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rts/chart2.xml" ContentType="application/vnd.openxmlformats-officedocument.drawingml.chart+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charts/chart3.xml" ContentType="application/vnd.openxmlformats-officedocument.drawingml.chart+xml"/>
  <Override PartName="/ppt/tags/tag38.xml" ContentType="application/vnd.openxmlformats-officedocument.presentationml.tags+xml"/>
  <Override PartName="/ppt/notesSlides/notesSlide4.xml" ContentType="application/vnd.openxmlformats-officedocument.presentationml.notesSlide+xml"/>
  <Override PartName="/ppt/tags/tag39.xml" ContentType="application/vnd.openxmlformats-officedocument.presentationml.tags+xml"/>
  <Override PartName="/ppt/notesSlides/notesSlide5.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notesSlides/notesSlide9.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12.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13.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14.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52.xml" ContentType="application/vnd.openxmlformats-officedocument.presentationml.tags+xml"/>
  <Override PartName="/ppt/tags/tag153.xml" ContentType="application/vnd.openxmlformats-officedocument.presentationml.tags+xml"/>
  <Override PartName="/ppt/notesSlides/notesSlide19.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notesSlides/notesSlide23.xml" ContentType="application/vnd.openxmlformats-officedocument.presentationml.notesSlid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notesSlides/notesSlide26.xml" ContentType="application/vnd.openxmlformats-officedocument.presentationml.notesSlid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notesSlides/notesSlide27.xml" ContentType="application/vnd.openxmlformats-officedocument.presentationml.notesSlide+xml"/>
  <Override PartName="/ppt/tags/tag183.xml" ContentType="application/vnd.openxmlformats-officedocument.presentationml.tags+xml"/>
  <Override PartName="/ppt/notesSlides/notesSlide28.xml" ContentType="application/vnd.openxmlformats-officedocument.presentationml.notesSlid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notesSlides/notesSlide29.xml" ContentType="application/vnd.openxmlformats-officedocument.presentationml.notesSlide+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notesSlides/notesSlide30.xml" ContentType="application/vnd.openxmlformats-officedocument.presentationml.notesSlid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notesSlides/notesSlide31.xml" ContentType="application/vnd.openxmlformats-officedocument.presentationml.notesSlide+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notesSlides/notesSlide32.xml" ContentType="application/vnd.openxmlformats-officedocument.presentationml.notesSlide+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209.xml" ContentType="application/vnd.openxmlformats-officedocument.presentationml.tags+xml"/>
  <Override PartName="/ppt/notesSlides/notesSlide35.xml" ContentType="application/vnd.openxmlformats-officedocument.presentationml.notesSlide+xml"/>
  <Override PartName="/ppt/tags/tag210.xml" ContentType="application/vnd.openxmlformats-officedocument.presentationml.tags+xml"/>
  <Override PartName="/ppt/notesSlides/notesSlide36.xml" ContentType="application/vnd.openxmlformats-officedocument.presentationml.notesSlide+xml"/>
  <Override PartName="/ppt/tags/tag211.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notesSlides/notesSlide42.xml" ContentType="application/vnd.openxmlformats-officedocument.presentationml.notesSlide+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258.xml" ContentType="application/vnd.openxmlformats-officedocument.presentationml.tags+xml"/>
  <Override PartName="/ppt/tags/tag259.xml" ContentType="application/vnd.openxmlformats-officedocument.presentationml.tags+xml"/>
  <Override PartName="/ppt/notesSlides/notesSlide49.xml" ContentType="application/vnd.openxmlformats-officedocument.presentationml.notesSlide+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charts/chart4.xml" ContentType="application/vnd.openxmlformats-officedocument.drawingml.chart+xml"/>
  <Override PartName="/ppt/notesSlides/notesSlide53.xml" ContentType="application/vnd.openxmlformats-officedocument.presentationml.notesSlide+xml"/>
  <Override PartName="/ppt/charts/chart5.xml" ContentType="application/vnd.openxmlformats-officedocument.drawingml.chart+xml"/>
  <Override PartName="/ppt/theme/themeOverride2.xml" ContentType="application/vnd.openxmlformats-officedocument.themeOverride+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notesSlides/notesSlide54.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notesSlides/notesSlide55.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302.xml" ContentType="application/vnd.openxmlformats-officedocument.presentationml.tags+xml"/>
  <Override PartName="/ppt/notesSlides/notesSlide56.xml" ContentType="application/vnd.openxmlformats-officedocument.presentationml.notesSlide+xml"/>
  <Override PartName="/ppt/charts/chart12.xml" ContentType="application/vnd.openxmlformats-officedocument.drawingml.chart+xml"/>
  <Override PartName="/ppt/notesSlides/notesSlide57.xml" ContentType="application/vnd.openxmlformats-officedocument.presentationml.notesSlide+xml"/>
  <Override PartName="/ppt/charts/chart13.xml" ContentType="application/vnd.openxmlformats-officedocument.drawingml.chart+xml"/>
  <Override PartName="/ppt/theme/themeOverride3.xml" ContentType="application/vnd.openxmlformats-officedocument.themeOverride+xml"/>
  <Override PartName="/ppt/charts/chart14.xml" ContentType="application/vnd.openxmlformats-officedocument.drawingml.chart+xml"/>
  <Override PartName="/ppt/theme/themeOverride4.xml" ContentType="application/vnd.openxmlformats-officedocument.themeOverride+xml"/>
  <Override PartName="/ppt/tags/tag303.xml" ContentType="application/vnd.openxmlformats-officedocument.presentationml.tags+xml"/>
  <Override PartName="/ppt/notesSlides/notesSlide58.xml" ContentType="application/vnd.openxmlformats-officedocument.presentationml.notesSlide+xml"/>
  <Override PartName="/ppt/charts/chart15.xml" ContentType="application/vnd.openxmlformats-officedocument.drawingml.chart+xml"/>
  <Override PartName="/ppt/notesSlides/notesSlide59.xml" ContentType="application/vnd.openxmlformats-officedocument.presentationml.notesSlide+xml"/>
  <Override PartName="/ppt/charts/chart16.xml" ContentType="application/vnd.openxmlformats-officedocument.drawingml.chart+xml"/>
  <Override PartName="/ppt/theme/themeOverride5.xml" ContentType="application/vnd.openxmlformats-officedocument.themeOverride+xml"/>
  <Override PartName="/ppt/charts/chart17.xml" ContentType="application/vnd.openxmlformats-officedocument.drawingml.chart+xml"/>
  <Override PartName="/ppt/theme/themeOverride6.xml" ContentType="application/vnd.openxmlformats-officedocument.themeOverride+xml"/>
  <Override PartName="/ppt/notesSlides/notesSlide60.xml" ContentType="application/vnd.openxmlformats-officedocument.presentationml.notesSlide+xml"/>
  <Override PartName="/ppt/charts/chart18.xml" ContentType="application/vnd.openxmlformats-officedocument.drawingml.chart+xml"/>
  <Override PartName="/ppt/theme/themeOverride7.xml" ContentType="application/vnd.openxmlformats-officedocument.themeOverride+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notesSlides/notesSlide61.xml" ContentType="application/vnd.openxmlformats-officedocument.presentationml.notesSlide+xml"/>
  <Override PartName="/ppt/charts/chart19.xml" ContentType="application/vnd.openxmlformats-officedocument.drawingml.chart+xml"/>
  <Override PartName="/ppt/theme/themeOverride8.xml" ContentType="application/vnd.openxmlformats-officedocument.themeOverride+xml"/>
  <Override PartName="/ppt/charts/chart20.xml" ContentType="application/vnd.openxmlformats-officedocument.drawingml.chart+xml"/>
  <Override PartName="/ppt/theme/themeOverride9.xml" ContentType="application/vnd.openxmlformats-officedocument.themeOverride+xml"/>
  <Override PartName="/ppt/charts/chart21.xml" ContentType="application/vnd.openxmlformats-officedocument.drawingml.chart+xml"/>
  <Override PartName="/ppt/theme/themeOverride10.xml" ContentType="application/vnd.openxmlformats-officedocument.themeOverride+xml"/>
  <Override PartName="/ppt/charts/chart22.xml" ContentType="application/vnd.openxmlformats-officedocument.drawingml.chart+xml"/>
  <Override PartName="/ppt/theme/themeOverride11.xml" ContentType="application/vnd.openxmlformats-officedocument.themeOverride+xml"/>
  <Override PartName="/ppt/tags/tag311.xml" ContentType="application/vnd.openxmlformats-officedocument.presentationml.tags+xml"/>
  <Override PartName="/ppt/notesSlides/notesSlide62.xml" ContentType="application/vnd.openxmlformats-officedocument.presentationml.notesSlide+xml"/>
  <Override PartName="/ppt/charts/chart23.xml" ContentType="application/vnd.openxmlformats-officedocument.drawingml.chart+xml"/>
  <Override PartName="/ppt/tags/tag312.xml" ContentType="application/vnd.openxmlformats-officedocument.presentationml.tags+xml"/>
  <Override PartName="/ppt/notesSlides/notesSlide63.xml" ContentType="application/vnd.openxmlformats-officedocument.presentationml.notesSlide+xml"/>
  <Override PartName="/ppt/charts/chart24.xml" ContentType="application/vnd.openxmlformats-officedocument.drawingml.chart+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notesSlides/notesSlide64.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tags/tag317.xml" ContentType="application/vnd.openxmlformats-officedocument.presentationml.tags+xml"/>
  <Override PartName="/ppt/notesSlides/notesSlide65.xml" ContentType="application/vnd.openxmlformats-officedocument.presentationml.notesSlide+xml"/>
  <Override PartName="/ppt/charts/chart29.xml" ContentType="application/vnd.openxmlformats-officedocument.drawingml.chart+xml"/>
  <Override PartName="/ppt/tags/tag318.xml" ContentType="application/vnd.openxmlformats-officedocument.presentationml.tags+xml"/>
  <Override PartName="/ppt/notesSlides/notesSlide66.xml" ContentType="application/vnd.openxmlformats-officedocument.presentationml.notesSlide+xml"/>
  <Override PartName="/ppt/charts/chart30.xml" ContentType="application/vnd.openxmlformats-officedocument.drawingml.chart+xml"/>
  <Override PartName="/ppt/tags/tag319.xml" ContentType="application/vnd.openxmlformats-officedocument.presentationml.tags+xml"/>
  <Override PartName="/ppt/notesSlides/notesSlide67.xml" ContentType="application/vnd.openxmlformats-officedocument.presentationml.notesSlide+xml"/>
  <Override PartName="/ppt/charts/chart31.xml" ContentType="application/vnd.openxmlformats-officedocument.drawingml.chart+xml"/>
  <Override PartName="/ppt/tags/tag320.xml" ContentType="application/vnd.openxmlformats-officedocument.presentationml.tags+xml"/>
  <Override PartName="/ppt/notesSlides/notesSlide68.xml" ContentType="application/vnd.openxmlformats-officedocument.presentationml.notesSlide+xml"/>
  <Override PartName="/ppt/charts/chart32.xml" ContentType="application/vnd.openxmlformats-officedocument.drawingml.chart+xml"/>
  <Override PartName="/ppt/notesSlides/notesSlide69.xml" ContentType="application/vnd.openxmlformats-officedocument.presentationml.notesSlide+xml"/>
  <Override PartName="/ppt/charts/chart33.xml" ContentType="application/vnd.openxmlformats-officedocument.drawingml.chart+xml"/>
  <Override PartName="/ppt/tags/tag321.xml" ContentType="application/vnd.openxmlformats-officedocument.presentationml.tags+xml"/>
  <Override PartName="/ppt/tags/tag322.xml" ContentType="application/vnd.openxmlformats-officedocument.presentationml.tags+xml"/>
  <Override PartName="/ppt/notesSlides/notesSlide70.xml" ContentType="application/vnd.openxmlformats-officedocument.presentationml.notesSlide+xml"/>
  <Override PartName="/ppt/charts/chart34.xml" ContentType="application/vnd.openxmlformats-officedocument.drawingml.chart+xml"/>
  <Override PartName="/ppt/charts/chart35.xml" ContentType="application/vnd.openxmlformats-officedocument.drawingml.chart+xml"/>
  <Override PartName="/ppt/tags/tag323.xml" ContentType="application/vnd.openxmlformats-officedocument.presentationml.tags+xml"/>
  <Override PartName="/ppt/notesSlides/notesSlide71.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notesSlides/notesSlide72.xml" ContentType="application/vnd.openxmlformats-officedocument.presentationml.notesSlide+xml"/>
  <Override PartName="/ppt/charts/chart38.xml" ContentType="application/vnd.openxmlformats-officedocument.drawingml.chart+xml"/>
  <Override PartName="/ppt/charts/chart39.xml" ContentType="application/vnd.openxmlformats-officedocument.drawingml.chart+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notesSlides/notesSlide73.xml" ContentType="application/vnd.openxmlformats-officedocument.presentationml.notesSlide+xml"/>
  <Override PartName="/ppt/charts/chart40.xml" ContentType="application/vnd.openxmlformats-officedocument.drawingml.chart+xml"/>
  <Override PartName="/ppt/charts/chart41.xml" ContentType="application/vnd.openxmlformats-officedocument.drawingml.chart+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notesSlides/notesSlide74.xml" ContentType="application/vnd.openxmlformats-officedocument.presentationml.notesSlide+xml"/>
  <Override PartName="/ppt/charts/chart42.xml" ContentType="application/vnd.openxmlformats-officedocument.drawingml.chart+xml"/>
  <Override PartName="/ppt/charts/chart43.xml" ContentType="application/vnd.openxmlformats-officedocument.drawingml.chart+xml"/>
  <Override PartName="/ppt/notesSlides/notesSlide75.xml" ContentType="application/vnd.openxmlformats-officedocument.presentationml.notesSlide+xml"/>
  <Override PartName="/ppt/charts/chart44.xml" ContentType="application/vnd.openxmlformats-officedocument.drawingml.chart+xml"/>
  <Override PartName="/ppt/theme/themeOverride12.xml" ContentType="application/vnd.openxmlformats-officedocument.themeOverride+xml"/>
  <Override PartName="/ppt/notesSlides/notesSlide76.xml" ContentType="application/vnd.openxmlformats-officedocument.presentationml.notesSlide+xml"/>
  <Override PartName="/ppt/charts/chart45.xml" ContentType="application/vnd.openxmlformats-officedocument.drawingml.chart+xml"/>
  <Override PartName="/ppt/theme/themeOverride13.xml" ContentType="application/vnd.openxmlformats-officedocument.themeOverride+xml"/>
  <Override PartName="/ppt/charts/chart46.xml" ContentType="application/vnd.openxmlformats-officedocument.drawingml.chart+xml"/>
  <Override PartName="/ppt/theme/themeOverride14.xml" ContentType="application/vnd.openxmlformats-officedocument.themeOverride+xml"/>
  <Override PartName="/ppt/charts/chart47.xml" ContentType="application/vnd.openxmlformats-officedocument.drawingml.chart+xml"/>
  <Override PartName="/ppt/theme/themeOverride15.xml" ContentType="application/vnd.openxmlformats-officedocument.themeOverride+xml"/>
  <Override PartName="/ppt/tags/tag343.xml" ContentType="application/vnd.openxmlformats-officedocument.presentationml.tags+xml"/>
  <Override PartName="/ppt/notesSlides/notesSlide77.xml" ContentType="application/vnd.openxmlformats-officedocument.presentationml.notesSlide+xml"/>
  <Override PartName="/ppt/charts/chart48.xml" ContentType="application/vnd.openxmlformats-officedocument.drawingml.chart+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notesSlides/notesSlide78.xml" ContentType="application/vnd.openxmlformats-officedocument.presentationml.notesSlide+xml"/>
  <Override PartName="/ppt/charts/chart49.xml" ContentType="application/vnd.openxmlformats-officedocument.drawingml.chart+xml"/>
  <Override PartName="/ppt/tags/tag348.xml" ContentType="application/vnd.openxmlformats-officedocument.presentationml.tags+xml"/>
  <Override PartName="/ppt/tags/tag349.xml" ContentType="application/vnd.openxmlformats-officedocument.presentationml.tags+xml"/>
  <Override PartName="/ppt/notesSlides/notesSlide79.xml" ContentType="application/vnd.openxmlformats-officedocument.presentationml.notesSlide+xml"/>
  <Override PartName="/ppt/charts/chart50.xml" ContentType="application/vnd.openxmlformats-officedocument.drawingml.chart+xml"/>
  <Override PartName="/ppt/charts/chart51.xml" ContentType="application/vnd.openxmlformats-officedocument.drawingml.chart+xml"/>
  <Override PartName="/ppt/tags/tag350.xml" ContentType="application/vnd.openxmlformats-officedocument.presentationml.tags+xml"/>
  <Override PartName="/ppt/notesSlides/notesSlide80.xml" ContentType="application/vnd.openxmlformats-officedocument.presentationml.notesSlide+xml"/>
  <Override PartName="/ppt/charts/chart52.xml" ContentType="application/vnd.openxmlformats-officedocument.drawingml.chart+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notesSlides/notesSlide81.xml" ContentType="application/vnd.openxmlformats-officedocument.presentationml.notesSlide+xml"/>
  <Override PartName="/ppt/charts/chart53.xml" ContentType="application/vnd.openxmlformats-officedocument.drawingml.chart+xml"/>
  <Override PartName="/ppt/tags/tag355.xml" ContentType="application/vnd.openxmlformats-officedocument.presentationml.tags+xml"/>
  <Override PartName="/ppt/tags/tag356.xml" ContentType="application/vnd.openxmlformats-officedocument.presentationml.tags+xml"/>
  <Override PartName="/ppt/notesSlides/notesSlide82.xml" ContentType="application/vnd.openxmlformats-officedocument.presentationml.notesSlide+xml"/>
  <Override PartName="/ppt/charts/chart54.xml" ContentType="application/vnd.openxmlformats-officedocument.drawingml.chart+xml"/>
  <Override PartName="/ppt/charts/chart55.xml" ContentType="application/vnd.openxmlformats-officedocument.drawingml.chart+xml"/>
  <Override PartName="/ppt/tags/tag357.xml" ContentType="application/vnd.openxmlformats-officedocument.presentationml.tags+xml"/>
  <Override PartName="/ppt/notesSlides/notesSlide83.xml" ContentType="application/vnd.openxmlformats-officedocument.presentationml.notesSlide+xml"/>
  <Override PartName="/ppt/charts/chart56.xml" ContentType="application/vnd.openxmlformats-officedocument.drawingml.chart+xml"/>
  <Override PartName="/ppt/tags/tag358.xml" ContentType="application/vnd.openxmlformats-officedocument.presentationml.tags+xml"/>
  <Override PartName="/ppt/notesSlides/notesSlide84.xml" ContentType="application/vnd.openxmlformats-officedocument.presentationml.notesSlide+xml"/>
  <Override PartName="/ppt/charts/chart57.xml" ContentType="application/vnd.openxmlformats-officedocument.drawingml.chart+xml"/>
  <Override PartName="/ppt/tags/tag359.xml" ContentType="application/vnd.openxmlformats-officedocument.presentationml.tags+xml"/>
  <Override PartName="/ppt/notesSlides/notesSlide85.xml" ContentType="application/vnd.openxmlformats-officedocument.presentationml.notesSlide+xml"/>
  <Override PartName="/ppt/charts/chart58.xml" ContentType="application/vnd.openxmlformats-officedocument.drawingml.chart+xml"/>
  <Override PartName="/ppt/tags/tag360.xml" ContentType="application/vnd.openxmlformats-officedocument.presentationml.tags+xml"/>
  <Override PartName="/ppt/notesSlides/notesSlide86.xml" ContentType="application/vnd.openxmlformats-officedocument.presentationml.notesSlide+xml"/>
  <Override PartName="/ppt/charts/chart59.xml" ContentType="application/vnd.openxmlformats-officedocument.drawingml.chart+xml"/>
  <Override PartName="/ppt/tags/tag361.xml" ContentType="application/vnd.openxmlformats-officedocument.presentationml.tags+xml"/>
  <Override PartName="/ppt/notesSlides/notesSlide87.xml" ContentType="application/vnd.openxmlformats-officedocument.presentationml.notesSlide+xml"/>
  <Override PartName="/ppt/charts/chart60.xml" ContentType="application/vnd.openxmlformats-officedocument.drawingml.chart+xml"/>
  <Override PartName="/ppt/tags/tag362.xml" ContentType="application/vnd.openxmlformats-officedocument.presentationml.tags+xml"/>
  <Override PartName="/ppt/notesSlides/notesSlide88.xml" ContentType="application/vnd.openxmlformats-officedocument.presentationml.notesSlide+xml"/>
  <Override PartName="/ppt/charts/chart61.xml" ContentType="application/vnd.openxmlformats-officedocument.drawingml.chart+xml"/>
  <Override PartName="/ppt/tags/tag363.xml" ContentType="application/vnd.openxmlformats-officedocument.presentationml.tags+xml"/>
  <Override PartName="/ppt/notesSlides/notesSlide89.xml" ContentType="application/vnd.openxmlformats-officedocument.presentationml.notesSlide+xml"/>
  <Override PartName="/ppt/charts/chart62.xml" ContentType="application/vnd.openxmlformats-officedocument.drawingml.chart+xml"/>
  <Override PartName="/ppt/tags/tag364.xml" ContentType="application/vnd.openxmlformats-officedocument.presentationml.tags+xml"/>
  <Override PartName="/ppt/notesSlides/notesSlide90.xml" ContentType="application/vnd.openxmlformats-officedocument.presentationml.notesSlide+xml"/>
  <Override PartName="/ppt/charts/chart63.xml" ContentType="application/vnd.openxmlformats-officedocument.drawingml.chart+xml"/>
  <Override PartName="/ppt/tags/tag365.xml" ContentType="application/vnd.openxmlformats-officedocument.presentationml.tags+xml"/>
  <Override PartName="/ppt/notesSlides/notesSlide91.xml" ContentType="application/vnd.openxmlformats-officedocument.presentationml.notesSlide+xml"/>
  <Override PartName="/ppt/charts/chart64.xml" ContentType="application/vnd.openxmlformats-officedocument.drawingml.chart+xml"/>
  <Override PartName="/ppt/tags/tag366.xml" ContentType="application/vnd.openxmlformats-officedocument.presentationml.tags+xml"/>
  <Override PartName="/ppt/notesSlides/notesSlide92.xml" ContentType="application/vnd.openxmlformats-officedocument.presentationml.notesSlide+xml"/>
  <Override PartName="/ppt/charts/chart65.xml" ContentType="application/vnd.openxmlformats-officedocument.drawingml.chart+xml"/>
  <Override PartName="/ppt/theme/themeOverride16.xml" ContentType="application/vnd.openxmlformats-officedocument.themeOverride+xml"/>
  <Override PartName="/ppt/charts/chart66.xml" ContentType="application/vnd.openxmlformats-officedocument.drawingml.chart+xml"/>
  <Override PartName="/ppt/theme/themeOverride17.xml" ContentType="application/vnd.openxmlformats-officedocument.themeOverride+xml"/>
  <Override PartName="/ppt/charts/chart67.xml" ContentType="application/vnd.openxmlformats-officedocument.drawingml.chart+xml"/>
  <Override PartName="/ppt/theme/themeOverride18.xml" ContentType="application/vnd.openxmlformats-officedocument.themeOverride+xml"/>
  <Override PartName="/ppt/charts/chart68.xml" ContentType="application/vnd.openxmlformats-officedocument.drawingml.chart+xml"/>
  <Override PartName="/ppt/theme/themeOverride19.xml" ContentType="application/vnd.openxmlformats-officedocument.themeOverride+xml"/>
  <Override PartName="/ppt/charts/chart69.xml" ContentType="application/vnd.openxmlformats-officedocument.drawingml.chart+xml"/>
  <Override PartName="/ppt/theme/themeOverride20.xml" ContentType="application/vnd.openxmlformats-officedocument.themeOverride+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tags/tag375.xml" ContentType="application/vnd.openxmlformats-officedocument.presentationml.tags+xml"/>
  <Override PartName="/ppt/notesSlides/notesSlide98.xml" ContentType="application/vnd.openxmlformats-officedocument.presentationml.notesSlide+xml"/>
  <Override PartName="/ppt/tags/tag376.xml" ContentType="application/vnd.openxmlformats-officedocument.presentationml.tags+xml"/>
  <Override PartName="/ppt/notesSlides/notesSlide99.xml" ContentType="application/vnd.openxmlformats-officedocument.presentationml.notesSlide+xml"/>
  <Override PartName="/ppt/tags/tag377.xml" ContentType="application/vnd.openxmlformats-officedocument.presentationml.tags+xml"/>
  <Override PartName="/ppt/notesSlides/notesSlide100.xml" ContentType="application/vnd.openxmlformats-officedocument.presentationml.notesSlide+xml"/>
  <Override PartName="/ppt/tags/tag378.xml" ContentType="application/vnd.openxmlformats-officedocument.presentationml.tags+xml"/>
  <Override PartName="/ppt/notesSlides/notesSlide101.xml" ContentType="application/vnd.openxmlformats-officedocument.presentationml.notesSlide+xml"/>
  <Override PartName="/ppt/tags/tag379.xml" ContentType="application/vnd.openxmlformats-officedocument.presentationml.tags+xml"/>
  <Override PartName="/ppt/notesSlides/notesSlide102.xml" ContentType="application/vnd.openxmlformats-officedocument.presentationml.notesSlide+xml"/>
  <Override PartName="/ppt/tags/tag380.xml" ContentType="application/vnd.openxmlformats-officedocument.presentationml.tags+xml"/>
  <Override PartName="/ppt/tags/tag381.xml" ContentType="application/vnd.openxmlformats-officedocument.presentationml.tags+xml"/>
  <Override PartName="/ppt/notesSlides/notesSlide103.xml" ContentType="application/vnd.openxmlformats-officedocument.presentationml.notesSlide+xml"/>
  <Override PartName="/ppt/tags/tag382.xml" ContentType="application/vnd.openxmlformats-officedocument.presentationml.tags+xml"/>
  <Override PartName="/ppt/notesSlides/notesSlide104.xml" ContentType="application/vnd.openxmlformats-officedocument.presentationml.notesSlide+xml"/>
  <Override PartName="/ppt/tags/tag383.xml" ContentType="application/vnd.openxmlformats-officedocument.presentationml.tags+xml"/>
  <Override PartName="/ppt/notesSlides/notesSlide105.xml" ContentType="application/vnd.openxmlformats-officedocument.presentationml.notesSlide+xml"/>
  <Override PartName="/ppt/tags/tag384.xml" ContentType="application/vnd.openxmlformats-officedocument.presentationml.tags+xml"/>
  <Override PartName="/ppt/notesSlides/notesSlide106.xml" ContentType="application/vnd.openxmlformats-officedocument.presentationml.notesSlide+xml"/>
  <Override PartName="/ppt/tags/tag385.xml" ContentType="application/vnd.openxmlformats-officedocument.presentationml.tags+xml"/>
  <Override PartName="/ppt/notesSlides/notesSlide107.xml" ContentType="application/vnd.openxmlformats-officedocument.presentationml.notesSlide+xml"/>
  <Override PartName="/ppt/tags/tag386.xml" ContentType="application/vnd.openxmlformats-officedocument.presentationml.tags+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notesSlides/notesSlide110.xml" ContentType="application/vnd.openxmlformats-officedocument.presentationml.notesSlide+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notesSlides/notesSlide111.xml" ContentType="application/vnd.openxmlformats-officedocument.presentationml.notesSlide+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tags/tag423.xml" ContentType="application/vnd.openxmlformats-officedocument.presentationml.tags+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tags/tag424.xml" ContentType="application/vnd.openxmlformats-officedocument.presentationml.tags+xml"/>
  <Override PartName="/ppt/tags/tag425.xml" ContentType="application/vnd.openxmlformats-officedocument.presentationml.tags+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notesSlides/notesSlide127.xml" ContentType="application/vnd.openxmlformats-officedocument.presentationml.notesSlide+xml"/>
  <Override PartName="/ppt/tags/tag455.xml" ContentType="application/vnd.openxmlformats-officedocument.presentationml.tags+xml"/>
  <Override PartName="/ppt/tags/tag456.xml" ContentType="application/vnd.openxmlformats-officedocument.presentationml.tags+xml"/>
  <Override PartName="/ppt/notesSlides/notesSlide128.xml" ContentType="application/vnd.openxmlformats-officedocument.presentationml.notesSlide+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notesSlides/notesSlide129.xml" ContentType="application/vnd.openxmlformats-officedocument.presentationml.notesSlide+xml"/>
  <Override PartName="/ppt/tags/tag460.xml" ContentType="application/vnd.openxmlformats-officedocument.presentationml.tags+xml"/>
  <Override PartName="/ppt/tags/tag461.xml" ContentType="application/vnd.openxmlformats-officedocument.presentationml.tags+xml"/>
  <Override PartName="/ppt/notesSlides/notesSlide130.xml" ContentType="application/vnd.openxmlformats-officedocument.presentationml.notesSlide+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notesSlides/notesSlide131.xml" ContentType="application/vnd.openxmlformats-officedocument.presentationml.notesSlide+xml"/>
  <Override PartName="/ppt/tags/tag541.xml" ContentType="application/vnd.openxmlformats-officedocument.presentationml.tags+xml"/>
  <Override PartName="/ppt/tags/tag542.xml" ContentType="application/vnd.openxmlformats-officedocument.presentationml.tags+xml"/>
  <Override PartName="/ppt/notesSlides/notesSlide132.xml" ContentType="application/vnd.openxmlformats-officedocument.presentationml.notesSlide+xml"/>
  <Override PartName="/ppt/tags/tag543.xml" ContentType="application/vnd.openxmlformats-officedocument.presentationml.tags+xml"/>
  <Override PartName="/ppt/tags/tag544.xml" ContentType="application/vnd.openxmlformats-officedocument.presentationml.tags+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tags/tag545.xml" ContentType="application/vnd.openxmlformats-officedocument.presentationml.tags+xml"/>
  <Override PartName="/ppt/notesSlides/notesSlide135.xml" ContentType="application/vnd.openxmlformats-officedocument.presentationml.notesSlide+xml"/>
  <Override PartName="/ppt/tags/tag546.xml" ContentType="application/vnd.openxmlformats-officedocument.presentationml.tags+xml"/>
  <Override PartName="/ppt/notesSlides/notesSlide136.xml" ContentType="application/vnd.openxmlformats-officedocument.presentationml.notesSlide+xml"/>
  <Override PartName="/ppt/tags/tag547.xml" ContentType="application/vnd.openxmlformats-officedocument.presentationml.tags+xml"/>
  <Override PartName="/ppt/notesSlides/notesSlide137.xml" ContentType="application/vnd.openxmlformats-officedocument.presentationml.notesSlide+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notesSlides/notesSlide138.xml" ContentType="application/vnd.openxmlformats-officedocument.presentationml.notesSlide+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notesSlides/notesSlide139.xml" ContentType="application/vnd.openxmlformats-officedocument.presentationml.notesSlide+xml"/>
  <Override PartName="/ppt/tags/tag616.xml" ContentType="application/vnd.openxmlformats-officedocument.presentationml.tags+xml"/>
  <Override PartName="/ppt/notesSlides/notesSlide140.xml" ContentType="application/vnd.openxmlformats-officedocument.presentationml.notesSlide+xml"/>
  <Override PartName="/ppt/tags/tag617.xml" ContentType="application/vnd.openxmlformats-officedocument.presentationml.tags+xml"/>
  <Override PartName="/ppt/tags/tag618.xml" ContentType="application/vnd.openxmlformats-officedocument.presentationml.tags+xml"/>
  <Override PartName="/ppt/notesSlides/notesSlide141.xml" ContentType="application/vnd.openxmlformats-officedocument.presentationml.notesSlide+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notesSlides/notesSlide142.xml" ContentType="application/vnd.openxmlformats-officedocument.presentationml.notesSlide+xml"/>
  <Override PartName="/ppt/tags/tag629.xml" ContentType="application/vnd.openxmlformats-officedocument.presentationml.tags+xml"/>
  <Override PartName="/ppt/notesSlides/notesSlide143.xml" ContentType="application/vnd.openxmlformats-officedocument.presentationml.notesSlide+xml"/>
  <Override PartName="/ppt/tags/tag630.xml" ContentType="application/vnd.openxmlformats-officedocument.presentationml.tags+xml"/>
  <Override PartName="/ppt/notesSlides/notesSlide144.xml" ContentType="application/vnd.openxmlformats-officedocument.presentationml.notesSlide+xml"/>
  <Override PartName="/ppt/tags/tag631.xml" ContentType="application/vnd.openxmlformats-officedocument.presentationml.tags+xml"/>
  <Override PartName="/ppt/notesSlides/notesSlide145.xml" ContentType="application/vnd.openxmlformats-officedocument.presentationml.notesSlide+xml"/>
  <Override PartName="/ppt/tags/tag632.xml" ContentType="application/vnd.openxmlformats-officedocument.presentationml.tags+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notesSlides/notesSlide149.xml" ContentType="application/vnd.openxmlformats-officedocument.presentationml.notesSlide+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notesSlides/notesSlide150.xml" ContentType="application/vnd.openxmlformats-officedocument.presentationml.notesSlide+xml"/>
  <Override PartName="/ppt/tags/tag656.xml" ContentType="application/vnd.openxmlformats-officedocument.presentationml.tags+xml"/>
  <Override PartName="/ppt/notesSlides/notesSlide151.xml" ContentType="application/vnd.openxmlformats-officedocument.presentationml.notesSlide+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notesSlides/notesSlide152.xml" ContentType="application/vnd.openxmlformats-officedocument.presentationml.notesSlide+xml"/>
  <Override PartName="/ppt/tags/tag858.xml" ContentType="application/vnd.openxmlformats-officedocument.presentationml.tags+xml"/>
  <Override PartName="/ppt/notesSlides/notesSlide153.xml" ContentType="application/vnd.openxmlformats-officedocument.presentationml.notesSlide+xml"/>
  <Override PartName="/ppt/tags/tag859.xml" ContentType="application/vnd.openxmlformats-officedocument.presentationml.tags+xml"/>
  <Override PartName="/ppt/notesSlides/notesSlide154.xml" ContentType="application/vnd.openxmlformats-officedocument.presentationml.notesSlide+xml"/>
  <Override PartName="/ppt/tags/tag860.xml" ContentType="application/vnd.openxmlformats-officedocument.presentationml.tags+xml"/>
  <Override PartName="/ppt/notesSlides/notesSlide155.xml" ContentType="application/vnd.openxmlformats-officedocument.presentationml.notesSlide+xml"/>
  <Override PartName="/ppt/tags/tag861.xml" ContentType="application/vnd.openxmlformats-officedocument.presentationml.tags+xml"/>
  <Override PartName="/ppt/notesSlides/notesSlide156.xml" ContentType="application/vnd.openxmlformats-officedocument.presentationml.notesSlide+xml"/>
  <Override PartName="/ppt/tags/tag862.xml" ContentType="application/vnd.openxmlformats-officedocument.presentationml.tags+xml"/>
  <Override PartName="/ppt/notesSlides/notesSlide157.xml" ContentType="application/vnd.openxmlformats-officedocument.presentationml.notesSlide+xml"/>
  <Override PartName="/ppt/tags/tag863.xml" ContentType="application/vnd.openxmlformats-officedocument.presentationml.tags+xml"/>
  <Override PartName="/ppt/notesSlides/notesSlide158.xml" ContentType="application/vnd.openxmlformats-officedocument.presentationml.notesSlide+xml"/>
  <Override PartName="/ppt/tags/tag864.xml" ContentType="application/vnd.openxmlformats-officedocument.presentationml.tags+xml"/>
  <Override PartName="/ppt/notesSlides/notesSlide159.xml" ContentType="application/vnd.openxmlformats-officedocument.presentationml.notesSlide+xml"/>
  <Override PartName="/ppt/tags/tag865.xml" ContentType="application/vnd.openxmlformats-officedocument.presentationml.tags+xml"/>
  <Override PartName="/ppt/notesSlides/notesSlide160.xml" ContentType="application/vnd.openxmlformats-officedocument.presentationml.notesSlide+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tags/tag871.xml" ContentType="application/vnd.openxmlformats-officedocument.presentationml.tags+xml"/>
  <Override PartName="/ppt/notesSlides/notesSlide163.xml" ContentType="application/vnd.openxmlformats-officedocument.presentationml.notesSlide+xml"/>
  <Override PartName="/ppt/tags/tag872.xml" ContentType="application/vnd.openxmlformats-officedocument.presentationml.tags+xml"/>
  <Override PartName="/ppt/notesSlides/notesSlide164.xml" ContentType="application/vnd.openxmlformats-officedocument.presentationml.notesSlide+xml"/>
  <Override PartName="/ppt/tags/tag873.xml" ContentType="application/vnd.openxmlformats-officedocument.presentationml.tags+xml"/>
  <Override PartName="/ppt/notesSlides/notesSlide165.xml" ContentType="application/vnd.openxmlformats-officedocument.presentationml.notesSlide+xml"/>
  <Override PartName="/ppt/tags/tag874.xml" ContentType="application/vnd.openxmlformats-officedocument.presentationml.tags+xml"/>
  <Override PartName="/ppt/notesSlides/notesSlide166.xml" ContentType="application/vnd.openxmlformats-officedocument.presentationml.notesSlide+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notesSlides/notesSlide167.xml" ContentType="application/vnd.openxmlformats-officedocument.presentationml.notesSlide+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notesSlides/notesSlide168.xml" ContentType="application/vnd.openxmlformats-officedocument.presentationml.notesSlide+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notesSlides/notesSlide169.xml" ContentType="application/vnd.openxmlformats-officedocument.presentationml.notesSlide+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notesSlides/notesSlide172.xml" ContentType="application/vnd.openxmlformats-officedocument.presentationml.notesSlide+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notesSlides/notesSlide173.xml" ContentType="application/vnd.openxmlformats-officedocument.presentationml.notesSlide+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notesSlides/notesSlide174.xml" ContentType="application/vnd.openxmlformats-officedocument.presentationml.notesSlide+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notesSlides/notesSlide175.xml" ContentType="application/vnd.openxmlformats-officedocument.presentationml.notesSlide+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notesSlides/notesSlide176.xml" ContentType="application/vnd.openxmlformats-officedocument.presentationml.notesSlide+xml"/>
  <Override PartName="/ppt/tags/tag949.xml" ContentType="application/vnd.openxmlformats-officedocument.presentationml.tags+xml"/>
  <Override PartName="/ppt/notesSlides/notesSlide177.xml" ContentType="application/vnd.openxmlformats-officedocument.presentationml.notesSlide+xml"/>
  <Override PartName="/ppt/tags/tag950.xml" ContentType="application/vnd.openxmlformats-officedocument.presentationml.tags+xml"/>
  <Override PartName="/ppt/notesSlides/notesSlide178.xml" ContentType="application/vnd.openxmlformats-officedocument.presentationml.notesSlide+xml"/>
  <Override PartName="/ppt/tags/tag951.xml" ContentType="application/vnd.openxmlformats-officedocument.presentationml.tags+xml"/>
  <Override PartName="/ppt/notesSlides/notesSlide179.xml" ContentType="application/vnd.openxmlformats-officedocument.presentationml.notesSlide+xml"/>
  <Override PartName="/ppt/tags/tag952.xml" ContentType="application/vnd.openxmlformats-officedocument.presentationml.tags+xml"/>
  <Override PartName="/ppt/notesSlides/notesSlide180.xml" ContentType="application/vnd.openxmlformats-officedocument.presentationml.notesSlide+xml"/>
  <Override PartName="/ppt/tags/tag953.xml" ContentType="application/vnd.openxmlformats-officedocument.presentationml.tags+xml"/>
  <Override PartName="/ppt/notesSlides/notesSlide181.xml" ContentType="application/vnd.openxmlformats-officedocument.presentationml.notesSlide+xml"/>
  <Override PartName="/ppt/tags/tag954.xml" ContentType="application/vnd.openxmlformats-officedocument.presentationml.tags+xml"/>
  <Override PartName="/ppt/notesSlides/notesSlide182.xml" ContentType="application/vnd.openxmlformats-officedocument.presentationml.notesSlide+xml"/>
  <Override PartName="/ppt/tags/tag955.xml" ContentType="application/vnd.openxmlformats-officedocument.presentationml.tags+xml"/>
  <Override PartName="/ppt/notesSlides/notesSlide183.xml" ContentType="application/vnd.openxmlformats-officedocument.presentationml.notesSlide+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notesSlides/notesSlide184.xml" ContentType="application/vnd.openxmlformats-officedocument.presentationml.notesSlide+xml"/>
  <Override PartName="/ppt/tags/tag961.xml" ContentType="application/vnd.openxmlformats-officedocument.presentationml.tags+xml"/>
  <Override PartName="/ppt/notesSlides/notesSlide185.xml" ContentType="application/vnd.openxmlformats-officedocument.presentationml.notesSlide+xml"/>
  <Override PartName="/ppt/tags/tag962.xml" ContentType="application/vnd.openxmlformats-officedocument.presentationml.tags+xml"/>
  <Override PartName="/ppt/notesSlides/notesSlide186.xml" ContentType="application/vnd.openxmlformats-officedocument.presentationml.notesSlide+xml"/>
  <Override PartName="/ppt/tags/tag963.xml" ContentType="application/vnd.openxmlformats-officedocument.presentationml.tags+xml"/>
  <Override PartName="/ppt/notesSlides/notesSlide187.xml" ContentType="application/vnd.openxmlformats-officedocument.presentationml.notesSlide+xml"/>
  <Override PartName="/ppt/tags/tag964.xml" ContentType="application/vnd.openxmlformats-officedocument.presentationml.tags+xml"/>
  <Override PartName="/ppt/notesSlides/notesSlide188.xml" ContentType="application/vnd.openxmlformats-officedocument.presentationml.notesSlide+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notesSlides/notesSlide189.xml" ContentType="application/vnd.openxmlformats-officedocument.presentationml.notesSlide+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notesSlides/notesSlide190.xml" ContentType="application/vnd.openxmlformats-officedocument.presentationml.notesSlide+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notesSlides/notesSlide191.xml" ContentType="application/vnd.openxmlformats-officedocument.presentationml.notesSlide+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notesSlides/notesSlide192.xml" ContentType="application/vnd.openxmlformats-officedocument.presentationml.notesSlide+xml"/>
  <Override PartName="/ppt/tags/tag1009.xml" ContentType="application/vnd.openxmlformats-officedocument.presentationml.tags+xml"/>
  <Override PartName="/ppt/notesSlides/notesSlide193.xml" ContentType="application/vnd.openxmlformats-officedocument.presentationml.notesSlide+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notesSlides/notesSlide194.xml" ContentType="application/vnd.openxmlformats-officedocument.presentationml.notesSlide+xml"/>
  <Override PartName="/ppt/tags/tag1014.xml" ContentType="application/vnd.openxmlformats-officedocument.presentationml.tags+xml"/>
  <Override PartName="/ppt/notesSlides/notesSlide195.xml" ContentType="application/vnd.openxmlformats-officedocument.presentationml.notesSlide+xml"/>
  <Override PartName="/ppt/tags/tag1015.xml" ContentType="application/vnd.openxmlformats-officedocument.presentationml.tags+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notesSlides/notesSlide198.xml" ContentType="application/vnd.openxmlformats-officedocument.presentationml.notesSlide+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notesSlides/notesSlide199.xml" ContentType="application/vnd.openxmlformats-officedocument.presentationml.notesSlide+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notesSlides/notesSlide200.xml" ContentType="application/vnd.openxmlformats-officedocument.presentationml.notesSlide+xml"/>
  <Override PartName="/ppt/tags/tag1045.xml" ContentType="application/vnd.openxmlformats-officedocument.presentationml.tags+xml"/>
  <Override PartName="/ppt/notesSlides/notesSlide201.xml" ContentType="application/vnd.openxmlformats-officedocument.presentationml.notesSlide+xml"/>
  <Override PartName="/ppt/tags/tag1046.xml" ContentType="application/vnd.openxmlformats-officedocument.presentationml.tags+xml"/>
  <Override PartName="/ppt/notesSlides/notesSlide202.xml" ContentType="application/vnd.openxmlformats-officedocument.presentationml.notesSlide+xml"/>
  <Override PartName="/ppt/tags/tag1047.xml" ContentType="application/vnd.openxmlformats-officedocument.presentationml.tags+xml"/>
  <Override PartName="/ppt/notesSlides/notesSlide203.xml" ContentType="application/vnd.openxmlformats-officedocument.presentationml.notesSlide+xml"/>
  <Override PartName="/ppt/tags/tag1048.xml" ContentType="application/vnd.openxmlformats-officedocument.presentationml.tags+xml"/>
  <Override PartName="/ppt/notesSlides/notesSlide204.xml" ContentType="application/vnd.openxmlformats-officedocument.presentationml.notesSlide+xml"/>
  <Override PartName="/ppt/tags/tag1049.xml" ContentType="application/vnd.openxmlformats-officedocument.presentationml.tags+xml"/>
  <Override PartName="/ppt/tags/tag1050.xml" ContentType="application/vnd.openxmlformats-officedocument.presentationml.tags+xml"/>
  <Override PartName="/ppt/notesSlides/notesSlide205.xml" ContentType="application/vnd.openxmlformats-officedocument.presentationml.notesSlide+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notesSlides/notesSlide206.xml" ContentType="application/vnd.openxmlformats-officedocument.presentationml.notesSlide+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notesSlides/notesSlide210.xml" ContentType="application/vnd.openxmlformats-officedocument.presentationml.notesSlide+xml"/>
  <Override PartName="/ppt/tags/tag1105.xml" ContentType="application/vnd.openxmlformats-officedocument.presentationml.tags+xml"/>
  <Override PartName="/ppt/tags/tag1106.xml" ContentType="application/vnd.openxmlformats-officedocument.presentationml.tags+xml"/>
  <Override PartName="/ppt/notesSlides/notesSlide211.xml" ContentType="application/vnd.openxmlformats-officedocument.presentationml.notesSlide+xml"/>
  <Override PartName="/ppt/tags/tag1107.xml" ContentType="application/vnd.openxmlformats-officedocument.presentationml.tags+xml"/>
  <Override PartName="/ppt/tags/tag1108.xml" ContentType="application/vnd.openxmlformats-officedocument.presentationml.tags+xml"/>
  <Override PartName="/ppt/notesSlides/notesSlide212.xml" ContentType="application/vnd.openxmlformats-officedocument.presentationml.notesSlide+xml"/>
  <Override PartName="/ppt/tags/tag1109.xml" ContentType="application/vnd.openxmlformats-officedocument.presentationml.tags+xml"/>
  <Override PartName="/ppt/tags/tag1110.xml" ContentType="application/vnd.openxmlformats-officedocument.presentationml.tags+xml"/>
  <Override PartName="/ppt/notesSlides/notesSlide213.xml" ContentType="application/vnd.openxmlformats-officedocument.presentationml.notesSlide+xml"/>
  <Override PartName="/ppt/tags/tag1111.xml" ContentType="application/vnd.openxmlformats-officedocument.presentationml.tags+xml"/>
  <Override PartName="/ppt/tags/tag1112.xml" ContentType="application/vnd.openxmlformats-officedocument.presentationml.tags+xml"/>
  <Override PartName="/ppt/notesSlides/notesSlide214.xml" ContentType="application/vnd.openxmlformats-officedocument.presentationml.notesSlide+xml"/>
  <Override PartName="/ppt/tags/tag1113.xml" ContentType="application/vnd.openxmlformats-officedocument.presentationml.tags+xml"/>
  <Override PartName="/ppt/tags/tag1114.xml" ContentType="application/vnd.openxmlformats-officedocument.presentationml.tags+xml"/>
  <Override PartName="/ppt/notesSlides/notesSlide215.xml" ContentType="application/vnd.openxmlformats-officedocument.presentationml.notesSlide+xml"/>
  <Override PartName="/ppt/tags/tag1115.xml" ContentType="application/vnd.openxmlformats-officedocument.presentationml.tags+xml"/>
  <Override PartName="/ppt/tags/tag1116.xml" ContentType="application/vnd.openxmlformats-officedocument.presentationml.tags+xml"/>
  <Override PartName="/ppt/notesSlides/notesSlide216.xml" ContentType="application/vnd.openxmlformats-officedocument.presentationml.notesSlide+xml"/>
  <Override PartName="/ppt/tags/tag1117.xml" ContentType="application/vnd.openxmlformats-officedocument.presentationml.tags+xml"/>
  <Override PartName="/ppt/tags/tag1118.xml" ContentType="application/vnd.openxmlformats-officedocument.presentationml.tags+xml"/>
  <Override PartName="/ppt/notesSlides/notesSlide217.xml" ContentType="application/vnd.openxmlformats-officedocument.presentationml.notesSlide+xml"/>
  <Override PartName="/ppt/tags/tag1119.xml" ContentType="application/vnd.openxmlformats-officedocument.presentationml.tags+xml"/>
  <Override PartName="/ppt/tags/tag1120.xml" ContentType="application/vnd.openxmlformats-officedocument.presentationml.tags+xml"/>
  <Override PartName="/ppt/notesSlides/notesSlide218.xml" ContentType="application/vnd.openxmlformats-officedocument.presentationml.notesSlide+xml"/>
  <Override PartName="/ppt/tags/tag1121.xml" ContentType="application/vnd.openxmlformats-officedocument.presentationml.tags+xml"/>
  <Override PartName="/ppt/tags/tag1122.xml" ContentType="application/vnd.openxmlformats-officedocument.presentationml.tags+xml"/>
  <Override PartName="/ppt/notesSlides/notesSlide219.xml" ContentType="application/vnd.openxmlformats-officedocument.presentationml.notesSlide+xml"/>
  <Override PartName="/ppt/tags/tag1123.xml" ContentType="application/vnd.openxmlformats-officedocument.presentationml.tags+xml"/>
  <Override PartName="/ppt/tags/tag1124.xml" ContentType="application/vnd.openxmlformats-officedocument.presentationml.tags+xml"/>
  <Override PartName="/ppt/notesSlides/notesSlide220.xml" ContentType="application/vnd.openxmlformats-officedocument.presentationml.notesSlide+xml"/>
  <Override PartName="/ppt/tags/tag1125.xml" ContentType="application/vnd.openxmlformats-officedocument.presentationml.tags+xml"/>
  <Override PartName="/ppt/tags/tag1126.xml" ContentType="application/vnd.openxmlformats-officedocument.presentationml.tags+xml"/>
  <Override PartName="/ppt/notesSlides/notesSlide221.xml" ContentType="application/vnd.openxmlformats-officedocument.presentationml.notesSlide+xml"/>
  <Override PartName="/ppt/tags/tag1127.xml" ContentType="application/vnd.openxmlformats-officedocument.presentationml.tags+xml"/>
  <Override PartName="/ppt/tags/tag1128.xml" ContentType="application/vnd.openxmlformats-officedocument.presentationml.tags+xml"/>
  <Override PartName="/ppt/notesSlides/notesSlide222.xml" ContentType="application/vnd.openxmlformats-officedocument.presentationml.notesSlide+xml"/>
  <Override PartName="/ppt/tags/tag1129.xml" ContentType="application/vnd.openxmlformats-officedocument.presentationml.tags+xml"/>
  <Override PartName="/ppt/tags/tag1130.xml" ContentType="application/vnd.openxmlformats-officedocument.presentationml.tags+xml"/>
  <Override PartName="/ppt/notesSlides/notesSlide223.xml" ContentType="application/vnd.openxmlformats-officedocument.presentationml.notesSlide+xml"/>
  <Override PartName="/ppt/tags/tag1131.xml" ContentType="application/vnd.openxmlformats-officedocument.presentationml.tags+xml"/>
  <Override PartName="/ppt/tags/tag1132.xml" ContentType="application/vnd.openxmlformats-officedocument.presentationml.tags+xml"/>
  <Override PartName="/ppt/notesSlides/notesSlide224.xml" ContentType="application/vnd.openxmlformats-officedocument.presentationml.notesSlide+xml"/>
  <Override PartName="/ppt/tags/tag1133.xml" ContentType="application/vnd.openxmlformats-officedocument.presentationml.tags+xml"/>
  <Override PartName="/ppt/tags/tag1134.xml" ContentType="application/vnd.openxmlformats-officedocument.presentationml.tags+xml"/>
  <Override PartName="/ppt/notesSlides/notesSlide225.xml" ContentType="application/vnd.openxmlformats-officedocument.presentationml.notesSlide+xml"/>
  <Override PartName="/ppt/tags/tag1135.xml" ContentType="application/vnd.openxmlformats-officedocument.presentationml.tags+xml"/>
  <Override PartName="/ppt/tags/tag1136.xml" ContentType="application/vnd.openxmlformats-officedocument.presentationml.tags+xml"/>
  <Override PartName="/ppt/notesSlides/notesSlide226.xml" ContentType="application/vnd.openxmlformats-officedocument.presentationml.notesSlide+xml"/>
  <Override PartName="/ppt/tags/tag1137.xml" ContentType="application/vnd.openxmlformats-officedocument.presentationml.tags+xml"/>
  <Override PartName="/ppt/tags/tag1138.xml" ContentType="application/vnd.openxmlformats-officedocument.presentationml.tags+xml"/>
  <Override PartName="/ppt/notesSlides/notesSlide227.xml" ContentType="application/vnd.openxmlformats-officedocument.presentationml.notesSlide+xml"/>
  <Override PartName="/ppt/tags/tag1139.xml" ContentType="application/vnd.openxmlformats-officedocument.presentationml.tags+xml"/>
  <Override PartName="/ppt/tags/tag1140.xml" ContentType="application/vnd.openxmlformats-officedocument.presentationml.tags+xml"/>
  <Override PartName="/ppt/notesSlides/notesSlide228.xml" ContentType="application/vnd.openxmlformats-officedocument.presentationml.notesSlide+xml"/>
  <Override PartName="/ppt/tags/tag1141.xml" ContentType="application/vnd.openxmlformats-officedocument.presentationml.tags+xml"/>
  <Override PartName="/ppt/tags/tag1142.xml" ContentType="application/vnd.openxmlformats-officedocument.presentationml.tags+xml"/>
  <Override PartName="/ppt/notesSlides/notesSlide229.xml" ContentType="application/vnd.openxmlformats-officedocument.presentationml.notesSlide+xml"/>
  <Override PartName="/ppt/tags/tag1143.xml" ContentType="application/vnd.openxmlformats-officedocument.presentationml.tags+xml"/>
  <Override PartName="/ppt/tags/tag1144.xml" ContentType="application/vnd.openxmlformats-officedocument.presentationml.tags+xml"/>
  <Override PartName="/ppt/notesSlides/notesSlide230.xml" ContentType="application/vnd.openxmlformats-officedocument.presentationml.notesSlide+xml"/>
  <Override PartName="/ppt/charts/chart70.xml" ContentType="application/vnd.openxmlformats-officedocument.drawingml.chart+xml"/>
  <Override PartName="/ppt/tags/tag1145.xml" ContentType="application/vnd.openxmlformats-officedocument.presentationml.tags+xml"/>
  <Override PartName="/ppt/tags/tag1146.xml" ContentType="application/vnd.openxmlformats-officedocument.presentationml.tags+xml"/>
  <Override PartName="/ppt/notesSlides/notesSlide231.xml" ContentType="application/vnd.openxmlformats-officedocument.presentationml.notesSlide+xml"/>
  <Override PartName="/ppt/tags/tag1147.xml" ContentType="application/vnd.openxmlformats-officedocument.presentationml.tags+xml"/>
  <Override PartName="/ppt/tags/tag1148.xml" ContentType="application/vnd.openxmlformats-officedocument.presentationml.tags+xml"/>
  <Override PartName="/ppt/notesSlides/notesSlide232.xml" ContentType="application/vnd.openxmlformats-officedocument.presentationml.notesSlide+xml"/>
  <Override PartName="/ppt/tags/tag1149.xml" ContentType="application/vnd.openxmlformats-officedocument.presentationml.tags+xml"/>
  <Override PartName="/ppt/tags/tag1150.xml" ContentType="application/vnd.openxmlformats-officedocument.presentationml.tags+xml"/>
  <Override PartName="/ppt/notesSlides/notesSlide233.xml" ContentType="application/vnd.openxmlformats-officedocument.presentationml.notesSlide+xml"/>
  <Override PartName="/ppt/tags/tag1151.xml" ContentType="application/vnd.openxmlformats-officedocument.presentationml.tags+xml"/>
  <Override PartName="/ppt/tags/tag1152.xml" ContentType="application/vnd.openxmlformats-officedocument.presentationml.tags+xml"/>
  <Override PartName="/ppt/notesSlides/notesSlide234.xml" ContentType="application/vnd.openxmlformats-officedocument.presentationml.notesSlide+xml"/>
  <Override PartName="/ppt/tags/tag1153.xml" ContentType="application/vnd.openxmlformats-officedocument.presentationml.tags+xml"/>
  <Override PartName="/ppt/tags/tag1154.xml" ContentType="application/vnd.openxmlformats-officedocument.presentationml.tags+xml"/>
  <Override PartName="/ppt/notesSlides/notesSlide235.xml" ContentType="application/vnd.openxmlformats-officedocument.presentationml.notesSlide+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notesSlides/notesSlide236.xml" ContentType="application/vnd.openxmlformats-officedocument.presentationml.notesSlide+xml"/>
  <Override PartName="/ppt/tags/tag1158.xml" ContentType="application/vnd.openxmlformats-officedocument.presentationml.tags+xml"/>
  <Override PartName="/ppt/tags/tag1159.xml" ContentType="application/vnd.openxmlformats-officedocument.presentationml.tags+xml"/>
  <Override PartName="/ppt/notesSlides/notesSlide237.xml" ContentType="application/vnd.openxmlformats-officedocument.presentationml.notesSlide+xml"/>
  <Override PartName="/ppt/tags/tag1160.xml" ContentType="application/vnd.openxmlformats-officedocument.presentationml.tags+xml"/>
  <Override PartName="/ppt/tags/tag1161.xml" ContentType="application/vnd.openxmlformats-officedocument.presentationml.tags+xml"/>
  <Override PartName="/ppt/notesSlides/notesSlide238.xml" ContentType="application/vnd.openxmlformats-officedocument.presentationml.notesSlide+xml"/>
  <Override PartName="/ppt/tags/tag1162.xml" ContentType="application/vnd.openxmlformats-officedocument.presentationml.tags+xml"/>
  <Override PartName="/ppt/tags/tag1163.xml" ContentType="application/vnd.openxmlformats-officedocument.presentationml.tags+xml"/>
  <Override PartName="/ppt/notesSlides/notesSlide239.xml" ContentType="application/vnd.openxmlformats-officedocument.presentationml.notesSlide+xml"/>
  <Override PartName="/ppt/tags/tag1164.xml" ContentType="application/vnd.openxmlformats-officedocument.presentationml.tags+xml"/>
  <Override PartName="/ppt/tags/tag1165.xml" ContentType="application/vnd.openxmlformats-officedocument.presentationml.tags+xml"/>
  <Override PartName="/ppt/notesSlides/notesSlide240.xml" ContentType="application/vnd.openxmlformats-officedocument.presentationml.notesSlide+xml"/>
  <Override PartName="/ppt/tags/tag1166.xml" ContentType="application/vnd.openxmlformats-officedocument.presentationml.tags+xml"/>
  <Override PartName="/ppt/tags/tag1167.xml" ContentType="application/vnd.openxmlformats-officedocument.presentationml.tags+xml"/>
  <Override PartName="/ppt/notesSlides/notesSlide241.xml" ContentType="application/vnd.openxmlformats-officedocument.presentationml.notesSlide+xml"/>
  <Override PartName="/ppt/tags/tag1168.xml" ContentType="application/vnd.openxmlformats-officedocument.presentationml.tags+xml"/>
  <Override PartName="/ppt/tags/tag1169.xml" ContentType="application/vnd.openxmlformats-officedocument.presentationml.tags+xml"/>
  <Override PartName="/ppt/notesSlides/notesSlide242.xml" ContentType="application/vnd.openxmlformats-officedocument.presentationml.notesSlide+xml"/>
  <Override PartName="/ppt/tags/tag1170.xml" ContentType="application/vnd.openxmlformats-officedocument.presentationml.tags+xml"/>
  <Override PartName="/ppt/tags/tag1171.xml" ContentType="application/vnd.openxmlformats-officedocument.presentationml.tags+xml"/>
  <Override PartName="/ppt/notesSlides/notesSlide243.xml" ContentType="application/vnd.openxmlformats-officedocument.presentationml.notesSlide+xml"/>
  <Override PartName="/ppt/tags/tag1172.xml" ContentType="application/vnd.openxmlformats-officedocument.presentationml.tags+xml"/>
  <Override PartName="/ppt/tags/tag1173.xml" ContentType="application/vnd.openxmlformats-officedocument.presentationml.tags+xml"/>
  <Override PartName="/ppt/notesSlides/notesSlide244.xml" ContentType="application/vnd.openxmlformats-officedocument.presentationml.notesSlide+xml"/>
  <Override PartName="/ppt/tags/tag1174.xml" ContentType="application/vnd.openxmlformats-officedocument.presentationml.tags+xml"/>
  <Override PartName="/ppt/tags/tag1175.xml" ContentType="application/vnd.openxmlformats-officedocument.presentationml.tags+xml"/>
  <Override PartName="/ppt/notesSlides/notesSlide245.xml" ContentType="application/vnd.openxmlformats-officedocument.presentationml.notesSlide+xml"/>
  <Override PartName="/ppt/tags/tag1176.xml" ContentType="application/vnd.openxmlformats-officedocument.presentationml.tags+xml"/>
  <Override PartName="/ppt/tags/tag1177.xml" ContentType="application/vnd.openxmlformats-officedocument.presentationml.tags+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tags/tag1178.xml" ContentType="application/vnd.openxmlformats-officedocument.presentationml.tags+xml"/>
  <Override PartName="/ppt/tags/tag1179.xml" ContentType="application/vnd.openxmlformats-officedocument.presentationml.tags+xml"/>
  <Override PartName="/ppt/notesSlides/notesSlide249.xml" ContentType="application/vnd.openxmlformats-officedocument.presentationml.notesSlide+xml"/>
  <Override PartName="/ppt/tags/tag1180.xml" ContentType="application/vnd.openxmlformats-officedocument.presentationml.tags+xml"/>
  <Override PartName="/ppt/tags/tag1181.xml" ContentType="application/vnd.openxmlformats-officedocument.presentationml.tags+xml"/>
  <Override PartName="/ppt/notesSlides/notesSlide250.xml" ContentType="application/vnd.openxmlformats-officedocument.presentationml.notesSlide+xml"/>
  <Override PartName="/ppt/tags/tag1182.xml" ContentType="application/vnd.openxmlformats-officedocument.presentationml.tags+xml"/>
  <Override PartName="/ppt/tags/tag1183.xml" ContentType="application/vnd.openxmlformats-officedocument.presentationml.tags+xml"/>
  <Override PartName="/ppt/notesSlides/notesSlide251.xml" ContentType="application/vnd.openxmlformats-officedocument.presentationml.notesSlide+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notesSlides/notesSlide2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 id="2147483661" r:id="rId2"/>
    <p:sldMasterId id="2147483675" r:id="rId3"/>
  </p:sldMasterIdLst>
  <p:notesMasterIdLst>
    <p:notesMasterId r:id="rId272"/>
  </p:notesMasterIdLst>
  <p:sldIdLst>
    <p:sldId id="279" r:id="rId4"/>
    <p:sldId id="586" r:id="rId5"/>
    <p:sldId id="587" r:id="rId6"/>
    <p:sldId id="588" r:id="rId7"/>
    <p:sldId id="333" r:id="rId8"/>
    <p:sldId id="334" r:id="rId9"/>
    <p:sldId id="335" r:id="rId10"/>
    <p:sldId id="337" r:id="rId11"/>
    <p:sldId id="267" r:id="rId12"/>
    <p:sldId id="268" r:id="rId13"/>
    <p:sldId id="338" r:id="rId14"/>
    <p:sldId id="318" r:id="rId15"/>
    <p:sldId id="353" r:id="rId16"/>
    <p:sldId id="323" r:id="rId17"/>
    <p:sldId id="322" r:id="rId18"/>
    <p:sldId id="324" r:id="rId19"/>
    <p:sldId id="325" r:id="rId20"/>
    <p:sldId id="326" r:id="rId21"/>
    <p:sldId id="354" r:id="rId22"/>
    <p:sldId id="328" r:id="rId23"/>
    <p:sldId id="329" r:id="rId24"/>
    <p:sldId id="330" r:id="rId25"/>
    <p:sldId id="331" r:id="rId26"/>
    <p:sldId id="355" r:id="rId27"/>
    <p:sldId id="356" r:id="rId28"/>
    <p:sldId id="357" r:id="rId29"/>
    <p:sldId id="358" r:id="rId30"/>
    <p:sldId id="359" r:id="rId31"/>
    <p:sldId id="360" r:id="rId32"/>
    <p:sldId id="361" r:id="rId33"/>
    <p:sldId id="339" r:id="rId34"/>
    <p:sldId id="340" r:id="rId35"/>
    <p:sldId id="341" r:id="rId36"/>
    <p:sldId id="342" r:id="rId37"/>
    <p:sldId id="343" r:id="rId38"/>
    <p:sldId id="344" r:id="rId39"/>
    <p:sldId id="346" r:id="rId40"/>
    <p:sldId id="347" r:id="rId41"/>
    <p:sldId id="348" r:id="rId42"/>
    <p:sldId id="349" r:id="rId43"/>
    <p:sldId id="345" r:id="rId44"/>
    <p:sldId id="350" r:id="rId45"/>
    <p:sldId id="351" r:id="rId46"/>
    <p:sldId id="352" r:id="rId47"/>
    <p:sldId id="362" r:id="rId48"/>
    <p:sldId id="363" r:id="rId49"/>
    <p:sldId id="364" r:id="rId50"/>
    <p:sldId id="365" r:id="rId51"/>
    <p:sldId id="366" r:id="rId52"/>
    <p:sldId id="367" r:id="rId53"/>
    <p:sldId id="368" r:id="rId54"/>
    <p:sldId id="369" r:id="rId55"/>
    <p:sldId id="370" r:id="rId56"/>
    <p:sldId id="371" r:id="rId57"/>
    <p:sldId id="372" r:id="rId58"/>
    <p:sldId id="373" r:id="rId59"/>
    <p:sldId id="374" r:id="rId60"/>
    <p:sldId id="375" r:id="rId61"/>
    <p:sldId id="376" r:id="rId62"/>
    <p:sldId id="377" r:id="rId63"/>
    <p:sldId id="378" r:id="rId64"/>
    <p:sldId id="379" r:id="rId65"/>
    <p:sldId id="380" r:id="rId66"/>
    <p:sldId id="579" r:id="rId67"/>
    <p:sldId id="580" r:id="rId68"/>
    <p:sldId id="581" r:id="rId69"/>
    <p:sldId id="582" r:id="rId70"/>
    <p:sldId id="583" r:id="rId71"/>
    <p:sldId id="584" r:id="rId72"/>
    <p:sldId id="585" r:id="rId73"/>
    <p:sldId id="381" r:id="rId74"/>
    <p:sldId id="382" r:id="rId75"/>
    <p:sldId id="383" r:id="rId76"/>
    <p:sldId id="384" r:id="rId77"/>
    <p:sldId id="385" r:id="rId78"/>
    <p:sldId id="386" r:id="rId79"/>
    <p:sldId id="387" r:id="rId80"/>
    <p:sldId id="388" r:id="rId81"/>
    <p:sldId id="389" r:id="rId82"/>
    <p:sldId id="390" r:id="rId83"/>
    <p:sldId id="391" r:id="rId84"/>
    <p:sldId id="392" r:id="rId85"/>
    <p:sldId id="393" r:id="rId86"/>
    <p:sldId id="394" r:id="rId87"/>
    <p:sldId id="395" r:id="rId88"/>
    <p:sldId id="396" r:id="rId89"/>
    <p:sldId id="397" r:id="rId90"/>
    <p:sldId id="398" r:id="rId91"/>
    <p:sldId id="399" r:id="rId92"/>
    <p:sldId id="400" r:id="rId93"/>
    <p:sldId id="401" r:id="rId94"/>
    <p:sldId id="402" r:id="rId95"/>
    <p:sldId id="403" r:id="rId96"/>
    <p:sldId id="404" r:id="rId97"/>
    <p:sldId id="405" r:id="rId98"/>
    <p:sldId id="406" r:id="rId99"/>
    <p:sldId id="407" r:id="rId100"/>
    <p:sldId id="408" r:id="rId101"/>
    <p:sldId id="409" r:id="rId102"/>
    <p:sldId id="410" r:id="rId103"/>
    <p:sldId id="411" r:id="rId104"/>
    <p:sldId id="412" r:id="rId105"/>
    <p:sldId id="413" r:id="rId106"/>
    <p:sldId id="414" r:id="rId107"/>
    <p:sldId id="415" r:id="rId108"/>
    <p:sldId id="416" r:id="rId109"/>
    <p:sldId id="417" r:id="rId110"/>
    <p:sldId id="418" r:id="rId111"/>
    <p:sldId id="419" r:id="rId112"/>
    <p:sldId id="420" r:id="rId113"/>
    <p:sldId id="421" r:id="rId114"/>
    <p:sldId id="422" r:id="rId115"/>
    <p:sldId id="423" r:id="rId116"/>
    <p:sldId id="424" r:id="rId117"/>
    <p:sldId id="425" r:id="rId118"/>
    <p:sldId id="426" r:id="rId119"/>
    <p:sldId id="427" r:id="rId120"/>
    <p:sldId id="428" r:id="rId121"/>
    <p:sldId id="429" r:id="rId122"/>
    <p:sldId id="430" r:id="rId123"/>
    <p:sldId id="431" r:id="rId124"/>
    <p:sldId id="432" r:id="rId125"/>
    <p:sldId id="433" r:id="rId126"/>
    <p:sldId id="434" r:id="rId127"/>
    <p:sldId id="435" r:id="rId128"/>
    <p:sldId id="436" r:id="rId129"/>
    <p:sldId id="437" r:id="rId130"/>
    <p:sldId id="438" r:id="rId131"/>
    <p:sldId id="439" r:id="rId132"/>
    <p:sldId id="440" r:id="rId133"/>
    <p:sldId id="441" r:id="rId134"/>
    <p:sldId id="442" r:id="rId135"/>
    <p:sldId id="443" r:id="rId136"/>
    <p:sldId id="444" r:id="rId137"/>
    <p:sldId id="445" r:id="rId138"/>
    <p:sldId id="446" r:id="rId139"/>
    <p:sldId id="447" r:id="rId140"/>
    <p:sldId id="448" r:id="rId141"/>
    <p:sldId id="449" r:id="rId142"/>
    <p:sldId id="450" r:id="rId143"/>
    <p:sldId id="451" r:id="rId144"/>
    <p:sldId id="452" r:id="rId145"/>
    <p:sldId id="453" r:id="rId146"/>
    <p:sldId id="454" r:id="rId147"/>
    <p:sldId id="455" r:id="rId148"/>
    <p:sldId id="456" r:id="rId149"/>
    <p:sldId id="457" r:id="rId150"/>
    <p:sldId id="458" r:id="rId151"/>
    <p:sldId id="459" r:id="rId152"/>
    <p:sldId id="460" r:id="rId153"/>
    <p:sldId id="461" r:id="rId154"/>
    <p:sldId id="462" r:id="rId155"/>
    <p:sldId id="463" r:id="rId156"/>
    <p:sldId id="464" r:id="rId157"/>
    <p:sldId id="465" r:id="rId158"/>
    <p:sldId id="466" r:id="rId159"/>
    <p:sldId id="467" r:id="rId160"/>
    <p:sldId id="468" r:id="rId161"/>
    <p:sldId id="469" r:id="rId162"/>
    <p:sldId id="470" r:id="rId163"/>
    <p:sldId id="471" r:id="rId164"/>
    <p:sldId id="472" r:id="rId165"/>
    <p:sldId id="473" r:id="rId166"/>
    <p:sldId id="474" r:id="rId167"/>
    <p:sldId id="475" r:id="rId168"/>
    <p:sldId id="476" r:id="rId169"/>
    <p:sldId id="477" r:id="rId170"/>
    <p:sldId id="478" r:id="rId171"/>
    <p:sldId id="479" r:id="rId172"/>
    <p:sldId id="480" r:id="rId173"/>
    <p:sldId id="481" r:id="rId174"/>
    <p:sldId id="482" r:id="rId175"/>
    <p:sldId id="483" r:id="rId176"/>
    <p:sldId id="484" r:id="rId177"/>
    <p:sldId id="485" r:id="rId178"/>
    <p:sldId id="486" r:id="rId179"/>
    <p:sldId id="487" r:id="rId180"/>
    <p:sldId id="489" r:id="rId181"/>
    <p:sldId id="488" r:id="rId182"/>
    <p:sldId id="490" r:id="rId183"/>
    <p:sldId id="491" r:id="rId184"/>
    <p:sldId id="492" r:id="rId185"/>
    <p:sldId id="493" r:id="rId186"/>
    <p:sldId id="494" r:id="rId187"/>
    <p:sldId id="495" r:id="rId188"/>
    <p:sldId id="496" r:id="rId189"/>
    <p:sldId id="497" r:id="rId190"/>
    <p:sldId id="498" r:id="rId191"/>
    <p:sldId id="499" r:id="rId192"/>
    <p:sldId id="500" r:id="rId193"/>
    <p:sldId id="501" r:id="rId194"/>
    <p:sldId id="502" r:id="rId195"/>
    <p:sldId id="503" r:id="rId196"/>
    <p:sldId id="504" r:id="rId197"/>
    <p:sldId id="505" r:id="rId198"/>
    <p:sldId id="506" r:id="rId199"/>
    <p:sldId id="507" r:id="rId200"/>
    <p:sldId id="508" r:id="rId201"/>
    <p:sldId id="509" r:id="rId202"/>
    <p:sldId id="510" r:id="rId203"/>
    <p:sldId id="511" r:id="rId204"/>
    <p:sldId id="512" r:id="rId205"/>
    <p:sldId id="513" r:id="rId206"/>
    <p:sldId id="514" r:id="rId207"/>
    <p:sldId id="515" r:id="rId208"/>
    <p:sldId id="516" r:id="rId209"/>
    <p:sldId id="517" r:id="rId210"/>
    <p:sldId id="518" r:id="rId211"/>
    <p:sldId id="519" r:id="rId212"/>
    <p:sldId id="521" r:id="rId213"/>
    <p:sldId id="522" r:id="rId214"/>
    <p:sldId id="523" r:id="rId215"/>
    <p:sldId id="524" r:id="rId216"/>
    <p:sldId id="525" r:id="rId217"/>
    <p:sldId id="526" r:id="rId218"/>
    <p:sldId id="527" r:id="rId219"/>
    <p:sldId id="528" r:id="rId220"/>
    <p:sldId id="529" r:id="rId221"/>
    <p:sldId id="530" r:id="rId222"/>
    <p:sldId id="531" r:id="rId223"/>
    <p:sldId id="532" r:id="rId224"/>
    <p:sldId id="533" r:id="rId225"/>
    <p:sldId id="534" r:id="rId226"/>
    <p:sldId id="535" r:id="rId227"/>
    <p:sldId id="536" r:id="rId228"/>
    <p:sldId id="537" r:id="rId229"/>
    <p:sldId id="538" r:id="rId230"/>
    <p:sldId id="539" r:id="rId231"/>
    <p:sldId id="540" r:id="rId232"/>
    <p:sldId id="541" r:id="rId233"/>
    <p:sldId id="542" r:id="rId234"/>
    <p:sldId id="543" r:id="rId235"/>
    <p:sldId id="544" r:id="rId236"/>
    <p:sldId id="545" r:id="rId237"/>
    <p:sldId id="546" r:id="rId238"/>
    <p:sldId id="547" r:id="rId239"/>
    <p:sldId id="548" r:id="rId240"/>
    <p:sldId id="549" r:id="rId241"/>
    <p:sldId id="550" r:id="rId242"/>
    <p:sldId id="551" r:id="rId243"/>
    <p:sldId id="552" r:id="rId244"/>
    <p:sldId id="553" r:id="rId245"/>
    <p:sldId id="554" r:id="rId246"/>
    <p:sldId id="555" r:id="rId247"/>
    <p:sldId id="556" r:id="rId248"/>
    <p:sldId id="557" r:id="rId249"/>
    <p:sldId id="558" r:id="rId250"/>
    <p:sldId id="559" r:id="rId251"/>
    <p:sldId id="560" r:id="rId252"/>
    <p:sldId id="561" r:id="rId253"/>
    <p:sldId id="562" r:id="rId254"/>
    <p:sldId id="563" r:id="rId255"/>
    <p:sldId id="564" r:id="rId256"/>
    <p:sldId id="565" r:id="rId257"/>
    <p:sldId id="566" r:id="rId258"/>
    <p:sldId id="567" r:id="rId259"/>
    <p:sldId id="568" r:id="rId260"/>
    <p:sldId id="569" r:id="rId261"/>
    <p:sldId id="570" r:id="rId262"/>
    <p:sldId id="571" r:id="rId263"/>
    <p:sldId id="572" r:id="rId264"/>
    <p:sldId id="573" r:id="rId265"/>
    <p:sldId id="266" r:id="rId266"/>
    <p:sldId id="310" r:id="rId267"/>
    <p:sldId id="574" r:id="rId268"/>
    <p:sldId id="575" r:id="rId269"/>
    <p:sldId id="576" r:id="rId270"/>
    <p:sldId id="577" r:id="rId271"/>
  </p:sldIdLst>
  <p:sldSz cx="9144000" cy="5143500" type="screen16x9"/>
  <p:notesSz cx="6858000" cy="9144000"/>
  <p:embeddedFontLst>
    <p:embeddedFont>
      <p:font typeface="Arial Black" panose="020B0A04020102020204" pitchFamily="34" charset="0"/>
      <p:bold r:id="rId273"/>
    </p:embeddedFont>
    <p:embeddedFont>
      <p:font typeface="Calibri" panose="020F0502020204030204" pitchFamily="34" charset="0"/>
      <p:regular r:id="rId274"/>
      <p:bold r:id="rId275"/>
      <p:italic r:id="rId276"/>
      <p:boldItalic r:id="rId277"/>
    </p:embeddedFont>
    <p:embeddedFont>
      <p:font typeface="Century Gothic" panose="020B0502020202020204" pitchFamily="34" charset="0"/>
      <p:regular r:id="rId278"/>
      <p:bold r:id="rId279"/>
      <p:italic r:id="rId280"/>
      <p:boldItalic r:id="rId281"/>
    </p:embeddedFont>
    <p:embeddedFont>
      <p:font typeface="Georgia" panose="02040502050405020303" pitchFamily="18" charset="0"/>
      <p:regular r:id="rId282"/>
      <p:bold r:id="rId283"/>
      <p:italic r:id="rId284"/>
      <p:boldItalic r:id="rId285"/>
    </p:embeddedFont>
    <p:embeddedFont>
      <p:font typeface="Marlett" pitchFamily="2" charset="2"/>
      <p:regular r:id="rId286"/>
    </p:embeddedFont>
    <p:embeddedFont>
      <p:font typeface="Poppins" panose="00000500000000000000" pitchFamily="2" charset="0"/>
      <p:regular r:id="rId287"/>
      <p:bold r:id="rId288"/>
      <p:italic r:id="rId289"/>
      <p:boldItalic r:id="rId290"/>
    </p:embeddedFont>
    <p:embeddedFont>
      <p:font typeface="Poppins Light" panose="00000400000000000000" pitchFamily="2" charset="0"/>
      <p:regular r:id="rId291"/>
      <p:bold r:id="rId292"/>
      <p:italic r:id="rId293"/>
      <p:boldItalic r:id="rId294"/>
    </p:embeddedFont>
    <p:embeddedFont>
      <p:font typeface="Wingdings 2" panose="05020102010507070707" pitchFamily="18" charset="2"/>
      <p:regular r:id="rId295"/>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92CA64E1-8CDA-4199-A67A-A83FA0981E04}">
          <p14:sldIdLst>
            <p14:sldId id="279"/>
            <p14:sldId id="586"/>
            <p14:sldId id="587"/>
            <p14:sldId id="588"/>
            <p14:sldId id="333"/>
            <p14:sldId id="334"/>
            <p14:sldId id="335"/>
            <p14:sldId id="337"/>
            <p14:sldId id="267"/>
            <p14:sldId id="268"/>
            <p14:sldId id="338"/>
            <p14:sldId id="318"/>
            <p14:sldId id="353"/>
            <p14:sldId id="323"/>
            <p14:sldId id="322"/>
            <p14:sldId id="324"/>
            <p14:sldId id="325"/>
            <p14:sldId id="326"/>
            <p14:sldId id="354"/>
            <p14:sldId id="328"/>
            <p14:sldId id="329"/>
            <p14:sldId id="330"/>
            <p14:sldId id="331"/>
            <p14:sldId id="355"/>
            <p14:sldId id="356"/>
            <p14:sldId id="357"/>
            <p14:sldId id="358"/>
            <p14:sldId id="359"/>
            <p14:sldId id="360"/>
            <p14:sldId id="361"/>
            <p14:sldId id="339"/>
            <p14:sldId id="340"/>
            <p14:sldId id="341"/>
            <p14:sldId id="342"/>
            <p14:sldId id="343"/>
            <p14:sldId id="344"/>
            <p14:sldId id="346"/>
            <p14:sldId id="347"/>
            <p14:sldId id="348"/>
            <p14:sldId id="349"/>
            <p14:sldId id="345"/>
            <p14:sldId id="350"/>
            <p14:sldId id="351"/>
            <p14:sldId id="352"/>
            <p14:sldId id="362"/>
            <p14:sldId id="363"/>
            <p14:sldId id="364"/>
            <p14:sldId id="365"/>
            <p14:sldId id="366"/>
            <p14:sldId id="367"/>
            <p14:sldId id="368"/>
            <p14:sldId id="369"/>
            <p14:sldId id="370"/>
            <p14:sldId id="371"/>
            <p14:sldId id="372"/>
            <p14:sldId id="373"/>
            <p14:sldId id="374"/>
            <p14:sldId id="375"/>
            <p14:sldId id="376"/>
            <p14:sldId id="377"/>
            <p14:sldId id="378"/>
            <p14:sldId id="379"/>
            <p14:sldId id="380"/>
            <p14:sldId id="579"/>
            <p14:sldId id="580"/>
            <p14:sldId id="581"/>
            <p14:sldId id="582"/>
            <p14:sldId id="583"/>
            <p14:sldId id="584"/>
            <p14:sldId id="585"/>
            <p14:sldId id="381"/>
            <p14:sldId id="382"/>
            <p14:sldId id="383"/>
            <p14:sldId id="384"/>
            <p14:sldId id="385"/>
            <p14:sldId id="386"/>
            <p14:sldId id="387"/>
            <p14:sldId id="388"/>
            <p14:sldId id="389"/>
            <p14:sldId id="390"/>
            <p14:sldId id="391"/>
            <p14:sldId id="392"/>
            <p14:sldId id="393"/>
            <p14:sldId id="394"/>
            <p14:sldId id="395"/>
            <p14:sldId id="396"/>
            <p14:sldId id="397"/>
            <p14:sldId id="398"/>
            <p14:sldId id="399"/>
            <p14:sldId id="400"/>
            <p14:sldId id="401"/>
            <p14:sldId id="402"/>
            <p14:sldId id="403"/>
            <p14:sldId id="404"/>
            <p14:sldId id="405"/>
            <p14:sldId id="406"/>
            <p14:sldId id="407"/>
            <p14:sldId id="408"/>
            <p14:sldId id="409"/>
            <p14:sldId id="410"/>
            <p14:sldId id="411"/>
            <p14:sldId id="412"/>
            <p14:sldId id="413"/>
            <p14:sldId id="414"/>
            <p14:sldId id="415"/>
            <p14:sldId id="416"/>
            <p14:sldId id="417"/>
            <p14:sldId id="418"/>
            <p14:sldId id="419"/>
            <p14:sldId id="420"/>
            <p14:sldId id="421"/>
            <p14:sldId id="422"/>
            <p14:sldId id="423"/>
            <p14:sldId id="424"/>
            <p14:sldId id="425"/>
            <p14:sldId id="426"/>
            <p14:sldId id="427"/>
            <p14:sldId id="428"/>
            <p14:sldId id="429"/>
            <p14:sldId id="430"/>
            <p14:sldId id="431"/>
            <p14:sldId id="432"/>
            <p14:sldId id="433"/>
            <p14:sldId id="434"/>
            <p14:sldId id="435"/>
            <p14:sldId id="436"/>
            <p14:sldId id="437"/>
            <p14:sldId id="438"/>
            <p14:sldId id="439"/>
            <p14:sldId id="440"/>
            <p14:sldId id="441"/>
            <p14:sldId id="442"/>
            <p14:sldId id="443"/>
            <p14:sldId id="444"/>
            <p14:sldId id="445"/>
            <p14:sldId id="446"/>
            <p14:sldId id="447"/>
            <p14:sldId id="448"/>
            <p14:sldId id="449"/>
            <p14:sldId id="450"/>
            <p14:sldId id="451"/>
            <p14:sldId id="452"/>
            <p14:sldId id="453"/>
            <p14:sldId id="454"/>
            <p14:sldId id="455"/>
            <p14:sldId id="456"/>
            <p14:sldId id="457"/>
            <p14:sldId id="458"/>
            <p14:sldId id="459"/>
            <p14:sldId id="460"/>
            <p14:sldId id="461"/>
            <p14:sldId id="462"/>
            <p14:sldId id="463"/>
            <p14:sldId id="464"/>
            <p14:sldId id="465"/>
            <p14:sldId id="466"/>
            <p14:sldId id="467"/>
            <p14:sldId id="468"/>
            <p14:sldId id="469"/>
            <p14:sldId id="470"/>
            <p14:sldId id="471"/>
            <p14:sldId id="472"/>
            <p14:sldId id="473"/>
            <p14:sldId id="474"/>
            <p14:sldId id="475"/>
            <p14:sldId id="476"/>
            <p14:sldId id="477"/>
            <p14:sldId id="478"/>
            <p14:sldId id="479"/>
            <p14:sldId id="480"/>
            <p14:sldId id="481"/>
            <p14:sldId id="482"/>
            <p14:sldId id="483"/>
            <p14:sldId id="484"/>
            <p14:sldId id="485"/>
            <p14:sldId id="486"/>
            <p14:sldId id="487"/>
            <p14:sldId id="489"/>
            <p14:sldId id="488"/>
            <p14:sldId id="490"/>
            <p14:sldId id="491"/>
            <p14:sldId id="492"/>
            <p14:sldId id="493"/>
            <p14:sldId id="494"/>
            <p14:sldId id="495"/>
            <p14:sldId id="496"/>
            <p14:sldId id="497"/>
            <p14:sldId id="498"/>
            <p14:sldId id="499"/>
            <p14:sldId id="500"/>
            <p14:sldId id="501"/>
            <p14:sldId id="502"/>
            <p14:sldId id="503"/>
            <p14:sldId id="504"/>
            <p14:sldId id="505"/>
            <p14:sldId id="506"/>
            <p14:sldId id="507"/>
            <p14:sldId id="508"/>
            <p14:sldId id="509"/>
            <p14:sldId id="510"/>
            <p14:sldId id="511"/>
            <p14:sldId id="512"/>
            <p14:sldId id="513"/>
            <p14:sldId id="514"/>
            <p14:sldId id="515"/>
            <p14:sldId id="516"/>
            <p14:sldId id="517"/>
            <p14:sldId id="518"/>
            <p14:sldId id="519"/>
            <p14:sldId id="521"/>
            <p14:sldId id="522"/>
            <p14:sldId id="523"/>
            <p14:sldId id="524"/>
            <p14:sldId id="525"/>
            <p14:sldId id="526"/>
            <p14:sldId id="527"/>
            <p14:sldId id="528"/>
            <p14:sldId id="529"/>
            <p14:sldId id="530"/>
            <p14:sldId id="531"/>
            <p14:sldId id="532"/>
            <p14:sldId id="533"/>
            <p14:sldId id="534"/>
            <p14:sldId id="535"/>
            <p14:sldId id="536"/>
            <p14:sldId id="537"/>
            <p14:sldId id="538"/>
            <p14:sldId id="539"/>
            <p14:sldId id="540"/>
            <p14:sldId id="541"/>
            <p14:sldId id="542"/>
            <p14:sldId id="543"/>
            <p14:sldId id="544"/>
            <p14:sldId id="545"/>
            <p14:sldId id="546"/>
            <p14:sldId id="547"/>
            <p14:sldId id="548"/>
            <p14:sldId id="549"/>
            <p14:sldId id="550"/>
            <p14:sldId id="551"/>
            <p14:sldId id="552"/>
            <p14:sldId id="553"/>
            <p14:sldId id="554"/>
            <p14:sldId id="555"/>
            <p14:sldId id="556"/>
            <p14:sldId id="557"/>
            <p14:sldId id="558"/>
            <p14:sldId id="559"/>
            <p14:sldId id="560"/>
            <p14:sldId id="561"/>
            <p14:sldId id="562"/>
            <p14:sldId id="563"/>
            <p14:sldId id="564"/>
            <p14:sldId id="565"/>
            <p14:sldId id="566"/>
            <p14:sldId id="567"/>
            <p14:sldId id="568"/>
            <p14:sldId id="569"/>
            <p14:sldId id="570"/>
            <p14:sldId id="571"/>
            <p14:sldId id="572"/>
            <p14:sldId id="573"/>
            <p14:sldId id="266"/>
            <p14:sldId id="310"/>
            <p14:sldId id="574"/>
            <p14:sldId id="575"/>
            <p14:sldId id="576"/>
            <p14:sldId id="577"/>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301" roundtripDataSignature="AMtx7mjUA7qvARL7je2lfrlhhaxT2qDBOg=="/>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776"/>
    <a:srgbClr val="3C8A2E"/>
    <a:srgbClr val="A1C09B"/>
    <a:srgbClr val="00A1DE"/>
    <a:srgbClr val="D9E18A"/>
    <a:srgbClr val="D1DB74"/>
    <a:srgbClr val="FFCC00"/>
    <a:srgbClr val="003300"/>
    <a:srgbClr val="6600FF"/>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2" autoAdjust="0"/>
    <p:restoredTop sz="95070" autoAdjust="0"/>
  </p:normalViewPr>
  <p:slideViewPr>
    <p:cSldViewPr snapToGrid="0">
      <p:cViewPr varScale="1">
        <p:scale>
          <a:sx n="113" d="100"/>
          <a:sy n="113" d="100"/>
        </p:scale>
        <p:origin x="586" y="77"/>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1" Type="http://schemas.openxmlformats.org/officeDocument/2006/relationships/slide" Target="slides/slide18.xml"/><Relationship Id="rId63" Type="http://schemas.openxmlformats.org/officeDocument/2006/relationships/slide" Target="slides/slide60.xml"/><Relationship Id="rId159" Type="http://schemas.openxmlformats.org/officeDocument/2006/relationships/slide" Target="slides/slide156.xml"/><Relationship Id="rId170" Type="http://schemas.openxmlformats.org/officeDocument/2006/relationships/slide" Target="slides/slide167.xml"/><Relationship Id="rId226" Type="http://schemas.openxmlformats.org/officeDocument/2006/relationships/slide" Target="slides/slide223.xml"/><Relationship Id="rId268" Type="http://schemas.openxmlformats.org/officeDocument/2006/relationships/slide" Target="slides/slide265.xml"/><Relationship Id="rId32" Type="http://schemas.openxmlformats.org/officeDocument/2006/relationships/slide" Target="slides/slide29.xml"/><Relationship Id="rId74" Type="http://schemas.openxmlformats.org/officeDocument/2006/relationships/slide" Target="slides/slide71.xml"/><Relationship Id="rId128" Type="http://schemas.openxmlformats.org/officeDocument/2006/relationships/slide" Target="slides/slide125.xml"/><Relationship Id="rId5" Type="http://schemas.openxmlformats.org/officeDocument/2006/relationships/slide" Target="slides/slide2.xml"/><Relationship Id="rId181" Type="http://schemas.openxmlformats.org/officeDocument/2006/relationships/slide" Target="slides/slide178.xml"/><Relationship Id="rId237" Type="http://schemas.openxmlformats.org/officeDocument/2006/relationships/slide" Target="slides/slide234.xml"/><Relationship Id="rId279" Type="http://schemas.openxmlformats.org/officeDocument/2006/relationships/font" Target="fonts/font7.fntdata"/><Relationship Id="rId43" Type="http://schemas.openxmlformats.org/officeDocument/2006/relationships/slide" Target="slides/slide40.xml"/><Relationship Id="rId139" Type="http://schemas.openxmlformats.org/officeDocument/2006/relationships/slide" Target="slides/slide136.xml"/><Relationship Id="rId290" Type="http://schemas.openxmlformats.org/officeDocument/2006/relationships/font" Target="fonts/font18.fntdata"/><Relationship Id="rId304" Type="http://schemas.openxmlformats.org/officeDocument/2006/relationships/theme" Target="theme/theme1.xml"/><Relationship Id="rId85" Type="http://schemas.openxmlformats.org/officeDocument/2006/relationships/slide" Target="slides/slide82.xml"/><Relationship Id="rId150" Type="http://schemas.openxmlformats.org/officeDocument/2006/relationships/slide" Target="slides/slide147.xml"/><Relationship Id="rId192" Type="http://schemas.openxmlformats.org/officeDocument/2006/relationships/slide" Target="slides/slide189.xml"/><Relationship Id="rId206" Type="http://schemas.openxmlformats.org/officeDocument/2006/relationships/slide" Target="slides/slide203.xml"/><Relationship Id="rId248" Type="http://schemas.openxmlformats.org/officeDocument/2006/relationships/slide" Target="slides/slide245.xml"/><Relationship Id="rId12" Type="http://schemas.openxmlformats.org/officeDocument/2006/relationships/slide" Target="slides/slide9.xml"/><Relationship Id="rId108" Type="http://schemas.openxmlformats.org/officeDocument/2006/relationships/slide" Target="slides/slide105.xml"/><Relationship Id="rId54" Type="http://schemas.openxmlformats.org/officeDocument/2006/relationships/slide" Target="slides/slide51.xml"/><Relationship Id="rId75" Type="http://schemas.openxmlformats.org/officeDocument/2006/relationships/slide" Target="slides/slide72.xml"/><Relationship Id="rId96" Type="http://schemas.openxmlformats.org/officeDocument/2006/relationships/slide" Target="slides/slide93.xml"/><Relationship Id="rId140" Type="http://schemas.openxmlformats.org/officeDocument/2006/relationships/slide" Target="slides/slide137.xml"/><Relationship Id="rId161" Type="http://schemas.openxmlformats.org/officeDocument/2006/relationships/slide" Target="slides/slide158.xml"/><Relationship Id="rId182" Type="http://schemas.openxmlformats.org/officeDocument/2006/relationships/slide" Target="slides/slide179.xml"/><Relationship Id="rId217" Type="http://schemas.openxmlformats.org/officeDocument/2006/relationships/slide" Target="slides/slide214.xml"/><Relationship Id="rId6" Type="http://schemas.openxmlformats.org/officeDocument/2006/relationships/slide" Target="slides/slide3.xml"/><Relationship Id="rId238" Type="http://schemas.openxmlformats.org/officeDocument/2006/relationships/slide" Target="slides/slide235.xml"/><Relationship Id="rId259" Type="http://schemas.openxmlformats.org/officeDocument/2006/relationships/slide" Target="slides/slide256.xml"/><Relationship Id="rId23" Type="http://schemas.openxmlformats.org/officeDocument/2006/relationships/slide" Target="slides/slide20.xml"/><Relationship Id="rId119" Type="http://schemas.openxmlformats.org/officeDocument/2006/relationships/slide" Target="slides/slide116.xml"/><Relationship Id="rId270" Type="http://schemas.openxmlformats.org/officeDocument/2006/relationships/slide" Target="slides/slide267.xml"/><Relationship Id="rId291" Type="http://schemas.openxmlformats.org/officeDocument/2006/relationships/font" Target="fonts/font19.fntdata"/><Relationship Id="rId305" Type="http://schemas.openxmlformats.org/officeDocument/2006/relationships/tableStyles" Target="tableStyles.xml"/><Relationship Id="rId44" Type="http://schemas.openxmlformats.org/officeDocument/2006/relationships/slide" Target="slides/slide41.xml"/><Relationship Id="rId65" Type="http://schemas.openxmlformats.org/officeDocument/2006/relationships/slide" Target="slides/slide62.xml"/><Relationship Id="rId86" Type="http://schemas.openxmlformats.org/officeDocument/2006/relationships/slide" Target="slides/slide83.xml"/><Relationship Id="rId130" Type="http://schemas.openxmlformats.org/officeDocument/2006/relationships/slide" Target="slides/slide127.xml"/><Relationship Id="rId151" Type="http://schemas.openxmlformats.org/officeDocument/2006/relationships/slide" Target="slides/slide148.xml"/><Relationship Id="rId172" Type="http://schemas.openxmlformats.org/officeDocument/2006/relationships/slide" Target="slides/slide169.xml"/><Relationship Id="rId193" Type="http://schemas.openxmlformats.org/officeDocument/2006/relationships/slide" Target="slides/slide190.xml"/><Relationship Id="rId207" Type="http://schemas.openxmlformats.org/officeDocument/2006/relationships/slide" Target="slides/slide204.xml"/><Relationship Id="rId228" Type="http://schemas.openxmlformats.org/officeDocument/2006/relationships/slide" Target="slides/slide225.xml"/><Relationship Id="rId249" Type="http://schemas.openxmlformats.org/officeDocument/2006/relationships/slide" Target="slides/slide246.xml"/><Relationship Id="rId13" Type="http://schemas.openxmlformats.org/officeDocument/2006/relationships/slide" Target="slides/slide10.xml"/><Relationship Id="rId109" Type="http://schemas.openxmlformats.org/officeDocument/2006/relationships/slide" Target="slides/slide106.xml"/><Relationship Id="rId260" Type="http://schemas.openxmlformats.org/officeDocument/2006/relationships/slide" Target="slides/slide257.xml"/><Relationship Id="rId281" Type="http://schemas.openxmlformats.org/officeDocument/2006/relationships/font" Target="fonts/font9.fntdata"/><Relationship Id="rId34" Type="http://schemas.openxmlformats.org/officeDocument/2006/relationships/slide" Target="slides/slide31.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20" Type="http://schemas.openxmlformats.org/officeDocument/2006/relationships/slide" Target="slides/slide117.xml"/><Relationship Id="rId141" Type="http://schemas.openxmlformats.org/officeDocument/2006/relationships/slide" Target="slides/slide138.xml"/><Relationship Id="rId7" Type="http://schemas.openxmlformats.org/officeDocument/2006/relationships/slide" Target="slides/slide4.xml"/><Relationship Id="rId162" Type="http://schemas.openxmlformats.org/officeDocument/2006/relationships/slide" Target="slides/slide159.xml"/><Relationship Id="rId183" Type="http://schemas.openxmlformats.org/officeDocument/2006/relationships/slide" Target="slides/slide180.xml"/><Relationship Id="rId218" Type="http://schemas.openxmlformats.org/officeDocument/2006/relationships/slide" Target="slides/slide215.xml"/><Relationship Id="rId239" Type="http://schemas.openxmlformats.org/officeDocument/2006/relationships/slide" Target="slides/slide236.xml"/><Relationship Id="rId250" Type="http://schemas.openxmlformats.org/officeDocument/2006/relationships/slide" Target="slides/slide247.xml"/><Relationship Id="rId271" Type="http://schemas.openxmlformats.org/officeDocument/2006/relationships/slide" Target="slides/slide268.xml"/><Relationship Id="rId292" Type="http://schemas.openxmlformats.org/officeDocument/2006/relationships/font" Target="fonts/font20.fntdata"/><Relationship Id="rId24" Type="http://schemas.openxmlformats.org/officeDocument/2006/relationships/slide" Target="slides/slide21.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31" Type="http://schemas.openxmlformats.org/officeDocument/2006/relationships/slide" Target="slides/slide128.xml"/><Relationship Id="rId152" Type="http://schemas.openxmlformats.org/officeDocument/2006/relationships/slide" Target="slides/slide149.xml"/><Relationship Id="rId173" Type="http://schemas.openxmlformats.org/officeDocument/2006/relationships/slide" Target="slides/slide170.xml"/><Relationship Id="rId194" Type="http://schemas.openxmlformats.org/officeDocument/2006/relationships/slide" Target="slides/slide191.xml"/><Relationship Id="rId208" Type="http://schemas.openxmlformats.org/officeDocument/2006/relationships/slide" Target="slides/slide205.xml"/><Relationship Id="rId229" Type="http://schemas.openxmlformats.org/officeDocument/2006/relationships/slide" Target="slides/slide226.xml"/><Relationship Id="rId240" Type="http://schemas.openxmlformats.org/officeDocument/2006/relationships/slide" Target="slides/slide237.xml"/><Relationship Id="rId261" Type="http://schemas.openxmlformats.org/officeDocument/2006/relationships/slide" Target="slides/slide258.xml"/><Relationship Id="rId14" Type="http://schemas.openxmlformats.org/officeDocument/2006/relationships/slide" Target="slides/slide11.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282" Type="http://schemas.openxmlformats.org/officeDocument/2006/relationships/font" Target="fonts/font10.fntdata"/><Relationship Id="rId8" Type="http://schemas.openxmlformats.org/officeDocument/2006/relationships/slide" Target="slides/slide5.xml"/><Relationship Id="rId98" Type="http://schemas.openxmlformats.org/officeDocument/2006/relationships/slide" Target="slides/slide95.xml"/><Relationship Id="rId121" Type="http://schemas.openxmlformats.org/officeDocument/2006/relationships/slide" Target="slides/slide118.xml"/><Relationship Id="rId142" Type="http://schemas.openxmlformats.org/officeDocument/2006/relationships/slide" Target="slides/slide139.xml"/><Relationship Id="rId163" Type="http://schemas.openxmlformats.org/officeDocument/2006/relationships/slide" Target="slides/slide160.xml"/><Relationship Id="rId184" Type="http://schemas.openxmlformats.org/officeDocument/2006/relationships/slide" Target="slides/slide181.xml"/><Relationship Id="rId219" Type="http://schemas.openxmlformats.org/officeDocument/2006/relationships/slide" Target="slides/slide216.xml"/><Relationship Id="rId230" Type="http://schemas.openxmlformats.org/officeDocument/2006/relationships/slide" Target="slides/slide227.xml"/><Relationship Id="rId251" Type="http://schemas.openxmlformats.org/officeDocument/2006/relationships/slide" Target="slides/slide248.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272" Type="http://schemas.openxmlformats.org/officeDocument/2006/relationships/notesMaster" Target="notesMasters/notesMaster1.xml"/><Relationship Id="rId293" Type="http://schemas.openxmlformats.org/officeDocument/2006/relationships/font" Target="fonts/font21.fntdata"/><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slide" Target="slides/slide129.xml"/><Relationship Id="rId153" Type="http://schemas.openxmlformats.org/officeDocument/2006/relationships/slide" Target="slides/slide150.xml"/><Relationship Id="rId174" Type="http://schemas.openxmlformats.org/officeDocument/2006/relationships/slide" Target="slides/slide171.xml"/><Relationship Id="rId195" Type="http://schemas.openxmlformats.org/officeDocument/2006/relationships/slide" Target="slides/slide192.xml"/><Relationship Id="rId209" Type="http://schemas.openxmlformats.org/officeDocument/2006/relationships/slide" Target="slides/slide206.xml"/><Relationship Id="rId220" Type="http://schemas.openxmlformats.org/officeDocument/2006/relationships/slide" Target="slides/slide217.xml"/><Relationship Id="rId241" Type="http://schemas.openxmlformats.org/officeDocument/2006/relationships/slide" Target="slides/slide238.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262" Type="http://schemas.openxmlformats.org/officeDocument/2006/relationships/slide" Target="slides/slide259.xml"/><Relationship Id="rId283" Type="http://schemas.openxmlformats.org/officeDocument/2006/relationships/font" Target="fonts/font11.fntdata"/><Relationship Id="rId78" Type="http://schemas.openxmlformats.org/officeDocument/2006/relationships/slide" Target="slides/slide75.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43" Type="http://schemas.openxmlformats.org/officeDocument/2006/relationships/slide" Target="slides/slide140.xml"/><Relationship Id="rId164" Type="http://schemas.openxmlformats.org/officeDocument/2006/relationships/slide" Target="slides/slide161.xml"/><Relationship Id="rId185" Type="http://schemas.openxmlformats.org/officeDocument/2006/relationships/slide" Target="slides/slide182.xml"/><Relationship Id="rId9" Type="http://schemas.openxmlformats.org/officeDocument/2006/relationships/slide" Target="slides/slide6.xml"/><Relationship Id="rId210" Type="http://schemas.openxmlformats.org/officeDocument/2006/relationships/slide" Target="slides/slide207.xml"/><Relationship Id="rId26" Type="http://schemas.openxmlformats.org/officeDocument/2006/relationships/slide" Target="slides/slide23.xml"/><Relationship Id="rId231" Type="http://schemas.openxmlformats.org/officeDocument/2006/relationships/slide" Target="slides/slide228.xml"/><Relationship Id="rId252" Type="http://schemas.openxmlformats.org/officeDocument/2006/relationships/slide" Target="slides/slide249.xml"/><Relationship Id="rId273" Type="http://schemas.openxmlformats.org/officeDocument/2006/relationships/font" Target="fonts/font1.fntdata"/><Relationship Id="rId294" Type="http://schemas.openxmlformats.org/officeDocument/2006/relationships/font" Target="fonts/font22.fntdata"/><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slide" Target="slides/slide130.xml"/><Relationship Id="rId154" Type="http://schemas.openxmlformats.org/officeDocument/2006/relationships/slide" Target="slides/slide151.xml"/><Relationship Id="rId175" Type="http://schemas.openxmlformats.org/officeDocument/2006/relationships/slide" Target="slides/slide172.xml"/><Relationship Id="rId196" Type="http://schemas.openxmlformats.org/officeDocument/2006/relationships/slide" Target="slides/slide193.xml"/><Relationship Id="rId200" Type="http://schemas.openxmlformats.org/officeDocument/2006/relationships/slide" Target="slides/slide197.xml"/><Relationship Id="rId16" Type="http://schemas.openxmlformats.org/officeDocument/2006/relationships/slide" Target="slides/slide13.xml"/><Relationship Id="rId221" Type="http://schemas.openxmlformats.org/officeDocument/2006/relationships/slide" Target="slides/slide218.xml"/><Relationship Id="rId242" Type="http://schemas.openxmlformats.org/officeDocument/2006/relationships/slide" Target="slides/slide239.xml"/><Relationship Id="rId263" Type="http://schemas.openxmlformats.org/officeDocument/2006/relationships/slide" Target="slides/slide260.xml"/><Relationship Id="rId284" Type="http://schemas.openxmlformats.org/officeDocument/2006/relationships/font" Target="fonts/font12.fntdata"/><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44" Type="http://schemas.openxmlformats.org/officeDocument/2006/relationships/slide" Target="slides/slide141.xml"/><Relationship Id="rId90" Type="http://schemas.openxmlformats.org/officeDocument/2006/relationships/slide" Target="slides/slide87.xml"/><Relationship Id="rId165" Type="http://schemas.openxmlformats.org/officeDocument/2006/relationships/slide" Target="slides/slide162.xml"/><Relationship Id="rId186" Type="http://schemas.openxmlformats.org/officeDocument/2006/relationships/slide" Target="slides/slide183.xml"/><Relationship Id="rId211" Type="http://schemas.openxmlformats.org/officeDocument/2006/relationships/slide" Target="slides/slide208.xml"/><Relationship Id="rId232" Type="http://schemas.openxmlformats.org/officeDocument/2006/relationships/slide" Target="slides/slide229.xml"/><Relationship Id="rId253" Type="http://schemas.openxmlformats.org/officeDocument/2006/relationships/slide" Target="slides/slide250.xml"/><Relationship Id="rId274" Type="http://schemas.openxmlformats.org/officeDocument/2006/relationships/font" Target="fonts/font2.fntdata"/><Relationship Id="rId295" Type="http://schemas.openxmlformats.org/officeDocument/2006/relationships/font" Target="fonts/font23.fntdata"/><Relationship Id="rId27" Type="http://schemas.openxmlformats.org/officeDocument/2006/relationships/slide" Target="slides/slide24.xml"/><Relationship Id="rId48" Type="http://schemas.openxmlformats.org/officeDocument/2006/relationships/slide" Target="slides/slide45.xml"/><Relationship Id="rId69" Type="http://schemas.openxmlformats.org/officeDocument/2006/relationships/slide" Target="slides/slide66.xml"/><Relationship Id="rId113" Type="http://schemas.openxmlformats.org/officeDocument/2006/relationships/slide" Target="slides/slide110.xml"/><Relationship Id="rId134" Type="http://schemas.openxmlformats.org/officeDocument/2006/relationships/slide" Target="slides/slide131.xml"/><Relationship Id="rId80" Type="http://schemas.openxmlformats.org/officeDocument/2006/relationships/slide" Target="slides/slide77.xml"/><Relationship Id="rId155" Type="http://schemas.openxmlformats.org/officeDocument/2006/relationships/slide" Target="slides/slide152.xml"/><Relationship Id="rId176" Type="http://schemas.openxmlformats.org/officeDocument/2006/relationships/slide" Target="slides/slide173.xml"/><Relationship Id="rId197" Type="http://schemas.openxmlformats.org/officeDocument/2006/relationships/slide" Target="slides/slide194.xml"/><Relationship Id="rId201" Type="http://schemas.openxmlformats.org/officeDocument/2006/relationships/slide" Target="slides/slide198.xml"/><Relationship Id="rId222" Type="http://schemas.openxmlformats.org/officeDocument/2006/relationships/slide" Target="slides/slide219.xml"/><Relationship Id="rId243" Type="http://schemas.openxmlformats.org/officeDocument/2006/relationships/slide" Target="slides/slide240.xml"/><Relationship Id="rId264" Type="http://schemas.openxmlformats.org/officeDocument/2006/relationships/slide" Target="slides/slide261.xml"/><Relationship Id="rId285" Type="http://schemas.openxmlformats.org/officeDocument/2006/relationships/font" Target="fonts/font13.fntdata"/><Relationship Id="rId17" Type="http://schemas.openxmlformats.org/officeDocument/2006/relationships/slide" Target="slides/slide14.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24" Type="http://schemas.openxmlformats.org/officeDocument/2006/relationships/slide" Target="slides/slide121.xml"/><Relationship Id="rId70" Type="http://schemas.openxmlformats.org/officeDocument/2006/relationships/slide" Target="slides/slide67.xml"/><Relationship Id="rId91" Type="http://schemas.openxmlformats.org/officeDocument/2006/relationships/slide" Target="slides/slide88.xml"/><Relationship Id="rId145" Type="http://schemas.openxmlformats.org/officeDocument/2006/relationships/slide" Target="slides/slide142.xml"/><Relationship Id="rId166" Type="http://schemas.openxmlformats.org/officeDocument/2006/relationships/slide" Target="slides/slide163.xml"/><Relationship Id="rId187" Type="http://schemas.openxmlformats.org/officeDocument/2006/relationships/slide" Target="slides/slide184.xml"/><Relationship Id="rId1" Type="http://schemas.openxmlformats.org/officeDocument/2006/relationships/slideMaster" Target="slideMasters/slideMaster1.xml"/><Relationship Id="rId212" Type="http://schemas.openxmlformats.org/officeDocument/2006/relationships/slide" Target="slides/slide209.xml"/><Relationship Id="rId233" Type="http://schemas.openxmlformats.org/officeDocument/2006/relationships/slide" Target="slides/slide230.xml"/><Relationship Id="rId254" Type="http://schemas.openxmlformats.org/officeDocument/2006/relationships/slide" Target="slides/slide251.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275" Type="http://schemas.openxmlformats.org/officeDocument/2006/relationships/font" Target="fonts/font3.fntdata"/><Relationship Id="rId60" Type="http://schemas.openxmlformats.org/officeDocument/2006/relationships/slide" Target="slides/slide57.xml"/><Relationship Id="rId81" Type="http://schemas.openxmlformats.org/officeDocument/2006/relationships/slide" Target="slides/slide78.xml"/><Relationship Id="rId135" Type="http://schemas.openxmlformats.org/officeDocument/2006/relationships/slide" Target="slides/slide132.xml"/><Relationship Id="rId156" Type="http://schemas.openxmlformats.org/officeDocument/2006/relationships/slide" Target="slides/slide153.xml"/><Relationship Id="rId177" Type="http://schemas.openxmlformats.org/officeDocument/2006/relationships/slide" Target="slides/slide174.xml"/><Relationship Id="rId198" Type="http://schemas.openxmlformats.org/officeDocument/2006/relationships/slide" Target="slides/slide195.xml"/><Relationship Id="rId202" Type="http://schemas.openxmlformats.org/officeDocument/2006/relationships/slide" Target="slides/slide199.xml"/><Relationship Id="rId223" Type="http://schemas.openxmlformats.org/officeDocument/2006/relationships/slide" Target="slides/slide220.xml"/><Relationship Id="rId244" Type="http://schemas.openxmlformats.org/officeDocument/2006/relationships/slide" Target="slides/slide241.xml"/><Relationship Id="rId18" Type="http://schemas.openxmlformats.org/officeDocument/2006/relationships/slide" Target="slides/slide15.xml"/><Relationship Id="rId39" Type="http://schemas.openxmlformats.org/officeDocument/2006/relationships/slide" Target="slides/slide36.xml"/><Relationship Id="rId265" Type="http://schemas.openxmlformats.org/officeDocument/2006/relationships/slide" Target="slides/slide262.xml"/><Relationship Id="rId286" Type="http://schemas.openxmlformats.org/officeDocument/2006/relationships/font" Target="fonts/font14.fntdata"/><Relationship Id="rId50" Type="http://schemas.openxmlformats.org/officeDocument/2006/relationships/slide" Target="slides/slide47.xml"/><Relationship Id="rId104" Type="http://schemas.openxmlformats.org/officeDocument/2006/relationships/slide" Target="slides/slide101.xml"/><Relationship Id="rId125" Type="http://schemas.openxmlformats.org/officeDocument/2006/relationships/slide" Target="slides/slide122.xml"/><Relationship Id="rId146" Type="http://schemas.openxmlformats.org/officeDocument/2006/relationships/slide" Target="slides/slide143.xml"/><Relationship Id="rId167" Type="http://schemas.openxmlformats.org/officeDocument/2006/relationships/slide" Target="slides/slide164.xml"/><Relationship Id="rId188" Type="http://schemas.openxmlformats.org/officeDocument/2006/relationships/slide" Target="slides/slide185.xml"/><Relationship Id="rId71" Type="http://schemas.openxmlformats.org/officeDocument/2006/relationships/slide" Target="slides/slide68.xml"/><Relationship Id="rId92" Type="http://schemas.openxmlformats.org/officeDocument/2006/relationships/slide" Target="slides/slide89.xml"/><Relationship Id="rId213" Type="http://schemas.openxmlformats.org/officeDocument/2006/relationships/slide" Target="slides/slide210.xml"/><Relationship Id="rId234" Type="http://schemas.openxmlformats.org/officeDocument/2006/relationships/slide" Target="slides/slide231.xml"/><Relationship Id="rId2" Type="http://schemas.openxmlformats.org/officeDocument/2006/relationships/slideMaster" Target="slideMasters/slideMaster2.xml"/><Relationship Id="rId29" Type="http://schemas.openxmlformats.org/officeDocument/2006/relationships/slide" Target="slides/slide26.xml"/><Relationship Id="rId255" Type="http://schemas.openxmlformats.org/officeDocument/2006/relationships/slide" Target="slides/slide252.xml"/><Relationship Id="rId276" Type="http://schemas.openxmlformats.org/officeDocument/2006/relationships/font" Target="fonts/font4.fntdata"/><Relationship Id="rId40" Type="http://schemas.openxmlformats.org/officeDocument/2006/relationships/slide" Target="slides/slide37.xml"/><Relationship Id="rId115" Type="http://schemas.openxmlformats.org/officeDocument/2006/relationships/slide" Target="slides/slide112.xml"/><Relationship Id="rId136" Type="http://schemas.openxmlformats.org/officeDocument/2006/relationships/slide" Target="slides/slide133.xml"/><Relationship Id="rId157" Type="http://schemas.openxmlformats.org/officeDocument/2006/relationships/slide" Target="slides/slide154.xml"/><Relationship Id="rId178" Type="http://schemas.openxmlformats.org/officeDocument/2006/relationships/slide" Target="slides/slide175.xml"/><Relationship Id="rId301" Type="http://customschemas.google.com/relationships/presentationmetadata" Target="metadata"/><Relationship Id="rId61" Type="http://schemas.openxmlformats.org/officeDocument/2006/relationships/slide" Target="slides/slide58.xml"/><Relationship Id="rId82" Type="http://schemas.openxmlformats.org/officeDocument/2006/relationships/slide" Target="slides/slide79.xml"/><Relationship Id="rId199" Type="http://schemas.openxmlformats.org/officeDocument/2006/relationships/slide" Target="slides/slide196.xml"/><Relationship Id="rId203" Type="http://schemas.openxmlformats.org/officeDocument/2006/relationships/slide" Target="slides/slide200.xml"/><Relationship Id="rId19" Type="http://schemas.openxmlformats.org/officeDocument/2006/relationships/slide" Target="slides/slide16.xml"/><Relationship Id="rId224" Type="http://schemas.openxmlformats.org/officeDocument/2006/relationships/slide" Target="slides/slide221.xml"/><Relationship Id="rId245" Type="http://schemas.openxmlformats.org/officeDocument/2006/relationships/slide" Target="slides/slide242.xml"/><Relationship Id="rId266" Type="http://schemas.openxmlformats.org/officeDocument/2006/relationships/slide" Target="slides/slide263.xml"/><Relationship Id="rId287" Type="http://schemas.openxmlformats.org/officeDocument/2006/relationships/font" Target="fonts/font15.fntdata"/><Relationship Id="rId30" Type="http://schemas.openxmlformats.org/officeDocument/2006/relationships/slide" Target="slides/slide27.xml"/><Relationship Id="rId105" Type="http://schemas.openxmlformats.org/officeDocument/2006/relationships/slide" Target="slides/slide102.xml"/><Relationship Id="rId126" Type="http://schemas.openxmlformats.org/officeDocument/2006/relationships/slide" Target="slides/slide123.xml"/><Relationship Id="rId147" Type="http://schemas.openxmlformats.org/officeDocument/2006/relationships/slide" Target="slides/slide144.xml"/><Relationship Id="rId168" Type="http://schemas.openxmlformats.org/officeDocument/2006/relationships/slide" Target="slides/slide16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189" Type="http://schemas.openxmlformats.org/officeDocument/2006/relationships/slide" Target="slides/slide186.xml"/><Relationship Id="rId3" Type="http://schemas.openxmlformats.org/officeDocument/2006/relationships/slideMaster" Target="slideMasters/slideMaster3.xml"/><Relationship Id="rId214" Type="http://schemas.openxmlformats.org/officeDocument/2006/relationships/slide" Target="slides/slide211.xml"/><Relationship Id="rId235" Type="http://schemas.openxmlformats.org/officeDocument/2006/relationships/slide" Target="slides/slide232.xml"/><Relationship Id="rId256" Type="http://schemas.openxmlformats.org/officeDocument/2006/relationships/slide" Target="slides/slide253.xml"/><Relationship Id="rId277" Type="http://schemas.openxmlformats.org/officeDocument/2006/relationships/font" Target="fonts/font5.fntdata"/><Relationship Id="rId116" Type="http://schemas.openxmlformats.org/officeDocument/2006/relationships/slide" Target="slides/slide113.xml"/><Relationship Id="rId137" Type="http://schemas.openxmlformats.org/officeDocument/2006/relationships/slide" Target="slides/slide134.xml"/><Relationship Id="rId158" Type="http://schemas.openxmlformats.org/officeDocument/2006/relationships/slide" Target="slides/slide155.xml"/><Relationship Id="rId302" Type="http://schemas.openxmlformats.org/officeDocument/2006/relationships/presProps" Target="presProps.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179" Type="http://schemas.openxmlformats.org/officeDocument/2006/relationships/slide" Target="slides/slide176.xml"/><Relationship Id="rId190" Type="http://schemas.openxmlformats.org/officeDocument/2006/relationships/slide" Target="slides/slide187.xml"/><Relationship Id="rId204" Type="http://schemas.openxmlformats.org/officeDocument/2006/relationships/slide" Target="slides/slide201.xml"/><Relationship Id="rId225" Type="http://schemas.openxmlformats.org/officeDocument/2006/relationships/slide" Target="slides/slide222.xml"/><Relationship Id="rId246" Type="http://schemas.openxmlformats.org/officeDocument/2006/relationships/slide" Target="slides/slide243.xml"/><Relationship Id="rId267" Type="http://schemas.openxmlformats.org/officeDocument/2006/relationships/slide" Target="slides/slide264.xml"/><Relationship Id="rId288" Type="http://schemas.openxmlformats.org/officeDocument/2006/relationships/font" Target="fonts/font16.fntdata"/><Relationship Id="rId106" Type="http://schemas.openxmlformats.org/officeDocument/2006/relationships/slide" Target="slides/slide103.xml"/><Relationship Id="rId127" Type="http://schemas.openxmlformats.org/officeDocument/2006/relationships/slide" Target="slides/slide124.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94" Type="http://schemas.openxmlformats.org/officeDocument/2006/relationships/slide" Target="slides/slide91.xml"/><Relationship Id="rId148" Type="http://schemas.openxmlformats.org/officeDocument/2006/relationships/slide" Target="slides/slide145.xml"/><Relationship Id="rId169" Type="http://schemas.openxmlformats.org/officeDocument/2006/relationships/slide" Target="slides/slide166.xml"/><Relationship Id="rId4" Type="http://schemas.openxmlformats.org/officeDocument/2006/relationships/slide" Target="slides/slide1.xml"/><Relationship Id="rId180" Type="http://schemas.openxmlformats.org/officeDocument/2006/relationships/slide" Target="slides/slide177.xml"/><Relationship Id="rId215" Type="http://schemas.openxmlformats.org/officeDocument/2006/relationships/slide" Target="slides/slide212.xml"/><Relationship Id="rId236" Type="http://schemas.openxmlformats.org/officeDocument/2006/relationships/slide" Target="slides/slide233.xml"/><Relationship Id="rId257" Type="http://schemas.openxmlformats.org/officeDocument/2006/relationships/slide" Target="slides/slide254.xml"/><Relationship Id="rId278" Type="http://schemas.openxmlformats.org/officeDocument/2006/relationships/font" Target="fonts/font6.fntdata"/><Relationship Id="rId303" Type="http://schemas.openxmlformats.org/officeDocument/2006/relationships/viewProps" Target="viewProps.xml"/><Relationship Id="rId42" Type="http://schemas.openxmlformats.org/officeDocument/2006/relationships/slide" Target="slides/slide39.xml"/><Relationship Id="rId84" Type="http://schemas.openxmlformats.org/officeDocument/2006/relationships/slide" Target="slides/slide81.xml"/><Relationship Id="rId138" Type="http://schemas.openxmlformats.org/officeDocument/2006/relationships/slide" Target="slides/slide135.xml"/><Relationship Id="rId191" Type="http://schemas.openxmlformats.org/officeDocument/2006/relationships/slide" Target="slides/slide188.xml"/><Relationship Id="rId205" Type="http://schemas.openxmlformats.org/officeDocument/2006/relationships/slide" Target="slides/slide202.xml"/><Relationship Id="rId247" Type="http://schemas.openxmlformats.org/officeDocument/2006/relationships/slide" Target="slides/slide244.xml"/><Relationship Id="rId107" Type="http://schemas.openxmlformats.org/officeDocument/2006/relationships/slide" Target="slides/slide104.xml"/><Relationship Id="rId289" Type="http://schemas.openxmlformats.org/officeDocument/2006/relationships/font" Target="fonts/font17.fntdata"/><Relationship Id="rId11" Type="http://schemas.openxmlformats.org/officeDocument/2006/relationships/slide" Target="slides/slide8.xml"/><Relationship Id="rId53" Type="http://schemas.openxmlformats.org/officeDocument/2006/relationships/slide" Target="slides/slide50.xml"/><Relationship Id="rId149" Type="http://schemas.openxmlformats.org/officeDocument/2006/relationships/slide" Target="slides/slide146.xml"/><Relationship Id="rId95" Type="http://schemas.openxmlformats.org/officeDocument/2006/relationships/slide" Target="slides/slide92.xml"/><Relationship Id="rId160" Type="http://schemas.openxmlformats.org/officeDocument/2006/relationships/slide" Target="slides/slide157.xml"/><Relationship Id="rId216" Type="http://schemas.openxmlformats.org/officeDocument/2006/relationships/slide" Target="slides/slide213.xml"/><Relationship Id="rId258" Type="http://schemas.openxmlformats.org/officeDocument/2006/relationships/slide" Target="slides/slide255.xml"/><Relationship Id="rId22" Type="http://schemas.openxmlformats.org/officeDocument/2006/relationships/slide" Target="slides/slide19.xml"/><Relationship Id="rId64" Type="http://schemas.openxmlformats.org/officeDocument/2006/relationships/slide" Target="slides/slide61.xml"/><Relationship Id="rId118" Type="http://schemas.openxmlformats.org/officeDocument/2006/relationships/slide" Target="slides/slide115.xml"/><Relationship Id="rId171" Type="http://schemas.openxmlformats.org/officeDocument/2006/relationships/slide" Target="slides/slide168.xml"/><Relationship Id="rId227" Type="http://schemas.openxmlformats.org/officeDocument/2006/relationships/slide" Target="slides/slide224.xml"/><Relationship Id="rId269" Type="http://schemas.openxmlformats.org/officeDocument/2006/relationships/slide" Target="slides/slide266.xml"/><Relationship Id="rId33" Type="http://schemas.openxmlformats.org/officeDocument/2006/relationships/slide" Target="slides/slide30.xml"/><Relationship Id="rId129" Type="http://schemas.openxmlformats.org/officeDocument/2006/relationships/slide" Target="slides/slide126.xml"/><Relationship Id="rId280" Type="http://schemas.openxmlformats.org/officeDocument/2006/relationships/font" Target="fonts/font8.fntdata"/></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3.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4.xml"/></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5.xlsx"/><Relationship Id="rId1" Type="http://schemas.openxmlformats.org/officeDocument/2006/relationships/themeOverride" Target="../theme/themeOverride5.xml"/></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6.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7.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8.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9.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10.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1.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12.xml"/></Relationships>
</file>

<file path=ppt/charts/_rels/chart45.xml.rels><?xml version="1.0" encoding="UTF-8" standalone="yes"?>
<Relationships xmlns="http://schemas.openxmlformats.org/package/2006/relationships"><Relationship Id="rId2" Type="http://schemas.openxmlformats.org/officeDocument/2006/relationships/package" Target="../embeddings/Microsoft_Excel_Worksheet44.xlsx"/><Relationship Id="rId1" Type="http://schemas.openxmlformats.org/officeDocument/2006/relationships/themeOverride" Target="../theme/themeOverride13.xml"/></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14.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15.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2.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2" Type="http://schemas.openxmlformats.org/officeDocument/2006/relationships/package" Target="../embeddings/Microsoft_Excel_Worksheet64.xlsx"/><Relationship Id="rId1" Type="http://schemas.openxmlformats.org/officeDocument/2006/relationships/themeOverride" Target="../theme/themeOverride16.xml"/></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17.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18.xml"/></Relationships>
</file>

<file path=ppt/charts/_rels/chart68.xml.rels><?xml version="1.0" encoding="UTF-8" standalone="yes"?>
<Relationships xmlns="http://schemas.openxmlformats.org/package/2006/relationships"><Relationship Id="rId2" Type="http://schemas.openxmlformats.org/officeDocument/2006/relationships/package" Target="../embeddings/Microsoft_Excel_Worksheet67.xlsx"/><Relationship Id="rId1" Type="http://schemas.openxmlformats.org/officeDocument/2006/relationships/themeOverride" Target="../theme/themeOverride19.xml"/></Relationships>
</file>

<file path=ppt/charts/_rels/chart69.xml.rels><?xml version="1.0" encoding="UTF-8" standalone="yes"?>
<Relationships xmlns="http://schemas.openxmlformats.org/package/2006/relationships"><Relationship Id="rId2" Type="http://schemas.openxmlformats.org/officeDocument/2006/relationships/package" Target="../embeddings/Microsoft_Excel_Worksheet68.xlsx"/><Relationship Id="rId1" Type="http://schemas.openxmlformats.org/officeDocument/2006/relationships/themeOverride" Target="../theme/themeOverride20.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408785674314491"/>
          <c:y val="4.6153990610328627E-2"/>
          <c:w val="0.820984360410831"/>
          <c:h val="0.80036582809224199"/>
        </c:manualLayout>
      </c:layout>
      <c:barChart>
        <c:barDir val="col"/>
        <c:grouping val="stacked"/>
        <c:varyColors val="0"/>
        <c:ser>
          <c:idx val="0"/>
          <c:order val="0"/>
          <c:tx>
            <c:strRef>
              <c:f>Sheet1!$B$1</c:f>
              <c:strCache>
                <c:ptCount val="1"/>
                <c:pt idx="0">
                  <c:v>A</c:v>
                </c:pt>
              </c:strCache>
            </c:strRef>
          </c:tx>
          <c:spPr>
            <a:ln>
              <a:solidFill>
                <a:schemeClr val="bg1"/>
              </a:solidFill>
            </a:ln>
          </c:spPr>
          <c:invertIfNegative val="0"/>
          <c:dPt>
            <c:idx val="1"/>
            <c:invertIfNegative val="0"/>
            <c:bubble3D val="0"/>
            <c:spPr>
              <a:solidFill>
                <a:srgbClr val="B4B4B4"/>
              </a:solidFill>
              <a:ln>
                <a:solidFill>
                  <a:schemeClr val="bg1"/>
                </a:solidFill>
              </a:ln>
            </c:spPr>
            <c:extLst>
              <c:ext xmlns:c16="http://schemas.microsoft.com/office/drawing/2014/chart" uri="{C3380CC4-5D6E-409C-BE32-E72D297353CC}">
                <c16:uniqueId val="{00000001-CBD5-4906-812F-1ACB9B7FA25D}"/>
              </c:ext>
            </c:extLst>
          </c:dPt>
          <c:dPt>
            <c:idx val="2"/>
            <c:invertIfNegative val="0"/>
            <c:bubble3D val="0"/>
            <c:spPr>
              <a:solidFill>
                <a:srgbClr val="575757"/>
              </a:solidFill>
              <a:ln>
                <a:solidFill>
                  <a:schemeClr val="bg1"/>
                </a:solidFill>
              </a:ln>
            </c:spPr>
            <c:extLst>
              <c:ext xmlns:c16="http://schemas.microsoft.com/office/drawing/2014/chart" uri="{C3380CC4-5D6E-409C-BE32-E72D297353CC}">
                <c16:uniqueId val="{00000003-CBD5-4906-812F-1ACB9B7FA25D}"/>
              </c:ext>
            </c:extLst>
          </c:dPt>
          <c:dLbls>
            <c:numFmt formatCode="&quot;$&quot;#,##0" sourceLinked="0"/>
            <c:spPr>
              <a:noFill/>
              <a:ln>
                <a:noFill/>
              </a:ln>
              <a:effectLst/>
            </c:sp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Suburb A</c:v>
                </c:pt>
                <c:pt idx="1">
                  <c:v>Suburb B</c:v>
                </c:pt>
                <c:pt idx="2">
                  <c:v>Suburb C</c:v>
                </c:pt>
                <c:pt idx="3">
                  <c:v>Suburb D</c:v>
                </c:pt>
                <c:pt idx="4">
                  <c:v>Suburb E</c:v>
                </c:pt>
              </c:strCache>
            </c:strRef>
          </c:cat>
          <c:val>
            <c:numRef>
              <c:f>Sheet1!$B$2:$B$6</c:f>
              <c:numCache>
                <c:formatCode>General</c:formatCode>
                <c:ptCount val="5"/>
                <c:pt idx="0">
                  <c:v>1149</c:v>
                </c:pt>
                <c:pt idx="1">
                  <c:v>957</c:v>
                </c:pt>
                <c:pt idx="2">
                  <c:v>910</c:v>
                </c:pt>
                <c:pt idx="3">
                  <c:v>897</c:v>
                </c:pt>
                <c:pt idx="4">
                  <c:v>815</c:v>
                </c:pt>
              </c:numCache>
            </c:numRef>
          </c:val>
          <c:extLst>
            <c:ext xmlns:c16="http://schemas.microsoft.com/office/drawing/2014/chart" uri="{C3380CC4-5D6E-409C-BE32-E72D297353CC}">
              <c16:uniqueId val="{00000004-CBD5-4906-812F-1ACB9B7FA25D}"/>
            </c:ext>
          </c:extLst>
        </c:ser>
        <c:dLbls>
          <c:dLblPos val="ctr"/>
          <c:showLegendKey val="0"/>
          <c:showVal val="1"/>
          <c:showCatName val="0"/>
          <c:showSerName val="0"/>
          <c:showPercent val="0"/>
          <c:showBubbleSize val="0"/>
        </c:dLbls>
        <c:gapWidth val="150"/>
        <c:overlap val="100"/>
        <c:axId val="87435328"/>
        <c:axId val="87435888"/>
      </c:barChart>
      <c:catAx>
        <c:axId val="87435328"/>
        <c:scaling>
          <c:orientation val="minMax"/>
        </c:scaling>
        <c:delete val="0"/>
        <c:axPos val="b"/>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87435888"/>
        <c:crosses val="autoZero"/>
        <c:auto val="1"/>
        <c:lblAlgn val="ctr"/>
        <c:lblOffset val="100"/>
        <c:noMultiLvlLbl val="0"/>
      </c:catAx>
      <c:valAx>
        <c:axId val="87435888"/>
        <c:scaling>
          <c:orientation val="minMax"/>
        </c:scaling>
        <c:delete val="0"/>
        <c:axPos val="l"/>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87435328"/>
        <c:crosses val="autoZero"/>
        <c:crossBetween val="between"/>
      </c:valAx>
    </c:plotArea>
    <c:plotVisOnly val="1"/>
    <c:dispBlanksAs val="gap"/>
    <c:showDLblsOverMax val="0"/>
  </c:chart>
  <c:txPr>
    <a:bodyPr/>
    <a:lstStyle/>
    <a:p>
      <a:pPr>
        <a:defRPr sz="1200"/>
      </a:pPr>
      <a:endParaRPr lang="en-US"/>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970184413840835"/>
          <c:y val="4.6153842659460598E-2"/>
          <c:w val="0.77709769759502711"/>
          <c:h val="0.73764039744798071"/>
        </c:manualLayout>
      </c:layout>
      <c:barChart>
        <c:barDir val="bar"/>
        <c:grouping val="stacked"/>
        <c:varyColors val="0"/>
        <c:ser>
          <c:idx val="0"/>
          <c:order val="0"/>
          <c:tx>
            <c:strRef>
              <c:f>Sheet1!$B$1</c:f>
              <c:strCache>
                <c:ptCount val="1"/>
                <c:pt idx="0">
                  <c:v>A</c:v>
                </c:pt>
              </c:strCache>
            </c:strRef>
          </c:tx>
          <c:spPr>
            <a:solidFill>
              <a:srgbClr val="81BC00"/>
            </a:solidFill>
            <a:ln>
              <a:solidFill>
                <a:schemeClr val="bg1"/>
              </a:solidFill>
            </a:ln>
          </c:spPr>
          <c:invertIfNegative val="0"/>
          <c:dPt>
            <c:idx val="0"/>
            <c:invertIfNegative val="0"/>
            <c:bubble3D val="0"/>
            <c:spPr>
              <a:solidFill>
                <a:srgbClr val="313131"/>
              </a:solidFill>
              <a:ln>
                <a:solidFill>
                  <a:schemeClr val="bg1"/>
                </a:solidFill>
              </a:ln>
            </c:spPr>
            <c:extLst>
              <c:ext xmlns:c16="http://schemas.microsoft.com/office/drawing/2014/chart" uri="{C3380CC4-5D6E-409C-BE32-E72D297353CC}">
                <c16:uniqueId val="{00000001-D574-451A-8ED1-7947940B2B72}"/>
              </c:ext>
            </c:extLst>
          </c:dPt>
          <c:dPt>
            <c:idx val="1"/>
            <c:invertIfNegative val="0"/>
            <c:bubble3D val="0"/>
            <c:spPr>
              <a:solidFill>
                <a:srgbClr val="575757"/>
              </a:solidFill>
              <a:ln>
                <a:solidFill>
                  <a:schemeClr val="bg1"/>
                </a:solidFill>
              </a:ln>
            </c:spPr>
            <c:extLst>
              <c:ext xmlns:c16="http://schemas.microsoft.com/office/drawing/2014/chart" uri="{C3380CC4-5D6E-409C-BE32-E72D297353CC}">
                <c16:uniqueId val="{00000003-D574-451A-8ED1-7947940B2B72}"/>
              </c:ext>
            </c:extLst>
          </c:dPt>
          <c:dPt>
            <c:idx val="2"/>
            <c:invertIfNegative val="0"/>
            <c:bubble3D val="0"/>
            <c:spPr>
              <a:solidFill>
                <a:srgbClr val="8C8C8C"/>
              </a:solidFill>
              <a:ln>
                <a:solidFill>
                  <a:schemeClr val="bg1"/>
                </a:solidFill>
              </a:ln>
            </c:spPr>
            <c:extLst>
              <c:ext xmlns:c16="http://schemas.microsoft.com/office/drawing/2014/chart" uri="{C3380CC4-5D6E-409C-BE32-E72D297353CC}">
                <c16:uniqueId val="{00000005-D574-451A-8ED1-7947940B2B72}"/>
              </c:ext>
            </c:extLst>
          </c:dPt>
          <c:dPt>
            <c:idx val="3"/>
            <c:invertIfNegative val="0"/>
            <c:bubble3D val="0"/>
            <c:spPr>
              <a:solidFill>
                <a:srgbClr val="B4B4B4"/>
              </a:solidFill>
              <a:ln>
                <a:solidFill>
                  <a:schemeClr val="bg1"/>
                </a:solidFill>
              </a:ln>
            </c:spPr>
            <c:extLst>
              <c:ext xmlns:c16="http://schemas.microsoft.com/office/drawing/2014/chart" uri="{C3380CC4-5D6E-409C-BE32-E72D297353CC}">
                <c16:uniqueId val="{00000007-D574-451A-8ED1-7947940B2B72}"/>
              </c:ext>
            </c:extLst>
          </c:dPt>
          <c:dLbls>
            <c:delete val="1"/>
          </c:dLbls>
          <c:cat>
            <c:strRef>
              <c:f>Sheet1!$A$2:$A$6</c:f>
              <c:strCache>
                <c:ptCount val="5"/>
                <c:pt idx="0">
                  <c:v>E</c:v>
                </c:pt>
                <c:pt idx="1">
                  <c:v>D</c:v>
                </c:pt>
                <c:pt idx="2">
                  <c:v>C</c:v>
                </c:pt>
                <c:pt idx="3">
                  <c:v>B</c:v>
                </c:pt>
                <c:pt idx="4">
                  <c:v>A</c:v>
                </c:pt>
              </c:strCache>
            </c:strRef>
          </c:cat>
          <c:val>
            <c:numRef>
              <c:f>Sheet1!$B$2:$B$6</c:f>
              <c:numCache>
                <c:formatCode>General</c:formatCode>
                <c:ptCount val="5"/>
                <c:pt idx="0">
                  <c:v>12</c:v>
                </c:pt>
                <c:pt idx="1">
                  <c:v>20</c:v>
                </c:pt>
                <c:pt idx="2">
                  <c:v>22</c:v>
                </c:pt>
                <c:pt idx="3">
                  <c:v>25</c:v>
                </c:pt>
                <c:pt idx="4">
                  <c:v>28</c:v>
                </c:pt>
              </c:numCache>
            </c:numRef>
          </c:val>
          <c:extLst>
            <c:ext xmlns:c16="http://schemas.microsoft.com/office/drawing/2014/chart" uri="{C3380CC4-5D6E-409C-BE32-E72D297353CC}">
              <c16:uniqueId val="{00000008-D574-451A-8ED1-7947940B2B72}"/>
            </c:ext>
          </c:extLst>
        </c:ser>
        <c:dLbls>
          <c:showLegendKey val="0"/>
          <c:showVal val="1"/>
          <c:showCatName val="0"/>
          <c:showSerName val="0"/>
          <c:showPercent val="0"/>
          <c:showBubbleSize val="0"/>
        </c:dLbls>
        <c:gapWidth val="150"/>
        <c:overlap val="100"/>
        <c:axId val="1521305856"/>
        <c:axId val="1521306416"/>
      </c:barChart>
      <c:catAx>
        <c:axId val="1521305856"/>
        <c:scaling>
          <c:orientation val="minMax"/>
        </c:scaling>
        <c:delete val="0"/>
        <c:axPos val="l"/>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521306416"/>
        <c:crosses val="autoZero"/>
        <c:auto val="1"/>
        <c:lblAlgn val="ctr"/>
        <c:lblOffset val="100"/>
        <c:noMultiLvlLbl val="0"/>
      </c:catAx>
      <c:valAx>
        <c:axId val="1521306416"/>
        <c:scaling>
          <c:orientation val="minMax"/>
        </c:scaling>
        <c:delete val="0"/>
        <c:axPos val="b"/>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521305856"/>
        <c:crosses val="autoZero"/>
        <c:crossBetween val="between"/>
      </c:valAx>
    </c:plotArea>
    <c:legend>
      <c:legendPos val="b"/>
      <c:layout>
        <c:manualLayout>
          <c:xMode val="edge"/>
          <c:yMode val="edge"/>
          <c:x val="0.11261395859942398"/>
          <c:y val="0.90829231060888527"/>
          <c:w val="0.77477161953127283"/>
          <c:h val="5.0965437116059414E-2"/>
        </c:manualLayout>
      </c:layout>
      <c:overlay val="0"/>
      <c:txPr>
        <a:bodyPr/>
        <a:lstStyle/>
        <a:p>
          <a:pPr>
            <a:defRPr sz="1000">
              <a:solidFill>
                <a:srgbClr val="313131"/>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970184413840835"/>
          <c:y val="4.6153842659460598E-2"/>
          <c:w val="0.77709769759502711"/>
          <c:h val="0.73764039744798071"/>
        </c:manualLayout>
      </c:layout>
      <c:barChart>
        <c:barDir val="bar"/>
        <c:grouping val="stacked"/>
        <c:varyColors val="0"/>
        <c:ser>
          <c:idx val="0"/>
          <c:order val="0"/>
          <c:tx>
            <c:strRef>
              <c:f>Sheet1!$B$1</c:f>
              <c:strCache>
                <c:ptCount val="1"/>
                <c:pt idx="0">
                  <c:v>A</c:v>
                </c:pt>
              </c:strCache>
            </c:strRef>
          </c:tx>
          <c:spPr>
            <a:solidFill>
              <a:srgbClr val="81BC00"/>
            </a:solidFill>
            <a:ln>
              <a:solidFill>
                <a:schemeClr val="bg1"/>
              </a:solidFill>
            </a:ln>
          </c:spPr>
          <c:invertIfNegative val="0"/>
          <c:dPt>
            <c:idx val="0"/>
            <c:invertIfNegative val="0"/>
            <c:bubble3D val="0"/>
            <c:spPr>
              <a:solidFill>
                <a:srgbClr val="313131"/>
              </a:solidFill>
              <a:ln>
                <a:solidFill>
                  <a:schemeClr val="bg1"/>
                </a:solidFill>
              </a:ln>
            </c:spPr>
            <c:extLst>
              <c:ext xmlns:c16="http://schemas.microsoft.com/office/drawing/2014/chart" uri="{C3380CC4-5D6E-409C-BE32-E72D297353CC}">
                <c16:uniqueId val="{00000001-4ADC-419D-BF17-EF1093B7DB89}"/>
              </c:ext>
            </c:extLst>
          </c:dPt>
          <c:dPt>
            <c:idx val="1"/>
            <c:invertIfNegative val="0"/>
            <c:bubble3D val="0"/>
            <c:spPr>
              <a:solidFill>
                <a:srgbClr val="575757"/>
              </a:solidFill>
              <a:ln>
                <a:solidFill>
                  <a:schemeClr val="bg1"/>
                </a:solidFill>
              </a:ln>
            </c:spPr>
            <c:extLst>
              <c:ext xmlns:c16="http://schemas.microsoft.com/office/drawing/2014/chart" uri="{C3380CC4-5D6E-409C-BE32-E72D297353CC}">
                <c16:uniqueId val="{00000003-4ADC-419D-BF17-EF1093B7DB89}"/>
              </c:ext>
            </c:extLst>
          </c:dPt>
          <c:dPt>
            <c:idx val="2"/>
            <c:invertIfNegative val="0"/>
            <c:bubble3D val="0"/>
            <c:spPr>
              <a:solidFill>
                <a:srgbClr val="8C8C8C"/>
              </a:solidFill>
              <a:ln>
                <a:solidFill>
                  <a:schemeClr val="bg1"/>
                </a:solidFill>
              </a:ln>
            </c:spPr>
            <c:extLst>
              <c:ext xmlns:c16="http://schemas.microsoft.com/office/drawing/2014/chart" uri="{C3380CC4-5D6E-409C-BE32-E72D297353CC}">
                <c16:uniqueId val="{00000005-4ADC-419D-BF17-EF1093B7DB89}"/>
              </c:ext>
            </c:extLst>
          </c:dPt>
          <c:dPt>
            <c:idx val="3"/>
            <c:invertIfNegative val="0"/>
            <c:bubble3D val="0"/>
            <c:spPr>
              <a:solidFill>
                <a:srgbClr val="B4B4B4"/>
              </a:solidFill>
              <a:ln>
                <a:solidFill>
                  <a:schemeClr val="bg1"/>
                </a:solidFill>
              </a:ln>
            </c:spPr>
            <c:extLst>
              <c:ext xmlns:c16="http://schemas.microsoft.com/office/drawing/2014/chart" uri="{C3380CC4-5D6E-409C-BE32-E72D297353CC}">
                <c16:uniqueId val="{00000007-4ADC-419D-BF17-EF1093B7DB89}"/>
              </c:ext>
            </c:extLst>
          </c:dPt>
          <c:dLbls>
            <c:delete val="1"/>
          </c:dLbls>
          <c:cat>
            <c:strRef>
              <c:f>Sheet1!$A$2:$A$6</c:f>
              <c:strCache>
                <c:ptCount val="5"/>
                <c:pt idx="0">
                  <c:v>E</c:v>
                </c:pt>
                <c:pt idx="1">
                  <c:v>D</c:v>
                </c:pt>
                <c:pt idx="2">
                  <c:v>C</c:v>
                </c:pt>
                <c:pt idx="3">
                  <c:v>B</c:v>
                </c:pt>
                <c:pt idx="4">
                  <c:v>A</c:v>
                </c:pt>
              </c:strCache>
            </c:strRef>
          </c:cat>
          <c:val>
            <c:numRef>
              <c:f>Sheet1!$B$2:$B$6</c:f>
              <c:numCache>
                <c:formatCode>General</c:formatCode>
                <c:ptCount val="5"/>
                <c:pt idx="0">
                  <c:v>12</c:v>
                </c:pt>
                <c:pt idx="1">
                  <c:v>20</c:v>
                </c:pt>
                <c:pt idx="2">
                  <c:v>22</c:v>
                </c:pt>
                <c:pt idx="3">
                  <c:v>25</c:v>
                </c:pt>
                <c:pt idx="4">
                  <c:v>28</c:v>
                </c:pt>
              </c:numCache>
            </c:numRef>
          </c:val>
          <c:extLst>
            <c:ext xmlns:c16="http://schemas.microsoft.com/office/drawing/2014/chart" uri="{C3380CC4-5D6E-409C-BE32-E72D297353CC}">
              <c16:uniqueId val="{00000008-4ADC-419D-BF17-EF1093B7DB89}"/>
            </c:ext>
          </c:extLst>
        </c:ser>
        <c:dLbls>
          <c:showLegendKey val="0"/>
          <c:showVal val="1"/>
          <c:showCatName val="0"/>
          <c:showSerName val="0"/>
          <c:showPercent val="0"/>
          <c:showBubbleSize val="0"/>
        </c:dLbls>
        <c:gapWidth val="150"/>
        <c:overlap val="100"/>
        <c:axId val="1476279328"/>
        <c:axId val="1476279888"/>
      </c:barChart>
      <c:catAx>
        <c:axId val="1476279328"/>
        <c:scaling>
          <c:orientation val="minMax"/>
        </c:scaling>
        <c:delete val="0"/>
        <c:axPos val="l"/>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476279888"/>
        <c:crosses val="autoZero"/>
        <c:auto val="1"/>
        <c:lblAlgn val="ctr"/>
        <c:lblOffset val="100"/>
        <c:noMultiLvlLbl val="0"/>
      </c:catAx>
      <c:valAx>
        <c:axId val="1476279888"/>
        <c:scaling>
          <c:orientation val="minMax"/>
        </c:scaling>
        <c:delete val="0"/>
        <c:axPos val="b"/>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476279328"/>
        <c:crosses val="autoZero"/>
        <c:crossBetween val="between"/>
      </c:valAx>
    </c:plotArea>
    <c:legend>
      <c:legendPos val="b"/>
      <c:layout>
        <c:manualLayout>
          <c:xMode val="edge"/>
          <c:yMode val="edge"/>
          <c:x val="0.11261395859942398"/>
          <c:y val="0.90829231060888527"/>
          <c:w val="0.77477161953127283"/>
          <c:h val="5.0965437116059414E-2"/>
        </c:manualLayout>
      </c:layout>
      <c:overlay val="0"/>
      <c:txPr>
        <a:bodyPr/>
        <a:lstStyle/>
        <a:p>
          <a:pPr>
            <a:defRPr sz="1000">
              <a:solidFill>
                <a:srgbClr val="313131"/>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284331032632494E-2"/>
          <c:y val="4.6153842659460598E-2"/>
          <c:w val="0.87653639112601422"/>
          <c:h val="0.77691295424226781"/>
        </c:manualLayout>
      </c:layout>
      <c:barChart>
        <c:barDir val="bar"/>
        <c:grouping val="clustered"/>
        <c:varyColors val="0"/>
        <c:ser>
          <c:idx val="0"/>
          <c:order val="0"/>
          <c:tx>
            <c:strRef>
              <c:f>Sheet1!$B$1</c:f>
              <c:strCache>
                <c:ptCount val="1"/>
                <c:pt idx="0">
                  <c:v>A</c:v>
                </c:pt>
              </c:strCache>
            </c:strRef>
          </c:tx>
          <c:spPr>
            <a:solidFill>
              <a:schemeClr val="accent1"/>
            </a:solidFill>
            <a:ln>
              <a:solidFill>
                <a:schemeClr val="bg1"/>
              </a:solidFill>
            </a:ln>
          </c:spPr>
          <c:invertIfNegative val="0"/>
          <c:dLbls>
            <c:spPr>
              <a:noFill/>
              <a:ln>
                <a:noFill/>
              </a:ln>
              <a:effectLst/>
            </c:spPr>
            <c:txPr>
              <a:bodyPr/>
              <a:lstStyle/>
              <a:p>
                <a:pPr>
                  <a:defRPr sz="1000">
                    <a:solidFill>
                      <a:srgbClr val="31313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452D-4CDE-8CE0-156EE1613E6B}"/>
            </c:ext>
          </c:extLst>
        </c:ser>
        <c:ser>
          <c:idx val="1"/>
          <c:order val="1"/>
          <c:tx>
            <c:strRef>
              <c:f>Sheet1!$C$1</c:f>
              <c:strCache>
                <c:ptCount val="1"/>
                <c:pt idx="0">
                  <c:v>B</c:v>
                </c:pt>
              </c:strCache>
            </c:strRef>
          </c:tx>
          <c:spPr>
            <a:solidFill>
              <a:schemeClr val="accent2"/>
            </a:solidFill>
            <a:ln>
              <a:solidFill>
                <a:schemeClr val="bg1"/>
              </a:solidFill>
            </a:ln>
          </c:spPr>
          <c:invertIfNegative val="0"/>
          <c:dLbls>
            <c:spPr>
              <a:noFill/>
              <a:ln>
                <a:noFill/>
              </a:ln>
              <a:effectLst/>
            </c:spPr>
            <c:txPr>
              <a:bodyPr/>
              <a:lstStyle/>
              <a:p>
                <a:pPr>
                  <a:defRPr sz="1000">
                    <a:solidFill>
                      <a:srgbClr val="31313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C$2:$C$4</c:f>
              <c:numCache>
                <c:formatCode>General</c:formatCode>
                <c:ptCount val="3"/>
                <c:pt idx="0">
                  <c:v>11</c:v>
                </c:pt>
                <c:pt idx="1">
                  <c:v>11</c:v>
                </c:pt>
                <c:pt idx="2">
                  <c:v>11</c:v>
                </c:pt>
              </c:numCache>
            </c:numRef>
          </c:val>
          <c:extLst>
            <c:ext xmlns:c16="http://schemas.microsoft.com/office/drawing/2014/chart" uri="{C3380CC4-5D6E-409C-BE32-E72D297353CC}">
              <c16:uniqueId val="{00000001-452D-4CDE-8CE0-156EE1613E6B}"/>
            </c:ext>
          </c:extLst>
        </c:ser>
        <c:ser>
          <c:idx val="2"/>
          <c:order val="2"/>
          <c:tx>
            <c:strRef>
              <c:f>Sheet1!$D$1</c:f>
              <c:strCache>
                <c:ptCount val="1"/>
                <c:pt idx="0">
                  <c:v>C</c:v>
                </c:pt>
              </c:strCache>
            </c:strRef>
          </c:tx>
          <c:spPr>
            <a:solidFill>
              <a:schemeClr val="accent3"/>
            </a:solidFill>
            <a:ln>
              <a:solidFill>
                <a:schemeClr val="bg1"/>
              </a:solidFill>
            </a:ln>
          </c:spPr>
          <c:invertIfNegative val="0"/>
          <c:dLbls>
            <c:spPr>
              <a:noFill/>
              <a:ln>
                <a:noFill/>
              </a:ln>
              <a:effectLst/>
            </c:spPr>
            <c:txPr>
              <a:bodyPr/>
              <a:lstStyle/>
              <a:p>
                <a:pPr>
                  <a:defRPr sz="1000">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D$2:$D$4</c:f>
              <c:numCache>
                <c:formatCode>General</c:formatCode>
                <c:ptCount val="3"/>
                <c:pt idx="0">
                  <c:v>12</c:v>
                </c:pt>
                <c:pt idx="1">
                  <c:v>12</c:v>
                </c:pt>
                <c:pt idx="2">
                  <c:v>12</c:v>
                </c:pt>
              </c:numCache>
            </c:numRef>
          </c:val>
          <c:extLst>
            <c:ext xmlns:c16="http://schemas.microsoft.com/office/drawing/2014/chart" uri="{C3380CC4-5D6E-409C-BE32-E72D297353CC}">
              <c16:uniqueId val="{00000002-452D-4CDE-8CE0-156EE1613E6B}"/>
            </c:ext>
          </c:extLst>
        </c:ser>
        <c:ser>
          <c:idx val="3"/>
          <c:order val="3"/>
          <c:tx>
            <c:strRef>
              <c:f>Sheet1!$E$1</c:f>
              <c:strCache>
                <c:ptCount val="1"/>
                <c:pt idx="0">
                  <c:v>D</c:v>
                </c:pt>
              </c:strCache>
            </c:strRef>
          </c:tx>
          <c:spPr>
            <a:solidFill>
              <a:schemeClr val="accent4"/>
            </a:solidFill>
            <a:ln>
              <a:solidFill>
                <a:schemeClr val="bg1"/>
              </a:solidFill>
            </a:ln>
          </c:spPr>
          <c:invertIfNegative val="0"/>
          <c:dLbls>
            <c:spPr>
              <a:noFill/>
              <a:ln>
                <a:noFill/>
              </a:ln>
              <a:effectLst/>
            </c:spPr>
            <c:txPr>
              <a:bodyPr/>
              <a:lstStyle/>
              <a:p>
                <a:pPr>
                  <a:defRPr sz="1000">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E$2:$E$4</c:f>
              <c:numCache>
                <c:formatCode>General</c:formatCode>
                <c:ptCount val="3"/>
                <c:pt idx="0">
                  <c:v>13</c:v>
                </c:pt>
                <c:pt idx="1">
                  <c:v>13</c:v>
                </c:pt>
                <c:pt idx="2">
                  <c:v>13</c:v>
                </c:pt>
              </c:numCache>
            </c:numRef>
          </c:val>
          <c:extLst>
            <c:ext xmlns:c16="http://schemas.microsoft.com/office/drawing/2014/chart" uri="{C3380CC4-5D6E-409C-BE32-E72D297353CC}">
              <c16:uniqueId val="{00000003-452D-4CDE-8CE0-156EE1613E6B}"/>
            </c:ext>
          </c:extLst>
        </c:ser>
        <c:ser>
          <c:idx val="4"/>
          <c:order val="4"/>
          <c:tx>
            <c:strRef>
              <c:f>Sheet1!$F$1</c:f>
              <c:strCache>
                <c:ptCount val="1"/>
                <c:pt idx="0">
                  <c:v>E</c:v>
                </c:pt>
              </c:strCache>
            </c:strRef>
          </c:tx>
          <c:spPr>
            <a:solidFill>
              <a:schemeClr val="accent5"/>
            </a:solidFill>
            <a:ln>
              <a:solidFill>
                <a:schemeClr val="bg1"/>
              </a:solidFill>
            </a:ln>
          </c:spPr>
          <c:invertIfNegative val="0"/>
          <c:dLbls>
            <c:spPr>
              <a:noFill/>
              <a:ln>
                <a:noFill/>
              </a:ln>
              <a:effectLst/>
            </c:spPr>
            <c:txPr>
              <a:bodyPr/>
              <a:lstStyle/>
              <a:p>
                <a:pPr>
                  <a:defRPr sz="1000">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F$2:$F$4</c:f>
              <c:numCache>
                <c:formatCode>General</c:formatCode>
                <c:ptCount val="3"/>
                <c:pt idx="0">
                  <c:v>14</c:v>
                </c:pt>
                <c:pt idx="1">
                  <c:v>14</c:v>
                </c:pt>
                <c:pt idx="2">
                  <c:v>14</c:v>
                </c:pt>
              </c:numCache>
            </c:numRef>
          </c:val>
          <c:extLst>
            <c:ext xmlns:c16="http://schemas.microsoft.com/office/drawing/2014/chart" uri="{C3380CC4-5D6E-409C-BE32-E72D297353CC}">
              <c16:uniqueId val="{00000004-452D-4CDE-8CE0-156EE1613E6B}"/>
            </c:ext>
          </c:extLst>
        </c:ser>
        <c:ser>
          <c:idx val="5"/>
          <c:order val="5"/>
          <c:tx>
            <c:strRef>
              <c:f>Sheet1!$G$1</c:f>
              <c:strCache>
                <c:ptCount val="1"/>
                <c:pt idx="0">
                  <c:v>F</c:v>
                </c:pt>
              </c:strCache>
            </c:strRef>
          </c:tx>
          <c:spPr>
            <a:solidFill>
              <a:schemeClr val="accent6"/>
            </a:solidFill>
          </c:spPr>
          <c:invertIfNegative val="0"/>
          <c:dPt>
            <c:idx val="2"/>
            <c:invertIfNegative val="0"/>
            <c:bubble3D val="0"/>
            <c:spPr>
              <a:solidFill>
                <a:schemeClr val="accent6"/>
              </a:solidFill>
              <a:ln>
                <a:solidFill>
                  <a:schemeClr val="bg1"/>
                </a:solidFill>
              </a:ln>
            </c:spPr>
            <c:extLst>
              <c:ext xmlns:c16="http://schemas.microsoft.com/office/drawing/2014/chart" uri="{C3380CC4-5D6E-409C-BE32-E72D297353CC}">
                <c16:uniqueId val="{00000006-452D-4CDE-8CE0-156EE1613E6B}"/>
              </c:ext>
            </c:extLst>
          </c:dPt>
          <c:dLbls>
            <c:spPr>
              <a:noFill/>
              <a:ln>
                <a:noFill/>
              </a:ln>
              <a:effectLst/>
            </c:spPr>
            <c:txPr>
              <a:bodyPr/>
              <a:lstStyle/>
              <a:p>
                <a:pPr>
                  <a:defRPr sz="1000">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G$2:$G$4</c:f>
              <c:numCache>
                <c:formatCode>General</c:formatCode>
                <c:ptCount val="3"/>
                <c:pt idx="0">
                  <c:v>15</c:v>
                </c:pt>
                <c:pt idx="1">
                  <c:v>15</c:v>
                </c:pt>
                <c:pt idx="2">
                  <c:v>15</c:v>
                </c:pt>
              </c:numCache>
            </c:numRef>
          </c:val>
          <c:extLst>
            <c:ext xmlns:c16="http://schemas.microsoft.com/office/drawing/2014/chart" uri="{C3380CC4-5D6E-409C-BE32-E72D297353CC}">
              <c16:uniqueId val="{00000007-452D-4CDE-8CE0-156EE1613E6B}"/>
            </c:ext>
          </c:extLst>
        </c:ser>
        <c:ser>
          <c:idx val="6"/>
          <c:order val="6"/>
          <c:tx>
            <c:strRef>
              <c:f>Sheet1!$H$1</c:f>
              <c:strCache>
                <c:ptCount val="1"/>
                <c:pt idx="0">
                  <c:v>G</c:v>
                </c:pt>
              </c:strCache>
            </c:strRef>
          </c:tx>
          <c:spPr>
            <a:solidFill>
              <a:schemeClr val="accent3"/>
            </a:solidFill>
            <a:ln>
              <a:solidFill>
                <a:schemeClr val="bg1"/>
              </a:solidFill>
            </a:ln>
          </c:spPr>
          <c:invertIfNegative val="0"/>
          <c:dLbls>
            <c:spPr>
              <a:noFill/>
              <a:ln>
                <a:noFill/>
              </a:ln>
              <a:effectLst/>
            </c:spPr>
            <c:txPr>
              <a:bodyPr/>
              <a:lstStyle/>
              <a:p>
                <a:pPr>
                  <a:defRPr sz="1000">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H$2:$H$4</c:f>
              <c:numCache>
                <c:formatCode>General</c:formatCode>
                <c:ptCount val="3"/>
                <c:pt idx="0">
                  <c:v>16</c:v>
                </c:pt>
                <c:pt idx="1">
                  <c:v>16</c:v>
                </c:pt>
                <c:pt idx="2">
                  <c:v>16</c:v>
                </c:pt>
              </c:numCache>
            </c:numRef>
          </c:val>
          <c:extLst>
            <c:ext xmlns:c16="http://schemas.microsoft.com/office/drawing/2014/chart" uri="{C3380CC4-5D6E-409C-BE32-E72D297353CC}">
              <c16:uniqueId val="{00000008-452D-4CDE-8CE0-156EE1613E6B}"/>
            </c:ext>
          </c:extLst>
        </c:ser>
        <c:ser>
          <c:idx val="7"/>
          <c:order val="7"/>
          <c:tx>
            <c:strRef>
              <c:f>Sheet1!$I$1</c:f>
              <c:strCache>
                <c:ptCount val="1"/>
                <c:pt idx="0">
                  <c:v>H</c:v>
                </c:pt>
              </c:strCache>
            </c:strRef>
          </c:tx>
          <c:spPr>
            <a:solidFill>
              <a:schemeClr val="bg2">
                <a:lumMod val="50000"/>
              </a:schemeClr>
            </a:solidFill>
            <a:ln>
              <a:solidFill>
                <a:schemeClr val="bg1"/>
              </a:solidFill>
            </a:ln>
          </c:spPr>
          <c:invertIfNegative val="0"/>
          <c:dLbls>
            <c:spPr>
              <a:noFill/>
              <a:ln>
                <a:noFill/>
              </a:ln>
              <a:effectLst/>
            </c:spPr>
            <c:txPr>
              <a:bodyPr/>
              <a:lstStyle/>
              <a:p>
                <a:pPr>
                  <a:defRPr sz="1000">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I$2:$I$4</c:f>
              <c:numCache>
                <c:formatCode>General</c:formatCode>
                <c:ptCount val="3"/>
                <c:pt idx="0">
                  <c:v>17</c:v>
                </c:pt>
                <c:pt idx="1">
                  <c:v>17</c:v>
                </c:pt>
                <c:pt idx="2">
                  <c:v>17</c:v>
                </c:pt>
              </c:numCache>
            </c:numRef>
          </c:val>
          <c:extLst>
            <c:ext xmlns:c16="http://schemas.microsoft.com/office/drawing/2014/chart" uri="{C3380CC4-5D6E-409C-BE32-E72D297353CC}">
              <c16:uniqueId val="{00000009-452D-4CDE-8CE0-156EE1613E6B}"/>
            </c:ext>
          </c:extLst>
        </c:ser>
        <c:ser>
          <c:idx val="8"/>
          <c:order val="8"/>
          <c:tx>
            <c:strRef>
              <c:f>Sheet1!$J$1</c:f>
              <c:strCache>
                <c:ptCount val="1"/>
                <c:pt idx="0">
                  <c:v>I</c:v>
                </c:pt>
              </c:strCache>
            </c:strRef>
          </c:tx>
          <c:spPr>
            <a:solidFill>
              <a:schemeClr val="bg2">
                <a:lumMod val="75000"/>
              </a:schemeClr>
            </a:solidFill>
            <a:ln>
              <a:solidFill>
                <a:schemeClr val="bg1"/>
              </a:solidFill>
            </a:ln>
          </c:spPr>
          <c:invertIfNegative val="0"/>
          <c:dLbls>
            <c:spPr>
              <a:noFill/>
              <a:ln>
                <a:noFill/>
              </a:ln>
              <a:effectLst/>
            </c:spPr>
            <c:txPr>
              <a:bodyPr/>
              <a:lstStyle/>
              <a:p>
                <a:pPr>
                  <a:defRPr sz="1000">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J$2:$J$4</c:f>
              <c:numCache>
                <c:formatCode>General</c:formatCode>
                <c:ptCount val="3"/>
                <c:pt idx="0">
                  <c:v>18</c:v>
                </c:pt>
                <c:pt idx="1">
                  <c:v>18</c:v>
                </c:pt>
                <c:pt idx="2">
                  <c:v>18</c:v>
                </c:pt>
              </c:numCache>
            </c:numRef>
          </c:val>
          <c:extLst>
            <c:ext xmlns:c16="http://schemas.microsoft.com/office/drawing/2014/chart" uri="{C3380CC4-5D6E-409C-BE32-E72D297353CC}">
              <c16:uniqueId val="{0000000A-452D-4CDE-8CE0-156EE1613E6B}"/>
            </c:ext>
          </c:extLst>
        </c:ser>
        <c:dLbls>
          <c:showLegendKey val="0"/>
          <c:showVal val="1"/>
          <c:showCatName val="0"/>
          <c:showSerName val="0"/>
          <c:showPercent val="0"/>
          <c:showBubbleSize val="0"/>
        </c:dLbls>
        <c:gapWidth val="150"/>
        <c:axId val="1517748816"/>
        <c:axId val="1517749376"/>
      </c:barChart>
      <c:catAx>
        <c:axId val="1517748816"/>
        <c:scaling>
          <c:orientation val="minMax"/>
        </c:scaling>
        <c:delete val="0"/>
        <c:axPos val="l"/>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517749376"/>
        <c:crosses val="autoZero"/>
        <c:auto val="1"/>
        <c:lblAlgn val="ctr"/>
        <c:lblOffset val="100"/>
        <c:noMultiLvlLbl val="0"/>
      </c:catAx>
      <c:valAx>
        <c:axId val="1517749376"/>
        <c:scaling>
          <c:orientation val="minMax"/>
        </c:scaling>
        <c:delete val="0"/>
        <c:axPos val="b"/>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517748816"/>
        <c:crosses val="autoZero"/>
        <c:crossBetween val="between"/>
      </c:valAx>
    </c:plotArea>
    <c:legend>
      <c:legendPos val="b"/>
      <c:layout>
        <c:manualLayout>
          <c:xMode val="edge"/>
          <c:yMode val="edge"/>
          <c:x val="0.16056417472530762"/>
          <c:y val="0.93895715881634667"/>
          <c:w val="0.71993628933265474"/>
          <c:h val="5.5304627959330978E-2"/>
        </c:manualLayout>
      </c:layout>
      <c:overlay val="0"/>
      <c:txPr>
        <a:bodyPr/>
        <a:lstStyle/>
        <a:p>
          <a:pPr>
            <a:defRPr sz="1000">
              <a:solidFill>
                <a:srgbClr val="313131"/>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8343958205359997E-2"/>
          <c:y val="3.9110837369467202E-2"/>
          <c:w val="0.90239719729544698"/>
          <c:h val="0.92177832526106496"/>
        </c:manualLayout>
      </c:layout>
      <c:barChart>
        <c:barDir val="bar"/>
        <c:grouping val="clustered"/>
        <c:varyColors val="0"/>
        <c:ser>
          <c:idx val="0"/>
          <c:order val="0"/>
          <c:tx>
            <c:strRef>
              <c:f>Sheet1!$B$1</c:f>
              <c:strCache>
                <c:ptCount val="1"/>
                <c:pt idx="0">
                  <c:v>Series 1</c:v>
                </c:pt>
              </c:strCache>
            </c:strRef>
          </c:tx>
          <c:spPr>
            <a:solidFill>
              <a:schemeClr val="accent2"/>
            </a:solidFill>
          </c:spPr>
          <c:invertIfNegative val="0"/>
          <c:dLbls>
            <c:spPr>
              <a:noFill/>
              <a:ln>
                <a:noFill/>
              </a:ln>
              <a:effectLst/>
            </c:spPr>
            <c:txPr>
              <a:bodyPr/>
              <a:lstStyle/>
              <a:p>
                <a:pPr>
                  <a:defRPr sz="2400" b="0">
                    <a:solidFill>
                      <a:schemeClr val="accent4"/>
                    </a:solidFill>
                    <a:latin typeface="Arial" pitchFamily="34" charset="0"/>
                    <a:cs typeface="Arial"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numCache>
            </c:numRef>
          </c:cat>
          <c:val>
            <c:numRef>
              <c:f>Sheet1!$B$2:$B$5</c:f>
              <c:numCache>
                <c:formatCode>General</c:formatCode>
                <c:ptCount val="4"/>
                <c:pt idx="0">
                  <c:v>16.3</c:v>
                </c:pt>
                <c:pt idx="1">
                  <c:v>37.9</c:v>
                </c:pt>
                <c:pt idx="2">
                  <c:v>48.2</c:v>
                </c:pt>
                <c:pt idx="3">
                  <c:v>50.6</c:v>
                </c:pt>
              </c:numCache>
            </c:numRef>
          </c:val>
          <c:extLst>
            <c:ext xmlns:c16="http://schemas.microsoft.com/office/drawing/2014/chart" uri="{C3380CC4-5D6E-409C-BE32-E72D297353CC}">
              <c16:uniqueId val="{00000000-4D10-4713-B968-B5057EA0D0D8}"/>
            </c:ext>
          </c:extLst>
        </c:ser>
        <c:dLbls>
          <c:showLegendKey val="0"/>
          <c:showVal val="0"/>
          <c:showCatName val="0"/>
          <c:showSerName val="0"/>
          <c:showPercent val="0"/>
          <c:showBubbleSize val="0"/>
        </c:dLbls>
        <c:gapWidth val="111"/>
        <c:axId val="1517752176"/>
        <c:axId val="1517752736"/>
      </c:barChart>
      <c:catAx>
        <c:axId val="1517752176"/>
        <c:scaling>
          <c:orientation val="minMax"/>
        </c:scaling>
        <c:delete val="0"/>
        <c:axPos val="l"/>
        <c:numFmt formatCode="General" sourceLinked="1"/>
        <c:majorTickMark val="out"/>
        <c:minorTickMark val="none"/>
        <c:tickLblPos val="nextTo"/>
        <c:crossAx val="1517752736"/>
        <c:crosses val="autoZero"/>
        <c:auto val="1"/>
        <c:lblAlgn val="ctr"/>
        <c:lblOffset val="100"/>
        <c:noMultiLvlLbl val="0"/>
      </c:catAx>
      <c:valAx>
        <c:axId val="1517752736"/>
        <c:scaling>
          <c:orientation val="minMax"/>
        </c:scaling>
        <c:delete val="0"/>
        <c:axPos val="b"/>
        <c:numFmt formatCode="General" sourceLinked="1"/>
        <c:majorTickMark val="out"/>
        <c:minorTickMark val="none"/>
        <c:tickLblPos val="nextTo"/>
        <c:txPr>
          <a:bodyPr/>
          <a:lstStyle/>
          <a:p>
            <a:pPr>
              <a:defRPr sz="1000">
                <a:solidFill>
                  <a:srgbClr val="313131"/>
                </a:solidFill>
              </a:defRPr>
            </a:pPr>
            <a:endParaRPr lang="en-US"/>
          </a:p>
        </c:txPr>
        <c:crossAx val="1517752176"/>
        <c:crosses val="autoZero"/>
        <c:crossBetween val="between"/>
      </c:valAx>
      <c:spPr>
        <a:noFill/>
        <a:ln w="25400">
          <a:noFill/>
        </a:ln>
      </c:spPr>
    </c:plotArea>
    <c:plotVisOnly val="1"/>
    <c:dispBlanksAs val="gap"/>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75063801469041E-2"/>
          <c:y val="3.9110837369467202E-2"/>
          <c:w val="0.88542535108718601"/>
          <c:h val="0.92177832526106496"/>
        </c:manualLayout>
      </c:layout>
      <c:barChart>
        <c:barDir val="bar"/>
        <c:grouping val="clustered"/>
        <c:varyColors val="0"/>
        <c:ser>
          <c:idx val="0"/>
          <c:order val="0"/>
          <c:tx>
            <c:strRef>
              <c:f>Sheet1!$B$1</c:f>
              <c:strCache>
                <c:ptCount val="1"/>
                <c:pt idx="0">
                  <c:v>Series 1</c:v>
                </c:pt>
              </c:strCache>
            </c:strRef>
          </c:tx>
          <c:spPr>
            <a:solidFill>
              <a:schemeClr val="bg1">
                <a:lumMod val="75000"/>
              </a:schemeClr>
            </a:solidFill>
          </c:spPr>
          <c:invertIfNegative val="0"/>
          <c:dLbls>
            <c:dLbl>
              <c:idx val="0"/>
              <c:tx>
                <c:rich>
                  <a:bodyPr/>
                  <a:lstStyle/>
                  <a:p>
                    <a:r>
                      <a:rPr lang="en-US" sz="2400">
                        <a:solidFill>
                          <a:schemeClr val="tx1">
                            <a:lumMod val="65000"/>
                            <a:lumOff val="35000"/>
                          </a:schemeClr>
                        </a:solidFill>
                      </a:rPr>
                      <a:t>20.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2E9-4CCC-BE62-63A78597CCE9}"/>
                </c:ext>
              </c:extLst>
            </c:dLbl>
            <c:dLbl>
              <c:idx val="1"/>
              <c:tx>
                <c:rich>
                  <a:bodyPr/>
                  <a:lstStyle/>
                  <a:p>
                    <a:r>
                      <a:rPr lang="en-US" sz="2400">
                        <a:solidFill>
                          <a:schemeClr val="tx1">
                            <a:lumMod val="65000"/>
                            <a:lumOff val="35000"/>
                          </a:schemeClr>
                        </a:solidFill>
                      </a:rPr>
                      <a:t>30.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2E9-4CCC-BE62-63A78597CCE9}"/>
                </c:ext>
              </c:extLst>
            </c:dLbl>
            <c:dLbl>
              <c:idx val="2"/>
              <c:tx>
                <c:rich>
                  <a:bodyPr/>
                  <a:lstStyle/>
                  <a:p>
                    <a:r>
                      <a:rPr lang="en-US" sz="2400">
                        <a:solidFill>
                          <a:schemeClr val="tx1">
                            <a:lumMod val="65000"/>
                            <a:lumOff val="35000"/>
                          </a:schemeClr>
                        </a:solidFill>
                      </a:rPr>
                      <a:t>4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2E9-4CCC-BE62-63A78597CCE9}"/>
                </c:ext>
              </c:extLst>
            </c:dLbl>
            <c:dLbl>
              <c:idx val="3"/>
              <c:tx>
                <c:rich>
                  <a:bodyPr/>
                  <a:lstStyle/>
                  <a:p>
                    <a:r>
                      <a:rPr lang="en-US" sz="2400" dirty="0">
                        <a:solidFill>
                          <a:schemeClr val="tx1">
                            <a:lumMod val="65000"/>
                            <a:lumOff val="35000"/>
                          </a:schemeClr>
                        </a:solidFill>
                      </a:rPr>
                      <a:t>5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2E9-4CCC-BE62-63A78597CCE9}"/>
                </c:ext>
              </c:extLst>
            </c:dLbl>
            <c:numFmt formatCode="#;#" sourceLinked="0"/>
            <c:spPr>
              <a:noFill/>
              <a:ln>
                <a:noFill/>
              </a:ln>
              <a:effectLst/>
            </c:spPr>
            <c:txPr>
              <a:bodyPr/>
              <a:lstStyle/>
              <a:p>
                <a:pPr>
                  <a:defRPr sz="2400" b="0">
                    <a:solidFill>
                      <a:schemeClr val="tx1">
                        <a:lumMod val="65000"/>
                        <a:lumOff val="35000"/>
                      </a:schemeClr>
                    </a:solidFill>
                    <a:latin typeface="Arial" pitchFamily="34" charset="0"/>
                    <a:cs typeface="Arial"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numCache>
            </c:numRef>
          </c:cat>
          <c:val>
            <c:numRef>
              <c:f>Sheet1!$B$2:$B$5</c:f>
              <c:numCache>
                <c:formatCode>General</c:formatCode>
                <c:ptCount val="4"/>
                <c:pt idx="0">
                  <c:v>-20.399999999999999</c:v>
                </c:pt>
                <c:pt idx="1">
                  <c:v>-30.6</c:v>
                </c:pt>
                <c:pt idx="2">
                  <c:v>-45.9</c:v>
                </c:pt>
                <c:pt idx="3">
                  <c:v>-51.2</c:v>
                </c:pt>
              </c:numCache>
            </c:numRef>
          </c:val>
          <c:extLst>
            <c:ext xmlns:c16="http://schemas.microsoft.com/office/drawing/2014/chart" uri="{C3380CC4-5D6E-409C-BE32-E72D297353CC}">
              <c16:uniqueId val="{00000004-42E9-4CCC-BE62-63A78597CCE9}"/>
            </c:ext>
          </c:extLst>
        </c:ser>
        <c:dLbls>
          <c:showLegendKey val="0"/>
          <c:showVal val="0"/>
          <c:showCatName val="0"/>
          <c:showSerName val="0"/>
          <c:showPercent val="0"/>
          <c:showBubbleSize val="0"/>
        </c:dLbls>
        <c:gapWidth val="111"/>
        <c:axId val="1517754976"/>
        <c:axId val="1517755536"/>
      </c:barChart>
      <c:catAx>
        <c:axId val="1517754976"/>
        <c:scaling>
          <c:orientation val="minMax"/>
        </c:scaling>
        <c:delete val="0"/>
        <c:axPos val="l"/>
        <c:numFmt formatCode="General" sourceLinked="1"/>
        <c:majorTickMark val="out"/>
        <c:minorTickMark val="none"/>
        <c:tickLblPos val="nextTo"/>
        <c:crossAx val="1517755536"/>
        <c:crosses val="autoZero"/>
        <c:auto val="1"/>
        <c:lblAlgn val="ctr"/>
        <c:lblOffset val="100"/>
        <c:noMultiLvlLbl val="0"/>
      </c:catAx>
      <c:valAx>
        <c:axId val="1517755536"/>
        <c:scaling>
          <c:orientation val="minMax"/>
        </c:scaling>
        <c:delete val="0"/>
        <c:axPos val="b"/>
        <c:numFmt formatCode="General" sourceLinked="1"/>
        <c:majorTickMark val="out"/>
        <c:minorTickMark val="none"/>
        <c:tickLblPos val="nextTo"/>
        <c:txPr>
          <a:bodyPr/>
          <a:lstStyle/>
          <a:p>
            <a:pPr>
              <a:defRPr sz="1000">
                <a:solidFill>
                  <a:srgbClr val="313131"/>
                </a:solidFill>
              </a:defRPr>
            </a:pPr>
            <a:endParaRPr lang="en-US"/>
          </a:p>
        </c:txPr>
        <c:crossAx val="1517754976"/>
        <c:crosses val="autoZero"/>
        <c:crossBetween val="between"/>
      </c:valAx>
      <c:spPr>
        <a:noFill/>
        <a:ln w="25400">
          <a:noFill/>
        </a:ln>
      </c:spPr>
    </c:plotArea>
    <c:plotVisOnly val="1"/>
    <c:dispBlanksAs val="gap"/>
    <c:showDLblsOverMax val="0"/>
  </c:chart>
  <c:txPr>
    <a:bodyPr/>
    <a:lstStyle/>
    <a:p>
      <a:pP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499860938726896E-2"/>
          <c:y val="4.6153916517082699E-2"/>
          <c:w val="0.83644699282682566"/>
          <c:h val="0.81909299387459056"/>
        </c:manualLayout>
      </c:layout>
      <c:barChart>
        <c:barDir val="col"/>
        <c:grouping val="stacked"/>
        <c:varyColors val="0"/>
        <c:ser>
          <c:idx val="0"/>
          <c:order val="0"/>
          <c:tx>
            <c:strRef>
              <c:f>Sheet1!$B$1</c:f>
              <c:strCache>
                <c:ptCount val="1"/>
                <c:pt idx="0">
                  <c:v>Lable 1</c:v>
                </c:pt>
              </c:strCache>
            </c:strRef>
          </c:tx>
          <c:spPr>
            <a:solidFill>
              <a:schemeClr val="accent1"/>
            </a:solidFill>
            <a:ln>
              <a:solidFill>
                <a:schemeClr val="bg1"/>
              </a:solidFill>
            </a:ln>
          </c:spPr>
          <c:invertIfNegative val="0"/>
          <c:dLbls>
            <c:delete val="1"/>
          </c:dLbls>
          <c:cat>
            <c:strRef>
              <c:f>Sheet1!$A$2:$A$4</c:f>
              <c:strCache>
                <c:ptCount val="3"/>
                <c:pt idx="0">
                  <c:v>East</c:v>
                </c:pt>
                <c:pt idx="1">
                  <c:v>West</c:v>
                </c:pt>
                <c:pt idx="2">
                  <c:v>North</c:v>
                </c:pt>
              </c:strCache>
            </c:strRef>
          </c:cat>
          <c:val>
            <c:numRef>
              <c:f>Sheet1!$B$2:$B$4</c:f>
              <c:numCache>
                <c:formatCode>General</c:formatCode>
                <c:ptCount val="3"/>
                <c:pt idx="0">
                  <c:v>15</c:v>
                </c:pt>
                <c:pt idx="1">
                  <c:v>13</c:v>
                </c:pt>
                <c:pt idx="2">
                  <c:v>12</c:v>
                </c:pt>
              </c:numCache>
            </c:numRef>
          </c:val>
          <c:extLst>
            <c:ext xmlns:c16="http://schemas.microsoft.com/office/drawing/2014/chart" uri="{C3380CC4-5D6E-409C-BE32-E72D297353CC}">
              <c16:uniqueId val="{00000000-1E0B-428D-BDD8-8FE01F7A903F}"/>
            </c:ext>
          </c:extLst>
        </c:ser>
        <c:ser>
          <c:idx val="1"/>
          <c:order val="1"/>
          <c:tx>
            <c:strRef>
              <c:f>Sheet1!$C$1</c:f>
              <c:strCache>
                <c:ptCount val="1"/>
                <c:pt idx="0">
                  <c:v>Lable 2</c:v>
                </c:pt>
              </c:strCache>
            </c:strRef>
          </c:tx>
          <c:spPr>
            <a:solidFill>
              <a:schemeClr val="accent2"/>
            </a:solidFill>
            <a:ln>
              <a:solidFill>
                <a:schemeClr val="bg1"/>
              </a:solidFill>
            </a:ln>
          </c:spPr>
          <c:invertIfNegative val="0"/>
          <c:dLbls>
            <c:delete val="1"/>
          </c:dLbls>
          <c:cat>
            <c:strRef>
              <c:f>Sheet1!$A$2:$A$4</c:f>
              <c:strCache>
                <c:ptCount val="3"/>
                <c:pt idx="0">
                  <c:v>East</c:v>
                </c:pt>
                <c:pt idx="1">
                  <c:v>West</c:v>
                </c:pt>
                <c:pt idx="2">
                  <c:v>North</c:v>
                </c:pt>
              </c:strCache>
            </c:strRef>
          </c:cat>
          <c:val>
            <c:numRef>
              <c:f>Sheet1!$C$2:$C$4</c:f>
              <c:numCache>
                <c:formatCode>General</c:formatCode>
                <c:ptCount val="3"/>
                <c:pt idx="0">
                  <c:v>15</c:v>
                </c:pt>
                <c:pt idx="1">
                  <c:v>13</c:v>
                </c:pt>
                <c:pt idx="2">
                  <c:v>12</c:v>
                </c:pt>
              </c:numCache>
            </c:numRef>
          </c:val>
          <c:extLst>
            <c:ext xmlns:c16="http://schemas.microsoft.com/office/drawing/2014/chart" uri="{C3380CC4-5D6E-409C-BE32-E72D297353CC}">
              <c16:uniqueId val="{00000001-1E0B-428D-BDD8-8FE01F7A903F}"/>
            </c:ext>
          </c:extLst>
        </c:ser>
        <c:ser>
          <c:idx val="2"/>
          <c:order val="2"/>
          <c:tx>
            <c:strRef>
              <c:f>Sheet1!$D$1</c:f>
              <c:strCache>
                <c:ptCount val="1"/>
                <c:pt idx="0">
                  <c:v>Lable 3</c:v>
                </c:pt>
              </c:strCache>
            </c:strRef>
          </c:tx>
          <c:spPr>
            <a:solidFill>
              <a:schemeClr val="accent3"/>
            </a:solidFill>
            <a:ln>
              <a:solidFill>
                <a:schemeClr val="bg1"/>
              </a:solidFill>
            </a:ln>
          </c:spPr>
          <c:invertIfNegative val="0"/>
          <c:dLbls>
            <c:delete val="1"/>
          </c:dLbls>
          <c:cat>
            <c:strRef>
              <c:f>Sheet1!$A$2:$A$4</c:f>
              <c:strCache>
                <c:ptCount val="3"/>
                <c:pt idx="0">
                  <c:v>East</c:v>
                </c:pt>
                <c:pt idx="1">
                  <c:v>West</c:v>
                </c:pt>
                <c:pt idx="2">
                  <c:v>North</c:v>
                </c:pt>
              </c:strCache>
            </c:strRef>
          </c:cat>
          <c:val>
            <c:numRef>
              <c:f>Sheet1!$D$2:$D$4</c:f>
              <c:numCache>
                <c:formatCode>General</c:formatCode>
                <c:ptCount val="3"/>
                <c:pt idx="0">
                  <c:v>15</c:v>
                </c:pt>
                <c:pt idx="1">
                  <c:v>13</c:v>
                </c:pt>
                <c:pt idx="2">
                  <c:v>12</c:v>
                </c:pt>
              </c:numCache>
            </c:numRef>
          </c:val>
          <c:extLst>
            <c:ext xmlns:c16="http://schemas.microsoft.com/office/drawing/2014/chart" uri="{C3380CC4-5D6E-409C-BE32-E72D297353CC}">
              <c16:uniqueId val="{00000002-1E0B-428D-BDD8-8FE01F7A903F}"/>
            </c:ext>
          </c:extLst>
        </c:ser>
        <c:ser>
          <c:idx val="3"/>
          <c:order val="3"/>
          <c:tx>
            <c:strRef>
              <c:f>Sheet1!$E$1</c:f>
              <c:strCache>
                <c:ptCount val="1"/>
                <c:pt idx="0">
                  <c:v>Lable 4</c:v>
                </c:pt>
              </c:strCache>
            </c:strRef>
          </c:tx>
          <c:spPr>
            <a:solidFill>
              <a:schemeClr val="accent4"/>
            </a:solidFill>
            <a:ln>
              <a:solidFill>
                <a:schemeClr val="bg1"/>
              </a:solidFill>
            </a:ln>
          </c:spPr>
          <c:invertIfNegative val="0"/>
          <c:dLbls>
            <c:delete val="1"/>
          </c:dLbls>
          <c:cat>
            <c:strRef>
              <c:f>Sheet1!$A$2:$A$4</c:f>
              <c:strCache>
                <c:ptCount val="3"/>
                <c:pt idx="0">
                  <c:v>East</c:v>
                </c:pt>
                <c:pt idx="1">
                  <c:v>West</c:v>
                </c:pt>
                <c:pt idx="2">
                  <c:v>North</c:v>
                </c:pt>
              </c:strCache>
            </c:strRef>
          </c:cat>
          <c:val>
            <c:numRef>
              <c:f>Sheet1!$E$2:$E$4</c:f>
              <c:numCache>
                <c:formatCode>General</c:formatCode>
                <c:ptCount val="3"/>
                <c:pt idx="0">
                  <c:v>15</c:v>
                </c:pt>
                <c:pt idx="1">
                  <c:v>13</c:v>
                </c:pt>
                <c:pt idx="2">
                  <c:v>12</c:v>
                </c:pt>
              </c:numCache>
            </c:numRef>
          </c:val>
          <c:extLst>
            <c:ext xmlns:c16="http://schemas.microsoft.com/office/drawing/2014/chart" uri="{C3380CC4-5D6E-409C-BE32-E72D297353CC}">
              <c16:uniqueId val="{00000003-1E0B-428D-BDD8-8FE01F7A903F}"/>
            </c:ext>
          </c:extLst>
        </c:ser>
        <c:ser>
          <c:idx val="4"/>
          <c:order val="4"/>
          <c:tx>
            <c:strRef>
              <c:f>Sheet1!$F$1</c:f>
              <c:strCache>
                <c:ptCount val="1"/>
                <c:pt idx="0">
                  <c:v>Lable 5</c:v>
                </c:pt>
              </c:strCache>
            </c:strRef>
          </c:tx>
          <c:spPr>
            <a:solidFill>
              <a:schemeClr val="accent5"/>
            </a:solidFill>
            <a:ln>
              <a:solidFill>
                <a:schemeClr val="bg1"/>
              </a:solidFill>
            </a:ln>
          </c:spPr>
          <c:invertIfNegative val="0"/>
          <c:dLbls>
            <c:delete val="1"/>
          </c:dLbls>
          <c:cat>
            <c:strRef>
              <c:f>Sheet1!$A$2:$A$4</c:f>
              <c:strCache>
                <c:ptCount val="3"/>
                <c:pt idx="0">
                  <c:v>East</c:v>
                </c:pt>
                <c:pt idx="1">
                  <c:v>West</c:v>
                </c:pt>
                <c:pt idx="2">
                  <c:v>North</c:v>
                </c:pt>
              </c:strCache>
            </c:strRef>
          </c:cat>
          <c:val>
            <c:numRef>
              <c:f>Sheet1!$F$2:$F$4</c:f>
              <c:numCache>
                <c:formatCode>General</c:formatCode>
                <c:ptCount val="3"/>
                <c:pt idx="0">
                  <c:v>15</c:v>
                </c:pt>
                <c:pt idx="1">
                  <c:v>13</c:v>
                </c:pt>
                <c:pt idx="2">
                  <c:v>12</c:v>
                </c:pt>
              </c:numCache>
            </c:numRef>
          </c:val>
          <c:extLst>
            <c:ext xmlns:c16="http://schemas.microsoft.com/office/drawing/2014/chart" uri="{C3380CC4-5D6E-409C-BE32-E72D297353CC}">
              <c16:uniqueId val="{00000004-1E0B-428D-BDD8-8FE01F7A903F}"/>
            </c:ext>
          </c:extLst>
        </c:ser>
        <c:ser>
          <c:idx val="5"/>
          <c:order val="5"/>
          <c:tx>
            <c:strRef>
              <c:f>Sheet1!$G$1</c:f>
              <c:strCache>
                <c:ptCount val="1"/>
                <c:pt idx="0">
                  <c:v>Lable 6</c:v>
                </c:pt>
              </c:strCache>
            </c:strRef>
          </c:tx>
          <c:spPr>
            <a:solidFill>
              <a:schemeClr val="accent6"/>
            </a:solidFill>
            <a:ln>
              <a:solidFill>
                <a:schemeClr val="bg1"/>
              </a:solidFill>
            </a:ln>
          </c:spPr>
          <c:invertIfNegative val="0"/>
          <c:dLbls>
            <c:delete val="1"/>
          </c:dLbls>
          <c:cat>
            <c:strRef>
              <c:f>Sheet1!$A$2:$A$4</c:f>
              <c:strCache>
                <c:ptCount val="3"/>
                <c:pt idx="0">
                  <c:v>East</c:v>
                </c:pt>
                <c:pt idx="1">
                  <c:v>West</c:v>
                </c:pt>
                <c:pt idx="2">
                  <c:v>North</c:v>
                </c:pt>
              </c:strCache>
            </c:strRef>
          </c:cat>
          <c:val>
            <c:numRef>
              <c:f>Sheet1!$G$2:$G$4</c:f>
              <c:numCache>
                <c:formatCode>General</c:formatCode>
                <c:ptCount val="3"/>
                <c:pt idx="0">
                  <c:v>15</c:v>
                </c:pt>
                <c:pt idx="1">
                  <c:v>13</c:v>
                </c:pt>
                <c:pt idx="2">
                  <c:v>12</c:v>
                </c:pt>
              </c:numCache>
            </c:numRef>
          </c:val>
          <c:extLst>
            <c:ext xmlns:c16="http://schemas.microsoft.com/office/drawing/2014/chart" uri="{C3380CC4-5D6E-409C-BE32-E72D297353CC}">
              <c16:uniqueId val="{00000005-1E0B-428D-BDD8-8FE01F7A903F}"/>
            </c:ext>
          </c:extLst>
        </c:ser>
        <c:ser>
          <c:idx val="6"/>
          <c:order val="6"/>
          <c:tx>
            <c:strRef>
              <c:f>Sheet1!$H$1</c:f>
              <c:strCache>
                <c:ptCount val="1"/>
                <c:pt idx="0">
                  <c:v>Lable 7 </c:v>
                </c:pt>
              </c:strCache>
            </c:strRef>
          </c:tx>
          <c:spPr>
            <a:solidFill>
              <a:schemeClr val="tx1">
                <a:lumMod val="75000"/>
                <a:lumOff val="25000"/>
              </a:schemeClr>
            </a:solidFill>
            <a:ln>
              <a:solidFill>
                <a:schemeClr val="bg1"/>
              </a:solidFill>
            </a:ln>
          </c:spPr>
          <c:invertIfNegative val="0"/>
          <c:dLbls>
            <c:delete val="1"/>
          </c:dLbls>
          <c:cat>
            <c:strRef>
              <c:f>Sheet1!$A$2:$A$4</c:f>
              <c:strCache>
                <c:ptCount val="3"/>
                <c:pt idx="0">
                  <c:v>East</c:v>
                </c:pt>
                <c:pt idx="1">
                  <c:v>West</c:v>
                </c:pt>
                <c:pt idx="2">
                  <c:v>North</c:v>
                </c:pt>
              </c:strCache>
            </c:strRef>
          </c:cat>
          <c:val>
            <c:numRef>
              <c:f>Sheet1!$H$2:$H$4</c:f>
              <c:numCache>
                <c:formatCode>General</c:formatCode>
                <c:ptCount val="3"/>
                <c:pt idx="0">
                  <c:v>15</c:v>
                </c:pt>
                <c:pt idx="1">
                  <c:v>13</c:v>
                </c:pt>
                <c:pt idx="2">
                  <c:v>12</c:v>
                </c:pt>
              </c:numCache>
            </c:numRef>
          </c:val>
          <c:extLst>
            <c:ext xmlns:c16="http://schemas.microsoft.com/office/drawing/2014/chart" uri="{C3380CC4-5D6E-409C-BE32-E72D297353CC}">
              <c16:uniqueId val="{00000006-1E0B-428D-BDD8-8FE01F7A903F}"/>
            </c:ext>
          </c:extLst>
        </c:ser>
        <c:ser>
          <c:idx val="7"/>
          <c:order val="7"/>
          <c:tx>
            <c:strRef>
              <c:f>Sheet1!$I$1</c:f>
              <c:strCache>
                <c:ptCount val="1"/>
                <c:pt idx="0">
                  <c:v>Lable 8</c:v>
                </c:pt>
              </c:strCache>
            </c:strRef>
          </c:tx>
          <c:spPr>
            <a:solidFill>
              <a:schemeClr val="bg2">
                <a:lumMod val="50000"/>
              </a:schemeClr>
            </a:solidFill>
            <a:ln>
              <a:solidFill>
                <a:schemeClr val="bg1"/>
              </a:solidFill>
            </a:ln>
          </c:spPr>
          <c:invertIfNegative val="0"/>
          <c:dLbls>
            <c:delete val="1"/>
          </c:dLbls>
          <c:cat>
            <c:strRef>
              <c:f>Sheet1!$A$2:$A$4</c:f>
              <c:strCache>
                <c:ptCount val="3"/>
                <c:pt idx="0">
                  <c:v>East</c:v>
                </c:pt>
                <c:pt idx="1">
                  <c:v>West</c:v>
                </c:pt>
                <c:pt idx="2">
                  <c:v>North</c:v>
                </c:pt>
              </c:strCache>
            </c:strRef>
          </c:cat>
          <c:val>
            <c:numRef>
              <c:f>Sheet1!$I$2:$I$4</c:f>
              <c:numCache>
                <c:formatCode>General</c:formatCode>
                <c:ptCount val="3"/>
                <c:pt idx="0">
                  <c:v>15</c:v>
                </c:pt>
                <c:pt idx="1">
                  <c:v>13</c:v>
                </c:pt>
                <c:pt idx="2">
                  <c:v>12</c:v>
                </c:pt>
              </c:numCache>
            </c:numRef>
          </c:val>
          <c:extLst>
            <c:ext xmlns:c16="http://schemas.microsoft.com/office/drawing/2014/chart" uri="{C3380CC4-5D6E-409C-BE32-E72D297353CC}">
              <c16:uniqueId val="{00000007-1E0B-428D-BDD8-8FE01F7A903F}"/>
            </c:ext>
          </c:extLst>
        </c:ser>
        <c:ser>
          <c:idx val="8"/>
          <c:order val="8"/>
          <c:tx>
            <c:strRef>
              <c:f>Sheet1!$J$1</c:f>
              <c:strCache>
                <c:ptCount val="1"/>
                <c:pt idx="0">
                  <c:v>Lable 9</c:v>
                </c:pt>
              </c:strCache>
            </c:strRef>
          </c:tx>
          <c:spPr>
            <a:solidFill>
              <a:schemeClr val="bg2">
                <a:lumMod val="75000"/>
              </a:schemeClr>
            </a:solidFill>
            <a:ln>
              <a:solidFill>
                <a:schemeClr val="bg1"/>
              </a:solidFill>
            </a:ln>
          </c:spPr>
          <c:invertIfNegative val="0"/>
          <c:dLbls>
            <c:delete val="1"/>
          </c:dLbls>
          <c:cat>
            <c:strRef>
              <c:f>Sheet1!$A$2:$A$4</c:f>
              <c:strCache>
                <c:ptCount val="3"/>
                <c:pt idx="0">
                  <c:v>East</c:v>
                </c:pt>
                <c:pt idx="1">
                  <c:v>West</c:v>
                </c:pt>
                <c:pt idx="2">
                  <c:v>North</c:v>
                </c:pt>
              </c:strCache>
            </c:strRef>
          </c:cat>
          <c:val>
            <c:numRef>
              <c:f>Sheet1!$J$2:$J$4</c:f>
              <c:numCache>
                <c:formatCode>General</c:formatCode>
                <c:ptCount val="3"/>
                <c:pt idx="0">
                  <c:v>15</c:v>
                </c:pt>
                <c:pt idx="1">
                  <c:v>13</c:v>
                </c:pt>
                <c:pt idx="2">
                  <c:v>12</c:v>
                </c:pt>
              </c:numCache>
            </c:numRef>
          </c:val>
          <c:extLst>
            <c:ext xmlns:c16="http://schemas.microsoft.com/office/drawing/2014/chart" uri="{C3380CC4-5D6E-409C-BE32-E72D297353CC}">
              <c16:uniqueId val="{00000008-1E0B-428D-BDD8-8FE01F7A903F}"/>
            </c:ext>
          </c:extLst>
        </c:ser>
        <c:dLbls>
          <c:showLegendKey val="0"/>
          <c:showVal val="1"/>
          <c:showCatName val="0"/>
          <c:showSerName val="0"/>
          <c:showPercent val="0"/>
          <c:showBubbleSize val="0"/>
        </c:dLbls>
        <c:gapWidth val="150"/>
        <c:overlap val="100"/>
        <c:axId val="1520095760"/>
        <c:axId val="1520096320"/>
      </c:barChart>
      <c:catAx>
        <c:axId val="1520095760"/>
        <c:scaling>
          <c:orientation val="minMax"/>
        </c:scaling>
        <c:delete val="0"/>
        <c:axPos val="b"/>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520096320"/>
        <c:crosses val="autoZero"/>
        <c:auto val="1"/>
        <c:lblAlgn val="ctr"/>
        <c:lblOffset val="100"/>
        <c:noMultiLvlLbl val="0"/>
      </c:catAx>
      <c:valAx>
        <c:axId val="1520096320"/>
        <c:scaling>
          <c:orientation val="minMax"/>
        </c:scaling>
        <c:delete val="0"/>
        <c:axPos val="l"/>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520095760"/>
        <c:crosses val="autoZero"/>
        <c:crossBetween val="between"/>
        <c:majorUnit val="50"/>
      </c:valAx>
    </c:plotArea>
    <c:legend>
      <c:legendPos val="r"/>
      <c:layout>
        <c:manualLayout>
          <c:xMode val="edge"/>
          <c:yMode val="edge"/>
          <c:x val="0.91262463888831191"/>
          <c:y val="1.8973488125831318E-2"/>
          <c:w val="7.827967955508032E-2"/>
          <c:h val="0.74338037157086834"/>
        </c:manualLayout>
      </c:layout>
      <c:overlay val="0"/>
      <c:txPr>
        <a:bodyPr/>
        <a:lstStyle/>
        <a:p>
          <a:pPr>
            <a:defRPr sz="1000">
              <a:solidFill>
                <a:srgbClr val="313131"/>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984662576687199"/>
          <c:y val="0.103605191680629"/>
          <c:w val="0.83067774503647196"/>
          <c:h val="0.67467453126864396"/>
        </c:manualLayout>
      </c:layout>
      <c:barChart>
        <c:barDir val="col"/>
        <c:grouping val="stacked"/>
        <c:varyColors val="0"/>
        <c:ser>
          <c:idx val="0"/>
          <c:order val="0"/>
          <c:tx>
            <c:strRef>
              <c:f>Sheet1!$B$1</c:f>
              <c:strCache>
                <c:ptCount val="1"/>
                <c:pt idx="0">
                  <c:v>Label 1</c:v>
                </c:pt>
              </c:strCache>
            </c:strRef>
          </c:tx>
          <c:spPr>
            <a:solidFill>
              <a:schemeClr val="bg1">
                <a:lumMod val="65000"/>
              </a:schemeClr>
            </a:solidFill>
            <a:ln w="19050">
              <a:solidFill>
                <a:prstClr val="white"/>
              </a:solidFill>
            </a:ln>
          </c:spPr>
          <c:invertIfNegative val="0"/>
          <c:cat>
            <c:numRef>
              <c:f>Sheet1!$A$2:$A$5</c:f>
              <c:numCache>
                <c:formatCode>General</c:formatCode>
                <c:ptCount val="4"/>
                <c:pt idx="0">
                  <c:v>2009</c:v>
                </c:pt>
                <c:pt idx="1">
                  <c:v>2010</c:v>
                </c:pt>
                <c:pt idx="2">
                  <c:v>2011</c:v>
                </c:pt>
                <c:pt idx="3">
                  <c:v>2012</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2E64-4AE6-B171-6D37A7A35416}"/>
            </c:ext>
          </c:extLst>
        </c:ser>
        <c:ser>
          <c:idx val="1"/>
          <c:order val="1"/>
          <c:tx>
            <c:strRef>
              <c:f>Sheet1!$C$1</c:f>
              <c:strCache>
                <c:ptCount val="1"/>
                <c:pt idx="0">
                  <c:v>Label 2</c:v>
                </c:pt>
              </c:strCache>
            </c:strRef>
          </c:tx>
          <c:spPr>
            <a:solidFill>
              <a:schemeClr val="bg1">
                <a:lumMod val="75000"/>
              </a:schemeClr>
            </a:solidFill>
            <a:ln w="19050">
              <a:solidFill>
                <a:schemeClr val="bg1"/>
              </a:solidFill>
            </a:ln>
          </c:spPr>
          <c:invertIfNegative val="0"/>
          <c:cat>
            <c:numRef>
              <c:f>Sheet1!$A$2:$A$5</c:f>
              <c:numCache>
                <c:formatCode>General</c:formatCode>
                <c:ptCount val="4"/>
                <c:pt idx="0">
                  <c:v>2009</c:v>
                </c:pt>
                <c:pt idx="1">
                  <c:v>2010</c:v>
                </c:pt>
                <c:pt idx="2">
                  <c:v>2011</c:v>
                </c:pt>
                <c:pt idx="3">
                  <c:v>2012</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2E64-4AE6-B171-6D37A7A35416}"/>
            </c:ext>
          </c:extLst>
        </c:ser>
        <c:ser>
          <c:idx val="2"/>
          <c:order val="2"/>
          <c:tx>
            <c:strRef>
              <c:f>Sheet1!$D$1</c:f>
              <c:strCache>
                <c:ptCount val="1"/>
                <c:pt idx="0">
                  <c:v>Label 3</c:v>
                </c:pt>
              </c:strCache>
            </c:strRef>
          </c:tx>
          <c:spPr>
            <a:solidFill>
              <a:schemeClr val="accent3"/>
            </a:solidFill>
            <a:ln w="19050">
              <a:solidFill>
                <a:prstClr val="white"/>
              </a:solidFill>
            </a:ln>
          </c:spPr>
          <c:invertIfNegative val="0"/>
          <c:cat>
            <c:numRef>
              <c:f>Sheet1!$A$2:$A$5</c:f>
              <c:numCache>
                <c:formatCode>General</c:formatCode>
                <c:ptCount val="4"/>
                <c:pt idx="0">
                  <c:v>2009</c:v>
                </c:pt>
                <c:pt idx="1">
                  <c:v>2010</c:v>
                </c:pt>
                <c:pt idx="2">
                  <c:v>2011</c:v>
                </c:pt>
                <c:pt idx="3">
                  <c:v>2012</c:v>
                </c:pt>
              </c:numCache>
            </c:num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2E64-4AE6-B171-6D37A7A35416}"/>
            </c:ext>
          </c:extLst>
        </c:ser>
        <c:dLbls>
          <c:showLegendKey val="0"/>
          <c:showVal val="0"/>
          <c:showCatName val="0"/>
          <c:showSerName val="0"/>
          <c:showPercent val="0"/>
          <c:showBubbleSize val="0"/>
        </c:dLbls>
        <c:gapWidth val="75"/>
        <c:overlap val="100"/>
        <c:axId val="856430384"/>
        <c:axId val="856430944"/>
      </c:barChart>
      <c:catAx>
        <c:axId val="856430384"/>
        <c:scaling>
          <c:orientation val="minMax"/>
        </c:scaling>
        <c:delete val="0"/>
        <c:axPos val="b"/>
        <c:title>
          <c:layout>
            <c:manualLayout>
              <c:xMode val="edge"/>
              <c:yMode val="edge"/>
              <c:x val="0.42994959447961567"/>
              <c:y val="0.8419346165825039"/>
            </c:manualLayout>
          </c:layout>
          <c:overlay val="0"/>
          <c:txPr>
            <a:bodyPr/>
            <a:lstStyle/>
            <a:p>
              <a:pPr>
                <a:defRPr sz="1000">
                  <a:solidFill>
                    <a:srgbClr val="313131"/>
                  </a:solidFill>
                </a:defRPr>
              </a:pPr>
              <a:endParaRPr lang="en-US"/>
            </a:p>
          </c:txPr>
        </c:title>
        <c:numFmt formatCode="General" sourceLinked="1"/>
        <c:majorTickMark val="none"/>
        <c:minorTickMark val="none"/>
        <c:tickLblPos val="nextTo"/>
        <c:txPr>
          <a:bodyPr/>
          <a:lstStyle/>
          <a:p>
            <a:pPr>
              <a:defRPr sz="1000">
                <a:solidFill>
                  <a:srgbClr val="313131"/>
                </a:solidFill>
              </a:defRPr>
            </a:pPr>
            <a:endParaRPr lang="en-US"/>
          </a:p>
        </c:txPr>
        <c:crossAx val="856430944"/>
        <c:crosses val="autoZero"/>
        <c:auto val="1"/>
        <c:lblAlgn val="ctr"/>
        <c:lblOffset val="100"/>
        <c:noMultiLvlLbl val="0"/>
      </c:catAx>
      <c:valAx>
        <c:axId val="856430944"/>
        <c:scaling>
          <c:orientation val="minMax"/>
        </c:scaling>
        <c:delete val="0"/>
        <c:axPos val="l"/>
        <c:title>
          <c:layout>
            <c:manualLayout>
              <c:xMode val="edge"/>
              <c:yMode val="edge"/>
              <c:x val="1.1594121749842064E-2"/>
              <c:y val="0.36340138388793958"/>
            </c:manualLayout>
          </c:layout>
          <c:overlay val="0"/>
          <c:txPr>
            <a:bodyPr/>
            <a:lstStyle/>
            <a:p>
              <a:pPr>
                <a:defRPr sz="1000">
                  <a:solidFill>
                    <a:srgbClr val="313131"/>
                  </a:solidFill>
                </a:defRPr>
              </a:pPr>
              <a:endParaRPr lang="en-US"/>
            </a:p>
          </c:txPr>
        </c:title>
        <c:numFmt formatCode="General" sourceLinked="1"/>
        <c:majorTickMark val="out"/>
        <c:minorTickMark val="none"/>
        <c:tickLblPos val="nextTo"/>
        <c:txPr>
          <a:bodyPr/>
          <a:lstStyle/>
          <a:p>
            <a:pPr>
              <a:defRPr sz="1000">
                <a:solidFill>
                  <a:srgbClr val="313131"/>
                </a:solidFill>
              </a:defRPr>
            </a:pPr>
            <a:endParaRPr lang="en-US"/>
          </a:p>
        </c:txPr>
        <c:crossAx val="856430384"/>
        <c:crosses val="autoZero"/>
        <c:crossBetween val="between"/>
      </c:valAx>
    </c:plotArea>
    <c:legend>
      <c:legendPos val="r"/>
      <c:layout>
        <c:manualLayout>
          <c:xMode val="edge"/>
          <c:yMode val="edge"/>
          <c:x val="0.11150654200602042"/>
          <c:y val="0.87997302209850226"/>
          <c:w val="0.82861673349113596"/>
          <c:h val="0.10564003380452899"/>
        </c:manualLayout>
      </c:layout>
      <c:overlay val="0"/>
      <c:txPr>
        <a:bodyPr/>
        <a:lstStyle/>
        <a:p>
          <a:pPr>
            <a:defRPr sz="1000">
              <a:solidFill>
                <a:srgbClr val="313131"/>
              </a:solidFill>
            </a:defRPr>
          </a:pPr>
          <a:endParaRPr lang="en-US"/>
        </a:p>
      </c:txPr>
    </c:legend>
    <c:plotVisOnly val="1"/>
    <c:dispBlanksAs val="gap"/>
    <c:showDLblsOverMax val="0"/>
  </c:chart>
  <c:spPr>
    <a:ln>
      <a:solidFill>
        <a:prstClr val="white"/>
      </a:solidFill>
    </a:ln>
  </c:spPr>
  <c:txPr>
    <a:bodyPr/>
    <a:lstStyle/>
    <a:p>
      <a:pPr>
        <a:defRPr sz="1800"/>
      </a:pPr>
      <a:endParaRPr lang="en-US"/>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984662576687199"/>
          <c:y val="0.103605191680629"/>
          <c:w val="0.83067774503647196"/>
          <c:h val="0.67467453126864396"/>
        </c:manualLayout>
      </c:layout>
      <c:barChart>
        <c:barDir val="col"/>
        <c:grouping val="stacked"/>
        <c:varyColors val="0"/>
        <c:ser>
          <c:idx val="0"/>
          <c:order val="0"/>
          <c:tx>
            <c:strRef>
              <c:f>Sheet1!$B$1</c:f>
              <c:strCache>
                <c:ptCount val="1"/>
                <c:pt idx="0">
                  <c:v>Label 1</c:v>
                </c:pt>
              </c:strCache>
            </c:strRef>
          </c:tx>
          <c:spPr>
            <a:solidFill>
              <a:schemeClr val="bg1">
                <a:lumMod val="65000"/>
              </a:schemeClr>
            </a:solidFill>
            <a:ln w="19050">
              <a:solidFill>
                <a:prstClr val="white"/>
              </a:solidFill>
            </a:ln>
          </c:spPr>
          <c:invertIfNegative val="0"/>
          <c:cat>
            <c:numRef>
              <c:f>Sheet1!$A$2:$A$5</c:f>
              <c:numCache>
                <c:formatCode>General</c:formatCode>
                <c:ptCount val="4"/>
                <c:pt idx="0">
                  <c:v>2009</c:v>
                </c:pt>
                <c:pt idx="1">
                  <c:v>2010</c:v>
                </c:pt>
                <c:pt idx="2">
                  <c:v>2011</c:v>
                </c:pt>
                <c:pt idx="3">
                  <c:v>2012</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301B-4A3B-83F3-9FB62F2E8A3B}"/>
            </c:ext>
          </c:extLst>
        </c:ser>
        <c:ser>
          <c:idx val="1"/>
          <c:order val="1"/>
          <c:tx>
            <c:strRef>
              <c:f>Sheet1!$C$1</c:f>
              <c:strCache>
                <c:ptCount val="1"/>
                <c:pt idx="0">
                  <c:v>Label 2</c:v>
                </c:pt>
              </c:strCache>
            </c:strRef>
          </c:tx>
          <c:spPr>
            <a:solidFill>
              <a:schemeClr val="bg1">
                <a:lumMod val="75000"/>
              </a:schemeClr>
            </a:solidFill>
            <a:ln w="19050">
              <a:solidFill>
                <a:schemeClr val="bg1"/>
              </a:solidFill>
            </a:ln>
          </c:spPr>
          <c:invertIfNegative val="0"/>
          <c:cat>
            <c:numRef>
              <c:f>Sheet1!$A$2:$A$5</c:f>
              <c:numCache>
                <c:formatCode>General</c:formatCode>
                <c:ptCount val="4"/>
                <c:pt idx="0">
                  <c:v>2009</c:v>
                </c:pt>
                <c:pt idx="1">
                  <c:v>2010</c:v>
                </c:pt>
                <c:pt idx="2">
                  <c:v>2011</c:v>
                </c:pt>
                <c:pt idx="3">
                  <c:v>2012</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301B-4A3B-83F3-9FB62F2E8A3B}"/>
            </c:ext>
          </c:extLst>
        </c:ser>
        <c:ser>
          <c:idx val="2"/>
          <c:order val="2"/>
          <c:tx>
            <c:strRef>
              <c:f>Sheet1!$D$1</c:f>
              <c:strCache>
                <c:ptCount val="1"/>
                <c:pt idx="0">
                  <c:v>Label 3</c:v>
                </c:pt>
              </c:strCache>
            </c:strRef>
          </c:tx>
          <c:spPr>
            <a:solidFill>
              <a:schemeClr val="accent2"/>
            </a:solidFill>
            <a:ln w="19050">
              <a:solidFill>
                <a:prstClr val="white"/>
              </a:solidFill>
            </a:ln>
          </c:spPr>
          <c:invertIfNegative val="0"/>
          <c:cat>
            <c:numRef>
              <c:f>Sheet1!$A$2:$A$5</c:f>
              <c:numCache>
                <c:formatCode>General</c:formatCode>
                <c:ptCount val="4"/>
                <c:pt idx="0">
                  <c:v>2009</c:v>
                </c:pt>
                <c:pt idx="1">
                  <c:v>2010</c:v>
                </c:pt>
                <c:pt idx="2">
                  <c:v>2011</c:v>
                </c:pt>
                <c:pt idx="3">
                  <c:v>2012</c:v>
                </c:pt>
              </c:numCache>
            </c:num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301B-4A3B-83F3-9FB62F2E8A3B}"/>
            </c:ext>
          </c:extLst>
        </c:ser>
        <c:dLbls>
          <c:showLegendKey val="0"/>
          <c:showVal val="0"/>
          <c:showCatName val="0"/>
          <c:showSerName val="0"/>
          <c:showPercent val="0"/>
          <c:showBubbleSize val="0"/>
        </c:dLbls>
        <c:gapWidth val="75"/>
        <c:overlap val="100"/>
        <c:axId val="856434304"/>
        <c:axId val="1522229024"/>
      </c:barChart>
      <c:catAx>
        <c:axId val="856434304"/>
        <c:scaling>
          <c:orientation val="minMax"/>
        </c:scaling>
        <c:delete val="0"/>
        <c:axPos val="b"/>
        <c:title>
          <c:layout>
            <c:manualLayout>
              <c:xMode val="edge"/>
              <c:yMode val="edge"/>
              <c:x val="0.43767900897951034"/>
              <c:y val="0.8419346165825039"/>
            </c:manualLayout>
          </c:layout>
          <c:overlay val="0"/>
          <c:txPr>
            <a:bodyPr/>
            <a:lstStyle/>
            <a:p>
              <a:pPr>
                <a:defRPr sz="1000">
                  <a:solidFill>
                    <a:srgbClr val="313131"/>
                  </a:solidFill>
                </a:defRPr>
              </a:pPr>
              <a:endParaRPr lang="en-US"/>
            </a:p>
          </c:txPr>
        </c:title>
        <c:numFmt formatCode="General" sourceLinked="1"/>
        <c:majorTickMark val="none"/>
        <c:minorTickMark val="none"/>
        <c:tickLblPos val="nextTo"/>
        <c:txPr>
          <a:bodyPr/>
          <a:lstStyle/>
          <a:p>
            <a:pPr>
              <a:defRPr sz="1000">
                <a:solidFill>
                  <a:srgbClr val="313131"/>
                </a:solidFill>
              </a:defRPr>
            </a:pPr>
            <a:endParaRPr lang="en-US"/>
          </a:p>
        </c:txPr>
        <c:crossAx val="1522229024"/>
        <c:crosses val="autoZero"/>
        <c:auto val="1"/>
        <c:lblAlgn val="ctr"/>
        <c:lblOffset val="100"/>
        <c:noMultiLvlLbl val="0"/>
      </c:catAx>
      <c:valAx>
        <c:axId val="1522229024"/>
        <c:scaling>
          <c:orientation val="minMax"/>
        </c:scaling>
        <c:delete val="0"/>
        <c:axPos val="l"/>
        <c:title>
          <c:overlay val="0"/>
          <c:txPr>
            <a:bodyPr/>
            <a:lstStyle/>
            <a:p>
              <a:pPr>
                <a:defRPr sz="1000">
                  <a:solidFill>
                    <a:srgbClr val="313131"/>
                  </a:solidFill>
                </a:defRPr>
              </a:pPr>
              <a:endParaRPr lang="en-US"/>
            </a:p>
          </c:txPr>
        </c:title>
        <c:numFmt formatCode="General" sourceLinked="1"/>
        <c:majorTickMark val="out"/>
        <c:minorTickMark val="none"/>
        <c:tickLblPos val="nextTo"/>
        <c:txPr>
          <a:bodyPr/>
          <a:lstStyle/>
          <a:p>
            <a:pPr>
              <a:defRPr sz="1000">
                <a:solidFill>
                  <a:srgbClr val="313131"/>
                </a:solidFill>
              </a:defRPr>
            </a:pPr>
            <a:endParaRPr lang="en-US"/>
          </a:p>
        </c:txPr>
        <c:crossAx val="856434304"/>
        <c:crosses val="autoZero"/>
        <c:crossBetween val="between"/>
      </c:valAx>
    </c:plotArea>
    <c:legend>
      <c:legendPos val="r"/>
      <c:layout>
        <c:manualLayout>
          <c:xMode val="edge"/>
          <c:yMode val="edge"/>
          <c:x val="0.10377712750612571"/>
          <c:y val="0.87997302209850226"/>
          <c:w val="0.82861673349113596"/>
          <c:h val="0.10564003380452899"/>
        </c:manualLayout>
      </c:layout>
      <c:overlay val="0"/>
      <c:txPr>
        <a:bodyPr/>
        <a:lstStyle/>
        <a:p>
          <a:pPr>
            <a:defRPr sz="1000">
              <a:solidFill>
                <a:srgbClr val="313131"/>
              </a:solidFill>
            </a:defRPr>
          </a:pPr>
          <a:endParaRPr lang="en-US"/>
        </a:p>
      </c:txPr>
    </c:legend>
    <c:plotVisOnly val="1"/>
    <c:dispBlanksAs val="gap"/>
    <c:showDLblsOverMax val="0"/>
  </c:chart>
  <c:spPr>
    <a:ln>
      <a:solidFill>
        <a:prstClr val="white"/>
      </a:solidFill>
    </a:ln>
  </c:spPr>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984662576687199"/>
          <c:y val="0.103605191680629"/>
          <c:w val="0.83067774503647196"/>
          <c:h val="0.67467453126864396"/>
        </c:manualLayout>
      </c:layout>
      <c:barChart>
        <c:barDir val="col"/>
        <c:grouping val="stacked"/>
        <c:varyColors val="0"/>
        <c:ser>
          <c:idx val="0"/>
          <c:order val="0"/>
          <c:tx>
            <c:strRef>
              <c:f>Sheet1!$B$1</c:f>
              <c:strCache>
                <c:ptCount val="1"/>
                <c:pt idx="0">
                  <c:v>Label 1</c:v>
                </c:pt>
              </c:strCache>
            </c:strRef>
          </c:tx>
          <c:spPr>
            <a:solidFill>
              <a:schemeClr val="bg1">
                <a:lumMod val="65000"/>
              </a:schemeClr>
            </a:solidFill>
            <a:ln w="19050">
              <a:solidFill>
                <a:prstClr val="white"/>
              </a:solidFill>
            </a:ln>
          </c:spPr>
          <c:invertIfNegative val="0"/>
          <c:cat>
            <c:numRef>
              <c:f>Sheet1!$A$2:$A$5</c:f>
              <c:numCache>
                <c:formatCode>General</c:formatCode>
                <c:ptCount val="4"/>
                <c:pt idx="0">
                  <c:v>2009</c:v>
                </c:pt>
                <c:pt idx="1">
                  <c:v>2010</c:v>
                </c:pt>
                <c:pt idx="2">
                  <c:v>2011</c:v>
                </c:pt>
                <c:pt idx="3">
                  <c:v>2012</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88C8-4BCC-89A3-EA3E5265CEC5}"/>
            </c:ext>
          </c:extLst>
        </c:ser>
        <c:ser>
          <c:idx val="1"/>
          <c:order val="1"/>
          <c:tx>
            <c:strRef>
              <c:f>Sheet1!$C$1</c:f>
              <c:strCache>
                <c:ptCount val="1"/>
                <c:pt idx="0">
                  <c:v>Label 2</c:v>
                </c:pt>
              </c:strCache>
            </c:strRef>
          </c:tx>
          <c:spPr>
            <a:solidFill>
              <a:schemeClr val="bg1">
                <a:lumMod val="75000"/>
              </a:schemeClr>
            </a:solidFill>
            <a:ln w="19050">
              <a:solidFill>
                <a:schemeClr val="bg1"/>
              </a:solidFill>
            </a:ln>
          </c:spPr>
          <c:invertIfNegative val="0"/>
          <c:cat>
            <c:numRef>
              <c:f>Sheet1!$A$2:$A$5</c:f>
              <c:numCache>
                <c:formatCode>General</c:formatCode>
                <c:ptCount val="4"/>
                <c:pt idx="0">
                  <c:v>2009</c:v>
                </c:pt>
                <c:pt idx="1">
                  <c:v>2010</c:v>
                </c:pt>
                <c:pt idx="2">
                  <c:v>2011</c:v>
                </c:pt>
                <c:pt idx="3">
                  <c:v>2012</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88C8-4BCC-89A3-EA3E5265CEC5}"/>
            </c:ext>
          </c:extLst>
        </c:ser>
        <c:ser>
          <c:idx val="2"/>
          <c:order val="2"/>
          <c:tx>
            <c:strRef>
              <c:f>Sheet1!$D$1</c:f>
              <c:strCache>
                <c:ptCount val="1"/>
                <c:pt idx="0">
                  <c:v>Label 3</c:v>
                </c:pt>
              </c:strCache>
            </c:strRef>
          </c:tx>
          <c:spPr>
            <a:solidFill>
              <a:schemeClr val="accent3"/>
            </a:solidFill>
            <a:ln w="19050">
              <a:solidFill>
                <a:prstClr val="white"/>
              </a:solidFill>
            </a:ln>
          </c:spPr>
          <c:invertIfNegative val="0"/>
          <c:cat>
            <c:numRef>
              <c:f>Sheet1!$A$2:$A$5</c:f>
              <c:numCache>
                <c:formatCode>General</c:formatCode>
                <c:ptCount val="4"/>
                <c:pt idx="0">
                  <c:v>2009</c:v>
                </c:pt>
                <c:pt idx="1">
                  <c:v>2010</c:v>
                </c:pt>
                <c:pt idx="2">
                  <c:v>2011</c:v>
                </c:pt>
                <c:pt idx="3">
                  <c:v>2012</c:v>
                </c:pt>
              </c:numCache>
            </c:num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88C8-4BCC-89A3-EA3E5265CEC5}"/>
            </c:ext>
          </c:extLst>
        </c:ser>
        <c:dLbls>
          <c:showLegendKey val="0"/>
          <c:showVal val="0"/>
          <c:showCatName val="0"/>
          <c:showSerName val="0"/>
          <c:showPercent val="0"/>
          <c:showBubbleSize val="0"/>
        </c:dLbls>
        <c:gapWidth val="75"/>
        <c:overlap val="100"/>
        <c:axId val="1522232944"/>
        <c:axId val="1522233504"/>
      </c:barChart>
      <c:catAx>
        <c:axId val="1522232944"/>
        <c:scaling>
          <c:orientation val="minMax"/>
        </c:scaling>
        <c:delete val="0"/>
        <c:axPos val="b"/>
        <c:title>
          <c:layout>
            <c:manualLayout>
              <c:xMode val="edge"/>
              <c:yMode val="edge"/>
              <c:x val="0.42994959447961567"/>
              <c:y val="0.84275910268227805"/>
            </c:manualLayout>
          </c:layout>
          <c:overlay val="0"/>
          <c:txPr>
            <a:bodyPr/>
            <a:lstStyle/>
            <a:p>
              <a:pPr>
                <a:defRPr sz="1000">
                  <a:solidFill>
                    <a:srgbClr val="313131"/>
                  </a:solidFill>
                </a:defRPr>
              </a:pPr>
              <a:endParaRPr lang="en-US"/>
            </a:p>
          </c:txPr>
        </c:title>
        <c:numFmt formatCode="General" sourceLinked="1"/>
        <c:majorTickMark val="none"/>
        <c:minorTickMark val="none"/>
        <c:tickLblPos val="nextTo"/>
        <c:txPr>
          <a:bodyPr/>
          <a:lstStyle/>
          <a:p>
            <a:pPr>
              <a:defRPr sz="900">
                <a:solidFill>
                  <a:srgbClr val="313131"/>
                </a:solidFill>
              </a:defRPr>
            </a:pPr>
            <a:endParaRPr lang="en-US"/>
          </a:p>
        </c:txPr>
        <c:crossAx val="1522233504"/>
        <c:crosses val="autoZero"/>
        <c:auto val="1"/>
        <c:lblAlgn val="ctr"/>
        <c:lblOffset val="100"/>
        <c:noMultiLvlLbl val="0"/>
      </c:catAx>
      <c:valAx>
        <c:axId val="1522233504"/>
        <c:scaling>
          <c:orientation val="minMax"/>
        </c:scaling>
        <c:delete val="0"/>
        <c:axPos val="l"/>
        <c:title>
          <c:overlay val="0"/>
          <c:txPr>
            <a:bodyPr/>
            <a:lstStyle/>
            <a:p>
              <a:pPr>
                <a:defRPr sz="900">
                  <a:solidFill>
                    <a:srgbClr val="313131"/>
                  </a:solidFill>
                </a:defRPr>
              </a:pPr>
              <a:endParaRPr lang="en-US"/>
            </a:p>
          </c:txPr>
        </c:title>
        <c:numFmt formatCode="General" sourceLinked="1"/>
        <c:majorTickMark val="out"/>
        <c:minorTickMark val="none"/>
        <c:tickLblPos val="nextTo"/>
        <c:txPr>
          <a:bodyPr/>
          <a:lstStyle/>
          <a:p>
            <a:pPr>
              <a:defRPr sz="900">
                <a:solidFill>
                  <a:srgbClr val="313131"/>
                </a:solidFill>
              </a:defRPr>
            </a:pPr>
            <a:endParaRPr lang="en-US"/>
          </a:p>
        </c:txPr>
        <c:crossAx val="1522232944"/>
        <c:crosses val="autoZero"/>
        <c:crossBetween val="between"/>
      </c:valAx>
    </c:plotArea>
    <c:legend>
      <c:legendPos val="r"/>
      <c:layout>
        <c:manualLayout>
          <c:xMode val="edge"/>
          <c:yMode val="edge"/>
          <c:x val="0.11150654200602042"/>
          <c:y val="0.87997302209850226"/>
          <c:w val="0.82861673349113596"/>
          <c:h val="0.10564003380452899"/>
        </c:manualLayout>
      </c:layout>
      <c:overlay val="0"/>
      <c:txPr>
        <a:bodyPr/>
        <a:lstStyle/>
        <a:p>
          <a:pPr>
            <a:defRPr sz="1000">
              <a:solidFill>
                <a:srgbClr val="313131"/>
              </a:solidFill>
            </a:defRPr>
          </a:pPr>
          <a:endParaRPr lang="en-US"/>
        </a:p>
      </c:txPr>
    </c:legend>
    <c:plotVisOnly val="1"/>
    <c:dispBlanksAs val="gap"/>
    <c:showDLblsOverMax val="0"/>
  </c:chart>
  <c:spPr>
    <a:ln>
      <a:solidFill>
        <a:prstClr val="white"/>
      </a:solidFill>
    </a:ln>
  </c:spPr>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112675070028001"/>
          <c:y val="4.6153842659460598E-2"/>
          <c:w val="0.820984360410831"/>
          <c:h val="0.80036582809224199"/>
        </c:manualLayout>
      </c:layout>
      <c:barChart>
        <c:barDir val="col"/>
        <c:grouping val="stacked"/>
        <c:varyColors val="0"/>
        <c:ser>
          <c:idx val="0"/>
          <c:order val="0"/>
          <c:tx>
            <c:strRef>
              <c:f>Sheet1!$B$1</c:f>
              <c:strCache>
                <c:ptCount val="1"/>
                <c:pt idx="0">
                  <c:v>A</c:v>
                </c:pt>
              </c:strCache>
            </c:strRef>
          </c:tx>
          <c:spPr>
            <a:ln>
              <a:solidFill>
                <a:schemeClr val="bg1"/>
              </a:solidFill>
            </a:ln>
          </c:spPr>
          <c:invertIfNegative val="0"/>
          <c:dPt>
            <c:idx val="1"/>
            <c:invertIfNegative val="0"/>
            <c:bubble3D val="0"/>
            <c:spPr>
              <a:solidFill>
                <a:srgbClr val="B4B4B4"/>
              </a:solidFill>
              <a:ln>
                <a:solidFill>
                  <a:schemeClr val="bg1"/>
                </a:solidFill>
              </a:ln>
            </c:spPr>
            <c:extLst>
              <c:ext xmlns:c16="http://schemas.microsoft.com/office/drawing/2014/chart" uri="{C3380CC4-5D6E-409C-BE32-E72D297353CC}">
                <c16:uniqueId val="{00000001-828D-42D3-BA17-ABFCEE57253D}"/>
              </c:ext>
            </c:extLst>
          </c:dPt>
          <c:dPt>
            <c:idx val="2"/>
            <c:invertIfNegative val="0"/>
            <c:bubble3D val="0"/>
            <c:spPr>
              <a:solidFill>
                <a:srgbClr val="575757"/>
              </a:solidFill>
              <a:ln>
                <a:solidFill>
                  <a:schemeClr val="bg1"/>
                </a:solidFill>
              </a:ln>
            </c:spPr>
            <c:extLst>
              <c:ext xmlns:c16="http://schemas.microsoft.com/office/drawing/2014/chart" uri="{C3380CC4-5D6E-409C-BE32-E72D297353CC}">
                <c16:uniqueId val="{00000003-828D-42D3-BA17-ABFCEE57253D}"/>
              </c:ext>
            </c:extLst>
          </c:dPt>
          <c:dLbls>
            <c:delete val="1"/>
          </c:dLbls>
          <c:cat>
            <c:strRef>
              <c:f>Sheet1!$A$2:$A$4</c:f>
              <c:strCache>
                <c:ptCount val="3"/>
                <c:pt idx="0">
                  <c:v>East</c:v>
                </c:pt>
                <c:pt idx="1">
                  <c:v>West</c:v>
                </c:pt>
                <c:pt idx="2">
                  <c:v>North</c:v>
                </c:pt>
              </c:strCache>
            </c:strRef>
          </c:cat>
          <c:val>
            <c:numRef>
              <c:f>Sheet1!$B$2:$B$4</c:f>
              <c:numCache>
                <c:formatCode>General</c:formatCode>
                <c:ptCount val="3"/>
                <c:pt idx="0">
                  <c:v>45.9</c:v>
                </c:pt>
                <c:pt idx="1">
                  <c:v>30.5</c:v>
                </c:pt>
                <c:pt idx="2">
                  <c:v>25.4</c:v>
                </c:pt>
              </c:numCache>
            </c:numRef>
          </c:val>
          <c:extLst>
            <c:ext xmlns:c16="http://schemas.microsoft.com/office/drawing/2014/chart" uri="{C3380CC4-5D6E-409C-BE32-E72D297353CC}">
              <c16:uniqueId val="{00000004-828D-42D3-BA17-ABFCEE57253D}"/>
            </c:ext>
          </c:extLst>
        </c:ser>
        <c:dLbls>
          <c:showLegendKey val="0"/>
          <c:showVal val="1"/>
          <c:showCatName val="0"/>
          <c:showSerName val="0"/>
          <c:showPercent val="0"/>
          <c:showBubbleSize val="0"/>
        </c:dLbls>
        <c:gapWidth val="150"/>
        <c:overlap val="100"/>
        <c:axId val="1522236304"/>
        <c:axId val="87427488"/>
      </c:barChart>
      <c:catAx>
        <c:axId val="1522236304"/>
        <c:scaling>
          <c:orientation val="minMax"/>
        </c:scaling>
        <c:delete val="0"/>
        <c:axPos val="b"/>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87427488"/>
        <c:crosses val="autoZero"/>
        <c:auto val="1"/>
        <c:lblAlgn val="ctr"/>
        <c:lblOffset val="100"/>
        <c:noMultiLvlLbl val="0"/>
      </c:catAx>
      <c:valAx>
        <c:axId val="87427488"/>
        <c:scaling>
          <c:orientation val="minMax"/>
        </c:scaling>
        <c:delete val="0"/>
        <c:axPos val="l"/>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522236304"/>
        <c:crosses val="autoZero"/>
        <c:crossBetween val="between"/>
      </c:valAx>
    </c:plotArea>
    <c:plotVisOnly val="1"/>
    <c:dispBlanksAs val="gap"/>
    <c:showDLblsOverMax val="0"/>
  </c:chart>
  <c:txPr>
    <a:bodyPr/>
    <a:lstStyle/>
    <a:p>
      <a:pPr>
        <a:defRPr sz="12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99377950009633E-2"/>
          <c:y val="3.9546124331371897E-2"/>
          <c:w val="0.8888525013219567"/>
          <c:h val="0.82652760952957804"/>
        </c:manualLayout>
      </c:layout>
      <c:bubbleChart>
        <c:varyColors val="0"/>
        <c:ser>
          <c:idx val="0"/>
          <c:order val="0"/>
          <c:tx>
            <c:strRef>
              <c:f>Sheet1!$B$1</c:f>
              <c:strCache>
                <c:ptCount val="1"/>
                <c:pt idx="0">
                  <c:v>20</c:v>
                </c:pt>
              </c:strCache>
            </c:strRef>
          </c:tx>
          <c:spPr>
            <a:solidFill>
              <a:srgbClr val="00A1DE"/>
            </a:solidFill>
            <a:ln w="28575">
              <a:noFill/>
            </a:ln>
          </c:spPr>
          <c:invertIfNegative val="0"/>
          <c:dLbls>
            <c:dLbl>
              <c:idx val="0"/>
              <c:tx>
                <c:rich>
                  <a:bodyPr/>
                  <a:lstStyle/>
                  <a:p>
                    <a:r>
                      <a:rPr lang="en-US" sz="100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EE7-4F5A-99AD-7454174CD276}"/>
                </c:ext>
              </c:extLst>
            </c:dLbl>
            <c:dLbl>
              <c:idx val="1"/>
              <c:tx>
                <c:rich>
                  <a:bodyPr/>
                  <a:lstStyle/>
                  <a:p>
                    <a:r>
                      <a:rPr lang="en-US" sz="100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EE7-4F5A-99AD-7454174CD276}"/>
                </c:ext>
              </c:extLst>
            </c:dLbl>
            <c:dLbl>
              <c:idx val="2"/>
              <c:tx>
                <c:rich>
                  <a:bodyPr/>
                  <a:lstStyle/>
                  <a:p>
                    <a:r>
                      <a:rPr lang="en-US" sz="100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EE7-4F5A-99AD-7454174CD276}"/>
                </c:ext>
              </c:extLst>
            </c:dLbl>
            <c:dLbl>
              <c:idx val="3"/>
              <c:tx>
                <c:rich>
                  <a:bodyPr/>
                  <a:lstStyle/>
                  <a:p>
                    <a:r>
                      <a:rPr lang="en-US" sz="100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EE7-4F5A-99AD-7454174CD276}"/>
                </c:ext>
              </c:extLst>
            </c:dLbl>
            <c:dLbl>
              <c:idx val="4"/>
              <c:tx>
                <c:rich>
                  <a:bodyPr/>
                  <a:lstStyle/>
                  <a:p>
                    <a:r>
                      <a:rPr lang="en-US" sz="100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EE7-4F5A-99AD-7454174CD276}"/>
                </c:ext>
              </c:extLst>
            </c:dLbl>
            <c:dLbl>
              <c:idx val="5"/>
              <c:tx>
                <c:rich>
                  <a:bodyPr/>
                  <a:lstStyle/>
                  <a:p>
                    <a:r>
                      <a:rPr lang="en-US" sz="100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EE7-4F5A-99AD-7454174CD276}"/>
                </c:ext>
              </c:extLst>
            </c:dLbl>
            <c:dLbl>
              <c:idx val="6"/>
              <c:tx>
                <c:rich>
                  <a:bodyPr/>
                  <a:lstStyle/>
                  <a:p>
                    <a:r>
                      <a:rPr lang="en-US" sz="1000">
                        <a:solidFill>
                          <a:srgbClr val="313131"/>
                        </a:solidFill>
                      </a:rPr>
                      <a:t>xxx</a:t>
                    </a:r>
                    <a:endParaRPr lang="en-US"/>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EE7-4F5A-99AD-7454174CD276}"/>
                </c:ext>
              </c:extLst>
            </c:dLbl>
            <c:dLbl>
              <c:idx val="7"/>
              <c:tx>
                <c:rich>
                  <a:bodyPr/>
                  <a:lstStyle/>
                  <a:p>
                    <a:r>
                      <a:rPr lang="en-US" sz="100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EE7-4F5A-99AD-7454174CD276}"/>
                </c:ext>
              </c:extLst>
            </c:dLbl>
            <c:dLbl>
              <c:idx val="8"/>
              <c:tx>
                <c:rich>
                  <a:bodyPr/>
                  <a:lstStyle/>
                  <a:p>
                    <a:r>
                      <a:rPr lang="en-US" sz="100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8EE7-4F5A-99AD-7454174CD276}"/>
                </c:ext>
              </c:extLst>
            </c:dLbl>
            <c:dLbl>
              <c:idx val="9"/>
              <c:tx>
                <c:rich>
                  <a:bodyPr/>
                  <a:lstStyle/>
                  <a:p>
                    <a:r>
                      <a:rPr lang="en-US" sz="100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EE7-4F5A-99AD-7454174CD276}"/>
                </c:ext>
              </c:extLst>
            </c:dLbl>
            <c:dLbl>
              <c:idx val="10"/>
              <c:tx>
                <c:rich>
                  <a:bodyPr/>
                  <a:lstStyle/>
                  <a:p>
                    <a:r>
                      <a:rPr lang="en-US" sz="100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8EE7-4F5A-99AD-7454174CD276}"/>
                </c:ext>
              </c:extLst>
            </c:dLbl>
            <c:spPr>
              <a:noFill/>
              <a:ln>
                <a:noFill/>
              </a:ln>
              <a:effectLst/>
            </c:spPr>
            <c:txPr>
              <a:bodyPr/>
              <a:lstStyle/>
              <a:p>
                <a:pPr>
                  <a:defRPr sz="1000">
                    <a:solidFill>
                      <a:srgbClr val="313131"/>
                    </a:solidFill>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strRef>
              <c:f>Sheet1!$B$1:$L$1</c:f>
              <c:strCache>
                <c:ptCount val="11"/>
                <c:pt idx="0">
                  <c:v>20</c:v>
                </c:pt>
                <c:pt idx="1">
                  <c:v>11</c:v>
                </c:pt>
                <c:pt idx="2">
                  <c:v>36</c:v>
                </c:pt>
                <c:pt idx="3">
                  <c:v>48</c:v>
                </c:pt>
                <c:pt idx="4">
                  <c:v>56</c:v>
                </c:pt>
                <c:pt idx="5">
                  <c:v>70</c:v>
                </c:pt>
                <c:pt idx="6">
                  <c:v>10</c:v>
                </c:pt>
                <c:pt idx="7">
                  <c:v>30</c:v>
                </c:pt>
                <c:pt idx="8">
                  <c:v>88</c:v>
                </c:pt>
                <c:pt idx="9">
                  <c:v>22</c:v>
                </c:pt>
                <c:pt idx="10">
                  <c:v>60</c:v>
                </c:pt>
              </c:strCache>
            </c:strRef>
          </c:xVal>
          <c:yVal>
            <c:numRef>
              <c:f>Sheet1!$B$2:$L$2</c:f>
              <c:numCache>
                <c:formatCode>General</c:formatCode>
                <c:ptCount val="11"/>
                <c:pt idx="0">
                  <c:v>20.399999999999999</c:v>
                </c:pt>
                <c:pt idx="1">
                  <c:v>27.4</c:v>
                </c:pt>
                <c:pt idx="2">
                  <c:v>90</c:v>
                </c:pt>
                <c:pt idx="3">
                  <c:v>20.399999999999999</c:v>
                </c:pt>
                <c:pt idx="4">
                  <c:v>85</c:v>
                </c:pt>
                <c:pt idx="5">
                  <c:v>40</c:v>
                </c:pt>
                <c:pt idx="6">
                  <c:v>95</c:v>
                </c:pt>
                <c:pt idx="7">
                  <c:v>60</c:v>
                </c:pt>
                <c:pt idx="8">
                  <c:v>110</c:v>
                </c:pt>
                <c:pt idx="9">
                  <c:v>30</c:v>
                </c:pt>
                <c:pt idx="10">
                  <c:v>105</c:v>
                </c:pt>
              </c:numCache>
            </c:numRef>
          </c:yVal>
          <c:bubbleSize>
            <c:numRef>
              <c:f>Sheet1!$B$3:$L$3</c:f>
              <c:numCache>
                <c:formatCode>General</c:formatCode>
                <c:ptCount val="11"/>
                <c:pt idx="0">
                  <c:v>33</c:v>
                </c:pt>
                <c:pt idx="1">
                  <c:v>5</c:v>
                </c:pt>
                <c:pt idx="2">
                  <c:v>11</c:v>
                </c:pt>
                <c:pt idx="3">
                  <c:v>80</c:v>
                </c:pt>
                <c:pt idx="4">
                  <c:v>100</c:v>
                </c:pt>
                <c:pt idx="5">
                  <c:v>5</c:v>
                </c:pt>
                <c:pt idx="6">
                  <c:v>150</c:v>
                </c:pt>
                <c:pt idx="7">
                  <c:v>40</c:v>
                </c:pt>
                <c:pt idx="8">
                  <c:v>2</c:v>
                </c:pt>
                <c:pt idx="9">
                  <c:v>20</c:v>
                </c:pt>
                <c:pt idx="10">
                  <c:v>100</c:v>
                </c:pt>
              </c:numCache>
            </c:numRef>
          </c:bubbleSize>
          <c:bubble3D val="0"/>
          <c:extLst>
            <c:ext xmlns:c16="http://schemas.microsoft.com/office/drawing/2014/chart" uri="{C3380CC4-5D6E-409C-BE32-E72D297353CC}">
              <c16:uniqueId val="{0000000B-8EE7-4F5A-99AD-7454174CD276}"/>
            </c:ext>
          </c:extLst>
        </c:ser>
        <c:ser>
          <c:idx val="1"/>
          <c:order val="1"/>
          <c:tx>
            <c:strRef>
              <c:f>Sheet1!$A$3:$K$3</c:f>
              <c:strCache>
                <c:ptCount val="1"/>
                <c:pt idx="0">
                  <c:v>Size of Bubble 33 5 11 80 100 5 150 40 2 20</c:v>
                </c:pt>
              </c:strCache>
            </c:strRef>
          </c:tx>
          <c:spPr>
            <a:solidFill>
              <a:srgbClr val="00A1DE"/>
            </a:solidFill>
            <a:ln w="28575">
              <a:noFill/>
            </a:ln>
          </c:spPr>
          <c:invertIfNegative val="0"/>
          <c:dLbls>
            <c:dLbl>
              <c:idx val="0"/>
              <c:tx>
                <c:rich>
                  <a:bodyPr/>
                  <a:lstStyle/>
                  <a:p>
                    <a:r>
                      <a:rPr lang="en-US" sz="100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8EE7-4F5A-99AD-7454174CD276}"/>
                </c:ext>
              </c:extLst>
            </c:dLbl>
            <c:spPr>
              <a:noFill/>
              <a:ln>
                <a:noFill/>
              </a:ln>
              <a:effectLst/>
            </c:spPr>
            <c:txPr>
              <a:bodyPr/>
              <a:lstStyle/>
              <a:p>
                <a:pPr>
                  <a:defRPr sz="1000">
                    <a:solidFill>
                      <a:srgbClr val="313131"/>
                    </a:solidFill>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strRef>
              <c:f>Sheet1!$L$1</c:f>
              <c:strCache>
                <c:ptCount val="1"/>
                <c:pt idx="0">
                  <c:v>60</c:v>
                </c:pt>
              </c:strCache>
            </c:strRef>
          </c:xVal>
          <c:yVal>
            <c:numRef>
              <c:f>Sheet1!$L$3</c:f>
              <c:numCache>
                <c:formatCode>General</c:formatCode>
                <c:ptCount val="1"/>
                <c:pt idx="0">
                  <c:v>100</c:v>
                </c:pt>
              </c:numCache>
            </c:numRef>
          </c:yVal>
          <c:bubbleSize>
            <c:numLit>
              <c:formatCode>General</c:formatCode>
              <c:ptCount val="1"/>
              <c:pt idx="0">
                <c:v>1</c:v>
              </c:pt>
            </c:numLit>
          </c:bubbleSize>
          <c:bubble3D val="0"/>
          <c:extLst>
            <c:ext xmlns:c16="http://schemas.microsoft.com/office/drawing/2014/chart" uri="{C3380CC4-5D6E-409C-BE32-E72D297353CC}">
              <c16:uniqueId val="{0000000D-8EE7-4F5A-99AD-7454174CD276}"/>
            </c:ext>
          </c:extLst>
        </c:ser>
        <c:dLbls>
          <c:showLegendKey val="0"/>
          <c:showVal val="0"/>
          <c:showCatName val="0"/>
          <c:showSerName val="0"/>
          <c:showPercent val="0"/>
          <c:showBubbleSize val="0"/>
        </c:dLbls>
        <c:bubbleScale val="100"/>
        <c:showNegBubbles val="0"/>
        <c:axId val="1588088656"/>
        <c:axId val="1588089216"/>
      </c:bubbleChart>
      <c:valAx>
        <c:axId val="1588088656"/>
        <c:scaling>
          <c:orientation val="minMax"/>
          <c:min val="0"/>
        </c:scaling>
        <c:delete val="0"/>
        <c:axPos val="b"/>
        <c:title>
          <c:overlay val="0"/>
          <c:txPr>
            <a:bodyPr/>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588089216"/>
        <c:crosses val="autoZero"/>
        <c:crossBetween val="midCat"/>
      </c:valAx>
      <c:valAx>
        <c:axId val="1588089216"/>
        <c:scaling>
          <c:orientation val="minMax"/>
        </c:scaling>
        <c:delete val="0"/>
        <c:axPos val="l"/>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588088656"/>
        <c:crosses val="autoZero"/>
        <c:crossBetween val="midCat"/>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112675070028001"/>
          <c:y val="4.6153842659460598E-2"/>
          <c:w val="0.820984360410831"/>
          <c:h val="0.80036582809224199"/>
        </c:manualLayout>
      </c:layout>
      <c:barChart>
        <c:barDir val="col"/>
        <c:grouping val="stacked"/>
        <c:varyColors val="0"/>
        <c:ser>
          <c:idx val="0"/>
          <c:order val="0"/>
          <c:tx>
            <c:strRef>
              <c:f>Sheet1!$B$1</c:f>
              <c:strCache>
                <c:ptCount val="1"/>
                <c:pt idx="0">
                  <c:v>A</c:v>
                </c:pt>
              </c:strCache>
            </c:strRef>
          </c:tx>
          <c:spPr>
            <a:ln>
              <a:solidFill>
                <a:schemeClr val="bg1"/>
              </a:solidFill>
            </a:ln>
          </c:spPr>
          <c:invertIfNegative val="0"/>
          <c:dPt>
            <c:idx val="1"/>
            <c:invertIfNegative val="0"/>
            <c:bubble3D val="0"/>
            <c:spPr>
              <a:solidFill>
                <a:srgbClr val="B4B4B4"/>
              </a:solidFill>
              <a:ln>
                <a:solidFill>
                  <a:schemeClr val="bg1"/>
                </a:solidFill>
              </a:ln>
            </c:spPr>
            <c:extLst>
              <c:ext xmlns:c16="http://schemas.microsoft.com/office/drawing/2014/chart" uri="{C3380CC4-5D6E-409C-BE32-E72D297353CC}">
                <c16:uniqueId val="{00000001-7834-4EC5-8B31-21CB5338DA61}"/>
              </c:ext>
            </c:extLst>
          </c:dPt>
          <c:dPt>
            <c:idx val="2"/>
            <c:invertIfNegative val="0"/>
            <c:bubble3D val="0"/>
            <c:spPr>
              <a:solidFill>
                <a:srgbClr val="575757"/>
              </a:solidFill>
              <a:ln>
                <a:solidFill>
                  <a:schemeClr val="bg1"/>
                </a:solidFill>
              </a:ln>
            </c:spPr>
            <c:extLst>
              <c:ext xmlns:c16="http://schemas.microsoft.com/office/drawing/2014/chart" uri="{C3380CC4-5D6E-409C-BE32-E72D297353CC}">
                <c16:uniqueId val="{00000003-7834-4EC5-8B31-21CB5338DA61}"/>
              </c:ext>
            </c:extLst>
          </c:dPt>
          <c:dLbls>
            <c:delete val="1"/>
          </c:dLbls>
          <c:cat>
            <c:strRef>
              <c:f>Sheet1!$A$2:$A$4</c:f>
              <c:strCache>
                <c:ptCount val="3"/>
                <c:pt idx="0">
                  <c:v>East</c:v>
                </c:pt>
                <c:pt idx="1">
                  <c:v>West</c:v>
                </c:pt>
                <c:pt idx="2">
                  <c:v>North</c:v>
                </c:pt>
              </c:strCache>
            </c:strRef>
          </c:cat>
          <c:val>
            <c:numRef>
              <c:f>Sheet1!$B$2:$B$4</c:f>
              <c:numCache>
                <c:formatCode>General</c:formatCode>
                <c:ptCount val="3"/>
                <c:pt idx="0">
                  <c:v>45.9</c:v>
                </c:pt>
                <c:pt idx="1">
                  <c:v>30.5</c:v>
                </c:pt>
                <c:pt idx="2">
                  <c:v>25.4</c:v>
                </c:pt>
              </c:numCache>
            </c:numRef>
          </c:val>
          <c:extLst>
            <c:ext xmlns:c16="http://schemas.microsoft.com/office/drawing/2014/chart" uri="{C3380CC4-5D6E-409C-BE32-E72D297353CC}">
              <c16:uniqueId val="{00000004-7834-4EC5-8B31-21CB5338DA61}"/>
            </c:ext>
          </c:extLst>
        </c:ser>
        <c:dLbls>
          <c:showLegendKey val="0"/>
          <c:showVal val="1"/>
          <c:showCatName val="0"/>
          <c:showSerName val="0"/>
          <c:showPercent val="0"/>
          <c:showBubbleSize val="0"/>
        </c:dLbls>
        <c:gapWidth val="150"/>
        <c:overlap val="100"/>
        <c:axId val="87429728"/>
        <c:axId val="87430288"/>
      </c:barChart>
      <c:catAx>
        <c:axId val="87429728"/>
        <c:scaling>
          <c:orientation val="minMax"/>
        </c:scaling>
        <c:delete val="0"/>
        <c:axPos val="b"/>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87430288"/>
        <c:crosses val="autoZero"/>
        <c:auto val="1"/>
        <c:lblAlgn val="ctr"/>
        <c:lblOffset val="100"/>
        <c:noMultiLvlLbl val="0"/>
      </c:catAx>
      <c:valAx>
        <c:axId val="87430288"/>
        <c:scaling>
          <c:orientation val="minMax"/>
        </c:scaling>
        <c:delete val="0"/>
        <c:axPos val="l"/>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87429728"/>
        <c:crosses val="autoZero"/>
        <c:crossBetween val="between"/>
      </c:valAx>
    </c:plotArea>
    <c:plotVisOnly val="1"/>
    <c:dispBlanksAs val="gap"/>
    <c:showDLblsOverMax val="0"/>
  </c:chart>
  <c:txPr>
    <a:bodyPr/>
    <a:lstStyle/>
    <a:p>
      <a:pPr>
        <a:defRPr sz="12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112675070028001"/>
          <c:y val="4.6153842659460598E-2"/>
          <c:w val="0.820984360410831"/>
          <c:h val="0.80036582809224199"/>
        </c:manualLayout>
      </c:layout>
      <c:barChart>
        <c:barDir val="col"/>
        <c:grouping val="stacked"/>
        <c:varyColors val="0"/>
        <c:ser>
          <c:idx val="0"/>
          <c:order val="0"/>
          <c:tx>
            <c:strRef>
              <c:f>Sheet1!$B$1</c:f>
              <c:strCache>
                <c:ptCount val="1"/>
                <c:pt idx="0">
                  <c:v>A</c:v>
                </c:pt>
              </c:strCache>
            </c:strRef>
          </c:tx>
          <c:spPr>
            <a:ln>
              <a:solidFill>
                <a:schemeClr val="bg1"/>
              </a:solidFill>
            </a:ln>
          </c:spPr>
          <c:invertIfNegative val="0"/>
          <c:dPt>
            <c:idx val="1"/>
            <c:invertIfNegative val="0"/>
            <c:bubble3D val="0"/>
            <c:spPr>
              <a:solidFill>
                <a:srgbClr val="B4B4B4"/>
              </a:solidFill>
              <a:ln>
                <a:solidFill>
                  <a:schemeClr val="bg1"/>
                </a:solidFill>
              </a:ln>
            </c:spPr>
            <c:extLst>
              <c:ext xmlns:c16="http://schemas.microsoft.com/office/drawing/2014/chart" uri="{C3380CC4-5D6E-409C-BE32-E72D297353CC}">
                <c16:uniqueId val="{00000001-9653-4286-AEEA-3B1B5DF1321F}"/>
              </c:ext>
            </c:extLst>
          </c:dPt>
          <c:dPt>
            <c:idx val="2"/>
            <c:invertIfNegative val="0"/>
            <c:bubble3D val="0"/>
            <c:spPr>
              <a:solidFill>
                <a:srgbClr val="575757"/>
              </a:solidFill>
              <a:ln>
                <a:solidFill>
                  <a:schemeClr val="bg1"/>
                </a:solidFill>
              </a:ln>
            </c:spPr>
            <c:extLst>
              <c:ext xmlns:c16="http://schemas.microsoft.com/office/drawing/2014/chart" uri="{C3380CC4-5D6E-409C-BE32-E72D297353CC}">
                <c16:uniqueId val="{00000003-9653-4286-AEEA-3B1B5DF1321F}"/>
              </c:ext>
            </c:extLst>
          </c:dPt>
          <c:dLbls>
            <c:delete val="1"/>
          </c:dLbls>
          <c:cat>
            <c:strRef>
              <c:f>Sheet1!$A$2:$A$4</c:f>
              <c:strCache>
                <c:ptCount val="3"/>
                <c:pt idx="0">
                  <c:v>East</c:v>
                </c:pt>
                <c:pt idx="1">
                  <c:v>West</c:v>
                </c:pt>
                <c:pt idx="2">
                  <c:v>North</c:v>
                </c:pt>
              </c:strCache>
            </c:strRef>
          </c:cat>
          <c:val>
            <c:numRef>
              <c:f>Sheet1!$B$2:$B$4</c:f>
              <c:numCache>
                <c:formatCode>General</c:formatCode>
                <c:ptCount val="3"/>
                <c:pt idx="0">
                  <c:v>45.9</c:v>
                </c:pt>
                <c:pt idx="1">
                  <c:v>30.5</c:v>
                </c:pt>
                <c:pt idx="2">
                  <c:v>25.4</c:v>
                </c:pt>
              </c:numCache>
            </c:numRef>
          </c:val>
          <c:extLst>
            <c:ext xmlns:c16="http://schemas.microsoft.com/office/drawing/2014/chart" uri="{C3380CC4-5D6E-409C-BE32-E72D297353CC}">
              <c16:uniqueId val="{00000004-9653-4286-AEEA-3B1B5DF1321F}"/>
            </c:ext>
          </c:extLst>
        </c:ser>
        <c:dLbls>
          <c:showLegendKey val="0"/>
          <c:showVal val="1"/>
          <c:showCatName val="0"/>
          <c:showSerName val="0"/>
          <c:showPercent val="0"/>
          <c:showBubbleSize val="0"/>
        </c:dLbls>
        <c:gapWidth val="150"/>
        <c:overlap val="100"/>
        <c:axId val="87432528"/>
        <c:axId val="87433088"/>
      </c:barChart>
      <c:catAx>
        <c:axId val="87432528"/>
        <c:scaling>
          <c:orientation val="minMax"/>
        </c:scaling>
        <c:delete val="0"/>
        <c:axPos val="b"/>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87433088"/>
        <c:crosses val="autoZero"/>
        <c:auto val="1"/>
        <c:lblAlgn val="ctr"/>
        <c:lblOffset val="100"/>
        <c:noMultiLvlLbl val="0"/>
      </c:catAx>
      <c:valAx>
        <c:axId val="87433088"/>
        <c:scaling>
          <c:orientation val="minMax"/>
        </c:scaling>
        <c:delete val="0"/>
        <c:axPos val="l"/>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87432528"/>
        <c:crosses val="autoZero"/>
        <c:crossBetween val="between"/>
      </c:valAx>
    </c:plotArea>
    <c:plotVisOnly val="1"/>
    <c:dispBlanksAs val="gap"/>
    <c:showDLblsOverMax val="0"/>
  </c:chart>
  <c:txPr>
    <a:bodyPr/>
    <a:lstStyle/>
    <a:p>
      <a:pPr>
        <a:defRPr sz="12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112675070028001"/>
          <c:y val="4.6153842659460598E-2"/>
          <c:w val="0.820984360410831"/>
          <c:h val="0.80036582809224199"/>
        </c:manualLayout>
      </c:layout>
      <c:barChart>
        <c:barDir val="col"/>
        <c:grouping val="stacked"/>
        <c:varyColors val="0"/>
        <c:ser>
          <c:idx val="0"/>
          <c:order val="0"/>
          <c:tx>
            <c:strRef>
              <c:f>Sheet1!$B$1</c:f>
              <c:strCache>
                <c:ptCount val="1"/>
                <c:pt idx="0">
                  <c:v>A</c:v>
                </c:pt>
              </c:strCache>
            </c:strRef>
          </c:tx>
          <c:spPr>
            <a:ln>
              <a:solidFill>
                <a:schemeClr val="bg1"/>
              </a:solidFill>
            </a:ln>
          </c:spPr>
          <c:invertIfNegative val="0"/>
          <c:dPt>
            <c:idx val="1"/>
            <c:invertIfNegative val="0"/>
            <c:bubble3D val="0"/>
            <c:spPr>
              <a:solidFill>
                <a:srgbClr val="B4B4B4"/>
              </a:solidFill>
              <a:ln>
                <a:solidFill>
                  <a:schemeClr val="bg1"/>
                </a:solidFill>
              </a:ln>
            </c:spPr>
            <c:extLst>
              <c:ext xmlns:c16="http://schemas.microsoft.com/office/drawing/2014/chart" uri="{C3380CC4-5D6E-409C-BE32-E72D297353CC}">
                <c16:uniqueId val="{00000001-AB11-4114-B9ED-B7685692E764}"/>
              </c:ext>
            </c:extLst>
          </c:dPt>
          <c:dPt>
            <c:idx val="2"/>
            <c:invertIfNegative val="0"/>
            <c:bubble3D val="0"/>
            <c:spPr>
              <a:solidFill>
                <a:srgbClr val="575757"/>
              </a:solidFill>
              <a:ln>
                <a:solidFill>
                  <a:schemeClr val="bg1"/>
                </a:solidFill>
              </a:ln>
            </c:spPr>
            <c:extLst>
              <c:ext xmlns:c16="http://schemas.microsoft.com/office/drawing/2014/chart" uri="{C3380CC4-5D6E-409C-BE32-E72D297353CC}">
                <c16:uniqueId val="{00000003-AB11-4114-B9ED-B7685692E764}"/>
              </c:ext>
            </c:extLst>
          </c:dPt>
          <c:dLbls>
            <c:delete val="1"/>
          </c:dLbls>
          <c:cat>
            <c:strRef>
              <c:f>Sheet1!$A$2:$A$4</c:f>
              <c:strCache>
                <c:ptCount val="3"/>
                <c:pt idx="0">
                  <c:v>East</c:v>
                </c:pt>
                <c:pt idx="1">
                  <c:v>West</c:v>
                </c:pt>
                <c:pt idx="2">
                  <c:v>North</c:v>
                </c:pt>
              </c:strCache>
            </c:strRef>
          </c:cat>
          <c:val>
            <c:numRef>
              <c:f>Sheet1!$B$2:$B$4</c:f>
              <c:numCache>
                <c:formatCode>General</c:formatCode>
                <c:ptCount val="3"/>
                <c:pt idx="0">
                  <c:v>45.9</c:v>
                </c:pt>
                <c:pt idx="1">
                  <c:v>30.5</c:v>
                </c:pt>
                <c:pt idx="2">
                  <c:v>25.4</c:v>
                </c:pt>
              </c:numCache>
            </c:numRef>
          </c:val>
          <c:extLst>
            <c:ext xmlns:c16="http://schemas.microsoft.com/office/drawing/2014/chart" uri="{C3380CC4-5D6E-409C-BE32-E72D297353CC}">
              <c16:uniqueId val="{00000004-AB11-4114-B9ED-B7685692E764}"/>
            </c:ext>
          </c:extLst>
        </c:ser>
        <c:dLbls>
          <c:showLegendKey val="0"/>
          <c:showVal val="1"/>
          <c:showCatName val="0"/>
          <c:showSerName val="0"/>
          <c:showPercent val="0"/>
          <c:showBubbleSize val="0"/>
        </c:dLbls>
        <c:gapWidth val="150"/>
        <c:overlap val="100"/>
        <c:axId val="87435328"/>
        <c:axId val="87435888"/>
      </c:barChart>
      <c:catAx>
        <c:axId val="87435328"/>
        <c:scaling>
          <c:orientation val="minMax"/>
        </c:scaling>
        <c:delete val="0"/>
        <c:axPos val="b"/>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87435888"/>
        <c:crosses val="autoZero"/>
        <c:auto val="1"/>
        <c:lblAlgn val="ctr"/>
        <c:lblOffset val="100"/>
        <c:noMultiLvlLbl val="0"/>
      </c:catAx>
      <c:valAx>
        <c:axId val="87435888"/>
        <c:scaling>
          <c:orientation val="minMax"/>
        </c:scaling>
        <c:delete val="0"/>
        <c:axPos val="l"/>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87435328"/>
        <c:crosses val="autoZero"/>
        <c:crossBetween val="between"/>
      </c:valAx>
    </c:plotArea>
    <c:plotVisOnly val="1"/>
    <c:dispBlanksAs val="gap"/>
    <c:showDLblsOverMax val="0"/>
  </c:chart>
  <c:txPr>
    <a:bodyPr/>
    <a:lstStyle/>
    <a:p>
      <a:pPr>
        <a:defRPr sz="12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666689987698299E-2"/>
          <c:y val="4.6153842659460598E-2"/>
          <c:w val="0.79815191361143134"/>
          <c:h val="0.73755106347788302"/>
        </c:manualLayout>
      </c:layout>
      <c:barChart>
        <c:barDir val="col"/>
        <c:grouping val="clustered"/>
        <c:varyColors val="0"/>
        <c:ser>
          <c:idx val="0"/>
          <c:order val="0"/>
          <c:tx>
            <c:strRef>
              <c:f>Sheet1!$B$1</c:f>
              <c:strCache>
                <c:ptCount val="1"/>
                <c:pt idx="0">
                  <c:v>Label 1</c:v>
                </c:pt>
              </c:strCache>
            </c:strRef>
          </c:tx>
          <c:spPr>
            <a:solidFill>
              <a:schemeClr val="accent1"/>
            </a:solidFill>
            <a:ln>
              <a:solidFill>
                <a:schemeClr val="bg1"/>
              </a:solidFill>
            </a:ln>
          </c:spPr>
          <c:invertIfNegative val="0"/>
          <c:dLbls>
            <c:spPr>
              <a:noFill/>
              <a:ln>
                <a:noFill/>
              </a:ln>
              <a:effectLst/>
            </c:spPr>
            <c:txPr>
              <a:bodyPr/>
              <a:lstStyle/>
              <a:p>
                <a:pPr>
                  <a:defRPr sz="1000">
                    <a:solidFill>
                      <a:srgbClr val="31313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3FE0-4AE4-9490-382E73185671}"/>
            </c:ext>
          </c:extLst>
        </c:ser>
        <c:ser>
          <c:idx val="1"/>
          <c:order val="1"/>
          <c:tx>
            <c:strRef>
              <c:f>Sheet1!$C$1</c:f>
              <c:strCache>
                <c:ptCount val="1"/>
                <c:pt idx="0">
                  <c:v>Label 2</c:v>
                </c:pt>
              </c:strCache>
            </c:strRef>
          </c:tx>
          <c:spPr>
            <a:solidFill>
              <a:schemeClr val="accent2"/>
            </a:solidFill>
            <a:ln>
              <a:solidFill>
                <a:schemeClr val="bg1"/>
              </a:solidFill>
            </a:ln>
          </c:spPr>
          <c:invertIfNegative val="0"/>
          <c:dLbls>
            <c:spPr>
              <a:noFill/>
              <a:ln>
                <a:noFill/>
              </a:ln>
              <a:effectLst/>
            </c:spPr>
            <c:txPr>
              <a:bodyPr/>
              <a:lstStyle/>
              <a:p>
                <a:pPr>
                  <a:defRPr sz="1000">
                    <a:solidFill>
                      <a:srgbClr val="31313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C$2:$C$4</c:f>
              <c:numCache>
                <c:formatCode>General</c:formatCode>
                <c:ptCount val="3"/>
                <c:pt idx="0">
                  <c:v>11</c:v>
                </c:pt>
                <c:pt idx="1">
                  <c:v>11</c:v>
                </c:pt>
                <c:pt idx="2">
                  <c:v>11</c:v>
                </c:pt>
              </c:numCache>
            </c:numRef>
          </c:val>
          <c:extLst>
            <c:ext xmlns:c16="http://schemas.microsoft.com/office/drawing/2014/chart" uri="{C3380CC4-5D6E-409C-BE32-E72D297353CC}">
              <c16:uniqueId val="{00000001-3FE0-4AE4-9490-382E73185671}"/>
            </c:ext>
          </c:extLst>
        </c:ser>
        <c:ser>
          <c:idx val="2"/>
          <c:order val="2"/>
          <c:tx>
            <c:strRef>
              <c:f>Sheet1!$D$1</c:f>
              <c:strCache>
                <c:ptCount val="1"/>
                <c:pt idx="0">
                  <c:v>Label 3</c:v>
                </c:pt>
              </c:strCache>
            </c:strRef>
          </c:tx>
          <c:spPr>
            <a:solidFill>
              <a:schemeClr val="accent3"/>
            </a:solidFill>
          </c:spPr>
          <c:invertIfNegative val="0"/>
          <c:dLbls>
            <c:spPr>
              <a:noFill/>
              <a:ln>
                <a:noFill/>
              </a:ln>
              <a:effectLst/>
            </c:spPr>
            <c:txPr>
              <a:bodyPr/>
              <a:lstStyle/>
              <a:p>
                <a:pPr>
                  <a:defRPr sz="1000">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D$2:$D$4</c:f>
              <c:numCache>
                <c:formatCode>General</c:formatCode>
                <c:ptCount val="3"/>
                <c:pt idx="0">
                  <c:v>12</c:v>
                </c:pt>
                <c:pt idx="1">
                  <c:v>12</c:v>
                </c:pt>
                <c:pt idx="2">
                  <c:v>12</c:v>
                </c:pt>
              </c:numCache>
            </c:numRef>
          </c:val>
          <c:extLst>
            <c:ext xmlns:c16="http://schemas.microsoft.com/office/drawing/2014/chart" uri="{C3380CC4-5D6E-409C-BE32-E72D297353CC}">
              <c16:uniqueId val="{00000002-3FE0-4AE4-9490-382E73185671}"/>
            </c:ext>
          </c:extLst>
        </c:ser>
        <c:ser>
          <c:idx val="3"/>
          <c:order val="3"/>
          <c:tx>
            <c:strRef>
              <c:f>Sheet1!$E$1</c:f>
              <c:strCache>
                <c:ptCount val="1"/>
                <c:pt idx="0">
                  <c:v>Label 4</c:v>
                </c:pt>
              </c:strCache>
            </c:strRef>
          </c:tx>
          <c:spPr>
            <a:solidFill>
              <a:schemeClr val="accent4"/>
            </a:solidFill>
            <a:ln>
              <a:solidFill>
                <a:schemeClr val="bg1"/>
              </a:solidFill>
            </a:ln>
          </c:spPr>
          <c:invertIfNegative val="0"/>
          <c:dLbls>
            <c:spPr>
              <a:noFill/>
              <a:ln>
                <a:noFill/>
              </a:ln>
              <a:effectLst/>
            </c:spPr>
            <c:txPr>
              <a:bodyPr/>
              <a:lstStyle/>
              <a:p>
                <a:pPr>
                  <a:defRPr sz="1000">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E$2:$E$4</c:f>
              <c:numCache>
                <c:formatCode>General</c:formatCode>
                <c:ptCount val="3"/>
                <c:pt idx="0">
                  <c:v>13</c:v>
                </c:pt>
                <c:pt idx="1">
                  <c:v>13</c:v>
                </c:pt>
                <c:pt idx="2">
                  <c:v>13</c:v>
                </c:pt>
              </c:numCache>
            </c:numRef>
          </c:val>
          <c:extLst>
            <c:ext xmlns:c16="http://schemas.microsoft.com/office/drawing/2014/chart" uri="{C3380CC4-5D6E-409C-BE32-E72D297353CC}">
              <c16:uniqueId val="{00000003-3FE0-4AE4-9490-382E73185671}"/>
            </c:ext>
          </c:extLst>
        </c:ser>
        <c:ser>
          <c:idx val="4"/>
          <c:order val="4"/>
          <c:tx>
            <c:strRef>
              <c:f>Sheet1!$F$1</c:f>
              <c:strCache>
                <c:ptCount val="1"/>
                <c:pt idx="0">
                  <c:v>Label 5</c:v>
                </c:pt>
              </c:strCache>
            </c:strRef>
          </c:tx>
          <c:spPr>
            <a:solidFill>
              <a:schemeClr val="accent5"/>
            </a:solidFill>
            <a:ln>
              <a:solidFill>
                <a:schemeClr val="bg1"/>
              </a:solidFill>
            </a:ln>
          </c:spPr>
          <c:invertIfNegative val="0"/>
          <c:dLbls>
            <c:spPr>
              <a:noFill/>
              <a:ln>
                <a:noFill/>
              </a:ln>
              <a:effectLst/>
            </c:spPr>
            <c:txPr>
              <a:bodyPr/>
              <a:lstStyle/>
              <a:p>
                <a:pPr>
                  <a:defRPr sz="1000">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F$2:$F$4</c:f>
              <c:numCache>
                <c:formatCode>General</c:formatCode>
                <c:ptCount val="3"/>
                <c:pt idx="0">
                  <c:v>14</c:v>
                </c:pt>
                <c:pt idx="1">
                  <c:v>14</c:v>
                </c:pt>
                <c:pt idx="2">
                  <c:v>14</c:v>
                </c:pt>
              </c:numCache>
            </c:numRef>
          </c:val>
          <c:extLst>
            <c:ext xmlns:c16="http://schemas.microsoft.com/office/drawing/2014/chart" uri="{C3380CC4-5D6E-409C-BE32-E72D297353CC}">
              <c16:uniqueId val="{00000004-3FE0-4AE4-9490-382E73185671}"/>
            </c:ext>
          </c:extLst>
        </c:ser>
        <c:ser>
          <c:idx val="5"/>
          <c:order val="5"/>
          <c:tx>
            <c:strRef>
              <c:f>Sheet1!$G$1</c:f>
              <c:strCache>
                <c:ptCount val="1"/>
                <c:pt idx="0">
                  <c:v>Label 6</c:v>
                </c:pt>
              </c:strCache>
            </c:strRef>
          </c:tx>
          <c:spPr>
            <a:solidFill>
              <a:schemeClr val="accent6"/>
            </a:solidFill>
            <a:ln>
              <a:solidFill>
                <a:schemeClr val="bg1"/>
              </a:solidFill>
            </a:ln>
          </c:spPr>
          <c:invertIfNegative val="0"/>
          <c:dLbls>
            <c:spPr>
              <a:noFill/>
              <a:ln>
                <a:noFill/>
              </a:ln>
              <a:effectLst/>
            </c:spPr>
            <c:txPr>
              <a:bodyPr/>
              <a:lstStyle/>
              <a:p>
                <a:pPr>
                  <a:defRPr sz="1000">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G$2:$G$4</c:f>
              <c:numCache>
                <c:formatCode>General</c:formatCode>
                <c:ptCount val="3"/>
                <c:pt idx="0">
                  <c:v>15</c:v>
                </c:pt>
                <c:pt idx="1">
                  <c:v>15</c:v>
                </c:pt>
                <c:pt idx="2">
                  <c:v>15</c:v>
                </c:pt>
              </c:numCache>
            </c:numRef>
          </c:val>
          <c:extLst>
            <c:ext xmlns:c16="http://schemas.microsoft.com/office/drawing/2014/chart" uri="{C3380CC4-5D6E-409C-BE32-E72D297353CC}">
              <c16:uniqueId val="{00000005-3FE0-4AE4-9490-382E73185671}"/>
            </c:ext>
          </c:extLst>
        </c:ser>
        <c:ser>
          <c:idx val="6"/>
          <c:order val="6"/>
          <c:tx>
            <c:strRef>
              <c:f>Sheet1!$H$1</c:f>
              <c:strCache>
                <c:ptCount val="1"/>
                <c:pt idx="0">
                  <c:v>Label 7</c:v>
                </c:pt>
              </c:strCache>
            </c:strRef>
          </c:tx>
          <c:spPr>
            <a:solidFill>
              <a:schemeClr val="tx1">
                <a:lumMod val="75000"/>
                <a:lumOff val="25000"/>
              </a:schemeClr>
            </a:solidFill>
            <a:ln>
              <a:solidFill>
                <a:schemeClr val="bg1"/>
              </a:solidFill>
            </a:ln>
          </c:spPr>
          <c:invertIfNegative val="0"/>
          <c:dLbls>
            <c:spPr>
              <a:noFill/>
              <a:ln>
                <a:noFill/>
              </a:ln>
              <a:effectLst/>
            </c:spPr>
            <c:txPr>
              <a:bodyPr/>
              <a:lstStyle/>
              <a:p>
                <a:pPr>
                  <a:defRPr sz="1000">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H$2:$H$4</c:f>
              <c:numCache>
                <c:formatCode>General</c:formatCode>
                <c:ptCount val="3"/>
                <c:pt idx="0">
                  <c:v>16</c:v>
                </c:pt>
                <c:pt idx="1">
                  <c:v>16</c:v>
                </c:pt>
                <c:pt idx="2">
                  <c:v>16</c:v>
                </c:pt>
              </c:numCache>
            </c:numRef>
          </c:val>
          <c:extLst>
            <c:ext xmlns:c16="http://schemas.microsoft.com/office/drawing/2014/chart" uri="{C3380CC4-5D6E-409C-BE32-E72D297353CC}">
              <c16:uniqueId val="{00000006-3FE0-4AE4-9490-382E73185671}"/>
            </c:ext>
          </c:extLst>
        </c:ser>
        <c:ser>
          <c:idx val="7"/>
          <c:order val="7"/>
          <c:tx>
            <c:strRef>
              <c:f>Sheet1!$I$1</c:f>
              <c:strCache>
                <c:ptCount val="1"/>
                <c:pt idx="0">
                  <c:v>Label 8</c:v>
                </c:pt>
              </c:strCache>
            </c:strRef>
          </c:tx>
          <c:spPr>
            <a:solidFill>
              <a:schemeClr val="bg2">
                <a:lumMod val="50000"/>
              </a:schemeClr>
            </a:solidFill>
            <a:ln>
              <a:solidFill>
                <a:schemeClr val="bg1"/>
              </a:solidFill>
            </a:ln>
          </c:spPr>
          <c:invertIfNegative val="0"/>
          <c:dLbls>
            <c:spPr>
              <a:noFill/>
              <a:ln>
                <a:noFill/>
              </a:ln>
              <a:effectLst/>
            </c:spPr>
            <c:txPr>
              <a:bodyPr/>
              <a:lstStyle/>
              <a:p>
                <a:pPr>
                  <a:defRPr sz="1000">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I$2:$I$4</c:f>
              <c:numCache>
                <c:formatCode>General</c:formatCode>
                <c:ptCount val="3"/>
                <c:pt idx="0">
                  <c:v>17</c:v>
                </c:pt>
                <c:pt idx="1">
                  <c:v>17</c:v>
                </c:pt>
                <c:pt idx="2">
                  <c:v>17</c:v>
                </c:pt>
              </c:numCache>
            </c:numRef>
          </c:val>
          <c:extLst>
            <c:ext xmlns:c16="http://schemas.microsoft.com/office/drawing/2014/chart" uri="{C3380CC4-5D6E-409C-BE32-E72D297353CC}">
              <c16:uniqueId val="{00000007-3FE0-4AE4-9490-382E73185671}"/>
            </c:ext>
          </c:extLst>
        </c:ser>
        <c:ser>
          <c:idx val="8"/>
          <c:order val="8"/>
          <c:tx>
            <c:strRef>
              <c:f>Sheet1!$J$1</c:f>
              <c:strCache>
                <c:ptCount val="1"/>
                <c:pt idx="0">
                  <c:v>Label 9</c:v>
                </c:pt>
              </c:strCache>
            </c:strRef>
          </c:tx>
          <c:spPr>
            <a:solidFill>
              <a:schemeClr val="bg2">
                <a:lumMod val="75000"/>
              </a:schemeClr>
            </a:solidFill>
            <a:ln>
              <a:solidFill>
                <a:schemeClr val="bg1"/>
              </a:solidFill>
            </a:ln>
          </c:spPr>
          <c:invertIfNegative val="0"/>
          <c:dLbls>
            <c:spPr>
              <a:noFill/>
              <a:ln>
                <a:noFill/>
              </a:ln>
              <a:effectLst/>
            </c:spPr>
            <c:txPr>
              <a:bodyPr/>
              <a:lstStyle/>
              <a:p>
                <a:pPr>
                  <a:defRPr sz="1000">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J$2:$J$4</c:f>
              <c:numCache>
                <c:formatCode>General</c:formatCode>
                <c:ptCount val="3"/>
                <c:pt idx="0">
                  <c:v>18</c:v>
                </c:pt>
                <c:pt idx="1">
                  <c:v>18</c:v>
                </c:pt>
                <c:pt idx="2">
                  <c:v>18</c:v>
                </c:pt>
              </c:numCache>
            </c:numRef>
          </c:val>
          <c:extLst>
            <c:ext xmlns:c16="http://schemas.microsoft.com/office/drawing/2014/chart" uri="{C3380CC4-5D6E-409C-BE32-E72D297353CC}">
              <c16:uniqueId val="{00000008-3FE0-4AE4-9490-382E73185671}"/>
            </c:ext>
          </c:extLst>
        </c:ser>
        <c:dLbls>
          <c:showLegendKey val="0"/>
          <c:showVal val="1"/>
          <c:showCatName val="0"/>
          <c:showSerName val="0"/>
          <c:showPercent val="0"/>
          <c:showBubbleSize val="0"/>
        </c:dLbls>
        <c:gapWidth val="150"/>
        <c:axId val="87443168"/>
        <c:axId val="1027799072"/>
      </c:barChart>
      <c:catAx>
        <c:axId val="87443168"/>
        <c:scaling>
          <c:orientation val="minMax"/>
        </c:scaling>
        <c:delete val="0"/>
        <c:axPos val="b"/>
        <c:title>
          <c:layout>
            <c:manualLayout>
              <c:xMode val="edge"/>
              <c:yMode val="edge"/>
              <c:x val="0.4105388934654936"/>
              <c:y val="0.88049323273682456"/>
            </c:manualLayout>
          </c:layout>
          <c:overlay val="0"/>
          <c:txPr>
            <a:bodyPr/>
            <a:lstStyle/>
            <a:p>
              <a:pPr>
                <a:defRPr sz="1000">
                  <a:solidFill>
                    <a:srgbClr val="313131"/>
                  </a:solidFill>
                </a:defRPr>
              </a:pPr>
              <a:endParaRPr lang="en-US"/>
            </a:p>
          </c:txPr>
        </c:title>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027799072"/>
        <c:crosses val="autoZero"/>
        <c:auto val="1"/>
        <c:lblAlgn val="ctr"/>
        <c:lblOffset val="100"/>
        <c:noMultiLvlLbl val="0"/>
      </c:catAx>
      <c:valAx>
        <c:axId val="1027799072"/>
        <c:scaling>
          <c:orientation val="minMax"/>
        </c:scaling>
        <c:delete val="0"/>
        <c:axPos val="l"/>
        <c:title>
          <c:overlay val="0"/>
          <c:txPr>
            <a:bodyPr rot="-5400000" vert="horz"/>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87443168"/>
        <c:crosses val="autoZero"/>
        <c:crossBetween val="between"/>
        <c:majorUnit val="20"/>
      </c:valAx>
    </c:plotArea>
    <c:legend>
      <c:legendPos val="r"/>
      <c:layout>
        <c:manualLayout>
          <c:xMode val="edge"/>
          <c:yMode val="edge"/>
          <c:x val="0.876767772176688"/>
          <c:y val="3.0838407507376601E-2"/>
          <c:w val="9.4235912911094552E-2"/>
          <c:h val="0.77798211009368801"/>
        </c:manualLayout>
      </c:layout>
      <c:overlay val="1"/>
      <c:txPr>
        <a:bodyPr/>
        <a:lstStyle/>
        <a:p>
          <a:pPr>
            <a:defRPr sz="1000">
              <a:solidFill>
                <a:srgbClr val="313131"/>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284331032632494E-2"/>
          <c:y val="4.6153842659460598E-2"/>
          <c:w val="0.76485037857170046"/>
          <c:h val="0.69556573624275031"/>
        </c:manualLayout>
      </c:layout>
      <c:barChart>
        <c:barDir val="col"/>
        <c:grouping val="clustered"/>
        <c:varyColors val="0"/>
        <c:ser>
          <c:idx val="0"/>
          <c:order val="0"/>
          <c:tx>
            <c:strRef>
              <c:f>Sheet1!$B$1</c:f>
              <c:strCache>
                <c:ptCount val="1"/>
                <c:pt idx="0">
                  <c:v>Label 1</c:v>
                </c:pt>
              </c:strCache>
            </c:strRef>
          </c:tx>
          <c:spPr>
            <a:solidFill>
              <a:srgbClr val="B4B4B4"/>
            </a:solidFill>
            <a:ln>
              <a:solidFill>
                <a:schemeClr val="bg1"/>
              </a:solidFill>
            </a:ln>
          </c:spPr>
          <c:invertIfNegative val="0"/>
          <c:dLbls>
            <c:delete val="1"/>
          </c:dLbls>
          <c:cat>
            <c:strRef>
              <c:f>Sheet1!$A$2:$A$4</c:f>
              <c:strCache>
                <c:ptCount val="3"/>
                <c:pt idx="0">
                  <c:v>East</c:v>
                </c:pt>
                <c:pt idx="1">
                  <c:v>West</c:v>
                </c:pt>
                <c:pt idx="2">
                  <c:v>North</c:v>
                </c:pt>
              </c:strCache>
            </c:strRef>
          </c:cat>
          <c:val>
            <c:numRef>
              <c:f>Sheet1!$B$2:$B$4</c:f>
              <c:numCache>
                <c:formatCode>General</c:formatCode>
                <c:ptCount val="3"/>
                <c:pt idx="0">
                  <c:v>41.1</c:v>
                </c:pt>
                <c:pt idx="1">
                  <c:v>34.299999999999997</c:v>
                </c:pt>
                <c:pt idx="2">
                  <c:v>32.200000000000003</c:v>
                </c:pt>
              </c:numCache>
            </c:numRef>
          </c:val>
          <c:extLst>
            <c:ext xmlns:c16="http://schemas.microsoft.com/office/drawing/2014/chart" uri="{C3380CC4-5D6E-409C-BE32-E72D297353CC}">
              <c16:uniqueId val="{00000000-19FE-4F81-96AD-085488C3CBC5}"/>
            </c:ext>
          </c:extLst>
        </c:ser>
        <c:ser>
          <c:idx val="1"/>
          <c:order val="1"/>
          <c:tx>
            <c:strRef>
              <c:f>Sheet1!$C$1</c:f>
              <c:strCache>
                <c:ptCount val="1"/>
                <c:pt idx="0">
                  <c:v>Label 2</c:v>
                </c:pt>
              </c:strCache>
            </c:strRef>
          </c:tx>
          <c:spPr>
            <a:solidFill>
              <a:schemeClr val="accent2"/>
            </a:solidFill>
            <a:ln>
              <a:solidFill>
                <a:schemeClr val="bg1"/>
              </a:solidFill>
            </a:ln>
          </c:spPr>
          <c:invertIfNegative val="0"/>
          <c:dLbls>
            <c:delete val="1"/>
          </c:dLbls>
          <c:cat>
            <c:strRef>
              <c:f>Sheet1!$A$2:$A$4</c:f>
              <c:strCache>
                <c:ptCount val="3"/>
                <c:pt idx="0">
                  <c:v>East</c:v>
                </c:pt>
                <c:pt idx="1">
                  <c:v>West</c:v>
                </c:pt>
                <c:pt idx="2">
                  <c:v>North</c:v>
                </c:pt>
              </c:strCache>
            </c:strRef>
          </c:cat>
          <c:val>
            <c:numRef>
              <c:f>Sheet1!$C$2:$C$4</c:f>
              <c:numCache>
                <c:formatCode>General</c:formatCode>
                <c:ptCount val="3"/>
                <c:pt idx="0">
                  <c:v>40.299999999999997</c:v>
                </c:pt>
                <c:pt idx="1">
                  <c:v>33.6</c:v>
                </c:pt>
                <c:pt idx="2">
                  <c:v>30.4</c:v>
                </c:pt>
              </c:numCache>
            </c:numRef>
          </c:val>
          <c:extLst>
            <c:ext xmlns:c16="http://schemas.microsoft.com/office/drawing/2014/chart" uri="{C3380CC4-5D6E-409C-BE32-E72D297353CC}">
              <c16:uniqueId val="{00000001-19FE-4F81-96AD-085488C3CBC5}"/>
            </c:ext>
          </c:extLst>
        </c:ser>
        <c:dLbls>
          <c:showLegendKey val="0"/>
          <c:showVal val="1"/>
          <c:showCatName val="0"/>
          <c:showSerName val="0"/>
          <c:showPercent val="0"/>
          <c:showBubbleSize val="0"/>
        </c:dLbls>
        <c:gapWidth val="150"/>
        <c:axId val="1027802432"/>
        <c:axId val="1027802992"/>
      </c:barChart>
      <c:catAx>
        <c:axId val="1027802432"/>
        <c:scaling>
          <c:orientation val="minMax"/>
        </c:scaling>
        <c:delete val="0"/>
        <c:axPos val="b"/>
        <c:title>
          <c:layout>
            <c:manualLayout>
              <c:xMode val="edge"/>
              <c:yMode val="edge"/>
              <c:x val="0.42461203534604119"/>
              <c:y val="0.85568285415133438"/>
            </c:manualLayout>
          </c:layout>
          <c:overlay val="0"/>
          <c:txPr>
            <a:bodyPr/>
            <a:lstStyle/>
            <a:p>
              <a:pPr>
                <a:defRPr sz="1000">
                  <a:solidFill>
                    <a:srgbClr val="313131"/>
                  </a:solidFill>
                </a:defRPr>
              </a:pPr>
              <a:endParaRPr lang="en-US"/>
            </a:p>
          </c:txPr>
        </c:title>
        <c:numFmt formatCode="General" sourceLinked="0"/>
        <c:majorTickMark val="out"/>
        <c:minorTickMark val="none"/>
        <c:tickLblPos val="nextTo"/>
        <c:spPr>
          <a:ln>
            <a:solidFill>
              <a:srgbClr val="8C8C8C"/>
            </a:solidFill>
          </a:ln>
        </c:spPr>
        <c:txPr>
          <a:bodyPr/>
          <a:lstStyle/>
          <a:p>
            <a:pPr>
              <a:defRPr>
                <a:solidFill>
                  <a:srgbClr val="313131"/>
                </a:solidFill>
              </a:defRPr>
            </a:pPr>
            <a:endParaRPr lang="en-US"/>
          </a:p>
        </c:txPr>
        <c:crossAx val="1027802992"/>
        <c:crosses val="autoZero"/>
        <c:auto val="1"/>
        <c:lblAlgn val="ctr"/>
        <c:lblOffset val="100"/>
        <c:noMultiLvlLbl val="0"/>
      </c:catAx>
      <c:valAx>
        <c:axId val="1027802992"/>
        <c:scaling>
          <c:orientation val="minMax"/>
        </c:scaling>
        <c:delete val="0"/>
        <c:axPos val="l"/>
        <c:title>
          <c:layout>
            <c:manualLayout>
              <c:xMode val="edge"/>
              <c:yMode val="edge"/>
              <c:x val="7.4204333599665277E-4"/>
              <c:y val="0.30530011824127268"/>
            </c:manualLayout>
          </c:layout>
          <c:overlay val="0"/>
          <c:txPr>
            <a:bodyPr rot="-5400000" vert="horz"/>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a:solidFill>
                  <a:srgbClr val="313131"/>
                </a:solidFill>
              </a:defRPr>
            </a:pPr>
            <a:endParaRPr lang="en-US"/>
          </a:p>
        </c:txPr>
        <c:crossAx val="1027802432"/>
        <c:crosses val="autoZero"/>
        <c:crossBetween val="between"/>
        <c:majorUnit val="20"/>
      </c:valAx>
    </c:plotArea>
    <c:legend>
      <c:legendPos val="r"/>
      <c:layout>
        <c:manualLayout>
          <c:xMode val="edge"/>
          <c:yMode val="edge"/>
          <c:x val="0.86878174580527334"/>
          <c:y val="0.44054941145802579"/>
          <c:w val="0.12020733458889775"/>
          <c:h val="0.17288491335415301"/>
        </c:manualLayout>
      </c:layout>
      <c:overlay val="1"/>
      <c:txPr>
        <a:bodyPr/>
        <a:lstStyle/>
        <a:p>
          <a:pPr>
            <a:defRPr sz="1000">
              <a:solidFill>
                <a:srgbClr val="313131"/>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335850603141668"/>
          <c:y val="4.6153842659460598E-2"/>
          <c:w val="0.72789411990611108"/>
          <c:h val="0.75641881618862183"/>
        </c:manualLayout>
      </c:layout>
      <c:barChart>
        <c:barDir val="col"/>
        <c:grouping val="clustered"/>
        <c:varyColors val="0"/>
        <c:ser>
          <c:idx val="0"/>
          <c:order val="0"/>
          <c:tx>
            <c:strRef>
              <c:f>Sheet1!$B$1</c:f>
              <c:strCache>
                <c:ptCount val="1"/>
                <c:pt idx="0">
                  <c:v>Lable 1</c:v>
                </c:pt>
              </c:strCache>
            </c:strRef>
          </c:tx>
          <c:spPr>
            <a:solidFill>
              <a:srgbClr val="00A1DE"/>
            </a:solidFill>
            <a:ln>
              <a:solidFill>
                <a:schemeClr val="bg1"/>
              </a:solidFill>
            </a:ln>
          </c:spPr>
          <c:invertIfNegative val="0"/>
          <c:dLbls>
            <c:delete val="1"/>
          </c:dLbls>
          <c:cat>
            <c:strRef>
              <c:f>Sheet1!$A$2:$A$4</c:f>
              <c:strCache>
                <c:ptCount val="3"/>
                <c:pt idx="0">
                  <c:v>East</c:v>
                </c:pt>
                <c:pt idx="1">
                  <c:v>West</c:v>
                </c:pt>
                <c:pt idx="2">
                  <c:v>North</c:v>
                </c:pt>
              </c:strCache>
            </c:strRef>
          </c:cat>
          <c:val>
            <c:numRef>
              <c:f>Sheet1!$B$2:$B$4</c:f>
              <c:numCache>
                <c:formatCode>General</c:formatCode>
                <c:ptCount val="3"/>
                <c:pt idx="0">
                  <c:v>55.2</c:v>
                </c:pt>
                <c:pt idx="1">
                  <c:v>34.299999999999997</c:v>
                </c:pt>
                <c:pt idx="2">
                  <c:v>32.200000000000003</c:v>
                </c:pt>
              </c:numCache>
            </c:numRef>
          </c:val>
          <c:extLst>
            <c:ext xmlns:c16="http://schemas.microsoft.com/office/drawing/2014/chart" uri="{C3380CC4-5D6E-409C-BE32-E72D297353CC}">
              <c16:uniqueId val="{00000000-A17D-4368-BC95-163946BF865F}"/>
            </c:ext>
          </c:extLst>
        </c:ser>
        <c:ser>
          <c:idx val="1"/>
          <c:order val="1"/>
          <c:tx>
            <c:strRef>
              <c:f>Sheet1!$C$1</c:f>
              <c:strCache>
                <c:ptCount val="1"/>
                <c:pt idx="0">
                  <c:v>Lable 2</c:v>
                </c:pt>
              </c:strCache>
            </c:strRef>
          </c:tx>
          <c:spPr>
            <a:solidFill>
              <a:srgbClr val="B4B4B4"/>
            </a:solidFill>
            <a:ln>
              <a:solidFill>
                <a:schemeClr val="bg1"/>
              </a:solidFill>
            </a:ln>
          </c:spPr>
          <c:invertIfNegative val="0"/>
          <c:dLbls>
            <c:delete val="1"/>
          </c:dLbls>
          <c:cat>
            <c:strRef>
              <c:f>Sheet1!$A$2:$A$4</c:f>
              <c:strCache>
                <c:ptCount val="3"/>
                <c:pt idx="0">
                  <c:v>East</c:v>
                </c:pt>
                <c:pt idx="1">
                  <c:v>West</c:v>
                </c:pt>
                <c:pt idx="2">
                  <c:v>North</c:v>
                </c:pt>
              </c:strCache>
            </c:strRef>
          </c:cat>
          <c:val>
            <c:numRef>
              <c:f>Sheet1!$C$2:$C$4</c:f>
              <c:numCache>
                <c:formatCode>General</c:formatCode>
                <c:ptCount val="3"/>
                <c:pt idx="0">
                  <c:v>52.3</c:v>
                </c:pt>
                <c:pt idx="1">
                  <c:v>33.6</c:v>
                </c:pt>
                <c:pt idx="2">
                  <c:v>30.4</c:v>
                </c:pt>
              </c:numCache>
            </c:numRef>
          </c:val>
          <c:extLst>
            <c:ext xmlns:c16="http://schemas.microsoft.com/office/drawing/2014/chart" uri="{C3380CC4-5D6E-409C-BE32-E72D297353CC}">
              <c16:uniqueId val="{00000001-A17D-4368-BC95-163946BF865F}"/>
            </c:ext>
          </c:extLst>
        </c:ser>
        <c:dLbls>
          <c:showLegendKey val="0"/>
          <c:showVal val="1"/>
          <c:showCatName val="0"/>
          <c:showSerName val="0"/>
          <c:showPercent val="0"/>
          <c:showBubbleSize val="0"/>
        </c:dLbls>
        <c:gapWidth val="150"/>
        <c:axId val="1027806352"/>
        <c:axId val="1027806912"/>
      </c:barChart>
      <c:catAx>
        <c:axId val="1027806352"/>
        <c:scaling>
          <c:orientation val="minMax"/>
        </c:scaling>
        <c:delete val="0"/>
        <c:axPos val="b"/>
        <c:title>
          <c:layout>
            <c:manualLayout>
              <c:xMode val="edge"/>
              <c:yMode val="edge"/>
              <c:x val="0.36695488689481631"/>
              <c:y val="0.87339313527965978"/>
            </c:manualLayout>
          </c:layout>
          <c:overlay val="0"/>
          <c:txPr>
            <a:bodyPr/>
            <a:lstStyle/>
            <a:p>
              <a:pPr>
                <a:defRPr sz="1000">
                  <a:solidFill>
                    <a:srgbClr val="313131"/>
                  </a:solidFill>
                </a:defRPr>
              </a:pPr>
              <a:endParaRPr lang="en-US"/>
            </a:p>
          </c:txPr>
        </c:title>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027806912"/>
        <c:crosses val="autoZero"/>
        <c:auto val="1"/>
        <c:lblAlgn val="ctr"/>
        <c:lblOffset val="100"/>
        <c:noMultiLvlLbl val="0"/>
      </c:catAx>
      <c:valAx>
        <c:axId val="1027806912"/>
        <c:scaling>
          <c:orientation val="minMax"/>
        </c:scaling>
        <c:delete val="0"/>
        <c:axPos val="l"/>
        <c:title>
          <c:overlay val="0"/>
          <c:txPr>
            <a:bodyPr rot="-5400000" vert="horz"/>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027806352"/>
        <c:crosses val="autoZero"/>
        <c:crossBetween val="between"/>
        <c:majorUnit val="20"/>
      </c:valAx>
    </c:plotArea>
    <c:legend>
      <c:legendPos val="b"/>
      <c:overlay val="0"/>
      <c:txPr>
        <a:bodyPr/>
        <a:lstStyle/>
        <a:p>
          <a:pPr>
            <a:defRPr sz="1000">
              <a:solidFill>
                <a:srgbClr val="313131"/>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335850603141668"/>
          <c:y val="4.6153842659460598E-2"/>
          <c:w val="0.72789411990611108"/>
          <c:h val="0.75641881618862183"/>
        </c:manualLayout>
      </c:layout>
      <c:barChart>
        <c:barDir val="col"/>
        <c:grouping val="clustered"/>
        <c:varyColors val="0"/>
        <c:ser>
          <c:idx val="0"/>
          <c:order val="0"/>
          <c:tx>
            <c:strRef>
              <c:f>Sheet1!$B$1</c:f>
              <c:strCache>
                <c:ptCount val="1"/>
                <c:pt idx="0">
                  <c:v>Lable 1</c:v>
                </c:pt>
              </c:strCache>
            </c:strRef>
          </c:tx>
          <c:spPr>
            <a:solidFill>
              <a:srgbClr val="00A1DE"/>
            </a:solidFill>
            <a:ln>
              <a:solidFill>
                <a:schemeClr val="bg1"/>
              </a:solidFill>
            </a:ln>
          </c:spPr>
          <c:invertIfNegative val="0"/>
          <c:dLbls>
            <c:delete val="1"/>
          </c:dLbls>
          <c:cat>
            <c:strRef>
              <c:f>Sheet1!$A$2:$A$4</c:f>
              <c:strCache>
                <c:ptCount val="3"/>
                <c:pt idx="0">
                  <c:v>East</c:v>
                </c:pt>
                <c:pt idx="1">
                  <c:v>West</c:v>
                </c:pt>
                <c:pt idx="2">
                  <c:v>North</c:v>
                </c:pt>
              </c:strCache>
            </c:strRef>
          </c:cat>
          <c:val>
            <c:numRef>
              <c:f>Sheet1!$B$2:$B$4</c:f>
              <c:numCache>
                <c:formatCode>General</c:formatCode>
                <c:ptCount val="3"/>
                <c:pt idx="0">
                  <c:v>55.2</c:v>
                </c:pt>
                <c:pt idx="1">
                  <c:v>34.299999999999997</c:v>
                </c:pt>
                <c:pt idx="2">
                  <c:v>32.200000000000003</c:v>
                </c:pt>
              </c:numCache>
            </c:numRef>
          </c:val>
          <c:extLst>
            <c:ext xmlns:c16="http://schemas.microsoft.com/office/drawing/2014/chart" uri="{C3380CC4-5D6E-409C-BE32-E72D297353CC}">
              <c16:uniqueId val="{00000000-6DBA-4618-8F8A-0B4FF4EFCCF7}"/>
            </c:ext>
          </c:extLst>
        </c:ser>
        <c:ser>
          <c:idx val="1"/>
          <c:order val="1"/>
          <c:tx>
            <c:strRef>
              <c:f>Sheet1!$C$1</c:f>
              <c:strCache>
                <c:ptCount val="1"/>
                <c:pt idx="0">
                  <c:v>Lable 2</c:v>
                </c:pt>
              </c:strCache>
            </c:strRef>
          </c:tx>
          <c:spPr>
            <a:solidFill>
              <a:srgbClr val="B4B4B4"/>
            </a:solidFill>
            <a:ln>
              <a:solidFill>
                <a:schemeClr val="bg1"/>
              </a:solidFill>
            </a:ln>
          </c:spPr>
          <c:invertIfNegative val="0"/>
          <c:dLbls>
            <c:delete val="1"/>
          </c:dLbls>
          <c:cat>
            <c:strRef>
              <c:f>Sheet1!$A$2:$A$4</c:f>
              <c:strCache>
                <c:ptCount val="3"/>
                <c:pt idx="0">
                  <c:v>East</c:v>
                </c:pt>
                <c:pt idx="1">
                  <c:v>West</c:v>
                </c:pt>
                <c:pt idx="2">
                  <c:v>North</c:v>
                </c:pt>
              </c:strCache>
            </c:strRef>
          </c:cat>
          <c:val>
            <c:numRef>
              <c:f>Sheet1!$C$2:$C$4</c:f>
              <c:numCache>
                <c:formatCode>General</c:formatCode>
                <c:ptCount val="3"/>
                <c:pt idx="0">
                  <c:v>52.3</c:v>
                </c:pt>
                <c:pt idx="1">
                  <c:v>33.6</c:v>
                </c:pt>
                <c:pt idx="2">
                  <c:v>30.4</c:v>
                </c:pt>
              </c:numCache>
            </c:numRef>
          </c:val>
          <c:extLst>
            <c:ext xmlns:c16="http://schemas.microsoft.com/office/drawing/2014/chart" uri="{C3380CC4-5D6E-409C-BE32-E72D297353CC}">
              <c16:uniqueId val="{00000001-6DBA-4618-8F8A-0B4FF4EFCCF7}"/>
            </c:ext>
          </c:extLst>
        </c:ser>
        <c:dLbls>
          <c:showLegendKey val="0"/>
          <c:showVal val="1"/>
          <c:showCatName val="0"/>
          <c:showSerName val="0"/>
          <c:showPercent val="0"/>
          <c:showBubbleSize val="0"/>
        </c:dLbls>
        <c:gapWidth val="150"/>
        <c:axId val="1027809712"/>
        <c:axId val="1027810272"/>
      </c:barChart>
      <c:catAx>
        <c:axId val="1027809712"/>
        <c:scaling>
          <c:orientation val="minMax"/>
        </c:scaling>
        <c:delete val="0"/>
        <c:axPos val="b"/>
        <c:title>
          <c:layout>
            <c:manualLayout>
              <c:xMode val="edge"/>
              <c:yMode val="edge"/>
              <c:x val="0.36695488689481631"/>
              <c:y val="0.87339313527965978"/>
            </c:manualLayout>
          </c:layout>
          <c:overlay val="0"/>
          <c:txPr>
            <a:bodyPr/>
            <a:lstStyle/>
            <a:p>
              <a:pPr>
                <a:defRPr sz="1000">
                  <a:solidFill>
                    <a:srgbClr val="313131"/>
                  </a:solidFill>
                </a:defRPr>
              </a:pPr>
              <a:endParaRPr lang="en-US"/>
            </a:p>
          </c:txPr>
        </c:title>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027810272"/>
        <c:crosses val="autoZero"/>
        <c:auto val="1"/>
        <c:lblAlgn val="ctr"/>
        <c:lblOffset val="100"/>
        <c:noMultiLvlLbl val="0"/>
      </c:catAx>
      <c:valAx>
        <c:axId val="1027810272"/>
        <c:scaling>
          <c:orientation val="minMax"/>
        </c:scaling>
        <c:delete val="0"/>
        <c:axPos val="l"/>
        <c:title>
          <c:overlay val="0"/>
          <c:txPr>
            <a:bodyPr rot="-5400000" vert="horz"/>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027809712"/>
        <c:crosses val="autoZero"/>
        <c:crossBetween val="between"/>
        <c:majorUnit val="20"/>
      </c:valAx>
    </c:plotArea>
    <c:legend>
      <c:legendPos val="b"/>
      <c:overlay val="0"/>
      <c:txPr>
        <a:bodyPr/>
        <a:lstStyle/>
        <a:p>
          <a:pPr>
            <a:defRPr sz="1000">
              <a:solidFill>
                <a:srgbClr val="313131"/>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335850603141668"/>
          <c:y val="4.6153842659460598E-2"/>
          <c:w val="0.72789411990611108"/>
          <c:h val="0.75641881618862183"/>
        </c:manualLayout>
      </c:layout>
      <c:barChart>
        <c:barDir val="col"/>
        <c:grouping val="clustered"/>
        <c:varyColors val="0"/>
        <c:ser>
          <c:idx val="0"/>
          <c:order val="0"/>
          <c:tx>
            <c:strRef>
              <c:f>Sheet1!$B$1</c:f>
              <c:strCache>
                <c:ptCount val="1"/>
                <c:pt idx="0">
                  <c:v>Lable 1</c:v>
                </c:pt>
              </c:strCache>
            </c:strRef>
          </c:tx>
          <c:spPr>
            <a:solidFill>
              <a:srgbClr val="00A1DE"/>
            </a:solidFill>
            <a:ln>
              <a:solidFill>
                <a:schemeClr val="bg1"/>
              </a:solidFill>
            </a:ln>
          </c:spPr>
          <c:invertIfNegative val="0"/>
          <c:dLbls>
            <c:delete val="1"/>
          </c:dLbls>
          <c:cat>
            <c:strRef>
              <c:f>Sheet1!$A$2:$A$4</c:f>
              <c:strCache>
                <c:ptCount val="3"/>
                <c:pt idx="0">
                  <c:v>East</c:v>
                </c:pt>
                <c:pt idx="1">
                  <c:v>West</c:v>
                </c:pt>
                <c:pt idx="2">
                  <c:v>North</c:v>
                </c:pt>
              </c:strCache>
            </c:strRef>
          </c:cat>
          <c:val>
            <c:numRef>
              <c:f>Sheet1!$B$2:$B$4</c:f>
              <c:numCache>
                <c:formatCode>General</c:formatCode>
                <c:ptCount val="3"/>
                <c:pt idx="0">
                  <c:v>55.2</c:v>
                </c:pt>
                <c:pt idx="1">
                  <c:v>34.299999999999997</c:v>
                </c:pt>
                <c:pt idx="2">
                  <c:v>32.200000000000003</c:v>
                </c:pt>
              </c:numCache>
            </c:numRef>
          </c:val>
          <c:extLst>
            <c:ext xmlns:c16="http://schemas.microsoft.com/office/drawing/2014/chart" uri="{C3380CC4-5D6E-409C-BE32-E72D297353CC}">
              <c16:uniqueId val="{00000000-5342-4654-AFC1-8B1EB3E91148}"/>
            </c:ext>
          </c:extLst>
        </c:ser>
        <c:ser>
          <c:idx val="1"/>
          <c:order val="1"/>
          <c:tx>
            <c:strRef>
              <c:f>Sheet1!$C$1</c:f>
              <c:strCache>
                <c:ptCount val="1"/>
                <c:pt idx="0">
                  <c:v>Lable 2</c:v>
                </c:pt>
              </c:strCache>
            </c:strRef>
          </c:tx>
          <c:spPr>
            <a:solidFill>
              <a:srgbClr val="B4B4B4"/>
            </a:solidFill>
            <a:ln>
              <a:solidFill>
                <a:schemeClr val="bg1"/>
              </a:solidFill>
            </a:ln>
          </c:spPr>
          <c:invertIfNegative val="0"/>
          <c:dLbls>
            <c:delete val="1"/>
          </c:dLbls>
          <c:cat>
            <c:strRef>
              <c:f>Sheet1!$A$2:$A$4</c:f>
              <c:strCache>
                <c:ptCount val="3"/>
                <c:pt idx="0">
                  <c:v>East</c:v>
                </c:pt>
                <c:pt idx="1">
                  <c:v>West</c:v>
                </c:pt>
                <c:pt idx="2">
                  <c:v>North</c:v>
                </c:pt>
              </c:strCache>
            </c:strRef>
          </c:cat>
          <c:val>
            <c:numRef>
              <c:f>Sheet1!$C$2:$C$4</c:f>
              <c:numCache>
                <c:formatCode>General</c:formatCode>
                <c:ptCount val="3"/>
                <c:pt idx="0">
                  <c:v>52.3</c:v>
                </c:pt>
                <c:pt idx="1">
                  <c:v>33.6</c:v>
                </c:pt>
                <c:pt idx="2">
                  <c:v>30.4</c:v>
                </c:pt>
              </c:numCache>
            </c:numRef>
          </c:val>
          <c:extLst>
            <c:ext xmlns:c16="http://schemas.microsoft.com/office/drawing/2014/chart" uri="{C3380CC4-5D6E-409C-BE32-E72D297353CC}">
              <c16:uniqueId val="{00000001-5342-4654-AFC1-8B1EB3E91148}"/>
            </c:ext>
          </c:extLst>
        </c:ser>
        <c:dLbls>
          <c:showLegendKey val="0"/>
          <c:showVal val="1"/>
          <c:showCatName val="0"/>
          <c:showSerName val="0"/>
          <c:showPercent val="0"/>
          <c:showBubbleSize val="0"/>
        </c:dLbls>
        <c:gapWidth val="150"/>
        <c:axId val="1027813072"/>
        <c:axId val="1027813632"/>
      </c:barChart>
      <c:catAx>
        <c:axId val="1027813072"/>
        <c:scaling>
          <c:orientation val="minMax"/>
        </c:scaling>
        <c:delete val="0"/>
        <c:axPos val="b"/>
        <c:title>
          <c:layout>
            <c:manualLayout>
              <c:xMode val="edge"/>
              <c:yMode val="edge"/>
              <c:x val="0.36695488689481631"/>
              <c:y val="0.87339313527965978"/>
            </c:manualLayout>
          </c:layout>
          <c:overlay val="0"/>
          <c:txPr>
            <a:bodyPr/>
            <a:lstStyle/>
            <a:p>
              <a:pPr>
                <a:defRPr sz="1000">
                  <a:solidFill>
                    <a:srgbClr val="313131"/>
                  </a:solidFill>
                </a:defRPr>
              </a:pPr>
              <a:endParaRPr lang="en-US"/>
            </a:p>
          </c:txPr>
        </c:title>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027813632"/>
        <c:crosses val="autoZero"/>
        <c:auto val="1"/>
        <c:lblAlgn val="ctr"/>
        <c:lblOffset val="100"/>
        <c:noMultiLvlLbl val="0"/>
      </c:catAx>
      <c:valAx>
        <c:axId val="1027813632"/>
        <c:scaling>
          <c:orientation val="minMax"/>
        </c:scaling>
        <c:delete val="0"/>
        <c:axPos val="l"/>
        <c:title>
          <c:overlay val="0"/>
          <c:txPr>
            <a:bodyPr rot="-5400000" vert="horz"/>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027813072"/>
        <c:crosses val="autoZero"/>
        <c:crossBetween val="between"/>
        <c:majorUnit val="20"/>
      </c:valAx>
    </c:plotArea>
    <c:legend>
      <c:legendPos val="b"/>
      <c:overlay val="0"/>
      <c:txPr>
        <a:bodyPr/>
        <a:lstStyle/>
        <a:p>
          <a:pPr>
            <a:defRPr sz="1000">
              <a:solidFill>
                <a:srgbClr val="313131"/>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335850603141668"/>
          <c:y val="4.6153842659460598E-2"/>
          <c:w val="0.72789411990611108"/>
          <c:h val="0.75641881618862183"/>
        </c:manualLayout>
      </c:layout>
      <c:barChart>
        <c:barDir val="col"/>
        <c:grouping val="clustered"/>
        <c:varyColors val="0"/>
        <c:ser>
          <c:idx val="0"/>
          <c:order val="0"/>
          <c:tx>
            <c:strRef>
              <c:f>Sheet1!$B$1</c:f>
              <c:strCache>
                <c:ptCount val="1"/>
                <c:pt idx="0">
                  <c:v>Lable 1</c:v>
                </c:pt>
              </c:strCache>
            </c:strRef>
          </c:tx>
          <c:spPr>
            <a:solidFill>
              <a:srgbClr val="00A1DE"/>
            </a:solidFill>
            <a:ln>
              <a:solidFill>
                <a:schemeClr val="bg1"/>
              </a:solidFill>
            </a:ln>
          </c:spPr>
          <c:invertIfNegative val="0"/>
          <c:dLbls>
            <c:delete val="1"/>
          </c:dLbls>
          <c:cat>
            <c:strRef>
              <c:f>Sheet1!$A$2:$A$4</c:f>
              <c:strCache>
                <c:ptCount val="3"/>
                <c:pt idx="0">
                  <c:v>East</c:v>
                </c:pt>
                <c:pt idx="1">
                  <c:v>West</c:v>
                </c:pt>
                <c:pt idx="2">
                  <c:v>North</c:v>
                </c:pt>
              </c:strCache>
            </c:strRef>
          </c:cat>
          <c:val>
            <c:numRef>
              <c:f>Sheet1!$B$2:$B$4</c:f>
              <c:numCache>
                <c:formatCode>General</c:formatCode>
                <c:ptCount val="3"/>
                <c:pt idx="0">
                  <c:v>55.2</c:v>
                </c:pt>
                <c:pt idx="1">
                  <c:v>34.299999999999997</c:v>
                </c:pt>
                <c:pt idx="2">
                  <c:v>32.200000000000003</c:v>
                </c:pt>
              </c:numCache>
            </c:numRef>
          </c:val>
          <c:extLst>
            <c:ext xmlns:c16="http://schemas.microsoft.com/office/drawing/2014/chart" uri="{C3380CC4-5D6E-409C-BE32-E72D297353CC}">
              <c16:uniqueId val="{00000000-B107-4852-9067-651E042F296F}"/>
            </c:ext>
          </c:extLst>
        </c:ser>
        <c:ser>
          <c:idx val="1"/>
          <c:order val="1"/>
          <c:tx>
            <c:strRef>
              <c:f>Sheet1!$C$1</c:f>
              <c:strCache>
                <c:ptCount val="1"/>
                <c:pt idx="0">
                  <c:v>Lable 2</c:v>
                </c:pt>
              </c:strCache>
            </c:strRef>
          </c:tx>
          <c:spPr>
            <a:solidFill>
              <a:srgbClr val="B4B4B4"/>
            </a:solidFill>
            <a:ln>
              <a:solidFill>
                <a:schemeClr val="bg1"/>
              </a:solidFill>
            </a:ln>
          </c:spPr>
          <c:invertIfNegative val="0"/>
          <c:dLbls>
            <c:delete val="1"/>
          </c:dLbls>
          <c:cat>
            <c:strRef>
              <c:f>Sheet1!$A$2:$A$4</c:f>
              <c:strCache>
                <c:ptCount val="3"/>
                <c:pt idx="0">
                  <c:v>East</c:v>
                </c:pt>
                <c:pt idx="1">
                  <c:v>West</c:v>
                </c:pt>
                <c:pt idx="2">
                  <c:v>North</c:v>
                </c:pt>
              </c:strCache>
            </c:strRef>
          </c:cat>
          <c:val>
            <c:numRef>
              <c:f>Sheet1!$C$2:$C$4</c:f>
              <c:numCache>
                <c:formatCode>General</c:formatCode>
                <c:ptCount val="3"/>
                <c:pt idx="0">
                  <c:v>52.3</c:v>
                </c:pt>
                <c:pt idx="1">
                  <c:v>33.6</c:v>
                </c:pt>
                <c:pt idx="2">
                  <c:v>30.4</c:v>
                </c:pt>
              </c:numCache>
            </c:numRef>
          </c:val>
          <c:extLst>
            <c:ext xmlns:c16="http://schemas.microsoft.com/office/drawing/2014/chart" uri="{C3380CC4-5D6E-409C-BE32-E72D297353CC}">
              <c16:uniqueId val="{00000001-B107-4852-9067-651E042F296F}"/>
            </c:ext>
          </c:extLst>
        </c:ser>
        <c:dLbls>
          <c:showLegendKey val="0"/>
          <c:showVal val="1"/>
          <c:showCatName val="0"/>
          <c:showSerName val="0"/>
          <c:showPercent val="0"/>
          <c:showBubbleSize val="0"/>
        </c:dLbls>
        <c:gapWidth val="150"/>
        <c:axId val="984958944"/>
        <c:axId val="984959504"/>
      </c:barChart>
      <c:catAx>
        <c:axId val="984958944"/>
        <c:scaling>
          <c:orientation val="minMax"/>
        </c:scaling>
        <c:delete val="0"/>
        <c:axPos val="b"/>
        <c:title>
          <c:layout>
            <c:manualLayout>
              <c:xMode val="edge"/>
              <c:yMode val="edge"/>
              <c:x val="0.36695488689481631"/>
              <c:y val="0.87339313527965978"/>
            </c:manualLayout>
          </c:layout>
          <c:overlay val="0"/>
          <c:txPr>
            <a:bodyPr/>
            <a:lstStyle/>
            <a:p>
              <a:pPr>
                <a:defRPr sz="1000">
                  <a:solidFill>
                    <a:srgbClr val="313131"/>
                  </a:solidFill>
                </a:defRPr>
              </a:pPr>
              <a:endParaRPr lang="en-US"/>
            </a:p>
          </c:txPr>
        </c:title>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984959504"/>
        <c:crosses val="autoZero"/>
        <c:auto val="1"/>
        <c:lblAlgn val="ctr"/>
        <c:lblOffset val="100"/>
        <c:noMultiLvlLbl val="0"/>
      </c:catAx>
      <c:valAx>
        <c:axId val="984959504"/>
        <c:scaling>
          <c:orientation val="minMax"/>
        </c:scaling>
        <c:delete val="0"/>
        <c:axPos val="l"/>
        <c:title>
          <c:overlay val="0"/>
          <c:txPr>
            <a:bodyPr rot="-5400000" vert="horz"/>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984958944"/>
        <c:crosses val="autoZero"/>
        <c:crossBetween val="between"/>
        <c:majorUnit val="20"/>
      </c:valAx>
    </c:plotArea>
    <c:legend>
      <c:legendPos val="b"/>
      <c:overlay val="0"/>
      <c:txPr>
        <a:bodyPr/>
        <a:lstStyle/>
        <a:p>
          <a:pPr>
            <a:defRPr sz="1000">
              <a:solidFill>
                <a:srgbClr val="313131"/>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832151252828697E-2"/>
          <c:y val="4.6153842659460598E-2"/>
          <c:w val="0.80265070320919463"/>
          <c:h val="0.68305040259798033"/>
        </c:manualLayout>
      </c:layout>
      <c:barChart>
        <c:barDir val="col"/>
        <c:grouping val="stacked"/>
        <c:varyColors val="0"/>
        <c:ser>
          <c:idx val="0"/>
          <c:order val="0"/>
          <c:tx>
            <c:strRef>
              <c:f>Sheet1!$A$2</c:f>
              <c:strCache>
                <c:ptCount val="1"/>
                <c:pt idx="0">
                  <c:v>Label 1</c:v>
                </c:pt>
              </c:strCache>
            </c:strRef>
          </c:tx>
          <c:spPr>
            <a:solidFill>
              <a:srgbClr val="575757"/>
            </a:solidFill>
            <a:ln>
              <a:solidFill>
                <a:schemeClr val="bg1"/>
              </a:solidFill>
            </a:ln>
          </c:spPr>
          <c:invertIfNegative val="0"/>
          <c:dLbls>
            <c:delete val="1"/>
          </c:dLbls>
          <c:cat>
            <c:strRef>
              <c:f>Sheet1!$B$1:$U$1</c:f>
              <c:strCache>
                <c:ptCount val="20"/>
                <c:pt idx="0">
                  <c:v>Column2</c:v>
                </c:pt>
                <c:pt idx="1">
                  <c:v>05</c:v>
                </c:pt>
                <c:pt idx="2">
                  <c:v>06</c:v>
                </c:pt>
                <c:pt idx="3">
                  <c:v>07</c:v>
                </c:pt>
                <c:pt idx="4">
                  <c:v>08</c:v>
                </c:pt>
                <c:pt idx="5">
                  <c:v>052</c:v>
                </c:pt>
                <c:pt idx="6">
                  <c:v>063</c:v>
                </c:pt>
                <c:pt idx="7">
                  <c:v>074</c:v>
                </c:pt>
                <c:pt idx="8">
                  <c:v>075</c:v>
                </c:pt>
                <c:pt idx="9">
                  <c:v>055</c:v>
                </c:pt>
                <c:pt idx="10">
                  <c:v>066</c:v>
                </c:pt>
                <c:pt idx="11">
                  <c:v>077</c:v>
                </c:pt>
                <c:pt idx="12">
                  <c:v>078</c:v>
                </c:pt>
                <c:pt idx="13">
                  <c:v>058</c:v>
                </c:pt>
                <c:pt idx="14">
                  <c:v>069</c:v>
                </c:pt>
                <c:pt idx="15">
                  <c:v>0710</c:v>
                </c:pt>
                <c:pt idx="16">
                  <c:v>0711</c:v>
                </c:pt>
                <c:pt idx="17">
                  <c:v>0511</c:v>
                </c:pt>
                <c:pt idx="18">
                  <c:v>0612</c:v>
                </c:pt>
                <c:pt idx="19">
                  <c:v>0713</c:v>
                </c:pt>
              </c:strCache>
            </c:strRef>
          </c:cat>
          <c:val>
            <c:numRef>
              <c:f>Sheet1!$B$2:$U$2</c:f>
              <c:numCache>
                <c:formatCode>0.0</c:formatCode>
                <c:ptCount val="20"/>
                <c:pt idx="1">
                  <c:v>10</c:v>
                </c:pt>
                <c:pt idx="2">
                  <c:v>8</c:v>
                </c:pt>
                <c:pt idx="3">
                  <c:v>6</c:v>
                </c:pt>
                <c:pt idx="5">
                  <c:v>10</c:v>
                </c:pt>
                <c:pt idx="6">
                  <c:v>8</c:v>
                </c:pt>
                <c:pt idx="7">
                  <c:v>6</c:v>
                </c:pt>
                <c:pt idx="9">
                  <c:v>10</c:v>
                </c:pt>
                <c:pt idx="10">
                  <c:v>8</c:v>
                </c:pt>
                <c:pt idx="11">
                  <c:v>6</c:v>
                </c:pt>
                <c:pt idx="13">
                  <c:v>10</c:v>
                </c:pt>
                <c:pt idx="14">
                  <c:v>8</c:v>
                </c:pt>
                <c:pt idx="15">
                  <c:v>6</c:v>
                </c:pt>
                <c:pt idx="17">
                  <c:v>10</c:v>
                </c:pt>
                <c:pt idx="18">
                  <c:v>8</c:v>
                </c:pt>
                <c:pt idx="19">
                  <c:v>6</c:v>
                </c:pt>
              </c:numCache>
            </c:numRef>
          </c:val>
          <c:extLst>
            <c:ext xmlns:c16="http://schemas.microsoft.com/office/drawing/2014/chart" uri="{C3380CC4-5D6E-409C-BE32-E72D297353CC}">
              <c16:uniqueId val="{00000000-84FB-4453-ACEE-B0AF4E2433B3}"/>
            </c:ext>
          </c:extLst>
        </c:ser>
        <c:ser>
          <c:idx val="1"/>
          <c:order val="1"/>
          <c:tx>
            <c:strRef>
              <c:f>Sheet1!$A$3</c:f>
              <c:strCache>
                <c:ptCount val="1"/>
                <c:pt idx="0">
                  <c:v>Label 2</c:v>
                </c:pt>
              </c:strCache>
            </c:strRef>
          </c:tx>
          <c:spPr>
            <a:solidFill>
              <a:srgbClr val="8C8C8C"/>
            </a:solidFill>
            <a:ln>
              <a:solidFill>
                <a:schemeClr val="bg1"/>
              </a:solidFill>
            </a:ln>
          </c:spPr>
          <c:invertIfNegative val="0"/>
          <c:dLbls>
            <c:delete val="1"/>
          </c:dLbls>
          <c:cat>
            <c:strRef>
              <c:f>Sheet1!$B$1:$U$1</c:f>
              <c:strCache>
                <c:ptCount val="20"/>
                <c:pt idx="0">
                  <c:v>Column2</c:v>
                </c:pt>
                <c:pt idx="1">
                  <c:v>05</c:v>
                </c:pt>
                <c:pt idx="2">
                  <c:v>06</c:v>
                </c:pt>
                <c:pt idx="3">
                  <c:v>07</c:v>
                </c:pt>
                <c:pt idx="4">
                  <c:v>08</c:v>
                </c:pt>
                <c:pt idx="5">
                  <c:v>052</c:v>
                </c:pt>
                <c:pt idx="6">
                  <c:v>063</c:v>
                </c:pt>
                <c:pt idx="7">
                  <c:v>074</c:v>
                </c:pt>
                <c:pt idx="8">
                  <c:v>075</c:v>
                </c:pt>
                <c:pt idx="9">
                  <c:v>055</c:v>
                </c:pt>
                <c:pt idx="10">
                  <c:v>066</c:v>
                </c:pt>
                <c:pt idx="11">
                  <c:v>077</c:v>
                </c:pt>
                <c:pt idx="12">
                  <c:v>078</c:v>
                </c:pt>
                <c:pt idx="13">
                  <c:v>058</c:v>
                </c:pt>
                <c:pt idx="14">
                  <c:v>069</c:v>
                </c:pt>
                <c:pt idx="15">
                  <c:v>0710</c:v>
                </c:pt>
                <c:pt idx="16">
                  <c:v>0711</c:v>
                </c:pt>
                <c:pt idx="17">
                  <c:v>0511</c:v>
                </c:pt>
                <c:pt idx="18">
                  <c:v>0612</c:v>
                </c:pt>
                <c:pt idx="19">
                  <c:v>0713</c:v>
                </c:pt>
              </c:strCache>
            </c:strRef>
          </c:cat>
          <c:val>
            <c:numRef>
              <c:f>Sheet1!$B$3:$U$3</c:f>
              <c:numCache>
                <c:formatCode>0.0</c:formatCode>
                <c:ptCount val="20"/>
                <c:pt idx="1">
                  <c:v>10</c:v>
                </c:pt>
                <c:pt idx="2">
                  <c:v>8</c:v>
                </c:pt>
                <c:pt idx="3">
                  <c:v>6</c:v>
                </c:pt>
                <c:pt idx="5">
                  <c:v>10</c:v>
                </c:pt>
                <c:pt idx="6">
                  <c:v>8</c:v>
                </c:pt>
                <c:pt idx="7">
                  <c:v>6</c:v>
                </c:pt>
                <c:pt idx="9">
                  <c:v>10</c:v>
                </c:pt>
                <c:pt idx="10">
                  <c:v>8</c:v>
                </c:pt>
                <c:pt idx="11">
                  <c:v>6</c:v>
                </c:pt>
                <c:pt idx="13">
                  <c:v>10</c:v>
                </c:pt>
                <c:pt idx="14">
                  <c:v>8</c:v>
                </c:pt>
                <c:pt idx="15">
                  <c:v>6</c:v>
                </c:pt>
                <c:pt idx="17">
                  <c:v>10</c:v>
                </c:pt>
                <c:pt idx="18">
                  <c:v>8</c:v>
                </c:pt>
                <c:pt idx="19">
                  <c:v>6</c:v>
                </c:pt>
              </c:numCache>
            </c:numRef>
          </c:val>
          <c:extLst>
            <c:ext xmlns:c16="http://schemas.microsoft.com/office/drawing/2014/chart" uri="{C3380CC4-5D6E-409C-BE32-E72D297353CC}">
              <c16:uniqueId val="{00000001-84FB-4453-ACEE-B0AF4E2433B3}"/>
            </c:ext>
          </c:extLst>
        </c:ser>
        <c:ser>
          <c:idx val="2"/>
          <c:order val="2"/>
          <c:tx>
            <c:strRef>
              <c:f>Sheet1!$A$4</c:f>
              <c:strCache>
                <c:ptCount val="1"/>
                <c:pt idx="0">
                  <c:v>Label 3</c:v>
                </c:pt>
              </c:strCache>
            </c:strRef>
          </c:tx>
          <c:spPr>
            <a:solidFill>
              <a:srgbClr val="B4B4B4"/>
            </a:solidFill>
            <a:ln>
              <a:solidFill>
                <a:schemeClr val="bg1"/>
              </a:solidFill>
            </a:ln>
          </c:spPr>
          <c:invertIfNegative val="0"/>
          <c:dLbls>
            <c:delete val="1"/>
          </c:dLbls>
          <c:cat>
            <c:strRef>
              <c:f>Sheet1!$B$1:$U$1</c:f>
              <c:strCache>
                <c:ptCount val="20"/>
                <c:pt idx="0">
                  <c:v>Column2</c:v>
                </c:pt>
                <c:pt idx="1">
                  <c:v>05</c:v>
                </c:pt>
                <c:pt idx="2">
                  <c:v>06</c:v>
                </c:pt>
                <c:pt idx="3">
                  <c:v>07</c:v>
                </c:pt>
                <c:pt idx="4">
                  <c:v>08</c:v>
                </c:pt>
                <c:pt idx="5">
                  <c:v>052</c:v>
                </c:pt>
                <c:pt idx="6">
                  <c:v>063</c:v>
                </c:pt>
                <c:pt idx="7">
                  <c:v>074</c:v>
                </c:pt>
                <c:pt idx="8">
                  <c:v>075</c:v>
                </c:pt>
                <c:pt idx="9">
                  <c:v>055</c:v>
                </c:pt>
                <c:pt idx="10">
                  <c:v>066</c:v>
                </c:pt>
                <c:pt idx="11">
                  <c:v>077</c:v>
                </c:pt>
                <c:pt idx="12">
                  <c:v>078</c:v>
                </c:pt>
                <c:pt idx="13">
                  <c:v>058</c:v>
                </c:pt>
                <c:pt idx="14">
                  <c:v>069</c:v>
                </c:pt>
                <c:pt idx="15">
                  <c:v>0710</c:v>
                </c:pt>
                <c:pt idx="16">
                  <c:v>0711</c:v>
                </c:pt>
                <c:pt idx="17">
                  <c:v>0511</c:v>
                </c:pt>
                <c:pt idx="18">
                  <c:v>0612</c:v>
                </c:pt>
                <c:pt idx="19">
                  <c:v>0713</c:v>
                </c:pt>
              </c:strCache>
            </c:strRef>
          </c:cat>
          <c:val>
            <c:numRef>
              <c:f>Sheet1!$B$4:$U$4</c:f>
              <c:numCache>
                <c:formatCode>0.0</c:formatCode>
                <c:ptCount val="20"/>
                <c:pt idx="1">
                  <c:v>10</c:v>
                </c:pt>
                <c:pt idx="2">
                  <c:v>8</c:v>
                </c:pt>
                <c:pt idx="3">
                  <c:v>6</c:v>
                </c:pt>
                <c:pt idx="5">
                  <c:v>10</c:v>
                </c:pt>
                <c:pt idx="6">
                  <c:v>8</c:v>
                </c:pt>
                <c:pt idx="7">
                  <c:v>6</c:v>
                </c:pt>
                <c:pt idx="9">
                  <c:v>10</c:v>
                </c:pt>
                <c:pt idx="10">
                  <c:v>8</c:v>
                </c:pt>
                <c:pt idx="11">
                  <c:v>6</c:v>
                </c:pt>
                <c:pt idx="13">
                  <c:v>10</c:v>
                </c:pt>
                <c:pt idx="14">
                  <c:v>8</c:v>
                </c:pt>
                <c:pt idx="15">
                  <c:v>6</c:v>
                </c:pt>
                <c:pt idx="17">
                  <c:v>10</c:v>
                </c:pt>
                <c:pt idx="18">
                  <c:v>8</c:v>
                </c:pt>
                <c:pt idx="19">
                  <c:v>6</c:v>
                </c:pt>
              </c:numCache>
            </c:numRef>
          </c:val>
          <c:extLst>
            <c:ext xmlns:c16="http://schemas.microsoft.com/office/drawing/2014/chart" uri="{C3380CC4-5D6E-409C-BE32-E72D297353CC}">
              <c16:uniqueId val="{00000002-84FB-4453-ACEE-B0AF4E2433B3}"/>
            </c:ext>
          </c:extLst>
        </c:ser>
        <c:ser>
          <c:idx val="3"/>
          <c:order val="3"/>
          <c:tx>
            <c:strRef>
              <c:f>Sheet1!$A$5</c:f>
              <c:strCache>
                <c:ptCount val="1"/>
                <c:pt idx="0">
                  <c:v>Label 4</c:v>
                </c:pt>
              </c:strCache>
            </c:strRef>
          </c:tx>
          <c:spPr>
            <a:solidFill>
              <a:srgbClr val="81BC00"/>
            </a:solidFill>
            <a:ln>
              <a:solidFill>
                <a:schemeClr val="bg1"/>
              </a:solidFill>
            </a:ln>
          </c:spPr>
          <c:invertIfNegative val="0"/>
          <c:dLbls>
            <c:delete val="1"/>
          </c:dLbls>
          <c:cat>
            <c:strRef>
              <c:f>Sheet1!$B$1:$U$1</c:f>
              <c:strCache>
                <c:ptCount val="20"/>
                <c:pt idx="0">
                  <c:v>Column2</c:v>
                </c:pt>
                <c:pt idx="1">
                  <c:v>05</c:v>
                </c:pt>
                <c:pt idx="2">
                  <c:v>06</c:v>
                </c:pt>
                <c:pt idx="3">
                  <c:v>07</c:v>
                </c:pt>
                <c:pt idx="4">
                  <c:v>08</c:v>
                </c:pt>
                <c:pt idx="5">
                  <c:v>052</c:v>
                </c:pt>
                <c:pt idx="6">
                  <c:v>063</c:v>
                </c:pt>
                <c:pt idx="7">
                  <c:v>074</c:v>
                </c:pt>
                <c:pt idx="8">
                  <c:v>075</c:v>
                </c:pt>
                <c:pt idx="9">
                  <c:v>055</c:v>
                </c:pt>
                <c:pt idx="10">
                  <c:v>066</c:v>
                </c:pt>
                <c:pt idx="11">
                  <c:v>077</c:v>
                </c:pt>
                <c:pt idx="12">
                  <c:v>078</c:v>
                </c:pt>
                <c:pt idx="13">
                  <c:v>058</c:v>
                </c:pt>
                <c:pt idx="14">
                  <c:v>069</c:v>
                </c:pt>
                <c:pt idx="15">
                  <c:v>0710</c:v>
                </c:pt>
                <c:pt idx="16">
                  <c:v>0711</c:v>
                </c:pt>
                <c:pt idx="17">
                  <c:v>0511</c:v>
                </c:pt>
                <c:pt idx="18">
                  <c:v>0612</c:v>
                </c:pt>
                <c:pt idx="19">
                  <c:v>0713</c:v>
                </c:pt>
              </c:strCache>
            </c:strRef>
          </c:cat>
          <c:val>
            <c:numRef>
              <c:f>Sheet1!$B$5:$U$5</c:f>
              <c:numCache>
                <c:formatCode>0.0</c:formatCode>
                <c:ptCount val="20"/>
                <c:pt idx="1">
                  <c:v>10</c:v>
                </c:pt>
                <c:pt idx="2">
                  <c:v>8</c:v>
                </c:pt>
                <c:pt idx="3">
                  <c:v>6</c:v>
                </c:pt>
                <c:pt idx="5">
                  <c:v>10</c:v>
                </c:pt>
                <c:pt idx="6">
                  <c:v>8</c:v>
                </c:pt>
                <c:pt idx="7">
                  <c:v>6</c:v>
                </c:pt>
                <c:pt idx="9">
                  <c:v>10</c:v>
                </c:pt>
                <c:pt idx="10">
                  <c:v>8</c:v>
                </c:pt>
                <c:pt idx="11">
                  <c:v>6</c:v>
                </c:pt>
                <c:pt idx="13">
                  <c:v>10</c:v>
                </c:pt>
                <c:pt idx="14">
                  <c:v>8</c:v>
                </c:pt>
                <c:pt idx="15">
                  <c:v>6</c:v>
                </c:pt>
                <c:pt idx="17">
                  <c:v>10</c:v>
                </c:pt>
                <c:pt idx="18">
                  <c:v>8</c:v>
                </c:pt>
                <c:pt idx="19">
                  <c:v>6</c:v>
                </c:pt>
              </c:numCache>
            </c:numRef>
          </c:val>
          <c:extLst>
            <c:ext xmlns:c16="http://schemas.microsoft.com/office/drawing/2014/chart" uri="{C3380CC4-5D6E-409C-BE32-E72D297353CC}">
              <c16:uniqueId val="{00000003-84FB-4453-ACEE-B0AF4E2433B3}"/>
            </c:ext>
          </c:extLst>
        </c:ser>
        <c:dLbls>
          <c:showLegendKey val="0"/>
          <c:showVal val="1"/>
          <c:showCatName val="0"/>
          <c:showSerName val="0"/>
          <c:showPercent val="0"/>
          <c:showBubbleSize val="0"/>
        </c:dLbls>
        <c:gapWidth val="0"/>
        <c:overlap val="100"/>
        <c:axId val="984963984"/>
        <c:axId val="984964544"/>
      </c:barChart>
      <c:catAx>
        <c:axId val="984963984"/>
        <c:scaling>
          <c:orientation val="minMax"/>
        </c:scaling>
        <c:delete val="0"/>
        <c:axPos val="b"/>
        <c:title>
          <c:layout>
            <c:manualLayout>
              <c:xMode val="edge"/>
              <c:yMode val="edge"/>
              <c:x val="0.4471119957953662"/>
              <c:y val="0.75638395836113714"/>
            </c:manualLayout>
          </c:layout>
          <c:overlay val="0"/>
          <c:txPr>
            <a:bodyPr/>
            <a:lstStyle/>
            <a:p>
              <a:pPr>
                <a:defRPr sz="1000">
                  <a:solidFill>
                    <a:srgbClr val="313131"/>
                  </a:solidFill>
                </a:defRPr>
              </a:pPr>
              <a:endParaRPr lang="en-US"/>
            </a:p>
          </c:txPr>
        </c:title>
        <c:numFmt formatCode="General" sourceLinked="0"/>
        <c:majorTickMark val="out"/>
        <c:minorTickMark val="none"/>
        <c:tickLblPos val="none"/>
        <c:spPr>
          <a:ln>
            <a:solidFill>
              <a:schemeClr val="tx2"/>
            </a:solidFill>
          </a:ln>
        </c:spPr>
        <c:txPr>
          <a:bodyPr/>
          <a:lstStyle/>
          <a:p>
            <a:pPr>
              <a:defRPr>
                <a:solidFill>
                  <a:schemeClr val="tx2"/>
                </a:solidFill>
              </a:defRPr>
            </a:pPr>
            <a:endParaRPr lang="en-US"/>
          </a:p>
        </c:txPr>
        <c:crossAx val="984964544"/>
        <c:crosses val="autoZero"/>
        <c:auto val="1"/>
        <c:lblAlgn val="ctr"/>
        <c:lblOffset val="100"/>
        <c:noMultiLvlLbl val="0"/>
      </c:catAx>
      <c:valAx>
        <c:axId val="984964544"/>
        <c:scaling>
          <c:orientation val="minMax"/>
          <c:max val="40"/>
        </c:scaling>
        <c:delete val="0"/>
        <c:axPos val="l"/>
        <c:numFmt formatCode="0.0"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984963984"/>
        <c:crosses val="autoZero"/>
        <c:crossBetween val="between"/>
        <c:majorUnit val="10"/>
      </c:valAx>
    </c:plotArea>
    <c:legend>
      <c:legendPos val="b"/>
      <c:layout>
        <c:manualLayout>
          <c:xMode val="edge"/>
          <c:yMode val="edge"/>
          <c:x val="0.24066571862938421"/>
          <c:y val="0.90095133235464209"/>
          <c:w val="0.47134938372872204"/>
          <c:h val="4.8201210018239245E-2"/>
        </c:manualLayout>
      </c:layout>
      <c:overlay val="0"/>
      <c:txPr>
        <a:bodyPr/>
        <a:lstStyle/>
        <a:p>
          <a:pPr>
            <a:defRPr sz="1000">
              <a:solidFill>
                <a:srgbClr val="313131"/>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284331032632494E-2"/>
          <c:y val="4.6153842659460598E-2"/>
          <c:w val="0.88414094578388602"/>
          <c:h val="0.86692770541128905"/>
        </c:manualLayout>
      </c:layout>
      <c:barChart>
        <c:barDir val="bar"/>
        <c:grouping val="stacked"/>
        <c:varyColors val="0"/>
        <c:ser>
          <c:idx val="0"/>
          <c:order val="0"/>
          <c:tx>
            <c:strRef>
              <c:f>Sheet1!$B$1</c:f>
              <c:strCache>
                <c:ptCount val="1"/>
                <c:pt idx="0">
                  <c:v>Label 1</c:v>
                </c:pt>
              </c:strCache>
            </c:strRef>
          </c:tx>
          <c:spPr>
            <a:solidFill>
              <a:srgbClr val="575757"/>
            </a:solidFill>
            <a:ln>
              <a:solidFill>
                <a:schemeClr val="bg1"/>
              </a:solidFill>
            </a:ln>
          </c:spPr>
          <c:invertIfNegative val="0"/>
          <c:dLbls>
            <c:delete val="1"/>
          </c:dLbls>
          <c:cat>
            <c:strRef>
              <c:f>Sheet1!$A$2:$A$4</c:f>
              <c:strCache>
                <c:ptCount val="3"/>
                <c:pt idx="0">
                  <c:v>East</c:v>
                </c:pt>
                <c:pt idx="1">
                  <c:v>West</c:v>
                </c:pt>
                <c:pt idx="2">
                  <c:v>North</c:v>
                </c:pt>
              </c:strCache>
            </c:strRef>
          </c:cat>
          <c:val>
            <c:numRef>
              <c:f>Sheet1!$B$2:$B$4</c:f>
              <c:numCache>
                <c:formatCode>General</c:formatCode>
                <c:ptCount val="3"/>
                <c:pt idx="0">
                  <c:v>45.9</c:v>
                </c:pt>
                <c:pt idx="1">
                  <c:v>30.5</c:v>
                </c:pt>
                <c:pt idx="2">
                  <c:v>25.4</c:v>
                </c:pt>
              </c:numCache>
            </c:numRef>
          </c:val>
          <c:extLst>
            <c:ext xmlns:c16="http://schemas.microsoft.com/office/drawing/2014/chart" uri="{C3380CC4-5D6E-409C-BE32-E72D297353CC}">
              <c16:uniqueId val="{00000000-A642-4E7F-83F3-1FA65AB695D5}"/>
            </c:ext>
          </c:extLst>
        </c:ser>
        <c:ser>
          <c:idx val="1"/>
          <c:order val="1"/>
          <c:tx>
            <c:strRef>
              <c:f>Sheet1!$C$1</c:f>
              <c:strCache>
                <c:ptCount val="1"/>
                <c:pt idx="0">
                  <c:v>Label 2</c:v>
                </c:pt>
              </c:strCache>
            </c:strRef>
          </c:tx>
          <c:spPr>
            <a:solidFill>
              <a:srgbClr val="8C8C8C"/>
            </a:solidFill>
            <a:ln>
              <a:solidFill>
                <a:schemeClr val="bg1"/>
              </a:solidFill>
            </a:ln>
          </c:spPr>
          <c:invertIfNegative val="0"/>
          <c:dLbls>
            <c:delete val="1"/>
          </c:dLbls>
          <c:cat>
            <c:strRef>
              <c:f>Sheet1!$A$2:$A$4</c:f>
              <c:strCache>
                <c:ptCount val="3"/>
                <c:pt idx="0">
                  <c:v>East</c:v>
                </c:pt>
                <c:pt idx="1">
                  <c:v>West</c:v>
                </c:pt>
                <c:pt idx="2">
                  <c:v>North</c:v>
                </c:pt>
              </c:strCache>
            </c:strRef>
          </c:cat>
          <c:val>
            <c:numRef>
              <c:f>Sheet1!$C$2:$C$4</c:f>
              <c:numCache>
                <c:formatCode>General</c:formatCode>
                <c:ptCount val="3"/>
                <c:pt idx="0">
                  <c:v>46.9</c:v>
                </c:pt>
                <c:pt idx="1">
                  <c:v>38.6</c:v>
                </c:pt>
                <c:pt idx="2">
                  <c:v>45.6</c:v>
                </c:pt>
              </c:numCache>
            </c:numRef>
          </c:val>
          <c:extLst>
            <c:ext xmlns:c16="http://schemas.microsoft.com/office/drawing/2014/chart" uri="{C3380CC4-5D6E-409C-BE32-E72D297353CC}">
              <c16:uniqueId val="{00000001-A642-4E7F-83F3-1FA65AB695D5}"/>
            </c:ext>
          </c:extLst>
        </c:ser>
        <c:ser>
          <c:idx val="2"/>
          <c:order val="2"/>
          <c:tx>
            <c:strRef>
              <c:f>Sheet1!$D$1</c:f>
              <c:strCache>
                <c:ptCount val="1"/>
                <c:pt idx="0">
                  <c:v>Label 3</c:v>
                </c:pt>
              </c:strCache>
            </c:strRef>
          </c:tx>
          <c:spPr>
            <a:solidFill>
              <a:srgbClr val="DCDCDC"/>
            </a:solidFill>
            <a:ln>
              <a:solidFill>
                <a:schemeClr val="bg1"/>
              </a:solidFill>
            </a:ln>
          </c:spPr>
          <c:invertIfNegative val="0"/>
          <c:dLbls>
            <c:delete val="1"/>
          </c:dLbls>
          <c:cat>
            <c:strRef>
              <c:f>Sheet1!$A$2:$A$4</c:f>
              <c:strCache>
                <c:ptCount val="3"/>
                <c:pt idx="0">
                  <c:v>East</c:v>
                </c:pt>
                <c:pt idx="1">
                  <c:v>West</c:v>
                </c:pt>
                <c:pt idx="2">
                  <c:v>North</c:v>
                </c:pt>
              </c:strCache>
            </c:strRef>
          </c:cat>
          <c:val>
            <c:numRef>
              <c:f>Sheet1!$D$2:$D$4</c:f>
              <c:numCache>
                <c:formatCode>General</c:formatCode>
                <c:ptCount val="3"/>
                <c:pt idx="0">
                  <c:v>45</c:v>
                </c:pt>
                <c:pt idx="1">
                  <c:v>34.6</c:v>
                </c:pt>
                <c:pt idx="2">
                  <c:v>39.200000000000003</c:v>
                </c:pt>
              </c:numCache>
            </c:numRef>
          </c:val>
          <c:extLst>
            <c:ext xmlns:c16="http://schemas.microsoft.com/office/drawing/2014/chart" uri="{C3380CC4-5D6E-409C-BE32-E72D297353CC}">
              <c16:uniqueId val="{00000002-A642-4E7F-83F3-1FA65AB695D5}"/>
            </c:ext>
          </c:extLst>
        </c:ser>
        <c:ser>
          <c:idx val="3"/>
          <c:order val="3"/>
          <c:tx>
            <c:strRef>
              <c:f>Sheet1!$E$1</c:f>
              <c:strCache>
                <c:ptCount val="1"/>
                <c:pt idx="0">
                  <c:v>Label 4</c:v>
                </c:pt>
              </c:strCache>
            </c:strRef>
          </c:tx>
          <c:spPr>
            <a:solidFill>
              <a:srgbClr val="00B0F0"/>
            </a:solidFill>
            <a:ln>
              <a:solidFill>
                <a:schemeClr val="bg1"/>
              </a:solidFill>
            </a:ln>
          </c:spPr>
          <c:invertIfNegative val="0"/>
          <c:dLbls>
            <c:delete val="1"/>
          </c:dLbls>
          <c:cat>
            <c:strRef>
              <c:f>Sheet1!$A$2:$A$4</c:f>
              <c:strCache>
                <c:ptCount val="3"/>
                <c:pt idx="0">
                  <c:v>East</c:v>
                </c:pt>
                <c:pt idx="1">
                  <c:v>West</c:v>
                </c:pt>
                <c:pt idx="2">
                  <c:v>North</c:v>
                </c:pt>
              </c:strCache>
            </c:strRef>
          </c:cat>
          <c:val>
            <c:numRef>
              <c:f>Sheet1!$E$2:$E$4</c:f>
              <c:numCache>
                <c:formatCode>General</c:formatCode>
                <c:ptCount val="3"/>
                <c:pt idx="0">
                  <c:v>43.9</c:v>
                </c:pt>
                <c:pt idx="1">
                  <c:v>31.6</c:v>
                </c:pt>
                <c:pt idx="2">
                  <c:v>30.4</c:v>
                </c:pt>
              </c:numCache>
            </c:numRef>
          </c:val>
          <c:extLst>
            <c:ext xmlns:c16="http://schemas.microsoft.com/office/drawing/2014/chart" uri="{C3380CC4-5D6E-409C-BE32-E72D297353CC}">
              <c16:uniqueId val="{00000003-A642-4E7F-83F3-1FA65AB695D5}"/>
            </c:ext>
          </c:extLst>
        </c:ser>
        <c:dLbls>
          <c:showLegendKey val="0"/>
          <c:showVal val="1"/>
          <c:showCatName val="0"/>
          <c:showSerName val="0"/>
          <c:showPercent val="0"/>
          <c:showBubbleSize val="0"/>
        </c:dLbls>
        <c:gapWidth val="150"/>
        <c:overlap val="100"/>
        <c:axId val="1568806080"/>
        <c:axId val="1568806640"/>
      </c:barChart>
      <c:catAx>
        <c:axId val="1568806080"/>
        <c:scaling>
          <c:orientation val="minMax"/>
        </c:scaling>
        <c:delete val="0"/>
        <c:axPos val="l"/>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568806640"/>
        <c:crosses val="autoZero"/>
        <c:auto val="1"/>
        <c:lblAlgn val="ctr"/>
        <c:lblOffset val="100"/>
        <c:noMultiLvlLbl val="0"/>
      </c:catAx>
      <c:valAx>
        <c:axId val="1568806640"/>
        <c:scaling>
          <c:orientation val="minMax"/>
        </c:scaling>
        <c:delete val="0"/>
        <c:axPos val="b"/>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568806080"/>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467967086524496E-2"/>
          <c:y val="4.6153842659460598E-2"/>
          <c:w val="0.88495729446206695"/>
          <c:h val="0.86692770541128905"/>
        </c:manualLayout>
      </c:layout>
      <c:areaChart>
        <c:grouping val="stacked"/>
        <c:varyColors val="0"/>
        <c:ser>
          <c:idx val="0"/>
          <c:order val="0"/>
          <c:tx>
            <c:strRef>
              <c:f>Sheet1!$B$2</c:f>
              <c:strCache>
                <c:ptCount val="1"/>
                <c:pt idx="0">
                  <c:v>20,4</c:v>
                </c:pt>
              </c:strCache>
            </c:strRef>
          </c:tx>
          <c:spPr>
            <a:solidFill>
              <a:schemeClr val="accent1"/>
            </a:solidFill>
            <a:ln>
              <a:solidFill>
                <a:schemeClr val="bg1"/>
              </a:solidFill>
            </a:ln>
          </c:spPr>
          <c:dLbls>
            <c:delete val="1"/>
          </c:dLbls>
          <c:cat>
            <c:strRef>
              <c:f>Sheet1!$C$1:$E$1</c:f>
              <c:strCache>
                <c:ptCount val="3"/>
                <c:pt idx="0">
                  <c:v>2003</c:v>
                </c:pt>
                <c:pt idx="1">
                  <c:v>2004</c:v>
                </c:pt>
                <c:pt idx="2">
                  <c:v>2005</c:v>
                </c:pt>
              </c:strCache>
            </c:strRef>
          </c:cat>
          <c:val>
            <c:numRef>
              <c:f>Sheet1!$C$2:$E$2</c:f>
              <c:numCache>
                <c:formatCode>General</c:formatCode>
                <c:ptCount val="3"/>
                <c:pt idx="0">
                  <c:v>27.4</c:v>
                </c:pt>
                <c:pt idx="1">
                  <c:v>90</c:v>
                </c:pt>
                <c:pt idx="2">
                  <c:v>20.399999999999999</c:v>
                </c:pt>
              </c:numCache>
            </c:numRef>
          </c:val>
          <c:extLst>
            <c:ext xmlns:c16="http://schemas.microsoft.com/office/drawing/2014/chart" uri="{C3380CC4-5D6E-409C-BE32-E72D297353CC}">
              <c16:uniqueId val="{00000000-5087-4983-AF3F-8CBD0080873C}"/>
            </c:ext>
          </c:extLst>
        </c:ser>
        <c:ser>
          <c:idx val="1"/>
          <c:order val="1"/>
          <c:tx>
            <c:strRef>
              <c:f>Sheet1!$B$3</c:f>
              <c:strCache>
                <c:ptCount val="1"/>
                <c:pt idx="0">
                  <c:v>30,6</c:v>
                </c:pt>
              </c:strCache>
            </c:strRef>
          </c:tx>
          <c:spPr>
            <a:solidFill>
              <a:schemeClr val="accent2"/>
            </a:solidFill>
            <a:ln>
              <a:solidFill>
                <a:schemeClr val="bg1"/>
              </a:solidFill>
            </a:ln>
          </c:spPr>
          <c:dLbls>
            <c:delete val="1"/>
          </c:dLbls>
          <c:cat>
            <c:strRef>
              <c:f>Sheet1!$C$1:$E$1</c:f>
              <c:strCache>
                <c:ptCount val="3"/>
                <c:pt idx="0">
                  <c:v>2003</c:v>
                </c:pt>
                <c:pt idx="1">
                  <c:v>2004</c:v>
                </c:pt>
                <c:pt idx="2">
                  <c:v>2005</c:v>
                </c:pt>
              </c:strCache>
            </c:strRef>
          </c:cat>
          <c:val>
            <c:numRef>
              <c:f>Sheet1!$C$3:$E$3</c:f>
              <c:numCache>
                <c:formatCode>General</c:formatCode>
                <c:ptCount val="3"/>
                <c:pt idx="0">
                  <c:v>38.6</c:v>
                </c:pt>
                <c:pt idx="1">
                  <c:v>34.6</c:v>
                </c:pt>
                <c:pt idx="2">
                  <c:v>31.6</c:v>
                </c:pt>
              </c:numCache>
            </c:numRef>
          </c:val>
          <c:extLst>
            <c:ext xmlns:c16="http://schemas.microsoft.com/office/drawing/2014/chart" uri="{C3380CC4-5D6E-409C-BE32-E72D297353CC}">
              <c16:uniqueId val="{00000001-5087-4983-AF3F-8CBD0080873C}"/>
            </c:ext>
          </c:extLst>
        </c:ser>
        <c:ser>
          <c:idx val="2"/>
          <c:order val="2"/>
          <c:tx>
            <c:strRef>
              <c:f>Sheet1!$B$4</c:f>
              <c:strCache>
                <c:ptCount val="1"/>
                <c:pt idx="0">
                  <c:v>45,9</c:v>
                </c:pt>
              </c:strCache>
            </c:strRef>
          </c:tx>
          <c:spPr>
            <a:solidFill>
              <a:schemeClr val="accent3"/>
            </a:solidFill>
            <a:ln>
              <a:solidFill>
                <a:schemeClr val="bg1"/>
              </a:solidFill>
            </a:ln>
          </c:spPr>
          <c:dLbls>
            <c:delete val="1"/>
          </c:dLbls>
          <c:cat>
            <c:strRef>
              <c:f>Sheet1!$C$1:$E$1</c:f>
              <c:strCache>
                <c:ptCount val="3"/>
                <c:pt idx="0">
                  <c:v>2003</c:v>
                </c:pt>
                <c:pt idx="1">
                  <c:v>2004</c:v>
                </c:pt>
                <c:pt idx="2">
                  <c:v>2005</c:v>
                </c:pt>
              </c:strCache>
            </c:strRef>
          </c:cat>
          <c:val>
            <c:numRef>
              <c:f>Sheet1!$C$4:$E$4</c:f>
              <c:numCache>
                <c:formatCode>General</c:formatCode>
                <c:ptCount val="3"/>
                <c:pt idx="0">
                  <c:v>46.9</c:v>
                </c:pt>
                <c:pt idx="1">
                  <c:v>45</c:v>
                </c:pt>
                <c:pt idx="2">
                  <c:v>43.9</c:v>
                </c:pt>
              </c:numCache>
            </c:numRef>
          </c:val>
          <c:extLst>
            <c:ext xmlns:c16="http://schemas.microsoft.com/office/drawing/2014/chart" uri="{C3380CC4-5D6E-409C-BE32-E72D297353CC}">
              <c16:uniqueId val="{00000002-5087-4983-AF3F-8CBD0080873C}"/>
            </c:ext>
          </c:extLst>
        </c:ser>
        <c:ser>
          <c:idx val="3"/>
          <c:order val="3"/>
          <c:tx>
            <c:strRef>
              <c:f>Sheet1!$B$5</c:f>
              <c:strCache>
                <c:ptCount val="1"/>
                <c:pt idx="0">
                  <c:v>12,3</c:v>
                </c:pt>
              </c:strCache>
            </c:strRef>
          </c:tx>
          <c:spPr>
            <a:solidFill>
              <a:schemeClr val="accent4"/>
            </a:solidFill>
            <a:ln>
              <a:solidFill>
                <a:schemeClr val="bg1"/>
              </a:solidFill>
            </a:ln>
          </c:spPr>
          <c:dLbls>
            <c:delete val="1"/>
          </c:dLbls>
          <c:cat>
            <c:strRef>
              <c:f>Sheet1!$C$1:$E$1</c:f>
              <c:strCache>
                <c:ptCount val="3"/>
                <c:pt idx="0">
                  <c:v>2003</c:v>
                </c:pt>
                <c:pt idx="1">
                  <c:v>2004</c:v>
                </c:pt>
                <c:pt idx="2">
                  <c:v>2005</c:v>
                </c:pt>
              </c:strCache>
            </c:strRef>
          </c:cat>
          <c:val>
            <c:numRef>
              <c:f>Sheet1!$C$5:$E$5</c:f>
              <c:numCache>
                <c:formatCode>General</c:formatCode>
                <c:ptCount val="3"/>
                <c:pt idx="0">
                  <c:v>14.7</c:v>
                </c:pt>
                <c:pt idx="1">
                  <c:v>25.6</c:v>
                </c:pt>
                <c:pt idx="2">
                  <c:v>33.1</c:v>
                </c:pt>
              </c:numCache>
            </c:numRef>
          </c:val>
          <c:extLst>
            <c:ext xmlns:c16="http://schemas.microsoft.com/office/drawing/2014/chart" uri="{C3380CC4-5D6E-409C-BE32-E72D297353CC}">
              <c16:uniqueId val="{00000003-5087-4983-AF3F-8CBD0080873C}"/>
            </c:ext>
          </c:extLst>
        </c:ser>
        <c:ser>
          <c:idx val="4"/>
          <c:order val="4"/>
          <c:tx>
            <c:strRef>
              <c:f>Sheet1!$B$6</c:f>
              <c:strCache>
                <c:ptCount val="1"/>
                <c:pt idx="0">
                  <c:v>15</c:v>
                </c:pt>
              </c:strCache>
            </c:strRef>
          </c:tx>
          <c:spPr>
            <a:solidFill>
              <a:schemeClr val="accent5"/>
            </a:solidFill>
            <a:ln>
              <a:solidFill>
                <a:schemeClr val="bg1"/>
              </a:solidFill>
            </a:ln>
          </c:spPr>
          <c:dLbls>
            <c:delete val="1"/>
          </c:dLbls>
          <c:cat>
            <c:strRef>
              <c:f>Sheet1!$C$1:$E$1</c:f>
              <c:strCache>
                <c:ptCount val="3"/>
                <c:pt idx="0">
                  <c:v>2003</c:v>
                </c:pt>
                <c:pt idx="1">
                  <c:v>2004</c:v>
                </c:pt>
                <c:pt idx="2">
                  <c:v>2005</c:v>
                </c:pt>
              </c:strCache>
            </c:strRef>
          </c:cat>
          <c:val>
            <c:numRef>
              <c:f>Sheet1!$C$6:$E$6</c:f>
              <c:numCache>
                <c:formatCode>General</c:formatCode>
                <c:ptCount val="3"/>
                <c:pt idx="0">
                  <c:v>15</c:v>
                </c:pt>
                <c:pt idx="1">
                  <c:v>15</c:v>
                </c:pt>
                <c:pt idx="2">
                  <c:v>15</c:v>
                </c:pt>
              </c:numCache>
            </c:numRef>
          </c:val>
          <c:extLst>
            <c:ext xmlns:c16="http://schemas.microsoft.com/office/drawing/2014/chart" uri="{C3380CC4-5D6E-409C-BE32-E72D297353CC}">
              <c16:uniqueId val="{00000004-5087-4983-AF3F-8CBD0080873C}"/>
            </c:ext>
          </c:extLst>
        </c:ser>
        <c:ser>
          <c:idx val="5"/>
          <c:order val="5"/>
          <c:tx>
            <c:strRef>
              <c:f>Sheet1!$B$7</c:f>
              <c:strCache>
                <c:ptCount val="1"/>
                <c:pt idx="0">
                  <c:v>23</c:v>
                </c:pt>
              </c:strCache>
            </c:strRef>
          </c:tx>
          <c:spPr>
            <a:solidFill>
              <a:schemeClr val="accent6"/>
            </a:solidFill>
            <a:ln>
              <a:solidFill>
                <a:schemeClr val="bg1"/>
              </a:solidFill>
            </a:ln>
          </c:spPr>
          <c:dLbls>
            <c:delete val="1"/>
          </c:dLbls>
          <c:cat>
            <c:strRef>
              <c:f>Sheet1!$C$1:$E$1</c:f>
              <c:strCache>
                <c:ptCount val="3"/>
                <c:pt idx="0">
                  <c:v>2003</c:v>
                </c:pt>
                <c:pt idx="1">
                  <c:v>2004</c:v>
                </c:pt>
                <c:pt idx="2">
                  <c:v>2005</c:v>
                </c:pt>
              </c:strCache>
            </c:strRef>
          </c:cat>
          <c:val>
            <c:numRef>
              <c:f>Sheet1!$C$7:$E$7</c:f>
              <c:numCache>
                <c:formatCode>General</c:formatCode>
                <c:ptCount val="3"/>
                <c:pt idx="0">
                  <c:v>23</c:v>
                </c:pt>
                <c:pt idx="1">
                  <c:v>23</c:v>
                </c:pt>
                <c:pt idx="2">
                  <c:v>23</c:v>
                </c:pt>
              </c:numCache>
            </c:numRef>
          </c:val>
          <c:extLst>
            <c:ext xmlns:c16="http://schemas.microsoft.com/office/drawing/2014/chart" uri="{C3380CC4-5D6E-409C-BE32-E72D297353CC}">
              <c16:uniqueId val="{00000005-5087-4983-AF3F-8CBD0080873C}"/>
            </c:ext>
          </c:extLst>
        </c:ser>
        <c:ser>
          <c:idx val="6"/>
          <c:order val="6"/>
          <c:tx>
            <c:strRef>
              <c:f>Sheet1!$B$8</c:f>
              <c:strCache>
                <c:ptCount val="1"/>
                <c:pt idx="0">
                  <c:v>24</c:v>
                </c:pt>
              </c:strCache>
            </c:strRef>
          </c:tx>
          <c:spPr>
            <a:solidFill>
              <a:srgbClr val="575757"/>
            </a:solidFill>
            <a:ln>
              <a:solidFill>
                <a:schemeClr val="bg1"/>
              </a:solidFill>
            </a:ln>
          </c:spPr>
          <c:dLbls>
            <c:delete val="1"/>
          </c:dLbls>
          <c:cat>
            <c:strRef>
              <c:f>Sheet1!$C$1:$E$1</c:f>
              <c:strCache>
                <c:ptCount val="3"/>
                <c:pt idx="0">
                  <c:v>2003</c:v>
                </c:pt>
                <c:pt idx="1">
                  <c:v>2004</c:v>
                </c:pt>
                <c:pt idx="2">
                  <c:v>2005</c:v>
                </c:pt>
              </c:strCache>
            </c:strRef>
          </c:cat>
          <c:val>
            <c:numRef>
              <c:f>Sheet1!$C$8:$E$8</c:f>
              <c:numCache>
                <c:formatCode>General</c:formatCode>
                <c:ptCount val="3"/>
                <c:pt idx="0">
                  <c:v>24</c:v>
                </c:pt>
                <c:pt idx="1">
                  <c:v>24</c:v>
                </c:pt>
                <c:pt idx="2">
                  <c:v>30</c:v>
                </c:pt>
              </c:numCache>
            </c:numRef>
          </c:val>
          <c:extLst>
            <c:ext xmlns:c16="http://schemas.microsoft.com/office/drawing/2014/chart" uri="{C3380CC4-5D6E-409C-BE32-E72D297353CC}">
              <c16:uniqueId val="{00000006-5087-4983-AF3F-8CBD0080873C}"/>
            </c:ext>
          </c:extLst>
        </c:ser>
        <c:ser>
          <c:idx val="7"/>
          <c:order val="7"/>
          <c:tx>
            <c:strRef>
              <c:f>Sheet1!$B$9</c:f>
              <c:strCache>
                <c:ptCount val="1"/>
                <c:pt idx="0">
                  <c:v>20</c:v>
                </c:pt>
              </c:strCache>
            </c:strRef>
          </c:tx>
          <c:spPr>
            <a:solidFill>
              <a:schemeClr val="bg2">
                <a:lumMod val="50000"/>
              </a:schemeClr>
            </a:solidFill>
            <a:ln>
              <a:solidFill>
                <a:schemeClr val="bg1"/>
              </a:solidFill>
            </a:ln>
          </c:spPr>
          <c:dLbls>
            <c:delete val="1"/>
          </c:dLbls>
          <c:cat>
            <c:strRef>
              <c:f>Sheet1!$C$1:$E$1</c:f>
              <c:strCache>
                <c:ptCount val="3"/>
                <c:pt idx="0">
                  <c:v>2003</c:v>
                </c:pt>
                <c:pt idx="1">
                  <c:v>2004</c:v>
                </c:pt>
                <c:pt idx="2">
                  <c:v>2005</c:v>
                </c:pt>
              </c:strCache>
            </c:strRef>
          </c:cat>
          <c:val>
            <c:numRef>
              <c:f>Sheet1!$C$9:$E$9</c:f>
              <c:numCache>
                <c:formatCode>General</c:formatCode>
                <c:ptCount val="3"/>
                <c:pt idx="0">
                  <c:v>20</c:v>
                </c:pt>
                <c:pt idx="1">
                  <c:v>20</c:v>
                </c:pt>
                <c:pt idx="2">
                  <c:v>30</c:v>
                </c:pt>
              </c:numCache>
            </c:numRef>
          </c:val>
          <c:extLst>
            <c:ext xmlns:c16="http://schemas.microsoft.com/office/drawing/2014/chart" uri="{C3380CC4-5D6E-409C-BE32-E72D297353CC}">
              <c16:uniqueId val="{00000007-5087-4983-AF3F-8CBD0080873C}"/>
            </c:ext>
          </c:extLst>
        </c:ser>
        <c:ser>
          <c:idx val="8"/>
          <c:order val="8"/>
          <c:tx>
            <c:strRef>
              <c:f>Sheet1!$B$10</c:f>
              <c:strCache>
                <c:ptCount val="1"/>
                <c:pt idx="0">
                  <c:v>15</c:v>
                </c:pt>
              </c:strCache>
            </c:strRef>
          </c:tx>
          <c:spPr>
            <a:solidFill>
              <a:schemeClr val="bg2">
                <a:lumMod val="75000"/>
              </a:schemeClr>
            </a:solidFill>
            <a:ln>
              <a:solidFill>
                <a:schemeClr val="bg1"/>
              </a:solidFill>
            </a:ln>
          </c:spPr>
          <c:dLbls>
            <c:delete val="1"/>
          </c:dLbls>
          <c:cat>
            <c:strRef>
              <c:f>Sheet1!$C$1:$E$1</c:f>
              <c:strCache>
                <c:ptCount val="3"/>
                <c:pt idx="0">
                  <c:v>2003</c:v>
                </c:pt>
                <c:pt idx="1">
                  <c:v>2004</c:v>
                </c:pt>
                <c:pt idx="2">
                  <c:v>2005</c:v>
                </c:pt>
              </c:strCache>
            </c:strRef>
          </c:cat>
          <c:val>
            <c:numRef>
              <c:f>Sheet1!$C$10:$E$10</c:f>
              <c:numCache>
                <c:formatCode>General</c:formatCode>
                <c:ptCount val="3"/>
                <c:pt idx="0">
                  <c:v>15</c:v>
                </c:pt>
                <c:pt idx="1">
                  <c:v>15</c:v>
                </c:pt>
                <c:pt idx="2">
                  <c:v>30</c:v>
                </c:pt>
              </c:numCache>
            </c:numRef>
          </c:val>
          <c:extLst>
            <c:ext xmlns:c16="http://schemas.microsoft.com/office/drawing/2014/chart" uri="{C3380CC4-5D6E-409C-BE32-E72D297353CC}">
              <c16:uniqueId val="{00000008-5087-4983-AF3F-8CBD0080873C}"/>
            </c:ext>
          </c:extLst>
        </c:ser>
        <c:dLbls>
          <c:showLegendKey val="0"/>
          <c:showVal val="1"/>
          <c:showCatName val="0"/>
          <c:showSerName val="0"/>
          <c:showPercent val="0"/>
          <c:showBubbleSize val="0"/>
        </c:dLbls>
        <c:axId val="1029242464"/>
        <c:axId val="1029243024"/>
      </c:areaChart>
      <c:catAx>
        <c:axId val="1029242464"/>
        <c:scaling>
          <c:orientation val="minMax"/>
        </c:scaling>
        <c:delete val="0"/>
        <c:axPos val="b"/>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029243024"/>
        <c:crosses val="autoZero"/>
        <c:auto val="1"/>
        <c:lblAlgn val="ctr"/>
        <c:lblOffset val="100"/>
        <c:noMultiLvlLbl val="0"/>
      </c:catAx>
      <c:valAx>
        <c:axId val="1029243024"/>
        <c:scaling>
          <c:orientation val="minMax"/>
          <c:max val="300"/>
        </c:scaling>
        <c:delete val="0"/>
        <c:axPos val="l"/>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029242464"/>
        <c:crosses val="autoZero"/>
        <c:crossBetween val="midCat"/>
        <c:majorUnit val="50"/>
      </c:valAx>
    </c:plotArea>
    <c:plotVisOnly val="1"/>
    <c:dispBlanksAs val="zero"/>
    <c:showDLblsOverMax val="0"/>
  </c:chart>
  <c:txPr>
    <a:bodyPr/>
    <a:lstStyle/>
    <a:p>
      <a:pPr>
        <a:defRPr sz="12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467967086524496E-2"/>
          <c:y val="4.6153842659460598E-2"/>
          <c:w val="0.88495729446206695"/>
          <c:h val="0.86692770541128905"/>
        </c:manualLayout>
      </c:layout>
      <c:areaChart>
        <c:grouping val="stacked"/>
        <c:varyColors val="0"/>
        <c:ser>
          <c:idx val="0"/>
          <c:order val="0"/>
          <c:tx>
            <c:strRef>
              <c:f>Sheet1!$A$2</c:f>
              <c:strCache>
                <c:ptCount val="1"/>
                <c:pt idx="0">
                  <c:v>East</c:v>
                </c:pt>
              </c:strCache>
            </c:strRef>
          </c:tx>
          <c:spPr>
            <a:solidFill>
              <a:srgbClr val="575757"/>
            </a:solidFill>
            <a:ln>
              <a:solidFill>
                <a:schemeClr val="bg1"/>
              </a:solidFill>
            </a:ln>
          </c:spPr>
          <c:dLbls>
            <c:delete val="1"/>
          </c:dLbls>
          <c:cat>
            <c:strRef>
              <c:f>Sheet1!$B$1:$E$1</c:f>
              <c:strCache>
                <c:ptCount val="4"/>
                <c:pt idx="0">
                  <c:v>2002</c:v>
                </c:pt>
                <c:pt idx="1">
                  <c:v>2003</c:v>
                </c:pt>
                <c:pt idx="2">
                  <c:v>2004</c:v>
                </c:pt>
                <c:pt idx="3">
                  <c:v>2005</c:v>
                </c:pt>
              </c:strCache>
            </c:strRef>
          </c:cat>
          <c:val>
            <c:numRef>
              <c:f>Sheet1!$B$2:$E$2</c:f>
              <c:numCache>
                <c:formatCode>General</c:formatCode>
                <c:ptCount val="4"/>
                <c:pt idx="0">
                  <c:v>20.399999999999999</c:v>
                </c:pt>
                <c:pt idx="1">
                  <c:v>27.4</c:v>
                </c:pt>
                <c:pt idx="2">
                  <c:v>90</c:v>
                </c:pt>
                <c:pt idx="3">
                  <c:v>20.399999999999999</c:v>
                </c:pt>
              </c:numCache>
            </c:numRef>
          </c:val>
          <c:extLst>
            <c:ext xmlns:c16="http://schemas.microsoft.com/office/drawing/2014/chart" uri="{C3380CC4-5D6E-409C-BE32-E72D297353CC}">
              <c16:uniqueId val="{00000000-034A-46CA-96BA-9F20A053D844}"/>
            </c:ext>
          </c:extLst>
        </c:ser>
        <c:ser>
          <c:idx val="1"/>
          <c:order val="1"/>
          <c:tx>
            <c:strRef>
              <c:f>Sheet1!$A$3</c:f>
              <c:strCache>
                <c:ptCount val="1"/>
                <c:pt idx="0">
                  <c:v>West</c:v>
                </c:pt>
              </c:strCache>
            </c:strRef>
          </c:tx>
          <c:spPr>
            <a:solidFill>
              <a:srgbClr val="8C8C8C"/>
            </a:solidFill>
            <a:ln>
              <a:solidFill>
                <a:schemeClr val="bg1"/>
              </a:solidFill>
            </a:ln>
          </c:spPr>
          <c:dLbls>
            <c:delete val="1"/>
          </c:dLbls>
          <c:cat>
            <c:strRef>
              <c:f>Sheet1!$B$1:$E$1</c:f>
              <c:strCache>
                <c:ptCount val="4"/>
                <c:pt idx="0">
                  <c:v>2002</c:v>
                </c:pt>
                <c:pt idx="1">
                  <c:v>2003</c:v>
                </c:pt>
                <c:pt idx="2">
                  <c:v>2004</c:v>
                </c:pt>
                <c:pt idx="3">
                  <c:v>2005</c:v>
                </c:pt>
              </c:strCache>
            </c:strRef>
          </c:cat>
          <c:val>
            <c:numRef>
              <c:f>Sheet1!$B$3:$E$3</c:f>
              <c:numCache>
                <c:formatCode>General</c:formatCode>
                <c:ptCount val="4"/>
                <c:pt idx="0">
                  <c:v>30.6</c:v>
                </c:pt>
                <c:pt idx="1">
                  <c:v>38.6</c:v>
                </c:pt>
                <c:pt idx="2">
                  <c:v>34.6</c:v>
                </c:pt>
                <c:pt idx="3">
                  <c:v>31.6</c:v>
                </c:pt>
              </c:numCache>
            </c:numRef>
          </c:val>
          <c:extLst>
            <c:ext xmlns:c16="http://schemas.microsoft.com/office/drawing/2014/chart" uri="{C3380CC4-5D6E-409C-BE32-E72D297353CC}">
              <c16:uniqueId val="{00000001-034A-46CA-96BA-9F20A053D844}"/>
            </c:ext>
          </c:extLst>
        </c:ser>
        <c:ser>
          <c:idx val="2"/>
          <c:order val="2"/>
          <c:tx>
            <c:strRef>
              <c:f>Sheet1!$A$4</c:f>
              <c:strCache>
                <c:ptCount val="1"/>
                <c:pt idx="0">
                  <c:v>North</c:v>
                </c:pt>
              </c:strCache>
            </c:strRef>
          </c:tx>
          <c:spPr>
            <a:solidFill>
              <a:srgbClr val="DCDCDC"/>
            </a:solidFill>
            <a:ln>
              <a:solidFill>
                <a:schemeClr val="bg1"/>
              </a:solidFill>
            </a:ln>
          </c:spPr>
          <c:dLbls>
            <c:delete val="1"/>
          </c:dLbls>
          <c:cat>
            <c:strRef>
              <c:f>Sheet1!$B$1:$E$1</c:f>
              <c:strCache>
                <c:ptCount val="4"/>
                <c:pt idx="0">
                  <c:v>2002</c:v>
                </c:pt>
                <c:pt idx="1">
                  <c:v>2003</c:v>
                </c:pt>
                <c:pt idx="2">
                  <c:v>2004</c:v>
                </c:pt>
                <c:pt idx="3">
                  <c:v>2005</c:v>
                </c:pt>
              </c:strCache>
            </c:strRef>
          </c:cat>
          <c:val>
            <c:numRef>
              <c:f>Sheet1!$B$4:$E$4</c:f>
              <c:numCache>
                <c:formatCode>General</c:formatCode>
                <c:ptCount val="4"/>
                <c:pt idx="0">
                  <c:v>45.9</c:v>
                </c:pt>
                <c:pt idx="1">
                  <c:v>46.9</c:v>
                </c:pt>
                <c:pt idx="2">
                  <c:v>45</c:v>
                </c:pt>
                <c:pt idx="3">
                  <c:v>43.9</c:v>
                </c:pt>
              </c:numCache>
            </c:numRef>
          </c:val>
          <c:extLst>
            <c:ext xmlns:c16="http://schemas.microsoft.com/office/drawing/2014/chart" uri="{C3380CC4-5D6E-409C-BE32-E72D297353CC}">
              <c16:uniqueId val="{00000002-034A-46CA-96BA-9F20A053D844}"/>
            </c:ext>
          </c:extLst>
        </c:ser>
        <c:ser>
          <c:idx val="3"/>
          <c:order val="3"/>
          <c:tx>
            <c:strRef>
              <c:f>Sheet1!$A$5</c:f>
              <c:strCache>
                <c:ptCount val="1"/>
                <c:pt idx="0">
                  <c:v>South</c:v>
                </c:pt>
              </c:strCache>
            </c:strRef>
          </c:tx>
          <c:spPr>
            <a:solidFill>
              <a:srgbClr val="00A1DE"/>
            </a:solidFill>
            <a:ln>
              <a:solidFill>
                <a:schemeClr val="bg1"/>
              </a:solidFill>
            </a:ln>
          </c:spPr>
          <c:dLbls>
            <c:delete val="1"/>
          </c:dLbls>
          <c:cat>
            <c:strRef>
              <c:f>Sheet1!$B$1:$E$1</c:f>
              <c:strCache>
                <c:ptCount val="4"/>
                <c:pt idx="0">
                  <c:v>2002</c:v>
                </c:pt>
                <c:pt idx="1">
                  <c:v>2003</c:v>
                </c:pt>
                <c:pt idx="2">
                  <c:v>2004</c:v>
                </c:pt>
                <c:pt idx="3">
                  <c:v>2005</c:v>
                </c:pt>
              </c:strCache>
            </c:strRef>
          </c:cat>
          <c:val>
            <c:numRef>
              <c:f>Sheet1!$B$5:$E$5</c:f>
              <c:numCache>
                <c:formatCode>General</c:formatCode>
                <c:ptCount val="4"/>
                <c:pt idx="0">
                  <c:v>12.3</c:v>
                </c:pt>
                <c:pt idx="1">
                  <c:v>14.7</c:v>
                </c:pt>
                <c:pt idx="2">
                  <c:v>25.6</c:v>
                </c:pt>
                <c:pt idx="3">
                  <c:v>33.1</c:v>
                </c:pt>
              </c:numCache>
            </c:numRef>
          </c:val>
          <c:extLst>
            <c:ext xmlns:c16="http://schemas.microsoft.com/office/drawing/2014/chart" uri="{C3380CC4-5D6E-409C-BE32-E72D297353CC}">
              <c16:uniqueId val="{00000003-034A-46CA-96BA-9F20A053D844}"/>
            </c:ext>
          </c:extLst>
        </c:ser>
        <c:dLbls>
          <c:showLegendKey val="0"/>
          <c:showVal val="1"/>
          <c:showCatName val="0"/>
          <c:showSerName val="0"/>
          <c:showPercent val="0"/>
          <c:showBubbleSize val="0"/>
        </c:dLbls>
        <c:axId val="1029247504"/>
        <c:axId val="1029248064"/>
      </c:areaChart>
      <c:catAx>
        <c:axId val="1029247504"/>
        <c:scaling>
          <c:orientation val="minMax"/>
        </c:scaling>
        <c:delete val="0"/>
        <c:axPos val="b"/>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029248064"/>
        <c:crosses val="autoZero"/>
        <c:auto val="1"/>
        <c:lblAlgn val="ctr"/>
        <c:lblOffset val="100"/>
        <c:noMultiLvlLbl val="0"/>
      </c:catAx>
      <c:valAx>
        <c:axId val="1029248064"/>
        <c:scaling>
          <c:orientation val="minMax"/>
          <c:max val="200"/>
        </c:scaling>
        <c:delete val="0"/>
        <c:axPos val="l"/>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029247504"/>
        <c:crosses val="autoZero"/>
        <c:crossBetween val="midCat"/>
        <c:majorUnit val="50"/>
      </c:valAx>
    </c:plotArea>
    <c:plotVisOnly val="1"/>
    <c:dispBlanksAs val="zero"/>
    <c:showDLblsOverMax val="0"/>
  </c:chart>
  <c:txPr>
    <a:bodyPr/>
    <a:lstStyle/>
    <a:p>
      <a:pPr>
        <a:defRPr sz="12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079636516531503E-2"/>
          <c:y val="4.6153842659460598E-2"/>
          <c:w val="0.87434561780995501"/>
          <c:h val="0.86692770541128905"/>
        </c:manualLayout>
      </c:layout>
      <c:areaChart>
        <c:grouping val="percentStacked"/>
        <c:varyColors val="0"/>
        <c:ser>
          <c:idx val="0"/>
          <c:order val="0"/>
          <c:tx>
            <c:strRef>
              <c:f>Sheet1!$A$2</c:f>
              <c:strCache>
                <c:ptCount val="1"/>
                <c:pt idx="0">
                  <c:v>East</c:v>
                </c:pt>
              </c:strCache>
            </c:strRef>
          </c:tx>
          <c:spPr>
            <a:solidFill>
              <a:srgbClr val="575757"/>
            </a:solidFill>
            <a:ln>
              <a:solidFill>
                <a:schemeClr val="bg1"/>
              </a:solidFill>
            </a:ln>
          </c:spPr>
          <c:dLbls>
            <c:delete val="1"/>
          </c:dLbls>
          <c:cat>
            <c:strRef>
              <c:f>Sheet1!$B$1:$E$1</c:f>
              <c:strCache>
                <c:ptCount val="4"/>
                <c:pt idx="0">
                  <c:v>2002</c:v>
                </c:pt>
                <c:pt idx="1">
                  <c:v>2003</c:v>
                </c:pt>
                <c:pt idx="2">
                  <c:v>2004</c:v>
                </c:pt>
                <c:pt idx="3">
                  <c:v>2005</c:v>
                </c:pt>
              </c:strCache>
            </c:strRef>
          </c:cat>
          <c:val>
            <c:numRef>
              <c:f>Sheet1!$B$2:$E$2</c:f>
              <c:numCache>
                <c:formatCode>General</c:formatCode>
                <c:ptCount val="4"/>
                <c:pt idx="0">
                  <c:v>20.399999999999999</c:v>
                </c:pt>
                <c:pt idx="1">
                  <c:v>27.4</c:v>
                </c:pt>
                <c:pt idx="2">
                  <c:v>90</c:v>
                </c:pt>
                <c:pt idx="3">
                  <c:v>20.399999999999999</c:v>
                </c:pt>
              </c:numCache>
            </c:numRef>
          </c:val>
          <c:extLst>
            <c:ext xmlns:c16="http://schemas.microsoft.com/office/drawing/2014/chart" uri="{C3380CC4-5D6E-409C-BE32-E72D297353CC}">
              <c16:uniqueId val="{00000000-2418-45D7-8CE8-9AD114ADCA3D}"/>
            </c:ext>
          </c:extLst>
        </c:ser>
        <c:ser>
          <c:idx val="1"/>
          <c:order val="1"/>
          <c:tx>
            <c:strRef>
              <c:f>Sheet1!$A$3</c:f>
              <c:strCache>
                <c:ptCount val="1"/>
                <c:pt idx="0">
                  <c:v>West</c:v>
                </c:pt>
              </c:strCache>
            </c:strRef>
          </c:tx>
          <c:spPr>
            <a:solidFill>
              <a:srgbClr val="8C8C8C"/>
            </a:solidFill>
            <a:ln>
              <a:solidFill>
                <a:schemeClr val="bg1"/>
              </a:solidFill>
            </a:ln>
          </c:spPr>
          <c:dLbls>
            <c:delete val="1"/>
          </c:dLbls>
          <c:cat>
            <c:strRef>
              <c:f>Sheet1!$B$1:$E$1</c:f>
              <c:strCache>
                <c:ptCount val="4"/>
                <c:pt idx="0">
                  <c:v>2002</c:v>
                </c:pt>
                <c:pt idx="1">
                  <c:v>2003</c:v>
                </c:pt>
                <c:pt idx="2">
                  <c:v>2004</c:v>
                </c:pt>
                <c:pt idx="3">
                  <c:v>2005</c:v>
                </c:pt>
              </c:strCache>
            </c:strRef>
          </c:cat>
          <c:val>
            <c:numRef>
              <c:f>Sheet1!$B$3:$E$3</c:f>
              <c:numCache>
                <c:formatCode>General</c:formatCode>
                <c:ptCount val="4"/>
                <c:pt idx="0">
                  <c:v>30.6</c:v>
                </c:pt>
                <c:pt idx="1">
                  <c:v>38.6</c:v>
                </c:pt>
                <c:pt idx="2">
                  <c:v>34.6</c:v>
                </c:pt>
                <c:pt idx="3">
                  <c:v>31.6</c:v>
                </c:pt>
              </c:numCache>
            </c:numRef>
          </c:val>
          <c:extLst>
            <c:ext xmlns:c16="http://schemas.microsoft.com/office/drawing/2014/chart" uri="{C3380CC4-5D6E-409C-BE32-E72D297353CC}">
              <c16:uniqueId val="{00000001-2418-45D7-8CE8-9AD114ADCA3D}"/>
            </c:ext>
          </c:extLst>
        </c:ser>
        <c:ser>
          <c:idx val="2"/>
          <c:order val="2"/>
          <c:tx>
            <c:strRef>
              <c:f>Sheet1!$A$4</c:f>
              <c:strCache>
                <c:ptCount val="1"/>
                <c:pt idx="0">
                  <c:v>North</c:v>
                </c:pt>
              </c:strCache>
            </c:strRef>
          </c:tx>
          <c:spPr>
            <a:solidFill>
              <a:srgbClr val="DCDCDC"/>
            </a:solidFill>
            <a:ln>
              <a:solidFill>
                <a:schemeClr val="bg1"/>
              </a:solidFill>
            </a:ln>
          </c:spPr>
          <c:dLbls>
            <c:delete val="1"/>
          </c:dLbls>
          <c:cat>
            <c:strRef>
              <c:f>Sheet1!$B$1:$E$1</c:f>
              <c:strCache>
                <c:ptCount val="4"/>
                <c:pt idx="0">
                  <c:v>2002</c:v>
                </c:pt>
                <c:pt idx="1">
                  <c:v>2003</c:v>
                </c:pt>
                <c:pt idx="2">
                  <c:v>2004</c:v>
                </c:pt>
                <c:pt idx="3">
                  <c:v>2005</c:v>
                </c:pt>
              </c:strCache>
            </c:strRef>
          </c:cat>
          <c:val>
            <c:numRef>
              <c:f>Sheet1!$B$4:$E$4</c:f>
              <c:numCache>
                <c:formatCode>General</c:formatCode>
                <c:ptCount val="4"/>
                <c:pt idx="0">
                  <c:v>45.9</c:v>
                </c:pt>
                <c:pt idx="1">
                  <c:v>46.9</c:v>
                </c:pt>
                <c:pt idx="2">
                  <c:v>45</c:v>
                </c:pt>
                <c:pt idx="3">
                  <c:v>43.9</c:v>
                </c:pt>
              </c:numCache>
            </c:numRef>
          </c:val>
          <c:extLst>
            <c:ext xmlns:c16="http://schemas.microsoft.com/office/drawing/2014/chart" uri="{C3380CC4-5D6E-409C-BE32-E72D297353CC}">
              <c16:uniqueId val="{00000002-2418-45D7-8CE8-9AD114ADCA3D}"/>
            </c:ext>
          </c:extLst>
        </c:ser>
        <c:ser>
          <c:idx val="3"/>
          <c:order val="3"/>
          <c:tx>
            <c:strRef>
              <c:f>Sheet1!$A$5</c:f>
              <c:strCache>
                <c:ptCount val="1"/>
                <c:pt idx="0">
                  <c:v>South</c:v>
                </c:pt>
              </c:strCache>
            </c:strRef>
          </c:tx>
          <c:spPr>
            <a:solidFill>
              <a:srgbClr val="00A1DE"/>
            </a:solidFill>
            <a:ln>
              <a:solidFill>
                <a:schemeClr val="bg1"/>
              </a:solidFill>
            </a:ln>
          </c:spPr>
          <c:dLbls>
            <c:delete val="1"/>
          </c:dLbls>
          <c:cat>
            <c:strRef>
              <c:f>Sheet1!$B$1:$E$1</c:f>
              <c:strCache>
                <c:ptCount val="4"/>
                <c:pt idx="0">
                  <c:v>2002</c:v>
                </c:pt>
                <c:pt idx="1">
                  <c:v>2003</c:v>
                </c:pt>
                <c:pt idx="2">
                  <c:v>2004</c:v>
                </c:pt>
                <c:pt idx="3">
                  <c:v>2005</c:v>
                </c:pt>
              </c:strCache>
            </c:strRef>
          </c:cat>
          <c:val>
            <c:numRef>
              <c:f>Sheet1!$B$5:$E$5</c:f>
              <c:numCache>
                <c:formatCode>General</c:formatCode>
                <c:ptCount val="4"/>
                <c:pt idx="0">
                  <c:v>12.3</c:v>
                </c:pt>
                <c:pt idx="1">
                  <c:v>14.7</c:v>
                </c:pt>
                <c:pt idx="2">
                  <c:v>25.6</c:v>
                </c:pt>
                <c:pt idx="3">
                  <c:v>33.1</c:v>
                </c:pt>
              </c:numCache>
            </c:numRef>
          </c:val>
          <c:extLst>
            <c:ext xmlns:c16="http://schemas.microsoft.com/office/drawing/2014/chart" uri="{C3380CC4-5D6E-409C-BE32-E72D297353CC}">
              <c16:uniqueId val="{00000003-2418-45D7-8CE8-9AD114ADCA3D}"/>
            </c:ext>
          </c:extLst>
        </c:ser>
        <c:dLbls>
          <c:showLegendKey val="0"/>
          <c:showVal val="1"/>
          <c:showCatName val="0"/>
          <c:showSerName val="0"/>
          <c:showPercent val="0"/>
          <c:showBubbleSize val="0"/>
        </c:dLbls>
        <c:axId val="871388288"/>
        <c:axId val="871388848"/>
      </c:areaChart>
      <c:catAx>
        <c:axId val="871388288"/>
        <c:scaling>
          <c:orientation val="minMax"/>
        </c:scaling>
        <c:delete val="0"/>
        <c:axPos val="b"/>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871388848"/>
        <c:crosses val="autoZero"/>
        <c:auto val="1"/>
        <c:lblAlgn val="ctr"/>
        <c:lblOffset val="100"/>
        <c:noMultiLvlLbl val="0"/>
      </c:catAx>
      <c:valAx>
        <c:axId val="871388848"/>
        <c:scaling>
          <c:orientation val="minMax"/>
        </c:scaling>
        <c:delete val="0"/>
        <c:axPos val="l"/>
        <c:numFmt formatCode="0%"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871388288"/>
        <c:crosses val="autoZero"/>
        <c:crossBetween val="midCat"/>
        <c:majorUnit val="0.2"/>
      </c:valAx>
    </c:plotArea>
    <c:plotVisOnly val="1"/>
    <c:dispBlanksAs val="zero"/>
    <c:showDLblsOverMax val="0"/>
  </c:chart>
  <c:txPr>
    <a:bodyPr/>
    <a:lstStyle/>
    <a:p>
      <a:pPr>
        <a:defRPr sz="12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663841625172001"/>
          <c:y val="6.6654452436604394E-2"/>
          <c:w val="0.88414094578388602"/>
          <c:h val="0.86692770541128905"/>
        </c:manualLayout>
      </c:layout>
      <c:pieChart>
        <c:varyColors val="1"/>
        <c:ser>
          <c:idx val="0"/>
          <c:order val="0"/>
          <c:tx>
            <c:strRef>
              <c:f>Sheet1!$B$1</c:f>
              <c:strCache>
                <c:ptCount val="1"/>
                <c:pt idx="0">
                  <c:v>Q1</c:v>
                </c:pt>
              </c:strCache>
            </c:strRef>
          </c:tx>
          <c:spPr>
            <a:ln w="12700">
              <a:solidFill>
                <a:schemeClr val="bg1"/>
              </a:solidFill>
            </a:ln>
          </c:spPr>
          <c:dPt>
            <c:idx val="0"/>
            <c:bubble3D val="0"/>
            <c:spPr>
              <a:solidFill>
                <a:schemeClr val="accent1"/>
              </a:solidFill>
              <a:ln w="12700">
                <a:solidFill>
                  <a:schemeClr val="bg1"/>
                </a:solidFill>
              </a:ln>
            </c:spPr>
            <c:extLst>
              <c:ext xmlns:c16="http://schemas.microsoft.com/office/drawing/2014/chart" uri="{C3380CC4-5D6E-409C-BE32-E72D297353CC}">
                <c16:uniqueId val="{00000001-F77F-4F52-8590-D34886ABEF82}"/>
              </c:ext>
            </c:extLst>
          </c:dPt>
          <c:dPt>
            <c:idx val="1"/>
            <c:bubble3D val="0"/>
            <c:spPr>
              <a:solidFill>
                <a:schemeClr val="accent2"/>
              </a:solidFill>
              <a:ln w="12700">
                <a:solidFill>
                  <a:schemeClr val="bg1"/>
                </a:solidFill>
              </a:ln>
            </c:spPr>
            <c:extLst>
              <c:ext xmlns:c16="http://schemas.microsoft.com/office/drawing/2014/chart" uri="{C3380CC4-5D6E-409C-BE32-E72D297353CC}">
                <c16:uniqueId val="{00000003-F77F-4F52-8590-D34886ABEF82}"/>
              </c:ext>
            </c:extLst>
          </c:dPt>
          <c:dPt>
            <c:idx val="2"/>
            <c:bubble3D val="0"/>
            <c:spPr>
              <a:solidFill>
                <a:schemeClr val="accent3"/>
              </a:solidFill>
              <a:ln w="12700">
                <a:solidFill>
                  <a:schemeClr val="bg1"/>
                </a:solidFill>
              </a:ln>
            </c:spPr>
            <c:extLst>
              <c:ext xmlns:c16="http://schemas.microsoft.com/office/drawing/2014/chart" uri="{C3380CC4-5D6E-409C-BE32-E72D297353CC}">
                <c16:uniqueId val="{00000005-F77F-4F52-8590-D34886ABEF82}"/>
              </c:ext>
            </c:extLst>
          </c:dPt>
          <c:dPt>
            <c:idx val="3"/>
            <c:bubble3D val="0"/>
            <c:spPr>
              <a:solidFill>
                <a:schemeClr val="accent4"/>
              </a:solidFill>
              <a:ln w="12700">
                <a:solidFill>
                  <a:schemeClr val="bg1"/>
                </a:solidFill>
              </a:ln>
            </c:spPr>
            <c:extLst>
              <c:ext xmlns:c16="http://schemas.microsoft.com/office/drawing/2014/chart" uri="{C3380CC4-5D6E-409C-BE32-E72D297353CC}">
                <c16:uniqueId val="{00000007-F77F-4F52-8590-D34886ABEF82}"/>
              </c:ext>
            </c:extLst>
          </c:dPt>
          <c:dPt>
            <c:idx val="4"/>
            <c:bubble3D val="0"/>
            <c:spPr>
              <a:solidFill>
                <a:schemeClr val="accent5"/>
              </a:solidFill>
              <a:ln w="12700">
                <a:solidFill>
                  <a:schemeClr val="bg1"/>
                </a:solidFill>
              </a:ln>
            </c:spPr>
            <c:extLst>
              <c:ext xmlns:c16="http://schemas.microsoft.com/office/drawing/2014/chart" uri="{C3380CC4-5D6E-409C-BE32-E72D297353CC}">
                <c16:uniqueId val="{00000009-F77F-4F52-8590-D34886ABEF82}"/>
              </c:ext>
            </c:extLst>
          </c:dPt>
          <c:dPt>
            <c:idx val="5"/>
            <c:bubble3D val="0"/>
            <c:spPr>
              <a:solidFill>
                <a:schemeClr val="accent6"/>
              </a:solidFill>
              <a:ln w="12700">
                <a:solidFill>
                  <a:schemeClr val="bg1"/>
                </a:solidFill>
              </a:ln>
            </c:spPr>
            <c:extLst>
              <c:ext xmlns:c16="http://schemas.microsoft.com/office/drawing/2014/chart" uri="{C3380CC4-5D6E-409C-BE32-E72D297353CC}">
                <c16:uniqueId val="{0000000B-F77F-4F52-8590-D34886ABEF82}"/>
              </c:ext>
            </c:extLst>
          </c:dPt>
          <c:dPt>
            <c:idx val="6"/>
            <c:bubble3D val="0"/>
            <c:spPr>
              <a:solidFill>
                <a:srgbClr val="575757"/>
              </a:solidFill>
              <a:ln w="12700">
                <a:solidFill>
                  <a:schemeClr val="bg1"/>
                </a:solidFill>
              </a:ln>
            </c:spPr>
            <c:extLst>
              <c:ext xmlns:c16="http://schemas.microsoft.com/office/drawing/2014/chart" uri="{C3380CC4-5D6E-409C-BE32-E72D297353CC}">
                <c16:uniqueId val="{0000000D-F77F-4F52-8590-D34886ABEF82}"/>
              </c:ext>
            </c:extLst>
          </c:dPt>
          <c:dPt>
            <c:idx val="7"/>
            <c:bubble3D val="0"/>
            <c:spPr>
              <a:solidFill>
                <a:schemeClr val="bg2">
                  <a:lumMod val="50000"/>
                </a:schemeClr>
              </a:solidFill>
              <a:ln w="12700">
                <a:solidFill>
                  <a:schemeClr val="bg1"/>
                </a:solidFill>
              </a:ln>
            </c:spPr>
            <c:extLst>
              <c:ext xmlns:c16="http://schemas.microsoft.com/office/drawing/2014/chart" uri="{C3380CC4-5D6E-409C-BE32-E72D297353CC}">
                <c16:uniqueId val="{0000000F-F77F-4F52-8590-D34886ABEF82}"/>
              </c:ext>
            </c:extLst>
          </c:dPt>
          <c:dPt>
            <c:idx val="8"/>
            <c:bubble3D val="0"/>
            <c:spPr>
              <a:solidFill>
                <a:schemeClr val="bg2">
                  <a:lumMod val="75000"/>
                </a:schemeClr>
              </a:solidFill>
              <a:ln w="12700">
                <a:solidFill>
                  <a:schemeClr val="bg1"/>
                </a:solidFill>
              </a:ln>
            </c:spPr>
            <c:extLst>
              <c:ext xmlns:c16="http://schemas.microsoft.com/office/drawing/2014/chart" uri="{C3380CC4-5D6E-409C-BE32-E72D297353CC}">
                <c16:uniqueId val="{00000011-F77F-4F52-8590-D34886ABEF82}"/>
              </c:ext>
            </c:extLst>
          </c:dPt>
          <c:dLbls>
            <c:dLbl>
              <c:idx val="8"/>
              <c:spPr/>
              <c:txPr>
                <a:bodyPr/>
                <a:lstStyle/>
                <a:p>
                  <a:pPr>
                    <a:defRPr sz="1100">
                      <a:solidFill>
                        <a:srgbClr val="313131"/>
                      </a:solidFill>
                    </a:defRPr>
                  </a:pPr>
                  <a:endParaRPr lang="en-US"/>
                </a:p>
              </c:txPr>
              <c:dLblPos val="inEnd"/>
              <c:showLegendKey val="0"/>
              <c:showVal val="0"/>
              <c:showCatName val="1"/>
              <c:showSerName val="0"/>
              <c:showPercent val="0"/>
              <c:showBubbleSize val="0"/>
              <c:extLst>
                <c:ext xmlns:c16="http://schemas.microsoft.com/office/drawing/2014/chart" uri="{C3380CC4-5D6E-409C-BE32-E72D297353CC}">
                  <c16:uniqueId val="{00000011-F77F-4F52-8590-D34886ABEF82}"/>
                </c:ext>
              </c:extLst>
            </c:dLbl>
            <c:spPr>
              <a:noFill/>
              <a:ln>
                <a:noFill/>
              </a:ln>
              <a:effectLst/>
            </c:spPr>
            <c:txPr>
              <a:bodyPr/>
              <a:lstStyle/>
              <a:p>
                <a:pPr>
                  <a:defRPr sz="1100">
                    <a:solidFill>
                      <a:schemeClr val="bg1"/>
                    </a:solidFill>
                  </a:defRPr>
                </a:pPr>
                <a:endParaRPr lang="en-US"/>
              </a:p>
            </c:txPr>
            <c:dLblPos val="inEnd"/>
            <c:showLegendKey val="0"/>
            <c:showVal val="0"/>
            <c:showCatName val="1"/>
            <c:showSerName val="0"/>
            <c:showPercent val="0"/>
            <c:showBubbleSize val="0"/>
            <c:showLeaderLines val="1"/>
            <c:extLst>
              <c:ext xmlns:c15="http://schemas.microsoft.com/office/drawing/2012/chart" uri="{CE6537A1-D6FC-4f65-9D91-7224C49458BB}"/>
            </c:extLst>
          </c:dLbls>
          <c:cat>
            <c:strRef>
              <c:f>Sheet1!$A$2:$A$10</c:f>
              <c:strCache>
                <c:ptCount val="9"/>
                <c:pt idx="0">
                  <c:v>A</c:v>
                </c:pt>
                <c:pt idx="1">
                  <c:v>B</c:v>
                </c:pt>
                <c:pt idx="2">
                  <c:v>C</c:v>
                </c:pt>
                <c:pt idx="3">
                  <c:v>D</c:v>
                </c:pt>
                <c:pt idx="4">
                  <c:v>E</c:v>
                </c:pt>
                <c:pt idx="5">
                  <c:v>F</c:v>
                </c:pt>
                <c:pt idx="6">
                  <c:v>G</c:v>
                </c:pt>
                <c:pt idx="7">
                  <c:v>H</c:v>
                </c:pt>
                <c:pt idx="8">
                  <c:v>I</c:v>
                </c:pt>
              </c:strCache>
            </c:strRef>
          </c:cat>
          <c:val>
            <c:numRef>
              <c:f>Sheet1!$B$2:$B$10</c:f>
              <c:numCache>
                <c:formatCode>General</c:formatCode>
                <c:ptCount val="9"/>
                <c:pt idx="0">
                  <c:v>10</c:v>
                </c:pt>
                <c:pt idx="1">
                  <c:v>10</c:v>
                </c:pt>
                <c:pt idx="2">
                  <c:v>10</c:v>
                </c:pt>
                <c:pt idx="3">
                  <c:v>10</c:v>
                </c:pt>
                <c:pt idx="4">
                  <c:v>10</c:v>
                </c:pt>
                <c:pt idx="5">
                  <c:v>10</c:v>
                </c:pt>
                <c:pt idx="6">
                  <c:v>10</c:v>
                </c:pt>
                <c:pt idx="7">
                  <c:v>10</c:v>
                </c:pt>
                <c:pt idx="8">
                  <c:v>10</c:v>
                </c:pt>
              </c:numCache>
            </c:numRef>
          </c:val>
          <c:extLst>
            <c:ext xmlns:c16="http://schemas.microsoft.com/office/drawing/2014/chart" uri="{C3380CC4-5D6E-409C-BE32-E72D297353CC}">
              <c16:uniqueId val="{00000012-F77F-4F52-8590-D34886ABEF82}"/>
            </c:ext>
          </c:extLst>
        </c:ser>
        <c:dLbls>
          <c:showLegendKey val="0"/>
          <c:showVal val="1"/>
          <c:showCatName val="0"/>
          <c:showSerName val="0"/>
          <c:showPercent val="0"/>
          <c:showBubbleSize val="0"/>
          <c:showLeaderLines val="1"/>
        </c:dLbls>
        <c:firstSliceAng val="0"/>
      </c:pieChart>
    </c:plotArea>
    <c:plotVisOnly val="1"/>
    <c:dispBlanksAs val="zero"/>
    <c:showDLblsOverMax val="0"/>
  </c:chart>
  <c:txPr>
    <a:bodyPr/>
    <a:lstStyle/>
    <a:p>
      <a:pPr>
        <a:defRPr sz="1200"/>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284331032632494E-2"/>
          <c:y val="4.6153842659460598E-2"/>
          <c:w val="0.88414094578388602"/>
          <c:h val="0.86692770541128905"/>
        </c:manualLayout>
      </c:layout>
      <c:pieChart>
        <c:varyColors val="1"/>
        <c:ser>
          <c:idx val="0"/>
          <c:order val="0"/>
          <c:tx>
            <c:strRef>
              <c:f>Sheet1!$B$1</c:f>
              <c:strCache>
                <c:ptCount val="1"/>
                <c:pt idx="0">
                  <c:v>Q1</c:v>
                </c:pt>
              </c:strCache>
            </c:strRef>
          </c:tx>
          <c:spPr>
            <a:ln w="12700">
              <a:solidFill>
                <a:schemeClr val="bg1"/>
              </a:solidFill>
            </a:ln>
          </c:spPr>
          <c:dPt>
            <c:idx val="0"/>
            <c:bubble3D val="0"/>
            <c:spPr>
              <a:solidFill>
                <a:srgbClr val="8C8C8C"/>
              </a:solidFill>
              <a:ln w="12700">
                <a:solidFill>
                  <a:schemeClr val="bg1"/>
                </a:solidFill>
              </a:ln>
            </c:spPr>
            <c:extLst>
              <c:ext xmlns:c16="http://schemas.microsoft.com/office/drawing/2014/chart" uri="{C3380CC4-5D6E-409C-BE32-E72D297353CC}">
                <c16:uniqueId val="{00000001-502B-4DF7-8579-90BA298A168F}"/>
              </c:ext>
            </c:extLst>
          </c:dPt>
          <c:dPt>
            <c:idx val="1"/>
            <c:bubble3D val="0"/>
            <c:spPr>
              <a:solidFill>
                <a:srgbClr val="B4B4B4"/>
              </a:solidFill>
              <a:ln w="12700">
                <a:solidFill>
                  <a:schemeClr val="bg1"/>
                </a:solidFill>
              </a:ln>
            </c:spPr>
            <c:extLst>
              <c:ext xmlns:c16="http://schemas.microsoft.com/office/drawing/2014/chart" uri="{C3380CC4-5D6E-409C-BE32-E72D297353CC}">
                <c16:uniqueId val="{00000003-502B-4DF7-8579-90BA298A168F}"/>
              </c:ext>
            </c:extLst>
          </c:dPt>
          <c:dPt>
            <c:idx val="2"/>
            <c:bubble3D val="0"/>
            <c:spPr>
              <a:solidFill>
                <a:srgbClr val="DCDCDC"/>
              </a:solidFill>
              <a:ln w="12700">
                <a:solidFill>
                  <a:schemeClr val="bg1"/>
                </a:solidFill>
              </a:ln>
            </c:spPr>
            <c:extLst>
              <c:ext xmlns:c16="http://schemas.microsoft.com/office/drawing/2014/chart" uri="{C3380CC4-5D6E-409C-BE32-E72D297353CC}">
                <c16:uniqueId val="{00000005-502B-4DF7-8579-90BA298A168F}"/>
              </c:ext>
            </c:extLst>
          </c:dPt>
          <c:dPt>
            <c:idx val="3"/>
            <c:bubble3D val="0"/>
            <c:spPr>
              <a:solidFill>
                <a:schemeClr val="accent4"/>
              </a:solidFill>
              <a:ln w="12700">
                <a:solidFill>
                  <a:schemeClr val="bg1"/>
                </a:solidFill>
              </a:ln>
            </c:spPr>
            <c:extLst>
              <c:ext xmlns:c16="http://schemas.microsoft.com/office/drawing/2014/chart" uri="{C3380CC4-5D6E-409C-BE32-E72D297353CC}">
                <c16:uniqueId val="{00000007-502B-4DF7-8579-90BA298A168F}"/>
              </c:ext>
            </c:extLst>
          </c:dPt>
          <c:dPt>
            <c:idx val="4"/>
            <c:bubble3D val="0"/>
            <c:spPr>
              <a:solidFill>
                <a:srgbClr val="575757"/>
              </a:solidFill>
              <a:ln w="12700">
                <a:solidFill>
                  <a:schemeClr val="bg1"/>
                </a:solidFill>
              </a:ln>
            </c:spPr>
            <c:extLst>
              <c:ext xmlns:c16="http://schemas.microsoft.com/office/drawing/2014/chart" uri="{C3380CC4-5D6E-409C-BE32-E72D297353CC}">
                <c16:uniqueId val="{00000009-502B-4DF7-8579-90BA298A168F}"/>
              </c:ext>
            </c:extLst>
          </c:dPt>
          <c:dLbls>
            <c:spPr>
              <a:noFill/>
              <a:ln>
                <a:noFill/>
              </a:ln>
              <a:effectLst/>
            </c:spPr>
            <c:txPr>
              <a:bodyPr/>
              <a:lstStyle/>
              <a:p>
                <a:pPr>
                  <a:defRPr sz="1100">
                    <a:solidFill>
                      <a:srgbClr val="313131"/>
                    </a:solidFill>
                  </a:defRPr>
                </a:pPr>
                <a:endParaRPr lang="en-US"/>
              </a:p>
            </c:txPr>
            <c:dLblPos val="outEnd"/>
            <c:showLegendKey val="0"/>
            <c:showVal val="0"/>
            <c:showCatName val="1"/>
            <c:showSerName val="0"/>
            <c:showPercent val="0"/>
            <c:showBubbleSize val="0"/>
            <c:showLeaderLines val="1"/>
            <c:extLst>
              <c:ext xmlns:c15="http://schemas.microsoft.com/office/drawing/2012/chart" uri="{CE6537A1-D6FC-4f65-9D91-7224C49458BB}"/>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0</c:v>
                </c:pt>
                <c:pt idx="1">
                  <c:v>10</c:v>
                </c:pt>
                <c:pt idx="2">
                  <c:v>10</c:v>
                </c:pt>
                <c:pt idx="3">
                  <c:v>10</c:v>
                </c:pt>
                <c:pt idx="4">
                  <c:v>10</c:v>
                </c:pt>
              </c:numCache>
            </c:numRef>
          </c:val>
          <c:extLst>
            <c:ext xmlns:c16="http://schemas.microsoft.com/office/drawing/2014/chart" uri="{C3380CC4-5D6E-409C-BE32-E72D297353CC}">
              <c16:uniqueId val="{0000000A-502B-4DF7-8579-90BA298A168F}"/>
            </c:ext>
          </c:extLst>
        </c:ser>
        <c:dLbls>
          <c:showLegendKey val="0"/>
          <c:showVal val="1"/>
          <c:showCatName val="0"/>
          <c:showSerName val="0"/>
          <c:showPercent val="0"/>
          <c:showBubbleSize val="0"/>
          <c:showLeaderLines val="1"/>
        </c:dLbls>
        <c:firstSliceAng val="0"/>
      </c:pieChart>
    </c:plotArea>
    <c:plotVisOnly val="1"/>
    <c:dispBlanksAs val="zero"/>
    <c:showDLblsOverMax val="0"/>
  </c:chart>
  <c:txPr>
    <a:bodyPr/>
    <a:lstStyle/>
    <a:p>
      <a:pPr>
        <a:defRPr sz="1200"/>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284331032632494E-2"/>
          <c:y val="4.6153842659460598E-2"/>
          <c:w val="0.88414094578388602"/>
          <c:h val="0.86692770541128905"/>
        </c:manualLayout>
      </c:layout>
      <c:pieChart>
        <c:varyColors val="1"/>
        <c:ser>
          <c:idx val="0"/>
          <c:order val="0"/>
          <c:tx>
            <c:strRef>
              <c:f>Sheet1!$B$1</c:f>
              <c:strCache>
                <c:ptCount val="1"/>
                <c:pt idx="0">
                  <c:v>Q1</c:v>
                </c:pt>
              </c:strCache>
            </c:strRef>
          </c:tx>
          <c:spPr>
            <a:ln w="12700">
              <a:solidFill>
                <a:schemeClr val="bg1"/>
              </a:solidFill>
            </a:ln>
          </c:spPr>
          <c:dPt>
            <c:idx val="0"/>
            <c:bubble3D val="0"/>
            <c:spPr>
              <a:solidFill>
                <a:schemeClr val="accent1"/>
              </a:solidFill>
              <a:ln w="12700">
                <a:solidFill>
                  <a:schemeClr val="bg1"/>
                </a:solidFill>
              </a:ln>
            </c:spPr>
            <c:extLst>
              <c:ext xmlns:c16="http://schemas.microsoft.com/office/drawing/2014/chart" uri="{C3380CC4-5D6E-409C-BE32-E72D297353CC}">
                <c16:uniqueId val="{00000001-E41E-498F-B8AA-8C0531BF0129}"/>
              </c:ext>
            </c:extLst>
          </c:dPt>
          <c:dPt>
            <c:idx val="1"/>
            <c:bubble3D val="0"/>
            <c:spPr>
              <a:solidFill>
                <a:srgbClr val="DCDCDC"/>
              </a:solidFill>
              <a:ln w="12700">
                <a:solidFill>
                  <a:schemeClr val="bg1"/>
                </a:solidFill>
              </a:ln>
            </c:spPr>
            <c:extLst>
              <c:ext xmlns:c16="http://schemas.microsoft.com/office/drawing/2014/chart" uri="{C3380CC4-5D6E-409C-BE32-E72D297353CC}">
                <c16:uniqueId val="{00000003-E41E-498F-B8AA-8C0531BF0129}"/>
              </c:ext>
            </c:extLst>
          </c:dPt>
          <c:dPt>
            <c:idx val="2"/>
            <c:bubble3D val="0"/>
            <c:spPr>
              <a:solidFill>
                <a:srgbClr val="B4B4B4"/>
              </a:solidFill>
              <a:ln w="12700">
                <a:solidFill>
                  <a:schemeClr val="bg1"/>
                </a:solidFill>
              </a:ln>
            </c:spPr>
            <c:extLst>
              <c:ext xmlns:c16="http://schemas.microsoft.com/office/drawing/2014/chart" uri="{C3380CC4-5D6E-409C-BE32-E72D297353CC}">
                <c16:uniqueId val="{00000005-E41E-498F-B8AA-8C0531BF0129}"/>
              </c:ext>
            </c:extLst>
          </c:dPt>
          <c:dPt>
            <c:idx val="3"/>
            <c:bubble3D val="0"/>
            <c:spPr>
              <a:solidFill>
                <a:srgbClr val="8C8C8C"/>
              </a:solidFill>
              <a:ln w="12700">
                <a:solidFill>
                  <a:schemeClr val="bg1"/>
                </a:solidFill>
              </a:ln>
            </c:spPr>
            <c:extLst>
              <c:ext xmlns:c16="http://schemas.microsoft.com/office/drawing/2014/chart" uri="{C3380CC4-5D6E-409C-BE32-E72D297353CC}">
                <c16:uniqueId val="{00000007-E41E-498F-B8AA-8C0531BF0129}"/>
              </c:ext>
            </c:extLst>
          </c:dPt>
          <c:dPt>
            <c:idx val="4"/>
            <c:bubble3D val="0"/>
            <c:spPr>
              <a:solidFill>
                <a:srgbClr val="575757"/>
              </a:solidFill>
              <a:ln w="12700">
                <a:solidFill>
                  <a:schemeClr val="bg1"/>
                </a:solidFill>
              </a:ln>
            </c:spPr>
            <c:extLst>
              <c:ext xmlns:c16="http://schemas.microsoft.com/office/drawing/2014/chart" uri="{C3380CC4-5D6E-409C-BE32-E72D297353CC}">
                <c16:uniqueId val="{00000009-E41E-498F-B8AA-8C0531BF0129}"/>
              </c:ext>
            </c:extLst>
          </c:dPt>
          <c:dLbls>
            <c:spPr>
              <a:noFill/>
              <a:ln>
                <a:noFill/>
              </a:ln>
              <a:effectLst/>
            </c:spPr>
            <c:txPr>
              <a:bodyPr/>
              <a:lstStyle/>
              <a:p>
                <a:pPr>
                  <a:defRPr sz="1100">
                    <a:solidFill>
                      <a:srgbClr val="313131"/>
                    </a:solidFill>
                  </a:defRPr>
                </a:pPr>
                <a:endParaRPr lang="en-US"/>
              </a:p>
            </c:txPr>
            <c:dLblPos val="outEnd"/>
            <c:showLegendKey val="0"/>
            <c:showVal val="0"/>
            <c:showCatName val="1"/>
            <c:showSerName val="0"/>
            <c:showPercent val="0"/>
            <c:showBubbleSize val="0"/>
            <c:showLeaderLines val="1"/>
            <c:extLst>
              <c:ext xmlns:c15="http://schemas.microsoft.com/office/drawing/2012/chart" uri="{CE6537A1-D6FC-4f65-9D91-7224C49458BB}"/>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0</c:v>
                </c:pt>
                <c:pt idx="1">
                  <c:v>10</c:v>
                </c:pt>
                <c:pt idx="2">
                  <c:v>10</c:v>
                </c:pt>
                <c:pt idx="3">
                  <c:v>10</c:v>
                </c:pt>
                <c:pt idx="4">
                  <c:v>10</c:v>
                </c:pt>
              </c:numCache>
            </c:numRef>
          </c:val>
          <c:extLst>
            <c:ext xmlns:c16="http://schemas.microsoft.com/office/drawing/2014/chart" uri="{C3380CC4-5D6E-409C-BE32-E72D297353CC}">
              <c16:uniqueId val="{0000000A-E41E-498F-B8AA-8C0531BF0129}"/>
            </c:ext>
          </c:extLst>
        </c:ser>
        <c:dLbls>
          <c:showLegendKey val="0"/>
          <c:showVal val="1"/>
          <c:showCatName val="0"/>
          <c:showSerName val="0"/>
          <c:showPercent val="0"/>
          <c:showBubbleSize val="0"/>
          <c:showLeaderLines val="1"/>
        </c:dLbls>
        <c:firstSliceAng val="0"/>
      </c:pieChart>
    </c:plotArea>
    <c:plotVisOnly val="1"/>
    <c:dispBlanksAs val="zero"/>
    <c:showDLblsOverMax val="0"/>
  </c:chart>
  <c:txPr>
    <a:bodyPr/>
    <a:lstStyle/>
    <a:p>
      <a:pPr>
        <a:defRPr sz="12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284331032632494E-2"/>
          <c:y val="4.6153842659460598E-2"/>
          <c:w val="0.88414094578388602"/>
          <c:h val="0.86692770541128905"/>
        </c:manualLayout>
      </c:layout>
      <c:pieChart>
        <c:varyColors val="1"/>
        <c:ser>
          <c:idx val="0"/>
          <c:order val="0"/>
          <c:tx>
            <c:strRef>
              <c:f>Sheet1!$B$1</c:f>
              <c:strCache>
                <c:ptCount val="1"/>
                <c:pt idx="0">
                  <c:v>Q1</c:v>
                </c:pt>
              </c:strCache>
            </c:strRef>
          </c:tx>
          <c:spPr>
            <a:ln w="12700">
              <a:solidFill>
                <a:schemeClr val="bg1"/>
              </a:solidFill>
            </a:ln>
          </c:spPr>
          <c:dPt>
            <c:idx val="0"/>
            <c:bubble3D val="0"/>
            <c:spPr>
              <a:solidFill>
                <a:schemeClr val="accent1"/>
              </a:solidFill>
              <a:ln w="12700">
                <a:solidFill>
                  <a:schemeClr val="bg1"/>
                </a:solidFill>
              </a:ln>
            </c:spPr>
            <c:extLst>
              <c:ext xmlns:c16="http://schemas.microsoft.com/office/drawing/2014/chart" uri="{C3380CC4-5D6E-409C-BE32-E72D297353CC}">
                <c16:uniqueId val="{00000001-D28A-4165-8CB5-288D6BC00EB7}"/>
              </c:ext>
            </c:extLst>
          </c:dPt>
          <c:dPt>
            <c:idx val="1"/>
            <c:bubble3D val="0"/>
            <c:spPr>
              <a:solidFill>
                <a:schemeClr val="accent2"/>
              </a:solidFill>
              <a:ln w="12700">
                <a:solidFill>
                  <a:schemeClr val="bg1"/>
                </a:solidFill>
              </a:ln>
            </c:spPr>
            <c:extLst>
              <c:ext xmlns:c16="http://schemas.microsoft.com/office/drawing/2014/chart" uri="{C3380CC4-5D6E-409C-BE32-E72D297353CC}">
                <c16:uniqueId val="{00000003-D28A-4165-8CB5-288D6BC00EB7}"/>
              </c:ext>
            </c:extLst>
          </c:dPt>
          <c:dPt>
            <c:idx val="2"/>
            <c:bubble3D val="0"/>
            <c:spPr>
              <a:solidFill>
                <a:srgbClr val="D6D8D7"/>
              </a:solidFill>
              <a:ln w="12700">
                <a:solidFill>
                  <a:schemeClr val="bg1"/>
                </a:solidFill>
              </a:ln>
            </c:spPr>
            <c:extLst>
              <c:ext xmlns:c16="http://schemas.microsoft.com/office/drawing/2014/chart" uri="{C3380CC4-5D6E-409C-BE32-E72D297353CC}">
                <c16:uniqueId val="{00000005-D28A-4165-8CB5-288D6BC00EB7}"/>
              </c:ext>
            </c:extLst>
          </c:dPt>
          <c:dPt>
            <c:idx val="3"/>
            <c:bubble3D val="0"/>
            <c:spPr>
              <a:solidFill>
                <a:schemeClr val="accent4"/>
              </a:solidFill>
              <a:ln w="12700">
                <a:solidFill>
                  <a:schemeClr val="bg1"/>
                </a:solidFill>
              </a:ln>
            </c:spPr>
            <c:extLst>
              <c:ext xmlns:c16="http://schemas.microsoft.com/office/drawing/2014/chart" uri="{C3380CC4-5D6E-409C-BE32-E72D297353CC}">
                <c16:uniqueId val="{00000007-D28A-4165-8CB5-288D6BC00EB7}"/>
              </c:ext>
            </c:extLst>
          </c:dPt>
          <c:dLbls>
            <c:dLbl>
              <c:idx val="0"/>
              <c:layout>
                <c:manualLayout>
                  <c:x val="-6.1582110730440301E-2"/>
                  <c:y val="9.4921324666263004E-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D28A-4165-8CB5-288D6BC00EB7}"/>
                </c:ext>
              </c:extLst>
            </c:dLbl>
            <c:dLbl>
              <c:idx val="1"/>
              <c:layout>
                <c:manualLayout>
                  <c:x val="-0.16805948096256201"/>
                  <c:y val="-0.19211702451482901"/>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D28A-4165-8CB5-288D6BC00EB7}"/>
                </c:ext>
              </c:extLst>
            </c:dLbl>
            <c:dLbl>
              <c:idx val="2"/>
              <c:layout>
                <c:manualLayout>
                  <c:x val="0.16947262748476299"/>
                  <c:y val="5.4260910677870602E-2"/>
                </c:manualLayout>
              </c:layout>
              <c:spPr/>
              <c:txPr>
                <a:bodyPr/>
                <a:lstStyle/>
                <a:p>
                  <a:pPr>
                    <a:defRPr sz="1100">
                      <a:solidFill>
                        <a:srgbClr val="313131"/>
                      </a:solidFill>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D28A-4165-8CB5-288D6BC00EB7}"/>
                </c:ext>
              </c:extLst>
            </c:dLbl>
            <c:dLbl>
              <c:idx val="3"/>
              <c:layout>
                <c:manualLayout>
                  <c:x val="-0.165118180213495"/>
                  <c:y val="0.17755250794506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D28A-4165-8CB5-288D6BC00EB7}"/>
                </c:ext>
              </c:extLst>
            </c:dLbl>
            <c:spPr>
              <a:noFill/>
              <a:ln>
                <a:noFill/>
              </a:ln>
              <a:effectLst/>
            </c:spPr>
            <c:txPr>
              <a:bodyPr/>
              <a:lstStyle/>
              <a:p>
                <a:pPr>
                  <a:defRPr sz="1100">
                    <a:solidFill>
                      <a:schemeClr val="bg1"/>
                    </a:solidFill>
                  </a:defRPr>
                </a:pPr>
                <a:endParaRPr lang="en-US"/>
              </a:p>
            </c:txPr>
            <c:dLblPos val="bestFit"/>
            <c:showLegendKey val="0"/>
            <c:showVal val="0"/>
            <c:showCatName val="1"/>
            <c:showSerName val="0"/>
            <c:showPercent val="1"/>
            <c:showBubbleSize val="0"/>
            <c:showLeaderLines val="0"/>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20.399999999999999</c:v>
                </c:pt>
                <c:pt idx="1">
                  <c:v>27.4</c:v>
                </c:pt>
                <c:pt idx="2">
                  <c:v>90</c:v>
                </c:pt>
                <c:pt idx="3">
                  <c:v>20.399999999999999</c:v>
                </c:pt>
              </c:numCache>
            </c:numRef>
          </c:val>
          <c:extLst>
            <c:ext xmlns:c16="http://schemas.microsoft.com/office/drawing/2014/chart" uri="{C3380CC4-5D6E-409C-BE32-E72D297353CC}">
              <c16:uniqueId val="{00000008-D28A-4165-8CB5-288D6BC00EB7}"/>
            </c:ext>
          </c:extLst>
        </c:ser>
        <c:dLbls>
          <c:showLegendKey val="0"/>
          <c:showVal val="1"/>
          <c:showCatName val="0"/>
          <c:showSerName val="0"/>
          <c:showPercent val="0"/>
          <c:showBubbleSize val="0"/>
          <c:showLeaderLines val="0"/>
        </c:dLbls>
        <c:firstSliceAng val="64"/>
      </c:pieChart>
    </c:plotArea>
    <c:plotVisOnly val="1"/>
    <c:dispBlanksAs val="zero"/>
    <c:showDLblsOverMax val="0"/>
  </c:chart>
  <c:txPr>
    <a:bodyPr/>
    <a:lstStyle/>
    <a:p>
      <a:pPr>
        <a:defRPr sz="12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284331032632494E-2"/>
          <c:y val="4.6153842659460598E-2"/>
          <c:w val="0.88414094578388602"/>
          <c:h val="0.86692770541128905"/>
        </c:manualLayout>
      </c:layout>
      <c:pieChart>
        <c:varyColors val="1"/>
        <c:ser>
          <c:idx val="0"/>
          <c:order val="0"/>
          <c:tx>
            <c:strRef>
              <c:f>Sheet1!$B$1</c:f>
              <c:strCache>
                <c:ptCount val="1"/>
                <c:pt idx="0">
                  <c:v>Q1</c:v>
                </c:pt>
              </c:strCache>
            </c:strRef>
          </c:tx>
          <c:spPr>
            <a:solidFill>
              <a:schemeClr val="accent1"/>
            </a:solidFill>
            <a:ln w="12700">
              <a:solidFill>
                <a:schemeClr val="bg1"/>
              </a:solidFill>
            </a:ln>
          </c:spPr>
          <c:dPt>
            <c:idx val="0"/>
            <c:bubble3D val="0"/>
            <c:spPr>
              <a:solidFill>
                <a:srgbClr val="B4B4B4"/>
              </a:solidFill>
              <a:ln w="12700">
                <a:solidFill>
                  <a:schemeClr val="bg1"/>
                </a:solidFill>
              </a:ln>
            </c:spPr>
            <c:extLst>
              <c:ext xmlns:c16="http://schemas.microsoft.com/office/drawing/2014/chart" uri="{C3380CC4-5D6E-409C-BE32-E72D297353CC}">
                <c16:uniqueId val="{00000001-31E8-4166-BC15-FA55B8E49611}"/>
              </c:ext>
            </c:extLst>
          </c:dPt>
          <c:dPt>
            <c:idx val="1"/>
            <c:bubble3D val="0"/>
            <c:spPr>
              <a:solidFill>
                <a:srgbClr val="575757"/>
              </a:solidFill>
              <a:ln w="12700">
                <a:solidFill>
                  <a:schemeClr val="bg1"/>
                </a:solidFill>
              </a:ln>
            </c:spPr>
            <c:extLst>
              <c:ext xmlns:c16="http://schemas.microsoft.com/office/drawing/2014/chart" uri="{C3380CC4-5D6E-409C-BE32-E72D297353CC}">
                <c16:uniqueId val="{00000003-31E8-4166-BC15-FA55B8E49611}"/>
              </c:ext>
            </c:extLst>
          </c:dPt>
          <c:dPt>
            <c:idx val="3"/>
            <c:bubble3D val="0"/>
            <c:spPr>
              <a:solidFill>
                <a:srgbClr val="002776"/>
              </a:solidFill>
              <a:ln w="12700">
                <a:solidFill>
                  <a:schemeClr val="bg1"/>
                </a:solidFill>
              </a:ln>
            </c:spPr>
            <c:extLst>
              <c:ext xmlns:c16="http://schemas.microsoft.com/office/drawing/2014/chart" uri="{C3380CC4-5D6E-409C-BE32-E72D297353CC}">
                <c16:uniqueId val="{00000005-31E8-4166-BC15-FA55B8E49611}"/>
              </c:ext>
            </c:extLst>
          </c:dPt>
          <c:dLbls>
            <c:dLbl>
              <c:idx val="0"/>
              <c:layout>
                <c:manualLayout>
                  <c:x val="-7.0237505392583499E-2"/>
                  <c:y val="1.7562701009583601E-2"/>
                </c:manualLayout>
              </c:layout>
              <c:spPr/>
              <c:txPr>
                <a:bodyPr/>
                <a:lstStyle/>
                <a:p>
                  <a:pPr>
                    <a:defRPr sz="1100">
                      <a:solidFill>
                        <a:srgbClr val="313131"/>
                      </a:solidFill>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31E8-4166-BC15-FA55B8E49611}"/>
                </c:ext>
              </c:extLst>
            </c:dLbl>
            <c:dLbl>
              <c:idx val="1"/>
              <c:layout>
                <c:manualLayout>
                  <c:x val="-0.18537027028684799"/>
                  <c:y val="-0.19211702451482901"/>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1E8-4166-BC15-FA55B8E49611}"/>
                </c:ext>
              </c:extLst>
            </c:dLbl>
            <c:dLbl>
              <c:idx val="2"/>
              <c:layout>
                <c:manualLayout>
                  <c:x val="0.190570151973737"/>
                  <c:y val="5.2243268542131203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6-31E8-4166-BC15-FA55B8E49611}"/>
                </c:ext>
              </c:extLst>
            </c:dLbl>
            <c:dLbl>
              <c:idx val="3"/>
              <c:layout>
                <c:manualLayout>
                  <c:x val="-0.17377357487563799"/>
                  <c:y val="0.17351722367358299"/>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31E8-4166-BC15-FA55B8E49611}"/>
                </c:ext>
              </c:extLst>
            </c:dLbl>
            <c:spPr>
              <a:noFill/>
              <a:ln>
                <a:noFill/>
              </a:ln>
              <a:effectLst/>
            </c:spPr>
            <c:txPr>
              <a:bodyPr/>
              <a:lstStyle/>
              <a:p>
                <a:pPr>
                  <a:defRPr sz="1100">
                    <a:solidFill>
                      <a:schemeClr val="bg1"/>
                    </a:solidFill>
                  </a:defRPr>
                </a:pPr>
                <a:endParaRPr lang="en-US"/>
              </a:p>
            </c:txPr>
            <c:dLblPos val="bestFit"/>
            <c:showLegendKey val="0"/>
            <c:showVal val="0"/>
            <c:showCatName val="1"/>
            <c:showSerName val="0"/>
            <c:showPercent val="1"/>
            <c:showBubbleSize val="0"/>
            <c:showLeaderLines val="0"/>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20.399999999999999</c:v>
                </c:pt>
                <c:pt idx="1">
                  <c:v>27.4</c:v>
                </c:pt>
                <c:pt idx="2">
                  <c:v>90</c:v>
                </c:pt>
                <c:pt idx="3">
                  <c:v>20.399999999999999</c:v>
                </c:pt>
              </c:numCache>
            </c:numRef>
          </c:val>
          <c:extLst>
            <c:ext xmlns:c16="http://schemas.microsoft.com/office/drawing/2014/chart" uri="{C3380CC4-5D6E-409C-BE32-E72D297353CC}">
              <c16:uniqueId val="{00000007-31E8-4166-BC15-FA55B8E49611}"/>
            </c:ext>
          </c:extLst>
        </c:ser>
        <c:dLbls>
          <c:showLegendKey val="0"/>
          <c:showVal val="1"/>
          <c:showCatName val="0"/>
          <c:showSerName val="0"/>
          <c:showPercent val="0"/>
          <c:showBubbleSize val="0"/>
          <c:showLeaderLines val="0"/>
        </c:dLbls>
        <c:firstSliceAng val="64"/>
      </c:pieChart>
    </c:plotArea>
    <c:plotVisOnly val="1"/>
    <c:dispBlanksAs val="zero"/>
    <c:showDLblsOverMax val="0"/>
  </c:chart>
  <c:txPr>
    <a:bodyPr/>
    <a:lstStyle/>
    <a:p>
      <a:pPr>
        <a:defRPr sz="12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284331032632494E-2"/>
          <c:y val="4.6153842659460598E-2"/>
          <c:w val="0.88414094578388602"/>
          <c:h val="0.86692770541128905"/>
        </c:manualLayout>
      </c:layout>
      <c:pieChart>
        <c:varyColors val="1"/>
        <c:ser>
          <c:idx val="0"/>
          <c:order val="0"/>
          <c:tx>
            <c:strRef>
              <c:f>Sheet1!$B$1</c:f>
              <c:strCache>
                <c:ptCount val="1"/>
                <c:pt idx="0">
                  <c:v>Q1</c:v>
                </c:pt>
              </c:strCache>
            </c:strRef>
          </c:tx>
          <c:spPr>
            <a:ln w="12700">
              <a:solidFill>
                <a:schemeClr val="bg1"/>
              </a:solidFill>
            </a:ln>
          </c:spPr>
          <c:dPt>
            <c:idx val="0"/>
            <c:bubble3D val="0"/>
            <c:spPr>
              <a:solidFill>
                <a:srgbClr val="81BC00"/>
              </a:solidFill>
              <a:ln w="12700">
                <a:solidFill>
                  <a:schemeClr val="bg1"/>
                </a:solidFill>
              </a:ln>
            </c:spPr>
            <c:extLst>
              <c:ext xmlns:c16="http://schemas.microsoft.com/office/drawing/2014/chart" uri="{C3380CC4-5D6E-409C-BE32-E72D297353CC}">
                <c16:uniqueId val="{00000001-B4C5-49D7-82DE-A74B22F31F08}"/>
              </c:ext>
            </c:extLst>
          </c:dPt>
          <c:dPt>
            <c:idx val="1"/>
            <c:bubble3D val="0"/>
            <c:spPr>
              <a:solidFill>
                <a:srgbClr val="B4B4B4"/>
              </a:solidFill>
              <a:ln w="12700">
                <a:solidFill>
                  <a:schemeClr val="bg1"/>
                </a:solidFill>
              </a:ln>
            </c:spPr>
            <c:extLst>
              <c:ext xmlns:c16="http://schemas.microsoft.com/office/drawing/2014/chart" uri="{C3380CC4-5D6E-409C-BE32-E72D297353CC}">
                <c16:uniqueId val="{00000003-B4C5-49D7-82DE-A74B22F31F08}"/>
              </c:ext>
            </c:extLst>
          </c:dPt>
          <c:dPt>
            <c:idx val="2"/>
            <c:bubble3D val="0"/>
            <c:spPr>
              <a:solidFill>
                <a:srgbClr val="8C8C8C"/>
              </a:solidFill>
              <a:ln w="12700">
                <a:solidFill>
                  <a:schemeClr val="bg1"/>
                </a:solidFill>
              </a:ln>
            </c:spPr>
            <c:extLst>
              <c:ext xmlns:c16="http://schemas.microsoft.com/office/drawing/2014/chart" uri="{C3380CC4-5D6E-409C-BE32-E72D297353CC}">
                <c16:uniqueId val="{00000005-B4C5-49D7-82DE-A74B22F31F08}"/>
              </c:ext>
            </c:extLst>
          </c:dPt>
          <c:dPt>
            <c:idx val="3"/>
            <c:bubble3D val="0"/>
            <c:spPr>
              <a:solidFill>
                <a:srgbClr val="575757"/>
              </a:solidFill>
              <a:ln w="12700">
                <a:solidFill>
                  <a:schemeClr val="bg1"/>
                </a:solidFill>
              </a:ln>
            </c:spPr>
            <c:extLst>
              <c:ext xmlns:c16="http://schemas.microsoft.com/office/drawing/2014/chart" uri="{C3380CC4-5D6E-409C-BE32-E72D297353CC}">
                <c16:uniqueId val="{00000007-B4C5-49D7-82DE-A74B22F31F08}"/>
              </c:ext>
            </c:extLst>
          </c:dPt>
          <c:dLbls>
            <c:dLbl>
              <c:idx val="1"/>
              <c:layout>
                <c:manualLayout>
                  <c:x val="-9.6945707897110305E-3"/>
                  <c:y val="-0.174382090059509"/>
                </c:manualLayout>
              </c:layout>
              <c:spPr/>
              <c:txPr>
                <a:bodyPr/>
                <a:lstStyle/>
                <a:p>
                  <a:pPr>
                    <a:defRPr sz="1100">
                      <a:solidFill>
                        <a:srgbClr val="313131"/>
                      </a:solidFill>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B4C5-49D7-82DE-A74B22F31F08}"/>
                </c:ext>
              </c:extLst>
            </c:dLbl>
            <c:dLbl>
              <c:idx val="2"/>
              <c:layout>
                <c:manualLayout>
                  <c:x val="0.12998539376398999"/>
                  <c:y val="4.5068505764125702E-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B4C5-49D7-82DE-A74B22F31F08}"/>
                </c:ext>
              </c:extLst>
            </c:dLbl>
            <c:spPr>
              <a:noFill/>
              <a:ln>
                <a:noFill/>
              </a:ln>
              <a:effectLst/>
            </c:spPr>
            <c:txPr>
              <a:bodyPr/>
              <a:lstStyle/>
              <a:p>
                <a:pPr>
                  <a:defRPr sz="1100">
                    <a:solidFill>
                      <a:schemeClr val="bg1"/>
                    </a:solidFill>
                  </a:defRPr>
                </a:pPr>
                <a:endParaRPr lang="en-US"/>
              </a:p>
            </c:txPr>
            <c:dLblPos val="bestFit"/>
            <c:showLegendKey val="0"/>
            <c:showVal val="0"/>
            <c:showCatName val="1"/>
            <c:showSerName val="0"/>
            <c:showPercent val="1"/>
            <c:showBubbleSize val="0"/>
            <c:showLeaderLines val="0"/>
            <c:extLst>
              <c:ext xmlns:c15="http://schemas.microsoft.com/office/drawing/2012/chart" uri="{CE6537A1-D6FC-4f65-9D91-7224C49458BB}"/>
            </c:extLst>
          </c:dLbls>
          <c:cat>
            <c:strRef>
              <c:f>Sheet1!$A$2:$A$5</c:f>
              <c:strCache>
                <c:ptCount val="4"/>
                <c:pt idx="0">
                  <c:v>West</c:v>
                </c:pt>
                <c:pt idx="1">
                  <c:v>North</c:v>
                </c:pt>
                <c:pt idx="2">
                  <c:v>South</c:v>
                </c:pt>
                <c:pt idx="3">
                  <c:v>East</c:v>
                </c:pt>
              </c:strCache>
            </c:strRef>
          </c:cat>
          <c:val>
            <c:numRef>
              <c:f>Sheet1!$B$2:$B$5</c:f>
              <c:numCache>
                <c:formatCode>General</c:formatCode>
                <c:ptCount val="4"/>
                <c:pt idx="0">
                  <c:v>10</c:v>
                </c:pt>
                <c:pt idx="1">
                  <c:v>10</c:v>
                </c:pt>
                <c:pt idx="2">
                  <c:v>10</c:v>
                </c:pt>
                <c:pt idx="3">
                  <c:v>10</c:v>
                </c:pt>
              </c:numCache>
            </c:numRef>
          </c:val>
          <c:extLst>
            <c:ext xmlns:c16="http://schemas.microsoft.com/office/drawing/2014/chart" uri="{C3380CC4-5D6E-409C-BE32-E72D297353CC}">
              <c16:uniqueId val="{00000008-B4C5-49D7-82DE-A74B22F31F08}"/>
            </c:ext>
          </c:extLst>
        </c:ser>
        <c:dLbls>
          <c:showLegendKey val="0"/>
          <c:showVal val="1"/>
          <c:showCatName val="0"/>
          <c:showSerName val="0"/>
          <c:showPercent val="0"/>
          <c:showBubbleSize val="0"/>
          <c:showLeaderLines val="0"/>
        </c:dLbls>
        <c:firstSliceAng val="44"/>
      </c:pieChart>
    </c:plotArea>
    <c:plotVisOnly val="1"/>
    <c:dispBlanksAs val="zero"/>
    <c:showDLblsOverMax val="0"/>
  </c:chart>
  <c:txPr>
    <a:bodyPr/>
    <a:lstStyle/>
    <a:p>
      <a:pPr>
        <a:defRPr sz="1200"/>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112675070028001"/>
          <c:y val="4.6153842659460598E-2"/>
          <c:w val="0.820984360410831"/>
          <c:h val="0.86692770541128905"/>
        </c:manualLayout>
      </c:layout>
      <c:barChart>
        <c:barDir val="col"/>
        <c:grouping val="stacked"/>
        <c:varyColors val="0"/>
        <c:ser>
          <c:idx val="0"/>
          <c:order val="0"/>
          <c:tx>
            <c:strRef>
              <c:f>Sheet1!$B$1</c:f>
              <c:strCache>
                <c:ptCount val="1"/>
                <c:pt idx="0">
                  <c:v>A</c:v>
                </c:pt>
              </c:strCache>
            </c:strRef>
          </c:tx>
          <c:spPr>
            <a:solidFill>
              <a:srgbClr val="575757"/>
            </a:solidFill>
            <a:ln>
              <a:solidFill>
                <a:schemeClr val="bg1"/>
              </a:solidFill>
            </a:ln>
          </c:spPr>
          <c:invertIfNegative val="0"/>
          <c:dLbls>
            <c:delete val="1"/>
          </c:dLbls>
          <c:cat>
            <c:strRef>
              <c:f>Sheet1!$A$2</c:f>
              <c:strCache>
                <c:ptCount val="1"/>
                <c:pt idx="0">
                  <c:v>West</c:v>
                </c:pt>
              </c:strCache>
            </c:strRef>
          </c:cat>
          <c:val>
            <c:numRef>
              <c:f>Sheet1!$B$2</c:f>
              <c:numCache>
                <c:formatCode>General</c:formatCode>
                <c:ptCount val="1"/>
                <c:pt idx="0">
                  <c:v>45.9</c:v>
                </c:pt>
              </c:numCache>
            </c:numRef>
          </c:val>
          <c:extLst>
            <c:ext xmlns:c16="http://schemas.microsoft.com/office/drawing/2014/chart" uri="{C3380CC4-5D6E-409C-BE32-E72D297353CC}">
              <c16:uniqueId val="{00000000-1D66-44B7-ADF9-F055D5DDA231}"/>
            </c:ext>
          </c:extLst>
        </c:ser>
        <c:ser>
          <c:idx val="1"/>
          <c:order val="1"/>
          <c:tx>
            <c:strRef>
              <c:f>Sheet1!$C$1</c:f>
              <c:strCache>
                <c:ptCount val="1"/>
                <c:pt idx="0">
                  <c:v>B</c:v>
                </c:pt>
              </c:strCache>
            </c:strRef>
          </c:tx>
          <c:spPr>
            <a:solidFill>
              <a:srgbClr val="B4B4B4"/>
            </a:solidFill>
            <a:ln>
              <a:solidFill>
                <a:schemeClr val="bg1"/>
              </a:solidFill>
            </a:ln>
          </c:spPr>
          <c:invertIfNegative val="0"/>
          <c:dLbls>
            <c:delete val="1"/>
          </c:dLbls>
          <c:cat>
            <c:strRef>
              <c:f>Sheet1!$A$2</c:f>
              <c:strCache>
                <c:ptCount val="1"/>
                <c:pt idx="0">
                  <c:v>West</c:v>
                </c:pt>
              </c:strCache>
            </c:strRef>
          </c:cat>
          <c:val>
            <c:numRef>
              <c:f>Sheet1!$C$2</c:f>
              <c:numCache>
                <c:formatCode>General</c:formatCode>
                <c:ptCount val="1"/>
                <c:pt idx="0">
                  <c:v>46.9</c:v>
                </c:pt>
              </c:numCache>
            </c:numRef>
          </c:val>
          <c:extLst>
            <c:ext xmlns:c16="http://schemas.microsoft.com/office/drawing/2014/chart" uri="{C3380CC4-5D6E-409C-BE32-E72D297353CC}">
              <c16:uniqueId val="{00000001-1D66-44B7-ADF9-F055D5DDA231}"/>
            </c:ext>
          </c:extLst>
        </c:ser>
        <c:ser>
          <c:idx val="2"/>
          <c:order val="2"/>
          <c:tx>
            <c:strRef>
              <c:f>Sheet1!$D$1</c:f>
              <c:strCache>
                <c:ptCount val="1"/>
                <c:pt idx="0">
                  <c:v>C</c:v>
                </c:pt>
              </c:strCache>
            </c:strRef>
          </c:tx>
          <c:spPr>
            <a:solidFill>
              <a:srgbClr val="DCDCDC"/>
            </a:solidFill>
            <a:ln>
              <a:solidFill>
                <a:schemeClr val="bg1"/>
              </a:solidFill>
            </a:ln>
          </c:spPr>
          <c:invertIfNegative val="0"/>
          <c:dLbls>
            <c:delete val="1"/>
          </c:dLbls>
          <c:cat>
            <c:strRef>
              <c:f>Sheet1!$A$2</c:f>
              <c:strCache>
                <c:ptCount val="1"/>
                <c:pt idx="0">
                  <c:v>West</c:v>
                </c:pt>
              </c:strCache>
            </c:strRef>
          </c:cat>
          <c:val>
            <c:numRef>
              <c:f>Sheet1!$D$2</c:f>
              <c:numCache>
                <c:formatCode>General</c:formatCode>
                <c:ptCount val="1"/>
                <c:pt idx="0">
                  <c:v>45</c:v>
                </c:pt>
              </c:numCache>
            </c:numRef>
          </c:val>
          <c:extLst>
            <c:ext xmlns:c16="http://schemas.microsoft.com/office/drawing/2014/chart" uri="{C3380CC4-5D6E-409C-BE32-E72D297353CC}">
              <c16:uniqueId val="{00000002-1D66-44B7-ADF9-F055D5DDA231}"/>
            </c:ext>
          </c:extLst>
        </c:ser>
        <c:ser>
          <c:idx val="3"/>
          <c:order val="3"/>
          <c:tx>
            <c:strRef>
              <c:f>Sheet1!$E$1</c:f>
              <c:strCache>
                <c:ptCount val="1"/>
                <c:pt idx="0">
                  <c:v>D</c:v>
                </c:pt>
              </c:strCache>
            </c:strRef>
          </c:tx>
          <c:spPr>
            <a:solidFill>
              <a:srgbClr val="81BC00"/>
            </a:solidFill>
            <a:ln>
              <a:solidFill>
                <a:schemeClr val="bg1"/>
              </a:solidFill>
            </a:ln>
          </c:spPr>
          <c:invertIfNegative val="0"/>
          <c:dLbls>
            <c:delete val="1"/>
          </c:dLbls>
          <c:cat>
            <c:strRef>
              <c:f>Sheet1!$A$2</c:f>
              <c:strCache>
                <c:ptCount val="1"/>
                <c:pt idx="0">
                  <c:v>West</c:v>
                </c:pt>
              </c:strCache>
            </c:strRef>
          </c:cat>
          <c:val>
            <c:numRef>
              <c:f>Sheet1!$E$2</c:f>
              <c:numCache>
                <c:formatCode>General</c:formatCode>
                <c:ptCount val="1"/>
                <c:pt idx="0">
                  <c:v>43.9</c:v>
                </c:pt>
              </c:numCache>
            </c:numRef>
          </c:val>
          <c:extLst>
            <c:ext xmlns:c16="http://schemas.microsoft.com/office/drawing/2014/chart" uri="{C3380CC4-5D6E-409C-BE32-E72D297353CC}">
              <c16:uniqueId val="{00000003-1D66-44B7-ADF9-F055D5DDA231}"/>
            </c:ext>
          </c:extLst>
        </c:ser>
        <c:dLbls>
          <c:showLegendKey val="0"/>
          <c:showVal val="1"/>
          <c:showCatName val="0"/>
          <c:showSerName val="0"/>
          <c:showPercent val="0"/>
          <c:showBubbleSize val="0"/>
        </c:dLbls>
        <c:gapWidth val="150"/>
        <c:overlap val="100"/>
        <c:axId val="1030095424"/>
        <c:axId val="1030095984"/>
      </c:barChart>
      <c:catAx>
        <c:axId val="1030095424"/>
        <c:scaling>
          <c:orientation val="minMax"/>
        </c:scaling>
        <c:delete val="0"/>
        <c:axPos val="b"/>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030095984"/>
        <c:crosses val="autoZero"/>
        <c:auto val="1"/>
        <c:lblAlgn val="ctr"/>
        <c:lblOffset val="100"/>
        <c:noMultiLvlLbl val="0"/>
      </c:catAx>
      <c:valAx>
        <c:axId val="1030095984"/>
        <c:scaling>
          <c:orientation val="minMax"/>
        </c:scaling>
        <c:delete val="0"/>
        <c:axPos val="l"/>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030095424"/>
        <c:crosses val="autoZero"/>
        <c:crossBetween val="between"/>
        <c:majorUnit val="50"/>
      </c:valAx>
      <c:spPr>
        <a:ln>
          <a:solidFill>
            <a:schemeClr val="bg1"/>
          </a:solidFill>
        </a:ln>
      </c:spPr>
    </c:plotArea>
    <c:plotVisOnly val="1"/>
    <c:dispBlanksAs val="gap"/>
    <c:showDLblsOverMax val="0"/>
  </c:chart>
  <c:txPr>
    <a:bodyPr/>
    <a:lstStyle/>
    <a:p>
      <a:pPr>
        <a:defRPr sz="12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284331032632494E-2"/>
          <c:y val="4.6153842659460598E-2"/>
          <c:w val="0.88414094578388602"/>
          <c:h val="0.86692770541128905"/>
        </c:manualLayout>
      </c:layout>
      <c:barChart>
        <c:barDir val="bar"/>
        <c:grouping val="clustered"/>
        <c:varyColors val="0"/>
        <c:ser>
          <c:idx val="0"/>
          <c:order val="0"/>
          <c:tx>
            <c:strRef>
              <c:f>Sheet1!$B$1</c:f>
              <c:strCache>
                <c:ptCount val="1"/>
                <c:pt idx="0">
                  <c:v>Label 1</c:v>
                </c:pt>
              </c:strCache>
            </c:strRef>
          </c:tx>
          <c:spPr>
            <a:solidFill>
              <a:schemeClr val="accent2"/>
            </a:solidFill>
            <a:ln>
              <a:solidFill>
                <a:schemeClr val="bg1"/>
              </a:solidFill>
            </a:ln>
          </c:spPr>
          <c:invertIfNegative val="0"/>
          <c:dLbls>
            <c:delete val="1"/>
          </c:dLbls>
          <c:cat>
            <c:strRef>
              <c:f>Sheet1!$A$2:$A$4</c:f>
              <c:strCache>
                <c:ptCount val="3"/>
                <c:pt idx="0">
                  <c:v>East</c:v>
                </c:pt>
                <c:pt idx="1">
                  <c:v>West</c:v>
                </c:pt>
                <c:pt idx="2">
                  <c:v>North</c:v>
                </c:pt>
              </c:strCache>
            </c:strRef>
          </c:cat>
          <c:val>
            <c:numRef>
              <c:f>Sheet1!$B$2:$B$4</c:f>
              <c:numCache>
                <c:formatCode>General</c:formatCode>
                <c:ptCount val="3"/>
                <c:pt idx="0">
                  <c:v>41.1</c:v>
                </c:pt>
                <c:pt idx="1">
                  <c:v>34.299999999999997</c:v>
                </c:pt>
                <c:pt idx="2">
                  <c:v>32.200000000000003</c:v>
                </c:pt>
              </c:numCache>
            </c:numRef>
          </c:val>
          <c:extLst>
            <c:ext xmlns:c16="http://schemas.microsoft.com/office/drawing/2014/chart" uri="{C3380CC4-5D6E-409C-BE32-E72D297353CC}">
              <c16:uniqueId val="{00000000-69BD-4255-912A-9F138C3BBB2E}"/>
            </c:ext>
          </c:extLst>
        </c:ser>
        <c:ser>
          <c:idx val="1"/>
          <c:order val="1"/>
          <c:tx>
            <c:strRef>
              <c:f>Sheet1!$C$1</c:f>
              <c:strCache>
                <c:ptCount val="1"/>
                <c:pt idx="0">
                  <c:v>Label 2</c:v>
                </c:pt>
              </c:strCache>
            </c:strRef>
          </c:tx>
          <c:spPr>
            <a:solidFill>
              <a:srgbClr val="B4B4B4"/>
            </a:solidFill>
            <a:ln>
              <a:solidFill>
                <a:schemeClr val="bg1"/>
              </a:solidFill>
            </a:ln>
          </c:spPr>
          <c:invertIfNegative val="0"/>
          <c:dLbls>
            <c:delete val="1"/>
          </c:dLbls>
          <c:cat>
            <c:strRef>
              <c:f>Sheet1!$A$2:$A$4</c:f>
              <c:strCache>
                <c:ptCount val="3"/>
                <c:pt idx="0">
                  <c:v>East</c:v>
                </c:pt>
                <c:pt idx="1">
                  <c:v>West</c:v>
                </c:pt>
                <c:pt idx="2">
                  <c:v>North</c:v>
                </c:pt>
              </c:strCache>
            </c:strRef>
          </c:cat>
          <c:val>
            <c:numRef>
              <c:f>Sheet1!$C$2:$C$4</c:f>
              <c:numCache>
                <c:formatCode>General</c:formatCode>
                <c:ptCount val="3"/>
                <c:pt idx="0">
                  <c:v>40.299999999999997</c:v>
                </c:pt>
                <c:pt idx="1">
                  <c:v>33.6</c:v>
                </c:pt>
                <c:pt idx="2">
                  <c:v>30.4</c:v>
                </c:pt>
              </c:numCache>
            </c:numRef>
          </c:val>
          <c:extLst>
            <c:ext xmlns:c16="http://schemas.microsoft.com/office/drawing/2014/chart" uri="{C3380CC4-5D6E-409C-BE32-E72D297353CC}">
              <c16:uniqueId val="{00000001-69BD-4255-912A-9F138C3BBB2E}"/>
            </c:ext>
          </c:extLst>
        </c:ser>
        <c:dLbls>
          <c:showLegendKey val="0"/>
          <c:showVal val="1"/>
          <c:showCatName val="0"/>
          <c:showSerName val="0"/>
          <c:showPercent val="0"/>
          <c:showBubbleSize val="0"/>
        </c:dLbls>
        <c:gapWidth val="150"/>
        <c:axId val="1566336000"/>
        <c:axId val="1566336560"/>
      </c:barChart>
      <c:catAx>
        <c:axId val="1566336000"/>
        <c:scaling>
          <c:orientation val="minMax"/>
        </c:scaling>
        <c:delete val="0"/>
        <c:axPos val="l"/>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566336560"/>
        <c:crosses val="autoZero"/>
        <c:auto val="1"/>
        <c:lblAlgn val="ctr"/>
        <c:lblOffset val="100"/>
        <c:noMultiLvlLbl val="0"/>
      </c:catAx>
      <c:valAx>
        <c:axId val="1566336560"/>
        <c:scaling>
          <c:orientation val="minMax"/>
        </c:scaling>
        <c:delete val="0"/>
        <c:axPos val="b"/>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566336000"/>
        <c:crosses val="autoZero"/>
        <c:crossBetween val="between"/>
      </c:valAx>
    </c:plotArea>
    <c:legend>
      <c:legendPos val="r"/>
      <c:layout>
        <c:manualLayout>
          <c:xMode val="edge"/>
          <c:yMode val="edge"/>
          <c:x val="0.85810843986706986"/>
          <c:y val="3.08383855343266E-2"/>
          <c:w val="9.9306008802131668E-2"/>
          <c:h val="0.129864707905995"/>
        </c:manualLayout>
      </c:layout>
      <c:overlay val="1"/>
      <c:txPr>
        <a:bodyPr/>
        <a:lstStyle/>
        <a:p>
          <a:pPr>
            <a:defRPr sz="1000">
              <a:solidFill>
                <a:srgbClr val="313131"/>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284331032632494E-2"/>
          <c:y val="4.6153842659460598E-2"/>
          <c:w val="0.88414094578388602"/>
          <c:h val="0.86692770541128905"/>
        </c:manualLayout>
      </c:layout>
      <c:pieChart>
        <c:varyColors val="1"/>
        <c:ser>
          <c:idx val="0"/>
          <c:order val="0"/>
          <c:tx>
            <c:strRef>
              <c:f>Sheet1!$B$1</c:f>
              <c:strCache>
                <c:ptCount val="1"/>
                <c:pt idx="0">
                  <c:v>Q1</c:v>
                </c:pt>
              </c:strCache>
            </c:strRef>
          </c:tx>
          <c:spPr>
            <a:ln w="12700">
              <a:solidFill>
                <a:schemeClr val="bg1"/>
              </a:solidFill>
            </a:ln>
          </c:spPr>
          <c:dPt>
            <c:idx val="0"/>
            <c:bubble3D val="0"/>
            <c:explosion val="11"/>
            <c:spPr>
              <a:solidFill>
                <a:srgbClr val="81BC00"/>
              </a:solidFill>
              <a:ln w="12700">
                <a:solidFill>
                  <a:schemeClr val="bg1"/>
                </a:solidFill>
              </a:ln>
            </c:spPr>
            <c:extLst>
              <c:ext xmlns:c16="http://schemas.microsoft.com/office/drawing/2014/chart" uri="{C3380CC4-5D6E-409C-BE32-E72D297353CC}">
                <c16:uniqueId val="{00000001-245F-45D8-A4F0-C7219F835EC9}"/>
              </c:ext>
            </c:extLst>
          </c:dPt>
          <c:dPt>
            <c:idx val="1"/>
            <c:bubble3D val="0"/>
            <c:spPr>
              <a:solidFill>
                <a:srgbClr val="DCDCDC"/>
              </a:solidFill>
              <a:ln w="12700">
                <a:solidFill>
                  <a:schemeClr val="bg1"/>
                </a:solidFill>
              </a:ln>
            </c:spPr>
            <c:extLst>
              <c:ext xmlns:c16="http://schemas.microsoft.com/office/drawing/2014/chart" uri="{C3380CC4-5D6E-409C-BE32-E72D297353CC}">
                <c16:uniqueId val="{00000003-245F-45D8-A4F0-C7219F835EC9}"/>
              </c:ext>
            </c:extLst>
          </c:dPt>
          <c:dPt>
            <c:idx val="2"/>
            <c:bubble3D val="0"/>
            <c:spPr>
              <a:solidFill>
                <a:srgbClr val="8C8C8C"/>
              </a:solidFill>
              <a:ln w="12700">
                <a:solidFill>
                  <a:schemeClr val="bg1"/>
                </a:solidFill>
              </a:ln>
            </c:spPr>
            <c:extLst>
              <c:ext xmlns:c16="http://schemas.microsoft.com/office/drawing/2014/chart" uri="{C3380CC4-5D6E-409C-BE32-E72D297353CC}">
                <c16:uniqueId val="{00000005-245F-45D8-A4F0-C7219F835EC9}"/>
              </c:ext>
            </c:extLst>
          </c:dPt>
          <c:dPt>
            <c:idx val="3"/>
            <c:bubble3D val="0"/>
            <c:spPr>
              <a:solidFill>
                <a:srgbClr val="575757"/>
              </a:solidFill>
              <a:ln w="12700">
                <a:solidFill>
                  <a:schemeClr val="bg1"/>
                </a:solidFill>
              </a:ln>
            </c:spPr>
            <c:extLst>
              <c:ext xmlns:c16="http://schemas.microsoft.com/office/drawing/2014/chart" uri="{C3380CC4-5D6E-409C-BE32-E72D297353CC}">
                <c16:uniqueId val="{00000007-245F-45D8-A4F0-C7219F835EC9}"/>
              </c:ext>
            </c:extLst>
          </c:dPt>
          <c:dLbls>
            <c:dLbl>
              <c:idx val="0"/>
              <c:layout>
                <c:manualLayout>
                  <c:x val="-4.1381315571571597E-2"/>
                  <c:y val="-2.86973019654852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245F-45D8-A4F0-C7219F835EC9}"/>
                </c:ext>
              </c:extLst>
            </c:dLbl>
            <c:dLbl>
              <c:idx val="1"/>
              <c:layout>
                <c:manualLayout>
                  <c:x val="9.0446521557911899E-2"/>
                  <c:y val="-0.18411005526709401"/>
                </c:manualLayout>
              </c:layout>
              <c:spPr/>
              <c:txPr>
                <a:bodyPr/>
                <a:lstStyle/>
                <a:p>
                  <a:pPr>
                    <a:defRPr sz="1100">
                      <a:solidFill>
                        <a:srgbClr val="313131"/>
                      </a:solidFill>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245F-45D8-A4F0-C7219F835EC9}"/>
                </c:ext>
              </c:extLst>
            </c:dLbl>
            <c:dLbl>
              <c:idx val="2"/>
              <c:layout>
                <c:manualLayout>
                  <c:x val="0.167584735285774"/>
                  <c:y val="1.82251760350093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245F-45D8-A4F0-C7219F835EC9}"/>
                </c:ext>
              </c:extLst>
            </c:dLbl>
            <c:dLbl>
              <c:idx val="3"/>
              <c:layout>
                <c:manualLayout>
                  <c:x val="2.5782638780185201E-2"/>
                  <c:y val="0.12933853060802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245F-45D8-A4F0-C7219F835EC9}"/>
                </c:ext>
              </c:extLst>
            </c:dLbl>
            <c:spPr>
              <a:noFill/>
              <a:ln>
                <a:noFill/>
              </a:ln>
              <a:effectLst/>
            </c:spPr>
            <c:txPr>
              <a:bodyPr/>
              <a:lstStyle/>
              <a:p>
                <a:pPr>
                  <a:defRPr sz="1100">
                    <a:solidFill>
                      <a:schemeClr val="bg1"/>
                    </a:solidFill>
                  </a:defRPr>
                </a:pPr>
                <a:endParaRPr lang="en-US"/>
              </a:p>
            </c:txPr>
            <c:dLblPos val="bestFit"/>
            <c:showLegendKey val="0"/>
            <c:showVal val="0"/>
            <c:showCatName val="1"/>
            <c:showSerName val="0"/>
            <c:showPercent val="1"/>
            <c:showBubbleSize val="0"/>
            <c:showLeaderLines val="0"/>
            <c:extLst>
              <c:ext xmlns:c15="http://schemas.microsoft.com/office/drawing/2012/chart" uri="{CE6537A1-D6FC-4f65-9D91-7224C49458BB}"/>
            </c:extLst>
          </c:dLbls>
          <c:cat>
            <c:strRef>
              <c:f>Sheet1!$A$2:$A$5</c:f>
              <c:strCache>
                <c:ptCount val="4"/>
                <c:pt idx="0">
                  <c:v>A</c:v>
                </c:pt>
                <c:pt idx="1">
                  <c:v>B</c:v>
                </c:pt>
                <c:pt idx="2">
                  <c:v>C</c:v>
                </c:pt>
                <c:pt idx="3">
                  <c:v>D</c:v>
                </c:pt>
              </c:strCache>
            </c:strRef>
          </c:cat>
          <c:val>
            <c:numRef>
              <c:f>Sheet1!$B$2:$B$5</c:f>
              <c:numCache>
                <c:formatCode>General</c:formatCode>
                <c:ptCount val="4"/>
                <c:pt idx="0">
                  <c:v>0.34</c:v>
                </c:pt>
                <c:pt idx="1">
                  <c:v>0.25</c:v>
                </c:pt>
                <c:pt idx="2">
                  <c:v>0.23</c:v>
                </c:pt>
                <c:pt idx="3">
                  <c:v>0.18</c:v>
                </c:pt>
              </c:numCache>
            </c:numRef>
          </c:val>
          <c:extLst>
            <c:ext xmlns:c16="http://schemas.microsoft.com/office/drawing/2014/chart" uri="{C3380CC4-5D6E-409C-BE32-E72D297353CC}">
              <c16:uniqueId val="{00000008-245F-45D8-A4F0-C7219F835EC9}"/>
            </c:ext>
          </c:extLst>
        </c:ser>
        <c:dLbls>
          <c:showLegendKey val="0"/>
          <c:showVal val="1"/>
          <c:showCatName val="0"/>
          <c:showSerName val="0"/>
          <c:showPercent val="0"/>
          <c:showBubbleSize val="0"/>
          <c:showLeaderLines val="0"/>
        </c:dLbls>
        <c:firstSliceAng val="28"/>
      </c:pieChart>
    </c:plotArea>
    <c:plotVisOnly val="1"/>
    <c:dispBlanksAs val="zero"/>
    <c:showDLblsOverMax val="0"/>
  </c:chart>
  <c:txPr>
    <a:bodyPr/>
    <a:lstStyle/>
    <a:p>
      <a:pPr>
        <a:defRPr sz="12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112675070028001"/>
          <c:y val="4.6153842659460598E-2"/>
          <c:w val="0.820984360410831"/>
          <c:h val="0.86692770541128905"/>
        </c:manualLayout>
      </c:layout>
      <c:barChart>
        <c:barDir val="col"/>
        <c:grouping val="percentStacked"/>
        <c:varyColors val="0"/>
        <c:ser>
          <c:idx val="0"/>
          <c:order val="0"/>
          <c:tx>
            <c:strRef>
              <c:f>Sheet1!$B$1</c:f>
              <c:strCache>
                <c:ptCount val="1"/>
                <c:pt idx="0">
                  <c:v>A</c:v>
                </c:pt>
              </c:strCache>
            </c:strRef>
          </c:tx>
          <c:spPr>
            <a:solidFill>
              <a:srgbClr val="B4B4B4"/>
            </a:solidFill>
            <a:ln>
              <a:solidFill>
                <a:schemeClr val="bg1"/>
              </a:solidFill>
            </a:ln>
          </c:spPr>
          <c:invertIfNegative val="0"/>
          <c:dLbls>
            <c:delete val="1"/>
          </c:dLbls>
          <c:cat>
            <c:strRef>
              <c:f>Sheet1!$A$2:$A$3</c:f>
              <c:strCache>
                <c:ptCount val="2"/>
                <c:pt idx="0">
                  <c:v>East</c:v>
                </c:pt>
                <c:pt idx="1">
                  <c:v>West</c:v>
                </c:pt>
              </c:strCache>
            </c:strRef>
          </c:cat>
          <c:val>
            <c:numRef>
              <c:f>Sheet1!$B$2:$B$3</c:f>
              <c:numCache>
                <c:formatCode>General</c:formatCode>
                <c:ptCount val="2"/>
                <c:pt idx="0">
                  <c:v>55</c:v>
                </c:pt>
                <c:pt idx="1">
                  <c:v>25</c:v>
                </c:pt>
              </c:numCache>
            </c:numRef>
          </c:val>
          <c:extLst>
            <c:ext xmlns:c16="http://schemas.microsoft.com/office/drawing/2014/chart" uri="{C3380CC4-5D6E-409C-BE32-E72D297353CC}">
              <c16:uniqueId val="{00000000-5179-463D-A51D-DA39983B7C6A}"/>
            </c:ext>
          </c:extLst>
        </c:ser>
        <c:ser>
          <c:idx val="1"/>
          <c:order val="1"/>
          <c:tx>
            <c:strRef>
              <c:f>Sheet1!$C$1</c:f>
              <c:strCache>
                <c:ptCount val="1"/>
                <c:pt idx="0">
                  <c:v>B</c:v>
                </c:pt>
              </c:strCache>
            </c:strRef>
          </c:tx>
          <c:spPr>
            <a:solidFill>
              <a:srgbClr val="81BC00"/>
            </a:solidFill>
            <a:ln>
              <a:solidFill>
                <a:schemeClr val="bg1"/>
              </a:solidFill>
            </a:ln>
          </c:spPr>
          <c:invertIfNegative val="0"/>
          <c:dLbls>
            <c:delete val="1"/>
          </c:dLbls>
          <c:cat>
            <c:strRef>
              <c:f>Sheet1!$A$2:$A$3</c:f>
              <c:strCache>
                <c:ptCount val="2"/>
                <c:pt idx="0">
                  <c:v>East</c:v>
                </c:pt>
                <c:pt idx="1">
                  <c:v>West</c:v>
                </c:pt>
              </c:strCache>
            </c:strRef>
          </c:cat>
          <c:val>
            <c:numRef>
              <c:f>Sheet1!$C$2:$C$3</c:f>
              <c:numCache>
                <c:formatCode>General</c:formatCode>
                <c:ptCount val="2"/>
                <c:pt idx="0">
                  <c:v>45</c:v>
                </c:pt>
                <c:pt idx="1">
                  <c:v>75</c:v>
                </c:pt>
              </c:numCache>
            </c:numRef>
          </c:val>
          <c:extLst>
            <c:ext xmlns:c16="http://schemas.microsoft.com/office/drawing/2014/chart" uri="{C3380CC4-5D6E-409C-BE32-E72D297353CC}">
              <c16:uniqueId val="{00000001-5179-463D-A51D-DA39983B7C6A}"/>
            </c:ext>
          </c:extLst>
        </c:ser>
        <c:dLbls>
          <c:showLegendKey val="0"/>
          <c:showVal val="1"/>
          <c:showCatName val="0"/>
          <c:showSerName val="0"/>
          <c:showPercent val="0"/>
          <c:showBubbleSize val="0"/>
        </c:dLbls>
        <c:gapWidth val="46"/>
        <c:overlap val="100"/>
        <c:axId val="1030101024"/>
        <c:axId val="1030101584"/>
      </c:barChart>
      <c:catAx>
        <c:axId val="1030101024"/>
        <c:scaling>
          <c:orientation val="minMax"/>
        </c:scaling>
        <c:delete val="0"/>
        <c:axPos val="b"/>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030101584"/>
        <c:crosses val="autoZero"/>
        <c:auto val="1"/>
        <c:lblAlgn val="ctr"/>
        <c:lblOffset val="100"/>
        <c:noMultiLvlLbl val="0"/>
      </c:catAx>
      <c:valAx>
        <c:axId val="1030101584"/>
        <c:scaling>
          <c:orientation val="minMax"/>
        </c:scaling>
        <c:delete val="0"/>
        <c:axPos val="l"/>
        <c:numFmt formatCode="0%"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030101024"/>
        <c:crosses val="autoZero"/>
        <c:crossBetween val="between"/>
        <c:majorUnit val="0.25"/>
      </c:valAx>
      <c:spPr>
        <a:ln>
          <a:solidFill>
            <a:schemeClr val="bg1"/>
          </a:solidFill>
        </a:ln>
      </c:spPr>
    </c:plotArea>
    <c:plotVisOnly val="1"/>
    <c:dispBlanksAs val="gap"/>
    <c:showDLblsOverMax val="0"/>
  </c:chart>
  <c:txPr>
    <a:bodyPr/>
    <a:lstStyle/>
    <a:p>
      <a:pPr>
        <a:defRPr sz="12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284331032632494E-2"/>
          <c:y val="4.6153842659460598E-2"/>
          <c:w val="0.88414094578388602"/>
          <c:h val="0.86692770541128905"/>
        </c:manualLayout>
      </c:layout>
      <c:pieChart>
        <c:varyColors val="1"/>
        <c:ser>
          <c:idx val="0"/>
          <c:order val="0"/>
          <c:tx>
            <c:strRef>
              <c:f>Sheet1!$B$1</c:f>
              <c:strCache>
                <c:ptCount val="1"/>
                <c:pt idx="0">
                  <c:v>Q1</c:v>
                </c:pt>
              </c:strCache>
            </c:strRef>
          </c:tx>
          <c:spPr>
            <a:ln w="12700">
              <a:solidFill>
                <a:schemeClr val="bg1"/>
              </a:solidFill>
            </a:ln>
          </c:spPr>
          <c:dPt>
            <c:idx val="0"/>
            <c:bubble3D val="0"/>
            <c:explosion val="11"/>
            <c:spPr>
              <a:solidFill>
                <a:schemeClr val="accent2"/>
              </a:solidFill>
              <a:ln w="12700">
                <a:solidFill>
                  <a:schemeClr val="bg1"/>
                </a:solidFill>
              </a:ln>
            </c:spPr>
            <c:extLst>
              <c:ext xmlns:c16="http://schemas.microsoft.com/office/drawing/2014/chart" uri="{C3380CC4-5D6E-409C-BE32-E72D297353CC}">
                <c16:uniqueId val="{00000001-6784-4823-8553-A8E0F9897FF6}"/>
              </c:ext>
            </c:extLst>
          </c:dPt>
          <c:dPt>
            <c:idx val="1"/>
            <c:bubble3D val="0"/>
            <c:spPr>
              <a:solidFill>
                <a:srgbClr val="B4B4B4"/>
              </a:solidFill>
              <a:ln w="12700">
                <a:solidFill>
                  <a:schemeClr val="bg1"/>
                </a:solidFill>
              </a:ln>
            </c:spPr>
            <c:extLst>
              <c:ext xmlns:c16="http://schemas.microsoft.com/office/drawing/2014/chart" uri="{C3380CC4-5D6E-409C-BE32-E72D297353CC}">
                <c16:uniqueId val="{00000003-6784-4823-8553-A8E0F9897FF6}"/>
              </c:ext>
            </c:extLst>
          </c:dPt>
          <c:dPt>
            <c:idx val="2"/>
            <c:bubble3D val="0"/>
            <c:spPr>
              <a:solidFill>
                <a:srgbClr val="8C8C8C"/>
              </a:solidFill>
              <a:ln w="12700">
                <a:solidFill>
                  <a:schemeClr val="bg1"/>
                </a:solidFill>
              </a:ln>
            </c:spPr>
            <c:extLst>
              <c:ext xmlns:c16="http://schemas.microsoft.com/office/drawing/2014/chart" uri="{C3380CC4-5D6E-409C-BE32-E72D297353CC}">
                <c16:uniqueId val="{00000005-6784-4823-8553-A8E0F9897FF6}"/>
              </c:ext>
            </c:extLst>
          </c:dPt>
          <c:dLbls>
            <c:dLbl>
              <c:idx val="1"/>
              <c:spPr/>
              <c:txPr>
                <a:bodyPr/>
                <a:lstStyle/>
                <a:p>
                  <a:pPr>
                    <a:defRPr sz="1100">
                      <a:solidFill>
                        <a:srgbClr val="313131"/>
                      </a:solidFill>
                    </a:defRPr>
                  </a:pPr>
                  <a:endParaRPr lang="en-US"/>
                </a:p>
              </c:txPr>
              <c:dLblPos val="ctr"/>
              <c:showLegendKey val="0"/>
              <c:showVal val="0"/>
              <c:showCatName val="0"/>
              <c:showSerName val="0"/>
              <c:showPercent val="1"/>
              <c:showBubbleSize val="0"/>
              <c:extLst>
                <c:ext xmlns:c16="http://schemas.microsoft.com/office/drawing/2014/chart" uri="{C3380CC4-5D6E-409C-BE32-E72D297353CC}">
                  <c16:uniqueId val="{00000003-6784-4823-8553-A8E0F9897FF6}"/>
                </c:ext>
              </c:extLst>
            </c:dLbl>
            <c:spPr>
              <a:noFill/>
              <a:ln>
                <a:noFill/>
              </a:ln>
              <a:effectLst/>
            </c:spPr>
            <c:txPr>
              <a:bodyPr/>
              <a:lstStyle/>
              <a:p>
                <a:pPr>
                  <a:defRPr sz="1100">
                    <a:solidFill>
                      <a:schemeClr val="bg1"/>
                    </a:solidFill>
                  </a:defRPr>
                </a:pPr>
                <a:endParaRPr lang="en-US"/>
              </a:p>
            </c:txPr>
            <c:dLblPos val="ctr"/>
            <c:showLegendKey val="0"/>
            <c:showVal val="0"/>
            <c:showCatName val="0"/>
            <c:showSerName val="0"/>
            <c:showPercent val="1"/>
            <c:showBubbleSize val="0"/>
            <c:showLeaderLines val="0"/>
            <c:extLst>
              <c:ext xmlns:c15="http://schemas.microsoft.com/office/drawing/2012/chart" uri="{CE6537A1-D6FC-4f65-9D91-7224C49458BB}"/>
            </c:extLst>
          </c:dLbls>
          <c:cat>
            <c:strRef>
              <c:f>Sheet1!$A$2:$A$4</c:f>
              <c:strCache>
                <c:ptCount val="3"/>
                <c:pt idx="0">
                  <c:v>A</c:v>
                </c:pt>
                <c:pt idx="1">
                  <c:v>B</c:v>
                </c:pt>
                <c:pt idx="2">
                  <c:v>C</c:v>
                </c:pt>
              </c:strCache>
            </c:strRef>
          </c:cat>
          <c:val>
            <c:numRef>
              <c:f>Sheet1!$B$2:$B$4</c:f>
              <c:numCache>
                <c:formatCode>General</c:formatCode>
                <c:ptCount val="3"/>
                <c:pt idx="0">
                  <c:v>55</c:v>
                </c:pt>
                <c:pt idx="1">
                  <c:v>26</c:v>
                </c:pt>
                <c:pt idx="2">
                  <c:v>19</c:v>
                </c:pt>
              </c:numCache>
            </c:numRef>
          </c:val>
          <c:extLst>
            <c:ext xmlns:c16="http://schemas.microsoft.com/office/drawing/2014/chart" uri="{C3380CC4-5D6E-409C-BE32-E72D297353CC}">
              <c16:uniqueId val="{00000006-6784-4823-8553-A8E0F9897FF6}"/>
            </c:ext>
          </c:extLst>
        </c:ser>
        <c:dLbls>
          <c:showLegendKey val="0"/>
          <c:showVal val="1"/>
          <c:showCatName val="0"/>
          <c:showSerName val="0"/>
          <c:showPercent val="0"/>
          <c:showBubbleSize val="0"/>
          <c:showLeaderLines val="0"/>
        </c:dLbls>
        <c:firstSliceAng val="0"/>
      </c:pieChart>
    </c:plotArea>
    <c:plotVisOnly val="1"/>
    <c:dispBlanksAs val="zero"/>
    <c:showDLblsOverMax val="0"/>
  </c:chart>
  <c:txPr>
    <a:bodyPr/>
    <a:lstStyle/>
    <a:p>
      <a:pPr>
        <a:defRPr sz="12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112675070028001"/>
          <c:y val="4.6153842659460598E-2"/>
          <c:w val="0.820984360410831"/>
          <c:h val="0.86692770541128905"/>
        </c:manualLayout>
      </c:layout>
      <c:barChart>
        <c:barDir val="bar"/>
        <c:grouping val="stacked"/>
        <c:varyColors val="0"/>
        <c:ser>
          <c:idx val="0"/>
          <c:order val="0"/>
          <c:tx>
            <c:strRef>
              <c:f>Sheet1!$B$1</c:f>
              <c:strCache>
                <c:ptCount val="1"/>
                <c:pt idx="0">
                  <c:v>A</c:v>
                </c:pt>
              </c:strCache>
            </c:strRef>
          </c:tx>
          <c:spPr>
            <a:solidFill>
              <a:schemeClr val="accent2"/>
            </a:solidFill>
            <a:ln>
              <a:solidFill>
                <a:schemeClr val="bg1"/>
              </a:solidFill>
            </a:ln>
          </c:spPr>
          <c:invertIfNegative val="0"/>
          <c:dLbls>
            <c:dLbl>
              <c:idx val="0"/>
              <c:layout>
                <c:manualLayout>
                  <c:x val="8.8540663031526703E-2"/>
                  <c:y val="0"/>
                </c:manualLayout>
              </c:layout>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4E3-4A64-B214-25D434752F5E}"/>
                </c:ext>
              </c:extLst>
            </c:dLbl>
            <c:dLbl>
              <c:idx val="1"/>
              <c:layout>
                <c:manualLayout>
                  <c:x val="8.8540663031526703E-2"/>
                  <c:y val="0"/>
                </c:manualLayout>
              </c:layout>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4E3-4A64-B214-25D434752F5E}"/>
                </c:ext>
              </c:extLst>
            </c:dLbl>
            <c:dLbl>
              <c:idx val="2"/>
              <c:layout>
                <c:manualLayout>
                  <c:x val="9.2082289552787203E-2"/>
                  <c:y val="0"/>
                </c:manualLayout>
              </c:layout>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4E3-4A64-B214-25D434752F5E}"/>
                </c:ext>
              </c:extLst>
            </c:dLbl>
            <c:spPr>
              <a:noFill/>
              <a:ln>
                <a:noFill/>
              </a:ln>
              <a:effectLst/>
            </c:spPr>
            <c:txPr>
              <a:bodyPr/>
              <a:lstStyle/>
              <a:p>
                <a:pPr>
                  <a:defRPr sz="1000">
                    <a:solidFill>
                      <a:srgbClr val="31313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xxx</c:v>
                </c:pt>
                <c:pt idx="1">
                  <c:v>xxx</c:v>
                </c:pt>
                <c:pt idx="2">
                  <c:v>xxx</c:v>
                </c:pt>
              </c:strCache>
            </c:strRef>
          </c:cat>
          <c:val>
            <c:numRef>
              <c:f>Sheet1!$B$2:$B$4</c:f>
              <c:numCache>
                <c:formatCode>General</c:formatCode>
                <c:ptCount val="3"/>
                <c:pt idx="0">
                  <c:v>15</c:v>
                </c:pt>
                <c:pt idx="1">
                  <c:v>31</c:v>
                </c:pt>
                <c:pt idx="2">
                  <c:v>22</c:v>
                </c:pt>
              </c:numCache>
            </c:numRef>
          </c:val>
          <c:extLst>
            <c:ext xmlns:c16="http://schemas.microsoft.com/office/drawing/2014/chart" uri="{C3380CC4-5D6E-409C-BE32-E72D297353CC}">
              <c16:uniqueId val="{00000003-D4E3-4A64-B214-25D434752F5E}"/>
            </c:ext>
          </c:extLst>
        </c:ser>
        <c:dLbls>
          <c:showLegendKey val="0"/>
          <c:showVal val="0"/>
          <c:showCatName val="0"/>
          <c:showSerName val="0"/>
          <c:showPercent val="0"/>
          <c:showBubbleSize val="0"/>
        </c:dLbls>
        <c:gapWidth val="46"/>
        <c:overlap val="100"/>
        <c:axId val="1030106064"/>
        <c:axId val="1030106624"/>
      </c:barChart>
      <c:catAx>
        <c:axId val="1030106064"/>
        <c:scaling>
          <c:orientation val="minMax"/>
        </c:scaling>
        <c:delete val="0"/>
        <c:axPos val="l"/>
        <c:numFmt formatCode="General" sourceLinked="0"/>
        <c:majorTickMark val="none"/>
        <c:minorTickMark val="none"/>
        <c:tickLblPos val="nextTo"/>
        <c:spPr>
          <a:ln>
            <a:solidFill>
              <a:srgbClr val="B4B4B4"/>
            </a:solidFill>
          </a:ln>
        </c:spPr>
        <c:txPr>
          <a:bodyPr/>
          <a:lstStyle/>
          <a:p>
            <a:pPr>
              <a:defRPr sz="1000">
                <a:solidFill>
                  <a:srgbClr val="313131"/>
                </a:solidFill>
              </a:defRPr>
            </a:pPr>
            <a:endParaRPr lang="en-US"/>
          </a:p>
        </c:txPr>
        <c:crossAx val="1030106624"/>
        <c:crosses val="autoZero"/>
        <c:auto val="1"/>
        <c:lblAlgn val="ctr"/>
        <c:lblOffset val="100"/>
        <c:noMultiLvlLbl val="0"/>
      </c:catAx>
      <c:valAx>
        <c:axId val="1030106624"/>
        <c:scaling>
          <c:orientation val="minMax"/>
        </c:scaling>
        <c:delete val="1"/>
        <c:axPos val="b"/>
        <c:numFmt formatCode="General" sourceLinked="1"/>
        <c:majorTickMark val="out"/>
        <c:minorTickMark val="none"/>
        <c:tickLblPos val="none"/>
        <c:crossAx val="1030106064"/>
        <c:crosses val="autoZero"/>
        <c:crossBetween val="between"/>
      </c:valAx>
      <c:spPr>
        <a:ln>
          <a:solidFill>
            <a:schemeClr val="bg1"/>
          </a:solidFill>
        </a:ln>
      </c:spPr>
    </c:plotArea>
    <c:plotVisOnly val="1"/>
    <c:dispBlanksAs val="gap"/>
    <c:showDLblsOverMax val="0"/>
  </c:chart>
  <c:txPr>
    <a:bodyPr/>
    <a:lstStyle/>
    <a:p>
      <a:pPr>
        <a:defRPr sz="1200"/>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3742331288343599E-2"/>
          <c:y val="5.8375825329676397E-2"/>
          <c:w val="0.76205497318970405"/>
          <c:h val="0.66071607695824297"/>
        </c:manualLayout>
      </c:layout>
      <c:doughnutChart>
        <c:varyColors val="1"/>
        <c:ser>
          <c:idx val="0"/>
          <c:order val="0"/>
          <c:tx>
            <c:strRef>
              <c:f>Sheet1!$B$1</c:f>
              <c:strCache>
                <c:ptCount val="1"/>
                <c:pt idx="0">
                  <c:v>Title</c:v>
                </c:pt>
              </c:strCache>
            </c:strRef>
          </c:tx>
          <c:spPr>
            <a:ln w="12700">
              <a:solidFill>
                <a:schemeClr val="bg1"/>
              </a:solidFill>
            </a:ln>
          </c:spPr>
          <c:dPt>
            <c:idx val="0"/>
            <c:bubble3D val="0"/>
            <c:spPr>
              <a:solidFill>
                <a:schemeClr val="accent5"/>
              </a:solidFill>
              <a:ln w="12700">
                <a:solidFill>
                  <a:schemeClr val="bg1"/>
                </a:solidFill>
              </a:ln>
            </c:spPr>
            <c:extLst>
              <c:ext xmlns:c16="http://schemas.microsoft.com/office/drawing/2014/chart" uri="{C3380CC4-5D6E-409C-BE32-E72D297353CC}">
                <c16:uniqueId val="{00000001-023C-4344-8861-1CD1F4ED19BF}"/>
              </c:ext>
            </c:extLst>
          </c:dPt>
          <c:dPt>
            <c:idx val="1"/>
            <c:bubble3D val="0"/>
            <c:spPr>
              <a:solidFill>
                <a:schemeClr val="tx1">
                  <a:lumMod val="65000"/>
                  <a:lumOff val="35000"/>
                </a:schemeClr>
              </a:solidFill>
              <a:ln w="12700">
                <a:solidFill>
                  <a:schemeClr val="bg1"/>
                </a:solidFill>
              </a:ln>
            </c:spPr>
            <c:extLst>
              <c:ext xmlns:c16="http://schemas.microsoft.com/office/drawing/2014/chart" uri="{C3380CC4-5D6E-409C-BE32-E72D297353CC}">
                <c16:uniqueId val="{00000003-023C-4344-8861-1CD1F4ED19BF}"/>
              </c:ext>
            </c:extLst>
          </c:dPt>
          <c:dPt>
            <c:idx val="2"/>
            <c:bubble3D val="0"/>
            <c:spPr>
              <a:solidFill>
                <a:schemeClr val="accent2"/>
              </a:solidFill>
              <a:ln w="12700">
                <a:solidFill>
                  <a:schemeClr val="bg1"/>
                </a:solidFill>
              </a:ln>
            </c:spPr>
            <c:extLst>
              <c:ext xmlns:c16="http://schemas.microsoft.com/office/drawing/2014/chart" uri="{C3380CC4-5D6E-409C-BE32-E72D297353CC}">
                <c16:uniqueId val="{00000005-023C-4344-8861-1CD1F4ED19BF}"/>
              </c:ext>
            </c:extLst>
          </c:dPt>
          <c:dPt>
            <c:idx val="3"/>
            <c:bubble3D val="0"/>
            <c:spPr>
              <a:solidFill>
                <a:schemeClr val="bg1">
                  <a:lumMod val="65000"/>
                </a:schemeClr>
              </a:solidFill>
              <a:ln w="12700">
                <a:solidFill>
                  <a:schemeClr val="bg1"/>
                </a:solidFill>
              </a:ln>
            </c:spPr>
            <c:extLst>
              <c:ext xmlns:c16="http://schemas.microsoft.com/office/drawing/2014/chart" uri="{C3380CC4-5D6E-409C-BE32-E72D297353CC}">
                <c16:uniqueId val="{00000007-023C-4344-8861-1CD1F4ED19BF}"/>
              </c:ext>
            </c:extLst>
          </c:dPt>
          <c:dPt>
            <c:idx val="4"/>
            <c:bubble3D val="0"/>
            <c:spPr>
              <a:solidFill>
                <a:schemeClr val="accent3"/>
              </a:solidFill>
              <a:ln w="12700">
                <a:solidFill>
                  <a:schemeClr val="bg1"/>
                </a:solidFill>
              </a:ln>
            </c:spPr>
            <c:extLst>
              <c:ext xmlns:c16="http://schemas.microsoft.com/office/drawing/2014/chart" uri="{C3380CC4-5D6E-409C-BE32-E72D297353CC}">
                <c16:uniqueId val="{00000009-023C-4344-8861-1CD1F4ED19BF}"/>
              </c:ext>
            </c:extLst>
          </c:dPt>
          <c:dPt>
            <c:idx val="5"/>
            <c:bubble3D val="0"/>
            <c:spPr>
              <a:solidFill>
                <a:schemeClr val="accent6"/>
              </a:solidFill>
              <a:ln w="12700">
                <a:solidFill>
                  <a:schemeClr val="bg1"/>
                </a:solidFill>
              </a:ln>
            </c:spPr>
            <c:extLst>
              <c:ext xmlns:c16="http://schemas.microsoft.com/office/drawing/2014/chart" uri="{C3380CC4-5D6E-409C-BE32-E72D297353CC}">
                <c16:uniqueId val="{0000000B-023C-4344-8861-1CD1F4ED19BF}"/>
              </c:ext>
            </c:extLst>
          </c:dPt>
          <c:dPt>
            <c:idx val="6"/>
            <c:bubble3D val="0"/>
            <c:spPr>
              <a:solidFill>
                <a:schemeClr val="bg1">
                  <a:lumMod val="50000"/>
                </a:schemeClr>
              </a:solidFill>
              <a:ln w="12700">
                <a:solidFill>
                  <a:schemeClr val="bg1"/>
                </a:solidFill>
              </a:ln>
            </c:spPr>
            <c:extLst>
              <c:ext xmlns:c16="http://schemas.microsoft.com/office/drawing/2014/chart" uri="{C3380CC4-5D6E-409C-BE32-E72D297353CC}">
                <c16:uniqueId val="{0000000D-023C-4344-8861-1CD1F4ED19BF}"/>
              </c:ext>
            </c:extLst>
          </c:dPt>
          <c:dPt>
            <c:idx val="7"/>
            <c:bubble3D val="0"/>
            <c:spPr>
              <a:solidFill>
                <a:schemeClr val="accent1"/>
              </a:solidFill>
              <a:ln w="12700">
                <a:solidFill>
                  <a:schemeClr val="bg1"/>
                </a:solidFill>
              </a:ln>
            </c:spPr>
            <c:extLst>
              <c:ext xmlns:c16="http://schemas.microsoft.com/office/drawing/2014/chart" uri="{C3380CC4-5D6E-409C-BE32-E72D297353CC}">
                <c16:uniqueId val="{0000000F-023C-4344-8861-1CD1F4ED19BF}"/>
              </c:ext>
            </c:extLst>
          </c:dPt>
          <c:cat>
            <c:strRef>
              <c:f>Sheet1!$A$2:$A$9</c:f>
              <c:strCache>
                <c:ptCount val="8"/>
                <c:pt idx="0">
                  <c:v>Label 1</c:v>
                </c:pt>
                <c:pt idx="1">
                  <c:v>Label 2</c:v>
                </c:pt>
                <c:pt idx="2">
                  <c:v>Label 3</c:v>
                </c:pt>
                <c:pt idx="3">
                  <c:v>Label 4</c:v>
                </c:pt>
                <c:pt idx="4">
                  <c:v>Label 5</c:v>
                </c:pt>
                <c:pt idx="5">
                  <c:v>Label 6</c:v>
                </c:pt>
                <c:pt idx="6">
                  <c:v>Label 7</c:v>
                </c:pt>
                <c:pt idx="7">
                  <c:v>Label 8</c:v>
                </c:pt>
              </c:strCache>
            </c:strRef>
          </c:cat>
          <c:val>
            <c:numRef>
              <c:f>Sheet1!$B$2:$B$9</c:f>
              <c:numCache>
                <c:formatCode>General</c:formatCode>
                <c:ptCount val="8"/>
                <c:pt idx="0">
                  <c:v>15</c:v>
                </c:pt>
                <c:pt idx="1">
                  <c:v>22</c:v>
                </c:pt>
                <c:pt idx="2">
                  <c:v>8</c:v>
                </c:pt>
                <c:pt idx="3">
                  <c:v>19</c:v>
                </c:pt>
                <c:pt idx="4">
                  <c:v>6</c:v>
                </c:pt>
                <c:pt idx="5">
                  <c:v>13</c:v>
                </c:pt>
                <c:pt idx="6">
                  <c:v>7</c:v>
                </c:pt>
                <c:pt idx="7">
                  <c:v>10</c:v>
                </c:pt>
              </c:numCache>
            </c:numRef>
          </c:val>
          <c:extLst>
            <c:ext xmlns:c16="http://schemas.microsoft.com/office/drawing/2014/chart" uri="{C3380CC4-5D6E-409C-BE32-E72D297353CC}">
              <c16:uniqueId val="{00000010-023C-4344-8861-1CD1F4ED19BF}"/>
            </c:ext>
          </c:extLst>
        </c:ser>
        <c:dLbls>
          <c:showLegendKey val="0"/>
          <c:showVal val="0"/>
          <c:showCatName val="0"/>
          <c:showSerName val="0"/>
          <c:showPercent val="0"/>
          <c:showBubbleSize val="0"/>
          <c:showLeaderLines val="1"/>
        </c:dLbls>
        <c:firstSliceAng val="0"/>
        <c:holeSize val="65"/>
      </c:doughnutChart>
    </c:plotArea>
    <c:legend>
      <c:legendPos val="r"/>
      <c:layout>
        <c:manualLayout>
          <c:xMode val="edge"/>
          <c:yMode val="edge"/>
          <c:x val="0"/>
          <c:y val="0.79467491816595404"/>
          <c:w val="0.86242041447273299"/>
          <c:h val="0.101564396502514"/>
        </c:manualLayout>
      </c:layout>
      <c:overlay val="0"/>
      <c:txPr>
        <a:bodyPr/>
        <a:lstStyle/>
        <a:p>
          <a:pPr>
            <a:defRPr sz="1000">
              <a:solidFill>
                <a:srgbClr val="313131"/>
              </a:solidFill>
            </a:defRPr>
          </a:pPr>
          <a:endParaRPr lang="en-US"/>
        </a:p>
      </c:txPr>
    </c:legend>
    <c:plotVisOnly val="1"/>
    <c:dispBlanksAs val="gap"/>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3742331288343599E-2"/>
          <c:y val="5.8375825329676397E-2"/>
          <c:w val="0.89317705715019802"/>
          <c:h val="0.83849274752875502"/>
        </c:manualLayout>
      </c:layout>
      <c:doughnutChart>
        <c:varyColors val="1"/>
        <c:ser>
          <c:idx val="0"/>
          <c:order val="0"/>
          <c:tx>
            <c:strRef>
              <c:f>Sheet1!$B$1</c:f>
              <c:strCache>
                <c:ptCount val="1"/>
                <c:pt idx="0">
                  <c:v>Title</c:v>
                </c:pt>
              </c:strCache>
            </c:strRef>
          </c:tx>
          <c:spPr>
            <a:ln w="12700">
              <a:solidFill>
                <a:prstClr val="white"/>
              </a:solidFill>
            </a:ln>
          </c:spPr>
          <c:dPt>
            <c:idx val="0"/>
            <c:bubble3D val="0"/>
            <c:spPr>
              <a:solidFill>
                <a:schemeClr val="accent2"/>
              </a:solidFill>
              <a:ln w="12700">
                <a:solidFill>
                  <a:prstClr val="white"/>
                </a:solidFill>
              </a:ln>
            </c:spPr>
            <c:extLst>
              <c:ext xmlns:c16="http://schemas.microsoft.com/office/drawing/2014/chart" uri="{C3380CC4-5D6E-409C-BE32-E72D297353CC}">
                <c16:uniqueId val="{00000001-4DA2-4D09-B9B4-09297D6B58A8}"/>
              </c:ext>
            </c:extLst>
          </c:dPt>
          <c:dPt>
            <c:idx val="1"/>
            <c:bubble3D val="0"/>
            <c:spPr>
              <a:solidFill>
                <a:schemeClr val="tx1">
                  <a:lumMod val="65000"/>
                  <a:lumOff val="35000"/>
                </a:schemeClr>
              </a:solidFill>
              <a:ln w="12700">
                <a:solidFill>
                  <a:prstClr val="white"/>
                </a:solidFill>
              </a:ln>
            </c:spPr>
            <c:extLst>
              <c:ext xmlns:c16="http://schemas.microsoft.com/office/drawing/2014/chart" uri="{C3380CC4-5D6E-409C-BE32-E72D297353CC}">
                <c16:uniqueId val="{00000003-4DA2-4D09-B9B4-09297D6B58A8}"/>
              </c:ext>
            </c:extLst>
          </c:dPt>
          <c:dPt>
            <c:idx val="2"/>
            <c:bubble3D val="0"/>
            <c:spPr>
              <a:solidFill>
                <a:schemeClr val="bg1">
                  <a:lumMod val="50000"/>
                </a:schemeClr>
              </a:solidFill>
              <a:ln w="12700">
                <a:solidFill>
                  <a:prstClr val="white"/>
                </a:solidFill>
              </a:ln>
            </c:spPr>
            <c:extLst>
              <c:ext xmlns:c16="http://schemas.microsoft.com/office/drawing/2014/chart" uri="{C3380CC4-5D6E-409C-BE32-E72D297353CC}">
                <c16:uniqueId val="{00000005-4DA2-4D09-B9B4-09297D6B58A8}"/>
              </c:ext>
            </c:extLst>
          </c:dPt>
          <c:dPt>
            <c:idx val="3"/>
            <c:bubble3D val="0"/>
            <c:spPr>
              <a:solidFill>
                <a:schemeClr val="bg1">
                  <a:lumMod val="65000"/>
                </a:schemeClr>
              </a:solidFill>
              <a:ln w="12700">
                <a:solidFill>
                  <a:prstClr val="white"/>
                </a:solidFill>
              </a:ln>
            </c:spPr>
            <c:extLst>
              <c:ext xmlns:c16="http://schemas.microsoft.com/office/drawing/2014/chart" uri="{C3380CC4-5D6E-409C-BE32-E72D297353CC}">
                <c16:uniqueId val="{00000007-4DA2-4D09-B9B4-09297D6B58A8}"/>
              </c:ext>
            </c:extLst>
          </c:dPt>
          <c:dPt>
            <c:idx val="4"/>
            <c:bubble3D val="0"/>
            <c:spPr>
              <a:solidFill>
                <a:schemeClr val="bg1">
                  <a:lumMod val="75000"/>
                </a:schemeClr>
              </a:solidFill>
              <a:ln w="12700">
                <a:solidFill>
                  <a:prstClr val="white"/>
                </a:solidFill>
              </a:ln>
            </c:spPr>
            <c:extLst>
              <c:ext xmlns:c16="http://schemas.microsoft.com/office/drawing/2014/chart" uri="{C3380CC4-5D6E-409C-BE32-E72D297353CC}">
                <c16:uniqueId val="{00000009-4DA2-4D09-B9B4-09297D6B58A8}"/>
              </c:ext>
            </c:extLst>
          </c:dPt>
          <c:dPt>
            <c:idx val="5"/>
            <c:bubble3D val="0"/>
            <c:spPr>
              <a:solidFill>
                <a:schemeClr val="bg1">
                  <a:lumMod val="85000"/>
                </a:schemeClr>
              </a:solidFill>
              <a:ln w="12700">
                <a:solidFill>
                  <a:prstClr val="white"/>
                </a:solidFill>
              </a:ln>
            </c:spPr>
            <c:extLst>
              <c:ext xmlns:c16="http://schemas.microsoft.com/office/drawing/2014/chart" uri="{C3380CC4-5D6E-409C-BE32-E72D297353CC}">
                <c16:uniqueId val="{0000000B-4DA2-4D09-B9B4-09297D6B58A8}"/>
              </c:ext>
            </c:extLst>
          </c:dPt>
          <c:cat>
            <c:strRef>
              <c:f>Sheet1!$A$2:$A$7</c:f>
              <c:strCache>
                <c:ptCount val="6"/>
                <c:pt idx="0">
                  <c:v>Lable 1</c:v>
                </c:pt>
                <c:pt idx="1">
                  <c:v>Lable 2</c:v>
                </c:pt>
                <c:pt idx="2">
                  <c:v>Lable 3</c:v>
                </c:pt>
                <c:pt idx="3">
                  <c:v>Lable 4</c:v>
                </c:pt>
                <c:pt idx="4">
                  <c:v>Lable 5</c:v>
                </c:pt>
                <c:pt idx="5">
                  <c:v>Lable 6</c:v>
                </c:pt>
              </c:strCache>
            </c:strRef>
          </c:cat>
          <c:val>
            <c:numRef>
              <c:f>Sheet1!$B$2:$B$7</c:f>
              <c:numCache>
                <c:formatCode>General</c:formatCode>
                <c:ptCount val="6"/>
                <c:pt idx="0">
                  <c:v>15</c:v>
                </c:pt>
                <c:pt idx="1">
                  <c:v>27</c:v>
                </c:pt>
                <c:pt idx="2">
                  <c:v>21</c:v>
                </c:pt>
                <c:pt idx="3">
                  <c:v>5</c:v>
                </c:pt>
                <c:pt idx="4">
                  <c:v>21</c:v>
                </c:pt>
                <c:pt idx="5">
                  <c:v>11</c:v>
                </c:pt>
              </c:numCache>
            </c:numRef>
          </c:val>
          <c:extLst>
            <c:ext xmlns:c16="http://schemas.microsoft.com/office/drawing/2014/chart" uri="{C3380CC4-5D6E-409C-BE32-E72D297353CC}">
              <c16:uniqueId val="{0000000C-4DA2-4D09-B9B4-09297D6B58A8}"/>
            </c:ext>
          </c:extLst>
        </c:ser>
        <c:dLbls>
          <c:showLegendKey val="0"/>
          <c:showVal val="0"/>
          <c:showCatName val="0"/>
          <c:showSerName val="0"/>
          <c:showPercent val="0"/>
          <c:showBubbleSize val="0"/>
          <c:showLeaderLines val="1"/>
        </c:dLbls>
        <c:firstSliceAng val="0"/>
        <c:holeSize val="65"/>
      </c:doughnutChart>
    </c:plotArea>
    <c:legend>
      <c:legendPos val="b"/>
      <c:layout>
        <c:manualLayout>
          <c:xMode val="edge"/>
          <c:yMode val="edge"/>
          <c:x val="9.0219226197277111E-2"/>
          <c:y val="0.86818708472251782"/>
          <c:w val="0.83397586113227651"/>
          <c:h val="0.11133789480246173"/>
        </c:manualLayout>
      </c:layout>
      <c:overlay val="0"/>
    </c:legend>
    <c:plotVisOnly val="1"/>
    <c:dispBlanksAs val="gap"/>
    <c:showDLblsOverMax val="0"/>
  </c:chart>
  <c:txPr>
    <a:bodyPr/>
    <a:lstStyle/>
    <a:p>
      <a:pPr>
        <a:defRPr sz="1000">
          <a:solidFill>
            <a:srgbClr val="313131"/>
          </a:solidFill>
        </a:defRPr>
      </a:pPr>
      <a:endParaRPr lang="en-US"/>
    </a:p>
  </c:txPr>
  <c:externalData r:id="rId2">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3742331288343599E-2"/>
          <c:y val="5.8375825329676397E-2"/>
          <c:w val="0.89317705715019802"/>
          <c:h val="0.83849274752875502"/>
        </c:manualLayout>
      </c:layout>
      <c:doughnutChart>
        <c:varyColors val="1"/>
        <c:ser>
          <c:idx val="0"/>
          <c:order val="0"/>
          <c:tx>
            <c:strRef>
              <c:f>Sheet1!$B$1</c:f>
              <c:strCache>
                <c:ptCount val="1"/>
                <c:pt idx="0">
                  <c:v>Title</c:v>
                </c:pt>
              </c:strCache>
            </c:strRef>
          </c:tx>
          <c:spPr>
            <a:ln w="12700">
              <a:solidFill>
                <a:prstClr val="white"/>
              </a:solidFill>
            </a:ln>
          </c:spPr>
          <c:dPt>
            <c:idx val="0"/>
            <c:bubble3D val="0"/>
            <c:spPr>
              <a:solidFill>
                <a:schemeClr val="tx1">
                  <a:lumMod val="85000"/>
                  <a:lumOff val="15000"/>
                </a:schemeClr>
              </a:solidFill>
              <a:ln w="12700">
                <a:solidFill>
                  <a:prstClr val="white"/>
                </a:solidFill>
              </a:ln>
            </c:spPr>
            <c:extLst>
              <c:ext xmlns:c16="http://schemas.microsoft.com/office/drawing/2014/chart" uri="{C3380CC4-5D6E-409C-BE32-E72D297353CC}">
                <c16:uniqueId val="{00000001-EA19-432D-BF40-98A3661D3472}"/>
              </c:ext>
            </c:extLst>
          </c:dPt>
          <c:dPt>
            <c:idx val="1"/>
            <c:bubble3D val="0"/>
            <c:spPr>
              <a:solidFill>
                <a:schemeClr val="accent1"/>
              </a:solidFill>
              <a:ln w="12700">
                <a:solidFill>
                  <a:prstClr val="white"/>
                </a:solidFill>
              </a:ln>
            </c:spPr>
            <c:extLst>
              <c:ext xmlns:c16="http://schemas.microsoft.com/office/drawing/2014/chart" uri="{C3380CC4-5D6E-409C-BE32-E72D297353CC}">
                <c16:uniqueId val="{00000003-EA19-432D-BF40-98A3661D3472}"/>
              </c:ext>
            </c:extLst>
          </c:dPt>
          <c:dPt>
            <c:idx val="2"/>
            <c:bubble3D val="0"/>
            <c:spPr>
              <a:solidFill>
                <a:schemeClr val="bg1">
                  <a:lumMod val="50000"/>
                </a:schemeClr>
              </a:solidFill>
              <a:ln w="12700">
                <a:solidFill>
                  <a:prstClr val="white"/>
                </a:solidFill>
              </a:ln>
            </c:spPr>
            <c:extLst>
              <c:ext xmlns:c16="http://schemas.microsoft.com/office/drawing/2014/chart" uri="{C3380CC4-5D6E-409C-BE32-E72D297353CC}">
                <c16:uniqueId val="{00000005-EA19-432D-BF40-98A3661D3472}"/>
              </c:ext>
            </c:extLst>
          </c:dPt>
          <c:dPt>
            <c:idx val="3"/>
            <c:bubble3D val="0"/>
            <c:spPr>
              <a:solidFill>
                <a:schemeClr val="bg1">
                  <a:lumMod val="65000"/>
                </a:schemeClr>
              </a:solidFill>
              <a:ln w="12700">
                <a:solidFill>
                  <a:prstClr val="white"/>
                </a:solidFill>
              </a:ln>
            </c:spPr>
            <c:extLst>
              <c:ext xmlns:c16="http://schemas.microsoft.com/office/drawing/2014/chart" uri="{C3380CC4-5D6E-409C-BE32-E72D297353CC}">
                <c16:uniqueId val="{00000007-EA19-432D-BF40-98A3661D3472}"/>
              </c:ext>
            </c:extLst>
          </c:dPt>
          <c:dPt>
            <c:idx val="4"/>
            <c:bubble3D val="0"/>
            <c:spPr>
              <a:solidFill>
                <a:schemeClr val="bg1">
                  <a:lumMod val="75000"/>
                </a:schemeClr>
              </a:solidFill>
              <a:ln w="12700">
                <a:solidFill>
                  <a:prstClr val="white"/>
                </a:solidFill>
              </a:ln>
            </c:spPr>
            <c:extLst>
              <c:ext xmlns:c16="http://schemas.microsoft.com/office/drawing/2014/chart" uri="{C3380CC4-5D6E-409C-BE32-E72D297353CC}">
                <c16:uniqueId val="{00000009-EA19-432D-BF40-98A3661D3472}"/>
              </c:ext>
            </c:extLst>
          </c:dPt>
          <c:dPt>
            <c:idx val="5"/>
            <c:bubble3D val="0"/>
            <c:spPr>
              <a:solidFill>
                <a:schemeClr val="bg1">
                  <a:lumMod val="85000"/>
                </a:schemeClr>
              </a:solidFill>
              <a:ln w="12700">
                <a:solidFill>
                  <a:prstClr val="white"/>
                </a:solidFill>
              </a:ln>
            </c:spPr>
            <c:extLst>
              <c:ext xmlns:c16="http://schemas.microsoft.com/office/drawing/2014/chart" uri="{C3380CC4-5D6E-409C-BE32-E72D297353CC}">
                <c16:uniqueId val="{0000000B-EA19-432D-BF40-98A3661D3472}"/>
              </c:ext>
            </c:extLst>
          </c:dPt>
          <c:cat>
            <c:strRef>
              <c:f>Sheet1!$A$2:$A$7</c:f>
              <c:strCache>
                <c:ptCount val="6"/>
                <c:pt idx="0">
                  <c:v>Lable 1</c:v>
                </c:pt>
                <c:pt idx="1">
                  <c:v>Lable 2</c:v>
                </c:pt>
                <c:pt idx="2">
                  <c:v>Lable 3</c:v>
                </c:pt>
                <c:pt idx="3">
                  <c:v>Lable 4</c:v>
                </c:pt>
                <c:pt idx="4">
                  <c:v>Lable 5</c:v>
                </c:pt>
                <c:pt idx="5">
                  <c:v>Lable 6</c:v>
                </c:pt>
              </c:strCache>
            </c:strRef>
          </c:cat>
          <c:val>
            <c:numRef>
              <c:f>Sheet1!$B$2:$B$7</c:f>
              <c:numCache>
                <c:formatCode>General</c:formatCode>
                <c:ptCount val="6"/>
                <c:pt idx="0">
                  <c:v>15</c:v>
                </c:pt>
                <c:pt idx="1">
                  <c:v>27</c:v>
                </c:pt>
                <c:pt idx="2">
                  <c:v>21</c:v>
                </c:pt>
                <c:pt idx="3">
                  <c:v>5</c:v>
                </c:pt>
                <c:pt idx="4">
                  <c:v>21</c:v>
                </c:pt>
                <c:pt idx="5">
                  <c:v>11</c:v>
                </c:pt>
              </c:numCache>
            </c:numRef>
          </c:val>
          <c:extLst>
            <c:ext xmlns:c16="http://schemas.microsoft.com/office/drawing/2014/chart" uri="{C3380CC4-5D6E-409C-BE32-E72D297353CC}">
              <c16:uniqueId val="{0000000C-EA19-432D-BF40-98A3661D3472}"/>
            </c:ext>
          </c:extLst>
        </c:ser>
        <c:dLbls>
          <c:showLegendKey val="0"/>
          <c:showVal val="0"/>
          <c:showCatName val="0"/>
          <c:showSerName val="0"/>
          <c:showPercent val="0"/>
          <c:showBubbleSize val="0"/>
          <c:showLeaderLines val="1"/>
        </c:dLbls>
        <c:firstSliceAng val="0"/>
        <c:holeSize val="65"/>
      </c:doughnutChart>
    </c:plotArea>
    <c:legend>
      <c:legendPos val="b"/>
      <c:layout>
        <c:manualLayout>
          <c:xMode val="edge"/>
          <c:yMode val="edge"/>
          <c:x val="7.6876338809763592E-2"/>
          <c:y val="0.86818708472251782"/>
          <c:w val="0.8051472340786151"/>
          <c:h val="0.11133789480246173"/>
        </c:manualLayout>
      </c:layout>
      <c:overlay val="0"/>
      <c:txPr>
        <a:bodyPr/>
        <a:lstStyle/>
        <a:p>
          <a:pPr>
            <a:defRPr sz="1000">
              <a:solidFill>
                <a:srgbClr val="313131"/>
              </a:solidFill>
            </a:defRPr>
          </a:pPr>
          <a:endParaRPr lang="en-US"/>
        </a:p>
      </c:txPr>
    </c:legend>
    <c:plotVisOnly val="1"/>
    <c:dispBlanksAs val="gap"/>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3742331288343599E-2"/>
          <c:y val="5.8375825329676397E-2"/>
          <c:w val="0.89317705715019702"/>
          <c:h val="0.83849274752875502"/>
        </c:manualLayout>
      </c:layout>
      <c:doughnutChart>
        <c:varyColors val="1"/>
        <c:ser>
          <c:idx val="0"/>
          <c:order val="0"/>
          <c:tx>
            <c:strRef>
              <c:f>Sheet1!$B$1</c:f>
              <c:strCache>
                <c:ptCount val="1"/>
                <c:pt idx="0">
                  <c:v>Title</c:v>
                </c:pt>
              </c:strCache>
            </c:strRef>
          </c:tx>
          <c:spPr>
            <a:ln w="12700">
              <a:solidFill>
                <a:prstClr val="white"/>
              </a:solidFill>
            </a:ln>
          </c:spPr>
          <c:dPt>
            <c:idx val="0"/>
            <c:bubble3D val="0"/>
            <c:spPr>
              <a:solidFill>
                <a:schemeClr val="tx1">
                  <a:lumMod val="85000"/>
                  <a:lumOff val="15000"/>
                </a:schemeClr>
              </a:solidFill>
              <a:ln w="12700">
                <a:solidFill>
                  <a:prstClr val="white"/>
                </a:solidFill>
              </a:ln>
            </c:spPr>
            <c:extLst>
              <c:ext xmlns:c16="http://schemas.microsoft.com/office/drawing/2014/chart" uri="{C3380CC4-5D6E-409C-BE32-E72D297353CC}">
                <c16:uniqueId val="{00000001-8E2F-4A78-A31A-9BF47C39739A}"/>
              </c:ext>
            </c:extLst>
          </c:dPt>
          <c:dPt>
            <c:idx val="1"/>
            <c:bubble3D val="0"/>
            <c:spPr>
              <a:solidFill>
                <a:schemeClr val="tx1">
                  <a:lumMod val="65000"/>
                  <a:lumOff val="35000"/>
                </a:schemeClr>
              </a:solidFill>
              <a:ln w="12700">
                <a:solidFill>
                  <a:prstClr val="white"/>
                </a:solidFill>
              </a:ln>
            </c:spPr>
            <c:extLst>
              <c:ext xmlns:c16="http://schemas.microsoft.com/office/drawing/2014/chart" uri="{C3380CC4-5D6E-409C-BE32-E72D297353CC}">
                <c16:uniqueId val="{00000003-8E2F-4A78-A31A-9BF47C39739A}"/>
              </c:ext>
            </c:extLst>
          </c:dPt>
          <c:dPt>
            <c:idx val="2"/>
            <c:bubble3D val="0"/>
            <c:spPr>
              <a:solidFill>
                <a:schemeClr val="bg1">
                  <a:lumMod val="50000"/>
                </a:schemeClr>
              </a:solidFill>
              <a:ln w="12700">
                <a:solidFill>
                  <a:prstClr val="white"/>
                </a:solidFill>
              </a:ln>
            </c:spPr>
            <c:extLst>
              <c:ext xmlns:c16="http://schemas.microsoft.com/office/drawing/2014/chart" uri="{C3380CC4-5D6E-409C-BE32-E72D297353CC}">
                <c16:uniqueId val="{00000005-8E2F-4A78-A31A-9BF47C39739A}"/>
              </c:ext>
            </c:extLst>
          </c:dPt>
          <c:dPt>
            <c:idx val="3"/>
            <c:bubble3D val="0"/>
            <c:spPr>
              <a:solidFill>
                <a:schemeClr val="bg1">
                  <a:lumMod val="65000"/>
                </a:schemeClr>
              </a:solidFill>
              <a:ln w="12700">
                <a:solidFill>
                  <a:prstClr val="white"/>
                </a:solidFill>
              </a:ln>
            </c:spPr>
            <c:extLst>
              <c:ext xmlns:c16="http://schemas.microsoft.com/office/drawing/2014/chart" uri="{C3380CC4-5D6E-409C-BE32-E72D297353CC}">
                <c16:uniqueId val="{00000007-8E2F-4A78-A31A-9BF47C39739A}"/>
              </c:ext>
            </c:extLst>
          </c:dPt>
          <c:dPt>
            <c:idx val="4"/>
            <c:bubble3D val="0"/>
            <c:spPr>
              <a:solidFill>
                <a:schemeClr val="accent3"/>
              </a:solidFill>
              <a:ln w="12700">
                <a:solidFill>
                  <a:prstClr val="white"/>
                </a:solidFill>
              </a:ln>
            </c:spPr>
            <c:extLst>
              <c:ext xmlns:c16="http://schemas.microsoft.com/office/drawing/2014/chart" uri="{C3380CC4-5D6E-409C-BE32-E72D297353CC}">
                <c16:uniqueId val="{00000009-8E2F-4A78-A31A-9BF47C39739A}"/>
              </c:ext>
            </c:extLst>
          </c:dPt>
          <c:dPt>
            <c:idx val="5"/>
            <c:bubble3D val="0"/>
            <c:spPr>
              <a:solidFill>
                <a:schemeClr val="bg1">
                  <a:lumMod val="85000"/>
                </a:schemeClr>
              </a:solidFill>
              <a:ln w="12700">
                <a:solidFill>
                  <a:prstClr val="white"/>
                </a:solidFill>
              </a:ln>
            </c:spPr>
            <c:extLst>
              <c:ext xmlns:c16="http://schemas.microsoft.com/office/drawing/2014/chart" uri="{C3380CC4-5D6E-409C-BE32-E72D297353CC}">
                <c16:uniqueId val="{0000000B-8E2F-4A78-A31A-9BF47C39739A}"/>
              </c:ext>
            </c:extLst>
          </c:dPt>
          <c:cat>
            <c:strRef>
              <c:f>Sheet1!$A$2:$A$7</c:f>
              <c:strCache>
                <c:ptCount val="6"/>
                <c:pt idx="0">
                  <c:v>Lable 1</c:v>
                </c:pt>
                <c:pt idx="1">
                  <c:v>Lable 2</c:v>
                </c:pt>
                <c:pt idx="2">
                  <c:v>Lable 3</c:v>
                </c:pt>
                <c:pt idx="3">
                  <c:v>Lable 4</c:v>
                </c:pt>
                <c:pt idx="4">
                  <c:v>Lable 5</c:v>
                </c:pt>
                <c:pt idx="5">
                  <c:v>Lable 6</c:v>
                </c:pt>
              </c:strCache>
            </c:strRef>
          </c:cat>
          <c:val>
            <c:numRef>
              <c:f>Sheet1!$B$2:$B$7</c:f>
              <c:numCache>
                <c:formatCode>General</c:formatCode>
                <c:ptCount val="6"/>
                <c:pt idx="0">
                  <c:v>15</c:v>
                </c:pt>
                <c:pt idx="1">
                  <c:v>27</c:v>
                </c:pt>
                <c:pt idx="2">
                  <c:v>21</c:v>
                </c:pt>
                <c:pt idx="3">
                  <c:v>5</c:v>
                </c:pt>
                <c:pt idx="4">
                  <c:v>21</c:v>
                </c:pt>
                <c:pt idx="5">
                  <c:v>11</c:v>
                </c:pt>
              </c:numCache>
            </c:numRef>
          </c:val>
          <c:extLst>
            <c:ext xmlns:c16="http://schemas.microsoft.com/office/drawing/2014/chart" uri="{C3380CC4-5D6E-409C-BE32-E72D297353CC}">
              <c16:uniqueId val="{0000000C-8E2F-4A78-A31A-9BF47C39739A}"/>
            </c:ext>
          </c:extLst>
        </c:ser>
        <c:dLbls>
          <c:showLegendKey val="0"/>
          <c:showVal val="0"/>
          <c:showCatName val="0"/>
          <c:showSerName val="0"/>
          <c:showPercent val="0"/>
          <c:showBubbleSize val="0"/>
          <c:showLeaderLines val="1"/>
        </c:dLbls>
        <c:firstSliceAng val="0"/>
        <c:holeSize val="65"/>
      </c:doughnutChart>
    </c:plotArea>
    <c:legend>
      <c:legendPos val="b"/>
      <c:layout>
        <c:manualLayout>
          <c:xMode val="edge"/>
          <c:yMode val="edge"/>
          <c:x val="9.0219226197277097E-2"/>
          <c:y val="0.86807904134933955"/>
          <c:w val="0.80995200525422539"/>
          <c:h val="0.11142915537197194"/>
        </c:manualLayout>
      </c:layout>
      <c:overlay val="0"/>
      <c:txPr>
        <a:bodyPr/>
        <a:lstStyle/>
        <a:p>
          <a:pPr>
            <a:defRPr sz="1000">
              <a:solidFill>
                <a:srgbClr val="313131"/>
              </a:solidFill>
            </a:defRPr>
          </a:pPr>
          <a:endParaRPr lang="en-US"/>
        </a:p>
      </c:txPr>
    </c:legend>
    <c:plotVisOnly val="1"/>
    <c:dispBlanksAs val="gap"/>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radarChart>
        <c:radarStyle val="marker"/>
        <c:varyColors val="0"/>
        <c:ser>
          <c:idx val="0"/>
          <c:order val="0"/>
          <c:tx>
            <c:strRef>
              <c:f>Sheet1!$B$1</c:f>
              <c:strCache>
                <c:ptCount val="1"/>
                <c:pt idx="0">
                  <c:v>Mid blue</c:v>
                </c:pt>
              </c:strCache>
            </c:strRef>
          </c:tx>
          <c:marker>
            <c:symbol val="none"/>
          </c:marker>
          <c:cat>
            <c:strRef>
              <c:f>Sheet1!$A$2:$A$6</c:f>
              <c:strCache>
                <c:ptCount val="5"/>
                <c:pt idx="0">
                  <c:v>Criterium 1</c:v>
                </c:pt>
                <c:pt idx="1">
                  <c:v>Criterium 2</c:v>
                </c:pt>
                <c:pt idx="2">
                  <c:v>Criterium 3</c:v>
                </c:pt>
                <c:pt idx="3">
                  <c:v>Criterium 4</c:v>
                </c:pt>
                <c:pt idx="4">
                  <c:v>Criterium 5</c:v>
                </c:pt>
              </c:strCache>
            </c:strRef>
          </c:cat>
          <c:val>
            <c:numRef>
              <c:f>Sheet1!$B$2:$B$6</c:f>
              <c:numCache>
                <c:formatCode>General</c:formatCode>
                <c:ptCount val="5"/>
                <c:pt idx="0">
                  <c:v>3.1</c:v>
                </c:pt>
                <c:pt idx="1">
                  <c:v>3.15</c:v>
                </c:pt>
                <c:pt idx="2">
                  <c:v>3.05</c:v>
                </c:pt>
                <c:pt idx="3">
                  <c:v>3.4</c:v>
                </c:pt>
                <c:pt idx="4">
                  <c:v>3.4</c:v>
                </c:pt>
              </c:numCache>
            </c:numRef>
          </c:val>
          <c:extLst>
            <c:ext xmlns:c16="http://schemas.microsoft.com/office/drawing/2014/chart" uri="{C3380CC4-5D6E-409C-BE32-E72D297353CC}">
              <c16:uniqueId val="{00000000-D6E7-4B86-8218-08B103BD48DD}"/>
            </c:ext>
          </c:extLst>
        </c:ser>
        <c:ser>
          <c:idx val="1"/>
          <c:order val="1"/>
          <c:tx>
            <c:strRef>
              <c:f>Sheet1!$C$1</c:f>
              <c:strCache>
                <c:ptCount val="1"/>
                <c:pt idx="0">
                  <c:v>Deloitte green</c:v>
                </c:pt>
              </c:strCache>
            </c:strRef>
          </c:tx>
          <c:marker>
            <c:symbol val="none"/>
          </c:marker>
          <c:cat>
            <c:strRef>
              <c:f>Sheet1!$A$2:$A$6</c:f>
              <c:strCache>
                <c:ptCount val="5"/>
                <c:pt idx="0">
                  <c:v>Criterium 1</c:v>
                </c:pt>
                <c:pt idx="1">
                  <c:v>Criterium 2</c:v>
                </c:pt>
                <c:pt idx="2">
                  <c:v>Criterium 3</c:v>
                </c:pt>
                <c:pt idx="3">
                  <c:v>Criterium 4</c:v>
                </c:pt>
                <c:pt idx="4">
                  <c:v>Criterium 5</c:v>
                </c:pt>
              </c:strCache>
            </c:strRef>
          </c:cat>
          <c:val>
            <c:numRef>
              <c:f>Sheet1!$C$2:$C$6</c:f>
              <c:numCache>
                <c:formatCode>General</c:formatCode>
                <c:ptCount val="5"/>
                <c:pt idx="0">
                  <c:v>2.5</c:v>
                </c:pt>
                <c:pt idx="1">
                  <c:v>2.5</c:v>
                </c:pt>
                <c:pt idx="2">
                  <c:v>4.3</c:v>
                </c:pt>
                <c:pt idx="3">
                  <c:v>4.5</c:v>
                </c:pt>
                <c:pt idx="4">
                  <c:v>4.7</c:v>
                </c:pt>
              </c:numCache>
            </c:numRef>
          </c:val>
          <c:extLst>
            <c:ext xmlns:c16="http://schemas.microsoft.com/office/drawing/2014/chart" uri="{C3380CC4-5D6E-409C-BE32-E72D297353CC}">
              <c16:uniqueId val="{00000001-D6E7-4B86-8218-08B103BD48DD}"/>
            </c:ext>
          </c:extLst>
        </c:ser>
        <c:ser>
          <c:idx val="2"/>
          <c:order val="2"/>
          <c:tx>
            <c:strRef>
              <c:f>Sheet1!$D$1</c:f>
              <c:strCache>
                <c:ptCount val="1"/>
                <c:pt idx="0">
                  <c:v>Light blue</c:v>
                </c:pt>
              </c:strCache>
            </c:strRef>
          </c:tx>
          <c:marker>
            <c:symbol val="none"/>
          </c:marker>
          <c:cat>
            <c:strRef>
              <c:f>Sheet1!$A$2:$A$6</c:f>
              <c:strCache>
                <c:ptCount val="5"/>
                <c:pt idx="0">
                  <c:v>Criterium 1</c:v>
                </c:pt>
                <c:pt idx="1">
                  <c:v>Criterium 2</c:v>
                </c:pt>
                <c:pt idx="2">
                  <c:v>Criterium 3</c:v>
                </c:pt>
                <c:pt idx="3">
                  <c:v>Criterium 4</c:v>
                </c:pt>
                <c:pt idx="4">
                  <c:v>Criterium 5</c:v>
                </c:pt>
              </c:strCache>
            </c:strRef>
          </c:cat>
          <c:val>
            <c:numRef>
              <c:f>Sheet1!$D$2:$D$6</c:f>
              <c:numCache>
                <c:formatCode>General</c:formatCode>
                <c:ptCount val="5"/>
                <c:pt idx="0">
                  <c:v>4.2</c:v>
                </c:pt>
                <c:pt idx="1">
                  <c:v>3.75</c:v>
                </c:pt>
                <c:pt idx="2">
                  <c:v>3.95</c:v>
                </c:pt>
                <c:pt idx="3">
                  <c:v>4.05</c:v>
                </c:pt>
                <c:pt idx="4">
                  <c:v>4.2</c:v>
                </c:pt>
              </c:numCache>
            </c:numRef>
          </c:val>
          <c:extLst>
            <c:ext xmlns:c16="http://schemas.microsoft.com/office/drawing/2014/chart" uri="{C3380CC4-5D6E-409C-BE32-E72D297353CC}">
              <c16:uniqueId val="{00000002-D6E7-4B86-8218-08B103BD48DD}"/>
            </c:ext>
          </c:extLst>
        </c:ser>
        <c:ser>
          <c:idx val="3"/>
          <c:order val="3"/>
          <c:tx>
            <c:strRef>
              <c:f>Sheet1!$E$1</c:f>
              <c:strCache>
                <c:ptCount val="1"/>
                <c:pt idx="0">
                  <c:v>Dark green</c:v>
                </c:pt>
              </c:strCache>
            </c:strRef>
          </c:tx>
          <c:marker>
            <c:symbol val="none"/>
          </c:marker>
          <c:cat>
            <c:strRef>
              <c:f>Sheet1!$A$2:$A$6</c:f>
              <c:strCache>
                <c:ptCount val="5"/>
                <c:pt idx="0">
                  <c:v>Criterium 1</c:v>
                </c:pt>
                <c:pt idx="1">
                  <c:v>Criterium 2</c:v>
                </c:pt>
                <c:pt idx="2">
                  <c:v>Criterium 3</c:v>
                </c:pt>
                <c:pt idx="3">
                  <c:v>Criterium 4</c:v>
                </c:pt>
                <c:pt idx="4">
                  <c:v>Criterium 5</c:v>
                </c:pt>
              </c:strCache>
            </c:strRef>
          </c:cat>
          <c:val>
            <c:numRef>
              <c:f>Sheet1!$E$2:$E$6</c:f>
              <c:numCache>
                <c:formatCode>General</c:formatCode>
                <c:ptCount val="5"/>
                <c:pt idx="0">
                  <c:v>3.5</c:v>
                </c:pt>
                <c:pt idx="1">
                  <c:v>3.45</c:v>
                </c:pt>
                <c:pt idx="2">
                  <c:v>3.25</c:v>
                </c:pt>
                <c:pt idx="3">
                  <c:v>3.9</c:v>
                </c:pt>
                <c:pt idx="4">
                  <c:v>3.9</c:v>
                </c:pt>
              </c:numCache>
            </c:numRef>
          </c:val>
          <c:extLst>
            <c:ext xmlns:c16="http://schemas.microsoft.com/office/drawing/2014/chart" uri="{C3380CC4-5D6E-409C-BE32-E72D297353CC}">
              <c16:uniqueId val="{00000003-D6E7-4B86-8218-08B103BD48DD}"/>
            </c:ext>
          </c:extLst>
        </c:ser>
        <c:dLbls>
          <c:showLegendKey val="0"/>
          <c:showVal val="0"/>
          <c:showCatName val="0"/>
          <c:showSerName val="0"/>
          <c:showPercent val="0"/>
          <c:showBubbleSize val="0"/>
        </c:dLbls>
        <c:axId val="1483178672"/>
        <c:axId val="1483179232"/>
      </c:radarChart>
      <c:catAx>
        <c:axId val="1483178672"/>
        <c:scaling>
          <c:orientation val="minMax"/>
        </c:scaling>
        <c:delete val="0"/>
        <c:axPos val="b"/>
        <c:majorGridlines/>
        <c:numFmt formatCode="General" sourceLinked="1"/>
        <c:majorTickMark val="out"/>
        <c:minorTickMark val="none"/>
        <c:tickLblPos val="nextTo"/>
        <c:txPr>
          <a:bodyPr/>
          <a:lstStyle/>
          <a:p>
            <a:pPr>
              <a:defRPr sz="1000">
                <a:solidFill>
                  <a:srgbClr val="313131"/>
                </a:solidFill>
              </a:defRPr>
            </a:pPr>
            <a:endParaRPr lang="en-US"/>
          </a:p>
        </c:txPr>
        <c:crossAx val="1483179232"/>
        <c:crosses val="autoZero"/>
        <c:auto val="1"/>
        <c:lblAlgn val="ctr"/>
        <c:lblOffset val="100"/>
        <c:noMultiLvlLbl val="0"/>
      </c:catAx>
      <c:valAx>
        <c:axId val="1483179232"/>
        <c:scaling>
          <c:orientation val="minMax"/>
        </c:scaling>
        <c:delete val="0"/>
        <c:axPos val="l"/>
        <c:majorGridlines>
          <c:spPr>
            <a:ln>
              <a:solidFill>
                <a:schemeClr val="accent1"/>
              </a:solidFill>
            </a:ln>
          </c:spPr>
        </c:majorGridlines>
        <c:numFmt formatCode="General" sourceLinked="1"/>
        <c:majorTickMark val="cross"/>
        <c:minorTickMark val="none"/>
        <c:tickLblPos val="nextTo"/>
        <c:spPr>
          <a:ln>
            <a:solidFill>
              <a:schemeClr val="accent1"/>
            </a:solidFill>
          </a:ln>
        </c:spPr>
        <c:txPr>
          <a:bodyPr/>
          <a:lstStyle/>
          <a:p>
            <a:pPr>
              <a:defRPr>
                <a:solidFill>
                  <a:srgbClr val="313131"/>
                </a:solidFill>
              </a:defRPr>
            </a:pPr>
            <a:endParaRPr lang="en-US"/>
          </a:p>
        </c:txPr>
        <c:crossAx val="1483178672"/>
        <c:crosses val="autoZero"/>
        <c:crossBetween val="between"/>
        <c:majorUnit val="1"/>
      </c:valAx>
    </c:plotArea>
    <c:legend>
      <c:legendPos val="r"/>
      <c:overlay val="0"/>
      <c:txPr>
        <a:bodyPr/>
        <a:lstStyle/>
        <a:p>
          <a:pPr>
            <a:defRPr sz="1000">
              <a:solidFill>
                <a:srgbClr val="313131"/>
              </a:solidFill>
            </a:defRPr>
          </a:pPr>
          <a:endParaRPr lang="en-US"/>
        </a:p>
      </c:txPr>
    </c:legend>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295719377191694E-2"/>
          <c:y val="3.9546124331371897E-2"/>
          <c:w val="0.89610526181121197"/>
          <c:h val="0.78319438011425047"/>
        </c:manualLayout>
      </c:layout>
      <c:lineChart>
        <c:grouping val="standard"/>
        <c:varyColors val="0"/>
        <c:ser>
          <c:idx val="0"/>
          <c:order val="0"/>
          <c:tx>
            <c:strRef>
              <c:f>Sheet1!$B$1</c:f>
              <c:strCache>
                <c:ptCount val="1"/>
                <c:pt idx="0">
                  <c:v>Deloitte blue</c:v>
                </c:pt>
              </c:strCache>
            </c:strRef>
          </c:tx>
          <c:spPr>
            <a:ln>
              <a:solidFill>
                <a:srgbClr val="00A1DE"/>
              </a:solidFill>
            </a:ln>
          </c:spPr>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B$2:$B$8</c:f>
              <c:numCache>
                <c:formatCode>General</c:formatCode>
                <c:ptCount val="7"/>
                <c:pt idx="0">
                  <c:v>15</c:v>
                </c:pt>
                <c:pt idx="1">
                  <c:v>20.399999999999999</c:v>
                </c:pt>
                <c:pt idx="2">
                  <c:v>30.6</c:v>
                </c:pt>
                <c:pt idx="3">
                  <c:v>45.9</c:v>
                </c:pt>
                <c:pt idx="4">
                  <c:v>90</c:v>
                </c:pt>
                <c:pt idx="5">
                  <c:v>34.6</c:v>
                </c:pt>
                <c:pt idx="6">
                  <c:v>25</c:v>
                </c:pt>
              </c:numCache>
            </c:numRef>
          </c:val>
          <c:smooth val="0"/>
          <c:extLst>
            <c:ext xmlns:c16="http://schemas.microsoft.com/office/drawing/2014/chart" uri="{C3380CC4-5D6E-409C-BE32-E72D297353CC}">
              <c16:uniqueId val="{00000000-7FAF-431F-9B6D-8290ECC21F14}"/>
            </c:ext>
          </c:extLst>
        </c:ser>
        <c:ser>
          <c:idx val="1"/>
          <c:order val="1"/>
          <c:tx>
            <c:strRef>
              <c:f>Sheet1!$C$1</c:f>
              <c:strCache>
                <c:ptCount val="1"/>
                <c:pt idx="0">
                  <c:v>Deloitte Green</c:v>
                </c:pt>
              </c:strCache>
            </c:strRef>
          </c:tx>
          <c:spPr>
            <a:ln>
              <a:solidFill>
                <a:srgbClr val="8C8C8C"/>
              </a:solidFill>
            </a:ln>
          </c:spPr>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C$2:$C$8</c:f>
              <c:numCache>
                <c:formatCode>General</c:formatCode>
                <c:ptCount val="7"/>
                <c:pt idx="0">
                  <c:v>15</c:v>
                </c:pt>
                <c:pt idx="1">
                  <c:v>27.4</c:v>
                </c:pt>
                <c:pt idx="2">
                  <c:v>38.6</c:v>
                </c:pt>
                <c:pt idx="3">
                  <c:v>46.9</c:v>
                </c:pt>
                <c:pt idx="4">
                  <c:v>20.399999999999999</c:v>
                </c:pt>
                <c:pt idx="5">
                  <c:v>31.6</c:v>
                </c:pt>
                <c:pt idx="6">
                  <c:v>50</c:v>
                </c:pt>
              </c:numCache>
            </c:numRef>
          </c:val>
          <c:smooth val="0"/>
          <c:extLst>
            <c:ext xmlns:c16="http://schemas.microsoft.com/office/drawing/2014/chart" uri="{C3380CC4-5D6E-409C-BE32-E72D297353CC}">
              <c16:uniqueId val="{00000001-7FAF-431F-9B6D-8290ECC21F14}"/>
            </c:ext>
          </c:extLst>
        </c:ser>
        <c:ser>
          <c:idx val="2"/>
          <c:order val="2"/>
          <c:tx>
            <c:strRef>
              <c:f>Sheet1!$D$1</c:f>
              <c:strCache>
                <c:ptCount val="1"/>
                <c:pt idx="0">
                  <c:v>Mid Blue</c:v>
                </c:pt>
              </c:strCache>
            </c:strRef>
          </c:tx>
          <c:spPr>
            <a:ln>
              <a:solidFill>
                <a:srgbClr val="313131"/>
              </a:solidFill>
            </a:ln>
          </c:spPr>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D$2:$D$8</c:f>
              <c:numCache>
                <c:formatCode>General</c:formatCode>
                <c:ptCount val="7"/>
                <c:pt idx="0">
                  <c:v>15</c:v>
                </c:pt>
                <c:pt idx="1">
                  <c:v>25</c:v>
                </c:pt>
                <c:pt idx="2">
                  <c:v>49</c:v>
                </c:pt>
                <c:pt idx="3">
                  <c:v>30</c:v>
                </c:pt>
                <c:pt idx="4">
                  <c:v>50</c:v>
                </c:pt>
                <c:pt idx="5">
                  <c:v>55</c:v>
                </c:pt>
                <c:pt idx="6">
                  <c:v>60</c:v>
                </c:pt>
              </c:numCache>
            </c:numRef>
          </c:val>
          <c:smooth val="0"/>
          <c:extLst>
            <c:ext xmlns:c16="http://schemas.microsoft.com/office/drawing/2014/chart" uri="{C3380CC4-5D6E-409C-BE32-E72D297353CC}">
              <c16:uniqueId val="{00000002-7FAF-431F-9B6D-8290ECC21F14}"/>
            </c:ext>
          </c:extLst>
        </c:ser>
        <c:dLbls>
          <c:showLegendKey val="0"/>
          <c:showVal val="0"/>
          <c:showCatName val="0"/>
          <c:showSerName val="0"/>
          <c:showPercent val="0"/>
          <c:showBubbleSize val="0"/>
        </c:dLbls>
        <c:smooth val="0"/>
        <c:axId val="1483183152"/>
        <c:axId val="1483183712"/>
      </c:lineChart>
      <c:catAx>
        <c:axId val="1483183152"/>
        <c:scaling>
          <c:orientation val="minMax"/>
        </c:scaling>
        <c:delete val="0"/>
        <c:axPos val="b"/>
        <c:title>
          <c:overlay val="0"/>
          <c:txPr>
            <a:bodyPr/>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483183712"/>
        <c:crosses val="autoZero"/>
        <c:auto val="1"/>
        <c:lblAlgn val="ctr"/>
        <c:lblOffset val="100"/>
        <c:noMultiLvlLbl val="0"/>
      </c:catAx>
      <c:valAx>
        <c:axId val="1483183712"/>
        <c:scaling>
          <c:orientation val="minMax"/>
        </c:scaling>
        <c:delete val="0"/>
        <c:axPos val="l"/>
        <c:title>
          <c:overlay val="0"/>
          <c:txPr>
            <a:bodyPr rot="-5400000" vert="horz"/>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483183152"/>
        <c:crosses val="autoZero"/>
        <c:crossBetween val="midCat"/>
        <c:majorUnit val="25"/>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227800539137409E-2"/>
          <c:y val="3.2855436081242535E-2"/>
          <c:w val="0.91573219036583242"/>
          <c:h val="0.68171524553886298"/>
        </c:manualLayout>
      </c:layout>
      <c:barChart>
        <c:barDir val="bar"/>
        <c:grouping val="stacked"/>
        <c:varyColors val="0"/>
        <c:ser>
          <c:idx val="0"/>
          <c:order val="0"/>
          <c:tx>
            <c:strRef>
              <c:f>Sheet1!$B$1</c:f>
              <c:strCache>
                <c:ptCount val="1"/>
                <c:pt idx="0">
                  <c:v>Label 1</c:v>
                </c:pt>
              </c:strCache>
            </c:strRef>
          </c:tx>
          <c:spPr>
            <a:solidFill>
              <a:schemeClr val="tx1">
                <a:lumMod val="65000"/>
                <a:lumOff val="35000"/>
              </a:schemeClr>
            </a:solidFill>
            <a:ln w="19050">
              <a:solidFill>
                <a:prstClr val="white"/>
              </a:solidFill>
            </a:ln>
          </c:spPr>
          <c:invertIfNegative val="0"/>
          <c:cat>
            <c:strRef>
              <c:f>Sheet1!$A$2:$A$5</c:f>
              <c:strCache>
                <c:ptCount val="4"/>
                <c:pt idx="0">
                  <c:v>North</c:v>
                </c:pt>
                <c:pt idx="1">
                  <c:v>South</c:v>
                </c:pt>
                <c:pt idx="2">
                  <c:v>East</c:v>
                </c:pt>
                <c:pt idx="3">
                  <c:v>West</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65BD-4775-8700-8CD367BD6565}"/>
            </c:ext>
          </c:extLst>
        </c:ser>
        <c:ser>
          <c:idx val="1"/>
          <c:order val="1"/>
          <c:tx>
            <c:strRef>
              <c:f>Sheet1!$C$1</c:f>
              <c:strCache>
                <c:ptCount val="1"/>
                <c:pt idx="0">
                  <c:v>Label 2</c:v>
                </c:pt>
              </c:strCache>
            </c:strRef>
          </c:tx>
          <c:spPr>
            <a:solidFill>
              <a:schemeClr val="bg1">
                <a:lumMod val="50000"/>
              </a:schemeClr>
            </a:solidFill>
            <a:ln w="19050">
              <a:solidFill>
                <a:prstClr val="white"/>
              </a:solidFill>
            </a:ln>
          </c:spPr>
          <c:invertIfNegative val="0"/>
          <c:cat>
            <c:strRef>
              <c:f>Sheet1!$A$2:$A$5</c:f>
              <c:strCache>
                <c:ptCount val="4"/>
                <c:pt idx="0">
                  <c:v>North</c:v>
                </c:pt>
                <c:pt idx="1">
                  <c:v>South</c:v>
                </c:pt>
                <c:pt idx="2">
                  <c:v>East</c:v>
                </c:pt>
                <c:pt idx="3">
                  <c:v>West</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65BD-4775-8700-8CD367BD6565}"/>
            </c:ext>
          </c:extLst>
        </c:ser>
        <c:ser>
          <c:idx val="2"/>
          <c:order val="2"/>
          <c:tx>
            <c:strRef>
              <c:f>Sheet1!$D$1</c:f>
              <c:strCache>
                <c:ptCount val="1"/>
                <c:pt idx="0">
                  <c:v>Label 3</c:v>
                </c:pt>
              </c:strCache>
            </c:strRef>
          </c:tx>
          <c:spPr>
            <a:solidFill>
              <a:schemeClr val="bg1">
                <a:lumMod val="75000"/>
              </a:schemeClr>
            </a:solidFill>
            <a:ln w="19050">
              <a:solidFill>
                <a:prstClr val="white"/>
              </a:solidFill>
            </a:ln>
          </c:spPr>
          <c:invertIfNegative val="0"/>
          <c:cat>
            <c:strRef>
              <c:f>Sheet1!$A$2:$A$5</c:f>
              <c:strCache>
                <c:ptCount val="4"/>
                <c:pt idx="0">
                  <c:v>North</c:v>
                </c:pt>
                <c:pt idx="1">
                  <c:v>South</c:v>
                </c:pt>
                <c:pt idx="2">
                  <c:v>East</c:v>
                </c:pt>
                <c:pt idx="3">
                  <c:v>West</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65BD-4775-8700-8CD367BD6565}"/>
            </c:ext>
          </c:extLst>
        </c:ser>
        <c:ser>
          <c:idx val="3"/>
          <c:order val="3"/>
          <c:tx>
            <c:strRef>
              <c:f>Sheet1!$E$1</c:f>
              <c:strCache>
                <c:ptCount val="1"/>
                <c:pt idx="0">
                  <c:v>Label 4</c:v>
                </c:pt>
              </c:strCache>
            </c:strRef>
          </c:tx>
          <c:spPr>
            <a:solidFill>
              <a:schemeClr val="accent2"/>
            </a:solidFill>
            <a:ln w="19050">
              <a:solidFill>
                <a:schemeClr val="bg1"/>
              </a:solidFill>
            </a:ln>
          </c:spPr>
          <c:invertIfNegative val="0"/>
          <c:cat>
            <c:strRef>
              <c:f>Sheet1!$A$2:$A$5</c:f>
              <c:strCache>
                <c:ptCount val="4"/>
                <c:pt idx="0">
                  <c:v>North</c:v>
                </c:pt>
                <c:pt idx="1">
                  <c:v>South</c:v>
                </c:pt>
                <c:pt idx="2">
                  <c:v>East</c:v>
                </c:pt>
                <c:pt idx="3">
                  <c:v>West</c:v>
                </c:pt>
              </c:strCache>
            </c:strRef>
          </c:cat>
          <c:val>
            <c:numRef>
              <c:f>Sheet1!$E$2:$E$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3-65BD-4775-8700-8CD367BD6565}"/>
            </c:ext>
          </c:extLst>
        </c:ser>
        <c:dLbls>
          <c:showLegendKey val="0"/>
          <c:showVal val="0"/>
          <c:showCatName val="0"/>
          <c:showSerName val="0"/>
          <c:showPercent val="0"/>
          <c:showBubbleSize val="0"/>
        </c:dLbls>
        <c:gapWidth val="150"/>
        <c:overlap val="100"/>
        <c:axId val="1528641520"/>
        <c:axId val="1528642080"/>
      </c:barChart>
      <c:catAx>
        <c:axId val="1528641520"/>
        <c:scaling>
          <c:orientation val="minMax"/>
        </c:scaling>
        <c:delete val="0"/>
        <c:axPos val="l"/>
        <c:numFmt formatCode="General" sourceLinked="0"/>
        <c:majorTickMark val="out"/>
        <c:minorTickMark val="none"/>
        <c:tickLblPos val="nextTo"/>
        <c:txPr>
          <a:bodyPr/>
          <a:lstStyle/>
          <a:p>
            <a:pPr>
              <a:defRPr sz="1000">
                <a:solidFill>
                  <a:srgbClr val="313131"/>
                </a:solidFill>
              </a:defRPr>
            </a:pPr>
            <a:endParaRPr lang="en-US"/>
          </a:p>
        </c:txPr>
        <c:crossAx val="1528642080"/>
        <c:crosses val="autoZero"/>
        <c:auto val="1"/>
        <c:lblAlgn val="ctr"/>
        <c:lblOffset val="100"/>
        <c:noMultiLvlLbl val="0"/>
      </c:catAx>
      <c:valAx>
        <c:axId val="1528642080"/>
        <c:scaling>
          <c:orientation val="minMax"/>
        </c:scaling>
        <c:delete val="0"/>
        <c:axPos val="b"/>
        <c:numFmt formatCode="General" sourceLinked="1"/>
        <c:majorTickMark val="out"/>
        <c:minorTickMark val="none"/>
        <c:tickLblPos val="nextTo"/>
        <c:txPr>
          <a:bodyPr/>
          <a:lstStyle/>
          <a:p>
            <a:pPr>
              <a:defRPr sz="1000">
                <a:solidFill>
                  <a:srgbClr val="313131"/>
                </a:solidFill>
              </a:defRPr>
            </a:pPr>
            <a:endParaRPr lang="en-US"/>
          </a:p>
        </c:txPr>
        <c:crossAx val="1528641520"/>
        <c:crosses val="autoZero"/>
        <c:crossBetween val="between"/>
      </c:valAx>
    </c:plotArea>
    <c:legend>
      <c:legendPos val="b"/>
      <c:layout>
        <c:manualLayout>
          <c:xMode val="edge"/>
          <c:yMode val="edge"/>
          <c:x val="8.0354259038067352E-2"/>
          <c:y val="0.87436311724475302"/>
          <c:w val="0.81663715062977849"/>
          <c:h val="4.8675383040985586E-2"/>
        </c:manualLayout>
      </c:layout>
      <c:overlay val="0"/>
      <c:txPr>
        <a:bodyPr/>
        <a:lstStyle/>
        <a:p>
          <a:pPr>
            <a:defRPr sz="1000">
              <a:solidFill>
                <a:srgbClr val="313131"/>
              </a:solidFill>
            </a:defRPr>
          </a:pPr>
          <a:endParaRPr lang="en-US"/>
        </a:p>
      </c:txPr>
    </c:legend>
    <c:plotVisOnly val="1"/>
    <c:dispBlanksAs val="gap"/>
    <c:showDLblsOverMax val="0"/>
  </c:chart>
  <c:txPr>
    <a:bodyPr/>
    <a:lstStyle/>
    <a:p>
      <a:pPr>
        <a:defRPr sz="1800"/>
      </a:pPr>
      <a:endParaRPr lang="en-US"/>
    </a:p>
  </c:txPr>
  <c:externalData r:id="rId2">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726519678405101"/>
          <c:y val="3.9546124331371897E-2"/>
          <c:w val="0.78697659385299068"/>
          <c:h val="0.72058499899051076"/>
        </c:manualLayout>
      </c:layout>
      <c:lineChart>
        <c:grouping val="standard"/>
        <c:varyColors val="0"/>
        <c:ser>
          <c:idx val="0"/>
          <c:order val="0"/>
          <c:tx>
            <c:strRef>
              <c:f>Sheet1!$B$1</c:f>
              <c:strCache>
                <c:ptCount val="1"/>
                <c:pt idx="0">
                  <c:v>Deloitte blue</c:v>
                </c:pt>
              </c:strCache>
            </c:strRef>
          </c:tx>
          <c:spPr>
            <a:ln>
              <a:solidFill>
                <a:srgbClr val="00A1DE"/>
              </a:solidFill>
            </a:ln>
          </c:spPr>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B$2:$B$8</c:f>
              <c:numCache>
                <c:formatCode>General</c:formatCode>
                <c:ptCount val="7"/>
                <c:pt idx="0">
                  <c:v>15</c:v>
                </c:pt>
                <c:pt idx="1">
                  <c:v>20.399999999999999</c:v>
                </c:pt>
                <c:pt idx="2">
                  <c:v>30.6</c:v>
                </c:pt>
                <c:pt idx="3">
                  <c:v>45.9</c:v>
                </c:pt>
                <c:pt idx="4">
                  <c:v>90</c:v>
                </c:pt>
                <c:pt idx="5">
                  <c:v>34.6</c:v>
                </c:pt>
                <c:pt idx="6">
                  <c:v>25</c:v>
                </c:pt>
              </c:numCache>
            </c:numRef>
          </c:val>
          <c:smooth val="0"/>
          <c:extLst>
            <c:ext xmlns:c16="http://schemas.microsoft.com/office/drawing/2014/chart" uri="{C3380CC4-5D6E-409C-BE32-E72D297353CC}">
              <c16:uniqueId val="{00000000-6618-412B-A997-ED407D8D99F8}"/>
            </c:ext>
          </c:extLst>
        </c:ser>
        <c:ser>
          <c:idx val="1"/>
          <c:order val="1"/>
          <c:tx>
            <c:strRef>
              <c:f>Sheet1!$C$1</c:f>
              <c:strCache>
                <c:ptCount val="1"/>
                <c:pt idx="0">
                  <c:v>Deloitte Green</c:v>
                </c:pt>
              </c:strCache>
            </c:strRef>
          </c:tx>
          <c:spPr>
            <a:ln>
              <a:solidFill>
                <a:srgbClr val="313131"/>
              </a:solidFill>
            </a:ln>
          </c:spPr>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C$2:$C$8</c:f>
              <c:numCache>
                <c:formatCode>General</c:formatCode>
                <c:ptCount val="7"/>
                <c:pt idx="0">
                  <c:v>15</c:v>
                </c:pt>
                <c:pt idx="1">
                  <c:v>27.4</c:v>
                </c:pt>
                <c:pt idx="2">
                  <c:v>38.6</c:v>
                </c:pt>
                <c:pt idx="3">
                  <c:v>46.9</c:v>
                </c:pt>
                <c:pt idx="4">
                  <c:v>20.399999999999999</c:v>
                </c:pt>
                <c:pt idx="5">
                  <c:v>31.6</c:v>
                </c:pt>
                <c:pt idx="6">
                  <c:v>50</c:v>
                </c:pt>
              </c:numCache>
            </c:numRef>
          </c:val>
          <c:smooth val="0"/>
          <c:extLst>
            <c:ext xmlns:c16="http://schemas.microsoft.com/office/drawing/2014/chart" uri="{C3380CC4-5D6E-409C-BE32-E72D297353CC}">
              <c16:uniqueId val="{00000001-6618-412B-A997-ED407D8D99F8}"/>
            </c:ext>
          </c:extLst>
        </c:ser>
        <c:ser>
          <c:idx val="2"/>
          <c:order val="2"/>
          <c:tx>
            <c:strRef>
              <c:f>Sheet1!$D$1</c:f>
              <c:strCache>
                <c:ptCount val="1"/>
                <c:pt idx="0">
                  <c:v>Mid Blue</c:v>
                </c:pt>
              </c:strCache>
            </c:strRef>
          </c:tx>
          <c:spPr>
            <a:ln>
              <a:solidFill>
                <a:srgbClr val="8C8C8C"/>
              </a:solidFill>
            </a:ln>
          </c:spPr>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D$2:$D$8</c:f>
              <c:numCache>
                <c:formatCode>General</c:formatCode>
                <c:ptCount val="7"/>
                <c:pt idx="0">
                  <c:v>15</c:v>
                </c:pt>
                <c:pt idx="1">
                  <c:v>25</c:v>
                </c:pt>
                <c:pt idx="2">
                  <c:v>49</c:v>
                </c:pt>
                <c:pt idx="3">
                  <c:v>30</c:v>
                </c:pt>
                <c:pt idx="4">
                  <c:v>50</c:v>
                </c:pt>
                <c:pt idx="5">
                  <c:v>55</c:v>
                </c:pt>
                <c:pt idx="6">
                  <c:v>60</c:v>
                </c:pt>
              </c:numCache>
            </c:numRef>
          </c:val>
          <c:smooth val="0"/>
          <c:extLst>
            <c:ext xmlns:c16="http://schemas.microsoft.com/office/drawing/2014/chart" uri="{C3380CC4-5D6E-409C-BE32-E72D297353CC}">
              <c16:uniqueId val="{00000002-6618-412B-A997-ED407D8D99F8}"/>
            </c:ext>
          </c:extLst>
        </c:ser>
        <c:dLbls>
          <c:showLegendKey val="0"/>
          <c:showVal val="0"/>
          <c:showCatName val="0"/>
          <c:showSerName val="0"/>
          <c:showPercent val="0"/>
          <c:showBubbleSize val="0"/>
        </c:dLbls>
        <c:smooth val="0"/>
        <c:axId val="1045354096"/>
        <c:axId val="1045354656"/>
      </c:lineChart>
      <c:catAx>
        <c:axId val="1045354096"/>
        <c:scaling>
          <c:orientation val="minMax"/>
        </c:scaling>
        <c:delete val="0"/>
        <c:axPos val="b"/>
        <c:title>
          <c:overlay val="0"/>
          <c:txPr>
            <a:bodyPr/>
            <a:lstStyle/>
            <a:p>
              <a:pPr>
                <a:defRPr sz="1000"/>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045354656"/>
        <c:crosses val="autoZero"/>
        <c:auto val="1"/>
        <c:lblAlgn val="ctr"/>
        <c:lblOffset val="100"/>
        <c:noMultiLvlLbl val="0"/>
      </c:catAx>
      <c:valAx>
        <c:axId val="1045354656"/>
        <c:scaling>
          <c:orientation val="minMax"/>
        </c:scaling>
        <c:delete val="0"/>
        <c:axPos val="l"/>
        <c:title>
          <c:overlay val="0"/>
          <c:txPr>
            <a:bodyPr rot="-5400000" vert="horz"/>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045354096"/>
        <c:crosses val="autoZero"/>
        <c:crossBetween val="midCat"/>
        <c:majorUnit val="25"/>
      </c:valAx>
    </c:plotArea>
    <c:legend>
      <c:legendPos val="b"/>
      <c:overlay val="0"/>
      <c:txPr>
        <a:bodyPr/>
        <a:lstStyle/>
        <a:p>
          <a:pPr>
            <a:defRPr sz="1000"/>
          </a:pPr>
          <a:endParaRPr lang="en-US"/>
        </a:p>
      </c:txPr>
    </c:legend>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850353366098501"/>
          <c:y val="3.9546124331371897E-2"/>
          <c:w val="0.78392138742046125"/>
          <c:h val="0.72075837876034732"/>
        </c:manualLayout>
      </c:layout>
      <c:lineChart>
        <c:grouping val="standard"/>
        <c:varyColors val="0"/>
        <c:ser>
          <c:idx val="0"/>
          <c:order val="0"/>
          <c:tx>
            <c:strRef>
              <c:f>Sheet1!$B$1</c:f>
              <c:strCache>
                <c:ptCount val="1"/>
                <c:pt idx="0">
                  <c:v>Deloitte blue</c:v>
                </c:pt>
              </c:strCache>
            </c:strRef>
          </c:tx>
          <c:spPr>
            <a:ln>
              <a:solidFill>
                <a:srgbClr val="00A1DE"/>
              </a:solidFill>
            </a:ln>
          </c:spPr>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B$2:$B$8</c:f>
              <c:numCache>
                <c:formatCode>General</c:formatCode>
                <c:ptCount val="7"/>
                <c:pt idx="0">
                  <c:v>15</c:v>
                </c:pt>
                <c:pt idx="1">
                  <c:v>20.399999999999999</c:v>
                </c:pt>
                <c:pt idx="2">
                  <c:v>30.6</c:v>
                </c:pt>
                <c:pt idx="3">
                  <c:v>45.9</c:v>
                </c:pt>
                <c:pt idx="4">
                  <c:v>90</c:v>
                </c:pt>
                <c:pt idx="5">
                  <c:v>34.6</c:v>
                </c:pt>
                <c:pt idx="6">
                  <c:v>25</c:v>
                </c:pt>
              </c:numCache>
            </c:numRef>
          </c:val>
          <c:smooth val="0"/>
          <c:extLst>
            <c:ext xmlns:c16="http://schemas.microsoft.com/office/drawing/2014/chart" uri="{C3380CC4-5D6E-409C-BE32-E72D297353CC}">
              <c16:uniqueId val="{00000000-D602-4704-BA8D-D4DD57ECBB3D}"/>
            </c:ext>
          </c:extLst>
        </c:ser>
        <c:ser>
          <c:idx val="1"/>
          <c:order val="1"/>
          <c:tx>
            <c:strRef>
              <c:f>Sheet1!$C$1</c:f>
              <c:strCache>
                <c:ptCount val="1"/>
                <c:pt idx="0">
                  <c:v>Deloitte Green</c:v>
                </c:pt>
              </c:strCache>
            </c:strRef>
          </c:tx>
          <c:spPr>
            <a:ln>
              <a:solidFill>
                <a:srgbClr val="313131"/>
              </a:solidFill>
            </a:ln>
          </c:spPr>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C$2:$C$8</c:f>
              <c:numCache>
                <c:formatCode>General</c:formatCode>
                <c:ptCount val="7"/>
                <c:pt idx="0">
                  <c:v>15</c:v>
                </c:pt>
                <c:pt idx="1">
                  <c:v>27.4</c:v>
                </c:pt>
                <c:pt idx="2">
                  <c:v>38.6</c:v>
                </c:pt>
                <c:pt idx="3">
                  <c:v>46.9</c:v>
                </c:pt>
                <c:pt idx="4">
                  <c:v>20.399999999999999</c:v>
                </c:pt>
                <c:pt idx="5">
                  <c:v>31.6</c:v>
                </c:pt>
                <c:pt idx="6">
                  <c:v>50</c:v>
                </c:pt>
              </c:numCache>
            </c:numRef>
          </c:val>
          <c:smooth val="0"/>
          <c:extLst>
            <c:ext xmlns:c16="http://schemas.microsoft.com/office/drawing/2014/chart" uri="{C3380CC4-5D6E-409C-BE32-E72D297353CC}">
              <c16:uniqueId val="{00000001-D602-4704-BA8D-D4DD57ECBB3D}"/>
            </c:ext>
          </c:extLst>
        </c:ser>
        <c:ser>
          <c:idx val="2"/>
          <c:order val="2"/>
          <c:tx>
            <c:strRef>
              <c:f>Sheet1!$D$1</c:f>
              <c:strCache>
                <c:ptCount val="1"/>
                <c:pt idx="0">
                  <c:v>Mid Blue</c:v>
                </c:pt>
              </c:strCache>
            </c:strRef>
          </c:tx>
          <c:spPr>
            <a:ln>
              <a:solidFill>
                <a:srgbClr val="8C8C8C"/>
              </a:solidFill>
            </a:ln>
          </c:spPr>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D$2:$D$8</c:f>
              <c:numCache>
                <c:formatCode>General</c:formatCode>
                <c:ptCount val="7"/>
                <c:pt idx="0">
                  <c:v>15</c:v>
                </c:pt>
                <c:pt idx="1">
                  <c:v>25</c:v>
                </c:pt>
                <c:pt idx="2">
                  <c:v>49</c:v>
                </c:pt>
                <c:pt idx="3">
                  <c:v>30</c:v>
                </c:pt>
                <c:pt idx="4">
                  <c:v>50</c:v>
                </c:pt>
                <c:pt idx="5">
                  <c:v>55</c:v>
                </c:pt>
                <c:pt idx="6">
                  <c:v>60</c:v>
                </c:pt>
              </c:numCache>
            </c:numRef>
          </c:val>
          <c:smooth val="0"/>
          <c:extLst>
            <c:ext xmlns:c16="http://schemas.microsoft.com/office/drawing/2014/chart" uri="{C3380CC4-5D6E-409C-BE32-E72D297353CC}">
              <c16:uniqueId val="{00000002-D602-4704-BA8D-D4DD57ECBB3D}"/>
            </c:ext>
          </c:extLst>
        </c:ser>
        <c:dLbls>
          <c:showLegendKey val="0"/>
          <c:showVal val="0"/>
          <c:showCatName val="0"/>
          <c:showSerName val="0"/>
          <c:showPercent val="0"/>
          <c:showBubbleSize val="0"/>
        </c:dLbls>
        <c:smooth val="0"/>
        <c:axId val="1045358016"/>
        <c:axId val="1045358576"/>
      </c:lineChart>
      <c:catAx>
        <c:axId val="1045358016"/>
        <c:scaling>
          <c:orientation val="minMax"/>
        </c:scaling>
        <c:delete val="0"/>
        <c:axPos val="b"/>
        <c:title>
          <c:overlay val="0"/>
          <c:txPr>
            <a:bodyPr/>
            <a:lstStyle/>
            <a:p>
              <a:pPr>
                <a:defRPr sz="1000"/>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045358576"/>
        <c:crosses val="autoZero"/>
        <c:auto val="1"/>
        <c:lblAlgn val="ctr"/>
        <c:lblOffset val="100"/>
        <c:noMultiLvlLbl val="0"/>
      </c:catAx>
      <c:valAx>
        <c:axId val="1045358576"/>
        <c:scaling>
          <c:orientation val="minMax"/>
        </c:scaling>
        <c:delete val="0"/>
        <c:axPos val="l"/>
        <c:title>
          <c:overlay val="0"/>
          <c:txPr>
            <a:bodyPr rot="-5400000" vert="horz"/>
            <a:lstStyle/>
            <a:p>
              <a:pPr>
                <a:defRPr sz="1000"/>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045358016"/>
        <c:crosses val="autoZero"/>
        <c:crossBetween val="midCat"/>
        <c:majorUnit val="25"/>
      </c:valAx>
    </c:plotArea>
    <c:legend>
      <c:legendPos val="b"/>
      <c:overlay val="0"/>
      <c:txPr>
        <a:bodyPr/>
        <a:lstStyle/>
        <a:p>
          <a:pPr>
            <a:defRPr sz="1000"/>
          </a:pPr>
          <a:endParaRPr lang="en-US"/>
        </a:p>
      </c:txPr>
    </c:legend>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850353366098501"/>
          <c:y val="3.9546124331371897E-2"/>
          <c:w val="0.82192491171687498"/>
          <c:h val="0.6510041691661933"/>
        </c:manualLayout>
      </c:layout>
      <c:lineChart>
        <c:grouping val="standard"/>
        <c:varyColors val="0"/>
        <c:ser>
          <c:idx val="0"/>
          <c:order val="0"/>
          <c:tx>
            <c:strRef>
              <c:f>Sheet1!$B$1</c:f>
              <c:strCache>
                <c:ptCount val="1"/>
                <c:pt idx="0">
                  <c:v>Deloitte blue</c:v>
                </c:pt>
              </c:strCache>
            </c:strRef>
          </c:tx>
          <c:spPr>
            <a:ln>
              <a:solidFill>
                <a:srgbClr val="00A1DE"/>
              </a:solidFill>
            </a:ln>
          </c:spPr>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B$2:$B$8</c:f>
              <c:numCache>
                <c:formatCode>General</c:formatCode>
                <c:ptCount val="7"/>
                <c:pt idx="0">
                  <c:v>15</c:v>
                </c:pt>
                <c:pt idx="1">
                  <c:v>20.399999999999999</c:v>
                </c:pt>
                <c:pt idx="2">
                  <c:v>30.6</c:v>
                </c:pt>
                <c:pt idx="3">
                  <c:v>45.9</c:v>
                </c:pt>
                <c:pt idx="4">
                  <c:v>90</c:v>
                </c:pt>
                <c:pt idx="5">
                  <c:v>34.6</c:v>
                </c:pt>
                <c:pt idx="6">
                  <c:v>25</c:v>
                </c:pt>
              </c:numCache>
            </c:numRef>
          </c:val>
          <c:smooth val="0"/>
          <c:extLst>
            <c:ext xmlns:c16="http://schemas.microsoft.com/office/drawing/2014/chart" uri="{C3380CC4-5D6E-409C-BE32-E72D297353CC}">
              <c16:uniqueId val="{00000000-D21C-4364-ADAF-CEFD11BFE072}"/>
            </c:ext>
          </c:extLst>
        </c:ser>
        <c:ser>
          <c:idx val="1"/>
          <c:order val="1"/>
          <c:tx>
            <c:strRef>
              <c:f>Sheet1!$C$1</c:f>
              <c:strCache>
                <c:ptCount val="1"/>
                <c:pt idx="0">
                  <c:v>Deloitte Green</c:v>
                </c:pt>
              </c:strCache>
            </c:strRef>
          </c:tx>
          <c:spPr>
            <a:ln>
              <a:solidFill>
                <a:srgbClr val="313131"/>
              </a:solidFill>
            </a:ln>
          </c:spPr>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C$2:$C$8</c:f>
              <c:numCache>
                <c:formatCode>General</c:formatCode>
                <c:ptCount val="7"/>
                <c:pt idx="0">
                  <c:v>15</c:v>
                </c:pt>
                <c:pt idx="1">
                  <c:v>27.4</c:v>
                </c:pt>
                <c:pt idx="2">
                  <c:v>38.6</c:v>
                </c:pt>
                <c:pt idx="3">
                  <c:v>46.9</c:v>
                </c:pt>
                <c:pt idx="4">
                  <c:v>20.399999999999999</c:v>
                </c:pt>
                <c:pt idx="5">
                  <c:v>31.6</c:v>
                </c:pt>
                <c:pt idx="6">
                  <c:v>50</c:v>
                </c:pt>
              </c:numCache>
            </c:numRef>
          </c:val>
          <c:smooth val="0"/>
          <c:extLst>
            <c:ext xmlns:c16="http://schemas.microsoft.com/office/drawing/2014/chart" uri="{C3380CC4-5D6E-409C-BE32-E72D297353CC}">
              <c16:uniqueId val="{00000001-D21C-4364-ADAF-CEFD11BFE072}"/>
            </c:ext>
          </c:extLst>
        </c:ser>
        <c:ser>
          <c:idx val="2"/>
          <c:order val="2"/>
          <c:tx>
            <c:strRef>
              <c:f>Sheet1!$D$1</c:f>
              <c:strCache>
                <c:ptCount val="1"/>
                <c:pt idx="0">
                  <c:v>Mid Blue</c:v>
                </c:pt>
              </c:strCache>
            </c:strRef>
          </c:tx>
          <c:spPr>
            <a:ln>
              <a:solidFill>
                <a:srgbClr val="8C8C8C"/>
              </a:solidFill>
            </a:ln>
          </c:spPr>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D$2:$D$8</c:f>
              <c:numCache>
                <c:formatCode>General</c:formatCode>
                <c:ptCount val="7"/>
                <c:pt idx="0">
                  <c:v>15</c:v>
                </c:pt>
                <c:pt idx="1">
                  <c:v>25</c:v>
                </c:pt>
                <c:pt idx="2">
                  <c:v>49</c:v>
                </c:pt>
                <c:pt idx="3">
                  <c:v>30</c:v>
                </c:pt>
                <c:pt idx="4">
                  <c:v>50</c:v>
                </c:pt>
                <c:pt idx="5">
                  <c:v>55</c:v>
                </c:pt>
                <c:pt idx="6">
                  <c:v>60</c:v>
                </c:pt>
              </c:numCache>
            </c:numRef>
          </c:val>
          <c:smooth val="0"/>
          <c:extLst>
            <c:ext xmlns:c16="http://schemas.microsoft.com/office/drawing/2014/chart" uri="{C3380CC4-5D6E-409C-BE32-E72D297353CC}">
              <c16:uniqueId val="{00000002-D21C-4364-ADAF-CEFD11BFE072}"/>
            </c:ext>
          </c:extLst>
        </c:ser>
        <c:dLbls>
          <c:showLegendKey val="0"/>
          <c:showVal val="0"/>
          <c:showCatName val="0"/>
          <c:showSerName val="0"/>
          <c:showPercent val="0"/>
          <c:showBubbleSize val="0"/>
        </c:dLbls>
        <c:smooth val="0"/>
        <c:axId val="1045362496"/>
        <c:axId val="1045363056"/>
      </c:lineChart>
      <c:catAx>
        <c:axId val="1045362496"/>
        <c:scaling>
          <c:orientation val="minMax"/>
        </c:scaling>
        <c:delete val="0"/>
        <c:axPos val="b"/>
        <c:title>
          <c:overlay val="0"/>
          <c:txPr>
            <a:bodyPr/>
            <a:lstStyle/>
            <a:p>
              <a:pPr>
                <a:defRPr sz="1000"/>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045363056"/>
        <c:crosses val="autoZero"/>
        <c:auto val="1"/>
        <c:lblAlgn val="ctr"/>
        <c:lblOffset val="100"/>
        <c:noMultiLvlLbl val="0"/>
      </c:catAx>
      <c:valAx>
        <c:axId val="1045363056"/>
        <c:scaling>
          <c:orientation val="minMax"/>
        </c:scaling>
        <c:delete val="0"/>
        <c:axPos val="l"/>
        <c:title>
          <c:overlay val="0"/>
          <c:txPr>
            <a:bodyPr rot="-5400000" vert="horz"/>
            <a:lstStyle/>
            <a:p>
              <a:pPr>
                <a:defRPr sz="1000"/>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045362496"/>
        <c:crosses val="autoZero"/>
        <c:crossBetween val="midCat"/>
        <c:majorUnit val="25"/>
      </c:valAx>
    </c:plotArea>
    <c:legend>
      <c:legendPos val="b"/>
      <c:layout>
        <c:manualLayout>
          <c:xMode val="edge"/>
          <c:yMode val="edge"/>
          <c:x val="0.11815876076363285"/>
          <c:y val="0.84273898934605307"/>
          <c:w val="0.8776930122511718"/>
          <c:h val="4.7863467979407728E-2"/>
        </c:manualLayout>
      </c:layout>
      <c:overlay val="0"/>
      <c:txPr>
        <a:bodyPr/>
        <a:lstStyle/>
        <a:p>
          <a:pPr>
            <a:defRPr sz="1000"/>
          </a:pPr>
          <a:endParaRPr lang="en-US"/>
        </a:p>
      </c:txPr>
    </c:legend>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31063490052416E-2"/>
          <c:y val="3.9546124331371897E-2"/>
          <c:w val="0.89636570819301298"/>
          <c:h val="0.75614294740935162"/>
        </c:manualLayout>
      </c:layout>
      <c:lineChart>
        <c:grouping val="standard"/>
        <c:varyColors val="0"/>
        <c:ser>
          <c:idx val="0"/>
          <c:order val="0"/>
          <c:tx>
            <c:strRef>
              <c:f>Sheet1!$B$1</c:f>
              <c:strCache>
                <c:ptCount val="1"/>
                <c:pt idx="0">
                  <c:v>Deloitte blue</c:v>
                </c:pt>
              </c:strCache>
            </c:strRef>
          </c:tx>
          <c:spPr>
            <a:ln>
              <a:solidFill>
                <a:srgbClr val="B4B4B4"/>
              </a:solidFill>
            </a:ln>
          </c:spPr>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B$2:$B$8</c:f>
              <c:numCache>
                <c:formatCode>General</c:formatCode>
                <c:ptCount val="7"/>
                <c:pt idx="0">
                  <c:v>15</c:v>
                </c:pt>
                <c:pt idx="1">
                  <c:v>20.399999999999999</c:v>
                </c:pt>
                <c:pt idx="2">
                  <c:v>30.6</c:v>
                </c:pt>
                <c:pt idx="3">
                  <c:v>45.9</c:v>
                </c:pt>
                <c:pt idx="4">
                  <c:v>90</c:v>
                </c:pt>
                <c:pt idx="5">
                  <c:v>34.6</c:v>
                </c:pt>
                <c:pt idx="6">
                  <c:v>25</c:v>
                </c:pt>
              </c:numCache>
            </c:numRef>
          </c:val>
          <c:smooth val="1"/>
          <c:extLst>
            <c:ext xmlns:c16="http://schemas.microsoft.com/office/drawing/2014/chart" uri="{C3380CC4-5D6E-409C-BE32-E72D297353CC}">
              <c16:uniqueId val="{00000000-2837-4823-95C8-7D4C3DFC636C}"/>
            </c:ext>
          </c:extLst>
        </c:ser>
        <c:ser>
          <c:idx val="1"/>
          <c:order val="1"/>
          <c:tx>
            <c:strRef>
              <c:f>Sheet1!$C$1</c:f>
              <c:strCache>
                <c:ptCount val="1"/>
                <c:pt idx="0">
                  <c:v>Deloitte Green</c:v>
                </c:pt>
              </c:strCache>
            </c:strRef>
          </c:tx>
          <c:spPr>
            <a:ln>
              <a:prstDash val="dash"/>
            </a:ln>
          </c:spPr>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C$2:$C$8</c:f>
              <c:numCache>
                <c:formatCode>General</c:formatCode>
                <c:ptCount val="7"/>
                <c:pt idx="0">
                  <c:v>15</c:v>
                </c:pt>
                <c:pt idx="1">
                  <c:v>27.4</c:v>
                </c:pt>
                <c:pt idx="2">
                  <c:v>38.6</c:v>
                </c:pt>
                <c:pt idx="3">
                  <c:v>46.9</c:v>
                </c:pt>
                <c:pt idx="4">
                  <c:v>20.399999999999999</c:v>
                </c:pt>
                <c:pt idx="5">
                  <c:v>31.6</c:v>
                </c:pt>
                <c:pt idx="6">
                  <c:v>50</c:v>
                </c:pt>
              </c:numCache>
            </c:numRef>
          </c:val>
          <c:smooth val="1"/>
          <c:extLst>
            <c:ext xmlns:c16="http://schemas.microsoft.com/office/drawing/2014/chart" uri="{C3380CC4-5D6E-409C-BE32-E72D297353CC}">
              <c16:uniqueId val="{00000001-2837-4823-95C8-7D4C3DFC636C}"/>
            </c:ext>
          </c:extLst>
        </c:ser>
        <c:ser>
          <c:idx val="2"/>
          <c:order val="2"/>
          <c:tx>
            <c:strRef>
              <c:f>Sheet1!$D$1</c:f>
              <c:strCache>
                <c:ptCount val="1"/>
                <c:pt idx="0">
                  <c:v>Mid Blue</c:v>
                </c:pt>
              </c:strCache>
            </c:strRef>
          </c:tx>
          <c:spPr>
            <a:ln>
              <a:solidFill>
                <a:srgbClr val="575757"/>
              </a:solidFill>
            </a:ln>
          </c:spPr>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D$2:$D$8</c:f>
              <c:numCache>
                <c:formatCode>General</c:formatCode>
                <c:ptCount val="7"/>
                <c:pt idx="0">
                  <c:v>15</c:v>
                </c:pt>
                <c:pt idx="1">
                  <c:v>25</c:v>
                </c:pt>
                <c:pt idx="2">
                  <c:v>49</c:v>
                </c:pt>
                <c:pt idx="3">
                  <c:v>30</c:v>
                </c:pt>
                <c:pt idx="4">
                  <c:v>50</c:v>
                </c:pt>
                <c:pt idx="5">
                  <c:v>55</c:v>
                </c:pt>
                <c:pt idx="6">
                  <c:v>60</c:v>
                </c:pt>
              </c:numCache>
            </c:numRef>
          </c:val>
          <c:smooth val="1"/>
          <c:extLst>
            <c:ext xmlns:c16="http://schemas.microsoft.com/office/drawing/2014/chart" uri="{C3380CC4-5D6E-409C-BE32-E72D297353CC}">
              <c16:uniqueId val="{00000002-2837-4823-95C8-7D4C3DFC636C}"/>
            </c:ext>
          </c:extLst>
        </c:ser>
        <c:dLbls>
          <c:showLegendKey val="0"/>
          <c:showVal val="0"/>
          <c:showCatName val="0"/>
          <c:showSerName val="0"/>
          <c:showPercent val="0"/>
          <c:showBubbleSize val="0"/>
        </c:dLbls>
        <c:smooth val="0"/>
        <c:axId val="1045366976"/>
        <c:axId val="1045367536"/>
      </c:lineChart>
      <c:catAx>
        <c:axId val="1045366976"/>
        <c:scaling>
          <c:orientation val="minMax"/>
        </c:scaling>
        <c:delete val="0"/>
        <c:axPos val="b"/>
        <c:title>
          <c:overlay val="0"/>
          <c:txPr>
            <a:bodyPr/>
            <a:lstStyle/>
            <a:p>
              <a:pPr>
                <a:defRPr sz="1000"/>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045367536"/>
        <c:crosses val="autoZero"/>
        <c:auto val="1"/>
        <c:lblAlgn val="ctr"/>
        <c:lblOffset val="100"/>
        <c:noMultiLvlLbl val="0"/>
      </c:catAx>
      <c:valAx>
        <c:axId val="1045367536"/>
        <c:scaling>
          <c:orientation val="minMax"/>
        </c:scaling>
        <c:delete val="0"/>
        <c:axPos val="l"/>
        <c:title>
          <c:overlay val="0"/>
          <c:txPr>
            <a:bodyPr rot="-5400000" vert="horz"/>
            <a:lstStyle/>
            <a:p>
              <a:pPr>
                <a:defRPr sz="1000"/>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045366976"/>
        <c:crosses val="autoZero"/>
        <c:crossBetween val="midCat"/>
        <c:majorUnit val="25"/>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148435314677027"/>
          <c:y val="3.9546175287739571E-2"/>
          <c:w val="0.7166094175962654"/>
          <c:h val="0.72794849106725001"/>
        </c:manualLayout>
      </c:layout>
      <c:lineChart>
        <c:grouping val="standard"/>
        <c:varyColors val="0"/>
        <c:ser>
          <c:idx val="0"/>
          <c:order val="0"/>
          <c:tx>
            <c:strRef>
              <c:f>Sheet1!$B$1</c:f>
              <c:strCache>
                <c:ptCount val="1"/>
                <c:pt idx="0">
                  <c:v>Deloitte blue</c:v>
                </c:pt>
              </c:strCache>
            </c:strRef>
          </c:tx>
          <c:spPr>
            <a:ln>
              <a:solidFill>
                <a:srgbClr val="575757"/>
              </a:solidFill>
            </a:ln>
          </c:spPr>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B$2:$B$8</c:f>
              <c:numCache>
                <c:formatCode>General</c:formatCode>
                <c:ptCount val="7"/>
                <c:pt idx="0">
                  <c:v>15</c:v>
                </c:pt>
                <c:pt idx="1">
                  <c:v>20.399999999999999</c:v>
                </c:pt>
                <c:pt idx="2">
                  <c:v>30.6</c:v>
                </c:pt>
                <c:pt idx="3">
                  <c:v>45.9</c:v>
                </c:pt>
                <c:pt idx="4">
                  <c:v>90</c:v>
                </c:pt>
                <c:pt idx="5">
                  <c:v>34.6</c:v>
                </c:pt>
                <c:pt idx="6">
                  <c:v>25</c:v>
                </c:pt>
              </c:numCache>
            </c:numRef>
          </c:val>
          <c:smooth val="1"/>
          <c:extLst>
            <c:ext xmlns:c16="http://schemas.microsoft.com/office/drawing/2014/chart" uri="{C3380CC4-5D6E-409C-BE32-E72D297353CC}">
              <c16:uniqueId val="{00000000-F834-4945-9BF2-1B11BC64F5FD}"/>
            </c:ext>
          </c:extLst>
        </c:ser>
        <c:ser>
          <c:idx val="1"/>
          <c:order val="1"/>
          <c:tx>
            <c:strRef>
              <c:f>Sheet1!$C$1</c:f>
              <c:strCache>
                <c:ptCount val="1"/>
                <c:pt idx="0">
                  <c:v>Deloitte Green</c:v>
                </c:pt>
              </c:strCache>
            </c:strRef>
          </c:tx>
          <c:spPr>
            <a:ln>
              <a:solidFill>
                <a:srgbClr val="00A1DE"/>
              </a:solidFill>
              <a:prstDash val="dash"/>
            </a:ln>
          </c:spPr>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C$2:$C$8</c:f>
              <c:numCache>
                <c:formatCode>General</c:formatCode>
                <c:ptCount val="7"/>
                <c:pt idx="0">
                  <c:v>15</c:v>
                </c:pt>
                <c:pt idx="1">
                  <c:v>27.4</c:v>
                </c:pt>
                <c:pt idx="2">
                  <c:v>38.6</c:v>
                </c:pt>
                <c:pt idx="3">
                  <c:v>46.9</c:v>
                </c:pt>
                <c:pt idx="4">
                  <c:v>20.399999999999999</c:v>
                </c:pt>
                <c:pt idx="5">
                  <c:v>31.6</c:v>
                </c:pt>
                <c:pt idx="6">
                  <c:v>50</c:v>
                </c:pt>
              </c:numCache>
            </c:numRef>
          </c:val>
          <c:smooth val="1"/>
          <c:extLst>
            <c:ext xmlns:c16="http://schemas.microsoft.com/office/drawing/2014/chart" uri="{C3380CC4-5D6E-409C-BE32-E72D297353CC}">
              <c16:uniqueId val="{00000001-F834-4945-9BF2-1B11BC64F5FD}"/>
            </c:ext>
          </c:extLst>
        </c:ser>
        <c:ser>
          <c:idx val="2"/>
          <c:order val="2"/>
          <c:tx>
            <c:strRef>
              <c:f>Sheet1!$D$1</c:f>
              <c:strCache>
                <c:ptCount val="1"/>
                <c:pt idx="0">
                  <c:v>Mid Blue</c:v>
                </c:pt>
              </c:strCache>
            </c:strRef>
          </c:tx>
          <c:spPr>
            <a:ln>
              <a:solidFill>
                <a:srgbClr val="B4B4B4"/>
              </a:solidFill>
            </a:ln>
          </c:spPr>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D$2:$D$8</c:f>
              <c:numCache>
                <c:formatCode>General</c:formatCode>
                <c:ptCount val="7"/>
                <c:pt idx="0">
                  <c:v>15</c:v>
                </c:pt>
                <c:pt idx="1">
                  <c:v>25</c:v>
                </c:pt>
                <c:pt idx="2">
                  <c:v>49</c:v>
                </c:pt>
                <c:pt idx="3">
                  <c:v>30</c:v>
                </c:pt>
                <c:pt idx="4">
                  <c:v>50</c:v>
                </c:pt>
                <c:pt idx="5">
                  <c:v>55</c:v>
                </c:pt>
                <c:pt idx="6">
                  <c:v>60</c:v>
                </c:pt>
              </c:numCache>
            </c:numRef>
          </c:val>
          <c:smooth val="1"/>
          <c:extLst>
            <c:ext xmlns:c16="http://schemas.microsoft.com/office/drawing/2014/chart" uri="{C3380CC4-5D6E-409C-BE32-E72D297353CC}">
              <c16:uniqueId val="{00000002-F834-4945-9BF2-1B11BC64F5FD}"/>
            </c:ext>
          </c:extLst>
        </c:ser>
        <c:dLbls>
          <c:showLegendKey val="0"/>
          <c:showVal val="0"/>
          <c:showCatName val="0"/>
          <c:showSerName val="0"/>
          <c:showPercent val="0"/>
          <c:showBubbleSize val="0"/>
        </c:dLbls>
        <c:smooth val="0"/>
        <c:axId val="873466208"/>
        <c:axId val="873466768"/>
      </c:lineChart>
      <c:catAx>
        <c:axId val="873466208"/>
        <c:scaling>
          <c:orientation val="minMax"/>
        </c:scaling>
        <c:delete val="0"/>
        <c:axPos val="b"/>
        <c:title>
          <c:layout>
            <c:manualLayout>
              <c:xMode val="edge"/>
              <c:yMode val="edge"/>
              <c:x val="0.45383246682931594"/>
              <c:y val="0.83947174566388894"/>
            </c:manualLayout>
          </c:layout>
          <c:overlay val="0"/>
          <c:txPr>
            <a:bodyPr/>
            <a:lstStyle/>
            <a:p>
              <a:pPr>
                <a:defRPr sz="1000"/>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873466768"/>
        <c:crosses val="autoZero"/>
        <c:auto val="1"/>
        <c:lblAlgn val="ctr"/>
        <c:lblOffset val="100"/>
        <c:noMultiLvlLbl val="0"/>
      </c:catAx>
      <c:valAx>
        <c:axId val="873466768"/>
        <c:scaling>
          <c:orientation val="minMax"/>
        </c:scaling>
        <c:delete val="0"/>
        <c:axPos val="l"/>
        <c:title>
          <c:layout>
            <c:manualLayout>
              <c:xMode val="edge"/>
              <c:yMode val="edge"/>
              <c:x val="3.2138085625072893E-2"/>
              <c:y val="0.32997013732432912"/>
            </c:manualLayout>
          </c:layout>
          <c:overlay val="0"/>
          <c:txPr>
            <a:bodyPr rot="-5400000" vert="horz"/>
            <a:lstStyle/>
            <a:p>
              <a:pPr>
                <a:defRPr sz="1000"/>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873466208"/>
        <c:crosses val="autoZero"/>
        <c:crossBetween val="midCat"/>
        <c:majorUnit val="25"/>
      </c:valAx>
    </c:plotArea>
    <c:legend>
      <c:legendPos val="b"/>
      <c:overlay val="0"/>
      <c:txPr>
        <a:bodyPr/>
        <a:lstStyle/>
        <a:p>
          <a:pPr>
            <a:defRPr sz="1000"/>
          </a:pPr>
          <a:endParaRPr lang="en-US"/>
        </a:p>
      </c:txPr>
    </c:legend>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148435314677027"/>
          <c:y val="3.9546175287739571E-2"/>
          <c:w val="0.7166094175962654"/>
          <c:h val="0.72794849106725001"/>
        </c:manualLayout>
      </c:layout>
      <c:lineChart>
        <c:grouping val="standard"/>
        <c:varyColors val="0"/>
        <c:ser>
          <c:idx val="0"/>
          <c:order val="0"/>
          <c:tx>
            <c:strRef>
              <c:f>Sheet1!$B$1</c:f>
              <c:strCache>
                <c:ptCount val="1"/>
                <c:pt idx="0">
                  <c:v>Deloitte blue</c:v>
                </c:pt>
              </c:strCache>
            </c:strRef>
          </c:tx>
          <c:spPr>
            <a:ln>
              <a:solidFill>
                <a:srgbClr val="575757"/>
              </a:solidFill>
            </a:ln>
          </c:spPr>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B$2:$B$8</c:f>
              <c:numCache>
                <c:formatCode>General</c:formatCode>
                <c:ptCount val="7"/>
                <c:pt idx="0">
                  <c:v>15</c:v>
                </c:pt>
                <c:pt idx="1">
                  <c:v>20.399999999999999</c:v>
                </c:pt>
                <c:pt idx="2">
                  <c:v>30.6</c:v>
                </c:pt>
                <c:pt idx="3">
                  <c:v>45.9</c:v>
                </c:pt>
                <c:pt idx="4">
                  <c:v>90</c:v>
                </c:pt>
                <c:pt idx="5">
                  <c:v>34.6</c:v>
                </c:pt>
                <c:pt idx="6">
                  <c:v>25</c:v>
                </c:pt>
              </c:numCache>
            </c:numRef>
          </c:val>
          <c:smooth val="1"/>
          <c:extLst>
            <c:ext xmlns:c16="http://schemas.microsoft.com/office/drawing/2014/chart" uri="{C3380CC4-5D6E-409C-BE32-E72D297353CC}">
              <c16:uniqueId val="{00000000-AE5A-4900-8628-42F7FE27A746}"/>
            </c:ext>
          </c:extLst>
        </c:ser>
        <c:ser>
          <c:idx val="1"/>
          <c:order val="1"/>
          <c:tx>
            <c:strRef>
              <c:f>Sheet1!$C$1</c:f>
              <c:strCache>
                <c:ptCount val="1"/>
                <c:pt idx="0">
                  <c:v>Deloitte Green</c:v>
                </c:pt>
              </c:strCache>
            </c:strRef>
          </c:tx>
          <c:spPr>
            <a:ln>
              <a:solidFill>
                <a:srgbClr val="00A1DE"/>
              </a:solidFill>
              <a:prstDash val="dash"/>
            </a:ln>
          </c:spPr>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C$2:$C$8</c:f>
              <c:numCache>
                <c:formatCode>General</c:formatCode>
                <c:ptCount val="7"/>
                <c:pt idx="0">
                  <c:v>15</c:v>
                </c:pt>
                <c:pt idx="1">
                  <c:v>27.4</c:v>
                </c:pt>
                <c:pt idx="2">
                  <c:v>38.6</c:v>
                </c:pt>
                <c:pt idx="3">
                  <c:v>46.9</c:v>
                </c:pt>
                <c:pt idx="4">
                  <c:v>20.399999999999999</c:v>
                </c:pt>
                <c:pt idx="5">
                  <c:v>31.6</c:v>
                </c:pt>
                <c:pt idx="6">
                  <c:v>50</c:v>
                </c:pt>
              </c:numCache>
            </c:numRef>
          </c:val>
          <c:smooth val="1"/>
          <c:extLst>
            <c:ext xmlns:c16="http://schemas.microsoft.com/office/drawing/2014/chart" uri="{C3380CC4-5D6E-409C-BE32-E72D297353CC}">
              <c16:uniqueId val="{00000001-AE5A-4900-8628-42F7FE27A746}"/>
            </c:ext>
          </c:extLst>
        </c:ser>
        <c:ser>
          <c:idx val="2"/>
          <c:order val="2"/>
          <c:tx>
            <c:strRef>
              <c:f>Sheet1!$D$1</c:f>
              <c:strCache>
                <c:ptCount val="1"/>
                <c:pt idx="0">
                  <c:v>Mid Blue</c:v>
                </c:pt>
              </c:strCache>
            </c:strRef>
          </c:tx>
          <c:spPr>
            <a:ln>
              <a:solidFill>
                <a:srgbClr val="B4B4B4"/>
              </a:solidFill>
            </a:ln>
          </c:spPr>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D$2:$D$8</c:f>
              <c:numCache>
                <c:formatCode>General</c:formatCode>
                <c:ptCount val="7"/>
                <c:pt idx="0">
                  <c:v>15</c:v>
                </c:pt>
                <c:pt idx="1">
                  <c:v>25</c:v>
                </c:pt>
                <c:pt idx="2">
                  <c:v>49</c:v>
                </c:pt>
                <c:pt idx="3">
                  <c:v>30</c:v>
                </c:pt>
                <c:pt idx="4">
                  <c:v>50</c:v>
                </c:pt>
                <c:pt idx="5">
                  <c:v>55</c:v>
                </c:pt>
                <c:pt idx="6">
                  <c:v>60</c:v>
                </c:pt>
              </c:numCache>
            </c:numRef>
          </c:val>
          <c:smooth val="1"/>
          <c:extLst>
            <c:ext xmlns:c16="http://schemas.microsoft.com/office/drawing/2014/chart" uri="{C3380CC4-5D6E-409C-BE32-E72D297353CC}">
              <c16:uniqueId val="{00000002-AE5A-4900-8628-42F7FE27A746}"/>
            </c:ext>
          </c:extLst>
        </c:ser>
        <c:dLbls>
          <c:showLegendKey val="0"/>
          <c:showVal val="0"/>
          <c:showCatName val="0"/>
          <c:showSerName val="0"/>
          <c:showPercent val="0"/>
          <c:showBubbleSize val="0"/>
        </c:dLbls>
        <c:smooth val="0"/>
        <c:axId val="873470128"/>
        <c:axId val="873470688"/>
      </c:lineChart>
      <c:catAx>
        <c:axId val="873470128"/>
        <c:scaling>
          <c:orientation val="minMax"/>
        </c:scaling>
        <c:delete val="0"/>
        <c:axPos val="b"/>
        <c:title>
          <c:layout>
            <c:manualLayout>
              <c:xMode val="edge"/>
              <c:yMode val="edge"/>
              <c:x val="0.45383246682931594"/>
              <c:y val="0.83947174566388894"/>
            </c:manualLayout>
          </c:layout>
          <c:overlay val="0"/>
          <c:txPr>
            <a:bodyPr/>
            <a:lstStyle/>
            <a:p>
              <a:pPr>
                <a:defRPr sz="1000"/>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873470688"/>
        <c:crosses val="autoZero"/>
        <c:auto val="1"/>
        <c:lblAlgn val="ctr"/>
        <c:lblOffset val="100"/>
        <c:noMultiLvlLbl val="0"/>
      </c:catAx>
      <c:valAx>
        <c:axId val="873470688"/>
        <c:scaling>
          <c:orientation val="minMax"/>
        </c:scaling>
        <c:delete val="0"/>
        <c:axPos val="l"/>
        <c:title>
          <c:layout>
            <c:manualLayout>
              <c:xMode val="edge"/>
              <c:yMode val="edge"/>
              <c:x val="3.2138085625072893E-2"/>
              <c:y val="0.32997013732432912"/>
            </c:manualLayout>
          </c:layout>
          <c:overlay val="0"/>
          <c:txPr>
            <a:bodyPr rot="-5400000" vert="horz"/>
            <a:lstStyle/>
            <a:p>
              <a:pPr>
                <a:defRPr sz="1000"/>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873470128"/>
        <c:crosses val="autoZero"/>
        <c:crossBetween val="midCat"/>
        <c:majorUnit val="25"/>
      </c:valAx>
    </c:plotArea>
    <c:legend>
      <c:legendPos val="b"/>
      <c:overlay val="0"/>
      <c:txPr>
        <a:bodyPr/>
        <a:lstStyle/>
        <a:p>
          <a:pPr>
            <a:defRPr sz="1000"/>
          </a:pPr>
          <a:endParaRPr lang="en-US"/>
        </a:p>
      </c:txPr>
    </c:legend>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869420080463434"/>
          <c:y val="3.9546124331371897E-2"/>
          <c:w val="0.82500550509850945"/>
          <c:h val="0.7374672178183036"/>
        </c:manualLayout>
      </c:layout>
      <c:lineChart>
        <c:grouping val="standard"/>
        <c:varyColors val="0"/>
        <c:ser>
          <c:idx val="0"/>
          <c:order val="0"/>
          <c:tx>
            <c:strRef>
              <c:f>Sheet1!$B$1</c:f>
              <c:strCache>
                <c:ptCount val="1"/>
                <c:pt idx="0">
                  <c:v>Deloitte blue</c:v>
                </c:pt>
              </c:strCache>
            </c:strRef>
          </c:tx>
          <c:spPr>
            <a:ln>
              <a:solidFill>
                <a:srgbClr val="575757"/>
              </a:solidFill>
            </a:ln>
          </c:spPr>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B$2:$B$8</c:f>
              <c:numCache>
                <c:formatCode>General</c:formatCode>
                <c:ptCount val="7"/>
                <c:pt idx="0">
                  <c:v>15</c:v>
                </c:pt>
                <c:pt idx="1">
                  <c:v>20.399999999999999</c:v>
                </c:pt>
                <c:pt idx="2">
                  <c:v>30.6</c:v>
                </c:pt>
                <c:pt idx="3">
                  <c:v>45.9</c:v>
                </c:pt>
                <c:pt idx="4">
                  <c:v>90</c:v>
                </c:pt>
                <c:pt idx="5">
                  <c:v>34.6</c:v>
                </c:pt>
                <c:pt idx="6">
                  <c:v>25</c:v>
                </c:pt>
              </c:numCache>
            </c:numRef>
          </c:val>
          <c:smooth val="1"/>
          <c:extLst>
            <c:ext xmlns:c16="http://schemas.microsoft.com/office/drawing/2014/chart" uri="{C3380CC4-5D6E-409C-BE32-E72D297353CC}">
              <c16:uniqueId val="{00000000-2D4F-4CDD-B365-2DE6C333EDE7}"/>
            </c:ext>
          </c:extLst>
        </c:ser>
        <c:ser>
          <c:idx val="1"/>
          <c:order val="1"/>
          <c:tx>
            <c:strRef>
              <c:f>Sheet1!$C$1</c:f>
              <c:strCache>
                <c:ptCount val="1"/>
                <c:pt idx="0">
                  <c:v>Deloitte Green</c:v>
                </c:pt>
              </c:strCache>
            </c:strRef>
          </c:tx>
          <c:spPr>
            <a:ln>
              <a:solidFill>
                <a:srgbClr val="00A1DE"/>
              </a:solidFill>
              <a:prstDash val="dash"/>
            </a:ln>
          </c:spPr>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C$2:$C$8</c:f>
              <c:numCache>
                <c:formatCode>General</c:formatCode>
                <c:ptCount val="7"/>
                <c:pt idx="0">
                  <c:v>15</c:v>
                </c:pt>
                <c:pt idx="1">
                  <c:v>27.4</c:v>
                </c:pt>
                <c:pt idx="2">
                  <c:v>38.6</c:v>
                </c:pt>
                <c:pt idx="3">
                  <c:v>46.9</c:v>
                </c:pt>
                <c:pt idx="4">
                  <c:v>20.399999999999999</c:v>
                </c:pt>
                <c:pt idx="5">
                  <c:v>31.6</c:v>
                </c:pt>
                <c:pt idx="6">
                  <c:v>50</c:v>
                </c:pt>
              </c:numCache>
            </c:numRef>
          </c:val>
          <c:smooth val="1"/>
          <c:extLst>
            <c:ext xmlns:c16="http://schemas.microsoft.com/office/drawing/2014/chart" uri="{C3380CC4-5D6E-409C-BE32-E72D297353CC}">
              <c16:uniqueId val="{00000001-2D4F-4CDD-B365-2DE6C333EDE7}"/>
            </c:ext>
          </c:extLst>
        </c:ser>
        <c:ser>
          <c:idx val="2"/>
          <c:order val="2"/>
          <c:tx>
            <c:strRef>
              <c:f>Sheet1!$D$1</c:f>
              <c:strCache>
                <c:ptCount val="1"/>
                <c:pt idx="0">
                  <c:v>Mid Blue</c:v>
                </c:pt>
              </c:strCache>
            </c:strRef>
          </c:tx>
          <c:spPr>
            <a:ln>
              <a:solidFill>
                <a:srgbClr val="B4B4B4"/>
              </a:solidFill>
            </a:ln>
          </c:spPr>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D$2:$D$8</c:f>
              <c:numCache>
                <c:formatCode>General</c:formatCode>
                <c:ptCount val="7"/>
                <c:pt idx="0">
                  <c:v>15</c:v>
                </c:pt>
                <c:pt idx="1">
                  <c:v>25</c:v>
                </c:pt>
                <c:pt idx="2">
                  <c:v>49</c:v>
                </c:pt>
                <c:pt idx="3">
                  <c:v>30</c:v>
                </c:pt>
                <c:pt idx="4">
                  <c:v>50</c:v>
                </c:pt>
                <c:pt idx="5">
                  <c:v>55</c:v>
                </c:pt>
                <c:pt idx="6">
                  <c:v>60</c:v>
                </c:pt>
              </c:numCache>
            </c:numRef>
          </c:val>
          <c:smooth val="1"/>
          <c:extLst>
            <c:ext xmlns:c16="http://schemas.microsoft.com/office/drawing/2014/chart" uri="{C3380CC4-5D6E-409C-BE32-E72D297353CC}">
              <c16:uniqueId val="{00000002-2D4F-4CDD-B365-2DE6C333EDE7}"/>
            </c:ext>
          </c:extLst>
        </c:ser>
        <c:dLbls>
          <c:showLegendKey val="0"/>
          <c:showVal val="0"/>
          <c:showCatName val="0"/>
          <c:showSerName val="0"/>
          <c:showPercent val="0"/>
          <c:showBubbleSize val="0"/>
        </c:dLbls>
        <c:smooth val="0"/>
        <c:axId val="873474608"/>
        <c:axId val="873475168"/>
      </c:lineChart>
      <c:catAx>
        <c:axId val="873474608"/>
        <c:scaling>
          <c:orientation val="minMax"/>
        </c:scaling>
        <c:delete val="0"/>
        <c:axPos val="b"/>
        <c:title>
          <c:overlay val="0"/>
          <c:txPr>
            <a:bodyPr/>
            <a:lstStyle/>
            <a:p>
              <a:pPr>
                <a:defRPr sz="1000"/>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873475168"/>
        <c:crosses val="autoZero"/>
        <c:auto val="1"/>
        <c:lblAlgn val="ctr"/>
        <c:lblOffset val="100"/>
        <c:noMultiLvlLbl val="0"/>
      </c:catAx>
      <c:valAx>
        <c:axId val="873475168"/>
        <c:scaling>
          <c:orientation val="minMax"/>
        </c:scaling>
        <c:delete val="0"/>
        <c:axPos val="l"/>
        <c:title>
          <c:overlay val="0"/>
          <c:txPr>
            <a:bodyPr rot="-5400000" vert="horz"/>
            <a:lstStyle/>
            <a:p>
              <a:pPr>
                <a:defRPr sz="1000"/>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873474608"/>
        <c:crosses val="autoZero"/>
        <c:crossBetween val="midCat"/>
        <c:majorUnit val="25"/>
      </c:valAx>
    </c:plotArea>
    <c:legend>
      <c:legendPos val="b"/>
      <c:overlay val="0"/>
      <c:txPr>
        <a:bodyPr/>
        <a:lstStyle/>
        <a:p>
          <a:pPr>
            <a:defRPr sz="1000">
              <a:solidFill>
                <a:srgbClr val="313131"/>
              </a:solidFill>
            </a:defRPr>
          </a:pPr>
          <a:endParaRPr lang="en-US"/>
        </a:p>
      </c:txPr>
    </c:legend>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920126308220425E-2"/>
          <c:y val="4.6153842659460598E-2"/>
          <c:w val="0.88950513524037067"/>
          <c:h val="0.74964372508991939"/>
        </c:manualLayout>
      </c:layout>
      <c:barChart>
        <c:barDir val="col"/>
        <c:grouping val="stacked"/>
        <c:varyColors val="0"/>
        <c:ser>
          <c:idx val="0"/>
          <c:order val="0"/>
          <c:tx>
            <c:strRef>
              <c:f>Sheet1!$B$1</c:f>
              <c:strCache>
                <c:ptCount val="1"/>
                <c:pt idx="0">
                  <c:v>Invisible</c:v>
                </c:pt>
              </c:strCache>
            </c:strRef>
          </c:tx>
          <c:spPr>
            <a:solidFill>
              <a:schemeClr val="bg1"/>
            </a:solidFill>
            <a:ln>
              <a:solidFill>
                <a:schemeClr val="bg1"/>
              </a:solidFill>
            </a:ln>
          </c:spPr>
          <c:invertIfNegative val="0"/>
          <c:dLbls>
            <c:delete val="1"/>
          </c:dLbls>
          <c:cat>
            <c:strRef>
              <c:f>Sheet1!$A$2:$A$9</c:f>
              <c:strCache>
                <c:ptCount val="8"/>
                <c:pt idx="0">
                  <c:v>A</c:v>
                </c:pt>
                <c:pt idx="1">
                  <c:v>+ B</c:v>
                </c:pt>
                <c:pt idx="2">
                  <c:v>+ C</c:v>
                </c:pt>
                <c:pt idx="3">
                  <c:v>= Subtotal</c:v>
                </c:pt>
                <c:pt idx="4">
                  <c:v>- E</c:v>
                </c:pt>
                <c:pt idx="5">
                  <c:v>- F</c:v>
                </c:pt>
                <c:pt idx="6">
                  <c:v>- G</c:v>
                </c:pt>
                <c:pt idx="7">
                  <c:v>= Total</c:v>
                </c:pt>
              </c:strCache>
            </c:strRef>
          </c:cat>
          <c:val>
            <c:numRef>
              <c:f>Sheet1!$B$2:$B$9</c:f>
              <c:numCache>
                <c:formatCode>General</c:formatCode>
                <c:ptCount val="8"/>
                <c:pt idx="0">
                  <c:v>0</c:v>
                </c:pt>
                <c:pt idx="1">
                  <c:v>10</c:v>
                </c:pt>
                <c:pt idx="2">
                  <c:v>25</c:v>
                </c:pt>
                <c:pt idx="3">
                  <c:v>0</c:v>
                </c:pt>
                <c:pt idx="4">
                  <c:v>30</c:v>
                </c:pt>
                <c:pt idx="5">
                  <c:v>20</c:v>
                </c:pt>
                <c:pt idx="6">
                  <c:v>15</c:v>
                </c:pt>
                <c:pt idx="7">
                  <c:v>0</c:v>
                </c:pt>
              </c:numCache>
            </c:numRef>
          </c:val>
          <c:extLst>
            <c:ext xmlns:c16="http://schemas.microsoft.com/office/drawing/2014/chart" uri="{C3380CC4-5D6E-409C-BE32-E72D297353CC}">
              <c16:uniqueId val="{00000000-87A3-47C3-AFA0-F34CBEFF73F4}"/>
            </c:ext>
          </c:extLst>
        </c:ser>
        <c:ser>
          <c:idx val="1"/>
          <c:order val="1"/>
          <c:tx>
            <c:strRef>
              <c:f>Sheet1!$C$1</c:f>
              <c:strCache>
                <c:ptCount val="1"/>
                <c:pt idx="0">
                  <c:v>Visible</c:v>
                </c:pt>
              </c:strCache>
            </c:strRef>
          </c:tx>
          <c:spPr>
            <a:solidFill>
              <a:schemeClr val="accent1"/>
            </a:solidFill>
            <a:ln>
              <a:solidFill>
                <a:schemeClr val="bg1"/>
              </a:solidFill>
            </a:ln>
          </c:spPr>
          <c:invertIfNegative val="0"/>
          <c:dPt>
            <c:idx val="0"/>
            <c:invertIfNegative val="0"/>
            <c:bubble3D val="0"/>
            <c:spPr>
              <a:solidFill>
                <a:srgbClr val="B4B4B4"/>
              </a:solidFill>
              <a:ln>
                <a:solidFill>
                  <a:schemeClr val="bg1"/>
                </a:solidFill>
              </a:ln>
            </c:spPr>
            <c:extLst>
              <c:ext xmlns:c16="http://schemas.microsoft.com/office/drawing/2014/chart" uri="{C3380CC4-5D6E-409C-BE32-E72D297353CC}">
                <c16:uniqueId val="{00000002-87A3-47C3-AFA0-F34CBEFF73F4}"/>
              </c:ext>
            </c:extLst>
          </c:dPt>
          <c:dPt>
            <c:idx val="1"/>
            <c:invertIfNegative val="0"/>
            <c:bubble3D val="0"/>
            <c:spPr>
              <a:solidFill>
                <a:srgbClr val="B4B4B4"/>
              </a:solidFill>
              <a:ln>
                <a:solidFill>
                  <a:schemeClr val="bg1"/>
                </a:solidFill>
              </a:ln>
            </c:spPr>
            <c:extLst>
              <c:ext xmlns:c16="http://schemas.microsoft.com/office/drawing/2014/chart" uri="{C3380CC4-5D6E-409C-BE32-E72D297353CC}">
                <c16:uniqueId val="{00000004-87A3-47C3-AFA0-F34CBEFF73F4}"/>
              </c:ext>
            </c:extLst>
          </c:dPt>
          <c:dPt>
            <c:idx val="2"/>
            <c:invertIfNegative val="0"/>
            <c:bubble3D val="0"/>
            <c:spPr>
              <a:solidFill>
                <a:srgbClr val="B4B4B4"/>
              </a:solidFill>
              <a:ln>
                <a:solidFill>
                  <a:schemeClr val="bg1"/>
                </a:solidFill>
              </a:ln>
            </c:spPr>
            <c:extLst>
              <c:ext xmlns:c16="http://schemas.microsoft.com/office/drawing/2014/chart" uri="{C3380CC4-5D6E-409C-BE32-E72D297353CC}">
                <c16:uniqueId val="{00000006-87A3-47C3-AFA0-F34CBEFF73F4}"/>
              </c:ext>
            </c:extLst>
          </c:dPt>
          <c:dPt>
            <c:idx val="3"/>
            <c:invertIfNegative val="0"/>
            <c:bubble3D val="0"/>
            <c:spPr>
              <a:solidFill>
                <a:srgbClr val="00A1DE"/>
              </a:solidFill>
              <a:ln>
                <a:solidFill>
                  <a:schemeClr val="bg1"/>
                </a:solidFill>
              </a:ln>
            </c:spPr>
            <c:extLst>
              <c:ext xmlns:c16="http://schemas.microsoft.com/office/drawing/2014/chart" uri="{C3380CC4-5D6E-409C-BE32-E72D297353CC}">
                <c16:uniqueId val="{00000008-87A3-47C3-AFA0-F34CBEFF73F4}"/>
              </c:ext>
            </c:extLst>
          </c:dPt>
          <c:dPt>
            <c:idx val="4"/>
            <c:invertIfNegative val="0"/>
            <c:bubble3D val="0"/>
            <c:spPr>
              <a:solidFill>
                <a:srgbClr val="B4B4B4"/>
              </a:solidFill>
              <a:ln>
                <a:solidFill>
                  <a:schemeClr val="bg1"/>
                </a:solidFill>
              </a:ln>
            </c:spPr>
            <c:extLst>
              <c:ext xmlns:c16="http://schemas.microsoft.com/office/drawing/2014/chart" uri="{C3380CC4-5D6E-409C-BE32-E72D297353CC}">
                <c16:uniqueId val="{0000000A-87A3-47C3-AFA0-F34CBEFF73F4}"/>
              </c:ext>
            </c:extLst>
          </c:dPt>
          <c:dPt>
            <c:idx val="5"/>
            <c:invertIfNegative val="0"/>
            <c:bubble3D val="0"/>
            <c:spPr>
              <a:solidFill>
                <a:srgbClr val="B4B4B4"/>
              </a:solidFill>
              <a:ln>
                <a:solidFill>
                  <a:schemeClr val="bg1"/>
                </a:solidFill>
              </a:ln>
            </c:spPr>
            <c:extLst>
              <c:ext xmlns:c16="http://schemas.microsoft.com/office/drawing/2014/chart" uri="{C3380CC4-5D6E-409C-BE32-E72D297353CC}">
                <c16:uniqueId val="{0000000C-87A3-47C3-AFA0-F34CBEFF73F4}"/>
              </c:ext>
            </c:extLst>
          </c:dPt>
          <c:dPt>
            <c:idx val="6"/>
            <c:invertIfNegative val="0"/>
            <c:bubble3D val="0"/>
            <c:spPr>
              <a:solidFill>
                <a:srgbClr val="B4B4B4"/>
              </a:solidFill>
              <a:ln>
                <a:solidFill>
                  <a:schemeClr val="bg1"/>
                </a:solidFill>
              </a:ln>
            </c:spPr>
            <c:extLst>
              <c:ext xmlns:c16="http://schemas.microsoft.com/office/drawing/2014/chart" uri="{C3380CC4-5D6E-409C-BE32-E72D297353CC}">
                <c16:uniqueId val="{0000000E-87A3-47C3-AFA0-F34CBEFF73F4}"/>
              </c:ext>
            </c:extLst>
          </c:dPt>
          <c:dPt>
            <c:idx val="7"/>
            <c:invertIfNegative val="0"/>
            <c:bubble3D val="0"/>
            <c:spPr>
              <a:solidFill>
                <a:srgbClr val="00A1DE"/>
              </a:solidFill>
              <a:ln>
                <a:solidFill>
                  <a:schemeClr val="bg1"/>
                </a:solidFill>
              </a:ln>
            </c:spPr>
            <c:extLst>
              <c:ext xmlns:c16="http://schemas.microsoft.com/office/drawing/2014/chart" uri="{C3380CC4-5D6E-409C-BE32-E72D297353CC}">
                <c16:uniqueId val="{00000010-87A3-47C3-AFA0-F34CBEFF73F4}"/>
              </c:ext>
            </c:extLst>
          </c:dPt>
          <c:dLbls>
            <c:dLbl>
              <c:idx val="0"/>
              <c:layout>
                <c:manualLayout>
                  <c:x val="2.79867109400274E-3"/>
                  <c:y val="-0.14008699545006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7A3-47C3-AFA0-F34CBEFF73F4}"/>
                </c:ext>
              </c:extLst>
            </c:dLbl>
            <c:dLbl>
              <c:idx val="1"/>
              <c:layout>
                <c:manualLayout>
                  <c:x val="-1.39933554700137E-3"/>
                  <c:y val="-0.1913383352488690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7A3-47C3-AFA0-F34CBEFF73F4}"/>
                </c:ext>
              </c:extLst>
            </c:dLbl>
            <c:dLbl>
              <c:idx val="2"/>
              <c:layout>
                <c:manualLayout>
                  <c:x val="0"/>
                  <c:y val="-0.13325348347689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7A3-47C3-AFA0-F34CBEFF73F4}"/>
                </c:ext>
              </c:extLst>
            </c:dLbl>
            <c:dLbl>
              <c:idx val="3"/>
              <c:layout>
                <c:manualLayout>
                  <c:x val="0"/>
                  <c:y val="-0.4065939624038469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87A3-47C3-AFA0-F34CBEFF73F4}"/>
                </c:ext>
              </c:extLst>
            </c:dLbl>
            <c:dLbl>
              <c:idx val="4"/>
              <c:layout>
                <c:manualLayout>
                  <c:x val="-1.39933554700137E-3"/>
                  <c:y val="-8.541889966467369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87A3-47C3-AFA0-F34CBEFF73F4}"/>
                </c:ext>
              </c:extLst>
            </c:dLbl>
            <c:dLbl>
              <c:idx val="5"/>
              <c:layout>
                <c:manualLayout>
                  <c:x val="0"/>
                  <c:y val="-0.13667023946347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87A3-47C3-AFA0-F34CBEFF73F4}"/>
                </c:ext>
              </c:extLst>
            </c:dLbl>
            <c:dLbl>
              <c:idx val="6"/>
              <c:layout>
                <c:manualLayout>
                  <c:x val="1.0261675467593099E-16"/>
                  <c:y val="-8.541889966467369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87A3-47C3-AFA0-F34CBEFF73F4}"/>
                </c:ext>
              </c:extLst>
            </c:dLbl>
            <c:dLbl>
              <c:idx val="7"/>
              <c:layout>
                <c:manualLayout>
                  <c:x val="1.0261675467593099E-16"/>
                  <c:y val="-0.1947550912354560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87A3-47C3-AFA0-F34CBEFF73F4}"/>
                </c:ext>
              </c:extLst>
            </c:dLbl>
            <c:spPr>
              <a:noFill/>
              <a:ln>
                <a:noFill/>
              </a:ln>
              <a:effectLst/>
            </c:spPr>
            <c:txPr>
              <a:bodyPr/>
              <a:lstStyle/>
              <a:p>
                <a:pPr>
                  <a:defRPr sz="1000">
                    <a:solidFill>
                      <a:srgbClr val="31313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A</c:v>
                </c:pt>
                <c:pt idx="1">
                  <c:v>+ B</c:v>
                </c:pt>
                <c:pt idx="2">
                  <c:v>+ C</c:v>
                </c:pt>
                <c:pt idx="3">
                  <c:v>= Subtotal</c:v>
                </c:pt>
                <c:pt idx="4">
                  <c:v>- E</c:v>
                </c:pt>
                <c:pt idx="5">
                  <c:v>- F</c:v>
                </c:pt>
                <c:pt idx="6">
                  <c:v>- G</c:v>
                </c:pt>
                <c:pt idx="7">
                  <c:v>= Total</c:v>
                </c:pt>
              </c:strCache>
            </c:strRef>
          </c:cat>
          <c:val>
            <c:numRef>
              <c:f>Sheet1!$C$2:$C$9</c:f>
              <c:numCache>
                <c:formatCode>General</c:formatCode>
                <c:ptCount val="8"/>
                <c:pt idx="0">
                  <c:v>10</c:v>
                </c:pt>
                <c:pt idx="1">
                  <c:v>15</c:v>
                </c:pt>
                <c:pt idx="2">
                  <c:v>10</c:v>
                </c:pt>
                <c:pt idx="3">
                  <c:v>35</c:v>
                </c:pt>
                <c:pt idx="4">
                  <c:v>5</c:v>
                </c:pt>
                <c:pt idx="5">
                  <c:v>10</c:v>
                </c:pt>
                <c:pt idx="6">
                  <c:v>5</c:v>
                </c:pt>
                <c:pt idx="7">
                  <c:v>15</c:v>
                </c:pt>
              </c:numCache>
            </c:numRef>
          </c:val>
          <c:extLst>
            <c:ext xmlns:c16="http://schemas.microsoft.com/office/drawing/2014/chart" uri="{C3380CC4-5D6E-409C-BE32-E72D297353CC}">
              <c16:uniqueId val="{00000011-87A3-47C3-AFA0-F34CBEFF73F4}"/>
            </c:ext>
          </c:extLst>
        </c:ser>
        <c:ser>
          <c:idx val="2"/>
          <c:order val="2"/>
          <c:tx>
            <c:strRef>
              <c:f>Sheet1!$D$1</c:f>
              <c:strCache>
                <c:ptCount val="1"/>
                <c:pt idx="0">
                  <c:v>Column2</c:v>
                </c:pt>
              </c:strCache>
            </c:strRef>
          </c:tx>
          <c:spPr>
            <a:ln>
              <a:solidFill>
                <a:schemeClr val="bg1"/>
              </a:solidFill>
            </a:ln>
          </c:spPr>
          <c:invertIfNegative val="0"/>
          <c:dLbls>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A</c:v>
                </c:pt>
                <c:pt idx="1">
                  <c:v>+ B</c:v>
                </c:pt>
                <c:pt idx="2">
                  <c:v>+ C</c:v>
                </c:pt>
                <c:pt idx="3">
                  <c:v>= Subtotal</c:v>
                </c:pt>
                <c:pt idx="4">
                  <c:v>- E</c:v>
                </c:pt>
                <c:pt idx="5">
                  <c:v>- F</c:v>
                </c:pt>
                <c:pt idx="6">
                  <c:v>- G</c:v>
                </c:pt>
                <c:pt idx="7">
                  <c:v>= Total</c:v>
                </c:pt>
              </c:strCache>
            </c:strRef>
          </c:cat>
          <c:val>
            <c:numRef>
              <c:f>Sheet1!$D$2:$D$9</c:f>
              <c:numCache>
                <c:formatCode>General</c:formatCode>
                <c:ptCount val="8"/>
              </c:numCache>
            </c:numRef>
          </c:val>
          <c:extLst>
            <c:ext xmlns:c16="http://schemas.microsoft.com/office/drawing/2014/chart" uri="{C3380CC4-5D6E-409C-BE32-E72D297353CC}">
              <c16:uniqueId val="{00000012-87A3-47C3-AFA0-F34CBEFF73F4}"/>
            </c:ext>
          </c:extLst>
        </c:ser>
        <c:dLbls>
          <c:showLegendKey val="0"/>
          <c:showVal val="1"/>
          <c:showCatName val="0"/>
          <c:showSerName val="0"/>
          <c:showPercent val="0"/>
          <c:showBubbleSize val="0"/>
        </c:dLbls>
        <c:gapWidth val="150"/>
        <c:overlap val="100"/>
        <c:axId val="873479088"/>
        <c:axId val="873479648"/>
      </c:barChart>
      <c:catAx>
        <c:axId val="873479088"/>
        <c:scaling>
          <c:orientation val="minMax"/>
        </c:scaling>
        <c:delete val="0"/>
        <c:axPos val="b"/>
        <c:title>
          <c:layout>
            <c:manualLayout>
              <c:xMode val="edge"/>
              <c:yMode val="edge"/>
              <c:x val="0.42633584168834948"/>
              <c:y val="0.88886361427043836"/>
            </c:manualLayout>
          </c:layout>
          <c:overlay val="0"/>
          <c:txPr>
            <a:bodyPr/>
            <a:lstStyle/>
            <a:p>
              <a:pPr>
                <a:defRPr sz="1000">
                  <a:solidFill>
                    <a:srgbClr val="313131"/>
                  </a:solidFill>
                </a:defRPr>
              </a:pPr>
              <a:endParaRPr lang="en-US"/>
            </a:p>
          </c:txPr>
        </c:title>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873479648"/>
        <c:crosses val="autoZero"/>
        <c:auto val="1"/>
        <c:lblAlgn val="ctr"/>
        <c:lblOffset val="100"/>
        <c:noMultiLvlLbl val="0"/>
      </c:catAx>
      <c:valAx>
        <c:axId val="873479648"/>
        <c:scaling>
          <c:orientation val="minMax"/>
        </c:scaling>
        <c:delete val="0"/>
        <c:axPos val="l"/>
        <c:title>
          <c:layout>
            <c:manualLayout>
              <c:xMode val="edge"/>
              <c:yMode val="edge"/>
              <c:x val="1.0150040548596124E-2"/>
              <c:y val="0.3492782152230971"/>
            </c:manualLayout>
          </c:layout>
          <c:overlay val="0"/>
          <c:txPr>
            <a:bodyPr rot="-5400000" vert="horz"/>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873479088"/>
        <c:crosses val="autoZero"/>
        <c:crossBetween val="between"/>
        <c:majorUnit val="10"/>
      </c:valAx>
    </c:plotArea>
    <c:plotVisOnly val="1"/>
    <c:dispBlanksAs val="gap"/>
    <c:showDLblsOverMax val="0"/>
  </c:chart>
  <c:txPr>
    <a:bodyPr/>
    <a:lstStyle/>
    <a:p>
      <a:pPr>
        <a:defRPr sz="12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659330199739741E-2"/>
          <c:y val="4.6153842659460598E-2"/>
          <c:w val="0.86676593134885138"/>
          <c:h val="0.74964372508991939"/>
        </c:manualLayout>
      </c:layout>
      <c:barChart>
        <c:barDir val="col"/>
        <c:grouping val="stacked"/>
        <c:varyColors val="0"/>
        <c:ser>
          <c:idx val="0"/>
          <c:order val="0"/>
          <c:tx>
            <c:strRef>
              <c:f>Sheet1!$A$2</c:f>
              <c:strCache>
                <c:ptCount val="1"/>
                <c:pt idx="0">
                  <c:v>Invisible dataset</c:v>
                </c:pt>
              </c:strCache>
            </c:strRef>
          </c:tx>
          <c:spPr>
            <a:solidFill>
              <a:schemeClr val="bg1"/>
            </a:solidFill>
            <a:ln>
              <a:solidFill>
                <a:schemeClr val="bg1"/>
              </a:solidFill>
            </a:ln>
          </c:spPr>
          <c:invertIfNegative val="0"/>
          <c:dLbls>
            <c:delete val="1"/>
          </c:dLbls>
          <c:cat>
            <c:strRef>
              <c:f>Sheet1!$B$1:$I$1</c:f>
              <c:strCache>
                <c:ptCount val="8"/>
                <c:pt idx="0">
                  <c:v>A</c:v>
                </c:pt>
                <c:pt idx="1">
                  <c:v>B</c:v>
                </c:pt>
                <c:pt idx="2">
                  <c:v>C</c:v>
                </c:pt>
                <c:pt idx="3">
                  <c:v>D</c:v>
                </c:pt>
                <c:pt idx="4">
                  <c:v>E</c:v>
                </c:pt>
                <c:pt idx="5">
                  <c:v>F</c:v>
                </c:pt>
                <c:pt idx="6">
                  <c:v>G</c:v>
                </c:pt>
                <c:pt idx="7">
                  <c:v>H</c:v>
                </c:pt>
              </c:strCache>
            </c:strRef>
          </c:cat>
          <c:val>
            <c:numRef>
              <c:f>Sheet1!$B$2:$I$2</c:f>
              <c:numCache>
                <c:formatCode>General</c:formatCode>
                <c:ptCount val="8"/>
                <c:pt idx="0">
                  <c:v>0</c:v>
                </c:pt>
                <c:pt idx="1">
                  <c:v>120</c:v>
                </c:pt>
                <c:pt idx="2">
                  <c:v>100</c:v>
                </c:pt>
                <c:pt idx="3">
                  <c:v>80</c:v>
                </c:pt>
                <c:pt idx="4">
                  <c:v>60</c:v>
                </c:pt>
                <c:pt idx="5">
                  <c:v>40</c:v>
                </c:pt>
                <c:pt idx="6">
                  <c:v>20</c:v>
                </c:pt>
                <c:pt idx="7">
                  <c:v>0</c:v>
                </c:pt>
              </c:numCache>
            </c:numRef>
          </c:val>
          <c:extLst>
            <c:ext xmlns:c16="http://schemas.microsoft.com/office/drawing/2014/chart" uri="{C3380CC4-5D6E-409C-BE32-E72D297353CC}">
              <c16:uniqueId val="{00000000-878B-4D12-BEAA-A673DD57FD12}"/>
            </c:ext>
          </c:extLst>
        </c:ser>
        <c:ser>
          <c:idx val="1"/>
          <c:order val="1"/>
          <c:tx>
            <c:strRef>
              <c:f>Sheet1!$A$3</c:f>
              <c:strCache>
                <c:ptCount val="1"/>
                <c:pt idx="0">
                  <c:v>Blue</c:v>
                </c:pt>
              </c:strCache>
            </c:strRef>
          </c:tx>
          <c:spPr>
            <a:solidFill>
              <a:srgbClr val="DCDCDC"/>
            </a:solidFill>
            <a:ln>
              <a:solidFill>
                <a:schemeClr val="bg1"/>
              </a:solidFill>
            </a:ln>
          </c:spPr>
          <c:invertIfNegative val="0"/>
          <c:dLbls>
            <c:spPr>
              <a:noFill/>
              <a:ln>
                <a:noFill/>
              </a:ln>
              <a:effectLst/>
            </c:spPr>
            <c:txPr>
              <a:bodyPr/>
              <a:lstStyle/>
              <a:p>
                <a:pPr>
                  <a:defRPr sz="1000">
                    <a:solidFill>
                      <a:srgbClr val="31313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A</c:v>
                </c:pt>
                <c:pt idx="1">
                  <c:v>B</c:v>
                </c:pt>
                <c:pt idx="2">
                  <c:v>C</c:v>
                </c:pt>
                <c:pt idx="3">
                  <c:v>D</c:v>
                </c:pt>
                <c:pt idx="4">
                  <c:v>E</c:v>
                </c:pt>
                <c:pt idx="5">
                  <c:v>F</c:v>
                </c:pt>
                <c:pt idx="6">
                  <c:v>G</c:v>
                </c:pt>
                <c:pt idx="7">
                  <c:v>H</c:v>
                </c:pt>
              </c:strCache>
            </c:strRef>
          </c:cat>
          <c:val>
            <c:numRef>
              <c:f>Sheet1!$B$3:$I$3</c:f>
              <c:numCache>
                <c:formatCode>General</c:formatCode>
                <c:ptCount val="8"/>
                <c:pt idx="1">
                  <c:v>20</c:v>
                </c:pt>
                <c:pt idx="2">
                  <c:v>20</c:v>
                </c:pt>
                <c:pt idx="3">
                  <c:v>20</c:v>
                </c:pt>
                <c:pt idx="4">
                  <c:v>20</c:v>
                </c:pt>
                <c:pt idx="5">
                  <c:v>20</c:v>
                </c:pt>
                <c:pt idx="6">
                  <c:v>20</c:v>
                </c:pt>
              </c:numCache>
            </c:numRef>
          </c:val>
          <c:extLst>
            <c:ext xmlns:c16="http://schemas.microsoft.com/office/drawing/2014/chart" uri="{C3380CC4-5D6E-409C-BE32-E72D297353CC}">
              <c16:uniqueId val="{00000001-878B-4D12-BEAA-A673DD57FD12}"/>
            </c:ext>
          </c:extLst>
        </c:ser>
        <c:ser>
          <c:idx val="2"/>
          <c:order val="2"/>
          <c:tx>
            <c:strRef>
              <c:f>Sheet1!$A$4</c:f>
              <c:strCache>
                <c:ptCount val="1"/>
                <c:pt idx="0">
                  <c:v>Green</c:v>
                </c:pt>
              </c:strCache>
            </c:strRef>
          </c:tx>
          <c:spPr>
            <a:solidFill>
              <a:schemeClr val="accent1"/>
            </a:solidFill>
            <a:ln>
              <a:solidFill>
                <a:schemeClr val="bg1"/>
              </a:solidFill>
            </a:ln>
          </c:spPr>
          <c:invertIfNegative val="0"/>
          <c:dPt>
            <c:idx val="0"/>
            <c:invertIfNegative val="0"/>
            <c:bubble3D val="0"/>
            <c:spPr>
              <a:solidFill>
                <a:srgbClr val="00A1DE"/>
              </a:solidFill>
              <a:ln>
                <a:solidFill>
                  <a:schemeClr val="bg1"/>
                </a:solidFill>
              </a:ln>
            </c:spPr>
            <c:extLst>
              <c:ext xmlns:c16="http://schemas.microsoft.com/office/drawing/2014/chart" uri="{C3380CC4-5D6E-409C-BE32-E72D297353CC}">
                <c16:uniqueId val="{00000003-878B-4D12-BEAA-A673DD57FD12}"/>
              </c:ext>
            </c:extLst>
          </c:dPt>
          <c:dPt>
            <c:idx val="7"/>
            <c:invertIfNegative val="0"/>
            <c:bubble3D val="0"/>
            <c:spPr>
              <a:solidFill>
                <a:srgbClr val="00A1DE"/>
              </a:solidFill>
              <a:ln>
                <a:solidFill>
                  <a:schemeClr val="bg1"/>
                </a:solidFill>
              </a:ln>
            </c:spPr>
            <c:extLst>
              <c:ext xmlns:c16="http://schemas.microsoft.com/office/drawing/2014/chart" uri="{C3380CC4-5D6E-409C-BE32-E72D297353CC}">
                <c16:uniqueId val="{00000005-878B-4D12-BEAA-A673DD57FD12}"/>
              </c:ext>
            </c:extLst>
          </c:dPt>
          <c:dLbls>
            <c:spPr>
              <a:noFill/>
              <a:ln>
                <a:noFill/>
              </a:ln>
              <a:effectLst/>
            </c:spPr>
            <c:txPr>
              <a:bodyPr/>
              <a:lstStyle/>
              <a:p>
                <a:pPr>
                  <a:defRPr sz="10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A</c:v>
                </c:pt>
                <c:pt idx="1">
                  <c:v>B</c:v>
                </c:pt>
                <c:pt idx="2">
                  <c:v>C</c:v>
                </c:pt>
                <c:pt idx="3">
                  <c:v>D</c:v>
                </c:pt>
                <c:pt idx="4">
                  <c:v>E</c:v>
                </c:pt>
                <c:pt idx="5">
                  <c:v>F</c:v>
                </c:pt>
                <c:pt idx="6">
                  <c:v>G</c:v>
                </c:pt>
                <c:pt idx="7">
                  <c:v>H</c:v>
                </c:pt>
              </c:strCache>
            </c:strRef>
          </c:cat>
          <c:val>
            <c:numRef>
              <c:f>Sheet1!$B$4:$I$4</c:f>
              <c:numCache>
                <c:formatCode>General</c:formatCode>
                <c:ptCount val="8"/>
                <c:pt idx="0">
                  <c:v>140</c:v>
                </c:pt>
                <c:pt idx="7">
                  <c:v>20</c:v>
                </c:pt>
              </c:numCache>
            </c:numRef>
          </c:val>
          <c:extLst>
            <c:ext xmlns:c16="http://schemas.microsoft.com/office/drawing/2014/chart" uri="{C3380CC4-5D6E-409C-BE32-E72D297353CC}">
              <c16:uniqueId val="{00000006-878B-4D12-BEAA-A673DD57FD12}"/>
            </c:ext>
          </c:extLst>
        </c:ser>
        <c:dLbls>
          <c:showLegendKey val="0"/>
          <c:showVal val="1"/>
          <c:showCatName val="0"/>
          <c:showSerName val="0"/>
          <c:showPercent val="0"/>
          <c:showBubbleSize val="0"/>
        </c:dLbls>
        <c:gapWidth val="0"/>
        <c:overlap val="100"/>
        <c:axId val="1588062336"/>
        <c:axId val="1588062896"/>
      </c:barChart>
      <c:catAx>
        <c:axId val="1588062336"/>
        <c:scaling>
          <c:orientation val="minMax"/>
        </c:scaling>
        <c:delete val="0"/>
        <c:axPos val="b"/>
        <c:title>
          <c:layout>
            <c:manualLayout>
              <c:xMode val="edge"/>
              <c:yMode val="edge"/>
              <c:x val="0.48318385141714776"/>
              <c:y val="0.88886361427043836"/>
            </c:manualLayout>
          </c:layout>
          <c:overlay val="0"/>
          <c:txPr>
            <a:bodyPr/>
            <a:lstStyle/>
            <a:p>
              <a:pPr>
                <a:defRPr sz="1000">
                  <a:solidFill>
                    <a:srgbClr val="313131"/>
                  </a:solidFill>
                </a:defRPr>
              </a:pPr>
              <a:endParaRPr lang="en-US"/>
            </a:p>
          </c:txPr>
        </c:title>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588062896"/>
        <c:crosses val="autoZero"/>
        <c:auto val="1"/>
        <c:lblAlgn val="ctr"/>
        <c:lblOffset val="100"/>
        <c:noMultiLvlLbl val="0"/>
      </c:catAx>
      <c:valAx>
        <c:axId val="1588062896"/>
        <c:scaling>
          <c:orientation val="minMax"/>
          <c:max val="140"/>
        </c:scaling>
        <c:delete val="0"/>
        <c:axPos val="l"/>
        <c:title>
          <c:layout>
            <c:manualLayout>
              <c:xMode val="edge"/>
              <c:yMode val="edge"/>
              <c:x val="2.9008420309296144E-2"/>
              <c:y val="0.33384611645766499"/>
            </c:manualLayout>
          </c:layout>
          <c:overlay val="0"/>
          <c:txPr>
            <a:bodyPr rot="-5400000" vert="horz"/>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588062336"/>
        <c:crosses val="autoZero"/>
        <c:crossBetween val="between"/>
        <c:majorUnit val="20"/>
      </c:valAx>
    </c:plotArea>
    <c:plotVisOnly val="1"/>
    <c:dispBlanksAs val="gap"/>
    <c:showDLblsOverMax val="0"/>
  </c:chart>
  <c:txPr>
    <a:bodyPr/>
    <a:lstStyle/>
    <a:p>
      <a:pPr>
        <a:defRPr sz="1200"/>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079636516531503E-2"/>
          <c:y val="4.6153842659460598E-2"/>
          <c:w val="0.87434561780995501"/>
          <c:h val="0.74743079284900704"/>
        </c:manualLayout>
      </c:layout>
      <c:barChart>
        <c:barDir val="bar"/>
        <c:grouping val="stacked"/>
        <c:varyColors val="0"/>
        <c:ser>
          <c:idx val="0"/>
          <c:order val="0"/>
          <c:tx>
            <c:strRef>
              <c:f>Sheet1!$B$1</c:f>
              <c:strCache>
                <c:ptCount val="1"/>
                <c:pt idx="0">
                  <c:v>Invisible</c:v>
                </c:pt>
              </c:strCache>
            </c:strRef>
          </c:tx>
          <c:spPr>
            <a:solidFill>
              <a:schemeClr val="bg1"/>
            </a:solidFill>
            <a:ln>
              <a:solidFill>
                <a:schemeClr val="bg1"/>
              </a:solidFill>
            </a:ln>
          </c:spPr>
          <c:invertIfNegative val="0"/>
          <c:dLbls>
            <c:delete val="1"/>
          </c:dLbls>
          <c:cat>
            <c:strRef>
              <c:f>Sheet1!$A$2:$A$6</c:f>
              <c:strCache>
                <c:ptCount val="5"/>
                <c:pt idx="0">
                  <c:v>Total</c:v>
                </c:pt>
                <c:pt idx="1">
                  <c:v>D</c:v>
                </c:pt>
                <c:pt idx="2">
                  <c:v>C</c:v>
                </c:pt>
                <c:pt idx="3">
                  <c:v>B</c:v>
                </c:pt>
                <c:pt idx="4">
                  <c:v>A</c:v>
                </c:pt>
              </c:strCache>
            </c:strRef>
          </c:cat>
          <c:val>
            <c:numRef>
              <c:f>Sheet1!$B$2:$B$6</c:f>
              <c:numCache>
                <c:formatCode>General</c:formatCode>
                <c:ptCount val="5"/>
                <c:pt idx="0">
                  <c:v>0</c:v>
                </c:pt>
                <c:pt idx="1">
                  <c:v>30</c:v>
                </c:pt>
                <c:pt idx="2">
                  <c:v>20</c:v>
                </c:pt>
                <c:pt idx="3">
                  <c:v>15</c:v>
                </c:pt>
                <c:pt idx="4">
                  <c:v>0</c:v>
                </c:pt>
              </c:numCache>
            </c:numRef>
          </c:val>
          <c:extLst>
            <c:ext xmlns:c16="http://schemas.microsoft.com/office/drawing/2014/chart" uri="{C3380CC4-5D6E-409C-BE32-E72D297353CC}">
              <c16:uniqueId val="{00000000-F591-4B51-A266-721C934F8F1E}"/>
            </c:ext>
          </c:extLst>
        </c:ser>
        <c:ser>
          <c:idx val="1"/>
          <c:order val="1"/>
          <c:tx>
            <c:strRef>
              <c:f>Sheet1!$C$1</c:f>
              <c:strCache>
                <c:ptCount val="1"/>
                <c:pt idx="0">
                  <c:v>Visible</c:v>
                </c:pt>
              </c:strCache>
            </c:strRef>
          </c:tx>
          <c:spPr>
            <a:solidFill>
              <a:srgbClr val="00A1DE"/>
            </a:solidFill>
            <a:ln>
              <a:solidFill>
                <a:schemeClr val="bg1"/>
              </a:solidFill>
            </a:ln>
          </c:spPr>
          <c:invertIfNegative val="0"/>
          <c:dLbls>
            <c:dLbl>
              <c:idx val="0"/>
              <c:layout>
                <c:manualLayout>
                  <c:x val="0.39876148329796524"/>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591-4B51-A266-721C934F8F1E}"/>
                </c:ext>
              </c:extLst>
            </c:dLbl>
            <c:dLbl>
              <c:idx val="1"/>
              <c:layout>
                <c:manualLayout>
                  <c:x val="6.439670922538454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591-4B51-A266-721C934F8F1E}"/>
                </c:ext>
              </c:extLst>
            </c:dLbl>
            <c:dLbl>
              <c:idx val="2"/>
              <c:layout>
                <c:manualLayout>
                  <c:x val="0.1228463705962637"/>
                  <c:y val="6.2639802800413459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591-4B51-A266-721C934F8F1E}"/>
                </c:ext>
              </c:extLst>
            </c:dLbl>
            <c:dLbl>
              <c:idx val="3"/>
              <c:layout>
                <c:manualLayout>
                  <c:x val="6.1598056341182116E-2"/>
                  <c:y val="-3.417025022491401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591-4B51-A266-721C934F8F1E}"/>
                </c:ext>
              </c:extLst>
            </c:dLbl>
            <c:dLbl>
              <c:idx val="4"/>
              <c:layout>
                <c:manualLayout>
                  <c:x val="3.2184717581031697E-2"/>
                  <c:y val="0"/>
                </c:manualLayout>
              </c:layout>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591-4B51-A266-721C934F8F1E}"/>
                </c:ext>
              </c:extLst>
            </c:dLbl>
            <c:spPr>
              <a:noFill/>
              <a:ln>
                <a:noFill/>
              </a:ln>
              <a:effectLst/>
            </c:spPr>
            <c:txPr>
              <a:bodyPr/>
              <a:lstStyle/>
              <a:p>
                <a:pPr>
                  <a:defRPr sz="1000">
                    <a:solidFill>
                      <a:srgbClr val="31313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Total</c:v>
                </c:pt>
                <c:pt idx="1">
                  <c:v>D</c:v>
                </c:pt>
                <c:pt idx="2">
                  <c:v>C</c:v>
                </c:pt>
                <c:pt idx="3">
                  <c:v>B</c:v>
                </c:pt>
                <c:pt idx="4">
                  <c:v>A</c:v>
                </c:pt>
              </c:strCache>
            </c:strRef>
          </c:cat>
          <c:val>
            <c:numRef>
              <c:f>Sheet1!$C$2:$C$6</c:f>
              <c:numCache>
                <c:formatCode>General</c:formatCode>
                <c:ptCount val="5"/>
                <c:pt idx="0">
                  <c:v>35</c:v>
                </c:pt>
                <c:pt idx="1">
                  <c:v>5</c:v>
                </c:pt>
                <c:pt idx="2">
                  <c:v>10</c:v>
                </c:pt>
                <c:pt idx="3">
                  <c:v>5</c:v>
                </c:pt>
                <c:pt idx="4">
                  <c:v>15</c:v>
                </c:pt>
              </c:numCache>
            </c:numRef>
          </c:val>
          <c:extLst>
            <c:ext xmlns:c16="http://schemas.microsoft.com/office/drawing/2014/chart" uri="{C3380CC4-5D6E-409C-BE32-E72D297353CC}">
              <c16:uniqueId val="{00000006-F591-4B51-A266-721C934F8F1E}"/>
            </c:ext>
          </c:extLst>
        </c:ser>
        <c:dLbls>
          <c:showLegendKey val="0"/>
          <c:showVal val="1"/>
          <c:showCatName val="0"/>
          <c:showSerName val="0"/>
          <c:showPercent val="0"/>
          <c:showBubbleSize val="0"/>
        </c:dLbls>
        <c:gapWidth val="100"/>
        <c:overlap val="100"/>
        <c:axId val="1588066256"/>
        <c:axId val="1588066816"/>
      </c:barChart>
      <c:catAx>
        <c:axId val="1588066256"/>
        <c:scaling>
          <c:orientation val="minMax"/>
        </c:scaling>
        <c:delete val="0"/>
        <c:axPos val="l"/>
        <c:title>
          <c:overlay val="0"/>
          <c:txPr>
            <a:bodyPr rot="-5400000" vert="horz"/>
            <a:lstStyle/>
            <a:p>
              <a:pPr>
                <a:defRPr sz="1000">
                  <a:solidFill>
                    <a:srgbClr val="313131"/>
                  </a:solidFill>
                </a:defRPr>
              </a:pPr>
              <a:endParaRPr lang="en-US"/>
            </a:p>
          </c:txPr>
        </c:title>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588066816"/>
        <c:crosses val="autoZero"/>
        <c:auto val="1"/>
        <c:lblAlgn val="ctr"/>
        <c:lblOffset val="100"/>
        <c:noMultiLvlLbl val="0"/>
      </c:catAx>
      <c:valAx>
        <c:axId val="1588066816"/>
        <c:scaling>
          <c:orientation val="minMax"/>
        </c:scaling>
        <c:delete val="0"/>
        <c:axPos val="b"/>
        <c:title>
          <c:layout>
            <c:manualLayout>
              <c:xMode val="edge"/>
              <c:yMode val="edge"/>
              <c:x val="0.48785437813983218"/>
              <c:y val="0.86500519982172042"/>
            </c:manualLayout>
          </c:layout>
          <c:overlay val="0"/>
          <c:txPr>
            <a:bodyPr/>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588066256"/>
        <c:crosses val="autoZero"/>
        <c:crossBetween val="between"/>
        <c:majorUnit val="10"/>
      </c:valAx>
    </c:plotArea>
    <c:plotVisOnly val="1"/>
    <c:dispBlanksAs val="gap"/>
    <c:showDLblsOverMax val="0"/>
  </c:chart>
  <c:txPr>
    <a:bodyPr/>
    <a:lstStyle/>
    <a:p>
      <a:pPr>
        <a:defRPr sz="12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284331032632494E-2"/>
          <c:y val="4.6153842659460598E-2"/>
          <c:w val="0.88414094578388602"/>
          <c:h val="0.86692770541128905"/>
        </c:manualLayout>
      </c:layout>
      <c:barChart>
        <c:barDir val="bar"/>
        <c:grouping val="stacked"/>
        <c:varyColors val="0"/>
        <c:ser>
          <c:idx val="0"/>
          <c:order val="0"/>
          <c:tx>
            <c:strRef>
              <c:f>Sheet1!$B$1</c:f>
              <c:strCache>
                <c:ptCount val="1"/>
                <c:pt idx="0">
                  <c:v>Label 1</c:v>
                </c:pt>
              </c:strCache>
            </c:strRef>
          </c:tx>
          <c:spPr>
            <a:solidFill>
              <a:srgbClr val="575757"/>
            </a:solidFill>
            <a:ln>
              <a:solidFill>
                <a:schemeClr val="bg1"/>
              </a:solidFill>
            </a:ln>
          </c:spPr>
          <c:invertIfNegative val="0"/>
          <c:dLbls>
            <c:delete val="1"/>
          </c:dLbls>
          <c:cat>
            <c:strRef>
              <c:f>Sheet1!$A$2:$A$4</c:f>
              <c:strCache>
                <c:ptCount val="3"/>
                <c:pt idx="0">
                  <c:v>East</c:v>
                </c:pt>
                <c:pt idx="1">
                  <c:v>West</c:v>
                </c:pt>
                <c:pt idx="2">
                  <c:v>North</c:v>
                </c:pt>
              </c:strCache>
            </c:strRef>
          </c:cat>
          <c:val>
            <c:numRef>
              <c:f>Sheet1!$B$2:$B$4</c:f>
              <c:numCache>
                <c:formatCode>General</c:formatCode>
                <c:ptCount val="3"/>
                <c:pt idx="0">
                  <c:v>45.9</c:v>
                </c:pt>
                <c:pt idx="1">
                  <c:v>30.5</c:v>
                </c:pt>
                <c:pt idx="2">
                  <c:v>25.4</c:v>
                </c:pt>
              </c:numCache>
            </c:numRef>
          </c:val>
          <c:extLst>
            <c:ext xmlns:c16="http://schemas.microsoft.com/office/drawing/2014/chart" uri="{C3380CC4-5D6E-409C-BE32-E72D297353CC}">
              <c16:uniqueId val="{00000000-397A-4EF5-AB3B-5FAC66AE9B0B}"/>
            </c:ext>
          </c:extLst>
        </c:ser>
        <c:ser>
          <c:idx val="1"/>
          <c:order val="1"/>
          <c:tx>
            <c:strRef>
              <c:f>Sheet1!$C$1</c:f>
              <c:strCache>
                <c:ptCount val="1"/>
                <c:pt idx="0">
                  <c:v>Label 2</c:v>
                </c:pt>
              </c:strCache>
            </c:strRef>
          </c:tx>
          <c:spPr>
            <a:solidFill>
              <a:srgbClr val="8C8C8C"/>
            </a:solidFill>
            <a:ln>
              <a:solidFill>
                <a:schemeClr val="bg1"/>
              </a:solidFill>
            </a:ln>
          </c:spPr>
          <c:invertIfNegative val="0"/>
          <c:dLbls>
            <c:delete val="1"/>
          </c:dLbls>
          <c:cat>
            <c:strRef>
              <c:f>Sheet1!$A$2:$A$4</c:f>
              <c:strCache>
                <c:ptCount val="3"/>
                <c:pt idx="0">
                  <c:v>East</c:v>
                </c:pt>
                <c:pt idx="1">
                  <c:v>West</c:v>
                </c:pt>
                <c:pt idx="2">
                  <c:v>North</c:v>
                </c:pt>
              </c:strCache>
            </c:strRef>
          </c:cat>
          <c:val>
            <c:numRef>
              <c:f>Sheet1!$C$2:$C$4</c:f>
              <c:numCache>
                <c:formatCode>General</c:formatCode>
                <c:ptCount val="3"/>
                <c:pt idx="0">
                  <c:v>46.9</c:v>
                </c:pt>
                <c:pt idx="1">
                  <c:v>38.6</c:v>
                </c:pt>
                <c:pt idx="2">
                  <c:v>45.6</c:v>
                </c:pt>
              </c:numCache>
            </c:numRef>
          </c:val>
          <c:extLst>
            <c:ext xmlns:c16="http://schemas.microsoft.com/office/drawing/2014/chart" uri="{C3380CC4-5D6E-409C-BE32-E72D297353CC}">
              <c16:uniqueId val="{00000001-397A-4EF5-AB3B-5FAC66AE9B0B}"/>
            </c:ext>
          </c:extLst>
        </c:ser>
        <c:ser>
          <c:idx val="2"/>
          <c:order val="2"/>
          <c:tx>
            <c:strRef>
              <c:f>Sheet1!$D$1</c:f>
              <c:strCache>
                <c:ptCount val="1"/>
                <c:pt idx="0">
                  <c:v>Label 3</c:v>
                </c:pt>
              </c:strCache>
            </c:strRef>
          </c:tx>
          <c:spPr>
            <a:solidFill>
              <a:srgbClr val="DCDCDC"/>
            </a:solidFill>
            <a:ln>
              <a:solidFill>
                <a:schemeClr val="bg1"/>
              </a:solidFill>
            </a:ln>
          </c:spPr>
          <c:invertIfNegative val="0"/>
          <c:dLbls>
            <c:delete val="1"/>
          </c:dLbls>
          <c:cat>
            <c:strRef>
              <c:f>Sheet1!$A$2:$A$4</c:f>
              <c:strCache>
                <c:ptCount val="3"/>
                <c:pt idx="0">
                  <c:v>East</c:v>
                </c:pt>
                <c:pt idx="1">
                  <c:v>West</c:v>
                </c:pt>
                <c:pt idx="2">
                  <c:v>North</c:v>
                </c:pt>
              </c:strCache>
            </c:strRef>
          </c:cat>
          <c:val>
            <c:numRef>
              <c:f>Sheet1!$D$2:$D$4</c:f>
              <c:numCache>
                <c:formatCode>General</c:formatCode>
                <c:ptCount val="3"/>
                <c:pt idx="0">
                  <c:v>45</c:v>
                </c:pt>
                <c:pt idx="1">
                  <c:v>34.6</c:v>
                </c:pt>
                <c:pt idx="2">
                  <c:v>39.200000000000003</c:v>
                </c:pt>
              </c:numCache>
            </c:numRef>
          </c:val>
          <c:extLst>
            <c:ext xmlns:c16="http://schemas.microsoft.com/office/drawing/2014/chart" uri="{C3380CC4-5D6E-409C-BE32-E72D297353CC}">
              <c16:uniqueId val="{00000002-397A-4EF5-AB3B-5FAC66AE9B0B}"/>
            </c:ext>
          </c:extLst>
        </c:ser>
        <c:ser>
          <c:idx val="3"/>
          <c:order val="3"/>
          <c:tx>
            <c:strRef>
              <c:f>Sheet1!$E$1</c:f>
              <c:strCache>
                <c:ptCount val="1"/>
                <c:pt idx="0">
                  <c:v>Label 4</c:v>
                </c:pt>
              </c:strCache>
            </c:strRef>
          </c:tx>
          <c:spPr>
            <a:solidFill>
              <a:srgbClr val="81BC00"/>
            </a:solidFill>
            <a:ln>
              <a:solidFill>
                <a:schemeClr val="bg1"/>
              </a:solidFill>
            </a:ln>
          </c:spPr>
          <c:invertIfNegative val="0"/>
          <c:dLbls>
            <c:delete val="1"/>
          </c:dLbls>
          <c:cat>
            <c:strRef>
              <c:f>Sheet1!$A$2:$A$4</c:f>
              <c:strCache>
                <c:ptCount val="3"/>
                <c:pt idx="0">
                  <c:v>East</c:v>
                </c:pt>
                <c:pt idx="1">
                  <c:v>West</c:v>
                </c:pt>
                <c:pt idx="2">
                  <c:v>North</c:v>
                </c:pt>
              </c:strCache>
            </c:strRef>
          </c:cat>
          <c:val>
            <c:numRef>
              <c:f>Sheet1!$E$2:$E$4</c:f>
              <c:numCache>
                <c:formatCode>General</c:formatCode>
                <c:ptCount val="3"/>
                <c:pt idx="0">
                  <c:v>43.9</c:v>
                </c:pt>
                <c:pt idx="1">
                  <c:v>31.6</c:v>
                </c:pt>
                <c:pt idx="2">
                  <c:v>30.4</c:v>
                </c:pt>
              </c:numCache>
            </c:numRef>
          </c:val>
          <c:extLst>
            <c:ext xmlns:c16="http://schemas.microsoft.com/office/drawing/2014/chart" uri="{C3380CC4-5D6E-409C-BE32-E72D297353CC}">
              <c16:uniqueId val="{00000003-397A-4EF5-AB3B-5FAC66AE9B0B}"/>
            </c:ext>
          </c:extLst>
        </c:ser>
        <c:dLbls>
          <c:showLegendKey val="0"/>
          <c:showVal val="1"/>
          <c:showCatName val="0"/>
          <c:showSerName val="0"/>
          <c:showPercent val="0"/>
          <c:showBubbleSize val="0"/>
        </c:dLbls>
        <c:gapWidth val="150"/>
        <c:overlap val="100"/>
        <c:axId val="1568806080"/>
        <c:axId val="1568806640"/>
      </c:barChart>
      <c:catAx>
        <c:axId val="1568806080"/>
        <c:scaling>
          <c:orientation val="minMax"/>
        </c:scaling>
        <c:delete val="0"/>
        <c:axPos val="l"/>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568806640"/>
        <c:crosses val="autoZero"/>
        <c:auto val="1"/>
        <c:lblAlgn val="ctr"/>
        <c:lblOffset val="100"/>
        <c:noMultiLvlLbl val="0"/>
      </c:catAx>
      <c:valAx>
        <c:axId val="1568806640"/>
        <c:scaling>
          <c:orientation val="minMax"/>
        </c:scaling>
        <c:delete val="0"/>
        <c:axPos val="b"/>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568806080"/>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593861796833126E-2"/>
          <c:y val="4.6153842659460598E-2"/>
          <c:w val="0.87283133891210896"/>
          <c:h val="0.76816224360843788"/>
        </c:manualLayout>
      </c:layout>
      <c:barChart>
        <c:barDir val="bar"/>
        <c:grouping val="stacked"/>
        <c:varyColors val="0"/>
        <c:ser>
          <c:idx val="0"/>
          <c:order val="0"/>
          <c:tx>
            <c:strRef>
              <c:f>Sheet1!$A$2</c:f>
              <c:strCache>
                <c:ptCount val="1"/>
                <c:pt idx="0">
                  <c:v>Invisible</c:v>
                </c:pt>
              </c:strCache>
            </c:strRef>
          </c:tx>
          <c:spPr>
            <a:solidFill>
              <a:schemeClr val="bg1"/>
            </a:solidFill>
            <a:ln>
              <a:solidFill>
                <a:schemeClr val="bg1"/>
              </a:solidFill>
            </a:ln>
          </c:spPr>
          <c:invertIfNegative val="0"/>
          <c:dLbls>
            <c:delete val="1"/>
          </c:dLbls>
          <c:cat>
            <c:strRef>
              <c:f>Sheet1!$B$1:$G$1</c:f>
              <c:strCache>
                <c:ptCount val="6"/>
                <c:pt idx="0">
                  <c:v>Total</c:v>
                </c:pt>
                <c:pt idx="1">
                  <c:v>E</c:v>
                </c:pt>
                <c:pt idx="2">
                  <c:v>D</c:v>
                </c:pt>
                <c:pt idx="3">
                  <c:v>C</c:v>
                </c:pt>
                <c:pt idx="4">
                  <c:v>B</c:v>
                </c:pt>
                <c:pt idx="5">
                  <c:v>A</c:v>
                </c:pt>
              </c:strCache>
            </c:strRef>
          </c:cat>
          <c:val>
            <c:numRef>
              <c:f>Sheet1!$B$2:$G$2</c:f>
              <c:numCache>
                <c:formatCode>General</c:formatCode>
                <c:ptCount val="6"/>
                <c:pt idx="1">
                  <c:v>140</c:v>
                </c:pt>
                <c:pt idx="2">
                  <c:v>107</c:v>
                </c:pt>
                <c:pt idx="3">
                  <c:v>95</c:v>
                </c:pt>
                <c:pt idx="4">
                  <c:v>73</c:v>
                </c:pt>
              </c:numCache>
            </c:numRef>
          </c:val>
          <c:extLst>
            <c:ext xmlns:c16="http://schemas.microsoft.com/office/drawing/2014/chart" uri="{C3380CC4-5D6E-409C-BE32-E72D297353CC}">
              <c16:uniqueId val="{00000000-5978-4675-BC39-9082F02870CB}"/>
            </c:ext>
          </c:extLst>
        </c:ser>
        <c:ser>
          <c:idx val="1"/>
          <c:order val="1"/>
          <c:tx>
            <c:strRef>
              <c:f>Sheet1!$A$3</c:f>
              <c:strCache>
                <c:ptCount val="1"/>
                <c:pt idx="0">
                  <c:v>Blue</c:v>
                </c:pt>
              </c:strCache>
            </c:strRef>
          </c:tx>
          <c:spPr>
            <a:solidFill>
              <a:srgbClr val="DCDCDC"/>
            </a:solidFill>
            <a:ln>
              <a:solidFill>
                <a:schemeClr val="bg1"/>
              </a:solidFill>
            </a:ln>
          </c:spPr>
          <c:invertIfNegative val="0"/>
          <c:dLbls>
            <c:spPr>
              <a:noFill/>
              <a:ln>
                <a:noFill/>
              </a:ln>
              <a:effectLst/>
            </c:spPr>
            <c:txPr>
              <a:bodyPr/>
              <a:lstStyle/>
              <a:p>
                <a:pPr>
                  <a:defRPr sz="1000">
                    <a:solidFill>
                      <a:srgbClr val="31313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Total</c:v>
                </c:pt>
                <c:pt idx="1">
                  <c:v>E</c:v>
                </c:pt>
                <c:pt idx="2">
                  <c:v>D</c:v>
                </c:pt>
                <c:pt idx="3">
                  <c:v>C</c:v>
                </c:pt>
                <c:pt idx="4">
                  <c:v>B</c:v>
                </c:pt>
                <c:pt idx="5">
                  <c:v>A</c:v>
                </c:pt>
              </c:strCache>
            </c:strRef>
          </c:cat>
          <c:val>
            <c:numRef>
              <c:f>Sheet1!$B$3:$G$3</c:f>
              <c:numCache>
                <c:formatCode>General</c:formatCode>
                <c:ptCount val="6"/>
                <c:pt idx="1">
                  <c:v>14</c:v>
                </c:pt>
                <c:pt idx="2">
                  <c:v>33</c:v>
                </c:pt>
                <c:pt idx="3">
                  <c:v>12</c:v>
                </c:pt>
                <c:pt idx="4">
                  <c:v>22</c:v>
                </c:pt>
              </c:numCache>
            </c:numRef>
          </c:val>
          <c:extLst>
            <c:ext xmlns:c16="http://schemas.microsoft.com/office/drawing/2014/chart" uri="{C3380CC4-5D6E-409C-BE32-E72D297353CC}">
              <c16:uniqueId val="{00000001-5978-4675-BC39-9082F02870CB}"/>
            </c:ext>
          </c:extLst>
        </c:ser>
        <c:ser>
          <c:idx val="2"/>
          <c:order val="2"/>
          <c:tx>
            <c:strRef>
              <c:f>Sheet1!$A$4</c:f>
              <c:strCache>
                <c:ptCount val="1"/>
                <c:pt idx="0">
                  <c:v>Green</c:v>
                </c:pt>
              </c:strCache>
            </c:strRef>
          </c:tx>
          <c:spPr>
            <a:solidFill>
              <a:schemeClr val="tx2"/>
            </a:solidFill>
          </c:spPr>
          <c:invertIfNegative val="0"/>
          <c:dPt>
            <c:idx val="0"/>
            <c:invertIfNegative val="0"/>
            <c:bubble3D val="0"/>
            <c:spPr>
              <a:solidFill>
                <a:srgbClr val="00A1DE"/>
              </a:solidFill>
            </c:spPr>
            <c:extLst>
              <c:ext xmlns:c16="http://schemas.microsoft.com/office/drawing/2014/chart" uri="{C3380CC4-5D6E-409C-BE32-E72D297353CC}">
                <c16:uniqueId val="{00000003-5978-4675-BC39-9082F02870CB}"/>
              </c:ext>
            </c:extLst>
          </c:dPt>
          <c:dPt>
            <c:idx val="5"/>
            <c:invertIfNegative val="0"/>
            <c:bubble3D val="0"/>
            <c:spPr>
              <a:solidFill>
                <a:srgbClr val="00A1DE"/>
              </a:solidFill>
            </c:spPr>
            <c:extLst>
              <c:ext xmlns:c16="http://schemas.microsoft.com/office/drawing/2014/chart" uri="{C3380CC4-5D6E-409C-BE32-E72D297353CC}">
                <c16:uniqueId val="{00000005-5978-4675-BC39-9082F02870CB}"/>
              </c:ext>
            </c:extLst>
          </c:dPt>
          <c:dLbls>
            <c:spPr>
              <a:noFill/>
              <a:ln>
                <a:noFill/>
              </a:ln>
              <a:effectLst/>
            </c:spPr>
            <c:txPr>
              <a:bodyPr/>
              <a:lstStyle/>
              <a:p>
                <a:pPr>
                  <a:defRPr sz="10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Total</c:v>
                </c:pt>
                <c:pt idx="1">
                  <c:v>E</c:v>
                </c:pt>
                <c:pt idx="2">
                  <c:v>D</c:v>
                </c:pt>
                <c:pt idx="3">
                  <c:v>C</c:v>
                </c:pt>
                <c:pt idx="4">
                  <c:v>B</c:v>
                </c:pt>
                <c:pt idx="5">
                  <c:v>A</c:v>
                </c:pt>
              </c:strCache>
            </c:strRef>
          </c:cat>
          <c:val>
            <c:numRef>
              <c:f>Sheet1!$B$4:$G$4</c:f>
              <c:numCache>
                <c:formatCode>General</c:formatCode>
                <c:ptCount val="6"/>
                <c:pt idx="0">
                  <c:v>154</c:v>
                </c:pt>
                <c:pt idx="5">
                  <c:v>73</c:v>
                </c:pt>
              </c:numCache>
            </c:numRef>
          </c:val>
          <c:extLst>
            <c:ext xmlns:c16="http://schemas.microsoft.com/office/drawing/2014/chart" uri="{C3380CC4-5D6E-409C-BE32-E72D297353CC}">
              <c16:uniqueId val="{00000006-5978-4675-BC39-9082F02870CB}"/>
            </c:ext>
          </c:extLst>
        </c:ser>
        <c:dLbls>
          <c:showLegendKey val="0"/>
          <c:showVal val="1"/>
          <c:showCatName val="0"/>
          <c:showSerName val="0"/>
          <c:showPercent val="0"/>
          <c:showBubbleSize val="0"/>
        </c:dLbls>
        <c:gapWidth val="0"/>
        <c:overlap val="100"/>
        <c:axId val="1588070736"/>
        <c:axId val="1588071296"/>
      </c:barChart>
      <c:catAx>
        <c:axId val="1588070736"/>
        <c:scaling>
          <c:orientation val="minMax"/>
        </c:scaling>
        <c:delete val="0"/>
        <c:axPos val="l"/>
        <c:title>
          <c:overlay val="0"/>
          <c:txPr>
            <a:bodyPr rot="-5400000" vert="horz"/>
            <a:lstStyle/>
            <a:p>
              <a:pPr>
                <a:defRPr sz="1000">
                  <a:solidFill>
                    <a:srgbClr val="313131"/>
                  </a:solidFill>
                </a:defRPr>
              </a:pPr>
              <a:endParaRPr lang="en-US"/>
            </a:p>
          </c:txPr>
        </c:title>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588071296"/>
        <c:crosses val="autoZero"/>
        <c:auto val="1"/>
        <c:lblAlgn val="ctr"/>
        <c:lblOffset val="100"/>
        <c:noMultiLvlLbl val="0"/>
      </c:catAx>
      <c:valAx>
        <c:axId val="1588071296"/>
        <c:scaling>
          <c:orientation val="minMax"/>
          <c:max val="160"/>
        </c:scaling>
        <c:delete val="0"/>
        <c:axPos val="b"/>
        <c:title>
          <c:layout>
            <c:manualLayout>
              <c:xMode val="edge"/>
              <c:yMode val="edge"/>
              <c:x val="0.49131987106458758"/>
              <c:y val="0.88750048605035481"/>
            </c:manualLayout>
          </c:layout>
          <c:overlay val="0"/>
          <c:txPr>
            <a:bodyPr/>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588070736"/>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847177540478892E-2"/>
          <c:y val="3.9546124331371897E-2"/>
          <c:w val="0.90025376598000773"/>
          <c:h val="0.77407723340138035"/>
        </c:manualLayout>
      </c:layout>
      <c:lineChart>
        <c:grouping val="standard"/>
        <c:varyColors val="0"/>
        <c:ser>
          <c:idx val="0"/>
          <c:order val="0"/>
          <c:tx>
            <c:strRef>
              <c:f>Sheet1!$A$2</c:f>
              <c:strCache>
                <c:ptCount val="1"/>
                <c:pt idx="0">
                  <c:v>High</c:v>
                </c:pt>
              </c:strCache>
            </c:strRef>
          </c:tx>
          <c:spPr>
            <a:ln>
              <a:noFill/>
            </a:ln>
          </c:spPr>
          <c:marker>
            <c:symbol val="none"/>
          </c:marker>
          <c:cat>
            <c:strRef>
              <c:f>Sheet1!$B$1:$M$1</c:f>
              <c:strCache>
                <c:ptCount val="12"/>
                <c:pt idx="0">
                  <c:v>A</c:v>
                </c:pt>
                <c:pt idx="1">
                  <c:v>B</c:v>
                </c:pt>
                <c:pt idx="2">
                  <c:v>C</c:v>
                </c:pt>
                <c:pt idx="3">
                  <c:v>D</c:v>
                </c:pt>
                <c:pt idx="4">
                  <c:v>E</c:v>
                </c:pt>
                <c:pt idx="5">
                  <c:v>F</c:v>
                </c:pt>
                <c:pt idx="6">
                  <c:v>G</c:v>
                </c:pt>
                <c:pt idx="7">
                  <c:v>H</c:v>
                </c:pt>
                <c:pt idx="8">
                  <c:v>I</c:v>
                </c:pt>
                <c:pt idx="9">
                  <c:v>J</c:v>
                </c:pt>
                <c:pt idx="10">
                  <c:v>K</c:v>
                </c:pt>
                <c:pt idx="11">
                  <c:v>L</c:v>
                </c:pt>
              </c:strCache>
            </c:strRef>
          </c:cat>
          <c:val>
            <c:numRef>
              <c:f>Sheet1!$B$2:$M$2</c:f>
              <c:numCache>
                <c:formatCode>General</c:formatCode>
                <c:ptCount val="12"/>
                <c:pt idx="0">
                  <c:v>44.25</c:v>
                </c:pt>
                <c:pt idx="1">
                  <c:v>40.630000000000003</c:v>
                </c:pt>
                <c:pt idx="2">
                  <c:v>38.75</c:v>
                </c:pt>
                <c:pt idx="3">
                  <c:v>37.75</c:v>
                </c:pt>
                <c:pt idx="4">
                  <c:v>39.25</c:v>
                </c:pt>
                <c:pt idx="5">
                  <c:v>43.5</c:v>
                </c:pt>
                <c:pt idx="6">
                  <c:v>45.63</c:v>
                </c:pt>
                <c:pt idx="7">
                  <c:v>41.25</c:v>
                </c:pt>
                <c:pt idx="8">
                  <c:v>45.25</c:v>
                </c:pt>
                <c:pt idx="9">
                  <c:v>42.88</c:v>
                </c:pt>
                <c:pt idx="10">
                  <c:v>37.6</c:v>
                </c:pt>
                <c:pt idx="11">
                  <c:v>41.75</c:v>
                </c:pt>
              </c:numCache>
            </c:numRef>
          </c:val>
          <c:smooth val="0"/>
          <c:extLst>
            <c:ext xmlns:c16="http://schemas.microsoft.com/office/drawing/2014/chart" uri="{C3380CC4-5D6E-409C-BE32-E72D297353CC}">
              <c16:uniqueId val="{00000000-F956-4BEE-BBD7-43C032014F68}"/>
            </c:ext>
          </c:extLst>
        </c:ser>
        <c:ser>
          <c:idx val="1"/>
          <c:order val="1"/>
          <c:tx>
            <c:strRef>
              <c:f>Sheet1!$A$3</c:f>
              <c:strCache>
                <c:ptCount val="1"/>
                <c:pt idx="0">
                  <c:v>Medium</c:v>
                </c:pt>
              </c:strCache>
            </c:strRef>
          </c:tx>
          <c:spPr>
            <a:ln>
              <a:solidFill>
                <a:srgbClr val="B4B4B4"/>
              </a:solidFill>
            </a:ln>
          </c:spPr>
          <c:marker>
            <c:symbol val="none"/>
          </c:marker>
          <c:cat>
            <c:strRef>
              <c:f>Sheet1!$B$1:$M$1</c:f>
              <c:strCache>
                <c:ptCount val="12"/>
                <c:pt idx="0">
                  <c:v>A</c:v>
                </c:pt>
                <c:pt idx="1">
                  <c:v>B</c:v>
                </c:pt>
                <c:pt idx="2">
                  <c:v>C</c:v>
                </c:pt>
                <c:pt idx="3">
                  <c:v>D</c:v>
                </c:pt>
                <c:pt idx="4">
                  <c:v>E</c:v>
                </c:pt>
                <c:pt idx="5">
                  <c:v>F</c:v>
                </c:pt>
                <c:pt idx="6">
                  <c:v>G</c:v>
                </c:pt>
                <c:pt idx="7">
                  <c:v>H</c:v>
                </c:pt>
                <c:pt idx="8">
                  <c:v>I</c:v>
                </c:pt>
                <c:pt idx="9">
                  <c:v>J</c:v>
                </c:pt>
                <c:pt idx="10">
                  <c:v>K</c:v>
                </c:pt>
                <c:pt idx="11">
                  <c:v>L</c:v>
                </c:pt>
              </c:strCache>
            </c:strRef>
          </c:cat>
          <c:val>
            <c:numRef>
              <c:f>Sheet1!$B$3:$M$3</c:f>
              <c:numCache>
                <c:formatCode>General</c:formatCode>
                <c:ptCount val="12"/>
                <c:pt idx="0">
                  <c:v>40.44</c:v>
                </c:pt>
                <c:pt idx="1">
                  <c:v>37.56</c:v>
                </c:pt>
                <c:pt idx="2">
                  <c:v>36.369999999999997</c:v>
                </c:pt>
                <c:pt idx="3">
                  <c:v>34.630000000000003</c:v>
                </c:pt>
                <c:pt idx="4">
                  <c:v>36.44</c:v>
                </c:pt>
                <c:pt idx="5">
                  <c:v>38.869999999999997</c:v>
                </c:pt>
                <c:pt idx="6">
                  <c:v>42.25</c:v>
                </c:pt>
                <c:pt idx="7">
                  <c:v>38.5</c:v>
                </c:pt>
                <c:pt idx="8">
                  <c:v>41.25</c:v>
                </c:pt>
                <c:pt idx="9">
                  <c:v>40.5</c:v>
                </c:pt>
                <c:pt idx="10">
                  <c:v>35.56</c:v>
                </c:pt>
                <c:pt idx="11">
                  <c:v>39.690000000000012</c:v>
                </c:pt>
              </c:numCache>
            </c:numRef>
          </c:val>
          <c:smooth val="0"/>
          <c:extLst>
            <c:ext xmlns:c16="http://schemas.microsoft.com/office/drawing/2014/chart" uri="{C3380CC4-5D6E-409C-BE32-E72D297353CC}">
              <c16:uniqueId val="{00000001-F956-4BEE-BBD7-43C032014F68}"/>
            </c:ext>
          </c:extLst>
        </c:ser>
        <c:ser>
          <c:idx val="2"/>
          <c:order val="2"/>
          <c:tx>
            <c:strRef>
              <c:f>Sheet1!$A$4</c:f>
              <c:strCache>
                <c:ptCount val="1"/>
                <c:pt idx="0">
                  <c:v>Low</c:v>
                </c:pt>
              </c:strCache>
            </c:strRef>
          </c:tx>
          <c:spPr>
            <a:ln>
              <a:noFill/>
            </a:ln>
          </c:spPr>
          <c:marker>
            <c:symbol val="none"/>
          </c:marker>
          <c:cat>
            <c:strRef>
              <c:f>Sheet1!$B$1:$M$1</c:f>
              <c:strCache>
                <c:ptCount val="12"/>
                <c:pt idx="0">
                  <c:v>A</c:v>
                </c:pt>
                <c:pt idx="1">
                  <c:v>B</c:v>
                </c:pt>
                <c:pt idx="2">
                  <c:v>C</c:v>
                </c:pt>
                <c:pt idx="3">
                  <c:v>D</c:v>
                </c:pt>
                <c:pt idx="4">
                  <c:v>E</c:v>
                </c:pt>
                <c:pt idx="5">
                  <c:v>F</c:v>
                </c:pt>
                <c:pt idx="6">
                  <c:v>G</c:v>
                </c:pt>
                <c:pt idx="7">
                  <c:v>H</c:v>
                </c:pt>
                <c:pt idx="8">
                  <c:v>I</c:v>
                </c:pt>
                <c:pt idx="9">
                  <c:v>J</c:v>
                </c:pt>
                <c:pt idx="10">
                  <c:v>K</c:v>
                </c:pt>
                <c:pt idx="11">
                  <c:v>L</c:v>
                </c:pt>
              </c:strCache>
            </c:strRef>
          </c:cat>
          <c:val>
            <c:numRef>
              <c:f>Sheet1!$B$4:$M$4</c:f>
              <c:numCache>
                <c:formatCode>General</c:formatCode>
                <c:ptCount val="12"/>
                <c:pt idx="0">
                  <c:v>36.630000000000003</c:v>
                </c:pt>
                <c:pt idx="1">
                  <c:v>34.5</c:v>
                </c:pt>
                <c:pt idx="2">
                  <c:v>34</c:v>
                </c:pt>
                <c:pt idx="3">
                  <c:v>31.5</c:v>
                </c:pt>
                <c:pt idx="4">
                  <c:v>33.630000000000003</c:v>
                </c:pt>
                <c:pt idx="5">
                  <c:v>34.25</c:v>
                </c:pt>
                <c:pt idx="6">
                  <c:v>38.880000000000003</c:v>
                </c:pt>
                <c:pt idx="7">
                  <c:v>35.75</c:v>
                </c:pt>
                <c:pt idx="8">
                  <c:v>37.25</c:v>
                </c:pt>
                <c:pt idx="9">
                  <c:v>38.130000000000003</c:v>
                </c:pt>
                <c:pt idx="10">
                  <c:v>33.5</c:v>
                </c:pt>
                <c:pt idx="11">
                  <c:v>37.6</c:v>
                </c:pt>
              </c:numCache>
            </c:numRef>
          </c:val>
          <c:smooth val="0"/>
          <c:extLst>
            <c:ext xmlns:c16="http://schemas.microsoft.com/office/drawing/2014/chart" uri="{C3380CC4-5D6E-409C-BE32-E72D297353CC}">
              <c16:uniqueId val="{00000002-F956-4BEE-BBD7-43C032014F68}"/>
            </c:ext>
          </c:extLst>
        </c:ser>
        <c:dLbls>
          <c:showLegendKey val="0"/>
          <c:showVal val="0"/>
          <c:showCatName val="0"/>
          <c:showSerName val="0"/>
          <c:showPercent val="0"/>
          <c:showBubbleSize val="0"/>
        </c:dLbls>
        <c:upDownBars>
          <c:gapWidth val="150"/>
          <c:upBars/>
          <c:downBars>
            <c:spPr>
              <a:solidFill>
                <a:srgbClr val="00A1DE"/>
              </a:solidFill>
              <a:ln>
                <a:solidFill>
                  <a:schemeClr val="bg1"/>
                </a:solidFill>
              </a:ln>
            </c:spPr>
          </c:downBars>
        </c:upDownBars>
        <c:smooth val="0"/>
        <c:axId val="1588075216"/>
        <c:axId val="1588075776"/>
      </c:lineChart>
      <c:catAx>
        <c:axId val="1588075216"/>
        <c:scaling>
          <c:orientation val="minMax"/>
        </c:scaling>
        <c:delete val="0"/>
        <c:axPos val="b"/>
        <c:title>
          <c:layout>
            <c:manualLayout>
              <c:xMode val="edge"/>
              <c:yMode val="edge"/>
              <c:x val="0.50254192397823183"/>
              <c:y val="0.88817074948964714"/>
            </c:manualLayout>
          </c:layout>
          <c:overlay val="0"/>
          <c:txPr>
            <a:bodyPr/>
            <a:lstStyle/>
            <a:p>
              <a:pPr>
                <a:defRPr sz="1000">
                  <a:solidFill>
                    <a:srgbClr val="313131"/>
                  </a:solidFill>
                </a:defRPr>
              </a:pPr>
              <a:endParaRPr lang="en-US"/>
            </a:p>
          </c:txPr>
        </c:title>
        <c:numFmt formatCode="General" sourceLinked="1"/>
        <c:majorTickMark val="out"/>
        <c:minorTickMark val="none"/>
        <c:tickLblPos val="nextTo"/>
        <c:spPr>
          <a:ln>
            <a:solidFill>
              <a:srgbClr val="575757"/>
            </a:solidFill>
          </a:ln>
        </c:spPr>
        <c:txPr>
          <a:bodyPr/>
          <a:lstStyle/>
          <a:p>
            <a:pPr>
              <a:defRPr>
                <a:solidFill>
                  <a:srgbClr val="313131"/>
                </a:solidFill>
              </a:defRPr>
            </a:pPr>
            <a:endParaRPr lang="en-US"/>
          </a:p>
        </c:txPr>
        <c:crossAx val="1588075776"/>
        <c:crosses val="autoZero"/>
        <c:auto val="1"/>
        <c:lblAlgn val="ctr"/>
        <c:lblOffset val="100"/>
        <c:noMultiLvlLbl val="0"/>
      </c:catAx>
      <c:valAx>
        <c:axId val="1588075776"/>
        <c:scaling>
          <c:orientation val="minMax"/>
        </c:scaling>
        <c:delete val="0"/>
        <c:axPos val="l"/>
        <c:title>
          <c:layout>
            <c:manualLayout>
              <c:xMode val="edge"/>
              <c:yMode val="edge"/>
              <c:x val="1.112666220033488E-2"/>
              <c:y val="0.35180057353941868"/>
            </c:manualLayout>
          </c:layout>
          <c:overlay val="0"/>
          <c:txPr>
            <a:bodyPr rot="-5400000" vert="horz"/>
            <a:lstStyle/>
            <a:p>
              <a:pPr>
                <a:defRPr sz="1000">
                  <a:solidFill>
                    <a:srgbClr val="313131"/>
                  </a:solidFill>
                </a:defRPr>
              </a:pPr>
              <a:endParaRPr lang="en-US"/>
            </a:p>
          </c:txPr>
        </c:title>
        <c:numFmt formatCode="General" sourceLinked="1"/>
        <c:majorTickMark val="out"/>
        <c:minorTickMark val="none"/>
        <c:tickLblPos val="nextTo"/>
        <c:spPr>
          <a:ln>
            <a:solidFill>
              <a:srgbClr val="575757"/>
            </a:solidFill>
          </a:ln>
        </c:spPr>
        <c:txPr>
          <a:bodyPr/>
          <a:lstStyle/>
          <a:p>
            <a:pPr>
              <a:defRPr>
                <a:solidFill>
                  <a:srgbClr val="313131"/>
                </a:solidFill>
              </a:defRPr>
            </a:pPr>
            <a:endParaRPr lang="en-US"/>
          </a:p>
        </c:txPr>
        <c:crossAx val="1588075216"/>
        <c:crosses val="autoZero"/>
        <c:crossBetween val="between"/>
        <c:majorUnit val="10"/>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758640862435292E-2"/>
          <c:y val="3.9546124331371897E-2"/>
          <c:w val="0.86188134774913905"/>
          <c:h val="0.73937712647030229"/>
        </c:manualLayout>
      </c:layout>
      <c:barChart>
        <c:barDir val="col"/>
        <c:grouping val="clustered"/>
        <c:varyColors val="0"/>
        <c:ser>
          <c:idx val="0"/>
          <c:order val="0"/>
          <c:tx>
            <c:strRef>
              <c:f>Sheet1!$A$2</c:f>
              <c:strCache>
                <c:ptCount val="1"/>
              </c:strCache>
            </c:strRef>
          </c:tx>
          <c:spPr>
            <a:solidFill>
              <a:srgbClr val="00A1DE"/>
            </a:solidFill>
            <a:ln w="28575">
              <a:solidFill>
                <a:schemeClr val="bg1"/>
              </a:solidFill>
            </a:ln>
          </c:spPr>
          <c:invertIfNegative val="0"/>
          <c:cat>
            <c:strRef>
              <c:f>Sheet1!$B$1:$E$1</c:f>
              <c:strCache>
                <c:ptCount val="4"/>
                <c:pt idx="0">
                  <c:v>A</c:v>
                </c:pt>
                <c:pt idx="1">
                  <c:v>B</c:v>
                </c:pt>
                <c:pt idx="2">
                  <c:v>C</c:v>
                </c:pt>
                <c:pt idx="3">
                  <c:v>D</c:v>
                </c:pt>
              </c:strCache>
            </c:strRef>
          </c:cat>
          <c:val>
            <c:numRef>
              <c:f>Sheet1!$B$2:$E$2</c:f>
              <c:numCache>
                <c:formatCode>General</c:formatCode>
                <c:ptCount val="4"/>
                <c:pt idx="0">
                  <c:v>200</c:v>
                </c:pt>
                <c:pt idx="1">
                  <c:v>300</c:v>
                </c:pt>
                <c:pt idx="2">
                  <c:v>400</c:v>
                </c:pt>
                <c:pt idx="3">
                  <c:v>500</c:v>
                </c:pt>
              </c:numCache>
            </c:numRef>
          </c:val>
          <c:extLst>
            <c:ext xmlns:c16="http://schemas.microsoft.com/office/drawing/2014/chart" uri="{C3380CC4-5D6E-409C-BE32-E72D297353CC}">
              <c16:uniqueId val="{00000000-271A-40B0-8CFC-5072E3F664AA}"/>
            </c:ext>
          </c:extLst>
        </c:ser>
        <c:dLbls>
          <c:showLegendKey val="0"/>
          <c:showVal val="0"/>
          <c:showCatName val="0"/>
          <c:showSerName val="0"/>
          <c:showPercent val="0"/>
          <c:showBubbleSize val="0"/>
        </c:dLbls>
        <c:gapWidth val="150"/>
        <c:axId val="1588080256"/>
        <c:axId val="1588080816"/>
      </c:barChart>
      <c:stockChart>
        <c:ser>
          <c:idx val="1"/>
          <c:order val="1"/>
          <c:tx>
            <c:strRef>
              <c:f>Sheet1!$A$3</c:f>
              <c:strCache>
                <c:ptCount val="1"/>
                <c:pt idx="0">
                  <c:v>Bottom</c:v>
                </c:pt>
              </c:strCache>
            </c:strRef>
          </c:tx>
          <c:spPr>
            <a:ln w="28575">
              <a:noFill/>
            </a:ln>
          </c:spPr>
          <c:marker>
            <c:symbol val="none"/>
          </c:marker>
          <c:cat>
            <c:strRef>
              <c:f>Sheet1!$B$1:$E$1</c:f>
              <c:strCache>
                <c:ptCount val="4"/>
                <c:pt idx="0">
                  <c:v>A</c:v>
                </c:pt>
                <c:pt idx="1">
                  <c:v>B</c:v>
                </c:pt>
                <c:pt idx="2">
                  <c:v>C</c:v>
                </c:pt>
                <c:pt idx="3">
                  <c:v>D</c:v>
                </c:pt>
              </c:strCache>
            </c:strRef>
          </c:cat>
          <c:val>
            <c:numRef>
              <c:f>Sheet1!$B$3:$E$3</c:f>
              <c:numCache>
                <c:formatCode>General</c:formatCode>
                <c:ptCount val="4"/>
                <c:pt idx="0">
                  <c:v>10</c:v>
                </c:pt>
                <c:pt idx="1">
                  <c:v>20</c:v>
                </c:pt>
                <c:pt idx="2">
                  <c:v>30</c:v>
                </c:pt>
                <c:pt idx="3">
                  <c:v>40</c:v>
                </c:pt>
              </c:numCache>
            </c:numRef>
          </c:val>
          <c:smooth val="0"/>
          <c:extLst>
            <c:ext xmlns:c16="http://schemas.microsoft.com/office/drawing/2014/chart" uri="{C3380CC4-5D6E-409C-BE32-E72D297353CC}">
              <c16:uniqueId val="{00000001-271A-40B0-8CFC-5072E3F664AA}"/>
            </c:ext>
          </c:extLst>
        </c:ser>
        <c:ser>
          <c:idx val="2"/>
          <c:order val="2"/>
          <c:tx>
            <c:strRef>
              <c:f>Sheet1!$A$4</c:f>
              <c:strCache>
                <c:ptCount val="1"/>
                <c:pt idx="0">
                  <c:v>Mid</c:v>
                </c:pt>
              </c:strCache>
            </c:strRef>
          </c:tx>
          <c:spPr>
            <a:ln w="28575">
              <a:noFill/>
            </a:ln>
          </c:spPr>
          <c:marker>
            <c:symbol val="none"/>
          </c:marker>
          <c:cat>
            <c:strRef>
              <c:f>Sheet1!$B$1:$E$1</c:f>
              <c:strCache>
                <c:ptCount val="4"/>
                <c:pt idx="0">
                  <c:v>A</c:v>
                </c:pt>
                <c:pt idx="1">
                  <c:v>B</c:v>
                </c:pt>
                <c:pt idx="2">
                  <c:v>C</c:v>
                </c:pt>
                <c:pt idx="3">
                  <c:v>D</c:v>
                </c:pt>
              </c:strCache>
            </c:strRef>
          </c:cat>
          <c:val>
            <c:numRef>
              <c:f>Sheet1!$B$4:$E$4</c:f>
              <c:numCache>
                <c:formatCode>General</c:formatCode>
                <c:ptCount val="4"/>
                <c:pt idx="0">
                  <c:v>25</c:v>
                </c:pt>
                <c:pt idx="1">
                  <c:v>35</c:v>
                </c:pt>
                <c:pt idx="2">
                  <c:v>45</c:v>
                </c:pt>
                <c:pt idx="3">
                  <c:v>55</c:v>
                </c:pt>
              </c:numCache>
            </c:numRef>
          </c:val>
          <c:smooth val="0"/>
          <c:extLst>
            <c:ext xmlns:c16="http://schemas.microsoft.com/office/drawing/2014/chart" uri="{C3380CC4-5D6E-409C-BE32-E72D297353CC}">
              <c16:uniqueId val="{00000002-271A-40B0-8CFC-5072E3F664AA}"/>
            </c:ext>
          </c:extLst>
        </c:ser>
        <c:ser>
          <c:idx val="3"/>
          <c:order val="3"/>
          <c:tx>
            <c:strRef>
              <c:f>Sheet1!$A$5</c:f>
              <c:strCache>
                <c:ptCount val="1"/>
                <c:pt idx="0">
                  <c:v>Top</c:v>
                </c:pt>
              </c:strCache>
            </c:strRef>
          </c:tx>
          <c:spPr>
            <a:ln w="28575">
              <a:noFill/>
            </a:ln>
          </c:spPr>
          <c:marker>
            <c:symbol val="dash"/>
            <c:size val="5"/>
            <c:spPr>
              <a:solidFill>
                <a:schemeClr val="tx2"/>
              </a:solidFill>
              <a:ln>
                <a:solidFill>
                  <a:schemeClr val="tx2"/>
                </a:solidFill>
              </a:ln>
            </c:spPr>
          </c:marker>
          <c:cat>
            <c:strRef>
              <c:f>Sheet1!$B$1:$E$1</c:f>
              <c:strCache>
                <c:ptCount val="4"/>
                <c:pt idx="0">
                  <c:v>A</c:v>
                </c:pt>
                <c:pt idx="1">
                  <c:v>B</c:v>
                </c:pt>
                <c:pt idx="2">
                  <c:v>C</c:v>
                </c:pt>
                <c:pt idx="3">
                  <c:v>D</c:v>
                </c:pt>
              </c:strCache>
            </c:strRef>
          </c:cat>
          <c:val>
            <c:numRef>
              <c:f>Sheet1!$B$5:$E$5</c:f>
              <c:numCache>
                <c:formatCode>General</c:formatCode>
                <c:ptCount val="4"/>
                <c:pt idx="0">
                  <c:v>40</c:v>
                </c:pt>
                <c:pt idx="1">
                  <c:v>50</c:v>
                </c:pt>
                <c:pt idx="2">
                  <c:v>60</c:v>
                </c:pt>
                <c:pt idx="3">
                  <c:v>70</c:v>
                </c:pt>
              </c:numCache>
            </c:numRef>
          </c:val>
          <c:smooth val="0"/>
          <c:extLst>
            <c:ext xmlns:c16="http://schemas.microsoft.com/office/drawing/2014/chart" uri="{C3380CC4-5D6E-409C-BE32-E72D297353CC}">
              <c16:uniqueId val="{00000003-271A-40B0-8CFC-5072E3F664AA}"/>
            </c:ext>
          </c:extLst>
        </c:ser>
        <c:dLbls>
          <c:showLegendKey val="0"/>
          <c:showVal val="0"/>
          <c:showCatName val="0"/>
          <c:showSerName val="0"/>
          <c:showPercent val="0"/>
          <c:showBubbleSize val="0"/>
        </c:dLbls>
        <c:hiLowLines>
          <c:spPr>
            <a:ln>
              <a:solidFill>
                <a:schemeClr val="tx2"/>
              </a:solidFill>
            </a:ln>
          </c:spPr>
        </c:hiLowLines>
        <c:axId val="1588081936"/>
        <c:axId val="1588081376"/>
      </c:stockChart>
      <c:catAx>
        <c:axId val="1588080256"/>
        <c:scaling>
          <c:orientation val="minMax"/>
        </c:scaling>
        <c:delete val="0"/>
        <c:axPos val="b"/>
        <c:title>
          <c:layout>
            <c:manualLayout>
              <c:xMode val="edge"/>
              <c:yMode val="edge"/>
              <c:x val="0.47123818887462399"/>
              <c:y val="0.84902109458539898"/>
            </c:manualLayout>
          </c:layout>
          <c:overlay val="0"/>
          <c:txPr>
            <a:bodyPr/>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588080816"/>
        <c:crosses val="autoZero"/>
        <c:auto val="1"/>
        <c:lblAlgn val="ctr"/>
        <c:lblOffset val="100"/>
        <c:noMultiLvlLbl val="0"/>
      </c:catAx>
      <c:valAx>
        <c:axId val="1588080816"/>
        <c:scaling>
          <c:orientation val="minMax"/>
        </c:scaling>
        <c:delete val="0"/>
        <c:axPos val="l"/>
        <c:title>
          <c:layout>
            <c:manualLayout>
              <c:xMode val="edge"/>
              <c:yMode val="edge"/>
              <c:x val="1.4960143440713433E-2"/>
              <c:y val="0.3210554583454846"/>
            </c:manualLayout>
          </c:layout>
          <c:overlay val="0"/>
          <c:txPr>
            <a:bodyPr rot="-5400000" vert="horz"/>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588080256"/>
        <c:crosses val="autoZero"/>
        <c:crossBetween val="between"/>
      </c:valAx>
      <c:valAx>
        <c:axId val="1588081376"/>
        <c:scaling>
          <c:orientation val="minMax"/>
        </c:scaling>
        <c:delete val="0"/>
        <c:axPos val="r"/>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588081936"/>
        <c:crosses val="max"/>
        <c:crossBetween val="between"/>
        <c:majorUnit val="20"/>
      </c:valAx>
      <c:catAx>
        <c:axId val="1588081936"/>
        <c:scaling>
          <c:orientation val="minMax"/>
        </c:scaling>
        <c:delete val="1"/>
        <c:axPos val="b"/>
        <c:numFmt formatCode="General" sourceLinked="1"/>
        <c:majorTickMark val="out"/>
        <c:minorTickMark val="none"/>
        <c:tickLblPos val="none"/>
        <c:crossAx val="1588081376"/>
        <c:crosses val="autoZero"/>
        <c:auto val="1"/>
        <c:lblAlgn val="ctr"/>
        <c:lblOffset val="100"/>
        <c:noMultiLvlLbl val="0"/>
      </c:cat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211325153968212E-2"/>
          <c:y val="3.9546124331371897E-2"/>
          <c:w val="0.87350748153688418"/>
          <c:h val="0.78916258109245785"/>
        </c:manualLayout>
      </c:layout>
      <c:scatterChart>
        <c:scatterStyle val="lineMarker"/>
        <c:varyColors val="0"/>
        <c:ser>
          <c:idx val="0"/>
          <c:order val="0"/>
          <c:tx>
            <c:strRef>
              <c:f>Sheet1!$B$1</c:f>
              <c:strCache>
                <c:ptCount val="1"/>
                <c:pt idx="0">
                  <c:v>Y values</c:v>
                </c:pt>
              </c:strCache>
            </c:strRef>
          </c:tx>
          <c:spPr>
            <a:ln w="28575">
              <a:noFill/>
            </a:ln>
          </c:spPr>
          <c:marker>
            <c:symbol val="square"/>
            <c:size val="7"/>
            <c:spPr>
              <a:solidFill>
                <a:srgbClr val="00A1DE"/>
              </a:solidFill>
              <a:ln>
                <a:noFill/>
              </a:ln>
            </c:spPr>
          </c:marker>
          <c:dLbls>
            <c:dLbl>
              <c:idx val="0"/>
              <c:tx>
                <c:rich>
                  <a:bodyPr/>
                  <a:lstStyle/>
                  <a:p>
                    <a:r>
                      <a:rPr lang="en-US" sz="100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432-42AD-B9D3-AF3A5DD76F7C}"/>
                </c:ext>
              </c:extLst>
            </c:dLbl>
            <c:dLbl>
              <c:idx val="1"/>
              <c:tx>
                <c:rich>
                  <a:bodyPr/>
                  <a:lstStyle/>
                  <a:p>
                    <a:r>
                      <a:rPr lang="en-US" sz="100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432-42AD-B9D3-AF3A5DD76F7C}"/>
                </c:ext>
              </c:extLst>
            </c:dLbl>
            <c:dLbl>
              <c:idx val="2"/>
              <c:tx>
                <c:rich>
                  <a:bodyPr/>
                  <a:lstStyle/>
                  <a:p>
                    <a:r>
                      <a:rPr lang="en-US" sz="100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432-42AD-B9D3-AF3A5DD76F7C}"/>
                </c:ext>
              </c:extLst>
            </c:dLbl>
            <c:dLbl>
              <c:idx val="3"/>
              <c:tx>
                <c:rich>
                  <a:bodyPr/>
                  <a:lstStyle/>
                  <a:p>
                    <a:r>
                      <a:rPr lang="en-US" sz="100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432-42AD-B9D3-AF3A5DD76F7C}"/>
                </c:ext>
              </c:extLst>
            </c:dLbl>
            <c:dLbl>
              <c:idx val="4"/>
              <c:tx>
                <c:rich>
                  <a:bodyPr/>
                  <a:lstStyle/>
                  <a:p>
                    <a:r>
                      <a:rPr lang="en-US" sz="100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6432-42AD-B9D3-AF3A5DD76F7C}"/>
                </c:ext>
              </c:extLst>
            </c:dLbl>
            <c:dLbl>
              <c:idx val="5"/>
              <c:tx>
                <c:rich>
                  <a:bodyPr/>
                  <a:lstStyle/>
                  <a:p>
                    <a:r>
                      <a:rPr lang="en-US" sz="100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432-42AD-B9D3-AF3A5DD76F7C}"/>
                </c:ext>
              </c:extLst>
            </c:dLbl>
            <c:dLbl>
              <c:idx val="6"/>
              <c:tx>
                <c:rich>
                  <a:bodyPr/>
                  <a:lstStyle/>
                  <a:p>
                    <a:r>
                      <a:rPr lang="en-US" sz="1000">
                        <a:solidFill>
                          <a:srgbClr val="313131"/>
                        </a:solidFill>
                      </a:rPr>
                      <a:t>xxx</a:t>
                    </a:r>
                    <a:endParaRPr lang="en-US"/>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432-42AD-B9D3-AF3A5DD76F7C}"/>
                </c:ext>
              </c:extLst>
            </c:dLbl>
            <c:dLbl>
              <c:idx val="7"/>
              <c:tx>
                <c:rich>
                  <a:bodyPr/>
                  <a:lstStyle/>
                  <a:p>
                    <a:r>
                      <a:rPr lang="en-US" sz="100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432-42AD-B9D3-AF3A5DD76F7C}"/>
                </c:ext>
              </c:extLst>
            </c:dLbl>
            <c:dLbl>
              <c:idx val="8"/>
              <c:tx>
                <c:rich>
                  <a:bodyPr/>
                  <a:lstStyle/>
                  <a:p>
                    <a:r>
                      <a:rPr lang="en-US" sz="100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432-42AD-B9D3-AF3A5DD76F7C}"/>
                </c:ext>
              </c:extLst>
            </c:dLbl>
            <c:dLbl>
              <c:idx val="9"/>
              <c:tx>
                <c:rich>
                  <a:bodyPr/>
                  <a:lstStyle/>
                  <a:p>
                    <a:r>
                      <a:rPr lang="en-US" sz="100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432-42AD-B9D3-AF3A5DD76F7C}"/>
                </c:ext>
              </c:extLst>
            </c:dLbl>
            <c:dLbl>
              <c:idx val="10"/>
              <c:tx>
                <c:rich>
                  <a:bodyPr/>
                  <a:lstStyle/>
                  <a:p>
                    <a:r>
                      <a:rPr lang="en-US" sz="100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432-42AD-B9D3-AF3A5DD76F7C}"/>
                </c:ext>
              </c:extLst>
            </c:dLbl>
            <c:spPr>
              <a:noFill/>
              <a:ln>
                <a:noFill/>
              </a:ln>
              <a:effectLst/>
            </c:spPr>
            <c:txPr>
              <a:bodyPr/>
              <a:lstStyle/>
              <a:p>
                <a:pPr>
                  <a:defRPr sz="1000">
                    <a:solidFill>
                      <a:srgbClr val="313131"/>
                    </a:solidFill>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numRef>
              <c:f>Sheet1!$A$2:$A$12</c:f>
              <c:numCache>
                <c:formatCode>General</c:formatCode>
                <c:ptCount val="11"/>
                <c:pt idx="0">
                  <c:v>20</c:v>
                </c:pt>
                <c:pt idx="1">
                  <c:v>11</c:v>
                </c:pt>
                <c:pt idx="2">
                  <c:v>36</c:v>
                </c:pt>
                <c:pt idx="3">
                  <c:v>48</c:v>
                </c:pt>
                <c:pt idx="4">
                  <c:v>56</c:v>
                </c:pt>
                <c:pt idx="5">
                  <c:v>70</c:v>
                </c:pt>
                <c:pt idx="6">
                  <c:v>10</c:v>
                </c:pt>
                <c:pt idx="7">
                  <c:v>30</c:v>
                </c:pt>
                <c:pt idx="8">
                  <c:v>88</c:v>
                </c:pt>
                <c:pt idx="9">
                  <c:v>22</c:v>
                </c:pt>
                <c:pt idx="10">
                  <c:v>60</c:v>
                </c:pt>
              </c:numCache>
            </c:numRef>
          </c:xVal>
          <c:yVal>
            <c:numRef>
              <c:f>Sheet1!$B$2:$B$12</c:f>
              <c:numCache>
                <c:formatCode>General</c:formatCode>
                <c:ptCount val="11"/>
                <c:pt idx="0">
                  <c:v>20.399999999999999</c:v>
                </c:pt>
                <c:pt idx="1">
                  <c:v>27.4</c:v>
                </c:pt>
                <c:pt idx="2">
                  <c:v>90</c:v>
                </c:pt>
                <c:pt idx="3">
                  <c:v>20.399999999999999</c:v>
                </c:pt>
                <c:pt idx="4">
                  <c:v>85</c:v>
                </c:pt>
                <c:pt idx="5">
                  <c:v>40</c:v>
                </c:pt>
                <c:pt idx="6">
                  <c:v>95</c:v>
                </c:pt>
                <c:pt idx="7">
                  <c:v>60</c:v>
                </c:pt>
                <c:pt idx="8">
                  <c:v>110</c:v>
                </c:pt>
                <c:pt idx="9">
                  <c:v>30</c:v>
                </c:pt>
                <c:pt idx="10">
                  <c:v>105</c:v>
                </c:pt>
              </c:numCache>
            </c:numRef>
          </c:yVal>
          <c:smooth val="0"/>
          <c:extLst>
            <c:ext xmlns:c16="http://schemas.microsoft.com/office/drawing/2014/chart" uri="{C3380CC4-5D6E-409C-BE32-E72D297353CC}">
              <c16:uniqueId val="{0000000B-6432-42AD-B9D3-AF3A5DD76F7C}"/>
            </c:ext>
          </c:extLst>
        </c:ser>
        <c:dLbls>
          <c:showLegendKey val="0"/>
          <c:showVal val="0"/>
          <c:showCatName val="0"/>
          <c:showSerName val="0"/>
          <c:showPercent val="0"/>
          <c:showBubbleSize val="0"/>
        </c:dLbls>
        <c:axId val="1588084736"/>
        <c:axId val="1588085296"/>
      </c:scatterChart>
      <c:valAx>
        <c:axId val="1588084736"/>
        <c:scaling>
          <c:orientation val="minMax"/>
        </c:scaling>
        <c:delete val="0"/>
        <c:axPos val="b"/>
        <c:title>
          <c:layout>
            <c:manualLayout>
              <c:xMode val="edge"/>
              <c:yMode val="edge"/>
              <c:x val="0.48992418538940946"/>
              <c:y val="0.90327390679938591"/>
            </c:manualLayout>
          </c:layout>
          <c:overlay val="0"/>
          <c:txPr>
            <a:bodyPr/>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588085296"/>
        <c:crosses val="autoZero"/>
        <c:crossBetween val="midCat"/>
      </c:valAx>
      <c:valAx>
        <c:axId val="1588085296"/>
        <c:scaling>
          <c:orientation val="minMax"/>
        </c:scaling>
        <c:delete val="0"/>
        <c:axPos val="l"/>
        <c:title>
          <c:layout>
            <c:manualLayout>
              <c:xMode val="edge"/>
              <c:yMode val="edge"/>
              <c:x val="2.3367253634749181E-2"/>
              <c:y val="0.3474293071856584"/>
            </c:manualLayout>
          </c:layout>
          <c:overlay val="0"/>
          <c:txPr>
            <a:bodyPr rot="-5400000" vert="horz"/>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588084736"/>
        <c:crosses val="autoZero"/>
        <c:crossBetween val="midCat"/>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99377950009633E-2"/>
          <c:y val="3.9546124331371897E-2"/>
          <c:w val="0.8888525013219567"/>
          <c:h val="0.82652760952957804"/>
        </c:manualLayout>
      </c:layout>
      <c:bubbleChart>
        <c:varyColors val="0"/>
        <c:ser>
          <c:idx val="0"/>
          <c:order val="0"/>
          <c:tx>
            <c:strRef>
              <c:f>Sheet1!$B$1</c:f>
              <c:strCache>
                <c:ptCount val="1"/>
                <c:pt idx="0">
                  <c:v>20</c:v>
                </c:pt>
              </c:strCache>
            </c:strRef>
          </c:tx>
          <c:spPr>
            <a:solidFill>
              <a:srgbClr val="00A1DE"/>
            </a:solidFill>
            <a:ln w="28575">
              <a:noFill/>
            </a:ln>
          </c:spPr>
          <c:invertIfNegative val="0"/>
          <c:dLbls>
            <c:dLbl>
              <c:idx val="0"/>
              <c:tx>
                <c:rich>
                  <a:bodyPr/>
                  <a:lstStyle/>
                  <a:p>
                    <a:r>
                      <a:rPr lang="en-US" sz="100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1CD-4390-9AC9-F61BECF22037}"/>
                </c:ext>
              </c:extLst>
            </c:dLbl>
            <c:dLbl>
              <c:idx val="1"/>
              <c:tx>
                <c:rich>
                  <a:bodyPr/>
                  <a:lstStyle/>
                  <a:p>
                    <a:r>
                      <a:rPr lang="en-US" sz="100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1CD-4390-9AC9-F61BECF22037}"/>
                </c:ext>
              </c:extLst>
            </c:dLbl>
            <c:dLbl>
              <c:idx val="2"/>
              <c:tx>
                <c:rich>
                  <a:bodyPr/>
                  <a:lstStyle/>
                  <a:p>
                    <a:r>
                      <a:rPr lang="en-US" sz="100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1CD-4390-9AC9-F61BECF22037}"/>
                </c:ext>
              </c:extLst>
            </c:dLbl>
            <c:dLbl>
              <c:idx val="3"/>
              <c:tx>
                <c:rich>
                  <a:bodyPr/>
                  <a:lstStyle/>
                  <a:p>
                    <a:r>
                      <a:rPr lang="en-US" sz="100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1CD-4390-9AC9-F61BECF22037}"/>
                </c:ext>
              </c:extLst>
            </c:dLbl>
            <c:dLbl>
              <c:idx val="4"/>
              <c:tx>
                <c:rich>
                  <a:bodyPr/>
                  <a:lstStyle/>
                  <a:p>
                    <a:r>
                      <a:rPr lang="en-US" sz="100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1CD-4390-9AC9-F61BECF22037}"/>
                </c:ext>
              </c:extLst>
            </c:dLbl>
            <c:dLbl>
              <c:idx val="5"/>
              <c:tx>
                <c:rich>
                  <a:bodyPr/>
                  <a:lstStyle/>
                  <a:p>
                    <a:r>
                      <a:rPr lang="en-US" sz="100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1CD-4390-9AC9-F61BECF22037}"/>
                </c:ext>
              </c:extLst>
            </c:dLbl>
            <c:dLbl>
              <c:idx val="6"/>
              <c:tx>
                <c:rich>
                  <a:bodyPr/>
                  <a:lstStyle/>
                  <a:p>
                    <a:r>
                      <a:rPr lang="en-US" sz="1000">
                        <a:solidFill>
                          <a:srgbClr val="313131"/>
                        </a:solidFill>
                      </a:rPr>
                      <a:t>xxx</a:t>
                    </a:r>
                    <a:endParaRPr lang="en-US"/>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1CD-4390-9AC9-F61BECF22037}"/>
                </c:ext>
              </c:extLst>
            </c:dLbl>
            <c:dLbl>
              <c:idx val="7"/>
              <c:tx>
                <c:rich>
                  <a:bodyPr/>
                  <a:lstStyle/>
                  <a:p>
                    <a:r>
                      <a:rPr lang="en-US" sz="100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1CD-4390-9AC9-F61BECF22037}"/>
                </c:ext>
              </c:extLst>
            </c:dLbl>
            <c:dLbl>
              <c:idx val="8"/>
              <c:tx>
                <c:rich>
                  <a:bodyPr/>
                  <a:lstStyle/>
                  <a:p>
                    <a:r>
                      <a:rPr lang="en-US" sz="100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1CD-4390-9AC9-F61BECF22037}"/>
                </c:ext>
              </c:extLst>
            </c:dLbl>
            <c:dLbl>
              <c:idx val="9"/>
              <c:tx>
                <c:rich>
                  <a:bodyPr/>
                  <a:lstStyle/>
                  <a:p>
                    <a:r>
                      <a:rPr lang="en-US" sz="100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1CD-4390-9AC9-F61BECF22037}"/>
                </c:ext>
              </c:extLst>
            </c:dLbl>
            <c:dLbl>
              <c:idx val="10"/>
              <c:tx>
                <c:rich>
                  <a:bodyPr/>
                  <a:lstStyle/>
                  <a:p>
                    <a:r>
                      <a:rPr lang="en-US" sz="100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1CD-4390-9AC9-F61BECF22037}"/>
                </c:ext>
              </c:extLst>
            </c:dLbl>
            <c:spPr>
              <a:noFill/>
              <a:ln>
                <a:noFill/>
              </a:ln>
              <a:effectLst/>
            </c:spPr>
            <c:txPr>
              <a:bodyPr/>
              <a:lstStyle/>
              <a:p>
                <a:pPr>
                  <a:defRPr sz="1000">
                    <a:solidFill>
                      <a:srgbClr val="313131"/>
                    </a:solidFill>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strRef>
              <c:f>Sheet1!$B$1:$L$1</c:f>
              <c:strCache>
                <c:ptCount val="11"/>
                <c:pt idx="0">
                  <c:v>20</c:v>
                </c:pt>
                <c:pt idx="1">
                  <c:v>11</c:v>
                </c:pt>
                <c:pt idx="2">
                  <c:v>36</c:v>
                </c:pt>
                <c:pt idx="3">
                  <c:v>48</c:v>
                </c:pt>
                <c:pt idx="4">
                  <c:v>56</c:v>
                </c:pt>
                <c:pt idx="5">
                  <c:v>70</c:v>
                </c:pt>
                <c:pt idx="6">
                  <c:v>10</c:v>
                </c:pt>
                <c:pt idx="7">
                  <c:v>30</c:v>
                </c:pt>
                <c:pt idx="8">
                  <c:v>88</c:v>
                </c:pt>
                <c:pt idx="9">
                  <c:v>22</c:v>
                </c:pt>
                <c:pt idx="10">
                  <c:v>60</c:v>
                </c:pt>
              </c:strCache>
            </c:strRef>
          </c:xVal>
          <c:yVal>
            <c:numRef>
              <c:f>Sheet1!$B$2:$L$2</c:f>
              <c:numCache>
                <c:formatCode>General</c:formatCode>
                <c:ptCount val="11"/>
                <c:pt idx="0">
                  <c:v>20.399999999999999</c:v>
                </c:pt>
                <c:pt idx="1">
                  <c:v>27.4</c:v>
                </c:pt>
                <c:pt idx="2">
                  <c:v>90</c:v>
                </c:pt>
                <c:pt idx="3">
                  <c:v>20.399999999999999</c:v>
                </c:pt>
                <c:pt idx="4">
                  <c:v>85</c:v>
                </c:pt>
                <c:pt idx="5">
                  <c:v>40</c:v>
                </c:pt>
                <c:pt idx="6">
                  <c:v>95</c:v>
                </c:pt>
                <c:pt idx="7">
                  <c:v>60</c:v>
                </c:pt>
                <c:pt idx="8">
                  <c:v>110</c:v>
                </c:pt>
                <c:pt idx="9">
                  <c:v>30</c:v>
                </c:pt>
                <c:pt idx="10">
                  <c:v>105</c:v>
                </c:pt>
              </c:numCache>
            </c:numRef>
          </c:yVal>
          <c:bubbleSize>
            <c:numRef>
              <c:f>Sheet1!$B$3:$L$3</c:f>
              <c:numCache>
                <c:formatCode>General</c:formatCode>
                <c:ptCount val="11"/>
                <c:pt idx="0">
                  <c:v>33</c:v>
                </c:pt>
                <c:pt idx="1">
                  <c:v>5</c:v>
                </c:pt>
                <c:pt idx="2">
                  <c:v>11</c:v>
                </c:pt>
                <c:pt idx="3">
                  <c:v>80</c:v>
                </c:pt>
                <c:pt idx="4">
                  <c:v>100</c:v>
                </c:pt>
                <c:pt idx="5">
                  <c:v>5</c:v>
                </c:pt>
                <c:pt idx="6">
                  <c:v>150</c:v>
                </c:pt>
                <c:pt idx="7">
                  <c:v>40</c:v>
                </c:pt>
                <c:pt idx="8">
                  <c:v>2</c:v>
                </c:pt>
                <c:pt idx="9">
                  <c:v>20</c:v>
                </c:pt>
                <c:pt idx="10">
                  <c:v>100</c:v>
                </c:pt>
              </c:numCache>
            </c:numRef>
          </c:bubbleSize>
          <c:bubble3D val="0"/>
          <c:extLst>
            <c:ext xmlns:c16="http://schemas.microsoft.com/office/drawing/2014/chart" uri="{C3380CC4-5D6E-409C-BE32-E72D297353CC}">
              <c16:uniqueId val="{0000000B-11CD-4390-9AC9-F61BECF22037}"/>
            </c:ext>
          </c:extLst>
        </c:ser>
        <c:ser>
          <c:idx val="1"/>
          <c:order val="1"/>
          <c:tx>
            <c:strRef>
              <c:f>Sheet1!$A$3:$K$3</c:f>
              <c:strCache>
                <c:ptCount val="1"/>
                <c:pt idx="0">
                  <c:v>Size of Bubble 33 5 11 80 100 5 150 40 2 20</c:v>
                </c:pt>
              </c:strCache>
            </c:strRef>
          </c:tx>
          <c:spPr>
            <a:solidFill>
              <a:srgbClr val="00A1DE"/>
            </a:solidFill>
            <a:ln w="28575">
              <a:noFill/>
            </a:ln>
          </c:spPr>
          <c:invertIfNegative val="0"/>
          <c:dLbls>
            <c:dLbl>
              <c:idx val="0"/>
              <c:tx>
                <c:rich>
                  <a:bodyPr/>
                  <a:lstStyle/>
                  <a:p>
                    <a:r>
                      <a:rPr lang="en-US" sz="100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1CD-4390-9AC9-F61BECF22037}"/>
                </c:ext>
              </c:extLst>
            </c:dLbl>
            <c:spPr>
              <a:noFill/>
              <a:ln>
                <a:noFill/>
              </a:ln>
              <a:effectLst/>
            </c:spPr>
            <c:txPr>
              <a:bodyPr/>
              <a:lstStyle/>
              <a:p>
                <a:pPr>
                  <a:defRPr sz="1000">
                    <a:solidFill>
                      <a:srgbClr val="313131"/>
                    </a:solidFill>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strRef>
              <c:f>Sheet1!$L$1</c:f>
              <c:strCache>
                <c:ptCount val="1"/>
                <c:pt idx="0">
                  <c:v>60</c:v>
                </c:pt>
              </c:strCache>
            </c:strRef>
          </c:xVal>
          <c:yVal>
            <c:numRef>
              <c:f>Sheet1!$L$3</c:f>
              <c:numCache>
                <c:formatCode>General</c:formatCode>
                <c:ptCount val="1"/>
                <c:pt idx="0">
                  <c:v>100</c:v>
                </c:pt>
              </c:numCache>
            </c:numRef>
          </c:yVal>
          <c:bubbleSize>
            <c:numLit>
              <c:formatCode>General</c:formatCode>
              <c:ptCount val="1"/>
              <c:pt idx="0">
                <c:v>1</c:v>
              </c:pt>
            </c:numLit>
          </c:bubbleSize>
          <c:bubble3D val="0"/>
          <c:extLst>
            <c:ext xmlns:c16="http://schemas.microsoft.com/office/drawing/2014/chart" uri="{C3380CC4-5D6E-409C-BE32-E72D297353CC}">
              <c16:uniqueId val="{0000000D-11CD-4390-9AC9-F61BECF22037}"/>
            </c:ext>
          </c:extLst>
        </c:ser>
        <c:dLbls>
          <c:showLegendKey val="0"/>
          <c:showVal val="0"/>
          <c:showCatName val="0"/>
          <c:showSerName val="0"/>
          <c:showPercent val="0"/>
          <c:showBubbleSize val="0"/>
        </c:dLbls>
        <c:bubbleScale val="100"/>
        <c:showNegBubbles val="0"/>
        <c:axId val="1588088656"/>
        <c:axId val="1588089216"/>
      </c:bubbleChart>
      <c:valAx>
        <c:axId val="1588088656"/>
        <c:scaling>
          <c:orientation val="minMax"/>
          <c:min val="0"/>
        </c:scaling>
        <c:delete val="0"/>
        <c:axPos val="b"/>
        <c:title>
          <c:overlay val="0"/>
          <c:txPr>
            <a:bodyPr/>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588089216"/>
        <c:crosses val="autoZero"/>
        <c:crossBetween val="midCat"/>
      </c:valAx>
      <c:valAx>
        <c:axId val="1588089216"/>
        <c:scaling>
          <c:orientation val="minMax"/>
        </c:scaling>
        <c:delete val="0"/>
        <c:axPos val="l"/>
        <c:title>
          <c:layout>
            <c:manualLayout>
              <c:xMode val="edge"/>
              <c:yMode val="edge"/>
              <c:x val="1.8361480742854742E-2"/>
              <c:y val="0.3718530669777389"/>
            </c:manualLayout>
          </c:layout>
          <c:overlay val="0"/>
          <c:txPr>
            <a:bodyPr rot="-5400000" vert="horz"/>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588088656"/>
        <c:crosses val="autoZero"/>
        <c:crossBetween val="midCat"/>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0764757310692002E-2"/>
          <c:y val="2.8429016997716699E-2"/>
          <c:w val="0.87847048537861705"/>
          <c:h val="0.74785028876718096"/>
        </c:manualLayout>
      </c:layout>
      <c:barChart>
        <c:barDir val="col"/>
        <c:grouping val="stacked"/>
        <c:varyColors val="0"/>
        <c:ser>
          <c:idx val="0"/>
          <c:order val="0"/>
          <c:tx>
            <c:strRef>
              <c:f>Sheet1!$B$1</c:f>
              <c:strCache>
                <c:ptCount val="1"/>
                <c:pt idx="0">
                  <c:v>Series 1</c:v>
                </c:pt>
              </c:strCache>
            </c:strRef>
          </c:tx>
          <c:spPr>
            <a:ln>
              <a:solidFill>
                <a:schemeClr val="bg1"/>
              </a:solidFill>
            </a:ln>
          </c:spPr>
          <c:invertIfNegative val="0"/>
          <c:dLbls>
            <c:dLbl>
              <c:idx val="0"/>
              <c:layout>
                <c:manualLayout>
                  <c:x val="0"/>
                  <c:y val="-0.2179557969824960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75E-4975-A84C-6A80B5FA5872}"/>
                </c:ext>
              </c:extLst>
            </c:dLbl>
            <c:dLbl>
              <c:idx val="1"/>
              <c:layout>
                <c:manualLayout>
                  <c:x val="0"/>
                  <c:y val="-0.15162142398782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75E-4975-A84C-6A80B5FA5872}"/>
                </c:ext>
              </c:extLst>
            </c:dLbl>
            <c:dLbl>
              <c:idx val="2"/>
              <c:layout>
                <c:manualLayout>
                  <c:x val="0"/>
                  <c:y val="-0.13266874598934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75E-4975-A84C-6A80B5FA5872}"/>
                </c:ext>
              </c:extLst>
            </c:dLbl>
            <c:dLbl>
              <c:idx val="3"/>
              <c:layout>
                <c:manualLayout>
                  <c:x val="0"/>
                  <c:y val="-8.52870509931502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75E-4975-A84C-6A80B5FA5872}"/>
                </c:ext>
              </c:extLst>
            </c:dLbl>
            <c:dLbl>
              <c:idx val="4"/>
              <c:layout>
                <c:manualLayout>
                  <c:x val="0"/>
                  <c:y val="-0.13266874598934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75E-4975-A84C-6A80B5FA5872}"/>
                </c:ext>
              </c:extLst>
            </c:dLbl>
            <c:spPr>
              <a:noFill/>
              <a:ln>
                <a:noFill/>
              </a:ln>
              <a:effectLst/>
            </c:spPr>
            <c:txPr>
              <a:bodyPr/>
              <a:lstStyle/>
              <a:p>
                <a:pPr>
                  <a:defRPr>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6</c:f>
              <c:numCache>
                <c:formatCode>General</c:formatCode>
                <c:ptCount val="5"/>
                <c:pt idx="0">
                  <c:v>2000</c:v>
                </c:pt>
                <c:pt idx="1">
                  <c:v>2001</c:v>
                </c:pt>
                <c:pt idx="2">
                  <c:v>2002</c:v>
                </c:pt>
                <c:pt idx="3">
                  <c:v>2003</c:v>
                </c:pt>
                <c:pt idx="4">
                  <c:v>2004</c:v>
                </c:pt>
              </c:numCache>
            </c:numRef>
          </c:cat>
          <c:val>
            <c:numRef>
              <c:f>Sheet1!$B$2:$B$6</c:f>
              <c:numCache>
                <c:formatCode>General</c:formatCode>
                <c:ptCount val="5"/>
                <c:pt idx="0">
                  <c:v>45.9</c:v>
                </c:pt>
                <c:pt idx="1">
                  <c:v>30.5</c:v>
                </c:pt>
                <c:pt idx="2">
                  <c:v>25.4</c:v>
                </c:pt>
                <c:pt idx="3">
                  <c:v>10</c:v>
                </c:pt>
                <c:pt idx="4">
                  <c:v>-25</c:v>
                </c:pt>
              </c:numCache>
            </c:numRef>
          </c:val>
          <c:extLst>
            <c:ext xmlns:c16="http://schemas.microsoft.com/office/drawing/2014/chart" uri="{C3380CC4-5D6E-409C-BE32-E72D297353CC}">
              <c16:uniqueId val="{00000005-175E-4975-A84C-6A80B5FA5872}"/>
            </c:ext>
          </c:extLst>
        </c:ser>
        <c:dLbls>
          <c:showLegendKey val="0"/>
          <c:showVal val="0"/>
          <c:showCatName val="0"/>
          <c:showSerName val="0"/>
          <c:showPercent val="0"/>
          <c:showBubbleSize val="0"/>
        </c:dLbls>
        <c:gapWidth val="150"/>
        <c:overlap val="100"/>
        <c:axId val="1031735472"/>
        <c:axId val="1031736032"/>
      </c:barChart>
      <c:catAx>
        <c:axId val="1031735472"/>
        <c:scaling>
          <c:orientation val="minMax"/>
        </c:scaling>
        <c:delete val="0"/>
        <c:axPos val="b"/>
        <c:numFmt formatCode="General" sourceLinked="1"/>
        <c:majorTickMark val="out"/>
        <c:minorTickMark val="none"/>
        <c:tickLblPos val="low"/>
        <c:spPr>
          <a:ln>
            <a:solidFill>
              <a:srgbClr val="8C8C8C"/>
            </a:solidFill>
          </a:ln>
        </c:spPr>
        <c:txPr>
          <a:bodyPr/>
          <a:lstStyle/>
          <a:p>
            <a:pPr>
              <a:defRPr>
                <a:solidFill>
                  <a:srgbClr val="313131"/>
                </a:solidFill>
              </a:defRPr>
            </a:pPr>
            <a:endParaRPr lang="en-US"/>
          </a:p>
        </c:txPr>
        <c:crossAx val="1031736032"/>
        <c:crosses val="autoZero"/>
        <c:auto val="1"/>
        <c:lblAlgn val="ctr"/>
        <c:lblOffset val="100"/>
        <c:noMultiLvlLbl val="0"/>
      </c:catAx>
      <c:valAx>
        <c:axId val="1031736032"/>
        <c:scaling>
          <c:orientation val="minMax"/>
        </c:scaling>
        <c:delete val="1"/>
        <c:axPos val="l"/>
        <c:numFmt formatCode="General" sourceLinked="1"/>
        <c:majorTickMark val="out"/>
        <c:minorTickMark val="none"/>
        <c:tickLblPos val="none"/>
        <c:crossAx val="1031735472"/>
        <c:crosses val="autoZero"/>
        <c:crossBetween val="between"/>
      </c:valAx>
    </c:plotArea>
    <c:plotVisOnly val="1"/>
    <c:dispBlanksAs val="gap"/>
    <c:showDLblsOverMax val="0"/>
  </c:chart>
  <c:spPr>
    <a:noFill/>
    <a:ln>
      <a:noFill/>
    </a:ln>
  </c:spPr>
  <c:txPr>
    <a:bodyPr/>
    <a:lstStyle/>
    <a:p>
      <a:pPr>
        <a:defRPr sz="800">
          <a:solidFill>
            <a:schemeClr val="tx2"/>
          </a:solidFill>
        </a:defRPr>
      </a:pPr>
      <a:endParaRPr lang="en-US"/>
    </a:p>
  </c:txPr>
  <c:externalData r:id="rId2">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350617434309201"/>
          <c:y val="0.10423972899162801"/>
          <c:w val="0.81782534373192095"/>
          <c:h val="0.66256323777403103"/>
        </c:manualLayout>
      </c:layout>
      <c:lineChart>
        <c:grouping val="standard"/>
        <c:varyColors val="0"/>
        <c:ser>
          <c:idx val="0"/>
          <c:order val="0"/>
          <c:tx>
            <c:strRef>
              <c:f>Sheet1!$B$1</c:f>
              <c:strCache>
                <c:ptCount val="1"/>
                <c:pt idx="0">
                  <c:v>Series 1</c:v>
                </c:pt>
              </c:strCache>
            </c:strRef>
          </c:tx>
          <c:spPr>
            <a:ln>
              <a:solidFill>
                <a:srgbClr val="8C8C8C"/>
              </a:solidFill>
            </a:ln>
          </c:spPr>
          <c:marker>
            <c:symbol val="none"/>
          </c:marker>
          <c:dLbls>
            <c:spPr>
              <a:noFill/>
              <a:ln>
                <a:noFill/>
              </a:ln>
              <a:effectLst/>
            </c:spPr>
            <c:txPr>
              <a:bodyPr/>
              <a:lstStyle/>
              <a:p>
                <a:pPr>
                  <a:defRPr>
                    <a:solidFill>
                      <a:srgbClr val="313131"/>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6</c:f>
              <c:numCache>
                <c:formatCode>General</c:formatCode>
                <c:ptCount val="5"/>
                <c:pt idx="0">
                  <c:v>2000</c:v>
                </c:pt>
                <c:pt idx="1">
                  <c:v>2001</c:v>
                </c:pt>
                <c:pt idx="2">
                  <c:v>2002</c:v>
                </c:pt>
                <c:pt idx="3">
                  <c:v>2003</c:v>
                </c:pt>
                <c:pt idx="4">
                  <c:v>2004</c:v>
                </c:pt>
              </c:numCache>
            </c:numRef>
          </c:cat>
          <c:val>
            <c:numRef>
              <c:f>Sheet1!$B$2:$B$6</c:f>
              <c:numCache>
                <c:formatCode>General</c:formatCode>
                <c:ptCount val="5"/>
                <c:pt idx="0">
                  <c:v>45.9</c:v>
                </c:pt>
                <c:pt idx="1">
                  <c:v>30.5</c:v>
                </c:pt>
                <c:pt idx="2">
                  <c:v>25.4</c:v>
                </c:pt>
                <c:pt idx="3">
                  <c:v>10</c:v>
                </c:pt>
                <c:pt idx="4">
                  <c:v>-25</c:v>
                </c:pt>
              </c:numCache>
            </c:numRef>
          </c:val>
          <c:smooth val="0"/>
          <c:extLst>
            <c:ext xmlns:c16="http://schemas.microsoft.com/office/drawing/2014/chart" uri="{C3380CC4-5D6E-409C-BE32-E72D297353CC}">
              <c16:uniqueId val="{00000000-5166-4583-B8D5-43C86C5B99B8}"/>
            </c:ext>
          </c:extLst>
        </c:ser>
        <c:dLbls>
          <c:showLegendKey val="0"/>
          <c:showVal val="0"/>
          <c:showCatName val="0"/>
          <c:showSerName val="0"/>
          <c:showPercent val="0"/>
          <c:showBubbleSize val="0"/>
        </c:dLbls>
        <c:smooth val="0"/>
        <c:axId val="1031738272"/>
        <c:axId val="1031738832"/>
      </c:lineChart>
      <c:catAx>
        <c:axId val="1031738272"/>
        <c:scaling>
          <c:orientation val="minMax"/>
        </c:scaling>
        <c:delete val="0"/>
        <c:axPos val="b"/>
        <c:numFmt formatCode="General" sourceLinked="1"/>
        <c:majorTickMark val="out"/>
        <c:minorTickMark val="none"/>
        <c:tickLblPos val="low"/>
        <c:spPr>
          <a:ln>
            <a:solidFill>
              <a:srgbClr val="8C8C8C"/>
            </a:solidFill>
          </a:ln>
        </c:spPr>
        <c:txPr>
          <a:bodyPr/>
          <a:lstStyle/>
          <a:p>
            <a:pPr>
              <a:defRPr>
                <a:solidFill>
                  <a:srgbClr val="313131"/>
                </a:solidFill>
              </a:defRPr>
            </a:pPr>
            <a:endParaRPr lang="en-US"/>
          </a:p>
        </c:txPr>
        <c:crossAx val="1031738832"/>
        <c:crosses val="autoZero"/>
        <c:auto val="1"/>
        <c:lblAlgn val="ctr"/>
        <c:lblOffset val="100"/>
        <c:noMultiLvlLbl val="0"/>
      </c:catAx>
      <c:valAx>
        <c:axId val="1031738832"/>
        <c:scaling>
          <c:orientation val="minMax"/>
        </c:scaling>
        <c:delete val="0"/>
        <c:axPos val="l"/>
        <c:numFmt formatCode="General" sourceLinked="1"/>
        <c:majorTickMark val="out"/>
        <c:minorTickMark val="none"/>
        <c:tickLblPos val="nextTo"/>
        <c:spPr>
          <a:ln>
            <a:solidFill>
              <a:srgbClr val="8C8C8C"/>
            </a:solidFill>
          </a:ln>
        </c:spPr>
        <c:txPr>
          <a:bodyPr/>
          <a:lstStyle/>
          <a:p>
            <a:pPr>
              <a:defRPr>
                <a:solidFill>
                  <a:srgbClr val="313131"/>
                </a:solidFill>
              </a:defRPr>
            </a:pPr>
            <a:endParaRPr lang="en-US"/>
          </a:p>
        </c:txPr>
        <c:crossAx val="1031738272"/>
        <c:crosses val="autoZero"/>
        <c:crossBetween val="between"/>
      </c:valAx>
    </c:plotArea>
    <c:plotVisOnly val="1"/>
    <c:dispBlanksAs val="gap"/>
    <c:showDLblsOverMax val="0"/>
  </c:chart>
  <c:spPr>
    <a:noFill/>
    <a:ln>
      <a:noFill/>
    </a:ln>
  </c:spPr>
  <c:txPr>
    <a:bodyPr/>
    <a:lstStyle/>
    <a:p>
      <a:pPr>
        <a:defRPr sz="800">
          <a:solidFill>
            <a:schemeClr val="tx2"/>
          </a:solidFill>
        </a:defRPr>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0764757310692002E-2"/>
          <c:y val="1.8952677998477802E-2"/>
          <c:w val="0.87847048537861705"/>
          <c:h val="0.75732662776642001"/>
        </c:manualLayout>
      </c:layout>
      <c:barChart>
        <c:barDir val="col"/>
        <c:grouping val="stacked"/>
        <c:varyColors val="0"/>
        <c:ser>
          <c:idx val="0"/>
          <c:order val="0"/>
          <c:tx>
            <c:strRef>
              <c:f>Sheet1!$B$1</c:f>
              <c:strCache>
                <c:ptCount val="1"/>
                <c:pt idx="0">
                  <c:v>Series 1</c:v>
                </c:pt>
              </c:strCache>
            </c:strRef>
          </c:tx>
          <c:spPr>
            <a:ln>
              <a:solidFill>
                <a:schemeClr val="bg1"/>
              </a:solidFill>
            </a:ln>
          </c:spPr>
          <c:invertIfNegative val="0"/>
          <c:dLbls>
            <c:dLbl>
              <c:idx val="0"/>
              <c:layout>
                <c:manualLayout>
                  <c:x val="0"/>
                  <c:y val="-0.2179557969824960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173-4250-BBED-3EA4500EC109}"/>
                </c:ext>
              </c:extLst>
            </c:dLbl>
            <c:dLbl>
              <c:idx val="1"/>
              <c:layout>
                <c:manualLayout>
                  <c:x val="0"/>
                  <c:y val="-0.15162142398782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173-4250-BBED-3EA4500EC109}"/>
                </c:ext>
              </c:extLst>
            </c:dLbl>
            <c:dLbl>
              <c:idx val="2"/>
              <c:layout>
                <c:manualLayout>
                  <c:x val="0"/>
                  <c:y val="-0.13266874598934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173-4250-BBED-3EA4500EC109}"/>
                </c:ext>
              </c:extLst>
            </c:dLbl>
            <c:dLbl>
              <c:idx val="3"/>
              <c:layout>
                <c:manualLayout>
                  <c:x val="0"/>
                  <c:y val="-8.52870509931502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173-4250-BBED-3EA4500EC109}"/>
                </c:ext>
              </c:extLst>
            </c:dLbl>
            <c:dLbl>
              <c:idx val="4"/>
              <c:layout>
                <c:manualLayout>
                  <c:x val="0"/>
                  <c:y val="-0.13266874598934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173-4250-BBED-3EA4500EC109}"/>
                </c:ext>
              </c:extLst>
            </c:dLbl>
            <c:spPr>
              <a:noFill/>
              <a:ln>
                <a:noFill/>
              </a:ln>
              <a:effectLst/>
            </c:spPr>
            <c:txPr>
              <a:bodyPr/>
              <a:lstStyle/>
              <a:p>
                <a:pPr>
                  <a:defRPr>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6</c:f>
              <c:numCache>
                <c:formatCode>General</c:formatCode>
                <c:ptCount val="5"/>
                <c:pt idx="0">
                  <c:v>2000</c:v>
                </c:pt>
                <c:pt idx="1">
                  <c:v>2001</c:v>
                </c:pt>
                <c:pt idx="2">
                  <c:v>2002</c:v>
                </c:pt>
                <c:pt idx="3">
                  <c:v>2003</c:v>
                </c:pt>
                <c:pt idx="4">
                  <c:v>2004</c:v>
                </c:pt>
              </c:numCache>
            </c:numRef>
          </c:cat>
          <c:val>
            <c:numRef>
              <c:f>Sheet1!$B$2:$B$6</c:f>
              <c:numCache>
                <c:formatCode>General</c:formatCode>
                <c:ptCount val="5"/>
                <c:pt idx="0">
                  <c:v>45.9</c:v>
                </c:pt>
                <c:pt idx="1">
                  <c:v>30.5</c:v>
                </c:pt>
                <c:pt idx="2">
                  <c:v>25.4</c:v>
                </c:pt>
                <c:pt idx="3">
                  <c:v>10</c:v>
                </c:pt>
                <c:pt idx="4">
                  <c:v>-25</c:v>
                </c:pt>
              </c:numCache>
            </c:numRef>
          </c:val>
          <c:extLst>
            <c:ext xmlns:c16="http://schemas.microsoft.com/office/drawing/2014/chart" uri="{C3380CC4-5D6E-409C-BE32-E72D297353CC}">
              <c16:uniqueId val="{00000005-1173-4250-BBED-3EA4500EC109}"/>
            </c:ext>
          </c:extLst>
        </c:ser>
        <c:dLbls>
          <c:showLegendKey val="0"/>
          <c:showVal val="0"/>
          <c:showCatName val="0"/>
          <c:showSerName val="0"/>
          <c:showPercent val="0"/>
          <c:showBubbleSize val="0"/>
        </c:dLbls>
        <c:gapWidth val="150"/>
        <c:overlap val="100"/>
        <c:axId val="1031741072"/>
        <c:axId val="1031741632"/>
      </c:barChart>
      <c:catAx>
        <c:axId val="1031741072"/>
        <c:scaling>
          <c:orientation val="minMax"/>
        </c:scaling>
        <c:delete val="0"/>
        <c:axPos val="b"/>
        <c:numFmt formatCode="General" sourceLinked="1"/>
        <c:majorTickMark val="out"/>
        <c:minorTickMark val="none"/>
        <c:tickLblPos val="low"/>
        <c:spPr>
          <a:ln>
            <a:solidFill>
              <a:srgbClr val="8C8C8C"/>
            </a:solidFill>
          </a:ln>
        </c:spPr>
        <c:txPr>
          <a:bodyPr/>
          <a:lstStyle/>
          <a:p>
            <a:pPr>
              <a:defRPr>
                <a:solidFill>
                  <a:srgbClr val="313131"/>
                </a:solidFill>
              </a:defRPr>
            </a:pPr>
            <a:endParaRPr lang="en-US"/>
          </a:p>
        </c:txPr>
        <c:crossAx val="1031741632"/>
        <c:crosses val="autoZero"/>
        <c:auto val="1"/>
        <c:lblAlgn val="ctr"/>
        <c:lblOffset val="100"/>
        <c:noMultiLvlLbl val="0"/>
      </c:catAx>
      <c:valAx>
        <c:axId val="1031741632"/>
        <c:scaling>
          <c:orientation val="minMax"/>
        </c:scaling>
        <c:delete val="1"/>
        <c:axPos val="l"/>
        <c:numFmt formatCode="General" sourceLinked="1"/>
        <c:majorTickMark val="out"/>
        <c:minorTickMark val="none"/>
        <c:tickLblPos val="none"/>
        <c:crossAx val="1031741072"/>
        <c:crosses val="autoZero"/>
        <c:crossBetween val="between"/>
      </c:valAx>
    </c:plotArea>
    <c:plotVisOnly val="1"/>
    <c:dispBlanksAs val="gap"/>
    <c:showDLblsOverMax val="0"/>
  </c:chart>
  <c:spPr>
    <a:noFill/>
    <a:ln>
      <a:noFill/>
    </a:ln>
  </c:spPr>
  <c:txPr>
    <a:bodyPr/>
    <a:lstStyle/>
    <a:p>
      <a:pPr>
        <a:defRPr sz="800">
          <a:solidFill>
            <a:schemeClr val="tx2"/>
          </a:solidFill>
        </a:defRPr>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0764757310692002E-2"/>
          <c:y val="1.8952677998477802E-2"/>
          <c:w val="0.87847048537861705"/>
          <c:h val="0.75732662776642001"/>
        </c:manualLayout>
      </c:layout>
      <c:barChart>
        <c:barDir val="col"/>
        <c:grouping val="stacked"/>
        <c:varyColors val="0"/>
        <c:ser>
          <c:idx val="0"/>
          <c:order val="0"/>
          <c:tx>
            <c:strRef>
              <c:f>Sheet1!$B$1</c:f>
              <c:strCache>
                <c:ptCount val="1"/>
                <c:pt idx="0">
                  <c:v>Series 1</c:v>
                </c:pt>
              </c:strCache>
            </c:strRef>
          </c:tx>
          <c:spPr>
            <a:ln>
              <a:solidFill>
                <a:schemeClr val="bg1"/>
              </a:solidFill>
            </a:ln>
          </c:spPr>
          <c:invertIfNegative val="0"/>
          <c:dLbls>
            <c:dLbl>
              <c:idx val="0"/>
              <c:layout>
                <c:manualLayout>
                  <c:x val="0"/>
                  <c:y val="-0.2179557969824960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DD9-4978-9EE6-187C4624DF73}"/>
                </c:ext>
              </c:extLst>
            </c:dLbl>
            <c:dLbl>
              <c:idx val="1"/>
              <c:layout>
                <c:manualLayout>
                  <c:x val="0"/>
                  <c:y val="-0.15162142398782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DD9-4978-9EE6-187C4624DF73}"/>
                </c:ext>
              </c:extLst>
            </c:dLbl>
            <c:dLbl>
              <c:idx val="2"/>
              <c:layout>
                <c:manualLayout>
                  <c:x val="0"/>
                  <c:y val="-0.13266874598934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DD9-4978-9EE6-187C4624DF73}"/>
                </c:ext>
              </c:extLst>
            </c:dLbl>
            <c:dLbl>
              <c:idx val="3"/>
              <c:layout>
                <c:manualLayout>
                  <c:x val="0"/>
                  <c:y val="-8.52870509931502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DD9-4978-9EE6-187C4624DF73}"/>
                </c:ext>
              </c:extLst>
            </c:dLbl>
            <c:dLbl>
              <c:idx val="4"/>
              <c:layout>
                <c:manualLayout>
                  <c:x val="0"/>
                  <c:y val="-0.13266874598934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DD9-4978-9EE6-187C4624DF73}"/>
                </c:ext>
              </c:extLst>
            </c:dLbl>
            <c:spPr>
              <a:noFill/>
              <a:ln>
                <a:noFill/>
              </a:ln>
              <a:effectLst/>
            </c:spPr>
            <c:txPr>
              <a:bodyPr/>
              <a:lstStyle/>
              <a:p>
                <a:pPr>
                  <a:defRPr>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6</c:f>
              <c:numCache>
                <c:formatCode>General</c:formatCode>
                <c:ptCount val="5"/>
                <c:pt idx="0">
                  <c:v>2000</c:v>
                </c:pt>
                <c:pt idx="1">
                  <c:v>2001</c:v>
                </c:pt>
                <c:pt idx="2">
                  <c:v>2002</c:v>
                </c:pt>
                <c:pt idx="3">
                  <c:v>2003</c:v>
                </c:pt>
                <c:pt idx="4">
                  <c:v>2004</c:v>
                </c:pt>
              </c:numCache>
            </c:numRef>
          </c:cat>
          <c:val>
            <c:numRef>
              <c:f>Sheet1!$B$2:$B$6</c:f>
              <c:numCache>
                <c:formatCode>General</c:formatCode>
                <c:ptCount val="5"/>
                <c:pt idx="0">
                  <c:v>45.9</c:v>
                </c:pt>
                <c:pt idx="1">
                  <c:v>30.5</c:v>
                </c:pt>
                <c:pt idx="2">
                  <c:v>25.4</c:v>
                </c:pt>
                <c:pt idx="3">
                  <c:v>10</c:v>
                </c:pt>
                <c:pt idx="4">
                  <c:v>-25</c:v>
                </c:pt>
              </c:numCache>
            </c:numRef>
          </c:val>
          <c:extLst>
            <c:ext xmlns:c16="http://schemas.microsoft.com/office/drawing/2014/chart" uri="{C3380CC4-5D6E-409C-BE32-E72D297353CC}">
              <c16:uniqueId val="{00000005-4DD9-4978-9EE6-187C4624DF73}"/>
            </c:ext>
          </c:extLst>
        </c:ser>
        <c:dLbls>
          <c:showLegendKey val="0"/>
          <c:showVal val="0"/>
          <c:showCatName val="0"/>
          <c:showSerName val="0"/>
          <c:showPercent val="0"/>
          <c:showBubbleSize val="0"/>
        </c:dLbls>
        <c:gapWidth val="150"/>
        <c:overlap val="100"/>
        <c:axId val="1031743872"/>
        <c:axId val="1031744432"/>
      </c:barChart>
      <c:catAx>
        <c:axId val="1031743872"/>
        <c:scaling>
          <c:orientation val="minMax"/>
        </c:scaling>
        <c:delete val="0"/>
        <c:axPos val="b"/>
        <c:numFmt formatCode="General" sourceLinked="1"/>
        <c:majorTickMark val="out"/>
        <c:minorTickMark val="none"/>
        <c:tickLblPos val="low"/>
        <c:spPr>
          <a:ln>
            <a:solidFill>
              <a:srgbClr val="8C8C8C"/>
            </a:solidFill>
          </a:ln>
        </c:spPr>
        <c:txPr>
          <a:bodyPr/>
          <a:lstStyle/>
          <a:p>
            <a:pPr>
              <a:defRPr>
                <a:solidFill>
                  <a:srgbClr val="313131"/>
                </a:solidFill>
              </a:defRPr>
            </a:pPr>
            <a:endParaRPr lang="en-US"/>
          </a:p>
        </c:txPr>
        <c:crossAx val="1031744432"/>
        <c:crosses val="autoZero"/>
        <c:auto val="1"/>
        <c:lblAlgn val="ctr"/>
        <c:lblOffset val="100"/>
        <c:noMultiLvlLbl val="0"/>
      </c:catAx>
      <c:valAx>
        <c:axId val="1031744432"/>
        <c:scaling>
          <c:orientation val="minMax"/>
        </c:scaling>
        <c:delete val="1"/>
        <c:axPos val="l"/>
        <c:numFmt formatCode="General" sourceLinked="1"/>
        <c:majorTickMark val="out"/>
        <c:minorTickMark val="none"/>
        <c:tickLblPos val="none"/>
        <c:crossAx val="1031743872"/>
        <c:crosses val="autoZero"/>
        <c:crossBetween val="between"/>
      </c:valAx>
    </c:plotArea>
    <c:plotVisOnly val="1"/>
    <c:dispBlanksAs val="gap"/>
    <c:showDLblsOverMax val="0"/>
  </c:chart>
  <c:spPr>
    <a:noFill/>
    <a:ln>
      <a:noFill/>
    </a:ln>
  </c:spPr>
  <c:txPr>
    <a:bodyPr/>
    <a:lstStyle/>
    <a:p>
      <a:pPr>
        <a:defRPr sz="800">
          <a:solidFill>
            <a:schemeClr val="tx2"/>
          </a:solidFill>
        </a:defRPr>
      </a:pPr>
      <a:endParaRPr lang="en-US"/>
    </a:p>
  </c:txPr>
  <c:externalData r:id="rId2">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0764757310692002E-2"/>
          <c:y val="2.8429016997716699E-2"/>
          <c:w val="0.87847048537861705"/>
          <c:h val="0.74785028876718096"/>
        </c:manualLayout>
      </c:layout>
      <c:barChart>
        <c:barDir val="col"/>
        <c:grouping val="stacked"/>
        <c:varyColors val="0"/>
        <c:ser>
          <c:idx val="0"/>
          <c:order val="0"/>
          <c:tx>
            <c:strRef>
              <c:f>Sheet1!$B$1</c:f>
              <c:strCache>
                <c:ptCount val="1"/>
                <c:pt idx="0">
                  <c:v>Series 1</c:v>
                </c:pt>
              </c:strCache>
            </c:strRef>
          </c:tx>
          <c:spPr>
            <a:ln>
              <a:solidFill>
                <a:schemeClr val="bg1"/>
              </a:solidFill>
            </a:ln>
          </c:spPr>
          <c:invertIfNegative val="0"/>
          <c:dLbls>
            <c:dLbl>
              <c:idx val="0"/>
              <c:layout>
                <c:manualLayout>
                  <c:x val="0"/>
                  <c:y val="-0.2179557969824960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83A-494A-910E-392FDE118454}"/>
                </c:ext>
              </c:extLst>
            </c:dLbl>
            <c:dLbl>
              <c:idx val="1"/>
              <c:layout>
                <c:manualLayout>
                  <c:x val="0"/>
                  <c:y val="-0.15162142398782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83A-494A-910E-392FDE118454}"/>
                </c:ext>
              </c:extLst>
            </c:dLbl>
            <c:dLbl>
              <c:idx val="2"/>
              <c:layout>
                <c:manualLayout>
                  <c:x val="0"/>
                  <c:y val="-0.13266874598934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83A-494A-910E-392FDE118454}"/>
                </c:ext>
              </c:extLst>
            </c:dLbl>
            <c:dLbl>
              <c:idx val="3"/>
              <c:layout>
                <c:manualLayout>
                  <c:x val="0"/>
                  <c:y val="-8.52870509931502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83A-494A-910E-392FDE118454}"/>
                </c:ext>
              </c:extLst>
            </c:dLbl>
            <c:dLbl>
              <c:idx val="4"/>
              <c:layout>
                <c:manualLayout>
                  <c:x val="0"/>
                  <c:y val="-0.13266874598934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83A-494A-910E-392FDE118454}"/>
                </c:ext>
              </c:extLst>
            </c:dLbl>
            <c:spPr>
              <a:noFill/>
              <a:ln>
                <a:noFill/>
              </a:ln>
              <a:effectLst/>
            </c:spPr>
            <c:txPr>
              <a:bodyPr/>
              <a:lstStyle/>
              <a:p>
                <a:pPr>
                  <a:defRPr>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6</c:f>
              <c:numCache>
                <c:formatCode>General</c:formatCode>
                <c:ptCount val="5"/>
                <c:pt idx="0">
                  <c:v>2000</c:v>
                </c:pt>
                <c:pt idx="1">
                  <c:v>2001</c:v>
                </c:pt>
                <c:pt idx="2">
                  <c:v>2002</c:v>
                </c:pt>
                <c:pt idx="3">
                  <c:v>2003</c:v>
                </c:pt>
                <c:pt idx="4">
                  <c:v>2004</c:v>
                </c:pt>
              </c:numCache>
            </c:numRef>
          </c:cat>
          <c:val>
            <c:numRef>
              <c:f>Sheet1!$B$2:$B$6</c:f>
              <c:numCache>
                <c:formatCode>General</c:formatCode>
                <c:ptCount val="5"/>
                <c:pt idx="0">
                  <c:v>45.9</c:v>
                </c:pt>
                <c:pt idx="1">
                  <c:v>30.5</c:v>
                </c:pt>
                <c:pt idx="2">
                  <c:v>25.4</c:v>
                </c:pt>
                <c:pt idx="3">
                  <c:v>10</c:v>
                </c:pt>
                <c:pt idx="4">
                  <c:v>-25</c:v>
                </c:pt>
              </c:numCache>
            </c:numRef>
          </c:val>
          <c:extLst>
            <c:ext xmlns:c16="http://schemas.microsoft.com/office/drawing/2014/chart" uri="{C3380CC4-5D6E-409C-BE32-E72D297353CC}">
              <c16:uniqueId val="{00000005-083A-494A-910E-392FDE118454}"/>
            </c:ext>
          </c:extLst>
        </c:ser>
        <c:dLbls>
          <c:showLegendKey val="0"/>
          <c:showVal val="0"/>
          <c:showCatName val="0"/>
          <c:showSerName val="0"/>
          <c:showPercent val="0"/>
          <c:showBubbleSize val="0"/>
        </c:dLbls>
        <c:gapWidth val="150"/>
        <c:overlap val="100"/>
        <c:axId val="1031746672"/>
        <c:axId val="1031747232"/>
      </c:barChart>
      <c:catAx>
        <c:axId val="1031746672"/>
        <c:scaling>
          <c:orientation val="minMax"/>
        </c:scaling>
        <c:delete val="0"/>
        <c:axPos val="b"/>
        <c:numFmt formatCode="General" sourceLinked="1"/>
        <c:majorTickMark val="out"/>
        <c:minorTickMark val="none"/>
        <c:tickLblPos val="low"/>
        <c:spPr>
          <a:ln>
            <a:solidFill>
              <a:srgbClr val="8C8C8C"/>
            </a:solidFill>
          </a:ln>
        </c:spPr>
        <c:txPr>
          <a:bodyPr/>
          <a:lstStyle/>
          <a:p>
            <a:pPr>
              <a:defRPr>
                <a:solidFill>
                  <a:srgbClr val="313131"/>
                </a:solidFill>
              </a:defRPr>
            </a:pPr>
            <a:endParaRPr lang="en-US"/>
          </a:p>
        </c:txPr>
        <c:crossAx val="1031747232"/>
        <c:crosses val="autoZero"/>
        <c:auto val="1"/>
        <c:lblAlgn val="ctr"/>
        <c:lblOffset val="100"/>
        <c:noMultiLvlLbl val="0"/>
      </c:catAx>
      <c:valAx>
        <c:axId val="1031747232"/>
        <c:scaling>
          <c:orientation val="minMax"/>
        </c:scaling>
        <c:delete val="1"/>
        <c:axPos val="l"/>
        <c:numFmt formatCode="General" sourceLinked="1"/>
        <c:majorTickMark val="out"/>
        <c:minorTickMark val="none"/>
        <c:tickLblPos val="none"/>
        <c:crossAx val="1031746672"/>
        <c:crosses val="autoZero"/>
        <c:crossBetween val="between"/>
      </c:valAx>
    </c:plotArea>
    <c:plotVisOnly val="1"/>
    <c:dispBlanksAs val="gap"/>
    <c:showDLblsOverMax val="0"/>
  </c:chart>
  <c:spPr>
    <a:noFill/>
    <a:ln>
      <a:noFill/>
    </a:ln>
  </c:spPr>
  <c:txPr>
    <a:bodyPr/>
    <a:lstStyle/>
    <a:p>
      <a:pPr>
        <a:defRPr sz="800">
          <a:solidFill>
            <a:schemeClr val="tx2"/>
          </a:solidFill>
        </a:defRPr>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284331032632494E-2"/>
          <c:y val="4.6153842659460598E-2"/>
          <c:w val="0.88414094578388602"/>
          <c:h val="0.86692770541128905"/>
        </c:manualLayout>
      </c:layout>
      <c:barChart>
        <c:barDir val="bar"/>
        <c:grouping val="stacked"/>
        <c:varyColors val="0"/>
        <c:ser>
          <c:idx val="0"/>
          <c:order val="0"/>
          <c:tx>
            <c:strRef>
              <c:f>Sheet1!$B$1</c:f>
              <c:strCache>
                <c:ptCount val="1"/>
                <c:pt idx="0">
                  <c:v>A</c:v>
                </c:pt>
              </c:strCache>
            </c:strRef>
          </c:tx>
          <c:spPr>
            <a:solidFill>
              <a:srgbClr val="575757"/>
            </a:solidFill>
            <a:ln>
              <a:solidFill>
                <a:schemeClr val="bg1"/>
              </a:solidFill>
            </a:ln>
          </c:spPr>
          <c:invertIfNegative val="0"/>
          <c:dLbls>
            <c:delete val="1"/>
          </c:dLbls>
          <c:cat>
            <c:strRef>
              <c:f>Sheet1!$A$2:$A$4</c:f>
              <c:strCache>
                <c:ptCount val="3"/>
                <c:pt idx="0">
                  <c:v>East</c:v>
                </c:pt>
                <c:pt idx="1">
                  <c:v>West</c:v>
                </c:pt>
                <c:pt idx="2">
                  <c:v>North</c:v>
                </c:pt>
              </c:strCache>
            </c:strRef>
          </c:cat>
          <c:val>
            <c:numRef>
              <c:f>Sheet1!$B$2:$B$4</c:f>
              <c:numCache>
                <c:formatCode>General</c:formatCode>
                <c:ptCount val="3"/>
                <c:pt idx="0">
                  <c:v>45.9</c:v>
                </c:pt>
                <c:pt idx="1">
                  <c:v>30.5</c:v>
                </c:pt>
                <c:pt idx="2">
                  <c:v>25.4</c:v>
                </c:pt>
              </c:numCache>
            </c:numRef>
          </c:val>
          <c:extLst>
            <c:ext xmlns:c16="http://schemas.microsoft.com/office/drawing/2014/chart" uri="{C3380CC4-5D6E-409C-BE32-E72D297353CC}">
              <c16:uniqueId val="{00000000-6B27-4B97-9F92-D68CE6214337}"/>
            </c:ext>
          </c:extLst>
        </c:ser>
        <c:ser>
          <c:idx val="1"/>
          <c:order val="1"/>
          <c:tx>
            <c:strRef>
              <c:f>Sheet1!$C$1</c:f>
              <c:strCache>
                <c:ptCount val="1"/>
                <c:pt idx="0">
                  <c:v>B</c:v>
                </c:pt>
              </c:strCache>
            </c:strRef>
          </c:tx>
          <c:spPr>
            <a:solidFill>
              <a:srgbClr val="8C8C8C"/>
            </a:solidFill>
            <a:ln>
              <a:solidFill>
                <a:schemeClr val="bg1"/>
              </a:solidFill>
            </a:ln>
          </c:spPr>
          <c:invertIfNegative val="0"/>
          <c:dLbls>
            <c:delete val="1"/>
          </c:dLbls>
          <c:cat>
            <c:strRef>
              <c:f>Sheet1!$A$2:$A$4</c:f>
              <c:strCache>
                <c:ptCount val="3"/>
                <c:pt idx="0">
                  <c:v>East</c:v>
                </c:pt>
                <c:pt idx="1">
                  <c:v>West</c:v>
                </c:pt>
                <c:pt idx="2">
                  <c:v>North</c:v>
                </c:pt>
              </c:strCache>
            </c:strRef>
          </c:cat>
          <c:val>
            <c:numRef>
              <c:f>Sheet1!$C$2:$C$4</c:f>
              <c:numCache>
                <c:formatCode>General</c:formatCode>
                <c:ptCount val="3"/>
                <c:pt idx="0">
                  <c:v>46.9</c:v>
                </c:pt>
                <c:pt idx="1">
                  <c:v>38.6</c:v>
                </c:pt>
                <c:pt idx="2">
                  <c:v>45.6</c:v>
                </c:pt>
              </c:numCache>
            </c:numRef>
          </c:val>
          <c:extLst>
            <c:ext xmlns:c16="http://schemas.microsoft.com/office/drawing/2014/chart" uri="{C3380CC4-5D6E-409C-BE32-E72D297353CC}">
              <c16:uniqueId val="{00000001-6B27-4B97-9F92-D68CE6214337}"/>
            </c:ext>
          </c:extLst>
        </c:ser>
        <c:ser>
          <c:idx val="2"/>
          <c:order val="2"/>
          <c:tx>
            <c:strRef>
              <c:f>Sheet1!$D$1</c:f>
              <c:strCache>
                <c:ptCount val="1"/>
                <c:pt idx="0">
                  <c:v>C</c:v>
                </c:pt>
              </c:strCache>
            </c:strRef>
          </c:tx>
          <c:spPr>
            <a:solidFill>
              <a:srgbClr val="D6D8D7"/>
            </a:solidFill>
            <a:ln>
              <a:solidFill>
                <a:schemeClr val="bg1"/>
              </a:solidFill>
            </a:ln>
          </c:spPr>
          <c:invertIfNegative val="0"/>
          <c:dLbls>
            <c:delete val="1"/>
          </c:dLbls>
          <c:cat>
            <c:strRef>
              <c:f>Sheet1!$A$2:$A$4</c:f>
              <c:strCache>
                <c:ptCount val="3"/>
                <c:pt idx="0">
                  <c:v>East</c:v>
                </c:pt>
                <c:pt idx="1">
                  <c:v>West</c:v>
                </c:pt>
                <c:pt idx="2">
                  <c:v>North</c:v>
                </c:pt>
              </c:strCache>
            </c:strRef>
          </c:cat>
          <c:val>
            <c:numRef>
              <c:f>Sheet1!$D$2:$D$4</c:f>
              <c:numCache>
                <c:formatCode>General</c:formatCode>
                <c:ptCount val="3"/>
                <c:pt idx="0">
                  <c:v>45</c:v>
                </c:pt>
                <c:pt idx="1">
                  <c:v>34.6</c:v>
                </c:pt>
                <c:pt idx="2">
                  <c:v>39.200000000000003</c:v>
                </c:pt>
              </c:numCache>
            </c:numRef>
          </c:val>
          <c:extLst>
            <c:ext xmlns:c16="http://schemas.microsoft.com/office/drawing/2014/chart" uri="{C3380CC4-5D6E-409C-BE32-E72D297353CC}">
              <c16:uniqueId val="{00000002-6B27-4B97-9F92-D68CE6214337}"/>
            </c:ext>
          </c:extLst>
        </c:ser>
        <c:ser>
          <c:idx val="3"/>
          <c:order val="3"/>
          <c:tx>
            <c:strRef>
              <c:f>Sheet1!$E$1</c:f>
              <c:strCache>
                <c:ptCount val="1"/>
                <c:pt idx="0">
                  <c:v>D</c:v>
                </c:pt>
              </c:strCache>
            </c:strRef>
          </c:tx>
          <c:spPr>
            <a:solidFill>
              <a:srgbClr val="81BC00"/>
            </a:solidFill>
            <a:ln>
              <a:solidFill>
                <a:schemeClr val="bg1"/>
              </a:solidFill>
            </a:ln>
          </c:spPr>
          <c:invertIfNegative val="0"/>
          <c:dLbls>
            <c:delete val="1"/>
          </c:dLbls>
          <c:cat>
            <c:strRef>
              <c:f>Sheet1!$A$2:$A$4</c:f>
              <c:strCache>
                <c:ptCount val="3"/>
                <c:pt idx="0">
                  <c:v>East</c:v>
                </c:pt>
                <c:pt idx="1">
                  <c:v>West</c:v>
                </c:pt>
                <c:pt idx="2">
                  <c:v>North</c:v>
                </c:pt>
              </c:strCache>
            </c:strRef>
          </c:cat>
          <c:val>
            <c:numRef>
              <c:f>Sheet1!$E$2:$E$4</c:f>
              <c:numCache>
                <c:formatCode>General</c:formatCode>
                <c:ptCount val="3"/>
                <c:pt idx="0">
                  <c:v>43.9</c:v>
                </c:pt>
                <c:pt idx="1">
                  <c:v>31.6</c:v>
                </c:pt>
                <c:pt idx="2">
                  <c:v>30.4</c:v>
                </c:pt>
              </c:numCache>
            </c:numRef>
          </c:val>
          <c:extLst>
            <c:ext xmlns:c16="http://schemas.microsoft.com/office/drawing/2014/chart" uri="{C3380CC4-5D6E-409C-BE32-E72D297353CC}">
              <c16:uniqueId val="{00000003-6B27-4B97-9F92-D68CE6214337}"/>
            </c:ext>
          </c:extLst>
        </c:ser>
        <c:dLbls>
          <c:showLegendKey val="0"/>
          <c:showVal val="1"/>
          <c:showCatName val="0"/>
          <c:showSerName val="0"/>
          <c:showPercent val="0"/>
          <c:showBubbleSize val="0"/>
        </c:dLbls>
        <c:gapWidth val="150"/>
        <c:overlap val="100"/>
        <c:axId val="1568810560"/>
        <c:axId val="1568811120"/>
      </c:barChart>
      <c:catAx>
        <c:axId val="1568810560"/>
        <c:scaling>
          <c:orientation val="minMax"/>
        </c:scaling>
        <c:delete val="0"/>
        <c:axPos val="l"/>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568811120"/>
        <c:crosses val="autoZero"/>
        <c:auto val="1"/>
        <c:lblAlgn val="ctr"/>
        <c:lblOffset val="100"/>
        <c:noMultiLvlLbl val="0"/>
      </c:catAx>
      <c:valAx>
        <c:axId val="1568811120"/>
        <c:scaling>
          <c:orientation val="minMax"/>
        </c:scaling>
        <c:delete val="0"/>
        <c:axPos val="b"/>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568810560"/>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00A1DE"/>
              </a:solidFill>
            </c:spPr>
            <c:extLst>
              <c:ext xmlns:c16="http://schemas.microsoft.com/office/drawing/2014/chart" uri="{C3380CC4-5D6E-409C-BE32-E72D297353CC}">
                <c16:uniqueId val="{00000001-8242-4B44-92F0-DF0C5FCABF2B}"/>
              </c:ext>
            </c:extLst>
          </c:dPt>
          <c:dPt>
            <c:idx val="1"/>
            <c:bubble3D val="0"/>
            <c:spPr>
              <a:solidFill>
                <a:srgbClr val="575757"/>
              </a:solidFill>
            </c:spPr>
            <c:extLst>
              <c:ext xmlns:c16="http://schemas.microsoft.com/office/drawing/2014/chart" uri="{C3380CC4-5D6E-409C-BE32-E72D297353CC}">
                <c16:uniqueId val="{00000003-8242-4B44-92F0-DF0C5FCABF2B}"/>
              </c:ext>
            </c:extLst>
          </c:dPt>
          <c:dPt>
            <c:idx val="2"/>
            <c:bubble3D val="0"/>
            <c:spPr>
              <a:solidFill>
                <a:srgbClr val="8C8C8C"/>
              </a:solidFill>
            </c:spPr>
            <c:extLst>
              <c:ext xmlns:c16="http://schemas.microsoft.com/office/drawing/2014/chart" uri="{C3380CC4-5D6E-409C-BE32-E72D297353CC}">
                <c16:uniqueId val="{00000005-8242-4B44-92F0-DF0C5FCABF2B}"/>
              </c:ext>
            </c:extLst>
          </c:dPt>
          <c:dPt>
            <c:idx val="3"/>
            <c:bubble3D val="0"/>
            <c:spPr>
              <a:solidFill>
                <a:schemeClr val="bg1">
                  <a:lumMod val="75000"/>
                </a:schemeClr>
              </a:solidFill>
            </c:spPr>
            <c:extLst>
              <c:ext xmlns:c16="http://schemas.microsoft.com/office/drawing/2014/chart" uri="{C3380CC4-5D6E-409C-BE32-E72D297353CC}">
                <c16:uniqueId val="{00000007-8242-4B44-92F0-DF0C5FCABF2B}"/>
              </c:ext>
            </c:extLst>
          </c:dPt>
          <c:cat>
            <c:strRef>
              <c:f>Sheet1!$A$2:$A$4</c:f>
              <c:strCache>
                <c:ptCount val="3"/>
                <c:pt idx="0">
                  <c:v>1st Qtr</c:v>
                </c:pt>
                <c:pt idx="1">
                  <c:v>2nd Qtr</c:v>
                </c:pt>
                <c:pt idx="2">
                  <c:v>3rd Qtr</c:v>
                </c:pt>
              </c:strCache>
            </c:strRef>
          </c:cat>
          <c:val>
            <c:numRef>
              <c:f>Sheet1!$B$2:$B$4</c:f>
              <c:numCache>
                <c:formatCode>0%</c:formatCode>
                <c:ptCount val="3"/>
                <c:pt idx="0">
                  <c:v>0.3</c:v>
                </c:pt>
                <c:pt idx="1">
                  <c:v>0.3</c:v>
                </c:pt>
                <c:pt idx="2">
                  <c:v>0.3</c:v>
                </c:pt>
              </c:numCache>
            </c:numRef>
          </c:val>
          <c:extLst>
            <c:ext xmlns:c16="http://schemas.microsoft.com/office/drawing/2014/chart" uri="{C3380CC4-5D6E-409C-BE32-E72D297353CC}">
              <c16:uniqueId val="{00000008-8242-4B44-92F0-DF0C5FCABF2B}"/>
            </c:ext>
          </c:extLst>
        </c:ser>
        <c:dLbls>
          <c:showLegendKey val="0"/>
          <c:showVal val="0"/>
          <c:showCatName val="0"/>
          <c:showSerName val="0"/>
          <c:showPercent val="0"/>
          <c:showBubbleSize val="0"/>
          <c:showLeaderLines val="1"/>
        </c:dLbls>
        <c:firstSliceAng val="0"/>
        <c:holeSize val="65"/>
      </c:doughnutChart>
    </c:plotArea>
    <c:plotVisOnly val="1"/>
    <c:dispBlanksAs val="gap"/>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970184413840835"/>
          <c:y val="4.6153842659460598E-2"/>
          <c:w val="0.77709769759502711"/>
          <c:h val="0.73764039744798071"/>
        </c:manualLayout>
      </c:layout>
      <c:barChart>
        <c:barDir val="bar"/>
        <c:grouping val="stacked"/>
        <c:varyColors val="0"/>
        <c:ser>
          <c:idx val="0"/>
          <c:order val="0"/>
          <c:tx>
            <c:strRef>
              <c:f>Sheet1!$B$1</c:f>
              <c:strCache>
                <c:ptCount val="1"/>
                <c:pt idx="0">
                  <c:v>A</c:v>
                </c:pt>
              </c:strCache>
            </c:strRef>
          </c:tx>
          <c:spPr>
            <a:solidFill>
              <a:srgbClr val="81BC00"/>
            </a:solidFill>
            <a:ln>
              <a:solidFill>
                <a:schemeClr val="bg1"/>
              </a:solidFill>
            </a:ln>
          </c:spPr>
          <c:invertIfNegative val="0"/>
          <c:dPt>
            <c:idx val="0"/>
            <c:invertIfNegative val="0"/>
            <c:bubble3D val="0"/>
            <c:spPr>
              <a:solidFill>
                <a:srgbClr val="313131"/>
              </a:solidFill>
              <a:ln>
                <a:solidFill>
                  <a:schemeClr val="bg1"/>
                </a:solidFill>
              </a:ln>
            </c:spPr>
            <c:extLst>
              <c:ext xmlns:c16="http://schemas.microsoft.com/office/drawing/2014/chart" uri="{C3380CC4-5D6E-409C-BE32-E72D297353CC}">
                <c16:uniqueId val="{00000001-FAED-4835-B7A5-88AABF751C9C}"/>
              </c:ext>
            </c:extLst>
          </c:dPt>
          <c:dPt>
            <c:idx val="1"/>
            <c:invertIfNegative val="0"/>
            <c:bubble3D val="0"/>
            <c:spPr>
              <a:solidFill>
                <a:srgbClr val="575757"/>
              </a:solidFill>
              <a:ln>
                <a:solidFill>
                  <a:schemeClr val="bg1"/>
                </a:solidFill>
              </a:ln>
            </c:spPr>
            <c:extLst>
              <c:ext xmlns:c16="http://schemas.microsoft.com/office/drawing/2014/chart" uri="{C3380CC4-5D6E-409C-BE32-E72D297353CC}">
                <c16:uniqueId val="{00000003-FAED-4835-B7A5-88AABF751C9C}"/>
              </c:ext>
            </c:extLst>
          </c:dPt>
          <c:dPt>
            <c:idx val="2"/>
            <c:invertIfNegative val="0"/>
            <c:bubble3D val="0"/>
            <c:spPr>
              <a:solidFill>
                <a:srgbClr val="8C8C8C"/>
              </a:solidFill>
              <a:ln>
                <a:solidFill>
                  <a:schemeClr val="bg1"/>
                </a:solidFill>
              </a:ln>
            </c:spPr>
            <c:extLst>
              <c:ext xmlns:c16="http://schemas.microsoft.com/office/drawing/2014/chart" uri="{C3380CC4-5D6E-409C-BE32-E72D297353CC}">
                <c16:uniqueId val="{00000005-FAED-4835-B7A5-88AABF751C9C}"/>
              </c:ext>
            </c:extLst>
          </c:dPt>
          <c:dPt>
            <c:idx val="3"/>
            <c:invertIfNegative val="0"/>
            <c:bubble3D val="0"/>
            <c:spPr>
              <a:solidFill>
                <a:srgbClr val="B4B4B4"/>
              </a:solidFill>
              <a:ln>
                <a:solidFill>
                  <a:schemeClr val="bg1"/>
                </a:solidFill>
              </a:ln>
            </c:spPr>
            <c:extLst>
              <c:ext xmlns:c16="http://schemas.microsoft.com/office/drawing/2014/chart" uri="{C3380CC4-5D6E-409C-BE32-E72D297353CC}">
                <c16:uniqueId val="{00000007-FAED-4835-B7A5-88AABF751C9C}"/>
              </c:ext>
            </c:extLst>
          </c:dPt>
          <c:dLbls>
            <c:delete val="1"/>
          </c:dLbls>
          <c:cat>
            <c:strRef>
              <c:f>Sheet1!$A$2:$A$6</c:f>
              <c:strCache>
                <c:ptCount val="5"/>
                <c:pt idx="0">
                  <c:v>E</c:v>
                </c:pt>
                <c:pt idx="1">
                  <c:v>D</c:v>
                </c:pt>
                <c:pt idx="2">
                  <c:v>C</c:v>
                </c:pt>
                <c:pt idx="3">
                  <c:v>B</c:v>
                </c:pt>
                <c:pt idx="4">
                  <c:v>A</c:v>
                </c:pt>
              </c:strCache>
            </c:strRef>
          </c:cat>
          <c:val>
            <c:numRef>
              <c:f>Sheet1!$B$2:$B$6</c:f>
              <c:numCache>
                <c:formatCode>General</c:formatCode>
                <c:ptCount val="5"/>
                <c:pt idx="0">
                  <c:v>12</c:v>
                </c:pt>
                <c:pt idx="1">
                  <c:v>20</c:v>
                </c:pt>
                <c:pt idx="2">
                  <c:v>22</c:v>
                </c:pt>
                <c:pt idx="3">
                  <c:v>25</c:v>
                </c:pt>
                <c:pt idx="4">
                  <c:v>28</c:v>
                </c:pt>
              </c:numCache>
            </c:numRef>
          </c:val>
          <c:extLst>
            <c:ext xmlns:c16="http://schemas.microsoft.com/office/drawing/2014/chart" uri="{C3380CC4-5D6E-409C-BE32-E72D297353CC}">
              <c16:uniqueId val="{00000008-FAED-4835-B7A5-88AABF751C9C}"/>
            </c:ext>
          </c:extLst>
        </c:ser>
        <c:dLbls>
          <c:showLegendKey val="0"/>
          <c:showVal val="1"/>
          <c:showCatName val="0"/>
          <c:showSerName val="0"/>
          <c:showPercent val="0"/>
          <c:showBubbleSize val="0"/>
        </c:dLbls>
        <c:gapWidth val="150"/>
        <c:overlap val="100"/>
        <c:axId val="1521300256"/>
        <c:axId val="1521300816"/>
      </c:barChart>
      <c:catAx>
        <c:axId val="1521300256"/>
        <c:scaling>
          <c:orientation val="minMax"/>
        </c:scaling>
        <c:delete val="0"/>
        <c:axPos val="l"/>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521300816"/>
        <c:crosses val="autoZero"/>
        <c:auto val="1"/>
        <c:lblAlgn val="ctr"/>
        <c:lblOffset val="100"/>
        <c:noMultiLvlLbl val="0"/>
      </c:catAx>
      <c:valAx>
        <c:axId val="1521300816"/>
        <c:scaling>
          <c:orientation val="minMax"/>
        </c:scaling>
        <c:delete val="0"/>
        <c:axPos val="b"/>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521300256"/>
        <c:crosses val="autoZero"/>
        <c:crossBetween val="between"/>
      </c:valAx>
    </c:plotArea>
    <c:legend>
      <c:legendPos val="b"/>
      <c:layout>
        <c:manualLayout>
          <c:xMode val="edge"/>
          <c:yMode val="edge"/>
          <c:x val="0.11261395859942398"/>
          <c:y val="0.90829231060888527"/>
          <c:w val="0.77477161953127283"/>
          <c:h val="5.0965437116059414E-2"/>
        </c:manualLayout>
      </c:layout>
      <c:overlay val="0"/>
      <c:txPr>
        <a:bodyPr/>
        <a:lstStyle/>
        <a:p>
          <a:pPr>
            <a:defRPr sz="1000">
              <a:solidFill>
                <a:srgbClr val="313131"/>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970184413840835"/>
          <c:y val="4.6153842659460598E-2"/>
          <c:w val="0.77709769759502711"/>
          <c:h val="0.73764039744798071"/>
        </c:manualLayout>
      </c:layout>
      <c:barChart>
        <c:barDir val="bar"/>
        <c:grouping val="stacked"/>
        <c:varyColors val="0"/>
        <c:ser>
          <c:idx val="0"/>
          <c:order val="0"/>
          <c:tx>
            <c:strRef>
              <c:f>Sheet1!$B$1</c:f>
              <c:strCache>
                <c:ptCount val="1"/>
                <c:pt idx="0">
                  <c:v>A</c:v>
                </c:pt>
              </c:strCache>
            </c:strRef>
          </c:tx>
          <c:spPr>
            <a:solidFill>
              <a:srgbClr val="81BC00"/>
            </a:solidFill>
            <a:ln>
              <a:solidFill>
                <a:schemeClr val="bg1"/>
              </a:solidFill>
            </a:ln>
          </c:spPr>
          <c:invertIfNegative val="0"/>
          <c:dPt>
            <c:idx val="0"/>
            <c:invertIfNegative val="0"/>
            <c:bubble3D val="0"/>
            <c:spPr>
              <a:solidFill>
                <a:srgbClr val="313131"/>
              </a:solidFill>
              <a:ln>
                <a:solidFill>
                  <a:schemeClr val="bg1"/>
                </a:solidFill>
              </a:ln>
            </c:spPr>
            <c:extLst>
              <c:ext xmlns:c16="http://schemas.microsoft.com/office/drawing/2014/chart" uri="{C3380CC4-5D6E-409C-BE32-E72D297353CC}">
                <c16:uniqueId val="{00000001-29DD-4FEE-9811-C16E02DF97A0}"/>
              </c:ext>
            </c:extLst>
          </c:dPt>
          <c:dPt>
            <c:idx val="1"/>
            <c:invertIfNegative val="0"/>
            <c:bubble3D val="0"/>
            <c:spPr>
              <a:solidFill>
                <a:srgbClr val="575757"/>
              </a:solidFill>
              <a:ln>
                <a:solidFill>
                  <a:schemeClr val="bg1"/>
                </a:solidFill>
              </a:ln>
            </c:spPr>
            <c:extLst>
              <c:ext xmlns:c16="http://schemas.microsoft.com/office/drawing/2014/chart" uri="{C3380CC4-5D6E-409C-BE32-E72D297353CC}">
                <c16:uniqueId val="{00000003-29DD-4FEE-9811-C16E02DF97A0}"/>
              </c:ext>
            </c:extLst>
          </c:dPt>
          <c:dPt>
            <c:idx val="2"/>
            <c:invertIfNegative val="0"/>
            <c:bubble3D val="0"/>
            <c:spPr>
              <a:solidFill>
                <a:srgbClr val="8C8C8C"/>
              </a:solidFill>
              <a:ln>
                <a:solidFill>
                  <a:schemeClr val="bg1"/>
                </a:solidFill>
              </a:ln>
            </c:spPr>
            <c:extLst>
              <c:ext xmlns:c16="http://schemas.microsoft.com/office/drawing/2014/chart" uri="{C3380CC4-5D6E-409C-BE32-E72D297353CC}">
                <c16:uniqueId val="{00000005-29DD-4FEE-9811-C16E02DF97A0}"/>
              </c:ext>
            </c:extLst>
          </c:dPt>
          <c:dPt>
            <c:idx val="3"/>
            <c:invertIfNegative val="0"/>
            <c:bubble3D val="0"/>
            <c:spPr>
              <a:solidFill>
                <a:srgbClr val="B4B4B4"/>
              </a:solidFill>
              <a:ln>
                <a:solidFill>
                  <a:schemeClr val="bg1"/>
                </a:solidFill>
              </a:ln>
            </c:spPr>
            <c:extLst>
              <c:ext xmlns:c16="http://schemas.microsoft.com/office/drawing/2014/chart" uri="{C3380CC4-5D6E-409C-BE32-E72D297353CC}">
                <c16:uniqueId val="{00000007-29DD-4FEE-9811-C16E02DF97A0}"/>
              </c:ext>
            </c:extLst>
          </c:dPt>
          <c:dLbls>
            <c:delete val="1"/>
          </c:dLbls>
          <c:cat>
            <c:strRef>
              <c:f>Sheet1!$A$2:$A$6</c:f>
              <c:strCache>
                <c:ptCount val="5"/>
                <c:pt idx="0">
                  <c:v>E</c:v>
                </c:pt>
                <c:pt idx="1">
                  <c:v>D</c:v>
                </c:pt>
                <c:pt idx="2">
                  <c:v>C</c:v>
                </c:pt>
                <c:pt idx="3">
                  <c:v>B</c:v>
                </c:pt>
                <c:pt idx="4">
                  <c:v>A</c:v>
                </c:pt>
              </c:strCache>
            </c:strRef>
          </c:cat>
          <c:val>
            <c:numRef>
              <c:f>Sheet1!$B$2:$B$6</c:f>
              <c:numCache>
                <c:formatCode>General</c:formatCode>
                <c:ptCount val="5"/>
                <c:pt idx="0">
                  <c:v>12</c:v>
                </c:pt>
                <c:pt idx="1">
                  <c:v>20</c:v>
                </c:pt>
                <c:pt idx="2">
                  <c:v>22</c:v>
                </c:pt>
                <c:pt idx="3">
                  <c:v>25</c:v>
                </c:pt>
                <c:pt idx="4">
                  <c:v>28</c:v>
                </c:pt>
              </c:numCache>
            </c:numRef>
          </c:val>
          <c:extLst>
            <c:ext xmlns:c16="http://schemas.microsoft.com/office/drawing/2014/chart" uri="{C3380CC4-5D6E-409C-BE32-E72D297353CC}">
              <c16:uniqueId val="{00000008-29DD-4FEE-9811-C16E02DF97A0}"/>
            </c:ext>
          </c:extLst>
        </c:ser>
        <c:dLbls>
          <c:showLegendKey val="0"/>
          <c:showVal val="1"/>
          <c:showCatName val="0"/>
          <c:showSerName val="0"/>
          <c:showPercent val="0"/>
          <c:showBubbleSize val="0"/>
        </c:dLbls>
        <c:gapWidth val="150"/>
        <c:overlap val="100"/>
        <c:axId val="1521303056"/>
        <c:axId val="1521303616"/>
      </c:barChart>
      <c:catAx>
        <c:axId val="1521303056"/>
        <c:scaling>
          <c:orientation val="minMax"/>
        </c:scaling>
        <c:delete val="0"/>
        <c:axPos val="l"/>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521303616"/>
        <c:crosses val="autoZero"/>
        <c:auto val="1"/>
        <c:lblAlgn val="ctr"/>
        <c:lblOffset val="100"/>
        <c:noMultiLvlLbl val="0"/>
      </c:catAx>
      <c:valAx>
        <c:axId val="1521303616"/>
        <c:scaling>
          <c:orientation val="minMax"/>
        </c:scaling>
        <c:delete val="0"/>
        <c:axPos val="b"/>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521303056"/>
        <c:crosses val="autoZero"/>
        <c:crossBetween val="between"/>
      </c:valAx>
    </c:plotArea>
    <c:legend>
      <c:legendPos val="b"/>
      <c:layout>
        <c:manualLayout>
          <c:xMode val="edge"/>
          <c:yMode val="edge"/>
          <c:x val="0.11261395859942398"/>
          <c:y val="0.90829231060888527"/>
          <c:w val="0.77477161953127283"/>
          <c:h val="5.0965437116059414E-2"/>
        </c:manualLayout>
      </c:layout>
      <c:overlay val="0"/>
      <c:txPr>
        <a:bodyPr/>
        <a:lstStyle/>
        <a:p>
          <a:pPr>
            <a:defRPr sz="1000">
              <a:solidFill>
                <a:srgbClr val="313131"/>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DAEC444-603B-4F09-9A06-5917518DD901}" type="slidenum">
              <a:rPr lang="en-US" smtClean="0"/>
              <a:t>1</a:t>
            </a:fld>
            <a:endParaRPr lang="en-US"/>
          </a:p>
        </p:txBody>
      </p:sp>
    </p:spTree>
    <p:extLst>
      <p:ext uri="{BB962C8B-B14F-4D97-AF65-F5344CB8AC3E}">
        <p14:creationId xmlns:p14="http://schemas.microsoft.com/office/powerpoint/2010/main" val="40391545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52040768"/>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3413796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4075923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8405795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5720457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7519326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75193266"/>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1381634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66731470"/>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2296276"/>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28766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41"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573442" name="Notes Placeholder 2"/>
          <p:cNvSpPr>
            <a:spLocks noGrp="1"/>
          </p:cNvSpPr>
          <p:nvPr>
            <p:ph type="body" idx="1"/>
          </p:nvPr>
        </p:nvSpPr>
        <p:spPr>
          <a:noFill/>
          <a:ln/>
        </p:spPr>
        <p:txBody>
          <a:bodyPr/>
          <a:lstStyle/>
          <a:p>
            <a:endParaRPr lang="en-US"/>
          </a:p>
        </p:txBody>
      </p:sp>
      <p:sp>
        <p:nvSpPr>
          <p:cNvPr id="573443"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DA8D5D-C495-41FE-89D8-2CC16B09AF2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90481516"/>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6362992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22540580"/>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6084682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4748328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30782769"/>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8533216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29196931"/>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7740667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7740667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774066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06859441"/>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7740667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3462569"/>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2786766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29105972"/>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766953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44350258"/>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71455274"/>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37808635"/>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4668650"/>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300904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31744546"/>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29164625"/>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92428564"/>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70792386"/>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52153693"/>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49853067"/>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29867178"/>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56690841"/>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73619932"/>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78611051"/>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220980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2853737"/>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08428042"/>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02879900"/>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03388703"/>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0476166"/>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76713464"/>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10015828"/>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8938429"/>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89721228"/>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81537318"/>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307689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82467312"/>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31235920"/>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08492557"/>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46018795"/>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18239300"/>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62062800"/>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25529481"/>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02857854"/>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65999049"/>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00067203"/>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930145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89393086"/>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09251985"/>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88610374"/>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54850276"/>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44359056"/>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8760136"/>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14347170"/>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37547816"/>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82687269"/>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26840458"/>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414355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3873099"/>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01671368"/>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56890685"/>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42777015"/>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20946749"/>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9728135"/>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52562474"/>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30998386"/>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24716440"/>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24716440"/>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873197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61076251"/>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4</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49101890"/>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49101890"/>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49101890"/>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70217843"/>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78237301"/>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07710666"/>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79686878"/>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90710796"/>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60948095"/>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161122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61076251"/>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36384377"/>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5</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32839970"/>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6</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9706846"/>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7</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21017795"/>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8</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50172229"/>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9</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00745387"/>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58552431"/>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38511703"/>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52698623"/>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405389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a:t>
            </a:fld>
            <a:endParaRPr lang="en-US" dirty="0"/>
          </a:p>
        </p:txBody>
      </p:sp>
    </p:spTree>
    <p:extLst>
      <p:ext uri="{BB962C8B-B14F-4D97-AF65-F5344CB8AC3E}">
        <p14:creationId xmlns:p14="http://schemas.microsoft.com/office/powerpoint/2010/main" val="22181457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61076251"/>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20098457"/>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89197807"/>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22089350"/>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58346363"/>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82913001"/>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86703121"/>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64442542"/>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26071074"/>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53319238"/>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264571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3835878"/>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4</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06654797"/>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35024747"/>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55151456"/>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8</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4814704"/>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9</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7814218"/>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0</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05512709"/>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1</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76509968"/>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76802924"/>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3</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37919244"/>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435545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15432053"/>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26037213"/>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6</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59770192"/>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72014936"/>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8</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99543933"/>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91866435"/>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0</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71708558"/>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1</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2888714"/>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2</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93598479"/>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3</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36668085"/>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21890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47428646"/>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3966146"/>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20996918"/>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7</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18378723"/>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32556890"/>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13966885"/>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07385532"/>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7057" name="Rectangle 7"/>
          <p:cNvSpPr txBox="1">
            <a:spLocks noGrp="1" noChangeArrowheads="1"/>
          </p:cNvSpPr>
          <p:nvPr/>
        </p:nvSpPr>
        <p:spPr bwMode="auto">
          <a:xfrm>
            <a:off x="373211" y="9789162"/>
            <a:ext cx="235642" cy="184666"/>
          </a:xfrm>
          <a:prstGeom prst="rect">
            <a:avLst/>
          </a:prstGeom>
          <a:noFill/>
          <a:ln w="9525">
            <a:noFill/>
            <a:miter lim="800000"/>
            <a:headEnd/>
            <a:tailEnd/>
          </a:ln>
        </p:spPr>
        <p:txBody>
          <a:bodyPr wrap="none" lIns="0" tIns="0" rIns="0" bIns="0" anchor="b">
            <a:spAutoFit/>
          </a:bodyPr>
          <a:lstStyle/>
          <a:p>
            <a:pPr marL="0" marR="0" lvl="0" indent="0" algn="l" defTabSz="659067" rtl="0" eaLnBrk="1" fontAlgn="auto" latinLnBrk="0" hangingPunct="1">
              <a:lnSpc>
                <a:spcPct val="100000"/>
              </a:lnSpc>
              <a:spcBef>
                <a:spcPts val="0"/>
              </a:spcBef>
              <a:spcAft>
                <a:spcPts val="0"/>
              </a:spcAft>
              <a:buClrTx/>
              <a:buSzTx/>
              <a:buFontTx/>
              <a:buNone/>
              <a:tabLst/>
              <a:defRPr/>
            </a:pPr>
            <a:fld id="{27B3CB00-5304-4C9D-9ACF-10ACBCF4C5E2}" type="slidenum">
              <a:rPr kumimoji="0" lang="en-US" sz="1200" b="0" i="0" u="none" strike="noStrike" kern="1200" cap="none" spc="0" normalizeH="0" baseline="0" noProof="0">
                <a:ln>
                  <a:noFill/>
                </a:ln>
                <a:solidFill>
                  <a:prstClr val="black"/>
                </a:solidFill>
                <a:effectLst/>
                <a:uLnTx/>
                <a:uFillTx/>
                <a:latin typeface="Calibri" pitchFamily="34" charset="0"/>
                <a:ea typeface="+mn-ea"/>
                <a:cs typeface="+mn-cs"/>
              </a:rPr>
              <a:pPr marL="0" marR="0" lvl="0" indent="0" algn="l" defTabSz="659067" rtl="0" eaLnBrk="1" fontAlgn="auto" latinLnBrk="0" hangingPunct="1">
                <a:lnSpc>
                  <a:spcPct val="100000"/>
                </a:lnSpc>
                <a:spcBef>
                  <a:spcPts val="0"/>
                </a:spcBef>
                <a:spcAft>
                  <a:spcPts val="0"/>
                </a:spcAft>
                <a:buClrTx/>
                <a:buSzTx/>
                <a:buFontTx/>
                <a:buNone/>
                <a:tabLst/>
                <a:defRPr/>
              </a:pPr>
              <a:t>252</a:t>
            </a:fld>
            <a:endParaRPr kumimoji="0" lang="en-US" sz="1200" b="0" i="0" u="none" strike="noStrike" kern="1200" cap="none" spc="0" normalizeH="0" baseline="0" noProof="0">
              <a:ln>
                <a:noFill/>
              </a:ln>
              <a:solidFill>
                <a:prstClr val="black"/>
              </a:solidFill>
              <a:effectLst/>
              <a:uLnTx/>
              <a:uFillTx/>
              <a:latin typeface="Calibri" pitchFamily="34" charset="0"/>
              <a:ea typeface="+mn-ea"/>
              <a:cs typeface="+mn-cs"/>
            </a:endParaRPr>
          </a:p>
        </p:txBody>
      </p:sp>
      <p:sp>
        <p:nvSpPr>
          <p:cNvPr id="557058" name="Rectangle 2"/>
          <p:cNvSpPr>
            <a:spLocks noGrp="1" noRot="1" noChangeAspect="1" noChangeArrowheads="1" noTextEdit="1"/>
          </p:cNvSpPr>
          <p:nvPr>
            <p:ph type="sldImg"/>
          </p:nvPr>
        </p:nvSpPr>
        <p:spPr bwMode="auto">
          <a:xfrm>
            <a:off x="-487363" y="403225"/>
            <a:ext cx="8056563" cy="4532313"/>
          </a:xfrm>
          <a:noFill/>
          <a:ln>
            <a:solidFill>
              <a:srgbClr val="000000"/>
            </a:solidFill>
            <a:miter lim="800000"/>
            <a:headEnd/>
            <a:tailEnd/>
          </a:ln>
        </p:spPr>
      </p:sp>
      <p:sp>
        <p:nvSpPr>
          <p:cNvPr id="557059" name="Rectangle 3"/>
          <p:cNvSpPr>
            <a:spLocks noGrp="1" noChangeArrowheads="1"/>
          </p:cNvSpPr>
          <p:nvPr>
            <p:ph type="body" idx="1"/>
          </p:nvPr>
        </p:nvSpPr>
        <p:spPr>
          <a:xfrm>
            <a:off x="373211" y="5038579"/>
            <a:ext cx="6334632" cy="4633459"/>
          </a:xfrm>
          <a:noFill/>
          <a:ln/>
        </p:spPr>
        <p:txBody>
          <a:bodyPr lIns="100402" tIns="50201" rIns="100402" bIns="50201"/>
          <a:lstStyle/>
          <a:p>
            <a:pPr marL="355896" indent="-355896">
              <a:spcBef>
                <a:spcPct val="0"/>
              </a:spcBef>
            </a:pPr>
            <a:endParaRPr lang="en-US">
              <a:latin typeface="Arial" charset="0"/>
            </a:endParaRPr>
          </a:p>
        </p:txBody>
      </p:sp>
    </p:spTree>
    <p:extLst>
      <p:ext uri="{BB962C8B-B14F-4D97-AF65-F5344CB8AC3E}">
        <p14:creationId xmlns:p14="http://schemas.microsoft.com/office/powerpoint/2010/main" val="1833224616"/>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3</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13522435"/>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4</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51903489"/>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5</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328381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32508342"/>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6</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09259965"/>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7</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6849895"/>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8</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23007278"/>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9</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60202991"/>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0</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92649539"/>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1</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53497532"/>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2</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81253501"/>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71190834"/>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22888888"/>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5</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162779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59409395"/>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54618158"/>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95991937"/>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8</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15607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594093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594093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594093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507422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3</a:t>
            </a:fld>
            <a:endParaRPr lang="en-US" dirty="0"/>
          </a:p>
        </p:txBody>
      </p:sp>
    </p:spTree>
    <p:extLst>
      <p:ext uri="{BB962C8B-B14F-4D97-AF65-F5344CB8AC3E}">
        <p14:creationId xmlns:p14="http://schemas.microsoft.com/office/powerpoint/2010/main" val="12826316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5074221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507422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507422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507422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6754843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8530134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853013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853013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6970836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697083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5"/>
        <p:cNvGrpSpPr/>
        <p:nvPr/>
      </p:nvGrpSpPr>
      <p:grpSpPr>
        <a:xfrm>
          <a:off x="0" y="0"/>
          <a:ext cx="0" cy="0"/>
          <a:chOff x="0" y="0"/>
          <a:chExt cx="0" cy="0"/>
        </a:xfrm>
      </p:grpSpPr>
      <p:sp>
        <p:nvSpPr>
          <p:cNvPr id="206" name="Google Shape;206;p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207" name="Google Shape;207;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41310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4969607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246427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5848768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899358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3091507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1085154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8142704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6647453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661161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5"/>
        <p:cNvGrpSpPr/>
        <p:nvPr/>
      </p:nvGrpSpPr>
      <p:grpSpPr>
        <a:xfrm>
          <a:off x="0" y="0"/>
          <a:ext cx="0" cy="0"/>
          <a:chOff x="0" y="0"/>
          <a:chExt cx="0" cy="0"/>
        </a:xfrm>
      </p:grpSpPr>
      <p:sp>
        <p:nvSpPr>
          <p:cNvPr id="206" name="Google Shape;206;p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
        <p:nvSpPr>
          <p:cNvPr id="207" name="Google Shape;207;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74539142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1622054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7543112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5521525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2069381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1296265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6560581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5521525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1303247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9914179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142004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2761177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1420040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53045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3631636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3631636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410160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1113720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6858261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6858261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9288610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137297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970891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9092278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5195053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3207498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4781150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1895447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1372970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1372970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3176147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9527702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26134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5204076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261348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6940694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583299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583299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8166813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2424389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6701930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2810411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779034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782458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5204076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7943734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2686641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0702804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583228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6987458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8960230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6456947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2690979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5753075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346244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Blank type A" type="blank">
  <p:cSld name="BLANK">
    <p:spTree>
      <p:nvGrpSpPr>
        <p:cNvPr id="1" name="Shape 18"/>
        <p:cNvGrpSpPr/>
        <p:nvPr/>
      </p:nvGrpSpPr>
      <p:grpSpPr>
        <a:xfrm>
          <a:off x="0" y="0"/>
          <a:ext cx="0" cy="0"/>
          <a:chOff x="0" y="0"/>
          <a:chExt cx="0" cy="0"/>
        </a:xfrm>
      </p:grpSpPr>
      <p:sp>
        <p:nvSpPr>
          <p:cNvPr id="19" name="Google Shape;19;p10"/>
          <p:cNvSpPr/>
          <p:nvPr/>
        </p:nvSpPr>
        <p:spPr>
          <a:xfrm>
            <a:off x="764000" y="-1236275"/>
            <a:ext cx="7616100" cy="76161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 name="Google Shape;20;p10"/>
          <p:cNvSpPr/>
          <p:nvPr/>
        </p:nvSpPr>
        <p:spPr>
          <a:xfrm>
            <a:off x="1198300" y="-801975"/>
            <a:ext cx="6747000" cy="67470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 name="Google Shape;21;p10"/>
          <p:cNvSpPr/>
          <p:nvPr/>
        </p:nvSpPr>
        <p:spPr>
          <a:xfrm>
            <a:off x="2267900" y="267625"/>
            <a:ext cx="4608300" cy="46083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2" name="Google Shape;22;p10"/>
          <p:cNvSpPr/>
          <p:nvPr/>
        </p:nvSpPr>
        <p:spPr>
          <a:xfrm>
            <a:off x="-704850" y="-2705100"/>
            <a:ext cx="10553700" cy="10553700"/>
          </a:xfrm>
          <a:prstGeom prst="donut">
            <a:avLst>
              <a:gd name="adj" fmla="val 10467"/>
            </a:avLst>
          </a:prstGeom>
          <a:solidFill>
            <a:srgbClr val="000000">
              <a:alpha val="5098"/>
            </a:srgb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3" name="Google Shape;23;p10"/>
          <p:cNvSpPr/>
          <p:nvPr/>
        </p:nvSpPr>
        <p:spPr>
          <a:xfrm>
            <a:off x="8556000" y="4576450"/>
            <a:ext cx="435600" cy="435600"/>
          </a:xfrm>
          <a:prstGeom prst="ellipse">
            <a:avLst/>
          </a:prstGeom>
          <a:solidFill>
            <a:srgbClr val="00000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4" name="Google Shape;24;p10"/>
          <p:cNvSpPr txBox="1">
            <a:spLocks noGrp="1"/>
          </p:cNvSpPr>
          <p:nvPr>
            <p:ph type="sldNum" idx="12"/>
          </p:nvPr>
        </p:nvSpPr>
        <p:spPr>
          <a:xfrm>
            <a:off x="8555875" y="4576450"/>
            <a:ext cx="435600" cy="435600"/>
          </a:xfrm>
          <a:prstGeom prst="rect">
            <a:avLst/>
          </a:prstGeom>
          <a:noFill/>
          <a:ln>
            <a:noFill/>
          </a:ln>
        </p:spPr>
        <p:txBody>
          <a:bodyPr spcFirstLastPara="1" wrap="square" lIns="91425" tIns="91425" rIns="91425" bIns="91425" anchor="ctr" anchorCtr="0">
            <a:noAutofit/>
          </a:bodyPr>
          <a:lstStyle>
            <a:lvl1pPr marL="0" marR="0" lvl="0"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1pPr>
            <a:lvl2pPr marL="0" marR="0" lvl="1"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2pPr>
            <a:lvl3pPr marL="0" marR="0" lvl="2"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3pPr>
            <a:lvl4pPr marL="0" marR="0" lvl="3"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4pPr>
            <a:lvl5pPr marL="0" marR="0" lvl="4"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5pPr>
            <a:lvl6pPr marL="0" marR="0" lvl="5"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6pPr>
            <a:lvl7pPr marL="0" marR="0" lvl="6"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7pPr>
            <a:lvl8pPr marL="0" marR="0" lvl="7"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8pPr>
            <a:lvl9pPr marL="0" marR="0" lvl="8"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9pPr>
          </a:lstStyle>
          <a:p>
            <a:pPr marL="0" lvl="0" indent="0" algn="ct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Image background">
  <p:cSld name="BLANK_1">
    <p:bg>
      <p:bgPr>
        <a:solidFill>
          <a:srgbClr val="000000"/>
        </a:solidFill>
        <a:effectLst/>
      </p:bgPr>
    </p:bg>
    <p:spTree>
      <p:nvGrpSpPr>
        <p:cNvPr id="1" name="Shape 121"/>
        <p:cNvGrpSpPr/>
        <p:nvPr/>
      </p:nvGrpSpPr>
      <p:grpSpPr>
        <a:xfrm>
          <a:off x="0" y="0"/>
          <a:ext cx="0" cy="0"/>
          <a:chOff x="0" y="0"/>
          <a:chExt cx="0" cy="0"/>
        </a:xfrm>
      </p:grpSpPr>
      <p:sp>
        <p:nvSpPr>
          <p:cNvPr id="122" name="Google Shape;122;p19"/>
          <p:cNvSpPr/>
          <p:nvPr/>
        </p:nvSpPr>
        <p:spPr>
          <a:xfrm>
            <a:off x="-704850" y="-2705100"/>
            <a:ext cx="10553700" cy="10553700"/>
          </a:xfrm>
          <a:prstGeom prst="donut">
            <a:avLst>
              <a:gd name="adj" fmla="val 10467"/>
            </a:avLst>
          </a:prstGeom>
          <a:solidFill>
            <a:srgbClr val="FFFFF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23" name="Google Shape;123;p19"/>
          <p:cNvSpPr/>
          <p:nvPr/>
        </p:nvSpPr>
        <p:spPr>
          <a:xfrm>
            <a:off x="8556000" y="4576450"/>
            <a:ext cx="435600" cy="435600"/>
          </a:xfrm>
          <a:prstGeom prst="ellipse">
            <a:avLst/>
          </a:prstGeom>
          <a:solidFill>
            <a:srgbClr val="00000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24" name="Google Shape;124;p19"/>
          <p:cNvSpPr/>
          <p:nvPr/>
        </p:nvSpPr>
        <p:spPr>
          <a:xfrm>
            <a:off x="764000" y="-1236275"/>
            <a:ext cx="7616100" cy="7616100"/>
          </a:xfrm>
          <a:prstGeom prst="ellipse">
            <a:avLst/>
          </a:prstGeom>
          <a:no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25" name="Google Shape;125;p19"/>
          <p:cNvSpPr/>
          <p:nvPr/>
        </p:nvSpPr>
        <p:spPr>
          <a:xfrm>
            <a:off x="1198300" y="-801975"/>
            <a:ext cx="6747000" cy="6747000"/>
          </a:xfrm>
          <a:prstGeom prst="ellipse">
            <a:avLst/>
          </a:prstGeom>
          <a:no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26" name="Google Shape;126;p19"/>
          <p:cNvSpPr/>
          <p:nvPr/>
        </p:nvSpPr>
        <p:spPr>
          <a:xfrm>
            <a:off x="2267900" y="267625"/>
            <a:ext cx="4608300" cy="4608300"/>
          </a:xfrm>
          <a:prstGeom prst="ellipse">
            <a:avLst/>
          </a:prstGeom>
          <a:no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27" name="Google Shape;127;p19"/>
          <p:cNvSpPr txBox="1">
            <a:spLocks noGrp="1"/>
          </p:cNvSpPr>
          <p:nvPr>
            <p:ph type="sldNum" idx="12"/>
          </p:nvPr>
        </p:nvSpPr>
        <p:spPr>
          <a:xfrm>
            <a:off x="8555875" y="4576450"/>
            <a:ext cx="435600" cy="435600"/>
          </a:xfrm>
          <a:prstGeom prst="rect">
            <a:avLst/>
          </a:prstGeom>
          <a:noFill/>
          <a:ln>
            <a:noFill/>
          </a:ln>
        </p:spPr>
        <p:txBody>
          <a:bodyPr spcFirstLastPara="1" wrap="square" lIns="91425" tIns="91425" rIns="91425" bIns="91425" anchor="ctr" anchorCtr="0">
            <a:noAutofit/>
          </a:bodyPr>
          <a:lstStyle>
            <a:lvl1pPr marL="0" marR="0" lvl="0"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1pPr>
            <a:lvl2pPr marL="0" marR="0" lvl="1"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2pPr>
            <a:lvl3pPr marL="0" marR="0" lvl="2"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3pPr>
            <a:lvl4pPr marL="0" marR="0" lvl="3"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4pPr>
            <a:lvl5pPr marL="0" marR="0" lvl="4"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5pPr>
            <a:lvl6pPr marL="0" marR="0" lvl="5"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6pPr>
            <a:lvl7pPr marL="0" marR="0" lvl="6"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7pPr>
            <a:lvl8pPr marL="0" marR="0" lvl="7"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8pPr>
            <a:lvl9pPr marL="0" marR="0" lvl="8"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9pPr>
          </a:lstStyle>
          <a:p>
            <a:pPr marL="0" lvl="0" indent="0" algn="ct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28"/>
        <p:cNvGrpSpPr/>
        <p:nvPr/>
      </p:nvGrpSpPr>
      <p:grpSpPr>
        <a:xfrm>
          <a:off x="0" y="0"/>
          <a:ext cx="0" cy="0"/>
          <a:chOff x="0" y="0"/>
          <a:chExt cx="0" cy="0"/>
        </a:xfrm>
      </p:grpSpPr>
      <p:grpSp>
        <p:nvGrpSpPr>
          <p:cNvPr id="129" name="Google Shape;129;p20"/>
          <p:cNvGrpSpPr/>
          <p:nvPr/>
        </p:nvGrpSpPr>
        <p:grpSpPr>
          <a:xfrm>
            <a:off x="-442731" y="337284"/>
            <a:ext cx="2324700" cy="2324700"/>
            <a:chOff x="-474900" y="321200"/>
            <a:chExt cx="2324700" cy="2324700"/>
          </a:xfrm>
        </p:grpSpPr>
        <p:sp>
          <p:nvSpPr>
            <p:cNvPr id="130" name="Google Shape;130;p20"/>
            <p:cNvSpPr/>
            <p:nvPr/>
          </p:nvSpPr>
          <p:spPr>
            <a:xfrm>
              <a:off x="-474900" y="321200"/>
              <a:ext cx="2324700" cy="23247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31" name="Google Shape;131;p20"/>
            <p:cNvSpPr/>
            <p:nvPr/>
          </p:nvSpPr>
          <p:spPr>
            <a:xfrm>
              <a:off x="120725" y="916825"/>
              <a:ext cx="1133400" cy="11334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32" name="Google Shape;132;p20"/>
            <p:cNvSpPr/>
            <p:nvPr/>
          </p:nvSpPr>
          <p:spPr>
            <a:xfrm>
              <a:off x="-137125" y="658975"/>
              <a:ext cx="1649100" cy="16491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33" name="Google Shape;133;p20"/>
            <p:cNvSpPr/>
            <p:nvPr/>
          </p:nvSpPr>
          <p:spPr>
            <a:xfrm>
              <a:off x="313650" y="1109750"/>
              <a:ext cx="747600" cy="7476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134" name="Google Shape;134;p20"/>
          <p:cNvSpPr/>
          <p:nvPr/>
        </p:nvSpPr>
        <p:spPr>
          <a:xfrm>
            <a:off x="8556000" y="4576450"/>
            <a:ext cx="435600" cy="435600"/>
          </a:xfrm>
          <a:prstGeom prst="ellipse">
            <a:avLst/>
          </a:prstGeom>
          <a:solidFill>
            <a:srgbClr val="00000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35" name="Google Shape;135;p20"/>
          <p:cNvSpPr txBox="1">
            <a:spLocks noGrp="1"/>
          </p:cNvSpPr>
          <p:nvPr>
            <p:ph type="title"/>
          </p:nvPr>
        </p:nvSpPr>
        <p:spPr>
          <a:xfrm>
            <a:off x="457200" y="1166125"/>
            <a:ext cx="5220300" cy="6831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3600"/>
              <a:buNone/>
              <a:defRPr/>
            </a:lvl1pPr>
            <a:lvl2pPr lvl="1" algn="l">
              <a:lnSpc>
                <a:spcPct val="100000"/>
              </a:lnSpc>
              <a:spcBef>
                <a:spcPts val="0"/>
              </a:spcBef>
              <a:spcAft>
                <a:spcPts val="0"/>
              </a:spcAft>
              <a:buSzPts val="3600"/>
              <a:buNone/>
              <a:defRPr/>
            </a:lvl2pPr>
            <a:lvl3pPr lvl="2" algn="l">
              <a:lnSpc>
                <a:spcPct val="100000"/>
              </a:lnSpc>
              <a:spcBef>
                <a:spcPts val="0"/>
              </a:spcBef>
              <a:spcAft>
                <a:spcPts val="0"/>
              </a:spcAft>
              <a:buSzPts val="3600"/>
              <a:buNone/>
              <a:defRPr/>
            </a:lvl3pPr>
            <a:lvl4pPr lvl="3" algn="l">
              <a:lnSpc>
                <a:spcPct val="100000"/>
              </a:lnSpc>
              <a:spcBef>
                <a:spcPts val="0"/>
              </a:spcBef>
              <a:spcAft>
                <a:spcPts val="0"/>
              </a:spcAft>
              <a:buSzPts val="3600"/>
              <a:buNone/>
              <a:defRPr/>
            </a:lvl4pPr>
            <a:lvl5pPr lvl="4" algn="l">
              <a:lnSpc>
                <a:spcPct val="100000"/>
              </a:lnSpc>
              <a:spcBef>
                <a:spcPts val="0"/>
              </a:spcBef>
              <a:spcAft>
                <a:spcPts val="0"/>
              </a:spcAft>
              <a:buSzPts val="3600"/>
              <a:buNone/>
              <a:defRPr/>
            </a:lvl5pPr>
            <a:lvl6pPr lvl="5" algn="l">
              <a:lnSpc>
                <a:spcPct val="100000"/>
              </a:lnSpc>
              <a:spcBef>
                <a:spcPts val="0"/>
              </a:spcBef>
              <a:spcAft>
                <a:spcPts val="0"/>
              </a:spcAft>
              <a:buSzPts val="3600"/>
              <a:buNone/>
              <a:defRPr/>
            </a:lvl6pPr>
            <a:lvl7pPr lvl="6" algn="l">
              <a:lnSpc>
                <a:spcPct val="100000"/>
              </a:lnSpc>
              <a:spcBef>
                <a:spcPts val="0"/>
              </a:spcBef>
              <a:spcAft>
                <a:spcPts val="0"/>
              </a:spcAft>
              <a:buSzPts val="3600"/>
              <a:buNone/>
              <a:defRPr/>
            </a:lvl7pPr>
            <a:lvl8pPr lvl="7" algn="l">
              <a:lnSpc>
                <a:spcPct val="100000"/>
              </a:lnSpc>
              <a:spcBef>
                <a:spcPts val="0"/>
              </a:spcBef>
              <a:spcAft>
                <a:spcPts val="0"/>
              </a:spcAft>
              <a:buSzPts val="3600"/>
              <a:buNone/>
              <a:defRPr/>
            </a:lvl8pPr>
            <a:lvl9pPr lvl="8" algn="l">
              <a:lnSpc>
                <a:spcPct val="100000"/>
              </a:lnSpc>
              <a:spcBef>
                <a:spcPts val="0"/>
              </a:spcBef>
              <a:spcAft>
                <a:spcPts val="0"/>
              </a:spcAft>
              <a:buSzPts val="3600"/>
              <a:buNone/>
              <a:defRPr/>
            </a:lvl9pPr>
          </a:lstStyle>
          <a:p>
            <a:endParaRPr/>
          </a:p>
        </p:txBody>
      </p:sp>
      <p:sp>
        <p:nvSpPr>
          <p:cNvPr id="136" name="Google Shape;136;p20"/>
          <p:cNvSpPr txBox="1">
            <a:spLocks noGrp="1"/>
          </p:cNvSpPr>
          <p:nvPr>
            <p:ph type="sldNum" idx="12"/>
          </p:nvPr>
        </p:nvSpPr>
        <p:spPr>
          <a:xfrm>
            <a:off x="8555875" y="4576450"/>
            <a:ext cx="435600" cy="435600"/>
          </a:xfrm>
          <a:prstGeom prst="rect">
            <a:avLst/>
          </a:prstGeom>
          <a:noFill/>
          <a:ln>
            <a:noFill/>
          </a:ln>
        </p:spPr>
        <p:txBody>
          <a:bodyPr spcFirstLastPara="1" wrap="square" lIns="91425" tIns="91425" rIns="91425" bIns="91425" anchor="ctr" anchorCtr="0">
            <a:noAutofit/>
          </a:bodyPr>
          <a:lstStyle>
            <a:lvl1pPr marL="0" marR="0" lvl="0"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1pPr>
            <a:lvl2pPr marL="0" marR="0" lvl="1"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2pPr>
            <a:lvl3pPr marL="0" marR="0" lvl="2"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3pPr>
            <a:lvl4pPr marL="0" marR="0" lvl="3"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4pPr>
            <a:lvl5pPr marL="0" marR="0" lvl="4"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5pPr>
            <a:lvl6pPr marL="0" marR="0" lvl="5"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6pPr>
            <a:lvl7pPr marL="0" marR="0" lvl="6"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7pPr>
            <a:lvl8pPr marL="0" marR="0" lvl="7"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8pPr>
            <a:lvl9pPr marL="0" marR="0" lvl="8"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9pPr>
          </a:lstStyle>
          <a:p>
            <a:pPr marL="0" lvl="0" indent="0" algn="ct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tangle"/>
          <p:cNvSpPr/>
          <p:nvPr/>
        </p:nvSpPr>
        <p:spPr bwMode="invGray">
          <a:xfrm>
            <a:off x="0" y="2952523"/>
            <a:ext cx="9144000" cy="15773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 name="Title 1"/>
          <p:cNvSpPr>
            <a:spLocks noGrp="1"/>
          </p:cNvSpPr>
          <p:nvPr>
            <p:ph type="ctrTitle"/>
          </p:nvPr>
        </p:nvSpPr>
        <p:spPr>
          <a:xfrm>
            <a:off x="628651" y="3086100"/>
            <a:ext cx="7886699" cy="868835"/>
          </a:xfrm>
        </p:spPr>
        <p:txBody>
          <a:bodyPr anchor="b">
            <a:normAutofit/>
          </a:bodyPr>
          <a:lstStyle>
            <a:lvl1pPr algn="l">
              <a:defRPr sz="390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628651" y="4003628"/>
            <a:ext cx="7886699" cy="356127"/>
          </a:xfrm>
        </p:spPr>
        <p:txBody>
          <a:bodyPr/>
          <a:lstStyle>
            <a:lvl1pPr marL="0" indent="0" algn="l">
              <a:spcBef>
                <a:spcPts val="0"/>
              </a:spcBef>
              <a:buNone/>
              <a:defRPr sz="1800">
                <a:solidFill>
                  <a:schemeClr val="accen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val="794848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41"/>
        <p:cNvGrpSpPr/>
        <p:nvPr/>
      </p:nvGrpSpPr>
      <p:grpSpPr>
        <a:xfrm>
          <a:off x="0" y="0"/>
          <a:ext cx="0" cy="0"/>
          <a:chOff x="0" y="0"/>
          <a:chExt cx="0" cy="0"/>
        </a:xfrm>
      </p:grpSpPr>
      <p:sp>
        <p:nvSpPr>
          <p:cNvPr id="142" name="Google Shape;142;p22"/>
          <p:cNvSpPr txBox="1">
            <a:spLocks noGrp="1"/>
          </p:cNvSpPr>
          <p:nvPr>
            <p:ph type="ctrTitle"/>
          </p:nvPr>
        </p:nvSpPr>
        <p:spPr>
          <a:xfrm>
            <a:off x="311708" y="744575"/>
            <a:ext cx="8520600" cy="2052600"/>
          </a:xfrm>
          <a:prstGeom prst="rect">
            <a:avLst/>
          </a:prstGeom>
          <a:noFill/>
          <a:ln>
            <a:noFill/>
          </a:ln>
        </p:spPr>
        <p:txBody>
          <a:bodyPr spcFirstLastPara="1" wrap="square" lIns="91425" tIns="91425" rIns="91425" bIns="91425" anchor="b" anchorCtr="0">
            <a:normAutofit/>
          </a:bodyPr>
          <a:lstStyle>
            <a:lvl1pPr lvl="0" algn="ctr">
              <a:lnSpc>
                <a:spcPct val="100000"/>
              </a:lnSpc>
              <a:spcBef>
                <a:spcPts val="0"/>
              </a:spcBef>
              <a:spcAft>
                <a:spcPts val="0"/>
              </a:spcAft>
              <a:buSzPts val="5200"/>
              <a:buNone/>
              <a:defRPr sz="5200"/>
            </a:lvl1pPr>
            <a:lvl2pPr lvl="1" algn="ctr">
              <a:lnSpc>
                <a:spcPct val="100000"/>
              </a:lnSpc>
              <a:spcBef>
                <a:spcPts val="0"/>
              </a:spcBef>
              <a:spcAft>
                <a:spcPts val="0"/>
              </a:spcAft>
              <a:buSzPts val="5200"/>
              <a:buNone/>
              <a:defRPr sz="5200"/>
            </a:lvl2pPr>
            <a:lvl3pPr lvl="2" algn="ctr">
              <a:lnSpc>
                <a:spcPct val="100000"/>
              </a:lnSpc>
              <a:spcBef>
                <a:spcPts val="0"/>
              </a:spcBef>
              <a:spcAft>
                <a:spcPts val="0"/>
              </a:spcAft>
              <a:buSzPts val="5200"/>
              <a:buNone/>
              <a:defRPr sz="5200"/>
            </a:lvl3pPr>
            <a:lvl4pPr lvl="3" algn="ctr">
              <a:lnSpc>
                <a:spcPct val="100000"/>
              </a:lnSpc>
              <a:spcBef>
                <a:spcPts val="0"/>
              </a:spcBef>
              <a:spcAft>
                <a:spcPts val="0"/>
              </a:spcAft>
              <a:buSzPts val="5200"/>
              <a:buNone/>
              <a:defRPr sz="5200"/>
            </a:lvl4pPr>
            <a:lvl5pPr lvl="4" algn="ctr">
              <a:lnSpc>
                <a:spcPct val="100000"/>
              </a:lnSpc>
              <a:spcBef>
                <a:spcPts val="0"/>
              </a:spcBef>
              <a:spcAft>
                <a:spcPts val="0"/>
              </a:spcAft>
              <a:buSzPts val="5200"/>
              <a:buNone/>
              <a:defRPr sz="5200"/>
            </a:lvl5pPr>
            <a:lvl6pPr lvl="5" algn="ctr">
              <a:lnSpc>
                <a:spcPct val="100000"/>
              </a:lnSpc>
              <a:spcBef>
                <a:spcPts val="0"/>
              </a:spcBef>
              <a:spcAft>
                <a:spcPts val="0"/>
              </a:spcAft>
              <a:buSzPts val="5200"/>
              <a:buNone/>
              <a:defRPr sz="5200"/>
            </a:lvl6pPr>
            <a:lvl7pPr lvl="6" algn="ctr">
              <a:lnSpc>
                <a:spcPct val="100000"/>
              </a:lnSpc>
              <a:spcBef>
                <a:spcPts val="0"/>
              </a:spcBef>
              <a:spcAft>
                <a:spcPts val="0"/>
              </a:spcAft>
              <a:buSzPts val="5200"/>
              <a:buNone/>
              <a:defRPr sz="5200"/>
            </a:lvl7pPr>
            <a:lvl8pPr lvl="7" algn="ctr">
              <a:lnSpc>
                <a:spcPct val="100000"/>
              </a:lnSpc>
              <a:spcBef>
                <a:spcPts val="0"/>
              </a:spcBef>
              <a:spcAft>
                <a:spcPts val="0"/>
              </a:spcAft>
              <a:buSzPts val="5200"/>
              <a:buNone/>
              <a:defRPr sz="5200"/>
            </a:lvl8pPr>
            <a:lvl9pPr lvl="8" algn="ctr">
              <a:lnSpc>
                <a:spcPct val="100000"/>
              </a:lnSpc>
              <a:spcBef>
                <a:spcPts val="0"/>
              </a:spcBef>
              <a:spcAft>
                <a:spcPts val="0"/>
              </a:spcAft>
              <a:buSzPts val="5200"/>
              <a:buNone/>
              <a:defRPr sz="5200"/>
            </a:lvl9pPr>
          </a:lstStyle>
          <a:p>
            <a:endParaRPr/>
          </a:p>
        </p:txBody>
      </p:sp>
      <p:sp>
        <p:nvSpPr>
          <p:cNvPr id="143" name="Google Shape;143;p22"/>
          <p:cNvSpPr txBox="1">
            <a:spLocks noGrp="1"/>
          </p:cNvSpPr>
          <p:nvPr>
            <p:ph type="subTitle" idx="1"/>
          </p:nvPr>
        </p:nvSpPr>
        <p:spPr>
          <a:xfrm>
            <a:off x="311700" y="2834125"/>
            <a:ext cx="8520600" cy="792600"/>
          </a:xfrm>
          <a:prstGeom prst="rect">
            <a:avLst/>
          </a:prstGeom>
          <a:noFill/>
          <a:ln>
            <a:noFill/>
          </a:ln>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44" name="Google Shape;144;p22"/>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45"/>
        <p:cNvGrpSpPr/>
        <p:nvPr/>
      </p:nvGrpSpPr>
      <p:grpSpPr>
        <a:xfrm>
          <a:off x="0" y="0"/>
          <a:ext cx="0" cy="0"/>
          <a:chOff x="0" y="0"/>
          <a:chExt cx="0" cy="0"/>
        </a:xfrm>
      </p:grpSpPr>
      <p:sp>
        <p:nvSpPr>
          <p:cNvPr id="146" name="Google Shape;146;p23"/>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rmAutofit/>
          </a:bodyPr>
          <a:lstStyle>
            <a:lvl1pPr lvl="0" algn="ctr">
              <a:lnSpc>
                <a:spcPct val="100000"/>
              </a:lnSpc>
              <a:spcBef>
                <a:spcPts val="0"/>
              </a:spcBef>
              <a:spcAft>
                <a:spcPts val="0"/>
              </a:spcAft>
              <a:buSzPts val="3600"/>
              <a:buNone/>
              <a:defRPr sz="3600"/>
            </a:lvl1pPr>
            <a:lvl2pPr lvl="1" algn="ctr">
              <a:lnSpc>
                <a:spcPct val="100000"/>
              </a:lnSpc>
              <a:spcBef>
                <a:spcPts val="0"/>
              </a:spcBef>
              <a:spcAft>
                <a:spcPts val="0"/>
              </a:spcAft>
              <a:buSzPts val="3600"/>
              <a:buNone/>
              <a:defRPr sz="3600"/>
            </a:lvl2pPr>
            <a:lvl3pPr lvl="2" algn="ctr">
              <a:lnSpc>
                <a:spcPct val="100000"/>
              </a:lnSpc>
              <a:spcBef>
                <a:spcPts val="0"/>
              </a:spcBef>
              <a:spcAft>
                <a:spcPts val="0"/>
              </a:spcAft>
              <a:buSzPts val="3600"/>
              <a:buNone/>
              <a:defRPr sz="3600"/>
            </a:lvl3pPr>
            <a:lvl4pPr lvl="3" algn="ctr">
              <a:lnSpc>
                <a:spcPct val="100000"/>
              </a:lnSpc>
              <a:spcBef>
                <a:spcPts val="0"/>
              </a:spcBef>
              <a:spcAft>
                <a:spcPts val="0"/>
              </a:spcAft>
              <a:buSzPts val="3600"/>
              <a:buNone/>
              <a:defRPr sz="3600"/>
            </a:lvl4pPr>
            <a:lvl5pPr lvl="4" algn="ctr">
              <a:lnSpc>
                <a:spcPct val="100000"/>
              </a:lnSpc>
              <a:spcBef>
                <a:spcPts val="0"/>
              </a:spcBef>
              <a:spcAft>
                <a:spcPts val="0"/>
              </a:spcAft>
              <a:buSzPts val="3600"/>
              <a:buNone/>
              <a:defRPr sz="3600"/>
            </a:lvl5pPr>
            <a:lvl6pPr lvl="5" algn="ctr">
              <a:lnSpc>
                <a:spcPct val="100000"/>
              </a:lnSpc>
              <a:spcBef>
                <a:spcPts val="0"/>
              </a:spcBef>
              <a:spcAft>
                <a:spcPts val="0"/>
              </a:spcAft>
              <a:buSzPts val="3600"/>
              <a:buNone/>
              <a:defRPr sz="3600"/>
            </a:lvl6pPr>
            <a:lvl7pPr lvl="6" algn="ctr">
              <a:lnSpc>
                <a:spcPct val="100000"/>
              </a:lnSpc>
              <a:spcBef>
                <a:spcPts val="0"/>
              </a:spcBef>
              <a:spcAft>
                <a:spcPts val="0"/>
              </a:spcAft>
              <a:buSzPts val="3600"/>
              <a:buNone/>
              <a:defRPr sz="3600"/>
            </a:lvl7pPr>
            <a:lvl8pPr lvl="7" algn="ctr">
              <a:lnSpc>
                <a:spcPct val="100000"/>
              </a:lnSpc>
              <a:spcBef>
                <a:spcPts val="0"/>
              </a:spcBef>
              <a:spcAft>
                <a:spcPts val="0"/>
              </a:spcAft>
              <a:buSzPts val="3600"/>
              <a:buNone/>
              <a:defRPr sz="3600"/>
            </a:lvl8pPr>
            <a:lvl9pPr lvl="8" algn="ctr">
              <a:lnSpc>
                <a:spcPct val="100000"/>
              </a:lnSpc>
              <a:spcBef>
                <a:spcPts val="0"/>
              </a:spcBef>
              <a:spcAft>
                <a:spcPts val="0"/>
              </a:spcAft>
              <a:buSzPts val="3600"/>
              <a:buNone/>
              <a:defRPr sz="3600"/>
            </a:lvl9pPr>
          </a:lstStyle>
          <a:p>
            <a:endParaRPr/>
          </a:p>
        </p:txBody>
      </p:sp>
      <p:sp>
        <p:nvSpPr>
          <p:cNvPr id="147" name="Google Shape;147;p23"/>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48"/>
        <p:cNvGrpSpPr/>
        <p:nvPr/>
      </p:nvGrpSpPr>
      <p:grpSpPr>
        <a:xfrm>
          <a:off x="0" y="0"/>
          <a:ext cx="0" cy="0"/>
          <a:chOff x="0" y="0"/>
          <a:chExt cx="0" cy="0"/>
        </a:xfrm>
      </p:grpSpPr>
      <p:sp>
        <p:nvSpPr>
          <p:cNvPr id="149" name="Google Shape;149;p24"/>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50" name="Google Shape;150;p24"/>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0"/>
              </a:spcBef>
              <a:spcAft>
                <a:spcPts val="0"/>
              </a:spcAft>
              <a:buSzPts val="1400"/>
              <a:buChar char="○"/>
              <a:defRPr/>
            </a:lvl2pPr>
            <a:lvl3pPr marL="1371600" lvl="2" indent="-317500" algn="l">
              <a:lnSpc>
                <a:spcPct val="115000"/>
              </a:lnSpc>
              <a:spcBef>
                <a:spcPts val="0"/>
              </a:spcBef>
              <a:spcAft>
                <a:spcPts val="0"/>
              </a:spcAft>
              <a:buSzPts val="1400"/>
              <a:buChar char="■"/>
              <a:defRPr/>
            </a:lvl3pPr>
            <a:lvl4pPr marL="1828800" lvl="3" indent="-317500" algn="l">
              <a:lnSpc>
                <a:spcPct val="115000"/>
              </a:lnSpc>
              <a:spcBef>
                <a:spcPts val="0"/>
              </a:spcBef>
              <a:spcAft>
                <a:spcPts val="0"/>
              </a:spcAft>
              <a:buSzPts val="1400"/>
              <a:buChar char="●"/>
              <a:defRPr/>
            </a:lvl4pPr>
            <a:lvl5pPr marL="2286000" lvl="4" indent="-317500" algn="l">
              <a:lnSpc>
                <a:spcPct val="115000"/>
              </a:lnSpc>
              <a:spcBef>
                <a:spcPts val="0"/>
              </a:spcBef>
              <a:spcAft>
                <a:spcPts val="0"/>
              </a:spcAft>
              <a:buSzPts val="1400"/>
              <a:buChar char="○"/>
              <a:defRPr/>
            </a:lvl5pPr>
            <a:lvl6pPr marL="2743200" lvl="5" indent="-317500" algn="l">
              <a:lnSpc>
                <a:spcPct val="115000"/>
              </a:lnSpc>
              <a:spcBef>
                <a:spcPts val="0"/>
              </a:spcBef>
              <a:spcAft>
                <a:spcPts val="0"/>
              </a:spcAft>
              <a:buSzPts val="1400"/>
              <a:buChar char="■"/>
              <a:defRPr/>
            </a:lvl6pPr>
            <a:lvl7pPr marL="3200400" lvl="6" indent="-317500" algn="l">
              <a:lnSpc>
                <a:spcPct val="115000"/>
              </a:lnSpc>
              <a:spcBef>
                <a:spcPts val="0"/>
              </a:spcBef>
              <a:spcAft>
                <a:spcPts val="0"/>
              </a:spcAft>
              <a:buSzPts val="1400"/>
              <a:buChar char="●"/>
              <a:defRPr/>
            </a:lvl7pPr>
            <a:lvl8pPr marL="3657600" lvl="7" indent="-317500" algn="l">
              <a:lnSpc>
                <a:spcPct val="115000"/>
              </a:lnSpc>
              <a:spcBef>
                <a:spcPts val="0"/>
              </a:spcBef>
              <a:spcAft>
                <a:spcPts val="0"/>
              </a:spcAft>
              <a:buSzPts val="1400"/>
              <a:buChar char="○"/>
              <a:defRPr/>
            </a:lvl8pPr>
            <a:lvl9pPr marL="4114800" lvl="8" indent="-317500" algn="l">
              <a:lnSpc>
                <a:spcPct val="115000"/>
              </a:lnSpc>
              <a:spcBef>
                <a:spcPts val="0"/>
              </a:spcBef>
              <a:spcAft>
                <a:spcPts val="0"/>
              </a:spcAft>
              <a:buSzPts val="1400"/>
              <a:buChar char="■"/>
              <a:defRPr/>
            </a:lvl9pPr>
          </a:lstStyle>
          <a:p>
            <a:endParaRPr/>
          </a:p>
        </p:txBody>
      </p:sp>
      <p:sp>
        <p:nvSpPr>
          <p:cNvPr id="151" name="Google Shape;151;p24"/>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152"/>
        <p:cNvGrpSpPr/>
        <p:nvPr/>
      </p:nvGrpSpPr>
      <p:grpSpPr>
        <a:xfrm>
          <a:off x="0" y="0"/>
          <a:ext cx="0" cy="0"/>
          <a:chOff x="0" y="0"/>
          <a:chExt cx="0" cy="0"/>
        </a:xfrm>
      </p:grpSpPr>
      <p:sp>
        <p:nvSpPr>
          <p:cNvPr id="153" name="Google Shape;153;p2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54" name="Google Shape;154;p25"/>
          <p:cNvSpPr txBox="1">
            <a:spLocks noGrp="1"/>
          </p:cNvSpPr>
          <p:nvPr>
            <p:ph type="body" idx="1"/>
          </p:nvPr>
        </p:nvSpPr>
        <p:spPr>
          <a:xfrm>
            <a:off x="311700" y="1152475"/>
            <a:ext cx="3999900" cy="3416400"/>
          </a:xfrm>
          <a:prstGeom prst="rect">
            <a:avLst/>
          </a:prstGeom>
          <a:noFill/>
          <a:ln>
            <a:noFill/>
          </a:ln>
        </p:spPr>
        <p:txBody>
          <a:bodyPr spcFirstLastPara="1" wrap="square" lIns="91425" tIns="91425" rIns="91425" bIns="91425" anchor="t" anchorCtr="0">
            <a:normAutofit/>
          </a:bodyPr>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0"/>
              </a:spcBef>
              <a:spcAft>
                <a:spcPts val="0"/>
              </a:spcAft>
              <a:buSzPts val="1200"/>
              <a:buChar char="○"/>
              <a:defRPr sz="1200"/>
            </a:lvl2pPr>
            <a:lvl3pPr marL="1371600" lvl="2" indent="-304800" algn="l">
              <a:lnSpc>
                <a:spcPct val="115000"/>
              </a:lnSpc>
              <a:spcBef>
                <a:spcPts val="0"/>
              </a:spcBef>
              <a:spcAft>
                <a:spcPts val="0"/>
              </a:spcAft>
              <a:buSzPts val="1200"/>
              <a:buChar char="■"/>
              <a:defRPr sz="1200"/>
            </a:lvl3pPr>
            <a:lvl4pPr marL="1828800" lvl="3" indent="-304800" algn="l">
              <a:lnSpc>
                <a:spcPct val="115000"/>
              </a:lnSpc>
              <a:spcBef>
                <a:spcPts val="0"/>
              </a:spcBef>
              <a:spcAft>
                <a:spcPts val="0"/>
              </a:spcAft>
              <a:buSzPts val="1200"/>
              <a:buChar char="●"/>
              <a:defRPr sz="1200"/>
            </a:lvl4pPr>
            <a:lvl5pPr marL="2286000" lvl="4" indent="-304800" algn="l">
              <a:lnSpc>
                <a:spcPct val="115000"/>
              </a:lnSpc>
              <a:spcBef>
                <a:spcPts val="0"/>
              </a:spcBef>
              <a:spcAft>
                <a:spcPts val="0"/>
              </a:spcAft>
              <a:buSzPts val="1200"/>
              <a:buChar char="○"/>
              <a:defRPr sz="1200"/>
            </a:lvl5pPr>
            <a:lvl6pPr marL="2743200" lvl="5" indent="-304800" algn="l">
              <a:lnSpc>
                <a:spcPct val="115000"/>
              </a:lnSpc>
              <a:spcBef>
                <a:spcPts val="0"/>
              </a:spcBef>
              <a:spcAft>
                <a:spcPts val="0"/>
              </a:spcAft>
              <a:buSzPts val="1200"/>
              <a:buChar char="■"/>
              <a:defRPr sz="1200"/>
            </a:lvl6pPr>
            <a:lvl7pPr marL="3200400" lvl="6" indent="-304800" algn="l">
              <a:lnSpc>
                <a:spcPct val="115000"/>
              </a:lnSpc>
              <a:spcBef>
                <a:spcPts val="0"/>
              </a:spcBef>
              <a:spcAft>
                <a:spcPts val="0"/>
              </a:spcAft>
              <a:buSzPts val="1200"/>
              <a:buChar char="●"/>
              <a:defRPr sz="1200"/>
            </a:lvl7pPr>
            <a:lvl8pPr marL="3657600" lvl="7" indent="-304800" algn="l">
              <a:lnSpc>
                <a:spcPct val="115000"/>
              </a:lnSpc>
              <a:spcBef>
                <a:spcPts val="0"/>
              </a:spcBef>
              <a:spcAft>
                <a:spcPts val="0"/>
              </a:spcAft>
              <a:buSzPts val="1200"/>
              <a:buChar char="○"/>
              <a:defRPr sz="1200"/>
            </a:lvl8pPr>
            <a:lvl9pPr marL="4114800" lvl="8" indent="-304800" algn="l">
              <a:lnSpc>
                <a:spcPct val="115000"/>
              </a:lnSpc>
              <a:spcBef>
                <a:spcPts val="0"/>
              </a:spcBef>
              <a:spcAft>
                <a:spcPts val="0"/>
              </a:spcAft>
              <a:buSzPts val="1200"/>
              <a:buChar char="■"/>
              <a:defRPr sz="1200"/>
            </a:lvl9pPr>
          </a:lstStyle>
          <a:p>
            <a:endParaRPr/>
          </a:p>
        </p:txBody>
      </p:sp>
      <p:sp>
        <p:nvSpPr>
          <p:cNvPr id="155" name="Google Shape;155;p25"/>
          <p:cNvSpPr txBox="1">
            <a:spLocks noGrp="1"/>
          </p:cNvSpPr>
          <p:nvPr>
            <p:ph type="body" idx="2"/>
          </p:nvPr>
        </p:nvSpPr>
        <p:spPr>
          <a:xfrm>
            <a:off x="4832400" y="1152475"/>
            <a:ext cx="3999900" cy="3416400"/>
          </a:xfrm>
          <a:prstGeom prst="rect">
            <a:avLst/>
          </a:prstGeom>
          <a:noFill/>
          <a:ln>
            <a:noFill/>
          </a:ln>
        </p:spPr>
        <p:txBody>
          <a:bodyPr spcFirstLastPara="1" wrap="square" lIns="91425" tIns="91425" rIns="91425" bIns="91425" anchor="t" anchorCtr="0">
            <a:normAutofit/>
          </a:bodyPr>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0"/>
              </a:spcBef>
              <a:spcAft>
                <a:spcPts val="0"/>
              </a:spcAft>
              <a:buSzPts val="1200"/>
              <a:buChar char="○"/>
              <a:defRPr sz="1200"/>
            </a:lvl2pPr>
            <a:lvl3pPr marL="1371600" lvl="2" indent="-304800" algn="l">
              <a:lnSpc>
                <a:spcPct val="115000"/>
              </a:lnSpc>
              <a:spcBef>
                <a:spcPts val="0"/>
              </a:spcBef>
              <a:spcAft>
                <a:spcPts val="0"/>
              </a:spcAft>
              <a:buSzPts val="1200"/>
              <a:buChar char="■"/>
              <a:defRPr sz="1200"/>
            </a:lvl3pPr>
            <a:lvl4pPr marL="1828800" lvl="3" indent="-304800" algn="l">
              <a:lnSpc>
                <a:spcPct val="115000"/>
              </a:lnSpc>
              <a:spcBef>
                <a:spcPts val="0"/>
              </a:spcBef>
              <a:spcAft>
                <a:spcPts val="0"/>
              </a:spcAft>
              <a:buSzPts val="1200"/>
              <a:buChar char="●"/>
              <a:defRPr sz="1200"/>
            </a:lvl4pPr>
            <a:lvl5pPr marL="2286000" lvl="4" indent="-304800" algn="l">
              <a:lnSpc>
                <a:spcPct val="115000"/>
              </a:lnSpc>
              <a:spcBef>
                <a:spcPts val="0"/>
              </a:spcBef>
              <a:spcAft>
                <a:spcPts val="0"/>
              </a:spcAft>
              <a:buSzPts val="1200"/>
              <a:buChar char="○"/>
              <a:defRPr sz="1200"/>
            </a:lvl5pPr>
            <a:lvl6pPr marL="2743200" lvl="5" indent="-304800" algn="l">
              <a:lnSpc>
                <a:spcPct val="115000"/>
              </a:lnSpc>
              <a:spcBef>
                <a:spcPts val="0"/>
              </a:spcBef>
              <a:spcAft>
                <a:spcPts val="0"/>
              </a:spcAft>
              <a:buSzPts val="1200"/>
              <a:buChar char="■"/>
              <a:defRPr sz="1200"/>
            </a:lvl6pPr>
            <a:lvl7pPr marL="3200400" lvl="6" indent="-304800" algn="l">
              <a:lnSpc>
                <a:spcPct val="115000"/>
              </a:lnSpc>
              <a:spcBef>
                <a:spcPts val="0"/>
              </a:spcBef>
              <a:spcAft>
                <a:spcPts val="0"/>
              </a:spcAft>
              <a:buSzPts val="1200"/>
              <a:buChar char="●"/>
              <a:defRPr sz="1200"/>
            </a:lvl7pPr>
            <a:lvl8pPr marL="3657600" lvl="7" indent="-304800" algn="l">
              <a:lnSpc>
                <a:spcPct val="115000"/>
              </a:lnSpc>
              <a:spcBef>
                <a:spcPts val="0"/>
              </a:spcBef>
              <a:spcAft>
                <a:spcPts val="0"/>
              </a:spcAft>
              <a:buSzPts val="1200"/>
              <a:buChar char="○"/>
              <a:defRPr sz="1200"/>
            </a:lvl8pPr>
            <a:lvl9pPr marL="4114800" lvl="8" indent="-304800" algn="l">
              <a:lnSpc>
                <a:spcPct val="115000"/>
              </a:lnSpc>
              <a:spcBef>
                <a:spcPts val="0"/>
              </a:spcBef>
              <a:spcAft>
                <a:spcPts val="0"/>
              </a:spcAft>
              <a:buSzPts val="1200"/>
              <a:buChar char="■"/>
              <a:defRPr sz="1200"/>
            </a:lvl9pPr>
          </a:lstStyle>
          <a:p>
            <a:endParaRPr/>
          </a:p>
        </p:txBody>
      </p:sp>
      <p:sp>
        <p:nvSpPr>
          <p:cNvPr id="156" name="Google Shape;156;p2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57"/>
        <p:cNvGrpSpPr/>
        <p:nvPr/>
      </p:nvGrpSpPr>
      <p:grpSpPr>
        <a:xfrm>
          <a:off x="0" y="0"/>
          <a:ext cx="0" cy="0"/>
          <a:chOff x="0" y="0"/>
          <a:chExt cx="0" cy="0"/>
        </a:xfrm>
      </p:grpSpPr>
      <p:sp>
        <p:nvSpPr>
          <p:cNvPr id="158" name="Google Shape;158;p26"/>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59" name="Google Shape;159;p26"/>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160"/>
        <p:cNvGrpSpPr/>
        <p:nvPr/>
      </p:nvGrpSpPr>
      <p:grpSpPr>
        <a:xfrm>
          <a:off x="0" y="0"/>
          <a:ext cx="0" cy="0"/>
          <a:chOff x="0" y="0"/>
          <a:chExt cx="0" cy="0"/>
        </a:xfrm>
      </p:grpSpPr>
      <p:sp>
        <p:nvSpPr>
          <p:cNvPr id="161" name="Google Shape;161;p27"/>
          <p:cNvSpPr txBox="1">
            <a:spLocks noGrp="1"/>
          </p:cNvSpPr>
          <p:nvPr>
            <p:ph type="title"/>
          </p:nvPr>
        </p:nvSpPr>
        <p:spPr>
          <a:xfrm>
            <a:off x="311700" y="555600"/>
            <a:ext cx="2808000" cy="755700"/>
          </a:xfrm>
          <a:prstGeom prst="rect">
            <a:avLst/>
          </a:prstGeom>
          <a:noFill/>
          <a:ln>
            <a:noFill/>
          </a:ln>
        </p:spPr>
        <p:txBody>
          <a:bodyPr spcFirstLastPara="1" wrap="square" lIns="91425" tIns="91425" rIns="91425" bIns="91425" anchor="b" anchorCtr="0">
            <a:normAutofit/>
          </a:bodyPr>
          <a:lstStyle>
            <a:lvl1pPr lvl="0" algn="l">
              <a:lnSpc>
                <a:spcPct val="100000"/>
              </a:lnSpc>
              <a:spcBef>
                <a:spcPts val="0"/>
              </a:spcBef>
              <a:spcAft>
                <a:spcPts val="0"/>
              </a:spcAft>
              <a:buSzPts val="2400"/>
              <a:buNone/>
              <a:defRPr sz="2400"/>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162" name="Google Shape;162;p27"/>
          <p:cNvSpPr txBox="1">
            <a:spLocks noGrp="1"/>
          </p:cNvSpPr>
          <p:nvPr>
            <p:ph type="body" idx="1"/>
          </p:nvPr>
        </p:nvSpPr>
        <p:spPr>
          <a:xfrm>
            <a:off x="311700" y="1389600"/>
            <a:ext cx="2808000" cy="3179400"/>
          </a:xfrm>
          <a:prstGeom prst="rect">
            <a:avLst/>
          </a:prstGeom>
          <a:noFill/>
          <a:ln>
            <a:noFill/>
          </a:ln>
        </p:spPr>
        <p:txBody>
          <a:bodyPr spcFirstLastPara="1" wrap="square" lIns="91425" tIns="91425" rIns="91425" bIns="91425" anchor="t" anchorCtr="0">
            <a:normAutofit/>
          </a:bodyPr>
          <a:lstStyle>
            <a:lvl1pPr marL="457200" lvl="0" indent="-304800" algn="l">
              <a:lnSpc>
                <a:spcPct val="115000"/>
              </a:lnSpc>
              <a:spcBef>
                <a:spcPts val="0"/>
              </a:spcBef>
              <a:spcAft>
                <a:spcPts val="0"/>
              </a:spcAft>
              <a:buSzPts val="1200"/>
              <a:buChar char="●"/>
              <a:defRPr sz="1200"/>
            </a:lvl1pPr>
            <a:lvl2pPr marL="914400" lvl="1" indent="-304800" algn="l">
              <a:lnSpc>
                <a:spcPct val="115000"/>
              </a:lnSpc>
              <a:spcBef>
                <a:spcPts val="0"/>
              </a:spcBef>
              <a:spcAft>
                <a:spcPts val="0"/>
              </a:spcAft>
              <a:buSzPts val="1200"/>
              <a:buChar char="○"/>
              <a:defRPr sz="1200"/>
            </a:lvl2pPr>
            <a:lvl3pPr marL="1371600" lvl="2" indent="-304800" algn="l">
              <a:lnSpc>
                <a:spcPct val="115000"/>
              </a:lnSpc>
              <a:spcBef>
                <a:spcPts val="0"/>
              </a:spcBef>
              <a:spcAft>
                <a:spcPts val="0"/>
              </a:spcAft>
              <a:buSzPts val="1200"/>
              <a:buChar char="■"/>
              <a:defRPr sz="1200"/>
            </a:lvl3pPr>
            <a:lvl4pPr marL="1828800" lvl="3" indent="-304800" algn="l">
              <a:lnSpc>
                <a:spcPct val="115000"/>
              </a:lnSpc>
              <a:spcBef>
                <a:spcPts val="0"/>
              </a:spcBef>
              <a:spcAft>
                <a:spcPts val="0"/>
              </a:spcAft>
              <a:buSzPts val="1200"/>
              <a:buChar char="●"/>
              <a:defRPr sz="1200"/>
            </a:lvl4pPr>
            <a:lvl5pPr marL="2286000" lvl="4" indent="-304800" algn="l">
              <a:lnSpc>
                <a:spcPct val="115000"/>
              </a:lnSpc>
              <a:spcBef>
                <a:spcPts val="0"/>
              </a:spcBef>
              <a:spcAft>
                <a:spcPts val="0"/>
              </a:spcAft>
              <a:buSzPts val="1200"/>
              <a:buChar char="○"/>
              <a:defRPr sz="1200"/>
            </a:lvl5pPr>
            <a:lvl6pPr marL="2743200" lvl="5" indent="-304800" algn="l">
              <a:lnSpc>
                <a:spcPct val="115000"/>
              </a:lnSpc>
              <a:spcBef>
                <a:spcPts val="0"/>
              </a:spcBef>
              <a:spcAft>
                <a:spcPts val="0"/>
              </a:spcAft>
              <a:buSzPts val="1200"/>
              <a:buChar char="■"/>
              <a:defRPr sz="1200"/>
            </a:lvl6pPr>
            <a:lvl7pPr marL="3200400" lvl="6" indent="-304800" algn="l">
              <a:lnSpc>
                <a:spcPct val="115000"/>
              </a:lnSpc>
              <a:spcBef>
                <a:spcPts val="0"/>
              </a:spcBef>
              <a:spcAft>
                <a:spcPts val="0"/>
              </a:spcAft>
              <a:buSzPts val="1200"/>
              <a:buChar char="●"/>
              <a:defRPr sz="1200"/>
            </a:lvl7pPr>
            <a:lvl8pPr marL="3657600" lvl="7" indent="-304800" algn="l">
              <a:lnSpc>
                <a:spcPct val="115000"/>
              </a:lnSpc>
              <a:spcBef>
                <a:spcPts val="0"/>
              </a:spcBef>
              <a:spcAft>
                <a:spcPts val="0"/>
              </a:spcAft>
              <a:buSzPts val="1200"/>
              <a:buChar char="○"/>
              <a:defRPr sz="1200"/>
            </a:lvl8pPr>
            <a:lvl9pPr marL="4114800" lvl="8" indent="-304800" algn="l">
              <a:lnSpc>
                <a:spcPct val="115000"/>
              </a:lnSpc>
              <a:spcBef>
                <a:spcPts val="0"/>
              </a:spcBef>
              <a:spcAft>
                <a:spcPts val="0"/>
              </a:spcAft>
              <a:buSzPts val="1200"/>
              <a:buChar char="■"/>
              <a:defRPr sz="1200"/>
            </a:lvl9pPr>
          </a:lstStyle>
          <a:p>
            <a:endParaRPr/>
          </a:p>
        </p:txBody>
      </p:sp>
      <p:sp>
        <p:nvSpPr>
          <p:cNvPr id="163" name="Google Shape;163;p27"/>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164"/>
        <p:cNvGrpSpPr/>
        <p:nvPr/>
      </p:nvGrpSpPr>
      <p:grpSpPr>
        <a:xfrm>
          <a:off x="0" y="0"/>
          <a:ext cx="0" cy="0"/>
          <a:chOff x="0" y="0"/>
          <a:chExt cx="0" cy="0"/>
        </a:xfrm>
      </p:grpSpPr>
      <p:sp>
        <p:nvSpPr>
          <p:cNvPr id="165" name="Google Shape;165;p28"/>
          <p:cNvSpPr txBox="1">
            <a:spLocks noGrp="1"/>
          </p:cNvSpPr>
          <p:nvPr>
            <p:ph type="title"/>
          </p:nvPr>
        </p:nvSpPr>
        <p:spPr>
          <a:xfrm>
            <a:off x="490250" y="450150"/>
            <a:ext cx="6367800" cy="4090800"/>
          </a:xfrm>
          <a:prstGeom prst="rect">
            <a:avLst/>
          </a:prstGeom>
          <a:noFill/>
          <a:ln>
            <a:noFill/>
          </a:ln>
        </p:spPr>
        <p:txBody>
          <a:bodyPr spcFirstLastPara="1" wrap="square" lIns="91425" tIns="91425" rIns="91425" bIns="91425" anchor="ctr" anchorCtr="0">
            <a:normAutofit/>
          </a:bodyPr>
          <a:lstStyle>
            <a:lvl1pPr lvl="0" algn="l">
              <a:lnSpc>
                <a:spcPct val="100000"/>
              </a:lnSpc>
              <a:spcBef>
                <a:spcPts val="0"/>
              </a:spcBef>
              <a:spcAft>
                <a:spcPts val="0"/>
              </a:spcAft>
              <a:buSzPts val="4800"/>
              <a:buNone/>
              <a:defRPr sz="4800"/>
            </a:lvl1pPr>
            <a:lvl2pPr lvl="1" algn="l">
              <a:lnSpc>
                <a:spcPct val="100000"/>
              </a:lnSpc>
              <a:spcBef>
                <a:spcPts val="0"/>
              </a:spcBef>
              <a:spcAft>
                <a:spcPts val="0"/>
              </a:spcAft>
              <a:buSzPts val="4800"/>
              <a:buNone/>
              <a:defRPr sz="4800"/>
            </a:lvl2pPr>
            <a:lvl3pPr lvl="2" algn="l">
              <a:lnSpc>
                <a:spcPct val="100000"/>
              </a:lnSpc>
              <a:spcBef>
                <a:spcPts val="0"/>
              </a:spcBef>
              <a:spcAft>
                <a:spcPts val="0"/>
              </a:spcAft>
              <a:buSzPts val="4800"/>
              <a:buNone/>
              <a:defRPr sz="4800"/>
            </a:lvl3pPr>
            <a:lvl4pPr lvl="3" algn="l">
              <a:lnSpc>
                <a:spcPct val="100000"/>
              </a:lnSpc>
              <a:spcBef>
                <a:spcPts val="0"/>
              </a:spcBef>
              <a:spcAft>
                <a:spcPts val="0"/>
              </a:spcAft>
              <a:buSzPts val="4800"/>
              <a:buNone/>
              <a:defRPr sz="4800"/>
            </a:lvl4pPr>
            <a:lvl5pPr lvl="4" algn="l">
              <a:lnSpc>
                <a:spcPct val="100000"/>
              </a:lnSpc>
              <a:spcBef>
                <a:spcPts val="0"/>
              </a:spcBef>
              <a:spcAft>
                <a:spcPts val="0"/>
              </a:spcAft>
              <a:buSzPts val="4800"/>
              <a:buNone/>
              <a:defRPr sz="4800"/>
            </a:lvl5pPr>
            <a:lvl6pPr lvl="5" algn="l">
              <a:lnSpc>
                <a:spcPct val="100000"/>
              </a:lnSpc>
              <a:spcBef>
                <a:spcPts val="0"/>
              </a:spcBef>
              <a:spcAft>
                <a:spcPts val="0"/>
              </a:spcAft>
              <a:buSzPts val="4800"/>
              <a:buNone/>
              <a:defRPr sz="4800"/>
            </a:lvl6pPr>
            <a:lvl7pPr lvl="6" algn="l">
              <a:lnSpc>
                <a:spcPct val="100000"/>
              </a:lnSpc>
              <a:spcBef>
                <a:spcPts val="0"/>
              </a:spcBef>
              <a:spcAft>
                <a:spcPts val="0"/>
              </a:spcAft>
              <a:buSzPts val="4800"/>
              <a:buNone/>
              <a:defRPr sz="4800"/>
            </a:lvl7pPr>
            <a:lvl8pPr lvl="7" algn="l">
              <a:lnSpc>
                <a:spcPct val="100000"/>
              </a:lnSpc>
              <a:spcBef>
                <a:spcPts val="0"/>
              </a:spcBef>
              <a:spcAft>
                <a:spcPts val="0"/>
              </a:spcAft>
              <a:buSzPts val="4800"/>
              <a:buNone/>
              <a:defRPr sz="4800"/>
            </a:lvl8pPr>
            <a:lvl9pPr lvl="8" algn="l">
              <a:lnSpc>
                <a:spcPct val="100000"/>
              </a:lnSpc>
              <a:spcBef>
                <a:spcPts val="0"/>
              </a:spcBef>
              <a:spcAft>
                <a:spcPts val="0"/>
              </a:spcAft>
              <a:buSzPts val="4800"/>
              <a:buNone/>
              <a:defRPr sz="4800"/>
            </a:lvl9pPr>
          </a:lstStyle>
          <a:p>
            <a:endParaRPr/>
          </a:p>
        </p:txBody>
      </p:sp>
      <p:sp>
        <p:nvSpPr>
          <p:cNvPr id="166" name="Google Shape;166;p2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 1 column" type="tx">
  <p:cSld name="TITLE_AND_BODY">
    <p:spTree>
      <p:nvGrpSpPr>
        <p:cNvPr id="1" name="Shape 25"/>
        <p:cNvGrpSpPr/>
        <p:nvPr/>
      </p:nvGrpSpPr>
      <p:grpSpPr>
        <a:xfrm>
          <a:off x="0" y="0"/>
          <a:ext cx="0" cy="0"/>
          <a:chOff x="0" y="0"/>
          <a:chExt cx="0" cy="0"/>
        </a:xfrm>
      </p:grpSpPr>
      <p:sp>
        <p:nvSpPr>
          <p:cNvPr id="26" name="Google Shape;26;p11"/>
          <p:cNvSpPr/>
          <p:nvPr/>
        </p:nvSpPr>
        <p:spPr>
          <a:xfrm>
            <a:off x="6081700" y="764000"/>
            <a:ext cx="3615600" cy="36156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nvGrpSpPr>
          <p:cNvPr id="27" name="Google Shape;27;p11"/>
          <p:cNvGrpSpPr/>
          <p:nvPr/>
        </p:nvGrpSpPr>
        <p:grpSpPr>
          <a:xfrm>
            <a:off x="-442731" y="337284"/>
            <a:ext cx="2324700" cy="2324700"/>
            <a:chOff x="-474900" y="321200"/>
            <a:chExt cx="2324700" cy="2324700"/>
          </a:xfrm>
        </p:grpSpPr>
        <p:sp>
          <p:nvSpPr>
            <p:cNvPr id="28" name="Google Shape;28;p11"/>
            <p:cNvSpPr/>
            <p:nvPr/>
          </p:nvSpPr>
          <p:spPr>
            <a:xfrm>
              <a:off x="-474900" y="321200"/>
              <a:ext cx="2324700" cy="23247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 name="Google Shape;29;p11"/>
            <p:cNvSpPr/>
            <p:nvPr/>
          </p:nvSpPr>
          <p:spPr>
            <a:xfrm>
              <a:off x="120725" y="916825"/>
              <a:ext cx="1133400" cy="11334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 name="Google Shape;30;p11"/>
            <p:cNvSpPr/>
            <p:nvPr/>
          </p:nvSpPr>
          <p:spPr>
            <a:xfrm>
              <a:off x="-137125" y="658975"/>
              <a:ext cx="1649100" cy="16491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1" name="Google Shape;31;p11"/>
            <p:cNvSpPr/>
            <p:nvPr/>
          </p:nvSpPr>
          <p:spPr>
            <a:xfrm>
              <a:off x="313650" y="1109750"/>
              <a:ext cx="747600" cy="7476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32" name="Google Shape;32;p11"/>
          <p:cNvSpPr/>
          <p:nvPr/>
        </p:nvSpPr>
        <p:spPr>
          <a:xfrm>
            <a:off x="8556000" y="4576450"/>
            <a:ext cx="435600" cy="435600"/>
          </a:xfrm>
          <a:prstGeom prst="ellipse">
            <a:avLst/>
          </a:prstGeom>
          <a:solidFill>
            <a:srgbClr val="00000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3" name="Google Shape;33;p11"/>
          <p:cNvSpPr txBox="1">
            <a:spLocks noGrp="1"/>
          </p:cNvSpPr>
          <p:nvPr>
            <p:ph type="title"/>
          </p:nvPr>
        </p:nvSpPr>
        <p:spPr>
          <a:xfrm>
            <a:off x="457200" y="1166125"/>
            <a:ext cx="5220300" cy="6831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3600"/>
              <a:buNone/>
              <a:defRPr/>
            </a:lvl1pPr>
            <a:lvl2pPr lvl="1" algn="l">
              <a:lnSpc>
                <a:spcPct val="100000"/>
              </a:lnSpc>
              <a:spcBef>
                <a:spcPts val="0"/>
              </a:spcBef>
              <a:spcAft>
                <a:spcPts val="0"/>
              </a:spcAft>
              <a:buSzPts val="3600"/>
              <a:buNone/>
              <a:defRPr/>
            </a:lvl2pPr>
            <a:lvl3pPr lvl="2" algn="l">
              <a:lnSpc>
                <a:spcPct val="100000"/>
              </a:lnSpc>
              <a:spcBef>
                <a:spcPts val="0"/>
              </a:spcBef>
              <a:spcAft>
                <a:spcPts val="0"/>
              </a:spcAft>
              <a:buSzPts val="3600"/>
              <a:buNone/>
              <a:defRPr/>
            </a:lvl3pPr>
            <a:lvl4pPr lvl="3" algn="l">
              <a:lnSpc>
                <a:spcPct val="100000"/>
              </a:lnSpc>
              <a:spcBef>
                <a:spcPts val="0"/>
              </a:spcBef>
              <a:spcAft>
                <a:spcPts val="0"/>
              </a:spcAft>
              <a:buSzPts val="3600"/>
              <a:buNone/>
              <a:defRPr/>
            </a:lvl4pPr>
            <a:lvl5pPr lvl="4" algn="l">
              <a:lnSpc>
                <a:spcPct val="100000"/>
              </a:lnSpc>
              <a:spcBef>
                <a:spcPts val="0"/>
              </a:spcBef>
              <a:spcAft>
                <a:spcPts val="0"/>
              </a:spcAft>
              <a:buSzPts val="3600"/>
              <a:buNone/>
              <a:defRPr/>
            </a:lvl5pPr>
            <a:lvl6pPr lvl="5" algn="l">
              <a:lnSpc>
                <a:spcPct val="100000"/>
              </a:lnSpc>
              <a:spcBef>
                <a:spcPts val="0"/>
              </a:spcBef>
              <a:spcAft>
                <a:spcPts val="0"/>
              </a:spcAft>
              <a:buSzPts val="3600"/>
              <a:buNone/>
              <a:defRPr/>
            </a:lvl6pPr>
            <a:lvl7pPr lvl="6" algn="l">
              <a:lnSpc>
                <a:spcPct val="100000"/>
              </a:lnSpc>
              <a:spcBef>
                <a:spcPts val="0"/>
              </a:spcBef>
              <a:spcAft>
                <a:spcPts val="0"/>
              </a:spcAft>
              <a:buSzPts val="3600"/>
              <a:buNone/>
              <a:defRPr/>
            </a:lvl7pPr>
            <a:lvl8pPr lvl="7" algn="l">
              <a:lnSpc>
                <a:spcPct val="100000"/>
              </a:lnSpc>
              <a:spcBef>
                <a:spcPts val="0"/>
              </a:spcBef>
              <a:spcAft>
                <a:spcPts val="0"/>
              </a:spcAft>
              <a:buSzPts val="3600"/>
              <a:buNone/>
              <a:defRPr/>
            </a:lvl8pPr>
            <a:lvl9pPr lvl="8" algn="l">
              <a:lnSpc>
                <a:spcPct val="100000"/>
              </a:lnSpc>
              <a:spcBef>
                <a:spcPts val="0"/>
              </a:spcBef>
              <a:spcAft>
                <a:spcPts val="0"/>
              </a:spcAft>
              <a:buSzPts val="3600"/>
              <a:buNone/>
              <a:defRPr/>
            </a:lvl9pPr>
          </a:lstStyle>
          <a:p>
            <a:endParaRPr/>
          </a:p>
        </p:txBody>
      </p:sp>
      <p:sp>
        <p:nvSpPr>
          <p:cNvPr id="34" name="Google Shape;34;p11"/>
          <p:cNvSpPr txBox="1">
            <a:spLocks noGrp="1"/>
          </p:cNvSpPr>
          <p:nvPr>
            <p:ph type="body" idx="1"/>
          </p:nvPr>
        </p:nvSpPr>
        <p:spPr>
          <a:xfrm>
            <a:off x="1069625" y="1958050"/>
            <a:ext cx="4608000" cy="2618400"/>
          </a:xfrm>
          <a:prstGeom prst="rect">
            <a:avLst/>
          </a:prstGeom>
          <a:noFill/>
          <a:ln>
            <a:noFill/>
          </a:ln>
        </p:spPr>
        <p:txBody>
          <a:bodyPr spcFirstLastPara="1" wrap="square" lIns="91425" tIns="91425" rIns="91425" bIns="91425" anchor="t" anchorCtr="0">
            <a:noAutofit/>
          </a:bodyPr>
          <a:lstStyle>
            <a:lvl1pPr marL="457200" lvl="0" indent="-330200" algn="l">
              <a:lnSpc>
                <a:spcPct val="100000"/>
              </a:lnSpc>
              <a:spcBef>
                <a:spcPts val="600"/>
              </a:spcBef>
              <a:spcAft>
                <a:spcPts val="0"/>
              </a:spcAft>
              <a:buSzPts val="1600"/>
              <a:buChar char="￮"/>
              <a:defRPr/>
            </a:lvl1pPr>
            <a:lvl2pPr marL="914400" lvl="1" indent="-330200" algn="l">
              <a:lnSpc>
                <a:spcPct val="100000"/>
              </a:lnSpc>
              <a:spcBef>
                <a:spcPts val="0"/>
              </a:spcBef>
              <a:spcAft>
                <a:spcPts val="0"/>
              </a:spcAft>
              <a:buSzPts val="1600"/>
              <a:buChar char="￮"/>
              <a:defRPr/>
            </a:lvl2pPr>
            <a:lvl3pPr marL="1371600" lvl="2" indent="-330200" algn="l">
              <a:lnSpc>
                <a:spcPct val="100000"/>
              </a:lnSpc>
              <a:spcBef>
                <a:spcPts val="0"/>
              </a:spcBef>
              <a:spcAft>
                <a:spcPts val="0"/>
              </a:spcAft>
              <a:buSzPts val="1600"/>
              <a:buChar char="￮"/>
              <a:defRPr/>
            </a:lvl3pPr>
            <a:lvl4pPr marL="1828800" lvl="3" indent="-330200" algn="l">
              <a:lnSpc>
                <a:spcPct val="100000"/>
              </a:lnSpc>
              <a:spcBef>
                <a:spcPts val="0"/>
              </a:spcBef>
              <a:spcAft>
                <a:spcPts val="0"/>
              </a:spcAft>
              <a:buSzPts val="1600"/>
              <a:buChar char="●"/>
              <a:defRPr/>
            </a:lvl4pPr>
            <a:lvl5pPr marL="2286000" lvl="4" indent="-330200" algn="l">
              <a:lnSpc>
                <a:spcPct val="100000"/>
              </a:lnSpc>
              <a:spcBef>
                <a:spcPts val="0"/>
              </a:spcBef>
              <a:spcAft>
                <a:spcPts val="0"/>
              </a:spcAft>
              <a:buSzPts val="1600"/>
              <a:buChar char="○"/>
              <a:defRPr/>
            </a:lvl5pPr>
            <a:lvl6pPr marL="2743200" lvl="5" indent="-330200" algn="l">
              <a:lnSpc>
                <a:spcPct val="100000"/>
              </a:lnSpc>
              <a:spcBef>
                <a:spcPts val="0"/>
              </a:spcBef>
              <a:spcAft>
                <a:spcPts val="0"/>
              </a:spcAft>
              <a:buSzPts val="1600"/>
              <a:buChar char="■"/>
              <a:defRPr/>
            </a:lvl6pPr>
            <a:lvl7pPr marL="3200400" lvl="6" indent="-330200" algn="l">
              <a:lnSpc>
                <a:spcPct val="100000"/>
              </a:lnSpc>
              <a:spcBef>
                <a:spcPts val="0"/>
              </a:spcBef>
              <a:spcAft>
                <a:spcPts val="0"/>
              </a:spcAft>
              <a:buSzPts val="1600"/>
              <a:buChar char="●"/>
              <a:defRPr/>
            </a:lvl7pPr>
            <a:lvl8pPr marL="3657600" lvl="7" indent="-330200" algn="l">
              <a:lnSpc>
                <a:spcPct val="100000"/>
              </a:lnSpc>
              <a:spcBef>
                <a:spcPts val="0"/>
              </a:spcBef>
              <a:spcAft>
                <a:spcPts val="0"/>
              </a:spcAft>
              <a:buSzPts val="1600"/>
              <a:buChar char="○"/>
              <a:defRPr/>
            </a:lvl8pPr>
            <a:lvl9pPr marL="4114800" lvl="8" indent="-330200" algn="l">
              <a:lnSpc>
                <a:spcPct val="100000"/>
              </a:lnSpc>
              <a:spcBef>
                <a:spcPts val="0"/>
              </a:spcBef>
              <a:spcAft>
                <a:spcPts val="0"/>
              </a:spcAft>
              <a:buSzPts val="1600"/>
              <a:buChar char="■"/>
              <a:defRPr/>
            </a:lvl9pPr>
          </a:lstStyle>
          <a:p>
            <a:endParaRPr/>
          </a:p>
        </p:txBody>
      </p:sp>
      <p:sp>
        <p:nvSpPr>
          <p:cNvPr id="35" name="Google Shape;35;p11"/>
          <p:cNvSpPr txBox="1">
            <a:spLocks noGrp="1"/>
          </p:cNvSpPr>
          <p:nvPr>
            <p:ph type="sldNum" idx="12"/>
          </p:nvPr>
        </p:nvSpPr>
        <p:spPr>
          <a:xfrm>
            <a:off x="8555875" y="4576450"/>
            <a:ext cx="435600" cy="435600"/>
          </a:xfrm>
          <a:prstGeom prst="rect">
            <a:avLst/>
          </a:prstGeom>
          <a:noFill/>
          <a:ln>
            <a:noFill/>
          </a:ln>
        </p:spPr>
        <p:txBody>
          <a:bodyPr spcFirstLastPara="1" wrap="square" lIns="91425" tIns="91425" rIns="91425" bIns="91425" anchor="ctr" anchorCtr="0">
            <a:noAutofit/>
          </a:bodyPr>
          <a:lstStyle>
            <a:lvl1pPr marL="0" marR="0" lvl="0"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1pPr>
            <a:lvl2pPr marL="0" marR="0" lvl="1"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2pPr>
            <a:lvl3pPr marL="0" marR="0" lvl="2"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3pPr>
            <a:lvl4pPr marL="0" marR="0" lvl="3"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4pPr>
            <a:lvl5pPr marL="0" marR="0" lvl="4"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5pPr>
            <a:lvl6pPr marL="0" marR="0" lvl="5"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6pPr>
            <a:lvl7pPr marL="0" marR="0" lvl="6"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7pPr>
            <a:lvl8pPr marL="0" marR="0" lvl="7"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8pPr>
            <a:lvl9pPr marL="0" marR="0" lvl="8"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9pPr>
          </a:lstStyle>
          <a:p>
            <a:pPr marL="0" lvl="0" indent="0" algn="ctr" rtl="0">
              <a:spcBef>
                <a:spcPts val="0"/>
              </a:spcBef>
              <a:spcAft>
                <a:spcPts val="0"/>
              </a:spcAft>
              <a:buNone/>
            </a:pPr>
            <a:fld id="{00000000-1234-1234-1234-123412341234}" type="slidenum">
              <a:rPr lang="en"/>
              <a:t>‹#›</a:t>
            </a:fld>
            <a:endParaRPr/>
          </a:p>
        </p:txBody>
      </p:sp>
      <p:sp>
        <p:nvSpPr>
          <p:cNvPr id="36" name="Google Shape;36;p11"/>
          <p:cNvSpPr/>
          <p:nvPr/>
        </p:nvSpPr>
        <p:spPr>
          <a:xfrm>
            <a:off x="6272900" y="955200"/>
            <a:ext cx="3233100" cy="3233100"/>
          </a:xfrm>
          <a:prstGeom prst="ellipse">
            <a:avLst/>
          </a:prstGeom>
          <a:solidFill>
            <a:srgbClr val="000000">
              <a:alpha val="5098"/>
            </a:srgb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167"/>
        <p:cNvGrpSpPr/>
        <p:nvPr/>
      </p:nvGrpSpPr>
      <p:grpSpPr>
        <a:xfrm>
          <a:off x="0" y="0"/>
          <a:ext cx="0" cy="0"/>
          <a:chOff x="0" y="0"/>
          <a:chExt cx="0" cy="0"/>
        </a:xfrm>
      </p:grpSpPr>
      <p:sp>
        <p:nvSpPr>
          <p:cNvPr id="168" name="Google Shape;168;p29"/>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9" name="Google Shape;169;p29"/>
          <p:cNvSpPr txBox="1">
            <a:spLocks noGrp="1"/>
          </p:cNvSpPr>
          <p:nvPr>
            <p:ph type="title"/>
          </p:nvPr>
        </p:nvSpPr>
        <p:spPr>
          <a:xfrm>
            <a:off x="265500" y="1233175"/>
            <a:ext cx="4045200" cy="1482300"/>
          </a:xfrm>
          <a:prstGeom prst="rect">
            <a:avLst/>
          </a:prstGeom>
          <a:noFill/>
          <a:ln>
            <a:noFill/>
          </a:ln>
        </p:spPr>
        <p:txBody>
          <a:bodyPr spcFirstLastPara="1" wrap="square" lIns="91425" tIns="91425" rIns="91425" bIns="91425" anchor="b" anchorCtr="0">
            <a:normAutofit/>
          </a:bodyPr>
          <a:lstStyle>
            <a:lvl1pPr lvl="0" algn="ctr">
              <a:lnSpc>
                <a:spcPct val="100000"/>
              </a:lnSpc>
              <a:spcBef>
                <a:spcPts val="0"/>
              </a:spcBef>
              <a:spcAft>
                <a:spcPts val="0"/>
              </a:spcAft>
              <a:buSzPts val="4200"/>
              <a:buNone/>
              <a:defRPr sz="4200"/>
            </a:lvl1pPr>
            <a:lvl2pPr lvl="1" algn="ctr">
              <a:lnSpc>
                <a:spcPct val="100000"/>
              </a:lnSpc>
              <a:spcBef>
                <a:spcPts val="0"/>
              </a:spcBef>
              <a:spcAft>
                <a:spcPts val="0"/>
              </a:spcAft>
              <a:buSzPts val="4200"/>
              <a:buNone/>
              <a:defRPr sz="4200"/>
            </a:lvl2pPr>
            <a:lvl3pPr lvl="2" algn="ctr">
              <a:lnSpc>
                <a:spcPct val="100000"/>
              </a:lnSpc>
              <a:spcBef>
                <a:spcPts val="0"/>
              </a:spcBef>
              <a:spcAft>
                <a:spcPts val="0"/>
              </a:spcAft>
              <a:buSzPts val="4200"/>
              <a:buNone/>
              <a:defRPr sz="4200"/>
            </a:lvl3pPr>
            <a:lvl4pPr lvl="3" algn="ctr">
              <a:lnSpc>
                <a:spcPct val="100000"/>
              </a:lnSpc>
              <a:spcBef>
                <a:spcPts val="0"/>
              </a:spcBef>
              <a:spcAft>
                <a:spcPts val="0"/>
              </a:spcAft>
              <a:buSzPts val="4200"/>
              <a:buNone/>
              <a:defRPr sz="4200"/>
            </a:lvl4pPr>
            <a:lvl5pPr lvl="4" algn="ctr">
              <a:lnSpc>
                <a:spcPct val="100000"/>
              </a:lnSpc>
              <a:spcBef>
                <a:spcPts val="0"/>
              </a:spcBef>
              <a:spcAft>
                <a:spcPts val="0"/>
              </a:spcAft>
              <a:buSzPts val="4200"/>
              <a:buNone/>
              <a:defRPr sz="4200"/>
            </a:lvl5pPr>
            <a:lvl6pPr lvl="5" algn="ctr">
              <a:lnSpc>
                <a:spcPct val="100000"/>
              </a:lnSpc>
              <a:spcBef>
                <a:spcPts val="0"/>
              </a:spcBef>
              <a:spcAft>
                <a:spcPts val="0"/>
              </a:spcAft>
              <a:buSzPts val="4200"/>
              <a:buNone/>
              <a:defRPr sz="4200"/>
            </a:lvl6pPr>
            <a:lvl7pPr lvl="6" algn="ctr">
              <a:lnSpc>
                <a:spcPct val="100000"/>
              </a:lnSpc>
              <a:spcBef>
                <a:spcPts val="0"/>
              </a:spcBef>
              <a:spcAft>
                <a:spcPts val="0"/>
              </a:spcAft>
              <a:buSzPts val="4200"/>
              <a:buNone/>
              <a:defRPr sz="4200"/>
            </a:lvl7pPr>
            <a:lvl8pPr lvl="7" algn="ctr">
              <a:lnSpc>
                <a:spcPct val="100000"/>
              </a:lnSpc>
              <a:spcBef>
                <a:spcPts val="0"/>
              </a:spcBef>
              <a:spcAft>
                <a:spcPts val="0"/>
              </a:spcAft>
              <a:buSzPts val="4200"/>
              <a:buNone/>
              <a:defRPr sz="4200"/>
            </a:lvl8pPr>
            <a:lvl9pPr lvl="8" algn="ctr">
              <a:lnSpc>
                <a:spcPct val="100000"/>
              </a:lnSpc>
              <a:spcBef>
                <a:spcPts val="0"/>
              </a:spcBef>
              <a:spcAft>
                <a:spcPts val="0"/>
              </a:spcAft>
              <a:buSzPts val="4200"/>
              <a:buNone/>
              <a:defRPr sz="4200"/>
            </a:lvl9pPr>
          </a:lstStyle>
          <a:p>
            <a:endParaRPr/>
          </a:p>
        </p:txBody>
      </p:sp>
      <p:sp>
        <p:nvSpPr>
          <p:cNvPr id="170" name="Google Shape;170;p29"/>
          <p:cNvSpPr txBox="1">
            <a:spLocks noGrp="1"/>
          </p:cNvSpPr>
          <p:nvPr>
            <p:ph type="subTitle" idx="1"/>
          </p:nvPr>
        </p:nvSpPr>
        <p:spPr>
          <a:xfrm>
            <a:off x="265500" y="2803075"/>
            <a:ext cx="4045200" cy="1235100"/>
          </a:xfrm>
          <a:prstGeom prst="rect">
            <a:avLst/>
          </a:prstGeom>
          <a:noFill/>
          <a:ln>
            <a:noFill/>
          </a:ln>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171" name="Google Shape;171;p29"/>
          <p:cNvSpPr txBox="1">
            <a:spLocks noGrp="1"/>
          </p:cNvSpPr>
          <p:nvPr>
            <p:ph type="body" idx="2"/>
          </p:nvPr>
        </p:nvSpPr>
        <p:spPr>
          <a:xfrm>
            <a:off x="4939500" y="724075"/>
            <a:ext cx="3837000" cy="3695100"/>
          </a:xfrm>
          <a:prstGeom prst="rect">
            <a:avLst/>
          </a:prstGeom>
          <a:noFill/>
          <a:ln>
            <a:noFill/>
          </a:ln>
        </p:spPr>
        <p:txBody>
          <a:bodyPr spcFirstLastPara="1" wrap="square" lIns="91425" tIns="91425" rIns="91425" bIns="91425" anchor="ctr" anchorCtr="0">
            <a:norm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0"/>
              </a:spcBef>
              <a:spcAft>
                <a:spcPts val="0"/>
              </a:spcAft>
              <a:buSzPts val="1400"/>
              <a:buChar char="○"/>
              <a:defRPr/>
            </a:lvl2pPr>
            <a:lvl3pPr marL="1371600" lvl="2" indent="-317500" algn="l">
              <a:lnSpc>
                <a:spcPct val="115000"/>
              </a:lnSpc>
              <a:spcBef>
                <a:spcPts val="0"/>
              </a:spcBef>
              <a:spcAft>
                <a:spcPts val="0"/>
              </a:spcAft>
              <a:buSzPts val="1400"/>
              <a:buChar char="■"/>
              <a:defRPr/>
            </a:lvl3pPr>
            <a:lvl4pPr marL="1828800" lvl="3" indent="-317500" algn="l">
              <a:lnSpc>
                <a:spcPct val="115000"/>
              </a:lnSpc>
              <a:spcBef>
                <a:spcPts val="0"/>
              </a:spcBef>
              <a:spcAft>
                <a:spcPts val="0"/>
              </a:spcAft>
              <a:buSzPts val="1400"/>
              <a:buChar char="●"/>
              <a:defRPr/>
            </a:lvl4pPr>
            <a:lvl5pPr marL="2286000" lvl="4" indent="-317500" algn="l">
              <a:lnSpc>
                <a:spcPct val="115000"/>
              </a:lnSpc>
              <a:spcBef>
                <a:spcPts val="0"/>
              </a:spcBef>
              <a:spcAft>
                <a:spcPts val="0"/>
              </a:spcAft>
              <a:buSzPts val="1400"/>
              <a:buChar char="○"/>
              <a:defRPr/>
            </a:lvl5pPr>
            <a:lvl6pPr marL="2743200" lvl="5" indent="-317500" algn="l">
              <a:lnSpc>
                <a:spcPct val="115000"/>
              </a:lnSpc>
              <a:spcBef>
                <a:spcPts val="0"/>
              </a:spcBef>
              <a:spcAft>
                <a:spcPts val="0"/>
              </a:spcAft>
              <a:buSzPts val="1400"/>
              <a:buChar char="■"/>
              <a:defRPr/>
            </a:lvl6pPr>
            <a:lvl7pPr marL="3200400" lvl="6" indent="-317500" algn="l">
              <a:lnSpc>
                <a:spcPct val="115000"/>
              </a:lnSpc>
              <a:spcBef>
                <a:spcPts val="0"/>
              </a:spcBef>
              <a:spcAft>
                <a:spcPts val="0"/>
              </a:spcAft>
              <a:buSzPts val="1400"/>
              <a:buChar char="●"/>
              <a:defRPr/>
            </a:lvl7pPr>
            <a:lvl8pPr marL="3657600" lvl="7" indent="-317500" algn="l">
              <a:lnSpc>
                <a:spcPct val="115000"/>
              </a:lnSpc>
              <a:spcBef>
                <a:spcPts val="0"/>
              </a:spcBef>
              <a:spcAft>
                <a:spcPts val="0"/>
              </a:spcAft>
              <a:buSzPts val="1400"/>
              <a:buChar char="○"/>
              <a:defRPr/>
            </a:lvl8pPr>
            <a:lvl9pPr marL="4114800" lvl="8" indent="-317500" algn="l">
              <a:lnSpc>
                <a:spcPct val="115000"/>
              </a:lnSpc>
              <a:spcBef>
                <a:spcPts val="0"/>
              </a:spcBef>
              <a:spcAft>
                <a:spcPts val="0"/>
              </a:spcAft>
              <a:buSzPts val="1400"/>
              <a:buChar char="■"/>
              <a:defRPr/>
            </a:lvl9pPr>
          </a:lstStyle>
          <a:p>
            <a:endParaRPr/>
          </a:p>
        </p:txBody>
      </p:sp>
      <p:sp>
        <p:nvSpPr>
          <p:cNvPr id="172" name="Google Shape;172;p29"/>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173"/>
        <p:cNvGrpSpPr/>
        <p:nvPr/>
      </p:nvGrpSpPr>
      <p:grpSpPr>
        <a:xfrm>
          <a:off x="0" y="0"/>
          <a:ext cx="0" cy="0"/>
          <a:chOff x="0" y="0"/>
          <a:chExt cx="0" cy="0"/>
        </a:xfrm>
      </p:grpSpPr>
      <p:sp>
        <p:nvSpPr>
          <p:cNvPr id="174" name="Google Shape;174;p30"/>
          <p:cNvSpPr txBox="1">
            <a:spLocks noGrp="1"/>
          </p:cNvSpPr>
          <p:nvPr>
            <p:ph type="body" idx="1"/>
          </p:nvPr>
        </p:nvSpPr>
        <p:spPr>
          <a:xfrm>
            <a:off x="311700" y="4230575"/>
            <a:ext cx="5998800" cy="605100"/>
          </a:xfrm>
          <a:prstGeom prst="rect">
            <a:avLst/>
          </a:prstGeom>
          <a:noFill/>
          <a:ln>
            <a:noFill/>
          </a:ln>
        </p:spPr>
        <p:txBody>
          <a:bodyPr spcFirstLastPara="1" wrap="square" lIns="91425" tIns="91425" rIns="91425" bIns="91425" anchor="ctr" anchorCtr="0">
            <a:normAutofit/>
          </a:bodyPr>
          <a:lstStyle>
            <a:lvl1pPr marL="457200" lvl="0" indent="-228600" algn="l">
              <a:lnSpc>
                <a:spcPct val="100000"/>
              </a:lnSpc>
              <a:spcBef>
                <a:spcPts val="0"/>
              </a:spcBef>
              <a:spcAft>
                <a:spcPts val="0"/>
              </a:spcAft>
              <a:buSzPts val="1800"/>
              <a:buNone/>
              <a:defRPr/>
            </a:lvl1pPr>
          </a:lstStyle>
          <a:p>
            <a:endParaRPr/>
          </a:p>
        </p:txBody>
      </p:sp>
      <p:sp>
        <p:nvSpPr>
          <p:cNvPr id="175" name="Google Shape;175;p30"/>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176"/>
        <p:cNvGrpSpPr/>
        <p:nvPr/>
      </p:nvGrpSpPr>
      <p:grpSpPr>
        <a:xfrm>
          <a:off x="0" y="0"/>
          <a:ext cx="0" cy="0"/>
          <a:chOff x="0" y="0"/>
          <a:chExt cx="0" cy="0"/>
        </a:xfrm>
      </p:grpSpPr>
      <p:sp>
        <p:nvSpPr>
          <p:cNvPr id="177" name="Google Shape;177;p31"/>
          <p:cNvSpPr txBox="1">
            <a:spLocks noGrp="1"/>
          </p:cNvSpPr>
          <p:nvPr>
            <p:ph type="title" hasCustomPrompt="1"/>
          </p:nvPr>
        </p:nvSpPr>
        <p:spPr>
          <a:xfrm>
            <a:off x="311700" y="1106125"/>
            <a:ext cx="8520600" cy="1963500"/>
          </a:xfrm>
          <a:prstGeom prst="rect">
            <a:avLst/>
          </a:prstGeom>
          <a:noFill/>
          <a:ln>
            <a:noFill/>
          </a:ln>
        </p:spPr>
        <p:txBody>
          <a:bodyPr spcFirstLastPara="1" wrap="square" lIns="91425" tIns="91425" rIns="91425" bIns="91425" anchor="b" anchorCtr="0">
            <a:normAutofit/>
          </a:bodyPr>
          <a:lstStyle>
            <a:lvl1pPr lvl="0" algn="ctr">
              <a:lnSpc>
                <a:spcPct val="100000"/>
              </a:lnSpc>
              <a:spcBef>
                <a:spcPts val="0"/>
              </a:spcBef>
              <a:spcAft>
                <a:spcPts val="0"/>
              </a:spcAft>
              <a:buSzPts val="12000"/>
              <a:buNone/>
              <a:defRPr sz="12000"/>
            </a:lvl1pPr>
            <a:lvl2pPr lvl="1" algn="ctr">
              <a:lnSpc>
                <a:spcPct val="100000"/>
              </a:lnSpc>
              <a:spcBef>
                <a:spcPts val="0"/>
              </a:spcBef>
              <a:spcAft>
                <a:spcPts val="0"/>
              </a:spcAft>
              <a:buSzPts val="12000"/>
              <a:buNone/>
              <a:defRPr sz="12000"/>
            </a:lvl2pPr>
            <a:lvl3pPr lvl="2" algn="ctr">
              <a:lnSpc>
                <a:spcPct val="100000"/>
              </a:lnSpc>
              <a:spcBef>
                <a:spcPts val="0"/>
              </a:spcBef>
              <a:spcAft>
                <a:spcPts val="0"/>
              </a:spcAft>
              <a:buSzPts val="12000"/>
              <a:buNone/>
              <a:defRPr sz="12000"/>
            </a:lvl3pPr>
            <a:lvl4pPr lvl="3" algn="ctr">
              <a:lnSpc>
                <a:spcPct val="100000"/>
              </a:lnSpc>
              <a:spcBef>
                <a:spcPts val="0"/>
              </a:spcBef>
              <a:spcAft>
                <a:spcPts val="0"/>
              </a:spcAft>
              <a:buSzPts val="12000"/>
              <a:buNone/>
              <a:defRPr sz="12000"/>
            </a:lvl4pPr>
            <a:lvl5pPr lvl="4" algn="ctr">
              <a:lnSpc>
                <a:spcPct val="100000"/>
              </a:lnSpc>
              <a:spcBef>
                <a:spcPts val="0"/>
              </a:spcBef>
              <a:spcAft>
                <a:spcPts val="0"/>
              </a:spcAft>
              <a:buSzPts val="12000"/>
              <a:buNone/>
              <a:defRPr sz="12000"/>
            </a:lvl5pPr>
            <a:lvl6pPr lvl="5" algn="ctr">
              <a:lnSpc>
                <a:spcPct val="100000"/>
              </a:lnSpc>
              <a:spcBef>
                <a:spcPts val="0"/>
              </a:spcBef>
              <a:spcAft>
                <a:spcPts val="0"/>
              </a:spcAft>
              <a:buSzPts val="12000"/>
              <a:buNone/>
              <a:defRPr sz="12000"/>
            </a:lvl6pPr>
            <a:lvl7pPr lvl="6" algn="ctr">
              <a:lnSpc>
                <a:spcPct val="100000"/>
              </a:lnSpc>
              <a:spcBef>
                <a:spcPts val="0"/>
              </a:spcBef>
              <a:spcAft>
                <a:spcPts val="0"/>
              </a:spcAft>
              <a:buSzPts val="12000"/>
              <a:buNone/>
              <a:defRPr sz="12000"/>
            </a:lvl7pPr>
            <a:lvl8pPr lvl="7" algn="ctr">
              <a:lnSpc>
                <a:spcPct val="100000"/>
              </a:lnSpc>
              <a:spcBef>
                <a:spcPts val="0"/>
              </a:spcBef>
              <a:spcAft>
                <a:spcPts val="0"/>
              </a:spcAft>
              <a:buSzPts val="12000"/>
              <a:buNone/>
              <a:defRPr sz="12000"/>
            </a:lvl8pPr>
            <a:lvl9pPr lvl="8" algn="ctr">
              <a:lnSpc>
                <a:spcPct val="100000"/>
              </a:lnSpc>
              <a:spcBef>
                <a:spcPts val="0"/>
              </a:spcBef>
              <a:spcAft>
                <a:spcPts val="0"/>
              </a:spcAft>
              <a:buSzPts val="12000"/>
              <a:buNone/>
              <a:defRPr sz="12000"/>
            </a:lvl9pPr>
          </a:lstStyle>
          <a:p>
            <a:r>
              <a:t>xx%</a:t>
            </a:r>
          </a:p>
        </p:txBody>
      </p:sp>
      <p:sp>
        <p:nvSpPr>
          <p:cNvPr id="178" name="Google Shape;178;p31"/>
          <p:cNvSpPr txBox="1">
            <a:spLocks noGrp="1"/>
          </p:cNvSpPr>
          <p:nvPr>
            <p:ph type="body" idx="1"/>
          </p:nvPr>
        </p:nvSpPr>
        <p:spPr>
          <a:xfrm>
            <a:off x="311700" y="3152225"/>
            <a:ext cx="8520600" cy="1300800"/>
          </a:xfrm>
          <a:prstGeom prst="rect">
            <a:avLst/>
          </a:prstGeom>
          <a:noFill/>
          <a:ln>
            <a:noFill/>
          </a:ln>
        </p:spPr>
        <p:txBody>
          <a:bodyPr spcFirstLastPara="1" wrap="square" lIns="91425" tIns="91425" rIns="91425" bIns="91425" anchor="t" anchorCtr="0">
            <a:normAutofit/>
          </a:bodyPr>
          <a:lstStyle>
            <a:lvl1pPr marL="457200" lvl="0" indent="-342900" algn="ctr">
              <a:lnSpc>
                <a:spcPct val="115000"/>
              </a:lnSpc>
              <a:spcBef>
                <a:spcPts val="0"/>
              </a:spcBef>
              <a:spcAft>
                <a:spcPts val="0"/>
              </a:spcAft>
              <a:buSzPts val="1800"/>
              <a:buChar char="●"/>
              <a:defRPr/>
            </a:lvl1pPr>
            <a:lvl2pPr marL="914400" lvl="1" indent="-317500" algn="ctr">
              <a:lnSpc>
                <a:spcPct val="115000"/>
              </a:lnSpc>
              <a:spcBef>
                <a:spcPts val="0"/>
              </a:spcBef>
              <a:spcAft>
                <a:spcPts val="0"/>
              </a:spcAft>
              <a:buSzPts val="1400"/>
              <a:buChar char="○"/>
              <a:defRPr/>
            </a:lvl2pPr>
            <a:lvl3pPr marL="1371600" lvl="2" indent="-317500" algn="ctr">
              <a:lnSpc>
                <a:spcPct val="115000"/>
              </a:lnSpc>
              <a:spcBef>
                <a:spcPts val="0"/>
              </a:spcBef>
              <a:spcAft>
                <a:spcPts val="0"/>
              </a:spcAft>
              <a:buSzPts val="1400"/>
              <a:buChar char="■"/>
              <a:defRPr/>
            </a:lvl3pPr>
            <a:lvl4pPr marL="1828800" lvl="3" indent="-317500" algn="ctr">
              <a:lnSpc>
                <a:spcPct val="115000"/>
              </a:lnSpc>
              <a:spcBef>
                <a:spcPts val="0"/>
              </a:spcBef>
              <a:spcAft>
                <a:spcPts val="0"/>
              </a:spcAft>
              <a:buSzPts val="1400"/>
              <a:buChar char="●"/>
              <a:defRPr/>
            </a:lvl4pPr>
            <a:lvl5pPr marL="2286000" lvl="4" indent="-317500" algn="ctr">
              <a:lnSpc>
                <a:spcPct val="115000"/>
              </a:lnSpc>
              <a:spcBef>
                <a:spcPts val="0"/>
              </a:spcBef>
              <a:spcAft>
                <a:spcPts val="0"/>
              </a:spcAft>
              <a:buSzPts val="1400"/>
              <a:buChar char="○"/>
              <a:defRPr/>
            </a:lvl5pPr>
            <a:lvl6pPr marL="2743200" lvl="5" indent="-317500" algn="ctr">
              <a:lnSpc>
                <a:spcPct val="115000"/>
              </a:lnSpc>
              <a:spcBef>
                <a:spcPts val="0"/>
              </a:spcBef>
              <a:spcAft>
                <a:spcPts val="0"/>
              </a:spcAft>
              <a:buSzPts val="1400"/>
              <a:buChar char="■"/>
              <a:defRPr/>
            </a:lvl6pPr>
            <a:lvl7pPr marL="3200400" lvl="6" indent="-317500" algn="ctr">
              <a:lnSpc>
                <a:spcPct val="115000"/>
              </a:lnSpc>
              <a:spcBef>
                <a:spcPts val="0"/>
              </a:spcBef>
              <a:spcAft>
                <a:spcPts val="0"/>
              </a:spcAft>
              <a:buSzPts val="1400"/>
              <a:buChar char="●"/>
              <a:defRPr/>
            </a:lvl7pPr>
            <a:lvl8pPr marL="3657600" lvl="7" indent="-317500" algn="ctr">
              <a:lnSpc>
                <a:spcPct val="115000"/>
              </a:lnSpc>
              <a:spcBef>
                <a:spcPts val="0"/>
              </a:spcBef>
              <a:spcAft>
                <a:spcPts val="0"/>
              </a:spcAft>
              <a:buSzPts val="1400"/>
              <a:buChar char="○"/>
              <a:defRPr/>
            </a:lvl8pPr>
            <a:lvl9pPr marL="4114800" lvl="8" indent="-317500" algn="ctr">
              <a:lnSpc>
                <a:spcPct val="115000"/>
              </a:lnSpc>
              <a:spcBef>
                <a:spcPts val="0"/>
              </a:spcBef>
              <a:spcAft>
                <a:spcPts val="0"/>
              </a:spcAft>
              <a:buSzPts val="1400"/>
              <a:buChar char="■"/>
              <a:defRPr/>
            </a:lvl9pPr>
          </a:lstStyle>
          <a:p>
            <a:endParaRPr/>
          </a:p>
        </p:txBody>
      </p:sp>
      <p:sp>
        <p:nvSpPr>
          <p:cNvPr id="179" name="Google Shape;179;p3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80"/>
        <p:cNvGrpSpPr/>
        <p:nvPr/>
      </p:nvGrpSpPr>
      <p:grpSpPr>
        <a:xfrm>
          <a:off x="0" y="0"/>
          <a:ext cx="0" cy="0"/>
          <a:chOff x="0" y="0"/>
          <a:chExt cx="0" cy="0"/>
        </a:xfrm>
      </p:grpSpPr>
      <p:sp>
        <p:nvSpPr>
          <p:cNvPr id="181" name="Google Shape;181;p32"/>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0113" y="573881"/>
            <a:ext cx="8388000" cy="726962"/>
          </a:xfrm>
        </p:spPr>
        <p:txBody>
          <a:bodyPr>
            <a:normAutofit/>
          </a:bodyPr>
          <a:lstStyle>
            <a:lvl1pPr marL="0" indent="0">
              <a:buNone/>
              <a:defRPr sz="2250" b="0">
                <a:solidFill>
                  <a:srgbClr val="575757"/>
                </a:solidFill>
              </a:defRPr>
            </a:lvl1pPr>
          </a:lstStyle>
          <a:p>
            <a:pPr lvl="0"/>
            <a:r>
              <a:rPr lang="en-US"/>
              <a:t>Click to edit Master text styles</a:t>
            </a:r>
          </a:p>
        </p:txBody>
      </p:sp>
      <p:sp>
        <p:nvSpPr>
          <p:cNvPr id="14" name="Title Placeholder 1"/>
          <p:cNvSpPr>
            <a:spLocks noGrp="1"/>
          </p:cNvSpPr>
          <p:nvPr>
            <p:ph type="title"/>
          </p:nvPr>
        </p:nvSpPr>
        <p:spPr>
          <a:xfrm>
            <a:off x="370113" y="221762"/>
            <a:ext cx="8388000" cy="352119"/>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20" name="Text Placeholder 19"/>
          <p:cNvSpPr>
            <a:spLocks noGrp="1"/>
          </p:cNvSpPr>
          <p:nvPr>
            <p:ph type="body" sz="quarter" idx="14"/>
          </p:nvPr>
        </p:nvSpPr>
        <p:spPr>
          <a:xfrm>
            <a:off x="370800" y="1358100"/>
            <a:ext cx="8388000" cy="340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7"/>
          <p:cNvSpPr>
            <a:spLocks noGrp="1"/>
          </p:cNvSpPr>
          <p:nvPr>
            <p:ph type="sldNum" sz="quarter" idx="4"/>
          </p:nvPr>
        </p:nvSpPr>
        <p:spPr>
          <a:xfrm>
            <a:off x="7971996" y="4805876"/>
            <a:ext cx="792088" cy="189000"/>
          </a:xfrm>
          <a:prstGeom prst="rect">
            <a:avLst/>
          </a:prstGeom>
        </p:spPr>
        <p:txBody>
          <a:bodyPr vert="horz" lIns="0" tIns="0" rIns="0" bIns="0" rtlCol="0" anchor="ctr" anchorCtr="0"/>
          <a:lstStyle>
            <a:lvl1pPr algn="r">
              <a:defRPr sz="6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143629764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371672" y="1230595"/>
            <a:ext cx="5343336" cy="1876940"/>
          </a:xfrm>
        </p:spPr>
        <p:txBody>
          <a:bodyPr>
            <a:noAutofit/>
          </a:bodyPr>
          <a:lstStyle>
            <a:lvl1pPr>
              <a:defRPr sz="2850">
                <a:solidFill>
                  <a:schemeClr val="accent1"/>
                </a:solidFill>
              </a:defRPr>
            </a:lvl1pPr>
          </a:lstStyle>
          <a:p>
            <a:r>
              <a:rPr lang="en-US" dirty="0"/>
              <a:t>Click to edit Master title style</a:t>
            </a:r>
            <a:endParaRPr lang="en-GB" dirty="0"/>
          </a:p>
        </p:txBody>
      </p:sp>
      <p:sp>
        <p:nvSpPr>
          <p:cNvPr id="3" name="Subtitle 2"/>
          <p:cNvSpPr>
            <a:spLocks noGrp="1"/>
          </p:cNvSpPr>
          <p:nvPr>
            <p:ph type="subTitle" idx="1"/>
          </p:nvPr>
        </p:nvSpPr>
        <p:spPr>
          <a:xfrm>
            <a:off x="371672" y="3325091"/>
            <a:ext cx="5342880" cy="800436"/>
          </a:xfrm>
        </p:spPr>
        <p:txBody>
          <a:bodyPr>
            <a:normAutofit/>
          </a:bodyPr>
          <a:lstStyle>
            <a:lvl1pPr marL="0" indent="0" algn="l">
              <a:lnSpc>
                <a:spcPct val="120000"/>
              </a:lnSpc>
              <a:spcBef>
                <a:spcPts val="0"/>
              </a:spcBef>
              <a:spcAft>
                <a:spcPts val="0"/>
              </a:spcAft>
              <a:buNone/>
              <a:defRPr sz="1050" b="0">
                <a:solidFill>
                  <a:srgbClr val="575757"/>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GB" dirty="0"/>
          </a:p>
        </p:txBody>
      </p:sp>
      <p:sp>
        <p:nvSpPr>
          <p:cNvPr id="14" name="Slide Number Placeholder 7"/>
          <p:cNvSpPr>
            <a:spLocks noGrp="1"/>
          </p:cNvSpPr>
          <p:nvPr>
            <p:ph type="sldNum" sz="quarter" idx="4"/>
          </p:nvPr>
        </p:nvSpPr>
        <p:spPr>
          <a:xfrm>
            <a:off x="7971996" y="4805876"/>
            <a:ext cx="792088" cy="189000"/>
          </a:xfrm>
          <a:prstGeom prst="rect">
            <a:avLst/>
          </a:prstGeom>
        </p:spPr>
        <p:txBody>
          <a:bodyPr vert="horz" lIns="0" tIns="0" rIns="0" bIns="0" rtlCol="0" anchor="ctr" anchorCtr="0"/>
          <a:lstStyle>
            <a:lvl1pPr algn="r">
              <a:defRPr sz="600" b="0">
                <a:solidFill>
                  <a:srgbClr val="8C8C8C"/>
                </a:solidFill>
              </a:defRPr>
            </a:lvl1pPr>
          </a:lstStyle>
          <a:p>
            <a:fld id="{95CC1D26-A9BD-4BDE-BDD9-08EDBAE96860}" type="slidenum">
              <a:rPr lang="en-GB" smtClean="0"/>
              <a:pPr/>
              <a:t>‹#›</a:t>
            </a:fld>
            <a:endParaRPr lang="en-GB" dirty="0"/>
          </a:p>
        </p:txBody>
      </p:sp>
      <p:pic>
        <p:nvPicPr>
          <p:cNvPr id="9" name="Picture 8" descr="DEL_PRI_RGB.gif"/>
          <p:cNvPicPr>
            <a:picLocks noChangeAspect="1"/>
          </p:cNvPicPr>
          <p:nvPr userDrawn="1"/>
        </p:nvPicPr>
        <p:blipFill>
          <a:blip r:embed="rId2" cstate="print"/>
          <a:stretch>
            <a:fillRect/>
          </a:stretch>
        </p:blipFill>
        <p:spPr>
          <a:xfrm>
            <a:off x="352879" y="299683"/>
            <a:ext cx="1720800" cy="241898"/>
          </a:xfrm>
          <a:prstGeom prst="rect">
            <a:avLst/>
          </a:prstGeom>
        </p:spPr>
      </p:pic>
    </p:spTree>
    <p:extLst>
      <p:ext uri="{BB962C8B-B14F-4D97-AF65-F5344CB8AC3E}">
        <p14:creationId xmlns:p14="http://schemas.microsoft.com/office/powerpoint/2010/main" val="283826665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2">
    <p:spTree>
      <p:nvGrpSpPr>
        <p:cNvPr id="1" name=""/>
        <p:cNvGrpSpPr/>
        <p:nvPr/>
      </p:nvGrpSpPr>
      <p:grpSpPr>
        <a:xfrm>
          <a:off x="0" y="0"/>
          <a:ext cx="0" cy="0"/>
          <a:chOff x="0" y="0"/>
          <a:chExt cx="0" cy="0"/>
        </a:xfrm>
      </p:grpSpPr>
      <p:sp>
        <p:nvSpPr>
          <p:cNvPr id="10" name="Rectangle 9"/>
          <p:cNvSpPr/>
          <p:nvPr userDrawn="1"/>
        </p:nvSpPr>
        <p:spPr>
          <a:xfrm>
            <a:off x="0" y="0"/>
            <a:ext cx="3096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p>
        </p:txBody>
      </p:sp>
      <p:sp>
        <p:nvSpPr>
          <p:cNvPr id="2" name="Title 1"/>
          <p:cNvSpPr>
            <a:spLocks noGrp="1"/>
          </p:cNvSpPr>
          <p:nvPr>
            <p:ph type="ctrTitle"/>
          </p:nvPr>
        </p:nvSpPr>
        <p:spPr>
          <a:xfrm>
            <a:off x="375615" y="1264176"/>
            <a:ext cx="2772000" cy="2004095"/>
          </a:xfrm>
        </p:spPr>
        <p:txBody>
          <a:bodyPr/>
          <a:lstStyle>
            <a:lvl1pPr>
              <a:defRPr>
                <a:solidFill>
                  <a:schemeClr val="accent1"/>
                </a:solidFill>
              </a:defRPr>
            </a:lvl1pPr>
          </a:lstStyle>
          <a:p>
            <a:r>
              <a:rPr lang="en-US"/>
              <a:t>Click to edit Master title style</a:t>
            </a:r>
            <a:endParaRPr lang="en-GB" dirty="0"/>
          </a:p>
        </p:txBody>
      </p:sp>
      <p:sp>
        <p:nvSpPr>
          <p:cNvPr id="3" name="Subtitle 2"/>
          <p:cNvSpPr>
            <a:spLocks noGrp="1"/>
          </p:cNvSpPr>
          <p:nvPr>
            <p:ph type="subTitle" idx="1"/>
          </p:nvPr>
        </p:nvSpPr>
        <p:spPr>
          <a:xfrm>
            <a:off x="375615" y="3268270"/>
            <a:ext cx="2772000" cy="786416"/>
          </a:xfrm>
        </p:spPr>
        <p:txBody>
          <a:bodyPr>
            <a:normAutofit/>
          </a:bodyPr>
          <a:lstStyle>
            <a:lvl1pPr marL="0" indent="0" algn="l">
              <a:lnSpc>
                <a:spcPct val="120000"/>
              </a:lnSpc>
              <a:spcBef>
                <a:spcPts val="0"/>
              </a:spcBef>
              <a:buNone/>
              <a:defRPr sz="1050" b="0">
                <a:solidFill>
                  <a:srgbClr val="575757"/>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GB" dirty="0"/>
          </a:p>
        </p:txBody>
      </p:sp>
      <p:sp>
        <p:nvSpPr>
          <p:cNvPr id="14" name="Slide Number Placeholder 7"/>
          <p:cNvSpPr>
            <a:spLocks noGrp="1"/>
          </p:cNvSpPr>
          <p:nvPr>
            <p:ph type="sldNum" sz="quarter" idx="4"/>
          </p:nvPr>
        </p:nvSpPr>
        <p:spPr>
          <a:xfrm>
            <a:off x="7971996" y="4805876"/>
            <a:ext cx="792088" cy="189000"/>
          </a:xfrm>
          <a:prstGeom prst="rect">
            <a:avLst/>
          </a:prstGeom>
        </p:spPr>
        <p:txBody>
          <a:bodyPr vert="horz" lIns="0" tIns="0" rIns="0" bIns="0" rtlCol="0" anchor="ctr" anchorCtr="0"/>
          <a:lstStyle>
            <a:lvl1pPr algn="r">
              <a:defRPr sz="600" b="0">
                <a:solidFill>
                  <a:srgbClr val="8C8C8C"/>
                </a:solidFill>
              </a:defRPr>
            </a:lvl1pPr>
          </a:lstStyle>
          <a:p>
            <a:fld id="{95CC1D26-A9BD-4BDE-BDD9-08EDBAE96860}" type="slidenum">
              <a:rPr lang="en-GB" smtClean="0"/>
              <a:pPr/>
              <a:t>‹#›</a:t>
            </a:fld>
            <a:endParaRPr lang="en-GB" dirty="0"/>
          </a:p>
        </p:txBody>
      </p:sp>
      <p:pic>
        <p:nvPicPr>
          <p:cNvPr id="8" name="Picture 7" descr="DEL_PRI_RGB.gif"/>
          <p:cNvPicPr>
            <a:picLocks noChangeAspect="1"/>
          </p:cNvPicPr>
          <p:nvPr userDrawn="1"/>
        </p:nvPicPr>
        <p:blipFill>
          <a:blip r:embed="rId2" cstate="print"/>
          <a:stretch>
            <a:fillRect/>
          </a:stretch>
        </p:blipFill>
        <p:spPr>
          <a:xfrm>
            <a:off x="352879" y="299683"/>
            <a:ext cx="1720800" cy="241898"/>
          </a:xfrm>
          <a:prstGeom prst="rect">
            <a:avLst/>
          </a:prstGeom>
        </p:spPr>
      </p:pic>
    </p:spTree>
    <p:extLst>
      <p:ext uri="{BB962C8B-B14F-4D97-AF65-F5344CB8AC3E}">
        <p14:creationId xmlns:p14="http://schemas.microsoft.com/office/powerpoint/2010/main" val="348303150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3">
    <p:spTree>
      <p:nvGrpSpPr>
        <p:cNvPr id="1" name=""/>
        <p:cNvGrpSpPr/>
        <p:nvPr/>
      </p:nvGrpSpPr>
      <p:grpSpPr>
        <a:xfrm>
          <a:off x="0" y="0"/>
          <a:ext cx="0" cy="0"/>
          <a:chOff x="0" y="0"/>
          <a:chExt cx="0" cy="0"/>
        </a:xfrm>
      </p:grpSpPr>
      <p:sp>
        <p:nvSpPr>
          <p:cNvPr id="10" name="Rectangle 9"/>
          <p:cNvSpPr/>
          <p:nvPr userDrawn="1"/>
        </p:nvSpPr>
        <p:spPr>
          <a:xfrm>
            <a:off x="345622" y="0"/>
            <a:ext cx="5440825" cy="235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p>
        </p:txBody>
      </p:sp>
      <p:sp>
        <p:nvSpPr>
          <p:cNvPr id="2" name="Title 1"/>
          <p:cNvSpPr>
            <a:spLocks noGrp="1"/>
          </p:cNvSpPr>
          <p:nvPr>
            <p:ph type="ctrTitle"/>
          </p:nvPr>
        </p:nvSpPr>
        <p:spPr>
          <a:xfrm>
            <a:off x="621838" y="819988"/>
            <a:ext cx="4878856" cy="1162399"/>
          </a:xfrm>
        </p:spPr>
        <p:txBody>
          <a:bodyPr/>
          <a:lstStyle>
            <a:lvl1pPr>
              <a:defRPr>
                <a:solidFill>
                  <a:schemeClr val="accent1"/>
                </a:solidFill>
              </a:defRPr>
            </a:lvl1pPr>
          </a:lstStyle>
          <a:p>
            <a:r>
              <a:rPr lang="en-US"/>
              <a:t>Click to edit Master title style</a:t>
            </a:r>
            <a:endParaRPr lang="en-GB" dirty="0"/>
          </a:p>
        </p:txBody>
      </p:sp>
      <p:sp>
        <p:nvSpPr>
          <p:cNvPr id="3" name="Subtitle 2"/>
          <p:cNvSpPr>
            <a:spLocks noGrp="1"/>
          </p:cNvSpPr>
          <p:nvPr>
            <p:ph type="subTitle" idx="1"/>
          </p:nvPr>
        </p:nvSpPr>
        <p:spPr>
          <a:xfrm>
            <a:off x="621838" y="2001094"/>
            <a:ext cx="4878856" cy="291140"/>
          </a:xfrm>
        </p:spPr>
        <p:txBody>
          <a:bodyPr>
            <a:normAutofit/>
          </a:bodyPr>
          <a:lstStyle>
            <a:lvl1pPr marL="0" indent="0" algn="l">
              <a:spcBef>
                <a:spcPts val="0"/>
              </a:spcBef>
              <a:buNone/>
              <a:defRPr sz="1200" b="0">
                <a:solidFill>
                  <a:srgbClr val="575757"/>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GB" dirty="0"/>
          </a:p>
        </p:txBody>
      </p:sp>
      <p:pic>
        <p:nvPicPr>
          <p:cNvPr id="8" name="Picture 7" descr="DEL_PRI_RGB.gif"/>
          <p:cNvPicPr>
            <a:picLocks noChangeAspect="1"/>
          </p:cNvPicPr>
          <p:nvPr userDrawn="1"/>
        </p:nvPicPr>
        <p:blipFill>
          <a:blip r:embed="rId2" cstate="print"/>
          <a:stretch>
            <a:fillRect/>
          </a:stretch>
        </p:blipFill>
        <p:spPr>
          <a:xfrm>
            <a:off x="579698" y="213392"/>
            <a:ext cx="1720800" cy="241898"/>
          </a:xfrm>
          <a:prstGeom prst="rect">
            <a:avLst/>
          </a:prstGeom>
        </p:spPr>
      </p:pic>
      <p:sp>
        <p:nvSpPr>
          <p:cNvPr id="14" name="Slide Number Placeholder 7"/>
          <p:cNvSpPr>
            <a:spLocks noGrp="1"/>
          </p:cNvSpPr>
          <p:nvPr>
            <p:ph type="sldNum" sz="quarter" idx="4"/>
          </p:nvPr>
        </p:nvSpPr>
        <p:spPr>
          <a:xfrm>
            <a:off x="7971996" y="4805876"/>
            <a:ext cx="792088" cy="189000"/>
          </a:xfrm>
          <a:prstGeom prst="rect">
            <a:avLst/>
          </a:prstGeom>
        </p:spPr>
        <p:txBody>
          <a:bodyPr vert="horz" lIns="0" tIns="0" rIns="0" bIns="0" rtlCol="0" anchor="ctr" anchorCtr="0"/>
          <a:lstStyle>
            <a:lvl1pPr algn="r">
              <a:defRPr sz="600"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370114" y="4805876"/>
            <a:ext cx="7559473" cy="189000"/>
          </a:xfrm>
          <a:prstGeom prst="rect">
            <a:avLst/>
          </a:prstGeom>
        </p:spPr>
        <p:txBody>
          <a:bodyPr vert="horz" lIns="0" tIns="0" rIns="0" bIns="0" rtlCol="0" anchor="ctr" anchorCtr="0"/>
          <a:lstStyle>
            <a:lvl1pPr algn="l">
              <a:defRPr sz="600" b="0">
                <a:solidFill>
                  <a:srgbClr val="8C8C8C"/>
                </a:solidFill>
              </a:defRPr>
            </a:lvl1pPr>
          </a:lstStyle>
          <a:p>
            <a:endParaRPr lang="en-GB" dirty="0"/>
          </a:p>
        </p:txBody>
      </p:sp>
    </p:spTree>
    <p:extLst>
      <p:ext uri="{BB962C8B-B14F-4D97-AF65-F5344CB8AC3E}">
        <p14:creationId xmlns:p14="http://schemas.microsoft.com/office/powerpoint/2010/main" val="243457164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0113" y="573881"/>
            <a:ext cx="8388000" cy="726962"/>
          </a:xfrm>
        </p:spPr>
        <p:txBody>
          <a:bodyPr>
            <a:normAutofit/>
          </a:bodyPr>
          <a:lstStyle>
            <a:lvl1pPr marL="0" indent="0">
              <a:buNone/>
              <a:defRPr sz="2250" b="0">
                <a:solidFill>
                  <a:srgbClr val="575757"/>
                </a:solidFill>
              </a:defRPr>
            </a:lvl1pPr>
          </a:lstStyle>
          <a:p>
            <a:pPr lvl="0"/>
            <a:r>
              <a:rPr lang="en-US"/>
              <a:t>Click to edit Master text styles</a:t>
            </a:r>
          </a:p>
        </p:txBody>
      </p:sp>
      <p:sp>
        <p:nvSpPr>
          <p:cNvPr id="14" name="Title Placeholder 1"/>
          <p:cNvSpPr>
            <a:spLocks noGrp="1"/>
          </p:cNvSpPr>
          <p:nvPr>
            <p:ph type="title"/>
          </p:nvPr>
        </p:nvSpPr>
        <p:spPr>
          <a:xfrm>
            <a:off x="370113" y="221762"/>
            <a:ext cx="8388000" cy="352119"/>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20" name="Text Placeholder 19"/>
          <p:cNvSpPr>
            <a:spLocks noGrp="1"/>
          </p:cNvSpPr>
          <p:nvPr>
            <p:ph type="body" sz="quarter" idx="14"/>
          </p:nvPr>
        </p:nvSpPr>
        <p:spPr>
          <a:xfrm>
            <a:off x="370800" y="1358100"/>
            <a:ext cx="8388000" cy="340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370114" y="4805876"/>
            <a:ext cx="7559473" cy="189000"/>
          </a:xfrm>
          <a:prstGeom prst="rect">
            <a:avLst/>
          </a:prstGeom>
        </p:spPr>
        <p:txBody>
          <a:bodyPr vert="horz" lIns="0" tIns="0" rIns="0" bIns="0" rtlCol="0" anchor="ctr" anchorCtr="0"/>
          <a:lstStyle>
            <a:lvl1pPr algn="l">
              <a:defRPr sz="600" b="0">
                <a:solidFill>
                  <a:srgbClr val="8C8C8C"/>
                </a:solidFill>
              </a:defRPr>
            </a:lvl1pPr>
          </a:lstStyle>
          <a:p>
            <a:endParaRPr lang="en-GB" dirty="0"/>
          </a:p>
        </p:txBody>
      </p:sp>
      <p:sp>
        <p:nvSpPr>
          <p:cNvPr id="6" name="Slide Number Placeholder 7"/>
          <p:cNvSpPr>
            <a:spLocks noGrp="1"/>
          </p:cNvSpPr>
          <p:nvPr>
            <p:ph type="sldNum" sz="quarter" idx="4"/>
          </p:nvPr>
        </p:nvSpPr>
        <p:spPr>
          <a:xfrm>
            <a:off x="7971996" y="4805876"/>
            <a:ext cx="792088" cy="189000"/>
          </a:xfrm>
          <a:prstGeom prst="rect">
            <a:avLst/>
          </a:prstGeom>
        </p:spPr>
        <p:txBody>
          <a:bodyPr vert="horz" lIns="0" tIns="0" rIns="0" bIns="0" rtlCol="0" anchor="ctr" anchorCtr="0"/>
          <a:lstStyle>
            <a:lvl1pPr algn="r">
              <a:defRPr sz="6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107826787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21762"/>
            <a:ext cx="8388000" cy="742633"/>
          </a:xfrm>
          <a:prstGeom prst="rect">
            <a:avLst/>
          </a:prstGeom>
        </p:spPr>
        <p:txBody>
          <a:bodyPr vert="horz" lIns="0" tIns="0" rIns="0" bIns="0" rtlCol="0" anchor="t" anchorCtr="0">
            <a:noAutofit/>
          </a:bodyPr>
          <a:lstStyle/>
          <a:p>
            <a:r>
              <a:rPr lang="en-US"/>
              <a:t>Click to edit Master title style</a:t>
            </a:r>
            <a:endParaRPr lang="en-GB" dirty="0"/>
          </a:p>
        </p:txBody>
      </p:sp>
      <p:sp>
        <p:nvSpPr>
          <p:cNvPr id="20" name="Text Placeholder 19"/>
          <p:cNvSpPr>
            <a:spLocks noGrp="1"/>
          </p:cNvSpPr>
          <p:nvPr>
            <p:ph type="body" sz="quarter" idx="14"/>
          </p:nvPr>
        </p:nvSpPr>
        <p:spPr>
          <a:xfrm>
            <a:off x="370800" y="1017900"/>
            <a:ext cx="8388000" cy="3750569"/>
          </a:xfrm>
        </p:spPr>
        <p:txBody>
          <a:bodyPr/>
          <a:lstStyle>
            <a:lvl1pPr marL="0" indent="0" algn="l">
              <a:buNone/>
              <a:defRPr/>
            </a:lvl1pPr>
            <a:lvl2pPr marL="203597" indent="-203597">
              <a:buFont typeface="Arial"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370114" y="4805876"/>
            <a:ext cx="7559473" cy="189000"/>
          </a:xfrm>
          <a:prstGeom prst="rect">
            <a:avLst/>
          </a:prstGeom>
        </p:spPr>
        <p:txBody>
          <a:bodyPr vert="horz" lIns="0" tIns="0" rIns="0" bIns="0" rtlCol="0" anchor="ctr" anchorCtr="0"/>
          <a:lstStyle>
            <a:lvl1pPr algn="l">
              <a:defRPr sz="600" b="0">
                <a:solidFill>
                  <a:srgbClr val="8C8C8C"/>
                </a:solidFill>
              </a:defRPr>
            </a:lvl1pPr>
          </a:lstStyle>
          <a:p>
            <a:endParaRPr lang="en-GB" dirty="0"/>
          </a:p>
        </p:txBody>
      </p:sp>
      <p:sp>
        <p:nvSpPr>
          <p:cNvPr id="6" name="Slide Number Placeholder 7"/>
          <p:cNvSpPr>
            <a:spLocks noGrp="1"/>
          </p:cNvSpPr>
          <p:nvPr>
            <p:ph type="sldNum" sz="quarter" idx="4"/>
          </p:nvPr>
        </p:nvSpPr>
        <p:spPr>
          <a:xfrm>
            <a:off x="7971996" y="4805876"/>
            <a:ext cx="792088" cy="189000"/>
          </a:xfrm>
          <a:prstGeom prst="rect">
            <a:avLst/>
          </a:prstGeom>
        </p:spPr>
        <p:txBody>
          <a:bodyPr vert="horz" lIns="0" tIns="0" rIns="0" bIns="0" rtlCol="0" anchor="ctr" anchorCtr="0"/>
          <a:lstStyle>
            <a:lvl1pPr algn="r">
              <a:defRPr sz="6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27394684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type="title">
  <p:cSld name="TITLE">
    <p:bg>
      <p:bgPr>
        <a:blipFill>
          <a:blip r:embed="rId2">
            <a:alphaModFix/>
          </a:blip>
          <a:stretch>
            <a:fillRect/>
          </a:stretch>
        </a:blipFill>
        <a:effectLst/>
      </p:bgPr>
    </p:bg>
    <p:spTree>
      <p:nvGrpSpPr>
        <p:cNvPr id="1" name="Shape 37"/>
        <p:cNvGrpSpPr/>
        <p:nvPr/>
      </p:nvGrpSpPr>
      <p:grpSpPr>
        <a:xfrm>
          <a:off x="0" y="0"/>
          <a:ext cx="0" cy="0"/>
          <a:chOff x="0" y="0"/>
          <a:chExt cx="0" cy="0"/>
        </a:xfrm>
      </p:grpSpPr>
      <p:sp>
        <p:nvSpPr>
          <p:cNvPr id="38" name="Google Shape;38;p12"/>
          <p:cNvSpPr/>
          <p:nvPr/>
        </p:nvSpPr>
        <p:spPr>
          <a:xfrm>
            <a:off x="1592400" y="-407850"/>
            <a:ext cx="5959200" cy="5959200"/>
          </a:xfrm>
          <a:prstGeom prst="ellipse">
            <a:avLst/>
          </a:prstGeom>
          <a:solidFill>
            <a:srgbClr val="000000">
              <a:alpha val="25098"/>
            </a:srgb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nvGrpSpPr>
          <p:cNvPr id="39" name="Google Shape;39;p12"/>
          <p:cNvGrpSpPr/>
          <p:nvPr/>
        </p:nvGrpSpPr>
        <p:grpSpPr>
          <a:xfrm>
            <a:off x="501210" y="175873"/>
            <a:ext cx="2451351" cy="2451351"/>
            <a:chOff x="6680825" y="2549350"/>
            <a:chExt cx="1539600" cy="1539600"/>
          </a:xfrm>
        </p:grpSpPr>
        <p:sp>
          <p:nvSpPr>
            <p:cNvPr id="40" name="Google Shape;40;p12"/>
            <p:cNvSpPr/>
            <p:nvPr/>
          </p:nvSpPr>
          <p:spPr>
            <a:xfrm>
              <a:off x="6825669" y="2694194"/>
              <a:ext cx="1249800" cy="1249800"/>
            </a:xfrm>
            <a:prstGeom prst="ellipse">
              <a:avLst/>
            </a:prstGeom>
            <a:solidFill>
              <a:srgbClr val="000000">
                <a:alpha val="17647"/>
              </a:srgb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1" name="Google Shape;41;p12"/>
            <p:cNvSpPr/>
            <p:nvPr/>
          </p:nvSpPr>
          <p:spPr>
            <a:xfrm>
              <a:off x="6894850" y="2763375"/>
              <a:ext cx="1111200" cy="1111200"/>
            </a:xfrm>
            <a:prstGeom prst="ellipse">
              <a:avLst/>
            </a:prstGeom>
            <a:solidFill>
              <a:srgbClr val="00000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2" name="Google Shape;42;p12"/>
            <p:cNvSpPr/>
            <p:nvPr/>
          </p:nvSpPr>
          <p:spPr>
            <a:xfrm>
              <a:off x="6680825" y="2549350"/>
              <a:ext cx="1539600" cy="1539600"/>
            </a:xfrm>
            <a:prstGeom prst="donut">
              <a:avLst>
                <a:gd name="adj" fmla="val 495"/>
              </a:avLst>
            </a:prstGeom>
            <a:solidFill>
              <a:srgbClr val="000000">
                <a:alpha val="5098"/>
              </a:srgb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43" name="Google Shape;43;p12"/>
          <p:cNvGrpSpPr/>
          <p:nvPr/>
        </p:nvGrpSpPr>
        <p:grpSpPr>
          <a:xfrm>
            <a:off x="6427669" y="2502633"/>
            <a:ext cx="2324700" cy="2324700"/>
            <a:chOff x="-474900" y="321200"/>
            <a:chExt cx="2324700" cy="2324700"/>
          </a:xfrm>
        </p:grpSpPr>
        <p:sp>
          <p:nvSpPr>
            <p:cNvPr id="44" name="Google Shape;44;p12"/>
            <p:cNvSpPr/>
            <p:nvPr/>
          </p:nvSpPr>
          <p:spPr>
            <a:xfrm>
              <a:off x="-474900" y="321200"/>
              <a:ext cx="2324700" cy="2324700"/>
            </a:xfrm>
            <a:prstGeom prst="ellipse">
              <a:avLst/>
            </a:prstGeom>
            <a:no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5" name="Google Shape;45;p12"/>
            <p:cNvSpPr/>
            <p:nvPr/>
          </p:nvSpPr>
          <p:spPr>
            <a:xfrm>
              <a:off x="120725" y="916825"/>
              <a:ext cx="1133400" cy="1133400"/>
            </a:xfrm>
            <a:prstGeom prst="ellipse">
              <a:avLst/>
            </a:prstGeom>
            <a:no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6" name="Google Shape;46;p12"/>
            <p:cNvSpPr/>
            <p:nvPr/>
          </p:nvSpPr>
          <p:spPr>
            <a:xfrm>
              <a:off x="-137125" y="658975"/>
              <a:ext cx="1649100" cy="1649100"/>
            </a:xfrm>
            <a:prstGeom prst="ellipse">
              <a:avLst/>
            </a:prstGeom>
            <a:no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7" name="Google Shape;47;p12"/>
            <p:cNvSpPr/>
            <p:nvPr/>
          </p:nvSpPr>
          <p:spPr>
            <a:xfrm>
              <a:off x="313650" y="1109750"/>
              <a:ext cx="747600" cy="747600"/>
            </a:xfrm>
            <a:prstGeom prst="ellipse">
              <a:avLst/>
            </a:prstGeom>
            <a:no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48" name="Google Shape;48;p12"/>
          <p:cNvSpPr txBox="1">
            <a:spLocks noGrp="1"/>
          </p:cNvSpPr>
          <p:nvPr>
            <p:ph type="ctrTitle"/>
          </p:nvPr>
        </p:nvSpPr>
        <p:spPr>
          <a:xfrm>
            <a:off x="2211600" y="1991850"/>
            <a:ext cx="4720800" cy="1159800"/>
          </a:xfrm>
          <a:prstGeom prst="rect">
            <a:avLst/>
          </a:prstGeom>
          <a:noFill/>
          <a:ln>
            <a:noFill/>
          </a:ln>
          <a:effectLst>
            <a:outerShdw blurRad="85725" dist="19050" dir="5400000" algn="bl" rotWithShape="0">
              <a:srgbClr val="000000">
                <a:alpha val="8627"/>
              </a:srgbClr>
            </a:outerShdw>
          </a:effectLst>
        </p:spPr>
        <p:txBody>
          <a:bodyPr spcFirstLastPara="1" wrap="square" lIns="91425" tIns="91425" rIns="91425" bIns="91425" anchor="ctr" anchorCtr="0">
            <a:noAutofit/>
          </a:bodyPr>
          <a:lstStyle>
            <a:lvl1pPr lvl="0" algn="ctr">
              <a:lnSpc>
                <a:spcPct val="100000"/>
              </a:lnSpc>
              <a:spcBef>
                <a:spcPts val="0"/>
              </a:spcBef>
              <a:spcAft>
                <a:spcPts val="0"/>
              </a:spcAft>
              <a:buClr>
                <a:srgbClr val="FFFFFF"/>
              </a:buClr>
              <a:buSzPts val="5200"/>
              <a:buNone/>
              <a:defRPr sz="5200">
                <a:solidFill>
                  <a:srgbClr val="FFFFFF"/>
                </a:solidFill>
              </a:defRPr>
            </a:lvl1pPr>
            <a:lvl2pPr lvl="1" algn="ctr">
              <a:lnSpc>
                <a:spcPct val="100000"/>
              </a:lnSpc>
              <a:spcBef>
                <a:spcPts val="0"/>
              </a:spcBef>
              <a:spcAft>
                <a:spcPts val="0"/>
              </a:spcAft>
              <a:buClr>
                <a:srgbClr val="FFFFFF"/>
              </a:buClr>
              <a:buSzPts val="5200"/>
              <a:buNone/>
              <a:defRPr sz="5200">
                <a:solidFill>
                  <a:srgbClr val="FFFFFF"/>
                </a:solidFill>
              </a:defRPr>
            </a:lvl2pPr>
            <a:lvl3pPr lvl="2" algn="ctr">
              <a:lnSpc>
                <a:spcPct val="100000"/>
              </a:lnSpc>
              <a:spcBef>
                <a:spcPts val="0"/>
              </a:spcBef>
              <a:spcAft>
                <a:spcPts val="0"/>
              </a:spcAft>
              <a:buClr>
                <a:srgbClr val="FFFFFF"/>
              </a:buClr>
              <a:buSzPts val="5200"/>
              <a:buNone/>
              <a:defRPr sz="5200">
                <a:solidFill>
                  <a:srgbClr val="FFFFFF"/>
                </a:solidFill>
              </a:defRPr>
            </a:lvl3pPr>
            <a:lvl4pPr lvl="3" algn="ctr">
              <a:lnSpc>
                <a:spcPct val="100000"/>
              </a:lnSpc>
              <a:spcBef>
                <a:spcPts val="0"/>
              </a:spcBef>
              <a:spcAft>
                <a:spcPts val="0"/>
              </a:spcAft>
              <a:buClr>
                <a:srgbClr val="FFFFFF"/>
              </a:buClr>
              <a:buSzPts val="5200"/>
              <a:buNone/>
              <a:defRPr sz="5200">
                <a:solidFill>
                  <a:srgbClr val="FFFFFF"/>
                </a:solidFill>
              </a:defRPr>
            </a:lvl4pPr>
            <a:lvl5pPr lvl="4" algn="ctr">
              <a:lnSpc>
                <a:spcPct val="100000"/>
              </a:lnSpc>
              <a:spcBef>
                <a:spcPts val="0"/>
              </a:spcBef>
              <a:spcAft>
                <a:spcPts val="0"/>
              </a:spcAft>
              <a:buClr>
                <a:srgbClr val="FFFFFF"/>
              </a:buClr>
              <a:buSzPts val="5200"/>
              <a:buNone/>
              <a:defRPr sz="5200">
                <a:solidFill>
                  <a:srgbClr val="FFFFFF"/>
                </a:solidFill>
              </a:defRPr>
            </a:lvl5pPr>
            <a:lvl6pPr lvl="5" algn="ctr">
              <a:lnSpc>
                <a:spcPct val="100000"/>
              </a:lnSpc>
              <a:spcBef>
                <a:spcPts val="0"/>
              </a:spcBef>
              <a:spcAft>
                <a:spcPts val="0"/>
              </a:spcAft>
              <a:buClr>
                <a:srgbClr val="FFFFFF"/>
              </a:buClr>
              <a:buSzPts val="5200"/>
              <a:buNone/>
              <a:defRPr sz="5200">
                <a:solidFill>
                  <a:srgbClr val="FFFFFF"/>
                </a:solidFill>
              </a:defRPr>
            </a:lvl6pPr>
            <a:lvl7pPr lvl="6" algn="ctr">
              <a:lnSpc>
                <a:spcPct val="100000"/>
              </a:lnSpc>
              <a:spcBef>
                <a:spcPts val="0"/>
              </a:spcBef>
              <a:spcAft>
                <a:spcPts val="0"/>
              </a:spcAft>
              <a:buClr>
                <a:srgbClr val="FFFFFF"/>
              </a:buClr>
              <a:buSzPts val="5200"/>
              <a:buNone/>
              <a:defRPr sz="5200">
                <a:solidFill>
                  <a:srgbClr val="FFFFFF"/>
                </a:solidFill>
              </a:defRPr>
            </a:lvl7pPr>
            <a:lvl8pPr lvl="7" algn="ctr">
              <a:lnSpc>
                <a:spcPct val="100000"/>
              </a:lnSpc>
              <a:spcBef>
                <a:spcPts val="0"/>
              </a:spcBef>
              <a:spcAft>
                <a:spcPts val="0"/>
              </a:spcAft>
              <a:buClr>
                <a:srgbClr val="FFFFFF"/>
              </a:buClr>
              <a:buSzPts val="5200"/>
              <a:buNone/>
              <a:defRPr sz="5200">
                <a:solidFill>
                  <a:srgbClr val="FFFFFF"/>
                </a:solidFill>
              </a:defRPr>
            </a:lvl8pPr>
            <a:lvl9pPr lvl="8" algn="ctr">
              <a:lnSpc>
                <a:spcPct val="100000"/>
              </a:lnSpc>
              <a:spcBef>
                <a:spcPts val="0"/>
              </a:spcBef>
              <a:spcAft>
                <a:spcPts val="0"/>
              </a:spcAft>
              <a:buClr>
                <a:srgbClr val="FFFFFF"/>
              </a:buClr>
              <a:buSzPts val="5200"/>
              <a:buNone/>
              <a:defRPr sz="5200">
                <a:solidFill>
                  <a:srgbClr val="FFFFFF"/>
                </a:solidFill>
              </a:defRPr>
            </a:lvl9pPr>
          </a:lstStyle>
          <a:p>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21762"/>
            <a:ext cx="8388000" cy="352119"/>
          </a:xfrm>
          <a:prstGeom prst="rect">
            <a:avLst/>
          </a:prstGeom>
        </p:spPr>
        <p:txBody>
          <a:bodyPr vert="horz" lIns="0" tIns="0" rIns="0" bIns="0" rtlCol="0" anchor="t" anchorCtr="0">
            <a:noAutofit/>
          </a:bodyPr>
          <a:lstStyle/>
          <a:p>
            <a:r>
              <a:rPr lang="en-US"/>
              <a:t>Click to edit Master title style</a:t>
            </a:r>
            <a:endParaRPr lang="en-GB" dirty="0"/>
          </a:p>
        </p:txBody>
      </p:sp>
      <p:sp>
        <p:nvSpPr>
          <p:cNvPr id="9" name="Text Placeholder 8"/>
          <p:cNvSpPr>
            <a:spLocks noGrp="1"/>
          </p:cNvSpPr>
          <p:nvPr>
            <p:ph type="body" sz="quarter" idx="13"/>
          </p:nvPr>
        </p:nvSpPr>
        <p:spPr>
          <a:xfrm>
            <a:off x="370113" y="573881"/>
            <a:ext cx="8388000" cy="726962"/>
          </a:xfrm>
        </p:spPr>
        <p:txBody>
          <a:bodyPr>
            <a:normAutofit/>
          </a:bodyPr>
          <a:lstStyle>
            <a:lvl1pPr marL="0" indent="0">
              <a:buNone/>
              <a:defRPr sz="2250" b="0">
                <a:solidFill>
                  <a:srgbClr val="575757"/>
                </a:solidFill>
              </a:defRPr>
            </a:lvl1pPr>
          </a:lstStyle>
          <a:p>
            <a:pPr lvl="0"/>
            <a:r>
              <a:rPr lang="en-US"/>
              <a:t>Click to edit Master text styles</a:t>
            </a:r>
          </a:p>
        </p:txBody>
      </p:sp>
      <p:sp>
        <p:nvSpPr>
          <p:cNvPr id="20" name="Text Placeholder 19"/>
          <p:cNvSpPr>
            <a:spLocks noGrp="1"/>
          </p:cNvSpPr>
          <p:nvPr>
            <p:ph type="body" sz="quarter" idx="14"/>
          </p:nvPr>
        </p:nvSpPr>
        <p:spPr>
          <a:xfrm>
            <a:off x="370800" y="1358100"/>
            <a:ext cx="4140000" cy="340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370114" y="4805876"/>
            <a:ext cx="7559473" cy="189000"/>
          </a:xfrm>
          <a:prstGeom prst="rect">
            <a:avLst/>
          </a:prstGeom>
        </p:spPr>
        <p:txBody>
          <a:bodyPr vert="horz" lIns="0" tIns="0" rIns="0" bIns="0" rtlCol="0" anchor="ctr" anchorCtr="0"/>
          <a:lstStyle>
            <a:lvl1pPr algn="l">
              <a:defRPr sz="600" b="0">
                <a:solidFill>
                  <a:srgbClr val="8C8C8C"/>
                </a:solidFill>
              </a:defRPr>
            </a:lvl1pPr>
          </a:lstStyle>
          <a:p>
            <a:endParaRPr lang="en-GB" dirty="0"/>
          </a:p>
        </p:txBody>
      </p:sp>
      <p:sp>
        <p:nvSpPr>
          <p:cNvPr id="6" name="Slide Number Placeholder 7"/>
          <p:cNvSpPr>
            <a:spLocks noGrp="1"/>
          </p:cNvSpPr>
          <p:nvPr>
            <p:ph type="sldNum" sz="quarter" idx="4"/>
          </p:nvPr>
        </p:nvSpPr>
        <p:spPr>
          <a:xfrm>
            <a:off x="7971996" y="4805876"/>
            <a:ext cx="792088" cy="189000"/>
          </a:xfrm>
          <a:prstGeom prst="rect">
            <a:avLst/>
          </a:prstGeom>
        </p:spPr>
        <p:txBody>
          <a:bodyPr vert="horz" lIns="0" tIns="0" rIns="0" bIns="0" rtlCol="0" anchor="ctr" anchorCtr="0"/>
          <a:lstStyle>
            <a:lvl1pPr algn="r">
              <a:defRPr sz="600" b="0">
                <a:solidFill>
                  <a:srgbClr val="8C8C8C"/>
                </a:solidFill>
              </a:defRPr>
            </a:lvl1pPr>
          </a:lstStyle>
          <a:p>
            <a:fld id="{95CC1D26-A9BD-4BDE-BDD9-08EDBAE96860}" type="slidenum">
              <a:rPr lang="en-GB" smtClean="0"/>
              <a:pPr/>
              <a:t>‹#›</a:t>
            </a:fld>
            <a:endParaRPr lang="en-GB" dirty="0"/>
          </a:p>
        </p:txBody>
      </p:sp>
      <p:sp>
        <p:nvSpPr>
          <p:cNvPr id="8" name="Chart Placeholder 7"/>
          <p:cNvSpPr>
            <a:spLocks noGrp="1"/>
          </p:cNvSpPr>
          <p:nvPr>
            <p:ph type="chart" sz="quarter" idx="15"/>
          </p:nvPr>
        </p:nvSpPr>
        <p:spPr>
          <a:xfrm>
            <a:off x="4643437" y="1358100"/>
            <a:ext cx="4140000" cy="3402000"/>
          </a:xfrm>
        </p:spPr>
        <p:txBody>
          <a:bodyPr/>
          <a:lstStyle/>
          <a:p>
            <a:r>
              <a:rPr lang="en-US"/>
              <a:t>Click icon to add chart</a:t>
            </a:r>
            <a:endParaRPr lang="en-GB" dirty="0"/>
          </a:p>
        </p:txBody>
      </p:sp>
    </p:spTree>
    <p:extLst>
      <p:ext uri="{BB962C8B-B14F-4D97-AF65-F5344CB8AC3E}">
        <p14:creationId xmlns:p14="http://schemas.microsoft.com/office/powerpoint/2010/main" val="163364850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1"/>
            </a:lvl1pPr>
            <a:lvl2pPr marL="203597" indent="-203597">
              <a:buFont typeface="Arial" pitchFamily="34" charset="0"/>
              <a:buChar char="•"/>
              <a:tabLst/>
              <a:defRPr/>
            </a:lvl2pPr>
            <a:lvl3pPr marL="205979" indent="-205979">
              <a:buFont typeface="Arial" pitchFamily="34" charset="0"/>
              <a:buChar char="•"/>
              <a:defRPr i="1"/>
            </a:lvl3pPr>
            <a:lvl4pPr marL="401241" indent="-197644">
              <a:buFont typeface="Arial" pitchFamily="34" charset="0"/>
              <a:buChar char="−"/>
              <a:defRPr i="0"/>
            </a:lvl4pPr>
            <a:lvl5pPr marL="604838" indent="-20359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itle Placeholder 1"/>
          <p:cNvSpPr>
            <a:spLocks noGrp="1"/>
          </p:cNvSpPr>
          <p:nvPr>
            <p:ph type="title"/>
          </p:nvPr>
        </p:nvSpPr>
        <p:spPr>
          <a:xfrm>
            <a:off x="370113" y="221762"/>
            <a:ext cx="8388000" cy="352119"/>
          </a:xfrm>
          <a:prstGeom prst="rect">
            <a:avLst/>
          </a:prstGeom>
        </p:spPr>
        <p:txBody>
          <a:bodyPr vert="horz" lIns="0" tIns="0" rIns="0" bIns="0" rtlCol="0" anchor="t" anchorCtr="0">
            <a:noAutofit/>
          </a:bodyPr>
          <a:lstStyle/>
          <a:p>
            <a:r>
              <a:rPr lang="en-US"/>
              <a:t>Click to edit Master title style</a:t>
            </a:r>
            <a:endParaRPr lang="en-GB" dirty="0"/>
          </a:p>
        </p:txBody>
      </p:sp>
      <p:sp>
        <p:nvSpPr>
          <p:cNvPr id="17" name="Text Placeholder 8"/>
          <p:cNvSpPr>
            <a:spLocks noGrp="1"/>
          </p:cNvSpPr>
          <p:nvPr>
            <p:ph type="body" sz="quarter" idx="13"/>
          </p:nvPr>
        </p:nvSpPr>
        <p:spPr>
          <a:xfrm>
            <a:off x="370113" y="573881"/>
            <a:ext cx="8388000" cy="726962"/>
          </a:xfrm>
        </p:spPr>
        <p:txBody>
          <a:bodyPr>
            <a:normAutofit/>
          </a:bodyPr>
          <a:lstStyle>
            <a:lvl1pPr marL="0" indent="0">
              <a:buNone/>
              <a:defRPr sz="2250" b="0">
                <a:solidFill>
                  <a:srgbClr val="575757"/>
                </a:solidFill>
              </a:defRPr>
            </a:lvl1pPr>
          </a:lstStyle>
          <a:p>
            <a:pPr lvl="0"/>
            <a:r>
              <a:rPr lang="en-US"/>
              <a:t>Click to edit Master text styles</a:t>
            </a:r>
          </a:p>
        </p:txBody>
      </p:sp>
      <p:sp>
        <p:nvSpPr>
          <p:cNvPr id="19" name="Slide Number Placeholder 7"/>
          <p:cNvSpPr>
            <a:spLocks noGrp="1"/>
          </p:cNvSpPr>
          <p:nvPr>
            <p:ph type="sldNum" sz="quarter" idx="4"/>
          </p:nvPr>
        </p:nvSpPr>
        <p:spPr>
          <a:xfrm>
            <a:off x="7971996" y="4805876"/>
            <a:ext cx="792088" cy="189000"/>
          </a:xfrm>
          <a:prstGeom prst="rect">
            <a:avLst/>
          </a:prstGeom>
        </p:spPr>
        <p:txBody>
          <a:bodyPr vert="horz" lIns="0" tIns="0" rIns="0" bIns="0" rtlCol="0" anchor="ctr" anchorCtr="0"/>
          <a:lstStyle>
            <a:lvl1pPr algn="r">
              <a:defRPr sz="6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4" y="4805876"/>
            <a:ext cx="7559473" cy="189000"/>
          </a:xfrm>
          <a:prstGeom prst="rect">
            <a:avLst/>
          </a:prstGeom>
        </p:spPr>
        <p:txBody>
          <a:bodyPr vert="horz" lIns="0" tIns="0" rIns="0" bIns="0" rtlCol="0" anchor="ctr" anchorCtr="0"/>
          <a:lstStyle>
            <a:lvl1pPr algn="l">
              <a:defRPr sz="600" b="0">
                <a:solidFill>
                  <a:srgbClr val="8C8C8C"/>
                </a:solidFill>
              </a:defRPr>
            </a:lvl1pPr>
          </a:lstStyle>
          <a:p>
            <a:endParaRPr lang="en-GB" dirty="0"/>
          </a:p>
        </p:txBody>
      </p:sp>
    </p:spTree>
    <p:extLst>
      <p:ext uri="{BB962C8B-B14F-4D97-AF65-F5344CB8AC3E}">
        <p14:creationId xmlns:p14="http://schemas.microsoft.com/office/powerpoint/2010/main" val="313232071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for Background Image">
    <p:spTree>
      <p:nvGrpSpPr>
        <p:cNvPr id="1" name=""/>
        <p:cNvGrpSpPr/>
        <p:nvPr/>
      </p:nvGrpSpPr>
      <p:grpSpPr>
        <a:xfrm>
          <a:off x="0" y="0"/>
          <a:ext cx="0" cy="0"/>
          <a:chOff x="0" y="0"/>
          <a:chExt cx="0" cy="0"/>
        </a:xfrm>
      </p:grpSpPr>
      <p:sp>
        <p:nvSpPr>
          <p:cNvPr id="8" name="Rectangle 7"/>
          <p:cNvSpPr/>
          <p:nvPr userDrawn="1"/>
        </p:nvSpPr>
        <p:spPr>
          <a:xfrm>
            <a:off x="0" y="0"/>
            <a:ext cx="4572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p>
        </p:txBody>
      </p:sp>
      <p:sp>
        <p:nvSpPr>
          <p:cNvPr id="3" name="Content Placeholder 2"/>
          <p:cNvSpPr>
            <a:spLocks noGrp="1"/>
          </p:cNvSpPr>
          <p:nvPr>
            <p:ph idx="1"/>
          </p:nvPr>
        </p:nvSpPr>
        <p:spPr>
          <a:xfrm>
            <a:off x="370114" y="1356826"/>
            <a:ext cx="4059011" cy="3402378"/>
          </a:xfrm>
        </p:spPr>
        <p:txBody>
          <a:bodyPr/>
          <a:lstStyle>
            <a:lvl1pPr marL="0" indent="0">
              <a:buNone/>
              <a:defRPr b="0"/>
            </a:lvl1pPr>
            <a:lvl2pPr marL="200025" indent="-200025">
              <a:buFont typeface="Arial" pitchFamily="34" charset="0"/>
              <a:buChar char="•"/>
              <a:tabLst/>
              <a:defRPr/>
            </a:lvl2pPr>
            <a:lvl3pPr marL="335756" indent="-135731">
              <a:buFont typeface="Calibri"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itle Placeholder 1"/>
          <p:cNvSpPr>
            <a:spLocks noGrp="1"/>
          </p:cNvSpPr>
          <p:nvPr>
            <p:ph type="title"/>
          </p:nvPr>
        </p:nvSpPr>
        <p:spPr>
          <a:xfrm>
            <a:off x="370114" y="221762"/>
            <a:ext cx="4059011" cy="352119"/>
          </a:xfrm>
          <a:prstGeom prst="rect">
            <a:avLst/>
          </a:prstGeom>
        </p:spPr>
        <p:txBody>
          <a:bodyPr vert="horz" lIns="0" tIns="0" rIns="0" bIns="0" rtlCol="0" anchor="t" anchorCtr="0">
            <a:noAutofit/>
          </a:bodyPr>
          <a:lstStyle/>
          <a:p>
            <a:r>
              <a:rPr lang="en-US"/>
              <a:t>Click to edit Master title style</a:t>
            </a:r>
            <a:endParaRPr lang="en-GB" dirty="0"/>
          </a:p>
        </p:txBody>
      </p:sp>
      <p:sp>
        <p:nvSpPr>
          <p:cNvPr id="17" name="Text Placeholder 8"/>
          <p:cNvSpPr>
            <a:spLocks noGrp="1"/>
          </p:cNvSpPr>
          <p:nvPr>
            <p:ph type="body" sz="quarter" idx="13"/>
          </p:nvPr>
        </p:nvSpPr>
        <p:spPr>
          <a:xfrm>
            <a:off x="370114" y="573881"/>
            <a:ext cx="4059011" cy="726962"/>
          </a:xfrm>
        </p:spPr>
        <p:txBody>
          <a:bodyPr>
            <a:normAutofit/>
          </a:bodyPr>
          <a:lstStyle>
            <a:lvl1pPr marL="0" indent="0">
              <a:buNone/>
              <a:defRPr sz="2250" b="0">
                <a:solidFill>
                  <a:srgbClr val="575757"/>
                </a:solidFill>
              </a:defRPr>
            </a:lvl1pPr>
          </a:lstStyle>
          <a:p>
            <a:pPr lvl="0"/>
            <a:r>
              <a:rPr lang="en-US"/>
              <a:t>Click to edit Master text styles</a:t>
            </a:r>
          </a:p>
        </p:txBody>
      </p:sp>
      <p:sp>
        <p:nvSpPr>
          <p:cNvPr id="19" name="Slide Number Placeholder 7"/>
          <p:cNvSpPr>
            <a:spLocks noGrp="1"/>
          </p:cNvSpPr>
          <p:nvPr>
            <p:ph type="sldNum" sz="quarter" idx="4"/>
          </p:nvPr>
        </p:nvSpPr>
        <p:spPr>
          <a:xfrm>
            <a:off x="7971996" y="4805876"/>
            <a:ext cx="792088" cy="189000"/>
          </a:xfrm>
          <a:prstGeom prst="rect">
            <a:avLst/>
          </a:prstGeom>
        </p:spPr>
        <p:txBody>
          <a:bodyPr vert="horz" lIns="0" tIns="0" rIns="0" bIns="0" rtlCol="0" anchor="ctr" anchorCtr="0"/>
          <a:lstStyle>
            <a:lvl1pPr algn="r">
              <a:defRPr sz="6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4" y="4805876"/>
            <a:ext cx="7559473" cy="189000"/>
          </a:xfrm>
          <a:prstGeom prst="rect">
            <a:avLst/>
          </a:prstGeom>
        </p:spPr>
        <p:txBody>
          <a:bodyPr vert="horz" lIns="0" tIns="0" rIns="0" bIns="0" rtlCol="0" anchor="ctr" anchorCtr="0"/>
          <a:lstStyle>
            <a:lvl1pPr algn="l">
              <a:defRPr sz="600" b="0">
                <a:solidFill>
                  <a:srgbClr val="8C8C8C"/>
                </a:solidFill>
              </a:defRPr>
            </a:lvl1pPr>
          </a:lstStyle>
          <a:p>
            <a:endParaRPr lang="en-GB" dirty="0"/>
          </a:p>
        </p:txBody>
      </p:sp>
    </p:spTree>
    <p:extLst>
      <p:ext uri="{BB962C8B-B14F-4D97-AF65-F5344CB8AC3E}">
        <p14:creationId xmlns:p14="http://schemas.microsoft.com/office/powerpoint/2010/main" val="64417726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ox and Background Image">
    <p:spTree>
      <p:nvGrpSpPr>
        <p:cNvPr id="1" name=""/>
        <p:cNvGrpSpPr/>
        <p:nvPr/>
      </p:nvGrpSpPr>
      <p:grpSpPr>
        <a:xfrm>
          <a:off x="0" y="0"/>
          <a:ext cx="0" cy="0"/>
          <a:chOff x="0" y="0"/>
          <a:chExt cx="0" cy="0"/>
        </a:xfrm>
      </p:grpSpPr>
      <p:sp>
        <p:nvSpPr>
          <p:cNvPr id="8" name="Rectangle 7"/>
          <p:cNvSpPr/>
          <p:nvPr userDrawn="1"/>
        </p:nvSpPr>
        <p:spPr>
          <a:xfrm>
            <a:off x="390495" y="482189"/>
            <a:ext cx="4939200" cy="39648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p>
        </p:txBody>
      </p:sp>
      <p:sp>
        <p:nvSpPr>
          <p:cNvPr id="3" name="Content Placeholder 2"/>
          <p:cNvSpPr>
            <a:spLocks noGrp="1"/>
          </p:cNvSpPr>
          <p:nvPr>
            <p:ph idx="1"/>
          </p:nvPr>
        </p:nvSpPr>
        <p:spPr>
          <a:xfrm>
            <a:off x="566711" y="1293010"/>
            <a:ext cx="4619657" cy="3207566"/>
          </a:xfrm>
        </p:spPr>
        <p:txBody>
          <a:bodyPr/>
          <a:lstStyle>
            <a:lvl1pPr marL="0" indent="0">
              <a:buNone/>
              <a:defRPr b="0"/>
            </a:lvl1pPr>
            <a:lvl2pPr marL="200025" indent="-200025">
              <a:buFont typeface="Arial" pitchFamily="34" charset="0"/>
              <a:buChar char="•"/>
              <a:tabLst/>
              <a:defRPr/>
            </a:lvl2pPr>
            <a:lvl3pPr marL="335756" indent="-135731">
              <a:buFont typeface="Calibri" pitchFamily="34" charset="0"/>
              <a:buChar cha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itle Placeholder 1"/>
          <p:cNvSpPr>
            <a:spLocks noGrp="1"/>
          </p:cNvSpPr>
          <p:nvPr>
            <p:ph type="title"/>
          </p:nvPr>
        </p:nvSpPr>
        <p:spPr>
          <a:xfrm>
            <a:off x="480985" y="228907"/>
            <a:ext cx="4848258" cy="260426"/>
          </a:xfrm>
          <a:prstGeom prst="rect">
            <a:avLst/>
          </a:prstGeom>
        </p:spPr>
        <p:txBody>
          <a:bodyPr vert="horz" lIns="0" tIns="0" rIns="0" bIns="0" rtlCol="0" anchor="ctr" anchorCtr="0">
            <a:normAutofit/>
          </a:bodyPr>
          <a:lstStyle>
            <a:lvl1pPr>
              <a:defRPr sz="1050" b="0">
                <a:solidFill>
                  <a:schemeClr val="tx1"/>
                </a:solidFill>
              </a:defRPr>
            </a:lvl1pPr>
          </a:lstStyle>
          <a:p>
            <a:r>
              <a:rPr lang="en-US"/>
              <a:t>Click to edit Master title style</a:t>
            </a:r>
            <a:endParaRPr lang="en-GB" dirty="0"/>
          </a:p>
        </p:txBody>
      </p:sp>
      <p:sp>
        <p:nvSpPr>
          <p:cNvPr id="17" name="Text Placeholder 8"/>
          <p:cNvSpPr>
            <a:spLocks noGrp="1"/>
          </p:cNvSpPr>
          <p:nvPr>
            <p:ph type="body" sz="quarter" idx="13"/>
          </p:nvPr>
        </p:nvSpPr>
        <p:spPr>
          <a:xfrm>
            <a:off x="566710" y="541838"/>
            <a:ext cx="4619916" cy="759005"/>
          </a:xfrm>
        </p:spPr>
        <p:txBody>
          <a:bodyPr anchor="ctr" anchorCtr="0">
            <a:normAutofit/>
          </a:bodyPr>
          <a:lstStyle>
            <a:lvl1pPr marL="0" indent="0">
              <a:buNone/>
              <a:defRPr sz="2250" b="0">
                <a:solidFill>
                  <a:schemeClr val="accent3"/>
                </a:solidFill>
              </a:defRPr>
            </a:lvl1pPr>
          </a:lstStyle>
          <a:p>
            <a:pPr lvl="0"/>
            <a:r>
              <a:rPr lang="en-US"/>
              <a:t>Click to edit Master text styles</a:t>
            </a:r>
          </a:p>
        </p:txBody>
      </p:sp>
      <p:sp>
        <p:nvSpPr>
          <p:cNvPr id="19" name="Slide Number Placeholder 7"/>
          <p:cNvSpPr>
            <a:spLocks noGrp="1"/>
          </p:cNvSpPr>
          <p:nvPr>
            <p:ph type="sldNum" sz="quarter" idx="4"/>
          </p:nvPr>
        </p:nvSpPr>
        <p:spPr>
          <a:xfrm>
            <a:off x="7971996" y="4805876"/>
            <a:ext cx="792088" cy="189000"/>
          </a:xfrm>
          <a:prstGeom prst="rect">
            <a:avLst/>
          </a:prstGeom>
        </p:spPr>
        <p:txBody>
          <a:bodyPr vert="horz" lIns="0" tIns="0" rIns="0" bIns="0" rtlCol="0" anchor="ctr" anchorCtr="0"/>
          <a:lstStyle>
            <a:lvl1pPr algn="r">
              <a:defRPr sz="600" b="0">
                <a:solidFill>
                  <a:schemeClr val="bg1"/>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4" y="4805876"/>
            <a:ext cx="7559473" cy="189000"/>
          </a:xfrm>
          <a:prstGeom prst="rect">
            <a:avLst/>
          </a:prstGeom>
        </p:spPr>
        <p:txBody>
          <a:bodyPr vert="horz" lIns="0" tIns="0" rIns="0" bIns="0" rtlCol="0" anchor="ctr" anchorCtr="0"/>
          <a:lstStyle>
            <a:lvl1pPr algn="l">
              <a:defRPr sz="600" b="0">
                <a:solidFill>
                  <a:schemeClr val="bg1"/>
                </a:solidFill>
              </a:defRPr>
            </a:lvl1pPr>
          </a:lstStyle>
          <a:p>
            <a:endParaRPr lang="en-GB" dirty="0"/>
          </a:p>
        </p:txBody>
      </p:sp>
      <p:sp>
        <p:nvSpPr>
          <p:cNvPr id="10" name="Rectangle 9"/>
          <p:cNvSpPr/>
          <p:nvPr userDrawn="1"/>
        </p:nvSpPr>
        <p:spPr>
          <a:xfrm>
            <a:off x="390496" y="228584"/>
            <a:ext cx="4938747" cy="256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p>
        </p:txBody>
      </p:sp>
    </p:spTree>
    <p:extLst>
      <p:ext uri="{BB962C8B-B14F-4D97-AF65-F5344CB8AC3E}">
        <p14:creationId xmlns:p14="http://schemas.microsoft.com/office/powerpoint/2010/main" val="349543167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Key Statement Slide 1">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4" y="239300"/>
            <a:ext cx="6845093" cy="4491329"/>
          </a:xfrm>
        </p:spPr>
        <p:txBody>
          <a:bodyPr>
            <a:normAutofit/>
          </a:bodyPr>
          <a:lstStyle>
            <a:lvl1pPr marL="0" indent="0">
              <a:buNone/>
              <a:defRPr sz="2250" b="0">
                <a:solidFill>
                  <a:schemeClr val="bg1"/>
                </a:solidFill>
              </a:defRPr>
            </a:lvl1pPr>
            <a:lvl2pPr marL="0" indent="0">
              <a:buNone/>
              <a:tabLst/>
              <a:defRPr sz="2250" b="0">
                <a:solidFill>
                  <a:schemeClr val="bg1"/>
                </a:solidFill>
              </a:defRPr>
            </a:lvl2pPr>
            <a:lvl3pPr marL="205979" indent="-205979">
              <a:buFont typeface="Arial" pitchFamily="34" charset="0"/>
              <a:buChar char="•"/>
              <a:defRPr sz="2250" b="0">
                <a:solidFill>
                  <a:schemeClr val="bg1"/>
                </a:solidFill>
              </a:defRPr>
            </a:lvl3pPr>
            <a:lvl4pPr>
              <a:defRPr sz="2250" b="0">
                <a:solidFill>
                  <a:schemeClr val="bg1"/>
                </a:solidFill>
              </a:defRPr>
            </a:lvl4pPr>
            <a:lvl5pPr>
              <a:defRPr sz="2250" b="0">
                <a:solidFill>
                  <a:schemeClr val="bg1"/>
                </a:solidFill>
              </a:defRPr>
            </a:lvl5pPr>
          </a:lstStyle>
          <a:p>
            <a:pPr lvl="0"/>
            <a:r>
              <a:rPr lang="en-US"/>
              <a:t>Click to edit Master text styles</a:t>
            </a:r>
          </a:p>
        </p:txBody>
      </p:sp>
      <p:sp>
        <p:nvSpPr>
          <p:cNvPr id="19" name="Slide Number Placeholder 7"/>
          <p:cNvSpPr>
            <a:spLocks noGrp="1"/>
          </p:cNvSpPr>
          <p:nvPr>
            <p:ph type="sldNum" sz="quarter" idx="4"/>
          </p:nvPr>
        </p:nvSpPr>
        <p:spPr>
          <a:xfrm>
            <a:off x="7971996" y="4805876"/>
            <a:ext cx="792088" cy="189000"/>
          </a:xfrm>
          <a:prstGeom prst="rect">
            <a:avLst/>
          </a:prstGeom>
        </p:spPr>
        <p:txBody>
          <a:bodyPr vert="horz" lIns="0" tIns="0" rIns="0" bIns="0" rtlCol="0" anchor="ctr" anchorCtr="0"/>
          <a:lstStyle>
            <a:lvl1pPr algn="r">
              <a:defRPr sz="600" b="0">
                <a:solidFill>
                  <a:schemeClr val="bg1"/>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4" y="4805876"/>
            <a:ext cx="7559473" cy="189000"/>
          </a:xfrm>
          <a:prstGeom prst="rect">
            <a:avLst/>
          </a:prstGeom>
        </p:spPr>
        <p:txBody>
          <a:bodyPr vert="horz" lIns="0" tIns="0" rIns="0" bIns="0" rtlCol="0" anchor="ctr" anchorCtr="0"/>
          <a:lstStyle>
            <a:lvl1pPr algn="l">
              <a:defRPr sz="600" b="0">
                <a:solidFill>
                  <a:schemeClr val="bg1"/>
                </a:solidFill>
              </a:defRPr>
            </a:lvl1pPr>
          </a:lstStyle>
          <a:p>
            <a:endParaRPr lang="en-GB" dirty="0"/>
          </a:p>
        </p:txBody>
      </p:sp>
    </p:spTree>
    <p:extLst>
      <p:ext uri="{BB962C8B-B14F-4D97-AF65-F5344CB8AC3E}">
        <p14:creationId xmlns:p14="http://schemas.microsoft.com/office/powerpoint/2010/main" val="90151398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Key Statement Slide 2">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4" y="239300"/>
            <a:ext cx="6845093" cy="4491329"/>
          </a:xfrm>
        </p:spPr>
        <p:txBody>
          <a:bodyPr>
            <a:normAutofit/>
          </a:bodyPr>
          <a:lstStyle>
            <a:lvl1pPr marL="0" indent="0">
              <a:buNone/>
              <a:defRPr sz="2250" b="0">
                <a:solidFill>
                  <a:schemeClr val="bg1"/>
                </a:solidFill>
              </a:defRPr>
            </a:lvl1pPr>
            <a:lvl2pPr marL="0" indent="0">
              <a:buNone/>
              <a:tabLst/>
              <a:defRPr sz="2250" b="0">
                <a:solidFill>
                  <a:schemeClr val="bg1"/>
                </a:solidFill>
              </a:defRPr>
            </a:lvl2pPr>
            <a:lvl3pPr marL="205979" indent="-205979">
              <a:buFont typeface="Arial" pitchFamily="34" charset="0"/>
              <a:buChar char="•"/>
              <a:defRPr sz="2250" b="0">
                <a:solidFill>
                  <a:schemeClr val="bg1"/>
                </a:solidFill>
              </a:defRPr>
            </a:lvl3pPr>
            <a:lvl4pPr>
              <a:defRPr sz="2250" b="0">
                <a:solidFill>
                  <a:schemeClr val="bg1"/>
                </a:solidFill>
              </a:defRPr>
            </a:lvl4pPr>
            <a:lvl5pPr>
              <a:defRPr sz="2250" b="0">
                <a:solidFill>
                  <a:schemeClr val="bg1"/>
                </a:solidFill>
              </a:defRPr>
            </a:lvl5pPr>
          </a:lstStyle>
          <a:p>
            <a:pPr lvl="0"/>
            <a:r>
              <a:rPr lang="en-US"/>
              <a:t>Click to edit Master text styles</a:t>
            </a:r>
          </a:p>
        </p:txBody>
      </p:sp>
      <p:sp>
        <p:nvSpPr>
          <p:cNvPr id="19" name="Slide Number Placeholder 7"/>
          <p:cNvSpPr>
            <a:spLocks noGrp="1"/>
          </p:cNvSpPr>
          <p:nvPr>
            <p:ph type="sldNum" sz="quarter" idx="4"/>
          </p:nvPr>
        </p:nvSpPr>
        <p:spPr>
          <a:xfrm>
            <a:off x="7971996" y="4805876"/>
            <a:ext cx="792088" cy="189000"/>
          </a:xfrm>
          <a:prstGeom prst="rect">
            <a:avLst/>
          </a:prstGeom>
        </p:spPr>
        <p:txBody>
          <a:bodyPr vert="horz" lIns="0" tIns="0" rIns="0" bIns="0" rtlCol="0" anchor="ctr" anchorCtr="0"/>
          <a:lstStyle>
            <a:lvl1pPr algn="r">
              <a:defRPr sz="600" b="0">
                <a:solidFill>
                  <a:schemeClr val="bg1"/>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4" y="4805876"/>
            <a:ext cx="7559473" cy="189000"/>
          </a:xfrm>
          <a:prstGeom prst="rect">
            <a:avLst/>
          </a:prstGeom>
        </p:spPr>
        <p:txBody>
          <a:bodyPr vert="horz" lIns="0" tIns="0" rIns="0" bIns="0" rtlCol="0" anchor="ctr" anchorCtr="0"/>
          <a:lstStyle>
            <a:lvl1pPr algn="l">
              <a:defRPr sz="600" b="0">
                <a:solidFill>
                  <a:schemeClr val="bg1"/>
                </a:solidFill>
              </a:defRPr>
            </a:lvl1pPr>
          </a:lstStyle>
          <a:p>
            <a:endParaRPr lang="en-GB" dirty="0"/>
          </a:p>
        </p:txBody>
      </p:sp>
    </p:spTree>
    <p:extLst>
      <p:ext uri="{BB962C8B-B14F-4D97-AF65-F5344CB8AC3E}">
        <p14:creationId xmlns:p14="http://schemas.microsoft.com/office/powerpoint/2010/main" val="428775859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4" y="239300"/>
            <a:ext cx="6845093" cy="4491329"/>
          </a:xfrm>
        </p:spPr>
        <p:txBody>
          <a:bodyPr>
            <a:normAutofit/>
          </a:bodyPr>
          <a:lstStyle>
            <a:lvl1pPr marL="0" indent="0">
              <a:buNone/>
              <a:defRPr sz="2250" b="0">
                <a:solidFill>
                  <a:schemeClr val="bg1"/>
                </a:solidFill>
              </a:defRPr>
            </a:lvl1pPr>
            <a:lvl2pPr marL="0" indent="0">
              <a:buNone/>
              <a:tabLst/>
              <a:defRPr sz="2250" b="0">
                <a:solidFill>
                  <a:schemeClr val="bg1"/>
                </a:solidFill>
              </a:defRPr>
            </a:lvl2pPr>
            <a:lvl3pPr marL="205979" indent="-205979">
              <a:buFont typeface="Arial" pitchFamily="34" charset="0"/>
              <a:buChar char="•"/>
              <a:defRPr sz="2250" b="0">
                <a:solidFill>
                  <a:schemeClr val="bg1"/>
                </a:solidFill>
              </a:defRPr>
            </a:lvl3pPr>
            <a:lvl4pPr>
              <a:defRPr sz="2250" b="0">
                <a:solidFill>
                  <a:schemeClr val="bg1"/>
                </a:solidFill>
              </a:defRPr>
            </a:lvl4pPr>
            <a:lvl5pPr>
              <a:defRPr sz="2250" b="0">
                <a:solidFill>
                  <a:schemeClr val="bg1"/>
                </a:solidFill>
              </a:defRPr>
            </a:lvl5pPr>
          </a:lstStyle>
          <a:p>
            <a:pPr lvl="0"/>
            <a:r>
              <a:rPr lang="en-US"/>
              <a:t>Click to edit Master text styles</a:t>
            </a:r>
          </a:p>
        </p:txBody>
      </p:sp>
      <p:sp>
        <p:nvSpPr>
          <p:cNvPr id="19" name="Slide Number Placeholder 7"/>
          <p:cNvSpPr>
            <a:spLocks noGrp="1"/>
          </p:cNvSpPr>
          <p:nvPr>
            <p:ph type="sldNum" sz="quarter" idx="4"/>
          </p:nvPr>
        </p:nvSpPr>
        <p:spPr>
          <a:xfrm>
            <a:off x="7971996" y="4805876"/>
            <a:ext cx="792088" cy="189000"/>
          </a:xfrm>
          <a:prstGeom prst="rect">
            <a:avLst/>
          </a:prstGeom>
        </p:spPr>
        <p:txBody>
          <a:bodyPr vert="horz" lIns="0" tIns="0" rIns="0" bIns="0" rtlCol="0" anchor="ctr" anchorCtr="0"/>
          <a:lstStyle>
            <a:lvl1pPr algn="r">
              <a:defRPr sz="600" b="0">
                <a:solidFill>
                  <a:schemeClr val="bg1"/>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4" y="4805876"/>
            <a:ext cx="7559473" cy="189000"/>
          </a:xfrm>
          <a:prstGeom prst="rect">
            <a:avLst/>
          </a:prstGeom>
        </p:spPr>
        <p:txBody>
          <a:bodyPr vert="horz" lIns="0" tIns="0" rIns="0" bIns="0" rtlCol="0" anchor="ctr" anchorCtr="0"/>
          <a:lstStyle>
            <a:lvl1pPr algn="l">
              <a:defRPr sz="600" b="0">
                <a:solidFill>
                  <a:schemeClr val="bg1"/>
                </a:solidFill>
              </a:defRPr>
            </a:lvl1pPr>
          </a:lstStyle>
          <a:p>
            <a:endParaRPr lang="en-GB" dirty="0"/>
          </a:p>
        </p:txBody>
      </p:sp>
    </p:spTree>
    <p:extLst>
      <p:ext uri="{BB962C8B-B14F-4D97-AF65-F5344CB8AC3E}">
        <p14:creationId xmlns:p14="http://schemas.microsoft.com/office/powerpoint/2010/main" val="113444264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1216808"/>
            <a:ext cx="8388000" cy="3402378"/>
          </a:xfrm>
        </p:spPr>
        <p:txBody>
          <a:bodyPr>
            <a:normAutofit/>
          </a:bodyPr>
          <a:lstStyle>
            <a:lvl1pPr marL="0" indent="0">
              <a:spcBef>
                <a:spcPts val="1350"/>
              </a:spcBef>
              <a:spcAft>
                <a:spcPts val="0"/>
              </a:spcAft>
              <a:buNone/>
              <a:defRPr sz="1500" b="0">
                <a:solidFill>
                  <a:schemeClr val="bg1"/>
                </a:solidFill>
              </a:defRPr>
            </a:lvl1pPr>
            <a:lvl2pPr marL="201216" indent="-201216">
              <a:spcBef>
                <a:spcPts val="450"/>
              </a:spcBef>
              <a:spcAft>
                <a:spcPts val="0"/>
              </a:spcAft>
              <a:buFont typeface="Arial" pitchFamily="34" charset="0"/>
              <a:buChar char="•"/>
              <a:tabLst/>
              <a:defRPr sz="1500" b="0">
                <a:solidFill>
                  <a:schemeClr val="bg1"/>
                </a:solidFill>
              </a:defRPr>
            </a:lvl2pPr>
            <a:lvl3pPr marL="205979" indent="-205979">
              <a:spcBef>
                <a:spcPts val="450"/>
              </a:spcBef>
              <a:spcAft>
                <a:spcPts val="0"/>
              </a:spcAft>
              <a:buFont typeface="Arial" pitchFamily="34" charset="0"/>
              <a:buChar char="•"/>
              <a:defRPr sz="1500" b="0">
                <a:solidFill>
                  <a:schemeClr val="bg1"/>
                </a:solidFill>
              </a:defRPr>
            </a:lvl3pPr>
            <a:lvl4pPr>
              <a:spcBef>
                <a:spcPts val="450"/>
              </a:spcBef>
              <a:spcAft>
                <a:spcPts val="0"/>
              </a:spcAft>
              <a:buFont typeface="Arial" pitchFamily="34" charset="0"/>
              <a:buChar char="•"/>
              <a:defRPr sz="1500" b="0">
                <a:solidFill>
                  <a:schemeClr val="bg1"/>
                </a:solidFill>
              </a:defRPr>
            </a:lvl4pPr>
            <a:lvl5pPr marL="330994" indent="-132160">
              <a:spcBef>
                <a:spcPts val="450"/>
              </a:spcBef>
              <a:spcAft>
                <a:spcPts val="0"/>
              </a:spcAft>
              <a:buFont typeface="Arial" pitchFamily="34" charset="0"/>
              <a:buChar char="•"/>
              <a:defRPr sz="1500" b="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itle Placeholder 1"/>
          <p:cNvSpPr>
            <a:spLocks noGrp="1"/>
          </p:cNvSpPr>
          <p:nvPr>
            <p:ph type="title"/>
          </p:nvPr>
        </p:nvSpPr>
        <p:spPr>
          <a:xfrm>
            <a:off x="370113" y="134678"/>
            <a:ext cx="8388000" cy="1081058"/>
          </a:xfrm>
          <a:prstGeom prst="rect">
            <a:avLst/>
          </a:prstGeom>
        </p:spPr>
        <p:txBody>
          <a:bodyPr vert="horz" lIns="0" tIns="0" rIns="0" bIns="0" rtlCol="0" anchor="t" anchorCtr="0">
            <a:normAutofit/>
          </a:bodyPr>
          <a:lstStyle>
            <a:lvl1pPr>
              <a:defRPr sz="3375">
                <a:solidFill>
                  <a:schemeClr val="accent3"/>
                </a:solidFill>
              </a:defRPr>
            </a:lvl1pPr>
          </a:lstStyle>
          <a:p>
            <a:r>
              <a:rPr lang="en-US"/>
              <a:t>Click to edit Master title style</a:t>
            </a:r>
            <a:endParaRPr lang="en-GB" dirty="0"/>
          </a:p>
        </p:txBody>
      </p:sp>
      <p:sp>
        <p:nvSpPr>
          <p:cNvPr id="19" name="Slide Number Placeholder 7"/>
          <p:cNvSpPr>
            <a:spLocks noGrp="1"/>
          </p:cNvSpPr>
          <p:nvPr>
            <p:ph type="sldNum" sz="quarter" idx="4"/>
          </p:nvPr>
        </p:nvSpPr>
        <p:spPr>
          <a:xfrm>
            <a:off x="7971996" y="4805876"/>
            <a:ext cx="792088" cy="189000"/>
          </a:xfrm>
          <a:prstGeom prst="rect">
            <a:avLst/>
          </a:prstGeom>
        </p:spPr>
        <p:txBody>
          <a:bodyPr vert="horz" lIns="0" tIns="0" rIns="0" bIns="0" rtlCol="0" anchor="ctr" anchorCtr="0"/>
          <a:lstStyle>
            <a:lvl1pPr algn="r">
              <a:defRPr sz="600" b="0">
                <a:solidFill>
                  <a:schemeClr val="bg1"/>
                </a:solidFill>
              </a:defRPr>
            </a:lvl1pPr>
          </a:lstStyle>
          <a:p>
            <a:fld id="{95CC1D26-A9BD-4BDE-BDD9-08EDBAE96860}" type="slidenum">
              <a:rPr lang="en-GB" smtClean="0"/>
              <a:pPr/>
              <a:t>‹#›</a:t>
            </a:fld>
            <a:endParaRPr lang="en-GB" dirty="0"/>
          </a:p>
        </p:txBody>
      </p:sp>
      <p:sp>
        <p:nvSpPr>
          <p:cNvPr id="6" name="Footer Placeholder 4"/>
          <p:cNvSpPr>
            <a:spLocks noGrp="1"/>
          </p:cNvSpPr>
          <p:nvPr>
            <p:ph type="ftr" sz="quarter" idx="3"/>
          </p:nvPr>
        </p:nvSpPr>
        <p:spPr>
          <a:xfrm>
            <a:off x="370114" y="4805876"/>
            <a:ext cx="7559473" cy="189000"/>
          </a:xfrm>
          <a:prstGeom prst="rect">
            <a:avLst/>
          </a:prstGeom>
        </p:spPr>
        <p:txBody>
          <a:bodyPr vert="horz" lIns="0" tIns="0" rIns="0" bIns="0" rtlCol="0" anchor="ctr" anchorCtr="0"/>
          <a:lstStyle>
            <a:lvl1pPr algn="l">
              <a:defRPr sz="600" b="0">
                <a:solidFill>
                  <a:schemeClr val="bg1"/>
                </a:solidFill>
              </a:defRPr>
            </a:lvl1pPr>
          </a:lstStyle>
          <a:p>
            <a:endParaRPr lang="en-GB" dirty="0"/>
          </a:p>
        </p:txBody>
      </p:sp>
    </p:spTree>
    <p:extLst>
      <p:ext uri="{BB962C8B-B14F-4D97-AF65-F5344CB8AC3E}">
        <p14:creationId xmlns:p14="http://schemas.microsoft.com/office/powerpoint/2010/main" val="261162737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ntents 2">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7358082"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p>
        </p:txBody>
      </p:sp>
      <p:sp>
        <p:nvSpPr>
          <p:cNvPr id="3" name="Content Placeholder 2"/>
          <p:cNvSpPr>
            <a:spLocks noGrp="1"/>
          </p:cNvSpPr>
          <p:nvPr>
            <p:ph idx="1"/>
          </p:nvPr>
        </p:nvSpPr>
        <p:spPr>
          <a:xfrm>
            <a:off x="370113" y="1216808"/>
            <a:ext cx="8388000" cy="3402378"/>
          </a:xfrm>
        </p:spPr>
        <p:txBody>
          <a:bodyPr>
            <a:normAutofit/>
          </a:bodyPr>
          <a:lstStyle>
            <a:lvl1pPr marL="0" indent="0">
              <a:spcBef>
                <a:spcPts val="1350"/>
              </a:spcBef>
              <a:spcAft>
                <a:spcPts val="0"/>
              </a:spcAft>
              <a:buNone/>
              <a:defRPr sz="1500" b="0">
                <a:solidFill>
                  <a:schemeClr val="tx2"/>
                </a:solidFill>
              </a:defRPr>
            </a:lvl1pPr>
            <a:lvl2pPr marL="201216" indent="-201216">
              <a:spcBef>
                <a:spcPts val="450"/>
              </a:spcBef>
              <a:spcAft>
                <a:spcPts val="0"/>
              </a:spcAft>
              <a:buFont typeface="Arial" pitchFamily="34" charset="0"/>
              <a:buChar char="•"/>
              <a:tabLst/>
              <a:defRPr sz="1500" b="0">
                <a:solidFill>
                  <a:schemeClr val="tx2"/>
                </a:solidFill>
              </a:defRPr>
            </a:lvl2pPr>
            <a:lvl3pPr marL="205979" indent="-205979">
              <a:spcBef>
                <a:spcPts val="450"/>
              </a:spcBef>
              <a:spcAft>
                <a:spcPts val="0"/>
              </a:spcAft>
              <a:buFont typeface="Arial" pitchFamily="34" charset="0"/>
              <a:buChar char="•"/>
              <a:defRPr sz="1500" b="0">
                <a:solidFill>
                  <a:schemeClr val="tx2"/>
                </a:solidFill>
              </a:defRPr>
            </a:lvl3pPr>
            <a:lvl4pPr>
              <a:spcBef>
                <a:spcPts val="450"/>
              </a:spcBef>
              <a:spcAft>
                <a:spcPts val="0"/>
              </a:spcAft>
              <a:buFont typeface="Arial" pitchFamily="34" charset="0"/>
              <a:buChar char="•"/>
              <a:defRPr sz="1500" b="0">
                <a:solidFill>
                  <a:schemeClr val="tx2"/>
                </a:solidFill>
              </a:defRPr>
            </a:lvl4pPr>
            <a:lvl5pPr marL="330994" indent="-132160">
              <a:spcBef>
                <a:spcPts val="450"/>
              </a:spcBef>
              <a:spcAft>
                <a:spcPts val="0"/>
              </a:spcAft>
              <a:buFont typeface="Arial" pitchFamily="34" charset="0"/>
              <a:buChar char="•"/>
              <a:defRPr sz="1500" b="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itle Placeholder 1"/>
          <p:cNvSpPr>
            <a:spLocks noGrp="1"/>
          </p:cNvSpPr>
          <p:nvPr>
            <p:ph type="title"/>
          </p:nvPr>
        </p:nvSpPr>
        <p:spPr>
          <a:xfrm>
            <a:off x="370113" y="134678"/>
            <a:ext cx="8388000" cy="1081058"/>
          </a:xfrm>
          <a:prstGeom prst="rect">
            <a:avLst/>
          </a:prstGeom>
        </p:spPr>
        <p:txBody>
          <a:bodyPr vert="horz" lIns="0" tIns="0" rIns="0" bIns="0" rtlCol="0" anchor="t" anchorCtr="0">
            <a:normAutofit/>
          </a:bodyPr>
          <a:lstStyle>
            <a:lvl1pPr>
              <a:defRPr sz="3375">
                <a:solidFill>
                  <a:schemeClr val="accent2"/>
                </a:solidFill>
              </a:defRPr>
            </a:lvl1pPr>
          </a:lstStyle>
          <a:p>
            <a:r>
              <a:rPr lang="en-US"/>
              <a:t>Click to edit Master title style</a:t>
            </a:r>
            <a:endParaRPr lang="en-GB" dirty="0"/>
          </a:p>
        </p:txBody>
      </p:sp>
      <p:sp>
        <p:nvSpPr>
          <p:cNvPr id="19" name="Slide Number Placeholder 7"/>
          <p:cNvSpPr>
            <a:spLocks noGrp="1"/>
          </p:cNvSpPr>
          <p:nvPr>
            <p:ph type="sldNum" sz="quarter" idx="4"/>
          </p:nvPr>
        </p:nvSpPr>
        <p:spPr>
          <a:xfrm>
            <a:off x="7971996" y="4805876"/>
            <a:ext cx="792088" cy="189000"/>
          </a:xfrm>
          <a:prstGeom prst="rect">
            <a:avLst/>
          </a:prstGeom>
        </p:spPr>
        <p:txBody>
          <a:bodyPr vert="horz" lIns="0" tIns="0" rIns="0" bIns="0" rtlCol="0" anchor="ctr" anchorCtr="0"/>
          <a:lstStyle>
            <a:lvl1pPr algn="r">
              <a:defRPr sz="6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4" y="4805876"/>
            <a:ext cx="7559473" cy="189000"/>
          </a:xfrm>
          <a:prstGeom prst="rect">
            <a:avLst/>
          </a:prstGeom>
        </p:spPr>
        <p:txBody>
          <a:bodyPr vert="horz" lIns="0" tIns="0" rIns="0" bIns="0" rtlCol="0" anchor="ctr" anchorCtr="0"/>
          <a:lstStyle>
            <a:lvl1pPr algn="l">
              <a:defRPr sz="600" b="0">
                <a:solidFill>
                  <a:srgbClr val="8C8C8C"/>
                </a:solidFill>
              </a:defRPr>
            </a:lvl1pPr>
          </a:lstStyle>
          <a:p>
            <a:endParaRPr lang="en-GB" dirty="0"/>
          </a:p>
        </p:txBody>
      </p:sp>
    </p:spTree>
    <p:extLst>
      <p:ext uri="{BB962C8B-B14F-4D97-AF65-F5344CB8AC3E}">
        <p14:creationId xmlns:p14="http://schemas.microsoft.com/office/powerpoint/2010/main" val="114390706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vider Slide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2" y="1100135"/>
            <a:ext cx="8415313" cy="3186127"/>
          </a:xfrm>
        </p:spPr>
        <p:txBody>
          <a:bodyPr anchor="t">
            <a:noAutofit/>
          </a:bodyPr>
          <a:lstStyle>
            <a:lvl1pPr algn="l">
              <a:defRPr sz="4500" b="0" cap="none" baseline="0">
                <a:solidFill>
                  <a:schemeClr val="accent1"/>
                </a:solidFill>
              </a:defRPr>
            </a:lvl1pPr>
          </a:lstStyle>
          <a:p>
            <a:r>
              <a:rPr lang="en-US"/>
              <a:t>Click to edit Master title style</a:t>
            </a:r>
            <a:endParaRPr lang="en-GB" dirty="0"/>
          </a:p>
        </p:txBody>
      </p:sp>
      <p:sp>
        <p:nvSpPr>
          <p:cNvPr id="11" name="Slide Number Placeholder 7"/>
          <p:cNvSpPr>
            <a:spLocks noGrp="1"/>
          </p:cNvSpPr>
          <p:nvPr>
            <p:ph type="sldNum" sz="quarter" idx="4"/>
          </p:nvPr>
        </p:nvSpPr>
        <p:spPr>
          <a:xfrm>
            <a:off x="7971996" y="4805876"/>
            <a:ext cx="792088" cy="189000"/>
          </a:xfrm>
          <a:prstGeom prst="rect">
            <a:avLst/>
          </a:prstGeom>
        </p:spPr>
        <p:txBody>
          <a:bodyPr vert="horz" lIns="0" tIns="0" rIns="0" bIns="0" rtlCol="0" anchor="ctr" anchorCtr="0"/>
          <a:lstStyle>
            <a:lvl1pPr algn="r">
              <a:defRPr sz="600" b="0">
                <a:solidFill>
                  <a:schemeClr val="bg1"/>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4" y="4805876"/>
            <a:ext cx="7559473" cy="189000"/>
          </a:xfrm>
          <a:prstGeom prst="rect">
            <a:avLst/>
          </a:prstGeom>
        </p:spPr>
        <p:txBody>
          <a:bodyPr vert="horz" lIns="0" tIns="0" rIns="0" bIns="0" rtlCol="0" anchor="ctr" anchorCtr="0"/>
          <a:lstStyle>
            <a:lvl1pPr algn="l">
              <a:defRPr sz="600" b="0">
                <a:solidFill>
                  <a:schemeClr val="bg1"/>
                </a:solidFill>
              </a:defRPr>
            </a:lvl1pPr>
          </a:lstStyle>
          <a:p>
            <a:endParaRPr lang="en-GB" dirty="0"/>
          </a:p>
        </p:txBody>
      </p:sp>
    </p:spTree>
    <p:extLst>
      <p:ext uri="{BB962C8B-B14F-4D97-AF65-F5344CB8AC3E}">
        <p14:creationId xmlns:p14="http://schemas.microsoft.com/office/powerpoint/2010/main" val="413805200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 2 columns" type="twoColTx">
  <p:cSld name="TITLE_AND_TWO_COLUMNS">
    <p:spTree>
      <p:nvGrpSpPr>
        <p:cNvPr id="1" name="Shape 49"/>
        <p:cNvGrpSpPr/>
        <p:nvPr/>
      </p:nvGrpSpPr>
      <p:grpSpPr>
        <a:xfrm>
          <a:off x="0" y="0"/>
          <a:ext cx="0" cy="0"/>
          <a:chOff x="0" y="0"/>
          <a:chExt cx="0" cy="0"/>
        </a:xfrm>
      </p:grpSpPr>
      <p:grpSp>
        <p:nvGrpSpPr>
          <p:cNvPr id="50" name="Google Shape;50;p13"/>
          <p:cNvGrpSpPr/>
          <p:nvPr/>
        </p:nvGrpSpPr>
        <p:grpSpPr>
          <a:xfrm>
            <a:off x="-442731" y="337284"/>
            <a:ext cx="2324700" cy="2324700"/>
            <a:chOff x="-474900" y="321200"/>
            <a:chExt cx="2324700" cy="2324700"/>
          </a:xfrm>
        </p:grpSpPr>
        <p:sp>
          <p:nvSpPr>
            <p:cNvPr id="51" name="Google Shape;51;p13"/>
            <p:cNvSpPr/>
            <p:nvPr/>
          </p:nvSpPr>
          <p:spPr>
            <a:xfrm>
              <a:off x="-474900" y="321200"/>
              <a:ext cx="2324700" cy="23247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2" name="Google Shape;52;p13"/>
            <p:cNvSpPr/>
            <p:nvPr/>
          </p:nvSpPr>
          <p:spPr>
            <a:xfrm>
              <a:off x="120725" y="916825"/>
              <a:ext cx="1133400" cy="11334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3" name="Google Shape;53;p13"/>
            <p:cNvSpPr/>
            <p:nvPr/>
          </p:nvSpPr>
          <p:spPr>
            <a:xfrm>
              <a:off x="-137125" y="658975"/>
              <a:ext cx="1649100" cy="16491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4" name="Google Shape;54;p13"/>
            <p:cNvSpPr/>
            <p:nvPr/>
          </p:nvSpPr>
          <p:spPr>
            <a:xfrm>
              <a:off x="313650" y="1109750"/>
              <a:ext cx="747600" cy="7476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55" name="Google Shape;55;p13"/>
          <p:cNvSpPr/>
          <p:nvPr/>
        </p:nvSpPr>
        <p:spPr>
          <a:xfrm>
            <a:off x="8556000" y="4576450"/>
            <a:ext cx="435600" cy="435600"/>
          </a:xfrm>
          <a:prstGeom prst="ellipse">
            <a:avLst/>
          </a:prstGeom>
          <a:solidFill>
            <a:srgbClr val="00000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6" name="Google Shape;56;p13"/>
          <p:cNvSpPr txBox="1">
            <a:spLocks noGrp="1"/>
          </p:cNvSpPr>
          <p:nvPr>
            <p:ph type="title"/>
          </p:nvPr>
        </p:nvSpPr>
        <p:spPr>
          <a:xfrm>
            <a:off x="457200" y="1166125"/>
            <a:ext cx="5220300" cy="6831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3600"/>
              <a:buNone/>
              <a:defRPr/>
            </a:lvl1pPr>
            <a:lvl2pPr lvl="1" algn="l">
              <a:lnSpc>
                <a:spcPct val="100000"/>
              </a:lnSpc>
              <a:spcBef>
                <a:spcPts val="0"/>
              </a:spcBef>
              <a:spcAft>
                <a:spcPts val="0"/>
              </a:spcAft>
              <a:buSzPts val="3600"/>
              <a:buNone/>
              <a:defRPr/>
            </a:lvl2pPr>
            <a:lvl3pPr lvl="2" algn="l">
              <a:lnSpc>
                <a:spcPct val="100000"/>
              </a:lnSpc>
              <a:spcBef>
                <a:spcPts val="0"/>
              </a:spcBef>
              <a:spcAft>
                <a:spcPts val="0"/>
              </a:spcAft>
              <a:buSzPts val="3600"/>
              <a:buNone/>
              <a:defRPr/>
            </a:lvl3pPr>
            <a:lvl4pPr lvl="3" algn="l">
              <a:lnSpc>
                <a:spcPct val="100000"/>
              </a:lnSpc>
              <a:spcBef>
                <a:spcPts val="0"/>
              </a:spcBef>
              <a:spcAft>
                <a:spcPts val="0"/>
              </a:spcAft>
              <a:buSzPts val="3600"/>
              <a:buNone/>
              <a:defRPr/>
            </a:lvl4pPr>
            <a:lvl5pPr lvl="4" algn="l">
              <a:lnSpc>
                <a:spcPct val="100000"/>
              </a:lnSpc>
              <a:spcBef>
                <a:spcPts val="0"/>
              </a:spcBef>
              <a:spcAft>
                <a:spcPts val="0"/>
              </a:spcAft>
              <a:buSzPts val="3600"/>
              <a:buNone/>
              <a:defRPr/>
            </a:lvl5pPr>
            <a:lvl6pPr lvl="5" algn="l">
              <a:lnSpc>
                <a:spcPct val="100000"/>
              </a:lnSpc>
              <a:spcBef>
                <a:spcPts val="0"/>
              </a:spcBef>
              <a:spcAft>
                <a:spcPts val="0"/>
              </a:spcAft>
              <a:buSzPts val="3600"/>
              <a:buNone/>
              <a:defRPr/>
            </a:lvl6pPr>
            <a:lvl7pPr lvl="6" algn="l">
              <a:lnSpc>
                <a:spcPct val="100000"/>
              </a:lnSpc>
              <a:spcBef>
                <a:spcPts val="0"/>
              </a:spcBef>
              <a:spcAft>
                <a:spcPts val="0"/>
              </a:spcAft>
              <a:buSzPts val="3600"/>
              <a:buNone/>
              <a:defRPr/>
            </a:lvl7pPr>
            <a:lvl8pPr lvl="7" algn="l">
              <a:lnSpc>
                <a:spcPct val="100000"/>
              </a:lnSpc>
              <a:spcBef>
                <a:spcPts val="0"/>
              </a:spcBef>
              <a:spcAft>
                <a:spcPts val="0"/>
              </a:spcAft>
              <a:buSzPts val="3600"/>
              <a:buNone/>
              <a:defRPr/>
            </a:lvl8pPr>
            <a:lvl9pPr lvl="8" algn="l">
              <a:lnSpc>
                <a:spcPct val="100000"/>
              </a:lnSpc>
              <a:spcBef>
                <a:spcPts val="0"/>
              </a:spcBef>
              <a:spcAft>
                <a:spcPts val="0"/>
              </a:spcAft>
              <a:buSzPts val="3600"/>
              <a:buNone/>
              <a:defRPr/>
            </a:lvl9pPr>
          </a:lstStyle>
          <a:p>
            <a:endParaRPr/>
          </a:p>
        </p:txBody>
      </p:sp>
      <p:sp>
        <p:nvSpPr>
          <p:cNvPr id="57" name="Google Shape;57;p13"/>
          <p:cNvSpPr txBox="1">
            <a:spLocks noGrp="1"/>
          </p:cNvSpPr>
          <p:nvPr>
            <p:ph type="body" idx="1"/>
          </p:nvPr>
        </p:nvSpPr>
        <p:spPr>
          <a:xfrm>
            <a:off x="1069625" y="1958050"/>
            <a:ext cx="2236800" cy="2618400"/>
          </a:xfrm>
          <a:prstGeom prst="rect">
            <a:avLst/>
          </a:prstGeom>
          <a:noFill/>
          <a:ln>
            <a:noFill/>
          </a:ln>
        </p:spPr>
        <p:txBody>
          <a:bodyPr spcFirstLastPara="1" wrap="square" lIns="91425" tIns="91425" rIns="91425" bIns="91425" anchor="t" anchorCtr="0">
            <a:noAutofit/>
          </a:bodyPr>
          <a:lstStyle>
            <a:lvl1pPr marL="457200" lvl="0" indent="-317500" algn="l">
              <a:lnSpc>
                <a:spcPct val="100000"/>
              </a:lnSpc>
              <a:spcBef>
                <a:spcPts val="600"/>
              </a:spcBef>
              <a:spcAft>
                <a:spcPts val="0"/>
              </a:spcAft>
              <a:buSzPts val="1400"/>
              <a:buChar char="￮"/>
              <a:defRPr sz="1400"/>
            </a:lvl1pPr>
            <a:lvl2pPr marL="914400" lvl="1" indent="-317500" algn="l">
              <a:lnSpc>
                <a:spcPct val="100000"/>
              </a:lnSpc>
              <a:spcBef>
                <a:spcPts val="0"/>
              </a:spcBef>
              <a:spcAft>
                <a:spcPts val="0"/>
              </a:spcAft>
              <a:buSzPts val="1400"/>
              <a:buChar char="￮"/>
              <a:defRPr sz="1400"/>
            </a:lvl2pPr>
            <a:lvl3pPr marL="1371600" lvl="2" indent="-317500" algn="l">
              <a:lnSpc>
                <a:spcPct val="100000"/>
              </a:lnSpc>
              <a:spcBef>
                <a:spcPts val="0"/>
              </a:spcBef>
              <a:spcAft>
                <a:spcPts val="0"/>
              </a:spcAft>
              <a:buSzPts val="1400"/>
              <a:buChar char="￮"/>
              <a:defRPr sz="1400"/>
            </a:lvl3pPr>
            <a:lvl4pPr marL="1828800" lvl="3" indent="-317500" algn="l">
              <a:lnSpc>
                <a:spcPct val="100000"/>
              </a:lnSpc>
              <a:spcBef>
                <a:spcPts val="0"/>
              </a:spcBef>
              <a:spcAft>
                <a:spcPts val="0"/>
              </a:spcAft>
              <a:buSzPts val="1400"/>
              <a:buChar char="●"/>
              <a:defRPr sz="1400"/>
            </a:lvl4pPr>
            <a:lvl5pPr marL="2286000" lvl="4" indent="-317500" algn="l">
              <a:lnSpc>
                <a:spcPct val="100000"/>
              </a:lnSpc>
              <a:spcBef>
                <a:spcPts val="0"/>
              </a:spcBef>
              <a:spcAft>
                <a:spcPts val="0"/>
              </a:spcAft>
              <a:buSzPts val="1400"/>
              <a:buChar char="○"/>
              <a:defRPr sz="1400"/>
            </a:lvl5pPr>
            <a:lvl6pPr marL="2743200" lvl="5" indent="-317500" algn="l">
              <a:lnSpc>
                <a:spcPct val="100000"/>
              </a:lnSpc>
              <a:spcBef>
                <a:spcPts val="0"/>
              </a:spcBef>
              <a:spcAft>
                <a:spcPts val="0"/>
              </a:spcAft>
              <a:buSzPts val="1400"/>
              <a:buChar char="■"/>
              <a:defRPr sz="1400"/>
            </a:lvl6pPr>
            <a:lvl7pPr marL="3200400" lvl="6" indent="-317500" algn="l">
              <a:lnSpc>
                <a:spcPct val="100000"/>
              </a:lnSpc>
              <a:spcBef>
                <a:spcPts val="0"/>
              </a:spcBef>
              <a:spcAft>
                <a:spcPts val="0"/>
              </a:spcAft>
              <a:buSzPts val="1400"/>
              <a:buChar char="●"/>
              <a:defRPr sz="1400"/>
            </a:lvl7pPr>
            <a:lvl8pPr marL="3657600" lvl="7" indent="-317500" algn="l">
              <a:lnSpc>
                <a:spcPct val="100000"/>
              </a:lnSpc>
              <a:spcBef>
                <a:spcPts val="0"/>
              </a:spcBef>
              <a:spcAft>
                <a:spcPts val="0"/>
              </a:spcAft>
              <a:buSzPts val="1400"/>
              <a:buChar char="○"/>
              <a:defRPr sz="1400"/>
            </a:lvl8pPr>
            <a:lvl9pPr marL="4114800" lvl="8" indent="-317500" algn="l">
              <a:lnSpc>
                <a:spcPct val="100000"/>
              </a:lnSpc>
              <a:spcBef>
                <a:spcPts val="0"/>
              </a:spcBef>
              <a:spcAft>
                <a:spcPts val="0"/>
              </a:spcAft>
              <a:buSzPts val="1400"/>
              <a:buChar char="■"/>
              <a:defRPr sz="1400"/>
            </a:lvl9pPr>
          </a:lstStyle>
          <a:p>
            <a:endParaRPr/>
          </a:p>
        </p:txBody>
      </p:sp>
      <p:sp>
        <p:nvSpPr>
          <p:cNvPr id="58" name="Google Shape;58;p13"/>
          <p:cNvSpPr txBox="1">
            <a:spLocks noGrp="1"/>
          </p:cNvSpPr>
          <p:nvPr>
            <p:ph type="body" idx="2"/>
          </p:nvPr>
        </p:nvSpPr>
        <p:spPr>
          <a:xfrm>
            <a:off x="3440857" y="1958050"/>
            <a:ext cx="2236800" cy="2618400"/>
          </a:xfrm>
          <a:prstGeom prst="rect">
            <a:avLst/>
          </a:prstGeom>
          <a:noFill/>
          <a:ln>
            <a:noFill/>
          </a:ln>
        </p:spPr>
        <p:txBody>
          <a:bodyPr spcFirstLastPara="1" wrap="square" lIns="91425" tIns="91425" rIns="91425" bIns="91425" anchor="t" anchorCtr="0">
            <a:noAutofit/>
          </a:bodyPr>
          <a:lstStyle>
            <a:lvl1pPr marL="457200" lvl="0" indent="-317500" algn="l">
              <a:lnSpc>
                <a:spcPct val="100000"/>
              </a:lnSpc>
              <a:spcBef>
                <a:spcPts val="600"/>
              </a:spcBef>
              <a:spcAft>
                <a:spcPts val="0"/>
              </a:spcAft>
              <a:buSzPts val="1400"/>
              <a:buChar char="￮"/>
              <a:defRPr sz="1400"/>
            </a:lvl1pPr>
            <a:lvl2pPr marL="914400" lvl="1" indent="-317500" algn="l">
              <a:lnSpc>
                <a:spcPct val="100000"/>
              </a:lnSpc>
              <a:spcBef>
                <a:spcPts val="0"/>
              </a:spcBef>
              <a:spcAft>
                <a:spcPts val="0"/>
              </a:spcAft>
              <a:buSzPts val="1400"/>
              <a:buChar char="￮"/>
              <a:defRPr sz="1400"/>
            </a:lvl2pPr>
            <a:lvl3pPr marL="1371600" lvl="2" indent="-317500" algn="l">
              <a:lnSpc>
                <a:spcPct val="100000"/>
              </a:lnSpc>
              <a:spcBef>
                <a:spcPts val="0"/>
              </a:spcBef>
              <a:spcAft>
                <a:spcPts val="0"/>
              </a:spcAft>
              <a:buSzPts val="1400"/>
              <a:buChar char="￮"/>
              <a:defRPr sz="1400"/>
            </a:lvl3pPr>
            <a:lvl4pPr marL="1828800" lvl="3" indent="-317500" algn="l">
              <a:lnSpc>
                <a:spcPct val="100000"/>
              </a:lnSpc>
              <a:spcBef>
                <a:spcPts val="0"/>
              </a:spcBef>
              <a:spcAft>
                <a:spcPts val="0"/>
              </a:spcAft>
              <a:buSzPts val="1400"/>
              <a:buChar char="●"/>
              <a:defRPr sz="1400"/>
            </a:lvl4pPr>
            <a:lvl5pPr marL="2286000" lvl="4" indent="-317500" algn="l">
              <a:lnSpc>
                <a:spcPct val="100000"/>
              </a:lnSpc>
              <a:spcBef>
                <a:spcPts val="0"/>
              </a:spcBef>
              <a:spcAft>
                <a:spcPts val="0"/>
              </a:spcAft>
              <a:buSzPts val="1400"/>
              <a:buChar char="○"/>
              <a:defRPr sz="1400"/>
            </a:lvl5pPr>
            <a:lvl6pPr marL="2743200" lvl="5" indent="-317500" algn="l">
              <a:lnSpc>
                <a:spcPct val="100000"/>
              </a:lnSpc>
              <a:spcBef>
                <a:spcPts val="0"/>
              </a:spcBef>
              <a:spcAft>
                <a:spcPts val="0"/>
              </a:spcAft>
              <a:buSzPts val="1400"/>
              <a:buChar char="■"/>
              <a:defRPr sz="1400"/>
            </a:lvl6pPr>
            <a:lvl7pPr marL="3200400" lvl="6" indent="-317500" algn="l">
              <a:lnSpc>
                <a:spcPct val="100000"/>
              </a:lnSpc>
              <a:spcBef>
                <a:spcPts val="0"/>
              </a:spcBef>
              <a:spcAft>
                <a:spcPts val="0"/>
              </a:spcAft>
              <a:buSzPts val="1400"/>
              <a:buChar char="●"/>
              <a:defRPr sz="1400"/>
            </a:lvl7pPr>
            <a:lvl8pPr marL="3657600" lvl="7" indent="-317500" algn="l">
              <a:lnSpc>
                <a:spcPct val="100000"/>
              </a:lnSpc>
              <a:spcBef>
                <a:spcPts val="0"/>
              </a:spcBef>
              <a:spcAft>
                <a:spcPts val="0"/>
              </a:spcAft>
              <a:buSzPts val="1400"/>
              <a:buChar char="○"/>
              <a:defRPr sz="1400"/>
            </a:lvl8pPr>
            <a:lvl9pPr marL="4114800" lvl="8" indent="-317500" algn="l">
              <a:lnSpc>
                <a:spcPct val="100000"/>
              </a:lnSpc>
              <a:spcBef>
                <a:spcPts val="0"/>
              </a:spcBef>
              <a:spcAft>
                <a:spcPts val="0"/>
              </a:spcAft>
              <a:buSzPts val="1400"/>
              <a:buChar char="■"/>
              <a:defRPr sz="1400"/>
            </a:lvl9pPr>
          </a:lstStyle>
          <a:p>
            <a:endParaRPr/>
          </a:p>
        </p:txBody>
      </p:sp>
      <p:sp>
        <p:nvSpPr>
          <p:cNvPr id="59" name="Google Shape;59;p13"/>
          <p:cNvSpPr txBox="1">
            <a:spLocks noGrp="1"/>
          </p:cNvSpPr>
          <p:nvPr>
            <p:ph type="sldNum" idx="12"/>
          </p:nvPr>
        </p:nvSpPr>
        <p:spPr>
          <a:xfrm>
            <a:off x="8555875" y="4576450"/>
            <a:ext cx="435600" cy="435600"/>
          </a:xfrm>
          <a:prstGeom prst="rect">
            <a:avLst/>
          </a:prstGeom>
          <a:noFill/>
          <a:ln>
            <a:noFill/>
          </a:ln>
        </p:spPr>
        <p:txBody>
          <a:bodyPr spcFirstLastPara="1" wrap="square" lIns="91425" tIns="91425" rIns="91425" bIns="91425" anchor="ctr" anchorCtr="0">
            <a:noAutofit/>
          </a:bodyPr>
          <a:lstStyle>
            <a:lvl1pPr marL="0" marR="0" lvl="0"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1pPr>
            <a:lvl2pPr marL="0" marR="0" lvl="1"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2pPr>
            <a:lvl3pPr marL="0" marR="0" lvl="2"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3pPr>
            <a:lvl4pPr marL="0" marR="0" lvl="3"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4pPr>
            <a:lvl5pPr marL="0" marR="0" lvl="4"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5pPr>
            <a:lvl6pPr marL="0" marR="0" lvl="5"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6pPr>
            <a:lvl7pPr marL="0" marR="0" lvl="6"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7pPr>
            <a:lvl8pPr marL="0" marR="0" lvl="7"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8pPr>
            <a:lvl9pPr marL="0" marR="0" lvl="8"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9pPr>
          </a:lstStyle>
          <a:p>
            <a:pPr marL="0" lvl="0" indent="0" algn="ctr" rtl="0">
              <a:spcBef>
                <a:spcPts val="0"/>
              </a:spcBef>
              <a:spcAft>
                <a:spcPts val="0"/>
              </a:spcAft>
              <a:buNone/>
            </a:pPr>
            <a:fld id="{00000000-1234-1234-1234-123412341234}" type="slidenum">
              <a:rPr lang="en"/>
              <a:t>‹#›</a:t>
            </a:fld>
            <a:endParaRPr/>
          </a:p>
        </p:txBody>
      </p:sp>
      <p:sp>
        <p:nvSpPr>
          <p:cNvPr id="60" name="Google Shape;60;p13"/>
          <p:cNvSpPr/>
          <p:nvPr/>
        </p:nvSpPr>
        <p:spPr>
          <a:xfrm>
            <a:off x="6081700" y="764000"/>
            <a:ext cx="3615600" cy="36156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1" name="Google Shape;61;p13"/>
          <p:cNvSpPr/>
          <p:nvPr/>
        </p:nvSpPr>
        <p:spPr>
          <a:xfrm>
            <a:off x="6272900" y="955200"/>
            <a:ext cx="3233100" cy="3233100"/>
          </a:xfrm>
          <a:prstGeom prst="ellipse">
            <a:avLst/>
          </a:prstGeom>
          <a:solidFill>
            <a:srgbClr val="000000">
              <a:alpha val="5098"/>
            </a:srgb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2" y="1100135"/>
            <a:ext cx="8415313" cy="3186127"/>
          </a:xfrm>
        </p:spPr>
        <p:txBody>
          <a:bodyPr anchor="t">
            <a:noAutofit/>
          </a:bodyPr>
          <a:lstStyle>
            <a:lvl1pPr algn="l">
              <a:defRPr sz="4500" b="0" cap="none" baseline="0">
                <a:solidFill>
                  <a:schemeClr val="accent3"/>
                </a:solidFill>
              </a:defRPr>
            </a:lvl1pPr>
          </a:lstStyle>
          <a:p>
            <a:r>
              <a:rPr lang="en-US"/>
              <a:t>Click to edit Master title style</a:t>
            </a:r>
            <a:endParaRPr lang="en-GB" dirty="0"/>
          </a:p>
        </p:txBody>
      </p:sp>
      <p:sp>
        <p:nvSpPr>
          <p:cNvPr id="11" name="Slide Number Placeholder 7"/>
          <p:cNvSpPr>
            <a:spLocks noGrp="1"/>
          </p:cNvSpPr>
          <p:nvPr>
            <p:ph type="sldNum" sz="quarter" idx="4"/>
          </p:nvPr>
        </p:nvSpPr>
        <p:spPr>
          <a:xfrm>
            <a:off x="7971996" y="4805876"/>
            <a:ext cx="792088" cy="189000"/>
          </a:xfrm>
          <a:prstGeom prst="rect">
            <a:avLst/>
          </a:prstGeom>
        </p:spPr>
        <p:txBody>
          <a:bodyPr vert="horz" lIns="0" tIns="0" rIns="0" bIns="0" rtlCol="0" anchor="ctr" anchorCtr="0"/>
          <a:lstStyle>
            <a:lvl1pPr algn="r">
              <a:defRPr sz="600" b="0">
                <a:solidFill>
                  <a:schemeClr val="bg1"/>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370114" y="4805876"/>
            <a:ext cx="7559473" cy="189000"/>
          </a:xfrm>
          <a:prstGeom prst="rect">
            <a:avLst/>
          </a:prstGeom>
        </p:spPr>
        <p:txBody>
          <a:bodyPr vert="horz" lIns="0" tIns="0" rIns="0" bIns="0" rtlCol="0" anchor="ctr" anchorCtr="0"/>
          <a:lstStyle>
            <a:lvl1pPr algn="l">
              <a:defRPr sz="600" b="0">
                <a:solidFill>
                  <a:schemeClr val="bg1"/>
                </a:solidFill>
              </a:defRPr>
            </a:lvl1pPr>
          </a:lstStyle>
          <a:p>
            <a:endParaRPr lang="en-GB" dirty="0"/>
          </a:p>
        </p:txBody>
      </p:sp>
    </p:spTree>
    <p:extLst>
      <p:ext uri="{BB962C8B-B14F-4D97-AF65-F5344CB8AC3E}">
        <p14:creationId xmlns:p14="http://schemas.microsoft.com/office/powerpoint/2010/main" val="240411774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Slid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2" y="1100135"/>
            <a:ext cx="8415313" cy="3186127"/>
          </a:xfrm>
        </p:spPr>
        <p:txBody>
          <a:bodyPr anchor="t">
            <a:noAutofit/>
          </a:bodyPr>
          <a:lstStyle>
            <a:lvl1pPr algn="l">
              <a:defRPr sz="4500" b="0" cap="none" baseline="0">
                <a:solidFill>
                  <a:schemeClr val="accent1"/>
                </a:solidFill>
              </a:defRPr>
            </a:lvl1pPr>
          </a:lstStyle>
          <a:p>
            <a:r>
              <a:rPr lang="en-US"/>
              <a:t>Click to edit Master title style</a:t>
            </a:r>
            <a:endParaRPr lang="en-GB" dirty="0"/>
          </a:p>
        </p:txBody>
      </p:sp>
      <p:sp>
        <p:nvSpPr>
          <p:cNvPr id="11" name="Slide Number Placeholder 7"/>
          <p:cNvSpPr>
            <a:spLocks noGrp="1"/>
          </p:cNvSpPr>
          <p:nvPr>
            <p:ph type="sldNum" sz="quarter" idx="4"/>
          </p:nvPr>
        </p:nvSpPr>
        <p:spPr>
          <a:xfrm>
            <a:off x="7971996" y="4805876"/>
            <a:ext cx="792088" cy="189000"/>
          </a:xfrm>
          <a:prstGeom prst="rect">
            <a:avLst/>
          </a:prstGeom>
        </p:spPr>
        <p:txBody>
          <a:bodyPr vert="horz" lIns="0" tIns="0" rIns="0" bIns="0" rtlCol="0" anchor="ctr" anchorCtr="0"/>
          <a:lstStyle>
            <a:lvl1pPr algn="r">
              <a:defRPr sz="600" b="0">
                <a:solidFill>
                  <a:schemeClr val="bg1"/>
                </a:solidFill>
              </a:defRPr>
            </a:lvl1pPr>
          </a:lstStyle>
          <a:p>
            <a:fld id="{95CC1D26-A9BD-4BDE-BDD9-08EDBAE96860}" type="slidenum">
              <a:rPr lang="en-GB" smtClean="0"/>
              <a:pPr/>
              <a:t>‹#›</a:t>
            </a:fld>
            <a:endParaRPr lang="en-GB" dirty="0"/>
          </a:p>
        </p:txBody>
      </p:sp>
      <p:sp>
        <p:nvSpPr>
          <p:cNvPr id="6" name="Footer Placeholder 4"/>
          <p:cNvSpPr>
            <a:spLocks noGrp="1"/>
          </p:cNvSpPr>
          <p:nvPr>
            <p:ph type="ftr" sz="quarter" idx="3"/>
          </p:nvPr>
        </p:nvSpPr>
        <p:spPr>
          <a:xfrm>
            <a:off x="370114" y="4805876"/>
            <a:ext cx="7559473" cy="189000"/>
          </a:xfrm>
          <a:prstGeom prst="rect">
            <a:avLst/>
          </a:prstGeom>
        </p:spPr>
        <p:txBody>
          <a:bodyPr vert="horz" lIns="0" tIns="0" rIns="0" bIns="0" rtlCol="0" anchor="ctr" anchorCtr="0"/>
          <a:lstStyle>
            <a:lvl1pPr algn="l">
              <a:defRPr sz="600" b="0">
                <a:solidFill>
                  <a:schemeClr val="bg1"/>
                </a:solidFill>
              </a:defRPr>
            </a:lvl1pPr>
          </a:lstStyle>
          <a:p>
            <a:endParaRPr lang="en-GB" dirty="0"/>
          </a:p>
        </p:txBody>
      </p:sp>
    </p:spTree>
    <p:extLst>
      <p:ext uri="{BB962C8B-B14F-4D97-AF65-F5344CB8AC3E}">
        <p14:creationId xmlns:p14="http://schemas.microsoft.com/office/powerpoint/2010/main" val="374810260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vider Slide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2" y="1100135"/>
            <a:ext cx="8415313" cy="3186127"/>
          </a:xfrm>
        </p:spPr>
        <p:txBody>
          <a:bodyPr anchor="t">
            <a:noAutofit/>
          </a:bodyPr>
          <a:lstStyle>
            <a:lvl1pPr algn="l">
              <a:defRPr sz="4500" b="0" cap="none" baseline="0">
                <a:solidFill>
                  <a:schemeClr val="accent1"/>
                </a:solidFill>
              </a:defRPr>
            </a:lvl1pPr>
          </a:lstStyle>
          <a:p>
            <a:r>
              <a:rPr lang="en-US"/>
              <a:t>Click to edit Master title style</a:t>
            </a:r>
            <a:endParaRPr lang="en-GB" dirty="0"/>
          </a:p>
        </p:txBody>
      </p:sp>
      <p:sp>
        <p:nvSpPr>
          <p:cNvPr id="11" name="Slide Number Placeholder 7"/>
          <p:cNvSpPr>
            <a:spLocks noGrp="1"/>
          </p:cNvSpPr>
          <p:nvPr>
            <p:ph type="sldNum" sz="quarter" idx="4"/>
          </p:nvPr>
        </p:nvSpPr>
        <p:spPr>
          <a:xfrm>
            <a:off x="7971996" y="4805876"/>
            <a:ext cx="792088" cy="189000"/>
          </a:xfrm>
          <a:prstGeom prst="rect">
            <a:avLst/>
          </a:prstGeom>
        </p:spPr>
        <p:txBody>
          <a:bodyPr vert="horz" lIns="0" tIns="0" rIns="0" bIns="0" rtlCol="0" anchor="ctr" anchorCtr="0"/>
          <a:lstStyle>
            <a:lvl1pPr algn="r">
              <a:defRPr sz="600" b="0">
                <a:solidFill>
                  <a:schemeClr val="bg1"/>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370114" y="4805876"/>
            <a:ext cx="7559473" cy="189000"/>
          </a:xfrm>
          <a:prstGeom prst="rect">
            <a:avLst/>
          </a:prstGeom>
        </p:spPr>
        <p:txBody>
          <a:bodyPr vert="horz" lIns="0" tIns="0" rIns="0" bIns="0" rtlCol="0" anchor="ctr" anchorCtr="0"/>
          <a:lstStyle>
            <a:lvl1pPr algn="l">
              <a:defRPr sz="600" b="0">
                <a:solidFill>
                  <a:schemeClr val="bg1"/>
                </a:solidFill>
              </a:defRPr>
            </a:lvl1pPr>
          </a:lstStyle>
          <a:p>
            <a:endParaRPr lang="en-GB" dirty="0"/>
          </a:p>
        </p:txBody>
      </p:sp>
    </p:spTree>
    <p:extLst>
      <p:ext uri="{BB962C8B-B14F-4D97-AF65-F5344CB8AC3E}">
        <p14:creationId xmlns:p14="http://schemas.microsoft.com/office/powerpoint/2010/main" val="187981472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6737" y="1153714"/>
            <a:ext cx="8415313" cy="3186127"/>
          </a:xfrm>
        </p:spPr>
        <p:txBody>
          <a:bodyPr anchor="t">
            <a:noAutofit/>
          </a:bodyPr>
          <a:lstStyle>
            <a:lvl1pPr algn="l">
              <a:defRPr sz="3600" b="0" cap="none" baseline="0">
                <a:solidFill>
                  <a:schemeClr val="accent2"/>
                </a:solidFill>
              </a:defRPr>
            </a:lvl1pPr>
          </a:lstStyle>
          <a:p>
            <a:r>
              <a:rPr lang="en-US"/>
              <a:t>Click to edit Master title style</a:t>
            </a:r>
            <a:endParaRPr lang="en-GB" dirty="0"/>
          </a:p>
        </p:txBody>
      </p:sp>
      <p:sp>
        <p:nvSpPr>
          <p:cNvPr id="11" name="Slide Number Placeholder 7"/>
          <p:cNvSpPr>
            <a:spLocks noGrp="1"/>
          </p:cNvSpPr>
          <p:nvPr>
            <p:ph type="sldNum" sz="quarter" idx="4"/>
          </p:nvPr>
        </p:nvSpPr>
        <p:spPr>
          <a:xfrm>
            <a:off x="7971996" y="4805876"/>
            <a:ext cx="792088" cy="189000"/>
          </a:xfrm>
          <a:prstGeom prst="rect">
            <a:avLst/>
          </a:prstGeom>
        </p:spPr>
        <p:txBody>
          <a:bodyPr vert="horz" lIns="0" tIns="0" rIns="0" bIns="0" rtlCol="0" anchor="ctr" anchorCtr="0"/>
          <a:lstStyle>
            <a:lvl1pPr algn="r">
              <a:defRPr sz="6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370114" y="4805876"/>
            <a:ext cx="7559473" cy="189000"/>
          </a:xfrm>
          <a:prstGeom prst="rect">
            <a:avLst/>
          </a:prstGeom>
        </p:spPr>
        <p:txBody>
          <a:bodyPr vert="horz" lIns="0" tIns="0" rIns="0" bIns="0" rtlCol="0" anchor="ctr" anchorCtr="0"/>
          <a:lstStyle>
            <a:lvl1pPr algn="l">
              <a:defRPr sz="600" b="0">
                <a:solidFill>
                  <a:srgbClr val="8C8C8C"/>
                </a:solidFill>
              </a:defRPr>
            </a:lvl1pPr>
          </a:lstStyle>
          <a:p>
            <a:endParaRPr lang="en-GB" dirty="0"/>
          </a:p>
        </p:txBody>
      </p:sp>
    </p:spTree>
    <p:extLst>
      <p:ext uri="{BB962C8B-B14F-4D97-AF65-F5344CB8AC3E}">
        <p14:creationId xmlns:p14="http://schemas.microsoft.com/office/powerpoint/2010/main" val="338572789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Slide with Image 2">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0" y="0"/>
            <a:ext cx="3096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p>
        </p:txBody>
      </p:sp>
      <p:sp>
        <p:nvSpPr>
          <p:cNvPr id="2" name="Title 1"/>
          <p:cNvSpPr>
            <a:spLocks noGrp="1"/>
          </p:cNvSpPr>
          <p:nvPr>
            <p:ph type="title"/>
          </p:nvPr>
        </p:nvSpPr>
        <p:spPr>
          <a:xfrm>
            <a:off x="366737" y="1253727"/>
            <a:ext cx="2776504" cy="3186127"/>
          </a:xfrm>
        </p:spPr>
        <p:txBody>
          <a:bodyPr anchor="t">
            <a:noAutofit/>
          </a:bodyPr>
          <a:lstStyle>
            <a:lvl1pPr algn="l">
              <a:defRPr sz="2700" b="0" cap="none" baseline="0">
                <a:solidFill>
                  <a:schemeClr val="accent2"/>
                </a:solidFill>
              </a:defRPr>
            </a:lvl1pPr>
          </a:lstStyle>
          <a:p>
            <a:r>
              <a:rPr lang="en-US"/>
              <a:t>Click to edit Master title style</a:t>
            </a:r>
            <a:endParaRPr lang="en-GB" dirty="0"/>
          </a:p>
        </p:txBody>
      </p:sp>
      <p:sp>
        <p:nvSpPr>
          <p:cNvPr id="11" name="Slide Number Placeholder 7"/>
          <p:cNvSpPr>
            <a:spLocks noGrp="1"/>
          </p:cNvSpPr>
          <p:nvPr>
            <p:ph type="sldNum" sz="quarter" idx="4"/>
          </p:nvPr>
        </p:nvSpPr>
        <p:spPr>
          <a:xfrm>
            <a:off x="7971996" y="4805876"/>
            <a:ext cx="792088" cy="189000"/>
          </a:xfrm>
          <a:prstGeom prst="rect">
            <a:avLst/>
          </a:prstGeom>
        </p:spPr>
        <p:txBody>
          <a:bodyPr vert="horz" lIns="0" tIns="0" rIns="0" bIns="0" rtlCol="0" anchor="ctr" anchorCtr="0"/>
          <a:lstStyle>
            <a:lvl1pPr algn="r">
              <a:defRPr sz="6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370114" y="4805876"/>
            <a:ext cx="7559473" cy="189000"/>
          </a:xfrm>
          <a:prstGeom prst="rect">
            <a:avLst/>
          </a:prstGeom>
        </p:spPr>
        <p:txBody>
          <a:bodyPr vert="horz" lIns="0" tIns="0" rIns="0" bIns="0" rtlCol="0" anchor="ctr" anchorCtr="0"/>
          <a:lstStyle>
            <a:lvl1pPr algn="l">
              <a:defRPr sz="600" b="0">
                <a:solidFill>
                  <a:srgbClr val="8C8C8C"/>
                </a:solidFill>
              </a:defRPr>
            </a:lvl1pPr>
          </a:lstStyle>
          <a:p>
            <a:endParaRPr lang="en-GB" dirty="0"/>
          </a:p>
        </p:txBody>
      </p:sp>
    </p:spTree>
    <p:extLst>
      <p:ext uri="{BB962C8B-B14F-4D97-AF65-F5344CB8AC3E}">
        <p14:creationId xmlns:p14="http://schemas.microsoft.com/office/powerpoint/2010/main" val="379504519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7971996" y="4805876"/>
            <a:ext cx="792088" cy="189000"/>
          </a:xfrm>
          <a:prstGeom prst="rect">
            <a:avLst/>
          </a:prstGeom>
        </p:spPr>
        <p:txBody>
          <a:bodyPr vert="horz" lIns="0" tIns="0" rIns="0" bIns="0" rtlCol="0" anchor="ctr" anchorCtr="0"/>
          <a:lstStyle>
            <a:lvl1pPr algn="r">
              <a:defRPr sz="6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4" y="4805876"/>
            <a:ext cx="7559473" cy="189000"/>
          </a:xfrm>
          <a:prstGeom prst="rect">
            <a:avLst/>
          </a:prstGeom>
        </p:spPr>
        <p:txBody>
          <a:bodyPr vert="horz" lIns="0" tIns="0" rIns="0" bIns="0" rtlCol="0" anchor="ctr" anchorCtr="0"/>
          <a:lstStyle>
            <a:lvl1pPr algn="l">
              <a:defRPr sz="600" b="0">
                <a:solidFill>
                  <a:srgbClr val="8C8C8C"/>
                </a:solidFill>
              </a:defRPr>
            </a:lvl1pPr>
          </a:lstStyle>
          <a:p>
            <a:endParaRPr lang="en-GB" dirty="0"/>
          </a:p>
        </p:txBody>
      </p:sp>
      <p:pic>
        <p:nvPicPr>
          <p:cNvPr id="4" name="Picture 3" descr="DEL_PRI_RGB.gif"/>
          <p:cNvPicPr>
            <a:picLocks noChangeAspect="1"/>
          </p:cNvPicPr>
          <p:nvPr userDrawn="1"/>
        </p:nvPicPr>
        <p:blipFill>
          <a:blip r:embed="rId2" cstate="print"/>
          <a:stretch>
            <a:fillRect/>
          </a:stretch>
        </p:blipFill>
        <p:spPr>
          <a:xfrm>
            <a:off x="329632" y="2883073"/>
            <a:ext cx="1720800" cy="241898"/>
          </a:xfrm>
          <a:prstGeom prst="rect">
            <a:avLst/>
          </a:prstGeom>
        </p:spPr>
      </p:pic>
    </p:spTree>
    <p:extLst>
      <p:ext uri="{BB962C8B-B14F-4D97-AF65-F5344CB8AC3E}">
        <p14:creationId xmlns:p14="http://schemas.microsoft.com/office/powerpoint/2010/main" val="51776575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1"/>
            </p:custDataLst>
          </p:nvPr>
        </p:nvGraphicFramePr>
        <p:xfrm>
          <a:off x="0" y="0"/>
          <a:ext cx="146050" cy="119063"/>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3"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sz="2250" b="0">
                <a:solidFill>
                  <a:srgbClr val="81BC00"/>
                </a:solidFill>
              </a:defRPr>
            </a:lvl1pPr>
          </a:lstStyle>
          <a:p>
            <a:r>
              <a:rPr lang="en-US" noProof="0" dirty="0"/>
              <a:t>Click to edit Master title style</a:t>
            </a:r>
          </a:p>
        </p:txBody>
      </p:sp>
      <p:sp>
        <p:nvSpPr>
          <p:cNvPr id="8" name="Slide Number Placeholder 7"/>
          <p:cNvSpPr>
            <a:spLocks noGrp="1"/>
          </p:cNvSpPr>
          <p:nvPr>
            <p:ph type="sldNum" sz="quarter" idx="4"/>
          </p:nvPr>
        </p:nvSpPr>
        <p:spPr>
          <a:xfrm>
            <a:off x="7971996" y="4834890"/>
            <a:ext cx="792088" cy="189000"/>
          </a:xfrm>
          <a:prstGeom prst="rect">
            <a:avLst/>
          </a:prstGeom>
        </p:spPr>
        <p:txBody>
          <a:bodyPr vert="horz" lIns="0" tIns="0" rIns="0" bIns="0" rtlCol="0" anchor="ctr" anchorCtr="0"/>
          <a:lstStyle>
            <a:lvl1pPr algn="r">
              <a:defRPr sz="600" b="0">
                <a:solidFill>
                  <a:srgbClr val="8C8C8C"/>
                </a:solidFill>
              </a:defRPr>
            </a:lvl1pPr>
          </a:lstStyle>
          <a:p>
            <a:fld id="{95CC1D26-A9BD-4BDE-BDD9-08EDBAE96860}" type="slidenum">
              <a:rPr lang="en-GB" smtClean="0"/>
              <a:pPr/>
              <a:t>‹#›</a:t>
            </a:fld>
            <a:endParaRPr lang="en-GB" dirty="0"/>
          </a:p>
        </p:txBody>
      </p:sp>
      <p:sp>
        <p:nvSpPr>
          <p:cNvPr id="10" name="Footer Placeholder 4"/>
          <p:cNvSpPr>
            <a:spLocks noGrp="1"/>
          </p:cNvSpPr>
          <p:nvPr>
            <p:ph type="ftr" sz="quarter" idx="3"/>
          </p:nvPr>
        </p:nvSpPr>
        <p:spPr>
          <a:xfrm>
            <a:off x="370114" y="4834890"/>
            <a:ext cx="7559473" cy="189000"/>
          </a:xfrm>
          <a:prstGeom prst="rect">
            <a:avLst/>
          </a:prstGeom>
        </p:spPr>
        <p:txBody>
          <a:bodyPr vert="horz" lIns="0" tIns="0" rIns="0" bIns="0" rtlCol="0" anchor="ctr" anchorCtr="0"/>
          <a:lstStyle>
            <a:lvl1pPr algn="l">
              <a:defRPr sz="600" b="0">
                <a:solidFill>
                  <a:srgbClr val="8C8C8C"/>
                </a:solidFill>
              </a:defRPr>
            </a:lvl1pPr>
          </a:lstStyle>
          <a:p>
            <a:endParaRPr lang="en-GB" dirty="0"/>
          </a:p>
        </p:txBody>
      </p:sp>
    </p:spTree>
    <p:extLst>
      <p:ext uri="{BB962C8B-B14F-4D97-AF65-F5344CB8AC3E}">
        <p14:creationId xmlns:p14="http://schemas.microsoft.com/office/powerpoint/2010/main" val="16728297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Blank type B">
  <p:cSld name="BLANK_2">
    <p:spTree>
      <p:nvGrpSpPr>
        <p:cNvPr id="1" name="Shape 62"/>
        <p:cNvGrpSpPr/>
        <p:nvPr/>
      </p:nvGrpSpPr>
      <p:grpSpPr>
        <a:xfrm>
          <a:off x="0" y="0"/>
          <a:ext cx="0" cy="0"/>
          <a:chOff x="0" y="0"/>
          <a:chExt cx="0" cy="0"/>
        </a:xfrm>
      </p:grpSpPr>
      <p:sp>
        <p:nvSpPr>
          <p:cNvPr id="63" name="Google Shape;63;p14"/>
          <p:cNvSpPr/>
          <p:nvPr/>
        </p:nvSpPr>
        <p:spPr>
          <a:xfrm>
            <a:off x="8556000" y="4576450"/>
            <a:ext cx="435600" cy="435600"/>
          </a:xfrm>
          <a:prstGeom prst="ellipse">
            <a:avLst/>
          </a:prstGeom>
          <a:solidFill>
            <a:srgbClr val="00000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4" name="Google Shape;64;p14"/>
          <p:cNvSpPr txBox="1">
            <a:spLocks noGrp="1"/>
          </p:cNvSpPr>
          <p:nvPr>
            <p:ph type="sldNum" idx="12"/>
          </p:nvPr>
        </p:nvSpPr>
        <p:spPr>
          <a:xfrm>
            <a:off x="8555875" y="4576450"/>
            <a:ext cx="435600" cy="435600"/>
          </a:xfrm>
          <a:prstGeom prst="rect">
            <a:avLst/>
          </a:prstGeom>
          <a:noFill/>
          <a:ln>
            <a:noFill/>
          </a:ln>
        </p:spPr>
        <p:txBody>
          <a:bodyPr spcFirstLastPara="1" wrap="square" lIns="91425" tIns="91425" rIns="91425" bIns="91425" anchor="ctr" anchorCtr="0">
            <a:noAutofit/>
          </a:bodyPr>
          <a:lstStyle>
            <a:lvl1pPr marL="0" marR="0" lvl="0"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1pPr>
            <a:lvl2pPr marL="0" marR="0" lvl="1"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2pPr>
            <a:lvl3pPr marL="0" marR="0" lvl="2"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3pPr>
            <a:lvl4pPr marL="0" marR="0" lvl="3"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4pPr>
            <a:lvl5pPr marL="0" marR="0" lvl="4"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5pPr>
            <a:lvl6pPr marL="0" marR="0" lvl="5"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6pPr>
            <a:lvl7pPr marL="0" marR="0" lvl="6"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7pPr>
            <a:lvl8pPr marL="0" marR="0" lvl="7"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8pPr>
            <a:lvl9pPr marL="0" marR="0" lvl="8"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9pPr>
          </a:lstStyle>
          <a:p>
            <a:pPr marL="0" lvl="0" indent="0" algn="ctr" rtl="0">
              <a:spcBef>
                <a:spcPts val="0"/>
              </a:spcBef>
              <a:spcAft>
                <a:spcPts val="0"/>
              </a:spcAft>
              <a:buNone/>
            </a:pPr>
            <a:fld id="{00000000-1234-1234-1234-123412341234}" type="slidenum">
              <a:rPr lang="en"/>
              <a:t>‹#›</a:t>
            </a:fld>
            <a:endParaRPr/>
          </a:p>
        </p:txBody>
      </p:sp>
      <p:grpSp>
        <p:nvGrpSpPr>
          <p:cNvPr id="65" name="Google Shape;65;p14"/>
          <p:cNvGrpSpPr/>
          <p:nvPr/>
        </p:nvGrpSpPr>
        <p:grpSpPr>
          <a:xfrm>
            <a:off x="818844" y="502333"/>
            <a:ext cx="2324700" cy="2324700"/>
            <a:chOff x="-474900" y="321200"/>
            <a:chExt cx="2324700" cy="2324700"/>
          </a:xfrm>
        </p:grpSpPr>
        <p:sp>
          <p:nvSpPr>
            <p:cNvPr id="66" name="Google Shape;66;p14"/>
            <p:cNvSpPr/>
            <p:nvPr/>
          </p:nvSpPr>
          <p:spPr>
            <a:xfrm>
              <a:off x="-474900" y="321200"/>
              <a:ext cx="2324700" cy="23247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7" name="Google Shape;67;p14"/>
            <p:cNvSpPr/>
            <p:nvPr/>
          </p:nvSpPr>
          <p:spPr>
            <a:xfrm>
              <a:off x="120725" y="916825"/>
              <a:ext cx="1133400" cy="11334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8" name="Google Shape;68;p14"/>
            <p:cNvSpPr/>
            <p:nvPr/>
          </p:nvSpPr>
          <p:spPr>
            <a:xfrm>
              <a:off x="-137125" y="658975"/>
              <a:ext cx="1649100" cy="16491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9" name="Google Shape;69;p14"/>
            <p:cNvSpPr/>
            <p:nvPr/>
          </p:nvSpPr>
          <p:spPr>
            <a:xfrm>
              <a:off x="313650" y="1109750"/>
              <a:ext cx="747600" cy="7476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70" name="Google Shape;70;p14"/>
          <p:cNvSpPr/>
          <p:nvPr/>
        </p:nvSpPr>
        <p:spPr>
          <a:xfrm>
            <a:off x="1794525" y="-407900"/>
            <a:ext cx="5959200" cy="5959200"/>
          </a:xfrm>
          <a:prstGeom prst="ellipse">
            <a:avLst/>
          </a:prstGeom>
          <a:solidFill>
            <a:srgbClr val="000000">
              <a:alpha val="5098"/>
            </a:srgb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ubtitle">
  <p:cSld name="TITLE_1">
    <p:bg>
      <p:bgPr>
        <a:solidFill>
          <a:srgbClr val="000000"/>
        </a:solidFill>
        <a:effectLst/>
      </p:bgPr>
    </p:bg>
    <p:spTree>
      <p:nvGrpSpPr>
        <p:cNvPr id="1" name="Shape 71"/>
        <p:cNvGrpSpPr/>
        <p:nvPr/>
      </p:nvGrpSpPr>
      <p:grpSpPr>
        <a:xfrm>
          <a:off x="0" y="0"/>
          <a:ext cx="0" cy="0"/>
          <a:chOff x="0" y="0"/>
          <a:chExt cx="0" cy="0"/>
        </a:xfrm>
      </p:grpSpPr>
      <p:sp>
        <p:nvSpPr>
          <p:cNvPr id="72" name="Google Shape;72;p15"/>
          <p:cNvSpPr/>
          <p:nvPr/>
        </p:nvSpPr>
        <p:spPr>
          <a:xfrm>
            <a:off x="1592400" y="-407850"/>
            <a:ext cx="5959200" cy="5959200"/>
          </a:xfrm>
          <a:prstGeom prst="ellipse">
            <a:avLst/>
          </a:prstGeom>
          <a:solidFill>
            <a:srgbClr val="FFFFF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nvGrpSpPr>
          <p:cNvPr id="73" name="Google Shape;73;p15"/>
          <p:cNvGrpSpPr/>
          <p:nvPr/>
        </p:nvGrpSpPr>
        <p:grpSpPr>
          <a:xfrm>
            <a:off x="6427669" y="2502633"/>
            <a:ext cx="2324700" cy="2324700"/>
            <a:chOff x="-474900" y="321200"/>
            <a:chExt cx="2324700" cy="2324700"/>
          </a:xfrm>
        </p:grpSpPr>
        <p:sp>
          <p:nvSpPr>
            <p:cNvPr id="74" name="Google Shape;74;p15"/>
            <p:cNvSpPr/>
            <p:nvPr/>
          </p:nvSpPr>
          <p:spPr>
            <a:xfrm>
              <a:off x="-474900" y="321200"/>
              <a:ext cx="2324700" cy="2324700"/>
            </a:xfrm>
            <a:prstGeom prst="ellipse">
              <a:avLst/>
            </a:prstGeom>
            <a:noFill/>
            <a:ln w="9525" cap="flat" cmpd="sng">
              <a:solidFill>
                <a:srgbClr val="CCCCCC"/>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5" name="Google Shape;75;p15"/>
            <p:cNvSpPr/>
            <p:nvPr/>
          </p:nvSpPr>
          <p:spPr>
            <a:xfrm>
              <a:off x="120725" y="916825"/>
              <a:ext cx="1133400" cy="1133400"/>
            </a:xfrm>
            <a:prstGeom prst="ellipse">
              <a:avLst/>
            </a:prstGeom>
            <a:noFill/>
            <a:ln w="9525" cap="flat" cmpd="sng">
              <a:solidFill>
                <a:srgbClr val="CCCCCC"/>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6" name="Google Shape;76;p15"/>
            <p:cNvSpPr/>
            <p:nvPr/>
          </p:nvSpPr>
          <p:spPr>
            <a:xfrm>
              <a:off x="-137125" y="658975"/>
              <a:ext cx="1649100" cy="1649100"/>
            </a:xfrm>
            <a:prstGeom prst="ellipse">
              <a:avLst/>
            </a:prstGeom>
            <a:noFill/>
            <a:ln w="9525" cap="flat" cmpd="sng">
              <a:solidFill>
                <a:srgbClr val="CCCCCC"/>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7" name="Google Shape;77;p15"/>
            <p:cNvSpPr/>
            <p:nvPr/>
          </p:nvSpPr>
          <p:spPr>
            <a:xfrm>
              <a:off x="313650" y="1109750"/>
              <a:ext cx="747600" cy="747600"/>
            </a:xfrm>
            <a:prstGeom prst="ellipse">
              <a:avLst/>
            </a:prstGeom>
            <a:noFill/>
            <a:ln w="9525" cap="flat" cmpd="sng">
              <a:solidFill>
                <a:srgbClr val="CCCCCC"/>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78" name="Google Shape;78;p15"/>
          <p:cNvSpPr txBox="1">
            <a:spLocks noGrp="1"/>
          </p:cNvSpPr>
          <p:nvPr>
            <p:ph type="ctrTitle"/>
          </p:nvPr>
        </p:nvSpPr>
        <p:spPr>
          <a:xfrm>
            <a:off x="2569800" y="2236800"/>
            <a:ext cx="4004400" cy="9567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Clr>
                <a:srgbClr val="000000"/>
              </a:buClr>
              <a:buSzPts val="5200"/>
              <a:buNone/>
              <a:defRPr sz="5200">
                <a:solidFill>
                  <a:srgbClr val="000000"/>
                </a:solidFill>
              </a:defRPr>
            </a:lvl1pPr>
            <a:lvl2pPr lvl="1" algn="ctr">
              <a:lnSpc>
                <a:spcPct val="100000"/>
              </a:lnSpc>
              <a:spcBef>
                <a:spcPts val="0"/>
              </a:spcBef>
              <a:spcAft>
                <a:spcPts val="0"/>
              </a:spcAft>
              <a:buClr>
                <a:srgbClr val="000000"/>
              </a:buClr>
              <a:buSzPts val="5200"/>
              <a:buNone/>
              <a:defRPr sz="5200">
                <a:solidFill>
                  <a:srgbClr val="000000"/>
                </a:solidFill>
              </a:defRPr>
            </a:lvl2pPr>
            <a:lvl3pPr lvl="2" algn="ctr">
              <a:lnSpc>
                <a:spcPct val="100000"/>
              </a:lnSpc>
              <a:spcBef>
                <a:spcPts val="0"/>
              </a:spcBef>
              <a:spcAft>
                <a:spcPts val="0"/>
              </a:spcAft>
              <a:buClr>
                <a:srgbClr val="000000"/>
              </a:buClr>
              <a:buSzPts val="5200"/>
              <a:buNone/>
              <a:defRPr sz="5200">
                <a:solidFill>
                  <a:srgbClr val="000000"/>
                </a:solidFill>
              </a:defRPr>
            </a:lvl3pPr>
            <a:lvl4pPr lvl="3" algn="ctr">
              <a:lnSpc>
                <a:spcPct val="100000"/>
              </a:lnSpc>
              <a:spcBef>
                <a:spcPts val="0"/>
              </a:spcBef>
              <a:spcAft>
                <a:spcPts val="0"/>
              </a:spcAft>
              <a:buClr>
                <a:srgbClr val="000000"/>
              </a:buClr>
              <a:buSzPts val="5200"/>
              <a:buNone/>
              <a:defRPr sz="5200">
                <a:solidFill>
                  <a:srgbClr val="000000"/>
                </a:solidFill>
              </a:defRPr>
            </a:lvl4pPr>
            <a:lvl5pPr lvl="4" algn="ctr">
              <a:lnSpc>
                <a:spcPct val="100000"/>
              </a:lnSpc>
              <a:spcBef>
                <a:spcPts val="0"/>
              </a:spcBef>
              <a:spcAft>
                <a:spcPts val="0"/>
              </a:spcAft>
              <a:buClr>
                <a:srgbClr val="000000"/>
              </a:buClr>
              <a:buSzPts val="5200"/>
              <a:buNone/>
              <a:defRPr sz="5200">
                <a:solidFill>
                  <a:srgbClr val="000000"/>
                </a:solidFill>
              </a:defRPr>
            </a:lvl5pPr>
            <a:lvl6pPr lvl="5" algn="ctr">
              <a:lnSpc>
                <a:spcPct val="100000"/>
              </a:lnSpc>
              <a:spcBef>
                <a:spcPts val="0"/>
              </a:spcBef>
              <a:spcAft>
                <a:spcPts val="0"/>
              </a:spcAft>
              <a:buClr>
                <a:srgbClr val="000000"/>
              </a:buClr>
              <a:buSzPts val="5200"/>
              <a:buNone/>
              <a:defRPr sz="5200">
                <a:solidFill>
                  <a:srgbClr val="000000"/>
                </a:solidFill>
              </a:defRPr>
            </a:lvl6pPr>
            <a:lvl7pPr lvl="6" algn="ctr">
              <a:lnSpc>
                <a:spcPct val="100000"/>
              </a:lnSpc>
              <a:spcBef>
                <a:spcPts val="0"/>
              </a:spcBef>
              <a:spcAft>
                <a:spcPts val="0"/>
              </a:spcAft>
              <a:buClr>
                <a:srgbClr val="000000"/>
              </a:buClr>
              <a:buSzPts val="5200"/>
              <a:buNone/>
              <a:defRPr sz="5200">
                <a:solidFill>
                  <a:srgbClr val="000000"/>
                </a:solidFill>
              </a:defRPr>
            </a:lvl7pPr>
            <a:lvl8pPr lvl="7" algn="ctr">
              <a:lnSpc>
                <a:spcPct val="100000"/>
              </a:lnSpc>
              <a:spcBef>
                <a:spcPts val="0"/>
              </a:spcBef>
              <a:spcAft>
                <a:spcPts val="0"/>
              </a:spcAft>
              <a:buClr>
                <a:srgbClr val="000000"/>
              </a:buClr>
              <a:buSzPts val="5200"/>
              <a:buNone/>
              <a:defRPr sz="5200">
                <a:solidFill>
                  <a:srgbClr val="000000"/>
                </a:solidFill>
              </a:defRPr>
            </a:lvl8pPr>
            <a:lvl9pPr lvl="8" algn="ctr">
              <a:lnSpc>
                <a:spcPct val="100000"/>
              </a:lnSpc>
              <a:spcBef>
                <a:spcPts val="0"/>
              </a:spcBef>
              <a:spcAft>
                <a:spcPts val="0"/>
              </a:spcAft>
              <a:buClr>
                <a:srgbClr val="000000"/>
              </a:buClr>
              <a:buSzPts val="5200"/>
              <a:buNone/>
              <a:defRPr sz="5200">
                <a:solidFill>
                  <a:srgbClr val="000000"/>
                </a:solidFill>
              </a:defRPr>
            </a:lvl9pPr>
          </a:lstStyle>
          <a:p>
            <a:endParaRPr/>
          </a:p>
        </p:txBody>
      </p:sp>
      <p:sp>
        <p:nvSpPr>
          <p:cNvPr id="79" name="Google Shape;79;p15"/>
          <p:cNvSpPr txBox="1">
            <a:spLocks noGrp="1"/>
          </p:cNvSpPr>
          <p:nvPr>
            <p:ph type="subTitle" idx="1"/>
          </p:nvPr>
        </p:nvSpPr>
        <p:spPr>
          <a:xfrm>
            <a:off x="2569800" y="3188701"/>
            <a:ext cx="4004400" cy="7848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Clr>
                <a:srgbClr val="000000"/>
              </a:buClr>
              <a:buSzPts val="1400"/>
              <a:buNone/>
              <a:defRPr sz="1400">
                <a:solidFill>
                  <a:srgbClr val="000000"/>
                </a:solidFill>
              </a:defRPr>
            </a:lvl1pPr>
            <a:lvl2pPr lvl="1" algn="ctr">
              <a:lnSpc>
                <a:spcPct val="100000"/>
              </a:lnSpc>
              <a:spcBef>
                <a:spcPts val="0"/>
              </a:spcBef>
              <a:spcAft>
                <a:spcPts val="0"/>
              </a:spcAft>
              <a:buClr>
                <a:srgbClr val="000000"/>
              </a:buClr>
              <a:buSzPts val="1400"/>
              <a:buNone/>
              <a:defRPr sz="1400">
                <a:solidFill>
                  <a:srgbClr val="000000"/>
                </a:solidFill>
              </a:defRPr>
            </a:lvl2pPr>
            <a:lvl3pPr lvl="2" algn="ctr">
              <a:lnSpc>
                <a:spcPct val="100000"/>
              </a:lnSpc>
              <a:spcBef>
                <a:spcPts val="0"/>
              </a:spcBef>
              <a:spcAft>
                <a:spcPts val="0"/>
              </a:spcAft>
              <a:buClr>
                <a:srgbClr val="000000"/>
              </a:buClr>
              <a:buSzPts val="1400"/>
              <a:buNone/>
              <a:defRPr sz="1400">
                <a:solidFill>
                  <a:srgbClr val="000000"/>
                </a:solidFill>
              </a:defRPr>
            </a:lvl3pPr>
            <a:lvl4pPr lvl="3" algn="ctr">
              <a:lnSpc>
                <a:spcPct val="100000"/>
              </a:lnSpc>
              <a:spcBef>
                <a:spcPts val="0"/>
              </a:spcBef>
              <a:spcAft>
                <a:spcPts val="0"/>
              </a:spcAft>
              <a:buClr>
                <a:srgbClr val="000000"/>
              </a:buClr>
              <a:buSzPts val="1400"/>
              <a:buNone/>
              <a:defRPr sz="1400">
                <a:solidFill>
                  <a:srgbClr val="000000"/>
                </a:solidFill>
              </a:defRPr>
            </a:lvl4pPr>
            <a:lvl5pPr lvl="4" algn="ctr">
              <a:lnSpc>
                <a:spcPct val="100000"/>
              </a:lnSpc>
              <a:spcBef>
                <a:spcPts val="0"/>
              </a:spcBef>
              <a:spcAft>
                <a:spcPts val="0"/>
              </a:spcAft>
              <a:buClr>
                <a:srgbClr val="000000"/>
              </a:buClr>
              <a:buSzPts val="1400"/>
              <a:buNone/>
              <a:defRPr sz="1400">
                <a:solidFill>
                  <a:srgbClr val="000000"/>
                </a:solidFill>
              </a:defRPr>
            </a:lvl5pPr>
            <a:lvl6pPr lvl="5" algn="ctr">
              <a:lnSpc>
                <a:spcPct val="100000"/>
              </a:lnSpc>
              <a:spcBef>
                <a:spcPts val="0"/>
              </a:spcBef>
              <a:spcAft>
                <a:spcPts val="0"/>
              </a:spcAft>
              <a:buClr>
                <a:srgbClr val="000000"/>
              </a:buClr>
              <a:buSzPts val="1400"/>
              <a:buNone/>
              <a:defRPr sz="1400">
                <a:solidFill>
                  <a:srgbClr val="000000"/>
                </a:solidFill>
              </a:defRPr>
            </a:lvl6pPr>
            <a:lvl7pPr lvl="6" algn="ctr">
              <a:lnSpc>
                <a:spcPct val="100000"/>
              </a:lnSpc>
              <a:spcBef>
                <a:spcPts val="0"/>
              </a:spcBef>
              <a:spcAft>
                <a:spcPts val="0"/>
              </a:spcAft>
              <a:buClr>
                <a:srgbClr val="000000"/>
              </a:buClr>
              <a:buSzPts val="1400"/>
              <a:buNone/>
              <a:defRPr sz="1400">
                <a:solidFill>
                  <a:srgbClr val="000000"/>
                </a:solidFill>
              </a:defRPr>
            </a:lvl7pPr>
            <a:lvl8pPr lvl="7" algn="ctr">
              <a:lnSpc>
                <a:spcPct val="100000"/>
              </a:lnSpc>
              <a:spcBef>
                <a:spcPts val="0"/>
              </a:spcBef>
              <a:spcAft>
                <a:spcPts val="0"/>
              </a:spcAft>
              <a:buClr>
                <a:srgbClr val="000000"/>
              </a:buClr>
              <a:buSzPts val="1400"/>
              <a:buNone/>
              <a:defRPr sz="1400">
                <a:solidFill>
                  <a:srgbClr val="000000"/>
                </a:solidFill>
              </a:defRPr>
            </a:lvl8pPr>
            <a:lvl9pPr lvl="8" algn="ctr">
              <a:lnSpc>
                <a:spcPct val="100000"/>
              </a:lnSpc>
              <a:spcBef>
                <a:spcPts val="0"/>
              </a:spcBef>
              <a:spcAft>
                <a:spcPts val="0"/>
              </a:spcAft>
              <a:buClr>
                <a:srgbClr val="000000"/>
              </a:buClr>
              <a:buSzPts val="1400"/>
              <a:buNone/>
              <a:defRPr sz="1400">
                <a:solidFill>
                  <a:srgbClr val="000000"/>
                </a:solidFill>
              </a:defRPr>
            </a:lvl9pPr>
          </a:lstStyle>
          <a:p>
            <a:endParaRPr/>
          </a:p>
        </p:txBody>
      </p:sp>
      <p:grpSp>
        <p:nvGrpSpPr>
          <p:cNvPr id="80" name="Google Shape;80;p15"/>
          <p:cNvGrpSpPr/>
          <p:nvPr/>
        </p:nvGrpSpPr>
        <p:grpSpPr>
          <a:xfrm>
            <a:off x="764825" y="439375"/>
            <a:ext cx="1924500" cy="1924500"/>
            <a:chOff x="6680825" y="2549350"/>
            <a:chExt cx="1539600" cy="1539600"/>
          </a:xfrm>
        </p:grpSpPr>
        <p:sp>
          <p:nvSpPr>
            <p:cNvPr id="81" name="Google Shape;81;p15"/>
            <p:cNvSpPr/>
            <p:nvPr/>
          </p:nvSpPr>
          <p:spPr>
            <a:xfrm>
              <a:off x="6825669" y="2694194"/>
              <a:ext cx="1249800" cy="1249800"/>
            </a:xfrm>
            <a:prstGeom prst="ellipse">
              <a:avLst/>
            </a:prstGeom>
            <a:solidFill>
              <a:srgbClr val="666666">
                <a:alpha val="52156"/>
              </a:srgb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2" name="Google Shape;82;p15"/>
            <p:cNvSpPr/>
            <p:nvPr/>
          </p:nvSpPr>
          <p:spPr>
            <a:xfrm>
              <a:off x="6894850" y="2763375"/>
              <a:ext cx="1111200" cy="1111200"/>
            </a:xfrm>
            <a:prstGeom prst="ellipse">
              <a:avLst/>
            </a:prstGeom>
            <a:solidFill>
              <a:srgbClr val="666666">
                <a:alpha val="52156"/>
              </a:srgb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3" name="Google Shape;83;p15"/>
            <p:cNvSpPr/>
            <p:nvPr/>
          </p:nvSpPr>
          <p:spPr>
            <a:xfrm>
              <a:off x="6680825" y="2549350"/>
              <a:ext cx="1539600" cy="1539600"/>
            </a:xfrm>
            <a:prstGeom prst="donut">
              <a:avLst>
                <a:gd name="adj" fmla="val 495"/>
              </a:avLst>
            </a:prstGeom>
            <a:solidFill>
              <a:srgbClr val="666666">
                <a:alpha val="52156"/>
              </a:srgb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Quote">
  <p:cSld name="TITLE_1_1">
    <p:spTree>
      <p:nvGrpSpPr>
        <p:cNvPr id="1" name="Shape 84"/>
        <p:cNvGrpSpPr/>
        <p:nvPr/>
      </p:nvGrpSpPr>
      <p:grpSpPr>
        <a:xfrm>
          <a:off x="0" y="0"/>
          <a:ext cx="0" cy="0"/>
          <a:chOff x="0" y="0"/>
          <a:chExt cx="0" cy="0"/>
        </a:xfrm>
      </p:grpSpPr>
      <p:grpSp>
        <p:nvGrpSpPr>
          <p:cNvPr id="85" name="Google Shape;85;p16"/>
          <p:cNvGrpSpPr/>
          <p:nvPr/>
        </p:nvGrpSpPr>
        <p:grpSpPr>
          <a:xfrm>
            <a:off x="818844" y="502333"/>
            <a:ext cx="2324700" cy="2324700"/>
            <a:chOff x="-474900" y="321200"/>
            <a:chExt cx="2324700" cy="2324700"/>
          </a:xfrm>
        </p:grpSpPr>
        <p:sp>
          <p:nvSpPr>
            <p:cNvPr id="86" name="Google Shape;86;p16"/>
            <p:cNvSpPr/>
            <p:nvPr/>
          </p:nvSpPr>
          <p:spPr>
            <a:xfrm>
              <a:off x="-474900" y="321200"/>
              <a:ext cx="2324700" cy="23247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7" name="Google Shape;87;p16"/>
            <p:cNvSpPr/>
            <p:nvPr/>
          </p:nvSpPr>
          <p:spPr>
            <a:xfrm>
              <a:off x="120725" y="916825"/>
              <a:ext cx="1133400" cy="11334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8" name="Google Shape;88;p16"/>
            <p:cNvSpPr/>
            <p:nvPr/>
          </p:nvSpPr>
          <p:spPr>
            <a:xfrm>
              <a:off x="-137125" y="658975"/>
              <a:ext cx="1649100" cy="16491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9" name="Google Shape;89;p16"/>
            <p:cNvSpPr/>
            <p:nvPr/>
          </p:nvSpPr>
          <p:spPr>
            <a:xfrm>
              <a:off x="313650" y="1109750"/>
              <a:ext cx="747600" cy="7476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90" name="Google Shape;90;p16"/>
          <p:cNvSpPr/>
          <p:nvPr/>
        </p:nvSpPr>
        <p:spPr>
          <a:xfrm>
            <a:off x="1794525" y="-407900"/>
            <a:ext cx="5959200" cy="5959200"/>
          </a:xfrm>
          <a:prstGeom prst="ellipse">
            <a:avLst/>
          </a:prstGeom>
          <a:solidFill>
            <a:srgbClr val="000000">
              <a:alpha val="5098"/>
            </a:srgb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1" name="Google Shape;91;p16"/>
          <p:cNvSpPr/>
          <p:nvPr/>
        </p:nvSpPr>
        <p:spPr>
          <a:xfrm>
            <a:off x="8556000" y="4576450"/>
            <a:ext cx="435600" cy="435600"/>
          </a:xfrm>
          <a:prstGeom prst="ellipse">
            <a:avLst/>
          </a:prstGeom>
          <a:solidFill>
            <a:srgbClr val="00000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2" name="Google Shape;92;p16"/>
          <p:cNvSpPr txBox="1">
            <a:spLocks noGrp="1"/>
          </p:cNvSpPr>
          <p:nvPr>
            <p:ph type="body" idx="1"/>
          </p:nvPr>
        </p:nvSpPr>
        <p:spPr>
          <a:xfrm>
            <a:off x="2385525" y="1310550"/>
            <a:ext cx="4777200" cy="3265800"/>
          </a:xfrm>
          <a:prstGeom prst="rect">
            <a:avLst/>
          </a:prstGeom>
          <a:noFill/>
          <a:ln>
            <a:noFill/>
          </a:ln>
        </p:spPr>
        <p:txBody>
          <a:bodyPr spcFirstLastPara="1" wrap="square" lIns="91425" tIns="91425" rIns="91425" bIns="91425" anchor="t" anchorCtr="0">
            <a:noAutofit/>
          </a:bodyPr>
          <a:lstStyle>
            <a:lvl1pPr marL="457200" lvl="0" indent="-393700" algn="l">
              <a:lnSpc>
                <a:spcPct val="100000"/>
              </a:lnSpc>
              <a:spcBef>
                <a:spcPts val="600"/>
              </a:spcBef>
              <a:spcAft>
                <a:spcPts val="0"/>
              </a:spcAft>
              <a:buSzPts val="2600"/>
              <a:buFont typeface="Poppins"/>
              <a:buChar char="￮"/>
              <a:defRPr sz="2600" b="1">
                <a:latin typeface="Poppins"/>
                <a:ea typeface="Poppins"/>
                <a:cs typeface="Poppins"/>
                <a:sym typeface="Poppins"/>
              </a:defRPr>
            </a:lvl1pPr>
            <a:lvl2pPr marL="914400" lvl="1" indent="-393700" algn="l">
              <a:lnSpc>
                <a:spcPct val="100000"/>
              </a:lnSpc>
              <a:spcBef>
                <a:spcPts val="0"/>
              </a:spcBef>
              <a:spcAft>
                <a:spcPts val="0"/>
              </a:spcAft>
              <a:buSzPts val="2600"/>
              <a:buFont typeface="Poppins"/>
              <a:buChar char="￮"/>
              <a:defRPr sz="2600" b="1">
                <a:latin typeface="Poppins"/>
                <a:ea typeface="Poppins"/>
                <a:cs typeface="Poppins"/>
                <a:sym typeface="Poppins"/>
              </a:defRPr>
            </a:lvl2pPr>
            <a:lvl3pPr marL="1371600" lvl="2" indent="-393700" algn="l">
              <a:lnSpc>
                <a:spcPct val="100000"/>
              </a:lnSpc>
              <a:spcBef>
                <a:spcPts val="0"/>
              </a:spcBef>
              <a:spcAft>
                <a:spcPts val="0"/>
              </a:spcAft>
              <a:buSzPts val="2600"/>
              <a:buFont typeface="Poppins"/>
              <a:buChar char="￮"/>
              <a:defRPr sz="2600" b="1">
                <a:latin typeface="Poppins"/>
                <a:ea typeface="Poppins"/>
                <a:cs typeface="Poppins"/>
                <a:sym typeface="Poppins"/>
              </a:defRPr>
            </a:lvl3pPr>
            <a:lvl4pPr marL="1828800" lvl="3" indent="-393700" algn="l">
              <a:lnSpc>
                <a:spcPct val="100000"/>
              </a:lnSpc>
              <a:spcBef>
                <a:spcPts val="0"/>
              </a:spcBef>
              <a:spcAft>
                <a:spcPts val="0"/>
              </a:spcAft>
              <a:buSzPts val="2600"/>
              <a:buFont typeface="Poppins"/>
              <a:buChar char="●"/>
              <a:defRPr sz="2600" b="1">
                <a:latin typeface="Poppins"/>
                <a:ea typeface="Poppins"/>
                <a:cs typeface="Poppins"/>
                <a:sym typeface="Poppins"/>
              </a:defRPr>
            </a:lvl4pPr>
            <a:lvl5pPr marL="2286000" lvl="4" indent="-393700" algn="l">
              <a:lnSpc>
                <a:spcPct val="100000"/>
              </a:lnSpc>
              <a:spcBef>
                <a:spcPts val="0"/>
              </a:spcBef>
              <a:spcAft>
                <a:spcPts val="0"/>
              </a:spcAft>
              <a:buSzPts val="2600"/>
              <a:buFont typeface="Poppins"/>
              <a:buChar char="○"/>
              <a:defRPr sz="2600" b="1">
                <a:latin typeface="Poppins"/>
                <a:ea typeface="Poppins"/>
                <a:cs typeface="Poppins"/>
                <a:sym typeface="Poppins"/>
              </a:defRPr>
            </a:lvl5pPr>
            <a:lvl6pPr marL="2743200" lvl="5" indent="-393700" algn="l">
              <a:lnSpc>
                <a:spcPct val="100000"/>
              </a:lnSpc>
              <a:spcBef>
                <a:spcPts val="0"/>
              </a:spcBef>
              <a:spcAft>
                <a:spcPts val="0"/>
              </a:spcAft>
              <a:buSzPts val="2600"/>
              <a:buFont typeface="Poppins"/>
              <a:buChar char="■"/>
              <a:defRPr sz="2600" b="1">
                <a:latin typeface="Poppins"/>
                <a:ea typeface="Poppins"/>
                <a:cs typeface="Poppins"/>
                <a:sym typeface="Poppins"/>
              </a:defRPr>
            </a:lvl6pPr>
            <a:lvl7pPr marL="3200400" lvl="6" indent="-393700" algn="l">
              <a:lnSpc>
                <a:spcPct val="100000"/>
              </a:lnSpc>
              <a:spcBef>
                <a:spcPts val="0"/>
              </a:spcBef>
              <a:spcAft>
                <a:spcPts val="0"/>
              </a:spcAft>
              <a:buSzPts val="2600"/>
              <a:buFont typeface="Poppins"/>
              <a:buChar char="●"/>
              <a:defRPr sz="2600" b="1">
                <a:latin typeface="Poppins"/>
                <a:ea typeface="Poppins"/>
                <a:cs typeface="Poppins"/>
                <a:sym typeface="Poppins"/>
              </a:defRPr>
            </a:lvl7pPr>
            <a:lvl8pPr marL="3657600" lvl="7" indent="-393700" algn="l">
              <a:lnSpc>
                <a:spcPct val="100000"/>
              </a:lnSpc>
              <a:spcBef>
                <a:spcPts val="0"/>
              </a:spcBef>
              <a:spcAft>
                <a:spcPts val="0"/>
              </a:spcAft>
              <a:buSzPts val="2600"/>
              <a:buFont typeface="Poppins"/>
              <a:buChar char="○"/>
              <a:defRPr sz="2600" b="1">
                <a:latin typeface="Poppins"/>
                <a:ea typeface="Poppins"/>
                <a:cs typeface="Poppins"/>
                <a:sym typeface="Poppins"/>
              </a:defRPr>
            </a:lvl8pPr>
            <a:lvl9pPr marL="4114800" lvl="8" indent="-393700" algn="l">
              <a:lnSpc>
                <a:spcPct val="100000"/>
              </a:lnSpc>
              <a:spcBef>
                <a:spcPts val="0"/>
              </a:spcBef>
              <a:spcAft>
                <a:spcPts val="0"/>
              </a:spcAft>
              <a:buSzPts val="2600"/>
              <a:buFont typeface="Poppins"/>
              <a:buChar char="■"/>
              <a:defRPr sz="2600" b="1">
                <a:latin typeface="Poppins"/>
                <a:ea typeface="Poppins"/>
                <a:cs typeface="Poppins"/>
                <a:sym typeface="Poppins"/>
              </a:defRPr>
            </a:lvl9pPr>
          </a:lstStyle>
          <a:p>
            <a:endParaRPr/>
          </a:p>
        </p:txBody>
      </p:sp>
      <p:sp>
        <p:nvSpPr>
          <p:cNvPr id="93" name="Google Shape;93;p16"/>
          <p:cNvSpPr txBox="1"/>
          <p:nvPr/>
        </p:nvSpPr>
        <p:spPr>
          <a:xfrm>
            <a:off x="1599200" y="1326625"/>
            <a:ext cx="764100" cy="653700"/>
          </a:xfrm>
          <a:prstGeom prst="rect">
            <a:avLst/>
          </a:prstGeom>
          <a:noFill/>
          <a:ln>
            <a:noFill/>
          </a:ln>
        </p:spPr>
        <p:txBody>
          <a:bodyPr spcFirstLastPara="1" wrap="square" lIns="91425" tIns="91425" rIns="91425" bIns="91425" anchor="t" anchorCtr="0">
            <a:noAutofit/>
          </a:bodyPr>
          <a:lstStyle/>
          <a:p>
            <a:pPr marL="0" marR="0" lvl="0" indent="0" algn="ctr" rtl="0">
              <a:lnSpc>
                <a:spcPct val="100000"/>
              </a:lnSpc>
              <a:spcBef>
                <a:spcPts val="0"/>
              </a:spcBef>
              <a:spcAft>
                <a:spcPts val="0"/>
              </a:spcAft>
              <a:buClr>
                <a:srgbClr val="000000"/>
              </a:buClr>
              <a:buSzPts val="7200"/>
              <a:buFont typeface="Arial"/>
              <a:buNone/>
            </a:pPr>
            <a:r>
              <a:rPr lang="en" sz="7200" b="1" i="0" u="none" strike="noStrike" cap="none">
                <a:solidFill>
                  <a:srgbClr val="000000"/>
                </a:solidFill>
                <a:latin typeface="Poppins"/>
                <a:ea typeface="Poppins"/>
                <a:cs typeface="Poppins"/>
                <a:sym typeface="Poppins"/>
              </a:rPr>
              <a:t>“</a:t>
            </a:r>
            <a:endParaRPr sz="7200" b="1" i="0" u="none" strike="noStrike" cap="none">
              <a:solidFill>
                <a:srgbClr val="000000"/>
              </a:solidFill>
              <a:latin typeface="Poppins"/>
              <a:ea typeface="Poppins"/>
              <a:cs typeface="Poppins"/>
              <a:sym typeface="Poppins"/>
            </a:endParaRPr>
          </a:p>
        </p:txBody>
      </p:sp>
      <p:sp>
        <p:nvSpPr>
          <p:cNvPr id="94" name="Google Shape;94;p16"/>
          <p:cNvSpPr txBox="1">
            <a:spLocks noGrp="1"/>
          </p:cNvSpPr>
          <p:nvPr>
            <p:ph type="sldNum" idx="12"/>
          </p:nvPr>
        </p:nvSpPr>
        <p:spPr>
          <a:xfrm>
            <a:off x="8555875" y="4576450"/>
            <a:ext cx="435600" cy="435600"/>
          </a:xfrm>
          <a:prstGeom prst="rect">
            <a:avLst/>
          </a:prstGeom>
          <a:noFill/>
          <a:ln>
            <a:noFill/>
          </a:ln>
        </p:spPr>
        <p:txBody>
          <a:bodyPr spcFirstLastPara="1" wrap="square" lIns="91425" tIns="91425" rIns="91425" bIns="91425" anchor="ctr" anchorCtr="0">
            <a:noAutofit/>
          </a:bodyPr>
          <a:lstStyle>
            <a:lvl1pPr marL="0" marR="0" lvl="0"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1pPr>
            <a:lvl2pPr marL="0" marR="0" lvl="1"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2pPr>
            <a:lvl3pPr marL="0" marR="0" lvl="2"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3pPr>
            <a:lvl4pPr marL="0" marR="0" lvl="3"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4pPr>
            <a:lvl5pPr marL="0" marR="0" lvl="4"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5pPr>
            <a:lvl6pPr marL="0" marR="0" lvl="5"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6pPr>
            <a:lvl7pPr marL="0" marR="0" lvl="6"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7pPr>
            <a:lvl8pPr marL="0" marR="0" lvl="7"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8pPr>
            <a:lvl9pPr marL="0" marR="0" lvl="8"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9pPr>
          </a:lstStyle>
          <a:p>
            <a:pPr marL="0" lvl="0" indent="0" algn="ct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 3 columns">
  <p:cSld name="TITLE_AND_TWO_COLUMNS_1">
    <p:spTree>
      <p:nvGrpSpPr>
        <p:cNvPr id="1" name="Shape 95"/>
        <p:cNvGrpSpPr/>
        <p:nvPr/>
      </p:nvGrpSpPr>
      <p:grpSpPr>
        <a:xfrm>
          <a:off x="0" y="0"/>
          <a:ext cx="0" cy="0"/>
          <a:chOff x="0" y="0"/>
          <a:chExt cx="0" cy="0"/>
        </a:xfrm>
      </p:grpSpPr>
      <p:grpSp>
        <p:nvGrpSpPr>
          <p:cNvPr id="96" name="Google Shape;96;p17"/>
          <p:cNvGrpSpPr/>
          <p:nvPr/>
        </p:nvGrpSpPr>
        <p:grpSpPr>
          <a:xfrm>
            <a:off x="-442731" y="337284"/>
            <a:ext cx="2324700" cy="2324700"/>
            <a:chOff x="-474900" y="321200"/>
            <a:chExt cx="2324700" cy="2324700"/>
          </a:xfrm>
        </p:grpSpPr>
        <p:sp>
          <p:nvSpPr>
            <p:cNvPr id="97" name="Google Shape;97;p17"/>
            <p:cNvSpPr/>
            <p:nvPr/>
          </p:nvSpPr>
          <p:spPr>
            <a:xfrm>
              <a:off x="-474900" y="321200"/>
              <a:ext cx="2324700" cy="23247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8" name="Google Shape;98;p17"/>
            <p:cNvSpPr/>
            <p:nvPr/>
          </p:nvSpPr>
          <p:spPr>
            <a:xfrm>
              <a:off x="120725" y="916825"/>
              <a:ext cx="1133400" cy="11334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9" name="Google Shape;99;p17"/>
            <p:cNvSpPr/>
            <p:nvPr/>
          </p:nvSpPr>
          <p:spPr>
            <a:xfrm>
              <a:off x="-137125" y="658975"/>
              <a:ext cx="1649100" cy="16491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0" name="Google Shape;100;p17"/>
            <p:cNvSpPr/>
            <p:nvPr/>
          </p:nvSpPr>
          <p:spPr>
            <a:xfrm>
              <a:off x="313650" y="1109750"/>
              <a:ext cx="747600" cy="7476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101" name="Google Shape;101;p17"/>
          <p:cNvSpPr/>
          <p:nvPr/>
        </p:nvSpPr>
        <p:spPr>
          <a:xfrm>
            <a:off x="8556000" y="4576450"/>
            <a:ext cx="435600" cy="435600"/>
          </a:xfrm>
          <a:prstGeom prst="ellipse">
            <a:avLst/>
          </a:prstGeom>
          <a:solidFill>
            <a:srgbClr val="00000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2" name="Google Shape;102;p17"/>
          <p:cNvSpPr txBox="1">
            <a:spLocks noGrp="1"/>
          </p:cNvSpPr>
          <p:nvPr>
            <p:ph type="title"/>
          </p:nvPr>
        </p:nvSpPr>
        <p:spPr>
          <a:xfrm>
            <a:off x="457200" y="1166125"/>
            <a:ext cx="5220300" cy="6831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3600"/>
              <a:buNone/>
              <a:defRPr/>
            </a:lvl1pPr>
            <a:lvl2pPr lvl="1" algn="l">
              <a:lnSpc>
                <a:spcPct val="100000"/>
              </a:lnSpc>
              <a:spcBef>
                <a:spcPts val="0"/>
              </a:spcBef>
              <a:spcAft>
                <a:spcPts val="0"/>
              </a:spcAft>
              <a:buSzPts val="3600"/>
              <a:buNone/>
              <a:defRPr/>
            </a:lvl2pPr>
            <a:lvl3pPr lvl="2" algn="l">
              <a:lnSpc>
                <a:spcPct val="100000"/>
              </a:lnSpc>
              <a:spcBef>
                <a:spcPts val="0"/>
              </a:spcBef>
              <a:spcAft>
                <a:spcPts val="0"/>
              </a:spcAft>
              <a:buSzPts val="3600"/>
              <a:buNone/>
              <a:defRPr/>
            </a:lvl3pPr>
            <a:lvl4pPr lvl="3" algn="l">
              <a:lnSpc>
                <a:spcPct val="100000"/>
              </a:lnSpc>
              <a:spcBef>
                <a:spcPts val="0"/>
              </a:spcBef>
              <a:spcAft>
                <a:spcPts val="0"/>
              </a:spcAft>
              <a:buSzPts val="3600"/>
              <a:buNone/>
              <a:defRPr/>
            </a:lvl4pPr>
            <a:lvl5pPr lvl="4" algn="l">
              <a:lnSpc>
                <a:spcPct val="100000"/>
              </a:lnSpc>
              <a:spcBef>
                <a:spcPts val="0"/>
              </a:spcBef>
              <a:spcAft>
                <a:spcPts val="0"/>
              </a:spcAft>
              <a:buSzPts val="3600"/>
              <a:buNone/>
              <a:defRPr/>
            </a:lvl5pPr>
            <a:lvl6pPr lvl="5" algn="l">
              <a:lnSpc>
                <a:spcPct val="100000"/>
              </a:lnSpc>
              <a:spcBef>
                <a:spcPts val="0"/>
              </a:spcBef>
              <a:spcAft>
                <a:spcPts val="0"/>
              </a:spcAft>
              <a:buSzPts val="3600"/>
              <a:buNone/>
              <a:defRPr/>
            </a:lvl6pPr>
            <a:lvl7pPr lvl="6" algn="l">
              <a:lnSpc>
                <a:spcPct val="100000"/>
              </a:lnSpc>
              <a:spcBef>
                <a:spcPts val="0"/>
              </a:spcBef>
              <a:spcAft>
                <a:spcPts val="0"/>
              </a:spcAft>
              <a:buSzPts val="3600"/>
              <a:buNone/>
              <a:defRPr/>
            </a:lvl7pPr>
            <a:lvl8pPr lvl="7" algn="l">
              <a:lnSpc>
                <a:spcPct val="100000"/>
              </a:lnSpc>
              <a:spcBef>
                <a:spcPts val="0"/>
              </a:spcBef>
              <a:spcAft>
                <a:spcPts val="0"/>
              </a:spcAft>
              <a:buSzPts val="3600"/>
              <a:buNone/>
              <a:defRPr/>
            </a:lvl8pPr>
            <a:lvl9pPr lvl="8" algn="l">
              <a:lnSpc>
                <a:spcPct val="100000"/>
              </a:lnSpc>
              <a:spcBef>
                <a:spcPts val="0"/>
              </a:spcBef>
              <a:spcAft>
                <a:spcPts val="0"/>
              </a:spcAft>
              <a:buSzPts val="3600"/>
              <a:buNone/>
              <a:defRPr/>
            </a:lvl9pPr>
          </a:lstStyle>
          <a:p>
            <a:endParaRPr/>
          </a:p>
        </p:txBody>
      </p:sp>
      <p:sp>
        <p:nvSpPr>
          <p:cNvPr id="103" name="Google Shape;103;p17"/>
          <p:cNvSpPr txBox="1">
            <a:spLocks noGrp="1"/>
          </p:cNvSpPr>
          <p:nvPr>
            <p:ph type="body" idx="1"/>
          </p:nvPr>
        </p:nvSpPr>
        <p:spPr>
          <a:xfrm>
            <a:off x="1069625" y="1958050"/>
            <a:ext cx="1485300" cy="2618400"/>
          </a:xfrm>
          <a:prstGeom prst="rect">
            <a:avLst/>
          </a:prstGeom>
          <a:noFill/>
          <a:ln>
            <a:noFill/>
          </a:ln>
        </p:spPr>
        <p:txBody>
          <a:bodyPr spcFirstLastPara="1" wrap="square" lIns="91425" tIns="91425" rIns="91425" bIns="91425" anchor="t" anchorCtr="0">
            <a:noAutofit/>
          </a:bodyPr>
          <a:lstStyle>
            <a:lvl1pPr marL="457200" lvl="0" indent="-298450" algn="l">
              <a:lnSpc>
                <a:spcPct val="100000"/>
              </a:lnSpc>
              <a:spcBef>
                <a:spcPts val="600"/>
              </a:spcBef>
              <a:spcAft>
                <a:spcPts val="0"/>
              </a:spcAft>
              <a:buSzPts val="1100"/>
              <a:buChar char="￮"/>
              <a:defRPr sz="1100"/>
            </a:lvl1pPr>
            <a:lvl2pPr marL="914400" lvl="1" indent="-298450" algn="l">
              <a:lnSpc>
                <a:spcPct val="100000"/>
              </a:lnSpc>
              <a:spcBef>
                <a:spcPts val="0"/>
              </a:spcBef>
              <a:spcAft>
                <a:spcPts val="0"/>
              </a:spcAft>
              <a:buSzPts val="1100"/>
              <a:buChar char="￮"/>
              <a:defRPr sz="1100"/>
            </a:lvl2pPr>
            <a:lvl3pPr marL="1371600" lvl="2" indent="-298450" algn="l">
              <a:lnSpc>
                <a:spcPct val="100000"/>
              </a:lnSpc>
              <a:spcBef>
                <a:spcPts val="0"/>
              </a:spcBef>
              <a:spcAft>
                <a:spcPts val="0"/>
              </a:spcAft>
              <a:buSzPts val="1100"/>
              <a:buChar char="￮"/>
              <a:defRPr sz="1100"/>
            </a:lvl3pPr>
            <a:lvl4pPr marL="1828800" lvl="3" indent="-298450" algn="l">
              <a:lnSpc>
                <a:spcPct val="100000"/>
              </a:lnSpc>
              <a:spcBef>
                <a:spcPts val="0"/>
              </a:spcBef>
              <a:spcAft>
                <a:spcPts val="0"/>
              </a:spcAft>
              <a:buSzPts val="1100"/>
              <a:buChar char="●"/>
              <a:defRPr sz="1100"/>
            </a:lvl4pPr>
            <a:lvl5pPr marL="2286000" lvl="4" indent="-298450" algn="l">
              <a:lnSpc>
                <a:spcPct val="100000"/>
              </a:lnSpc>
              <a:spcBef>
                <a:spcPts val="0"/>
              </a:spcBef>
              <a:spcAft>
                <a:spcPts val="0"/>
              </a:spcAft>
              <a:buSzPts val="1100"/>
              <a:buChar char="○"/>
              <a:defRPr sz="1100"/>
            </a:lvl5pPr>
            <a:lvl6pPr marL="2743200" lvl="5" indent="-298450" algn="l">
              <a:lnSpc>
                <a:spcPct val="100000"/>
              </a:lnSpc>
              <a:spcBef>
                <a:spcPts val="0"/>
              </a:spcBef>
              <a:spcAft>
                <a:spcPts val="0"/>
              </a:spcAft>
              <a:buSzPts val="1100"/>
              <a:buChar char="■"/>
              <a:defRPr sz="1100"/>
            </a:lvl6pPr>
            <a:lvl7pPr marL="3200400" lvl="6" indent="-298450" algn="l">
              <a:lnSpc>
                <a:spcPct val="100000"/>
              </a:lnSpc>
              <a:spcBef>
                <a:spcPts val="0"/>
              </a:spcBef>
              <a:spcAft>
                <a:spcPts val="0"/>
              </a:spcAft>
              <a:buSzPts val="1100"/>
              <a:buChar char="●"/>
              <a:defRPr sz="1100"/>
            </a:lvl7pPr>
            <a:lvl8pPr marL="3657600" lvl="7" indent="-298450" algn="l">
              <a:lnSpc>
                <a:spcPct val="100000"/>
              </a:lnSpc>
              <a:spcBef>
                <a:spcPts val="0"/>
              </a:spcBef>
              <a:spcAft>
                <a:spcPts val="0"/>
              </a:spcAft>
              <a:buSzPts val="1100"/>
              <a:buChar char="○"/>
              <a:defRPr sz="1100"/>
            </a:lvl8pPr>
            <a:lvl9pPr marL="4114800" lvl="8" indent="-298450" algn="l">
              <a:lnSpc>
                <a:spcPct val="100000"/>
              </a:lnSpc>
              <a:spcBef>
                <a:spcPts val="0"/>
              </a:spcBef>
              <a:spcAft>
                <a:spcPts val="0"/>
              </a:spcAft>
              <a:buSzPts val="1100"/>
              <a:buChar char="■"/>
              <a:defRPr sz="1100"/>
            </a:lvl9pPr>
          </a:lstStyle>
          <a:p>
            <a:endParaRPr/>
          </a:p>
        </p:txBody>
      </p:sp>
      <p:sp>
        <p:nvSpPr>
          <p:cNvPr id="104" name="Google Shape;104;p17"/>
          <p:cNvSpPr txBox="1">
            <a:spLocks noGrp="1"/>
          </p:cNvSpPr>
          <p:nvPr>
            <p:ph type="body" idx="2"/>
          </p:nvPr>
        </p:nvSpPr>
        <p:spPr>
          <a:xfrm>
            <a:off x="2630936" y="1958050"/>
            <a:ext cx="1485300" cy="2618400"/>
          </a:xfrm>
          <a:prstGeom prst="rect">
            <a:avLst/>
          </a:prstGeom>
          <a:noFill/>
          <a:ln>
            <a:noFill/>
          </a:ln>
        </p:spPr>
        <p:txBody>
          <a:bodyPr spcFirstLastPara="1" wrap="square" lIns="91425" tIns="91425" rIns="91425" bIns="91425" anchor="t" anchorCtr="0">
            <a:noAutofit/>
          </a:bodyPr>
          <a:lstStyle>
            <a:lvl1pPr marL="457200" lvl="0" indent="-298450" algn="l">
              <a:lnSpc>
                <a:spcPct val="100000"/>
              </a:lnSpc>
              <a:spcBef>
                <a:spcPts val="600"/>
              </a:spcBef>
              <a:spcAft>
                <a:spcPts val="0"/>
              </a:spcAft>
              <a:buSzPts val="1100"/>
              <a:buChar char="￮"/>
              <a:defRPr sz="1100"/>
            </a:lvl1pPr>
            <a:lvl2pPr marL="914400" lvl="1" indent="-298450" algn="l">
              <a:lnSpc>
                <a:spcPct val="100000"/>
              </a:lnSpc>
              <a:spcBef>
                <a:spcPts val="0"/>
              </a:spcBef>
              <a:spcAft>
                <a:spcPts val="0"/>
              </a:spcAft>
              <a:buSzPts val="1100"/>
              <a:buChar char="￮"/>
              <a:defRPr sz="1100"/>
            </a:lvl2pPr>
            <a:lvl3pPr marL="1371600" lvl="2" indent="-298450" algn="l">
              <a:lnSpc>
                <a:spcPct val="100000"/>
              </a:lnSpc>
              <a:spcBef>
                <a:spcPts val="0"/>
              </a:spcBef>
              <a:spcAft>
                <a:spcPts val="0"/>
              </a:spcAft>
              <a:buSzPts val="1100"/>
              <a:buChar char="￮"/>
              <a:defRPr sz="1100"/>
            </a:lvl3pPr>
            <a:lvl4pPr marL="1828800" lvl="3" indent="-298450" algn="l">
              <a:lnSpc>
                <a:spcPct val="100000"/>
              </a:lnSpc>
              <a:spcBef>
                <a:spcPts val="0"/>
              </a:spcBef>
              <a:spcAft>
                <a:spcPts val="0"/>
              </a:spcAft>
              <a:buSzPts val="1100"/>
              <a:buChar char="●"/>
              <a:defRPr sz="1100"/>
            </a:lvl4pPr>
            <a:lvl5pPr marL="2286000" lvl="4" indent="-298450" algn="l">
              <a:lnSpc>
                <a:spcPct val="100000"/>
              </a:lnSpc>
              <a:spcBef>
                <a:spcPts val="0"/>
              </a:spcBef>
              <a:spcAft>
                <a:spcPts val="0"/>
              </a:spcAft>
              <a:buSzPts val="1100"/>
              <a:buChar char="○"/>
              <a:defRPr sz="1100"/>
            </a:lvl5pPr>
            <a:lvl6pPr marL="2743200" lvl="5" indent="-298450" algn="l">
              <a:lnSpc>
                <a:spcPct val="100000"/>
              </a:lnSpc>
              <a:spcBef>
                <a:spcPts val="0"/>
              </a:spcBef>
              <a:spcAft>
                <a:spcPts val="0"/>
              </a:spcAft>
              <a:buSzPts val="1100"/>
              <a:buChar char="■"/>
              <a:defRPr sz="1100"/>
            </a:lvl6pPr>
            <a:lvl7pPr marL="3200400" lvl="6" indent="-298450" algn="l">
              <a:lnSpc>
                <a:spcPct val="100000"/>
              </a:lnSpc>
              <a:spcBef>
                <a:spcPts val="0"/>
              </a:spcBef>
              <a:spcAft>
                <a:spcPts val="0"/>
              </a:spcAft>
              <a:buSzPts val="1100"/>
              <a:buChar char="●"/>
              <a:defRPr sz="1100"/>
            </a:lvl7pPr>
            <a:lvl8pPr marL="3657600" lvl="7" indent="-298450" algn="l">
              <a:lnSpc>
                <a:spcPct val="100000"/>
              </a:lnSpc>
              <a:spcBef>
                <a:spcPts val="0"/>
              </a:spcBef>
              <a:spcAft>
                <a:spcPts val="0"/>
              </a:spcAft>
              <a:buSzPts val="1100"/>
              <a:buChar char="○"/>
              <a:defRPr sz="1100"/>
            </a:lvl8pPr>
            <a:lvl9pPr marL="4114800" lvl="8" indent="-298450" algn="l">
              <a:lnSpc>
                <a:spcPct val="100000"/>
              </a:lnSpc>
              <a:spcBef>
                <a:spcPts val="0"/>
              </a:spcBef>
              <a:spcAft>
                <a:spcPts val="0"/>
              </a:spcAft>
              <a:buSzPts val="1100"/>
              <a:buChar char="■"/>
              <a:defRPr sz="1100"/>
            </a:lvl9pPr>
          </a:lstStyle>
          <a:p>
            <a:endParaRPr/>
          </a:p>
        </p:txBody>
      </p:sp>
      <p:sp>
        <p:nvSpPr>
          <p:cNvPr id="105" name="Google Shape;105;p17"/>
          <p:cNvSpPr txBox="1">
            <a:spLocks noGrp="1"/>
          </p:cNvSpPr>
          <p:nvPr>
            <p:ph type="body" idx="3"/>
          </p:nvPr>
        </p:nvSpPr>
        <p:spPr>
          <a:xfrm>
            <a:off x="4192246" y="1958050"/>
            <a:ext cx="1485300" cy="2618400"/>
          </a:xfrm>
          <a:prstGeom prst="rect">
            <a:avLst/>
          </a:prstGeom>
          <a:noFill/>
          <a:ln>
            <a:noFill/>
          </a:ln>
        </p:spPr>
        <p:txBody>
          <a:bodyPr spcFirstLastPara="1" wrap="square" lIns="91425" tIns="91425" rIns="91425" bIns="91425" anchor="t" anchorCtr="0">
            <a:noAutofit/>
          </a:bodyPr>
          <a:lstStyle>
            <a:lvl1pPr marL="457200" lvl="0" indent="-298450" algn="l">
              <a:lnSpc>
                <a:spcPct val="100000"/>
              </a:lnSpc>
              <a:spcBef>
                <a:spcPts val="600"/>
              </a:spcBef>
              <a:spcAft>
                <a:spcPts val="0"/>
              </a:spcAft>
              <a:buSzPts val="1100"/>
              <a:buChar char="￮"/>
              <a:defRPr sz="1100"/>
            </a:lvl1pPr>
            <a:lvl2pPr marL="914400" lvl="1" indent="-298450" algn="l">
              <a:lnSpc>
                <a:spcPct val="100000"/>
              </a:lnSpc>
              <a:spcBef>
                <a:spcPts val="0"/>
              </a:spcBef>
              <a:spcAft>
                <a:spcPts val="0"/>
              </a:spcAft>
              <a:buSzPts val="1100"/>
              <a:buChar char="￮"/>
              <a:defRPr sz="1100"/>
            </a:lvl2pPr>
            <a:lvl3pPr marL="1371600" lvl="2" indent="-298450" algn="l">
              <a:lnSpc>
                <a:spcPct val="100000"/>
              </a:lnSpc>
              <a:spcBef>
                <a:spcPts val="0"/>
              </a:spcBef>
              <a:spcAft>
                <a:spcPts val="0"/>
              </a:spcAft>
              <a:buSzPts val="1100"/>
              <a:buChar char="￮"/>
              <a:defRPr sz="1100"/>
            </a:lvl3pPr>
            <a:lvl4pPr marL="1828800" lvl="3" indent="-298450" algn="l">
              <a:lnSpc>
                <a:spcPct val="100000"/>
              </a:lnSpc>
              <a:spcBef>
                <a:spcPts val="0"/>
              </a:spcBef>
              <a:spcAft>
                <a:spcPts val="0"/>
              </a:spcAft>
              <a:buSzPts val="1100"/>
              <a:buChar char="●"/>
              <a:defRPr sz="1100"/>
            </a:lvl4pPr>
            <a:lvl5pPr marL="2286000" lvl="4" indent="-298450" algn="l">
              <a:lnSpc>
                <a:spcPct val="100000"/>
              </a:lnSpc>
              <a:spcBef>
                <a:spcPts val="0"/>
              </a:spcBef>
              <a:spcAft>
                <a:spcPts val="0"/>
              </a:spcAft>
              <a:buSzPts val="1100"/>
              <a:buChar char="○"/>
              <a:defRPr sz="1100"/>
            </a:lvl5pPr>
            <a:lvl6pPr marL="2743200" lvl="5" indent="-298450" algn="l">
              <a:lnSpc>
                <a:spcPct val="100000"/>
              </a:lnSpc>
              <a:spcBef>
                <a:spcPts val="0"/>
              </a:spcBef>
              <a:spcAft>
                <a:spcPts val="0"/>
              </a:spcAft>
              <a:buSzPts val="1100"/>
              <a:buChar char="■"/>
              <a:defRPr sz="1100"/>
            </a:lvl6pPr>
            <a:lvl7pPr marL="3200400" lvl="6" indent="-298450" algn="l">
              <a:lnSpc>
                <a:spcPct val="100000"/>
              </a:lnSpc>
              <a:spcBef>
                <a:spcPts val="0"/>
              </a:spcBef>
              <a:spcAft>
                <a:spcPts val="0"/>
              </a:spcAft>
              <a:buSzPts val="1100"/>
              <a:buChar char="●"/>
              <a:defRPr sz="1100"/>
            </a:lvl7pPr>
            <a:lvl8pPr marL="3657600" lvl="7" indent="-298450" algn="l">
              <a:lnSpc>
                <a:spcPct val="100000"/>
              </a:lnSpc>
              <a:spcBef>
                <a:spcPts val="0"/>
              </a:spcBef>
              <a:spcAft>
                <a:spcPts val="0"/>
              </a:spcAft>
              <a:buSzPts val="1100"/>
              <a:buChar char="○"/>
              <a:defRPr sz="1100"/>
            </a:lvl8pPr>
            <a:lvl9pPr marL="4114800" lvl="8" indent="-298450" algn="l">
              <a:lnSpc>
                <a:spcPct val="100000"/>
              </a:lnSpc>
              <a:spcBef>
                <a:spcPts val="0"/>
              </a:spcBef>
              <a:spcAft>
                <a:spcPts val="0"/>
              </a:spcAft>
              <a:buSzPts val="1100"/>
              <a:buChar char="■"/>
              <a:defRPr sz="1100"/>
            </a:lvl9pPr>
          </a:lstStyle>
          <a:p>
            <a:endParaRPr/>
          </a:p>
        </p:txBody>
      </p:sp>
      <p:sp>
        <p:nvSpPr>
          <p:cNvPr id="106" name="Google Shape;106;p17"/>
          <p:cNvSpPr txBox="1">
            <a:spLocks noGrp="1"/>
          </p:cNvSpPr>
          <p:nvPr>
            <p:ph type="sldNum" idx="12"/>
          </p:nvPr>
        </p:nvSpPr>
        <p:spPr>
          <a:xfrm>
            <a:off x="8555875" y="4576450"/>
            <a:ext cx="435600" cy="435600"/>
          </a:xfrm>
          <a:prstGeom prst="rect">
            <a:avLst/>
          </a:prstGeom>
          <a:noFill/>
          <a:ln>
            <a:noFill/>
          </a:ln>
        </p:spPr>
        <p:txBody>
          <a:bodyPr spcFirstLastPara="1" wrap="square" lIns="91425" tIns="91425" rIns="91425" bIns="91425" anchor="ctr" anchorCtr="0">
            <a:noAutofit/>
          </a:bodyPr>
          <a:lstStyle>
            <a:lvl1pPr marL="0" marR="0" lvl="0"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1pPr>
            <a:lvl2pPr marL="0" marR="0" lvl="1"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2pPr>
            <a:lvl3pPr marL="0" marR="0" lvl="2"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3pPr>
            <a:lvl4pPr marL="0" marR="0" lvl="3"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4pPr>
            <a:lvl5pPr marL="0" marR="0" lvl="4"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5pPr>
            <a:lvl6pPr marL="0" marR="0" lvl="5"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6pPr>
            <a:lvl7pPr marL="0" marR="0" lvl="6"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7pPr>
            <a:lvl8pPr marL="0" marR="0" lvl="7"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8pPr>
            <a:lvl9pPr marL="0" marR="0" lvl="8"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9pPr>
          </a:lstStyle>
          <a:p>
            <a:pPr marL="0" lvl="0" indent="0" algn="ctr" rtl="0">
              <a:spcBef>
                <a:spcPts val="0"/>
              </a:spcBef>
              <a:spcAft>
                <a:spcPts val="0"/>
              </a:spcAft>
              <a:buNone/>
            </a:pPr>
            <a:fld id="{00000000-1234-1234-1234-123412341234}" type="slidenum">
              <a:rPr lang="en"/>
              <a:t>‹#›</a:t>
            </a:fld>
            <a:endParaRPr/>
          </a:p>
        </p:txBody>
      </p:sp>
      <p:sp>
        <p:nvSpPr>
          <p:cNvPr id="107" name="Google Shape;107;p17"/>
          <p:cNvSpPr/>
          <p:nvPr/>
        </p:nvSpPr>
        <p:spPr>
          <a:xfrm>
            <a:off x="6081700" y="764000"/>
            <a:ext cx="3615600" cy="36156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8" name="Google Shape;108;p17"/>
          <p:cNvSpPr/>
          <p:nvPr/>
        </p:nvSpPr>
        <p:spPr>
          <a:xfrm>
            <a:off x="6272900" y="955200"/>
            <a:ext cx="3233100" cy="3233100"/>
          </a:xfrm>
          <a:prstGeom prst="ellipse">
            <a:avLst/>
          </a:prstGeom>
          <a:solidFill>
            <a:srgbClr val="000000">
              <a:alpha val="5098"/>
            </a:srgb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 1 column + big image">
  <p:cSld name="TITLE_AND_BODY_1">
    <p:spTree>
      <p:nvGrpSpPr>
        <p:cNvPr id="1" name="Shape 109"/>
        <p:cNvGrpSpPr/>
        <p:nvPr/>
      </p:nvGrpSpPr>
      <p:grpSpPr>
        <a:xfrm>
          <a:off x="0" y="0"/>
          <a:ext cx="0" cy="0"/>
          <a:chOff x="0" y="0"/>
          <a:chExt cx="0" cy="0"/>
        </a:xfrm>
      </p:grpSpPr>
      <p:sp>
        <p:nvSpPr>
          <p:cNvPr id="110" name="Google Shape;110;p18"/>
          <p:cNvSpPr/>
          <p:nvPr/>
        </p:nvSpPr>
        <p:spPr>
          <a:xfrm>
            <a:off x="5142675" y="358375"/>
            <a:ext cx="4426800" cy="44268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1" name="Google Shape;111;p18"/>
          <p:cNvSpPr/>
          <p:nvPr/>
        </p:nvSpPr>
        <p:spPr>
          <a:xfrm>
            <a:off x="5376775" y="592475"/>
            <a:ext cx="3958500" cy="3958500"/>
          </a:xfrm>
          <a:prstGeom prst="ellipse">
            <a:avLst/>
          </a:prstGeom>
          <a:solidFill>
            <a:srgbClr val="000000">
              <a:alpha val="5098"/>
            </a:srgb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nvGrpSpPr>
          <p:cNvPr id="112" name="Google Shape;112;p18"/>
          <p:cNvGrpSpPr/>
          <p:nvPr/>
        </p:nvGrpSpPr>
        <p:grpSpPr>
          <a:xfrm>
            <a:off x="-442731" y="337284"/>
            <a:ext cx="2324700" cy="2324700"/>
            <a:chOff x="-474900" y="321200"/>
            <a:chExt cx="2324700" cy="2324700"/>
          </a:xfrm>
        </p:grpSpPr>
        <p:sp>
          <p:nvSpPr>
            <p:cNvPr id="113" name="Google Shape;113;p18"/>
            <p:cNvSpPr/>
            <p:nvPr/>
          </p:nvSpPr>
          <p:spPr>
            <a:xfrm>
              <a:off x="-474900" y="321200"/>
              <a:ext cx="2324700" cy="23247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4" name="Google Shape;114;p18"/>
            <p:cNvSpPr/>
            <p:nvPr/>
          </p:nvSpPr>
          <p:spPr>
            <a:xfrm>
              <a:off x="120725" y="916825"/>
              <a:ext cx="1133400" cy="11334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5" name="Google Shape;115;p18"/>
            <p:cNvSpPr/>
            <p:nvPr/>
          </p:nvSpPr>
          <p:spPr>
            <a:xfrm>
              <a:off x="-137125" y="658975"/>
              <a:ext cx="1649100" cy="16491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6" name="Google Shape;116;p18"/>
            <p:cNvSpPr/>
            <p:nvPr/>
          </p:nvSpPr>
          <p:spPr>
            <a:xfrm>
              <a:off x="313650" y="1109750"/>
              <a:ext cx="747600" cy="7476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117" name="Google Shape;117;p18"/>
          <p:cNvSpPr/>
          <p:nvPr/>
        </p:nvSpPr>
        <p:spPr>
          <a:xfrm>
            <a:off x="8556000" y="4576450"/>
            <a:ext cx="435600" cy="435600"/>
          </a:xfrm>
          <a:prstGeom prst="ellipse">
            <a:avLst/>
          </a:prstGeom>
          <a:solidFill>
            <a:srgbClr val="00000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8" name="Google Shape;118;p18"/>
          <p:cNvSpPr txBox="1">
            <a:spLocks noGrp="1"/>
          </p:cNvSpPr>
          <p:nvPr>
            <p:ph type="title"/>
          </p:nvPr>
        </p:nvSpPr>
        <p:spPr>
          <a:xfrm>
            <a:off x="457200" y="1166125"/>
            <a:ext cx="4504800" cy="6831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3600"/>
              <a:buNone/>
              <a:defRPr/>
            </a:lvl1pPr>
            <a:lvl2pPr lvl="1" algn="l">
              <a:lnSpc>
                <a:spcPct val="100000"/>
              </a:lnSpc>
              <a:spcBef>
                <a:spcPts val="0"/>
              </a:spcBef>
              <a:spcAft>
                <a:spcPts val="0"/>
              </a:spcAft>
              <a:buSzPts val="3600"/>
              <a:buNone/>
              <a:defRPr/>
            </a:lvl2pPr>
            <a:lvl3pPr lvl="2" algn="l">
              <a:lnSpc>
                <a:spcPct val="100000"/>
              </a:lnSpc>
              <a:spcBef>
                <a:spcPts val="0"/>
              </a:spcBef>
              <a:spcAft>
                <a:spcPts val="0"/>
              </a:spcAft>
              <a:buSzPts val="3600"/>
              <a:buNone/>
              <a:defRPr/>
            </a:lvl3pPr>
            <a:lvl4pPr lvl="3" algn="l">
              <a:lnSpc>
                <a:spcPct val="100000"/>
              </a:lnSpc>
              <a:spcBef>
                <a:spcPts val="0"/>
              </a:spcBef>
              <a:spcAft>
                <a:spcPts val="0"/>
              </a:spcAft>
              <a:buSzPts val="3600"/>
              <a:buNone/>
              <a:defRPr/>
            </a:lvl4pPr>
            <a:lvl5pPr lvl="4" algn="l">
              <a:lnSpc>
                <a:spcPct val="100000"/>
              </a:lnSpc>
              <a:spcBef>
                <a:spcPts val="0"/>
              </a:spcBef>
              <a:spcAft>
                <a:spcPts val="0"/>
              </a:spcAft>
              <a:buSzPts val="3600"/>
              <a:buNone/>
              <a:defRPr/>
            </a:lvl5pPr>
            <a:lvl6pPr lvl="5" algn="l">
              <a:lnSpc>
                <a:spcPct val="100000"/>
              </a:lnSpc>
              <a:spcBef>
                <a:spcPts val="0"/>
              </a:spcBef>
              <a:spcAft>
                <a:spcPts val="0"/>
              </a:spcAft>
              <a:buSzPts val="3600"/>
              <a:buNone/>
              <a:defRPr/>
            </a:lvl6pPr>
            <a:lvl7pPr lvl="6" algn="l">
              <a:lnSpc>
                <a:spcPct val="100000"/>
              </a:lnSpc>
              <a:spcBef>
                <a:spcPts val="0"/>
              </a:spcBef>
              <a:spcAft>
                <a:spcPts val="0"/>
              </a:spcAft>
              <a:buSzPts val="3600"/>
              <a:buNone/>
              <a:defRPr/>
            </a:lvl7pPr>
            <a:lvl8pPr lvl="7" algn="l">
              <a:lnSpc>
                <a:spcPct val="100000"/>
              </a:lnSpc>
              <a:spcBef>
                <a:spcPts val="0"/>
              </a:spcBef>
              <a:spcAft>
                <a:spcPts val="0"/>
              </a:spcAft>
              <a:buSzPts val="3600"/>
              <a:buNone/>
              <a:defRPr/>
            </a:lvl8pPr>
            <a:lvl9pPr lvl="8" algn="l">
              <a:lnSpc>
                <a:spcPct val="100000"/>
              </a:lnSpc>
              <a:spcBef>
                <a:spcPts val="0"/>
              </a:spcBef>
              <a:spcAft>
                <a:spcPts val="0"/>
              </a:spcAft>
              <a:buSzPts val="3600"/>
              <a:buNone/>
              <a:defRPr/>
            </a:lvl9pPr>
          </a:lstStyle>
          <a:p>
            <a:endParaRPr/>
          </a:p>
        </p:txBody>
      </p:sp>
      <p:sp>
        <p:nvSpPr>
          <p:cNvPr id="119" name="Google Shape;119;p18"/>
          <p:cNvSpPr txBox="1">
            <a:spLocks noGrp="1"/>
          </p:cNvSpPr>
          <p:nvPr>
            <p:ph type="body" idx="1"/>
          </p:nvPr>
        </p:nvSpPr>
        <p:spPr>
          <a:xfrm>
            <a:off x="985679" y="1958050"/>
            <a:ext cx="3976500" cy="2618400"/>
          </a:xfrm>
          <a:prstGeom prst="rect">
            <a:avLst/>
          </a:prstGeom>
          <a:noFill/>
          <a:ln>
            <a:noFill/>
          </a:ln>
        </p:spPr>
        <p:txBody>
          <a:bodyPr spcFirstLastPara="1" wrap="square" lIns="91425" tIns="91425" rIns="91425" bIns="91425" anchor="t" anchorCtr="0">
            <a:noAutofit/>
          </a:bodyPr>
          <a:lstStyle>
            <a:lvl1pPr marL="457200" lvl="0" indent="-330200" algn="l">
              <a:lnSpc>
                <a:spcPct val="100000"/>
              </a:lnSpc>
              <a:spcBef>
                <a:spcPts val="600"/>
              </a:spcBef>
              <a:spcAft>
                <a:spcPts val="0"/>
              </a:spcAft>
              <a:buSzPts val="1600"/>
              <a:buChar char="￮"/>
              <a:defRPr/>
            </a:lvl1pPr>
            <a:lvl2pPr marL="914400" lvl="1" indent="-330200" algn="l">
              <a:lnSpc>
                <a:spcPct val="100000"/>
              </a:lnSpc>
              <a:spcBef>
                <a:spcPts val="0"/>
              </a:spcBef>
              <a:spcAft>
                <a:spcPts val="0"/>
              </a:spcAft>
              <a:buSzPts val="1600"/>
              <a:buChar char="￮"/>
              <a:defRPr/>
            </a:lvl2pPr>
            <a:lvl3pPr marL="1371600" lvl="2" indent="-330200" algn="l">
              <a:lnSpc>
                <a:spcPct val="100000"/>
              </a:lnSpc>
              <a:spcBef>
                <a:spcPts val="0"/>
              </a:spcBef>
              <a:spcAft>
                <a:spcPts val="0"/>
              </a:spcAft>
              <a:buSzPts val="1600"/>
              <a:buChar char="￮"/>
              <a:defRPr/>
            </a:lvl3pPr>
            <a:lvl4pPr marL="1828800" lvl="3" indent="-330200" algn="l">
              <a:lnSpc>
                <a:spcPct val="100000"/>
              </a:lnSpc>
              <a:spcBef>
                <a:spcPts val="0"/>
              </a:spcBef>
              <a:spcAft>
                <a:spcPts val="0"/>
              </a:spcAft>
              <a:buSzPts val="1600"/>
              <a:buChar char="●"/>
              <a:defRPr/>
            </a:lvl4pPr>
            <a:lvl5pPr marL="2286000" lvl="4" indent="-330200" algn="l">
              <a:lnSpc>
                <a:spcPct val="100000"/>
              </a:lnSpc>
              <a:spcBef>
                <a:spcPts val="0"/>
              </a:spcBef>
              <a:spcAft>
                <a:spcPts val="0"/>
              </a:spcAft>
              <a:buSzPts val="1600"/>
              <a:buChar char="○"/>
              <a:defRPr/>
            </a:lvl5pPr>
            <a:lvl6pPr marL="2743200" lvl="5" indent="-330200" algn="l">
              <a:lnSpc>
                <a:spcPct val="100000"/>
              </a:lnSpc>
              <a:spcBef>
                <a:spcPts val="0"/>
              </a:spcBef>
              <a:spcAft>
                <a:spcPts val="0"/>
              </a:spcAft>
              <a:buSzPts val="1600"/>
              <a:buChar char="■"/>
              <a:defRPr/>
            </a:lvl6pPr>
            <a:lvl7pPr marL="3200400" lvl="6" indent="-330200" algn="l">
              <a:lnSpc>
                <a:spcPct val="100000"/>
              </a:lnSpc>
              <a:spcBef>
                <a:spcPts val="0"/>
              </a:spcBef>
              <a:spcAft>
                <a:spcPts val="0"/>
              </a:spcAft>
              <a:buSzPts val="1600"/>
              <a:buChar char="●"/>
              <a:defRPr/>
            </a:lvl7pPr>
            <a:lvl8pPr marL="3657600" lvl="7" indent="-330200" algn="l">
              <a:lnSpc>
                <a:spcPct val="100000"/>
              </a:lnSpc>
              <a:spcBef>
                <a:spcPts val="0"/>
              </a:spcBef>
              <a:spcAft>
                <a:spcPts val="0"/>
              </a:spcAft>
              <a:buSzPts val="1600"/>
              <a:buChar char="○"/>
              <a:defRPr/>
            </a:lvl8pPr>
            <a:lvl9pPr marL="4114800" lvl="8" indent="-330200" algn="l">
              <a:lnSpc>
                <a:spcPct val="100000"/>
              </a:lnSpc>
              <a:spcBef>
                <a:spcPts val="0"/>
              </a:spcBef>
              <a:spcAft>
                <a:spcPts val="0"/>
              </a:spcAft>
              <a:buSzPts val="1600"/>
              <a:buChar char="■"/>
              <a:defRPr/>
            </a:lvl9pPr>
          </a:lstStyle>
          <a:p>
            <a:endParaRPr/>
          </a:p>
        </p:txBody>
      </p:sp>
      <p:sp>
        <p:nvSpPr>
          <p:cNvPr id="120" name="Google Shape;120;p18"/>
          <p:cNvSpPr txBox="1">
            <a:spLocks noGrp="1"/>
          </p:cNvSpPr>
          <p:nvPr>
            <p:ph type="sldNum" idx="12"/>
          </p:nvPr>
        </p:nvSpPr>
        <p:spPr>
          <a:xfrm>
            <a:off x="8555875" y="4576450"/>
            <a:ext cx="435600" cy="435600"/>
          </a:xfrm>
          <a:prstGeom prst="rect">
            <a:avLst/>
          </a:prstGeom>
          <a:noFill/>
          <a:ln>
            <a:noFill/>
          </a:ln>
        </p:spPr>
        <p:txBody>
          <a:bodyPr spcFirstLastPara="1" wrap="square" lIns="91425" tIns="91425" rIns="91425" bIns="91425" anchor="ctr" anchorCtr="0">
            <a:noAutofit/>
          </a:bodyPr>
          <a:lstStyle>
            <a:lvl1pPr marL="0" marR="0" lvl="0"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1pPr>
            <a:lvl2pPr marL="0" marR="0" lvl="1"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2pPr>
            <a:lvl3pPr marL="0" marR="0" lvl="2"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3pPr>
            <a:lvl4pPr marL="0" marR="0" lvl="3"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4pPr>
            <a:lvl5pPr marL="0" marR="0" lvl="4"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5pPr>
            <a:lvl6pPr marL="0" marR="0" lvl="5"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6pPr>
            <a:lvl7pPr marL="0" marR="0" lvl="6"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7pPr>
            <a:lvl8pPr marL="0" marR="0" lvl="7"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8pPr>
            <a:lvl9pPr marL="0" marR="0" lvl="8" indent="0" algn="ctr">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9pPr>
          </a:lstStyle>
          <a:p>
            <a:pPr marL="0" lvl="0" indent="0" algn="ctr" rtl="0">
              <a:spcBef>
                <a:spcPts val="0"/>
              </a:spcBef>
              <a:spcAft>
                <a:spcPts val="0"/>
              </a:spcAft>
              <a:buNone/>
            </a:pPr>
            <a:fld id="{00000000-1234-1234-1234-123412341234}" type="slidenum">
              <a:rPr lang="en"/>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theme" Target="../theme/theme3.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
    <p:bg>
      <p:bgPr>
        <a:solidFill>
          <a:schemeClr val="lt1"/>
        </a:solidFill>
        <a:effectLst/>
      </p:bgPr>
    </p:bg>
    <p:spTree>
      <p:nvGrpSpPr>
        <p:cNvPr id="1" name="Shape 5"/>
        <p:cNvGrpSpPr/>
        <p:nvPr/>
      </p:nvGrpSpPr>
      <p:grpSpPr>
        <a:xfrm>
          <a:off x="0" y="0"/>
          <a:ext cx="0" cy="0"/>
          <a:chOff x="0" y="0"/>
          <a:chExt cx="0" cy="0"/>
        </a:xfrm>
      </p:grpSpPr>
      <p:sp>
        <p:nvSpPr>
          <p:cNvPr id="6" name="Google Shape;6;p8"/>
          <p:cNvSpPr txBox="1">
            <a:spLocks noGrp="1"/>
          </p:cNvSpPr>
          <p:nvPr>
            <p:ph type="sldNum" idx="12"/>
          </p:nvPr>
        </p:nvSpPr>
        <p:spPr>
          <a:xfrm>
            <a:off x="8555875" y="4576450"/>
            <a:ext cx="435600" cy="435600"/>
          </a:xfrm>
          <a:prstGeom prst="rect">
            <a:avLst/>
          </a:prstGeom>
          <a:noFill/>
          <a:ln>
            <a:noFill/>
          </a:ln>
        </p:spPr>
        <p:txBody>
          <a:bodyPr spcFirstLastPara="1" wrap="square" lIns="91425" tIns="91425" rIns="91425" bIns="91425" anchor="ctr" anchorCtr="0">
            <a:noAutofit/>
          </a:bodyPr>
          <a:lstStyle>
            <a:lvl1pPr marL="0" marR="0" lvl="0" indent="0" algn="ctr" rtl="0">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1pPr>
            <a:lvl2pPr marL="0" marR="0" lvl="1" indent="0" algn="ctr" rtl="0">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2pPr>
            <a:lvl3pPr marL="0" marR="0" lvl="2" indent="0" algn="ctr" rtl="0">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3pPr>
            <a:lvl4pPr marL="0" marR="0" lvl="3" indent="0" algn="ctr" rtl="0">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4pPr>
            <a:lvl5pPr marL="0" marR="0" lvl="4" indent="0" algn="ctr" rtl="0">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5pPr>
            <a:lvl6pPr marL="0" marR="0" lvl="5" indent="0" algn="ctr" rtl="0">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6pPr>
            <a:lvl7pPr marL="0" marR="0" lvl="6" indent="0" algn="ctr" rtl="0">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7pPr>
            <a:lvl8pPr marL="0" marR="0" lvl="7" indent="0" algn="ctr" rtl="0">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8pPr>
            <a:lvl9pPr marL="0" marR="0" lvl="8" indent="0" algn="ctr" rtl="0">
              <a:lnSpc>
                <a:spcPct val="100000"/>
              </a:lnSpc>
              <a:spcBef>
                <a:spcPts val="0"/>
              </a:spcBef>
              <a:spcAft>
                <a:spcPts val="0"/>
              </a:spcAft>
              <a:buClr>
                <a:srgbClr val="000000"/>
              </a:buClr>
              <a:buSzPts val="1000"/>
              <a:buFont typeface="Arial"/>
              <a:buNone/>
              <a:defRPr sz="1000" b="1" i="0" u="none" strike="noStrike" cap="none">
                <a:solidFill>
                  <a:srgbClr val="FFFFFF"/>
                </a:solidFill>
                <a:latin typeface="Poppins"/>
                <a:ea typeface="Poppins"/>
                <a:cs typeface="Poppins"/>
                <a:sym typeface="Poppins"/>
              </a:defRPr>
            </a:lvl9pPr>
          </a:lstStyle>
          <a:p>
            <a:pPr marL="0" lvl="0" indent="0" algn="ctr" rtl="0">
              <a:spcBef>
                <a:spcPts val="0"/>
              </a:spcBef>
              <a:spcAft>
                <a:spcPts val="0"/>
              </a:spcAft>
              <a:buNone/>
            </a:pPr>
            <a:fld id="{00000000-1234-1234-1234-123412341234}" type="slidenum">
              <a:rPr lang="en"/>
              <a:t>‹#›</a:t>
            </a:fld>
            <a:endParaRPr/>
          </a:p>
        </p:txBody>
      </p:sp>
      <p:sp>
        <p:nvSpPr>
          <p:cNvPr id="7" name="Google Shape;7;p8"/>
          <p:cNvSpPr txBox="1">
            <a:spLocks noGrp="1"/>
          </p:cNvSpPr>
          <p:nvPr>
            <p:ph type="title"/>
          </p:nvPr>
        </p:nvSpPr>
        <p:spPr>
          <a:xfrm>
            <a:off x="457200" y="1166125"/>
            <a:ext cx="5220300" cy="683100"/>
          </a:xfrm>
          <a:prstGeom prst="rect">
            <a:avLst/>
          </a:prstGeom>
          <a:noFill/>
          <a:ln>
            <a:noFill/>
          </a:ln>
        </p:spPr>
        <p:txBody>
          <a:bodyPr spcFirstLastPara="1" wrap="square" lIns="91425" tIns="91425" rIns="91425" bIns="91425" anchor="b" anchorCtr="0">
            <a:noAutofit/>
          </a:bodyPr>
          <a:lstStyle>
            <a:lvl1pPr marR="0" lvl="0" algn="l" rtl="0">
              <a:lnSpc>
                <a:spcPct val="100000"/>
              </a:lnSpc>
              <a:spcBef>
                <a:spcPts val="0"/>
              </a:spcBef>
              <a:spcAft>
                <a:spcPts val="0"/>
              </a:spcAft>
              <a:buClr>
                <a:schemeClr val="dk1"/>
              </a:buClr>
              <a:buSzPts val="3600"/>
              <a:buFont typeface="Poppins"/>
              <a:buNone/>
              <a:defRPr sz="3600" b="1" i="0" u="none" strike="noStrike" cap="none">
                <a:solidFill>
                  <a:schemeClr val="dk1"/>
                </a:solidFill>
                <a:latin typeface="Poppins"/>
                <a:ea typeface="Poppins"/>
                <a:cs typeface="Poppins"/>
                <a:sym typeface="Poppins"/>
              </a:defRPr>
            </a:lvl1pPr>
            <a:lvl2pPr marR="0" lvl="1" algn="l" rtl="0">
              <a:lnSpc>
                <a:spcPct val="100000"/>
              </a:lnSpc>
              <a:spcBef>
                <a:spcPts val="0"/>
              </a:spcBef>
              <a:spcAft>
                <a:spcPts val="0"/>
              </a:spcAft>
              <a:buClr>
                <a:schemeClr val="dk1"/>
              </a:buClr>
              <a:buSzPts val="3600"/>
              <a:buFont typeface="Poppins"/>
              <a:buNone/>
              <a:defRPr sz="3600" b="1" i="0" u="none" strike="noStrike" cap="none">
                <a:solidFill>
                  <a:schemeClr val="dk1"/>
                </a:solidFill>
                <a:latin typeface="Poppins"/>
                <a:ea typeface="Poppins"/>
                <a:cs typeface="Poppins"/>
                <a:sym typeface="Poppins"/>
              </a:defRPr>
            </a:lvl2pPr>
            <a:lvl3pPr marR="0" lvl="2" algn="l" rtl="0">
              <a:lnSpc>
                <a:spcPct val="100000"/>
              </a:lnSpc>
              <a:spcBef>
                <a:spcPts val="0"/>
              </a:spcBef>
              <a:spcAft>
                <a:spcPts val="0"/>
              </a:spcAft>
              <a:buClr>
                <a:schemeClr val="dk1"/>
              </a:buClr>
              <a:buSzPts val="3600"/>
              <a:buFont typeface="Poppins"/>
              <a:buNone/>
              <a:defRPr sz="3600" b="1" i="0" u="none" strike="noStrike" cap="none">
                <a:solidFill>
                  <a:schemeClr val="dk1"/>
                </a:solidFill>
                <a:latin typeface="Poppins"/>
                <a:ea typeface="Poppins"/>
                <a:cs typeface="Poppins"/>
                <a:sym typeface="Poppins"/>
              </a:defRPr>
            </a:lvl3pPr>
            <a:lvl4pPr marR="0" lvl="3" algn="l" rtl="0">
              <a:lnSpc>
                <a:spcPct val="100000"/>
              </a:lnSpc>
              <a:spcBef>
                <a:spcPts val="0"/>
              </a:spcBef>
              <a:spcAft>
                <a:spcPts val="0"/>
              </a:spcAft>
              <a:buClr>
                <a:schemeClr val="dk1"/>
              </a:buClr>
              <a:buSzPts val="3600"/>
              <a:buFont typeface="Poppins"/>
              <a:buNone/>
              <a:defRPr sz="3600" b="1" i="0" u="none" strike="noStrike" cap="none">
                <a:solidFill>
                  <a:schemeClr val="dk1"/>
                </a:solidFill>
                <a:latin typeface="Poppins"/>
                <a:ea typeface="Poppins"/>
                <a:cs typeface="Poppins"/>
                <a:sym typeface="Poppins"/>
              </a:defRPr>
            </a:lvl4pPr>
            <a:lvl5pPr marR="0" lvl="4" algn="l" rtl="0">
              <a:lnSpc>
                <a:spcPct val="100000"/>
              </a:lnSpc>
              <a:spcBef>
                <a:spcPts val="0"/>
              </a:spcBef>
              <a:spcAft>
                <a:spcPts val="0"/>
              </a:spcAft>
              <a:buClr>
                <a:schemeClr val="dk1"/>
              </a:buClr>
              <a:buSzPts val="3600"/>
              <a:buFont typeface="Poppins"/>
              <a:buNone/>
              <a:defRPr sz="3600" b="1" i="0" u="none" strike="noStrike" cap="none">
                <a:solidFill>
                  <a:schemeClr val="dk1"/>
                </a:solidFill>
                <a:latin typeface="Poppins"/>
                <a:ea typeface="Poppins"/>
                <a:cs typeface="Poppins"/>
                <a:sym typeface="Poppins"/>
              </a:defRPr>
            </a:lvl5pPr>
            <a:lvl6pPr marR="0" lvl="5" algn="l" rtl="0">
              <a:lnSpc>
                <a:spcPct val="100000"/>
              </a:lnSpc>
              <a:spcBef>
                <a:spcPts val="0"/>
              </a:spcBef>
              <a:spcAft>
                <a:spcPts val="0"/>
              </a:spcAft>
              <a:buClr>
                <a:schemeClr val="dk1"/>
              </a:buClr>
              <a:buSzPts val="3600"/>
              <a:buFont typeface="Poppins"/>
              <a:buNone/>
              <a:defRPr sz="3600" b="1" i="0" u="none" strike="noStrike" cap="none">
                <a:solidFill>
                  <a:schemeClr val="dk1"/>
                </a:solidFill>
                <a:latin typeface="Poppins"/>
                <a:ea typeface="Poppins"/>
                <a:cs typeface="Poppins"/>
                <a:sym typeface="Poppins"/>
              </a:defRPr>
            </a:lvl6pPr>
            <a:lvl7pPr marR="0" lvl="6" algn="l" rtl="0">
              <a:lnSpc>
                <a:spcPct val="100000"/>
              </a:lnSpc>
              <a:spcBef>
                <a:spcPts val="0"/>
              </a:spcBef>
              <a:spcAft>
                <a:spcPts val="0"/>
              </a:spcAft>
              <a:buClr>
                <a:schemeClr val="dk1"/>
              </a:buClr>
              <a:buSzPts val="3600"/>
              <a:buFont typeface="Poppins"/>
              <a:buNone/>
              <a:defRPr sz="3600" b="1" i="0" u="none" strike="noStrike" cap="none">
                <a:solidFill>
                  <a:schemeClr val="dk1"/>
                </a:solidFill>
                <a:latin typeface="Poppins"/>
                <a:ea typeface="Poppins"/>
                <a:cs typeface="Poppins"/>
                <a:sym typeface="Poppins"/>
              </a:defRPr>
            </a:lvl7pPr>
            <a:lvl8pPr marR="0" lvl="7" algn="l" rtl="0">
              <a:lnSpc>
                <a:spcPct val="100000"/>
              </a:lnSpc>
              <a:spcBef>
                <a:spcPts val="0"/>
              </a:spcBef>
              <a:spcAft>
                <a:spcPts val="0"/>
              </a:spcAft>
              <a:buClr>
                <a:schemeClr val="dk1"/>
              </a:buClr>
              <a:buSzPts val="3600"/>
              <a:buFont typeface="Poppins"/>
              <a:buNone/>
              <a:defRPr sz="3600" b="1" i="0" u="none" strike="noStrike" cap="none">
                <a:solidFill>
                  <a:schemeClr val="dk1"/>
                </a:solidFill>
                <a:latin typeface="Poppins"/>
                <a:ea typeface="Poppins"/>
                <a:cs typeface="Poppins"/>
                <a:sym typeface="Poppins"/>
              </a:defRPr>
            </a:lvl8pPr>
            <a:lvl9pPr marR="0" lvl="8" algn="l" rtl="0">
              <a:lnSpc>
                <a:spcPct val="100000"/>
              </a:lnSpc>
              <a:spcBef>
                <a:spcPts val="0"/>
              </a:spcBef>
              <a:spcAft>
                <a:spcPts val="0"/>
              </a:spcAft>
              <a:buClr>
                <a:schemeClr val="dk1"/>
              </a:buClr>
              <a:buSzPts val="3600"/>
              <a:buFont typeface="Poppins"/>
              <a:buNone/>
              <a:defRPr sz="3600" b="1" i="0" u="none" strike="noStrike" cap="none">
                <a:solidFill>
                  <a:schemeClr val="dk1"/>
                </a:solidFill>
                <a:latin typeface="Poppins"/>
                <a:ea typeface="Poppins"/>
                <a:cs typeface="Poppins"/>
                <a:sym typeface="Poppins"/>
              </a:defRPr>
            </a:lvl9pPr>
          </a:lstStyle>
          <a:p>
            <a:endParaRPr/>
          </a:p>
        </p:txBody>
      </p:sp>
      <p:sp>
        <p:nvSpPr>
          <p:cNvPr id="8" name="Google Shape;8;p8"/>
          <p:cNvSpPr txBox="1">
            <a:spLocks noGrp="1"/>
          </p:cNvSpPr>
          <p:nvPr>
            <p:ph type="body" idx="1"/>
          </p:nvPr>
        </p:nvSpPr>
        <p:spPr>
          <a:xfrm>
            <a:off x="1069625" y="1958050"/>
            <a:ext cx="4608300" cy="2618400"/>
          </a:xfrm>
          <a:prstGeom prst="rect">
            <a:avLst/>
          </a:prstGeom>
          <a:noFill/>
          <a:ln>
            <a:noFill/>
          </a:ln>
        </p:spPr>
        <p:txBody>
          <a:bodyPr spcFirstLastPara="1" wrap="square" lIns="91425" tIns="91425" rIns="91425" bIns="91425" anchor="t" anchorCtr="0">
            <a:noAutofit/>
          </a:bodyPr>
          <a:lstStyle>
            <a:lvl1pPr marL="457200" marR="0" lvl="0" indent="-330200" algn="l" rtl="0">
              <a:lnSpc>
                <a:spcPct val="100000"/>
              </a:lnSpc>
              <a:spcBef>
                <a:spcPts val="600"/>
              </a:spcBef>
              <a:spcAft>
                <a:spcPts val="0"/>
              </a:spcAft>
              <a:buClr>
                <a:schemeClr val="lt2"/>
              </a:buClr>
              <a:buSzPts val="1600"/>
              <a:buFont typeface="Poppins Light"/>
              <a:buChar char="￮"/>
              <a:defRPr sz="1600" b="0" i="0" u="none" strike="noStrike" cap="none">
                <a:solidFill>
                  <a:schemeClr val="dk1"/>
                </a:solidFill>
                <a:latin typeface="Poppins Light"/>
                <a:ea typeface="Poppins Light"/>
                <a:cs typeface="Poppins Light"/>
                <a:sym typeface="Poppins Light"/>
              </a:defRPr>
            </a:lvl1pPr>
            <a:lvl2pPr marL="914400" marR="0" lvl="1" indent="-330200" algn="l" rtl="0">
              <a:lnSpc>
                <a:spcPct val="100000"/>
              </a:lnSpc>
              <a:spcBef>
                <a:spcPts val="0"/>
              </a:spcBef>
              <a:spcAft>
                <a:spcPts val="0"/>
              </a:spcAft>
              <a:buClr>
                <a:schemeClr val="lt2"/>
              </a:buClr>
              <a:buSzPts val="1600"/>
              <a:buFont typeface="Poppins Light"/>
              <a:buChar char="￮"/>
              <a:defRPr sz="1600" b="0" i="0" u="none" strike="noStrike" cap="none">
                <a:solidFill>
                  <a:schemeClr val="dk1"/>
                </a:solidFill>
                <a:latin typeface="Poppins Light"/>
                <a:ea typeface="Poppins Light"/>
                <a:cs typeface="Poppins Light"/>
                <a:sym typeface="Poppins Light"/>
              </a:defRPr>
            </a:lvl2pPr>
            <a:lvl3pPr marL="1371600" marR="0" lvl="2" indent="-330200" algn="l" rtl="0">
              <a:lnSpc>
                <a:spcPct val="100000"/>
              </a:lnSpc>
              <a:spcBef>
                <a:spcPts val="0"/>
              </a:spcBef>
              <a:spcAft>
                <a:spcPts val="0"/>
              </a:spcAft>
              <a:buClr>
                <a:schemeClr val="lt2"/>
              </a:buClr>
              <a:buSzPts val="1600"/>
              <a:buFont typeface="Poppins Light"/>
              <a:buChar char="￮"/>
              <a:defRPr sz="1600" b="0" i="0" u="none" strike="noStrike" cap="none">
                <a:solidFill>
                  <a:schemeClr val="dk1"/>
                </a:solidFill>
                <a:latin typeface="Poppins Light"/>
                <a:ea typeface="Poppins Light"/>
                <a:cs typeface="Poppins Light"/>
                <a:sym typeface="Poppins Light"/>
              </a:defRPr>
            </a:lvl3pPr>
            <a:lvl4pPr marL="1828800" marR="0" lvl="3" indent="-330200" algn="l" rtl="0">
              <a:lnSpc>
                <a:spcPct val="100000"/>
              </a:lnSpc>
              <a:spcBef>
                <a:spcPts val="0"/>
              </a:spcBef>
              <a:spcAft>
                <a:spcPts val="0"/>
              </a:spcAft>
              <a:buClr>
                <a:srgbClr val="CCCCCC"/>
              </a:buClr>
              <a:buSzPts val="1600"/>
              <a:buFont typeface="Poppins Light"/>
              <a:buChar char="●"/>
              <a:defRPr sz="1600" b="0" i="0" u="none" strike="noStrike" cap="none">
                <a:solidFill>
                  <a:schemeClr val="dk1"/>
                </a:solidFill>
                <a:latin typeface="Poppins Light"/>
                <a:ea typeface="Poppins Light"/>
                <a:cs typeface="Poppins Light"/>
                <a:sym typeface="Poppins Light"/>
              </a:defRPr>
            </a:lvl4pPr>
            <a:lvl5pPr marL="2286000" marR="0" lvl="4" indent="-330200" algn="l" rtl="0">
              <a:lnSpc>
                <a:spcPct val="100000"/>
              </a:lnSpc>
              <a:spcBef>
                <a:spcPts val="0"/>
              </a:spcBef>
              <a:spcAft>
                <a:spcPts val="0"/>
              </a:spcAft>
              <a:buClr>
                <a:srgbClr val="CCCCCC"/>
              </a:buClr>
              <a:buSzPts val="1600"/>
              <a:buFont typeface="Poppins Light"/>
              <a:buChar char="○"/>
              <a:defRPr sz="1600" b="0" i="0" u="none" strike="noStrike" cap="none">
                <a:solidFill>
                  <a:schemeClr val="dk1"/>
                </a:solidFill>
                <a:latin typeface="Poppins Light"/>
                <a:ea typeface="Poppins Light"/>
                <a:cs typeface="Poppins Light"/>
                <a:sym typeface="Poppins Light"/>
              </a:defRPr>
            </a:lvl5pPr>
            <a:lvl6pPr marL="2743200" marR="0" lvl="5" indent="-330200" algn="l" rtl="0">
              <a:lnSpc>
                <a:spcPct val="100000"/>
              </a:lnSpc>
              <a:spcBef>
                <a:spcPts val="0"/>
              </a:spcBef>
              <a:spcAft>
                <a:spcPts val="0"/>
              </a:spcAft>
              <a:buClr>
                <a:srgbClr val="CCCCCC"/>
              </a:buClr>
              <a:buSzPts val="1600"/>
              <a:buFont typeface="Poppins Light"/>
              <a:buChar char="■"/>
              <a:defRPr sz="1600" b="0" i="0" u="none" strike="noStrike" cap="none">
                <a:solidFill>
                  <a:schemeClr val="dk1"/>
                </a:solidFill>
                <a:latin typeface="Poppins Light"/>
                <a:ea typeface="Poppins Light"/>
                <a:cs typeface="Poppins Light"/>
                <a:sym typeface="Poppins Light"/>
              </a:defRPr>
            </a:lvl6pPr>
            <a:lvl7pPr marL="3200400" marR="0" lvl="6" indent="-330200" algn="l" rtl="0">
              <a:lnSpc>
                <a:spcPct val="100000"/>
              </a:lnSpc>
              <a:spcBef>
                <a:spcPts val="0"/>
              </a:spcBef>
              <a:spcAft>
                <a:spcPts val="0"/>
              </a:spcAft>
              <a:buClr>
                <a:srgbClr val="CCCCCC"/>
              </a:buClr>
              <a:buSzPts val="1600"/>
              <a:buFont typeface="Poppins Light"/>
              <a:buChar char="●"/>
              <a:defRPr sz="1600" b="0" i="0" u="none" strike="noStrike" cap="none">
                <a:solidFill>
                  <a:schemeClr val="dk1"/>
                </a:solidFill>
                <a:latin typeface="Poppins Light"/>
                <a:ea typeface="Poppins Light"/>
                <a:cs typeface="Poppins Light"/>
                <a:sym typeface="Poppins Light"/>
              </a:defRPr>
            </a:lvl7pPr>
            <a:lvl8pPr marL="3657600" marR="0" lvl="7" indent="-330200" algn="l" rtl="0">
              <a:lnSpc>
                <a:spcPct val="100000"/>
              </a:lnSpc>
              <a:spcBef>
                <a:spcPts val="0"/>
              </a:spcBef>
              <a:spcAft>
                <a:spcPts val="0"/>
              </a:spcAft>
              <a:buClr>
                <a:srgbClr val="CCCCCC"/>
              </a:buClr>
              <a:buSzPts val="1600"/>
              <a:buFont typeface="Poppins Light"/>
              <a:buChar char="○"/>
              <a:defRPr sz="1600" b="0" i="0" u="none" strike="noStrike" cap="none">
                <a:solidFill>
                  <a:schemeClr val="dk1"/>
                </a:solidFill>
                <a:latin typeface="Poppins Light"/>
                <a:ea typeface="Poppins Light"/>
                <a:cs typeface="Poppins Light"/>
                <a:sym typeface="Poppins Light"/>
              </a:defRPr>
            </a:lvl8pPr>
            <a:lvl9pPr marL="4114800" marR="0" lvl="8" indent="-330200" algn="l" rtl="0">
              <a:lnSpc>
                <a:spcPct val="100000"/>
              </a:lnSpc>
              <a:spcBef>
                <a:spcPts val="0"/>
              </a:spcBef>
              <a:spcAft>
                <a:spcPts val="0"/>
              </a:spcAft>
              <a:buClr>
                <a:srgbClr val="CCCCCC"/>
              </a:buClr>
              <a:buSzPts val="1600"/>
              <a:buFont typeface="Poppins Light"/>
              <a:buChar char="■"/>
              <a:defRPr sz="1600" b="0" i="0" u="none" strike="noStrike" cap="none">
                <a:solidFill>
                  <a:schemeClr val="dk1"/>
                </a:solidFill>
                <a:latin typeface="Poppins Light"/>
                <a:ea typeface="Poppins Light"/>
                <a:cs typeface="Poppins Light"/>
                <a:sym typeface="Poppins Light"/>
              </a:defRPr>
            </a:lvl9pPr>
          </a:lstStyle>
          <a:p>
            <a:endParaRPr/>
          </a:p>
        </p:txBody>
      </p:sp>
    </p:spTree>
  </p:cSld>
  <p:clrMap bg1="lt1" tx1="dk1" bg2="dk2" tx2="lt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4" r:id="rId5"/>
    <p:sldLayoutId id="2147483655" r:id="rId6"/>
    <p:sldLayoutId id="2147483656" r:id="rId7"/>
    <p:sldLayoutId id="2147483657" r:id="rId8"/>
    <p:sldLayoutId id="2147483658" r:id="rId9"/>
    <p:sldLayoutId id="2147483659" r:id="rId10"/>
    <p:sldLayoutId id="2147483660" r:id="rId11"/>
    <p:sldLayoutId id="2147483673" r:id="rId12"/>
  </p:sldLayoutIdLst>
  <p:transition>
    <p:fade thruBlk="1"/>
  </p:transition>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137"/>
        <p:cNvGrpSpPr/>
        <p:nvPr/>
      </p:nvGrpSpPr>
      <p:grpSpPr>
        <a:xfrm>
          <a:off x="0" y="0"/>
          <a:ext cx="0" cy="0"/>
          <a:chOff x="0" y="0"/>
          <a:chExt cx="0" cy="0"/>
        </a:xfrm>
      </p:grpSpPr>
      <p:sp>
        <p:nvSpPr>
          <p:cNvPr id="138" name="Google Shape;138;p2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endParaRPr/>
          </a:p>
        </p:txBody>
      </p:sp>
      <p:sp>
        <p:nvSpPr>
          <p:cNvPr id="139" name="Google Shape;139;p2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endParaRPr/>
          </a:p>
        </p:txBody>
      </p:sp>
      <p:sp>
        <p:nvSpPr>
          <p:cNvPr id="140" name="Google Shape;140;p2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4"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0113" y="221763"/>
            <a:ext cx="8388000" cy="1137137"/>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370113" y="1356826"/>
            <a:ext cx="8388000" cy="340237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lide Number Placeholder 7"/>
          <p:cNvSpPr>
            <a:spLocks noGrp="1"/>
          </p:cNvSpPr>
          <p:nvPr>
            <p:ph type="sldNum" sz="quarter" idx="4"/>
          </p:nvPr>
        </p:nvSpPr>
        <p:spPr>
          <a:xfrm>
            <a:off x="7971996" y="4805876"/>
            <a:ext cx="792088" cy="189000"/>
          </a:xfrm>
          <a:prstGeom prst="rect">
            <a:avLst/>
          </a:prstGeom>
        </p:spPr>
        <p:txBody>
          <a:bodyPr vert="horz" lIns="0" tIns="0" rIns="0" bIns="0" rtlCol="0" anchor="ctr" anchorCtr="0"/>
          <a:lstStyle>
            <a:lvl1pPr algn="r">
              <a:defRPr sz="6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3419956698"/>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Lst>
  <p:transition>
    <p:fade/>
  </p:transition>
  <p:hf sldNum="0" hdr="0" ftr="0" dt="0"/>
  <p:txStyles>
    <p:titleStyle>
      <a:lvl1pPr algn="l" defTabSz="685800" rtl="0" eaLnBrk="1" latinLnBrk="0" hangingPunct="1">
        <a:spcBef>
          <a:spcPct val="0"/>
        </a:spcBef>
        <a:buNone/>
        <a:defRPr sz="2250" kern="1200">
          <a:solidFill>
            <a:schemeClr val="accent2"/>
          </a:solidFill>
          <a:latin typeface="+mj-lt"/>
          <a:ea typeface="+mj-ea"/>
          <a:cs typeface="+mj-cs"/>
        </a:defRPr>
      </a:lvl1pPr>
    </p:titleStyle>
    <p:bodyStyle>
      <a:lvl1pPr marL="205979" indent="-205979" algn="l" defTabSz="685800" rtl="0" eaLnBrk="1" latinLnBrk="0" hangingPunct="1">
        <a:spcBef>
          <a:spcPts val="900"/>
        </a:spcBef>
        <a:buFont typeface="Arial" pitchFamily="34" charset="0"/>
        <a:buChar char="•"/>
        <a:defRPr sz="1350" b="0" kern="1200">
          <a:solidFill>
            <a:schemeClr val="tx2"/>
          </a:solidFill>
          <a:latin typeface="+mn-lt"/>
          <a:ea typeface="+mn-ea"/>
          <a:cs typeface="+mn-cs"/>
        </a:defRPr>
      </a:lvl1pPr>
      <a:lvl2pPr marL="330994" indent="-125016" algn="l" defTabSz="685800" rtl="0" eaLnBrk="1" latinLnBrk="0" hangingPunct="1">
        <a:spcBef>
          <a:spcPts val="900"/>
        </a:spcBef>
        <a:buFont typeface="Arial" pitchFamily="34" charset="0"/>
        <a:buChar char="−"/>
        <a:defRPr sz="1350" kern="1200">
          <a:solidFill>
            <a:schemeClr val="tx2"/>
          </a:solidFill>
          <a:latin typeface="+mn-lt"/>
          <a:ea typeface="+mn-ea"/>
          <a:cs typeface="+mn-cs"/>
        </a:defRPr>
      </a:lvl2pPr>
      <a:lvl3pPr marL="330994" indent="-125016" algn="l" defTabSz="685800" rtl="0" eaLnBrk="1" latinLnBrk="0" hangingPunct="1">
        <a:spcBef>
          <a:spcPts val="900"/>
        </a:spcBef>
        <a:buFont typeface="Arial" pitchFamily="34" charset="0"/>
        <a:buChar char="−"/>
        <a:defRPr sz="1350" kern="1200">
          <a:solidFill>
            <a:schemeClr val="tx2"/>
          </a:solidFill>
          <a:latin typeface="+mn-lt"/>
          <a:ea typeface="+mn-ea"/>
          <a:cs typeface="+mn-cs"/>
        </a:defRPr>
      </a:lvl3pPr>
      <a:lvl4pPr marL="335756" indent="-135731" algn="l" defTabSz="685800" rtl="0" eaLnBrk="1" latinLnBrk="0" hangingPunct="1">
        <a:spcBef>
          <a:spcPts val="900"/>
        </a:spcBef>
        <a:buFont typeface="Arial" pitchFamily="34" charset="0"/>
        <a:buChar char="−"/>
        <a:defRPr sz="1350" kern="1200">
          <a:solidFill>
            <a:schemeClr val="tx2"/>
          </a:solidFill>
          <a:latin typeface="+mn-lt"/>
          <a:ea typeface="+mn-ea"/>
          <a:cs typeface="+mn-cs"/>
        </a:defRPr>
      </a:lvl4pPr>
      <a:lvl5pPr marL="330994" indent="-125016" algn="l" defTabSz="685800" rtl="0" eaLnBrk="1" latinLnBrk="0" hangingPunct="1">
        <a:spcBef>
          <a:spcPts val="900"/>
        </a:spcBef>
        <a:buFont typeface="Arial" pitchFamily="34" charset="0"/>
        <a:buChar char="−"/>
        <a:defRPr sz="135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3.xml"/><Relationship Id="rId1" Type="http://schemas.openxmlformats.org/officeDocument/2006/relationships/tags" Target="../tags/tag39.xml"/></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28.xml"/><Relationship Id="rId1" Type="http://schemas.openxmlformats.org/officeDocument/2006/relationships/tags" Target="../tags/tag365.xml"/><Relationship Id="rId4" Type="http://schemas.openxmlformats.org/officeDocument/2006/relationships/chart" Target="../charts/chart64.xml"/></Relationships>
</file>

<file path=ppt/slides/_rels/slide101.xml.rels><?xml version="1.0" encoding="UTF-8" standalone="yes"?>
<Relationships xmlns="http://schemas.openxmlformats.org/package/2006/relationships"><Relationship Id="rId8" Type="http://schemas.openxmlformats.org/officeDocument/2006/relationships/chart" Target="../charts/chart69.xml"/><Relationship Id="rId3" Type="http://schemas.openxmlformats.org/officeDocument/2006/relationships/notesSlide" Target="../notesSlides/notesSlide92.xml"/><Relationship Id="rId7" Type="http://schemas.openxmlformats.org/officeDocument/2006/relationships/chart" Target="../charts/chart68.xml"/><Relationship Id="rId2" Type="http://schemas.openxmlformats.org/officeDocument/2006/relationships/slideLayout" Target="../slideLayouts/slideLayout28.xml"/><Relationship Id="rId1" Type="http://schemas.openxmlformats.org/officeDocument/2006/relationships/tags" Target="../tags/tag366.xml"/><Relationship Id="rId6" Type="http://schemas.openxmlformats.org/officeDocument/2006/relationships/chart" Target="../charts/chart67.xml"/><Relationship Id="rId5" Type="http://schemas.openxmlformats.org/officeDocument/2006/relationships/chart" Target="../charts/chart66.xml"/><Relationship Id="rId4" Type="http://schemas.openxmlformats.org/officeDocument/2006/relationships/chart" Target="../charts/chart65.xml"/></Relationships>
</file>

<file path=ppt/slides/_rels/slide102.xml.rels><?xml version="1.0" encoding="UTF-8" standalone="yes"?>
<Relationships xmlns="http://schemas.openxmlformats.org/package/2006/relationships"><Relationship Id="rId8" Type="http://schemas.openxmlformats.org/officeDocument/2006/relationships/tags" Target="../tags/tag374.xml"/><Relationship Id="rId3" Type="http://schemas.openxmlformats.org/officeDocument/2006/relationships/tags" Target="../tags/tag369.xml"/><Relationship Id="rId7" Type="http://schemas.openxmlformats.org/officeDocument/2006/relationships/tags" Target="../tags/tag373.xml"/><Relationship Id="rId2" Type="http://schemas.openxmlformats.org/officeDocument/2006/relationships/tags" Target="../tags/tag368.xml"/><Relationship Id="rId1" Type="http://schemas.openxmlformats.org/officeDocument/2006/relationships/tags" Target="../tags/tag367.xml"/><Relationship Id="rId6" Type="http://schemas.openxmlformats.org/officeDocument/2006/relationships/tags" Target="../tags/tag372.xml"/><Relationship Id="rId11" Type="http://schemas.openxmlformats.org/officeDocument/2006/relationships/oleObject" Target="../embeddings/oleObject16.bin"/><Relationship Id="rId5" Type="http://schemas.openxmlformats.org/officeDocument/2006/relationships/tags" Target="../tags/tag371.xml"/><Relationship Id="rId10" Type="http://schemas.openxmlformats.org/officeDocument/2006/relationships/notesSlide" Target="../notesSlides/notesSlide93.xml"/><Relationship Id="rId4" Type="http://schemas.openxmlformats.org/officeDocument/2006/relationships/tags" Target="../tags/tag370.xml"/><Relationship Id="rId9" Type="http://schemas.openxmlformats.org/officeDocument/2006/relationships/slideLayout" Target="../slideLayouts/slideLayout28.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8.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28.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8.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8.xml"/></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28.xml"/><Relationship Id="rId1" Type="http://schemas.openxmlformats.org/officeDocument/2006/relationships/tags" Target="../tags/tag375.xml"/></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28.xml"/><Relationship Id="rId1" Type="http://schemas.openxmlformats.org/officeDocument/2006/relationships/tags" Target="../tags/tag37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0.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28.xml"/><Relationship Id="rId1" Type="http://schemas.openxmlformats.org/officeDocument/2006/relationships/tags" Target="../tags/tag377.xml"/></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30.xml"/><Relationship Id="rId1" Type="http://schemas.openxmlformats.org/officeDocument/2006/relationships/tags" Target="../tags/tag378.xml"/></Relationships>
</file>

<file path=ppt/slides/_rels/slide112.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28.xml"/><Relationship Id="rId1" Type="http://schemas.openxmlformats.org/officeDocument/2006/relationships/tags" Target="../tags/tag379.xml"/></Relationships>
</file>

<file path=ppt/slides/_rels/slide113.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381.xml"/><Relationship Id="rId1" Type="http://schemas.openxmlformats.org/officeDocument/2006/relationships/tags" Target="../tags/tag380.xml"/><Relationship Id="rId4" Type="http://schemas.openxmlformats.org/officeDocument/2006/relationships/notesSlide" Target="../notesSlides/notesSlide103.xml"/></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28.xml"/><Relationship Id="rId1" Type="http://schemas.openxmlformats.org/officeDocument/2006/relationships/tags" Target="../tags/tag382.xml"/></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28.xml"/><Relationship Id="rId1" Type="http://schemas.openxmlformats.org/officeDocument/2006/relationships/tags" Target="../tags/tag383.xml"/></Relationships>
</file>

<file path=ppt/slides/_rels/slide116.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28.xml"/><Relationship Id="rId1" Type="http://schemas.openxmlformats.org/officeDocument/2006/relationships/tags" Target="../tags/tag384.xml"/></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28.xml"/><Relationship Id="rId1" Type="http://schemas.openxmlformats.org/officeDocument/2006/relationships/tags" Target="../tags/tag385.xml"/></Relationships>
</file>

<file path=ppt/slides/_rels/slide118.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28.xml"/><Relationship Id="rId1" Type="http://schemas.openxmlformats.org/officeDocument/2006/relationships/tags" Target="../tags/tag386.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26" Type="http://schemas.openxmlformats.org/officeDocument/2006/relationships/tags" Target="../tags/tag65.xml"/><Relationship Id="rId117" Type="http://schemas.openxmlformats.org/officeDocument/2006/relationships/slide" Target="slide226.xml"/><Relationship Id="rId21" Type="http://schemas.openxmlformats.org/officeDocument/2006/relationships/tags" Target="../tags/tag60.xml"/><Relationship Id="rId42" Type="http://schemas.openxmlformats.org/officeDocument/2006/relationships/tags" Target="../tags/tag81.xml"/><Relationship Id="rId47" Type="http://schemas.openxmlformats.org/officeDocument/2006/relationships/tags" Target="../tags/tag86.xml"/><Relationship Id="rId63" Type="http://schemas.openxmlformats.org/officeDocument/2006/relationships/tags" Target="../tags/tag102.xml"/><Relationship Id="rId68" Type="http://schemas.openxmlformats.org/officeDocument/2006/relationships/tags" Target="../tags/tag107.xml"/><Relationship Id="rId84" Type="http://schemas.openxmlformats.org/officeDocument/2006/relationships/slide" Target="slide46.xml"/><Relationship Id="rId89" Type="http://schemas.openxmlformats.org/officeDocument/2006/relationships/slide" Target="slide148.xml"/><Relationship Id="rId112" Type="http://schemas.openxmlformats.org/officeDocument/2006/relationships/slide" Target="slide126.xml"/><Relationship Id="rId16" Type="http://schemas.openxmlformats.org/officeDocument/2006/relationships/tags" Target="../tags/tag55.xml"/><Relationship Id="rId107" Type="http://schemas.openxmlformats.org/officeDocument/2006/relationships/slide" Target="slide97.xml"/><Relationship Id="rId11" Type="http://schemas.openxmlformats.org/officeDocument/2006/relationships/tags" Target="../tags/tag50.xml"/><Relationship Id="rId32" Type="http://schemas.openxmlformats.org/officeDocument/2006/relationships/tags" Target="../tags/tag71.xml"/><Relationship Id="rId37" Type="http://schemas.openxmlformats.org/officeDocument/2006/relationships/tags" Target="../tags/tag76.xml"/><Relationship Id="rId53" Type="http://schemas.openxmlformats.org/officeDocument/2006/relationships/tags" Target="../tags/tag92.xml"/><Relationship Id="rId58" Type="http://schemas.openxmlformats.org/officeDocument/2006/relationships/tags" Target="../tags/tag97.xml"/><Relationship Id="rId74" Type="http://schemas.openxmlformats.org/officeDocument/2006/relationships/slide" Target="slide103.xml"/><Relationship Id="rId79" Type="http://schemas.openxmlformats.org/officeDocument/2006/relationships/slide" Target="slide174.xml"/><Relationship Id="rId102" Type="http://schemas.openxmlformats.org/officeDocument/2006/relationships/slide" Target="slide123.xml"/><Relationship Id="rId5" Type="http://schemas.openxmlformats.org/officeDocument/2006/relationships/tags" Target="../tags/tag44.xml"/><Relationship Id="rId90" Type="http://schemas.openxmlformats.org/officeDocument/2006/relationships/slide" Target="slide164.xml"/><Relationship Id="rId95" Type="http://schemas.openxmlformats.org/officeDocument/2006/relationships/slide" Target="slide52.xml"/><Relationship Id="rId22" Type="http://schemas.openxmlformats.org/officeDocument/2006/relationships/tags" Target="../tags/tag61.xml"/><Relationship Id="rId27" Type="http://schemas.openxmlformats.org/officeDocument/2006/relationships/tags" Target="../tags/tag66.xml"/><Relationship Id="rId43" Type="http://schemas.openxmlformats.org/officeDocument/2006/relationships/tags" Target="../tags/tag82.xml"/><Relationship Id="rId48" Type="http://schemas.openxmlformats.org/officeDocument/2006/relationships/tags" Target="../tags/tag87.xml"/><Relationship Id="rId64" Type="http://schemas.openxmlformats.org/officeDocument/2006/relationships/tags" Target="../tags/tag103.xml"/><Relationship Id="rId69" Type="http://schemas.openxmlformats.org/officeDocument/2006/relationships/slideLayout" Target="../slideLayouts/slideLayout38.xml"/><Relationship Id="rId113" Type="http://schemas.openxmlformats.org/officeDocument/2006/relationships/slide" Target="slide19.xml"/><Relationship Id="rId118" Type="http://schemas.openxmlformats.org/officeDocument/2006/relationships/slide" Target="slide228.xml"/><Relationship Id="rId80" Type="http://schemas.openxmlformats.org/officeDocument/2006/relationships/slide" Target="slide61.xml"/><Relationship Id="rId85" Type="http://schemas.openxmlformats.org/officeDocument/2006/relationships/slide" Target="slide57.xml"/><Relationship Id="rId12" Type="http://schemas.openxmlformats.org/officeDocument/2006/relationships/tags" Target="../tags/tag51.xml"/><Relationship Id="rId17" Type="http://schemas.openxmlformats.org/officeDocument/2006/relationships/tags" Target="../tags/tag56.xml"/><Relationship Id="rId33" Type="http://schemas.openxmlformats.org/officeDocument/2006/relationships/tags" Target="../tags/tag72.xml"/><Relationship Id="rId38" Type="http://schemas.openxmlformats.org/officeDocument/2006/relationships/tags" Target="../tags/tag77.xml"/><Relationship Id="rId59" Type="http://schemas.openxmlformats.org/officeDocument/2006/relationships/tags" Target="../tags/tag98.xml"/><Relationship Id="rId103" Type="http://schemas.openxmlformats.org/officeDocument/2006/relationships/slide" Target="slide212.xml"/><Relationship Id="rId108" Type="http://schemas.openxmlformats.org/officeDocument/2006/relationships/slide" Target="slide121.xml"/><Relationship Id="rId54" Type="http://schemas.openxmlformats.org/officeDocument/2006/relationships/tags" Target="../tags/tag93.xml"/><Relationship Id="rId70" Type="http://schemas.openxmlformats.org/officeDocument/2006/relationships/notesSlide" Target="../notesSlides/notesSlide6.xml"/><Relationship Id="rId75" Type="http://schemas.openxmlformats.org/officeDocument/2006/relationships/slide" Target="slide60.xml"/><Relationship Id="rId91" Type="http://schemas.openxmlformats.org/officeDocument/2006/relationships/slide" Target="slide175.xml"/><Relationship Id="rId96" Type="http://schemas.openxmlformats.org/officeDocument/2006/relationships/slide" Target="slide109.xml"/><Relationship Id="rId1" Type="http://schemas.openxmlformats.org/officeDocument/2006/relationships/tags" Target="../tags/tag40.xml"/><Relationship Id="rId6" Type="http://schemas.openxmlformats.org/officeDocument/2006/relationships/tags" Target="../tags/tag45.xml"/><Relationship Id="rId23" Type="http://schemas.openxmlformats.org/officeDocument/2006/relationships/tags" Target="../tags/tag62.xml"/><Relationship Id="rId28" Type="http://schemas.openxmlformats.org/officeDocument/2006/relationships/tags" Target="../tags/tag67.xml"/><Relationship Id="rId49" Type="http://schemas.openxmlformats.org/officeDocument/2006/relationships/tags" Target="../tags/tag88.xml"/><Relationship Id="rId114" Type="http://schemas.openxmlformats.org/officeDocument/2006/relationships/slide" Target="slide205.xml"/><Relationship Id="rId119" Type="http://schemas.openxmlformats.org/officeDocument/2006/relationships/slide" Target="slide231.xml"/><Relationship Id="rId44" Type="http://schemas.openxmlformats.org/officeDocument/2006/relationships/tags" Target="../tags/tag83.xml"/><Relationship Id="rId60" Type="http://schemas.openxmlformats.org/officeDocument/2006/relationships/tags" Target="../tags/tag99.xml"/><Relationship Id="rId65" Type="http://schemas.openxmlformats.org/officeDocument/2006/relationships/tags" Target="../tags/tag104.xml"/><Relationship Id="rId81" Type="http://schemas.openxmlformats.org/officeDocument/2006/relationships/slide" Target="slide67.xml"/><Relationship Id="rId86" Type="http://schemas.openxmlformats.org/officeDocument/2006/relationships/slide" Target="slide104.xml"/><Relationship Id="rId4" Type="http://schemas.openxmlformats.org/officeDocument/2006/relationships/tags" Target="../tags/tag43.xml"/><Relationship Id="rId9" Type="http://schemas.openxmlformats.org/officeDocument/2006/relationships/tags" Target="../tags/tag48.xml"/><Relationship Id="rId13" Type="http://schemas.openxmlformats.org/officeDocument/2006/relationships/tags" Target="../tags/tag52.xml"/><Relationship Id="rId18" Type="http://schemas.openxmlformats.org/officeDocument/2006/relationships/tags" Target="../tags/tag57.xml"/><Relationship Id="rId39" Type="http://schemas.openxmlformats.org/officeDocument/2006/relationships/tags" Target="../tags/tag78.xml"/><Relationship Id="rId109" Type="http://schemas.openxmlformats.org/officeDocument/2006/relationships/slide" Target="slide220.xml"/><Relationship Id="rId34" Type="http://schemas.openxmlformats.org/officeDocument/2006/relationships/tags" Target="../tags/tag73.xml"/><Relationship Id="rId50" Type="http://schemas.openxmlformats.org/officeDocument/2006/relationships/tags" Target="../tags/tag89.xml"/><Relationship Id="rId55" Type="http://schemas.openxmlformats.org/officeDocument/2006/relationships/tags" Target="../tags/tag94.xml"/><Relationship Id="rId76" Type="http://schemas.openxmlformats.org/officeDocument/2006/relationships/slide" Target="slide147.xml"/><Relationship Id="rId97" Type="http://schemas.openxmlformats.org/officeDocument/2006/relationships/slide" Target="slide119.xml"/><Relationship Id="rId104" Type="http://schemas.openxmlformats.org/officeDocument/2006/relationships/slide" Target="slide215.xml"/><Relationship Id="rId120" Type="http://schemas.openxmlformats.org/officeDocument/2006/relationships/slide" Target="slide241.xml"/><Relationship Id="rId7" Type="http://schemas.openxmlformats.org/officeDocument/2006/relationships/tags" Target="../tags/tag46.xml"/><Relationship Id="rId71" Type="http://schemas.openxmlformats.org/officeDocument/2006/relationships/slide" Target="slide18.xml"/><Relationship Id="rId92" Type="http://schemas.openxmlformats.org/officeDocument/2006/relationships/slide" Target="slide181.xml"/><Relationship Id="rId2" Type="http://schemas.openxmlformats.org/officeDocument/2006/relationships/tags" Target="../tags/tag41.xml"/><Relationship Id="rId29" Type="http://schemas.openxmlformats.org/officeDocument/2006/relationships/tags" Target="../tags/tag68.xml"/><Relationship Id="rId24" Type="http://schemas.openxmlformats.org/officeDocument/2006/relationships/tags" Target="../tags/tag63.xml"/><Relationship Id="rId40" Type="http://schemas.openxmlformats.org/officeDocument/2006/relationships/tags" Target="../tags/tag79.xml"/><Relationship Id="rId45" Type="http://schemas.openxmlformats.org/officeDocument/2006/relationships/tags" Target="../tags/tag84.xml"/><Relationship Id="rId66" Type="http://schemas.openxmlformats.org/officeDocument/2006/relationships/tags" Target="../tags/tag105.xml"/><Relationship Id="rId87" Type="http://schemas.openxmlformats.org/officeDocument/2006/relationships/slide" Target="slide105.xml"/><Relationship Id="rId110" Type="http://schemas.openxmlformats.org/officeDocument/2006/relationships/slide" Target="slide129.xml"/><Relationship Id="rId115" Type="http://schemas.openxmlformats.org/officeDocument/2006/relationships/slide" Target="slide225.xml"/><Relationship Id="rId61" Type="http://schemas.openxmlformats.org/officeDocument/2006/relationships/tags" Target="../tags/tag100.xml"/><Relationship Id="rId82" Type="http://schemas.openxmlformats.org/officeDocument/2006/relationships/slide" Target="slide14.xml"/><Relationship Id="rId19" Type="http://schemas.openxmlformats.org/officeDocument/2006/relationships/tags" Target="../tags/tag58.xml"/><Relationship Id="rId14" Type="http://schemas.openxmlformats.org/officeDocument/2006/relationships/tags" Target="../tags/tag53.xml"/><Relationship Id="rId30" Type="http://schemas.openxmlformats.org/officeDocument/2006/relationships/tags" Target="../tags/tag69.xml"/><Relationship Id="rId35" Type="http://schemas.openxmlformats.org/officeDocument/2006/relationships/tags" Target="../tags/tag74.xml"/><Relationship Id="rId56" Type="http://schemas.openxmlformats.org/officeDocument/2006/relationships/tags" Target="../tags/tag95.xml"/><Relationship Id="rId77" Type="http://schemas.openxmlformats.org/officeDocument/2006/relationships/slide" Target="slide45.xml"/><Relationship Id="rId100" Type="http://schemas.openxmlformats.org/officeDocument/2006/relationships/slide" Target="slide86.xml"/><Relationship Id="rId105" Type="http://schemas.openxmlformats.org/officeDocument/2006/relationships/slide" Target="slide93.xml"/><Relationship Id="rId8" Type="http://schemas.openxmlformats.org/officeDocument/2006/relationships/tags" Target="../tags/tag47.xml"/><Relationship Id="rId51" Type="http://schemas.openxmlformats.org/officeDocument/2006/relationships/tags" Target="../tags/tag90.xml"/><Relationship Id="rId72" Type="http://schemas.openxmlformats.org/officeDocument/2006/relationships/slide" Target="slide13.xml"/><Relationship Id="rId93" Type="http://schemas.openxmlformats.org/officeDocument/2006/relationships/slide" Target="slide75.xml"/><Relationship Id="rId98" Type="http://schemas.openxmlformats.org/officeDocument/2006/relationships/slide" Target="slide172.xml"/><Relationship Id="rId121" Type="http://schemas.openxmlformats.org/officeDocument/2006/relationships/slide" Target="slide233.xml"/><Relationship Id="rId3" Type="http://schemas.openxmlformats.org/officeDocument/2006/relationships/tags" Target="../tags/tag42.xml"/><Relationship Id="rId25" Type="http://schemas.openxmlformats.org/officeDocument/2006/relationships/tags" Target="../tags/tag64.xml"/><Relationship Id="rId46" Type="http://schemas.openxmlformats.org/officeDocument/2006/relationships/tags" Target="../tags/tag85.xml"/><Relationship Id="rId67" Type="http://schemas.openxmlformats.org/officeDocument/2006/relationships/tags" Target="../tags/tag106.xml"/><Relationship Id="rId116" Type="http://schemas.openxmlformats.org/officeDocument/2006/relationships/slide" Target="slide251.xml"/><Relationship Id="rId20" Type="http://schemas.openxmlformats.org/officeDocument/2006/relationships/tags" Target="../tags/tag59.xml"/><Relationship Id="rId41" Type="http://schemas.openxmlformats.org/officeDocument/2006/relationships/tags" Target="../tags/tag80.xml"/><Relationship Id="rId62" Type="http://schemas.openxmlformats.org/officeDocument/2006/relationships/tags" Target="../tags/tag101.xml"/><Relationship Id="rId83" Type="http://schemas.openxmlformats.org/officeDocument/2006/relationships/slide" Target="slide26.xml"/><Relationship Id="rId88" Type="http://schemas.openxmlformats.org/officeDocument/2006/relationships/slide" Target="slide128.xml"/><Relationship Id="rId111" Type="http://schemas.openxmlformats.org/officeDocument/2006/relationships/slide" Target="slide130.xml"/><Relationship Id="rId15" Type="http://schemas.openxmlformats.org/officeDocument/2006/relationships/tags" Target="../tags/tag54.xml"/><Relationship Id="rId36" Type="http://schemas.openxmlformats.org/officeDocument/2006/relationships/tags" Target="../tags/tag75.xml"/><Relationship Id="rId57" Type="http://schemas.openxmlformats.org/officeDocument/2006/relationships/tags" Target="../tags/tag96.xml"/><Relationship Id="rId106" Type="http://schemas.openxmlformats.org/officeDocument/2006/relationships/slide" Target="slide146.xml"/><Relationship Id="rId10" Type="http://schemas.openxmlformats.org/officeDocument/2006/relationships/tags" Target="../tags/tag49.xml"/><Relationship Id="rId31" Type="http://schemas.openxmlformats.org/officeDocument/2006/relationships/tags" Target="../tags/tag70.xml"/><Relationship Id="rId52" Type="http://schemas.openxmlformats.org/officeDocument/2006/relationships/tags" Target="../tags/tag91.xml"/><Relationship Id="rId73" Type="http://schemas.openxmlformats.org/officeDocument/2006/relationships/slide" Target="slide42.xml"/><Relationship Id="rId78" Type="http://schemas.openxmlformats.org/officeDocument/2006/relationships/slide" Target="slide127.xml"/><Relationship Id="rId94" Type="http://schemas.openxmlformats.org/officeDocument/2006/relationships/slide" Target="slide78.xml"/><Relationship Id="rId99" Type="http://schemas.openxmlformats.org/officeDocument/2006/relationships/slide" Target="slide209.xml"/><Relationship Id="rId101" Type="http://schemas.openxmlformats.org/officeDocument/2006/relationships/slide" Target="slide87.xml"/><Relationship Id="rId122" Type="http://schemas.openxmlformats.org/officeDocument/2006/relationships/slide" Target="slide243.xml"/></Relationships>
</file>

<file path=ppt/slides/_rels/slide120.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389.xml"/><Relationship Id="rId7" Type="http://schemas.openxmlformats.org/officeDocument/2006/relationships/oleObject" Target="../embeddings/oleObject17.bin"/><Relationship Id="rId2" Type="http://schemas.openxmlformats.org/officeDocument/2006/relationships/tags" Target="../tags/tag388.xml"/><Relationship Id="rId1" Type="http://schemas.openxmlformats.org/officeDocument/2006/relationships/tags" Target="../tags/tag387.xml"/><Relationship Id="rId6" Type="http://schemas.openxmlformats.org/officeDocument/2006/relationships/notesSlide" Target="../notesSlides/notesSlide110.xml"/><Relationship Id="rId5" Type="http://schemas.openxmlformats.org/officeDocument/2006/relationships/slideLayout" Target="../slideLayouts/slideLayout28.xml"/><Relationship Id="rId4" Type="http://schemas.openxmlformats.org/officeDocument/2006/relationships/tags" Target="../tags/tag390.xml"/></Relationships>
</file>

<file path=ppt/slides/_rels/slide121.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393.xml"/><Relationship Id="rId7" Type="http://schemas.openxmlformats.org/officeDocument/2006/relationships/notesSlide" Target="../notesSlides/notesSlide111.xml"/><Relationship Id="rId2" Type="http://schemas.openxmlformats.org/officeDocument/2006/relationships/tags" Target="../tags/tag392.xml"/><Relationship Id="rId1" Type="http://schemas.openxmlformats.org/officeDocument/2006/relationships/tags" Target="../tags/tag391.xml"/><Relationship Id="rId6" Type="http://schemas.openxmlformats.org/officeDocument/2006/relationships/slideLayout" Target="../slideLayouts/slideLayout28.xml"/><Relationship Id="rId5" Type="http://schemas.openxmlformats.org/officeDocument/2006/relationships/tags" Target="../tags/tag395.xml"/><Relationship Id="rId4" Type="http://schemas.openxmlformats.org/officeDocument/2006/relationships/tags" Target="../tags/tag394.xml"/><Relationship Id="rId9" Type="http://schemas.openxmlformats.org/officeDocument/2006/relationships/image" Target="../media/image6.emf"/></Relationships>
</file>

<file path=ppt/slides/_rels/slide122.xml.rels><?xml version="1.0" encoding="UTF-8" standalone="yes"?>
<Relationships xmlns="http://schemas.openxmlformats.org/package/2006/relationships"><Relationship Id="rId8" Type="http://schemas.openxmlformats.org/officeDocument/2006/relationships/tags" Target="../tags/tag403.xml"/><Relationship Id="rId13" Type="http://schemas.openxmlformats.org/officeDocument/2006/relationships/tags" Target="../tags/tag408.xml"/><Relationship Id="rId18" Type="http://schemas.openxmlformats.org/officeDocument/2006/relationships/tags" Target="../tags/tag413.xml"/><Relationship Id="rId26" Type="http://schemas.openxmlformats.org/officeDocument/2006/relationships/tags" Target="../tags/tag421.xml"/><Relationship Id="rId3" Type="http://schemas.openxmlformats.org/officeDocument/2006/relationships/tags" Target="../tags/tag398.xml"/><Relationship Id="rId21" Type="http://schemas.openxmlformats.org/officeDocument/2006/relationships/tags" Target="../tags/tag416.xml"/><Relationship Id="rId7" Type="http://schemas.openxmlformats.org/officeDocument/2006/relationships/tags" Target="../tags/tag402.xml"/><Relationship Id="rId12" Type="http://schemas.openxmlformats.org/officeDocument/2006/relationships/tags" Target="../tags/tag407.xml"/><Relationship Id="rId17" Type="http://schemas.openxmlformats.org/officeDocument/2006/relationships/tags" Target="../tags/tag412.xml"/><Relationship Id="rId25" Type="http://schemas.openxmlformats.org/officeDocument/2006/relationships/tags" Target="../tags/tag420.xml"/><Relationship Id="rId2" Type="http://schemas.openxmlformats.org/officeDocument/2006/relationships/tags" Target="../tags/tag397.xml"/><Relationship Id="rId16" Type="http://schemas.openxmlformats.org/officeDocument/2006/relationships/tags" Target="../tags/tag411.xml"/><Relationship Id="rId20" Type="http://schemas.openxmlformats.org/officeDocument/2006/relationships/tags" Target="../tags/tag415.xml"/><Relationship Id="rId29" Type="http://schemas.openxmlformats.org/officeDocument/2006/relationships/notesSlide" Target="../notesSlides/notesSlide112.xml"/><Relationship Id="rId1" Type="http://schemas.openxmlformats.org/officeDocument/2006/relationships/tags" Target="../tags/tag396.xml"/><Relationship Id="rId6" Type="http://schemas.openxmlformats.org/officeDocument/2006/relationships/tags" Target="../tags/tag401.xml"/><Relationship Id="rId11" Type="http://schemas.openxmlformats.org/officeDocument/2006/relationships/tags" Target="../tags/tag406.xml"/><Relationship Id="rId24" Type="http://schemas.openxmlformats.org/officeDocument/2006/relationships/tags" Target="../tags/tag419.xml"/><Relationship Id="rId5" Type="http://schemas.openxmlformats.org/officeDocument/2006/relationships/tags" Target="../tags/tag400.xml"/><Relationship Id="rId15" Type="http://schemas.openxmlformats.org/officeDocument/2006/relationships/tags" Target="../tags/tag410.xml"/><Relationship Id="rId23" Type="http://schemas.openxmlformats.org/officeDocument/2006/relationships/tags" Target="../tags/tag418.xml"/><Relationship Id="rId28" Type="http://schemas.openxmlformats.org/officeDocument/2006/relationships/slideLayout" Target="../slideLayouts/slideLayout28.xml"/><Relationship Id="rId10" Type="http://schemas.openxmlformats.org/officeDocument/2006/relationships/tags" Target="../tags/tag405.xml"/><Relationship Id="rId19" Type="http://schemas.openxmlformats.org/officeDocument/2006/relationships/tags" Target="../tags/tag414.xml"/><Relationship Id="rId31" Type="http://schemas.openxmlformats.org/officeDocument/2006/relationships/image" Target="../media/image6.emf"/><Relationship Id="rId4" Type="http://schemas.openxmlformats.org/officeDocument/2006/relationships/tags" Target="../tags/tag399.xml"/><Relationship Id="rId9" Type="http://schemas.openxmlformats.org/officeDocument/2006/relationships/tags" Target="../tags/tag404.xml"/><Relationship Id="rId14" Type="http://schemas.openxmlformats.org/officeDocument/2006/relationships/tags" Target="../tags/tag409.xml"/><Relationship Id="rId22" Type="http://schemas.openxmlformats.org/officeDocument/2006/relationships/tags" Target="../tags/tag417.xml"/><Relationship Id="rId27" Type="http://schemas.openxmlformats.org/officeDocument/2006/relationships/tags" Target="../tags/tag422.xml"/><Relationship Id="rId30" Type="http://schemas.openxmlformats.org/officeDocument/2006/relationships/oleObject" Target="../embeddings/oleObject19.bin"/></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28.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28.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28.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28.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2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8.xml"/></Relationships>
</file>

<file path=ppt/slides/_rels/slide129.xml.rels><?xml version="1.0" encoding="UTF-8" standalone="yes"?>
<Relationships xmlns="http://schemas.openxmlformats.org/package/2006/relationships"><Relationship Id="rId3" Type="http://schemas.openxmlformats.org/officeDocument/2006/relationships/notesSlide" Target="../notesSlides/notesSlide117.xml"/><Relationship Id="rId2" Type="http://schemas.openxmlformats.org/officeDocument/2006/relationships/slideLayout" Target="../slideLayouts/slideLayout30.xml"/><Relationship Id="rId1" Type="http://schemas.openxmlformats.org/officeDocument/2006/relationships/tags" Target="../tags/tag42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28.xml"/></Relationships>
</file>

<file path=ppt/slides/_rels/slide1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9.xml"/><Relationship Id="rId1" Type="http://schemas.openxmlformats.org/officeDocument/2006/relationships/slideLayout" Target="../slideLayouts/slideLayout30.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30.xml"/></Relationships>
</file>

<file path=ppt/slides/_rels/slide133.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425.xml"/><Relationship Id="rId1" Type="http://schemas.openxmlformats.org/officeDocument/2006/relationships/tags" Target="../tags/tag424.xml"/><Relationship Id="rId5" Type="http://schemas.openxmlformats.org/officeDocument/2006/relationships/oleObject" Target="../embeddings/oleObject20.bin"/><Relationship Id="rId4" Type="http://schemas.openxmlformats.org/officeDocument/2006/relationships/notesSlide" Target="../notesSlides/notesSlide121.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30.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30.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30.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30.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30.xml"/></Relationships>
</file>

<file path=ppt/slides/_rels/slide139.xml.rels><?xml version="1.0" encoding="UTF-8" standalone="yes"?>
<Relationships xmlns="http://schemas.openxmlformats.org/package/2006/relationships"><Relationship Id="rId8" Type="http://schemas.openxmlformats.org/officeDocument/2006/relationships/tags" Target="../tags/tag433.xml"/><Relationship Id="rId13" Type="http://schemas.openxmlformats.org/officeDocument/2006/relationships/tags" Target="../tags/tag438.xml"/><Relationship Id="rId18" Type="http://schemas.openxmlformats.org/officeDocument/2006/relationships/tags" Target="../tags/tag443.xml"/><Relationship Id="rId26" Type="http://schemas.openxmlformats.org/officeDocument/2006/relationships/tags" Target="../tags/tag451.xml"/><Relationship Id="rId3" Type="http://schemas.openxmlformats.org/officeDocument/2006/relationships/tags" Target="../tags/tag428.xml"/><Relationship Id="rId21" Type="http://schemas.openxmlformats.org/officeDocument/2006/relationships/tags" Target="../tags/tag446.xml"/><Relationship Id="rId7" Type="http://schemas.openxmlformats.org/officeDocument/2006/relationships/tags" Target="../tags/tag432.xml"/><Relationship Id="rId12" Type="http://schemas.openxmlformats.org/officeDocument/2006/relationships/tags" Target="../tags/tag437.xml"/><Relationship Id="rId17" Type="http://schemas.openxmlformats.org/officeDocument/2006/relationships/tags" Target="../tags/tag442.xml"/><Relationship Id="rId25" Type="http://schemas.openxmlformats.org/officeDocument/2006/relationships/tags" Target="../tags/tag450.xml"/><Relationship Id="rId2" Type="http://schemas.openxmlformats.org/officeDocument/2006/relationships/tags" Target="../tags/tag427.xml"/><Relationship Id="rId16" Type="http://schemas.openxmlformats.org/officeDocument/2006/relationships/tags" Target="../tags/tag441.xml"/><Relationship Id="rId20" Type="http://schemas.openxmlformats.org/officeDocument/2006/relationships/tags" Target="../tags/tag445.xml"/><Relationship Id="rId29" Type="http://schemas.openxmlformats.org/officeDocument/2006/relationships/tags" Target="../tags/tag454.xml"/><Relationship Id="rId1" Type="http://schemas.openxmlformats.org/officeDocument/2006/relationships/tags" Target="../tags/tag426.xml"/><Relationship Id="rId6" Type="http://schemas.openxmlformats.org/officeDocument/2006/relationships/tags" Target="../tags/tag431.xml"/><Relationship Id="rId11" Type="http://schemas.openxmlformats.org/officeDocument/2006/relationships/tags" Target="../tags/tag436.xml"/><Relationship Id="rId24" Type="http://schemas.openxmlformats.org/officeDocument/2006/relationships/tags" Target="../tags/tag449.xml"/><Relationship Id="rId5" Type="http://schemas.openxmlformats.org/officeDocument/2006/relationships/tags" Target="../tags/tag430.xml"/><Relationship Id="rId15" Type="http://schemas.openxmlformats.org/officeDocument/2006/relationships/tags" Target="../tags/tag440.xml"/><Relationship Id="rId23" Type="http://schemas.openxmlformats.org/officeDocument/2006/relationships/tags" Target="../tags/tag448.xml"/><Relationship Id="rId28" Type="http://schemas.openxmlformats.org/officeDocument/2006/relationships/tags" Target="../tags/tag453.xml"/><Relationship Id="rId10" Type="http://schemas.openxmlformats.org/officeDocument/2006/relationships/tags" Target="../tags/tag435.xml"/><Relationship Id="rId19" Type="http://schemas.openxmlformats.org/officeDocument/2006/relationships/tags" Target="../tags/tag444.xml"/><Relationship Id="rId31" Type="http://schemas.openxmlformats.org/officeDocument/2006/relationships/notesSlide" Target="../notesSlides/notesSlide127.xml"/><Relationship Id="rId4" Type="http://schemas.openxmlformats.org/officeDocument/2006/relationships/tags" Target="../tags/tag429.xml"/><Relationship Id="rId9" Type="http://schemas.openxmlformats.org/officeDocument/2006/relationships/tags" Target="../tags/tag434.xml"/><Relationship Id="rId14" Type="http://schemas.openxmlformats.org/officeDocument/2006/relationships/tags" Target="../tags/tag439.xml"/><Relationship Id="rId22" Type="http://schemas.openxmlformats.org/officeDocument/2006/relationships/tags" Target="../tags/tag447.xml"/><Relationship Id="rId27" Type="http://schemas.openxmlformats.org/officeDocument/2006/relationships/tags" Target="../tags/tag452.xml"/><Relationship Id="rId30"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8.xml"/></Relationships>
</file>

<file path=ppt/slides/_rels/slide140.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456.xml"/><Relationship Id="rId1" Type="http://schemas.openxmlformats.org/officeDocument/2006/relationships/tags" Target="../tags/tag455.xml"/><Relationship Id="rId4" Type="http://schemas.openxmlformats.org/officeDocument/2006/relationships/notesSlide" Target="../notesSlides/notesSlide128.xml"/></Relationships>
</file>

<file path=ppt/slides/_rels/slide141.xml.rels><?xml version="1.0" encoding="UTF-8" standalone="yes"?>
<Relationships xmlns="http://schemas.openxmlformats.org/package/2006/relationships"><Relationship Id="rId3" Type="http://schemas.openxmlformats.org/officeDocument/2006/relationships/tags" Target="../tags/tag459.xml"/><Relationship Id="rId2" Type="http://schemas.openxmlformats.org/officeDocument/2006/relationships/tags" Target="../tags/tag458.xml"/><Relationship Id="rId1" Type="http://schemas.openxmlformats.org/officeDocument/2006/relationships/tags" Target="../tags/tag457.xml"/><Relationship Id="rId5" Type="http://schemas.openxmlformats.org/officeDocument/2006/relationships/notesSlide" Target="../notesSlides/notesSlide129.xml"/><Relationship Id="rId4" Type="http://schemas.openxmlformats.org/officeDocument/2006/relationships/slideLayout" Target="../slideLayouts/slideLayout28.xml"/></Relationships>
</file>

<file path=ppt/slides/_rels/slide142.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461.xml"/><Relationship Id="rId1" Type="http://schemas.openxmlformats.org/officeDocument/2006/relationships/tags" Target="../tags/tag460.xml"/><Relationship Id="rId4" Type="http://schemas.openxmlformats.org/officeDocument/2006/relationships/notesSlide" Target="../notesSlides/notesSlide130.xml"/></Relationships>
</file>

<file path=ppt/slides/_rels/slide143.xml.rels><?xml version="1.0" encoding="UTF-8" standalone="yes"?>
<Relationships xmlns="http://schemas.openxmlformats.org/package/2006/relationships"><Relationship Id="rId26" Type="http://schemas.openxmlformats.org/officeDocument/2006/relationships/tags" Target="../tags/tag487.xml"/><Relationship Id="rId21" Type="http://schemas.openxmlformats.org/officeDocument/2006/relationships/tags" Target="../tags/tag482.xml"/><Relationship Id="rId42" Type="http://schemas.openxmlformats.org/officeDocument/2006/relationships/tags" Target="../tags/tag503.xml"/><Relationship Id="rId47" Type="http://schemas.openxmlformats.org/officeDocument/2006/relationships/tags" Target="../tags/tag508.xml"/><Relationship Id="rId63" Type="http://schemas.openxmlformats.org/officeDocument/2006/relationships/tags" Target="../tags/tag524.xml"/><Relationship Id="rId68" Type="http://schemas.openxmlformats.org/officeDocument/2006/relationships/tags" Target="../tags/tag529.xml"/><Relationship Id="rId16" Type="http://schemas.openxmlformats.org/officeDocument/2006/relationships/tags" Target="../tags/tag477.xml"/><Relationship Id="rId11" Type="http://schemas.openxmlformats.org/officeDocument/2006/relationships/tags" Target="../tags/tag472.xml"/><Relationship Id="rId32" Type="http://schemas.openxmlformats.org/officeDocument/2006/relationships/tags" Target="../tags/tag493.xml"/><Relationship Id="rId37" Type="http://schemas.openxmlformats.org/officeDocument/2006/relationships/tags" Target="../tags/tag498.xml"/><Relationship Id="rId53" Type="http://schemas.openxmlformats.org/officeDocument/2006/relationships/tags" Target="../tags/tag514.xml"/><Relationship Id="rId58" Type="http://schemas.openxmlformats.org/officeDocument/2006/relationships/tags" Target="../tags/tag519.xml"/><Relationship Id="rId74" Type="http://schemas.openxmlformats.org/officeDocument/2006/relationships/tags" Target="../tags/tag535.xml"/><Relationship Id="rId79" Type="http://schemas.openxmlformats.org/officeDocument/2006/relationships/tags" Target="../tags/tag540.xml"/><Relationship Id="rId5" Type="http://schemas.openxmlformats.org/officeDocument/2006/relationships/tags" Target="../tags/tag466.xml"/><Relationship Id="rId61" Type="http://schemas.openxmlformats.org/officeDocument/2006/relationships/tags" Target="../tags/tag522.xml"/><Relationship Id="rId19" Type="http://schemas.openxmlformats.org/officeDocument/2006/relationships/tags" Target="../tags/tag480.xml"/><Relationship Id="rId14" Type="http://schemas.openxmlformats.org/officeDocument/2006/relationships/tags" Target="../tags/tag475.xml"/><Relationship Id="rId22" Type="http://schemas.openxmlformats.org/officeDocument/2006/relationships/tags" Target="../tags/tag483.xml"/><Relationship Id="rId27" Type="http://schemas.openxmlformats.org/officeDocument/2006/relationships/tags" Target="../tags/tag488.xml"/><Relationship Id="rId30" Type="http://schemas.openxmlformats.org/officeDocument/2006/relationships/tags" Target="../tags/tag491.xml"/><Relationship Id="rId35" Type="http://schemas.openxmlformats.org/officeDocument/2006/relationships/tags" Target="../tags/tag496.xml"/><Relationship Id="rId43" Type="http://schemas.openxmlformats.org/officeDocument/2006/relationships/tags" Target="../tags/tag504.xml"/><Relationship Id="rId48" Type="http://schemas.openxmlformats.org/officeDocument/2006/relationships/tags" Target="../tags/tag509.xml"/><Relationship Id="rId56" Type="http://schemas.openxmlformats.org/officeDocument/2006/relationships/tags" Target="../tags/tag517.xml"/><Relationship Id="rId64" Type="http://schemas.openxmlformats.org/officeDocument/2006/relationships/tags" Target="../tags/tag525.xml"/><Relationship Id="rId69" Type="http://schemas.openxmlformats.org/officeDocument/2006/relationships/tags" Target="../tags/tag530.xml"/><Relationship Id="rId77" Type="http://schemas.openxmlformats.org/officeDocument/2006/relationships/tags" Target="../tags/tag538.xml"/><Relationship Id="rId8" Type="http://schemas.openxmlformats.org/officeDocument/2006/relationships/tags" Target="../tags/tag469.xml"/><Relationship Id="rId51" Type="http://schemas.openxmlformats.org/officeDocument/2006/relationships/tags" Target="../tags/tag512.xml"/><Relationship Id="rId72" Type="http://schemas.openxmlformats.org/officeDocument/2006/relationships/tags" Target="../tags/tag533.xml"/><Relationship Id="rId80" Type="http://schemas.openxmlformats.org/officeDocument/2006/relationships/slideLayout" Target="../slideLayouts/slideLayout28.xml"/><Relationship Id="rId3" Type="http://schemas.openxmlformats.org/officeDocument/2006/relationships/tags" Target="../tags/tag464.xml"/><Relationship Id="rId12" Type="http://schemas.openxmlformats.org/officeDocument/2006/relationships/tags" Target="../tags/tag473.xml"/><Relationship Id="rId17" Type="http://schemas.openxmlformats.org/officeDocument/2006/relationships/tags" Target="../tags/tag478.xml"/><Relationship Id="rId25" Type="http://schemas.openxmlformats.org/officeDocument/2006/relationships/tags" Target="../tags/tag486.xml"/><Relationship Id="rId33" Type="http://schemas.openxmlformats.org/officeDocument/2006/relationships/tags" Target="../tags/tag494.xml"/><Relationship Id="rId38" Type="http://schemas.openxmlformats.org/officeDocument/2006/relationships/tags" Target="../tags/tag499.xml"/><Relationship Id="rId46" Type="http://schemas.openxmlformats.org/officeDocument/2006/relationships/tags" Target="../tags/tag507.xml"/><Relationship Id="rId59" Type="http://schemas.openxmlformats.org/officeDocument/2006/relationships/tags" Target="../tags/tag520.xml"/><Relationship Id="rId67" Type="http://schemas.openxmlformats.org/officeDocument/2006/relationships/tags" Target="../tags/tag528.xml"/><Relationship Id="rId20" Type="http://schemas.openxmlformats.org/officeDocument/2006/relationships/tags" Target="../tags/tag481.xml"/><Relationship Id="rId41" Type="http://schemas.openxmlformats.org/officeDocument/2006/relationships/tags" Target="../tags/tag502.xml"/><Relationship Id="rId54" Type="http://schemas.openxmlformats.org/officeDocument/2006/relationships/tags" Target="../tags/tag515.xml"/><Relationship Id="rId62" Type="http://schemas.openxmlformats.org/officeDocument/2006/relationships/tags" Target="../tags/tag523.xml"/><Relationship Id="rId70" Type="http://schemas.openxmlformats.org/officeDocument/2006/relationships/tags" Target="../tags/tag531.xml"/><Relationship Id="rId75" Type="http://schemas.openxmlformats.org/officeDocument/2006/relationships/tags" Target="../tags/tag536.xml"/><Relationship Id="rId1" Type="http://schemas.openxmlformats.org/officeDocument/2006/relationships/tags" Target="../tags/tag462.xml"/><Relationship Id="rId6" Type="http://schemas.openxmlformats.org/officeDocument/2006/relationships/tags" Target="../tags/tag467.xml"/><Relationship Id="rId15" Type="http://schemas.openxmlformats.org/officeDocument/2006/relationships/tags" Target="../tags/tag476.xml"/><Relationship Id="rId23" Type="http://schemas.openxmlformats.org/officeDocument/2006/relationships/tags" Target="../tags/tag484.xml"/><Relationship Id="rId28" Type="http://schemas.openxmlformats.org/officeDocument/2006/relationships/tags" Target="../tags/tag489.xml"/><Relationship Id="rId36" Type="http://schemas.openxmlformats.org/officeDocument/2006/relationships/tags" Target="../tags/tag497.xml"/><Relationship Id="rId49" Type="http://schemas.openxmlformats.org/officeDocument/2006/relationships/tags" Target="../tags/tag510.xml"/><Relationship Id="rId57" Type="http://schemas.openxmlformats.org/officeDocument/2006/relationships/tags" Target="../tags/tag518.xml"/><Relationship Id="rId10" Type="http://schemas.openxmlformats.org/officeDocument/2006/relationships/tags" Target="../tags/tag471.xml"/><Relationship Id="rId31" Type="http://schemas.openxmlformats.org/officeDocument/2006/relationships/tags" Target="../tags/tag492.xml"/><Relationship Id="rId44" Type="http://schemas.openxmlformats.org/officeDocument/2006/relationships/tags" Target="../tags/tag505.xml"/><Relationship Id="rId52" Type="http://schemas.openxmlformats.org/officeDocument/2006/relationships/tags" Target="../tags/tag513.xml"/><Relationship Id="rId60" Type="http://schemas.openxmlformats.org/officeDocument/2006/relationships/tags" Target="../tags/tag521.xml"/><Relationship Id="rId65" Type="http://schemas.openxmlformats.org/officeDocument/2006/relationships/tags" Target="../tags/tag526.xml"/><Relationship Id="rId73" Type="http://schemas.openxmlformats.org/officeDocument/2006/relationships/tags" Target="../tags/tag534.xml"/><Relationship Id="rId78" Type="http://schemas.openxmlformats.org/officeDocument/2006/relationships/tags" Target="../tags/tag539.xml"/><Relationship Id="rId81" Type="http://schemas.openxmlformats.org/officeDocument/2006/relationships/notesSlide" Target="../notesSlides/notesSlide131.xml"/><Relationship Id="rId4" Type="http://schemas.openxmlformats.org/officeDocument/2006/relationships/tags" Target="../tags/tag465.xml"/><Relationship Id="rId9" Type="http://schemas.openxmlformats.org/officeDocument/2006/relationships/tags" Target="../tags/tag470.xml"/><Relationship Id="rId13" Type="http://schemas.openxmlformats.org/officeDocument/2006/relationships/tags" Target="../tags/tag474.xml"/><Relationship Id="rId18" Type="http://schemas.openxmlformats.org/officeDocument/2006/relationships/tags" Target="../tags/tag479.xml"/><Relationship Id="rId39" Type="http://schemas.openxmlformats.org/officeDocument/2006/relationships/tags" Target="../tags/tag500.xml"/><Relationship Id="rId34" Type="http://schemas.openxmlformats.org/officeDocument/2006/relationships/tags" Target="../tags/tag495.xml"/><Relationship Id="rId50" Type="http://schemas.openxmlformats.org/officeDocument/2006/relationships/tags" Target="../tags/tag511.xml"/><Relationship Id="rId55" Type="http://schemas.openxmlformats.org/officeDocument/2006/relationships/tags" Target="../tags/tag516.xml"/><Relationship Id="rId76" Type="http://schemas.openxmlformats.org/officeDocument/2006/relationships/tags" Target="../tags/tag537.xml"/><Relationship Id="rId7" Type="http://schemas.openxmlformats.org/officeDocument/2006/relationships/tags" Target="../tags/tag468.xml"/><Relationship Id="rId71" Type="http://schemas.openxmlformats.org/officeDocument/2006/relationships/tags" Target="../tags/tag532.xml"/><Relationship Id="rId2" Type="http://schemas.openxmlformats.org/officeDocument/2006/relationships/tags" Target="../tags/tag463.xml"/><Relationship Id="rId29" Type="http://schemas.openxmlformats.org/officeDocument/2006/relationships/tags" Target="../tags/tag490.xml"/><Relationship Id="rId24" Type="http://schemas.openxmlformats.org/officeDocument/2006/relationships/tags" Target="../tags/tag485.xml"/><Relationship Id="rId40" Type="http://schemas.openxmlformats.org/officeDocument/2006/relationships/tags" Target="../tags/tag501.xml"/><Relationship Id="rId45" Type="http://schemas.openxmlformats.org/officeDocument/2006/relationships/tags" Target="../tags/tag506.xml"/><Relationship Id="rId66" Type="http://schemas.openxmlformats.org/officeDocument/2006/relationships/tags" Target="../tags/tag527.xml"/></Relationships>
</file>

<file path=ppt/slides/_rels/slide144.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542.xml"/><Relationship Id="rId1" Type="http://schemas.openxmlformats.org/officeDocument/2006/relationships/tags" Target="../tags/tag541.xml"/><Relationship Id="rId4" Type="http://schemas.openxmlformats.org/officeDocument/2006/relationships/notesSlide" Target="../notesSlides/notesSlide132.xml"/></Relationships>
</file>

<file path=ppt/slides/_rels/slide145.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544.xml"/><Relationship Id="rId1" Type="http://schemas.openxmlformats.org/officeDocument/2006/relationships/tags" Target="../tags/tag543.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notesSlide" Target="../notesSlides/notesSlide133.xml"/></Relationships>
</file>

<file path=ppt/slides/_rels/slide146.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18" Type="http://schemas.openxmlformats.org/officeDocument/2006/relationships/image" Target="../media/image27.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1.png"/><Relationship Id="rId17" Type="http://schemas.openxmlformats.org/officeDocument/2006/relationships/image" Target="../media/image26.png"/><Relationship Id="rId2" Type="http://schemas.openxmlformats.org/officeDocument/2006/relationships/notesSlide" Target="../notesSlides/notesSlide134.xml"/><Relationship Id="rId16" Type="http://schemas.openxmlformats.org/officeDocument/2006/relationships/image" Target="../media/image25.png"/><Relationship Id="rId1" Type="http://schemas.openxmlformats.org/officeDocument/2006/relationships/slideLayout" Target="../slideLayouts/slideLayout28.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5" Type="http://schemas.openxmlformats.org/officeDocument/2006/relationships/image" Target="../media/image2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 Id="rId14" Type="http://schemas.openxmlformats.org/officeDocument/2006/relationships/image" Target="../media/image23.png"/></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48.xml.rels><?xml version="1.0" encoding="UTF-8" standalone="yes"?>
<Relationships xmlns="http://schemas.openxmlformats.org/package/2006/relationships"><Relationship Id="rId3" Type="http://schemas.openxmlformats.org/officeDocument/2006/relationships/notesSlide" Target="../notesSlides/notesSlide135.xml"/><Relationship Id="rId2" Type="http://schemas.openxmlformats.org/officeDocument/2006/relationships/slideLayout" Target="../slideLayouts/slideLayout28.xml"/><Relationship Id="rId1" Type="http://schemas.openxmlformats.org/officeDocument/2006/relationships/tags" Target="../tags/tag545.xml"/></Relationships>
</file>

<file path=ppt/slides/_rels/slide149.xml.rels><?xml version="1.0" encoding="UTF-8" standalone="yes"?>
<Relationships xmlns="http://schemas.openxmlformats.org/package/2006/relationships"><Relationship Id="rId3" Type="http://schemas.openxmlformats.org/officeDocument/2006/relationships/notesSlide" Target="../notesSlides/notesSlide136.xml"/><Relationship Id="rId2" Type="http://schemas.openxmlformats.org/officeDocument/2006/relationships/slideLayout" Target="../slideLayouts/slideLayout28.xml"/><Relationship Id="rId1" Type="http://schemas.openxmlformats.org/officeDocument/2006/relationships/tags" Target="../tags/tag54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8.xml"/></Relationships>
</file>

<file path=ppt/slides/_rels/slide150.xml.rels><?xml version="1.0" encoding="UTF-8" standalone="yes"?>
<Relationships xmlns="http://schemas.openxmlformats.org/package/2006/relationships"><Relationship Id="rId3" Type="http://schemas.openxmlformats.org/officeDocument/2006/relationships/notesSlide" Target="../notesSlides/notesSlide137.xml"/><Relationship Id="rId2" Type="http://schemas.openxmlformats.org/officeDocument/2006/relationships/slideLayout" Target="../slideLayouts/slideLayout28.xml"/><Relationship Id="rId1" Type="http://schemas.openxmlformats.org/officeDocument/2006/relationships/tags" Target="../tags/tag547.xml"/></Relationships>
</file>

<file path=ppt/slides/_rels/slide151.xml.rels><?xml version="1.0" encoding="UTF-8" standalone="yes"?>
<Relationships xmlns="http://schemas.openxmlformats.org/package/2006/relationships"><Relationship Id="rId13" Type="http://schemas.openxmlformats.org/officeDocument/2006/relationships/tags" Target="../tags/tag560.xml"/><Relationship Id="rId18" Type="http://schemas.openxmlformats.org/officeDocument/2006/relationships/tags" Target="../tags/tag565.xml"/><Relationship Id="rId26" Type="http://schemas.openxmlformats.org/officeDocument/2006/relationships/tags" Target="../tags/tag573.xml"/><Relationship Id="rId3" Type="http://schemas.openxmlformats.org/officeDocument/2006/relationships/tags" Target="../tags/tag550.xml"/><Relationship Id="rId21" Type="http://schemas.openxmlformats.org/officeDocument/2006/relationships/tags" Target="../tags/tag568.xml"/><Relationship Id="rId7" Type="http://schemas.openxmlformats.org/officeDocument/2006/relationships/tags" Target="../tags/tag554.xml"/><Relationship Id="rId12" Type="http://schemas.openxmlformats.org/officeDocument/2006/relationships/tags" Target="../tags/tag559.xml"/><Relationship Id="rId17" Type="http://schemas.openxmlformats.org/officeDocument/2006/relationships/tags" Target="../tags/tag564.xml"/><Relationship Id="rId25" Type="http://schemas.openxmlformats.org/officeDocument/2006/relationships/tags" Target="../tags/tag572.xml"/><Relationship Id="rId33" Type="http://schemas.openxmlformats.org/officeDocument/2006/relationships/image" Target="../media/image6.emf"/><Relationship Id="rId2" Type="http://schemas.openxmlformats.org/officeDocument/2006/relationships/tags" Target="../tags/tag549.xml"/><Relationship Id="rId16" Type="http://schemas.openxmlformats.org/officeDocument/2006/relationships/tags" Target="../tags/tag563.xml"/><Relationship Id="rId20" Type="http://schemas.openxmlformats.org/officeDocument/2006/relationships/tags" Target="../tags/tag567.xml"/><Relationship Id="rId29" Type="http://schemas.openxmlformats.org/officeDocument/2006/relationships/tags" Target="../tags/tag576.xml"/><Relationship Id="rId1" Type="http://schemas.openxmlformats.org/officeDocument/2006/relationships/tags" Target="../tags/tag548.xml"/><Relationship Id="rId6" Type="http://schemas.openxmlformats.org/officeDocument/2006/relationships/tags" Target="../tags/tag553.xml"/><Relationship Id="rId11" Type="http://schemas.openxmlformats.org/officeDocument/2006/relationships/tags" Target="../tags/tag558.xml"/><Relationship Id="rId24" Type="http://schemas.openxmlformats.org/officeDocument/2006/relationships/tags" Target="../tags/tag571.xml"/><Relationship Id="rId32" Type="http://schemas.openxmlformats.org/officeDocument/2006/relationships/oleObject" Target="../embeddings/oleObject21.bin"/><Relationship Id="rId5" Type="http://schemas.openxmlformats.org/officeDocument/2006/relationships/tags" Target="../tags/tag552.xml"/><Relationship Id="rId15" Type="http://schemas.openxmlformats.org/officeDocument/2006/relationships/tags" Target="../tags/tag562.xml"/><Relationship Id="rId23" Type="http://schemas.openxmlformats.org/officeDocument/2006/relationships/tags" Target="../tags/tag570.xml"/><Relationship Id="rId28" Type="http://schemas.openxmlformats.org/officeDocument/2006/relationships/tags" Target="../tags/tag575.xml"/><Relationship Id="rId10" Type="http://schemas.openxmlformats.org/officeDocument/2006/relationships/tags" Target="../tags/tag557.xml"/><Relationship Id="rId19" Type="http://schemas.openxmlformats.org/officeDocument/2006/relationships/tags" Target="../tags/tag566.xml"/><Relationship Id="rId31" Type="http://schemas.openxmlformats.org/officeDocument/2006/relationships/notesSlide" Target="../notesSlides/notesSlide138.xml"/><Relationship Id="rId4" Type="http://schemas.openxmlformats.org/officeDocument/2006/relationships/tags" Target="../tags/tag551.xml"/><Relationship Id="rId9" Type="http://schemas.openxmlformats.org/officeDocument/2006/relationships/tags" Target="../tags/tag556.xml"/><Relationship Id="rId14" Type="http://schemas.openxmlformats.org/officeDocument/2006/relationships/tags" Target="../tags/tag561.xml"/><Relationship Id="rId22" Type="http://schemas.openxmlformats.org/officeDocument/2006/relationships/tags" Target="../tags/tag569.xml"/><Relationship Id="rId27" Type="http://schemas.openxmlformats.org/officeDocument/2006/relationships/tags" Target="../tags/tag574.xml"/><Relationship Id="rId30" Type="http://schemas.openxmlformats.org/officeDocument/2006/relationships/slideLayout" Target="../slideLayouts/slideLayout28.xml"/><Relationship Id="rId8" Type="http://schemas.openxmlformats.org/officeDocument/2006/relationships/tags" Target="../tags/tag555.xml"/></Relationships>
</file>

<file path=ppt/slides/_rels/slide152.xml.rels><?xml version="1.0" encoding="UTF-8" standalone="yes"?>
<Relationships xmlns="http://schemas.openxmlformats.org/package/2006/relationships"><Relationship Id="rId13" Type="http://schemas.openxmlformats.org/officeDocument/2006/relationships/tags" Target="../tags/tag589.xml"/><Relationship Id="rId18" Type="http://schemas.openxmlformats.org/officeDocument/2006/relationships/tags" Target="../tags/tag594.xml"/><Relationship Id="rId26" Type="http://schemas.openxmlformats.org/officeDocument/2006/relationships/tags" Target="../tags/tag602.xml"/><Relationship Id="rId39" Type="http://schemas.openxmlformats.org/officeDocument/2006/relationships/tags" Target="../tags/tag615.xml"/><Relationship Id="rId21" Type="http://schemas.openxmlformats.org/officeDocument/2006/relationships/tags" Target="../tags/tag597.xml"/><Relationship Id="rId34" Type="http://schemas.openxmlformats.org/officeDocument/2006/relationships/tags" Target="../tags/tag610.xml"/><Relationship Id="rId42" Type="http://schemas.openxmlformats.org/officeDocument/2006/relationships/oleObject" Target="../embeddings/oleObject22.bin"/><Relationship Id="rId7" Type="http://schemas.openxmlformats.org/officeDocument/2006/relationships/tags" Target="../tags/tag583.xml"/><Relationship Id="rId2" Type="http://schemas.openxmlformats.org/officeDocument/2006/relationships/tags" Target="../tags/tag578.xml"/><Relationship Id="rId16" Type="http://schemas.openxmlformats.org/officeDocument/2006/relationships/tags" Target="../tags/tag592.xml"/><Relationship Id="rId20" Type="http://schemas.openxmlformats.org/officeDocument/2006/relationships/tags" Target="../tags/tag596.xml"/><Relationship Id="rId29" Type="http://schemas.openxmlformats.org/officeDocument/2006/relationships/tags" Target="../tags/tag605.xml"/><Relationship Id="rId41" Type="http://schemas.openxmlformats.org/officeDocument/2006/relationships/notesSlide" Target="../notesSlides/notesSlide139.xml"/><Relationship Id="rId1" Type="http://schemas.openxmlformats.org/officeDocument/2006/relationships/tags" Target="../tags/tag577.xml"/><Relationship Id="rId6" Type="http://schemas.openxmlformats.org/officeDocument/2006/relationships/tags" Target="../tags/tag582.xml"/><Relationship Id="rId11" Type="http://schemas.openxmlformats.org/officeDocument/2006/relationships/tags" Target="../tags/tag587.xml"/><Relationship Id="rId24" Type="http://schemas.openxmlformats.org/officeDocument/2006/relationships/tags" Target="../tags/tag600.xml"/><Relationship Id="rId32" Type="http://schemas.openxmlformats.org/officeDocument/2006/relationships/tags" Target="../tags/tag608.xml"/><Relationship Id="rId37" Type="http://schemas.openxmlformats.org/officeDocument/2006/relationships/tags" Target="../tags/tag613.xml"/><Relationship Id="rId40" Type="http://schemas.openxmlformats.org/officeDocument/2006/relationships/slideLayout" Target="../slideLayouts/slideLayout28.xml"/><Relationship Id="rId5" Type="http://schemas.openxmlformats.org/officeDocument/2006/relationships/tags" Target="../tags/tag581.xml"/><Relationship Id="rId15" Type="http://schemas.openxmlformats.org/officeDocument/2006/relationships/tags" Target="../tags/tag591.xml"/><Relationship Id="rId23" Type="http://schemas.openxmlformats.org/officeDocument/2006/relationships/tags" Target="../tags/tag599.xml"/><Relationship Id="rId28" Type="http://schemas.openxmlformats.org/officeDocument/2006/relationships/tags" Target="../tags/tag604.xml"/><Relationship Id="rId36" Type="http://schemas.openxmlformats.org/officeDocument/2006/relationships/tags" Target="../tags/tag612.xml"/><Relationship Id="rId10" Type="http://schemas.openxmlformats.org/officeDocument/2006/relationships/tags" Target="../tags/tag586.xml"/><Relationship Id="rId19" Type="http://schemas.openxmlformats.org/officeDocument/2006/relationships/tags" Target="../tags/tag595.xml"/><Relationship Id="rId31" Type="http://schemas.openxmlformats.org/officeDocument/2006/relationships/tags" Target="../tags/tag607.xml"/><Relationship Id="rId4" Type="http://schemas.openxmlformats.org/officeDocument/2006/relationships/tags" Target="../tags/tag580.xml"/><Relationship Id="rId9" Type="http://schemas.openxmlformats.org/officeDocument/2006/relationships/tags" Target="../tags/tag585.xml"/><Relationship Id="rId14" Type="http://schemas.openxmlformats.org/officeDocument/2006/relationships/tags" Target="../tags/tag590.xml"/><Relationship Id="rId22" Type="http://schemas.openxmlformats.org/officeDocument/2006/relationships/tags" Target="../tags/tag598.xml"/><Relationship Id="rId27" Type="http://schemas.openxmlformats.org/officeDocument/2006/relationships/tags" Target="../tags/tag603.xml"/><Relationship Id="rId30" Type="http://schemas.openxmlformats.org/officeDocument/2006/relationships/tags" Target="../tags/tag606.xml"/><Relationship Id="rId35" Type="http://schemas.openxmlformats.org/officeDocument/2006/relationships/tags" Target="../tags/tag611.xml"/><Relationship Id="rId43" Type="http://schemas.openxmlformats.org/officeDocument/2006/relationships/image" Target="../media/image6.emf"/><Relationship Id="rId8" Type="http://schemas.openxmlformats.org/officeDocument/2006/relationships/tags" Target="../tags/tag584.xml"/><Relationship Id="rId3" Type="http://schemas.openxmlformats.org/officeDocument/2006/relationships/tags" Target="../tags/tag579.xml"/><Relationship Id="rId12" Type="http://schemas.openxmlformats.org/officeDocument/2006/relationships/tags" Target="../tags/tag588.xml"/><Relationship Id="rId17" Type="http://schemas.openxmlformats.org/officeDocument/2006/relationships/tags" Target="../tags/tag593.xml"/><Relationship Id="rId25" Type="http://schemas.openxmlformats.org/officeDocument/2006/relationships/tags" Target="../tags/tag601.xml"/><Relationship Id="rId33" Type="http://schemas.openxmlformats.org/officeDocument/2006/relationships/tags" Target="../tags/tag609.xml"/><Relationship Id="rId38" Type="http://schemas.openxmlformats.org/officeDocument/2006/relationships/tags" Target="../tags/tag614.xml"/></Relationships>
</file>

<file path=ppt/slides/_rels/slide153.xml.rels><?xml version="1.0" encoding="UTF-8" standalone="yes"?>
<Relationships xmlns="http://schemas.openxmlformats.org/package/2006/relationships"><Relationship Id="rId3" Type="http://schemas.openxmlformats.org/officeDocument/2006/relationships/notesSlide" Target="../notesSlides/notesSlide140.xml"/><Relationship Id="rId2" Type="http://schemas.openxmlformats.org/officeDocument/2006/relationships/slideLayout" Target="../slideLayouts/slideLayout28.xml"/><Relationship Id="rId1" Type="http://schemas.openxmlformats.org/officeDocument/2006/relationships/tags" Target="../tags/tag616.xml"/></Relationships>
</file>

<file path=ppt/slides/_rels/slide154.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618.xml"/><Relationship Id="rId1" Type="http://schemas.openxmlformats.org/officeDocument/2006/relationships/tags" Target="../tags/tag617.xml"/><Relationship Id="rId4" Type="http://schemas.openxmlformats.org/officeDocument/2006/relationships/notesSlide" Target="../notesSlides/notesSlide141.xml"/></Relationships>
</file>

<file path=ppt/slides/_rels/slide155.xml.rels><?xml version="1.0" encoding="UTF-8" standalone="yes"?>
<Relationships xmlns="http://schemas.openxmlformats.org/package/2006/relationships"><Relationship Id="rId8" Type="http://schemas.openxmlformats.org/officeDocument/2006/relationships/tags" Target="../tags/tag626.xml"/><Relationship Id="rId13" Type="http://schemas.openxmlformats.org/officeDocument/2006/relationships/oleObject" Target="../embeddings/oleObject23.bin"/><Relationship Id="rId3" Type="http://schemas.openxmlformats.org/officeDocument/2006/relationships/tags" Target="../tags/tag621.xml"/><Relationship Id="rId7" Type="http://schemas.openxmlformats.org/officeDocument/2006/relationships/tags" Target="../tags/tag625.xml"/><Relationship Id="rId12" Type="http://schemas.openxmlformats.org/officeDocument/2006/relationships/notesSlide" Target="../notesSlides/notesSlide142.xml"/><Relationship Id="rId2" Type="http://schemas.openxmlformats.org/officeDocument/2006/relationships/tags" Target="../tags/tag620.xml"/><Relationship Id="rId1" Type="http://schemas.openxmlformats.org/officeDocument/2006/relationships/tags" Target="../tags/tag619.xml"/><Relationship Id="rId6" Type="http://schemas.openxmlformats.org/officeDocument/2006/relationships/tags" Target="../tags/tag624.xml"/><Relationship Id="rId11" Type="http://schemas.openxmlformats.org/officeDocument/2006/relationships/slideLayout" Target="../slideLayouts/slideLayout28.xml"/><Relationship Id="rId5" Type="http://schemas.openxmlformats.org/officeDocument/2006/relationships/tags" Target="../tags/tag623.xml"/><Relationship Id="rId10" Type="http://schemas.openxmlformats.org/officeDocument/2006/relationships/tags" Target="../tags/tag628.xml"/><Relationship Id="rId4" Type="http://schemas.openxmlformats.org/officeDocument/2006/relationships/tags" Target="../tags/tag622.xml"/><Relationship Id="rId9" Type="http://schemas.openxmlformats.org/officeDocument/2006/relationships/tags" Target="../tags/tag627.xml"/></Relationships>
</file>

<file path=ppt/slides/_rels/slide156.xml.rels><?xml version="1.0" encoding="UTF-8" standalone="yes"?>
<Relationships xmlns="http://schemas.openxmlformats.org/package/2006/relationships"><Relationship Id="rId3" Type="http://schemas.openxmlformats.org/officeDocument/2006/relationships/notesSlide" Target="../notesSlides/notesSlide143.xml"/><Relationship Id="rId2" Type="http://schemas.openxmlformats.org/officeDocument/2006/relationships/slideLayout" Target="../slideLayouts/slideLayout28.xml"/><Relationship Id="rId1" Type="http://schemas.openxmlformats.org/officeDocument/2006/relationships/tags" Target="../tags/tag629.xml"/></Relationships>
</file>

<file path=ppt/slides/_rels/slide157.xml.rels><?xml version="1.0" encoding="UTF-8" standalone="yes"?>
<Relationships xmlns="http://schemas.openxmlformats.org/package/2006/relationships"><Relationship Id="rId3" Type="http://schemas.openxmlformats.org/officeDocument/2006/relationships/notesSlide" Target="../notesSlides/notesSlide144.xml"/><Relationship Id="rId2" Type="http://schemas.openxmlformats.org/officeDocument/2006/relationships/slideLayout" Target="../slideLayouts/slideLayout28.xml"/><Relationship Id="rId1" Type="http://schemas.openxmlformats.org/officeDocument/2006/relationships/tags" Target="../tags/tag630.xml"/></Relationships>
</file>

<file path=ppt/slides/_rels/slide158.xml.rels><?xml version="1.0" encoding="UTF-8" standalone="yes"?>
<Relationships xmlns="http://schemas.openxmlformats.org/package/2006/relationships"><Relationship Id="rId3" Type="http://schemas.openxmlformats.org/officeDocument/2006/relationships/notesSlide" Target="../notesSlides/notesSlide145.xml"/><Relationship Id="rId2" Type="http://schemas.openxmlformats.org/officeDocument/2006/relationships/slideLayout" Target="../slideLayouts/slideLayout28.xml"/><Relationship Id="rId1" Type="http://schemas.openxmlformats.org/officeDocument/2006/relationships/tags" Target="../tags/tag631.xml"/></Relationships>
</file>

<file path=ppt/slides/_rels/slide159.xml.rels><?xml version="1.0" encoding="UTF-8" standalone="yes"?>
<Relationships xmlns="http://schemas.openxmlformats.org/package/2006/relationships"><Relationship Id="rId3" Type="http://schemas.openxmlformats.org/officeDocument/2006/relationships/notesSlide" Target="../notesSlides/notesSlide146.xml"/><Relationship Id="rId2" Type="http://schemas.openxmlformats.org/officeDocument/2006/relationships/slideLayout" Target="../slideLayouts/slideLayout28.xml"/><Relationship Id="rId1" Type="http://schemas.openxmlformats.org/officeDocument/2006/relationships/tags" Target="../tags/tag63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09.xml"/><Relationship Id="rId1" Type="http://schemas.openxmlformats.org/officeDocument/2006/relationships/tags" Target="../tags/tag108.xml"/><Relationship Id="rId4" Type="http://schemas.openxmlformats.org/officeDocument/2006/relationships/notesSlide" Target="../notesSlides/notesSlide9.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30.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30.xml"/></Relationships>
</file>

<file path=ppt/slides/_rels/slide162.xml.rels><?xml version="1.0" encoding="UTF-8" standalone="yes"?>
<Relationships xmlns="http://schemas.openxmlformats.org/package/2006/relationships"><Relationship Id="rId8" Type="http://schemas.openxmlformats.org/officeDocument/2006/relationships/tags" Target="../tags/tag640.xml"/><Relationship Id="rId13" Type="http://schemas.openxmlformats.org/officeDocument/2006/relationships/notesSlide" Target="../notesSlides/notesSlide149.xml"/><Relationship Id="rId3" Type="http://schemas.openxmlformats.org/officeDocument/2006/relationships/tags" Target="../tags/tag635.xml"/><Relationship Id="rId7" Type="http://schemas.openxmlformats.org/officeDocument/2006/relationships/tags" Target="../tags/tag639.xml"/><Relationship Id="rId12" Type="http://schemas.openxmlformats.org/officeDocument/2006/relationships/slideLayout" Target="../slideLayouts/slideLayout30.xml"/><Relationship Id="rId2" Type="http://schemas.openxmlformats.org/officeDocument/2006/relationships/tags" Target="../tags/tag634.xml"/><Relationship Id="rId1" Type="http://schemas.openxmlformats.org/officeDocument/2006/relationships/tags" Target="../tags/tag633.xml"/><Relationship Id="rId6" Type="http://schemas.openxmlformats.org/officeDocument/2006/relationships/tags" Target="../tags/tag638.xml"/><Relationship Id="rId11" Type="http://schemas.openxmlformats.org/officeDocument/2006/relationships/tags" Target="../tags/tag643.xml"/><Relationship Id="rId5" Type="http://schemas.openxmlformats.org/officeDocument/2006/relationships/tags" Target="../tags/tag637.xml"/><Relationship Id="rId10" Type="http://schemas.openxmlformats.org/officeDocument/2006/relationships/tags" Target="../tags/tag642.xml"/><Relationship Id="rId4" Type="http://schemas.openxmlformats.org/officeDocument/2006/relationships/tags" Target="../tags/tag636.xml"/><Relationship Id="rId9" Type="http://schemas.openxmlformats.org/officeDocument/2006/relationships/tags" Target="../tags/tag641.xml"/><Relationship Id="rId14" Type="http://schemas.openxmlformats.org/officeDocument/2006/relationships/oleObject" Target="../embeddings/oleObject24.bin"/></Relationships>
</file>

<file path=ppt/slides/_rels/slide163.xml.rels><?xml version="1.0" encoding="UTF-8" standalone="yes"?>
<Relationships xmlns="http://schemas.openxmlformats.org/package/2006/relationships"><Relationship Id="rId8" Type="http://schemas.openxmlformats.org/officeDocument/2006/relationships/tags" Target="../tags/tag651.xml"/><Relationship Id="rId13" Type="http://schemas.openxmlformats.org/officeDocument/2006/relationships/slideLayout" Target="../slideLayouts/slideLayout30.xml"/><Relationship Id="rId3" Type="http://schemas.openxmlformats.org/officeDocument/2006/relationships/tags" Target="../tags/tag646.xml"/><Relationship Id="rId7" Type="http://schemas.openxmlformats.org/officeDocument/2006/relationships/tags" Target="../tags/tag650.xml"/><Relationship Id="rId12" Type="http://schemas.openxmlformats.org/officeDocument/2006/relationships/tags" Target="../tags/tag655.xml"/><Relationship Id="rId2" Type="http://schemas.openxmlformats.org/officeDocument/2006/relationships/tags" Target="../tags/tag645.xml"/><Relationship Id="rId1" Type="http://schemas.openxmlformats.org/officeDocument/2006/relationships/tags" Target="../tags/tag644.xml"/><Relationship Id="rId6" Type="http://schemas.openxmlformats.org/officeDocument/2006/relationships/tags" Target="../tags/tag649.xml"/><Relationship Id="rId11" Type="http://schemas.openxmlformats.org/officeDocument/2006/relationships/tags" Target="../tags/tag654.xml"/><Relationship Id="rId5" Type="http://schemas.openxmlformats.org/officeDocument/2006/relationships/tags" Target="../tags/tag648.xml"/><Relationship Id="rId15" Type="http://schemas.openxmlformats.org/officeDocument/2006/relationships/oleObject" Target="../embeddings/oleObject25.bin"/><Relationship Id="rId10" Type="http://schemas.openxmlformats.org/officeDocument/2006/relationships/tags" Target="../tags/tag653.xml"/><Relationship Id="rId4" Type="http://schemas.openxmlformats.org/officeDocument/2006/relationships/tags" Target="../tags/tag647.xml"/><Relationship Id="rId9" Type="http://schemas.openxmlformats.org/officeDocument/2006/relationships/tags" Target="../tags/tag652.xml"/><Relationship Id="rId14" Type="http://schemas.openxmlformats.org/officeDocument/2006/relationships/notesSlide" Target="../notesSlides/notesSlide150.xml"/></Relationships>
</file>

<file path=ppt/slides/_rels/slide164.xml.rels><?xml version="1.0" encoding="UTF-8" standalone="yes"?>
<Relationships xmlns="http://schemas.openxmlformats.org/package/2006/relationships"><Relationship Id="rId3" Type="http://schemas.openxmlformats.org/officeDocument/2006/relationships/notesSlide" Target="../notesSlides/notesSlide151.xml"/><Relationship Id="rId2" Type="http://schemas.openxmlformats.org/officeDocument/2006/relationships/slideLayout" Target="../slideLayouts/slideLayout28.xml"/><Relationship Id="rId1" Type="http://schemas.openxmlformats.org/officeDocument/2006/relationships/tags" Target="../tags/tag656.xml"/></Relationships>
</file>

<file path=ppt/slides/_rels/slide165.xml.rels><?xml version="1.0" encoding="UTF-8" standalone="yes"?>
<Relationships xmlns="http://schemas.openxmlformats.org/package/2006/relationships"><Relationship Id="rId117" Type="http://schemas.openxmlformats.org/officeDocument/2006/relationships/tags" Target="../tags/tag773.xml"/><Relationship Id="rId21" Type="http://schemas.openxmlformats.org/officeDocument/2006/relationships/tags" Target="../tags/tag677.xml"/><Relationship Id="rId42" Type="http://schemas.openxmlformats.org/officeDocument/2006/relationships/tags" Target="../tags/tag698.xml"/><Relationship Id="rId63" Type="http://schemas.openxmlformats.org/officeDocument/2006/relationships/tags" Target="../tags/tag719.xml"/><Relationship Id="rId84" Type="http://schemas.openxmlformats.org/officeDocument/2006/relationships/tags" Target="../tags/tag740.xml"/><Relationship Id="rId138" Type="http://schemas.openxmlformats.org/officeDocument/2006/relationships/tags" Target="../tags/tag794.xml"/><Relationship Id="rId159" Type="http://schemas.openxmlformats.org/officeDocument/2006/relationships/tags" Target="../tags/tag815.xml"/><Relationship Id="rId170" Type="http://schemas.openxmlformats.org/officeDocument/2006/relationships/tags" Target="../tags/tag826.xml"/><Relationship Id="rId191" Type="http://schemas.openxmlformats.org/officeDocument/2006/relationships/tags" Target="../tags/tag847.xml"/><Relationship Id="rId107" Type="http://schemas.openxmlformats.org/officeDocument/2006/relationships/tags" Target="../tags/tag763.xml"/><Relationship Id="rId11" Type="http://schemas.openxmlformats.org/officeDocument/2006/relationships/tags" Target="../tags/tag667.xml"/><Relationship Id="rId32" Type="http://schemas.openxmlformats.org/officeDocument/2006/relationships/tags" Target="../tags/tag688.xml"/><Relationship Id="rId53" Type="http://schemas.openxmlformats.org/officeDocument/2006/relationships/tags" Target="../tags/tag709.xml"/><Relationship Id="rId74" Type="http://schemas.openxmlformats.org/officeDocument/2006/relationships/tags" Target="../tags/tag730.xml"/><Relationship Id="rId128" Type="http://schemas.openxmlformats.org/officeDocument/2006/relationships/tags" Target="../tags/tag784.xml"/><Relationship Id="rId149" Type="http://schemas.openxmlformats.org/officeDocument/2006/relationships/tags" Target="../tags/tag805.xml"/><Relationship Id="rId5" Type="http://schemas.openxmlformats.org/officeDocument/2006/relationships/tags" Target="../tags/tag661.xml"/><Relationship Id="rId95" Type="http://schemas.openxmlformats.org/officeDocument/2006/relationships/tags" Target="../tags/tag751.xml"/><Relationship Id="rId160" Type="http://schemas.openxmlformats.org/officeDocument/2006/relationships/tags" Target="../tags/tag816.xml"/><Relationship Id="rId181" Type="http://schemas.openxmlformats.org/officeDocument/2006/relationships/tags" Target="../tags/tag837.xml"/><Relationship Id="rId22" Type="http://schemas.openxmlformats.org/officeDocument/2006/relationships/tags" Target="../tags/tag678.xml"/><Relationship Id="rId43" Type="http://schemas.openxmlformats.org/officeDocument/2006/relationships/tags" Target="../tags/tag699.xml"/><Relationship Id="rId64" Type="http://schemas.openxmlformats.org/officeDocument/2006/relationships/tags" Target="../tags/tag720.xml"/><Relationship Id="rId118" Type="http://schemas.openxmlformats.org/officeDocument/2006/relationships/tags" Target="../tags/tag774.xml"/><Relationship Id="rId139" Type="http://schemas.openxmlformats.org/officeDocument/2006/relationships/tags" Target="../tags/tag795.xml"/><Relationship Id="rId85" Type="http://schemas.openxmlformats.org/officeDocument/2006/relationships/tags" Target="../tags/tag741.xml"/><Relationship Id="rId150" Type="http://schemas.openxmlformats.org/officeDocument/2006/relationships/tags" Target="../tags/tag806.xml"/><Relationship Id="rId171" Type="http://schemas.openxmlformats.org/officeDocument/2006/relationships/tags" Target="../tags/tag827.xml"/><Relationship Id="rId192" Type="http://schemas.openxmlformats.org/officeDocument/2006/relationships/tags" Target="../tags/tag848.xml"/><Relationship Id="rId12" Type="http://schemas.openxmlformats.org/officeDocument/2006/relationships/tags" Target="../tags/tag668.xml"/><Relationship Id="rId33" Type="http://schemas.openxmlformats.org/officeDocument/2006/relationships/tags" Target="../tags/tag689.xml"/><Relationship Id="rId108" Type="http://schemas.openxmlformats.org/officeDocument/2006/relationships/tags" Target="../tags/tag764.xml"/><Relationship Id="rId129" Type="http://schemas.openxmlformats.org/officeDocument/2006/relationships/tags" Target="../tags/tag785.xml"/><Relationship Id="rId54" Type="http://schemas.openxmlformats.org/officeDocument/2006/relationships/tags" Target="../tags/tag710.xml"/><Relationship Id="rId75" Type="http://schemas.openxmlformats.org/officeDocument/2006/relationships/tags" Target="../tags/tag731.xml"/><Relationship Id="rId96" Type="http://schemas.openxmlformats.org/officeDocument/2006/relationships/tags" Target="../tags/tag752.xml"/><Relationship Id="rId140" Type="http://schemas.openxmlformats.org/officeDocument/2006/relationships/tags" Target="../tags/tag796.xml"/><Relationship Id="rId161" Type="http://schemas.openxmlformats.org/officeDocument/2006/relationships/tags" Target="../tags/tag817.xml"/><Relationship Id="rId182" Type="http://schemas.openxmlformats.org/officeDocument/2006/relationships/tags" Target="../tags/tag838.xml"/><Relationship Id="rId6" Type="http://schemas.openxmlformats.org/officeDocument/2006/relationships/tags" Target="../tags/tag662.xml"/><Relationship Id="rId23" Type="http://schemas.openxmlformats.org/officeDocument/2006/relationships/tags" Target="../tags/tag679.xml"/><Relationship Id="rId119" Type="http://schemas.openxmlformats.org/officeDocument/2006/relationships/tags" Target="../tags/tag775.xml"/><Relationship Id="rId44" Type="http://schemas.openxmlformats.org/officeDocument/2006/relationships/tags" Target="../tags/tag700.xml"/><Relationship Id="rId65" Type="http://schemas.openxmlformats.org/officeDocument/2006/relationships/tags" Target="../tags/tag721.xml"/><Relationship Id="rId86" Type="http://schemas.openxmlformats.org/officeDocument/2006/relationships/tags" Target="../tags/tag742.xml"/><Relationship Id="rId130" Type="http://schemas.openxmlformats.org/officeDocument/2006/relationships/tags" Target="../tags/tag786.xml"/><Relationship Id="rId151" Type="http://schemas.openxmlformats.org/officeDocument/2006/relationships/tags" Target="../tags/tag807.xml"/><Relationship Id="rId172" Type="http://schemas.openxmlformats.org/officeDocument/2006/relationships/tags" Target="../tags/tag828.xml"/><Relationship Id="rId193" Type="http://schemas.openxmlformats.org/officeDocument/2006/relationships/tags" Target="../tags/tag849.xml"/><Relationship Id="rId13" Type="http://schemas.openxmlformats.org/officeDocument/2006/relationships/tags" Target="../tags/tag669.xml"/><Relationship Id="rId109" Type="http://schemas.openxmlformats.org/officeDocument/2006/relationships/tags" Target="../tags/tag765.xml"/><Relationship Id="rId34" Type="http://schemas.openxmlformats.org/officeDocument/2006/relationships/tags" Target="../tags/tag690.xml"/><Relationship Id="rId55" Type="http://schemas.openxmlformats.org/officeDocument/2006/relationships/tags" Target="../tags/tag711.xml"/><Relationship Id="rId76" Type="http://schemas.openxmlformats.org/officeDocument/2006/relationships/tags" Target="../tags/tag732.xml"/><Relationship Id="rId97" Type="http://schemas.openxmlformats.org/officeDocument/2006/relationships/tags" Target="../tags/tag753.xml"/><Relationship Id="rId120" Type="http://schemas.openxmlformats.org/officeDocument/2006/relationships/tags" Target="../tags/tag776.xml"/><Relationship Id="rId141" Type="http://schemas.openxmlformats.org/officeDocument/2006/relationships/tags" Target="../tags/tag797.xml"/><Relationship Id="rId7" Type="http://schemas.openxmlformats.org/officeDocument/2006/relationships/tags" Target="../tags/tag663.xml"/><Relationship Id="rId162" Type="http://schemas.openxmlformats.org/officeDocument/2006/relationships/tags" Target="../tags/tag818.xml"/><Relationship Id="rId183" Type="http://schemas.openxmlformats.org/officeDocument/2006/relationships/tags" Target="../tags/tag839.xml"/><Relationship Id="rId2" Type="http://schemas.openxmlformats.org/officeDocument/2006/relationships/tags" Target="../tags/tag658.xml"/><Relationship Id="rId29" Type="http://schemas.openxmlformats.org/officeDocument/2006/relationships/tags" Target="../tags/tag685.xml"/><Relationship Id="rId24" Type="http://schemas.openxmlformats.org/officeDocument/2006/relationships/tags" Target="../tags/tag680.xml"/><Relationship Id="rId40" Type="http://schemas.openxmlformats.org/officeDocument/2006/relationships/tags" Target="../tags/tag696.xml"/><Relationship Id="rId45" Type="http://schemas.openxmlformats.org/officeDocument/2006/relationships/tags" Target="../tags/tag701.xml"/><Relationship Id="rId66" Type="http://schemas.openxmlformats.org/officeDocument/2006/relationships/tags" Target="../tags/tag722.xml"/><Relationship Id="rId87" Type="http://schemas.openxmlformats.org/officeDocument/2006/relationships/tags" Target="../tags/tag743.xml"/><Relationship Id="rId110" Type="http://schemas.openxmlformats.org/officeDocument/2006/relationships/tags" Target="../tags/tag766.xml"/><Relationship Id="rId115" Type="http://schemas.openxmlformats.org/officeDocument/2006/relationships/tags" Target="../tags/tag771.xml"/><Relationship Id="rId131" Type="http://schemas.openxmlformats.org/officeDocument/2006/relationships/tags" Target="../tags/tag787.xml"/><Relationship Id="rId136" Type="http://schemas.openxmlformats.org/officeDocument/2006/relationships/tags" Target="../tags/tag792.xml"/><Relationship Id="rId157" Type="http://schemas.openxmlformats.org/officeDocument/2006/relationships/tags" Target="../tags/tag813.xml"/><Relationship Id="rId178" Type="http://schemas.openxmlformats.org/officeDocument/2006/relationships/tags" Target="../tags/tag834.xml"/><Relationship Id="rId61" Type="http://schemas.openxmlformats.org/officeDocument/2006/relationships/tags" Target="../tags/tag717.xml"/><Relationship Id="rId82" Type="http://schemas.openxmlformats.org/officeDocument/2006/relationships/tags" Target="../tags/tag738.xml"/><Relationship Id="rId152" Type="http://schemas.openxmlformats.org/officeDocument/2006/relationships/tags" Target="../tags/tag808.xml"/><Relationship Id="rId173" Type="http://schemas.openxmlformats.org/officeDocument/2006/relationships/tags" Target="../tags/tag829.xml"/><Relationship Id="rId194" Type="http://schemas.openxmlformats.org/officeDocument/2006/relationships/tags" Target="../tags/tag850.xml"/><Relationship Id="rId199" Type="http://schemas.openxmlformats.org/officeDocument/2006/relationships/tags" Target="../tags/tag855.xml"/><Relationship Id="rId203" Type="http://schemas.openxmlformats.org/officeDocument/2006/relationships/notesSlide" Target="../notesSlides/notesSlide152.xml"/><Relationship Id="rId19" Type="http://schemas.openxmlformats.org/officeDocument/2006/relationships/tags" Target="../tags/tag675.xml"/><Relationship Id="rId14" Type="http://schemas.openxmlformats.org/officeDocument/2006/relationships/tags" Target="../tags/tag670.xml"/><Relationship Id="rId30" Type="http://schemas.openxmlformats.org/officeDocument/2006/relationships/tags" Target="../tags/tag686.xml"/><Relationship Id="rId35" Type="http://schemas.openxmlformats.org/officeDocument/2006/relationships/tags" Target="../tags/tag691.xml"/><Relationship Id="rId56" Type="http://schemas.openxmlformats.org/officeDocument/2006/relationships/tags" Target="../tags/tag712.xml"/><Relationship Id="rId77" Type="http://schemas.openxmlformats.org/officeDocument/2006/relationships/tags" Target="../tags/tag733.xml"/><Relationship Id="rId100" Type="http://schemas.openxmlformats.org/officeDocument/2006/relationships/tags" Target="../tags/tag756.xml"/><Relationship Id="rId105" Type="http://schemas.openxmlformats.org/officeDocument/2006/relationships/tags" Target="../tags/tag761.xml"/><Relationship Id="rId126" Type="http://schemas.openxmlformats.org/officeDocument/2006/relationships/tags" Target="../tags/tag782.xml"/><Relationship Id="rId147" Type="http://schemas.openxmlformats.org/officeDocument/2006/relationships/tags" Target="../tags/tag803.xml"/><Relationship Id="rId168" Type="http://schemas.openxmlformats.org/officeDocument/2006/relationships/tags" Target="../tags/tag824.xml"/><Relationship Id="rId8" Type="http://schemas.openxmlformats.org/officeDocument/2006/relationships/tags" Target="../tags/tag664.xml"/><Relationship Id="rId51" Type="http://schemas.openxmlformats.org/officeDocument/2006/relationships/tags" Target="../tags/tag707.xml"/><Relationship Id="rId72" Type="http://schemas.openxmlformats.org/officeDocument/2006/relationships/tags" Target="../tags/tag728.xml"/><Relationship Id="rId93" Type="http://schemas.openxmlformats.org/officeDocument/2006/relationships/tags" Target="../tags/tag749.xml"/><Relationship Id="rId98" Type="http://schemas.openxmlformats.org/officeDocument/2006/relationships/tags" Target="../tags/tag754.xml"/><Relationship Id="rId121" Type="http://schemas.openxmlformats.org/officeDocument/2006/relationships/tags" Target="../tags/tag777.xml"/><Relationship Id="rId142" Type="http://schemas.openxmlformats.org/officeDocument/2006/relationships/tags" Target="../tags/tag798.xml"/><Relationship Id="rId163" Type="http://schemas.openxmlformats.org/officeDocument/2006/relationships/tags" Target="../tags/tag819.xml"/><Relationship Id="rId184" Type="http://schemas.openxmlformats.org/officeDocument/2006/relationships/tags" Target="../tags/tag840.xml"/><Relationship Id="rId189" Type="http://schemas.openxmlformats.org/officeDocument/2006/relationships/tags" Target="../tags/tag845.xml"/><Relationship Id="rId3" Type="http://schemas.openxmlformats.org/officeDocument/2006/relationships/tags" Target="../tags/tag659.xml"/><Relationship Id="rId25" Type="http://schemas.openxmlformats.org/officeDocument/2006/relationships/tags" Target="../tags/tag681.xml"/><Relationship Id="rId46" Type="http://schemas.openxmlformats.org/officeDocument/2006/relationships/tags" Target="../tags/tag702.xml"/><Relationship Id="rId67" Type="http://schemas.openxmlformats.org/officeDocument/2006/relationships/tags" Target="../tags/tag723.xml"/><Relationship Id="rId116" Type="http://schemas.openxmlformats.org/officeDocument/2006/relationships/tags" Target="../tags/tag772.xml"/><Relationship Id="rId137" Type="http://schemas.openxmlformats.org/officeDocument/2006/relationships/tags" Target="../tags/tag793.xml"/><Relationship Id="rId158" Type="http://schemas.openxmlformats.org/officeDocument/2006/relationships/tags" Target="../tags/tag814.xml"/><Relationship Id="rId20" Type="http://schemas.openxmlformats.org/officeDocument/2006/relationships/tags" Target="../tags/tag676.xml"/><Relationship Id="rId41" Type="http://schemas.openxmlformats.org/officeDocument/2006/relationships/tags" Target="../tags/tag697.xml"/><Relationship Id="rId62" Type="http://schemas.openxmlformats.org/officeDocument/2006/relationships/tags" Target="../tags/tag718.xml"/><Relationship Id="rId83" Type="http://schemas.openxmlformats.org/officeDocument/2006/relationships/tags" Target="../tags/tag739.xml"/><Relationship Id="rId88" Type="http://schemas.openxmlformats.org/officeDocument/2006/relationships/tags" Target="../tags/tag744.xml"/><Relationship Id="rId111" Type="http://schemas.openxmlformats.org/officeDocument/2006/relationships/tags" Target="../tags/tag767.xml"/><Relationship Id="rId132" Type="http://schemas.openxmlformats.org/officeDocument/2006/relationships/tags" Target="../tags/tag788.xml"/><Relationship Id="rId153" Type="http://schemas.openxmlformats.org/officeDocument/2006/relationships/tags" Target="../tags/tag809.xml"/><Relationship Id="rId174" Type="http://schemas.openxmlformats.org/officeDocument/2006/relationships/tags" Target="../tags/tag830.xml"/><Relationship Id="rId179" Type="http://schemas.openxmlformats.org/officeDocument/2006/relationships/tags" Target="../tags/tag835.xml"/><Relationship Id="rId195" Type="http://schemas.openxmlformats.org/officeDocument/2006/relationships/tags" Target="../tags/tag851.xml"/><Relationship Id="rId190" Type="http://schemas.openxmlformats.org/officeDocument/2006/relationships/tags" Target="../tags/tag846.xml"/><Relationship Id="rId204" Type="http://schemas.openxmlformats.org/officeDocument/2006/relationships/oleObject" Target="../embeddings/oleObject26.bin"/><Relationship Id="rId15" Type="http://schemas.openxmlformats.org/officeDocument/2006/relationships/tags" Target="../tags/tag671.xml"/><Relationship Id="rId36" Type="http://schemas.openxmlformats.org/officeDocument/2006/relationships/tags" Target="../tags/tag692.xml"/><Relationship Id="rId57" Type="http://schemas.openxmlformats.org/officeDocument/2006/relationships/tags" Target="../tags/tag713.xml"/><Relationship Id="rId106" Type="http://schemas.openxmlformats.org/officeDocument/2006/relationships/tags" Target="../tags/tag762.xml"/><Relationship Id="rId127" Type="http://schemas.openxmlformats.org/officeDocument/2006/relationships/tags" Target="../tags/tag783.xml"/><Relationship Id="rId10" Type="http://schemas.openxmlformats.org/officeDocument/2006/relationships/tags" Target="../tags/tag666.xml"/><Relationship Id="rId31" Type="http://schemas.openxmlformats.org/officeDocument/2006/relationships/tags" Target="../tags/tag687.xml"/><Relationship Id="rId52" Type="http://schemas.openxmlformats.org/officeDocument/2006/relationships/tags" Target="../tags/tag708.xml"/><Relationship Id="rId73" Type="http://schemas.openxmlformats.org/officeDocument/2006/relationships/tags" Target="../tags/tag729.xml"/><Relationship Id="rId78" Type="http://schemas.openxmlformats.org/officeDocument/2006/relationships/tags" Target="../tags/tag734.xml"/><Relationship Id="rId94" Type="http://schemas.openxmlformats.org/officeDocument/2006/relationships/tags" Target="../tags/tag750.xml"/><Relationship Id="rId99" Type="http://schemas.openxmlformats.org/officeDocument/2006/relationships/tags" Target="../tags/tag755.xml"/><Relationship Id="rId101" Type="http://schemas.openxmlformats.org/officeDocument/2006/relationships/tags" Target="../tags/tag757.xml"/><Relationship Id="rId122" Type="http://schemas.openxmlformats.org/officeDocument/2006/relationships/tags" Target="../tags/tag778.xml"/><Relationship Id="rId143" Type="http://schemas.openxmlformats.org/officeDocument/2006/relationships/tags" Target="../tags/tag799.xml"/><Relationship Id="rId148" Type="http://schemas.openxmlformats.org/officeDocument/2006/relationships/tags" Target="../tags/tag804.xml"/><Relationship Id="rId164" Type="http://schemas.openxmlformats.org/officeDocument/2006/relationships/tags" Target="../tags/tag820.xml"/><Relationship Id="rId169" Type="http://schemas.openxmlformats.org/officeDocument/2006/relationships/tags" Target="../tags/tag825.xml"/><Relationship Id="rId185" Type="http://schemas.openxmlformats.org/officeDocument/2006/relationships/tags" Target="../tags/tag841.xml"/><Relationship Id="rId4" Type="http://schemas.openxmlformats.org/officeDocument/2006/relationships/tags" Target="../tags/tag660.xml"/><Relationship Id="rId9" Type="http://schemas.openxmlformats.org/officeDocument/2006/relationships/tags" Target="../tags/tag665.xml"/><Relationship Id="rId180" Type="http://schemas.openxmlformats.org/officeDocument/2006/relationships/tags" Target="../tags/tag836.xml"/><Relationship Id="rId26" Type="http://schemas.openxmlformats.org/officeDocument/2006/relationships/tags" Target="../tags/tag682.xml"/><Relationship Id="rId47" Type="http://schemas.openxmlformats.org/officeDocument/2006/relationships/tags" Target="../tags/tag703.xml"/><Relationship Id="rId68" Type="http://schemas.openxmlformats.org/officeDocument/2006/relationships/tags" Target="../tags/tag724.xml"/><Relationship Id="rId89" Type="http://schemas.openxmlformats.org/officeDocument/2006/relationships/tags" Target="../tags/tag745.xml"/><Relationship Id="rId112" Type="http://schemas.openxmlformats.org/officeDocument/2006/relationships/tags" Target="../tags/tag768.xml"/><Relationship Id="rId133" Type="http://schemas.openxmlformats.org/officeDocument/2006/relationships/tags" Target="../tags/tag789.xml"/><Relationship Id="rId154" Type="http://schemas.openxmlformats.org/officeDocument/2006/relationships/tags" Target="../tags/tag810.xml"/><Relationship Id="rId175" Type="http://schemas.openxmlformats.org/officeDocument/2006/relationships/tags" Target="../tags/tag831.xml"/><Relationship Id="rId196" Type="http://schemas.openxmlformats.org/officeDocument/2006/relationships/tags" Target="../tags/tag852.xml"/><Relationship Id="rId200" Type="http://schemas.openxmlformats.org/officeDocument/2006/relationships/tags" Target="../tags/tag856.xml"/><Relationship Id="rId16" Type="http://schemas.openxmlformats.org/officeDocument/2006/relationships/tags" Target="../tags/tag672.xml"/><Relationship Id="rId37" Type="http://schemas.openxmlformats.org/officeDocument/2006/relationships/tags" Target="../tags/tag693.xml"/><Relationship Id="rId58" Type="http://schemas.openxmlformats.org/officeDocument/2006/relationships/tags" Target="../tags/tag714.xml"/><Relationship Id="rId79" Type="http://schemas.openxmlformats.org/officeDocument/2006/relationships/tags" Target="../tags/tag735.xml"/><Relationship Id="rId102" Type="http://schemas.openxmlformats.org/officeDocument/2006/relationships/tags" Target="../tags/tag758.xml"/><Relationship Id="rId123" Type="http://schemas.openxmlformats.org/officeDocument/2006/relationships/tags" Target="../tags/tag779.xml"/><Relationship Id="rId144" Type="http://schemas.openxmlformats.org/officeDocument/2006/relationships/tags" Target="../tags/tag800.xml"/><Relationship Id="rId90" Type="http://schemas.openxmlformats.org/officeDocument/2006/relationships/tags" Target="../tags/tag746.xml"/><Relationship Id="rId165" Type="http://schemas.openxmlformats.org/officeDocument/2006/relationships/tags" Target="../tags/tag821.xml"/><Relationship Id="rId186" Type="http://schemas.openxmlformats.org/officeDocument/2006/relationships/tags" Target="../tags/tag842.xml"/><Relationship Id="rId27" Type="http://schemas.openxmlformats.org/officeDocument/2006/relationships/tags" Target="../tags/tag683.xml"/><Relationship Id="rId48" Type="http://schemas.openxmlformats.org/officeDocument/2006/relationships/tags" Target="../tags/tag704.xml"/><Relationship Id="rId69" Type="http://schemas.openxmlformats.org/officeDocument/2006/relationships/tags" Target="../tags/tag725.xml"/><Relationship Id="rId113" Type="http://schemas.openxmlformats.org/officeDocument/2006/relationships/tags" Target="../tags/tag769.xml"/><Relationship Id="rId134" Type="http://schemas.openxmlformats.org/officeDocument/2006/relationships/tags" Target="../tags/tag790.xml"/><Relationship Id="rId80" Type="http://schemas.openxmlformats.org/officeDocument/2006/relationships/tags" Target="../tags/tag736.xml"/><Relationship Id="rId155" Type="http://schemas.openxmlformats.org/officeDocument/2006/relationships/tags" Target="../tags/tag811.xml"/><Relationship Id="rId176" Type="http://schemas.openxmlformats.org/officeDocument/2006/relationships/tags" Target="../tags/tag832.xml"/><Relationship Id="rId197" Type="http://schemas.openxmlformats.org/officeDocument/2006/relationships/tags" Target="../tags/tag853.xml"/><Relationship Id="rId201" Type="http://schemas.openxmlformats.org/officeDocument/2006/relationships/tags" Target="../tags/tag857.xml"/><Relationship Id="rId17" Type="http://schemas.openxmlformats.org/officeDocument/2006/relationships/tags" Target="../tags/tag673.xml"/><Relationship Id="rId38" Type="http://schemas.openxmlformats.org/officeDocument/2006/relationships/tags" Target="../tags/tag694.xml"/><Relationship Id="rId59" Type="http://schemas.openxmlformats.org/officeDocument/2006/relationships/tags" Target="../tags/tag715.xml"/><Relationship Id="rId103" Type="http://schemas.openxmlformats.org/officeDocument/2006/relationships/tags" Target="../tags/tag759.xml"/><Relationship Id="rId124" Type="http://schemas.openxmlformats.org/officeDocument/2006/relationships/tags" Target="../tags/tag780.xml"/><Relationship Id="rId70" Type="http://schemas.openxmlformats.org/officeDocument/2006/relationships/tags" Target="../tags/tag726.xml"/><Relationship Id="rId91" Type="http://schemas.openxmlformats.org/officeDocument/2006/relationships/tags" Target="../tags/tag747.xml"/><Relationship Id="rId145" Type="http://schemas.openxmlformats.org/officeDocument/2006/relationships/tags" Target="../tags/tag801.xml"/><Relationship Id="rId166" Type="http://schemas.openxmlformats.org/officeDocument/2006/relationships/tags" Target="../tags/tag822.xml"/><Relationship Id="rId187" Type="http://schemas.openxmlformats.org/officeDocument/2006/relationships/tags" Target="../tags/tag843.xml"/><Relationship Id="rId1" Type="http://schemas.openxmlformats.org/officeDocument/2006/relationships/tags" Target="../tags/tag657.xml"/><Relationship Id="rId28" Type="http://schemas.openxmlformats.org/officeDocument/2006/relationships/tags" Target="../tags/tag684.xml"/><Relationship Id="rId49" Type="http://schemas.openxmlformats.org/officeDocument/2006/relationships/tags" Target="../tags/tag705.xml"/><Relationship Id="rId114" Type="http://schemas.openxmlformats.org/officeDocument/2006/relationships/tags" Target="../tags/tag770.xml"/><Relationship Id="rId60" Type="http://schemas.openxmlformats.org/officeDocument/2006/relationships/tags" Target="../tags/tag716.xml"/><Relationship Id="rId81" Type="http://schemas.openxmlformats.org/officeDocument/2006/relationships/tags" Target="../tags/tag737.xml"/><Relationship Id="rId135" Type="http://schemas.openxmlformats.org/officeDocument/2006/relationships/tags" Target="../tags/tag791.xml"/><Relationship Id="rId156" Type="http://schemas.openxmlformats.org/officeDocument/2006/relationships/tags" Target="../tags/tag812.xml"/><Relationship Id="rId177" Type="http://schemas.openxmlformats.org/officeDocument/2006/relationships/tags" Target="../tags/tag833.xml"/><Relationship Id="rId198" Type="http://schemas.openxmlformats.org/officeDocument/2006/relationships/tags" Target="../tags/tag854.xml"/><Relationship Id="rId202" Type="http://schemas.openxmlformats.org/officeDocument/2006/relationships/slideLayout" Target="../slideLayouts/slideLayout28.xml"/><Relationship Id="rId18" Type="http://schemas.openxmlformats.org/officeDocument/2006/relationships/tags" Target="../tags/tag674.xml"/><Relationship Id="rId39" Type="http://schemas.openxmlformats.org/officeDocument/2006/relationships/tags" Target="../tags/tag695.xml"/><Relationship Id="rId50" Type="http://schemas.openxmlformats.org/officeDocument/2006/relationships/tags" Target="../tags/tag706.xml"/><Relationship Id="rId104" Type="http://schemas.openxmlformats.org/officeDocument/2006/relationships/tags" Target="../tags/tag760.xml"/><Relationship Id="rId125" Type="http://schemas.openxmlformats.org/officeDocument/2006/relationships/tags" Target="../tags/tag781.xml"/><Relationship Id="rId146" Type="http://schemas.openxmlformats.org/officeDocument/2006/relationships/tags" Target="../tags/tag802.xml"/><Relationship Id="rId167" Type="http://schemas.openxmlformats.org/officeDocument/2006/relationships/tags" Target="../tags/tag823.xml"/><Relationship Id="rId188" Type="http://schemas.openxmlformats.org/officeDocument/2006/relationships/tags" Target="../tags/tag844.xml"/><Relationship Id="rId71" Type="http://schemas.openxmlformats.org/officeDocument/2006/relationships/tags" Target="../tags/tag727.xml"/><Relationship Id="rId92" Type="http://schemas.openxmlformats.org/officeDocument/2006/relationships/tags" Target="../tags/tag748.xml"/></Relationships>
</file>

<file path=ppt/slides/_rels/slide166.xml.rels><?xml version="1.0" encoding="UTF-8" standalone="yes"?>
<Relationships xmlns="http://schemas.openxmlformats.org/package/2006/relationships"><Relationship Id="rId3" Type="http://schemas.openxmlformats.org/officeDocument/2006/relationships/notesSlide" Target="../notesSlides/notesSlide153.xml"/><Relationship Id="rId2" Type="http://schemas.openxmlformats.org/officeDocument/2006/relationships/slideLayout" Target="../slideLayouts/slideLayout28.xml"/><Relationship Id="rId1" Type="http://schemas.openxmlformats.org/officeDocument/2006/relationships/tags" Target="../tags/tag858.xml"/></Relationships>
</file>

<file path=ppt/slides/_rels/slide167.xml.rels><?xml version="1.0" encoding="UTF-8" standalone="yes"?>
<Relationships xmlns="http://schemas.openxmlformats.org/package/2006/relationships"><Relationship Id="rId3" Type="http://schemas.openxmlformats.org/officeDocument/2006/relationships/notesSlide" Target="../notesSlides/notesSlide154.xml"/><Relationship Id="rId2" Type="http://schemas.openxmlformats.org/officeDocument/2006/relationships/slideLayout" Target="../slideLayouts/slideLayout28.xml"/><Relationship Id="rId1" Type="http://schemas.openxmlformats.org/officeDocument/2006/relationships/tags" Target="../tags/tag859.xml"/></Relationships>
</file>

<file path=ppt/slides/_rels/slide168.xml.rels><?xml version="1.0" encoding="UTF-8" standalone="yes"?>
<Relationships xmlns="http://schemas.openxmlformats.org/package/2006/relationships"><Relationship Id="rId3" Type="http://schemas.openxmlformats.org/officeDocument/2006/relationships/notesSlide" Target="../notesSlides/notesSlide155.xml"/><Relationship Id="rId2" Type="http://schemas.openxmlformats.org/officeDocument/2006/relationships/slideLayout" Target="../slideLayouts/slideLayout28.xml"/><Relationship Id="rId1" Type="http://schemas.openxmlformats.org/officeDocument/2006/relationships/tags" Target="../tags/tag860.xml"/></Relationships>
</file>

<file path=ppt/slides/_rels/slide169.xml.rels><?xml version="1.0" encoding="UTF-8" standalone="yes"?>
<Relationships xmlns="http://schemas.openxmlformats.org/package/2006/relationships"><Relationship Id="rId3" Type="http://schemas.openxmlformats.org/officeDocument/2006/relationships/notesSlide" Target="../notesSlides/notesSlide156.xml"/><Relationship Id="rId2" Type="http://schemas.openxmlformats.org/officeDocument/2006/relationships/slideLayout" Target="../slideLayouts/slideLayout28.xml"/><Relationship Id="rId1" Type="http://schemas.openxmlformats.org/officeDocument/2006/relationships/tags" Target="../tags/tag861.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11.xml"/><Relationship Id="rId1" Type="http://schemas.openxmlformats.org/officeDocument/2006/relationships/tags" Target="../tags/tag110.xml"/><Relationship Id="rId4" Type="http://schemas.openxmlformats.org/officeDocument/2006/relationships/notesSlide" Target="../notesSlides/notesSlide10.xml"/></Relationships>
</file>

<file path=ppt/slides/_rels/slide170.xml.rels><?xml version="1.0" encoding="UTF-8" standalone="yes"?>
<Relationships xmlns="http://schemas.openxmlformats.org/package/2006/relationships"><Relationship Id="rId3" Type="http://schemas.openxmlformats.org/officeDocument/2006/relationships/notesSlide" Target="../notesSlides/notesSlide157.xml"/><Relationship Id="rId2" Type="http://schemas.openxmlformats.org/officeDocument/2006/relationships/slideLayout" Target="../slideLayouts/slideLayout28.xml"/><Relationship Id="rId1" Type="http://schemas.openxmlformats.org/officeDocument/2006/relationships/tags" Target="../tags/tag862.xml"/></Relationships>
</file>

<file path=ppt/slides/_rels/slide171.xml.rels><?xml version="1.0" encoding="UTF-8" standalone="yes"?>
<Relationships xmlns="http://schemas.openxmlformats.org/package/2006/relationships"><Relationship Id="rId3" Type="http://schemas.openxmlformats.org/officeDocument/2006/relationships/notesSlide" Target="../notesSlides/notesSlide158.xml"/><Relationship Id="rId2" Type="http://schemas.openxmlformats.org/officeDocument/2006/relationships/slideLayout" Target="../slideLayouts/slideLayout28.xml"/><Relationship Id="rId1" Type="http://schemas.openxmlformats.org/officeDocument/2006/relationships/tags" Target="../tags/tag863.xml"/></Relationships>
</file>

<file path=ppt/slides/_rels/slide172.xml.rels><?xml version="1.0" encoding="UTF-8" standalone="yes"?>
<Relationships xmlns="http://schemas.openxmlformats.org/package/2006/relationships"><Relationship Id="rId3" Type="http://schemas.openxmlformats.org/officeDocument/2006/relationships/notesSlide" Target="../notesSlides/notesSlide159.xml"/><Relationship Id="rId2" Type="http://schemas.openxmlformats.org/officeDocument/2006/relationships/slideLayout" Target="../slideLayouts/slideLayout28.xml"/><Relationship Id="rId1" Type="http://schemas.openxmlformats.org/officeDocument/2006/relationships/tags" Target="../tags/tag864.xml"/></Relationships>
</file>

<file path=ppt/slides/_rels/slide173.xml.rels><?xml version="1.0" encoding="UTF-8" standalone="yes"?>
<Relationships xmlns="http://schemas.openxmlformats.org/package/2006/relationships"><Relationship Id="rId3" Type="http://schemas.openxmlformats.org/officeDocument/2006/relationships/notesSlide" Target="../notesSlides/notesSlide160.xml"/><Relationship Id="rId2" Type="http://schemas.openxmlformats.org/officeDocument/2006/relationships/slideLayout" Target="../slideLayouts/slideLayout28.xml"/><Relationship Id="rId1" Type="http://schemas.openxmlformats.org/officeDocument/2006/relationships/tags" Target="../tags/tag865.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75.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868.xml"/><Relationship Id="rId7" Type="http://schemas.openxmlformats.org/officeDocument/2006/relationships/notesSlide" Target="../notesSlides/notesSlide161.xml"/><Relationship Id="rId2" Type="http://schemas.openxmlformats.org/officeDocument/2006/relationships/tags" Target="../tags/tag867.xml"/><Relationship Id="rId1" Type="http://schemas.openxmlformats.org/officeDocument/2006/relationships/tags" Target="../tags/tag866.xml"/><Relationship Id="rId6" Type="http://schemas.openxmlformats.org/officeDocument/2006/relationships/slideLayout" Target="../slideLayouts/slideLayout28.xml"/><Relationship Id="rId5" Type="http://schemas.openxmlformats.org/officeDocument/2006/relationships/tags" Target="../tags/tag870.xml"/><Relationship Id="rId4" Type="http://schemas.openxmlformats.org/officeDocument/2006/relationships/tags" Target="../tags/tag869.xml"/></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28.xml"/></Relationships>
</file>

<file path=ppt/slides/_rels/slide177.xml.rels><?xml version="1.0" encoding="UTF-8" standalone="yes"?>
<Relationships xmlns="http://schemas.openxmlformats.org/package/2006/relationships"><Relationship Id="rId3" Type="http://schemas.openxmlformats.org/officeDocument/2006/relationships/notesSlide" Target="../notesSlides/notesSlide163.xml"/><Relationship Id="rId2" Type="http://schemas.openxmlformats.org/officeDocument/2006/relationships/slideLayout" Target="../slideLayouts/slideLayout28.xml"/><Relationship Id="rId1" Type="http://schemas.openxmlformats.org/officeDocument/2006/relationships/tags" Target="../tags/tag871.xml"/></Relationships>
</file>

<file path=ppt/slides/_rels/slide178.xml.rels><?xml version="1.0" encoding="UTF-8" standalone="yes"?>
<Relationships xmlns="http://schemas.openxmlformats.org/package/2006/relationships"><Relationship Id="rId3" Type="http://schemas.openxmlformats.org/officeDocument/2006/relationships/notesSlide" Target="../notesSlides/notesSlide164.xml"/><Relationship Id="rId2" Type="http://schemas.openxmlformats.org/officeDocument/2006/relationships/slideLayout" Target="../slideLayouts/slideLayout28.xml"/><Relationship Id="rId1" Type="http://schemas.openxmlformats.org/officeDocument/2006/relationships/tags" Target="../tags/tag872.xml"/></Relationships>
</file>

<file path=ppt/slides/_rels/slide179.xml.rels><?xml version="1.0" encoding="UTF-8" standalone="yes"?>
<Relationships xmlns="http://schemas.openxmlformats.org/package/2006/relationships"><Relationship Id="rId3" Type="http://schemas.openxmlformats.org/officeDocument/2006/relationships/notesSlide" Target="../notesSlides/notesSlide165.xml"/><Relationship Id="rId2" Type="http://schemas.openxmlformats.org/officeDocument/2006/relationships/slideLayout" Target="../slideLayouts/slideLayout28.xml"/><Relationship Id="rId1" Type="http://schemas.openxmlformats.org/officeDocument/2006/relationships/tags" Target="../tags/tag87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8.xml"/></Relationships>
</file>

<file path=ppt/slides/_rels/slide180.xml.rels><?xml version="1.0" encoding="UTF-8" standalone="yes"?>
<Relationships xmlns="http://schemas.openxmlformats.org/package/2006/relationships"><Relationship Id="rId3" Type="http://schemas.openxmlformats.org/officeDocument/2006/relationships/notesSlide" Target="../notesSlides/notesSlide166.xml"/><Relationship Id="rId2" Type="http://schemas.openxmlformats.org/officeDocument/2006/relationships/slideLayout" Target="../slideLayouts/slideLayout28.xml"/><Relationship Id="rId1" Type="http://schemas.openxmlformats.org/officeDocument/2006/relationships/tags" Target="../tags/tag874.xml"/></Relationships>
</file>

<file path=ppt/slides/_rels/slide181.xml.rels><?xml version="1.0" encoding="UTF-8" standalone="yes"?>
<Relationships xmlns="http://schemas.openxmlformats.org/package/2006/relationships"><Relationship Id="rId8" Type="http://schemas.openxmlformats.org/officeDocument/2006/relationships/tags" Target="../tags/tag882.xml"/><Relationship Id="rId3" Type="http://schemas.openxmlformats.org/officeDocument/2006/relationships/tags" Target="../tags/tag877.xml"/><Relationship Id="rId7" Type="http://schemas.openxmlformats.org/officeDocument/2006/relationships/tags" Target="../tags/tag881.xml"/><Relationship Id="rId2" Type="http://schemas.openxmlformats.org/officeDocument/2006/relationships/tags" Target="../tags/tag876.xml"/><Relationship Id="rId1" Type="http://schemas.openxmlformats.org/officeDocument/2006/relationships/tags" Target="../tags/tag875.xml"/><Relationship Id="rId6" Type="http://schemas.openxmlformats.org/officeDocument/2006/relationships/tags" Target="../tags/tag880.xml"/><Relationship Id="rId11" Type="http://schemas.openxmlformats.org/officeDocument/2006/relationships/oleObject" Target="../embeddings/oleObject28.bin"/><Relationship Id="rId5" Type="http://schemas.openxmlformats.org/officeDocument/2006/relationships/tags" Target="../tags/tag879.xml"/><Relationship Id="rId10" Type="http://schemas.openxmlformats.org/officeDocument/2006/relationships/notesSlide" Target="../notesSlides/notesSlide167.xml"/><Relationship Id="rId4" Type="http://schemas.openxmlformats.org/officeDocument/2006/relationships/tags" Target="../tags/tag878.xml"/><Relationship Id="rId9" Type="http://schemas.openxmlformats.org/officeDocument/2006/relationships/slideLayout" Target="../slideLayouts/slideLayout28.xml"/></Relationships>
</file>

<file path=ppt/slides/_rels/slide182.xml.rels><?xml version="1.0" encoding="UTF-8" standalone="yes"?>
<Relationships xmlns="http://schemas.openxmlformats.org/package/2006/relationships"><Relationship Id="rId8" Type="http://schemas.openxmlformats.org/officeDocument/2006/relationships/tags" Target="../tags/tag890.xml"/><Relationship Id="rId13" Type="http://schemas.openxmlformats.org/officeDocument/2006/relationships/oleObject" Target="../embeddings/oleObject29.bin"/><Relationship Id="rId3" Type="http://schemas.openxmlformats.org/officeDocument/2006/relationships/tags" Target="../tags/tag885.xml"/><Relationship Id="rId7" Type="http://schemas.openxmlformats.org/officeDocument/2006/relationships/tags" Target="../tags/tag889.xml"/><Relationship Id="rId12" Type="http://schemas.openxmlformats.org/officeDocument/2006/relationships/notesSlide" Target="../notesSlides/notesSlide168.xml"/><Relationship Id="rId2" Type="http://schemas.openxmlformats.org/officeDocument/2006/relationships/tags" Target="../tags/tag884.xml"/><Relationship Id="rId1" Type="http://schemas.openxmlformats.org/officeDocument/2006/relationships/tags" Target="../tags/tag883.xml"/><Relationship Id="rId6" Type="http://schemas.openxmlformats.org/officeDocument/2006/relationships/tags" Target="../tags/tag888.xml"/><Relationship Id="rId11" Type="http://schemas.openxmlformats.org/officeDocument/2006/relationships/slideLayout" Target="../slideLayouts/slideLayout28.xml"/><Relationship Id="rId5" Type="http://schemas.openxmlformats.org/officeDocument/2006/relationships/tags" Target="../tags/tag887.xml"/><Relationship Id="rId10" Type="http://schemas.openxmlformats.org/officeDocument/2006/relationships/tags" Target="../tags/tag892.xml"/><Relationship Id="rId4" Type="http://schemas.openxmlformats.org/officeDocument/2006/relationships/tags" Target="../tags/tag886.xml"/><Relationship Id="rId9" Type="http://schemas.openxmlformats.org/officeDocument/2006/relationships/tags" Target="../tags/tag891.xml"/></Relationships>
</file>

<file path=ppt/slides/_rels/slide183.xml.rels><?xml version="1.0" encoding="UTF-8" standalone="yes"?>
<Relationships xmlns="http://schemas.openxmlformats.org/package/2006/relationships"><Relationship Id="rId8" Type="http://schemas.openxmlformats.org/officeDocument/2006/relationships/notesSlide" Target="../notesSlides/notesSlide169.xml"/><Relationship Id="rId3" Type="http://schemas.openxmlformats.org/officeDocument/2006/relationships/tags" Target="../tags/tag895.xml"/><Relationship Id="rId7" Type="http://schemas.openxmlformats.org/officeDocument/2006/relationships/slideLayout" Target="../slideLayouts/slideLayout28.xml"/><Relationship Id="rId2" Type="http://schemas.openxmlformats.org/officeDocument/2006/relationships/tags" Target="../tags/tag894.xml"/><Relationship Id="rId1" Type="http://schemas.openxmlformats.org/officeDocument/2006/relationships/tags" Target="../tags/tag893.xml"/><Relationship Id="rId6" Type="http://schemas.openxmlformats.org/officeDocument/2006/relationships/tags" Target="../tags/tag898.xml"/><Relationship Id="rId5" Type="http://schemas.openxmlformats.org/officeDocument/2006/relationships/tags" Target="../tags/tag897.xml"/><Relationship Id="rId4" Type="http://schemas.openxmlformats.org/officeDocument/2006/relationships/tags" Target="../tags/tag896.xml"/></Relationships>
</file>

<file path=ppt/slides/_rels/slide184.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tags" Target="../tags/tag901.xml"/><Relationship Id="rId7" Type="http://schemas.openxmlformats.org/officeDocument/2006/relationships/tags" Target="../tags/tag905.xml"/><Relationship Id="rId2" Type="http://schemas.openxmlformats.org/officeDocument/2006/relationships/tags" Target="../tags/tag900.xml"/><Relationship Id="rId1" Type="http://schemas.openxmlformats.org/officeDocument/2006/relationships/tags" Target="../tags/tag899.xml"/><Relationship Id="rId6" Type="http://schemas.openxmlformats.org/officeDocument/2006/relationships/tags" Target="../tags/tag904.xml"/><Relationship Id="rId5" Type="http://schemas.openxmlformats.org/officeDocument/2006/relationships/tags" Target="../tags/tag903.xml"/><Relationship Id="rId4" Type="http://schemas.openxmlformats.org/officeDocument/2006/relationships/tags" Target="../tags/tag902.xml"/><Relationship Id="rId9" Type="http://schemas.openxmlformats.org/officeDocument/2006/relationships/notesSlide" Target="../notesSlides/notesSlide170.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71.xml"/><Relationship Id="rId1" Type="http://schemas.openxmlformats.org/officeDocument/2006/relationships/slideLayout" Target="../slideLayouts/slideLayout28.xml"/></Relationships>
</file>

<file path=ppt/slides/_rels/slide186.xml.rels><?xml version="1.0" encoding="UTF-8" standalone="yes"?>
<Relationships xmlns="http://schemas.openxmlformats.org/package/2006/relationships"><Relationship Id="rId8" Type="http://schemas.openxmlformats.org/officeDocument/2006/relationships/tags" Target="../tags/tag913.xml"/><Relationship Id="rId3" Type="http://schemas.openxmlformats.org/officeDocument/2006/relationships/tags" Target="../tags/tag908.xml"/><Relationship Id="rId7" Type="http://schemas.openxmlformats.org/officeDocument/2006/relationships/tags" Target="../tags/tag912.xml"/><Relationship Id="rId2" Type="http://schemas.openxmlformats.org/officeDocument/2006/relationships/tags" Target="../tags/tag907.xml"/><Relationship Id="rId1" Type="http://schemas.openxmlformats.org/officeDocument/2006/relationships/tags" Target="../tags/tag906.xml"/><Relationship Id="rId6" Type="http://schemas.openxmlformats.org/officeDocument/2006/relationships/tags" Target="../tags/tag911.xml"/><Relationship Id="rId11" Type="http://schemas.openxmlformats.org/officeDocument/2006/relationships/oleObject" Target="../embeddings/oleObject30.bin"/><Relationship Id="rId5" Type="http://schemas.openxmlformats.org/officeDocument/2006/relationships/tags" Target="../tags/tag910.xml"/><Relationship Id="rId10" Type="http://schemas.openxmlformats.org/officeDocument/2006/relationships/notesSlide" Target="../notesSlides/notesSlide172.xml"/><Relationship Id="rId4" Type="http://schemas.openxmlformats.org/officeDocument/2006/relationships/tags" Target="../tags/tag909.xml"/><Relationship Id="rId9" Type="http://schemas.openxmlformats.org/officeDocument/2006/relationships/slideLayout" Target="../slideLayouts/slideLayout28.xml"/></Relationships>
</file>

<file path=ppt/slides/_rels/slide187.xml.rels><?xml version="1.0" encoding="UTF-8" standalone="yes"?>
<Relationships xmlns="http://schemas.openxmlformats.org/package/2006/relationships"><Relationship Id="rId8" Type="http://schemas.openxmlformats.org/officeDocument/2006/relationships/tags" Target="../tags/tag921.xml"/><Relationship Id="rId13" Type="http://schemas.openxmlformats.org/officeDocument/2006/relationships/tags" Target="../tags/tag926.xml"/><Relationship Id="rId18" Type="http://schemas.openxmlformats.org/officeDocument/2006/relationships/oleObject" Target="../embeddings/oleObject31.bin"/><Relationship Id="rId3" Type="http://schemas.openxmlformats.org/officeDocument/2006/relationships/tags" Target="../tags/tag916.xml"/><Relationship Id="rId7" Type="http://schemas.openxmlformats.org/officeDocument/2006/relationships/tags" Target="../tags/tag920.xml"/><Relationship Id="rId12" Type="http://schemas.openxmlformats.org/officeDocument/2006/relationships/tags" Target="../tags/tag925.xml"/><Relationship Id="rId17" Type="http://schemas.openxmlformats.org/officeDocument/2006/relationships/notesSlide" Target="../notesSlides/notesSlide173.xml"/><Relationship Id="rId2" Type="http://schemas.openxmlformats.org/officeDocument/2006/relationships/tags" Target="../tags/tag915.xml"/><Relationship Id="rId16" Type="http://schemas.openxmlformats.org/officeDocument/2006/relationships/slideLayout" Target="../slideLayouts/slideLayout28.xml"/><Relationship Id="rId1" Type="http://schemas.openxmlformats.org/officeDocument/2006/relationships/tags" Target="../tags/tag914.xml"/><Relationship Id="rId6" Type="http://schemas.openxmlformats.org/officeDocument/2006/relationships/tags" Target="../tags/tag919.xml"/><Relationship Id="rId11" Type="http://schemas.openxmlformats.org/officeDocument/2006/relationships/tags" Target="../tags/tag924.xml"/><Relationship Id="rId5" Type="http://schemas.openxmlformats.org/officeDocument/2006/relationships/tags" Target="../tags/tag918.xml"/><Relationship Id="rId15" Type="http://schemas.openxmlformats.org/officeDocument/2006/relationships/tags" Target="../tags/tag928.xml"/><Relationship Id="rId10" Type="http://schemas.openxmlformats.org/officeDocument/2006/relationships/tags" Target="../tags/tag923.xml"/><Relationship Id="rId4" Type="http://schemas.openxmlformats.org/officeDocument/2006/relationships/tags" Target="../tags/tag917.xml"/><Relationship Id="rId9" Type="http://schemas.openxmlformats.org/officeDocument/2006/relationships/tags" Target="../tags/tag922.xml"/><Relationship Id="rId14" Type="http://schemas.openxmlformats.org/officeDocument/2006/relationships/tags" Target="../tags/tag927.xml"/></Relationships>
</file>

<file path=ppt/slides/_rels/slide188.xml.rels><?xml version="1.0" encoding="UTF-8" standalone="yes"?>
<Relationships xmlns="http://schemas.openxmlformats.org/package/2006/relationships"><Relationship Id="rId8" Type="http://schemas.openxmlformats.org/officeDocument/2006/relationships/notesSlide" Target="../notesSlides/notesSlide174.xml"/><Relationship Id="rId3" Type="http://schemas.openxmlformats.org/officeDocument/2006/relationships/tags" Target="../tags/tag931.xml"/><Relationship Id="rId7" Type="http://schemas.openxmlformats.org/officeDocument/2006/relationships/slideLayout" Target="../slideLayouts/slideLayout28.xml"/><Relationship Id="rId2" Type="http://schemas.openxmlformats.org/officeDocument/2006/relationships/tags" Target="../tags/tag930.xml"/><Relationship Id="rId1" Type="http://schemas.openxmlformats.org/officeDocument/2006/relationships/tags" Target="../tags/tag929.xml"/><Relationship Id="rId6" Type="http://schemas.openxmlformats.org/officeDocument/2006/relationships/tags" Target="../tags/tag934.xml"/><Relationship Id="rId5" Type="http://schemas.openxmlformats.org/officeDocument/2006/relationships/tags" Target="../tags/tag933.xml"/><Relationship Id="rId4" Type="http://schemas.openxmlformats.org/officeDocument/2006/relationships/tags" Target="../tags/tag932.xml"/></Relationships>
</file>

<file path=ppt/slides/_rels/slide189.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tags" Target="../tags/tag937.xml"/><Relationship Id="rId7" Type="http://schemas.openxmlformats.org/officeDocument/2006/relationships/tags" Target="../tags/tag941.xml"/><Relationship Id="rId2" Type="http://schemas.openxmlformats.org/officeDocument/2006/relationships/tags" Target="../tags/tag936.xml"/><Relationship Id="rId1" Type="http://schemas.openxmlformats.org/officeDocument/2006/relationships/tags" Target="../tags/tag935.xml"/><Relationship Id="rId6" Type="http://schemas.openxmlformats.org/officeDocument/2006/relationships/tags" Target="../tags/tag940.xml"/><Relationship Id="rId5" Type="http://schemas.openxmlformats.org/officeDocument/2006/relationships/tags" Target="../tags/tag939.xml"/><Relationship Id="rId4" Type="http://schemas.openxmlformats.org/officeDocument/2006/relationships/tags" Target="../tags/tag938.xml"/><Relationship Id="rId9" Type="http://schemas.openxmlformats.org/officeDocument/2006/relationships/notesSlide" Target="../notesSlides/notesSlide175.xml"/></Relationships>
</file>

<file path=ppt/slides/_rels/slide19.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14.xml"/><Relationship Id="rId7" Type="http://schemas.openxmlformats.org/officeDocument/2006/relationships/oleObject" Target="../embeddings/oleObject2.bin"/><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notesSlide" Target="../notesSlides/notesSlide12.xml"/><Relationship Id="rId5" Type="http://schemas.openxmlformats.org/officeDocument/2006/relationships/slideLayout" Target="../slideLayouts/slideLayout28.xml"/><Relationship Id="rId4" Type="http://schemas.openxmlformats.org/officeDocument/2006/relationships/tags" Target="../tags/tag115.xml"/></Relationships>
</file>

<file path=ppt/slides/_rels/slide190.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tags" Target="../tags/tag944.xml"/><Relationship Id="rId7" Type="http://schemas.openxmlformats.org/officeDocument/2006/relationships/tags" Target="../tags/tag948.xml"/><Relationship Id="rId2" Type="http://schemas.openxmlformats.org/officeDocument/2006/relationships/tags" Target="../tags/tag943.xml"/><Relationship Id="rId1" Type="http://schemas.openxmlformats.org/officeDocument/2006/relationships/tags" Target="../tags/tag942.xml"/><Relationship Id="rId6" Type="http://schemas.openxmlformats.org/officeDocument/2006/relationships/tags" Target="../tags/tag947.xml"/><Relationship Id="rId11" Type="http://schemas.openxmlformats.org/officeDocument/2006/relationships/image" Target="../media/image6.emf"/><Relationship Id="rId5" Type="http://schemas.openxmlformats.org/officeDocument/2006/relationships/tags" Target="../tags/tag946.xml"/><Relationship Id="rId10" Type="http://schemas.openxmlformats.org/officeDocument/2006/relationships/oleObject" Target="../embeddings/oleObject32.bin"/><Relationship Id="rId4" Type="http://schemas.openxmlformats.org/officeDocument/2006/relationships/tags" Target="../tags/tag945.xml"/><Relationship Id="rId9" Type="http://schemas.openxmlformats.org/officeDocument/2006/relationships/notesSlide" Target="../notesSlides/notesSlide176.xml"/></Relationships>
</file>

<file path=ppt/slides/_rels/slide191.xml.rels><?xml version="1.0" encoding="UTF-8" standalone="yes"?>
<Relationships xmlns="http://schemas.openxmlformats.org/package/2006/relationships"><Relationship Id="rId3" Type="http://schemas.openxmlformats.org/officeDocument/2006/relationships/notesSlide" Target="../notesSlides/notesSlide177.xml"/><Relationship Id="rId2" Type="http://schemas.openxmlformats.org/officeDocument/2006/relationships/slideLayout" Target="../slideLayouts/slideLayout28.xml"/><Relationship Id="rId1" Type="http://schemas.openxmlformats.org/officeDocument/2006/relationships/tags" Target="../tags/tag949.xml"/></Relationships>
</file>

<file path=ppt/slides/_rels/slide192.xml.rels><?xml version="1.0" encoding="UTF-8" standalone="yes"?>
<Relationships xmlns="http://schemas.openxmlformats.org/package/2006/relationships"><Relationship Id="rId3" Type="http://schemas.openxmlformats.org/officeDocument/2006/relationships/notesSlide" Target="../notesSlides/notesSlide178.xml"/><Relationship Id="rId2" Type="http://schemas.openxmlformats.org/officeDocument/2006/relationships/slideLayout" Target="../slideLayouts/slideLayout28.xml"/><Relationship Id="rId1" Type="http://schemas.openxmlformats.org/officeDocument/2006/relationships/tags" Target="../tags/tag950.xml"/></Relationships>
</file>

<file path=ppt/slides/_rels/slide193.xml.rels><?xml version="1.0" encoding="UTF-8" standalone="yes"?>
<Relationships xmlns="http://schemas.openxmlformats.org/package/2006/relationships"><Relationship Id="rId3" Type="http://schemas.openxmlformats.org/officeDocument/2006/relationships/notesSlide" Target="../notesSlides/notesSlide179.xml"/><Relationship Id="rId2" Type="http://schemas.openxmlformats.org/officeDocument/2006/relationships/slideLayout" Target="../slideLayouts/slideLayout28.xml"/><Relationship Id="rId1" Type="http://schemas.openxmlformats.org/officeDocument/2006/relationships/tags" Target="../tags/tag951.xml"/></Relationships>
</file>

<file path=ppt/slides/_rels/slide194.xml.rels><?xml version="1.0" encoding="UTF-8" standalone="yes"?>
<Relationships xmlns="http://schemas.openxmlformats.org/package/2006/relationships"><Relationship Id="rId3" Type="http://schemas.openxmlformats.org/officeDocument/2006/relationships/notesSlide" Target="../notesSlides/notesSlide180.xml"/><Relationship Id="rId2" Type="http://schemas.openxmlformats.org/officeDocument/2006/relationships/slideLayout" Target="../slideLayouts/slideLayout28.xml"/><Relationship Id="rId1" Type="http://schemas.openxmlformats.org/officeDocument/2006/relationships/tags" Target="../tags/tag952.xml"/></Relationships>
</file>

<file path=ppt/slides/_rels/slide195.xml.rels><?xml version="1.0" encoding="UTF-8" standalone="yes"?>
<Relationships xmlns="http://schemas.openxmlformats.org/package/2006/relationships"><Relationship Id="rId3" Type="http://schemas.openxmlformats.org/officeDocument/2006/relationships/notesSlide" Target="../notesSlides/notesSlide181.xml"/><Relationship Id="rId2" Type="http://schemas.openxmlformats.org/officeDocument/2006/relationships/slideLayout" Target="../slideLayouts/slideLayout28.xml"/><Relationship Id="rId1" Type="http://schemas.openxmlformats.org/officeDocument/2006/relationships/tags" Target="../tags/tag953.xml"/></Relationships>
</file>

<file path=ppt/slides/_rels/slide196.xml.rels><?xml version="1.0" encoding="UTF-8" standalone="yes"?>
<Relationships xmlns="http://schemas.openxmlformats.org/package/2006/relationships"><Relationship Id="rId3" Type="http://schemas.openxmlformats.org/officeDocument/2006/relationships/notesSlide" Target="../notesSlides/notesSlide182.xml"/><Relationship Id="rId2" Type="http://schemas.openxmlformats.org/officeDocument/2006/relationships/slideLayout" Target="../slideLayouts/slideLayout28.xml"/><Relationship Id="rId1" Type="http://schemas.openxmlformats.org/officeDocument/2006/relationships/tags" Target="../tags/tag954.xml"/></Relationships>
</file>

<file path=ppt/slides/_rels/slide197.xml.rels><?xml version="1.0" encoding="UTF-8" standalone="yes"?>
<Relationships xmlns="http://schemas.openxmlformats.org/package/2006/relationships"><Relationship Id="rId3" Type="http://schemas.openxmlformats.org/officeDocument/2006/relationships/notesSlide" Target="../notesSlides/notesSlide183.xml"/><Relationship Id="rId2" Type="http://schemas.openxmlformats.org/officeDocument/2006/relationships/slideLayout" Target="../slideLayouts/slideLayout28.xml"/><Relationship Id="rId1" Type="http://schemas.openxmlformats.org/officeDocument/2006/relationships/tags" Target="../tags/tag955.xml"/></Relationships>
</file>

<file path=ppt/slides/_rels/slide198.xml.rels><?xml version="1.0" encoding="UTF-8" standalone="yes"?>
<Relationships xmlns="http://schemas.openxmlformats.org/package/2006/relationships"><Relationship Id="rId3" Type="http://schemas.openxmlformats.org/officeDocument/2006/relationships/tags" Target="../tags/tag958.xml"/><Relationship Id="rId7" Type="http://schemas.openxmlformats.org/officeDocument/2006/relationships/notesSlide" Target="../notesSlides/notesSlide184.xml"/><Relationship Id="rId2" Type="http://schemas.openxmlformats.org/officeDocument/2006/relationships/tags" Target="../tags/tag957.xml"/><Relationship Id="rId1" Type="http://schemas.openxmlformats.org/officeDocument/2006/relationships/tags" Target="../tags/tag956.xml"/><Relationship Id="rId6" Type="http://schemas.openxmlformats.org/officeDocument/2006/relationships/slideLayout" Target="../slideLayouts/slideLayout28.xml"/><Relationship Id="rId5" Type="http://schemas.openxmlformats.org/officeDocument/2006/relationships/tags" Target="../tags/tag960.xml"/><Relationship Id="rId4" Type="http://schemas.openxmlformats.org/officeDocument/2006/relationships/tags" Target="../tags/tag959.xml"/></Relationships>
</file>

<file path=ppt/slides/_rels/slide199.xml.rels><?xml version="1.0" encoding="UTF-8" standalone="yes"?>
<Relationships xmlns="http://schemas.openxmlformats.org/package/2006/relationships"><Relationship Id="rId3" Type="http://schemas.openxmlformats.org/officeDocument/2006/relationships/notesSlide" Target="../notesSlides/notesSlide185.xml"/><Relationship Id="rId2" Type="http://schemas.openxmlformats.org/officeDocument/2006/relationships/slideLayout" Target="../slideLayouts/slideLayout28.xml"/><Relationship Id="rId1" Type="http://schemas.openxmlformats.org/officeDocument/2006/relationships/tags" Target="../tags/tag961.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5.xml"/><Relationship Id="rId7" Type="http://schemas.openxmlformats.org/officeDocument/2006/relationships/notesSlide" Target="../notesSlides/notesSlide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Layout" Target="../slideLayouts/slideLayout24.xml"/><Relationship Id="rId5" Type="http://schemas.openxmlformats.org/officeDocument/2006/relationships/tags" Target="../tags/tag7.xml"/><Relationship Id="rId4" Type="http://schemas.openxmlformats.org/officeDocument/2006/relationships/tags" Target="../tags/tag6.xml"/><Relationship Id="rId9" Type="http://schemas.openxmlformats.org/officeDocument/2006/relationships/image" Target="../media/image6.emf"/></Relationships>
</file>

<file path=ppt/slides/_rels/slide20.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notesSlide" Target="../notesSlides/notesSlide13.xml"/><Relationship Id="rId5" Type="http://schemas.openxmlformats.org/officeDocument/2006/relationships/slideLayout" Target="../slideLayouts/slideLayout28.xml"/><Relationship Id="rId4" Type="http://schemas.openxmlformats.org/officeDocument/2006/relationships/tags" Target="../tags/tag119.xml"/></Relationships>
</file>

<file path=ppt/slides/_rels/slide200.xml.rels><?xml version="1.0" encoding="UTF-8" standalone="yes"?>
<Relationships xmlns="http://schemas.openxmlformats.org/package/2006/relationships"><Relationship Id="rId3" Type="http://schemas.openxmlformats.org/officeDocument/2006/relationships/notesSlide" Target="../notesSlides/notesSlide186.xml"/><Relationship Id="rId2" Type="http://schemas.openxmlformats.org/officeDocument/2006/relationships/slideLayout" Target="../slideLayouts/slideLayout28.xml"/><Relationship Id="rId1" Type="http://schemas.openxmlformats.org/officeDocument/2006/relationships/tags" Target="../tags/tag962.xml"/></Relationships>
</file>

<file path=ppt/slides/_rels/slide201.xml.rels><?xml version="1.0" encoding="UTF-8" standalone="yes"?>
<Relationships xmlns="http://schemas.openxmlformats.org/package/2006/relationships"><Relationship Id="rId3" Type="http://schemas.openxmlformats.org/officeDocument/2006/relationships/notesSlide" Target="../notesSlides/notesSlide187.xml"/><Relationship Id="rId2" Type="http://schemas.openxmlformats.org/officeDocument/2006/relationships/slideLayout" Target="../slideLayouts/slideLayout28.xml"/><Relationship Id="rId1" Type="http://schemas.openxmlformats.org/officeDocument/2006/relationships/tags" Target="../tags/tag963.xml"/></Relationships>
</file>

<file path=ppt/slides/_rels/slide202.xml.rels><?xml version="1.0" encoding="UTF-8" standalone="yes"?>
<Relationships xmlns="http://schemas.openxmlformats.org/package/2006/relationships"><Relationship Id="rId3" Type="http://schemas.openxmlformats.org/officeDocument/2006/relationships/notesSlide" Target="../notesSlides/notesSlide188.xml"/><Relationship Id="rId2" Type="http://schemas.openxmlformats.org/officeDocument/2006/relationships/slideLayout" Target="../slideLayouts/slideLayout28.xml"/><Relationship Id="rId1" Type="http://schemas.openxmlformats.org/officeDocument/2006/relationships/tags" Target="../tags/tag964.xml"/></Relationships>
</file>

<file path=ppt/slides/_rels/slide203.xml.rels><?xml version="1.0" encoding="UTF-8" standalone="yes"?>
<Relationships xmlns="http://schemas.openxmlformats.org/package/2006/relationships"><Relationship Id="rId8" Type="http://schemas.openxmlformats.org/officeDocument/2006/relationships/tags" Target="../tags/tag972.xml"/><Relationship Id="rId13" Type="http://schemas.openxmlformats.org/officeDocument/2006/relationships/notesSlide" Target="../notesSlides/notesSlide189.xml"/><Relationship Id="rId3" Type="http://schemas.openxmlformats.org/officeDocument/2006/relationships/tags" Target="../tags/tag967.xml"/><Relationship Id="rId7" Type="http://schemas.openxmlformats.org/officeDocument/2006/relationships/tags" Target="../tags/tag971.xml"/><Relationship Id="rId12" Type="http://schemas.openxmlformats.org/officeDocument/2006/relationships/slideLayout" Target="../slideLayouts/slideLayout28.xml"/><Relationship Id="rId2" Type="http://schemas.openxmlformats.org/officeDocument/2006/relationships/tags" Target="../tags/tag966.xml"/><Relationship Id="rId1" Type="http://schemas.openxmlformats.org/officeDocument/2006/relationships/tags" Target="../tags/tag965.xml"/><Relationship Id="rId6" Type="http://schemas.openxmlformats.org/officeDocument/2006/relationships/tags" Target="../tags/tag970.xml"/><Relationship Id="rId11" Type="http://schemas.openxmlformats.org/officeDocument/2006/relationships/tags" Target="../tags/tag975.xml"/><Relationship Id="rId5" Type="http://schemas.openxmlformats.org/officeDocument/2006/relationships/tags" Target="../tags/tag969.xml"/><Relationship Id="rId15" Type="http://schemas.openxmlformats.org/officeDocument/2006/relationships/image" Target="../media/image6.emf"/><Relationship Id="rId10" Type="http://schemas.openxmlformats.org/officeDocument/2006/relationships/tags" Target="../tags/tag974.xml"/><Relationship Id="rId4" Type="http://schemas.openxmlformats.org/officeDocument/2006/relationships/tags" Target="../tags/tag968.xml"/><Relationship Id="rId9" Type="http://schemas.openxmlformats.org/officeDocument/2006/relationships/tags" Target="../tags/tag973.xml"/><Relationship Id="rId14" Type="http://schemas.openxmlformats.org/officeDocument/2006/relationships/oleObject" Target="../embeddings/oleObject33.bin"/></Relationships>
</file>

<file path=ppt/slides/_rels/slide204.xml.rels><?xml version="1.0" encoding="UTF-8" standalone="yes"?>
<Relationships xmlns="http://schemas.openxmlformats.org/package/2006/relationships"><Relationship Id="rId8" Type="http://schemas.openxmlformats.org/officeDocument/2006/relationships/tags" Target="../tags/tag983.xml"/><Relationship Id="rId3" Type="http://schemas.openxmlformats.org/officeDocument/2006/relationships/tags" Target="../tags/tag978.xml"/><Relationship Id="rId7" Type="http://schemas.openxmlformats.org/officeDocument/2006/relationships/tags" Target="../tags/tag982.xml"/><Relationship Id="rId12" Type="http://schemas.openxmlformats.org/officeDocument/2006/relationships/image" Target="../media/image6.emf"/><Relationship Id="rId2" Type="http://schemas.openxmlformats.org/officeDocument/2006/relationships/tags" Target="../tags/tag977.xml"/><Relationship Id="rId1" Type="http://schemas.openxmlformats.org/officeDocument/2006/relationships/tags" Target="../tags/tag976.xml"/><Relationship Id="rId6" Type="http://schemas.openxmlformats.org/officeDocument/2006/relationships/tags" Target="../tags/tag981.xml"/><Relationship Id="rId11" Type="http://schemas.openxmlformats.org/officeDocument/2006/relationships/oleObject" Target="../embeddings/oleObject34.bin"/><Relationship Id="rId5" Type="http://schemas.openxmlformats.org/officeDocument/2006/relationships/tags" Target="../tags/tag980.xml"/><Relationship Id="rId10" Type="http://schemas.openxmlformats.org/officeDocument/2006/relationships/notesSlide" Target="../notesSlides/notesSlide190.xml"/><Relationship Id="rId4" Type="http://schemas.openxmlformats.org/officeDocument/2006/relationships/tags" Target="../tags/tag979.xml"/><Relationship Id="rId9" Type="http://schemas.openxmlformats.org/officeDocument/2006/relationships/slideLayout" Target="../slideLayouts/slideLayout28.xml"/></Relationships>
</file>

<file path=ppt/slides/_rels/slide205.xml.rels><?xml version="1.0" encoding="UTF-8" standalone="yes"?>
<Relationships xmlns="http://schemas.openxmlformats.org/package/2006/relationships"><Relationship Id="rId8" Type="http://schemas.openxmlformats.org/officeDocument/2006/relationships/tags" Target="../tags/tag991.xml"/><Relationship Id="rId13" Type="http://schemas.openxmlformats.org/officeDocument/2006/relationships/tags" Target="../tags/tag996.xml"/><Relationship Id="rId3" Type="http://schemas.openxmlformats.org/officeDocument/2006/relationships/tags" Target="../tags/tag986.xml"/><Relationship Id="rId7" Type="http://schemas.openxmlformats.org/officeDocument/2006/relationships/tags" Target="../tags/tag990.xml"/><Relationship Id="rId12" Type="http://schemas.openxmlformats.org/officeDocument/2006/relationships/tags" Target="../tags/tag995.xml"/><Relationship Id="rId2" Type="http://schemas.openxmlformats.org/officeDocument/2006/relationships/tags" Target="../tags/tag985.xml"/><Relationship Id="rId16" Type="http://schemas.openxmlformats.org/officeDocument/2006/relationships/oleObject" Target="../embeddings/oleObject35.bin"/><Relationship Id="rId1" Type="http://schemas.openxmlformats.org/officeDocument/2006/relationships/tags" Target="../tags/tag984.xml"/><Relationship Id="rId6" Type="http://schemas.openxmlformats.org/officeDocument/2006/relationships/tags" Target="../tags/tag989.xml"/><Relationship Id="rId11" Type="http://schemas.openxmlformats.org/officeDocument/2006/relationships/tags" Target="../tags/tag994.xml"/><Relationship Id="rId5" Type="http://schemas.openxmlformats.org/officeDocument/2006/relationships/tags" Target="../tags/tag988.xml"/><Relationship Id="rId15" Type="http://schemas.openxmlformats.org/officeDocument/2006/relationships/notesSlide" Target="../notesSlides/notesSlide191.xml"/><Relationship Id="rId10" Type="http://schemas.openxmlformats.org/officeDocument/2006/relationships/tags" Target="../tags/tag993.xml"/><Relationship Id="rId4" Type="http://schemas.openxmlformats.org/officeDocument/2006/relationships/tags" Target="../tags/tag987.xml"/><Relationship Id="rId9" Type="http://schemas.openxmlformats.org/officeDocument/2006/relationships/tags" Target="../tags/tag992.xml"/><Relationship Id="rId14" Type="http://schemas.openxmlformats.org/officeDocument/2006/relationships/slideLayout" Target="../slideLayouts/slideLayout28.xml"/></Relationships>
</file>

<file path=ppt/slides/_rels/slide206.xml.rels><?xml version="1.0" encoding="UTF-8" standalone="yes"?>
<Relationships xmlns="http://schemas.openxmlformats.org/package/2006/relationships"><Relationship Id="rId8" Type="http://schemas.openxmlformats.org/officeDocument/2006/relationships/tags" Target="../tags/tag1004.xml"/><Relationship Id="rId13" Type="http://schemas.openxmlformats.org/officeDocument/2006/relationships/slideLayout" Target="../slideLayouts/slideLayout28.xml"/><Relationship Id="rId3" Type="http://schemas.openxmlformats.org/officeDocument/2006/relationships/tags" Target="../tags/tag999.xml"/><Relationship Id="rId7" Type="http://schemas.openxmlformats.org/officeDocument/2006/relationships/tags" Target="../tags/tag1003.xml"/><Relationship Id="rId12" Type="http://schemas.openxmlformats.org/officeDocument/2006/relationships/tags" Target="../tags/tag1008.xml"/><Relationship Id="rId2" Type="http://schemas.openxmlformats.org/officeDocument/2006/relationships/tags" Target="../tags/tag998.xml"/><Relationship Id="rId1" Type="http://schemas.openxmlformats.org/officeDocument/2006/relationships/tags" Target="../tags/tag997.xml"/><Relationship Id="rId6" Type="http://schemas.openxmlformats.org/officeDocument/2006/relationships/tags" Target="../tags/tag1002.xml"/><Relationship Id="rId11" Type="http://schemas.openxmlformats.org/officeDocument/2006/relationships/tags" Target="../tags/tag1007.xml"/><Relationship Id="rId5" Type="http://schemas.openxmlformats.org/officeDocument/2006/relationships/tags" Target="../tags/tag1001.xml"/><Relationship Id="rId15" Type="http://schemas.openxmlformats.org/officeDocument/2006/relationships/oleObject" Target="../embeddings/oleObject36.bin"/><Relationship Id="rId10" Type="http://schemas.openxmlformats.org/officeDocument/2006/relationships/tags" Target="../tags/tag1006.xml"/><Relationship Id="rId4" Type="http://schemas.openxmlformats.org/officeDocument/2006/relationships/tags" Target="../tags/tag1000.xml"/><Relationship Id="rId9" Type="http://schemas.openxmlformats.org/officeDocument/2006/relationships/tags" Target="../tags/tag1005.xml"/><Relationship Id="rId14" Type="http://schemas.openxmlformats.org/officeDocument/2006/relationships/notesSlide" Target="../notesSlides/notesSlide192.xml"/></Relationships>
</file>

<file path=ppt/slides/_rels/slide207.xml.rels><?xml version="1.0" encoding="UTF-8" standalone="yes"?>
<Relationships xmlns="http://schemas.openxmlformats.org/package/2006/relationships"><Relationship Id="rId3" Type="http://schemas.openxmlformats.org/officeDocument/2006/relationships/notesSlide" Target="../notesSlides/notesSlide193.xml"/><Relationship Id="rId2" Type="http://schemas.openxmlformats.org/officeDocument/2006/relationships/slideLayout" Target="../slideLayouts/slideLayout28.xml"/><Relationship Id="rId1" Type="http://schemas.openxmlformats.org/officeDocument/2006/relationships/tags" Target="../tags/tag1009.xml"/></Relationships>
</file>

<file path=ppt/slides/_rels/slide208.xml.rels><?xml version="1.0" encoding="UTF-8" standalone="yes"?>
<Relationships xmlns="http://schemas.openxmlformats.org/package/2006/relationships"><Relationship Id="rId3" Type="http://schemas.openxmlformats.org/officeDocument/2006/relationships/tags" Target="../tags/tag1012.xml"/><Relationship Id="rId2" Type="http://schemas.openxmlformats.org/officeDocument/2006/relationships/tags" Target="../tags/tag1011.xml"/><Relationship Id="rId1" Type="http://schemas.openxmlformats.org/officeDocument/2006/relationships/tags" Target="../tags/tag1010.xml"/><Relationship Id="rId6" Type="http://schemas.openxmlformats.org/officeDocument/2006/relationships/notesSlide" Target="../notesSlides/notesSlide194.xml"/><Relationship Id="rId5" Type="http://schemas.openxmlformats.org/officeDocument/2006/relationships/slideLayout" Target="../slideLayouts/slideLayout28.xml"/><Relationship Id="rId4" Type="http://schemas.openxmlformats.org/officeDocument/2006/relationships/tags" Target="../tags/tag1013.xml"/></Relationships>
</file>

<file path=ppt/slides/_rels/slide209.xml.rels><?xml version="1.0" encoding="UTF-8" standalone="yes"?>
<Relationships xmlns="http://schemas.openxmlformats.org/package/2006/relationships"><Relationship Id="rId3" Type="http://schemas.openxmlformats.org/officeDocument/2006/relationships/notesSlide" Target="../notesSlides/notesSlide195.xml"/><Relationship Id="rId7" Type="http://schemas.openxmlformats.org/officeDocument/2006/relationships/image" Target="../media/image31.png"/><Relationship Id="rId2" Type="http://schemas.openxmlformats.org/officeDocument/2006/relationships/slideLayout" Target="../slideLayouts/slideLayout28.xml"/><Relationship Id="rId1" Type="http://schemas.openxmlformats.org/officeDocument/2006/relationships/tags" Target="../tags/tag101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slideLayout" Target="../slideLayouts/slideLayout28.xml"/><Relationship Id="rId3" Type="http://schemas.openxmlformats.org/officeDocument/2006/relationships/tags" Target="../tags/tag122.xml"/><Relationship Id="rId7" Type="http://schemas.openxmlformats.org/officeDocument/2006/relationships/tags" Target="../tags/tag126.xml"/><Relationship Id="rId12" Type="http://schemas.openxmlformats.org/officeDocument/2006/relationships/tags" Target="../tags/tag131.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tags" Target="../tags/tag125.xml"/><Relationship Id="rId11" Type="http://schemas.openxmlformats.org/officeDocument/2006/relationships/tags" Target="../tags/tag130.xml"/><Relationship Id="rId5" Type="http://schemas.openxmlformats.org/officeDocument/2006/relationships/tags" Target="../tags/tag124.xml"/><Relationship Id="rId15" Type="http://schemas.openxmlformats.org/officeDocument/2006/relationships/oleObject" Target="../embeddings/oleObject4.bin"/><Relationship Id="rId10" Type="http://schemas.openxmlformats.org/officeDocument/2006/relationships/tags" Target="../tags/tag129.xml"/><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notesSlide" Target="../notesSlides/notesSlide14.xml"/></Relationships>
</file>

<file path=ppt/slides/_rels/slide210.xml.rels><?xml version="1.0" encoding="UTF-8" standalone="yes"?>
<Relationships xmlns="http://schemas.openxmlformats.org/package/2006/relationships"><Relationship Id="rId3" Type="http://schemas.openxmlformats.org/officeDocument/2006/relationships/notesSlide" Target="../notesSlides/notesSlide196.xml"/><Relationship Id="rId2" Type="http://schemas.openxmlformats.org/officeDocument/2006/relationships/slideLayout" Target="../slideLayouts/slideLayout28.xml"/><Relationship Id="rId1" Type="http://schemas.openxmlformats.org/officeDocument/2006/relationships/tags" Target="../tags/tag1015.xml"/></Relationships>
</file>

<file path=ppt/slides/_rels/slide211.xml.rels><?xml version="1.0" encoding="UTF-8" standalone="yes"?>
<Relationships xmlns="http://schemas.openxmlformats.org/package/2006/relationships"><Relationship Id="rId2" Type="http://schemas.openxmlformats.org/officeDocument/2006/relationships/notesSlide" Target="../notesSlides/notesSlide197.xml"/><Relationship Id="rId1" Type="http://schemas.openxmlformats.org/officeDocument/2006/relationships/slideLayout" Target="../slideLayouts/slideLayout28.xml"/></Relationships>
</file>

<file path=ppt/slides/_rels/slide212.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tags" Target="../tags/tag1018.xml"/><Relationship Id="rId7" Type="http://schemas.openxmlformats.org/officeDocument/2006/relationships/tags" Target="../tags/tag1022.xml"/><Relationship Id="rId2" Type="http://schemas.openxmlformats.org/officeDocument/2006/relationships/tags" Target="../tags/tag1017.xml"/><Relationship Id="rId1" Type="http://schemas.openxmlformats.org/officeDocument/2006/relationships/tags" Target="../tags/tag1016.xml"/><Relationship Id="rId6" Type="http://schemas.openxmlformats.org/officeDocument/2006/relationships/tags" Target="../tags/tag1021.xml"/><Relationship Id="rId5" Type="http://schemas.openxmlformats.org/officeDocument/2006/relationships/tags" Target="../tags/tag1020.xml"/><Relationship Id="rId4" Type="http://schemas.openxmlformats.org/officeDocument/2006/relationships/tags" Target="../tags/tag1019.xml"/><Relationship Id="rId9" Type="http://schemas.openxmlformats.org/officeDocument/2006/relationships/notesSlide" Target="../notesSlides/notesSlide198.xml"/></Relationships>
</file>

<file path=ppt/slides/_rels/slide213.xml.rels><?xml version="1.0" encoding="UTF-8" standalone="yes"?>
<Relationships xmlns="http://schemas.openxmlformats.org/package/2006/relationships"><Relationship Id="rId8" Type="http://schemas.openxmlformats.org/officeDocument/2006/relationships/tags" Target="../tags/tag1030.xml"/><Relationship Id="rId13" Type="http://schemas.openxmlformats.org/officeDocument/2006/relationships/tags" Target="../tags/tag1035.xml"/><Relationship Id="rId3" Type="http://schemas.openxmlformats.org/officeDocument/2006/relationships/tags" Target="../tags/tag1025.xml"/><Relationship Id="rId7" Type="http://schemas.openxmlformats.org/officeDocument/2006/relationships/tags" Target="../tags/tag1029.xml"/><Relationship Id="rId12" Type="http://schemas.openxmlformats.org/officeDocument/2006/relationships/tags" Target="../tags/tag1034.xml"/><Relationship Id="rId17" Type="http://schemas.openxmlformats.org/officeDocument/2006/relationships/oleObject" Target="../embeddings/oleObject37.bin"/><Relationship Id="rId2" Type="http://schemas.openxmlformats.org/officeDocument/2006/relationships/tags" Target="../tags/tag1024.xml"/><Relationship Id="rId16" Type="http://schemas.openxmlformats.org/officeDocument/2006/relationships/notesSlide" Target="../notesSlides/notesSlide199.xml"/><Relationship Id="rId1" Type="http://schemas.openxmlformats.org/officeDocument/2006/relationships/tags" Target="../tags/tag1023.xml"/><Relationship Id="rId6" Type="http://schemas.openxmlformats.org/officeDocument/2006/relationships/tags" Target="../tags/tag1028.xml"/><Relationship Id="rId11" Type="http://schemas.openxmlformats.org/officeDocument/2006/relationships/tags" Target="../tags/tag1033.xml"/><Relationship Id="rId5" Type="http://schemas.openxmlformats.org/officeDocument/2006/relationships/tags" Target="../tags/tag1027.xml"/><Relationship Id="rId15" Type="http://schemas.openxmlformats.org/officeDocument/2006/relationships/slideLayout" Target="../slideLayouts/slideLayout28.xml"/><Relationship Id="rId10" Type="http://schemas.openxmlformats.org/officeDocument/2006/relationships/tags" Target="../tags/tag1032.xml"/><Relationship Id="rId4" Type="http://schemas.openxmlformats.org/officeDocument/2006/relationships/tags" Target="../tags/tag1026.xml"/><Relationship Id="rId9" Type="http://schemas.openxmlformats.org/officeDocument/2006/relationships/tags" Target="../tags/tag1031.xml"/><Relationship Id="rId14" Type="http://schemas.openxmlformats.org/officeDocument/2006/relationships/tags" Target="../tags/tag1036.xml"/></Relationships>
</file>

<file path=ppt/slides/_rels/slide214.xml.rels><?xml version="1.0" encoding="UTF-8" standalone="yes"?>
<Relationships xmlns="http://schemas.openxmlformats.org/package/2006/relationships"><Relationship Id="rId8" Type="http://schemas.openxmlformats.org/officeDocument/2006/relationships/tags" Target="../tags/tag1044.xml"/><Relationship Id="rId3" Type="http://schemas.openxmlformats.org/officeDocument/2006/relationships/tags" Target="../tags/tag1039.xml"/><Relationship Id="rId7" Type="http://schemas.openxmlformats.org/officeDocument/2006/relationships/tags" Target="../tags/tag1043.xml"/><Relationship Id="rId2" Type="http://schemas.openxmlformats.org/officeDocument/2006/relationships/tags" Target="../tags/tag1038.xml"/><Relationship Id="rId1" Type="http://schemas.openxmlformats.org/officeDocument/2006/relationships/tags" Target="../tags/tag1037.xml"/><Relationship Id="rId6" Type="http://schemas.openxmlformats.org/officeDocument/2006/relationships/tags" Target="../tags/tag1042.xml"/><Relationship Id="rId5" Type="http://schemas.openxmlformats.org/officeDocument/2006/relationships/tags" Target="../tags/tag1041.xml"/><Relationship Id="rId10" Type="http://schemas.openxmlformats.org/officeDocument/2006/relationships/notesSlide" Target="../notesSlides/notesSlide200.xml"/><Relationship Id="rId4" Type="http://schemas.openxmlformats.org/officeDocument/2006/relationships/tags" Target="../tags/tag1040.xml"/><Relationship Id="rId9" Type="http://schemas.openxmlformats.org/officeDocument/2006/relationships/slideLayout" Target="../slideLayouts/slideLayout28.xml"/></Relationships>
</file>

<file path=ppt/slides/_rels/slide215.xml.rels><?xml version="1.0" encoding="UTF-8" standalone="yes"?>
<Relationships xmlns="http://schemas.openxmlformats.org/package/2006/relationships"><Relationship Id="rId3" Type="http://schemas.openxmlformats.org/officeDocument/2006/relationships/notesSlide" Target="../notesSlides/notesSlide201.xml"/><Relationship Id="rId2" Type="http://schemas.openxmlformats.org/officeDocument/2006/relationships/slideLayout" Target="../slideLayouts/slideLayout28.xml"/><Relationship Id="rId1" Type="http://schemas.openxmlformats.org/officeDocument/2006/relationships/tags" Target="../tags/tag1045.xml"/></Relationships>
</file>

<file path=ppt/slides/_rels/slide216.xml.rels><?xml version="1.0" encoding="UTF-8" standalone="yes"?>
<Relationships xmlns="http://schemas.openxmlformats.org/package/2006/relationships"><Relationship Id="rId8" Type="http://schemas.openxmlformats.org/officeDocument/2006/relationships/oleObject" Target="../embeddings/oleObject40.bin"/><Relationship Id="rId13" Type="http://schemas.openxmlformats.org/officeDocument/2006/relationships/image" Target="../media/image36.wmf"/><Relationship Id="rId3" Type="http://schemas.openxmlformats.org/officeDocument/2006/relationships/notesSlide" Target="../notesSlides/notesSlide202.xml"/><Relationship Id="rId7" Type="http://schemas.openxmlformats.org/officeDocument/2006/relationships/image" Target="../media/image33.wmf"/><Relationship Id="rId12" Type="http://schemas.openxmlformats.org/officeDocument/2006/relationships/oleObject" Target="../embeddings/oleObject42.bin"/><Relationship Id="rId2" Type="http://schemas.openxmlformats.org/officeDocument/2006/relationships/slideLayout" Target="../slideLayouts/slideLayout28.xml"/><Relationship Id="rId1" Type="http://schemas.openxmlformats.org/officeDocument/2006/relationships/tags" Target="../tags/tag1046.xml"/><Relationship Id="rId6" Type="http://schemas.openxmlformats.org/officeDocument/2006/relationships/oleObject" Target="../embeddings/oleObject39.bin"/><Relationship Id="rId11" Type="http://schemas.openxmlformats.org/officeDocument/2006/relationships/image" Target="../media/image35.wmf"/><Relationship Id="rId5" Type="http://schemas.openxmlformats.org/officeDocument/2006/relationships/image" Target="../media/image32.wmf"/><Relationship Id="rId15" Type="http://schemas.openxmlformats.org/officeDocument/2006/relationships/image" Target="../media/image37.wmf"/><Relationship Id="rId10" Type="http://schemas.openxmlformats.org/officeDocument/2006/relationships/oleObject" Target="../embeddings/oleObject41.bin"/><Relationship Id="rId4" Type="http://schemas.openxmlformats.org/officeDocument/2006/relationships/oleObject" Target="../embeddings/oleObject38.bin"/><Relationship Id="rId9" Type="http://schemas.openxmlformats.org/officeDocument/2006/relationships/image" Target="../media/image34.wmf"/><Relationship Id="rId14" Type="http://schemas.openxmlformats.org/officeDocument/2006/relationships/oleObject" Target="../embeddings/oleObject43.bin"/></Relationships>
</file>

<file path=ppt/slides/_rels/slide217.xml.rels><?xml version="1.0" encoding="UTF-8" standalone="yes"?>
<Relationships xmlns="http://schemas.openxmlformats.org/package/2006/relationships"><Relationship Id="rId3" Type="http://schemas.openxmlformats.org/officeDocument/2006/relationships/notesSlide" Target="../notesSlides/notesSlide203.xml"/><Relationship Id="rId2" Type="http://schemas.openxmlformats.org/officeDocument/2006/relationships/slideLayout" Target="../slideLayouts/slideLayout28.xml"/><Relationship Id="rId1" Type="http://schemas.openxmlformats.org/officeDocument/2006/relationships/tags" Target="../tags/tag1047.xml"/></Relationships>
</file>

<file path=ppt/slides/_rels/slide218.xml.rels><?xml version="1.0" encoding="UTF-8" standalone="yes"?>
<Relationships xmlns="http://schemas.openxmlformats.org/package/2006/relationships"><Relationship Id="rId3" Type="http://schemas.openxmlformats.org/officeDocument/2006/relationships/notesSlide" Target="../notesSlides/notesSlide204.xml"/><Relationship Id="rId2" Type="http://schemas.openxmlformats.org/officeDocument/2006/relationships/slideLayout" Target="../slideLayouts/slideLayout28.xml"/><Relationship Id="rId1" Type="http://schemas.openxmlformats.org/officeDocument/2006/relationships/tags" Target="../tags/tag1048.xml"/></Relationships>
</file>

<file path=ppt/slides/_rels/slide219.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050.xml"/><Relationship Id="rId1" Type="http://schemas.openxmlformats.org/officeDocument/2006/relationships/tags" Target="../tags/tag1049.xml"/><Relationship Id="rId4" Type="http://schemas.openxmlformats.org/officeDocument/2006/relationships/notesSlide" Target="../notesSlides/notesSlide205.xml"/></Relationships>
</file>

<file path=ppt/slides/_rels/slide22.xml.rels><?xml version="1.0" encoding="UTF-8" standalone="yes"?>
<Relationships xmlns="http://schemas.openxmlformats.org/package/2006/relationships"><Relationship Id="rId8" Type="http://schemas.openxmlformats.org/officeDocument/2006/relationships/tags" Target="../tags/tag139.xml"/><Relationship Id="rId13" Type="http://schemas.openxmlformats.org/officeDocument/2006/relationships/tags" Target="../tags/tag144.xml"/><Relationship Id="rId3" Type="http://schemas.openxmlformats.org/officeDocument/2006/relationships/tags" Target="../tags/tag134.xml"/><Relationship Id="rId7" Type="http://schemas.openxmlformats.org/officeDocument/2006/relationships/tags" Target="../tags/tag138.xml"/><Relationship Id="rId12" Type="http://schemas.openxmlformats.org/officeDocument/2006/relationships/tags" Target="../tags/tag143.xml"/><Relationship Id="rId17" Type="http://schemas.openxmlformats.org/officeDocument/2006/relationships/image" Target="../media/image6.emf"/><Relationship Id="rId2" Type="http://schemas.openxmlformats.org/officeDocument/2006/relationships/tags" Target="../tags/tag133.xml"/><Relationship Id="rId16" Type="http://schemas.openxmlformats.org/officeDocument/2006/relationships/oleObject" Target="../embeddings/oleObject5.bin"/><Relationship Id="rId1" Type="http://schemas.openxmlformats.org/officeDocument/2006/relationships/tags" Target="../tags/tag132.xml"/><Relationship Id="rId6" Type="http://schemas.openxmlformats.org/officeDocument/2006/relationships/tags" Target="../tags/tag137.xml"/><Relationship Id="rId11" Type="http://schemas.openxmlformats.org/officeDocument/2006/relationships/tags" Target="../tags/tag142.xml"/><Relationship Id="rId5" Type="http://schemas.openxmlformats.org/officeDocument/2006/relationships/tags" Target="../tags/tag136.xml"/><Relationship Id="rId15" Type="http://schemas.openxmlformats.org/officeDocument/2006/relationships/notesSlide" Target="../notesSlides/notesSlide15.xml"/><Relationship Id="rId10" Type="http://schemas.openxmlformats.org/officeDocument/2006/relationships/tags" Target="../tags/tag141.xml"/><Relationship Id="rId4" Type="http://schemas.openxmlformats.org/officeDocument/2006/relationships/tags" Target="../tags/tag135.xml"/><Relationship Id="rId9" Type="http://schemas.openxmlformats.org/officeDocument/2006/relationships/tags" Target="../tags/tag140.xml"/><Relationship Id="rId14" Type="http://schemas.openxmlformats.org/officeDocument/2006/relationships/slideLayout" Target="../slideLayouts/slideLayout28.xml"/></Relationships>
</file>

<file path=ppt/slides/_rels/slide220.xml.rels><?xml version="1.0" encoding="UTF-8" standalone="yes"?>
<Relationships xmlns="http://schemas.openxmlformats.org/package/2006/relationships"><Relationship Id="rId3" Type="http://schemas.openxmlformats.org/officeDocument/2006/relationships/tags" Target="../tags/tag1053.xml"/><Relationship Id="rId7" Type="http://schemas.openxmlformats.org/officeDocument/2006/relationships/notesSlide" Target="../notesSlides/notesSlide206.xml"/><Relationship Id="rId2" Type="http://schemas.openxmlformats.org/officeDocument/2006/relationships/tags" Target="../tags/tag1052.xml"/><Relationship Id="rId1" Type="http://schemas.openxmlformats.org/officeDocument/2006/relationships/tags" Target="../tags/tag1051.xml"/><Relationship Id="rId6" Type="http://schemas.openxmlformats.org/officeDocument/2006/relationships/slideLayout" Target="../slideLayouts/slideLayout28.xml"/><Relationship Id="rId5" Type="http://schemas.openxmlformats.org/officeDocument/2006/relationships/tags" Target="../tags/tag1055.xml"/><Relationship Id="rId4" Type="http://schemas.openxmlformats.org/officeDocument/2006/relationships/tags" Target="../tags/tag1054.xml"/></Relationships>
</file>

<file path=ppt/slides/_rels/slide221.xml.rels><?xml version="1.0" encoding="UTF-8" standalone="yes"?>
<Relationships xmlns="http://schemas.openxmlformats.org/package/2006/relationships"><Relationship Id="rId8" Type="http://schemas.openxmlformats.org/officeDocument/2006/relationships/tags" Target="../tags/tag1063.xml"/><Relationship Id="rId13" Type="http://schemas.openxmlformats.org/officeDocument/2006/relationships/tags" Target="../tags/tag1068.xml"/><Relationship Id="rId18" Type="http://schemas.openxmlformats.org/officeDocument/2006/relationships/tags" Target="../tags/tag1073.xml"/><Relationship Id="rId3" Type="http://schemas.openxmlformats.org/officeDocument/2006/relationships/tags" Target="../tags/tag1058.xml"/><Relationship Id="rId21" Type="http://schemas.openxmlformats.org/officeDocument/2006/relationships/oleObject" Target="../embeddings/oleObject44.bin"/><Relationship Id="rId7" Type="http://schemas.openxmlformats.org/officeDocument/2006/relationships/tags" Target="../tags/tag1062.xml"/><Relationship Id="rId12" Type="http://schemas.openxmlformats.org/officeDocument/2006/relationships/tags" Target="../tags/tag1067.xml"/><Relationship Id="rId17" Type="http://schemas.openxmlformats.org/officeDocument/2006/relationships/tags" Target="../tags/tag1072.xml"/><Relationship Id="rId2" Type="http://schemas.openxmlformats.org/officeDocument/2006/relationships/tags" Target="../tags/tag1057.xml"/><Relationship Id="rId16" Type="http://schemas.openxmlformats.org/officeDocument/2006/relationships/tags" Target="../tags/tag1071.xml"/><Relationship Id="rId20" Type="http://schemas.openxmlformats.org/officeDocument/2006/relationships/notesSlide" Target="../notesSlides/notesSlide207.xml"/><Relationship Id="rId1" Type="http://schemas.openxmlformats.org/officeDocument/2006/relationships/tags" Target="../tags/tag1056.xml"/><Relationship Id="rId6" Type="http://schemas.openxmlformats.org/officeDocument/2006/relationships/tags" Target="../tags/tag1061.xml"/><Relationship Id="rId11" Type="http://schemas.openxmlformats.org/officeDocument/2006/relationships/tags" Target="../tags/tag1066.xml"/><Relationship Id="rId5" Type="http://schemas.openxmlformats.org/officeDocument/2006/relationships/tags" Target="../tags/tag1060.xml"/><Relationship Id="rId15" Type="http://schemas.openxmlformats.org/officeDocument/2006/relationships/tags" Target="../tags/tag1070.xml"/><Relationship Id="rId10" Type="http://schemas.openxmlformats.org/officeDocument/2006/relationships/tags" Target="../tags/tag1065.xml"/><Relationship Id="rId19" Type="http://schemas.openxmlformats.org/officeDocument/2006/relationships/slideLayout" Target="../slideLayouts/slideLayout28.xml"/><Relationship Id="rId4" Type="http://schemas.openxmlformats.org/officeDocument/2006/relationships/tags" Target="../tags/tag1059.xml"/><Relationship Id="rId9" Type="http://schemas.openxmlformats.org/officeDocument/2006/relationships/tags" Target="../tags/tag1064.xml"/><Relationship Id="rId14" Type="http://schemas.openxmlformats.org/officeDocument/2006/relationships/tags" Target="../tags/tag1069.xml"/></Relationships>
</file>

<file path=ppt/slides/_rels/slide222.xml.rels><?xml version="1.0" encoding="UTF-8" standalone="yes"?>
<Relationships xmlns="http://schemas.openxmlformats.org/package/2006/relationships"><Relationship Id="rId2" Type="http://schemas.openxmlformats.org/officeDocument/2006/relationships/notesSlide" Target="../notesSlides/notesSlide208.xml"/><Relationship Id="rId1" Type="http://schemas.openxmlformats.org/officeDocument/2006/relationships/slideLayout" Target="../slideLayouts/slideLayout28.xml"/></Relationships>
</file>

<file path=ppt/slides/_rels/slide223.xml.rels><?xml version="1.0" encoding="UTF-8" standalone="yes"?>
<Relationships xmlns="http://schemas.openxmlformats.org/package/2006/relationships"><Relationship Id="rId2" Type="http://schemas.openxmlformats.org/officeDocument/2006/relationships/notesSlide" Target="../notesSlides/notesSlide209.xml"/><Relationship Id="rId1" Type="http://schemas.openxmlformats.org/officeDocument/2006/relationships/slideLayout" Target="../slideLayouts/slideLayout28.xml"/></Relationships>
</file>

<file path=ppt/slides/_rels/slide224.xml.rels><?xml version="1.0" encoding="UTF-8" standalone="yes"?>
<Relationships xmlns="http://schemas.openxmlformats.org/package/2006/relationships"><Relationship Id="rId13" Type="http://schemas.openxmlformats.org/officeDocument/2006/relationships/tags" Target="../tags/tag1086.xml"/><Relationship Id="rId18" Type="http://schemas.openxmlformats.org/officeDocument/2006/relationships/tags" Target="../tags/tag1091.xml"/><Relationship Id="rId26" Type="http://schemas.openxmlformats.org/officeDocument/2006/relationships/tags" Target="../tags/tag1099.xml"/><Relationship Id="rId3" Type="http://schemas.openxmlformats.org/officeDocument/2006/relationships/tags" Target="../tags/tag1076.xml"/><Relationship Id="rId21" Type="http://schemas.openxmlformats.org/officeDocument/2006/relationships/tags" Target="../tags/tag1094.xml"/><Relationship Id="rId34" Type="http://schemas.openxmlformats.org/officeDocument/2006/relationships/oleObject" Target="../embeddings/oleObject45.bin"/><Relationship Id="rId7" Type="http://schemas.openxmlformats.org/officeDocument/2006/relationships/tags" Target="../tags/tag1080.xml"/><Relationship Id="rId12" Type="http://schemas.openxmlformats.org/officeDocument/2006/relationships/tags" Target="../tags/tag1085.xml"/><Relationship Id="rId17" Type="http://schemas.openxmlformats.org/officeDocument/2006/relationships/tags" Target="../tags/tag1090.xml"/><Relationship Id="rId25" Type="http://schemas.openxmlformats.org/officeDocument/2006/relationships/tags" Target="../tags/tag1098.xml"/><Relationship Id="rId33" Type="http://schemas.openxmlformats.org/officeDocument/2006/relationships/notesSlide" Target="../notesSlides/notesSlide210.xml"/><Relationship Id="rId2" Type="http://schemas.openxmlformats.org/officeDocument/2006/relationships/tags" Target="../tags/tag1075.xml"/><Relationship Id="rId16" Type="http://schemas.openxmlformats.org/officeDocument/2006/relationships/tags" Target="../tags/tag1089.xml"/><Relationship Id="rId20" Type="http://schemas.openxmlformats.org/officeDocument/2006/relationships/tags" Target="../tags/tag1093.xml"/><Relationship Id="rId29" Type="http://schemas.openxmlformats.org/officeDocument/2006/relationships/tags" Target="../tags/tag1102.xml"/><Relationship Id="rId1" Type="http://schemas.openxmlformats.org/officeDocument/2006/relationships/tags" Target="../tags/tag1074.xml"/><Relationship Id="rId6" Type="http://schemas.openxmlformats.org/officeDocument/2006/relationships/tags" Target="../tags/tag1079.xml"/><Relationship Id="rId11" Type="http://schemas.openxmlformats.org/officeDocument/2006/relationships/tags" Target="../tags/tag1084.xml"/><Relationship Id="rId24" Type="http://schemas.openxmlformats.org/officeDocument/2006/relationships/tags" Target="../tags/tag1097.xml"/><Relationship Id="rId32" Type="http://schemas.openxmlformats.org/officeDocument/2006/relationships/slideLayout" Target="../slideLayouts/slideLayout28.xml"/><Relationship Id="rId5" Type="http://schemas.openxmlformats.org/officeDocument/2006/relationships/tags" Target="../tags/tag1078.xml"/><Relationship Id="rId15" Type="http://schemas.openxmlformats.org/officeDocument/2006/relationships/tags" Target="../tags/tag1088.xml"/><Relationship Id="rId23" Type="http://schemas.openxmlformats.org/officeDocument/2006/relationships/tags" Target="../tags/tag1096.xml"/><Relationship Id="rId28" Type="http://schemas.openxmlformats.org/officeDocument/2006/relationships/tags" Target="../tags/tag1101.xml"/><Relationship Id="rId10" Type="http://schemas.openxmlformats.org/officeDocument/2006/relationships/tags" Target="../tags/tag1083.xml"/><Relationship Id="rId19" Type="http://schemas.openxmlformats.org/officeDocument/2006/relationships/tags" Target="../tags/tag1092.xml"/><Relationship Id="rId31" Type="http://schemas.openxmlformats.org/officeDocument/2006/relationships/tags" Target="../tags/tag1104.xml"/><Relationship Id="rId4" Type="http://schemas.openxmlformats.org/officeDocument/2006/relationships/tags" Target="../tags/tag1077.xml"/><Relationship Id="rId9" Type="http://schemas.openxmlformats.org/officeDocument/2006/relationships/tags" Target="../tags/tag1082.xml"/><Relationship Id="rId14" Type="http://schemas.openxmlformats.org/officeDocument/2006/relationships/tags" Target="../tags/tag1087.xml"/><Relationship Id="rId22" Type="http://schemas.openxmlformats.org/officeDocument/2006/relationships/tags" Target="../tags/tag1095.xml"/><Relationship Id="rId27" Type="http://schemas.openxmlformats.org/officeDocument/2006/relationships/tags" Target="../tags/tag1100.xml"/><Relationship Id="rId30" Type="http://schemas.openxmlformats.org/officeDocument/2006/relationships/tags" Target="../tags/tag1103.xml"/><Relationship Id="rId8" Type="http://schemas.openxmlformats.org/officeDocument/2006/relationships/tags" Target="../tags/tag1081.xml"/></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26.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106.xml"/><Relationship Id="rId1" Type="http://schemas.openxmlformats.org/officeDocument/2006/relationships/tags" Target="../tags/tag1105.xml"/><Relationship Id="rId5" Type="http://schemas.openxmlformats.org/officeDocument/2006/relationships/oleObject" Target="../embeddings/oleObject46.bin"/><Relationship Id="rId4" Type="http://schemas.openxmlformats.org/officeDocument/2006/relationships/notesSlide" Target="../notesSlides/notesSlide211.xml"/></Relationships>
</file>

<file path=ppt/slides/_rels/slide227.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108.xml"/><Relationship Id="rId1" Type="http://schemas.openxmlformats.org/officeDocument/2006/relationships/tags" Target="../tags/tag1107.xml"/><Relationship Id="rId5" Type="http://schemas.openxmlformats.org/officeDocument/2006/relationships/oleObject" Target="../embeddings/oleObject47.bin"/><Relationship Id="rId4" Type="http://schemas.openxmlformats.org/officeDocument/2006/relationships/notesSlide" Target="../notesSlides/notesSlide212.xml"/></Relationships>
</file>

<file path=ppt/slides/_rels/slide228.xml.rels><?xml version="1.0" encoding="UTF-8" standalone="yes"?>
<Relationships xmlns="http://schemas.openxmlformats.org/package/2006/relationships"><Relationship Id="rId8" Type="http://schemas.openxmlformats.org/officeDocument/2006/relationships/image" Target="../media/image40.emf"/><Relationship Id="rId3" Type="http://schemas.openxmlformats.org/officeDocument/2006/relationships/slideLayout" Target="../slideLayouts/slideLayout28.xml"/><Relationship Id="rId7" Type="http://schemas.openxmlformats.org/officeDocument/2006/relationships/image" Target="../media/image39.emf"/><Relationship Id="rId2" Type="http://schemas.openxmlformats.org/officeDocument/2006/relationships/tags" Target="../tags/tag1110.xml"/><Relationship Id="rId1" Type="http://schemas.openxmlformats.org/officeDocument/2006/relationships/tags" Target="../tags/tag1109.xml"/><Relationship Id="rId6" Type="http://schemas.openxmlformats.org/officeDocument/2006/relationships/image" Target="../media/image38.emf"/><Relationship Id="rId11" Type="http://schemas.openxmlformats.org/officeDocument/2006/relationships/image" Target="../media/image43.emf"/><Relationship Id="rId5" Type="http://schemas.openxmlformats.org/officeDocument/2006/relationships/oleObject" Target="../embeddings/oleObject48.bin"/><Relationship Id="rId10" Type="http://schemas.openxmlformats.org/officeDocument/2006/relationships/image" Target="../media/image42.emf"/><Relationship Id="rId4" Type="http://schemas.openxmlformats.org/officeDocument/2006/relationships/notesSlide" Target="../notesSlides/notesSlide213.xml"/><Relationship Id="rId9" Type="http://schemas.openxmlformats.org/officeDocument/2006/relationships/image" Target="../media/image41.emf"/></Relationships>
</file>

<file path=ppt/slides/_rels/slide229.xml.rels><?xml version="1.0" encoding="UTF-8" standalone="yes"?>
<Relationships xmlns="http://schemas.openxmlformats.org/package/2006/relationships"><Relationship Id="rId8" Type="http://schemas.openxmlformats.org/officeDocument/2006/relationships/image" Target="../media/image40.emf"/><Relationship Id="rId3" Type="http://schemas.openxmlformats.org/officeDocument/2006/relationships/slideLayout" Target="../slideLayouts/slideLayout28.xml"/><Relationship Id="rId7" Type="http://schemas.openxmlformats.org/officeDocument/2006/relationships/image" Target="../media/image39.emf"/><Relationship Id="rId2" Type="http://schemas.openxmlformats.org/officeDocument/2006/relationships/tags" Target="../tags/tag1112.xml"/><Relationship Id="rId1" Type="http://schemas.openxmlformats.org/officeDocument/2006/relationships/tags" Target="../tags/tag1111.xml"/><Relationship Id="rId6" Type="http://schemas.openxmlformats.org/officeDocument/2006/relationships/image" Target="../media/image38.emf"/><Relationship Id="rId5" Type="http://schemas.openxmlformats.org/officeDocument/2006/relationships/oleObject" Target="../embeddings/oleObject49.bin"/><Relationship Id="rId4" Type="http://schemas.openxmlformats.org/officeDocument/2006/relationships/notesSlide" Target="../notesSlides/notesSlide214.xml"/><Relationship Id="rId9" Type="http://schemas.openxmlformats.org/officeDocument/2006/relationships/image" Target="../media/image41.emf"/></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8.xml"/></Relationships>
</file>

<file path=ppt/slides/_rels/slide230.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slideLayout" Target="../slideLayouts/slideLayout28.xml"/><Relationship Id="rId7" Type="http://schemas.openxmlformats.org/officeDocument/2006/relationships/image" Target="../media/image45.emf"/><Relationship Id="rId2" Type="http://schemas.openxmlformats.org/officeDocument/2006/relationships/tags" Target="../tags/tag1114.xml"/><Relationship Id="rId1" Type="http://schemas.openxmlformats.org/officeDocument/2006/relationships/tags" Target="../tags/tag1113.xml"/><Relationship Id="rId6" Type="http://schemas.openxmlformats.org/officeDocument/2006/relationships/image" Target="../media/image44.png"/><Relationship Id="rId5" Type="http://schemas.openxmlformats.org/officeDocument/2006/relationships/oleObject" Target="../embeddings/oleObject50.bin"/><Relationship Id="rId4" Type="http://schemas.openxmlformats.org/officeDocument/2006/relationships/notesSlide" Target="../notesSlides/notesSlide215.xml"/><Relationship Id="rId9" Type="http://schemas.openxmlformats.org/officeDocument/2006/relationships/image" Target="../media/image47.png"/></Relationships>
</file>

<file path=ppt/slides/_rels/slide23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Layout" Target="../slideLayouts/slideLayout28.xml"/><Relationship Id="rId7" Type="http://schemas.openxmlformats.org/officeDocument/2006/relationships/image" Target="../media/image49.emf"/><Relationship Id="rId2" Type="http://schemas.openxmlformats.org/officeDocument/2006/relationships/tags" Target="../tags/tag1116.xml"/><Relationship Id="rId1" Type="http://schemas.openxmlformats.org/officeDocument/2006/relationships/tags" Target="../tags/tag1115.xml"/><Relationship Id="rId6" Type="http://schemas.openxmlformats.org/officeDocument/2006/relationships/image" Target="../media/image48.png"/><Relationship Id="rId5" Type="http://schemas.openxmlformats.org/officeDocument/2006/relationships/oleObject" Target="../embeddings/oleObject51.bin"/><Relationship Id="rId4" Type="http://schemas.openxmlformats.org/officeDocument/2006/relationships/notesSlide" Target="../notesSlides/notesSlide216.xml"/><Relationship Id="rId9" Type="http://schemas.openxmlformats.org/officeDocument/2006/relationships/image" Target="../media/image51.png"/></Relationships>
</file>

<file path=ppt/slides/_rels/slide232.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28.xml"/><Relationship Id="rId7" Type="http://schemas.openxmlformats.org/officeDocument/2006/relationships/image" Target="../media/image45.emf"/><Relationship Id="rId2" Type="http://schemas.openxmlformats.org/officeDocument/2006/relationships/tags" Target="../tags/tag1118.xml"/><Relationship Id="rId1" Type="http://schemas.openxmlformats.org/officeDocument/2006/relationships/tags" Target="../tags/tag1117.xml"/><Relationship Id="rId6" Type="http://schemas.openxmlformats.org/officeDocument/2006/relationships/image" Target="../media/image52.png"/><Relationship Id="rId5" Type="http://schemas.openxmlformats.org/officeDocument/2006/relationships/oleObject" Target="../embeddings/oleObject52.bin"/><Relationship Id="rId4" Type="http://schemas.openxmlformats.org/officeDocument/2006/relationships/notesSlide" Target="../notesSlides/notesSlide217.xml"/><Relationship Id="rId9" Type="http://schemas.openxmlformats.org/officeDocument/2006/relationships/image" Target="../media/image54.png"/></Relationships>
</file>

<file path=ppt/slides/_rels/slide233.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image" Target="../media/image44.png"/><Relationship Id="rId2" Type="http://schemas.openxmlformats.org/officeDocument/2006/relationships/tags" Target="../tags/tag1120.xml"/><Relationship Id="rId1" Type="http://schemas.openxmlformats.org/officeDocument/2006/relationships/tags" Target="../tags/tag1119.xml"/><Relationship Id="rId6" Type="http://schemas.openxmlformats.org/officeDocument/2006/relationships/image" Target="../media/image55.png"/><Relationship Id="rId5" Type="http://schemas.openxmlformats.org/officeDocument/2006/relationships/oleObject" Target="../embeddings/oleObject53.bin"/><Relationship Id="rId4" Type="http://schemas.openxmlformats.org/officeDocument/2006/relationships/notesSlide" Target="../notesSlides/notesSlide218.xml"/></Relationships>
</file>

<file path=ppt/slides/_rels/slide234.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122.xml"/><Relationship Id="rId1" Type="http://schemas.openxmlformats.org/officeDocument/2006/relationships/tags" Target="../tags/tag1121.xml"/><Relationship Id="rId5" Type="http://schemas.openxmlformats.org/officeDocument/2006/relationships/oleObject" Target="../embeddings/oleObject54.bin"/><Relationship Id="rId4" Type="http://schemas.openxmlformats.org/officeDocument/2006/relationships/notesSlide" Target="../notesSlides/notesSlide219.xml"/></Relationships>
</file>

<file path=ppt/slides/_rels/slide235.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124.xml"/><Relationship Id="rId1" Type="http://schemas.openxmlformats.org/officeDocument/2006/relationships/tags" Target="../tags/tag1123.xml"/><Relationship Id="rId5" Type="http://schemas.openxmlformats.org/officeDocument/2006/relationships/oleObject" Target="../embeddings/oleObject55.bin"/><Relationship Id="rId4" Type="http://schemas.openxmlformats.org/officeDocument/2006/relationships/notesSlide" Target="../notesSlides/notesSlide220.xml"/></Relationships>
</file>

<file path=ppt/slides/_rels/slide236.xml.rels><?xml version="1.0" encoding="UTF-8" standalone="yes"?>
<Relationships xmlns="http://schemas.openxmlformats.org/package/2006/relationships"><Relationship Id="rId8" Type="http://schemas.openxmlformats.org/officeDocument/2006/relationships/image" Target="../media/image41.emf"/><Relationship Id="rId3" Type="http://schemas.openxmlformats.org/officeDocument/2006/relationships/slideLayout" Target="../slideLayouts/slideLayout28.xml"/><Relationship Id="rId7" Type="http://schemas.openxmlformats.org/officeDocument/2006/relationships/image" Target="../media/image40.emf"/><Relationship Id="rId2" Type="http://schemas.openxmlformats.org/officeDocument/2006/relationships/tags" Target="../tags/tag1126.xml"/><Relationship Id="rId1" Type="http://schemas.openxmlformats.org/officeDocument/2006/relationships/tags" Target="../tags/tag1125.xml"/><Relationship Id="rId6" Type="http://schemas.openxmlformats.org/officeDocument/2006/relationships/image" Target="../media/image39.emf"/><Relationship Id="rId5" Type="http://schemas.openxmlformats.org/officeDocument/2006/relationships/oleObject" Target="../embeddings/oleObject56.bin"/><Relationship Id="rId4" Type="http://schemas.openxmlformats.org/officeDocument/2006/relationships/notesSlide" Target="../notesSlides/notesSlide221.xml"/></Relationships>
</file>

<file path=ppt/slides/_rels/slide237.xml.rels><?xml version="1.0" encoding="UTF-8" standalone="yes"?>
<Relationships xmlns="http://schemas.openxmlformats.org/package/2006/relationships"><Relationship Id="rId8" Type="http://schemas.openxmlformats.org/officeDocument/2006/relationships/image" Target="../media/image41.emf"/><Relationship Id="rId3" Type="http://schemas.openxmlformats.org/officeDocument/2006/relationships/slideLayout" Target="../slideLayouts/slideLayout28.xml"/><Relationship Id="rId7" Type="http://schemas.openxmlformats.org/officeDocument/2006/relationships/image" Target="../media/image40.emf"/><Relationship Id="rId2" Type="http://schemas.openxmlformats.org/officeDocument/2006/relationships/tags" Target="../tags/tag1128.xml"/><Relationship Id="rId1" Type="http://schemas.openxmlformats.org/officeDocument/2006/relationships/tags" Target="../tags/tag1127.xml"/><Relationship Id="rId6" Type="http://schemas.openxmlformats.org/officeDocument/2006/relationships/image" Target="../media/image39.emf"/><Relationship Id="rId5" Type="http://schemas.openxmlformats.org/officeDocument/2006/relationships/oleObject" Target="../embeddings/oleObject57.bin"/><Relationship Id="rId4" Type="http://schemas.openxmlformats.org/officeDocument/2006/relationships/notesSlide" Target="../notesSlides/notesSlide222.xml"/></Relationships>
</file>

<file path=ppt/slides/_rels/slide238.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130.xml"/><Relationship Id="rId1" Type="http://schemas.openxmlformats.org/officeDocument/2006/relationships/tags" Target="../tags/tag1129.xml"/><Relationship Id="rId5" Type="http://schemas.openxmlformats.org/officeDocument/2006/relationships/oleObject" Target="../embeddings/oleObject58.bin"/><Relationship Id="rId4" Type="http://schemas.openxmlformats.org/officeDocument/2006/relationships/notesSlide" Target="../notesSlides/notesSlide223.xml"/></Relationships>
</file>

<file path=ppt/slides/_rels/slide239.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132.xml"/><Relationship Id="rId1" Type="http://schemas.openxmlformats.org/officeDocument/2006/relationships/tags" Target="../tags/tag1131.xml"/><Relationship Id="rId5" Type="http://schemas.openxmlformats.org/officeDocument/2006/relationships/oleObject" Target="../embeddings/oleObject59.bin"/><Relationship Id="rId4" Type="http://schemas.openxmlformats.org/officeDocument/2006/relationships/notesSlide" Target="../notesSlides/notesSlide224.xml"/></Relationships>
</file>

<file path=ppt/slides/_rels/slide24.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tags" Target="../tags/tag147.xml"/><Relationship Id="rId7" Type="http://schemas.openxmlformats.org/officeDocument/2006/relationships/tags" Target="../tags/tag151.xml"/><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tags" Target="../tags/tag150.xml"/><Relationship Id="rId11" Type="http://schemas.openxmlformats.org/officeDocument/2006/relationships/image" Target="../media/image6.emf"/><Relationship Id="rId5" Type="http://schemas.openxmlformats.org/officeDocument/2006/relationships/tags" Target="../tags/tag149.xml"/><Relationship Id="rId10" Type="http://schemas.openxmlformats.org/officeDocument/2006/relationships/oleObject" Target="../embeddings/oleObject3.bin"/><Relationship Id="rId4" Type="http://schemas.openxmlformats.org/officeDocument/2006/relationships/tags" Target="../tags/tag148.xml"/><Relationship Id="rId9" Type="http://schemas.openxmlformats.org/officeDocument/2006/relationships/notesSlide" Target="../notesSlides/notesSlide17.xml"/></Relationships>
</file>

<file path=ppt/slides/_rels/slide240.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slideLayout" Target="../slideLayouts/slideLayout28.xml"/><Relationship Id="rId7" Type="http://schemas.openxmlformats.org/officeDocument/2006/relationships/image" Target="../media/image50.png"/><Relationship Id="rId2" Type="http://schemas.openxmlformats.org/officeDocument/2006/relationships/tags" Target="../tags/tag1134.xml"/><Relationship Id="rId1" Type="http://schemas.openxmlformats.org/officeDocument/2006/relationships/tags" Target="../tags/tag1133.xml"/><Relationship Id="rId6" Type="http://schemas.openxmlformats.org/officeDocument/2006/relationships/image" Target="../media/image44.png"/><Relationship Id="rId5" Type="http://schemas.openxmlformats.org/officeDocument/2006/relationships/oleObject" Target="../embeddings/oleObject60.bin"/><Relationship Id="rId4" Type="http://schemas.openxmlformats.org/officeDocument/2006/relationships/notesSlide" Target="../notesSlides/notesSlide225.xml"/><Relationship Id="rId9" Type="http://schemas.openxmlformats.org/officeDocument/2006/relationships/image" Target="../media/image40.emf"/></Relationships>
</file>

<file path=ppt/slides/_rels/slide241.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slideLayout" Target="../slideLayouts/slideLayout28.xml"/><Relationship Id="rId7" Type="http://schemas.openxmlformats.org/officeDocument/2006/relationships/image" Target="../media/image40.emf"/><Relationship Id="rId2" Type="http://schemas.openxmlformats.org/officeDocument/2006/relationships/tags" Target="../tags/tag1136.xml"/><Relationship Id="rId1" Type="http://schemas.openxmlformats.org/officeDocument/2006/relationships/tags" Target="../tags/tag1135.xml"/><Relationship Id="rId6" Type="http://schemas.openxmlformats.org/officeDocument/2006/relationships/image" Target="../media/image45.emf"/><Relationship Id="rId5" Type="http://schemas.openxmlformats.org/officeDocument/2006/relationships/oleObject" Target="../embeddings/oleObject61.bin"/><Relationship Id="rId4" Type="http://schemas.openxmlformats.org/officeDocument/2006/relationships/notesSlide" Target="../notesSlides/notesSlide226.xml"/></Relationships>
</file>

<file path=ppt/slides/_rels/slide242.xml.rels><?xml version="1.0" encoding="UTF-8" standalone="yes"?>
<Relationships xmlns="http://schemas.openxmlformats.org/package/2006/relationships"><Relationship Id="rId8" Type="http://schemas.openxmlformats.org/officeDocument/2006/relationships/image" Target="../media/image45.emf"/><Relationship Id="rId3" Type="http://schemas.openxmlformats.org/officeDocument/2006/relationships/slideLayout" Target="../slideLayouts/slideLayout28.xml"/><Relationship Id="rId7" Type="http://schemas.openxmlformats.org/officeDocument/2006/relationships/image" Target="../media/image41.emf"/><Relationship Id="rId2" Type="http://schemas.openxmlformats.org/officeDocument/2006/relationships/tags" Target="../tags/tag1138.xml"/><Relationship Id="rId1" Type="http://schemas.openxmlformats.org/officeDocument/2006/relationships/tags" Target="../tags/tag1137.xml"/><Relationship Id="rId6" Type="http://schemas.openxmlformats.org/officeDocument/2006/relationships/image" Target="../media/image40.emf"/><Relationship Id="rId11" Type="http://schemas.openxmlformats.org/officeDocument/2006/relationships/image" Target="../media/image43.emf"/><Relationship Id="rId5" Type="http://schemas.openxmlformats.org/officeDocument/2006/relationships/oleObject" Target="../embeddings/oleObject62.bin"/><Relationship Id="rId10" Type="http://schemas.openxmlformats.org/officeDocument/2006/relationships/image" Target="../media/image56.png"/><Relationship Id="rId4" Type="http://schemas.openxmlformats.org/officeDocument/2006/relationships/notesSlide" Target="../notesSlides/notesSlide227.xml"/><Relationship Id="rId9" Type="http://schemas.openxmlformats.org/officeDocument/2006/relationships/image" Target="../media/image50.png"/></Relationships>
</file>

<file path=ppt/slides/_rels/slide243.xml.rels><?xml version="1.0" encoding="UTF-8" standalone="yes"?>
<Relationships xmlns="http://schemas.openxmlformats.org/package/2006/relationships"><Relationship Id="rId8" Type="http://schemas.openxmlformats.org/officeDocument/2006/relationships/image" Target="../media/image45.emf"/><Relationship Id="rId3" Type="http://schemas.openxmlformats.org/officeDocument/2006/relationships/slideLayout" Target="../slideLayouts/slideLayout28.xml"/><Relationship Id="rId7" Type="http://schemas.openxmlformats.org/officeDocument/2006/relationships/image" Target="../media/image44.png"/><Relationship Id="rId2" Type="http://schemas.openxmlformats.org/officeDocument/2006/relationships/tags" Target="../tags/tag1140.xml"/><Relationship Id="rId1" Type="http://schemas.openxmlformats.org/officeDocument/2006/relationships/tags" Target="../tags/tag1139.xml"/><Relationship Id="rId6" Type="http://schemas.openxmlformats.org/officeDocument/2006/relationships/image" Target="../media/image55.png"/><Relationship Id="rId5" Type="http://schemas.openxmlformats.org/officeDocument/2006/relationships/oleObject" Target="../embeddings/oleObject63.bin"/><Relationship Id="rId4" Type="http://schemas.openxmlformats.org/officeDocument/2006/relationships/notesSlide" Target="../notesSlides/notesSlide228.xml"/></Relationships>
</file>

<file path=ppt/slides/_rels/slide244.xml.rels><?xml version="1.0" encoding="UTF-8" standalone="yes"?>
<Relationships xmlns="http://schemas.openxmlformats.org/package/2006/relationships"><Relationship Id="rId8" Type="http://schemas.openxmlformats.org/officeDocument/2006/relationships/image" Target="../media/image45.emf"/><Relationship Id="rId3" Type="http://schemas.openxmlformats.org/officeDocument/2006/relationships/slideLayout" Target="../slideLayouts/slideLayout28.xml"/><Relationship Id="rId7" Type="http://schemas.openxmlformats.org/officeDocument/2006/relationships/image" Target="../media/image55.png"/><Relationship Id="rId2" Type="http://schemas.openxmlformats.org/officeDocument/2006/relationships/tags" Target="../tags/tag1142.xml"/><Relationship Id="rId1" Type="http://schemas.openxmlformats.org/officeDocument/2006/relationships/tags" Target="../tags/tag1141.xml"/><Relationship Id="rId6" Type="http://schemas.openxmlformats.org/officeDocument/2006/relationships/image" Target="../media/image44.png"/><Relationship Id="rId5" Type="http://schemas.openxmlformats.org/officeDocument/2006/relationships/oleObject" Target="../embeddings/oleObject64.bin"/><Relationship Id="rId10" Type="http://schemas.openxmlformats.org/officeDocument/2006/relationships/image" Target="../media/image47.png"/><Relationship Id="rId4" Type="http://schemas.openxmlformats.org/officeDocument/2006/relationships/notesSlide" Target="../notesSlides/notesSlide229.xml"/><Relationship Id="rId9" Type="http://schemas.openxmlformats.org/officeDocument/2006/relationships/image" Target="../media/image46.png"/></Relationships>
</file>

<file path=ppt/slides/_rels/slide245.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slideLayout" Target="../slideLayouts/slideLayout28.xml"/><Relationship Id="rId7" Type="http://schemas.openxmlformats.org/officeDocument/2006/relationships/image" Target="../media/image41.emf"/><Relationship Id="rId2" Type="http://schemas.openxmlformats.org/officeDocument/2006/relationships/tags" Target="../tags/tag1144.xml"/><Relationship Id="rId1" Type="http://schemas.openxmlformats.org/officeDocument/2006/relationships/tags" Target="../tags/tag1143.xml"/><Relationship Id="rId6" Type="http://schemas.openxmlformats.org/officeDocument/2006/relationships/oleObject" Target="../embeddings/oleObject65.bin"/><Relationship Id="rId5" Type="http://schemas.openxmlformats.org/officeDocument/2006/relationships/chart" Target="../charts/chart70.xml"/><Relationship Id="rId4" Type="http://schemas.openxmlformats.org/officeDocument/2006/relationships/notesSlide" Target="../notesSlides/notesSlide230.xml"/><Relationship Id="rId9" Type="http://schemas.openxmlformats.org/officeDocument/2006/relationships/image" Target="../media/image40.emf"/></Relationships>
</file>

<file path=ppt/slides/_rels/slide246.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slideLayout" Target="../slideLayouts/slideLayout28.xml"/><Relationship Id="rId7" Type="http://schemas.openxmlformats.org/officeDocument/2006/relationships/image" Target="../media/image55.png"/><Relationship Id="rId2" Type="http://schemas.openxmlformats.org/officeDocument/2006/relationships/tags" Target="../tags/tag1146.xml"/><Relationship Id="rId1" Type="http://schemas.openxmlformats.org/officeDocument/2006/relationships/tags" Target="../tags/tag1145.xml"/><Relationship Id="rId6" Type="http://schemas.openxmlformats.org/officeDocument/2006/relationships/image" Target="../media/image57.png"/><Relationship Id="rId5" Type="http://schemas.openxmlformats.org/officeDocument/2006/relationships/oleObject" Target="../embeddings/oleObject66.bin"/><Relationship Id="rId10" Type="http://schemas.openxmlformats.org/officeDocument/2006/relationships/image" Target="../media/image45.emf"/><Relationship Id="rId4" Type="http://schemas.openxmlformats.org/officeDocument/2006/relationships/notesSlide" Target="../notesSlides/notesSlide231.xml"/><Relationship Id="rId9" Type="http://schemas.openxmlformats.org/officeDocument/2006/relationships/image" Target="../media/image59.png"/></Relationships>
</file>

<file path=ppt/slides/_rels/slide247.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slideLayout" Target="../slideLayouts/slideLayout28.xml"/><Relationship Id="rId7" Type="http://schemas.openxmlformats.org/officeDocument/2006/relationships/image" Target="../media/image61.png"/><Relationship Id="rId2" Type="http://schemas.openxmlformats.org/officeDocument/2006/relationships/tags" Target="../tags/tag1148.xml"/><Relationship Id="rId1" Type="http://schemas.openxmlformats.org/officeDocument/2006/relationships/tags" Target="../tags/tag1147.xml"/><Relationship Id="rId6" Type="http://schemas.openxmlformats.org/officeDocument/2006/relationships/image" Target="../media/image60.png"/><Relationship Id="rId11" Type="http://schemas.openxmlformats.org/officeDocument/2006/relationships/image" Target="../media/image63.png"/><Relationship Id="rId5" Type="http://schemas.openxmlformats.org/officeDocument/2006/relationships/oleObject" Target="../embeddings/oleObject67.bin"/><Relationship Id="rId10" Type="http://schemas.openxmlformats.org/officeDocument/2006/relationships/image" Target="../media/image46.png"/><Relationship Id="rId4" Type="http://schemas.openxmlformats.org/officeDocument/2006/relationships/notesSlide" Target="../notesSlides/notesSlide232.xml"/><Relationship Id="rId9" Type="http://schemas.openxmlformats.org/officeDocument/2006/relationships/image" Target="../media/image45.emf"/></Relationships>
</file>

<file path=ppt/slides/_rels/slide248.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image" Target="../media/image65.png"/><Relationship Id="rId2" Type="http://schemas.openxmlformats.org/officeDocument/2006/relationships/tags" Target="../tags/tag1150.xml"/><Relationship Id="rId1" Type="http://schemas.openxmlformats.org/officeDocument/2006/relationships/tags" Target="../tags/tag1149.xml"/><Relationship Id="rId6" Type="http://schemas.openxmlformats.org/officeDocument/2006/relationships/image" Target="../media/image64.png"/><Relationship Id="rId5" Type="http://schemas.openxmlformats.org/officeDocument/2006/relationships/oleObject" Target="../embeddings/oleObject68.bin"/><Relationship Id="rId4" Type="http://schemas.openxmlformats.org/officeDocument/2006/relationships/notesSlide" Target="../notesSlides/notesSlide233.xml"/></Relationships>
</file>

<file path=ppt/slides/_rels/slide249.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152.xml"/><Relationship Id="rId1" Type="http://schemas.openxmlformats.org/officeDocument/2006/relationships/tags" Target="../tags/tag1151.xml"/><Relationship Id="rId5" Type="http://schemas.openxmlformats.org/officeDocument/2006/relationships/oleObject" Target="../embeddings/oleObject69.bin"/><Relationship Id="rId4" Type="http://schemas.openxmlformats.org/officeDocument/2006/relationships/notesSlide" Target="../notesSlides/notesSlide23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8.xml"/></Relationships>
</file>

<file path=ppt/slides/_rels/slide250.xml.rels><?xml version="1.0" encoding="UTF-8" standalone="yes"?>
<Relationships xmlns="http://schemas.openxmlformats.org/package/2006/relationships"><Relationship Id="rId8" Type="http://schemas.openxmlformats.org/officeDocument/2006/relationships/image" Target="../media/image45.emf"/><Relationship Id="rId13" Type="http://schemas.openxmlformats.org/officeDocument/2006/relationships/image" Target="../media/image43.emf"/><Relationship Id="rId3" Type="http://schemas.openxmlformats.org/officeDocument/2006/relationships/slideLayout" Target="../slideLayouts/slideLayout28.xml"/><Relationship Id="rId7" Type="http://schemas.openxmlformats.org/officeDocument/2006/relationships/image" Target="../media/image55.png"/><Relationship Id="rId12" Type="http://schemas.openxmlformats.org/officeDocument/2006/relationships/image" Target="../media/image42.emf"/><Relationship Id="rId2" Type="http://schemas.openxmlformats.org/officeDocument/2006/relationships/tags" Target="../tags/tag1154.xml"/><Relationship Id="rId1" Type="http://schemas.openxmlformats.org/officeDocument/2006/relationships/tags" Target="../tags/tag1153.xml"/><Relationship Id="rId6" Type="http://schemas.openxmlformats.org/officeDocument/2006/relationships/image" Target="../media/image44.png"/><Relationship Id="rId11" Type="http://schemas.openxmlformats.org/officeDocument/2006/relationships/image" Target="../media/image40.emf"/><Relationship Id="rId5" Type="http://schemas.openxmlformats.org/officeDocument/2006/relationships/oleObject" Target="../embeddings/oleObject70.bin"/><Relationship Id="rId10" Type="http://schemas.openxmlformats.org/officeDocument/2006/relationships/image" Target="../media/image56.png"/><Relationship Id="rId4" Type="http://schemas.openxmlformats.org/officeDocument/2006/relationships/notesSlide" Target="../notesSlides/notesSlide235.xml"/><Relationship Id="rId9" Type="http://schemas.openxmlformats.org/officeDocument/2006/relationships/image" Target="../media/image50.png"/></Relationships>
</file>

<file path=ppt/slides/_rels/slide25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52.xml.rels><?xml version="1.0" encoding="UTF-8" standalone="yes"?>
<Relationships xmlns="http://schemas.openxmlformats.org/package/2006/relationships"><Relationship Id="rId117" Type="http://schemas.openxmlformats.org/officeDocument/2006/relationships/image" Target="../media/image175.emf"/><Relationship Id="rId21" Type="http://schemas.openxmlformats.org/officeDocument/2006/relationships/image" Target="../media/image80.emf"/><Relationship Id="rId42" Type="http://schemas.openxmlformats.org/officeDocument/2006/relationships/image" Target="../media/image100.emf"/><Relationship Id="rId63" Type="http://schemas.openxmlformats.org/officeDocument/2006/relationships/image" Target="../media/image121.emf"/><Relationship Id="rId84" Type="http://schemas.openxmlformats.org/officeDocument/2006/relationships/image" Target="../media/image142.emf"/><Relationship Id="rId138" Type="http://schemas.openxmlformats.org/officeDocument/2006/relationships/image" Target="../media/image196.emf"/><Relationship Id="rId159" Type="http://schemas.openxmlformats.org/officeDocument/2006/relationships/image" Target="../media/image216.emf"/><Relationship Id="rId170" Type="http://schemas.openxmlformats.org/officeDocument/2006/relationships/image" Target="../media/image227.emf"/><Relationship Id="rId107" Type="http://schemas.openxmlformats.org/officeDocument/2006/relationships/image" Target="../media/image165.emf"/><Relationship Id="rId11" Type="http://schemas.openxmlformats.org/officeDocument/2006/relationships/image" Target="../media/image70.emf"/><Relationship Id="rId32" Type="http://schemas.openxmlformats.org/officeDocument/2006/relationships/image" Target="../media/image91.emf"/><Relationship Id="rId53" Type="http://schemas.openxmlformats.org/officeDocument/2006/relationships/image" Target="../media/image111.emf"/><Relationship Id="rId74" Type="http://schemas.openxmlformats.org/officeDocument/2006/relationships/image" Target="../media/image132.emf"/><Relationship Id="rId128" Type="http://schemas.openxmlformats.org/officeDocument/2006/relationships/image" Target="../media/image186.emf"/><Relationship Id="rId149" Type="http://schemas.openxmlformats.org/officeDocument/2006/relationships/image" Target="../media/image207.emf"/><Relationship Id="rId5" Type="http://schemas.openxmlformats.org/officeDocument/2006/relationships/notesSlide" Target="../notesSlides/notesSlide236.xml"/><Relationship Id="rId95" Type="http://schemas.openxmlformats.org/officeDocument/2006/relationships/image" Target="../media/image153.emf"/><Relationship Id="rId160" Type="http://schemas.openxmlformats.org/officeDocument/2006/relationships/image" Target="../media/image217.emf"/><Relationship Id="rId22" Type="http://schemas.openxmlformats.org/officeDocument/2006/relationships/image" Target="../media/image81.emf"/><Relationship Id="rId43" Type="http://schemas.openxmlformats.org/officeDocument/2006/relationships/image" Target="../media/image101.emf"/><Relationship Id="rId64" Type="http://schemas.openxmlformats.org/officeDocument/2006/relationships/image" Target="../media/image122.emf"/><Relationship Id="rId118" Type="http://schemas.openxmlformats.org/officeDocument/2006/relationships/image" Target="../media/image176.emf"/><Relationship Id="rId139" Type="http://schemas.openxmlformats.org/officeDocument/2006/relationships/image" Target="../media/image197.emf"/><Relationship Id="rId85" Type="http://schemas.openxmlformats.org/officeDocument/2006/relationships/image" Target="../media/image143.emf"/><Relationship Id="rId150" Type="http://schemas.openxmlformats.org/officeDocument/2006/relationships/image" Target="../media/image208.emf"/><Relationship Id="rId171" Type="http://schemas.openxmlformats.org/officeDocument/2006/relationships/image" Target="../media/image228.emf"/><Relationship Id="rId12" Type="http://schemas.openxmlformats.org/officeDocument/2006/relationships/image" Target="../media/image71.emf"/><Relationship Id="rId33" Type="http://schemas.openxmlformats.org/officeDocument/2006/relationships/image" Target="../media/image92.emf"/><Relationship Id="rId108" Type="http://schemas.openxmlformats.org/officeDocument/2006/relationships/image" Target="../media/image166.emf"/><Relationship Id="rId129" Type="http://schemas.openxmlformats.org/officeDocument/2006/relationships/image" Target="../media/image187.emf"/><Relationship Id="rId54" Type="http://schemas.openxmlformats.org/officeDocument/2006/relationships/image" Target="../media/image112.emf"/><Relationship Id="rId75" Type="http://schemas.openxmlformats.org/officeDocument/2006/relationships/image" Target="../media/image133.emf"/><Relationship Id="rId96" Type="http://schemas.openxmlformats.org/officeDocument/2006/relationships/image" Target="../media/image154.emf"/><Relationship Id="rId140" Type="http://schemas.openxmlformats.org/officeDocument/2006/relationships/image" Target="../media/image198.emf"/><Relationship Id="rId161" Type="http://schemas.openxmlformats.org/officeDocument/2006/relationships/image" Target="../media/image218.emf"/><Relationship Id="rId1" Type="http://schemas.openxmlformats.org/officeDocument/2006/relationships/tags" Target="../tags/tag1155.xml"/><Relationship Id="rId6" Type="http://schemas.openxmlformats.org/officeDocument/2006/relationships/oleObject" Target="../embeddings/oleObject71.bin"/><Relationship Id="rId23" Type="http://schemas.openxmlformats.org/officeDocument/2006/relationships/image" Target="../media/image82.emf"/><Relationship Id="rId28" Type="http://schemas.openxmlformats.org/officeDocument/2006/relationships/image" Target="../media/image87.emf"/><Relationship Id="rId49" Type="http://schemas.openxmlformats.org/officeDocument/2006/relationships/image" Target="../media/image107.emf"/><Relationship Id="rId114" Type="http://schemas.openxmlformats.org/officeDocument/2006/relationships/image" Target="../media/image172.emf"/><Relationship Id="rId119" Type="http://schemas.openxmlformats.org/officeDocument/2006/relationships/image" Target="../media/image177.emf"/><Relationship Id="rId44" Type="http://schemas.openxmlformats.org/officeDocument/2006/relationships/image" Target="../media/image102.emf"/><Relationship Id="rId60" Type="http://schemas.openxmlformats.org/officeDocument/2006/relationships/image" Target="../media/image118.emf"/><Relationship Id="rId65" Type="http://schemas.openxmlformats.org/officeDocument/2006/relationships/image" Target="../media/image123.emf"/><Relationship Id="rId81" Type="http://schemas.openxmlformats.org/officeDocument/2006/relationships/image" Target="../media/image139.emf"/><Relationship Id="rId86" Type="http://schemas.openxmlformats.org/officeDocument/2006/relationships/image" Target="../media/image144.emf"/><Relationship Id="rId130" Type="http://schemas.openxmlformats.org/officeDocument/2006/relationships/image" Target="../media/image188.emf"/><Relationship Id="rId135" Type="http://schemas.openxmlformats.org/officeDocument/2006/relationships/image" Target="../media/image193.emf"/><Relationship Id="rId151" Type="http://schemas.openxmlformats.org/officeDocument/2006/relationships/image" Target="../media/image209.emf"/><Relationship Id="rId156" Type="http://schemas.openxmlformats.org/officeDocument/2006/relationships/image" Target="../media/image213.emf"/><Relationship Id="rId172" Type="http://schemas.openxmlformats.org/officeDocument/2006/relationships/image" Target="../media/image229.emf"/><Relationship Id="rId13" Type="http://schemas.openxmlformats.org/officeDocument/2006/relationships/image" Target="../media/image72.emf"/><Relationship Id="rId18" Type="http://schemas.openxmlformats.org/officeDocument/2006/relationships/image" Target="../media/image77.emf"/><Relationship Id="rId39" Type="http://schemas.openxmlformats.org/officeDocument/2006/relationships/image" Target="../media/image45.emf"/><Relationship Id="rId109" Type="http://schemas.openxmlformats.org/officeDocument/2006/relationships/image" Target="../media/image167.emf"/><Relationship Id="rId34" Type="http://schemas.openxmlformats.org/officeDocument/2006/relationships/image" Target="../media/image93.emf"/><Relationship Id="rId50" Type="http://schemas.openxmlformats.org/officeDocument/2006/relationships/image" Target="../media/image108.emf"/><Relationship Id="rId55" Type="http://schemas.openxmlformats.org/officeDocument/2006/relationships/image" Target="../media/image113.emf"/><Relationship Id="rId76" Type="http://schemas.openxmlformats.org/officeDocument/2006/relationships/image" Target="../media/image134.emf"/><Relationship Id="rId97" Type="http://schemas.openxmlformats.org/officeDocument/2006/relationships/image" Target="../media/image155.emf"/><Relationship Id="rId104" Type="http://schemas.openxmlformats.org/officeDocument/2006/relationships/image" Target="../media/image162.emf"/><Relationship Id="rId120" Type="http://schemas.openxmlformats.org/officeDocument/2006/relationships/image" Target="../media/image178.emf"/><Relationship Id="rId125" Type="http://schemas.openxmlformats.org/officeDocument/2006/relationships/image" Target="../media/image183.emf"/><Relationship Id="rId141" Type="http://schemas.openxmlformats.org/officeDocument/2006/relationships/image" Target="../media/image199.emf"/><Relationship Id="rId146" Type="http://schemas.openxmlformats.org/officeDocument/2006/relationships/image" Target="../media/image204.emf"/><Relationship Id="rId167" Type="http://schemas.openxmlformats.org/officeDocument/2006/relationships/image" Target="../media/image224.emf"/><Relationship Id="rId7" Type="http://schemas.openxmlformats.org/officeDocument/2006/relationships/image" Target="../media/image66.emf"/><Relationship Id="rId71" Type="http://schemas.openxmlformats.org/officeDocument/2006/relationships/image" Target="../media/image129.emf"/><Relationship Id="rId92" Type="http://schemas.openxmlformats.org/officeDocument/2006/relationships/image" Target="../media/image150.emf"/><Relationship Id="rId162" Type="http://schemas.openxmlformats.org/officeDocument/2006/relationships/image" Target="../media/image219.emf"/><Relationship Id="rId2" Type="http://schemas.openxmlformats.org/officeDocument/2006/relationships/tags" Target="../tags/tag1156.xml"/><Relationship Id="rId29" Type="http://schemas.openxmlformats.org/officeDocument/2006/relationships/image" Target="../media/image88.emf"/><Relationship Id="rId24" Type="http://schemas.openxmlformats.org/officeDocument/2006/relationships/image" Target="../media/image83.emf"/><Relationship Id="rId40" Type="http://schemas.openxmlformats.org/officeDocument/2006/relationships/image" Target="../media/image98.emf"/><Relationship Id="rId45" Type="http://schemas.openxmlformats.org/officeDocument/2006/relationships/image" Target="../media/image103.emf"/><Relationship Id="rId66" Type="http://schemas.openxmlformats.org/officeDocument/2006/relationships/image" Target="../media/image124.emf"/><Relationship Id="rId87" Type="http://schemas.openxmlformats.org/officeDocument/2006/relationships/image" Target="../media/image145.emf"/><Relationship Id="rId110" Type="http://schemas.openxmlformats.org/officeDocument/2006/relationships/image" Target="../media/image168.emf"/><Relationship Id="rId115" Type="http://schemas.openxmlformats.org/officeDocument/2006/relationships/image" Target="../media/image173.emf"/><Relationship Id="rId131" Type="http://schemas.openxmlformats.org/officeDocument/2006/relationships/image" Target="../media/image189.emf"/><Relationship Id="rId136" Type="http://schemas.openxmlformats.org/officeDocument/2006/relationships/image" Target="../media/image194.emf"/><Relationship Id="rId157" Type="http://schemas.openxmlformats.org/officeDocument/2006/relationships/image" Target="../media/image214.emf"/><Relationship Id="rId61" Type="http://schemas.openxmlformats.org/officeDocument/2006/relationships/image" Target="../media/image119.emf"/><Relationship Id="rId82" Type="http://schemas.openxmlformats.org/officeDocument/2006/relationships/image" Target="../media/image140.emf"/><Relationship Id="rId152" Type="http://schemas.openxmlformats.org/officeDocument/2006/relationships/image" Target="../media/image210.emf"/><Relationship Id="rId173" Type="http://schemas.openxmlformats.org/officeDocument/2006/relationships/image" Target="../media/image230.emf"/><Relationship Id="rId19" Type="http://schemas.openxmlformats.org/officeDocument/2006/relationships/image" Target="../media/image78.emf"/><Relationship Id="rId14" Type="http://schemas.openxmlformats.org/officeDocument/2006/relationships/image" Target="../media/image73.emf"/><Relationship Id="rId30" Type="http://schemas.openxmlformats.org/officeDocument/2006/relationships/image" Target="../media/image89.emf"/><Relationship Id="rId35" Type="http://schemas.openxmlformats.org/officeDocument/2006/relationships/image" Target="../media/image94.emf"/><Relationship Id="rId56" Type="http://schemas.openxmlformats.org/officeDocument/2006/relationships/image" Target="../media/image114.emf"/><Relationship Id="rId77" Type="http://schemas.openxmlformats.org/officeDocument/2006/relationships/image" Target="../media/image135.emf"/><Relationship Id="rId100" Type="http://schemas.openxmlformats.org/officeDocument/2006/relationships/image" Target="../media/image158.emf"/><Relationship Id="rId105" Type="http://schemas.openxmlformats.org/officeDocument/2006/relationships/image" Target="../media/image163.emf"/><Relationship Id="rId126" Type="http://schemas.openxmlformats.org/officeDocument/2006/relationships/image" Target="../media/image184.emf"/><Relationship Id="rId147" Type="http://schemas.openxmlformats.org/officeDocument/2006/relationships/image" Target="../media/image205.emf"/><Relationship Id="rId168" Type="http://schemas.openxmlformats.org/officeDocument/2006/relationships/image" Target="../media/image225.emf"/><Relationship Id="rId8" Type="http://schemas.openxmlformats.org/officeDocument/2006/relationships/image" Target="../media/image67.emf"/><Relationship Id="rId51" Type="http://schemas.openxmlformats.org/officeDocument/2006/relationships/image" Target="../media/image109.emf"/><Relationship Id="rId72" Type="http://schemas.openxmlformats.org/officeDocument/2006/relationships/image" Target="../media/image130.emf"/><Relationship Id="rId93" Type="http://schemas.openxmlformats.org/officeDocument/2006/relationships/image" Target="../media/image151.emf"/><Relationship Id="rId98" Type="http://schemas.openxmlformats.org/officeDocument/2006/relationships/image" Target="../media/image156.emf"/><Relationship Id="rId121" Type="http://schemas.openxmlformats.org/officeDocument/2006/relationships/image" Target="../media/image179.emf"/><Relationship Id="rId142" Type="http://schemas.openxmlformats.org/officeDocument/2006/relationships/image" Target="../media/image200.emf"/><Relationship Id="rId163" Type="http://schemas.openxmlformats.org/officeDocument/2006/relationships/image" Target="../media/image220.emf"/><Relationship Id="rId3" Type="http://schemas.openxmlformats.org/officeDocument/2006/relationships/tags" Target="../tags/tag1157.xml"/><Relationship Id="rId25" Type="http://schemas.openxmlformats.org/officeDocument/2006/relationships/image" Target="../media/image84.emf"/><Relationship Id="rId46" Type="http://schemas.openxmlformats.org/officeDocument/2006/relationships/image" Target="../media/image104.emf"/><Relationship Id="rId67" Type="http://schemas.openxmlformats.org/officeDocument/2006/relationships/image" Target="../media/image125.emf"/><Relationship Id="rId116" Type="http://schemas.openxmlformats.org/officeDocument/2006/relationships/image" Target="../media/image174.emf"/><Relationship Id="rId137" Type="http://schemas.openxmlformats.org/officeDocument/2006/relationships/image" Target="../media/image195.emf"/><Relationship Id="rId158" Type="http://schemas.openxmlformats.org/officeDocument/2006/relationships/image" Target="../media/image215.emf"/><Relationship Id="rId20" Type="http://schemas.openxmlformats.org/officeDocument/2006/relationships/image" Target="../media/image79.emf"/><Relationship Id="rId41" Type="http://schemas.openxmlformats.org/officeDocument/2006/relationships/image" Target="../media/image99.emf"/><Relationship Id="rId62" Type="http://schemas.openxmlformats.org/officeDocument/2006/relationships/image" Target="../media/image120.emf"/><Relationship Id="rId83" Type="http://schemas.openxmlformats.org/officeDocument/2006/relationships/image" Target="../media/image141.emf"/><Relationship Id="rId88" Type="http://schemas.openxmlformats.org/officeDocument/2006/relationships/image" Target="../media/image146.emf"/><Relationship Id="rId111" Type="http://schemas.openxmlformats.org/officeDocument/2006/relationships/image" Target="../media/image169.emf"/><Relationship Id="rId132" Type="http://schemas.openxmlformats.org/officeDocument/2006/relationships/image" Target="../media/image190.emf"/><Relationship Id="rId153" Type="http://schemas.openxmlformats.org/officeDocument/2006/relationships/image" Target="../media/image211.emf"/><Relationship Id="rId174" Type="http://schemas.openxmlformats.org/officeDocument/2006/relationships/image" Target="../media/image231.emf"/><Relationship Id="rId15" Type="http://schemas.openxmlformats.org/officeDocument/2006/relationships/image" Target="../media/image74.emf"/><Relationship Id="rId36" Type="http://schemas.openxmlformats.org/officeDocument/2006/relationships/image" Target="../media/image95.emf"/><Relationship Id="rId57" Type="http://schemas.openxmlformats.org/officeDocument/2006/relationships/image" Target="../media/image115.emf"/><Relationship Id="rId106" Type="http://schemas.openxmlformats.org/officeDocument/2006/relationships/image" Target="../media/image164.emf"/><Relationship Id="rId127" Type="http://schemas.openxmlformats.org/officeDocument/2006/relationships/image" Target="../media/image185.emf"/><Relationship Id="rId10" Type="http://schemas.openxmlformats.org/officeDocument/2006/relationships/image" Target="../media/image69.emf"/><Relationship Id="rId31" Type="http://schemas.openxmlformats.org/officeDocument/2006/relationships/image" Target="../media/image90.emf"/><Relationship Id="rId52" Type="http://schemas.openxmlformats.org/officeDocument/2006/relationships/image" Target="../media/image110.emf"/><Relationship Id="rId73" Type="http://schemas.openxmlformats.org/officeDocument/2006/relationships/image" Target="../media/image131.emf"/><Relationship Id="rId78" Type="http://schemas.openxmlformats.org/officeDocument/2006/relationships/image" Target="../media/image136.emf"/><Relationship Id="rId94" Type="http://schemas.openxmlformats.org/officeDocument/2006/relationships/image" Target="../media/image152.emf"/><Relationship Id="rId99" Type="http://schemas.openxmlformats.org/officeDocument/2006/relationships/image" Target="../media/image157.emf"/><Relationship Id="rId101" Type="http://schemas.openxmlformats.org/officeDocument/2006/relationships/image" Target="../media/image159.emf"/><Relationship Id="rId122" Type="http://schemas.openxmlformats.org/officeDocument/2006/relationships/image" Target="../media/image180.emf"/><Relationship Id="rId143" Type="http://schemas.openxmlformats.org/officeDocument/2006/relationships/image" Target="../media/image201.emf"/><Relationship Id="rId148" Type="http://schemas.openxmlformats.org/officeDocument/2006/relationships/image" Target="../media/image206.emf"/><Relationship Id="rId164" Type="http://schemas.openxmlformats.org/officeDocument/2006/relationships/image" Target="../media/image221.emf"/><Relationship Id="rId169" Type="http://schemas.openxmlformats.org/officeDocument/2006/relationships/image" Target="../media/image226.emf"/><Relationship Id="rId4" Type="http://schemas.openxmlformats.org/officeDocument/2006/relationships/slideLayout" Target="../slideLayouts/slideLayout28.xml"/><Relationship Id="rId9" Type="http://schemas.openxmlformats.org/officeDocument/2006/relationships/image" Target="../media/image68.emf"/><Relationship Id="rId26" Type="http://schemas.openxmlformats.org/officeDocument/2006/relationships/image" Target="../media/image85.emf"/><Relationship Id="rId47" Type="http://schemas.openxmlformats.org/officeDocument/2006/relationships/image" Target="../media/image105.emf"/><Relationship Id="rId68" Type="http://schemas.openxmlformats.org/officeDocument/2006/relationships/image" Target="../media/image126.emf"/><Relationship Id="rId89" Type="http://schemas.openxmlformats.org/officeDocument/2006/relationships/image" Target="../media/image147.emf"/><Relationship Id="rId112" Type="http://schemas.openxmlformats.org/officeDocument/2006/relationships/image" Target="../media/image170.emf"/><Relationship Id="rId133" Type="http://schemas.openxmlformats.org/officeDocument/2006/relationships/image" Target="../media/image191.emf"/><Relationship Id="rId154" Type="http://schemas.openxmlformats.org/officeDocument/2006/relationships/image" Target="../media/image49.emf"/><Relationship Id="rId175" Type="http://schemas.openxmlformats.org/officeDocument/2006/relationships/image" Target="../media/image232.emf"/><Relationship Id="rId16" Type="http://schemas.openxmlformats.org/officeDocument/2006/relationships/image" Target="../media/image75.emf"/><Relationship Id="rId37" Type="http://schemas.openxmlformats.org/officeDocument/2006/relationships/image" Target="../media/image96.emf"/><Relationship Id="rId58" Type="http://schemas.openxmlformats.org/officeDocument/2006/relationships/image" Target="../media/image116.emf"/><Relationship Id="rId79" Type="http://schemas.openxmlformats.org/officeDocument/2006/relationships/image" Target="../media/image137.emf"/><Relationship Id="rId102" Type="http://schemas.openxmlformats.org/officeDocument/2006/relationships/image" Target="../media/image160.emf"/><Relationship Id="rId123" Type="http://schemas.openxmlformats.org/officeDocument/2006/relationships/image" Target="../media/image181.emf"/><Relationship Id="rId144" Type="http://schemas.openxmlformats.org/officeDocument/2006/relationships/image" Target="../media/image202.emf"/><Relationship Id="rId90" Type="http://schemas.openxmlformats.org/officeDocument/2006/relationships/image" Target="../media/image148.emf"/><Relationship Id="rId165" Type="http://schemas.openxmlformats.org/officeDocument/2006/relationships/image" Target="../media/image222.emf"/><Relationship Id="rId27" Type="http://schemas.openxmlformats.org/officeDocument/2006/relationships/image" Target="../media/image86.emf"/><Relationship Id="rId48" Type="http://schemas.openxmlformats.org/officeDocument/2006/relationships/image" Target="../media/image106.emf"/><Relationship Id="rId69" Type="http://schemas.openxmlformats.org/officeDocument/2006/relationships/image" Target="../media/image127.emf"/><Relationship Id="rId113" Type="http://schemas.openxmlformats.org/officeDocument/2006/relationships/image" Target="../media/image171.emf"/><Relationship Id="rId134" Type="http://schemas.openxmlformats.org/officeDocument/2006/relationships/image" Target="../media/image192.emf"/><Relationship Id="rId80" Type="http://schemas.openxmlformats.org/officeDocument/2006/relationships/image" Target="../media/image138.emf"/><Relationship Id="rId155" Type="http://schemas.openxmlformats.org/officeDocument/2006/relationships/image" Target="../media/image212.emf"/><Relationship Id="rId176" Type="http://schemas.openxmlformats.org/officeDocument/2006/relationships/image" Target="../media/image233.emf"/><Relationship Id="rId17" Type="http://schemas.openxmlformats.org/officeDocument/2006/relationships/image" Target="../media/image76.emf"/><Relationship Id="rId38" Type="http://schemas.openxmlformats.org/officeDocument/2006/relationships/image" Target="../media/image97.emf"/><Relationship Id="rId59" Type="http://schemas.openxmlformats.org/officeDocument/2006/relationships/image" Target="../media/image117.emf"/><Relationship Id="rId103" Type="http://schemas.openxmlformats.org/officeDocument/2006/relationships/image" Target="../media/image161.emf"/><Relationship Id="rId124" Type="http://schemas.openxmlformats.org/officeDocument/2006/relationships/image" Target="../media/image182.emf"/><Relationship Id="rId70" Type="http://schemas.openxmlformats.org/officeDocument/2006/relationships/image" Target="../media/image128.emf"/><Relationship Id="rId91" Type="http://schemas.openxmlformats.org/officeDocument/2006/relationships/image" Target="../media/image149.emf"/><Relationship Id="rId145" Type="http://schemas.openxmlformats.org/officeDocument/2006/relationships/image" Target="../media/image203.emf"/><Relationship Id="rId166" Type="http://schemas.openxmlformats.org/officeDocument/2006/relationships/image" Target="../media/image223.emf"/></Relationships>
</file>

<file path=ppt/slides/_rels/slide253.xml.rels><?xml version="1.0" encoding="UTF-8" standalone="yes"?>
<Relationships xmlns="http://schemas.openxmlformats.org/package/2006/relationships"><Relationship Id="rId8" Type="http://schemas.openxmlformats.org/officeDocument/2006/relationships/image" Target="../media/image236.png"/><Relationship Id="rId13" Type="http://schemas.openxmlformats.org/officeDocument/2006/relationships/image" Target="../media/image241.png"/><Relationship Id="rId18" Type="http://schemas.openxmlformats.org/officeDocument/2006/relationships/image" Target="../media/image246.png"/><Relationship Id="rId26" Type="http://schemas.openxmlformats.org/officeDocument/2006/relationships/image" Target="../media/image254.png"/><Relationship Id="rId3" Type="http://schemas.openxmlformats.org/officeDocument/2006/relationships/slideLayout" Target="../slideLayouts/slideLayout28.xml"/><Relationship Id="rId21" Type="http://schemas.openxmlformats.org/officeDocument/2006/relationships/image" Target="../media/image249.png"/><Relationship Id="rId7" Type="http://schemas.openxmlformats.org/officeDocument/2006/relationships/image" Target="../media/image235.png"/><Relationship Id="rId12" Type="http://schemas.openxmlformats.org/officeDocument/2006/relationships/image" Target="../media/image240.png"/><Relationship Id="rId17" Type="http://schemas.openxmlformats.org/officeDocument/2006/relationships/image" Target="../media/image245.png"/><Relationship Id="rId25" Type="http://schemas.openxmlformats.org/officeDocument/2006/relationships/image" Target="../media/image253.png"/><Relationship Id="rId2" Type="http://schemas.openxmlformats.org/officeDocument/2006/relationships/tags" Target="../tags/tag1159.xml"/><Relationship Id="rId16" Type="http://schemas.openxmlformats.org/officeDocument/2006/relationships/image" Target="../media/image244.png"/><Relationship Id="rId20" Type="http://schemas.openxmlformats.org/officeDocument/2006/relationships/image" Target="../media/image248.png"/><Relationship Id="rId1" Type="http://schemas.openxmlformats.org/officeDocument/2006/relationships/tags" Target="../tags/tag1158.xml"/><Relationship Id="rId6" Type="http://schemas.openxmlformats.org/officeDocument/2006/relationships/image" Target="../media/image234.png"/><Relationship Id="rId11" Type="http://schemas.openxmlformats.org/officeDocument/2006/relationships/image" Target="../media/image239.png"/><Relationship Id="rId24" Type="http://schemas.openxmlformats.org/officeDocument/2006/relationships/image" Target="../media/image252.png"/><Relationship Id="rId5" Type="http://schemas.openxmlformats.org/officeDocument/2006/relationships/oleObject" Target="../embeddings/oleObject72.bin"/><Relationship Id="rId15" Type="http://schemas.openxmlformats.org/officeDocument/2006/relationships/image" Target="../media/image243.png"/><Relationship Id="rId23" Type="http://schemas.openxmlformats.org/officeDocument/2006/relationships/image" Target="../media/image251.png"/><Relationship Id="rId10" Type="http://schemas.openxmlformats.org/officeDocument/2006/relationships/image" Target="../media/image238.png"/><Relationship Id="rId19" Type="http://schemas.openxmlformats.org/officeDocument/2006/relationships/image" Target="../media/image247.png"/><Relationship Id="rId4" Type="http://schemas.openxmlformats.org/officeDocument/2006/relationships/notesSlide" Target="../notesSlides/notesSlide237.xml"/><Relationship Id="rId9" Type="http://schemas.openxmlformats.org/officeDocument/2006/relationships/image" Target="../media/image237.png"/><Relationship Id="rId14" Type="http://schemas.openxmlformats.org/officeDocument/2006/relationships/image" Target="../media/image242.png"/><Relationship Id="rId22" Type="http://schemas.openxmlformats.org/officeDocument/2006/relationships/image" Target="../media/image250.png"/></Relationships>
</file>

<file path=ppt/slides/_rels/slide254.xml.rels><?xml version="1.0" encoding="UTF-8" standalone="yes"?>
<Relationships xmlns="http://schemas.openxmlformats.org/package/2006/relationships"><Relationship Id="rId8" Type="http://schemas.openxmlformats.org/officeDocument/2006/relationships/image" Target="../media/image256.png"/><Relationship Id="rId13" Type="http://schemas.openxmlformats.org/officeDocument/2006/relationships/image" Target="../media/image261.png"/><Relationship Id="rId18" Type="http://schemas.openxmlformats.org/officeDocument/2006/relationships/image" Target="../media/image266.png"/><Relationship Id="rId26" Type="http://schemas.openxmlformats.org/officeDocument/2006/relationships/image" Target="../media/image274.png"/><Relationship Id="rId3" Type="http://schemas.openxmlformats.org/officeDocument/2006/relationships/slideLayout" Target="../slideLayouts/slideLayout28.xml"/><Relationship Id="rId21" Type="http://schemas.openxmlformats.org/officeDocument/2006/relationships/image" Target="../media/image269.png"/><Relationship Id="rId7" Type="http://schemas.openxmlformats.org/officeDocument/2006/relationships/image" Target="../media/image255.png"/><Relationship Id="rId12" Type="http://schemas.openxmlformats.org/officeDocument/2006/relationships/image" Target="../media/image260.png"/><Relationship Id="rId17" Type="http://schemas.openxmlformats.org/officeDocument/2006/relationships/image" Target="../media/image265.png"/><Relationship Id="rId25" Type="http://schemas.openxmlformats.org/officeDocument/2006/relationships/image" Target="../media/image273.png"/><Relationship Id="rId2" Type="http://schemas.openxmlformats.org/officeDocument/2006/relationships/tags" Target="../tags/tag1161.xml"/><Relationship Id="rId16" Type="http://schemas.openxmlformats.org/officeDocument/2006/relationships/image" Target="../media/image264.png"/><Relationship Id="rId20" Type="http://schemas.openxmlformats.org/officeDocument/2006/relationships/image" Target="../media/image268.png"/><Relationship Id="rId1" Type="http://schemas.openxmlformats.org/officeDocument/2006/relationships/tags" Target="../tags/tag1160.xml"/><Relationship Id="rId6" Type="http://schemas.openxmlformats.org/officeDocument/2006/relationships/image" Target="../media/image234.png"/><Relationship Id="rId11" Type="http://schemas.openxmlformats.org/officeDocument/2006/relationships/image" Target="../media/image259.png"/><Relationship Id="rId24" Type="http://schemas.openxmlformats.org/officeDocument/2006/relationships/image" Target="../media/image272.png"/><Relationship Id="rId5" Type="http://schemas.openxmlformats.org/officeDocument/2006/relationships/oleObject" Target="../embeddings/oleObject73.bin"/><Relationship Id="rId15" Type="http://schemas.openxmlformats.org/officeDocument/2006/relationships/image" Target="../media/image263.png"/><Relationship Id="rId23" Type="http://schemas.openxmlformats.org/officeDocument/2006/relationships/image" Target="../media/image271.png"/><Relationship Id="rId10" Type="http://schemas.openxmlformats.org/officeDocument/2006/relationships/image" Target="../media/image258.png"/><Relationship Id="rId19" Type="http://schemas.openxmlformats.org/officeDocument/2006/relationships/image" Target="../media/image267.png"/><Relationship Id="rId4" Type="http://schemas.openxmlformats.org/officeDocument/2006/relationships/notesSlide" Target="../notesSlides/notesSlide238.xml"/><Relationship Id="rId9" Type="http://schemas.openxmlformats.org/officeDocument/2006/relationships/image" Target="../media/image257.png"/><Relationship Id="rId14" Type="http://schemas.openxmlformats.org/officeDocument/2006/relationships/image" Target="../media/image262.png"/><Relationship Id="rId22" Type="http://schemas.openxmlformats.org/officeDocument/2006/relationships/image" Target="../media/image270.png"/><Relationship Id="rId27" Type="http://schemas.openxmlformats.org/officeDocument/2006/relationships/image" Target="../media/image275.png"/></Relationships>
</file>

<file path=ppt/slides/_rels/slide255.xml.rels><?xml version="1.0" encoding="UTF-8" standalone="yes"?>
<Relationships xmlns="http://schemas.openxmlformats.org/package/2006/relationships"><Relationship Id="rId8" Type="http://schemas.openxmlformats.org/officeDocument/2006/relationships/image" Target="../media/image278.png"/><Relationship Id="rId13" Type="http://schemas.openxmlformats.org/officeDocument/2006/relationships/image" Target="../media/image283.png"/><Relationship Id="rId18" Type="http://schemas.openxmlformats.org/officeDocument/2006/relationships/image" Target="../media/image288.png"/><Relationship Id="rId3" Type="http://schemas.openxmlformats.org/officeDocument/2006/relationships/slideLayout" Target="../slideLayouts/slideLayout28.xml"/><Relationship Id="rId7" Type="http://schemas.openxmlformats.org/officeDocument/2006/relationships/image" Target="../media/image277.png"/><Relationship Id="rId12" Type="http://schemas.openxmlformats.org/officeDocument/2006/relationships/image" Target="../media/image282.png"/><Relationship Id="rId17" Type="http://schemas.openxmlformats.org/officeDocument/2006/relationships/image" Target="../media/image287.png"/><Relationship Id="rId2" Type="http://schemas.openxmlformats.org/officeDocument/2006/relationships/tags" Target="../tags/tag1163.xml"/><Relationship Id="rId16" Type="http://schemas.openxmlformats.org/officeDocument/2006/relationships/image" Target="../media/image286.png"/><Relationship Id="rId1" Type="http://schemas.openxmlformats.org/officeDocument/2006/relationships/tags" Target="../tags/tag1162.xml"/><Relationship Id="rId6" Type="http://schemas.openxmlformats.org/officeDocument/2006/relationships/image" Target="../media/image276.png"/><Relationship Id="rId11" Type="http://schemas.openxmlformats.org/officeDocument/2006/relationships/image" Target="../media/image281.png"/><Relationship Id="rId5" Type="http://schemas.openxmlformats.org/officeDocument/2006/relationships/oleObject" Target="../embeddings/oleObject74.bin"/><Relationship Id="rId15" Type="http://schemas.openxmlformats.org/officeDocument/2006/relationships/image" Target="../media/image285.png"/><Relationship Id="rId10" Type="http://schemas.openxmlformats.org/officeDocument/2006/relationships/image" Target="../media/image280.png"/><Relationship Id="rId4" Type="http://schemas.openxmlformats.org/officeDocument/2006/relationships/notesSlide" Target="../notesSlides/notesSlide239.xml"/><Relationship Id="rId9" Type="http://schemas.openxmlformats.org/officeDocument/2006/relationships/image" Target="../media/image279.png"/><Relationship Id="rId14" Type="http://schemas.openxmlformats.org/officeDocument/2006/relationships/image" Target="../media/image284.png"/></Relationships>
</file>

<file path=ppt/slides/_rels/slide256.xml.rels><?xml version="1.0" encoding="UTF-8" standalone="yes"?>
<Relationships xmlns="http://schemas.openxmlformats.org/package/2006/relationships"><Relationship Id="rId8" Type="http://schemas.openxmlformats.org/officeDocument/2006/relationships/image" Target="../media/image291.png"/><Relationship Id="rId13" Type="http://schemas.openxmlformats.org/officeDocument/2006/relationships/image" Target="../media/image296.png"/><Relationship Id="rId18" Type="http://schemas.openxmlformats.org/officeDocument/2006/relationships/image" Target="../media/image301.png"/><Relationship Id="rId26" Type="http://schemas.openxmlformats.org/officeDocument/2006/relationships/image" Target="../media/image309.png"/><Relationship Id="rId3" Type="http://schemas.openxmlformats.org/officeDocument/2006/relationships/slideLayout" Target="../slideLayouts/slideLayout28.xml"/><Relationship Id="rId21" Type="http://schemas.openxmlformats.org/officeDocument/2006/relationships/image" Target="../media/image304.png"/><Relationship Id="rId7" Type="http://schemas.openxmlformats.org/officeDocument/2006/relationships/image" Target="../media/image290.png"/><Relationship Id="rId12" Type="http://schemas.openxmlformats.org/officeDocument/2006/relationships/image" Target="../media/image295.png"/><Relationship Id="rId17" Type="http://schemas.openxmlformats.org/officeDocument/2006/relationships/image" Target="../media/image300.png"/><Relationship Id="rId25" Type="http://schemas.openxmlformats.org/officeDocument/2006/relationships/image" Target="../media/image308.png"/><Relationship Id="rId2" Type="http://schemas.openxmlformats.org/officeDocument/2006/relationships/tags" Target="../tags/tag1165.xml"/><Relationship Id="rId16" Type="http://schemas.openxmlformats.org/officeDocument/2006/relationships/image" Target="../media/image299.png"/><Relationship Id="rId20" Type="http://schemas.openxmlformats.org/officeDocument/2006/relationships/image" Target="../media/image303.png"/><Relationship Id="rId1" Type="http://schemas.openxmlformats.org/officeDocument/2006/relationships/tags" Target="../tags/tag1164.xml"/><Relationship Id="rId6" Type="http://schemas.openxmlformats.org/officeDocument/2006/relationships/image" Target="../media/image289.png"/><Relationship Id="rId11" Type="http://schemas.openxmlformats.org/officeDocument/2006/relationships/image" Target="../media/image294.png"/><Relationship Id="rId24" Type="http://schemas.openxmlformats.org/officeDocument/2006/relationships/image" Target="../media/image307.png"/><Relationship Id="rId5" Type="http://schemas.openxmlformats.org/officeDocument/2006/relationships/oleObject" Target="../embeddings/oleObject75.bin"/><Relationship Id="rId15" Type="http://schemas.openxmlformats.org/officeDocument/2006/relationships/image" Target="../media/image298.png"/><Relationship Id="rId23" Type="http://schemas.openxmlformats.org/officeDocument/2006/relationships/image" Target="../media/image306.png"/><Relationship Id="rId28" Type="http://schemas.openxmlformats.org/officeDocument/2006/relationships/image" Target="../media/image311.png"/><Relationship Id="rId10" Type="http://schemas.openxmlformats.org/officeDocument/2006/relationships/image" Target="../media/image293.png"/><Relationship Id="rId19" Type="http://schemas.openxmlformats.org/officeDocument/2006/relationships/image" Target="../media/image302.png"/><Relationship Id="rId4" Type="http://schemas.openxmlformats.org/officeDocument/2006/relationships/notesSlide" Target="../notesSlides/notesSlide240.xml"/><Relationship Id="rId9" Type="http://schemas.openxmlformats.org/officeDocument/2006/relationships/image" Target="../media/image292.png"/><Relationship Id="rId14" Type="http://schemas.openxmlformats.org/officeDocument/2006/relationships/image" Target="../media/image297.png"/><Relationship Id="rId22" Type="http://schemas.openxmlformats.org/officeDocument/2006/relationships/image" Target="../media/image305.png"/><Relationship Id="rId27" Type="http://schemas.openxmlformats.org/officeDocument/2006/relationships/image" Target="../media/image310.png"/></Relationships>
</file>

<file path=ppt/slides/_rels/slide257.xml.rels><?xml version="1.0" encoding="UTF-8" standalone="yes"?>
<Relationships xmlns="http://schemas.openxmlformats.org/package/2006/relationships"><Relationship Id="rId8" Type="http://schemas.openxmlformats.org/officeDocument/2006/relationships/image" Target="../media/image314.png"/><Relationship Id="rId13" Type="http://schemas.openxmlformats.org/officeDocument/2006/relationships/image" Target="../media/image319.png"/><Relationship Id="rId18" Type="http://schemas.openxmlformats.org/officeDocument/2006/relationships/image" Target="../media/image324.png"/><Relationship Id="rId3" Type="http://schemas.openxmlformats.org/officeDocument/2006/relationships/slideLayout" Target="../slideLayouts/slideLayout28.xml"/><Relationship Id="rId21" Type="http://schemas.openxmlformats.org/officeDocument/2006/relationships/image" Target="../media/image327.png"/><Relationship Id="rId7" Type="http://schemas.openxmlformats.org/officeDocument/2006/relationships/image" Target="../media/image313.png"/><Relationship Id="rId12" Type="http://schemas.openxmlformats.org/officeDocument/2006/relationships/image" Target="../media/image318.png"/><Relationship Id="rId17" Type="http://schemas.openxmlformats.org/officeDocument/2006/relationships/image" Target="../media/image323.png"/><Relationship Id="rId2" Type="http://schemas.openxmlformats.org/officeDocument/2006/relationships/tags" Target="../tags/tag1167.xml"/><Relationship Id="rId16" Type="http://schemas.openxmlformats.org/officeDocument/2006/relationships/image" Target="../media/image322.png"/><Relationship Id="rId20" Type="http://schemas.openxmlformats.org/officeDocument/2006/relationships/image" Target="../media/image326.png"/><Relationship Id="rId1" Type="http://schemas.openxmlformats.org/officeDocument/2006/relationships/tags" Target="../tags/tag1166.xml"/><Relationship Id="rId6" Type="http://schemas.openxmlformats.org/officeDocument/2006/relationships/image" Target="../media/image312.png"/><Relationship Id="rId11" Type="http://schemas.openxmlformats.org/officeDocument/2006/relationships/image" Target="../media/image317.png"/><Relationship Id="rId5" Type="http://schemas.openxmlformats.org/officeDocument/2006/relationships/oleObject" Target="../embeddings/oleObject76.bin"/><Relationship Id="rId15" Type="http://schemas.openxmlformats.org/officeDocument/2006/relationships/image" Target="../media/image321.png"/><Relationship Id="rId10" Type="http://schemas.openxmlformats.org/officeDocument/2006/relationships/image" Target="../media/image316.png"/><Relationship Id="rId19" Type="http://schemas.openxmlformats.org/officeDocument/2006/relationships/image" Target="../media/image325.png"/><Relationship Id="rId4" Type="http://schemas.openxmlformats.org/officeDocument/2006/relationships/notesSlide" Target="../notesSlides/notesSlide241.xml"/><Relationship Id="rId9" Type="http://schemas.openxmlformats.org/officeDocument/2006/relationships/image" Target="../media/image315.png"/><Relationship Id="rId14" Type="http://schemas.openxmlformats.org/officeDocument/2006/relationships/image" Target="../media/image320.png"/></Relationships>
</file>

<file path=ppt/slides/_rels/slide258.xml.rels><?xml version="1.0" encoding="UTF-8" standalone="yes"?>
<Relationships xmlns="http://schemas.openxmlformats.org/package/2006/relationships"><Relationship Id="rId8" Type="http://schemas.openxmlformats.org/officeDocument/2006/relationships/image" Target="../media/image249.png"/><Relationship Id="rId13" Type="http://schemas.openxmlformats.org/officeDocument/2006/relationships/image" Target="../media/image334.png"/><Relationship Id="rId18" Type="http://schemas.openxmlformats.org/officeDocument/2006/relationships/image" Target="../media/image339.png"/><Relationship Id="rId3" Type="http://schemas.openxmlformats.org/officeDocument/2006/relationships/slideLayout" Target="../slideLayouts/slideLayout28.xml"/><Relationship Id="rId21" Type="http://schemas.openxmlformats.org/officeDocument/2006/relationships/image" Target="../media/image342.png"/><Relationship Id="rId7" Type="http://schemas.openxmlformats.org/officeDocument/2006/relationships/image" Target="../media/image329.png"/><Relationship Id="rId12" Type="http://schemas.openxmlformats.org/officeDocument/2006/relationships/image" Target="../media/image333.png"/><Relationship Id="rId17" Type="http://schemas.openxmlformats.org/officeDocument/2006/relationships/image" Target="../media/image338.png"/><Relationship Id="rId25" Type="http://schemas.openxmlformats.org/officeDocument/2006/relationships/image" Target="../media/image346.png"/><Relationship Id="rId2" Type="http://schemas.openxmlformats.org/officeDocument/2006/relationships/tags" Target="../tags/tag1169.xml"/><Relationship Id="rId16" Type="http://schemas.openxmlformats.org/officeDocument/2006/relationships/image" Target="../media/image337.png"/><Relationship Id="rId20" Type="http://schemas.openxmlformats.org/officeDocument/2006/relationships/image" Target="../media/image341.png"/><Relationship Id="rId1" Type="http://schemas.openxmlformats.org/officeDocument/2006/relationships/tags" Target="../tags/tag1168.xml"/><Relationship Id="rId6" Type="http://schemas.openxmlformats.org/officeDocument/2006/relationships/image" Target="../media/image328.png"/><Relationship Id="rId11" Type="http://schemas.openxmlformats.org/officeDocument/2006/relationships/image" Target="../media/image332.png"/><Relationship Id="rId24" Type="http://schemas.openxmlformats.org/officeDocument/2006/relationships/image" Target="../media/image345.png"/><Relationship Id="rId5" Type="http://schemas.openxmlformats.org/officeDocument/2006/relationships/oleObject" Target="../embeddings/oleObject77.bin"/><Relationship Id="rId15" Type="http://schemas.openxmlformats.org/officeDocument/2006/relationships/image" Target="../media/image336.png"/><Relationship Id="rId23" Type="http://schemas.openxmlformats.org/officeDocument/2006/relationships/image" Target="../media/image344.png"/><Relationship Id="rId10" Type="http://schemas.openxmlformats.org/officeDocument/2006/relationships/image" Target="../media/image331.png"/><Relationship Id="rId19" Type="http://schemas.openxmlformats.org/officeDocument/2006/relationships/image" Target="../media/image340.png"/><Relationship Id="rId4" Type="http://schemas.openxmlformats.org/officeDocument/2006/relationships/notesSlide" Target="../notesSlides/notesSlide242.xml"/><Relationship Id="rId9" Type="http://schemas.openxmlformats.org/officeDocument/2006/relationships/image" Target="../media/image330.png"/><Relationship Id="rId14" Type="http://schemas.openxmlformats.org/officeDocument/2006/relationships/image" Target="../media/image335.png"/><Relationship Id="rId22" Type="http://schemas.openxmlformats.org/officeDocument/2006/relationships/image" Target="../media/image343.png"/></Relationships>
</file>

<file path=ppt/slides/_rels/slide259.xml.rels><?xml version="1.0" encoding="UTF-8" standalone="yes"?>
<Relationships xmlns="http://schemas.openxmlformats.org/package/2006/relationships"><Relationship Id="rId8" Type="http://schemas.openxmlformats.org/officeDocument/2006/relationships/image" Target="../media/image349.png"/><Relationship Id="rId13" Type="http://schemas.openxmlformats.org/officeDocument/2006/relationships/image" Target="../media/image330.png"/><Relationship Id="rId18" Type="http://schemas.openxmlformats.org/officeDocument/2006/relationships/image" Target="../media/image358.png"/><Relationship Id="rId3" Type="http://schemas.openxmlformats.org/officeDocument/2006/relationships/slideLayout" Target="../slideLayouts/slideLayout28.xml"/><Relationship Id="rId21" Type="http://schemas.openxmlformats.org/officeDocument/2006/relationships/image" Target="../media/image361.png"/><Relationship Id="rId7" Type="http://schemas.openxmlformats.org/officeDocument/2006/relationships/image" Target="../media/image348.png"/><Relationship Id="rId12" Type="http://schemas.openxmlformats.org/officeDocument/2006/relationships/image" Target="../media/image353.png"/><Relationship Id="rId17" Type="http://schemas.openxmlformats.org/officeDocument/2006/relationships/image" Target="../media/image357.png"/><Relationship Id="rId25" Type="http://schemas.openxmlformats.org/officeDocument/2006/relationships/image" Target="../media/image365.png"/><Relationship Id="rId2" Type="http://schemas.openxmlformats.org/officeDocument/2006/relationships/tags" Target="../tags/tag1171.xml"/><Relationship Id="rId16" Type="http://schemas.openxmlformats.org/officeDocument/2006/relationships/image" Target="../media/image356.png"/><Relationship Id="rId20" Type="http://schemas.openxmlformats.org/officeDocument/2006/relationships/image" Target="../media/image360.png"/><Relationship Id="rId1" Type="http://schemas.openxmlformats.org/officeDocument/2006/relationships/tags" Target="../tags/tag1170.xml"/><Relationship Id="rId6" Type="http://schemas.openxmlformats.org/officeDocument/2006/relationships/image" Target="../media/image347.png"/><Relationship Id="rId11" Type="http://schemas.openxmlformats.org/officeDocument/2006/relationships/image" Target="../media/image352.png"/><Relationship Id="rId24" Type="http://schemas.openxmlformats.org/officeDocument/2006/relationships/image" Target="../media/image364.png"/><Relationship Id="rId5" Type="http://schemas.openxmlformats.org/officeDocument/2006/relationships/oleObject" Target="../embeddings/oleObject78.bin"/><Relationship Id="rId15" Type="http://schemas.openxmlformats.org/officeDocument/2006/relationships/image" Target="../media/image355.png"/><Relationship Id="rId23" Type="http://schemas.openxmlformats.org/officeDocument/2006/relationships/image" Target="../media/image363.png"/><Relationship Id="rId10" Type="http://schemas.openxmlformats.org/officeDocument/2006/relationships/image" Target="../media/image351.png"/><Relationship Id="rId19" Type="http://schemas.openxmlformats.org/officeDocument/2006/relationships/image" Target="../media/image359.png"/><Relationship Id="rId4" Type="http://schemas.openxmlformats.org/officeDocument/2006/relationships/notesSlide" Target="../notesSlides/notesSlide243.xml"/><Relationship Id="rId9" Type="http://schemas.openxmlformats.org/officeDocument/2006/relationships/image" Target="../media/image350.png"/><Relationship Id="rId14" Type="http://schemas.openxmlformats.org/officeDocument/2006/relationships/image" Target="../media/image354.png"/><Relationship Id="rId22" Type="http://schemas.openxmlformats.org/officeDocument/2006/relationships/image" Target="../media/image362.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53.xml"/><Relationship Id="rId1" Type="http://schemas.openxmlformats.org/officeDocument/2006/relationships/tags" Target="../tags/tag152.xml"/><Relationship Id="rId4" Type="http://schemas.openxmlformats.org/officeDocument/2006/relationships/notesSlide" Target="../notesSlides/notesSlide19.xml"/></Relationships>
</file>

<file path=ppt/slides/_rels/slide260.xml.rels><?xml version="1.0" encoding="UTF-8" standalone="yes"?>
<Relationships xmlns="http://schemas.openxmlformats.org/package/2006/relationships"><Relationship Id="rId8" Type="http://schemas.openxmlformats.org/officeDocument/2006/relationships/image" Target="../media/image368.png"/><Relationship Id="rId13" Type="http://schemas.openxmlformats.org/officeDocument/2006/relationships/image" Target="../media/image372.png"/><Relationship Id="rId18" Type="http://schemas.openxmlformats.org/officeDocument/2006/relationships/image" Target="../media/image377.png"/><Relationship Id="rId3" Type="http://schemas.openxmlformats.org/officeDocument/2006/relationships/slideLayout" Target="../slideLayouts/slideLayout28.xml"/><Relationship Id="rId7" Type="http://schemas.openxmlformats.org/officeDocument/2006/relationships/image" Target="../media/image367.png"/><Relationship Id="rId12" Type="http://schemas.openxmlformats.org/officeDocument/2006/relationships/image" Target="../media/image260.png"/><Relationship Id="rId17" Type="http://schemas.openxmlformats.org/officeDocument/2006/relationships/image" Target="../media/image376.png"/><Relationship Id="rId2" Type="http://schemas.openxmlformats.org/officeDocument/2006/relationships/tags" Target="../tags/tag1173.xml"/><Relationship Id="rId16" Type="http://schemas.openxmlformats.org/officeDocument/2006/relationships/image" Target="../media/image375.png"/><Relationship Id="rId1" Type="http://schemas.openxmlformats.org/officeDocument/2006/relationships/tags" Target="../tags/tag1172.xml"/><Relationship Id="rId6" Type="http://schemas.openxmlformats.org/officeDocument/2006/relationships/image" Target="../media/image366.png"/><Relationship Id="rId11" Type="http://schemas.openxmlformats.org/officeDocument/2006/relationships/image" Target="../media/image371.png"/><Relationship Id="rId5" Type="http://schemas.openxmlformats.org/officeDocument/2006/relationships/oleObject" Target="../embeddings/oleObject79.bin"/><Relationship Id="rId15" Type="http://schemas.openxmlformats.org/officeDocument/2006/relationships/image" Target="../media/image374.png"/><Relationship Id="rId10" Type="http://schemas.openxmlformats.org/officeDocument/2006/relationships/image" Target="../media/image370.png"/><Relationship Id="rId19" Type="http://schemas.openxmlformats.org/officeDocument/2006/relationships/image" Target="../media/image378.png"/><Relationship Id="rId4" Type="http://schemas.openxmlformats.org/officeDocument/2006/relationships/notesSlide" Target="../notesSlides/notesSlide244.xml"/><Relationship Id="rId9" Type="http://schemas.openxmlformats.org/officeDocument/2006/relationships/image" Target="../media/image369.png"/><Relationship Id="rId14" Type="http://schemas.openxmlformats.org/officeDocument/2006/relationships/image" Target="../media/image373.png"/></Relationships>
</file>

<file path=ppt/slides/_rels/slide261.xml.rels><?xml version="1.0" encoding="UTF-8" standalone="yes"?>
<Relationships xmlns="http://schemas.openxmlformats.org/package/2006/relationships"><Relationship Id="rId13" Type="http://schemas.openxmlformats.org/officeDocument/2006/relationships/image" Target="../media/image386.png"/><Relationship Id="rId18" Type="http://schemas.openxmlformats.org/officeDocument/2006/relationships/image" Target="../media/image391.png"/><Relationship Id="rId26" Type="http://schemas.openxmlformats.org/officeDocument/2006/relationships/image" Target="../media/image399.png"/><Relationship Id="rId3" Type="http://schemas.openxmlformats.org/officeDocument/2006/relationships/slideLayout" Target="../slideLayouts/slideLayout28.xml"/><Relationship Id="rId21" Type="http://schemas.openxmlformats.org/officeDocument/2006/relationships/image" Target="../media/image394.png"/><Relationship Id="rId34" Type="http://schemas.openxmlformats.org/officeDocument/2006/relationships/image" Target="../media/image407.png"/><Relationship Id="rId7" Type="http://schemas.openxmlformats.org/officeDocument/2006/relationships/image" Target="../media/image380.png"/><Relationship Id="rId12" Type="http://schemas.openxmlformats.org/officeDocument/2006/relationships/image" Target="../media/image385.png"/><Relationship Id="rId17" Type="http://schemas.openxmlformats.org/officeDocument/2006/relationships/image" Target="../media/image390.png"/><Relationship Id="rId25" Type="http://schemas.openxmlformats.org/officeDocument/2006/relationships/image" Target="../media/image398.png"/><Relationship Id="rId33" Type="http://schemas.openxmlformats.org/officeDocument/2006/relationships/image" Target="../media/image406.png"/><Relationship Id="rId2" Type="http://schemas.openxmlformats.org/officeDocument/2006/relationships/tags" Target="../tags/tag1175.xml"/><Relationship Id="rId16" Type="http://schemas.openxmlformats.org/officeDocument/2006/relationships/image" Target="../media/image389.png"/><Relationship Id="rId20" Type="http://schemas.openxmlformats.org/officeDocument/2006/relationships/image" Target="../media/image393.png"/><Relationship Id="rId29" Type="http://schemas.openxmlformats.org/officeDocument/2006/relationships/image" Target="../media/image402.png"/><Relationship Id="rId1" Type="http://schemas.openxmlformats.org/officeDocument/2006/relationships/tags" Target="../tags/tag1174.xml"/><Relationship Id="rId6" Type="http://schemas.openxmlformats.org/officeDocument/2006/relationships/image" Target="../media/image379.png"/><Relationship Id="rId11" Type="http://schemas.openxmlformats.org/officeDocument/2006/relationships/image" Target="../media/image384.png"/><Relationship Id="rId24" Type="http://schemas.openxmlformats.org/officeDocument/2006/relationships/image" Target="../media/image397.png"/><Relationship Id="rId32" Type="http://schemas.openxmlformats.org/officeDocument/2006/relationships/image" Target="../media/image405.png"/><Relationship Id="rId5" Type="http://schemas.openxmlformats.org/officeDocument/2006/relationships/oleObject" Target="../embeddings/oleObject80.bin"/><Relationship Id="rId15" Type="http://schemas.openxmlformats.org/officeDocument/2006/relationships/image" Target="../media/image388.png"/><Relationship Id="rId23" Type="http://schemas.openxmlformats.org/officeDocument/2006/relationships/image" Target="../media/image396.png"/><Relationship Id="rId28" Type="http://schemas.openxmlformats.org/officeDocument/2006/relationships/image" Target="../media/image401.png"/><Relationship Id="rId36" Type="http://schemas.openxmlformats.org/officeDocument/2006/relationships/image" Target="../media/image409.png"/><Relationship Id="rId10" Type="http://schemas.openxmlformats.org/officeDocument/2006/relationships/image" Target="../media/image383.png"/><Relationship Id="rId19" Type="http://schemas.openxmlformats.org/officeDocument/2006/relationships/image" Target="../media/image392.png"/><Relationship Id="rId31" Type="http://schemas.openxmlformats.org/officeDocument/2006/relationships/image" Target="../media/image404.png"/><Relationship Id="rId4" Type="http://schemas.openxmlformats.org/officeDocument/2006/relationships/notesSlide" Target="../notesSlides/notesSlide245.xml"/><Relationship Id="rId9" Type="http://schemas.openxmlformats.org/officeDocument/2006/relationships/image" Target="../media/image382.png"/><Relationship Id="rId14" Type="http://schemas.openxmlformats.org/officeDocument/2006/relationships/image" Target="../media/image387.png"/><Relationship Id="rId22" Type="http://schemas.openxmlformats.org/officeDocument/2006/relationships/image" Target="../media/image395.png"/><Relationship Id="rId27" Type="http://schemas.openxmlformats.org/officeDocument/2006/relationships/image" Target="../media/image400.png"/><Relationship Id="rId30" Type="http://schemas.openxmlformats.org/officeDocument/2006/relationships/image" Target="../media/image403.png"/><Relationship Id="rId35" Type="http://schemas.openxmlformats.org/officeDocument/2006/relationships/image" Target="../media/image408.png"/><Relationship Id="rId8" Type="http://schemas.openxmlformats.org/officeDocument/2006/relationships/image" Target="../media/image381.png"/></Relationships>
</file>

<file path=ppt/slides/_rels/slide262.xml.rels><?xml version="1.0" encoding="UTF-8" standalone="yes"?>
<Relationships xmlns="http://schemas.openxmlformats.org/package/2006/relationships"><Relationship Id="rId8" Type="http://schemas.openxmlformats.org/officeDocument/2006/relationships/image" Target="../media/image412.png"/><Relationship Id="rId13" Type="http://schemas.openxmlformats.org/officeDocument/2006/relationships/image" Target="../media/image417.png"/><Relationship Id="rId18" Type="http://schemas.openxmlformats.org/officeDocument/2006/relationships/image" Target="../media/image422.png"/><Relationship Id="rId26" Type="http://schemas.openxmlformats.org/officeDocument/2006/relationships/image" Target="../media/image430.png"/><Relationship Id="rId3" Type="http://schemas.openxmlformats.org/officeDocument/2006/relationships/slideLayout" Target="../slideLayouts/slideLayout28.xml"/><Relationship Id="rId21" Type="http://schemas.openxmlformats.org/officeDocument/2006/relationships/image" Target="../media/image425.png"/><Relationship Id="rId7" Type="http://schemas.openxmlformats.org/officeDocument/2006/relationships/image" Target="../media/image411.png"/><Relationship Id="rId12" Type="http://schemas.openxmlformats.org/officeDocument/2006/relationships/image" Target="../media/image416.png"/><Relationship Id="rId17" Type="http://schemas.openxmlformats.org/officeDocument/2006/relationships/image" Target="../media/image421.png"/><Relationship Id="rId25" Type="http://schemas.openxmlformats.org/officeDocument/2006/relationships/image" Target="../media/image429.png"/><Relationship Id="rId2" Type="http://schemas.openxmlformats.org/officeDocument/2006/relationships/tags" Target="../tags/tag1177.xml"/><Relationship Id="rId16" Type="http://schemas.openxmlformats.org/officeDocument/2006/relationships/image" Target="../media/image420.png"/><Relationship Id="rId20" Type="http://schemas.openxmlformats.org/officeDocument/2006/relationships/image" Target="../media/image424.png"/><Relationship Id="rId29" Type="http://schemas.openxmlformats.org/officeDocument/2006/relationships/image" Target="../media/image433.png"/><Relationship Id="rId1" Type="http://schemas.openxmlformats.org/officeDocument/2006/relationships/tags" Target="../tags/tag1176.xml"/><Relationship Id="rId6" Type="http://schemas.openxmlformats.org/officeDocument/2006/relationships/image" Target="../media/image410.png"/><Relationship Id="rId11" Type="http://schemas.openxmlformats.org/officeDocument/2006/relationships/image" Target="../media/image415.png"/><Relationship Id="rId24" Type="http://schemas.openxmlformats.org/officeDocument/2006/relationships/image" Target="../media/image428.png"/><Relationship Id="rId5" Type="http://schemas.openxmlformats.org/officeDocument/2006/relationships/oleObject" Target="../embeddings/oleObject81.bin"/><Relationship Id="rId15" Type="http://schemas.openxmlformats.org/officeDocument/2006/relationships/image" Target="../media/image419.png"/><Relationship Id="rId23" Type="http://schemas.openxmlformats.org/officeDocument/2006/relationships/image" Target="../media/image427.png"/><Relationship Id="rId28" Type="http://schemas.openxmlformats.org/officeDocument/2006/relationships/image" Target="../media/image432.png"/><Relationship Id="rId10" Type="http://schemas.openxmlformats.org/officeDocument/2006/relationships/image" Target="../media/image414.png"/><Relationship Id="rId19" Type="http://schemas.openxmlformats.org/officeDocument/2006/relationships/image" Target="../media/image423.png"/><Relationship Id="rId4" Type="http://schemas.openxmlformats.org/officeDocument/2006/relationships/notesSlide" Target="../notesSlides/notesSlide246.xml"/><Relationship Id="rId9" Type="http://schemas.openxmlformats.org/officeDocument/2006/relationships/image" Target="../media/image413.png"/><Relationship Id="rId14" Type="http://schemas.openxmlformats.org/officeDocument/2006/relationships/image" Target="../media/image418.png"/><Relationship Id="rId22" Type="http://schemas.openxmlformats.org/officeDocument/2006/relationships/image" Target="../media/image426.png"/><Relationship Id="rId27" Type="http://schemas.openxmlformats.org/officeDocument/2006/relationships/image" Target="../media/image431.png"/></Relationships>
</file>

<file path=ppt/slides/_rels/slide263.xml.rels><?xml version="1.0" encoding="UTF-8" standalone="yes"?>
<Relationships xmlns="http://schemas.openxmlformats.org/package/2006/relationships"><Relationship Id="rId2" Type="http://schemas.openxmlformats.org/officeDocument/2006/relationships/notesSlide" Target="../notesSlides/notesSlide247.xml"/><Relationship Id="rId1" Type="http://schemas.openxmlformats.org/officeDocument/2006/relationships/slideLayout" Target="../slideLayouts/slideLayout40.xml"/></Relationships>
</file>

<file path=ppt/slides/_rels/slide264.xml.rels><?xml version="1.0" encoding="UTF-8" standalone="yes"?>
<Relationships xmlns="http://schemas.openxmlformats.org/package/2006/relationships"><Relationship Id="rId3" Type="http://schemas.openxmlformats.org/officeDocument/2006/relationships/hyperlink" Target="http://alamy.com/" TargetMode="External"/><Relationship Id="rId2" Type="http://schemas.openxmlformats.org/officeDocument/2006/relationships/notesSlide" Target="../notesSlides/notesSlide248.xml"/><Relationship Id="rId1" Type="http://schemas.openxmlformats.org/officeDocument/2006/relationships/slideLayout" Target="../slideLayouts/slideLayout31.xml"/></Relationships>
</file>

<file path=ppt/slides/_rels/slide265.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179.xml"/><Relationship Id="rId1" Type="http://schemas.openxmlformats.org/officeDocument/2006/relationships/tags" Target="../tags/tag1178.xml"/><Relationship Id="rId5" Type="http://schemas.openxmlformats.org/officeDocument/2006/relationships/oleObject" Target="../embeddings/oleObject82.bin"/><Relationship Id="rId4" Type="http://schemas.openxmlformats.org/officeDocument/2006/relationships/notesSlide" Target="../notesSlides/notesSlide249.xml"/></Relationships>
</file>

<file path=ppt/slides/_rels/slide266.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181.xml"/><Relationship Id="rId1" Type="http://schemas.openxmlformats.org/officeDocument/2006/relationships/tags" Target="../tags/tag1180.xml"/><Relationship Id="rId5" Type="http://schemas.openxmlformats.org/officeDocument/2006/relationships/oleObject" Target="../embeddings/oleObject83.bin"/><Relationship Id="rId4" Type="http://schemas.openxmlformats.org/officeDocument/2006/relationships/notesSlide" Target="../notesSlides/notesSlide250.xml"/></Relationships>
</file>

<file path=ppt/slides/_rels/slide267.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183.xml"/><Relationship Id="rId1" Type="http://schemas.openxmlformats.org/officeDocument/2006/relationships/tags" Target="../tags/tag1182.xml"/><Relationship Id="rId5" Type="http://schemas.openxmlformats.org/officeDocument/2006/relationships/oleObject" Target="../embeddings/oleObject84.bin"/><Relationship Id="rId4" Type="http://schemas.openxmlformats.org/officeDocument/2006/relationships/notesSlide" Target="../notesSlides/notesSlide251.xml"/></Relationships>
</file>

<file path=ppt/slides/_rels/slide268.xml.rels><?xml version="1.0" encoding="UTF-8" standalone="yes"?>
<Relationships xmlns="http://schemas.openxmlformats.org/package/2006/relationships"><Relationship Id="rId13" Type="http://schemas.openxmlformats.org/officeDocument/2006/relationships/tags" Target="../tags/tag1196.xml"/><Relationship Id="rId18" Type="http://schemas.openxmlformats.org/officeDocument/2006/relationships/tags" Target="../tags/tag1201.xml"/><Relationship Id="rId26" Type="http://schemas.openxmlformats.org/officeDocument/2006/relationships/tags" Target="../tags/tag1209.xml"/><Relationship Id="rId39" Type="http://schemas.openxmlformats.org/officeDocument/2006/relationships/tags" Target="../tags/tag1222.xml"/><Relationship Id="rId21" Type="http://schemas.openxmlformats.org/officeDocument/2006/relationships/tags" Target="../tags/tag1204.xml"/><Relationship Id="rId34" Type="http://schemas.openxmlformats.org/officeDocument/2006/relationships/tags" Target="../tags/tag1217.xml"/><Relationship Id="rId42" Type="http://schemas.openxmlformats.org/officeDocument/2006/relationships/tags" Target="../tags/tag1225.xml"/><Relationship Id="rId47" Type="http://schemas.openxmlformats.org/officeDocument/2006/relationships/tags" Target="../tags/tag1230.xml"/><Relationship Id="rId50" Type="http://schemas.openxmlformats.org/officeDocument/2006/relationships/tags" Target="../tags/tag1233.xml"/><Relationship Id="rId7" Type="http://schemas.openxmlformats.org/officeDocument/2006/relationships/tags" Target="../tags/tag1190.xml"/><Relationship Id="rId2" Type="http://schemas.openxmlformats.org/officeDocument/2006/relationships/tags" Target="../tags/tag1185.xml"/><Relationship Id="rId16" Type="http://schemas.openxmlformats.org/officeDocument/2006/relationships/tags" Target="../tags/tag1199.xml"/><Relationship Id="rId29" Type="http://schemas.openxmlformats.org/officeDocument/2006/relationships/tags" Target="../tags/tag1212.xml"/><Relationship Id="rId11" Type="http://schemas.openxmlformats.org/officeDocument/2006/relationships/tags" Target="../tags/tag1194.xml"/><Relationship Id="rId24" Type="http://schemas.openxmlformats.org/officeDocument/2006/relationships/tags" Target="../tags/tag1207.xml"/><Relationship Id="rId32" Type="http://schemas.openxmlformats.org/officeDocument/2006/relationships/tags" Target="../tags/tag1215.xml"/><Relationship Id="rId37" Type="http://schemas.openxmlformats.org/officeDocument/2006/relationships/tags" Target="../tags/tag1220.xml"/><Relationship Id="rId40" Type="http://schemas.openxmlformats.org/officeDocument/2006/relationships/tags" Target="../tags/tag1223.xml"/><Relationship Id="rId45" Type="http://schemas.openxmlformats.org/officeDocument/2006/relationships/tags" Target="../tags/tag1228.xml"/><Relationship Id="rId53" Type="http://schemas.openxmlformats.org/officeDocument/2006/relationships/notesSlide" Target="../notesSlides/notesSlide252.xml"/><Relationship Id="rId5" Type="http://schemas.openxmlformats.org/officeDocument/2006/relationships/tags" Target="../tags/tag1188.xml"/><Relationship Id="rId10" Type="http://schemas.openxmlformats.org/officeDocument/2006/relationships/tags" Target="../tags/tag1193.xml"/><Relationship Id="rId19" Type="http://schemas.openxmlformats.org/officeDocument/2006/relationships/tags" Target="../tags/tag1202.xml"/><Relationship Id="rId31" Type="http://schemas.openxmlformats.org/officeDocument/2006/relationships/tags" Target="../tags/tag1214.xml"/><Relationship Id="rId44" Type="http://schemas.openxmlformats.org/officeDocument/2006/relationships/tags" Target="../tags/tag1227.xml"/><Relationship Id="rId52" Type="http://schemas.openxmlformats.org/officeDocument/2006/relationships/slideLayout" Target="../slideLayouts/slideLayout28.xml"/><Relationship Id="rId4" Type="http://schemas.openxmlformats.org/officeDocument/2006/relationships/tags" Target="../tags/tag1187.xml"/><Relationship Id="rId9" Type="http://schemas.openxmlformats.org/officeDocument/2006/relationships/tags" Target="../tags/tag1192.xml"/><Relationship Id="rId14" Type="http://schemas.openxmlformats.org/officeDocument/2006/relationships/tags" Target="../tags/tag1197.xml"/><Relationship Id="rId22" Type="http://schemas.openxmlformats.org/officeDocument/2006/relationships/tags" Target="../tags/tag1205.xml"/><Relationship Id="rId27" Type="http://schemas.openxmlformats.org/officeDocument/2006/relationships/tags" Target="../tags/tag1210.xml"/><Relationship Id="rId30" Type="http://schemas.openxmlformats.org/officeDocument/2006/relationships/tags" Target="../tags/tag1213.xml"/><Relationship Id="rId35" Type="http://schemas.openxmlformats.org/officeDocument/2006/relationships/tags" Target="../tags/tag1218.xml"/><Relationship Id="rId43" Type="http://schemas.openxmlformats.org/officeDocument/2006/relationships/tags" Target="../tags/tag1226.xml"/><Relationship Id="rId48" Type="http://schemas.openxmlformats.org/officeDocument/2006/relationships/tags" Target="../tags/tag1231.xml"/><Relationship Id="rId8" Type="http://schemas.openxmlformats.org/officeDocument/2006/relationships/tags" Target="../tags/tag1191.xml"/><Relationship Id="rId51" Type="http://schemas.openxmlformats.org/officeDocument/2006/relationships/tags" Target="../tags/tag1234.xml"/><Relationship Id="rId3" Type="http://schemas.openxmlformats.org/officeDocument/2006/relationships/tags" Target="../tags/tag1186.xml"/><Relationship Id="rId12" Type="http://schemas.openxmlformats.org/officeDocument/2006/relationships/tags" Target="../tags/tag1195.xml"/><Relationship Id="rId17" Type="http://schemas.openxmlformats.org/officeDocument/2006/relationships/tags" Target="../tags/tag1200.xml"/><Relationship Id="rId25" Type="http://schemas.openxmlformats.org/officeDocument/2006/relationships/tags" Target="../tags/tag1208.xml"/><Relationship Id="rId33" Type="http://schemas.openxmlformats.org/officeDocument/2006/relationships/tags" Target="../tags/tag1216.xml"/><Relationship Id="rId38" Type="http://schemas.openxmlformats.org/officeDocument/2006/relationships/tags" Target="../tags/tag1221.xml"/><Relationship Id="rId46" Type="http://schemas.openxmlformats.org/officeDocument/2006/relationships/tags" Target="../tags/tag1229.xml"/><Relationship Id="rId20" Type="http://schemas.openxmlformats.org/officeDocument/2006/relationships/tags" Target="../tags/tag1203.xml"/><Relationship Id="rId41" Type="http://schemas.openxmlformats.org/officeDocument/2006/relationships/tags" Target="../tags/tag1224.xml"/><Relationship Id="rId54" Type="http://schemas.openxmlformats.org/officeDocument/2006/relationships/oleObject" Target="../embeddings/oleObject85.bin"/><Relationship Id="rId1" Type="http://schemas.openxmlformats.org/officeDocument/2006/relationships/tags" Target="../tags/tag1184.xml"/><Relationship Id="rId6" Type="http://schemas.openxmlformats.org/officeDocument/2006/relationships/tags" Target="../tags/tag1189.xml"/><Relationship Id="rId15" Type="http://schemas.openxmlformats.org/officeDocument/2006/relationships/tags" Target="../tags/tag1198.xml"/><Relationship Id="rId23" Type="http://schemas.openxmlformats.org/officeDocument/2006/relationships/tags" Target="../tags/tag1206.xml"/><Relationship Id="rId28" Type="http://schemas.openxmlformats.org/officeDocument/2006/relationships/tags" Target="../tags/tag1211.xml"/><Relationship Id="rId36" Type="http://schemas.openxmlformats.org/officeDocument/2006/relationships/tags" Target="../tags/tag1219.xml"/><Relationship Id="rId49" Type="http://schemas.openxmlformats.org/officeDocument/2006/relationships/tags" Target="../tags/tag1232.xml"/></Relationships>
</file>

<file path=ppt/slides/_rels/slide27.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tags" Target="../tags/tag156.xml"/><Relationship Id="rId7" Type="http://schemas.openxmlformats.org/officeDocument/2006/relationships/tags" Target="../tags/tag160.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tags" Target="../tags/tag159.xml"/><Relationship Id="rId5" Type="http://schemas.openxmlformats.org/officeDocument/2006/relationships/tags" Target="../tags/tag158.xml"/><Relationship Id="rId4" Type="http://schemas.openxmlformats.org/officeDocument/2006/relationships/tags" Target="../tags/tag157.xml"/><Relationship Id="rId9" Type="http://schemas.openxmlformats.org/officeDocument/2006/relationships/notesSlide" Target="../notesSlides/notesSlide2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tags" Target="../tags/tag10.xml"/><Relationship Id="rId7" Type="http://schemas.openxmlformats.org/officeDocument/2006/relationships/tags" Target="../tags/tag14.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image" Target="../media/image6.emf"/><Relationship Id="rId5" Type="http://schemas.openxmlformats.org/officeDocument/2006/relationships/tags" Target="../tags/tag12.xml"/><Relationship Id="rId10" Type="http://schemas.openxmlformats.org/officeDocument/2006/relationships/oleObject" Target="../embeddings/oleObject3.bin"/><Relationship Id="rId4" Type="http://schemas.openxmlformats.org/officeDocument/2006/relationships/tags" Target="../tags/tag11.xml"/><Relationship Id="rId9"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tags" Target="../tags/tag163.xml"/><Relationship Id="rId7" Type="http://schemas.openxmlformats.org/officeDocument/2006/relationships/tags" Target="../tags/tag167.xml"/><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tags" Target="../tags/tag166.xml"/><Relationship Id="rId5" Type="http://schemas.openxmlformats.org/officeDocument/2006/relationships/tags" Target="../tags/tag165.xml"/><Relationship Id="rId10" Type="http://schemas.openxmlformats.org/officeDocument/2006/relationships/oleObject" Target="../embeddings/oleObject6.bin"/><Relationship Id="rId4" Type="http://schemas.openxmlformats.org/officeDocument/2006/relationships/tags" Target="../tags/tag164.xml"/><Relationship Id="rId9" Type="http://schemas.openxmlformats.org/officeDocument/2006/relationships/notesSlide" Target="../notesSlides/notesSlide23.xml"/></Relationships>
</file>

<file path=ppt/slides/_rels/slide31.xml.rels><?xml version="1.0" encoding="UTF-8" standalone="yes"?>
<Relationships xmlns="http://schemas.openxmlformats.org/package/2006/relationships"><Relationship Id="rId8" Type="http://schemas.openxmlformats.org/officeDocument/2006/relationships/tags" Target="../tags/tag175.xml"/><Relationship Id="rId3" Type="http://schemas.openxmlformats.org/officeDocument/2006/relationships/tags" Target="../tags/tag170.xml"/><Relationship Id="rId7" Type="http://schemas.openxmlformats.org/officeDocument/2006/relationships/tags" Target="../tags/tag174.xml"/><Relationship Id="rId12" Type="http://schemas.openxmlformats.org/officeDocument/2006/relationships/image" Target="../media/image6.emf"/><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tags" Target="../tags/tag173.xml"/><Relationship Id="rId11" Type="http://schemas.openxmlformats.org/officeDocument/2006/relationships/oleObject" Target="../embeddings/oleObject7.bin"/><Relationship Id="rId5" Type="http://schemas.openxmlformats.org/officeDocument/2006/relationships/tags" Target="../tags/tag172.xml"/><Relationship Id="rId10" Type="http://schemas.openxmlformats.org/officeDocument/2006/relationships/notesSlide" Target="../notesSlides/notesSlide24.xml"/><Relationship Id="rId4" Type="http://schemas.openxmlformats.org/officeDocument/2006/relationships/tags" Target="../tags/tag171.xml"/><Relationship Id="rId9" Type="http://schemas.openxmlformats.org/officeDocument/2006/relationships/slideLayout" Target="../slideLayouts/slideLayout2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8.xml"/></Relationships>
</file>

<file path=ppt/slides/_rels/slide33.xml.rels><?xml version="1.0" encoding="UTF-8" standalone="yes"?>
<Relationships xmlns="http://schemas.openxmlformats.org/package/2006/relationships"><Relationship Id="rId3" Type="http://schemas.openxmlformats.org/officeDocument/2006/relationships/tags" Target="../tags/tag178.xml"/><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notesSlide" Target="../notesSlides/notesSlide26.xml"/><Relationship Id="rId5" Type="http://schemas.openxmlformats.org/officeDocument/2006/relationships/slideLayout" Target="../slideLayouts/slideLayout28.xml"/><Relationship Id="rId4" Type="http://schemas.openxmlformats.org/officeDocument/2006/relationships/tags" Target="../tags/tag179.xml"/></Relationships>
</file>

<file path=ppt/slides/_rels/slide34.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notesSlide" Target="../notesSlides/notesSlide27.xml"/><Relationship Id="rId4" Type="http://schemas.openxmlformats.org/officeDocument/2006/relationships/slideLayout" Target="../slideLayouts/slideLayout28.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8.xml"/><Relationship Id="rId1" Type="http://schemas.openxmlformats.org/officeDocument/2006/relationships/tags" Target="../tags/tag183.xml"/></Relationships>
</file>

<file path=ppt/slides/_rels/slide36.xml.rels><?xml version="1.0" encoding="UTF-8" standalone="yes"?>
<Relationships xmlns="http://schemas.openxmlformats.org/package/2006/relationships"><Relationship Id="rId8" Type="http://schemas.openxmlformats.org/officeDocument/2006/relationships/tags" Target="../tags/tag191.xml"/><Relationship Id="rId13" Type="http://schemas.openxmlformats.org/officeDocument/2006/relationships/notesSlide" Target="../notesSlides/notesSlide29.xml"/><Relationship Id="rId3" Type="http://schemas.openxmlformats.org/officeDocument/2006/relationships/tags" Target="../tags/tag186.xml"/><Relationship Id="rId7" Type="http://schemas.openxmlformats.org/officeDocument/2006/relationships/tags" Target="../tags/tag190.xml"/><Relationship Id="rId12" Type="http://schemas.openxmlformats.org/officeDocument/2006/relationships/slideLayout" Target="../slideLayouts/slideLayout28.xml"/><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tags" Target="../tags/tag189.xml"/><Relationship Id="rId11" Type="http://schemas.openxmlformats.org/officeDocument/2006/relationships/tags" Target="../tags/tag194.xml"/><Relationship Id="rId5" Type="http://schemas.openxmlformats.org/officeDocument/2006/relationships/tags" Target="../tags/tag188.xml"/><Relationship Id="rId10" Type="http://schemas.openxmlformats.org/officeDocument/2006/relationships/tags" Target="../tags/tag193.xml"/><Relationship Id="rId4" Type="http://schemas.openxmlformats.org/officeDocument/2006/relationships/tags" Target="../tags/tag187.xml"/><Relationship Id="rId9" Type="http://schemas.openxmlformats.org/officeDocument/2006/relationships/tags" Target="../tags/tag192.xml"/></Relationships>
</file>

<file path=ppt/slides/_rels/slide37.xml.rels><?xml version="1.0" encoding="UTF-8" standalone="yes"?>
<Relationships xmlns="http://schemas.openxmlformats.org/package/2006/relationships"><Relationship Id="rId3" Type="http://schemas.openxmlformats.org/officeDocument/2006/relationships/tags" Target="../tags/tag197.xml"/><Relationship Id="rId2" Type="http://schemas.openxmlformats.org/officeDocument/2006/relationships/tags" Target="../tags/tag196.xml"/><Relationship Id="rId1" Type="http://schemas.openxmlformats.org/officeDocument/2006/relationships/tags" Target="../tags/tag195.xml"/><Relationship Id="rId5" Type="http://schemas.openxmlformats.org/officeDocument/2006/relationships/notesSlide" Target="../notesSlides/notesSlide30.xml"/><Relationship Id="rId4" Type="http://schemas.openxmlformats.org/officeDocument/2006/relationships/slideLayout" Target="../slideLayouts/slideLayout28.xml"/></Relationships>
</file>

<file path=ppt/slides/_rels/slide38.xml.rels><?xml version="1.0" encoding="UTF-8" standalone="yes"?>
<Relationships xmlns="http://schemas.openxmlformats.org/package/2006/relationships"><Relationship Id="rId3" Type="http://schemas.openxmlformats.org/officeDocument/2006/relationships/tags" Target="../tags/tag200.xml"/><Relationship Id="rId2" Type="http://schemas.openxmlformats.org/officeDocument/2006/relationships/tags" Target="../tags/tag199.xml"/><Relationship Id="rId1" Type="http://schemas.openxmlformats.org/officeDocument/2006/relationships/tags" Target="../tags/tag198.xml"/><Relationship Id="rId5" Type="http://schemas.openxmlformats.org/officeDocument/2006/relationships/notesSlide" Target="../notesSlides/notesSlide31.xml"/><Relationship Id="rId4" Type="http://schemas.openxmlformats.org/officeDocument/2006/relationships/slideLayout" Target="../slideLayouts/slideLayout28.xml"/></Relationships>
</file>

<file path=ppt/slides/_rels/slide39.xml.rels><?xml version="1.0" encoding="UTF-8" standalone="yes"?>
<Relationships xmlns="http://schemas.openxmlformats.org/package/2006/relationships"><Relationship Id="rId3" Type="http://schemas.openxmlformats.org/officeDocument/2006/relationships/tags" Target="../tags/tag203.xml"/><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notesSlide" Target="../notesSlides/notesSlide32.xml"/><Relationship Id="rId5" Type="http://schemas.openxmlformats.org/officeDocument/2006/relationships/slideLayout" Target="../slideLayouts/slideLayout28.xml"/><Relationship Id="rId4" Type="http://schemas.openxmlformats.org/officeDocument/2006/relationships/tags" Target="../tags/tag204.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tags" Target="../tags/tag17.xml"/><Relationship Id="rId7" Type="http://schemas.openxmlformats.org/officeDocument/2006/relationships/tags" Target="../tags/tag2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5" Type="http://schemas.openxmlformats.org/officeDocument/2006/relationships/tags" Target="../tags/tag19.xml"/><Relationship Id="rId4" Type="http://schemas.openxmlformats.org/officeDocument/2006/relationships/tags" Target="../tags/tag18.xml"/></Relationships>
</file>

<file path=ppt/slides/_rels/slide40.xml.rels><?xml version="1.0" encoding="UTF-8" standalone="yes"?>
<Relationships xmlns="http://schemas.openxmlformats.org/package/2006/relationships"><Relationship Id="rId3" Type="http://schemas.openxmlformats.org/officeDocument/2006/relationships/tags" Target="../tags/tag207.xml"/><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notesSlide" Target="../notesSlides/notesSlide33.xml"/><Relationship Id="rId5" Type="http://schemas.openxmlformats.org/officeDocument/2006/relationships/slideLayout" Target="../slideLayouts/slideLayout28.xml"/><Relationship Id="rId4" Type="http://schemas.openxmlformats.org/officeDocument/2006/relationships/tags" Target="../tags/tag20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8.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8.xml"/><Relationship Id="rId1" Type="http://schemas.openxmlformats.org/officeDocument/2006/relationships/tags" Target="../tags/tag209.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8.xml"/><Relationship Id="rId1" Type="http://schemas.openxmlformats.org/officeDocument/2006/relationships/tags" Target="../tags/tag210.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8.xml"/><Relationship Id="rId1" Type="http://schemas.openxmlformats.org/officeDocument/2006/relationships/tags" Target="../tags/tag21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0.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0.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24.xml"/><Relationship Id="rId7" Type="http://schemas.openxmlformats.org/officeDocument/2006/relationships/slideLayout" Target="../slideLayouts/slideLayout24.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image" Target="../media/image7.png"/></Relationships>
</file>

<file path=ppt/slides/_rels/slide50.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tags" Target="../tags/tag214.xml"/><Relationship Id="rId7" Type="http://schemas.openxmlformats.org/officeDocument/2006/relationships/tags" Target="../tags/tag218.xml"/><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tags" Target="../tags/tag217.xml"/><Relationship Id="rId5" Type="http://schemas.openxmlformats.org/officeDocument/2006/relationships/tags" Target="../tags/tag216.xml"/><Relationship Id="rId10" Type="http://schemas.openxmlformats.org/officeDocument/2006/relationships/oleObject" Target="../embeddings/oleObject8.bin"/><Relationship Id="rId4" Type="http://schemas.openxmlformats.org/officeDocument/2006/relationships/tags" Target="../tags/tag215.xml"/><Relationship Id="rId9" Type="http://schemas.openxmlformats.org/officeDocument/2006/relationships/notesSlide" Target="../notesSlides/notesSlide42.xml"/></Relationships>
</file>

<file path=ppt/slides/_rels/slide51.xml.rels><?xml version="1.0" encoding="UTF-8" standalone="yes"?>
<Relationships xmlns="http://schemas.openxmlformats.org/package/2006/relationships"><Relationship Id="rId8" Type="http://schemas.openxmlformats.org/officeDocument/2006/relationships/tags" Target="../tags/tag226.xml"/><Relationship Id="rId13" Type="http://schemas.openxmlformats.org/officeDocument/2006/relationships/tags" Target="../tags/tag231.xml"/><Relationship Id="rId18" Type="http://schemas.openxmlformats.org/officeDocument/2006/relationships/notesSlide" Target="../notesSlides/notesSlide43.xml"/><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tags" Target="../tags/tag230.xml"/><Relationship Id="rId17" Type="http://schemas.openxmlformats.org/officeDocument/2006/relationships/slideLayout" Target="../slideLayouts/slideLayout28.xml"/><Relationship Id="rId2" Type="http://schemas.openxmlformats.org/officeDocument/2006/relationships/tags" Target="../tags/tag220.xml"/><Relationship Id="rId16" Type="http://schemas.openxmlformats.org/officeDocument/2006/relationships/tags" Target="../tags/tag234.xml"/><Relationship Id="rId20" Type="http://schemas.openxmlformats.org/officeDocument/2006/relationships/image" Target="../media/image6.emf"/><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5" Type="http://schemas.openxmlformats.org/officeDocument/2006/relationships/tags" Target="../tags/tag223.xml"/><Relationship Id="rId15" Type="http://schemas.openxmlformats.org/officeDocument/2006/relationships/tags" Target="../tags/tag233.xml"/><Relationship Id="rId10" Type="http://schemas.openxmlformats.org/officeDocument/2006/relationships/tags" Target="../tags/tag228.xml"/><Relationship Id="rId19" Type="http://schemas.openxmlformats.org/officeDocument/2006/relationships/oleObject" Target="../embeddings/oleObject9.bin"/><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tags" Target="../tags/tag23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8.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8.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8.xml"/></Relationships>
</file>

<file path=ppt/slides/_rels/slide55.xml.rels><?xml version="1.0" encoding="UTF-8" standalone="yes"?>
<Relationships xmlns="http://schemas.openxmlformats.org/package/2006/relationships"><Relationship Id="rId8" Type="http://schemas.openxmlformats.org/officeDocument/2006/relationships/tags" Target="../tags/tag242.xml"/><Relationship Id="rId13" Type="http://schemas.openxmlformats.org/officeDocument/2006/relationships/tags" Target="../tags/tag247.xml"/><Relationship Id="rId18" Type="http://schemas.openxmlformats.org/officeDocument/2006/relationships/tags" Target="../tags/tag252.xml"/><Relationship Id="rId26" Type="http://schemas.openxmlformats.org/officeDocument/2006/relationships/oleObject" Target="../embeddings/oleObject10.bin"/><Relationship Id="rId3" Type="http://schemas.openxmlformats.org/officeDocument/2006/relationships/tags" Target="../tags/tag237.xml"/><Relationship Id="rId21" Type="http://schemas.openxmlformats.org/officeDocument/2006/relationships/tags" Target="../tags/tag255.xml"/><Relationship Id="rId7" Type="http://schemas.openxmlformats.org/officeDocument/2006/relationships/tags" Target="../tags/tag241.xml"/><Relationship Id="rId12" Type="http://schemas.openxmlformats.org/officeDocument/2006/relationships/tags" Target="../tags/tag246.xml"/><Relationship Id="rId17" Type="http://schemas.openxmlformats.org/officeDocument/2006/relationships/tags" Target="../tags/tag251.xml"/><Relationship Id="rId25" Type="http://schemas.openxmlformats.org/officeDocument/2006/relationships/notesSlide" Target="../notesSlides/notesSlide47.xml"/><Relationship Id="rId2" Type="http://schemas.openxmlformats.org/officeDocument/2006/relationships/tags" Target="../tags/tag236.xml"/><Relationship Id="rId16" Type="http://schemas.openxmlformats.org/officeDocument/2006/relationships/tags" Target="../tags/tag250.xml"/><Relationship Id="rId20" Type="http://schemas.openxmlformats.org/officeDocument/2006/relationships/tags" Target="../tags/tag254.xml"/><Relationship Id="rId1" Type="http://schemas.openxmlformats.org/officeDocument/2006/relationships/tags" Target="../tags/tag235.xml"/><Relationship Id="rId6" Type="http://schemas.openxmlformats.org/officeDocument/2006/relationships/tags" Target="../tags/tag240.xml"/><Relationship Id="rId11" Type="http://schemas.openxmlformats.org/officeDocument/2006/relationships/tags" Target="../tags/tag245.xml"/><Relationship Id="rId24" Type="http://schemas.openxmlformats.org/officeDocument/2006/relationships/slideLayout" Target="../slideLayouts/slideLayout28.xml"/><Relationship Id="rId5" Type="http://schemas.openxmlformats.org/officeDocument/2006/relationships/tags" Target="../tags/tag239.xml"/><Relationship Id="rId15" Type="http://schemas.openxmlformats.org/officeDocument/2006/relationships/tags" Target="../tags/tag249.xml"/><Relationship Id="rId23" Type="http://schemas.openxmlformats.org/officeDocument/2006/relationships/tags" Target="../tags/tag257.xml"/><Relationship Id="rId10" Type="http://schemas.openxmlformats.org/officeDocument/2006/relationships/tags" Target="../tags/tag244.xml"/><Relationship Id="rId19" Type="http://schemas.openxmlformats.org/officeDocument/2006/relationships/tags" Target="../tags/tag253.xml"/><Relationship Id="rId4" Type="http://schemas.openxmlformats.org/officeDocument/2006/relationships/tags" Target="../tags/tag238.xml"/><Relationship Id="rId9" Type="http://schemas.openxmlformats.org/officeDocument/2006/relationships/tags" Target="../tags/tag243.xml"/><Relationship Id="rId14" Type="http://schemas.openxmlformats.org/officeDocument/2006/relationships/tags" Target="../tags/tag248.xml"/><Relationship Id="rId22" Type="http://schemas.openxmlformats.org/officeDocument/2006/relationships/tags" Target="../tags/tag25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8.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259.xml"/><Relationship Id="rId1" Type="http://schemas.openxmlformats.org/officeDocument/2006/relationships/tags" Target="../tags/tag258.xml"/><Relationship Id="rId5" Type="http://schemas.openxmlformats.org/officeDocument/2006/relationships/oleObject" Target="../embeddings/oleObject11.bin"/><Relationship Id="rId4" Type="http://schemas.openxmlformats.org/officeDocument/2006/relationships/notesSlide" Target="../notesSlides/notesSlide49.xml"/></Relationships>
</file>

<file path=ppt/slides/_rels/slide58.xml.rels><?xml version="1.0" encoding="UTF-8" standalone="yes"?>
<Relationships xmlns="http://schemas.openxmlformats.org/package/2006/relationships"><Relationship Id="rId13" Type="http://schemas.openxmlformats.org/officeDocument/2006/relationships/tags" Target="../tags/tag272.xml"/><Relationship Id="rId18" Type="http://schemas.openxmlformats.org/officeDocument/2006/relationships/tags" Target="../tags/tag277.xml"/><Relationship Id="rId26" Type="http://schemas.openxmlformats.org/officeDocument/2006/relationships/tags" Target="../tags/tag285.xml"/><Relationship Id="rId3" Type="http://schemas.openxmlformats.org/officeDocument/2006/relationships/tags" Target="../tags/tag262.xml"/><Relationship Id="rId21" Type="http://schemas.openxmlformats.org/officeDocument/2006/relationships/tags" Target="../tags/tag280.xml"/><Relationship Id="rId34" Type="http://schemas.openxmlformats.org/officeDocument/2006/relationships/notesSlide" Target="../notesSlides/notesSlide50.xml"/><Relationship Id="rId7" Type="http://schemas.openxmlformats.org/officeDocument/2006/relationships/tags" Target="../tags/tag266.xml"/><Relationship Id="rId12" Type="http://schemas.openxmlformats.org/officeDocument/2006/relationships/tags" Target="../tags/tag271.xml"/><Relationship Id="rId17" Type="http://schemas.openxmlformats.org/officeDocument/2006/relationships/tags" Target="../tags/tag276.xml"/><Relationship Id="rId25" Type="http://schemas.openxmlformats.org/officeDocument/2006/relationships/tags" Target="../tags/tag284.xml"/><Relationship Id="rId33" Type="http://schemas.openxmlformats.org/officeDocument/2006/relationships/slideLayout" Target="../slideLayouts/slideLayout28.xml"/><Relationship Id="rId2" Type="http://schemas.openxmlformats.org/officeDocument/2006/relationships/tags" Target="../tags/tag261.xml"/><Relationship Id="rId16" Type="http://schemas.openxmlformats.org/officeDocument/2006/relationships/tags" Target="../tags/tag275.xml"/><Relationship Id="rId20" Type="http://schemas.openxmlformats.org/officeDocument/2006/relationships/tags" Target="../tags/tag279.xml"/><Relationship Id="rId29" Type="http://schemas.openxmlformats.org/officeDocument/2006/relationships/tags" Target="../tags/tag288.xml"/><Relationship Id="rId1" Type="http://schemas.openxmlformats.org/officeDocument/2006/relationships/tags" Target="../tags/tag260.xml"/><Relationship Id="rId6" Type="http://schemas.openxmlformats.org/officeDocument/2006/relationships/tags" Target="../tags/tag265.xml"/><Relationship Id="rId11" Type="http://schemas.openxmlformats.org/officeDocument/2006/relationships/tags" Target="../tags/tag270.xml"/><Relationship Id="rId24" Type="http://schemas.openxmlformats.org/officeDocument/2006/relationships/tags" Target="../tags/tag283.xml"/><Relationship Id="rId32" Type="http://schemas.openxmlformats.org/officeDocument/2006/relationships/tags" Target="../tags/tag291.xml"/><Relationship Id="rId5" Type="http://schemas.openxmlformats.org/officeDocument/2006/relationships/tags" Target="../tags/tag264.xml"/><Relationship Id="rId15" Type="http://schemas.openxmlformats.org/officeDocument/2006/relationships/tags" Target="../tags/tag274.xml"/><Relationship Id="rId23" Type="http://schemas.openxmlformats.org/officeDocument/2006/relationships/tags" Target="../tags/tag282.xml"/><Relationship Id="rId28" Type="http://schemas.openxmlformats.org/officeDocument/2006/relationships/tags" Target="../tags/tag287.xml"/><Relationship Id="rId10" Type="http://schemas.openxmlformats.org/officeDocument/2006/relationships/tags" Target="../tags/tag269.xml"/><Relationship Id="rId19" Type="http://schemas.openxmlformats.org/officeDocument/2006/relationships/tags" Target="../tags/tag278.xml"/><Relationship Id="rId31" Type="http://schemas.openxmlformats.org/officeDocument/2006/relationships/tags" Target="../tags/tag290.xml"/><Relationship Id="rId4" Type="http://schemas.openxmlformats.org/officeDocument/2006/relationships/tags" Target="../tags/tag263.xml"/><Relationship Id="rId9" Type="http://schemas.openxmlformats.org/officeDocument/2006/relationships/tags" Target="../tags/tag268.xml"/><Relationship Id="rId14" Type="http://schemas.openxmlformats.org/officeDocument/2006/relationships/tags" Target="../tags/tag273.xml"/><Relationship Id="rId22" Type="http://schemas.openxmlformats.org/officeDocument/2006/relationships/tags" Target="../tags/tag281.xml"/><Relationship Id="rId27" Type="http://schemas.openxmlformats.org/officeDocument/2006/relationships/tags" Target="../tags/tag286.xml"/><Relationship Id="rId30" Type="http://schemas.openxmlformats.org/officeDocument/2006/relationships/tags" Target="../tags/tag289.xml"/><Relationship Id="rId35" Type="http://schemas.openxmlformats.org/officeDocument/2006/relationships/oleObject" Target="../embeddings/oleObject12.bin"/><Relationship Id="rId8" Type="http://schemas.openxmlformats.org/officeDocument/2006/relationships/tags" Target="../tags/tag267.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slideLayout" Target="../slideLayouts/slideLayout24.xml"/><Relationship Id="rId4" Type="http://schemas.openxmlformats.org/officeDocument/2006/relationships/tags" Target="../tags/tag3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6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2.xml"/><Relationship Id="rId1" Type="http://schemas.openxmlformats.org/officeDocument/2006/relationships/slideLayout" Target="../slideLayouts/slideLayout46.xml"/></Relationships>
</file>

<file path=ppt/slides/_rels/slide6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53.xml"/><Relationship Id="rId1" Type="http://schemas.openxmlformats.org/officeDocument/2006/relationships/slideLayout" Target="../slideLayouts/slideLayout46.xml"/></Relationships>
</file>

<file path=ppt/slides/_rels/slide63.xml.rels><?xml version="1.0" encoding="UTF-8" standalone="yes"?>
<Relationships xmlns="http://schemas.openxmlformats.org/package/2006/relationships"><Relationship Id="rId8" Type="http://schemas.openxmlformats.org/officeDocument/2006/relationships/notesSlide" Target="../notesSlides/notesSlide54.xml"/><Relationship Id="rId3" Type="http://schemas.openxmlformats.org/officeDocument/2006/relationships/tags" Target="../tags/tag294.xml"/><Relationship Id="rId7" Type="http://schemas.openxmlformats.org/officeDocument/2006/relationships/slideLayout" Target="../slideLayouts/slideLayout46.xml"/><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tags" Target="../tags/tag297.xml"/><Relationship Id="rId5" Type="http://schemas.openxmlformats.org/officeDocument/2006/relationships/tags" Target="../tags/tag296.xml"/><Relationship Id="rId10" Type="http://schemas.openxmlformats.org/officeDocument/2006/relationships/chart" Target="../charts/chart7.xml"/><Relationship Id="rId4" Type="http://schemas.openxmlformats.org/officeDocument/2006/relationships/tags" Target="../tags/tag295.xml"/><Relationship Id="rId9" Type="http://schemas.openxmlformats.org/officeDocument/2006/relationships/chart" Target="../charts/chart6.xml"/></Relationships>
</file>

<file path=ppt/slides/_rels/slide64.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tags" Target="../tags/tag300.xml"/><Relationship Id="rId7" Type="http://schemas.openxmlformats.org/officeDocument/2006/relationships/chart" Target="../charts/chart8.xml"/><Relationship Id="rId2" Type="http://schemas.openxmlformats.org/officeDocument/2006/relationships/tags" Target="../tags/tag299.xml"/><Relationship Id="rId1" Type="http://schemas.openxmlformats.org/officeDocument/2006/relationships/tags" Target="../tags/tag298.xml"/><Relationship Id="rId6" Type="http://schemas.openxmlformats.org/officeDocument/2006/relationships/notesSlide" Target="../notesSlides/notesSlide55.xml"/><Relationship Id="rId5" Type="http://schemas.openxmlformats.org/officeDocument/2006/relationships/slideLayout" Target="../slideLayouts/slideLayout46.xml"/><Relationship Id="rId10" Type="http://schemas.openxmlformats.org/officeDocument/2006/relationships/chart" Target="../charts/chart11.xml"/><Relationship Id="rId4" Type="http://schemas.openxmlformats.org/officeDocument/2006/relationships/tags" Target="../tags/tag301.xml"/><Relationship Id="rId9" Type="http://schemas.openxmlformats.org/officeDocument/2006/relationships/chart" Target="../charts/chart10.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46.xml"/><Relationship Id="rId1" Type="http://schemas.openxmlformats.org/officeDocument/2006/relationships/tags" Target="../tags/tag302.xml"/><Relationship Id="rId4" Type="http://schemas.openxmlformats.org/officeDocument/2006/relationships/chart" Target="../charts/chart12.xml"/></Relationships>
</file>

<file path=ppt/slides/_rels/slide66.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57.xml"/><Relationship Id="rId1" Type="http://schemas.openxmlformats.org/officeDocument/2006/relationships/slideLayout" Target="../slideLayouts/slideLayout28.xml"/><Relationship Id="rId4" Type="http://schemas.openxmlformats.org/officeDocument/2006/relationships/chart" Target="../charts/chart14.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28.xml"/><Relationship Id="rId1" Type="http://schemas.openxmlformats.org/officeDocument/2006/relationships/tags" Target="../tags/tag303.xml"/><Relationship Id="rId4" Type="http://schemas.openxmlformats.org/officeDocument/2006/relationships/chart" Target="../charts/chart15.xml"/></Relationships>
</file>

<file path=ppt/slides/_rels/slide68.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59.xml"/><Relationship Id="rId1" Type="http://schemas.openxmlformats.org/officeDocument/2006/relationships/slideLayout" Target="../slideLayouts/slideLayout30.xml"/><Relationship Id="rId4" Type="http://schemas.openxmlformats.org/officeDocument/2006/relationships/chart" Target="../charts/chart17.xml"/></Relationships>
</file>

<file path=ppt/slides/_rels/slide69.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60.xml"/><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34.xml"/><Relationship Id="rId7" Type="http://schemas.openxmlformats.org/officeDocument/2006/relationships/slideLayout" Target="../slideLayouts/slideLayout2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5" Type="http://schemas.openxmlformats.org/officeDocument/2006/relationships/tags" Target="../tags/tag36.xml"/><Relationship Id="rId4" Type="http://schemas.openxmlformats.org/officeDocument/2006/relationships/tags" Target="../tags/tag35.xml"/></Relationships>
</file>

<file path=ppt/slides/_rels/slide70.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chart" Target="../charts/chart20.xml"/><Relationship Id="rId3" Type="http://schemas.openxmlformats.org/officeDocument/2006/relationships/tags" Target="../tags/tag306.xml"/><Relationship Id="rId7" Type="http://schemas.openxmlformats.org/officeDocument/2006/relationships/tags" Target="../tags/tag310.xml"/><Relationship Id="rId12" Type="http://schemas.openxmlformats.org/officeDocument/2006/relationships/chart" Target="../charts/chart19.xml"/><Relationship Id="rId2" Type="http://schemas.openxmlformats.org/officeDocument/2006/relationships/tags" Target="../tags/tag305.xml"/><Relationship Id="rId1" Type="http://schemas.openxmlformats.org/officeDocument/2006/relationships/tags" Target="../tags/tag304.xml"/><Relationship Id="rId6" Type="http://schemas.openxmlformats.org/officeDocument/2006/relationships/tags" Target="../tags/tag309.xml"/><Relationship Id="rId11" Type="http://schemas.openxmlformats.org/officeDocument/2006/relationships/image" Target="../media/image6.emf"/><Relationship Id="rId5" Type="http://schemas.openxmlformats.org/officeDocument/2006/relationships/tags" Target="../tags/tag308.xml"/><Relationship Id="rId15" Type="http://schemas.openxmlformats.org/officeDocument/2006/relationships/chart" Target="../charts/chart22.xml"/><Relationship Id="rId10" Type="http://schemas.openxmlformats.org/officeDocument/2006/relationships/oleObject" Target="../embeddings/oleObject13.bin"/><Relationship Id="rId4" Type="http://schemas.openxmlformats.org/officeDocument/2006/relationships/tags" Target="../tags/tag307.xml"/><Relationship Id="rId9" Type="http://schemas.openxmlformats.org/officeDocument/2006/relationships/notesSlide" Target="../notesSlides/notesSlide61.xml"/><Relationship Id="rId14" Type="http://schemas.openxmlformats.org/officeDocument/2006/relationships/chart" Target="../charts/chart21.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28.xml"/><Relationship Id="rId1" Type="http://schemas.openxmlformats.org/officeDocument/2006/relationships/tags" Target="../tags/tag311.xml"/><Relationship Id="rId4" Type="http://schemas.openxmlformats.org/officeDocument/2006/relationships/chart" Target="../charts/chart23.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28.xml"/><Relationship Id="rId1" Type="http://schemas.openxmlformats.org/officeDocument/2006/relationships/tags" Target="../tags/tag312.xml"/><Relationship Id="rId4" Type="http://schemas.openxmlformats.org/officeDocument/2006/relationships/chart" Target="../charts/chart24.xml"/></Relationships>
</file>

<file path=ppt/slides/_rels/slide73.xml.rels><?xml version="1.0" encoding="UTF-8" standalone="yes"?>
<Relationships xmlns="http://schemas.openxmlformats.org/package/2006/relationships"><Relationship Id="rId8" Type="http://schemas.openxmlformats.org/officeDocument/2006/relationships/chart" Target="../charts/chart26.xml"/><Relationship Id="rId3" Type="http://schemas.openxmlformats.org/officeDocument/2006/relationships/tags" Target="../tags/tag315.xml"/><Relationship Id="rId7" Type="http://schemas.openxmlformats.org/officeDocument/2006/relationships/chart" Target="../charts/chart25.xml"/><Relationship Id="rId2" Type="http://schemas.openxmlformats.org/officeDocument/2006/relationships/tags" Target="../tags/tag314.xml"/><Relationship Id="rId1" Type="http://schemas.openxmlformats.org/officeDocument/2006/relationships/tags" Target="../tags/tag313.xml"/><Relationship Id="rId6" Type="http://schemas.openxmlformats.org/officeDocument/2006/relationships/notesSlide" Target="../notesSlides/notesSlide64.xml"/><Relationship Id="rId5" Type="http://schemas.openxmlformats.org/officeDocument/2006/relationships/slideLayout" Target="../slideLayouts/slideLayout28.xml"/><Relationship Id="rId10" Type="http://schemas.openxmlformats.org/officeDocument/2006/relationships/chart" Target="../charts/chart28.xml"/><Relationship Id="rId4" Type="http://schemas.openxmlformats.org/officeDocument/2006/relationships/tags" Target="../tags/tag316.xml"/><Relationship Id="rId9" Type="http://schemas.openxmlformats.org/officeDocument/2006/relationships/chart" Target="../charts/chart27.xm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28.xml"/><Relationship Id="rId1" Type="http://schemas.openxmlformats.org/officeDocument/2006/relationships/tags" Target="../tags/tag317.xml"/><Relationship Id="rId4" Type="http://schemas.openxmlformats.org/officeDocument/2006/relationships/chart" Target="../charts/chart29.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28.xml"/><Relationship Id="rId1" Type="http://schemas.openxmlformats.org/officeDocument/2006/relationships/tags" Target="../tags/tag318.xml"/><Relationship Id="rId4" Type="http://schemas.openxmlformats.org/officeDocument/2006/relationships/chart" Target="../charts/chart30.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28.xml"/><Relationship Id="rId1" Type="http://schemas.openxmlformats.org/officeDocument/2006/relationships/tags" Target="../tags/tag319.xml"/><Relationship Id="rId4" Type="http://schemas.openxmlformats.org/officeDocument/2006/relationships/chart" Target="../charts/chart31.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28.xml"/><Relationship Id="rId1" Type="http://schemas.openxmlformats.org/officeDocument/2006/relationships/tags" Target="../tags/tag320.xml"/><Relationship Id="rId4" Type="http://schemas.openxmlformats.org/officeDocument/2006/relationships/chart" Target="../charts/chart32.xml"/></Relationships>
</file>

<file path=ppt/slides/_rels/slide78.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69.xml"/><Relationship Id="rId1" Type="http://schemas.openxmlformats.org/officeDocument/2006/relationships/slideLayout" Target="../slideLayouts/slideLayout28.xml"/></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322.xml"/><Relationship Id="rId1" Type="http://schemas.openxmlformats.org/officeDocument/2006/relationships/tags" Target="../tags/tag321.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notesSlide" Target="../notesSlides/notesSlide7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28.xml"/><Relationship Id="rId1" Type="http://schemas.openxmlformats.org/officeDocument/2006/relationships/tags" Target="../tags/tag323.xml"/><Relationship Id="rId5" Type="http://schemas.openxmlformats.org/officeDocument/2006/relationships/chart" Target="../charts/chart37.xml"/><Relationship Id="rId4" Type="http://schemas.openxmlformats.org/officeDocument/2006/relationships/chart" Target="../charts/chart36.xml"/></Relationships>
</file>

<file path=ppt/slides/_rels/slide81.xml.rels><?xml version="1.0" encoding="UTF-8" standalone="yes"?>
<Relationships xmlns="http://schemas.openxmlformats.org/package/2006/relationships"><Relationship Id="rId8" Type="http://schemas.openxmlformats.org/officeDocument/2006/relationships/chart" Target="../charts/chart38.xml"/><Relationship Id="rId3" Type="http://schemas.openxmlformats.org/officeDocument/2006/relationships/tags" Target="../tags/tag326.xml"/><Relationship Id="rId7" Type="http://schemas.openxmlformats.org/officeDocument/2006/relationships/notesSlide" Target="../notesSlides/notesSlide72.xml"/><Relationship Id="rId2" Type="http://schemas.openxmlformats.org/officeDocument/2006/relationships/tags" Target="../tags/tag325.xml"/><Relationship Id="rId1" Type="http://schemas.openxmlformats.org/officeDocument/2006/relationships/tags" Target="../tags/tag324.xml"/><Relationship Id="rId6" Type="http://schemas.openxmlformats.org/officeDocument/2006/relationships/slideLayout" Target="../slideLayouts/slideLayout28.xml"/><Relationship Id="rId5" Type="http://schemas.openxmlformats.org/officeDocument/2006/relationships/tags" Target="../tags/tag328.xml"/><Relationship Id="rId4" Type="http://schemas.openxmlformats.org/officeDocument/2006/relationships/tags" Target="../tags/tag327.xml"/><Relationship Id="rId9" Type="http://schemas.openxmlformats.org/officeDocument/2006/relationships/chart" Target="../charts/chart39.xml"/></Relationships>
</file>

<file path=ppt/slides/_rels/slide82.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tags" Target="../tags/tag331.xml"/><Relationship Id="rId7" Type="http://schemas.openxmlformats.org/officeDocument/2006/relationships/tags" Target="../tags/tag335.xml"/><Relationship Id="rId12" Type="http://schemas.openxmlformats.org/officeDocument/2006/relationships/chart" Target="../charts/chart41.xml"/><Relationship Id="rId2" Type="http://schemas.openxmlformats.org/officeDocument/2006/relationships/tags" Target="../tags/tag330.xml"/><Relationship Id="rId1" Type="http://schemas.openxmlformats.org/officeDocument/2006/relationships/tags" Target="../tags/tag329.xml"/><Relationship Id="rId6" Type="http://schemas.openxmlformats.org/officeDocument/2006/relationships/tags" Target="../tags/tag334.xml"/><Relationship Id="rId11" Type="http://schemas.openxmlformats.org/officeDocument/2006/relationships/chart" Target="../charts/chart40.xml"/><Relationship Id="rId5" Type="http://schemas.openxmlformats.org/officeDocument/2006/relationships/tags" Target="../tags/tag333.xml"/><Relationship Id="rId10" Type="http://schemas.openxmlformats.org/officeDocument/2006/relationships/oleObject" Target="../embeddings/oleObject14.bin"/><Relationship Id="rId4" Type="http://schemas.openxmlformats.org/officeDocument/2006/relationships/tags" Target="../tags/tag332.xml"/><Relationship Id="rId9" Type="http://schemas.openxmlformats.org/officeDocument/2006/relationships/notesSlide" Target="../notesSlides/notesSlide73.xml"/></Relationships>
</file>

<file path=ppt/slides/_rels/slide8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tags" Target="../tags/tag338.xml"/><Relationship Id="rId7" Type="http://schemas.openxmlformats.org/officeDocument/2006/relationships/tags" Target="../tags/tag342.xml"/><Relationship Id="rId12" Type="http://schemas.openxmlformats.org/officeDocument/2006/relationships/chart" Target="../charts/chart43.xml"/><Relationship Id="rId2" Type="http://schemas.openxmlformats.org/officeDocument/2006/relationships/tags" Target="../tags/tag337.xml"/><Relationship Id="rId1" Type="http://schemas.openxmlformats.org/officeDocument/2006/relationships/tags" Target="../tags/tag336.xml"/><Relationship Id="rId6" Type="http://schemas.openxmlformats.org/officeDocument/2006/relationships/tags" Target="../tags/tag341.xml"/><Relationship Id="rId11" Type="http://schemas.openxmlformats.org/officeDocument/2006/relationships/chart" Target="../charts/chart42.xml"/><Relationship Id="rId5" Type="http://schemas.openxmlformats.org/officeDocument/2006/relationships/tags" Target="../tags/tag340.xml"/><Relationship Id="rId10" Type="http://schemas.openxmlformats.org/officeDocument/2006/relationships/oleObject" Target="../embeddings/oleObject15.bin"/><Relationship Id="rId4" Type="http://schemas.openxmlformats.org/officeDocument/2006/relationships/tags" Target="../tags/tag339.xml"/><Relationship Id="rId9" Type="http://schemas.openxmlformats.org/officeDocument/2006/relationships/notesSlide" Target="../notesSlides/notesSlide74.xml"/></Relationships>
</file>

<file path=ppt/slides/_rels/slide84.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notesSlide" Target="../notesSlides/notesSlide75.xml"/><Relationship Id="rId1" Type="http://schemas.openxmlformats.org/officeDocument/2006/relationships/slideLayout" Target="../slideLayouts/slideLayout30.xml"/></Relationships>
</file>

<file path=ppt/slides/_rels/slide85.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notesSlide" Target="../notesSlides/notesSlide76.xml"/><Relationship Id="rId1" Type="http://schemas.openxmlformats.org/officeDocument/2006/relationships/slideLayout" Target="../slideLayouts/slideLayout28.xml"/><Relationship Id="rId5" Type="http://schemas.openxmlformats.org/officeDocument/2006/relationships/chart" Target="../charts/chart47.xml"/><Relationship Id="rId4" Type="http://schemas.openxmlformats.org/officeDocument/2006/relationships/chart" Target="../charts/chart46.xml"/></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28.xml"/><Relationship Id="rId1" Type="http://schemas.openxmlformats.org/officeDocument/2006/relationships/tags" Target="../tags/tag343.xml"/><Relationship Id="rId4" Type="http://schemas.openxmlformats.org/officeDocument/2006/relationships/chart" Target="../charts/chart48.xml"/></Relationships>
</file>

<file path=ppt/slides/_rels/slide87.xml.rels><?xml version="1.0" encoding="UTF-8" standalone="yes"?>
<Relationships xmlns="http://schemas.openxmlformats.org/package/2006/relationships"><Relationship Id="rId3" Type="http://schemas.openxmlformats.org/officeDocument/2006/relationships/tags" Target="../tags/tag346.xml"/><Relationship Id="rId7" Type="http://schemas.openxmlformats.org/officeDocument/2006/relationships/chart" Target="../charts/chart49.xml"/><Relationship Id="rId2" Type="http://schemas.openxmlformats.org/officeDocument/2006/relationships/tags" Target="../tags/tag345.xml"/><Relationship Id="rId1" Type="http://schemas.openxmlformats.org/officeDocument/2006/relationships/tags" Target="../tags/tag344.xml"/><Relationship Id="rId6" Type="http://schemas.openxmlformats.org/officeDocument/2006/relationships/notesSlide" Target="../notesSlides/notesSlide78.xml"/><Relationship Id="rId5" Type="http://schemas.openxmlformats.org/officeDocument/2006/relationships/slideLayout" Target="../slideLayouts/slideLayout28.xml"/><Relationship Id="rId4" Type="http://schemas.openxmlformats.org/officeDocument/2006/relationships/tags" Target="../tags/tag347.xml"/></Relationships>
</file>

<file path=ppt/slides/_rels/slide88.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349.xml"/><Relationship Id="rId1" Type="http://schemas.openxmlformats.org/officeDocument/2006/relationships/tags" Target="../tags/tag348.xml"/><Relationship Id="rId6" Type="http://schemas.openxmlformats.org/officeDocument/2006/relationships/chart" Target="../charts/chart51.xml"/><Relationship Id="rId5" Type="http://schemas.openxmlformats.org/officeDocument/2006/relationships/chart" Target="../charts/chart50.xml"/><Relationship Id="rId4" Type="http://schemas.openxmlformats.org/officeDocument/2006/relationships/notesSlide" Target="../notesSlides/notesSlide79.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30.xml"/><Relationship Id="rId1" Type="http://schemas.openxmlformats.org/officeDocument/2006/relationships/tags" Target="../tags/tag350.xml"/><Relationship Id="rId4" Type="http://schemas.openxmlformats.org/officeDocument/2006/relationships/chart" Target="../charts/chart5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3.xml"/><Relationship Id="rId1" Type="http://schemas.openxmlformats.org/officeDocument/2006/relationships/tags" Target="../tags/tag38.xml"/></Relationships>
</file>

<file path=ppt/slides/_rels/slide90.xml.rels><?xml version="1.0" encoding="UTF-8" standalone="yes"?>
<Relationships xmlns="http://schemas.openxmlformats.org/package/2006/relationships"><Relationship Id="rId3" Type="http://schemas.openxmlformats.org/officeDocument/2006/relationships/tags" Target="../tags/tag353.xml"/><Relationship Id="rId7" Type="http://schemas.openxmlformats.org/officeDocument/2006/relationships/chart" Target="../charts/chart53.xml"/><Relationship Id="rId2" Type="http://schemas.openxmlformats.org/officeDocument/2006/relationships/tags" Target="../tags/tag352.xml"/><Relationship Id="rId1" Type="http://schemas.openxmlformats.org/officeDocument/2006/relationships/tags" Target="../tags/tag351.xml"/><Relationship Id="rId6" Type="http://schemas.openxmlformats.org/officeDocument/2006/relationships/notesSlide" Target="../notesSlides/notesSlide81.xml"/><Relationship Id="rId5" Type="http://schemas.openxmlformats.org/officeDocument/2006/relationships/slideLayout" Target="../slideLayouts/slideLayout28.xml"/><Relationship Id="rId4" Type="http://schemas.openxmlformats.org/officeDocument/2006/relationships/tags" Target="../tags/tag354.xml"/></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356.xml"/><Relationship Id="rId1" Type="http://schemas.openxmlformats.org/officeDocument/2006/relationships/tags" Target="../tags/tag355.xml"/><Relationship Id="rId6" Type="http://schemas.openxmlformats.org/officeDocument/2006/relationships/chart" Target="../charts/chart55.xml"/><Relationship Id="rId5" Type="http://schemas.openxmlformats.org/officeDocument/2006/relationships/chart" Target="../charts/chart54.xml"/><Relationship Id="rId4" Type="http://schemas.openxmlformats.org/officeDocument/2006/relationships/notesSlide" Target="../notesSlides/notesSlide82.xml"/></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30.xml"/><Relationship Id="rId1" Type="http://schemas.openxmlformats.org/officeDocument/2006/relationships/tags" Target="../tags/tag357.xml"/><Relationship Id="rId4" Type="http://schemas.openxmlformats.org/officeDocument/2006/relationships/chart" Target="../charts/chart56.xml"/></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28.xml"/><Relationship Id="rId1" Type="http://schemas.openxmlformats.org/officeDocument/2006/relationships/tags" Target="../tags/tag358.xml"/><Relationship Id="rId4" Type="http://schemas.openxmlformats.org/officeDocument/2006/relationships/chart" Target="../charts/chart57.xml"/></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28.xml"/><Relationship Id="rId1" Type="http://schemas.openxmlformats.org/officeDocument/2006/relationships/tags" Target="../tags/tag359.xml"/><Relationship Id="rId4" Type="http://schemas.openxmlformats.org/officeDocument/2006/relationships/chart" Target="../charts/chart58.xml"/></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28.xml"/><Relationship Id="rId1" Type="http://schemas.openxmlformats.org/officeDocument/2006/relationships/tags" Target="../tags/tag360.xml"/><Relationship Id="rId4" Type="http://schemas.openxmlformats.org/officeDocument/2006/relationships/chart" Target="../charts/chart59.xml"/></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28.xml"/><Relationship Id="rId1" Type="http://schemas.openxmlformats.org/officeDocument/2006/relationships/tags" Target="../tags/tag361.xml"/><Relationship Id="rId4" Type="http://schemas.openxmlformats.org/officeDocument/2006/relationships/chart" Target="../charts/chart60.xml"/></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28.xml"/><Relationship Id="rId1" Type="http://schemas.openxmlformats.org/officeDocument/2006/relationships/tags" Target="../tags/tag362.xml"/><Relationship Id="rId4" Type="http://schemas.openxmlformats.org/officeDocument/2006/relationships/chart" Target="../charts/chart61.xml"/></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28.xml"/><Relationship Id="rId1" Type="http://schemas.openxmlformats.org/officeDocument/2006/relationships/tags" Target="../tags/tag363.xml"/><Relationship Id="rId4" Type="http://schemas.openxmlformats.org/officeDocument/2006/relationships/chart" Target="../charts/chart62.xml"/></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28.xml"/><Relationship Id="rId1" Type="http://schemas.openxmlformats.org/officeDocument/2006/relationships/tags" Target="../tags/tag364.xml"/><Relationship Id="rId4" Type="http://schemas.openxmlformats.org/officeDocument/2006/relationships/chart" Target="../charts/chart6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5579" y="1278952"/>
            <a:ext cx="4237334" cy="1305791"/>
          </a:xfrm>
        </p:spPr>
        <p:txBody>
          <a:bodyPr>
            <a:normAutofit fontScale="90000"/>
          </a:bodyPr>
          <a:lstStyle/>
          <a:p>
            <a:r>
              <a:rPr lang="en-US" dirty="0">
                <a:solidFill>
                  <a:srgbClr val="002776"/>
                </a:solidFill>
                <a:latin typeface="Arial Black" panose="020B0A04020102020204" pitchFamily="34" charset="0"/>
              </a:rPr>
              <a:t>Airbnb Property Investment</a:t>
            </a:r>
          </a:p>
        </p:txBody>
      </p:sp>
      <p:sp>
        <p:nvSpPr>
          <p:cNvPr id="3" name="Title 1">
            <a:extLst>
              <a:ext uri="{FF2B5EF4-FFF2-40B4-BE49-F238E27FC236}">
                <a16:creationId xmlns:a16="http://schemas.microsoft.com/office/drawing/2014/main" id="{BD70A2B0-5052-BF11-B2C0-E1CBDB4BC080}"/>
              </a:ext>
            </a:extLst>
          </p:cNvPr>
          <p:cNvSpPr txBox="1">
            <a:spLocks/>
          </p:cNvSpPr>
          <p:nvPr/>
        </p:nvSpPr>
        <p:spPr>
          <a:xfrm>
            <a:off x="411817" y="2578100"/>
            <a:ext cx="5655154" cy="457200"/>
          </a:xfrm>
          <a:prstGeom prst="rect">
            <a:avLst/>
          </a:prstGeom>
          <a:noFill/>
          <a:ln>
            <a:noFill/>
          </a:ln>
        </p:spPr>
        <p:txBody>
          <a:bodyPr spcFirstLastPara="1" wrap="square" lIns="91425" tIns="91425" rIns="91425" bIns="91425"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3600"/>
              <a:buFont typeface="Poppins"/>
              <a:buNone/>
              <a:defRPr sz="3900" b="1" i="0" u="none" strike="noStrike" cap="none">
                <a:solidFill>
                  <a:schemeClr val="tx1"/>
                </a:solidFill>
                <a:latin typeface="Poppins"/>
                <a:ea typeface="Poppins"/>
                <a:cs typeface="Poppins"/>
                <a:sym typeface="Poppins"/>
              </a:defRPr>
            </a:lvl1pPr>
            <a:lvl2pPr marR="0" lvl="1" algn="l" rtl="0">
              <a:lnSpc>
                <a:spcPct val="100000"/>
              </a:lnSpc>
              <a:spcBef>
                <a:spcPts val="0"/>
              </a:spcBef>
              <a:spcAft>
                <a:spcPts val="0"/>
              </a:spcAft>
              <a:buClr>
                <a:schemeClr val="dk1"/>
              </a:buClr>
              <a:buSzPts val="3600"/>
              <a:buFont typeface="Poppins"/>
              <a:buNone/>
              <a:defRPr sz="3600" b="1" i="0" u="none" strike="noStrike" cap="none">
                <a:solidFill>
                  <a:schemeClr val="dk1"/>
                </a:solidFill>
                <a:latin typeface="Poppins"/>
                <a:ea typeface="Poppins"/>
                <a:cs typeface="Poppins"/>
                <a:sym typeface="Poppins"/>
              </a:defRPr>
            </a:lvl2pPr>
            <a:lvl3pPr marR="0" lvl="2" algn="l" rtl="0">
              <a:lnSpc>
                <a:spcPct val="100000"/>
              </a:lnSpc>
              <a:spcBef>
                <a:spcPts val="0"/>
              </a:spcBef>
              <a:spcAft>
                <a:spcPts val="0"/>
              </a:spcAft>
              <a:buClr>
                <a:schemeClr val="dk1"/>
              </a:buClr>
              <a:buSzPts val="3600"/>
              <a:buFont typeface="Poppins"/>
              <a:buNone/>
              <a:defRPr sz="3600" b="1" i="0" u="none" strike="noStrike" cap="none">
                <a:solidFill>
                  <a:schemeClr val="dk1"/>
                </a:solidFill>
                <a:latin typeface="Poppins"/>
                <a:ea typeface="Poppins"/>
                <a:cs typeface="Poppins"/>
                <a:sym typeface="Poppins"/>
              </a:defRPr>
            </a:lvl3pPr>
            <a:lvl4pPr marR="0" lvl="3" algn="l" rtl="0">
              <a:lnSpc>
                <a:spcPct val="100000"/>
              </a:lnSpc>
              <a:spcBef>
                <a:spcPts val="0"/>
              </a:spcBef>
              <a:spcAft>
                <a:spcPts val="0"/>
              </a:spcAft>
              <a:buClr>
                <a:schemeClr val="dk1"/>
              </a:buClr>
              <a:buSzPts val="3600"/>
              <a:buFont typeface="Poppins"/>
              <a:buNone/>
              <a:defRPr sz="3600" b="1" i="0" u="none" strike="noStrike" cap="none">
                <a:solidFill>
                  <a:schemeClr val="dk1"/>
                </a:solidFill>
                <a:latin typeface="Poppins"/>
                <a:ea typeface="Poppins"/>
                <a:cs typeface="Poppins"/>
                <a:sym typeface="Poppins"/>
              </a:defRPr>
            </a:lvl4pPr>
            <a:lvl5pPr marR="0" lvl="4" algn="l" rtl="0">
              <a:lnSpc>
                <a:spcPct val="100000"/>
              </a:lnSpc>
              <a:spcBef>
                <a:spcPts val="0"/>
              </a:spcBef>
              <a:spcAft>
                <a:spcPts val="0"/>
              </a:spcAft>
              <a:buClr>
                <a:schemeClr val="dk1"/>
              </a:buClr>
              <a:buSzPts val="3600"/>
              <a:buFont typeface="Poppins"/>
              <a:buNone/>
              <a:defRPr sz="3600" b="1" i="0" u="none" strike="noStrike" cap="none">
                <a:solidFill>
                  <a:schemeClr val="dk1"/>
                </a:solidFill>
                <a:latin typeface="Poppins"/>
                <a:ea typeface="Poppins"/>
                <a:cs typeface="Poppins"/>
                <a:sym typeface="Poppins"/>
              </a:defRPr>
            </a:lvl5pPr>
            <a:lvl6pPr marR="0" lvl="5" algn="l" rtl="0">
              <a:lnSpc>
                <a:spcPct val="100000"/>
              </a:lnSpc>
              <a:spcBef>
                <a:spcPts val="0"/>
              </a:spcBef>
              <a:spcAft>
                <a:spcPts val="0"/>
              </a:spcAft>
              <a:buClr>
                <a:schemeClr val="dk1"/>
              </a:buClr>
              <a:buSzPts val="3600"/>
              <a:buFont typeface="Poppins"/>
              <a:buNone/>
              <a:defRPr sz="3600" b="1" i="0" u="none" strike="noStrike" cap="none">
                <a:solidFill>
                  <a:schemeClr val="dk1"/>
                </a:solidFill>
                <a:latin typeface="Poppins"/>
                <a:ea typeface="Poppins"/>
                <a:cs typeface="Poppins"/>
                <a:sym typeface="Poppins"/>
              </a:defRPr>
            </a:lvl6pPr>
            <a:lvl7pPr marR="0" lvl="6" algn="l" rtl="0">
              <a:lnSpc>
                <a:spcPct val="100000"/>
              </a:lnSpc>
              <a:spcBef>
                <a:spcPts val="0"/>
              </a:spcBef>
              <a:spcAft>
                <a:spcPts val="0"/>
              </a:spcAft>
              <a:buClr>
                <a:schemeClr val="dk1"/>
              </a:buClr>
              <a:buSzPts val="3600"/>
              <a:buFont typeface="Poppins"/>
              <a:buNone/>
              <a:defRPr sz="3600" b="1" i="0" u="none" strike="noStrike" cap="none">
                <a:solidFill>
                  <a:schemeClr val="dk1"/>
                </a:solidFill>
                <a:latin typeface="Poppins"/>
                <a:ea typeface="Poppins"/>
                <a:cs typeface="Poppins"/>
                <a:sym typeface="Poppins"/>
              </a:defRPr>
            </a:lvl7pPr>
            <a:lvl8pPr marR="0" lvl="7" algn="l" rtl="0">
              <a:lnSpc>
                <a:spcPct val="100000"/>
              </a:lnSpc>
              <a:spcBef>
                <a:spcPts val="0"/>
              </a:spcBef>
              <a:spcAft>
                <a:spcPts val="0"/>
              </a:spcAft>
              <a:buClr>
                <a:schemeClr val="dk1"/>
              </a:buClr>
              <a:buSzPts val="3600"/>
              <a:buFont typeface="Poppins"/>
              <a:buNone/>
              <a:defRPr sz="3600" b="1" i="0" u="none" strike="noStrike" cap="none">
                <a:solidFill>
                  <a:schemeClr val="dk1"/>
                </a:solidFill>
                <a:latin typeface="Poppins"/>
                <a:ea typeface="Poppins"/>
                <a:cs typeface="Poppins"/>
                <a:sym typeface="Poppins"/>
              </a:defRPr>
            </a:lvl8pPr>
            <a:lvl9pPr marR="0" lvl="8" algn="l" rtl="0">
              <a:lnSpc>
                <a:spcPct val="100000"/>
              </a:lnSpc>
              <a:spcBef>
                <a:spcPts val="0"/>
              </a:spcBef>
              <a:spcAft>
                <a:spcPts val="0"/>
              </a:spcAft>
              <a:buClr>
                <a:schemeClr val="dk1"/>
              </a:buClr>
              <a:buSzPts val="3600"/>
              <a:buFont typeface="Poppins"/>
              <a:buNone/>
              <a:defRPr sz="3600" b="1" i="0" u="none" strike="noStrike" cap="none">
                <a:solidFill>
                  <a:schemeClr val="dk1"/>
                </a:solidFill>
                <a:latin typeface="Poppins"/>
                <a:ea typeface="Poppins"/>
                <a:cs typeface="Poppins"/>
                <a:sym typeface="Poppins"/>
              </a:defRPr>
            </a:lvl9pPr>
          </a:lstStyle>
          <a:p>
            <a:r>
              <a:rPr lang="en-US" sz="1800" dirty="0">
                <a:solidFill>
                  <a:srgbClr val="3C8A2E"/>
                </a:solidFill>
                <a:latin typeface="+mj-lt"/>
              </a:rPr>
              <a:t>Insights &amp; Recommendation Report</a:t>
            </a:r>
          </a:p>
        </p:txBody>
      </p:sp>
      <p:sp>
        <p:nvSpPr>
          <p:cNvPr id="76" name="TextBox 75">
            <a:extLst>
              <a:ext uri="{FF2B5EF4-FFF2-40B4-BE49-F238E27FC236}">
                <a16:creationId xmlns:a16="http://schemas.microsoft.com/office/drawing/2014/main" id="{37C5B163-4DD3-8729-4D23-5C4C9ED821F2}"/>
              </a:ext>
            </a:extLst>
          </p:cNvPr>
          <p:cNvSpPr txBox="1"/>
          <p:nvPr/>
        </p:nvSpPr>
        <p:spPr>
          <a:xfrm>
            <a:off x="532946" y="1016000"/>
            <a:ext cx="1401346" cy="261610"/>
          </a:xfrm>
          <a:prstGeom prst="rect">
            <a:avLst/>
          </a:prstGeom>
          <a:solidFill>
            <a:srgbClr val="002776"/>
          </a:solidFill>
        </p:spPr>
        <p:txBody>
          <a:bodyPr wrap="none" rtlCol="0">
            <a:spAutoFit/>
          </a:bodyPr>
          <a:lstStyle/>
          <a:p>
            <a:r>
              <a:rPr lang="en-AU" sz="1100" b="1" dirty="0">
                <a:solidFill>
                  <a:schemeClr val="bg1"/>
                </a:solidFill>
                <a:latin typeface="+mj-lt"/>
              </a:rPr>
              <a:t>FOR DISCUSSION</a:t>
            </a:r>
          </a:p>
        </p:txBody>
      </p:sp>
      <p:sp>
        <p:nvSpPr>
          <p:cNvPr id="78" name="TextBox 77">
            <a:extLst>
              <a:ext uri="{FF2B5EF4-FFF2-40B4-BE49-F238E27FC236}">
                <a16:creationId xmlns:a16="http://schemas.microsoft.com/office/drawing/2014/main" id="{8F2D7B72-1947-BB0B-2EF8-789B4EAB32CB}"/>
              </a:ext>
            </a:extLst>
          </p:cNvPr>
          <p:cNvSpPr txBox="1"/>
          <p:nvPr/>
        </p:nvSpPr>
        <p:spPr>
          <a:xfrm>
            <a:off x="440871" y="3276600"/>
            <a:ext cx="1980029" cy="938719"/>
          </a:xfrm>
          <a:prstGeom prst="rect">
            <a:avLst/>
          </a:prstGeom>
          <a:noFill/>
        </p:spPr>
        <p:txBody>
          <a:bodyPr wrap="none" rtlCol="0">
            <a:spAutoFit/>
          </a:bodyPr>
          <a:lstStyle/>
          <a:p>
            <a:r>
              <a:rPr lang="en-AU" sz="1100" dirty="0">
                <a:solidFill>
                  <a:srgbClr val="002776"/>
                </a:solidFill>
              </a:rPr>
              <a:t>Saurabh Dev</a:t>
            </a:r>
          </a:p>
          <a:p>
            <a:r>
              <a:rPr lang="en-AU" sz="1100" dirty="0">
                <a:solidFill>
                  <a:srgbClr val="002776"/>
                </a:solidFill>
              </a:rPr>
              <a:t>Krish Pillai</a:t>
            </a:r>
          </a:p>
          <a:p>
            <a:r>
              <a:rPr lang="en-AU" sz="1100" dirty="0">
                <a:solidFill>
                  <a:srgbClr val="002776"/>
                </a:solidFill>
              </a:rPr>
              <a:t>Durga Prasad</a:t>
            </a:r>
          </a:p>
          <a:p>
            <a:endParaRPr lang="en-AU" sz="1100" b="1" dirty="0">
              <a:solidFill>
                <a:srgbClr val="002776"/>
              </a:solidFill>
            </a:endParaRPr>
          </a:p>
          <a:p>
            <a:r>
              <a:rPr lang="en-AU" sz="1100" b="1" dirty="0">
                <a:solidFill>
                  <a:srgbClr val="002776"/>
                </a:solidFill>
              </a:rPr>
              <a:t>Team A – TDAI DA360 Live</a:t>
            </a:r>
          </a:p>
        </p:txBody>
      </p:sp>
      <p:pic>
        <p:nvPicPr>
          <p:cNvPr id="1026" name="Picture 2">
            <a:extLst>
              <a:ext uri="{FF2B5EF4-FFF2-40B4-BE49-F238E27FC236}">
                <a16:creationId xmlns:a16="http://schemas.microsoft.com/office/drawing/2014/main" id="{5F6A2B38-EE5A-A201-00C4-1F7FFC678F2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82162"/>
          <a:stretch/>
        </p:blipFill>
        <p:spPr bwMode="auto">
          <a:xfrm>
            <a:off x="509816" y="4560889"/>
            <a:ext cx="356960" cy="346160"/>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78">
            <a:extLst>
              <a:ext uri="{FF2B5EF4-FFF2-40B4-BE49-F238E27FC236}">
                <a16:creationId xmlns:a16="http://schemas.microsoft.com/office/drawing/2014/main" id="{09399972-4F2B-85D5-80A8-4EAB9265CE00}"/>
              </a:ext>
            </a:extLst>
          </p:cNvPr>
          <p:cNvSpPr/>
          <p:nvPr/>
        </p:nvSpPr>
        <p:spPr>
          <a:xfrm>
            <a:off x="9049657" y="0"/>
            <a:ext cx="188686" cy="5143500"/>
          </a:xfrm>
          <a:prstGeom prst="rect">
            <a:avLst/>
          </a:prstGeom>
          <a:solidFill>
            <a:srgbClr val="A1C0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80" name="Picture 79">
            <a:extLst>
              <a:ext uri="{FF2B5EF4-FFF2-40B4-BE49-F238E27FC236}">
                <a16:creationId xmlns:a16="http://schemas.microsoft.com/office/drawing/2014/main" id="{F552AD66-DEDC-91C6-74B1-59BA8D66EE09}"/>
              </a:ext>
            </a:extLst>
          </p:cNvPr>
          <p:cNvPicPr>
            <a:picLocks noChangeAspect="1"/>
          </p:cNvPicPr>
          <p:nvPr/>
        </p:nvPicPr>
        <p:blipFill rotWithShape="1">
          <a:blip r:embed="rId4"/>
          <a:srcRect l="38792" r="6969"/>
          <a:stretch/>
        </p:blipFill>
        <p:spPr>
          <a:xfrm>
            <a:off x="4876799" y="0"/>
            <a:ext cx="4180114" cy="5143500"/>
          </a:xfrm>
          <a:prstGeom prst="rect">
            <a:avLst/>
          </a:prstGeom>
        </p:spPr>
      </p:pic>
    </p:spTree>
    <p:extLst>
      <p:ext uri="{BB962C8B-B14F-4D97-AF65-F5344CB8AC3E}">
        <p14:creationId xmlns:p14="http://schemas.microsoft.com/office/powerpoint/2010/main" val="2142729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08"/>
        <p:cNvGrpSpPr/>
        <p:nvPr/>
      </p:nvGrpSpPr>
      <p:grpSpPr>
        <a:xfrm>
          <a:off x="0" y="0"/>
          <a:ext cx="0" cy="0"/>
          <a:chOff x="0" y="0"/>
          <a:chExt cx="0" cy="0"/>
        </a:xfrm>
      </p:grpSpPr>
      <p:sp>
        <p:nvSpPr>
          <p:cNvPr id="211" name="Google Shape;211;p4"/>
          <p:cNvSpPr txBox="1"/>
          <p:nvPr/>
        </p:nvSpPr>
        <p:spPr>
          <a:xfrm>
            <a:off x="7365704" y="9583879"/>
            <a:ext cx="435600" cy="435600"/>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000"/>
              <a:buFont typeface="Arial"/>
              <a:buNone/>
            </a:pPr>
            <a:fld id="{00000000-1234-1234-1234-123412341234}" type="slidenum">
              <a:rPr lang="en" sz="1000" b="1" i="0" u="none" strike="noStrike" cap="none">
                <a:solidFill>
                  <a:srgbClr val="FFFFFF"/>
                </a:solidFill>
                <a:latin typeface="Poppins"/>
                <a:ea typeface="Poppins"/>
                <a:cs typeface="Poppins"/>
                <a:sym typeface="Poppins"/>
              </a:rPr>
              <a:t>10</a:t>
            </a:fld>
            <a:endParaRPr sz="1000" b="1" i="0" u="none" strike="noStrike" cap="none">
              <a:solidFill>
                <a:srgbClr val="FFFFFF"/>
              </a:solidFill>
              <a:latin typeface="Poppins"/>
              <a:ea typeface="Poppins"/>
              <a:cs typeface="Poppins"/>
              <a:sym typeface="Poppins"/>
            </a:endParaRPr>
          </a:p>
        </p:txBody>
      </p:sp>
      <p:sp>
        <p:nvSpPr>
          <p:cNvPr id="3" name="Title 1">
            <a:extLst>
              <a:ext uri="{FF2B5EF4-FFF2-40B4-BE49-F238E27FC236}">
                <a16:creationId xmlns:a16="http://schemas.microsoft.com/office/drawing/2014/main" id="{7DFC1E8A-0342-ADF8-D0C7-DA2A24226C93}"/>
              </a:ext>
            </a:extLst>
          </p:cNvPr>
          <p:cNvSpPr txBox="1">
            <a:spLocks/>
          </p:cNvSpPr>
          <p:nvPr>
            <p:custDataLst>
              <p:tags r:id="rId1"/>
            </p:custDataLst>
          </p:nvPr>
        </p:nvSpPr>
        <p:spPr>
          <a:xfrm>
            <a:off x="205123" y="78049"/>
            <a:ext cx="8388000" cy="54647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000" b="1" dirty="0">
                <a:solidFill>
                  <a:schemeClr val="bg1">
                    <a:lumMod val="65000"/>
                  </a:schemeClr>
                </a:solidFill>
              </a:rPr>
              <a:t>Appendix B</a:t>
            </a:r>
            <a:br>
              <a:rPr lang="en-US" sz="1800" dirty="0">
                <a:solidFill>
                  <a:srgbClr val="81BC00"/>
                </a:solidFill>
              </a:rPr>
            </a:br>
            <a:r>
              <a:rPr lang="en-US" sz="1800" b="1" dirty="0">
                <a:solidFill>
                  <a:srgbClr val="002776"/>
                </a:solidFill>
              </a:rPr>
              <a:t>Data calculations</a:t>
            </a:r>
          </a:p>
        </p:txBody>
      </p:sp>
      <p:cxnSp>
        <p:nvCxnSpPr>
          <p:cNvPr id="7" name="Straight Connector 6">
            <a:extLst>
              <a:ext uri="{FF2B5EF4-FFF2-40B4-BE49-F238E27FC236}">
                <a16:creationId xmlns:a16="http://schemas.microsoft.com/office/drawing/2014/main" id="{A194F8A0-8452-8E58-4449-2010B7BE792C}"/>
              </a:ext>
            </a:extLst>
          </p:cNvPr>
          <p:cNvCxnSpPr>
            <a:cxnSpLocks/>
          </p:cNvCxnSpPr>
          <p:nvPr/>
        </p:nvCxnSpPr>
        <p:spPr>
          <a:xfrm>
            <a:off x="0" y="608512"/>
            <a:ext cx="9144000" cy="0"/>
          </a:xfrm>
          <a:prstGeom prst="line">
            <a:avLst/>
          </a:prstGeom>
          <a:ln w="76200">
            <a:solidFill>
              <a:srgbClr val="002776"/>
            </a:solidFill>
          </a:ln>
        </p:spPr>
        <p:style>
          <a:lnRef idx="1">
            <a:schemeClr val="accent1"/>
          </a:lnRef>
          <a:fillRef idx="0">
            <a:schemeClr val="accent1"/>
          </a:fillRef>
          <a:effectRef idx="0">
            <a:schemeClr val="accent1"/>
          </a:effectRef>
          <a:fontRef idx="minor">
            <a:schemeClr val="tx1"/>
          </a:fontRef>
        </p:style>
      </p:cxnSp>
      <p:sp>
        <p:nvSpPr>
          <p:cNvPr id="9" name="Google Shape;212;p4">
            <a:extLst>
              <a:ext uri="{FF2B5EF4-FFF2-40B4-BE49-F238E27FC236}">
                <a16:creationId xmlns:a16="http://schemas.microsoft.com/office/drawing/2014/main" id="{89D7F2E9-7DED-8B89-3E79-844AC4835155}"/>
              </a:ext>
            </a:extLst>
          </p:cNvPr>
          <p:cNvSpPr txBox="1"/>
          <p:nvPr/>
        </p:nvSpPr>
        <p:spPr>
          <a:xfrm>
            <a:off x="0" y="1174527"/>
            <a:ext cx="4491351" cy="3200846"/>
          </a:xfrm>
          <a:prstGeom prst="rect">
            <a:avLst/>
          </a:prstGeom>
          <a:noFill/>
          <a:ln>
            <a:noFill/>
          </a:ln>
        </p:spPr>
        <p:txBody>
          <a:bodyPr spcFirstLastPara="1" wrap="square" lIns="91425" tIns="91425" rIns="91425" bIns="91425" anchor="t" anchorCtr="0">
            <a:spAutoFit/>
          </a:bodyPr>
          <a:lstStyle/>
          <a:p>
            <a:pPr marL="363538" marR="0" lvl="0" indent="-223838" algn="l" rtl="0">
              <a:lnSpc>
                <a:spcPct val="100000"/>
              </a:lnSpc>
              <a:spcBef>
                <a:spcPts val="0"/>
              </a:spcBef>
              <a:spcAft>
                <a:spcPts val="0"/>
              </a:spcAft>
              <a:buClr>
                <a:srgbClr val="000000"/>
              </a:buClr>
              <a:buSzPts val="1400"/>
              <a:buFont typeface="Arial"/>
              <a:buChar char="•"/>
            </a:pPr>
            <a:r>
              <a:rPr lang="en" b="1" dirty="0">
                <a:solidFill>
                  <a:schemeClr val="tx1"/>
                </a:solidFill>
                <a:latin typeface="+mj-lt"/>
                <a:ea typeface="Poppins Light"/>
                <a:cs typeface="Poppins Light"/>
                <a:sym typeface="Poppins Light"/>
              </a:rPr>
              <a:t>Assumptions</a:t>
            </a:r>
          </a:p>
          <a:p>
            <a:pPr marL="139700" marR="0" lvl="0" algn="l" rtl="0">
              <a:lnSpc>
                <a:spcPct val="100000"/>
              </a:lnSpc>
              <a:spcBef>
                <a:spcPts val="0"/>
              </a:spcBef>
              <a:spcAft>
                <a:spcPts val="0"/>
              </a:spcAft>
              <a:buClr>
                <a:srgbClr val="000000"/>
              </a:buClr>
              <a:buSzPts val="1400"/>
            </a:pPr>
            <a:endParaRPr sz="1400" b="0" i="0" u="none" strike="noStrike" cap="none" dirty="0">
              <a:solidFill>
                <a:schemeClr val="tx1"/>
              </a:solidFill>
              <a:latin typeface="+mj-lt"/>
              <a:ea typeface="Poppins Light"/>
              <a:cs typeface="Poppins Light"/>
              <a:sym typeface="Poppins Light"/>
            </a:endParaRPr>
          </a:p>
          <a:p>
            <a:pPr marL="914400" marR="0" lvl="1" indent="-317500" algn="l" rtl="0">
              <a:lnSpc>
                <a:spcPct val="100000"/>
              </a:lnSpc>
              <a:spcBef>
                <a:spcPts val="0"/>
              </a:spcBef>
              <a:spcAft>
                <a:spcPts val="0"/>
              </a:spcAft>
              <a:buClr>
                <a:srgbClr val="000000"/>
              </a:buClr>
              <a:buSzPts val="1400"/>
              <a:buFont typeface="Arial" panose="020B0604020202020204" pitchFamily="34" charset="0"/>
              <a:buChar char="•"/>
            </a:pPr>
            <a:r>
              <a:rPr lang="en-US" dirty="0">
                <a:solidFill>
                  <a:schemeClr val="tx1"/>
                </a:solidFill>
                <a:latin typeface="+mj-lt"/>
                <a:ea typeface="Poppins Light"/>
                <a:cs typeface="Poppins Light"/>
                <a:sym typeface="Poppins Light"/>
              </a:rPr>
              <a:t>No. bookings per month = Twice the no. reviews per month.</a:t>
            </a:r>
          </a:p>
          <a:p>
            <a:pPr marL="914400" marR="0" lvl="1" indent="-317500" algn="l" rtl="0">
              <a:lnSpc>
                <a:spcPct val="100000"/>
              </a:lnSpc>
              <a:spcBef>
                <a:spcPts val="0"/>
              </a:spcBef>
              <a:spcAft>
                <a:spcPts val="0"/>
              </a:spcAft>
              <a:buClr>
                <a:srgbClr val="000000"/>
              </a:buClr>
              <a:buSzPts val="1400"/>
              <a:buFont typeface="Arial" panose="020B0604020202020204" pitchFamily="34" charset="0"/>
              <a:buChar char="•"/>
            </a:pPr>
            <a:r>
              <a:rPr lang="en-US" dirty="0">
                <a:solidFill>
                  <a:schemeClr val="tx1"/>
                </a:solidFill>
                <a:latin typeface="+mj-lt"/>
                <a:ea typeface="Poppins Light"/>
                <a:cs typeface="Poppins Light"/>
                <a:sym typeface="Poppins Light"/>
              </a:rPr>
              <a:t>Each booking stayed for a minimum night(s) available per listing.</a:t>
            </a:r>
          </a:p>
          <a:p>
            <a:pPr marL="914400" marR="0" lvl="1" indent="-317500" algn="l" rtl="0">
              <a:lnSpc>
                <a:spcPct val="100000"/>
              </a:lnSpc>
              <a:spcBef>
                <a:spcPts val="0"/>
              </a:spcBef>
              <a:spcAft>
                <a:spcPts val="0"/>
              </a:spcAft>
              <a:buClr>
                <a:srgbClr val="000000"/>
              </a:buClr>
              <a:buSzPts val="1400"/>
              <a:buFont typeface="Arial" panose="020B0604020202020204" pitchFamily="34" charset="0"/>
              <a:buChar char="•"/>
            </a:pPr>
            <a:r>
              <a:rPr lang="en-US" dirty="0">
                <a:solidFill>
                  <a:schemeClr val="tx1"/>
                </a:solidFill>
                <a:latin typeface="+mj-lt"/>
                <a:ea typeface="Poppins Light"/>
                <a:cs typeface="Poppins Light"/>
                <a:sym typeface="Poppins Light"/>
              </a:rPr>
              <a:t>Each booking was for 2 guests unless the listing accommodated only 1 guest.</a:t>
            </a:r>
          </a:p>
          <a:p>
            <a:pPr marL="914400" marR="0" lvl="1" indent="-317500" algn="l" rtl="0">
              <a:lnSpc>
                <a:spcPct val="100000"/>
              </a:lnSpc>
              <a:spcBef>
                <a:spcPts val="0"/>
              </a:spcBef>
              <a:spcAft>
                <a:spcPts val="0"/>
              </a:spcAft>
              <a:buClr>
                <a:srgbClr val="000000"/>
              </a:buClr>
              <a:buSzPts val="1400"/>
              <a:buFont typeface="Arial" panose="020B0604020202020204" pitchFamily="34" charset="0"/>
              <a:buChar char="•"/>
            </a:pPr>
            <a:endParaRPr lang="en-US" dirty="0">
              <a:solidFill>
                <a:schemeClr val="tx1"/>
              </a:solidFill>
              <a:latin typeface="+mj-lt"/>
              <a:ea typeface="Poppins Light"/>
              <a:cs typeface="Poppins Light"/>
              <a:sym typeface="Poppins Light"/>
            </a:endParaRPr>
          </a:p>
          <a:p>
            <a:pPr marL="363538" marR="0" lvl="0" indent="-223838" algn="l" rtl="0">
              <a:lnSpc>
                <a:spcPct val="100000"/>
              </a:lnSpc>
              <a:spcBef>
                <a:spcPts val="0"/>
              </a:spcBef>
              <a:spcAft>
                <a:spcPts val="0"/>
              </a:spcAft>
              <a:buClr>
                <a:srgbClr val="000000"/>
              </a:buClr>
              <a:buSzPts val="1400"/>
              <a:buFont typeface="Arial"/>
              <a:buChar char="•"/>
            </a:pPr>
            <a:r>
              <a:rPr lang="en-US" b="1" dirty="0">
                <a:solidFill>
                  <a:schemeClr val="tx1"/>
                </a:solidFill>
                <a:latin typeface="+mj-lt"/>
                <a:ea typeface="Poppins Light"/>
                <a:cs typeface="Poppins Light"/>
                <a:sym typeface="Poppins Light"/>
              </a:rPr>
              <a:t>Data Normalization</a:t>
            </a:r>
          </a:p>
          <a:p>
            <a:pPr marL="139700" marR="0" lvl="0" algn="l" rtl="0">
              <a:lnSpc>
                <a:spcPct val="100000"/>
              </a:lnSpc>
              <a:spcBef>
                <a:spcPts val="0"/>
              </a:spcBef>
              <a:spcAft>
                <a:spcPts val="0"/>
              </a:spcAft>
              <a:buClr>
                <a:srgbClr val="000000"/>
              </a:buClr>
              <a:buSzPts val="1400"/>
            </a:pPr>
            <a:endParaRPr lang="en-US" sz="1400" b="0" i="0" u="none" strike="noStrike" cap="none" dirty="0">
              <a:solidFill>
                <a:schemeClr val="tx1"/>
              </a:solidFill>
              <a:latin typeface="+mj-lt"/>
              <a:ea typeface="Poppins Light"/>
              <a:cs typeface="Poppins Light"/>
              <a:sym typeface="Poppins Light"/>
            </a:endParaRPr>
          </a:p>
          <a:p>
            <a:pPr marL="914400" marR="0" lvl="1" indent="-317500" algn="l" rtl="0">
              <a:lnSpc>
                <a:spcPct val="100000"/>
              </a:lnSpc>
              <a:spcBef>
                <a:spcPts val="0"/>
              </a:spcBef>
              <a:spcAft>
                <a:spcPts val="0"/>
              </a:spcAft>
              <a:buClr>
                <a:srgbClr val="000000"/>
              </a:buClr>
              <a:buSzPts val="1400"/>
              <a:buFont typeface="Arial" panose="020B0604020202020204" pitchFamily="34" charset="0"/>
              <a:buChar char="•"/>
            </a:pPr>
            <a:r>
              <a:rPr lang="en-US" dirty="0">
                <a:solidFill>
                  <a:schemeClr val="tx1"/>
                </a:solidFill>
                <a:latin typeface="+mj-lt"/>
                <a:ea typeface="Poppins Light"/>
                <a:cs typeface="Poppins Light"/>
                <a:sym typeface="Poppins Light"/>
              </a:rPr>
              <a:t>Each neighborhood revenue is normalized based on the number of listings.</a:t>
            </a:r>
          </a:p>
          <a:p>
            <a:pPr marL="914400" marR="0" lvl="1" indent="-317500" algn="l" rtl="0">
              <a:lnSpc>
                <a:spcPct val="100000"/>
              </a:lnSpc>
              <a:spcBef>
                <a:spcPts val="0"/>
              </a:spcBef>
              <a:spcAft>
                <a:spcPts val="0"/>
              </a:spcAft>
              <a:buClr>
                <a:srgbClr val="000000"/>
              </a:buClr>
              <a:buSzPts val="1400"/>
              <a:buFont typeface="Arial" panose="020B0604020202020204" pitchFamily="34" charset="0"/>
              <a:buChar char="•"/>
            </a:pPr>
            <a:endParaRPr lang="en-US" dirty="0">
              <a:solidFill>
                <a:schemeClr val="tx1"/>
              </a:solidFill>
              <a:latin typeface="+mj-lt"/>
              <a:ea typeface="Poppins Light"/>
              <a:cs typeface="Poppins Light"/>
              <a:sym typeface="Poppins Light"/>
            </a:endParaRPr>
          </a:p>
        </p:txBody>
      </p:sp>
      <p:cxnSp>
        <p:nvCxnSpPr>
          <p:cNvPr id="10" name="Straight Connector 9">
            <a:extLst>
              <a:ext uri="{FF2B5EF4-FFF2-40B4-BE49-F238E27FC236}">
                <a16:creationId xmlns:a16="http://schemas.microsoft.com/office/drawing/2014/main" id="{F78995FC-5F88-2961-AC6C-88183329C424}"/>
              </a:ext>
            </a:extLst>
          </p:cNvPr>
          <p:cNvCxnSpPr>
            <a:cxnSpLocks/>
          </p:cNvCxnSpPr>
          <p:nvPr/>
        </p:nvCxnSpPr>
        <p:spPr>
          <a:xfrm>
            <a:off x="4771500" y="1354228"/>
            <a:ext cx="0" cy="327582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Google Shape;212;p4">
            <a:extLst>
              <a:ext uri="{FF2B5EF4-FFF2-40B4-BE49-F238E27FC236}">
                <a16:creationId xmlns:a16="http://schemas.microsoft.com/office/drawing/2014/main" id="{3190DDE1-E242-D0E8-0C2D-D28554181723}"/>
              </a:ext>
            </a:extLst>
          </p:cNvPr>
          <p:cNvSpPr txBox="1"/>
          <p:nvPr/>
        </p:nvSpPr>
        <p:spPr>
          <a:xfrm>
            <a:off x="4652649" y="1152756"/>
            <a:ext cx="4491351" cy="3416290"/>
          </a:xfrm>
          <a:prstGeom prst="rect">
            <a:avLst/>
          </a:prstGeom>
          <a:noFill/>
          <a:ln>
            <a:noFill/>
          </a:ln>
        </p:spPr>
        <p:txBody>
          <a:bodyPr spcFirstLastPara="1" wrap="square" lIns="91425" tIns="91425" rIns="91425" bIns="91425" anchor="t" anchorCtr="0">
            <a:spAutoFit/>
          </a:bodyPr>
          <a:lstStyle/>
          <a:p>
            <a:pPr marL="363538" marR="0" lvl="0" indent="-223838" algn="l" rtl="0">
              <a:lnSpc>
                <a:spcPct val="100000"/>
              </a:lnSpc>
              <a:spcBef>
                <a:spcPts val="0"/>
              </a:spcBef>
              <a:spcAft>
                <a:spcPts val="0"/>
              </a:spcAft>
              <a:buClr>
                <a:schemeClr val="dk1"/>
              </a:buClr>
              <a:buSzPts val="1400"/>
              <a:buFont typeface="Arial"/>
              <a:buChar char="•"/>
            </a:pPr>
            <a:r>
              <a:rPr lang="en-AU" b="1" dirty="0">
                <a:solidFill>
                  <a:schemeClr val="tx1"/>
                </a:solidFill>
                <a:latin typeface="+mj-lt"/>
                <a:ea typeface="Poppins Light"/>
                <a:cs typeface="Poppins Light"/>
                <a:sym typeface="Poppins Light"/>
              </a:rPr>
              <a:t>Calculations</a:t>
            </a:r>
          </a:p>
          <a:p>
            <a:pPr marL="363538" marR="0" lvl="0" indent="-223838" algn="l" rtl="0">
              <a:lnSpc>
                <a:spcPct val="100000"/>
              </a:lnSpc>
              <a:spcBef>
                <a:spcPts val="0"/>
              </a:spcBef>
              <a:spcAft>
                <a:spcPts val="0"/>
              </a:spcAft>
              <a:buClr>
                <a:schemeClr val="dk1"/>
              </a:buClr>
              <a:buSzPts val="1400"/>
              <a:buFont typeface="Arial"/>
              <a:buChar char="•"/>
            </a:pPr>
            <a:endParaRPr lang="en-AU" sz="1400" b="0" i="0" u="none" strike="noStrike" cap="none" dirty="0">
              <a:solidFill>
                <a:schemeClr val="tx1"/>
              </a:solidFill>
              <a:latin typeface="+mj-lt"/>
              <a:ea typeface="Poppins Light"/>
              <a:cs typeface="Poppins Light"/>
              <a:sym typeface="Poppins Light"/>
            </a:endParaRPr>
          </a:p>
          <a:p>
            <a:pPr marL="914400" marR="0" lvl="1" indent="-317500" algn="l" rtl="0">
              <a:lnSpc>
                <a:spcPct val="100000"/>
              </a:lnSpc>
              <a:spcBef>
                <a:spcPts val="0"/>
              </a:spcBef>
              <a:spcAft>
                <a:spcPts val="0"/>
              </a:spcAft>
              <a:buClr>
                <a:schemeClr val="dk1"/>
              </a:buClr>
              <a:buSzPts val="1400"/>
              <a:buFont typeface="Arial" panose="020B0604020202020204" pitchFamily="34" charset="0"/>
              <a:buChar char="•"/>
            </a:pPr>
            <a:r>
              <a:rPr lang="en-US" dirty="0">
                <a:solidFill>
                  <a:schemeClr val="tx1"/>
                </a:solidFill>
                <a:latin typeface="+mj-lt"/>
                <a:ea typeface="Poppins Light"/>
                <a:cs typeface="Poppins Light"/>
                <a:sym typeface="Poppins Light"/>
              </a:rPr>
              <a:t>Three extra columns were  added to calculate the below data:</a:t>
            </a:r>
          </a:p>
          <a:p>
            <a:pPr marL="914400" marR="0" lvl="1" indent="-317500" algn="l" rtl="0">
              <a:lnSpc>
                <a:spcPct val="100000"/>
              </a:lnSpc>
              <a:spcBef>
                <a:spcPts val="0"/>
              </a:spcBef>
              <a:spcAft>
                <a:spcPts val="0"/>
              </a:spcAft>
              <a:buClr>
                <a:schemeClr val="dk1"/>
              </a:buClr>
              <a:buSzPts val="1400"/>
              <a:buFont typeface="Arial" panose="020B0604020202020204" pitchFamily="34" charset="0"/>
              <a:buChar char="•"/>
            </a:pPr>
            <a:endParaRPr lang="en-US" dirty="0">
              <a:solidFill>
                <a:schemeClr val="tx1"/>
              </a:solidFill>
              <a:latin typeface="+mj-lt"/>
              <a:ea typeface="Poppins Light"/>
              <a:cs typeface="Poppins Light"/>
              <a:sym typeface="Poppins Light"/>
            </a:endParaRPr>
          </a:p>
          <a:p>
            <a:pPr marL="914400" marR="0" lvl="1" indent="-317500" algn="l" rtl="0">
              <a:lnSpc>
                <a:spcPct val="100000"/>
              </a:lnSpc>
              <a:spcBef>
                <a:spcPts val="0"/>
              </a:spcBef>
              <a:spcAft>
                <a:spcPts val="0"/>
              </a:spcAft>
              <a:buClr>
                <a:schemeClr val="dk1"/>
              </a:buClr>
              <a:buSzPts val="1400"/>
              <a:buFont typeface="Arial" panose="020B0604020202020204" pitchFamily="34" charset="0"/>
              <a:buChar char="•"/>
            </a:pPr>
            <a:r>
              <a:rPr lang="en-US" dirty="0">
                <a:solidFill>
                  <a:schemeClr val="tx1"/>
                </a:solidFill>
                <a:latin typeface="+mj-lt"/>
                <a:ea typeface="Poppins Light"/>
                <a:cs typeface="Poppins Light"/>
                <a:sym typeface="Poppins Light"/>
              </a:rPr>
              <a:t>No. bookings per month = ROUNDUP(2 X </a:t>
            </a:r>
            <a:r>
              <a:rPr lang="en-US" dirty="0" err="1">
                <a:solidFill>
                  <a:schemeClr val="tx1"/>
                </a:solidFill>
                <a:latin typeface="+mj-lt"/>
                <a:ea typeface="Poppins Light"/>
                <a:cs typeface="Poppins Light"/>
                <a:sym typeface="Poppins Light"/>
              </a:rPr>
              <a:t>reviews_per_month</a:t>
            </a:r>
            <a:r>
              <a:rPr lang="en-US" dirty="0">
                <a:solidFill>
                  <a:schemeClr val="tx1"/>
                </a:solidFill>
                <a:latin typeface="+mj-lt"/>
                <a:ea typeface="Poppins Light"/>
                <a:cs typeface="Poppins Light"/>
                <a:sym typeface="Poppins Light"/>
              </a:rPr>
              <a:t>)</a:t>
            </a:r>
          </a:p>
          <a:p>
            <a:pPr marL="914400" marR="0" lvl="1" indent="-317500" algn="l" rtl="0">
              <a:lnSpc>
                <a:spcPct val="100000"/>
              </a:lnSpc>
              <a:spcBef>
                <a:spcPts val="0"/>
              </a:spcBef>
              <a:spcAft>
                <a:spcPts val="0"/>
              </a:spcAft>
              <a:buClr>
                <a:schemeClr val="dk1"/>
              </a:buClr>
              <a:buSzPts val="1400"/>
              <a:buFont typeface="Arial" panose="020B0604020202020204" pitchFamily="34" charset="0"/>
              <a:buChar char="•"/>
            </a:pPr>
            <a:endParaRPr lang="en-US" dirty="0">
              <a:solidFill>
                <a:schemeClr val="tx1"/>
              </a:solidFill>
              <a:latin typeface="+mj-lt"/>
              <a:ea typeface="Poppins Light"/>
              <a:cs typeface="Poppins Light"/>
              <a:sym typeface="Poppins Light"/>
            </a:endParaRPr>
          </a:p>
          <a:p>
            <a:pPr marL="914400" marR="0" lvl="1" indent="-317500" algn="l" rtl="0">
              <a:lnSpc>
                <a:spcPct val="100000"/>
              </a:lnSpc>
              <a:spcBef>
                <a:spcPts val="0"/>
              </a:spcBef>
              <a:spcAft>
                <a:spcPts val="0"/>
              </a:spcAft>
              <a:buClr>
                <a:schemeClr val="dk1"/>
              </a:buClr>
              <a:buSzPts val="1400"/>
              <a:buFont typeface="Arial" panose="020B0604020202020204" pitchFamily="34" charset="0"/>
              <a:buChar char="•"/>
            </a:pPr>
            <a:r>
              <a:rPr lang="en-US" dirty="0">
                <a:solidFill>
                  <a:schemeClr val="tx1"/>
                </a:solidFill>
                <a:latin typeface="+mj-lt"/>
                <a:ea typeface="Poppins Light"/>
                <a:cs typeface="Poppins Light"/>
                <a:sym typeface="Poppins Light"/>
              </a:rPr>
              <a:t>Price for 2 guests  = IF(</a:t>
            </a:r>
            <a:r>
              <a:rPr lang="en-US" dirty="0" err="1">
                <a:solidFill>
                  <a:schemeClr val="tx1"/>
                </a:solidFill>
                <a:latin typeface="+mj-lt"/>
                <a:ea typeface="Poppins Light"/>
                <a:cs typeface="Poppins Light"/>
                <a:sym typeface="Poppins Light"/>
              </a:rPr>
              <a:t>guest_included</a:t>
            </a:r>
            <a:r>
              <a:rPr lang="en-US" dirty="0">
                <a:solidFill>
                  <a:schemeClr val="tx1"/>
                </a:solidFill>
                <a:latin typeface="+mj-lt"/>
                <a:ea typeface="Poppins Light"/>
                <a:cs typeface="Poppins Light"/>
                <a:sym typeface="Poppins Light"/>
              </a:rPr>
              <a:t> &lt; 2, IF(accommodates &gt;1, price + </a:t>
            </a:r>
            <a:r>
              <a:rPr lang="en-US" dirty="0" err="1">
                <a:solidFill>
                  <a:schemeClr val="tx1"/>
                </a:solidFill>
                <a:latin typeface="+mj-lt"/>
                <a:ea typeface="Poppins Light"/>
                <a:cs typeface="Poppins Light"/>
                <a:sym typeface="Poppins Light"/>
              </a:rPr>
              <a:t>extra_people</a:t>
            </a:r>
            <a:r>
              <a:rPr lang="en-US" dirty="0">
                <a:solidFill>
                  <a:schemeClr val="tx1"/>
                </a:solidFill>
                <a:latin typeface="+mj-lt"/>
                <a:ea typeface="Poppins Light"/>
                <a:cs typeface="Poppins Light"/>
                <a:sym typeface="Poppins Light"/>
              </a:rPr>
              <a:t>, price), price)</a:t>
            </a:r>
          </a:p>
          <a:p>
            <a:pPr marL="914400" marR="0" lvl="1" indent="-317500" algn="l" rtl="0">
              <a:lnSpc>
                <a:spcPct val="100000"/>
              </a:lnSpc>
              <a:spcBef>
                <a:spcPts val="0"/>
              </a:spcBef>
              <a:spcAft>
                <a:spcPts val="0"/>
              </a:spcAft>
              <a:buClr>
                <a:schemeClr val="dk1"/>
              </a:buClr>
              <a:buSzPts val="1400"/>
              <a:buFont typeface="Arial" panose="020B0604020202020204" pitchFamily="34" charset="0"/>
              <a:buChar char="•"/>
            </a:pPr>
            <a:endParaRPr lang="en-US" dirty="0">
              <a:solidFill>
                <a:schemeClr val="tx1"/>
              </a:solidFill>
              <a:latin typeface="+mj-lt"/>
              <a:ea typeface="Poppins Light"/>
              <a:cs typeface="Poppins Light"/>
              <a:sym typeface="Poppins Light"/>
            </a:endParaRPr>
          </a:p>
          <a:p>
            <a:pPr marL="914400" marR="0" lvl="1" indent="-317500" algn="l" rtl="0">
              <a:lnSpc>
                <a:spcPct val="100000"/>
              </a:lnSpc>
              <a:spcBef>
                <a:spcPts val="0"/>
              </a:spcBef>
              <a:spcAft>
                <a:spcPts val="0"/>
              </a:spcAft>
              <a:buClr>
                <a:schemeClr val="dk1"/>
              </a:buClr>
              <a:buSzPts val="1400"/>
              <a:buFont typeface="Arial" panose="020B0604020202020204" pitchFamily="34" charset="0"/>
              <a:buChar char="•"/>
            </a:pPr>
            <a:r>
              <a:rPr lang="en-US" dirty="0">
                <a:solidFill>
                  <a:schemeClr val="tx1"/>
                </a:solidFill>
                <a:latin typeface="+mj-lt"/>
                <a:ea typeface="Poppins Light"/>
                <a:cs typeface="Poppins Light"/>
                <a:sym typeface="Poppins Light"/>
              </a:rPr>
              <a:t>Revenue per month = ((Price for 2 guests X </a:t>
            </a:r>
            <a:r>
              <a:rPr lang="en-US" dirty="0" err="1">
                <a:solidFill>
                  <a:schemeClr val="tx1"/>
                </a:solidFill>
                <a:latin typeface="+mj-lt"/>
                <a:ea typeface="Poppins Light"/>
                <a:cs typeface="Poppins Light"/>
                <a:sym typeface="Poppins Light"/>
              </a:rPr>
              <a:t>minimum_nights</a:t>
            </a:r>
            <a:r>
              <a:rPr lang="en-US" dirty="0">
                <a:solidFill>
                  <a:schemeClr val="tx1"/>
                </a:solidFill>
                <a:latin typeface="+mj-lt"/>
                <a:ea typeface="Poppins Light"/>
                <a:cs typeface="Poppins Light"/>
                <a:sym typeface="Poppins Light"/>
              </a:rPr>
              <a:t>)-</a:t>
            </a:r>
            <a:r>
              <a:rPr lang="en-US" dirty="0" err="1">
                <a:solidFill>
                  <a:schemeClr val="tx1"/>
                </a:solidFill>
                <a:latin typeface="+mj-lt"/>
                <a:ea typeface="Poppins Light"/>
                <a:cs typeface="Poppins Light"/>
                <a:sym typeface="Poppins Light"/>
              </a:rPr>
              <a:t>cleaning_fee</a:t>
            </a:r>
            <a:r>
              <a:rPr lang="en-US" dirty="0">
                <a:solidFill>
                  <a:schemeClr val="tx1"/>
                </a:solidFill>
                <a:latin typeface="+mj-lt"/>
                <a:ea typeface="Poppins Light"/>
                <a:cs typeface="Poppins Light"/>
                <a:sym typeface="Poppins Light"/>
              </a:rPr>
              <a:t>) X (No. bookings per month)</a:t>
            </a:r>
          </a:p>
        </p:txBody>
      </p:sp>
    </p:spTree>
    <p:extLst>
      <p:ext uri="{BB962C8B-B14F-4D97-AF65-F5344CB8AC3E}">
        <p14:creationId xmlns:p14="http://schemas.microsoft.com/office/powerpoint/2010/main" val="1340426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81BC00"/>
                </a:solidFill>
              </a:rPr>
              <a:t>Bubble chart</a:t>
            </a:r>
          </a:p>
        </p:txBody>
      </p:sp>
      <p:graphicFrame>
        <p:nvGraphicFramePr>
          <p:cNvPr id="5" name="Chart 4"/>
          <p:cNvGraphicFramePr/>
          <p:nvPr/>
        </p:nvGraphicFramePr>
        <p:xfrm>
          <a:off x="1431036" y="1371600"/>
          <a:ext cx="6281928" cy="3086100"/>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 Placeholder 12"/>
          <p:cNvSpPr>
            <a:spLocks/>
          </p:cNvSpPr>
          <p:nvPr>
            <p:custDataLst>
              <p:tags r:id="rId1"/>
            </p:custDataLst>
          </p:nvPr>
        </p:nvSpPr>
        <p:spPr bwMode="auto">
          <a:xfrm>
            <a:off x="1440656" y="1131570"/>
            <a:ext cx="929742"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p:txBody>
      </p:sp>
      <p:sp>
        <p:nvSpPr>
          <p:cNvPr id="9"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8673" name="Title 1"/>
          <p:cNvSpPr>
            <a:spLocks noGrp="1"/>
          </p:cNvSpPr>
          <p:nvPr>
            <p:ph type="title"/>
          </p:nvPr>
        </p:nvSpPr>
        <p:spPr/>
        <p:txBody>
          <a:bodyPr/>
          <a:lstStyle/>
          <a:p>
            <a:r>
              <a:rPr lang="en-US" altLang="ja-JP" dirty="0">
                <a:solidFill>
                  <a:srgbClr val="81BC00"/>
                </a:solidFill>
              </a:rPr>
              <a:t>Driver tree chart  </a:t>
            </a:r>
            <a:br>
              <a:rPr lang="en-US" altLang="ja-JP" dirty="0">
                <a:solidFill>
                  <a:srgbClr val="575757"/>
                </a:solidFill>
              </a:rPr>
            </a:br>
            <a:r>
              <a:rPr lang="en-US" altLang="ja-JP" dirty="0">
                <a:solidFill>
                  <a:srgbClr val="575757"/>
                </a:solidFill>
              </a:rPr>
              <a:t>DuPont chart with bars</a:t>
            </a:r>
            <a:endParaRPr lang="en-US" dirty="0">
              <a:solidFill>
                <a:srgbClr val="575757"/>
              </a:solidFill>
            </a:endParaRPr>
          </a:p>
        </p:txBody>
      </p:sp>
      <p:sp>
        <p:nvSpPr>
          <p:cNvPr id="45" name="Rectangle 10"/>
          <p:cNvSpPr>
            <a:spLocks noChangeArrowheads="1"/>
          </p:cNvSpPr>
          <p:nvPr/>
        </p:nvSpPr>
        <p:spPr bwMode="auto">
          <a:xfrm>
            <a:off x="6430039" y="1"/>
            <a:ext cx="1570961" cy="455303"/>
          </a:xfrm>
          <a:prstGeom prst="rect">
            <a:avLst/>
          </a:prstGeom>
          <a:solidFill>
            <a:schemeClr val="accent6"/>
          </a:solidFill>
          <a:ln w="6350" algn="ctr">
            <a:solidFill>
              <a:schemeClr val="bg1"/>
            </a:solidFill>
            <a:miter lim="800000"/>
            <a:headEnd/>
            <a:tailEnd/>
          </a:ln>
        </p:spPr>
        <p:txBody>
          <a:bodyPr wrap="square" lIns="54000" tIns="54000" rIns="54000" bIns="54000">
            <a:spAutoFit/>
          </a:bodyPr>
          <a:lstStyle/>
          <a:p>
            <a:pPr defTabSz="685800">
              <a:buClrTx/>
              <a:tabLst>
                <a:tab pos="135731" algn="l"/>
                <a:tab pos="407194" algn="l"/>
                <a:tab pos="670322" algn="l"/>
                <a:tab pos="940594" algn="l"/>
                <a:tab pos="1212056" algn="l"/>
              </a:tabLst>
              <a:defRPr/>
            </a:pPr>
            <a:r>
              <a:rPr lang="en-US" altLang="ja-JP" sz="750" kern="1200" dirty="0">
                <a:solidFill>
                  <a:srgbClr val="313131"/>
                </a:solidFill>
                <a:ea typeface="ＭＳ Ｐゴシック" pitchFamily="50" charset="-128"/>
                <a:cs typeface="+mn-cs"/>
              </a:rPr>
              <a:t>Tip! You can use these marks on the </a:t>
            </a:r>
            <a:r>
              <a:rPr lang="en-US" sz="750" kern="1200" dirty="0">
                <a:solidFill>
                  <a:srgbClr val="313131"/>
                </a:solidFill>
                <a:ea typeface="ＭＳ Ｐゴシック" pitchFamily="50" charset="-128"/>
                <a:cs typeface="+mn-cs"/>
              </a:rPr>
              <a:t>driver tree charts</a:t>
            </a:r>
            <a:r>
              <a:rPr lang="en-US" altLang="ja-JP" sz="750" kern="1200" dirty="0">
                <a:solidFill>
                  <a:srgbClr val="313131"/>
                </a:solidFill>
                <a:ea typeface="ＭＳ Ｐゴシック" pitchFamily="50" charset="-128"/>
                <a:cs typeface="+mn-cs"/>
              </a:rPr>
              <a:t>.</a:t>
            </a:r>
          </a:p>
          <a:p>
            <a:pPr defTabSz="685800">
              <a:buClrTx/>
              <a:tabLst>
                <a:tab pos="135731" algn="l"/>
                <a:tab pos="407194" algn="l"/>
                <a:tab pos="670322" algn="l"/>
                <a:tab pos="940594" algn="l"/>
                <a:tab pos="1212056" algn="l"/>
              </a:tabLst>
              <a:defRPr/>
            </a:pPr>
            <a:r>
              <a:rPr lang="en-US" altLang="ja-JP" sz="750" kern="1200" dirty="0">
                <a:solidFill>
                  <a:srgbClr val="313131"/>
                </a:solidFill>
                <a:ea typeface="ＭＳ Ｐゴシック" pitchFamily="50" charset="-128"/>
                <a:cs typeface="+mn-cs"/>
              </a:rPr>
              <a:t>	</a:t>
            </a:r>
            <a:r>
              <a:rPr lang="en-US" altLang="ja-JP" sz="750" b="1" kern="1200" dirty="0">
                <a:solidFill>
                  <a:srgbClr val="313131"/>
                </a:solidFill>
                <a:ea typeface="ＭＳ Ｐゴシック" pitchFamily="50" charset="-128"/>
                <a:cs typeface="+mn-cs"/>
              </a:rPr>
              <a:t>X	+	-	/	</a:t>
            </a:r>
            <a:r>
              <a:rPr lang="en-US" altLang="ja-JP" sz="750" b="1" i="1" kern="1200" dirty="0">
                <a:solidFill>
                  <a:srgbClr val="313131"/>
                </a:solidFill>
                <a:ea typeface="ＭＳ Ｐゴシック" pitchFamily="50" charset="-128"/>
                <a:cs typeface="+mn-cs"/>
              </a:rPr>
              <a:t>f</a:t>
            </a:r>
            <a:endParaRPr lang="en-US" sz="750" b="1" i="1" kern="1200" dirty="0">
              <a:solidFill>
                <a:srgbClr val="313131"/>
              </a:solidFill>
              <a:ea typeface="ＭＳ Ｐゴシック" pitchFamily="50" charset="-128"/>
              <a:cs typeface="+mn-cs"/>
            </a:endParaRPr>
          </a:p>
        </p:txBody>
      </p:sp>
      <p:sp>
        <p:nvSpPr>
          <p:cNvPr id="39" name="Text Placeholder 12"/>
          <p:cNvSpPr>
            <a:spLocks/>
          </p:cNvSpPr>
          <p:nvPr>
            <p:custDataLst>
              <p:tags r:id="rId1"/>
            </p:custDataLst>
          </p:nvPr>
        </p:nvSpPr>
        <p:spPr bwMode="auto">
          <a:xfrm>
            <a:off x="1440656" y="1131570"/>
            <a:ext cx="929742"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p:txBody>
      </p:sp>
      <p:grpSp>
        <p:nvGrpSpPr>
          <p:cNvPr id="668681" name="Group 12"/>
          <p:cNvGrpSpPr>
            <a:grpSpLocks/>
          </p:cNvGrpSpPr>
          <p:nvPr/>
        </p:nvGrpSpPr>
        <p:grpSpPr bwMode="auto">
          <a:xfrm>
            <a:off x="1438275" y="2791540"/>
            <a:ext cx="1743075" cy="1191815"/>
            <a:chOff x="300" y="872"/>
            <a:chExt cx="1847" cy="1688"/>
          </a:xfrm>
        </p:grpSpPr>
        <p:sp>
          <p:nvSpPr>
            <p:cNvPr id="668708" name="Text Box 10"/>
            <p:cNvSpPr txBox="1">
              <a:spLocks noChangeArrowheads="1"/>
            </p:cNvSpPr>
            <p:nvPr/>
          </p:nvSpPr>
          <p:spPr bwMode="auto">
            <a:xfrm>
              <a:off x="300" y="872"/>
              <a:ext cx="1847" cy="199"/>
            </a:xfrm>
            <a:prstGeom prst="rect">
              <a:avLst/>
            </a:prstGeom>
            <a:solidFill>
              <a:srgbClr val="00A1DE"/>
            </a:solidFill>
            <a:ln w="12700" algn="ctr">
              <a:solidFill>
                <a:srgbClr val="00A1DE"/>
              </a:solidFill>
              <a:miter lim="800000"/>
              <a:headEnd/>
              <a:tailEnd type="none" w="sm" len="med"/>
            </a:ln>
          </p:spPr>
          <p:txBody>
            <a:bodyPr lIns="27000" tIns="27000" rIns="27000" bIns="27000" anchor="ctr" anchorCtr="1"/>
            <a:lstStyle/>
            <a:p>
              <a:pPr defTabSz="717947">
                <a:buClrTx/>
              </a:pPr>
              <a:r>
                <a:rPr lang="en-US" sz="900" b="1" kern="1200" dirty="0">
                  <a:solidFill>
                    <a:prstClr val="white"/>
                  </a:solidFill>
                  <a:ea typeface="+mn-ea"/>
                  <a:cs typeface="+mn-cs"/>
                </a:rPr>
                <a:t>Text</a:t>
              </a:r>
            </a:p>
          </p:txBody>
        </p:sp>
        <p:sp>
          <p:nvSpPr>
            <p:cNvPr id="14" name="Rectangle 13"/>
            <p:cNvSpPr>
              <a:spLocks noChangeArrowheads="1"/>
            </p:cNvSpPr>
            <p:nvPr/>
          </p:nvSpPr>
          <p:spPr bwMode="auto">
            <a:xfrm>
              <a:off x="300" y="1071"/>
              <a:ext cx="1847" cy="1489"/>
            </a:xfrm>
            <a:prstGeom prst="rect">
              <a:avLst/>
            </a:prstGeom>
            <a:noFill/>
            <a:ln w="12700" algn="ctr">
              <a:solidFill>
                <a:srgbClr val="00A1DE"/>
              </a:solidFill>
              <a:miter lim="800000"/>
              <a:headEnd/>
              <a:tailEnd/>
            </a:ln>
          </p:spPr>
          <p:txBody>
            <a:bodyPr lIns="27000" tIns="27000" rIns="27000" bIns="27000"/>
            <a:lstStyle/>
            <a:p>
              <a:pPr marL="269717" indent="-269717" defTabSz="718499">
                <a:lnSpc>
                  <a:spcPct val="106000"/>
                </a:lnSpc>
                <a:spcBef>
                  <a:spcPts val="1008"/>
                </a:spcBef>
                <a:buClrTx/>
                <a:defRPr/>
              </a:pPr>
              <a:endParaRPr lang="en-US" sz="900" kern="1200" dirty="0">
                <a:solidFill>
                  <a:srgbClr val="002776"/>
                </a:solidFill>
                <a:ea typeface="+mn-ea"/>
                <a:cs typeface="+mn-cs"/>
              </a:endParaRPr>
            </a:p>
          </p:txBody>
        </p:sp>
      </p:grpSp>
      <p:grpSp>
        <p:nvGrpSpPr>
          <p:cNvPr id="668682" name="Group 12"/>
          <p:cNvGrpSpPr>
            <a:grpSpLocks/>
          </p:cNvGrpSpPr>
          <p:nvPr/>
        </p:nvGrpSpPr>
        <p:grpSpPr bwMode="auto">
          <a:xfrm>
            <a:off x="3771900" y="1950959"/>
            <a:ext cx="1920479" cy="1191815"/>
            <a:chOff x="300" y="872"/>
            <a:chExt cx="1847" cy="1688"/>
          </a:xfrm>
        </p:grpSpPr>
        <p:sp>
          <p:nvSpPr>
            <p:cNvPr id="668706" name="Text Box 10"/>
            <p:cNvSpPr txBox="1">
              <a:spLocks noChangeArrowheads="1"/>
            </p:cNvSpPr>
            <p:nvPr/>
          </p:nvSpPr>
          <p:spPr bwMode="auto">
            <a:xfrm>
              <a:off x="300" y="872"/>
              <a:ext cx="1847" cy="199"/>
            </a:xfrm>
            <a:prstGeom prst="rect">
              <a:avLst/>
            </a:prstGeom>
            <a:solidFill>
              <a:srgbClr val="00A1DE"/>
            </a:solidFill>
            <a:ln w="12700" algn="ctr">
              <a:solidFill>
                <a:srgbClr val="00A1DE"/>
              </a:solidFill>
              <a:miter lim="800000"/>
              <a:headEnd/>
              <a:tailEnd type="none" w="sm" len="med"/>
            </a:ln>
          </p:spPr>
          <p:txBody>
            <a:bodyPr lIns="27000" tIns="27000" rIns="27000" bIns="27000" anchor="ctr" anchorCtr="1"/>
            <a:lstStyle/>
            <a:p>
              <a:pPr defTabSz="717947">
                <a:buClrTx/>
              </a:pPr>
              <a:r>
                <a:rPr lang="en-US" sz="900" b="1" kern="1200" dirty="0">
                  <a:solidFill>
                    <a:prstClr val="white"/>
                  </a:solidFill>
                  <a:ea typeface="+mn-ea"/>
                  <a:cs typeface="+mn-cs"/>
                </a:rPr>
                <a:t>Text</a:t>
              </a:r>
            </a:p>
          </p:txBody>
        </p:sp>
        <p:sp>
          <p:nvSpPr>
            <p:cNvPr id="17" name="Rectangle 16"/>
            <p:cNvSpPr>
              <a:spLocks noChangeArrowheads="1"/>
            </p:cNvSpPr>
            <p:nvPr/>
          </p:nvSpPr>
          <p:spPr bwMode="auto">
            <a:xfrm>
              <a:off x="300" y="1071"/>
              <a:ext cx="1847" cy="1489"/>
            </a:xfrm>
            <a:prstGeom prst="rect">
              <a:avLst/>
            </a:prstGeom>
            <a:noFill/>
            <a:ln w="12700" algn="ctr">
              <a:solidFill>
                <a:srgbClr val="00A1DE"/>
              </a:solidFill>
              <a:miter lim="800000"/>
              <a:headEnd/>
              <a:tailEnd/>
            </a:ln>
          </p:spPr>
          <p:txBody>
            <a:bodyPr lIns="27000" tIns="27000" rIns="27000" bIns="27000"/>
            <a:lstStyle/>
            <a:p>
              <a:pPr marL="269717" indent="-269717" defTabSz="718499">
                <a:lnSpc>
                  <a:spcPct val="106000"/>
                </a:lnSpc>
                <a:spcBef>
                  <a:spcPts val="1008"/>
                </a:spcBef>
                <a:buClrTx/>
                <a:defRPr/>
              </a:pPr>
              <a:endParaRPr lang="en-US" sz="900" kern="1200" dirty="0">
                <a:solidFill>
                  <a:srgbClr val="002776"/>
                </a:solidFill>
                <a:ea typeface="+mn-ea"/>
                <a:cs typeface="+mn-cs"/>
              </a:endParaRPr>
            </a:p>
          </p:txBody>
        </p:sp>
      </p:grpSp>
      <p:grpSp>
        <p:nvGrpSpPr>
          <p:cNvPr id="668683" name="Group 12"/>
          <p:cNvGrpSpPr>
            <a:grpSpLocks/>
          </p:cNvGrpSpPr>
          <p:nvPr/>
        </p:nvGrpSpPr>
        <p:grpSpPr bwMode="auto">
          <a:xfrm>
            <a:off x="3771900" y="3557111"/>
            <a:ext cx="1920479" cy="1191816"/>
            <a:chOff x="300" y="872"/>
            <a:chExt cx="1847" cy="1688"/>
          </a:xfrm>
        </p:grpSpPr>
        <p:sp>
          <p:nvSpPr>
            <p:cNvPr id="668704" name="Text Box 10"/>
            <p:cNvSpPr txBox="1">
              <a:spLocks noChangeArrowheads="1"/>
            </p:cNvSpPr>
            <p:nvPr/>
          </p:nvSpPr>
          <p:spPr bwMode="auto">
            <a:xfrm>
              <a:off x="300" y="872"/>
              <a:ext cx="1847" cy="199"/>
            </a:xfrm>
            <a:prstGeom prst="rect">
              <a:avLst/>
            </a:prstGeom>
            <a:solidFill>
              <a:srgbClr val="00A1DE"/>
            </a:solidFill>
            <a:ln w="12700" algn="ctr">
              <a:solidFill>
                <a:srgbClr val="00A1DE"/>
              </a:solidFill>
              <a:miter lim="800000"/>
              <a:headEnd/>
              <a:tailEnd type="none" w="sm" len="med"/>
            </a:ln>
          </p:spPr>
          <p:txBody>
            <a:bodyPr lIns="27000" tIns="27000" rIns="27000" bIns="27000" anchor="ctr" anchorCtr="1"/>
            <a:lstStyle/>
            <a:p>
              <a:pPr defTabSz="717947">
                <a:buClrTx/>
              </a:pPr>
              <a:r>
                <a:rPr lang="en-US" sz="900" b="1" kern="1200" dirty="0">
                  <a:solidFill>
                    <a:prstClr val="white"/>
                  </a:solidFill>
                  <a:ea typeface="+mn-ea"/>
                  <a:cs typeface="+mn-cs"/>
                </a:rPr>
                <a:t>Text</a:t>
              </a:r>
            </a:p>
          </p:txBody>
        </p:sp>
        <p:sp>
          <p:nvSpPr>
            <p:cNvPr id="21" name="Rectangle 20"/>
            <p:cNvSpPr>
              <a:spLocks noChangeArrowheads="1"/>
            </p:cNvSpPr>
            <p:nvPr/>
          </p:nvSpPr>
          <p:spPr bwMode="auto">
            <a:xfrm>
              <a:off x="300" y="1071"/>
              <a:ext cx="1847" cy="1489"/>
            </a:xfrm>
            <a:prstGeom prst="rect">
              <a:avLst/>
            </a:prstGeom>
            <a:noFill/>
            <a:ln w="12700" algn="ctr">
              <a:solidFill>
                <a:srgbClr val="00A1DE"/>
              </a:solidFill>
              <a:miter lim="800000"/>
              <a:headEnd/>
              <a:tailEnd/>
            </a:ln>
          </p:spPr>
          <p:txBody>
            <a:bodyPr lIns="27000" tIns="27000" rIns="27000" bIns="27000"/>
            <a:lstStyle/>
            <a:p>
              <a:pPr marL="269717" indent="-269717" defTabSz="718499">
                <a:lnSpc>
                  <a:spcPct val="106000"/>
                </a:lnSpc>
                <a:spcBef>
                  <a:spcPts val="1008"/>
                </a:spcBef>
                <a:buClrTx/>
                <a:defRPr/>
              </a:pPr>
              <a:endParaRPr lang="en-US" sz="900" kern="1200" dirty="0">
                <a:solidFill>
                  <a:srgbClr val="002776"/>
                </a:solidFill>
                <a:ea typeface="+mn-ea"/>
                <a:cs typeface="+mn-cs"/>
              </a:endParaRPr>
            </a:p>
          </p:txBody>
        </p:sp>
      </p:grpSp>
      <p:grpSp>
        <p:nvGrpSpPr>
          <p:cNvPr id="668684" name="Group 12"/>
          <p:cNvGrpSpPr>
            <a:grpSpLocks/>
          </p:cNvGrpSpPr>
          <p:nvPr/>
        </p:nvGrpSpPr>
        <p:grpSpPr bwMode="auto">
          <a:xfrm>
            <a:off x="5961460" y="1268730"/>
            <a:ext cx="1743075" cy="1191816"/>
            <a:chOff x="300" y="872"/>
            <a:chExt cx="1847" cy="1688"/>
          </a:xfrm>
        </p:grpSpPr>
        <p:sp>
          <p:nvSpPr>
            <p:cNvPr id="668702" name="Text Box 10"/>
            <p:cNvSpPr txBox="1">
              <a:spLocks noChangeArrowheads="1"/>
            </p:cNvSpPr>
            <p:nvPr/>
          </p:nvSpPr>
          <p:spPr bwMode="auto">
            <a:xfrm>
              <a:off x="300" y="872"/>
              <a:ext cx="1847" cy="199"/>
            </a:xfrm>
            <a:prstGeom prst="rect">
              <a:avLst/>
            </a:prstGeom>
            <a:solidFill>
              <a:srgbClr val="00A1DE"/>
            </a:solidFill>
            <a:ln w="12700" algn="ctr">
              <a:solidFill>
                <a:srgbClr val="00A1DE"/>
              </a:solidFill>
              <a:miter lim="800000"/>
              <a:headEnd/>
              <a:tailEnd type="none" w="sm" len="med"/>
            </a:ln>
          </p:spPr>
          <p:txBody>
            <a:bodyPr lIns="27000" tIns="27000" rIns="27000" bIns="27000" anchor="ctr" anchorCtr="1"/>
            <a:lstStyle/>
            <a:p>
              <a:pPr defTabSz="717947">
                <a:buClrTx/>
              </a:pPr>
              <a:r>
                <a:rPr lang="en-US" sz="900" b="1" kern="1200" dirty="0">
                  <a:solidFill>
                    <a:prstClr val="white"/>
                  </a:solidFill>
                  <a:ea typeface="+mn-ea"/>
                  <a:cs typeface="+mn-cs"/>
                </a:rPr>
                <a:t>Text</a:t>
              </a:r>
            </a:p>
          </p:txBody>
        </p:sp>
        <p:sp>
          <p:nvSpPr>
            <p:cNvPr id="27" name="Rectangle 26"/>
            <p:cNvSpPr>
              <a:spLocks noChangeArrowheads="1"/>
            </p:cNvSpPr>
            <p:nvPr/>
          </p:nvSpPr>
          <p:spPr bwMode="auto">
            <a:xfrm>
              <a:off x="300" y="1071"/>
              <a:ext cx="1847" cy="1489"/>
            </a:xfrm>
            <a:prstGeom prst="rect">
              <a:avLst/>
            </a:prstGeom>
            <a:noFill/>
            <a:ln w="12700" algn="ctr">
              <a:solidFill>
                <a:srgbClr val="00A1DE"/>
              </a:solidFill>
              <a:miter lim="800000"/>
              <a:headEnd/>
              <a:tailEnd/>
            </a:ln>
          </p:spPr>
          <p:txBody>
            <a:bodyPr lIns="27000" tIns="27000" rIns="27000" bIns="27000"/>
            <a:lstStyle/>
            <a:p>
              <a:pPr marL="269717" indent="-269717" defTabSz="718499">
                <a:lnSpc>
                  <a:spcPct val="106000"/>
                </a:lnSpc>
                <a:spcBef>
                  <a:spcPts val="1008"/>
                </a:spcBef>
                <a:buClrTx/>
                <a:defRPr/>
              </a:pPr>
              <a:endParaRPr lang="en-US" sz="900" kern="1200" dirty="0">
                <a:solidFill>
                  <a:srgbClr val="002776"/>
                </a:solidFill>
                <a:ea typeface="+mn-ea"/>
                <a:cs typeface="+mn-cs"/>
              </a:endParaRPr>
            </a:p>
          </p:txBody>
        </p:sp>
      </p:grpSp>
      <p:grpSp>
        <p:nvGrpSpPr>
          <p:cNvPr id="668685" name="Group 12"/>
          <p:cNvGrpSpPr>
            <a:grpSpLocks/>
          </p:cNvGrpSpPr>
          <p:nvPr/>
        </p:nvGrpSpPr>
        <p:grpSpPr bwMode="auto">
          <a:xfrm>
            <a:off x="5961460" y="2658190"/>
            <a:ext cx="1743075" cy="1191815"/>
            <a:chOff x="300" y="872"/>
            <a:chExt cx="1847" cy="1688"/>
          </a:xfrm>
        </p:grpSpPr>
        <p:sp>
          <p:nvSpPr>
            <p:cNvPr id="668700" name="Text Box 10"/>
            <p:cNvSpPr txBox="1">
              <a:spLocks noChangeArrowheads="1"/>
            </p:cNvSpPr>
            <p:nvPr/>
          </p:nvSpPr>
          <p:spPr bwMode="auto">
            <a:xfrm>
              <a:off x="300" y="872"/>
              <a:ext cx="1847" cy="199"/>
            </a:xfrm>
            <a:prstGeom prst="rect">
              <a:avLst/>
            </a:prstGeom>
            <a:solidFill>
              <a:srgbClr val="00A1DE"/>
            </a:solidFill>
            <a:ln w="12700" algn="ctr">
              <a:solidFill>
                <a:srgbClr val="00A1DE"/>
              </a:solidFill>
              <a:miter lim="800000"/>
              <a:headEnd/>
              <a:tailEnd type="none" w="sm" len="med"/>
            </a:ln>
          </p:spPr>
          <p:txBody>
            <a:bodyPr lIns="27000" tIns="27000" rIns="27000" bIns="27000" anchor="ctr" anchorCtr="1"/>
            <a:lstStyle/>
            <a:p>
              <a:pPr defTabSz="717947">
                <a:buClrTx/>
              </a:pPr>
              <a:r>
                <a:rPr lang="en-US" sz="900" b="1" kern="1200" dirty="0">
                  <a:solidFill>
                    <a:prstClr val="white"/>
                  </a:solidFill>
                  <a:ea typeface="+mn-ea"/>
                  <a:cs typeface="+mn-cs"/>
                </a:rPr>
                <a:t>Text</a:t>
              </a:r>
            </a:p>
          </p:txBody>
        </p:sp>
        <p:sp>
          <p:nvSpPr>
            <p:cNvPr id="30" name="Rectangle 29"/>
            <p:cNvSpPr>
              <a:spLocks noChangeArrowheads="1"/>
            </p:cNvSpPr>
            <p:nvPr/>
          </p:nvSpPr>
          <p:spPr bwMode="auto">
            <a:xfrm>
              <a:off x="300" y="1071"/>
              <a:ext cx="1847" cy="1489"/>
            </a:xfrm>
            <a:prstGeom prst="rect">
              <a:avLst/>
            </a:prstGeom>
            <a:noFill/>
            <a:ln w="12700" algn="ctr">
              <a:solidFill>
                <a:srgbClr val="00A1DE"/>
              </a:solidFill>
              <a:miter lim="800000"/>
              <a:headEnd/>
              <a:tailEnd/>
            </a:ln>
          </p:spPr>
          <p:txBody>
            <a:bodyPr lIns="27000" tIns="27000" rIns="27000" bIns="27000"/>
            <a:lstStyle/>
            <a:p>
              <a:pPr marL="269717" indent="-269717" defTabSz="718499">
                <a:lnSpc>
                  <a:spcPct val="106000"/>
                </a:lnSpc>
                <a:spcBef>
                  <a:spcPts val="1008"/>
                </a:spcBef>
                <a:buClrTx/>
                <a:defRPr/>
              </a:pPr>
              <a:endParaRPr lang="en-US" sz="900" kern="1200" dirty="0">
                <a:solidFill>
                  <a:srgbClr val="002776"/>
                </a:solidFill>
                <a:ea typeface="+mn-ea"/>
                <a:cs typeface="+mn-cs"/>
              </a:endParaRPr>
            </a:p>
          </p:txBody>
        </p:sp>
      </p:grpSp>
      <p:cxnSp>
        <p:nvCxnSpPr>
          <p:cNvPr id="32" name="Elbow Connector 31"/>
          <p:cNvCxnSpPr/>
          <p:nvPr/>
        </p:nvCxnSpPr>
        <p:spPr>
          <a:xfrm flipV="1">
            <a:off x="3181350" y="2617119"/>
            <a:ext cx="590550" cy="840581"/>
          </a:xfrm>
          <a:prstGeom prst="bentConnector3">
            <a:avLst>
              <a:gd name="adj1" fmla="val 50000"/>
            </a:avLst>
          </a:prstGeom>
          <a:ln w="19050">
            <a:solidFill>
              <a:srgbClr val="B4B4B4"/>
            </a:solidFill>
          </a:ln>
        </p:spPr>
        <p:style>
          <a:lnRef idx="1">
            <a:schemeClr val="accent1"/>
          </a:lnRef>
          <a:fillRef idx="0">
            <a:schemeClr val="accent1"/>
          </a:fillRef>
          <a:effectRef idx="0">
            <a:schemeClr val="accent1"/>
          </a:effectRef>
          <a:fontRef idx="minor">
            <a:schemeClr val="tx1"/>
          </a:fontRef>
        </p:style>
      </p:cxnSp>
      <p:cxnSp>
        <p:nvCxnSpPr>
          <p:cNvPr id="35" name="Elbow Connector 34"/>
          <p:cNvCxnSpPr/>
          <p:nvPr/>
        </p:nvCxnSpPr>
        <p:spPr>
          <a:xfrm>
            <a:off x="3181350" y="3457700"/>
            <a:ext cx="590550" cy="765572"/>
          </a:xfrm>
          <a:prstGeom prst="bentConnector3">
            <a:avLst>
              <a:gd name="adj1" fmla="val 50000"/>
            </a:avLst>
          </a:prstGeom>
          <a:ln w="19050">
            <a:solidFill>
              <a:srgbClr val="B4B4B4"/>
            </a:solidFill>
          </a:ln>
        </p:spPr>
        <p:style>
          <a:lnRef idx="1">
            <a:schemeClr val="accent1"/>
          </a:lnRef>
          <a:fillRef idx="0">
            <a:schemeClr val="accent1"/>
          </a:fillRef>
          <a:effectRef idx="0">
            <a:schemeClr val="accent1"/>
          </a:effectRef>
          <a:fontRef idx="minor">
            <a:schemeClr val="tx1"/>
          </a:fontRef>
        </p:style>
      </p:cxnSp>
      <p:cxnSp>
        <p:nvCxnSpPr>
          <p:cNvPr id="38" name="Elbow Connector 37"/>
          <p:cNvCxnSpPr/>
          <p:nvPr/>
        </p:nvCxnSpPr>
        <p:spPr>
          <a:xfrm flipV="1">
            <a:off x="5692379" y="1934891"/>
            <a:ext cx="269081" cy="682228"/>
          </a:xfrm>
          <a:prstGeom prst="bentConnector3">
            <a:avLst>
              <a:gd name="adj1" fmla="val 50000"/>
            </a:avLst>
          </a:prstGeom>
          <a:ln w="19050">
            <a:solidFill>
              <a:srgbClr val="B4B4B4"/>
            </a:solidFill>
          </a:ln>
        </p:spPr>
        <p:style>
          <a:lnRef idx="1">
            <a:schemeClr val="accent1"/>
          </a:lnRef>
          <a:fillRef idx="0">
            <a:schemeClr val="accent1"/>
          </a:fillRef>
          <a:effectRef idx="0">
            <a:schemeClr val="accent1"/>
          </a:effectRef>
          <a:fontRef idx="minor">
            <a:schemeClr val="tx1"/>
          </a:fontRef>
        </p:style>
      </p:cxnSp>
      <p:cxnSp>
        <p:nvCxnSpPr>
          <p:cNvPr id="41" name="Elbow Connector 40"/>
          <p:cNvCxnSpPr/>
          <p:nvPr/>
        </p:nvCxnSpPr>
        <p:spPr>
          <a:xfrm>
            <a:off x="5692379" y="2617119"/>
            <a:ext cx="269081" cy="707231"/>
          </a:xfrm>
          <a:prstGeom prst="bentConnector3">
            <a:avLst>
              <a:gd name="adj1" fmla="val 50000"/>
            </a:avLst>
          </a:prstGeom>
          <a:ln w="19050">
            <a:solidFill>
              <a:srgbClr val="B4B4B4"/>
            </a:solidFill>
          </a:ln>
        </p:spPr>
        <p:style>
          <a:lnRef idx="1">
            <a:schemeClr val="accent1"/>
          </a:lnRef>
          <a:fillRef idx="0">
            <a:schemeClr val="accent1"/>
          </a:fillRef>
          <a:effectRef idx="0">
            <a:schemeClr val="accent1"/>
          </a:effectRef>
          <a:fontRef idx="minor">
            <a:schemeClr val="tx1"/>
          </a:fontRef>
        </p:style>
      </p:cxnSp>
      <p:graphicFrame>
        <p:nvGraphicFramePr>
          <p:cNvPr id="50" name="Chart 49"/>
          <p:cNvGraphicFramePr/>
          <p:nvPr/>
        </p:nvGraphicFramePr>
        <p:xfrm>
          <a:off x="5971928" y="1423578"/>
          <a:ext cx="1724273" cy="100513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6" name="Chart 55"/>
          <p:cNvGraphicFramePr/>
          <p:nvPr/>
        </p:nvGraphicFramePr>
        <p:xfrm>
          <a:off x="3870003" y="2109378"/>
          <a:ext cx="1724273" cy="100513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7" name="Chart 56"/>
          <p:cNvGraphicFramePr/>
          <p:nvPr/>
        </p:nvGraphicFramePr>
        <p:xfrm>
          <a:off x="3870003" y="3713891"/>
          <a:ext cx="1724273" cy="100513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8" name="Chart 57"/>
          <p:cNvGraphicFramePr/>
          <p:nvPr/>
        </p:nvGraphicFramePr>
        <p:xfrm>
          <a:off x="1438275" y="2956923"/>
          <a:ext cx="1724273" cy="100513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9" name="Chart 48"/>
          <p:cNvGraphicFramePr/>
          <p:nvPr/>
        </p:nvGraphicFramePr>
        <p:xfrm>
          <a:off x="5971928" y="2823753"/>
          <a:ext cx="1724273" cy="1005135"/>
        </p:xfrm>
        <a:graphic>
          <a:graphicData uri="http://schemas.openxmlformats.org/drawingml/2006/chart">
            <c:chart xmlns:c="http://schemas.openxmlformats.org/drawingml/2006/chart" xmlns:r="http://schemas.openxmlformats.org/officeDocument/2006/relationships" r:id="rId8"/>
          </a:graphicData>
        </a:graphic>
      </p:graphicFrame>
      <p:sp>
        <p:nvSpPr>
          <p:cNvPr id="33" name="Text Placeholder 11"/>
          <p:cNvSpPr txBox="1">
            <a:spLocks/>
          </p:cNvSpPr>
          <p:nvPr/>
        </p:nvSpPr>
        <p:spPr>
          <a:xfrm>
            <a:off x="1422693" y="4607733"/>
            <a:ext cx="183485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2913" name="Rectangle 1" hidden="1"/>
          <p:cNvGraphicFramePr>
            <a:graphicFrameLocks/>
          </p:cNvGraphicFramePr>
          <p:nvPr>
            <p:custDataLst>
              <p:tags r:id="rId1"/>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11" imgW="0" imgH="0" progId="">
                  <p:embed/>
                </p:oleObj>
              </mc:Choice>
              <mc:Fallback>
                <p:oleObj name="think-cell Slide" r:id="rId11" imgW="0" imgH="0" progId="">
                  <p:embed/>
                  <p:pic>
                    <p:nvPicPr>
                      <p:cNvPr id="422913"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22914" name="Title 1"/>
          <p:cNvSpPr>
            <a:spLocks noGrp="1"/>
          </p:cNvSpPr>
          <p:nvPr>
            <p:ph type="title"/>
            <p:custDataLst>
              <p:tags r:id="rId2"/>
            </p:custDataLst>
          </p:nvPr>
        </p:nvSpPr>
        <p:spPr/>
        <p:txBody>
          <a:bodyPr/>
          <a:lstStyle/>
          <a:p>
            <a:r>
              <a:rPr lang="en-US" dirty="0">
                <a:solidFill>
                  <a:srgbClr val="81BC00"/>
                </a:solidFill>
              </a:rPr>
              <a:t>CAGR </a:t>
            </a:r>
            <a:r>
              <a:rPr lang="en-US" altLang="ja-JP" dirty="0">
                <a:solidFill>
                  <a:srgbClr val="81BC00"/>
                </a:solidFill>
              </a:rPr>
              <a:t>t</a:t>
            </a:r>
            <a:r>
              <a:rPr lang="en-US" dirty="0">
                <a:solidFill>
                  <a:srgbClr val="81BC00"/>
                </a:solidFill>
              </a:rPr>
              <a:t>ree</a:t>
            </a:r>
          </a:p>
        </p:txBody>
      </p:sp>
      <p:sp>
        <p:nvSpPr>
          <p:cNvPr id="82" name="Text Placeholder 12"/>
          <p:cNvSpPr>
            <a:spLocks/>
          </p:cNvSpPr>
          <p:nvPr>
            <p:custDataLst>
              <p:tags r:id="rId3"/>
            </p:custDataLst>
          </p:nvPr>
        </p:nvSpPr>
        <p:spPr bwMode="auto">
          <a:xfrm>
            <a:off x="1440656" y="1131570"/>
            <a:ext cx="929742"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p:txBody>
      </p:sp>
      <p:sp>
        <p:nvSpPr>
          <p:cNvPr id="422916" name="Text Box 3"/>
          <p:cNvSpPr txBox="1">
            <a:spLocks noChangeArrowheads="1"/>
          </p:cNvSpPr>
          <p:nvPr>
            <p:custDataLst>
              <p:tags r:id="rId4"/>
            </p:custDataLst>
          </p:nvPr>
        </p:nvSpPr>
        <p:spPr bwMode="auto">
          <a:xfrm>
            <a:off x="6806860" y="4639928"/>
            <a:ext cx="485736" cy="169944"/>
          </a:xfrm>
          <a:prstGeom prst="rect">
            <a:avLst/>
          </a:prstGeom>
          <a:noFill/>
          <a:ln w="9525">
            <a:noFill/>
            <a:miter lim="800000"/>
            <a:headEnd/>
            <a:tailEnd/>
          </a:ln>
        </p:spPr>
        <p:txBody>
          <a:bodyPr wrap="none" lIns="27000" tIns="27000" rIns="27000" bIns="27000">
            <a:spAutoFit/>
          </a:bodyPr>
          <a:lstStyle/>
          <a:p>
            <a:pPr defTabSz="685800">
              <a:buClrTx/>
            </a:pPr>
            <a:r>
              <a:rPr lang="en-US" sz="750" kern="1200" dirty="0">
                <a:solidFill>
                  <a:srgbClr val="313131"/>
                </a:solidFill>
                <a:ea typeface="ＭＳ Ｐゴシック" charset="-128"/>
                <a:cs typeface="+mn-cs"/>
              </a:rPr>
              <a:t>Key figure</a:t>
            </a:r>
          </a:p>
        </p:txBody>
      </p:sp>
      <p:sp>
        <p:nvSpPr>
          <p:cNvPr id="422917" name="Oval 4"/>
          <p:cNvSpPr>
            <a:spLocks noChangeArrowheads="1"/>
          </p:cNvSpPr>
          <p:nvPr>
            <p:custDataLst>
              <p:tags r:id="rId5"/>
            </p:custDataLst>
          </p:nvPr>
        </p:nvSpPr>
        <p:spPr bwMode="auto">
          <a:xfrm>
            <a:off x="6596118" y="4684417"/>
            <a:ext cx="138113" cy="80963"/>
          </a:xfrm>
          <a:prstGeom prst="ellipse">
            <a:avLst/>
          </a:prstGeom>
          <a:noFill/>
          <a:ln w="38100">
            <a:solidFill>
              <a:schemeClr val="accent4"/>
            </a:solidFill>
            <a:round/>
            <a:headEnd/>
            <a:tailEnd/>
          </a:ln>
        </p:spPr>
        <p:txBody>
          <a:bodyPr wrap="none" lIns="27000" tIns="27000" rIns="27000" bIns="27000" anchor="ctr"/>
          <a:lstStyle/>
          <a:p>
            <a:pPr algn="ctr" defTabSz="685800">
              <a:buClrTx/>
            </a:pPr>
            <a:endParaRPr lang="en-US" sz="750" kern="1200">
              <a:solidFill>
                <a:srgbClr val="313131"/>
              </a:solidFill>
              <a:ea typeface="ＭＳ Ｐゴシック" charset="-128"/>
              <a:cs typeface="+mn-cs"/>
            </a:endParaRPr>
          </a:p>
        </p:txBody>
      </p:sp>
      <p:cxnSp>
        <p:nvCxnSpPr>
          <p:cNvPr id="69" name="AutoShape 66"/>
          <p:cNvCxnSpPr>
            <a:cxnSpLocks noChangeShapeType="1"/>
          </p:cNvCxnSpPr>
          <p:nvPr/>
        </p:nvCxnSpPr>
        <p:spPr bwMode="gray">
          <a:xfrm>
            <a:off x="2618185" y="2912984"/>
            <a:ext cx="551259" cy="823317"/>
          </a:xfrm>
          <a:prstGeom prst="bentConnector3">
            <a:avLst>
              <a:gd name="adj1" fmla="val 50000"/>
            </a:avLst>
          </a:prstGeom>
          <a:noFill/>
          <a:ln w="12700">
            <a:solidFill>
              <a:srgbClr val="B4B4B4"/>
            </a:solidFill>
            <a:miter lim="800000"/>
            <a:headEnd/>
            <a:tailEnd/>
          </a:ln>
        </p:spPr>
      </p:cxnSp>
      <p:grpSp>
        <p:nvGrpSpPr>
          <p:cNvPr id="422919" name="Group 90"/>
          <p:cNvGrpSpPr>
            <a:grpSpLocks/>
          </p:cNvGrpSpPr>
          <p:nvPr/>
        </p:nvGrpSpPr>
        <p:grpSpPr bwMode="auto">
          <a:xfrm>
            <a:off x="1496616" y="2617709"/>
            <a:ext cx="1121569" cy="450056"/>
            <a:chOff x="510030" y="3653176"/>
            <a:chExt cx="1620001" cy="599521"/>
          </a:xfrm>
          <a:solidFill>
            <a:schemeClr val="bg1"/>
          </a:solidFill>
        </p:grpSpPr>
        <p:sp>
          <p:nvSpPr>
            <p:cNvPr id="422987"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27000" tIns="27000" rIns="27000" bIns="27000" anchor="ctr" anchorCtr="1"/>
            <a:lstStyle/>
            <a:p>
              <a:pPr defTabSz="717947">
                <a:buClrTx/>
              </a:pPr>
              <a:r>
                <a:rPr lang="en-US" sz="750" b="1" kern="1200" dirty="0">
                  <a:solidFill>
                    <a:prstClr val="white"/>
                  </a:solidFill>
                  <a:ea typeface="+mn-ea"/>
                  <a:cs typeface="+mn-cs"/>
                </a:rPr>
                <a:t>Text</a:t>
              </a:r>
            </a:p>
          </p:txBody>
        </p:sp>
        <p:sp>
          <p:nvSpPr>
            <p:cNvPr id="80" name="Rectangle 79"/>
            <p:cNvSpPr>
              <a:spLocks noChangeArrowheads="1"/>
            </p:cNvSpPr>
            <p:nvPr/>
          </p:nvSpPr>
          <p:spPr bwMode="auto">
            <a:xfrm>
              <a:off x="510030" y="3840328"/>
              <a:ext cx="540000" cy="412369"/>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dirty="0">
                  <a:solidFill>
                    <a:srgbClr val="313131"/>
                  </a:solidFill>
                  <a:ea typeface="+mn-ea"/>
                  <a:cs typeface="+mn-cs"/>
                </a:rPr>
                <a:t>Text</a:t>
              </a:r>
            </a:p>
          </p:txBody>
        </p:sp>
        <p:sp>
          <p:nvSpPr>
            <p:cNvPr id="89" name="Rectangle 88"/>
            <p:cNvSpPr>
              <a:spLocks noChangeArrowheads="1"/>
            </p:cNvSpPr>
            <p:nvPr/>
          </p:nvSpPr>
          <p:spPr bwMode="auto">
            <a:xfrm>
              <a:off x="1050030" y="3840328"/>
              <a:ext cx="540000" cy="412369"/>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dirty="0">
                  <a:solidFill>
                    <a:srgbClr val="313131"/>
                  </a:solidFill>
                  <a:ea typeface="+mn-ea"/>
                  <a:cs typeface="+mn-cs"/>
                </a:rPr>
                <a:t>Text</a:t>
              </a:r>
            </a:p>
          </p:txBody>
        </p:sp>
        <p:sp>
          <p:nvSpPr>
            <p:cNvPr id="90" name="Rectangle 89"/>
            <p:cNvSpPr>
              <a:spLocks noChangeArrowheads="1"/>
            </p:cNvSpPr>
            <p:nvPr/>
          </p:nvSpPr>
          <p:spPr bwMode="auto">
            <a:xfrm>
              <a:off x="1590031" y="3840328"/>
              <a:ext cx="540000" cy="412369"/>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dirty="0">
                  <a:solidFill>
                    <a:srgbClr val="313131"/>
                  </a:solidFill>
                  <a:ea typeface="+mn-ea"/>
                  <a:cs typeface="+mn-cs"/>
                </a:rPr>
                <a:t>Text</a:t>
              </a:r>
            </a:p>
          </p:txBody>
        </p:sp>
      </p:grpSp>
      <p:grpSp>
        <p:nvGrpSpPr>
          <p:cNvPr id="422920" name="Group 93"/>
          <p:cNvGrpSpPr>
            <a:grpSpLocks/>
          </p:cNvGrpSpPr>
          <p:nvPr/>
        </p:nvGrpSpPr>
        <p:grpSpPr bwMode="auto">
          <a:xfrm>
            <a:off x="3169445" y="3441622"/>
            <a:ext cx="1121569" cy="448865"/>
            <a:chOff x="510030" y="3653176"/>
            <a:chExt cx="1620001" cy="599521"/>
          </a:xfrm>
          <a:solidFill>
            <a:schemeClr val="bg1"/>
          </a:solidFill>
        </p:grpSpPr>
        <p:sp>
          <p:nvSpPr>
            <p:cNvPr id="422983"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27000" tIns="27000" rIns="27000" bIns="27000" anchor="ctr" anchorCtr="1"/>
            <a:lstStyle/>
            <a:p>
              <a:pPr defTabSz="717947">
                <a:buClrTx/>
              </a:pPr>
              <a:r>
                <a:rPr lang="en-US" sz="750" b="1" kern="1200" dirty="0">
                  <a:solidFill>
                    <a:prstClr val="white"/>
                  </a:solidFill>
                  <a:ea typeface="+mn-ea"/>
                  <a:cs typeface="+mn-cs"/>
                </a:rPr>
                <a:t>Text</a:t>
              </a:r>
            </a:p>
          </p:txBody>
        </p:sp>
        <p:sp>
          <p:nvSpPr>
            <p:cNvPr id="96" name="Rectangle 95"/>
            <p:cNvSpPr>
              <a:spLocks noChangeArrowheads="1"/>
            </p:cNvSpPr>
            <p:nvPr/>
          </p:nvSpPr>
          <p:spPr bwMode="auto">
            <a:xfrm>
              <a:off x="510030" y="3840825"/>
              <a:ext cx="540000" cy="411872"/>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dirty="0">
                  <a:solidFill>
                    <a:srgbClr val="313131"/>
                  </a:solidFill>
                  <a:ea typeface="+mn-ea"/>
                  <a:cs typeface="+mn-cs"/>
                </a:rPr>
                <a:t>Text</a:t>
              </a:r>
            </a:p>
          </p:txBody>
        </p:sp>
        <p:sp>
          <p:nvSpPr>
            <p:cNvPr id="97" name="Rectangle 96"/>
            <p:cNvSpPr>
              <a:spLocks noChangeArrowheads="1"/>
            </p:cNvSpPr>
            <p:nvPr/>
          </p:nvSpPr>
          <p:spPr bwMode="auto">
            <a:xfrm>
              <a:off x="1050030" y="3840825"/>
              <a:ext cx="540000" cy="411872"/>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dirty="0">
                  <a:solidFill>
                    <a:srgbClr val="313131"/>
                  </a:solidFill>
                  <a:ea typeface="+mn-ea"/>
                  <a:cs typeface="+mn-cs"/>
                </a:rPr>
                <a:t>Text</a:t>
              </a:r>
            </a:p>
          </p:txBody>
        </p:sp>
        <p:sp>
          <p:nvSpPr>
            <p:cNvPr id="98" name="Rectangle 97"/>
            <p:cNvSpPr>
              <a:spLocks noChangeArrowheads="1"/>
            </p:cNvSpPr>
            <p:nvPr/>
          </p:nvSpPr>
          <p:spPr bwMode="auto">
            <a:xfrm>
              <a:off x="1590031" y="3840825"/>
              <a:ext cx="540000" cy="411872"/>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a:solidFill>
                    <a:srgbClr val="313131"/>
                  </a:solidFill>
                  <a:ea typeface="+mn-ea"/>
                  <a:cs typeface="+mn-cs"/>
                </a:rPr>
                <a:t>Text</a:t>
              </a:r>
              <a:endParaRPr lang="en-US" sz="750" kern="1200" dirty="0">
                <a:solidFill>
                  <a:srgbClr val="313131"/>
                </a:solidFill>
                <a:ea typeface="+mn-ea"/>
                <a:cs typeface="+mn-cs"/>
              </a:endParaRPr>
            </a:p>
          </p:txBody>
        </p:sp>
      </p:grpSp>
      <p:grpSp>
        <p:nvGrpSpPr>
          <p:cNvPr id="422921" name="Group 98"/>
          <p:cNvGrpSpPr>
            <a:grpSpLocks/>
          </p:cNvGrpSpPr>
          <p:nvPr/>
        </p:nvGrpSpPr>
        <p:grpSpPr bwMode="auto">
          <a:xfrm>
            <a:off x="3169444" y="1790224"/>
            <a:ext cx="1121569" cy="450056"/>
            <a:chOff x="510030" y="3653176"/>
            <a:chExt cx="1620001" cy="599521"/>
          </a:xfrm>
          <a:solidFill>
            <a:schemeClr val="bg1"/>
          </a:solidFill>
        </p:grpSpPr>
        <p:sp>
          <p:nvSpPr>
            <p:cNvPr id="422979"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27000" tIns="27000" rIns="27000" bIns="27000" anchor="ctr" anchorCtr="1"/>
            <a:lstStyle/>
            <a:p>
              <a:pPr defTabSz="717947">
                <a:buClrTx/>
              </a:pPr>
              <a:r>
                <a:rPr lang="en-US" sz="750" b="1" kern="1200" dirty="0">
                  <a:solidFill>
                    <a:prstClr val="white"/>
                  </a:solidFill>
                  <a:ea typeface="+mn-ea"/>
                  <a:cs typeface="+mn-cs"/>
                </a:rPr>
                <a:t>Text</a:t>
              </a:r>
            </a:p>
          </p:txBody>
        </p:sp>
        <p:sp>
          <p:nvSpPr>
            <p:cNvPr id="101" name="Rectangle 100"/>
            <p:cNvSpPr>
              <a:spLocks noChangeArrowheads="1"/>
            </p:cNvSpPr>
            <p:nvPr/>
          </p:nvSpPr>
          <p:spPr bwMode="auto">
            <a:xfrm>
              <a:off x="510030" y="3840328"/>
              <a:ext cx="540000" cy="412369"/>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dirty="0">
                  <a:solidFill>
                    <a:srgbClr val="313131"/>
                  </a:solidFill>
                  <a:ea typeface="+mn-ea"/>
                  <a:cs typeface="+mn-cs"/>
                </a:rPr>
                <a:t>Text</a:t>
              </a:r>
            </a:p>
          </p:txBody>
        </p:sp>
        <p:sp>
          <p:nvSpPr>
            <p:cNvPr id="102" name="Rectangle 101"/>
            <p:cNvSpPr>
              <a:spLocks noChangeArrowheads="1"/>
            </p:cNvSpPr>
            <p:nvPr/>
          </p:nvSpPr>
          <p:spPr bwMode="auto">
            <a:xfrm>
              <a:off x="1050030" y="3840328"/>
              <a:ext cx="540000" cy="412369"/>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dirty="0">
                  <a:solidFill>
                    <a:srgbClr val="313131"/>
                  </a:solidFill>
                  <a:ea typeface="+mn-ea"/>
                  <a:cs typeface="+mn-cs"/>
                </a:rPr>
                <a:t>Text</a:t>
              </a:r>
            </a:p>
          </p:txBody>
        </p:sp>
        <p:sp>
          <p:nvSpPr>
            <p:cNvPr id="103" name="Rectangle 102"/>
            <p:cNvSpPr>
              <a:spLocks noChangeArrowheads="1"/>
            </p:cNvSpPr>
            <p:nvPr/>
          </p:nvSpPr>
          <p:spPr bwMode="auto">
            <a:xfrm>
              <a:off x="1590031" y="3840328"/>
              <a:ext cx="540000" cy="412369"/>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dirty="0">
                  <a:solidFill>
                    <a:srgbClr val="313131"/>
                  </a:solidFill>
                  <a:ea typeface="+mn-ea"/>
                  <a:cs typeface="+mn-cs"/>
                </a:rPr>
                <a:t>Text</a:t>
              </a:r>
            </a:p>
          </p:txBody>
        </p:sp>
      </p:grpSp>
      <p:grpSp>
        <p:nvGrpSpPr>
          <p:cNvPr id="422922" name="Group 103"/>
          <p:cNvGrpSpPr>
            <a:grpSpLocks/>
          </p:cNvGrpSpPr>
          <p:nvPr/>
        </p:nvGrpSpPr>
        <p:grpSpPr bwMode="auto">
          <a:xfrm>
            <a:off x="4932760" y="1268730"/>
            <a:ext cx="1121569" cy="448866"/>
            <a:chOff x="510030" y="3653176"/>
            <a:chExt cx="1620001" cy="599521"/>
          </a:xfrm>
          <a:solidFill>
            <a:schemeClr val="bg1"/>
          </a:solidFill>
        </p:grpSpPr>
        <p:sp>
          <p:nvSpPr>
            <p:cNvPr id="422975"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27000" tIns="27000" rIns="27000" bIns="27000" anchor="ctr" anchorCtr="1"/>
            <a:lstStyle/>
            <a:p>
              <a:pPr defTabSz="717947">
                <a:buClrTx/>
              </a:pPr>
              <a:r>
                <a:rPr lang="en-US" sz="750" b="1" kern="1200" dirty="0">
                  <a:solidFill>
                    <a:prstClr val="white"/>
                  </a:solidFill>
                  <a:ea typeface="+mn-ea"/>
                  <a:cs typeface="+mn-cs"/>
                </a:rPr>
                <a:t>Text</a:t>
              </a:r>
            </a:p>
          </p:txBody>
        </p:sp>
        <p:sp>
          <p:nvSpPr>
            <p:cNvPr id="106" name="Rectangle 105"/>
            <p:cNvSpPr>
              <a:spLocks noChangeArrowheads="1"/>
            </p:cNvSpPr>
            <p:nvPr/>
          </p:nvSpPr>
          <p:spPr bwMode="auto">
            <a:xfrm>
              <a:off x="510030" y="3840824"/>
              <a:ext cx="540000" cy="411873"/>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dirty="0">
                  <a:solidFill>
                    <a:srgbClr val="313131"/>
                  </a:solidFill>
                  <a:ea typeface="+mn-ea"/>
                  <a:cs typeface="+mn-cs"/>
                </a:rPr>
                <a:t>Text</a:t>
              </a:r>
            </a:p>
          </p:txBody>
        </p:sp>
        <p:sp>
          <p:nvSpPr>
            <p:cNvPr id="107" name="Rectangle 106"/>
            <p:cNvSpPr>
              <a:spLocks noChangeArrowheads="1"/>
            </p:cNvSpPr>
            <p:nvPr/>
          </p:nvSpPr>
          <p:spPr bwMode="auto">
            <a:xfrm>
              <a:off x="1050030" y="3840824"/>
              <a:ext cx="540000" cy="411873"/>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dirty="0">
                  <a:solidFill>
                    <a:srgbClr val="313131"/>
                  </a:solidFill>
                  <a:ea typeface="+mn-ea"/>
                  <a:cs typeface="+mn-cs"/>
                </a:rPr>
                <a:t>Text</a:t>
              </a:r>
            </a:p>
          </p:txBody>
        </p:sp>
        <p:sp>
          <p:nvSpPr>
            <p:cNvPr id="108" name="Rectangle 107"/>
            <p:cNvSpPr>
              <a:spLocks noChangeArrowheads="1"/>
            </p:cNvSpPr>
            <p:nvPr/>
          </p:nvSpPr>
          <p:spPr bwMode="auto">
            <a:xfrm>
              <a:off x="1590031" y="3840824"/>
              <a:ext cx="540000" cy="411873"/>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dirty="0">
                  <a:solidFill>
                    <a:srgbClr val="313131"/>
                  </a:solidFill>
                  <a:ea typeface="+mn-ea"/>
                  <a:cs typeface="+mn-cs"/>
                </a:rPr>
                <a:t>Text</a:t>
              </a:r>
            </a:p>
          </p:txBody>
        </p:sp>
      </p:grpSp>
      <p:grpSp>
        <p:nvGrpSpPr>
          <p:cNvPr id="422923" name="Group 118"/>
          <p:cNvGrpSpPr>
            <a:grpSpLocks/>
          </p:cNvGrpSpPr>
          <p:nvPr/>
        </p:nvGrpSpPr>
        <p:grpSpPr bwMode="auto">
          <a:xfrm>
            <a:off x="4932760" y="1786653"/>
            <a:ext cx="1121569" cy="450056"/>
            <a:chOff x="510030" y="3653176"/>
            <a:chExt cx="1620001" cy="599521"/>
          </a:xfrm>
          <a:solidFill>
            <a:schemeClr val="bg1"/>
          </a:solidFill>
        </p:grpSpPr>
        <p:sp>
          <p:nvSpPr>
            <p:cNvPr id="422971"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27000" tIns="27000" rIns="27000" bIns="27000" anchor="ctr" anchorCtr="1"/>
            <a:lstStyle/>
            <a:p>
              <a:pPr defTabSz="717947">
                <a:buClrTx/>
              </a:pPr>
              <a:r>
                <a:rPr lang="en-US" sz="750" b="1" kern="1200" dirty="0">
                  <a:solidFill>
                    <a:prstClr val="white"/>
                  </a:solidFill>
                  <a:ea typeface="+mn-ea"/>
                  <a:cs typeface="+mn-cs"/>
                </a:rPr>
                <a:t>Text</a:t>
              </a:r>
            </a:p>
          </p:txBody>
        </p:sp>
        <p:sp>
          <p:nvSpPr>
            <p:cNvPr id="121" name="Rectangle 120"/>
            <p:cNvSpPr>
              <a:spLocks noChangeArrowheads="1"/>
            </p:cNvSpPr>
            <p:nvPr/>
          </p:nvSpPr>
          <p:spPr bwMode="auto">
            <a:xfrm>
              <a:off x="510030" y="3840328"/>
              <a:ext cx="540000" cy="412369"/>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a:solidFill>
                    <a:srgbClr val="313131"/>
                  </a:solidFill>
                  <a:ea typeface="+mn-ea"/>
                  <a:cs typeface="+mn-cs"/>
                </a:rPr>
                <a:t>Text</a:t>
              </a:r>
              <a:endParaRPr lang="en-US" sz="750" kern="1200" dirty="0">
                <a:solidFill>
                  <a:srgbClr val="313131"/>
                </a:solidFill>
                <a:ea typeface="+mn-ea"/>
                <a:cs typeface="+mn-cs"/>
              </a:endParaRPr>
            </a:p>
          </p:txBody>
        </p:sp>
        <p:sp>
          <p:nvSpPr>
            <p:cNvPr id="122" name="Rectangle 121"/>
            <p:cNvSpPr>
              <a:spLocks noChangeArrowheads="1"/>
            </p:cNvSpPr>
            <p:nvPr/>
          </p:nvSpPr>
          <p:spPr bwMode="auto">
            <a:xfrm>
              <a:off x="1050030" y="3840328"/>
              <a:ext cx="540000" cy="412369"/>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dirty="0">
                  <a:solidFill>
                    <a:srgbClr val="313131"/>
                  </a:solidFill>
                  <a:ea typeface="+mn-ea"/>
                  <a:cs typeface="+mn-cs"/>
                </a:rPr>
                <a:t>Text</a:t>
              </a:r>
            </a:p>
          </p:txBody>
        </p:sp>
        <p:sp>
          <p:nvSpPr>
            <p:cNvPr id="123" name="Rectangle 122"/>
            <p:cNvSpPr>
              <a:spLocks noChangeArrowheads="1"/>
            </p:cNvSpPr>
            <p:nvPr/>
          </p:nvSpPr>
          <p:spPr bwMode="auto">
            <a:xfrm>
              <a:off x="1590031" y="3840328"/>
              <a:ext cx="540000" cy="412369"/>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a:solidFill>
                    <a:srgbClr val="313131"/>
                  </a:solidFill>
                  <a:ea typeface="+mn-ea"/>
                  <a:cs typeface="+mn-cs"/>
                </a:rPr>
                <a:t>Text</a:t>
              </a:r>
              <a:endParaRPr lang="en-US" sz="750" kern="1200" dirty="0">
                <a:solidFill>
                  <a:srgbClr val="313131"/>
                </a:solidFill>
                <a:ea typeface="+mn-ea"/>
                <a:cs typeface="+mn-cs"/>
              </a:endParaRPr>
            </a:p>
          </p:txBody>
        </p:sp>
      </p:grpSp>
      <p:grpSp>
        <p:nvGrpSpPr>
          <p:cNvPr id="422924" name="Group 123"/>
          <p:cNvGrpSpPr>
            <a:grpSpLocks/>
          </p:cNvGrpSpPr>
          <p:nvPr/>
        </p:nvGrpSpPr>
        <p:grpSpPr bwMode="auto">
          <a:xfrm>
            <a:off x="4932760" y="2297430"/>
            <a:ext cx="1121569" cy="448866"/>
            <a:chOff x="510030" y="3653176"/>
            <a:chExt cx="1620001" cy="599521"/>
          </a:xfrm>
          <a:solidFill>
            <a:schemeClr val="bg1"/>
          </a:solidFill>
        </p:grpSpPr>
        <p:sp>
          <p:nvSpPr>
            <p:cNvPr id="422967"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27000" tIns="27000" rIns="27000" bIns="27000" anchor="ctr" anchorCtr="1"/>
            <a:lstStyle/>
            <a:p>
              <a:pPr defTabSz="717947">
                <a:buClrTx/>
              </a:pPr>
              <a:r>
                <a:rPr lang="en-US" sz="750" b="1" kern="1200" dirty="0">
                  <a:solidFill>
                    <a:prstClr val="white"/>
                  </a:solidFill>
                  <a:ea typeface="+mn-ea"/>
                  <a:cs typeface="+mn-cs"/>
                </a:rPr>
                <a:t>Text</a:t>
              </a:r>
            </a:p>
          </p:txBody>
        </p:sp>
        <p:sp>
          <p:nvSpPr>
            <p:cNvPr id="126" name="Rectangle 125"/>
            <p:cNvSpPr>
              <a:spLocks noChangeArrowheads="1"/>
            </p:cNvSpPr>
            <p:nvPr/>
          </p:nvSpPr>
          <p:spPr bwMode="auto">
            <a:xfrm>
              <a:off x="510030" y="3840824"/>
              <a:ext cx="540000" cy="411873"/>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dirty="0">
                  <a:solidFill>
                    <a:srgbClr val="313131"/>
                  </a:solidFill>
                  <a:ea typeface="+mn-ea"/>
                  <a:cs typeface="+mn-cs"/>
                </a:rPr>
                <a:t>Text</a:t>
              </a:r>
            </a:p>
          </p:txBody>
        </p:sp>
        <p:sp>
          <p:nvSpPr>
            <p:cNvPr id="127" name="Rectangle 126"/>
            <p:cNvSpPr>
              <a:spLocks noChangeArrowheads="1"/>
            </p:cNvSpPr>
            <p:nvPr/>
          </p:nvSpPr>
          <p:spPr bwMode="auto">
            <a:xfrm>
              <a:off x="1050030" y="3840824"/>
              <a:ext cx="540000" cy="411873"/>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a:solidFill>
                    <a:srgbClr val="313131"/>
                  </a:solidFill>
                  <a:ea typeface="+mn-ea"/>
                  <a:cs typeface="+mn-cs"/>
                </a:rPr>
                <a:t>Text</a:t>
              </a:r>
              <a:endParaRPr lang="en-US" sz="750" kern="1200" dirty="0">
                <a:solidFill>
                  <a:srgbClr val="313131"/>
                </a:solidFill>
                <a:ea typeface="+mn-ea"/>
                <a:cs typeface="+mn-cs"/>
              </a:endParaRPr>
            </a:p>
          </p:txBody>
        </p:sp>
        <p:sp>
          <p:nvSpPr>
            <p:cNvPr id="128" name="Rectangle 127"/>
            <p:cNvSpPr>
              <a:spLocks noChangeArrowheads="1"/>
            </p:cNvSpPr>
            <p:nvPr/>
          </p:nvSpPr>
          <p:spPr bwMode="auto">
            <a:xfrm>
              <a:off x="1590031" y="3840824"/>
              <a:ext cx="540000" cy="411873"/>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a:solidFill>
                    <a:srgbClr val="313131"/>
                  </a:solidFill>
                  <a:ea typeface="+mn-ea"/>
                  <a:cs typeface="+mn-cs"/>
                </a:rPr>
                <a:t>Text</a:t>
              </a:r>
              <a:endParaRPr lang="en-US" sz="750" kern="1200" dirty="0">
                <a:solidFill>
                  <a:srgbClr val="313131"/>
                </a:solidFill>
                <a:ea typeface="+mn-ea"/>
                <a:cs typeface="+mn-cs"/>
              </a:endParaRPr>
            </a:p>
          </p:txBody>
        </p:sp>
      </p:grpSp>
      <p:grpSp>
        <p:nvGrpSpPr>
          <p:cNvPr id="422925" name="Group 128"/>
          <p:cNvGrpSpPr>
            <a:grpSpLocks/>
          </p:cNvGrpSpPr>
          <p:nvPr/>
        </p:nvGrpSpPr>
        <p:grpSpPr bwMode="auto">
          <a:xfrm>
            <a:off x="6518673" y="2025968"/>
            <a:ext cx="1121569" cy="450056"/>
            <a:chOff x="510030" y="3653176"/>
            <a:chExt cx="1620001" cy="599521"/>
          </a:xfrm>
          <a:solidFill>
            <a:schemeClr val="bg1"/>
          </a:solidFill>
        </p:grpSpPr>
        <p:sp>
          <p:nvSpPr>
            <p:cNvPr id="422963"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27000" tIns="27000" rIns="27000" bIns="27000" anchor="ctr" anchorCtr="1"/>
            <a:lstStyle/>
            <a:p>
              <a:pPr defTabSz="717947">
                <a:buClrTx/>
              </a:pPr>
              <a:r>
                <a:rPr lang="en-US" sz="750" b="1" kern="1200" dirty="0">
                  <a:solidFill>
                    <a:prstClr val="white"/>
                  </a:solidFill>
                  <a:ea typeface="+mn-ea"/>
                  <a:cs typeface="+mn-cs"/>
                </a:rPr>
                <a:t>Text</a:t>
              </a:r>
            </a:p>
          </p:txBody>
        </p:sp>
        <p:sp>
          <p:nvSpPr>
            <p:cNvPr id="131" name="Rectangle 130"/>
            <p:cNvSpPr>
              <a:spLocks noChangeArrowheads="1"/>
            </p:cNvSpPr>
            <p:nvPr/>
          </p:nvSpPr>
          <p:spPr bwMode="auto">
            <a:xfrm>
              <a:off x="510030" y="3840328"/>
              <a:ext cx="540000" cy="412369"/>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dirty="0">
                  <a:solidFill>
                    <a:srgbClr val="313131"/>
                  </a:solidFill>
                  <a:ea typeface="+mn-ea"/>
                  <a:cs typeface="+mn-cs"/>
                </a:rPr>
                <a:t>Text</a:t>
              </a:r>
            </a:p>
          </p:txBody>
        </p:sp>
        <p:sp>
          <p:nvSpPr>
            <p:cNvPr id="132" name="Rectangle 131"/>
            <p:cNvSpPr>
              <a:spLocks noChangeArrowheads="1"/>
            </p:cNvSpPr>
            <p:nvPr/>
          </p:nvSpPr>
          <p:spPr bwMode="auto">
            <a:xfrm>
              <a:off x="1050030" y="3840328"/>
              <a:ext cx="540000" cy="412369"/>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a:solidFill>
                    <a:srgbClr val="313131"/>
                  </a:solidFill>
                  <a:ea typeface="+mn-ea"/>
                  <a:cs typeface="+mn-cs"/>
                </a:rPr>
                <a:t>Text</a:t>
              </a:r>
              <a:endParaRPr lang="en-US" sz="750" kern="1200" dirty="0">
                <a:solidFill>
                  <a:srgbClr val="313131"/>
                </a:solidFill>
                <a:ea typeface="+mn-ea"/>
                <a:cs typeface="+mn-cs"/>
              </a:endParaRPr>
            </a:p>
          </p:txBody>
        </p:sp>
        <p:sp>
          <p:nvSpPr>
            <p:cNvPr id="133" name="Rectangle 132"/>
            <p:cNvSpPr>
              <a:spLocks noChangeArrowheads="1"/>
            </p:cNvSpPr>
            <p:nvPr/>
          </p:nvSpPr>
          <p:spPr bwMode="auto">
            <a:xfrm>
              <a:off x="1590031" y="3840328"/>
              <a:ext cx="540000" cy="412369"/>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a:solidFill>
                    <a:srgbClr val="313131"/>
                  </a:solidFill>
                  <a:ea typeface="+mn-ea"/>
                  <a:cs typeface="+mn-cs"/>
                </a:rPr>
                <a:t>Text</a:t>
              </a:r>
              <a:endParaRPr lang="en-US" sz="750" kern="1200" dirty="0">
                <a:solidFill>
                  <a:srgbClr val="313131"/>
                </a:solidFill>
                <a:ea typeface="+mn-ea"/>
                <a:cs typeface="+mn-cs"/>
              </a:endParaRPr>
            </a:p>
          </p:txBody>
        </p:sp>
      </p:grpSp>
      <p:grpSp>
        <p:nvGrpSpPr>
          <p:cNvPr id="422926" name="Group 133"/>
          <p:cNvGrpSpPr>
            <a:grpSpLocks/>
          </p:cNvGrpSpPr>
          <p:nvPr/>
        </p:nvGrpSpPr>
        <p:grpSpPr bwMode="auto">
          <a:xfrm>
            <a:off x="6518673" y="2560559"/>
            <a:ext cx="1121569" cy="448865"/>
            <a:chOff x="510030" y="3653176"/>
            <a:chExt cx="1620001" cy="599521"/>
          </a:xfrm>
          <a:solidFill>
            <a:schemeClr val="bg1"/>
          </a:solidFill>
        </p:grpSpPr>
        <p:sp>
          <p:nvSpPr>
            <p:cNvPr id="422959"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27000" tIns="27000" rIns="27000" bIns="27000" anchor="ctr" anchorCtr="1"/>
            <a:lstStyle/>
            <a:p>
              <a:pPr defTabSz="717947">
                <a:buClrTx/>
              </a:pPr>
              <a:r>
                <a:rPr lang="en-US" sz="750" b="1" kern="1200" dirty="0">
                  <a:solidFill>
                    <a:prstClr val="white"/>
                  </a:solidFill>
                  <a:ea typeface="+mn-ea"/>
                  <a:cs typeface="+mn-cs"/>
                </a:rPr>
                <a:t>Text</a:t>
              </a:r>
            </a:p>
          </p:txBody>
        </p:sp>
        <p:sp>
          <p:nvSpPr>
            <p:cNvPr id="136" name="Rectangle 135"/>
            <p:cNvSpPr>
              <a:spLocks noChangeArrowheads="1"/>
            </p:cNvSpPr>
            <p:nvPr/>
          </p:nvSpPr>
          <p:spPr bwMode="auto">
            <a:xfrm>
              <a:off x="510030" y="3840825"/>
              <a:ext cx="540000" cy="411872"/>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dirty="0">
                  <a:solidFill>
                    <a:srgbClr val="313131"/>
                  </a:solidFill>
                  <a:ea typeface="+mn-ea"/>
                  <a:cs typeface="+mn-cs"/>
                </a:rPr>
                <a:t>Text</a:t>
              </a:r>
            </a:p>
          </p:txBody>
        </p:sp>
        <p:sp>
          <p:nvSpPr>
            <p:cNvPr id="137" name="Rectangle 136"/>
            <p:cNvSpPr>
              <a:spLocks noChangeArrowheads="1"/>
            </p:cNvSpPr>
            <p:nvPr/>
          </p:nvSpPr>
          <p:spPr bwMode="auto">
            <a:xfrm>
              <a:off x="1050030" y="3840825"/>
              <a:ext cx="540000" cy="411872"/>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a:solidFill>
                    <a:srgbClr val="313131"/>
                  </a:solidFill>
                  <a:ea typeface="+mn-ea"/>
                  <a:cs typeface="+mn-cs"/>
                </a:rPr>
                <a:t>Text</a:t>
              </a:r>
              <a:endParaRPr lang="en-US" sz="750" kern="1200" dirty="0">
                <a:solidFill>
                  <a:srgbClr val="313131"/>
                </a:solidFill>
                <a:ea typeface="+mn-ea"/>
                <a:cs typeface="+mn-cs"/>
              </a:endParaRPr>
            </a:p>
          </p:txBody>
        </p:sp>
        <p:sp>
          <p:nvSpPr>
            <p:cNvPr id="138" name="Rectangle 137"/>
            <p:cNvSpPr>
              <a:spLocks noChangeArrowheads="1"/>
            </p:cNvSpPr>
            <p:nvPr/>
          </p:nvSpPr>
          <p:spPr bwMode="auto">
            <a:xfrm>
              <a:off x="1590031" y="3840825"/>
              <a:ext cx="540000" cy="411872"/>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a:solidFill>
                    <a:srgbClr val="313131"/>
                  </a:solidFill>
                  <a:ea typeface="+mn-ea"/>
                  <a:cs typeface="+mn-cs"/>
                </a:rPr>
                <a:t>Text</a:t>
              </a:r>
              <a:endParaRPr lang="en-US" sz="750" kern="1200" dirty="0">
                <a:solidFill>
                  <a:srgbClr val="313131"/>
                </a:solidFill>
                <a:ea typeface="+mn-ea"/>
                <a:cs typeface="+mn-cs"/>
              </a:endParaRPr>
            </a:p>
          </p:txBody>
        </p:sp>
      </p:grpSp>
      <p:grpSp>
        <p:nvGrpSpPr>
          <p:cNvPr id="422927" name="Group 138"/>
          <p:cNvGrpSpPr>
            <a:grpSpLocks/>
          </p:cNvGrpSpPr>
          <p:nvPr/>
        </p:nvGrpSpPr>
        <p:grpSpPr bwMode="auto">
          <a:xfrm>
            <a:off x="6518673" y="1268730"/>
            <a:ext cx="1121569" cy="448866"/>
            <a:chOff x="510030" y="3653176"/>
            <a:chExt cx="1620001" cy="599521"/>
          </a:xfrm>
          <a:solidFill>
            <a:schemeClr val="bg1"/>
          </a:solidFill>
        </p:grpSpPr>
        <p:sp>
          <p:nvSpPr>
            <p:cNvPr id="422955"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27000" tIns="27000" rIns="27000" bIns="27000" anchor="ctr" anchorCtr="1"/>
            <a:lstStyle/>
            <a:p>
              <a:pPr defTabSz="717947">
                <a:buClrTx/>
              </a:pPr>
              <a:r>
                <a:rPr lang="en-US" sz="750" b="1" kern="1200" dirty="0">
                  <a:solidFill>
                    <a:prstClr val="white"/>
                  </a:solidFill>
                  <a:ea typeface="+mn-ea"/>
                  <a:cs typeface="+mn-cs"/>
                </a:rPr>
                <a:t>Text</a:t>
              </a:r>
            </a:p>
          </p:txBody>
        </p:sp>
        <p:sp>
          <p:nvSpPr>
            <p:cNvPr id="141" name="Rectangle 140"/>
            <p:cNvSpPr>
              <a:spLocks noChangeArrowheads="1"/>
            </p:cNvSpPr>
            <p:nvPr/>
          </p:nvSpPr>
          <p:spPr bwMode="auto">
            <a:xfrm>
              <a:off x="510030" y="3840824"/>
              <a:ext cx="540000" cy="411873"/>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dirty="0">
                  <a:solidFill>
                    <a:srgbClr val="313131"/>
                  </a:solidFill>
                  <a:ea typeface="+mn-ea"/>
                  <a:cs typeface="+mn-cs"/>
                </a:rPr>
                <a:t>Text</a:t>
              </a:r>
            </a:p>
          </p:txBody>
        </p:sp>
        <p:sp>
          <p:nvSpPr>
            <p:cNvPr id="142" name="Rectangle 141"/>
            <p:cNvSpPr>
              <a:spLocks noChangeArrowheads="1"/>
            </p:cNvSpPr>
            <p:nvPr/>
          </p:nvSpPr>
          <p:spPr bwMode="auto">
            <a:xfrm>
              <a:off x="1050030" y="3840824"/>
              <a:ext cx="540000" cy="411873"/>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a:solidFill>
                    <a:srgbClr val="313131"/>
                  </a:solidFill>
                  <a:ea typeface="+mn-ea"/>
                  <a:cs typeface="+mn-cs"/>
                </a:rPr>
                <a:t>Text</a:t>
              </a:r>
              <a:endParaRPr lang="en-US" sz="750" kern="1200" dirty="0">
                <a:solidFill>
                  <a:srgbClr val="313131"/>
                </a:solidFill>
                <a:ea typeface="+mn-ea"/>
                <a:cs typeface="+mn-cs"/>
              </a:endParaRPr>
            </a:p>
          </p:txBody>
        </p:sp>
        <p:sp>
          <p:nvSpPr>
            <p:cNvPr id="143" name="Rectangle 142"/>
            <p:cNvSpPr>
              <a:spLocks noChangeArrowheads="1"/>
            </p:cNvSpPr>
            <p:nvPr/>
          </p:nvSpPr>
          <p:spPr bwMode="auto">
            <a:xfrm>
              <a:off x="1590031" y="3840824"/>
              <a:ext cx="540000" cy="411873"/>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a:solidFill>
                    <a:srgbClr val="313131"/>
                  </a:solidFill>
                  <a:ea typeface="+mn-ea"/>
                  <a:cs typeface="+mn-cs"/>
                </a:rPr>
                <a:t>Text</a:t>
              </a:r>
              <a:endParaRPr lang="en-US" sz="750" kern="1200" dirty="0">
                <a:solidFill>
                  <a:srgbClr val="313131"/>
                </a:solidFill>
                <a:ea typeface="+mn-ea"/>
                <a:cs typeface="+mn-cs"/>
              </a:endParaRPr>
            </a:p>
          </p:txBody>
        </p:sp>
      </p:grpSp>
      <p:grpSp>
        <p:nvGrpSpPr>
          <p:cNvPr id="422928" name="Group 143"/>
          <p:cNvGrpSpPr>
            <a:grpSpLocks/>
          </p:cNvGrpSpPr>
          <p:nvPr/>
        </p:nvGrpSpPr>
        <p:grpSpPr bwMode="auto">
          <a:xfrm>
            <a:off x="4932760" y="3173731"/>
            <a:ext cx="1121569" cy="450056"/>
            <a:chOff x="510030" y="3653176"/>
            <a:chExt cx="1620001" cy="599521"/>
          </a:xfrm>
          <a:solidFill>
            <a:schemeClr val="bg1"/>
          </a:solidFill>
        </p:grpSpPr>
        <p:sp>
          <p:nvSpPr>
            <p:cNvPr id="422951"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27000" tIns="27000" rIns="27000" bIns="27000" anchor="ctr" anchorCtr="1"/>
            <a:lstStyle/>
            <a:p>
              <a:pPr defTabSz="717947">
                <a:buClrTx/>
              </a:pPr>
              <a:r>
                <a:rPr lang="en-US" sz="750" b="1" kern="1200" dirty="0">
                  <a:solidFill>
                    <a:prstClr val="white"/>
                  </a:solidFill>
                  <a:ea typeface="+mn-ea"/>
                  <a:cs typeface="+mn-cs"/>
                </a:rPr>
                <a:t>Text</a:t>
              </a:r>
            </a:p>
          </p:txBody>
        </p:sp>
        <p:sp>
          <p:nvSpPr>
            <p:cNvPr id="146" name="Rectangle 145"/>
            <p:cNvSpPr>
              <a:spLocks noChangeArrowheads="1"/>
            </p:cNvSpPr>
            <p:nvPr/>
          </p:nvSpPr>
          <p:spPr bwMode="auto">
            <a:xfrm>
              <a:off x="510030" y="3840328"/>
              <a:ext cx="540000" cy="412369"/>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dirty="0">
                  <a:solidFill>
                    <a:srgbClr val="313131"/>
                  </a:solidFill>
                  <a:ea typeface="+mn-ea"/>
                  <a:cs typeface="+mn-cs"/>
                </a:rPr>
                <a:t>Text</a:t>
              </a:r>
            </a:p>
          </p:txBody>
        </p:sp>
        <p:sp>
          <p:nvSpPr>
            <p:cNvPr id="147" name="Rectangle 146"/>
            <p:cNvSpPr>
              <a:spLocks noChangeArrowheads="1"/>
            </p:cNvSpPr>
            <p:nvPr/>
          </p:nvSpPr>
          <p:spPr bwMode="auto">
            <a:xfrm>
              <a:off x="1050030" y="3840328"/>
              <a:ext cx="540000" cy="412369"/>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a:solidFill>
                    <a:srgbClr val="313131"/>
                  </a:solidFill>
                  <a:ea typeface="+mn-ea"/>
                  <a:cs typeface="+mn-cs"/>
                </a:rPr>
                <a:t>Text</a:t>
              </a:r>
              <a:endParaRPr lang="en-US" sz="750" kern="1200" dirty="0">
                <a:solidFill>
                  <a:srgbClr val="313131"/>
                </a:solidFill>
                <a:ea typeface="+mn-ea"/>
                <a:cs typeface="+mn-cs"/>
              </a:endParaRPr>
            </a:p>
          </p:txBody>
        </p:sp>
        <p:sp>
          <p:nvSpPr>
            <p:cNvPr id="148" name="Rectangle 147"/>
            <p:cNvSpPr>
              <a:spLocks noChangeArrowheads="1"/>
            </p:cNvSpPr>
            <p:nvPr/>
          </p:nvSpPr>
          <p:spPr bwMode="auto">
            <a:xfrm>
              <a:off x="1590031" y="3840328"/>
              <a:ext cx="540000" cy="412369"/>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a:solidFill>
                    <a:srgbClr val="313131"/>
                  </a:solidFill>
                  <a:ea typeface="+mn-ea"/>
                  <a:cs typeface="+mn-cs"/>
                </a:rPr>
                <a:t>Text</a:t>
              </a:r>
              <a:endParaRPr lang="en-US" sz="750" kern="1200" dirty="0">
                <a:solidFill>
                  <a:srgbClr val="313131"/>
                </a:solidFill>
                <a:ea typeface="+mn-ea"/>
                <a:cs typeface="+mn-cs"/>
              </a:endParaRPr>
            </a:p>
          </p:txBody>
        </p:sp>
      </p:grpSp>
      <p:grpSp>
        <p:nvGrpSpPr>
          <p:cNvPr id="422929" name="Group 148"/>
          <p:cNvGrpSpPr>
            <a:grpSpLocks/>
          </p:cNvGrpSpPr>
          <p:nvPr/>
        </p:nvGrpSpPr>
        <p:grpSpPr bwMode="auto">
          <a:xfrm>
            <a:off x="4932760" y="3708322"/>
            <a:ext cx="1121569" cy="450056"/>
            <a:chOff x="510030" y="3653176"/>
            <a:chExt cx="1620001" cy="599521"/>
          </a:xfrm>
          <a:solidFill>
            <a:schemeClr val="bg1"/>
          </a:solidFill>
        </p:grpSpPr>
        <p:sp>
          <p:nvSpPr>
            <p:cNvPr id="422947"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27000" tIns="27000" rIns="27000" bIns="27000" anchor="ctr" anchorCtr="1"/>
            <a:lstStyle/>
            <a:p>
              <a:pPr defTabSz="717947">
                <a:buClrTx/>
              </a:pPr>
              <a:r>
                <a:rPr lang="en-US" sz="750" b="1" kern="1200" dirty="0">
                  <a:solidFill>
                    <a:prstClr val="white"/>
                  </a:solidFill>
                  <a:ea typeface="+mn-ea"/>
                  <a:cs typeface="+mn-cs"/>
                </a:rPr>
                <a:t>Text</a:t>
              </a:r>
            </a:p>
          </p:txBody>
        </p:sp>
        <p:sp>
          <p:nvSpPr>
            <p:cNvPr id="151" name="Rectangle 150"/>
            <p:cNvSpPr>
              <a:spLocks noChangeArrowheads="1"/>
            </p:cNvSpPr>
            <p:nvPr/>
          </p:nvSpPr>
          <p:spPr bwMode="auto">
            <a:xfrm>
              <a:off x="510030" y="3840328"/>
              <a:ext cx="540000" cy="412369"/>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a:solidFill>
                    <a:srgbClr val="313131"/>
                  </a:solidFill>
                  <a:ea typeface="+mn-ea"/>
                  <a:cs typeface="+mn-cs"/>
                </a:rPr>
                <a:t>Text</a:t>
              </a:r>
              <a:endParaRPr lang="en-US" sz="750" kern="1200" dirty="0">
                <a:solidFill>
                  <a:srgbClr val="313131"/>
                </a:solidFill>
                <a:ea typeface="+mn-ea"/>
                <a:cs typeface="+mn-cs"/>
              </a:endParaRPr>
            </a:p>
          </p:txBody>
        </p:sp>
        <p:sp>
          <p:nvSpPr>
            <p:cNvPr id="152" name="Rectangle 151"/>
            <p:cNvSpPr>
              <a:spLocks noChangeArrowheads="1"/>
            </p:cNvSpPr>
            <p:nvPr/>
          </p:nvSpPr>
          <p:spPr bwMode="auto">
            <a:xfrm>
              <a:off x="1050030" y="3840328"/>
              <a:ext cx="540000" cy="412369"/>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a:solidFill>
                    <a:srgbClr val="313131"/>
                  </a:solidFill>
                  <a:ea typeface="+mn-ea"/>
                  <a:cs typeface="+mn-cs"/>
                </a:rPr>
                <a:t>Text</a:t>
              </a:r>
              <a:endParaRPr lang="en-US" sz="750" kern="1200" dirty="0">
                <a:solidFill>
                  <a:srgbClr val="313131"/>
                </a:solidFill>
                <a:ea typeface="+mn-ea"/>
                <a:cs typeface="+mn-cs"/>
              </a:endParaRPr>
            </a:p>
          </p:txBody>
        </p:sp>
        <p:sp>
          <p:nvSpPr>
            <p:cNvPr id="153" name="Rectangle 152"/>
            <p:cNvSpPr>
              <a:spLocks noChangeArrowheads="1"/>
            </p:cNvSpPr>
            <p:nvPr/>
          </p:nvSpPr>
          <p:spPr bwMode="auto">
            <a:xfrm>
              <a:off x="1590031" y="3840328"/>
              <a:ext cx="540000" cy="412369"/>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a:solidFill>
                    <a:srgbClr val="313131"/>
                  </a:solidFill>
                  <a:ea typeface="+mn-ea"/>
                  <a:cs typeface="+mn-cs"/>
                </a:rPr>
                <a:t>Text</a:t>
              </a:r>
              <a:endParaRPr lang="en-US" sz="750" kern="1200" dirty="0">
                <a:solidFill>
                  <a:srgbClr val="313131"/>
                </a:solidFill>
                <a:ea typeface="+mn-ea"/>
                <a:cs typeface="+mn-cs"/>
              </a:endParaRPr>
            </a:p>
          </p:txBody>
        </p:sp>
      </p:grpSp>
      <p:cxnSp>
        <p:nvCxnSpPr>
          <p:cNvPr id="385" name="AutoShape 66"/>
          <p:cNvCxnSpPr>
            <a:cxnSpLocks noChangeShapeType="1"/>
          </p:cNvCxnSpPr>
          <p:nvPr/>
        </p:nvCxnSpPr>
        <p:spPr bwMode="gray">
          <a:xfrm flipV="1">
            <a:off x="2618185" y="2085499"/>
            <a:ext cx="551259" cy="827485"/>
          </a:xfrm>
          <a:prstGeom prst="bentConnector3">
            <a:avLst>
              <a:gd name="adj1" fmla="val 50000"/>
            </a:avLst>
          </a:prstGeom>
          <a:noFill/>
          <a:ln w="12700">
            <a:solidFill>
              <a:srgbClr val="B4B4B4"/>
            </a:solidFill>
            <a:miter lim="800000"/>
            <a:headEnd/>
            <a:tailEnd/>
          </a:ln>
        </p:spPr>
      </p:cxnSp>
      <p:cxnSp>
        <p:nvCxnSpPr>
          <p:cNvPr id="388" name="AutoShape 66"/>
          <p:cNvCxnSpPr>
            <a:cxnSpLocks noChangeShapeType="1"/>
          </p:cNvCxnSpPr>
          <p:nvPr/>
        </p:nvCxnSpPr>
        <p:spPr bwMode="gray">
          <a:xfrm flipV="1">
            <a:off x="4291013" y="1563410"/>
            <a:ext cx="641747" cy="522089"/>
          </a:xfrm>
          <a:prstGeom prst="bentConnector3">
            <a:avLst>
              <a:gd name="adj1" fmla="val 50000"/>
            </a:avLst>
          </a:prstGeom>
          <a:noFill/>
          <a:ln w="12700">
            <a:solidFill>
              <a:srgbClr val="B4B4B4"/>
            </a:solidFill>
            <a:miter lim="800000"/>
            <a:headEnd/>
            <a:tailEnd/>
          </a:ln>
        </p:spPr>
      </p:cxnSp>
      <p:cxnSp>
        <p:nvCxnSpPr>
          <p:cNvPr id="394" name="AutoShape 66"/>
          <p:cNvCxnSpPr>
            <a:cxnSpLocks noChangeShapeType="1"/>
          </p:cNvCxnSpPr>
          <p:nvPr/>
        </p:nvCxnSpPr>
        <p:spPr bwMode="gray">
          <a:xfrm>
            <a:off x="4291013" y="2085499"/>
            <a:ext cx="641747" cy="506612"/>
          </a:xfrm>
          <a:prstGeom prst="bentConnector3">
            <a:avLst>
              <a:gd name="adj1" fmla="val 50000"/>
            </a:avLst>
          </a:prstGeom>
          <a:noFill/>
          <a:ln w="12700">
            <a:solidFill>
              <a:srgbClr val="B4B4B4"/>
            </a:solidFill>
            <a:miter lim="800000"/>
            <a:headEnd/>
            <a:tailEnd/>
          </a:ln>
        </p:spPr>
      </p:cxnSp>
      <p:cxnSp>
        <p:nvCxnSpPr>
          <p:cNvPr id="397" name="AutoShape 66"/>
          <p:cNvCxnSpPr>
            <a:cxnSpLocks noChangeShapeType="1"/>
          </p:cNvCxnSpPr>
          <p:nvPr/>
        </p:nvCxnSpPr>
        <p:spPr bwMode="gray">
          <a:xfrm flipV="1">
            <a:off x="4291013" y="3469005"/>
            <a:ext cx="641747" cy="267296"/>
          </a:xfrm>
          <a:prstGeom prst="bentConnector3">
            <a:avLst>
              <a:gd name="adj1" fmla="val 50000"/>
            </a:avLst>
          </a:prstGeom>
          <a:noFill/>
          <a:ln w="12700">
            <a:solidFill>
              <a:srgbClr val="B4B4B4"/>
            </a:solidFill>
            <a:miter lim="800000"/>
            <a:headEnd/>
            <a:tailEnd/>
          </a:ln>
        </p:spPr>
      </p:cxnSp>
      <p:cxnSp>
        <p:nvCxnSpPr>
          <p:cNvPr id="398" name="AutoShape 66"/>
          <p:cNvCxnSpPr>
            <a:cxnSpLocks noChangeShapeType="1"/>
          </p:cNvCxnSpPr>
          <p:nvPr/>
        </p:nvCxnSpPr>
        <p:spPr bwMode="gray">
          <a:xfrm>
            <a:off x="4291013" y="3736300"/>
            <a:ext cx="641747" cy="267296"/>
          </a:xfrm>
          <a:prstGeom prst="bentConnector3">
            <a:avLst>
              <a:gd name="adj1" fmla="val 50000"/>
            </a:avLst>
          </a:prstGeom>
          <a:noFill/>
          <a:ln w="12700">
            <a:solidFill>
              <a:srgbClr val="B4B4B4"/>
            </a:solidFill>
            <a:miter lim="800000"/>
            <a:headEnd/>
            <a:tailEnd/>
          </a:ln>
        </p:spPr>
      </p:cxnSp>
      <p:cxnSp>
        <p:nvCxnSpPr>
          <p:cNvPr id="405" name="AutoShape 66"/>
          <p:cNvCxnSpPr>
            <a:cxnSpLocks noChangeShapeType="1"/>
          </p:cNvCxnSpPr>
          <p:nvPr/>
        </p:nvCxnSpPr>
        <p:spPr bwMode="gray">
          <a:xfrm flipV="1">
            <a:off x="6054329" y="2321243"/>
            <a:ext cx="464344" cy="270868"/>
          </a:xfrm>
          <a:prstGeom prst="bentConnector3">
            <a:avLst>
              <a:gd name="adj1" fmla="val 50000"/>
            </a:avLst>
          </a:prstGeom>
          <a:noFill/>
          <a:ln w="12700">
            <a:solidFill>
              <a:srgbClr val="B4B4B4"/>
            </a:solidFill>
            <a:miter lim="800000"/>
            <a:headEnd/>
            <a:tailEnd/>
          </a:ln>
        </p:spPr>
      </p:cxnSp>
      <p:cxnSp>
        <p:nvCxnSpPr>
          <p:cNvPr id="406" name="AutoShape 66"/>
          <p:cNvCxnSpPr>
            <a:cxnSpLocks noChangeShapeType="1"/>
          </p:cNvCxnSpPr>
          <p:nvPr/>
        </p:nvCxnSpPr>
        <p:spPr bwMode="gray">
          <a:xfrm>
            <a:off x="6054329" y="2592111"/>
            <a:ext cx="464344" cy="263128"/>
          </a:xfrm>
          <a:prstGeom prst="bentConnector3">
            <a:avLst>
              <a:gd name="adj1" fmla="val 50000"/>
            </a:avLst>
          </a:prstGeom>
          <a:noFill/>
          <a:ln w="12700">
            <a:solidFill>
              <a:srgbClr val="B4B4B4"/>
            </a:solidFill>
            <a:miter lim="800000"/>
            <a:headEnd/>
            <a:tailEnd/>
          </a:ln>
        </p:spPr>
      </p:cxnSp>
      <p:grpSp>
        <p:nvGrpSpPr>
          <p:cNvPr id="422939" name="Group 414"/>
          <p:cNvGrpSpPr>
            <a:grpSpLocks/>
          </p:cNvGrpSpPr>
          <p:nvPr/>
        </p:nvGrpSpPr>
        <p:grpSpPr bwMode="auto">
          <a:xfrm>
            <a:off x="6582966" y="4183420"/>
            <a:ext cx="1121569" cy="450056"/>
            <a:chOff x="510030" y="3653176"/>
            <a:chExt cx="1620001" cy="599521"/>
          </a:xfrm>
          <a:solidFill>
            <a:schemeClr val="bg1"/>
          </a:solidFill>
        </p:grpSpPr>
        <p:sp>
          <p:nvSpPr>
            <p:cNvPr id="422943"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27000" tIns="27000" rIns="27000" bIns="27000" anchor="ctr" anchorCtr="1"/>
            <a:lstStyle/>
            <a:p>
              <a:pPr defTabSz="717947">
                <a:buClrTx/>
              </a:pPr>
              <a:r>
                <a:rPr lang="en-US" sz="750" b="1" kern="1200" dirty="0">
                  <a:solidFill>
                    <a:prstClr val="white"/>
                  </a:solidFill>
                  <a:ea typeface="+mn-ea"/>
                  <a:cs typeface="+mn-cs"/>
                </a:rPr>
                <a:t>Driver</a:t>
              </a:r>
            </a:p>
          </p:txBody>
        </p:sp>
        <p:sp>
          <p:nvSpPr>
            <p:cNvPr id="417" name="Rectangle 416"/>
            <p:cNvSpPr>
              <a:spLocks noChangeArrowheads="1"/>
            </p:cNvSpPr>
            <p:nvPr/>
          </p:nvSpPr>
          <p:spPr bwMode="auto">
            <a:xfrm>
              <a:off x="510030" y="3840328"/>
              <a:ext cx="540000" cy="412369"/>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dirty="0">
                  <a:solidFill>
                    <a:srgbClr val="313131"/>
                  </a:solidFill>
                  <a:ea typeface="+mn-ea"/>
                  <a:cs typeface="+mn-cs"/>
                </a:rPr>
                <a:t>CAGR</a:t>
              </a:r>
            </a:p>
            <a:p>
              <a:pPr marL="269717" indent="-269717" defTabSz="718499">
                <a:lnSpc>
                  <a:spcPct val="106000"/>
                </a:lnSpc>
                <a:buClrTx/>
                <a:defRPr/>
              </a:pPr>
              <a:r>
                <a:rPr lang="en-US" sz="750" kern="1200" dirty="0">
                  <a:solidFill>
                    <a:srgbClr val="313131"/>
                  </a:solidFill>
                  <a:ea typeface="+mn-ea"/>
                  <a:cs typeface="+mn-cs"/>
                </a:rPr>
                <a:t>0x0y</a:t>
              </a:r>
            </a:p>
          </p:txBody>
        </p:sp>
        <p:sp>
          <p:nvSpPr>
            <p:cNvPr id="418" name="Rectangle 417"/>
            <p:cNvSpPr>
              <a:spLocks noChangeArrowheads="1"/>
            </p:cNvSpPr>
            <p:nvPr/>
          </p:nvSpPr>
          <p:spPr bwMode="auto">
            <a:xfrm>
              <a:off x="1050030" y="3840328"/>
              <a:ext cx="540000" cy="412369"/>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dirty="0">
                  <a:solidFill>
                    <a:srgbClr val="313131"/>
                  </a:solidFill>
                  <a:ea typeface="+mn-ea"/>
                  <a:cs typeface="+mn-cs"/>
                </a:rPr>
                <a:t>Value</a:t>
              </a:r>
            </a:p>
            <a:p>
              <a:pPr marL="269717" indent="-269717" defTabSz="718499">
                <a:lnSpc>
                  <a:spcPct val="106000"/>
                </a:lnSpc>
                <a:buClrTx/>
                <a:defRPr/>
              </a:pPr>
              <a:r>
                <a:rPr lang="en-US" sz="750" kern="1200" dirty="0">
                  <a:solidFill>
                    <a:srgbClr val="313131"/>
                  </a:solidFill>
                  <a:ea typeface="+mn-ea"/>
                  <a:cs typeface="+mn-cs"/>
                </a:rPr>
                <a:t>0y</a:t>
              </a:r>
            </a:p>
          </p:txBody>
        </p:sp>
        <p:sp>
          <p:nvSpPr>
            <p:cNvPr id="419" name="Rectangle 418"/>
            <p:cNvSpPr>
              <a:spLocks noChangeArrowheads="1"/>
            </p:cNvSpPr>
            <p:nvPr/>
          </p:nvSpPr>
          <p:spPr bwMode="auto">
            <a:xfrm>
              <a:off x="1590031" y="3840328"/>
              <a:ext cx="540000" cy="412369"/>
            </a:xfrm>
            <a:prstGeom prst="rect">
              <a:avLst/>
            </a:prstGeom>
            <a:solidFill>
              <a:srgbClr val="DCDCDC"/>
            </a:solidFill>
            <a:ln w="12700" algn="ctr">
              <a:solidFill>
                <a:schemeClr val="bg1"/>
              </a:solidFill>
              <a:miter lim="800000"/>
              <a:headEnd/>
              <a:tailEnd/>
            </a:ln>
          </p:spPr>
          <p:txBody>
            <a:bodyPr lIns="27000" tIns="27000" rIns="27000" bIns="27000" anchor="b" anchorCtr="1"/>
            <a:lstStyle/>
            <a:p>
              <a:pPr marL="269717" indent="-269717" defTabSz="718499">
                <a:lnSpc>
                  <a:spcPct val="106000"/>
                </a:lnSpc>
                <a:buClrTx/>
                <a:defRPr/>
              </a:pPr>
              <a:r>
                <a:rPr lang="en-US" sz="750" kern="1200">
                  <a:solidFill>
                    <a:srgbClr val="313131"/>
                  </a:solidFill>
                  <a:ea typeface="+mn-ea"/>
                  <a:cs typeface="+mn-cs"/>
                </a:rPr>
                <a:t>CAGR</a:t>
              </a:r>
            </a:p>
            <a:p>
              <a:pPr marL="269717" indent="-269717" defTabSz="718499">
                <a:lnSpc>
                  <a:spcPct val="106000"/>
                </a:lnSpc>
                <a:buClrTx/>
                <a:defRPr/>
              </a:pPr>
              <a:r>
                <a:rPr lang="en-US" sz="750" kern="1200">
                  <a:solidFill>
                    <a:srgbClr val="313131"/>
                  </a:solidFill>
                  <a:ea typeface="+mn-ea"/>
                  <a:cs typeface="+mn-cs"/>
                </a:rPr>
                <a:t>0y0z</a:t>
              </a:r>
              <a:endParaRPr lang="en-US" sz="750" kern="1200" dirty="0">
                <a:solidFill>
                  <a:srgbClr val="313131"/>
                </a:solidFill>
                <a:ea typeface="+mn-ea"/>
                <a:cs typeface="+mn-cs"/>
              </a:endParaRPr>
            </a:p>
          </p:txBody>
        </p:sp>
      </p:grpSp>
      <p:cxnSp>
        <p:nvCxnSpPr>
          <p:cNvPr id="13" name="Straight Connector 12"/>
          <p:cNvCxnSpPr/>
          <p:nvPr/>
        </p:nvCxnSpPr>
        <p:spPr>
          <a:xfrm>
            <a:off x="6054329" y="1563410"/>
            <a:ext cx="464344" cy="0"/>
          </a:xfrm>
          <a:prstGeom prst="line">
            <a:avLst/>
          </a:prstGeom>
          <a:ln w="12700">
            <a:solidFill>
              <a:srgbClr val="B4B4B4"/>
            </a:solidFill>
          </a:ln>
        </p:spPr>
        <p:style>
          <a:lnRef idx="1">
            <a:schemeClr val="accent1"/>
          </a:lnRef>
          <a:fillRef idx="0">
            <a:schemeClr val="accent1"/>
          </a:fillRef>
          <a:effectRef idx="0">
            <a:schemeClr val="accent1"/>
          </a:effectRef>
          <a:fontRef idx="minor">
            <a:schemeClr val="tx1"/>
          </a:fontRef>
        </p:style>
      </p:cxnSp>
      <p:cxnSp>
        <p:nvCxnSpPr>
          <p:cNvPr id="93" name="AutoShape 66"/>
          <p:cNvCxnSpPr>
            <a:cxnSpLocks noChangeShapeType="1"/>
          </p:cNvCxnSpPr>
          <p:nvPr/>
        </p:nvCxnSpPr>
        <p:spPr bwMode="gray">
          <a:xfrm flipV="1">
            <a:off x="6054329" y="1563410"/>
            <a:ext cx="464344" cy="518517"/>
          </a:xfrm>
          <a:prstGeom prst="bentConnector3">
            <a:avLst>
              <a:gd name="adj1" fmla="val 50000"/>
            </a:avLst>
          </a:prstGeom>
          <a:noFill/>
          <a:ln w="12700">
            <a:solidFill>
              <a:srgbClr val="B4B4B4"/>
            </a:solidFill>
            <a:miter lim="800000"/>
            <a:headEnd/>
            <a:tailEnd/>
          </a:ln>
        </p:spPr>
      </p:cxnSp>
      <p:sp>
        <p:nvSpPr>
          <p:cNvPr id="86" name="Oval 4"/>
          <p:cNvSpPr>
            <a:spLocks noChangeArrowheads="1"/>
          </p:cNvSpPr>
          <p:nvPr>
            <p:custDataLst>
              <p:tags r:id="rId6"/>
            </p:custDataLst>
          </p:nvPr>
        </p:nvSpPr>
        <p:spPr bwMode="auto">
          <a:xfrm>
            <a:off x="5303032" y="3435557"/>
            <a:ext cx="375020" cy="180932"/>
          </a:xfrm>
          <a:prstGeom prst="ellipse">
            <a:avLst/>
          </a:prstGeom>
          <a:noFill/>
          <a:ln w="38100">
            <a:solidFill>
              <a:schemeClr val="accent4"/>
            </a:solidFill>
            <a:round/>
            <a:headEnd/>
            <a:tailEnd/>
          </a:ln>
        </p:spPr>
        <p:txBody>
          <a:bodyPr wrap="none" lIns="27000" tIns="27000" rIns="27000" bIns="27000" anchor="ctr"/>
          <a:lstStyle/>
          <a:p>
            <a:pPr algn="ctr" defTabSz="685800">
              <a:buClrTx/>
            </a:pPr>
            <a:endParaRPr lang="en-US" sz="750" kern="1200">
              <a:solidFill>
                <a:srgbClr val="313131"/>
              </a:solidFill>
              <a:ea typeface="ＭＳ Ｐゴシック" charset="-128"/>
              <a:cs typeface="+mn-cs"/>
            </a:endParaRPr>
          </a:p>
        </p:txBody>
      </p:sp>
      <p:sp>
        <p:nvSpPr>
          <p:cNvPr id="87" name="Oval 4"/>
          <p:cNvSpPr>
            <a:spLocks noChangeArrowheads="1"/>
          </p:cNvSpPr>
          <p:nvPr>
            <p:custDataLst>
              <p:tags r:id="rId7"/>
            </p:custDataLst>
          </p:nvPr>
        </p:nvSpPr>
        <p:spPr bwMode="auto">
          <a:xfrm>
            <a:off x="3168280" y="2063957"/>
            <a:ext cx="375020" cy="180932"/>
          </a:xfrm>
          <a:prstGeom prst="ellipse">
            <a:avLst/>
          </a:prstGeom>
          <a:noFill/>
          <a:ln w="38100">
            <a:solidFill>
              <a:schemeClr val="accent4"/>
            </a:solidFill>
            <a:round/>
            <a:headEnd/>
            <a:tailEnd/>
          </a:ln>
        </p:spPr>
        <p:txBody>
          <a:bodyPr wrap="none" lIns="27000" tIns="27000" rIns="27000" bIns="27000" anchor="ctr"/>
          <a:lstStyle/>
          <a:p>
            <a:pPr algn="ctr" defTabSz="685800">
              <a:buClrTx/>
            </a:pPr>
            <a:endParaRPr lang="en-US" sz="750" kern="1200">
              <a:solidFill>
                <a:srgbClr val="313131"/>
              </a:solidFill>
              <a:ea typeface="ＭＳ Ｐゴシック" charset="-128"/>
              <a:cs typeface="+mn-cs"/>
            </a:endParaRPr>
          </a:p>
        </p:txBody>
      </p:sp>
      <p:sp>
        <p:nvSpPr>
          <p:cNvPr id="88" name="Oval 4"/>
          <p:cNvSpPr>
            <a:spLocks noChangeArrowheads="1"/>
          </p:cNvSpPr>
          <p:nvPr>
            <p:custDataLst>
              <p:tags r:id="rId8"/>
            </p:custDataLst>
          </p:nvPr>
        </p:nvSpPr>
        <p:spPr bwMode="auto">
          <a:xfrm>
            <a:off x="7267134" y="1529671"/>
            <a:ext cx="375020" cy="180932"/>
          </a:xfrm>
          <a:prstGeom prst="ellipse">
            <a:avLst/>
          </a:prstGeom>
          <a:noFill/>
          <a:ln w="38100">
            <a:solidFill>
              <a:schemeClr val="accent4"/>
            </a:solidFill>
            <a:round/>
            <a:headEnd/>
            <a:tailEnd/>
          </a:ln>
        </p:spPr>
        <p:txBody>
          <a:bodyPr wrap="none" lIns="27000" tIns="27000" rIns="27000" bIns="27000" anchor="ctr"/>
          <a:lstStyle/>
          <a:p>
            <a:pPr algn="ctr" defTabSz="685800">
              <a:buClrTx/>
            </a:pPr>
            <a:endParaRPr lang="en-US" sz="750" kern="1200">
              <a:solidFill>
                <a:srgbClr val="313131"/>
              </a:solidFill>
              <a:ea typeface="ＭＳ Ｐゴシック" charset="-128"/>
              <a:cs typeface="+mn-cs"/>
            </a:endParaRPr>
          </a:p>
        </p:txBody>
      </p:sp>
      <p:sp>
        <p:nvSpPr>
          <p:cNvPr id="83" name="Text Placeholder 11"/>
          <p:cNvSpPr txBox="1">
            <a:spLocks/>
          </p:cNvSpPr>
          <p:nvPr/>
        </p:nvSpPr>
        <p:spPr>
          <a:xfrm>
            <a:off x="1422693" y="4607733"/>
            <a:ext cx="1745588" cy="117166"/>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normAutofit lnSpcReduction="10000"/>
          </a:bodyPr>
          <a:lstStyle/>
          <a:p>
            <a:pPr marL="0" lvl="1" indent="0">
              <a:spcBef>
                <a:spcPts val="1350"/>
              </a:spcBef>
              <a:buNone/>
            </a:pPr>
            <a:r>
              <a:rPr lang="en-US" dirty="0"/>
              <a:t>Structured text				3</a:t>
            </a:r>
          </a:p>
          <a:p>
            <a:pPr marL="0" lvl="1" indent="0">
              <a:spcBef>
                <a:spcPts val="1350"/>
              </a:spcBef>
              <a:buNone/>
            </a:pPr>
            <a:r>
              <a:rPr lang="en-US" dirty="0"/>
              <a:t>Trees					35</a:t>
            </a:r>
          </a:p>
          <a:p>
            <a:pPr marL="0" lvl="1" indent="0">
              <a:spcBef>
                <a:spcPts val="1350"/>
              </a:spcBef>
              <a:buNone/>
            </a:pPr>
            <a:r>
              <a:rPr lang="en-US" dirty="0"/>
              <a:t>Graphs					50</a:t>
            </a:r>
          </a:p>
          <a:p>
            <a:pPr marL="0" lvl="1" indent="0">
              <a:spcBef>
                <a:spcPts val="1350"/>
              </a:spcBef>
              <a:buNone/>
            </a:pPr>
            <a:r>
              <a:rPr lang="en-US" dirty="0">
                <a:solidFill>
                  <a:srgbClr val="00A1DE"/>
                </a:solidFill>
              </a:rPr>
              <a:t>Shapes</a:t>
            </a:r>
            <a:r>
              <a:rPr lang="en-US" dirty="0"/>
              <a:t>					93</a:t>
            </a:r>
          </a:p>
          <a:p>
            <a:pPr marL="0" lvl="1" indent="0">
              <a:spcBef>
                <a:spcPts val="1350"/>
              </a:spcBef>
              <a:buNone/>
            </a:pPr>
            <a:r>
              <a:rPr lang="en-US" dirty="0"/>
              <a:t>Maps					117</a:t>
            </a:r>
          </a:p>
          <a:p>
            <a:pPr marL="0" lvl="1" indent="0">
              <a:spcBef>
                <a:spcPts val="1350"/>
              </a:spcBef>
              <a:buNone/>
            </a:pPr>
            <a:r>
              <a:rPr lang="en-US" dirty="0"/>
              <a:t>Special graphics			137</a:t>
            </a:r>
          </a:p>
          <a:p>
            <a:pPr marL="0" lvl="1" indent="0">
              <a:spcBef>
                <a:spcPts val="1350"/>
              </a:spcBef>
              <a:buNone/>
            </a:pPr>
            <a:r>
              <a:rPr lang="en-US" dirty="0"/>
              <a:t>Conceptual charts			164</a:t>
            </a:r>
          </a:p>
          <a:p>
            <a:pPr marL="0" lvl="1" indent="0">
              <a:spcBef>
                <a:spcPts val="1350"/>
              </a:spcBef>
              <a:buNone/>
            </a:pPr>
            <a:r>
              <a:rPr lang="en-US" dirty="0" err="1"/>
              <a:t>Infographics</a:t>
            </a:r>
            <a:r>
              <a:rPr lang="en-US" dirty="0"/>
              <a:t> 				215</a:t>
            </a:r>
          </a:p>
          <a:p>
            <a:pPr marL="0" lvl="1" indent="0">
              <a:spcBef>
                <a:spcPts val="1350"/>
              </a:spcBef>
              <a:buNone/>
            </a:pPr>
            <a:r>
              <a:rPr lang="en-US" dirty="0"/>
              <a:t>Iconography				241</a:t>
            </a:r>
          </a:p>
          <a:p>
            <a:endParaRPr lang="en-US" dirty="0"/>
          </a:p>
        </p:txBody>
      </p:sp>
      <p:sp>
        <p:nvSpPr>
          <p:cNvPr id="6" name="Title 5"/>
          <p:cNvSpPr>
            <a:spLocks noGrp="1"/>
          </p:cNvSpPr>
          <p:nvPr>
            <p:ph type="title"/>
          </p:nvPr>
        </p:nvSpPr>
        <p:spPr>
          <a:xfrm>
            <a:off x="1420585" y="134679"/>
            <a:ext cx="6291000" cy="665422"/>
          </a:xfrm>
        </p:spPr>
        <p:txBody>
          <a:bodyPr>
            <a:normAutofit/>
          </a:bodyPr>
          <a:lstStyle/>
          <a:p>
            <a:r>
              <a:rPr lang="en-US" sz="2250" dirty="0"/>
              <a:t>Contents</a:t>
            </a:r>
          </a:p>
        </p:txBody>
      </p:sp>
    </p:spTree>
    <p:extLst>
      <p:ext uri="{BB962C8B-B14F-4D97-AF65-F5344CB8AC3E}">
        <p14:creationId xmlns:p14="http://schemas.microsoft.com/office/powerpoint/2010/main" val="1265741395"/>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2769" name="Title 1"/>
          <p:cNvSpPr>
            <a:spLocks noGrp="1"/>
          </p:cNvSpPr>
          <p:nvPr>
            <p:ph type="title"/>
          </p:nvPr>
        </p:nvSpPr>
        <p:spPr/>
        <p:txBody>
          <a:bodyPr/>
          <a:lstStyle/>
          <a:p>
            <a:r>
              <a:rPr lang="en-US" dirty="0">
                <a:solidFill>
                  <a:srgbClr val="81BC00"/>
                </a:solidFill>
              </a:rPr>
              <a:t>Chevrons</a:t>
            </a:r>
          </a:p>
        </p:txBody>
      </p:sp>
      <p:sp>
        <p:nvSpPr>
          <p:cNvPr id="4" name="AutoShape 3"/>
          <p:cNvSpPr>
            <a:spLocks noChangeArrowheads="1"/>
          </p:cNvSpPr>
          <p:nvPr/>
        </p:nvSpPr>
        <p:spPr bwMode="gray">
          <a:xfrm>
            <a:off x="1679972" y="1032272"/>
            <a:ext cx="5785247" cy="438150"/>
          </a:xfrm>
          <a:prstGeom prst="chevron">
            <a:avLst>
              <a:gd name="adj" fmla="val 32576"/>
            </a:avLst>
          </a:prstGeom>
          <a:solidFill>
            <a:srgbClr val="DCDCDC"/>
          </a:solidFill>
          <a:ln w="12700" cap="rnd" algn="ctr">
            <a:solidFill>
              <a:schemeClr val="bg1"/>
            </a:solidFill>
            <a:miter lim="800000"/>
            <a:headEnd/>
            <a:tailEnd/>
          </a:ln>
        </p:spPr>
        <p:txBody>
          <a:bodyPr wrap="square" lIns="27000" tIns="27000" rIns="27000" bIns="27000" anchor="ctr"/>
          <a:lstStyle/>
          <a:p>
            <a:pPr algn="ctr" defTabSz="685800">
              <a:lnSpc>
                <a:spcPct val="110000"/>
              </a:lnSpc>
              <a:buClrTx/>
              <a:defRPr/>
            </a:pPr>
            <a:r>
              <a:rPr lang="en-US" sz="1050" b="1" kern="1200" dirty="0">
                <a:solidFill>
                  <a:srgbClr val="313131"/>
                </a:solidFill>
                <a:ea typeface="+mn-ea"/>
                <a:cs typeface="+mn-cs"/>
              </a:rPr>
              <a:t>Text</a:t>
            </a:r>
          </a:p>
        </p:txBody>
      </p:sp>
      <p:grpSp>
        <p:nvGrpSpPr>
          <p:cNvPr id="5" name="Group 4"/>
          <p:cNvGrpSpPr>
            <a:grpSpLocks/>
          </p:cNvGrpSpPr>
          <p:nvPr/>
        </p:nvGrpSpPr>
        <p:grpSpPr bwMode="auto">
          <a:xfrm>
            <a:off x="1680430" y="1576586"/>
            <a:ext cx="5784239" cy="438150"/>
            <a:chOff x="247" y="728"/>
            <a:chExt cx="5263" cy="368"/>
          </a:xfrm>
          <a:solidFill>
            <a:srgbClr val="00A1DE"/>
          </a:solidFill>
        </p:grpSpPr>
        <p:sp>
          <p:nvSpPr>
            <p:cNvPr id="6" name="AutoShape 5"/>
            <p:cNvSpPr>
              <a:spLocks noChangeArrowheads="1"/>
            </p:cNvSpPr>
            <p:nvPr/>
          </p:nvSpPr>
          <p:spPr bwMode="gray">
            <a:xfrm>
              <a:off x="247" y="728"/>
              <a:ext cx="2688" cy="368"/>
            </a:xfrm>
            <a:prstGeom prst="chevron">
              <a:avLst>
                <a:gd name="adj" fmla="val 32565"/>
              </a:avLst>
            </a:prstGeom>
            <a:grpFill/>
            <a:ln w="12700" cap="rnd" algn="ctr">
              <a:solidFill>
                <a:schemeClr val="bg1"/>
              </a:solidFill>
              <a:miter lim="800000"/>
              <a:headEnd/>
              <a:tailEnd/>
            </a:ln>
          </p:spPr>
          <p:txBody>
            <a:bodyPr wrap="square" lIns="27000" tIns="27000" rIns="27000" bIns="27000" anchor="ctr"/>
            <a:lstStyle/>
            <a:p>
              <a:pPr algn="ctr" defTabSz="685800">
                <a:lnSpc>
                  <a:spcPct val="110000"/>
                </a:lnSpc>
                <a:buClrTx/>
                <a:defRPr/>
              </a:pPr>
              <a:r>
                <a:rPr lang="en-US" sz="1050" b="1" kern="1200" dirty="0">
                  <a:solidFill>
                    <a:prstClr val="white"/>
                  </a:solidFill>
                  <a:ea typeface="+mn-ea"/>
                  <a:cs typeface="+mn-cs"/>
                </a:rPr>
                <a:t>Text</a:t>
              </a:r>
            </a:p>
          </p:txBody>
        </p:sp>
        <p:sp>
          <p:nvSpPr>
            <p:cNvPr id="7" name="AutoShape 6"/>
            <p:cNvSpPr>
              <a:spLocks noChangeArrowheads="1"/>
            </p:cNvSpPr>
            <p:nvPr/>
          </p:nvSpPr>
          <p:spPr bwMode="gray">
            <a:xfrm>
              <a:off x="2830" y="728"/>
              <a:ext cx="2680" cy="368"/>
            </a:xfrm>
            <a:prstGeom prst="chevron">
              <a:avLst>
                <a:gd name="adj" fmla="val 32435"/>
              </a:avLst>
            </a:prstGeom>
            <a:grpFill/>
            <a:ln w="12700" cap="rnd" algn="ctr">
              <a:solidFill>
                <a:schemeClr val="bg1"/>
              </a:solidFill>
              <a:miter lim="800000"/>
              <a:headEnd/>
              <a:tailEnd/>
            </a:ln>
          </p:spPr>
          <p:txBody>
            <a:bodyPr wrap="square" lIns="27000" tIns="27000" rIns="27000" bIns="27000" anchor="ctr"/>
            <a:lstStyle/>
            <a:p>
              <a:pPr algn="ctr" defTabSz="685800">
                <a:lnSpc>
                  <a:spcPct val="110000"/>
                </a:lnSpc>
                <a:buClrTx/>
                <a:defRPr/>
              </a:pPr>
              <a:r>
                <a:rPr lang="en-US" sz="1050" b="1" kern="1200" dirty="0">
                  <a:solidFill>
                    <a:prstClr val="white"/>
                  </a:solidFill>
                  <a:ea typeface="+mn-ea"/>
                  <a:cs typeface="+mn-cs"/>
                </a:rPr>
                <a:t>Text</a:t>
              </a:r>
            </a:p>
          </p:txBody>
        </p:sp>
      </p:grpSp>
      <p:grpSp>
        <p:nvGrpSpPr>
          <p:cNvPr id="8" name="Group 7"/>
          <p:cNvGrpSpPr>
            <a:grpSpLocks/>
          </p:cNvGrpSpPr>
          <p:nvPr/>
        </p:nvGrpSpPr>
        <p:grpSpPr bwMode="auto">
          <a:xfrm>
            <a:off x="1680430" y="2120900"/>
            <a:ext cx="5784239" cy="438150"/>
            <a:chOff x="247" y="728"/>
            <a:chExt cx="5263" cy="368"/>
          </a:xfrm>
          <a:solidFill>
            <a:schemeClr val="accent1"/>
          </a:solidFill>
        </p:grpSpPr>
        <p:sp>
          <p:nvSpPr>
            <p:cNvPr id="9" name="AutoShape 8"/>
            <p:cNvSpPr>
              <a:spLocks noChangeArrowheads="1"/>
            </p:cNvSpPr>
            <p:nvPr/>
          </p:nvSpPr>
          <p:spPr bwMode="gray">
            <a:xfrm>
              <a:off x="247" y="728"/>
              <a:ext cx="1822" cy="368"/>
            </a:xfrm>
            <a:prstGeom prst="chevron">
              <a:avLst>
                <a:gd name="adj" fmla="val 32411"/>
              </a:avLst>
            </a:prstGeom>
            <a:solidFill>
              <a:srgbClr val="DCDCDC"/>
            </a:solidFill>
            <a:ln w="12700" cap="rnd" algn="ctr">
              <a:solidFill>
                <a:schemeClr val="bg1"/>
              </a:solidFill>
              <a:miter lim="800000"/>
              <a:headEnd/>
              <a:tailEnd/>
            </a:ln>
          </p:spPr>
          <p:txBody>
            <a:bodyPr wrap="square" lIns="27000" tIns="27000" rIns="27000" bIns="27000" anchor="ctr"/>
            <a:lstStyle/>
            <a:p>
              <a:pPr algn="ctr" defTabSz="685800">
                <a:lnSpc>
                  <a:spcPct val="110000"/>
                </a:lnSpc>
                <a:buClrTx/>
                <a:defRPr/>
              </a:pPr>
              <a:r>
                <a:rPr lang="en-US" sz="1050" b="1" kern="1200" dirty="0">
                  <a:solidFill>
                    <a:srgbClr val="313131"/>
                  </a:solidFill>
                  <a:ea typeface="+mn-ea"/>
                  <a:cs typeface="+mn-cs"/>
                </a:rPr>
                <a:t>Text</a:t>
              </a:r>
            </a:p>
          </p:txBody>
        </p:sp>
        <p:sp>
          <p:nvSpPr>
            <p:cNvPr id="10" name="AutoShape 9"/>
            <p:cNvSpPr>
              <a:spLocks noChangeArrowheads="1"/>
            </p:cNvSpPr>
            <p:nvPr/>
          </p:nvSpPr>
          <p:spPr bwMode="gray">
            <a:xfrm>
              <a:off x="1963" y="728"/>
              <a:ext cx="1830" cy="368"/>
            </a:xfrm>
            <a:prstGeom prst="chevron">
              <a:avLst>
                <a:gd name="adj" fmla="val 32554"/>
              </a:avLst>
            </a:prstGeom>
            <a:solidFill>
              <a:srgbClr val="DCDCDC"/>
            </a:solidFill>
            <a:ln w="12700" cap="rnd" algn="ctr">
              <a:solidFill>
                <a:schemeClr val="bg1"/>
              </a:solidFill>
              <a:miter lim="800000"/>
              <a:headEnd/>
              <a:tailEnd/>
            </a:ln>
          </p:spPr>
          <p:txBody>
            <a:bodyPr wrap="square" lIns="27000" tIns="27000" rIns="27000" bIns="27000" anchor="ctr"/>
            <a:lstStyle/>
            <a:p>
              <a:pPr algn="ctr" defTabSz="685800">
                <a:lnSpc>
                  <a:spcPct val="110000"/>
                </a:lnSpc>
                <a:buClrTx/>
                <a:defRPr/>
              </a:pPr>
              <a:r>
                <a:rPr lang="en-US" sz="1050" b="1" kern="1200" dirty="0">
                  <a:solidFill>
                    <a:srgbClr val="313131"/>
                  </a:solidFill>
                  <a:ea typeface="+mn-ea"/>
                  <a:cs typeface="+mn-cs"/>
                </a:rPr>
                <a:t>Text</a:t>
              </a:r>
            </a:p>
          </p:txBody>
        </p:sp>
        <p:sp>
          <p:nvSpPr>
            <p:cNvPr id="11" name="AutoShape 10"/>
            <p:cNvSpPr>
              <a:spLocks noChangeArrowheads="1"/>
            </p:cNvSpPr>
            <p:nvPr/>
          </p:nvSpPr>
          <p:spPr bwMode="gray">
            <a:xfrm>
              <a:off x="3687" y="728"/>
              <a:ext cx="1823" cy="368"/>
            </a:xfrm>
            <a:prstGeom prst="chevron">
              <a:avLst>
                <a:gd name="adj" fmla="val 32406"/>
              </a:avLst>
            </a:prstGeom>
            <a:solidFill>
              <a:srgbClr val="DCDCDC"/>
            </a:solidFill>
            <a:ln w="12700" cap="rnd" algn="ctr">
              <a:solidFill>
                <a:schemeClr val="bg1"/>
              </a:solidFill>
              <a:miter lim="800000"/>
              <a:headEnd/>
              <a:tailEnd/>
            </a:ln>
          </p:spPr>
          <p:txBody>
            <a:bodyPr wrap="square" lIns="27000" tIns="27000" rIns="27000" bIns="27000" anchor="ctr"/>
            <a:lstStyle/>
            <a:p>
              <a:pPr algn="ctr" defTabSz="685800">
                <a:lnSpc>
                  <a:spcPct val="110000"/>
                </a:lnSpc>
                <a:buClrTx/>
                <a:defRPr/>
              </a:pPr>
              <a:r>
                <a:rPr lang="en-US" sz="1050" b="1" kern="1200" dirty="0">
                  <a:solidFill>
                    <a:srgbClr val="313131"/>
                  </a:solidFill>
                  <a:ea typeface="+mn-ea"/>
                  <a:cs typeface="+mn-cs"/>
                </a:rPr>
                <a:t>Text</a:t>
              </a:r>
            </a:p>
          </p:txBody>
        </p:sp>
      </p:grpSp>
      <p:grpSp>
        <p:nvGrpSpPr>
          <p:cNvPr id="12" name="Group 11"/>
          <p:cNvGrpSpPr>
            <a:grpSpLocks/>
          </p:cNvGrpSpPr>
          <p:nvPr/>
        </p:nvGrpSpPr>
        <p:grpSpPr bwMode="auto">
          <a:xfrm>
            <a:off x="1680430" y="2665214"/>
            <a:ext cx="5784239" cy="438150"/>
            <a:chOff x="247" y="728"/>
            <a:chExt cx="5263" cy="368"/>
          </a:xfrm>
          <a:solidFill>
            <a:srgbClr val="00A1DE"/>
          </a:solidFill>
        </p:grpSpPr>
        <p:sp>
          <p:nvSpPr>
            <p:cNvPr id="13" name="AutoShape 12"/>
            <p:cNvSpPr>
              <a:spLocks noChangeArrowheads="1"/>
            </p:cNvSpPr>
            <p:nvPr/>
          </p:nvSpPr>
          <p:spPr bwMode="gray">
            <a:xfrm>
              <a:off x="247" y="728"/>
              <a:ext cx="1394" cy="368"/>
            </a:xfrm>
            <a:prstGeom prst="chevron">
              <a:avLst>
                <a:gd name="adj" fmla="val 32374"/>
              </a:avLst>
            </a:prstGeom>
            <a:grpFill/>
            <a:ln w="12700" cap="rnd" algn="ctr">
              <a:solidFill>
                <a:schemeClr val="bg1"/>
              </a:solidFill>
              <a:miter lim="800000"/>
              <a:headEnd/>
              <a:tailEnd/>
            </a:ln>
          </p:spPr>
          <p:txBody>
            <a:bodyPr wrap="square" lIns="27000" tIns="27000" rIns="27000" bIns="27000" anchor="ctr"/>
            <a:lstStyle/>
            <a:p>
              <a:pPr algn="ctr" defTabSz="685800">
                <a:lnSpc>
                  <a:spcPct val="110000"/>
                </a:lnSpc>
                <a:buClrTx/>
                <a:defRPr/>
              </a:pPr>
              <a:r>
                <a:rPr lang="en-US" sz="1050" b="1" kern="1200" dirty="0">
                  <a:solidFill>
                    <a:prstClr val="white"/>
                  </a:solidFill>
                  <a:ea typeface="+mn-ea"/>
                  <a:cs typeface="+mn-cs"/>
                </a:rPr>
                <a:t>Text</a:t>
              </a:r>
            </a:p>
          </p:txBody>
        </p:sp>
        <p:sp>
          <p:nvSpPr>
            <p:cNvPr id="14" name="AutoShape 13"/>
            <p:cNvSpPr>
              <a:spLocks noChangeArrowheads="1"/>
            </p:cNvSpPr>
            <p:nvPr/>
          </p:nvSpPr>
          <p:spPr bwMode="gray">
            <a:xfrm>
              <a:off x="1534" y="728"/>
              <a:ext cx="1394" cy="368"/>
            </a:xfrm>
            <a:prstGeom prst="chevron">
              <a:avLst>
                <a:gd name="adj" fmla="val 32374"/>
              </a:avLst>
            </a:prstGeom>
            <a:grpFill/>
            <a:ln w="12700" cap="rnd" algn="ctr">
              <a:solidFill>
                <a:schemeClr val="bg1"/>
              </a:solidFill>
              <a:miter lim="800000"/>
              <a:headEnd/>
              <a:tailEnd/>
            </a:ln>
          </p:spPr>
          <p:txBody>
            <a:bodyPr wrap="square" lIns="27000" tIns="27000" rIns="27000" bIns="27000" anchor="ctr"/>
            <a:lstStyle/>
            <a:p>
              <a:pPr algn="ctr" defTabSz="685800">
                <a:lnSpc>
                  <a:spcPct val="110000"/>
                </a:lnSpc>
                <a:buClrTx/>
                <a:defRPr/>
              </a:pPr>
              <a:r>
                <a:rPr lang="en-US" sz="1050" b="1" kern="1200" dirty="0">
                  <a:solidFill>
                    <a:prstClr val="white"/>
                  </a:solidFill>
                  <a:ea typeface="+mn-ea"/>
                  <a:cs typeface="+mn-cs"/>
                </a:rPr>
                <a:t>Text</a:t>
              </a:r>
            </a:p>
          </p:txBody>
        </p:sp>
        <p:sp>
          <p:nvSpPr>
            <p:cNvPr id="15" name="AutoShape 14"/>
            <p:cNvSpPr>
              <a:spLocks noChangeArrowheads="1"/>
            </p:cNvSpPr>
            <p:nvPr/>
          </p:nvSpPr>
          <p:spPr bwMode="gray">
            <a:xfrm>
              <a:off x="2822" y="728"/>
              <a:ext cx="1394" cy="368"/>
            </a:xfrm>
            <a:prstGeom prst="chevron">
              <a:avLst>
                <a:gd name="adj" fmla="val 32374"/>
              </a:avLst>
            </a:prstGeom>
            <a:grpFill/>
            <a:ln w="12700" cap="rnd" algn="ctr">
              <a:solidFill>
                <a:schemeClr val="bg1"/>
              </a:solidFill>
              <a:miter lim="800000"/>
              <a:headEnd/>
              <a:tailEnd/>
            </a:ln>
          </p:spPr>
          <p:txBody>
            <a:bodyPr wrap="square" lIns="27000" tIns="27000" rIns="27000" bIns="27000" anchor="ctr"/>
            <a:lstStyle/>
            <a:p>
              <a:pPr algn="ctr" defTabSz="685800">
                <a:lnSpc>
                  <a:spcPct val="110000"/>
                </a:lnSpc>
                <a:buClrTx/>
                <a:defRPr/>
              </a:pPr>
              <a:r>
                <a:rPr lang="en-US" sz="1050" b="1" kern="1200" dirty="0">
                  <a:solidFill>
                    <a:prstClr val="white"/>
                  </a:solidFill>
                  <a:ea typeface="+mn-ea"/>
                  <a:cs typeface="+mn-cs"/>
                </a:rPr>
                <a:t>Text</a:t>
              </a:r>
            </a:p>
          </p:txBody>
        </p:sp>
        <p:sp>
          <p:nvSpPr>
            <p:cNvPr id="16" name="AutoShape 15"/>
            <p:cNvSpPr>
              <a:spLocks noChangeArrowheads="1"/>
            </p:cNvSpPr>
            <p:nvPr/>
          </p:nvSpPr>
          <p:spPr bwMode="gray">
            <a:xfrm>
              <a:off x="4108" y="728"/>
              <a:ext cx="1402" cy="368"/>
            </a:xfrm>
            <a:prstGeom prst="chevron">
              <a:avLst>
                <a:gd name="adj" fmla="val 32560"/>
              </a:avLst>
            </a:prstGeom>
            <a:grpFill/>
            <a:ln w="12700" cap="rnd" algn="ctr">
              <a:solidFill>
                <a:schemeClr val="bg1"/>
              </a:solidFill>
              <a:miter lim="800000"/>
              <a:headEnd/>
              <a:tailEnd/>
            </a:ln>
          </p:spPr>
          <p:txBody>
            <a:bodyPr wrap="square" lIns="27000" tIns="27000" rIns="27000" bIns="27000" anchor="ctr"/>
            <a:lstStyle/>
            <a:p>
              <a:pPr algn="ctr" defTabSz="685800">
                <a:lnSpc>
                  <a:spcPct val="110000"/>
                </a:lnSpc>
                <a:buClrTx/>
                <a:defRPr/>
              </a:pPr>
              <a:r>
                <a:rPr lang="en-US" sz="1050" b="1" kern="1200" dirty="0">
                  <a:solidFill>
                    <a:prstClr val="white"/>
                  </a:solidFill>
                  <a:ea typeface="+mn-ea"/>
                  <a:cs typeface="+mn-cs"/>
                </a:rPr>
                <a:t>Text</a:t>
              </a:r>
            </a:p>
          </p:txBody>
        </p:sp>
      </p:grpSp>
      <p:grpSp>
        <p:nvGrpSpPr>
          <p:cNvPr id="17" name="Group 16"/>
          <p:cNvGrpSpPr>
            <a:grpSpLocks/>
          </p:cNvGrpSpPr>
          <p:nvPr/>
        </p:nvGrpSpPr>
        <p:grpSpPr bwMode="auto">
          <a:xfrm>
            <a:off x="1680430" y="3209528"/>
            <a:ext cx="5784239" cy="438150"/>
            <a:chOff x="247" y="728"/>
            <a:chExt cx="5263" cy="368"/>
          </a:xfrm>
          <a:solidFill>
            <a:srgbClr val="DCDCDC"/>
          </a:solidFill>
        </p:grpSpPr>
        <p:sp>
          <p:nvSpPr>
            <p:cNvPr id="18" name="AutoShape 17"/>
            <p:cNvSpPr>
              <a:spLocks noChangeArrowheads="1"/>
            </p:cNvSpPr>
            <p:nvPr/>
          </p:nvSpPr>
          <p:spPr bwMode="gray">
            <a:xfrm>
              <a:off x="247" y="728"/>
              <a:ext cx="1144" cy="368"/>
            </a:xfrm>
            <a:prstGeom prst="chevron">
              <a:avLst>
                <a:gd name="adj" fmla="val 32555"/>
              </a:avLst>
            </a:prstGeom>
            <a:grpFill/>
            <a:ln w="12700" cap="rnd" algn="ctr">
              <a:solidFill>
                <a:schemeClr val="bg1"/>
              </a:solidFill>
              <a:miter lim="800000"/>
              <a:headEnd/>
              <a:tailEnd/>
            </a:ln>
          </p:spPr>
          <p:txBody>
            <a:bodyPr wrap="square" lIns="27000" tIns="27000" rIns="27000" bIns="27000" anchor="ctr"/>
            <a:lstStyle/>
            <a:p>
              <a:pPr algn="ctr" defTabSz="685800">
                <a:lnSpc>
                  <a:spcPct val="110000"/>
                </a:lnSpc>
                <a:buClrTx/>
                <a:defRPr/>
              </a:pPr>
              <a:r>
                <a:rPr lang="en-US" sz="1050" b="1" kern="1200" dirty="0">
                  <a:solidFill>
                    <a:srgbClr val="313131"/>
                  </a:solidFill>
                  <a:ea typeface="+mn-ea"/>
                  <a:cs typeface="+mn-cs"/>
                </a:rPr>
                <a:t>Text</a:t>
              </a:r>
            </a:p>
          </p:txBody>
        </p:sp>
        <p:sp>
          <p:nvSpPr>
            <p:cNvPr id="19" name="AutoShape 18"/>
            <p:cNvSpPr>
              <a:spLocks noChangeArrowheads="1"/>
            </p:cNvSpPr>
            <p:nvPr/>
          </p:nvSpPr>
          <p:spPr bwMode="gray">
            <a:xfrm>
              <a:off x="1284" y="728"/>
              <a:ext cx="1138" cy="368"/>
            </a:xfrm>
            <a:prstGeom prst="chevron">
              <a:avLst>
                <a:gd name="adj" fmla="val 32384"/>
              </a:avLst>
            </a:prstGeom>
            <a:grpFill/>
            <a:ln w="12700" cap="rnd" algn="ctr">
              <a:solidFill>
                <a:schemeClr val="bg1"/>
              </a:solidFill>
              <a:miter lim="800000"/>
              <a:headEnd/>
              <a:tailEnd/>
            </a:ln>
          </p:spPr>
          <p:txBody>
            <a:bodyPr wrap="square" lIns="27000" tIns="27000" rIns="27000" bIns="27000" anchor="ctr"/>
            <a:lstStyle/>
            <a:p>
              <a:pPr algn="ctr" defTabSz="685800">
                <a:lnSpc>
                  <a:spcPct val="110000"/>
                </a:lnSpc>
                <a:buClrTx/>
                <a:defRPr/>
              </a:pPr>
              <a:r>
                <a:rPr lang="en-US" sz="1050" b="1" kern="1200" dirty="0">
                  <a:solidFill>
                    <a:srgbClr val="313131"/>
                  </a:solidFill>
                  <a:ea typeface="+mn-ea"/>
                  <a:cs typeface="+mn-cs"/>
                </a:rPr>
                <a:t>Text</a:t>
              </a:r>
            </a:p>
          </p:txBody>
        </p:sp>
        <p:sp>
          <p:nvSpPr>
            <p:cNvPr id="20" name="AutoShape 19"/>
            <p:cNvSpPr>
              <a:spLocks noChangeArrowheads="1"/>
            </p:cNvSpPr>
            <p:nvPr/>
          </p:nvSpPr>
          <p:spPr bwMode="gray">
            <a:xfrm>
              <a:off x="2314" y="728"/>
              <a:ext cx="1139" cy="368"/>
            </a:xfrm>
            <a:prstGeom prst="chevron">
              <a:avLst>
                <a:gd name="adj" fmla="val 32413"/>
              </a:avLst>
            </a:prstGeom>
            <a:grpFill/>
            <a:ln w="12700" cap="rnd" algn="ctr">
              <a:solidFill>
                <a:schemeClr val="bg1"/>
              </a:solidFill>
              <a:miter lim="800000"/>
              <a:headEnd/>
              <a:tailEnd/>
            </a:ln>
          </p:spPr>
          <p:txBody>
            <a:bodyPr wrap="square" lIns="27000" tIns="27000" rIns="27000" bIns="27000" anchor="ctr"/>
            <a:lstStyle/>
            <a:p>
              <a:pPr algn="ctr" defTabSz="685800">
                <a:lnSpc>
                  <a:spcPct val="110000"/>
                </a:lnSpc>
                <a:buClrTx/>
                <a:defRPr/>
              </a:pPr>
              <a:r>
                <a:rPr lang="en-US" sz="1050" b="1" kern="1200" dirty="0">
                  <a:solidFill>
                    <a:srgbClr val="313131"/>
                  </a:solidFill>
                  <a:ea typeface="+mn-ea"/>
                  <a:cs typeface="+mn-cs"/>
                </a:rPr>
                <a:t>Text</a:t>
              </a:r>
            </a:p>
          </p:txBody>
        </p:sp>
        <p:sp>
          <p:nvSpPr>
            <p:cNvPr id="21" name="AutoShape 20"/>
            <p:cNvSpPr>
              <a:spLocks noChangeArrowheads="1"/>
            </p:cNvSpPr>
            <p:nvPr/>
          </p:nvSpPr>
          <p:spPr bwMode="gray">
            <a:xfrm>
              <a:off x="3345" y="728"/>
              <a:ext cx="1138" cy="368"/>
            </a:xfrm>
            <a:prstGeom prst="chevron">
              <a:avLst>
                <a:gd name="adj" fmla="val 32384"/>
              </a:avLst>
            </a:prstGeom>
            <a:grpFill/>
            <a:ln w="12700" cap="rnd" algn="ctr">
              <a:solidFill>
                <a:schemeClr val="bg1"/>
              </a:solidFill>
              <a:miter lim="800000"/>
              <a:headEnd/>
              <a:tailEnd/>
            </a:ln>
          </p:spPr>
          <p:txBody>
            <a:bodyPr wrap="square" lIns="27000" tIns="27000" rIns="27000" bIns="27000" anchor="ctr"/>
            <a:lstStyle/>
            <a:p>
              <a:pPr algn="ctr" defTabSz="685800">
                <a:lnSpc>
                  <a:spcPct val="110000"/>
                </a:lnSpc>
                <a:buClrTx/>
                <a:defRPr/>
              </a:pPr>
              <a:r>
                <a:rPr lang="en-US" sz="1050" b="1" kern="1200" dirty="0">
                  <a:solidFill>
                    <a:srgbClr val="313131"/>
                  </a:solidFill>
                  <a:ea typeface="+mn-ea"/>
                  <a:cs typeface="+mn-cs"/>
                </a:rPr>
                <a:t>Text</a:t>
              </a:r>
            </a:p>
          </p:txBody>
        </p:sp>
        <p:sp>
          <p:nvSpPr>
            <p:cNvPr id="22" name="AutoShape 21"/>
            <p:cNvSpPr>
              <a:spLocks noChangeArrowheads="1"/>
            </p:cNvSpPr>
            <p:nvPr/>
          </p:nvSpPr>
          <p:spPr bwMode="gray">
            <a:xfrm>
              <a:off x="4375" y="728"/>
              <a:ext cx="1135" cy="368"/>
            </a:xfrm>
            <a:prstGeom prst="chevron">
              <a:avLst>
                <a:gd name="adj" fmla="val 32299"/>
              </a:avLst>
            </a:prstGeom>
            <a:grpFill/>
            <a:ln w="12700" cap="rnd" algn="ctr">
              <a:solidFill>
                <a:schemeClr val="bg1"/>
              </a:solidFill>
              <a:miter lim="800000"/>
              <a:headEnd/>
              <a:tailEnd/>
            </a:ln>
          </p:spPr>
          <p:txBody>
            <a:bodyPr wrap="square" lIns="27000" tIns="27000" rIns="27000" bIns="27000" anchor="ctr"/>
            <a:lstStyle/>
            <a:p>
              <a:pPr algn="ctr" defTabSz="685800">
                <a:lnSpc>
                  <a:spcPct val="110000"/>
                </a:lnSpc>
                <a:buClrTx/>
                <a:defRPr/>
              </a:pPr>
              <a:r>
                <a:rPr lang="en-US" sz="1050" b="1" kern="1200" dirty="0">
                  <a:solidFill>
                    <a:srgbClr val="313131"/>
                  </a:solidFill>
                  <a:ea typeface="+mn-ea"/>
                  <a:cs typeface="+mn-cs"/>
                </a:rPr>
                <a:t>Text</a:t>
              </a:r>
            </a:p>
          </p:txBody>
        </p:sp>
      </p:grpSp>
      <p:grpSp>
        <p:nvGrpSpPr>
          <p:cNvPr id="23" name="Group 22"/>
          <p:cNvGrpSpPr>
            <a:grpSpLocks/>
          </p:cNvGrpSpPr>
          <p:nvPr/>
        </p:nvGrpSpPr>
        <p:grpSpPr bwMode="auto">
          <a:xfrm>
            <a:off x="1680431" y="3753842"/>
            <a:ext cx="5783141" cy="438150"/>
            <a:chOff x="1129" y="726"/>
            <a:chExt cx="4387" cy="368"/>
          </a:xfrm>
          <a:solidFill>
            <a:srgbClr val="00A1DE"/>
          </a:solidFill>
        </p:grpSpPr>
        <p:sp>
          <p:nvSpPr>
            <p:cNvPr id="24" name="AutoShape 23"/>
            <p:cNvSpPr>
              <a:spLocks noChangeArrowheads="1"/>
            </p:cNvSpPr>
            <p:nvPr/>
          </p:nvSpPr>
          <p:spPr bwMode="gray">
            <a:xfrm>
              <a:off x="1129" y="726"/>
              <a:ext cx="827" cy="368"/>
            </a:xfrm>
            <a:prstGeom prst="chevron">
              <a:avLst>
                <a:gd name="adj" fmla="val 32606"/>
              </a:avLst>
            </a:prstGeom>
            <a:grpFill/>
            <a:ln w="12700" cap="rnd" algn="ctr">
              <a:solidFill>
                <a:schemeClr val="bg1"/>
              </a:solidFill>
              <a:miter lim="800000"/>
              <a:headEnd/>
              <a:tailEnd/>
            </a:ln>
          </p:spPr>
          <p:txBody>
            <a:bodyPr wrap="square" lIns="27000" tIns="27000" rIns="27000" bIns="27000" anchor="ctr"/>
            <a:lstStyle/>
            <a:p>
              <a:pPr algn="ctr" defTabSz="685800">
                <a:lnSpc>
                  <a:spcPct val="110000"/>
                </a:lnSpc>
                <a:buClrTx/>
                <a:defRPr/>
              </a:pPr>
              <a:r>
                <a:rPr lang="en-US" sz="1050" b="1" kern="1200" dirty="0">
                  <a:solidFill>
                    <a:prstClr val="white"/>
                  </a:solidFill>
                  <a:ea typeface="+mn-ea"/>
                  <a:cs typeface="+mn-cs"/>
                </a:rPr>
                <a:t>Text</a:t>
              </a:r>
            </a:p>
          </p:txBody>
        </p:sp>
        <p:sp>
          <p:nvSpPr>
            <p:cNvPr id="25" name="AutoShape 24"/>
            <p:cNvSpPr>
              <a:spLocks noChangeArrowheads="1"/>
            </p:cNvSpPr>
            <p:nvPr/>
          </p:nvSpPr>
          <p:spPr bwMode="gray">
            <a:xfrm>
              <a:off x="1847" y="726"/>
              <a:ext cx="821" cy="368"/>
            </a:xfrm>
            <a:prstGeom prst="chevron">
              <a:avLst>
                <a:gd name="adj" fmla="val 32370"/>
              </a:avLst>
            </a:prstGeom>
            <a:grpFill/>
            <a:ln w="12700" cap="rnd" algn="ctr">
              <a:solidFill>
                <a:schemeClr val="bg1"/>
              </a:solidFill>
              <a:miter lim="800000"/>
              <a:headEnd/>
              <a:tailEnd/>
            </a:ln>
          </p:spPr>
          <p:txBody>
            <a:bodyPr wrap="square" lIns="27000" tIns="27000" rIns="27000" bIns="27000" anchor="ctr"/>
            <a:lstStyle/>
            <a:p>
              <a:pPr algn="ctr" defTabSz="685800">
                <a:lnSpc>
                  <a:spcPct val="110000"/>
                </a:lnSpc>
                <a:buClrTx/>
                <a:defRPr/>
              </a:pPr>
              <a:r>
                <a:rPr lang="en-US" sz="1050" b="1" kern="1200" dirty="0">
                  <a:solidFill>
                    <a:prstClr val="white"/>
                  </a:solidFill>
                  <a:ea typeface="+mn-ea"/>
                  <a:cs typeface="+mn-cs"/>
                </a:rPr>
                <a:t>Text</a:t>
              </a:r>
            </a:p>
          </p:txBody>
        </p:sp>
        <p:sp>
          <p:nvSpPr>
            <p:cNvPr id="26" name="AutoShape 25"/>
            <p:cNvSpPr>
              <a:spLocks noChangeArrowheads="1"/>
            </p:cNvSpPr>
            <p:nvPr/>
          </p:nvSpPr>
          <p:spPr bwMode="gray">
            <a:xfrm>
              <a:off x="2559" y="726"/>
              <a:ext cx="821" cy="368"/>
            </a:xfrm>
            <a:prstGeom prst="chevron">
              <a:avLst>
                <a:gd name="adj" fmla="val 32370"/>
              </a:avLst>
            </a:prstGeom>
            <a:grpFill/>
            <a:ln w="12700" cap="rnd" algn="ctr">
              <a:solidFill>
                <a:schemeClr val="bg1"/>
              </a:solidFill>
              <a:miter lim="800000"/>
              <a:headEnd/>
              <a:tailEnd/>
            </a:ln>
          </p:spPr>
          <p:txBody>
            <a:bodyPr wrap="square" lIns="27000" tIns="27000" rIns="27000" bIns="27000" anchor="ctr"/>
            <a:lstStyle/>
            <a:p>
              <a:pPr algn="ctr" defTabSz="685800">
                <a:lnSpc>
                  <a:spcPct val="110000"/>
                </a:lnSpc>
                <a:buClrTx/>
                <a:defRPr/>
              </a:pPr>
              <a:r>
                <a:rPr lang="en-US" sz="1050" b="1" kern="1200" dirty="0">
                  <a:solidFill>
                    <a:prstClr val="white"/>
                  </a:solidFill>
                  <a:ea typeface="+mn-ea"/>
                  <a:cs typeface="+mn-cs"/>
                </a:rPr>
                <a:t>Text</a:t>
              </a:r>
            </a:p>
          </p:txBody>
        </p:sp>
        <p:sp>
          <p:nvSpPr>
            <p:cNvPr id="27" name="AutoShape 26"/>
            <p:cNvSpPr>
              <a:spLocks noChangeArrowheads="1"/>
            </p:cNvSpPr>
            <p:nvPr/>
          </p:nvSpPr>
          <p:spPr bwMode="gray">
            <a:xfrm>
              <a:off x="3271" y="726"/>
              <a:ext cx="821" cy="368"/>
            </a:xfrm>
            <a:prstGeom prst="chevron">
              <a:avLst>
                <a:gd name="adj" fmla="val 32370"/>
              </a:avLst>
            </a:prstGeom>
            <a:grpFill/>
            <a:ln w="12700" cap="rnd" algn="ctr">
              <a:solidFill>
                <a:schemeClr val="bg1"/>
              </a:solidFill>
              <a:miter lim="800000"/>
              <a:headEnd/>
              <a:tailEnd/>
            </a:ln>
          </p:spPr>
          <p:txBody>
            <a:bodyPr wrap="square" lIns="27000" tIns="27000" rIns="27000" bIns="27000" anchor="ctr"/>
            <a:lstStyle/>
            <a:p>
              <a:pPr algn="ctr" defTabSz="685800">
                <a:lnSpc>
                  <a:spcPct val="110000"/>
                </a:lnSpc>
                <a:buClrTx/>
                <a:defRPr/>
              </a:pPr>
              <a:r>
                <a:rPr lang="en-US" sz="1050" b="1" kern="1200" dirty="0">
                  <a:solidFill>
                    <a:prstClr val="white"/>
                  </a:solidFill>
                  <a:ea typeface="+mn-ea"/>
                  <a:cs typeface="+mn-cs"/>
                </a:rPr>
                <a:t>Text</a:t>
              </a:r>
            </a:p>
          </p:txBody>
        </p:sp>
        <p:sp>
          <p:nvSpPr>
            <p:cNvPr id="28" name="AutoShape 27"/>
            <p:cNvSpPr>
              <a:spLocks noChangeArrowheads="1"/>
            </p:cNvSpPr>
            <p:nvPr/>
          </p:nvSpPr>
          <p:spPr bwMode="gray">
            <a:xfrm>
              <a:off x="3983" y="726"/>
              <a:ext cx="821" cy="368"/>
            </a:xfrm>
            <a:prstGeom prst="chevron">
              <a:avLst>
                <a:gd name="adj" fmla="val 32370"/>
              </a:avLst>
            </a:prstGeom>
            <a:grpFill/>
            <a:ln w="12700" cap="rnd" algn="ctr">
              <a:solidFill>
                <a:schemeClr val="bg1"/>
              </a:solidFill>
              <a:miter lim="800000"/>
              <a:headEnd/>
              <a:tailEnd/>
            </a:ln>
          </p:spPr>
          <p:txBody>
            <a:bodyPr wrap="square" lIns="27000" tIns="27000" rIns="27000" bIns="27000" anchor="ctr"/>
            <a:lstStyle/>
            <a:p>
              <a:pPr algn="ctr" defTabSz="685800">
                <a:lnSpc>
                  <a:spcPct val="110000"/>
                </a:lnSpc>
                <a:buClrTx/>
                <a:defRPr/>
              </a:pPr>
              <a:r>
                <a:rPr lang="en-US" sz="1050" b="1" kern="1200" dirty="0">
                  <a:solidFill>
                    <a:prstClr val="white"/>
                  </a:solidFill>
                  <a:ea typeface="+mn-ea"/>
                  <a:cs typeface="+mn-cs"/>
                </a:rPr>
                <a:t>Text</a:t>
              </a:r>
            </a:p>
          </p:txBody>
        </p:sp>
        <p:sp>
          <p:nvSpPr>
            <p:cNvPr id="29" name="AutoShape 28"/>
            <p:cNvSpPr>
              <a:spLocks noChangeArrowheads="1"/>
            </p:cNvSpPr>
            <p:nvPr/>
          </p:nvSpPr>
          <p:spPr bwMode="gray">
            <a:xfrm>
              <a:off x="4695" y="726"/>
              <a:ext cx="821" cy="368"/>
            </a:xfrm>
            <a:prstGeom prst="chevron">
              <a:avLst>
                <a:gd name="adj" fmla="val 32370"/>
              </a:avLst>
            </a:prstGeom>
            <a:grpFill/>
            <a:ln w="12700" cap="rnd" algn="ctr">
              <a:solidFill>
                <a:schemeClr val="bg1"/>
              </a:solidFill>
              <a:miter lim="800000"/>
              <a:headEnd/>
              <a:tailEnd/>
            </a:ln>
          </p:spPr>
          <p:txBody>
            <a:bodyPr wrap="square" lIns="27000" tIns="27000" rIns="27000" bIns="27000" anchor="ctr"/>
            <a:lstStyle/>
            <a:p>
              <a:pPr algn="ctr" defTabSz="685800">
                <a:lnSpc>
                  <a:spcPct val="110000"/>
                </a:lnSpc>
                <a:buClrTx/>
                <a:defRPr/>
              </a:pPr>
              <a:r>
                <a:rPr lang="en-US" sz="1050" b="1" kern="1200" dirty="0">
                  <a:solidFill>
                    <a:prstClr val="white"/>
                  </a:solidFill>
                  <a:ea typeface="+mn-ea"/>
                  <a:cs typeface="+mn-cs"/>
                </a:rPr>
                <a:t>Text</a:t>
              </a:r>
            </a:p>
          </p:txBody>
        </p:sp>
      </p:grpSp>
      <p:grpSp>
        <p:nvGrpSpPr>
          <p:cNvPr id="30" name="Group 29"/>
          <p:cNvGrpSpPr>
            <a:grpSpLocks/>
          </p:cNvGrpSpPr>
          <p:nvPr/>
        </p:nvGrpSpPr>
        <p:grpSpPr bwMode="auto">
          <a:xfrm>
            <a:off x="1680431" y="4298156"/>
            <a:ext cx="5783141" cy="438150"/>
            <a:chOff x="1124" y="236"/>
            <a:chExt cx="4387" cy="368"/>
          </a:xfrm>
          <a:solidFill>
            <a:srgbClr val="DCDCDC"/>
          </a:solidFill>
        </p:grpSpPr>
        <p:sp>
          <p:nvSpPr>
            <p:cNvPr id="31" name="AutoShape 30"/>
            <p:cNvSpPr>
              <a:spLocks noChangeArrowheads="1"/>
            </p:cNvSpPr>
            <p:nvPr/>
          </p:nvSpPr>
          <p:spPr bwMode="gray">
            <a:xfrm>
              <a:off x="1124" y="236"/>
              <a:ext cx="725" cy="368"/>
            </a:xfrm>
            <a:prstGeom prst="chevron">
              <a:avLst>
                <a:gd name="adj" fmla="val 32607"/>
              </a:avLst>
            </a:prstGeom>
            <a:grpFill/>
            <a:ln w="12700" cap="rnd" algn="ctr">
              <a:solidFill>
                <a:schemeClr val="bg1"/>
              </a:solidFill>
              <a:miter lim="800000"/>
              <a:headEnd/>
              <a:tailEnd/>
            </a:ln>
          </p:spPr>
          <p:txBody>
            <a:bodyPr wrap="square" lIns="27000" tIns="27000" rIns="27000" bIns="27000" anchor="ctr"/>
            <a:lstStyle/>
            <a:p>
              <a:pPr algn="ctr" defTabSz="685800">
                <a:lnSpc>
                  <a:spcPct val="110000"/>
                </a:lnSpc>
                <a:buClrTx/>
                <a:defRPr/>
              </a:pPr>
              <a:r>
                <a:rPr lang="en-US" sz="1050" b="1" kern="1200" dirty="0">
                  <a:solidFill>
                    <a:srgbClr val="313131"/>
                  </a:solidFill>
                  <a:ea typeface="+mn-ea"/>
                  <a:cs typeface="+mn-cs"/>
                </a:rPr>
                <a:t>Text</a:t>
              </a:r>
            </a:p>
          </p:txBody>
        </p:sp>
        <p:sp>
          <p:nvSpPr>
            <p:cNvPr id="32" name="AutoShape 31"/>
            <p:cNvSpPr>
              <a:spLocks noChangeArrowheads="1"/>
            </p:cNvSpPr>
            <p:nvPr/>
          </p:nvSpPr>
          <p:spPr bwMode="gray">
            <a:xfrm>
              <a:off x="1740" y="236"/>
              <a:ext cx="720" cy="368"/>
            </a:xfrm>
            <a:prstGeom prst="chevron">
              <a:avLst>
                <a:gd name="adj" fmla="val 32337"/>
              </a:avLst>
            </a:prstGeom>
            <a:grpFill/>
            <a:ln w="12700" cap="rnd" algn="ctr">
              <a:solidFill>
                <a:schemeClr val="bg1"/>
              </a:solidFill>
              <a:miter lim="800000"/>
              <a:headEnd/>
              <a:tailEnd/>
            </a:ln>
          </p:spPr>
          <p:txBody>
            <a:bodyPr wrap="square" lIns="27000" tIns="27000" rIns="27000" bIns="27000" anchor="ctr"/>
            <a:lstStyle/>
            <a:p>
              <a:pPr algn="ctr" defTabSz="685800">
                <a:lnSpc>
                  <a:spcPct val="110000"/>
                </a:lnSpc>
                <a:buClrTx/>
                <a:defRPr/>
              </a:pPr>
              <a:r>
                <a:rPr lang="en-US" sz="1050" b="1" kern="1200" dirty="0">
                  <a:solidFill>
                    <a:srgbClr val="313131"/>
                  </a:solidFill>
                  <a:ea typeface="+mn-ea"/>
                  <a:cs typeface="+mn-cs"/>
                </a:rPr>
                <a:t>Text</a:t>
              </a:r>
            </a:p>
          </p:txBody>
        </p:sp>
        <p:sp>
          <p:nvSpPr>
            <p:cNvPr id="33" name="AutoShape 32"/>
            <p:cNvSpPr>
              <a:spLocks noChangeArrowheads="1"/>
            </p:cNvSpPr>
            <p:nvPr/>
          </p:nvSpPr>
          <p:spPr bwMode="gray">
            <a:xfrm>
              <a:off x="2351" y="236"/>
              <a:ext cx="719" cy="368"/>
            </a:xfrm>
            <a:prstGeom prst="chevron">
              <a:avLst>
                <a:gd name="adj" fmla="val 32337"/>
              </a:avLst>
            </a:prstGeom>
            <a:grpFill/>
            <a:ln w="12700" cap="rnd" algn="ctr">
              <a:solidFill>
                <a:schemeClr val="bg1"/>
              </a:solidFill>
              <a:miter lim="800000"/>
              <a:headEnd/>
              <a:tailEnd/>
            </a:ln>
          </p:spPr>
          <p:txBody>
            <a:bodyPr wrap="square" lIns="27000" tIns="27000" rIns="27000" bIns="27000" anchor="ctr"/>
            <a:lstStyle/>
            <a:p>
              <a:pPr algn="ctr" defTabSz="685800">
                <a:lnSpc>
                  <a:spcPct val="110000"/>
                </a:lnSpc>
                <a:buClrTx/>
                <a:defRPr/>
              </a:pPr>
              <a:r>
                <a:rPr lang="en-US" sz="1050" b="1" kern="1200" dirty="0">
                  <a:solidFill>
                    <a:srgbClr val="313131"/>
                  </a:solidFill>
                  <a:ea typeface="+mn-ea"/>
                  <a:cs typeface="+mn-cs"/>
                </a:rPr>
                <a:t>Text</a:t>
              </a:r>
            </a:p>
          </p:txBody>
        </p:sp>
        <p:sp>
          <p:nvSpPr>
            <p:cNvPr id="34" name="AutoShape 33"/>
            <p:cNvSpPr>
              <a:spLocks noChangeArrowheads="1"/>
            </p:cNvSpPr>
            <p:nvPr/>
          </p:nvSpPr>
          <p:spPr bwMode="gray">
            <a:xfrm>
              <a:off x="2961" y="236"/>
              <a:ext cx="719" cy="368"/>
            </a:xfrm>
            <a:prstGeom prst="chevron">
              <a:avLst>
                <a:gd name="adj" fmla="val 32337"/>
              </a:avLst>
            </a:prstGeom>
            <a:grpFill/>
            <a:ln w="12700" cap="rnd" algn="ctr">
              <a:solidFill>
                <a:schemeClr val="bg1"/>
              </a:solidFill>
              <a:miter lim="800000"/>
              <a:headEnd/>
              <a:tailEnd/>
            </a:ln>
          </p:spPr>
          <p:txBody>
            <a:bodyPr wrap="square" lIns="27000" tIns="27000" rIns="27000" bIns="27000" anchor="ctr"/>
            <a:lstStyle/>
            <a:p>
              <a:pPr algn="ctr" defTabSz="685800">
                <a:lnSpc>
                  <a:spcPct val="110000"/>
                </a:lnSpc>
                <a:buClrTx/>
                <a:defRPr/>
              </a:pPr>
              <a:r>
                <a:rPr lang="en-US" sz="1050" b="1" kern="1200" dirty="0">
                  <a:solidFill>
                    <a:srgbClr val="313131"/>
                  </a:solidFill>
                  <a:ea typeface="+mn-ea"/>
                  <a:cs typeface="+mn-cs"/>
                </a:rPr>
                <a:t>Text</a:t>
              </a:r>
            </a:p>
          </p:txBody>
        </p:sp>
        <p:sp>
          <p:nvSpPr>
            <p:cNvPr id="35" name="AutoShape 34"/>
            <p:cNvSpPr>
              <a:spLocks noChangeArrowheads="1"/>
            </p:cNvSpPr>
            <p:nvPr/>
          </p:nvSpPr>
          <p:spPr bwMode="gray">
            <a:xfrm>
              <a:off x="3571" y="236"/>
              <a:ext cx="720" cy="368"/>
            </a:xfrm>
            <a:prstGeom prst="chevron">
              <a:avLst>
                <a:gd name="adj" fmla="val 32337"/>
              </a:avLst>
            </a:prstGeom>
            <a:grpFill/>
            <a:ln w="12700" cap="rnd" algn="ctr">
              <a:solidFill>
                <a:schemeClr val="bg1"/>
              </a:solidFill>
              <a:miter lim="800000"/>
              <a:headEnd/>
              <a:tailEnd/>
            </a:ln>
          </p:spPr>
          <p:txBody>
            <a:bodyPr wrap="square" lIns="27000" tIns="27000" rIns="27000" bIns="27000" anchor="ctr"/>
            <a:lstStyle/>
            <a:p>
              <a:pPr algn="ctr" defTabSz="685800">
                <a:lnSpc>
                  <a:spcPct val="110000"/>
                </a:lnSpc>
                <a:buClrTx/>
                <a:defRPr/>
              </a:pPr>
              <a:r>
                <a:rPr lang="en-US" sz="1050" b="1" kern="1200" dirty="0">
                  <a:solidFill>
                    <a:srgbClr val="313131"/>
                  </a:solidFill>
                  <a:ea typeface="+mn-ea"/>
                  <a:cs typeface="+mn-cs"/>
                </a:rPr>
                <a:t>Text</a:t>
              </a:r>
            </a:p>
          </p:txBody>
        </p:sp>
        <p:sp>
          <p:nvSpPr>
            <p:cNvPr id="36" name="AutoShape 35"/>
            <p:cNvSpPr>
              <a:spLocks noChangeArrowheads="1"/>
            </p:cNvSpPr>
            <p:nvPr/>
          </p:nvSpPr>
          <p:spPr bwMode="gray">
            <a:xfrm>
              <a:off x="4182" y="236"/>
              <a:ext cx="719" cy="368"/>
            </a:xfrm>
            <a:prstGeom prst="chevron">
              <a:avLst>
                <a:gd name="adj" fmla="val 32337"/>
              </a:avLst>
            </a:prstGeom>
            <a:grpFill/>
            <a:ln w="12700" cap="rnd" algn="ctr">
              <a:solidFill>
                <a:schemeClr val="bg1"/>
              </a:solidFill>
              <a:miter lim="800000"/>
              <a:headEnd/>
              <a:tailEnd/>
            </a:ln>
          </p:spPr>
          <p:txBody>
            <a:bodyPr wrap="square" lIns="27000" tIns="27000" rIns="27000" bIns="27000" anchor="ctr"/>
            <a:lstStyle/>
            <a:p>
              <a:pPr algn="ctr" defTabSz="685800">
                <a:lnSpc>
                  <a:spcPct val="110000"/>
                </a:lnSpc>
                <a:buClrTx/>
                <a:defRPr/>
              </a:pPr>
              <a:r>
                <a:rPr lang="en-US" sz="1050" b="1" kern="1200" dirty="0">
                  <a:solidFill>
                    <a:srgbClr val="313131"/>
                  </a:solidFill>
                  <a:ea typeface="+mn-ea"/>
                  <a:cs typeface="+mn-cs"/>
                </a:rPr>
                <a:t>Text</a:t>
              </a:r>
            </a:p>
          </p:txBody>
        </p:sp>
        <p:sp>
          <p:nvSpPr>
            <p:cNvPr id="37" name="AutoShape 36"/>
            <p:cNvSpPr>
              <a:spLocks noChangeArrowheads="1"/>
            </p:cNvSpPr>
            <p:nvPr/>
          </p:nvSpPr>
          <p:spPr bwMode="gray">
            <a:xfrm>
              <a:off x="4792" y="236"/>
              <a:ext cx="719" cy="368"/>
            </a:xfrm>
            <a:prstGeom prst="chevron">
              <a:avLst>
                <a:gd name="adj" fmla="val 32337"/>
              </a:avLst>
            </a:prstGeom>
            <a:grpFill/>
            <a:ln w="12700" cap="rnd" algn="ctr">
              <a:solidFill>
                <a:schemeClr val="bg1"/>
              </a:solidFill>
              <a:miter lim="800000"/>
              <a:headEnd/>
              <a:tailEnd/>
            </a:ln>
          </p:spPr>
          <p:txBody>
            <a:bodyPr wrap="square" lIns="27000" tIns="27000" rIns="27000" bIns="27000" anchor="ctr"/>
            <a:lstStyle/>
            <a:p>
              <a:pPr algn="ctr" defTabSz="685800">
                <a:lnSpc>
                  <a:spcPct val="110000"/>
                </a:lnSpc>
                <a:buClrTx/>
                <a:defRPr/>
              </a:pPr>
              <a:r>
                <a:rPr lang="en-US" sz="1050" b="1" kern="1200" dirty="0">
                  <a:solidFill>
                    <a:srgbClr val="313131"/>
                  </a:solidFill>
                  <a:ea typeface="+mn-ea"/>
                  <a:cs typeface="+mn-cs"/>
                </a:rPr>
                <a:t>Text</a:t>
              </a:r>
            </a:p>
          </p:txBody>
        </p:sp>
      </p:grpSp>
    </p:spTree>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3793" name="Title 1"/>
          <p:cNvSpPr>
            <a:spLocks noGrp="1"/>
          </p:cNvSpPr>
          <p:nvPr>
            <p:ph type="title"/>
          </p:nvPr>
        </p:nvSpPr>
        <p:spPr/>
        <p:txBody>
          <a:bodyPr/>
          <a:lstStyle/>
          <a:p>
            <a:r>
              <a:rPr lang="en-US" dirty="0">
                <a:solidFill>
                  <a:srgbClr val="81BC00"/>
                </a:solidFill>
              </a:rPr>
              <a:t>Circles </a:t>
            </a:r>
            <a:br>
              <a:rPr lang="en-US" dirty="0">
                <a:solidFill>
                  <a:srgbClr val="81BC00"/>
                </a:solidFill>
              </a:rPr>
            </a:br>
            <a:r>
              <a:rPr lang="en-US" dirty="0">
                <a:solidFill>
                  <a:srgbClr val="575757"/>
                </a:solidFill>
              </a:rPr>
              <a:t>Small arrows</a:t>
            </a:r>
          </a:p>
        </p:txBody>
      </p:sp>
      <p:grpSp>
        <p:nvGrpSpPr>
          <p:cNvPr id="673795" name="Group 25"/>
          <p:cNvGrpSpPr>
            <a:grpSpLocks/>
          </p:cNvGrpSpPr>
          <p:nvPr/>
        </p:nvGrpSpPr>
        <p:grpSpPr bwMode="auto">
          <a:xfrm>
            <a:off x="1454944" y="1268730"/>
            <a:ext cx="2857500" cy="2863453"/>
            <a:chOff x="450850" y="1773238"/>
            <a:chExt cx="4127500" cy="3817937"/>
          </a:xfrm>
        </p:grpSpPr>
        <p:sp>
          <p:nvSpPr>
            <p:cNvPr id="4" name="Arc 3"/>
            <p:cNvSpPr>
              <a:spLocks/>
            </p:cNvSpPr>
            <p:nvPr/>
          </p:nvSpPr>
          <p:spPr bwMode="auto">
            <a:xfrm>
              <a:off x="1451769" y="1773238"/>
              <a:ext cx="1064552" cy="1908175"/>
            </a:xfrm>
            <a:custGeom>
              <a:avLst/>
              <a:gdLst>
                <a:gd name="T0" fmla="*/ 0 w 11129"/>
                <a:gd name="T1" fmla="*/ 2147483647 h 21481"/>
                <a:gd name="T2" fmla="*/ 2147483647 w 11129"/>
                <a:gd name="T3" fmla="*/ 0 h 21481"/>
                <a:gd name="T4" fmla="*/ 2147483647 w 11129"/>
                <a:gd name="T5" fmla="*/ 2147483647 h 21481"/>
                <a:gd name="T6" fmla="*/ 0 60000 65536"/>
                <a:gd name="T7" fmla="*/ 0 60000 65536"/>
                <a:gd name="T8" fmla="*/ 0 60000 65536"/>
                <a:gd name="T9" fmla="*/ 0 w 11129"/>
                <a:gd name="T10" fmla="*/ 0 h 21481"/>
                <a:gd name="T11" fmla="*/ 11129 w 11129"/>
                <a:gd name="T12" fmla="*/ 21481 h 21481"/>
              </a:gdLst>
              <a:ahLst/>
              <a:cxnLst>
                <a:cxn ang="T6">
                  <a:pos x="T0" y="T1"/>
                </a:cxn>
                <a:cxn ang="T7">
                  <a:pos x="T2" y="T3"/>
                </a:cxn>
                <a:cxn ang="T8">
                  <a:pos x="T4" y="T5"/>
                </a:cxn>
              </a:cxnLst>
              <a:rect l="T9" t="T10" r="T11" b="T12"/>
              <a:pathLst>
                <a:path w="11129" h="21481" fill="none" extrusionOk="0">
                  <a:moveTo>
                    <a:pt x="-1" y="2968"/>
                  </a:moveTo>
                  <a:cubicBezTo>
                    <a:pt x="2703" y="1343"/>
                    <a:pt x="5729" y="330"/>
                    <a:pt x="8865" y="-1"/>
                  </a:cubicBezTo>
                </a:path>
                <a:path w="11129" h="21481" stroke="0" extrusionOk="0">
                  <a:moveTo>
                    <a:pt x="-1" y="2968"/>
                  </a:moveTo>
                  <a:cubicBezTo>
                    <a:pt x="2703" y="1343"/>
                    <a:pt x="5729" y="330"/>
                    <a:pt x="8865" y="-1"/>
                  </a:cubicBezTo>
                  <a:lnTo>
                    <a:pt x="11129" y="21481"/>
                  </a:lnTo>
                  <a:close/>
                </a:path>
              </a:pathLst>
            </a:custGeom>
            <a:noFill/>
            <a:ln w="57150" cap="rnd">
              <a:solidFill>
                <a:srgbClr val="8C8C8C"/>
              </a:solidFill>
              <a:round/>
              <a:headEnd/>
              <a:tailEnd type="triangle" w="med" len="sm"/>
            </a:ln>
          </p:spPr>
          <p:txBody>
            <a:bodyPr wrap="none" anchor="ctr"/>
            <a:lstStyle/>
            <a:p>
              <a:pPr algn="ctr" defTabSz="685800">
                <a:buClrTx/>
                <a:defRPr/>
              </a:pPr>
              <a:endParaRPr lang="en-US" sz="1350" kern="1200" dirty="0">
                <a:solidFill>
                  <a:prstClr val="black"/>
                </a:solidFill>
                <a:ea typeface="+mn-ea"/>
                <a:cs typeface="+mn-cs"/>
              </a:endParaRPr>
            </a:p>
          </p:txBody>
        </p:sp>
        <p:sp>
          <p:nvSpPr>
            <p:cNvPr id="5" name="Arc 4"/>
            <p:cNvSpPr>
              <a:spLocks/>
            </p:cNvSpPr>
            <p:nvPr/>
          </p:nvSpPr>
          <p:spPr bwMode="auto">
            <a:xfrm>
              <a:off x="2514600" y="1773238"/>
              <a:ext cx="1061112" cy="1908175"/>
            </a:xfrm>
            <a:custGeom>
              <a:avLst/>
              <a:gdLst>
                <a:gd name="T0" fmla="*/ 2147483647 w 11116"/>
                <a:gd name="T1" fmla="*/ 0 h 21483"/>
                <a:gd name="T2" fmla="*/ 2147483647 w 11116"/>
                <a:gd name="T3" fmla="*/ 2147483647 h 21483"/>
                <a:gd name="T4" fmla="*/ 0 w 11116"/>
                <a:gd name="T5" fmla="*/ 2147483647 h 21483"/>
                <a:gd name="T6" fmla="*/ 0 60000 65536"/>
                <a:gd name="T7" fmla="*/ 0 60000 65536"/>
                <a:gd name="T8" fmla="*/ 0 60000 65536"/>
                <a:gd name="T9" fmla="*/ 0 w 11116"/>
                <a:gd name="T10" fmla="*/ 0 h 21483"/>
                <a:gd name="T11" fmla="*/ 11116 w 11116"/>
                <a:gd name="T12" fmla="*/ 21483 h 21483"/>
              </a:gdLst>
              <a:ahLst/>
              <a:cxnLst>
                <a:cxn ang="T6">
                  <a:pos x="T0" y="T1"/>
                </a:cxn>
                <a:cxn ang="T7">
                  <a:pos x="T2" y="T3"/>
                </a:cxn>
                <a:cxn ang="T8">
                  <a:pos x="T4" y="T5"/>
                </a:cxn>
              </a:cxnLst>
              <a:rect l="T9" t="T10" r="T11" b="T12"/>
              <a:pathLst>
                <a:path w="11116" h="21483" fill="none" extrusionOk="0">
                  <a:moveTo>
                    <a:pt x="2245" y="-1"/>
                  </a:moveTo>
                  <a:cubicBezTo>
                    <a:pt x="5382" y="327"/>
                    <a:pt x="8410" y="1339"/>
                    <a:pt x="11116" y="2962"/>
                  </a:cubicBezTo>
                </a:path>
                <a:path w="11116" h="21483" stroke="0" extrusionOk="0">
                  <a:moveTo>
                    <a:pt x="2245" y="-1"/>
                  </a:moveTo>
                  <a:cubicBezTo>
                    <a:pt x="5382" y="327"/>
                    <a:pt x="8410" y="1339"/>
                    <a:pt x="11116" y="2962"/>
                  </a:cubicBezTo>
                  <a:lnTo>
                    <a:pt x="0" y="21483"/>
                  </a:lnTo>
                  <a:close/>
                </a:path>
              </a:pathLst>
            </a:custGeom>
            <a:noFill/>
            <a:ln w="57150" cap="rnd">
              <a:solidFill>
                <a:srgbClr val="8C8C8C"/>
              </a:solidFill>
              <a:round/>
              <a:headEnd/>
              <a:tailEnd type="triangle" w="med" len="sm"/>
            </a:ln>
          </p:spPr>
          <p:txBody>
            <a:bodyPr wrap="none" anchor="ctr"/>
            <a:lstStyle/>
            <a:p>
              <a:pPr algn="ctr" defTabSz="685800">
                <a:buClrTx/>
                <a:defRPr/>
              </a:pPr>
              <a:endParaRPr lang="en-US" sz="1350" kern="1200" dirty="0">
                <a:solidFill>
                  <a:prstClr val="black"/>
                </a:solidFill>
                <a:ea typeface="+mn-ea"/>
                <a:cs typeface="+mn-cs"/>
              </a:endParaRPr>
            </a:p>
          </p:txBody>
        </p:sp>
        <p:sp>
          <p:nvSpPr>
            <p:cNvPr id="6" name="Arc 5"/>
            <p:cNvSpPr>
              <a:spLocks/>
            </p:cNvSpPr>
            <p:nvPr/>
          </p:nvSpPr>
          <p:spPr bwMode="auto">
            <a:xfrm>
              <a:off x="2514600" y="2233613"/>
              <a:ext cx="1898650" cy="1447800"/>
            </a:xfrm>
            <a:custGeom>
              <a:avLst/>
              <a:gdLst>
                <a:gd name="T0" fmla="*/ 2147483647 w 19880"/>
                <a:gd name="T1" fmla="*/ 0 h 16312"/>
                <a:gd name="T2" fmla="*/ 2147483647 w 19880"/>
                <a:gd name="T3" fmla="*/ 2147483647 h 16312"/>
                <a:gd name="T4" fmla="*/ 0 w 19880"/>
                <a:gd name="T5" fmla="*/ 2147483647 h 16312"/>
                <a:gd name="T6" fmla="*/ 0 60000 65536"/>
                <a:gd name="T7" fmla="*/ 0 60000 65536"/>
                <a:gd name="T8" fmla="*/ 0 60000 65536"/>
                <a:gd name="T9" fmla="*/ 0 w 19880"/>
                <a:gd name="T10" fmla="*/ 0 h 16312"/>
                <a:gd name="T11" fmla="*/ 19880 w 19880"/>
                <a:gd name="T12" fmla="*/ 16312 h 16312"/>
              </a:gdLst>
              <a:ahLst/>
              <a:cxnLst>
                <a:cxn ang="T6">
                  <a:pos x="T0" y="T1"/>
                </a:cxn>
                <a:cxn ang="T7">
                  <a:pos x="T2" y="T3"/>
                </a:cxn>
                <a:cxn ang="T8">
                  <a:pos x="T4" y="T5"/>
                </a:cxn>
              </a:cxnLst>
              <a:rect l="T9" t="T10" r="T11" b="T12"/>
              <a:pathLst>
                <a:path w="19880" h="16312" fill="none" extrusionOk="0">
                  <a:moveTo>
                    <a:pt x="14159" y="-1"/>
                  </a:moveTo>
                  <a:cubicBezTo>
                    <a:pt x="16639" y="2152"/>
                    <a:pt x="18595" y="4843"/>
                    <a:pt x="19880" y="7865"/>
                  </a:cubicBezTo>
                </a:path>
                <a:path w="19880" h="16312" stroke="0" extrusionOk="0">
                  <a:moveTo>
                    <a:pt x="14159" y="-1"/>
                  </a:moveTo>
                  <a:cubicBezTo>
                    <a:pt x="16639" y="2152"/>
                    <a:pt x="18595" y="4843"/>
                    <a:pt x="19880" y="7865"/>
                  </a:cubicBezTo>
                  <a:lnTo>
                    <a:pt x="0" y="16312"/>
                  </a:lnTo>
                  <a:close/>
                </a:path>
              </a:pathLst>
            </a:custGeom>
            <a:noFill/>
            <a:ln w="57150" cap="rnd">
              <a:solidFill>
                <a:srgbClr val="8C8C8C"/>
              </a:solidFill>
              <a:round/>
              <a:headEnd/>
              <a:tailEnd type="triangle" w="med" len="sm"/>
            </a:ln>
          </p:spPr>
          <p:txBody>
            <a:bodyPr wrap="none" anchor="ctr"/>
            <a:lstStyle/>
            <a:p>
              <a:pPr algn="ctr" defTabSz="685800">
                <a:buClrTx/>
                <a:defRPr/>
              </a:pPr>
              <a:endParaRPr lang="en-US" sz="1350" kern="1200" dirty="0">
                <a:solidFill>
                  <a:prstClr val="black"/>
                </a:solidFill>
                <a:ea typeface="+mn-ea"/>
                <a:cs typeface="+mn-cs"/>
              </a:endParaRPr>
            </a:p>
          </p:txBody>
        </p:sp>
        <p:sp>
          <p:nvSpPr>
            <p:cNvPr id="7" name="Arc 6"/>
            <p:cNvSpPr>
              <a:spLocks/>
            </p:cNvSpPr>
            <p:nvPr/>
          </p:nvSpPr>
          <p:spPr bwMode="auto">
            <a:xfrm>
              <a:off x="2514600" y="3249613"/>
              <a:ext cx="2063750" cy="830262"/>
            </a:xfrm>
            <a:custGeom>
              <a:avLst/>
              <a:gdLst>
                <a:gd name="T0" fmla="*/ 2147483647 w 21600"/>
                <a:gd name="T1" fmla="*/ 0 h 9355"/>
                <a:gd name="T2" fmla="*/ 2147483647 w 21600"/>
                <a:gd name="T3" fmla="*/ 2147483647 h 9355"/>
                <a:gd name="T4" fmla="*/ 0 w 21600"/>
                <a:gd name="T5" fmla="*/ 2147483647 h 9355"/>
                <a:gd name="T6" fmla="*/ 0 60000 65536"/>
                <a:gd name="T7" fmla="*/ 0 60000 65536"/>
                <a:gd name="T8" fmla="*/ 0 60000 65536"/>
                <a:gd name="T9" fmla="*/ 0 w 21600"/>
                <a:gd name="T10" fmla="*/ 0 h 9355"/>
                <a:gd name="T11" fmla="*/ 21600 w 21600"/>
                <a:gd name="T12" fmla="*/ 9355 h 9355"/>
              </a:gdLst>
              <a:ahLst/>
              <a:cxnLst>
                <a:cxn ang="T6">
                  <a:pos x="T0" y="T1"/>
                </a:cxn>
                <a:cxn ang="T7">
                  <a:pos x="T2" y="T3"/>
                </a:cxn>
                <a:cxn ang="T8">
                  <a:pos x="T4" y="T5"/>
                </a:cxn>
              </a:cxnLst>
              <a:rect l="T9" t="T10" r="T11" b="T12"/>
              <a:pathLst>
                <a:path w="21600" h="9355" fill="none" extrusionOk="0">
                  <a:moveTo>
                    <a:pt x="21045" y="0"/>
                  </a:moveTo>
                  <a:cubicBezTo>
                    <a:pt x="21414" y="1594"/>
                    <a:pt x="21600" y="3225"/>
                    <a:pt x="21600" y="4862"/>
                  </a:cubicBezTo>
                  <a:cubicBezTo>
                    <a:pt x="21600" y="6372"/>
                    <a:pt x="21441" y="7877"/>
                    <a:pt x="21127" y="9354"/>
                  </a:cubicBezTo>
                </a:path>
                <a:path w="21600" h="9355" stroke="0" extrusionOk="0">
                  <a:moveTo>
                    <a:pt x="21045" y="0"/>
                  </a:moveTo>
                  <a:cubicBezTo>
                    <a:pt x="21414" y="1594"/>
                    <a:pt x="21600" y="3225"/>
                    <a:pt x="21600" y="4862"/>
                  </a:cubicBezTo>
                  <a:cubicBezTo>
                    <a:pt x="21600" y="6372"/>
                    <a:pt x="21441" y="7877"/>
                    <a:pt x="21127" y="9354"/>
                  </a:cubicBezTo>
                  <a:lnTo>
                    <a:pt x="0" y="4862"/>
                  </a:lnTo>
                  <a:close/>
                </a:path>
              </a:pathLst>
            </a:custGeom>
            <a:noFill/>
            <a:ln w="57150" cap="rnd">
              <a:solidFill>
                <a:srgbClr val="8C8C8C"/>
              </a:solidFill>
              <a:round/>
              <a:headEnd/>
              <a:tailEnd type="triangle" w="med" len="sm"/>
            </a:ln>
          </p:spPr>
          <p:txBody>
            <a:bodyPr wrap="none" anchor="ctr"/>
            <a:lstStyle/>
            <a:p>
              <a:pPr algn="ctr" defTabSz="685800">
                <a:buClrTx/>
                <a:defRPr/>
              </a:pPr>
              <a:endParaRPr lang="en-US" sz="1350" kern="1200" dirty="0">
                <a:solidFill>
                  <a:prstClr val="black"/>
                </a:solidFill>
                <a:ea typeface="+mn-ea"/>
                <a:cs typeface="+mn-cs"/>
              </a:endParaRPr>
            </a:p>
          </p:txBody>
        </p:sp>
        <p:sp>
          <p:nvSpPr>
            <p:cNvPr id="8" name="Arc 7"/>
            <p:cNvSpPr>
              <a:spLocks/>
            </p:cNvSpPr>
            <p:nvPr/>
          </p:nvSpPr>
          <p:spPr bwMode="auto">
            <a:xfrm>
              <a:off x="2514600" y="3679825"/>
              <a:ext cx="1898650" cy="1425575"/>
            </a:xfrm>
            <a:custGeom>
              <a:avLst/>
              <a:gdLst>
                <a:gd name="T0" fmla="*/ 2147483647 w 19887"/>
                <a:gd name="T1" fmla="*/ 2147483647 h 16060"/>
                <a:gd name="T2" fmla="*/ 2147483647 w 19887"/>
                <a:gd name="T3" fmla="*/ 2147483647 h 16060"/>
                <a:gd name="T4" fmla="*/ 0 w 19887"/>
                <a:gd name="T5" fmla="*/ 0 h 16060"/>
                <a:gd name="T6" fmla="*/ 0 60000 65536"/>
                <a:gd name="T7" fmla="*/ 0 60000 65536"/>
                <a:gd name="T8" fmla="*/ 0 60000 65536"/>
                <a:gd name="T9" fmla="*/ 0 w 19887"/>
                <a:gd name="T10" fmla="*/ 0 h 16060"/>
                <a:gd name="T11" fmla="*/ 19887 w 19887"/>
                <a:gd name="T12" fmla="*/ 16060 h 16060"/>
              </a:gdLst>
              <a:ahLst/>
              <a:cxnLst>
                <a:cxn ang="T6">
                  <a:pos x="T0" y="T1"/>
                </a:cxn>
                <a:cxn ang="T7">
                  <a:pos x="T2" y="T3"/>
                </a:cxn>
                <a:cxn ang="T8">
                  <a:pos x="T4" y="T5"/>
                </a:cxn>
              </a:cxnLst>
              <a:rect l="T9" t="T10" r="T11" b="T12"/>
              <a:pathLst>
                <a:path w="19887" h="16060" fill="none" extrusionOk="0">
                  <a:moveTo>
                    <a:pt x="19887" y="8430"/>
                  </a:moveTo>
                  <a:cubicBezTo>
                    <a:pt x="18653" y="11340"/>
                    <a:pt x="16795" y="13945"/>
                    <a:pt x="14444" y="16059"/>
                  </a:cubicBezTo>
                </a:path>
                <a:path w="19887" h="16060" stroke="0" extrusionOk="0">
                  <a:moveTo>
                    <a:pt x="19887" y="8430"/>
                  </a:moveTo>
                  <a:cubicBezTo>
                    <a:pt x="18653" y="11340"/>
                    <a:pt x="16795" y="13945"/>
                    <a:pt x="14444" y="16059"/>
                  </a:cubicBezTo>
                  <a:lnTo>
                    <a:pt x="0" y="0"/>
                  </a:lnTo>
                  <a:close/>
                </a:path>
              </a:pathLst>
            </a:custGeom>
            <a:noFill/>
            <a:ln w="57150" cap="rnd">
              <a:solidFill>
                <a:srgbClr val="8C8C8C"/>
              </a:solidFill>
              <a:round/>
              <a:headEnd/>
              <a:tailEnd type="triangle" w="med" len="sm"/>
            </a:ln>
          </p:spPr>
          <p:txBody>
            <a:bodyPr wrap="none" anchor="ctr"/>
            <a:lstStyle/>
            <a:p>
              <a:pPr algn="ctr" defTabSz="685800">
                <a:buClrTx/>
                <a:defRPr/>
              </a:pPr>
              <a:endParaRPr lang="en-US" sz="1350" kern="1200" dirty="0">
                <a:solidFill>
                  <a:prstClr val="black"/>
                </a:solidFill>
                <a:ea typeface="+mn-ea"/>
                <a:cs typeface="+mn-cs"/>
              </a:endParaRPr>
            </a:p>
          </p:txBody>
        </p:sp>
        <p:sp>
          <p:nvSpPr>
            <p:cNvPr id="9" name="Arc 8"/>
            <p:cNvSpPr>
              <a:spLocks/>
            </p:cNvSpPr>
            <p:nvPr/>
          </p:nvSpPr>
          <p:spPr bwMode="auto">
            <a:xfrm>
              <a:off x="2514600" y="3679825"/>
              <a:ext cx="1061112" cy="1911350"/>
            </a:xfrm>
            <a:custGeom>
              <a:avLst/>
              <a:gdLst>
                <a:gd name="T0" fmla="*/ 2147483647 w 11124"/>
                <a:gd name="T1" fmla="*/ 2147483647 h 21518"/>
                <a:gd name="T2" fmla="*/ 2147483647 w 11124"/>
                <a:gd name="T3" fmla="*/ 2147483647 h 21518"/>
                <a:gd name="T4" fmla="*/ 0 w 11124"/>
                <a:gd name="T5" fmla="*/ 0 h 21518"/>
                <a:gd name="T6" fmla="*/ 0 60000 65536"/>
                <a:gd name="T7" fmla="*/ 0 60000 65536"/>
                <a:gd name="T8" fmla="*/ 0 60000 65536"/>
                <a:gd name="T9" fmla="*/ 0 w 11124"/>
                <a:gd name="T10" fmla="*/ 0 h 21518"/>
                <a:gd name="T11" fmla="*/ 11124 w 11124"/>
                <a:gd name="T12" fmla="*/ 21518 h 21518"/>
              </a:gdLst>
              <a:ahLst/>
              <a:cxnLst>
                <a:cxn ang="T6">
                  <a:pos x="T0" y="T1"/>
                </a:cxn>
                <a:cxn ang="T7">
                  <a:pos x="T2" y="T3"/>
                </a:cxn>
                <a:cxn ang="T8">
                  <a:pos x="T4" y="T5"/>
                </a:cxn>
              </a:cxnLst>
              <a:rect l="T9" t="T10" r="T11" b="T12"/>
              <a:pathLst>
                <a:path w="11124" h="21518" fill="none" extrusionOk="0">
                  <a:moveTo>
                    <a:pt x="11124" y="18515"/>
                  </a:moveTo>
                  <a:cubicBezTo>
                    <a:pt x="8309" y="20206"/>
                    <a:pt x="5146" y="21233"/>
                    <a:pt x="1875" y="21518"/>
                  </a:cubicBezTo>
                </a:path>
                <a:path w="11124" h="21518" stroke="0" extrusionOk="0">
                  <a:moveTo>
                    <a:pt x="11124" y="18515"/>
                  </a:moveTo>
                  <a:cubicBezTo>
                    <a:pt x="8309" y="20206"/>
                    <a:pt x="5146" y="21233"/>
                    <a:pt x="1875" y="21518"/>
                  </a:cubicBezTo>
                  <a:lnTo>
                    <a:pt x="0" y="0"/>
                  </a:lnTo>
                  <a:close/>
                </a:path>
              </a:pathLst>
            </a:custGeom>
            <a:noFill/>
            <a:ln w="57150" cap="rnd">
              <a:solidFill>
                <a:srgbClr val="8C8C8C"/>
              </a:solidFill>
              <a:round/>
              <a:headEnd/>
              <a:tailEnd type="triangle" w="med" len="sm"/>
            </a:ln>
          </p:spPr>
          <p:txBody>
            <a:bodyPr wrap="none" anchor="ctr"/>
            <a:lstStyle/>
            <a:p>
              <a:pPr algn="ctr" defTabSz="685800">
                <a:buClrTx/>
                <a:defRPr/>
              </a:pPr>
              <a:endParaRPr lang="en-US" sz="1350" kern="1200" dirty="0">
                <a:solidFill>
                  <a:prstClr val="black"/>
                </a:solidFill>
                <a:ea typeface="+mn-ea"/>
                <a:cs typeface="+mn-cs"/>
              </a:endParaRPr>
            </a:p>
          </p:txBody>
        </p:sp>
        <p:sp>
          <p:nvSpPr>
            <p:cNvPr id="10" name="Arc 9"/>
            <p:cNvSpPr>
              <a:spLocks/>
            </p:cNvSpPr>
            <p:nvPr/>
          </p:nvSpPr>
          <p:spPr bwMode="auto">
            <a:xfrm>
              <a:off x="1451769" y="3679825"/>
              <a:ext cx="1064552" cy="1908175"/>
            </a:xfrm>
            <a:custGeom>
              <a:avLst/>
              <a:gdLst>
                <a:gd name="T0" fmla="*/ 2147483647 w 11138"/>
                <a:gd name="T1" fmla="*/ 2147483647 h 21481"/>
                <a:gd name="T2" fmla="*/ 0 w 11138"/>
                <a:gd name="T3" fmla="*/ 2147483647 h 21481"/>
                <a:gd name="T4" fmla="*/ 2147483647 w 11138"/>
                <a:gd name="T5" fmla="*/ 0 h 21481"/>
                <a:gd name="T6" fmla="*/ 0 60000 65536"/>
                <a:gd name="T7" fmla="*/ 0 60000 65536"/>
                <a:gd name="T8" fmla="*/ 0 60000 65536"/>
                <a:gd name="T9" fmla="*/ 0 w 11138"/>
                <a:gd name="T10" fmla="*/ 0 h 21481"/>
                <a:gd name="T11" fmla="*/ 11138 w 11138"/>
                <a:gd name="T12" fmla="*/ 21481 h 21481"/>
              </a:gdLst>
              <a:ahLst/>
              <a:cxnLst>
                <a:cxn ang="T6">
                  <a:pos x="T0" y="T1"/>
                </a:cxn>
                <a:cxn ang="T7">
                  <a:pos x="T2" y="T3"/>
                </a:cxn>
                <a:cxn ang="T8">
                  <a:pos x="T4" y="T5"/>
                </a:cxn>
              </a:cxnLst>
              <a:rect l="T9" t="T10" r="T11" b="T12"/>
              <a:pathLst>
                <a:path w="11138" h="21481" fill="none" extrusionOk="0">
                  <a:moveTo>
                    <a:pt x="8873" y="21480"/>
                  </a:moveTo>
                  <a:cubicBezTo>
                    <a:pt x="5733" y="21149"/>
                    <a:pt x="2704" y="20134"/>
                    <a:pt x="0" y="18506"/>
                  </a:cubicBezTo>
                </a:path>
                <a:path w="11138" h="21481" stroke="0" extrusionOk="0">
                  <a:moveTo>
                    <a:pt x="8873" y="21480"/>
                  </a:moveTo>
                  <a:cubicBezTo>
                    <a:pt x="5733" y="21149"/>
                    <a:pt x="2704" y="20134"/>
                    <a:pt x="0" y="18506"/>
                  </a:cubicBezTo>
                  <a:lnTo>
                    <a:pt x="11138" y="0"/>
                  </a:lnTo>
                  <a:close/>
                </a:path>
              </a:pathLst>
            </a:custGeom>
            <a:noFill/>
            <a:ln w="57150" cap="rnd">
              <a:solidFill>
                <a:srgbClr val="8C8C8C"/>
              </a:solidFill>
              <a:round/>
              <a:headEnd/>
              <a:tailEnd type="triangle" w="med" len="sm"/>
            </a:ln>
          </p:spPr>
          <p:txBody>
            <a:bodyPr wrap="none" anchor="ctr"/>
            <a:lstStyle/>
            <a:p>
              <a:pPr algn="ctr" defTabSz="685800">
                <a:buClrTx/>
                <a:defRPr/>
              </a:pPr>
              <a:endParaRPr lang="en-US" sz="1350" kern="1200" dirty="0">
                <a:solidFill>
                  <a:prstClr val="black"/>
                </a:solidFill>
                <a:ea typeface="+mn-ea"/>
                <a:cs typeface="+mn-cs"/>
              </a:endParaRPr>
            </a:p>
          </p:txBody>
        </p:sp>
        <p:sp>
          <p:nvSpPr>
            <p:cNvPr id="11" name="Arc 10"/>
            <p:cNvSpPr>
              <a:spLocks/>
            </p:cNvSpPr>
            <p:nvPr/>
          </p:nvSpPr>
          <p:spPr bwMode="auto">
            <a:xfrm>
              <a:off x="615950" y="3679825"/>
              <a:ext cx="1900370" cy="1446213"/>
            </a:xfrm>
            <a:custGeom>
              <a:avLst/>
              <a:gdLst>
                <a:gd name="T0" fmla="*/ 2147483647 w 19890"/>
                <a:gd name="T1" fmla="*/ 2147483647 h 16295"/>
                <a:gd name="T2" fmla="*/ 0 w 19890"/>
                <a:gd name="T3" fmla="*/ 2147483647 h 16295"/>
                <a:gd name="T4" fmla="*/ 2147483647 w 19890"/>
                <a:gd name="T5" fmla="*/ 0 h 16295"/>
                <a:gd name="T6" fmla="*/ 0 60000 65536"/>
                <a:gd name="T7" fmla="*/ 0 60000 65536"/>
                <a:gd name="T8" fmla="*/ 0 60000 65536"/>
                <a:gd name="T9" fmla="*/ 0 w 19890"/>
                <a:gd name="T10" fmla="*/ 0 h 16295"/>
                <a:gd name="T11" fmla="*/ 19890 w 19890"/>
                <a:gd name="T12" fmla="*/ 16295 h 16295"/>
              </a:gdLst>
              <a:ahLst/>
              <a:cxnLst>
                <a:cxn ang="T6">
                  <a:pos x="T0" y="T1"/>
                </a:cxn>
                <a:cxn ang="T7">
                  <a:pos x="T2" y="T3"/>
                </a:cxn>
                <a:cxn ang="T8">
                  <a:pos x="T4" y="T5"/>
                </a:cxn>
              </a:cxnLst>
              <a:rect l="T9" t="T10" r="T11" b="T12"/>
              <a:pathLst>
                <a:path w="19890" h="16295" fill="none" extrusionOk="0">
                  <a:moveTo>
                    <a:pt x="5711" y="16294"/>
                  </a:moveTo>
                  <a:cubicBezTo>
                    <a:pt x="3233" y="14139"/>
                    <a:pt x="1280" y="11446"/>
                    <a:pt x="-1" y="8423"/>
                  </a:cubicBezTo>
                </a:path>
                <a:path w="19890" h="16295" stroke="0" extrusionOk="0">
                  <a:moveTo>
                    <a:pt x="5711" y="16294"/>
                  </a:moveTo>
                  <a:cubicBezTo>
                    <a:pt x="3233" y="14139"/>
                    <a:pt x="1280" y="11446"/>
                    <a:pt x="-1" y="8423"/>
                  </a:cubicBezTo>
                  <a:lnTo>
                    <a:pt x="19890" y="0"/>
                  </a:lnTo>
                  <a:close/>
                </a:path>
              </a:pathLst>
            </a:custGeom>
            <a:noFill/>
            <a:ln w="57150" cap="rnd">
              <a:solidFill>
                <a:srgbClr val="8C8C8C"/>
              </a:solidFill>
              <a:round/>
              <a:headEnd/>
              <a:tailEnd type="triangle" w="med" len="sm"/>
            </a:ln>
          </p:spPr>
          <p:txBody>
            <a:bodyPr wrap="none" anchor="ctr"/>
            <a:lstStyle/>
            <a:p>
              <a:pPr algn="ctr" defTabSz="685800">
                <a:buClrTx/>
                <a:defRPr/>
              </a:pPr>
              <a:endParaRPr lang="en-US" sz="1350" kern="1200" dirty="0">
                <a:solidFill>
                  <a:prstClr val="black"/>
                </a:solidFill>
                <a:ea typeface="+mn-ea"/>
                <a:cs typeface="+mn-cs"/>
              </a:endParaRPr>
            </a:p>
          </p:txBody>
        </p:sp>
        <p:sp>
          <p:nvSpPr>
            <p:cNvPr id="12" name="Arc 11"/>
            <p:cNvSpPr>
              <a:spLocks/>
            </p:cNvSpPr>
            <p:nvPr/>
          </p:nvSpPr>
          <p:spPr bwMode="auto">
            <a:xfrm>
              <a:off x="450850" y="3249613"/>
              <a:ext cx="2065470" cy="830262"/>
            </a:xfrm>
            <a:custGeom>
              <a:avLst/>
              <a:gdLst>
                <a:gd name="T0" fmla="*/ 2147483647 w 21600"/>
                <a:gd name="T1" fmla="*/ 2147483647 h 9347"/>
                <a:gd name="T2" fmla="*/ 2147483647 w 21600"/>
                <a:gd name="T3" fmla="*/ 0 h 9347"/>
                <a:gd name="T4" fmla="*/ 2147483647 w 21600"/>
                <a:gd name="T5" fmla="*/ 2147483647 h 9347"/>
                <a:gd name="T6" fmla="*/ 0 60000 65536"/>
                <a:gd name="T7" fmla="*/ 0 60000 65536"/>
                <a:gd name="T8" fmla="*/ 0 60000 65536"/>
                <a:gd name="T9" fmla="*/ 0 w 21600"/>
                <a:gd name="T10" fmla="*/ 0 h 9347"/>
                <a:gd name="T11" fmla="*/ 21600 w 21600"/>
                <a:gd name="T12" fmla="*/ 9347 h 9347"/>
              </a:gdLst>
              <a:ahLst/>
              <a:cxnLst>
                <a:cxn ang="T6">
                  <a:pos x="T0" y="T1"/>
                </a:cxn>
                <a:cxn ang="T7">
                  <a:pos x="T2" y="T3"/>
                </a:cxn>
                <a:cxn ang="T8">
                  <a:pos x="T4" y="T5"/>
                </a:cxn>
              </a:cxnLst>
              <a:rect l="T9" t="T10" r="T11" b="T12"/>
              <a:pathLst>
                <a:path w="21600" h="9347" fill="none" extrusionOk="0">
                  <a:moveTo>
                    <a:pt x="471" y="9347"/>
                  </a:moveTo>
                  <a:cubicBezTo>
                    <a:pt x="158" y="7871"/>
                    <a:pt x="0" y="6366"/>
                    <a:pt x="0" y="4858"/>
                  </a:cubicBezTo>
                  <a:cubicBezTo>
                    <a:pt x="-1" y="3222"/>
                    <a:pt x="185" y="1593"/>
                    <a:pt x="553" y="0"/>
                  </a:cubicBezTo>
                </a:path>
                <a:path w="21600" h="9347" stroke="0" extrusionOk="0">
                  <a:moveTo>
                    <a:pt x="471" y="9347"/>
                  </a:moveTo>
                  <a:cubicBezTo>
                    <a:pt x="158" y="7871"/>
                    <a:pt x="0" y="6366"/>
                    <a:pt x="0" y="4858"/>
                  </a:cubicBezTo>
                  <a:cubicBezTo>
                    <a:pt x="-1" y="3222"/>
                    <a:pt x="185" y="1593"/>
                    <a:pt x="553" y="0"/>
                  </a:cubicBezTo>
                  <a:lnTo>
                    <a:pt x="21600" y="4858"/>
                  </a:lnTo>
                  <a:close/>
                </a:path>
              </a:pathLst>
            </a:custGeom>
            <a:noFill/>
            <a:ln w="57150" cap="rnd">
              <a:solidFill>
                <a:srgbClr val="8C8C8C"/>
              </a:solidFill>
              <a:round/>
              <a:headEnd/>
              <a:tailEnd type="triangle" w="med" len="sm"/>
            </a:ln>
          </p:spPr>
          <p:txBody>
            <a:bodyPr wrap="none" anchor="ctr"/>
            <a:lstStyle/>
            <a:p>
              <a:pPr algn="ctr" defTabSz="685800">
                <a:buClrTx/>
                <a:defRPr/>
              </a:pPr>
              <a:endParaRPr lang="en-US" sz="1350" kern="1200" dirty="0">
                <a:solidFill>
                  <a:prstClr val="black"/>
                </a:solidFill>
                <a:ea typeface="+mn-ea"/>
                <a:cs typeface="+mn-cs"/>
              </a:endParaRPr>
            </a:p>
          </p:txBody>
        </p:sp>
        <p:sp>
          <p:nvSpPr>
            <p:cNvPr id="13" name="Arc 12"/>
            <p:cNvSpPr>
              <a:spLocks/>
            </p:cNvSpPr>
            <p:nvPr/>
          </p:nvSpPr>
          <p:spPr bwMode="auto">
            <a:xfrm>
              <a:off x="617670" y="2233613"/>
              <a:ext cx="1898650" cy="1447800"/>
            </a:xfrm>
            <a:custGeom>
              <a:avLst/>
              <a:gdLst>
                <a:gd name="T0" fmla="*/ 0 w 19883"/>
                <a:gd name="T1" fmla="*/ 2147483647 h 16303"/>
                <a:gd name="T2" fmla="*/ 2147483647 w 19883"/>
                <a:gd name="T3" fmla="*/ 0 h 16303"/>
                <a:gd name="T4" fmla="*/ 2147483647 w 19883"/>
                <a:gd name="T5" fmla="*/ 2147483647 h 16303"/>
                <a:gd name="T6" fmla="*/ 0 60000 65536"/>
                <a:gd name="T7" fmla="*/ 0 60000 65536"/>
                <a:gd name="T8" fmla="*/ 0 60000 65536"/>
                <a:gd name="T9" fmla="*/ 0 w 19883"/>
                <a:gd name="T10" fmla="*/ 0 h 16303"/>
                <a:gd name="T11" fmla="*/ 19883 w 19883"/>
                <a:gd name="T12" fmla="*/ 16303 h 16303"/>
              </a:gdLst>
              <a:ahLst/>
              <a:cxnLst>
                <a:cxn ang="T6">
                  <a:pos x="T0" y="T1"/>
                </a:cxn>
                <a:cxn ang="T7">
                  <a:pos x="T2" y="T3"/>
                </a:cxn>
                <a:cxn ang="T8">
                  <a:pos x="T4" y="T5"/>
                </a:cxn>
              </a:cxnLst>
              <a:rect l="T9" t="T10" r="T11" b="T12"/>
              <a:pathLst>
                <a:path w="19883" h="16303" fill="none" extrusionOk="0">
                  <a:moveTo>
                    <a:pt x="-1" y="7863"/>
                  </a:moveTo>
                  <a:cubicBezTo>
                    <a:pt x="1282" y="4842"/>
                    <a:pt x="3236" y="2153"/>
                    <a:pt x="5713" y="0"/>
                  </a:cubicBezTo>
                </a:path>
                <a:path w="19883" h="16303" stroke="0" extrusionOk="0">
                  <a:moveTo>
                    <a:pt x="-1" y="7863"/>
                  </a:moveTo>
                  <a:cubicBezTo>
                    <a:pt x="1282" y="4842"/>
                    <a:pt x="3236" y="2153"/>
                    <a:pt x="5713" y="0"/>
                  </a:cubicBezTo>
                  <a:lnTo>
                    <a:pt x="19883" y="16303"/>
                  </a:lnTo>
                  <a:close/>
                </a:path>
              </a:pathLst>
            </a:custGeom>
            <a:noFill/>
            <a:ln w="57150" cap="rnd">
              <a:solidFill>
                <a:srgbClr val="8C8C8C"/>
              </a:solidFill>
              <a:round/>
              <a:headEnd/>
              <a:tailEnd type="triangle" w="med" len="sm"/>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673796" name="Group 24"/>
          <p:cNvGrpSpPr>
            <a:grpSpLocks/>
          </p:cNvGrpSpPr>
          <p:nvPr/>
        </p:nvGrpSpPr>
        <p:grpSpPr bwMode="auto">
          <a:xfrm>
            <a:off x="4854179" y="1268730"/>
            <a:ext cx="2858690" cy="2858691"/>
            <a:chOff x="5360987" y="1774825"/>
            <a:chExt cx="4129088" cy="3811588"/>
          </a:xfrm>
        </p:grpSpPr>
        <p:sp>
          <p:nvSpPr>
            <p:cNvPr id="14" name="Arc 13"/>
            <p:cNvSpPr>
              <a:spLocks/>
            </p:cNvSpPr>
            <p:nvPr/>
          </p:nvSpPr>
          <p:spPr bwMode="auto">
            <a:xfrm>
              <a:off x="6361874" y="1774825"/>
              <a:ext cx="1064517" cy="1905000"/>
            </a:xfrm>
            <a:custGeom>
              <a:avLst/>
              <a:gdLst>
                <a:gd name="T0" fmla="*/ 0 w 11129"/>
                <a:gd name="T1" fmla="*/ 2147483647 h 21481"/>
                <a:gd name="T2" fmla="*/ 2147483647 w 11129"/>
                <a:gd name="T3" fmla="*/ 0 h 21481"/>
                <a:gd name="T4" fmla="*/ 2147483647 w 11129"/>
                <a:gd name="T5" fmla="*/ 2147483647 h 21481"/>
                <a:gd name="T6" fmla="*/ 0 60000 65536"/>
                <a:gd name="T7" fmla="*/ 0 60000 65536"/>
                <a:gd name="T8" fmla="*/ 0 60000 65536"/>
                <a:gd name="T9" fmla="*/ 0 w 11129"/>
                <a:gd name="T10" fmla="*/ 0 h 21481"/>
                <a:gd name="T11" fmla="*/ 11129 w 11129"/>
                <a:gd name="T12" fmla="*/ 21481 h 21481"/>
              </a:gdLst>
              <a:ahLst/>
              <a:cxnLst>
                <a:cxn ang="T6">
                  <a:pos x="T0" y="T1"/>
                </a:cxn>
                <a:cxn ang="T7">
                  <a:pos x="T2" y="T3"/>
                </a:cxn>
                <a:cxn ang="T8">
                  <a:pos x="T4" y="T5"/>
                </a:cxn>
              </a:cxnLst>
              <a:rect l="T9" t="T10" r="T11" b="T12"/>
              <a:pathLst>
                <a:path w="11129" h="21481" fill="none" extrusionOk="0">
                  <a:moveTo>
                    <a:pt x="-1" y="2968"/>
                  </a:moveTo>
                  <a:cubicBezTo>
                    <a:pt x="2703" y="1343"/>
                    <a:pt x="5729" y="330"/>
                    <a:pt x="8865" y="-1"/>
                  </a:cubicBezTo>
                </a:path>
                <a:path w="11129" h="21481" stroke="0" extrusionOk="0">
                  <a:moveTo>
                    <a:pt x="-1" y="2968"/>
                  </a:moveTo>
                  <a:cubicBezTo>
                    <a:pt x="2703" y="1343"/>
                    <a:pt x="5729" y="330"/>
                    <a:pt x="8865" y="-1"/>
                  </a:cubicBezTo>
                  <a:lnTo>
                    <a:pt x="11129" y="21481"/>
                  </a:lnTo>
                  <a:close/>
                </a:path>
              </a:pathLst>
            </a:custGeom>
            <a:noFill/>
            <a:ln w="19050" cap="rnd">
              <a:solidFill>
                <a:srgbClr val="8C8C8C"/>
              </a:solidFill>
              <a:round/>
              <a:headEnd/>
              <a:tailEnd type="triangle" w="med" len="med"/>
            </a:ln>
          </p:spPr>
          <p:txBody>
            <a:bodyPr wrap="none" anchor="ctr"/>
            <a:lstStyle/>
            <a:p>
              <a:pPr algn="ctr" defTabSz="685800">
                <a:buClrTx/>
                <a:defRPr/>
              </a:pPr>
              <a:endParaRPr lang="en-US" sz="1350" kern="1200" dirty="0">
                <a:solidFill>
                  <a:prstClr val="black"/>
                </a:solidFill>
                <a:ea typeface="+mn-ea"/>
                <a:cs typeface="+mn-cs"/>
              </a:endParaRPr>
            </a:p>
          </p:txBody>
        </p:sp>
        <p:sp>
          <p:nvSpPr>
            <p:cNvPr id="15" name="Arc 14"/>
            <p:cNvSpPr>
              <a:spLocks/>
            </p:cNvSpPr>
            <p:nvPr/>
          </p:nvSpPr>
          <p:spPr bwMode="auto">
            <a:xfrm>
              <a:off x="7422951" y="1774825"/>
              <a:ext cx="1066237" cy="1905000"/>
            </a:xfrm>
            <a:custGeom>
              <a:avLst/>
              <a:gdLst>
                <a:gd name="T0" fmla="*/ 2147483647 w 11116"/>
                <a:gd name="T1" fmla="*/ 0 h 21483"/>
                <a:gd name="T2" fmla="*/ 2147483647 w 11116"/>
                <a:gd name="T3" fmla="*/ 2147483647 h 21483"/>
                <a:gd name="T4" fmla="*/ 0 w 11116"/>
                <a:gd name="T5" fmla="*/ 2147483647 h 21483"/>
                <a:gd name="T6" fmla="*/ 0 60000 65536"/>
                <a:gd name="T7" fmla="*/ 0 60000 65536"/>
                <a:gd name="T8" fmla="*/ 0 60000 65536"/>
                <a:gd name="T9" fmla="*/ 0 w 11116"/>
                <a:gd name="T10" fmla="*/ 0 h 21483"/>
                <a:gd name="T11" fmla="*/ 11116 w 11116"/>
                <a:gd name="T12" fmla="*/ 21483 h 21483"/>
              </a:gdLst>
              <a:ahLst/>
              <a:cxnLst>
                <a:cxn ang="T6">
                  <a:pos x="T0" y="T1"/>
                </a:cxn>
                <a:cxn ang="T7">
                  <a:pos x="T2" y="T3"/>
                </a:cxn>
                <a:cxn ang="T8">
                  <a:pos x="T4" y="T5"/>
                </a:cxn>
              </a:cxnLst>
              <a:rect l="T9" t="T10" r="T11" b="T12"/>
              <a:pathLst>
                <a:path w="11116" h="21483" fill="none" extrusionOk="0">
                  <a:moveTo>
                    <a:pt x="2245" y="-1"/>
                  </a:moveTo>
                  <a:cubicBezTo>
                    <a:pt x="5382" y="327"/>
                    <a:pt x="8410" y="1339"/>
                    <a:pt x="11116" y="2962"/>
                  </a:cubicBezTo>
                </a:path>
                <a:path w="11116" h="21483" stroke="0" extrusionOk="0">
                  <a:moveTo>
                    <a:pt x="2245" y="-1"/>
                  </a:moveTo>
                  <a:cubicBezTo>
                    <a:pt x="5382" y="327"/>
                    <a:pt x="8410" y="1339"/>
                    <a:pt x="11116" y="2962"/>
                  </a:cubicBezTo>
                  <a:lnTo>
                    <a:pt x="0" y="21483"/>
                  </a:lnTo>
                  <a:close/>
                </a:path>
              </a:pathLst>
            </a:custGeom>
            <a:noFill/>
            <a:ln w="19050" cap="rnd">
              <a:solidFill>
                <a:srgbClr val="8C8C8C"/>
              </a:solidFill>
              <a:round/>
              <a:headEnd/>
              <a:tailEnd type="triangle" w="med" len="med"/>
            </a:ln>
          </p:spPr>
          <p:txBody>
            <a:bodyPr wrap="none" anchor="ctr"/>
            <a:lstStyle/>
            <a:p>
              <a:pPr algn="ctr" defTabSz="685800">
                <a:buClrTx/>
                <a:defRPr/>
              </a:pPr>
              <a:endParaRPr lang="en-US" sz="1350" kern="1200" dirty="0">
                <a:solidFill>
                  <a:prstClr val="black"/>
                </a:solidFill>
                <a:ea typeface="+mn-ea"/>
                <a:cs typeface="+mn-cs"/>
              </a:endParaRPr>
            </a:p>
          </p:txBody>
        </p:sp>
        <p:sp>
          <p:nvSpPr>
            <p:cNvPr id="16" name="Arc 15"/>
            <p:cNvSpPr>
              <a:spLocks/>
            </p:cNvSpPr>
            <p:nvPr/>
          </p:nvSpPr>
          <p:spPr bwMode="auto">
            <a:xfrm>
              <a:off x="7422951" y="2233613"/>
              <a:ext cx="1902029" cy="1446212"/>
            </a:xfrm>
            <a:custGeom>
              <a:avLst/>
              <a:gdLst>
                <a:gd name="T0" fmla="*/ 2147483647 w 19880"/>
                <a:gd name="T1" fmla="*/ 0 h 16312"/>
                <a:gd name="T2" fmla="*/ 2147483647 w 19880"/>
                <a:gd name="T3" fmla="*/ 2147483647 h 16312"/>
                <a:gd name="T4" fmla="*/ 0 w 19880"/>
                <a:gd name="T5" fmla="*/ 2147483647 h 16312"/>
                <a:gd name="T6" fmla="*/ 0 60000 65536"/>
                <a:gd name="T7" fmla="*/ 0 60000 65536"/>
                <a:gd name="T8" fmla="*/ 0 60000 65536"/>
                <a:gd name="T9" fmla="*/ 0 w 19880"/>
                <a:gd name="T10" fmla="*/ 0 h 16312"/>
                <a:gd name="T11" fmla="*/ 19880 w 19880"/>
                <a:gd name="T12" fmla="*/ 16312 h 16312"/>
              </a:gdLst>
              <a:ahLst/>
              <a:cxnLst>
                <a:cxn ang="T6">
                  <a:pos x="T0" y="T1"/>
                </a:cxn>
                <a:cxn ang="T7">
                  <a:pos x="T2" y="T3"/>
                </a:cxn>
                <a:cxn ang="T8">
                  <a:pos x="T4" y="T5"/>
                </a:cxn>
              </a:cxnLst>
              <a:rect l="T9" t="T10" r="T11" b="T12"/>
              <a:pathLst>
                <a:path w="19880" h="16312" fill="none" extrusionOk="0">
                  <a:moveTo>
                    <a:pt x="14159" y="-1"/>
                  </a:moveTo>
                  <a:cubicBezTo>
                    <a:pt x="16639" y="2152"/>
                    <a:pt x="18595" y="4843"/>
                    <a:pt x="19880" y="7865"/>
                  </a:cubicBezTo>
                </a:path>
                <a:path w="19880" h="16312" stroke="0" extrusionOk="0">
                  <a:moveTo>
                    <a:pt x="14159" y="-1"/>
                  </a:moveTo>
                  <a:cubicBezTo>
                    <a:pt x="16639" y="2152"/>
                    <a:pt x="18595" y="4843"/>
                    <a:pt x="19880" y="7865"/>
                  </a:cubicBezTo>
                  <a:lnTo>
                    <a:pt x="0" y="16312"/>
                  </a:lnTo>
                  <a:close/>
                </a:path>
              </a:pathLst>
            </a:custGeom>
            <a:noFill/>
            <a:ln w="19050" cap="rnd">
              <a:solidFill>
                <a:srgbClr val="8C8C8C"/>
              </a:solidFill>
              <a:round/>
              <a:headEnd/>
              <a:tailEnd type="triangle" w="med" len="med"/>
            </a:ln>
          </p:spPr>
          <p:txBody>
            <a:bodyPr wrap="none" anchor="ctr"/>
            <a:lstStyle/>
            <a:p>
              <a:pPr algn="ctr" defTabSz="685800">
                <a:buClrTx/>
                <a:defRPr/>
              </a:pPr>
              <a:endParaRPr lang="en-US" sz="1350" kern="1200" dirty="0">
                <a:solidFill>
                  <a:prstClr val="black"/>
                </a:solidFill>
                <a:ea typeface="+mn-ea"/>
                <a:cs typeface="+mn-cs"/>
              </a:endParaRPr>
            </a:p>
          </p:txBody>
        </p:sp>
        <p:sp>
          <p:nvSpPr>
            <p:cNvPr id="17" name="Arc 16"/>
            <p:cNvSpPr>
              <a:spLocks/>
            </p:cNvSpPr>
            <p:nvPr/>
          </p:nvSpPr>
          <p:spPr bwMode="auto">
            <a:xfrm>
              <a:off x="7422951" y="3248025"/>
              <a:ext cx="2067124" cy="830263"/>
            </a:xfrm>
            <a:custGeom>
              <a:avLst/>
              <a:gdLst>
                <a:gd name="T0" fmla="*/ 2147483647 w 21600"/>
                <a:gd name="T1" fmla="*/ 0 h 9355"/>
                <a:gd name="T2" fmla="*/ 2147483647 w 21600"/>
                <a:gd name="T3" fmla="*/ 2147483647 h 9355"/>
                <a:gd name="T4" fmla="*/ 0 w 21600"/>
                <a:gd name="T5" fmla="*/ 2147483647 h 9355"/>
                <a:gd name="T6" fmla="*/ 0 60000 65536"/>
                <a:gd name="T7" fmla="*/ 0 60000 65536"/>
                <a:gd name="T8" fmla="*/ 0 60000 65536"/>
                <a:gd name="T9" fmla="*/ 0 w 21600"/>
                <a:gd name="T10" fmla="*/ 0 h 9355"/>
                <a:gd name="T11" fmla="*/ 21600 w 21600"/>
                <a:gd name="T12" fmla="*/ 9355 h 9355"/>
              </a:gdLst>
              <a:ahLst/>
              <a:cxnLst>
                <a:cxn ang="T6">
                  <a:pos x="T0" y="T1"/>
                </a:cxn>
                <a:cxn ang="T7">
                  <a:pos x="T2" y="T3"/>
                </a:cxn>
                <a:cxn ang="T8">
                  <a:pos x="T4" y="T5"/>
                </a:cxn>
              </a:cxnLst>
              <a:rect l="T9" t="T10" r="T11" b="T12"/>
              <a:pathLst>
                <a:path w="21600" h="9355" fill="none" extrusionOk="0">
                  <a:moveTo>
                    <a:pt x="21045" y="0"/>
                  </a:moveTo>
                  <a:cubicBezTo>
                    <a:pt x="21414" y="1594"/>
                    <a:pt x="21600" y="3225"/>
                    <a:pt x="21600" y="4862"/>
                  </a:cubicBezTo>
                  <a:cubicBezTo>
                    <a:pt x="21600" y="6372"/>
                    <a:pt x="21441" y="7877"/>
                    <a:pt x="21127" y="9354"/>
                  </a:cubicBezTo>
                </a:path>
                <a:path w="21600" h="9355" stroke="0" extrusionOk="0">
                  <a:moveTo>
                    <a:pt x="21045" y="0"/>
                  </a:moveTo>
                  <a:cubicBezTo>
                    <a:pt x="21414" y="1594"/>
                    <a:pt x="21600" y="3225"/>
                    <a:pt x="21600" y="4862"/>
                  </a:cubicBezTo>
                  <a:cubicBezTo>
                    <a:pt x="21600" y="6372"/>
                    <a:pt x="21441" y="7877"/>
                    <a:pt x="21127" y="9354"/>
                  </a:cubicBezTo>
                  <a:lnTo>
                    <a:pt x="0" y="4862"/>
                  </a:lnTo>
                  <a:close/>
                </a:path>
              </a:pathLst>
            </a:custGeom>
            <a:noFill/>
            <a:ln w="19050" cap="rnd">
              <a:solidFill>
                <a:srgbClr val="8C8C8C"/>
              </a:solidFill>
              <a:round/>
              <a:headEnd/>
              <a:tailEnd type="triangle" w="med" len="med"/>
            </a:ln>
          </p:spPr>
          <p:txBody>
            <a:bodyPr wrap="none" anchor="ctr"/>
            <a:lstStyle/>
            <a:p>
              <a:pPr algn="ctr" defTabSz="685800">
                <a:buClrTx/>
                <a:defRPr/>
              </a:pPr>
              <a:endParaRPr lang="en-US" sz="1350" kern="1200" dirty="0">
                <a:solidFill>
                  <a:prstClr val="black"/>
                </a:solidFill>
                <a:ea typeface="+mn-ea"/>
                <a:cs typeface="+mn-cs"/>
              </a:endParaRPr>
            </a:p>
          </p:txBody>
        </p:sp>
        <p:sp>
          <p:nvSpPr>
            <p:cNvPr id="18" name="Arc 17"/>
            <p:cNvSpPr>
              <a:spLocks/>
            </p:cNvSpPr>
            <p:nvPr/>
          </p:nvSpPr>
          <p:spPr bwMode="auto">
            <a:xfrm>
              <a:off x="7422951" y="3678238"/>
              <a:ext cx="1902029" cy="1422400"/>
            </a:xfrm>
            <a:custGeom>
              <a:avLst/>
              <a:gdLst>
                <a:gd name="T0" fmla="*/ 2147483647 w 19887"/>
                <a:gd name="T1" fmla="*/ 2147483647 h 16060"/>
                <a:gd name="T2" fmla="*/ 2147483647 w 19887"/>
                <a:gd name="T3" fmla="*/ 2147483647 h 16060"/>
                <a:gd name="T4" fmla="*/ 0 w 19887"/>
                <a:gd name="T5" fmla="*/ 0 h 16060"/>
                <a:gd name="T6" fmla="*/ 0 60000 65536"/>
                <a:gd name="T7" fmla="*/ 0 60000 65536"/>
                <a:gd name="T8" fmla="*/ 0 60000 65536"/>
                <a:gd name="T9" fmla="*/ 0 w 19887"/>
                <a:gd name="T10" fmla="*/ 0 h 16060"/>
                <a:gd name="T11" fmla="*/ 19887 w 19887"/>
                <a:gd name="T12" fmla="*/ 16060 h 16060"/>
              </a:gdLst>
              <a:ahLst/>
              <a:cxnLst>
                <a:cxn ang="T6">
                  <a:pos x="T0" y="T1"/>
                </a:cxn>
                <a:cxn ang="T7">
                  <a:pos x="T2" y="T3"/>
                </a:cxn>
                <a:cxn ang="T8">
                  <a:pos x="T4" y="T5"/>
                </a:cxn>
              </a:cxnLst>
              <a:rect l="T9" t="T10" r="T11" b="T12"/>
              <a:pathLst>
                <a:path w="19887" h="16060" fill="none" extrusionOk="0">
                  <a:moveTo>
                    <a:pt x="19887" y="8430"/>
                  </a:moveTo>
                  <a:cubicBezTo>
                    <a:pt x="18653" y="11340"/>
                    <a:pt x="16795" y="13945"/>
                    <a:pt x="14444" y="16059"/>
                  </a:cubicBezTo>
                </a:path>
                <a:path w="19887" h="16060" stroke="0" extrusionOk="0">
                  <a:moveTo>
                    <a:pt x="19887" y="8430"/>
                  </a:moveTo>
                  <a:cubicBezTo>
                    <a:pt x="18653" y="11340"/>
                    <a:pt x="16795" y="13945"/>
                    <a:pt x="14444" y="16059"/>
                  </a:cubicBezTo>
                  <a:lnTo>
                    <a:pt x="0" y="0"/>
                  </a:lnTo>
                  <a:close/>
                </a:path>
              </a:pathLst>
            </a:custGeom>
            <a:noFill/>
            <a:ln w="19050" cap="rnd">
              <a:solidFill>
                <a:srgbClr val="8C8C8C"/>
              </a:solidFill>
              <a:round/>
              <a:headEnd/>
              <a:tailEnd type="triangle" w="med" len="med"/>
            </a:ln>
          </p:spPr>
          <p:txBody>
            <a:bodyPr wrap="none" anchor="ctr"/>
            <a:lstStyle/>
            <a:p>
              <a:pPr algn="ctr" defTabSz="685800">
                <a:buClrTx/>
                <a:defRPr/>
              </a:pPr>
              <a:endParaRPr lang="en-US" sz="1350" kern="1200" dirty="0">
                <a:solidFill>
                  <a:prstClr val="black"/>
                </a:solidFill>
                <a:ea typeface="+mn-ea"/>
                <a:cs typeface="+mn-cs"/>
              </a:endParaRPr>
            </a:p>
          </p:txBody>
        </p:sp>
        <p:sp>
          <p:nvSpPr>
            <p:cNvPr id="19" name="Arc 18"/>
            <p:cNvSpPr>
              <a:spLocks/>
            </p:cNvSpPr>
            <p:nvPr/>
          </p:nvSpPr>
          <p:spPr bwMode="auto">
            <a:xfrm>
              <a:off x="7422951" y="3678238"/>
              <a:ext cx="1066237" cy="1908175"/>
            </a:xfrm>
            <a:custGeom>
              <a:avLst/>
              <a:gdLst>
                <a:gd name="T0" fmla="*/ 2147483647 w 11124"/>
                <a:gd name="T1" fmla="*/ 2147483647 h 21518"/>
                <a:gd name="T2" fmla="*/ 2147483647 w 11124"/>
                <a:gd name="T3" fmla="*/ 2147483647 h 21518"/>
                <a:gd name="T4" fmla="*/ 0 w 11124"/>
                <a:gd name="T5" fmla="*/ 0 h 21518"/>
                <a:gd name="T6" fmla="*/ 0 60000 65536"/>
                <a:gd name="T7" fmla="*/ 0 60000 65536"/>
                <a:gd name="T8" fmla="*/ 0 60000 65536"/>
                <a:gd name="T9" fmla="*/ 0 w 11124"/>
                <a:gd name="T10" fmla="*/ 0 h 21518"/>
                <a:gd name="T11" fmla="*/ 11124 w 11124"/>
                <a:gd name="T12" fmla="*/ 21518 h 21518"/>
              </a:gdLst>
              <a:ahLst/>
              <a:cxnLst>
                <a:cxn ang="T6">
                  <a:pos x="T0" y="T1"/>
                </a:cxn>
                <a:cxn ang="T7">
                  <a:pos x="T2" y="T3"/>
                </a:cxn>
                <a:cxn ang="T8">
                  <a:pos x="T4" y="T5"/>
                </a:cxn>
              </a:cxnLst>
              <a:rect l="T9" t="T10" r="T11" b="T12"/>
              <a:pathLst>
                <a:path w="11124" h="21518" fill="none" extrusionOk="0">
                  <a:moveTo>
                    <a:pt x="11124" y="18515"/>
                  </a:moveTo>
                  <a:cubicBezTo>
                    <a:pt x="8309" y="20206"/>
                    <a:pt x="5146" y="21233"/>
                    <a:pt x="1875" y="21518"/>
                  </a:cubicBezTo>
                </a:path>
                <a:path w="11124" h="21518" stroke="0" extrusionOk="0">
                  <a:moveTo>
                    <a:pt x="11124" y="18515"/>
                  </a:moveTo>
                  <a:cubicBezTo>
                    <a:pt x="8309" y="20206"/>
                    <a:pt x="5146" y="21233"/>
                    <a:pt x="1875" y="21518"/>
                  </a:cubicBezTo>
                  <a:lnTo>
                    <a:pt x="0" y="0"/>
                  </a:lnTo>
                  <a:close/>
                </a:path>
              </a:pathLst>
            </a:custGeom>
            <a:noFill/>
            <a:ln w="19050" cap="rnd">
              <a:solidFill>
                <a:srgbClr val="8C8C8C"/>
              </a:solidFill>
              <a:round/>
              <a:headEnd/>
              <a:tailEnd type="triangle" w="med" len="med"/>
            </a:ln>
          </p:spPr>
          <p:txBody>
            <a:bodyPr wrap="none" anchor="ctr"/>
            <a:lstStyle/>
            <a:p>
              <a:pPr algn="ctr" defTabSz="685800">
                <a:buClrTx/>
                <a:defRPr/>
              </a:pPr>
              <a:endParaRPr lang="en-US" sz="1350" kern="1200" dirty="0">
                <a:solidFill>
                  <a:prstClr val="black"/>
                </a:solidFill>
                <a:ea typeface="+mn-ea"/>
                <a:cs typeface="+mn-cs"/>
              </a:endParaRPr>
            </a:p>
          </p:txBody>
        </p:sp>
        <p:sp>
          <p:nvSpPr>
            <p:cNvPr id="20" name="Arc 19"/>
            <p:cNvSpPr>
              <a:spLocks/>
            </p:cNvSpPr>
            <p:nvPr/>
          </p:nvSpPr>
          <p:spPr bwMode="auto">
            <a:xfrm>
              <a:off x="6361874" y="3678238"/>
              <a:ext cx="1064517" cy="1905000"/>
            </a:xfrm>
            <a:custGeom>
              <a:avLst/>
              <a:gdLst>
                <a:gd name="T0" fmla="*/ 2147483647 w 11138"/>
                <a:gd name="T1" fmla="*/ 2147483647 h 21481"/>
                <a:gd name="T2" fmla="*/ 0 w 11138"/>
                <a:gd name="T3" fmla="*/ 2147483647 h 21481"/>
                <a:gd name="T4" fmla="*/ 2147483647 w 11138"/>
                <a:gd name="T5" fmla="*/ 0 h 21481"/>
                <a:gd name="T6" fmla="*/ 0 60000 65536"/>
                <a:gd name="T7" fmla="*/ 0 60000 65536"/>
                <a:gd name="T8" fmla="*/ 0 60000 65536"/>
                <a:gd name="T9" fmla="*/ 0 w 11138"/>
                <a:gd name="T10" fmla="*/ 0 h 21481"/>
                <a:gd name="T11" fmla="*/ 11138 w 11138"/>
                <a:gd name="T12" fmla="*/ 21481 h 21481"/>
              </a:gdLst>
              <a:ahLst/>
              <a:cxnLst>
                <a:cxn ang="T6">
                  <a:pos x="T0" y="T1"/>
                </a:cxn>
                <a:cxn ang="T7">
                  <a:pos x="T2" y="T3"/>
                </a:cxn>
                <a:cxn ang="T8">
                  <a:pos x="T4" y="T5"/>
                </a:cxn>
              </a:cxnLst>
              <a:rect l="T9" t="T10" r="T11" b="T12"/>
              <a:pathLst>
                <a:path w="11138" h="21481" fill="none" extrusionOk="0">
                  <a:moveTo>
                    <a:pt x="8873" y="21480"/>
                  </a:moveTo>
                  <a:cubicBezTo>
                    <a:pt x="5733" y="21149"/>
                    <a:pt x="2704" y="20134"/>
                    <a:pt x="0" y="18506"/>
                  </a:cubicBezTo>
                </a:path>
                <a:path w="11138" h="21481" stroke="0" extrusionOk="0">
                  <a:moveTo>
                    <a:pt x="8873" y="21480"/>
                  </a:moveTo>
                  <a:cubicBezTo>
                    <a:pt x="5733" y="21149"/>
                    <a:pt x="2704" y="20134"/>
                    <a:pt x="0" y="18506"/>
                  </a:cubicBezTo>
                  <a:lnTo>
                    <a:pt x="11138" y="0"/>
                  </a:lnTo>
                  <a:close/>
                </a:path>
              </a:pathLst>
            </a:custGeom>
            <a:noFill/>
            <a:ln w="19050" cap="rnd">
              <a:solidFill>
                <a:srgbClr val="8C8C8C"/>
              </a:solidFill>
              <a:round/>
              <a:headEnd/>
              <a:tailEnd type="triangle" w="med" len="med"/>
            </a:ln>
          </p:spPr>
          <p:txBody>
            <a:bodyPr wrap="none" anchor="ctr"/>
            <a:lstStyle/>
            <a:p>
              <a:pPr algn="ctr" defTabSz="685800">
                <a:buClrTx/>
                <a:defRPr/>
              </a:pPr>
              <a:endParaRPr lang="en-US" sz="1350" kern="1200" dirty="0">
                <a:solidFill>
                  <a:prstClr val="black"/>
                </a:solidFill>
                <a:ea typeface="+mn-ea"/>
                <a:cs typeface="+mn-cs"/>
              </a:endParaRPr>
            </a:p>
          </p:txBody>
        </p:sp>
        <p:sp>
          <p:nvSpPr>
            <p:cNvPr id="21" name="Arc 20"/>
            <p:cNvSpPr>
              <a:spLocks/>
            </p:cNvSpPr>
            <p:nvPr/>
          </p:nvSpPr>
          <p:spPr bwMode="auto">
            <a:xfrm>
              <a:off x="5524361" y="3678238"/>
              <a:ext cx="1902029" cy="1444625"/>
            </a:xfrm>
            <a:custGeom>
              <a:avLst/>
              <a:gdLst>
                <a:gd name="T0" fmla="*/ 2147483647 w 19890"/>
                <a:gd name="T1" fmla="*/ 2147483647 h 16295"/>
                <a:gd name="T2" fmla="*/ 0 w 19890"/>
                <a:gd name="T3" fmla="*/ 2147483647 h 16295"/>
                <a:gd name="T4" fmla="*/ 2147483647 w 19890"/>
                <a:gd name="T5" fmla="*/ 0 h 16295"/>
                <a:gd name="T6" fmla="*/ 0 60000 65536"/>
                <a:gd name="T7" fmla="*/ 0 60000 65536"/>
                <a:gd name="T8" fmla="*/ 0 60000 65536"/>
                <a:gd name="T9" fmla="*/ 0 w 19890"/>
                <a:gd name="T10" fmla="*/ 0 h 16295"/>
                <a:gd name="T11" fmla="*/ 19890 w 19890"/>
                <a:gd name="T12" fmla="*/ 16295 h 16295"/>
              </a:gdLst>
              <a:ahLst/>
              <a:cxnLst>
                <a:cxn ang="T6">
                  <a:pos x="T0" y="T1"/>
                </a:cxn>
                <a:cxn ang="T7">
                  <a:pos x="T2" y="T3"/>
                </a:cxn>
                <a:cxn ang="T8">
                  <a:pos x="T4" y="T5"/>
                </a:cxn>
              </a:cxnLst>
              <a:rect l="T9" t="T10" r="T11" b="T12"/>
              <a:pathLst>
                <a:path w="19890" h="16295" fill="none" extrusionOk="0">
                  <a:moveTo>
                    <a:pt x="5711" y="16294"/>
                  </a:moveTo>
                  <a:cubicBezTo>
                    <a:pt x="3233" y="14139"/>
                    <a:pt x="1280" y="11446"/>
                    <a:pt x="-1" y="8423"/>
                  </a:cubicBezTo>
                </a:path>
                <a:path w="19890" h="16295" stroke="0" extrusionOk="0">
                  <a:moveTo>
                    <a:pt x="5711" y="16294"/>
                  </a:moveTo>
                  <a:cubicBezTo>
                    <a:pt x="3233" y="14139"/>
                    <a:pt x="1280" y="11446"/>
                    <a:pt x="-1" y="8423"/>
                  </a:cubicBezTo>
                  <a:lnTo>
                    <a:pt x="19890" y="0"/>
                  </a:lnTo>
                  <a:close/>
                </a:path>
              </a:pathLst>
            </a:custGeom>
            <a:noFill/>
            <a:ln w="19050" cap="rnd">
              <a:solidFill>
                <a:srgbClr val="8C8C8C"/>
              </a:solidFill>
              <a:round/>
              <a:headEnd/>
              <a:tailEnd type="triangle" w="med" len="med"/>
            </a:ln>
          </p:spPr>
          <p:txBody>
            <a:bodyPr wrap="none" anchor="ctr"/>
            <a:lstStyle/>
            <a:p>
              <a:pPr algn="ctr" defTabSz="685800">
                <a:buClrTx/>
                <a:defRPr/>
              </a:pPr>
              <a:endParaRPr lang="en-US" sz="1350" kern="1200" dirty="0">
                <a:solidFill>
                  <a:prstClr val="black"/>
                </a:solidFill>
                <a:ea typeface="+mn-ea"/>
                <a:cs typeface="+mn-cs"/>
              </a:endParaRPr>
            </a:p>
          </p:txBody>
        </p:sp>
        <p:sp>
          <p:nvSpPr>
            <p:cNvPr id="22" name="Arc 21"/>
            <p:cNvSpPr>
              <a:spLocks/>
            </p:cNvSpPr>
            <p:nvPr/>
          </p:nvSpPr>
          <p:spPr bwMode="auto">
            <a:xfrm>
              <a:off x="5360987" y="3248025"/>
              <a:ext cx="2065404" cy="830263"/>
            </a:xfrm>
            <a:custGeom>
              <a:avLst/>
              <a:gdLst>
                <a:gd name="T0" fmla="*/ 2147483647 w 21600"/>
                <a:gd name="T1" fmla="*/ 2147483647 h 9347"/>
                <a:gd name="T2" fmla="*/ 2147483647 w 21600"/>
                <a:gd name="T3" fmla="*/ 0 h 9347"/>
                <a:gd name="T4" fmla="*/ 2147483647 w 21600"/>
                <a:gd name="T5" fmla="*/ 2147483647 h 9347"/>
                <a:gd name="T6" fmla="*/ 0 60000 65536"/>
                <a:gd name="T7" fmla="*/ 0 60000 65536"/>
                <a:gd name="T8" fmla="*/ 0 60000 65536"/>
                <a:gd name="T9" fmla="*/ 0 w 21600"/>
                <a:gd name="T10" fmla="*/ 0 h 9347"/>
                <a:gd name="T11" fmla="*/ 21600 w 21600"/>
                <a:gd name="T12" fmla="*/ 9347 h 9347"/>
              </a:gdLst>
              <a:ahLst/>
              <a:cxnLst>
                <a:cxn ang="T6">
                  <a:pos x="T0" y="T1"/>
                </a:cxn>
                <a:cxn ang="T7">
                  <a:pos x="T2" y="T3"/>
                </a:cxn>
                <a:cxn ang="T8">
                  <a:pos x="T4" y="T5"/>
                </a:cxn>
              </a:cxnLst>
              <a:rect l="T9" t="T10" r="T11" b="T12"/>
              <a:pathLst>
                <a:path w="21600" h="9347" fill="none" extrusionOk="0">
                  <a:moveTo>
                    <a:pt x="471" y="9347"/>
                  </a:moveTo>
                  <a:cubicBezTo>
                    <a:pt x="158" y="7871"/>
                    <a:pt x="0" y="6366"/>
                    <a:pt x="0" y="4858"/>
                  </a:cubicBezTo>
                  <a:cubicBezTo>
                    <a:pt x="-1" y="3222"/>
                    <a:pt x="185" y="1593"/>
                    <a:pt x="553" y="0"/>
                  </a:cubicBezTo>
                </a:path>
                <a:path w="21600" h="9347" stroke="0" extrusionOk="0">
                  <a:moveTo>
                    <a:pt x="471" y="9347"/>
                  </a:moveTo>
                  <a:cubicBezTo>
                    <a:pt x="158" y="7871"/>
                    <a:pt x="0" y="6366"/>
                    <a:pt x="0" y="4858"/>
                  </a:cubicBezTo>
                  <a:cubicBezTo>
                    <a:pt x="-1" y="3222"/>
                    <a:pt x="185" y="1593"/>
                    <a:pt x="553" y="0"/>
                  </a:cubicBezTo>
                  <a:lnTo>
                    <a:pt x="21600" y="4858"/>
                  </a:lnTo>
                  <a:close/>
                </a:path>
              </a:pathLst>
            </a:custGeom>
            <a:noFill/>
            <a:ln w="19050" cap="rnd">
              <a:solidFill>
                <a:srgbClr val="8C8C8C"/>
              </a:solidFill>
              <a:round/>
              <a:headEnd/>
              <a:tailEnd type="triangle" w="med" len="med"/>
            </a:ln>
          </p:spPr>
          <p:txBody>
            <a:bodyPr wrap="none" anchor="ctr"/>
            <a:lstStyle/>
            <a:p>
              <a:pPr algn="ctr" defTabSz="685800">
                <a:buClrTx/>
                <a:defRPr/>
              </a:pPr>
              <a:endParaRPr lang="en-US" sz="1350" kern="1200" dirty="0">
                <a:solidFill>
                  <a:prstClr val="black"/>
                </a:solidFill>
                <a:ea typeface="+mn-ea"/>
                <a:cs typeface="+mn-cs"/>
              </a:endParaRPr>
            </a:p>
          </p:txBody>
        </p:sp>
        <p:sp>
          <p:nvSpPr>
            <p:cNvPr id="23" name="Arc 22"/>
            <p:cNvSpPr>
              <a:spLocks/>
            </p:cNvSpPr>
            <p:nvPr/>
          </p:nvSpPr>
          <p:spPr bwMode="auto">
            <a:xfrm>
              <a:off x="5526082" y="2233613"/>
              <a:ext cx="1900309" cy="1446212"/>
            </a:xfrm>
            <a:custGeom>
              <a:avLst/>
              <a:gdLst>
                <a:gd name="T0" fmla="*/ 0 w 19883"/>
                <a:gd name="T1" fmla="*/ 2147483647 h 16303"/>
                <a:gd name="T2" fmla="*/ 2147483647 w 19883"/>
                <a:gd name="T3" fmla="*/ 0 h 16303"/>
                <a:gd name="T4" fmla="*/ 2147483647 w 19883"/>
                <a:gd name="T5" fmla="*/ 2147483647 h 16303"/>
                <a:gd name="T6" fmla="*/ 0 60000 65536"/>
                <a:gd name="T7" fmla="*/ 0 60000 65536"/>
                <a:gd name="T8" fmla="*/ 0 60000 65536"/>
                <a:gd name="T9" fmla="*/ 0 w 19883"/>
                <a:gd name="T10" fmla="*/ 0 h 16303"/>
                <a:gd name="T11" fmla="*/ 19883 w 19883"/>
                <a:gd name="T12" fmla="*/ 16303 h 16303"/>
              </a:gdLst>
              <a:ahLst/>
              <a:cxnLst>
                <a:cxn ang="T6">
                  <a:pos x="T0" y="T1"/>
                </a:cxn>
                <a:cxn ang="T7">
                  <a:pos x="T2" y="T3"/>
                </a:cxn>
                <a:cxn ang="T8">
                  <a:pos x="T4" y="T5"/>
                </a:cxn>
              </a:cxnLst>
              <a:rect l="T9" t="T10" r="T11" b="T12"/>
              <a:pathLst>
                <a:path w="19883" h="16303" fill="none" extrusionOk="0">
                  <a:moveTo>
                    <a:pt x="-1" y="7863"/>
                  </a:moveTo>
                  <a:cubicBezTo>
                    <a:pt x="1282" y="4842"/>
                    <a:pt x="3236" y="2153"/>
                    <a:pt x="5713" y="0"/>
                  </a:cubicBezTo>
                </a:path>
                <a:path w="19883" h="16303" stroke="0" extrusionOk="0">
                  <a:moveTo>
                    <a:pt x="-1" y="7863"/>
                  </a:moveTo>
                  <a:cubicBezTo>
                    <a:pt x="1282" y="4842"/>
                    <a:pt x="3236" y="2153"/>
                    <a:pt x="5713" y="0"/>
                  </a:cubicBezTo>
                  <a:lnTo>
                    <a:pt x="19883" y="16303"/>
                  </a:lnTo>
                  <a:close/>
                </a:path>
              </a:pathLst>
            </a:custGeom>
            <a:noFill/>
            <a:ln w="19050" cap="rnd">
              <a:solidFill>
                <a:srgbClr val="8C8C8C"/>
              </a:solidFill>
              <a:round/>
              <a:headEnd/>
              <a:tailEnd type="triangle" w="med" len="med"/>
            </a:ln>
          </p:spPr>
          <p:txBody>
            <a:bodyPr wrap="none" anchor="ctr"/>
            <a:lstStyle/>
            <a:p>
              <a:pPr algn="ctr" defTabSz="685800">
                <a:buClrTx/>
                <a:defRPr/>
              </a:pPr>
              <a:endParaRPr lang="en-US" sz="1350" kern="1200" dirty="0">
                <a:solidFill>
                  <a:prstClr val="black"/>
                </a:solidFill>
                <a:ea typeface="+mn-ea"/>
                <a:cs typeface="+mn-cs"/>
              </a:endParaRPr>
            </a:p>
          </p:txBody>
        </p:sp>
      </p:grpSp>
    </p:spTree>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4817" name="Title 1"/>
          <p:cNvSpPr>
            <a:spLocks noGrp="1"/>
          </p:cNvSpPr>
          <p:nvPr>
            <p:ph type="title"/>
          </p:nvPr>
        </p:nvSpPr>
        <p:spPr/>
        <p:txBody>
          <a:bodyPr/>
          <a:lstStyle/>
          <a:p>
            <a:r>
              <a:rPr lang="en-US" dirty="0">
                <a:solidFill>
                  <a:srgbClr val="81BC00"/>
                </a:solidFill>
              </a:rPr>
              <a:t>Circles </a:t>
            </a:r>
            <a:br>
              <a:rPr lang="en-US" dirty="0">
                <a:solidFill>
                  <a:srgbClr val="575757"/>
                </a:solidFill>
              </a:rPr>
            </a:br>
            <a:r>
              <a:rPr lang="en-US" dirty="0">
                <a:solidFill>
                  <a:srgbClr val="575757"/>
                </a:solidFill>
              </a:rPr>
              <a:t>Arrows</a:t>
            </a:r>
          </a:p>
        </p:txBody>
      </p:sp>
      <p:grpSp>
        <p:nvGrpSpPr>
          <p:cNvPr id="98" name="Group 97"/>
          <p:cNvGrpSpPr/>
          <p:nvPr/>
        </p:nvGrpSpPr>
        <p:grpSpPr>
          <a:xfrm>
            <a:off x="3677842" y="1028700"/>
            <a:ext cx="1620440" cy="1835944"/>
            <a:chOff x="3379788" y="1371599"/>
            <a:chExt cx="2160587" cy="2447925"/>
          </a:xfrm>
        </p:grpSpPr>
        <p:sp>
          <p:nvSpPr>
            <p:cNvPr id="52" name="Freeform 8"/>
            <p:cNvSpPr>
              <a:spLocks/>
            </p:cNvSpPr>
            <p:nvPr/>
          </p:nvSpPr>
          <p:spPr bwMode="blackWhite">
            <a:xfrm>
              <a:off x="4330700" y="1543049"/>
              <a:ext cx="1209675" cy="2276475"/>
            </a:xfrm>
            <a:custGeom>
              <a:avLst/>
              <a:gdLst>
                <a:gd name="T0" fmla="*/ 2147483647 w 976"/>
                <a:gd name="T1" fmla="*/ 2147483647 h 1811"/>
                <a:gd name="T2" fmla="*/ 2147483647 w 976"/>
                <a:gd name="T3" fmla="*/ 2147483647 h 1811"/>
                <a:gd name="T4" fmla="*/ 2147483647 w 976"/>
                <a:gd name="T5" fmla="*/ 2147483647 h 1811"/>
                <a:gd name="T6" fmla="*/ 2147483647 w 976"/>
                <a:gd name="T7" fmla="*/ 2147483647 h 1811"/>
                <a:gd name="T8" fmla="*/ 2147483647 w 976"/>
                <a:gd name="T9" fmla="*/ 2147483647 h 1811"/>
                <a:gd name="T10" fmla="*/ 2147483647 w 976"/>
                <a:gd name="T11" fmla="*/ 2147483647 h 1811"/>
                <a:gd name="T12" fmla="*/ 2147483647 w 976"/>
                <a:gd name="T13" fmla="*/ 2147483647 h 1811"/>
                <a:gd name="T14" fmla="*/ 2147483647 w 976"/>
                <a:gd name="T15" fmla="*/ 2147483647 h 1811"/>
                <a:gd name="T16" fmla="*/ 2147483647 w 976"/>
                <a:gd name="T17" fmla="*/ 2147483647 h 1811"/>
                <a:gd name="T18" fmla="*/ 2147483647 w 976"/>
                <a:gd name="T19" fmla="*/ 2147483647 h 1811"/>
                <a:gd name="T20" fmla="*/ 2147483647 w 976"/>
                <a:gd name="T21" fmla="*/ 2147483647 h 1811"/>
                <a:gd name="T22" fmla="*/ 2147483647 w 976"/>
                <a:gd name="T23" fmla="*/ 2147483647 h 1811"/>
                <a:gd name="T24" fmla="*/ 2147483647 w 976"/>
                <a:gd name="T25" fmla="*/ 2147483647 h 1811"/>
                <a:gd name="T26" fmla="*/ 2147483647 w 976"/>
                <a:gd name="T27" fmla="*/ 2147483647 h 1811"/>
                <a:gd name="T28" fmla="*/ 2147483647 w 976"/>
                <a:gd name="T29" fmla="*/ 2147483647 h 1811"/>
                <a:gd name="T30" fmla="*/ 2147483647 w 976"/>
                <a:gd name="T31" fmla="*/ 2147483647 h 1811"/>
                <a:gd name="T32" fmla="*/ 2147483647 w 976"/>
                <a:gd name="T33" fmla="*/ 2147483647 h 1811"/>
                <a:gd name="T34" fmla="*/ 2147483647 w 976"/>
                <a:gd name="T35" fmla="*/ 2147483647 h 1811"/>
                <a:gd name="T36" fmla="*/ 2147483647 w 976"/>
                <a:gd name="T37" fmla="*/ 2147483647 h 1811"/>
                <a:gd name="T38" fmla="*/ 2147483647 w 976"/>
                <a:gd name="T39" fmla="*/ 2147483647 h 1811"/>
                <a:gd name="T40" fmla="*/ 2147483647 w 976"/>
                <a:gd name="T41" fmla="*/ 2147483647 h 1811"/>
                <a:gd name="T42" fmla="*/ 2147483647 w 976"/>
                <a:gd name="T43" fmla="*/ 2147483647 h 1811"/>
                <a:gd name="T44" fmla="*/ 2147483647 w 976"/>
                <a:gd name="T45" fmla="*/ 2147483647 h 1811"/>
                <a:gd name="T46" fmla="*/ 2147483647 w 976"/>
                <a:gd name="T47" fmla="*/ 2147483647 h 1811"/>
                <a:gd name="T48" fmla="*/ 2147483647 w 976"/>
                <a:gd name="T49" fmla="*/ 2147483647 h 1811"/>
                <a:gd name="T50" fmla="*/ 2147483647 w 976"/>
                <a:gd name="T51" fmla="*/ 2147483647 h 1811"/>
                <a:gd name="T52" fmla="*/ 2147483647 w 976"/>
                <a:gd name="T53" fmla="*/ 2147483647 h 1811"/>
                <a:gd name="T54" fmla="*/ 2147483647 w 976"/>
                <a:gd name="T55" fmla="*/ 2147483647 h 1811"/>
                <a:gd name="T56" fmla="*/ 2147483647 w 976"/>
                <a:gd name="T57" fmla="*/ 2147483647 h 1811"/>
                <a:gd name="T58" fmla="*/ 2147483647 w 976"/>
                <a:gd name="T59" fmla="*/ 2147483647 h 1811"/>
                <a:gd name="T60" fmla="*/ 2147483647 w 976"/>
                <a:gd name="T61" fmla="*/ 2147483647 h 1811"/>
                <a:gd name="T62" fmla="*/ 2147483647 w 976"/>
                <a:gd name="T63" fmla="*/ 2147483647 h 1811"/>
                <a:gd name="T64" fmla="*/ 2147483647 w 976"/>
                <a:gd name="T65" fmla="*/ 2147483647 h 1811"/>
                <a:gd name="T66" fmla="*/ 2147483647 w 976"/>
                <a:gd name="T67" fmla="*/ 2147483647 h 1811"/>
                <a:gd name="T68" fmla="*/ 2147483647 w 976"/>
                <a:gd name="T69" fmla="*/ 2147483647 h 1811"/>
                <a:gd name="T70" fmla="*/ 2147483647 w 976"/>
                <a:gd name="T71" fmla="*/ 2147483647 h 181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76"/>
                <a:gd name="T109" fmla="*/ 0 h 1811"/>
                <a:gd name="T110" fmla="*/ 976 w 976"/>
                <a:gd name="T111" fmla="*/ 1811 h 181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76" h="1811">
                  <a:moveTo>
                    <a:pt x="279" y="1669"/>
                  </a:moveTo>
                  <a:lnTo>
                    <a:pt x="338" y="1654"/>
                  </a:lnTo>
                  <a:lnTo>
                    <a:pt x="394" y="1635"/>
                  </a:lnTo>
                  <a:lnTo>
                    <a:pt x="449" y="1612"/>
                  </a:lnTo>
                  <a:lnTo>
                    <a:pt x="502" y="1585"/>
                  </a:lnTo>
                  <a:lnTo>
                    <a:pt x="553" y="1555"/>
                  </a:lnTo>
                  <a:lnTo>
                    <a:pt x="601" y="1520"/>
                  </a:lnTo>
                  <a:lnTo>
                    <a:pt x="651" y="1485"/>
                  </a:lnTo>
                  <a:lnTo>
                    <a:pt x="697" y="1447"/>
                  </a:lnTo>
                  <a:lnTo>
                    <a:pt x="741" y="1405"/>
                  </a:lnTo>
                  <a:lnTo>
                    <a:pt x="782" y="1361"/>
                  </a:lnTo>
                  <a:lnTo>
                    <a:pt x="818" y="1313"/>
                  </a:lnTo>
                  <a:lnTo>
                    <a:pt x="851" y="1263"/>
                  </a:lnTo>
                  <a:lnTo>
                    <a:pt x="882" y="1210"/>
                  </a:lnTo>
                  <a:lnTo>
                    <a:pt x="908" y="1156"/>
                  </a:lnTo>
                  <a:lnTo>
                    <a:pt x="929" y="1100"/>
                  </a:lnTo>
                  <a:lnTo>
                    <a:pt x="947" y="1043"/>
                  </a:lnTo>
                  <a:lnTo>
                    <a:pt x="961" y="984"/>
                  </a:lnTo>
                  <a:lnTo>
                    <a:pt x="970" y="924"/>
                  </a:lnTo>
                  <a:lnTo>
                    <a:pt x="975" y="865"/>
                  </a:lnTo>
                  <a:lnTo>
                    <a:pt x="975" y="804"/>
                  </a:lnTo>
                  <a:lnTo>
                    <a:pt x="972" y="744"/>
                  </a:lnTo>
                  <a:lnTo>
                    <a:pt x="963" y="685"/>
                  </a:lnTo>
                  <a:lnTo>
                    <a:pt x="950" y="625"/>
                  </a:lnTo>
                  <a:lnTo>
                    <a:pt x="935" y="567"/>
                  </a:lnTo>
                  <a:lnTo>
                    <a:pt x="913" y="511"/>
                  </a:lnTo>
                  <a:lnTo>
                    <a:pt x="889" y="456"/>
                  </a:lnTo>
                  <a:lnTo>
                    <a:pt x="859" y="403"/>
                  </a:lnTo>
                  <a:lnTo>
                    <a:pt x="826" y="352"/>
                  </a:lnTo>
                  <a:lnTo>
                    <a:pt x="790" y="304"/>
                  </a:lnTo>
                  <a:lnTo>
                    <a:pt x="751" y="259"/>
                  </a:lnTo>
                  <a:lnTo>
                    <a:pt x="708" y="216"/>
                  </a:lnTo>
                  <a:lnTo>
                    <a:pt x="662" y="178"/>
                  </a:lnTo>
                  <a:lnTo>
                    <a:pt x="614" y="142"/>
                  </a:lnTo>
                  <a:lnTo>
                    <a:pt x="563" y="109"/>
                  </a:lnTo>
                  <a:lnTo>
                    <a:pt x="510" y="81"/>
                  </a:lnTo>
                  <a:lnTo>
                    <a:pt x="455" y="56"/>
                  </a:lnTo>
                  <a:lnTo>
                    <a:pt x="398" y="36"/>
                  </a:lnTo>
                  <a:lnTo>
                    <a:pt x="340" y="20"/>
                  </a:lnTo>
                  <a:lnTo>
                    <a:pt x="281" y="8"/>
                  </a:lnTo>
                  <a:lnTo>
                    <a:pt x="222" y="0"/>
                  </a:lnTo>
                  <a:lnTo>
                    <a:pt x="294" y="112"/>
                  </a:lnTo>
                  <a:lnTo>
                    <a:pt x="369" y="222"/>
                  </a:lnTo>
                  <a:lnTo>
                    <a:pt x="226" y="434"/>
                  </a:lnTo>
                  <a:lnTo>
                    <a:pt x="268" y="446"/>
                  </a:lnTo>
                  <a:lnTo>
                    <a:pt x="306" y="463"/>
                  </a:lnTo>
                  <a:lnTo>
                    <a:pt x="344" y="483"/>
                  </a:lnTo>
                  <a:lnTo>
                    <a:pt x="379" y="508"/>
                  </a:lnTo>
                  <a:lnTo>
                    <a:pt x="411" y="536"/>
                  </a:lnTo>
                  <a:lnTo>
                    <a:pt x="440" y="567"/>
                  </a:lnTo>
                  <a:lnTo>
                    <a:pt x="467" y="601"/>
                  </a:lnTo>
                  <a:lnTo>
                    <a:pt x="489" y="637"/>
                  </a:lnTo>
                  <a:lnTo>
                    <a:pt x="508" y="676"/>
                  </a:lnTo>
                  <a:lnTo>
                    <a:pt x="521" y="716"/>
                  </a:lnTo>
                  <a:lnTo>
                    <a:pt x="531" y="758"/>
                  </a:lnTo>
                  <a:lnTo>
                    <a:pt x="538" y="801"/>
                  </a:lnTo>
                  <a:lnTo>
                    <a:pt x="539" y="843"/>
                  </a:lnTo>
                  <a:lnTo>
                    <a:pt x="536" y="886"/>
                  </a:lnTo>
                  <a:lnTo>
                    <a:pt x="529" y="928"/>
                  </a:lnTo>
                  <a:lnTo>
                    <a:pt x="517" y="969"/>
                  </a:lnTo>
                  <a:lnTo>
                    <a:pt x="501" y="1009"/>
                  </a:lnTo>
                  <a:lnTo>
                    <a:pt x="482" y="1046"/>
                  </a:lnTo>
                  <a:lnTo>
                    <a:pt x="458" y="1082"/>
                  </a:lnTo>
                  <a:lnTo>
                    <a:pt x="431" y="1115"/>
                  </a:lnTo>
                  <a:lnTo>
                    <a:pt x="401" y="1145"/>
                  </a:lnTo>
                  <a:lnTo>
                    <a:pt x="367" y="1172"/>
                  </a:lnTo>
                  <a:lnTo>
                    <a:pt x="331" y="1196"/>
                  </a:lnTo>
                  <a:lnTo>
                    <a:pt x="293" y="1215"/>
                  </a:lnTo>
                  <a:lnTo>
                    <a:pt x="253" y="1230"/>
                  </a:lnTo>
                  <a:lnTo>
                    <a:pt x="253" y="1093"/>
                  </a:lnTo>
                  <a:lnTo>
                    <a:pt x="0" y="1420"/>
                  </a:lnTo>
                  <a:lnTo>
                    <a:pt x="279" y="1810"/>
                  </a:lnTo>
                  <a:lnTo>
                    <a:pt x="279" y="1669"/>
                  </a:lnTo>
                </a:path>
              </a:pathLst>
            </a:custGeom>
            <a:solidFill>
              <a:srgbClr val="DCDCDC"/>
            </a:solidFill>
            <a:ln w="12700" cap="rnd">
              <a:solidFill>
                <a:schemeClr val="bg1"/>
              </a:solidFill>
              <a:round/>
              <a:headEnd/>
              <a:tailEnd/>
            </a:ln>
          </p:spPr>
          <p:txBody>
            <a:bodyPr/>
            <a:lstStyle/>
            <a:p>
              <a:pPr defTabSz="685800">
                <a:buClrTx/>
              </a:pPr>
              <a:endParaRPr lang="en-US" sz="1050" kern="1200">
                <a:solidFill>
                  <a:srgbClr val="575757"/>
                </a:solidFill>
                <a:ea typeface="+mn-ea"/>
                <a:cs typeface="+mn-cs"/>
              </a:endParaRPr>
            </a:p>
          </p:txBody>
        </p:sp>
        <p:sp>
          <p:nvSpPr>
            <p:cNvPr id="53" name="Freeform 9"/>
            <p:cNvSpPr>
              <a:spLocks/>
            </p:cNvSpPr>
            <p:nvPr/>
          </p:nvSpPr>
          <p:spPr bwMode="blackWhite">
            <a:xfrm>
              <a:off x="3379788" y="1371599"/>
              <a:ext cx="1343025" cy="2290763"/>
            </a:xfrm>
            <a:custGeom>
              <a:avLst/>
              <a:gdLst>
                <a:gd name="T0" fmla="*/ 2147483647 w 1084"/>
                <a:gd name="T1" fmla="*/ 2147483647 h 1823"/>
                <a:gd name="T2" fmla="*/ 2147483647 w 1084"/>
                <a:gd name="T3" fmla="*/ 2147483647 h 1823"/>
                <a:gd name="T4" fmla="*/ 2147483647 w 1084"/>
                <a:gd name="T5" fmla="*/ 2147483647 h 1823"/>
                <a:gd name="T6" fmla="*/ 2147483647 w 1084"/>
                <a:gd name="T7" fmla="*/ 2147483647 h 1823"/>
                <a:gd name="T8" fmla="*/ 2147483647 w 1084"/>
                <a:gd name="T9" fmla="*/ 2147483647 h 1823"/>
                <a:gd name="T10" fmla="*/ 2147483647 w 1084"/>
                <a:gd name="T11" fmla="*/ 2147483647 h 1823"/>
                <a:gd name="T12" fmla="*/ 2147483647 w 1084"/>
                <a:gd name="T13" fmla="*/ 2147483647 h 1823"/>
                <a:gd name="T14" fmla="*/ 2147483647 w 1084"/>
                <a:gd name="T15" fmla="*/ 2147483647 h 1823"/>
                <a:gd name="T16" fmla="*/ 2147483647 w 1084"/>
                <a:gd name="T17" fmla="*/ 2147483647 h 1823"/>
                <a:gd name="T18" fmla="*/ 2147483647 w 1084"/>
                <a:gd name="T19" fmla="*/ 2147483647 h 1823"/>
                <a:gd name="T20" fmla="*/ 2147483647 w 1084"/>
                <a:gd name="T21" fmla="*/ 2147483647 h 1823"/>
                <a:gd name="T22" fmla="*/ 2147483647 w 1084"/>
                <a:gd name="T23" fmla="*/ 2147483647 h 1823"/>
                <a:gd name="T24" fmla="*/ 2147483647 w 1084"/>
                <a:gd name="T25" fmla="*/ 2147483647 h 1823"/>
                <a:gd name="T26" fmla="*/ 2147483647 w 1084"/>
                <a:gd name="T27" fmla="*/ 2147483647 h 1823"/>
                <a:gd name="T28" fmla="*/ 2147483647 w 1084"/>
                <a:gd name="T29" fmla="*/ 2147483647 h 1823"/>
                <a:gd name="T30" fmla="*/ 2147483647 w 1084"/>
                <a:gd name="T31" fmla="*/ 2147483647 h 1823"/>
                <a:gd name="T32" fmla="*/ 2147483647 w 1084"/>
                <a:gd name="T33" fmla="*/ 0 h 1823"/>
                <a:gd name="T34" fmla="*/ 2147483647 w 1084"/>
                <a:gd name="T35" fmla="*/ 2147483647 h 1823"/>
                <a:gd name="T36" fmla="*/ 2147483647 w 1084"/>
                <a:gd name="T37" fmla="*/ 2147483647 h 1823"/>
                <a:gd name="T38" fmla="*/ 2147483647 w 1084"/>
                <a:gd name="T39" fmla="*/ 2147483647 h 1823"/>
                <a:gd name="T40" fmla="*/ 2147483647 w 1084"/>
                <a:gd name="T41" fmla="*/ 2147483647 h 1823"/>
                <a:gd name="T42" fmla="*/ 2147483647 w 1084"/>
                <a:gd name="T43" fmla="*/ 2147483647 h 1823"/>
                <a:gd name="T44" fmla="*/ 2147483647 w 1084"/>
                <a:gd name="T45" fmla="*/ 2147483647 h 1823"/>
                <a:gd name="T46" fmla="*/ 2147483647 w 1084"/>
                <a:gd name="T47" fmla="*/ 2147483647 h 1823"/>
                <a:gd name="T48" fmla="*/ 2147483647 w 1084"/>
                <a:gd name="T49" fmla="*/ 2147483647 h 1823"/>
                <a:gd name="T50" fmla="*/ 2147483647 w 1084"/>
                <a:gd name="T51" fmla="*/ 2147483647 h 1823"/>
                <a:gd name="T52" fmla="*/ 2147483647 w 1084"/>
                <a:gd name="T53" fmla="*/ 2147483647 h 1823"/>
                <a:gd name="T54" fmla="*/ 2147483647 w 1084"/>
                <a:gd name="T55" fmla="*/ 2147483647 h 1823"/>
                <a:gd name="T56" fmla="*/ 2147483647 w 1084"/>
                <a:gd name="T57" fmla="*/ 2147483647 h 1823"/>
                <a:gd name="T58" fmla="*/ 2147483647 w 1084"/>
                <a:gd name="T59" fmla="*/ 2147483647 h 1823"/>
                <a:gd name="T60" fmla="*/ 2147483647 w 1084"/>
                <a:gd name="T61" fmla="*/ 2147483647 h 1823"/>
                <a:gd name="T62" fmla="*/ 2147483647 w 1084"/>
                <a:gd name="T63" fmla="*/ 2147483647 h 1823"/>
                <a:gd name="T64" fmla="*/ 2147483647 w 1084"/>
                <a:gd name="T65" fmla="*/ 2147483647 h 1823"/>
                <a:gd name="T66" fmla="*/ 2147483647 w 1084"/>
                <a:gd name="T67" fmla="*/ 2147483647 h 1823"/>
                <a:gd name="T68" fmla="*/ 2147483647 w 1084"/>
                <a:gd name="T69" fmla="*/ 2147483647 h 1823"/>
                <a:gd name="T70" fmla="*/ 2147483647 w 1084"/>
                <a:gd name="T71" fmla="*/ 2147483647 h 1823"/>
                <a:gd name="T72" fmla="*/ 2147483647 w 1084"/>
                <a:gd name="T73" fmla="*/ 2147483647 h 1823"/>
                <a:gd name="T74" fmla="*/ 2147483647 w 1084"/>
                <a:gd name="T75" fmla="*/ 2147483647 h 1823"/>
                <a:gd name="T76" fmla="*/ 2147483647 w 1084"/>
                <a:gd name="T77" fmla="*/ 2147483647 h 1823"/>
                <a:gd name="T78" fmla="*/ 2147483647 w 1084"/>
                <a:gd name="T79" fmla="*/ 2147483647 h 1823"/>
                <a:gd name="T80" fmla="*/ 2147483647 w 1084"/>
                <a:gd name="T81" fmla="*/ 2147483647 h 182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84"/>
                <a:gd name="T124" fmla="*/ 0 h 1823"/>
                <a:gd name="T125" fmla="*/ 1084 w 1084"/>
                <a:gd name="T126" fmla="*/ 1823 h 182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84" h="1823">
                  <a:moveTo>
                    <a:pt x="832" y="1394"/>
                  </a:moveTo>
                  <a:lnTo>
                    <a:pt x="789" y="1389"/>
                  </a:lnTo>
                  <a:lnTo>
                    <a:pt x="746" y="1380"/>
                  </a:lnTo>
                  <a:lnTo>
                    <a:pt x="705" y="1367"/>
                  </a:lnTo>
                  <a:lnTo>
                    <a:pt x="665" y="1349"/>
                  </a:lnTo>
                  <a:lnTo>
                    <a:pt x="628" y="1327"/>
                  </a:lnTo>
                  <a:lnTo>
                    <a:pt x="592" y="1301"/>
                  </a:lnTo>
                  <a:lnTo>
                    <a:pt x="559" y="1273"/>
                  </a:lnTo>
                  <a:lnTo>
                    <a:pt x="530" y="1240"/>
                  </a:lnTo>
                  <a:lnTo>
                    <a:pt x="504" y="1206"/>
                  </a:lnTo>
                  <a:lnTo>
                    <a:pt x="482" y="1168"/>
                  </a:lnTo>
                  <a:lnTo>
                    <a:pt x="464" y="1129"/>
                  </a:lnTo>
                  <a:lnTo>
                    <a:pt x="450" y="1087"/>
                  </a:lnTo>
                  <a:lnTo>
                    <a:pt x="440" y="1044"/>
                  </a:lnTo>
                  <a:lnTo>
                    <a:pt x="434" y="1002"/>
                  </a:lnTo>
                  <a:lnTo>
                    <a:pt x="434" y="958"/>
                  </a:lnTo>
                  <a:lnTo>
                    <a:pt x="438" y="915"/>
                  </a:lnTo>
                  <a:lnTo>
                    <a:pt x="446" y="872"/>
                  </a:lnTo>
                  <a:lnTo>
                    <a:pt x="458" y="831"/>
                  </a:lnTo>
                  <a:lnTo>
                    <a:pt x="475" y="790"/>
                  </a:lnTo>
                  <a:lnTo>
                    <a:pt x="495" y="752"/>
                  </a:lnTo>
                  <a:lnTo>
                    <a:pt x="520" y="716"/>
                  </a:lnTo>
                  <a:lnTo>
                    <a:pt x="548" y="683"/>
                  </a:lnTo>
                  <a:lnTo>
                    <a:pt x="580" y="653"/>
                  </a:lnTo>
                  <a:lnTo>
                    <a:pt x="613" y="626"/>
                  </a:lnTo>
                  <a:lnTo>
                    <a:pt x="651" y="603"/>
                  </a:lnTo>
                  <a:lnTo>
                    <a:pt x="688" y="584"/>
                  </a:lnTo>
                  <a:lnTo>
                    <a:pt x="727" y="569"/>
                  </a:lnTo>
                  <a:lnTo>
                    <a:pt x="768" y="559"/>
                  </a:lnTo>
                  <a:lnTo>
                    <a:pt x="809" y="552"/>
                  </a:lnTo>
                  <a:lnTo>
                    <a:pt x="851" y="549"/>
                  </a:lnTo>
                  <a:lnTo>
                    <a:pt x="851" y="675"/>
                  </a:lnTo>
                  <a:lnTo>
                    <a:pt x="1083" y="353"/>
                  </a:lnTo>
                  <a:lnTo>
                    <a:pt x="846" y="0"/>
                  </a:lnTo>
                  <a:lnTo>
                    <a:pt x="846" y="121"/>
                  </a:lnTo>
                  <a:lnTo>
                    <a:pt x="786" y="125"/>
                  </a:lnTo>
                  <a:lnTo>
                    <a:pt x="726" y="133"/>
                  </a:lnTo>
                  <a:lnTo>
                    <a:pt x="668" y="145"/>
                  </a:lnTo>
                  <a:lnTo>
                    <a:pt x="610" y="161"/>
                  </a:lnTo>
                  <a:lnTo>
                    <a:pt x="554" y="181"/>
                  </a:lnTo>
                  <a:lnTo>
                    <a:pt x="499" y="206"/>
                  </a:lnTo>
                  <a:lnTo>
                    <a:pt x="446" y="234"/>
                  </a:lnTo>
                  <a:lnTo>
                    <a:pt x="394" y="264"/>
                  </a:lnTo>
                  <a:lnTo>
                    <a:pt x="344" y="298"/>
                  </a:lnTo>
                  <a:lnTo>
                    <a:pt x="297" y="335"/>
                  </a:lnTo>
                  <a:lnTo>
                    <a:pt x="252" y="376"/>
                  </a:lnTo>
                  <a:lnTo>
                    <a:pt x="211" y="420"/>
                  </a:lnTo>
                  <a:lnTo>
                    <a:pt x="173" y="466"/>
                  </a:lnTo>
                  <a:lnTo>
                    <a:pt x="138" y="515"/>
                  </a:lnTo>
                  <a:lnTo>
                    <a:pt x="107" y="566"/>
                  </a:lnTo>
                  <a:lnTo>
                    <a:pt x="79" y="620"/>
                  </a:lnTo>
                  <a:lnTo>
                    <a:pt x="56" y="675"/>
                  </a:lnTo>
                  <a:lnTo>
                    <a:pt x="37" y="733"/>
                  </a:lnTo>
                  <a:lnTo>
                    <a:pt x="21" y="790"/>
                  </a:lnTo>
                  <a:lnTo>
                    <a:pt x="10" y="850"/>
                  </a:lnTo>
                  <a:lnTo>
                    <a:pt x="3" y="909"/>
                  </a:lnTo>
                  <a:lnTo>
                    <a:pt x="0" y="969"/>
                  </a:lnTo>
                  <a:lnTo>
                    <a:pt x="2" y="1029"/>
                  </a:lnTo>
                  <a:lnTo>
                    <a:pt x="7" y="1090"/>
                  </a:lnTo>
                  <a:lnTo>
                    <a:pt x="18" y="1148"/>
                  </a:lnTo>
                  <a:lnTo>
                    <a:pt x="31" y="1207"/>
                  </a:lnTo>
                  <a:lnTo>
                    <a:pt x="50" y="1264"/>
                  </a:lnTo>
                  <a:lnTo>
                    <a:pt x="73" y="1320"/>
                  </a:lnTo>
                  <a:lnTo>
                    <a:pt x="99" y="1374"/>
                  </a:lnTo>
                  <a:lnTo>
                    <a:pt x="129" y="1426"/>
                  </a:lnTo>
                  <a:lnTo>
                    <a:pt x="163" y="1476"/>
                  </a:lnTo>
                  <a:lnTo>
                    <a:pt x="200" y="1523"/>
                  </a:lnTo>
                  <a:lnTo>
                    <a:pt x="241" y="1568"/>
                  </a:lnTo>
                  <a:lnTo>
                    <a:pt x="283" y="1609"/>
                  </a:lnTo>
                  <a:lnTo>
                    <a:pt x="330" y="1647"/>
                  </a:lnTo>
                  <a:lnTo>
                    <a:pt x="379" y="1682"/>
                  </a:lnTo>
                  <a:lnTo>
                    <a:pt x="431" y="1713"/>
                  </a:lnTo>
                  <a:lnTo>
                    <a:pt x="484" y="1741"/>
                  </a:lnTo>
                  <a:lnTo>
                    <a:pt x="539" y="1765"/>
                  </a:lnTo>
                  <a:lnTo>
                    <a:pt x="595" y="1784"/>
                  </a:lnTo>
                  <a:lnTo>
                    <a:pt x="654" y="1800"/>
                  </a:lnTo>
                  <a:lnTo>
                    <a:pt x="713" y="1812"/>
                  </a:lnTo>
                  <a:lnTo>
                    <a:pt x="772" y="1819"/>
                  </a:lnTo>
                  <a:lnTo>
                    <a:pt x="833" y="1822"/>
                  </a:lnTo>
                  <a:lnTo>
                    <a:pt x="893" y="1821"/>
                  </a:lnTo>
                  <a:lnTo>
                    <a:pt x="708" y="1557"/>
                  </a:lnTo>
                  <a:lnTo>
                    <a:pt x="832" y="1394"/>
                  </a:lnTo>
                </a:path>
              </a:pathLst>
            </a:custGeom>
            <a:solidFill>
              <a:srgbClr val="81BC00"/>
            </a:solidFill>
            <a:ln w="12700" cap="rnd">
              <a:solidFill>
                <a:schemeClr val="bg1"/>
              </a:solidFill>
              <a:round/>
              <a:headEnd/>
              <a:tailEnd/>
            </a:ln>
          </p:spPr>
          <p:txBody>
            <a:bodyPr/>
            <a:lstStyle/>
            <a:p>
              <a:pPr defTabSz="685800">
                <a:buClrTx/>
              </a:pPr>
              <a:endParaRPr lang="en-US" sz="1050" kern="1200">
                <a:solidFill>
                  <a:prstClr val="white"/>
                </a:solidFill>
                <a:ea typeface="+mn-ea"/>
                <a:cs typeface="+mn-cs"/>
              </a:endParaRPr>
            </a:p>
          </p:txBody>
        </p:sp>
        <p:sp>
          <p:nvSpPr>
            <p:cNvPr id="54" name="Rectangle 10"/>
            <p:cNvSpPr>
              <a:spLocks noChangeArrowheads="1"/>
            </p:cNvSpPr>
            <p:nvPr/>
          </p:nvSpPr>
          <p:spPr bwMode="blackWhite">
            <a:xfrm>
              <a:off x="3482613" y="2484104"/>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dirty="0">
                  <a:solidFill>
                    <a:prstClr val="white"/>
                  </a:solidFill>
                  <a:ea typeface="+mn-ea"/>
                  <a:cs typeface="+mn-cs"/>
                </a:rPr>
                <a:t>Text</a:t>
              </a:r>
            </a:p>
          </p:txBody>
        </p:sp>
        <p:sp>
          <p:nvSpPr>
            <p:cNvPr id="55" name="Rectangle 11"/>
            <p:cNvSpPr>
              <a:spLocks noChangeArrowheads="1"/>
            </p:cNvSpPr>
            <p:nvPr/>
          </p:nvSpPr>
          <p:spPr bwMode="blackWhite">
            <a:xfrm>
              <a:off x="5104246" y="2484104"/>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dirty="0">
                  <a:solidFill>
                    <a:srgbClr val="575757"/>
                  </a:solidFill>
                  <a:ea typeface="+mn-ea"/>
                  <a:cs typeface="+mn-cs"/>
                </a:rPr>
                <a:t>Text</a:t>
              </a:r>
            </a:p>
          </p:txBody>
        </p:sp>
      </p:grpSp>
      <p:grpSp>
        <p:nvGrpSpPr>
          <p:cNvPr id="74" name="Group 3"/>
          <p:cNvGrpSpPr>
            <a:grpSpLocks/>
          </p:cNvGrpSpPr>
          <p:nvPr/>
        </p:nvGrpSpPr>
        <p:grpSpPr bwMode="auto">
          <a:xfrm>
            <a:off x="1571625" y="1132284"/>
            <a:ext cx="1620441" cy="1619250"/>
            <a:chOff x="493" y="763"/>
            <a:chExt cx="1256" cy="1360"/>
          </a:xfrm>
          <a:solidFill>
            <a:schemeClr val="accent1"/>
          </a:solidFill>
        </p:grpSpPr>
        <p:sp>
          <p:nvSpPr>
            <p:cNvPr id="75" name="Freeform 4"/>
            <p:cNvSpPr>
              <a:spLocks/>
            </p:cNvSpPr>
            <p:nvPr/>
          </p:nvSpPr>
          <p:spPr bwMode="blackWhite">
            <a:xfrm>
              <a:off x="493" y="763"/>
              <a:ext cx="1256" cy="1360"/>
            </a:xfrm>
            <a:custGeom>
              <a:avLst/>
              <a:gdLst>
                <a:gd name="T0" fmla="*/ 15 w 1725"/>
                <a:gd name="T1" fmla="*/ 217 h 1724"/>
                <a:gd name="T2" fmla="*/ 3 w 1725"/>
                <a:gd name="T3" fmla="*/ 286 h 1724"/>
                <a:gd name="T4" fmla="*/ 1 w 1725"/>
                <a:gd name="T5" fmla="*/ 357 h 1724"/>
                <a:gd name="T6" fmla="*/ 9 w 1725"/>
                <a:gd name="T7" fmla="*/ 428 h 1724"/>
                <a:gd name="T8" fmla="*/ 30 w 1725"/>
                <a:gd name="T9" fmla="*/ 494 h 1724"/>
                <a:gd name="T10" fmla="*/ 60 w 1725"/>
                <a:gd name="T11" fmla="*/ 552 h 1724"/>
                <a:gd name="T12" fmla="*/ 97 w 1725"/>
                <a:gd name="T13" fmla="*/ 601 h 1724"/>
                <a:gd name="T14" fmla="*/ 141 w 1725"/>
                <a:gd name="T15" fmla="*/ 637 h 1724"/>
                <a:gd name="T16" fmla="*/ 191 w 1725"/>
                <a:gd name="T17" fmla="*/ 659 h 1724"/>
                <a:gd name="T18" fmla="*/ 242 w 1725"/>
                <a:gd name="T19" fmla="*/ 667 h 1724"/>
                <a:gd name="T20" fmla="*/ 294 w 1725"/>
                <a:gd name="T21" fmla="*/ 659 h 1724"/>
                <a:gd name="T22" fmla="*/ 343 w 1725"/>
                <a:gd name="T23" fmla="*/ 637 h 1724"/>
                <a:gd name="T24" fmla="*/ 387 w 1725"/>
                <a:gd name="T25" fmla="*/ 601 h 1724"/>
                <a:gd name="T26" fmla="*/ 425 w 1725"/>
                <a:gd name="T27" fmla="*/ 552 h 1724"/>
                <a:gd name="T28" fmla="*/ 455 w 1725"/>
                <a:gd name="T29" fmla="*/ 494 h 1724"/>
                <a:gd name="T30" fmla="*/ 475 w 1725"/>
                <a:gd name="T31" fmla="*/ 428 h 1724"/>
                <a:gd name="T32" fmla="*/ 484 w 1725"/>
                <a:gd name="T33" fmla="*/ 357 h 1724"/>
                <a:gd name="T34" fmla="*/ 482 w 1725"/>
                <a:gd name="T35" fmla="*/ 285 h 1724"/>
                <a:gd name="T36" fmla="*/ 469 w 1725"/>
                <a:gd name="T37" fmla="*/ 215 h 1724"/>
                <a:gd name="T38" fmla="*/ 446 w 1725"/>
                <a:gd name="T39" fmla="*/ 151 h 1724"/>
                <a:gd name="T40" fmla="*/ 411 w 1725"/>
                <a:gd name="T41" fmla="*/ 94 h 1724"/>
                <a:gd name="T42" fmla="*/ 370 w 1725"/>
                <a:gd name="T43" fmla="*/ 50 h 1724"/>
                <a:gd name="T44" fmla="*/ 323 w 1725"/>
                <a:gd name="T45" fmla="*/ 18 h 1724"/>
                <a:gd name="T46" fmla="*/ 271 w 1725"/>
                <a:gd name="T47" fmla="*/ 2 h 1724"/>
                <a:gd name="T48" fmla="*/ 218 w 1725"/>
                <a:gd name="T49" fmla="*/ 2 h 1724"/>
                <a:gd name="T50" fmla="*/ 167 w 1725"/>
                <a:gd name="T51" fmla="*/ 17 h 1724"/>
                <a:gd name="T52" fmla="*/ 119 w 1725"/>
                <a:gd name="T53" fmla="*/ 47 h 1724"/>
                <a:gd name="T54" fmla="*/ 77 w 1725"/>
                <a:gd name="T55" fmla="*/ 90 h 1724"/>
                <a:gd name="T56" fmla="*/ 126 w 1725"/>
                <a:gd name="T57" fmla="*/ 118 h 1724"/>
                <a:gd name="T58" fmla="*/ 186 w 1725"/>
                <a:gd name="T59" fmla="*/ 187 h 1724"/>
                <a:gd name="T60" fmla="*/ 218 w 1725"/>
                <a:gd name="T61" fmla="*/ 170 h 1724"/>
                <a:gd name="T62" fmla="*/ 254 w 1725"/>
                <a:gd name="T63" fmla="*/ 167 h 1724"/>
                <a:gd name="T64" fmla="*/ 289 w 1725"/>
                <a:gd name="T65" fmla="*/ 178 h 1724"/>
                <a:gd name="T66" fmla="*/ 320 w 1725"/>
                <a:gd name="T67" fmla="*/ 205 h 1724"/>
                <a:gd name="T68" fmla="*/ 344 w 1725"/>
                <a:gd name="T69" fmla="*/ 241 h 1724"/>
                <a:gd name="T70" fmla="*/ 358 w 1725"/>
                <a:gd name="T71" fmla="*/ 285 h 1724"/>
                <a:gd name="T72" fmla="*/ 363 w 1725"/>
                <a:gd name="T73" fmla="*/ 334 h 1724"/>
                <a:gd name="T74" fmla="*/ 358 w 1725"/>
                <a:gd name="T75" fmla="*/ 384 h 1724"/>
                <a:gd name="T76" fmla="*/ 341 w 1725"/>
                <a:gd name="T77" fmla="*/ 429 h 1724"/>
                <a:gd name="T78" fmla="*/ 317 w 1725"/>
                <a:gd name="T79" fmla="*/ 465 h 1724"/>
                <a:gd name="T80" fmla="*/ 285 w 1725"/>
                <a:gd name="T81" fmla="*/ 491 h 1724"/>
                <a:gd name="T82" fmla="*/ 248 w 1725"/>
                <a:gd name="T83" fmla="*/ 500 h 1724"/>
                <a:gd name="T84" fmla="*/ 212 w 1725"/>
                <a:gd name="T85" fmla="*/ 495 h 1724"/>
                <a:gd name="T86" fmla="*/ 178 w 1725"/>
                <a:gd name="T87" fmla="*/ 476 h 1724"/>
                <a:gd name="T88" fmla="*/ 151 w 1725"/>
                <a:gd name="T89" fmla="*/ 443 h 1724"/>
                <a:gd name="T90" fmla="*/ 131 w 1725"/>
                <a:gd name="T91" fmla="*/ 399 h 1724"/>
                <a:gd name="T92" fmla="*/ 122 w 1725"/>
                <a:gd name="T93" fmla="*/ 350 h 1724"/>
                <a:gd name="T94" fmla="*/ 124 w 1725"/>
                <a:gd name="T95" fmla="*/ 302 h 1724"/>
                <a:gd name="T96" fmla="*/ 135 w 1725"/>
                <a:gd name="T97" fmla="*/ 256 h 1724"/>
                <a:gd name="T98" fmla="*/ 157 w 1725"/>
                <a:gd name="T99" fmla="*/ 217 h 1724"/>
                <a:gd name="T100" fmla="*/ 80 w 1725"/>
                <a:gd name="T101" fmla="*/ 136 h 1724"/>
                <a:gd name="T102" fmla="*/ 30 w 1725"/>
                <a:gd name="T103" fmla="*/ 174 h 172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5"/>
                <a:gd name="T157" fmla="*/ 0 h 1724"/>
                <a:gd name="T158" fmla="*/ 1725 w 1725"/>
                <a:gd name="T159" fmla="*/ 1724 h 172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5" h="1724">
                  <a:moveTo>
                    <a:pt x="106" y="450"/>
                  </a:moveTo>
                  <a:lnTo>
                    <a:pt x="78" y="504"/>
                  </a:lnTo>
                  <a:lnTo>
                    <a:pt x="54" y="561"/>
                  </a:lnTo>
                  <a:lnTo>
                    <a:pt x="35" y="619"/>
                  </a:lnTo>
                  <a:lnTo>
                    <a:pt x="19" y="678"/>
                  </a:lnTo>
                  <a:lnTo>
                    <a:pt x="9" y="739"/>
                  </a:lnTo>
                  <a:lnTo>
                    <a:pt x="2" y="800"/>
                  </a:lnTo>
                  <a:lnTo>
                    <a:pt x="0" y="861"/>
                  </a:lnTo>
                  <a:lnTo>
                    <a:pt x="2" y="923"/>
                  </a:lnTo>
                  <a:lnTo>
                    <a:pt x="9" y="984"/>
                  </a:lnTo>
                  <a:lnTo>
                    <a:pt x="21" y="1045"/>
                  </a:lnTo>
                  <a:lnTo>
                    <a:pt x="35" y="1105"/>
                  </a:lnTo>
                  <a:lnTo>
                    <a:pt x="55" y="1162"/>
                  </a:lnTo>
                  <a:lnTo>
                    <a:pt x="78" y="1220"/>
                  </a:lnTo>
                  <a:lnTo>
                    <a:pt x="106" y="1275"/>
                  </a:lnTo>
                  <a:lnTo>
                    <a:pt x="137" y="1328"/>
                  </a:lnTo>
                  <a:lnTo>
                    <a:pt x="172" y="1378"/>
                  </a:lnTo>
                  <a:lnTo>
                    <a:pt x="211" y="1426"/>
                  </a:lnTo>
                  <a:lnTo>
                    <a:pt x="253" y="1471"/>
                  </a:lnTo>
                  <a:lnTo>
                    <a:pt x="298" y="1513"/>
                  </a:lnTo>
                  <a:lnTo>
                    <a:pt x="346" y="1552"/>
                  </a:lnTo>
                  <a:lnTo>
                    <a:pt x="396" y="1586"/>
                  </a:lnTo>
                  <a:lnTo>
                    <a:pt x="449" y="1618"/>
                  </a:lnTo>
                  <a:lnTo>
                    <a:pt x="504" y="1646"/>
                  </a:lnTo>
                  <a:lnTo>
                    <a:pt x="561" y="1669"/>
                  </a:lnTo>
                  <a:lnTo>
                    <a:pt x="619" y="1689"/>
                  </a:lnTo>
                  <a:lnTo>
                    <a:pt x="679" y="1703"/>
                  </a:lnTo>
                  <a:lnTo>
                    <a:pt x="740" y="1715"/>
                  </a:lnTo>
                  <a:lnTo>
                    <a:pt x="801" y="1721"/>
                  </a:lnTo>
                  <a:lnTo>
                    <a:pt x="862" y="1723"/>
                  </a:lnTo>
                  <a:lnTo>
                    <a:pt x="924" y="1721"/>
                  </a:lnTo>
                  <a:lnTo>
                    <a:pt x="985" y="1715"/>
                  </a:lnTo>
                  <a:lnTo>
                    <a:pt x="1046" y="1703"/>
                  </a:lnTo>
                  <a:lnTo>
                    <a:pt x="1105" y="1689"/>
                  </a:lnTo>
                  <a:lnTo>
                    <a:pt x="1163" y="1669"/>
                  </a:lnTo>
                  <a:lnTo>
                    <a:pt x="1220" y="1646"/>
                  </a:lnTo>
                  <a:lnTo>
                    <a:pt x="1276" y="1618"/>
                  </a:lnTo>
                  <a:lnTo>
                    <a:pt x="1329" y="1586"/>
                  </a:lnTo>
                  <a:lnTo>
                    <a:pt x="1379" y="1552"/>
                  </a:lnTo>
                  <a:lnTo>
                    <a:pt x="1427" y="1513"/>
                  </a:lnTo>
                  <a:lnTo>
                    <a:pt x="1472" y="1471"/>
                  </a:lnTo>
                  <a:lnTo>
                    <a:pt x="1514" y="1426"/>
                  </a:lnTo>
                  <a:lnTo>
                    <a:pt x="1553" y="1378"/>
                  </a:lnTo>
                  <a:lnTo>
                    <a:pt x="1587" y="1328"/>
                  </a:lnTo>
                  <a:lnTo>
                    <a:pt x="1619" y="1275"/>
                  </a:lnTo>
                  <a:lnTo>
                    <a:pt x="1647" y="1220"/>
                  </a:lnTo>
                  <a:lnTo>
                    <a:pt x="1670" y="1162"/>
                  </a:lnTo>
                  <a:lnTo>
                    <a:pt x="1689" y="1105"/>
                  </a:lnTo>
                  <a:lnTo>
                    <a:pt x="1704" y="1045"/>
                  </a:lnTo>
                  <a:lnTo>
                    <a:pt x="1716" y="984"/>
                  </a:lnTo>
                  <a:lnTo>
                    <a:pt x="1722" y="923"/>
                  </a:lnTo>
                  <a:lnTo>
                    <a:pt x="1724" y="861"/>
                  </a:lnTo>
                  <a:lnTo>
                    <a:pt x="1722" y="799"/>
                  </a:lnTo>
                  <a:lnTo>
                    <a:pt x="1715" y="737"/>
                  </a:lnTo>
                  <a:lnTo>
                    <a:pt x="1704" y="675"/>
                  </a:lnTo>
                  <a:lnTo>
                    <a:pt x="1688" y="615"/>
                  </a:lnTo>
                  <a:lnTo>
                    <a:pt x="1668" y="555"/>
                  </a:lnTo>
                  <a:lnTo>
                    <a:pt x="1643" y="498"/>
                  </a:lnTo>
                  <a:lnTo>
                    <a:pt x="1616" y="442"/>
                  </a:lnTo>
                  <a:lnTo>
                    <a:pt x="1583" y="389"/>
                  </a:lnTo>
                  <a:lnTo>
                    <a:pt x="1547" y="337"/>
                  </a:lnTo>
                  <a:lnTo>
                    <a:pt x="1507" y="289"/>
                  </a:lnTo>
                  <a:lnTo>
                    <a:pt x="1464" y="244"/>
                  </a:lnTo>
                  <a:lnTo>
                    <a:pt x="1417" y="201"/>
                  </a:lnTo>
                  <a:lnTo>
                    <a:pt x="1367" y="163"/>
                  </a:lnTo>
                  <a:lnTo>
                    <a:pt x="1316" y="129"/>
                  </a:lnTo>
                  <a:lnTo>
                    <a:pt x="1262" y="98"/>
                  </a:lnTo>
                  <a:lnTo>
                    <a:pt x="1205" y="70"/>
                  </a:lnTo>
                  <a:lnTo>
                    <a:pt x="1147" y="47"/>
                  </a:lnTo>
                  <a:lnTo>
                    <a:pt x="1087" y="29"/>
                  </a:lnTo>
                  <a:lnTo>
                    <a:pt x="1026" y="15"/>
                  </a:lnTo>
                  <a:lnTo>
                    <a:pt x="964" y="6"/>
                  </a:lnTo>
                  <a:lnTo>
                    <a:pt x="902" y="0"/>
                  </a:lnTo>
                  <a:lnTo>
                    <a:pt x="839" y="0"/>
                  </a:lnTo>
                  <a:lnTo>
                    <a:pt x="777" y="4"/>
                  </a:lnTo>
                  <a:lnTo>
                    <a:pt x="715" y="12"/>
                  </a:lnTo>
                  <a:lnTo>
                    <a:pt x="654" y="26"/>
                  </a:lnTo>
                  <a:lnTo>
                    <a:pt x="594" y="43"/>
                  </a:lnTo>
                  <a:lnTo>
                    <a:pt x="534" y="64"/>
                  </a:lnTo>
                  <a:lnTo>
                    <a:pt x="478" y="90"/>
                  </a:lnTo>
                  <a:lnTo>
                    <a:pt x="423" y="120"/>
                  </a:lnTo>
                  <a:lnTo>
                    <a:pt x="370" y="154"/>
                  </a:lnTo>
                  <a:lnTo>
                    <a:pt x="321" y="191"/>
                  </a:lnTo>
                  <a:lnTo>
                    <a:pt x="273" y="232"/>
                  </a:lnTo>
                  <a:lnTo>
                    <a:pt x="229" y="277"/>
                  </a:lnTo>
                  <a:lnTo>
                    <a:pt x="188" y="324"/>
                  </a:lnTo>
                  <a:lnTo>
                    <a:pt x="447" y="304"/>
                  </a:lnTo>
                  <a:lnTo>
                    <a:pt x="591" y="532"/>
                  </a:lnTo>
                  <a:lnTo>
                    <a:pt x="624" y="507"/>
                  </a:lnTo>
                  <a:lnTo>
                    <a:pt x="660" y="484"/>
                  </a:lnTo>
                  <a:lnTo>
                    <a:pt x="697" y="466"/>
                  </a:lnTo>
                  <a:lnTo>
                    <a:pt x="738" y="451"/>
                  </a:lnTo>
                  <a:lnTo>
                    <a:pt x="778" y="440"/>
                  </a:lnTo>
                  <a:lnTo>
                    <a:pt x="821" y="433"/>
                  </a:lnTo>
                  <a:lnTo>
                    <a:pt x="863" y="431"/>
                  </a:lnTo>
                  <a:lnTo>
                    <a:pt x="904" y="432"/>
                  </a:lnTo>
                  <a:lnTo>
                    <a:pt x="947" y="438"/>
                  </a:lnTo>
                  <a:lnTo>
                    <a:pt x="988" y="448"/>
                  </a:lnTo>
                  <a:lnTo>
                    <a:pt x="1027" y="462"/>
                  </a:lnTo>
                  <a:lnTo>
                    <a:pt x="1066" y="481"/>
                  </a:lnTo>
                  <a:lnTo>
                    <a:pt x="1103" y="502"/>
                  </a:lnTo>
                  <a:lnTo>
                    <a:pt x="1137" y="528"/>
                  </a:lnTo>
                  <a:lnTo>
                    <a:pt x="1169" y="555"/>
                  </a:lnTo>
                  <a:lnTo>
                    <a:pt x="1196" y="587"/>
                  </a:lnTo>
                  <a:lnTo>
                    <a:pt x="1222" y="621"/>
                  </a:lnTo>
                  <a:lnTo>
                    <a:pt x="1243" y="658"/>
                  </a:lnTo>
                  <a:lnTo>
                    <a:pt x="1262" y="696"/>
                  </a:lnTo>
                  <a:lnTo>
                    <a:pt x="1276" y="736"/>
                  </a:lnTo>
                  <a:lnTo>
                    <a:pt x="1286" y="777"/>
                  </a:lnTo>
                  <a:lnTo>
                    <a:pt x="1292" y="820"/>
                  </a:lnTo>
                  <a:lnTo>
                    <a:pt x="1293" y="861"/>
                  </a:lnTo>
                  <a:lnTo>
                    <a:pt x="1291" y="905"/>
                  </a:lnTo>
                  <a:lnTo>
                    <a:pt x="1285" y="948"/>
                  </a:lnTo>
                  <a:lnTo>
                    <a:pt x="1273" y="991"/>
                  </a:lnTo>
                  <a:lnTo>
                    <a:pt x="1258" y="1031"/>
                  </a:lnTo>
                  <a:lnTo>
                    <a:pt x="1239" y="1070"/>
                  </a:lnTo>
                  <a:lnTo>
                    <a:pt x="1216" y="1108"/>
                  </a:lnTo>
                  <a:lnTo>
                    <a:pt x="1189" y="1143"/>
                  </a:lnTo>
                  <a:lnTo>
                    <a:pt x="1160" y="1174"/>
                  </a:lnTo>
                  <a:lnTo>
                    <a:pt x="1126" y="1202"/>
                  </a:lnTo>
                  <a:lnTo>
                    <a:pt x="1091" y="1228"/>
                  </a:lnTo>
                  <a:lnTo>
                    <a:pt x="1053" y="1248"/>
                  </a:lnTo>
                  <a:lnTo>
                    <a:pt x="1012" y="1266"/>
                  </a:lnTo>
                  <a:lnTo>
                    <a:pt x="970" y="1278"/>
                  </a:lnTo>
                  <a:lnTo>
                    <a:pt x="927" y="1287"/>
                  </a:lnTo>
                  <a:lnTo>
                    <a:pt x="884" y="1292"/>
                  </a:lnTo>
                  <a:lnTo>
                    <a:pt x="840" y="1292"/>
                  </a:lnTo>
                  <a:lnTo>
                    <a:pt x="797" y="1287"/>
                  </a:lnTo>
                  <a:lnTo>
                    <a:pt x="754" y="1278"/>
                  </a:lnTo>
                  <a:lnTo>
                    <a:pt x="712" y="1266"/>
                  </a:lnTo>
                  <a:lnTo>
                    <a:pt x="672" y="1248"/>
                  </a:lnTo>
                  <a:lnTo>
                    <a:pt x="634" y="1228"/>
                  </a:lnTo>
                  <a:lnTo>
                    <a:pt x="599" y="1202"/>
                  </a:lnTo>
                  <a:lnTo>
                    <a:pt x="565" y="1174"/>
                  </a:lnTo>
                  <a:lnTo>
                    <a:pt x="535" y="1143"/>
                  </a:lnTo>
                  <a:lnTo>
                    <a:pt x="509" y="1108"/>
                  </a:lnTo>
                  <a:lnTo>
                    <a:pt x="485" y="1070"/>
                  </a:lnTo>
                  <a:lnTo>
                    <a:pt x="466" y="1031"/>
                  </a:lnTo>
                  <a:lnTo>
                    <a:pt x="452" y="991"/>
                  </a:lnTo>
                  <a:lnTo>
                    <a:pt x="440" y="948"/>
                  </a:lnTo>
                  <a:lnTo>
                    <a:pt x="433" y="905"/>
                  </a:lnTo>
                  <a:lnTo>
                    <a:pt x="431" y="861"/>
                  </a:lnTo>
                  <a:lnTo>
                    <a:pt x="435" y="820"/>
                  </a:lnTo>
                  <a:lnTo>
                    <a:pt x="442" y="779"/>
                  </a:lnTo>
                  <a:lnTo>
                    <a:pt x="452" y="739"/>
                  </a:lnTo>
                  <a:lnTo>
                    <a:pt x="465" y="699"/>
                  </a:lnTo>
                  <a:lnTo>
                    <a:pt x="481" y="661"/>
                  </a:lnTo>
                  <a:lnTo>
                    <a:pt x="501" y="624"/>
                  </a:lnTo>
                  <a:lnTo>
                    <a:pt x="623" y="670"/>
                  </a:lnTo>
                  <a:lnTo>
                    <a:pt x="560" y="559"/>
                  </a:lnTo>
                  <a:lnTo>
                    <a:pt x="494" y="447"/>
                  </a:lnTo>
                  <a:lnTo>
                    <a:pt x="426" y="339"/>
                  </a:lnTo>
                  <a:lnTo>
                    <a:pt x="285" y="350"/>
                  </a:lnTo>
                  <a:lnTo>
                    <a:pt x="146" y="365"/>
                  </a:lnTo>
                  <a:lnTo>
                    <a:pt x="6" y="382"/>
                  </a:lnTo>
                  <a:lnTo>
                    <a:pt x="106" y="450"/>
                  </a:lnTo>
                </a:path>
              </a:pathLst>
            </a:custGeom>
            <a:solidFill>
              <a:srgbClr val="81BC00"/>
            </a:solidFill>
            <a:ln w="12700" cap="rnd">
              <a:solidFill>
                <a:schemeClr val="bg1"/>
              </a:solidFill>
              <a:round/>
              <a:headEnd/>
              <a:tailEnd/>
            </a:ln>
          </p:spPr>
          <p:txBody>
            <a:bodyPr/>
            <a:lstStyle/>
            <a:p>
              <a:pPr defTabSz="685800">
                <a:buClrTx/>
              </a:pPr>
              <a:endParaRPr lang="en-US" sz="1050" kern="1200">
                <a:solidFill>
                  <a:prstClr val="white"/>
                </a:solidFill>
                <a:ea typeface="+mn-ea"/>
                <a:cs typeface="+mn-cs"/>
              </a:endParaRPr>
            </a:p>
          </p:txBody>
        </p:sp>
        <p:sp>
          <p:nvSpPr>
            <p:cNvPr id="76" name="Rectangle 5"/>
            <p:cNvSpPr>
              <a:spLocks noChangeArrowheads="1"/>
            </p:cNvSpPr>
            <p:nvPr/>
          </p:nvSpPr>
          <p:spPr bwMode="auto">
            <a:xfrm>
              <a:off x="553" y="1319"/>
              <a:ext cx="203" cy="129"/>
            </a:xfrm>
            <a:prstGeom prst="rect">
              <a:avLst/>
            </a:prstGeom>
            <a:solidFill>
              <a:srgbClr val="81BC00"/>
            </a:solid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dirty="0">
                  <a:solidFill>
                    <a:prstClr val="white"/>
                  </a:solidFill>
                  <a:ea typeface="+mn-ea"/>
                  <a:cs typeface="+mn-cs"/>
                </a:rPr>
                <a:t>Text</a:t>
              </a:r>
            </a:p>
          </p:txBody>
        </p:sp>
        <p:sp>
          <p:nvSpPr>
            <p:cNvPr id="77" name="Rectangle 6"/>
            <p:cNvSpPr>
              <a:spLocks noChangeArrowheads="1"/>
            </p:cNvSpPr>
            <p:nvPr/>
          </p:nvSpPr>
          <p:spPr bwMode="auto">
            <a:xfrm>
              <a:off x="1017" y="871"/>
              <a:ext cx="203" cy="129"/>
            </a:xfrm>
            <a:prstGeom prst="rect">
              <a:avLst/>
            </a:prstGeom>
            <a:solidFill>
              <a:srgbClr val="81BC00"/>
            </a:solid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dirty="0">
                  <a:solidFill>
                    <a:prstClr val="white"/>
                  </a:solidFill>
                  <a:ea typeface="+mn-ea"/>
                  <a:cs typeface="+mn-cs"/>
                </a:rPr>
                <a:t>Text</a:t>
              </a:r>
            </a:p>
          </p:txBody>
        </p:sp>
        <p:sp>
          <p:nvSpPr>
            <p:cNvPr id="78" name="Rectangle 7"/>
            <p:cNvSpPr>
              <a:spLocks noChangeArrowheads="1"/>
            </p:cNvSpPr>
            <p:nvPr/>
          </p:nvSpPr>
          <p:spPr bwMode="auto">
            <a:xfrm>
              <a:off x="1017" y="1888"/>
              <a:ext cx="203" cy="129"/>
            </a:xfrm>
            <a:prstGeom prst="rect">
              <a:avLst/>
            </a:prstGeom>
            <a:solidFill>
              <a:srgbClr val="81BC00"/>
            </a:solid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a:solidFill>
                    <a:prstClr val="white"/>
                  </a:solidFill>
                  <a:ea typeface="+mn-ea"/>
                  <a:cs typeface="+mn-cs"/>
                </a:rPr>
                <a:t>Text</a:t>
              </a:r>
              <a:endParaRPr lang="en-US" sz="1050" kern="1200" dirty="0">
                <a:solidFill>
                  <a:prstClr val="white"/>
                </a:solidFill>
                <a:ea typeface="+mn-ea"/>
                <a:cs typeface="+mn-cs"/>
              </a:endParaRPr>
            </a:p>
          </p:txBody>
        </p:sp>
      </p:grpSp>
      <p:grpSp>
        <p:nvGrpSpPr>
          <p:cNvPr id="99" name="Group 98"/>
          <p:cNvGrpSpPr/>
          <p:nvPr/>
        </p:nvGrpSpPr>
        <p:grpSpPr>
          <a:xfrm>
            <a:off x="5784056" y="1110853"/>
            <a:ext cx="1782366" cy="1663303"/>
            <a:chOff x="6188075" y="1481137"/>
            <a:chExt cx="2376488" cy="2217737"/>
          </a:xfrm>
        </p:grpSpPr>
        <p:sp>
          <p:nvSpPr>
            <p:cNvPr id="56" name="Freeform 12"/>
            <p:cNvSpPr>
              <a:spLocks/>
            </p:cNvSpPr>
            <p:nvPr/>
          </p:nvSpPr>
          <p:spPr bwMode="blackWhite">
            <a:xfrm>
              <a:off x="6365875" y="1481137"/>
              <a:ext cx="1976438" cy="939800"/>
            </a:xfrm>
            <a:custGeom>
              <a:avLst/>
              <a:gdLst>
                <a:gd name="T0" fmla="*/ 2147483647 w 1553"/>
                <a:gd name="T1" fmla="*/ 2147483647 h 753"/>
                <a:gd name="T2" fmla="*/ 2147483647 w 1553"/>
                <a:gd name="T3" fmla="*/ 2147483647 h 753"/>
                <a:gd name="T4" fmla="*/ 2147483647 w 1553"/>
                <a:gd name="T5" fmla="*/ 2147483647 h 753"/>
                <a:gd name="T6" fmla="*/ 2147483647 w 1553"/>
                <a:gd name="T7" fmla="*/ 2147483647 h 753"/>
                <a:gd name="T8" fmla="*/ 2147483647 w 1553"/>
                <a:gd name="T9" fmla="*/ 2147483647 h 753"/>
                <a:gd name="T10" fmla="*/ 2147483647 w 1553"/>
                <a:gd name="T11" fmla="*/ 2147483647 h 753"/>
                <a:gd name="T12" fmla="*/ 2147483647 w 1553"/>
                <a:gd name="T13" fmla="*/ 2147483647 h 753"/>
                <a:gd name="T14" fmla="*/ 2147483647 w 1553"/>
                <a:gd name="T15" fmla="*/ 2147483647 h 753"/>
                <a:gd name="T16" fmla="*/ 2147483647 w 1553"/>
                <a:gd name="T17" fmla="*/ 2147483647 h 753"/>
                <a:gd name="T18" fmla="*/ 2147483647 w 1553"/>
                <a:gd name="T19" fmla="*/ 2147483647 h 753"/>
                <a:gd name="T20" fmla="*/ 2147483647 w 1553"/>
                <a:gd name="T21" fmla="*/ 2147483647 h 753"/>
                <a:gd name="T22" fmla="*/ 2147483647 w 1553"/>
                <a:gd name="T23" fmla="*/ 2147483647 h 753"/>
                <a:gd name="T24" fmla="*/ 2147483647 w 1553"/>
                <a:gd name="T25" fmla="*/ 2147483647 h 753"/>
                <a:gd name="T26" fmla="*/ 2147483647 w 1553"/>
                <a:gd name="T27" fmla="*/ 0 h 753"/>
                <a:gd name="T28" fmla="*/ 2147483647 w 1553"/>
                <a:gd name="T29" fmla="*/ 2147483647 h 753"/>
                <a:gd name="T30" fmla="*/ 2147483647 w 1553"/>
                <a:gd name="T31" fmla="*/ 2147483647 h 753"/>
                <a:gd name="T32" fmla="*/ 2147483647 w 1553"/>
                <a:gd name="T33" fmla="*/ 2147483647 h 753"/>
                <a:gd name="T34" fmla="*/ 2147483647 w 1553"/>
                <a:gd name="T35" fmla="*/ 2147483647 h 753"/>
                <a:gd name="T36" fmla="*/ 2147483647 w 1553"/>
                <a:gd name="T37" fmla="*/ 2147483647 h 753"/>
                <a:gd name="T38" fmla="*/ 2147483647 w 1553"/>
                <a:gd name="T39" fmla="*/ 2147483647 h 753"/>
                <a:gd name="T40" fmla="*/ 2147483647 w 1553"/>
                <a:gd name="T41" fmla="*/ 2147483647 h 753"/>
                <a:gd name="T42" fmla="*/ 2147483647 w 1553"/>
                <a:gd name="T43" fmla="*/ 2147483647 h 753"/>
                <a:gd name="T44" fmla="*/ 2147483647 w 1553"/>
                <a:gd name="T45" fmla="*/ 2147483647 h 753"/>
                <a:gd name="T46" fmla="*/ 2147483647 w 1553"/>
                <a:gd name="T47" fmla="*/ 2147483647 h 753"/>
                <a:gd name="T48" fmla="*/ 2147483647 w 1553"/>
                <a:gd name="T49" fmla="*/ 2147483647 h 753"/>
                <a:gd name="T50" fmla="*/ 2147483647 w 1553"/>
                <a:gd name="T51" fmla="*/ 2147483647 h 753"/>
                <a:gd name="T52" fmla="*/ 2147483647 w 1553"/>
                <a:gd name="T53" fmla="*/ 2147483647 h 753"/>
                <a:gd name="T54" fmla="*/ 2147483647 w 1553"/>
                <a:gd name="T55" fmla="*/ 2147483647 h 753"/>
                <a:gd name="T56" fmla="*/ 2147483647 w 1553"/>
                <a:gd name="T57" fmla="*/ 2147483647 h 753"/>
                <a:gd name="T58" fmla="*/ 2147483647 w 1553"/>
                <a:gd name="T59" fmla="*/ 2147483647 h 753"/>
                <a:gd name="T60" fmla="*/ 2147483647 w 1553"/>
                <a:gd name="T61" fmla="*/ 2147483647 h 753"/>
                <a:gd name="T62" fmla="*/ 2147483647 w 1553"/>
                <a:gd name="T63" fmla="*/ 2147483647 h 753"/>
                <a:gd name="T64" fmla="*/ 2147483647 w 1553"/>
                <a:gd name="T65" fmla="*/ 2147483647 h 753"/>
                <a:gd name="T66" fmla="*/ 0 w 1553"/>
                <a:gd name="T67" fmla="*/ 2147483647 h 753"/>
                <a:gd name="T68" fmla="*/ 2147483647 w 1553"/>
                <a:gd name="T69" fmla="*/ 2147483647 h 753"/>
                <a:gd name="T70" fmla="*/ 2147483647 w 1553"/>
                <a:gd name="T71" fmla="*/ 2147483647 h 753"/>
                <a:gd name="T72" fmla="*/ 2147483647 w 1553"/>
                <a:gd name="T73" fmla="*/ 2147483647 h 753"/>
                <a:gd name="T74" fmla="*/ 2147483647 w 1553"/>
                <a:gd name="T75" fmla="*/ 2147483647 h 753"/>
                <a:gd name="T76" fmla="*/ 2147483647 w 1553"/>
                <a:gd name="T77" fmla="*/ 2147483647 h 753"/>
                <a:gd name="T78" fmla="*/ 2147483647 w 1553"/>
                <a:gd name="T79" fmla="*/ 2147483647 h 753"/>
                <a:gd name="T80" fmla="*/ 2147483647 w 1553"/>
                <a:gd name="T81" fmla="*/ 2147483647 h 753"/>
                <a:gd name="T82" fmla="*/ 2147483647 w 1553"/>
                <a:gd name="T83" fmla="*/ 2147483647 h 753"/>
                <a:gd name="T84" fmla="*/ 2147483647 w 1553"/>
                <a:gd name="T85" fmla="*/ 2147483647 h 753"/>
                <a:gd name="T86" fmla="*/ 2147483647 w 1553"/>
                <a:gd name="T87" fmla="*/ 2147483647 h 753"/>
                <a:gd name="T88" fmla="*/ 2147483647 w 1553"/>
                <a:gd name="T89" fmla="*/ 2147483647 h 753"/>
                <a:gd name="T90" fmla="*/ 2147483647 w 1553"/>
                <a:gd name="T91" fmla="*/ 2147483647 h 753"/>
                <a:gd name="T92" fmla="*/ 2147483647 w 1553"/>
                <a:gd name="T93" fmla="*/ 2147483647 h 753"/>
                <a:gd name="T94" fmla="*/ 2147483647 w 1553"/>
                <a:gd name="T95" fmla="*/ 2147483647 h 753"/>
                <a:gd name="T96" fmla="*/ 2147483647 w 1553"/>
                <a:gd name="T97" fmla="*/ 2147483647 h 753"/>
                <a:gd name="T98" fmla="*/ 2147483647 w 1553"/>
                <a:gd name="T99" fmla="*/ 2147483647 h 753"/>
                <a:gd name="T100" fmla="*/ 2147483647 w 1553"/>
                <a:gd name="T101" fmla="*/ 2147483647 h 753"/>
                <a:gd name="T102" fmla="*/ 2147483647 w 1553"/>
                <a:gd name="T103" fmla="*/ 2147483647 h 753"/>
                <a:gd name="T104" fmla="*/ 2147483647 w 1553"/>
                <a:gd name="T105" fmla="*/ 2147483647 h 753"/>
                <a:gd name="T106" fmla="*/ 2147483647 w 1553"/>
                <a:gd name="T107" fmla="*/ 2147483647 h 753"/>
                <a:gd name="T108" fmla="*/ 2147483647 w 1553"/>
                <a:gd name="T109" fmla="*/ 2147483647 h 7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53"/>
                <a:gd name="T166" fmla="*/ 0 h 753"/>
                <a:gd name="T167" fmla="*/ 1553 w 1553"/>
                <a:gd name="T168" fmla="*/ 753 h 7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53" h="753">
                  <a:moveTo>
                    <a:pt x="983" y="584"/>
                  </a:moveTo>
                  <a:lnTo>
                    <a:pt x="1417" y="541"/>
                  </a:lnTo>
                  <a:lnTo>
                    <a:pt x="1552" y="150"/>
                  </a:lnTo>
                  <a:lnTo>
                    <a:pt x="1447" y="227"/>
                  </a:lnTo>
                  <a:lnTo>
                    <a:pt x="1398" y="186"/>
                  </a:lnTo>
                  <a:lnTo>
                    <a:pt x="1347" y="149"/>
                  </a:lnTo>
                  <a:lnTo>
                    <a:pt x="1294" y="116"/>
                  </a:lnTo>
                  <a:lnTo>
                    <a:pt x="1238" y="87"/>
                  </a:lnTo>
                  <a:lnTo>
                    <a:pt x="1181" y="61"/>
                  </a:lnTo>
                  <a:lnTo>
                    <a:pt x="1122" y="41"/>
                  </a:lnTo>
                  <a:lnTo>
                    <a:pt x="1060" y="23"/>
                  </a:lnTo>
                  <a:lnTo>
                    <a:pt x="999" y="12"/>
                  </a:lnTo>
                  <a:lnTo>
                    <a:pt x="936" y="4"/>
                  </a:lnTo>
                  <a:lnTo>
                    <a:pt x="873" y="0"/>
                  </a:lnTo>
                  <a:lnTo>
                    <a:pt x="810" y="2"/>
                  </a:lnTo>
                  <a:lnTo>
                    <a:pt x="748" y="8"/>
                  </a:lnTo>
                  <a:lnTo>
                    <a:pt x="685" y="19"/>
                  </a:lnTo>
                  <a:lnTo>
                    <a:pt x="624" y="34"/>
                  </a:lnTo>
                  <a:lnTo>
                    <a:pt x="564" y="53"/>
                  </a:lnTo>
                  <a:lnTo>
                    <a:pt x="506" y="76"/>
                  </a:lnTo>
                  <a:lnTo>
                    <a:pt x="449" y="104"/>
                  </a:lnTo>
                  <a:lnTo>
                    <a:pt x="395" y="137"/>
                  </a:lnTo>
                  <a:lnTo>
                    <a:pt x="342" y="172"/>
                  </a:lnTo>
                  <a:lnTo>
                    <a:pt x="294" y="212"/>
                  </a:lnTo>
                  <a:lnTo>
                    <a:pt x="248" y="254"/>
                  </a:lnTo>
                  <a:lnTo>
                    <a:pt x="205" y="301"/>
                  </a:lnTo>
                  <a:lnTo>
                    <a:pt x="165" y="350"/>
                  </a:lnTo>
                  <a:lnTo>
                    <a:pt x="130" y="401"/>
                  </a:lnTo>
                  <a:lnTo>
                    <a:pt x="98" y="456"/>
                  </a:lnTo>
                  <a:lnTo>
                    <a:pt x="71" y="512"/>
                  </a:lnTo>
                  <a:lnTo>
                    <a:pt x="46" y="570"/>
                  </a:lnTo>
                  <a:lnTo>
                    <a:pt x="27" y="631"/>
                  </a:lnTo>
                  <a:lnTo>
                    <a:pt x="11" y="692"/>
                  </a:lnTo>
                  <a:lnTo>
                    <a:pt x="0" y="752"/>
                  </a:lnTo>
                  <a:lnTo>
                    <a:pt x="222" y="608"/>
                  </a:lnTo>
                  <a:lnTo>
                    <a:pt x="440" y="749"/>
                  </a:lnTo>
                  <a:lnTo>
                    <a:pt x="455" y="710"/>
                  </a:lnTo>
                  <a:lnTo>
                    <a:pt x="474" y="670"/>
                  </a:lnTo>
                  <a:lnTo>
                    <a:pt x="498" y="632"/>
                  </a:lnTo>
                  <a:lnTo>
                    <a:pt x="525" y="596"/>
                  </a:lnTo>
                  <a:lnTo>
                    <a:pt x="556" y="563"/>
                  </a:lnTo>
                  <a:lnTo>
                    <a:pt x="589" y="533"/>
                  </a:lnTo>
                  <a:lnTo>
                    <a:pt x="626" y="507"/>
                  </a:lnTo>
                  <a:lnTo>
                    <a:pt x="665" y="485"/>
                  </a:lnTo>
                  <a:lnTo>
                    <a:pt x="706" y="467"/>
                  </a:lnTo>
                  <a:lnTo>
                    <a:pt x="749" y="453"/>
                  </a:lnTo>
                  <a:lnTo>
                    <a:pt x="793" y="443"/>
                  </a:lnTo>
                  <a:lnTo>
                    <a:pt x="837" y="438"/>
                  </a:lnTo>
                  <a:lnTo>
                    <a:pt x="882" y="438"/>
                  </a:lnTo>
                  <a:lnTo>
                    <a:pt x="927" y="442"/>
                  </a:lnTo>
                  <a:lnTo>
                    <a:pt x="971" y="450"/>
                  </a:lnTo>
                  <a:lnTo>
                    <a:pt x="1014" y="464"/>
                  </a:lnTo>
                  <a:lnTo>
                    <a:pt x="1055" y="480"/>
                  </a:lnTo>
                  <a:lnTo>
                    <a:pt x="1095" y="502"/>
                  </a:lnTo>
                  <a:lnTo>
                    <a:pt x="983" y="584"/>
                  </a:lnTo>
                </a:path>
              </a:pathLst>
            </a:custGeom>
            <a:solidFill>
              <a:srgbClr val="B4B4B4"/>
            </a:solidFill>
            <a:ln w="12700" cap="rnd">
              <a:solidFill>
                <a:schemeClr val="bg1"/>
              </a:solidFill>
              <a:round/>
              <a:headEnd/>
              <a:tailEnd/>
            </a:ln>
          </p:spPr>
          <p:txBody>
            <a:bodyPr/>
            <a:lstStyle/>
            <a:p>
              <a:pPr defTabSz="685800">
                <a:buClrTx/>
              </a:pPr>
              <a:endParaRPr lang="en-US" sz="1050" kern="1200">
                <a:solidFill>
                  <a:prstClr val="white"/>
                </a:solidFill>
                <a:ea typeface="+mn-ea"/>
                <a:cs typeface="+mn-cs"/>
              </a:endParaRPr>
            </a:p>
          </p:txBody>
        </p:sp>
        <p:sp>
          <p:nvSpPr>
            <p:cNvPr id="57" name="Freeform 13"/>
            <p:cNvSpPr>
              <a:spLocks/>
            </p:cNvSpPr>
            <p:nvPr/>
          </p:nvSpPr>
          <p:spPr bwMode="blackWhite">
            <a:xfrm>
              <a:off x="6188075" y="2309812"/>
              <a:ext cx="1554163" cy="1336675"/>
            </a:xfrm>
            <a:custGeom>
              <a:avLst/>
              <a:gdLst>
                <a:gd name="T0" fmla="*/ 1552890 w 1221"/>
                <a:gd name="T1" fmla="*/ 1300481 h 1071"/>
                <a:gd name="T2" fmla="*/ 1275406 w 1221"/>
                <a:gd name="T3" fmla="*/ 1057109 h 1071"/>
                <a:gd name="T4" fmla="*/ 1375963 w 1221"/>
                <a:gd name="T5" fmla="*/ 786279 h 1071"/>
                <a:gd name="T6" fmla="*/ 1321230 w 1221"/>
                <a:gd name="T7" fmla="*/ 792520 h 1071"/>
                <a:gd name="T8" fmla="*/ 1265223 w 1221"/>
                <a:gd name="T9" fmla="*/ 793768 h 1071"/>
                <a:gd name="T10" fmla="*/ 1209218 w 1221"/>
                <a:gd name="T11" fmla="*/ 791272 h 1071"/>
                <a:gd name="T12" fmla="*/ 1153212 w 1221"/>
                <a:gd name="T13" fmla="*/ 781287 h 1071"/>
                <a:gd name="T14" fmla="*/ 1101024 w 1221"/>
                <a:gd name="T15" fmla="*/ 766310 h 1071"/>
                <a:gd name="T16" fmla="*/ 1047564 w 1221"/>
                <a:gd name="T17" fmla="*/ 747589 h 1071"/>
                <a:gd name="T18" fmla="*/ 997923 w 1221"/>
                <a:gd name="T19" fmla="*/ 722628 h 1071"/>
                <a:gd name="T20" fmla="*/ 950827 w 1221"/>
                <a:gd name="T21" fmla="*/ 693923 h 1071"/>
                <a:gd name="T22" fmla="*/ 907550 w 1221"/>
                <a:gd name="T23" fmla="*/ 658977 h 1071"/>
                <a:gd name="T24" fmla="*/ 868091 w 1221"/>
                <a:gd name="T25" fmla="*/ 619039 h 1071"/>
                <a:gd name="T26" fmla="*/ 831178 w 1221"/>
                <a:gd name="T27" fmla="*/ 577853 h 1071"/>
                <a:gd name="T28" fmla="*/ 800629 w 1221"/>
                <a:gd name="T29" fmla="*/ 532923 h 1071"/>
                <a:gd name="T30" fmla="*/ 775172 w 1221"/>
                <a:gd name="T31" fmla="*/ 486744 h 1071"/>
                <a:gd name="T32" fmla="*/ 756079 w 1221"/>
                <a:gd name="T33" fmla="*/ 439318 h 1071"/>
                <a:gd name="T34" fmla="*/ 739532 w 1221"/>
                <a:gd name="T35" fmla="*/ 391892 h 1071"/>
                <a:gd name="T36" fmla="*/ 729349 w 1221"/>
                <a:gd name="T37" fmla="*/ 340721 h 1071"/>
                <a:gd name="T38" fmla="*/ 722985 w 1221"/>
                <a:gd name="T39" fmla="*/ 289550 h 1071"/>
                <a:gd name="T40" fmla="*/ 906277 w 1221"/>
                <a:gd name="T41" fmla="*/ 289550 h 1071"/>
                <a:gd name="T42" fmla="*/ 468413 w 1221"/>
                <a:gd name="T43" fmla="*/ 0 h 1071"/>
                <a:gd name="T44" fmla="*/ 0 w 1221"/>
                <a:gd name="T45" fmla="*/ 293295 h 1071"/>
                <a:gd name="T46" fmla="*/ 170563 w 1221"/>
                <a:gd name="T47" fmla="*/ 292047 h 1071"/>
                <a:gd name="T48" fmla="*/ 176928 w 1221"/>
                <a:gd name="T49" fmla="*/ 369427 h 1071"/>
                <a:gd name="T50" fmla="*/ 188383 w 1221"/>
                <a:gd name="T51" fmla="*/ 446806 h 1071"/>
                <a:gd name="T52" fmla="*/ 204931 w 1221"/>
                <a:gd name="T53" fmla="*/ 522938 h 1071"/>
                <a:gd name="T54" fmla="*/ 226569 w 1221"/>
                <a:gd name="T55" fmla="*/ 597822 h 1071"/>
                <a:gd name="T56" fmla="*/ 254572 w 1221"/>
                <a:gd name="T57" fmla="*/ 671458 h 1071"/>
                <a:gd name="T58" fmla="*/ 288939 w 1221"/>
                <a:gd name="T59" fmla="*/ 742597 h 1071"/>
                <a:gd name="T60" fmla="*/ 327125 w 1221"/>
                <a:gd name="T61" fmla="*/ 811241 h 1071"/>
                <a:gd name="T62" fmla="*/ 370402 w 1221"/>
                <a:gd name="T63" fmla="*/ 876140 h 1071"/>
                <a:gd name="T64" fmla="*/ 417498 w 1221"/>
                <a:gd name="T65" fmla="*/ 937295 h 1071"/>
                <a:gd name="T66" fmla="*/ 469686 w 1221"/>
                <a:gd name="T67" fmla="*/ 994706 h 1071"/>
                <a:gd name="T68" fmla="*/ 525691 w 1221"/>
                <a:gd name="T69" fmla="*/ 1049620 h 1071"/>
                <a:gd name="T70" fmla="*/ 584243 w 1221"/>
                <a:gd name="T71" fmla="*/ 1100791 h 1071"/>
                <a:gd name="T72" fmla="*/ 647886 w 1221"/>
                <a:gd name="T73" fmla="*/ 1146969 h 1071"/>
                <a:gd name="T74" fmla="*/ 715348 w 1221"/>
                <a:gd name="T75" fmla="*/ 1186907 h 1071"/>
                <a:gd name="T76" fmla="*/ 785355 w 1221"/>
                <a:gd name="T77" fmla="*/ 1224349 h 1071"/>
                <a:gd name="T78" fmla="*/ 856635 w 1221"/>
                <a:gd name="T79" fmla="*/ 1256799 h 1071"/>
                <a:gd name="T80" fmla="*/ 931734 w 1221"/>
                <a:gd name="T81" fmla="*/ 1281760 h 1071"/>
                <a:gd name="T82" fmla="*/ 1006833 w 1221"/>
                <a:gd name="T83" fmla="*/ 1304225 h 1071"/>
                <a:gd name="T84" fmla="*/ 1084477 w 1221"/>
                <a:gd name="T85" fmla="*/ 1319202 h 1071"/>
                <a:gd name="T86" fmla="*/ 1162122 w 1221"/>
                <a:gd name="T87" fmla="*/ 1331683 h 1071"/>
                <a:gd name="T88" fmla="*/ 1241039 w 1221"/>
                <a:gd name="T89" fmla="*/ 1335427 h 1071"/>
                <a:gd name="T90" fmla="*/ 1319957 w 1221"/>
                <a:gd name="T91" fmla="*/ 1335427 h 1071"/>
                <a:gd name="T92" fmla="*/ 1397601 w 1221"/>
                <a:gd name="T93" fmla="*/ 1330435 h 1071"/>
                <a:gd name="T94" fmla="*/ 1476519 w 1221"/>
                <a:gd name="T95" fmla="*/ 1317954 h 1071"/>
                <a:gd name="T96" fmla="*/ 1552890 w 1221"/>
                <a:gd name="T97" fmla="*/ 1300481 h 10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21"/>
                <a:gd name="T148" fmla="*/ 0 h 1071"/>
                <a:gd name="T149" fmla="*/ 1221 w 1221"/>
                <a:gd name="T150" fmla="*/ 1071 h 107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21" h="1071">
                  <a:moveTo>
                    <a:pt x="1220" y="1042"/>
                  </a:moveTo>
                  <a:lnTo>
                    <a:pt x="1002" y="847"/>
                  </a:lnTo>
                  <a:lnTo>
                    <a:pt x="1081" y="630"/>
                  </a:lnTo>
                  <a:lnTo>
                    <a:pt x="1038" y="635"/>
                  </a:lnTo>
                  <a:lnTo>
                    <a:pt x="994" y="636"/>
                  </a:lnTo>
                  <a:lnTo>
                    <a:pt x="950" y="634"/>
                  </a:lnTo>
                  <a:lnTo>
                    <a:pt x="906" y="626"/>
                  </a:lnTo>
                  <a:lnTo>
                    <a:pt x="865" y="614"/>
                  </a:lnTo>
                  <a:lnTo>
                    <a:pt x="823" y="599"/>
                  </a:lnTo>
                  <a:lnTo>
                    <a:pt x="784" y="579"/>
                  </a:lnTo>
                  <a:lnTo>
                    <a:pt x="747" y="556"/>
                  </a:lnTo>
                  <a:lnTo>
                    <a:pt x="713" y="528"/>
                  </a:lnTo>
                  <a:lnTo>
                    <a:pt x="682" y="496"/>
                  </a:lnTo>
                  <a:lnTo>
                    <a:pt x="653" y="463"/>
                  </a:lnTo>
                  <a:lnTo>
                    <a:pt x="629" y="427"/>
                  </a:lnTo>
                  <a:lnTo>
                    <a:pt x="609" y="390"/>
                  </a:lnTo>
                  <a:lnTo>
                    <a:pt x="594" y="352"/>
                  </a:lnTo>
                  <a:lnTo>
                    <a:pt x="581" y="314"/>
                  </a:lnTo>
                  <a:lnTo>
                    <a:pt x="573" y="273"/>
                  </a:lnTo>
                  <a:lnTo>
                    <a:pt x="568" y="232"/>
                  </a:lnTo>
                  <a:lnTo>
                    <a:pt x="712" y="232"/>
                  </a:lnTo>
                  <a:lnTo>
                    <a:pt x="368" y="0"/>
                  </a:lnTo>
                  <a:lnTo>
                    <a:pt x="0" y="235"/>
                  </a:lnTo>
                  <a:lnTo>
                    <a:pt x="134" y="234"/>
                  </a:lnTo>
                  <a:lnTo>
                    <a:pt x="139" y="296"/>
                  </a:lnTo>
                  <a:lnTo>
                    <a:pt x="148" y="358"/>
                  </a:lnTo>
                  <a:lnTo>
                    <a:pt x="161" y="419"/>
                  </a:lnTo>
                  <a:lnTo>
                    <a:pt x="178" y="479"/>
                  </a:lnTo>
                  <a:lnTo>
                    <a:pt x="200" y="538"/>
                  </a:lnTo>
                  <a:lnTo>
                    <a:pt x="227" y="595"/>
                  </a:lnTo>
                  <a:lnTo>
                    <a:pt x="257" y="650"/>
                  </a:lnTo>
                  <a:lnTo>
                    <a:pt x="291" y="702"/>
                  </a:lnTo>
                  <a:lnTo>
                    <a:pt x="328" y="751"/>
                  </a:lnTo>
                  <a:lnTo>
                    <a:pt x="369" y="797"/>
                  </a:lnTo>
                  <a:lnTo>
                    <a:pt x="413" y="841"/>
                  </a:lnTo>
                  <a:lnTo>
                    <a:pt x="459" y="882"/>
                  </a:lnTo>
                  <a:lnTo>
                    <a:pt x="509" y="919"/>
                  </a:lnTo>
                  <a:lnTo>
                    <a:pt x="562" y="951"/>
                  </a:lnTo>
                  <a:lnTo>
                    <a:pt x="617" y="981"/>
                  </a:lnTo>
                  <a:lnTo>
                    <a:pt x="673" y="1007"/>
                  </a:lnTo>
                  <a:lnTo>
                    <a:pt x="732" y="1027"/>
                  </a:lnTo>
                  <a:lnTo>
                    <a:pt x="791" y="1045"/>
                  </a:lnTo>
                  <a:lnTo>
                    <a:pt x="852" y="1057"/>
                  </a:lnTo>
                  <a:lnTo>
                    <a:pt x="913" y="1067"/>
                  </a:lnTo>
                  <a:lnTo>
                    <a:pt x="975" y="1070"/>
                  </a:lnTo>
                  <a:lnTo>
                    <a:pt x="1037" y="1070"/>
                  </a:lnTo>
                  <a:lnTo>
                    <a:pt x="1098" y="1066"/>
                  </a:lnTo>
                  <a:lnTo>
                    <a:pt x="1160" y="1056"/>
                  </a:lnTo>
                  <a:lnTo>
                    <a:pt x="1220" y="1042"/>
                  </a:lnTo>
                </a:path>
              </a:pathLst>
            </a:custGeom>
            <a:solidFill>
              <a:srgbClr val="DCDCDC"/>
            </a:solidFill>
            <a:ln w="12700" cap="rnd">
              <a:solidFill>
                <a:schemeClr val="bg1"/>
              </a:solidFill>
              <a:round/>
              <a:headEnd/>
              <a:tailEnd/>
            </a:ln>
          </p:spPr>
          <p:txBody>
            <a:bodyPr/>
            <a:lstStyle/>
            <a:p>
              <a:pPr defTabSz="685800">
                <a:buClrTx/>
                <a:defRPr/>
              </a:pPr>
              <a:endParaRPr lang="en-US" sz="1050" kern="1200">
                <a:solidFill>
                  <a:prstClr val="white"/>
                </a:solidFill>
                <a:ea typeface="+mn-ea"/>
                <a:cs typeface="+mn-cs"/>
              </a:endParaRPr>
            </a:p>
          </p:txBody>
        </p:sp>
        <p:sp>
          <p:nvSpPr>
            <p:cNvPr id="58" name="Freeform 14"/>
            <p:cNvSpPr>
              <a:spLocks/>
            </p:cNvSpPr>
            <p:nvPr/>
          </p:nvSpPr>
          <p:spPr bwMode="blackWhite">
            <a:xfrm>
              <a:off x="7554913" y="1901824"/>
              <a:ext cx="1009650" cy="1797050"/>
            </a:xfrm>
            <a:custGeom>
              <a:avLst/>
              <a:gdLst>
                <a:gd name="T0" fmla="*/ 2147483647 w 793"/>
                <a:gd name="T1" fmla="*/ 2147483647 h 1440"/>
                <a:gd name="T2" fmla="*/ 2147483647 w 793"/>
                <a:gd name="T3" fmla="*/ 2147483647 h 1440"/>
                <a:gd name="T4" fmla="*/ 2147483647 w 793"/>
                <a:gd name="T5" fmla="*/ 2147483647 h 1440"/>
                <a:gd name="T6" fmla="*/ 2147483647 w 793"/>
                <a:gd name="T7" fmla="*/ 2147483647 h 1440"/>
                <a:gd name="T8" fmla="*/ 2147483647 w 793"/>
                <a:gd name="T9" fmla="*/ 2147483647 h 1440"/>
                <a:gd name="T10" fmla="*/ 2147483647 w 793"/>
                <a:gd name="T11" fmla="*/ 2147483647 h 1440"/>
                <a:gd name="T12" fmla="*/ 2147483647 w 793"/>
                <a:gd name="T13" fmla="*/ 2147483647 h 1440"/>
                <a:gd name="T14" fmla="*/ 2147483647 w 793"/>
                <a:gd name="T15" fmla="*/ 2147483647 h 1440"/>
                <a:gd name="T16" fmla="*/ 2147483647 w 793"/>
                <a:gd name="T17" fmla="*/ 2147483647 h 1440"/>
                <a:gd name="T18" fmla="*/ 2147483647 w 793"/>
                <a:gd name="T19" fmla="*/ 2147483647 h 1440"/>
                <a:gd name="T20" fmla="*/ 2147483647 w 793"/>
                <a:gd name="T21" fmla="*/ 2147483647 h 1440"/>
                <a:gd name="T22" fmla="*/ 2147483647 w 793"/>
                <a:gd name="T23" fmla="*/ 2147483647 h 1440"/>
                <a:gd name="T24" fmla="*/ 2147483647 w 793"/>
                <a:gd name="T25" fmla="*/ 2147483647 h 1440"/>
                <a:gd name="T26" fmla="*/ 2147483647 w 793"/>
                <a:gd name="T27" fmla="*/ 2147483647 h 1440"/>
                <a:gd name="T28" fmla="*/ 2147483647 w 793"/>
                <a:gd name="T29" fmla="*/ 2147483647 h 1440"/>
                <a:gd name="T30" fmla="*/ 2147483647 w 793"/>
                <a:gd name="T31" fmla="*/ 2147483647 h 1440"/>
                <a:gd name="T32" fmla="*/ 2147483647 w 793"/>
                <a:gd name="T33" fmla="*/ 2147483647 h 1440"/>
                <a:gd name="T34" fmla="*/ 2147483647 w 793"/>
                <a:gd name="T35" fmla="*/ 2147483647 h 1440"/>
                <a:gd name="T36" fmla="*/ 2147483647 w 793"/>
                <a:gd name="T37" fmla="*/ 2147483647 h 1440"/>
                <a:gd name="T38" fmla="*/ 2147483647 w 793"/>
                <a:gd name="T39" fmla="*/ 2147483647 h 1440"/>
                <a:gd name="T40" fmla="*/ 2147483647 w 793"/>
                <a:gd name="T41" fmla="*/ 2147483647 h 1440"/>
                <a:gd name="T42" fmla="*/ 2147483647 w 793"/>
                <a:gd name="T43" fmla="*/ 2147483647 h 1440"/>
                <a:gd name="T44" fmla="*/ 2147483647 w 793"/>
                <a:gd name="T45" fmla="*/ 2147483647 h 1440"/>
                <a:gd name="T46" fmla="*/ 2147483647 w 793"/>
                <a:gd name="T47" fmla="*/ 2147483647 h 1440"/>
                <a:gd name="T48" fmla="*/ 2147483647 w 793"/>
                <a:gd name="T49" fmla="*/ 2147483647 h 1440"/>
                <a:gd name="T50" fmla="*/ 2147483647 w 793"/>
                <a:gd name="T51" fmla="*/ 2147483647 h 1440"/>
                <a:gd name="T52" fmla="*/ 2147483647 w 793"/>
                <a:gd name="T53" fmla="*/ 0 h 1440"/>
                <a:gd name="T54" fmla="*/ 2147483647 w 793"/>
                <a:gd name="T55" fmla="*/ 2147483647 h 1440"/>
                <a:gd name="T56" fmla="*/ 2147483647 w 793"/>
                <a:gd name="T57" fmla="*/ 2147483647 h 1440"/>
                <a:gd name="T58" fmla="*/ 2147483647 w 793"/>
                <a:gd name="T59" fmla="*/ 2147483647 h 1440"/>
                <a:gd name="T60" fmla="*/ 2147483647 w 793"/>
                <a:gd name="T61" fmla="*/ 2147483647 h 1440"/>
                <a:gd name="T62" fmla="*/ 2147483647 w 793"/>
                <a:gd name="T63" fmla="*/ 2147483647 h 1440"/>
                <a:gd name="T64" fmla="*/ 2147483647 w 793"/>
                <a:gd name="T65" fmla="*/ 2147483647 h 1440"/>
                <a:gd name="T66" fmla="*/ 2147483647 w 793"/>
                <a:gd name="T67" fmla="*/ 2147483647 h 1440"/>
                <a:gd name="T68" fmla="*/ 2147483647 w 793"/>
                <a:gd name="T69" fmla="*/ 2147483647 h 1440"/>
                <a:gd name="T70" fmla="*/ 2147483647 w 793"/>
                <a:gd name="T71" fmla="*/ 2147483647 h 1440"/>
                <a:gd name="T72" fmla="*/ 2147483647 w 793"/>
                <a:gd name="T73" fmla="*/ 2147483647 h 1440"/>
                <a:gd name="T74" fmla="*/ 2147483647 w 793"/>
                <a:gd name="T75" fmla="*/ 2147483647 h 1440"/>
                <a:gd name="T76" fmla="*/ 2147483647 w 793"/>
                <a:gd name="T77" fmla="*/ 2147483647 h 1440"/>
                <a:gd name="T78" fmla="*/ 2147483647 w 793"/>
                <a:gd name="T79" fmla="*/ 2147483647 h 1440"/>
                <a:gd name="T80" fmla="*/ 2147483647 w 793"/>
                <a:gd name="T81" fmla="*/ 2147483647 h 1440"/>
                <a:gd name="T82" fmla="*/ 2147483647 w 793"/>
                <a:gd name="T83" fmla="*/ 2147483647 h 1440"/>
                <a:gd name="T84" fmla="*/ 2147483647 w 793"/>
                <a:gd name="T85" fmla="*/ 2147483647 h 1440"/>
                <a:gd name="T86" fmla="*/ 2147483647 w 793"/>
                <a:gd name="T87" fmla="*/ 2147483647 h 1440"/>
                <a:gd name="T88" fmla="*/ 2147483647 w 793"/>
                <a:gd name="T89" fmla="*/ 2147483647 h 1440"/>
                <a:gd name="T90" fmla="*/ 2147483647 w 793"/>
                <a:gd name="T91" fmla="*/ 2147483647 h 1440"/>
                <a:gd name="T92" fmla="*/ 0 w 793"/>
                <a:gd name="T93" fmla="*/ 2147483647 h 1440"/>
                <a:gd name="T94" fmla="*/ 2147483647 w 793"/>
                <a:gd name="T95" fmla="*/ 2147483647 h 1440"/>
                <a:gd name="T96" fmla="*/ 2147483647 w 793"/>
                <a:gd name="T97" fmla="*/ 2147483647 h 14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93"/>
                <a:gd name="T148" fmla="*/ 0 h 1440"/>
                <a:gd name="T149" fmla="*/ 793 w 793"/>
                <a:gd name="T150" fmla="*/ 1440 h 14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93" h="1440">
                  <a:moveTo>
                    <a:pt x="286" y="1316"/>
                  </a:moveTo>
                  <a:lnTo>
                    <a:pt x="340" y="1290"/>
                  </a:lnTo>
                  <a:lnTo>
                    <a:pt x="392" y="1260"/>
                  </a:lnTo>
                  <a:lnTo>
                    <a:pt x="442" y="1225"/>
                  </a:lnTo>
                  <a:lnTo>
                    <a:pt x="490" y="1187"/>
                  </a:lnTo>
                  <a:lnTo>
                    <a:pt x="535" y="1146"/>
                  </a:lnTo>
                  <a:lnTo>
                    <a:pt x="576" y="1102"/>
                  </a:lnTo>
                  <a:lnTo>
                    <a:pt x="616" y="1055"/>
                  </a:lnTo>
                  <a:lnTo>
                    <a:pt x="650" y="1005"/>
                  </a:lnTo>
                  <a:lnTo>
                    <a:pt x="682" y="953"/>
                  </a:lnTo>
                  <a:lnTo>
                    <a:pt x="709" y="900"/>
                  </a:lnTo>
                  <a:lnTo>
                    <a:pt x="734" y="844"/>
                  </a:lnTo>
                  <a:lnTo>
                    <a:pt x="753" y="786"/>
                  </a:lnTo>
                  <a:lnTo>
                    <a:pt x="770" y="727"/>
                  </a:lnTo>
                  <a:lnTo>
                    <a:pt x="781" y="668"/>
                  </a:lnTo>
                  <a:lnTo>
                    <a:pt x="789" y="608"/>
                  </a:lnTo>
                  <a:lnTo>
                    <a:pt x="792" y="547"/>
                  </a:lnTo>
                  <a:lnTo>
                    <a:pt x="790" y="487"/>
                  </a:lnTo>
                  <a:lnTo>
                    <a:pt x="786" y="427"/>
                  </a:lnTo>
                  <a:lnTo>
                    <a:pt x="775" y="367"/>
                  </a:lnTo>
                  <a:lnTo>
                    <a:pt x="762" y="308"/>
                  </a:lnTo>
                  <a:lnTo>
                    <a:pt x="744" y="249"/>
                  </a:lnTo>
                  <a:lnTo>
                    <a:pt x="722" y="193"/>
                  </a:lnTo>
                  <a:lnTo>
                    <a:pt x="697" y="137"/>
                  </a:lnTo>
                  <a:lnTo>
                    <a:pt x="667" y="84"/>
                  </a:lnTo>
                  <a:lnTo>
                    <a:pt x="639" y="41"/>
                  </a:lnTo>
                  <a:lnTo>
                    <a:pt x="609" y="0"/>
                  </a:lnTo>
                  <a:lnTo>
                    <a:pt x="521" y="247"/>
                  </a:lnTo>
                  <a:lnTo>
                    <a:pt x="277" y="280"/>
                  </a:lnTo>
                  <a:lnTo>
                    <a:pt x="294" y="308"/>
                  </a:lnTo>
                  <a:lnTo>
                    <a:pt x="316" y="347"/>
                  </a:lnTo>
                  <a:lnTo>
                    <a:pt x="332" y="389"/>
                  </a:lnTo>
                  <a:lnTo>
                    <a:pt x="345" y="431"/>
                  </a:lnTo>
                  <a:lnTo>
                    <a:pt x="353" y="475"/>
                  </a:lnTo>
                  <a:lnTo>
                    <a:pt x="357" y="519"/>
                  </a:lnTo>
                  <a:lnTo>
                    <a:pt x="355" y="564"/>
                  </a:lnTo>
                  <a:lnTo>
                    <a:pt x="350" y="608"/>
                  </a:lnTo>
                  <a:lnTo>
                    <a:pt x="339" y="652"/>
                  </a:lnTo>
                  <a:lnTo>
                    <a:pt x="325" y="694"/>
                  </a:lnTo>
                  <a:lnTo>
                    <a:pt x="306" y="734"/>
                  </a:lnTo>
                  <a:lnTo>
                    <a:pt x="284" y="772"/>
                  </a:lnTo>
                  <a:lnTo>
                    <a:pt x="257" y="808"/>
                  </a:lnTo>
                  <a:lnTo>
                    <a:pt x="227" y="841"/>
                  </a:lnTo>
                  <a:lnTo>
                    <a:pt x="193" y="871"/>
                  </a:lnTo>
                  <a:lnTo>
                    <a:pt x="156" y="896"/>
                  </a:lnTo>
                  <a:lnTo>
                    <a:pt x="113" y="761"/>
                  </a:lnTo>
                  <a:lnTo>
                    <a:pt x="0" y="1169"/>
                  </a:lnTo>
                  <a:lnTo>
                    <a:pt x="321" y="1439"/>
                  </a:lnTo>
                  <a:lnTo>
                    <a:pt x="286" y="1316"/>
                  </a:lnTo>
                </a:path>
              </a:pathLst>
            </a:custGeom>
            <a:solidFill>
              <a:srgbClr val="81BC00"/>
            </a:solidFill>
            <a:ln w="12700" cap="rnd">
              <a:solidFill>
                <a:schemeClr val="bg1"/>
              </a:solidFill>
              <a:round/>
              <a:headEnd/>
              <a:tailEnd/>
            </a:ln>
          </p:spPr>
          <p:txBody>
            <a:bodyPr/>
            <a:lstStyle/>
            <a:p>
              <a:pPr defTabSz="685800">
                <a:buClrTx/>
              </a:pPr>
              <a:endParaRPr lang="en-US" sz="1050" kern="1200">
                <a:solidFill>
                  <a:prstClr val="white"/>
                </a:solidFill>
                <a:ea typeface="+mn-ea"/>
                <a:cs typeface="+mn-cs"/>
              </a:endParaRPr>
            </a:p>
          </p:txBody>
        </p:sp>
        <p:sp>
          <p:nvSpPr>
            <p:cNvPr id="79" name="Rectangle 33"/>
            <p:cNvSpPr>
              <a:spLocks noChangeArrowheads="1"/>
            </p:cNvSpPr>
            <p:nvPr/>
          </p:nvSpPr>
          <p:spPr bwMode="blackWhite">
            <a:xfrm>
              <a:off x="7153856" y="1678464"/>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dirty="0">
                  <a:solidFill>
                    <a:srgbClr val="313131"/>
                  </a:solidFill>
                  <a:ea typeface="+mn-ea"/>
                  <a:cs typeface="+mn-cs"/>
                </a:rPr>
                <a:t>Text</a:t>
              </a:r>
            </a:p>
          </p:txBody>
        </p:sp>
        <p:sp>
          <p:nvSpPr>
            <p:cNvPr id="83" name="Rectangle 37"/>
            <p:cNvSpPr>
              <a:spLocks noChangeArrowheads="1"/>
            </p:cNvSpPr>
            <p:nvPr/>
          </p:nvSpPr>
          <p:spPr bwMode="blackWhite">
            <a:xfrm>
              <a:off x="8049554" y="2722229"/>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dirty="0">
                  <a:solidFill>
                    <a:prstClr val="white"/>
                  </a:solidFill>
                  <a:ea typeface="+mn-ea"/>
                  <a:cs typeface="+mn-cs"/>
                </a:rPr>
                <a:t>Text</a:t>
              </a:r>
            </a:p>
          </p:txBody>
        </p:sp>
        <p:sp>
          <p:nvSpPr>
            <p:cNvPr id="84" name="Rectangle 38"/>
            <p:cNvSpPr>
              <a:spLocks noChangeArrowheads="1"/>
            </p:cNvSpPr>
            <p:nvPr/>
          </p:nvSpPr>
          <p:spPr bwMode="blackWhite">
            <a:xfrm>
              <a:off x="6665551" y="2950829"/>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dirty="0">
                  <a:solidFill>
                    <a:srgbClr val="313131"/>
                  </a:solidFill>
                  <a:ea typeface="+mn-ea"/>
                  <a:cs typeface="+mn-cs"/>
                </a:rPr>
                <a:t>Text</a:t>
              </a:r>
            </a:p>
          </p:txBody>
        </p:sp>
      </p:grpSp>
      <p:grpSp>
        <p:nvGrpSpPr>
          <p:cNvPr id="100" name="Group 99"/>
          <p:cNvGrpSpPr/>
          <p:nvPr/>
        </p:nvGrpSpPr>
        <p:grpSpPr>
          <a:xfrm>
            <a:off x="5816204" y="2843213"/>
            <a:ext cx="1721644" cy="1894284"/>
            <a:chOff x="6230938" y="3790951"/>
            <a:chExt cx="2295525" cy="2525712"/>
          </a:xfrm>
        </p:grpSpPr>
        <p:sp>
          <p:nvSpPr>
            <p:cNvPr id="68" name="Freeform 24"/>
            <p:cNvSpPr>
              <a:spLocks/>
            </p:cNvSpPr>
            <p:nvPr/>
          </p:nvSpPr>
          <p:spPr bwMode="blackWhite">
            <a:xfrm>
              <a:off x="7405688" y="3956051"/>
              <a:ext cx="1065212" cy="868362"/>
            </a:xfrm>
            <a:custGeom>
              <a:avLst/>
              <a:gdLst>
                <a:gd name="T0" fmla="*/ 2147483647 w 869"/>
                <a:gd name="T1" fmla="*/ 2147483647 h 712"/>
                <a:gd name="T2" fmla="*/ 2147483647 w 869"/>
                <a:gd name="T3" fmla="*/ 2147483647 h 712"/>
                <a:gd name="T4" fmla="*/ 2147483647 w 869"/>
                <a:gd name="T5" fmla="*/ 2147483647 h 712"/>
                <a:gd name="T6" fmla="*/ 2147483647 w 869"/>
                <a:gd name="T7" fmla="*/ 2147483647 h 712"/>
                <a:gd name="T8" fmla="*/ 2147483647 w 869"/>
                <a:gd name="T9" fmla="*/ 2147483647 h 712"/>
                <a:gd name="T10" fmla="*/ 2147483647 w 869"/>
                <a:gd name="T11" fmla="*/ 2147483647 h 712"/>
                <a:gd name="T12" fmla="*/ 2147483647 w 869"/>
                <a:gd name="T13" fmla="*/ 2147483647 h 712"/>
                <a:gd name="T14" fmla="*/ 2147483647 w 869"/>
                <a:gd name="T15" fmla="*/ 2147483647 h 712"/>
                <a:gd name="T16" fmla="*/ 2147483647 w 869"/>
                <a:gd name="T17" fmla="*/ 2147483647 h 712"/>
                <a:gd name="T18" fmla="*/ 2147483647 w 869"/>
                <a:gd name="T19" fmla="*/ 2147483647 h 712"/>
                <a:gd name="T20" fmla="*/ 2147483647 w 869"/>
                <a:gd name="T21" fmla="*/ 2147483647 h 712"/>
                <a:gd name="T22" fmla="*/ 2147483647 w 869"/>
                <a:gd name="T23" fmla="*/ 2147483647 h 712"/>
                <a:gd name="T24" fmla="*/ 2147483647 w 869"/>
                <a:gd name="T25" fmla="*/ 2147483647 h 712"/>
                <a:gd name="T26" fmla="*/ 2147483647 w 869"/>
                <a:gd name="T27" fmla="*/ 2147483647 h 712"/>
                <a:gd name="T28" fmla="*/ 2147483647 w 869"/>
                <a:gd name="T29" fmla="*/ 2147483647 h 712"/>
                <a:gd name="T30" fmla="*/ 2147483647 w 869"/>
                <a:gd name="T31" fmla="*/ 2147483647 h 712"/>
                <a:gd name="T32" fmla="*/ 2147483647 w 869"/>
                <a:gd name="T33" fmla="*/ 2147483647 h 712"/>
                <a:gd name="T34" fmla="*/ 2147483647 w 869"/>
                <a:gd name="T35" fmla="*/ 2147483647 h 712"/>
                <a:gd name="T36" fmla="*/ 2147483647 w 869"/>
                <a:gd name="T37" fmla="*/ 2147483647 h 712"/>
                <a:gd name="T38" fmla="*/ 0 w 869"/>
                <a:gd name="T39" fmla="*/ 0 h 712"/>
                <a:gd name="T40" fmla="*/ 2147483647 w 869"/>
                <a:gd name="T41" fmla="*/ 2147483647 h 712"/>
                <a:gd name="T42" fmla="*/ 2147483647 w 869"/>
                <a:gd name="T43" fmla="*/ 2147483647 h 712"/>
                <a:gd name="T44" fmla="*/ 2147483647 w 869"/>
                <a:gd name="T45" fmla="*/ 2147483647 h 712"/>
                <a:gd name="T46" fmla="*/ 2147483647 w 869"/>
                <a:gd name="T47" fmla="*/ 2147483647 h 712"/>
                <a:gd name="T48" fmla="*/ 2147483647 w 869"/>
                <a:gd name="T49" fmla="*/ 2147483647 h 712"/>
                <a:gd name="T50" fmla="*/ 2147483647 w 869"/>
                <a:gd name="T51" fmla="*/ 2147483647 h 712"/>
                <a:gd name="T52" fmla="*/ 2147483647 w 869"/>
                <a:gd name="T53" fmla="*/ 2147483647 h 712"/>
                <a:gd name="T54" fmla="*/ 2147483647 w 869"/>
                <a:gd name="T55" fmla="*/ 2147483647 h 712"/>
                <a:gd name="T56" fmla="*/ 2147483647 w 869"/>
                <a:gd name="T57" fmla="*/ 2147483647 h 712"/>
                <a:gd name="T58" fmla="*/ 2147483647 w 869"/>
                <a:gd name="T59" fmla="*/ 2147483647 h 712"/>
                <a:gd name="T60" fmla="*/ 2147483647 w 869"/>
                <a:gd name="T61" fmla="*/ 2147483647 h 71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69"/>
                <a:gd name="T94" fmla="*/ 0 h 712"/>
                <a:gd name="T95" fmla="*/ 869 w 869"/>
                <a:gd name="T96" fmla="*/ 712 h 71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69" h="712">
                  <a:moveTo>
                    <a:pt x="192" y="710"/>
                  </a:moveTo>
                  <a:lnTo>
                    <a:pt x="657" y="711"/>
                  </a:lnTo>
                  <a:lnTo>
                    <a:pt x="731" y="583"/>
                  </a:lnTo>
                  <a:lnTo>
                    <a:pt x="801" y="452"/>
                  </a:lnTo>
                  <a:lnTo>
                    <a:pt x="868" y="319"/>
                  </a:lnTo>
                  <a:lnTo>
                    <a:pt x="729" y="400"/>
                  </a:lnTo>
                  <a:lnTo>
                    <a:pt x="694" y="349"/>
                  </a:lnTo>
                  <a:lnTo>
                    <a:pt x="655" y="301"/>
                  </a:lnTo>
                  <a:lnTo>
                    <a:pt x="613" y="256"/>
                  </a:lnTo>
                  <a:lnTo>
                    <a:pt x="567" y="213"/>
                  </a:lnTo>
                  <a:lnTo>
                    <a:pt x="519" y="175"/>
                  </a:lnTo>
                  <a:lnTo>
                    <a:pt x="467" y="140"/>
                  </a:lnTo>
                  <a:lnTo>
                    <a:pt x="415" y="108"/>
                  </a:lnTo>
                  <a:lnTo>
                    <a:pt x="360" y="80"/>
                  </a:lnTo>
                  <a:lnTo>
                    <a:pt x="302" y="56"/>
                  </a:lnTo>
                  <a:lnTo>
                    <a:pt x="244" y="36"/>
                  </a:lnTo>
                  <a:lnTo>
                    <a:pt x="184" y="21"/>
                  </a:lnTo>
                  <a:lnTo>
                    <a:pt x="123" y="9"/>
                  </a:lnTo>
                  <a:lnTo>
                    <a:pt x="61" y="2"/>
                  </a:lnTo>
                  <a:lnTo>
                    <a:pt x="0" y="0"/>
                  </a:lnTo>
                  <a:lnTo>
                    <a:pt x="164" y="206"/>
                  </a:lnTo>
                  <a:lnTo>
                    <a:pt x="63" y="445"/>
                  </a:lnTo>
                  <a:lnTo>
                    <a:pt x="104" y="455"/>
                  </a:lnTo>
                  <a:lnTo>
                    <a:pt x="145" y="468"/>
                  </a:lnTo>
                  <a:lnTo>
                    <a:pt x="184" y="485"/>
                  </a:lnTo>
                  <a:lnTo>
                    <a:pt x="221" y="505"/>
                  </a:lnTo>
                  <a:lnTo>
                    <a:pt x="256" y="530"/>
                  </a:lnTo>
                  <a:lnTo>
                    <a:pt x="290" y="557"/>
                  </a:lnTo>
                  <a:lnTo>
                    <a:pt x="320" y="587"/>
                  </a:lnTo>
                  <a:lnTo>
                    <a:pt x="348" y="620"/>
                  </a:lnTo>
                  <a:lnTo>
                    <a:pt x="192" y="710"/>
                  </a:lnTo>
                </a:path>
              </a:pathLst>
            </a:custGeom>
            <a:solidFill>
              <a:schemeClr val="accent1"/>
            </a:solidFill>
            <a:ln w="12700" cap="rnd">
              <a:solidFill>
                <a:schemeClr val="bg1"/>
              </a:solidFill>
              <a:round/>
              <a:headEnd/>
              <a:tailEnd/>
            </a:ln>
          </p:spPr>
          <p:txBody>
            <a:bodyPr/>
            <a:lstStyle/>
            <a:p>
              <a:pPr defTabSz="685800">
                <a:buClrTx/>
              </a:pPr>
              <a:endParaRPr lang="en-US" sz="1050" kern="1200">
                <a:solidFill>
                  <a:prstClr val="white"/>
                </a:solidFill>
                <a:ea typeface="+mn-ea"/>
                <a:cs typeface="+mn-cs"/>
              </a:endParaRPr>
            </a:p>
          </p:txBody>
        </p:sp>
        <p:sp>
          <p:nvSpPr>
            <p:cNvPr id="69" name="Freeform 25"/>
            <p:cNvSpPr>
              <a:spLocks/>
            </p:cNvSpPr>
            <p:nvPr/>
          </p:nvSpPr>
          <p:spPr bwMode="blackWhite">
            <a:xfrm>
              <a:off x="7708900" y="4594226"/>
              <a:ext cx="817563" cy="1044575"/>
            </a:xfrm>
            <a:custGeom>
              <a:avLst/>
              <a:gdLst>
                <a:gd name="T0" fmla="*/ 2147483647 w 667"/>
                <a:gd name="T1" fmla="*/ 2147483647 h 856"/>
                <a:gd name="T2" fmla="*/ 2147483647 w 667"/>
                <a:gd name="T3" fmla="*/ 2147483647 h 856"/>
                <a:gd name="T4" fmla="*/ 2147483647 w 667"/>
                <a:gd name="T5" fmla="*/ 2147483647 h 856"/>
                <a:gd name="T6" fmla="*/ 2147483647 w 667"/>
                <a:gd name="T7" fmla="*/ 2147483647 h 856"/>
                <a:gd name="T8" fmla="*/ 2147483647 w 667"/>
                <a:gd name="T9" fmla="*/ 2147483647 h 856"/>
                <a:gd name="T10" fmla="*/ 2147483647 w 667"/>
                <a:gd name="T11" fmla="*/ 2147483647 h 856"/>
                <a:gd name="T12" fmla="*/ 2147483647 w 667"/>
                <a:gd name="T13" fmla="*/ 2147483647 h 856"/>
                <a:gd name="T14" fmla="*/ 2147483647 w 667"/>
                <a:gd name="T15" fmla="*/ 2147483647 h 856"/>
                <a:gd name="T16" fmla="*/ 2147483647 w 667"/>
                <a:gd name="T17" fmla="*/ 2147483647 h 856"/>
                <a:gd name="T18" fmla="*/ 2147483647 w 667"/>
                <a:gd name="T19" fmla="*/ 2147483647 h 856"/>
                <a:gd name="T20" fmla="*/ 2147483647 w 667"/>
                <a:gd name="T21" fmla="*/ 2147483647 h 856"/>
                <a:gd name="T22" fmla="*/ 2147483647 w 667"/>
                <a:gd name="T23" fmla="*/ 2147483647 h 856"/>
                <a:gd name="T24" fmla="*/ 2147483647 w 667"/>
                <a:gd name="T25" fmla="*/ 2147483647 h 856"/>
                <a:gd name="T26" fmla="*/ 2147483647 w 667"/>
                <a:gd name="T27" fmla="*/ 2147483647 h 856"/>
                <a:gd name="T28" fmla="*/ 2147483647 w 667"/>
                <a:gd name="T29" fmla="*/ 2147483647 h 856"/>
                <a:gd name="T30" fmla="*/ 2147483647 w 667"/>
                <a:gd name="T31" fmla="*/ 0 h 856"/>
                <a:gd name="T32" fmla="*/ 2147483647 w 667"/>
                <a:gd name="T33" fmla="*/ 2147483647 h 856"/>
                <a:gd name="T34" fmla="*/ 2147483647 w 667"/>
                <a:gd name="T35" fmla="*/ 2147483647 h 856"/>
                <a:gd name="T36" fmla="*/ 2147483647 w 667"/>
                <a:gd name="T37" fmla="*/ 2147483647 h 856"/>
                <a:gd name="T38" fmla="*/ 2147483647 w 667"/>
                <a:gd name="T39" fmla="*/ 2147483647 h 856"/>
                <a:gd name="T40" fmla="*/ 2147483647 w 667"/>
                <a:gd name="T41" fmla="*/ 2147483647 h 856"/>
                <a:gd name="T42" fmla="*/ 2147483647 w 667"/>
                <a:gd name="T43" fmla="*/ 2147483647 h 856"/>
                <a:gd name="T44" fmla="*/ 2147483647 w 667"/>
                <a:gd name="T45" fmla="*/ 2147483647 h 856"/>
                <a:gd name="T46" fmla="*/ 2147483647 w 667"/>
                <a:gd name="T47" fmla="*/ 2147483647 h 856"/>
                <a:gd name="T48" fmla="*/ 2147483647 w 667"/>
                <a:gd name="T49" fmla="*/ 2147483647 h 856"/>
                <a:gd name="T50" fmla="*/ 2147483647 w 667"/>
                <a:gd name="T51" fmla="*/ 2147483647 h 856"/>
                <a:gd name="T52" fmla="*/ 0 w 667"/>
                <a:gd name="T53" fmla="*/ 2147483647 h 856"/>
                <a:gd name="T54" fmla="*/ 2147483647 w 667"/>
                <a:gd name="T55" fmla="*/ 2147483647 h 85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67"/>
                <a:gd name="T85" fmla="*/ 0 h 856"/>
                <a:gd name="T86" fmla="*/ 667 w 667"/>
                <a:gd name="T87" fmla="*/ 856 h 85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67" h="856">
                  <a:moveTo>
                    <a:pt x="205" y="855"/>
                  </a:moveTo>
                  <a:lnTo>
                    <a:pt x="666" y="846"/>
                  </a:lnTo>
                  <a:lnTo>
                    <a:pt x="523" y="764"/>
                  </a:lnTo>
                  <a:lnTo>
                    <a:pt x="551" y="709"/>
                  </a:lnTo>
                  <a:lnTo>
                    <a:pt x="574" y="653"/>
                  </a:lnTo>
                  <a:lnTo>
                    <a:pt x="593" y="595"/>
                  </a:lnTo>
                  <a:lnTo>
                    <a:pt x="608" y="535"/>
                  </a:lnTo>
                  <a:lnTo>
                    <a:pt x="619" y="476"/>
                  </a:lnTo>
                  <a:lnTo>
                    <a:pt x="625" y="415"/>
                  </a:lnTo>
                  <a:lnTo>
                    <a:pt x="627" y="354"/>
                  </a:lnTo>
                  <a:lnTo>
                    <a:pt x="625" y="293"/>
                  </a:lnTo>
                  <a:lnTo>
                    <a:pt x="618" y="233"/>
                  </a:lnTo>
                  <a:lnTo>
                    <a:pt x="607" y="172"/>
                  </a:lnTo>
                  <a:lnTo>
                    <a:pt x="592" y="114"/>
                  </a:lnTo>
                  <a:lnTo>
                    <a:pt x="572" y="56"/>
                  </a:lnTo>
                  <a:lnTo>
                    <a:pt x="549" y="0"/>
                  </a:lnTo>
                  <a:lnTo>
                    <a:pt x="427" y="219"/>
                  </a:lnTo>
                  <a:lnTo>
                    <a:pt x="163" y="216"/>
                  </a:lnTo>
                  <a:lnTo>
                    <a:pt x="174" y="255"/>
                  </a:lnTo>
                  <a:lnTo>
                    <a:pt x="181" y="298"/>
                  </a:lnTo>
                  <a:lnTo>
                    <a:pt x="184" y="340"/>
                  </a:lnTo>
                  <a:lnTo>
                    <a:pt x="183" y="381"/>
                  </a:lnTo>
                  <a:lnTo>
                    <a:pt x="178" y="423"/>
                  </a:lnTo>
                  <a:lnTo>
                    <a:pt x="170" y="464"/>
                  </a:lnTo>
                  <a:lnTo>
                    <a:pt x="158" y="505"/>
                  </a:lnTo>
                  <a:lnTo>
                    <a:pt x="142" y="544"/>
                  </a:lnTo>
                  <a:lnTo>
                    <a:pt x="0" y="465"/>
                  </a:lnTo>
                  <a:lnTo>
                    <a:pt x="205" y="855"/>
                  </a:lnTo>
                </a:path>
              </a:pathLst>
            </a:custGeom>
            <a:solidFill>
              <a:srgbClr val="DCDCDC"/>
            </a:solidFill>
            <a:ln w="12700" cap="rnd">
              <a:solidFill>
                <a:schemeClr val="bg1"/>
              </a:solidFill>
              <a:round/>
              <a:headEnd/>
              <a:tailEnd/>
            </a:ln>
          </p:spPr>
          <p:txBody>
            <a:bodyPr/>
            <a:lstStyle/>
            <a:p>
              <a:pPr defTabSz="685800">
                <a:buClrTx/>
              </a:pPr>
              <a:endParaRPr lang="en-US" sz="1050" kern="1200">
                <a:solidFill>
                  <a:prstClr val="white"/>
                </a:solidFill>
                <a:ea typeface="+mn-ea"/>
                <a:cs typeface="+mn-cs"/>
              </a:endParaRPr>
            </a:p>
          </p:txBody>
        </p:sp>
        <p:sp>
          <p:nvSpPr>
            <p:cNvPr id="70" name="Freeform 26"/>
            <p:cNvSpPr>
              <a:spLocks/>
            </p:cNvSpPr>
            <p:nvPr/>
          </p:nvSpPr>
          <p:spPr bwMode="blackWhite">
            <a:xfrm>
              <a:off x="7192963" y="5360988"/>
              <a:ext cx="1074737" cy="955675"/>
            </a:xfrm>
            <a:custGeom>
              <a:avLst/>
              <a:gdLst>
                <a:gd name="T0" fmla="*/ 0 w 877"/>
                <a:gd name="T1" fmla="*/ 476619 h 784"/>
                <a:gd name="T2" fmla="*/ 269603 w 877"/>
                <a:gd name="T3" fmla="*/ 954456 h 784"/>
                <a:gd name="T4" fmla="*/ 269603 w 877"/>
                <a:gd name="T5" fmla="*/ 735041 h 784"/>
                <a:gd name="T6" fmla="*/ 341906 w 877"/>
                <a:gd name="T7" fmla="*/ 730165 h 784"/>
                <a:gd name="T8" fmla="*/ 412983 w 877"/>
                <a:gd name="T9" fmla="*/ 716756 h 784"/>
                <a:gd name="T10" fmla="*/ 482835 w 877"/>
                <a:gd name="T11" fmla="*/ 700910 h 784"/>
                <a:gd name="T12" fmla="*/ 551461 w 877"/>
                <a:gd name="T13" fmla="*/ 680187 h 784"/>
                <a:gd name="T14" fmla="*/ 618862 w 877"/>
                <a:gd name="T15" fmla="*/ 654589 h 784"/>
                <a:gd name="T16" fmla="*/ 685038 w 877"/>
                <a:gd name="T17" fmla="*/ 625333 h 784"/>
                <a:gd name="T18" fmla="*/ 748762 w 877"/>
                <a:gd name="T19" fmla="*/ 591202 h 784"/>
                <a:gd name="T20" fmla="*/ 810036 w 877"/>
                <a:gd name="T21" fmla="*/ 553414 h 784"/>
                <a:gd name="T22" fmla="*/ 867633 w 877"/>
                <a:gd name="T23" fmla="*/ 509531 h 784"/>
                <a:gd name="T24" fmla="*/ 925230 w 877"/>
                <a:gd name="T25" fmla="*/ 463210 h 784"/>
                <a:gd name="T26" fmla="*/ 979150 w 877"/>
                <a:gd name="T27" fmla="*/ 412013 h 784"/>
                <a:gd name="T28" fmla="*/ 1026944 w 877"/>
                <a:gd name="T29" fmla="*/ 357159 h 784"/>
                <a:gd name="T30" fmla="*/ 1073512 w 877"/>
                <a:gd name="T31" fmla="*/ 299867 h 784"/>
                <a:gd name="T32" fmla="*/ 747537 w 877"/>
                <a:gd name="T33" fmla="*/ 316933 h 784"/>
                <a:gd name="T34" fmla="*/ 599255 w 877"/>
                <a:gd name="T35" fmla="*/ 32912 h 784"/>
                <a:gd name="T36" fmla="*/ 568618 w 877"/>
                <a:gd name="T37" fmla="*/ 60949 h 784"/>
                <a:gd name="T38" fmla="*/ 536756 w 877"/>
                <a:gd name="T39" fmla="*/ 88985 h 784"/>
                <a:gd name="T40" fmla="*/ 496315 w 877"/>
                <a:gd name="T41" fmla="*/ 115802 h 784"/>
                <a:gd name="T42" fmla="*/ 454649 w 877"/>
                <a:gd name="T43" fmla="*/ 141401 h 784"/>
                <a:gd name="T44" fmla="*/ 411758 w 877"/>
                <a:gd name="T45" fmla="*/ 160904 h 784"/>
                <a:gd name="T46" fmla="*/ 365190 w 877"/>
                <a:gd name="T47" fmla="*/ 179189 h 784"/>
                <a:gd name="T48" fmla="*/ 317397 w 877"/>
                <a:gd name="T49" fmla="*/ 190160 h 784"/>
                <a:gd name="T50" fmla="*/ 269603 w 877"/>
                <a:gd name="T51" fmla="*/ 198693 h 784"/>
                <a:gd name="T52" fmla="*/ 269603 w 877"/>
                <a:gd name="T53" fmla="*/ 0 h 784"/>
                <a:gd name="T54" fmla="*/ 0 w 877"/>
                <a:gd name="T55" fmla="*/ 476619 h 78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77"/>
                <a:gd name="T85" fmla="*/ 0 h 784"/>
                <a:gd name="T86" fmla="*/ 877 w 877"/>
                <a:gd name="T87" fmla="*/ 784 h 78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77" h="784">
                  <a:moveTo>
                    <a:pt x="0" y="391"/>
                  </a:moveTo>
                  <a:lnTo>
                    <a:pt x="220" y="783"/>
                  </a:lnTo>
                  <a:lnTo>
                    <a:pt x="220" y="603"/>
                  </a:lnTo>
                  <a:lnTo>
                    <a:pt x="279" y="599"/>
                  </a:lnTo>
                  <a:lnTo>
                    <a:pt x="337" y="588"/>
                  </a:lnTo>
                  <a:lnTo>
                    <a:pt x="394" y="575"/>
                  </a:lnTo>
                  <a:lnTo>
                    <a:pt x="450" y="558"/>
                  </a:lnTo>
                  <a:lnTo>
                    <a:pt x="505" y="537"/>
                  </a:lnTo>
                  <a:lnTo>
                    <a:pt x="559" y="513"/>
                  </a:lnTo>
                  <a:lnTo>
                    <a:pt x="611" y="485"/>
                  </a:lnTo>
                  <a:lnTo>
                    <a:pt x="661" y="454"/>
                  </a:lnTo>
                  <a:lnTo>
                    <a:pt x="708" y="418"/>
                  </a:lnTo>
                  <a:lnTo>
                    <a:pt x="755" y="380"/>
                  </a:lnTo>
                  <a:lnTo>
                    <a:pt x="799" y="338"/>
                  </a:lnTo>
                  <a:lnTo>
                    <a:pt x="838" y="293"/>
                  </a:lnTo>
                  <a:lnTo>
                    <a:pt x="876" y="246"/>
                  </a:lnTo>
                  <a:lnTo>
                    <a:pt x="610" y="260"/>
                  </a:lnTo>
                  <a:lnTo>
                    <a:pt x="489" y="27"/>
                  </a:lnTo>
                  <a:lnTo>
                    <a:pt x="464" y="50"/>
                  </a:lnTo>
                  <a:lnTo>
                    <a:pt x="438" y="73"/>
                  </a:lnTo>
                  <a:lnTo>
                    <a:pt x="405" y="95"/>
                  </a:lnTo>
                  <a:lnTo>
                    <a:pt x="371" y="116"/>
                  </a:lnTo>
                  <a:lnTo>
                    <a:pt x="336" y="132"/>
                  </a:lnTo>
                  <a:lnTo>
                    <a:pt x="298" y="147"/>
                  </a:lnTo>
                  <a:lnTo>
                    <a:pt x="259" y="156"/>
                  </a:lnTo>
                  <a:lnTo>
                    <a:pt x="220" y="163"/>
                  </a:lnTo>
                  <a:lnTo>
                    <a:pt x="220" y="0"/>
                  </a:lnTo>
                  <a:lnTo>
                    <a:pt x="0" y="391"/>
                  </a:lnTo>
                </a:path>
              </a:pathLst>
            </a:custGeom>
            <a:solidFill>
              <a:srgbClr val="B4B4B4"/>
            </a:solidFill>
            <a:ln w="12700" cap="rnd">
              <a:solidFill>
                <a:schemeClr val="bg1"/>
              </a:solidFill>
              <a:round/>
              <a:headEnd/>
              <a:tailEnd/>
            </a:ln>
          </p:spPr>
          <p:txBody>
            <a:bodyPr/>
            <a:lstStyle/>
            <a:p>
              <a:pPr defTabSz="685800">
                <a:buClrTx/>
                <a:defRPr/>
              </a:pPr>
              <a:endParaRPr lang="en-US" sz="1050" kern="1200">
                <a:solidFill>
                  <a:prstClr val="black"/>
                </a:solidFill>
                <a:ea typeface="+mn-ea"/>
                <a:cs typeface="+mn-cs"/>
              </a:endParaRPr>
            </a:p>
          </p:txBody>
        </p:sp>
        <p:sp>
          <p:nvSpPr>
            <p:cNvPr id="71" name="Freeform 27"/>
            <p:cNvSpPr>
              <a:spLocks/>
            </p:cNvSpPr>
            <p:nvPr/>
          </p:nvSpPr>
          <p:spPr bwMode="blackWhite">
            <a:xfrm>
              <a:off x="6286500" y="5241926"/>
              <a:ext cx="1020763" cy="852487"/>
            </a:xfrm>
            <a:custGeom>
              <a:avLst/>
              <a:gdLst>
                <a:gd name="T0" fmla="*/ 357819 w 833"/>
                <a:gd name="T1" fmla="*/ 0 h 699"/>
                <a:gd name="T2" fmla="*/ 0 w 833"/>
                <a:gd name="T3" fmla="*/ 429292 h 699"/>
                <a:gd name="T4" fmla="*/ 199741 w 833"/>
                <a:gd name="T5" fmla="*/ 357337 h 699"/>
                <a:gd name="T6" fmla="*/ 242630 w 833"/>
                <a:gd name="T7" fmla="*/ 419536 h 699"/>
                <a:gd name="T8" fmla="*/ 289196 w 833"/>
                <a:gd name="T9" fmla="*/ 478076 h 699"/>
                <a:gd name="T10" fmla="*/ 339437 w 833"/>
                <a:gd name="T11" fmla="*/ 534176 h 699"/>
                <a:gd name="T12" fmla="*/ 394581 w 833"/>
                <a:gd name="T13" fmla="*/ 585399 h 699"/>
                <a:gd name="T14" fmla="*/ 453400 w 833"/>
                <a:gd name="T15" fmla="*/ 634182 h 699"/>
                <a:gd name="T16" fmla="*/ 513445 w 833"/>
                <a:gd name="T17" fmla="*/ 676867 h 699"/>
                <a:gd name="T18" fmla="*/ 578391 w 833"/>
                <a:gd name="T19" fmla="*/ 717114 h 699"/>
                <a:gd name="T20" fmla="*/ 645789 w 833"/>
                <a:gd name="T21" fmla="*/ 751262 h 699"/>
                <a:gd name="T22" fmla="*/ 714412 w 833"/>
                <a:gd name="T23" fmla="*/ 781751 h 699"/>
                <a:gd name="T24" fmla="*/ 785485 w 833"/>
                <a:gd name="T25" fmla="*/ 807363 h 699"/>
                <a:gd name="T26" fmla="*/ 857784 w 833"/>
                <a:gd name="T27" fmla="*/ 826876 h 699"/>
                <a:gd name="T28" fmla="*/ 933759 w 833"/>
                <a:gd name="T29" fmla="*/ 841511 h 699"/>
                <a:gd name="T30" fmla="*/ 1007284 w 833"/>
                <a:gd name="T31" fmla="*/ 851267 h 699"/>
                <a:gd name="T32" fmla="*/ 860235 w 833"/>
                <a:gd name="T33" fmla="*/ 602473 h 699"/>
                <a:gd name="T34" fmla="*/ 1019538 w 833"/>
                <a:gd name="T35" fmla="*/ 312213 h 699"/>
                <a:gd name="T36" fmla="*/ 964394 w 833"/>
                <a:gd name="T37" fmla="*/ 301236 h 699"/>
                <a:gd name="T38" fmla="*/ 912927 w 833"/>
                <a:gd name="T39" fmla="*/ 284162 h 699"/>
                <a:gd name="T40" fmla="*/ 862686 w 833"/>
                <a:gd name="T41" fmla="*/ 260990 h 699"/>
                <a:gd name="T42" fmla="*/ 814895 w 833"/>
                <a:gd name="T43" fmla="*/ 234160 h 699"/>
                <a:gd name="T44" fmla="*/ 772006 w 833"/>
                <a:gd name="T45" fmla="*/ 201231 h 699"/>
                <a:gd name="T46" fmla="*/ 730342 w 833"/>
                <a:gd name="T47" fmla="*/ 165863 h 699"/>
                <a:gd name="T48" fmla="*/ 901899 w 833"/>
                <a:gd name="T49" fmla="*/ 102445 h 699"/>
                <a:gd name="T50" fmla="*/ 357819 w 833"/>
                <a:gd name="T51" fmla="*/ 0 h 69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33"/>
                <a:gd name="T79" fmla="*/ 0 h 699"/>
                <a:gd name="T80" fmla="*/ 833 w 833"/>
                <a:gd name="T81" fmla="*/ 699 h 69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33" h="699">
                  <a:moveTo>
                    <a:pt x="292" y="0"/>
                  </a:moveTo>
                  <a:lnTo>
                    <a:pt x="0" y="352"/>
                  </a:lnTo>
                  <a:lnTo>
                    <a:pt x="163" y="293"/>
                  </a:lnTo>
                  <a:lnTo>
                    <a:pt x="198" y="344"/>
                  </a:lnTo>
                  <a:lnTo>
                    <a:pt x="236" y="392"/>
                  </a:lnTo>
                  <a:lnTo>
                    <a:pt x="277" y="438"/>
                  </a:lnTo>
                  <a:lnTo>
                    <a:pt x="322" y="480"/>
                  </a:lnTo>
                  <a:lnTo>
                    <a:pt x="370" y="520"/>
                  </a:lnTo>
                  <a:lnTo>
                    <a:pt x="419" y="555"/>
                  </a:lnTo>
                  <a:lnTo>
                    <a:pt x="472" y="588"/>
                  </a:lnTo>
                  <a:lnTo>
                    <a:pt x="527" y="616"/>
                  </a:lnTo>
                  <a:lnTo>
                    <a:pt x="583" y="641"/>
                  </a:lnTo>
                  <a:lnTo>
                    <a:pt x="641" y="662"/>
                  </a:lnTo>
                  <a:lnTo>
                    <a:pt x="700" y="678"/>
                  </a:lnTo>
                  <a:lnTo>
                    <a:pt x="762" y="690"/>
                  </a:lnTo>
                  <a:lnTo>
                    <a:pt x="822" y="698"/>
                  </a:lnTo>
                  <a:lnTo>
                    <a:pt x="702" y="494"/>
                  </a:lnTo>
                  <a:lnTo>
                    <a:pt x="832" y="256"/>
                  </a:lnTo>
                  <a:lnTo>
                    <a:pt x="787" y="247"/>
                  </a:lnTo>
                  <a:lnTo>
                    <a:pt x="745" y="233"/>
                  </a:lnTo>
                  <a:lnTo>
                    <a:pt x="704" y="214"/>
                  </a:lnTo>
                  <a:lnTo>
                    <a:pt x="665" y="192"/>
                  </a:lnTo>
                  <a:lnTo>
                    <a:pt x="630" y="165"/>
                  </a:lnTo>
                  <a:lnTo>
                    <a:pt x="596" y="136"/>
                  </a:lnTo>
                  <a:lnTo>
                    <a:pt x="736" y="84"/>
                  </a:lnTo>
                  <a:lnTo>
                    <a:pt x="292" y="0"/>
                  </a:lnTo>
                </a:path>
              </a:pathLst>
            </a:custGeom>
            <a:solidFill>
              <a:srgbClr val="8C8C8C"/>
            </a:solidFill>
            <a:ln w="12700" cap="rnd">
              <a:solidFill>
                <a:schemeClr val="bg1"/>
              </a:solidFill>
              <a:round/>
              <a:headEnd/>
              <a:tailEnd/>
            </a:ln>
          </p:spPr>
          <p:txBody>
            <a:bodyPr/>
            <a:lstStyle/>
            <a:p>
              <a:pPr defTabSz="685800">
                <a:buClrTx/>
                <a:defRPr/>
              </a:pPr>
              <a:endParaRPr lang="en-US" sz="1050" kern="1200">
                <a:solidFill>
                  <a:prstClr val="white"/>
                </a:solidFill>
                <a:ea typeface="+mn-ea"/>
                <a:cs typeface="+mn-cs"/>
              </a:endParaRPr>
            </a:p>
          </p:txBody>
        </p:sp>
        <p:sp>
          <p:nvSpPr>
            <p:cNvPr id="72" name="Freeform 28"/>
            <p:cNvSpPr>
              <a:spLocks/>
            </p:cNvSpPr>
            <p:nvPr/>
          </p:nvSpPr>
          <p:spPr bwMode="blackWhite">
            <a:xfrm>
              <a:off x="6496050" y="3790951"/>
              <a:ext cx="1062038" cy="949325"/>
            </a:xfrm>
            <a:custGeom>
              <a:avLst/>
              <a:gdLst>
                <a:gd name="T0" fmla="*/ 2147483647 w 867"/>
                <a:gd name="T1" fmla="*/ 2147483647 h 779"/>
                <a:gd name="T2" fmla="*/ 2147483647 w 867"/>
                <a:gd name="T3" fmla="*/ 2147483647 h 779"/>
                <a:gd name="T4" fmla="*/ 2147483647 w 867"/>
                <a:gd name="T5" fmla="*/ 2147483647 h 779"/>
                <a:gd name="T6" fmla="*/ 2147483647 w 867"/>
                <a:gd name="T7" fmla="*/ 2147483647 h 779"/>
                <a:gd name="T8" fmla="*/ 2147483647 w 867"/>
                <a:gd name="T9" fmla="*/ 2147483647 h 779"/>
                <a:gd name="T10" fmla="*/ 2147483647 w 867"/>
                <a:gd name="T11" fmla="*/ 2147483647 h 779"/>
                <a:gd name="T12" fmla="*/ 2147483647 w 867"/>
                <a:gd name="T13" fmla="*/ 2147483647 h 779"/>
                <a:gd name="T14" fmla="*/ 2147483647 w 867"/>
                <a:gd name="T15" fmla="*/ 2147483647 h 779"/>
                <a:gd name="T16" fmla="*/ 2147483647 w 867"/>
                <a:gd name="T17" fmla="*/ 2147483647 h 779"/>
                <a:gd name="T18" fmla="*/ 2147483647 w 867"/>
                <a:gd name="T19" fmla="*/ 2147483647 h 779"/>
                <a:gd name="T20" fmla="*/ 2147483647 w 867"/>
                <a:gd name="T21" fmla="*/ 2147483647 h 779"/>
                <a:gd name="T22" fmla="*/ 2147483647 w 867"/>
                <a:gd name="T23" fmla="*/ 2147483647 h 779"/>
                <a:gd name="T24" fmla="*/ 2147483647 w 867"/>
                <a:gd name="T25" fmla="*/ 0 h 779"/>
                <a:gd name="T26" fmla="*/ 2147483647 w 867"/>
                <a:gd name="T27" fmla="*/ 2147483647 h 779"/>
                <a:gd name="T28" fmla="*/ 2147483647 w 867"/>
                <a:gd name="T29" fmla="*/ 2147483647 h 779"/>
                <a:gd name="T30" fmla="*/ 2147483647 w 867"/>
                <a:gd name="T31" fmla="*/ 2147483647 h 779"/>
                <a:gd name="T32" fmla="*/ 2147483647 w 867"/>
                <a:gd name="T33" fmla="*/ 2147483647 h 779"/>
                <a:gd name="T34" fmla="*/ 2147483647 w 867"/>
                <a:gd name="T35" fmla="*/ 2147483647 h 779"/>
                <a:gd name="T36" fmla="*/ 2147483647 w 867"/>
                <a:gd name="T37" fmla="*/ 2147483647 h 779"/>
                <a:gd name="T38" fmla="*/ 2147483647 w 867"/>
                <a:gd name="T39" fmla="*/ 2147483647 h 779"/>
                <a:gd name="T40" fmla="*/ 2147483647 w 867"/>
                <a:gd name="T41" fmla="*/ 2147483647 h 779"/>
                <a:gd name="T42" fmla="*/ 2147483647 w 867"/>
                <a:gd name="T43" fmla="*/ 2147483647 h 779"/>
                <a:gd name="T44" fmla="*/ 2147483647 w 867"/>
                <a:gd name="T45" fmla="*/ 2147483647 h 779"/>
                <a:gd name="T46" fmla="*/ 2147483647 w 867"/>
                <a:gd name="T47" fmla="*/ 2147483647 h 779"/>
                <a:gd name="T48" fmla="*/ 2147483647 w 867"/>
                <a:gd name="T49" fmla="*/ 2147483647 h 779"/>
                <a:gd name="T50" fmla="*/ 0 w 867"/>
                <a:gd name="T51" fmla="*/ 2147483647 h 779"/>
                <a:gd name="T52" fmla="*/ 2147483647 w 867"/>
                <a:gd name="T53" fmla="*/ 2147483647 h 779"/>
                <a:gd name="T54" fmla="*/ 2147483647 w 867"/>
                <a:gd name="T55" fmla="*/ 2147483647 h 77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67"/>
                <a:gd name="T85" fmla="*/ 0 h 779"/>
                <a:gd name="T86" fmla="*/ 867 w 867"/>
                <a:gd name="T87" fmla="*/ 779 h 77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67" h="779">
                  <a:moveTo>
                    <a:pt x="379" y="778"/>
                  </a:moveTo>
                  <a:lnTo>
                    <a:pt x="402" y="748"/>
                  </a:lnTo>
                  <a:lnTo>
                    <a:pt x="425" y="721"/>
                  </a:lnTo>
                  <a:lnTo>
                    <a:pt x="452" y="694"/>
                  </a:lnTo>
                  <a:lnTo>
                    <a:pt x="480" y="671"/>
                  </a:lnTo>
                  <a:lnTo>
                    <a:pt x="514" y="646"/>
                  </a:lnTo>
                  <a:lnTo>
                    <a:pt x="550" y="626"/>
                  </a:lnTo>
                  <a:lnTo>
                    <a:pt x="588" y="609"/>
                  </a:lnTo>
                  <a:lnTo>
                    <a:pt x="627" y="594"/>
                  </a:lnTo>
                  <a:lnTo>
                    <a:pt x="668" y="585"/>
                  </a:lnTo>
                  <a:lnTo>
                    <a:pt x="692" y="750"/>
                  </a:lnTo>
                  <a:lnTo>
                    <a:pt x="866" y="349"/>
                  </a:lnTo>
                  <a:lnTo>
                    <a:pt x="605" y="0"/>
                  </a:lnTo>
                  <a:lnTo>
                    <a:pt x="606" y="149"/>
                  </a:lnTo>
                  <a:lnTo>
                    <a:pt x="545" y="162"/>
                  </a:lnTo>
                  <a:lnTo>
                    <a:pt x="484" y="180"/>
                  </a:lnTo>
                  <a:lnTo>
                    <a:pt x="425" y="201"/>
                  </a:lnTo>
                  <a:lnTo>
                    <a:pt x="368" y="225"/>
                  </a:lnTo>
                  <a:lnTo>
                    <a:pt x="313" y="255"/>
                  </a:lnTo>
                  <a:lnTo>
                    <a:pt x="259" y="287"/>
                  </a:lnTo>
                  <a:lnTo>
                    <a:pt x="208" y="325"/>
                  </a:lnTo>
                  <a:lnTo>
                    <a:pt x="160" y="366"/>
                  </a:lnTo>
                  <a:lnTo>
                    <a:pt x="115" y="411"/>
                  </a:lnTo>
                  <a:lnTo>
                    <a:pt x="74" y="458"/>
                  </a:lnTo>
                  <a:lnTo>
                    <a:pt x="35" y="509"/>
                  </a:lnTo>
                  <a:lnTo>
                    <a:pt x="0" y="563"/>
                  </a:lnTo>
                  <a:lnTo>
                    <a:pt x="247" y="564"/>
                  </a:lnTo>
                  <a:lnTo>
                    <a:pt x="379" y="778"/>
                  </a:lnTo>
                </a:path>
              </a:pathLst>
            </a:custGeom>
            <a:solidFill>
              <a:srgbClr val="313131"/>
            </a:solidFill>
            <a:ln w="12700" cap="rnd">
              <a:solidFill>
                <a:schemeClr val="bg1"/>
              </a:solidFill>
              <a:round/>
              <a:headEnd/>
              <a:tailEnd/>
            </a:ln>
          </p:spPr>
          <p:txBody>
            <a:bodyPr/>
            <a:lstStyle/>
            <a:p>
              <a:pPr defTabSz="685800">
                <a:buClrTx/>
              </a:pPr>
              <a:endParaRPr lang="en-US" sz="1050" kern="1200">
                <a:solidFill>
                  <a:prstClr val="white"/>
                </a:solidFill>
                <a:ea typeface="+mn-ea"/>
                <a:cs typeface="+mn-cs"/>
              </a:endParaRPr>
            </a:p>
          </p:txBody>
        </p:sp>
        <p:sp>
          <p:nvSpPr>
            <p:cNvPr id="73" name="Freeform 29"/>
            <p:cNvSpPr>
              <a:spLocks/>
            </p:cNvSpPr>
            <p:nvPr/>
          </p:nvSpPr>
          <p:spPr bwMode="blackWhite">
            <a:xfrm>
              <a:off x="6230938" y="4511676"/>
              <a:ext cx="833437" cy="950912"/>
            </a:xfrm>
            <a:custGeom>
              <a:avLst/>
              <a:gdLst>
                <a:gd name="T0" fmla="*/ 2147483647 w 680"/>
                <a:gd name="T1" fmla="*/ 0 h 780"/>
                <a:gd name="T2" fmla="*/ 0 w 680"/>
                <a:gd name="T3" fmla="*/ 2147483647 h 780"/>
                <a:gd name="T4" fmla="*/ 2147483647 w 680"/>
                <a:gd name="T5" fmla="*/ 2147483647 h 780"/>
                <a:gd name="T6" fmla="*/ 2147483647 w 680"/>
                <a:gd name="T7" fmla="*/ 2147483647 h 780"/>
                <a:gd name="T8" fmla="*/ 2147483647 w 680"/>
                <a:gd name="T9" fmla="*/ 2147483647 h 780"/>
                <a:gd name="T10" fmla="*/ 2147483647 w 680"/>
                <a:gd name="T11" fmla="*/ 2147483647 h 780"/>
                <a:gd name="T12" fmla="*/ 2147483647 w 680"/>
                <a:gd name="T13" fmla="*/ 2147483647 h 780"/>
                <a:gd name="T14" fmla="*/ 2147483647 w 680"/>
                <a:gd name="T15" fmla="*/ 2147483647 h 780"/>
                <a:gd name="T16" fmla="*/ 2147483647 w 680"/>
                <a:gd name="T17" fmla="*/ 2147483647 h 780"/>
                <a:gd name="T18" fmla="*/ 2147483647 w 680"/>
                <a:gd name="T19" fmla="*/ 2147483647 h 780"/>
                <a:gd name="T20" fmla="*/ 2147483647 w 680"/>
                <a:gd name="T21" fmla="*/ 2147483647 h 780"/>
                <a:gd name="T22" fmla="*/ 2147483647 w 680"/>
                <a:gd name="T23" fmla="*/ 2147483647 h 780"/>
                <a:gd name="T24" fmla="*/ 2147483647 w 680"/>
                <a:gd name="T25" fmla="*/ 2147483647 h 780"/>
                <a:gd name="T26" fmla="*/ 2147483647 w 680"/>
                <a:gd name="T27" fmla="*/ 2147483647 h 780"/>
                <a:gd name="T28" fmla="*/ 2147483647 w 680"/>
                <a:gd name="T29" fmla="*/ 2147483647 h 780"/>
                <a:gd name="T30" fmla="*/ 2147483647 w 680"/>
                <a:gd name="T31" fmla="*/ 2147483647 h 780"/>
                <a:gd name="T32" fmla="*/ 2147483647 w 680"/>
                <a:gd name="T33" fmla="*/ 2147483647 h 780"/>
                <a:gd name="T34" fmla="*/ 2147483647 w 680"/>
                <a:gd name="T35" fmla="*/ 2147483647 h 780"/>
                <a:gd name="T36" fmla="*/ 2147483647 w 680"/>
                <a:gd name="T37" fmla="*/ 2147483647 h 780"/>
                <a:gd name="T38" fmla="*/ 2147483647 w 680"/>
                <a:gd name="T39" fmla="*/ 2147483647 h 780"/>
                <a:gd name="T40" fmla="*/ 2147483647 w 680"/>
                <a:gd name="T41" fmla="*/ 2147483647 h 780"/>
                <a:gd name="T42" fmla="*/ 2147483647 w 680"/>
                <a:gd name="T43" fmla="*/ 2147483647 h 780"/>
                <a:gd name="T44" fmla="*/ 2147483647 w 680"/>
                <a:gd name="T45" fmla="*/ 2147483647 h 780"/>
                <a:gd name="T46" fmla="*/ 2147483647 w 680"/>
                <a:gd name="T47" fmla="*/ 2147483647 h 780"/>
                <a:gd name="T48" fmla="*/ 2147483647 w 680"/>
                <a:gd name="T49" fmla="*/ 2147483647 h 780"/>
                <a:gd name="T50" fmla="*/ 2147483647 w 680"/>
                <a:gd name="T51" fmla="*/ 0 h 78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0"/>
                <a:gd name="T79" fmla="*/ 0 h 780"/>
                <a:gd name="T80" fmla="*/ 680 w 680"/>
                <a:gd name="T81" fmla="*/ 780 h 78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0" h="780">
                  <a:moveTo>
                    <a:pt x="448" y="0"/>
                  </a:moveTo>
                  <a:lnTo>
                    <a:pt x="0" y="1"/>
                  </a:lnTo>
                  <a:lnTo>
                    <a:pt x="141" y="82"/>
                  </a:lnTo>
                  <a:lnTo>
                    <a:pt x="120" y="138"/>
                  </a:lnTo>
                  <a:lnTo>
                    <a:pt x="102" y="196"/>
                  </a:lnTo>
                  <a:lnTo>
                    <a:pt x="89" y="253"/>
                  </a:lnTo>
                  <a:lnTo>
                    <a:pt x="80" y="313"/>
                  </a:lnTo>
                  <a:lnTo>
                    <a:pt x="74" y="373"/>
                  </a:lnTo>
                  <a:lnTo>
                    <a:pt x="73" y="431"/>
                  </a:lnTo>
                  <a:lnTo>
                    <a:pt x="75" y="491"/>
                  </a:lnTo>
                  <a:lnTo>
                    <a:pt x="82" y="551"/>
                  </a:lnTo>
                  <a:lnTo>
                    <a:pt x="93" y="609"/>
                  </a:lnTo>
                  <a:lnTo>
                    <a:pt x="107" y="668"/>
                  </a:lnTo>
                  <a:lnTo>
                    <a:pt x="126" y="724"/>
                  </a:lnTo>
                  <a:lnTo>
                    <a:pt x="148" y="779"/>
                  </a:lnTo>
                  <a:lnTo>
                    <a:pt x="324" y="566"/>
                  </a:lnTo>
                  <a:lnTo>
                    <a:pt x="551" y="603"/>
                  </a:lnTo>
                  <a:lnTo>
                    <a:pt x="535" y="562"/>
                  </a:lnTo>
                  <a:lnTo>
                    <a:pt x="523" y="521"/>
                  </a:lnTo>
                  <a:lnTo>
                    <a:pt x="516" y="478"/>
                  </a:lnTo>
                  <a:lnTo>
                    <a:pt x="512" y="435"/>
                  </a:lnTo>
                  <a:lnTo>
                    <a:pt x="513" y="391"/>
                  </a:lnTo>
                  <a:lnTo>
                    <a:pt x="518" y="348"/>
                  </a:lnTo>
                  <a:lnTo>
                    <a:pt x="528" y="306"/>
                  </a:lnTo>
                  <a:lnTo>
                    <a:pt x="679" y="392"/>
                  </a:lnTo>
                  <a:lnTo>
                    <a:pt x="448" y="0"/>
                  </a:lnTo>
                </a:path>
              </a:pathLst>
            </a:custGeom>
            <a:solidFill>
              <a:srgbClr val="575757"/>
            </a:solidFill>
            <a:ln w="12700" cap="rnd">
              <a:solidFill>
                <a:schemeClr val="bg1"/>
              </a:solidFill>
              <a:round/>
              <a:headEnd/>
              <a:tailEnd/>
            </a:ln>
          </p:spPr>
          <p:txBody>
            <a:bodyPr/>
            <a:lstStyle/>
            <a:p>
              <a:pPr defTabSz="685800">
                <a:buClrTx/>
              </a:pPr>
              <a:endParaRPr lang="en-US" sz="1050" kern="1200">
                <a:solidFill>
                  <a:prstClr val="white"/>
                </a:solidFill>
                <a:ea typeface="+mn-ea"/>
                <a:cs typeface="+mn-cs"/>
              </a:endParaRPr>
            </a:p>
          </p:txBody>
        </p:sp>
        <p:sp>
          <p:nvSpPr>
            <p:cNvPr id="80" name="Rectangle 34"/>
            <p:cNvSpPr>
              <a:spLocks noChangeArrowheads="1"/>
            </p:cNvSpPr>
            <p:nvPr/>
          </p:nvSpPr>
          <p:spPr bwMode="blackWhite">
            <a:xfrm>
              <a:off x="7731556" y="4336718"/>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a:solidFill>
                    <a:prstClr val="white"/>
                  </a:solidFill>
                  <a:ea typeface="+mn-ea"/>
                  <a:cs typeface="+mn-cs"/>
                </a:rPr>
                <a:t>Text</a:t>
              </a:r>
            </a:p>
          </p:txBody>
        </p:sp>
        <p:sp>
          <p:nvSpPr>
            <p:cNvPr id="85" name="Rectangle 39"/>
            <p:cNvSpPr>
              <a:spLocks noChangeArrowheads="1"/>
            </p:cNvSpPr>
            <p:nvPr/>
          </p:nvSpPr>
          <p:spPr bwMode="blackWhite">
            <a:xfrm>
              <a:off x="8037151" y="5022518"/>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dirty="0">
                  <a:solidFill>
                    <a:srgbClr val="313131"/>
                  </a:solidFill>
                  <a:ea typeface="+mn-ea"/>
                  <a:cs typeface="+mn-cs"/>
                </a:rPr>
                <a:t>Text</a:t>
              </a:r>
            </a:p>
          </p:txBody>
        </p:sp>
        <p:sp>
          <p:nvSpPr>
            <p:cNvPr id="86" name="Rectangle 40"/>
            <p:cNvSpPr>
              <a:spLocks noChangeArrowheads="1"/>
            </p:cNvSpPr>
            <p:nvPr/>
          </p:nvSpPr>
          <p:spPr bwMode="blackWhite">
            <a:xfrm>
              <a:off x="7503751" y="5708318"/>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dirty="0">
                  <a:solidFill>
                    <a:srgbClr val="313131"/>
                  </a:solidFill>
                  <a:ea typeface="+mn-ea"/>
                  <a:cs typeface="+mn-cs"/>
                </a:rPr>
                <a:t>Text</a:t>
              </a:r>
            </a:p>
          </p:txBody>
        </p:sp>
        <p:sp>
          <p:nvSpPr>
            <p:cNvPr id="87" name="Rectangle 41"/>
            <p:cNvSpPr>
              <a:spLocks noChangeArrowheads="1"/>
            </p:cNvSpPr>
            <p:nvPr/>
          </p:nvSpPr>
          <p:spPr bwMode="blackWhite">
            <a:xfrm>
              <a:off x="6665551" y="5555918"/>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dirty="0">
                  <a:solidFill>
                    <a:prstClr val="white"/>
                  </a:solidFill>
                  <a:ea typeface="+mn-ea"/>
                  <a:cs typeface="+mn-cs"/>
                </a:rPr>
                <a:t>Text</a:t>
              </a:r>
            </a:p>
          </p:txBody>
        </p:sp>
        <p:sp>
          <p:nvSpPr>
            <p:cNvPr id="88" name="Rectangle 42"/>
            <p:cNvSpPr>
              <a:spLocks noChangeArrowheads="1"/>
            </p:cNvSpPr>
            <p:nvPr/>
          </p:nvSpPr>
          <p:spPr bwMode="blackWhite">
            <a:xfrm>
              <a:off x="6436951" y="4870118"/>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dirty="0">
                  <a:solidFill>
                    <a:prstClr val="white"/>
                  </a:solidFill>
                  <a:ea typeface="+mn-ea"/>
                  <a:cs typeface="+mn-cs"/>
                </a:rPr>
                <a:t>Text</a:t>
              </a:r>
            </a:p>
          </p:txBody>
        </p:sp>
        <p:sp>
          <p:nvSpPr>
            <p:cNvPr id="89" name="Rectangle 43"/>
            <p:cNvSpPr>
              <a:spLocks noChangeArrowheads="1"/>
            </p:cNvSpPr>
            <p:nvPr/>
          </p:nvSpPr>
          <p:spPr bwMode="blackWhite">
            <a:xfrm>
              <a:off x="6857639" y="4195431"/>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dirty="0">
                  <a:solidFill>
                    <a:prstClr val="white"/>
                  </a:solidFill>
                  <a:ea typeface="+mn-ea"/>
                  <a:cs typeface="+mn-cs"/>
                </a:rPr>
                <a:t>Text</a:t>
              </a:r>
            </a:p>
          </p:txBody>
        </p:sp>
      </p:grpSp>
      <p:grpSp>
        <p:nvGrpSpPr>
          <p:cNvPr id="101" name="Group 100"/>
          <p:cNvGrpSpPr/>
          <p:nvPr/>
        </p:nvGrpSpPr>
        <p:grpSpPr>
          <a:xfrm>
            <a:off x="3674269" y="2933701"/>
            <a:ext cx="1790700" cy="1712119"/>
            <a:chOff x="3375025" y="3911601"/>
            <a:chExt cx="2387600" cy="2282825"/>
          </a:xfrm>
        </p:grpSpPr>
        <p:sp>
          <p:nvSpPr>
            <p:cNvPr id="63" name="Freeform 19"/>
            <p:cNvSpPr>
              <a:spLocks/>
            </p:cNvSpPr>
            <p:nvPr/>
          </p:nvSpPr>
          <p:spPr bwMode="blackWhite">
            <a:xfrm>
              <a:off x="3617913" y="3911601"/>
              <a:ext cx="1195387" cy="974725"/>
            </a:xfrm>
            <a:custGeom>
              <a:avLst/>
              <a:gdLst>
                <a:gd name="T0" fmla="*/ 2147483647 w 973"/>
                <a:gd name="T1" fmla="*/ 2147483647 h 805"/>
                <a:gd name="T2" fmla="*/ 2147483647 w 973"/>
                <a:gd name="T3" fmla="*/ 2147483647 h 805"/>
                <a:gd name="T4" fmla="*/ 2147483647 w 973"/>
                <a:gd name="T5" fmla="*/ 2147483647 h 805"/>
                <a:gd name="T6" fmla="*/ 2147483647 w 973"/>
                <a:gd name="T7" fmla="*/ 2147483647 h 805"/>
                <a:gd name="T8" fmla="*/ 2147483647 w 973"/>
                <a:gd name="T9" fmla="*/ 2147483647 h 805"/>
                <a:gd name="T10" fmla="*/ 2147483647 w 973"/>
                <a:gd name="T11" fmla="*/ 2147483647 h 805"/>
                <a:gd name="T12" fmla="*/ 2147483647 w 973"/>
                <a:gd name="T13" fmla="*/ 2147483647 h 805"/>
                <a:gd name="T14" fmla="*/ 2147483647 w 973"/>
                <a:gd name="T15" fmla="*/ 2147483647 h 805"/>
                <a:gd name="T16" fmla="*/ 2147483647 w 973"/>
                <a:gd name="T17" fmla="*/ 2147483647 h 805"/>
                <a:gd name="T18" fmla="*/ 2147483647 w 973"/>
                <a:gd name="T19" fmla="*/ 2147483647 h 805"/>
                <a:gd name="T20" fmla="*/ 2147483647 w 973"/>
                <a:gd name="T21" fmla="*/ 2147483647 h 805"/>
                <a:gd name="T22" fmla="*/ 2147483647 w 973"/>
                <a:gd name="T23" fmla="*/ 2147483647 h 805"/>
                <a:gd name="T24" fmla="*/ 2147483647 w 973"/>
                <a:gd name="T25" fmla="*/ 2147483647 h 805"/>
                <a:gd name="T26" fmla="*/ 2147483647 w 973"/>
                <a:gd name="T27" fmla="*/ 0 h 805"/>
                <a:gd name="T28" fmla="*/ 2147483647 w 973"/>
                <a:gd name="T29" fmla="*/ 2147483647 h 805"/>
                <a:gd name="T30" fmla="*/ 2147483647 w 973"/>
                <a:gd name="T31" fmla="*/ 2147483647 h 805"/>
                <a:gd name="T32" fmla="*/ 2147483647 w 973"/>
                <a:gd name="T33" fmla="*/ 2147483647 h 805"/>
                <a:gd name="T34" fmla="*/ 2147483647 w 973"/>
                <a:gd name="T35" fmla="*/ 2147483647 h 805"/>
                <a:gd name="T36" fmla="*/ 2147483647 w 973"/>
                <a:gd name="T37" fmla="*/ 2147483647 h 805"/>
                <a:gd name="T38" fmla="*/ 2147483647 w 973"/>
                <a:gd name="T39" fmla="*/ 2147483647 h 805"/>
                <a:gd name="T40" fmla="*/ 2147483647 w 973"/>
                <a:gd name="T41" fmla="*/ 2147483647 h 805"/>
                <a:gd name="T42" fmla="*/ 2147483647 w 973"/>
                <a:gd name="T43" fmla="*/ 2147483647 h 805"/>
                <a:gd name="T44" fmla="*/ 2147483647 w 973"/>
                <a:gd name="T45" fmla="*/ 2147483647 h 805"/>
                <a:gd name="T46" fmla="*/ 2147483647 w 973"/>
                <a:gd name="T47" fmla="*/ 2147483647 h 805"/>
                <a:gd name="T48" fmla="*/ 2147483647 w 973"/>
                <a:gd name="T49" fmla="*/ 2147483647 h 805"/>
                <a:gd name="T50" fmla="*/ 2147483647 w 973"/>
                <a:gd name="T51" fmla="*/ 2147483647 h 805"/>
                <a:gd name="T52" fmla="*/ 2147483647 w 973"/>
                <a:gd name="T53" fmla="*/ 2147483647 h 805"/>
                <a:gd name="T54" fmla="*/ 2147483647 w 973"/>
                <a:gd name="T55" fmla="*/ 2147483647 h 805"/>
                <a:gd name="T56" fmla="*/ 2147483647 w 973"/>
                <a:gd name="T57" fmla="*/ 2147483647 h 805"/>
                <a:gd name="T58" fmla="*/ 0 w 973"/>
                <a:gd name="T59" fmla="*/ 2147483647 h 805"/>
                <a:gd name="T60" fmla="*/ 2147483647 w 973"/>
                <a:gd name="T61" fmla="*/ 2147483647 h 805"/>
                <a:gd name="T62" fmla="*/ 2147483647 w 973"/>
                <a:gd name="T63" fmla="*/ 2147483647 h 80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73"/>
                <a:gd name="T97" fmla="*/ 0 h 805"/>
                <a:gd name="T98" fmla="*/ 973 w 973"/>
                <a:gd name="T99" fmla="*/ 805 h 80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73" h="805">
                  <a:moveTo>
                    <a:pt x="402" y="804"/>
                  </a:moveTo>
                  <a:lnTo>
                    <a:pt x="424" y="765"/>
                  </a:lnTo>
                  <a:lnTo>
                    <a:pt x="450" y="730"/>
                  </a:lnTo>
                  <a:lnTo>
                    <a:pt x="479" y="698"/>
                  </a:lnTo>
                  <a:lnTo>
                    <a:pt x="512" y="668"/>
                  </a:lnTo>
                  <a:lnTo>
                    <a:pt x="548" y="642"/>
                  </a:lnTo>
                  <a:lnTo>
                    <a:pt x="583" y="621"/>
                  </a:lnTo>
                  <a:lnTo>
                    <a:pt x="620" y="603"/>
                  </a:lnTo>
                  <a:lnTo>
                    <a:pt x="660" y="589"/>
                  </a:lnTo>
                  <a:lnTo>
                    <a:pt x="699" y="579"/>
                  </a:lnTo>
                  <a:lnTo>
                    <a:pt x="740" y="572"/>
                  </a:lnTo>
                  <a:lnTo>
                    <a:pt x="752" y="722"/>
                  </a:lnTo>
                  <a:lnTo>
                    <a:pt x="972" y="356"/>
                  </a:lnTo>
                  <a:lnTo>
                    <a:pt x="712" y="0"/>
                  </a:lnTo>
                  <a:lnTo>
                    <a:pt x="713" y="134"/>
                  </a:lnTo>
                  <a:lnTo>
                    <a:pt x="651" y="142"/>
                  </a:lnTo>
                  <a:lnTo>
                    <a:pt x="590" y="154"/>
                  </a:lnTo>
                  <a:lnTo>
                    <a:pt x="530" y="170"/>
                  </a:lnTo>
                  <a:lnTo>
                    <a:pt x="471" y="191"/>
                  </a:lnTo>
                  <a:lnTo>
                    <a:pt x="414" y="216"/>
                  </a:lnTo>
                  <a:lnTo>
                    <a:pt x="359" y="245"/>
                  </a:lnTo>
                  <a:lnTo>
                    <a:pt x="305" y="278"/>
                  </a:lnTo>
                  <a:lnTo>
                    <a:pt x="257" y="312"/>
                  </a:lnTo>
                  <a:lnTo>
                    <a:pt x="212" y="349"/>
                  </a:lnTo>
                  <a:lnTo>
                    <a:pt x="170" y="390"/>
                  </a:lnTo>
                  <a:lnTo>
                    <a:pt x="129" y="432"/>
                  </a:lnTo>
                  <a:lnTo>
                    <a:pt x="92" y="478"/>
                  </a:lnTo>
                  <a:lnTo>
                    <a:pt x="58" y="526"/>
                  </a:lnTo>
                  <a:lnTo>
                    <a:pt x="27" y="576"/>
                  </a:lnTo>
                  <a:lnTo>
                    <a:pt x="0" y="628"/>
                  </a:lnTo>
                  <a:lnTo>
                    <a:pt x="264" y="607"/>
                  </a:lnTo>
                  <a:lnTo>
                    <a:pt x="402" y="804"/>
                  </a:lnTo>
                </a:path>
              </a:pathLst>
            </a:custGeom>
            <a:solidFill>
              <a:srgbClr val="575757"/>
            </a:solidFill>
            <a:ln w="12700" cap="rnd">
              <a:solidFill>
                <a:schemeClr val="bg1"/>
              </a:solidFill>
              <a:round/>
              <a:headEnd/>
              <a:tailEnd/>
            </a:ln>
          </p:spPr>
          <p:txBody>
            <a:bodyPr/>
            <a:lstStyle/>
            <a:p>
              <a:pPr defTabSz="685800">
                <a:buClrTx/>
              </a:pPr>
              <a:endParaRPr lang="en-US" sz="1050" kern="1200" dirty="0">
                <a:solidFill>
                  <a:srgbClr val="313131"/>
                </a:solidFill>
                <a:ea typeface="+mn-ea"/>
                <a:cs typeface="+mn-cs"/>
              </a:endParaRPr>
            </a:p>
          </p:txBody>
        </p:sp>
        <p:sp>
          <p:nvSpPr>
            <p:cNvPr id="64" name="Freeform 20"/>
            <p:cNvSpPr>
              <a:spLocks/>
            </p:cNvSpPr>
            <p:nvPr/>
          </p:nvSpPr>
          <p:spPr bwMode="blackWhite">
            <a:xfrm>
              <a:off x="4679950" y="4073526"/>
              <a:ext cx="1082675" cy="992187"/>
            </a:xfrm>
            <a:custGeom>
              <a:avLst/>
              <a:gdLst>
                <a:gd name="T0" fmla="*/ 2147483647 w 881"/>
                <a:gd name="T1" fmla="*/ 2147483647 h 819"/>
                <a:gd name="T2" fmla="*/ 2147483647 w 881"/>
                <a:gd name="T3" fmla="*/ 2147483647 h 819"/>
                <a:gd name="T4" fmla="*/ 2147483647 w 881"/>
                <a:gd name="T5" fmla="*/ 2147483647 h 819"/>
                <a:gd name="T6" fmla="*/ 2147483647 w 881"/>
                <a:gd name="T7" fmla="*/ 2147483647 h 819"/>
                <a:gd name="T8" fmla="*/ 2147483647 w 881"/>
                <a:gd name="T9" fmla="*/ 2147483647 h 819"/>
                <a:gd name="T10" fmla="*/ 2147483647 w 881"/>
                <a:gd name="T11" fmla="*/ 2147483647 h 819"/>
                <a:gd name="T12" fmla="*/ 2147483647 w 881"/>
                <a:gd name="T13" fmla="*/ 2147483647 h 819"/>
                <a:gd name="T14" fmla="*/ 2147483647 w 881"/>
                <a:gd name="T15" fmla="*/ 2147483647 h 819"/>
                <a:gd name="T16" fmla="*/ 2147483647 w 881"/>
                <a:gd name="T17" fmla="*/ 2147483647 h 819"/>
                <a:gd name="T18" fmla="*/ 2147483647 w 881"/>
                <a:gd name="T19" fmla="*/ 2147483647 h 819"/>
                <a:gd name="T20" fmla="*/ 2147483647 w 881"/>
                <a:gd name="T21" fmla="*/ 2147483647 h 819"/>
                <a:gd name="T22" fmla="*/ 2147483647 w 881"/>
                <a:gd name="T23" fmla="*/ 2147483647 h 819"/>
                <a:gd name="T24" fmla="*/ 2147483647 w 881"/>
                <a:gd name="T25" fmla="*/ 2147483647 h 819"/>
                <a:gd name="T26" fmla="*/ 2147483647 w 881"/>
                <a:gd name="T27" fmla="*/ 2147483647 h 819"/>
                <a:gd name="T28" fmla="*/ 2147483647 w 881"/>
                <a:gd name="T29" fmla="*/ 2147483647 h 819"/>
                <a:gd name="T30" fmla="*/ 2147483647 w 881"/>
                <a:gd name="T31" fmla="*/ 2147483647 h 819"/>
                <a:gd name="T32" fmla="*/ 2147483647 w 881"/>
                <a:gd name="T33" fmla="*/ 2147483647 h 819"/>
                <a:gd name="T34" fmla="*/ 2147483647 w 881"/>
                <a:gd name="T35" fmla="*/ 2147483647 h 819"/>
                <a:gd name="T36" fmla="*/ 2147483647 w 881"/>
                <a:gd name="T37" fmla="*/ 2147483647 h 819"/>
                <a:gd name="T38" fmla="*/ 2147483647 w 881"/>
                <a:gd name="T39" fmla="*/ 2147483647 h 819"/>
                <a:gd name="T40" fmla="*/ 0 w 881"/>
                <a:gd name="T41" fmla="*/ 0 h 819"/>
                <a:gd name="T42" fmla="*/ 2147483647 w 881"/>
                <a:gd name="T43" fmla="*/ 2147483647 h 819"/>
                <a:gd name="T44" fmla="*/ 2147483647 w 881"/>
                <a:gd name="T45" fmla="*/ 2147483647 h 819"/>
                <a:gd name="T46" fmla="*/ 2147483647 w 881"/>
                <a:gd name="T47" fmla="*/ 2147483647 h 819"/>
                <a:gd name="T48" fmla="*/ 2147483647 w 881"/>
                <a:gd name="T49" fmla="*/ 2147483647 h 819"/>
                <a:gd name="T50" fmla="*/ 2147483647 w 881"/>
                <a:gd name="T51" fmla="*/ 2147483647 h 819"/>
                <a:gd name="T52" fmla="*/ 2147483647 w 881"/>
                <a:gd name="T53" fmla="*/ 2147483647 h 819"/>
                <a:gd name="T54" fmla="*/ 2147483647 w 881"/>
                <a:gd name="T55" fmla="*/ 2147483647 h 819"/>
                <a:gd name="T56" fmla="*/ 2147483647 w 881"/>
                <a:gd name="T57" fmla="*/ 2147483647 h 819"/>
                <a:gd name="T58" fmla="*/ 2147483647 w 881"/>
                <a:gd name="T59" fmla="*/ 2147483647 h 819"/>
                <a:gd name="T60" fmla="*/ 2147483647 w 881"/>
                <a:gd name="T61" fmla="*/ 2147483647 h 819"/>
                <a:gd name="T62" fmla="*/ 2147483647 w 881"/>
                <a:gd name="T63" fmla="*/ 2147483647 h 819"/>
                <a:gd name="T64" fmla="*/ 2147483647 w 881"/>
                <a:gd name="T65" fmla="*/ 2147483647 h 81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81"/>
                <a:gd name="T100" fmla="*/ 0 h 819"/>
                <a:gd name="T101" fmla="*/ 881 w 881"/>
                <a:gd name="T102" fmla="*/ 819 h 81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81" h="819">
                  <a:moveTo>
                    <a:pt x="583" y="818"/>
                  </a:moveTo>
                  <a:lnTo>
                    <a:pt x="685" y="715"/>
                  </a:lnTo>
                  <a:lnTo>
                    <a:pt x="784" y="609"/>
                  </a:lnTo>
                  <a:lnTo>
                    <a:pt x="880" y="502"/>
                  </a:lnTo>
                  <a:lnTo>
                    <a:pt x="734" y="542"/>
                  </a:lnTo>
                  <a:lnTo>
                    <a:pt x="709" y="487"/>
                  </a:lnTo>
                  <a:lnTo>
                    <a:pt x="681" y="433"/>
                  </a:lnTo>
                  <a:lnTo>
                    <a:pt x="650" y="383"/>
                  </a:lnTo>
                  <a:lnTo>
                    <a:pt x="615" y="334"/>
                  </a:lnTo>
                  <a:lnTo>
                    <a:pt x="576" y="288"/>
                  </a:lnTo>
                  <a:lnTo>
                    <a:pt x="534" y="245"/>
                  </a:lnTo>
                  <a:lnTo>
                    <a:pt x="490" y="204"/>
                  </a:lnTo>
                  <a:lnTo>
                    <a:pt x="443" y="168"/>
                  </a:lnTo>
                  <a:lnTo>
                    <a:pt x="393" y="133"/>
                  </a:lnTo>
                  <a:lnTo>
                    <a:pt x="342" y="103"/>
                  </a:lnTo>
                  <a:lnTo>
                    <a:pt x="288" y="76"/>
                  </a:lnTo>
                  <a:lnTo>
                    <a:pt x="233" y="54"/>
                  </a:lnTo>
                  <a:lnTo>
                    <a:pt x="176" y="34"/>
                  </a:lnTo>
                  <a:lnTo>
                    <a:pt x="118" y="19"/>
                  </a:lnTo>
                  <a:lnTo>
                    <a:pt x="60" y="8"/>
                  </a:lnTo>
                  <a:lnTo>
                    <a:pt x="0" y="0"/>
                  </a:lnTo>
                  <a:lnTo>
                    <a:pt x="147" y="218"/>
                  </a:lnTo>
                  <a:lnTo>
                    <a:pt x="27" y="444"/>
                  </a:lnTo>
                  <a:lnTo>
                    <a:pt x="70" y="456"/>
                  </a:lnTo>
                  <a:lnTo>
                    <a:pt x="111" y="474"/>
                  </a:lnTo>
                  <a:lnTo>
                    <a:pt x="149" y="496"/>
                  </a:lnTo>
                  <a:lnTo>
                    <a:pt x="187" y="522"/>
                  </a:lnTo>
                  <a:lnTo>
                    <a:pt x="220" y="551"/>
                  </a:lnTo>
                  <a:lnTo>
                    <a:pt x="252" y="584"/>
                  </a:lnTo>
                  <a:lnTo>
                    <a:pt x="279" y="618"/>
                  </a:lnTo>
                  <a:lnTo>
                    <a:pt x="302" y="657"/>
                  </a:lnTo>
                  <a:lnTo>
                    <a:pt x="146" y="699"/>
                  </a:lnTo>
                  <a:lnTo>
                    <a:pt x="583" y="818"/>
                  </a:lnTo>
                </a:path>
              </a:pathLst>
            </a:custGeom>
            <a:solidFill>
              <a:schemeClr val="accent1"/>
            </a:solidFill>
            <a:ln w="12700" cap="rnd">
              <a:solidFill>
                <a:schemeClr val="bg1"/>
              </a:solidFill>
              <a:round/>
              <a:headEnd/>
              <a:tailEnd/>
            </a:ln>
          </p:spPr>
          <p:txBody>
            <a:bodyPr/>
            <a:lstStyle/>
            <a:p>
              <a:pPr defTabSz="685800">
                <a:buClrTx/>
              </a:pPr>
              <a:endParaRPr lang="en-US" sz="1050" kern="1200">
                <a:solidFill>
                  <a:prstClr val="white"/>
                </a:solidFill>
                <a:ea typeface="+mn-ea"/>
                <a:cs typeface="+mn-cs"/>
              </a:endParaRPr>
            </a:p>
          </p:txBody>
        </p:sp>
        <p:sp>
          <p:nvSpPr>
            <p:cNvPr id="65" name="Freeform 21"/>
            <p:cNvSpPr>
              <a:spLocks/>
            </p:cNvSpPr>
            <p:nvPr/>
          </p:nvSpPr>
          <p:spPr bwMode="blackWhite">
            <a:xfrm>
              <a:off x="4845050" y="4886326"/>
              <a:ext cx="817563" cy="1250950"/>
            </a:xfrm>
            <a:custGeom>
              <a:avLst/>
              <a:gdLst>
                <a:gd name="T0" fmla="*/ 2147483647 w 666"/>
                <a:gd name="T1" fmla="*/ 2147483647 h 1033"/>
                <a:gd name="T2" fmla="*/ 2147483647 w 666"/>
                <a:gd name="T3" fmla="*/ 2147483647 h 1033"/>
                <a:gd name="T4" fmla="*/ 2147483647 w 666"/>
                <a:gd name="T5" fmla="*/ 2147483647 h 1033"/>
                <a:gd name="T6" fmla="*/ 2147483647 w 666"/>
                <a:gd name="T7" fmla="*/ 2147483647 h 1033"/>
                <a:gd name="T8" fmla="*/ 2147483647 w 666"/>
                <a:gd name="T9" fmla="*/ 2147483647 h 1033"/>
                <a:gd name="T10" fmla="*/ 2147483647 w 666"/>
                <a:gd name="T11" fmla="*/ 2147483647 h 1033"/>
                <a:gd name="T12" fmla="*/ 2147483647 w 666"/>
                <a:gd name="T13" fmla="*/ 2147483647 h 1033"/>
                <a:gd name="T14" fmla="*/ 2147483647 w 666"/>
                <a:gd name="T15" fmla="*/ 2147483647 h 1033"/>
                <a:gd name="T16" fmla="*/ 2147483647 w 666"/>
                <a:gd name="T17" fmla="*/ 2147483647 h 1033"/>
                <a:gd name="T18" fmla="*/ 2147483647 w 666"/>
                <a:gd name="T19" fmla="*/ 2147483647 h 1033"/>
                <a:gd name="T20" fmla="*/ 2147483647 w 666"/>
                <a:gd name="T21" fmla="*/ 2147483647 h 1033"/>
                <a:gd name="T22" fmla="*/ 0 w 666"/>
                <a:gd name="T23" fmla="*/ 2147483647 h 1033"/>
                <a:gd name="T24" fmla="*/ 0 w 666"/>
                <a:gd name="T25" fmla="*/ 2147483647 h 1033"/>
                <a:gd name="T26" fmla="*/ 2147483647 w 666"/>
                <a:gd name="T27" fmla="*/ 2147483647 h 1033"/>
                <a:gd name="T28" fmla="*/ 2147483647 w 666"/>
                <a:gd name="T29" fmla="*/ 2147483647 h 1033"/>
                <a:gd name="T30" fmla="*/ 2147483647 w 666"/>
                <a:gd name="T31" fmla="*/ 2147483647 h 1033"/>
                <a:gd name="T32" fmla="*/ 2147483647 w 666"/>
                <a:gd name="T33" fmla="*/ 2147483647 h 1033"/>
                <a:gd name="T34" fmla="*/ 2147483647 w 666"/>
                <a:gd name="T35" fmla="*/ 2147483647 h 1033"/>
                <a:gd name="T36" fmla="*/ 2147483647 w 666"/>
                <a:gd name="T37" fmla="*/ 2147483647 h 1033"/>
                <a:gd name="T38" fmla="*/ 2147483647 w 666"/>
                <a:gd name="T39" fmla="*/ 2147483647 h 1033"/>
                <a:gd name="T40" fmla="*/ 2147483647 w 666"/>
                <a:gd name="T41" fmla="*/ 2147483647 h 1033"/>
                <a:gd name="T42" fmla="*/ 2147483647 w 666"/>
                <a:gd name="T43" fmla="*/ 2147483647 h 1033"/>
                <a:gd name="T44" fmla="*/ 2147483647 w 666"/>
                <a:gd name="T45" fmla="*/ 2147483647 h 1033"/>
                <a:gd name="T46" fmla="*/ 2147483647 w 666"/>
                <a:gd name="T47" fmla="*/ 2147483647 h 1033"/>
                <a:gd name="T48" fmla="*/ 2147483647 w 666"/>
                <a:gd name="T49" fmla="*/ 2147483647 h 1033"/>
                <a:gd name="T50" fmla="*/ 2147483647 w 666"/>
                <a:gd name="T51" fmla="*/ 2147483647 h 1033"/>
                <a:gd name="T52" fmla="*/ 2147483647 w 666"/>
                <a:gd name="T53" fmla="*/ 2147483647 h 1033"/>
                <a:gd name="T54" fmla="*/ 2147483647 w 666"/>
                <a:gd name="T55" fmla="*/ 2147483647 h 1033"/>
                <a:gd name="T56" fmla="*/ 2147483647 w 666"/>
                <a:gd name="T57" fmla="*/ 2147483647 h 1033"/>
                <a:gd name="T58" fmla="*/ 2147483647 w 666"/>
                <a:gd name="T59" fmla="*/ 2147483647 h 1033"/>
                <a:gd name="T60" fmla="*/ 2147483647 w 666"/>
                <a:gd name="T61" fmla="*/ 2147483647 h 1033"/>
                <a:gd name="T62" fmla="*/ 2147483647 w 666"/>
                <a:gd name="T63" fmla="*/ 0 h 1033"/>
                <a:gd name="T64" fmla="*/ 2147483647 w 666"/>
                <a:gd name="T65" fmla="*/ 2147483647 h 1033"/>
                <a:gd name="T66" fmla="*/ 2147483647 w 666"/>
                <a:gd name="T67" fmla="*/ 2147483647 h 103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66"/>
                <a:gd name="T103" fmla="*/ 0 h 1033"/>
                <a:gd name="T104" fmla="*/ 666 w 666"/>
                <a:gd name="T105" fmla="*/ 1033 h 103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66" h="1033">
                  <a:moveTo>
                    <a:pt x="217" y="121"/>
                  </a:moveTo>
                  <a:lnTo>
                    <a:pt x="223" y="164"/>
                  </a:lnTo>
                  <a:lnTo>
                    <a:pt x="224" y="209"/>
                  </a:lnTo>
                  <a:lnTo>
                    <a:pt x="222" y="253"/>
                  </a:lnTo>
                  <a:lnTo>
                    <a:pt x="214" y="296"/>
                  </a:lnTo>
                  <a:lnTo>
                    <a:pt x="202" y="339"/>
                  </a:lnTo>
                  <a:lnTo>
                    <a:pt x="187" y="380"/>
                  </a:lnTo>
                  <a:lnTo>
                    <a:pt x="166" y="420"/>
                  </a:lnTo>
                  <a:lnTo>
                    <a:pt x="142" y="457"/>
                  </a:lnTo>
                  <a:lnTo>
                    <a:pt x="114" y="492"/>
                  </a:lnTo>
                  <a:lnTo>
                    <a:pt x="84" y="524"/>
                  </a:lnTo>
                  <a:lnTo>
                    <a:pt x="0" y="371"/>
                  </a:lnTo>
                  <a:lnTo>
                    <a:pt x="0" y="819"/>
                  </a:lnTo>
                  <a:lnTo>
                    <a:pt x="378" y="1032"/>
                  </a:lnTo>
                  <a:lnTo>
                    <a:pt x="306" y="909"/>
                  </a:lnTo>
                  <a:lnTo>
                    <a:pt x="354" y="871"/>
                  </a:lnTo>
                  <a:lnTo>
                    <a:pt x="398" y="831"/>
                  </a:lnTo>
                  <a:lnTo>
                    <a:pt x="440" y="787"/>
                  </a:lnTo>
                  <a:lnTo>
                    <a:pt x="480" y="741"/>
                  </a:lnTo>
                  <a:lnTo>
                    <a:pt x="515" y="692"/>
                  </a:lnTo>
                  <a:lnTo>
                    <a:pt x="547" y="641"/>
                  </a:lnTo>
                  <a:lnTo>
                    <a:pt x="575" y="588"/>
                  </a:lnTo>
                  <a:lnTo>
                    <a:pt x="600" y="533"/>
                  </a:lnTo>
                  <a:lnTo>
                    <a:pt x="621" y="476"/>
                  </a:lnTo>
                  <a:lnTo>
                    <a:pt x="638" y="419"/>
                  </a:lnTo>
                  <a:lnTo>
                    <a:pt x="651" y="359"/>
                  </a:lnTo>
                  <a:lnTo>
                    <a:pt x="659" y="300"/>
                  </a:lnTo>
                  <a:lnTo>
                    <a:pt x="664" y="239"/>
                  </a:lnTo>
                  <a:lnTo>
                    <a:pt x="665" y="180"/>
                  </a:lnTo>
                  <a:lnTo>
                    <a:pt x="662" y="119"/>
                  </a:lnTo>
                  <a:lnTo>
                    <a:pt x="654" y="59"/>
                  </a:lnTo>
                  <a:lnTo>
                    <a:pt x="642" y="0"/>
                  </a:lnTo>
                  <a:lnTo>
                    <a:pt x="454" y="190"/>
                  </a:lnTo>
                  <a:lnTo>
                    <a:pt x="217" y="121"/>
                  </a:lnTo>
                </a:path>
              </a:pathLst>
            </a:custGeom>
            <a:solidFill>
              <a:srgbClr val="DCDCDC"/>
            </a:solidFill>
            <a:ln w="12700" cap="rnd">
              <a:solidFill>
                <a:schemeClr val="bg1"/>
              </a:solidFill>
              <a:round/>
              <a:headEnd/>
              <a:tailEnd/>
            </a:ln>
          </p:spPr>
          <p:txBody>
            <a:bodyPr/>
            <a:lstStyle/>
            <a:p>
              <a:pPr defTabSz="685800">
                <a:buClrTx/>
              </a:pPr>
              <a:endParaRPr lang="en-US" sz="1050" kern="1200">
                <a:solidFill>
                  <a:prstClr val="white"/>
                </a:solidFill>
                <a:ea typeface="+mn-ea"/>
                <a:cs typeface="+mn-cs"/>
              </a:endParaRPr>
            </a:p>
          </p:txBody>
        </p:sp>
        <p:sp>
          <p:nvSpPr>
            <p:cNvPr id="66" name="Freeform 22"/>
            <p:cNvSpPr>
              <a:spLocks/>
            </p:cNvSpPr>
            <p:nvPr/>
          </p:nvSpPr>
          <p:spPr bwMode="blackWhite">
            <a:xfrm>
              <a:off x="3822700" y="5422901"/>
              <a:ext cx="1265238" cy="771525"/>
            </a:xfrm>
            <a:custGeom>
              <a:avLst/>
              <a:gdLst>
                <a:gd name="T0" fmla="*/ 972882 w 1030"/>
                <a:gd name="T1" fmla="*/ 195001 h 637"/>
                <a:gd name="T2" fmla="*/ 924975 w 1030"/>
                <a:gd name="T3" fmla="*/ 211957 h 637"/>
                <a:gd name="T4" fmla="*/ 874611 w 1030"/>
                <a:gd name="T5" fmla="*/ 226492 h 637"/>
                <a:gd name="T6" fmla="*/ 823019 w 1030"/>
                <a:gd name="T7" fmla="*/ 233759 h 637"/>
                <a:gd name="T8" fmla="*/ 771427 w 1030"/>
                <a:gd name="T9" fmla="*/ 237392 h 637"/>
                <a:gd name="T10" fmla="*/ 719834 w 1030"/>
                <a:gd name="T11" fmla="*/ 234970 h 637"/>
                <a:gd name="T12" fmla="*/ 668242 w 1030"/>
                <a:gd name="T13" fmla="*/ 227703 h 637"/>
                <a:gd name="T14" fmla="*/ 616650 w 1030"/>
                <a:gd name="T15" fmla="*/ 216802 h 637"/>
                <a:gd name="T16" fmla="*/ 567514 w 1030"/>
                <a:gd name="T17" fmla="*/ 201057 h 637"/>
                <a:gd name="T18" fmla="*/ 520836 w 1030"/>
                <a:gd name="T19" fmla="*/ 179255 h 637"/>
                <a:gd name="T20" fmla="*/ 476614 w 1030"/>
                <a:gd name="T21" fmla="*/ 153821 h 637"/>
                <a:gd name="T22" fmla="*/ 605594 w 1030"/>
                <a:gd name="T23" fmla="*/ 0 h 637"/>
                <a:gd name="T24" fmla="*/ 89672 w 1030"/>
                <a:gd name="T25" fmla="*/ 184100 h 637"/>
                <a:gd name="T26" fmla="*/ 38080 w 1030"/>
                <a:gd name="T27" fmla="*/ 488108 h 637"/>
                <a:gd name="T28" fmla="*/ 40537 w 1030"/>
                <a:gd name="T29" fmla="*/ 490530 h 637"/>
                <a:gd name="T30" fmla="*/ 0 w 1030"/>
                <a:gd name="T31" fmla="*/ 712177 h 637"/>
                <a:gd name="T32" fmla="*/ 127752 w 1030"/>
                <a:gd name="T33" fmla="*/ 560779 h 637"/>
                <a:gd name="T34" fmla="*/ 190400 w 1030"/>
                <a:gd name="T35" fmla="*/ 603170 h 637"/>
                <a:gd name="T36" fmla="*/ 255504 w 1030"/>
                <a:gd name="T37" fmla="*/ 641928 h 637"/>
                <a:gd name="T38" fmla="*/ 321837 w 1030"/>
                <a:gd name="T39" fmla="*/ 674630 h 637"/>
                <a:gd name="T40" fmla="*/ 391855 w 1030"/>
                <a:gd name="T41" fmla="*/ 702487 h 637"/>
                <a:gd name="T42" fmla="*/ 463102 w 1030"/>
                <a:gd name="T43" fmla="*/ 726711 h 637"/>
                <a:gd name="T44" fmla="*/ 534348 w 1030"/>
                <a:gd name="T45" fmla="*/ 744879 h 637"/>
                <a:gd name="T46" fmla="*/ 609280 w 1030"/>
                <a:gd name="T47" fmla="*/ 759413 h 637"/>
                <a:gd name="T48" fmla="*/ 684211 w 1030"/>
                <a:gd name="T49" fmla="*/ 767891 h 637"/>
                <a:gd name="T50" fmla="*/ 759143 w 1030"/>
                <a:gd name="T51" fmla="*/ 770314 h 637"/>
                <a:gd name="T52" fmla="*/ 834074 w 1030"/>
                <a:gd name="T53" fmla="*/ 767891 h 637"/>
                <a:gd name="T54" fmla="*/ 909006 w 1030"/>
                <a:gd name="T55" fmla="*/ 760624 h 637"/>
                <a:gd name="T56" fmla="*/ 983937 w 1030"/>
                <a:gd name="T57" fmla="*/ 747301 h 637"/>
                <a:gd name="T58" fmla="*/ 1055184 w 1030"/>
                <a:gd name="T59" fmla="*/ 730345 h 637"/>
                <a:gd name="T60" fmla="*/ 1126430 w 1030"/>
                <a:gd name="T61" fmla="*/ 708543 h 637"/>
                <a:gd name="T62" fmla="*/ 1196448 w 1030"/>
                <a:gd name="T63" fmla="*/ 679475 h 637"/>
                <a:gd name="T64" fmla="*/ 1264010 w 1030"/>
                <a:gd name="T65" fmla="*/ 646773 h 637"/>
                <a:gd name="T66" fmla="*/ 976567 w 1030"/>
                <a:gd name="T67" fmla="*/ 482052 h 637"/>
                <a:gd name="T68" fmla="*/ 972882 w 1030"/>
                <a:gd name="T69" fmla="*/ 195001 h 63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30"/>
                <a:gd name="T106" fmla="*/ 0 h 637"/>
                <a:gd name="T107" fmla="*/ 1030 w 1030"/>
                <a:gd name="T108" fmla="*/ 637 h 63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30" h="637">
                  <a:moveTo>
                    <a:pt x="792" y="161"/>
                  </a:moveTo>
                  <a:lnTo>
                    <a:pt x="753" y="175"/>
                  </a:lnTo>
                  <a:lnTo>
                    <a:pt x="712" y="187"/>
                  </a:lnTo>
                  <a:lnTo>
                    <a:pt x="670" y="193"/>
                  </a:lnTo>
                  <a:lnTo>
                    <a:pt x="628" y="196"/>
                  </a:lnTo>
                  <a:lnTo>
                    <a:pt x="586" y="194"/>
                  </a:lnTo>
                  <a:lnTo>
                    <a:pt x="544" y="188"/>
                  </a:lnTo>
                  <a:lnTo>
                    <a:pt x="502" y="179"/>
                  </a:lnTo>
                  <a:lnTo>
                    <a:pt x="462" y="166"/>
                  </a:lnTo>
                  <a:lnTo>
                    <a:pt x="424" y="148"/>
                  </a:lnTo>
                  <a:lnTo>
                    <a:pt x="388" y="127"/>
                  </a:lnTo>
                  <a:lnTo>
                    <a:pt x="493" y="0"/>
                  </a:lnTo>
                  <a:lnTo>
                    <a:pt x="73" y="152"/>
                  </a:lnTo>
                  <a:lnTo>
                    <a:pt x="31" y="403"/>
                  </a:lnTo>
                  <a:lnTo>
                    <a:pt x="33" y="405"/>
                  </a:lnTo>
                  <a:lnTo>
                    <a:pt x="0" y="588"/>
                  </a:lnTo>
                  <a:lnTo>
                    <a:pt x="104" y="463"/>
                  </a:lnTo>
                  <a:lnTo>
                    <a:pt x="155" y="498"/>
                  </a:lnTo>
                  <a:lnTo>
                    <a:pt x="208" y="530"/>
                  </a:lnTo>
                  <a:lnTo>
                    <a:pt x="262" y="557"/>
                  </a:lnTo>
                  <a:lnTo>
                    <a:pt x="319" y="580"/>
                  </a:lnTo>
                  <a:lnTo>
                    <a:pt x="377" y="600"/>
                  </a:lnTo>
                  <a:lnTo>
                    <a:pt x="435" y="615"/>
                  </a:lnTo>
                  <a:lnTo>
                    <a:pt x="496" y="627"/>
                  </a:lnTo>
                  <a:lnTo>
                    <a:pt x="557" y="634"/>
                  </a:lnTo>
                  <a:lnTo>
                    <a:pt x="618" y="636"/>
                  </a:lnTo>
                  <a:lnTo>
                    <a:pt x="679" y="634"/>
                  </a:lnTo>
                  <a:lnTo>
                    <a:pt x="740" y="628"/>
                  </a:lnTo>
                  <a:lnTo>
                    <a:pt x="801" y="617"/>
                  </a:lnTo>
                  <a:lnTo>
                    <a:pt x="859" y="603"/>
                  </a:lnTo>
                  <a:lnTo>
                    <a:pt x="917" y="585"/>
                  </a:lnTo>
                  <a:lnTo>
                    <a:pt x="974" y="561"/>
                  </a:lnTo>
                  <a:lnTo>
                    <a:pt x="1029" y="534"/>
                  </a:lnTo>
                  <a:lnTo>
                    <a:pt x="795" y="398"/>
                  </a:lnTo>
                  <a:lnTo>
                    <a:pt x="792" y="161"/>
                  </a:lnTo>
                </a:path>
              </a:pathLst>
            </a:custGeom>
            <a:solidFill>
              <a:srgbClr val="B4B4B4"/>
            </a:solidFill>
            <a:ln w="12700" cap="rnd">
              <a:solidFill>
                <a:schemeClr val="bg1"/>
              </a:solidFill>
              <a:round/>
              <a:headEnd/>
              <a:tailEnd/>
            </a:ln>
          </p:spPr>
          <p:txBody>
            <a:bodyPr/>
            <a:lstStyle/>
            <a:p>
              <a:pPr defTabSz="685800">
                <a:buClrTx/>
                <a:defRPr/>
              </a:pPr>
              <a:endParaRPr lang="en-US" sz="1050" kern="1200">
                <a:solidFill>
                  <a:prstClr val="white"/>
                </a:solidFill>
                <a:ea typeface="+mn-ea"/>
                <a:cs typeface="+mn-cs"/>
              </a:endParaRPr>
            </a:p>
          </p:txBody>
        </p:sp>
        <p:sp>
          <p:nvSpPr>
            <p:cNvPr id="67" name="Freeform 23"/>
            <p:cNvSpPr>
              <a:spLocks/>
            </p:cNvSpPr>
            <p:nvPr/>
          </p:nvSpPr>
          <p:spPr bwMode="blackWhite">
            <a:xfrm>
              <a:off x="3375025" y="4691063"/>
              <a:ext cx="855663" cy="1174750"/>
            </a:xfrm>
            <a:custGeom>
              <a:avLst/>
              <a:gdLst>
                <a:gd name="T0" fmla="*/ 795509 w 697"/>
                <a:gd name="T1" fmla="*/ 773085 h 971"/>
                <a:gd name="T2" fmla="*/ 762363 w 697"/>
                <a:gd name="T3" fmla="*/ 729531 h 971"/>
                <a:gd name="T4" fmla="*/ 735355 w 697"/>
                <a:gd name="T5" fmla="*/ 681137 h 971"/>
                <a:gd name="T6" fmla="*/ 712030 w 697"/>
                <a:gd name="T7" fmla="*/ 631534 h 971"/>
                <a:gd name="T8" fmla="*/ 694843 w 697"/>
                <a:gd name="T9" fmla="*/ 580721 h 971"/>
                <a:gd name="T10" fmla="*/ 682566 w 697"/>
                <a:gd name="T11" fmla="*/ 527488 h 971"/>
                <a:gd name="T12" fmla="*/ 676428 w 697"/>
                <a:gd name="T13" fmla="*/ 474255 h 971"/>
                <a:gd name="T14" fmla="*/ 675200 w 697"/>
                <a:gd name="T15" fmla="*/ 419813 h 971"/>
                <a:gd name="T16" fmla="*/ 680111 w 697"/>
                <a:gd name="T17" fmla="*/ 365370 h 971"/>
                <a:gd name="T18" fmla="*/ 854435 w 697"/>
                <a:gd name="T19" fmla="*/ 445219 h 971"/>
                <a:gd name="T20" fmla="*/ 546298 w 697"/>
                <a:gd name="T21" fmla="*/ 0 h 971"/>
                <a:gd name="T22" fmla="*/ 0 w 697"/>
                <a:gd name="T23" fmla="*/ 53233 h 971"/>
                <a:gd name="T24" fmla="*/ 181690 w 697"/>
                <a:gd name="T25" fmla="*/ 136711 h 971"/>
                <a:gd name="T26" fmla="*/ 163276 w 697"/>
                <a:gd name="T27" fmla="*/ 209302 h 971"/>
                <a:gd name="T28" fmla="*/ 148544 w 697"/>
                <a:gd name="T29" fmla="*/ 281892 h 971"/>
                <a:gd name="T30" fmla="*/ 142406 w 697"/>
                <a:gd name="T31" fmla="*/ 356901 h 971"/>
                <a:gd name="T32" fmla="*/ 137495 w 697"/>
                <a:gd name="T33" fmla="*/ 431911 h 971"/>
                <a:gd name="T34" fmla="*/ 139951 w 697"/>
                <a:gd name="T35" fmla="*/ 505711 h 971"/>
                <a:gd name="T36" fmla="*/ 147316 w 697"/>
                <a:gd name="T37" fmla="*/ 579511 h 971"/>
                <a:gd name="T38" fmla="*/ 160820 w 697"/>
                <a:gd name="T39" fmla="*/ 653311 h 971"/>
                <a:gd name="T40" fmla="*/ 178007 w 697"/>
                <a:gd name="T41" fmla="*/ 724691 h 971"/>
                <a:gd name="T42" fmla="*/ 200105 w 697"/>
                <a:gd name="T43" fmla="*/ 797282 h 971"/>
                <a:gd name="T44" fmla="*/ 229568 w 697"/>
                <a:gd name="T45" fmla="*/ 866242 h 971"/>
                <a:gd name="T46" fmla="*/ 262714 w 697"/>
                <a:gd name="T47" fmla="*/ 932783 h 971"/>
                <a:gd name="T48" fmla="*/ 299543 w 697"/>
                <a:gd name="T49" fmla="*/ 998114 h 971"/>
                <a:gd name="T50" fmla="*/ 341283 w 697"/>
                <a:gd name="T51" fmla="*/ 1059816 h 971"/>
                <a:gd name="T52" fmla="*/ 387933 w 697"/>
                <a:gd name="T53" fmla="*/ 1119098 h 971"/>
                <a:gd name="T54" fmla="*/ 438266 w 697"/>
                <a:gd name="T55" fmla="*/ 1173540 h 971"/>
                <a:gd name="T56" fmla="*/ 489827 w 697"/>
                <a:gd name="T57" fmla="*/ 883180 h 971"/>
                <a:gd name="T58" fmla="*/ 795509 w 697"/>
                <a:gd name="T59" fmla="*/ 773085 h 97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97"/>
                <a:gd name="T91" fmla="*/ 0 h 971"/>
                <a:gd name="T92" fmla="*/ 697 w 697"/>
                <a:gd name="T93" fmla="*/ 971 h 97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97" h="971">
                  <a:moveTo>
                    <a:pt x="648" y="639"/>
                  </a:moveTo>
                  <a:lnTo>
                    <a:pt x="621" y="603"/>
                  </a:lnTo>
                  <a:lnTo>
                    <a:pt x="599" y="563"/>
                  </a:lnTo>
                  <a:lnTo>
                    <a:pt x="580" y="522"/>
                  </a:lnTo>
                  <a:lnTo>
                    <a:pt x="566" y="480"/>
                  </a:lnTo>
                  <a:lnTo>
                    <a:pt x="556" y="436"/>
                  </a:lnTo>
                  <a:lnTo>
                    <a:pt x="551" y="392"/>
                  </a:lnTo>
                  <a:lnTo>
                    <a:pt x="550" y="347"/>
                  </a:lnTo>
                  <a:lnTo>
                    <a:pt x="554" y="302"/>
                  </a:lnTo>
                  <a:lnTo>
                    <a:pt x="696" y="368"/>
                  </a:lnTo>
                  <a:lnTo>
                    <a:pt x="445" y="0"/>
                  </a:lnTo>
                  <a:lnTo>
                    <a:pt x="0" y="44"/>
                  </a:lnTo>
                  <a:lnTo>
                    <a:pt x="148" y="113"/>
                  </a:lnTo>
                  <a:lnTo>
                    <a:pt x="133" y="173"/>
                  </a:lnTo>
                  <a:lnTo>
                    <a:pt x="121" y="233"/>
                  </a:lnTo>
                  <a:lnTo>
                    <a:pt x="116" y="295"/>
                  </a:lnTo>
                  <a:lnTo>
                    <a:pt x="112" y="357"/>
                  </a:lnTo>
                  <a:lnTo>
                    <a:pt x="114" y="418"/>
                  </a:lnTo>
                  <a:lnTo>
                    <a:pt x="120" y="479"/>
                  </a:lnTo>
                  <a:lnTo>
                    <a:pt x="131" y="540"/>
                  </a:lnTo>
                  <a:lnTo>
                    <a:pt x="145" y="599"/>
                  </a:lnTo>
                  <a:lnTo>
                    <a:pt x="163" y="659"/>
                  </a:lnTo>
                  <a:lnTo>
                    <a:pt x="187" y="716"/>
                  </a:lnTo>
                  <a:lnTo>
                    <a:pt x="214" y="771"/>
                  </a:lnTo>
                  <a:lnTo>
                    <a:pt x="244" y="825"/>
                  </a:lnTo>
                  <a:lnTo>
                    <a:pt x="278" y="876"/>
                  </a:lnTo>
                  <a:lnTo>
                    <a:pt x="316" y="925"/>
                  </a:lnTo>
                  <a:lnTo>
                    <a:pt x="357" y="970"/>
                  </a:lnTo>
                  <a:lnTo>
                    <a:pt x="399" y="730"/>
                  </a:lnTo>
                  <a:lnTo>
                    <a:pt x="648" y="639"/>
                  </a:lnTo>
                </a:path>
              </a:pathLst>
            </a:custGeom>
            <a:solidFill>
              <a:srgbClr val="8C8C8C"/>
            </a:solidFill>
            <a:ln w="12700" cap="rnd">
              <a:solidFill>
                <a:schemeClr val="bg1"/>
              </a:solidFill>
              <a:round/>
              <a:headEnd/>
              <a:tailEnd/>
            </a:ln>
          </p:spPr>
          <p:txBody>
            <a:bodyPr/>
            <a:lstStyle/>
            <a:p>
              <a:pPr defTabSz="685800">
                <a:buClrTx/>
                <a:defRPr/>
              </a:pPr>
              <a:endParaRPr lang="en-US" sz="1050" kern="1200">
                <a:solidFill>
                  <a:prstClr val="white"/>
                </a:solidFill>
                <a:ea typeface="+mn-ea"/>
                <a:cs typeface="+mn-cs"/>
              </a:endParaRPr>
            </a:p>
          </p:txBody>
        </p:sp>
        <p:sp>
          <p:nvSpPr>
            <p:cNvPr id="81" name="Rectangle 35"/>
            <p:cNvSpPr>
              <a:spLocks noChangeArrowheads="1"/>
            </p:cNvSpPr>
            <p:nvPr/>
          </p:nvSpPr>
          <p:spPr bwMode="blackWhite">
            <a:xfrm>
              <a:off x="4912157" y="4412918"/>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a:solidFill>
                    <a:prstClr val="white"/>
                  </a:solidFill>
                  <a:ea typeface="+mn-ea"/>
                  <a:cs typeface="+mn-cs"/>
                </a:rPr>
                <a:t>Text</a:t>
              </a:r>
            </a:p>
          </p:txBody>
        </p:sp>
        <p:sp>
          <p:nvSpPr>
            <p:cNvPr id="90" name="Rectangle 44"/>
            <p:cNvSpPr>
              <a:spLocks noChangeArrowheads="1"/>
            </p:cNvSpPr>
            <p:nvPr/>
          </p:nvSpPr>
          <p:spPr bwMode="blackWhite">
            <a:xfrm>
              <a:off x="5065352" y="5403518"/>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dirty="0">
                  <a:solidFill>
                    <a:srgbClr val="313131"/>
                  </a:solidFill>
                  <a:ea typeface="+mn-ea"/>
                  <a:cs typeface="+mn-cs"/>
                </a:rPr>
                <a:t>Text</a:t>
              </a:r>
            </a:p>
          </p:txBody>
        </p:sp>
        <p:sp>
          <p:nvSpPr>
            <p:cNvPr id="91" name="Rectangle 45"/>
            <p:cNvSpPr>
              <a:spLocks noChangeArrowheads="1"/>
            </p:cNvSpPr>
            <p:nvPr/>
          </p:nvSpPr>
          <p:spPr bwMode="blackWhite">
            <a:xfrm>
              <a:off x="4227152" y="5784518"/>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dirty="0">
                  <a:solidFill>
                    <a:srgbClr val="313131"/>
                  </a:solidFill>
                  <a:ea typeface="+mn-ea"/>
                  <a:cs typeface="+mn-cs"/>
                </a:rPr>
                <a:t>Text</a:t>
              </a:r>
            </a:p>
          </p:txBody>
        </p:sp>
        <p:sp>
          <p:nvSpPr>
            <p:cNvPr id="92" name="Rectangle 46"/>
            <p:cNvSpPr>
              <a:spLocks noChangeArrowheads="1"/>
            </p:cNvSpPr>
            <p:nvPr/>
          </p:nvSpPr>
          <p:spPr bwMode="blackWhite">
            <a:xfrm>
              <a:off x="3617552" y="5098718"/>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a:solidFill>
                    <a:prstClr val="white"/>
                  </a:solidFill>
                  <a:ea typeface="+mn-ea"/>
                  <a:cs typeface="+mn-cs"/>
                </a:rPr>
                <a:t>Text</a:t>
              </a:r>
            </a:p>
          </p:txBody>
        </p:sp>
        <p:sp>
          <p:nvSpPr>
            <p:cNvPr id="93" name="Rectangle 47"/>
            <p:cNvSpPr>
              <a:spLocks noChangeArrowheads="1"/>
            </p:cNvSpPr>
            <p:nvPr/>
          </p:nvSpPr>
          <p:spPr bwMode="blackWhite">
            <a:xfrm>
              <a:off x="3998552" y="4336718"/>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dirty="0">
                  <a:solidFill>
                    <a:prstClr val="white"/>
                  </a:solidFill>
                  <a:ea typeface="+mn-ea"/>
                  <a:cs typeface="+mn-cs"/>
                </a:rPr>
                <a:t>Text</a:t>
              </a:r>
            </a:p>
          </p:txBody>
        </p:sp>
      </p:grpSp>
      <p:grpSp>
        <p:nvGrpSpPr>
          <p:cNvPr id="102" name="Group 101"/>
          <p:cNvGrpSpPr/>
          <p:nvPr/>
        </p:nvGrpSpPr>
        <p:grpSpPr>
          <a:xfrm>
            <a:off x="1440656" y="2844403"/>
            <a:ext cx="1882379" cy="1890713"/>
            <a:chOff x="396875" y="3792538"/>
            <a:chExt cx="2509838" cy="2520950"/>
          </a:xfrm>
        </p:grpSpPr>
        <p:sp>
          <p:nvSpPr>
            <p:cNvPr id="59" name="Freeform 15"/>
            <p:cNvSpPr>
              <a:spLocks/>
            </p:cNvSpPr>
            <p:nvPr/>
          </p:nvSpPr>
          <p:spPr bwMode="blackWhite">
            <a:xfrm>
              <a:off x="547688" y="3792538"/>
              <a:ext cx="1308100" cy="1117600"/>
            </a:xfrm>
            <a:custGeom>
              <a:avLst/>
              <a:gdLst>
                <a:gd name="T0" fmla="*/ 563089 w 1057"/>
                <a:gd name="T1" fmla="*/ 1091523 h 900"/>
                <a:gd name="T2" fmla="*/ 582890 w 1057"/>
                <a:gd name="T3" fmla="*/ 1040610 h 900"/>
                <a:gd name="T4" fmla="*/ 606404 w 1057"/>
                <a:gd name="T5" fmla="*/ 992180 h 900"/>
                <a:gd name="T6" fmla="*/ 636105 w 1057"/>
                <a:gd name="T7" fmla="*/ 946235 h 900"/>
                <a:gd name="T8" fmla="*/ 669519 w 1057"/>
                <a:gd name="T9" fmla="*/ 904014 h 900"/>
                <a:gd name="T10" fmla="*/ 705409 w 1057"/>
                <a:gd name="T11" fmla="*/ 864277 h 900"/>
                <a:gd name="T12" fmla="*/ 746248 w 1057"/>
                <a:gd name="T13" fmla="*/ 828266 h 900"/>
                <a:gd name="T14" fmla="*/ 790800 w 1057"/>
                <a:gd name="T15" fmla="*/ 797221 h 900"/>
                <a:gd name="T16" fmla="*/ 836590 w 1057"/>
                <a:gd name="T17" fmla="*/ 771144 h 900"/>
                <a:gd name="T18" fmla="*/ 882380 w 1057"/>
                <a:gd name="T19" fmla="*/ 751276 h 900"/>
                <a:gd name="T20" fmla="*/ 931882 w 1057"/>
                <a:gd name="T21" fmla="*/ 733891 h 900"/>
                <a:gd name="T22" fmla="*/ 981384 w 1057"/>
                <a:gd name="T23" fmla="*/ 721473 h 900"/>
                <a:gd name="T24" fmla="*/ 1032124 w 1057"/>
                <a:gd name="T25" fmla="*/ 714022 h 900"/>
                <a:gd name="T26" fmla="*/ 1030887 w 1057"/>
                <a:gd name="T27" fmla="*/ 882904 h 900"/>
                <a:gd name="T28" fmla="*/ 1306862 w 1057"/>
                <a:gd name="T29" fmla="*/ 464425 h 900"/>
                <a:gd name="T30" fmla="*/ 1012323 w 1057"/>
                <a:gd name="T31" fmla="*/ 0 h 900"/>
                <a:gd name="T32" fmla="*/ 1013561 w 1057"/>
                <a:gd name="T33" fmla="*/ 170124 h 900"/>
                <a:gd name="T34" fmla="*/ 936832 w 1057"/>
                <a:gd name="T35" fmla="*/ 177574 h 900"/>
                <a:gd name="T36" fmla="*/ 858866 w 1057"/>
                <a:gd name="T37" fmla="*/ 191234 h 900"/>
                <a:gd name="T38" fmla="*/ 784612 w 1057"/>
                <a:gd name="T39" fmla="*/ 208619 h 900"/>
                <a:gd name="T40" fmla="*/ 710359 w 1057"/>
                <a:gd name="T41" fmla="*/ 233454 h 900"/>
                <a:gd name="T42" fmla="*/ 638581 w 1057"/>
                <a:gd name="T43" fmla="*/ 262015 h 900"/>
                <a:gd name="T44" fmla="*/ 569277 w 1057"/>
                <a:gd name="T45" fmla="*/ 295543 h 900"/>
                <a:gd name="T46" fmla="*/ 501211 w 1057"/>
                <a:gd name="T47" fmla="*/ 335280 h 900"/>
                <a:gd name="T48" fmla="*/ 435621 w 1057"/>
                <a:gd name="T49" fmla="*/ 379984 h 900"/>
                <a:gd name="T50" fmla="*/ 373743 w 1057"/>
                <a:gd name="T51" fmla="*/ 429655 h 900"/>
                <a:gd name="T52" fmla="*/ 315578 w 1057"/>
                <a:gd name="T53" fmla="*/ 484293 h 900"/>
                <a:gd name="T54" fmla="*/ 261125 w 1057"/>
                <a:gd name="T55" fmla="*/ 542657 h 900"/>
                <a:gd name="T56" fmla="*/ 210385 w 1057"/>
                <a:gd name="T57" fmla="*/ 603504 h 900"/>
                <a:gd name="T58" fmla="*/ 165833 w 1057"/>
                <a:gd name="T59" fmla="*/ 669318 h 900"/>
                <a:gd name="T60" fmla="*/ 124993 w 1057"/>
                <a:gd name="T61" fmla="*/ 738858 h 900"/>
                <a:gd name="T62" fmla="*/ 89104 w 1057"/>
                <a:gd name="T63" fmla="*/ 810881 h 900"/>
                <a:gd name="T64" fmla="*/ 58165 w 1057"/>
                <a:gd name="T65" fmla="*/ 882904 h 900"/>
                <a:gd name="T66" fmla="*/ 33414 w 1057"/>
                <a:gd name="T67" fmla="*/ 959894 h 900"/>
                <a:gd name="T68" fmla="*/ 13613 w 1057"/>
                <a:gd name="T69" fmla="*/ 1036884 h 900"/>
                <a:gd name="T70" fmla="*/ 0 w 1057"/>
                <a:gd name="T71" fmla="*/ 1116358 h 900"/>
                <a:gd name="T72" fmla="*/ 294539 w 1057"/>
                <a:gd name="T73" fmla="*/ 920157 h 900"/>
                <a:gd name="T74" fmla="*/ 563089 w 1057"/>
                <a:gd name="T75" fmla="*/ 1091523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solidFill>
              <a:srgbClr val="575757"/>
            </a:solidFill>
            <a:ln w="12700" cap="rnd">
              <a:solidFill>
                <a:schemeClr val="bg1"/>
              </a:solidFill>
              <a:round/>
              <a:headEnd/>
              <a:tailEnd/>
            </a:ln>
          </p:spPr>
          <p:txBody>
            <a:bodyPr/>
            <a:lstStyle/>
            <a:p>
              <a:pPr defTabSz="685800">
                <a:buClrTx/>
                <a:defRPr/>
              </a:pPr>
              <a:endParaRPr lang="en-US" sz="1050" kern="1200">
                <a:solidFill>
                  <a:prstClr val="white"/>
                </a:solidFill>
                <a:ea typeface="+mn-ea"/>
                <a:cs typeface="+mn-cs"/>
              </a:endParaRPr>
            </a:p>
          </p:txBody>
        </p:sp>
        <p:sp>
          <p:nvSpPr>
            <p:cNvPr id="60" name="Freeform 16"/>
            <p:cNvSpPr>
              <a:spLocks/>
            </p:cNvSpPr>
            <p:nvPr/>
          </p:nvSpPr>
          <p:spPr bwMode="blackWhite">
            <a:xfrm>
              <a:off x="1422400" y="5189538"/>
              <a:ext cx="1277938" cy="1123950"/>
            </a:xfrm>
            <a:custGeom>
              <a:avLst/>
              <a:gdLst>
                <a:gd name="T0" fmla="*/ 2147483647 w 1033"/>
                <a:gd name="T1" fmla="*/ 2147483647 h 904"/>
                <a:gd name="T2" fmla="*/ 2147483647 w 1033"/>
                <a:gd name="T3" fmla="*/ 2147483647 h 904"/>
                <a:gd name="T4" fmla="*/ 2147483647 w 1033"/>
                <a:gd name="T5" fmla="*/ 2147483647 h 904"/>
                <a:gd name="T6" fmla="*/ 2147483647 w 1033"/>
                <a:gd name="T7" fmla="*/ 2147483647 h 904"/>
                <a:gd name="T8" fmla="*/ 2147483647 w 1033"/>
                <a:gd name="T9" fmla="*/ 2147483647 h 904"/>
                <a:gd name="T10" fmla="*/ 2147483647 w 1033"/>
                <a:gd name="T11" fmla="*/ 2147483647 h 904"/>
                <a:gd name="T12" fmla="*/ 2147483647 w 1033"/>
                <a:gd name="T13" fmla="*/ 2147483647 h 904"/>
                <a:gd name="T14" fmla="*/ 2147483647 w 1033"/>
                <a:gd name="T15" fmla="*/ 2147483647 h 904"/>
                <a:gd name="T16" fmla="*/ 2147483647 w 1033"/>
                <a:gd name="T17" fmla="*/ 2147483647 h 904"/>
                <a:gd name="T18" fmla="*/ 2147483647 w 1033"/>
                <a:gd name="T19" fmla="*/ 2147483647 h 904"/>
                <a:gd name="T20" fmla="*/ 2147483647 w 1033"/>
                <a:gd name="T21" fmla="*/ 2147483647 h 904"/>
                <a:gd name="T22" fmla="*/ 2147483647 w 1033"/>
                <a:gd name="T23" fmla="*/ 2147483647 h 904"/>
                <a:gd name="T24" fmla="*/ 2147483647 w 1033"/>
                <a:gd name="T25" fmla="*/ 2147483647 h 904"/>
                <a:gd name="T26" fmla="*/ 2147483647 w 1033"/>
                <a:gd name="T27" fmla="*/ 2147483647 h 904"/>
                <a:gd name="T28" fmla="*/ 2147483647 w 1033"/>
                <a:gd name="T29" fmla="*/ 2147483647 h 904"/>
                <a:gd name="T30" fmla="*/ 2147483647 w 1033"/>
                <a:gd name="T31" fmla="*/ 2147483647 h 904"/>
                <a:gd name="T32" fmla="*/ 0 w 1033"/>
                <a:gd name="T33" fmla="*/ 2147483647 h 904"/>
                <a:gd name="T34" fmla="*/ 2147483647 w 1033"/>
                <a:gd name="T35" fmla="*/ 2147483647 h 904"/>
                <a:gd name="T36" fmla="*/ 2147483647 w 1033"/>
                <a:gd name="T37" fmla="*/ 2147483647 h 904"/>
                <a:gd name="T38" fmla="*/ 2147483647 w 1033"/>
                <a:gd name="T39" fmla="*/ 2147483647 h 904"/>
                <a:gd name="T40" fmla="*/ 2147483647 w 1033"/>
                <a:gd name="T41" fmla="*/ 2147483647 h 904"/>
                <a:gd name="T42" fmla="*/ 2147483647 w 1033"/>
                <a:gd name="T43" fmla="*/ 2147483647 h 904"/>
                <a:gd name="T44" fmla="*/ 2147483647 w 1033"/>
                <a:gd name="T45" fmla="*/ 2147483647 h 904"/>
                <a:gd name="T46" fmla="*/ 2147483647 w 1033"/>
                <a:gd name="T47" fmla="*/ 2147483647 h 904"/>
                <a:gd name="T48" fmla="*/ 2147483647 w 1033"/>
                <a:gd name="T49" fmla="*/ 2147483647 h 904"/>
                <a:gd name="T50" fmla="*/ 2147483647 w 1033"/>
                <a:gd name="T51" fmla="*/ 2147483647 h 904"/>
                <a:gd name="T52" fmla="*/ 2147483647 w 1033"/>
                <a:gd name="T53" fmla="*/ 2147483647 h 904"/>
                <a:gd name="T54" fmla="*/ 2147483647 w 1033"/>
                <a:gd name="T55" fmla="*/ 2147483647 h 904"/>
                <a:gd name="T56" fmla="*/ 2147483647 w 1033"/>
                <a:gd name="T57" fmla="*/ 2147483647 h 904"/>
                <a:gd name="T58" fmla="*/ 2147483647 w 1033"/>
                <a:gd name="T59" fmla="*/ 2147483647 h 904"/>
                <a:gd name="T60" fmla="*/ 2147483647 w 1033"/>
                <a:gd name="T61" fmla="*/ 2147483647 h 904"/>
                <a:gd name="T62" fmla="*/ 2147483647 w 1033"/>
                <a:gd name="T63" fmla="*/ 2147483647 h 904"/>
                <a:gd name="T64" fmla="*/ 2147483647 w 1033"/>
                <a:gd name="T65" fmla="*/ 2147483647 h 904"/>
                <a:gd name="T66" fmla="*/ 2147483647 w 1033"/>
                <a:gd name="T67" fmla="*/ 2147483647 h 904"/>
                <a:gd name="T68" fmla="*/ 2147483647 w 1033"/>
                <a:gd name="T69" fmla="*/ 2147483647 h 904"/>
                <a:gd name="T70" fmla="*/ 2147483647 w 1033"/>
                <a:gd name="T71" fmla="*/ 2147483647 h 904"/>
                <a:gd name="T72" fmla="*/ 2147483647 w 1033"/>
                <a:gd name="T73" fmla="*/ 2147483647 h 904"/>
                <a:gd name="T74" fmla="*/ 2147483647 w 1033"/>
                <a:gd name="T75" fmla="*/ 2147483647 h 904"/>
                <a:gd name="T76" fmla="*/ 2147483647 w 1033"/>
                <a:gd name="T77" fmla="*/ 0 h 904"/>
                <a:gd name="T78" fmla="*/ 2147483647 w 1033"/>
                <a:gd name="T79" fmla="*/ 2147483647 h 904"/>
                <a:gd name="T80" fmla="*/ 2147483647 w 1033"/>
                <a:gd name="T81" fmla="*/ 2147483647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solidFill>
              <a:srgbClr val="DCDCDC"/>
            </a:solidFill>
            <a:ln w="12700" cap="rnd">
              <a:solidFill>
                <a:schemeClr val="bg1"/>
              </a:solidFill>
              <a:round/>
              <a:headEnd/>
              <a:tailEnd/>
            </a:ln>
          </p:spPr>
          <p:txBody>
            <a:bodyPr/>
            <a:lstStyle/>
            <a:p>
              <a:pPr defTabSz="685800">
                <a:buClrTx/>
              </a:pPr>
              <a:endParaRPr lang="en-US" sz="1050" kern="1200">
                <a:solidFill>
                  <a:prstClr val="black"/>
                </a:solidFill>
                <a:ea typeface="+mn-ea"/>
                <a:cs typeface="+mn-cs"/>
              </a:endParaRPr>
            </a:p>
          </p:txBody>
        </p:sp>
        <p:sp>
          <p:nvSpPr>
            <p:cNvPr id="61" name="Freeform 17"/>
            <p:cNvSpPr>
              <a:spLocks/>
            </p:cNvSpPr>
            <p:nvPr/>
          </p:nvSpPr>
          <p:spPr bwMode="blackWhite">
            <a:xfrm>
              <a:off x="396875" y="4781551"/>
              <a:ext cx="1150938" cy="1335087"/>
            </a:xfrm>
            <a:custGeom>
              <a:avLst/>
              <a:gdLst>
                <a:gd name="T0" fmla="*/ 1149700 w 930"/>
                <a:gd name="T1" fmla="*/ 801052 h 1075"/>
                <a:gd name="T2" fmla="*/ 1097723 w 930"/>
                <a:gd name="T3" fmla="*/ 787391 h 1075"/>
                <a:gd name="T4" fmla="*/ 1048220 w 930"/>
                <a:gd name="T5" fmla="*/ 770004 h 1075"/>
                <a:gd name="T6" fmla="*/ 998717 w 930"/>
                <a:gd name="T7" fmla="*/ 748891 h 1075"/>
                <a:gd name="T8" fmla="*/ 954165 w 930"/>
                <a:gd name="T9" fmla="*/ 722810 h 1075"/>
                <a:gd name="T10" fmla="*/ 909612 w 930"/>
                <a:gd name="T11" fmla="*/ 691761 h 1075"/>
                <a:gd name="T12" fmla="*/ 870010 w 930"/>
                <a:gd name="T13" fmla="*/ 656987 h 1075"/>
                <a:gd name="T14" fmla="*/ 832883 w 930"/>
                <a:gd name="T15" fmla="*/ 617245 h 1075"/>
                <a:gd name="T16" fmla="*/ 801944 w 930"/>
                <a:gd name="T17" fmla="*/ 577503 h 1075"/>
                <a:gd name="T18" fmla="*/ 772242 w 930"/>
                <a:gd name="T19" fmla="*/ 531551 h 1075"/>
                <a:gd name="T20" fmla="*/ 751204 w 930"/>
                <a:gd name="T21" fmla="*/ 494293 h 1075"/>
                <a:gd name="T22" fmla="*/ 735115 w 930"/>
                <a:gd name="T23" fmla="*/ 454550 h 1075"/>
                <a:gd name="T24" fmla="*/ 721502 w 930"/>
                <a:gd name="T25" fmla="*/ 412325 h 1075"/>
                <a:gd name="T26" fmla="*/ 714077 w 930"/>
                <a:gd name="T27" fmla="*/ 370099 h 1075"/>
                <a:gd name="T28" fmla="*/ 711602 w 930"/>
                <a:gd name="T29" fmla="*/ 327873 h 1075"/>
                <a:gd name="T30" fmla="*/ 712839 w 930"/>
                <a:gd name="T31" fmla="*/ 284405 h 1075"/>
                <a:gd name="T32" fmla="*/ 925701 w 930"/>
                <a:gd name="T33" fmla="*/ 284405 h 1075"/>
                <a:gd name="T34" fmla="*/ 445524 w 930"/>
                <a:gd name="T35" fmla="*/ 0 h 1075"/>
                <a:gd name="T36" fmla="*/ 0 w 930"/>
                <a:gd name="T37" fmla="*/ 293098 h 1075"/>
                <a:gd name="T38" fmla="*/ 168309 w 930"/>
                <a:gd name="T39" fmla="*/ 294340 h 1075"/>
                <a:gd name="T40" fmla="*/ 174497 w 930"/>
                <a:gd name="T41" fmla="*/ 371340 h 1075"/>
                <a:gd name="T42" fmla="*/ 185635 w 930"/>
                <a:gd name="T43" fmla="*/ 449583 h 1075"/>
                <a:gd name="T44" fmla="*/ 204199 w 930"/>
                <a:gd name="T45" fmla="*/ 524099 h 1075"/>
                <a:gd name="T46" fmla="*/ 225237 w 930"/>
                <a:gd name="T47" fmla="*/ 599858 h 1075"/>
                <a:gd name="T48" fmla="*/ 252464 w 930"/>
                <a:gd name="T49" fmla="*/ 671890 h 1075"/>
                <a:gd name="T50" fmla="*/ 285878 w 930"/>
                <a:gd name="T51" fmla="*/ 742681 h 1075"/>
                <a:gd name="T52" fmla="*/ 324243 w 930"/>
                <a:gd name="T53" fmla="*/ 810988 h 1075"/>
                <a:gd name="T54" fmla="*/ 366320 w 930"/>
                <a:gd name="T55" fmla="*/ 874327 h 1075"/>
                <a:gd name="T56" fmla="*/ 412110 w 930"/>
                <a:gd name="T57" fmla="*/ 933940 h 1075"/>
                <a:gd name="T58" fmla="*/ 462850 w 930"/>
                <a:gd name="T59" fmla="*/ 989827 h 1075"/>
                <a:gd name="T60" fmla="*/ 518541 w 930"/>
                <a:gd name="T61" fmla="*/ 1044473 h 1075"/>
                <a:gd name="T62" fmla="*/ 575469 w 930"/>
                <a:gd name="T63" fmla="*/ 1092908 h 1075"/>
                <a:gd name="T64" fmla="*/ 636110 w 930"/>
                <a:gd name="T65" fmla="*/ 1138860 h 1075"/>
                <a:gd name="T66" fmla="*/ 700463 w 930"/>
                <a:gd name="T67" fmla="*/ 1181086 h 1075"/>
                <a:gd name="T68" fmla="*/ 767292 w 930"/>
                <a:gd name="T69" fmla="*/ 1217102 h 1075"/>
                <a:gd name="T70" fmla="*/ 835358 w 930"/>
                <a:gd name="T71" fmla="*/ 1250635 h 1075"/>
                <a:gd name="T72" fmla="*/ 905900 w 930"/>
                <a:gd name="T73" fmla="*/ 1277958 h 1075"/>
                <a:gd name="T74" fmla="*/ 977679 w 930"/>
                <a:gd name="T75" fmla="*/ 1301555 h 1075"/>
                <a:gd name="T76" fmla="*/ 1050695 w 930"/>
                <a:gd name="T77" fmla="*/ 1318942 h 1075"/>
                <a:gd name="T78" fmla="*/ 1126187 w 930"/>
                <a:gd name="T79" fmla="*/ 1333845 h 1075"/>
                <a:gd name="T80" fmla="*/ 955402 w 930"/>
                <a:gd name="T81" fmla="*/ 1049440 h 1075"/>
                <a:gd name="T82" fmla="*/ 1149700 w 930"/>
                <a:gd name="T83" fmla="*/ 801052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solidFill>
              <a:srgbClr val="8C8C8C"/>
            </a:solidFill>
            <a:ln w="12700" cap="rnd">
              <a:solidFill>
                <a:schemeClr val="bg1"/>
              </a:solidFill>
              <a:round/>
              <a:headEnd/>
              <a:tailEnd/>
            </a:ln>
          </p:spPr>
          <p:txBody>
            <a:bodyPr/>
            <a:lstStyle/>
            <a:p>
              <a:pPr defTabSz="685800">
                <a:buClrTx/>
                <a:defRPr/>
              </a:pPr>
              <a:endParaRPr lang="en-US" sz="1050" kern="1200">
                <a:solidFill>
                  <a:prstClr val="white"/>
                </a:solidFill>
                <a:ea typeface="+mn-ea"/>
                <a:cs typeface="+mn-cs"/>
              </a:endParaRPr>
            </a:p>
          </p:txBody>
        </p:sp>
        <p:sp>
          <p:nvSpPr>
            <p:cNvPr id="62" name="Freeform 18"/>
            <p:cNvSpPr>
              <a:spLocks/>
            </p:cNvSpPr>
            <p:nvPr/>
          </p:nvSpPr>
          <p:spPr bwMode="blackWhite">
            <a:xfrm>
              <a:off x="1739900" y="3968751"/>
              <a:ext cx="1166813" cy="1323975"/>
            </a:xfrm>
            <a:custGeom>
              <a:avLst/>
              <a:gdLst>
                <a:gd name="T0" fmla="*/ 2147483647 w 943"/>
                <a:gd name="T1" fmla="*/ 2147483647 h 1065"/>
                <a:gd name="T2" fmla="*/ 2147483647 w 943"/>
                <a:gd name="T3" fmla="*/ 2147483647 h 1065"/>
                <a:gd name="T4" fmla="*/ 2147483647 w 943"/>
                <a:gd name="T5" fmla="*/ 2147483647 h 1065"/>
                <a:gd name="T6" fmla="*/ 2147483647 w 943"/>
                <a:gd name="T7" fmla="*/ 2147483647 h 1065"/>
                <a:gd name="T8" fmla="*/ 2147483647 w 943"/>
                <a:gd name="T9" fmla="*/ 2147483647 h 1065"/>
                <a:gd name="T10" fmla="*/ 2147483647 w 943"/>
                <a:gd name="T11" fmla="*/ 2147483647 h 1065"/>
                <a:gd name="T12" fmla="*/ 2147483647 w 943"/>
                <a:gd name="T13" fmla="*/ 2147483647 h 1065"/>
                <a:gd name="T14" fmla="*/ 2147483647 w 943"/>
                <a:gd name="T15" fmla="*/ 2147483647 h 1065"/>
                <a:gd name="T16" fmla="*/ 2147483647 w 943"/>
                <a:gd name="T17" fmla="*/ 2147483647 h 1065"/>
                <a:gd name="T18" fmla="*/ 2147483647 w 943"/>
                <a:gd name="T19" fmla="*/ 2147483647 h 1065"/>
                <a:gd name="T20" fmla="*/ 2147483647 w 943"/>
                <a:gd name="T21" fmla="*/ 2147483647 h 1065"/>
                <a:gd name="T22" fmla="*/ 2147483647 w 943"/>
                <a:gd name="T23" fmla="*/ 2147483647 h 1065"/>
                <a:gd name="T24" fmla="*/ 2147483647 w 943"/>
                <a:gd name="T25" fmla="*/ 2147483647 h 1065"/>
                <a:gd name="T26" fmla="*/ 2147483647 w 943"/>
                <a:gd name="T27" fmla="*/ 2147483647 h 1065"/>
                <a:gd name="T28" fmla="*/ 2147483647 w 943"/>
                <a:gd name="T29" fmla="*/ 2147483647 h 1065"/>
                <a:gd name="T30" fmla="*/ 2147483647 w 943"/>
                <a:gd name="T31" fmla="*/ 2147483647 h 1065"/>
                <a:gd name="T32" fmla="*/ 2147483647 w 943"/>
                <a:gd name="T33" fmla="*/ 2147483647 h 1065"/>
                <a:gd name="T34" fmla="*/ 2147483647 w 943"/>
                <a:gd name="T35" fmla="*/ 2147483647 h 1065"/>
                <a:gd name="T36" fmla="*/ 2147483647 w 943"/>
                <a:gd name="T37" fmla="*/ 2147483647 h 1065"/>
                <a:gd name="T38" fmla="*/ 2147483647 w 943"/>
                <a:gd name="T39" fmla="*/ 2147483647 h 1065"/>
                <a:gd name="T40" fmla="*/ 2147483647 w 943"/>
                <a:gd name="T41" fmla="*/ 2147483647 h 1065"/>
                <a:gd name="T42" fmla="*/ 2147483647 w 943"/>
                <a:gd name="T43" fmla="*/ 2147483647 h 1065"/>
                <a:gd name="T44" fmla="*/ 0 w 943"/>
                <a:gd name="T45" fmla="*/ 0 h 1065"/>
                <a:gd name="T46" fmla="*/ 2147483647 w 943"/>
                <a:gd name="T47" fmla="*/ 2147483647 h 1065"/>
                <a:gd name="T48" fmla="*/ 2147483647 w 943"/>
                <a:gd name="T49" fmla="*/ 2147483647 h 1065"/>
                <a:gd name="T50" fmla="*/ 2147483647 w 943"/>
                <a:gd name="T51" fmla="*/ 2147483647 h 1065"/>
                <a:gd name="T52" fmla="*/ 2147483647 w 943"/>
                <a:gd name="T53" fmla="*/ 2147483647 h 1065"/>
                <a:gd name="T54" fmla="*/ 2147483647 w 943"/>
                <a:gd name="T55" fmla="*/ 2147483647 h 1065"/>
                <a:gd name="T56" fmla="*/ 2147483647 w 943"/>
                <a:gd name="T57" fmla="*/ 2147483647 h 1065"/>
                <a:gd name="T58" fmla="*/ 2147483647 w 943"/>
                <a:gd name="T59" fmla="*/ 2147483647 h 1065"/>
                <a:gd name="T60" fmla="*/ 2147483647 w 943"/>
                <a:gd name="T61" fmla="*/ 2147483647 h 1065"/>
                <a:gd name="T62" fmla="*/ 2147483647 w 943"/>
                <a:gd name="T63" fmla="*/ 2147483647 h 1065"/>
                <a:gd name="T64" fmla="*/ 2147483647 w 943"/>
                <a:gd name="T65" fmla="*/ 2147483647 h 1065"/>
                <a:gd name="T66" fmla="*/ 2147483647 w 943"/>
                <a:gd name="T67" fmla="*/ 2147483647 h 1065"/>
                <a:gd name="T68" fmla="*/ 2147483647 w 943"/>
                <a:gd name="T69" fmla="*/ 2147483647 h 1065"/>
                <a:gd name="T70" fmla="*/ 2147483647 w 943"/>
                <a:gd name="T71" fmla="*/ 2147483647 h 1065"/>
                <a:gd name="T72" fmla="*/ 2147483647 w 943"/>
                <a:gd name="T73" fmla="*/ 2147483647 h 1065"/>
                <a:gd name="T74" fmla="*/ 2147483647 w 943"/>
                <a:gd name="T75" fmla="*/ 2147483647 h 1065"/>
                <a:gd name="T76" fmla="*/ 2147483647 w 943"/>
                <a:gd name="T77" fmla="*/ 2147483647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solidFill>
              <a:schemeClr val="accent1"/>
            </a:solidFill>
            <a:ln w="12700" cap="rnd">
              <a:solidFill>
                <a:schemeClr val="bg1"/>
              </a:solidFill>
              <a:round/>
              <a:headEnd/>
              <a:tailEnd/>
            </a:ln>
          </p:spPr>
          <p:txBody>
            <a:bodyPr/>
            <a:lstStyle/>
            <a:p>
              <a:pPr defTabSz="685800">
                <a:buClrTx/>
              </a:pPr>
              <a:endParaRPr lang="en-US" sz="1050" kern="1200">
                <a:solidFill>
                  <a:prstClr val="white"/>
                </a:solidFill>
                <a:ea typeface="+mn-ea"/>
                <a:cs typeface="+mn-cs"/>
              </a:endParaRPr>
            </a:p>
          </p:txBody>
        </p:sp>
        <p:sp>
          <p:nvSpPr>
            <p:cNvPr id="82" name="Rectangle 36"/>
            <p:cNvSpPr>
              <a:spLocks noChangeArrowheads="1"/>
            </p:cNvSpPr>
            <p:nvPr/>
          </p:nvSpPr>
          <p:spPr bwMode="blackWhite">
            <a:xfrm>
              <a:off x="2092757" y="4489118"/>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a:solidFill>
                    <a:prstClr val="white"/>
                  </a:solidFill>
                  <a:ea typeface="+mn-ea"/>
                  <a:cs typeface="+mn-cs"/>
                </a:rPr>
                <a:t>Text</a:t>
              </a:r>
            </a:p>
          </p:txBody>
        </p:sp>
        <p:sp>
          <p:nvSpPr>
            <p:cNvPr id="94" name="Rectangle 48"/>
            <p:cNvSpPr>
              <a:spLocks noChangeArrowheads="1"/>
            </p:cNvSpPr>
            <p:nvPr/>
          </p:nvSpPr>
          <p:spPr bwMode="blackWhite">
            <a:xfrm>
              <a:off x="1102951" y="4260518"/>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a:solidFill>
                    <a:prstClr val="white"/>
                  </a:solidFill>
                  <a:ea typeface="+mn-ea"/>
                  <a:cs typeface="+mn-cs"/>
                </a:rPr>
                <a:t>Text</a:t>
              </a:r>
            </a:p>
          </p:txBody>
        </p:sp>
        <p:sp>
          <p:nvSpPr>
            <p:cNvPr id="95" name="Rectangle 49"/>
            <p:cNvSpPr>
              <a:spLocks noChangeArrowheads="1"/>
            </p:cNvSpPr>
            <p:nvPr/>
          </p:nvSpPr>
          <p:spPr bwMode="blackWhite">
            <a:xfrm>
              <a:off x="798151" y="5403518"/>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dirty="0">
                  <a:solidFill>
                    <a:prstClr val="white"/>
                  </a:solidFill>
                  <a:ea typeface="+mn-ea"/>
                  <a:cs typeface="+mn-cs"/>
                </a:rPr>
                <a:t>Text</a:t>
              </a:r>
            </a:p>
          </p:txBody>
        </p:sp>
        <p:sp>
          <p:nvSpPr>
            <p:cNvPr id="96" name="Rectangle 50"/>
            <p:cNvSpPr>
              <a:spLocks noChangeArrowheads="1"/>
            </p:cNvSpPr>
            <p:nvPr/>
          </p:nvSpPr>
          <p:spPr bwMode="blackWhite">
            <a:xfrm>
              <a:off x="1864951" y="5632118"/>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dirty="0">
                  <a:solidFill>
                    <a:srgbClr val="313131"/>
                  </a:solidFill>
                  <a:ea typeface="+mn-ea"/>
                  <a:cs typeface="+mn-cs"/>
                </a:rPr>
                <a:t>Text</a:t>
              </a:r>
            </a:p>
          </p:txBody>
        </p:sp>
      </p:grpSp>
      <p:sp>
        <p:nvSpPr>
          <p:cNvPr id="97" name="Rectangle 96"/>
          <p:cNvSpPr>
            <a:spLocks noChangeArrowheads="1"/>
          </p:cNvSpPr>
          <p:nvPr/>
        </p:nvSpPr>
        <p:spPr bwMode="auto">
          <a:xfrm>
            <a:off x="5803107" y="0"/>
            <a:ext cx="2197894" cy="369332"/>
          </a:xfrm>
          <a:prstGeom prst="rect">
            <a:avLst/>
          </a:prstGeom>
          <a:solidFill>
            <a:schemeClr val="accent6"/>
          </a:solidFill>
          <a:ln w="6350" algn="ctr">
            <a:solidFill>
              <a:schemeClr val="bg1"/>
            </a:solidFill>
            <a:miter lim="800000"/>
            <a:headEnd/>
            <a:tailEnd/>
          </a:ln>
        </p:spPr>
        <p:txBody>
          <a:bodyPr tIns="68580" bIns="68580">
            <a:spAutoFit/>
          </a:bodyPr>
          <a:lstStyle/>
          <a:p>
            <a:pPr defTabSz="685800">
              <a:buClrTx/>
              <a:defRPr/>
            </a:pPr>
            <a:r>
              <a:rPr lang="en-US" sz="750" kern="1200" dirty="0">
                <a:solidFill>
                  <a:srgbClr val="313131"/>
                </a:solidFill>
                <a:ea typeface="ＭＳ Ｐゴシック" pitchFamily="50" charset="-128"/>
                <a:cs typeface="+mn-cs"/>
              </a:rPr>
              <a:t>Tip! Hold the Shift key when resizing the pieces or group to retain the shape proportions</a:t>
            </a:r>
          </a:p>
        </p:txBody>
      </p:sp>
    </p:spTree>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41" name="Title 1"/>
          <p:cNvSpPr>
            <a:spLocks noGrp="1"/>
          </p:cNvSpPr>
          <p:nvPr>
            <p:ph type="title"/>
          </p:nvPr>
        </p:nvSpPr>
        <p:spPr/>
        <p:txBody>
          <a:bodyPr/>
          <a:lstStyle/>
          <a:p>
            <a:r>
              <a:rPr lang="en-US" dirty="0">
                <a:solidFill>
                  <a:srgbClr val="81BC00"/>
                </a:solidFill>
              </a:rPr>
              <a:t>Circles </a:t>
            </a:r>
            <a:br>
              <a:rPr lang="en-US" dirty="0">
                <a:solidFill>
                  <a:srgbClr val="575757"/>
                </a:solidFill>
              </a:rPr>
            </a:br>
            <a:r>
              <a:rPr lang="en-US" dirty="0">
                <a:solidFill>
                  <a:srgbClr val="575757"/>
                </a:solidFill>
              </a:rPr>
              <a:t>Chevrons</a:t>
            </a:r>
          </a:p>
        </p:txBody>
      </p:sp>
      <p:grpSp>
        <p:nvGrpSpPr>
          <p:cNvPr id="77" name="Group 76"/>
          <p:cNvGrpSpPr/>
          <p:nvPr/>
        </p:nvGrpSpPr>
        <p:grpSpPr>
          <a:xfrm>
            <a:off x="1427560" y="1403744"/>
            <a:ext cx="2032397" cy="2041923"/>
            <a:chOff x="379413" y="2273299"/>
            <a:chExt cx="2709862" cy="2722564"/>
          </a:xfrm>
        </p:grpSpPr>
        <p:sp>
          <p:nvSpPr>
            <p:cNvPr id="79" name="AutoShape 29"/>
            <p:cNvSpPr>
              <a:spLocks noChangeArrowheads="1"/>
            </p:cNvSpPr>
            <p:nvPr/>
          </p:nvSpPr>
          <p:spPr bwMode="gray">
            <a:xfrm flipH="1" flipV="1">
              <a:off x="728663" y="2273299"/>
              <a:ext cx="1962149" cy="874713"/>
            </a:xfrm>
            <a:custGeom>
              <a:avLst/>
              <a:gdLst>
                <a:gd name="T0" fmla="*/ 2147483647 w 15607"/>
                <a:gd name="T1" fmla="*/ 0 h 6983"/>
                <a:gd name="T2" fmla="*/ 2147483647 w 15607"/>
                <a:gd name="T3" fmla="*/ 2147483647 h 6983"/>
                <a:gd name="T4" fmla="*/ 2147483647 w 15607"/>
                <a:gd name="T5" fmla="*/ 2147483647 h 6983"/>
                <a:gd name="T6" fmla="*/ 0 w 15607"/>
                <a:gd name="T7" fmla="*/ 2147483647 h 6983"/>
                <a:gd name="T8" fmla="*/ 2147483647 w 15607"/>
                <a:gd name="T9" fmla="*/ 2147483647 h 6983"/>
                <a:gd name="T10" fmla="*/ 2147483647 w 15607"/>
                <a:gd name="T11" fmla="*/ 2147483647 h 6983"/>
                <a:gd name="T12" fmla="*/ 2147483647 w 15607"/>
                <a:gd name="T13" fmla="*/ 0 h 6983"/>
                <a:gd name="T14" fmla="*/ 0 60000 65536"/>
                <a:gd name="T15" fmla="*/ 0 60000 65536"/>
                <a:gd name="T16" fmla="*/ 0 60000 65536"/>
                <a:gd name="T17" fmla="*/ 0 60000 65536"/>
                <a:gd name="T18" fmla="*/ 0 60000 65536"/>
                <a:gd name="T19" fmla="*/ 0 60000 65536"/>
                <a:gd name="T20" fmla="*/ 0 60000 65536"/>
                <a:gd name="T21" fmla="*/ 0 w 15607"/>
                <a:gd name="T22" fmla="*/ 0 h 6983"/>
                <a:gd name="T23" fmla="*/ 15607 w 15607"/>
                <a:gd name="T24" fmla="*/ 6983 h 698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607" h="6983">
                  <a:moveTo>
                    <a:pt x="11719" y="0"/>
                  </a:moveTo>
                  <a:cubicBezTo>
                    <a:pt x="10650" y="1080"/>
                    <a:pt x="9023" y="1790"/>
                    <a:pt x="7675" y="1810"/>
                  </a:cubicBezTo>
                  <a:cubicBezTo>
                    <a:pt x="6327" y="1830"/>
                    <a:pt x="4699" y="1202"/>
                    <a:pt x="3630" y="122"/>
                  </a:cubicBezTo>
                  <a:lnTo>
                    <a:pt x="0" y="3716"/>
                  </a:lnTo>
                  <a:cubicBezTo>
                    <a:pt x="2028" y="5765"/>
                    <a:pt x="5074" y="6983"/>
                    <a:pt x="7675" y="6918"/>
                  </a:cubicBezTo>
                  <a:cubicBezTo>
                    <a:pt x="10276" y="6853"/>
                    <a:pt x="13579" y="5372"/>
                    <a:pt x="15607" y="3323"/>
                  </a:cubicBezTo>
                  <a:lnTo>
                    <a:pt x="11719" y="0"/>
                  </a:lnTo>
                  <a:close/>
                </a:path>
              </a:pathLst>
            </a:custGeom>
            <a:solidFill>
              <a:srgbClr val="00A1DE"/>
            </a:solidFill>
            <a:ln w="12700">
              <a:solidFill>
                <a:schemeClr val="bg1"/>
              </a:solidFill>
              <a:miter lim="800000"/>
              <a:headEnd/>
              <a:tailEnd/>
            </a:ln>
          </p:spPr>
          <p:txBody>
            <a:bodyPr rot="10800000" wrap="none" anchor="ctr"/>
            <a:lstStyle/>
            <a:p>
              <a:pPr algn="ctr" defTabSz="685800">
                <a:lnSpc>
                  <a:spcPct val="106000"/>
                </a:lnSpc>
                <a:spcBef>
                  <a:spcPct val="0"/>
                </a:spcBef>
                <a:buClrTx/>
              </a:pPr>
              <a:endParaRPr lang="en-US" sz="1050" kern="1200">
                <a:solidFill>
                  <a:prstClr val="white"/>
                </a:solidFill>
                <a:ea typeface="+mn-ea"/>
                <a:cs typeface="+mn-cs"/>
              </a:endParaRPr>
            </a:p>
          </p:txBody>
        </p:sp>
        <p:sp>
          <p:nvSpPr>
            <p:cNvPr id="80" name="AutoShape 30"/>
            <p:cNvSpPr>
              <a:spLocks noChangeArrowheads="1"/>
            </p:cNvSpPr>
            <p:nvPr/>
          </p:nvSpPr>
          <p:spPr bwMode="gray">
            <a:xfrm rot="5183122" flipH="1">
              <a:off x="383381" y="2286794"/>
              <a:ext cx="2703513" cy="2708275"/>
            </a:xfrm>
            <a:custGeom>
              <a:avLst/>
              <a:gdLst>
                <a:gd name="T0" fmla="*/ 88605 w 21600"/>
                <a:gd name="T1" fmla="*/ 177668 h 21600"/>
                <a:gd name="T2" fmla="*/ 136661 w 21600"/>
                <a:gd name="T3" fmla="*/ 136542 h 21600"/>
                <a:gd name="T4" fmla="*/ 88605 w 21600"/>
                <a:gd name="T5" fmla="*/ 135665 h 21600"/>
                <a:gd name="T6" fmla="*/ 40548 w 21600"/>
                <a:gd name="T7" fmla="*/ 136542 h 21600"/>
                <a:gd name="T8" fmla="*/ 0 60000 65536"/>
                <a:gd name="T9" fmla="*/ 0 60000 65536"/>
                <a:gd name="T10" fmla="*/ 0 60000 65536"/>
                <a:gd name="T11" fmla="*/ 0 60000 65536"/>
                <a:gd name="T12" fmla="*/ 0 w 21600"/>
                <a:gd name="T13" fmla="*/ 0 h 21600"/>
                <a:gd name="T14" fmla="*/ 21600 w 21600"/>
                <a:gd name="T15" fmla="*/ 18932 h 21600"/>
              </a:gdLst>
              <a:ahLst/>
              <a:cxnLst>
                <a:cxn ang="T8">
                  <a:pos x="T0" y="T1"/>
                </a:cxn>
                <a:cxn ang="T9">
                  <a:pos x="T2" y="T3"/>
                </a:cxn>
                <a:cxn ang="T10">
                  <a:pos x="T4" y="T5"/>
                </a:cxn>
                <a:cxn ang="T11">
                  <a:pos x="T6" y="T7"/>
                </a:cxn>
              </a:cxnLst>
              <a:rect l="T12" t="T13" r="T14" b="T15"/>
              <a:pathLst>
                <a:path w="21600" h="21600">
                  <a:moveTo>
                    <a:pt x="14844" y="14804"/>
                  </a:moveTo>
                  <a:cubicBezTo>
                    <a:pt x="13775" y="15884"/>
                    <a:pt x="12319" y="16491"/>
                    <a:pt x="10800" y="16492"/>
                  </a:cubicBezTo>
                  <a:cubicBezTo>
                    <a:pt x="9280" y="16492"/>
                    <a:pt x="7824" y="15884"/>
                    <a:pt x="6755" y="14804"/>
                  </a:cubicBezTo>
                  <a:lnTo>
                    <a:pt x="3125" y="18398"/>
                  </a:lnTo>
                  <a:cubicBezTo>
                    <a:pt x="5153" y="20447"/>
                    <a:pt x="7917" y="21600"/>
                    <a:pt x="10800" y="21600"/>
                  </a:cubicBezTo>
                  <a:cubicBezTo>
                    <a:pt x="13682" y="21599"/>
                    <a:pt x="16446" y="20447"/>
                    <a:pt x="18474" y="18398"/>
                  </a:cubicBezTo>
                  <a:close/>
                </a:path>
              </a:pathLst>
            </a:custGeom>
            <a:solidFill>
              <a:srgbClr val="575757"/>
            </a:solidFill>
            <a:ln w="12700">
              <a:solidFill>
                <a:schemeClr val="bg1"/>
              </a:solidFill>
              <a:miter lim="800000"/>
              <a:headEnd/>
              <a:tailEnd/>
            </a:ln>
          </p:spPr>
          <p:txBody>
            <a:bodyPr rot="10800000" vert="eaVert" wrap="none" anchor="ctr"/>
            <a:lstStyle/>
            <a:p>
              <a:pPr algn="ctr" defTabSz="685800">
                <a:spcBef>
                  <a:spcPct val="0"/>
                </a:spcBef>
                <a:buClrTx/>
                <a:defRPr/>
              </a:pPr>
              <a:endParaRPr lang="en-US" sz="1050" kern="1200" dirty="0">
                <a:solidFill>
                  <a:prstClr val="white"/>
                </a:solidFill>
                <a:ea typeface="+mn-ea"/>
                <a:cs typeface="+mn-cs"/>
              </a:endParaRPr>
            </a:p>
          </p:txBody>
        </p:sp>
        <p:sp>
          <p:nvSpPr>
            <p:cNvPr id="81" name="AutoShape 31"/>
            <p:cNvSpPr>
              <a:spLocks noChangeArrowheads="1"/>
            </p:cNvSpPr>
            <p:nvPr/>
          </p:nvSpPr>
          <p:spPr bwMode="gray">
            <a:xfrm rot="5183122" flipV="1">
              <a:off x="383381" y="2286794"/>
              <a:ext cx="2703513" cy="2708275"/>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18932 h 21600"/>
              </a:gdLst>
              <a:ahLst/>
              <a:cxnLst>
                <a:cxn ang="T8">
                  <a:pos x="T0" y="T1"/>
                </a:cxn>
                <a:cxn ang="T9">
                  <a:pos x="T2" y="T3"/>
                </a:cxn>
                <a:cxn ang="T10">
                  <a:pos x="T4" y="T5"/>
                </a:cxn>
                <a:cxn ang="T11">
                  <a:pos x="T6" y="T7"/>
                </a:cxn>
              </a:cxnLst>
              <a:rect l="T12" t="T13" r="T14" b="T15"/>
              <a:pathLst>
                <a:path w="21600" h="21600">
                  <a:moveTo>
                    <a:pt x="14844" y="14804"/>
                  </a:moveTo>
                  <a:cubicBezTo>
                    <a:pt x="13775" y="15884"/>
                    <a:pt x="12319" y="16491"/>
                    <a:pt x="10800" y="16492"/>
                  </a:cubicBezTo>
                  <a:cubicBezTo>
                    <a:pt x="9280" y="16492"/>
                    <a:pt x="7824" y="15884"/>
                    <a:pt x="6755" y="14804"/>
                  </a:cubicBezTo>
                  <a:lnTo>
                    <a:pt x="3125" y="18398"/>
                  </a:lnTo>
                  <a:cubicBezTo>
                    <a:pt x="5153" y="20447"/>
                    <a:pt x="7917" y="21600"/>
                    <a:pt x="10800" y="21600"/>
                  </a:cubicBezTo>
                  <a:cubicBezTo>
                    <a:pt x="13682" y="21599"/>
                    <a:pt x="16446" y="20447"/>
                    <a:pt x="18474" y="18398"/>
                  </a:cubicBezTo>
                  <a:close/>
                </a:path>
              </a:pathLst>
            </a:custGeom>
            <a:solidFill>
              <a:srgbClr val="DCDCDC"/>
            </a:solidFill>
            <a:ln w="12700">
              <a:solidFill>
                <a:schemeClr val="bg1"/>
              </a:solidFill>
              <a:miter lim="800000"/>
              <a:headEnd/>
              <a:tailEnd/>
            </a:ln>
          </p:spPr>
          <p:txBody>
            <a:bodyPr vert="eaVert" wrap="none" anchor="ctr"/>
            <a:lstStyle/>
            <a:p>
              <a:pPr algn="ctr" defTabSz="685800">
                <a:spcBef>
                  <a:spcPct val="0"/>
                </a:spcBef>
                <a:buClrTx/>
              </a:pPr>
              <a:endParaRPr lang="en-US" sz="1050" kern="1200">
                <a:solidFill>
                  <a:prstClr val="white"/>
                </a:solidFill>
                <a:ea typeface="+mn-ea"/>
                <a:cs typeface="+mn-cs"/>
              </a:endParaRPr>
            </a:p>
          </p:txBody>
        </p:sp>
        <p:sp>
          <p:nvSpPr>
            <p:cNvPr id="82" name="AutoShape 32"/>
            <p:cNvSpPr>
              <a:spLocks noChangeArrowheads="1"/>
            </p:cNvSpPr>
            <p:nvPr/>
          </p:nvSpPr>
          <p:spPr bwMode="gray">
            <a:xfrm rot="21349731">
              <a:off x="379413" y="2290763"/>
              <a:ext cx="2706687" cy="2705100"/>
            </a:xfrm>
            <a:custGeom>
              <a:avLst/>
              <a:gdLst>
                <a:gd name="T0" fmla="*/ 88709 w 21600"/>
                <a:gd name="T1" fmla="*/ 177460 h 21600"/>
                <a:gd name="T2" fmla="*/ 136822 w 21600"/>
                <a:gd name="T3" fmla="*/ 136382 h 21600"/>
                <a:gd name="T4" fmla="*/ 88709 w 21600"/>
                <a:gd name="T5" fmla="*/ 135505 h 21600"/>
                <a:gd name="T6" fmla="*/ 40595 w 21600"/>
                <a:gd name="T7" fmla="*/ 136382 h 21600"/>
                <a:gd name="T8" fmla="*/ 0 60000 65536"/>
                <a:gd name="T9" fmla="*/ 0 60000 65536"/>
                <a:gd name="T10" fmla="*/ 0 60000 65536"/>
                <a:gd name="T11" fmla="*/ 0 60000 65536"/>
                <a:gd name="T12" fmla="*/ 0 w 21600"/>
                <a:gd name="T13" fmla="*/ 0 h 21600"/>
                <a:gd name="T14" fmla="*/ 21600 w 21600"/>
                <a:gd name="T15" fmla="*/ 18932 h 21600"/>
              </a:gdLst>
              <a:ahLst/>
              <a:cxnLst>
                <a:cxn ang="T8">
                  <a:pos x="T0" y="T1"/>
                </a:cxn>
                <a:cxn ang="T9">
                  <a:pos x="T2" y="T3"/>
                </a:cxn>
                <a:cxn ang="T10">
                  <a:pos x="T4" y="T5"/>
                </a:cxn>
                <a:cxn ang="T11">
                  <a:pos x="T6" y="T7"/>
                </a:cxn>
              </a:cxnLst>
              <a:rect l="T12" t="T13" r="T14" b="T15"/>
              <a:pathLst>
                <a:path w="21600" h="21600">
                  <a:moveTo>
                    <a:pt x="14844" y="14804"/>
                  </a:moveTo>
                  <a:cubicBezTo>
                    <a:pt x="13775" y="15884"/>
                    <a:pt x="12319" y="16491"/>
                    <a:pt x="10800" y="16492"/>
                  </a:cubicBezTo>
                  <a:cubicBezTo>
                    <a:pt x="9280" y="16492"/>
                    <a:pt x="7824" y="15884"/>
                    <a:pt x="6755" y="14804"/>
                  </a:cubicBezTo>
                  <a:lnTo>
                    <a:pt x="3125" y="18398"/>
                  </a:lnTo>
                  <a:cubicBezTo>
                    <a:pt x="5153" y="20447"/>
                    <a:pt x="7917" y="21600"/>
                    <a:pt x="10800" y="21600"/>
                  </a:cubicBezTo>
                  <a:cubicBezTo>
                    <a:pt x="13682" y="21599"/>
                    <a:pt x="16446" y="20447"/>
                    <a:pt x="18474" y="18398"/>
                  </a:cubicBezTo>
                  <a:close/>
                </a:path>
              </a:pathLst>
            </a:custGeom>
            <a:solidFill>
              <a:srgbClr val="8C8C8C"/>
            </a:solidFill>
            <a:ln w="12700">
              <a:solidFill>
                <a:schemeClr val="bg1"/>
              </a:solidFill>
              <a:miter lim="800000"/>
              <a:headEnd/>
              <a:tailEnd/>
            </a:ln>
          </p:spPr>
          <p:txBody>
            <a:bodyPr wrap="none" anchor="ctr"/>
            <a:lstStyle/>
            <a:p>
              <a:pPr algn="ctr" defTabSz="685800">
                <a:spcBef>
                  <a:spcPct val="0"/>
                </a:spcBef>
                <a:buClrTx/>
                <a:defRPr/>
              </a:pPr>
              <a:endParaRPr lang="en-US" sz="1050" kern="1200">
                <a:solidFill>
                  <a:prstClr val="white"/>
                </a:solidFill>
                <a:ea typeface="+mn-ea"/>
                <a:cs typeface="+mn-cs"/>
              </a:endParaRPr>
            </a:p>
          </p:txBody>
        </p:sp>
        <p:sp>
          <p:nvSpPr>
            <p:cNvPr id="83" name="Freeform 33"/>
            <p:cNvSpPr>
              <a:spLocks/>
            </p:cNvSpPr>
            <p:nvPr/>
          </p:nvSpPr>
          <p:spPr bwMode="gray">
            <a:xfrm rot="2466426">
              <a:off x="700088" y="2754313"/>
              <a:ext cx="673100" cy="244475"/>
            </a:xfrm>
            <a:custGeom>
              <a:avLst/>
              <a:gdLst>
                <a:gd name="T0" fmla="*/ 0 w 364"/>
                <a:gd name="T1" fmla="*/ 233884 h 140"/>
                <a:gd name="T2" fmla="*/ 354867 w 364"/>
                <a:gd name="T3" fmla="*/ 0 h 140"/>
                <a:gd name="T4" fmla="*/ 672768 w 364"/>
                <a:gd name="T5" fmla="*/ 244356 h 140"/>
                <a:gd name="T6" fmla="*/ 0 60000 65536"/>
                <a:gd name="T7" fmla="*/ 0 60000 65536"/>
                <a:gd name="T8" fmla="*/ 0 60000 65536"/>
                <a:gd name="T9" fmla="*/ 0 w 364"/>
                <a:gd name="T10" fmla="*/ 0 h 140"/>
                <a:gd name="T11" fmla="*/ 364 w 364"/>
                <a:gd name="T12" fmla="*/ 140 h 140"/>
              </a:gdLst>
              <a:ahLst/>
              <a:cxnLst>
                <a:cxn ang="T6">
                  <a:pos x="T0" y="T1"/>
                </a:cxn>
                <a:cxn ang="T7">
                  <a:pos x="T2" y="T3"/>
                </a:cxn>
                <a:cxn ang="T8">
                  <a:pos x="T4" y="T5"/>
                </a:cxn>
              </a:cxnLst>
              <a:rect l="T9" t="T10" r="T11" b="T12"/>
              <a:pathLst>
                <a:path w="364" h="140">
                  <a:moveTo>
                    <a:pt x="0" y="134"/>
                  </a:moveTo>
                  <a:lnTo>
                    <a:pt x="192" y="0"/>
                  </a:lnTo>
                  <a:lnTo>
                    <a:pt x="364" y="140"/>
                  </a:lnTo>
                </a:path>
              </a:pathLst>
            </a:custGeom>
            <a:solidFill>
              <a:srgbClr val="575757"/>
            </a:solidFill>
            <a:ln w="12700">
              <a:solidFill>
                <a:schemeClr val="bg1"/>
              </a:solidFill>
              <a:round/>
              <a:headEnd/>
              <a:tailEnd/>
            </a:ln>
          </p:spPr>
          <p:txBody>
            <a:bodyPr wrap="none" anchor="ctr"/>
            <a:lstStyle/>
            <a:p>
              <a:pPr defTabSz="685800">
                <a:buClrTx/>
                <a:defRPr/>
              </a:pPr>
              <a:endParaRPr lang="en-US" sz="1050" kern="1200">
                <a:solidFill>
                  <a:prstClr val="white"/>
                </a:solidFill>
                <a:ea typeface="+mn-ea"/>
                <a:cs typeface="+mn-cs"/>
              </a:endParaRPr>
            </a:p>
          </p:txBody>
        </p:sp>
        <p:sp>
          <p:nvSpPr>
            <p:cNvPr id="84" name="Freeform 34"/>
            <p:cNvSpPr>
              <a:spLocks/>
            </p:cNvSpPr>
            <p:nvPr/>
          </p:nvSpPr>
          <p:spPr bwMode="gray">
            <a:xfrm rot="2466426" flipV="1">
              <a:off x="2105025" y="4271963"/>
              <a:ext cx="674688" cy="244475"/>
            </a:xfrm>
            <a:custGeom>
              <a:avLst/>
              <a:gdLst>
                <a:gd name="T0" fmla="*/ 0 w 364"/>
                <a:gd name="T1" fmla="*/ 2147483647 h 140"/>
                <a:gd name="T2" fmla="*/ 2147483647 w 364"/>
                <a:gd name="T3" fmla="*/ 0 h 140"/>
                <a:gd name="T4" fmla="*/ 2147483647 w 364"/>
                <a:gd name="T5" fmla="*/ 2147483647 h 140"/>
                <a:gd name="T6" fmla="*/ 0 60000 65536"/>
                <a:gd name="T7" fmla="*/ 0 60000 65536"/>
                <a:gd name="T8" fmla="*/ 0 60000 65536"/>
                <a:gd name="T9" fmla="*/ 0 w 364"/>
                <a:gd name="T10" fmla="*/ 0 h 140"/>
                <a:gd name="T11" fmla="*/ 364 w 364"/>
                <a:gd name="T12" fmla="*/ 140 h 140"/>
              </a:gdLst>
              <a:ahLst/>
              <a:cxnLst>
                <a:cxn ang="T6">
                  <a:pos x="T0" y="T1"/>
                </a:cxn>
                <a:cxn ang="T7">
                  <a:pos x="T2" y="T3"/>
                </a:cxn>
                <a:cxn ang="T8">
                  <a:pos x="T4" y="T5"/>
                </a:cxn>
              </a:cxnLst>
              <a:rect l="T9" t="T10" r="T11" b="T12"/>
              <a:pathLst>
                <a:path w="364" h="140">
                  <a:moveTo>
                    <a:pt x="0" y="134"/>
                  </a:moveTo>
                  <a:lnTo>
                    <a:pt x="192" y="0"/>
                  </a:lnTo>
                  <a:lnTo>
                    <a:pt x="364" y="140"/>
                  </a:lnTo>
                </a:path>
              </a:pathLst>
            </a:custGeom>
            <a:solidFill>
              <a:srgbClr val="DCDCDC"/>
            </a:solidFill>
            <a:ln w="12700">
              <a:solidFill>
                <a:schemeClr val="bg1"/>
              </a:solidFill>
              <a:round/>
              <a:headEnd/>
              <a:tailEnd/>
            </a:ln>
          </p:spPr>
          <p:txBody>
            <a:bodyPr wrap="none" anchor="ctr"/>
            <a:lstStyle/>
            <a:p>
              <a:pPr defTabSz="685800">
                <a:buClrTx/>
              </a:pPr>
              <a:endParaRPr lang="en-US" sz="1050" kern="1200">
                <a:solidFill>
                  <a:prstClr val="white"/>
                </a:solidFill>
                <a:ea typeface="+mn-ea"/>
                <a:cs typeface="+mn-cs"/>
              </a:endParaRPr>
            </a:p>
          </p:txBody>
        </p:sp>
        <p:sp>
          <p:nvSpPr>
            <p:cNvPr id="85" name="Freeform 35"/>
            <p:cNvSpPr>
              <a:spLocks/>
            </p:cNvSpPr>
            <p:nvPr/>
          </p:nvSpPr>
          <p:spPr bwMode="gray">
            <a:xfrm rot="18666426">
              <a:off x="641350" y="4222750"/>
              <a:ext cx="676275" cy="244475"/>
            </a:xfrm>
            <a:custGeom>
              <a:avLst/>
              <a:gdLst>
                <a:gd name="T0" fmla="*/ 0 w 364"/>
                <a:gd name="T1" fmla="*/ 234158 h 140"/>
                <a:gd name="T2" fmla="*/ 356465 w 364"/>
                <a:gd name="T3" fmla="*/ 0 h 140"/>
                <a:gd name="T4" fmla="*/ 675798 w 364"/>
                <a:gd name="T5" fmla="*/ 244643 h 140"/>
                <a:gd name="T6" fmla="*/ 0 60000 65536"/>
                <a:gd name="T7" fmla="*/ 0 60000 65536"/>
                <a:gd name="T8" fmla="*/ 0 60000 65536"/>
                <a:gd name="T9" fmla="*/ 0 w 364"/>
                <a:gd name="T10" fmla="*/ 0 h 140"/>
                <a:gd name="T11" fmla="*/ 364 w 364"/>
                <a:gd name="T12" fmla="*/ 140 h 140"/>
              </a:gdLst>
              <a:ahLst/>
              <a:cxnLst>
                <a:cxn ang="T6">
                  <a:pos x="T0" y="T1"/>
                </a:cxn>
                <a:cxn ang="T7">
                  <a:pos x="T2" y="T3"/>
                </a:cxn>
                <a:cxn ang="T8">
                  <a:pos x="T4" y="T5"/>
                </a:cxn>
              </a:cxnLst>
              <a:rect l="T9" t="T10" r="T11" b="T12"/>
              <a:pathLst>
                <a:path w="364" h="140">
                  <a:moveTo>
                    <a:pt x="0" y="134"/>
                  </a:moveTo>
                  <a:lnTo>
                    <a:pt x="192" y="0"/>
                  </a:lnTo>
                  <a:lnTo>
                    <a:pt x="364" y="140"/>
                  </a:lnTo>
                </a:path>
              </a:pathLst>
            </a:custGeom>
            <a:solidFill>
              <a:srgbClr val="8C8C8C"/>
            </a:solidFill>
            <a:ln w="12700">
              <a:solidFill>
                <a:schemeClr val="bg1"/>
              </a:solidFill>
              <a:round/>
              <a:headEnd/>
              <a:tailEnd/>
            </a:ln>
          </p:spPr>
          <p:txBody>
            <a:bodyPr wrap="none" anchor="ctr"/>
            <a:lstStyle/>
            <a:p>
              <a:pPr defTabSz="685800">
                <a:buClrTx/>
                <a:defRPr/>
              </a:pPr>
              <a:endParaRPr lang="en-US" sz="1050" kern="1200">
                <a:solidFill>
                  <a:prstClr val="white"/>
                </a:solidFill>
                <a:ea typeface="+mn-ea"/>
                <a:cs typeface="+mn-cs"/>
              </a:endParaRPr>
            </a:p>
          </p:txBody>
        </p:sp>
        <p:sp>
          <p:nvSpPr>
            <p:cNvPr id="86" name="Freeform 36"/>
            <p:cNvSpPr>
              <a:spLocks/>
            </p:cNvSpPr>
            <p:nvPr/>
          </p:nvSpPr>
          <p:spPr bwMode="gray">
            <a:xfrm rot="7866426" flipH="1">
              <a:off x="2139951" y="2801937"/>
              <a:ext cx="685800" cy="244475"/>
            </a:xfrm>
            <a:custGeom>
              <a:avLst/>
              <a:gdLst>
                <a:gd name="T0" fmla="*/ 0 w 364"/>
                <a:gd name="T1" fmla="*/ 2147483647 h 140"/>
                <a:gd name="T2" fmla="*/ 2147483647 w 364"/>
                <a:gd name="T3" fmla="*/ 0 h 140"/>
                <a:gd name="T4" fmla="*/ 2147483647 w 364"/>
                <a:gd name="T5" fmla="*/ 2147483647 h 140"/>
                <a:gd name="T6" fmla="*/ 0 60000 65536"/>
                <a:gd name="T7" fmla="*/ 0 60000 65536"/>
                <a:gd name="T8" fmla="*/ 0 60000 65536"/>
                <a:gd name="T9" fmla="*/ 0 w 364"/>
                <a:gd name="T10" fmla="*/ 0 h 140"/>
                <a:gd name="T11" fmla="*/ 364 w 364"/>
                <a:gd name="T12" fmla="*/ 140 h 140"/>
              </a:gdLst>
              <a:ahLst/>
              <a:cxnLst>
                <a:cxn ang="T6">
                  <a:pos x="T0" y="T1"/>
                </a:cxn>
                <a:cxn ang="T7">
                  <a:pos x="T2" y="T3"/>
                </a:cxn>
                <a:cxn ang="T8">
                  <a:pos x="T4" y="T5"/>
                </a:cxn>
              </a:cxnLst>
              <a:rect l="T9" t="T10" r="T11" b="T12"/>
              <a:pathLst>
                <a:path w="364" h="140">
                  <a:moveTo>
                    <a:pt x="0" y="134"/>
                  </a:moveTo>
                  <a:lnTo>
                    <a:pt x="192" y="0"/>
                  </a:lnTo>
                  <a:lnTo>
                    <a:pt x="364" y="140"/>
                  </a:lnTo>
                </a:path>
              </a:pathLst>
            </a:custGeom>
            <a:solidFill>
              <a:srgbClr val="00A1DE"/>
            </a:solidFill>
            <a:ln w="12700">
              <a:solidFill>
                <a:schemeClr val="bg1"/>
              </a:solidFill>
              <a:round/>
              <a:headEnd/>
              <a:tailEnd/>
            </a:ln>
          </p:spPr>
          <p:txBody>
            <a:bodyPr wrap="none" anchor="ctr"/>
            <a:lstStyle/>
            <a:p>
              <a:pPr defTabSz="685800">
                <a:buClrTx/>
              </a:pPr>
              <a:endParaRPr lang="en-US" sz="1050" kern="1200">
                <a:solidFill>
                  <a:prstClr val="white"/>
                </a:solidFill>
                <a:ea typeface="+mn-ea"/>
                <a:cs typeface="+mn-cs"/>
              </a:endParaRPr>
            </a:p>
          </p:txBody>
        </p:sp>
        <p:sp>
          <p:nvSpPr>
            <p:cNvPr id="87" name="Rectangle 37"/>
            <p:cNvSpPr>
              <a:spLocks noChangeArrowheads="1"/>
            </p:cNvSpPr>
            <p:nvPr/>
          </p:nvSpPr>
          <p:spPr bwMode="blackWhite">
            <a:xfrm>
              <a:off x="540182" y="3490580"/>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dirty="0">
                  <a:solidFill>
                    <a:prstClr val="white"/>
                  </a:solidFill>
                  <a:ea typeface="+mn-ea"/>
                  <a:cs typeface="+mn-cs"/>
                </a:rPr>
                <a:t>Text</a:t>
              </a:r>
            </a:p>
          </p:txBody>
        </p:sp>
        <p:sp>
          <p:nvSpPr>
            <p:cNvPr id="88" name="Rectangle 38"/>
            <p:cNvSpPr>
              <a:spLocks noChangeArrowheads="1"/>
            </p:cNvSpPr>
            <p:nvPr/>
          </p:nvSpPr>
          <p:spPr bwMode="blackWhite">
            <a:xfrm>
              <a:off x="1607775" y="2499980"/>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dirty="0">
                  <a:solidFill>
                    <a:prstClr val="white"/>
                  </a:solidFill>
                  <a:ea typeface="+mn-ea"/>
                  <a:cs typeface="+mn-cs"/>
                </a:rPr>
                <a:t>Text</a:t>
              </a:r>
            </a:p>
          </p:txBody>
        </p:sp>
        <p:sp>
          <p:nvSpPr>
            <p:cNvPr id="89" name="Rectangle 39"/>
            <p:cNvSpPr>
              <a:spLocks noChangeArrowheads="1"/>
            </p:cNvSpPr>
            <p:nvPr/>
          </p:nvSpPr>
          <p:spPr bwMode="blackWhite">
            <a:xfrm>
              <a:off x="1455375" y="4557380"/>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dirty="0">
                  <a:solidFill>
                    <a:prstClr val="white"/>
                  </a:solidFill>
                  <a:ea typeface="+mn-ea"/>
                  <a:cs typeface="+mn-cs"/>
                </a:rPr>
                <a:t>Text</a:t>
              </a:r>
            </a:p>
          </p:txBody>
        </p:sp>
        <p:sp>
          <p:nvSpPr>
            <p:cNvPr id="90" name="Rectangle 40"/>
            <p:cNvSpPr>
              <a:spLocks noChangeArrowheads="1"/>
            </p:cNvSpPr>
            <p:nvPr/>
          </p:nvSpPr>
          <p:spPr bwMode="blackWhite">
            <a:xfrm>
              <a:off x="2522176" y="3490580"/>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dirty="0">
                  <a:solidFill>
                    <a:srgbClr val="313131"/>
                  </a:solidFill>
                  <a:ea typeface="+mn-ea"/>
                  <a:cs typeface="+mn-cs"/>
                </a:rPr>
                <a:t>Text</a:t>
              </a:r>
            </a:p>
          </p:txBody>
        </p:sp>
      </p:grpSp>
      <p:grpSp>
        <p:nvGrpSpPr>
          <p:cNvPr id="98" name="Group 97"/>
          <p:cNvGrpSpPr/>
          <p:nvPr/>
        </p:nvGrpSpPr>
        <p:grpSpPr>
          <a:xfrm>
            <a:off x="5672138" y="1415652"/>
            <a:ext cx="2031206" cy="2031206"/>
            <a:chOff x="6038850" y="2289175"/>
            <a:chExt cx="2708275" cy="2708275"/>
          </a:xfrm>
        </p:grpSpPr>
        <p:grpSp>
          <p:nvGrpSpPr>
            <p:cNvPr id="147" name="Group 146"/>
            <p:cNvGrpSpPr>
              <a:grpSpLocks/>
            </p:cNvGrpSpPr>
            <p:nvPr/>
          </p:nvGrpSpPr>
          <p:grpSpPr bwMode="auto">
            <a:xfrm>
              <a:off x="6038850" y="2289175"/>
              <a:ext cx="2708275" cy="2708275"/>
              <a:chOff x="3824" y="2244"/>
              <a:chExt cx="1418" cy="1418"/>
            </a:xfrm>
          </p:grpSpPr>
          <p:sp>
            <p:nvSpPr>
              <p:cNvPr id="148" name="Freeform 147"/>
              <p:cNvSpPr>
                <a:spLocks/>
              </p:cNvSpPr>
              <p:nvPr/>
            </p:nvSpPr>
            <p:spPr bwMode="gray">
              <a:xfrm>
                <a:off x="4106" y="2244"/>
                <a:ext cx="752" cy="409"/>
              </a:xfrm>
              <a:custGeom>
                <a:avLst/>
                <a:gdLst>
                  <a:gd name="T0" fmla="*/ 0 w 760"/>
                  <a:gd name="T1" fmla="*/ 139 h 413"/>
                  <a:gd name="T2" fmla="*/ 72 w 760"/>
                  <a:gd name="T3" fmla="*/ 91 h 413"/>
                  <a:gd name="T4" fmla="*/ 139 w 760"/>
                  <a:gd name="T5" fmla="*/ 57 h 413"/>
                  <a:gd name="T6" fmla="*/ 205 w 760"/>
                  <a:gd name="T7" fmla="*/ 36 h 413"/>
                  <a:gd name="T8" fmla="*/ 274 w 760"/>
                  <a:gd name="T9" fmla="*/ 16 h 413"/>
                  <a:gd name="T10" fmla="*/ 347 w 760"/>
                  <a:gd name="T11" fmla="*/ 3 h 413"/>
                  <a:gd name="T12" fmla="*/ 420 w 760"/>
                  <a:gd name="T13" fmla="*/ 0 h 413"/>
                  <a:gd name="T14" fmla="*/ 486 w 760"/>
                  <a:gd name="T15" fmla="*/ 2 h 413"/>
                  <a:gd name="T16" fmla="*/ 548 w 760"/>
                  <a:gd name="T17" fmla="*/ 10 h 413"/>
                  <a:gd name="T18" fmla="*/ 615 w 760"/>
                  <a:gd name="T19" fmla="*/ 30 h 413"/>
                  <a:gd name="T20" fmla="*/ 668 w 760"/>
                  <a:gd name="T21" fmla="*/ 48 h 413"/>
                  <a:gd name="T22" fmla="*/ 727 w 760"/>
                  <a:gd name="T23" fmla="*/ 84 h 413"/>
                  <a:gd name="T24" fmla="*/ 726 w 760"/>
                  <a:gd name="T25" fmla="*/ 254 h 413"/>
                  <a:gd name="T26" fmla="*/ 589 w 760"/>
                  <a:gd name="T27" fmla="*/ 350 h 413"/>
                  <a:gd name="T28" fmla="*/ 519 w 760"/>
                  <a:gd name="T29" fmla="*/ 322 h 413"/>
                  <a:gd name="T30" fmla="*/ 474 w 760"/>
                  <a:gd name="T31" fmla="*/ 313 h 413"/>
                  <a:gd name="T32" fmla="*/ 424 w 760"/>
                  <a:gd name="T33" fmla="*/ 306 h 413"/>
                  <a:gd name="T34" fmla="*/ 340 w 760"/>
                  <a:gd name="T35" fmla="*/ 315 h 413"/>
                  <a:gd name="T36" fmla="*/ 272 w 760"/>
                  <a:gd name="T37" fmla="*/ 337 h 413"/>
                  <a:gd name="T38" fmla="*/ 232 w 760"/>
                  <a:gd name="T39" fmla="*/ 349 h 413"/>
                  <a:gd name="T40" fmla="*/ 195 w 760"/>
                  <a:gd name="T41" fmla="*/ 371 h 413"/>
                  <a:gd name="T42" fmla="*/ 164 w 760"/>
                  <a:gd name="T43" fmla="*/ 396 h 413"/>
                  <a:gd name="T44" fmla="*/ 0 w 760"/>
                  <a:gd name="T45" fmla="*/ 139 h 41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60"/>
                  <a:gd name="T70" fmla="*/ 0 h 413"/>
                  <a:gd name="T71" fmla="*/ 760 w 760"/>
                  <a:gd name="T72" fmla="*/ 413 h 41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60" h="413">
                    <a:moveTo>
                      <a:pt x="0" y="143"/>
                    </a:moveTo>
                    <a:lnTo>
                      <a:pt x="76" y="95"/>
                    </a:lnTo>
                    <a:lnTo>
                      <a:pt x="145" y="61"/>
                    </a:lnTo>
                    <a:lnTo>
                      <a:pt x="213" y="36"/>
                    </a:lnTo>
                    <a:lnTo>
                      <a:pt x="286" y="16"/>
                    </a:lnTo>
                    <a:lnTo>
                      <a:pt x="363" y="3"/>
                    </a:lnTo>
                    <a:lnTo>
                      <a:pt x="439" y="0"/>
                    </a:lnTo>
                    <a:lnTo>
                      <a:pt x="506" y="2"/>
                    </a:lnTo>
                    <a:lnTo>
                      <a:pt x="572" y="10"/>
                    </a:lnTo>
                    <a:lnTo>
                      <a:pt x="643" y="30"/>
                    </a:lnTo>
                    <a:lnTo>
                      <a:pt x="696" y="48"/>
                    </a:lnTo>
                    <a:lnTo>
                      <a:pt x="759" y="88"/>
                    </a:lnTo>
                    <a:lnTo>
                      <a:pt x="758" y="264"/>
                    </a:lnTo>
                    <a:lnTo>
                      <a:pt x="613" y="363"/>
                    </a:lnTo>
                    <a:lnTo>
                      <a:pt x="543" y="334"/>
                    </a:lnTo>
                    <a:lnTo>
                      <a:pt x="494" y="325"/>
                    </a:lnTo>
                    <a:lnTo>
                      <a:pt x="444" y="318"/>
                    </a:lnTo>
                    <a:lnTo>
                      <a:pt x="356" y="327"/>
                    </a:lnTo>
                    <a:lnTo>
                      <a:pt x="284" y="349"/>
                    </a:lnTo>
                    <a:lnTo>
                      <a:pt x="242" y="362"/>
                    </a:lnTo>
                    <a:lnTo>
                      <a:pt x="203" y="387"/>
                    </a:lnTo>
                    <a:lnTo>
                      <a:pt x="172" y="412"/>
                    </a:lnTo>
                    <a:lnTo>
                      <a:pt x="0" y="143"/>
                    </a:lnTo>
                  </a:path>
                </a:pathLst>
              </a:custGeom>
              <a:solidFill>
                <a:srgbClr val="00A1DE"/>
              </a:solidFill>
              <a:ln w="12700">
                <a:solidFill>
                  <a:schemeClr val="bg1"/>
                </a:solidFill>
                <a:round/>
                <a:headEnd/>
                <a:tailEnd/>
              </a:ln>
            </p:spPr>
            <p:txBody>
              <a:bodyPr wrap="none" anchor="ctr"/>
              <a:lstStyle/>
              <a:p>
                <a:pPr defTabSz="685800">
                  <a:buClrTx/>
                </a:pPr>
                <a:endParaRPr lang="en-US" sz="1050" kern="1200">
                  <a:solidFill>
                    <a:prstClr val="white"/>
                  </a:solidFill>
                  <a:ea typeface="+mn-ea"/>
                  <a:cs typeface="+mn-cs"/>
                </a:endParaRPr>
              </a:p>
            </p:txBody>
          </p:sp>
          <p:sp>
            <p:nvSpPr>
              <p:cNvPr id="149" name="Freeform 148"/>
              <p:cNvSpPr>
                <a:spLocks/>
              </p:cNvSpPr>
              <p:nvPr/>
            </p:nvSpPr>
            <p:spPr bwMode="gray">
              <a:xfrm>
                <a:off x="3824" y="2378"/>
                <a:ext cx="468" cy="643"/>
              </a:xfrm>
              <a:custGeom>
                <a:avLst/>
                <a:gdLst>
                  <a:gd name="T0" fmla="*/ 306 w 473"/>
                  <a:gd name="T1" fmla="*/ 598 h 650"/>
                  <a:gd name="T2" fmla="*/ 305 w 473"/>
                  <a:gd name="T3" fmla="*/ 554 h 650"/>
                  <a:gd name="T4" fmla="*/ 310 w 473"/>
                  <a:gd name="T5" fmla="*/ 499 h 650"/>
                  <a:gd name="T6" fmla="*/ 322 w 473"/>
                  <a:gd name="T7" fmla="*/ 457 h 650"/>
                  <a:gd name="T8" fmla="*/ 327 w 473"/>
                  <a:gd name="T9" fmla="*/ 431 h 650"/>
                  <a:gd name="T10" fmla="*/ 338 w 473"/>
                  <a:gd name="T11" fmla="*/ 405 h 650"/>
                  <a:gd name="T12" fmla="*/ 346 w 473"/>
                  <a:gd name="T13" fmla="*/ 387 h 650"/>
                  <a:gd name="T14" fmla="*/ 360 w 473"/>
                  <a:gd name="T15" fmla="*/ 360 h 650"/>
                  <a:gd name="T16" fmla="*/ 378 w 473"/>
                  <a:gd name="T17" fmla="*/ 338 h 650"/>
                  <a:gd name="T18" fmla="*/ 391 w 473"/>
                  <a:gd name="T19" fmla="*/ 319 h 650"/>
                  <a:gd name="T20" fmla="*/ 416 w 473"/>
                  <a:gd name="T21" fmla="*/ 293 h 650"/>
                  <a:gd name="T22" fmla="*/ 434 w 473"/>
                  <a:gd name="T23" fmla="*/ 272 h 650"/>
                  <a:gd name="T24" fmla="*/ 447 w 473"/>
                  <a:gd name="T25" fmla="*/ 260 h 650"/>
                  <a:gd name="T26" fmla="*/ 452 w 473"/>
                  <a:gd name="T27" fmla="*/ 85 h 650"/>
                  <a:gd name="T28" fmla="*/ 288 w 473"/>
                  <a:gd name="T29" fmla="*/ 0 h 650"/>
                  <a:gd name="T30" fmla="*/ 247 w 473"/>
                  <a:gd name="T31" fmla="*/ 35 h 650"/>
                  <a:gd name="T32" fmla="*/ 219 w 473"/>
                  <a:gd name="T33" fmla="*/ 59 h 650"/>
                  <a:gd name="T34" fmla="*/ 180 w 473"/>
                  <a:gd name="T35" fmla="*/ 98 h 650"/>
                  <a:gd name="T36" fmla="*/ 147 w 473"/>
                  <a:gd name="T37" fmla="*/ 136 h 650"/>
                  <a:gd name="T38" fmla="*/ 122 w 473"/>
                  <a:gd name="T39" fmla="*/ 169 h 650"/>
                  <a:gd name="T40" fmla="*/ 92 w 473"/>
                  <a:gd name="T41" fmla="*/ 220 h 650"/>
                  <a:gd name="T42" fmla="*/ 66 w 473"/>
                  <a:gd name="T43" fmla="*/ 261 h 650"/>
                  <a:gd name="T44" fmla="*/ 46 w 473"/>
                  <a:gd name="T45" fmla="*/ 316 h 650"/>
                  <a:gd name="T46" fmla="*/ 29 w 473"/>
                  <a:gd name="T47" fmla="*/ 368 h 650"/>
                  <a:gd name="T48" fmla="*/ 18 w 473"/>
                  <a:gd name="T49" fmla="*/ 413 h 650"/>
                  <a:gd name="T50" fmla="*/ 3 w 473"/>
                  <a:gd name="T51" fmla="*/ 470 h 650"/>
                  <a:gd name="T52" fmla="*/ 0 w 473"/>
                  <a:gd name="T53" fmla="*/ 527 h 650"/>
                  <a:gd name="T54" fmla="*/ 1 w 473"/>
                  <a:gd name="T55" fmla="*/ 585 h 650"/>
                  <a:gd name="T56" fmla="*/ 2 w 473"/>
                  <a:gd name="T57" fmla="*/ 621 h 650"/>
                  <a:gd name="T58" fmla="*/ 306 w 473"/>
                  <a:gd name="T59" fmla="*/ 598 h 65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73"/>
                  <a:gd name="T91" fmla="*/ 0 h 650"/>
                  <a:gd name="T92" fmla="*/ 473 w 473"/>
                  <a:gd name="T93" fmla="*/ 650 h 65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73" h="650">
                    <a:moveTo>
                      <a:pt x="318" y="626"/>
                    </a:moveTo>
                    <a:lnTo>
                      <a:pt x="317" y="578"/>
                    </a:lnTo>
                    <a:lnTo>
                      <a:pt x="322" y="521"/>
                    </a:lnTo>
                    <a:lnTo>
                      <a:pt x="336" y="477"/>
                    </a:lnTo>
                    <a:lnTo>
                      <a:pt x="342" y="451"/>
                    </a:lnTo>
                    <a:lnTo>
                      <a:pt x="354" y="423"/>
                    </a:lnTo>
                    <a:lnTo>
                      <a:pt x="362" y="403"/>
                    </a:lnTo>
                    <a:lnTo>
                      <a:pt x="376" y="376"/>
                    </a:lnTo>
                    <a:lnTo>
                      <a:pt x="394" y="354"/>
                    </a:lnTo>
                    <a:lnTo>
                      <a:pt x="407" y="333"/>
                    </a:lnTo>
                    <a:lnTo>
                      <a:pt x="434" y="305"/>
                    </a:lnTo>
                    <a:lnTo>
                      <a:pt x="454" y="284"/>
                    </a:lnTo>
                    <a:lnTo>
                      <a:pt x="467" y="272"/>
                    </a:lnTo>
                    <a:lnTo>
                      <a:pt x="472" y="89"/>
                    </a:lnTo>
                    <a:lnTo>
                      <a:pt x="300" y="0"/>
                    </a:lnTo>
                    <a:lnTo>
                      <a:pt x="259" y="35"/>
                    </a:lnTo>
                    <a:lnTo>
                      <a:pt x="227" y="63"/>
                    </a:lnTo>
                    <a:lnTo>
                      <a:pt x="188" y="102"/>
                    </a:lnTo>
                    <a:lnTo>
                      <a:pt x="155" y="141"/>
                    </a:lnTo>
                    <a:lnTo>
                      <a:pt x="126" y="177"/>
                    </a:lnTo>
                    <a:lnTo>
                      <a:pt x="96" y="228"/>
                    </a:lnTo>
                    <a:lnTo>
                      <a:pt x="70" y="273"/>
                    </a:lnTo>
                    <a:lnTo>
                      <a:pt x="46" y="329"/>
                    </a:lnTo>
                    <a:lnTo>
                      <a:pt x="29" y="384"/>
                    </a:lnTo>
                    <a:lnTo>
                      <a:pt x="18" y="432"/>
                    </a:lnTo>
                    <a:lnTo>
                      <a:pt x="3" y="490"/>
                    </a:lnTo>
                    <a:lnTo>
                      <a:pt x="0" y="551"/>
                    </a:lnTo>
                    <a:lnTo>
                      <a:pt x="1" y="611"/>
                    </a:lnTo>
                    <a:lnTo>
                      <a:pt x="2" y="649"/>
                    </a:lnTo>
                    <a:lnTo>
                      <a:pt x="318" y="626"/>
                    </a:lnTo>
                  </a:path>
                </a:pathLst>
              </a:custGeom>
              <a:solidFill>
                <a:srgbClr val="313131"/>
              </a:solidFill>
              <a:ln w="12700">
                <a:solidFill>
                  <a:schemeClr val="bg1"/>
                </a:solidFill>
                <a:round/>
                <a:headEnd/>
                <a:tailEnd/>
              </a:ln>
            </p:spPr>
            <p:txBody>
              <a:bodyPr wrap="none" anchor="ctr"/>
              <a:lstStyle/>
              <a:p>
                <a:pPr defTabSz="685800">
                  <a:buClrTx/>
                </a:pPr>
                <a:endParaRPr lang="en-US" sz="1050" kern="1200">
                  <a:solidFill>
                    <a:prstClr val="white"/>
                  </a:solidFill>
                  <a:ea typeface="+mn-ea"/>
                  <a:cs typeface="+mn-cs"/>
                </a:endParaRPr>
              </a:p>
            </p:txBody>
          </p:sp>
          <p:sp>
            <p:nvSpPr>
              <p:cNvPr id="150" name="Freeform 149"/>
              <p:cNvSpPr>
                <a:spLocks/>
              </p:cNvSpPr>
              <p:nvPr/>
            </p:nvSpPr>
            <p:spPr bwMode="gray">
              <a:xfrm>
                <a:off x="4201" y="3257"/>
                <a:ext cx="745" cy="405"/>
              </a:xfrm>
              <a:custGeom>
                <a:avLst/>
                <a:gdLst>
                  <a:gd name="T0" fmla="*/ 744 w 753"/>
                  <a:gd name="T1" fmla="*/ 269 h 409"/>
                  <a:gd name="T2" fmla="*/ 668 w 753"/>
                  <a:gd name="T3" fmla="*/ 316 h 409"/>
                  <a:gd name="T4" fmla="*/ 599 w 753"/>
                  <a:gd name="T5" fmla="*/ 349 h 409"/>
                  <a:gd name="T6" fmla="*/ 531 w 753"/>
                  <a:gd name="T7" fmla="*/ 372 h 409"/>
                  <a:gd name="T8" fmla="*/ 459 w 753"/>
                  <a:gd name="T9" fmla="*/ 391 h 409"/>
                  <a:gd name="T10" fmla="*/ 381 w 753"/>
                  <a:gd name="T11" fmla="*/ 403 h 409"/>
                  <a:gd name="T12" fmla="*/ 308 w 753"/>
                  <a:gd name="T13" fmla="*/ 404 h 409"/>
                  <a:gd name="T14" fmla="*/ 240 w 753"/>
                  <a:gd name="T15" fmla="*/ 400 h 409"/>
                  <a:gd name="T16" fmla="*/ 174 w 753"/>
                  <a:gd name="T17" fmla="*/ 390 h 409"/>
                  <a:gd name="T18" fmla="*/ 106 w 753"/>
                  <a:gd name="T19" fmla="*/ 369 h 409"/>
                  <a:gd name="T20" fmla="*/ 54 w 753"/>
                  <a:gd name="T21" fmla="*/ 353 h 409"/>
                  <a:gd name="T22" fmla="*/ 25 w 753"/>
                  <a:gd name="T23" fmla="*/ 339 h 409"/>
                  <a:gd name="T24" fmla="*/ 0 w 753"/>
                  <a:gd name="T25" fmla="*/ 148 h 409"/>
                  <a:gd name="T26" fmla="*/ 196 w 753"/>
                  <a:gd name="T27" fmla="*/ 70 h 409"/>
                  <a:gd name="T28" fmla="*/ 215 w 753"/>
                  <a:gd name="T29" fmla="*/ 75 h 409"/>
                  <a:gd name="T30" fmla="*/ 251 w 753"/>
                  <a:gd name="T31" fmla="*/ 80 h 409"/>
                  <a:gd name="T32" fmla="*/ 308 w 753"/>
                  <a:gd name="T33" fmla="*/ 92 h 409"/>
                  <a:gd name="T34" fmla="*/ 366 w 753"/>
                  <a:gd name="T35" fmla="*/ 92 h 409"/>
                  <a:gd name="T36" fmla="*/ 436 w 753"/>
                  <a:gd name="T37" fmla="*/ 83 h 409"/>
                  <a:gd name="T38" fmla="*/ 482 w 753"/>
                  <a:gd name="T39" fmla="*/ 63 h 409"/>
                  <a:gd name="T40" fmla="*/ 544 w 753"/>
                  <a:gd name="T41" fmla="*/ 31 h 409"/>
                  <a:gd name="T42" fmla="*/ 587 w 753"/>
                  <a:gd name="T43" fmla="*/ 0 h 409"/>
                  <a:gd name="T44" fmla="*/ 744 w 753"/>
                  <a:gd name="T45" fmla="*/ 269 h 40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53"/>
                  <a:gd name="T70" fmla="*/ 0 h 409"/>
                  <a:gd name="T71" fmla="*/ 753 w 753"/>
                  <a:gd name="T72" fmla="*/ 409 h 40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53" h="409">
                    <a:moveTo>
                      <a:pt x="752" y="272"/>
                    </a:moveTo>
                    <a:lnTo>
                      <a:pt x="675" y="319"/>
                    </a:lnTo>
                    <a:lnTo>
                      <a:pt x="605" y="352"/>
                    </a:lnTo>
                    <a:lnTo>
                      <a:pt x="537" y="376"/>
                    </a:lnTo>
                    <a:lnTo>
                      <a:pt x="464" y="395"/>
                    </a:lnTo>
                    <a:lnTo>
                      <a:pt x="385" y="407"/>
                    </a:lnTo>
                    <a:lnTo>
                      <a:pt x="311" y="408"/>
                    </a:lnTo>
                    <a:lnTo>
                      <a:pt x="243" y="404"/>
                    </a:lnTo>
                    <a:lnTo>
                      <a:pt x="176" y="394"/>
                    </a:lnTo>
                    <a:lnTo>
                      <a:pt x="107" y="373"/>
                    </a:lnTo>
                    <a:lnTo>
                      <a:pt x="55" y="356"/>
                    </a:lnTo>
                    <a:lnTo>
                      <a:pt x="25" y="342"/>
                    </a:lnTo>
                    <a:lnTo>
                      <a:pt x="0" y="149"/>
                    </a:lnTo>
                    <a:lnTo>
                      <a:pt x="198" y="71"/>
                    </a:lnTo>
                    <a:lnTo>
                      <a:pt x="217" y="76"/>
                    </a:lnTo>
                    <a:lnTo>
                      <a:pt x="254" y="81"/>
                    </a:lnTo>
                    <a:lnTo>
                      <a:pt x="311" y="93"/>
                    </a:lnTo>
                    <a:lnTo>
                      <a:pt x="370" y="93"/>
                    </a:lnTo>
                    <a:lnTo>
                      <a:pt x="441" y="84"/>
                    </a:lnTo>
                    <a:lnTo>
                      <a:pt x="487" y="64"/>
                    </a:lnTo>
                    <a:lnTo>
                      <a:pt x="550" y="31"/>
                    </a:lnTo>
                    <a:lnTo>
                      <a:pt x="593" y="0"/>
                    </a:lnTo>
                    <a:lnTo>
                      <a:pt x="752" y="272"/>
                    </a:lnTo>
                  </a:path>
                </a:pathLst>
              </a:custGeom>
              <a:solidFill>
                <a:srgbClr val="8C8C8C"/>
              </a:solidFill>
              <a:ln w="12700">
                <a:solidFill>
                  <a:schemeClr val="bg1"/>
                </a:solidFill>
                <a:round/>
                <a:headEnd/>
                <a:tailEnd/>
              </a:ln>
            </p:spPr>
            <p:txBody>
              <a:bodyPr wrap="none" anchor="ctr"/>
              <a:lstStyle/>
              <a:p>
                <a:pPr defTabSz="685800">
                  <a:buClrTx/>
                  <a:defRPr/>
                </a:pPr>
                <a:endParaRPr lang="en-US" sz="1050" kern="1200">
                  <a:solidFill>
                    <a:prstClr val="white"/>
                  </a:solidFill>
                  <a:ea typeface="+mn-ea"/>
                  <a:cs typeface="+mn-cs"/>
                </a:endParaRPr>
              </a:p>
            </p:txBody>
          </p:sp>
          <p:sp>
            <p:nvSpPr>
              <p:cNvPr id="151" name="Freeform 150"/>
              <p:cNvSpPr>
                <a:spLocks/>
              </p:cNvSpPr>
              <p:nvPr/>
            </p:nvSpPr>
            <p:spPr bwMode="gray">
              <a:xfrm>
                <a:off x="3830" y="2907"/>
                <a:ext cx="559" cy="699"/>
              </a:xfrm>
              <a:custGeom>
                <a:avLst/>
                <a:gdLst>
                  <a:gd name="T0" fmla="*/ 405 w 565"/>
                  <a:gd name="T1" fmla="*/ 677 h 706"/>
                  <a:gd name="T2" fmla="*/ 331 w 565"/>
                  <a:gd name="T3" fmla="*/ 641 h 706"/>
                  <a:gd name="T4" fmla="*/ 270 w 565"/>
                  <a:gd name="T5" fmla="*/ 601 h 706"/>
                  <a:gd name="T6" fmla="*/ 231 w 565"/>
                  <a:gd name="T7" fmla="*/ 566 h 706"/>
                  <a:gd name="T8" fmla="*/ 179 w 565"/>
                  <a:gd name="T9" fmla="*/ 515 h 706"/>
                  <a:gd name="T10" fmla="*/ 139 w 565"/>
                  <a:gd name="T11" fmla="*/ 470 h 706"/>
                  <a:gd name="T12" fmla="*/ 101 w 565"/>
                  <a:gd name="T13" fmla="*/ 415 h 706"/>
                  <a:gd name="T14" fmla="*/ 65 w 565"/>
                  <a:gd name="T15" fmla="*/ 347 h 706"/>
                  <a:gd name="T16" fmla="*/ 45 w 565"/>
                  <a:gd name="T17" fmla="*/ 291 h 706"/>
                  <a:gd name="T18" fmla="*/ 27 w 565"/>
                  <a:gd name="T19" fmla="*/ 239 h 706"/>
                  <a:gd name="T20" fmla="*/ 12 w 565"/>
                  <a:gd name="T21" fmla="*/ 196 h 706"/>
                  <a:gd name="T22" fmla="*/ 8 w 565"/>
                  <a:gd name="T23" fmla="*/ 157 h 706"/>
                  <a:gd name="T24" fmla="*/ 0 w 565"/>
                  <a:gd name="T25" fmla="*/ 108 h 706"/>
                  <a:gd name="T26" fmla="*/ 154 w 565"/>
                  <a:gd name="T27" fmla="*/ 0 h 706"/>
                  <a:gd name="T28" fmla="*/ 298 w 565"/>
                  <a:gd name="T29" fmla="*/ 78 h 706"/>
                  <a:gd name="T30" fmla="*/ 312 w 565"/>
                  <a:gd name="T31" fmla="*/ 124 h 706"/>
                  <a:gd name="T32" fmla="*/ 317 w 565"/>
                  <a:gd name="T33" fmla="*/ 149 h 706"/>
                  <a:gd name="T34" fmla="*/ 325 w 565"/>
                  <a:gd name="T35" fmla="*/ 185 h 706"/>
                  <a:gd name="T36" fmla="*/ 346 w 565"/>
                  <a:gd name="T37" fmla="*/ 229 h 706"/>
                  <a:gd name="T38" fmla="*/ 368 w 565"/>
                  <a:gd name="T39" fmla="*/ 263 h 706"/>
                  <a:gd name="T40" fmla="*/ 384 w 565"/>
                  <a:gd name="T41" fmla="*/ 284 h 706"/>
                  <a:gd name="T42" fmla="*/ 405 w 565"/>
                  <a:gd name="T43" fmla="*/ 313 h 706"/>
                  <a:gd name="T44" fmla="*/ 424 w 565"/>
                  <a:gd name="T45" fmla="*/ 333 h 706"/>
                  <a:gd name="T46" fmla="*/ 452 w 565"/>
                  <a:gd name="T47" fmla="*/ 353 h 706"/>
                  <a:gd name="T48" fmla="*/ 478 w 565"/>
                  <a:gd name="T49" fmla="*/ 374 h 706"/>
                  <a:gd name="T50" fmla="*/ 515 w 565"/>
                  <a:gd name="T51" fmla="*/ 395 h 706"/>
                  <a:gd name="T52" fmla="*/ 540 w 565"/>
                  <a:gd name="T53" fmla="*/ 406 h 706"/>
                  <a:gd name="T54" fmla="*/ 370 w 565"/>
                  <a:gd name="T55" fmla="*/ 484 h 706"/>
                  <a:gd name="T56" fmla="*/ 405 w 565"/>
                  <a:gd name="T57" fmla="*/ 677 h 70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65"/>
                  <a:gd name="T88" fmla="*/ 0 h 706"/>
                  <a:gd name="T89" fmla="*/ 565 w 565"/>
                  <a:gd name="T90" fmla="*/ 706 h 70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65" h="706">
                    <a:moveTo>
                      <a:pt x="421" y="705"/>
                    </a:moveTo>
                    <a:lnTo>
                      <a:pt x="347" y="667"/>
                    </a:lnTo>
                    <a:lnTo>
                      <a:pt x="282" y="625"/>
                    </a:lnTo>
                    <a:lnTo>
                      <a:pt x="241" y="590"/>
                    </a:lnTo>
                    <a:lnTo>
                      <a:pt x="187" y="535"/>
                    </a:lnTo>
                    <a:lnTo>
                      <a:pt x="145" y="490"/>
                    </a:lnTo>
                    <a:lnTo>
                      <a:pt x="105" y="431"/>
                    </a:lnTo>
                    <a:lnTo>
                      <a:pt x="69" y="361"/>
                    </a:lnTo>
                    <a:lnTo>
                      <a:pt x="45" y="303"/>
                    </a:lnTo>
                    <a:lnTo>
                      <a:pt x="27" y="247"/>
                    </a:lnTo>
                    <a:lnTo>
                      <a:pt x="12" y="204"/>
                    </a:lnTo>
                    <a:lnTo>
                      <a:pt x="8" y="165"/>
                    </a:lnTo>
                    <a:lnTo>
                      <a:pt x="0" y="112"/>
                    </a:lnTo>
                    <a:lnTo>
                      <a:pt x="162" y="0"/>
                    </a:lnTo>
                    <a:lnTo>
                      <a:pt x="310" y="82"/>
                    </a:lnTo>
                    <a:lnTo>
                      <a:pt x="324" y="128"/>
                    </a:lnTo>
                    <a:lnTo>
                      <a:pt x="329" y="155"/>
                    </a:lnTo>
                    <a:lnTo>
                      <a:pt x="340" y="193"/>
                    </a:lnTo>
                    <a:lnTo>
                      <a:pt x="362" y="237"/>
                    </a:lnTo>
                    <a:lnTo>
                      <a:pt x="384" y="275"/>
                    </a:lnTo>
                    <a:lnTo>
                      <a:pt x="400" y="296"/>
                    </a:lnTo>
                    <a:lnTo>
                      <a:pt x="421" y="325"/>
                    </a:lnTo>
                    <a:lnTo>
                      <a:pt x="444" y="345"/>
                    </a:lnTo>
                    <a:lnTo>
                      <a:pt x="472" y="369"/>
                    </a:lnTo>
                    <a:lnTo>
                      <a:pt x="498" y="390"/>
                    </a:lnTo>
                    <a:lnTo>
                      <a:pt x="539" y="411"/>
                    </a:lnTo>
                    <a:lnTo>
                      <a:pt x="564" y="422"/>
                    </a:lnTo>
                    <a:lnTo>
                      <a:pt x="386" y="504"/>
                    </a:lnTo>
                    <a:lnTo>
                      <a:pt x="421" y="705"/>
                    </a:lnTo>
                  </a:path>
                </a:pathLst>
              </a:custGeom>
              <a:solidFill>
                <a:srgbClr val="575757"/>
              </a:solidFill>
              <a:ln w="12700">
                <a:solidFill>
                  <a:schemeClr val="bg1"/>
                </a:solidFill>
                <a:round/>
                <a:headEnd/>
                <a:tailEnd/>
              </a:ln>
            </p:spPr>
            <p:txBody>
              <a:bodyPr wrap="none" anchor="ctr"/>
              <a:lstStyle/>
              <a:p>
                <a:pPr defTabSz="685800">
                  <a:buClrTx/>
                </a:pPr>
                <a:endParaRPr lang="en-US" sz="1050" kern="1200">
                  <a:solidFill>
                    <a:prstClr val="white"/>
                  </a:solidFill>
                  <a:ea typeface="+mn-ea"/>
                  <a:cs typeface="+mn-cs"/>
                </a:endParaRPr>
              </a:p>
            </p:txBody>
          </p:sp>
          <p:sp>
            <p:nvSpPr>
              <p:cNvPr id="152" name="Freeform 151"/>
              <p:cNvSpPr>
                <a:spLocks/>
              </p:cNvSpPr>
              <p:nvPr/>
            </p:nvSpPr>
            <p:spPr bwMode="gray">
              <a:xfrm>
                <a:off x="4768" y="2888"/>
                <a:ext cx="474" cy="643"/>
              </a:xfrm>
              <a:custGeom>
                <a:avLst/>
                <a:gdLst>
                  <a:gd name="T0" fmla="*/ 152 w 479"/>
                  <a:gd name="T1" fmla="*/ 7 h 649"/>
                  <a:gd name="T2" fmla="*/ 157 w 479"/>
                  <a:gd name="T3" fmla="*/ 41 h 649"/>
                  <a:gd name="T4" fmla="*/ 160 w 479"/>
                  <a:gd name="T5" fmla="*/ 92 h 649"/>
                  <a:gd name="T6" fmla="*/ 156 w 479"/>
                  <a:gd name="T7" fmla="*/ 114 h 649"/>
                  <a:gd name="T8" fmla="*/ 153 w 479"/>
                  <a:gd name="T9" fmla="*/ 141 h 649"/>
                  <a:gd name="T10" fmla="*/ 145 w 479"/>
                  <a:gd name="T11" fmla="*/ 170 h 649"/>
                  <a:gd name="T12" fmla="*/ 134 w 479"/>
                  <a:gd name="T13" fmla="*/ 209 h 649"/>
                  <a:gd name="T14" fmla="*/ 121 w 479"/>
                  <a:gd name="T15" fmla="*/ 242 h 649"/>
                  <a:gd name="T16" fmla="*/ 106 w 479"/>
                  <a:gd name="T17" fmla="*/ 267 h 649"/>
                  <a:gd name="T18" fmla="*/ 84 w 479"/>
                  <a:gd name="T19" fmla="*/ 298 h 649"/>
                  <a:gd name="T20" fmla="*/ 56 w 479"/>
                  <a:gd name="T21" fmla="*/ 330 h 649"/>
                  <a:gd name="T22" fmla="*/ 35 w 479"/>
                  <a:gd name="T23" fmla="*/ 351 h 649"/>
                  <a:gd name="T24" fmla="*/ 21 w 479"/>
                  <a:gd name="T25" fmla="*/ 365 h 649"/>
                  <a:gd name="T26" fmla="*/ 0 w 479"/>
                  <a:gd name="T27" fmla="*/ 543 h 649"/>
                  <a:gd name="T28" fmla="*/ 175 w 479"/>
                  <a:gd name="T29" fmla="*/ 642 h 649"/>
                  <a:gd name="T30" fmla="*/ 217 w 479"/>
                  <a:gd name="T31" fmla="*/ 607 h 649"/>
                  <a:gd name="T32" fmla="*/ 248 w 479"/>
                  <a:gd name="T33" fmla="*/ 580 h 649"/>
                  <a:gd name="T34" fmla="*/ 287 w 479"/>
                  <a:gd name="T35" fmla="*/ 541 h 649"/>
                  <a:gd name="T36" fmla="*/ 320 w 479"/>
                  <a:gd name="T37" fmla="*/ 502 h 649"/>
                  <a:gd name="T38" fmla="*/ 348 w 479"/>
                  <a:gd name="T39" fmla="*/ 467 h 649"/>
                  <a:gd name="T40" fmla="*/ 378 w 479"/>
                  <a:gd name="T41" fmla="*/ 416 h 649"/>
                  <a:gd name="T42" fmla="*/ 404 w 479"/>
                  <a:gd name="T43" fmla="*/ 372 h 649"/>
                  <a:gd name="T44" fmla="*/ 427 w 479"/>
                  <a:gd name="T45" fmla="*/ 317 h 649"/>
                  <a:gd name="T46" fmla="*/ 444 w 479"/>
                  <a:gd name="T47" fmla="*/ 263 h 649"/>
                  <a:gd name="T48" fmla="*/ 456 w 479"/>
                  <a:gd name="T49" fmla="*/ 213 h 649"/>
                  <a:gd name="T50" fmla="*/ 470 w 479"/>
                  <a:gd name="T51" fmla="*/ 157 h 649"/>
                  <a:gd name="T52" fmla="*/ 473 w 479"/>
                  <a:gd name="T53" fmla="*/ 97 h 649"/>
                  <a:gd name="T54" fmla="*/ 472 w 479"/>
                  <a:gd name="T55" fmla="*/ 38 h 649"/>
                  <a:gd name="T56" fmla="*/ 471 w 479"/>
                  <a:gd name="T57" fmla="*/ 0 h 649"/>
                  <a:gd name="T58" fmla="*/ 152 w 479"/>
                  <a:gd name="T59" fmla="*/ 7 h 64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79"/>
                  <a:gd name="T91" fmla="*/ 0 h 649"/>
                  <a:gd name="T92" fmla="*/ 479 w 479"/>
                  <a:gd name="T93" fmla="*/ 649 h 64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79" h="649">
                    <a:moveTo>
                      <a:pt x="154" y="7"/>
                    </a:moveTo>
                    <a:lnTo>
                      <a:pt x="159" y="41"/>
                    </a:lnTo>
                    <a:lnTo>
                      <a:pt x="162" y="93"/>
                    </a:lnTo>
                    <a:lnTo>
                      <a:pt x="158" y="115"/>
                    </a:lnTo>
                    <a:lnTo>
                      <a:pt x="155" y="142"/>
                    </a:lnTo>
                    <a:lnTo>
                      <a:pt x="147" y="172"/>
                    </a:lnTo>
                    <a:lnTo>
                      <a:pt x="135" y="211"/>
                    </a:lnTo>
                    <a:lnTo>
                      <a:pt x="122" y="244"/>
                    </a:lnTo>
                    <a:lnTo>
                      <a:pt x="107" y="269"/>
                    </a:lnTo>
                    <a:lnTo>
                      <a:pt x="85" y="301"/>
                    </a:lnTo>
                    <a:lnTo>
                      <a:pt x="57" y="333"/>
                    </a:lnTo>
                    <a:lnTo>
                      <a:pt x="35" y="354"/>
                    </a:lnTo>
                    <a:lnTo>
                      <a:pt x="21" y="368"/>
                    </a:lnTo>
                    <a:lnTo>
                      <a:pt x="0" y="548"/>
                    </a:lnTo>
                    <a:lnTo>
                      <a:pt x="177" y="648"/>
                    </a:lnTo>
                    <a:lnTo>
                      <a:pt x="219" y="613"/>
                    </a:lnTo>
                    <a:lnTo>
                      <a:pt x="251" y="585"/>
                    </a:lnTo>
                    <a:lnTo>
                      <a:pt x="290" y="546"/>
                    </a:lnTo>
                    <a:lnTo>
                      <a:pt x="323" y="507"/>
                    </a:lnTo>
                    <a:lnTo>
                      <a:pt x="352" y="471"/>
                    </a:lnTo>
                    <a:lnTo>
                      <a:pt x="382" y="420"/>
                    </a:lnTo>
                    <a:lnTo>
                      <a:pt x="408" y="375"/>
                    </a:lnTo>
                    <a:lnTo>
                      <a:pt x="432" y="320"/>
                    </a:lnTo>
                    <a:lnTo>
                      <a:pt x="449" y="265"/>
                    </a:lnTo>
                    <a:lnTo>
                      <a:pt x="461" y="215"/>
                    </a:lnTo>
                    <a:lnTo>
                      <a:pt x="475" y="158"/>
                    </a:lnTo>
                    <a:lnTo>
                      <a:pt x="478" y="98"/>
                    </a:lnTo>
                    <a:lnTo>
                      <a:pt x="477" y="38"/>
                    </a:lnTo>
                    <a:lnTo>
                      <a:pt x="476" y="0"/>
                    </a:lnTo>
                    <a:lnTo>
                      <a:pt x="154" y="7"/>
                    </a:lnTo>
                  </a:path>
                </a:pathLst>
              </a:custGeom>
              <a:solidFill>
                <a:srgbClr val="B4B4B4"/>
              </a:solidFill>
              <a:ln w="12700">
                <a:solidFill>
                  <a:schemeClr val="bg1"/>
                </a:solidFill>
                <a:round/>
                <a:headEnd/>
                <a:tailEnd/>
              </a:ln>
            </p:spPr>
            <p:txBody>
              <a:bodyPr wrap="none" anchor="ctr"/>
              <a:lstStyle/>
              <a:p>
                <a:pPr defTabSz="685800">
                  <a:buClrTx/>
                  <a:defRPr/>
                </a:pPr>
                <a:endParaRPr lang="en-US" sz="1050" kern="1200">
                  <a:solidFill>
                    <a:prstClr val="white"/>
                  </a:solidFill>
                  <a:ea typeface="+mn-ea"/>
                  <a:cs typeface="+mn-cs"/>
                </a:endParaRPr>
              </a:p>
            </p:txBody>
          </p:sp>
          <p:sp>
            <p:nvSpPr>
              <p:cNvPr id="153" name="Freeform 152"/>
              <p:cNvSpPr>
                <a:spLocks/>
              </p:cNvSpPr>
              <p:nvPr/>
            </p:nvSpPr>
            <p:spPr bwMode="gray">
              <a:xfrm>
                <a:off x="4709" y="2319"/>
                <a:ext cx="531" cy="699"/>
              </a:xfrm>
              <a:custGeom>
                <a:avLst/>
                <a:gdLst>
                  <a:gd name="T0" fmla="*/ 140 w 537"/>
                  <a:gd name="T1" fmla="*/ 0 h 705"/>
                  <a:gd name="T2" fmla="*/ 181 w 537"/>
                  <a:gd name="T3" fmla="*/ 22 h 705"/>
                  <a:gd name="T4" fmla="*/ 242 w 537"/>
                  <a:gd name="T5" fmla="*/ 59 h 705"/>
                  <a:gd name="T6" fmla="*/ 284 w 537"/>
                  <a:gd name="T7" fmla="*/ 94 h 705"/>
                  <a:gd name="T8" fmla="*/ 333 w 537"/>
                  <a:gd name="T9" fmla="*/ 149 h 705"/>
                  <a:gd name="T10" fmla="*/ 375 w 537"/>
                  <a:gd name="T11" fmla="*/ 191 h 705"/>
                  <a:gd name="T12" fmla="*/ 411 w 537"/>
                  <a:gd name="T13" fmla="*/ 249 h 705"/>
                  <a:gd name="T14" fmla="*/ 448 w 537"/>
                  <a:gd name="T15" fmla="*/ 315 h 705"/>
                  <a:gd name="T16" fmla="*/ 471 w 537"/>
                  <a:gd name="T17" fmla="*/ 373 h 705"/>
                  <a:gd name="T18" fmla="*/ 486 w 537"/>
                  <a:gd name="T19" fmla="*/ 425 h 705"/>
                  <a:gd name="T20" fmla="*/ 500 w 537"/>
                  <a:gd name="T21" fmla="*/ 468 h 705"/>
                  <a:gd name="T22" fmla="*/ 504 w 537"/>
                  <a:gd name="T23" fmla="*/ 508 h 705"/>
                  <a:gd name="T24" fmla="*/ 512 w 537"/>
                  <a:gd name="T25" fmla="*/ 557 h 705"/>
                  <a:gd name="T26" fmla="*/ 379 w 537"/>
                  <a:gd name="T27" fmla="*/ 680 h 705"/>
                  <a:gd name="T28" fmla="*/ 208 w 537"/>
                  <a:gd name="T29" fmla="*/ 584 h 705"/>
                  <a:gd name="T30" fmla="*/ 205 w 537"/>
                  <a:gd name="T31" fmla="*/ 556 h 705"/>
                  <a:gd name="T32" fmla="*/ 202 w 537"/>
                  <a:gd name="T33" fmla="*/ 526 h 705"/>
                  <a:gd name="T34" fmla="*/ 191 w 537"/>
                  <a:gd name="T35" fmla="*/ 498 h 705"/>
                  <a:gd name="T36" fmla="*/ 175 w 537"/>
                  <a:gd name="T37" fmla="*/ 462 h 705"/>
                  <a:gd name="T38" fmla="*/ 155 w 537"/>
                  <a:gd name="T39" fmla="*/ 419 h 705"/>
                  <a:gd name="T40" fmla="*/ 132 w 537"/>
                  <a:gd name="T41" fmla="*/ 387 h 705"/>
                  <a:gd name="T42" fmla="*/ 104 w 537"/>
                  <a:gd name="T43" fmla="*/ 350 h 705"/>
                  <a:gd name="T44" fmla="*/ 77 w 537"/>
                  <a:gd name="T45" fmla="*/ 326 h 705"/>
                  <a:gd name="T46" fmla="*/ 55 w 537"/>
                  <a:gd name="T47" fmla="*/ 307 h 705"/>
                  <a:gd name="T48" fmla="*/ 29 w 537"/>
                  <a:gd name="T49" fmla="*/ 289 h 705"/>
                  <a:gd name="T50" fmla="*/ 0 w 537"/>
                  <a:gd name="T51" fmla="*/ 276 h 705"/>
                  <a:gd name="T52" fmla="*/ 0 w 537"/>
                  <a:gd name="T53" fmla="*/ 276 h 705"/>
                  <a:gd name="T54" fmla="*/ 138 w 537"/>
                  <a:gd name="T55" fmla="*/ 185 h 705"/>
                  <a:gd name="T56" fmla="*/ 140 w 537"/>
                  <a:gd name="T57" fmla="*/ 0 h 70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37"/>
                  <a:gd name="T88" fmla="*/ 0 h 705"/>
                  <a:gd name="T89" fmla="*/ 537 w 537"/>
                  <a:gd name="T90" fmla="*/ 705 h 70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37" h="705">
                    <a:moveTo>
                      <a:pt x="148" y="0"/>
                    </a:moveTo>
                    <a:lnTo>
                      <a:pt x="189" y="22"/>
                    </a:lnTo>
                    <a:lnTo>
                      <a:pt x="254" y="63"/>
                    </a:lnTo>
                    <a:lnTo>
                      <a:pt x="296" y="98"/>
                    </a:lnTo>
                    <a:lnTo>
                      <a:pt x="349" y="153"/>
                    </a:lnTo>
                    <a:lnTo>
                      <a:pt x="391" y="199"/>
                    </a:lnTo>
                    <a:lnTo>
                      <a:pt x="431" y="257"/>
                    </a:lnTo>
                    <a:lnTo>
                      <a:pt x="468" y="327"/>
                    </a:lnTo>
                    <a:lnTo>
                      <a:pt x="491" y="385"/>
                    </a:lnTo>
                    <a:lnTo>
                      <a:pt x="509" y="441"/>
                    </a:lnTo>
                    <a:lnTo>
                      <a:pt x="524" y="484"/>
                    </a:lnTo>
                    <a:lnTo>
                      <a:pt x="528" y="524"/>
                    </a:lnTo>
                    <a:lnTo>
                      <a:pt x="536" y="577"/>
                    </a:lnTo>
                    <a:lnTo>
                      <a:pt x="395" y="704"/>
                    </a:lnTo>
                    <a:lnTo>
                      <a:pt x="216" y="604"/>
                    </a:lnTo>
                    <a:lnTo>
                      <a:pt x="213" y="576"/>
                    </a:lnTo>
                    <a:lnTo>
                      <a:pt x="210" y="546"/>
                    </a:lnTo>
                    <a:lnTo>
                      <a:pt x="199" y="514"/>
                    </a:lnTo>
                    <a:lnTo>
                      <a:pt x="183" y="478"/>
                    </a:lnTo>
                    <a:lnTo>
                      <a:pt x="163" y="435"/>
                    </a:lnTo>
                    <a:lnTo>
                      <a:pt x="139" y="399"/>
                    </a:lnTo>
                    <a:lnTo>
                      <a:pt x="108" y="362"/>
                    </a:lnTo>
                    <a:lnTo>
                      <a:pt x="81" y="338"/>
                    </a:lnTo>
                    <a:lnTo>
                      <a:pt x="59" y="319"/>
                    </a:lnTo>
                    <a:lnTo>
                      <a:pt x="29" y="300"/>
                    </a:lnTo>
                    <a:lnTo>
                      <a:pt x="0" y="284"/>
                    </a:lnTo>
                    <a:lnTo>
                      <a:pt x="146" y="193"/>
                    </a:lnTo>
                    <a:lnTo>
                      <a:pt x="148" y="0"/>
                    </a:lnTo>
                  </a:path>
                </a:pathLst>
              </a:custGeom>
              <a:solidFill>
                <a:srgbClr val="DCDCDC"/>
              </a:solidFill>
              <a:ln w="12700">
                <a:solidFill>
                  <a:schemeClr val="bg1"/>
                </a:solidFill>
                <a:round/>
                <a:headEnd/>
                <a:tailEnd/>
              </a:ln>
            </p:spPr>
            <p:txBody>
              <a:bodyPr wrap="none" anchor="ctr"/>
              <a:lstStyle/>
              <a:p>
                <a:pPr defTabSz="685800">
                  <a:buClrTx/>
                </a:pPr>
                <a:endParaRPr lang="en-US" sz="1050" kern="1200">
                  <a:solidFill>
                    <a:prstClr val="white"/>
                  </a:solidFill>
                  <a:ea typeface="+mn-ea"/>
                  <a:cs typeface="+mn-cs"/>
                </a:endParaRPr>
              </a:p>
            </p:txBody>
          </p:sp>
        </p:grpSp>
        <p:sp>
          <p:nvSpPr>
            <p:cNvPr id="154" name="Rectangle 46"/>
            <p:cNvSpPr>
              <a:spLocks noChangeArrowheads="1"/>
            </p:cNvSpPr>
            <p:nvPr/>
          </p:nvSpPr>
          <p:spPr bwMode="blackWhite">
            <a:xfrm>
              <a:off x="7229907" y="2499980"/>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a:solidFill>
                    <a:prstClr val="white"/>
                  </a:solidFill>
                  <a:ea typeface="+mn-ea"/>
                  <a:cs typeface="+mn-cs"/>
                </a:rPr>
                <a:t>Text</a:t>
              </a:r>
            </a:p>
          </p:txBody>
        </p:sp>
        <p:sp>
          <p:nvSpPr>
            <p:cNvPr id="155" name="Rectangle 47"/>
            <p:cNvSpPr>
              <a:spLocks noChangeArrowheads="1"/>
            </p:cNvSpPr>
            <p:nvPr/>
          </p:nvSpPr>
          <p:spPr bwMode="blackWhite">
            <a:xfrm>
              <a:off x="8145101" y="3109580"/>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dirty="0">
                  <a:solidFill>
                    <a:srgbClr val="313131"/>
                  </a:solidFill>
                  <a:ea typeface="+mn-ea"/>
                  <a:cs typeface="+mn-cs"/>
                </a:rPr>
                <a:t>Text</a:t>
              </a:r>
            </a:p>
          </p:txBody>
        </p:sp>
        <p:sp>
          <p:nvSpPr>
            <p:cNvPr id="156" name="Rectangle 48"/>
            <p:cNvSpPr>
              <a:spLocks noChangeArrowheads="1"/>
            </p:cNvSpPr>
            <p:nvPr/>
          </p:nvSpPr>
          <p:spPr bwMode="blackWhite">
            <a:xfrm>
              <a:off x="8068901" y="4100181"/>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dirty="0">
                  <a:solidFill>
                    <a:srgbClr val="313131"/>
                  </a:solidFill>
                  <a:ea typeface="+mn-ea"/>
                  <a:cs typeface="+mn-cs"/>
                </a:rPr>
                <a:t>Text</a:t>
              </a:r>
            </a:p>
          </p:txBody>
        </p:sp>
        <p:sp>
          <p:nvSpPr>
            <p:cNvPr id="157" name="Rectangle 49"/>
            <p:cNvSpPr>
              <a:spLocks noChangeArrowheads="1"/>
            </p:cNvSpPr>
            <p:nvPr/>
          </p:nvSpPr>
          <p:spPr bwMode="blackWhite">
            <a:xfrm>
              <a:off x="7078301" y="4557381"/>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a:solidFill>
                    <a:prstClr val="white"/>
                  </a:solidFill>
                  <a:ea typeface="+mn-ea"/>
                  <a:cs typeface="+mn-cs"/>
                </a:rPr>
                <a:t>Text</a:t>
              </a:r>
            </a:p>
          </p:txBody>
        </p:sp>
        <p:sp>
          <p:nvSpPr>
            <p:cNvPr id="158" name="Rectangle 50"/>
            <p:cNvSpPr>
              <a:spLocks noChangeArrowheads="1"/>
            </p:cNvSpPr>
            <p:nvPr/>
          </p:nvSpPr>
          <p:spPr bwMode="blackWhite">
            <a:xfrm>
              <a:off x="6316301" y="4100181"/>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dirty="0">
                  <a:solidFill>
                    <a:prstClr val="white"/>
                  </a:solidFill>
                  <a:ea typeface="+mn-ea"/>
                  <a:cs typeface="+mn-cs"/>
                </a:rPr>
                <a:t>Text</a:t>
              </a:r>
            </a:p>
          </p:txBody>
        </p:sp>
        <p:sp>
          <p:nvSpPr>
            <p:cNvPr id="159" name="Rectangle 51"/>
            <p:cNvSpPr>
              <a:spLocks noChangeArrowheads="1"/>
            </p:cNvSpPr>
            <p:nvPr/>
          </p:nvSpPr>
          <p:spPr bwMode="blackWhite">
            <a:xfrm>
              <a:off x="6316301" y="3033380"/>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dirty="0">
                  <a:solidFill>
                    <a:prstClr val="white"/>
                  </a:solidFill>
                  <a:ea typeface="+mn-ea"/>
                  <a:cs typeface="+mn-cs"/>
                </a:rPr>
                <a:t>Text</a:t>
              </a:r>
            </a:p>
          </p:txBody>
        </p:sp>
      </p:grpSp>
      <p:grpSp>
        <p:nvGrpSpPr>
          <p:cNvPr id="97" name="Group 96"/>
          <p:cNvGrpSpPr/>
          <p:nvPr/>
        </p:nvGrpSpPr>
        <p:grpSpPr>
          <a:xfrm>
            <a:off x="3438219" y="1268730"/>
            <a:ext cx="2294808" cy="2241706"/>
            <a:chOff x="3060292" y="2093280"/>
            <a:chExt cx="3059744" cy="2988941"/>
          </a:xfrm>
        </p:grpSpPr>
        <p:grpSp>
          <p:nvGrpSpPr>
            <p:cNvPr id="96" name="Group 95"/>
            <p:cNvGrpSpPr/>
            <p:nvPr/>
          </p:nvGrpSpPr>
          <p:grpSpPr>
            <a:xfrm>
              <a:off x="3060292" y="2093280"/>
              <a:ext cx="3059744" cy="2988941"/>
              <a:chOff x="3060292" y="2093280"/>
              <a:chExt cx="3059744" cy="2988941"/>
            </a:xfrm>
          </p:grpSpPr>
          <p:sp>
            <p:nvSpPr>
              <p:cNvPr id="55" name="Arc 4"/>
              <p:cNvSpPr>
                <a:spLocks/>
              </p:cNvSpPr>
              <p:nvPr/>
            </p:nvSpPr>
            <p:spPr bwMode="gray">
              <a:xfrm rot="20073849">
                <a:off x="3060292" y="2725996"/>
                <a:ext cx="1334396" cy="1292154"/>
              </a:xfrm>
              <a:custGeom>
                <a:avLst/>
                <a:gdLst>
                  <a:gd name="T0" fmla="*/ 0 w 21600"/>
                  <a:gd name="T1" fmla="*/ 0 h 20907"/>
                  <a:gd name="T2" fmla="*/ 0 w 21600"/>
                  <a:gd name="T3" fmla="*/ 0 h 20907"/>
                  <a:gd name="T4" fmla="*/ 0 w 21600"/>
                  <a:gd name="T5" fmla="*/ 0 h 20907"/>
                  <a:gd name="T6" fmla="*/ 0 60000 65536"/>
                  <a:gd name="T7" fmla="*/ 0 60000 65536"/>
                  <a:gd name="T8" fmla="*/ 0 60000 65536"/>
                  <a:gd name="T9" fmla="*/ 0 w 21600"/>
                  <a:gd name="T10" fmla="*/ 0 h 20907"/>
                  <a:gd name="T11" fmla="*/ 21600 w 21600"/>
                  <a:gd name="T12" fmla="*/ 20907 h 20907"/>
                </a:gdLst>
                <a:ahLst/>
                <a:cxnLst>
                  <a:cxn ang="T6">
                    <a:pos x="T0" y="T1"/>
                  </a:cxn>
                  <a:cxn ang="T7">
                    <a:pos x="T2" y="T3"/>
                  </a:cxn>
                  <a:cxn ang="T8">
                    <a:pos x="T4" y="T5"/>
                  </a:cxn>
                </a:cxnLst>
                <a:rect l="T9" t="T10" r="T11" b="T12"/>
                <a:pathLst>
                  <a:path w="21600" h="20907" fill="none" extrusionOk="0">
                    <a:moveTo>
                      <a:pt x="1" y="20906"/>
                    </a:moveTo>
                    <a:cubicBezTo>
                      <a:pt x="0" y="20834"/>
                      <a:pt x="0" y="20761"/>
                      <a:pt x="0" y="20689"/>
                    </a:cubicBezTo>
                    <a:cubicBezTo>
                      <a:pt x="-1" y="11150"/>
                      <a:pt x="6256" y="2741"/>
                      <a:pt x="15392" y="0"/>
                    </a:cubicBezTo>
                  </a:path>
                  <a:path w="21600" h="20907" stroke="0" extrusionOk="0">
                    <a:moveTo>
                      <a:pt x="1" y="20906"/>
                    </a:moveTo>
                    <a:cubicBezTo>
                      <a:pt x="0" y="20834"/>
                      <a:pt x="0" y="20761"/>
                      <a:pt x="0" y="20689"/>
                    </a:cubicBezTo>
                    <a:cubicBezTo>
                      <a:pt x="-1" y="11150"/>
                      <a:pt x="6256" y="2741"/>
                      <a:pt x="15392" y="0"/>
                    </a:cubicBezTo>
                    <a:lnTo>
                      <a:pt x="21600" y="20689"/>
                    </a:lnTo>
                    <a:close/>
                  </a:path>
                </a:pathLst>
              </a:custGeom>
              <a:solidFill>
                <a:srgbClr val="575757"/>
              </a:solidFill>
              <a:ln w="12700" cap="rnd">
                <a:solidFill>
                  <a:schemeClr val="bg1"/>
                </a:solidFill>
                <a:round/>
                <a:headEnd/>
                <a:tailEnd/>
              </a:ln>
            </p:spPr>
            <p:txBody>
              <a:bodyPr wrap="none" anchor="ctr"/>
              <a:lstStyle/>
              <a:p>
                <a:pPr algn="ctr" defTabSz="685800">
                  <a:spcBef>
                    <a:spcPct val="0"/>
                  </a:spcBef>
                  <a:buClrTx/>
                </a:pPr>
                <a:endParaRPr lang="en-US" sz="1050" kern="1200">
                  <a:solidFill>
                    <a:prstClr val="white"/>
                  </a:solidFill>
                  <a:ea typeface="+mn-ea"/>
                  <a:cs typeface="+mn-cs"/>
                </a:endParaRPr>
              </a:p>
            </p:txBody>
          </p:sp>
          <p:sp>
            <p:nvSpPr>
              <p:cNvPr id="56" name="Arc 5"/>
              <p:cNvSpPr>
                <a:spLocks/>
              </p:cNvSpPr>
              <p:nvPr/>
            </p:nvSpPr>
            <p:spPr bwMode="gray">
              <a:xfrm rot="11602912">
                <a:off x="4442482" y="3752848"/>
                <a:ext cx="1332485" cy="1273068"/>
              </a:xfrm>
              <a:custGeom>
                <a:avLst/>
                <a:gdLst>
                  <a:gd name="T0" fmla="*/ 0 w 21600"/>
                  <a:gd name="T1" fmla="*/ 0 h 20650"/>
                  <a:gd name="T2" fmla="*/ 0 w 21600"/>
                  <a:gd name="T3" fmla="*/ 0 h 20650"/>
                  <a:gd name="T4" fmla="*/ 0 w 21600"/>
                  <a:gd name="T5" fmla="*/ 0 h 20650"/>
                  <a:gd name="T6" fmla="*/ 0 60000 65536"/>
                  <a:gd name="T7" fmla="*/ 0 60000 65536"/>
                  <a:gd name="T8" fmla="*/ 0 60000 65536"/>
                  <a:gd name="T9" fmla="*/ 0 w 21600"/>
                  <a:gd name="T10" fmla="*/ 0 h 20650"/>
                  <a:gd name="T11" fmla="*/ 21600 w 21600"/>
                  <a:gd name="T12" fmla="*/ 20650 h 20650"/>
                </a:gdLst>
                <a:ahLst/>
                <a:cxnLst>
                  <a:cxn ang="T6">
                    <a:pos x="T0" y="T1"/>
                  </a:cxn>
                  <a:cxn ang="T7">
                    <a:pos x="T2" y="T3"/>
                  </a:cxn>
                  <a:cxn ang="T8">
                    <a:pos x="T4" y="T5"/>
                  </a:cxn>
                </a:cxnLst>
                <a:rect l="T9" t="T10" r="T11" b="T12"/>
                <a:pathLst>
                  <a:path w="21600" h="20650" fill="none" extrusionOk="0">
                    <a:moveTo>
                      <a:pt x="10" y="20649"/>
                    </a:moveTo>
                    <a:cubicBezTo>
                      <a:pt x="3" y="20427"/>
                      <a:pt x="0" y="20204"/>
                      <a:pt x="0" y="19981"/>
                    </a:cubicBezTo>
                    <a:cubicBezTo>
                      <a:pt x="-1" y="11220"/>
                      <a:pt x="5291" y="3327"/>
                      <a:pt x="13395" y="0"/>
                    </a:cubicBezTo>
                  </a:path>
                  <a:path w="21600" h="20650" stroke="0" extrusionOk="0">
                    <a:moveTo>
                      <a:pt x="10" y="20649"/>
                    </a:moveTo>
                    <a:cubicBezTo>
                      <a:pt x="3" y="20427"/>
                      <a:pt x="0" y="20204"/>
                      <a:pt x="0" y="19981"/>
                    </a:cubicBezTo>
                    <a:cubicBezTo>
                      <a:pt x="-1" y="11220"/>
                      <a:pt x="5291" y="3327"/>
                      <a:pt x="13395" y="0"/>
                    </a:cubicBezTo>
                    <a:lnTo>
                      <a:pt x="21600" y="19981"/>
                    </a:lnTo>
                    <a:close/>
                  </a:path>
                </a:pathLst>
              </a:custGeom>
              <a:solidFill>
                <a:srgbClr val="00FFFF"/>
              </a:solidFill>
              <a:ln w="12700" cap="rnd">
                <a:solidFill>
                  <a:schemeClr val="bg1"/>
                </a:solidFill>
                <a:round/>
                <a:headEnd/>
                <a:tailEnd/>
              </a:ln>
            </p:spPr>
            <p:txBody>
              <a:bodyPr rot="10800000" wrap="none" anchor="ctr"/>
              <a:lstStyle/>
              <a:p>
                <a:pPr algn="ctr" defTabSz="685800">
                  <a:spcBef>
                    <a:spcPct val="0"/>
                  </a:spcBef>
                  <a:buClrTx/>
                </a:pPr>
                <a:endParaRPr lang="en-US" sz="1050" kern="1200">
                  <a:solidFill>
                    <a:prstClr val="white"/>
                  </a:solidFill>
                  <a:ea typeface="+mn-ea"/>
                  <a:cs typeface="+mn-cs"/>
                </a:endParaRPr>
              </a:p>
            </p:txBody>
          </p:sp>
          <p:sp>
            <p:nvSpPr>
              <p:cNvPr id="57" name="Arc 6"/>
              <p:cNvSpPr>
                <a:spLocks/>
              </p:cNvSpPr>
              <p:nvPr/>
            </p:nvSpPr>
            <p:spPr bwMode="gray">
              <a:xfrm rot="2903339">
                <a:off x="3940774" y="2096979"/>
                <a:ext cx="1332236" cy="1324838"/>
              </a:xfrm>
              <a:custGeom>
                <a:avLst/>
                <a:gdLst>
                  <a:gd name="T0" fmla="*/ 0 w 21600"/>
                  <a:gd name="T1" fmla="*/ 0 h 21463"/>
                  <a:gd name="T2" fmla="*/ 0 w 21600"/>
                  <a:gd name="T3" fmla="*/ 0 h 21463"/>
                  <a:gd name="T4" fmla="*/ 0 w 21600"/>
                  <a:gd name="T5" fmla="*/ 0 h 21463"/>
                  <a:gd name="T6" fmla="*/ 0 60000 65536"/>
                  <a:gd name="T7" fmla="*/ 0 60000 65536"/>
                  <a:gd name="T8" fmla="*/ 0 60000 65536"/>
                  <a:gd name="T9" fmla="*/ 0 w 21600"/>
                  <a:gd name="T10" fmla="*/ 0 h 21463"/>
                  <a:gd name="T11" fmla="*/ 21600 w 21600"/>
                  <a:gd name="T12" fmla="*/ 21463 h 21463"/>
                </a:gdLst>
                <a:ahLst/>
                <a:cxnLst>
                  <a:cxn ang="T6">
                    <a:pos x="T0" y="T1"/>
                  </a:cxn>
                  <a:cxn ang="T7">
                    <a:pos x="T2" y="T3"/>
                  </a:cxn>
                  <a:cxn ang="T8">
                    <a:pos x="T4" y="T5"/>
                  </a:cxn>
                </a:cxnLst>
                <a:rect l="T9" t="T10" r="T11" b="T12"/>
                <a:pathLst>
                  <a:path w="21600" h="21463" fill="none" extrusionOk="0">
                    <a:moveTo>
                      <a:pt x="24" y="21462"/>
                    </a:moveTo>
                    <a:cubicBezTo>
                      <a:pt x="8" y="21121"/>
                      <a:pt x="0" y="20780"/>
                      <a:pt x="0" y="20439"/>
                    </a:cubicBezTo>
                    <a:cubicBezTo>
                      <a:pt x="-1" y="11202"/>
                      <a:pt x="5873" y="2987"/>
                      <a:pt x="14613" y="-1"/>
                    </a:cubicBezTo>
                  </a:path>
                  <a:path w="21600" h="21463" stroke="0" extrusionOk="0">
                    <a:moveTo>
                      <a:pt x="24" y="21462"/>
                    </a:moveTo>
                    <a:cubicBezTo>
                      <a:pt x="8" y="21121"/>
                      <a:pt x="0" y="20780"/>
                      <a:pt x="0" y="20439"/>
                    </a:cubicBezTo>
                    <a:cubicBezTo>
                      <a:pt x="-1" y="11202"/>
                      <a:pt x="5873" y="2987"/>
                      <a:pt x="14613" y="-1"/>
                    </a:cubicBezTo>
                    <a:lnTo>
                      <a:pt x="21600" y="20439"/>
                    </a:lnTo>
                    <a:close/>
                  </a:path>
                </a:pathLst>
              </a:custGeom>
              <a:solidFill>
                <a:srgbClr val="00A1DE"/>
              </a:solidFill>
              <a:ln w="12700" cap="rnd">
                <a:solidFill>
                  <a:schemeClr val="bg1"/>
                </a:solidFill>
                <a:round/>
                <a:headEnd/>
                <a:tailEnd/>
              </a:ln>
            </p:spPr>
            <p:txBody>
              <a:bodyPr rot="10800000" vert="eaVert" wrap="none" anchor="ctr"/>
              <a:lstStyle/>
              <a:p>
                <a:pPr algn="ctr" defTabSz="685800">
                  <a:spcBef>
                    <a:spcPct val="0"/>
                  </a:spcBef>
                  <a:buClrTx/>
                </a:pPr>
                <a:endParaRPr lang="en-US" sz="1050" kern="1200">
                  <a:solidFill>
                    <a:prstClr val="white"/>
                  </a:solidFill>
                  <a:ea typeface="+mn-ea"/>
                  <a:cs typeface="+mn-cs"/>
                </a:endParaRPr>
              </a:p>
            </p:txBody>
          </p:sp>
          <p:sp>
            <p:nvSpPr>
              <p:cNvPr id="58" name="Arc 7"/>
              <p:cNvSpPr>
                <a:spLocks/>
              </p:cNvSpPr>
              <p:nvPr/>
            </p:nvSpPr>
            <p:spPr bwMode="gray">
              <a:xfrm rot="7064006">
                <a:off x="4812530" y="2724959"/>
                <a:ext cx="1334144" cy="1280868"/>
              </a:xfrm>
              <a:custGeom>
                <a:avLst/>
                <a:gdLst>
                  <a:gd name="T0" fmla="*/ 0 w 21597"/>
                  <a:gd name="T1" fmla="*/ 0 h 20779"/>
                  <a:gd name="T2" fmla="*/ 0 w 21597"/>
                  <a:gd name="T3" fmla="*/ 0 h 20779"/>
                  <a:gd name="T4" fmla="*/ 0 w 21597"/>
                  <a:gd name="T5" fmla="*/ 0 h 20779"/>
                  <a:gd name="T6" fmla="*/ 0 60000 65536"/>
                  <a:gd name="T7" fmla="*/ 0 60000 65536"/>
                  <a:gd name="T8" fmla="*/ 0 60000 65536"/>
                  <a:gd name="T9" fmla="*/ 0 w 21597"/>
                  <a:gd name="T10" fmla="*/ 0 h 20779"/>
                  <a:gd name="T11" fmla="*/ 21597 w 21597"/>
                  <a:gd name="T12" fmla="*/ 20779 h 20779"/>
                </a:gdLst>
                <a:ahLst/>
                <a:cxnLst>
                  <a:cxn ang="T6">
                    <a:pos x="T0" y="T1"/>
                  </a:cxn>
                  <a:cxn ang="T7">
                    <a:pos x="T2" y="T3"/>
                  </a:cxn>
                  <a:cxn ang="T8">
                    <a:pos x="T4" y="T5"/>
                  </a:cxn>
                </a:cxnLst>
                <a:rect l="T9" t="T10" r="T11" b="T12"/>
                <a:pathLst>
                  <a:path w="21597" h="20779" fill="none" extrusionOk="0">
                    <a:moveTo>
                      <a:pt x="0" y="20418"/>
                    </a:moveTo>
                    <a:cubicBezTo>
                      <a:pt x="159" y="10895"/>
                      <a:pt x="6536" y="2600"/>
                      <a:pt x="15698" y="-1"/>
                    </a:cubicBezTo>
                  </a:path>
                  <a:path w="21597" h="20779" stroke="0" extrusionOk="0">
                    <a:moveTo>
                      <a:pt x="0" y="20418"/>
                    </a:moveTo>
                    <a:cubicBezTo>
                      <a:pt x="159" y="10895"/>
                      <a:pt x="6536" y="2600"/>
                      <a:pt x="15698" y="-1"/>
                    </a:cubicBezTo>
                    <a:lnTo>
                      <a:pt x="21597" y="20779"/>
                    </a:lnTo>
                    <a:close/>
                  </a:path>
                </a:pathLst>
              </a:custGeom>
              <a:solidFill>
                <a:srgbClr val="DCDCDC"/>
              </a:solidFill>
              <a:ln w="12700" cap="rnd">
                <a:solidFill>
                  <a:schemeClr val="bg1"/>
                </a:solidFill>
                <a:round/>
                <a:headEnd/>
                <a:tailEnd/>
              </a:ln>
            </p:spPr>
            <p:txBody>
              <a:bodyPr rot="10800000" vert="eaVert" wrap="none" anchor="ctr"/>
              <a:lstStyle/>
              <a:p>
                <a:pPr algn="ctr" defTabSz="685800">
                  <a:spcBef>
                    <a:spcPct val="0"/>
                  </a:spcBef>
                  <a:buClrTx/>
                </a:pPr>
                <a:endParaRPr lang="en-US" sz="1050" kern="1200">
                  <a:solidFill>
                    <a:prstClr val="white"/>
                  </a:solidFill>
                  <a:ea typeface="+mn-ea"/>
                  <a:cs typeface="+mn-cs"/>
                </a:endParaRPr>
              </a:p>
            </p:txBody>
          </p:sp>
          <p:sp>
            <p:nvSpPr>
              <p:cNvPr id="59" name="Arc 8"/>
              <p:cNvSpPr>
                <a:spLocks/>
              </p:cNvSpPr>
              <p:nvPr/>
            </p:nvSpPr>
            <p:spPr bwMode="gray">
              <a:xfrm rot="15620513">
                <a:off x="3413134" y="3776627"/>
                <a:ext cx="1334144" cy="1277044"/>
              </a:xfrm>
              <a:custGeom>
                <a:avLst/>
                <a:gdLst>
                  <a:gd name="T0" fmla="*/ 0 w 21598"/>
                  <a:gd name="T1" fmla="*/ 21 h 20681"/>
                  <a:gd name="T2" fmla="*/ 16 w 21598"/>
                  <a:gd name="T3" fmla="*/ 0 h 20681"/>
                  <a:gd name="T4" fmla="*/ 23 w 21598"/>
                  <a:gd name="T5" fmla="*/ 22 h 20681"/>
                  <a:gd name="T6" fmla="*/ 0 60000 65536"/>
                  <a:gd name="T7" fmla="*/ 0 60000 65536"/>
                  <a:gd name="T8" fmla="*/ 0 60000 65536"/>
                  <a:gd name="T9" fmla="*/ 0 w 21598"/>
                  <a:gd name="T10" fmla="*/ 0 h 20681"/>
                  <a:gd name="T11" fmla="*/ 21598 w 21598"/>
                  <a:gd name="T12" fmla="*/ 20681 h 20681"/>
                </a:gdLst>
                <a:ahLst/>
                <a:cxnLst>
                  <a:cxn ang="T6">
                    <a:pos x="T0" y="T1"/>
                  </a:cxn>
                  <a:cxn ang="T7">
                    <a:pos x="T2" y="T3"/>
                  </a:cxn>
                  <a:cxn ang="T8">
                    <a:pos x="T4" y="T5"/>
                  </a:cxn>
                </a:cxnLst>
                <a:rect l="T9" t="T10" r="T11" b="T12"/>
                <a:pathLst>
                  <a:path w="21598" h="20681" fill="none" extrusionOk="0">
                    <a:moveTo>
                      <a:pt x="-1" y="20394"/>
                    </a:moveTo>
                    <a:cubicBezTo>
                      <a:pt x="124" y="10973"/>
                      <a:pt x="6342" y="2719"/>
                      <a:pt x="15364" y="0"/>
                    </a:cubicBezTo>
                  </a:path>
                  <a:path w="21598" h="20681" stroke="0" extrusionOk="0">
                    <a:moveTo>
                      <a:pt x="-1" y="20394"/>
                    </a:moveTo>
                    <a:cubicBezTo>
                      <a:pt x="124" y="10973"/>
                      <a:pt x="6342" y="2719"/>
                      <a:pt x="15364" y="0"/>
                    </a:cubicBezTo>
                    <a:lnTo>
                      <a:pt x="21598" y="20681"/>
                    </a:lnTo>
                    <a:close/>
                  </a:path>
                </a:pathLst>
              </a:custGeom>
              <a:solidFill>
                <a:srgbClr val="8C8C8C"/>
              </a:solidFill>
              <a:ln w="12700" cap="rnd">
                <a:solidFill>
                  <a:schemeClr val="bg1"/>
                </a:solidFill>
                <a:round/>
                <a:headEnd/>
                <a:tailEnd/>
              </a:ln>
            </p:spPr>
            <p:txBody>
              <a:bodyPr vert="eaVert" wrap="none" anchor="ctr"/>
              <a:lstStyle/>
              <a:p>
                <a:pPr algn="ctr" defTabSz="685800">
                  <a:spcBef>
                    <a:spcPct val="0"/>
                  </a:spcBef>
                  <a:buClrTx/>
                  <a:defRPr/>
                </a:pPr>
                <a:endParaRPr lang="en-US" sz="1050" kern="1200">
                  <a:solidFill>
                    <a:prstClr val="white"/>
                  </a:solidFill>
                  <a:ea typeface="+mn-ea"/>
                  <a:cs typeface="+mn-cs"/>
                </a:endParaRPr>
              </a:p>
            </p:txBody>
          </p:sp>
          <p:sp>
            <p:nvSpPr>
              <p:cNvPr id="60" name="AutoShape 9"/>
              <p:cNvSpPr>
                <a:spLocks noChangeArrowheads="1"/>
              </p:cNvSpPr>
              <p:nvPr/>
            </p:nvSpPr>
            <p:spPr bwMode="gray">
              <a:xfrm rot="15659862">
                <a:off x="4311157" y="4535231"/>
                <a:ext cx="721469" cy="200733"/>
              </a:xfrm>
              <a:prstGeom prst="triangle">
                <a:avLst>
                  <a:gd name="adj" fmla="val 50000"/>
                </a:avLst>
              </a:prstGeom>
              <a:solidFill>
                <a:srgbClr val="B4B4B4"/>
              </a:solidFill>
              <a:ln w="12700">
                <a:solidFill>
                  <a:schemeClr val="bg1"/>
                </a:solidFill>
                <a:miter lim="800000"/>
                <a:headEnd/>
                <a:tailEnd/>
              </a:ln>
            </p:spPr>
            <p:txBody>
              <a:bodyPr vert="eaVert" wrap="none" anchor="ctr"/>
              <a:lstStyle/>
              <a:p>
                <a:pPr algn="ctr" defTabSz="685800">
                  <a:spcBef>
                    <a:spcPct val="0"/>
                  </a:spcBef>
                  <a:buClrTx/>
                  <a:defRPr/>
                </a:pPr>
                <a:endParaRPr lang="en-US" sz="1050" kern="1200">
                  <a:solidFill>
                    <a:prstClr val="white"/>
                  </a:solidFill>
                  <a:ea typeface="+mn-ea"/>
                  <a:cs typeface="+mn-cs"/>
                </a:endParaRPr>
              </a:p>
            </p:txBody>
          </p:sp>
          <p:sp>
            <p:nvSpPr>
              <p:cNvPr id="64" name="Arc 13"/>
              <p:cNvSpPr>
                <a:spLocks/>
              </p:cNvSpPr>
              <p:nvPr/>
            </p:nvSpPr>
            <p:spPr bwMode="gray">
              <a:xfrm rot="11546578">
                <a:off x="4448217" y="3729945"/>
                <a:ext cx="1334396" cy="1286428"/>
              </a:xfrm>
              <a:custGeom>
                <a:avLst/>
                <a:gdLst>
                  <a:gd name="T0" fmla="*/ 0 w 21600"/>
                  <a:gd name="T1" fmla="*/ 22 h 20650"/>
                  <a:gd name="T2" fmla="*/ 14 w 21600"/>
                  <a:gd name="T3" fmla="*/ 0 h 20650"/>
                  <a:gd name="T4" fmla="*/ 23 w 21600"/>
                  <a:gd name="T5" fmla="*/ 21 h 20650"/>
                  <a:gd name="T6" fmla="*/ 0 60000 65536"/>
                  <a:gd name="T7" fmla="*/ 0 60000 65536"/>
                  <a:gd name="T8" fmla="*/ 0 60000 65536"/>
                  <a:gd name="T9" fmla="*/ 0 w 21600"/>
                  <a:gd name="T10" fmla="*/ 0 h 20650"/>
                  <a:gd name="T11" fmla="*/ 21600 w 21600"/>
                  <a:gd name="T12" fmla="*/ 20650 h 20650"/>
                </a:gdLst>
                <a:ahLst/>
                <a:cxnLst>
                  <a:cxn ang="T6">
                    <a:pos x="T0" y="T1"/>
                  </a:cxn>
                  <a:cxn ang="T7">
                    <a:pos x="T2" y="T3"/>
                  </a:cxn>
                  <a:cxn ang="T8">
                    <a:pos x="T4" y="T5"/>
                  </a:cxn>
                </a:cxnLst>
                <a:rect l="T9" t="T10" r="T11" b="T12"/>
                <a:pathLst>
                  <a:path w="21600" h="20650" fill="none" extrusionOk="0">
                    <a:moveTo>
                      <a:pt x="10" y="20649"/>
                    </a:moveTo>
                    <a:cubicBezTo>
                      <a:pt x="3" y="20427"/>
                      <a:pt x="0" y="20204"/>
                      <a:pt x="0" y="19981"/>
                    </a:cubicBezTo>
                    <a:cubicBezTo>
                      <a:pt x="-1" y="11220"/>
                      <a:pt x="5291" y="3327"/>
                      <a:pt x="13395" y="0"/>
                    </a:cubicBezTo>
                  </a:path>
                  <a:path w="21600" h="20650" stroke="0" extrusionOk="0">
                    <a:moveTo>
                      <a:pt x="10" y="20649"/>
                    </a:moveTo>
                    <a:cubicBezTo>
                      <a:pt x="3" y="20427"/>
                      <a:pt x="0" y="20204"/>
                      <a:pt x="0" y="19981"/>
                    </a:cubicBezTo>
                    <a:cubicBezTo>
                      <a:pt x="-1" y="11220"/>
                      <a:pt x="5291" y="3327"/>
                      <a:pt x="13395" y="0"/>
                    </a:cubicBezTo>
                    <a:lnTo>
                      <a:pt x="21600" y="19981"/>
                    </a:lnTo>
                    <a:close/>
                  </a:path>
                </a:pathLst>
              </a:custGeom>
              <a:solidFill>
                <a:srgbClr val="B4B4B4"/>
              </a:solidFill>
              <a:ln w="12700" cap="rnd">
                <a:solidFill>
                  <a:schemeClr val="bg1"/>
                </a:solidFill>
                <a:round/>
                <a:headEnd/>
                <a:tailEnd/>
              </a:ln>
            </p:spPr>
            <p:txBody>
              <a:bodyPr rot="10800000" wrap="none" anchor="ctr"/>
              <a:lstStyle/>
              <a:p>
                <a:pPr algn="ctr" defTabSz="685800">
                  <a:spcBef>
                    <a:spcPct val="0"/>
                  </a:spcBef>
                  <a:buClrTx/>
                  <a:defRPr/>
                </a:pPr>
                <a:endParaRPr lang="en-US" sz="1050" kern="1200">
                  <a:solidFill>
                    <a:prstClr val="white"/>
                  </a:solidFill>
                  <a:ea typeface="+mn-ea"/>
                  <a:cs typeface="+mn-cs"/>
                </a:endParaRPr>
              </a:p>
            </p:txBody>
          </p:sp>
          <p:sp>
            <p:nvSpPr>
              <p:cNvPr id="66" name="Freeform 65"/>
              <p:cNvSpPr>
                <a:spLocks/>
              </p:cNvSpPr>
              <p:nvPr/>
            </p:nvSpPr>
            <p:spPr bwMode="gray">
              <a:xfrm>
                <a:off x="3383377" y="3895997"/>
                <a:ext cx="678669" cy="385547"/>
              </a:xfrm>
              <a:custGeom>
                <a:avLst/>
                <a:gdLst>
                  <a:gd name="T0" fmla="*/ 0 w 382"/>
                  <a:gd name="T1" fmla="*/ 202 h 215"/>
                  <a:gd name="T2" fmla="*/ 132 w 382"/>
                  <a:gd name="T3" fmla="*/ 0 h 215"/>
                  <a:gd name="T4" fmla="*/ 357 w 382"/>
                  <a:gd name="T5" fmla="*/ 24 h 215"/>
                  <a:gd name="T6" fmla="*/ 0 60000 65536"/>
                  <a:gd name="T7" fmla="*/ 0 60000 65536"/>
                  <a:gd name="T8" fmla="*/ 0 60000 65536"/>
                  <a:gd name="T9" fmla="*/ 0 w 382"/>
                  <a:gd name="T10" fmla="*/ 0 h 215"/>
                  <a:gd name="T11" fmla="*/ 382 w 382"/>
                  <a:gd name="T12" fmla="*/ 215 h 215"/>
                </a:gdLst>
                <a:ahLst/>
                <a:cxnLst>
                  <a:cxn ang="T6">
                    <a:pos x="T0" y="T1"/>
                  </a:cxn>
                  <a:cxn ang="T7">
                    <a:pos x="T2" y="T3"/>
                  </a:cxn>
                  <a:cxn ang="T8">
                    <a:pos x="T4" y="T5"/>
                  </a:cxn>
                </a:cxnLst>
                <a:rect l="T9" t="T10" r="T11" b="T12"/>
                <a:pathLst>
                  <a:path w="382" h="215">
                    <a:moveTo>
                      <a:pt x="0" y="215"/>
                    </a:moveTo>
                    <a:lnTo>
                      <a:pt x="141" y="0"/>
                    </a:lnTo>
                    <a:lnTo>
                      <a:pt x="382" y="26"/>
                    </a:lnTo>
                  </a:path>
                </a:pathLst>
              </a:custGeom>
              <a:solidFill>
                <a:srgbClr val="8C8C8C"/>
              </a:solidFill>
              <a:ln w="12700">
                <a:solidFill>
                  <a:schemeClr val="bg1"/>
                </a:solidFill>
                <a:round/>
                <a:headEnd/>
                <a:tailEnd/>
              </a:ln>
            </p:spPr>
            <p:txBody>
              <a:bodyPr wrap="none" lIns="40500" tIns="40500" rIns="40500" bIns="40500" anchor="ctr"/>
              <a:lstStyle/>
              <a:p>
                <a:pPr defTabSz="685800">
                  <a:buClrTx/>
                  <a:defRPr/>
                </a:pPr>
                <a:endParaRPr lang="en-US" sz="1050" kern="1200">
                  <a:solidFill>
                    <a:prstClr val="white"/>
                  </a:solidFill>
                  <a:ea typeface="+mn-ea"/>
                  <a:cs typeface="+mn-cs"/>
                </a:endParaRPr>
              </a:p>
            </p:txBody>
          </p:sp>
          <p:sp>
            <p:nvSpPr>
              <p:cNvPr id="74" name="Freeform 34"/>
              <p:cNvSpPr>
                <a:spLocks/>
              </p:cNvSpPr>
              <p:nvPr/>
            </p:nvSpPr>
            <p:spPr bwMode="gray">
              <a:xfrm rot="771219" flipV="1">
                <a:off x="5210533" y="3797511"/>
                <a:ext cx="674688" cy="244475"/>
              </a:xfrm>
              <a:custGeom>
                <a:avLst/>
                <a:gdLst>
                  <a:gd name="T0" fmla="*/ 0 w 364"/>
                  <a:gd name="T1" fmla="*/ 2147483647 h 140"/>
                  <a:gd name="T2" fmla="*/ 2147483647 w 364"/>
                  <a:gd name="T3" fmla="*/ 0 h 140"/>
                  <a:gd name="T4" fmla="*/ 2147483647 w 364"/>
                  <a:gd name="T5" fmla="*/ 2147483647 h 140"/>
                  <a:gd name="T6" fmla="*/ 0 60000 65536"/>
                  <a:gd name="T7" fmla="*/ 0 60000 65536"/>
                  <a:gd name="T8" fmla="*/ 0 60000 65536"/>
                  <a:gd name="T9" fmla="*/ 0 w 364"/>
                  <a:gd name="T10" fmla="*/ 0 h 140"/>
                  <a:gd name="T11" fmla="*/ 364 w 364"/>
                  <a:gd name="T12" fmla="*/ 140 h 140"/>
                </a:gdLst>
                <a:ahLst/>
                <a:cxnLst>
                  <a:cxn ang="T6">
                    <a:pos x="T0" y="T1"/>
                  </a:cxn>
                  <a:cxn ang="T7">
                    <a:pos x="T2" y="T3"/>
                  </a:cxn>
                  <a:cxn ang="T8">
                    <a:pos x="T4" y="T5"/>
                  </a:cxn>
                </a:cxnLst>
                <a:rect l="T9" t="T10" r="T11" b="T12"/>
                <a:pathLst>
                  <a:path w="364" h="140">
                    <a:moveTo>
                      <a:pt x="0" y="134"/>
                    </a:moveTo>
                    <a:lnTo>
                      <a:pt x="192" y="0"/>
                    </a:lnTo>
                    <a:lnTo>
                      <a:pt x="364" y="140"/>
                    </a:lnTo>
                  </a:path>
                </a:pathLst>
              </a:custGeom>
              <a:solidFill>
                <a:srgbClr val="DCDCDC"/>
              </a:solidFill>
              <a:ln w="12700">
                <a:solidFill>
                  <a:schemeClr val="bg1"/>
                </a:solidFill>
                <a:round/>
                <a:headEnd/>
                <a:tailEnd/>
              </a:ln>
            </p:spPr>
            <p:txBody>
              <a:bodyPr wrap="none" anchor="ctr"/>
              <a:lstStyle/>
              <a:p>
                <a:pPr defTabSz="685800">
                  <a:buClrTx/>
                </a:pPr>
                <a:endParaRPr lang="en-US" sz="1050" kern="1200">
                  <a:solidFill>
                    <a:prstClr val="white"/>
                  </a:solidFill>
                  <a:ea typeface="+mn-ea"/>
                  <a:cs typeface="+mn-cs"/>
                </a:endParaRPr>
              </a:p>
            </p:txBody>
          </p:sp>
          <p:sp>
            <p:nvSpPr>
              <p:cNvPr id="75" name="Freeform 36"/>
              <p:cNvSpPr>
                <a:spLocks/>
              </p:cNvSpPr>
              <p:nvPr/>
            </p:nvSpPr>
            <p:spPr bwMode="gray">
              <a:xfrm rot="7350105" flipH="1">
                <a:off x="4820930" y="2715673"/>
                <a:ext cx="685800" cy="244475"/>
              </a:xfrm>
              <a:custGeom>
                <a:avLst/>
                <a:gdLst>
                  <a:gd name="T0" fmla="*/ 0 w 364"/>
                  <a:gd name="T1" fmla="*/ 2147483647 h 140"/>
                  <a:gd name="T2" fmla="*/ 2147483647 w 364"/>
                  <a:gd name="T3" fmla="*/ 0 h 140"/>
                  <a:gd name="T4" fmla="*/ 2147483647 w 364"/>
                  <a:gd name="T5" fmla="*/ 2147483647 h 140"/>
                  <a:gd name="T6" fmla="*/ 0 60000 65536"/>
                  <a:gd name="T7" fmla="*/ 0 60000 65536"/>
                  <a:gd name="T8" fmla="*/ 0 60000 65536"/>
                  <a:gd name="T9" fmla="*/ 0 w 364"/>
                  <a:gd name="T10" fmla="*/ 0 h 140"/>
                  <a:gd name="T11" fmla="*/ 364 w 364"/>
                  <a:gd name="T12" fmla="*/ 140 h 140"/>
                </a:gdLst>
                <a:ahLst/>
                <a:cxnLst>
                  <a:cxn ang="T6">
                    <a:pos x="T0" y="T1"/>
                  </a:cxn>
                  <a:cxn ang="T7">
                    <a:pos x="T2" y="T3"/>
                  </a:cxn>
                  <a:cxn ang="T8">
                    <a:pos x="T4" y="T5"/>
                  </a:cxn>
                </a:cxnLst>
                <a:rect l="T9" t="T10" r="T11" b="T12"/>
                <a:pathLst>
                  <a:path w="364" h="140">
                    <a:moveTo>
                      <a:pt x="0" y="134"/>
                    </a:moveTo>
                    <a:lnTo>
                      <a:pt x="192" y="0"/>
                    </a:lnTo>
                    <a:lnTo>
                      <a:pt x="364" y="140"/>
                    </a:lnTo>
                  </a:path>
                </a:pathLst>
              </a:custGeom>
              <a:solidFill>
                <a:srgbClr val="00A1DE"/>
              </a:solidFill>
              <a:ln w="12700">
                <a:solidFill>
                  <a:schemeClr val="bg1"/>
                </a:solidFill>
                <a:round/>
                <a:headEnd/>
                <a:tailEnd/>
              </a:ln>
            </p:spPr>
            <p:txBody>
              <a:bodyPr wrap="none" anchor="ctr"/>
              <a:lstStyle/>
              <a:p>
                <a:pPr defTabSz="685800">
                  <a:buClrTx/>
                </a:pPr>
                <a:endParaRPr lang="en-US" sz="1050" kern="1200">
                  <a:solidFill>
                    <a:prstClr val="white"/>
                  </a:solidFill>
                  <a:ea typeface="+mn-ea"/>
                  <a:cs typeface="+mn-cs"/>
                </a:endParaRPr>
              </a:p>
            </p:txBody>
          </p:sp>
          <p:sp>
            <p:nvSpPr>
              <p:cNvPr id="76" name="Freeform 36"/>
              <p:cNvSpPr>
                <a:spLocks/>
              </p:cNvSpPr>
              <p:nvPr/>
            </p:nvSpPr>
            <p:spPr bwMode="gray">
              <a:xfrm rot="2880460" flipH="1">
                <a:off x="3631385" y="2750179"/>
                <a:ext cx="685800" cy="244475"/>
              </a:xfrm>
              <a:custGeom>
                <a:avLst/>
                <a:gdLst>
                  <a:gd name="T0" fmla="*/ 0 w 364"/>
                  <a:gd name="T1" fmla="*/ 2147483647 h 140"/>
                  <a:gd name="T2" fmla="*/ 2147483647 w 364"/>
                  <a:gd name="T3" fmla="*/ 0 h 140"/>
                  <a:gd name="T4" fmla="*/ 2147483647 w 364"/>
                  <a:gd name="T5" fmla="*/ 2147483647 h 140"/>
                  <a:gd name="T6" fmla="*/ 0 60000 65536"/>
                  <a:gd name="T7" fmla="*/ 0 60000 65536"/>
                  <a:gd name="T8" fmla="*/ 0 60000 65536"/>
                  <a:gd name="T9" fmla="*/ 0 w 364"/>
                  <a:gd name="T10" fmla="*/ 0 h 140"/>
                  <a:gd name="T11" fmla="*/ 364 w 364"/>
                  <a:gd name="T12" fmla="*/ 140 h 140"/>
                </a:gdLst>
                <a:ahLst/>
                <a:cxnLst>
                  <a:cxn ang="T6">
                    <a:pos x="T0" y="T1"/>
                  </a:cxn>
                  <a:cxn ang="T7">
                    <a:pos x="T2" y="T3"/>
                  </a:cxn>
                  <a:cxn ang="T8">
                    <a:pos x="T4" y="T5"/>
                  </a:cxn>
                </a:cxnLst>
                <a:rect l="T9" t="T10" r="T11" b="T12"/>
                <a:pathLst>
                  <a:path w="364" h="140">
                    <a:moveTo>
                      <a:pt x="0" y="134"/>
                    </a:moveTo>
                    <a:lnTo>
                      <a:pt x="192" y="0"/>
                    </a:lnTo>
                    <a:lnTo>
                      <a:pt x="364" y="140"/>
                    </a:lnTo>
                  </a:path>
                </a:pathLst>
              </a:custGeom>
              <a:solidFill>
                <a:srgbClr val="575757"/>
              </a:solidFill>
              <a:ln w="12700">
                <a:solidFill>
                  <a:schemeClr val="bg1"/>
                </a:solidFill>
                <a:round/>
                <a:headEnd/>
                <a:tailEnd/>
              </a:ln>
            </p:spPr>
            <p:txBody>
              <a:bodyPr wrap="none" anchor="ctr"/>
              <a:lstStyle/>
              <a:p>
                <a:pPr defTabSz="685800">
                  <a:buClrTx/>
                </a:pPr>
                <a:endParaRPr lang="en-US" sz="1050" kern="1200">
                  <a:solidFill>
                    <a:prstClr val="white"/>
                  </a:solidFill>
                  <a:ea typeface="+mn-ea"/>
                  <a:cs typeface="+mn-cs"/>
                </a:endParaRPr>
              </a:p>
            </p:txBody>
          </p:sp>
          <p:sp>
            <p:nvSpPr>
              <p:cNvPr id="71" name="Oval 70"/>
              <p:cNvSpPr>
                <a:spLocks noChangeArrowheads="1"/>
              </p:cNvSpPr>
              <p:nvPr/>
            </p:nvSpPr>
            <p:spPr bwMode="gray">
              <a:xfrm rot="10241042">
                <a:off x="3857489" y="2955034"/>
                <a:ext cx="1435719" cy="1433394"/>
              </a:xfrm>
              <a:prstGeom prst="ellipse">
                <a:avLst/>
              </a:prstGeom>
              <a:solidFill>
                <a:schemeClr val="bg1"/>
              </a:solidFill>
              <a:ln w="12700">
                <a:solidFill>
                  <a:schemeClr val="bg1"/>
                </a:solidFill>
                <a:round/>
                <a:headEnd/>
                <a:tailEnd/>
              </a:ln>
            </p:spPr>
            <p:txBody>
              <a:bodyPr rot="10800000" wrap="none" anchor="ctr"/>
              <a:lstStyle/>
              <a:p>
                <a:pPr algn="ctr" defTabSz="685800">
                  <a:spcBef>
                    <a:spcPct val="0"/>
                  </a:spcBef>
                  <a:buClrTx/>
                </a:pPr>
                <a:endParaRPr lang="en-US" sz="1050" kern="1200">
                  <a:solidFill>
                    <a:prstClr val="white"/>
                  </a:solidFill>
                  <a:ea typeface="+mn-ea"/>
                  <a:cs typeface="+mn-cs"/>
                </a:endParaRPr>
              </a:p>
            </p:txBody>
          </p:sp>
        </p:grpSp>
        <p:sp>
          <p:nvSpPr>
            <p:cNvPr id="91" name="Rectangle 41"/>
            <p:cNvSpPr>
              <a:spLocks noChangeArrowheads="1"/>
            </p:cNvSpPr>
            <p:nvPr/>
          </p:nvSpPr>
          <p:spPr bwMode="blackWhite">
            <a:xfrm>
              <a:off x="4424387" y="2576180"/>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dirty="0">
                  <a:solidFill>
                    <a:prstClr val="white"/>
                  </a:solidFill>
                  <a:ea typeface="+mn-ea"/>
                  <a:cs typeface="+mn-cs"/>
                </a:rPr>
                <a:t>Text</a:t>
              </a:r>
            </a:p>
          </p:txBody>
        </p:sp>
        <p:sp>
          <p:nvSpPr>
            <p:cNvPr id="92" name="Rectangle 42"/>
            <p:cNvSpPr>
              <a:spLocks noChangeArrowheads="1"/>
            </p:cNvSpPr>
            <p:nvPr/>
          </p:nvSpPr>
          <p:spPr bwMode="blackWhite">
            <a:xfrm>
              <a:off x="5291955" y="3261980"/>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dirty="0">
                  <a:solidFill>
                    <a:srgbClr val="313131"/>
                  </a:solidFill>
                  <a:ea typeface="+mn-ea"/>
                  <a:cs typeface="+mn-cs"/>
                </a:rPr>
                <a:t>Text</a:t>
              </a:r>
            </a:p>
          </p:txBody>
        </p:sp>
        <p:sp>
          <p:nvSpPr>
            <p:cNvPr id="93" name="Rectangle 43"/>
            <p:cNvSpPr>
              <a:spLocks noChangeArrowheads="1"/>
            </p:cNvSpPr>
            <p:nvPr/>
          </p:nvSpPr>
          <p:spPr bwMode="blackWhite">
            <a:xfrm>
              <a:off x="4987155" y="4404980"/>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dirty="0">
                  <a:solidFill>
                    <a:srgbClr val="313131"/>
                  </a:solidFill>
                  <a:ea typeface="+mn-ea"/>
                  <a:cs typeface="+mn-cs"/>
                </a:rPr>
                <a:t>Text</a:t>
              </a:r>
            </a:p>
          </p:txBody>
        </p:sp>
        <p:sp>
          <p:nvSpPr>
            <p:cNvPr id="94" name="Rectangle 44"/>
            <p:cNvSpPr>
              <a:spLocks noChangeArrowheads="1"/>
            </p:cNvSpPr>
            <p:nvPr/>
          </p:nvSpPr>
          <p:spPr bwMode="blackWhite">
            <a:xfrm>
              <a:off x="3783195" y="4404980"/>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a:solidFill>
                    <a:prstClr val="white"/>
                  </a:solidFill>
                  <a:ea typeface="+mn-ea"/>
                  <a:cs typeface="+mn-cs"/>
                </a:rPr>
                <a:t>Text</a:t>
              </a:r>
              <a:endParaRPr lang="en-US" sz="1050" kern="1200" dirty="0">
                <a:solidFill>
                  <a:prstClr val="white"/>
                </a:solidFill>
                <a:ea typeface="+mn-ea"/>
                <a:cs typeface="+mn-cs"/>
              </a:endParaRPr>
            </a:p>
          </p:txBody>
        </p:sp>
        <p:sp>
          <p:nvSpPr>
            <p:cNvPr id="95" name="Rectangle 45"/>
            <p:cNvSpPr>
              <a:spLocks noChangeArrowheads="1"/>
            </p:cNvSpPr>
            <p:nvPr/>
          </p:nvSpPr>
          <p:spPr bwMode="blackWhite">
            <a:xfrm>
              <a:off x="3386955" y="3338180"/>
              <a:ext cx="348387" cy="204672"/>
            </a:xfrm>
            <a:prstGeom prst="rect">
              <a:avLst/>
            </a:prstGeom>
            <a:noFill/>
            <a:ln w="12700">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a:solidFill>
                    <a:prstClr val="white"/>
                  </a:solidFill>
                  <a:ea typeface="+mn-ea"/>
                  <a:cs typeface="+mn-cs"/>
                </a:rPr>
                <a:t>Text</a:t>
              </a:r>
              <a:endParaRPr lang="en-US" sz="1050" kern="1200" dirty="0">
                <a:solidFill>
                  <a:prstClr val="white"/>
                </a:solidFill>
                <a:ea typeface="+mn-ea"/>
                <a:cs typeface="+mn-cs"/>
              </a:endParaRPr>
            </a:p>
          </p:txBody>
        </p:sp>
      </p:grpSp>
    </p:spTree>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6865" name="Title 1"/>
          <p:cNvSpPr>
            <a:spLocks noGrp="1"/>
          </p:cNvSpPr>
          <p:nvPr>
            <p:ph type="title"/>
          </p:nvPr>
        </p:nvSpPr>
        <p:spPr/>
        <p:txBody>
          <a:bodyPr/>
          <a:lstStyle/>
          <a:p>
            <a:r>
              <a:rPr lang="en-US" dirty="0">
                <a:solidFill>
                  <a:srgbClr val="81BC00"/>
                </a:solidFill>
              </a:rPr>
              <a:t>Circles</a:t>
            </a:r>
            <a:r>
              <a:rPr lang="en-US" dirty="0"/>
              <a:t> </a:t>
            </a:r>
            <a:br>
              <a:rPr lang="en-US" dirty="0"/>
            </a:br>
            <a:r>
              <a:rPr lang="en-US" dirty="0">
                <a:solidFill>
                  <a:srgbClr val="575757"/>
                </a:solidFill>
              </a:rPr>
              <a:t>Process ending in a closed loop</a:t>
            </a:r>
          </a:p>
        </p:txBody>
      </p:sp>
      <p:grpSp>
        <p:nvGrpSpPr>
          <p:cNvPr id="23" name="Group 22"/>
          <p:cNvGrpSpPr/>
          <p:nvPr/>
        </p:nvGrpSpPr>
        <p:grpSpPr>
          <a:xfrm>
            <a:off x="2571750" y="1268731"/>
            <a:ext cx="3904060" cy="3401615"/>
            <a:chOff x="1905000" y="1773238"/>
            <a:chExt cx="5205413" cy="4535487"/>
          </a:xfrm>
        </p:grpSpPr>
        <p:sp>
          <p:nvSpPr>
            <p:cNvPr id="16" name="Freeform 2"/>
            <p:cNvSpPr>
              <a:spLocks/>
            </p:cNvSpPr>
            <p:nvPr/>
          </p:nvSpPr>
          <p:spPr bwMode="blackWhite">
            <a:xfrm>
              <a:off x="5729288" y="3216275"/>
              <a:ext cx="1381125" cy="1874838"/>
            </a:xfrm>
            <a:custGeom>
              <a:avLst/>
              <a:gdLst>
                <a:gd name="T0" fmla="*/ 461616 w 852"/>
                <a:gd name="T1" fmla="*/ 1873218 h 1157"/>
                <a:gd name="T2" fmla="*/ 1493670 w 852"/>
                <a:gd name="T3" fmla="*/ 1852152 h 1157"/>
                <a:gd name="T4" fmla="*/ 1172469 w 852"/>
                <a:gd name="T5" fmla="*/ 1672284 h 1157"/>
                <a:gd name="T6" fmla="*/ 1233901 w 852"/>
                <a:gd name="T7" fmla="*/ 1552372 h 1157"/>
                <a:gd name="T8" fmla="*/ 1286557 w 852"/>
                <a:gd name="T9" fmla="*/ 1429219 h 1157"/>
                <a:gd name="T10" fmla="*/ 1330437 w 852"/>
                <a:gd name="T11" fmla="*/ 1302826 h 1157"/>
                <a:gd name="T12" fmla="*/ 1360275 w 852"/>
                <a:gd name="T13" fmla="*/ 1171571 h 1157"/>
                <a:gd name="T14" fmla="*/ 1386603 w 852"/>
                <a:gd name="T15" fmla="*/ 1040316 h 1157"/>
                <a:gd name="T16" fmla="*/ 1400645 w 852"/>
                <a:gd name="T17" fmla="*/ 909061 h 1157"/>
                <a:gd name="T18" fmla="*/ 1405910 w 852"/>
                <a:gd name="T19" fmla="*/ 774566 h 1157"/>
                <a:gd name="T20" fmla="*/ 1400645 w 852"/>
                <a:gd name="T21" fmla="*/ 640070 h 1157"/>
                <a:gd name="T22" fmla="*/ 1384848 w 852"/>
                <a:gd name="T23" fmla="*/ 508815 h 1157"/>
                <a:gd name="T24" fmla="*/ 1360275 w 852"/>
                <a:gd name="T25" fmla="*/ 377560 h 1157"/>
                <a:gd name="T26" fmla="*/ 1326926 w 852"/>
                <a:gd name="T27" fmla="*/ 247926 h 1157"/>
                <a:gd name="T28" fmla="*/ 1281291 w 852"/>
                <a:gd name="T29" fmla="*/ 121532 h 1157"/>
                <a:gd name="T30" fmla="*/ 1230391 w 852"/>
                <a:gd name="T31" fmla="*/ 0 h 1157"/>
                <a:gd name="T32" fmla="*/ 956581 w 852"/>
                <a:gd name="T33" fmla="*/ 479647 h 1157"/>
                <a:gd name="T34" fmla="*/ 365080 w 852"/>
                <a:gd name="T35" fmla="*/ 471545 h 1157"/>
                <a:gd name="T36" fmla="*/ 389653 w 852"/>
                <a:gd name="T37" fmla="*/ 559048 h 1157"/>
                <a:gd name="T38" fmla="*/ 405450 w 852"/>
                <a:gd name="T39" fmla="*/ 651413 h 1157"/>
                <a:gd name="T40" fmla="*/ 412470 w 852"/>
                <a:gd name="T41" fmla="*/ 743777 h 1157"/>
                <a:gd name="T42" fmla="*/ 410715 w 852"/>
                <a:gd name="T43" fmla="*/ 832901 h 1157"/>
                <a:gd name="T44" fmla="*/ 401939 w 852"/>
                <a:gd name="T45" fmla="*/ 925266 h 1157"/>
                <a:gd name="T46" fmla="*/ 380877 w 852"/>
                <a:gd name="T47" fmla="*/ 1016010 h 1157"/>
                <a:gd name="T48" fmla="*/ 356304 w 852"/>
                <a:gd name="T49" fmla="*/ 1106754 h 1157"/>
                <a:gd name="T50" fmla="*/ 317690 w 852"/>
                <a:gd name="T51" fmla="*/ 1189396 h 1157"/>
                <a:gd name="T52" fmla="*/ 0 w 852"/>
                <a:gd name="T53" fmla="*/ 1017630 h 1157"/>
                <a:gd name="T54" fmla="*/ 461616 w 852"/>
                <a:gd name="T55" fmla="*/ 1873218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solidFill>
              <a:srgbClr val="B4B4B4"/>
            </a:solidFill>
            <a:ln w="12700" cap="rnd">
              <a:solidFill>
                <a:schemeClr val="bg1"/>
              </a:solidFill>
              <a:round/>
              <a:headEnd/>
              <a:tailEnd/>
            </a:ln>
          </p:spPr>
          <p:txBody>
            <a:bodyPr lIns="27000" tIns="27000" rIns="27000" bIns="27000"/>
            <a:lstStyle/>
            <a:p>
              <a:pPr defTabSz="685800">
                <a:buClrTx/>
                <a:defRPr/>
              </a:pPr>
              <a:endParaRPr lang="en-US" sz="1050" kern="1200" dirty="0">
                <a:solidFill>
                  <a:prstClr val="white"/>
                </a:solidFill>
                <a:ea typeface="+mn-ea"/>
                <a:cs typeface="+mn-cs"/>
              </a:endParaRPr>
            </a:p>
          </p:txBody>
        </p:sp>
        <p:sp>
          <p:nvSpPr>
            <p:cNvPr id="676868" name="Freeform 3"/>
            <p:cNvSpPr>
              <a:spLocks/>
            </p:cNvSpPr>
            <p:nvPr/>
          </p:nvSpPr>
          <p:spPr bwMode="blackWhite">
            <a:xfrm>
              <a:off x="5221288" y="2070100"/>
              <a:ext cx="1797050" cy="1557338"/>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09" h="962">
                  <a:moveTo>
                    <a:pt x="246" y="959"/>
                  </a:moveTo>
                  <a:lnTo>
                    <a:pt x="839" y="961"/>
                  </a:lnTo>
                  <a:lnTo>
                    <a:pt x="934" y="786"/>
                  </a:lnTo>
                  <a:lnTo>
                    <a:pt x="1023" y="611"/>
                  </a:lnTo>
                  <a:lnTo>
                    <a:pt x="1108" y="429"/>
                  </a:lnTo>
                  <a:lnTo>
                    <a:pt x="930" y="539"/>
                  </a:lnTo>
                  <a:lnTo>
                    <a:pt x="885" y="471"/>
                  </a:lnTo>
                  <a:lnTo>
                    <a:pt x="837" y="406"/>
                  </a:lnTo>
                  <a:lnTo>
                    <a:pt x="783" y="344"/>
                  </a:lnTo>
                  <a:lnTo>
                    <a:pt x="724" y="287"/>
                  </a:lnTo>
                  <a:lnTo>
                    <a:pt x="663" y="235"/>
                  </a:lnTo>
                  <a:lnTo>
                    <a:pt x="598" y="188"/>
                  </a:lnTo>
                  <a:lnTo>
                    <a:pt x="530" y="145"/>
                  </a:lnTo>
                  <a:lnTo>
                    <a:pt x="460" y="107"/>
                  </a:lnTo>
                  <a:lnTo>
                    <a:pt x="387" y="75"/>
                  </a:lnTo>
                  <a:lnTo>
                    <a:pt x="311" y="48"/>
                  </a:lnTo>
                  <a:lnTo>
                    <a:pt x="236" y="27"/>
                  </a:lnTo>
                  <a:lnTo>
                    <a:pt x="158" y="12"/>
                  </a:lnTo>
                  <a:lnTo>
                    <a:pt x="79" y="2"/>
                  </a:lnTo>
                  <a:lnTo>
                    <a:pt x="0" y="0"/>
                  </a:lnTo>
                  <a:lnTo>
                    <a:pt x="210" y="277"/>
                  </a:lnTo>
                  <a:lnTo>
                    <a:pt x="80" y="601"/>
                  </a:lnTo>
                  <a:lnTo>
                    <a:pt x="134" y="614"/>
                  </a:lnTo>
                  <a:lnTo>
                    <a:pt x="186" y="631"/>
                  </a:lnTo>
                  <a:lnTo>
                    <a:pt x="236" y="654"/>
                  </a:lnTo>
                  <a:lnTo>
                    <a:pt x="283" y="681"/>
                  </a:lnTo>
                  <a:lnTo>
                    <a:pt x="328" y="715"/>
                  </a:lnTo>
                  <a:lnTo>
                    <a:pt x="370" y="752"/>
                  </a:lnTo>
                  <a:lnTo>
                    <a:pt x="408" y="792"/>
                  </a:lnTo>
                  <a:lnTo>
                    <a:pt x="446" y="837"/>
                  </a:lnTo>
                  <a:lnTo>
                    <a:pt x="246" y="959"/>
                  </a:lnTo>
                </a:path>
              </a:pathLst>
            </a:custGeom>
            <a:solidFill>
              <a:srgbClr val="DCDCDC"/>
            </a:solidFill>
            <a:ln w="12700" cap="rnd">
              <a:solidFill>
                <a:schemeClr val="bg1"/>
              </a:solidFill>
              <a:round/>
              <a:headEnd/>
              <a:tailEnd/>
            </a:ln>
          </p:spPr>
          <p:txBody>
            <a:bodyPr lIns="27000" tIns="27000" rIns="27000" bIns="27000"/>
            <a:lstStyle/>
            <a:p>
              <a:pPr defTabSz="685800">
                <a:buClrTx/>
              </a:pPr>
              <a:endParaRPr lang="en-US" sz="1050" kern="1200">
                <a:solidFill>
                  <a:prstClr val="white"/>
                </a:solidFill>
                <a:ea typeface="+mn-ea"/>
                <a:cs typeface="+mn-cs"/>
              </a:endParaRPr>
            </a:p>
          </p:txBody>
        </p:sp>
        <p:sp>
          <p:nvSpPr>
            <p:cNvPr id="676869" name="Freeform 4"/>
            <p:cNvSpPr>
              <a:spLocks/>
            </p:cNvSpPr>
            <p:nvPr/>
          </p:nvSpPr>
          <p:spPr bwMode="blackWhite">
            <a:xfrm>
              <a:off x="1905000" y="1773238"/>
              <a:ext cx="3573463" cy="1779587"/>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06" h="1099">
                  <a:moveTo>
                    <a:pt x="0" y="864"/>
                  </a:moveTo>
                  <a:lnTo>
                    <a:pt x="1339" y="864"/>
                  </a:lnTo>
                  <a:lnTo>
                    <a:pt x="1552" y="1098"/>
                  </a:lnTo>
                  <a:lnTo>
                    <a:pt x="1587" y="1045"/>
                  </a:lnTo>
                  <a:lnTo>
                    <a:pt x="1625" y="996"/>
                  </a:lnTo>
                  <a:lnTo>
                    <a:pt x="1666" y="948"/>
                  </a:lnTo>
                  <a:lnTo>
                    <a:pt x="1711" y="906"/>
                  </a:lnTo>
                  <a:lnTo>
                    <a:pt x="1754" y="872"/>
                  </a:lnTo>
                  <a:lnTo>
                    <a:pt x="1800" y="845"/>
                  </a:lnTo>
                  <a:lnTo>
                    <a:pt x="1850" y="822"/>
                  </a:lnTo>
                  <a:lnTo>
                    <a:pt x="1900" y="803"/>
                  </a:lnTo>
                  <a:lnTo>
                    <a:pt x="1953" y="790"/>
                  </a:lnTo>
                  <a:lnTo>
                    <a:pt x="1983" y="1013"/>
                  </a:lnTo>
                  <a:lnTo>
                    <a:pt x="2205" y="471"/>
                  </a:lnTo>
                  <a:lnTo>
                    <a:pt x="1872" y="0"/>
                  </a:lnTo>
                  <a:lnTo>
                    <a:pt x="1873" y="196"/>
                  </a:lnTo>
                  <a:lnTo>
                    <a:pt x="0" y="196"/>
                  </a:lnTo>
                  <a:lnTo>
                    <a:pt x="0" y="864"/>
                  </a:lnTo>
                </a:path>
              </a:pathLst>
            </a:custGeom>
            <a:solidFill>
              <a:srgbClr val="00A1DE"/>
            </a:solidFill>
            <a:ln w="12700" cap="rnd">
              <a:solidFill>
                <a:schemeClr val="bg1"/>
              </a:solidFill>
              <a:round/>
              <a:headEnd/>
              <a:tailEnd/>
            </a:ln>
          </p:spPr>
          <p:txBody>
            <a:bodyPr lIns="27000" tIns="27000" rIns="27000" bIns="27000"/>
            <a:lstStyle/>
            <a:p>
              <a:pPr defTabSz="685800">
                <a:buClrTx/>
              </a:pPr>
              <a:endParaRPr lang="en-US" sz="1050" kern="1200">
                <a:solidFill>
                  <a:prstClr val="white"/>
                </a:solidFill>
                <a:ea typeface="+mn-ea"/>
                <a:cs typeface="+mn-cs"/>
              </a:endParaRPr>
            </a:p>
          </p:txBody>
        </p:sp>
        <p:sp>
          <p:nvSpPr>
            <p:cNvPr id="19" name="Freeform 5"/>
            <p:cNvSpPr>
              <a:spLocks/>
            </p:cNvSpPr>
            <p:nvPr/>
          </p:nvSpPr>
          <p:spPr bwMode="blackWhite">
            <a:xfrm>
              <a:off x="4867275" y="4592638"/>
              <a:ext cx="1806575" cy="1716087"/>
            </a:xfrm>
            <a:custGeom>
              <a:avLst/>
              <a:gdLst>
                <a:gd name="T0" fmla="*/ 0 w 1115"/>
                <a:gd name="T1" fmla="*/ 857233 h 1059"/>
                <a:gd name="T2" fmla="*/ 489786 w 1115"/>
                <a:gd name="T3" fmla="*/ 1714467 h 1059"/>
                <a:gd name="T4" fmla="*/ 489786 w 1115"/>
                <a:gd name="T5" fmla="*/ 1320690 h 1059"/>
                <a:gd name="T6" fmla="*/ 619693 w 1115"/>
                <a:gd name="T7" fmla="*/ 1309347 h 1059"/>
                <a:gd name="T8" fmla="*/ 753111 w 1115"/>
                <a:gd name="T9" fmla="*/ 1288280 h 1059"/>
                <a:gd name="T10" fmla="*/ 881263 w 1115"/>
                <a:gd name="T11" fmla="*/ 1259112 h 1059"/>
                <a:gd name="T12" fmla="*/ 1005904 w 1115"/>
                <a:gd name="T13" fmla="*/ 1221841 h 1059"/>
                <a:gd name="T14" fmla="*/ 1128789 w 1115"/>
                <a:gd name="T15" fmla="*/ 1176467 h 1059"/>
                <a:gd name="T16" fmla="*/ 1249919 w 1115"/>
                <a:gd name="T17" fmla="*/ 1122992 h 1059"/>
                <a:gd name="T18" fmla="*/ 1365782 w 1115"/>
                <a:gd name="T19" fmla="*/ 1061413 h 1059"/>
                <a:gd name="T20" fmla="*/ 1479890 w 1115"/>
                <a:gd name="T21" fmla="*/ 993353 h 1059"/>
                <a:gd name="T22" fmla="*/ 1581709 w 1115"/>
                <a:gd name="T23" fmla="*/ 913950 h 1059"/>
                <a:gd name="T24" fmla="*/ 1687039 w 1115"/>
                <a:gd name="T25" fmla="*/ 831306 h 1059"/>
                <a:gd name="T26" fmla="*/ 1781836 w 1115"/>
                <a:gd name="T27" fmla="*/ 738938 h 1059"/>
                <a:gd name="T28" fmla="*/ 1874878 w 1115"/>
                <a:gd name="T29" fmla="*/ 640089 h 1059"/>
                <a:gd name="T30" fmla="*/ 1955631 w 1115"/>
                <a:gd name="T31" fmla="*/ 539619 h 1059"/>
                <a:gd name="T32" fmla="*/ 1362271 w 1115"/>
                <a:gd name="T33" fmla="*/ 570408 h 1059"/>
                <a:gd name="T34" fmla="*/ 1093679 w 1115"/>
                <a:gd name="T35" fmla="*/ 58337 h 1059"/>
                <a:gd name="T36" fmla="*/ 1037503 w 1115"/>
                <a:gd name="T37" fmla="*/ 111813 h 1059"/>
                <a:gd name="T38" fmla="*/ 977816 w 1115"/>
                <a:gd name="T39" fmla="*/ 158807 h 1059"/>
                <a:gd name="T40" fmla="*/ 905840 w 1115"/>
                <a:gd name="T41" fmla="*/ 207421 h 1059"/>
                <a:gd name="T42" fmla="*/ 828598 w 1115"/>
                <a:gd name="T43" fmla="*/ 254415 h 1059"/>
                <a:gd name="T44" fmla="*/ 746089 w 1115"/>
                <a:gd name="T45" fmla="*/ 288445 h 1059"/>
                <a:gd name="T46" fmla="*/ 665336 w 1115"/>
                <a:gd name="T47" fmla="*/ 319234 h 1059"/>
                <a:gd name="T48" fmla="*/ 579316 w 1115"/>
                <a:gd name="T49" fmla="*/ 341921 h 1059"/>
                <a:gd name="T50" fmla="*/ 489786 w 1115"/>
                <a:gd name="T51" fmla="*/ 356505 h 1059"/>
                <a:gd name="T52" fmla="*/ 489786 w 1115"/>
                <a:gd name="T53" fmla="*/ 0 h 1059"/>
                <a:gd name="T54" fmla="*/ 0 w 1115"/>
                <a:gd name="T55" fmla="*/ 857233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solidFill>
              <a:srgbClr val="8C8C8C"/>
            </a:solidFill>
            <a:ln w="12700" cap="rnd">
              <a:solidFill>
                <a:schemeClr val="bg1"/>
              </a:solidFill>
              <a:round/>
              <a:headEnd/>
              <a:tailEnd/>
            </a:ln>
          </p:spPr>
          <p:txBody>
            <a:bodyPr lIns="27000" tIns="27000" rIns="27000" bIns="27000"/>
            <a:lstStyle/>
            <a:p>
              <a:pPr defTabSz="685800">
                <a:buClrTx/>
                <a:defRPr/>
              </a:pPr>
              <a:endParaRPr lang="en-US" sz="1050" kern="1200" dirty="0">
                <a:solidFill>
                  <a:prstClr val="white"/>
                </a:solidFill>
                <a:ea typeface="+mn-ea"/>
                <a:cs typeface="+mn-cs"/>
              </a:endParaRPr>
            </a:p>
          </p:txBody>
        </p:sp>
        <p:sp>
          <p:nvSpPr>
            <p:cNvPr id="20" name="Freeform 6"/>
            <p:cNvSpPr>
              <a:spLocks/>
            </p:cNvSpPr>
            <p:nvPr/>
          </p:nvSpPr>
          <p:spPr bwMode="blackWhite">
            <a:xfrm>
              <a:off x="3294063" y="4378325"/>
              <a:ext cx="1719262" cy="1531938"/>
            </a:xfrm>
            <a:custGeom>
              <a:avLst/>
              <a:gdLst>
                <a:gd name="T0" fmla="*/ 2147483647 w 1061"/>
                <a:gd name="T1" fmla="*/ 0 h 946"/>
                <a:gd name="T2" fmla="*/ 0 w 1061"/>
                <a:gd name="T3" fmla="*/ 2147483647 h 946"/>
                <a:gd name="T4" fmla="*/ 2147483647 w 1061"/>
                <a:gd name="T5" fmla="*/ 2147483647 h 946"/>
                <a:gd name="T6" fmla="*/ 2147483647 w 1061"/>
                <a:gd name="T7" fmla="*/ 2147483647 h 946"/>
                <a:gd name="T8" fmla="*/ 2147483647 w 1061"/>
                <a:gd name="T9" fmla="*/ 2147483647 h 946"/>
                <a:gd name="T10" fmla="*/ 2147483647 w 1061"/>
                <a:gd name="T11" fmla="*/ 2147483647 h 946"/>
                <a:gd name="T12" fmla="*/ 2147483647 w 1061"/>
                <a:gd name="T13" fmla="*/ 2147483647 h 946"/>
                <a:gd name="T14" fmla="*/ 2147483647 w 1061"/>
                <a:gd name="T15" fmla="*/ 2147483647 h 946"/>
                <a:gd name="T16" fmla="*/ 2147483647 w 1061"/>
                <a:gd name="T17" fmla="*/ 2147483647 h 946"/>
                <a:gd name="T18" fmla="*/ 2147483647 w 1061"/>
                <a:gd name="T19" fmla="*/ 2147483647 h 946"/>
                <a:gd name="T20" fmla="*/ 2147483647 w 1061"/>
                <a:gd name="T21" fmla="*/ 2147483647 h 946"/>
                <a:gd name="T22" fmla="*/ 2147483647 w 1061"/>
                <a:gd name="T23" fmla="*/ 2147483647 h 946"/>
                <a:gd name="T24" fmla="*/ 2147483647 w 1061"/>
                <a:gd name="T25" fmla="*/ 2147483647 h 946"/>
                <a:gd name="T26" fmla="*/ 2147483647 w 1061"/>
                <a:gd name="T27" fmla="*/ 2147483647 h 946"/>
                <a:gd name="T28" fmla="*/ 2147483647 w 1061"/>
                <a:gd name="T29" fmla="*/ 2147483647 h 946"/>
                <a:gd name="T30" fmla="*/ 2147483647 w 1061"/>
                <a:gd name="T31" fmla="*/ 2147483647 h 946"/>
                <a:gd name="T32" fmla="*/ 2147483647 w 1061"/>
                <a:gd name="T33" fmla="*/ 2147483647 h 946"/>
                <a:gd name="T34" fmla="*/ 2147483647 w 1061"/>
                <a:gd name="T35" fmla="*/ 2147483647 h 946"/>
                <a:gd name="T36" fmla="*/ 2147483647 w 1061"/>
                <a:gd name="T37" fmla="*/ 2147483647 h 946"/>
                <a:gd name="T38" fmla="*/ 2147483647 w 1061"/>
                <a:gd name="T39" fmla="*/ 2147483647 h 946"/>
                <a:gd name="T40" fmla="*/ 2147483647 w 1061"/>
                <a:gd name="T41" fmla="*/ 2147483647 h 946"/>
                <a:gd name="T42" fmla="*/ 2147483647 w 1061"/>
                <a:gd name="T43" fmla="*/ 2147483647 h 946"/>
                <a:gd name="T44" fmla="*/ 2147483647 w 1061"/>
                <a:gd name="T45" fmla="*/ 2147483647 h 946"/>
                <a:gd name="T46" fmla="*/ 2147483647 w 1061"/>
                <a:gd name="T47" fmla="*/ 2147483647 h 946"/>
                <a:gd name="T48" fmla="*/ 2147483647 w 1061"/>
                <a:gd name="T49" fmla="*/ 2147483647 h 946"/>
                <a:gd name="T50" fmla="*/ 2147483647 w 1061"/>
                <a:gd name="T51" fmla="*/ 0 h 9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1"/>
                <a:gd name="T79" fmla="*/ 0 h 946"/>
                <a:gd name="T80" fmla="*/ 1061 w 1061"/>
                <a:gd name="T81" fmla="*/ 946 h 9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1" h="946">
                  <a:moveTo>
                    <a:pt x="372" y="0"/>
                  </a:moveTo>
                  <a:lnTo>
                    <a:pt x="0" y="477"/>
                  </a:lnTo>
                  <a:lnTo>
                    <a:pt x="207" y="395"/>
                  </a:lnTo>
                  <a:lnTo>
                    <a:pt x="252" y="466"/>
                  </a:lnTo>
                  <a:lnTo>
                    <a:pt x="302" y="531"/>
                  </a:lnTo>
                  <a:lnTo>
                    <a:pt x="354" y="592"/>
                  </a:lnTo>
                  <a:lnTo>
                    <a:pt x="410" y="649"/>
                  </a:lnTo>
                  <a:lnTo>
                    <a:pt x="471" y="703"/>
                  </a:lnTo>
                  <a:lnTo>
                    <a:pt x="535" y="751"/>
                  </a:lnTo>
                  <a:lnTo>
                    <a:pt x="602" y="795"/>
                  </a:lnTo>
                  <a:lnTo>
                    <a:pt x="670" y="833"/>
                  </a:lnTo>
                  <a:lnTo>
                    <a:pt x="745" y="867"/>
                  </a:lnTo>
                  <a:lnTo>
                    <a:pt x="818" y="894"/>
                  </a:lnTo>
                  <a:lnTo>
                    <a:pt x="894" y="917"/>
                  </a:lnTo>
                  <a:lnTo>
                    <a:pt x="970" y="934"/>
                  </a:lnTo>
                  <a:lnTo>
                    <a:pt x="1048" y="945"/>
                  </a:lnTo>
                  <a:lnTo>
                    <a:pt x="896" y="669"/>
                  </a:lnTo>
                  <a:lnTo>
                    <a:pt x="1060" y="347"/>
                  </a:lnTo>
                  <a:lnTo>
                    <a:pt x="1004" y="334"/>
                  </a:lnTo>
                  <a:lnTo>
                    <a:pt x="951" y="315"/>
                  </a:lnTo>
                  <a:lnTo>
                    <a:pt x="898" y="290"/>
                  </a:lnTo>
                  <a:lnTo>
                    <a:pt x="850" y="260"/>
                  </a:lnTo>
                  <a:lnTo>
                    <a:pt x="802" y="223"/>
                  </a:lnTo>
                  <a:lnTo>
                    <a:pt x="761" y="184"/>
                  </a:lnTo>
                  <a:lnTo>
                    <a:pt x="938" y="113"/>
                  </a:lnTo>
                  <a:lnTo>
                    <a:pt x="372" y="0"/>
                  </a:lnTo>
                </a:path>
              </a:pathLst>
            </a:custGeom>
            <a:solidFill>
              <a:srgbClr val="575757"/>
            </a:solidFill>
            <a:ln w="12700" cap="rnd">
              <a:solidFill>
                <a:schemeClr val="bg1"/>
              </a:solidFill>
              <a:round/>
              <a:headEnd/>
              <a:tailEnd/>
            </a:ln>
          </p:spPr>
          <p:txBody>
            <a:bodyPr lIns="27000" tIns="27000" rIns="27000" bIns="27000"/>
            <a:lstStyle/>
            <a:p>
              <a:pPr defTabSz="685800">
                <a:buClrTx/>
                <a:defRPr/>
              </a:pPr>
              <a:endParaRPr lang="en-US" sz="1050" kern="1200" dirty="0">
                <a:solidFill>
                  <a:srgbClr val="313131"/>
                </a:solidFill>
                <a:ea typeface="+mn-ea"/>
                <a:cs typeface="+mn-cs"/>
              </a:endParaRPr>
            </a:p>
          </p:txBody>
        </p:sp>
        <p:sp>
          <p:nvSpPr>
            <p:cNvPr id="21" name="Freeform 7"/>
            <p:cNvSpPr>
              <a:spLocks/>
            </p:cNvSpPr>
            <p:nvPr/>
          </p:nvSpPr>
          <p:spPr bwMode="blackWhite">
            <a:xfrm>
              <a:off x="3134390" y="3065463"/>
              <a:ext cx="1531273" cy="1709737"/>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66" h="1055">
                  <a:moveTo>
                    <a:pt x="571" y="0"/>
                  </a:moveTo>
                  <a:lnTo>
                    <a:pt x="0" y="1"/>
                  </a:lnTo>
                  <a:lnTo>
                    <a:pt x="178" y="111"/>
                  </a:lnTo>
                  <a:lnTo>
                    <a:pt x="153" y="187"/>
                  </a:lnTo>
                  <a:lnTo>
                    <a:pt x="130" y="264"/>
                  </a:lnTo>
                  <a:lnTo>
                    <a:pt x="113" y="343"/>
                  </a:lnTo>
                  <a:lnTo>
                    <a:pt x="100" y="423"/>
                  </a:lnTo>
                  <a:lnTo>
                    <a:pt x="94" y="504"/>
                  </a:lnTo>
                  <a:lnTo>
                    <a:pt x="93" y="583"/>
                  </a:lnTo>
                  <a:lnTo>
                    <a:pt x="95" y="664"/>
                  </a:lnTo>
                  <a:lnTo>
                    <a:pt x="104" y="744"/>
                  </a:lnTo>
                  <a:lnTo>
                    <a:pt x="118" y="824"/>
                  </a:lnTo>
                  <a:lnTo>
                    <a:pt x="136" y="903"/>
                  </a:lnTo>
                  <a:lnTo>
                    <a:pt x="159" y="979"/>
                  </a:lnTo>
                  <a:lnTo>
                    <a:pt x="189" y="1054"/>
                  </a:lnTo>
                  <a:lnTo>
                    <a:pt x="412" y="766"/>
                  </a:lnTo>
                  <a:lnTo>
                    <a:pt x="702" y="816"/>
                  </a:lnTo>
                  <a:lnTo>
                    <a:pt x="681" y="760"/>
                  </a:lnTo>
                  <a:lnTo>
                    <a:pt x="666" y="705"/>
                  </a:lnTo>
                  <a:lnTo>
                    <a:pt x="658" y="647"/>
                  </a:lnTo>
                  <a:lnTo>
                    <a:pt x="652" y="588"/>
                  </a:lnTo>
                  <a:lnTo>
                    <a:pt x="652" y="529"/>
                  </a:lnTo>
                  <a:lnTo>
                    <a:pt x="660" y="470"/>
                  </a:lnTo>
                  <a:lnTo>
                    <a:pt x="672" y="413"/>
                  </a:lnTo>
                  <a:lnTo>
                    <a:pt x="865" y="531"/>
                  </a:lnTo>
                  <a:lnTo>
                    <a:pt x="571" y="0"/>
                  </a:lnTo>
                </a:path>
              </a:pathLst>
            </a:custGeom>
            <a:solidFill>
              <a:srgbClr val="313131"/>
            </a:solidFill>
            <a:ln w="12700" cap="rnd">
              <a:solidFill>
                <a:schemeClr val="bg1"/>
              </a:solidFill>
              <a:round/>
              <a:headEnd/>
              <a:tailEnd/>
            </a:ln>
          </p:spPr>
          <p:txBody>
            <a:bodyPr lIns="27000" tIns="27000" rIns="27000" bIns="27000"/>
            <a:lstStyle/>
            <a:p>
              <a:pPr defTabSz="685800">
                <a:buClrTx/>
                <a:defRPr/>
              </a:pPr>
              <a:endParaRPr lang="en-US" sz="1050" kern="1200" dirty="0">
                <a:solidFill>
                  <a:srgbClr val="313131"/>
                </a:solidFill>
                <a:ea typeface="+mn-ea"/>
                <a:cs typeface="+mn-cs"/>
              </a:endParaRPr>
            </a:p>
          </p:txBody>
        </p:sp>
        <p:sp>
          <p:nvSpPr>
            <p:cNvPr id="676873" name="Rectangle 8"/>
            <p:cNvSpPr>
              <a:spLocks noChangeArrowheads="1"/>
            </p:cNvSpPr>
            <p:nvPr/>
          </p:nvSpPr>
          <p:spPr bwMode="blackWhite">
            <a:xfrm>
              <a:off x="3431020" y="2538470"/>
              <a:ext cx="348387" cy="204672"/>
            </a:xfrm>
            <a:prstGeom prst="rect">
              <a:avLst/>
            </a:prstGeom>
            <a:noFill/>
            <a:ln w="9525">
              <a:noFill/>
              <a:miter lim="800000"/>
              <a:headEnd/>
              <a:tailEnd/>
            </a:ln>
          </p:spPr>
          <p:txBody>
            <a:bodyPr wrap="none" lIns="0" tIns="0" rIns="0" bIns="0" anchor="ctr">
              <a:spAutoFit/>
            </a:bodyPr>
            <a:lstStyle/>
            <a:p>
              <a:pPr algn="ctr" defTabSz="590550">
                <a:lnSpc>
                  <a:spcPct val="95000"/>
                </a:lnSpc>
                <a:spcBef>
                  <a:spcPct val="80000"/>
                </a:spcBef>
                <a:buClr>
                  <a:prstClr val="black"/>
                </a:buClr>
              </a:pPr>
              <a:r>
                <a:rPr lang="en-US" sz="1050" kern="1200">
                  <a:solidFill>
                    <a:prstClr val="white"/>
                  </a:solidFill>
                  <a:ea typeface="+mn-ea"/>
                  <a:cs typeface="+mn-cs"/>
                </a:rPr>
                <a:t>Text</a:t>
              </a:r>
            </a:p>
          </p:txBody>
        </p:sp>
        <p:sp>
          <p:nvSpPr>
            <p:cNvPr id="676874" name="Rectangle 9"/>
            <p:cNvSpPr>
              <a:spLocks noChangeArrowheads="1"/>
            </p:cNvSpPr>
            <p:nvPr/>
          </p:nvSpPr>
          <p:spPr bwMode="blackWhite">
            <a:xfrm>
              <a:off x="5880532" y="2805170"/>
              <a:ext cx="348387" cy="204672"/>
            </a:xfrm>
            <a:prstGeom prst="rect">
              <a:avLst/>
            </a:prstGeom>
            <a:noFill/>
            <a:ln w="9525">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dirty="0">
                  <a:solidFill>
                    <a:srgbClr val="313131"/>
                  </a:solidFill>
                  <a:ea typeface="+mn-ea"/>
                  <a:cs typeface="+mn-cs"/>
                </a:rPr>
                <a:t>Text</a:t>
              </a:r>
            </a:p>
          </p:txBody>
        </p:sp>
        <p:sp>
          <p:nvSpPr>
            <p:cNvPr id="676875" name="Rectangle 10"/>
            <p:cNvSpPr>
              <a:spLocks noChangeArrowheads="1"/>
            </p:cNvSpPr>
            <p:nvPr/>
          </p:nvSpPr>
          <p:spPr bwMode="blackWhite">
            <a:xfrm>
              <a:off x="6359957" y="4146608"/>
              <a:ext cx="348387" cy="204672"/>
            </a:xfrm>
            <a:prstGeom prst="rect">
              <a:avLst/>
            </a:prstGeom>
            <a:noFill/>
            <a:ln w="9525">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dirty="0">
                  <a:solidFill>
                    <a:srgbClr val="313131"/>
                  </a:solidFill>
                  <a:ea typeface="+mn-ea"/>
                  <a:cs typeface="+mn-cs"/>
                </a:rPr>
                <a:t>Text</a:t>
              </a:r>
            </a:p>
          </p:txBody>
        </p:sp>
        <p:sp>
          <p:nvSpPr>
            <p:cNvPr id="676876" name="Rectangle 11"/>
            <p:cNvSpPr>
              <a:spLocks noChangeArrowheads="1"/>
            </p:cNvSpPr>
            <p:nvPr/>
          </p:nvSpPr>
          <p:spPr bwMode="blackWhite">
            <a:xfrm>
              <a:off x="5491594" y="5259445"/>
              <a:ext cx="348387" cy="204672"/>
            </a:xfrm>
            <a:prstGeom prst="rect">
              <a:avLst/>
            </a:prstGeom>
            <a:noFill/>
            <a:ln w="9525">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a:solidFill>
                    <a:prstClr val="white"/>
                  </a:solidFill>
                  <a:ea typeface="+mn-ea"/>
                  <a:cs typeface="+mn-cs"/>
                </a:rPr>
                <a:t>Text</a:t>
              </a:r>
            </a:p>
          </p:txBody>
        </p:sp>
        <p:sp>
          <p:nvSpPr>
            <p:cNvPr id="676877" name="Rectangle 12"/>
            <p:cNvSpPr>
              <a:spLocks noChangeArrowheads="1"/>
            </p:cNvSpPr>
            <p:nvPr/>
          </p:nvSpPr>
          <p:spPr bwMode="blackWhite">
            <a:xfrm>
              <a:off x="4156507" y="4962584"/>
              <a:ext cx="348387" cy="204672"/>
            </a:xfrm>
            <a:prstGeom prst="rect">
              <a:avLst/>
            </a:prstGeom>
            <a:noFill/>
            <a:ln w="9525">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a:solidFill>
                    <a:prstClr val="white"/>
                  </a:solidFill>
                  <a:ea typeface="+mn-ea"/>
                  <a:cs typeface="+mn-cs"/>
                </a:rPr>
                <a:t>Text</a:t>
              </a:r>
            </a:p>
          </p:txBody>
        </p:sp>
        <p:sp>
          <p:nvSpPr>
            <p:cNvPr id="676878" name="Rectangle 13"/>
            <p:cNvSpPr>
              <a:spLocks noChangeArrowheads="1"/>
            </p:cNvSpPr>
            <p:nvPr/>
          </p:nvSpPr>
          <p:spPr bwMode="blackWhite">
            <a:xfrm>
              <a:off x="3617419" y="3692583"/>
              <a:ext cx="348387" cy="204672"/>
            </a:xfrm>
            <a:prstGeom prst="rect">
              <a:avLst/>
            </a:prstGeom>
            <a:noFill/>
            <a:ln w="9525">
              <a:noFill/>
              <a:miter lim="800000"/>
              <a:headEnd/>
              <a:tailEnd/>
            </a:ln>
          </p:spPr>
          <p:txBody>
            <a:bodyPr wrap="none" lIns="0" tIns="0" rIns="0" bIns="0" anchor="ctr" anchorCtr="1">
              <a:spAutoFit/>
            </a:bodyPr>
            <a:lstStyle/>
            <a:p>
              <a:pPr algn="ctr" defTabSz="590550">
                <a:lnSpc>
                  <a:spcPct val="95000"/>
                </a:lnSpc>
                <a:spcBef>
                  <a:spcPct val="80000"/>
                </a:spcBef>
                <a:buClr>
                  <a:prstClr val="black"/>
                </a:buClr>
              </a:pPr>
              <a:r>
                <a:rPr lang="en-US" sz="1050" kern="1200" dirty="0">
                  <a:solidFill>
                    <a:prstClr val="white"/>
                  </a:solidFill>
                  <a:ea typeface="+mn-ea"/>
                  <a:cs typeface="+mn-cs"/>
                </a:rPr>
                <a:t>Text</a:t>
              </a:r>
            </a:p>
          </p:txBody>
        </p:sp>
      </p:grpSp>
      <p:sp>
        <p:nvSpPr>
          <p:cNvPr id="18" name="Text Placeholder 12"/>
          <p:cNvSpPr>
            <a:spLocks/>
          </p:cNvSpPr>
          <p:nvPr>
            <p:custDataLst>
              <p:tags r:id="rId1"/>
            </p:custDataLst>
          </p:nvPr>
        </p:nvSpPr>
        <p:spPr bwMode="auto">
          <a:xfrm>
            <a:off x="1440656" y="1131570"/>
            <a:ext cx="1070806"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262626"/>
                </a:solidFill>
                <a:ea typeface="+mn-ea"/>
                <a:cs typeface="+mn-cs"/>
              </a:rPr>
              <a:t>Graphic title goes here </a:t>
            </a:r>
          </a:p>
        </p:txBody>
      </p:sp>
    </p:spTree>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7889" name="Title 1"/>
          <p:cNvSpPr>
            <a:spLocks noGrp="1"/>
          </p:cNvSpPr>
          <p:nvPr>
            <p:ph type="title"/>
          </p:nvPr>
        </p:nvSpPr>
        <p:spPr/>
        <p:txBody>
          <a:bodyPr/>
          <a:lstStyle/>
          <a:p>
            <a:r>
              <a:rPr lang="en-US" dirty="0">
                <a:solidFill>
                  <a:srgbClr val="81BC00"/>
                </a:solidFill>
              </a:rPr>
              <a:t>Spheres</a:t>
            </a:r>
            <a:br>
              <a:rPr lang="en-US" dirty="0"/>
            </a:br>
            <a:r>
              <a:rPr lang="en-US" dirty="0">
                <a:solidFill>
                  <a:srgbClr val="575757"/>
                </a:solidFill>
              </a:rPr>
              <a:t>Interrelated</a:t>
            </a:r>
          </a:p>
        </p:txBody>
      </p:sp>
      <p:grpSp>
        <p:nvGrpSpPr>
          <p:cNvPr id="4" name="Group 3"/>
          <p:cNvGrpSpPr/>
          <p:nvPr/>
        </p:nvGrpSpPr>
        <p:grpSpPr>
          <a:xfrm>
            <a:off x="2557906" y="1268730"/>
            <a:ext cx="3953813" cy="3258488"/>
            <a:chOff x="1886542" y="1700212"/>
            <a:chExt cx="5271750" cy="4344650"/>
          </a:xfrm>
        </p:grpSpPr>
        <p:sp>
          <p:nvSpPr>
            <p:cNvPr id="11" name="Oval 3"/>
            <p:cNvSpPr>
              <a:spLocks noChangeArrowheads="1"/>
            </p:cNvSpPr>
            <p:nvPr/>
          </p:nvSpPr>
          <p:spPr bwMode="auto">
            <a:xfrm>
              <a:off x="1886542" y="1700212"/>
              <a:ext cx="2700000" cy="2700000"/>
            </a:xfrm>
            <a:prstGeom prst="ellipse">
              <a:avLst/>
            </a:prstGeom>
            <a:solidFill>
              <a:srgbClr val="00A1DE"/>
            </a:solidFill>
            <a:ln w="12700" algn="ctr">
              <a:solidFill>
                <a:schemeClr val="bg1"/>
              </a:solidFill>
              <a:round/>
              <a:headEnd/>
              <a:tailEnd/>
            </a:ln>
          </p:spPr>
          <p:txBody>
            <a:bodyPr lIns="27000" tIns="27000" rIns="27000" bIns="27000" anchor="ctr"/>
            <a:lstStyle/>
            <a:p>
              <a:pPr algn="ctr" defTabSz="685800">
                <a:spcBef>
                  <a:spcPct val="0"/>
                </a:spcBef>
                <a:buClr>
                  <a:prstClr val="white"/>
                </a:buClr>
                <a:buSzPct val="100000"/>
                <a:buFontTx/>
                <a:buChar char=" "/>
              </a:pPr>
              <a:r>
                <a:rPr lang="en-US" altLang="ja-JP" sz="1050" kern="1200" dirty="0">
                  <a:solidFill>
                    <a:prstClr val="white"/>
                  </a:solidFill>
                  <a:ea typeface="ＭＳ Ｐゴシック" pitchFamily="50" charset="-128"/>
                  <a:cs typeface="+mn-cs"/>
                </a:rPr>
                <a:t>Text</a:t>
              </a:r>
            </a:p>
          </p:txBody>
        </p:sp>
        <p:sp>
          <p:nvSpPr>
            <p:cNvPr id="12" name="Oval 4"/>
            <p:cNvSpPr>
              <a:spLocks noChangeArrowheads="1"/>
            </p:cNvSpPr>
            <p:nvPr/>
          </p:nvSpPr>
          <p:spPr bwMode="auto">
            <a:xfrm>
              <a:off x="4458292" y="1700212"/>
              <a:ext cx="2700000" cy="2700000"/>
            </a:xfrm>
            <a:prstGeom prst="ellipse">
              <a:avLst/>
            </a:prstGeom>
            <a:solidFill>
              <a:srgbClr val="575757"/>
            </a:solidFill>
            <a:ln w="12700" algn="ctr">
              <a:solidFill>
                <a:schemeClr val="bg1"/>
              </a:solidFill>
              <a:round/>
              <a:headEnd/>
              <a:tailEnd/>
            </a:ln>
          </p:spPr>
          <p:txBody>
            <a:bodyPr lIns="27000" tIns="27000" rIns="27000" bIns="27000" anchor="ctr"/>
            <a:lstStyle/>
            <a:p>
              <a:pPr algn="ctr" defTabSz="685800">
                <a:spcBef>
                  <a:spcPct val="0"/>
                </a:spcBef>
                <a:buClr>
                  <a:prstClr val="white"/>
                </a:buClr>
                <a:buSzPct val="100000"/>
                <a:buFontTx/>
                <a:buChar char=" "/>
                <a:defRPr/>
              </a:pPr>
              <a:r>
                <a:rPr lang="en-US" altLang="ja-JP" sz="1050" kern="1200">
                  <a:solidFill>
                    <a:prstClr val="white"/>
                  </a:solidFill>
                  <a:ea typeface="ＭＳ Ｐゴシック" pitchFamily="50" charset="-128"/>
                  <a:cs typeface="+mn-cs"/>
                </a:rPr>
                <a:t>Text</a:t>
              </a:r>
            </a:p>
          </p:txBody>
        </p:sp>
        <p:sp>
          <p:nvSpPr>
            <p:cNvPr id="13" name="Oval 5"/>
            <p:cNvSpPr>
              <a:spLocks noChangeArrowheads="1"/>
            </p:cNvSpPr>
            <p:nvPr/>
          </p:nvSpPr>
          <p:spPr bwMode="auto">
            <a:xfrm>
              <a:off x="3170830" y="3344862"/>
              <a:ext cx="2700000" cy="2700000"/>
            </a:xfrm>
            <a:prstGeom prst="ellipse">
              <a:avLst/>
            </a:prstGeom>
            <a:solidFill>
              <a:srgbClr val="B4B4B4"/>
            </a:solidFill>
            <a:ln w="12700" algn="ctr">
              <a:solidFill>
                <a:schemeClr val="bg1"/>
              </a:solidFill>
              <a:round/>
              <a:headEnd/>
              <a:tailEnd/>
            </a:ln>
          </p:spPr>
          <p:txBody>
            <a:bodyPr lIns="27000" tIns="27000" rIns="27000" bIns="27000" anchor="ctr"/>
            <a:lstStyle/>
            <a:p>
              <a:pPr algn="ctr" defTabSz="685800">
                <a:spcBef>
                  <a:spcPct val="0"/>
                </a:spcBef>
                <a:buClr>
                  <a:prstClr val="white"/>
                </a:buClr>
                <a:buSzPct val="100000"/>
                <a:buFontTx/>
                <a:buChar char=" "/>
                <a:defRPr/>
              </a:pPr>
              <a:r>
                <a:rPr lang="en-US" altLang="ja-JP" sz="1050" kern="1200" dirty="0">
                  <a:solidFill>
                    <a:srgbClr val="313131"/>
                  </a:solidFill>
                  <a:ea typeface="ＭＳ Ｐゴシック" pitchFamily="50" charset="-128"/>
                  <a:cs typeface="+mn-cs"/>
                </a:rPr>
                <a:t>Text</a:t>
              </a:r>
            </a:p>
          </p:txBody>
        </p:sp>
      </p:grpSp>
      <p:sp>
        <p:nvSpPr>
          <p:cNvPr id="14" name="Rectangle 13"/>
          <p:cNvSpPr>
            <a:spLocks noChangeArrowheads="1"/>
          </p:cNvSpPr>
          <p:nvPr/>
        </p:nvSpPr>
        <p:spPr bwMode="auto">
          <a:xfrm>
            <a:off x="5803107" y="0"/>
            <a:ext cx="2197894" cy="369332"/>
          </a:xfrm>
          <a:prstGeom prst="rect">
            <a:avLst/>
          </a:prstGeom>
          <a:solidFill>
            <a:schemeClr val="accent6"/>
          </a:solidFill>
          <a:ln w="6350" algn="ctr">
            <a:solidFill>
              <a:schemeClr val="bg1"/>
            </a:solidFill>
            <a:miter lim="800000"/>
            <a:headEnd/>
            <a:tailEnd/>
          </a:ln>
        </p:spPr>
        <p:txBody>
          <a:bodyPr tIns="68580" bIns="68580">
            <a:spAutoFit/>
          </a:bodyPr>
          <a:lstStyle/>
          <a:p>
            <a:pPr defTabSz="685800">
              <a:buClrTx/>
              <a:defRPr/>
            </a:pPr>
            <a:r>
              <a:rPr lang="en-US" sz="750" kern="1200" dirty="0">
                <a:solidFill>
                  <a:srgbClr val="313131"/>
                </a:solidFill>
                <a:ea typeface="ＭＳ Ｐゴシック" pitchFamily="50" charset="-128"/>
                <a:cs typeface="+mn-cs"/>
              </a:rPr>
              <a:t>Tip! Hold the Shift key when resizing the pieces or group to retain the shape proportions</a:t>
            </a:r>
          </a:p>
        </p:txBody>
      </p:sp>
      <p:sp>
        <p:nvSpPr>
          <p:cNvPr id="10" name="Text Placeholder 12"/>
          <p:cNvSpPr>
            <a:spLocks/>
          </p:cNvSpPr>
          <p:nvPr>
            <p:custDataLst>
              <p:tags r:id="rId1"/>
            </p:custDataLst>
          </p:nvPr>
        </p:nvSpPr>
        <p:spPr bwMode="auto">
          <a:xfrm>
            <a:off x="1440656" y="1131570"/>
            <a:ext cx="1070806"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262626"/>
                </a:solidFill>
                <a:ea typeface="+mn-ea"/>
                <a:cs typeface="+mn-cs"/>
              </a:rPr>
              <a:t>Graphic title goes here </a:t>
            </a:r>
          </a:p>
        </p:txBody>
      </p:sp>
    </p:spTree>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2776"/>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44362EF-4B96-0F0E-AD96-91FA9754877F}"/>
              </a:ext>
            </a:extLst>
          </p:cNvPr>
          <p:cNvSpPr txBox="1">
            <a:spLocks/>
          </p:cNvSpPr>
          <p:nvPr/>
        </p:nvSpPr>
        <p:spPr>
          <a:xfrm>
            <a:off x="443204" y="1831403"/>
            <a:ext cx="6581710" cy="462218"/>
          </a:xfrm>
          <a:prstGeom prst="rect">
            <a:avLst/>
          </a:prstGeom>
          <a:noFill/>
          <a:ln>
            <a:noFill/>
          </a:ln>
        </p:spPr>
        <p:txBody>
          <a:bodyPr spcFirstLastPara="1" vert="horz" wrap="square" lIns="0" tIns="0" rIns="0" bIns="0" rtlCol="0" anchor="t" anchorCtr="0">
            <a:normAutofit fontScale="97500"/>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dirty="0">
                <a:solidFill>
                  <a:schemeClr val="bg1"/>
                </a:solidFill>
                <a:latin typeface="Arial Black" panose="020B0A04020102020204" pitchFamily="34" charset="0"/>
              </a:rPr>
              <a:t>Templates</a:t>
            </a:r>
          </a:p>
        </p:txBody>
      </p:sp>
      <p:sp>
        <p:nvSpPr>
          <p:cNvPr id="3" name="TextBox 2">
            <a:extLst>
              <a:ext uri="{FF2B5EF4-FFF2-40B4-BE49-F238E27FC236}">
                <a16:creationId xmlns:a16="http://schemas.microsoft.com/office/drawing/2014/main" id="{688C5CEE-3A91-0C6C-1C7C-2A4B520CDD54}"/>
              </a:ext>
            </a:extLst>
          </p:cNvPr>
          <p:cNvSpPr txBox="1"/>
          <p:nvPr/>
        </p:nvSpPr>
        <p:spPr>
          <a:xfrm>
            <a:off x="396240" y="2553980"/>
            <a:ext cx="4572000" cy="523220"/>
          </a:xfrm>
          <a:prstGeom prst="rect">
            <a:avLst/>
          </a:prstGeom>
          <a:solidFill>
            <a:schemeClr val="accent6">
              <a:lumMod val="60000"/>
              <a:lumOff val="40000"/>
            </a:schemeClr>
          </a:solidFill>
        </p:spPr>
        <p:txBody>
          <a:bodyPr wrap="square">
            <a:spAutoFit/>
          </a:bodyPr>
          <a:lstStyle/>
          <a:p>
            <a:r>
              <a:rPr lang="en-US" dirty="0">
                <a:solidFill>
                  <a:schemeClr val="tx1"/>
                </a:solidFill>
                <a:latin typeface="Arial Black" panose="020B0A04020102020204" pitchFamily="34" charset="0"/>
              </a:rPr>
              <a:t>Delete all template slides before presenting/submission</a:t>
            </a:r>
          </a:p>
        </p:txBody>
      </p:sp>
    </p:spTree>
    <p:extLst>
      <p:ext uri="{BB962C8B-B14F-4D97-AF65-F5344CB8AC3E}">
        <p14:creationId xmlns:p14="http://schemas.microsoft.com/office/powerpoint/2010/main" val="2082267048"/>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8913" name="Title 1"/>
          <p:cNvSpPr>
            <a:spLocks noGrp="1"/>
          </p:cNvSpPr>
          <p:nvPr>
            <p:ph type="title"/>
          </p:nvPr>
        </p:nvSpPr>
        <p:spPr/>
        <p:txBody>
          <a:bodyPr/>
          <a:lstStyle/>
          <a:p>
            <a:r>
              <a:rPr lang="en-US" dirty="0">
                <a:solidFill>
                  <a:srgbClr val="81BC00"/>
                </a:solidFill>
              </a:rPr>
              <a:t>Spheres</a:t>
            </a:r>
            <a:r>
              <a:rPr lang="en-US" dirty="0"/>
              <a:t> </a:t>
            </a:r>
            <a:br>
              <a:rPr lang="en-US" dirty="0"/>
            </a:br>
            <a:r>
              <a:rPr lang="en-US" dirty="0">
                <a:solidFill>
                  <a:srgbClr val="575757"/>
                </a:solidFill>
              </a:rPr>
              <a:t>Overlapping</a:t>
            </a:r>
          </a:p>
        </p:txBody>
      </p:sp>
      <p:grpSp>
        <p:nvGrpSpPr>
          <p:cNvPr id="678915" name="Group 48"/>
          <p:cNvGrpSpPr>
            <a:grpSpLocks/>
          </p:cNvGrpSpPr>
          <p:nvPr/>
        </p:nvGrpSpPr>
        <p:grpSpPr bwMode="auto">
          <a:xfrm>
            <a:off x="3632002" y="1019398"/>
            <a:ext cx="1887019" cy="1941204"/>
            <a:chOff x="4291" y="1977"/>
            <a:chExt cx="1075" cy="1024"/>
          </a:xfrm>
        </p:grpSpPr>
        <p:sp>
          <p:nvSpPr>
            <p:cNvPr id="51" name="Oval 49"/>
            <p:cNvSpPr>
              <a:spLocks noChangeArrowheads="1"/>
            </p:cNvSpPr>
            <p:nvPr/>
          </p:nvSpPr>
          <p:spPr bwMode="auto">
            <a:xfrm>
              <a:off x="4474" y="1977"/>
              <a:ext cx="708" cy="655"/>
            </a:xfrm>
            <a:prstGeom prst="ellipse">
              <a:avLst/>
            </a:prstGeom>
            <a:solidFill>
              <a:srgbClr val="B4B4B4"/>
            </a:solidFill>
            <a:ln w="12700">
              <a:noFill/>
              <a:round/>
              <a:headEnd/>
              <a:tailEnd/>
            </a:ln>
          </p:spPr>
          <p:txBody>
            <a:bodyPr wrap="none" lIns="27000" tIns="27000" rIns="27000" bIns="27000" anchor="ctr"/>
            <a:lstStyle/>
            <a:p>
              <a:pPr algn="ctr" defTabSz="685800">
                <a:buClrTx/>
                <a:defRPr/>
              </a:pPr>
              <a:endParaRPr lang="en-US" sz="1350" kern="1200" dirty="0">
                <a:solidFill>
                  <a:prstClr val="black"/>
                </a:solidFill>
                <a:ea typeface="+mn-ea"/>
                <a:cs typeface="+mn-cs"/>
              </a:endParaRPr>
            </a:p>
          </p:txBody>
        </p:sp>
        <p:sp>
          <p:nvSpPr>
            <p:cNvPr id="52" name="Oval 50"/>
            <p:cNvSpPr>
              <a:spLocks noChangeArrowheads="1"/>
            </p:cNvSpPr>
            <p:nvPr/>
          </p:nvSpPr>
          <p:spPr bwMode="auto">
            <a:xfrm>
              <a:off x="4291" y="2342"/>
              <a:ext cx="708" cy="655"/>
            </a:xfrm>
            <a:prstGeom prst="ellipse">
              <a:avLst/>
            </a:prstGeom>
            <a:solidFill>
              <a:srgbClr val="B4B4B4"/>
            </a:solidFill>
            <a:ln w="12700">
              <a:solidFill>
                <a:schemeClr val="bg1"/>
              </a:solidFill>
              <a:round/>
              <a:headEnd/>
              <a:tailEnd/>
            </a:ln>
          </p:spPr>
          <p:txBody>
            <a:bodyPr wrap="none" lIns="27000" tIns="27000" rIns="27000" bIns="27000" anchor="ctr"/>
            <a:lstStyle/>
            <a:p>
              <a:pPr algn="ctr" defTabSz="685800">
                <a:buClrTx/>
                <a:defRPr/>
              </a:pPr>
              <a:endParaRPr lang="en-US" sz="1350" kern="1200" dirty="0">
                <a:solidFill>
                  <a:prstClr val="black"/>
                </a:solidFill>
                <a:ea typeface="+mn-ea"/>
                <a:cs typeface="+mn-cs"/>
              </a:endParaRPr>
            </a:p>
          </p:txBody>
        </p:sp>
        <p:sp>
          <p:nvSpPr>
            <p:cNvPr id="53" name="Oval 51"/>
            <p:cNvSpPr>
              <a:spLocks noChangeArrowheads="1"/>
            </p:cNvSpPr>
            <p:nvPr/>
          </p:nvSpPr>
          <p:spPr bwMode="auto">
            <a:xfrm>
              <a:off x="4658" y="2346"/>
              <a:ext cx="708" cy="655"/>
            </a:xfrm>
            <a:prstGeom prst="ellipse">
              <a:avLst/>
            </a:prstGeom>
            <a:solidFill>
              <a:srgbClr val="B4B4B4"/>
            </a:solidFill>
            <a:ln w="12700">
              <a:solidFill>
                <a:schemeClr val="bg1"/>
              </a:solidFill>
              <a:round/>
              <a:headEnd/>
              <a:tailEnd/>
            </a:ln>
          </p:spPr>
          <p:txBody>
            <a:bodyPr wrap="none" lIns="27000" tIns="27000" rIns="27000" bIns="27000" anchor="ctr"/>
            <a:lstStyle/>
            <a:p>
              <a:pPr algn="ctr" defTabSz="685800">
                <a:buClrTx/>
                <a:defRPr/>
              </a:pPr>
              <a:endParaRPr lang="en-US" sz="1350" kern="1200" dirty="0">
                <a:solidFill>
                  <a:prstClr val="black"/>
                </a:solidFill>
                <a:ea typeface="+mn-ea"/>
                <a:cs typeface="+mn-cs"/>
              </a:endParaRPr>
            </a:p>
          </p:txBody>
        </p:sp>
        <p:sp>
          <p:nvSpPr>
            <p:cNvPr id="678941" name="Freeform 52"/>
            <p:cNvSpPr>
              <a:spLocks/>
            </p:cNvSpPr>
            <p:nvPr/>
          </p:nvSpPr>
          <p:spPr bwMode="auto">
            <a:xfrm>
              <a:off x="4662" y="2387"/>
              <a:ext cx="336" cy="256"/>
            </a:xfrm>
            <a:custGeom>
              <a:avLst/>
              <a:gdLst>
                <a:gd name="T0" fmla="*/ 234 w 310"/>
                <a:gd name="T1" fmla="*/ 0 h 256"/>
                <a:gd name="T2" fmla="*/ 221 w 310"/>
                <a:gd name="T3" fmla="*/ 6 h 256"/>
                <a:gd name="T4" fmla="*/ 208 w 310"/>
                <a:gd name="T5" fmla="*/ 12 h 256"/>
                <a:gd name="T6" fmla="*/ 192 w 310"/>
                <a:gd name="T7" fmla="*/ 20 h 256"/>
                <a:gd name="T8" fmla="*/ 178 w 310"/>
                <a:gd name="T9" fmla="*/ 27 h 256"/>
                <a:gd name="T10" fmla="*/ 164 w 310"/>
                <a:gd name="T11" fmla="*/ 35 h 256"/>
                <a:gd name="T12" fmla="*/ 153 w 310"/>
                <a:gd name="T13" fmla="*/ 43 h 256"/>
                <a:gd name="T14" fmla="*/ 138 w 310"/>
                <a:gd name="T15" fmla="*/ 51 h 256"/>
                <a:gd name="T16" fmla="*/ 126 w 310"/>
                <a:gd name="T17" fmla="*/ 59 h 256"/>
                <a:gd name="T18" fmla="*/ 109 w 310"/>
                <a:gd name="T19" fmla="*/ 71 h 256"/>
                <a:gd name="T20" fmla="*/ 96 w 310"/>
                <a:gd name="T21" fmla="*/ 81 h 256"/>
                <a:gd name="T22" fmla="*/ 86 w 310"/>
                <a:gd name="T23" fmla="*/ 91 h 256"/>
                <a:gd name="T24" fmla="*/ 72 w 310"/>
                <a:gd name="T25" fmla="*/ 104 h 256"/>
                <a:gd name="T26" fmla="*/ 60 w 310"/>
                <a:gd name="T27" fmla="*/ 115 h 256"/>
                <a:gd name="T28" fmla="*/ 51 w 310"/>
                <a:gd name="T29" fmla="*/ 126 h 256"/>
                <a:gd name="T30" fmla="*/ 40 w 310"/>
                <a:gd name="T31" fmla="*/ 138 h 256"/>
                <a:gd name="T32" fmla="*/ 31 w 310"/>
                <a:gd name="T33" fmla="*/ 150 h 256"/>
                <a:gd name="T34" fmla="*/ 20 w 310"/>
                <a:gd name="T35" fmla="*/ 165 h 256"/>
                <a:gd name="T36" fmla="*/ 14 w 310"/>
                <a:gd name="T37" fmla="*/ 180 h 256"/>
                <a:gd name="T38" fmla="*/ 5 w 310"/>
                <a:gd name="T39" fmla="*/ 194 h 256"/>
                <a:gd name="T40" fmla="*/ 3 w 310"/>
                <a:gd name="T41" fmla="*/ 206 h 256"/>
                <a:gd name="T42" fmla="*/ 0 w 310"/>
                <a:gd name="T43" fmla="*/ 215 h 256"/>
                <a:gd name="T44" fmla="*/ 16 w 310"/>
                <a:gd name="T45" fmla="*/ 223 h 256"/>
                <a:gd name="T46" fmla="*/ 36 w 310"/>
                <a:gd name="T47" fmla="*/ 228 h 256"/>
                <a:gd name="T48" fmla="*/ 60 w 310"/>
                <a:gd name="T49" fmla="*/ 234 h 256"/>
                <a:gd name="T50" fmla="*/ 85 w 310"/>
                <a:gd name="T51" fmla="*/ 239 h 256"/>
                <a:gd name="T52" fmla="*/ 113 w 310"/>
                <a:gd name="T53" fmla="*/ 245 h 256"/>
                <a:gd name="T54" fmla="*/ 141 w 310"/>
                <a:gd name="T55" fmla="*/ 249 h 256"/>
                <a:gd name="T56" fmla="*/ 164 w 310"/>
                <a:gd name="T57" fmla="*/ 251 h 256"/>
                <a:gd name="T58" fmla="*/ 185 w 310"/>
                <a:gd name="T59" fmla="*/ 254 h 256"/>
                <a:gd name="T60" fmla="*/ 210 w 310"/>
                <a:gd name="T61" fmla="*/ 254 h 256"/>
                <a:gd name="T62" fmla="*/ 230 w 310"/>
                <a:gd name="T63" fmla="*/ 255 h 256"/>
                <a:gd name="T64" fmla="*/ 257 w 310"/>
                <a:gd name="T65" fmla="*/ 254 h 256"/>
                <a:gd name="T66" fmla="*/ 284 w 310"/>
                <a:gd name="T67" fmla="*/ 252 h 256"/>
                <a:gd name="T68" fmla="*/ 316 w 310"/>
                <a:gd name="T69" fmla="*/ 249 h 256"/>
                <a:gd name="T70" fmla="*/ 340 w 310"/>
                <a:gd name="T71" fmla="*/ 246 h 256"/>
                <a:gd name="T72" fmla="*/ 362 w 310"/>
                <a:gd name="T73" fmla="*/ 243 h 256"/>
                <a:gd name="T74" fmla="*/ 386 w 310"/>
                <a:gd name="T75" fmla="*/ 238 h 256"/>
                <a:gd name="T76" fmla="*/ 403 w 310"/>
                <a:gd name="T77" fmla="*/ 233 h 256"/>
                <a:gd name="T78" fmla="*/ 418 w 310"/>
                <a:gd name="T79" fmla="*/ 229 h 256"/>
                <a:gd name="T80" fmla="*/ 435 w 310"/>
                <a:gd name="T81" fmla="*/ 225 h 256"/>
                <a:gd name="T82" fmla="*/ 453 w 310"/>
                <a:gd name="T83" fmla="*/ 218 h 256"/>
                <a:gd name="T84" fmla="*/ 462 w 310"/>
                <a:gd name="T85" fmla="*/ 215 h 256"/>
                <a:gd name="T86" fmla="*/ 460 w 310"/>
                <a:gd name="T87" fmla="*/ 202 h 256"/>
                <a:gd name="T88" fmla="*/ 453 w 310"/>
                <a:gd name="T89" fmla="*/ 190 h 256"/>
                <a:gd name="T90" fmla="*/ 449 w 310"/>
                <a:gd name="T91" fmla="*/ 178 h 256"/>
                <a:gd name="T92" fmla="*/ 439 w 310"/>
                <a:gd name="T93" fmla="*/ 161 h 256"/>
                <a:gd name="T94" fmla="*/ 426 w 310"/>
                <a:gd name="T95" fmla="*/ 143 h 256"/>
                <a:gd name="T96" fmla="*/ 410 w 310"/>
                <a:gd name="T97" fmla="*/ 125 h 256"/>
                <a:gd name="T98" fmla="*/ 398 w 310"/>
                <a:gd name="T99" fmla="*/ 112 h 256"/>
                <a:gd name="T100" fmla="*/ 386 w 310"/>
                <a:gd name="T101" fmla="*/ 97 h 256"/>
                <a:gd name="T102" fmla="*/ 375 w 310"/>
                <a:gd name="T103" fmla="*/ 86 h 256"/>
                <a:gd name="T104" fmla="*/ 359 w 310"/>
                <a:gd name="T105" fmla="*/ 72 h 256"/>
                <a:gd name="T106" fmla="*/ 345 w 310"/>
                <a:gd name="T107" fmla="*/ 61 h 256"/>
                <a:gd name="T108" fmla="*/ 328 w 310"/>
                <a:gd name="T109" fmla="*/ 51 h 256"/>
                <a:gd name="T110" fmla="*/ 309 w 310"/>
                <a:gd name="T111" fmla="*/ 39 h 256"/>
                <a:gd name="T112" fmla="*/ 295 w 310"/>
                <a:gd name="T113" fmla="*/ 30 h 256"/>
                <a:gd name="T114" fmla="*/ 279 w 310"/>
                <a:gd name="T115" fmla="*/ 21 h 256"/>
                <a:gd name="T116" fmla="*/ 256 w 310"/>
                <a:gd name="T117" fmla="*/ 10 h 256"/>
                <a:gd name="T118" fmla="*/ 234 w 310"/>
                <a:gd name="T119" fmla="*/ 0 h 2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10"/>
                <a:gd name="T181" fmla="*/ 0 h 256"/>
                <a:gd name="T182" fmla="*/ 310 w 310"/>
                <a:gd name="T183" fmla="*/ 256 h 2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10" h="256">
                  <a:moveTo>
                    <a:pt x="157" y="0"/>
                  </a:moveTo>
                  <a:lnTo>
                    <a:pt x="148" y="6"/>
                  </a:lnTo>
                  <a:lnTo>
                    <a:pt x="138" y="12"/>
                  </a:lnTo>
                  <a:lnTo>
                    <a:pt x="127" y="20"/>
                  </a:lnTo>
                  <a:lnTo>
                    <a:pt x="118" y="27"/>
                  </a:lnTo>
                  <a:lnTo>
                    <a:pt x="109" y="35"/>
                  </a:lnTo>
                  <a:lnTo>
                    <a:pt x="102" y="43"/>
                  </a:lnTo>
                  <a:lnTo>
                    <a:pt x="92" y="51"/>
                  </a:lnTo>
                  <a:lnTo>
                    <a:pt x="84" y="59"/>
                  </a:lnTo>
                  <a:lnTo>
                    <a:pt x="73" y="71"/>
                  </a:lnTo>
                  <a:lnTo>
                    <a:pt x="65" y="81"/>
                  </a:lnTo>
                  <a:lnTo>
                    <a:pt x="57" y="91"/>
                  </a:lnTo>
                  <a:lnTo>
                    <a:pt x="48" y="104"/>
                  </a:lnTo>
                  <a:lnTo>
                    <a:pt x="40" y="115"/>
                  </a:lnTo>
                  <a:lnTo>
                    <a:pt x="34" y="126"/>
                  </a:lnTo>
                  <a:lnTo>
                    <a:pt x="27" y="138"/>
                  </a:lnTo>
                  <a:lnTo>
                    <a:pt x="21" y="150"/>
                  </a:lnTo>
                  <a:lnTo>
                    <a:pt x="14" y="165"/>
                  </a:lnTo>
                  <a:lnTo>
                    <a:pt x="9" y="180"/>
                  </a:lnTo>
                  <a:lnTo>
                    <a:pt x="5" y="194"/>
                  </a:lnTo>
                  <a:lnTo>
                    <a:pt x="3" y="206"/>
                  </a:lnTo>
                  <a:lnTo>
                    <a:pt x="0" y="215"/>
                  </a:lnTo>
                  <a:lnTo>
                    <a:pt x="11" y="223"/>
                  </a:lnTo>
                  <a:lnTo>
                    <a:pt x="24" y="228"/>
                  </a:lnTo>
                  <a:lnTo>
                    <a:pt x="40" y="234"/>
                  </a:lnTo>
                  <a:lnTo>
                    <a:pt x="56" y="239"/>
                  </a:lnTo>
                  <a:lnTo>
                    <a:pt x="76" y="245"/>
                  </a:lnTo>
                  <a:lnTo>
                    <a:pt x="94" y="249"/>
                  </a:lnTo>
                  <a:lnTo>
                    <a:pt x="109" y="251"/>
                  </a:lnTo>
                  <a:lnTo>
                    <a:pt x="125" y="254"/>
                  </a:lnTo>
                  <a:lnTo>
                    <a:pt x="140" y="254"/>
                  </a:lnTo>
                  <a:lnTo>
                    <a:pt x="154" y="255"/>
                  </a:lnTo>
                  <a:lnTo>
                    <a:pt x="172" y="254"/>
                  </a:lnTo>
                  <a:lnTo>
                    <a:pt x="190" y="252"/>
                  </a:lnTo>
                  <a:lnTo>
                    <a:pt x="211" y="249"/>
                  </a:lnTo>
                  <a:lnTo>
                    <a:pt x="228" y="246"/>
                  </a:lnTo>
                  <a:lnTo>
                    <a:pt x="242" y="243"/>
                  </a:lnTo>
                  <a:lnTo>
                    <a:pt x="258" y="238"/>
                  </a:lnTo>
                  <a:lnTo>
                    <a:pt x="269" y="233"/>
                  </a:lnTo>
                  <a:lnTo>
                    <a:pt x="280" y="229"/>
                  </a:lnTo>
                  <a:lnTo>
                    <a:pt x="291" y="225"/>
                  </a:lnTo>
                  <a:lnTo>
                    <a:pt x="303" y="218"/>
                  </a:lnTo>
                  <a:lnTo>
                    <a:pt x="309" y="215"/>
                  </a:lnTo>
                  <a:lnTo>
                    <a:pt x="307" y="202"/>
                  </a:lnTo>
                  <a:lnTo>
                    <a:pt x="303" y="190"/>
                  </a:lnTo>
                  <a:lnTo>
                    <a:pt x="300" y="178"/>
                  </a:lnTo>
                  <a:lnTo>
                    <a:pt x="293" y="161"/>
                  </a:lnTo>
                  <a:lnTo>
                    <a:pt x="285" y="143"/>
                  </a:lnTo>
                  <a:lnTo>
                    <a:pt x="274" y="125"/>
                  </a:lnTo>
                  <a:lnTo>
                    <a:pt x="267" y="112"/>
                  </a:lnTo>
                  <a:lnTo>
                    <a:pt x="258" y="97"/>
                  </a:lnTo>
                  <a:lnTo>
                    <a:pt x="250" y="86"/>
                  </a:lnTo>
                  <a:lnTo>
                    <a:pt x="239" y="72"/>
                  </a:lnTo>
                  <a:lnTo>
                    <a:pt x="230" y="61"/>
                  </a:lnTo>
                  <a:lnTo>
                    <a:pt x="220" y="51"/>
                  </a:lnTo>
                  <a:lnTo>
                    <a:pt x="207" y="39"/>
                  </a:lnTo>
                  <a:lnTo>
                    <a:pt x="197" y="30"/>
                  </a:lnTo>
                  <a:lnTo>
                    <a:pt x="186" y="21"/>
                  </a:lnTo>
                  <a:lnTo>
                    <a:pt x="171" y="10"/>
                  </a:lnTo>
                  <a:lnTo>
                    <a:pt x="157" y="0"/>
                  </a:lnTo>
                </a:path>
              </a:pathLst>
            </a:custGeom>
            <a:solidFill>
              <a:schemeClr val="bg1"/>
            </a:solidFill>
            <a:ln w="12700" cap="rnd">
              <a:solidFill>
                <a:schemeClr val="bg1"/>
              </a:solidFill>
              <a:round/>
              <a:headEnd/>
              <a:tailEnd/>
            </a:ln>
          </p:spPr>
          <p:txBody>
            <a:bodyPr lIns="27000" tIns="27000" rIns="27000" bIns="27000"/>
            <a:lstStyle/>
            <a:p>
              <a:pPr defTabSz="685800">
                <a:buClrTx/>
              </a:pPr>
              <a:endParaRPr lang="en-US" sz="1350" kern="1200">
                <a:solidFill>
                  <a:prstClr val="black"/>
                </a:solidFill>
                <a:ea typeface="+mn-ea"/>
                <a:cs typeface="+mn-cs"/>
              </a:endParaRPr>
            </a:p>
          </p:txBody>
        </p:sp>
        <p:sp>
          <p:nvSpPr>
            <p:cNvPr id="678942" name="Freeform 53"/>
            <p:cNvSpPr>
              <a:spLocks/>
            </p:cNvSpPr>
            <p:nvPr/>
          </p:nvSpPr>
          <p:spPr bwMode="auto">
            <a:xfrm>
              <a:off x="4478" y="2339"/>
              <a:ext cx="357" cy="264"/>
            </a:xfrm>
            <a:custGeom>
              <a:avLst/>
              <a:gdLst>
                <a:gd name="T0" fmla="*/ 13 w 329"/>
                <a:gd name="T1" fmla="*/ 34 h 264"/>
                <a:gd name="T2" fmla="*/ 52 w 329"/>
                <a:gd name="T3" fmla="*/ 22 h 264"/>
                <a:gd name="T4" fmla="*/ 87 w 329"/>
                <a:gd name="T5" fmla="*/ 14 h 264"/>
                <a:gd name="T6" fmla="*/ 130 w 329"/>
                <a:gd name="T7" fmla="*/ 6 h 264"/>
                <a:gd name="T8" fmla="*/ 171 w 329"/>
                <a:gd name="T9" fmla="*/ 2 h 264"/>
                <a:gd name="T10" fmla="*/ 211 w 329"/>
                <a:gd name="T11" fmla="*/ 0 h 264"/>
                <a:gd name="T12" fmla="*/ 252 w 329"/>
                <a:gd name="T13" fmla="*/ 0 h 264"/>
                <a:gd name="T14" fmla="*/ 301 w 329"/>
                <a:gd name="T15" fmla="*/ 3 h 264"/>
                <a:gd name="T16" fmla="*/ 340 w 329"/>
                <a:gd name="T17" fmla="*/ 7 h 264"/>
                <a:gd name="T18" fmla="*/ 378 w 329"/>
                <a:gd name="T19" fmla="*/ 14 h 264"/>
                <a:gd name="T20" fmla="*/ 419 w 329"/>
                <a:gd name="T21" fmla="*/ 24 h 264"/>
                <a:gd name="T22" fmla="*/ 459 w 329"/>
                <a:gd name="T23" fmla="*/ 36 h 264"/>
                <a:gd name="T24" fmla="*/ 494 w 329"/>
                <a:gd name="T25" fmla="*/ 47 h 264"/>
                <a:gd name="T26" fmla="*/ 467 w 329"/>
                <a:gd name="T27" fmla="*/ 58 h 264"/>
                <a:gd name="T28" fmla="*/ 441 w 329"/>
                <a:gd name="T29" fmla="*/ 70 h 264"/>
                <a:gd name="T30" fmla="*/ 419 w 329"/>
                <a:gd name="T31" fmla="*/ 83 h 264"/>
                <a:gd name="T32" fmla="*/ 395 w 329"/>
                <a:gd name="T33" fmla="*/ 98 h 264"/>
                <a:gd name="T34" fmla="*/ 371 w 329"/>
                <a:gd name="T35" fmla="*/ 116 h 264"/>
                <a:gd name="T36" fmla="*/ 352 w 329"/>
                <a:gd name="T37" fmla="*/ 129 h 264"/>
                <a:gd name="T38" fmla="*/ 330 w 329"/>
                <a:gd name="T39" fmla="*/ 149 h 264"/>
                <a:gd name="T40" fmla="*/ 305 w 329"/>
                <a:gd name="T41" fmla="*/ 174 h 264"/>
                <a:gd name="T42" fmla="*/ 288 w 329"/>
                <a:gd name="T43" fmla="*/ 195 h 264"/>
                <a:gd name="T44" fmla="*/ 271 w 329"/>
                <a:gd name="T45" fmla="*/ 225 h 264"/>
                <a:gd name="T46" fmla="*/ 262 w 329"/>
                <a:gd name="T47" fmla="*/ 245 h 264"/>
                <a:gd name="T48" fmla="*/ 255 w 329"/>
                <a:gd name="T49" fmla="*/ 263 h 264"/>
                <a:gd name="T50" fmla="*/ 226 w 329"/>
                <a:gd name="T51" fmla="*/ 252 h 264"/>
                <a:gd name="T52" fmla="*/ 196 w 329"/>
                <a:gd name="T53" fmla="*/ 239 h 264"/>
                <a:gd name="T54" fmla="*/ 163 w 329"/>
                <a:gd name="T55" fmla="*/ 222 h 264"/>
                <a:gd name="T56" fmla="*/ 125 w 329"/>
                <a:gd name="T57" fmla="*/ 200 h 264"/>
                <a:gd name="T58" fmla="*/ 100 w 329"/>
                <a:gd name="T59" fmla="*/ 180 h 264"/>
                <a:gd name="T60" fmla="*/ 74 w 329"/>
                <a:gd name="T61" fmla="*/ 157 h 264"/>
                <a:gd name="T62" fmla="*/ 51 w 329"/>
                <a:gd name="T63" fmla="*/ 132 h 264"/>
                <a:gd name="T64" fmla="*/ 30 w 329"/>
                <a:gd name="T65" fmla="*/ 104 h 264"/>
                <a:gd name="T66" fmla="*/ 15 w 329"/>
                <a:gd name="T67" fmla="*/ 78 h 264"/>
                <a:gd name="T68" fmla="*/ 4 w 329"/>
                <a:gd name="T69" fmla="*/ 56 h 264"/>
                <a:gd name="T70" fmla="*/ 0 w 329"/>
                <a:gd name="T71" fmla="*/ 37 h 26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9"/>
                <a:gd name="T109" fmla="*/ 0 h 264"/>
                <a:gd name="T110" fmla="*/ 329 w 329"/>
                <a:gd name="T111" fmla="*/ 264 h 26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9" h="264">
                  <a:moveTo>
                    <a:pt x="1" y="38"/>
                  </a:moveTo>
                  <a:lnTo>
                    <a:pt x="8" y="34"/>
                  </a:lnTo>
                  <a:lnTo>
                    <a:pt x="21" y="27"/>
                  </a:lnTo>
                  <a:lnTo>
                    <a:pt x="35" y="22"/>
                  </a:lnTo>
                  <a:lnTo>
                    <a:pt x="45" y="18"/>
                  </a:lnTo>
                  <a:lnTo>
                    <a:pt x="58" y="14"/>
                  </a:lnTo>
                  <a:lnTo>
                    <a:pt x="74" y="10"/>
                  </a:lnTo>
                  <a:lnTo>
                    <a:pt x="87" y="6"/>
                  </a:lnTo>
                  <a:lnTo>
                    <a:pt x="101" y="4"/>
                  </a:lnTo>
                  <a:lnTo>
                    <a:pt x="114" y="2"/>
                  </a:lnTo>
                  <a:lnTo>
                    <a:pt x="127" y="1"/>
                  </a:lnTo>
                  <a:lnTo>
                    <a:pt x="140" y="0"/>
                  </a:lnTo>
                  <a:lnTo>
                    <a:pt x="154" y="0"/>
                  </a:lnTo>
                  <a:lnTo>
                    <a:pt x="168" y="0"/>
                  </a:lnTo>
                  <a:lnTo>
                    <a:pt x="183" y="1"/>
                  </a:lnTo>
                  <a:lnTo>
                    <a:pt x="200" y="3"/>
                  </a:lnTo>
                  <a:lnTo>
                    <a:pt x="212" y="5"/>
                  </a:lnTo>
                  <a:lnTo>
                    <a:pt x="225" y="7"/>
                  </a:lnTo>
                  <a:lnTo>
                    <a:pt x="239" y="11"/>
                  </a:lnTo>
                  <a:lnTo>
                    <a:pt x="252" y="14"/>
                  </a:lnTo>
                  <a:lnTo>
                    <a:pt x="265" y="19"/>
                  </a:lnTo>
                  <a:lnTo>
                    <a:pt x="278" y="24"/>
                  </a:lnTo>
                  <a:lnTo>
                    <a:pt x="291" y="29"/>
                  </a:lnTo>
                  <a:lnTo>
                    <a:pt x="305" y="36"/>
                  </a:lnTo>
                  <a:lnTo>
                    <a:pt x="316" y="41"/>
                  </a:lnTo>
                  <a:lnTo>
                    <a:pt x="328" y="47"/>
                  </a:lnTo>
                  <a:lnTo>
                    <a:pt x="319" y="52"/>
                  </a:lnTo>
                  <a:lnTo>
                    <a:pt x="310" y="58"/>
                  </a:lnTo>
                  <a:lnTo>
                    <a:pt x="302" y="65"/>
                  </a:lnTo>
                  <a:lnTo>
                    <a:pt x="293" y="70"/>
                  </a:lnTo>
                  <a:lnTo>
                    <a:pt x="288" y="75"/>
                  </a:lnTo>
                  <a:lnTo>
                    <a:pt x="278" y="83"/>
                  </a:lnTo>
                  <a:lnTo>
                    <a:pt x="271" y="91"/>
                  </a:lnTo>
                  <a:lnTo>
                    <a:pt x="263" y="98"/>
                  </a:lnTo>
                  <a:lnTo>
                    <a:pt x="255" y="106"/>
                  </a:lnTo>
                  <a:lnTo>
                    <a:pt x="246" y="116"/>
                  </a:lnTo>
                  <a:lnTo>
                    <a:pt x="239" y="123"/>
                  </a:lnTo>
                  <a:lnTo>
                    <a:pt x="234" y="129"/>
                  </a:lnTo>
                  <a:lnTo>
                    <a:pt x="226" y="139"/>
                  </a:lnTo>
                  <a:lnTo>
                    <a:pt x="219" y="149"/>
                  </a:lnTo>
                  <a:lnTo>
                    <a:pt x="211" y="160"/>
                  </a:lnTo>
                  <a:lnTo>
                    <a:pt x="203" y="174"/>
                  </a:lnTo>
                  <a:lnTo>
                    <a:pt x="198" y="184"/>
                  </a:lnTo>
                  <a:lnTo>
                    <a:pt x="191" y="195"/>
                  </a:lnTo>
                  <a:lnTo>
                    <a:pt x="186" y="209"/>
                  </a:lnTo>
                  <a:lnTo>
                    <a:pt x="180" y="225"/>
                  </a:lnTo>
                  <a:lnTo>
                    <a:pt x="177" y="236"/>
                  </a:lnTo>
                  <a:lnTo>
                    <a:pt x="174" y="245"/>
                  </a:lnTo>
                  <a:lnTo>
                    <a:pt x="171" y="255"/>
                  </a:lnTo>
                  <a:lnTo>
                    <a:pt x="170" y="263"/>
                  </a:lnTo>
                  <a:lnTo>
                    <a:pt x="161" y="259"/>
                  </a:lnTo>
                  <a:lnTo>
                    <a:pt x="150" y="252"/>
                  </a:lnTo>
                  <a:lnTo>
                    <a:pt x="141" y="246"/>
                  </a:lnTo>
                  <a:lnTo>
                    <a:pt x="131" y="239"/>
                  </a:lnTo>
                  <a:lnTo>
                    <a:pt x="122" y="233"/>
                  </a:lnTo>
                  <a:lnTo>
                    <a:pt x="108" y="222"/>
                  </a:lnTo>
                  <a:lnTo>
                    <a:pt x="94" y="209"/>
                  </a:lnTo>
                  <a:lnTo>
                    <a:pt x="83" y="200"/>
                  </a:lnTo>
                  <a:lnTo>
                    <a:pt x="75" y="190"/>
                  </a:lnTo>
                  <a:lnTo>
                    <a:pt x="66" y="180"/>
                  </a:lnTo>
                  <a:lnTo>
                    <a:pt x="57" y="168"/>
                  </a:lnTo>
                  <a:lnTo>
                    <a:pt x="49" y="157"/>
                  </a:lnTo>
                  <a:lnTo>
                    <a:pt x="42" y="145"/>
                  </a:lnTo>
                  <a:lnTo>
                    <a:pt x="34" y="132"/>
                  </a:lnTo>
                  <a:lnTo>
                    <a:pt x="27" y="119"/>
                  </a:lnTo>
                  <a:lnTo>
                    <a:pt x="20" y="104"/>
                  </a:lnTo>
                  <a:lnTo>
                    <a:pt x="14" y="92"/>
                  </a:lnTo>
                  <a:lnTo>
                    <a:pt x="10" y="78"/>
                  </a:lnTo>
                  <a:lnTo>
                    <a:pt x="6" y="66"/>
                  </a:lnTo>
                  <a:lnTo>
                    <a:pt x="4" y="56"/>
                  </a:lnTo>
                  <a:lnTo>
                    <a:pt x="1" y="47"/>
                  </a:lnTo>
                  <a:lnTo>
                    <a:pt x="0" y="37"/>
                  </a:lnTo>
                  <a:lnTo>
                    <a:pt x="1" y="38"/>
                  </a:lnTo>
                </a:path>
              </a:pathLst>
            </a:custGeom>
            <a:solidFill>
              <a:srgbClr val="00A1DE"/>
            </a:solidFill>
            <a:ln w="12700" cap="rnd">
              <a:solidFill>
                <a:schemeClr val="bg1"/>
              </a:solidFill>
              <a:round/>
              <a:headEnd/>
              <a:tailEnd/>
            </a:ln>
          </p:spPr>
          <p:txBody>
            <a:bodyPr lIns="27000" tIns="27000" rIns="27000" bIns="27000"/>
            <a:lstStyle/>
            <a:p>
              <a:pPr defTabSz="685800">
                <a:buClrTx/>
              </a:pPr>
              <a:endParaRPr lang="en-US" sz="1350" kern="1200">
                <a:solidFill>
                  <a:prstClr val="black"/>
                </a:solidFill>
                <a:ea typeface="+mn-ea"/>
                <a:cs typeface="+mn-cs"/>
              </a:endParaRPr>
            </a:p>
          </p:txBody>
        </p:sp>
        <p:sp>
          <p:nvSpPr>
            <p:cNvPr id="678943" name="Freeform 54"/>
            <p:cNvSpPr>
              <a:spLocks/>
            </p:cNvSpPr>
            <p:nvPr/>
          </p:nvSpPr>
          <p:spPr bwMode="auto">
            <a:xfrm>
              <a:off x="4831" y="2339"/>
              <a:ext cx="348" cy="265"/>
            </a:xfrm>
            <a:custGeom>
              <a:avLst/>
              <a:gdLst>
                <a:gd name="T0" fmla="*/ 479 w 321"/>
                <a:gd name="T1" fmla="*/ 41 h 265"/>
                <a:gd name="T2" fmla="*/ 448 w 321"/>
                <a:gd name="T3" fmla="*/ 28 h 265"/>
                <a:gd name="T4" fmla="*/ 409 w 321"/>
                <a:gd name="T5" fmla="*/ 18 h 265"/>
                <a:gd name="T6" fmla="*/ 370 w 321"/>
                <a:gd name="T7" fmla="*/ 10 h 265"/>
                <a:gd name="T8" fmla="*/ 331 w 321"/>
                <a:gd name="T9" fmla="*/ 5 h 265"/>
                <a:gd name="T10" fmla="*/ 293 w 321"/>
                <a:gd name="T11" fmla="*/ 2 h 265"/>
                <a:gd name="T12" fmla="*/ 252 w 321"/>
                <a:gd name="T13" fmla="*/ 0 h 265"/>
                <a:gd name="T14" fmla="*/ 209 w 321"/>
                <a:gd name="T15" fmla="*/ 2 h 265"/>
                <a:gd name="T16" fmla="*/ 164 w 321"/>
                <a:gd name="T17" fmla="*/ 5 h 265"/>
                <a:gd name="T18" fmla="*/ 125 w 321"/>
                <a:gd name="T19" fmla="*/ 12 h 265"/>
                <a:gd name="T20" fmla="*/ 85 w 321"/>
                <a:gd name="T21" fmla="*/ 20 h 265"/>
                <a:gd name="T22" fmla="*/ 40 w 321"/>
                <a:gd name="T23" fmla="*/ 32 h 265"/>
                <a:gd name="T24" fmla="*/ 5 w 321"/>
                <a:gd name="T25" fmla="*/ 43 h 265"/>
                <a:gd name="T26" fmla="*/ 12 w 321"/>
                <a:gd name="T27" fmla="*/ 53 h 265"/>
                <a:gd name="T28" fmla="*/ 30 w 321"/>
                <a:gd name="T29" fmla="*/ 62 h 265"/>
                <a:gd name="T30" fmla="*/ 48 w 321"/>
                <a:gd name="T31" fmla="*/ 72 h 265"/>
                <a:gd name="T32" fmla="*/ 75 w 321"/>
                <a:gd name="T33" fmla="*/ 88 h 265"/>
                <a:gd name="T34" fmla="*/ 102 w 321"/>
                <a:gd name="T35" fmla="*/ 104 h 265"/>
                <a:gd name="T36" fmla="*/ 125 w 321"/>
                <a:gd name="T37" fmla="*/ 120 h 265"/>
                <a:gd name="T38" fmla="*/ 144 w 321"/>
                <a:gd name="T39" fmla="*/ 137 h 265"/>
                <a:gd name="T40" fmla="*/ 166 w 321"/>
                <a:gd name="T41" fmla="*/ 160 h 265"/>
                <a:gd name="T42" fmla="*/ 184 w 321"/>
                <a:gd name="T43" fmla="*/ 184 h 265"/>
                <a:gd name="T44" fmla="*/ 207 w 321"/>
                <a:gd name="T45" fmla="*/ 209 h 265"/>
                <a:gd name="T46" fmla="*/ 218 w 321"/>
                <a:gd name="T47" fmla="*/ 235 h 265"/>
                <a:gd name="T48" fmla="*/ 227 w 321"/>
                <a:gd name="T49" fmla="*/ 258 h 265"/>
                <a:gd name="T50" fmla="*/ 243 w 321"/>
                <a:gd name="T51" fmla="*/ 259 h 265"/>
                <a:gd name="T52" fmla="*/ 273 w 321"/>
                <a:gd name="T53" fmla="*/ 247 h 265"/>
                <a:gd name="T54" fmla="*/ 301 w 321"/>
                <a:gd name="T55" fmla="*/ 233 h 265"/>
                <a:gd name="T56" fmla="*/ 344 w 321"/>
                <a:gd name="T57" fmla="*/ 209 h 265"/>
                <a:gd name="T58" fmla="*/ 370 w 321"/>
                <a:gd name="T59" fmla="*/ 191 h 265"/>
                <a:gd name="T60" fmla="*/ 396 w 321"/>
                <a:gd name="T61" fmla="*/ 168 h 265"/>
                <a:gd name="T62" fmla="*/ 421 w 321"/>
                <a:gd name="T63" fmla="*/ 145 h 265"/>
                <a:gd name="T64" fmla="*/ 442 w 321"/>
                <a:gd name="T65" fmla="*/ 119 h 265"/>
                <a:gd name="T66" fmla="*/ 460 w 321"/>
                <a:gd name="T67" fmla="*/ 93 h 265"/>
                <a:gd name="T68" fmla="*/ 474 w 321"/>
                <a:gd name="T69" fmla="*/ 64 h 265"/>
                <a:gd name="T70" fmla="*/ 479 w 321"/>
                <a:gd name="T71" fmla="*/ 46 h 26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1"/>
                <a:gd name="T109" fmla="*/ 0 h 265"/>
                <a:gd name="T110" fmla="*/ 321 w 321"/>
                <a:gd name="T111" fmla="*/ 265 h 26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1" h="265">
                  <a:moveTo>
                    <a:pt x="320" y="46"/>
                  </a:moveTo>
                  <a:lnTo>
                    <a:pt x="320" y="41"/>
                  </a:lnTo>
                  <a:lnTo>
                    <a:pt x="310" y="35"/>
                  </a:lnTo>
                  <a:lnTo>
                    <a:pt x="299" y="28"/>
                  </a:lnTo>
                  <a:lnTo>
                    <a:pt x="287" y="22"/>
                  </a:lnTo>
                  <a:lnTo>
                    <a:pt x="273" y="18"/>
                  </a:lnTo>
                  <a:lnTo>
                    <a:pt x="260" y="14"/>
                  </a:lnTo>
                  <a:lnTo>
                    <a:pt x="247" y="10"/>
                  </a:lnTo>
                  <a:lnTo>
                    <a:pt x="232" y="6"/>
                  </a:lnTo>
                  <a:lnTo>
                    <a:pt x="220" y="5"/>
                  </a:lnTo>
                  <a:lnTo>
                    <a:pt x="207" y="3"/>
                  </a:lnTo>
                  <a:lnTo>
                    <a:pt x="196" y="2"/>
                  </a:lnTo>
                  <a:lnTo>
                    <a:pt x="183" y="1"/>
                  </a:lnTo>
                  <a:lnTo>
                    <a:pt x="168" y="0"/>
                  </a:lnTo>
                  <a:lnTo>
                    <a:pt x="153" y="1"/>
                  </a:lnTo>
                  <a:lnTo>
                    <a:pt x="139" y="2"/>
                  </a:lnTo>
                  <a:lnTo>
                    <a:pt x="125" y="3"/>
                  </a:lnTo>
                  <a:lnTo>
                    <a:pt x="109" y="5"/>
                  </a:lnTo>
                  <a:lnTo>
                    <a:pt x="96" y="8"/>
                  </a:lnTo>
                  <a:lnTo>
                    <a:pt x="83" y="12"/>
                  </a:lnTo>
                  <a:lnTo>
                    <a:pt x="70" y="15"/>
                  </a:lnTo>
                  <a:lnTo>
                    <a:pt x="56" y="20"/>
                  </a:lnTo>
                  <a:lnTo>
                    <a:pt x="41" y="25"/>
                  </a:lnTo>
                  <a:lnTo>
                    <a:pt x="27" y="32"/>
                  </a:lnTo>
                  <a:lnTo>
                    <a:pt x="17" y="37"/>
                  </a:lnTo>
                  <a:lnTo>
                    <a:pt x="5" y="43"/>
                  </a:lnTo>
                  <a:lnTo>
                    <a:pt x="0" y="48"/>
                  </a:lnTo>
                  <a:lnTo>
                    <a:pt x="7" y="53"/>
                  </a:lnTo>
                  <a:lnTo>
                    <a:pt x="14" y="58"/>
                  </a:lnTo>
                  <a:lnTo>
                    <a:pt x="20" y="62"/>
                  </a:lnTo>
                  <a:lnTo>
                    <a:pt x="27" y="67"/>
                  </a:lnTo>
                  <a:lnTo>
                    <a:pt x="32" y="72"/>
                  </a:lnTo>
                  <a:lnTo>
                    <a:pt x="43" y="81"/>
                  </a:lnTo>
                  <a:lnTo>
                    <a:pt x="50" y="88"/>
                  </a:lnTo>
                  <a:lnTo>
                    <a:pt x="59" y="95"/>
                  </a:lnTo>
                  <a:lnTo>
                    <a:pt x="68" y="104"/>
                  </a:lnTo>
                  <a:lnTo>
                    <a:pt x="76" y="111"/>
                  </a:lnTo>
                  <a:lnTo>
                    <a:pt x="83" y="120"/>
                  </a:lnTo>
                  <a:lnTo>
                    <a:pt x="90" y="129"/>
                  </a:lnTo>
                  <a:lnTo>
                    <a:pt x="96" y="137"/>
                  </a:lnTo>
                  <a:lnTo>
                    <a:pt x="103" y="148"/>
                  </a:lnTo>
                  <a:lnTo>
                    <a:pt x="111" y="160"/>
                  </a:lnTo>
                  <a:lnTo>
                    <a:pt x="119" y="174"/>
                  </a:lnTo>
                  <a:lnTo>
                    <a:pt x="124" y="184"/>
                  </a:lnTo>
                  <a:lnTo>
                    <a:pt x="130" y="196"/>
                  </a:lnTo>
                  <a:lnTo>
                    <a:pt x="137" y="209"/>
                  </a:lnTo>
                  <a:lnTo>
                    <a:pt x="142" y="223"/>
                  </a:lnTo>
                  <a:lnTo>
                    <a:pt x="146" y="235"/>
                  </a:lnTo>
                  <a:lnTo>
                    <a:pt x="150" y="247"/>
                  </a:lnTo>
                  <a:lnTo>
                    <a:pt x="151" y="258"/>
                  </a:lnTo>
                  <a:lnTo>
                    <a:pt x="151" y="264"/>
                  </a:lnTo>
                  <a:lnTo>
                    <a:pt x="162" y="259"/>
                  </a:lnTo>
                  <a:lnTo>
                    <a:pt x="173" y="252"/>
                  </a:lnTo>
                  <a:lnTo>
                    <a:pt x="182" y="247"/>
                  </a:lnTo>
                  <a:lnTo>
                    <a:pt x="191" y="239"/>
                  </a:lnTo>
                  <a:lnTo>
                    <a:pt x="201" y="233"/>
                  </a:lnTo>
                  <a:lnTo>
                    <a:pt x="215" y="222"/>
                  </a:lnTo>
                  <a:lnTo>
                    <a:pt x="229" y="209"/>
                  </a:lnTo>
                  <a:lnTo>
                    <a:pt x="239" y="200"/>
                  </a:lnTo>
                  <a:lnTo>
                    <a:pt x="247" y="191"/>
                  </a:lnTo>
                  <a:lnTo>
                    <a:pt x="256" y="180"/>
                  </a:lnTo>
                  <a:lnTo>
                    <a:pt x="265" y="168"/>
                  </a:lnTo>
                  <a:lnTo>
                    <a:pt x="273" y="157"/>
                  </a:lnTo>
                  <a:lnTo>
                    <a:pt x="280" y="145"/>
                  </a:lnTo>
                  <a:lnTo>
                    <a:pt x="288" y="132"/>
                  </a:lnTo>
                  <a:lnTo>
                    <a:pt x="295" y="119"/>
                  </a:lnTo>
                  <a:lnTo>
                    <a:pt x="302" y="105"/>
                  </a:lnTo>
                  <a:lnTo>
                    <a:pt x="307" y="93"/>
                  </a:lnTo>
                  <a:lnTo>
                    <a:pt x="312" y="78"/>
                  </a:lnTo>
                  <a:lnTo>
                    <a:pt x="316" y="64"/>
                  </a:lnTo>
                  <a:lnTo>
                    <a:pt x="320" y="45"/>
                  </a:lnTo>
                  <a:lnTo>
                    <a:pt x="320" y="46"/>
                  </a:lnTo>
                </a:path>
              </a:pathLst>
            </a:custGeom>
            <a:solidFill>
              <a:srgbClr val="00A1DE"/>
            </a:solidFill>
            <a:ln w="12700" cap="rnd">
              <a:solidFill>
                <a:schemeClr val="bg1"/>
              </a:solidFill>
              <a:round/>
              <a:headEnd/>
              <a:tailEnd/>
            </a:ln>
          </p:spPr>
          <p:txBody>
            <a:bodyPr lIns="27000" tIns="27000" rIns="27000" bIns="27000"/>
            <a:lstStyle/>
            <a:p>
              <a:pPr defTabSz="685800">
                <a:buClrTx/>
              </a:pPr>
              <a:endParaRPr lang="en-US" sz="1350" kern="1200">
                <a:solidFill>
                  <a:prstClr val="black"/>
                </a:solidFill>
                <a:ea typeface="+mn-ea"/>
                <a:cs typeface="+mn-cs"/>
              </a:endParaRPr>
            </a:p>
          </p:txBody>
        </p:sp>
        <p:sp>
          <p:nvSpPr>
            <p:cNvPr id="678944" name="Freeform 55"/>
            <p:cNvSpPr>
              <a:spLocks/>
            </p:cNvSpPr>
            <p:nvPr/>
          </p:nvSpPr>
          <p:spPr bwMode="auto">
            <a:xfrm>
              <a:off x="4656" y="2602"/>
              <a:ext cx="350" cy="361"/>
            </a:xfrm>
            <a:custGeom>
              <a:avLst/>
              <a:gdLst>
                <a:gd name="T0" fmla="*/ 24 w 323"/>
                <a:gd name="T1" fmla="*/ 6 h 361"/>
                <a:gd name="T2" fmla="*/ 52 w 323"/>
                <a:gd name="T3" fmla="*/ 14 h 361"/>
                <a:gd name="T4" fmla="*/ 92 w 323"/>
                <a:gd name="T5" fmla="*/ 23 h 361"/>
                <a:gd name="T6" fmla="*/ 130 w 323"/>
                <a:gd name="T7" fmla="*/ 30 h 361"/>
                <a:gd name="T8" fmla="*/ 171 w 323"/>
                <a:gd name="T9" fmla="*/ 36 h 361"/>
                <a:gd name="T10" fmla="*/ 225 w 323"/>
                <a:gd name="T11" fmla="*/ 40 h 361"/>
                <a:gd name="T12" fmla="*/ 275 w 323"/>
                <a:gd name="T13" fmla="*/ 40 h 361"/>
                <a:gd name="T14" fmla="*/ 328 w 323"/>
                <a:gd name="T15" fmla="*/ 34 h 361"/>
                <a:gd name="T16" fmla="*/ 367 w 323"/>
                <a:gd name="T17" fmla="*/ 28 h 361"/>
                <a:gd name="T18" fmla="*/ 399 w 323"/>
                <a:gd name="T19" fmla="*/ 21 h 361"/>
                <a:gd name="T20" fmla="*/ 435 w 323"/>
                <a:gd name="T21" fmla="*/ 12 h 361"/>
                <a:gd name="T22" fmla="*/ 461 w 323"/>
                <a:gd name="T23" fmla="*/ 4 h 361"/>
                <a:gd name="T24" fmla="*/ 474 w 323"/>
                <a:gd name="T25" fmla="*/ 10 h 361"/>
                <a:gd name="T26" fmla="*/ 477 w 323"/>
                <a:gd name="T27" fmla="*/ 28 h 361"/>
                <a:gd name="T28" fmla="*/ 480 w 323"/>
                <a:gd name="T29" fmla="*/ 56 h 361"/>
                <a:gd name="T30" fmla="*/ 481 w 323"/>
                <a:gd name="T31" fmla="*/ 76 h 361"/>
                <a:gd name="T32" fmla="*/ 480 w 323"/>
                <a:gd name="T33" fmla="*/ 102 h 361"/>
                <a:gd name="T34" fmla="*/ 472 w 323"/>
                <a:gd name="T35" fmla="*/ 131 h 361"/>
                <a:gd name="T36" fmla="*/ 463 w 323"/>
                <a:gd name="T37" fmla="*/ 162 h 361"/>
                <a:gd name="T38" fmla="*/ 448 w 323"/>
                <a:gd name="T39" fmla="*/ 191 h 361"/>
                <a:gd name="T40" fmla="*/ 429 w 323"/>
                <a:gd name="T41" fmla="*/ 219 h 361"/>
                <a:gd name="T42" fmla="*/ 410 w 323"/>
                <a:gd name="T43" fmla="*/ 244 h 361"/>
                <a:gd name="T44" fmla="*/ 381 w 323"/>
                <a:gd name="T45" fmla="*/ 270 h 361"/>
                <a:gd name="T46" fmla="*/ 352 w 323"/>
                <a:gd name="T47" fmla="*/ 296 h 361"/>
                <a:gd name="T48" fmla="*/ 315 w 323"/>
                <a:gd name="T49" fmla="*/ 320 h 361"/>
                <a:gd name="T50" fmla="*/ 281 w 323"/>
                <a:gd name="T51" fmla="*/ 339 h 361"/>
                <a:gd name="T52" fmla="*/ 249 w 323"/>
                <a:gd name="T53" fmla="*/ 354 h 361"/>
                <a:gd name="T54" fmla="*/ 222 w 323"/>
                <a:gd name="T55" fmla="*/ 354 h 361"/>
                <a:gd name="T56" fmla="*/ 194 w 323"/>
                <a:gd name="T57" fmla="*/ 339 h 361"/>
                <a:gd name="T58" fmla="*/ 164 w 323"/>
                <a:gd name="T59" fmla="*/ 324 h 361"/>
                <a:gd name="T60" fmla="*/ 135 w 323"/>
                <a:gd name="T61" fmla="*/ 305 h 361"/>
                <a:gd name="T62" fmla="*/ 101 w 323"/>
                <a:gd name="T63" fmla="*/ 276 h 361"/>
                <a:gd name="T64" fmla="*/ 75 w 323"/>
                <a:gd name="T65" fmla="*/ 252 h 361"/>
                <a:gd name="T66" fmla="*/ 52 w 323"/>
                <a:gd name="T67" fmla="*/ 225 h 361"/>
                <a:gd name="T68" fmla="*/ 33 w 323"/>
                <a:gd name="T69" fmla="*/ 196 h 361"/>
                <a:gd name="T70" fmla="*/ 17 w 323"/>
                <a:gd name="T71" fmla="*/ 166 h 361"/>
                <a:gd name="T72" fmla="*/ 4 w 323"/>
                <a:gd name="T73" fmla="*/ 136 h 361"/>
                <a:gd name="T74" fmla="*/ 0 w 323"/>
                <a:gd name="T75" fmla="*/ 102 h 361"/>
                <a:gd name="T76" fmla="*/ 0 w 323"/>
                <a:gd name="T77" fmla="*/ 69 h 361"/>
                <a:gd name="T78" fmla="*/ 1 w 323"/>
                <a:gd name="T79" fmla="*/ 37 h 361"/>
                <a:gd name="T80" fmla="*/ 5 w 323"/>
                <a:gd name="T81" fmla="*/ 9 h 36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3"/>
                <a:gd name="T124" fmla="*/ 0 h 361"/>
                <a:gd name="T125" fmla="*/ 323 w 323"/>
                <a:gd name="T126" fmla="*/ 361 h 36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3" h="361">
                  <a:moveTo>
                    <a:pt x="7" y="1"/>
                  </a:moveTo>
                  <a:lnTo>
                    <a:pt x="16" y="6"/>
                  </a:lnTo>
                  <a:lnTo>
                    <a:pt x="26" y="11"/>
                  </a:lnTo>
                  <a:lnTo>
                    <a:pt x="35" y="14"/>
                  </a:lnTo>
                  <a:lnTo>
                    <a:pt x="48" y="20"/>
                  </a:lnTo>
                  <a:lnTo>
                    <a:pt x="61" y="23"/>
                  </a:lnTo>
                  <a:lnTo>
                    <a:pt x="73" y="27"/>
                  </a:lnTo>
                  <a:lnTo>
                    <a:pt x="87" y="30"/>
                  </a:lnTo>
                  <a:lnTo>
                    <a:pt x="101" y="34"/>
                  </a:lnTo>
                  <a:lnTo>
                    <a:pt x="115" y="36"/>
                  </a:lnTo>
                  <a:lnTo>
                    <a:pt x="133" y="38"/>
                  </a:lnTo>
                  <a:lnTo>
                    <a:pt x="150" y="40"/>
                  </a:lnTo>
                  <a:lnTo>
                    <a:pt x="165" y="40"/>
                  </a:lnTo>
                  <a:lnTo>
                    <a:pt x="184" y="40"/>
                  </a:lnTo>
                  <a:lnTo>
                    <a:pt x="205" y="36"/>
                  </a:lnTo>
                  <a:lnTo>
                    <a:pt x="220" y="34"/>
                  </a:lnTo>
                  <a:lnTo>
                    <a:pt x="231" y="32"/>
                  </a:lnTo>
                  <a:lnTo>
                    <a:pt x="246" y="28"/>
                  </a:lnTo>
                  <a:lnTo>
                    <a:pt x="257" y="25"/>
                  </a:lnTo>
                  <a:lnTo>
                    <a:pt x="268" y="21"/>
                  </a:lnTo>
                  <a:lnTo>
                    <a:pt x="281" y="15"/>
                  </a:lnTo>
                  <a:lnTo>
                    <a:pt x="291" y="12"/>
                  </a:lnTo>
                  <a:lnTo>
                    <a:pt x="300" y="7"/>
                  </a:lnTo>
                  <a:lnTo>
                    <a:pt x="308" y="4"/>
                  </a:lnTo>
                  <a:lnTo>
                    <a:pt x="314" y="0"/>
                  </a:lnTo>
                  <a:lnTo>
                    <a:pt x="317" y="10"/>
                  </a:lnTo>
                  <a:lnTo>
                    <a:pt x="318" y="20"/>
                  </a:lnTo>
                  <a:lnTo>
                    <a:pt x="319" y="28"/>
                  </a:lnTo>
                  <a:lnTo>
                    <a:pt x="321" y="44"/>
                  </a:lnTo>
                  <a:lnTo>
                    <a:pt x="321" y="56"/>
                  </a:lnTo>
                  <a:lnTo>
                    <a:pt x="322" y="66"/>
                  </a:lnTo>
                  <a:lnTo>
                    <a:pt x="322" y="76"/>
                  </a:lnTo>
                  <a:lnTo>
                    <a:pt x="321" y="91"/>
                  </a:lnTo>
                  <a:lnTo>
                    <a:pt x="321" y="102"/>
                  </a:lnTo>
                  <a:lnTo>
                    <a:pt x="319" y="115"/>
                  </a:lnTo>
                  <a:lnTo>
                    <a:pt x="316" y="131"/>
                  </a:lnTo>
                  <a:lnTo>
                    <a:pt x="314" y="144"/>
                  </a:lnTo>
                  <a:lnTo>
                    <a:pt x="310" y="162"/>
                  </a:lnTo>
                  <a:lnTo>
                    <a:pt x="305" y="177"/>
                  </a:lnTo>
                  <a:lnTo>
                    <a:pt x="300" y="191"/>
                  </a:lnTo>
                  <a:lnTo>
                    <a:pt x="295" y="203"/>
                  </a:lnTo>
                  <a:lnTo>
                    <a:pt x="287" y="219"/>
                  </a:lnTo>
                  <a:lnTo>
                    <a:pt x="281" y="232"/>
                  </a:lnTo>
                  <a:lnTo>
                    <a:pt x="274" y="244"/>
                  </a:lnTo>
                  <a:lnTo>
                    <a:pt x="266" y="255"/>
                  </a:lnTo>
                  <a:lnTo>
                    <a:pt x="256" y="270"/>
                  </a:lnTo>
                  <a:lnTo>
                    <a:pt x="246" y="284"/>
                  </a:lnTo>
                  <a:lnTo>
                    <a:pt x="236" y="296"/>
                  </a:lnTo>
                  <a:lnTo>
                    <a:pt x="224" y="308"/>
                  </a:lnTo>
                  <a:lnTo>
                    <a:pt x="211" y="320"/>
                  </a:lnTo>
                  <a:lnTo>
                    <a:pt x="198" y="330"/>
                  </a:lnTo>
                  <a:lnTo>
                    <a:pt x="188" y="339"/>
                  </a:lnTo>
                  <a:lnTo>
                    <a:pt x="179" y="346"/>
                  </a:lnTo>
                  <a:lnTo>
                    <a:pt x="167" y="354"/>
                  </a:lnTo>
                  <a:lnTo>
                    <a:pt x="158" y="360"/>
                  </a:lnTo>
                  <a:lnTo>
                    <a:pt x="149" y="354"/>
                  </a:lnTo>
                  <a:lnTo>
                    <a:pt x="140" y="348"/>
                  </a:lnTo>
                  <a:lnTo>
                    <a:pt x="129" y="339"/>
                  </a:lnTo>
                  <a:lnTo>
                    <a:pt x="120" y="332"/>
                  </a:lnTo>
                  <a:lnTo>
                    <a:pt x="109" y="324"/>
                  </a:lnTo>
                  <a:lnTo>
                    <a:pt x="101" y="315"/>
                  </a:lnTo>
                  <a:lnTo>
                    <a:pt x="90" y="305"/>
                  </a:lnTo>
                  <a:lnTo>
                    <a:pt x="80" y="292"/>
                  </a:lnTo>
                  <a:lnTo>
                    <a:pt x="67" y="276"/>
                  </a:lnTo>
                  <a:lnTo>
                    <a:pt x="58" y="263"/>
                  </a:lnTo>
                  <a:lnTo>
                    <a:pt x="50" y="252"/>
                  </a:lnTo>
                  <a:lnTo>
                    <a:pt x="41" y="237"/>
                  </a:lnTo>
                  <a:lnTo>
                    <a:pt x="35" y="225"/>
                  </a:lnTo>
                  <a:lnTo>
                    <a:pt x="28" y="209"/>
                  </a:lnTo>
                  <a:lnTo>
                    <a:pt x="22" y="196"/>
                  </a:lnTo>
                  <a:lnTo>
                    <a:pt x="17" y="184"/>
                  </a:lnTo>
                  <a:lnTo>
                    <a:pt x="12" y="166"/>
                  </a:lnTo>
                  <a:lnTo>
                    <a:pt x="8" y="153"/>
                  </a:lnTo>
                  <a:lnTo>
                    <a:pt x="4" y="136"/>
                  </a:lnTo>
                  <a:lnTo>
                    <a:pt x="3" y="123"/>
                  </a:lnTo>
                  <a:lnTo>
                    <a:pt x="0" y="102"/>
                  </a:lnTo>
                  <a:lnTo>
                    <a:pt x="0" y="87"/>
                  </a:lnTo>
                  <a:lnTo>
                    <a:pt x="0" y="69"/>
                  </a:lnTo>
                  <a:lnTo>
                    <a:pt x="0" y="51"/>
                  </a:lnTo>
                  <a:lnTo>
                    <a:pt x="1" y="37"/>
                  </a:lnTo>
                  <a:lnTo>
                    <a:pt x="3" y="22"/>
                  </a:lnTo>
                  <a:lnTo>
                    <a:pt x="5" y="9"/>
                  </a:lnTo>
                  <a:lnTo>
                    <a:pt x="7" y="1"/>
                  </a:lnTo>
                </a:path>
              </a:pathLst>
            </a:custGeom>
            <a:solidFill>
              <a:srgbClr val="00A1DE"/>
            </a:solidFill>
            <a:ln w="12700" cap="rnd">
              <a:solidFill>
                <a:schemeClr val="bg1"/>
              </a:solidFill>
              <a:round/>
              <a:headEnd/>
              <a:tailEnd/>
            </a:ln>
          </p:spPr>
          <p:txBody>
            <a:bodyPr lIns="27000" tIns="27000" rIns="27000" bIns="27000"/>
            <a:lstStyle/>
            <a:p>
              <a:pPr defTabSz="685800">
                <a:buClrTx/>
              </a:pPr>
              <a:endParaRPr lang="en-US" sz="1350" kern="1200">
                <a:solidFill>
                  <a:prstClr val="black"/>
                </a:solidFill>
                <a:ea typeface="+mn-ea"/>
                <a:cs typeface="+mn-cs"/>
              </a:endParaRPr>
            </a:p>
          </p:txBody>
        </p:sp>
      </p:grpSp>
      <p:grpSp>
        <p:nvGrpSpPr>
          <p:cNvPr id="3" name="Group 2"/>
          <p:cNvGrpSpPr/>
          <p:nvPr/>
        </p:nvGrpSpPr>
        <p:grpSpPr>
          <a:xfrm>
            <a:off x="1818097" y="3800699"/>
            <a:ext cx="918000" cy="918000"/>
            <a:chOff x="900129" y="5003800"/>
            <a:chExt cx="1224000" cy="1224000"/>
          </a:xfrm>
        </p:grpSpPr>
        <p:sp>
          <p:nvSpPr>
            <p:cNvPr id="678922" name="Oval 62"/>
            <p:cNvSpPr>
              <a:spLocks noChangeArrowheads="1"/>
            </p:cNvSpPr>
            <p:nvPr/>
          </p:nvSpPr>
          <p:spPr bwMode="gray">
            <a:xfrm>
              <a:off x="900129" y="5003800"/>
              <a:ext cx="1224000" cy="1224000"/>
            </a:xfrm>
            <a:prstGeom prst="ellipse">
              <a:avLst/>
            </a:prstGeom>
            <a:solidFill>
              <a:srgbClr val="B4B4B4">
                <a:alpha val="70000"/>
              </a:srgbClr>
            </a:solidFill>
            <a:ln w="12700" algn="ctr">
              <a:noFill/>
              <a:round/>
              <a:headEnd/>
              <a:tailEnd/>
            </a:ln>
          </p:spPr>
          <p:txBody>
            <a:bodyPr lIns="27000" tIns="27000" rIns="27000" bIns="27000" anchor="ctr" anchorCtr="1"/>
            <a:lstStyle/>
            <a:p>
              <a:pPr algn="ctr" defTabSz="685800">
                <a:buClrTx/>
              </a:pPr>
              <a:r>
                <a:rPr lang="en-US" sz="1050" kern="1200" dirty="0">
                  <a:solidFill>
                    <a:srgbClr val="313131"/>
                  </a:solidFill>
                  <a:ea typeface="+mn-ea"/>
                  <a:cs typeface="+mn-cs"/>
                </a:rPr>
                <a:t>Text</a:t>
              </a:r>
            </a:p>
          </p:txBody>
        </p:sp>
        <p:sp>
          <p:nvSpPr>
            <p:cNvPr id="678933" name="Oval 62"/>
            <p:cNvSpPr>
              <a:spLocks noChangeArrowheads="1"/>
            </p:cNvSpPr>
            <p:nvPr/>
          </p:nvSpPr>
          <p:spPr bwMode="gray">
            <a:xfrm>
              <a:off x="900129" y="5003800"/>
              <a:ext cx="1224000" cy="1224000"/>
            </a:xfrm>
            <a:prstGeom prst="ellipse">
              <a:avLst/>
            </a:prstGeom>
            <a:noFill/>
            <a:ln w="12700" algn="ctr">
              <a:solidFill>
                <a:schemeClr val="bg1"/>
              </a:solidFill>
              <a:round/>
              <a:headEnd/>
              <a:tailEnd/>
            </a:ln>
          </p:spPr>
          <p:txBody>
            <a:bodyPr lIns="27000" tIns="27000" rIns="27000" bIns="27000" anchor="ctr" anchorCtr="1"/>
            <a:lstStyle/>
            <a:p>
              <a:pPr algn="ctr" defTabSz="685800">
                <a:buClrTx/>
              </a:pPr>
              <a:endParaRPr lang="en-US" sz="1050" kern="1200">
                <a:solidFill>
                  <a:srgbClr val="313131"/>
                </a:solidFill>
                <a:ea typeface="+mn-ea"/>
                <a:cs typeface="+mn-cs"/>
              </a:endParaRPr>
            </a:p>
          </p:txBody>
        </p:sp>
      </p:grpSp>
      <p:grpSp>
        <p:nvGrpSpPr>
          <p:cNvPr id="4" name="Group 3"/>
          <p:cNvGrpSpPr/>
          <p:nvPr/>
        </p:nvGrpSpPr>
        <p:grpSpPr>
          <a:xfrm>
            <a:off x="2455082" y="3801294"/>
            <a:ext cx="918000" cy="918000"/>
            <a:chOff x="1749442" y="5004594"/>
            <a:chExt cx="1224000" cy="1224000"/>
          </a:xfrm>
        </p:grpSpPr>
        <p:sp>
          <p:nvSpPr>
            <p:cNvPr id="678923" name="Oval 63"/>
            <p:cNvSpPr>
              <a:spLocks noChangeArrowheads="1"/>
            </p:cNvSpPr>
            <p:nvPr/>
          </p:nvSpPr>
          <p:spPr bwMode="gray">
            <a:xfrm>
              <a:off x="1749442" y="5004594"/>
              <a:ext cx="1224000" cy="1224000"/>
            </a:xfrm>
            <a:prstGeom prst="ellipse">
              <a:avLst/>
            </a:prstGeom>
            <a:solidFill>
              <a:srgbClr val="B4B4B4">
                <a:alpha val="70000"/>
              </a:srgbClr>
            </a:solidFill>
            <a:ln w="12700" algn="ctr">
              <a:noFill/>
              <a:round/>
              <a:headEnd/>
              <a:tailEnd/>
            </a:ln>
          </p:spPr>
          <p:txBody>
            <a:bodyPr lIns="27000" tIns="27000" rIns="27000" bIns="27000" anchor="ctr" anchorCtr="1"/>
            <a:lstStyle/>
            <a:p>
              <a:pPr algn="ctr" defTabSz="685800">
                <a:buClrTx/>
              </a:pPr>
              <a:r>
                <a:rPr lang="en-US" sz="1050" kern="1200" dirty="0">
                  <a:solidFill>
                    <a:srgbClr val="313131"/>
                  </a:solidFill>
                  <a:ea typeface="+mn-ea"/>
                  <a:cs typeface="+mn-cs"/>
                </a:rPr>
                <a:t>Text</a:t>
              </a:r>
            </a:p>
          </p:txBody>
        </p:sp>
        <p:sp>
          <p:nvSpPr>
            <p:cNvPr id="678934" name="Oval 62"/>
            <p:cNvSpPr>
              <a:spLocks noChangeArrowheads="1"/>
            </p:cNvSpPr>
            <p:nvPr/>
          </p:nvSpPr>
          <p:spPr bwMode="gray">
            <a:xfrm>
              <a:off x="1749442" y="5004594"/>
              <a:ext cx="1224000" cy="1224000"/>
            </a:xfrm>
            <a:prstGeom prst="ellipse">
              <a:avLst/>
            </a:prstGeom>
            <a:noFill/>
            <a:ln w="12700" algn="ctr">
              <a:solidFill>
                <a:schemeClr val="bg1"/>
              </a:solidFill>
              <a:round/>
              <a:headEnd/>
              <a:tailEnd/>
            </a:ln>
          </p:spPr>
          <p:txBody>
            <a:bodyPr lIns="27000" tIns="27000" rIns="27000" bIns="27000" anchor="ctr" anchorCtr="1"/>
            <a:lstStyle/>
            <a:p>
              <a:pPr algn="ctr" defTabSz="685800">
                <a:buClrTx/>
              </a:pPr>
              <a:endParaRPr lang="en-US" sz="1050" kern="1200">
                <a:solidFill>
                  <a:srgbClr val="313131"/>
                </a:solidFill>
                <a:ea typeface="+mn-ea"/>
                <a:cs typeface="+mn-cs"/>
              </a:endParaRPr>
            </a:p>
          </p:txBody>
        </p:sp>
      </p:grpSp>
      <p:grpSp>
        <p:nvGrpSpPr>
          <p:cNvPr id="2" name="Group 1"/>
          <p:cNvGrpSpPr/>
          <p:nvPr/>
        </p:nvGrpSpPr>
        <p:grpSpPr>
          <a:xfrm>
            <a:off x="2137184" y="3147641"/>
            <a:ext cx="918000" cy="918000"/>
            <a:chOff x="1325579" y="4133056"/>
            <a:chExt cx="1224000" cy="1224000"/>
          </a:xfrm>
        </p:grpSpPr>
        <p:sp>
          <p:nvSpPr>
            <p:cNvPr id="678924" name="Oval 64"/>
            <p:cNvSpPr>
              <a:spLocks noChangeArrowheads="1"/>
            </p:cNvSpPr>
            <p:nvPr/>
          </p:nvSpPr>
          <p:spPr bwMode="gray">
            <a:xfrm>
              <a:off x="1325579" y="4133056"/>
              <a:ext cx="1224000" cy="1224000"/>
            </a:xfrm>
            <a:prstGeom prst="ellipse">
              <a:avLst/>
            </a:prstGeom>
            <a:solidFill>
              <a:srgbClr val="B4B4B4">
                <a:alpha val="70000"/>
              </a:srgbClr>
            </a:solidFill>
            <a:ln w="12700" algn="ctr">
              <a:noFill/>
              <a:round/>
              <a:headEnd/>
              <a:tailEnd/>
            </a:ln>
          </p:spPr>
          <p:txBody>
            <a:bodyPr lIns="27000" tIns="27000" rIns="27000" bIns="27000" anchor="ctr" anchorCtr="1"/>
            <a:lstStyle/>
            <a:p>
              <a:pPr algn="ctr" defTabSz="685800">
                <a:buClrTx/>
              </a:pPr>
              <a:r>
                <a:rPr lang="en-US" sz="1050" kern="1200" dirty="0">
                  <a:solidFill>
                    <a:srgbClr val="313131"/>
                  </a:solidFill>
                  <a:ea typeface="+mn-ea"/>
                  <a:cs typeface="+mn-cs"/>
                </a:rPr>
                <a:t>Text</a:t>
              </a:r>
            </a:p>
          </p:txBody>
        </p:sp>
        <p:sp>
          <p:nvSpPr>
            <p:cNvPr id="678935" name="Oval 62"/>
            <p:cNvSpPr>
              <a:spLocks noChangeArrowheads="1"/>
            </p:cNvSpPr>
            <p:nvPr/>
          </p:nvSpPr>
          <p:spPr bwMode="gray">
            <a:xfrm>
              <a:off x="1325579" y="4133056"/>
              <a:ext cx="1224000" cy="1224000"/>
            </a:xfrm>
            <a:prstGeom prst="ellipse">
              <a:avLst/>
            </a:prstGeom>
            <a:noFill/>
            <a:ln w="12700" algn="ctr">
              <a:solidFill>
                <a:schemeClr val="bg1"/>
              </a:solidFill>
              <a:round/>
              <a:headEnd/>
              <a:tailEnd/>
            </a:ln>
          </p:spPr>
          <p:txBody>
            <a:bodyPr lIns="27000" tIns="27000" rIns="27000" bIns="27000" anchor="ctr" anchorCtr="1"/>
            <a:lstStyle/>
            <a:p>
              <a:pPr algn="ctr" defTabSz="685800">
                <a:buClrTx/>
              </a:pPr>
              <a:endParaRPr lang="en-US" sz="1050" kern="1200">
                <a:solidFill>
                  <a:srgbClr val="313131"/>
                </a:solidFill>
                <a:ea typeface="+mn-ea"/>
                <a:cs typeface="+mn-cs"/>
              </a:endParaRPr>
            </a:p>
          </p:txBody>
        </p:sp>
      </p:grpSp>
      <p:grpSp>
        <p:nvGrpSpPr>
          <p:cNvPr id="37" name="Group 36"/>
          <p:cNvGrpSpPr/>
          <p:nvPr/>
        </p:nvGrpSpPr>
        <p:grpSpPr>
          <a:xfrm>
            <a:off x="3788541" y="3813544"/>
            <a:ext cx="918000" cy="918000"/>
            <a:chOff x="900129" y="5003800"/>
            <a:chExt cx="1224000" cy="1224000"/>
          </a:xfrm>
        </p:grpSpPr>
        <p:sp>
          <p:nvSpPr>
            <p:cNvPr id="38" name="Oval 62"/>
            <p:cNvSpPr>
              <a:spLocks noChangeArrowheads="1"/>
            </p:cNvSpPr>
            <p:nvPr/>
          </p:nvSpPr>
          <p:spPr bwMode="gray">
            <a:xfrm>
              <a:off x="900129" y="5003800"/>
              <a:ext cx="1224000" cy="1224000"/>
            </a:xfrm>
            <a:prstGeom prst="ellipse">
              <a:avLst/>
            </a:prstGeom>
            <a:solidFill>
              <a:srgbClr val="B4B4B4">
                <a:alpha val="69803"/>
              </a:srgbClr>
            </a:solidFill>
            <a:ln w="12700" algn="ctr">
              <a:noFill/>
              <a:round/>
              <a:headEnd/>
              <a:tailEnd/>
            </a:ln>
          </p:spPr>
          <p:txBody>
            <a:bodyPr lIns="27000" tIns="27000" rIns="27000" bIns="27000" anchor="ctr" anchorCtr="1"/>
            <a:lstStyle/>
            <a:p>
              <a:pPr algn="ctr" defTabSz="685800">
                <a:buClrTx/>
              </a:pPr>
              <a:r>
                <a:rPr lang="en-US" sz="1050" kern="1200" dirty="0">
                  <a:solidFill>
                    <a:srgbClr val="313131"/>
                  </a:solidFill>
                  <a:ea typeface="+mn-ea"/>
                  <a:cs typeface="+mn-cs"/>
                </a:rPr>
                <a:t>Text</a:t>
              </a:r>
            </a:p>
          </p:txBody>
        </p:sp>
        <p:sp>
          <p:nvSpPr>
            <p:cNvPr id="39" name="Oval 62"/>
            <p:cNvSpPr>
              <a:spLocks noChangeArrowheads="1"/>
            </p:cNvSpPr>
            <p:nvPr/>
          </p:nvSpPr>
          <p:spPr bwMode="gray">
            <a:xfrm>
              <a:off x="900129" y="5003800"/>
              <a:ext cx="1224000" cy="1224000"/>
            </a:xfrm>
            <a:prstGeom prst="ellipse">
              <a:avLst/>
            </a:prstGeom>
            <a:noFill/>
            <a:ln w="12700" algn="ctr">
              <a:solidFill>
                <a:schemeClr val="bg1"/>
              </a:solidFill>
              <a:round/>
              <a:headEnd/>
              <a:tailEnd/>
            </a:ln>
          </p:spPr>
          <p:txBody>
            <a:bodyPr lIns="27000" tIns="27000" rIns="27000" bIns="27000" anchor="ctr" anchorCtr="1"/>
            <a:lstStyle/>
            <a:p>
              <a:pPr algn="ctr" defTabSz="685800">
                <a:buClrTx/>
              </a:pPr>
              <a:endParaRPr lang="en-US" sz="1050" kern="1200">
                <a:solidFill>
                  <a:srgbClr val="313131"/>
                </a:solidFill>
                <a:ea typeface="+mn-ea"/>
                <a:cs typeface="+mn-cs"/>
              </a:endParaRPr>
            </a:p>
          </p:txBody>
        </p:sp>
      </p:grpSp>
      <p:grpSp>
        <p:nvGrpSpPr>
          <p:cNvPr id="40" name="Group 39"/>
          <p:cNvGrpSpPr/>
          <p:nvPr/>
        </p:nvGrpSpPr>
        <p:grpSpPr>
          <a:xfrm>
            <a:off x="4425526" y="3814139"/>
            <a:ext cx="918000" cy="918000"/>
            <a:chOff x="1749442" y="5004594"/>
            <a:chExt cx="1224000" cy="1224000"/>
          </a:xfrm>
        </p:grpSpPr>
        <p:sp>
          <p:nvSpPr>
            <p:cNvPr id="41" name="Oval 63"/>
            <p:cNvSpPr>
              <a:spLocks noChangeArrowheads="1"/>
            </p:cNvSpPr>
            <p:nvPr/>
          </p:nvSpPr>
          <p:spPr bwMode="gray">
            <a:xfrm>
              <a:off x="1749442" y="5004594"/>
              <a:ext cx="1224000" cy="1224000"/>
            </a:xfrm>
            <a:prstGeom prst="ellipse">
              <a:avLst/>
            </a:prstGeom>
            <a:solidFill>
              <a:srgbClr val="B4B4B4">
                <a:alpha val="69803"/>
              </a:srgbClr>
            </a:solidFill>
            <a:ln w="12700" algn="ctr">
              <a:noFill/>
              <a:round/>
              <a:headEnd/>
              <a:tailEnd/>
            </a:ln>
          </p:spPr>
          <p:txBody>
            <a:bodyPr lIns="27000" tIns="27000" rIns="27000" bIns="27000" anchor="ctr" anchorCtr="1"/>
            <a:lstStyle/>
            <a:p>
              <a:pPr algn="ctr" defTabSz="685800">
                <a:buClrTx/>
              </a:pPr>
              <a:r>
                <a:rPr lang="en-US" sz="1050" kern="1200">
                  <a:solidFill>
                    <a:srgbClr val="313131"/>
                  </a:solidFill>
                  <a:ea typeface="+mn-ea"/>
                  <a:cs typeface="+mn-cs"/>
                </a:rPr>
                <a:t>Text</a:t>
              </a:r>
            </a:p>
          </p:txBody>
        </p:sp>
        <p:sp>
          <p:nvSpPr>
            <p:cNvPr id="42" name="Oval 62"/>
            <p:cNvSpPr>
              <a:spLocks noChangeArrowheads="1"/>
            </p:cNvSpPr>
            <p:nvPr/>
          </p:nvSpPr>
          <p:spPr bwMode="gray">
            <a:xfrm>
              <a:off x="1749442" y="5004594"/>
              <a:ext cx="1224000" cy="1224000"/>
            </a:xfrm>
            <a:prstGeom prst="ellipse">
              <a:avLst/>
            </a:prstGeom>
            <a:noFill/>
            <a:ln w="12700" algn="ctr">
              <a:solidFill>
                <a:schemeClr val="bg1"/>
              </a:solidFill>
              <a:round/>
              <a:headEnd/>
              <a:tailEnd/>
            </a:ln>
          </p:spPr>
          <p:txBody>
            <a:bodyPr lIns="27000" tIns="27000" rIns="27000" bIns="27000" anchor="ctr" anchorCtr="1"/>
            <a:lstStyle/>
            <a:p>
              <a:pPr algn="ctr" defTabSz="685800">
                <a:buClrTx/>
              </a:pPr>
              <a:endParaRPr lang="en-US" sz="1050" kern="1200">
                <a:solidFill>
                  <a:srgbClr val="313131"/>
                </a:solidFill>
                <a:ea typeface="+mn-ea"/>
                <a:cs typeface="+mn-cs"/>
              </a:endParaRPr>
            </a:p>
          </p:txBody>
        </p:sp>
      </p:grpSp>
      <p:grpSp>
        <p:nvGrpSpPr>
          <p:cNvPr id="43" name="Group 42"/>
          <p:cNvGrpSpPr/>
          <p:nvPr/>
        </p:nvGrpSpPr>
        <p:grpSpPr>
          <a:xfrm>
            <a:off x="3788541" y="3159890"/>
            <a:ext cx="918000" cy="918000"/>
            <a:chOff x="900129" y="5003800"/>
            <a:chExt cx="1224000" cy="1224000"/>
          </a:xfrm>
        </p:grpSpPr>
        <p:sp>
          <p:nvSpPr>
            <p:cNvPr id="44" name="Oval 62"/>
            <p:cNvSpPr>
              <a:spLocks noChangeArrowheads="1"/>
            </p:cNvSpPr>
            <p:nvPr/>
          </p:nvSpPr>
          <p:spPr bwMode="gray">
            <a:xfrm>
              <a:off x="900129" y="5003800"/>
              <a:ext cx="1224000" cy="1224000"/>
            </a:xfrm>
            <a:prstGeom prst="ellipse">
              <a:avLst/>
            </a:prstGeom>
            <a:solidFill>
              <a:srgbClr val="B4B4B4">
                <a:alpha val="70000"/>
              </a:srgbClr>
            </a:solidFill>
            <a:ln w="12700" algn="ctr">
              <a:noFill/>
              <a:round/>
              <a:headEnd/>
              <a:tailEnd/>
            </a:ln>
          </p:spPr>
          <p:txBody>
            <a:bodyPr lIns="27000" tIns="27000" rIns="27000" bIns="27000" anchor="ctr" anchorCtr="1"/>
            <a:lstStyle/>
            <a:p>
              <a:pPr algn="ctr" defTabSz="685800">
                <a:buClrTx/>
              </a:pPr>
              <a:r>
                <a:rPr lang="en-US" sz="1050" kern="1200" dirty="0">
                  <a:solidFill>
                    <a:srgbClr val="313131"/>
                  </a:solidFill>
                  <a:ea typeface="+mn-ea"/>
                  <a:cs typeface="+mn-cs"/>
                </a:rPr>
                <a:t>Text</a:t>
              </a:r>
            </a:p>
          </p:txBody>
        </p:sp>
        <p:sp>
          <p:nvSpPr>
            <p:cNvPr id="45" name="Oval 62"/>
            <p:cNvSpPr>
              <a:spLocks noChangeArrowheads="1"/>
            </p:cNvSpPr>
            <p:nvPr/>
          </p:nvSpPr>
          <p:spPr bwMode="gray">
            <a:xfrm>
              <a:off x="900129" y="5003800"/>
              <a:ext cx="1224000" cy="1224000"/>
            </a:xfrm>
            <a:prstGeom prst="ellipse">
              <a:avLst/>
            </a:prstGeom>
            <a:noFill/>
            <a:ln w="12700" algn="ctr">
              <a:solidFill>
                <a:schemeClr val="bg1"/>
              </a:solidFill>
              <a:round/>
              <a:headEnd/>
              <a:tailEnd/>
            </a:ln>
          </p:spPr>
          <p:txBody>
            <a:bodyPr lIns="27000" tIns="27000" rIns="27000" bIns="27000" anchor="ctr" anchorCtr="1"/>
            <a:lstStyle/>
            <a:p>
              <a:pPr algn="ctr" defTabSz="685800">
                <a:buClrTx/>
              </a:pPr>
              <a:endParaRPr lang="en-US" sz="1050" kern="1200">
                <a:solidFill>
                  <a:srgbClr val="313131"/>
                </a:solidFill>
                <a:ea typeface="+mn-ea"/>
                <a:cs typeface="+mn-cs"/>
              </a:endParaRPr>
            </a:p>
          </p:txBody>
        </p:sp>
      </p:grpSp>
      <p:grpSp>
        <p:nvGrpSpPr>
          <p:cNvPr id="46" name="Group 45"/>
          <p:cNvGrpSpPr/>
          <p:nvPr/>
        </p:nvGrpSpPr>
        <p:grpSpPr>
          <a:xfrm>
            <a:off x="4425526" y="3160486"/>
            <a:ext cx="918000" cy="918000"/>
            <a:chOff x="1749442" y="5004594"/>
            <a:chExt cx="1224000" cy="1224000"/>
          </a:xfrm>
        </p:grpSpPr>
        <p:sp>
          <p:nvSpPr>
            <p:cNvPr id="47" name="Oval 63"/>
            <p:cNvSpPr>
              <a:spLocks noChangeArrowheads="1"/>
            </p:cNvSpPr>
            <p:nvPr/>
          </p:nvSpPr>
          <p:spPr bwMode="gray">
            <a:xfrm>
              <a:off x="1749442" y="5004594"/>
              <a:ext cx="1224000" cy="1224000"/>
            </a:xfrm>
            <a:prstGeom prst="ellipse">
              <a:avLst/>
            </a:prstGeom>
            <a:solidFill>
              <a:srgbClr val="B4B4B4">
                <a:alpha val="70000"/>
              </a:srgbClr>
            </a:solidFill>
            <a:ln w="12700" algn="ctr">
              <a:noFill/>
              <a:round/>
              <a:headEnd/>
              <a:tailEnd/>
            </a:ln>
          </p:spPr>
          <p:txBody>
            <a:bodyPr lIns="27000" tIns="27000" rIns="27000" bIns="27000" anchor="ctr" anchorCtr="1"/>
            <a:lstStyle/>
            <a:p>
              <a:pPr algn="ctr" defTabSz="685800">
                <a:buClrTx/>
              </a:pPr>
              <a:r>
                <a:rPr lang="en-US" sz="1050" kern="1200" dirty="0">
                  <a:solidFill>
                    <a:srgbClr val="313131"/>
                  </a:solidFill>
                  <a:ea typeface="+mn-ea"/>
                  <a:cs typeface="+mn-cs"/>
                </a:rPr>
                <a:t>Text</a:t>
              </a:r>
            </a:p>
          </p:txBody>
        </p:sp>
        <p:sp>
          <p:nvSpPr>
            <p:cNvPr id="48" name="Oval 62"/>
            <p:cNvSpPr>
              <a:spLocks noChangeArrowheads="1"/>
            </p:cNvSpPr>
            <p:nvPr/>
          </p:nvSpPr>
          <p:spPr bwMode="gray">
            <a:xfrm>
              <a:off x="1749442" y="5004594"/>
              <a:ext cx="1224000" cy="1224000"/>
            </a:xfrm>
            <a:prstGeom prst="ellipse">
              <a:avLst/>
            </a:prstGeom>
            <a:noFill/>
            <a:ln w="12700" algn="ctr">
              <a:solidFill>
                <a:schemeClr val="bg1"/>
              </a:solidFill>
              <a:round/>
              <a:headEnd/>
              <a:tailEnd/>
            </a:ln>
          </p:spPr>
          <p:txBody>
            <a:bodyPr lIns="27000" tIns="27000" rIns="27000" bIns="27000" anchor="ctr" anchorCtr="1"/>
            <a:lstStyle/>
            <a:p>
              <a:pPr algn="ctr" defTabSz="685800">
                <a:buClrTx/>
              </a:pPr>
              <a:endParaRPr lang="en-US" sz="1050" kern="1200">
                <a:solidFill>
                  <a:srgbClr val="313131"/>
                </a:solidFill>
                <a:ea typeface="+mn-ea"/>
                <a:cs typeface="+mn-cs"/>
              </a:endParaRPr>
            </a:p>
          </p:txBody>
        </p:sp>
      </p:grpSp>
      <p:grpSp>
        <p:nvGrpSpPr>
          <p:cNvPr id="49" name="Group 48"/>
          <p:cNvGrpSpPr/>
          <p:nvPr/>
        </p:nvGrpSpPr>
        <p:grpSpPr>
          <a:xfrm>
            <a:off x="5854276" y="3428783"/>
            <a:ext cx="918000" cy="918000"/>
            <a:chOff x="900129" y="5003800"/>
            <a:chExt cx="1224000" cy="1224000"/>
          </a:xfrm>
        </p:grpSpPr>
        <p:sp>
          <p:nvSpPr>
            <p:cNvPr id="50" name="Oval 62"/>
            <p:cNvSpPr>
              <a:spLocks noChangeArrowheads="1"/>
            </p:cNvSpPr>
            <p:nvPr/>
          </p:nvSpPr>
          <p:spPr bwMode="gray">
            <a:xfrm>
              <a:off x="900129" y="5003800"/>
              <a:ext cx="1224000" cy="1224000"/>
            </a:xfrm>
            <a:prstGeom prst="ellipse">
              <a:avLst/>
            </a:prstGeom>
            <a:solidFill>
              <a:srgbClr val="B4B4B4">
                <a:alpha val="69803"/>
              </a:srgbClr>
            </a:solidFill>
            <a:ln w="12700" algn="ctr">
              <a:noFill/>
              <a:round/>
              <a:headEnd/>
              <a:tailEnd/>
            </a:ln>
          </p:spPr>
          <p:txBody>
            <a:bodyPr lIns="27000" tIns="27000" rIns="27000" bIns="27000" anchor="ctr" anchorCtr="1"/>
            <a:lstStyle/>
            <a:p>
              <a:pPr algn="ctr" defTabSz="685800">
                <a:buClrTx/>
              </a:pPr>
              <a:r>
                <a:rPr lang="en-US" sz="1050" kern="1200">
                  <a:solidFill>
                    <a:srgbClr val="313131"/>
                  </a:solidFill>
                  <a:ea typeface="+mn-ea"/>
                  <a:cs typeface="+mn-cs"/>
                </a:rPr>
                <a:t>Text</a:t>
              </a:r>
            </a:p>
          </p:txBody>
        </p:sp>
        <p:sp>
          <p:nvSpPr>
            <p:cNvPr id="54" name="Oval 62"/>
            <p:cNvSpPr>
              <a:spLocks noChangeArrowheads="1"/>
            </p:cNvSpPr>
            <p:nvPr/>
          </p:nvSpPr>
          <p:spPr bwMode="gray">
            <a:xfrm>
              <a:off x="900129" y="5003800"/>
              <a:ext cx="1224000" cy="1224000"/>
            </a:xfrm>
            <a:prstGeom prst="ellipse">
              <a:avLst/>
            </a:prstGeom>
            <a:noFill/>
            <a:ln w="12700" algn="ctr">
              <a:solidFill>
                <a:schemeClr val="bg1"/>
              </a:solidFill>
              <a:round/>
              <a:headEnd/>
              <a:tailEnd/>
            </a:ln>
          </p:spPr>
          <p:txBody>
            <a:bodyPr lIns="27000" tIns="27000" rIns="27000" bIns="27000" anchor="ctr" anchorCtr="1"/>
            <a:lstStyle/>
            <a:p>
              <a:pPr algn="ctr" defTabSz="685800">
                <a:buClrTx/>
              </a:pPr>
              <a:endParaRPr lang="en-US" sz="1050" kern="1200">
                <a:solidFill>
                  <a:srgbClr val="313131"/>
                </a:solidFill>
                <a:ea typeface="+mn-ea"/>
                <a:cs typeface="+mn-cs"/>
              </a:endParaRPr>
            </a:p>
          </p:txBody>
        </p:sp>
      </p:grpSp>
      <p:grpSp>
        <p:nvGrpSpPr>
          <p:cNvPr id="55" name="Group 54"/>
          <p:cNvGrpSpPr/>
          <p:nvPr/>
        </p:nvGrpSpPr>
        <p:grpSpPr>
          <a:xfrm>
            <a:off x="6491261" y="3429378"/>
            <a:ext cx="918000" cy="918000"/>
            <a:chOff x="1749442" y="5004594"/>
            <a:chExt cx="1224000" cy="1224000"/>
          </a:xfrm>
        </p:grpSpPr>
        <p:sp>
          <p:nvSpPr>
            <p:cNvPr id="56" name="Oval 63"/>
            <p:cNvSpPr>
              <a:spLocks noChangeArrowheads="1"/>
            </p:cNvSpPr>
            <p:nvPr/>
          </p:nvSpPr>
          <p:spPr bwMode="gray">
            <a:xfrm>
              <a:off x="1749442" y="5004594"/>
              <a:ext cx="1224000" cy="1224000"/>
            </a:xfrm>
            <a:prstGeom prst="ellipse">
              <a:avLst/>
            </a:prstGeom>
            <a:solidFill>
              <a:srgbClr val="B4B4B4">
                <a:alpha val="69803"/>
              </a:srgbClr>
            </a:solidFill>
            <a:ln w="12700" algn="ctr">
              <a:noFill/>
              <a:round/>
              <a:headEnd/>
              <a:tailEnd/>
            </a:ln>
          </p:spPr>
          <p:txBody>
            <a:bodyPr lIns="27000" tIns="27000" rIns="27000" bIns="27000" anchor="ctr" anchorCtr="1"/>
            <a:lstStyle/>
            <a:p>
              <a:pPr algn="ctr" defTabSz="685800">
                <a:buClrTx/>
              </a:pPr>
              <a:r>
                <a:rPr lang="en-US" sz="1050" kern="1200">
                  <a:solidFill>
                    <a:srgbClr val="313131"/>
                  </a:solidFill>
                  <a:ea typeface="+mn-ea"/>
                  <a:cs typeface="+mn-cs"/>
                </a:rPr>
                <a:t>Text</a:t>
              </a:r>
            </a:p>
          </p:txBody>
        </p:sp>
        <p:sp>
          <p:nvSpPr>
            <p:cNvPr id="57" name="Oval 62"/>
            <p:cNvSpPr>
              <a:spLocks noChangeArrowheads="1"/>
            </p:cNvSpPr>
            <p:nvPr/>
          </p:nvSpPr>
          <p:spPr bwMode="gray">
            <a:xfrm>
              <a:off x="1749442" y="5004594"/>
              <a:ext cx="1224000" cy="1224000"/>
            </a:xfrm>
            <a:prstGeom prst="ellipse">
              <a:avLst/>
            </a:prstGeom>
            <a:noFill/>
            <a:ln w="12700" algn="ctr">
              <a:solidFill>
                <a:schemeClr val="bg1"/>
              </a:solidFill>
              <a:round/>
              <a:headEnd/>
              <a:tailEnd/>
            </a:ln>
          </p:spPr>
          <p:txBody>
            <a:bodyPr lIns="27000" tIns="27000" rIns="27000" bIns="27000" anchor="ctr" anchorCtr="1"/>
            <a:lstStyle/>
            <a:p>
              <a:pPr algn="ctr" defTabSz="685800">
                <a:buClrTx/>
              </a:pPr>
              <a:endParaRPr lang="en-US" sz="1050" kern="1200">
                <a:solidFill>
                  <a:srgbClr val="313131"/>
                </a:solidFill>
                <a:ea typeface="+mn-ea"/>
                <a:cs typeface="+mn-cs"/>
              </a:endParaRPr>
            </a:p>
          </p:txBody>
        </p:sp>
      </p:grpSp>
      <p:sp>
        <p:nvSpPr>
          <p:cNvPr id="60" name="Rectangle 59"/>
          <p:cNvSpPr>
            <a:spLocks noChangeArrowheads="1"/>
          </p:cNvSpPr>
          <p:nvPr/>
        </p:nvSpPr>
        <p:spPr bwMode="auto">
          <a:xfrm>
            <a:off x="5803107" y="0"/>
            <a:ext cx="2197894" cy="369332"/>
          </a:xfrm>
          <a:prstGeom prst="rect">
            <a:avLst/>
          </a:prstGeom>
          <a:solidFill>
            <a:schemeClr val="accent6"/>
          </a:solidFill>
          <a:ln w="6350" algn="ctr">
            <a:solidFill>
              <a:schemeClr val="bg1"/>
            </a:solidFill>
            <a:miter lim="800000"/>
            <a:headEnd/>
            <a:tailEnd/>
          </a:ln>
        </p:spPr>
        <p:txBody>
          <a:bodyPr tIns="68580" bIns="68580">
            <a:spAutoFit/>
          </a:bodyPr>
          <a:lstStyle/>
          <a:p>
            <a:pPr defTabSz="685800">
              <a:buClrTx/>
              <a:defRPr/>
            </a:pPr>
            <a:r>
              <a:rPr lang="en-US" sz="750" kern="1200" dirty="0">
                <a:solidFill>
                  <a:srgbClr val="313131"/>
                </a:solidFill>
                <a:ea typeface="ＭＳ Ｐゴシック" pitchFamily="50" charset="-128"/>
                <a:cs typeface="+mn-cs"/>
              </a:rPr>
              <a:t>Tip! Hold the Shift key when resizing the pieces or group to retain the shape proportions</a:t>
            </a:r>
          </a:p>
        </p:txBody>
      </p:sp>
      <p:sp>
        <p:nvSpPr>
          <p:cNvPr id="58" name="Text Placeholder 12"/>
          <p:cNvSpPr>
            <a:spLocks/>
          </p:cNvSpPr>
          <p:nvPr>
            <p:custDataLst>
              <p:tags r:id="rId1"/>
            </p:custDataLst>
          </p:nvPr>
        </p:nvSpPr>
        <p:spPr bwMode="auto">
          <a:xfrm>
            <a:off x="1440656" y="1131570"/>
            <a:ext cx="1070806"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262626"/>
                </a:solidFill>
                <a:ea typeface="+mn-ea"/>
                <a:cs typeface="+mn-cs"/>
              </a:rPr>
              <a:t>Graphic title goes here </a:t>
            </a:r>
          </a:p>
        </p:txBody>
      </p:sp>
    </p:spTree>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9937" name="Title 1"/>
          <p:cNvSpPr>
            <a:spLocks noGrp="1"/>
          </p:cNvSpPr>
          <p:nvPr>
            <p:ph type="title"/>
          </p:nvPr>
        </p:nvSpPr>
        <p:spPr/>
        <p:txBody>
          <a:bodyPr/>
          <a:lstStyle/>
          <a:p>
            <a:r>
              <a:rPr lang="en-US" dirty="0">
                <a:solidFill>
                  <a:srgbClr val="81BC00"/>
                </a:solidFill>
              </a:rPr>
              <a:t>Spheres</a:t>
            </a:r>
            <a:r>
              <a:rPr lang="en-US" dirty="0"/>
              <a:t> </a:t>
            </a:r>
            <a:br>
              <a:rPr lang="en-US" dirty="0"/>
            </a:br>
            <a:r>
              <a:rPr lang="en-US" dirty="0">
                <a:solidFill>
                  <a:srgbClr val="575757"/>
                </a:solidFill>
              </a:rPr>
              <a:t>Blades</a:t>
            </a:r>
          </a:p>
        </p:txBody>
      </p:sp>
      <p:sp>
        <p:nvSpPr>
          <p:cNvPr id="679941" name="Freeform 4"/>
          <p:cNvSpPr>
            <a:spLocks/>
          </p:cNvSpPr>
          <p:nvPr/>
        </p:nvSpPr>
        <p:spPr bwMode="blackWhite">
          <a:xfrm>
            <a:off x="4671061" y="2125895"/>
            <a:ext cx="1890686" cy="856000"/>
          </a:xfrm>
          <a:custGeom>
            <a:avLst/>
            <a:gdLst>
              <a:gd name="T0" fmla="*/ 15642060 w 1136"/>
              <a:gd name="T1" fmla="*/ 5102294 h 491"/>
              <a:gd name="T2" fmla="*/ 15442507 w 1136"/>
              <a:gd name="T3" fmla="*/ 4270120 h 491"/>
              <a:gd name="T4" fmla="*/ 15069848 w 1136"/>
              <a:gd name="T5" fmla="*/ 3479787 h 491"/>
              <a:gd name="T6" fmla="*/ 14519275 w 1136"/>
              <a:gd name="T7" fmla="*/ 2717349 h 491"/>
              <a:gd name="T8" fmla="*/ 13853297 w 1136"/>
              <a:gd name="T9" fmla="*/ 2024646 h 491"/>
              <a:gd name="T10" fmla="*/ 13033448 w 1136"/>
              <a:gd name="T11" fmla="*/ 1434221 h 491"/>
              <a:gd name="T12" fmla="*/ 12105407 w 1136"/>
              <a:gd name="T13" fmla="*/ 911207 h 491"/>
              <a:gd name="T14" fmla="*/ 11098026 w 1136"/>
              <a:gd name="T15" fmla="*/ 516041 h 491"/>
              <a:gd name="T16" fmla="*/ 10006496 w 1136"/>
              <a:gd name="T17" fmla="*/ 218504 h 491"/>
              <a:gd name="T18" fmla="*/ 8871688 w 1136"/>
              <a:gd name="T19" fmla="*/ 44166 h 491"/>
              <a:gd name="T20" fmla="*/ 7729668 w 1136"/>
              <a:gd name="T21" fmla="*/ 0 h 491"/>
              <a:gd name="T22" fmla="*/ 6556394 w 1136"/>
              <a:gd name="T23" fmla="*/ 65086 h 491"/>
              <a:gd name="T24" fmla="*/ 5445630 w 1136"/>
              <a:gd name="T25" fmla="*/ 281265 h 491"/>
              <a:gd name="T26" fmla="*/ 4363716 w 1136"/>
              <a:gd name="T27" fmla="*/ 595074 h 491"/>
              <a:gd name="T28" fmla="*/ 3353931 w 1136"/>
              <a:gd name="T29" fmla="*/ 1029757 h 491"/>
              <a:gd name="T30" fmla="*/ 2471571 w 1136"/>
              <a:gd name="T31" fmla="*/ 1569042 h 491"/>
              <a:gd name="T32" fmla="*/ 1690189 w 1136"/>
              <a:gd name="T33" fmla="*/ 2182712 h 491"/>
              <a:gd name="T34" fmla="*/ 1038637 w 1136"/>
              <a:gd name="T35" fmla="*/ 2884714 h 491"/>
              <a:gd name="T36" fmla="*/ 536148 w 1136"/>
              <a:gd name="T37" fmla="*/ 3640178 h 491"/>
              <a:gd name="T38" fmla="*/ 197149 w 1136"/>
              <a:gd name="T39" fmla="*/ 4458405 h 491"/>
              <a:gd name="T40" fmla="*/ 28851 w 1136"/>
              <a:gd name="T41" fmla="*/ 5302202 h 491"/>
              <a:gd name="T42" fmla="*/ 7854689 w 1136"/>
              <a:gd name="T43" fmla="*/ 5722937 h 491"/>
              <a:gd name="T44" fmla="*/ 8999113 w 1136"/>
              <a:gd name="T45" fmla="*/ 5448646 h 491"/>
              <a:gd name="T46" fmla="*/ 9376580 w 1136"/>
              <a:gd name="T47" fmla="*/ 4958175 h 491"/>
              <a:gd name="T48" fmla="*/ 9898305 w 1136"/>
              <a:gd name="T49" fmla="*/ 4537438 h 491"/>
              <a:gd name="T50" fmla="*/ 10513793 w 1136"/>
              <a:gd name="T51" fmla="*/ 4209682 h 491"/>
              <a:gd name="T52" fmla="*/ 11213430 w 1136"/>
              <a:gd name="T53" fmla="*/ 3970258 h 491"/>
              <a:gd name="T54" fmla="*/ 11941918 w 1136"/>
              <a:gd name="T55" fmla="*/ 3849384 h 491"/>
              <a:gd name="T56" fmla="*/ 12699257 w 1136"/>
              <a:gd name="T57" fmla="*/ 3849384 h 491"/>
              <a:gd name="T58" fmla="*/ 13461405 w 1136"/>
              <a:gd name="T59" fmla="*/ 3974907 h 491"/>
              <a:gd name="T60" fmla="*/ 14161041 w 1136"/>
              <a:gd name="T61" fmla="*/ 4223630 h 491"/>
              <a:gd name="T62" fmla="*/ 14790955 w 1136"/>
              <a:gd name="T63" fmla="*/ 4579279 h 491"/>
              <a:gd name="T64" fmla="*/ 15295848 w 1136"/>
              <a:gd name="T65" fmla="*/ 5006989 h 491"/>
              <a:gd name="T66" fmla="*/ 15682932 w 1136"/>
              <a:gd name="T67" fmla="*/ 5523030 h 4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36"/>
              <a:gd name="T103" fmla="*/ 0 h 491"/>
              <a:gd name="T104" fmla="*/ 1136 w 1136"/>
              <a:gd name="T105" fmla="*/ 491 h 49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36" h="491">
                <a:moveTo>
                  <a:pt x="1135" y="473"/>
                </a:moveTo>
                <a:lnTo>
                  <a:pt x="1132" y="437"/>
                </a:lnTo>
                <a:lnTo>
                  <a:pt x="1126" y="401"/>
                </a:lnTo>
                <a:lnTo>
                  <a:pt x="1117" y="366"/>
                </a:lnTo>
                <a:lnTo>
                  <a:pt x="1104" y="331"/>
                </a:lnTo>
                <a:lnTo>
                  <a:pt x="1090" y="298"/>
                </a:lnTo>
                <a:lnTo>
                  <a:pt x="1072" y="264"/>
                </a:lnTo>
                <a:lnTo>
                  <a:pt x="1051" y="233"/>
                </a:lnTo>
                <a:lnTo>
                  <a:pt x="1027" y="203"/>
                </a:lnTo>
                <a:lnTo>
                  <a:pt x="1002" y="174"/>
                </a:lnTo>
                <a:lnTo>
                  <a:pt x="974" y="148"/>
                </a:lnTo>
                <a:lnTo>
                  <a:pt x="943" y="123"/>
                </a:lnTo>
                <a:lnTo>
                  <a:pt x="911" y="99"/>
                </a:lnTo>
                <a:lnTo>
                  <a:pt x="876" y="78"/>
                </a:lnTo>
                <a:lnTo>
                  <a:pt x="840" y="60"/>
                </a:lnTo>
                <a:lnTo>
                  <a:pt x="803" y="44"/>
                </a:lnTo>
                <a:lnTo>
                  <a:pt x="764" y="30"/>
                </a:lnTo>
                <a:lnTo>
                  <a:pt x="724" y="19"/>
                </a:lnTo>
                <a:lnTo>
                  <a:pt x="683" y="10"/>
                </a:lnTo>
                <a:lnTo>
                  <a:pt x="642" y="4"/>
                </a:lnTo>
                <a:lnTo>
                  <a:pt x="600" y="1"/>
                </a:lnTo>
                <a:lnTo>
                  <a:pt x="559" y="0"/>
                </a:lnTo>
                <a:lnTo>
                  <a:pt x="517" y="2"/>
                </a:lnTo>
                <a:lnTo>
                  <a:pt x="474" y="6"/>
                </a:lnTo>
                <a:lnTo>
                  <a:pt x="433" y="14"/>
                </a:lnTo>
                <a:lnTo>
                  <a:pt x="394" y="24"/>
                </a:lnTo>
                <a:lnTo>
                  <a:pt x="354" y="37"/>
                </a:lnTo>
                <a:lnTo>
                  <a:pt x="316" y="51"/>
                </a:lnTo>
                <a:lnTo>
                  <a:pt x="279" y="68"/>
                </a:lnTo>
                <a:lnTo>
                  <a:pt x="243" y="88"/>
                </a:lnTo>
                <a:lnTo>
                  <a:pt x="210" y="110"/>
                </a:lnTo>
                <a:lnTo>
                  <a:pt x="179" y="134"/>
                </a:lnTo>
                <a:lnTo>
                  <a:pt x="149" y="159"/>
                </a:lnTo>
                <a:lnTo>
                  <a:pt x="122" y="187"/>
                </a:lnTo>
                <a:lnTo>
                  <a:pt x="97" y="217"/>
                </a:lnTo>
                <a:lnTo>
                  <a:pt x="75" y="247"/>
                </a:lnTo>
                <a:lnTo>
                  <a:pt x="56" y="280"/>
                </a:lnTo>
                <a:lnTo>
                  <a:pt x="39" y="312"/>
                </a:lnTo>
                <a:lnTo>
                  <a:pt x="25" y="347"/>
                </a:lnTo>
                <a:lnTo>
                  <a:pt x="14" y="382"/>
                </a:lnTo>
                <a:lnTo>
                  <a:pt x="7" y="417"/>
                </a:lnTo>
                <a:lnTo>
                  <a:pt x="2" y="454"/>
                </a:lnTo>
                <a:lnTo>
                  <a:pt x="0" y="490"/>
                </a:lnTo>
                <a:lnTo>
                  <a:pt x="568" y="490"/>
                </a:lnTo>
                <a:lnTo>
                  <a:pt x="640" y="490"/>
                </a:lnTo>
                <a:lnTo>
                  <a:pt x="651" y="467"/>
                </a:lnTo>
                <a:lnTo>
                  <a:pt x="664" y="445"/>
                </a:lnTo>
                <a:lnTo>
                  <a:pt x="679" y="425"/>
                </a:lnTo>
                <a:lnTo>
                  <a:pt x="696" y="406"/>
                </a:lnTo>
                <a:lnTo>
                  <a:pt x="716" y="389"/>
                </a:lnTo>
                <a:lnTo>
                  <a:pt x="738" y="374"/>
                </a:lnTo>
                <a:lnTo>
                  <a:pt x="761" y="361"/>
                </a:lnTo>
                <a:lnTo>
                  <a:pt x="785" y="350"/>
                </a:lnTo>
                <a:lnTo>
                  <a:pt x="811" y="340"/>
                </a:lnTo>
                <a:lnTo>
                  <a:pt x="837" y="334"/>
                </a:lnTo>
                <a:lnTo>
                  <a:pt x="864" y="330"/>
                </a:lnTo>
                <a:lnTo>
                  <a:pt x="891" y="330"/>
                </a:lnTo>
                <a:lnTo>
                  <a:pt x="919" y="330"/>
                </a:lnTo>
                <a:lnTo>
                  <a:pt x="947" y="335"/>
                </a:lnTo>
                <a:lnTo>
                  <a:pt x="974" y="341"/>
                </a:lnTo>
                <a:lnTo>
                  <a:pt x="1000" y="351"/>
                </a:lnTo>
                <a:lnTo>
                  <a:pt x="1025" y="362"/>
                </a:lnTo>
                <a:lnTo>
                  <a:pt x="1048" y="375"/>
                </a:lnTo>
                <a:lnTo>
                  <a:pt x="1070" y="392"/>
                </a:lnTo>
                <a:lnTo>
                  <a:pt x="1090" y="410"/>
                </a:lnTo>
                <a:lnTo>
                  <a:pt x="1107" y="429"/>
                </a:lnTo>
                <a:lnTo>
                  <a:pt x="1122" y="451"/>
                </a:lnTo>
                <a:lnTo>
                  <a:pt x="1135" y="473"/>
                </a:lnTo>
              </a:path>
            </a:pathLst>
          </a:custGeom>
          <a:solidFill>
            <a:srgbClr val="B4B4B4"/>
          </a:solidFill>
          <a:ln w="12700" cap="rnd">
            <a:solidFill>
              <a:schemeClr val="bg1"/>
            </a:solidFill>
            <a:round/>
            <a:headEnd/>
            <a:tailEnd/>
          </a:ln>
        </p:spPr>
        <p:txBody>
          <a:bodyPr anchor="ctr"/>
          <a:lstStyle/>
          <a:p>
            <a:pPr algn="ctr" defTabSz="685800">
              <a:buClrTx/>
            </a:pPr>
            <a:r>
              <a:rPr lang="en-US" sz="1050" kern="1200">
                <a:solidFill>
                  <a:srgbClr val="313131"/>
                </a:solidFill>
                <a:ea typeface="+mn-ea"/>
                <a:cs typeface="+mn-cs"/>
              </a:rPr>
              <a:t>Text</a:t>
            </a:r>
            <a:endParaRPr lang="en-US" sz="1050" kern="1200" dirty="0">
              <a:solidFill>
                <a:srgbClr val="313131"/>
              </a:solidFill>
              <a:ea typeface="+mn-ea"/>
              <a:cs typeface="+mn-cs"/>
            </a:endParaRPr>
          </a:p>
        </p:txBody>
      </p:sp>
      <p:sp>
        <p:nvSpPr>
          <p:cNvPr id="679942" name="Freeform 5"/>
          <p:cNvSpPr>
            <a:spLocks/>
          </p:cNvSpPr>
          <p:nvPr/>
        </p:nvSpPr>
        <p:spPr bwMode="blackWhite">
          <a:xfrm>
            <a:off x="5471834" y="2649976"/>
            <a:ext cx="821196" cy="1978698"/>
          </a:xfrm>
          <a:custGeom>
            <a:avLst/>
            <a:gdLst>
              <a:gd name="T0" fmla="*/ 6090193 w 493"/>
              <a:gd name="T1" fmla="*/ 30245 h 1134"/>
              <a:gd name="T2" fmla="*/ 5096416 w 493"/>
              <a:gd name="T3" fmla="*/ 209386 h 1134"/>
              <a:gd name="T4" fmla="*/ 4150763 w 493"/>
              <a:gd name="T5" fmla="*/ 523465 h 1134"/>
              <a:gd name="T6" fmla="*/ 3250830 w 493"/>
              <a:gd name="T7" fmla="*/ 986441 h 1134"/>
              <a:gd name="T8" fmla="*/ 2447145 w 493"/>
              <a:gd name="T9" fmla="*/ 1554110 h 1134"/>
              <a:gd name="T10" fmla="*/ 1710836 w 493"/>
              <a:gd name="T11" fmla="*/ 2233451 h 1134"/>
              <a:gd name="T12" fmla="*/ 1111683 w 493"/>
              <a:gd name="T13" fmla="*/ 3029118 h 1134"/>
              <a:gd name="T14" fmla="*/ 623216 w 493"/>
              <a:gd name="T15" fmla="*/ 3889927 h 1134"/>
              <a:gd name="T16" fmla="*/ 276718 w 493"/>
              <a:gd name="T17" fmla="*/ 4820532 h 1134"/>
              <a:gd name="T18" fmla="*/ 69781 w 493"/>
              <a:gd name="T19" fmla="*/ 5765095 h 1134"/>
              <a:gd name="T20" fmla="*/ 0 w 493"/>
              <a:gd name="T21" fmla="*/ 6751536 h 1134"/>
              <a:gd name="T22" fmla="*/ 96250 w 493"/>
              <a:gd name="T23" fmla="*/ 7724017 h 1134"/>
              <a:gd name="T24" fmla="*/ 346499 w 493"/>
              <a:gd name="T25" fmla="*/ 8687192 h 1134"/>
              <a:gd name="T26" fmla="*/ 726684 w 493"/>
              <a:gd name="T27" fmla="*/ 9592207 h 1134"/>
              <a:gd name="T28" fmla="*/ 1236807 w 493"/>
              <a:gd name="T29" fmla="*/ 10429751 h 1134"/>
              <a:gd name="T30" fmla="*/ 1872054 w 493"/>
              <a:gd name="T31" fmla="*/ 11195173 h 1134"/>
              <a:gd name="T32" fmla="*/ 2605958 w 493"/>
              <a:gd name="T33" fmla="*/ 11855902 h 1134"/>
              <a:gd name="T34" fmla="*/ 3457766 w 493"/>
              <a:gd name="T35" fmla="*/ 12402632 h 1134"/>
              <a:gd name="T36" fmla="*/ 4362512 w 493"/>
              <a:gd name="T37" fmla="*/ 12842342 h 1134"/>
              <a:gd name="T38" fmla="*/ 5329821 w 493"/>
              <a:gd name="T39" fmla="*/ 13123850 h 1134"/>
              <a:gd name="T40" fmla="*/ 6316379 w 493"/>
              <a:gd name="T41" fmla="*/ 13265767 h 1134"/>
              <a:gd name="T42" fmla="*/ 6824095 w 493"/>
              <a:gd name="T43" fmla="*/ 6637537 h 1134"/>
              <a:gd name="T44" fmla="*/ 6496847 w 493"/>
              <a:gd name="T45" fmla="*/ 5672035 h 1134"/>
              <a:gd name="T46" fmla="*/ 5909725 w 493"/>
              <a:gd name="T47" fmla="*/ 5343997 h 1134"/>
              <a:gd name="T48" fmla="*/ 5426071 w 493"/>
              <a:gd name="T49" fmla="*/ 4897307 h 1134"/>
              <a:gd name="T50" fmla="*/ 5021823 w 493"/>
              <a:gd name="T51" fmla="*/ 4380820 h 1134"/>
              <a:gd name="T52" fmla="*/ 4742698 w 493"/>
              <a:gd name="T53" fmla="*/ 3796866 h 1134"/>
              <a:gd name="T54" fmla="*/ 4605542 w 493"/>
              <a:gd name="T55" fmla="*/ 3175688 h 1134"/>
              <a:gd name="T56" fmla="*/ 4605542 w 493"/>
              <a:gd name="T57" fmla="*/ 2517285 h 1134"/>
              <a:gd name="T58" fmla="*/ 4761948 w 493"/>
              <a:gd name="T59" fmla="*/ 1886801 h 1134"/>
              <a:gd name="T60" fmla="*/ 5038666 w 493"/>
              <a:gd name="T61" fmla="*/ 1288887 h 1134"/>
              <a:gd name="T62" fmla="*/ 5454946 w 493"/>
              <a:gd name="T63" fmla="*/ 756116 h 1134"/>
              <a:gd name="T64" fmla="*/ 5981912 w 493"/>
              <a:gd name="T65" fmla="*/ 328038 h 1134"/>
              <a:gd name="T66" fmla="*/ 6593097 w 493"/>
              <a:gd name="T67" fmla="*/ 0 h 113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93"/>
              <a:gd name="T103" fmla="*/ 0 h 1134"/>
              <a:gd name="T104" fmla="*/ 493 w 493"/>
              <a:gd name="T105" fmla="*/ 1134 h 113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93" h="1134">
                <a:moveTo>
                  <a:pt x="475" y="0"/>
                </a:moveTo>
                <a:lnTo>
                  <a:pt x="439" y="3"/>
                </a:lnTo>
                <a:lnTo>
                  <a:pt x="403" y="9"/>
                </a:lnTo>
                <a:lnTo>
                  <a:pt x="367" y="18"/>
                </a:lnTo>
                <a:lnTo>
                  <a:pt x="333" y="30"/>
                </a:lnTo>
                <a:lnTo>
                  <a:pt x="299" y="45"/>
                </a:lnTo>
                <a:lnTo>
                  <a:pt x="266" y="63"/>
                </a:lnTo>
                <a:lnTo>
                  <a:pt x="234" y="84"/>
                </a:lnTo>
                <a:lnTo>
                  <a:pt x="204" y="107"/>
                </a:lnTo>
                <a:lnTo>
                  <a:pt x="176" y="133"/>
                </a:lnTo>
                <a:lnTo>
                  <a:pt x="148" y="161"/>
                </a:lnTo>
                <a:lnTo>
                  <a:pt x="123" y="191"/>
                </a:lnTo>
                <a:lnTo>
                  <a:pt x="101" y="224"/>
                </a:lnTo>
                <a:lnTo>
                  <a:pt x="80" y="258"/>
                </a:lnTo>
                <a:lnTo>
                  <a:pt x="61" y="294"/>
                </a:lnTo>
                <a:lnTo>
                  <a:pt x="45" y="332"/>
                </a:lnTo>
                <a:lnTo>
                  <a:pt x="31" y="370"/>
                </a:lnTo>
                <a:lnTo>
                  <a:pt x="20" y="411"/>
                </a:lnTo>
                <a:lnTo>
                  <a:pt x="11" y="451"/>
                </a:lnTo>
                <a:lnTo>
                  <a:pt x="5" y="492"/>
                </a:lnTo>
                <a:lnTo>
                  <a:pt x="1" y="534"/>
                </a:lnTo>
                <a:lnTo>
                  <a:pt x="0" y="576"/>
                </a:lnTo>
                <a:lnTo>
                  <a:pt x="3" y="617"/>
                </a:lnTo>
                <a:lnTo>
                  <a:pt x="7" y="659"/>
                </a:lnTo>
                <a:lnTo>
                  <a:pt x="14" y="701"/>
                </a:lnTo>
                <a:lnTo>
                  <a:pt x="25" y="741"/>
                </a:lnTo>
                <a:lnTo>
                  <a:pt x="37" y="780"/>
                </a:lnTo>
                <a:lnTo>
                  <a:pt x="52" y="818"/>
                </a:lnTo>
                <a:lnTo>
                  <a:pt x="69" y="855"/>
                </a:lnTo>
                <a:lnTo>
                  <a:pt x="89" y="890"/>
                </a:lnTo>
                <a:lnTo>
                  <a:pt x="111" y="924"/>
                </a:lnTo>
                <a:lnTo>
                  <a:pt x="135" y="955"/>
                </a:lnTo>
                <a:lnTo>
                  <a:pt x="161" y="984"/>
                </a:lnTo>
                <a:lnTo>
                  <a:pt x="188" y="1011"/>
                </a:lnTo>
                <a:lnTo>
                  <a:pt x="218" y="1036"/>
                </a:lnTo>
                <a:lnTo>
                  <a:pt x="249" y="1058"/>
                </a:lnTo>
                <a:lnTo>
                  <a:pt x="281" y="1078"/>
                </a:lnTo>
                <a:lnTo>
                  <a:pt x="314" y="1095"/>
                </a:lnTo>
                <a:lnTo>
                  <a:pt x="349" y="1108"/>
                </a:lnTo>
                <a:lnTo>
                  <a:pt x="384" y="1119"/>
                </a:lnTo>
                <a:lnTo>
                  <a:pt x="419" y="1126"/>
                </a:lnTo>
                <a:lnTo>
                  <a:pt x="455" y="1131"/>
                </a:lnTo>
                <a:lnTo>
                  <a:pt x="492" y="1133"/>
                </a:lnTo>
                <a:lnTo>
                  <a:pt x="492" y="566"/>
                </a:lnTo>
                <a:lnTo>
                  <a:pt x="492" y="494"/>
                </a:lnTo>
                <a:lnTo>
                  <a:pt x="468" y="484"/>
                </a:lnTo>
                <a:lnTo>
                  <a:pt x="447" y="470"/>
                </a:lnTo>
                <a:lnTo>
                  <a:pt x="426" y="456"/>
                </a:lnTo>
                <a:lnTo>
                  <a:pt x="408" y="438"/>
                </a:lnTo>
                <a:lnTo>
                  <a:pt x="391" y="418"/>
                </a:lnTo>
                <a:lnTo>
                  <a:pt x="375" y="397"/>
                </a:lnTo>
                <a:lnTo>
                  <a:pt x="362" y="374"/>
                </a:lnTo>
                <a:lnTo>
                  <a:pt x="351" y="349"/>
                </a:lnTo>
                <a:lnTo>
                  <a:pt x="342" y="324"/>
                </a:lnTo>
                <a:lnTo>
                  <a:pt x="336" y="298"/>
                </a:lnTo>
                <a:lnTo>
                  <a:pt x="332" y="271"/>
                </a:lnTo>
                <a:lnTo>
                  <a:pt x="331" y="243"/>
                </a:lnTo>
                <a:lnTo>
                  <a:pt x="332" y="215"/>
                </a:lnTo>
                <a:lnTo>
                  <a:pt x="336" y="188"/>
                </a:lnTo>
                <a:lnTo>
                  <a:pt x="343" y="161"/>
                </a:lnTo>
                <a:lnTo>
                  <a:pt x="352" y="135"/>
                </a:lnTo>
                <a:lnTo>
                  <a:pt x="363" y="110"/>
                </a:lnTo>
                <a:lnTo>
                  <a:pt x="377" y="86"/>
                </a:lnTo>
                <a:lnTo>
                  <a:pt x="393" y="65"/>
                </a:lnTo>
                <a:lnTo>
                  <a:pt x="412" y="45"/>
                </a:lnTo>
                <a:lnTo>
                  <a:pt x="431" y="28"/>
                </a:lnTo>
                <a:lnTo>
                  <a:pt x="452" y="12"/>
                </a:lnTo>
                <a:lnTo>
                  <a:pt x="475" y="0"/>
                </a:lnTo>
              </a:path>
            </a:pathLst>
          </a:custGeom>
          <a:solidFill>
            <a:srgbClr val="B4B4B4"/>
          </a:solidFill>
          <a:ln w="12700" cap="rnd">
            <a:solidFill>
              <a:schemeClr val="bg1"/>
            </a:solidFill>
            <a:round/>
            <a:headEnd/>
            <a:tailEnd/>
          </a:ln>
        </p:spPr>
        <p:txBody>
          <a:bodyPr vert="vert" anchor="ctr"/>
          <a:lstStyle/>
          <a:p>
            <a:pPr algn="ctr" defTabSz="685800">
              <a:buClrTx/>
            </a:pPr>
            <a:r>
              <a:rPr lang="en-US" sz="1050" kern="1200">
                <a:solidFill>
                  <a:srgbClr val="313131"/>
                </a:solidFill>
                <a:ea typeface="+mn-ea"/>
                <a:cs typeface="+mn-cs"/>
              </a:rPr>
              <a:t>Text</a:t>
            </a:r>
            <a:endParaRPr lang="en-US" sz="1050" kern="1200" dirty="0">
              <a:solidFill>
                <a:srgbClr val="313131"/>
              </a:solidFill>
              <a:ea typeface="+mn-ea"/>
              <a:cs typeface="+mn-cs"/>
            </a:endParaRPr>
          </a:p>
        </p:txBody>
      </p:sp>
      <p:sp>
        <p:nvSpPr>
          <p:cNvPr id="679943" name="Freeform 6"/>
          <p:cNvSpPr>
            <a:spLocks/>
          </p:cNvSpPr>
          <p:nvPr/>
        </p:nvSpPr>
        <p:spPr bwMode="blackWhite">
          <a:xfrm>
            <a:off x="5920053" y="2938802"/>
            <a:ext cx="1890686" cy="857165"/>
          </a:xfrm>
          <a:custGeom>
            <a:avLst/>
            <a:gdLst>
              <a:gd name="T0" fmla="*/ 45681 w 1136"/>
              <a:gd name="T1" fmla="*/ 616833 h 491"/>
              <a:gd name="T2" fmla="*/ 250042 w 1136"/>
              <a:gd name="T3" fmla="*/ 1466432 h 491"/>
              <a:gd name="T4" fmla="*/ 622701 w 1136"/>
              <a:gd name="T5" fmla="*/ 2264823 h 491"/>
              <a:gd name="T6" fmla="*/ 1158849 w 1136"/>
              <a:gd name="T7" fmla="*/ 3018988 h 491"/>
              <a:gd name="T8" fmla="*/ 1839252 w 1136"/>
              <a:gd name="T9" fmla="*/ 3719617 h 491"/>
              <a:gd name="T10" fmla="*/ 2649485 w 1136"/>
              <a:gd name="T11" fmla="*/ 4327139 h 491"/>
              <a:gd name="T12" fmla="*/ 3582335 w 1136"/>
              <a:gd name="T13" fmla="*/ 4843882 h 491"/>
              <a:gd name="T14" fmla="*/ 4589716 w 1136"/>
              <a:gd name="T15" fmla="*/ 5251225 h 491"/>
              <a:gd name="T16" fmla="*/ 5676438 w 1136"/>
              <a:gd name="T17" fmla="*/ 5546839 h 491"/>
              <a:gd name="T18" fmla="*/ 6808840 w 1136"/>
              <a:gd name="T19" fmla="*/ 5714431 h 491"/>
              <a:gd name="T20" fmla="*/ 7960477 w 1136"/>
              <a:gd name="T21" fmla="*/ 5763312 h 491"/>
              <a:gd name="T22" fmla="*/ 9121730 w 1136"/>
              <a:gd name="T23" fmla="*/ 5691154 h 491"/>
              <a:gd name="T24" fmla="*/ 10237304 w 1136"/>
              <a:gd name="T25" fmla="*/ 5483992 h 491"/>
              <a:gd name="T26" fmla="*/ 11316813 w 1136"/>
              <a:gd name="T27" fmla="*/ 5169756 h 491"/>
              <a:gd name="T28" fmla="*/ 12326598 w 1136"/>
              <a:gd name="T29" fmla="*/ 4727498 h 491"/>
              <a:gd name="T30" fmla="*/ 13211362 w 1136"/>
              <a:gd name="T31" fmla="*/ 4194462 h 491"/>
              <a:gd name="T32" fmla="*/ 14002361 w 1136"/>
              <a:gd name="T33" fmla="*/ 3561335 h 491"/>
              <a:gd name="T34" fmla="*/ 14649104 w 1136"/>
              <a:gd name="T35" fmla="*/ 2853724 h 491"/>
              <a:gd name="T36" fmla="*/ 15149189 w 1136"/>
              <a:gd name="T37" fmla="*/ 2092575 h 491"/>
              <a:gd name="T38" fmla="*/ 15495401 w 1136"/>
              <a:gd name="T39" fmla="*/ 1270908 h 491"/>
              <a:gd name="T40" fmla="*/ 15654081 w 1136"/>
              <a:gd name="T41" fmla="*/ 428291 h 491"/>
              <a:gd name="T42" fmla="*/ 7840264 w 1136"/>
              <a:gd name="T43" fmla="*/ 0 h 491"/>
              <a:gd name="T44" fmla="*/ 6686224 w 1136"/>
              <a:gd name="T45" fmla="*/ 253716 h 491"/>
              <a:gd name="T46" fmla="*/ 6294331 w 1136"/>
              <a:gd name="T47" fmla="*/ 726233 h 491"/>
              <a:gd name="T48" fmla="*/ 5748566 w 1136"/>
              <a:gd name="T49" fmla="*/ 1112626 h 491"/>
              <a:gd name="T50" fmla="*/ 5125865 w 1136"/>
              <a:gd name="T51" fmla="*/ 1396602 h 491"/>
              <a:gd name="T52" fmla="*/ 4414206 w 1136"/>
              <a:gd name="T53" fmla="*/ 1573505 h 491"/>
              <a:gd name="T54" fmla="*/ 3707356 w 1136"/>
              <a:gd name="T55" fmla="*/ 1622386 h 491"/>
              <a:gd name="T56" fmla="*/ 2899528 w 1136"/>
              <a:gd name="T57" fmla="*/ 1634025 h 491"/>
              <a:gd name="T58" fmla="*/ 2125358 w 1136"/>
              <a:gd name="T59" fmla="*/ 1510658 h 491"/>
              <a:gd name="T60" fmla="*/ 1396870 w 1136"/>
              <a:gd name="T61" fmla="*/ 1270908 h 491"/>
              <a:gd name="T62" fmla="*/ 747722 w 1136"/>
              <a:gd name="T63" fmla="*/ 900808 h 491"/>
              <a:gd name="T64" fmla="*/ 223595 w 1136"/>
              <a:gd name="T65" fmla="*/ 453896 h 49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36"/>
              <a:gd name="T100" fmla="*/ 0 h 491"/>
              <a:gd name="T101" fmla="*/ 1136 w 1136"/>
              <a:gd name="T102" fmla="*/ 491 h 49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36" h="491">
                <a:moveTo>
                  <a:pt x="0" y="17"/>
                </a:moveTo>
                <a:lnTo>
                  <a:pt x="3" y="53"/>
                </a:lnTo>
                <a:lnTo>
                  <a:pt x="9" y="89"/>
                </a:lnTo>
                <a:lnTo>
                  <a:pt x="18" y="125"/>
                </a:lnTo>
                <a:lnTo>
                  <a:pt x="31" y="159"/>
                </a:lnTo>
                <a:lnTo>
                  <a:pt x="45" y="193"/>
                </a:lnTo>
                <a:lnTo>
                  <a:pt x="63" y="226"/>
                </a:lnTo>
                <a:lnTo>
                  <a:pt x="84" y="257"/>
                </a:lnTo>
                <a:lnTo>
                  <a:pt x="108" y="287"/>
                </a:lnTo>
                <a:lnTo>
                  <a:pt x="133" y="316"/>
                </a:lnTo>
                <a:lnTo>
                  <a:pt x="161" y="343"/>
                </a:lnTo>
                <a:lnTo>
                  <a:pt x="192" y="368"/>
                </a:lnTo>
                <a:lnTo>
                  <a:pt x="224" y="391"/>
                </a:lnTo>
                <a:lnTo>
                  <a:pt x="259" y="412"/>
                </a:lnTo>
                <a:lnTo>
                  <a:pt x="295" y="430"/>
                </a:lnTo>
                <a:lnTo>
                  <a:pt x="332" y="447"/>
                </a:lnTo>
                <a:lnTo>
                  <a:pt x="371" y="460"/>
                </a:lnTo>
                <a:lnTo>
                  <a:pt x="411" y="472"/>
                </a:lnTo>
                <a:lnTo>
                  <a:pt x="452" y="480"/>
                </a:lnTo>
                <a:lnTo>
                  <a:pt x="493" y="486"/>
                </a:lnTo>
                <a:lnTo>
                  <a:pt x="534" y="489"/>
                </a:lnTo>
                <a:lnTo>
                  <a:pt x="576" y="490"/>
                </a:lnTo>
                <a:lnTo>
                  <a:pt x="618" y="489"/>
                </a:lnTo>
                <a:lnTo>
                  <a:pt x="660" y="484"/>
                </a:lnTo>
                <a:lnTo>
                  <a:pt x="701" y="476"/>
                </a:lnTo>
                <a:lnTo>
                  <a:pt x="741" y="467"/>
                </a:lnTo>
                <a:lnTo>
                  <a:pt x="781" y="454"/>
                </a:lnTo>
                <a:lnTo>
                  <a:pt x="819" y="440"/>
                </a:lnTo>
                <a:lnTo>
                  <a:pt x="856" y="422"/>
                </a:lnTo>
                <a:lnTo>
                  <a:pt x="892" y="402"/>
                </a:lnTo>
                <a:lnTo>
                  <a:pt x="925" y="381"/>
                </a:lnTo>
                <a:lnTo>
                  <a:pt x="956" y="357"/>
                </a:lnTo>
                <a:lnTo>
                  <a:pt x="986" y="331"/>
                </a:lnTo>
                <a:lnTo>
                  <a:pt x="1013" y="303"/>
                </a:lnTo>
                <a:lnTo>
                  <a:pt x="1038" y="274"/>
                </a:lnTo>
                <a:lnTo>
                  <a:pt x="1060" y="243"/>
                </a:lnTo>
                <a:lnTo>
                  <a:pt x="1079" y="211"/>
                </a:lnTo>
                <a:lnTo>
                  <a:pt x="1096" y="178"/>
                </a:lnTo>
                <a:lnTo>
                  <a:pt x="1110" y="143"/>
                </a:lnTo>
                <a:lnTo>
                  <a:pt x="1121" y="108"/>
                </a:lnTo>
                <a:lnTo>
                  <a:pt x="1128" y="73"/>
                </a:lnTo>
                <a:lnTo>
                  <a:pt x="1133" y="37"/>
                </a:lnTo>
                <a:lnTo>
                  <a:pt x="1135" y="0"/>
                </a:lnTo>
                <a:lnTo>
                  <a:pt x="567" y="0"/>
                </a:lnTo>
                <a:lnTo>
                  <a:pt x="495" y="0"/>
                </a:lnTo>
                <a:lnTo>
                  <a:pt x="484" y="22"/>
                </a:lnTo>
                <a:lnTo>
                  <a:pt x="470" y="43"/>
                </a:lnTo>
                <a:lnTo>
                  <a:pt x="455" y="62"/>
                </a:lnTo>
                <a:lnTo>
                  <a:pt x="436" y="80"/>
                </a:lnTo>
                <a:lnTo>
                  <a:pt x="416" y="95"/>
                </a:lnTo>
                <a:lnTo>
                  <a:pt x="394" y="108"/>
                </a:lnTo>
                <a:lnTo>
                  <a:pt x="371" y="119"/>
                </a:lnTo>
                <a:lnTo>
                  <a:pt x="346" y="128"/>
                </a:lnTo>
                <a:lnTo>
                  <a:pt x="320" y="134"/>
                </a:lnTo>
                <a:lnTo>
                  <a:pt x="295" y="137"/>
                </a:lnTo>
                <a:lnTo>
                  <a:pt x="268" y="138"/>
                </a:lnTo>
                <a:lnTo>
                  <a:pt x="238" y="140"/>
                </a:lnTo>
                <a:lnTo>
                  <a:pt x="210" y="139"/>
                </a:lnTo>
                <a:lnTo>
                  <a:pt x="181" y="136"/>
                </a:lnTo>
                <a:lnTo>
                  <a:pt x="154" y="129"/>
                </a:lnTo>
                <a:lnTo>
                  <a:pt x="126" y="119"/>
                </a:lnTo>
                <a:lnTo>
                  <a:pt x="101" y="108"/>
                </a:lnTo>
                <a:lnTo>
                  <a:pt x="76" y="94"/>
                </a:lnTo>
                <a:lnTo>
                  <a:pt x="54" y="77"/>
                </a:lnTo>
                <a:lnTo>
                  <a:pt x="34" y="60"/>
                </a:lnTo>
                <a:lnTo>
                  <a:pt x="16" y="39"/>
                </a:lnTo>
                <a:lnTo>
                  <a:pt x="0" y="17"/>
                </a:lnTo>
              </a:path>
            </a:pathLst>
          </a:custGeom>
          <a:solidFill>
            <a:srgbClr val="B4B4B4"/>
          </a:solidFill>
          <a:ln w="12700" cap="rnd">
            <a:solidFill>
              <a:schemeClr val="bg1"/>
            </a:solidFill>
            <a:round/>
            <a:headEnd/>
            <a:tailEnd/>
          </a:ln>
        </p:spPr>
        <p:txBody>
          <a:bodyPr anchor="ctr"/>
          <a:lstStyle/>
          <a:p>
            <a:pPr algn="ctr" defTabSz="685800">
              <a:buClrTx/>
            </a:pPr>
            <a:r>
              <a:rPr lang="en-US" sz="1050" kern="1200">
                <a:solidFill>
                  <a:srgbClr val="313131"/>
                </a:solidFill>
                <a:ea typeface="+mn-ea"/>
                <a:cs typeface="+mn-cs"/>
              </a:rPr>
              <a:t>Text</a:t>
            </a:r>
            <a:endParaRPr lang="en-US" sz="1050" kern="1200" dirty="0">
              <a:solidFill>
                <a:srgbClr val="313131"/>
              </a:solidFill>
              <a:ea typeface="+mn-ea"/>
              <a:cs typeface="+mn-cs"/>
            </a:endParaRPr>
          </a:p>
        </p:txBody>
      </p:sp>
      <p:sp>
        <p:nvSpPr>
          <p:cNvPr id="679944" name="Freeform 7"/>
          <p:cNvSpPr>
            <a:spLocks/>
          </p:cNvSpPr>
          <p:nvPr/>
        </p:nvSpPr>
        <p:spPr bwMode="blackWhite">
          <a:xfrm>
            <a:off x="6194143" y="1268730"/>
            <a:ext cx="825496" cy="1984521"/>
          </a:xfrm>
          <a:custGeom>
            <a:avLst/>
            <a:gdLst>
              <a:gd name="T0" fmla="*/ 778963 w 496"/>
              <a:gd name="T1" fmla="*/ 13318572 h 1137"/>
              <a:gd name="T2" fmla="*/ 1743051 w 496"/>
              <a:gd name="T3" fmla="*/ 13134724 h 1137"/>
              <a:gd name="T4" fmla="*/ 2668671 w 496"/>
              <a:gd name="T5" fmla="*/ 12832188 h 1137"/>
              <a:gd name="T6" fmla="*/ 3531781 w 496"/>
              <a:gd name="T7" fmla="*/ 12380711 h 1137"/>
              <a:gd name="T8" fmla="*/ 4358829 w 496"/>
              <a:gd name="T9" fmla="*/ 11840800 h 1137"/>
              <a:gd name="T10" fmla="*/ 5058454 w 496"/>
              <a:gd name="T11" fmla="*/ 11163585 h 1137"/>
              <a:gd name="T12" fmla="*/ 5676335 w 496"/>
              <a:gd name="T13" fmla="*/ 10411899 h 1137"/>
              <a:gd name="T14" fmla="*/ 6169198 w 496"/>
              <a:gd name="T15" fmla="*/ 9581089 h 1137"/>
              <a:gd name="T16" fmla="*/ 6525020 w 496"/>
              <a:gd name="T17" fmla="*/ 8687441 h 1137"/>
              <a:gd name="T18" fmla="*/ 6748612 w 496"/>
              <a:gd name="T19" fmla="*/ 7747252 h 1137"/>
              <a:gd name="T20" fmla="*/ 6835163 w 496"/>
              <a:gd name="T21" fmla="*/ 6783791 h 1137"/>
              <a:gd name="T22" fmla="*/ 6782270 w 496"/>
              <a:gd name="T23" fmla="*/ 5824985 h 1137"/>
              <a:gd name="T24" fmla="*/ 6577913 w 496"/>
              <a:gd name="T25" fmla="*/ 4882469 h 1137"/>
              <a:gd name="T26" fmla="*/ 6246132 w 496"/>
              <a:gd name="T27" fmla="*/ 3974859 h 1137"/>
              <a:gd name="T28" fmla="*/ 5774908 w 496"/>
              <a:gd name="T29" fmla="*/ 3125431 h 1137"/>
              <a:gd name="T30" fmla="*/ 5193090 w 496"/>
              <a:gd name="T31" fmla="*/ 2350473 h 1137"/>
              <a:gd name="T32" fmla="*/ 4512698 w 496"/>
              <a:gd name="T33" fmla="*/ 1666276 h 1137"/>
              <a:gd name="T34" fmla="*/ 3728926 w 496"/>
              <a:gd name="T35" fmla="*/ 1082148 h 1137"/>
              <a:gd name="T36" fmla="*/ 2865816 w 496"/>
              <a:gd name="T37" fmla="*/ 609727 h 1137"/>
              <a:gd name="T38" fmla="*/ 1947408 w 496"/>
              <a:gd name="T39" fmla="*/ 281591 h 1137"/>
              <a:gd name="T40" fmla="*/ 978513 w 496"/>
              <a:gd name="T41" fmla="*/ 76798 h 1137"/>
              <a:gd name="T42" fmla="*/ 0 w 496"/>
              <a:gd name="T43" fmla="*/ 0 h 1137"/>
              <a:gd name="T44" fmla="*/ 346206 w 496"/>
              <a:gd name="T45" fmla="*/ 7181743 h 1137"/>
              <a:gd name="T46" fmla="*/ 964087 w 496"/>
              <a:gd name="T47" fmla="*/ 7693727 h 1137"/>
              <a:gd name="T48" fmla="*/ 1493013 w 496"/>
              <a:gd name="T49" fmla="*/ 8289490 h 1137"/>
              <a:gd name="T50" fmla="*/ 1892112 w 496"/>
              <a:gd name="T51" fmla="*/ 8973687 h 1137"/>
              <a:gd name="T52" fmla="*/ 2163787 w 496"/>
              <a:gd name="T53" fmla="*/ 9723048 h 1137"/>
              <a:gd name="T54" fmla="*/ 2267168 w 496"/>
              <a:gd name="T55" fmla="*/ 10495678 h 1137"/>
              <a:gd name="T56" fmla="*/ 2197446 w 496"/>
              <a:gd name="T57" fmla="*/ 11140313 h 1137"/>
              <a:gd name="T58" fmla="*/ 1988280 w 496"/>
              <a:gd name="T59" fmla="*/ 11768657 h 1137"/>
              <a:gd name="T60" fmla="*/ 1642074 w 496"/>
              <a:gd name="T61" fmla="*/ 12329512 h 1137"/>
              <a:gd name="T62" fmla="*/ 1158828 w 496"/>
              <a:gd name="T63" fmla="*/ 12806588 h 1137"/>
              <a:gd name="T64" fmla="*/ 598648 w 496"/>
              <a:gd name="T65" fmla="*/ 13197558 h 113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6"/>
              <a:gd name="T100" fmla="*/ 0 h 1137"/>
              <a:gd name="T101" fmla="*/ 496 w 496"/>
              <a:gd name="T102" fmla="*/ 1137 h 113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6" h="1137">
                <a:moveTo>
                  <a:pt x="20" y="1136"/>
                </a:moveTo>
                <a:lnTo>
                  <a:pt x="56" y="1134"/>
                </a:lnTo>
                <a:lnTo>
                  <a:pt x="91" y="1128"/>
                </a:lnTo>
                <a:lnTo>
                  <a:pt x="126" y="1119"/>
                </a:lnTo>
                <a:lnTo>
                  <a:pt x="160" y="1107"/>
                </a:lnTo>
                <a:lnTo>
                  <a:pt x="193" y="1093"/>
                </a:lnTo>
                <a:lnTo>
                  <a:pt x="225" y="1076"/>
                </a:lnTo>
                <a:lnTo>
                  <a:pt x="256" y="1055"/>
                </a:lnTo>
                <a:lnTo>
                  <a:pt x="287" y="1033"/>
                </a:lnTo>
                <a:lnTo>
                  <a:pt x="315" y="1008"/>
                </a:lnTo>
                <a:lnTo>
                  <a:pt x="341" y="981"/>
                </a:lnTo>
                <a:lnTo>
                  <a:pt x="366" y="951"/>
                </a:lnTo>
                <a:lnTo>
                  <a:pt x="390" y="920"/>
                </a:lnTo>
                <a:lnTo>
                  <a:pt x="411" y="887"/>
                </a:lnTo>
                <a:lnTo>
                  <a:pt x="429" y="852"/>
                </a:lnTo>
                <a:lnTo>
                  <a:pt x="446" y="816"/>
                </a:lnTo>
                <a:lnTo>
                  <a:pt x="460" y="779"/>
                </a:lnTo>
                <a:lnTo>
                  <a:pt x="472" y="740"/>
                </a:lnTo>
                <a:lnTo>
                  <a:pt x="481" y="700"/>
                </a:lnTo>
                <a:lnTo>
                  <a:pt x="488" y="660"/>
                </a:lnTo>
                <a:lnTo>
                  <a:pt x="492" y="619"/>
                </a:lnTo>
                <a:lnTo>
                  <a:pt x="495" y="578"/>
                </a:lnTo>
                <a:lnTo>
                  <a:pt x="494" y="537"/>
                </a:lnTo>
                <a:lnTo>
                  <a:pt x="491" y="496"/>
                </a:lnTo>
                <a:lnTo>
                  <a:pt x="485" y="456"/>
                </a:lnTo>
                <a:lnTo>
                  <a:pt x="476" y="416"/>
                </a:lnTo>
                <a:lnTo>
                  <a:pt x="465" y="377"/>
                </a:lnTo>
                <a:lnTo>
                  <a:pt x="452" y="339"/>
                </a:lnTo>
                <a:lnTo>
                  <a:pt x="436" y="302"/>
                </a:lnTo>
                <a:lnTo>
                  <a:pt x="418" y="266"/>
                </a:lnTo>
                <a:lnTo>
                  <a:pt x="399" y="232"/>
                </a:lnTo>
                <a:lnTo>
                  <a:pt x="376" y="200"/>
                </a:lnTo>
                <a:lnTo>
                  <a:pt x="352" y="170"/>
                </a:lnTo>
                <a:lnTo>
                  <a:pt x="327" y="142"/>
                </a:lnTo>
                <a:lnTo>
                  <a:pt x="299" y="115"/>
                </a:lnTo>
                <a:lnTo>
                  <a:pt x="270" y="92"/>
                </a:lnTo>
                <a:lnTo>
                  <a:pt x="239" y="71"/>
                </a:lnTo>
                <a:lnTo>
                  <a:pt x="207" y="52"/>
                </a:lnTo>
                <a:lnTo>
                  <a:pt x="175" y="37"/>
                </a:lnTo>
                <a:lnTo>
                  <a:pt x="141" y="24"/>
                </a:lnTo>
                <a:lnTo>
                  <a:pt x="106" y="14"/>
                </a:lnTo>
                <a:lnTo>
                  <a:pt x="71" y="7"/>
                </a:lnTo>
                <a:lnTo>
                  <a:pt x="36" y="2"/>
                </a:lnTo>
                <a:lnTo>
                  <a:pt x="0" y="0"/>
                </a:lnTo>
                <a:lnTo>
                  <a:pt x="0" y="594"/>
                </a:lnTo>
                <a:lnTo>
                  <a:pt x="25" y="612"/>
                </a:lnTo>
                <a:lnTo>
                  <a:pt x="49" y="632"/>
                </a:lnTo>
                <a:lnTo>
                  <a:pt x="70" y="655"/>
                </a:lnTo>
                <a:lnTo>
                  <a:pt x="91" y="680"/>
                </a:lnTo>
                <a:lnTo>
                  <a:pt x="108" y="706"/>
                </a:lnTo>
                <a:lnTo>
                  <a:pt x="124" y="735"/>
                </a:lnTo>
                <a:lnTo>
                  <a:pt x="137" y="765"/>
                </a:lnTo>
                <a:lnTo>
                  <a:pt x="148" y="796"/>
                </a:lnTo>
                <a:lnTo>
                  <a:pt x="156" y="828"/>
                </a:lnTo>
                <a:lnTo>
                  <a:pt x="161" y="860"/>
                </a:lnTo>
                <a:lnTo>
                  <a:pt x="164" y="894"/>
                </a:lnTo>
                <a:lnTo>
                  <a:pt x="164" y="921"/>
                </a:lnTo>
                <a:lnTo>
                  <a:pt x="159" y="949"/>
                </a:lnTo>
                <a:lnTo>
                  <a:pt x="153" y="976"/>
                </a:lnTo>
                <a:lnTo>
                  <a:pt x="144" y="1002"/>
                </a:lnTo>
                <a:lnTo>
                  <a:pt x="132" y="1027"/>
                </a:lnTo>
                <a:lnTo>
                  <a:pt x="119" y="1050"/>
                </a:lnTo>
                <a:lnTo>
                  <a:pt x="102" y="1072"/>
                </a:lnTo>
                <a:lnTo>
                  <a:pt x="84" y="1091"/>
                </a:lnTo>
                <a:lnTo>
                  <a:pt x="65" y="1109"/>
                </a:lnTo>
                <a:lnTo>
                  <a:pt x="43" y="1124"/>
                </a:lnTo>
                <a:lnTo>
                  <a:pt x="20" y="1136"/>
                </a:lnTo>
              </a:path>
            </a:pathLst>
          </a:custGeom>
          <a:solidFill>
            <a:srgbClr val="B4B4B4"/>
          </a:solidFill>
          <a:ln w="12700" cap="rnd">
            <a:solidFill>
              <a:schemeClr val="bg1"/>
            </a:solidFill>
            <a:round/>
            <a:headEnd/>
            <a:tailEnd/>
          </a:ln>
        </p:spPr>
        <p:txBody>
          <a:bodyPr vert="vert" anchor="ctr"/>
          <a:lstStyle/>
          <a:p>
            <a:pPr algn="ctr" defTabSz="685800">
              <a:buClrTx/>
            </a:pPr>
            <a:r>
              <a:rPr lang="en-US" sz="1050" kern="1200" dirty="0">
                <a:solidFill>
                  <a:srgbClr val="313131"/>
                </a:solidFill>
                <a:ea typeface="+mn-ea"/>
                <a:cs typeface="+mn-cs"/>
              </a:rPr>
              <a:t>Text</a:t>
            </a:r>
          </a:p>
        </p:txBody>
      </p:sp>
      <p:sp>
        <p:nvSpPr>
          <p:cNvPr id="679945" name="Oval 8"/>
          <p:cNvSpPr>
            <a:spLocks noChangeArrowheads="1"/>
          </p:cNvSpPr>
          <p:nvPr/>
        </p:nvSpPr>
        <p:spPr bwMode="blackWhite">
          <a:xfrm>
            <a:off x="5920556" y="2640330"/>
            <a:ext cx="621000" cy="621000"/>
          </a:xfrm>
          <a:prstGeom prst="ellipse">
            <a:avLst/>
          </a:prstGeom>
          <a:solidFill>
            <a:schemeClr val="accent2"/>
          </a:solidFill>
          <a:ln w="12700">
            <a:solidFill>
              <a:schemeClr val="bg1"/>
            </a:solidFill>
            <a:round/>
            <a:headEnd/>
            <a:tailEnd/>
          </a:ln>
        </p:spPr>
        <p:txBody>
          <a:bodyPr wrap="none" anchor="ctr"/>
          <a:lstStyle/>
          <a:p>
            <a:pPr algn="ctr" defTabSz="685800">
              <a:buClrTx/>
            </a:pPr>
            <a:endParaRPr lang="en-US" sz="1050" kern="1200">
              <a:solidFill>
                <a:prstClr val="white"/>
              </a:solidFill>
              <a:ea typeface="+mn-ea"/>
              <a:cs typeface="+mn-cs"/>
            </a:endParaRPr>
          </a:p>
        </p:txBody>
      </p:sp>
      <p:sp>
        <p:nvSpPr>
          <p:cNvPr id="15" name="Text Placeholder 12"/>
          <p:cNvSpPr>
            <a:spLocks/>
          </p:cNvSpPr>
          <p:nvPr>
            <p:custDataLst>
              <p:tags r:id="rId1"/>
            </p:custDataLst>
          </p:nvPr>
        </p:nvSpPr>
        <p:spPr bwMode="auto">
          <a:xfrm>
            <a:off x="462962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
        <p:nvSpPr>
          <p:cNvPr id="12" name="Text Placeholder 3"/>
          <p:cNvSpPr txBox="1">
            <a:spLocks/>
          </p:cNvSpPr>
          <p:nvPr/>
        </p:nvSpPr>
        <p:spPr>
          <a:xfrm>
            <a:off x="1421100" y="1268730"/>
            <a:ext cx="3105000" cy="34020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5979" indent="-205979" defTabSz="685800">
              <a:spcBef>
                <a:spcPts val="900"/>
              </a:spcBef>
              <a:buClrTx/>
              <a:defRPr/>
            </a:pPr>
            <a:r>
              <a:rPr lang="en-GB" sz="1350" dirty="0">
                <a:solidFill>
                  <a:srgbClr val="313131"/>
                </a:solidFill>
                <a:latin typeface="Arial"/>
              </a:rPr>
              <a:t>This is a level one bullet this is dummy text it is not here to be read</a:t>
            </a:r>
          </a:p>
          <a:p>
            <a:pPr marL="205979" indent="-205979" defTabSz="685800">
              <a:spcBef>
                <a:spcPts val="900"/>
              </a:spcBef>
              <a:buClrTx/>
              <a:defRPr/>
            </a:pPr>
            <a:r>
              <a:rPr lang="en-GB" sz="1350" dirty="0">
                <a:solidFill>
                  <a:srgbClr val="313131"/>
                </a:solidFill>
                <a:latin typeface="Arial"/>
              </a:rPr>
              <a:t>This is a level one bullet this is dummy text it is not here to be read</a:t>
            </a:r>
          </a:p>
          <a:p>
            <a:pPr marL="205979" indent="-205979" defTabSz="685800">
              <a:spcBef>
                <a:spcPts val="900"/>
              </a:spcBef>
              <a:buClrTx/>
              <a:defRPr/>
            </a:pPr>
            <a:r>
              <a:rPr lang="en-GB" sz="1350" dirty="0">
                <a:solidFill>
                  <a:srgbClr val="313131"/>
                </a:solidFill>
                <a:latin typeface="Arial"/>
              </a:rPr>
              <a:t>This is a level one bullet this is dummy text it is not here to be read</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205979" indent="-205979" defTabSz="685800">
              <a:spcBef>
                <a:spcPts val="900"/>
              </a:spcBef>
              <a:buClrTx/>
              <a:defRPr/>
            </a:pPr>
            <a:endParaRPr lang="en-GB" sz="1350" dirty="0">
              <a:solidFill>
                <a:srgbClr val="313131"/>
              </a:solidFill>
              <a:latin typeface="Arial"/>
            </a:endParaRPr>
          </a:p>
        </p:txBody>
      </p:sp>
    </p:spTree>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0961" name="Title 1"/>
          <p:cNvSpPr>
            <a:spLocks noGrp="1"/>
          </p:cNvSpPr>
          <p:nvPr>
            <p:ph type="title"/>
          </p:nvPr>
        </p:nvSpPr>
        <p:spPr/>
        <p:txBody>
          <a:bodyPr/>
          <a:lstStyle/>
          <a:p>
            <a:r>
              <a:rPr lang="en-US" dirty="0"/>
              <a:t>Spheres </a:t>
            </a:r>
            <a:br>
              <a:rPr lang="en-US" dirty="0"/>
            </a:br>
            <a:r>
              <a:rPr lang="en-US" dirty="0">
                <a:solidFill>
                  <a:srgbClr val="575757"/>
                </a:solidFill>
              </a:rPr>
              <a:t>Sizes in</a:t>
            </a:r>
          </a:p>
        </p:txBody>
      </p:sp>
      <p:sp>
        <p:nvSpPr>
          <p:cNvPr id="4" name="Oval 2"/>
          <p:cNvSpPr>
            <a:spLocks noChangeArrowheads="1"/>
          </p:cNvSpPr>
          <p:nvPr/>
        </p:nvSpPr>
        <p:spPr bwMode="auto">
          <a:xfrm>
            <a:off x="2882504" y="1268730"/>
            <a:ext cx="3342084" cy="3237310"/>
          </a:xfrm>
          <a:prstGeom prst="ellipse">
            <a:avLst/>
          </a:prstGeom>
          <a:solidFill>
            <a:srgbClr val="575757"/>
          </a:solidFill>
          <a:ln w="12700">
            <a:solidFill>
              <a:schemeClr val="bg1"/>
            </a:solidFill>
            <a:round/>
            <a:headEnd/>
            <a:tailEnd/>
          </a:ln>
        </p:spPr>
        <p:txBody>
          <a:bodyPr wrap="none" lIns="27000" tIns="27000" rIns="27000" bIns="2808000" anchor="t"/>
          <a:lstStyle/>
          <a:p>
            <a:pPr algn="ctr" defTabSz="685800">
              <a:buClrTx/>
              <a:defRPr/>
            </a:pPr>
            <a:r>
              <a:rPr lang="en-US" sz="1050" kern="1200" dirty="0">
                <a:solidFill>
                  <a:srgbClr val="DCDCDC"/>
                </a:solidFill>
                <a:ea typeface="+mn-ea"/>
                <a:cs typeface="+mn-cs"/>
              </a:rPr>
              <a:t>Text</a:t>
            </a:r>
          </a:p>
        </p:txBody>
      </p:sp>
      <p:sp>
        <p:nvSpPr>
          <p:cNvPr id="5" name="Oval 3"/>
          <p:cNvSpPr>
            <a:spLocks noChangeArrowheads="1"/>
          </p:cNvSpPr>
          <p:nvPr/>
        </p:nvSpPr>
        <p:spPr bwMode="auto">
          <a:xfrm>
            <a:off x="3196233" y="1811655"/>
            <a:ext cx="2714625" cy="2694385"/>
          </a:xfrm>
          <a:prstGeom prst="ellipse">
            <a:avLst/>
          </a:prstGeom>
          <a:solidFill>
            <a:srgbClr val="8C8C8C"/>
          </a:solidFill>
          <a:ln w="12700">
            <a:solidFill>
              <a:schemeClr val="bg1"/>
            </a:solidFill>
            <a:round/>
            <a:headEnd/>
            <a:tailEnd/>
          </a:ln>
        </p:spPr>
        <p:txBody>
          <a:bodyPr wrap="none" lIns="27000" tIns="27000" rIns="27000" bIns="2376000" anchor="t"/>
          <a:lstStyle/>
          <a:p>
            <a:pPr algn="ctr" defTabSz="685800">
              <a:buClrTx/>
              <a:defRPr/>
            </a:pPr>
            <a:r>
              <a:rPr lang="en-US" sz="1050" kern="1200" dirty="0">
                <a:solidFill>
                  <a:prstClr val="white"/>
                </a:solidFill>
                <a:ea typeface="+mn-ea"/>
                <a:cs typeface="+mn-cs"/>
              </a:rPr>
              <a:t>Text</a:t>
            </a:r>
          </a:p>
        </p:txBody>
      </p:sp>
      <p:sp>
        <p:nvSpPr>
          <p:cNvPr id="6" name="Oval 4"/>
          <p:cNvSpPr>
            <a:spLocks noChangeArrowheads="1"/>
          </p:cNvSpPr>
          <p:nvPr/>
        </p:nvSpPr>
        <p:spPr bwMode="auto">
          <a:xfrm>
            <a:off x="3403402" y="2264093"/>
            <a:ext cx="2300288" cy="2241947"/>
          </a:xfrm>
          <a:prstGeom prst="ellipse">
            <a:avLst/>
          </a:prstGeom>
          <a:solidFill>
            <a:srgbClr val="B4B4B4"/>
          </a:solidFill>
          <a:ln w="12700">
            <a:solidFill>
              <a:schemeClr val="bg1"/>
            </a:solidFill>
            <a:round/>
            <a:headEnd/>
            <a:tailEnd/>
          </a:ln>
        </p:spPr>
        <p:txBody>
          <a:bodyPr wrap="none" lIns="27000" tIns="27000" rIns="27000" bIns="1890000" anchor="t"/>
          <a:lstStyle/>
          <a:p>
            <a:pPr algn="ctr" defTabSz="685800">
              <a:buClrTx/>
              <a:defRPr/>
            </a:pPr>
            <a:r>
              <a:rPr lang="en-US" sz="1050" kern="1200" dirty="0">
                <a:solidFill>
                  <a:srgbClr val="313131"/>
                </a:solidFill>
                <a:ea typeface="+mn-ea"/>
                <a:cs typeface="+mn-cs"/>
              </a:rPr>
              <a:t>Text</a:t>
            </a:r>
          </a:p>
        </p:txBody>
      </p:sp>
      <p:sp>
        <p:nvSpPr>
          <p:cNvPr id="7" name="Oval 5"/>
          <p:cNvSpPr>
            <a:spLocks noChangeArrowheads="1"/>
          </p:cNvSpPr>
          <p:nvPr/>
        </p:nvSpPr>
        <p:spPr bwMode="auto">
          <a:xfrm>
            <a:off x="3646289" y="2735580"/>
            <a:ext cx="1814513" cy="1770460"/>
          </a:xfrm>
          <a:prstGeom prst="ellipse">
            <a:avLst/>
          </a:prstGeom>
          <a:solidFill>
            <a:srgbClr val="DCDCDC"/>
          </a:solidFill>
          <a:ln w="12700">
            <a:solidFill>
              <a:schemeClr val="bg1"/>
            </a:solidFill>
            <a:round/>
            <a:headEnd/>
            <a:tailEnd/>
          </a:ln>
        </p:spPr>
        <p:txBody>
          <a:bodyPr wrap="none" lIns="27000" tIns="27000" rIns="27000" bIns="1431000" anchor="t"/>
          <a:lstStyle/>
          <a:p>
            <a:pPr algn="ctr" defTabSz="685800">
              <a:buClrTx/>
              <a:defRPr/>
            </a:pPr>
            <a:r>
              <a:rPr lang="en-US" sz="1050" kern="1200" dirty="0">
                <a:solidFill>
                  <a:srgbClr val="313131"/>
                </a:solidFill>
                <a:ea typeface="+mn-ea"/>
                <a:cs typeface="+mn-cs"/>
              </a:rPr>
              <a:t>Text</a:t>
            </a:r>
          </a:p>
        </p:txBody>
      </p:sp>
      <p:sp>
        <p:nvSpPr>
          <p:cNvPr id="680967" name="Oval 6"/>
          <p:cNvSpPr>
            <a:spLocks noChangeArrowheads="1"/>
          </p:cNvSpPr>
          <p:nvPr/>
        </p:nvSpPr>
        <p:spPr bwMode="auto">
          <a:xfrm>
            <a:off x="3895131" y="3208259"/>
            <a:ext cx="1316831" cy="1297781"/>
          </a:xfrm>
          <a:prstGeom prst="ellipse">
            <a:avLst/>
          </a:prstGeom>
          <a:solidFill>
            <a:srgbClr val="002776"/>
          </a:solidFill>
          <a:ln w="12700">
            <a:solidFill>
              <a:schemeClr val="bg1"/>
            </a:solidFill>
            <a:round/>
            <a:headEnd/>
            <a:tailEnd/>
          </a:ln>
        </p:spPr>
        <p:txBody>
          <a:bodyPr wrap="none" lIns="27000" tIns="27000" rIns="27000" bIns="972000" anchor="t"/>
          <a:lstStyle/>
          <a:p>
            <a:pPr algn="ctr" defTabSz="685800">
              <a:buClrTx/>
            </a:pPr>
            <a:r>
              <a:rPr lang="en-US" sz="1050" kern="1200" dirty="0">
                <a:solidFill>
                  <a:prstClr val="white"/>
                </a:solidFill>
                <a:ea typeface="+mn-ea"/>
                <a:cs typeface="+mn-cs"/>
              </a:rPr>
              <a:t>Text</a:t>
            </a:r>
          </a:p>
        </p:txBody>
      </p:sp>
      <p:sp>
        <p:nvSpPr>
          <p:cNvPr id="680968" name="Oval 7"/>
          <p:cNvSpPr>
            <a:spLocks noChangeArrowheads="1"/>
          </p:cNvSpPr>
          <p:nvPr/>
        </p:nvSpPr>
        <p:spPr bwMode="auto">
          <a:xfrm>
            <a:off x="4102299" y="3615453"/>
            <a:ext cx="902494" cy="877490"/>
          </a:xfrm>
          <a:prstGeom prst="ellipse">
            <a:avLst/>
          </a:prstGeom>
          <a:solidFill>
            <a:srgbClr val="00A1DE"/>
          </a:solidFill>
          <a:ln w="12700">
            <a:solidFill>
              <a:schemeClr val="bg1"/>
            </a:solidFill>
            <a:round/>
            <a:headEnd/>
            <a:tailEnd/>
          </a:ln>
        </p:spPr>
        <p:txBody>
          <a:bodyPr wrap="none" lIns="27000" tIns="27000" rIns="27000" bIns="27000" anchor="ctr"/>
          <a:lstStyle/>
          <a:p>
            <a:pPr algn="ctr" defTabSz="685800">
              <a:buClrTx/>
            </a:pPr>
            <a:r>
              <a:rPr lang="en-US" sz="1050" kern="1200">
                <a:solidFill>
                  <a:prstClr val="white"/>
                </a:solidFill>
                <a:ea typeface="+mn-ea"/>
                <a:cs typeface="+mn-cs"/>
              </a:rPr>
              <a:t>Text</a:t>
            </a:r>
            <a:endParaRPr lang="en-US" sz="1050" kern="1200" dirty="0">
              <a:solidFill>
                <a:prstClr val="white"/>
              </a:solidFill>
              <a:ea typeface="+mn-ea"/>
              <a:cs typeface="+mn-cs"/>
            </a:endParaRPr>
          </a:p>
        </p:txBody>
      </p:sp>
      <p:sp>
        <p:nvSpPr>
          <p:cNvPr id="18"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
        <p:nvSpPr>
          <p:cNvPr id="13" name="Rectangle 12"/>
          <p:cNvSpPr>
            <a:spLocks noChangeArrowheads="1"/>
          </p:cNvSpPr>
          <p:nvPr/>
        </p:nvSpPr>
        <p:spPr bwMode="auto">
          <a:xfrm>
            <a:off x="5803107" y="0"/>
            <a:ext cx="2197894" cy="369332"/>
          </a:xfrm>
          <a:prstGeom prst="rect">
            <a:avLst/>
          </a:prstGeom>
          <a:solidFill>
            <a:schemeClr val="accent6"/>
          </a:solidFill>
          <a:ln w="6350" algn="ctr">
            <a:solidFill>
              <a:schemeClr val="bg1"/>
            </a:solidFill>
            <a:miter lim="800000"/>
            <a:headEnd/>
            <a:tailEnd/>
          </a:ln>
        </p:spPr>
        <p:txBody>
          <a:bodyPr tIns="68580" bIns="68580">
            <a:spAutoFit/>
          </a:bodyPr>
          <a:lstStyle/>
          <a:p>
            <a:pPr defTabSz="685800">
              <a:buClrTx/>
              <a:defRPr/>
            </a:pPr>
            <a:r>
              <a:rPr lang="en-US" sz="750" kern="1200" dirty="0">
                <a:solidFill>
                  <a:srgbClr val="313131"/>
                </a:solidFill>
                <a:ea typeface="ＭＳ Ｐゴシック" pitchFamily="50" charset="-128"/>
                <a:cs typeface="+mn-cs"/>
              </a:rPr>
              <a:t>Tip! Hold the Shift key when resizing the pieces or group to retain the shape proportions</a:t>
            </a:r>
          </a:p>
        </p:txBody>
      </p:sp>
    </p:spTree>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1985" name="Title 1"/>
          <p:cNvSpPr>
            <a:spLocks noGrp="1"/>
          </p:cNvSpPr>
          <p:nvPr>
            <p:ph type="title"/>
          </p:nvPr>
        </p:nvSpPr>
        <p:spPr/>
        <p:txBody>
          <a:bodyPr/>
          <a:lstStyle/>
          <a:p>
            <a:r>
              <a:rPr lang="en-US" dirty="0"/>
              <a:t>Spheres  </a:t>
            </a:r>
            <a:br>
              <a:rPr lang="en-US" dirty="0"/>
            </a:br>
            <a:r>
              <a:rPr lang="en-US" dirty="0">
                <a:solidFill>
                  <a:srgbClr val="575757"/>
                </a:solidFill>
              </a:rPr>
              <a:t>Spotlight and rollers</a:t>
            </a:r>
          </a:p>
        </p:txBody>
      </p:sp>
      <p:sp>
        <p:nvSpPr>
          <p:cNvPr id="4" name="Line 3"/>
          <p:cNvSpPr>
            <a:spLocks noChangeShapeType="1"/>
          </p:cNvSpPr>
          <p:nvPr/>
        </p:nvSpPr>
        <p:spPr bwMode="blackWhite">
          <a:xfrm flipH="1" flipV="1">
            <a:off x="2109788" y="1931195"/>
            <a:ext cx="363140" cy="767953"/>
          </a:xfrm>
          <a:prstGeom prst="line">
            <a:avLst/>
          </a:prstGeom>
          <a:noFill/>
          <a:ln w="12700">
            <a:solidFill>
              <a:srgbClr val="8C8C8C"/>
            </a:solidFill>
            <a:round/>
            <a:headEnd type="none" w="sm" len="sm"/>
            <a:tailEnd type="none" w="sm" len="sm"/>
          </a:ln>
        </p:spPr>
        <p:txBody>
          <a:bodyPr wrap="square" lIns="27000" tIns="27000" rIns="27000" bIns="27000" anchor="ctr"/>
          <a:lstStyle/>
          <a:p>
            <a:pPr defTabSz="685800">
              <a:buClrTx/>
              <a:defRPr/>
            </a:pPr>
            <a:endParaRPr lang="en-US" sz="1050" kern="1200" dirty="0">
              <a:solidFill>
                <a:srgbClr val="313131"/>
              </a:solidFill>
              <a:ea typeface="+mn-ea"/>
              <a:cs typeface="+mn-cs"/>
            </a:endParaRPr>
          </a:p>
        </p:txBody>
      </p:sp>
      <p:sp>
        <p:nvSpPr>
          <p:cNvPr id="5" name="Line 4"/>
          <p:cNvSpPr>
            <a:spLocks noChangeShapeType="1"/>
          </p:cNvSpPr>
          <p:nvPr/>
        </p:nvSpPr>
        <p:spPr bwMode="blackWhite">
          <a:xfrm flipV="1">
            <a:off x="2744390" y="2394348"/>
            <a:ext cx="782241" cy="397669"/>
          </a:xfrm>
          <a:prstGeom prst="line">
            <a:avLst/>
          </a:prstGeom>
          <a:noFill/>
          <a:ln w="12700">
            <a:solidFill>
              <a:srgbClr val="8C8C8C"/>
            </a:solidFill>
            <a:round/>
            <a:headEnd type="none" w="sm" len="sm"/>
            <a:tailEnd type="none" w="sm" len="sm"/>
          </a:ln>
        </p:spPr>
        <p:txBody>
          <a:bodyPr wrap="square" lIns="27000" tIns="27000" rIns="27000" bIns="27000" anchor="ctr"/>
          <a:lstStyle/>
          <a:p>
            <a:pPr defTabSz="685800">
              <a:buClrTx/>
              <a:defRPr/>
            </a:pPr>
            <a:endParaRPr lang="en-US" sz="1050" kern="1200" dirty="0">
              <a:solidFill>
                <a:srgbClr val="313131"/>
              </a:solidFill>
              <a:ea typeface="+mn-ea"/>
              <a:cs typeface="+mn-cs"/>
            </a:endParaRPr>
          </a:p>
        </p:txBody>
      </p:sp>
      <p:sp>
        <p:nvSpPr>
          <p:cNvPr id="6" name="Line 5"/>
          <p:cNvSpPr>
            <a:spLocks noChangeShapeType="1"/>
          </p:cNvSpPr>
          <p:nvPr/>
        </p:nvSpPr>
        <p:spPr bwMode="blackWhite">
          <a:xfrm flipH="1">
            <a:off x="1640681" y="2992041"/>
            <a:ext cx="751284" cy="398860"/>
          </a:xfrm>
          <a:prstGeom prst="line">
            <a:avLst/>
          </a:prstGeom>
          <a:noFill/>
          <a:ln w="12700">
            <a:solidFill>
              <a:srgbClr val="8C8C8C"/>
            </a:solidFill>
            <a:round/>
            <a:headEnd type="none" w="sm" len="sm"/>
            <a:tailEnd type="none" w="sm" len="sm"/>
          </a:ln>
        </p:spPr>
        <p:txBody>
          <a:bodyPr wrap="square" lIns="27000" tIns="27000" rIns="27000" bIns="27000" anchor="ctr"/>
          <a:lstStyle/>
          <a:p>
            <a:pPr defTabSz="685800">
              <a:buClrTx/>
              <a:defRPr/>
            </a:pPr>
            <a:endParaRPr lang="en-US" sz="1050" kern="1200" dirty="0">
              <a:solidFill>
                <a:srgbClr val="313131"/>
              </a:solidFill>
              <a:ea typeface="+mn-ea"/>
              <a:cs typeface="+mn-cs"/>
            </a:endParaRPr>
          </a:p>
        </p:txBody>
      </p:sp>
      <p:sp>
        <p:nvSpPr>
          <p:cNvPr id="7" name="Line 6"/>
          <p:cNvSpPr>
            <a:spLocks noChangeShapeType="1"/>
          </p:cNvSpPr>
          <p:nvPr/>
        </p:nvSpPr>
        <p:spPr bwMode="blackWhite">
          <a:xfrm flipV="1">
            <a:off x="2658666" y="1896666"/>
            <a:ext cx="392906" cy="807244"/>
          </a:xfrm>
          <a:prstGeom prst="line">
            <a:avLst/>
          </a:prstGeom>
          <a:noFill/>
          <a:ln w="12700">
            <a:solidFill>
              <a:srgbClr val="8C8C8C"/>
            </a:solidFill>
            <a:round/>
            <a:headEnd type="none" w="sm" len="sm"/>
            <a:tailEnd type="none" w="sm" len="sm"/>
          </a:ln>
        </p:spPr>
        <p:txBody>
          <a:bodyPr wrap="square" lIns="27000" tIns="27000" rIns="27000" bIns="27000" anchor="ctr"/>
          <a:lstStyle/>
          <a:p>
            <a:pPr defTabSz="685800">
              <a:buClrTx/>
              <a:defRPr/>
            </a:pPr>
            <a:endParaRPr lang="en-US" sz="1050" kern="1200" dirty="0">
              <a:solidFill>
                <a:srgbClr val="313131"/>
              </a:solidFill>
              <a:ea typeface="+mn-ea"/>
              <a:cs typeface="+mn-cs"/>
            </a:endParaRPr>
          </a:p>
        </p:txBody>
      </p:sp>
      <p:sp>
        <p:nvSpPr>
          <p:cNvPr id="8" name="Line 7"/>
          <p:cNvSpPr>
            <a:spLocks noChangeShapeType="1"/>
          </p:cNvSpPr>
          <p:nvPr/>
        </p:nvSpPr>
        <p:spPr bwMode="blackWhite">
          <a:xfrm>
            <a:off x="2650331" y="3089672"/>
            <a:ext cx="408384" cy="820341"/>
          </a:xfrm>
          <a:prstGeom prst="line">
            <a:avLst/>
          </a:prstGeom>
          <a:noFill/>
          <a:ln w="12700">
            <a:solidFill>
              <a:srgbClr val="8C8C8C"/>
            </a:solidFill>
            <a:round/>
            <a:headEnd type="none" w="sm" len="sm"/>
            <a:tailEnd type="none" w="sm" len="sm"/>
          </a:ln>
        </p:spPr>
        <p:txBody>
          <a:bodyPr wrap="square" lIns="27000" tIns="27000" rIns="27000" bIns="27000" anchor="ctr"/>
          <a:lstStyle/>
          <a:p>
            <a:pPr defTabSz="685800">
              <a:buClrTx/>
              <a:defRPr/>
            </a:pPr>
            <a:endParaRPr lang="en-US" sz="1050" kern="1200" dirty="0">
              <a:solidFill>
                <a:srgbClr val="313131"/>
              </a:solidFill>
              <a:ea typeface="+mn-ea"/>
              <a:cs typeface="+mn-cs"/>
            </a:endParaRPr>
          </a:p>
        </p:txBody>
      </p:sp>
      <p:sp>
        <p:nvSpPr>
          <p:cNvPr id="9" name="Line 8"/>
          <p:cNvSpPr>
            <a:spLocks noChangeShapeType="1"/>
          </p:cNvSpPr>
          <p:nvPr/>
        </p:nvSpPr>
        <p:spPr bwMode="blackWhite">
          <a:xfrm>
            <a:off x="2726531" y="2976564"/>
            <a:ext cx="746522" cy="416719"/>
          </a:xfrm>
          <a:prstGeom prst="line">
            <a:avLst/>
          </a:prstGeom>
          <a:noFill/>
          <a:ln w="12700">
            <a:solidFill>
              <a:srgbClr val="8C8C8C"/>
            </a:solidFill>
            <a:round/>
            <a:headEnd type="none" w="sm" len="sm"/>
            <a:tailEnd type="none" w="sm" len="sm"/>
          </a:ln>
        </p:spPr>
        <p:txBody>
          <a:bodyPr wrap="square" lIns="27000" tIns="27000" rIns="27000" bIns="27000" anchor="ctr"/>
          <a:lstStyle/>
          <a:p>
            <a:pPr defTabSz="685800">
              <a:buClrTx/>
              <a:defRPr/>
            </a:pPr>
            <a:endParaRPr lang="en-US" sz="1050" kern="1200" dirty="0">
              <a:solidFill>
                <a:srgbClr val="313131"/>
              </a:solidFill>
              <a:ea typeface="+mn-ea"/>
              <a:cs typeface="+mn-cs"/>
            </a:endParaRPr>
          </a:p>
        </p:txBody>
      </p:sp>
      <p:sp>
        <p:nvSpPr>
          <p:cNvPr id="10" name="Line 9"/>
          <p:cNvSpPr>
            <a:spLocks noChangeShapeType="1"/>
          </p:cNvSpPr>
          <p:nvPr/>
        </p:nvSpPr>
        <p:spPr bwMode="blackWhite">
          <a:xfrm flipH="1">
            <a:off x="2125265" y="3075385"/>
            <a:ext cx="385763" cy="753666"/>
          </a:xfrm>
          <a:prstGeom prst="line">
            <a:avLst/>
          </a:prstGeom>
          <a:noFill/>
          <a:ln w="12700">
            <a:solidFill>
              <a:srgbClr val="8C8C8C"/>
            </a:solidFill>
            <a:round/>
            <a:headEnd type="none" w="sm" len="sm"/>
            <a:tailEnd type="none" w="sm" len="sm"/>
          </a:ln>
        </p:spPr>
        <p:txBody>
          <a:bodyPr wrap="square" lIns="27000" tIns="27000" rIns="27000" bIns="27000" anchor="ctr"/>
          <a:lstStyle/>
          <a:p>
            <a:pPr defTabSz="685800">
              <a:buClrTx/>
              <a:defRPr/>
            </a:pPr>
            <a:endParaRPr lang="en-US" sz="1050" kern="1200" dirty="0">
              <a:solidFill>
                <a:srgbClr val="313131"/>
              </a:solidFill>
              <a:ea typeface="+mn-ea"/>
              <a:cs typeface="+mn-cs"/>
            </a:endParaRPr>
          </a:p>
        </p:txBody>
      </p:sp>
      <p:sp>
        <p:nvSpPr>
          <p:cNvPr id="11" name="Line 10"/>
          <p:cNvSpPr>
            <a:spLocks noChangeShapeType="1"/>
          </p:cNvSpPr>
          <p:nvPr/>
        </p:nvSpPr>
        <p:spPr bwMode="blackWhite">
          <a:xfrm flipH="1" flipV="1">
            <a:off x="1613297" y="2388395"/>
            <a:ext cx="772716" cy="409575"/>
          </a:xfrm>
          <a:prstGeom prst="line">
            <a:avLst/>
          </a:prstGeom>
          <a:noFill/>
          <a:ln w="12700">
            <a:solidFill>
              <a:srgbClr val="8C8C8C"/>
            </a:solidFill>
            <a:round/>
            <a:headEnd type="none" w="sm" len="sm"/>
            <a:tailEnd type="none" w="sm" len="sm"/>
          </a:ln>
        </p:spPr>
        <p:txBody>
          <a:bodyPr wrap="square" lIns="27000" tIns="27000" rIns="27000" bIns="27000" anchor="ctr"/>
          <a:lstStyle/>
          <a:p>
            <a:pPr defTabSz="685800">
              <a:buClrTx/>
              <a:defRPr/>
            </a:pPr>
            <a:endParaRPr lang="en-US" sz="1050" kern="1200" dirty="0">
              <a:solidFill>
                <a:srgbClr val="313131"/>
              </a:solidFill>
              <a:ea typeface="+mn-ea"/>
              <a:cs typeface="+mn-cs"/>
            </a:endParaRPr>
          </a:p>
        </p:txBody>
      </p:sp>
      <p:sp>
        <p:nvSpPr>
          <p:cNvPr id="12" name="Oval 11"/>
          <p:cNvSpPr>
            <a:spLocks noChangeArrowheads="1"/>
          </p:cNvSpPr>
          <p:nvPr/>
        </p:nvSpPr>
        <p:spPr bwMode="blackWhite">
          <a:xfrm>
            <a:off x="3001565" y="3348038"/>
            <a:ext cx="729000" cy="729000"/>
          </a:xfrm>
          <a:prstGeom prst="ellipse">
            <a:avLst/>
          </a:prstGeom>
          <a:solidFill>
            <a:srgbClr val="B4B4B4"/>
          </a:solidFill>
          <a:ln w="12700">
            <a:solidFill>
              <a:schemeClr val="bg1"/>
            </a:solidFill>
            <a:round/>
            <a:headEnd/>
            <a:tailEnd/>
          </a:ln>
        </p:spPr>
        <p:txBody>
          <a:bodyPr wrap="square" lIns="27000" tIns="27000" rIns="27000" bIns="27000" anchor="ctr"/>
          <a:lstStyle/>
          <a:p>
            <a:pPr algn="ctr" defTabSz="685800">
              <a:buClrTx/>
              <a:defRPr/>
            </a:pPr>
            <a:r>
              <a:rPr lang="en-US" sz="1050" kern="1200">
                <a:solidFill>
                  <a:srgbClr val="313131"/>
                </a:solidFill>
                <a:ea typeface="+mn-ea"/>
                <a:cs typeface="+mn-cs"/>
              </a:rPr>
              <a:t>Text</a:t>
            </a:r>
            <a:endParaRPr lang="en-US" sz="1050" kern="1200" dirty="0">
              <a:solidFill>
                <a:srgbClr val="313131"/>
              </a:solidFill>
              <a:ea typeface="+mn-ea"/>
              <a:cs typeface="+mn-cs"/>
            </a:endParaRPr>
          </a:p>
        </p:txBody>
      </p:sp>
      <p:sp>
        <p:nvSpPr>
          <p:cNvPr id="681996" name="Oval 12"/>
          <p:cNvSpPr>
            <a:spLocks noChangeArrowheads="1"/>
          </p:cNvSpPr>
          <p:nvPr/>
        </p:nvSpPr>
        <p:spPr bwMode="blackWhite">
          <a:xfrm>
            <a:off x="2437209" y="2755107"/>
            <a:ext cx="270000" cy="270000"/>
          </a:xfrm>
          <a:prstGeom prst="ellipse">
            <a:avLst/>
          </a:prstGeom>
          <a:solidFill>
            <a:srgbClr val="00A1DE"/>
          </a:solidFill>
          <a:ln w="12700">
            <a:solidFill>
              <a:schemeClr val="bg1"/>
            </a:solidFill>
            <a:round/>
            <a:headEnd/>
            <a:tailEnd/>
          </a:ln>
        </p:spPr>
        <p:txBody>
          <a:bodyPr wrap="square" lIns="27000" tIns="27000" rIns="27000" bIns="27000" anchor="ctr"/>
          <a:lstStyle/>
          <a:p>
            <a:pPr algn="ctr" defTabSz="685800">
              <a:buClrTx/>
            </a:pPr>
            <a:endParaRPr lang="en-US" sz="1050" kern="1200">
              <a:solidFill>
                <a:srgbClr val="313131"/>
              </a:solidFill>
              <a:ea typeface="+mn-ea"/>
              <a:cs typeface="+mn-cs"/>
            </a:endParaRPr>
          </a:p>
        </p:txBody>
      </p:sp>
      <p:sp>
        <p:nvSpPr>
          <p:cNvPr id="14" name="Oval 13"/>
          <p:cNvSpPr>
            <a:spLocks noChangeArrowheads="1"/>
          </p:cNvSpPr>
          <p:nvPr/>
        </p:nvSpPr>
        <p:spPr bwMode="blackWhite">
          <a:xfrm>
            <a:off x="1440656" y="1715691"/>
            <a:ext cx="729000" cy="729000"/>
          </a:xfrm>
          <a:prstGeom prst="ellipse">
            <a:avLst/>
          </a:prstGeom>
          <a:solidFill>
            <a:srgbClr val="B4B4B4"/>
          </a:solidFill>
          <a:ln w="12700">
            <a:solidFill>
              <a:schemeClr val="bg1"/>
            </a:solidFill>
            <a:round/>
            <a:headEnd/>
            <a:tailEnd/>
          </a:ln>
        </p:spPr>
        <p:txBody>
          <a:bodyPr wrap="square" lIns="27000" tIns="27000" rIns="27000" bIns="27000" anchor="ctr"/>
          <a:lstStyle/>
          <a:p>
            <a:pPr algn="ctr" defTabSz="685800">
              <a:buClrTx/>
              <a:defRPr/>
            </a:pPr>
            <a:r>
              <a:rPr lang="en-US" sz="1050" kern="1200" dirty="0">
                <a:solidFill>
                  <a:srgbClr val="313131"/>
                </a:solidFill>
                <a:ea typeface="+mn-ea"/>
                <a:cs typeface="+mn-cs"/>
              </a:rPr>
              <a:t>Text</a:t>
            </a:r>
          </a:p>
        </p:txBody>
      </p:sp>
      <p:sp>
        <p:nvSpPr>
          <p:cNvPr id="15" name="Oval 14"/>
          <p:cNvSpPr>
            <a:spLocks noChangeArrowheads="1"/>
          </p:cNvSpPr>
          <p:nvPr/>
        </p:nvSpPr>
        <p:spPr bwMode="blackWhite">
          <a:xfrm>
            <a:off x="3001565" y="1715691"/>
            <a:ext cx="729000" cy="729000"/>
          </a:xfrm>
          <a:prstGeom prst="ellipse">
            <a:avLst/>
          </a:prstGeom>
          <a:solidFill>
            <a:srgbClr val="B4B4B4"/>
          </a:solidFill>
          <a:ln w="12700">
            <a:solidFill>
              <a:schemeClr val="bg1"/>
            </a:solidFill>
            <a:round/>
            <a:headEnd/>
            <a:tailEnd/>
          </a:ln>
        </p:spPr>
        <p:txBody>
          <a:bodyPr wrap="square" lIns="27000" tIns="27000" rIns="27000" bIns="27000" anchor="ctr"/>
          <a:lstStyle/>
          <a:p>
            <a:pPr algn="ctr" defTabSz="685800">
              <a:buClrTx/>
              <a:defRPr/>
            </a:pPr>
            <a:r>
              <a:rPr lang="en-US" sz="1050" kern="1200">
                <a:solidFill>
                  <a:srgbClr val="313131"/>
                </a:solidFill>
                <a:ea typeface="+mn-ea"/>
                <a:cs typeface="+mn-cs"/>
              </a:rPr>
              <a:t>Text</a:t>
            </a:r>
            <a:endParaRPr lang="en-US" sz="1050" kern="1200" dirty="0">
              <a:solidFill>
                <a:srgbClr val="313131"/>
              </a:solidFill>
              <a:ea typeface="+mn-ea"/>
              <a:cs typeface="+mn-cs"/>
            </a:endParaRPr>
          </a:p>
        </p:txBody>
      </p:sp>
      <p:sp>
        <p:nvSpPr>
          <p:cNvPr id="16" name="Oval 15"/>
          <p:cNvSpPr>
            <a:spLocks noChangeArrowheads="1"/>
          </p:cNvSpPr>
          <p:nvPr/>
        </p:nvSpPr>
        <p:spPr bwMode="blackWhite">
          <a:xfrm>
            <a:off x="1440656" y="3348038"/>
            <a:ext cx="729000" cy="729000"/>
          </a:xfrm>
          <a:prstGeom prst="ellipse">
            <a:avLst/>
          </a:prstGeom>
          <a:solidFill>
            <a:srgbClr val="B4B4B4"/>
          </a:solidFill>
          <a:ln w="12700">
            <a:solidFill>
              <a:schemeClr val="bg1"/>
            </a:solidFill>
            <a:round/>
            <a:headEnd/>
            <a:tailEnd/>
          </a:ln>
        </p:spPr>
        <p:txBody>
          <a:bodyPr wrap="square" lIns="27000" tIns="27000" rIns="27000" bIns="27000" anchor="ctr"/>
          <a:lstStyle/>
          <a:p>
            <a:pPr algn="ctr" defTabSz="685800">
              <a:buClrTx/>
              <a:defRPr/>
            </a:pPr>
            <a:r>
              <a:rPr lang="en-US" sz="1050" kern="1200">
                <a:solidFill>
                  <a:srgbClr val="313131"/>
                </a:solidFill>
                <a:ea typeface="+mn-ea"/>
                <a:cs typeface="+mn-cs"/>
              </a:rPr>
              <a:t>Text</a:t>
            </a:r>
            <a:endParaRPr lang="en-US" sz="1050" kern="1200" dirty="0">
              <a:solidFill>
                <a:srgbClr val="313131"/>
              </a:solidFill>
              <a:ea typeface="+mn-ea"/>
              <a:cs typeface="+mn-cs"/>
            </a:endParaRPr>
          </a:p>
        </p:txBody>
      </p:sp>
      <p:grpSp>
        <p:nvGrpSpPr>
          <p:cNvPr id="28" name="Group 27"/>
          <p:cNvGrpSpPr/>
          <p:nvPr/>
        </p:nvGrpSpPr>
        <p:grpSpPr>
          <a:xfrm>
            <a:off x="4770835" y="1714501"/>
            <a:ext cx="2909888" cy="2059781"/>
            <a:chOff x="4837113" y="2359025"/>
            <a:chExt cx="3879850" cy="2746375"/>
          </a:xfrm>
        </p:grpSpPr>
        <p:sp>
          <p:nvSpPr>
            <p:cNvPr id="17" name="Oval 16"/>
            <p:cNvSpPr>
              <a:spLocks noChangeArrowheads="1"/>
            </p:cNvSpPr>
            <p:nvPr/>
          </p:nvSpPr>
          <p:spPr bwMode="blackWhite">
            <a:xfrm>
              <a:off x="5078413" y="2979738"/>
              <a:ext cx="900000" cy="900000"/>
            </a:xfrm>
            <a:prstGeom prst="ellipse">
              <a:avLst/>
            </a:prstGeom>
            <a:solidFill>
              <a:srgbClr val="00A1DE"/>
            </a:solidFill>
            <a:ln w="12700">
              <a:solidFill>
                <a:schemeClr val="bg1"/>
              </a:solidFill>
              <a:round/>
              <a:headEnd/>
              <a:tailEnd/>
            </a:ln>
          </p:spPr>
          <p:txBody>
            <a:bodyPr wrap="square" lIns="27000" tIns="27000" rIns="27000" bIns="27000" anchor="ctr"/>
            <a:lstStyle/>
            <a:p>
              <a:pPr algn="ctr" defTabSz="685800">
                <a:buClrTx/>
                <a:defRPr/>
              </a:pPr>
              <a:r>
                <a:rPr lang="en-US" sz="1050" kern="1200" dirty="0">
                  <a:solidFill>
                    <a:prstClr val="white"/>
                  </a:solidFill>
                  <a:ea typeface="+mn-ea"/>
                  <a:cs typeface="+mn-cs"/>
                </a:rPr>
                <a:t>Text</a:t>
              </a:r>
            </a:p>
          </p:txBody>
        </p:sp>
        <p:sp>
          <p:nvSpPr>
            <p:cNvPr id="18" name="Oval 17"/>
            <p:cNvSpPr>
              <a:spLocks noChangeArrowheads="1"/>
            </p:cNvSpPr>
            <p:nvPr/>
          </p:nvSpPr>
          <p:spPr bwMode="blackWhite">
            <a:xfrm>
              <a:off x="6194424" y="4113213"/>
              <a:ext cx="900000" cy="900000"/>
            </a:xfrm>
            <a:prstGeom prst="ellipse">
              <a:avLst/>
            </a:prstGeom>
            <a:solidFill>
              <a:srgbClr val="00A1DE"/>
            </a:solidFill>
            <a:ln w="12700">
              <a:solidFill>
                <a:schemeClr val="bg1"/>
              </a:solidFill>
              <a:round/>
              <a:headEnd/>
              <a:tailEnd/>
            </a:ln>
          </p:spPr>
          <p:txBody>
            <a:bodyPr wrap="square" lIns="27000" tIns="27000" rIns="27000" bIns="27000" anchor="ctr"/>
            <a:lstStyle/>
            <a:p>
              <a:pPr algn="ctr" defTabSz="685800">
                <a:buClrTx/>
                <a:defRPr/>
              </a:pPr>
              <a:r>
                <a:rPr lang="en-US" sz="1050" kern="1200">
                  <a:solidFill>
                    <a:prstClr val="white"/>
                  </a:solidFill>
                  <a:ea typeface="+mn-ea"/>
                  <a:cs typeface="+mn-cs"/>
                </a:rPr>
                <a:t>Text</a:t>
              </a:r>
              <a:endParaRPr lang="en-US" sz="1050" kern="1200" dirty="0">
                <a:solidFill>
                  <a:prstClr val="white"/>
                </a:solidFill>
                <a:ea typeface="+mn-ea"/>
                <a:cs typeface="+mn-cs"/>
              </a:endParaRPr>
            </a:p>
          </p:txBody>
        </p:sp>
        <p:sp>
          <p:nvSpPr>
            <p:cNvPr id="19" name="Oval 18"/>
            <p:cNvSpPr>
              <a:spLocks noChangeArrowheads="1"/>
            </p:cNvSpPr>
            <p:nvPr/>
          </p:nvSpPr>
          <p:spPr bwMode="blackWhite">
            <a:xfrm>
              <a:off x="7315257" y="2468563"/>
              <a:ext cx="900000" cy="900000"/>
            </a:xfrm>
            <a:prstGeom prst="ellipse">
              <a:avLst/>
            </a:prstGeom>
            <a:solidFill>
              <a:srgbClr val="00A1DE"/>
            </a:solidFill>
            <a:ln w="12700">
              <a:solidFill>
                <a:schemeClr val="bg1"/>
              </a:solidFill>
              <a:round/>
              <a:headEnd/>
              <a:tailEnd/>
            </a:ln>
          </p:spPr>
          <p:txBody>
            <a:bodyPr wrap="square" lIns="27000" tIns="27000" rIns="27000" bIns="27000" anchor="ctr"/>
            <a:lstStyle/>
            <a:p>
              <a:pPr algn="ctr" defTabSz="685800">
                <a:buClrTx/>
                <a:defRPr/>
              </a:pPr>
              <a:r>
                <a:rPr lang="en-US" sz="1050" kern="1200">
                  <a:solidFill>
                    <a:prstClr val="white"/>
                  </a:solidFill>
                  <a:ea typeface="+mn-ea"/>
                  <a:cs typeface="+mn-cs"/>
                </a:rPr>
                <a:t>Text</a:t>
              </a:r>
              <a:endParaRPr lang="en-US" sz="1050" kern="1200" dirty="0">
                <a:solidFill>
                  <a:prstClr val="white"/>
                </a:solidFill>
                <a:ea typeface="+mn-ea"/>
                <a:cs typeface="+mn-cs"/>
              </a:endParaRPr>
            </a:p>
          </p:txBody>
        </p:sp>
        <p:grpSp>
          <p:nvGrpSpPr>
            <p:cNvPr id="682003" name="Group 32"/>
            <p:cNvGrpSpPr>
              <a:grpSpLocks/>
            </p:cNvGrpSpPr>
            <p:nvPr/>
          </p:nvGrpSpPr>
          <p:grpSpPr bwMode="auto">
            <a:xfrm>
              <a:off x="4837113" y="2359025"/>
              <a:ext cx="3879850" cy="2746375"/>
              <a:chOff x="5240338" y="2359025"/>
              <a:chExt cx="4203700" cy="2746376"/>
            </a:xfrm>
          </p:grpSpPr>
          <p:sp>
            <p:nvSpPr>
              <p:cNvPr id="21" name="Arc 20"/>
              <p:cNvSpPr>
                <a:spLocks/>
              </p:cNvSpPr>
              <p:nvPr/>
            </p:nvSpPr>
            <p:spPr bwMode="auto">
              <a:xfrm>
                <a:off x="5993702" y="2867025"/>
                <a:ext cx="610602" cy="608013"/>
              </a:xfrm>
              <a:custGeom>
                <a:avLst/>
                <a:gdLst>
                  <a:gd name="T0" fmla="*/ 0 w 21646"/>
                  <a:gd name="T1" fmla="*/ 0 h 21600"/>
                  <a:gd name="T2" fmla="*/ 0 w 21646"/>
                  <a:gd name="T3" fmla="*/ 0 h 21600"/>
                  <a:gd name="T4" fmla="*/ 0 w 21646"/>
                  <a:gd name="T5" fmla="*/ 0 h 21600"/>
                  <a:gd name="T6" fmla="*/ 0 60000 65536"/>
                  <a:gd name="T7" fmla="*/ 0 60000 65536"/>
                  <a:gd name="T8" fmla="*/ 0 60000 65536"/>
                  <a:gd name="T9" fmla="*/ 0 w 21646"/>
                  <a:gd name="T10" fmla="*/ 0 h 21600"/>
                  <a:gd name="T11" fmla="*/ 21646 w 21646"/>
                  <a:gd name="T12" fmla="*/ 21600 h 21600"/>
                </a:gdLst>
                <a:ahLst/>
                <a:cxnLst>
                  <a:cxn ang="T6">
                    <a:pos x="T0" y="T1"/>
                  </a:cxn>
                  <a:cxn ang="T7">
                    <a:pos x="T2" y="T3"/>
                  </a:cxn>
                  <a:cxn ang="T8">
                    <a:pos x="T4" y="T5"/>
                  </a:cxn>
                </a:cxnLst>
                <a:rect l="T9" t="T10" r="T11" b="T12"/>
                <a:pathLst>
                  <a:path w="21646" h="21600" fill="none" extrusionOk="0">
                    <a:moveTo>
                      <a:pt x="0" y="0"/>
                    </a:moveTo>
                    <a:cubicBezTo>
                      <a:pt x="17" y="0"/>
                      <a:pt x="35" y="-1"/>
                      <a:pt x="53" y="0"/>
                    </a:cubicBezTo>
                    <a:cubicBezTo>
                      <a:pt x="11761" y="0"/>
                      <a:pt x="21337" y="9327"/>
                      <a:pt x="21645" y="21032"/>
                    </a:cubicBezTo>
                  </a:path>
                  <a:path w="21646" h="21600" stroke="0" extrusionOk="0">
                    <a:moveTo>
                      <a:pt x="0" y="0"/>
                    </a:moveTo>
                    <a:cubicBezTo>
                      <a:pt x="17" y="0"/>
                      <a:pt x="35" y="-1"/>
                      <a:pt x="53" y="0"/>
                    </a:cubicBezTo>
                    <a:cubicBezTo>
                      <a:pt x="11761" y="0"/>
                      <a:pt x="21337" y="9327"/>
                      <a:pt x="21645" y="21032"/>
                    </a:cubicBezTo>
                    <a:lnTo>
                      <a:pt x="53" y="21600"/>
                    </a:lnTo>
                    <a:close/>
                  </a:path>
                </a:pathLst>
              </a:custGeom>
              <a:noFill/>
              <a:ln w="25400" cap="rnd">
                <a:solidFill>
                  <a:srgbClr val="B4B4B4"/>
                </a:solidFill>
                <a:round/>
                <a:headEnd type="none" w="sm" len="sm"/>
                <a:tailEnd type="none" w="sm" len="sm"/>
              </a:ln>
            </p:spPr>
            <p:txBody>
              <a:bodyPr wrap="square" lIns="27000" tIns="27000" rIns="27000" bIns="27000" anchor="ctr"/>
              <a:lstStyle/>
              <a:p>
                <a:pPr algn="ctr" defTabSz="685800">
                  <a:buClrTx/>
                  <a:defRPr/>
                </a:pPr>
                <a:endParaRPr lang="en-US" sz="1050" kern="1200" dirty="0">
                  <a:solidFill>
                    <a:prstClr val="white"/>
                  </a:solidFill>
                  <a:ea typeface="+mn-ea"/>
                  <a:cs typeface="+mn-cs"/>
                </a:endParaRPr>
              </a:p>
            </p:txBody>
          </p:sp>
          <p:sp>
            <p:nvSpPr>
              <p:cNvPr id="22" name="Line 21"/>
              <p:cNvSpPr>
                <a:spLocks noChangeShapeType="1"/>
              </p:cNvSpPr>
              <p:nvPr/>
            </p:nvSpPr>
            <p:spPr bwMode="auto">
              <a:xfrm flipH="1">
                <a:off x="5240338" y="2867819"/>
                <a:ext cx="763684" cy="0"/>
              </a:xfrm>
              <a:prstGeom prst="line">
                <a:avLst/>
              </a:prstGeom>
              <a:noFill/>
              <a:ln w="25400">
                <a:solidFill>
                  <a:srgbClr val="B4B4B4"/>
                </a:solidFill>
                <a:round/>
                <a:headEnd type="none" w="sm" len="sm"/>
                <a:tailEnd type="none" w="sm" len="sm"/>
              </a:ln>
            </p:spPr>
            <p:txBody>
              <a:bodyPr wrap="square" lIns="27000" tIns="27000" rIns="27000" bIns="27000" anchor="ctr"/>
              <a:lstStyle/>
              <a:p>
                <a:pPr defTabSz="685800">
                  <a:buClrTx/>
                  <a:defRPr/>
                </a:pPr>
                <a:endParaRPr lang="en-US" sz="1050" kern="1200" dirty="0">
                  <a:solidFill>
                    <a:prstClr val="white"/>
                  </a:solidFill>
                  <a:ea typeface="+mn-ea"/>
                  <a:cs typeface="+mn-cs"/>
                </a:endParaRPr>
              </a:p>
            </p:txBody>
          </p:sp>
          <p:sp>
            <p:nvSpPr>
              <p:cNvPr id="23" name="Arc 22"/>
              <p:cNvSpPr>
                <a:spLocks/>
              </p:cNvSpPr>
              <p:nvPr/>
            </p:nvSpPr>
            <p:spPr bwMode="auto">
              <a:xfrm>
                <a:off x="6605164" y="4506914"/>
                <a:ext cx="1174048" cy="598487"/>
              </a:xfrm>
              <a:custGeom>
                <a:avLst/>
                <a:gdLst>
                  <a:gd name="T0" fmla="*/ 0 w 43200"/>
                  <a:gd name="T1" fmla="*/ 0 h 21705"/>
                  <a:gd name="T2" fmla="*/ 0 w 43200"/>
                  <a:gd name="T3" fmla="*/ 0 h 21705"/>
                  <a:gd name="T4" fmla="*/ 0 w 43200"/>
                  <a:gd name="T5" fmla="*/ 0 h 21705"/>
                  <a:gd name="T6" fmla="*/ 0 60000 65536"/>
                  <a:gd name="T7" fmla="*/ 0 60000 65536"/>
                  <a:gd name="T8" fmla="*/ 0 60000 65536"/>
                  <a:gd name="T9" fmla="*/ 0 w 43200"/>
                  <a:gd name="T10" fmla="*/ 0 h 21705"/>
                  <a:gd name="T11" fmla="*/ 43200 w 43200"/>
                  <a:gd name="T12" fmla="*/ 21705 h 21705"/>
                </a:gdLst>
                <a:ahLst/>
                <a:cxnLst>
                  <a:cxn ang="T6">
                    <a:pos x="T0" y="T1"/>
                  </a:cxn>
                  <a:cxn ang="T7">
                    <a:pos x="T2" y="T3"/>
                  </a:cxn>
                  <a:cxn ang="T8">
                    <a:pos x="T4" y="T5"/>
                  </a:cxn>
                </a:cxnLst>
                <a:rect l="T9" t="T10" r="T11" b="T12"/>
                <a:pathLst>
                  <a:path w="43200" h="21705" fill="none" extrusionOk="0">
                    <a:moveTo>
                      <a:pt x="43199" y="53"/>
                    </a:moveTo>
                    <a:cubicBezTo>
                      <a:pt x="43199" y="70"/>
                      <a:pt x="43200" y="87"/>
                      <a:pt x="43200" y="105"/>
                    </a:cubicBezTo>
                    <a:cubicBezTo>
                      <a:pt x="43200" y="12034"/>
                      <a:pt x="33529" y="21705"/>
                      <a:pt x="21600" y="21705"/>
                    </a:cubicBezTo>
                    <a:cubicBezTo>
                      <a:pt x="9670" y="21705"/>
                      <a:pt x="0" y="12034"/>
                      <a:pt x="0" y="105"/>
                    </a:cubicBezTo>
                    <a:cubicBezTo>
                      <a:pt x="-1" y="70"/>
                      <a:pt x="0" y="35"/>
                      <a:pt x="0" y="0"/>
                    </a:cubicBezTo>
                  </a:path>
                  <a:path w="43200" h="21705" stroke="0" extrusionOk="0">
                    <a:moveTo>
                      <a:pt x="43199" y="53"/>
                    </a:moveTo>
                    <a:cubicBezTo>
                      <a:pt x="43199" y="70"/>
                      <a:pt x="43200" y="87"/>
                      <a:pt x="43200" y="105"/>
                    </a:cubicBezTo>
                    <a:cubicBezTo>
                      <a:pt x="43200" y="12034"/>
                      <a:pt x="33529" y="21705"/>
                      <a:pt x="21600" y="21705"/>
                    </a:cubicBezTo>
                    <a:cubicBezTo>
                      <a:pt x="9670" y="21705"/>
                      <a:pt x="0" y="12034"/>
                      <a:pt x="0" y="105"/>
                    </a:cubicBezTo>
                    <a:cubicBezTo>
                      <a:pt x="-1" y="70"/>
                      <a:pt x="0" y="35"/>
                      <a:pt x="0" y="0"/>
                    </a:cubicBezTo>
                    <a:lnTo>
                      <a:pt x="21600" y="105"/>
                    </a:lnTo>
                    <a:close/>
                  </a:path>
                </a:pathLst>
              </a:custGeom>
              <a:noFill/>
              <a:ln w="25400" cap="rnd">
                <a:solidFill>
                  <a:srgbClr val="B4B4B4"/>
                </a:solidFill>
                <a:round/>
                <a:headEnd type="none" w="sm" len="sm"/>
                <a:tailEnd type="none" w="sm" len="sm"/>
              </a:ln>
            </p:spPr>
            <p:txBody>
              <a:bodyPr wrap="square" lIns="27000" tIns="27000" rIns="27000" bIns="27000" anchor="ctr"/>
              <a:lstStyle/>
              <a:p>
                <a:pPr algn="ctr" defTabSz="685800">
                  <a:buClrTx/>
                  <a:defRPr/>
                </a:pPr>
                <a:endParaRPr lang="en-US" sz="1050" kern="1200" dirty="0">
                  <a:solidFill>
                    <a:prstClr val="white"/>
                  </a:solidFill>
                  <a:ea typeface="+mn-ea"/>
                  <a:cs typeface="+mn-cs"/>
                </a:endParaRPr>
              </a:p>
            </p:txBody>
          </p:sp>
          <p:sp>
            <p:nvSpPr>
              <p:cNvPr id="24" name="Line 23"/>
              <p:cNvSpPr>
                <a:spLocks noChangeShapeType="1"/>
              </p:cNvSpPr>
              <p:nvPr/>
            </p:nvSpPr>
            <p:spPr bwMode="auto">
              <a:xfrm flipV="1">
                <a:off x="6604304" y="3443288"/>
                <a:ext cx="0" cy="1073150"/>
              </a:xfrm>
              <a:prstGeom prst="line">
                <a:avLst/>
              </a:prstGeom>
              <a:noFill/>
              <a:ln w="25400">
                <a:solidFill>
                  <a:srgbClr val="B4B4B4"/>
                </a:solidFill>
                <a:round/>
                <a:headEnd type="none" w="sm" len="sm"/>
                <a:tailEnd type="none" w="sm" len="sm"/>
              </a:ln>
            </p:spPr>
            <p:txBody>
              <a:bodyPr wrap="square" lIns="27000" tIns="27000" rIns="27000" bIns="27000" anchor="ctr"/>
              <a:lstStyle/>
              <a:p>
                <a:pPr defTabSz="685800">
                  <a:buClrTx/>
                  <a:defRPr/>
                </a:pPr>
                <a:endParaRPr lang="en-US" sz="1050" kern="1200" dirty="0">
                  <a:solidFill>
                    <a:prstClr val="white"/>
                  </a:solidFill>
                  <a:ea typeface="+mn-ea"/>
                  <a:cs typeface="+mn-cs"/>
                </a:endParaRPr>
              </a:p>
            </p:txBody>
          </p:sp>
          <p:sp>
            <p:nvSpPr>
              <p:cNvPr id="25" name="Line 24"/>
              <p:cNvSpPr>
                <a:spLocks noChangeShapeType="1"/>
              </p:cNvSpPr>
              <p:nvPr/>
            </p:nvSpPr>
            <p:spPr bwMode="auto">
              <a:xfrm flipV="1">
                <a:off x="7779070" y="2962275"/>
                <a:ext cx="0" cy="1565276"/>
              </a:xfrm>
              <a:prstGeom prst="line">
                <a:avLst/>
              </a:prstGeom>
              <a:noFill/>
              <a:ln w="25400">
                <a:solidFill>
                  <a:srgbClr val="B4B4B4"/>
                </a:solidFill>
                <a:round/>
                <a:headEnd type="none" w="sm" len="sm"/>
                <a:tailEnd type="none" w="sm" len="sm"/>
              </a:ln>
            </p:spPr>
            <p:txBody>
              <a:bodyPr wrap="square" lIns="27000" tIns="27000" rIns="27000" bIns="27000" anchor="ctr"/>
              <a:lstStyle/>
              <a:p>
                <a:pPr defTabSz="685800">
                  <a:buClrTx/>
                  <a:defRPr/>
                </a:pPr>
                <a:endParaRPr lang="en-US" sz="1050" kern="1200" dirty="0">
                  <a:solidFill>
                    <a:prstClr val="white"/>
                  </a:solidFill>
                  <a:ea typeface="+mn-ea"/>
                  <a:cs typeface="+mn-cs"/>
                </a:endParaRPr>
              </a:p>
            </p:txBody>
          </p:sp>
          <p:sp>
            <p:nvSpPr>
              <p:cNvPr id="26" name="Arc 25"/>
              <p:cNvSpPr>
                <a:spLocks/>
              </p:cNvSpPr>
              <p:nvPr/>
            </p:nvSpPr>
            <p:spPr bwMode="auto">
              <a:xfrm>
                <a:off x="7778210" y="2359025"/>
                <a:ext cx="610603" cy="60483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548"/>
                    </a:moveTo>
                    <a:cubicBezTo>
                      <a:pt x="28" y="9659"/>
                      <a:pt x="9658" y="29"/>
                      <a:pt x="21547" y="0"/>
                    </a:cubicBezTo>
                  </a:path>
                  <a:path w="21600" h="21600" stroke="0" extrusionOk="0">
                    <a:moveTo>
                      <a:pt x="0" y="21548"/>
                    </a:moveTo>
                    <a:cubicBezTo>
                      <a:pt x="28" y="9659"/>
                      <a:pt x="9658" y="29"/>
                      <a:pt x="21547" y="0"/>
                    </a:cubicBezTo>
                    <a:lnTo>
                      <a:pt x="21600" y="21600"/>
                    </a:lnTo>
                    <a:close/>
                  </a:path>
                </a:pathLst>
              </a:custGeom>
              <a:noFill/>
              <a:ln w="25400" cap="rnd">
                <a:solidFill>
                  <a:srgbClr val="B4B4B4"/>
                </a:solidFill>
                <a:round/>
                <a:headEnd type="none" w="sm" len="sm"/>
                <a:tailEnd type="none" w="sm" len="sm"/>
              </a:ln>
            </p:spPr>
            <p:txBody>
              <a:bodyPr wrap="square" lIns="27000" tIns="27000" rIns="27000" bIns="27000" anchor="ctr"/>
              <a:lstStyle/>
              <a:p>
                <a:pPr algn="ctr" defTabSz="685800">
                  <a:buClrTx/>
                  <a:defRPr/>
                </a:pPr>
                <a:endParaRPr lang="en-US" sz="1050" kern="1200" dirty="0">
                  <a:solidFill>
                    <a:prstClr val="white"/>
                  </a:solidFill>
                  <a:ea typeface="+mn-ea"/>
                  <a:cs typeface="+mn-cs"/>
                </a:endParaRPr>
              </a:p>
            </p:txBody>
          </p:sp>
          <p:sp>
            <p:nvSpPr>
              <p:cNvPr id="27" name="Line 26"/>
              <p:cNvSpPr>
                <a:spLocks noChangeShapeType="1"/>
              </p:cNvSpPr>
              <p:nvPr/>
            </p:nvSpPr>
            <p:spPr bwMode="auto">
              <a:xfrm flipH="1">
                <a:off x="8382792" y="2360613"/>
                <a:ext cx="1061246" cy="0"/>
              </a:xfrm>
              <a:prstGeom prst="line">
                <a:avLst/>
              </a:prstGeom>
              <a:noFill/>
              <a:ln w="25400">
                <a:solidFill>
                  <a:srgbClr val="B4B4B4"/>
                </a:solidFill>
                <a:round/>
                <a:headEnd type="none" w="sm" len="sm"/>
                <a:tailEnd type="none" w="sm" len="sm"/>
              </a:ln>
            </p:spPr>
            <p:txBody>
              <a:bodyPr wrap="square" lIns="27000" tIns="27000" rIns="27000" bIns="27000" anchor="ctr"/>
              <a:lstStyle/>
              <a:p>
                <a:pPr defTabSz="685800">
                  <a:buClrTx/>
                  <a:defRPr/>
                </a:pPr>
                <a:endParaRPr lang="en-US" sz="1050" kern="1200" dirty="0">
                  <a:solidFill>
                    <a:prstClr val="white"/>
                  </a:solidFill>
                  <a:ea typeface="+mn-ea"/>
                  <a:cs typeface="+mn-cs"/>
                </a:endParaRPr>
              </a:p>
            </p:txBody>
          </p:sp>
        </p:grpSp>
      </p:grpSp>
      <p:sp>
        <p:nvSpPr>
          <p:cNvPr id="32" name="Text Placeholder 12"/>
          <p:cNvSpPr>
            <a:spLocks/>
          </p:cNvSpPr>
          <p:nvPr>
            <p:custDataLst>
              <p:tags r:id="rId1"/>
            </p:custDataLst>
          </p:nvPr>
        </p:nvSpPr>
        <p:spPr bwMode="auto">
          <a:xfrm>
            <a:off x="1440657" y="1132761"/>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
        <p:nvSpPr>
          <p:cNvPr id="33" name="Text Placeholder 12"/>
          <p:cNvSpPr>
            <a:spLocks/>
          </p:cNvSpPr>
          <p:nvPr>
            <p:custDataLst>
              <p:tags r:id="rId2"/>
            </p:custDataLst>
          </p:nvPr>
        </p:nvSpPr>
        <p:spPr bwMode="auto">
          <a:xfrm>
            <a:off x="4773964" y="1132761"/>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Tree>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3009" name="Title 1"/>
          <p:cNvSpPr>
            <a:spLocks noGrp="1"/>
          </p:cNvSpPr>
          <p:nvPr>
            <p:ph type="title"/>
          </p:nvPr>
        </p:nvSpPr>
        <p:spPr/>
        <p:txBody>
          <a:bodyPr/>
          <a:lstStyle/>
          <a:p>
            <a:r>
              <a:rPr lang="en-US" dirty="0"/>
              <a:t>Spheres </a:t>
            </a:r>
            <a:br>
              <a:rPr lang="en-US" dirty="0"/>
            </a:br>
            <a:r>
              <a:rPr lang="en-US" dirty="0">
                <a:solidFill>
                  <a:srgbClr val="575757"/>
                </a:solidFill>
              </a:rPr>
              <a:t>Closed loop</a:t>
            </a:r>
          </a:p>
        </p:txBody>
      </p:sp>
      <p:sp>
        <p:nvSpPr>
          <p:cNvPr id="22" name="Arc 3"/>
          <p:cNvSpPr>
            <a:spLocks/>
          </p:cNvSpPr>
          <p:nvPr/>
        </p:nvSpPr>
        <p:spPr bwMode="auto">
          <a:xfrm>
            <a:off x="4518422" y="1633061"/>
            <a:ext cx="1532334" cy="1351359"/>
          </a:xfrm>
          <a:custGeom>
            <a:avLst/>
            <a:gdLst>
              <a:gd name="T0" fmla="*/ 0 w 19173"/>
              <a:gd name="T1" fmla="*/ 0 h 21600"/>
              <a:gd name="T2" fmla="*/ 2147483647 w 19173"/>
              <a:gd name="T3" fmla="*/ 2147483647 h 21600"/>
              <a:gd name="T4" fmla="*/ 0 w 19173"/>
              <a:gd name="T5" fmla="*/ 2147483647 h 21600"/>
              <a:gd name="T6" fmla="*/ 0 60000 65536"/>
              <a:gd name="T7" fmla="*/ 0 60000 65536"/>
              <a:gd name="T8" fmla="*/ 0 60000 65536"/>
              <a:gd name="T9" fmla="*/ 0 w 19173"/>
              <a:gd name="T10" fmla="*/ 0 h 21600"/>
              <a:gd name="T11" fmla="*/ 19173 w 19173"/>
              <a:gd name="T12" fmla="*/ 21600 h 21600"/>
            </a:gdLst>
            <a:ahLst/>
            <a:cxnLst>
              <a:cxn ang="T6">
                <a:pos x="T0" y="T1"/>
              </a:cxn>
              <a:cxn ang="T7">
                <a:pos x="T2" y="T3"/>
              </a:cxn>
              <a:cxn ang="T8">
                <a:pos x="T4" y="T5"/>
              </a:cxn>
            </a:cxnLst>
            <a:rect l="T9" t="T10" r="T11" b="T12"/>
            <a:pathLst>
              <a:path w="19173" h="21600" fill="none" extrusionOk="0">
                <a:moveTo>
                  <a:pt x="-1" y="0"/>
                </a:moveTo>
                <a:cubicBezTo>
                  <a:pt x="8064" y="0"/>
                  <a:pt x="15457" y="4492"/>
                  <a:pt x="19172" y="11651"/>
                </a:cubicBezTo>
              </a:path>
              <a:path w="19173" h="21600" stroke="0" extrusionOk="0">
                <a:moveTo>
                  <a:pt x="-1" y="0"/>
                </a:moveTo>
                <a:cubicBezTo>
                  <a:pt x="8064" y="0"/>
                  <a:pt x="15457" y="4492"/>
                  <a:pt x="19172" y="11651"/>
                </a:cubicBezTo>
                <a:lnTo>
                  <a:pt x="0" y="21600"/>
                </a:lnTo>
                <a:close/>
              </a:path>
            </a:pathLst>
          </a:custGeom>
          <a:noFill/>
          <a:ln w="28575">
            <a:solidFill>
              <a:srgbClr val="B4B4B4"/>
            </a:solidFill>
            <a:round/>
            <a:headEnd/>
            <a:tailEnd type="triangle" w="med" len="med"/>
          </a:ln>
        </p:spPr>
        <p:txBody>
          <a:bodyPr wrap="none" lIns="27000" tIns="27000" rIns="27000" bIns="27000" anchor="ctr"/>
          <a:lstStyle/>
          <a:p>
            <a:pPr algn="ctr" defTabSz="685800">
              <a:buClrTx/>
              <a:defRPr/>
            </a:pPr>
            <a:endParaRPr lang="en-US" sz="1050" kern="1200" dirty="0">
              <a:solidFill>
                <a:prstClr val="white"/>
              </a:solidFill>
              <a:ea typeface="+mn-ea"/>
              <a:cs typeface="+mn-cs"/>
            </a:endParaRPr>
          </a:p>
        </p:txBody>
      </p:sp>
      <p:sp>
        <p:nvSpPr>
          <p:cNvPr id="23" name="Arc 4"/>
          <p:cNvSpPr>
            <a:spLocks/>
          </p:cNvSpPr>
          <p:nvPr/>
        </p:nvSpPr>
        <p:spPr bwMode="auto">
          <a:xfrm flipV="1">
            <a:off x="4518423" y="3042646"/>
            <a:ext cx="1726406" cy="727472"/>
          </a:xfrm>
          <a:custGeom>
            <a:avLst/>
            <a:gdLst>
              <a:gd name="T0" fmla="*/ 2147483647 w 21600"/>
              <a:gd name="T1" fmla="*/ 0 h 11619"/>
              <a:gd name="T2" fmla="*/ 2147483647 w 21600"/>
              <a:gd name="T3" fmla="*/ 2147483647 h 11619"/>
              <a:gd name="T4" fmla="*/ 0 w 21600"/>
              <a:gd name="T5" fmla="*/ 2147483647 h 11619"/>
              <a:gd name="T6" fmla="*/ 0 60000 65536"/>
              <a:gd name="T7" fmla="*/ 0 60000 65536"/>
              <a:gd name="T8" fmla="*/ 0 60000 65536"/>
              <a:gd name="T9" fmla="*/ 0 w 21600"/>
              <a:gd name="T10" fmla="*/ 0 h 11619"/>
              <a:gd name="T11" fmla="*/ 21600 w 21600"/>
              <a:gd name="T12" fmla="*/ 11619 h 11619"/>
            </a:gdLst>
            <a:ahLst/>
            <a:cxnLst>
              <a:cxn ang="T6">
                <a:pos x="T0" y="T1"/>
              </a:cxn>
              <a:cxn ang="T7">
                <a:pos x="T2" y="T3"/>
              </a:cxn>
              <a:cxn ang="T8">
                <a:pos x="T4" y="T5"/>
              </a:cxn>
            </a:cxnLst>
            <a:rect l="T9" t="T10" r="T11" b="T12"/>
            <a:pathLst>
              <a:path w="21600" h="11619" fill="none" extrusionOk="0">
                <a:moveTo>
                  <a:pt x="18208" y="0"/>
                </a:moveTo>
                <a:cubicBezTo>
                  <a:pt x="20423" y="3470"/>
                  <a:pt x="21600" y="7501"/>
                  <a:pt x="21600" y="11619"/>
                </a:cubicBezTo>
              </a:path>
              <a:path w="21600" h="11619" stroke="0" extrusionOk="0">
                <a:moveTo>
                  <a:pt x="18208" y="0"/>
                </a:moveTo>
                <a:cubicBezTo>
                  <a:pt x="20423" y="3470"/>
                  <a:pt x="21600" y="7501"/>
                  <a:pt x="21600" y="11619"/>
                </a:cubicBezTo>
                <a:lnTo>
                  <a:pt x="0" y="11619"/>
                </a:lnTo>
                <a:close/>
              </a:path>
            </a:pathLst>
          </a:custGeom>
          <a:noFill/>
          <a:ln w="28575">
            <a:solidFill>
              <a:srgbClr val="B4B4B4"/>
            </a:solidFill>
            <a:round/>
            <a:headEnd type="triangle" w="med" len="med"/>
            <a:tailEnd/>
          </a:ln>
        </p:spPr>
        <p:txBody>
          <a:bodyPr rot="10800000" wrap="none" lIns="27000" tIns="27000" rIns="27000" bIns="27000" anchor="ctr"/>
          <a:lstStyle/>
          <a:p>
            <a:pPr algn="ctr" defTabSz="685800">
              <a:buClrTx/>
              <a:defRPr/>
            </a:pPr>
            <a:endParaRPr lang="en-US" sz="1050" kern="1200" dirty="0">
              <a:solidFill>
                <a:prstClr val="white"/>
              </a:solidFill>
              <a:ea typeface="+mn-ea"/>
              <a:cs typeface="+mn-cs"/>
            </a:endParaRPr>
          </a:p>
        </p:txBody>
      </p:sp>
      <p:sp>
        <p:nvSpPr>
          <p:cNvPr id="24" name="Arc 5"/>
          <p:cNvSpPr>
            <a:spLocks/>
          </p:cNvSpPr>
          <p:nvPr/>
        </p:nvSpPr>
        <p:spPr bwMode="auto">
          <a:xfrm rot="183362" flipV="1">
            <a:off x="4291013" y="3103483"/>
            <a:ext cx="1388269" cy="1351360"/>
          </a:xfrm>
          <a:custGeom>
            <a:avLst/>
            <a:gdLst>
              <a:gd name="T0" fmla="*/ 0 w 17368"/>
              <a:gd name="T1" fmla="*/ 2147483647 h 21600"/>
              <a:gd name="T2" fmla="*/ 2147483647 w 17368"/>
              <a:gd name="T3" fmla="*/ 2147483647 h 21600"/>
              <a:gd name="T4" fmla="*/ 2147483647 w 17368"/>
              <a:gd name="T5" fmla="*/ 2147483647 h 21600"/>
              <a:gd name="T6" fmla="*/ 0 60000 65536"/>
              <a:gd name="T7" fmla="*/ 0 60000 65536"/>
              <a:gd name="T8" fmla="*/ 0 60000 65536"/>
              <a:gd name="T9" fmla="*/ 0 w 17368"/>
              <a:gd name="T10" fmla="*/ 0 h 21600"/>
              <a:gd name="T11" fmla="*/ 17368 w 17368"/>
              <a:gd name="T12" fmla="*/ 21600 h 21600"/>
            </a:gdLst>
            <a:ahLst/>
            <a:cxnLst>
              <a:cxn ang="T6">
                <a:pos x="T0" y="T1"/>
              </a:cxn>
              <a:cxn ang="T7">
                <a:pos x="T2" y="T3"/>
              </a:cxn>
              <a:cxn ang="T8">
                <a:pos x="T4" y="T5"/>
              </a:cxn>
            </a:cxnLst>
            <a:rect l="T9" t="T10" r="T11" b="T12"/>
            <a:pathLst>
              <a:path w="17368" h="21600" fill="none" extrusionOk="0">
                <a:moveTo>
                  <a:pt x="0" y="189"/>
                </a:moveTo>
                <a:cubicBezTo>
                  <a:pt x="945" y="63"/>
                  <a:pt x="1898" y="-1"/>
                  <a:pt x="2852" y="0"/>
                </a:cubicBezTo>
                <a:cubicBezTo>
                  <a:pt x="8218" y="0"/>
                  <a:pt x="13393" y="1998"/>
                  <a:pt x="17368" y="5604"/>
                </a:cubicBezTo>
              </a:path>
              <a:path w="17368" h="21600" stroke="0" extrusionOk="0">
                <a:moveTo>
                  <a:pt x="0" y="189"/>
                </a:moveTo>
                <a:cubicBezTo>
                  <a:pt x="945" y="63"/>
                  <a:pt x="1898" y="-1"/>
                  <a:pt x="2852" y="0"/>
                </a:cubicBezTo>
                <a:cubicBezTo>
                  <a:pt x="8218" y="0"/>
                  <a:pt x="13393" y="1998"/>
                  <a:pt x="17368" y="5604"/>
                </a:cubicBezTo>
                <a:lnTo>
                  <a:pt x="2852" y="21600"/>
                </a:lnTo>
                <a:close/>
              </a:path>
            </a:pathLst>
          </a:custGeom>
          <a:noFill/>
          <a:ln w="28575">
            <a:solidFill>
              <a:srgbClr val="B4B4B4"/>
            </a:solidFill>
            <a:round/>
            <a:headEnd type="triangle" w="med" len="med"/>
            <a:tailEnd/>
          </a:ln>
        </p:spPr>
        <p:txBody>
          <a:bodyPr rot="10800000" wrap="none" lIns="27000" tIns="27000" rIns="27000" bIns="27000" anchor="ctr"/>
          <a:lstStyle/>
          <a:p>
            <a:pPr algn="ctr" defTabSz="685800">
              <a:buClrTx/>
              <a:defRPr/>
            </a:pPr>
            <a:endParaRPr lang="en-US" sz="1050" kern="1200" dirty="0">
              <a:solidFill>
                <a:prstClr val="white"/>
              </a:solidFill>
              <a:ea typeface="+mn-ea"/>
              <a:cs typeface="+mn-cs"/>
            </a:endParaRPr>
          </a:p>
        </p:txBody>
      </p:sp>
      <p:sp>
        <p:nvSpPr>
          <p:cNvPr id="25" name="Arc 6"/>
          <p:cNvSpPr>
            <a:spLocks/>
          </p:cNvSpPr>
          <p:nvPr/>
        </p:nvSpPr>
        <p:spPr bwMode="auto">
          <a:xfrm flipH="1" flipV="1">
            <a:off x="2836069" y="2984421"/>
            <a:ext cx="1683544" cy="1194197"/>
          </a:xfrm>
          <a:custGeom>
            <a:avLst/>
            <a:gdLst>
              <a:gd name="T0" fmla="*/ 2147483647 w 21027"/>
              <a:gd name="T1" fmla="*/ 0 h 19082"/>
              <a:gd name="T2" fmla="*/ 2147483647 w 21027"/>
              <a:gd name="T3" fmla="*/ 2147483647 h 19082"/>
              <a:gd name="T4" fmla="*/ 0 w 21027"/>
              <a:gd name="T5" fmla="*/ 2147483647 h 19082"/>
              <a:gd name="T6" fmla="*/ 0 60000 65536"/>
              <a:gd name="T7" fmla="*/ 0 60000 65536"/>
              <a:gd name="T8" fmla="*/ 0 60000 65536"/>
              <a:gd name="T9" fmla="*/ 0 w 21027"/>
              <a:gd name="T10" fmla="*/ 0 h 19082"/>
              <a:gd name="T11" fmla="*/ 21027 w 21027"/>
              <a:gd name="T12" fmla="*/ 19082 h 19082"/>
            </a:gdLst>
            <a:ahLst/>
            <a:cxnLst>
              <a:cxn ang="T6">
                <a:pos x="T0" y="T1"/>
              </a:cxn>
              <a:cxn ang="T7">
                <a:pos x="T2" y="T3"/>
              </a:cxn>
              <a:cxn ang="T8">
                <a:pos x="T4" y="T5"/>
              </a:cxn>
            </a:cxnLst>
            <a:rect l="T9" t="T10" r="T11" b="T12"/>
            <a:pathLst>
              <a:path w="21027" h="19082" fill="none" extrusionOk="0">
                <a:moveTo>
                  <a:pt x="10121" y="0"/>
                </a:moveTo>
                <a:cubicBezTo>
                  <a:pt x="15625" y="2919"/>
                  <a:pt x="19601" y="8073"/>
                  <a:pt x="21026" y="14139"/>
                </a:cubicBezTo>
              </a:path>
              <a:path w="21027" h="19082" stroke="0" extrusionOk="0">
                <a:moveTo>
                  <a:pt x="10121" y="0"/>
                </a:moveTo>
                <a:cubicBezTo>
                  <a:pt x="15625" y="2919"/>
                  <a:pt x="19601" y="8073"/>
                  <a:pt x="21026" y="14139"/>
                </a:cubicBezTo>
                <a:lnTo>
                  <a:pt x="0" y="19082"/>
                </a:lnTo>
                <a:close/>
              </a:path>
            </a:pathLst>
          </a:custGeom>
          <a:noFill/>
          <a:ln w="28575">
            <a:solidFill>
              <a:srgbClr val="B4B4B4"/>
            </a:solidFill>
            <a:round/>
            <a:headEnd/>
            <a:tailEnd type="triangle" w="med" len="med"/>
          </a:ln>
        </p:spPr>
        <p:txBody>
          <a:bodyPr rot="10800000" wrap="none" lIns="27000" tIns="27000" rIns="27000" bIns="27000" anchor="ctr"/>
          <a:lstStyle/>
          <a:p>
            <a:pPr algn="ctr" defTabSz="685800">
              <a:buClrTx/>
              <a:defRPr/>
            </a:pPr>
            <a:endParaRPr lang="en-US" sz="1050" kern="1200" dirty="0">
              <a:solidFill>
                <a:prstClr val="white"/>
              </a:solidFill>
              <a:ea typeface="+mn-ea"/>
              <a:cs typeface="+mn-cs"/>
            </a:endParaRPr>
          </a:p>
        </p:txBody>
      </p:sp>
      <p:sp>
        <p:nvSpPr>
          <p:cNvPr id="26" name="Arc 7"/>
          <p:cNvSpPr>
            <a:spLocks/>
          </p:cNvSpPr>
          <p:nvPr/>
        </p:nvSpPr>
        <p:spPr bwMode="auto">
          <a:xfrm flipH="1">
            <a:off x="2811066" y="1740218"/>
            <a:ext cx="1708547" cy="1244203"/>
          </a:xfrm>
          <a:custGeom>
            <a:avLst/>
            <a:gdLst>
              <a:gd name="T0" fmla="*/ 2147483647 w 21347"/>
              <a:gd name="T1" fmla="*/ 0 h 19905"/>
              <a:gd name="T2" fmla="*/ 2147483647 w 21347"/>
              <a:gd name="T3" fmla="*/ 2147483647 h 19905"/>
              <a:gd name="T4" fmla="*/ 0 w 21347"/>
              <a:gd name="T5" fmla="*/ 2147483647 h 19905"/>
              <a:gd name="T6" fmla="*/ 0 60000 65536"/>
              <a:gd name="T7" fmla="*/ 0 60000 65536"/>
              <a:gd name="T8" fmla="*/ 0 60000 65536"/>
              <a:gd name="T9" fmla="*/ 0 w 21347"/>
              <a:gd name="T10" fmla="*/ 0 h 19905"/>
              <a:gd name="T11" fmla="*/ 21347 w 21347"/>
              <a:gd name="T12" fmla="*/ 19905 h 19905"/>
            </a:gdLst>
            <a:ahLst/>
            <a:cxnLst>
              <a:cxn ang="T6">
                <a:pos x="T0" y="T1"/>
              </a:cxn>
              <a:cxn ang="T7">
                <a:pos x="T2" y="T3"/>
              </a:cxn>
              <a:cxn ang="T8">
                <a:pos x="T4" y="T5"/>
              </a:cxn>
            </a:cxnLst>
            <a:rect l="T9" t="T10" r="T11" b="T12"/>
            <a:pathLst>
              <a:path w="21347" h="19905" fill="none" extrusionOk="0">
                <a:moveTo>
                  <a:pt x="8386" y="-1"/>
                </a:moveTo>
                <a:cubicBezTo>
                  <a:pt x="15295" y="2910"/>
                  <a:pt x="20201" y="9196"/>
                  <a:pt x="21346" y="16606"/>
                </a:cubicBezTo>
              </a:path>
              <a:path w="21347" h="19905" stroke="0" extrusionOk="0">
                <a:moveTo>
                  <a:pt x="8386" y="-1"/>
                </a:moveTo>
                <a:cubicBezTo>
                  <a:pt x="15295" y="2910"/>
                  <a:pt x="20201" y="9196"/>
                  <a:pt x="21346" y="16606"/>
                </a:cubicBezTo>
                <a:lnTo>
                  <a:pt x="0" y="19905"/>
                </a:lnTo>
                <a:close/>
              </a:path>
            </a:pathLst>
          </a:custGeom>
          <a:noFill/>
          <a:ln w="28575">
            <a:solidFill>
              <a:srgbClr val="B4B4B4"/>
            </a:solidFill>
            <a:round/>
            <a:headEnd type="triangle" w="med" len="med"/>
            <a:tailEnd/>
          </a:ln>
        </p:spPr>
        <p:txBody>
          <a:bodyPr wrap="none" lIns="27000" tIns="27000" rIns="27000" bIns="27000" anchor="ctr"/>
          <a:lstStyle/>
          <a:p>
            <a:pPr algn="ctr" defTabSz="685800">
              <a:buClrTx/>
              <a:defRPr/>
            </a:pPr>
            <a:endParaRPr lang="en-US" sz="1050" kern="1200" dirty="0">
              <a:solidFill>
                <a:prstClr val="white"/>
              </a:solidFill>
              <a:ea typeface="+mn-ea"/>
              <a:cs typeface="+mn-cs"/>
            </a:endParaRPr>
          </a:p>
        </p:txBody>
      </p:sp>
      <p:sp>
        <p:nvSpPr>
          <p:cNvPr id="27" name="Oval 8"/>
          <p:cNvSpPr>
            <a:spLocks noChangeArrowheads="1"/>
          </p:cNvSpPr>
          <p:nvPr/>
        </p:nvSpPr>
        <p:spPr bwMode="auto">
          <a:xfrm>
            <a:off x="4888258" y="3666649"/>
            <a:ext cx="1307306" cy="928688"/>
          </a:xfrm>
          <a:prstGeom prst="ellipse">
            <a:avLst/>
          </a:prstGeom>
          <a:solidFill>
            <a:srgbClr val="00A1DE"/>
          </a:solidFill>
          <a:ln w="12700" algn="ctr">
            <a:solidFill>
              <a:schemeClr val="bg1"/>
            </a:solidFill>
            <a:round/>
            <a:headEnd/>
            <a:tailEnd/>
          </a:ln>
        </p:spPr>
        <p:txBody>
          <a:bodyPr lIns="27000" tIns="27000" rIns="27000" bIns="27000" anchor="ctr"/>
          <a:lstStyle/>
          <a:p>
            <a:pPr algn="ctr" defTabSz="685800">
              <a:lnSpc>
                <a:spcPct val="95000"/>
              </a:lnSpc>
              <a:buClrTx/>
              <a:defRPr/>
            </a:pPr>
            <a:r>
              <a:rPr lang="en-US" sz="1050" kern="1200">
                <a:solidFill>
                  <a:prstClr val="white"/>
                </a:solidFill>
                <a:ea typeface="ＭＳ Ｐゴシック" pitchFamily="50" charset="-128"/>
                <a:cs typeface="+mn-cs"/>
              </a:rPr>
              <a:t>Text</a:t>
            </a:r>
            <a:endParaRPr lang="en-US" sz="1050" kern="1200" dirty="0">
              <a:solidFill>
                <a:prstClr val="white"/>
              </a:solidFill>
              <a:ea typeface="ＭＳ Ｐゴシック" pitchFamily="50" charset="-128"/>
              <a:cs typeface="+mn-cs"/>
            </a:endParaRPr>
          </a:p>
        </p:txBody>
      </p:sp>
      <p:sp>
        <p:nvSpPr>
          <p:cNvPr id="28" name="Oval 9"/>
          <p:cNvSpPr>
            <a:spLocks noChangeArrowheads="1"/>
          </p:cNvSpPr>
          <p:nvPr/>
        </p:nvSpPr>
        <p:spPr bwMode="auto">
          <a:xfrm>
            <a:off x="2311004" y="2360533"/>
            <a:ext cx="1303734" cy="926306"/>
          </a:xfrm>
          <a:prstGeom prst="ellipse">
            <a:avLst/>
          </a:prstGeom>
          <a:solidFill>
            <a:srgbClr val="00A1DE"/>
          </a:solidFill>
          <a:ln w="12700" algn="ctr">
            <a:solidFill>
              <a:schemeClr val="bg1"/>
            </a:solidFill>
            <a:round/>
            <a:headEnd/>
            <a:tailEnd/>
          </a:ln>
        </p:spPr>
        <p:txBody>
          <a:bodyPr lIns="27000" tIns="27000" rIns="27000" bIns="27000" anchor="ctr"/>
          <a:lstStyle/>
          <a:p>
            <a:pPr algn="ctr" defTabSz="685800">
              <a:lnSpc>
                <a:spcPct val="95000"/>
              </a:lnSpc>
              <a:buClrTx/>
              <a:defRPr/>
            </a:pPr>
            <a:r>
              <a:rPr lang="en-US" sz="1050" kern="1200">
                <a:solidFill>
                  <a:prstClr val="white"/>
                </a:solidFill>
                <a:ea typeface="ＭＳ Ｐゴシック" pitchFamily="50" charset="-128"/>
                <a:cs typeface="+mn-cs"/>
              </a:rPr>
              <a:t>Text</a:t>
            </a:r>
            <a:endParaRPr lang="en-US" sz="1050" kern="1200" dirty="0">
              <a:solidFill>
                <a:prstClr val="white"/>
              </a:solidFill>
              <a:ea typeface="ＭＳ Ｐゴシック" pitchFamily="50" charset="-128"/>
              <a:cs typeface="+mn-cs"/>
            </a:endParaRPr>
          </a:p>
        </p:txBody>
      </p:sp>
      <p:sp>
        <p:nvSpPr>
          <p:cNvPr id="29" name="Oval 10"/>
          <p:cNvSpPr>
            <a:spLocks noChangeArrowheads="1"/>
          </p:cNvSpPr>
          <p:nvPr/>
        </p:nvSpPr>
        <p:spPr bwMode="auto">
          <a:xfrm>
            <a:off x="3030141" y="3666649"/>
            <a:ext cx="1303734" cy="928688"/>
          </a:xfrm>
          <a:prstGeom prst="ellipse">
            <a:avLst/>
          </a:prstGeom>
          <a:solidFill>
            <a:srgbClr val="00A1DE"/>
          </a:solidFill>
          <a:ln w="12700" algn="ctr">
            <a:solidFill>
              <a:schemeClr val="bg1"/>
            </a:solidFill>
            <a:round/>
            <a:headEnd/>
            <a:tailEnd/>
          </a:ln>
        </p:spPr>
        <p:txBody>
          <a:bodyPr lIns="27000" tIns="27000" rIns="27000" bIns="27000" anchor="ctr"/>
          <a:lstStyle/>
          <a:p>
            <a:pPr algn="ctr" defTabSz="685800">
              <a:lnSpc>
                <a:spcPct val="95000"/>
              </a:lnSpc>
              <a:buClrTx/>
              <a:defRPr/>
            </a:pPr>
            <a:r>
              <a:rPr lang="en-US" sz="1050" kern="1200">
                <a:solidFill>
                  <a:prstClr val="white"/>
                </a:solidFill>
                <a:ea typeface="ＭＳ Ｐゴシック" pitchFamily="50" charset="-128"/>
                <a:cs typeface="+mn-cs"/>
              </a:rPr>
              <a:t>Text</a:t>
            </a:r>
            <a:endParaRPr lang="en-US" sz="1050" kern="1200" dirty="0">
              <a:solidFill>
                <a:prstClr val="white"/>
              </a:solidFill>
              <a:ea typeface="ＭＳ Ｐゴシック" pitchFamily="50" charset="-128"/>
              <a:cs typeface="+mn-cs"/>
            </a:endParaRPr>
          </a:p>
        </p:txBody>
      </p:sp>
      <p:sp>
        <p:nvSpPr>
          <p:cNvPr id="30" name="Oval 11"/>
          <p:cNvSpPr>
            <a:spLocks noChangeArrowheads="1"/>
          </p:cNvSpPr>
          <p:nvPr/>
        </p:nvSpPr>
        <p:spPr bwMode="auto">
          <a:xfrm>
            <a:off x="5478066" y="2360533"/>
            <a:ext cx="1308497" cy="926306"/>
          </a:xfrm>
          <a:prstGeom prst="ellipse">
            <a:avLst/>
          </a:prstGeom>
          <a:solidFill>
            <a:srgbClr val="00A1DE"/>
          </a:solidFill>
          <a:ln w="12700" algn="ctr">
            <a:solidFill>
              <a:schemeClr val="bg1"/>
            </a:solidFill>
            <a:round/>
            <a:headEnd/>
            <a:tailEnd/>
          </a:ln>
        </p:spPr>
        <p:txBody>
          <a:bodyPr lIns="27000" tIns="27000" rIns="27000" bIns="27000" anchor="ctr"/>
          <a:lstStyle/>
          <a:p>
            <a:pPr algn="ctr" defTabSz="685800">
              <a:lnSpc>
                <a:spcPct val="95000"/>
              </a:lnSpc>
              <a:buClrTx/>
              <a:defRPr/>
            </a:pPr>
            <a:r>
              <a:rPr lang="en-US" sz="1050" kern="1200">
                <a:solidFill>
                  <a:prstClr val="white"/>
                </a:solidFill>
                <a:ea typeface="ＭＳ Ｐゴシック" pitchFamily="50" charset="-128"/>
                <a:cs typeface="+mn-cs"/>
              </a:rPr>
              <a:t>Text</a:t>
            </a:r>
            <a:endParaRPr lang="en-US" sz="1050" kern="1200" dirty="0">
              <a:solidFill>
                <a:prstClr val="white"/>
              </a:solidFill>
              <a:ea typeface="ＭＳ Ｐゴシック" pitchFamily="50" charset="-128"/>
              <a:cs typeface="+mn-cs"/>
            </a:endParaRPr>
          </a:p>
        </p:txBody>
      </p:sp>
      <p:sp>
        <p:nvSpPr>
          <p:cNvPr id="31" name="Oval 12"/>
          <p:cNvSpPr>
            <a:spLocks noChangeArrowheads="1"/>
          </p:cNvSpPr>
          <p:nvPr/>
        </p:nvSpPr>
        <p:spPr bwMode="auto">
          <a:xfrm>
            <a:off x="3864769" y="1268730"/>
            <a:ext cx="1304925" cy="891778"/>
          </a:xfrm>
          <a:prstGeom prst="ellipse">
            <a:avLst/>
          </a:prstGeom>
          <a:solidFill>
            <a:srgbClr val="00A1DE"/>
          </a:solidFill>
          <a:ln w="12700" algn="ctr">
            <a:solidFill>
              <a:schemeClr val="bg1"/>
            </a:solidFill>
            <a:round/>
            <a:headEnd/>
            <a:tailEnd/>
          </a:ln>
        </p:spPr>
        <p:txBody>
          <a:bodyPr lIns="27000" tIns="27000" rIns="27000" bIns="27000" anchor="ctr"/>
          <a:lstStyle/>
          <a:p>
            <a:pPr algn="ctr" defTabSz="685800">
              <a:lnSpc>
                <a:spcPct val="95000"/>
              </a:lnSpc>
              <a:buClrTx/>
              <a:defRPr/>
            </a:pPr>
            <a:r>
              <a:rPr lang="en-US" sz="1050" kern="1200">
                <a:solidFill>
                  <a:prstClr val="white"/>
                </a:solidFill>
                <a:ea typeface="ＭＳ Ｐゴシック" pitchFamily="50" charset="-128"/>
                <a:cs typeface="+mn-cs"/>
              </a:rPr>
              <a:t>Text</a:t>
            </a:r>
            <a:endParaRPr lang="en-US" sz="1050" kern="1200" dirty="0">
              <a:solidFill>
                <a:prstClr val="white"/>
              </a:solidFill>
              <a:ea typeface="ＭＳ Ｐゴシック" pitchFamily="50" charset="-128"/>
              <a:cs typeface="+mn-cs"/>
            </a:endParaRPr>
          </a:p>
        </p:txBody>
      </p:sp>
      <p:sp>
        <p:nvSpPr>
          <p:cNvPr id="16"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Tree>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3009" name="Title 1"/>
          <p:cNvSpPr>
            <a:spLocks noGrp="1"/>
          </p:cNvSpPr>
          <p:nvPr>
            <p:ph type="title"/>
          </p:nvPr>
        </p:nvSpPr>
        <p:spPr/>
        <p:txBody>
          <a:bodyPr/>
          <a:lstStyle/>
          <a:p>
            <a:r>
              <a:rPr lang="en-US" dirty="0"/>
              <a:t>Spheres </a:t>
            </a:r>
            <a:br>
              <a:rPr lang="en-US" dirty="0"/>
            </a:br>
            <a:r>
              <a:rPr lang="en-US" dirty="0">
                <a:solidFill>
                  <a:srgbClr val="575757"/>
                </a:solidFill>
              </a:rPr>
              <a:t>Visor</a:t>
            </a:r>
          </a:p>
        </p:txBody>
      </p:sp>
      <p:sp>
        <p:nvSpPr>
          <p:cNvPr id="16"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
        <p:nvSpPr>
          <p:cNvPr id="17" name="Oval 16"/>
          <p:cNvSpPr>
            <a:spLocks noChangeArrowheads="1"/>
          </p:cNvSpPr>
          <p:nvPr/>
        </p:nvSpPr>
        <p:spPr bwMode="auto">
          <a:xfrm>
            <a:off x="2958704" y="1268730"/>
            <a:ext cx="3259931" cy="3184922"/>
          </a:xfrm>
          <a:prstGeom prst="ellipse">
            <a:avLst/>
          </a:prstGeom>
          <a:solidFill>
            <a:srgbClr val="B4B4B4"/>
          </a:solidFill>
          <a:ln w="12700">
            <a:solidFill>
              <a:schemeClr val="bg1"/>
            </a:solidFill>
            <a:round/>
            <a:headEnd/>
            <a:tailEnd/>
          </a:ln>
        </p:spPr>
        <p:txBody>
          <a:bodyPr wrap="none" lIns="64870" tIns="32435" rIns="64870" bIns="32435" anchor="ctr"/>
          <a:lstStyle/>
          <a:p>
            <a:pPr algn="ctr" defTabSz="648891">
              <a:buClrTx/>
              <a:defRPr/>
            </a:pPr>
            <a:endParaRPr lang="en-US" sz="1275" kern="1200">
              <a:solidFill>
                <a:prstClr val="black"/>
              </a:solidFill>
              <a:ea typeface="ＭＳ Ｐゴシック" pitchFamily="50" charset="-128"/>
              <a:cs typeface="+mn-cs"/>
            </a:endParaRPr>
          </a:p>
        </p:txBody>
      </p:sp>
      <p:sp>
        <p:nvSpPr>
          <p:cNvPr id="18" name="Oval 17"/>
          <p:cNvSpPr>
            <a:spLocks noChangeArrowheads="1"/>
          </p:cNvSpPr>
          <p:nvPr/>
        </p:nvSpPr>
        <p:spPr bwMode="auto">
          <a:xfrm>
            <a:off x="3364706" y="1669972"/>
            <a:ext cx="2437210" cy="2382440"/>
          </a:xfrm>
          <a:prstGeom prst="ellipse">
            <a:avLst/>
          </a:prstGeom>
          <a:solidFill>
            <a:srgbClr val="B4B4B4"/>
          </a:solidFill>
          <a:ln w="12700">
            <a:solidFill>
              <a:schemeClr val="bg1"/>
            </a:solidFill>
            <a:round/>
            <a:headEnd/>
            <a:tailEnd/>
          </a:ln>
        </p:spPr>
        <p:txBody>
          <a:bodyPr wrap="none" lIns="64870" tIns="32435" rIns="64870" bIns="32435" anchor="ctr"/>
          <a:lstStyle/>
          <a:p>
            <a:pPr algn="ctr" defTabSz="685800">
              <a:buClrTx/>
              <a:defRPr/>
            </a:pPr>
            <a:endParaRPr lang="en-US" sz="1350" kern="1200" dirty="0">
              <a:solidFill>
                <a:prstClr val="black"/>
              </a:solidFill>
              <a:ea typeface="+mn-ea"/>
              <a:cs typeface="+mn-cs"/>
            </a:endParaRPr>
          </a:p>
        </p:txBody>
      </p:sp>
      <p:sp>
        <p:nvSpPr>
          <p:cNvPr id="19" name="Oval 18"/>
          <p:cNvSpPr>
            <a:spLocks noChangeArrowheads="1"/>
          </p:cNvSpPr>
          <p:nvPr/>
        </p:nvSpPr>
        <p:spPr bwMode="auto">
          <a:xfrm>
            <a:off x="3783807" y="2074783"/>
            <a:ext cx="1599010" cy="1564481"/>
          </a:xfrm>
          <a:prstGeom prst="ellipse">
            <a:avLst/>
          </a:prstGeom>
          <a:solidFill>
            <a:srgbClr val="B4B4B4"/>
          </a:solidFill>
          <a:ln w="12700">
            <a:solidFill>
              <a:schemeClr val="bg1"/>
            </a:solidFill>
            <a:round/>
            <a:headEnd/>
            <a:tailEnd/>
          </a:ln>
        </p:spPr>
        <p:txBody>
          <a:bodyPr wrap="none" lIns="64870" tIns="32435" rIns="64870" bIns="32435" anchor="ctr"/>
          <a:lstStyle/>
          <a:p>
            <a:pPr algn="ctr" defTabSz="685800">
              <a:buClrTx/>
              <a:defRPr/>
            </a:pPr>
            <a:endParaRPr lang="en-US" sz="1350" kern="1200" dirty="0">
              <a:solidFill>
                <a:prstClr val="black"/>
              </a:solidFill>
              <a:ea typeface="+mn-ea"/>
              <a:cs typeface="+mn-cs"/>
            </a:endParaRPr>
          </a:p>
        </p:txBody>
      </p:sp>
      <p:sp>
        <p:nvSpPr>
          <p:cNvPr id="20" name="Oval 19"/>
          <p:cNvSpPr>
            <a:spLocks noChangeArrowheads="1"/>
          </p:cNvSpPr>
          <p:nvPr/>
        </p:nvSpPr>
        <p:spPr bwMode="auto">
          <a:xfrm>
            <a:off x="4216004" y="2495074"/>
            <a:ext cx="735806" cy="721519"/>
          </a:xfrm>
          <a:prstGeom prst="ellipse">
            <a:avLst/>
          </a:prstGeom>
          <a:solidFill>
            <a:srgbClr val="B4B4B4"/>
          </a:solidFill>
          <a:ln w="12700">
            <a:solidFill>
              <a:schemeClr val="bg1"/>
            </a:solidFill>
            <a:round/>
            <a:headEnd/>
            <a:tailEnd/>
          </a:ln>
        </p:spPr>
        <p:txBody>
          <a:bodyPr wrap="none" lIns="64870" tIns="32435" rIns="64870" bIns="32435" anchor="ctr"/>
          <a:lstStyle/>
          <a:p>
            <a:pPr algn="ctr" defTabSz="685800">
              <a:buClrTx/>
              <a:defRPr/>
            </a:pPr>
            <a:endParaRPr lang="en-US" sz="1350" kern="1200" dirty="0">
              <a:solidFill>
                <a:prstClr val="black"/>
              </a:solidFill>
              <a:ea typeface="+mn-ea"/>
              <a:cs typeface="+mn-cs"/>
            </a:endParaRPr>
          </a:p>
        </p:txBody>
      </p:sp>
      <p:sp>
        <p:nvSpPr>
          <p:cNvPr id="21" name="Line 7"/>
          <p:cNvSpPr>
            <a:spLocks noChangeShapeType="1"/>
          </p:cNvSpPr>
          <p:nvPr/>
        </p:nvSpPr>
        <p:spPr bwMode="auto">
          <a:xfrm>
            <a:off x="4957762" y="2857024"/>
            <a:ext cx="1243013" cy="0"/>
          </a:xfrm>
          <a:prstGeom prst="line">
            <a:avLst/>
          </a:prstGeom>
          <a:noFill/>
          <a:ln w="12700">
            <a:solidFill>
              <a:schemeClr val="bg1"/>
            </a:solidFill>
            <a:round/>
            <a:headEnd type="none" w="sm" len="sm"/>
            <a:tailEnd type="none" w="sm" len="sm"/>
          </a:ln>
        </p:spPr>
        <p:txBody>
          <a:bodyPr wrap="none" lIns="64870" tIns="32435" rIns="64870" bIns="32435" anchor="ctr"/>
          <a:lstStyle/>
          <a:p>
            <a:pPr defTabSz="685800">
              <a:buClrTx/>
            </a:pPr>
            <a:endParaRPr lang="en-US" sz="1350" kern="1200">
              <a:solidFill>
                <a:prstClr val="black"/>
              </a:solidFill>
              <a:ea typeface="+mn-ea"/>
              <a:cs typeface="+mn-cs"/>
            </a:endParaRPr>
          </a:p>
        </p:txBody>
      </p:sp>
      <p:sp>
        <p:nvSpPr>
          <p:cNvPr id="32" name="Line 8"/>
          <p:cNvSpPr>
            <a:spLocks noChangeShapeType="1"/>
          </p:cNvSpPr>
          <p:nvPr/>
        </p:nvSpPr>
        <p:spPr bwMode="auto">
          <a:xfrm>
            <a:off x="4583906" y="1277064"/>
            <a:ext cx="0" cy="1214438"/>
          </a:xfrm>
          <a:prstGeom prst="line">
            <a:avLst/>
          </a:prstGeom>
          <a:noFill/>
          <a:ln w="12700">
            <a:solidFill>
              <a:schemeClr val="bg1"/>
            </a:solidFill>
            <a:round/>
            <a:headEnd type="none" w="sm" len="sm"/>
            <a:tailEnd type="none" w="sm" len="sm"/>
          </a:ln>
        </p:spPr>
        <p:txBody>
          <a:bodyPr wrap="none" lIns="64870" tIns="32435" rIns="64870" bIns="32435" anchor="ctr"/>
          <a:lstStyle/>
          <a:p>
            <a:pPr defTabSz="685800">
              <a:buClrTx/>
            </a:pPr>
            <a:endParaRPr lang="en-US" sz="1350" kern="1200">
              <a:solidFill>
                <a:prstClr val="black"/>
              </a:solidFill>
              <a:ea typeface="+mn-ea"/>
              <a:cs typeface="+mn-cs"/>
            </a:endParaRPr>
          </a:p>
        </p:txBody>
      </p:sp>
      <p:sp>
        <p:nvSpPr>
          <p:cNvPr id="33" name="Line 9"/>
          <p:cNvSpPr>
            <a:spLocks noChangeShapeType="1"/>
          </p:cNvSpPr>
          <p:nvPr/>
        </p:nvSpPr>
        <p:spPr bwMode="auto">
          <a:xfrm>
            <a:off x="2976563" y="2857024"/>
            <a:ext cx="1237060" cy="0"/>
          </a:xfrm>
          <a:prstGeom prst="line">
            <a:avLst/>
          </a:prstGeom>
          <a:noFill/>
          <a:ln w="12700">
            <a:solidFill>
              <a:schemeClr val="bg1"/>
            </a:solidFill>
            <a:round/>
            <a:headEnd type="none" w="sm" len="sm"/>
            <a:tailEnd type="none" w="sm" len="sm"/>
          </a:ln>
        </p:spPr>
        <p:txBody>
          <a:bodyPr wrap="none" lIns="64870" tIns="32435" rIns="64870" bIns="32435" anchor="ctr"/>
          <a:lstStyle/>
          <a:p>
            <a:pPr defTabSz="685800">
              <a:buClrTx/>
            </a:pPr>
            <a:endParaRPr lang="en-US" sz="1350" kern="1200">
              <a:solidFill>
                <a:prstClr val="black"/>
              </a:solidFill>
              <a:ea typeface="+mn-ea"/>
              <a:cs typeface="+mn-cs"/>
            </a:endParaRPr>
          </a:p>
        </p:txBody>
      </p:sp>
      <p:sp>
        <p:nvSpPr>
          <p:cNvPr id="34" name="Line 10"/>
          <p:cNvSpPr>
            <a:spLocks noChangeShapeType="1"/>
          </p:cNvSpPr>
          <p:nvPr/>
        </p:nvSpPr>
        <p:spPr bwMode="auto">
          <a:xfrm>
            <a:off x="4583906" y="3220164"/>
            <a:ext cx="0" cy="1223963"/>
          </a:xfrm>
          <a:prstGeom prst="line">
            <a:avLst/>
          </a:prstGeom>
          <a:noFill/>
          <a:ln w="12700">
            <a:solidFill>
              <a:schemeClr val="bg1"/>
            </a:solidFill>
            <a:round/>
            <a:headEnd type="none" w="sm" len="sm"/>
            <a:tailEnd type="none" w="sm" len="sm"/>
          </a:ln>
        </p:spPr>
        <p:txBody>
          <a:bodyPr wrap="none" lIns="64870" tIns="32435" rIns="64870" bIns="32435" anchor="ctr"/>
          <a:lstStyle/>
          <a:p>
            <a:pPr defTabSz="685800">
              <a:buClrTx/>
            </a:pPr>
            <a:endParaRPr lang="en-US" sz="1350" kern="1200">
              <a:solidFill>
                <a:prstClr val="black"/>
              </a:solidFill>
              <a:ea typeface="+mn-ea"/>
              <a:cs typeface="+mn-cs"/>
            </a:endParaRPr>
          </a:p>
        </p:txBody>
      </p:sp>
    </p:spTree>
    <p:extLst>
      <p:ext uri="{BB962C8B-B14F-4D97-AF65-F5344CB8AC3E}">
        <p14:creationId xmlns:p14="http://schemas.microsoft.com/office/powerpoint/2010/main" val="3445448854"/>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81" name="Title 1"/>
          <p:cNvSpPr>
            <a:spLocks noGrp="1"/>
          </p:cNvSpPr>
          <p:nvPr>
            <p:ph type="title"/>
          </p:nvPr>
        </p:nvSpPr>
        <p:spPr/>
        <p:txBody>
          <a:bodyPr/>
          <a:lstStyle/>
          <a:p>
            <a:r>
              <a:rPr lang="en-US" dirty="0"/>
              <a:t>Spheres </a:t>
            </a:r>
            <a:br>
              <a:rPr lang="en-US" dirty="0"/>
            </a:br>
            <a:r>
              <a:rPr lang="en-US" dirty="0">
                <a:solidFill>
                  <a:srgbClr val="575757"/>
                </a:solidFill>
              </a:rPr>
              <a:t>Pieces</a:t>
            </a:r>
          </a:p>
        </p:txBody>
      </p:sp>
      <p:grpSp>
        <p:nvGrpSpPr>
          <p:cNvPr id="686083" name="Group 3"/>
          <p:cNvGrpSpPr>
            <a:grpSpLocks/>
          </p:cNvGrpSpPr>
          <p:nvPr/>
        </p:nvGrpSpPr>
        <p:grpSpPr bwMode="auto">
          <a:xfrm>
            <a:off x="4564857" y="1234440"/>
            <a:ext cx="1013222" cy="1720454"/>
            <a:chOff x="3356" y="1728"/>
            <a:chExt cx="678" cy="1153"/>
          </a:xfrm>
          <a:solidFill>
            <a:schemeClr val="bg1"/>
          </a:solidFill>
        </p:grpSpPr>
        <p:sp>
          <p:nvSpPr>
            <p:cNvPr id="5" name="Arc 4"/>
            <p:cNvSpPr>
              <a:spLocks/>
            </p:cNvSpPr>
            <p:nvPr/>
          </p:nvSpPr>
          <p:spPr bwMode="auto">
            <a:xfrm>
              <a:off x="3356" y="1728"/>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 y="0"/>
                  </a:moveTo>
                  <a:cubicBezTo>
                    <a:pt x="4561" y="0"/>
                    <a:pt x="9005" y="1444"/>
                    <a:pt x="12695" y="4125"/>
                  </a:cubicBezTo>
                </a:path>
                <a:path w="12696" h="21600" stroke="0" extrusionOk="0">
                  <a:moveTo>
                    <a:pt x="-1" y="0"/>
                  </a:moveTo>
                  <a:cubicBezTo>
                    <a:pt x="4561" y="0"/>
                    <a:pt x="9005" y="1444"/>
                    <a:pt x="12695" y="4125"/>
                  </a:cubicBezTo>
                  <a:lnTo>
                    <a:pt x="0" y="21600"/>
                  </a:lnTo>
                  <a:close/>
                </a:path>
              </a:pathLst>
            </a:custGeom>
            <a:grpFill/>
            <a:ln w="9525">
              <a:solidFill>
                <a:srgbClr val="8C8C8C"/>
              </a:solidFill>
              <a:round/>
              <a:headEnd/>
              <a:tailEnd/>
            </a:ln>
          </p:spPr>
          <p:txBody>
            <a:bodyPr lIns="27000" tIns="27000" rIns="27000" bIns="27000" anchor="ctr"/>
            <a:lstStyle/>
            <a:p>
              <a:pPr algn="ctr" defTabSz="685800">
                <a:buClrTx/>
                <a:defRPr/>
              </a:pPr>
              <a:endParaRPr lang="en-US" sz="1050" kern="1200" dirty="0">
                <a:solidFill>
                  <a:srgbClr val="313131"/>
                </a:solidFill>
                <a:ea typeface="+mn-ea"/>
                <a:cs typeface="+mn-cs"/>
              </a:endParaRPr>
            </a:p>
          </p:txBody>
        </p:sp>
        <p:sp>
          <p:nvSpPr>
            <p:cNvPr id="6" name="Freeform 5"/>
            <p:cNvSpPr>
              <a:spLocks/>
            </p:cNvSpPr>
            <p:nvPr/>
          </p:nvSpPr>
          <p:spPr bwMode="auto">
            <a:xfrm>
              <a:off x="3356" y="1728"/>
              <a:ext cx="678" cy="1153"/>
            </a:xfrm>
            <a:custGeom>
              <a:avLst/>
              <a:gdLst>
                <a:gd name="T0" fmla="*/ 0 w 678"/>
                <a:gd name="T1" fmla="*/ 0 h 1153"/>
                <a:gd name="T2" fmla="*/ 0 w 678"/>
                <a:gd name="T3" fmla="*/ 1152 h 1153"/>
                <a:gd name="T4" fmla="*/ 677 w 678"/>
                <a:gd name="T5" fmla="*/ 22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0"/>
                  </a:moveTo>
                  <a:lnTo>
                    <a:pt x="0" y="1152"/>
                  </a:lnTo>
                  <a:lnTo>
                    <a:pt x="677" y="220"/>
                  </a:lnTo>
                </a:path>
              </a:pathLst>
            </a:custGeom>
            <a:grpFill/>
            <a:ln w="9525">
              <a:solidFill>
                <a:srgbClr val="8C8C8C"/>
              </a:solidFill>
              <a:round/>
              <a:headEnd/>
              <a:tailEnd/>
            </a:ln>
          </p:spPr>
          <p:txBody>
            <a:bodyPr lIns="27000" tIns="27000" rIns="27000" bIns="27000" anchor="ctr"/>
            <a:lstStyle/>
            <a:p>
              <a:pPr defTabSz="685800">
                <a:buClrTx/>
                <a:defRPr/>
              </a:pPr>
              <a:endParaRPr lang="en-US" sz="1050" kern="1200" dirty="0">
                <a:solidFill>
                  <a:srgbClr val="313131"/>
                </a:solidFill>
                <a:ea typeface="+mn-ea"/>
                <a:cs typeface="+mn-cs"/>
              </a:endParaRPr>
            </a:p>
          </p:txBody>
        </p:sp>
      </p:grpSp>
      <p:grpSp>
        <p:nvGrpSpPr>
          <p:cNvPr id="686084" name="Group 6"/>
          <p:cNvGrpSpPr>
            <a:grpSpLocks/>
          </p:cNvGrpSpPr>
          <p:nvPr/>
        </p:nvGrpSpPr>
        <p:grpSpPr bwMode="auto">
          <a:xfrm>
            <a:off x="4564857" y="1563053"/>
            <a:ext cx="1637110" cy="1391841"/>
            <a:chOff x="3356" y="1948"/>
            <a:chExt cx="1097" cy="933"/>
          </a:xfrm>
          <a:solidFill>
            <a:schemeClr val="bg1"/>
          </a:solidFill>
        </p:grpSpPr>
        <p:sp>
          <p:nvSpPr>
            <p:cNvPr id="8" name="Arc 7"/>
            <p:cNvSpPr>
              <a:spLocks/>
            </p:cNvSpPr>
            <p:nvPr/>
          </p:nvSpPr>
          <p:spPr bwMode="auto">
            <a:xfrm>
              <a:off x="3356"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12695" y="0"/>
                  </a:moveTo>
                  <a:cubicBezTo>
                    <a:pt x="16386" y="2681"/>
                    <a:pt x="19133" y="6461"/>
                    <a:pt x="20542" y="10800"/>
                  </a:cubicBezTo>
                </a:path>
                <a:path w="20543" h="17475" stroke="0" extrusionOk="0">
                  <a:moveTo>
                    <a:pt x="12695" y="0"/>
                  </a:moveTo>
                  <a:cubicBezTo>
                    <a:pt x="16386" y="2681"/>
                    <a:pt x="19133" y="6461"/>
                    <a:pt x="20542" y="10800"/>
                  </a:cubicBezTo>
                  <a:lnTo>
                    <a:pt x="0" y="17475"/>
                  </a:lnTo>
                  <a:close/>
                </a:path>
              </a:pathLst>
            </a:custGeom>
            <a:grpFill/>
            <a:ln w="9525">
              <a:solidFill>
                <a:srgbClr val="8C8C8C"/>
              </a:solidFill>
              <a:round/>
              <a:headEnd/>
              <a:tailEnd/>
            </a:ln>
          </p:spPr>
          <p:txBody>
            <a:bodyPr lIns="27000" tIns="27000" rIns="27000" bIns="27000" anchor="ctr"/>
            <a:lstStyle/>
            <a:p>
              <a:pPr algn="ctr" defTabSz="685800">
                <a:buClrTx/>
                <a:defRPr/>
              </a:pPr>
              <a:endParaRPr lang="en-US" sz="1050" kern="1200" dirty="0">
                <a:solidFill>
                  <a:srgbClr val="313131"/>
                </a:solidFill>
                <a:ea typeface="+mn-ea"/>
                <a:cs typeface="+mn-cs"/>
              </a:endParaRPr>
            </a:p>
          </p:txBody>
        </p:sp>
        <p:sp>
          <p:nvSpPr>
            <p:cNvPr id="9" name="Freeform 8"/>
            <p:cNvSpPr>
              <a:spLocks/>
            </p:cNvSpPr>
            <p:nvPr/>
          </p:nvSpPr>
          <p:spPr bwMode="auto">
            <a:xfrm>
              <a:off x="3356" y="1948"/>
              <a:ext cx="1097" cy="933"/>
            </a:xfrm>
            <a:custGeom>
              <a:avLst/>
              <a:gdLst>
                <a:gd name="T0" fmla="*/ 677 w 1097"/>
                <a:gd name="T1" fmla="*/ 0 h 933"/>
                <a:gd name="T2" fmla="*/ 0 w 1097"/>
                <a:gd name="T3" fmla="*/ 932 h 933"/>
                <a:gd name="T4" fmla="*/ 1096 w 1097"/>
                <a:gd name="T5" fmla="*/ 576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677" y="0"/>
                  </a:moveTo>
                  <a:lnTo>
                    <a:pt x="0" y="932"/>
                  </a:lnTo>
                  <a:lnTo>
                    <a:pt x="1096" y="576"/>
                  </a:lnTo>
                </a:path>
              </a:pathLst>
            </a:custGeom>
            <a:grpFill/>
            <a:ln w="9525">
              <a:solidFill>
                <a:srgbClr val="8C8C8C"/>
              </a:solidFill>
              <a:round/>
              <a:headEnd/>
              <a:tailEnd/>
            </a:ln>
          </p:spPr>
          <p:txBody>
            <a:bodyPr lIns="27000" tIns="27000" rIns="27000" bIns="27000" anchor="ctr"/>
            <a:lstStyle/>
            <a:p>
              <a:pPr defTabSz="685800">
                <a:buClrTx/>
                <a:defRPr/>
              </a:pPr>
              <a:endParaRPr lang="en-US" sz="1050" kern="1200" dirty="0">
                <a:solidFill>
                  <a:srgbClr val="313131"/>
                </a:solidFill>
                <a:ea typeface="+mn-ea"/>
                <a:cs typeface="+mn-cs"/>
              </a:endParaRPr>
            </a:p>
          </p:txBody>
        </p:sp>
      </p:grpSp>
      <p:grpSp>
        <p:nvGrpSpPr>
          <p:cNvPr id="686085" name="Group 9"/>
          <p:cNvGrpSpPr>
            <a:grpSpLocks/>
          </p:cNvGrpSpPr>
          <p:nvPr/>
        </p:nvGrpSpPr>
        <p:grpSpPr bwMode="auto">
          <a:xfrm>
            <a:off x="4564856" y="2421494"/>
            <a:ext cx="1719263" cy="1064419"/>
            <a:chOff x="3356" y="2524"/>
            <a:chExt cx="1152" cy="713"/>
          </a:xfrm>
          <a:solidFill>
            <a:schemeClr val="bg1"/>
          </a:solidFill>
        </p:grpSpPr>
        <p:sp>
          <p:nvSpPr>
            <p:cNvPr id="11" name="Arc 10"/>
            <p:cNvSpPr>
              <a:spLocks/>
            </p:cNvSpPr>
            <p:nvPr/>
          </p:nvSpPr>
          <p:spPr bwMode="auto">
            <a:xfrm>
              <a:off x="3356" y="2524"/>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20542" y="0"/>
                  </a:moveTo>
                  <a:cubicBezTo>
                    <a:pt x="21243" y="2155"/>
                    <a:pt x="21600" y="4408"/>
                    <a:pt x="21600" y="6675"/>
                  </a:cubicBezTo>
                  <a:cubicBezTo>
                    <a:pt x="21600" y="8941"/>
                    <a:pt x="21243" y="11194"/>
                    <a:pt x="20542" y="13349"/>
                  </a:cubicBezTo>
                </a:path>
                <a:path w="21600" h="13350" stroke="0" extrusionOk="0">
                  <a:moveTo>
                    <a:pt x="20542" y="0"/>
                  </a:moveTo>
                  <a:cubicBezTo>
                    <a:pt x="21243" y="2155"/>
                    <a:pt x="21600" y="4408"/>
                    <a:pt x="21600" y="6675"/>
                  </a:cubicBezTo>
                  <a:cubicBezTo>
                    <a:pt x="21600" y="8941"/>
                    <a:pt x="21243" y="11194"/>
                    <a:pt x="20542" y="13349"/>
                  </a:cubicBezTo>
                  <a:lnTo>
                    <a:pt x="0" y="6675"/>
                  </a:lnTo>
                  <a:close/>
                </a:path>
              </a:pathLst>
            </a:custGeom>
            <a:grpFill/>
            <a:ln w="9525">
              <a:solidFill>
                <a:srgbClr val="8C8C8C"/>
              </a:solidFill>
              <a:round/>
              <a:headEnd/>
              <a:tailEnd/>
            </a:ln>
          </p:spPr>
          <p:txBody>
            <a:bodyPr lIns="27000" tIns="27000" rIns="27000" bIns="27000" anchor="ctr"/>
            <a:lstStyle/>
            <a:p>
              <a:pPr algn="ctr" defTabSz="685800">
                <a:buClrTx/>
                <a:defRPr/>
              </a:pPr>
              <a:endParaRPr lang="en-US" sz="1050" kern="1200" dirty="0">
                <a:solidFill>
                  <a:srgbClr val="313131"/>
                </a:solidFill>
                <a:ea typeface="+mn-ea"/>
                <a:cs typeface="+mn-cs"/>
              </a:endParaRPr>
            </a:p>
          </p:txBody>
        </p:sp>
        <p:sp>
          <p:nvSpPr>
            <p:cNvPr id="12" name="Freeform 11"/>
            <p:cNvSpPr>
              <a:spLocks/>
            </p:cNvSpPr>
            <p:nvPr/>
          </p:nvSpPr>
          <p:spPr bwMode="auto">
            <a:xfrm>
              <a:off x="3356" y="2524"/>
              <a:ext cx="1097" cy="713"/>
            </a:xfrm>
            <a:custGeom>
              <a:avLst/>
              <a:gdLst>
                <a:gd name="T0" fmla="*/ 1096 w 1097"/>
                <a:gd name="T1" fmla="*/ 0 h 713"/>
                <a:gd name="T2" fmla="*/ 0 w 1097"/>
                <a:gd name="T3" fmla="*/ 356 h 713"/>
                <a:gd name="T4" fmla="*/ 1096 w 1097"/>
                <a:gd name="T5" fmla="*/ 712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1096" y="0"/>
                  </a:moveTo>
                  <a:lnTo>
                    <a:pt x="0" y="356"/>
                  </a:lnTo>
                  <a:lnTo>
                    <a:pt x="1096" y="712"/>
                  </a:lnTo>
                </a:path>
              </a:pathLst>
            </a:custGeom>
            <a:grpFill/>
            <a:ln w="9525">
              <a:solidFill>
                <a:srgbClr val="8C8C8C"/>
              </a:solidFill>
              <a:round/>
              <a:headEnd/>
              <a:tailEnd/>
            </a:ln>
          </p:spPr>
          <p:txBody>
            <a:bodyPr lIns="27000" tIns="27000" rIns="27000" bIns="27000" anchor="ctr"/>
            <a:lstStyle/>
            <a:p>
              <a:pPr defTabSz="685800">
                <a:buClrTx/>
                <a:defRPr/>
              </a:pPr>
              <a:endParaRPr lang="en-US" sz="1050" kern="1200" dirty="0">
                <a:solidFill>
                  <a:srgbClr val="313131"/>
                </a:solidFill>
                <a:ea typeface="+mn-ea"/>
                <a:cs typeface="+mn-cs"/>
              </a:endParaRPr>
            </a:p>
          </p:txBody>
        </p:sp>
      </p:grpSp>
      <p:grpSp>
        <p:nvGrpSpPr>
          <p:cNvPr id="686086" name="Group 12"/>
          <p:cNvGrpSpPr>
            <a:grpSpLocks/>
          </p:cNvGrpSpPr>
          <p:nvPr/>
        </p:nvGrpSpPr>
        <p:grpSpPr bwMode="auto">
          <a:xfrm>
            <a:off x="4564857" y="2952513"/>
            <a:ext cx="1637110" cy="1391840"/>
            <a:chOff x="3356" y="2880"/>
            <a:chExt cx="1097" cy="933"/>
          </a:xfrm>
          <a:solidFill>
            <a:schemeClr val="bg1"/>
          </a:solidFill>
        </p:grpSpPr>
        <p:sp>
          <p:nvSpPr>
            <p:cNvPr id="14" name="Arc 13"/>
            <p:cNvSpPr>
              <a:spLocks/>
            </p:cNvSpPr>
            <p:nvPr/>
          </p:nvSpPr>
          <p:spPr bwMode="auto">
            <a:xfrm>
              <a:off x="3356" y="2880"/>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20542" y="6674"/>
                  </a:moveTo>
                  <a:cubicBezTo>
                    <a:pt x="19133" y="11013"/>
                    <a:pt x="16386" y="14793"/>
                    <a:pt x="12695" y="17474"/>
                  </a:cubicBezTo>
                </a:path>
                <a:path w="20543" h="17475" stroke="0" extrusionOk="0">
                  <a:moveTo>
                    <a:pt x="20542" y="6674"/>
                  </a:moveTo>
                  <a:cubicBezTo>
                    <a:pt x="19133" y="11013"/>
                    <a:pt x="16386" y="14793"/>
                    <a:pt x="12695" y="17474"/>
                  </a:cubicBezTo>
                  <a:lnTo>
                    <a:pt x="0" y="0"/>
                  </a:lnTo>
                  <a:close/>
                </a:path>
              </a:pathLst>
            </a:custGeom>
            <a:grpFill/>
            <a:ln w="9525">
              <a:solidFill>
                <a:srgbClr val="8C8C8C"/>
              </a:solidFill>
              <a:round/>
              <a:headEnd/>
              <a:tailEnd/>
            </a:ln>
          </p:spPr>
          <p:txBody>
            <a:bodyPr lIns="27000" tIns="27000" rIns="27000" bIns="27000" anchor="ctr"/>
            <a:lstStyle/>
            <a:p>
              <a:pPr algn="ctr" defTabSz="685800">
                <a:buClrTx/>
                <a:defRPr/>
              </a:pPr>
              <a:endParaRPr lang="en-US" sz="1050" kern="1200" dirty="0">
                <a:solidFill>
                  <a:srgbClr val="313131"/>
                </a:solidFill>
                <a:ea typeface="+mn-ea"/>
                <a:cs typeface="+mn-cs"/>
              </a:endParaRPr>
            </a:p>
          </p:txBody>
        </p:sp>
        <p:sp>
          <p:nvSpPr>
            <p:cNvPr id="15" name="Freeform 14"/>
            <p:cNvSpPr>
              <a:spLocks/>
            </p:cNvSpPr>
            <p:nvPr/>
          </p:nvSpPr>
          <p:spPr bwMode="auto">
            <a:xfrm>
              <a:off x="3356" y="2880"/>
              <a:ext cx="1097" cy="933"/>
            </a:xfrm>
            <a:custGeom>
              <a:avLst/>
              <a:gdLst>
                <a:gd name="T0" fmla="*/ 1096 w 1097"/>
                <a:gd name="T1" fmla="*/ 356 h 933"/>
                <a:gd name="T2" fmla="*/ 0 w 1097"/>
                <a:gd name="T3" fmla="*/ 0 h 933"/>
                <a:gd name="T4" fmla="*/ 677 w 1097"/>
                <a:gd name="T5" fmla="*/ 932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1096" y="356"/>
                  </a:moveTo>
                  <a:lnTo>
                    <a:pt x="0" y="0"/>
                  </a:lnTo>
                  <a:lnTo>
                    <a:pt x="677" y="932"/>
                  </a:lnTo>
                </a:path>
              </a:pathLst>
            </a:custGeom>
            <a:grpFill/>
            <a:ln w="9525">
              <a:solidFill>
                <a:srgbClr val="8C8C8C"/>
              </a:solidFill>
              <a:round/>
              <a:headEnd/>
              <a:tailEnd/>
            </a:ln>
          </p:spPr>
          <p:txBody>
            <a:bodyPr lIns="27000" tIns="27000" rIns="27000" bIns="27000" anchor="ctr"/>
            <a:lstStyle/>
            <a:p>
              <a:pPr defTabSz="685800">
                <a:buClrTx/>
                <a:defRPr/>
              </a:pPr>
              <a:endParaRPr lang="en-US" sz="1050" kern="1200" dirty="0">
                <a:solidFill>
                  <a:srgbClr val="313131"/>
                </a:solidFill>
                <a:ea typeface="+mn-ea"/>
                <a:cs typeface="+mn-cs"/>
              </a:endParaRPr>
            </a:p>
          </p:txBody>
        </p:sp>
      </p:grpSp>
      <p:grpSp>
        <p:nvGrpSpPr>
          <p:cNvPr id="686087" name="Group 15"/>
          <p:cNvGrpSpPr>
            <a:grpSpLocks/>
          </p:cNvGrpSpPr>
          <p:nvPr/>
        </p:nvGrpSpPr>
        <p:grpSpPr bwMode="auto">
          <a:xfrm>
            <a:off x="4564857" y="2952513"/>
            <a:ext cx="1013222" cy="1720453"/>
            <a:chOff x="3356" y="2880"/>
            <a:chExt cx="678" cy="1153"/>
          </a:xfrm>
          <a:solidFill>
            <a:schemeClr val="bg1"/>
          </a:solidFill>
        </p:grpSpPr>
        <p:sp>
          <p:nvSpPr>
            <p:cNvPr id="17" name="Arc 16"/>
            <p:cNvSpPr>
              <a:spLocks/>
            </p:cNvSpPr>
            <p:nvPr/>
          </p:nvSpPr>
          <p:spPr bwMode="auto">
            <a:xfrm>
              <a:off x="3356"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5" y="17474"/>
                  </a:moveTo>
                  <a:cubicBezTo>
                    <a:pt x="9005" y="20155"/>
                    <a:pt x="4561" y="21599"/>
                    <a:pt x="0" y="21600"/>
                  </a:cubicBezTo>
                </a:path>
                <a:path w="12696" h="21600" stroke="0" extrusionOk="0">
                  <a:moveTo>
                    <a:pt x="12695" y="17474"/>
                  </a:moveTo>
                  <a:cubicBezTo>
                    <a:pt x="9005" y="20155"/>
                    <a:pt x="4561" y="21599"/>
                    <a:pt x="0" y="21600"/>
                  </a:cubicBezTo>
                  <a:lnTo>
                    <a:pt x="0" y="0"/>
                  </a:lnTo>
                  <a:close/>
                </a:path>
              </a:pathLst>
            </a:custGeom>
            <a:grpFill/>
            <a:ln w="9525">
              <a:solidFill>
                <a:srgbClr val="8C8C8C"/>
              </a:solidFill>
              <a:round/>
              <a:headEnd/>
              <a:tailEnd/>
            </a:ln>
          </p:spPr>
          <p:txBody>
            <a:bodyPr lIns="27000" tIns="27000" rIns="27000" bIns="27000" anchor="ctr"/>
            <a:lstStyle/>
            <a:p>
              <a:pPr algn="ctr" defTabSz="685800">
                <a:buClrTx/>
                <a:defRPr/>
              </a:pPr>
              <a:endParaRPr lang="en-US" sz="1050" kern="1200" dirty="0">
                <a:solidFill>
                  <a:srgbClr val="313131"/>
                </a:solidFill>
                <a:ea typeface="+mn-ea"/>
                <a:cs typeface="+mn-cs"/>
              </a:endParaRPr>
            </a:p>
          </p:txBody>
        </p:sp>
        <p:sp>
          <p:nvSpPr>
            <p:cNvPr id="18" name="Freeform 17"/>
            <p:cNvSpPr>
              <a:spLocks/>
            </p:cNvSpPr>
            <p:nvPr/>
          </p:nvSpPr>
          <p:spPr bwMode="auto">
            <a:xfrm>
              <a:off x="3356" y="2880"/>
              <a:ext cx="678" cy="1153"/>
            </a:xfrm>
            <a:custGeom>
              <a:avLst/>
              <a:gdLst>
                <a:gd name="T0" fmla="*/ 677 w 678"/>
                <a:gd name="T1" fmla="*/ 932 h 1153"/>
                <a:gd name="T2" fmla="*/ 0 w 678"/>
                <a:gd name="T3" fmla="*/ 0 h 1153"/>
                <a:gd name="T4" fmla="*/ 0 w 678"/>
                <a:gd name="T5" fmla="*/ 115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932"/>
                  </a:moveTo>
                  <a:lnTo>
                    <a:pt x="0" y="0"/>
                  </a:lnTo>
                  <a:lnTo>
                    <a:pt x="0" y="1152"/>
                  </a:lnTo>
                </a:path>
              </a:pathLst>
            </a:custGeom>
            <a:grpFill/>
            <a:ln w="9525">
              <a:solidFill>
                <a:srgbClr val="8C8C8C"/>
              </a:solidFill>
              <a:round/>
              <a:headEnd/>
              <a:tailEnd/>
            </a:ln>
          </p:spPr>
          <p:txBody>
            <a:bodyPr lIns="27000" tIns="27000" rIns="27000" bIns="27000" anchor="ctr"/>
            <a:lstStyle/>
            <a:p>
              <a:pPr defTabSz="685800">
                <a:buClrTx/>
                <a:defRPr/>
              </a:pPr>
              <a:endParaRPr lang="en-US" sz="1050" kern="1200" dirty="0">
                <a:solidFill>
                  <a:srgbClr val="313131"/>
                </a:solidFill>
                <a:ea typeface="+mn-ea"/>
                <a:cs typeface="+mn-cs"/>
              </a:endParaRPr>
            </a:p>
          </p:txBody>
        </p:sp>
      </p:grpSp>
      <p:grpSp>
        <p:nvGrpSpPr>
          <p:cNvPr id="686088" name="Group 18"/>
          <p:cNvGrpSpPr>
            <a:grpSpLocks/>
          </p:cNvGrpSpPr>
          <p:nvPr/>
        </p:nvGrpSpPr>
        <p:grpSpPr bwMode="auto">
          <a:xfrm>
            <a:off x="3555206" y="2952513"/>
            <a:ext cx="1010841" cy="1720453"/>
            <a:chOff x="2679" y="2880"/>
            <a:chExt cx="678" cy="1153"/>
          </a:xfrm>
          <a:solidFill>
            <a:schemeClr val="bg1"/>
          </a:solidFill>
        </p:grpSpPr>
        <p:sp>
          <p:nvSpPr>
            <p:cNvPr id="20" name="Arc 19"/>
            <p:cNvSpPr>
              <a:spLocks/>
            </p:cNvSpPr>
            <p:nvPr/>
          </p:nvSpPr>
          <p:spPr bwMode="auto">
            <a:xfrm>
              <a:off x="2679"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6" y="21600"/>
                  </a:moveTo>
                  <a:cubicBezTo>
                    <a:pt x="8134" y="21600"/>
                    <a:pt x="3690" y="20155"/>
                    <a:pt x="0" y="17474"/>
                  </a:cubicBezTo>
                </a:path>
                <a:path w="12696" h="21600" stroke="0" extrusionOk="0">
                  <a:moveTo>
                    <a:pt x="12696" y="21600"/>
                  </a:moveTo>
                  <a:cubicBezTo>
                    <a:pt x="8134" y="21600"/>
                    <a:pt x="3690" y="20155"/>
                    <a:pt x="0" y="17474"/>
                  </a:cubicBezTo>
                  <a:lnTo>
                    <a:pt x="12696" y="0"/>
                  </a:lnTo>
                  <a:close/>
                </a:path>
              </a:pathLst>
            </a:custGeom>
            <a:grpFill/>
            <a:ln w="9525">
              <a:solidFill>
                <a:srgbClr val="8C8C8C"/>
              </a:solidFill>
              <a:round/>
              <a:headEnd/>
              <a:tailEnd/>
            </a:ln>
          </p:spPr>
          <p:txBody>
            <a:bodyPr lIns="27000" tIns="27000" rIns="27000" bIns="27000" anchor="ctr"/>
            <a:lstStyle/>
            <a:p>
              <a:pPr algn="ctr" defTabSz="685800">
                <a:buClrTx/>
                <a:defRPr/>
              </a:pPr>
              <a:endParaRPr lang="en-US" sz="1050" kern="1200" dirty="0">
                <a:solidFill>
                  <a:srgbClr val="313131"/>
                </a:solidFill>
                <a:ea typeface="+mn-ea"/>
                <a:cs typeface="+mn-cs"/>
              </a:endParaRPr>
            </a:p>
          </p:txBody>
        </p:sp>
        <p:sp>
          <p:nvSpPr>
            <p:cNvPr id="21" name="Freeform 20"/>
            <p:cNvSpPr>
              <a:spLocks/>
            </p:cNvSpPr>
            <p:nvPr/>
          </p:nvSpPr>
          <p:spPr bwMode="auto">
            <a:xfrm>
              <a:off x="2679" y="2880"/>
              <a:ext cx="678" cy="1153"/>
            </a:xfrm>
            <a:custGeom>
              <a:avLst/>
              <a:gdLst>
                <a:gd name="T0" fmla="*/ 677 w 678"/>
                <a:gd name="T1" fmla="*/ 1152 h 1153"/>
                <a:gd name="T2" fmla="*/ 677 w 678"/>
                <a:gd name="T3" fmla="*/ 0 h 1153"/>
                <a:gd name="T4" fmla="*/ 0 w 678"/>
                <a:gd name="T5" fmla="*/ 93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1152"/>
                  </a:moveTo>
                  <a:lnTo>
                    <a:pt x="677" y="0"/>
                  </a:lnTo>
                  <a:lnTo>
                    <a:pt x="0" y="932"/>
                  </a:lnTo>
                </a:path>
              </a:pathLst>
            </a:custGeom>
            <a:grpFill/>
            <a:ln w="9525">
              <a:solidFill>
                <a:srgbClr val="8C8C8C"/>
              </a:solidFill>
              <a:round/>
              <a:headEnd/>
              <a:tailEnd/>
            </a:ln>
          </p:spPr>
          <p:txBody>
            <a:bodyPr lIns="27000" tIns="27000" rIns="27000" bIns="27000" anchor="ctr"/>
            <a:lstStyle/>
            <a:p>
              <a:pPr defTabSz="685800">
                <a:buClrTx/>
                <a:defRPr/>
              </a:pPr>
              <a:endParaRPr lang="en-US" sz="1050" kern="1200" dirty="0">
                <a:solidFill>
                  <a:srgbClr val="313131"/>
                </a:solidFill>
                <a:ea typeface="+mn-ea"/>
                <a:cs typeface="+mn-cs"/>
              </a:endParaRPr>
            </a:p>
          </p:txBody>
        </p:sp>
      </p:grpSp>
      <p:grpSp>
        <p:nvGrpSpPr>
          <p:cNvPr id="686089" name="Group 21"/>
          <p:cNvGrpSpPr>
            <a:grpSpLocks/>
          </p:cNvGrpSpPr>
          <p:nvPr/>
        </p:nvGrpSpPr>
        <p:grpSpPr bwMode="auto">
          <a:xfrm>
            <a:off x="2930129" y="2952513"/>
            <a:ext cx="1635919" cy="1391840"/>
            <a:chOff x="2260" y="2880"/>
            <a:chExt cx="1097" cy="933"/>
          </a:xfrm>
          <a:solidFill>
            <a:schemeClr val="bg1"/>
          </a:solidFill>
        </p:grpSpPr>
        <p:sp>
          <p:nvSpPr>
            <p:cNvPr id="23" name="Arc 22"/>
            <p:cNvSpPr>
              <a:spLocks/>
            </p:cNvSpPr>
            <p:nvPr/>
          </p:nvSpPr>
          <p:spPr bwMode="auto">
            <a:xfrm>
              <a:off x="2260" y="2880"/>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7847" y="17474"/>
                  </a:moveTo>
                  <a:cubicBezTo>
                    <a:pt x="4156" y="14793"/>
                    <a:pt x="1409" y="11013"/>
                    <a:pt x="0" y="6674"/>
                  </a:cubicBezTo>
                </a:path>
                <a:path w="20543" h="17475" stroke="0" extrusionOk="0">
                  <a:moveTo>
                    <a:pt x="7847" y="17474"/>
                  </a:moveTo>
                  <a:cubicBezTo>
                    <a:pt x="4156" y="14793"/>
                    <a:pt x="1409" y="11013"/>
                    <a:pt x="0" y="6674"/>
                  </a:cubicBezTo>
                  <a:lnTo>
                    <a:pt x="20543" y="0"/>
                  </a:lnTo>
                  <a:close/>
                </a:path>
              </a:pathLst>
            </a:custGeom>
            <a:grpFill/>
            <a:ln w="9525">
              <a:solidFill>
                <a:srgbClr val="8C8C8C"/>
              </a:solidFill>
              <a:round/>
              <a:headEnd/>
              <a:tailEnd/>
            </a:ln>
          </p:spPr>
          <p:txBody>
            <a:bodyPr lIns="27000" tIns="27000" rIns="27000" bIns="27000" anchor="ctr"/>
            <a:lstStyle/>
            <a:p>
              <a:pPr algn="ctr" defTabSz="685800">
                <a:buClrTx/>
                <a:defRPr/>
              </a:pPr>
              <a:endParaRPr lang="en-US" sz="1050" kern="1200" dirty="0">
                <a:solidFill>
                  <a:srgbClr val="313131"/>
                </a:solidFill>
                <a:ea typeface="+mn-ea"/>
                <a:cs typeface="+mn-cs"/>
              </a:endParaRPr>
            </a:p>
          </p:txBody>
        </p:sp>
        <p:sp>
          <p:nvSpPr>
            <p:cNvPr id="24" name="Freeform 23"/>
            <p:cNvSpPr>
              <a:spLocks/>
            </p:cNvSpPr>
            <p:nvPr/>
          </p:nvSpPr>
          <p:spPr bwMode="auto">
            <a:xfrm>
              <a:off x="2260" y="2880"/>
              <a:ext cx="1097" cy="933"/>
            </a:xfrm>
            <a:custGeom>
              <a:avLst/>
              <a:gdLst>
                <a:gd name="T0" fmla="*/ 419 w 1097"/>
                <a:gd name="T1" fmla="*/ 932 h 933"/>
                <a:gd name="T2" fmla="*/ 1096 w 1097"/>
                <a:gd name="T3" fmla="*/ 0 h 933"/>
                <a:gd name="T4" fmla="*/ 0 w 1097"/>
                <a:gd name="T5" fmla="*/ 356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419" y="932"/>
                  </a:moveTo>
                  <a:lnTo>
                    <a:pt x="1096" y="0"/>
                  </a:lnTo>
                  <a:lnTo>
                    <a:pt x="0" y="356"/>
                  </a:lnTo>
                </a:path>
              </a:pathLst>
            </a:custGeom>
            <a:grpFill/>
            <a:ln w="9525">
              <a:solidFill>
                <a:srgbClr val="8C8C8C"/>
              </a:solidFill>
              <a:round/>
              <a:headEnd/>
              <a:tailEnd/>
            </a:ln>
          </p:spPr>
          <p:txBody>
            <a:bodyPr lIns="27000" tIns="27000" rIns="27000" bIns="27000" anchor="ctr"/>
            <a:lstStyle/>
            <a:p>
              <a:pPr defTabSz="685800">
                <a:buClrTx/>
                <a:defRPr/>
              </a:pPr>
              <a:endParaRPr lang="en-US" sz="1050" kern="1200" dirty="0">
                <a:solidFill>
                  <a:srgbClr val="313131"/>
                </a:solidFill>
                <a:ea typeface="+mn-ea"/>
                <a:cs typeface="+mn-cs"/>
              </a:endParaRPr>
            </a:p>
          </p:txBody>
        </p:sp>
      </p:grpSp>
      <p:grpSp>
        <p:nvGrpSpPr>
          <p:cNvPr id="686090" name="Group 24"/>
          <p:cNvGrpSpPr>
            <a:grpSpLocks/>
          </p:cNvGrpSpPr>
          <p:nvPr/>
        </p:nvGrpSpPr>
        <p:grpSpPr bwMode="auto">
          <a:xfrm>
            <a:off x="2846785" y="2421494"/>
            <a:ext cx="1719263" cy="1064419"/>
            <a:chOff x="2204" y="2524"/>
            <a:chExt cx="1153" cy="713"/>
          </a:xfrm>
          <a:solidFill>
            <a:schemeClr val="bg1"/>
          </a:solidFill>
        </p:grpSpPr>
        <p:sp>
          <p:nvSpPr>
            <p:cNvPr id="26" name="Arc 25"/>
            <p:cNvSpPr>
              <a:spLocks/>
            </p:cNvSpPr>
            <p:nvPr/>
          </p:nvSpPr>
          <p:spPr bwMode="auto">
            <a:xfrm>
              <a:off x="2204" y="2524"/>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1057" y="13349"/>
                  </a:moveTo>
                  <a:cubicBezTo>
                    <a:pt x="356" y="11194"/>
                    <a:pt x="0" y="8941"/>
                    <a:pt x="0" y="6675"/>
                  </a:cubicBezTo>
                  <a:cubicBezTo>
                    <a:pt x="-1" y="4408"/>
                    <a:pt x="356" y="2155"/>
                    <a:pt x="1057" y="0"/>
                  </a:cubicBezTo>
                </a:path>
                <a:path w="21600" h="13350" stroke="0" extrusionOk="0">
                  <a:moveTo>
                    <a:pt x="1057" y="13349"/>
                  </a:moveTo>
                  <a:cubicBezTo>
                    <a:pt x="356" y="11194"/>
                    <a:pt x="0" y="8941"/>
                    <a:pt x="0" y="6675"/>
                  </a:cubicBezTo>
                  <a:cubicBezTo>
                    <a:pt x="-1" y="4408"/>
                    <a:pt x="356" y="2155"/>
                    <a:pt x="1057" y="0"/>
                  </a:cubicBezTo>
                  <a:lnTo>
                    <a:pt x="21600" y="6675"/>
                  </a:lnTo>
                  <a:close/>
                </a:path>
              </a:pathLst>
            </a:custGeom>
            <a:grpFill/>
            <a:ln w="9525">
              <a:solidFill>
                <a:srgbClr val="8C8C8C"/>
              </a:solidFill>
              <a:round/>
              <a:headEnd/>
              <a:tailEnd/>
            </a:ln>
          </p:spPr>
          <p:txBody>
            <a:bodyPr lIns="27000" tIns="27000" rIns="27000" bIns="27000" anchor="ctr"/>
            <a:lstStyle/>
            <a:p>
              <a:pPr algn="ctr" defTabSz="685800">
                <a:buClrTx/>
                <a:defRPr/>
              </a:pPr>
              <a:endParaRPr lang="en-US" sz="1050" kern="1200" dirty="0">
                <a:solidFill>
                  <a:srgbClr val="313131"/>
                </a:solidFill>
                <a:ea typeface="+mn-ea"/>
                <a:cs typeface="+mn-cs"/>
              </a:endParaRPr>
            </a:p>
          </p:txBody>
        </p:sp>
        <p:sp>
          <p:nvSpPr>
            <p:cNvPr id="27" name="Freeform 26"/>
            <p:cNvSpPr>
              <a:spLocks/>
            </p:cNvSpPr>
            <p:nvPr/>
          </p:nvSpPr>
          <p:spPr bwMode="auto">
            <a:xfrm>
              <a:off x="2260" y="2524"/>
              <a:ext cx="1097" cy="713"/>
            </a:xfrm>
            <a:custGeom>
              <a:avLst/>
              <a:gdLst>
                <a:gd name="T0" fmla="*/ 0 w 1097"/>
                <a:gd name="T1" fmla="*/ 712 h 713"/>
                <a:gd name="T2" fmla="*/ 1096 w 1097"/>
                <a:gd name="T3" fmla="*/ 356 h 713"/>
                <a:gd name="T4" fmla="*/ 0 w 1097"/>
                <a:gd name="T5" fmla="*/ 0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0" y="712"/>
                  </a:moveTo>
                  <a:lnTo>
                    <a:pt x="1096" y="356"/>
                  </a:lnTo>
                  <a:lnTo>
                    <a:pt x="0" y="0"/>
                  </a:lnTo>
                </a:path>
              </a:pathLst>
            </a:custGeom>
            <a:grpFill/>
            <a:ln w="9525">
              <a:solidFill>
                <a:srgbClr val="8C8C8C"/>
              </a:solidFill>
              <a:round/>
              <a:headEnd/>
              <a:tailEnd/>
            </a:ln>
          </p:spPr>
          <p:txBody>
            <a:bodyPr lIns="27000" tIns="27000" rIns="27000" bIns="27000" anchor="ctr"/>
            <a:lstStyle/>
            <a:p>
              <a:pPr defTabSz="685800">
                <a:buClrTx/>
                <a:defRPr/>
              </a:pPr>
              <a:endParaRPr lang="en-US" sz="1050" kern="1200" dirty="0">
                <a:solidFill>
                  <a:srgbClr val="313131"/>
                </a:solidFill>
                <a:ea typeface="+mn-ea"/>
                <a:cs typeface="+mn-cs"/>
              </a:endParaRPr>
            </a:p>
          </p:txBody>
        </p:sp>
      </p:grpSp>
      <p:grpSp>
        <p:nvGrpSpPr>
          <p:cNvPr id="686091" name="Group 27"/>
          <p:cNvGrpSpPr>
            <a:grpSpLocks/>
          </p:cNvGrpSpPr>
          <p:nvPr/>
        </p:nvGrpSpPr>
        <p:grpSpPr bwMode="auto">
          <a:xfrm>
            <a:off x="2930129" y="1563053"/>
            <a:ext cx="1635919" cy="1391841"/>
            <a:chOff x="2260" y="1948"/>
            <a:chExt cx="1097" cy="933"/>
          </a:xfrm>
          <a:solidFill>
            <a:schemeClr val="bg1"/>
          </a:solidFill>
        </p:grpSpPr>
        <p:sp>
          <p:nvSpPr>
            <p:cNvPr id="29" name="Arc 28"/>
            <p:cNvSpPr>
              <a:spLocks/>
            </p:cNvSpPr>
            <p:nvPr/>
          </p:nvSpPr>
          <p:spPr bwMode="auto">
            <a:xfrm>
              <a:off x="2260"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0" y="10800"/>
                  </a:moveTo>
                  <a:cubicBezTo>
                    <a:pt x="1409" y="6461"/>
                    <a:pt x="4156" y="2681"/>
                    <a:pt x="7847" y="0"/>
                  </a:cubicBezTo>
                </a:path>
                <a:path w="20543" h="17475" stroke="0" extrusionOk="0">
                  <a:moveTo>
                    <a:pt x="0" y="10800"/>
                  </a:moveTo>
                  <a:cubicBezTo>
                    <a:pt x="1409" y="6461"/>
                    <a:pt x="4156" y="2681"/>
                    <a:pt x="7847" y="0"/>
                  </a:cubicBezTo>
                  <a:lnTo>
                    <a:pt x="20543" y="17475"/>
                  </a:lnTo>
                  <a:close/>
                </a:path>
              </a:pathLst>
            </a:custGeom>
            <a:grpFill/>
            <a:ln w="9525">
              <a:solidFill>
                <a:srgbClr val="8C8C8C"/>
              </a:solidFill>
              <a:round/>
              <a:headEnd/>
              <a:tailEnd/>
            </a:ln>
          </p:spPr>
          <p:txBody>
            <a:bodyPr lIns="27000" tIns="27000" rIns="27000" bIns="27000" anchor="ctr"/>
            <a:lstStyle/>
            <a:p>
              <a:pPr algn="ctr" defTabSz="685800">
                <a:buClrTx/>
                <a:defRPr/>
              </a:pPr>
              <a:endParaRPr lang="en-US" sz="1050" kern="1200" dirty="0">
                <a:solidFill>
                  <a:srgbClr val="313131"/>
                </a:solidFill>
                <a:ea typeface="+mn-ea"/>
                <a:cs typeface="+mn-cs"/>
              </a:endParaRPr>
            </a:p>
          </p:txBody>
        </p:sp>
        <p:sp>
          <p:nvSpPr>
            <p:cNvPr id="30" name="Freeform 29"/>
            <p:cNvSpPr>
              <a:spLocks/>
            </p:cNvSpPr>
            <p:nvPr/>
          </p:nvSpPr>
          <p:spPr bwMode="auto">
            <a:xfrm>
              <a:off x="2260" y="1948"/>
              <a:ext cx="1097" cy="933"/>
            </a:xfrm>
            <a:custGeom>
              <a:avLst/>
              <a:gdLst>
                <a:gd name="T0" fmla="*/ 0 w 1097"/>
                <a:gd name="T1" fmla="*/ 576 h 933"/>
                <a:gd name="T2" fmla="*/ 1096 w 1097"/>
                <a:gd name="T3" fmla="*/ 932 h 933"/>
                <a:gd name="T4" fmla="*/ 419 w 1097"/>
                <a:gd name="T5" fmla="*/ 0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0" y="576"/>
                  </a:moveTo>
                  <a:lnTo>
                    <a:pt x="1096" y="932"/>
                  </a:lnTo>
                  <a:lnTo>
                    <a:pt x="419" y="0"/>
                  </a:lnTo>
                </a:path>
              </a:pathLst>
            </a:custGeom>
            <a:grpFill/>
            <a:ln w="9525">
              <a:solidFill>
                <a:srgbClr val="8C8C8C"/>
              </a:solidFill>
              <a:round/>
              <a:headEnd/>
              <a:tailEnd/>
            </a:ln>
          </p:spPr>
          <p:txBody>
            <a:bodyPr lIns="27000" tIns="27000" rIns="27000" bIns="27000" anchor="ctr"/>
            <a:lstStyle/>
            <a:p>
              <a:pPr defTabSz="685800">
                <a:buClrTx/>
                <a:defRPr/>
              </a:pPr>
              <a:endParaRPr lang="en-US" sz="1050" kern="1200" dirty="0">
                <a:solidFill>
                  <a:srgbClr val="313131"/>
                </a:solidFill>
                <a:ea typeface="+mn-ea"/>
                <a:cs typeface="+mn-cs"/>
              </a:endParaRPr>
            </a:p>
          </p:txBody>
        </p:sp>
      </p:grpSp>
      <p:grpSp>
        <p:nvGrpSpPr>
          <p:cNvPr id="686092" name="Group 30"/>
          <p:cNvGrpSpPr>
            <a:grpSpLocks/>
          </p:cNvGrpSpPr>
          <p:nvPr/>
        </p:nvGrpSpPr>
        <p:grpSpPr bwMode="auto">
          <a:xfrm>
            <a:off x="3555206" y="1234440"/>
            <a:ext cx="1010841" cy="1720454"/>
            <a:chOff x="2679" y="1728"/>
            <a:chExt cx="678" cy="1153"/>
          </a:xfrm>
          <a:solidFill>
            <a:schemeClr val="bg1"/>
          </a:solidFill>
        </p:grpSpPr>
        <p:sp>
          <p:nvSpPr>
            <p:cNvPr id="32" name="Arc 31"/>
            <p:cNvSpPr>
              <a:spLocks/>
            </p:cNvSpPr>
            <p:nvPr/>
          </p:nvSpPr>
          <p:spPr bwMode="auto">
            <a:xfrm>
              <a:off x="2679" y="1728"/>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0" y="4125"/>
                  </a:moveTo>
                  <a:cubicBezTo>
                    <a:pt x="3690" y="1444"/>
                    <a:pt x="8134" y="0"/>
                    <a:pt x="12695" y="0"/>
                  </a:cubicBezTo>
                </a:path>
                <a:path w="12696" h="21600" stroke="0" extrusionOk="0">
                  <a:moveTo>
                    <a:pt x="0" y="4125"/>
                  </a:moveTo>
                  <a:cubicBezTo>
                    <a:pt x="3690" y="1444"/>
                    <a:pt x="8134" y="0"/>
                    <a:pt x="12695" y="0"/>
                  </a:cubicBezTo>
                  <a:lnTo>
                    <a:pt x="12696" y="21600"/>
                  </a:lnTo>
                  <a:close/>
                </a:path>
              </a:pathLst>
            </a:custGeom>
            <a:grpFill/>
            <a:ln w="9525">
              <a:solidFill>
                <a:srgbClr val="8C8C8C"/>
              </a:solidFill>
              <a:round/>
              <a:headEnd/>
              <a:tailEnd/>
            </a:ln>
          </p:spPr>
          <p:txBody>
            <a:bodyPr lIns="27000" tIns="27000" rIns="27000" bIns="27000" anchor="ctr"/>
            <a:lstStyle/>
            <a:p>
              <a:pPr algn="ctr" defTabSz="685800">
                <a:buClrTx/>
                <a:defRPr/>
              </a:pPr>
              <a:endParaRPr lang="en-US" sz="1050" kern="1200" dirty="0">
                <a:solidFill>
                  <a:srgbClr val="313131"/>
                </a:solidFill>
                <a:ea typeface="+mn-ea"/>
                <a:cs typeface="+mn-cs"/>
              </a:endParaRPr>
            </a:p>
          </p:txBody>
        </p:sp>
        <p:sp>
          <p:nvSpPr>
            <p:cNvPr id="33" name="Freeform 32"/>
            <p:cNvSpPr>
              <a:spLocks/>
            </p:cNvSpPr>
            <p:nvPr/>
          </p:nvSpPr>
          <p:spPr bwMode="auto">
            <a:xfrm>
              <a:off x="2679" y="1728"/>
              <a:ext cx="678" cy="1153"/>
            </a:xfrm>
            <a:custGeom>
              <a:avLst/>
              <a:gdLst>
                <a:gd name="T0" fmla="*/ 0 w 678"/>
                <a:gd name="T1" fmla="*/ 220 h 1153"/>
                <a:gd name="T2" fmla="*/ 677 w 678"/>
                <a:gd name="T3" fmla="*/ 1152 h 1153"/>
                <a:gd name="T4" fmla="*/ 677 w 678"/>
                <a:gd name="T5" fmla="*/ 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220"/>
                  </a:moveTo>
                  <a:lnTo>
                    <a:pt x="677" y="1152"/>
                  </a:lnTo>
                  <a:lnTo>
                    <a:pt x="677" y="0"/>
                  </a:lnTo>
                </a:path>
              </a:pathLst>
            </a:custGeom>
            <a:grpFill/>
            <a:ln w="9525">
              <a:solidFill>
                <a:srgbClr val="8C8C8C"/>
              </a:solidFill>
              <a:round/>
              <a:headEnd/>
              <a:tailEnd/>
            </a:ln>
          </p:spPr>
          <p:txBody>
            <a:bodyPr lIns="27000" tIns="27000" rIns="27000" bIns="27000" anchor="ctr"/>
            <a:lstStyle/>
            <a:p>
              <a:pPr defTabSz="685800">
                <a:buClrTx/>
                <a:defRPr/>
              </a:pPr>
              <a:endParaRPr lang="en-US" sz="1050" kern="1200" dirty="0">
                <a:solidFill>
                  <a:srgbClr val="313131"/>
                </a:solidFill>
                <a:ea typeface="+mn-ea"/>
                <a:cs typeface="+mn-cs"/>
              </a:endParaRPr>
            </a:p>
          </p:txBody>
        </p:sp>
      </p:grpSp>
      <p:sp>
        <p:nvSpPr>
          <p:cNvPr id="34" name="Oval 33"/>
          <p:cNvSpPr>
            <a:spLocks noChangeArrowheads="1"/>
          </p:cNvSpPr>
          <p:nvPr/>
        </p:nvSpPr>
        <p:spPr bwMode="auto">
          <a:xfrm>
            <a:off x="3712369" y="2094072"/>
            <a:ext cx="1717200" cy="1718072"/>
          </a:xfrm>
          <a:prstGeom prst="ellipse">
            <a:avLst/>
          </a:prstGeom>
          <a:solidFill>
            <a:srgbClr val="B4B4B4"/>
          </a:solidFill>
          <a:ln w="9525">
            <a:noFill/>
            <a:round/>
            <a:headEnd/>
            <a:tailEnd/>
          </a:ln>
        </p:spPr>
        <p:txBody>
          <a:bodyPr lIns="27000" tIns="27000" rIns="27000" bIns="27000" anchor="ctr"/>
          <a:lstStyle/>
          <a:p>
            <a:pPr algn="ctr" defTabSz="685800">
              <a:lnSpc>
                <a:spcPct val="95000"/>
              </a:lnSpc>
              <a:spcAft>
                <a:spcPct val="37000"/>
              </a:spcAft>
              <a:buClrTx/>
              <a:defRPr/>
            </a:pPr>
            <a:r>
              <a:rPr lang="en-US" sz="1050" kern="1200" dirty="0">
                <a:solidFill>
                  <a:srgbClr val="313131"/>
                </a:solidFill>
                <a:ea typeface="ＭＳ Ｐゴシック" pitchFamily="50" charset="-128"/>
                <a:cs typeface="+mn-cs"/>
              </a:rPr>
              <a:t>Text</a:t>
            </a:r>
          </a:p>
        </p:txBody>
      </p:sp>
      <p:sp>
        <p:nvSpPr>
          <p:cNvPr id="686094" name="Text Box 34"/>
          <p:cNvSpPr txBox="1">
            <a:spLocks noChangeArrowheads="1"/>
          </p:cNvSpPr>
          <p:nvPr/>
        </p:nvSpPr>
        <p:spPr bwMode="gray">
          <a:xfrm>
            <a:off x="4000350" y="1646397"/>
            <a:ext cx="315817" cy="213673"/>
          </a:xfrm>
          <a:prstGeom prst="rect">
            <a:avLst/>
          </a:prstGeom>
          <a:noFill/>
          <a:ln w="9525" algn="ctr">
            <a:noFill/>
            <a:miter lim="800000"/>
            <a:headEnd/>
            <a:tailEnd/>
          </a:ln>
        </p:spPr>
        <p:txBody>
          <a:bodyPr wrap="none" lIns="27000" tIns="27000" rIns="27000" bIns="27000">
            <a:spAutoFit/>
          </a:bodyPr>
          <a:lstStyle/>
          <a:p>
            <a:pPr algn="ctr" defTabSz="685800">
              <a:lnSpc>
                <a:spcPct val="106000"/>
              </a:lnSpc>
              <a:buClr>
                <a:prstClr val="black"/>
              </a:buClr>
            </a:pPr>
            <a:r>
              <a:rPr lang="en-US" sz="1050" kern="1200" dirty="0">
                <a:solidFill>
                  <a:srgbClr val="313131"/>
                </a:solidFill>
                <a:ea typeface="+mn-ea"/>
                <a:cs typeface="+mn-cs"/>
              </a:rPr>
              <a:t>Text</a:t>
            </a:r>
          </a:p>
        </p:txBody>
      </p:sp>
      <p:sp>
        <p:nvSpPr>
          <p:cNvPr id="686095" name="Text Box 35"/>
          <p:cNvSpPr txBox="1">
            <a:spLocks noChangeArrowheads="1"/>
          </p:cNvSpPr>
          <p:nvPr/>
        </p:nvSpPr>
        <p:spPr bwMode="gray">
          <a:xfrm>
            <a:off x="4738537" y="1646397"/>
            <a:ext cx="315817" cy="213673"/>
          </a:xfrm>
          <a:prstGeom prst="rect">
            <a:avLst/>
          </a:prstGeom>
          <a:noFill/>
          <a:ln w="9525" algn="ctr">
            <a:noFill/>
            <a:miter lim="800000"/>
            <a:headEnd/>
            <a:tailEnd/>
          </a:ln>
        </p:spPr>
        <p:txBody>
          <a:bodyPr wrap="none" lIns="27000" tIns="27000" rIns="27000" bIns="27000">
            <a:spAutoFit/>
          </a:bodyPr>
          <a:lstStyle/>
          <a:p>
            <a:pPr algn="ctr" defTabSz="685800">
              <a:lnSpc>
                <a:spcPct val="106000"/>
              </a:lnSpc>
              <a:buClr>
                <a:prstClr val="black"/>
              </a:buClr>
            </a:pPr>
            <a:r>
              <a:rPr lang="en-US" sz="1050" kern="1200">
                <a:solidFill>
                  <a:srgbClr val="313131"/>
                </a:solidFill>
                <a:ea typeface="+mn-ea"/>
                <a:cs typeface="+mn-cs"/>
              </a:rPr>
              <a:t>Text</a:t>
            </a:r>
          </a:p>
        </p:txBody>
      </p:sp>
      <p:sp>
        <p:nvSpPr>
          <p:cNvPr id="686096" name="Text Box 36"/>
          <p:cNvSpPr txBox="1">
            <a:spLocks noChangeArrowheads="1"/>
          </p:cNvSpPr>
          <p:nvPr/>
        </p:nvSpPr>
        <p:spPr bwMode="gray">
          <a:xfrm>
            <a:off x="5371950" y="2103597"/>
            <a:ext cx="315817" cy="213673"/>
          </a:xfrm>
          <a:prstGeom prst="rect">
            <a:avLst/>
          </a:prstGeom>
          <a:noFill/>
          <a:ln w="9525" algn="ctr">
            <a:noFill/>
            <a:miter lim="800000"/>
            <a:headEnd/>
            <a:tailEnd/>
          </a:ln>
        </p:spPr>
        <p:txBody>
          <a:bodyPr wrap="none" lIns="27000" tIns="27000" rIns="27000" bIns="27000">
            <a:spAutoFit/>
          </a:bodyPr>
          <a:lstStyle/>
          <a:p>
            <a:pPr algn="ctr" defTabSz="685800">
              <a:lnSpc>
                <a:spcPct val="106000"/>
              </a:lnSpc>
              <a:buClr>
                <a:prstClr val="black"/>
              </a:buClr>
            </a:pPr>
            <a:r>
              <a:rPr lang="en-US" sz="1050" kern="1200">
                <a:solidFill>
                  <a:srgbClr val="313131"/>
                </a:solidFill>
                <a:ea typeface="+mn-ea"/>
                <a:cs typeface="+mn-cs"/>
              </a:rPr>
              <a:t>Text</a:t>
            </a:r>
          </a:p>
        </p:txBody>
      </p:sp>
      <p:sp>
        <p:nvSpPr>
          <p:cNvPr id="686097" name="Text Box 37"/>
          <p:cNvSpPr txBox="1">
            <a:spLocks noChangeArrowheads="1"/>
          </p:cNvSpPr>
          <p:nvPr/>
        </p:nvSpPr>
        <p:spPr bwMode="gray">
          <a:xfrm>
            <a:off x="5635674" y="2903697"/>
            <a:ext cx="315817" cy="213673"/>
          </a:xfrm>
          <a:prstGeom prst="rect">
            <a:avLst/>
          </a:prstGeom>
          <a:noFill/>
          <a:ln w="9525" algn="ctr">
            <a:noFill/>
            <a:miter lim="800000"/>
            <a:headEnd/>
            <a:tailEnd/>
          </a:ln>
        </p:spPr>
        <p:txBody>
          <a:bodyPr wrap="none" lIns="27000" tIns="27000" rIns="27000" bIns="27000">
            <a:spAutoFit/>
          </a:bodyPr>
          <a:lstStyle/>
          <a:p>
            <a:pPr algn="ctr" defTabSz="685800">
              <a:lnSpc>
                <a:spcPct val="106000"/>
              </a:lnSpc>
              <a:buClr>
                <a:prstClr val="black"/>
              </a:buClr>
            </a:pPr>
            <a:r>
              <a:rPr lang="en-US" sz="1050" kern="1200">
                <a:solidFill>
                  <a:srgbClr val="313131"/>
                </a:solidFill>
                <a:ea typeface="+mn-ea"/>
                <a:cs typeface="+mn-cs"/>
              </a:rPr>
              <a:t>Text</a:t>
            </a:r>
          </a:p>
        </p:txBody>
      </p:sp>
      <p:sp>
        <p:nvSpPr>
          <p:cNvPr id="686098" name="Text Box 38"/>
          <p:cNvSpPr txBox="1">
            <a:spLocks noChangeArrowheads="1"/>
          </p:cNvSpPr>
          <p:nvPr/>
        </p:nvSpPr>
        <p:spPr bwMode="gray">
          <a:xfrm>
            <a:off x="5371950" y="3646647"/>
            <a:ext cx="315817" cy="213673"/>
          </a:xfrm>
          <a:prstGeom prst="rect">
            <a:avLst/>
          </a:prstGeom>
          <a:noFill/>
          <a:ln w="9525" algn="ctr">
            <a:noFill/>
            <a:miter lim="800000"/>
            <a:headEnd/>
            <a:tailEnd/>
          </a:ln>
        </p:spPr>
        <p:txBody>
          <a:bodyPr wrap="none" lIns="27000" tIns="27000" rIns="27000" bIns="27000">
            <a:spAutoFit/>
          </a:bodyPr>
          <a:lstStyle/>
          <a:p>
            <a:pPr algn="ctr" defTabSz="685800">
              <a:lnSpc>
                <a:spcPct val="106000"/>
              </a:lnSpc>
              <a:buClr>
                <a:prstClr val="black"/>
              </a:buClr>
            </a:pPr>
            <a:r>
              <a:rPr lang="en-US" sz="1050" kern="1200">
                <a:solidFill>
                  <a:srgbClr val="313131"/>
                </a:solidFill>
                <a:ea typeface="+mn-ea"/>
                <a:cs typeface="+mn-cs"/>
              </a:rPr>
              <a:t>Text</a:t>
            </a:r>
          </a:p>
        </p:txBody>
      </p:sp>
      <p:sp>
        <p:nvSpPr>
          <p:cNvPr id="686099" name="Text Box 39"/>
          <p:cNvSpPr txBox="1">
            <a:spLocks noChangeArrowheads="1"/>
          </p:cNvSpPr>
          <p:nvPr/>
        </p:nvSpPr>
        <p:spPr bwMode="gray">
          <a:xfrm>
            <a:off x="4738537" y="4118134"/>
            <a:ext cx="315817" cy="213673"/>
          </a:xfrm>
          <a:prstGeom prst="rect">
            <a:avLst/>
          </a:prstGeom>
          <a:noFill/>
          <a:ln w="9525" algn="ctr">
            <a:noFill/>
            <a:miter lim="800000"/>
            <a:headEnd/>
            <a:tailEnd/>
          </a:ln>
        </p:spPr>
        <p:txBody>
          <a:bodyPr wrap="none" lIns="27000" tIns="27000" rIns="27000" bIns="27000">
            <a:spAutoFit/>
          </a:bodyPr>
          <a:lstStyle/>
          <a:p>
            <a:pPr algn="ctr" defTabSz="685800">
              <a:lnSpc>
                <a:spcPct val="106000"/>
              </a:lnSpc>
              <a:buClr>
                <a:prstClr val="black"/>
              </a:buClr>
            </a:pPr>
            <a:r>
              <a:rPr lang="en-US" sz="1050" kern="1200">
                <a:solidFill>
                  <a:srgbClr val="313131"/>
                </a:solidFill>
                <a:ea typeface="+mn-ea"/>
                <a:cs typeface="+mn-cs"/>
              </a:rPr>
              <a:t>Text</a:t>
            </a:r>
          </a:p>
        </p:txBody>
      </p:sp>
      <p:sp>
        <p:nvSpPr>
          <p:cNvPr id="686100" name="Text Box 40"/>
          <p:cNvSpPr txBox="1">
            <a:spLocks noChangeArrowheads="1"/>
          </p:cNvSpPr>
          <p:nvPr/>
        </p:nvSpPr>
        <p:spPr bwMode="gray">
          <a:xfrm>
            <a:off x="4000350" y="4118134"/>
            <a:ext cx="315817" cy="213673"/>
          </a:xfrm>
          <a:prstGeom prst="rect">
            <a:avLst/>
          </a:prstGeom>
          <a:noFill/>
          <a:ln w="9525" algn="ctr">
            <a:noFill/>
            <a:miter lim="800000"/>
            <a:headEnd/>
            <a:tailEnd/>
          </a:ln>
        </p:spPr>
        <p:txBody>
          <a:bodyPr wrap="none" lIns="27000" tIns="27000" rIns="27000" bIns="27000">
            <a:spAutoFit/>
          </a:bodyPr>
          <a:lstStyle/>
          <a:p>
            <a:pPr algn="ctr" defTabSz="685800">
              <a:lnSpc>
                <a:spcPct val="106000"/>
              </a:lnSpc>
              <a:buClr>
                <a:prstClr val="black"/>
              </a:buClr>
            </a:pPr>
            <a:r>
              <a:rPr lang="en-US" sz="1050" kern="1200">
                <a:solidFill>
                  <a:srgbClr val="313131"/>
                </a:solidFill>
                <a:ea typeface="+mn-ea"/>
                <a:cs typeface="+mn-cs"/>
              </a:rPr>
              <a:t>Text</a:t>
            </a:r>
          </a:p>
        </p:txBody>
      </p:sp>
      <p:sp>
        <p:nvSpPr>
          <p:cNvPr id="686101" name="Text Box 41"/>
          <p:cNvSpPr txBox="1">
            <a:spLocks noChangeArrowheads="1"/>
          </p:cNvSpPr>
          <p:nvPr/>
        </p:nvSpPr>
        <p:spPr bwMode="gray">
          <a:xfrm>
            <a:off x="3314550" y="3646647"/>
            <a:ext cx="315817" cy="213673"/>
          </a:xfrm>
          <a:prstGeom prst="rect">
            <a:avLst/>
          </a:prstGeom>
          <a:noFill/>
          <a:ln w="9525" algn="ctr">
            <a:noFill/>
            <a:miter lim="800000"/>
            <a:headEnd/>
            <a:tailEnd/>
          </a:ln>
        </p:spPr>
        <p:txBody>
          <a:bodyPr wrap="none" lIns="27000" tIns="27000" rIns="27000" bIns="27000">
            <a:spAutoFit/>
          </a:bodyPr>
          <a:lstStyle/>
          <a:p>
            <a:pPr algn="ctr" defTabSz="685800">
              <a:lnSpc>
                <a:spcPct val="106000"/>
              </a:lnSpc>
              <a:buClr>
                <a:prstClr val="black"/>
              </a:buClr>
            </a:pPr>
            <a:r>
              <a:rPr lang="en-US" sz="1050" kern="1200">
                <a:solidFill>
                  <a:srgbClr val="313131"/>
                </a:solidFill>
                <a:ea typeface="+mn-ea"/>
                <a:cs typeface="+mn-cs"/>
              </a:rPr>
              <a:t>Text</a:t>
            </a:r>
          </a:p>
        </p:txBody>
      </p:sp>
      <p:sp>
        <p:nvSpPr>
          <p:cNvPr id="686102" name="Text Box 42"/>
          <p:cNvSpPr txBox="1">
            <a:spLocks noChangeArrowheads="1"/>
          </p:cNvSpPr>
          <p:nvPr/>
        </p:nvSpPr>
        <p:spPr bwMode="gray">
          <a:xfrm>
            <a:off x="3050231" y="2903697"/>
            <a:ext cx="315817" cy="213673"/>
          </a:xfrm>
          <a:prstGeom prst="rect">
            <a:avLst/>
          </a:prstGeom>
          <a:noFill/>
          <a:ln w="9525" algn="ctr">
            <a:noFill/>
            <a:miter lim="800000"/>
            <a:headEnd/>
            <a:tailEnd/>
          </a:ln>
        </p:spPr>
        <p:txBody>
          <a:bodyPr wrap="none" lIns="27000" tIns="27000" rIns="27000" bIns="27000">
            <a:spAutoFit/>
          </a:bodyPr>
          <a:lstStyle/>
          <a:p>
            <a:pPr algn="ctr" defTabSz="685800">
              <a:lnSpc>
                <a:spcPct val="106000"/>
              </a:lnSpc>
              <a:buClr>
                <a:prstClr val="black"/>
              </a:buClr>
            </a:pPr>
            <a:r>
              <a:rPr lang="en-US" sz="1050" kern="1200">
                <a:solidFill>
                  <a:srgbClr val="313131"/>
                </a:solidFill>
                <a:ea typeface="+mn-ea"/>
                <a:cs typeface="+mn-cs"/>
              </a:rPr>
              <a:t>Text</a:t>
            </a:r>
          </a:p>
        </p:txBody>
      </p:sp>
      <p:sp>
        <p:nvSpPr>
          <p:cNvPr id="686103" name="Text Box 43"/>
          <p:cNvSpPr txBox="1">
            <a:spLocks noChangeArrowheads="1"/>
          </p:cNvSpPr>
          <p:nvPr/>
        </p:nvSpPr>
        <p:spPr bwMode="gray">
          <a:xfrm>
            <a:off x="3261567" y="2103597"/>
            <a:ext cx="315817" cy="213673"/>
          </a:xfrm>
          <a:prstGeom prst="rect">
            <a:avLst/>
          </a:prstGeom>
          <a:noFill/>
          <a:ln w="9525" algn="ctr">
            <a:noFill/>
            <a:miter lim="800000"/>
            <a:headEnd/>
            <a:tailEnd/>
          </a:ln>
        </p:spPr>
        <p:txBody>
          <a:bodyPr wrap="none" lIns="27000" tIns="27000" rIns="27000" bIns="27000">
            <a:spAutoFit/>
          </a:bodyPr>
          <a:lstStyle/>
          <a:p>
            <a:pPr algn="ctr" defTabSz="685800">
              <a:lnSpc>
                <a:spcPct val="106000"/>
              </a:lnSpc>
              <a:buClr>
                <a:prstClr val="black"/>
              </a:buClr>
            </a:pPr>
            <a:r>
              <a:rPr lang="en-US" sz="1050" kern="1200">
                <a:solidFill>
                  <a:srgbClr val="313131"/>
                </a:solidFill>
                <a:ea typeface="+mn-ea"/>
                <a:cs typeface="+mn-cs"/>
              </a:rPr>
              <a:t>Text</a:t>
            </a:r>
          </a:p>
        </p:txBody>
      </p:sp>
      <p:sp>
        <p:nvSpPr>
          <p:cNvPr id="47" name="Text Placeholder 12"/>
          <p:cNvSpPr>
            <a:spLocks/>
          </p:cNvSpPr>
          <p:nvPr>
            <p:custDataLst>
              <p:tags r:id="rId1"/>
            </p:custDataLst>
          </p:nvPr>
        </p:nvSpPr>
        <p:spPr bwMode="auto">
          <a:xfrm>
            <a:off x="1440656" y="1131570"/>
            <a:ext cx="1098058"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  </a:t>
            </a:r>
          </a:p>
        </p:txBody>
      </p:sp>
    </p:spTree>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7105" name="Title 1"/>
          <p:cNvSpPr>
            <a:spLocks noGrp="1"/>
          </p:cNvSpPr>
          <p:nvPr>
            <p:ph type="title"/>
          </p:nvPr>
        </p:nvSpPr>
        <p:spPr/>
        <p:txBody>
          <a:bodyPr/>
          <a:lstStyle/>
          <a:p>
            <a:r>
              <a:rPr lang="en-US" dirty="0"/>
              <a:t>Spheres </a:t>
            </a:r>
            <a:br>
              <a:rPr lang="en-US" dirty="0"/>
            </a:br>
            <a:r>
              <a:rPr lang="en-US" dirty="0">
                <a:solidFill>
                  <a:srgbClr val="575757"/>
                </a:solidFill>
              </a:rPr>
              <a:t>Ying and yang</a:t>
            </a:r>
          </a:p>
        </p:txBody>
      </p:sp>
      <p:sp>
        <p:nvSpPr>
          <p:cNvPr id="687107" name="Freeform 3"/>
          <p:cNvSpPr>
            <a:spLocks/>
          </p:cNvSpPr>
          <p:nvPr/>
        </p:nvSpPr>
        <p:spPr bwMode="auto">
          <a:xfrm rot="16200000">
            <a:off x="3602832" y="1778794"/>
            <a:ext cx="2636044" cy="1974056"/>
          </a:xfrm>
          <a:custGeom>
            <a:avLst/>
            <a:gdLst>
              <a:gd name="T0" fmla="*/ 2147483647 w 1711"/>
              <a:gd name="T1" fmla="*/ 2147483647 h 1280"/>
              <a:gd name="T2" fmla="*/ 2147483647 w 1711"/>
              <a:gd name="T3" fmla="*/ 2147483647 h 1280"/>
              <a:gd name="T4" fmla="*/ 2147483647 w 1711"/>
              <a:gd name="T5" fmla="*/ 2147483647 h 1280"/>
              <a:gd name="T6" fmla="*/ 2147483647 w 1711"/>
              <a:gd name="T7" fmla="*/ 2147483647 h 1280"/>
              <a:gd name="T8" fmla="*/ 2147483647 w 1711"/>
              <a:gd name="T9" fmla="*/ 2147483647 h 1280"/>
              <a:gd name="T10" fmla="*/ 2147483647 w 1711"/>
              <a:gd name="T11" fmla="*/ 2147483647 h 1280"/>
              <a:gd name="T12" fmla="*/ 2147483647 w 1711"/>
              <a:gd name="T13" fmla="*/ 2147483647 h 1280"/>
              <a:gd name="T14" fmla="*/ 2147483647 w 1711"/>
              <a:gd name="T15" fmla="*/ 2147483647 h 1280"/>
              <a:gd name="T16" fmla="*/ 2147483647 w 1711"/>
              <a:gd name="T17" fmla="*/ 2147483647 h 1280"/>
              <a:gd name="T18" fmla="*/ 2147483647 w 1711"/>
              <a:gd name="T19" fmla="*/ 2147483647 h 1280"/>
              <a:gd name="T20" fmla="*/ 2147483647 w 1711"/>
              <a:gd name="T21" fmla="*/ 2147483647 h 1280"/>
              <a:gd name="T22" fmla="*/ 2147483647 w 1711"/>
              <a:gd name="T23" fmla="*/ 2147483647 h 1280"/>
              <a:gd name="T24" fmla="*/ 2147483647 w 1711"/>
              <a:gd name="T25" fmla="*/ 2147483647 h 1280"/>
              <a:gd name="T26" fmla="*/ 2147483647 w 1711"/>
              <a:gd name="T27" fmla="*/ 2147483647 h 1280"/>
              <a:gd name="T28" fmla="*/ 2147483647 w 1711"/>
              <a:gd name="T29" fmla="*/ 2147483647 h 1280"/>
              <a:gd name="T30" fmla="*/ 2147483647 w 1711"/>
              <a:gd name="T31" fmla="*/ 2147483647 h 1280"/>
              <a:gd name="T32" fmla="*/ 2147483647 w 1711"/>
              <a:gd name="T33" fmla="*/ 2147483647 h 1280"/>
              <a:gd name="T34" fmla="*/ 2147483647 w 1711"/>
              <a:gd name="T35" fmla="*/ 2147483647 h 1280"/>
              <a:gd name="T36" fmla="*/ 2147483647 w 1711"/>
              <a:gd name="T37" fmla="*/ 2147483647 h 1280"/>
              <a:gd name="T38" fmla="*/ 2147483647 w 1711"/>
              <a:gd name="T39" fmla="*/ 2147483647 h 1280"/>
              <a:gd name="T40" fmla="*/ 2147483647 w 1711"/>
              <a:gd name="T41" fmla="*/ 2147483647 h 1280"/>
              <a:gd name="T42" fmla="*/ 2147483647 w 1711"/>
              <a:gd name="T43" fmla="*/ 2147483647 h 1280"/>
              <a:gd name="T44" fmla="*/ 2147483647 w 1711"/>
              <a:gd name="T45" fmla="*/ 2147483647 h 1280"/>
              <a:gd name="T46" fmla="*/ 2147483647 w 1711"/>
              <a:gd name="T47" fmla="*/ 2147483647 h 1280"/>
              <a:gd name="T48" fmla="*/ 2147483647 w 1711"/>
              <a:gd name="T49" fmla="*/ 2147483647 h 1280"/>
              <a:gd name="T50" fmla="*/ 2147483647 w 1711"/>
              <a:gd name="T51" fmla="*/ 2147483647 h 1280"/>
              <a:gd name="T52" fmla="*/ 2147483647 w 1711"/>
              <a:gd name="T53" fmla="*/ 2147483647 h 1280"/>
              <a:gd name="T54" fmla="*/ 2147483647 w 1711"/>
              <a:gd name="T55" fmla="*/ 2147483647 h 1280"/>
              <a:gd name="T56" fmla="*/ 2147483647 w 1711"/>
              <a:gd name="T57" fmla="*/ 2147483647 h 1280"/>
              <a:gd name="T58" fmla="*/ 2147483647 w 1711"/>
              <a:gd name="T59" fmla="*/ 2147483647 h 1280"/>
              <a:gd name="T60" fmla="*/ 2147483647 w 1711"/>
              <a:gd name="T61" fmla="*/ 2147483647 h 1280"/>
              <a:gd name="T62" fmla="*/ 2147483647 w 1711"/>
              <a:gd name="T63" fmla="*/ 2147483647 h 1280"/>
              <a:gd name="T64" fmla="*/ 2147483647 w 1711"/>
              <a:gd name="T65" fmla="*/ 2147483647 h 1280"/>
              <a:gd name="T66" fmla="*/ 2147483647 w 1711"/>
              <a:gd name="T67" fmla="*/ 2147483647 h 1280"/>
              <a:gd name="T68" fmla="*/ 2147483647 w 1711"/>
              <a:gd name="T69" fmla="*/ 2147483647 h 1280"/>
              <a:gd name="T70" fmla="*/ 2147483647 w 1711"/>
              <a:gd name="T71" fmla="*/ 2147483647 h 1280"/>
              <a:gd name="T72" fmla="*/ 2147483647 w 1711"/>
              <a:gd name="T73" fmla="*/ 2147483647 h 1280"/>
              <a:gd name="T74" fmla="*/ 2147483647 w 1711"/>
              <a:gd name="T75" fmla="*/ 2147483647 h 1280"/>
              <a:gd name="T76" fmla="*/ 2147483647 w 1711"/>
              <a:gd name="T77" fmla="*/ 2147483647 h 1280"/>
              <a:gd name="T78" fmla="*/ 2147483647 w 1711"/>
              <a:gd name="T79" fmla="*/ 2147483647 h 1280"/>
              <a:gd name="T80" fmla="*/ 2147483647 w 1711"/>
              <a:gd name="T81" fmla="*/ 2147483647 h 1280"/>
              <a:gd name="T82" fmla="*/ 2147483647 w 1711"/>
              <a:gd name="T83" fmla="*/ 2147483647 h 1280"/>
              <a:gd name="T84" fmla="*/ 2147483647 w 1711"/>
              <a:gd name="T85" fmla="*/ 2147483647 h 1280"/>
              <a:gd name="T86" fmla="*/ 2147483647 w 1711"/>
              <a:gd name="T87" fmla="*/ 2147483647 h 1280"/>
              <a:gd name="T88" fmla="*/ 2147483647 w 1711"/>
              <a:gd name="T89" fmla="*/ 2147483647 h 1280"/>
              <a:gd name="T90" fmla="*/ 2147483647 w 1711"/>
              <a:gd name="T91" fmla="*/ 2147483647 h 1280"/>
              <a:gd name="T92" fmla="*/ 2147483647 w 1711"/>
              <a:gd name="T93" fmla="*/ 2147483647 h 1280"/>
              <a:gd name="T94" fmla="*/ 2147483647 w 1711"/>
              <a:gd name="T95" fmla="*/ 2147483647 h 12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711"/>
              <a:gd name="T145" fmla="*/ 0 h 1280"/>
              <a:gd name="T146" fmla="*/ 1711 w 1711"/>
              <a:gd name="T147" fmla="*/ 1280 h 12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711" h="1280">
                <a:moveTo>
                  <a:pt x="1663" y="798"/>
                </a:moveTo>
                <a:lnTo>
                  <a:pt x="1673" y="779"/>
                </a:lnTo>
                <a:lnTo>
                  <a:pt x="1682" y="757"/>
                </a:lnTo>
                <a:lnTo>
                  <a:pt x="1689" y="737"/>
                </a:lnTo>
                <a:lnTo>
                  <a:pt x="1695" y="716"/>
                </a:lnTo>
                <a:lnTo>
                  <a:pt x="1700" y="694"/>
                </a:lnTo>
                <a:lnTo>
                  <a:pt x="1704" y="673"/>
                </a:lnTo>
                <a:lnTo>
                  <a:pt x="1707" y="652"/>
                </a:lnTo>
                <a:lnTo>
                  <a:pt x="1709" y="631"/>
                </a:lnTo>
                <a:lnTo>
                  <a:pt x="1710" y="610"/>
                </a:lnTo>
                <a:lnTo>
                  <a:pt x="1710" y="588"/>
                </a:lnTo>
                <a:lnTo>
                  <a:pt x="1709" y="566"/>
                </a:lnTo>
                <a:lnTo>
                  <a:pt x="1707" y="546"/>
                </a:lnTo>
                <a:lnTo>
                  <a:pt x="1703" y="525"/>
                </a:lnTo>
                <a:lnTo>
                  <a:pt x="1699" y="504"/>
                </a:lnTo>
                <a:lnTo>
                  <a:pt x="1694" y="484"/>
                </a:lnTo>
                <a:lnTo>
                  <a:pt x="1688" y="463"/>
                </a:lnTo>
                <a:lnTo>
                  <a:pt x="1680" y="443"/>
                </a:lnTo>
                <a:lnTo>
                  <a:pt x="1672" y="424"/>
                </a:lnTo>
                <a:lnTo>
                  <a:pt x="1663" y="405"/>
                </a:lnTo>
                <a:lnTo>
                  <a:pt x="1653" y="386"/>
                </a:lnTo>
                <a:lnTo>
                  <a:pt x="1642" y="368"/>
                </a:lnTo>
                <a:lnTo>
                  <a:pt x="1631" y="350"/>
                </a:lnTo>
                <a:lnTo>
                  <a:pt x="1618" y="333"/>
                </a:lnTo>
                <a:lnTo>
                  <a:pt x="1605" y="316"/>
                </a:lnTo>
                <a:lnTo>
                  <a:pt x="1591" y="299"/>
                </a:lnTo>
                <a:lnTo>
                  <a:pt x="1576" y="284"/>
                </a:lnTo>
                <a:lnTo>
                  <a:pt x="1560" y="270"/>
                </a:lnTo>
                <a:lnTo>
                  <a:pt x="1542" y="256"/>
                </a:lnTo>
                <a:lnTo>
                  <a:pt x="1525" y="242"/>
                </a:lnTo>
                <a:lnTo>
                  <a:pt x="1507" y="230"/>
                </a:lnTo>
                <a:lnTo>
                  <a:pt x="1487" y="218"/>
                </a:lnTo>
                <a:lnTo>
                  <a:pt x="1468" y="207"/>
                </a:lnTo>
                <a:lnTo>
                  <a:pt x="1448" y="197"/>
                </a:lnTo>
                <a:lnTo>
                  <a:pt x="1427" y="189"/>
                </a:lnTo>
                <a:lnTo>
                  <a:pt x="1406" y="181"/>
                </a:lnTo>
                <a:lnTo>
                  <a:pt x="1385" y="175"/>
                </a:lnTo>
                <a:lnTo>
                  <a:pt x="1364" y="170"/>
                </a:lnTo>
                <a:lnTo>
                  <a:pt x="1343" y="166"/>
                </a:lnTo>
                <a:lnTo>
                  <a:pt x="1322" y="162"/>
                </a:lnTo>
                <a:lnTo>
                  <a:pt x="1301" y="160"/>
                </a:lnTo>
                <a:lnTo>
                  <a:pt x="1279" y="160"/>
                </a:lnTo>
                <a:lnTo>
                  <a:pt x="1258" y="160"/>
                </a:lnTo>
                <a:lnTo>
                  <a:pt x="1236" y="161"/>
                </a:lnTo>
                <a:lnTo>
                  <a:pt x="1216" y="163"/>
                </a:lnTo>
                <a:lnTo>
                  <a:pt x="1195" y="166"/>
                </a:lnTo>
                <a:lnTo>
                  <a:pt x="1174" y="170"/>
                </a:lnTo>
                <a:lnTo>
                  <a:pt x="1153" y="175"/>
                </a:lnTo>
                <a:lnTo>
                  <a:pt x="1134" y="181"/>
                </a:lnTo>
                <a:lnTo>
                  <a:pt x="1114" y="188"/>
                </a:lnTo>
                <a:lnTo>
                  <a:pt x="1095" y="196"/>
                </a:lnTo>
                <a:lnTo>
                  <a:pt x="1075" y="205"/>
                </a:lnTo>
                <a:lnTo>
                  <a:pt x="1056" y="215"/>
                </a:lnTo>
                <a:lnTo>
                  <a:pt x="1038" y="225"/>
                </a:lnTo>
                <a:lnTo>
                  <a:pt x="1020" y="236"/>
                </a:lnTo>
                <a:lnTo>
                  <a:pt x="1003" y="249"/>
                </a:lnTo>
                <a:lnTo>
                  <a:pt x="987" y="262"/>
                </a:lnTo>
                <a:lnTo>
                  <a:pt x="971" y="276"/>
                </a:lnTo>
                <a:lnTo>
                  <a:pt x="955" y="291"/>
                </a:lnTo>
                <a:lnTo>
                  <a:pt x="941" y="307"/>
                </a:lnTo>
                <a:lnTo>
                  <a:pt x="926" y="324"/>
                </a:lnTo>
                <a:lnTo>
                  <a:pt x="914" y="341"/>
                </a:lnTo>
                <a:lnTo>
                  <a:pt x="901" y="360"/>
                </a:lnTo>
                <a:lnTo>
                  <a:pt x="889" y="379"/>
                </a:lnTo>
                <a:lnTo>
                  <a:pt x="879" y="399"/>
                </a:lnTo>
                <a:lnTo>
                  <a:pt x="868" y="419"/>
                </a:lnTo>
                <a:lnTo>
                  <a:pt x="856" y="437"/>
                </a:lnTo>
                <a:lnTo>
                  <a:pt x="844" y="456"/>
                </a:lnTo>
                <a:lnTo>
                  <a:pt x="831" y="473"/>
                </a:lnTo>
                <a:lnTo>
                  <a:pt x="817" y="490"/>
                </a:lnTo>
                <a:lnTo>
                  <a:pt x="802" y="506"/>
                </a:lnTo>
                <a:lnTo>
                  <a:pt x="786" y="521"/>
                </a:lnTo>
                <a:lnTo>
                  <a:pt x="771" y="535"/>
                </a:lnTo>
                <a:lnTo>
                  <a:pt x="754" y="549"/>
                </a:lnTo>
                <a:lnTo>
                  <a:pt x="737" y="561"/>
                </a:lnTo>
                <a:lnTo>
                  <a:pt x="719" y="572"/>
                </a:lnTo>
                <a:lnTo>
                  <a:pt x="701" y="583"/>
                </a:lnTo>
                <a:lnTo>
                  <a:pt x="682" y="593"/>
                </a:lnTo>
                <a:lnTo>
                  <a:pt x="663" y="602"/>
                </a:lnTo>
                <a:lnTo>
                  <a:pt x="643" y="610"/>
                </a:lnTo>
                <a:lnTo>
                  <a:pt x="623" y="616"/>
                </a:lnTo>
                <a:lnTo>
                  <a:pt x="604" y="623"/>
                </a:lnTo>
                <a:lnTo>
                  <a:pt x="583" y="627"/>
                </a:lnTo>
                <a:lnTo>
                  <a:pt x="562" y="631"/>
                </a:lnTo>
                <a:lnTo>
                  <a:pt x="541" y="635"/>
                </a:lnTo>
                <a:lnTo>
                  <a:pt x="521" y="637"/>
                </a:lnTo>
                <a:lnTo>
                  <a:pt x="499" y="638"/>
                </a:lnTo>
                <a:lnTo>
                  <a:pt x="478" y="638"/>
                </a:lnTo>
                <a:lnTo>
                  <a:pt x="457" y="637"/>
                </a:lnTo>
                <a:lnTo>
                  <a:pt x="436" y="635"/>
                </a:lnTo>
                <a:lnTo>
                  <a:pt x="415" y="632"/>
                </a:lnTo>
                <a:lnTo>
                  <a:pt x="393" y="627"/>
                </a:lnTo>
                <a:lnTo>
                  <a:pt x="372" y="622"/>
                </a:lnTo>
                <a:lnTo>
                  <a:pt x="351" y="616"/>
                </a:lnTo>
                <a:lnTo>
                  <a:pt x="331" y="608"/>
                </a:lnTo>
                <a:lnTo>
                  <a:pt x="309" y="600"/>
                </a:lnTo>
                <a:lnTo>
                  <a:pt x="289" y="590"/>
                </a:lnTo>
                <a:lnTo>
                  <a:pt x="270" y="580"/>
                </a:lnTo>
                <a:lnTo>
                  <a:pt x="250" y="568"/>
                </a:lnTo>
                <a:lnTo>
                  <a:pt x="232" y="555"/>
                </a:lnTo>
                <a:lnTo>
                  <a:pt x="215" y="542"/>
                </a:lnTo>
                <a:lnTo>
                  <a:pt x="198" y="528"/>
                </a:lnTo>
                <a:lnTo>
                  <a:pt x="182" y="513"/>
                </a:lnTo>
                <a:lnTo>
                  <a:pt x="167" y="498"/>
                </a:lnTo>
                <a:lnTo>
                  <a:pt x="153" y="482"/>
                </a:lnTo>
                <a:lnTo>
                  <a:pt x="139" y="465"/>
                </a:lnTo>
                <a:lnTo>
                  <a:pt x="127" y="448"/>
                </a:lnTo>
                <a:lnTo>
                  <a:pt x="115" y="430"/>
                </a:lnTo>
                <a:lnTo>
                  <a:pt x="105" y="412"/>
                </a:lnTo>
                <a:lnTo>
                  <a:pt x="95" y="394"/>
                </a:lnTo>
                <a:lnTo>
                  <a:pt x="85" y="374"/>
                </a:lnTo>
                <a:lnTo>
                  <a:pt x="77" y="354"/>
                </a:lnTo>
                <a:lnTo>
                  <a:pt x="71" y="335"/>
                </a:lnTo>
                <a:lnTo>
                  <a:pt x="65" y="315"/>
                </a:lnTo>
                <a:lnTo>
                  <a:pt x="60" y="294"/>
                </a:lnTo>
                <a:lnTo>
                  <a:pt x="56" y="274"/>
                </a:lnTo>
                <a:lnTo>
                  <a:pt x="52" y="252"/>
                </a:lnTo>
                <a:lnTo>
                  <a:pt x="50" y="231"/>
                </a:lnTo>
                <a:lnTo>
                  <a:pt x="49" y="211"/>
                </a:lnTo>
                <a:lnTo>
                  <a:pt x="49" y="189"/>
                </a:lnTo>
                <a:lnTo>
                  <a:pt x="50" y="168"/>
                </a:lnTo>
                <a:lnTo>
                  <a:pt x="52" y="146"/>
                </a:lnTo>
                <a:lnTo>
                  <a:pt x="55" y="125"/>
                </a:lnTo>
                <a:lnTo>
                  <a:pt x="59" y="104"/>
                </a:lnTo>
                <a:lnTo>
                  <a:pt x="64" y="83"/>
                </a:lnTo>
                <a:lnTo>
                  <a:pt x="70" y="62"/>
                </a:lnTo>
                <a:lnTo>
                  <a:pt x="77" y="41"/>
                </a:lnTo>
                <a:lnTo>
                  <a:pt x="86" y="20"/>
                </a:lnTo>
                <a:lnTo>
                  <a:pt x="96" y="0"/>
                </a:lnTo>
                <a:lnTo>
                  <a:pt x="77" y="41"/>
                </a:lnTo>
                <a:lnTo>
                  <a:pt x="59" y="82"/>
                </a:lnTo>
                <a:lnTo>
                  <a:pt x="44" y="124"/>
                </a:lnTo>
                <a:lnTo>
                  <a:pt x="31" y="166"/>
                </a:lnTo>
                <a:lnTo>
                  <a:pt x="20" y="209"/>
                </a:lnTo>
                <a:lnTo>
                  <a:pt x="12" y="251"/>
                </a:lnTo>
                <a:lnTo>
                  <a:pt x="6" y="294"/>
                </a:lnTo>
                <a:lnTo>
                  <a:pt x="2" y="337"/>
                </a:lnTo>
                <a:lnTo>
                  <a:pt x="0" y="380"/>
                </a:lnTo>
                <a:lnTo>
                  <a:pt x="0" y="422"/>
                </a:lnTo>
                <a:lnTo>
                  <a:pt x="2" y="464"/>
                </a:lnTo>
                <a:lnTo>
                  <a:pt x="6" y="507"/>
                </a:lnTo>
                <a:lnTo>
                  <a:pt x="12" y="549"/>
                </a:lnTo>
                <a:lnTo>
                  <a:pt x="20" y="590"/>
                </a:lnTo>
                <a:lnTo>
                  <a:pt x="30" y="631"/>
                </a:lnTo>
                <a:lnTo>
                  <a:pt x="42" y="671"/>
                </a:lnTo>
                <a:lnTo>
                  <a:pt x="56" y="711"/>
                </a:lnTo>
                <a:lnTo>
                  <a:pt x="72" y="750"/>
                </a:lnTo>
                <a:lnTo>
                  <a:pt x="89" y="788"/>
                </a:lnTo>
                <a:lnTo>
                  <a:pt x="109" y="826"/>
                </a:lnTo>
                <a:lnTo>
                  <a:pt x="130" y="863"/>
                </a:lnTo>
                <a:lnTo>
                  <a:pt x="154" y="898"/>
                </a:lnTo>
                <a:lnTo>
                  <a:pt x="178" y="933"/>
                </a:lnTo>
                <a:lnTo>
                  <a:pt x="205" y="966"/>
                </a:lnTo>
                <a:lnTo>
                  <a:pt x="234" y="998"/>
                </a:lnTo>
                <a:lnTo>
                  <a:pt x="264" y="1029"/>
                </a:lnTo>
                <a:lnTo>
                  <a:pt x="295" y="1059"/>
                </a:lnTo>
                <a:lnTo>
                  <a:pt x="329" y="1087"/>
                </a:lnTo>
                <a:lnTo>
                  <a:pt x="364" y="1113"/>
                </a:lnTo>
                <a:lnTo>
                  <a:pt x="401" y="1138"/>
                </a:lnTo>
                <a:lnTo>
                  <a:pt x="439" y="1161"/>
                </a:lnTo>
                <a:lnTo>
                  <a:pt x="479" y="1183"/>
                </a:lnTo>
                <a:lnTo>
                  <a:pt x="520" y="1203"/>
                </a:lnTo>
                <a:lnTo>
                  <a:pt x="561" y="1220"/>
                </a:lnTo>
                <a:lnTo>
                  <a:pt x="603" y="1235"/>
                </a:lnTo>
                <a:lnTo>
                  <a:pt x="645" y="1248"/>
                </a:lnTo>
                <a:lnTo>
                  <a:pt x="688" y="1258"/>
                </a:lnTo>
                <a:lnTo>
                  <a:pt x="730" y="1267"/>
                </a:lnTo>
                <a:lnTo>
                  <a:pt x="773" y="1273"/>
                </a:lnTo>
                <a:lnTo>
                  <a:pt x="816" y="1277"/>
                </a:lnTo>
                <a:lnTo>
                  <a:pt x="859" y="1279"/>
                </a:lnTo>
                <a:lnTo>
                  <a:pt x="901" y="1279"/>
                </a:lnTo>
                <a:lnTo>
                  <a:pt x="943" y="1277"/>
                </a:lnTo>
                <a:lnTo>
                  <a:pt x="986" y="1273"/>
                </a:lnTo>
                <a:lnTo>
                  <a:pt x="1028" y="1267"/>
                </a:lnTo>
                <a:lnTo>
                  <a:pt x="1069" y="1258"/>
                </a:lnTo>
                <a:lnTo>
                  <a:pt x="1110" y="1248"/>
                </a:lnTo>
                <a:lnTo>
                  <a:pt x="1151" y="1236"/>
                </a:lnTo>
                <a:lnTo>
                  <a:pt x="1191" y="1222"/>
                </a:lnTo>
                <a:lnTo>
                  <a:pt x="1230" y="1207"/>
                </a:lnTo>
                <a:lnTo>
                  <a:pt x="1268" y="1189"/>
                </a:lnTo>
                <a:lnTo>
                  <a:pt x="1306" y="1169"/>
                </a:lnTo>
                <a:lnTo>
                  <a:pt x="1342" y="1148"/>
                </a:lnTo>
                <a:lnTo>
                  <a:pt x="1378" y="1124"/>
                </a:lnTo>
                <a:lnTo>
                  <a:pt x="1413" y="1099"/>
                </a:lnTo>
                <a:lnTo>
                  <a:pt x="1446" y="1073"/>
                </a:lnTo>
                <a:lnTo>
                  <a:pt x="1478" y="1044"/>
                </a:lnTo>
                <a:lnTo>
                  <a:pt x="1509" y="1014"/>
                </a:lnTo>
                <a:lnTo>
                  <a:pt x="1538" y="982"/>
                </a:lnTo>
                <a:lnTo>
                  <a:pt x="1567" y="949"/>
                </a:lnTo>
                <a:lnTo>
                  <a:pt x="1593" y="913"/>
                </a:lnTo>
                <a:lnTo>
                  <a:pt x="1618" y="877"/>
                </a:lnTo>
                <a:lnTo>
                  <a:pt x="1642" y="838"/>
                </a:lnTo>
                <a:lnTo>
                  <a:pt x="1663" y="798"/>
                </a:lnTo>
              </a:path>
            </a:pathLst>
          </a:custGeom>
          <a:solidFill>
            <a:srgbClr val="B4B4B4"/>
          </a:solidFill>
          <a:ln w="12700" cap="rnd">
            <a:solidFill>
              <a:schemeClr val="bg1"/>
            </a:solidFill>
            <a:round/>
            <a:headEnd/>
            <a:tailEnd/>
          </a:ln>
        </p:spPr>
        <p:txBody>
          <a:bodyPr lIns="27000" tIns="27000" rIns="27000" bIns="27000"/>
          <a:lstStyle/>
          <a:p>
            <a:pPr defTabSz="685800">
              <a:buClrTx/>
            </a:pPr>
            <a:endParaRPr lang="en-US" sz="1050" kern="1200">
              <a:solidFill>
                <a:srgbClr val="575757"/>
              </a:solidFill>
              <a:ea typeface="+mn-ea"/>
              <a:cs typeface="+mn-cs"/>
            </a:endParaRPr>
          </a:p>
        </p:txBody>
      </p:sp>
      <p:sp>
        <p:nvSpPr>
          <p:cNvPr id="5" name="Freeform 4"/>
          <p:cNvSpPr>
            <a:spLocks/>
          </p:cNvSpPr>
          <p:nvPr/>
        </p:nvSpPr>
        <p:spPr bwMode="auto">
          <a:xfrm rot="5400000">
            <a:off x="2859882" y="1702594"/>
            <a:ext cx="2636044" cy="1974056"/>
          </a:xfrm>
          <a:custGeom>
            <a:avLst/>
            <a:gdLst>
              <a:gd name="T0" fmla="*/ 2147483647 w 1711"/>
              <a:gd name="T1" fmla="*/ 2147483647 h 1280"/>
              <a:gd name="T2" fmla="*/ 2147483647 w 1711"/>
              <a:gd name="T3" fmla="*/ 2147483647 h 1280"/>
              <a:gd name="T4" fmla="*/ 2147483647 w 1711"/>
              <a:gd name="T5" fmla="*/ 2147483647 h 1280"/>
              <a:gd name="T6" fmla="*/ 2147483647 w 1711"/>
              <a:gd name="T7" fmla="*/ 2147483647 h 1280"/>
              <a:gd name="T8" fmla="*/ 2147483647 w 1711"/>
              <a:gd name="T9" fmla="*/ 2147483647 h 1280"/>
              <a:gd name="T10" fmla="*/ 2147483647 w 1711"/>
              <a:gd name="T11" fmla="*/ 2147483647 h 1280"/>
              <a:gd name="T12" fmla="*/ 2147483647 w 1711"/>
              <a:gd name="T13" fmla="*/ 2147483647 h 1280"/>
              <a:gd name="T14" fmla="*/ 2147483647 w 1711"/>
              <a:gd name="T15" fmla="*/ 2147483647 h 1280"/>
              <a:gd name="T16" fmla="*/ 2147483647 w 1711"/>
              <a:gd name="T17" fmla="*/ 2147483647 h 1280"/>
              <a:gd name="T18" fmla="*/ 2147483647 w 1711"/>
              <a:gd name="T19" fmla="*/ 2147483647 h 1280"/>
              <a:gd name="T20" fmla="*/ 2147483647 w 1711"/>
              <a:gd name="T21" fmla="*/ 2147483647 h 1280"/>
              <a:gd name="T22" fmla="*/ 2147483647 w 1711"/>
              <a:gd name="T23" fmla="*/ 2147483647 h 1280"/>
              <a:gd name="T24" fmla="*/ 2147483647 w 1711"/>
              <a:gd name="T25" fmla="*/ 2147483647 h 1280"/>
              <a:gd name="T26" fmla="*/ 2147483647 w 1711"/>
              <a:gd name="T27" fmla="*/ 2147483647 h 1280"/>
              <a:gd name="T28" fmla="*/ 2147483647 w 1711"/>
              <a:gd name="T29" fmla="*/ 2147483647 h 1280"/>
              <a:gd name="T30" fmla="*/ 2147483647 w 1711"/>
              <a:gd name="T31" fmla="*/ 2147483647 h 1280"/>
              <a:gd name="T32" fmla="*/ 2147483647 w 1711"/>
              <a:gd name="T33" fmla="*/ 2147483647 h 1280"/>
              <a:gd name="T34" fmla="*/ 2147483647 w 1711"/>
              <a:gd name="T35" fmla="*/ 2147483647 h 1280"/>
              <a:gd name="T36" fmla="*/ 2147483647 w 1711"/>
              <a:gd name="T37" fmla="*/ 2147483647 h 1280"/>
              <a:gd name="T38" fmla="*/ 2147483647 w 1711"/>
              <a:gd name="T39" fmla="*/ 2147483647 h 1280"/>
              <a:gd name="T40" fmla="*/ 2147483647 w 1711"/>
              <a:gd name="T41" fmla="*/ 2147483647 h 1280"/>
              <a:gd name="T42" fmla="*/ 2147483647 w 1711"/>
              <a:gd name="T43" fmla="*/ 2147483647 h 1280"/>
              <a:gd name="T44" fmla="*/ 2147483647 w 1711"/>
              <a:gd name="T45" fmla="*/ 2147483647 h 1280"/>
              <a:gd name="T46" fmla="*/ 2147483647 w 1711"/>
              <a:gd name="T47" fmla="*/ 2147483647 h 1280"/>
              <a:gd name="T48" fmla="*/ 2147483647 w 1711"/>
              <a:gd name="T49" fmla="*/ 2147483647 h 1280"/>
              <a:gd name="T50" fmla="*/ 2147483647 w 1711"/>
              <a:gd name="T51" fmla="*/ 2147483647 h 1280"/>
              <a:gd name="T52" fmla="*/ 2147483647 w 1711"/>
              <a:gd name="T53" fmla="*/ 2147483647 h 1280"/>
              <a:gd name="T54" fmla="*/ 2147483647 w 1711"/>
              <a:gd name="T55" fmla="*/ 2147483647 h 1280"/>
              <a:gd name="T56" fmla="*/ 2147483647 w 1711"/>
              <a:gd name="T57" fmla="*/ 2147483647 h 1280"/>
              <a:gd name="T58" fmla="*/ 2147483647 w 1711"/>
              <a:gd name="T59" fmla="*/ 2147483647 h 1280"/>
              <a:gd name="T60" fmla="*/ 2147483647 w 1711"/>
              <a:gd name="T61" fmla="*/ 2147483647 h 1280"/>
              <a:gd name="T62" fmla="*/ 2147483647 w 1711"/>
              <a:gd name="T63" fmla="*/ 2147483647 h 1280"/>
              <a:gd name="T64" fmla="*/ 2147483647 w 1711"/>
              <a:gd name="T65" fmla="*/ 2147483647 h 1280"/>
              <a:gd name="T66" fmla="*/ 2147483647 w 1711"/>
              <a:gd name="T67" fmla="*/ 2147483647 h 1280"/>
              <a:gd name="T68" fmla="*/ 2147483647 w 1711"/>
              <a:gd name="T69" fmla="*/ 2147483647 h 1280"/>
              <a:gd name="T70" fmla="*/ 2147483647 w 1711"/>
              <a:gd name="T71" fmla="*/ 2147483647 h 1280"/>
              <a:gd name="T72" fmla="*/ 2147483647 w 1711"/>
              <a:gd name="T73" fmla="*/ 2147483647 h 1280"/>
              <a:gd name="T74" fmla="*/ 2147483647 w 1711"/>
              <a:gd name="T75" fmla="*/ 2147483647 h 1280"/>
              <a:gd name="T76" fmla="*/ 2147483647 w 1711"/>
              <a:gd name="T77" fmla="*/ 2147483647 h 1280"/>
              <a:gd name="T78" fmla="*/ 2147483647 w 1711"/>
              <a:gd name="T79" fmla="*/ 2147483647 h 1280"/>
              <a:gd name="T80" fmla="*/ 2147483647 w 1711"/>
              <a:gd name="T81" fmla="*/ 2147483647 h 1280"/>
              <a:gd name="T82" fmla="*/ 2147483647 w 1711"/>
              <a:gd name="T83" fmla="*/ 2147483647 h 1280"/>
              <a:gd name="T84" fmla="*/ 2147483647 w 1711"/>
              <a:gd name="T85" fmla="*/ 2147483647 h 1280"/>
              <a:gd name="T86" fmla="*/ 2147483647 w 1711"/>
              <a:gd name="T87" fmla="*/ 2147483647 h 1280"/>
              <a:gd name="T88" fmla="*/ 2147483647 w 1711"/>
              <a:gd name="T89" fmla="*/ 2147483647 h 1280"/>
              <a:gd name="T90" fmla="*/ 2147483647 w 1711"/>
              <a:gd name="T91" fmla="*/ 2147483647 h 1280"/>
              <a:gd name="T92" fmla="*/ 2147483647 w 1711"/>
              <a:gd name="T93" fmla="*/ 2147483647 h 1280"/>
              <a:gd name="T94" fmla="*/ 2147483647 w 1711"/>
              <a:gd name="T95" fmla="*/ 2147483647 h 12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711"/>
              <a:gd name="T145" fmla="*/ 0 h 1280"/>
              <a:gd name="T146" fmla="*/ 1711 w 1711"/>
              <a:gd name="T147" fmla="*/ 1280 h 12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711" h="1280">
                <a:moveTo>
                  <a:pt x="1663" y="798"/>
                </a:moveTo>
                <a:lnTo>
                  <a:pt x="1673" y="779"/>
                </a:lnTo>
                <a:lnTo>
                  <a:pt x="1682" y="757"/>
                </a:lnTo>
                <a:lnTo>
                  <a:pt x="1689" y="737"/>
                </a:lnTo>
                <a:lnTo>
                  <a:pt x="1695" y="716"/>
                </a:lnTo>
                <a:lnTo>
                  <a:pt x="1700" y="694"/>
                </a:lnTo>
                <a:lnTo>
                  <a:pt x="1704" y="673"/>
                </a:lnTo>
                <a:lnTo>
                  <a:pt x="1707" y="652"/>
                </a:lnTo>
                <a:lnTo>
                  <a:pt x="1709" y="631"/>
                </a:lnTo>
                <a:lnTo>
                  <a:pt x="1710" y="610"/>
                </a:lnTo>
                <a:lnTo>
                  <a:pt x="1710" y="588"/>
                </a:lnTo>
                <a:lnTo>
                  <a:pt x="1709" y="566"/>
                </a:lnTo>
                <a:lnTo>
                  <a:pt x="1707" y="546"/>
                </a:lnTo>
                <a:lnTo>
                  <a:pt x="1703" y="525"/>
                </a:lnTo>
                <a:lnTo>
                  <a:pt x="1699" y="504"/>
                </a:lnTo>
                <a:lnTo>
                  <a:pt x="1694" y="484"/>
                </a:lnTo>
                <a:lnTo>
                  <a:pt x="1688" y="463"/>
                </a:lnTo>
                <a:lnTo>
                  <a:pt x="1680" y="443"/>
                </a:lnTo>
                <a:lnTo>
                  <a:pt x="1672" y="424"/>
                </a:lnTo>
                <a:lnTo>
                  <a:pt x="1663" y="405"/>
                </a:lnTo>
                <a:lnTo>
                  <a:pt x="1653" y="386"/>
                </a:lnTo>
                <a:lnTo>
                  <a:pt x="1642" y="368"/>
                </a:lnTo>
                <a:lnTo>
                  <a:pt x="1631" y="350"/>
                </a:lnTo>
                <a:lnTo>
                  <a:pt x="1618" y="333"/>
                </a:lnTo>
                <a:lnTo>
                  <a:pt x="1605" y="316"/>
                </a:lnTo>
                <a:lnTo>
                  <a:pt x="1591" y="299"/>
                </a:lnTo>
                <a:lnTo>
                  <a:pt x="1576" y="284"/>
                </a:lnTo>
                <a:lnTo>
                  <a:pt x="1560" y="270"/>
                </a:lnTo>
                <a:lnTo>
                  <a:pt x="1542" y="256"/>
                </a:lnTo>
                <a:lnTo>
                  <a:pt x="1525" y="242"/>
                </a:lnTo>
                <a:lnTo>
                  <a:pt x="1507" y="230"/>
                </a:lnTo>
                <a:lnTo>
                  <a:pt x="1487" y="218"/>
                </a:lnTo>
                <a:lnTo>
                  <a:pt x="1468" y="207"/>
                </a:lnTo>
                <a:lnTo>
                  <a:pt x="1448" y="197"/>
                </a:lnTo>
                <a:lnTo>
                  <a:pt x="1427" y="189"/>
                </a:lnTo>
                <a:lnTo>
                  <a:pt x="1406" y="181"/>
                </a:lnTo>
                <a:lnTo>
                  <a:pt x="1385" y="175"/>
                </a:lnTo>
                <a:lnTo>
                  <a:pt x="1364" y="170"/>
                </a:lnTo>
                <a:lnTo>
                  <a:pt x="1343" y="166"/>
                </a:lnTo>
                <a:lnTo>
                  <a:pt x="1322" y="162"/>
                </a:lnTo>
                <a:lnTo>
                  <a:pt x="1301" y="160"/>
                </a:lnTo>
                <a:lnTo>
                  <a:pt x="1279" y="160"/>
                </a:lnTo>
                <a:lnTo>
                  <a:pt x="1258" y="160"/>
                </a:lnTo>
                <a:lnTo>
                  <a:pt x="1236" y="161"/>
                </a:lnTo>
                <a:lnTo>
                  <a:pt x="1216" y="163"/>
                </a:lnTo>
                <a:lnTo>
                  <a:pt x="1195" y="166"/>
                </a:lnTo>
                <a:lnTo>
                  <a:pt x="1174" y="170"/>
                </a:lnTo>
                <a:lnTo>
                  <a:pt x="1153" y="175"/>
                </a:lnTo>
                <a:lnTo>
                  <a:pt x="1134" y="181"/>
                </a:lnTo>
                <a:lnTo>
                  <a:pt x="1114" y="188"/>
                </a:lnTo>
                <a:lnTo>
                  <a:pt x="1095" y="196"/>
                </a:lnTo>
                <a:lnTo>
                  <a:pt x="1075" y="205"/>
                </a:lnTo>
                <a:lnTo>
                  <a:pt x="1056" y="215"/>
                </a:lnTo>
                <a:lnTo>
                  <a:pt x="1038" y="225"/>
                </a:lnTo>
                <a:lnTo>
                  <a:pt x="1020" y="236"/>
                </a:lnTo>
                <a:lnTo>
                  <a:pt x="1003" y="249"/>
                </a:lnTo>
                <a:lnTo>
                  <a:pt x="987" y="262"/>
                </a:lnTo>
                <a:lnTo>
                  <a:pt x="971" y="276"/>
                </a:lnTo>
                <a:lnTo>
                  <a:pt x="955" y="291"/>
                </a:lnTo>
                <a:lnTo>
                  <a:pt x="941" y="307"/>
                </a:lnTo>
                <a:lnTo>
                  <a:pt x="926" y="324"/>
                </a:lnTo>
                <a:lnTo>
                  <a:pt x="914" y="341"/>
                </a:lnTo>
                <a:lnTo>
                  <a:pt x="901" y="360"/>
                </a:lnTo>
                <a:lnTo>
                  <a:pt x="889" y="379"/>
                </a:lnTo>
                <a:lnTo>
                  <a:pt x="879" y="399"/>
                </a:lnTo>
                <a:lnTo>
                  <a:pt x="868" y="419"/>
                </a:lnTo>
                <a:lnTo>
                  <a:pt x="856" y="437"/>
                </a:lnTo>
                <a:lnTo>
                  <a:pt x="844" y="456"/>
                </a:lnTo>
                <a:lnTo>
                  <a:pt x="831" y="473"/>
                </a:lnTo>
                <a:lnTo>
                  <a:pt x="817" y="490"/>
                </a:lnTo>
                <a:lnTo>
                  <a:pt x="802" y="506"/>
                </a:lnTo>
                <a:lnTo>
                  <a:pt x="786" y="521"/>
                </a:lnTo>
                <a:lnTo>
                  <a:pt x="771" y="535"/>
                </a:lnTo>
                <a:lnTo>
                  <a:pt x="754" y="549"/>
                </a:lnTo>
                <a:lnTo>
                  <a:pt x="737" y="561"/>
                </a:lnTo>
                <a:lnTo>
                  <a:pt x="719" y="572"/>
                </a:lnTo>
                <a:lnTo>
                  <a:pt x="701" y="583"/>
                </a:lnTo>
                <a:lnTo>
                  <a:pt x="682" y="593"/>
                </a:lnTo>
                <a:lnTo>
                  <a:pt x="663" y="602"/>
                </a:lnTo>
                <a:lnTo>
                  <a:pt x="643" y="610"/>
                </a:lnTo>
                <a:lnTo>
                  <a:pt x="623" y="616"/>
                </a:lnTo>
                <a:lnTo>
                  <a:pt x="604" y="623"/>
                </a:lnTo>
                <a:lnTo>
                  <a:pt x="583" y="627"/>
                </a:lnTo>
                <a:lnTo>
                  <a:pt x="562" y="631"/>
                </a:lnTo>
                <a:lnTo>
                  <a:pt x="541" y="635"/>
                </a:lnTo>
                <a:lnTo>
                  <a:pt x="521" y="637"/>
                </a:lnTo>
                <a:lnTo>
                  <a:pt x="499" y="638"/>
                </a:lnTo>
                <a:lnTo>
                  <a:pt x="478" y="638"/>
                </a:lnTo>
                <a:lnTo>
                  <a:pt x="457" y="637"/>
                </a:lnTo>
                <a:lnTo>
                  <a:pt x="436" y="635"/>
                </a:lnTo>
                <a:lnTo>
                  <a:pt x="415" y="632"/>
                </a:lnTo>
                <a:lnTo>
                  <a:pt x="393" y="627"/>
                </a:lnTo>
                <a:lnTo>
                  <a:pt x="372" y="622"/>
                </a:lnTo>
                <a:lnTo>
                  <a:pt x="351" y="616"/>
                </a:lnTo>
                <a:lnTo>
                  <a:pt x="331" y="608"/>
                </a:lnTo>
                <a:lnTo>
                  <a:pt x="309" y="600"/>
                </a:lnTo>
                <a:lnTo>
                  <a:pt x="289" y="590"/>
                </a:lnTo>
                <a:lnTo>
                  <a:pt x="270" y="580"/>
                </a:lnTo>
                <a:lnTo>
                  <a:pt x="250" y="568"/>
                </a:lnTo>
                <a:lnTo>
                  <a:pt x="232" y="555"/>
                </a:lnTo>
                <a:lnTo>
                  <a:pt x="215" y="542"/>
                </a:lnTo>
                <a:lnTo>
                  <a:pt x="198" y="528"/>
                </a:lnTo>
                <a:lnTo>
                  <a:pt x="182" y="513"/>
                </a:lnTo>
                <a:lnTo>
                  <a:pt x="167" y="498"/>
                </a:lnTo>
                <a:lnTo>
                  <a:pt x="153" y="482"/>
                </a:lnTo>
                <a:lnTo>
                  <a:pt x="139" y="465"/>
                </a:lnTo>
                <a:lnTo>
                  <a:pt x="127" y="448"/>
                </a:lnTo>
                <a:lnTo>
                  <a:pt x="115" y="430"/>
                </a:lnTo>
                <a:lnTo>
                  <a:pt x="105" y="412"/>
                </a:lnTo>
                <a:lnTo>
                  <a:pt x="95" y="394"/>
                </a:lnTo>
                <a:lnTo>
                  <a:pt x="85" y="374"/>
                </a:lnTo>
                <a:lnTo>
                  <a:pt x="77" y="354"/>
                </a:lnTo>
                <a:lnTo>
                  <a:pt x="71" y="335"/>
                </a:lnTo>
                <a:lnTo>
                  <a:pt x="65" y="315"/>
                </a:lnTo>
                <a:lnTo>
                  <a:pt x="60" y="294"/>
                </a:lnTo>
                <a:lnTo>
                  <a:pt x="56" y="274"/>
                </a:lnTo>
                <a:lnTo>
                  <a:pt x="52" y="252"/>
                </a:lnTo>
                <a:lnTo>
                  <a:pt x="50" y="231"/>
                </a:lnTo>
                <a:lnTo>
                  <a:pt x="49" y="211"/>
                </a:lnTo>
                <a:lnTo>
                  <a:pt x="49" y="189"/>
                </a:lnTo>
                <a:lnTo>
                  <a:pt x="50" y="168"/>
                </a:lnTo>
                <a:lnTo>
                  <a:pt x="52" y="146"/>
                </a:lnTo>
                <a:lnTo>
                  <a:pt x="55" y="125"/>
                </a:lnTo>
                <a:lnTo>
                  <a:pt x="59" y="104"/>
                </a:lnTo>
                <a:lnTo>
                  <a:pt x="64" y="83"/>
                </a:lnTo>
                <a:lnTo>
                  <a:pt x="70" y="62"/>
                </a:lnTo>
                <a:lnTo>
                  <a:pt x="77" y="41"/>
                </a:lnTo>
                <a:lnTo>
                  <a:pt x="86" y="20"/>
                </a:lnTo>
                <a:lnTo>
                  <a:pt x="96" y="0"/>
                </a:lnTo>
                <a:lnTo>
                  <a:pt x="77" y="41"/>
                </a:lnTo>
                <a:lnTo>
                  <a:pt x="59" y="82"/>
                </a:lnTo>
                <a:lnTo>
                  <a:pt x="44" y="124"/>
                </a:lnTo>
                <a:lnTo>
                  <a:pt x="31" y="166"/>
                </a:lnTo>
                <a:lnTo>
                  <a:pt x="20" y="209"/>
                </a:lnTo>
                <a:lnTo>
                  <a:pt x="12" y="251"/>
                </a:lnTo>
                <a:lnTo>
                  <a:pt x="6" y="294"/>
                </a:lnTo>
                <a:lnTo>
                  <a:pt x="2" y="337"/>
                </a:lnTo>
                <a:lnTo>
                  <a:pt x="0" y="380"/>
                </a:lnTo>
                <a:lnTo>
                  <a:pt x="0" y="422"/>
                </a:lnTo>
                <a:lnTo>
                  <a:pt x="2" y="464"/>
                </a:lnTo>
                <a:lnTo>
                  <a:pt x="6" y="507"/>
                </a:lnTo>
                <a:lnTo>
                  <a:pt x="12" y="549"/>
                </a:lnTo>
                <a:lnTo>
                  <a:pt x="20" y="590"/>
                </a:lnTo>
                <a:lnTo>
                  <a:pt x="30" y="631"/>
                </a:lnTo>
                <a:lnTo>
                  <a:pt x="42" y="671"/>
                </a:lnTo>
                <a:lnTo>
                  <a:pt x="56" y="711"/>
                </a:lnTo>
                <a:lnTo>
                  <a:pt x="72" y="750"/>
                </a:lnTo>
                <a:lnTo>
                  <a:pt x="89" y="788"/>
                </a:lnTo>
                <a:lnTo>
                  <a:pt x="109" y="826"/>
                </a:lnTo>
                <a:lnTo>
                  <a:pt x="130" y="863"/>
                </a:lnTo>
                <a:lnTo>
                  <a:pt x="154" y="898"/>
                </a:lnTo>
                <a:lnTo>
                  <a:pt x="178" y="933"/>
                </a:lnTo>
                <a:lnTo>
                  <a:pt x="205" y="966"/>
                </a:lnTo>
                <a:lnTo>
                  <a:pt x="234" y="998"/>
                </a:lnTo>
                <a:lnTo>
                  <a:pt x="264" y="1029"/>
                </a:lnTo>
                <a:lnTo>
                  <a:pt x="295" y="1059"/>
                </a:lnTo>
                <a:lnTo>
                  <a:pt x="329" y="1087"/>
                </a:lnTo>
                <a:lnTo>
                  <a:pt x="364" y="1113"/>
                </a:lnTo>
                <a:lnTo>
                  <a:pt x="401" y="1138"/>
                </a:lnTo>
                <a:lnTo>
                  <a:pt x="439" y="1161"/>
                </a:lnTo>
                <a:lnTo>
                  <a:pt x="479" y="1183"/>
                </a:lnTo>
                <a:lnTo>
                  <a:pt x="520" y="1203"/>
                </a:lnTo>
                <a:lnTo>
                  <a:pt x="561" y="1220"/>
                </a:lnTo>
                <a:lnTo>
                  <a:pt x="603" y="1235"/>
                </a:lnTo>
                <a:lnTo>
                  <a:pt x="645" y="1248"/>
                </a:lnTo>
                <a:lnTo>
                  <a:pt x="688" y="1258"/>
                </a:lnTo>
                <a:lnTo>
                  <a:pt x="730" y="1267"/>
                </a:lnTo>
                <a:lnTo>
                  <a:pt x="773" y="1273"/>
                </a:lnTo>
                <a:lnTo>
                  <a:pt x="816" y="1277"/>
                </a:lnTo>
                <a:lnTo>
                  <a:pt x="859" y="1279"/>
                </a:lnTo>
                <a:lnTo>
                  <a:pt x="901" y="1279"/>
                </a:lnTo>
                <a:lnTo>
                  <a:pt x="943" y="1277"/>
                </a:lnTo>
                <a:lnTo>
                  <a:pt x="986" y="1273"/>
                </a:lnTo>
                <a:lnTo>
                  <a:pt x="1028" y="1267"/>
                </a:lnTo>
                <a:lnTo>
                  <a:pt x="1069" y="1258"/>
                </a:lnTo>
                <a:lnTo>
                  <a:pt x="1110" y="1248"/>
                </a:lnTo>
                <a:lnTo>
                  <a:pt x="1151" y="1236"/>
                </a:lnTo>
                <a:lnTo>
                  <a:pt x="1191" y="1222"/>
                </a:lnTo>
                <a:lnTo>
                  <a:pt x="1230" y="1207"/>
                </a:lnTo>
                <a:lnTo>
                  <a:pt x="1268" y="1189"/>
                </a:lnTo>
                <a:lnTo>
                  <a:pt x="1306" y="1169"/>
                </a:lnTo>
                <a:lnTo>
                  <a:pt x="1342" y="1148"/>
                </a:lnTo>
                <a:lnTo>
                  <a:pt x="1378" y="1124"/>
                </a:lnTo>
                <a:lnTo>
                  <a:pt x="1413" y="1099"/>
                </a:lnTo>
                <a:lnTo>
                  <a:pt x="1446" y="1073"/>
                </a:lnTo>
                <a:lnTo>
                  <a:pt x="1478" y="1044"/>
                </a:lnTo>
                <a:lnTo>
                  <a:pt x="1509" y="1014"/>
                </a:lnTo>
                <a:lnTo>
                  <a:pt x="1538" y="982"/>
                </a:lnTo>
                <a:lnTo>
                  <a:pt x="1567" y="949"/>
                </a:lnTo>
                <a:lnTo>
                  <a:pt x="1593" y="913"/>
                </a:lnTo>
                <a:lnTo>
                  <a:pt x="1618" y="877"/>
                </a:lnTo>
                <a:lnTo>
                  <a:pt x="1642" y="838"/>
                </a:lnTo>
                <a:lnTo>
                  <a:pt x="1663" y="798"/>
                </a:lnTo>
              </a:path>
            </a:pathLst>
          </a:custGeom>
          <a:solidFill>
            <a:srgbClr val="00A1DE"/>
          </a:solidFill>
          <a:ln w="12700" cap="rnd">
            <a:solidFill>
              <a:schemeClr val="bg1"/>
            </a:solidFill>
            <a:round/>
            <a:headEnd/>
            <a:tailEnd/>
          </a:ln>
        </p:spPr>
        <p:txBody>
          <a:bodyPr lIns="27000" tIns="27000" rIns="27000" bIns="27000"/>
          <a:lstStyle/>
          <a:p>
            <a:pPr defTabSz="685800">
              <a:buClrTx/>
              <a:defRPr/>
            </a:pPr>
            <a:endParaRPr lang="en-US" sz="1050" kern="1200" dirty="0">
              <a:solidFill>
                <a:prstClr val="white"/>
              </a:solidFill>
              <a:ea typeface="+mn-ea"/>
              <a:cs typeface="+mn-cs"/>
            </a:endParaRPr>
          </a:p>
        </p:txBody>
      </p:sp>
      <p:sp>
        <p:nvSpPr>
          <p:cNvPr id="687109" name="Text Box 5"/>
          <p:cNvSpPr txBox="1">
            <a:spLocks noChangeArrowheads="1"/>
          </p:cNvSpPr>
          <p:nvPr/>
        </p:nvSpPr>
        <p:spPr bwMode="gray">
          <a:xfrm>
            <a:off x="4818783" y="2057400"/>
            <a:ext cx="261290" cy="159146"/>
          </a:xfrm>
          <a:prstGeom prst="rect">
            <a:avLst/>
          </a:prstGeom>
          <a:noFill/>
          <a:ln w="9525" algn="ctr">
            <a:noFill/>
            <a:miter lim="800000"/>
            <a:headEnd/>
            <a:tailEnd/>
          </a:ln>
        </p:spPr>
        <p:txBody>
          <a:bodyPr wrap="none" lIns="0" tIns="0" rIns="0" bIns="0">
            <a:spAutoFit/>
          </a:bodyPr>
          <a:lstStyle/>
          <a:p>
            <a:pPr algn="ctr" defTabSz="685800">
              <a:lnSpc>
                <a:spcPct val="106000"/>
              </a:lnSpc>
              <a:buClr>
                <a:prstClr val="black"/>
              </a:buClr>
            </a:pPr>
            <a:r>
              <a:rPr lang="en-US" sz="1050" kern="1200" dirty="0">
                <a:solidFill>
                  <a:srgbClr val="313131"/>
                </a:solidFill>
                <a:ea typeface="+mn-ea"/>
                <a:cs typeface="+mn-cs"/>
              </a:rPr>
              <a:t>Text</a:t>
            </a:r>
          </a:p>
        </p:txBody>
      </p:sp>
      <p:sp>
        <p:nvSpPr>
          <p:cNvPr id="687110" name="Text Box 6"/>
          <p:cNvSpPr txBox="1">
            <a:spLocks noChangeArrowheads="1"/>
          </p:cNvSpPr>
          <p:nvPr/>
        </p:nvSpPr>
        <p:spPr bwMode="gray">
          <a:xfrm>
            <a:off x="3869260" y="3200400"/>
            <a:ext cx="261290" cy="159146"/>
          </a:xfrm>
          <a:prstGeom prst="rect">
            <a:avLst/>
          </a:prstGeom>
          <a:noFill/>
          <a:ln w="9525" algn="ctr">
            <a:noFill/>
            <a:miter lim="800000"/>
            <a:headEnd/>
            <a:tailEnd/>
          </a:ln>
        </p:spPr>
        <p:txBody>
          <a:bodyPr wrap="none" lIns="0" tIns="0" rIns="0" bIns="0">
            <a:spAutoFit/>
          </a:bodyPr>
          <a:lstStyle/>
          <a:p>
            <a:pPr algn="ctr" defTabSz="685800">
              <a:lnSpc>
                <a:spcPct val="106000"/>
              </a:lnSpc>
              <a:buClr>
                <a:prstClr val="black"/>
              </a:buClr>
            </a:pPr>
            <a:r>
              <a:rPr lang="en-US" sz="1050" kern="1200" dirty="0">
                <a:solidFill>
                  <a:prstClr val="white"/>
                </a:solidFill>
                <a:ea typeface="+mn-ea"/>
                <a:cs typeface="+mn-cs"/>
              </a:rPr>
              <a:t>Text</a:t>
            </a:r>
          </a:p>
        </p:txBody>
      </p:sp>
      <p:sp>
        <p:nvSpPr>
          <p:cNvPr id="10" name="Text Placeholder 12"/>
          <p:cNvSpPr>
            <a:spLocks/>
          </p:cNvSpPr>
          <p:nvPr>
            <p:custDataLst>
              <p:tags r:id="rId1"/>
            </p:custDataLst>
          </p:nvPr>
        </p:nvSpPr>
        <p:spPr bwMode="auto">
          <a:xfrm>
            <a:off x="1440656" y="1131570"/>
            <a:ext cx="1098058"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  </a:t>
            </a:r>
          </a:p>
        </p:txBody>
      </p:sp>
      <p:sp>
        <p:nvSpPr>
          <p:cNvPr id="12" name="Rectangle 11"/>
          <p:cNvSpPr>
            <a:spLocks noChangeArrowheads="1"/>
          </p:cNvSpPr>
          <p:nvPr/>
        </p:nvSpPr>
        <p:spPr bwMode="auto">
          <a:xfrm>
            <a:off x="5803107" y="0"/>
            <a:ext cx="2197894" cy="369332"/>
          </a:xfrm>
          <a:prstGeom prst="rect">
            <a:avLst/>
          </a:prstGeom>
          <a:solidFill>
            <a:schemeClr val="accent6"/>
          </a:solidFill>
          <a:ln w="6350" algn="ctr">
            <a:solidFill>
              <a:schemeClr val="bg1"/>
            </a:solidFill>
            <a:miter lim="800000"/>
            <a:headEnd/>
            <a:tailEnd/>
          </a:ln>
        </p:spPr>
        <p:txBody>
          <a:bodyPr tIns="68580" bIns="68580">
            <a:spAutoFit/>
          </a:bodyPr>
          <a:lstStyle/>
          <a:p>
            <a:pPr defTabSz="685800">
              <a:buClrTx/>
              <a:defRPr/>
            </a:pPr>
            <a:r>
              <a:rPr lang="en-US" sz="750" kern="1200" dirty="0">
                <a:solidFill>
                  <a:srgbClr val="313131"/>
                </a:solidFill>
                <a:ea typeface="ＭＳ Ｐゴシック" pitchFamily="50" charset="-128"/>
                <a:cs typeface="+mn-cs"/>
              </a:rPr>
              <a:t>Tip! Hold the Shift key when resizing the pieces or group to retain the shape proportions</a:t>
            </a:r>
          </a:p>
        </p:txBody>
      </p:sp>
    </p:spTree>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0177" name="Title 1"/>
          <p:cNvSpPr>
            <a:spLocks noGrp="1"/>
          </p:cNvSpPr>
          <p:nvPr>
            <p:ph type="title"/>
          </p:nvPr>
        </p:nvSpPr>
        <p:spPr/>
        <p:txBody>
          <a:bodyPr/>
          <a:lstStyle/>
          <a:p>
            <a:r>
              <a:rPr lang="en-US" dirty="0"/>
              <a:t>Spheres </a:t>
            </a:r>
            <a:br>
              <a:rPr lang="en-US" dirty="0"/>
            </a:br>
            <a:r>
              <a:rPr lang="en-US" dirty="0">
                <a:solidFill>
                  <a:srgbClr val="575757"/>
                </a:solidFill>
              </a:rPr>
              <a:t>Eggs</a:t>
            </a:r>
          </a:p>
        </p:txBody>
      </p:sp>
      <p:sp>
        <p:nvSpPr>
          <p:cNvPr id="690179" name="Oval 3"/>
          <p:cNvSpPr>
            <a:spLocks noChangeArrowheads="1"/>
          </p:cNvSpPr>
          <p:nvPr/>
        </p:nvSpPr>
        <p:spPr bwMode="auto">
          <a:xfrm>
            <a:off x="1738313" y="1371600"/>
            <a:ext cx="2150269" cy="2759869"/>
          </a:xfrm>
          <a:prstGeom prst="ellipse">
            <a:avLst/>
          </a:prstGeom>
          <a:solidFill>
            <a:srgbClr val="B4B4B4"/>
          </a:solidFill>
          <a:ln w="12700">
            <a:solidFill>
              <a:schemeClr val="bg1"/>
            </a:solidFill>
            <a:round/>
            <a:headEnd type="none" w="sm" len="sm"/>
            <a:tailEnd type="none" w="med" len="lg"/>
          </a:ln>
        </p:spPr>
        <p:txBody>
          <a:bodyPr lIns="27000" tIns="27000" rIns="27000" bIns="27000" anchor="ctr" anchorCtr="1"/>
          <a:lstStyle/>
          <a:p>
            <a:pPr algn="ctr" defTabSz="685800">
              <a:lnSpc>
                <a:spcPct val="90000"/>
              </a:lnSpc>
              <a:buClrTx/>
            </a:pPr>
            <a:r>
              <a:rPr lang="en-US" altLang="ja-JP" sz="1050" kern="1200">
                <a:solidFill>
                  <a:prstClr val="white"/>
                </a:solidFill>
                <a:ea typeface="ＭＳ Ｐゴシック" charset="-128"/>
                <a:cs typeface="+mn-cs"/>
              </a:rPr>
              <a:t>Text</a:t>
            </a:r>
          </a:p>
          <a:p>
            <a:pPr algn="ctr" defTabSz="685800">
              <a:lnSpc>
                <a:spcPct val="90000"/>
              </a:lnSpc>
              <a:buClrTx/>
            </a:pPr>
            <a:endParaRPr lang="en-US" altLang="ja-JP" sz="1050" kern="1200">
              <a:solidFill>
                <a:prstClr val="white"/>
              </a:solidFill>
              <a:ea typeface="ＭＳ Ｐゴシック" charset="-128"/>
              <a:cs typeface="+mn-cs"/>
            </a:endParaRPr>
          </a:p>
          <a:p>
            <a:pPr algn="ctr" defTabSz="685800">
              <a:lnSpc>
                <a:spcPct val="90000"/>
              </a:lnSpc>
              <a:buClrTx/>
            </a:pPr>
            <a:endParaRPr lang="en-US" altLang="ja-JP" sz="1050" kern="1200">
              <a:solidFill>
                <a:prstClr val="white"/>
              </a:solidFill>
              <a:ea typeface="ＭＳ Ｐゴシック" charset="-128"/>
              <a:cs typeface="+mn-cs"/>
            </a:endParaRPr>
          </a:p>
          <a:p>
            <a:pPr algn="ctr" defTabSz="685800">
              <a:buClrTx/>
            </a:pPr>
            <a:r>
              <a:rPr lang="en-US" altLang="ja-JP" sz="1050" kern="1200">
                <a:solidFill>
                  <a:prstClr val="white"/>
                </a:solidFill>
                <a:ea typeface="ＭＳ Ｐゴシック" charset="-128"/>
                <a:cs typeface="+mn-cs"/>
              </a:rPr>
              <a:t>Text</a:t>
            </a:r>
          </a:p>
        </p:txBody>
      </p:sp>
      <p:sp>
        <p:nvSpPr>
          <p:cNvPr id="5" name="Oval 4"/>
          <p:cNvSpPr>
            <a:spLocks noChangeArrowheads="1"/>
          </p:cNvSpPr>
          <p:nvPr/>
        </p:nvSpPr>
        <p:spPr bwMode="auto">
          <a:xfrm>
            <a:off x="5273279" y="1371600"/>
            <a:ext cx="2107406" cy="2759869"/>
          </a:xfrm>
          <a:prstGeom prst="ellipse">
            <a:avLst/>
          </a:prstGeom>
          <a:solidFill>
            <a:srgbClr val="7F7F7F"/>
          </a:solidFill>
          <a:ln w="12700">
            <a:solidFill>
              <a:schemeClr val="bg1"/>
            </a:solidFill>
            <a:round/>
            <a:headEnd type="none" w="sm" len="sm"/>
            <a:tailEnd type="none" w="med" len="lg"/>
          </a:ln>
        </p:spPr>
        <p:txBody>
          <a:bodyPr lIns="27000" tIns="27000" rIns="27000" bIns="27000" anchor="ctr"/>
          <a:lstStyle/>
          <a:p>
            <a:pPr marL="272654" indent="-141685" algn="ctr" defTabSz="685800">
              <a:buClrTx/>
              <a:defRPr/>
            </a:pPr>
            <a:r>
              <a:rPr lang="en-US" altLang="ja-JP" sz="1050" kern="1200" dirty="0">
                <a:solidFill>
                  <a:prstClr val="white"/>
                </a:solidFill>
                <a:ea typeface="ＭＳ Ｐゴシック" pitchFamily="50" charset="-128"/>
                <a:cs typeface="+mn-cs"/>
              </a:rPr>
              <a:t>Text</a:t>
            </a:r>
          </a:p>
          <a:p>
            <a:pPr marL="272654" indent="-141685" algn="ctr" defTabSz="685800">
              <a:buClrTx/>
              <a:defRPr/>
            </a:pPr>
            <a:endParaRPr lang="en-US" altLang="ja-JP" sz="1050" kern="1200" dirty="0">
              <a:solidFill>
                <a:prstClr val="white"/>
              </a:solidFill>
              <a:ea typeface="ＭＳ Ｐゴシック" pitchFamily="50" charset="-128"/>
              <a:cs typeface="+mn-cs"/>
            </a:endParaRPr>
          </a:p>
          <a:p>
            <a:pPr marL="272654" indent="-141685" algn="ctr" defTabSz="685800">
              <a:buClrTx/>
              <a:defRPr/>
            </a:pPr>
            <a:endParaRPr lang="en-US" altLang="ja-JP" sz="1050" kern="1200" dirty="0">
              <a:solidFill>
                <a:prstClr val="white"/>
              </a:solidFill>
              <a:ea typeface="ＭＳ Ｐゴシック" pitchFamily="50" charset="-128"/>
              <a:cs typeface="+mn-cs"/>
            </a:endParaRPr>
          </a:p>
          <a:p>
            <a:pPr marL="272654" indent="-141685" algn="ctr" defTabSz="685800">
              <a:buClrTx/>
              <a:defRPr/>
            </a:pPr>
            <a:r>
              <a:rPr lang="en-US" altLang="ja-JP" sz="1050" kern="1200" dirty="0">
                <a:solidFill>
                  <a:prstClr val="white"/>
                </a:solidFill>
                <a:ea typeface="ＭＳ Ｐゴシック" pitchFamily="50" charset="-128"/>
                <a:cs typeface="+mn-cs"/>
              </a:rPr>
              <a:t>Text</a:t>
            </a:r>
          </a:p>
          <a:p>
            <a:pPr marL="272654" indent="-141685" algn="ctr" defTabSz="685800">
              <a:buClrTx/>
              <a:defRPr/>
            </a:pPr>
            <a:endParaRPr lang="en-US" altLang="ja-JP" sz="1050" kern="1200" dirty="0">
              <a:solidFill>
                <a:prstClr val="white"/>
              </a:solidFill>
              <a:ea typeface="ＭＳ Ｐゴシック" pitchFamily="50" charset="-128"/>
              <a:cs typeface="+mn-cs"/>
            </a:endParaRPr>
          </a:p>
        </p:txBody>
      </p:sp>
      <p:sp>
        <p:nvSpPr>
          <p:cNvPr id="690181" name="Oval 5"/>
          <p:cNvSpPr>
            <a:spLocks noChangeArrowheads="1"/>
          </p:cNvSpPr>
          <p:nvPr/>
        </p:nvSpPr>
        <p:spPr bwMode="auto">
          <a:xfrm>
            <a:off x="3536157" y="1371600"/>
            <a:ext cx="2108597" cy="2759869"/>
          </a:xfrm>
          <a:prstGeom prst="ellipse">
            <a:avLst/>
          </a:prstGeom>
          <a:solidFill>
            <a:schemeClr val="accent2"/>
          </a:solidFill>
          <a:ln w="12700" algn="ctr">
            <a:solidFill>
              <a:schemeClr val="bg1"/>
            </a:solidFill>
            <a:round/>
            <a:headEnd type="none" w="sm" len="sm"/>
            <a:tailEnd type="none" w="med" len="lg"/>
          </a:ln>
        </p:spPr>
        <p:txBody>
          <a:bodyPr lIns="27000" tIns="27000" rIns="27000" bIns="27000" anchor="ctr"/>
          <a:lstStyle/>
          <a:p>
            <a:pPr algn="ctr" defTabSz="685800">
              <a:buClrTx/>
            </a:pPr>
            <a:r>
              <a:rPr lang="en-US" altLang="ja-JP" sz="1050" kern="1200">
                <a:solidFill>
                  <a:prstClr val="white"/>
                </a:solidFill>
                <a:ea typeface="ＭＳ Ｐゴシック" charset="-128"/>
                <a:cs typeface="+mn-cs"/>
              </a:rPr>
              <a:t>Text</a:t>
            </a:r>
          </a:p>
          <a:p>
            <a:pPr algn="ctr" defTabSz="685800">
              <a:buClrTx/>
            </a:pPr>
            <a:endParaRPr lang="en-US" altLang="ja-JP" sz="1050" kern="1200">
              <a:solidFill>
                <a:prstClr val="white"/>
              </a:solidFill>
              <a:ea typeface="ＭＳ Ｐゴシック" charset="-128"/>
              <a:cs typeface="+mn-cs"/>
            </a:endParaRPr>
          </a:p>
          <a:p>
            <a:pPr algn="ctr" defTabSz="685800">
              <a:buClrTx/>
            </a:pPr>
            <a:endParaRPr lang="en-US" altLang="ja-JP" sz="1050" kern="1200">
              <a:solidFill>
                <a:prstClr val="white"/>
              </a:solidFill>
              <a:ea typeface="ＭＳ Ｐゴシック" charset="-128"/>
              <a:cs typeface="+mn-cs"/>
            </a:endParaRPr>
          </a:p>
          <a:p>
            <a:pPr algn="ctr" defTabSz="685800">
              <a:buClrTx/>
            </a:pPr>
            <a:r>
              <a:rPr lang="en-US" altLang="ja-JP" sz="1050" kern="1200">
                <a:solidFill>
                  <a:prstClr val="white"/>
                </a:solidFill>
                <a:ea typeface="ＭＳ Ｐゴシック" charset="-128"/>
                <a:cs typeface="+mn-cs"/>
              </a:rPr>
              <a:t>Text</a:t>
            </a:r>
          </a:p>
        </p:txBody>
      </p:sp>
      <p:sp>
        <p:nvSpPr>
          <p:cNvPr id="9" name="Text Placeholder 12"/>
          <p:cNvSpPr>
            <a:spLocks/>
          </p:cNvSpPr>
          <p:nvPr>
            <p:custDataLst>
              <p:tags r:id="rId1"/>
            </p:custDataLst>
          </p:nvPr>
        </p:nvSpPr>
        <p:spPr bwMode="auto">
          <a:xfrm>
            <a:off x="1440656" y="1131570"/>
            <a:ext cx="1098058"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  </a:t>
            </a:r>
          </a:p>
        </p:txBody>
      </p:sp>
    </p:spTree>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1201" name="Title 1"/>
          <p:cNvSpPr>
            <a:spLocks noGrp="1"/>
          </p:cNvSpPr>
          <p:nvPr>
            <p:ph type="title"/>
          </p:nvPr>
        </p:nvSpPr>
        <p:spPr/>
        <p:txBody>
          <a:bodyPr/>
          <a:lstStyle/>
          <a:p>
            <a:r>
              <a:rPr lang="en-US" dirty="0"/>
              <a:t>Boxes </a:t>
            </a:r>
            <a:br>
              <a:rPr lang="en-US" dirty="0"/>
            </a:br>
            <a:r>
              <a:rPr lang="en-US" dirty="0">
                <a:solidFill>
                  <a:srgbClr val="575757"/>
                </a:solidFill>
              </a:rPr>
              <a:t>Matrices</a:t>
            </a:r>
          </a:p>
        </p:txBody>
      </p:sp>
      <p:grpSp>
        <p:nvGrpSpPr>
          <p:cNvPr id="691203" name="Group 3"/>
          <p:cNvGrpSpPr>
            <a:grpSpLocks/>
          </p:cNvGrpSpPr>
          <p:nvPr/>
        </p:nvGrpSpPr>
        <p:grpSpPr bwMode="auto">
          <a:xfrm>
            <a:off x="1703785" y="1371600"/>
            <a:ext cx="2763440" cy="2115741"/>
            <a:chOff x="470" y="1382"/>
            <a:chExt cx="2515" cy="1777"/>
          </a:xfrm>
        </p:grpSpPr>
        <p:sp>
          <p:nvSpPr>
            <p:cNvPr id="6" name="Rectangle 4"/>
            <p:cNvSpPr>
              <a:spLocks noChangeArrowheads="1"/>
            </p:cNvSpPr>
            <p:nvPr/>
          </p:nvSpPr>
          <p:spPr bwMode="auto">
            <a:xfrm>
              <a:off x="1727" y="2271"/>
              <a:ext cx="1258" cy="888"/>
            </a:xfrm>
            <a:prstGeom prst="rect">
              <a:avLst/>
            </a:prstGeom>
            <a:solidFill>
              <a:srgbClr val="8C8C8C"/>
            </a:solidFill>
            <a:ln w="9525">
              <a:solidFill>
                <a:schemeClr val="bg1"/>
              </a:solidFill>
              <a:miter lim="800000"/>
              <a:headEnd/>
              <a:tailEnd/>
            </a:ln>
          </p:spPr>
          <p:txBody>
            <a:bodyPr lIns="27000" tIns="54000" rIns="27000" bIns="27000" anchorCtr="1"/>
            <a:lstStyle/>
            <a:p>
              <a:pPr algn="ctr" defTabSz="685800">
                <a:buClrTx/>
                <a:defRPr/>
              </a:pPr>
              <a:r>
                <a:rPr lang="en-US" altLang="ja-JP" sz="1050" b="1" kern="1200" dirty="0">
                  <a:solidFill>
                    <a:prstClr val="white"/>
                  </a:solidFill>
                  <a:ea typeface="ＭＳ Ｐゴシック" pitchFamily="50" charset="-128"/>
                  <a:cs typeface="+mn-cs"/>
                </a:rPr>
                <a:t>Title</a:t>
              </a:r>
              <a:endParaRPr lang="en-US" altLang="ja-JP" sz="1050" kern="1200" dirty="0">
                <a:solidFill>
                  <a:prstClr val="white"/>
                </a:solidFill>
                <a:ea typeface="ＭＳ Ｐゴシック" pitchFamily="50" charset="-128"/>
                <a:cs typeface="+mn-cs"/>
              </a:endParaRPr>
            </a:p>
            <a:p>
              <a:pPr algn="ctr" defTabSz="685800">
                <a:buClrTx/>
                <a:defRPr/>
              </a:pPr>
              <a:endParaRPr lang="en-US" altLang="ja-JP" sz="1050" kern="1200" dirty="0">
                <a:solidFill>
                  <a:prstClr val="white"/>
                </a:solidFill>
                <a:ea typeface="ＭＳ Ｐゴシック" pitchFamily="50" charset="-128"/>
                <a:cs typeface="+mn-cs"/>
              </a:endParaRPr>
            </a:p>
            <a:p>
              <a:pPr algn="ctr" defTabSz="685800">
                <a:buClrTx/>
                <a:defRPr/>
              </a:pPr>
              <a:r>
                <a:rPr lang="en-US" altLang="ja-JP" sz="1050" kern="1200" dirty="0">
                  <a:solidFill>
                    <a:prstClr val="white"/>
                  </a:solidFill>
                  <a:ea typeface="ＭＳ Ｐゴシック" pitchFamily="50" charset="-128"/>
                  <a:cs typeface="+mn-cs"/>
                </a:rPr>
                <a:t>Text</a:t>
              </a:r>
            </a:p>
          </p:txBody>
        </p:sp>
        <p:sp>
          <p:nvSpPr>
            <p:cNvPr id="7" name="Rectangle 5"/>
            <p:cNvSpPr>
              <a:spLocks noChangeArrowheads="1"/>
            </p:cNvSpPr>
            <p:nvPr/>
          </p:nvSpPr>
          <p:spPr bwMode="auto">
            <a:xfrm>
              <a:off x="470" y="2271"/>
              <a:ext cx="1257" cy="888"/>
            </a:xfrm>
            <a:prstGeom prst="rect">
              <a:avLst/>
            </a:prstGeom>
            <a:solidFill>
              <a:srgbClr val="575757"/>
            </a:solidFill>
            <a:ln w="9525" algn="ctr">
              <a:solidFill>
                <a:schemeClr val="bg1"/>
              </a:solidFill>
              <a:miter lim="800000"/>
              <a:headEnd/>
              <a:tailEnd/>
            </a:ln>
          </p:spPr>
          <p:txBody>
            <a:bodyPr lIns="27000" tIns="54000" rIns="27000" bIns="27000" anchorCtr="1"/>
            <a:lstStyle/>
            <a:p>
              <a:pPr algn="ctr" defTabSz="685800">
                <a:buClrTx/>
                <a:defRPr/>
              </a:pPr>
              <a:r>
                <a:rPr lang="en-US" altLang="ja-JP" sz="1050" b="1" kern="1200" dirty="0">
                  <a:solidFill>
                    <a:prstClr val="white"/>
                  </a:solidFill>
                  <a:ea typeface="ＭＳ Ｐゴシック" pitchFamily="50" charset="-128"/>
                  <a:cs typeface="+mn-cs"/>
                </a:rPr>
                <a:t>Title</a:t>
              </a:r>
              <a:endParaRPr lang="en-US" altLang="ja-JP" sz="1050" kern="1200" dirty="0">
                <a:solidFill>
                  <a:prstClr val="white"/>
                </a:solidFill>
                <a:ea typeface="ＭＳ Ｐゴシック" pitchFamily="50" charset="-128"/>
                <a:cs typeface="+mn-cs"/>
              </a:endParaRPr>
            </a:p>
            <a:p>
              <a:pPr algn="ctr" defTabSz="685800">
                <a:buClrTx/>
                <a:defRPr/>
              </a:pPr>
              <a:endParaRPr lang="en-US" altLang="ja-JP" sz="1050" kern="1200" dirty="0">
                <a:solidFill>
                  <a:prstClr val="white"/>
                </a:solidFill>
                <a:ea typeface="ＭＳ Ｐゴシック" pitchFamily="50" charset="-128"/>
                <a:cs typeface="+mn-cs"/>
              </a:endParaRPr>
            </a:p>
            <a:p>
              <a:pPr algn="ctr" defTabSz="685800">
                <a:buClrTx/>
                <a:defRPr/>
              </a:pPr>
              <a:r>
                <a:rPr lang="en-US" altLang="ja-JP" sz="1050" kern="1200" dirty="0">
                  <a:solidFill>
                    <a:prstClr val="white"/>
                  </a:solidFill>
                  <a:ea typeface="ＭＳ Ｐゴシック" pitchFamily="50" charset="-128"/>
                  <a:cs typeface="+mn-cs"/>
                </a:rPr>
                <a:t>Text</a:t>
              </a:r>
            </a:p>
          </p:txBody>
        </p:sp>
        <p:sp>
          <p:nvSpPr>
            <p:cNvPr id="691229" name="Rectangle 6"/>
            <p:cNvSpPr>
              <a:spLocks noChangeArrowheads="1"/>
            </p:cNvSpPr>
            <p:nvPr/>
          </p:nvSpPr>
          <p:spPr bwMode="auto">
            <a:xfrm>
              <a:off x="470" y="1382"/>
              <a:ext cx="1257" cy="888"/>
            </a:xfrm>
            <a:prstGeom prst="rect">
              <a:avLst/>
            </a:prstGeom>
            <a:solidFill>
              <a:srgbClr val="00A1DE"/>
            </a:solidFill>
            <a:ln w="9525" algn="ctr">
              <a:solidFill>
                <a:srgbClr val="FFFFFF"/>
              </a:solidFill>
              <a:miter lim="800000"/>
              <a:headEnd/>
              <a:tailEnd/>
            </a:ln>
          </p:spPr>
          <p:txBody>
            <a:bodyPr lIns="27000" tIns="54000" rIns="27000" bIns="27000" anchorCtr="1"/>
            <a:lstStyle/>
            <a:p>
              <a:pPr algn="ctr" defTabSz="685800">
                <a:buClrTx/>
              </a:pPr>
              <a:r>
                <a:rPr lang="en-US" altLang="ja-JP" sz="1050" b="1" kern="1200" dirty="0">
                  <a:solidFill>
                    <a:prstClr val="white"/>
                  </a:solidFill>
                  <a:ea typeface="ＭＳ Ｐゴシック" charset="-128"/>
                  <a:cs typeface="+mn-cs"/>
                </a:rPr>
                <a:t>Title</a:t>
              </a:r>
              <a:endParaRPr lang="en-US" altLang="ja-JP" sz="1050" kern="1200" dirty="0">
                <a:solidFill>
                  <a:prstClr val="white"/>
                </a:solidFill>
                <a:ea typeface="ＭＳ Ｐゴシック" charset="-128"/>
                <a:cs typeface="+mn-cs"/>
              </a:endParaRPr>
            </a:p>
            <a:p>
              <a:pPr algn="ctr" defTabSz="685800">
                <a:buClrTx/>
              </a:pPr>
              <a:endParaRPr lang="en-US" altLang="ja-JP" sz="1050" kern="1200" dirty="0">
                <a:solidFill>
                  <a:prstClr val="white"/>
                </a:solidFill>
                <a:ea typeface="ＭＳ Ｐゴシック" charset="-128"/>
                <a:cs typeface="+mn-cs"/>
              </a:endParaRPr>
            </a:p>
            <a:p>
              <a:pPr algn="ctr" defTabSz="685800">
                <a:buClrTx/>
              </a:pPr>
              <a:r>
                <a:rPr lang="en-US" altLang="ja-JP" sz="1050" kern="1200" dirty="0">
                  <a:solidFill>
                    <a:prstClr val="white"/>
                  </a:solidFill>
                  <a:ea typeface="ＭＳ Ｐゴシック" charset="-128"/>
                  <a:cs typeface="+mn-cs"/>
                </a:rPr>
                <a:t>Text </a:t>
              </a:r>
            </a:p>
          </p:txBody>
        </p:sp>
        <p:sp>
          <p:nvSpPr>
            <p:cNvPr id="691230" name="Rectangle 7"/>
            <p:cNvSpPr>
              <a:spLocks noChangeArrowheads="1"/>
            </p:cNvSpPr>
            <p:nvPr/>
          </p:nvSpPr>
          <p:spPr bwMode="auto">
            <a:xfrm>
              <a:off x="1727" y="1382"/>
              <a:ext cx="1258" cy="888"/>
            </a:xfrm>
            <a:prstGeom prst="rect">
              <a:avLst/>
            </a:prstGeom>
            <a:solidFill>
              <a:srgbClr val="B4B4B4"/>
            </a:solidFill>
            <a:ln w="9525" algn="ctr">
              <a:solidFill>
                <a:srgbClr val="FFFFFF"/>
              </a:solidFill>
              <a:miter lim="800000"/>
              <a:headEnd/>
              <a:tailEnd/>
            </a:ln>
          </p:spPr>
          <p:txBody>
            <a:bodyPr lIns="27000" tIns="54000" rIns="27000" bIns="27000" anchorCtr="1"/>
            <a:lstStyle/>
            <a:p>
              <a:pPr algn="ctr" defTabSz="685800">
                <a:buClrTx/>
              </a:pPr>
              <a:r>
                <a:rPr lang="en-US" altLang="ja-JP" sz="1050" b="1" kern="1200" dirty="0">
                  <a:solidFill>
                    <a:srgbClr val="313131"/>
                  </a:solidFill>
                  <a:ea typeface="ＭＳ Ｐゴシック" charset="-128"/>
                  <a:cs typeface="+mn-cs"/>
                </a:rPr>
                <a:t>Title</a:t>
              </a:r>
              <a:endParaRPr lang="en-US" altLang="ja-JP" sz="1050" kern="1200" dirty="0">
                <a:solidFill>
                  <a:srgbClr val="313131"/>
                </a:solidFill>
                <a:ea typeface="ＭＳ Ｐゴシック" charset="-128"/>
                <a:cs typeface="+mn-cs"/>
              </a:endParaRPr>
            </a:p>
            <a:p>
              <a:pPr algn="ctr" defTabSz="685800">
                <a:buClrTx/>
              </a:pPr>
              <a:endParaRPr lang="en-US" altLang="ja-JP" sz="1050" kern="1200" dirty="0">
                <a:solidFill>
                  <a:srgbClr val="313131"/>
                </a:solidFill>
                <a:ea typeface="ＭＳ Ｐゴシック" charset="-128"/>
                <a:cs typeface="+mn-cs"/>
              </a:endParaRPr>
            </a:p>
            <a:p>
              <a:pPr algn="ctr" defTabSz="685800">
                <a:buClrTx/>
              </a:pPr>
              <a:r>
                <a:rPr lang="en-US" altLang="ja-JP" sz="1050" kern="1200" dirty="0">
                  <a:solidFill>
                    <a:srgbClr val="313131"/>
                  </a:solidFill>
                  <a:ea typeface="ＭＳ Ｐゴシック" charset="-128"/>
                  <a:cs typeface="+mn-cs"/>
                </a:rPr>
                <a:t>Text</a:t>
              </a:r>
            </a:p>
          </p:txBody>
        </p:sp>
      </p:grpSp>
      <p:sp>
        <p:nvSpPr>
          <p:cNvPr id="691204" name="Text Box 8"/>
          <p:cNvSpPr txBox="1">
            <a:spLocks noChangeAspect="1" noChangeArrowheads="1"/>
          </p:cNvSpPr>
          <p:nvPr/>
        </p:nvSpPr>
        <p:spPr bwMode="auto">
          <a:xfrm rot="-5400000">
            <a:off x="1279399" y="2292870"/>
            <a:ext cx="559449" cy="115416"/>
          </a:xfrm>
          <a:prstGeom prst="rect">
            <a:avLst/>
          </a:prstGeom>
          <a:noFill/>
          <a:ln w="9525">
            <a:noFill/>
            <a:miter lim="800000"/>
            <a:headEnd/>
            <a:tailEnd/>
          </a:ln>
        </p:spPr>
        <p:txBody>
          <a:bodyPr wrap="none" lIns="0" tIns="0" rIns="0" bIns="0">
            <a:spAutoFit/>
          </a:bodyPr>
          <a:lstStyle/>
          <a:p>
            <a:pPr algn="ctr" defTabSz="685800">
              <a:buClrTx/>
            </a:pPr>
            <a:r>
              <a:rPr lang="en-US" sz="750" b="1" kern="1200" dirty="0">
                <a:solidFill>
                  <a:srgbClr val="262626"/>
                </a:solidFill>
                <a:ea typeface="ＭＳ Ｐゴシック" charset="-128"/>
                <a:cs typeface="+mn-cs"/>
              </a:rPr>
              <a:t>Vertical axis</a:t>
            </a:r>
          </a:p>
        </p:txBody>
      </p:sp>
      <p:sp>
        <p:nvSpPr>
          <p:cNvPr id="691205" name="Text Box 9"/>
          <p:cNvSpPr txBox="1">
            <a:spLocks noChangeAspect="1" noChangeArrowheads="1"/>
          </p:cNvSpPr>
          <p:nvPr/>
        </p:nvSpPr>
        <p:spPr bwMode="auto">
          <a:xfrm>
            <a:off x="1448838" y="1131570"/>
            <a:ext cx="195567" cy="115416"/>
          </a:xfrm>
          <a:prstGeom prst="rect">
            <a:avLst/>
          </a:prstGeom>
          <a:noFill/>
          <a:ln w="9525">
            <a:noFill/>
            <a:miter lim="800000"/>
            <a:headEnd/>
            <a:tailEnd/>
          </a:ln>
        </p:spPr>
        <p:txBody>
          <a:bodyPr wrap="none" lIns="0" tIns="0" rIns="0" bIns="0">
            <a:spAutoFit/>
          </a:bodyPr>
          <a:lstStyle/>
          <a:p>
            <a:pPr algn="ctr" defTabSz="685800">
              <a:buClrTx/>
            </a:pPr>
            <a:r>
              <a:rPr lang="en-US" sz="750" kern="1200" dirty="0">
                <a:solidFill>
                  <a:srgbClr val="313131"/>
                </a:solidFill>
                <a:ea typeface="ＭＳ Ｐゴシック" charset="-128"/>
                <a:cs typeface="+mn-cs"/>
              </a:rPr>
              <a:t>High</a:t>
            </a:r>
          </a:p>
        </p:txBody>
      </p:sp>
      <p:sp>
        <p:nvSpPr>
          <p:cNvPr id="691206" name="Text Box 10"/>
          <p:cNvSpPr txBox="1">
            <a:spLocks noChangeAspect="1" noChangeArrowheads="1"/>
          </p:cNvSpPr>
          <p:nvPr/>
        </p:nvSpPr>
        <p:spPr bwMode="auto">
          <a:xfrm>
            <a:off x="1802244" y="3600450"/>
            <a:ext cx="238848" cy="115416"/>
          </a:xfrm>
          <a:prstGeom prst="rect">
            <a:avLst/>
          </a:prstGeom>
          <a:noFill/>
          <a:ln w="9525">
            <a:noFill/>
            <a:miter lim="800000"/>
            <a:headEnd/>
            <a:tailEnd/>
          </a:ln>
        </p:spPr>
        <p:txBody>
          <a:bodyPr wrap="none" lIns="0" tIns="0" rIns="0" bIns="0">
            <a:spAutoFit/>
          </a:bodyPr>
          <a:lstStyle/>
          <a:p>
            <a:pPr algn="ctr" defTabSz="685800">
              <a:buClrTx/>
            </a:pPr>
            <a:r>
              <a:rPr lang="en-US" sz="750" kern="1200" dirty="0">
                <a:solidFill>
                  <a:srgbClr val="313131"/>
                </a:solidFill>
                <a:ea typeface="ＭＳ Ｐゴシック" charset="-128"/>
                <a:cs typeface="+mn-cs"/>
              </a:rPr>
              <a:t>Small</a:t>
            </a:r>
          </a:p>
        </p:txBody>
      </p:sp>
      <p:sp>
        <p:nvSpPr>
          <p:cNvPr id="691207" name="Text Box 11"/>
          <p:cNvSpPr txBox="1">
            <a:spLocks noChangeAspect="1" noChangeArrowheads="1"/>
          </p:cNvSpPr>
          <p:nvPr/>
        </p:nvSpPr>
        <p:spPr bwMode="auto">
          <a:xfrm>
            <a:off x="2745646" y="3600450"/>
            <a:ext cx="684483" cy="115416"/>
          </a:xfrm>
          <a:prstGeom prst="rect">
            <a:avLst/>
          </a:prstGeom>
          <a:noFill/>
          <a:ln w="9525">
            <a:noFill/>
            <a:miter lim="800000"/>
            <a:headEnd/>
            <a:tailEnd/>
          </a:ln>
        </p:spPr>
        <p:txBody>
          <a:bodyPr wrap="none" lIns="0" tIns="0" rIns="0" bIns="0">
            <a:spAutoFit/>
          </a:bodyPr>
          <a:lstStyle/>
          <a:p>
            <a:pPr algn="ctr" defTabSz="685800">
              <a:buClrTx/>
            </a:pPr>
            <a:r>
              <a:rPr lang="en-US" sz="750" b="1" kern="1200" dirty="0">
                <a:solidFill>
                  <a:srgbClr val="313131"/>
                </a:solidFill>
                <a:ea typeface="ＭＳ Ｐゴシック" charset="-128"/>
                <a:cs typeface="+mn-cs"/>
              </a:rPr>
              <a:t>Horizontal axis</a:t>
            </a:r>
          </a:p>
        </p:txBody>
      </p:sp>
      <p:sp>
        <p:nvSpPr>
          <p:cNvPr id="691208" name="Text Box 12"/>
          <p:cNvSpPr txBox="1">
            <a:spLocks noChangeAspect="1" noChangeArrowheads="1"/>
          </p:cNvSpPr>
          <p:nvPr/>
        </p:nvSpPr>
        <p:spPr bwMode="auto">
          <a:xfrm>
            <a:off x="1483071" y="3532585"/>
            <a:ext cx="174728" cy="115416"/>
          </a:xfrm>
          <a:prstGeom prst="rect">
            <a:avLst/>
          </a:prstGeom>
          <a:noFill/>
          <a:ln w="9525">
            <a:noFill/>
            <a:miter lim="800000"/>
            <a:headEnd/>
            <a:tailEnd/>
          </a:ln>
        </p:spPr>
        <p:txBody>
          <a:bodyPr wrap="none" lIns="0" tIns="0" rIns="0" bIns="0">
            <a:spAutoFit/>
          </a:bodyPr>
          <a:lstStyle/>
          <a:p>
            <a:pPr algn="ctr" defTabSz="685800">
              <a:buClrTx/>
            </a:pPr>
            <a:r>
              <a:rPr lang="en-US" sz="750" kern="1200" dirty="0">
                <a:solidFill>
                  <a:srgbClr val="313131"/>
                </a:solidFill>
                <a:ea typeface="ＭＳ Ｐゴシック" charset="-128"/>
                <a:cs typeface="+mn-cs"/>
              </a:rPr>
              <a:t>Low</a:t>
            </a:r>
          </a:p>
        </p:txBody>
      </p:sp>
      <p:sp>
        <p:nvSpPr>
          <p:cNvPr id="691209" name="Text Box 13"/>
          <p:cNvSpPr txBox="1">
            <a:spLocks noChangeAspect="1" noChangeArrowheads="1"/>
          </p:cNvSpPr>
          <p:nvPr/>
        </p:nvSpPr>
        <p:spPr bwMode="auto">
          <a:xfrm>
            <a:off x="4125726" y="3600450"/>
            <a:ext cx="243656" cy="115416"/>
          </a:xfrm>
          <a:prstGeom prst="rect">
            <a:avLst/>
          </a:prstGeom>
          <a:noFill/>
          <a:ln w="9525">
            <a:noFill/>
            <a:miter lim="800000"/>
            <a:headEnd/>
            <a:tailEnd/>
          </a:ln>
        </p:spPr>
        <p:txBody>
          <a:bodyPr wrap="none" lIns="0" tIns="0" rIns="0" bIns="0">
            <a:spAutoFit/>
          </a:bodyPr>
          <a:lstStyle/>
          <a:p>
            <a:pPr algn="ctr" defTabSz="685800">
              <a:buClrTx/>
            </a:pPr>
            <a:r>
              <a:rPr lang="en-US" sz="750" kern="1200">
                <a:solidFill>
                  <a:srgbClr val="313131"/>
                </a:solidFill>
                <a:ea typeface="ＭＳ Ｐゴシック" charset="-128"/>
                <a:cs typeface="+mn-cs"/>
              </a:rPr>
              <a:t>Large</a:t>
            </a:r>
          </a:p>
        </p:txBody>
      </p:sp>
      <p:grpSp>
        <p:nvGrpSpPr>
          <p:cNvPr id="691210" name="Group 44"/>
          <p:cNvGrpSpPr>
            <a:grpSpLocks/>
          </p:cNvGrpSpPr>
          <p:nvPr/>
        </p:nvGrpSpPr>
        <p:grpSpPr bwMode="auto">
          <a:xfrm>
            <a:off x="4954192" y="1371601"/>
            <a:ext cx="2764631" cy="2116931"/>
            <a:chOff x="5505152" y="2133600"/>
            <a:chExt cx="3992563" cy="2881313"/>
          </a:xfrm>
        </p:grpSpPr>
        <p:sp>
          <p:nvSpPr>
            <p:cNvPr id="23" name="Rectangle 21"/>
            <p:cNvSpPr>
              <a:spLocks noChangeArrowheads="1"/>
            </p:cNvSpPr>
            <p:nvPr/>
          </p:nvSpPr>
          <p:spPr bwMode="auto">
            <a:xfrm>
              <a:off x="6834286" y="4040970"/>
              <a:ext cx="1330854" cy="973943"/>
            </a:xfrm>
            <a:prstGeom prst="rect">
              <a:avLst/>
            </a:prstGeom>
            <a:solidFill>
              <a:srgbClr val="B4B4B4"/>
            </a:solidFill>
            <a:ln w="9525">
              <a:solidFill>
                <a:schemeClr val="bg1"/>
              </a:solidFill>
              <a:miter lim="800000"/>
              <a:headEnd/>
              <a:tailEnd/>
            </a:ln>
          </p:spPr>
          <p:txBody>
            <a:bodyPr lIns="27000" tIns="54000" rIns="27000" bIns="27000" anchorCtr="1"/>
            <a:lstStyle/>
            <a:p>
              <a:pPr algn="ctr" defTabSz="685800">
                <a:buClrTx/>
                <a:defRPr/>
              </a:pPr>
              <a:r>
                <a:rPr lang="en-US" altLang="ja-JP" sz="1050" b="1" kern="1200" dirty="0">
                  <a:solidFill>
                    <a:srgbClr val="313131"/>
                  </a:solidFill>
                  <a:ea typeface="ＭＳ Ｐゴシック" pitchFamily="50" charset="-128"/>
                  <a:cs typeface="+mn-cs"/>
                </a:rPr>
                <a:t>Title</a:t>
              </a:r>
              <a:endParaRPr lang="en-US" altLang="ja-JP" sz="1050" kern="1200" dirty="0">
                <a:solidFill>
                  <a:srgbClr val="313131"/>
                </a:solidFill>
                <a:ea typeface="ＭＳ Ｐゴシック" pitchFamily="50" charset="-128"/>
                <a:cs typeface="+mn-cs"/>
              </a:endParaRPr>
            </a:p>
            <a:p>
              <a:pPr algn="ctr" defTabSz="685800">
                <a:buClrTx/>
                <a:defRPr/>
              </a:pPr>
              <a:endParaRPr lang="en-US" altLang="ja-JP" sz="1050" kern="1200" dirty="0">
                <a:solidFill>
                  <a:srgbClr val="313131"/>
                </a:solidFill>
                <a:ea typeface="ＭＳ Ｐゴシック" pitchFamily="50" charset="-128"/>
                <a:cs typeface="+mn-cs"/>
              </a:endParaRPr>
            </a:p>
            <a:p>
              <a:pPr algn="ctr" defTabSz="685800">
                <a:buClrTx/>
                <a:defRPr/>
              </a:pPr>
              <a:r>
                <a:rPr lang="en-US" altLang="ja-JP" sz="1050" kern="1200" dirty="0">
                  <a:solidFill>
                    <a:srgbClr val="313131"/>
                  </a:solidFill>
                  <a:ea typeface="ＭＳ Ｐゴシック" pitchFamily="50" charset="-128"/>
                  <a:cs typeface="+mn-cs"/>
                </a:rPr>
                <a:t>Text</a:t>
              </a:r>
            </a:p>
          </p:txBody>
        </p:sp>
        <p:sp>
          <p:nvSpPr>
            <p:cNvPr id="24" name="Rectangle 22"/>
            <p:cNvSpPr>
              <a:spLocks noChangeArrowheads="1"/>
            </p:cNvSpPr>
            <p:nvPr/>
          </p:nvSpPr>
          <p:spPr bwMode="auto">
            <a:xfrm>
              <a:off x="5505152" y="4040970"/>
              <a:ext cx="1329134" cy="973943"/>
            </a:xfrm>
            <a:prstGeom prst="rect">
              <a:avLst/>
            </a:prstGeom>
            <a:solidFill>
              <a:srgbClr val="DCDCDC"/>
            </a:solidFill>
            <a:ln w="9525" algn="ctr">
              <a:solidFill>
                <a:schemeClr val="bg1"/>
              </a:solidFill>
              <a:miter lim="800000"/>
              <a:headEnd/>
              <a:tailEnd/>
            </a:ln>
          </p:spPr>
          <p:txBody>
            <a:bodyPr lIns="27000" tIns="54000" rIns="27000" bIns="27000" anchorCtr="1"/>
            <a:lstStyle/>
            <a:p>
              <a:pPr algn="ctr" defTabSz="685800">
                <a:buClrTx/>
                <a:defRPr/>
              </a:pPr>
              <a:r>
                <a:rPr lang="en-US" altLang="ja-JP" sz="1050" b="1" kern="1200" dirty="0">
                  <a:solidFill>
                    <a:srgbClr val="313131"/>
                  </a:solidFill>
                  <a:ea typeface="ＭＳ Ｐゴシック" pitchFamily="50" charset="-128"/>
                  <a:cs typeface="+mn-cs"/>
                </a:rPr>
                <a:t>Title</a:t>
              </a:r>
              <a:endParaRPr lang="en-US" altLang="ja-JP" sz="1050" kern="1200" dirty="0">
                <a:solidFill>
                  <a:srgbClr val="313131"/>
                </a:solidFill>
                <a:ea typeface="ＭＳ Ｐゴシック" pitchFamily="50" charset="-128"/>
                <a:cs typeface="+mn-cs"/>
              </a:endParaRPr>
            </a:p>
            <a:p>
              <a:pPr algn="ctr" defTabSz="685800">
                <a:buClrTx/>
                <a:defRPr/>
              </a:pPr>
              <a:endParaRPr lang="en-US" altLang="ja-JP" sz="1050" kern="1200" dirty="0">
                <a:solidFill>
                  <a:srgbClr val="313131"/>
                </a:solidFill>
                <a:ea typeface="ＭＳ Ｐゴシック" pitchFamily="50" charset="-128"/>
                <a:cs typeface="+mn-cs"/>
              </a:endParaRPr>
            </a:p>
            <a:p>
              <a:pPr algn="ctr" defTabSz="685800">
                <a:buClrTx/>
                <a:defRPr/>
              </a:pPr>
              <a:r>
                <a:rPr lang="en-US" altLang="ja-JP" sz="1050" kern="1200" dirty="0">
                  <a:solidFill>
                    <a:srgbClr val="313131"/>
                  </a:solidFill>
                  <a:ea typeface="ＭＳ Ｐゴシック" pitchFamily="50" charset="-128"/>
                  <a:cs typeface="+mn-cs"/>
                </a:rPr>
                <a:t>Text</a:t>
              </a:r>
            </a:p>
          </p:txBody>
        </p:sp>
        <p:sp>
          <p:nvSpPr>
            <p:cNvPr id="25" name="Rectangle 23"/>
            <p:cNvSpPr>
              <a:spLocks noChangeArrowheads="1"/>
            </p:cNvSpPr>
            <p:nvPr/>
          </p:nvSpPr>
          <p:spPr bwMode="auto">
            <a:xfrm>
              <a:off x="5505152" y="3068649"/>
              <a:ext cx="1329134" cy="972322"/>
            </a:xfrm>
            <a:prstGeom prst="rect">
              <a:avLst/>
            </a:prstGeom>
            <a:solidFill>
              <a:srgbClr val="8C8C8C"/>
            </a:solidFill>
            <a:ln w="9525" algn="ctr">
              <a:solidFill>
                <a:schemeClr val="bg1"/>
              </a:solidFill>
              <a:miter lim="800000"/>
              <a:headEnd/>
              <a:tailEnd/>
            </a:ln>
          </p:spPr>
          <p:txBody>
            <a:bodyPr lIns="27000" tIns="54000" rIns="27000" bIns="27000" anchorCtr="1"/>
            <a:lstStyle/>
            <a:p>
              <a:pPr algn="ctr" defTabSz="685800">
                <a:buClrTx/>
                <a:defRPr/>
              </a:pPr>
              <a:r>
                <a:rPr lang="en-US" altLang="ja-JP" sz="1050" b="1" kern="1200" dirty="0">
                  <a:solidFill>
                    <a:prstClr val="white"/>
                  </a:solidFill>
                  <a:ea typeface="ＭＳ Ｐゴシック" pitchFamily="50" charset="-128"/>
                  <a:cs typeface="+mn-cs"/>
                </a:rPr>
                <a:t>Title</a:t>
              </a:r>
              <a:endParaRPr lang="en-US" altLang="ja-JP" sz="1050" kern="1200" dirty="0">
                <a:solidFill>
                  <a:prstClr val="white"/>
                </a:solidFill>
                <a:ea typeface="ＭＳ Ｐゴシック" pitchFamily="50" charset="-128"/>
                <a:cs typeface="+mn-cs"/>
              </a:endParaRPr>
            </a:p>
            <a:p>
              <a:pPr algn="ctr" defTabSz="685800">
                <a:buClrTx/>
                <a:defRPr/>
              </a:pPr>
              <a:endParaRPr lang="en-US" altLang="ja-JP" sz="1050" kern="1200" dirty="0">
                <a:solidFill>
                  <a:prstClr val="white"/>
                </a:solidFill>
                <a:ea typeface="ＭＳ Ｐゴシック" pitchFamily="50" charset="-128"/>
                <a:cs typeface="+mn-cs"/>
              </a:endParaRPr>
            </a:p>
            <a:p>
              <a:pPr algn="ctr" defTabSz="685800">
                <a:buClrTx/>
                <a:defRPr/>
              </a:pPr>
              <a:r>
                <a:rPr lang="en-US" altLang="ja-JP" sz="1050" kern="1200" dirty="0">
                  <a:solidFill>
                    <a:prstClr val="white"/>
                  </a:solidFill>
                  <a:ea typeface="ＭＳ Ｐゴシック" pitchFamily="50" charset="-128"/>
                  <a:cs typeface="+mn-cs"/>
                </a:rPr>
                <a:t>Text </a:t>
              </a:r>
            </a:p>
          </p:txBody>
        </p:sp>
        <p:sp>
          <p:nvSpPr>
            <p:cNvPr id="26" name="Rectangle 24"/>
            <p:cNvSpPr>
              <a:spLocks noChangeArrowheads="1"/>
            </p:cNvSpPr>
            <p:nvPr/>
          </p:nvSpPr>
          <p:spPr bwMode="auto">
            <a:xfrm>
              <a:off x="6834286" y="3068649"/>
              <a:ext cx="1330854" cy="972322"/>
            </a:xfrm>
            <a:prstGeom prst="rect">
              <a:avLst/>
            </a:prstGeom>
            <a:solidFill>
              <a:srgbClr val="313131"/>
            </a:solidFill>
            <a:ln w="9525" algn="ctr">
              <a:solidFill>
                <a:schemeClr val="bg1"/>
              </a:solidFill>
              <a:miter lim="800000"/>
              <a:headEnd/>
              <a:tailEnd/>
            </a:ln>
          </p:spPr>
          <p:txBody>
            <a:bodyPr lIns="27000" tIns="54000" rIns="27000" bIns="27000" anchorCtr="1"/>
            <a:lstStyle/>
            <a:p>
              <a:pPr algn="ctr" defTabSz="685800">
                <a:buClrTx/>
                <a:defRPr/>
              </a:pPr>
              <a:r>
                <a:rPr lang="en-US" altLang="ja-JP" sz="1050" b="1" kern="1200" dirty="0">
                  <a:solidFill>
                    <a:prstClr val="white"/>
                  </a:solidFill>
                  <a:ea typeface="ＭＳ Ｐゴシック" pitchFamily="50" charset="-128"/>
                  <a:cs typeface="+mn-cs"/>
                </a:rPr>
                <a:t>Title</a:t>
              </a:r>
              <a:endParaRPr lang="en-US" altLang="ja-JP" sz="1050" kern="1200" dirty="0">
                <a:solidFill>
                  <a:prstClr val="white"/>
                </a:solidFill>
                <a:ea typeface="ＭＳ Ｐゴシック" pitchFamily="50" charset="-128"/>
                <a:cs typeface="+mn-cs"/>
              </a:endParaRPr>
            </a:p>
            <a:p>
              <a:pPr algn="ctr" defTabSz="685800">
                <a:buClrTx/>
                <a:defRPr/>
              </a:pPr>
              <a:endParaRPr lang="en-US" altLang="ja-JP" sz="1050" kern="1200" dirty="0">
                <a:solidFill>
                  <a:prstClr val="white"/>
                </a:solidFill>
                <a:ea typeface="ＭＳ Ｐゴシック" pitchFamily="50" charset="-128"/>
                <a:cs typeface="+mn-cs"/>
              </a:endParaRPr>
            </a:p>
            <a:p>
              <a:pPr algn="ctr" defTabSz="685800">
                <a:buClrTx/>
                <a:defRPr/>
              </a:pPr>
              <a:r>
                <a:rPr lang="en-US" altLang="ja-JP" sz="1050" kern="1200" dirty="0">
                  <a:solidFill>
                    <a:prstClr val="white"/>
                  </a:solidFill>
                  <a:ea typeface="ＭＳ Ｐゴシック" pitchFamily="50" charset="-128"/>
                  <a:cs typeface="+mn-cs"/>
                </a:rPr>
                <a:t>Text</a:t>
              </a:r>
            </a:p>
          </p:txBody>
        </p:sp>
        <p:sp>
          <p:nvSpPr>
            <p:cNvPr id="691222" name="Rectangle 25"/>
            <p:cNvSpPr>
              <a:spLocks noChangeArrowheads="1"/>
            </p:cNvSpPr>
            <p:nvPr/>
          </p:nvSpPr>
          <p:spPr bwMode="auto">
            <a:xfrm>
              <a:off x="5505152" y="2133600"/>
              <a:ext cx="1328738" cy="973138"/>
            </a:xfrm>
            <a:prstGeom prst="rect">
              <a:avLst/>
            </a:prstGeom>
            <a:solidFill>
              <a:srgbClr val="00A1DE"/>
            </a:solidFill>
            <a:ln w="9525" algn="ctr">
              <a:solidFill>
                <a:schemeClr val="bg1"/>
              </a:solidFill>
              <a:miter lim="800000"/>
              <a:headEnd/>
              <a:tailEnd/>
            </a:ln>
          </p:spPr>
          <p:txBody>
            <a:bodyPr lIns="27000" tIns="54000" rIns="27000" bIns="27000" anchorCtr="1"/>
            <a:lstStyle/>
            <a:p>
              <a:pPr algn="ctr" defTabSz="685800">
                <a:buClrTx/>
              </a:pPr>
              <a:r>
                <a:rPr lang="en-US" altLang="ja-JP" sz="1050" b="1" kern="1200" dirty="0">
                  <a:solidFill>
                    <a:prstClr val="white"/>
                  </a:solidFill>
                  <a:ea typeface="ＭＳ Ｐゴシック" charset="-128"/>
                  <a:cs typeface="+mn-cs"/>
                </a:rPr>
                <a:t>Title</a:t>
              </a:r>
              <a:endParaRPr lang="en-US" altLang="ja-JP" sz="1050" kern="1200" dirty="0">
                <a:solidFill>
                  <a:prstClr val="white"/>
                </a:solidFill>
                <a:ea typeface="ＭＳ Ｐゴシック" charset="-128"/>
                <a:cs typeface="+mn-cs"/>
              </a:endParaRPr>
            </a:p>
            <a:p>
              <a:pPr algn="ctr" defTabSz="685800">
                <a:buClrTx/>
              </a:pPr>
              <a:endParaRPr lang="en-US" altLang="ja-JP" sz="1050" kern="1200" dirty="0">
                <a:solidFill>
                  <a:prstClr val="white"/>
                </a:solidFill>
                <a:ea typeface="ＭＳ Ｐゴシック" charset="-128"/>
                <a:cs typeface="+mn-cs"/>
              </a:endParaRPr>
            </a:p>
            <a:p>
              <a:pPr algn="ctr" defTabSz="685800">
                <a:buClrTx/>
              </a:pPr>
              <a:r>
                <a:rPr lang="en-US" altLang="ja-JP" sz="1050" kern="1200" dirty="0">
                  <a:solidFill>
                    <a:prstClr val="white"/>
                  </a:solidFill>
                  <a:ea typeface="ＭＳ Ｐゴシック" charset="-128"/>
                  <a:cs typeface="+mn-cs"/>
                </a:rPr>
                <a:t>Text </a:t>
              </a:r>
            </a:p>
          </p:txBody>
        </p:sp>
        <p:sp>
          <p:nvSpPr>
            <p:cNvPr id="691223" name="Rectangle 26"/>
            <p:cNvSpPr>
              <a:spLocks noChangeArrowheads="1"/>
            </p:cNvSpPr>
            <p:nvPr/>
          </p:nvSpPr>
          <p:spPr bwMode="auto">
            <a:xfrm>
              <a:off x="6833890" y="2133600"/>
              <a:ext cx="1331913" cy="973138"/>
            </a:xfrm>
            <a:prstGeom prst="rect">
              <a:avLst/>
            </a:prstGeom>
            <a:solidFill>
              <a:srgbClr val="DCDCDC"/>
            </a:solidFill>
            <a:ln w="9525" algn="ctr">
              <a:solidFill>
                <a:schemeClr val="bg1"/>
              </a:solidFill>
              <a:miter lim="800000"/>
              <a:headEnd/>
              <a:tailEnd/>
            </a:ln>
          </p:spPr>
          <p:txBody>
            <a:bodyPr lIns="27000" tIns="54000" rIns="27000" bIns="27000" anchorCtr="1"/>
            <a:lstStyle/>
            <a:p>
              <a:pPr algn="ctr" defTabSz="685800">
                <a:buClrTx/>
              </a:pPr>
              <a:r>
                <a:rPr lang="en-US" altLang="ja-JP" sz="1050" b="1" kern="1200" dirty="0">
                  <a:solidFill>
                    <a:srgbClr val="313131"/>
                  </a:solidFill>
                  <a:ea typeface="ＭＳ Ｐゴシック" charset="-128"/>
                  <a:cs typeface="+mn-cs"/>
                </a:rPr>
                <a:t>Title</a:t>
              </a:r>
              <a:endParaRPr lang="en-US" altLang="ja-JP" sz="1050" kern="1200" dirty="0">
                <a:solidFill>
                  <a:srgbClr val="313131"/>
                </a:solidFill>
                <a:ea typeface="ＭＳ Ｐゴシック" charset="-128"/>
                <a:cs typeface="+mn-cs"/>
              </a:endParaRPr>
            </a:p>
            <a:p>
              <a:pPr algn="ctr" defTabSz="685800">
                <a:buClrTx/>
              </a:pPr>
              <a:endParaRPr lang="en-US" altLang="ja-JP" sz="1050" kern="1200" dirty="0">
                <a:solidFill>
                  <a:srgbClr val="313131"/>
                </a:solidFill>
                <a:ea typeface="ＭＳ Ｐゴシック" charset="-128"/>
                <a:cs typeface="+mn-cs"/>
              </a:endParaRPr>
            </a:p>
            <a:p>
              <a:pPr algn="ctr" defTabSz="685800">
                <a:buClrTx/>
              </a:pPr>
              <a:r>
                <a:rPr lang="en-US" altLang="ja-JP" sz="1050" kern="1200" dirty="0">
                  <a:solidFill>
                    <a:srgbClr val="313131"/>
                  </a:solidFill>
                  <a:ea typeface="ＭＳ Ｐゴシック" charset="-128"/>
                  <a:cs typeface="+mn-cs"/>
                </a:rPr>
                <a:t>Text</a:t>
              </a:r>
            </a:p>
          </p:txBody>
        </p:sp>
        <p:sp>
          <p:nvSpPr>
            <p:cNvPr id="29" name="Rectangle 27"/>
            <p:cNvSpPr>
              <a:spLocks noChangeArrowheads="1"/>
            </p:cNvSpPr>
            <p:nvPr/>
          </p:nvSpPr>
          <p:spPr bwMode="auto">
            <a:xfrm>
              <a:off x="8166861" y="4040970"/>
              <a:ext cx="1330854" cy="973943"/>
            </a:xfrm>
            <a:prstGeom prst="rect">
              <a:avLst/>
            </a:prstGeom>
            <a:solidFill>
              <a:srgbClr val="8C8C8C"/>
            </a:solidFill>
            <a:ln w="9525">
              <a:solidFill>
                <a:schemeClr val="bg1"/>
              </a:solidFill>
              <a:miter lim="800000"/>
              <a:headEnd/>
              <a:tailEnd/>
            </a:ln>
          </p:spPr>
          <p:txBody>
            <a:bodyPr lIns="27000" tIns="54000" rIns="27000" bIns="27000" anchorCtr="1"/>
            <a:lstStyle/>
            <a:p>
              <a:pPr algn="ctr" defTabSz="685800">
                <a:buClrTx/>
                <a:defRPr/>
              </a:pPr>
              <a:r>
                <a:rPr lang="en-US" altLang="ja-JP" sz="1050" b="1" kern="1200" dirty="0">
                  <a:solidFill>
                    <a:prstClr val="white"/>
                  </a:solidFill>
                  <a:ea typeface="ＭＳ Ｐゴシック" pitchFamily="50" charset="-128"/>
                  <a:cs typeface="+mn-cs"/>
                </a:rPr>
                <a:t>Title</a:t>
              </a:r>
              <a:endParaRPr lang="en-US" altLang="ja-JP" sz="1050" kern="1200" dirty="0">
                <a:solidFill>
                  <a:prstClr val="white"/>
                </a:solidFill>
                <a:ea typeface="ＭＳ Ｐゴシック" pitchFamily="50" charset="-128"/>
                <a:cs typeface="+mn-cs"/>
              </a:endParaRPr>
            </a:p>
            <a:p>
              <a:pPr algn="ctr" defTabSz="685800">
                <a:buClrTx/>
                <a:defRPr/>
              </a:pPr>
              <a:endParaRPr lang="en-US" altLang="ja-JP" sz="1050" kern="1200" dirty="0">
                <a:solidFill>
                  <a:prstClr val="white"/>
                </a:solidFill>
                <a:ea typeface="ＭＳ Ｐゴシック" pitchFamily="50" charset="-128"/>
                <a:cs typeface="+mn-cs"/>
              </a:endParaRPr>
            </a:p>
            <a:p>
              <a:pPr algn="ctr" defTabSz="685800">
                <a:buClrTx/>
                <a:defRPr/>
              </a:pPr>
              <a:r>
                <a:rPr lang="en-US" altLang="ja-JP" sz="1050" kern="1200" dirty="0">
                  <a:solidFill>
                    <a:prstClr val="white"/>
                  </a:solidFill>
                  <a:ea typeface="ＭＳ Ｐゴシック" pitchFamily="50" charset="-128"/>
                  <a:cs typeface="+mn-cs"/>
                </a:rPr>
                <a:t>Text</a:t>
              </a:r>
            </a:p>
          </p:txBody>
        </p:sp>
        <p:sp>
          <p:nvSpPr>
            <p:cNvPr id="30" name="Rectangle 28"/>
            <p:cNvSpPr>
              <a:spLocks noChangeArrowheads="1"/>
            </p:cNvSpPr>
            <p:nvPr/>
          </p:nvSpPr>
          <p:spPr bwMode="auto">
            <a:xfrm>
              <a:off x="8166861" y="3068649"/>
              <a:ext cx="1330854" cy="972322"/>
            </a:xfrm>
            <a:prstGeom prst="rect">
              <a:avLst/>
            </a:prstGeom>
            <a:solidFill>
              <a:srgbClr val="81BC00"/>
            </a:solidFill>
            <a:ln w="9525" algn="ctr">
              <a:solidFill>
                <a:schemeClr val="bg1"/>
              </a:solidFill>
              <a:miter lim="800000"/>
              <a:headEnd/>
              <a:tailEnd/>
            </a:ln>
          </p:spPr>
          <p:txBody>
            <a:bodyPr lIns="27000" tIns="54000" rIns="27000" bIns="27000" anchorCtr="1"/>
            <a:lstStyle/>
            <a:p>
              <a:pPr algn="ctr" defTabSz="685800">
                <a:buClrTx/>
                <a:defRPr/>
              </a:pPr>
              <a:r>
                <a:rPr lang="en-US" altLang="ja-JP" sz="1050" b="1" kern="1200" dirty="0">
                  <a:solidFill>
                    <a:prstClr val="white"/>
                  </a:solidFill>
                  <a:ea typeface="ＭＳ Ｐゴシック" pitchFamily="50" charset="-128"/>
                  <a:cs typeface="+mn-cs"/>
                </a:rPr>
                <a:t>Title</a:t>
              </a:r>
              <a:endParaRPr lang="en-US" altLang="ja-JP" sz="1050" kern="1200" dirty="0">
                <a:solidFill>
                  <a:prstClr val="white"/>
                </a:solidFill>
                <a:ea typeface="ＭＳ Ｐゴシック" pitchFamily="50" charset="-128"/>
                <a:cs typeface="+mn-cs"/>
              </a:endParaRPr>
            </a:p>
            <a:p>
              <a:pPr algn="ctr" defTabSz="685800">
                <a:buClrTx/>
                <a:defRPr/>
              </a:pPr>
              <a:endParaRPr lang="en-US" altLang="ja-JP" sz="1050" kern="1200" dirty="0">
                <a:solidFill>
                  <a:prstClr val="white"/>
                </a:solidFill>
                <a:ea typeface="ＭＳ Ｐゴシック" pitchFamily="50" charset="-128"/>
                <a:cs typeface="+mn-cs"/>
              </a:endParaRPr>
            </a:p>
            <a:p>
              <a:pPr algn="ctr" defTabSz="685800">
                <a:buClrTx/>
                <a:defRPr/>
              </a:pPr>
              <a:r>
                <a:rPr lang="en-US" altLang="ja-JP" sz="1050" kern="1200" dirty="0">
                  <a:solidFill>
                    <a:prstClr val="white"/>
                  </a:solidFill>
                  <a:ea typeface="ＭＳ Ｐゴシック" pitchFamily="50" charset="-128"/>
                  <a:cs typeface="+mn-cs"/>
                </a:rPr>
                <a:t>Text</a:t>
              </a:r>
            </a:p>
          </p:txBody>
        </p:sp>
        <p:sp>
          <p:nvSpPr>
            <p:cNvPr id="31" name="Rectangle 29"/>
            <p:cNvSpPr>
              <a:spLocks noChangeArrowheads="1"/>
            </p:cNvSpPr>
            <p:nvPr/>
          </p:nvSpPr>
          <p:spPr bwMode="auto">
            <a:xfrm>
              <a:off x="8166861" y="2133600"/>
              <a:ext cx="1330854" cy="973942"/>
            </a:xfrm>
            <a:prstGeom prst="rect">
              <a:avLst/>
            </a:prstGeom>
            <a:solidFill>
              <a:srgbClr val="B4B4B4"/>
            </a:solidFill>
            <a:ln w="9525" algn="ctr">
              <a:solidFill>
                <a:schemeClr val="bg1"/>
              </a:solidFill>
              <a:miter lim="800000"/>
              <a:headEnd/>
              <a:tailEnd/>
            </a:ln>
          </p:spPr>
          <p:txBody>
            <a:bodyPr lIns="27000" tIns="54000" rIns="27000" bIns="27000" anchorCtr="1"/>
            <a:lstStyle/>
            <a:p>
              <a:pPr algn="ctr" defTabSz="685800">
                <a:buClrTx/>
                <a:defRPr/>
              </a:pPr>
              <a:r>
                <a:rPr lang="en-US" altLang="ja-JP" sz="1050" b="1" kern="1200" dirty="0">
                  <a:solidFill>
                    <a:srgbClr val="313131"/>
                  </a:solidFill>
                  <a:ea typeface="ＭＳ Ｐゴシック" pitchFamily="50" charset="-128"/>
                  <a:cs typeface="+mn-cs"/>
                </a:rPr>
                <a:t>Title</a:t>
              </a:r>
              <a:endParaRPr lang="en-US" altLang="ja-JP" sz="1050" kern="1200" dirty="0">
                <a:solidFill>
                  <a:srgbClr val="313131"/>
                </a:solidFill>
                <a:ea typeface="ＭＳ Ｐゴシック" pitchFamily="50" charset="-128"/>
                <a:cs typeface="+mn-cs"/>
              </a:endParaRPr>
            </a:p>
            <a:p>
              <a:pPr algn="ctr" defTabSz="685800">
                <a:buClrTx/>
                <a:defRPr/>
              </a:pPr>
              <a:endParaRPr lang="en-US" altLang="ja-JP" sz="1050" kern="1200" dirty="0">
                <a:solidFill>
                  <a:srgbClr val="313131"/>
                </a:solidFill>
                <a:ea typeface="ＭＳ Ｐゴシック" pitchFamily="50" charset="-128"/>
                <a:cs typeface="+mn-cs"/>
              </a:endParaRPr>
            </a:p>
            <a:p>
              <a:pPr algn="ctr" defTabSz="685800">
                <a:buClrTx/>
                <a:defRPr/>
              </a:pPr>
              <a:r>
                <a:rPr lang="en-US" altLang="ja-JP" sz="1050" kern="1200" dirty="0">
                  <a:solidFill>
                    <a:srgbClr val="313131"/>
                  </a:solidFill>
                  <a:ea typeface="ＭＳ Ｐゴシック" pitchFamily="50" charset="-128"/>
                  <a:cs typeface="+mn-cs"/>
                </a:rPr>
                <a:t>Text</a:t>
              </a:r>
            </a:p>
          </p:txBody>
        </p:sp>
      </p:grpSp>
      <p:sp>
        <p:nvSpPr>
          <p:cNvPr id="691211" name="Text Box 8"/>
          <p:cNvSpPr txBox="1">
            <a:spLocks noChangeAspect="1" noChangeArrowheads="1"/>
          </p:cNvSpPr>
          <p:nvPr/>
        </p:nvSpPr>
        <p:spPr bwMode="auto">
          <a:xfrm rot="-5400000">
            <a:off x="4516708" y="2292870"/>
            <a:ext cx="559449" cy="115416"/>
          </a:xfrm>
          <a:prstGeom prst="rect">
            <a:avLst/>
          </a:prstGeom>
          <a:noFill/>
          <a:ln w="9525">
            <a:noFill/>
            <a:miter lim="800000"/>
            <a:headEnd/>
            <a:tailEnd/>
          </a:ln>
        </p:spPr>
        <p:txBody>
          <a:bodyPr wrap="none" lIns="0" tIns="0" rIns="0" bIns="0">
            <a:spAutoFit/>
          </a:bodyPr>
          <a:lstStyle/>
          <a:p>
            <a:pPr algn="ctr" defTabSz="685800">
              <a:buClrTx/>
            </a:pPr>
            <a:r>
              <a:rPr lang="en-US" sz="750" b="1" kern="1200" dirty="0">
                <a:solidFill>
                  <a:srgbClr val="313131"/>
                </a:solidFill>
                <a:ea typeface="ＭＳ Ｐゴシック" charset="-128"/>
                <a:cs typeface="+mn-cs"/>
              </a:rPr>
              <a:t>Vertical axis</a:t>
            </a:r>
          </a:p>
        </p:txBody>
      </p:sp>
      <p:sp>
        <p:nvSpPr>
          <p:cNvPr id="691212" name="Text Box 9"/>
          <p:cNvSpPr txBox="1">
            <a:spLocks noChangeAspect="1" noChangeArrowheads="1"/>
          </p:cNvSpPr>
          <p:nvPr/>
        </p:nvSpPr>
        <p:spPr bwMode="auto">
          <a:xfrm>
            <a:off x="4686148" y="1131570"/>
            <a:ext cx="195567" cy="115416"/>
          </a:xfrm>
          <a:prstGeom prst="rect">
            <a:avLst/>
          </a:prstGeom>
          <a:noFill/>
          <a:ln w="9525">
            <a:noFill/>
            <a:miter lim="800000"/>
            <a:headEnd/>
            <a:tailEnd/>
          </a:ln>
        </p:spPr>
        <p:txBody>
          <a:bodyPr wrap="none" lIns="0" tIns="0" rIns="0" bIns="0">
            <a:spAutoFit/>
          </a:bodyPr>
          <a:lstStyle/>
          <a:p>
            <a:pPr algn="ctr" defTabSz="685800">
              <a:buClrTx/>
            </a:pPr>
            <a:r>
              <a:rPr lang="en-US" sz="750" kern="1200" dirty="0">
                <a:solidFill>
                  <a:srgbClr val="313131"/>
                </a:solidFill>
                <a:ea typeface="ＭＳ Ｐゴシック" charset="-128"/>
                <a:cs typeface="+mn-cs"/>
              </a:rPr>
              <a:t>High</a:t>
            </a:r>
          </a:p>
        </p:txBody>
      </p:sp>
      <p:sp>
        <p:nvSpPr>
          <p:cNvPr id="691213" name="Text Box 10"/>
          <p:cNvSpPr txBox="1">
            <a:spLocks noChangeAspect="1" noChangeArrowheads="1"/>
          </p:cNvSpPr>
          <p:nvPr/>
        </p:nvSpPr>
        <p:spPr bwMode="auto">
          <a:xfrm>
            <a:off x="5052650" y="3600450"/>
            <a:ext cx="238848" cy="115416"/>
          </a:xfrm>
          <a:prstGeom prst="rect">
            <a:avLst/>
          </a:prstGeom>
          <a:noFill/>
          <a:ln w="9525">
            <a:noFill/>
            <a:miter lim="800000"/>
            <a:headEnd/>
            <a:tailEnd/>
          </a:ln>
        </p:spPr>
        <p:txBody>
          <a:bodyPr wrap="none" lIns="0" tIns="0" rIns="0" bIns="0">
            <a:spAutoFit/>
          </a:bodyPr>
          <a:lstStyle/>
          <a:p>
            <a:pPr algn="ctr" defTabSz="685800">
              <a:buClrTx/>
            </a:pPr>
            <a:r>
              <a:rPr lang="en-US" sz="750" kern="1200" dirty="0">
                <a:solidFill>
                  <a:srgbClr val="313131"/>
                </a:solidFill>
                <a:ea typeface="ＭＳ Ｐゴシック" charset="-128"/>
                <a:cs typeface="+mn-cs"/>
              </a:rPr>
              <a:t>Small</a:t>
            </a:r>
          </a:p>
        </p:txBody>
      </p:sp>
      <p:sp>
        <p:nvSpPr>
          <p:cNvPr id="691214" name="Text Box 11"/>
          <p:cNvSpPr txBox="1">
            <a:spLocks noChangeAspect="1" noChangeArrowheads="1"/>
          </p:cNvSpPr>
          <p:nvPr/>
        </p:nvSpPr>
        <p:spPr bwMode="auto">
          <a:xfrm>
            <a:off x="5983550" y="3600450"/>
            <a:ext cx="684483" cy="115416"/>
          </a:xfrm>
          <a:prstGeom prst="rect">
            <a:avLst/>
          </a:prstGeom>
          <a:noFill/>
          <a:ln w="9525">
            <a:noFill/>
            <a:miter lim="800000"/>
            <a:headEnd/>
            <a:tailEnd/>
          </a:ln>
        </p:spPr>
        <p:txBody>
          <a:bodyPr wrap="none" lIns="0" tIns="0" rIns="0" bIns="0">
            <a:spAutoFit/>
          </a:bodyPr>
          <a:lstStyle/>
          <a:p>
            <a:pPr algn="ctr" defTabSz="685800">
              <a:buClrTx/>
            </a:pPr>
            <a:r>
              <a:rPr lang="en-US" sz="750" b="1" kern="1200" dirty="0">
                <a:solidFill>
                  <a:srgbClr val="313131"/>
                </a:solidFill>
                <a:ea typeface="ＭＳ Ｐゴシック" charset="-128"/>
                <a:cs typeface="+mn-cs"/>
              </a:rPr>
              <a:t>Horizontal axis</a:t>
            </a:r>
          </a:p>
        </p:txBody>
      </p:sp>
      <p:sp>
        <p:nvSpPr>
          <p:cNvPr id="691215" name="Text Box 12"/>
          <p:cNvSpPr txBox="1">
            <a:spLocks noChangeAspect="1" noChangeArrowheads="1"/>
          </p:cNvSpPr>
          <p:nvPr/>
        </p:nvSpPr>
        <p:spPr bwMode="auto">
          <a:xfrm>
            <a:off x="4720380" y="3543300"/>
            <a:ext cx="174728" cy="115416"/>
          </a:xfrm>
          <a:prstGeom prst="rect">
            <a:avLst/>
          </a:prstGeom>
          <a:noFill/>
          <a:ln w="9525">
            <a:noFill/>
            <a:miter lim="800000"/>
            <a:headEnd/>
            <a:tailEnd/>
          </a:ln>
        </p:spPr>
        <p:txBody>
          <a:bodyPr wrap="none" lIns="0" tIns="0" rIns="0" bIns="0">
            <a:spAutoFit/>
          </a:bodyPr>
          <a:lstStyle/>
          <a:p>
            <a:pPr algn="ctr" defTabSz="685800">
              <a:buClrTx/>
            </a:pPr>
            <a:r>
              <a:rPr lang="en-US" sz="750" kern="1200">
                <a:solidFill>
                  <a:srgbClr val="313131"/>
                </a:solidFill>
                <a:ea typeface="ＭＳ Ｐゴシック" charset="-128"/>
                <a:cs typeface="+mn-cs"/>
              </a:rPr>
              <a:t>Low</a:t>
            </a:r>
          </a:p>
        </p:txBody>
      </p:sp>
      <p:sp>
        <p:nvSpPr>
          <p:cNvPr id="691216" name="Text Box 13"/>
          <p:cNvSpPr txBox="1">
            <a:spLocks noChangeAspect="1" noChangeArrowheads="1"/>
          </p:cNvSpPr>
          <p:nvPr/>
        </p:nvSpPr>
        <p:spPr bwMode="auto">
          <a:xfrm>
            <a:off x="7363630" y="3600450"/>
            <a:ext cx="243656" cy="115416"/>
          </a:xfrm>
          <a:prstGeom prst="rect">
            <a:avLst/>
          </a:prstGeom>
          <a:noFill/>
          <a:ln w="9525">
            <a:noFill/>
            <a:miter lim="800000"/>
            <a:headEnd/>
            <a:tailEnd/>
          </a:ln>
        </p:spPr>
        <p:txBody>
          <a:bodyPr wrap="none" lIns="0" tIns="0" rIns="0" bIns="0">
            <a:spAutoFit/>
          </a:bodyPr>
          <a:lstStyle/>
          <a:p>
            <a:pPr algn="ctr" defTabSz="685800">
              <a:buClrTx/>
            </a:pPr>
            <a:r>
              <a:rPr lang="en-US" sz="750" kern="1200">
                <a:solidFill>
                  <a:srgbClr val="313131"/>
                </a:solidFill>
                <a:ea typeface="ＭＳ Ｐゴシック" charset="-128"/>
                <a:cs typeface="+mn-cs"/>
              </a:rPr>
              <a:t>Large</a:t>
            </a:r>
          </a:p>
        </p:txBody>
      </p:sp>
      <p:sp>
        <p:nvSpPr>
          <p:cNvPr id="44" name="Rectangle 30"/>
          <p:cNvSpPr>
            <a:spLocks noChangeArrowheads="1"/>
          </p:cNvSpPr>
          <p:nvPr/>
        </p:nvSpPr>
        <p:spPr bwMode="auto">
          <a:xfrm>
            <a:off x="6613451" y="0"/>
            <a:ext cx="1387549" cy="369332"/>
          </a:xfrm>
          <a:prstGeom prst="rect">
            <a:avLst/>
          </a:prstGeom>
          <a:solidFill>
            <a:schemeClr val="accent6"/>
          </a:solidFill>
          <a:ln w="6350" algn="ctr">
            <a:solidFill>
              <a:schemeClr val="bg1"/>
            </a:solidFill>
            <a:miter lim="800000"/>
            <a:headEnd/>
            <a:tailEnd/>
          </a:ln>
        </p:spPr>
        <p:txBody>
          <a:bodyPr wrap="square" tIns="68580" bIns="68580">
            <a:spAutoFit/>
          </a:bodyPr>
          <a:lstStyle/>
          <a:p>
            <a:pPr defTabSz="685800">
              <a:buClrTx/>
              <a:defRPr/>
            </a:pPr>
            <a:r>
              <a:rPr lang="en-US" sz="750" kern="1200" dirty="0">
                <a:solidFill>
                  <a:srgbClr val="313131"/>
                </a:solidFill>
                <a:ea typeface="ＭＳ Ｐゴシック" pitchFamily="50" charset="-128"/>
                <a:cs typeface="+mn-cs"/>
              </a:rPr>
              <a:t>Tip! Group before changing the size of the matrix</a:t>
            </a:r>
          </a:p>
        </p:txBody>
      </p:sp>
      <p:sp>
        <p:nvSpPr>
          <p:cNvPr id="34" name="Rectangle 33"/>
          <p:cNvSpPr>
            <a:spLocks noChangeArrowheads="1"/>
          </p:cNvSpPr>
          <p:nvPr/>
        </p:nvSpPr>
        <p:spPr bwMode="auto">
          <a:xfrm>
            <a:off x="5803107" y="0"/>
            <a:ext cx="2197894" cy="369332"/>
          </a:xfrm>
          <a:prstGeom prst="rect">
            <a:avLst/>
          </a:prstGeom>
          <a:solidFill>
            <a:schemeClr val="accent6"/>
          </a:solidFill>
          <a:ln w="6350" algn="ctr">
            <a:solidFill>
              <a:schemeClr val="bg1"/>
            </a:solidFill>
            <a:miter lim="800000"/>
            <a:headEnd/>
            <a:tailEnd/>
          </a:ln>
        </p:spPr>
        <p:txBody>
          <a:bodyPr tIns="68580" bIns="68580">
            <a:spAutoFit/>
          </a:bodyPr>
          <a:lstStyle/>
          <a:p>
            <a:pPr defTabSz="685800">
              <a:buClrTx/>
              <a:defRPr/>
            </a:pPr>
            <a:r>
              <a:rPr lang="en-US" sz="750" kern="1200" dirty="0">
                <a:solidFill>
                  <a:srgbClr val="313131"/>
                </a:solidFill>
                <a:ea typeface="ＭＳ Ｐゴシック" pitchFamily="50" charset="-128"/>
                <a:cs typeface="+mn-cs"/>
              </a:rPr>
              <a:t>Tip! Hold the Shift key when resizing the pieces or group to retain the shape proportions</a:t>
            </a:r>
          </a:p>
        </p:txBody>
      </p:sp>
    </p:spTree>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1420585" y="134678"/>
            <a:ext cx="5054346" cy="534924"/>
          </a:xfrm>
        </p:spPr>
        <p:txBody>
          <a:bodyPr>
            <a:normAutofit/>
          </a:bodyPr>
          <a:lstStyle/>
          <a:p>
            <a:r>
              <a:rPr lang="en-US" sz="1500" dirty="0">
                <a:solidFill>
                  <a:srgbClr val="81BC00"/>
                </a:solidFill>
              </a:rPr>
              <a:t>Use this slide to locate your charts, then switch to slide sorter mode &amp; copy the charts you need to your document</a:t>
            </a:r>
            <a:endParaRPr lang="en-GB" sz="1500" dirty="0">
              <a:solidFill>
                <a:srgbClr val="81BC00"/>
              </a:solidFill>
            </a:endParaRPr>
          </a:p>
        </p:txBody>
      </p:sp>
      <p:sp>
        <p:nvSpPr>
          <p:cNvPr id="6" name="Text Box 71"/>
          <p:cNvSpPr txBox="1">
            <a:spLocks noChangeArrowheads="1"/>
          </p:cNvSpPr>
          <p:nvPr>
            <p:custDataLst>
              <p:tags r:id="rId1"/>
            </p:custDataLst>
          </p:nvPr>
        </p:nvSpPr>
        <p:spPr bwMode="auto">
          <a:xfrm>
            <a:off x="6572250" y="0"/>
            <a:ext cx="1428750" cy="1378633"/>
          </a:xfrm>
          <a:prstGeom prst="rect">
            <a:avLst/>
          </a:prstGeom>
          <a:solidFill>
            <a:schemeClr val="accent6"/>
          </a:solidFill>
          <a:ln w="6350" algn="ctr">
            <a:solidFill>
              <a:schemeClr val="bg1"/>
            </a:solidFill>
            <a:miter lim="800000"/>
            <a:headEnd/>
            <a:tailEnd/>
          </a:ln>
        </p:spPr>
        <p:txBody>
          <a:bodyPr wrap="square" lIns="54000" tIns="54000" rIns="54000" bIns="54000">
            <a:spAutoFit/>
          </a:bodyPr>
          <a:lstStyle/>
          <a:p>
            <a:pPr marL="133350" indent="-133350" defTabSz="685800">
              <a:buClrTx/>
            </a:pPr>
            <a:r>
              <a:rPr lang="en-US" sz="750" kern="1200" dirty="0">
                <a:solidFill>
                  <a:srgbClr val="313131"/>
                </a:solidFill>
                <a:ea typeface="ＭＳ Ｐゴシック" charset="-128"/>
                <a:cs typeface="+mn-cs"/>
              </a:rPr>
              <a:t>Tip! Two fast ways to locate</a:t>
            </a:r>
          </a:p>
          <a:p>
            <a:pPr marL="133350" indent="-133350" defTabSz="685800">
              <a:buClrTx/>
            </a:pPr>
            <a:r>
              <a:rPr lang="en-US" sz="750" kern="1200" dirty="0">
                <a:solidFill>
                  <a:srgbClr val="313131"/>
                </a:solidFill>
                <a:ea typeface="ＭＳ Ｐゴシック" charset="-128"/>
                <a:cs typeface="+mn-cs"/>
              </a:rPr>
              <a:t>your favorite slide</a:t>
            </a:r>
          </a:p>
          <a:p>
            <a:pPr marL="133350" indent="-133350" defTabSz="685800">
              <a:buClrTx/>
              <a:buFontTx/>
              <a:buAutoNum type="arabicPeriod"/>
            </a:pPr>
            <a:r>
              <a:rPr lang="en-US" sz="750" kern="1200" dirty="0">
                <a:solidFill>
                  <a:srgbClr val="313131"/>
                </a:solidFill>
                <a:ea typeface="ＭＳ Ｐゴシック" charset="-128"/>
                <a:cs typeface="+mn-cs"/>
              </a:rPr>
              <a:t>Switch to slide show view (Shift F5) and click on the box of your choice</a:t>
            </a:r>
          </a:p>
          <a:p>
            <a:pPr marL="133350" indent="-133350" defTabSz="685800">
              <a:buClrTx/>
              <a:buFontTx/>
              <a:buAutoNum type="arabicPeriod"/>
            </a:pPr>
            <a:r>
              <a:rPr lang="en-US" sz="750" kern="1200" dirty="0">
                <a:solidFill>
                  <a:srgbClr val="313131"/>
                </a:solidFill>
                <a:ea typeface="ＭＳ Ｐゴシック" charset="-128"/>
                <a:cs typeface="+mn-cs"/>
              </a:rPr>
              <a:t>Stay in normal view, right click on the appropriate Text and select Open Hyperlink</a:t>
            </a:r>
          </a:p>
          <a:p>
            <a:pPr marL="133350" indent="-133350" defTabSz="685800">
              <a:buClrTx/>
            </a:pPr>
            <a:r>
              <a:rPr lang="en-US" sz="750" kern="1200" dirty="0">
                <a:solidFill>
                  <a:srgbClr val="313131"/>
                </a:solidFill>
                <a:ea typeface="ＭＳ Ｐゴシック" charset="-128"/>
                <a:cs typeface="+mn-cs"/>
              </a:rPr>
              <a:t>Press Home - </a:t>
            </a:r>
            <a:r>
              <a:rPr lang="en-US" sz="750" kern="1200" dirty="0" err="1">
                <a:solidFill>
                  <a:srgbClr val="313131"/>
                </a:solidFill>
                <a:ea typeface="ＭＳ Ｐゴシック" charset="-128"/>
                <a:cs typeface="+mn-cs"/>
              </a:rPr>
              <a:t>Pg</a:t>
            </a:r>
            <a:r>
              <a:rPr lang="en-US" sz="750" kern="1200" dirty="0">
                <a:solidFill>
                  <a:srgbClr val="313131"/>
                </a:solidFill>
                <a:ea typeface="ＭＳ Ｐゴシック" charset="-128"/>
                <a:cs typeface="+mn-cs"/>
              </a:rPr>
              <a:t> </a:t>
            </a:r>
            <a:r>
              <a:rPr lang="en-US" sz="750" kern="1200" dirty="0" err="1">
                <a:solidFill>
                  <a:srgbClr val="313131"/>
                </a:solidFill>
                <a:ea typeface="ＭＳ Ｐゴシック" charset="-128"/>
                <a:cs typeface="+mn-cs"/>
              </a:rPr>
              <a:t>Dn</a:t>
            </a:r>
            <a:r>
              <a:rPr lang="en-US" sz="750" kern="1200" dirty="0">
                <a:solidFill>
                  <a:srgbClr val="313131"/>
                </a:solidFill>
                <a:ea typeface="ＭＳ Ｐゴシック" charset="-128"/>
                <a:cs typeface="+mn-cs"/>
              </a:rPr>
              <a:t>  to return to this page</a:t>
            </a:r>
          </a:p>
        </p:txBody>
      </p:sp>
      <p:cxnSp>
        <p:nvCxnSpPr>
          <p:cNvPr id="9" name="AutoShape 45"/>
          <p:cNvCxnSpPr>
            <a:cxnSpLocks noChangeShapeType="1"/>
          </p:cNvCxnSpPr>
          <p:nvPr>
            <p:custDataLst>
              <p:tags r:id="rId2"/>
            </p:custDataLst>
          </p:nvPr>
        </p:nvCxnSpPr>
        <p:spPr bwMode="auto">
          <a:xfrm flipH="1" flipV="1">
            <a:off x="1990610" y="2712006"/>
            <a:ext cx="474855" cy="1575431"/>
          </a:xfrm>
          <a:prstGeom prst="bentConnector3">
            <a:avLst>
              <a:gd name="adj1" fmla="val 68664"/>
            </a:avLst>
          </a:prstGeom>
          <a:noFill/>
          <a:ln w="12700">
            <a:solidFill>
              <a:srgbClr val="B4B4B4"/>
            </a:solidFill>
            <a:miter lim="800000"/>
            <a:headEnd/>
            <a:tailEnd/>
          </a:ln>
        </p:spPr>
      </p:cxnSp>
      <p:cxnSp>
        <p:nvCxnSpPr>
          <p:cNvPr id="10" name="AutoShape 45"/>
          <p:cNvCxnSpPr>
            <a:cxnSpLocks noChangeShapeType="1"/>
            <a:stCxn id="78" idx="3"/>
            <a:endCxn id="91" idx="3"/>
          </p:cNvCxnSpPr>
          <p:nvPr>
            <p:custDataLst>
              <p:tags r:id="rId3"/>
            </p:custDataLst>
          </p:nvPr>
        </p:nvCxnSpPr>
        <p:spPr bwMode="auto">
          <a:xfrm flipH="1" flipV="1">
            <a:off x="1994692" y="2712005"/>
            <a:ext cx="474855" cy="1959973"/>
          </a:xfrm>
          <a:prstGeom prst="bentConnector3">
            <a:avLst>
              <a:gd name="adj1" fmla="val -48141"/>
            </a:avLst>
          </a:prstGeom>
          <a:noFill/>
          <a:ln w="12700">
            <a:solidFill>
              <a:srgbClr val="B4B4B4"/>
            </a:solidFill>
            <a:miter lim="800000"/>
            <a:headEnd/>
            <a:tailEnd/>
          </a:ln>
        </p:spPr>
      </p:cxnSp>
      <p:sp>
        <p:nvSpPr>
          <p:cNvPr id="11" name="Rectangle 2">
            <a:hlinkClick r:id="rId71" action="ppaction://hlinksldjump"/>
          </p:cNvPr>
          <p:cNvSpPr>
            <a:spLocks noChangeArrowheads="1"/>
          </p:cNvSpPr>
          <p:nvPr>
            <p:custDataLst>
              <p:tags r:id="rId4"/>
            </p:custDataLst>
          </p:nvPr>
        </p:nvSpPr>
        <p:spPr bwMode="auto">
          <a:xfrm>
            <a:off x="2469578" y="966550"/>
            <a:ext cx="1046559" cy="274320"/>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72" action="ppaction://hlinksldjump"/>
              </a:rPr>
              <a:t>Structured text</a:t>
            </a:r>
            <a:endParaRPr lang="en-US" altLang="ja-JP" sz="675" dirty="0">
              <a:solidFill>
                <a:srgbClr val="575757"/>
              </a:solidFill>
              <a:ea typeface="ＭＳ Ｐゴシック" pitchFamily="50" charset="-128"/>
              <a:cs typeface="+mn-cs"/>
              <a:hlinkClick r:id="rId73" action="ppaction://hlinksldjump"/>
            </a:endParaRPr>
          </a:p>
        </p:txBody>
      </p:sp>
      <p:sp>
        <p:nvSpPr>
          <p:cNvPr id="12" name="Rectangle 3"/>
          <p:cNvSpPr>
            <a:spLocks noChangeArrowheads="1"/>
          </p:cNvSpPr>
          <p:nvPr>
            <p:custDataLst>
              <p:tags r:id="rId5"/>
            </p:custDataLst>
          </p:nvPr>
        </p:nvSpPr>
        <p:spPr bwMode="auto">
          <a:xfrm>
            <a:off x="2469578" y="2428637"/>
            <a:ext cx="1047750" cy="274320"/>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74" action="ppaction://hlinksldjump"/>
              </a:rPr>
              <a:t>Shapes</a:t>
            </a:r>
            <a:endParaRPr lang="en-US" altLang="ja-JP" sz="675" dirty="0">
              <a:solidFill>
                <a:srgbClr val="575757"/>
              </a:solidFill>
              <a:ea typeface="ＭＳ Ｐゴシック" pitchFamily="50" charset="-128"/>
              <a:cs typeface="+mn-cs"/>
            </a:endParaRPr>
          </a:p>
        </p:txBody>
      </p:sp>
      <p:cxnSp>
        <p:nvCxnSpPr>
          <p:cNvPr id="13" name="AutoShape 5"/>
          <p:cNvCxnSpPr>
            <a:cxnSpLocks noChangeShapeType="1"/>
          </p:cNvCxnSpPr>
          <p:nvPr>
            <p:custDataLst>
              <p:tags r:id="rId6"/>
            </p:custDataLst>
          </p:nvPr>
        </p:nvCxnSpPr>
        <p:spPr bwMode="auto">
          <a:xfrm rot="10800000" flipV="1">
            <a:off x="1901457" y="1104425"/>
            <a:ext cx="474886" cy="1608296"/>
          </a:xfrm>
          <a:prstGeom prst="bentConnector3">
            <a:avLst>
              <a:gd name="adj1" fmla="val 50000"/>
            </a:avLst>
          </a:prstGeom>
          <a:noFill/>
          <a:ln w="12700">
            <a:solidFill>
              <a:srgbClr val="B4B4B4"/>
            </a:solidFill>
            <a:miter lim="800000"/>
            <a:headEnd/>
            <a:tailEnd/>
          </a:ln>
        </p:spPr>
      </p:cxnSp>
      <p:sp>
        <p:nvSpPr>
          <p:cNvPr id="14" name="Rectangle 7"/>
          <p:cNvSpPr>
            <a:spLocks noChangeArrowheads="1"/>
          </p:cNvSpPr>
          <p:nvPr>
            <p:custDataLst>
              <p:tags r:id="rId7"/>
            </p:custDataLst>
          </p:nvPr>
        </p:nvSpPr>
        <p:spPr bwMode="auto">
          <a:xfrm>
            <a:off x="2469578" y="1884521"/>
            <a:ext cx="1047750" cy="274320"/>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75" action="ppaction://hlinksldjump"/>
              </a:rPr>
              <a:t>Graphs</a:t>
            </a:r>
            <a:endParaRPr lang="en-US" altLang="ja-JP" sz="675" dirty="0">
              <a:solidFill>
                <a:srgbClr val="575757"/>
              </a:solidFill>
              <a:ea typeface="ＭＳ Ｐゴシック" pitchFamily="50" charset="-128"/>
              <a:cs typeface="+mn-cs"/>
            </a:endParaRPr>
          </a:p>
        </p:txBody>
      </p:sp>
      <p:sp>
        <p:nvSpPr>
          <p:cNvPr id="17" name="Rectangle 8"/>
          <p:cNvSpPr>
            <a:spLocks noChangeArrowheads="1"/>
          </p:cNvSpPr>
          <p:nvPr>
            <p:custDataLst>
              <p:tags r:id="rId8"/>
            </p:custDataLst>
          </p:nvPr>
        </p:nvSpPr>
        <p:spPr bwMode="auto">
          <a:xfrm>
            <a:off x="2469578" y="3262511"/>
            <a:ext cx="1046559" cy="274320"/>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marL="257175" indent="-257175" defTabSz="685800">
              <a:lnSpc>
                <a:spcPct val="94000"/>
              </a:lnSpc>
              <a:spcAft>
                <a:spcPct val="36000"/>
              </a:spcAft>
              <a:buClrTx/>
              <a:defRPr/>
            </a:pPr>
            <a:r>
              <a:rPr lang="en-US" altLang="ja-JP" sz="675" dirty="0">
                <a:solidFill>
                  <a:srgbClr val="575757"/>
                </a:solidFill>
                <a:ea typeface="ＭＳ Ｐゴシック" pitchFamily="50" charset="-128"/>
                <a:cs typeface="+mn-cs"/>
                <a:hlinkClick r:id="rId76" action="ppaction://hlinksldjump"/>
              </a:rPr>
              <a:t>Special graphics</a:t>
            </a:r>
            <a:endParaRPr lang="en-US" altLang="ja-JP" sz="675" dirty="0">
              <a:solidFill>
                <a:srgbClr val="575757"/>
              </a:solidFill>
              <a:ea typeface="ＭＳ Ｐゴシック" pitchFamily="50" charset="-128"/>
              <a:cs typeface="+mn-cs"/>
            </a:endParaRPr>
          </a:p>
        </p:txBody>
      </p:sp>
      <p:sp>
        <p:nvSpPr>
          <p:cNvPr id="18" name="Rectangle 9"/>
          <p:cNvSpPr>
            <a:spLocks noChangeArrowheads="1"/>
          </p:cNvSpPr>
          <p:nvPr>
            <p:custDataLst>
              <p:tags r:id="rId9"/>
            </p:custDataLst>
          </p:nvPr>
        </p:nvSpPr>
        <p:spPr bwMode="auto">
          <a:xfrm>
            <a:off x="2469578" y="1430894"/>
            <a:ext cx="1046559" cy="274320"/>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77" action="ppaction://hlinksldjump"/>
              </a:rPr>
              <a:t>Trees</a:t>
            </a:r>
            <a:endParaRPr lang="en-US" altLang="ja-JP" sz="675" dirty="0">
              <a:solidFill>
                <a:srgbClr val="575757"/>
              </a:solidFill>
              <a:ea typeface="ＭＳ Ｐゴシック" pitchFamily="50" charset="-128"/>
              <a:cs typeface="+mn-cs"/>
            </a:endParaRPr>
          </a:p>
        </p:txBody>
      </p:sp>
      <p:sp>
        <p:nvSpPr>
          <p:cNvPr id="19" name="Rectangle 10"/>
          <p:cNvSpPr>
            <a:spLocks noChangeArrowheads="1"/>
          </p:cNvSpPr>
          <p:nvPr>
            <p:custDataLst>
              <p:tags r:id="rId10"/>
            </p:custDataLst>
          </p:nvPr>
        </p:nvSpPr>
        <p:spPr bwMode="auto">
          <a:xfrm>
            <a:off x="2469578" y="2902506"/>
            <a:ext cx="1046559" cy="274320"/>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78" action="ppaction://hlinksldjump"/>
              </a:rPr>
              <a:t>Maps</a:t>
            </a:r>
            <a:endParaRPr lang="en-US" altLang="ja-JP" sz="675" dirty="0">
              <a:solidFill>
                <a:srgbClr val="575757"/>
              </a:solidFill>
              <a:ea typeface="ＭＳ Ｐゴシック" pitchFamily="50" charset="-128"/>
              <a:cs typeface="+mn-cs"/>
            </a:endParaRPr>
          </a:p>
        </p:txBody>
      </p:sp>
      <p:sp>
        <p:nvSpPr>
          <p:cNvPr id="20" name="Rectangle 11"/>
          <p:cNvSpPr>
            <a:spLocks noChangeArrowheads="1"/>
          </p:cNvSpPr>
          <p:nvPr>
            <p:custDataLst>
              <p:tags r:id="rId11"/>
            </p:custDataLst>
          </p:nvPr>
        </p:nvSpPr>
        <p:spPr bwMode="auto">
          <a:xfrm>
            <a:off x="2469578" y="3677601"/>
            <a:ext cx="1047750" cy="274320"/>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79" action="ppaction://hlinksldjump"/>
              </a:rPr>
              <a:t>Conceptual charts</a:t>
            </a:r>
            <a:endParaRPr lang="en-US" altLang="ja-JP" sz="675" dirty="0">
              <a:solidFill>
                <a:srgbClr val="575757"/>
              </a:solidFill>
              <a:ea typeface="ＭＳ Ｐゴシック" pitchFamily="50" charset="-128"/>
              <a:cs typeface="+mn-cs"/>
            </a:endParaRPr>
          </a:p>
        </p:txBody>
      </p:sp>
      <p:cxnSp>
        <p:nvCxnSpPr>
          <p:cNvPr id="21" name="AutoShape 12"/>
          <p:cNvCxnSpPr>
            <a:cxnSpLocks noChangeShapeType="1"/>
          </p:cNvCxnSpPr>
          <p:nvPr>
            <p:custDataLst>
              <p:tags r:id="rId12"/>
            </p:custDataLst>
          </p:nvPr>
        </p:nvCxnSpPr>
        <p:spPr bwMode="auto">
          <a:xfrm rot="10800000" flipV="1">
            <a:off x="1901458" y="1560910"/>
            <a:ext cx="474886" cy="1151096"/>
          </a:xfrm>
          <a:prstGeom prst="bentConnector3">
            <a:avLst>
              <a:gd name="adj1" fmla="val 50000"/>
            </a:avLst>
          </a:prstGeom>
          <a:noFill/>
          <a:ln w="12700">
            <a:solidFill>
              <a:srgbClr val="B4B4B4"/>
            </a:solidFill>
            <a:miter lim="800000"/>
            <a:headEnd/>
            <a:tailEnd/>
          </a:ln>
        </p:spPr>
      </p:cxnSp>
      <p:cxnSp>
        <p:nvCxnSpPr>
          <p:cNvPr id="22" name="AutoShape 13"/>
          <p:cNvCxnSpPr>
            <a:cxnSpLocks noChangeShapeType="1"/>
          </p:cNvCxnSpPr>
          <p:nvPr>
            <p:custDataLst>
              <p:tags r:id="rId13"/>
            </p:custDataLst>
          </p:nvPr>
        </p:nvCxnSpPr>
        <p:spPr bwMode="auto">
          <a:xfrm rot="10800000" flipV="1">
            <a:off x="1903888" y="2012832"/>
            <a:ext cx="474886" cy="690324"/>
          </a:xfrm>
          <a:prstGeom prst="bentConnector3">
            <a:avLst>
              <a:gd name="adj1" fmla="val 50000"/>
            </a:avLst>
          </a:prstGeom>
          <a:noFill/>
          <a:ln w="12700">
            <a:solidFill>
              <a:srgbClr val="B4B4B4"/>
            </a:solidFill>
            <a:miter lim="800000"/>
            <a:headEnd/>
            <a:tailEnd/>
          </a:ln>
        </p:spPr>
      </p:cxnSp>
      <p:cxnSp>
        <p:nvCxnSpPr>
          <p:cNvPr id="23" name="AutoShape 14"/>
          <p:cNvCxnSpPr>
            <a:cxnSpLocks noChangeShapeType="1"/>
          </p:cNvCxnSpPr>
          <p:nvPr>
            <p:custDataLst>
              <p:tags r:id="rId14"/>
            </p:custDataLst>
          </p:nvPr>
        </p:nvCxnSpPr>
        <p:spPr bwMode="auto">
          <a:xfrm rot="10800000">
            <a:off x="1907173" y="2702958"/>
            <a:ext cx="487506" cy="334210"/>
          </a:xfrm>
          <a:prstGeom prst="bentConnector3">
            <a:avLst>
              <a:gd name="adj1" fmla="val 52282"/>
            </a:avLst>
          </a:prstGeom>
          <a:noFill/>
          <a:ln w="12700">
            <a:solidFill>
              <a:srgbClr val="B4B4B4"/>
            </a:solidFill>
            <a:miter lim="800000"/>
            <a:headEnd/>
            <a:tailEnd/>
          </a:ln>
        </p:spPr>
      </p:cxnSp>
      <p:cxnSp>
        <p:nvCxnSpPr>
          <p:cNvPr id="24" name="AutoShape 15"/>
          <p:cNvCxnSpPr>
            <a:cxnSpLocks noChangeShapeType="1"/>
          </p:cNvCxnSpPr>
          <p:nvPr>
            <p:custDataLst>
              <p:tags r:id="rId15"/>
            </p:custDataLst>
          </p:nvPr>
        </p:nvCxnSpPr>
        <p:spPr bwMode="auto">
          <a:xfrm rot="10800000">
            <a:off x="1907174" y="2709506"/>
            <a:ext cx="474886" cy="687666"/>
          </a:xfrm>
          <a:prstGeom prst="bentConnector3">
            <a:avLst>
              <a:gd name="adj1" fmla="val 50973"/>
            </a:avLst>
          </a:prstGeom>
          <a:noFill/>
          <a:ln w="12700">
            <a:solidFill>
              <a:srgbClr val="B4B4B4"/>
            </a:solidFill>
            <a:miter lim="800000"/>
            <a:headEnd/>
            <a:tailEnd/>
          </a:ln>
        </p:spPr>
      </p:cxnSp>
      <p:cxnSp>
        <p:nvCxnSpPr>
          <p:cNvPr id="25" name="AutoShape 16"/>
          <p:cNvCxnSpPr>
            <a:cxnSpLocks noChangeShapeType="1"/>
          </p:cNvCxnSpPr>
          <p:nvPr>
            <p:custDataLst>
              <p:tags r:id="rId16"/>
            </p:custDataLst>
          </p:nvPr>
        </p:nvCxnSpPr>
        <p:spPr bwMode="auto">
          <a:xfrm rot="10800000">
            <a:off x="1903888" y="2711092"/>
            <a:ext cx="474886" cy="1102756"/>
          </a:xfrm>
          <a:prstGeom prst="bentConnector3">
            <a:avLst>
              <a:gd name="adj1" fmla="val 50209"/>
            </a:avLst>
          </a:prstGeom>
          <a:noFill/>
          <a:ln w="12700">
            <a:solidFill>
              <a:srgbClr val="B4B4B4"/>
            </a:solidFill>
            <a:miter lim="800000"/>
            <a:headEnd/>
            <a:tailEnd/>
          </a:ln>
        </p:spPr>
      </p:cxnSp>
      <p:sp>
        <p:nvSpPr>
          <p:cNvPr id="26" name="Rectangle 17"/>
          <p:cNvSpPr>
            <a:spLocks noChangeArrowheads="1"/>
          </p:cNvSpPr>
          <p:nvPr>
            <p:custDataLst>
              <p:tags r:id="rId17"/>
            </p:custDataLst>
          </p:nvPr>
        </p:nvSpPr>
        <p:spPr bwMode="auto">
          <a:xfrm>
            <a:off x="3719907" y="1789272"/>
            <a:ext cx="84772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80" action="ppaction://hlinksldjump"/>
              </a:rPr>
              <a:t>Bars</a:t>
            </a:r>
            <a:endParaRPr lang="en-US" altLang="ja-JP" sz="675" dirty="0">
              <a:solidFill>
                <a:srgbClr val="575757"/>
              </a:solidFill>
              <a:ea typeface="ＭＳ Ｐゴシック" pitchFamily="50" charset="-128"/>
              <a:cs typeface="+mn-cs"/>
            </a:endParaRPr>
          </a:p>
        </p:txBody>
      </p:sp>
      <p:sp>
        <p:nvSpPr>
          <p:cNvPr id="27" name="Rectangle 18"/>
          <p:cNvSpPr>
            <a:spLocks noChangeArrowheads="1"/>
          </p:cNvSpPr>
          <p:nvPr>
            <p:custDataLst>
              <p:tags r:id="rId18"/>
            </p:custDataLst>
          </p:nvPr>
        </p:nvSpPr>
        <p:spPr bwMode="auto">
          <a:xfrm>
            <a:off x="3719907" y="2058353"/>
            <a:ext cx="84772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81" action="ppaction://hlinksldjump"/>
              </a:rPr>
              <a:t>Columns</a:t>
            </a:r>
            <a:endParaRPr lang="en-US" altLang="ja-JP" sz="675" dirty="0">
              <a:solidFill>
                <a:srgbClr val="575757"/>
              </a:solidFill>
              <a:ea typeface="ＭＳ Ｐゴシック" pitchFamily="50" charset="-128"/>
              <a:cs typeface="+mn-cs"/>
            </a:endParaRPr>
          </a:p>
        </p:txBody>
      </p:sp>
      <p:sp>
        <p:nvSpPr>
          <p:cNvPr id="28" name="Rectangle 19"/>
          <p:cNvSpPr>
            <a:spLocks noChangeArrowheads="1"/>
          </p:cNvSpPr>
          <p:nvPr>
            <p:custDataLst>
              <p:tags r:id="rId19"/>
            </p:custDataLst>
          </p:nvPr>
        </p:nvSpPr>
        <p:spPr bwMode="auto">
          <a:xfrm>
            <a:off x="3719907" y="871300"/>
            <a:ext cx="84772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82" action="ppaction://hlinksldjump"/>
              </a:rPr>
              <a:t>Tables</a:t>
            </a:r>
            <a:endParaRPr lang="en-US" altLang="ja-JP" sz="675" dirty="0">
              <a:solidFill>
                <a:srgbClr val="575757"/>
              </a:solidFill>
              <a:ea typeface="ＭＳ Ｐゴシック" pitchFamily="50" charset="-128"/>
              <a:cs typeface="+mn-cs"/>
            </a:endParaRPr>
          </a:p>
        </p:txBody>
      </p:sp>
      <p:sp>
        <p:nvSpPr>
          <p:cNvPr id="29" name="Rectangle 20"/>
          <p:cNvSpPr>
            <a:spLocks noChangeArrowheads="1"/>
          </p:cNvSpPr>
          <p:nvPr>
            <p:custDataLst>
              <p:tags r:id="rId20"/>
            </p:custDataLst>
          </p:nvPr>
        </p:nvSpPr>
        <p:spPr bwMode="auto">
          <a:xfrm>
            <a:off x="4652167" y="871300"/>
            <a:ext cx="84772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83" action="ppaction://hlinksldjump"/>
              </a:rPr>
              <a:t>Relations</a:t>
            </a:r>
            <a:endParaRPr lang="en-US" altLang="ja-JP" sz="675" dirty="0">
              <a:solidFill>
                <a:srgbClr val="575757"/>
              </a:solidFill>
              <a:ea typeface="ＭＳ Ｐゴシック" pitchFamily="50" charset="-128"/>
              <a:cs typeface="+mn-cs"/>
            </a:endParaRPr>
          </a:p>
        </p:txBody>
      </p:sp>
      <p:sp>
        <p:nvSpPr>
          <p:cNvPr id="30" name="Rectangle 21"/>
          <p:cNvSpPr>
            <a:spLocks noChangeArrowheads="1"/>
          </p:cNvSpPr>
          <p:nvPr>
            <p:custDataLst>
              <p:tags r:id="rId21"/>
            </p:custDataLst>
          </p:nvPr>
        </p:nvSpPr>
        <p:spPr bwMode="auto">
          <a:xfrm>
            <a:off x="3719907" y="1459707"/>
            <a:ext cx="84772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84" action="ppaction://hlinksldjump"/>
              </a:rPr>
              <a:t>Logic trees</a:t>
            </a:r>
            <a:endParaRPr lang="en-US" altLang="ja-JP" sz="675" dirty="0">
              <a:solidFill>
                <a:srgbClr val="575757"/>
              </a:solidFill>
              <a:ea typeface="ＭＳ Ｐゴシック" pitchFamily="50" charset="-128"/>
              <a:cs typeface="+mn-cs"/>
            </a:endParaRPr>
          </a:p>
        </p:txBody>
      </p:sp>
      <p:sp>
        <p:nvSpPr>
          <p:cNvPr id="31" name="Rectangle 22"/>
          <p:cNvSpPr>
            <a:spLocks noChangeArrowheads="1"/>
          </p:cNvSpPr>
          <p:nvPr>
            <p:custDataLst>
              <p:tags r:id="rId22"/>
            </p:custDataLst>
          </p:nvPr>
        </p:nvSpPr>
        <p:spPr bwMode="auto">
          <a:xfrm>
            <a:off x="4650977" y="1459707"/>
            <a:ext cx="84891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85" action="ppaction://hlinksldjump"/>
              </a:rPr>
              <a:t>Org charts</a:t>
            </a:r>
            <a:endParaRPr lang="en-US" altLang="ja-JP" sz="675" dirty="0">
              <a:solidFill>
                <a:srgbClr val="575757"/>
              </a:solidFill>
              <a:ea typeface="ＭＳ Ｐゴシック" pitchFamily="50" charset="-128"/>
              <a:cs typeface="+mn-cs"/>
            </a:endParaRPr>
          </a:p>
        </p:txBody>
      </p:sp>
      <p:sp>
        <p:nvSpPr>
          <p:cNvPr id="32" name="Rectangle 23"/>
          <p:cNvSpPr>
            <a:spLocks noChangeArrowheads="1"/>
          </p:cNvSpPr>
          <p:nvPr>
            <p:custDataLst>
              <p:tags r:id="rId23"/>
            </p:custDataLst>
          </p:nvPr>
        </p:nvSpPr>
        <p:spPr bwMode="auto">
          <a:xfrm>
            <a:off x="3719907" y="2341722"/>
            <a:ext cx="84772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86" action="ppaction://hlinksldjump"/>
              </a:rPr>
              <a:t>Chevrons</a:t>
            </a:r>
            <a:endParaRPr lang="en-US" altLang="ja-JP" sz="675" dirty="0">
              <a:solidFill>
                <a:srgbClr val="575757"/>
              </a:solidFill>
              <a:ea typeface="ＭＳ Ｐゴシック" pitchFamily="50" charset="-128"/>
              <a:cs typeface="+mn-cs"/>
            </a:endParaRPr>
          </a:p>
        </p:txBody>
      </p:sp>
      <p:sp>
        <p:nvSpPr>
          <p:cNvPr id="33" name="Rectangle 24"/>
          <p:cNvSpPr>
            <a:spLocks noChangeArrowheads="1"/>
          </p:cNvSpPr>
          <p:nvPr>
            <p:custDataLst>
              <p:tags r:id="rId24"/>
            </p:custDataLst>
          </p:nvPr>
        </p:nvSpPr>
        <p:spPr bwMode="auto">
          <a:xfrm>
            <a:off x="3719907" y="2610803"/>
            <a:ext cx="84772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87" action="ppaction://hlinksldjump"/>
              </a:rPr>
              <a:t>Circles</a:t>
            </a:r>
            <a:endParaRPr lang="en-US" altLang="ja-JP" sz="675" dirty="0">
              <a:solidFill>
                <a:srgbClr val="575757"/>
              </a:solidFill>
              <a:ea typeface="ＭＳ Ｐゴシック" pitchFamily="50" charset="-128"/>
              <a:cs typeface="+mn-cs"/>
            </a:endParaRPr>
          </a:p>
        </p:txBody>
      </p:sp>
      <p:sp>
        <p:nvSpPr>
          <p:cNvPr id="34" name="Rectangle 25"/>
          <p:cNvSpPr>
            <a:spLocks noChangeArrowheads="1"/>
          </p:cNvSpPr>
          <p:nvPr>
            <p:custDataLst>
              <p:tags r:id="rId25"/>
            </p:custDataLst>
          </p:nvPr>
        </p:nvSpPr>
        <p:spPr bwMode="auto">
          <a:xfrm>
            <a:off x="3719907" y="2931320"/>
            <a:ext cx="84772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88" action="ppaction://hlinksldjump"/>
              </a:rPr>
              <a:t>World</a:t>
            </a:r>
            <a:endParaRPr lang="en-US" altLang="ja-JP" sz="675" dirty="0">
              <a:solidFill>
                <a:srgbClr val="575757"/>
              </a:solidFill>
              <a:ea typeface="ＭＳ Ｐゴシック" pitchFamily="50" charset="-128"/>
              <a:cs typeface="+mn-cs"/>
            </a:endParaRPr>
          </a:p>
        </p:txBody>
      </p:sp>
      <p:sp>
        <p:nvSpPr>
          <p:cNvPr id="35" name="Rectangle 26"/>
          <p:cNvSpPr>
            <a:spLocks noChangeArrowheads="1"/>
          </p:cNvSpPr>
          <p:nvPr>
            <p:custDataLst>
              <p:tags r:id="rId26"/>
            </p:custDataLst>
          </p:nvPr>
        </p:nvSpPr>
        <p:spPr bwMode="auto">
          <a:xfrm>
            <a:off x="3719907" y="3292674"/>
            <a:ext cx="84772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89" action="ppaction://hlinksldjump"/>
              </a:rPr>
              <a:t>Strategy process</a:t>
            </a:r>
            <a:endParaRPr lang="en-US" altLang="ja-JP" sz="675" dirty="0">
              <a:solidFill>
                <a:srgbClr val="575757"/>
              </a:solidFill>
              <a:ea typeface="ＭＳ Ｐゴシック" pitchFamily="50" charset="-128"/>
              <a:cs typeface="+mn-cs"/>
            </a:endParaRPr>
          </a:p>
        </p:txBody>
      </p:sp>
      <p:sp>
        <p:nvSpPr>
          <p:cNvPr id="36" name="Rectangle 27"/>
          <p:cNvSpPr>
            <a:spLocks noChangeArrowheads="1"/>
          </p:cNvSpPr>
          <p:nvPr>
            <p:custDataLst>
              <p:tags r:id="rId27"/>
            </p:custDataLst>
          </p:nvPr>
        </p:nvSpPr>
        <p:spPr bwMode="auto">
          <a:xfrm>
            <a:off x="4652167" y="3292674"/>
            <a:ext cx="84772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90" action="ppaction://hlinksldjump"/>
              </a:rPr>
              <a:t>Activity maps</a:t>
            </a:r>
            <a:endParaRPr lang="en-US" altLang="ja-JP" sz="675" dirty="0">
              <a:solidFill>
                <a:srgbClr val="575757"/>
              </a:solidFill>
              <a:ea typeface="ＭＳ Ｐゴシック" pitchFamily="50" charset="-128"/>
              <a:cs typeface="+mn-cs"/>
            </a:endParaRPr>
          </a:p>
        </p:txBody>
      </p:sp>
      <p:sp>
        <p:nvSpPr>
          <p:cNvPr id="37" name="Rectangle 28"/>
          <p:cNvSpPr>
            <a:spLocks noChangeArrowheads="1"/>
          </p:cNvSpPr>
          <p:nvPr>
            <p:custDataLst>
              <p:tags r:id="rId28"/>
            </p:custDataLst>
          </p:nvPr>
        </p:nvSpPr>
        <p:spPr bwMode="auto">
          <a:xfrm>
            <a:off x="3719907" y="3583544"/>
            <a:ext cx="84772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91" action="ppaction://hlinksldjump"/>
              </a:rPr>
              <a:t>Moon</a:t>
            </a:r>
            <a:endParaRPr lang="en-US" altLang="ja-JP" sz="675" dirty="0">
              <a:solidFill>
                <a:srgbClr val="575757"/>
              </a:solidFill>
              <a:ea typeface="ＭＳ Ｐゴシック" pitchFamily="50" charset="-128"/>
              <a:cs typeface="+mn-cs"/>
            </a:endParaRPr>
          </a:p>
        </p:txBody>
      </p:sp>
      <p:sp>
        <p:nvSpPr>
          <p:cNvPr id="38" name="Rectangle 29"/>
          <p:cNvSpPr>
            <a:spLocks noChangeArrowheads="1"/>
          </p:cNvSpPr>
          <p:nvPr>
            <p:custDataLst>
              <p:tags r:id="rId29"/>
            </p:custDataLst>
          </p:nvPr>
        </p:nvSpPr>
        <p:spPr bwMode="auto">
          <a:xfrm>
            <a:off x="3719907" y="3852625"/>
            <a:ext cx="84772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92" action="ppaction://hlinksldjump"/>
              </a:rPr>
              <a:t>Development stages</a:t>
            </a:r>
            <a:endParaRPr lang="en-US" altLang="ja-JP" sz="675" dirty="0">
              <a:solidFill>
                <a:srgbClr val="575757"/>
              </a:solidFill>
              <a:ea typeface="ＭＳ Ｐゴシック" pitchFamily="50" charset="-128"/>
              <a:cs typeface="+mn-cs"/>
            </a:endParaRPr>
          </a:p>
        </p:txBody>
      </p:sp>
      <p:sp>
        <p:nvSpPr>
          <p:cNvPr id="39" name="Rectangle 30"/>
          <p:cNvSpPr>
            <a:spLocks noChangeArrowheads="1"/>
          </p:cNvSpPr>
          <p:nvPr>
            <p:custDataLst>
              <p:tags r:id="rId30"/>
            </p:custDataLst>
          </p:nvPr>
        </p:nvSpPr>
        <p:spPr bwMode="auto">
          <a:xfrm>
            <a:off x="4652167" y="1789272"/>
            <a:ext cx="84772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93" action="ppaction://hlinksldjump"/>
              </a:rPr>
              <a:t>Areas</a:t>
            </a:r>
            <a:endParaRPr lang="en-US" altLang="ja-JP" sz="675" dirty="0">
              <a:solidFill>
                <a:srgbClr val="575757"/>
              </a:solidFill>
              <a:ea typeface="ＭＳ Ｐゴシック" pitchFamily="50" charset="-128"/>
              <a:cs typeface="+mn-cs"/>
            </a:endParaRPr>
          </a:p>
        </p:txBody>
      </p:sp>
      <p:sp>
        <p:nvSpPr>
          <p:cNvPr id="40" name="Rectangle 31"/>
          <p:cNvSpPr>
            <a:spLocks noChangeArrowheads="1"/>
          </p:cNvSpPr>
          <p:nvPr>
            <p:custDataLst>
              <p:tags r:id="rId31"/>
            </p:custDataLst>
          </p:nvPr>
        </p:nvSpPr>
        <p:spPr bwMode="auto">
          <a:xfrm>
            <a:off x="4652167" y="2058353"/>
            <a:ext cx="84772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94" action="ppaction://hlinksldjump"/>
              </a:rPr>
              <a:t>Pies</a:t>
            </a:r>
            <a:endParaRPr lang="en-US" altLang="ja-JP" sz="675" dirty="0">
              <a:solidFill>
                <a:srgbClr val="575757"/>
              </a:solidFill>
              <a:ea typeface="ＭＳ Ｐゴシック" pitchFamily="50" charset="-128"/>
              <a:cs typeface="+mn-cs"/>
            </a:endParaRPr>
          </a:p>
        </p:txBody>
      </p:sp>
      <p:sp>
        <p:nvSpPr>
          <p:cNvPr id="41" name="Rectangle 32"/>
          <p:cNvSpPr>
            <a:spLocks noChangeArrowheads="1"/>
          </p:cNvSpPr>
          <p:nvPr>
            <p:custDataLst>
              <p:tags r:id="rId32"/>
            </p:custDataLst>
          </p:nvPr>
        </p:nvSpPr>
        <p:spPr bwMode="auto">
          <a:xfrm>
            <a:off x="4652167" y="1140381"/>
            <a:ext cx="84772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73" action="ppaction://hlinksldjump"/>
              </a:rPr>
              <a:t>Quotes</a:t>
            </a:r>
            <a:endParaRPr lang="en-US" altLang="ja-JP" sz="675" dirty="0">
              <a:solidFill>
                <a:srgbClr val="575757"/>
              </a:solidFill>
              <a:ea typeface="ＭＳ Ｐゴシック" pitchFamily="50" charset="-128"/>
              <a:cs typeface="+mn-cs"/>
            </a:endParaRPr>
          </a:p>
        </p:txBody>
      </p:sp>
      <p:sp>
        <p:nvSpPr>
          <p:cNvPr id="42" name="Rectangle 33"/>
          <p:cNvSpPr>
            <a:spLocks noChangeArrowheads="1"/>
          </p:cNvSpPr>
          <p:nvPr>
            <p:custDataLst>
              <p:tags r:id="rId33"/>
            </p:custDataLst>
          </p:nvPr>
        </p:nvSpPr>
        <p:spPr bwMode="auto">
          <a:xfrm>
            <a:off x="5584426" y="1459707"/>
            <a:ext cx="84772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95" action="ppaction://hlinksldjump"/>
              </a:rPr>
              <a:t>Driver trees</a:t>
            </a:r>
            <a:endParaRPr lang="en-US" altLang="ja-JP" sz="675" dirty="0">
              <a:solidFill>
                <a:srgbClr val="575757"/>
              </a:solidFill>
              <a:ea typeface="ＭＳ Ｐゴシック" pitchFamily="50" charset="-128"/>
              <a:cs typeface="+mn-cs"/>
            </a:endParaRPr>
          </a:p>
        </p:txBody>
      </p:sp>
      <p:sp>
        <p:nvSpPr>
          <p:cNvPr id="43" name="Rectangle 34"/>
          <p:cNvSpPr>
            <a:spLocks noChangeArrowheads="1"/>
          </p:cNvSpPr>
          <p:nvPr>
            <p:custDataLst>
              <p:tags r:id="rId34"/>
            </p:custDataLst>
          </p:nvPr>
        </p:nvSpPr>
        <p:spPr bwMode="auto">
          <a:xfrm>
            <a:off x="4652167" y="2341722"/>
            <a:ext cx="84772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96" action="ppaction://hlinksldjump"/>
              </a:rPr>
              <a:t>Spheres</a:t>
            </a:r>
            <a:endParaRPr lang="en-US" altLang="ja-JP" sz="675" dirty="0">
              <a:solidFill>
                <a:srgbClr val="575757"/>
              </a:solidFill>
              <a:ea typeface="ＭＳ Ｐゴシック" pitchFamily="50" charset="-128"/>
              <a:cs typeface="+mn-cs"/>
            </a:endParaRPr>
          </a:p>
        </p:txBody>
      </p:sp>
      <p:sp>
        <p:nvSpPr>
          <p:cNvPr id="44" name="Rectangle 35"/>
          <p:cNvSpPr>
            <a:spLocks noChangeArrowheads="1"/>
          </p:cNvSpPr>
          <p:nvPr>
            <p:custDataLst>
              <p:tags r:id="rId35"/>
            </p:custDataLst>
          </p:nvPr>
        </p:nvSpPr>
        <p:spPr bwMode="auto">
          <a:xfrm>
            <a:off x="4652167" y="2610803"/>
            <a:ext cx="84772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97" action="ppaction://hlinksldjump"/>
              </a:rPr>
              <a:t>Boxes</a:t>
            </a:r>
            <a:endParaRPr lang="en-US" altLang="ja-JP" sz="675" dirty="0">
              <a:solidFill>
                <a:srgbClr val="575757"/>
              </a:solidFill>
              <a:ea typeface="ＭＳ Ｐゴシック" pitchFamily="50" charset="-128"/>
              <a:cs typeface="+mn-cs"/>
            </a:endParaRPr>
          </a:p>
        </p:txBody>
      </p:sp>
      <p:sp>
        <p:nvSpPr>
          <p:cNvPr id="45" name="Rectangle 36"/>
          <p:cNvSpPr>
            <a:spLocks noChangeArrowheads="1"/>
          </p:cNvSpPr>
          <p:nvPr>
            <p:custDataLst>
              <p:tags r:id="rId36"/>
            </p:custDataLst>
          </p:nvPr>
        </p:nvSpPr>
        <p:spPr bwMode="auto">
          <a:xfrm>
            <a:off x="5584426" y="3292674"/>
            <a:ext cx="84772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98" action="ppaction://hlinksldjump"/>
              </a:rPr>
              <a:t>Process flows</a:t>
            </a:r>
            <a:endParaRPr lang="en-US" altLang="ja-JP" sz="675" dirty="0">
              <a:solidFill>
                <a:srgbClr val="575757"/>
              </a:solidFill>
              <a:ea typeface="ＭＳ Ｐゴシック" pitchFamily="50" charset="-128"/>
              <a:cs typeface="+mn-cs"/>
            </a:endParaRPr>
          </a:p>
        </p:txBody>
      </p:sp>
      <p:sp>
        <p:nvSpPr>
          <p:cNvPr id="46" name="Rectangle 37"/>
          <p:cNvSpPr>
            <a:spLocks noChangeArrowheads="1"/>
          </p:cNvSpPr>
          <p:nvPr>
            <p:custDataLst>
              <p:tags r:id="rId37"/>
            </p:custDataLst>
          </p:nvPr>
        </p:nvSpPr>
        <p:spPr bwMode="auto">
          <a:xfrm>
            <a:off x="4652167" y="3847863"/>
            <a:ext cx="84772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99" action="ppaction://hlinksldjump"/>
              </a:rPr>
              <a:t>Timelines</a:t>
            </a:r>
            <a:endParaRPr lang="en-US" altLang="ja-JP" sz="675" dirty="0">
              <a:solidFill>
                <a:srgbClr val="575757"/>
              </a:solidFill>
              <a:ea typeface="ＭＳ Ｐゴシック" pitchFamily="50" charset="-128"/>
              <a:cs typeface="+mn-cs"/>
            </a:endParaRPr>
          </a:p>
        </p:txBody>
      </p:sp>
      <p:sp>
        <p:nvSpPr>
          <p:cNvPr id="47" name="Rectangle 38"/>
          <p:cNvSpPr>
            <a:spLocks noChangeArrowheads="1"/>
          </p:cNvSpPr>
          <p:nvPr>
            <p:custDataLst>
              <p:tags r:id="rId38"/>
            </p:custDataLst>
          </p:nvPr>
        </p:nvSpPr>
        <p:spPr bwMode="auto">
          <a:xfrm>
            <a:off x="5584426" y="1789272"/>
            <a:ext cx="84772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100" action="ppaction://hlinksldjump"/>
              </a:rPr>
              <a:t>Radars</a:t>
            </a:r>
            <a:endParaRPr lang="en-US" altLang="ja-JP" sz="675" dirty="0">
              <a:solidFill>
                <a:srgbClr val="575757"/>
              </a:solidFill>
              <a:ea typeface="ＭＳ Ｐゴシック" pitchFamily="50" charset="-128"/>
              <a:cs typeface="+mn-cs"/>
            </a:endParaRPr>
          </a:p>
        </p:txBody>
      </p:sp>
      <p:sp>
        <p:nvSpPr>
          <p:cNvPr id="48" name="Rectangle 39"/>
          <p:cNvSpPr>
            <a:spLocks noChangeArrowheads="1"/>
          </p:cNvSpPr>
          <p:nvPr>
            <p:custDataLst>
              <p:tags r:id="rId39"/>
            </p:custDataLst>
          </p:nvPr>
        </p:nvSpPr>
        <p:spPr bwMode="auto">
          <a:xfrm>
            <a:off x="5584426" y="2058353"/>
            <a:ext cx="84772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101" action="ppaction://hlinksldjump"/>
              </a:rPr>
              <a:t>Lines</a:t>
            </a:r>
            <a:endParaRPr lang="en-US" altLang="ja-JP" sz="675" dirty="0">
              <a:solidFill>
                <a:srgbClr val="575757"/>
              </a:solidFill>
              <a:ea typeface="ＭＳ Ｐゴシック" pitchFamily="50" charset="-128"/>
              <a:cs typeface="+mn-cs"/>
            </a:endParaRPr>
          </a:p>
        </p:txBody>
      </p:sp>
      <p:sp>
        <p:nvSpPr>
          <p:cNvPr id="49" name="Rectangle 40"/>
          <p:cNvSpPr>
            <a:spLocks noChangeArrowheads="1"/>
          </p:cNvSpPr>
          <p:nvPr>
            <p:custDataLst>
              <p:tags r:id="rId40"/>
            </p:custDataLst>
          </p:nvPr>
        </p:nvSpPr>
        <p:spPr bwMode="auto">
          <a:xfrm>
            <a:off x="5584426" y="2610803"/>
            <a:ext cx="84772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102" action="ppaction://hlinksldjump"/>
              </a:rPr>
              <a:t>Puzzles</a:t>
            </a:r>
            <a:endParaRPr lang="en-US" altLang="ja-JP" sz="675" dirty="0">
              <a:solidFill>
                <a:srgbClr val="575757"/>
              </a:solidFill>
              <a:ea typeface="ＭＳ Ｐゴシック" pitchFamily="50" charset="-128"/>
              <a:cs typeface="+mn-cs"/>
            </a:endParaRPr>
          </a:p>
        </p:txBody>
      </p:sp>
      <p:sp>
        <p:nvSpPr>
          <p:cNvPr id="50" name="Rectangle 41"/>
          <p:cNvSpPr>
            <a:spLocks noChangeArrowheads="1"/>
          </p:cNvSpPr>
          <p:nvPr>
            <p:custDataLst>
              <p:tags r:id="rId41"/>
            </p:custDataLst>
          </p:nvPr>
        </p:nvSpPr>
        <p:spPr bwMode="auto">
          <a:xfrm>
            <a:off x="5584426" y="3588306"/>
            <a:ext cx="84772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103" action="ppaction://hlinksldjump"/>
              </a:rPr>
              <a:t>Calendars</a:t>
            </a:r>
            <a:endParaRPr lang="en-US" altLang="ja-JP" sz="675" dirty="0">
              <a:solidFill>
                <a:srgbClr val="575757"/>
              </a:solidFill>
              <a:ea typeface="ＭＳ Ｐゴシック" pitchFamily="50" charset="-128"/>
              <a:cs typeface="+mn-cs"/>
            </a:endParaRPr>
          </a:p>
        </p:txBody>
      </p:sp>
      <p:sp>
        <p:nvSpPr>
          <p:cNvPr id="51" name="Rectangle 42"/>
          <p:cNvSpPr>
            <a:spLocks noChangeArrowheads="1"/>
          </p:cNvSpPr>
          <p:nvPr>
            <p:custDataLst>
              <p:tags r:id="rId42"/>
            </p:custDataLst>
          </p:nvPr>
        </p:nvSpPr>
        <p:spPr bwMode="auto">
          <a:xfrm>
            <a:off x="5584426" y="3847863"/>
            <a:ext cx="84772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104" action="ppaction://hlinksldjump"/>
              </a:rPr>
              <a:t>Curves</a:t>
            </a:r>
            <a:endParaRPr lang="en-US" altLang="ja-JP" sz="675" dirty="0">
              <a:solidFill>
                <a:srgbClr val="575757"/>
              </a:solidFill>
              <a:ea typeface="ＭＳ Ｐゴシック" pitchFamily="50" charset="-128"/>
              <a:cs typeface="+mn-cs"/>
            </a:endParaRPr>
          </a:p>
        </p:txBody>
      </p:sp>
      <p:cxnSp>
        <p:nvCxnSpPr>
          <p:cNvPr id="52" name="AutoShape 43"/>
          <p:cNvCxnSpPr>
            <a:cxnSpLocks noChangeShapeType="1"/>
            <a:stCxn id="11" idx="3"/>
            <a:endCxn id="28" idx="1"/>
          </p:cNvCxnSpPr>
          <p:nvPr>
            <p:custDataLst>
              <p:tags r:id="rId43"/>
            </p:custDataLst>
          </p:nvPr>
        </p:nvCxnSpPr>
        <p:spPr bwMode="auto">
          <a:xfrm flipV="1">
            <a:off x="3516136" y="979647"/>
            <a:ext cx="203771" cy="124063"/>
          </a:xfrm>
          <a:prstGeom prst="bentConnector3">
            <a:avLst>
              <a:gd name="adj1" fmla="val 50000"/>
            </a:avLst>
          </a:prstGeom>
          <a:noFill/>
          <a:ln w="12700">
            <a:solidFill>
              <a:srgbClr val="B4B4B4"/>
            </a:solidFill>
            <a:miter lim="800000"/>
            <a:headEnd/>
            <a:tailEnd/>
          </a:ln>
        </p:spPr>
      </p:cxnSp>
      <p:cxnSp>
        <p:nvCxnSpPr>
          <p:cNvPr id="53" name="AutoShape 44"/>
          <p:cNvCxnSpPr>
            <a:cxnSpLocks noChangeShapeType="1"/>
            <a:stCxn id="18" idx="3"/>
            <a:endCxn id="30" idx="1"/>
          </p:cNvCxnSpPr>
          <p:nvPr>
            <p:custDataLst>
              <p:tags r:id="rId44"/>
            </p:custDataLst>
          </p:nvPr>
        </p:nvCxnSpPr>
        <p:spPr bwMode="auto">
          <a:xfrm>
            <a:off x="3516136" y="1568054"/>
            <a:ext cx="203771" cy="1"/>
          </a:xfrm>
          <a:prstGeom prst="bentConnector3">
            <a:avLst>
              <a:gd name="adj1" fmla="val 50000"/>
            </a:avLst>
          </a:prstGeom>
          <a:noFill/>
          <a:ln w="12700">
            <a:solidFill>
              <a:srgbClr val="B4B4B4"/>
            </a:solidFill>
            <a:miter lim="800000"/>
            <a:headEnd/>
            <a:tailEnd/>
          </a:ln>
        </p:spPr>
      </p:cxnSp>
      <p:cxnSp>
        <p:nvCxnSpPr>
          <p:cNvPr id="54" name="AutoShape 45"/>
          <p:cNvCxnSpPr>
            <a:cxnSpLocks noChangeShapeType="1"/>
            <a:endCxn id="85" idx="1"/>
          </p:cNvCxnSpPr>
          <p:nvPr>
            <p:custDataLst>
              <p:tags r:id="rId45"/>
            </p:custDataLst>
          </p:nvPr>
        </p:nvCxnSpPr>
        <p:spPr bwMode="auto">
          <a:xfrm flipV="1">
            <a:off x="3517327" y="4276479"/>
            <a:ext cx="205247" cy="45882"/>
          </a:xfrm>
          <a:prstGeom prst="bentConnector3">
            <a:avLst>
              <a:gd name="adj1" fmla="val 50000"/>
            </a:avLst>
          </a:prstGeom>
          <a:noFill/>
          <a:ln w="12700">
            <a:solidFill>
              <a:srgbClr val="B4B4B4"/>
            </a:solidFill>
            <a:miter lim="800000"/>
            <a:headEnd/>
            <a:tailEnd/>
          </a:ln>
        </p:spPr>
      </p:cxnSp>
      <p:sp>
        <p:nvSpPr>
          <p:cNvPr id="55" name="Rectangle 46"/>
          <p:cNvSpPr>
            <a:spLocks noChangeArrowheads="1"/>
          </p:cNvSpPr>
          <p:nvPr>
            <p:custDataLst>
              <p:tags r:id="rId46"/>
            </p:custDataLst>
          </p:nvPr>
        </p:nvSpPr>
        <p:spPr bwMode="auto">
          <a:xfrm>
            <a:off x="6517876" y="1789272"/>
            <a:ext cx="84653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105" action="ppaction://hlinksldjump"/>
              </a:rPr>
              <a:t>Waterfalls</a:t>
            </a:r>
            <a:endParaRPr lang="en-US" altLang="ja-JP" sz="675" dirty="0">
              <a:solidFill>
                <a:srgbClr val="575757"/>
              </a:solidFill>
              <a:ea typeface="ＭＳ Ｐゴシック" pitchFamily="50" charset="-128"/>
              <a:cs typeface="+mn-cs"/>
            </a:endParaRPr>
          </a:p>
        </p:txBody>
      </p:sp>
      <p:cxnSp>
        <p:nvCxnSpPr>
          <p:cNvPr id="56" name="AutoShape 47"/>
          <p:cNvCxnSpPr>
            <a:cxnSpLocks noChangeShapeType="1"/>
            <a:stCxn id="14" idx="3"/>
            <a:endCxn id="26" idx="1"/>
          </p:cNvCxnSpPr>
          <p:nvPr>
            <p:custDataLst>
              <p:tags r:id="rId47"/>
            </p:custDataLst>
          </p:nvPr>
        </p:nvCxnSpPr>
        <p:spPr bwMode="auto">
          <a:xfrm flipV="1">
            <a:off x="3517327" y="1897619"/>
            <a:ext cx="202580" cy="124063"/>
          </a:xfrm>
          <a:prstGeom prst="bentConnector3">
            <a:avLst>
              <a:gd name="adj1" fmla="val 50000"/>
            </a:avLst>
          </a:prstGeom>
          <a:noFill/>
          <a:ln w="12700">
            <a:solidFill>
              <a:srgbClr val="B4B4B4"/>
            </a:solidFill>
            <a:miter lim="800000"/>
            <a:headEnd/>
            <a:tailEnd/>
          </a:ln>
        </p:spPr>
      </p:cxnSp>
      <p:cxnSp>
        <p:nvCxnSpPr>
          <p:cNvPr id="57" name="AutoShape 48"/>
          <p:cNvCxnSpPr>
            <a:cxnSpLocks noChangeShapeType="1"/>
            <a:stCxn id="14" idx="3"/>
            <a:endCxn id="27" idx="1"/>
          </p:cNvCxnSpPr>
          <p:nvPr>
            <p:custDataLst>
              <p:tags r:id="rId48"/>
            </p:custDataLst>
          </p:nvPr>
        </p:nvCxnSpPr>
        <p:spPr bwMode="auto">
          <a:xfrm>
            <a:off x="3517327" y="2021681"/>
            <a:ext cx="202580" cy="145019"/>
          </a:xfrm>
          <a:prstGeom prst="bentConnector3">
            <a:avLst>
              <a:gd name="adj1" fmla="val 50000"/>
            </a:avLst>
          </a:prstGeom>
          <a:noFill/>
          <a:ln w="12700">
            <a:solidFill>
              <a:srgbClr val="B4B4B4"/>
            </a:solidFill>
            <a:miter lim="800000"/>
            <a:headEnd/>
            <a:tailEnd/>
          </a:ln>
        </p:spPr>
      </p:cxnSp>
      <p:cxnSp>
        <p:nvCxnSpPr>
          <p:cNvPr id="58" name="AutoShape 49"/>
          <p:cNvCxnSpPr>
            <a:cxnSpLocks noChangeShapeType="1"/>
            <a:stCxn id="12" idx="3"/>
            <a:endCxn id="32" idx="1"/>
          </p:cNvCxnSpPr>
          <p:nvPr>
            <p:custDataLst>
              <p:tags r:id="rId49"/>
            </p:custDataLst>
          </p:nvPr>
        </p:nvCxnSpPr>
        <p:spPr bwMode="auto">
          <a:xfrm flipV="1">
            <a:off x="3517327" y="2450069"/>
            <a:ext cx="202580" cy="115729"/>
          </a:xfrm>
          <a:prstGeom prst="bentConnector3">
            <a:avLst>
              <a:gd name="adj1" fmla="val 50000"/>
            </a:avLst>
          </a:prstGeom>
          <a:noFill/>
          <a:ln w="12700">
            <a:solidFill>
              <a:srgbClr val="B4B4B4"/>
            </a:solidFill>
            <a:miter lim="800000"/>
            <a:headEnd/>
            <a:tailEnd/>
          </a:ln>
        </p:spPr>
      </p:cxnSp>
      <p:cxnSp>
        <p:nvCxnSpPr>
          <p:cNvPr id="59" name="AutoShape 50"/>
          <p:cNvCxnSpPr>
            <a:cxnSpLocks noChangeShapeType="1"/>
            <a:stCxn id="12" idx="3"/>
            <a:endCxn id="33" idx="1"/>
          </p:cNvCxnSpPr>
          <p:nvPr>
            <p:custDataLst>
              <p:tags r:id="rId50"/>
            </p:custDataLst>
          </p:nvPr>
        </p:nvCxnSpPr>
        <p:spPr bwMode="auto">
          <a:xfrm>
            <a:off x="3517327" y="2565797"/>
            <a:ext cx="202580" cy="153353"/>
          </a:xfrm>
          <a:prstGeom prst="bentConnector3">
            <a:avLst>
              <a:gd name="adj1" fmla="val 50000"/>
            </a:avLst>
          </a:prstGeom>
          <a:noFill/>
          <a:ln w="12700">
            <a:solidFill>
              <a:srgbClr val="B4B4B4"/>
            </a:solidFill>
            <a:miter lim="800000"/>
            <a:headEnd/>
            <a:tailEnd/>
          </a:ln>
        </p:spPr>
      </p:cxnSp>
      <p:cxnSp>
        <p:nvCxnSpPr>
          <p:cNvPr id="60" name="AutoShape 51"/>
          <p:cNvCxnSpPr>
            <a:cxnSpLocks noChangeShapeType="1"/>
            <a:stCxn id="19" idx="3"/>
            <a:endCxn id="34" idx="1"/>
          </p:cNvCxnSpPr>
          <p:nvPr>
            <p:custDataLst>
              <p:tags r:id="rId51"/>
            </p:custDataLst>
          </p:nvPr>
        </p:nvCxnSpPr>
        <p:spPr bwMode="auto">
          <a:xfrm>
            <a:off x="3516136" y="3039666"/>
            <a:ext cx="203771" cy="1"/>
          </a:xfrm>
          <a:prstGeom prst="bentConnector3">
            <a:avLst>
              <a:gd name="adj1" fmla="val 50000"/>
            </a:avLst>
          </a:prstGeom>
          <a:noFill/>
          <a:ln w="12700">
            <a:solidFill>
              <a:srgbClr val="B4B4B4"/>
            </a:solidFill>
            <a:miter lim="800000"/>
            <a:headEnd/>
            <a:tailEnd/>
          </a:ln>
        </p:spPr>
      </p:cxnSp>
      <p:cxnSp>
        <p:nvCxnSpPr>
          <p:cNvPr id="61" name="AutoShape 53"/>
          <p:cNvCxnSpPr>
            <a:cxnSpLocks noChangeShapeType="1"/>
            <a:stCxn id="17" idx="3"/>
            <a:endCxn id="35" idx="1"/>
          </p:cNvCxnSpPr>
          <p:nvPr>
            <p:custDataLst>
              <p:tags r:id="rId52"/>
            </p:custDataLst>
          </p:nvPr>
        </p:nvCxnSpPr>
        <p:spPr bwMode="auto">
          <a:xfrm>
            <a:off x="3516136" y="3399672"/>
            <a:ext cx="203771" cy="1349"/>
          </a:xfrm>
          <a:prstGeom prst="bentConnector3">
            <a:avLst>
              <a:gd name="adj1" fmla="val 50000"/>
            </a:avLst>
          </a:prstGeom>
          <a:noFill/>
          <a:ln w="12700">
            <a:solidFill>
              <a:srgbClr val="B4B4B4"/>
            </a:solidFill>
            <a:miter lim="800000"/>
            <a:headEnd/>
            <a:tailEnd/>
          </a:ln>
        </p:spPr>
      </p:cxnSp>
      <p:cxnSp>
        <p:nvCxnSpPr>
          <p:cNvPr id="62" name="AutoShape 55"/>
          <p:cNvCxnSpPr>
            <a:cxnSpLocks noChangeShapeType="1"/>
            <a:stCxn id="20" idx="3"/>
            <a:endCxn id="37" idx="1"/>
          </p:cNvCxnSpPr>
          <p:nvPr>
            <p:custDataLst>
              <p:tags r:id="rId53"/>
            </p:custDataLst>
          </p:nvPr>
        </p:nvCxnSpPr>
        <p:spPr bwMode="auto">
          <a:xfrm flipV="1">
            <a:off x="3517327" y="3691891"/>
            <a:ext cx="202580" cy="122870"/>
          </a:xfrm>
          <a:prstGeom prst="bentConnector3">
            <a:avLst>
              <a:gd name="adj1" fmla="val 50000"/>
            </a:avLst>
          </a:prstGeom>
          <a:noFill/>
          <a:ln w="12700">
            <a:solidFill>
              <a:srgbClr val="B4B4B4"/>
            </a:solidFill>
            <a:miter lim="800000"/>
            <a:headEnd/>
            <a:tailEnd/>
          </a:ln>
        </p:spPr>
      </p:cxnSp>
      <p:cxnSp>
        <p:nvCxnSpPr>
          <p:cNvPr id="63" name="AutoShape 56"/>
          <p:cNvCxnSpPr>
            <a:cxnSpLocks noChangeShapeType="1"/>
            <a:stCxn id="20" idx="3"/>
            <a:endCxn id="38" idx="1"/>
          </p:cNvCxnSpPr>
          <p:nvPr>
            <p:custDataLst>
              <p:tags r:id="rId54"/>
            </p:custDataLst>
          </p:nvPr>
        </p:nvCxnSpPr>
        <p:spPr bwMode="auto">
          <a:xfrm>
            <a:off x="3517327" y="3814761"/>
            <a:ext cx="202580" cy="146211"/>
          </a:xfrm>
          <a:prstGeom prst="bentConnector3">
            <a:avLst>
              <a:gd name="adj1" fmla="val 50000"/>
            </a:avLst>
          </a:prstGeom>
          <a:noFill/>
          <a:ln w="12700">
            <a:solidFill>
              <a:srgbClr val="B4B4B4"/>
            </a:solidFill>
            <a:miter lim="800000"/>
            <a:headEnd/>
            <a:tailEnd/>
          </a:ln>
        </p:spPr>
      </p:cxnSp>
      <p:sp>
        <p:nvSpPr>
          <p:cNvPr id="64" name="Rectangle 57"/>
          <p:cNvSpPr>
            <a:spLocks noChangeArrowheads="1"/>
          </p:cNvSpPr>
          <p:nvPr>
            <p:custDataLst>
              <p:tags r:id="rId55"/>
            </p:custDataLst>
          </p:nvPr>
        </p:nvSpPr>
        <p:spPr bwMode="auto">
          <a:xfrm>
            <a:off x="6517876" y="2931320"/>
            <a:ext cx="84772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00A1DE"/>
                </a:solidFill>
                <a:ea typeface="ＭＳ Ｐゴシック" pitchFamily="50" charset="-128"/>
                <a:cs typeface="+mn-cs"/>
                <a:hlinkClick r:id="rId106" action="ppaction://hlinksldjump"/>
              </a:rPr>
              <a:t>Flags</a:t>
            </a:r>
            <a:endParaRPr lang="en-US" altLang="ja-JP" sz="675" dirty="0">
              <a:solidFill>
                <a:srgbClr val="00A1DE"/>
              </a:solidFill>
              <a:ea typeface="ＭＳ Ｐゴシック" pitchFamily="50" charset="-128"/>
              <a:cs typeface="+mn-cs"/>
            </a:endParaRPr>
          </a:p>
        </p:txBody>
      </p:sp>
      <p:sp>
        <p:nvSpPr>
          <p:cNvPr id="65" name="Rectangle 58"/>
          <p:cNvSpPr>
            <a:spLocks noChangeArrowheads="1"/>
          </p:cNvSpPr>
          <p:nvPr>
            <p:custDataLst>
              <p:tags r:id="rId56"/>
            </p:custDataLst>
          </p:nvPr>
        </p:nvSpPr>
        <p:spPr bwMode="auto">
          <a:xfrm>
            <a:off x="6517876" y="2058353"/>
            <a:ext cx="84653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107" action="ppaction://hlinksldjump"/>
              </a:rPr>
              <a:t>Others</a:t>
            </a:r>
            <a:endParaRPr lang="en-US" altLang="ja-JP" sz="675" dirty="0">
              <a:solidFill>
                <a:srgbClr val="575757"/>
              </a:solidFill>
              <a:ea typeface="ＭＳ Ｐゴシック" pitchFamily="50" charset="-128"/>
              <a:cs typeface="+mn-cs"/>
            </a:endParaRPr>
          </a:p>
        </p:txBody>
      </p:sp>
      <p:sp>
        <p:nvSpPr>
          <p:cNvPr id="66" name="Rectangle 59"/>
          <p:cNvSpPr>
            <a:spLocks noChangeArrowheads="1"/>
          </p:cNvSpPr>
          <p:nvPr>
            <p:custDataLst>
              <p:tags r:id="rId57"/>
            </p:custDataLst>
          </p:nvPr>
        </p:nvSpPr>
        <p:spPr bwMode="auto">
          <a:xfrm>
            <a:off x="5584426" y="2341722"/>
            <a:ext cx="84772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108" action="ppaction://hlinksldjump"/>
              </a:rPr>
              <a:t>Triangles</a:t>
            </a:r>
            <a:endParaRPr lang="en-US" altLang="ja-JP" sz="675" dirty="0">
              <a:solidFill>
                <a:srgbClr val="575757"/>
              </a:solidFill>
              <a:ea typeface="ＭＳ Ｐゴシック" pitchFamily="50" charset="-128"/>
              <a:cs typeface="+mn-cs"/>
            </a:endParaRPr>
          </a:p>
        </p:txBody>
      </p:sp>
      <p:sp>
        <p:nvSpPr>
          <p:cNvPr id="67" name="Rectangle 60"/>
          <p:cNvSpPr>
            <a:spLocks noChangeArrowheads="1"/>
          </p:cNvSpPr>
          <p:nvPr>
            <p:custDataLst>
              <p:tags r:id="rId58"/>
            </p:custDataLst>
          </p:nvPr>
        </p:nvSpPr>
        <p:spPr bwMode="auto">
          <a:xfrm>
            <a:off x="6516686" y="3578781"/>
            <a:ext cx="846534"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109" action="ppaction://hlinksldjump"/>
              </a:rPr>
              <a:t>Others</a:t>
            </a:r>
            <a:endParaRPr lang="en-US" altLang="ja-JP" sz="675" dirty="0">
              <a:solidFill>
                <a:srgbClr val="575757"/>
              </a:solidFill>
              <a:ea typeface="ＭＳ Ｐゴシック" pitchFamily="50" charset="-128"/>
              <a:cs typeface="+mn-cs"/>
            </a:endParaRPr>
          </a:p>
        </p:txBody>
      </p:sp>
      <p:sp>
        <p:nvSpPr>
          <p:cNvPr id="68" name="Rectangle 68"/>
          <p:cNvSpPr>
            <a:spLocks noChangeArrowheads="1"/>
          </p:cNvSpPr>
          <p:nvPr>
            <p:custDataLst>
              <p:tags r:id="rId59"/>
            </p:custDataLst>
          </p:nvPr>
        </p:nvSpPr>
        <p:spPr bwMode="auto">
          <a:xfrm>
            <a:off x="4652167" y="2931914"/>
            <a:ext cx="847725" cy="21550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110" action="ppaction://hlinksldjump"/>
              </a:rPr>
              <a:t>America</a:t>
            </a:r>
            <a:endParaRPr lang="en-US" altLang="ja-JP" sz="675" dirty="0">
              <a:solidFill>
                <a:srgbClr val="575757"/>
              </a:solidFill>
              <a:ea typeface="ＭＳ Ｐゴシック" pitchFamily="50" charset="-128"/>
              <a:cs typeface="+mn-cs"/>
            </a:endParaRPr>
          </a:p>
        </p:txBody>
      </p:sp>
      <p:sp>
        <p:nvSpPr>
          <p:cNvPr id="69" name="Rectangle 69"/>
          <p:cNvSpPr>
            <a:spLocks noChangeArrowheads="1"/>
          </p:cNvSpPr>
          <p:nvPr>
            <p:custDataLst>
              <p:tags r:id="rId60"/>
            </p:custDataLst>
          </p:nvPr>
        </p:nvSpPr>
        <p:spPr bwMode="auto">
          <a:xfrm>
            <a:off x="5584426" y="2931320"/>
            <a:ext cx="84772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111" action="ppaction://hlinksldjump"/>
              </a:rPr>
              <a:t>Europe</a:t>
            </a:r>
            <a:endParaRPr lang="en-US" altLang="ja-JP" sz="675" dirty="0">
              <a:solidFill>
                <a:srgbClr val="575757"/>
              </a:solidFill>
              <a:ea typeface="ＭＳ Ｐゴシック" pitchFamily="50" charset="-128"/>
              <a:cs typeface="+mn-cs"/>
            </a:endParaRPr>
          </a:p>
        </p:txBody>
      </p:sp>
      <p:sp>
        <p:nvSpPr>
          <p:cNvPr id="70" name="Rectangle 70"/>
          <p:cNvSpPr>
            <a:spLocks noChangeArrowheads="1"/>
          </p:cNvSpPr>
          <p:nvPr>
            <p:custDataLst>
              <p:tags r:id="rId61"/>
            </p:custDataLst>
          </p:nvPr>
        </p:nvSpPr>
        <p:spPr bwMode="auto">
          <a:xfrm>
            <a:off x="6516686" y="2341722"/>
            <a:ext cx="84772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112" action="ppaction://hlinksldjump"/>
              </a:rPr>
              <a:t>Others</a:t>
            </a:r>
            <a:endParaRPr lang="en-US" altLang="ja-JP" sz="675" dirty="0">
              <a:solidFill>
                <a:srgbClr val="575757"/>
              </a:solidFill>
              <a:ea typeface="ＭＳ Ｐゴシック" pitchFamily="50" charset="-128"/>
              <a:cs typeface="+mn-cs"/>
            </a:endParaRPr>
          </a:p>
        </p:txBody>
      </p:sp>
      <p:sp>
        <p:nvSpPr>
          <p:cNvPr id="71" name="Rectangle 70"/>
          <p:cNvSpPr>
            <a:spLocks noChangeArrowheads="1"/>
          </p:cNvSpPr>
          <p:nvPr>
            <p:custDataLst>
              <p:tags r:id="rId62"/>
            </p:custDataLst>
          </p:nvPr>
        </p:nvSpPr>
        <p:spPr bwMode="auto">
          <a:xfrm>
            <a:off x="3719907" y="1140381"/>
            <a:ext cx="84772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113" action="ppaction://hlinksldjump"/>
              </a:rPr>
              <a:t>Text boxes</a:t>
            </a:r>
            <a:endParaRPr lang="en-US" altLang="ja-JP" sz="675" dirty="0">
              <a:solidFill>
                <a:srgbClr val="575757"/>
              </a:solidFill>
              <a:ea typeface="ＭＳ Ｐゴシック" pitchFamily="50" charset="-128"/>
              <a:cs typeface="+mn-cs"/>
            </a:endParaRPr>
          </a:p>
        </p:txBody>
      </p:sp>
      <p:cxnSp>
        <p:nvCxnSpPr>
          <p:cNvPr id="72" name="AutoShape 74"/>
          <p:cNvCxnSpPr>
            <a:cxnSpLocks noChangeShapeType="1"/>
            <a:stCxn id="11" idx="3"/>
            <a:endCxn id="71" idx="1"/>
          </p:cNvCxnSpPr>
          <p:nvPr>
            <p:custDataLst>
              <p:tags r:id="rId63"/>
            </p:custDataLst>
          </p:nvPr>
        </p:nvCxnSpPr>
        <p:spPr bwMode="gray">
          <a:xfrm>
            <a:off x="3516136" y="1103710"/>
            <a:ext cx="203771" cy="145019"/>
          </a:xfrm>
          <a:prstGeom prst="bentConnector3">
            <a:avLst>
              <a:gd name="adj1" fmla="val 50000"/>
            </a:avLst>
          </a:prstGeom>
          <a:noFill/>
          <a:ln w="12700">
            <a:solidFill>
              <a:srgbClr val="B4B4B4"/>
            </a:solidFill>
            <a:miter lim="800000"/>
            <a:headEnd/>
            <a:tailEnd/>
          </a:ln>
        </p:spPr>
      </p:cxnSp>
      <p:sp>
        <p:nvSpPr>
          <p:cNvPr id="73" name="Rectangle 72"/>
          <p:cNvSpPr>
            <a:spLocks noChangeArrowheads="1"/>
          </p:cNvSpPr>
          <p:nvPr>
            <p:custDataLst>
              <p:tags r:id="rId64"/>
            </p:custDataLst>
          </p:nvPr>
        </p:nvSpPr>
        <p:spPr bwMode="auto">
          <a:xfrm>
            <a:off x="4652167" y="3583544"/>
            <a:ext cx="847725" cy="216694"/>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114" action="ppaction://hlinksldjump"/>
              </a:rPr>
              <a:t>Forces at work</a:t>
            </a:r>
            <a:endParaRPr lang="en-US" altLang="ja-JP" sz="675" dirty="0">
              <a:solidFill>
                <a:srgbClr val="575757"/>
              </a:solidFill>
              <a:ea typeface="ＭＳ Ｐゴシック" pitchFamily="50" charset="-128"/>
              <a:cs typeface="+mn-cs"/>
            </a:endParaRPr>
          </a:p>
        </p:txBody>
      </p:sp>
      <p:sp>
        <p:nvSpPr>
          <p:cNvPr id="74" name="Rectangle 11"/>
          <p:cNvSpPr>
            <a:spLocks noChangeArrowheads="1"/>
          </p:cNvSpPr>
          <p:nvPr>
            <p:custDataLst>
              <p:tags r:id="rId65"/>
            </p:custDataLst>
          </p:nvPr>
        </p:nvSpPr>
        <p:spPr bwMode="auto">
          <a:xfrm>
            <a:off x="2469578" y="4150277"/>
            <a:ext cx="1047750" cy="274320"/>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err="1">
                <a:solidFill>
                  <a:srgbClr val="575757"/>
                </a:solidFill>
                <a:ea typeface="ＭＳ Ｐゴシック" pitchFamily="50" charset="-128"/>
                <a:cs typeface="+mn-cs"/>
                <a:hlinkClick r:id="rId115" action="ppaction://hlinksldjump"/>
              </a:rPr>
              <a:t>Infographics</a:t>
            </a:r>
            <a:endParaRPr lang="en-US" altLang="ja-JP" sz="675" dirty="0">
              <a:solidFill>
                <a:srgbClr val="575757"/>
              </a:solidFill>
              <a:ea typeface="ＭＳ Ｐゴシック" pitchFamily="50" charset="-128"/>
              <a:cs typeface="+mn-cs"/>
            </a:endParaRPr>
          </a:p>
        </p:txBody>
      </p:sp>
      <p:sp>
        <p:nvSpPr>
          <p:cNvPr id="75" name="Rectangle 11"/>
          <p:cNvSpPr>
            <a:spLocks noChangeArrowheads="1"/>
          </p:cNvSpPr>
          <p:nvPr>
            <p:custDataLst>
              <p:tags r:id="rId66"/>
            </p:custDataLst>
          </p:nvPr>
        </p:nvSpPr>
        <p:spPr bwMode="auto">
          <a:xfrm>
            <a:off x="2469578" y="4534817"/>
            <a:ext cx="1047750" cy="274320"/>
          </a:xfrm>
          <a:prstGeom prst="rect">
            <a:avLst/>
          </a:prstGeom>
          <a:solidFill>
            <a:srgbClr val="FFFFFF"/>
          </a:solidFill>
          <a:ln w="12700" algn="ctr">
            <a:solidFill>
              <a:srgbClr val="00A1DE"/>
            </a:solidFill>
            <a:miter lim="800000"/>
            <a:headEnd/>
            <a:tailEnd/>
          </a:ln>
        </p:spPr>
        <p:txBody>
          <a:bodyPr lIns="27000" tIns="27000" rIns="27000" bIns="27000" anchor="ctr" anchorCtr="1"/>
          <a:lstStyle/>
          <a:p>
            <a:pPr defTabSz="685800">
              <a:buClrTx/>
              <a:defRPr/>
            </a:pPr>
            <a:r>
              <a:rPr lang="en-US" altLang="ja-JP" sz="675" dirty="0">
                <a:solidFill>
                  <a:srgbClr val="575757"/>
                </a:solidFill>
                <a:ea typeface="ＭＳ Ｐゴシック" pitchFamily="50" charset="-128"/>
                <a:cs typeface="+mn-cs"/>
                <a:hlinkClick r:id="rId116" action="ppaction://hlinksldjump"/>
              </a:rPr>
              <a:t>Iconography</a:t>
            </a:r>
            <a:endParaRPr lang="en-US" altLang="ja-JP" sz="675" dirty="0">
              <a:solidFill>
                <a:srgbClr val="575757"/>
              </a:solidFill>
              <a:ea typeface="ＭＳ Ｐゴシック" pitchFamily="50" charset="-128"/>
              <a:cs typeface="+mn-cs"/>
            </a:endParaRPr>
          </a:p>
        </p:txBody>
      </p:sp>
      <p:sp>
        <p:nvSpPr>
          <p:cNvPr id="76" name="TextBox 75"/>
          <p:cNvSpPr txBox="1"/>
          <p:nvPr/>
        </p:nvSpPr>
        <p:spPr>
          <a:xfrm>
            <a:off x="2263807" y="3706707"/>
            <a:ext cx="205740" cy="216110"/>
          </a:xfrm>
          <a:prstGeom prst="rect">
            <a:avLst/>
          </a:prstGeom>
          <a:solidFill>
            <a:srgbClr val="00A1DE"/>
          </a:solidFill>
          <a:ln>
            <a:solidFill>
              <a:srgbClr val="00A1DE"/>
            </a:solidFill>
          </a:ln>
        </p:spPr>
        <p:txBody>
          <a:bodyPr wrap="square" lIns="27000" tIns="27000" rIns="27000" bIns="27000" rtlCol="0" anchor="ctr">
            <a:spAutoFit/>
          </a:bodyPr>
          <a:lstStyle/>
          <a:p>
            <a:pPr algn="ctr" defTabSz="685800">
              <a:buClrTx/>
            </a:pPr>
            <a:r>
              <a:rPr lang="en-US" sz="1050" b="1" kern="1200" dirty="0">
                <a:solidFill>
                  <a:prstClr val="white"/>
                </a:solidFill>
                <a:ea typeface="+mn-ea"/>
                <a:cs typeface="+mn-cs"/>
              </a:rPr>
              <a:t>7</a:t>
            </a:r>
          </a:p>
        </p:txBody>
      </p:sp>
      <p:sp>
        <p:nvSpPr>
          <p:cNvPr id="77" name="TextBox 76"/>
          <p:cNvSpPr txBox="1"/>
          <p:nvPr/>
        </p:nvSpPr>
        <p:spPr>
          <a:xfrm>
            <a:off x="2263807" y="4179382"/>
            <a:ext cx="205740" cy="216110"/>
          </a:xfrm>
          <a:prstGeom prst="rect">
            <a:avLst/>
          </a:prstGeom>
          <a:solidFill>
            <a:srgbClr val="00A1DE"/>
          </a:solidFill>
          <a:ln>
            <a:solidFill>
              <a:srgbClr val="00A1DE"/>
            </a:solidFill>
          </a:ln>
        </p:spPr>
        <p:txBody>
          <a:bodyPr wrap="square" lIns="27000" tIns="27000" rIns="27000" bIns="27000" rtlCol="0" anchor="ctr">
            <a:spAutoFit/>
          </a:bodyPr>
          <a:lstStyle/>
          <a:p>
            <a:pPr algn="ctr" defTabSz="685800">
              <a:buClrTx/>
            </a:pPr>
            <a:r>
              <a:rPr lang="en-US" sz="1050" b="1" kern="1200" dirty="0">
                <a:solidFill>
                  <a:prstClr val="white"/>
                </a:solidFill>
                <a:ea typeface="+mn-ea"/>
                <a:cs typeface="+mn-cs"/>
              </a:rPr>
              <a:t>8</a:t>
            </a:r>
          </a:p>
        </p:txBody>
      </p:sp>
      <p:sp>
        <p:nvSpPr>
          <p:cNvPr id="78" name="TextBox 77"/>
          <p:cNvSpPr txBox="1"/>
          <p:nvPr/>
        </p:nvSpPr>
        <p:spPr>
          <a:xfrm>
            <a:off x="2263807" y="4563923"/>
            <a:ext cx="205740" cy="216110"/>
          </a:xfrm>
          <a:prstGeom prst="rect">
            <a:avLst/>
          </a:prstGeom>
          <a:solidFill>
            <a:srgbClr val="00A1DE"/>
          </a:solidFill>
          <a:ln>
            <a:solidFill>
              <a:srgbClr val="00A1DE"/>
            </a:solidFill>
          </a:ln>
        </p:spPr>
        <p:txBody>
          <a:bodyPr wrap="square" lIns="27000" tIns="27000" rIns="27000" bIns="27000" rtlCol="0" anchor="ctr">
            <a:spAutoFit/>
          </a:bodyPr>
          <a:lstStyle/>
          <a:p>
            <a:pPr algn="ctr" defTabSz="685800">
              <a:buClrTx/>
            </a:pPr>
            <a:r>
              <a:rPr lang="en-US" sz="1050" b="1" kern="1200" dirty="0">
                <a:solidFill>
                  <a:prstClr val="white"/>
                </a:solidFill>
                <a:ea typeface="+mn-ea"/>
                <a:cs typeface="+mn-cs"/>
              </a:rPr>
              <a:t>9</a:t>
            </a:r>
          </a:p>
        </p:txBody>
      </p:sp>
      <p:sp>
        <p:nvSpPr>
          <p:cNvPr id="79" name="TextBox 78"/>
          <p:cNvSpPr txBox="1"/>
          <p:nvPr/>
        </p:nvSpPr>
        <p:spPr>
          <a:xfrm>
            <a:off x="2263807" y="3291617"/>
            <a:ext cx="205740" cy="216110"/>
          </a:xfrm>
          <a:prstGeom prst="rect">
            <a:avLst/>
          </a:prstGeom>
          <a:solidFill>
            <a:srgbClr val="00A1DE"/>
          </a:solidFill>
          <a:ln>
            <a:solidFill>
              <a:srgbClr val="00A1DE"/>
            </a:solidFill>
          </a:ln>
        </p:spPr>
        <p:txBody>
          <a:bodyPr wrap="square" lIns="27000" tIns="27000" rIns="27000" bIns="27000" rtlCol="0" anchor="ctr">
            <a:spAutoFit/>
          </a:bodyPr>
          <a:lstStyle/>
          <a:p>
            <a:pPr algn="ctr" defTabSz="685800">
              <a:buClrTx/>
            </a:pPr>
            <a:r>
              <a:rPr lang="en-US" sz="1050" b="1" kern="1200" dirty="0">
                <a:solidFill>
                  <a:prstClr val="white"/>
                </a:solidFill>
                <a:ea typeface="+mn-ea"/>
                <a:cs typeface="+mn-cs"/>
              </a:rPr>
              <a:t>6</a:t>
            </a:r>
          </a:p>
        </p:txBody>
      </p:sp>
      <p:sp>
        <p:nvSpPr>
          <p:cNvPr id="80" name="TextBox 79"/>
          <p:cNvSpPr txBox="1"/>
          <p:nvPr/>
        </p:nvSpPr>
        <p:spPr>
          <a:xfrm>
            <a:off x="2263807" y="2931612"/>
            <a:ext cx="205740" cy="216110"/>
          </a:xfrm>
          <a:prstGeom prst="rect">
            <a:avLst/>
          </a:prstGeom>
          <a:solidFill>
            <a:srgbClr val="00A1DE"/>
          </a:solidFill>
          <a:ln>
            <a:solidFill>
              <a:srgbClr val="00A1DE"/>
            </a:solidFill>
          </a:ln>
        </p:spPr>
        <p:txBody>
          <a:bodyPr wrap="square" lIns="27000" tIns="27000" rIns="27000" bIns="27000" rtlCol="0" anchor="ctr">
            <a:spAutoFit/>
          </a:bodyPr>
          <a:lstStyle/>
          <a:p>
            <a:pPr algn="ctr" defTabSz="685800">
              <a:buClrTx/>
            </a:pPr>
            <a:r>
              <a:rPr lang="en-US" sz="1050" b="1" kern="1200" dirty="0">
                <a:solidFill>
                  <a:prstClr val="white"/>
                </a:solidFill>
                <a:ea typeface="+mn-ea"/>
                <a:cs typeface="+mn-cs"/>
              </a:rPr>
              <a:t>5</a:t>
            </a:r>
          </a:p>
        </p:txBody>
      </p:sp>
      <p:sp>
        <p:nvSpPr>
          <p:cNvPr id="81" name="TextBox 80"/>
          <p:cNvSpPr txBox="1"/>
          <p:nvPr/>
        </p:nvSpPr>
        <p:spPr>
          <a:xfrm>
            <a:off x="2263807" y="2457743"/>
            <a:ext cx="205740" cy="216110"/>
          </a:xfrm>
          <a:prstGeom prst="rect">
            <a:avLst/>
          </a:prstGeom>
          <a:solidFill>
            <a:srgbClr val="00A1DE"/>
          </a:solidFill>
          <a:ln>
            <a:solidFill>
              <a:srgbClr val="00A1DE"/>
            </a:solidFill>
          </a:ln>
        </p:spPr>
        <p:txBody>
          <a:bodyPr wrap="square" lIns="27000" tIns="27000" rIns="27000" bIns="27000" rtlCol="0" anchor="ctr">
            <a:spAutoFit/>
          </a:bodyPr>
          <a:lstStyle/>
          <a:p>
            <a:pPr algn="ctr" defTabSz="685800">
              <a:buClrTx/>
            </a:pPr>
            <a:r>
              <a:rPr lang="en-US" sz="1050" b="1" kern="1200" dirty="0">
                <a:solidFill>
                  <a:prstClr val="white"/>
                </a:solidFill>
                <a:ea typeface="+mn-ea"/>
                <a:cs typeface="+mn-cs"/>
              </a:rPr>
              <a:t>4</a:t>
            </a:r>
          </a:p>
        </p:txBody>
      </p:sp>
      <p:sp>
        <p:nvSpPr>
          <p:cNvPr id="82" name="TextBox 81"/>
          <p:cNvSpPr txBox="1"/>
          <p:nvPr/>
        </p:nvSpPr>
        <p:spPr>
          <a:xfrm>
            <a:off x="2263807" y="1913627"/>
            <a:ext cx="205740" cy="216110"/>
          </a:xfrm>
          <a:prstGeom prst="rect">
            <a:avLst/>
          </a:prstGeom>
          <a:solidFill>
            <a:srgbClr val="00A1DE"/>
          </a:solidFill>
          <a:ln>
            <a:solidFill>
              <a:srgbClr val="00A1DE"/>
            </a:solidFill>
          </a:ln>
        </p:spPr>
        <p:txBody>
          <a:bodyPr wrap="square" lIns="27000" tIns="27000" rIns="27000" bIns="27000" rtlCol="0" anchor="ctr">
            <a:spAutoFit/>
          </a:bodyPr>
          <a:lstStyle/>
          <a:p>
            <a:pPr algn="ctr" defTabSz="685800">
              <a:buClrTx/>
            </a:pPr>
            <a:r>
              <a:rPr lang="en-US" sz="1050" b="1" kern="1200" dirty="0">
                <a:solidFill>
                  <a:prstClr val="white"/>
                </a:solidFill>
                <a:ea typeface="+mn-ea"/>
                <a:cs typeface="+mn-cs"/>
              </a:rPr>
              <a:t>3</a:t>
            </a:r>
          </a:p>
        </p:txBody>
      </p:sp>
      <p:sp>
        <p:nvSpPr>
          <p:cNvPr id="83" name="TextBox 82"/>
          <p:cNvSpPr txBox="1"/>
          <p:nvPr/>
        </p:nvSpPr>
        <p:spPr>
          <a:xfrm>
            <a:off x="2263807" y="1459999"/>
            <a:ext cx="205740" cy="216110"/>
          </a:xfrm>
          <a:prstGeom prst="rect">
            <a:avLst/>
          </a:prstGeom>
          <a:solidFill>
            <a:srgbClr val="00A1DE"/>
          </a:solidFill>
          <a:ln>
            <a:solidFill>
              <a:srgbClr val="00A1DE"/>
            </a:solidFill>
          </a:ln>
        </p:spPr>
        <p:txBody>
          <a:bodyPr wrap="square" lIns="27000" tIns="27000" rIns="27000" bIns="27000" rtlCol="0" anchor="ctr">
            <a:spAutoFit/>
          </a:bodyPr>
          <a:lstStyle/>
          <a:p>
            <a:pPr algn="ctr" defTabSz="685800">
              <a:buClrTx/>
            </a:pPr>
            <a:r>
              <a:rPr lang="en-US" sz="1050" b="1" kern="1200" dirty="0">
                <a:solidFill>
                  <a:prstClr val="white"/>
                </a:solidFill>
                <a:ea typeface="+mn-ea"/>
                <a:cs typeface="+mn-cs"/>
              </a:rPr>
              <a:t>2</a:t>
            </a:r>
          </a:p>
        </p:txBody>
      </p:sp>
      <p:sp>
        <p:nvSpPr>
          <p:cNvPr id="84" name="TextBox 83"/>
          <p:cNvSpPr txBox="1"/>
          <p:nvPr/>
        </p:nvSpPr>
        <p:spPr>
          <a:xfrm>
            <a:off x="2263807" y="995655"/>
            <a:ext cx="205740" cy="216110"/>
          </a:xfrm>
          <a:prstGeom prst="rect">
            <a:avLst/>
          </a:prstGeom>
          <a:solidFill>
            <a:srgbClr val="00A1DE"/>
          </a:solidFill>
          <a:ln>
            <a:solidFill>
              <a:srgbClr val="00A1DE"/>
            </a:solidFill>
          </a:ln>
        </p:spPr>
        <p:txBody>
          <a:bodyPr wrap="square" lIns="27000" tIns="27000" rIns="27000" bIns="27000" rtlCol="0" anchor="ctr">
            <a:spAutoFit/>
          </a:bodyPr>
          <a:lstStyle/>
          <a:p>
            <a:pPr algn="ctr" defTabSz="685800">
              <a:buClrTx/>
            </a:pPr>
            <a:r>
              <a:rPr lang="en-US" sz="1050" b="1" kern="1200" dirty="0">
                <a:solidFill>
                  <a:prstClr val="white"/>
                </a:solidFill>
                <a:ea typeface="+mn-ea"/>
                <a:cs typeface="+mn-cs"/>
              </a:rPr>
              <a:t>1</a:t>
            </a:r>
          </a:p>
        </p:txBody>
      </p:sp>
      <p:sp>
        <p:nvSpPr>
          <p:cNvPr id="85" name="Rectangle 84"/>
          <p:cNvSpPr/>
          <p:nvPr/>
        </p:nvSpPr>
        <p:spPr>
          <a:xfrm>
            <a:off x="3722574" y="4197278"/>
            <a:ext cx="850392" cy="158402"/>
          </a:xfrm>
          <a:prstGeom prst="rect">
            <a:avLst/>
          </a:prstGeom>
          <a:noFill/>
          <a:ln w="1270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r>
              <a:rPr lang="en-US" sz="675" kern="1200" dirty="0">
                <a:solidFill>
                  <a:srgbClr val="313131"/>
                </a:solidFill>
                <a:latin typeface="Arial"/>
                <a:hlinkClick r:id="rId117" action="ppaction://hlinksldjump"/>
              </a:rPr>
              <a:t>Trees</a:t>
            </a:r>
            <a:endParaRPr lang="en-US" sz="675" kern="1200" dirty="0">
              <a:solidFill>
                <a:srgbClr val="313131"/>
              </a:solidFill>
              <a:latin typeface="Arial"/>
            </a:endParaRPr>
          </a:p>
        </p:txBody>
      </p:sp>
      <p:sp>
        <p:nvSpPr>
          <p:cNvPr id="86" name="Rectangle 85"/>
          <p:cNvSpPr/>
          <p:nvPr/>
        </p:nvSpPr>
        <p:spPr>
          <a:xfrm>
            <a:off x="4653644" y="4197278"/>
            <a:ext cx="850392" cy="158402"/>
          </a:xfrm>
          <a:prstGeom prst="rect">
            <a:avLst/>
          </a:prstGeom>
          <a:noFill/>
          <a:ln w="1270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r>
              <a:rPr lang="en-US" sz="675" kern="1200" dirty="0">
                <a:solidFill>
                  <a:srgbClr val="313131"/>
                </a:solidFill>
                <a:latin typeface="Arial"/>
                <a:hlinkClick r:id="rId118" action="ppaction://hlinksldjump"/>
              </a:rPr>
              <a:t>Connectors</a:t>
            </a:r>
            <a:endParaRPr lang="en-US" sz="675" kern="1200" dirty="0">
              <a:solidFill>
                <a:srgbClr val="313131"/>
              </a:solidFill>
              <a:latin typeface="Arial"/>
            </a:endParaRPr>
          </a:p>
        </p:txBody>
      </p:sp>
      <p:sp>
        <p:nvSpPr>
          <p:cNvPr id="87" name="Rectangle 86"/>
          <p:cNvSpPr/>
          <p:nvPr/>
        </p:nvSpPr>
        <p:spPr>
          <a:xfrm>
            <a:off x="5581759" y="4197278"/>
            <a:ext cx="850392" cy="158402"/>
          </a:xfrm>
          <a:prstGeom prst="rect">
            <a:avLst/>
          </a:prstGeom>
          <a:noFill/>
          <a:ln w="1270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r>
              <a:rPr lang="en-US" sz="675" kern="1200" dirty="0">
                <a:solidFill>
                  <a:srgbClr val="313131"/>
                </a:solidFill>
                <a:latin typeface="Arial"/>
                <a:hlinkClick r:id="rId119" action="ppaction://hlinksldjump"/>
              </a:rPr>
              <a:t>Leaves</a:t>
            </a:r>
            <a:endParaRPr lang="en-US" sz="675" kern="1200" dirty="0">
              <a:solidFill>
                <a:srgbClr val="313131"/>
              </a:solidFill>
              <a:latin typeface="Arial"/>
            </a:endParaRPr>
          </a:p>
        </p:txBody>
      </p:sp>
      <p:sp>
        <p:nvSpPr>
          <p:cNvPr id="88" name="Rectangle 87"/>
          <p:cNvSpPr/>
          <p:nvPr/>
        </p:nvSpPr>
        <p:spPr>
          <a:xfrm>
            <a:off x="4654834" y="4477301"/>
            <a:ext cx="850392" cy="158402"/>
          </a:xfrm>
          <a:prstGeom prst="rect">
            <a:avLst/>
          </a:prstGeom>
          <a:noFill/>
          <a:ln w="1270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r>
              <a:rPr lang="en-US" sz="675" kern="1200" dirty="0">
                <a:solidFill>
                  <a:srgbClr val="313131"/>
                </a:solidFill>
                <a:latin typeface="Arial"/>
                <a:hlinkClick r:id="rId120" action="ppaction://hlinksldjump"/>
              </a:rPr>
              <a:t>Bends</a:t>
            </a:r>
            <a:endParaRPr lang="en-US" sz="675" kern="1200" dirty="0">
              <a:solidFill>
                <a:srgbClr val="313131"/>
              </a:solidFill>
              <a:latin typeface="Arial"/>
            </a:endParaRPr>
          </a:p>
        </p:txBody>
      </p:sp>
      <p:sp>
        <p:nvSpPr>
          <p:cNvPr id="89" name="Rectangle 88"/>
          <p:cNvSpPr/>
          <p:nvPr/>
        </p:nvSpPr>
        <p:spPr>
          <a:xfrm>
            <a:off x="3719907" y="4477285"/>
            <a:ext cx="850392" cy="158402"/>
          </a:xfrm>
          <a:prstGeom prst="rect">
            <a:avLst/>
          </a:prstGeom>
          <a:noFill/>
          <a:ln w="1270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r>
              <a:rPr lang="en-US" sz="675" kern="1200" dirty="0">
                <a:solidFill>
                  <a:srgbClr val="313131"/>
                </a:solidFill>
                <a:latin typeface="Arial"/>
                <a:hlinkClick r:id="rId121" action="ppaction://hlinksldjump"/>
              </a:rPr>
              <a:t>Ranking Elements</a:t>
            </a:r>
            <a:endParaRPr lang="en-US" sz="675" kern="1200" dirty="0">
              <a:solidFill>
                <a:srgbClr val="313131"/>
              </a:solidFill>
              <a:latin typeface="Arial"/>
            </a:endParaRPr>
          </a:p>
        </p:txBody>
      </p:sp>
      <p:sp>
        <p:nvSpPr>
          <p:cNvPr id="90" name="Rectangle 89"/>
          <p:cNvSpPr/>
          <p:nvPr/>
        </p:nvSpPr>
        <p:spPr>
          <a:xfrm>
            <a:off x="5581759" y="4477318"/>
            <a:ext cx="850392" cy="158402"/>
          </a:xfrm>
          <a:prstGeom prst="rect">
            <a:avLst/>
          </a:prstGeom>
          <a:noFill/>
          <a:ln w="1270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r>
              <a:rPr lang="en-US" sz="675" kern="1200" dirty="0">
                <a:solidFill>
                  <a:srgbClr val="313131"/>
                </a:solidFill>
                <a:latin typeface="Arial"/>
                <a:hlinkClick r:id="rId122" action="ppaction://hlinksldjump"/>
              </a:rPr>
              <a:t>Others</a:t>
            </a:r>
            <a:endParaRPr lang="en-US" sz="675" kern="1200" dirty="0">
              <a:solidFill>
                <a:srgbClr val="313131"/>
              </a:solidFill>
              <a:latin typeface="Arial"/>
            </a:endParaRPr>
          </a:p>
        </p:txBody>
      </p:sp>
      <p:sp>
        <p:nvSpPr>
          <p:cNvPr id="91" name="Rectangle 4"/>
          <p:cNvSpPr>
            <a:spLocks noChangeArrowheads="1"/>
          </p:cNvSpPr>
          <p:nvPr>
            <p:custDataLst>
              <p:tags r:id="rId67"/>
            </p:custDataLst>
          </p:nvPr>
        </p:nvSpPr>
        <p:spPr bwMode="auto">
          <a:xfrm>
            <a:off x="1253869" y="2574845"/>
            <a:ext cx="740823" cy="274320"/>
          </a:xfrm>
          <a:prstGeom prst="rect">
            <a:avLst/>
          </a:prstGeom>
          <a:solidFill>
            <a:srgbClr val="D6D8D7"/>
          </a:solidFill>
          <a:ln w="12700" algn="ctr">
            <a:noFill/>
            <a:miter lim="800000"/>
            <a:headEnd/>
            <a:tailEnd/>
          </a:ln>
        </p:spPr>
        <p:txBody>
          <a:bodyPr lIns="27000" tIns="27000" rIns="27000" bIns="27000" anchor="ctr" anchorCtr="1"/>
          <a:lstStyle/>
          <a:p>
            <a:pPr defTabSz="685800">
              <a:buClrTx/>
              <a:defRPr/>
            </a:pPr>
            <a:r>
              <a:rPr lang="en-US" altLang="ja-JP" sz="750" b="1" dirty="0">
                <a:solidFill>
                  <a:srgbClr val="575757"/>
                </a:solidFill>
                <a:ea typeface="ＭＳ Ｐゴシック" pitchFamily="50" charset="-128"/>
                <a:cs typeface="+mn-cs"/>
              </a:rPr>
              <a:t>Charts</a:t>
            </a:r>
          </a:p>
        </p:txBody>
      </p:sp>
      <p:cxnSp>
        <p:nvCxnSpPr>
          <p:cNvPr id="92" name="Elbow Connector 91"/>
          <p:cNvCxnSpPr/>
          <p:nvPr/>
        </p:nvCxnSpPr>
        <p:spPr>
          <a:xfrm>
            <a:off x="3519994" y="4321310"/>
            <a:ext cx="202580" cy="238523"/>
          </a:xfrm>
          <a:prstGeom prst="bentConnector3">
            <a:avLst/>
          </a:prstGeom>
          <a:ln w="12700">
            <a:solidFill>
              <a:srgbClr val="B4B4B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AutoShape 13"/>
          <p:cNvCxnSpPr>
            <a:cxnSpLocks noChangeShapeType="1"/>
            <a:stCxn id="81" idx="1"/>
            <a:endCxn id="91" idx="3"/>
          </p:cNvCxnSpPr>
          <p:nvPr>
            <p:custDataLst>
              <p:tags r:id="rId68"/>
            </p:custDataLst>
          </p:nvPr>
        </p:nvCxnSpPr>
        <p:spPr bwMode="auto">
          <a:xfrm rot="10800000" flipV="1">
            <a:off x="1994693" y="2565797"/>
            <a:ext cx="269115" cy="146207"/>
          </a:xfrm>
          <a:prstGeom prst="bentConnector3">
            <a:avLst>
              <a:gd name="adj1" fmla="val 50000"/>
            </a:avLst>
          </a:prstGeom>
          <a:noFill/>
          <a:ln w="12700">
            <a:solidFill>
              <a:srgbClr val="B4B4B4"/>
            </a:solidFill>
            <a:miter lim="800000"/>
            <a:headEnd/>
            <a:tailEnd/>
          </a:ln>
        </p:spPr>
      </p:cxnSp>
    </p:spTree>
    <p:extLst>
      <p:ext uri="{BB962C8B-B14F-4D97-AF65-F5344CB8AC3E}">
        <p14:creationId xmlns:p14="http://schemas.microsoft.com/office/powerpoint/2010/main" val="1503033489"/>
      </p:ext>
    </p:extLst>
  </p:cSld>
  <p:clrMapOvr>
    <a:masterClrMapping/>
  </p:clrMapOvr>
  <p:transition>
    <p:fade/>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143000" y="0"/>
          <a:ext cx="119063" cy="119063"/>
        </p:xfrm>
        <a:graphic>
          <a:graphicData uri="http://schemas.openxmlformats.org/presentationml/2006/ole">
            <mc:AlternateContent xmlns:mc="http://schemas.openxmlformats.org/markup-compatibility/2006">
              <mc:Choice xmlns:v="urn:schemas-microsoft-com:vml" Requires="v">
                <p:oleObj name="think-cell Slide" r:id="rId7" imgW="360" imgH="360" progId="">
                  <p:embed/>
                </p:oleObj>
              </mc:Choice>
              <mc:Fallback>
                <p:oleObj name="think-cell Slide" r:id="rId7" imgW="360" imgH="360" progId="">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43000" y="0"/>
                        <a:ext cx="119063"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92225" name="Title 1"/>
          <p:cNvSpPr>
            <a:spLocks noGrp="1"/>
          </p:cNvSpPr>
          <p:nvPr>
            <p:ph type="title"/>
            <p:custDataLst>
              <p:tags r:id="rId2"/>
            </p:custDataLst>
          </p:nvPr>
        </p:nvSpPr>
        <p:spPr/>
        <p:txBody>
          <a:bodyPr/>
          <a:lstStyle/>
          <a:p>
            <a:r>
              <a:rPr lang="en-US" dirty="0"/>
              <a:t>Boxes</a:t>
            </a:r>
            <a:br>
              <a:rPr lang="en-US" dirty="0"/>
            </a:br>
            <a:r>
              <a:rPr lang="en-US" dirty="0">
                <a:solidFill>
                  <a:srgbClr val="575757"/>
                </a:solidFill>
              </a:rPr>
              <a:t>Honeycomb</a:t>
            </a:r>
          </a:p>
        </p:txBody>
      </p:sp>
      <p:sp>
        <p:nvSpPr>
          <p:cNvPr id="20" name="Text Placeholder 12"/>
          <p:cNvSpPr>
            <a:spLocks/>
          </p:cNvSpPr>
          <p:nvPr>
            <p:custDataLst>
              <p:tags r:id="rId3"/>
            </p:custDataLst>
          </p:nvPr>
        </p:nvSpPr>
        <p:spPr bwMode="auto">
          <a:xfrm>
            <a:off x="1440656" y="1131570"/>
            <a:ext cx="1098058"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262626"/>
                </a:solidFill>
                <a:ea typeface="+mn-ea"/>
                <a:cs typeface="+mn-cs"/>
              </a:rPr>
              <a:t>Graphic </a:t>
            </a:r>
            <a:r>
              <a:rPr lang="en-US" sz="750" b="1" kern="1200" dirty="0">
                <a:solidFill>
                  <a:srgbClr val="313131"/>
                </a:solidFill>
                <a:ea typeface="+mn-ea"/>
                <a:cs typeface="+mn-cs"/>
              </a:rPr>
              <a:t>title </a:t>
            </a:r>
            <a:r>
              <a:rPr lang="en-US" sz="750" b="1" kern="1200" dirty="0">
                <a:solidFill>
                  <a:srgbClr val="262626"/>
                </a:solidFill>
                <a:ea typeface="+mn-ea"/>
                <a:cs typeface="+mn-cs"/>
              </a:rPr>
              <a:t>goes here  </a:t>
            </a:r>
          </a:p>
        </p:txBody>
      </p:sp>
      <p:sp>
        <p:nvSpPr>
          <p:cNvPr id="4" name="Freeform 2"/>
          <p:cNvSpPr>
            <a:spLocks/>
          </p:cNvSpPr>
          <p:nvPr/>
        </p:nvSpPr>
        <p:spPr bwMode="blackWhite">
          <a:xfrm>
            <a:off x="2922137" y="1810805"/>
            <a:ext cx="1165860" cy="10287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rgbClr val="002776"/>
          </a:solidFill>
          <a:ln w="12700" cap="rnd">
            <a:solidFill>
              <a:schemeClr val="bg1"/>
            </a:solidFill>
            <a:round/>
            <a:headEnd/>
            <a:tailEnd/>
          </a:ln>
        </p:spPr>
        <p:txBody>
          <a:bodyPr lIns="27000" tIns="27000" rIns="27000" bIns="27000" anchor="ctr"/>
          <a:lstStyle/>
          <a:p>
            <a:pPr algn="ctr" defTabSz="685800">
              <a:buClrTx/>
              <a:defRPr/>
            </a:pPr>
            <a:r>
              <a:rPr lang="en-US" sz="1050" kern="1200" dirty="0">
                <a:solidFill>
                  <a:prstClr val="white"/>
                </a:solidFill>
                <a:ea typeface="+mn-ea"/>
                <a:cs typeface="+mn-cs"/>
              </a:rPr>
              <a:t>Text</a:t>
            </a:r>
          </a:p>
        </p:txBody>
      </p:sp>
      <p:sp>
        <p:nvSpPr>
          <p:cNvPr id="15" name="Freeform 2"/>
          <p:cNvSpPr>
            <a:spLocks/>
          </p:cNvSpPr>
          <p:nvPr/>
        </p:nvSpPr>
        <p:spPr bwMode="blackWhite">
          <a:xfrm>
            <a:off x="3847148" y="1268730"/>
            <a:ext cx="1165860" cy="10287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rgbClr val="DCDCDC"/>
          </a:solidFill>
          <a:ln w="12700" cap="rnd">
            <a:solidFill>
              <a:schemeClr val="bg1"/>
            </a:solidFill>
            <a:round/>
            <a:headEnd/>
            <a:tailEnd/>
          </a:ln>
        </p:spPr>
        <p:txBody>
          <a:bodyPr lIns="27000" tIns="27000" rIns="27000" bIns="27000" anchor="ctr"/>
          <a:lstStyle/>
          <a:p>
            <a:pPr algn="ctr" defTabSz="685800">
              <a:buClrTx/>
              <a:defRPr/>
            </a:pPr>
            <a:r>
              <a:rPr lang="en-US" sz="1050" kern="1200" dirty="0">
                <a:solidFill>
                  <a:srgbClr val="313131"/>
                </a:solidFill>
                <a:ea typeface="+mn-ea"/>
                <a:cs typeface="+mn-cs"/>
              </a:rPr>
              <a:t>Text</a:t>
            </a:r>
          </a:p>
        </p:txBody>
      </p:sp>
      <p:sp>
        <p:nvSpPr>
          <p:cNvPr id="16" name="Freeform 2"/>
          <p:cNvSpPr>
            <a:spLocks/>
          </p:cNvSpPr>
          <p:nvPr/>
        </p:nvSpPr>
        <p:spPr bwMode="blackWhite">
          <a:xfrm>
            <a:off x="4772159" y="1810805"/>
            <a:ext cx="1165860" cy="10287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rgbClr val="B4B4B4"/>
          </a:solidFill>
          <a:ln w="12700" cap="rnd">
            <a:solidFill>
              <a:schemeClr val="bg1"/>
            </a:solidFill>
            <a:round/>
            <a:headEnd/>
            <a:tailEnd/>
          </a:ln>
        </p:spPr>
        <p:txBody>
          <a:bodyPr lIns="27000" tIns="27000" rIns="27000" bIns="27000" anchor="ctr"/>
          <a:lstStyle/>
          <a:p>
            <a:pPr algn="ctr" defTabSz="685800">
              <a:buClrTx/>
              <a:defRPr/>
            </a:pPr>
            <a:r>
              <a:rPr lang="en-US" sz="1050" kern="1200">
                <a:solidFill>
                  <a:srgbClr val="313131"/>
                </a:solidFill>
                <a:ea typeface="+mn-ea"/>
                <a:cs typeface="+mn-cs"/>
              </a:rPr>
              <a:t>Text</a:t>
            </a:r>
            <a:endParaRPr lang="en-US" sz="1050" kern="1200" dirty="0">
              <a:solidFill>
                <a:srgbClr val="313131"/>
              </a:solidFill>
              <a:ea typeface="+mn-ea"/>
              <a:cs typeface="+mn-cs"/>
            </a:endParaRPr>
          </a:p>
        </p:txBody>
      </p:sp>
      <p:sp>
        <p:nvSpPr>
          <p:cNvPr id="17" name="Freeform 2"/>
          <p:cNvSpPr>
            <a:spLocks/>
          </p:cNvSpPr>
          <p:nvPr/>
        </p:nvSpPr>
        <p:spPr bwMode="blackWhite">
          <a:xfrm>
            <a:off x="3847148" y="2352879"/>
            <a:ext cx="1165860" cy="10287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rgbClr val="00A1DE"/>
          </a:solidFill>
          <a:ln w="12700" cap="rnd">
            <a:solidFill>
              <a:schemeClr val="bg1"/>
            </a:solidFill>
            <a:round/>
            <a:headEnd/>
            <a:tailEnd/>
          </a:ln>
        </p:spPr>
        <p:txBody>
          <a:bodyPr lIns="27000" tIns="27000" rIns="27000" bIns="27000" anchor="ctr"/>
          <a:lstStyle/>
          <a:p>
            <a:pPr algn="ctr" defTabSz="685800">
              <a:buClrTx/>
              <a:defRPr/>
            </a:pPr>
            <a:r>
              <a:rPr lang="en-US" sz="1050" kern="1200">
                <a:solidFill>
                  <a:prstClr val="white"/>
                </a:solidFill>
                <a:ea typeface="+mn-ea"/>
                <a:cs typeface="+mn-cs"/>
              </a:rPr>
              <a:t>Text</a:t>
            </a:r>
            <a:endParaRPr lang="en-US" sz="1050" kern="1200" dirty="0">
              <a:solidFill>
                <a:prstClr val="white"/>
              </a:solidFill>
              <a:ea typeface="+mn-ea"/>
              <a:cs typeface="+mn-cs"/>
            </a:endParaRPr>
          </a:p>
        </p:txBody>
      </p:sp>
      <p:sp>
        <p:nvSpPr>
          <p:cNvPr id="18" name="Freeform 2"/>
          <p:cNvSpPr>
            <a:spLocks/>
          </p:cNvSpPr>
          <p:nvPr/>
        </p:nvSpPr>
        <p:spPr bwMode="blackWhite">
          <a:xfrm>
            <a:off x="2922137" y="2903118"/>
            <a:ext cx="1165860" cy="10287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rgbClr val="52D0FF"/>
          </a:solidFill>
          <a:ln w="12700" cap="rnd">
            <a:solidFill>
              <a:schemeClr val="bg1"/>
            </a:solidFill>
            <a:round/>
            <a:headEnd/>
            <a:tailEnd/>
          </a:ln>
        </p:spPr>
        <p:txBody>
          <a:bodyPr lIns="27000" tIns="27000" rIns="27000" bIns="27000" anchor="ctr"/>
          <a:lstStyle/>
          <a:p>
            <a:pPr algn="ctr" defTabSz="685800">
              <a:buClrTx/>
              <a:defRPr/>
            </a:pPr>
            <a:r>
              <a:rPr lang="en-US" sz="1050" kern="1200">
                <a:solidFill>
                  <a:prstClr val="white"/>
                </a:solidFill>
                <a:ea typeface="+mn-ea"/>
                <a:cs typeface="+mn-cs"/>
              </a:rPr>
              <a:t>Text</a:t>
            </a:r>
            <a:endParaRPr lang="en-US" sz="1050" kern="1200" dirty="0">
              <a:solidFill>
                <a:prstClr val="white"/>
              </a:solidFill>
              <a:ea typeface="+mn-ea"/>
              <a:cs typeface="+mn-cs"/>
            </a:endParaRPr>
          </a:p>
        </p:txBody>
      </p:sp>
      <p:sp>
        <p:nvSpPr>
          <p:cNvPr id="19" name="Freeform 2"/>
          <p:cNvSpPr>
            <a:spLocks/>
          </p:cNvSpPr>
          <p:nvPr/>
        </p:nvSpPr>
        <p:spPr bwMode="blackWhite">
          <a:xfrm>
            <a:off x="4772159" y="2903118"/>
            <a:ext cx="1165860" cy="10287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rgbClr val="8C8C8C"/>
          </a:solidFill>
          <a:ln w="12700" cap="rnd">
            <a:solidFill>
              <a:schemeClr val="bg1"/>
            </a:solidFill>
            <a:round/>
            <a:headEnd/>
            <a:tailEnd/>
          </a:ln>
        </p:spPr>
        <p:txBody>
          <a:bodyPr lIns="27000" tIns="27000" rIns="27000" bIns="27000" anchor="ctr"/>
          <a:lstStyle/>
          <a:p>
            <a:pPr algn="ctr" defTabSz="685800">
              <a:buClrTx/>
              <a:defRPr/>
            </a:pPr>
            <a:r>
              <a:rPr lang="en-US" sz="1050" kern="1200">
                <a:solidFill>
                  <a:prstClr val="white"/>
                </a:solidFill>
                <a:ea typeface="+mn-ea"/>
                <a:cs typeface="+mn-cs"/>
              </a:rPr>
              <a:t>Text</a:t>
            </a:r>
            <a:endParaRPr lang="en-US" sz="1050" kern="1200" dirty="0">
              <a:solidFill>
                <a:prstClr val="white"/>
              </a:solidFill>
              <a:ea typeface="+mn-ea"/>
              <a:cs typeface="+mn-cs"/>
            </a:endParaRPr>
          </a:p>
        </p:txBody>
      </p:sp>
      <p:sp>
        <p:nvSpPr>
          <p:cNvPr id="21" name="Freeform 2"/>
          <p:cNvSpPr>
            <a:spLocks/>
          </p:cNvSpPr>
          <p:nvPr>
            <p:custDataLst>
              <p:tags r:id="rId4"/>
            </p:custDataLst>
          </p:nvPr>
        </p:nvSpPr>
        <p:spPr bwMode="blackWhite">
          <a:xfrm>
            <a:off x="3847148" y="3428864"/>
            <a:ext cx="1165860" cy="10287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rgbClr val="575757"/>
          </a:solidFill>
          <a:ln w="12700" cap="rnd">
            <a:solidFill>
              <a:schemeClr val="bg1"/>
            </a:solidFill>
            <a:round/>
            <a:headEnd/>
            <a:tailEnd/>
          </a:ln>
        </p:spPr>
        <p:txBody>
          <a:bodyPr lIns="27000" tIns="27000" rIns="27000" bIns="27000" anchor="ctr"/>
          <a:lstStyle/>
          <a:p>
            <a:pPr algn="ctr" defTabSz="685800">
              <a:buClrTx/>
              <a:defRPr/>
            </a:pPr>
            <a:r>
              <a:rPr lang="en-US" sz="1050" kern="1200">
                <a:solidFill>
                  <a:prstClr val="white"/>
                </a:solidFill>
                <a:ea typeface="+mn-ea"/>
                <a:cs typeface="+mn-cs"/>
              </a:rPr>
              <a:t>Text</a:t>
            </a:r>
            <a:endParaRPr lang="en-US" sz="1050" kern="1200" dirty="0">
              <a:solidFill>
                <a:prstClr val="white"/>
              </a:solidFill>
              <a:ea typeface="+mn-ea"/>
              <a:cs typeface="+mn-cs"/>
            </a:endParaRPr>
          </a:p>
        </p:txBody>
      </p:sp>
      <p:sp>
        <p:nvSpPr>
          <p:cNvPr id="24" name="Rectangle 23"/>
          <p:cNvSpPr>
            <a:spLocks noChangeArrowheads="1"/>
          </p:cNvSpPr>
          <p:nvPr/>
        </p:nvSpPr>
        <p:spPr bwMode="auto">
          <a:xfrm>
            <a:off x="5803107" y="0"/>
            <a:ext cx="2197894" cy="369332"/>
          </a:xfrm>
          <a:prstGeom prst="rect">
            <a:avLst/>
          </a:prstGeom>
          <a:solidFill>
            <a:schemeClr val="accent6"/>
          </a:solidFill>
          <a:ln w="6350" algn="ctr">
            <a:solidFill>
              <a:schemeClr val="bg1"/>
            </a:solidFill>
            <a:miter lim="800000"/>
            <a:headEnd/>
            <a:tailEnd/>
          </a:ln>
        </p:spPr>
        <p:txBody>
          <a:bodyPr tIns="68580" bIns="68580">
            <a:spAutoFit/>
          </a:bodyPr>
          <a:lstStyle/>
          <a:p>
            <a:pPr defTabSz="685800">
              <a:buClrTx/>
              <a:defRPr/>
            </a:pPr>
            <a:r>
              <a:rPr lang="en-US" sz="750" kern="1200" dirty="0">
                <a:solidFill>
                  <a:srgbClr val="313131"/>
                </a:solidFill>
                <a:ea typeface="ＭＳ Ｐゴシック" pitchFamily="50" charset="-128"/>
                <a:cs typeface="+mn-cs"/>
              </a:rPr>
              <a:t>Tip! Hold the Shift key when resizing the pieces or group to retain the shape proportions</a:t>
            </a:r>
          </a:p>
        </p:txBody>
      </p:sp>
    </p:spTree>
  </p:cSld>
  <p:clrMapOvr>
    <a:masterClrMapping/>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143000" y="0"/>
          <a:ext cx="119063" cy="119063"/>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3"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43000" y="0"/>
                        <a:ext cx="119063"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93249" name="Title 1"/>
          <p:cNvSpPr>
            <a:spLocks noGrp="1"/>
          </p:cNvSpPr>
          <p:nvPr>
            <p:ph type="title"/>
            <p:custDataLst>
              <p:tags r:id="rId2"/>
            </p:custDataLst>
          </p:nvPr>
        </p:nvSpPr>
        <p:spPr/>
        <p:txBody>
          <a:bodyPr/>
          <a:lstStyle/>
          <a:p>
            <a:r>
              <a:rPr lang="en-US" dirty="0"/>
              <a:t>Triangles  </a:t>
            </a:r>
            <a:br>
              <a:rPr lang="en-US" dirty="0"/>
            </a:br>
            <a:r>
              <a:rPr lang="en-US" dirty="0">
                <a:solidFill>
                  <a:srgbClr val="575757"/>
                </a:solidFill>
              </a:rPr>
              <a:t>Basic</a:t>
            </a:r>
          </a:p>
        </p:txBody>
      </p:sp>
      <p:grpSp>
        <p:nvGrpSpPr>
          <p:cNvPr id="16" name="Group 15"/>
          <p:cNvGrpSpPr/>
          <p:nvPr/>
        </p:nvGrpSpPr>
        <p:grpSpPr>
          <a:xfrm>
            <a:off x="1541089" y="1268730"/>
            <a:ext cx="2773786" cy="2458281"/>
            <a:chOff x="732803" y="1966765"/>
            <a:chExt cx="3698381" cy="3277708"/>
          </a:xfrm>
        </p:grpSpPr>
        <p:sp>
          <p:nvSpPr>
            <p:cNvPr id="693257" name="Freeform 2"/>
            <p:cNvSpPr>
              <a:spLocks/>
            </p:cNvSpPr>
            <p:nvPr>
              <p:custDataLst>
                <p:tags r:id="rId3"/>
              </p:custDataLst>
            </p:nvPr>
          </p:nvSpPr>
          <p:spPr bwMode="blackWhite">
            <a:xfrm>
              <a:off x="732803" y="1966765"/>
              <a:ext cx="1836000" cy="3268800"/>
            </a:xfrm>
            <a:custGeom>
              <a:avLst/>
              <a:gdLst>
                <a:gd name="T0" fmla="*/ 0 w 760"/>
                <a:gd name="T1" fmla="*/ 2147483647 h 1516"/>
                <a:gd name="T2" fmla="*/ 2147483647 w 760"/>
                <a:gd name="T3" fmla="*/ 2147483647 h 1516"/>
                <a:gd name="T4" fmla="*/ 2147483647 w 760"/>
                <a:gd name="T5" fmla="*/ 0 h 1516"/>
                <a:gd name="T6" fmla="*/ 0 w 760"/>
                <a:gd name="T7" fmla="*/ 2147483647 h 1516"/>
                <a:gd name="T8" fmla="*/ 0 60000 65536"/>
                <a:gd name="T9" fmla="*/ 0 60000 65536"/>
                <a:gd name="T10" fmla="*/ 0 60000 65536"/>
                <a:gd name="T11" fmla="*/ 0 60000 65536"/>
                <a:gd name="T12" fmla="*/ 0 w 760"/>
                <a:gd name="T13" fmla="*/ 0 h 1516"/>
                <a:gd name="T14" fmla="*/ 760 w 760"/>
                <a:gd name="T15" fmla="*/ 1516 h 1516"/>
              </a:gdLst>
              <a:ahLst/>
              <a:cxnLst>
                <a:cxn ang="T8">
                  <a:pos x="T0" y="T1"/>
                </a:cxn>
                <a:cxn ang="T9">
                  <a:pos x="T2" y="T3"/>
                </a:cxn>
                <a:cxn ang="T10">
                  <a:pos x="T4" y="T5"/>
                </a:cxn>
                <a:cxn ang="T11">
                  <a:pos x="T6" y="T7"/>
                </a:cxn>
              </a:cxnLst>
              <a:rect l="T12" t="T13" r="T14" b="T15"/>
              <a:pathLst>
                <a:path w="760" h="1516">
                  <a:moveTo>
                    <a:pt x="0" y="1516"/>
                  </a:moveTo>
                  <a:lnTo>
                    <a:pt x="760" y="960"/>
                  </a:lnTo>
                  <a:lnTo>
                    <a:pt x="760" y="0"/>
                  </a:lnTo>
                  <a:lnTo>
                    <a:pt x="0" y="1516"/>
                  </a:lnTo>
                  <a:close/>
                </a:path>
              </a:pathLst>
            </a:custGeom>
            <a:solidFill>
              <a:srgbClr val="B4B4B4"/>
            </a:solidFill>
            <a:ln w="12700">
              <a:solidFill>
                <a:schemeClr val="bg1"/>
              </a:solidFill>
              <a:round/>
              <a:headEnd/>
              <a:tailEnd/>
            </a:ln>
          </p:spPr>
          <p:txBody>
            <a:bodyPr wrap="square" lIns="432000" tIns="540000" rIns="27000" bIns="27000" anchor="ctr">
              <a:noAutofit/>
            </a:bodyPr>
            <a:lstStyle/>
            <a:p>
              <a:pPr algn="ctr" defTabSz="685800">
                <a:buClrTx/>
              </a:pPr>
              <a:r>
                <a:rPr lang="en-US" sz="1050" kern="1200" dirty="0">
                  <a:solidFill>
                    <a:prstClr val="white"/>
                  </a:solidFill>
                  <a:ea typeface="+mn-ea"/>
                  <a:cs typeface="+mn-cs"/>
                </a:rPr>
                <a:t>Text</a:t>
              </a:r>
            </a:p>
          </p:txBody>
        </p:sp>
        <p:sp>
          <p:nvSpPr>
            <p:cNvPr id="17" name="Freeform 3"/>
            <p:cNvSpPr>
              <a:spLocks/>
            </p:cNvSpPr>
            <p:nvPr>
              <p:custDataLst>
                <p:tags r:id="rId4"/>
              </p:custDataLst>
            </p:nvPr>
          </p:nvSpPr>
          <p:spPr bwMode="blackWhite">
            <a:xfrm flipH="1">
              <a:off x="2594446" y="1966765"/>
              <a:ext cx="1836738" cy="3267075"/>
            </a:xfrm>
            <a:custGeom>
              <a:avLst/>
              <a:gdLst>
                <a:gd name="T0" fmla="*/ 0 w 764"/>
                <a:gd name="T1" fmla="*/ 2147483647 h 1516"/>
                <a:gd name="T2" fmla="*/ 2147483647 w 764"/>
                <a:gd name="T3" fmla="*/ 2147483647 h 1516"/>
                <a:gd name="T4" fmla="*/ 2147483647 w 764"/>
                <a:gd name="T5" fmla="*/ 0 h 1516"/>
                <a:gd name="T6" fmla="*/ 0 w 764"/>
                <a:gd name="T7" fmla="*/ 2147483647 h 1516"/>
                <a:gd name="T8" fmla="*/ 0 60000 65536"/>
                <a:gd name="T9" fmla="*/ 0 60000 65536"/>
                <a:gd name="T10" fmla="*/ 0 60000 65536"/>
                <a:gd name="T11" fmla="*/ 0 60000 65536"/>
                <a:gd name="T12" fmla="*/ 0 w 764"/>
                <a:gd name="T13" fmla="*/ 0 h 1516"/>
                <a:gd name="T14" fmla="*/ 764 w 764"/>
                <a:gd name="T15" fmla="*/ 1516 h 1516"/>
              </a:gdLst>
              <a:ahLst/>
              <a:cxnLst>
                <a:cxn ang="T8">
                  <a:pos x="T0" y="T1"/>
                </a:cxn>
                <a:cxn ang="T9">
                  <a:pos x="T2" y="T3"/>
                </a:cxn>
                <a:cxn ang="T10">
                  <a:pos x="T4" y="T5"/>
                </a:cxn>
                <a:cxn ang="T11">
                  <a:pos x="T6" y="T7"/>
                </a:cxn>
              </a:cxnLst>
              <a:rect l="T12" t="T13" r="T14" b="T15"/>
              <a:pathLst>
                <a:path w="764" h="1516">
                  <a:moveTo>
                    <a:pt x="0" y="1516"/>
                  </a:moveTo>
                  <a:lnTo>
                    <a:pt x="764" y="960"/>
                  </a:lnTo>
                  <a:lnTo>
                    <a:pt x="764" y="0"/>
                  </a:lnTo>
                  <a:lnTo>
                    <a:pt x="0" y="1516"/>
                  </a:lnTo>
                  <a:close/>
                </a:path>
              </a:pathLst>
            </a:custGeom>
            <a:solidFill>
              <a:srgbClr val="575757"/>
            </a:solidFill>
            <a:ln w="12700">
              <a:solidFill>
                <a:schemeClr val="bg1"/>
              </a:solidFill>
              <a:round/>
              <a:headEnd/>
              <a:tailEnd/>
            </a:ln>
          </p:spPr>
          <p:txBody>
            <a:bodyPr wrap="square" lIns="27000" tIns="540000" rIns="432000" bIns="27000" anchor="ctr">
              <a:noAutofit/>
            </a:bodyPr>
            <a:lstStyle/>
            <a:p>
              <a:pPr algn="ctr" defTabSz="685800">
                <a:buClrTx/>
                <a:defRPr/>
              </a:pPr>
              <a:r>
                <a:rPr lang="en-US" sz="1050" kern="1200">
                  <a:solidFill>
                    <a:prstClr val="white"/>
                  </a:solidFill>
                  <a:ea typeface="+mn-ea"/>
                  <a:cs typeface="+mn-cs"/>
                </a:rPr>
                <a:t>Text</a:t>
              </a:r>
              <a:endParaRPr lang="en-US" sz="1050" kern="1200" dirty="0">
                <a:solidFill>
                  <a:prstClr val="white"/>
                </a:solidFill>
                <a:ea typeface="+mn-ea"/>
                <a:cs typeface="+mn-cs"/>
              </a:endParaRPr>
            </a:p>
          </p:txBody>
        </p:sp>
        <p:sp>
          <p:nvSpPr>
            <p:cNvPr id="693261" name="AutoShape 13"/>
            <p:cNvSpPr>
              <a:spLocks noChangeArrowheads="1"/>
            </p:cNvSpPr>
            <p:nvPr>
              <p:custDataLst>
                <p:tags r:id="rId5"/>
              </p:custDataLst>
            </p:nvPr>
          </p:nvSpPr>
          <p:spPr bwMode="blackWhite">
            <a:xfrm>
              <a:off x="771874" y="4057023"/>
              <a:ext cx="3619500" cy="1187450"/>
            </a:xfrm>
            <a:prstGeom prst="triangle">
              <a:avLst>
                <a:gd name="adj" fmla="val 50022"/>
              </a:avLst>
            </a:prstGeom>
            <a:solidFill>
              <a:srgbClr val="00A1DE"/>
            </a:solidFill>
            <a:ln w="12700">
              <a:solidFill>
                <a:schemeClr val="bg1"/>
              </a:solidFill>
              <a:miter lim="800000"/>
              <a:headEnd/>
              <a:tailEnd/>
            </a:ln>
          </p:spPr>
          <p:txBody>
            <a:bodyPr wrap="square" lIns="27000" tIns="27000" rIns="27000" bIns="27000" anchor="ctr">
              <a:noAutofit/>
            </a:bodyPr>
            <a:lstStyle/>
            <a:p>
              <a:pPr algn="ctr" defTabSz="571500">
                <a:lnSpc>
                  <a:spcPct val="95000"/>
                </a:lnSpc>
                <a:buClrTx/>
              </a:pPr>
              <a:r>
                <a:rPr lang="en-US" altLang="ja-JP" sz="1050" kern="1200">
                  <a:solidFill>
                    <a:prstClr val="white"/>
                  </a:solidFill>
                  <a:ea typeface="ＭＳ Ｐゴシック" charset="-128"/>
                  <a:cs typeface="+mn-cs"/>
                </a:rPr>
                <a:t>Text</a:t>
              </a:r>
              <a:endParaRPr lang="en-US" altLang="ja-JP" sz="1050" kern="1200" dirty="0">
                <a:solidFill>
                  <a:prstClr val="white"/>
                </a:solidFill>
                <a:ea typeface="ＭＳ Ｐゴシック" charset="-128"/>
                <a:cs typeface="+mn-cs"/>
              </a:endParaRPr>
            </a:p>
          </p:txBody>
        </p:sp>
      </p:grpSp>
      <p:sp>
        <p:nvSpPr>
          <p:cNvPr id="693252" name="Freeform 8"/>
          <p:cNvSpPr>
            <a:spLocks/>
          </p:cNvSpPr>
          <p:nvPr/>
        </p:nvSpPr>
        <p:spPr bwMode="blackWhite">
          <a:xfrm>
            <a:off x="5495050" y="2499931"/>
            <a:ext cx="1291829" cy="1232297"/>
          </a:xfrm>
          <a:custGeom>
            <a:avLst/>
            <a:gdLst>
              <a:gd name="T0" fmla="*/ 0 w 760"/>
              <a:gd name="T1" fmla="*/ 0 h 752"/>
              <a:gd name="T2" fmla="*/ 2147483647 w 760"/>
              <a:gd name="T3" fmla="*/ 0 h 752"/>
              <a:gd name="T4" fmla="*/ 2147483647 w 760"/>
              <a:gd name="T5" fmla="*/ 2147483647 h 752"/>
              <a:gd name="T6" fmla="*/ 0 w 760"/>
              <a:gd name="T7" fmla="*/ 0 h 752"/>
              <a:gd name="T8" fmla="*/ 0 60000 65536"/>
              <a:gd name="T9" fmla="*/ 0 60000 65536"/>
              <a:gd name="T10" fmla="*/ 0 60000 65536"/>
              <a:gd name="T11" fmla="*/ 0 60000 65536"/>
              <a:gd name="T12" fmla="*/ 0 w 760"/>
              <a:gd name="T13" fmla="*/ 0 h 752"/>
              <a:gd name="T14" fmla="*/ 760 w 760"/>
              <a:gd name="T15" fmla="*/ 752 h 752"/>
            </a:gdLst>
            <a:ahLst/>
            <a:cxnLst>
              <a:cxn ang="T8">
                <a:pos x="T0" y="T1"/>
              </a:cxn>
              <a:cxn ang="T9">
                <a:pos x="T2" y="T3"/>
              </a:cxn>
              <a:cxn ang="T10">
                <a:pos x="T4" y="T5"/>
              </a:cxn>
              <a:cxn ang="T11">
                <a:pos x="T6" y="T7"/>
              </a:cxn>
            </a:cxnLst>
            <a:rect l="T12" t="T13" r="T14" b="T15"/>
            <a:pathLst>
              <a:path w="760" h="752">
                <a:moveTo>
                  <a:pt x="0" y="0"/>
                </a:moveTo>
                <a:lnTo>
                  <a:pt x="759" y="0"/>
                </a:lnTo>
                <a:lnTo>
                  <a:pt x="384" y="751"/>
                </a:lnTo>
                <a:lnTo>
                  <a:pt x="0" y="0"/>
                </a:lnTo>
              </a:path>
            </a:pathLst>
          </a:custGeom>
          <a:solidFill>
            <a:schemeClr val="accent2"/>
          </a:solidFill>
          <a:ln w="12700" cap="rnd">
            <a:solidFill>
              <a:schemeClr val="bg1"/>
            </a:solidFill>
            <a:round/>
            <a:headEnd/>
            <a:tailEnd/>
          </a:ln>
        </p:spPr>
        <p:txBody>
          <a:bodyPr wrap="square" lIns="27000" tIns="27000" rIns="27000" bIns="216000" anchor="ctr">
            <a:noAutofit/>
          </a:bodyPr>
          <a:lstStyle/>
          <a:p>
            <a:pPr algn="ctr" defTabSz="685800">
              <a:buClrTx/>
            </a:pPr>
            <a:r>
              <a:rPr lang="en-US" sz="1050" kern="1200">
                <a:solidFill>
                  <a:prstClr val="white"/>
                </a:solidFill>
                <a:ea typeface="+mn-ea"/>
                <a:cs typeface="+mn-cs"/>
              </a:rPr>
              <a:t>Text</a:t>
            </a:r>
            <a:endParaRPr lang="en-US" sz="1050" kern="1200" dirty="0">
              <a:solidFill>
                <a:prstClr val="white"/>
              </a:solidFill>
              <a:ea typeface="+mn-ea"/>
              <a:cs typeface="+mn-cs"/>
            </a:endParaRPr>
          </a:p>
        </p:txBody>
      </p:sp>
      <p:sp>
        <p:nvSpPr>
          <p:cNvPr id="4" name="Isosceles Triangle 3"/>
          <p:cNvSpPr/>
          <p:nvPr/>
        </p:nvSpPr>
        <p:spPr>
          <a:xfrm>
            <a:off x="5495030" y="1268730"/>
            <a:ext cx="1291870" cy="1231200"/>
          </a:xfrm>
          <a:prstGeom prst="triangle">
            <a:avLst/>
          </a:prstGeom>
          <a:solidFill>
            <a:srgbClr val="DCDCDC"/>
          </a:solidFill>
          <a:ln w="12700" cap="rnd">
            <a:solidFill>
              <a:schemeClr val="bg1"/>
            </a:solidFill>
            <a:round/>
            <a:headEnd/>
            <a:tailEnd/>
          </a:ln>
        </p:spPr>
        <p:txBody>
          <a:bodyPr wrap="square" lIns="27000" tIns="27000" rIns="27000" bIns="216000" anchor="ctr">
            <a:noAutofit/>
          </a:bodyPr>
          <a:lstStyle/>
          <a:p>
            <a:pPr algn="ctr" defTabSz="685800">
              <a:buClrTx/>
            </a:pPr>
            <a:r>
              <a:rPr lang="en-US" sz="1050" kern="1200" dirty="0">
                <a:solidFill>
                  <a:srgbClr val="313131"/>
                </a:solidFill>
                <a:latin typeface="Arial" charset="0"/>
                <a:ea typeface="+mn-ea"/>
                <a:cs typeface="Arial" charset="0"/>
              </a:rPr>
              <a:t>Text</a:t>
            </a:r>
          </a:p>
        </p:txBody>
      </p:sp>
      <p:sp>
        <p:nvSpPr>
          <p:cNvPr id="23" name="Isosceles Triangle 22"/>
          <p:cNvSpPr/>
          <p:nvPr/>
        </p:nvSpPr>
        <p:spPr>
          <a:xfrm>
            <a:off x="4849095" y="2499930"/>
            <a:ext cx="1291870" cy="1231200"/>
          </a:xfrm>
          <a:prstGeom prst="triangle">
            <a:avLst/>
          </a:prstGeom>
          <a:solidFill>
            <a:srgbClr val="575757"/>
          </a:solidFill>
          <a:ln w="12700" cap="rnd">
            <a:solidFill>
              <a:schemeClr val="bg1"/>
            </a:solidFill>
            <a:round/>
            <a:headEnd/>
            <a:tailEnd/>
          </a:ln>
        </p:spPr>
        <p:txBody>
          <a:bodyPr wrap="square" lIns="27000" tIns="27000" rIns="27000" bIns="216000" anchor="ctr">
            <a:noAutofit/>
          </a:bodyPr>
          <a:lstStyle/>
          <a:p>
            <a:pPr algn="ctr" defTabSz="685800">
              <a:buClrTx/>
            </a:pPr>
            <a:r>
              <a:rPr lang="en-US" sz="1050" kern="1200">
                <a:solidFill>
                  <a:prstClr val="white"/>
                </a:solidFill>
                <a:ea typeface="+mn-ea"/>
                <a:cs typeface="+mn-cs"/>
              </a:rPr>
              <a:t>Text</a:t>
            </a:r>
            <a:endParaRPr lang="en-US" sz="1050" kern="1200" dirty="0">
              <a:solidFill>
                <a:prstClr val="white"/>
              </a:solidFill>
              <a:ea typeface="+mn-ea"/>
              <a:cs typeface="+mn-cs"/>
            </a:endParaRPr>
          </a:p>
        </p:txBody>
      </p:sp>
      <p:sp>
        <p:nvSpPr>
          <p:cNvPr id="24" name="Isosceles Triangle 23"/>
          <p:cNvSpPr/>
          <p:nvPr/>
        </p:nvSpPr>
        <p:spPr>
          <a:xfrm>
            <a:off x="6140965" y="2499930"/>
            <a:ext cx="1291870" cy="1231200"/>
          </a:xfrm>
          <a:prstGeom prst="triangle">
            <a:avLst/>
          </a:prstGeom>
          <a:solidFill>
            <a:srgbClr val="B4B4B4"/>
          </a:solidFill>
          <a:ln w="12700" cap="rnd">
            <a:solidFill>
              <a:schemeClr val="bg1"/>
            </a:solidFill>
            <a:round/>
            <a:headEnd/>
            <a:tailEnd/>
          </a:ln>
        </p:spPr>
        <p:txBody>
          <a:bodyPr wrap="square" lIns="27000" tIns="27000" rIns="27000" bIns="216000" anchor="ctr">
            <a:noAutofit/>
          </a:bodyPr>
          <a:lstStyle/>
          <a:p>
            <a:pPr algn="ctr" defTabSz="685800">
              <a:buClrTx/>
            </a:pPr>
            <a:r>
              <a:rPr lang="en-US" sz="1050" kern="1200">
                <a:solidFill>
                  <a:prstClr val="white"/>
                </a:solidFill>
                <a:latin typeface="Arial" charset="0"/>
                <a:ea typeface="+mn-ea"/>
                <a:cs typeface="Arial" charset="0"/>
              </a:rPr>
              <a:t>Text</a:t>
            </a:r>
          </a:p>
        </p:txBody>
      </p:sp>
      <p:sp>
        <p:nvSpPr>
          <p:cNvPr id="18" name="Rectangle 17"/>
          <p:cNvSpPr>
            <a:spLocks noChangeArrowheads="1"/>
          </p:cNvSpPr>
          <p:nvPr/>
        </p:nvSpPr>
        <p:spPr bwMode="auto">
          <a:xfrm>
            <a:off x="5803107" y="0"/>
            <a:ext cx="2197894" cy="369332"/>
          </a:xfrm>
          <a:prstGeom prst="rect">
            <a:avLst/>
          </a:prstGeom>
          <a:solidFill>
            <a:schemeClr val="accent6"/>
          </a:solidFill>
          <a:ln w="6350" algn="ctr">
            <a:solidFill>
              <a:schemeClr val="bg1"/>
            </a:solidFill>
            <a:miter lim="800000"/>
            <a:headEnd/>
            <a:tailEnd/>
          </a:ln>
        </p:spPr>
        <p:txBody>
          <a:bodyPr tIns="68580" bIns="68580">
            <a:spAutoFit/>
          </a:bodyPr>
          <a:lstStyle/>
          <a:p>
            <a:pPr defTabSz="685800">
              <a:buClrTx/>
              <a:defRPr/>
            </a:pPr>
            <a:r>
              <a:rPr lang="en-US" sz="750" kern="1200" dirty="0">
                <a:solidFill>
                  <a:srgbClr val="313131"/>
                </a:solidFill>
                <a:ea typeface="ＭＳ Ｐゴシック" pitchFamily="50" charset="-128"/>
                <a:cs typeface="+mn-cs"/>
              </a:rPr>
              <a:t>Tip! Hold the Shift key when resizing the pieces or group to retain the shape proportions</a:t>
            </a:r>
          </a:p>
        </p:txBody>
      </p:sp>
    </p:spTree>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143000" y="0"/>
          <a:ext cx="119063" cy="119063"/>
        </p:xfrm>
        <a:graphic>
          <a:graphicData uri="http://schemas.openxmlformats.org/presentationml/2006/ole">
            <mc:AlternateContent xmlns:mc="http://schemas.openxmlformats.org/markup-compatibility/2006">
              <mc:Choice xmlns:v="urn:schemas-microsoft-com:vml" Requires="v">
                <p:oleObj name="think-cell Slide" r:id="rId30" imgW="360" imgH="360" progId="">
                  <p:embed/>
                </p:oleObj>
              </mc:Choice>
              <mc:Fallback>
                <p:oleObj name="think-cell Slide" r:id="rId30" imgW="360" imgH="360" progId="">
                  <p:embed/>
                  <p:pic>
                    <p:nvPicPr>
                      <p:cNvPr id="2" name="Object 1"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143000" y="0"/>
                        <a:ext cx="119063"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94273" name="Title 1"/>
          <p:cNvSpPr>
            <a:spLocks noGrp="1"/>
          </p:cNvSpPr>
          <p:nvPr>
            <p:ph type="title"/>
            <p:custDataLst>
              <p:tags r:id="rId2"/>
            </p:custDataLst>
          </p:nvPr>
        </p:nvSpPr>
        <p:spPr/>
        <p:txBody>
          <a:bodyPr/>
          <a:lstStyle/>
          <a:p>
            <a:r>
              <a:rPr lang="en-US"/>
              <a:t>Triangles – pyramids</a:t>
            </a:r>
            <a:endParaRPr lang="en-US" dirty="0"/>
          </a:p>
        </p:txBody>
      </p:sp>
      <p:grpSp>
        <p:nvGrpSpPr>
          <p:cNvPr id="34" name="Group 33"/>
          <p:cNvGrpSpPr/>
          <p:nvPr/>
        </p:nvGrpSpPr>
        <p:grpSpPr>
          <a:xfrm>
            <a:off x="5159920" y="1026557"/>
            <a:ext cx="2065734" cy="1796415"/>
            <a:chOff x="4856163" y="1368743"/>
            <a:chExt cx="2754312" cy="2395220"/>
          </a:xfrm>
        </p:grpSpPr>
        <p:sp>
          <p:nvSpPr>
            <p:cNvPr id="52" name="Freeform 3"/>
            <p:cNvSpPr>
              <a:spLocks/>
            </p:cNvSpPr>
            <p:nvPr>
              <p:custDataLst>
                <p:tags r:id="rId25"/>
              </p:custDataLst>
            </p:nvPr>
          </p:nvSpPr>
          <p:spPr bwMode="blackWhite">
            <a:xfrm>
              <a:off x="5775325" y="1368743"/>
              <a:ext cx="915988" cy="795337"/>
            </a:xfrm>
            <a:custGeom>
              <a:avLst/>
              <a:gdLst>
                <a:gd name="T0" fmla="*/ 991074 w 891"/>
                <a:gd name="T1" fmla="*/ 794338 h 796"/>
                <a:gd name="T2" fmla="*/ 495537 w 891"/>
                <a:gd name="T3" fmla="*/ 0 h 796"/>
                <a:gd name="T4" fmla="*/ 0 w 891"/>
                <a:gd name="T5" fmla="*/ 794338 h 796"/>
                <a:gd name="T6" fmla="*/ 991074 w 891"/>
                <a:gd name="T7" fmla="*/ 794338 h 796"/>
                <a:gd name="T8" fmla="*/ 0 60000 65536"/>
                <a:gd name="T9" fmla="*/ 0 60000 65536"/>
                <a:gd name="T10" fmla="*/ 0 60000 65536"/>
                <a:gd name="T11" fmla="*/ 0 60000 65536"/>
                <a:gd name="T12" fmla="*/ 0 w 891"/>
                <a:gd name="T13" fmla="*/ 0 h 796"/>
                <a:gd name="T14" fmla="*/ 891 w 891"/>
                <a:gd name="T15" fmla="*/ 796 h 796"/>
              </a:gdLst>
              <a:ahLst/>
              <a:cxnLst>
                <a:cxn ang="T8">
                  <a:pos x="T0" y="T1"/>
                </a:cxn>
                <a:cxn ang="T9">
                  <a:pos x="T2" y="T3"/>
                </a:cxn>
                <a:cxn ang="T10">
                  <a:pos x="T4" y="T5"/>
                </a:cxn>
                <a:cxn ang="T11">
                  <a:pos x="T6" y="T7"/>
                </a:cxn>
              </a:cxnLst>
              <a:rect l="T12" t="T13" r="T14" b="T15"/>
              <a:pathLst>
                <a:path w="891" h="796">
                  <a:moveTo>
                    <a:pt x="890" y="795"/>
                  </a:moveTo>
                  <a:lnTo>
                    <a:pt x="445" y="0"/>
                  </a:lnTo>
                  <a:lnTo>
                    <a:pt x="0" y="795"/>
                  </a:lnTo>
                  <a:lnTo>
                    <a:pt x="890" y="795"/>
                  </a:lnTo>
                </a:path>
              </a:pathLst>
            </a:custGeom>
            <a:solidFill>
              <a:srgbClr val="575757"/>
            </a:solidFill>
            <a:ln w="12700" cap="rnd">
              <a:solidFill>
                <a:schemeClr val="bg1"/>
              </a:solidFill>
              <a:round/>
              <a:headEnd/>
              <a:tailEnd/>
            </a:ln>
          </p:spPr>
          <p:txBody>
            <a:bodyPr lIns="27000" tIns="162000" rIns="27000" bIns="27000" anchor="ctr" anchorCtr="0">
              <a:noAutofit/>
            </a:bodyPr>
            <a:lstStyle/>
            <a:p>
              <a:pPr algn="ctr" defTabSz="685800">
                <a:buClrTx/>
                <a:defRPr/>
              </a:pPr>
              <a:r>
                <a:rPr lang="en-US" sz="1050" kern="1200">
                  <a:solidFill>
                    <a:prstClr val="white"/>
                  </a:solidFill>
                  <a:ea typeface="+mn-ea"/>
                  <a:cs typeface="+mn-cs"/>
                </a:rPr>
                <a:t>Text</a:t>
              </a:r>
              <a:endParaRPr lang="en-US" sz="1050" kern="1200" dirty="0">
                <a:solidFill>
                  <a:prstClr val="white"/>
                </a:solidFill>
                <a:ea typeface="+mn-ea"/>
                <a:cs typeface="+mn-cs"/>
              </a:endParaRPr>
            </a:p>
          </p:txBody>
        </p:sp>
        <p:sp>
          <p:nvSpPr>
            <p:cNvPr id="694277" name="Freeform 4"/>
            <p:cNvSpPr>
              <a:spLocks/>
            </p:cNvSpPr>
            <p:nvPr>
              <p:custDataLst>
                <p:tags r:id="rId26"/>
              </p:custDataLst>
            </p:nvPr>
          </p:nvSpPr>
          <p:spPr bwMode="blackWhite">
            <a:xfrm>
              <a:off x="4856163" y="2967038"/>
              <a:ext cx="2754312" cy="796925"/>
            </a:xfrm>
            <a:custGeom>
              <a:avLst/>
              <a:gdLst>
                <a:gd name="T0" fmla="*/ 2147483647 w 2676"/>
                <a:gd name="T1" fmla="*/ 0 h 798"/>
                <a:gd name="T2" fmla="*/ 2147483647 w 2676"/>
                <a:gd name="T3" fmla="*/ 0 h 798"/>
                <a:gd name="T4" fmla="*/ 0 w 2676"/>
                <a:gd name="T5" fmla="*/ 2147483647 h 798"/>
                <a:gd name="T6" fmla="*/ 2147483647 w 2676"/>
                <a:gd name="T7" fmla="*/ 2147483647 h 798"/>
                <a:gd name="T8" fmla="*/ 2147483647 w 2676"/>
                <a:gd name="T9" fmla="*/ 0 h 798"/>
                <a:gd name="T10" fmla="*/ 0 60000 65536"/>
                <a:gd name="T11" fmla="*/ 0 60000 65536"/>
                <a:gd name="T12" fmla="*/ 0 60000 65536"/>
                <a:gd name="T13" fmla="*/ 0 60000 65536"/>
                <a:gd name="T14" fmla="*/ 0 60000 65536"/>
                <a:gd name="T15" fmla="*/ 0 w 2676"/>
                <a:gd name="T16" fmla="*/ 0 h 798"/>
                <a:gd name="T17" fmla="*/ 2676 w 2676"/>
                <a:gd name="T18" fmla="*/ 798 h 798"/>
              </a:gdLst>
              <a:ahLst/>
              <a:cxnLst>
                <a:cxn ang="T10">
                  <a:pos x="T0" y="T1"/>
                </a:cxn>
                <a:cxn ang="T11">
                  <a:pos x="T2" y="T3"/>
                </a:cxn>
                <a:cxn ang="T12">
                  <a:pos x="T4" y="T5"/>
                </a:cxn>
                <a:cxn ang="T13">
                  <a:pos x="T6" y="T7"/>
                </a:cxn>
                <a:cxn ang="T14">
                  <a:pos x="T8" y="T9"/>
                </a:cxn>
              </a:cxnLst>
              <a:rect l="T15" t="T16" r="T17" b="T18"/>
              <a:pathLst>
                <a:path w="2676" h="798">
                  <a:moveTo>
                    <a:pt x="2229" y="0"/>
                  </a:moveTo>
                  <a:lnTo>
                    <a:pt x="446" y="0"/>
                  </a:lnTo>
                  <a:lnTo>
                    <a:pt x="0" y="797"/>
                  </a:lnTo>
                  <a:lnTo>
                    <a:pt x="2675" y="797"/>
                  </a:lnTo>
                  <a:lnTo>
                    <a:pt x="2229" y="0"/>
                  </a:lnTo>
                </a:path>
              </a:pathLst>
            </a:custGeom>
            <a:solidFill>
              <a:srgbClr val="00A1DE"/>
            </a:solidFill>
            <a:ln w="12700" cap="rnd">
              <a:solidFill>
                <a:schemeClr val="bg1"/>
              </a:solidFill>
              <a:round/>
              <a:headEnd/>
              <a:tailEnd/>
            </a:ln>
          </p:spPr>
          <p:txBody>
            <a:bodyPr lIns="27000" tIns="27000" rIns="27000" bIns="27000" anchor="ctr" anchorCtr="0">
              <a:noAutofit/>
            </a:bodyPr>
            <a:lstStyle/>
            <a:p>
              <a:pPr algn="ctr" defTabSz="685800">
                <a:buClrTx/>
              </a:pPr>
              <a:r>
                <a:rPr lang="en-US" sz="1050" kern="1200">
                  <a:solidFill>
                    <a:prstClr val="white"/>
                  </a:solidFill>
                  <a:ea typeface="+mn-ea"/>
                  <a:cs typeface="+mn-cs"/>
                </a:rPr>
                <a:t>Text</a:t>
              </a:r>
              <a:endParaRPr lang="en-US" sz="1050" kern="1200" dirty="0">
                <a:solidFill>
                  <a:prstClr val="white"/>
                </a:solidFill>
                <a:ea typeface="+mn-ea"/>
                <a:cs typeface="+mn-cs"/>
              </a:endParaRPr>
            </a:p>
          </p:txBody>
        </p:sp>
        <p:sp>
          <p:nvSpPr>
            <p:cNvPr id="694278" name="Freeform 5"/>
            <p:cNvSpPr>
              <a:spLocks/>
            </p:cNvSpPr>
            <p:nvPr>
              <p:custDataLst>
                <p:tags r:id="rId27"/>
              </p:custDataLst>
            </p:nvPr>
          </p:nvSpPr>
          <p:spPr bwMode="blackWhite">
            <a:xfrm>
              <a:off x="5314950" y="2166303"/>
              <a:ext cx="1838325" cy="798512"/>
            </a:xfrm>
            <a:custGeom>
              <a:avLst/>
              <a:gdLst>
                <a:gd name="T0" fmla="*/ 2147483647 w 1784"/>
                <a:gd name="T1" fmla="*/ 2147483647 h 796"/>
                <a:gd name="T2" fmla="*/ 2147483647 w 1784"/>
                <a:gd name="T3" fmla="*/ 0 h 796"/>
                <a:gd name="T4" fmla="*/ 2147483647 w 1784"/>
                <a:gd name="T5" fmla="*/ 0 h 796"/>
                <a:gd name="T6" fmla="*/ 0 w 1784"/>
                <a:gd name="T7" fmla="*/ 2147483647 h 796"/>
                <a:gd name="T8" fmla="*/ 2147483647 w 1784"/>
                <a:gd name="T9" fmla="*/ 2147483647 h 796"/>
                <a:gd name="T10" fmla="*/ 0 60000 65536"/>
                <a:gd name="T11" fmla="*/ 0 60000 65536"/>
                <a:gd name="T12" fmla="*/ 0 60000 65536"/>
                <a:gd name="T13" fmla="*/ 0 60000 65536"/>
                <a:gd name="T14" fmla="*/ 0 60000 65536"/>
                <a:gd name="T15" fmla="*/ 0 w 1784"/>
                <a:gd name="T16" fmla="*/ 0 h 796"/>
                <a:gd name="T17" fmla="*/ 1784 w 1784"/>
                <a:gd name="T18" fmla="*/ 796 h 796"/>
              </a:gdLst>
              <a:ahLst/>
              <a:cxnLst>
                <a:cxn ang="T10">
                  <a:pos x="T0" y="T1"/>
                </a:cxn>
                <a:cxn ang="T11">
                  <a:pos x="T2" y="T3"/>
                </a:cxn>
                <a:cxn ang="T12">
                  <a:pos x="T4" y="T5"/>
                </a:cxn>
                <a:cxn ang="T13">
                  <a:pos x="T6" y="T7"/>
                </a:cxn>
                <a:cxn ang="T14">
                  <a:pos x="T8" y="T9"/>
                </a:cxn>
              </a:cxnLst>
              <a:rect l="T15" t="T16" r="T17" b="T18"/>
              <a:pathLst>
                <a:path w="1784" h="796">
                  <a:moveTo>
                    <a:pt x="1783" y="795"/>
                  </a:moveTo>
                  <a:lnTo>
                    <a:pt x="1337" y="0"/>
                  </a:lnTo>
                  <a:lnTo>
                    <a:pt x="447" y="0"/>
                  </a:lnTo>
                  <a:lnTo>
                    <a:pt x="0" y="795"/>
                  </a:lnTo>
                  <a:lnTo>
                    <a:pt x="1783" y="795"/>
                  </a:lnTo>
                </a:path>
              </a:pathLst>
            </a:custGeom>
            <a:solidFill>
              <a:srgbClr val="B4B4B4"/>
            </a:solidFill>
            <a:ln w="12700" cap="rnd">
              <a:solidFill>
                <a:schemeClr val="bg1"/>
              </a:solidFill>
              <a:round/>
              <a:headEnd/>
              <a:tailEnd/>
            </a:ln>
          </p:spPr>
          <p:txBody>
            <a:bodyPr lIns="27000" tIns="27000" rIns="27000" bIns="27000" anchor="ctr" anchorCtr="0">
              <a:noAutofit/>
            </a:bodyPr>
            <a:lstStyle/>
            <a:p>
              <a:pPr algn="ctr" defTabSz="685800">
                <a:buClrTx/>
              </a:pPr>
              <a:r>
                <a:rPr lang="en-US" sz="1050" kern="1200">
                  <a:solidFill>
                    <a:prstClr val="white"/>
                  </a:solidFill>
                  <a:ea typeface="+mn-ea"/>
                  <a:cs typeface="+mn-cs"/>
                </a:rPr>
                <a:t>Text</a:t>
              </a:r>
              <a:endParaRPr lang="en-US" sz="1050" kern="1200" dirty="0">
                <a:solidFill>
                  <a:prstClr val="white"/>
                </a:solidFill>
                <a:ea typeface="+mn-ea"/>
                <a:cs typeface="+mn-cs"/>
              </a:endParaRPr>
            </a:p>
          </p:txBody>
        </p:sp>
      </p:grpSp>
      <p:grpSp>
        <p:nvGrpSpPr>
          <p:cNvPr id="36" name="Group 35"/>
          <p:cNvGrpSpPr/>
          <p:nvPr/>
        </p:nvGrpSpPr>
        <p:grpSpPr>
          <a:xfrm>
            <a:off x="1855907" y="2981325"/>
            <a:ext cx="1995488" cy="1750219"/>
            <a:chOff x="1258888" y="3975100"/>
            <a:chExt cx="2660650" cy="2333625"/>
          </a:xfrm>
        </p:grpSpPr>
        <p:sp>
          <p:nvSpPr>
            <p:cNvPr id="694282" name="Freeform 9"/>
            <p:cNvSpPr>
              <a:spLocks/>
            </p:cNvSpPr>
            <p:nvPr>
              <p:custDataLst>
                <p:tags r:id="rId21"/>
              </p:custDataLst>
            </p:nvPr>
          </p:nvSpPr>
          <p:spPr bwMode="blackWhite">
            <a:xfrm>
              <a:off x="1258888" y="5835650"/>
              <a:ext cx="2660650" cy="473075"/>
            </a:xfrm>
            <a:custGeom>
              <a:avLst/>
              <a:gdLst>
                <a:gd name="T0" fmla="*/ 2147483647 w 2676"/>
                <a:gd name="T1" fmla="*/ 0 h 484"/>
                <a:gd name="T2" fmla="*/ 0 w 2676"/>
                <a:gd name="T3" fmla="*/ 2147483647 h 484"/>
                <a:gd name="T4" fmla="*/ 2147483647 w 2676"/>
                <a:gd name="T5" fmla="*/ 2147483647 h 484"/>
                <a:gd name="T6" fmla="*/ 2147483647 w 2676"/>
                <a:gd name="T7" fmla="*/ 0 h 484"/>
                <a:gd name="T8" fmla="*/ 2147483647 w 2676"/>
                <a:gd name="T9" fmla="*/ 0 h 484"/>
                <a:gd name="T10" fmla="*/ 0 60000 65536"/>
                <a:gd name="T11" fmla="*/ 0 60000 65536"/>
                <a:gd name="T12" fmla="*/ 0 60000 65536"/>
                <a:gd name="T13" fmla="*/ 0 60000 65536"/>
                <a:gd name="T14" fmla="*/ 0 60000 65536"/>
                <a:gd name="T15" fmla="*/ 0 w 2676"/>
                <a:gd name="T16" fmla="*/ 0 h 484"/>
                <a:gd name="T17" fmla="*/ 2676 w 2676"/>
                <a:gd name="T18" fmla="*/ 484 h 484"/>
              </a:gdLst>
              <a:ahLst/>
              <a:cxnLst>
                <a:cxn ang="T10">
                  <a:pos x="T0" y="T1"/>
                </a:cxn>
                <a:cxn ang="T11">
                  <a:pos x="T2" y="T3"/>
                </a:cxn>
                <a:cxn ang="T12">
                  <a:pos x="T4" y="T5"/>
                </a:cxn>
                <a:cxn ang="T13">
                  <a:pos x="T6" y="T7"/>
                </a:cxn>
                <a:cxn ang="T14">
                  <a:pos x="T8" y="T9"/>
                </a:cxn>
              </a:cxnLst>
              <a:rect l="T15" t="T16" r="T17" b="T18"/>
              <a:pathLst>
                <a:path w="2676" h="484">
                  <a:moveTo>
                    <a:pt x="271" y="0"/>
                  </a:moveTo>
                  <a:lnTo>
                    <a:pt x="0" y="483"/>
                  </a:lnTo>
                  <a:lnTo>
                    <a:pt x="2675" y="483"/>
                  </a:lnTo>
                  <a:lnTo>
                    <a:pt x="2404" y="0"/>
                  </a:lnTo>
                  <a:lnTo>
                    <a:pt x="271" y="0"/>
                  </a:lnTo>
                </a:path>
              </a:pathLst>
            </a:custGeom>
            <a:solidFill>
              <a:srgbClr val="00A1DE"/>
            </a:solidFill>
            <a:ln w="12700" cap="rnd">
              <a:solidFill>
                <a:schemeClr val="bg1"/>
              </a:solidFill>
              <a:round/>
              <a:headEnd type="none" w="sm" len="sm"/>
              <a:tailEnd type="none" w="sm" len="sm"/>
            </a:ln>
          </p:spPr>
          <p:txBody>
            <a:bodyPr lIns="27000" tIns="27000" rIns="27000" bIns="27000" anchor="ctr" anchorCtr="0">
              <a:noAutofit/>
            </a:bodyPr>
            <a:lstStyle/>
            <a:p>
              <a:pPr algn="ctr" defTabSz="685800">
                <a:buClrTx/>
              </a:pPr>
              <a:r>
                <a:rPr lang="en-US" sz="1050" kern="1200">
                  <a:solidFill>
                    <a:prstClr val="white"/>
                  </a:solidFill>
                  <a:ea typeface="+mn-ea"/>
                  <a:cs typeface="+mn-cs"/>
                </a:rPr>
                <a:t>Text</a:t>
              </a:r>
              <a:endParaRPr lang="en-US" sz="1050" kern="1200" dirty="0">
                <a:solidFill>
                  <a:prstClr val="white"/>
                </a:solidFill>
                <a:ea typeface="+mn-ea"/>
                <a:cs typeface="+mn-cs"/>
              </a:endParaRPr>
            </a:p>
          </p:txBody>
        </p:sp>
        <p:sp>
          <p:nvSpPr>
            <p:cNvPr id="59" name="Freeform 10"/>
            <p:cNvSpPr>
              <a:spLocks/>
            </p:cNvSpPr>
            <p:nvPr>
              <p:custDataLst>
                <p:tags r:id="rId22"/>
              </p:custDataLst>
            </p:nvPr>
          </p:nvSpPr>
          <p:spPr bwMode="blackWhite">
            <a:xfrm>
              <a:off x="2122488" y="3975100"/>
              <a:ext cx="935037" cy="819150"/>
            </a:xfrm>
            <a:custGeom>
              <a:avLst/>
              <a:gdLst>
                <a:gd name="T0" fmla="*/ 0 w 939"/>
                <a:gd name="T1" fmla="*/ 818174 h 839"/>
                <a:gd name="T2" fmla="*/ 1011746 w 939"/>
                <a:gd name="T3" fmla="*/ 818174 h 839"/>
                <a:gd name="T4" fmla="*/ 505873 w 939"/>
                <a:gd name="T5" fmla="*/ 0 h 839"/>
                <a:gd name="T6" fmla="*/ 0 w 939"/>
                <a:gd name="T7" fmla="*/ 818174 h 839"/>
                <a:gd name="T8" fmla="*/ 0 60000 65536"/>
                <a:gd name="T9" fmla="*/ 0 60000 65536"/>
                <a:gd name="T10" fmla="*/ 0 60000 65536"/>
                <a:gd name="T11" fmla="*/ 0 60000 65536"/>
                <a:gd name="T12" fmla="*/ 0 w 939"/>
                <a:gd name="T13" fmla="*/ 0 h 839"/>
                <a:gd name="T14" fmla="*/ 939 w 939"/>
                <a:gd name="T15" fmla="*/ 839 h 839"/>
              </a:gdLst>
              <a:ahLst/>
              <a:cxnLst>
                <a:cxn ang="T8">
                  <a:pos x="T0" y="T1"/>
                </a:cxn>
                <a:cxn ang="T9">
                  <a:pos x="T2" y="T3"/>
                </a:cxn>
                <a:cxn ang="T10">
                  <a:pos x="T4" y="T5"/>
                </a:cxn>
                <a:cxn ang="T11">
                  <a:pos x="T6" y="T7"/>
                </a:cxn>
              </a:cxnLst>
              <a:rect l="T12" t="T13" r="T14" b="T15"/>
              <a:pathLst>
                <a:path w="939" h="839">
                  <a:moveTo>
                    <a:pt x="0" y="838"/>
                  </a:moveTo>
                  <a:lnTo>
                    <a:pt x="938" y="838"/>
                  </a:lnTo>
                  <a:lnTo>
                    <a:pt x="469" y="0"/>
                  </a:lnTo>
                  <a:lnTo>
                    <a:pt x="0" y="838"/>
                  </a:lnTo>
                </a:path>
              </a:pathLst>
            </a:custGeom>
            <a:solidFill>
              <a:srgbClr val="575757"/>
            </a:solidFill>
            <a:ln w="12700" cap="rnd">
              <a:solidFill>
                <a:schemeClr val="bg1"/>
              </a:solidFill>
              <a:round/>
              <a:headEnd type="none" w="sm" len="sm"/>
              <a:tailEnd type="none" w="sm" len="sm"/>
            </a:ln>
          </p:spPr>
          <p:txBody>
            <a:bodyPr lIns="27000" tIns="216000" rIns="27000" bIns="27000" anchor="ctr" anchorCtr="0">
              <a:noAutofit/>
            </a:bodyPr>
            <a:lstStyle/>
            <a:p>
              <a:pPr algn="ctr" defTabSz="685800">
                <a:buClrTx/>
                <a:defRPr/>
              </a:pPr>
              <a:r>
                <a:rPr lang="en-US" sz="1050" kern="1200">
                  <a:solidFill>
                    <a:prstClr val="white"/>
                  </a:solidFill>
                  <a:ea typeface="+mn-ea"/>
                  <a:cs typeface="+mn-cs"/>
                </a:rPr>
                <a:t>Text</a:t>
              </a:r>
              <a:endParaRPr lang="en-US" sz="1050" kern="1200" dirty="0">
                <a:solidFill>
                  <a:prstClr val="white"/>
                </a:solidFill>
                <a:ea typeface="+mn-ea"/>
                <a:cs typeface="+mn-cs"/>
              </a:endParaRPr>
            </a:p>
          </p:txBody>
        </p:sp>
        <p:sp>
          <p:nvSpPr>
            <p:cNvPr id="60" name="Freeform 11"/>
            <p:cNvSpPr>
              <a:spLocks/>
            </p:cNvSpPr>
            <p:nvPr>
              <p:custDataLst>
                <p:tags r:id="rId23"/>
              </p:custDataLst>
            </p:nvPr>
          </p:nvSpPr>
          <p:spPr bwMode="blackWhite">
            <a:xfrm>
              <a:off x="1825625" y="4794250"/>
              <a:ext cx="1527175" cy="520700"/>
            </a:xfrm>
            <a:custGeom>
              <a:avLst/>
              <a:gdLst>
                <a:gd name="T0" fmla="*/ 0 w 1536"/>
                <a:gd name="T1" fmla="*/ 519723 h 533"/>
                <a:gd name="T2" fmla="*/ 1653098 w 1536"/>
                <a:gd name="T3" fmla="*/ 519723 h 533"/>
                <a:gd name="T4" fmla="*/ 1332171 w 1536"/>
                <a:gd name="T5" fmla="*/ 0 h 533"/>
                <a:gd name="T6" fmla="*/ 322004 w 1536"/>
                <a:gd name="T7" fmla="*/ 0 h 533"/>
                <a:gd name="T8" fmla="*/ 0 w 1536"/>
                <a:gd name="T9" fmla="*/ 519723 h 533"/>
                <a:gd name="T10" fmla="*/ 0 60000 65536"/>
                <a:gd name="T11" fmla="*/ 0 60000 65536"/>
                <a:gd name="T12" fmla="*/ 0 60000 65536"/>
                <a:gd name="T13" fmla="*/ 0 60000 65536"/>
                <a:gd name="T14" fmla="*/ 0 60000 65536"/>
                <a:gd name="T15" fmla="*/ 0 w 1536"/>
                <a:gd name="T16" fmla="*/ 0 h 533"/>
                <a:gd name="T17" fmla="*/ 1536 w 1536"/>
                <a:gd name="T18" fmla="*/ 533 h 533"/>
              </a:gdLst>
              <a:ahLst/>
              <a:cxnLst>
                <a:cxn ang="T10">
                  <a:pos x="T0" y="T1"/>
                </a:cxn>
                <a:cxn ang="T11">
                  <a:pos x="T2" y="T3"/>
                </a:cxn>
                <a:cxn ang="T12">
                  <a:pos x="T4" y="T5"/>
                </a:cxn>
                <a:cxn ang="T13">
                  <a:pos x="T6" y="T7"/>
                </a:cxn>
                <a:cxn ang="T14">
                  <a:pos x="T8" y="T9"/>
                </a:cxn>
              </a:cxnLst>
              <a:rect l="T15" t="T16" r="T17" b="T18"/>
              <a:pathLst>
                <a:path w="1536" h="533">
                  <a:moveTo>
                    <a:pt x="0" y="532"/>
                  </a:moveTo>
                  <a:lnTo>
                    <a:pt x="1535" y="532"/>
                  </a:lnTo>
                  <a:lnTo>
                    <a:pt x="1237" y="0"/>
                  </a:lnTo>
                  <a:lnTo>
                    <a:pt x="299" y="0"/>
                  </a:lnTo>
                  <a:lnTo>
                    <a:pt x="0" y="532"/>
                  </a:lnTo>
                </a:path>
              </a:pathLst>
            </a:custGeom>
            <a:solidFill>
              <a:srgbClr val="B4B4B4"/>
            </a:solidFill>
            <a:ln w="12700" cap="rnd">
              <a:solidFill>
                <a:schemeClr val="bg1"/>
              </a:solidFill>
              <a:round/>
              <a:headEnd type="none" w="sm" len="sm"/>
              <a:tailEnd type="none" w="sm" len="sm"/>
            </a:ln>
          </p:spPr>
          <p:txBody>
            <a:bodyPr lIns="27000" tIns="27000" rIns="27000" bIns="27000" anchor="ctr" anchorCtr="0">
              <a:noAutofit/>
            </a:bodyPr>
            <a:lstStyle/>
            <a:p>
              <a:pPr algn="ctr" defTabSz="685800">
                <a:buClrTx/>
                <a:defRPr/>
              </a:pPr>
              <a:r>
                <a:rPr lang="en-US" sz="1050" kern="1200" dirty="0">
                  <a:solidFill>
                    <a:prstClr val="white"/>
                  </a:solidFill>
                  <a:ea typeface="+mn-ea"/>
                  <a:cs typeface="+mn-cs"/>
                </a:rPr>
                <a:t>Text</a:t>
              </a:r>
            </a:p>
          </p:txBody>
        </p:sp>
        <p:sp>
          <p:nvSpPr>
            <p:cNvPr id="694285" name="Freeform 12"/>
            <p:cNvSpPr>
              <a:spLocks/>
            </p:cNvSpPr>
            <p:nvPr>
              <p:custDataLst>
                <p:tags r:id="rId24"/>
              </p:custDataLst>
            </p:nvPr>
          </p:nvSpPr>
          <p:spPr bwMode="blackWhite">
            <a:xfrm>
              <a:off x="1528763" y="5313363"/>
              <a:ext cx="2120900" cy="523875"/>
            </a:xfrm>
            <a:custGeom>
              <a:avLst/>
              <a:gdLst>
                <a:gd name="T0" fmla="*/ 2147483647 w 2134"/>
                <a:gd name="T1" fmla="*/ 0 h 535"/>
                <a:gd name="T2" fmla="*/ 0 w 2134"/>
                <a:gd name="T3" fmla="*/ 2147483647 h 535"/>
                <a:gd name="T4" fmla="*/ 2147483647 w 2134"/>
                <a:gd name="T5" fmla="*/ 2147483647 h 535"/>
                <a:gd name="T6" fmla="*/ 2147483647 w 2134"/>
                <a:gd name="T7" fmla="*/ 0 h 535"/>
                <a:gd name="T8" fmla="*/ 2147483647 w 2134"/>
                <a:gd name="T9" fmla="*/ 0 h 535"/>
                <a:gd name="T10" fmla="*/ 0 60000 65536"/>
                <a:gd name="T11" fmla="*/ 0 60000 65536"/>
                <a:gd name="T12" fmla="*/ 0 60000 65536"/>
                <a:gd name="T13" fmla="*/ 0 60000 65536"/>
                <a:gd name="T14" fmla="*/ 0 60000 65536"/>
                <a:gd name="T15" fmla="*/ 0 w 2134"/>
                <a:gd name="T16" fmla="*/ 0 h 535"/>
                <a:gd name="T17" fmla="*/ 2134 w 2134"/>
                <a:gd name="T18" fmla="*/ 535 h 535"/>
              </a:gdLst>
              <a:ahLst/>
              <a:cxnLst>
                <a:cxn ang="T10">
                  <a:pos x="T0" y="T1"/>
                </a:cxn>
                <a:cxn ang="T11">
                  <a:pos x="T2" y="T3"/>
                </a:cxn>
                <a:cxn ang="T12">
                  <a:pos x="T4" y="T5"/>
                </a:cxn>
                <a:cxn ang="T13">
                  <a:pos x="T6" y="T7"/>
                </a:cxn>
                <a:cxn ang="T14">
                  <a:pos x="T8" y="T9"/>
                </a:cxn>
              </a:cxnLst>
              <a:rect l="T15" t="T16" r="T17" b="T18"/>
              <a:pathLst>
                <a:path w="2134" h="535">
                  <a:moveTo>
                    <a:pt x="299" y="0"/>
                  </a:moveTo>
                  <a:lnTo>
                    <a:pt x="0" y="534"/>
                  </a:lnTo>
                  <a:lnTo>
                    <a:pt x="2133" y="534"/>
                  </a:lnTo>
                  <a:lnTo>
                    <a:pt x="1834" y="0"/>
                  </a:lnTo>
                  <a:lnTo>
                    <a:pt x="299" y="0"/>
                  </a:lnTo>
                </a:path>
              </a:pathLst>
            </a:custGeom>
            <a:solidFill>
              <a:srgbClr val="DCDCDC"/>
            </a:solidFill>
            <a:ln w="12700" cap="rnd">
              <a:solidFill>
                <a:schemeClr val="bg1"/>
              </a:solidFill>
              <a:round/>
              <a:headEnd type="none" w="sm" len="sm"/>
              <a:tailEnd type="none" w="sm" len="sm"/>
            </a:ln>
          </p:spPr>
          <p:txBody>
            <a:bodyPr lIns="27000" tIns="27000" rIns="27000" bIns="27000" anchor="ctr" anchorCtr="0">
              <a:noAutofit/>
            </a:bodyPr>
            <a:lstStyle/>
            <a:p>
              <a:pPr algn="ctr" defTabSz="685800">
                <a:buClrTx/>
              </a:pPr>
              <a:r>
                <a:rPr lang="en-US" sz="1050" kern="1200" dirty="0">
                  <a:solidFill>
                    <a:srgbClr val="313131"/>
                  </a:solidFill>
                  <a:ea typeface="+mn-ea"/>
                  <a:cs typeface="+mn-cs"/>
                </a:rPr>
                <a:t>Text</a:t>
              </a:r>
            </a:p>
          </p:txBody>
        </p:sp>
      </p:grpSp>
      <p:grpSp>
        <p:nvGrpSpPr>
          <p:cNvPr id="35" name="Group 34"/>
          <p:cNvGrpSpPr/>
          <p:nvPr/>
        </p:nvGrpSpPr>
        <p:grpSpPr>
          <a:xfrm>
            <a:off x="5186113" y="2951560"/>
            <a:ext cx="2033588" cy="1779984"/>
            <a:chOff x="4891088" y="3935413"/>
            <a:chExt cx="2711450" cy="2373312"/>
          </a:xfrm>
        </p:grpSpPr>
        <p:sp>
          <p:nvSpPr>
            <p:cNvPr id="694294" name="Freeform 21"/>
            <p:cNvSpPr>
              <a:spLocks/>
            </p:cNvSpPr>
            <p:nvPr>
              <p:custDataLst>
                <p:tags r:id="rId5"/>
              </p:custDataLst>
            </p:nvPr>
          </p:nvSpPr>
          <p:spPr bwMode="blackWhite">
            <a:xfrm>
              <a:off x="5953125" y="3935413"/>
              <a:ext cx="588963" cy="517525"/>
            </a:xfrm>
            <a:custGeom>
              <a:avLst/>
              <a:gdLst>
                <a:gd name="T0" fmla="*/ 0 w 582"/>
                <a:gd name="T1" fmla="*/ 2147483647 h 520"/>
                <a:gd name="T2" fmla="*/ 2147483647 w 582"/>
                <a:gd name="T3" fmla="*/ 2147483647 h 520"/>
                <a:gd name="T4" fmla="*/ 2147483647 w 582"/>
                <a:gd name="T5" fmla="*/ 0 h 520"/>
                <a:gd name="T6" fmla="*/ 0 w 582"/>
                <a:gd name="T7" fmla="*/ 2147483647 h 520"/>
                <a:gd name="T8" fmla="*/ 0 60000 65536"/>
                <a:gd name="T9" fmla="*/ 0 60000 65536"/>
                <a:gd name="T10" fmla="*/ 0 60000 65536"/>
                <a:gd name="T11" fmla="*/ 0 60000 65536"/>
                <a:gd name="T12" fmla="*/ 0 w 582"/>
                <a:gd name="T13" fmla="*/ 0 h 520"/>
                <a:gd name="T14" fmla="*/ 582 w 582"/>
                <a:gd name="T15" fmla="*/ 520 h 520"/>
              </a:gdLst>
              <a:ahLst/>
              <a:cxnLst>
                <a:cxn ang="T8">
                  <a:pos x="T0" y="T1"/>
                </a:cxn>
                <a:cxn ang="T9">
                  <a:pos x="T2" y="T3"/>
                </a:cxn>
                <a:cxn ang="T10">
                  <a:pos x="T4" y="T5"/>
                </a:cxn>
                <a:cxn ang="T11">
                  <a:pos x="T6" y="T7"/>
                </a:cxn>
              </a:cxnLst>
              <a:rect l="T12" t="T13" r="T14" b="T15"/>
              <a:pathLst>
                <a:path w="582" h="520">
                  <a:moveTo>
                    <a:pt x="0" y="519"/>
                  </a:moveTo>
                  <a:lnTo>
                    <a:pt x="581" y="519"/>
                  </a:lnTo>
                  <a:lnTo>
                    <a:pt x="291" y="0"/>
                  </a:lnTo>
                  <a:lnTo>
                    <a:pt x="0" y="519"/>
                  </a:lnTo>
                </a:path>
              </a:pathLst>
            </a:custGeom>
            <a:solidFill>
              <a:schemeClr val="bg1"/>
            </a:solidFill>
            <a:ln w="12700" cap="rnd">
              <a:solidFill>
                <a:schemeClr val="bg1"/>
              </a:solidFill>
              <a:round/>
              <a:headEnd type="none" w="sm" len="sm"/>
              <a:tailEnd type="none" w="sm" len="sm"/>
            </a:ln>
          </p:spPr>
          <p:txBody>
            <a:bodyPr lIns="27000" tIns="27000" rIns="27000" bIns="27000" anchor="ctr" anchorCtr="0">
              <a:noAutofit/>
            </a:bodyPr>
            <a:lstStyle/>
            <a:p>
              <a:pPr algn="ctr" defTabSz="685800">
                <a:buClrTx/>
              </a:pPr>
              <a:endParaRPr lang="en-US" sz="1050" kern="1200">
                <a:solidFill>
                  <a:prstClr val="white"/>
                </a:solidFill>
                <a:ea typeface="+mn-ea"/>
                <a:cs typeface="+mn-cs"/>
              </a:endParaRPr>
            </a:p>
          </p:txBody>
        </p:sp>
        <p:sp>
          <p:nvSpPr>
            <p:cNvPr id="72" name="Freeform 23"/>
            <p:cNvSpPr>
              <a:spLocks/>
            </p:cNvSpPr>
            <p:nvPr>
              <p:custDataLst>
                <p:tags r:id="rId6"/>
              </p:custDataLst>
            </p:nvPr>
          </p:nvSpPr>
          <p:spPr bwMode="blackWhite">
            <a:xfrm>
              <a:off x="5953125" y="3935413"/>
              <a:ext cx="588963" cy="517525"/>
            </a:xfrm>
            <a:custGeom>
              <a:avLst/>
              <a:gdLst>
                <a:gd name="T0" fmla="*/ 0 w 582"/>
                <a:gd name="T1" fmla="*/ 516530 h 520"/>
                <a:gd name="T2" fmla="*/ 637078 w 582"/>
                <a:gd name="T3" fmla="*/ 516530 h 520"/>
                <a:gd name="T4" fmla="*/ 319088 w 582"/>
                <a:gd name="T5" fmla="*/ 0 h 520"/>
                <a:gd name="T6" fmla="*/ 0 w 582"/>
                <a:gd name="T7" fmla="*/ 516530 h 520"/>
                <a:gd name="T8" fmla="*/ 0 60000 65536"/>
                <a:gd name="T9" fmla="*/ 0 60000 65536"/>
                <a:gd name="T10" fmla="*/ 0 60000 65536"/>
                <a:gd name="T11" fmla="*/ 0 60000 65536"/>
                <a:gd name="T12" fmla="*/ 0 w 582"/>
                <a:gd name="T13" fmla="*/ 0 h 520"/>
                <a:gd name="T14" fmla="*/ 582 w 582"/>
                <a:gd name="T15" fmla="*/ 520 h 520"/>
              </a:gdLst>
              <a:ahLst/>
              <a:cxnLst>
                <a:cxn ang="T8">
                  <a:pos x="T0" y="T1"/>
                </a:cxn>
                <a:cxn ang="T9">
                  <a:pos x="T2" y="T3"/>
                </a:cxn>
                <a:cxn ang="T10">
                  <a:pos x="T4" y="T5"/>
                </a:cxn>
                <a:cxn ang="T11">
                  <a:pos x="T6" y="T7"/>
                </a:cxn>
              </a:cxnLst>
              <a:rect l="T12" t="T13" r="T14" b="T15"/>
              <a:pathLst>
                <a:path w="582" h="520">
                  <a:moveTo>
                    <a:pt x="0" y="519"/>
                  </a:moveTo>
                  <a:lnTo>
                    <a:pt x="581" y="519"/>
                  </a:lnTo>
                  <a:lnTo>
                    <a:pt x="291" y="0"/>
                  </a:lnTo>
                  <a:lnTo>
                    <a:pt x="0" y="519"/>
                  </a:lnTo>
                </a:path>
              </a:pathLst>
            </a:custGeom>
            <a:solidFill>
              <a:srgbClr val="8C8C8C"/>
            </a:solidFill>
            <a:ln w="12700" cap="rnd">
              <a:solidFill>
                <a:schemeClr val="bg1"/>
              </a:solidFill>
              <a:round/>
              <a:headEnd type="none" w="sm" len="sm"/>
              <a:tailEnd type="none" w="sm" len="sm"/>
            </a:ln>
          </p:spPr>
          <p:txBody>
            <a:bodyPr lIns="27000" tIns="216000" rIns="27000" bIns="27000" anchor="ctr" anchorCtr="0">
              <a:noAutofit/>
            </a:bodyPr>
            <a:lstStyle/>
            <a:p>
              <a:pPr algn="ctr" defTabSz="685800">
                <a:buClrTx/>
                <a:defRPr/>
              </a:pPr>
              <a:r>
                <a:rPr lang="en-US" sz="1050" kern="1200" dirty="0">
                  <a:solidFill>
                    <a:prstClr val="white"/>
                  </a:solidFill>
                  <a:ea typeface="+mn-ea"/>
                  <a:cs typeface="+mn-cs"/>
                </a:rPr>
                <a:t>Text</a:t>
              </a:r>
            </a:p>
          </p:txBody>
        </p:sp>
        <p:sp>
          <p:nvSpPr>
            <p:cNvPr id="694298" name="Freeform 25"/>
            <p:cNvSpPr>
              <a:spLocks/>
            </p:cNvSpPr>
            <p:nvPr>
              <p:custDataLst>
                <p:tags r:id="rId7"/>
              </p:custDataLst>
            </p:nvPr>
          </p:nvSpPr>
          <p:spPr bwMode="blackWhite">
            <a:xfrm>
              <a:off x="5819775" y="4451350"/>
              <a:ext cx="854075" cy="233363"/>
            </a:xfrm>
            <a:custGeom>
              <a:avLst/>
              <a:gdLst>
                <a:gd name="T0" fmla="*/ 0 w 843"/>
                <a:gd name="T1" fmla="*/ 2147483647 h 235"/>
                <a:gd name="T2" fmla="*/ 2147483647 w 843"/>
                <a:gd name="T3" fmla="*/ 2147483647 h 235"/>
                <a:gd name="T4" fmla="*/ 2147483647 w 843"/>
                <a:gd name="T5" fmla="*/ 0 h 235"/>
                <a:gd name="T6" fmla="*/ 2147483647 w 843"/>
                <a:gd name="T7" fmla="*/ 0 h 235"/>
                <a:gd name="T8" fmla="*/ 0 w 843"/>
                <a:gd name="T9" fmla="*/ 2147483647 h 235"/>
                <a:gd name="T10" fmla="*/ 0 60000 65536"/>
                <a:gd name="T11" fmla="*/ 0 60000 65536"/>
                <a:gd name="T12" fmla="*/ 0 60000 65536"/>
                <a:gd name="T13" fmla="*/ 0 60000 65536"/>
                <a:gd name="T14" fmla="*/ 0 60000 65536"/>
                <a:gd name="T15" fmla="*/ 0 w 843"/>
                <a:gd name="T16" fmla="*/ 0 h 235"/>
                <a:gd name="T17" fmla="*/ 843 w 843"/>
                <a:gd name="T18" fmla="*/ 235 h 235"/>
              </a:gdLst>
              <a:ahLst/>
              <a:cxnLst>
                <a:cxn ang="T10">
                  <a:pos x="T0" y="T1"/>
                </a:cxn>
                <a:cxn ang="T11">
                  <a:pos x="T2" y="T3"/>
                </a:cxn>
                <a:cxn ang="T12">
                  <a:pos x="T4" y="T5"/>
                </a:cxn>
                <a:cxn ang="T13">
                  <a:pos x="T6" y="T7"/>
                </a:cxn>
                <a:cxn ang="T14">
                  <a:pos x="T8" y="T9"/>
                </a:cxn>
              </a:cxnLst>
              <a:rect l="T15" t="T16" r="T17" b="T18"/>
              <a:pathLst>
                <a:path w="843" h="235">
                  <a:moveTo>
                    <a:pt x="0" y="234"/>
                  </a:moveTo>
                  <a:lnTo>
                    <a:pt x="842" y="234"/>
                  </a:lnTo>
                  <a:lnTo>
                    <a:pt x="711" y="0"/>
                  </a:lnTo>
                  <a:lnTo>
                    <a:pt x="130" y="0"/>
                  </a:lnTo>
                  <a:lnTo>
                    <a:pt x="0" y="234"/>
                  </a:lnTo>
                </a:path>
              </a:pathLst>
            </a:custGeom>
            <a:solidFill>
              <a:schemeClr val="bg1"/>
            </a:solidFill>
            <a:ln w="12700" cap="rnd">
              <a:solidFill>
                <a:schemeClr val="bg1"/>
              </a:solidFill>
              <a:round/>
              <a:headEnd type="none" w="sm" len="sm"/>
              <a:tailEnd type="none" w="sm" len="sm"/>
            </a:ln>
          </p:spPr>
          <p:txBody>
            <a:bodyPr lIns="27000" tIns="27000" rIns="27000" bIns="27000" anchor="ctr" anchorCtr="0">
              <a:noAutofit/>
            </a:bodyPr>
            <a:lstStyle/>
            <a:p>
              <a:pPr algn="ctr" defTabSz="685800">
                <a:buClrTx/>
              </a:pPr>
              <a:endParaRPr lang="en-US" sz="1050" kern="1200">
                <a:solidFill>
                  <a:prstClr val="white"/>
                </a:solidFill>
                <a:ea typeface="+mn-ea"/>
                <a:cs typeface="+mn-cs"/>
              </a:endParaRPr>
            </a:p>
          </p:txBody>
        </p:sp>
        <p:sp>
          <p:nvSpPr>
            <p:cNvPr id="76" name="Freeform 27"/>
            <p:cNvSpPr>
              <a:spLocks/>
            </p:cNvSpPr>
            <p:nvPr>
              <p:custDataLst>
                <p:tags r:id="rId8"/>
              </p:custDataLst>
            </p:nvPr>
          </p:nvSpPr>
          <p:spPr bwMode="blackWhite">
            <a:xfrm>
              <a:off x="5819775" y="4451350"/>
              <a:ext cx="854075" cy="233363"/>
            </a:xfrm>
            <a:custGeom>
              <a:avLst/>
              <a:gdLst>
                <a:gd name="T0" fmla="*/ 0 w 843"/>
                <a:gd name="T1" fmla="*/ 2147483647 h 235"/>
                <a:gd name="T2" fmla="*/ 2147483647 w 843"/>
                <a:gd name="T3" fmla="*/ 2147483647 h 235"/>
                <a:gd name="T4" fmla="*/ 2147483647 w 843"/>
                <a:gd name="T5" fmla="*/ 0 h 235"/>
                <a:gd name="T6" fmla="*/ 2147483647 w 843"/>
                <a:gd name="T7" fmla="*/ 0 h 235"/>
                <a:gd name="T8" fmla="*/ 0 w 843"/>
                <a:gd name="T9" fmla="*/ 2147483647 h 235"/>
                <a:gd name="T10" fmla="*/ 0 60000 65536"/>
                <a:gd name="T11" fmla="*/ 0 60000 65536"/>
                <a:gd name="T12" fmla="*/ 0 60000 65536"/>
                <a:gd name="T13" fmla="*/ 0 60000 65536"/>
                <a:gd name="T14" fmla="*/ 0 60000 65536"/>
                <a:gd name="T15" fmla="*/ 0 w 843"/>
                <a:gd name="T16" fmla="*/ 0 h 235"/>
                <a:gd name="T17" fmla="*/ 843 w 843"/>
                <a:gd name="T18" fmla="*/ 235 h 235"/>
              </a:gdLst>
              <a:ahLst/>
              <a:cxnLst>
                <a:cxn ang="T10">
                  <a:pos x="T0" y="T1"/>
                </a:cxn>
                <a:cxn ang="T11">
                  <a:pos x="T2" y="T3"/>
                </a:cxn>
                <a:cxn ang="T12">
                  <a:pos x="T4" y="T5"/>
                </a:cxn>
                <a:cxn ang="T13">
                  <a:pos x="T6" y="T7"/>
                </a:cxn>
                <a:cxn ang="T14">
                  <a:pos x="T8" y="T9"/>
                </a:cxn>
              </a:cxnLst>
              <a:rect l="T15" t="T16" r="T17" b="T18"/>
              <a:pathLst>
                <a:path w="843" h="235">
                  <a:moveTo>
                    <a:pt x="0" y="234"/>
                  </a:moveTo>
                  <a:lnTo>
                    <a:pt x="842" y="234"/>
                  </a:lnTo>
                  <a:lnTo>
                    <a:pt x="711" y="0"/>
                  </a:lnTo>
                  <a:lnTo>
                    <a:pt x="130" y="0"/>
                  </a:lnTo>
                  <a:lnTo>
                    <a:pt x="0" y="234"/>
                  </a:lnTo>
                </a:path>
              </a:pathLst>
            </a:custGeom>
            <a:solidFill>
              <a:srgbClr val="B4B4B4"/>
            </a:solidFill>
            <a:ln w="12700" cap="rnd">
              <a:solidFill>
                <a:schemeClr val="bg1"/>
              </a:solidFill>
              <a:round/>
              <a:headEnd type="none" w="sm" len="sm"/>
              <a:tailEnd type="none" w="sm" len="sm"/>
            </a:ln>
          </p:spPr>
          <p:txBody>
            <a:bodyPr lIns="27000" tIns="27000" rIns="27000" bIns="27000" anchor="ctr" anchorCtr="0">
              <a:noAutofit/>
            </a:bodyPr>
            <a:lstStyle/>
            <a:p>
              <a:pPr algn="ctr" defTabSz="685800">
                <a:buClrTx/>
                <a:defRPr/>
              </a:pPr>
              <a:r>
                <a:rPr lang="en-US" sz="1050" kern="1200" dirty="0">
                  <a:solidFill>
                    <a:srgbClr val="313131"/>
                  </a:solidFill>
                  <a:ea typeface="+mn-ea"/>
                  <a:cs typeface="+mn-cs"/>
                </a:rPr>
                <a:t>Text</a:t>
              </a:r>
            </a:p>
          </p:txBody>
        </p:sp>
        <p:sp>
          <p:nvSpPr>
            <p:cNvPr id="78" name="Freeform 29"/>
            <p:cNvSpPr>
              <a:spLocks/>
            </p:cNvSpPr>
            <p:nvPr>
              <p:custDataLst>
                <p:tags r:id="rId9"/>
              </p:custDataLst>
            </p:nvPr>
          </p:nvSpPr>
          <p:spPr bwMode="blackWhite">
            <a:xfrm>
              <a:off x="5686425" y="4683125"/>
              <a:ext cx="1120775" cy="231775"/>
            </a:xfrm>
            <a:custGeom>
              <a:avLst/>
              <a:gdLst>
                <a:gd name="T0" fmla="*/ 2147483647 w 1106"/>
                <a:gd name="T1" fmla="*/ 0 h 233"/>
                <a:gd name="T2" fmla="*/ 0 w 1106"/>
                <a:gd name="T3" fmla="*/ 2147483647 h 233"/>
                <a:gd name="T4" fmla="*/ 2147483647 w 1106"/>
                <a:gd name="T5" fmla="*/ 2147483647 h 233"/>
                <a:gd name="T6" fmla="*/ 2147483647 w 1106"/>
                <a:gd name="T7" fmla="*/ 0 h 233"/>
                <a:gd name="T8" fmla="*/ 2147483647 w 1106"/>
                <a:gd name="T9" fmla="*/ 0 h 233"/>
                <a:gd name="T10" fmla="*/ 0 60000 65536"/>
                <a:gd name="T11" fmla="*/ 0 60000 65536"/>
                <a:gd name="T12" fmla="*/ 0 60000 65536"/>
                <a:gd name="T13" fmla="*/ 0 60000 65536"/>
                <a:gd name="T14" fmla="*/ 0 60000 65536"/>
                <a:gd name="T15" fmla="*/ 0 w 1106"/>
                <a:gd name="T16" fmla="*/ 0 h 233"/>
                <a:gd name="T17" fmla="*/ 1106 w 1106"/>
                <a:gd name="T18" fmla="*/ 233 h 233"/>
              </a:gdLst>
              <a:ahLst/>
              <a:cxnLst>
                <a:cxn ang="T10">
                  <a:pos x="T0" y="T1"/>
                </a:cxn>
                <a:cxn ang="T11">
                  <a:pos x="T2" y="T3"/>
                </a:cxn>
                <a:cxn ang="T12">
                  <a:pos x="T4" y="T5"/>
                </a:cxn>
                <a:cxn ang="T13">
                  <a:pos x="T6" y="T7"/>
                </a:cxn>
                <a:cxn ang="T14">
                  <a:pos x="T8" y="T9"/>
                </a:cxn>
              </a:cxnLst>
              <a:rect l="T15" t="T16" r="T17" b="T18"/>
              <a:pathLst>
                <a:path w="1106" h="233">
                  <a:moveTo>
                    <a:pt x="132" y="0"/>
                  </a:moveTo>
                  <a:lnTo>
                    <a:pt x="0" y="232"/>
                  </a:lnTo>
                  <a:lnTo>
                    <a:pt x="1105" y="232"/>
                  </a:lnTo>
                  <a:lnTo>
                    <a:pt x="974" y="0"/>
                  </a:lnTo>
                  <a:lnTo>
                    <a:pt x="132" y="0"/>
                  </a:lnTo>
                </a:path>
              </a:pathLst>
            </a:custGeom>
            <a:solidFill>
              <a:srgbClr val="DCDCDC"/>
            </a:solidFill>
            <a:ln w="12700" cap="rnd">
              <a:solidFill>
                <a:schemeClr val="bg1"/>
              </a:solidFill>
              <a:round/>
              <a:headEnd type="none" w="sm" len="sm"/>
              <a:tailEnd type="none" w="sm" len="sm"/>
            </a:ln>
          </p:spPr>
          <p:txBody>
            <a:bodyPr lIns="27000" tIns="27000" rIns="27000" bIns="27000" anchor="ctr" anchorCtr="0">
              <a:noAutofit/>
            </a:bodyPr>
            <a:lstStyle/>
            <a:p>
              <a:pPr algn="ctr" defTabSz="685800">
                <a:buClrTx/>
                <a:defRPr/>
              </a:pPr>
              <a:r>
                <a:rPr lang="en-US" sz="1050" kern="1200" dirty="0">
                  <a:solidFill>
                    <a:srgbClr val="313131"/>
                  </a:solidFill>
                  <a:ea typeface="+mn-ea"/>
                  <a:cs typeface="+mn-cs"/>
                </a:rPr>
                <a:t>Text</a:t>
              </a:r>
            </a:p>
          </p:txBody>
        </p:sp>
        <p:sp>
          <p:nvSpPr>
            <p:cNvPr id="694304" name="Freeform 31"/>
            <p:cNvSpPr>
              <a:spLocks/>
            </p:cNvSpPr>
            <p:nvPr>
              <p:custDataLst>
                <p:tags r:id="rId10"/>
              </p:custDataLst>
            </p:nvPr>
          </p:nvSpPr>
          <p:spPr bwMode="blackWhite">
            <a:xfrm>
              <a:off x="5554663" y="4914900"/>
              <a:ext cx="1385887" cy="233363"/>
            </a:xfrm>
            <a:custGeom>
              <a:avLst/>
              <a:gdLst>
                <a:gd name="T0" fmla="*/ 2147483647 w 1367"/>
                <a:gd name="T1" fmla="*/ 0 h 235"/>
                <a:gd name="T2" fmla="*/ 0 w 1367"/>
                <a:gd name="T3" fmla="*/ 2147483647 h 235"/>
                <a:gd name="T4" fmla="*/ 2147483647 w 1367"/>
                <a:gd name="T5" fmla="*/ 2147483647 h 235"/>
                <a:gd name="T6" fmla="*/ 2147483647 w 1367"/>
                <a:gd name="T7" fmla="*/ 0 h 235"/>
                <a:gd name="T8" fmla="*/ 2147483647 w 1367"/>
                <a:gd name="T9" fmla="*/ 0 h 235"/>
                <a:gd name="T10" fmla="*/ 0 60000 65536"/>
                <a:gd name="T11" fmla="*/ 0 60000 65536"/>
                <a:gd name="T12" fmla="*/ 0 60000 65536"/>
                <a:gd name="T13" fmla="*/ 0 60000 65536"/>
                <a:gd name="T14" fmla="*/ 0 60000 65536"/>
                <a:gd name="T15" fmla="*/ 0 w 1367"/>
                <a:gd name="T16" fmla="*/ 0 h 235"/>
                <a:gd name="T17" fmla="*/ 1367 w 1367"/>
                <a:gd name="T18" fmla="*/ 235 h 235"/>
              </a:gdLst>
              <a:ahLst/>
              <a:cxnLst>
                <a:cxn ang="T10">
                  <a:pos x="T0" y="T1"/>
                </a:cxn>
                <a:cxn ang="T11">
                  <a:pos x="T2" y="T3"/>
                </a:cxn>
                <a:cxn ang="T12">
                  <a:pos x="T4" y="T5"/>
                </a:cxn>
                <a:cxn ang="T13">
                  <a:pos x="T6" y="T7"/>
                </a:cxn>
                <a:cxn ang="T14">
                  <a:pos x="T8" y="T9"/>
                </a:cxn>
              </a:cxnLst>
              <a:rect l="T15" t="T16" r="T17" b="T18"/>
              <a:pathLst>
                <a:path w="1367" h="235">
                  <a:moveTo>
                    <a:pt x="130" y="0"/>
                  </a:moveTo>
                  <a:lnTo>
                    <a:pt x="0" y="234"/>
                  </a:lnTo>
                  <a:lnTo>
                    <a:pt x="1366" y="234"/>
                  </a:lnTo>
                  <a:lnTo>
                    <a:pt x="1235" y="0"/>
                  </a:lnTo>
                  <a:lnTo>
                    <a:pt x="130" y="0"/>
                  </a:lnTo>
                </a:path>
              </a:pathLst>
            </a:custGeom>
            <a:solidFill>
              <a:schemeClr val="bg1"/>
            </a:solidFill>
            <a:ln w="12700" cap="rnd">
              <a:solidFill>
                <a:schemeClr val="bg1"/>
              </a:solidFill>
              <a:round/>
              <a:headEnd type="none" w="sm" len="sm"/>
              <a:tailEnd type="none" w="sm" len="sm"/>
            </a:ln>
          </p:spPr>
          <p:txBody>
            <a:bodyPr lIns="27000" tIns="27000" rIns="27000" bIns="27000" anchor="ctr" anchorCtr="0">
              <a:noAutofit/>
            </a:bodyPr>
            <a:lstStyle/>
            <a:p>
              <a:pPr algn="ctr" defTabSz="685800">
                <a:buClrTx/>
              </a:pPr>
              <a:endParaRPr lang="en-US" sz="1050" kern="1200">
                <a:solidFill>
                  <a:prstClr val="white"/>
                </a:solidFill>
                <a:ea typeface="+mn-ea"/>
                <a:cs typeface="+mn-cs"/>
              </a:endParaRPr>
            </a:p>
          </p:txBody>
        </p:sp>
        <p:sp>
          <p:nvSpPr>
            <p:cNvPr id="694305" name="Freeform 32"/>
            <p:cNvSpPr>
              <a:spLocks/>
            </p:cNvSpPr>
            <p:nvPr>
              <p:custDataLst>
                <p:tags r:id="rId11"/>
              </p:custDataLst>
            </p:nvPr>
          </p:nvSpPr>
          <p:spPr bwMode="blackWhite">
            <a:xfrm>
              <a:off x="5554663" y="4914900"/>
              <a:ext cx="1385887" cy="233363"/>
            </a:xfrm>
            <a:custGeom>
              <a:avLst/>
              <a:gdLst>
                <a:gd name="T0" fmla="*/ 2147483647 w 1367"/>
                <a:gd name="T1" fmla="*/ 0 h 235"/>
                <a:gd name="T2" fmla="*/ 0 w 1367"/>
                <a:gd name="T3" fmla="*/ 2147483647 h 235"/>
                <a:gd name="T4" fmla="*/ 2147483647 w 1367"/>
                <a:gd name="T5" fmla="*/ 2147483647 h 235"/>
                <a:gd name="T6" fmla="*/ 2147483647 w 1367"/>
                <a:gd name="T7" fmla="*/ 0 h 235"/>
                <a:gd name="T8" fmla="*/ 2147483647 w 1367"/>
                <a:gd name="T9" fmla="*/ 0 h 235"/>
                <a:gd name="T10" fmla="*/ 0 60000 65536"/>
                <a:gd name="T11" fmla="*/ 0 60000 65536"/>
                <a:gd name="T12" fmla="*/ 0 60000 65536"/>
                <a:gd name="T13" fmla="*/ 0 60000 65536"/>
                <a:gd name="T14" fmla="*/ 0 60000 65536"/>
                <a:gd name="T15" fmla="*/ 0 w 1367"/>
                <a:gd name="T16" fmla="*/ 0 h 235"/>
                <a:gd name="T17" fmla="*/ 1367 w 1367"/>
                <a:gd name="T18" fmla="*/ 235 h 235"/>
              </a:gdLst>
              <a:ahLst/>
              <a:cxnLst>
                <a:cxn ang="T10">
                  <a:pos x="T0" y="T1"/>
                </a:cxn>
                <a:cxn ang="T11">
                  <a:pos x="T2" y="T3"/>
                </a:cxn>
                <a:cxn ang="T12">
                  <a:pos x="T4" y="T5"/>
                </a:cxn>
                <a:cxn ang="T13">
                  <a:pos x="T6" y="T7"/>
                </a:cxn>
                <a:cxn ang="T14">
                  <a:pos x="T8" y="T9"/>
                </a:cxn>
              </a:cxnLst>
              <a:rect l="T15" t="T16" r="T17" b="T18"/>
              <a:pathLst>
                <a:path w="1367" h="235">
                  <a:moveTo>
                    <a:pt x="130" y="0"/>
                  </a:moveTo>
                  <a:lnTo>
                    <a:pt x="0" y="234"/>
                  </a:lnTo>
                  <a:lnTo>
                    <a:pt x="1366" y="234"/>
                  </a:lnTo>
                  <a:lnTo>
                    <a:pt x="1235" y="0"/>
                  </a:lnTo>
                  <a:lnTo>
                    <a:pt x="130" y="0"/>
                  </a:lnTo>
                </a:path>
              </a:pathLst>
            </a:custGeom>
            <a:solidFill>
              <a:srgbClr val="81BC00"/>
            </a:solidFill>
            <a:ln w="12700" cap="rnd">
              <a:solidFill>
                <a:schemeClr val="bg1"/>
              </a:solidFill>
              <a:round/>
              <a:headEnd type="none" w="sm" len="sm"/>
              <a:tailEnd type="none" w="sm" len="sm"/>
            </a:ln>
          </p:spPr>
          <p:txBody>
            <a:bodyPr lIns="27000" tIns="27000" rIns="27000" bIns="27000" anchor="ctr" anchorCtr="0">
              <a:noAutofit/>
            </a:bodyPr>
            <a:lstStyle/>
            <a:p>
              <a:pPr algn="ctr" defTabSz="685800">
                <a:buClrTx/>
              </a:pPr>
              <a:r>
                <a:rPr lang="en-US" sz="1050" kern="1200" dirty="0">
                  <a:solidFill>
                    <a:prstClr val="white"/>
                  </a:solidFill>
                  <a:ea typeface="+mn-ea"/>
                  <a:cs typeface="+mn-cs"/>
                </a:rPr>
                <a:t>Text</a:t>
              </a:r>
            </a:p>
          </p:txBody>
        </p:sp>
        <p:sp>
          <p:nvSpPr>
            <p:cNvPr id="83" name="Freeform 34"/>
            <p:cNvSpPr>
              <a:spLocks/>
            </p:cNvSpPr>
            <p:nvPr>
              <p:custDataLst>
                <p:tags r:id="rId12"/>
              </p:custDataLst>
            </p:nvPr>
          </p:nvSpPr>
          <p:spPr bwMode="blackWhite">
            <a:xfrm>
              <a:off x="5421313" y="5146675"/>
              <a:ext cx="1651000" cy="233363"/>
            </a:xfrm>
            <a:custGeom>
              <a:avLst/>
              <a:gdLst>
                <a:gd name="T0" fmla="*/ 2147483647 w 1628"/>
                <a:gd name="T1" fmla="*/ 0 h 235"/>
                <a:gd name="T2" fmla="*/ 0 w 1628"/>
                <a:gd name="T3" fmla="*/ 2147483647 h 235"/>
                <a:gd name="T4" fmla="*/ 2147483647 w 1628"/>
                <a:gd name="T5" fmla="*/ 2147483647 h 235"/>
                <a:gd name="T6" fmla="*/ 2147483647 w 1628"/>
                <a:gd name="T7" fmla="*/ 0 h 235"/>
                <a:gd name="T8" fmla="*/ 2147483647 w 1628"/>
                <a:gd name="T9" fmla="*/ 0 h 235"/>
                <a:gd name="T10" fmla="*/ 0 60000 65536"/>
                <a:gd name="T11" fmla="*/ 0 60000 65536"/>
                <a:gd name="T12" fmla="*/ 0 60000 65536"/>
                <a:gd name="T13" fmla="*/ 0 60000 65536"/>
                <a:gd name="T14" fmla="*/ 0 60000 65536"/>
                <a:gd name="T15" fmla="*/ 0 w 1628"/>
                <a:gd name="T16" fmla="*/ 0 h 235"/>
                <a:gd name="T17" fmla="*/ 1628 w 1628"/>
                <a:gd name="T18" fmla="*/ 235 h 235"/>
              </a:gdLst>
              <a:ahLst/>
              <a:cxnLst>
                <a:cxn ang="T10">
                  <a:pos x="T0" y="T1"/>
                </a:cxn>
                <a:cxn ang="T11">
                  <a:pos x="T2" y="T3"/>
                </a:cxn>
                <a:cxn ang="T12">
                  <a:pos x="T4" y="T5"/>
                </a:cxn>
                <a:cxn ang="T13">
                  <a:pos x="T6" y="T7"/>
                </a:cxn>
                <a:cxn ang="T14">
                  <a:pos x="T8" y="T9"/>
                </a:cxn>
              </a:cxnLst>
              <a:rect l="T15" t="T16" r="T17" b="T18"/>
              <a:pathLst>
                <a:path w="1628" h="235">
                  <a:moveTo>
                    <a:pt x="131" y="0"/>
                  </a:moveTo>
                  <a:lnTo>
                    <a:pt x="0" y="234"/>
                  </a:lnTo>
                  <a:lnTo>
                    <a:pt x="1627" y="234"/>
                  </a:lnTo>
                  <a:lnTo>
                    <a:pt x="1497" y="0"/>
                  </a:lnTo>
                  <a:lnTo>
                    <a:pt x="131" y="0"/>
                  </a:lnTo>
                </a:path>
              </a:pathLst>
            </a:custGeom>
            <a:solidFill>
              <a:srgbClr val="575757"/>
            </a:solidFill>
            <a:ln w="12700" cap="rnd">
              <a:solidFill>
                <a:schemeClr val="bg1"/>
              </a:solidFill>
              <a:round/>
              <a:headEnd type="none" w="sm" len="sm"/>
              <a:tailEnd type="none" w="sm" len="sm"/>
            </a:ln>
          </p:spPr>
          <p:txBody>
            <a:bodyPr lIns="27000" tIns="27000" rIns="27000" bIns="27000" anchor="ctr" anchorCtr="0">
              <a:noAutofit/>
            </a:bodyPr>
            <a:lstStyle/>
            <a:p>
              <a:pPr algn="ctr" defTabSz="685800">
                <a:buClrTx/>
                <a:defRPr/>
              </a:pPr>
              <a:r>
                <a:rPr lang="en-US" sz="1050" kern="1200">
                  <a:solidFill>
                    <a:prstClr val="white"/>
                  </a:solidFill>
                  <a:ea typeface="+mn-ea"/>
                  <a:cs typeface="+mn-cs"/>
                </a:rPr>
                <a:t>Text</a:t>
              </a:r>
              <a:endParaRPr lang="en-US" sz="1050" kern="1200" dirty="0">
                <a:solidFill>
                  <a:prstClr val="white"/>
                </a:solidFill>
                <a:ea typeface="+mn-ea"/>
                <a:cs typeface="+mn-cs"/>
              </a:endParaRPr>
            </a:p>
          </p:txBody>
        </p:sp>
        <p:sp>
          <p:nvSpPr>
            <p:cNvPr id="694309" name="Freeform 36"/>
            <p:cNvSpPr>
              <a:spLocks/>
            </p:cNvSpPr>
            <p:nvPr>
              <p:custDataLst>
                <p:tags r:id="rId13"/>
              </p:custDataLst>
            </p:nvPr>
          </p:nvSpPr>
          <p:spPr bwMode="blackWhite">
            <a:xfrm>
              <a:off x="5289550" y="5380038"/>
              <a:ext cx="1914525" cy="231775"/>
            </a:xfrm>
            <a:custGeom>
              <a:avLst/>
              <a:gdLst>
                <a:gd name="T0" fmla="*/ 2147483647 w 1890"/>
                <a:gd name="T1" fmla="*/ 0 h 234"/>
                <a:gd name="T2" fmla="*/ 0 w 1890"/>
                <a:gd name="T3" fmla="*/ 2147483647 h 234"/>
                <a:gd name="T4" fmla="*/ 2147483647 w 1890"/>
                <a:gd name="T5" fmla="*/ 2147483647 h 234"/>
                <a:gd name="T6" fmla="*/ 2147483647 w 1890"/>
                <a:gd name="T7" fmla="*/ 0 h 234"/>
                <a:gd name="T8" fmla="*/ 2147483647 w 1890"/>
                <a:gd name="T9" fmla="*/ 0 h 234"/>
                <a:gd name="T10" fmla="*/ 0 60000 65536"/>
                <a:gd name="T11" fmla="*/ 0 60000 65536"/>
                <a:gd name="T12" fmla="*/ 0 60000 65536"/>
                <a:gd name="T13" fmla="*/ 0 60000 65536"/>
                <a:gd name="T14" fmla="*/ 0 60000 65536"/>
                <a:gd name="T15" fmla="*/ 0 w 1890"/>
                <a:gd name="T16" fmla="*/ 0 h 234"/>
                <a:gd name="T17" fmla="*/ 1890 w 1890"/>
                <a:gd name="T18" fmla="*/ 234 h 234"/>
              </a:gdLst>
              <a:ahLst/>
              <a:cxnLst>
                <a:cxn ang="T10">
                  <a:pos x="T0" y="T1"/>
                </a:cxn>
                <a:cxn ang="T11">
                  <a:pos x="T2" y="T3"/>
                </a:cxn>
                <a:cxn ang="T12">
                  <a:pos x="T4" y="T5"/>
                </a:cxn>
                <a:cxn ang="T13">
                  <a:pos x="T6" y="T7"/>
                </a:cxn>
                <a:cxn ang="T14">
                  <a:pos x="T8" y="T9"/>
                </a:cxn>
              </a:cxnLst>
              <a:rect l="T15" t="T16" r="T17" b="T18"/>
              <a:pathLst>
                <a:path w="1890" h="234">
                  <a:moveTo>
                    <a:pt x="131" y="0"/>
                  </a:moveTo>
                  <a:lnTo>
                    <a:pt x="0" y="233"/>
                  </a:lnTo>
                  <a:lnTo>
                    <a:pt x="1889" y="233"/>
                  </a:lnTo>
                  <a:lnTo>
                    <a:pt x="1758" y="0"/>
                  </a:lnTo>
                  <a:lnTo>
                    <a:pt x="131" y="0"/>
                  </a:lnTo>
                </a:path>
              </a:pathLst>
            </a:custGeom>
            <a:solidFill>
              <a:schemeClr val="bg1"/>
            </a:solidFill>
            <a:ln w="12700" cap="rnd">
              <a:solidFill>
                <a:schemeClr val="bg1"/>
              </a:solidFill>
              <a:round/>
              <a:headEnd type="none" w="sm" len="sm"/>
              <a:tailEnd type="none" w="sm" len="sm"/>
            </a:ln>
          </p:spPr>
          <p:txBody>
            <a:bodyPr lIns="27000" tIns="27000" rIns="27000" bIns="27000" anchor="ctr" anchorCtr="0">
              <a:noAutofit/>
            </a:bodyPr>
            <a:lstStyle/>
            <a:p>
              <a:pPr algn="ctr" defTabSz="685800">
                <a:buClrTx/>
              </a:pPr>
              <a:endParaRPr lang="en-US" sz="1050" kern="1200">
                <a:solidFill>
                  <a:prstClr val="white"/>
                </a:solidFill>
                <a:ea typeface="+mn-ea"/>
                <a:cs typeface="+mn-cs"/>
              </a:endParaRPr>
            </a:p>
          </p:txBody>
        </p:sp>
        <p:sp>
          <p:nvSpPr>
            <p:cNvPr id="86" name="Freeform 37"/>
            <p:cNvSpPr>
              <a:spLocks/>
            </p:cNvSpPr>
            <p:nvPr>
              <p:custDataLst>
                <p:tags r:id="rId14"/>
              </p:custDataLst>
            </p:nvPr>
          </p:nvSpPr>
          <p:spPr bwMode="blackWhite">
            <a:xfrm>
              <a:off x="5289550" y="5380038"/>
              <a:ext cx="1914525" cy="231775"/>
            </a:xfrm>
            <a:custGeom>
              <a:avLst/>
              <a:gdLst>
                <a:gd name="T0" fmla="*/ 143703 w 1890"/>
                <a:gd name="T1" fmla="*/ 0 h 234"/>
                <a:gd name="T2" fmla="*/ 0 w 1890"/>
                <a:gd name="T3" fmla="*/ 230785 h 234"/>
                <a:gd name="T4" fmla="*/ 2072178 w 1890"/>
                <a:gd name="T5" fmla="*/ 230785 h 234"/>
                <a:gd name="T6" fmla="*/ 1928475 w 1890"/>
                <a:gd name="T7" fmla="*/ 0 h 234"/>
                <a:gd name="T8" fmla="*/ 143703 w 1890"/>
                <a:gd name="T9" fmla="*/ 0 h 234"/>
                <a:gd name="T10" fmla="*/ 0 60000 65536"/>
                <a:gd name="T11" fmla="*/ 0 60000 65536"/>
                <a:gd name="T12" fmla="*/ 0 60000 65536"/>
                <a:gd name="T13" fmla="*/ 0 60000 65536"/>
                <a:gd name="T14" fmla="*/ 0 60000 65536"/>
                <a:gd name="T15" fmla="*/ 0 w 1890"/>
                <a:gd name="T16" fmla="*/ 0 h 234"/>
                <a:gd name="T17" fmla="*/ 1890 w 1890"/>
                <a:gd name="T18" fmla="*/ 234 h 234"/>
              </a:gdLst>
              <a:ahLst/>
              <a:cxnLst>
                <a:cxn ang="T10">
                  <a:pos x="T0" y="T1"/>
                </a:cxn>
                <a:cxn ang="T11">
                  <a:pos x="T2" y="T3"/>
                </a:cxn>
                <a:cxn ang="T12">
                  <a:pos x="T4" y="T5"/>
                </a:cxn>
                <a:cxn ang="T13">
                  <a:pos x="T6" y="T7"/>
                </a:cxn>
                <a:cxn ang="T14">
                  <a:pos x="T8" y="T9"/>
                </a:cxn>
              </a:cxnLst>
              <a:rect l="T15" t="T16" r="T17" b="T18"/>
              <a:pathLst>
                <a:path w="1890" h="234">
                  <a:moveTo>
                    <a:pt x="131" y="0"/>
                  </a:moveTo>
                  <a:lnTo>
                    <a:pt x="0" y="233"/>
                  </a:lnTo>
                  <a:lnTo>
                    <a:pt x="1889" y="233"/>
                  </a:lnTo>
                  <a:lnTo>
                    <a:pt x="1758" y="0"/>
                  </a:lnTo>
                  <a:lnTo>
                    <a:pt x="131" y="0"/>
                  </a:lnTo>
                </a:path>
              </a:pathLst>
            </a:custGeom>
            <a:solidFill>
              <a:srgbClr val="8C8C8C"/>
            </a:solidFill>
            <a:ln w="12700" cap="rnd">
              <a:solidFill>
                <a:schemeClr val="bg1"/>
              </a:solidFill>
              <a:round/>
              <a:headEnd type="none" w="sm" len="sm"/>
              <a:tailEnd type="none" w="sm" len="sm"/>
            </a:ln>
          </p:spPr>
          <p:txBody>
            <a:bodyPr lIns="27000" tIns="27000" rIns="27000" bIns="27000" anchor="ctr" anchorCtr="0">
              <a:noAutofit/>
            </a:bodyPr>
            <a:lstStyle/>
            <a:p>
              <a:pPr algn="ctr" defTabSz="685800">
                <a:buClrTx/>
                <a:defRPr/>
              </a:pPr>
              <a:r>
                <a:rPr lang="en-US" sz="1050" kern="1200">
                  <a:solidFill>
                    <a:prstClr val="white"/>
                  </a:solidFill>
                  <a:ea typeface="+mn-ea"/>
                  <a:cs typeface="+mn-cs"/>
                </a:rPr>
                <a:t>Text</a:t>
              </a:r>
              <a:endParaRPr lang="en-US" sz="1050" kern="1200" dirty="0">
                <a:solidFill>
                  <a:prstClr val="white"/>
                </a:solidFill>
                <a:ea typeface="+mn-ea"/>
                <a:cs typeface="+mn-cs"/>
              </a:endParaRPr>
            </a:p>
          </p:txBody>
        </p:sp>
        <p:sp>
          <p:nvSpPr>
            <p:cNvPr id="694312" name="Freeform 39"/>
            <p:cNvSpPr>
              <a:spLocks/>
            </p:cNvSpPr>
            <p:nvPr>
              <p:custDataLst>
                <p:tags r:id="rId15"/>
              </p:custDataLst>
            </p:nvPr>
          </p:nvSpPr>
          <p:spPr bwMode="blackWhite">
            <a:xfrm>
              <a:off x="5156200" y="5611813"/>
              <a:ext cx="2181225" cy="231775"/>
            </a:xfrm>
            <a:custGeom>
              <a:avLst/>
              <a:gdLst>
                <a:gd name="T0" fmla="*/ 2147483647 w 2152"/>
                <a:gd name="T1" fmla="*/ 0 h 234"/>
                <a:gd name="T2" fmla="*/ 0 w 2152"/>
                <a:gd name="T3" fmla="*/ 2147483647 h 234"/>
                <a:gd name="T4" fmla="*/ 2147483647 w 2152"/>
                <a:gd name="T5" fmla="*/ 2147483647 h 234"/>
                <a:gd name="T6" fmla="*/ 2147483647 w 2152"/>
                <a:gd name="T7" fmla="*/ 0 h 234"/>
                <a:gd name="T8" fmla="*/ 2147483647 w 2152"/>
                <a:gd name="T9" fmla="*/ 0 h 234"/>
                <a:gd name="T10" fmla="*/ 0 60000 65536"/>
                <a:gd name="T11" fmla="*/ 0 60000 65536"/>
                <a:gd name="T12" fmla="*/ 0 60000 65536"/>
                <a:gd name="T13" fmla="*/ 0 60000 65536"/>
                <a:gd name="T14" fmla="*/ 0 60000 65536"/>
                <a:gd name="T15" fmla="*/ 0 w 2152"/>
                <a:gd name="T16" fmla="*/ 0 h 234"/>
                <a:gd name="T17" fmla="*/ 2152 w 2152"/>
                <a:gd name="T18" fmla="*/ 234 h 234"/>
              </a:gdLst>
              <a:ahLst/>
              <a:cxnLst>
                <a:cxn ang="T10">
                  <a:pos x="T0" y="T1"/>
                </a:cxn>
                <a:cxn ang="T11">
                  <a:pos x="T2" y="T3"/>
                </a:cxn>
                <a:cxn ang="T12">
                  <a:pos x="T4" y="T5"/>
                </a:cxn>
                <a:cxn ang="T13">
                  <a:pos x="T6" y="T7"/>
                </a:cxn>
                <a:cxn ang="T14">
                  <a:pos x="T8" y="T9"/>
                </a:cxn>
              </a:cxnLst>
              <a:rect l="T15" t="T16" r="T17" b="T18"/>
              <a:pathLst>
                <a:path w="2152" h="234">
                  <a:moveTo>
                    <a:pt x="131" y="0"/>
                  </a:moveTo>
                  <a:lnTo>
                    <a:pt x="0" y="233"/>
                  </a:lnTo>
                  <a:lnTo>
                    <a:pt x="2151" y="233"/>
                  </a:lnTo>
                  <a:lnTo>
                    <a:pt x="2020" y="0"/>
                  </a:lnTo>
                  <a:lnTo>
                    <a:pt x="131" y="0"/>
                  </a:lnTo>
                </a:path>
              </a:pathLst>
            </a:custGeom>
            <a:solidFill>
              <a:schemeClr val="bg1"/>
            </a:solidFill>
            <a:ln w="12700" cap="rnd">
              <a:solidFill>
                <a:schemeClr val="bg1"/>
              </a:solidFill>
              <a:round/>
              <a:headEnd type="none" w="sm" len="sm"/>
              <a:tailEnd type="none" w="sm" len="sm"/>
            </a:ln>
          </p:spPr>
          <p:txBody>
            <a:bodyPr lIns="27000" tIns="27000" rIns="27000" bIns="27000" anchor="ctr" anchorCtr="0">
              <a:noAutofit/>
            </a:bodyPr>
            <a:lstStyle/>
            <a:p>
              <a:pPr algn="ctr" defTabSz="685800">
                <a:buClrTx/>
              </a:pPr>
              <a:endParaRPr lang="en-US" sz="1050" kern="1200">
                <a:solidFill>
                  <a:prstClr val="white"/>
                </a:solidFill>
                <a:ea typeface="+mn-ea"/>
                <a:cs typeface="+mn-cs"/>
              </a:endParaRPr>
            </a:p>
          </p:txBody>
        </p:sp>
        <p:sp>
          <p:nvSpPr>
            <p:cNvPr id="90" name="Freeform 41"/>
            <p:cNvSpPr>
              <a:spLocks/>
            </p:cNvSpPr>
            <p:nvPr>
              <p:custDataLst>
                <p:tags r:id="rId16"/>
              </p:custDataLst>
            </p:nvPr>
          </p:nvSpPr>
          <p:spPr bwMode="blackWhite">
            <a:xfrm>
              <a:off x="5156200" y="5611813"/>
              <a:ext cx="2181225" cy="231775"/>
            </a:xfrm>
            <a:custGeom>
              <a:avLst/>
              <a:gdLst>
                <a:gd name="T0" fmla="*/ 143796 w 2152"/>
                <a:gd name="T1" fmla="*/ 0 h 234"/>
                <a:gd name="T2" fmla="*/ 0 w 2152"/>
                <a:gd name="T3" fmla="*/ 230785 h 234"/>
                <a:gd name="T4" fmla="*/ 2361102 w 2152"/>
                <a:gd name="T5" fmla="*/ 230785 h 234"/>
                <a:gd name="T6" fmla="*/ 2217306 w 2152"/>
                <a:gd name="T7" fmla="*/ 0 h 234"/>
                <a:gd name="T8" fmla="*/ 143796 w 2152"/>
                <a:gd name="T9" fmla="*/ 0 h 234"/>
                <a:gd name="T10" fmla="*/ 0 60000 65536"/>
                <a:gd name="T11" fmla="*/ 0 60000 65536"/>
                <a:gd name="T12" fmla="*/ 0 60000 65536"/>
                <a:gd name="T13" fmla="*/ 0 60000 65536"/>
                <a:gd name="T14" fmla="*/ 0 60000 65536"/>
                <a:gd name="T15" fmla="*/ 0 w 2152"/>
                <a:gd name="T16" fmla="*/ 0 h 234"/>
                <a:gd name="T17" fmla="*/ 2152 w 2152"/>
                <a:gd name="T18" fmla="*/ 234 h 234"/>
              </a:gdLst>
              <a:ahLst/>
              <a:cxnLst>
                <a:cxn ang="T10">
                  <a:pos x="T0" y="T1"/>
                </a:cxn>
                <a:cxn ang="T11">
                  <a:pos x="T2" y="T3"/>
                </a:cxn>
                <a:cxn ang="T12">
                  <a:pos x="T4" y="T5"/>
                </a:cxn>
                <a:cxn ang="T13">
                  <a:pos x="T6" y="T7"/>
                </a:cxn>
                <a:cxn ang="T14">
                  <a:pos x="T8" y="T9"/>
                </a:cxn>
              </a:cxnLst>
              <a:rect l="T15" t="T16" r="T17" b="T18"/>
              <a:pathLst>
                <a:path w="2152" h="234">
                  <a:moveTo>
                    <a:pt x="131" y="0"/>
                  </a:moveTo>
                  <a:lnTo>
                    <a:pt x="0" y="233"/>
                  </a:lnTo>
                  <a:lnTo>
                    <a:pt x="2151" y="233"/>
                  </a:lnTo>
                  <a:lnTo>
                    <a:pt x="2020" y="0"/>
                  </a:lnTo>
                  <a:lnTo>
                    <a:pt x="131" y="0"/>
                  </a:lnTo>
                </a:path>
              </a:pathLst>
            </a:custGeom>
            <a:solidFill>
              <a:srgbClr val="B4B4B4"/>
            </a:solidFill>
            <a:ln w="12700" cap="rnd">
              <a:solidFill>
                <a:schemeClr val="bg1"/>
              </a:solidFill>
              <a:round/>
              <a:headEnd type="none" w="sm" len="sm"/>
              <a:tailEnd type="none" w="sm" len="sm"/>
            </a:ln>
          </p:spPr>
          <p:txBody>
            <a:bodyPr lIns="27000" tIns="27000" rIns="27000" bIns="27000" anchor="ctr" anchorCtr="0">
              <a:noAutofit/>
            </a:bodyPr>
            <a:lstStyle/>
            <a:p>
              <a:pPr algn="ctr" defTabSz="685800">
                <a:buClrTx/>
                <a:defRPr/>
              </a:pPr>
              <a:r>
                <a:rPr lang="en-US" sz="1050" kern="1200" dirty="0">
                  <a:solidFill>
                    <a:srgbClr val="313131"/>
                  </a:solidFill>
                  <a:ea typeface="+mn-ea"/>
                  <a:cs typeface="+mn-cs"/>
                </a:rPr>
                <a:t>Text</a:t>
              </a:r>
            </a:p>
          </p:txBody>
        </p:sp>
        <p:sp>
          <p:nvSpPr>
            <p:cNvPr id="694316" name="Freeform 43"/>
            <p:cNvSpPr>
              <a:spLocks/>
            </p:cNvSpPr>
            <p:nvPr>
              <p:custDataLst>
                <p:tags r:id="rId17"/>
              </p:custDataLst>
            </p:nvPr>
          </p:nvSpPr>
          <p:spPr bwMode="blackWhite">
            <a:xfrm>
              <a:off x="5024438" y="5842000"/>
              <a:ext cx="2444750" cy="234950"/>
            </a:xfrm>
            <a:custGeom>
              <a:avLst/>
              <a:gdLst>
                <a:gd name="T0" fmla="*/ 2147483647 w 2414"/>
                <a:gd name="T1" fmla="*/ 0 h 235"/>
                <a:gd name="T2" fmla="*/ 0 w 2414"/>
                <a:gd name="T3" fmla="*/ 2147483647 h 235"/>
                <a:gd name="T4" fmla="*/ 2147483647 w 2414"/>
                <a:gd name="T5" fmla="*/ 2147483647 h 235"/>
                <a:gd name="T6" fmla="*/ 2147483647 w 2414"/>
                <a:gd name="T7" fmla="*/ 0 h 235"/>
                <a:gd name="T8" fmla="*/ 2147483647 w 2414"/>
                <a:gd name="T9" fmla="*/ 0 h 235"/>
                <a:gd name="T10" fmla="*/ 0 60000 65536"/>
                <a:gd name="T11" fmla="*/ 0 60000 65536"/>
                <a:gd name="T12" fmla="*/ 0 60000 65536"/>
                <a:gd name="T13" fmla="*/ 0 60000 65536"/>
                <a:gd name="T14" fmla="*/ 0 60000 65536"/>
                <a:gd name="T15" fmla="*/ 0 w 2414"/>
                <a:gd name="T16" fmla="*/ 0 h 235"/>
                <a:gd name="T17" fmla="*/ 2414 w 2414"/>
                <a:gd name="T18" fmla="*/ 235 h 235"/>
              </a:gdLst>
              <a:ahLst/>
              <a:cxnLst>
                <a:cxn ang="T10">
                  <a:pos x="T0" y="T1"/>
                </a:cxn>
                <a:cxn ang="T11">
                  <a:pos x="T2" y="T3"/>
                </a:cxn>
                <a:cxn ang="T12">
                  <a:pos x="T4" y="T5"/>
                </a:cxn>
                <a:cxn ang="T13">
                  <a:pos x="T6" y="T7"/>
                </a:cxn>
                <a:cxn ang="T14">
                  <a:pos x="T8" y="T9"/>
                </a:cxn>
              </a:cxnLst>
              <a:rect l="T15" t="T16" r="T17" b="T18"/>
              <a:pathLst>
                <a:path w="2414" h="235">
                  <a:moveTo>
                    <a:pt x="131" y="0"/>
                  </a:moveTo>
                  <a:lnTo>
                    <a:pt x="0" y="234"/>
                  </a:lnTo>
                  <a:lnTo>
                    <a:pt x="2413" y="234"/>
                  </a:lnTo>
                  <a:lnTo>
                    <a:pt x="2282" y="0"/>
                  </a:lnTo>
                  <a:lnTo>
                    <a:pt x="131" y="0"/>
                  </a:lnTo>
                </a:path>
              </a:pathLst>
            </a:custGeom>
            <a:solidFill>
              <a:schemeClr val="accent2"/>
            </a:solidFill>
            <a:ln w="12700" cap="rnd">
              <a:solidFill>
                <a:schemeClr val="bg1"/>
              </a:solidFill>
              <a:round/>
              <a:headEnd type="none" w="sm" len="sm"/>
              <a:tailEnd type="none" w="sm" len="sm"/>
            </a:ln>
          </p:spPr>
          <p:txBody>
            <a:bodyPr lIns="27000" tIns="27000" rIns="27000" bIns="27000" anchor="ctr" anchorCtr="0">
              <a:noAutofit/>
            </a:bodyPr>
            <a:lstStyle/>
            <a:p>
              <a:pPr algn="ctr" defTabSz="685800">
                <a:buClrTx/>
              </a:pPr>
              <a:endParaRPr lang="en-US" sz="1050" kern="1200">
                <a:solidFill>
                  <a:prstClr val="white"/>
                </a:solidFill>
                <a:ea typeface="+mn-ea"/>
                <a:cs typeface="+mn-cs"/>
              </a:endParaRPr>
            </a:p>
          </p:txBody>
        </p:sp>
        <p:sp>
          <p:nvSpPr>
            <p:cNvPr id="694317" name="Freeform 44"/>
            <p:cNvSpPr>
              <a:spLocks/>
            </p:cNvSpPr>
            <p:nvPr>
              <p:custDataLst>
                <p:tags r:id="rId18"/>
              </p:custDataLst>
            </p:nvPr>
          </p:nvSpPr>
          <p:spPr bwMode="blackWhite">
            <a:xfrm>
              <a:off x="5024438" y="5842000"/>
              <a:ext cx="2444750" cy="234950"/>
            </a:xfrm>
            <a:custGeom>
              <a:avLst/>
              <a:gdLst>
                <a:gd name="T0" fmla="*/ 2147483647 w 2414"/>
                <a:gd name="T1" fmla="*/ 0 h 235"/>
                <a:gd name="T2" fmla="*/ 0 w 2414"/>
                <a:gd name="T3" fmla="*/ 2147483647 h 235"/>
                <a:gd name="T4" fmla="*/ 2147483647 w 2414"/>
                <a:gd name="T5" fmla="*/ 2147483647 h 235"/>
                <a:gd name="T6" fmla="*/ 2147483647 w 2414"/>
                <a:gd name="T7" fmla="*/ 0 h 235"/>
                <a:gd name="T8" fmla="*/ 2147483647 w 2414"/>
                <a:gd name="T9" fmla="*/ 0 h 235"/>
                <a:gd name="T10" fmla="*/ 0 60000 65536"/>
                <a:gd name="T11" fmla="*/ 0 60000 65536"/>
                <a:gd name="T12" fmla="*/ 0 60000 65536"/>
                <a:gd name="T13" fmla="*/ 0 60000 65536"/>
                <a:gd name="T14" fmla="*/ 0 60000 65536"/>
                <a:gd name="T15" fmla="*/ 0 w 2414"/>
                <a:gd name="T16" fmla="*/ 0 h 235"/>
                <a:gd name="T17" fmla="*/ 2414 w 2414"/>
                <a:gd name="T18" fmla="*/ 235 h 235"/>
              </a:gdLst>
              <a:ahLst/>
              <a:cxnLst>
                <a:cxn ang="T10">
                  <a:pos x="T0" y="T1"/>
                </a:cxn>
                <a:cxn ang="T11">
                  <a:pos x="T2" y="T3"/>
                </a:cxn>
                <a:cxn ang="T12">
                  <a:pos x="T4" y="T5"/>
                </a:cxn>
                <a:cxn ang="T13">
                  <a:pos x="T6" y="T7"/>
                </a:cxn>
                <a:cxn ang="T14">
                  <a:pos x="T8" y="T9"/>
                </a:cxn>
              </a:cxnLst>
              <a:rect l="T15" t="T16" r="T17" b="T18"/>
              <a:pathLst>
                <a:path w="2414" h="235">
                  <a:moveTo>
                    <a:pt x="131" y="0"/>
                  </a:moveTo>
                  <a:lnTo>
                    <a:pt x="0" y="234"/>
                  </a:lnTo>
                  <a:lnTo>
                    <a:pt x="2413" y="234"/>
                  </a:lnTo>
                  <a:lnTo>
                    <a:pt x="2282" y="0"/>
                  </a:lnTo>
                  <a:lnTo>
                    <a:pt x="131" y="0"/>
                  </a:lnTo>
                </a:path>
              </a:pathLst>
            </a:custGeom>
            <a:solidFill>
              <a:srgbClr val="DCDCDC"/>
            </a:solidFill>
            <a:ln w="12700" cap="rnd">
              <a:solidFill>
                <a:schemeClr val="bg1"/>
              </a:solidFill>
              <a:round/>
              <a:headEnd type="none" w="sm" len="sm"/>
              <a:tailEnd type="none" w="sm" len="sm"/>
            </a:ln>
          </p:spPr>
          <p:txBody>
            <a:bodyPr lIns="27000" tIns="27000" rIns="27000" bIns="27000" anchor="ctr" anchorCtr="0">
              <a:noAutofit/>
            </a:bodyPr>
            <a:lstStyle/>
            <a:p>
              <a:pPr algn="ctr" defTabSz="685800">
                <a:buClrTx/>
              </a:pPr>
              <a:r>
                <a:rPr lang="en-US" sz="1050" kern="1200" dirty="0">
                  <a:solidFill>
                    <a:srgbClr val="313131"/>
                  </a:solidFill>
                  <a:ea typeface="+mn-ea"/>
                  <a:cs typeface="+mn-cs"/>
                </a:rPr>
                <a:t>Text</a:t>
              </a:r>
            </a:p>
          </p:txBody>
        </p:sp>
        <p:sp>
          <p:nvSpPr>
            <p:cNvPr id="694319" name="Freeform 46"/>
            <p:cNvSpPr>
              <a:spLocks/>
            </p:cNvSpPr>
            <p:nvPr>
              <p:custDataLst>
                <p:tags r:id="rId19"/>
              </p:custDataLst>
            </p:nvPr>
          </p:nvSpPr>
          <p:spPr bwMode="blackWhite">
            <a:xfrm>
              <a:off x="4891088" y="6075363"/>
              <a:ext cx="2711450" cy="233362"/>
            </a:xfrm>
            <a:custGeom>
              <a:avLst/>
              <a:gdLst>
                <a:gd name="T0" fmla="*/ 2147483647 w 2676"/>
                <a:gd name="T1" fmla="*/ 0 h 235"/>
                <a:gd name="T2" fmla="*/ 0 w 2676"/>
                <a:gd name="T3" fmla="*/ 2147483647 h 235"/>
                <a:gd name="T4" fmla="*/ 2147483647 w 2676"/>
                <a:gd name="T5" fmla="*/ 2147483647 h 235"/>
                <a:gd name="T6" fmla="*/ 2147483647 w 2676"/>
                <a:gd name="T7" fmla="*/ 0 h 235"/>
                <a:gd name="T8" fmla="*/ 2147483647 w 2676"/>
                <a:gd name="T9" fmla="*/ 0 h 235"/>
                <a:gd name="T10" fmla="*/ 0 60000 65536"/>
                <a:gd name="T11" fmla="*/ 0 60000 65536"/>
                <a:gd name="T12" fmla="*/ 0 60000 65536"/>
                <a:gd name="T13" fmla="*/ 0 60000 65536"/>
                <a:gd name="T14" fmla="*/ 0 60000 65536"/>
                <a:gd name="T15" fmla="*/ 0 w 2676"/>
                <a:gd name="T16" fmla="*/ 0 h 235"/>
                <a:gd name="T17" fmla="*/ 2676 w 2676"/>
                <a:gd name="T18" fmla="*/ 235 h 235"/>
              </a:gdLst>
              <a:ahLst/>
              <a:cxnLst>
                <a:cxn ang="T10">
                  <a:pos x="T0" y="T1"/>
                </a:cxn>
                <a:cxn ang="T11">
                  <a:pos x="T2" y="T3"/>
                </a:cxn>
                <a:cxn ang="T12">
                  <a:pos x="T4" y="T5"/>
                </a:cxn>
                <a:cxn ang="T13">
                  <a:pos x="T6" y="T7"/>
                </a:cxn>
                <a:cxn ang="T14">
                  <a:pos x="T8" y="T9"/>
                </a:cxn>
              </a:cxnLst>
              <a:rect l="T15" t="T16" r="T17" b="T18"/>
              <a:pathLst>
                <a:path w="2676" h="235">
                  <a:moveTo>
                    <a:pt x="131" y="0"/>
                  </a:moveTo>
                  <a:lnTo>
                    <a:pt x="0" y="234"/>
                  </a:lnTo>
                  <a:lnTo>
                    <a:pt x="2675" y="234"/>
                  </a:lnTo>
                  <a:lnTo>
                    <a:pt x="2544" y="0"/>
                  </a:lnTo>
                  <a:lnTo>
                    <a:pt x="131" y="0"/>
                  </a:lnTo>
                </a:path>
              </a:pathLst>
            </a:custGeom>
            <a:solidFill>
              <a:schemeClr val="accent1"/>
            </a:solidFill>
            <a:ln w="12700" cap="rnd">
              <a:solidFill>
                <a:schemeClr val="bg1"/>
              </a:solidFill>
              <a:round/>
              <a:headEnd type="none" w="sm" len="sm"/>
              <a:tailEnd type="none" w="sm" len="sm"/>
            </a:ln>
          </p:spPr>
          <p:txBody>
            <a:bodyPr lIns="27000" tIns="27000" rIns="27000" bIns="27000" anchor="ctr" anchorCtr="0">
              <a:noAutofit/>
            </a:bodyPr>
            <a:lstStyle/>
            <a:p>
              <a:pPr algn="ctr" defTabSz="685800">
                <a:buClrTx/>
              </a:pPr>
              <a:endParaRPr lang="en-US" sz="1050" kern="1200">
                <a:solidFill>
                  <a:prstClr val="white"/>
                </a:solidFill>
                <a:ea typeface="+mn-ea"/>
                <a:cs typeface="+mn-cs"/>
              </a:endParaRPr>
            </a:p>
          </p:txBody>
        </p:sp>
        <p:sp>
          <p:nvSpPr>
            <p:cNvPr id="694321" name="Freeform 48"/>
            <p:cNvSpPr>
              <a:spLocks/>
            </p:cNvSpPr>
            <p:nvPr>
              <p:custDataLst>
                <p:tags r:id="rId20"/>
              </p:custDataLst>
            </p:nvPr>
          </p:nvSpPr>
          <p:spPr bwMode="blackWhite">
            <a:xfrm>
              <a:off x="4891088" y="6075363"/>
              <a:ext cx="2711450" cy="233362"/>
            </a:xfrm>
            <a:custGeom>
              <a:avLst/>
              <a:gdLst>
                <a:gd name="T0" fmla="*/ 2147483647 w 2676"/>
                <a:gd name="T1" fmla="*/ 0 h 235"/>
                <a:gd name="T2" fmla="*/ 0 w 2676"/>
                <a:gd name="T3" fmla="*/ 2147483647 h 235"/>
                <a:gd name="T4" fmla="*/ 2147483647 w 2676"/>
                <a:gd name="T5" fmla="*/ 2147483647 h 235"/>
                <a:gd name="T6" fmla="*/ 2147483647 w 2676"/>
                <a:gd name="T7" fmla="*/ 0 h 235"/>
                <a:gd name="T8" fmla="*/ 2147483647 w 2676"/>
                <a:gd name="T9" fmla="*/ 0 h 235"/>
                <a:gd name="T10" fmla="*/ 0 60000 65536"/>
                <a:gd name="T11" fmla="*/ 0 60000 65536"/>
                <a:gd name="T12" fmla="*/ 0 60000 65536"/>
                <a:gd name="T13" fmla="*/ 0 60000 65536"/>
                <a:gd name="T14" fmla="*/ 0 60000 65536"/>
                <a:gd name="T15" fmla="*/ 0 w 2676"/>
                <a:gd name="T16" fmla="*/ 0 h 235"/>
                <a:gd name="T17" fmla="*/ 2676 w 2676"/>
                <a:gd name="T18" fmla="*/ 235 h 235"/>
              </a:gdLst>
              <a:ahLst/>
              <a:cxnLst>
                <a:cxn ang="T10">
                  <a:pos x="T0" y="T1"/>
                </a:cxn>
                <a:cxn ang="T11">
                  <a:pos x="T2" y="T3"/>
                </a:cxn>
                <a:cxn ang="T12">
                  <a:pos x="T4" y="T5"/>
                </a:cxn>
                <a:cxn ang="T13">
                  <a:pos x="T6" y="T7"/>
                </a:cxn>
                <a:cxn ang="T14">
                  <a:pos x="T8" y="T9"/>
                </a:cxn>
              </a:cxnLst>
              <a:rect l="T15" t="T16" r="T17" b="T18"/>
              <a:pathLst>
                <a:path w="2676" h="235">
                  <a:moveTo>
                    <a:pt x="131" y="0"/>
                  </a:moveTo>
                  <a:lnTo>
                    <a:pt x="0" y="234"/>
                  </a:lnTo>
                  <a:lnTo>
                    <a:pt x="2675" y="234"/>
                  </a:lnTo>
                  <a:lnTo>
                    <a:pt x="2544" y="0"/>
                  </a:lnTo>
                  <a:lnTo>
                    <a:pt x="131" y="0"/>
                  </a:lnTo>
                </a:path>
              </a:pathLst>
            </a:custGeom>
            <a:solidFill>
              <a:srgbClr val="00A1DE"/>
            </a:solidFill>
            <a:ln w="12700" cap="rnd">
              <a:solidFill>
                <a:schemeClr val="bg1"/>
              </a:solidFill>
              <a:round/>
              <a:headEnd type="none" w="sm" len="sm"/>
              <a:tailEnd type="none" w="sm" len="sm"/>
            </a:ln>
          </p:spPr>
          <p:txBody>
            <a:bodyPr lIns="27000" tIns="27000" rIns="27000" bIns="27000" anchor="ctr" anchorCtr="0">
              <a:noAutofit/>
            </a:bodyPr>
            <a:lstStyle/>
            <a:p>
              <a:pPr algn="ctr" defTabSz="685800">
                <a:buClrTx/>
              </a:pPr>
              <a:r>
                <a:rPr lang="en-US" sz="1050" kern="1200">
                  <a:solidFill>
                    <a:prstClr val="white"/>
                  </a:solidFill>
                  <a:ea typeface="+mn-ea"/>
                  <a:cs typeface="+mn-cs"/>
                </a:rPr>
                <a:t>Text</a:t>
              </a:r>
              <a:endParaRPr lang="en-US" sz="1050" kern="1200" dirty="0">
                <a:solidFill>
                  <a:prstClr val="white"/>
                </a:solidFill>
                <a:ea typeface="+mn-ea"/>
                <a:cs typeface="+mn-cs"/>
              </a:endParaRPr>
            </a:p>
          </p:txBody>
        </p:sp>
      </p:grpSp>
      <p:grpSp>
        <p:nvGrpSpPr>
          <p:cNvPr id="37" name="Group 36"/>
          <p:cNvGrpSpPr/>
          <p:nvPr/>
        </p:nvGrpSpPr>
        <p:grpSpPr>
          <a:xfrm>
            <a:off x="1855908" y="1047158"/>
            <a:ext cx="1974160" cy="1775814"/>
            <a:chOff x="1258888" y="1396210"/>
            <a:chExt cx="2632213" cy="2367752"/>
          </a:xfrm>
        </p:grpSpPr>
        <p:sp>
          <p:nvSpPr>
            <p:cNvPr id="53" name="Freeform 3"/>
            <p:cNvSpPr>
              <a:spLocks/>
            </p:cNvSpPr>
            <p:nvPr>
              <p:custDataLst>
                <p:tags r:id="rId3"/>
              </p:custDataLst>
            </p:nvPr>
          </p:nvSpPr>
          <p:spPr bwMode="blackWhite">
            <a:xfrm>
              <a:off x="1258888" y="1403829"/>
              <a:ext cx="2632213" cy="2360133"/>
            </a:xfrm>
            <a:custGeom>
              <a:avLst/>
              <a:gdLst>
                <a:gd name="T0" fmla="*/ 991074 w 891"/>
                <a:gd name="T1" fmla="*/ 794338 h 796"/>
                <a:gd name="T2" fmla="*/ 495537 w 891"/>
                <a:gd name="T3" fmla="*/ 0 h 796"/>
                <a:gd name="T4" fmla="*/ 0 w 891"/>
                <a:gd name="T5" fmla="*/ 794338 h 796"/>
                <a:gd name="T6" fmla="*/ 991074 w 891"/>
                <a:gd name="T7" fmla="*/ 794338 h 796"/>
                <a:gd name="T8" fmla="*/ 0 60000 65536"/>
                <a:gd name="T9" fmla="*/ 0 60000 65536"/>
                <a:gd name="T10" fmla="*/ 0 60000 65536"/>
                <a:gd name="T11" fmla="*/ 0 60000 65536"/>
                <a:gd name="T12" fmla="*/ 0 w 891"/>
                <a:gd name="T13" fmla="*/ 0 h 796"/>
                <a:gd name="T14" fmla="*/ 891 w 891"/>
                <a:gd name="T15" fmla="*/ 796 h 796"/>
              </a:gdLst>
              <a:ahLst/>
              <a:cxnLst>
                <a:cxn ang="T8">
                  <a:pos x="T0" y="T1"/>
                </a:cxn>
                <a:cxn ang="T9">
                  <a:pos x="T2" y="T3"/>
                </a:cxn>
                <a:cxn ang="T10">
                  <a:pos x="T4" y="T5"/>
                </a:cxn>
                <a:cxn ang="T11">
                  <a:pos x="T6" y="T7"/>
                </a:cxn>
              </a:cxnLst>
              <a:rect l="T12" t="T13" r="T14" b="T15"/>
              <a:pathLst>
                <a:path w="891" h="796">
                  <a:moveTo>
                    <a:pt x="890" y="795"/>
                  </a:moveTo>
                  <a:lnTo>
                    <a:pt x="445" y="0"/>
                  </a:lnTo>
                  <a:lnTo>
                    <a:pt x="0" y="795"/>
                  </a:lnTo>
                  <a:lnTo>
                    <a:pt x="890" y="795"/>
                  </a:lnTo>
                </a:path>
              </a:pathLst>
            </a:custGeom>
            <a:solidFill>
              <a:srgbClr val="00A1DE"/>
            </a:solidFill>
            <a:ln w="12700" cap="rnd">
              <a:solidFill>
                <a:schemeClr val="bg1"/>
              </a:solidFill>
              <a:round/>
              <a:headEnd/>
              <a:tailEnd/>
            </a:ln>
          </p:spPr>
          <p:txBody>
            <a:bodyPr lIns="27000" tIns="1026000" rIns="27000" bIns="0" anchor="ctr" anchorCtr="0">
              <a:noAutofit/>
            </a:bodyPr>
            <a:lstStyle/>
            <a:p>
              <a:pPr algn="ctr" defTabSz="685800">
                <a:buClrTx/>
                <a:defRPr/>
              </a:pPr>
              <a:r>
                <a:rPr lang="en-US" sz="1050" kern="1200">
                  <a:solidFill>
                    <a:prstClr val="white"/>
                  </a:solidFill>
                  <a:ea typeface="+mn-ea"/>
                  <a:cs typeface="+mn-cs"/>
                </a:rPr>
                <a:t>Text</a:t>
              </a:r>
              <a:endParaRPr lang="en-US" sz="1050" kern="1200" dirty="0">
                <a:solidFill>
                  <a:prstClr val="white"/>
                </a:solidFill>
                <a:ea typeface="+mn-ea"/>
                <a:cs typeface="+mn-cs"/>
              </a:endParaRPr>
            </a:p>
          </p:txBody>
        </p:sp>
        <p:sp>
          <p:nvSpPr>
            <p:cNvPr id="50" name="Freeform 3"/>
            <p:cNvSpPr>
              <a:spLocks/>
            </p:cNvSpPr>
            <p:nvPr>
              <p:custDataLst>
                <p:tags r:id="rId4"/>
              </p:custDataLst>
            </p:nvPr>
          </p:nvSpPr>
          <p:spPr bwMode="blackWhite">
            <a:xfrm>
              <a:off x="1826194" y="1396210"/>
              <a:ext cx="1497600" cy="1342800"/>
            </a:xfrm>
            <a:custGeom>
              <a:avLst/>
              <a:gdLst>
                <a:gd name="T0" fmla="*/ 991074 w 891"/>
                <a:gd name="T1" fmla="*/ 794338 h 796"/>
                <a:gd name="T2" fmla="*/ 495537 w 891"/>
                <a:gd name="T3" fmla="*/ 0 h 796"/>
                <a:gd name="T4" fmla="*/ 0 w 891"/>
                <a:gd name="T5" fmla="*/ 794338 h 796"/>
                <a:gd name="T6" fmla="*/ 991074 w 891"/>
                <a:gd name="T7" fmla="*/ 794338 h 796"/>
                <a:gd name="T8" fmla="*/ 0 60000 65536"/>
                <a:gd name="T9" fmla="*/ 0 60000 65536"/>
                <a:gd name="T10" fmla="*/ 0 60000 65536"/>
                <a:gd name="T11" fmla="*/ 0 60000 65536"/>
                <a:gd name="T12" fmla="*/ 0 w 891"/>
                <a:gd name="T13" fmla="*/ 0 h 796"/>
                <a:gd name="T14" fmla="*/ 891 w 891"/>
                <a:gd name="T15" fmla="*/ 796 h 796"/>
              </a:gdLst>
              <a:ahLst/>
              <a:cxnLst>
                <a:cxn ang="T8">
                  <a:pos x="T0" y="T1"/>
                </a:cxn>
                <a:cxn ang="T9">
                  <a:pos x="T2" y="T3"/>
                </a:cxn>
                <a:cxn ang="T10">
                  <a:pos x="T4" y="T5"/>
                </a:cxn>
                <a:cxn ang="T11">
                  <a:pos x="T6" y="T7"/>
                </a:cxn>
              </a:cxnLst>
              <a:rect l="T12" t="T13" r="T14" b="T15"/>
              <a:pathLst>
                <a:path w="891" h="796">
                  <a:moveTo>
                    <a:pt x="890" y="795"/>
                  </a:moveTo>
                  <a:lnTo>
                    <a:pt x="445" y="0"/>
                  </a:lnTo>
                  <a:lnTo>
                    <a:pt x="0" y="795"/>
                  </a:lnTo>
                  <a:lnTo>
                    <a:pt x="890" y="795"/>
                  </a:lnTo>
                </a:path>
              </a:pathLst>
            </a:custGeom>
            <a:solidFill>
              <a:srgbClr val="B4B4B4"/>
            </a:solidFill>
            <a:ln w="12700" cap="rnd">
              <a:solidFill>
                <a:schemeClr val="bg1"/>
              </a:solidFill>
              <a:round/>
              <a:headEnd/>
              <a:tailEnd/>
            </a:ln>
          </p:spPr>
          <p:txBody>
            <a:bodyPr lIns="27000" tIns="27000" rIns="27000" bIns="189000" anchor="b" anchorCtr="0">
              <a:noAutofit/>
            </a:bodyPr>
            <a:lstStyle/>
            <a:p>
              <a:pPr algn="ctr" defTabSz="685800">
                <a:buClrTx/>
                <a:defRPr/>
              </a:pPr>
              <a:r>
                <a:rPr lang="en-US" sz="1050" kern="1200">
                  <a:solidFill>
                    <a:prstClr val="white"/>
                  </a:solidFill>
                  <a:ea typeface="+mn-ea"/>
                  <a:cs typeface="+mn-cs"/>
                </a:rPr>
                <a:t>Text</a:t>
              </a:r>
              <a:endParaRPr lang="en-US" sz="1050" kern="1200" dirty="0">
                <a:solidFill>
                  <a:prstClr val="white"/>
                </a:solidFill>
                <a:ea typeface="+mn-ea"/>
                <a:cs typeface="+mn-cs"/>
              </a:endParaRPr>
            </a:p>
          </p:txBody>
        </p:sp>
      </p:grpSp>
      <p:sp>
        <p:nvSpPr>
          <p:cNvPr id="38" name="Rectangle 37"/>
          <p:cNvSpPr>
            <a:spLocks noChangeArrowheads="1"/>
          </p:cNvSpPr>
          <p:nvPr/>
        </p:nvSpPr>
        <p:spPr bwMode="auto">
          <a:xfrm>
            <a:off x="5803107" y="0"/>
            <a:ext cx="2197894" cy="369332"/>
          </a:xfrm>
          <a:prstGeom prst="rect">
            <a:avLst/>
          </a:prstGeom>
          <a:solidFill>
            <a:schemeClr val="accent6"/>
          </a:solidFill>
          <a:ln w="6350" algn="ctr">
            <a:solidFill>
              <a:schemeClr val="bg1"/>
            </a:solidFill>
            <a:miter lim="800000"/>
            <a:headEnd/>
            <a:tailEnd/>
          </a:ln>
        </p:spPr>
        <p:txBody>
          <a:bodyPr tIns="68580" bIns="68580">
            <a:spAutoFit/>
          </a:bodyPr>
          <a:lstStyle/>
          <a:p>
            <a:pPr defTabSz="685800">
              <a:buClrTx/>
              <a:defRPr/>
            </a:pPr>
            <a:r>
              <a:rPr lang="en-US" sz="750" kern="1200" dirty="0">
                <a:solidFill>
                  <a:srgbClr val="313131"/>
                </a:solidFill>
                <a:ea typeface="ＭＳ Ｐゴシック" pitchFamily="50" charset="-128"/>
                <a:cs typeface="+mn-cs"/>
              </a:rPr>
              <a:t>Tip! Hold the Shift key when resizing the pieces or group to retain the shape proportions</a:t>
            </a:r>
          </a:p>
        </p:txBody>
      </p:sp>
    </p:spTree>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21" name="Title 1"/>
          <p:cNvSpPr>
            <a:spLocks noGrp="1"/>
          </p:cNvSpPr>
          <p:nvPr>
            <p:ph type="title"/>
          </p:nvPr>
        </p:nvSpPr>
        <p:spPr/>
        <p:txBody>
          <a:bodyPr/>
          <a:lstStyle/>
          <a:p>
            <a:r>
              <a:rPr lang="en-US" dirty="0"/>
              <a:t>Puzzles </a:t>
            </a:r>
            <a:br>
              <a:rPr lang="en-US" dirty="0"/>
            </a:br>
            <a:r>
              <a:rPr lang="en-US" dirty="0">
                <a:solidFill>
                  <a:srgbClr val="575757"/>
                </a:solidFill>
              </a:rPr>
              <a:t>Square</a:t>
            </a:r>
          </a:p>
        </p:txBody>
      </p:sp>
      <p:grpSp>
        <p:nvGrpSpPr>
          <p:cNvPr id="696323" name="Group 3"/>
          <p:cNvGrpSpPr>
            <a:grpSpLocks/>
          </p:cNvGrpSpPr>
          <p:nvPr/>
        </p:nvGrpSpPr>
        <p:grpSpPr bwMode="auto">
          <a:xfrm>
            <a:off x="1754982" y="1268731"/>
            <a:ext cx="2518172" cy="2509838"/>
            <a:chOff x="557" y="1281"/>
            <a:chExt cx="2291" cy="2108"/>
          </a:xfrm>
        </p:grpSpPr>
        <p:sp>
          <p:nvSpPr>
            <p:cNvPr id="696335" name="Freeform 4"/>
            <p:cNvSpPr>
              <a:spLocks/>
            </p:cNvSpPr>
            <p:nvPr/>
          </p:nvSpPr>
          <p:spPr bwMode="auto">
            <a:xfrm>
              <a:off x="557" y="1281"/>
              <a:ext cx="1453" cy="1054"/>
            </a:xfrm>
            <a:custGeom>
              <a:avLst/>
              <a:gdLst>
                <a:gd name="T0" fmla="*/ 0 w 2312"/>
                <a:gd name="T1" fmla="*/ 0 h 1823"/>
                <a:gd name="T2" fmla="*/ 178 w 2312"/>
                <a:gd name="T3" fmla="*/ 0 h 1823"/>
                <a:gd name="T4" fmla="*/ 178 w 2312"/>
                <a:gd name="T5" fmla="*/ 43 h 1823"/>
                <a:gd name="T6" fmla="*/ 198 w 2312"/>
                <a:gd name="T7" fmla="*/ 39 h 1823"/>
                <a:gd name="T8" fmla="*/ 226 w 2312"/>
                <a:gd name="T9" fmla="*/ 60 h 1823"/>
                <a:gd name="T10" fmla="*/ 202 w 2312"/>
                <a:gd name="T11" fmla="*/ 77 h 1823"/>
                <a:gd name="T12" fmla="*/ 178 w 2312"/>
                <a:gd name="T13" fmla="*/ 75 h 1823"/>
                <a:gd name="T14" fmla="*/ 178 w 2312"/>
                <a:gd name="T15" fmla="*/ 118 h 1823"/>
                <a:gd name="T16" fmla="*/ 112 w 2312"/>
                <a:gd name="T17" fmla="*/ 118 h 1823"/>
                <a:gd name="T18" fmla="*/ 118 w 2312"/>
                <a:gd name="T19" fmla="*/ 102 h 1823"/>
                <a:gd name="T20" fmla="*/ 90 w 2312"/>
                <a:gd name="T21" fmla="*/ 87 h 1823"/>
                <a:gd name="T22" fmla="*/ 60 w 2312"/>
                <a:gd name="T23" fmla="*/ 105 h 1823"/>
                <a:gd name="T24" fmla="*/ 66 w 2312"/>
                <a:gd name="T25" fmla="*/ 118 h 1823"/>
                <a:gd name="T26" fmla="*/ 0 w 2312"/>
                <a:gd name="T27" fmla="*/ 118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81BC00"/>
            </a:solidFill>
            <a:ln w="12700">
              <a:solidFill>
                <a:schemeClr val="bg1"/>
              </a:solidFill>
              <a:round/>
              <a:headEnd/>
              <a:tailEnd/>
            </a:ln>
          </p:spPr>
          <p:txBody>
            <a:bodyPr wrap="none" lIns="27000" tIns="27000" rIns="27000" bIns="27000" anchor="ctr"/>
            <a:lstStyle/>
            <a:p>
              <a:pPr algn="ctr" defTabSz="685800">
                <a:buClrTx/>
              </a:pPr>
              <a:endParaRPr lang="en-US" sz="1050" kern="1200">
                <a:solidFill>
                  <a:prstClr val="white"/>
                </a:solidFill>
                <a:ea typeface="+mn-ea"/>
                <a:cs typeface="+mn-cs"/>
              </a:endParaRPr>
            </a:p>
          </p:txBody>
        </p:sp>
        <p:sp>
          <p:nvSpPr>
            <p:cNvPr id="6" name="Freeform 5"/>
            <p:cNvSpPr>
              <a:spLocks/>
            </p:cNvSpPr>
            <p:nvPr/>
          </p:nvSpPr>
          <p:spPr bwMode="auto">
            <a:xfrm rot="16200000">
              <a:off x="460" y="2148"/>
              <a:ext cx="1337" cy="1144"/>
            </a:xfrm>
            <a:custGeom>
              <a:avLst/>
              <a:gdLst>
                <a:gd name="T0" fmla="*/ 0 w 2312"/>
                <a:gd name="T1" fmla="*/ 0 h 1823"/>
                <a:gd name="T2" fmla="*/ 1054 w 2312"/>
                <a:gd name="T3" fmla="*/ 0 h 1823"/>
                <a:gd name="T4" fmla="*/ 1054 w 2312"/>
                <a:gd name="T5" fmla="*/ 422 h 1823"/>
                <a:gd name="T6" fmla="*/ 1168 w 2312"/>
                <a:gd name="T7" fmla="*/ 380 h 1823"/>
                <a:gd name="T8" fmla="*/ 1335 w 2312"/>
                <a:gd name="T9" fmla="*/ 578 h 1823"/>
                <a:gd name="T10" fmla="*/ 1190 w 2312"/>
                <a:gd name="T11" fmla="*/ 755 h 1823"/>
                <a:gd name="T12" fmla="*/ 1054 w 2312"/>
                <a:gd name="T13" fmla="*/ 727 h 1823"/>
                <a:gd name="T14" fmla="*/ 1054 w 2312"/>
                <a:gd name="T15" fmla="*/ 1144 h 1823"/>
                <a:gd name="T16" fmla="*/ 666 w 2312"/>
                <a:gd name="T17" fmla="*/ 1144 h 1823"/>
                <a:gd name="T18" fmla="*/ 694 w 2312"/>
                <a:gd name="T19" fmla="*/ 994 h 1823"/>
                <a:gd name="T20" fmla="*/ 530 w 2312"/>
                <a:gd name="T21" fmla="*/ 843 h 1823"/>
                <a:gd name="T22" fmla="*/ 352 w 2312"/>
                <a:gd name="T23" fmla="*/ 1017 h 1823"/>
                <a:gd name="T24" fmla="*/ 388 w 2312"/>
                <a:gd name="T25" fmla="*/ 1144 h 1823"/>
                <a:gd name="T26" fmla="*/ 0 w 2312"/>
                <a:gd name="T27" fmla="*/ 1144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575757"/>
            </a:solidFill>
            <a:ln w="12700">
              <a:solidFill>
                <a:schemeClr val="bg1"/>
              </a:solidFill>
              <a:round/>
              <a:headEnd/>
              <a:tailEnd/>
            </a:ln>
          </p:spPr>
          <p:txBody>
            <a:bodyPr wrap="none" lIns="27000" tIns="27000" rIns="27000" bIns="27000" anchor="ctr"/>
            <a:lstStyle/>
            <a:p>
              <a:pPr algn="ctr" defTabSz="685800">
                <a:buClrTx/>
                <a:defRPr/>
              </a:pPr>
              <a:endParaRPr lang="en-US" sz="1050" kern="1200" dirty="0">
                <a:solidFill>
                  <a:prstClr val="white"/>
                </a:solidFill>
                <a:ea typeface="+mn-ea"/>
                <a:cs typeface="+mn-cs"/>
              </a:endParaRPr>
            </a:p>
          </p:txBody>
        </p:sp>
        <p:sp>
          <p:nvSpPr>
            <p:cNvPr id="7" name="Freeform 6"/>
            <p:cNvSpPr>
              <a:spLocks/>
            </p:cNvSpPr>
            <p:nvPr/>
          </p:nvSpPr>
          <p:spPr bwMode="auto">
            <a:xfrm rot="10800000">
              <a:off x="1396" y="2335"/>
              <a:ext cx="1452" cy="1054"/>
            </a:xfrm>
            <a:custGeom>
              <a:avLst/>
              <a:gdLst>
                <a:gd name="T0" fmla="*/ 0 w 2312"/>
                <a:gd name="T1" fmla="*/ 0 h 1823"/>
                <a:gd name="T2" fmla="*/ 1144 w 2312"/>
                <a:gd name="T3" fmla="*/ 0 h 1823"/>
                <a:gd name="T4" fmla="*/ 1144 w 2312"/>
                <a:gd name="T5" fmla="*/ 389 h 1823"/>
                <a:gd name="T6" fmla="*/ 1269 w 2312"/>
                <a:gd name="T7" fmla="*/ 350 h 1823"/>
                <a:gd name="T8" fmla="*/ 1449 w 2312"/>
                <a:gd name="T9" fmla="*/ 532 h 1823"/>
                <a:gd name="T10" fmla="*/ 1292 w 2312"/>
                <a:gd name="T11" fmla="*/ 696 h 1823"/>
                <a:gd name="T12" fmla="*/ 1144 w 2312"/>
                <a:gd name="T13" fmla="*/ 670 h 1823"/>
                <a:gd name="T14" fmla="*/ 1144 w 2312"/>
                <a:gd name="T15" fmla="*/ 1054 h 1823"/>
                <a:gd name="T16" fmla="*/ 723 w 2312"/>
                <a:gd name="T17" fmla="*/ 1054 h 1823"/>
                <a:gd name="T18" fmla="*/ 754 w 2312"/>
                <a:gd name="T19" fmla="*/ 916 h 1823"/>
                <a:gd name="T20" fmla="*/ 575 w 2312"/>
                <a:gd name="T21" fmla="*/ 777 h 1823"/>
                <a:gd name="T22" fmla="*/ 382 w 2312"/>
                <a:gd name="T23" fmla="*/ 937 h 1823"/>
                <a:gd name="T24" fmla="*/ 421 w 2312"/>
                <a:gd name="T25" fmla="*/ 1054 h 1823"/>
                <a:gd name="T26" fmla="*/ 0 w 2312"/>
                <a:gd name="T27" fmla="*/ 1054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B4B4B4"/>
            </a:solidFill>
            <a:ln w="12700">
              <a:solidFill>
                <a:schemeClr val="bg1"/>
              </a:solidFill>
              <a:round/>
              <a:headEnd/>
              <a:tailEnd/>
            </a:ln>
          </p:spPr>
          <p:txBody>
            <a:bodyPr wrap="none" lIns="27000" tIns="27000" rIns="27000" bIns="27000" anchor="ctr"/>
            <a:lstStyle/>
            <a:p>
              <a:pPr algn="ctr" defTabSz="685800">
                <a:buClrTx/>
                <a:defRPr/>
              </a:pPr>
              <a:endParaRPr lang="en-US" sz="1050" kern="1200" dirty="0">
                <a:solidFill>
                  <a:prstClr val="white"/>
                </a:solidFill>
                <a:ea typeface="+mn-ea"/>
                <a:cs typeface="+mn-cs"/>
              </a:endParaRPr>
            </a:p>
          </p:txBody>
        </p:sp>
        <p:sp>
          <p:nvSpPr>
            <p:cNvPr id="696338" name="Freeform 7"/>
            <p:cNvSpPr>
              <a:spLocks/>
            </p:cNvSpPr>
            <p:nvPr/>
          </p:nvSpPr>
          <p:spPr bwMode="auto">
            <a:xfrm rot="5400000">
              <a:off x="1608" y="1378"/>
              <a:ext cx="1337" cy="1143"/>
            </a:xfrm>
            <a:custGeom>
              <a:avLst/>
              <a:gdLst>
                <a:gd name="T0" fmla="*/ 0 w 2312"/>
                <a:gd name="T1" fmla="*/ 0 h 1823"/>
                <a:gd name="T2" fmla="*/ 118 w 2312"/>
                <a:gd name="T3" fmla="*/ 0 h 1823"/>
                <a:gd name="T4" fmla="*/ 118 w 2312"/>
                <a:gd name="T5" fmla="*/ 65 h 1823"/>
                <a:gd name="T6" fmla="*/ 131 w 2312"/>
                <a:gd name="T7" fmla="*/ 58 h 1823"/>
                <a:gd name="T8" fmla="*/ 149 w 2312"/>
                <a:gd name="T9" fmla="*/ 89 h 1823"/>
                <a:gd name="T10" fmla="*/ 133 w 2312"/>
                <a:gd name="T11" fmla="*/ 117 h 1823"/>
                <a:gd name="T12" fmla="*/ 118 w 2312"/>
                <a:gd name="T13" fmla="*/ 112 h 1823"/>
                <a:gd name="T14" fmla="*/ 118 w 2312"/>
                <a:gd name="T15" fmla="*/ 177 h 1823"/>
                <a:gd name="T16" fmla="*/ 75 w 2312"/>
                <a:gd name="T17" fmla="*/ 177 h 1823"/>
                <a:gd name="T18" fmla="*/ 77 w 2312"/>
                <a:gd name="T19" fmla="*/ 154 h 1823"/>
                <a:gd name="T20" fmla="*/ 59 w 2312"/>
                <a:gd name="T21" fmla="*/ 130 h 1823"/>
                <a:gd name="T22" fmla="*/ 39 w 2312"/>
                <a:gd name="T23" fmla="*/ 157 h 1823"/>
                <a:gd name="T24" fmla="*/ 43 w 2312"/>
                <a:gd name="T25" fmla="*/ 177 h 1823"/>
                <a:gd name="T26" fmla="*/ 0 w 2312"/>
                <a:gd name="T27" fmla="*/ 177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DCDCDC"/>
            </a:solidFill>
            <a:ln w="12700">
              <a:solidFill>
                <a:schemeClr val="bg1"/>
              </a:solidFill>
              <a:round/>
              <a:headEnd/>
              <a:tailEnd/>
            </a:ln>
          </p:spPr>
          <p:txBody>
            <a:bodyPr wrap="none" lIns="27000" tIns="27000" rIns="27000" bIns="27000" anchor="ctr"/>
            <a:lstStyle/>
            <a:p>
              <a:pPr algn="ctr" defTabSz="685800">
                <a:buClrTx/>
              </a:pPr>
              <a:endParaRPr lang="en-US" sz="1050" kern="1200">
                <a:solidFill>
                  <a:prstClr val="white"/>
                </a:solidFill>
                <a:ea typeface="+mn-ea"/>
                <a:cs typeface="+mn-cs"/>
              </a:endParaRPr>
            </a:p>
          </p:txBody>
        </p:sp>
      </p:grpSp>
      <p:grpSp>
        <p:nvGrpSpPr>
          <p:cNvPr id="696324" name="Group 8"/>
          <p:cNvGrpSpPr>
            <a:grpSpLocks/>
          </p:cNvGrpSpPr>
          <p:nvPr/>
        </p:nvGrpSpPr>
        <p:grpSpPr bwMode="auto">
          <a:xfrm>
            <a:off x="4822031" y="1268730"/>
            <a:ext cx="2543175" cy="2531270"/>
            <a:chOff x="3347" y="1272"/>
            <a:chExt cx="2314" cy="2126"/>
          </a:xfrm>
        </p:grpSpPr>
        <p:sp>
          <p:nvSpPr>
            <p:cNvPr id="10" name="Freeform 9"/>
            <p:cNvSpPr>
              <a:spLocks/>
            </p:cNvSpPr>
            <p:nvPr/>
          </p:nvSpPr>
          <p:spPr bwMode="auto">
            <a:xfrm>
              <a:off x="3917" y="1792"/>
              <a:ext cx="974" cy="897"/>
            </a:xfrm>
            <a:custGeom>
              <a:avLst/>
              <a:gdLst>
                <a:gd name="T0" fmla="*/ 307 w 850"/>
                <a:gd name="T1" fmla="*/ 735 h 853"/>
                <a:gd name="T2" fmla="*/ 256 w 850"/>
                <a:gd name="T3" fmla="*/ 745 h 853"/>
                <a:gd name="T4" fmla="*/ 163 w 850"/>
                <a:gd name="T5" fmla="*/ 767 h 853"/>
                <a:gd name="T6" fmla="*/ 73 w 850"/>
                <a:gd name="T7" fmla="*/ 741 h 853"/>
                <a:gd name="T8" fmla="*/ 10 w 850"/>
                <a:gd name="T9" fmla="*/ 679 h 853"/>
                <a:gd name="T10" fmla="*/ 0 w 850"/>
                <a:gd name="T11" fmla="*/ 585 h 853"/>
                <a:gd name="T12" fmla="*/ 47 w 850"/>
                <a:gd name="T13" fmla="*/ 528 h 853"/>
                <a:gd name="T14" fmla="*/ 141 w 850"/>
                <a:gd name="T15" fmla="*/ 496 h 853"/>
                <a:gd name="T16" fmla="*/ 249 w 850"/>
                <a:gd name="T17" fmla="*/ 521 h 853"/>
                <a:gd name="T18" fmla="*/ 307 w 850"/>
                <a:gd name="T19" fmla="*/ 522 h 853"/>
                <a:gd name="T20" fmla="*/ 746 w 850"/>
                <a:gd name="T21" fmla="*/ 218 h 853"/>
                <a:gd name="T22" fmla="*/ 730 w 850"/>
                <a:gd name="T23" fmla="*/ 188 h 853"/>
                <a:gd name="T24" fmla="*/ 690 w 850"/>
                <a:gd name="T25" fmla="*/ 136 h 853"/>
                <a:gd name="T26" fmla="*/ 693 w 850"/>
                <a:gd name="T27" fmla="*/ 89 h 853"/>
                <a:gd name="T28" fmla="*/ 723 w 850"/>
                <a:gd name="T29" fmla="*/ 47 h 853"/>
                <a:gd name="T30" fmla="*/ 827 w 850"/>
                <a:gd name="T31" fmla="*/ 4 h 853"/>
                <a:gd name="T32" fmla="*/ 927 w 850"/>
                <a:gd name="T33" fmla="*/ 1 h 853"/>
                <a:gd name="T34" fmla="*/ 1031 w 850"/>
                <a:gd name="T35" fmla="*/ 34 h 853"/>
                <a:gd name="T36" fmla="*/ 1066 w 850"/>
                <a:gd name="T37" fmla="*/ 103 h 853"/>
                <a:gd name="T38" fmla="*/ 1047 w 850"/>
                <a:gd name="T39" fmla="*/ 159 h 853"/>
                <a:gd name="T40" fmla="*/ 1008 w 850"/>
                <a:gd name="T41" fmla="*/ 206 h 853"/>
                <a:gd name="T42" fmla="*/ 1466 w 850"/>
                <a:gd name="T43" fmla="*/ 218 h 853"/>
                <a:gd name="T44" fmla="*/ 1443 w 850"/>
                <a:gd name="T45" fmla="*/ 533 h 853"/>
                <a:gd name="T46" fmla="*/ 1360 w 850"/>
                <a:gd name="T47" fmla="*/ 502 h 853"/>
                <a:gd name="T48" fmla="*/ 1267 w 850"/>
                <a:gd name="T49" fmla="*/ 498 h 853"/>
                <a:gd name="T50" fmla="*/ 1196 w 850"/>
                <a:gd name="T51" fmla="*/ 532 h 853"/>
                <a:gd name="T52" fmla="*/ 1160 w 850"/>
                <a:gd name="T53" fmla="*/ 588 h 853"/>
                <a:gd name="T54" fmla="*/ 1160 w 850"/>
                <a:gd name="T55" fmla="*/ 672 h 853"/>
                <a:gd name="T56" fmla="*/ 1220 w 850"/>
                <a:gd name="T57" fmla="*/ 735 h 853"/>
                <a:gd name="T58" fmla="*/ 1309 w 850"/>
                <a:gd name="T59" fmla="*/ 765 h 853"/>
                <a:gd name="T60" fmla="*/ 1392 w 850"/>
                <a:gd name="T61" fmla="*/ 753 h 853"/>
                <a:gd name="T62" fmla="*/ 1453 w 850"/>
                <a:gd name="T63" fmla="*/ 720 h 853"/>
                <a:gd name="T64" fmla="*/ 1466 w 850"/>
                <a:gd name="T65" fmla="*/ 1043 h 853"/>
                <a:gd name="T66" fmla="*/ 1014 w 850"/>
                <a:gd name="T67" fmla="*/ 1028 h 853"/>
                <a:gd name="T68" fmla="*/ 1055 w 850"/>
                <a:gd name="T69" fmla="*/ 999 h 853"/>
                <a:gd name="T70" fmla="*/ 1081 w 850"/>
                <a:gd name="T71" fmla="*/ 947 h 853"/>
                <a:gd name="T72" fmla="*/ 1061 w 850"/>
                <a:gd name="T73" fmla="*/ 897 h 853"/>
                <a:gd name="T74" fmla="*/ 1000 w 850"/>
                <a:gd name="T75" fmla="*/ 853 h 853"/>
                <a:gd name="T76" fmla="*/ 879 w 850"/>
                <a:gd name="T77" fmla="*/ 827 h 853"/>
                <a:gd name="T78" fmla="*/ 795 w 850"/>
                <a:gd name="T79" fmla="*/ 836 h 853"/>
                <a:gd name="T80" fmla="*/ 730 w 850"/>
                <a:gd name="T81" fmla="*/ 872 h 853"/>
                <a:gd name="T82" fmla="*/ 699 w 850"/>
                <a:gd name="T83" fmla="*/ 935 h 853"/>
                <a:gd name="T84" fmla="*/ 720 w 850"/>
                <a:gd name="T85" fmla="*/ 991 h 853"/>
                <a:gd name="T86" fmla="*/ 753 w 850"/>
                <a:gd name="T87" fmla="*/ 1031 h 853"/>
                <a:gd name="T88" fmla="*/ 307 w 850"/>
                <a:gd name="T89" fmla="*/ 1043 h 85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50"/>
                <a:gd name="T136" fmla="*/ 0 h 853"/>
                <a:gd name="T137" fmla="*/ 850 w 850"/>
                <a:gd name="T138" fmla="*/ 853 h 85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50" h="853">
                  <a:moveTo>
                    <a:pt x="178" y="853"/>
                  </a:moveTo>
                  <a:lnTo>
                    <a:pt x="178" y="601"/>
                  </a:lnTo>
                  <a:lnTo>
                    <a:pt x="165" y="592"/>
                  </a:lnTo>
                  <a:lnTo>
                    <a:pt x="148" y="609"/>
                  </a:lnTo>
                  <a:lnTo>
                    <a:pt x="124" y="621"/>
                  </a:lnTo>
                  <a:lnTo>
                    <a:pt x="94" y="627"/>
                  </a:lnTo>
                  <a:lnTo>
                    <a:pt x="69" y="621"/>
                  </a:lnTo>
                  <a:lnTo>
                    <a:pt x="43" y="606"/>
                  </a:lnTo>
                  <a:lnTo>
                    <a:pt x="22" y="583"/>
                  </a:lnTo>
                  <a:lnTo>
                    <a:pt x="6" y="555"/>
                  </a:lnTo>
                  <a:lnTo>
                    <a:pt x="0" y="520"/>
                  </a:lnTo>
                  <a:lnTo>
                    <a:pt x="0" y="478"/>
                  </a:lnTo>
                  <a:lnTo>
                    <a:pt x="13" y="447"/>
                  </a:lnTo>
                  <a:lnTo>
                    <a:pt x="27" y="432"/>
                  </a:lnTo>
                  <a:lnTo>
                    <a:pt x="43" y="417"/>
                  </a:lnTo>
                  <a:lnTo>
                    <a:pt x="81" y="406"/>
                  </a:lnTo>
                  <a:lnTo>
                    <a:pt x="115" y="411"/>
                  </a:lnTo>
                  <a:lnTo>
                    <a:pt x="144" y="426"/>
                  </a:lnTo>
                  <a:lnTo>
                    <a:pt x="166" y="439"/>
                  </a:lnTo>
                  <a:lnTo>
                    <a:pt x="178" y="427"/>
                  </a:lnTo>
                  <a:lnTo>
                    <a:pt x="178" y="178"/>
                  </a:lnTo>
                  <a:lnTo>
                    <a:pt x="433" y="178"/>
                  </a:lnTo>
                  <a:lnTo>
                    <a:pt x="438" y="168"/>
                  </a:lnTo>
                  <a:lnTo>
                    <a:pt x="423" y="154"/>
                  </a:lnTo>
                  <a:lnTo>
                    <a:pt x="409" y="138"/>
                  </a:lnTo>
                  <a:lnTo>
                    <a:pt x="400" y="111"/>
                  </a:lnTo>
                  <a:lnTo>
                    <a:pt x="399" y="93"/>
                  </a:lnTo>
                  <a:lnTo>
                    <a:pt x="402" y="73"/>
                  </a:lnTo>
                  <a:lnTo>
                    <a:pt x="406" y="57"/>
                  </a:lnTo>
                  <a:lnTo>
                    <a:pt x="420" y="39"/>
                  </a:lnTo>
                  <a:lnTo>
                    <a:pt x="447" y="18"/>
                  </a:lnTo>
                  <a:lnTo>
                    <a:pt x="480" y="4"/>
                  </a:lnTo>
                  <a:lnTo>
                    <a:pt x="507" y="0"/>
                  </a:lnTo>
                  <a:lnTo>
                    <a:pt x="538" y="1"/>
                  </a:lnTo>
                  <a:lnTo>
                    <a:pt x="568" y="7"/>
                  </a:lnTo>
                  <a:lnTo>
                    <a:pt x="598" y="28"/>
                  </a:lnTo>
                  <a:lnTo>
                    <a:pt x="613" y="55"/>
                  </a:lnTo>
                  <a:lnTo>
                    <a:pt x="619" y="84"/>
                  </a:lnTo>
                  <a:lnTo>
                    <a:pt x="615" y="109"/>
                  </a:lnTo>
                  <a:lnTo>
                    <a:pt x="607" y="130"/>
                  </a:lnTo>
                  <a:lnTo>
                    <a:pt x="594" y="151"/>
                  </a:lnTo>
                  <a:lnTo>
                    <a:pt x="585" y="168"/>
                  </a:lnTo>
                  <a:lnTo>
                    <a:pt x="595" y="178"/>
                  </a:lnTo>
                  <a:lnTo>
                    <a:pt x="850" y="178"/>
                  </a:lnTo>
                  <a:lnTo>
                    <a:pt x="850" y="421"/>
                  </a:lnTo>
                  <a:lnTo>
                    <a:pt x="837" y="436"/>
                  </a:lnTo>
                  <a:lnTo>
                    <a:pt x="820" y="429"/>
                  </a:lnTo>
                  <a:lnTo>
                    <a:pt x="789" y="411"/>
                  </a:lnTo>
                  <a:lnTo>
                    <a:pt x="759" y="405"/>
                  </a:lnTo>
                  <a:lnTo>
                    <a:pt x="735" y="408"/>
                  </a:lnTo>
                  <a:lnTo>
                    <a:pt x="712" y="418"/>
                  </a:lnTo>
                  <a:lnTo>
                    <a:pt x="694" y="435"/>
                  </a:lnTo>
                  <a:lnTo>
                    <a:pt x="682" y="453"/>
                  </a:lnTo>
                  <a:lnTo>
                    <a:pt x="673" y="481"/>
                  </a:lnTo>
                  <a:lnTo>
                    <a:pt x="667" y="513"/>
                  </a:lnTo>
                  <a:lnTo>
                    <a:pt x="673" y="550"/>
                  </a:lnTo>
                  <a:lnTo>
                    <a:pt x="690" y="579"/>
                  </a:lnTo>
                  <a:lnTo>
                    <a:pt x="708" y="601"/>
                  </a:lnTo>
                  <a:lnTo>
                    <a:pt x="733" y="618"/>
                  </a:lnTo>
                  <a:lnTo>
                    <a:pt x="759" y="625"/>
                  </a:lnTo>
                  <a:lnTo>
                    <a:pt x="781" y="625"/>
                  </a:lnTo>
                  <a:lnTo>
                    <a:pt x="807" y="616"/>
                  </a:lnTo>
                  <a:lnTo>
                    <a:pt x="825" y="601"/>
                  </a:lnTo>
                  <a:lnTo>
                    <a:pt x="843" y="589"/>
                  </a:lnTo>
                  <a:lnTo>
                    <a:pt x="850" y="601"/>
                  </a:lnTo>
                  <a:lnTo>
                    <a:pt x="850" y="853"/>
                  </a:lnTo>
                  <a:lnTo>
                    <a:pt x="592" y="853"/>
                  </a:lnTo>
                  <a:lnTo>
                    <a:pt x="588" y="841"/>
                  </a:lnTo>
                  <a:lnTo>
                    <a:pt x="600" y="831"/>
                  </a:lnTo>
                  <a:lnTo>
                    <a:pt x="613" y="817"/>
                  </a:lnTo>
                  <a:lnTo>
                    <a:pt x="621" y="798"/>
                  </a:lnTo>
                  <a:lnTo>
                    <a:pt x="627" y="775"/>
                  </a:lnTo>
                  <a:lnTo>
                    <a:pt x="621" y="753"/>
                  </a:lnTo>
                  <a:lnTo>
                    <a:pt x="615" y="733"/>
                  </a:lnTo>
                  <a:lnTo>
                    <a:pt x="601" y="715"/>
                  </a:lnTo>
                  <a:lnTo>
                    <a:pt x="580" y="697"/>
                  </a:lnTo>
                  <a:lnTo>
                    <a:pt x="550" y="682"/>
                  </a:lnTo>
                  <a:lnTo>
                    <a:pt x="510" y="675"/>
                  </a:lnTo>
                  <a:lnTo>
                    <a:pt x="487" y="678"/>
                  </a:lnTo>
                  <a:lnTo>
                    <a:pt x="462" y="684"/>
                  </a:lnTo>
                  <a:lnTo>
                    <a:pt x="439" y="697"/>
                  </a:lnTo>
                  <a:lnTo>
                    <a:pt x="423" y="712"/>
                  </a:lnTo>
                  <a:lnTo>
                    <a:pt x="411" y="736"/>
                  </a:lnTo>
                  <a:lnTo>
                    <a:pt x="405" y="765"/>
                  </a:lnTo>
                  <a:lnTo>
                    <a:pt x="408" y="787"/>
                  </a:lnTo>
                  <a:lnTo>
                    <a:pt x="417" y="810"/>
                  </a:lnTo>
                  <a:lnTo>
                    <a:pt x="429" y="828"/>
                  </a:lnTo>
                  <a:lnTo>
                    <a:pt x="436" y="843"/>
                  </a:lnTo>
                  <a:lnTo>
                    <a:pt x="427" y="853"/>
                  </a:lnTo>
                  <a:lnTo>
                    <a:pt x="178" y="853"/>
                  </a:lnTo>
                  <a:close/>
                </a:path>
              </a:pathLst>
            </a:custGeom>
            <a:solidFill>
              <a:srgbClr val="81BC00"/>
            </a:solidFill>
            <a:ln w="12700">
              <a:solidFill>
                <a:schemeClr val="bg1"/>
              </a:solidFill>
              <a:round/>
              <a:headEnd/>
              <a:tailEnd/>
            </a:ln>
          </p:spPr>
          <p:txBody>
            <a:bodyPr wrap="none" lIns="27000" tIns="27000" rIns="27000" bIns="27000" anchor="ctr"/>
            <a:lstStyle/>
            <a:p>
              <a:pPr algn="ctr" defTabSz="685800">
                <a:buClrTx/>
                <a:defRPr/>
              </a:pPr>
              <a:endParaRPr lang="en-US" sz="1050" kern="1200" dirty="0">
                <a:solidFill>
                  <a:prstClr val="white"/>
                </a:solidFill>
                <a:ea typeface="+mn-ea"/>
                <a:cs typeface="+mn-cs"/>
              </a:endParaRPr>
            </a:p>
          </p:txBody>
        </p:sp>
        <p:sp>
          <p:nvSpPr>
            <p:cNvPr id="696327" name="Freeform 10"/>
            <p:cNvSpPr>
              <a:spLocks/>
            </p:cNvSpPr>
            <p:nvPr/>
          </p:nvSpPr>
          <p:spPr bwMode="auto">
            <a:xfrm>
              <a:off x="4118" y="1272"/>
              <a:ext cx="980" cy="706"/>
            </a:xfrm>
            <a:custGeom>
              <a:avLst/>
              <a:gdLst>
                <a:gd name="T0" fmla="*/ 0 w 2312"/>
                <a:gd name="T1" fmla="*/ 0 h 1823"/>
                <a:gd name="T2" fmla="*/ 25 w 2312"/>
                <a:gd name="T3" fmla="*/ 0 h 1823"/>
                <a:gd name="T4" fmla="*/ 25 w 2312"/>
                <a:gd name="T5" fmla="*/ 6 h 1823"/>
                <a:gd name="T6" fmla="*/ 28 w 2312"/>
                <a:gd name="T7" fmla="*/ 5 h 1823"/>
                <a:gd name="T8" fmla="*/ 32 w 2312"/>
                <a:gd name="T9" fmla="*/ 8 h 1823"/>
                <a:gd name="T10" fmla="*/ 28 w 2312"/>
                <a:gd name="T11" fmla="*/ 10 h 1823"/>
                <a:gd name="T12" fmla="*/ 25 w 2312"/>
                <a:gd name="T13" fmla="*/ 10 h 1823"/>
                <a:gd name="T14" fmla="*/ 25 w 2312"/>
                <a:gd name="T15" fmla="*/ 16 h 1823"/>
                <a:gd name="T16" fmla="*/ 16 w 2312"/>
                <a:gd name="T17" fmla="*/ 16 h 1823"/>
                <a:gd name="T18" fmla="*/ 17 w 2312"/>
                <a:gd name="T19" fmla="*/ 14 h 1823"/>
                <a:gd name="T20" fmla="*/ 13 w 2312"/>
                <a:gd name="T21" fmla="*/ 12 h 1823"/>
                <a:gd name="T22" fmla="*/ 8 w 2312"/>
                <a:gd name="T23" fmla="*/ 14 h 1823"/>
                <a:gd name="T24" fmla="*/ 9 w 2312"/>
                <a:gd name="T25" fmla="*/ 16 h 1823"/>
                <a:gd name="T26" fmla="*/ 0 w 2312"/>
                <a:gd name="T27" fmla="*/ 16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B4B4B4"/>
            </a:solidFill>
            <a:ln w="12700">
              <a:solidFill>
                <a:schemeClr val="bg1"/>
              </a:solidFill>
              <a:round/>
              <a:headEnd/>
              <a:tailEnd/>
            </a:ln>
          </p:spPr>
          <p:txBody>
            <a:bodyPr wrap="none" lIns="27000" tIns="27000" rIns="27000" bIns="27000" anchor="ctr"/>
            <a:lstStyle/>
            <a:p>
              <a:pPr algn="ctr" defTabSz="685800">
                <a:buClrTx/>
              </a:pPr>
              <a:endParaRPr lang="en-US" sz="1050" kern="1200">
                <a:solidFill>
                  <a:prstClr val="white"/>
                </a:solidFill>
                <a:ea typeface="+mn-ea"/>
                <a:cs typeface="+mn-cs"/>
              </a:endParaRPr>
            </a:p>
          </p:txBody>
        </p:sp>
        <p:sp>
          <p:nvSpPr>
            <p:cNvPr id="696328" name="Freeform 11"/>
            <p:cNvSpPr>
              <a:spLocks/>
            </p:cNvSpPr>
            <p:nvPr/>
          </p:nvSpPr>
          <p:spPr bwMode="auto">
            <a:xfrm>
              <a:off x="3347" y="1272"/>
              <a:ext cx="980" cy="706"/>
            </a:xfrm>
            <a:custGeom>
              <a:avLst/>
              <a:gdLst>
                <a:gd name="T0" fmla="*/ 0 w 2312"/>
                <a:gd name="T1" fmla="*/ 0 h 1823"/>
                <a:gd name="T2" fmla="*/ 25 w 2312"/>
                <a:gd name="T3" fmla="*/ 0 h 1823"/>
                <a:gd name="T4" fmla="*/ 25 w 2312"/>
                <a:gd name="T5" fmla="*/ 6 h 1823"/>
                <a:gd name="T6" fmla="*/ 28 w 2312"/>
                <a:gd name="T7" fmla="*/ 5 h 1823"/>
                <a:gd name="T8" fmla="*/ 32 w 2312"/>
                <a:gd name="T9" fmla="*/ 8 h 1823"/>
                <a:gd name="T10" fmla="*/ 28 w 2312"/>
                <a:gd name="T11" fmla="*/ 10 h 1823"/>
                <a:gd name="T12" fmla="*/ 25 w 2312"/>
                <a:gd name="T13" fmla="*/ 10 h 1823"/>
                <a:gd name="T14" fmla="*/ 25 w 2312"/>
                <a:gd name="T15" fmla="*/ 16 h 1823"/>
                <a:gd name="T16" fmla="*/ 16 w 2312"/>
                <a:gd name="T17" fmla="*/ 16 h 1823"/>
                <a:gd name="T18" fmla="*/ 17 w 2312"/>
                <a:gd name="T19" fmla="*/ 14 h 1823"/>
                <a:gd name="T20" fmla="*/ 13 w 2312"/>
                <a:gd name="T21" fmla="*/ 12 h 1823"/>
                <a:gd name="T22" fmla="*/ 8 w 2312"/>
                <a:gd name="T23" fmla="*/ 14 h 1823"/>
                <a:gd name="T24" fmla="*/ 9 w 2312"/>
                <a:gd name="T25" fmla="*/ 16 h 1823"/>
                <a:gd name="T26" fmla="*/ 0 w 2312"/>
                <a:gd name="T27" fmla="*/ 16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DCDCDC"/>
            </a:solidFill>
            <a:ln w="12700">
              <a:solidFill>
                <a:schemeClr val="bg1"/>
              </a:solidFill>
              <a:round/>
              <a:headEnd/>
              <a:tailEnd/>
            </a:ln>
          </p:spPr>
          <p:txBody>
            <a:bodyPr wrap="none" lIns="27000" tIns="27000" rIns="27000" bIns="27000" anchor="ctr"/>
            <a:lstStyle/>
            <a:p>
              <a:pPr algn="ctr" defTabSz="685800">
                <a:buClrTx/>
              </a:pPr>
              <a:endParaRPr lang="en-US" sz="1050" kern="1200">
                <a:solidFill>
                  <a:prstClr val="white"/>
                </a:solidFill>
                <a:ea typeface="+mn-ea"/>
                <a:cs typeface="+mn-cs"/>
              </a:endParaRPr>
            </a:p>
          </p:txBody>
        </p:sp>
        <p:sp>
          <p:nvSpPr>
            <p:cNvPr id="13" name="Freeform 12"/>
            <p:cNvSpPr>
              <a:spLocks/>
            </p:cNvSpPr>
            <p:nvPr/>
          </p:nvSpPr>
          <p:spPr bwMode="auto">
            <a:xfrm>
              <a:off x="3347" y="1787"/>
              <a:ext cx="774" cy="1090"/>
            </a:xfrm>
            <a:custGeom>
              <a:avLst/>
              <a:gdLst>
                <a:gd name="T0" fmla="*/ 0 w 673"/>
                <a:gd name="T1" fmla="*/ 904 h 1036"/>
                <a:gd name="T2" fmla="*/ 0 w 673"/>
                <a:gd name="T3" fmla="*/ 190 h 1036"/>
                <a:gd name="T4" fmla="*/ 285 w 673"/>
                <a:gd name="T5" fmla="*/ 190 h 1036"/>
                <a:gd name="T6" fmla="*/ 257 w 673"/>
                <a:gd name="T7" fmla="*/ 114 h 1036"/>
                <a:gd name="T8" fmla="*/ 391 w 673"/>
                <a:gd name="T9" fmla="*/ 1 h 1036"/>
                <a:gd name="T10" fmla="*/ 510 w 673"/>
                <a:gd name="T11" fmla="*/ 99 h 1036"/>
                <a:gd name="T12" fmla="*/ 492 w 673"/>
                <a:gd name="T13" fmla="*/ 190 h 1036"/>
                <a:gd name="T14" fmla="*/ 773 w 673"/>
                <a:gd name="T15" fmla="*/ 190 h 1036"/>
                <a:gd name="T16" fmla="*/ 773 w 673"/>
                <a:gd name="T17" fmla="*/ 450 h 1036"/>
                <a:gd name="T18" fmla="*/ 672 w 673"/>
                <a:gd name="T19" fmla="*/ 431 h 1036"/>
                <a:gd name="T20" fmla="*/ 570 w 673"/>
                <a:gd name="T21" fmla="*/ 542 h 1036"/>
                <a:gd name="T22" fmla="*/ 687 w 673"/>
                <a:gd name="T23" fmla="*/ 662 h 1036"/>
                <a:gd name="T24" fmla="*/ 773 w 673"/>
                <a:gd name="T25" fmla="*/ 637 h 1036"/>
                <a:gd name="T26" fmla="*/ 773 w 673"/>
                <a:gd name="T27" fmla="*/ 904 h 1036"/>
                <a:gd name="T28" fmla="*/ 484 w 673"/>
                <a:gd name="T29" fmla="*/ 904 h 1036"/>
                <a:gd name="T30" fmla="*/ 470 w 673"/>
                <a:gd name="T31" fmla="*/ 917 h 1036"/>
                <a:gd name="T32" fmla="*/ 482 w 673"/>
                <a:gd name="T33" fmla="*/ 935 h 1036"/>
                <a:gd name="T34" fmla="*/ 497 w 673"/>
                <a:gd name="T35" fmla="*/ 954 h 1036"/>
                <a:gd name="T36" fmla="*/ 507 w 673"/>
                <a:gd name="T37" fmla="*/ 971 h 1036"/>
                <a:gd name="T38" fmla="*/ 511 w 673"/>
                <a:gd name="T39" fmla="*/ 995 h 1036"/>
                <a:gd name="T40" fmla="*/ 508 w 673"/>
                <a:gd name="T41" fmla="*/ 1022 h 1036"/>
                <a:gd name="T42" fmla="*/ 497 w 673"/>
                <a:gd name="T43" fmla="*/ 1044 h 1036"/>
                <a:gd name="T44" fmla="*/ 480 w 673"/>
                <a:gd name="T45" fmla="*/ 1063 h 1036"/>
                <a:gd name="T46" fmla="*/ 455 w 673"/>
                <a:gd name="T47" fmla="*/ 1081 h 1036"/>
                <a:gd name="T48" fmla="*/ 417 w 673"/>
                <a:gd name="T49" fmla="*/ 1087 h 1036"/>
                <a:gd name="T50" fmla="*/ 386 w 673"/>
                <a:gd name="T51" fmla="*/ 1090 h 1036"/>
                <a:gd name="T52" fmla="*/ 355 w 673"/>
                <a:gd name="T53" fmla="*/ 1087 h 1036"/>
                <a:gd name="T54" fmla="*/ 327 w 673"/>
                <a:gd name="T55" fmla="*/ 1077 h 1036"/>
                <a:gd name="T56" fmla="*/ 301 w 673"/>
                <a:gd name="T57" fmla="*/ 1059 h 1036"/>
                <a:gd name="T58" fmla="*/ 279 w 673"/>
                <a:gd name="T59" fmla="*/ 1046 h 1036"/>
                <a:gd name="T60" fmla="*/ 263 w 673"/>
                <a:gd name="T61" fmla="*/ 1015 h 1036"/>
                <a:gd name="T62" fmla="*/ 260 w 673"/>
                <a:gd name="T63" fmla="*/ 990 h 1036"/>
                <a:gd name="T64" fmla="*/ 258 w 673"/>
                <a:gd name="T65" fmla="*/ 967 h 1036"/>
                <a:gd name="T66" fmla="*/ 272 w 673"/>
                <a:gd name="T67" fmla="*/ 933 h 1036"/>
                <a:gd name="T68" fmla="*/ 296 w 673"/>
                <a:gd name="T69" fmla="*/ 916 h 1036"/>
                <a:gd name="T70" fmla="*/ 287 w 673"/>
                <a:gd name="T71" fmla="*/ 904 h 1036"/>
                <a:gd name="T72" fmla="*/ 0 w 673"/>
                <a:gd name="T73" fmla="*/ 904 h 10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73"/>
                <a:gd name="T112" fmla="*/ 0 h 1036"/>
                <a:gd name="T113" fmla="*/ 673 w 673"/>
                <a:gd name="T114" fmla="*/ 1036 h 10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73" h="1036">
                  <a:moveTo>
                    <a:pt x="0" y="859"/>
                  </a:moveTo>
                  <a:lnTo>
                    <a:pt x="0" y="181"/>
                  </a:lnTo>
                  <a:lnTo>
                    <a:pt x="248" y="181"/>
                  </a:lnTo>
                  <a:cubicBezTo>
                    <a:pt x="285" y="169"/>
                    <a:pt x="226" y="159"/>
                    <a:pt x="224" y="108"/>
                  </a:cubicBezTo>
                  <a:cubicBezTo>
                    <a:pt x="222" y="57"/>
                    <a:pt x="272" y="0"/>
                    <a:pt x="340" y="1"/>
                  </a:cubicBezTo>
                  <a:cubicBezTo>
                    <a:pt x="408" y="3"/>
                    <a:pt x="441" y="44"/>
                    <a:pt x="444" y="94"/>
                  </a:cubicBezTo>
                  <a:cubicBezTo>
                    <a:pt x="447" y="144"/>
                    <a:pt x="389" y="165"/>
                    <a:pt x="428" y="181"/>
                  </a:cubicBezTo>
                  <a:lnTo>
                    <a:pt x="673" y="181"/>
                  </a:lnTo>
                  <a:lnTo>
                    <a:pt x="673" y="428"/>
                  </a:lnTo>
                  <a:cubicBezTo>
                    <a:pt x="658" y="467"/>
                    <a:pt x="641" y="409"/>
                    <a:pt x="585" y="410"/>
                  </a:cubicBezTo>
                  <a:cubicBezTo>
                    <a:pt x="529" y="412"/>
                    <a:pt x="496" y="453"/>
                    <a:pt x="496" y="515"/>
                  </a:cubicBezTo>
                  <a:cubicBezTo>
                    <a:pt x="497" y="577"/>
                    <a:pt x="542" y="629"/>
                    <a:pt x="598" y="629"/>
                  </a:cubicBezTo>
                  <a:cubicBezTo>
                    <a:pt x="654" y="629"/>
                    <a:pt x="661" y="570"/>
                    <a:pt x="673" y="605"/>
                  </a:cubicBezTo>
                  <a:lnTo>
                    <a:pt x="673" y="859"/>
                  </a:lnTo>
                  <a:lnTo>
                    <a:pt x="421" y="859"/>
                  </a:lnTo>
                  <a:lnTo>
                    <a:pt x="409" y="872"/>
                  </a:lnTo>
                  <a:lnTo>
                    <a:pt x="420" y="889"/>
                  </a:lnTo>
                  <a:lnTo>
                    <a:pt x="433" y="907"/>
                  </a:lnTo>
                  <a:lnTo>
                    <a:pt x="441" y="923"/>
                  </a:lnTo>
                  <a:lnTo>
                    <a:pt x="445" y="946"/>
                  </a:lnTo>
                  <a:lnTo>
                    <a:pt x="442" y="971"/>
                  </a:lnTo>
                  <a:lnTo>
                    <a:pt x="433" y="992"/>
                  </a:lnTo>
                  <a:lnTo>
                    <a:pt x="418" y="1010"/>
                  </a:lnTo>
                  <a:lnTo>
                    <a:pt x="396" y="1027"/>
                  </a:lnTo>
                  <a:lnTo>
                    <a:pt x="363" y="1033"/>
                  </a:lnTo>
                  <a:lnTo>
                    <a:pt x="336" y="1036"/>
                  </a:lnTo>
                  <a:lnTo>
                    <a:pt x="309" y="1033"/>
                  </a:lnTo>
                  <a:lnTo>
                    <a:pt x="285" y="1024"/>
                  </a:lnTo>
                  <a:lnTo>
                    <a:pt x="262" y="1007"/>
                  </a:lnTo>
                  <a:lnTo>
                    <a:pt x="243" y="994"/>
                  </a:lnTo>
                  <a:lnTo>
                    <a:pt x="229" y="965"/>
                  </a:lnTo>
                  <a:lnTo>
                    <a:pt x="226" y="941"/>
                  </a:lnTo>
                  <a:lnTo>
                    <a:pt x="225" y="919"/>
                  </a:lnTo>
                  <a:lnTo>
                    <a:pt x="237" y="887"/>
                  </a:lnTo>
                  <a:lnTo>
                    <a:pt x="258" y="871"/>
                  </a:lnTo>
                  <a:lnTo>
                    <a:pt x="250" y="859"/>
                  </a:lnTo>
                  <a:lnTo>
                    <a:pt x="0" y="859"/>
                  </a:lnTo>
                  <a:close/>
                </a:path>
              </a:pathLst>
            </a:custGeom>
            <a:solidFill>
              <a:srgbClr val="575757"/>
            </a:solidFill>
            <a:ln w="12700">
              <a:solidFill>
                <a:schemeClr val="bg1"/>
              </a:solidFill>
              <a:round/>
              <a:headEnd/>
              <a:tailEnd/>
            </a:ln>
          </p:spPr>
          <p:txBody>
            <a:bodyPr wrap="none" lIns="27000" tIns="27000" rIns="27000" bIns="27000" anchor="ctr"/>
            <a:lstStyle/>
            <a:p>
              <a:pPr algn="ctr" defTabSz="685800">
                <a:buClrTx/>
                <a:defRPr/>
              </a:pPr>
              <a:endParaRPr lang="en-US" sz="1050" kern="1200" dirty="0">
                <a:solidFill>
                  <a:prstClr val="white"/>
                </a:solidFill>
                <a:ea typeface="+mn-ea"/>
                <a:cs typeface="+mn-cs"/>
              </a:endParaRPr>
            </a:p>
          </p:txBody>
        </p:sp>
        <p:sp>
          <p:nvSpPr>
            <p:cNvPr id="14" name="Freeform 13"/>
            <p:cNvSpPr>
              <a:spLocks/>
            </p:cNvSpPr>
            <p:nvPr/>
          </p:nvSpPr>
          <p:spPr bwMode="auto">
            <a:xfrm>
              <a:off x="3347" y="2497"/>
              <a:ext cx="771" cy="901"/>
            </a:xfrm>
            <a:custGeom>
              <a:avLst/>
              <a:gdLst>
                <a:gd name="T0" fmla="*/ 0 w 673"/>
                <a:gd name="T1" fmla="*/ 1045 h 857"/>
                <a:gd name="T2" fmla="*/ 1 w 673"/>
                <a:gd name="T3" fmla="*/ 221 h 857"/>
                <a:gd name="T4" fmla="*/ 430 w 673"/>
                <a:gd name="T5" fmla="*/ 221 h 857"/>
                <a:gd name="T6" fmla="*/ 386 w 673"/>
                <a:gd name="T7" fmla="*/ 132 h 857"/>
                <a:gd name="T8" fmla="*/ 588 w 673"/>
                <a:gd name="T9" fmla="*/ 1 h 857"/>
                <a:gd name="T10" fmla="*/ 765 w 673"/>
                <a:gd name="T11" fmla="*/ 115 h 857"/>
                <a:gd name="T12" fmla="*/ 737 w 673"/>
                <a:gd name="T13" fmla="*/ 221 h 857"/>
                <a:gd name="T14" fmla="*/ 1159 w 673"/>
                <a:gd name="T15" fmla="*/ 221 h 857"/>
                <a:gd name="T16" fmla="*/ 1159 w 673"/>
                <a:gd name="T17" fmla="*/ 524 h 857"/>
                <a:gd name="T18" fmla="*/ 1159 w 673"/>
                <a:gd name="T19" fmla="*/ 740 h 857"/>
                <a:gd name="T20" fmla="*/ 1159 w 673"/>
                <a:gd name="T21" fmla="*/ 1047 h 857"/>
                <a:gd name="T22" fmla="*/ 0 w 673"/>
                <a:gd name="T23" fmla="*/ 1045 h 8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3"/>
                <a:gd name="T37" fmla="*/ 0 h 857"/>
                <a:gd name="T38" fmla="*/ 673 w 673"/>
                <a:gd name="T39" fmla="*/ 857 h 8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3" h="857">
                  <a:moveTo>
                    <a:pt x="0" y="855"/>
                  </a:moveTo>
                  <a:lnTo>
                    <a:pt x="1" y="181"/>
                  </a:lnTo>
                  <a:lnTo>
                    <a:pt x="249" y="181"/>
                  </a:lnTo>
                  <a:cubicBezTo>
                    <a:pt x="286" y="169"/>
                    <a:pt x="227" y="159"/>
                    <a:pt x="224" y="108"/>
                  </a:cubicBezTo>
                  <a:cubicBezTo>
                    <a:pt x="222" y="57"/>
                    <a:pt x="273" y="0"/>
                    <a:pt x="341" y="1"/>
                  </a:cubicBezTo>
                  <a:cubicBezTo>
                    <a:pt x="408" y="3"/>
                    <a:pt x="442" y="44"/>
                    <a:pt x="444" y="94"/>
                  </a:cubicBezTo>
                  <a:cubicBezTo>
                    <a:pt x="447" y="144"/>
                    <a:pt x="389" y="165"/>
                    <a:pt x="428" y="181"/>
                  </a:cubicBezTo>
                  <a:lnTo>
                    <a:pt x="673" y="181"/>
                  </a:lnTo>
                  <a:lnTo>
                    <a:pt x="673" y="429"/>
                  </a:lnTo>
                  <a:cubicBezTo>
                    <a:pt x="673" y="500"/>
                    <a:pt x="673" y="535"/>
                    <a:pt x="673" y="606"/>
                  </a:cubicBezTo>
                  <a:lnTo>
                    <a:pt x="673" y="857"/>
                  </a:lnTo>
                  <a:lnTo>
                    <a:pt x="0" y="855"/>
                  </a:lnTo>
                  <a:close/>
                </a:path>
              </a:pathLst>
            </a:custGeom>
            <a:solidFill>
              <a:srgbClr val="DCDCDC"/>
            </a:solidFill>
            <a:ln w="12700">
              <a:solidFill>
                <a:schemeClr val="bg1"/>
              </a:solidFill>
              <a:round/>
              <a:headEnd/>
              <a:tailEnd/>
            </a:ln>
          </p:spPr>
          <p:txBody>
            <a:bodyPr wrap="none" lIns="27000" tIns="27000" rIns="27000" bIns="27000" anchor="ctr"/>
            <a:lstStyle/>
            <a:p>
              <a:pPr algn="ctr" defTabSz="685800">
                <a:buClrTx/>
                <a:defRPr/>
              </a:pPr>
              <a:endParaRPr lang="en-US" sz="1050" kern="1200" dirty="0">
                <a:solidFill>
                  <a:prstClr val="white"/>
                </a:solidFill>
                <a:ea typeface="+mn-ea"/>
                <a:cs typeface="+mn-cs"/>
              </a:endParaRPr>
            </a:p>
          </p:txBody>
        </p:sp>
        <p:sp>
          <p:nvSpPr>
            <p:cNvPr id="15" name="Freeform 14"/>
            <p:cNvSpPr>
              <a:spLocks/>
            </p:cNvSpPr>
            <p:nvPr/>
          </p:nvSpPr>
          <p:spPr bwMode="auto">
            <a:xfrm>
              <a:off x="3908" y="2500"/>
              <a:ext cx="983" cy="898"/>
            </a:xfrm>
            <a:custGeom>
              <a:avLst/>
              <a:gdLst>
                <a:gd name="T0" fmla="*/ 983 w 857"/>
                <a:gd name="T1" fmla="*/ 898 h 853"/>
                <a:gd name="T2" fmla="*/ 983 w 857"/>
                <a:gd name="T3" fmla="*/ 191 h 853"/>
                <a:gd name="T4" fmla="*/ 699 w 857"/>
                <a:gd name="T5" fmla="*/ 191 h 853"/>
                <a:gd name="T6" fmla="*/ 726 w 857"/>
                <a:gd name="T7" fmla="*/ 114 h 853"/>
                <a:gd name="T8" fmla="*/ 593 w 857"/>
                <a:gd name="T9" fmla="*/ 1 h 853"/>
                <a:gd name="T10" fmla="*/ 474 w 857"/>
                <a:gd name="T11" fmla="*/ 99 h 853"/>
                <a:gd name="T12" fmla="*/ 492 w 857"/>
                <a:gd name="T13" fmla="*/ 191 h 853"/>
                <a:gd name="T14" fmla="*/ 211 w 857"/>
                <a:gd name="T15" fmla="*/ 191 h 853"/>
                <a:gd name="T16" fmla="*/ 211 w 857"/>
                <a:gd name="T17" fmla="*/ 451 h 853"/>
                <a:gd name="T18" fmla="*/ 154 w 857"/>
                <a:gd name="T19" fmla="*/ 439 h 853"/>
                <a:gd name="T20" fmla="*/ 68 w 857"/>
                <a:gd name="T21" fmla="*/ 436 h 853"/>
                <a:gd name="T22" fmla="*/ 18 w 857"/>
                <a:gd name="T23" fmla="*/ 480 h 853"/>
                <a:gd name="T24" fmla="*/ 5 w 857"/>
                <a:gd name="T25" fmla="*/ 558 h 853"/>
                <a:gd name="T26" fmla="*/ 49 w 857"/>
                <a:gd name="T27" fmla="*/ 635 h 853"/>
                <a:gd name="T28" fmla="*/ 123 w 857"/>
                <a:gd name="T29" fmla="*/ 650 h 853"/>
                <a:gd name="T30" fmla="*/ 209 w 857"/>
                <a:gd name="T31" fmla="*/ 632 h 853"/>
                <a:gd name="T32" fmla="*/ 209 w 857"/>
                <a:gd name="T33" fmla="*/ 897 h 853"/>
                <a:gd name="T34" fmla="*/ 983 w 857"/>
                <a:gd name="T35" fmla="*/ 898 h 85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57"/>
                <a:gd name="T55" fmla="*/ 0 h 853"/>
                <a:gd name="T56" fmla="*/ 857 w 857"/>
                <a:gd name="T57" fmla="*/ 853 h 85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57" h="853">
                  <a:moveTo>
                    <a:pt x="857" y="853"/>
                  </a:moveTo>
                  <a:lnTo>
                    <a:pt x="857" y="181"/>
                  </a:lnTo>
                  <a:lnTo>
                    <a:pt x="609" y="181"/>
                  </a:lnTo>
                  <a:cubicBezTo>
                    <a:pt x="572" y="169"/>
                    <a:pt x="631" y="159"/>
                    <a:pt x="633" y="108"/>
                  </a:cubicBezTo>
                  <a:cubicBezTo>
                    <a:pt x="635" y="57"/>
                    <a:pt x="585" y="0"/>
                    <a:pt x="517" y="1"/>
                  </a:cubicBezTo>
                  <a:cubicBezTo>
                    <a:pt x="449" y="3"/>
                    <a:pt x="416" y="44"/>
                    <a:pt x="413" y="94"/>
                  </a:cubicBezTo>
                  <a:cubicBezTo>
                    <a:pt x="410" y="144"/>
                    <a:pt x="468" y="165"/>
                    <a:pt x="429" y="181"/>
                  </a:cubicBezTo>
                  <a:lnTo>
                    <a:pt x="184" y="181"/>
                  </a:lnTo>
                  <a:lnTo>
                    <a:pt x="184" y="428"/>
                  </a:lnTo>
                  <a:cubicBezTo>
                    <a:pt x="176" y="467"/>
                    <a:pt x="152" y="424"/>
                    <a:pt x="134" y="417"/>
                  </a:cubicBezTo>
                  <a:cubicBezTo>
                    <a:pt x="116" y="410"/>
                    <a:pt x="83" y="404"/>
                    <a:pt x="59" y="414"/>
                  </a:cubicBezTo>
                  <a:cubicBezTo>
                    <a:pt x="40" y="421"/>
                    <a:pt x="26" y="440"/>
                    <a:pt x="16" y="456"/>
                  </a:cubicBezTo>
                  <a:cubicBezTo>
                    <a:pt x="7" y="475"/>
                    <a:pt x="0" y="506"/>
                    <a:pt x="4" y="530"/>
                  </a:cubicBezTo>
                  <a:cubicBezTo>
                    <a:pt x="8" y="554"/>
                    <a:pt x="26" y="589"/>
                    <a:pt x="43" y="603"/>
                  </a:cubicBezTo>
                  <a:cubicBezTo>
                    <a:pt x="60" y="617"/>
                    <a:pt x="84" y="617"/>
                    <a:pt x="107" y="617"/>
                  </a:cubicBezTo>
                  <a:cubicBezTo>
                    <a:pt x="130" y="617"/>
                    <a:pt x="170" y="561"/>
                    <a:pt x="182" y="600"/>
                  </a:cubicBezTo>
                  <a:lnTo>
                    <a:pt x="182" y="852"/>
                  </a:lnTo>
                  <a:lnTo>
                    <a:pt x="857" y="853"/>
                  </a:lnTo>
                  <a:close/>
                </a:path>
              </a:pathLst>
            </a:custGeom>
            <a:solidFill>
              <a:srgbClr val="8C8C8C"/>
            </a:solidFill>
            <a:ln w="12700">
              <a:solidFill>
                <a:schemeClr val="bg1"/>
              </a:solidFill>
              <a:round/>
              <a:headEnd/>
              <a:tailEnd/>
            </a:ln>
          </p:spPr>
          <p:txBody>
            <a:bodyPr wrap="none" lIns="27000" tIns="27000" rIns="27000" bIns="27000" anchor="ctr"/>
            <a:lstStyle/>
            <a:p>
              <a:pPr algn="ctr" defTabSz="685800">
                <a:buClrTx/>
                <a:defRPr/>
              </a:pPr>
              <a:endParaRPr lang="en-US" sz="1050" kern="1200" dirty="0">
                <a:solidFill>
                  <a:prstClr val="white"/>
                </a:solidFill>
                <a:ea typeface="+mn-ea"/>
                <a:cs typeface="+mn-cs"/>
              </a:endParaRPr>
            </a:p>
          </p:txBody>
        </p:sp>
        <p:sp>
          <p:nvSpPr>
            <p:cNvPr id="16" name="Freeform 15"/>
            <p:cNvSpPr>
              <a:spLocks/>
            </p:cNvSpPr>
            <p:nvPr/>
          </p:nvSpPr>
          <p:spPr bwMode="auto">
            <a:xfrm>
              <a:off x="4683" y="1978"/>
              <a:ext cx="978" cy="898"/>
            </a:xfrm>
            <a:custGeom>
              <a:avLst/>
              <a:gdLst>
                <a:gd name="T0" fmla="*/ 1469 w 854"/>
                <a:gd name="T1" fmla="*/ 832 h 853"/>
                <a:gd name="T2" fmla="*/ 1039 w 854"/>
                <a:gd name="T3" fmla="*/ 832 h 853"/>
                <a:gd name="T4" fmla="*/ 1020 w 854"/>
                <a:gd name="T5" fmla="*/ 846 h 853"/>
                <a:gd name="T6" fmla="*/ 1046 w 854"/>
                <a:gd name="T7" fmla="*/ 860 h 853"/>
                <a:gd name="T8" fmla="*/ 1063 w 854"/>
                <a:gd name="T9" fmla="*/ 879 h 853"/>
                <a:gd name="T10" fmla="*/ 1075 w 854"/>
                <a:gd name="T11" fmla="*/ 898 h 853"/>
                <a:gd name="T12" fmla="*/ 1079 w 854"/>
                <a:gd name="T13" fmla="*/ 919 h 853"/>
                <a:gd name="T14" fmla="*/ 1082 w 854"/>
                <a:gd name="T15" fmla="*/ 941 h 853"/>
                <a:gd name="T16" fmla="*/ 1068 w 854"/>
                <a:gd name="T17" fmla="*/ 963 h 853"/>
                <a:gd name="T18" fmla="*/ 1055 w 854"/>
                <a:gd name="T19" fmla="*/ 985 h 853"/>
                <a:gd name="T20" fmla="*/ 1031 w 854"/>
                <a:gd name="T21" fmla="*/ 1003 h 853"/>
                <a:gd name="T22" fmla="*/ 1000 w 854"/>
                <a:gd name="T23" fmla="*/ 1022 h 853"/>
                <a:gd name="T24" fmla="*/ 968 w 854"/>
                <a:gd name="T25" fmla="*/ 1037 h 853"/>
                <a:gd name="T26" fmla="*/ 931 w 854"/>
                <a:gd name="T27" fmla="*/ 1046 h 853"/>
                <a:gd name="T28" fmla="*/ 889 w 854"/>
                <a:gd name="T29" fmla="*/ 1047 h 853"/>
                <a:gd name="T30" fmla="*/ 839 w 854"/>
                <a:gd name="T31" fmla="*/ 1046 h 853"/>
                <a:gd name="T32" fmla="*/ 797 w 854"/>
                <a:gd name="T33" fmla="*/ 1039 h 853"/>
                <a:gd name="T34" fmla="*/ 759 w 854"/>
                <a:gd name="T35" fmla="*/ 1024 h 853"/>
                <a:gd name="T36" fmla="*/ 734 w 854"/>
                <a:gd name="T37" fmla="*/ 1005 h 853"/>
                <a:gd name="T38" fmla="*/ 713 w 854"/>
                <a:gd name="T39" fmla="*/ 976 h 853"/>
                <a:gd name="T40" fmla="*/ 703 w 854"/>
                <a:gd name="T41" fmla="*/ 949 h 853"/>
                <a:gd name="T42" fmla="*/ 711 w 854"/>
                <a:gd name="T43" fmla="*/ 910 h 853"/>
                <a:gd name="T44" fmla="*/ 724 w 854"/>
                <a:gd name="T45" fmla="*/ 887 h 853"/>
                <a:gd name="T46" fmla="*/ 744 w 854"/>
                <a:gd name="T47" fmla="*/ 866 h 853"/>
                <a:gd name="T48" fmla="*/ 757 w 854"/>
                <a:gd name="T49" fmla="*/ 843 h 853"/>
                <a:gd name="T50" fmla="*/ 742 w 854"/>
                <a:gd name="T51" fmla="*/ 832 h 853"/>
                <a:gd name="T52" fmla="*/ 310 w 854"/>
                <a:gd name="T53" fmla="*/ 832 h 853"/>
                <a:gd name="T54" fmla="*/ 310 w 854"/>
                <a:gd name="T55" fmla="*/ 521 h 853"/>
                <a:gd name="T56" fmla="*/ 187 w 854"/>
                <a:gd name="T57" fmla="*/ 552 h 853"/>
                <a:gd name="T58" fmla="*/ 1 w 854"/>
                <a:gd name="T59" fmla="*/ 407 h 853"/>
                <a:gd name="T60" fmla="*/ 163 w 854"/>
                <a:gd name="T61" fmla="*/ 281 h 853"/>
                <a:gd name="T62" fmla="*/ 310 w 854"/>
                <a:gd name="T63" fmla="*/ 301 h 853"/>
                <a:gd name="T64" fmla="*/ 310 w 854"/>
                <a:gd name="T65" fmla="*/ 0 h 853"/>
                <a:gd name="T66" fmla="*/ 738 w 854"/>
                <a:gd name="T67" fmla="*/ 0 h 853"/>
                <a:gd name="T68" fmla="*/ 707 w 854"/>
                <a:gd name="T69" fmla="*/ 108 h 853"/>
                <a:gd name="T70" fmla="*/ 888 w 854"/>
                <a:gd name="T71" fmla="*/ 217 h 853"/>
                <a:gd name="T72" fmla="*/ 1082 w 854"/>
                <a:gd name="T73" fmla="*/ 92 h 853"/>
                <a:gd name="T74" fmla="*/ 1042 w 854"/>
                <a:gd name="T75" fmla="*/ 0 h 853"/>
                <a:gd name="T76" fmla="*/ 1469 w 854"/>
                <a:gd name="T77" fmla="*/ 0 h 853"/>
                <a:gd name="T78" fmla="*/ 1469 w 854"/>
                <a:gd name="T79" fmla="*/ 832 h 8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54"/>
                <a:gd name="T121" fmla="*/ 0 h 853"/>
                <a:gd name="T122" fmla="*/ 854 w 854"/>
                <a:gd name="T123" fmla="*/ 853 h 8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54" h="853">
                  <a:moveTo>
                    <a:pt x="854" y="676"/>
                  </a:moveTo>
                  <a:lnTo>
                    <a:pt x="604" y="676"/>
                  </a:lnTo>
                  <a:lnTo>
                    <a:pt x="593" y="690"/>
                  </a:lnTo>
                  <a:lnTo>
                    <a:pt x="608" y="700"/>
                  </a:lnTo>
                  <a:lnTo>
                    <a:pt x="617" y="715"/>
                  </a:lnTo>
                  <a:lnTo>
                    <a:pt x="625" y="730"/>
                  </a:lnTo>
                  <a:lnTo>
                    <a:pt x="628" y="748"/>
                  </a:lnTo>
                  <a:lnTo>
                    <a:pt x="629" y="766"/>
                  </a:lnTo>
                  <a:lnTo>
                    <a:pt x="622" y="784"/>
                  </a:lnTo>
                  <a:lnTo>
                    <a:pt x="613" y="802"/>
                  </a:lnTo>
                  <a:lnTo>
                    <a:pt x="599" y="817"/>
                  </a:lnTo>
                  <a:lnTo>
                    <a:pt x="581" y="832"/>
                  </a:lnTo>
                  <a:lnTo>
                    <a:pt x="562" y="844"/>
                  </a:lnTo>
                  <a:lnTo>
                    <a:pt x="541" y="852"/>
                  </a:lnTo>
                  <a:lnTo>
                    <a:pt x="517" y="853"/>
                  </a:lnTo>
                  <a:lnTo>
                    <a:pt x="488" y="852"/>
                  </a:lnTo>
                  <a:lnTo>
                    <a:pt x="464" y="846"/>
                  </a:lnTo>
                  <a:lnTo>
                    <a:pt x="442" y="834"/>
                  </a:lnTo>
                  <a:lnTo>
                    <a:pt x="427" y="819"/>
                  </a:lnTo>
                  <a:lnTo>
                    <a:pt x="415" y="795"/>
                  </a:lnTo>
                  <a:lnTo>
                    <a:pt x="409" y="772"/>
                  </a:lnTo>
                  <a:lnTo>
                    <a:pt x="413" y="741"/>
                  </a:lnTo>
                  <a:lnTo>
                    <a:pt x="421" y="723"/>
                  </a:lnTo>
                  <a:lnTo>
                    <a:pt x="433" y="706"/>
                  </a:lnTo>
                  <a:lnTo>
                    <a:pt x="440" y="687"/>
                  </a:lnTo>
                  <a:lnTo>
                    <a:pt x="431" y="676"/>
                  </a:lnTo>
                  <a:lnTo>
                    <a:pt x="181" y="676"/>
                  </a:lnTo>
                  <a:lnTo>
                    <a:pt x="181" y="424"/>
                  </a:lnTo>
                  <a:cubicBezTo>
                    <a:pt x="169" y="386"/>
                    <a:pt x="159" y="446"/>
                    <a:pt x="108" y="449"/>
                  </a:cubicBezTo>
                  <a:cubicBezTo>
                    <a:pt x="57" y="451"/>
                    <a:pt x="0" y="400"/>
                    <a:pt x="1" y="332"/>
                  </a:cubicBezTo>
                  <a:cubicBezTo>
                    <a:pt x="3" y="265"/>
                    <a:pt x="44" y="231"/>
                    <a:pt x="94" y="229"/>
                  </a:cubicBezTo>
                  <a:cubicBezTo>
                    <a:pt x="144" y="226"/>
                    <a:pt x="165" y="284"/>
                    <a:pt x="181" y="245"/>
                  </a:cubicBezTo>
                  <a:lnTo>
                    <a:pt x="181" y="0"/>
                  </a:lnTo>
                  <a:lnTo>
                    <a:pt x="429" y="0"/>
                  </a:lnTo>
                  <a:cubicBezTo>
                    <a:pt x="467" y="15"/>
                    <a:pt x="409" y="32"/>
                    <a:pt x="411" y="88"/>
                  </a:cubicBezTo>
                  <a:cubicBezTo>
                    <a:pt x="412" y="144"/>
                    <a:pt x="453" y="177"/>
                    <a:pt x="516" y="177"/>
                  </a:cubicBezTo>
                  <a:cubicBezTo>
                    <a:pt x="578" y="176"/>
                    <a:pt x="629" y="131"/>
                    <a:pt x="629" y="75"/>
                  </a:cubicBezTo>
                  <a:cubicBezTo>
                    <a:pt x="629" y="19"/>
                    <a:pt x="571" y="12"/>
                    <a:pt x="606" y="0"/>
                  </a:cubicBezTo>
                  <a:lnTo>
                    <a:pt x="854" y="0"/>
                  </a:lnTo>
                  <a:lnTo>
                    <a:pt x="854" y="676"/>
                  </a:lnTo>
                  <a:close/>
                </a:path>
              </a:pathLst>
            </a:custGeom>
            <a:solidFill>
              <a:srgbClr val="313131"/>
            </a:solidFill>
            <a:ln w="12700">
              <a:solidFill>
                <a:schemeClr val="bg1"/>
              </a:solidFill>
              <a:round/>
              <a:headEnd/>
              <a:tailEnd/>
            </a:ln>
          </p:spPr>
          <p:txBody>
            <a:bodyPr wrap="none" lIns="27000" tIns="27000" rIns="27000" bIns="27000" anchor="ctr"/>
            <a:lstStyle/>
            <a:p>
              <a:pPr algn="ctr" defTabSz="685800">
                <a:buClrTx/>
                <a:defRPr/>
              </a:pPr>
              <a:endParaRPr lang="en-US" sz="1050" kern="1200" dirty="0">
                <a:solidFill>
                  <a:prstClr val="white"/>
                </a:solidFill>
                <a:ea typeface="+mn-ea"/>
                <a:cs typeface="+mn-cs"/>
              </a:endParaRPr>
            </a:p>
          </p:txBody>
        </p:sp>
        <p:sp>
          <p:nvSpPr>
            <p:cNvPr id="17" name="Freeform 16"/>
            <p:cNvSpPr>
              <a:spLocks/>
            </p:cNvSpPr>
            <p:nvPr/>
          </p:nvSpPr>
          <p:spPr bwMode="auto">
            <a:xfrm rot="5400000">
              <a:off x="4824" y="1338"/>
              <a:ext cx="898" cy="770"/>
            </a:xfrm>
            <a:custGeom>
              <a:avLst/>
              <a:gdLst>
                <a:gd name="T0" fmla="*/ 0 w 2312"/>
                <a:gd name="T1" fmla="*/ 0 h 1823"/>
                <a:gd name="T2" fmla="*/ 708 w 2312"/>
                <a:gd name="T3" fmla="*/ 0 h 1823"/>
                <a:gd name="T4" fmla="*/ 708 w 2312"/>
                <a:gd name="T5" fmla="*/ 284 h 1823"/>
                <a:gd name="T6" fmla="*/ 785 w 2312"/>
                <a:gd name="T7" fmla="*/ 256 h 1823"/>
                <a:gd name="T8" fmla="*/ 896 w 2312"/>
                <a:gd name="T9" fmla="*/ 390 h 1823"/>
                <a:gd name="T10" fmla="*/ 799 w 2312"/>
                <a:gd name="T11" fmla="*/ 509 h 1823"/>
                <a:gd name="T12" fmla="*/ 708 w 2312"/>
                <a:gd name="T13" fmla="*/ 490 h 1823"/>
                <a:gd name="T14" fmla="*/ 708 w 2312"/>
                <a:gd name="T15" fmla="*/ 771 h 1823"/>
                <a:gd name="T16" fmla="*/ 447 w 2312"/>
                <a:gd name="T17" fmla="*/ 771 h 1823"/>
                <a:gd name="T18" fmla="*/ 466 w 2312"/>
                <a:gd name="T19" fmla="*/ 670 h 1823"/>
                <a:gd name="T20" fmla="*/ 356 w 2312"/>
                <a:gd name="T21" fmla="*/ 568 h 1823"/>
                <a:gd name="T22" fmla="*/ 236 w 2312"/>
                <a:gd name="T23" fmla="*/ 685 h 1823"/>
                <a:gd name="T24" fmla="*/ 261 w 2312"/>
                <a:gd name="T25" fmla="*/ 771 h 1823"/>
                <a:gd name="T26" fmla="*/ 0 w 2312"/>
                <a:gd name="T27" fmla="*/ 771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8C8C8C"/>
            </a:solidFill>
            <a:ln w="12700">
              <a:solidFill>
                <a:schemeClr val="bg1"/>
              </a:solidFill>
              <a:round/>
              <a:headEnd/>
              <a:tailEnd/>
            </a:ln>
          </p:spPr>
          <p:txBody>
            <a:bodyPr wrap="none" lIns="27000" tIns="27000" rIns="27000" bIns="27000" anchor="ctr"/>
            <a:lstStyle/>
            <a:p>
              <a:pPr algn="ctr" defTabSz="685800">
                <a:buClrTx/>
                <a:defRPr/>
              </a:pPr>
              <a:endParaRPr lang="en-US" sz="1050" kern="1200" dirty="0">
                <a:solidFill>
                  <a:prstClr val="white"/>
                </a:solidFill>
                <a:ea typeface="+mn-ea"/>
                <a:cs typeface="+mn-cs"/>
              </a:endParaRPr>
            </a:p>
          </p:txBody>
        </p:sp>
        <p:sp>
          <p:nvSpPr>
            <p:cNvPr id="18" name="Freeform 17"/>
            <p:cNvSpPr>
              <a:spLocks/>
            </p:cNvSpPr>
            <p:nvPr/>
          </p:nvSpPr>
          <p:spPr bwMode="auto">
            <a:xfrm flipH="1" flipV="1">
              <a:off x="4684" y="2689"/>
              <a:ext cx="977" cy="709"/>
            </a:xfrm>
            <a:custGeom>
              <a:avLst/>
              <a:gdLst>
                <a:gd name="T0" fmla="*/ 0 w 2312"/>
                <a:gd name="T1" fmla="*/ 0 h 1823"/>
                <a:gd name="T2" fmla="*/ 770 w 2312"/>
                <a:gd name="T3" fmla="*/ 0 h 1823"/>
                <a:gd name="T4" fmla="*/ 770 w 2312"/>
                <a:gd name="T5" fmla="*/ 261 h 1823"/>
                <a:gd name="T6" fmla="*/ 854 w 2312"/>
                <a:gd name="T7" fmla="*/ 236 h 1823"/>
                <a:gd name="T8" fmla="*/ 975 w 2312"/>
                <a:gd name="T9" fmla="*/ 358 h 1823"/>
                <a:gd name="T10" fmla="*/ 870 w 2312"/>
                <a:gd name="T11" fmla="*/ 468 h 1823"/>
                <a:gd name="T12" fmla="*/ 770 w 2312"/>
                <a:gd name="T13" fmla="*/ 451 h 1823"/>
                <a:gd name="T14" fmla="*/ 770 w 2312"/>
                <a:gd name="T15" fmla="*/ 709 h 1823"/>
                <a:gd name="T16" fmla="*/ 486 w 2312"/>
                <a:gd name="T17" fmla="*/ 709 h 1823"/>
                <a:gd name="T18" fmla="*/ 507 w 2312"/>
                <a:gd name="T19" fmla="*/ 616 h 1823"/>
                <a:gd name="T20" fmla="*/ 387 w 2312"/>
                <a:gd name="T21" fmla="*/ 523 h 1823"/>
                <a:gd name="T22" fmla="*/ 257 w 2312"/>
                <a:gd name="T23" fmla="*/ 630 h 1823"/>
                <a:gd name="T24" fmla="*/ 284 w 2312"/>
                <a:gd name="T25" fmla="*/ 709 h 1823"/>
                <a:gd name="T26" fmla="*/ 0 w 2312"/>
                <a:gd name="T27" fmla="*/ 709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575757"/>
            </a:solidFill>
            <a:ln w="12700">
              <a:solidFill>
                <a:schemeClr val="bg1"/>
              </a:solidFill>
              <a:round/>
              <a:headEnd/>
              <a:tailEnd/>
            </a:ln>
          </p:spPr>
          <p:txBody>
            <a:bodyPr wrap="none" lIns="27000" tIns="27000" rIns="27000" bIns="27000" anchor="ctr"/>
            <a:lstStyle/>
            <a:p>
              <a:pPr algn="ctr" defTabSz="685800">
                <a:buClrTx/>
                <a:defRPr/>
              </a:pPr>
              <a:endParaRPr lang="en-US" sz="1050" kern="1200" dirty="0">
                <a:solidFill>
                  <a:prstClr val="white"/>
                </a:solidFill>
                <a:ea typeface="+mn-ea"/>
                <a:cs typeface="+mn-cs"/>
              </a:endParaRPr>
            </a:p>
          </p:txBody>
        </p:sp>
      </p:grpSp>
      <p:sp>
        <p:nvSpPr>
          <p:cNvPr id="22" name="Rectangle 21"/>
          <p:cNvSpPr>
            <a:spLocks noChangeArrowheads="1"/>
          </p:cNvSpPr>
          <p:nvPr/>
        </p:nvSpPr>
        <p:spPr bwMode="auto">
          <a:xfrm>
            <a:off x="5803107" y="0"/>
            <a:ext cx="2197894" cy="369332"/>
          </a:xfrm>
          <a:prstGeom prst="rect">
            <a:avLst/>
          </a:prstGeom>
          <a:solidFill>
            <a:schemeClr val="accent6"/>
          </a:solidFill>
          <a:ln w="6350" algn="ctr">
            <a:solidFill>
              <a:schemeClr val="bg1"/>
            </a:solidFill>
            <a:miter lim="800000"/>
            <a:headEnd/>
            <a:tailEnd/>
          </a:ln>
        </p:spPr>
        <p:txBody>
          <a:bodyPr tIns="68580" bIns="68580">
            <a:spAutoFit/>
          </a:bodyPr>
          <a:lstStyle/>
          <a:p>
            <a:pPr defTabSz="685800">
              <a:buClrTx/>
              <a:defRPr/>
            </a:pPr>
            <a:r>
              <a:rPr lang="en-US" sz="750" kern="1200" dirty="0">
                <a:solidFill>
                  <a:srgbClr val="313131"/>
                </a:solidFill>
                <a:ea typeface="ＭＳ Ｐゴシック" pitchFamily="50" charset="-128"/>
                <a:cs typeface="+mn-cs"/>
              </a:rPr>
              <a:t>Tip! Hold the Shift key when resizing the pieces or group to retain the shape proportions</a:t>
            </a:r>
          </a:p>
        </p:txBody>
      </p:sp>
    </p:spTree>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7345" name="Title 1"/>
          <p:cNvSpPr>
            <a:spLocks noGrp="1"/>
          </p:cNvSpPr>
          <p:nvPr>
            <p:ph type="title"/>
          </p:nvPr>
        </p:nvSpPr>
        <p:spPr/>
        <p:txBody>
          <a:bodyPr/>
          <a:lstStyle/>
          <a:p>
            <a:r>
              <a:rPr lang="en-US" dirty="0"/>
              <a:t>Puzzles </a:t>
            </a:r>
            <a:br>
              <a:rPr lang="en-US" dirty="0"/>
            </a:br>
            <a:r>
              <a:rPr lang="en-US" dirty="0">
                <a:solidFill>
                  <a:srgbClr val="575757"/>
                </a:solidFill>
              </a:rPr>
              <a:t>Rectangular</a:t>
            </a:r>
          </a:p>
        </p:txBody>
      </p:sp>
      <p:grpSp>
        <p:nvGrpSpPr>
          <p:cNvPr id="697347" name="Group 3"/>
          <p:cNvGrpSpPr>
            <a:grpSpLocks/>
          </p:cNvGrpSpPr>
          <p:nvPr/>
        </p:nvGrpSpPr>
        <p:grpSpPr bwMode="auto">
          <a:xfrm>
            <a:off x="2717602" y="3527823"/>
            <a:ext cx="3708797" cy="934640"/>
            <a:chOff x="852" y="2963"/>
            <a:chExt cx="3374" cy="785"/>
          </a:xfrm>
        </p:grpSpPr>
        <p:sp>
          <p:nvSpPr>
            <p:cNvPr id="697359" name="Freeform 4"/>
            <p:cNvSpPr>
              <a:spLocks/>
            </p:cNvSpPr>
            <p:nvPr/>
          </p:nvSpPr>
          <p:spPr bwMode="auto">
            <a:xfrm>
              <a:off x="1919" y="2963"/>
              <a:ext cx="1241" cy="785"/>
            </a:xfrm>
            <a:custGeom>
              <a:avLst/>
              <a:gdLst>
                <a:gd name="T0" fmla="*/ 0 w 1461"/>
                <a:gd name="T1" fmla="*/ 0 h 1885"/>
                <a:gd name="T2" fmla="*/ 555 w 1461"/>
                <a:gd name="T3" fmla="*/ 0 h 1885"/>
                <a:gd name="T4" fmla="*/ 555 w 1461"/>
                <a:gd name="T5" fmla="*/ 10 h 1885"/>
                <a:gd name="T6" fmla="*/ 567 w 1461"/>
                <a:gd name="T7" fmla="*/ 10 h 1885"/>
                <a:gd name="T8" fmla="*/ 603 w 1461"/>
                <a:gd name="T9" fmla="*/ 8 h 1885"/>
                <a:gd name="T10" fmla="*/ 646 w 1461"/>
                <a:gd name="T11" fmla="*/ 12 h 1885"/>
                <a:gd name="T12" fmla="*/ 603 w 1461"/>
                <a:gd name="T13" fmla="*/ 15 h 1885"/>
                <a:gd name="T14" fmla="*/ 567 w 1461"/>
                <a:gd name="T15" fmla="*/ 13 h 1885"/>
                <a:gd name="T16" fmla="*/ 555 w 1461"/>
                <a:gd name="T17" fmla="*/ 13 h 1885"/>
                <a:gd name="T18" fmla="*/ 555 w 1461"/>
                <a:gd name="T19" fmla="*/ 24 h 1885"/>
                <a:gd name="T20" fmla="*/ 0 w 1461"/>
                <a:gd name="T21" fmla="*/ 24 h 1885"/>
                <a:gd name="T22" fmla="*/ 0 w 1461"/>
                <a:gd name="T23" fmla="*/ 13 h 1885"/>
                <a:gd name="T24" fmla="*/ 12 w 1461"/>
                <a:gd name="T25" fmla="*/ 13 h 1885"/>
                <a:gd name="T26" fmla="*/ 47 w 1461"/>
                <a:gd name="T27" fmla="*/ 15 h 1885"/>
                <a:gd name="T28" fmla="*/ 92 w 1461"/>
                <a:gd name="T29" fmla="*/ 12 h 1885"/>
                <a:gd name="T30" fmla="*/ 49 w 1461"/>
                <a:gd name="T31" fmla="*/ 8 h 1885"/>
                <a:gd name="T32" fmla="*/ 11 w 1461"/>
                <a:gd name="T33" fmla="*/ 10 h 1885"/>
                <a:gd name="T34" fmla="*/ 0 w 1461"/>
                <a:gd name="T35" fmla="*/ 10 h 1885"/>
                <a:gd name="T36" fmla="*/ 0 w 1461"/>
                <a:gd name="T37" fmla="*/ 0 h 18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61"/>
                <a:gd name="T58" fmla="*/ 0 h 1885"/>
                <a:gd name="T59" fmla="*/ 1461 w 1461"/>
                <a:gd name="T60" fmla="*/ 1885 h 188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61" h="1885">
                  <a:moveTo>
                    <a:pt x="0" y="0"/>
                  </a:moveTo>
                  <a:lnTo>
                    <a:pt x="1254" y="0"/>
                  </a:lnTo>
                  <a:lnTo>
                    <a:pt x="1254" y="808"/>
                  </a:lnTo>
                  <a:lnTo>
                    <a:pt x="1281" y="808"/>
                  </a:lnTo>
                  <a:cubicBezTo>
                    <a:pt x="1281" y="808"/>
                    <a:pt x="1308" y="673"/>
                    <a:pt x="1365" y="673"/>
                  </a:cubicBezTo>
                  <a:cubicBezTo>
                    <a:pt x="1422" y="673"/>
                    <a:pt x="1461" y="852"/>
                    <a:pt x="1461" y="942"/>
                  </a:cubicBezTo>
                  <a:cubicBezTo>
                    <a:pt x="1461" y="1032"/>
                    <a:pt x="1426" y="1212"/>
                    <a:pt x="1365" y="1212"/>
                  </a:cubicBezTo>
                  <a:cubicBezTo>
                    <a:pt x="1304" y="1212"/>
                    <a:pt x="1299" y="1093"/>
                    <a:pt x="1281" y="1069"/>
                  </a:cubicBezTo>
                  <a:lnTo>
                    <a:pt x="1254" y="1068"/>
                  </a:lnTo>
                  <a:lnTo>
                    <a:pt x="1254" y="1885"/>
                  </a:lnTo>
                  <a:lnTo>
                    <a:pt x="0" y="1885"/>
                  </a:lnTo>
                  <a:lnTo>
                    <a:pt x="0" y="1069"/>
                  </a:lnTo>
                  <a:lnTo>
                    <a:pt x="27" y="1069"/>
                  </a:lnTo>
                  <a:cubicBezTo>
                    <a:pt x="27" y="1069"/>
                    <a:pt x="44" y="1210"/>
                    <a:pt x="106" y="1210"/>
                  </a:cubicBezTo>
                  <a:cubicBezTo>
                    <a:pt x="168" y="1210"/>
                    <a:pt x="206" y="1031"/>
                    <a:pt x="207" y="942"/>
                  </a:cubicBezTo>
                  <a:cubicBezTo>
                    <a:pt x="208" y="853"/>
                    <a:pt x="166" y="673"/>
                    <a:pt x="111" y="673"/>
                  </a:cubicBezTo>
                  <a:cubicBezTo>
                    <a:pt x="56" y="673"/>
                    <a:pt x="43" y="786"/>
                    <a:pt x="25" y="808"/>
                  </a:cubicBezTo>
                  <a:lnTo>
                    <a:pt x="0" y="808"/>
                  </a:lnTo>
                  <a:lnTo>
                    <a:pt x="0" y="0"/>
                  </a:lnTo>
                  <a:close/>
                </a:path>
              </a:pathLst>
            </a:custGeom>
            <a:solidFill>
              <a:srgbClr val="DCDCDC"/>
            </a:solidFill>
            <a:ln w="12700">
              <a:solidFill>
                <a:schemeClr val="bg1"/>
              </a:solidFill>
              <a:round/>
              <a:headEnd/>
              <a:tailEnd/>
            </a:ln>
          </p:spPr>
          <p:txBody>
            <a:bodyPr wrap="square" lIns="27000" tIns="27000" rIns="27000" bIns="27000" anchor="ctr"/>
            <a:lstStyle/>
            <a:p>
              <a:pPr algn="ctr" defTabSz="685800">
                <a:buClrTx/>
              </a:pPr>
              <a:endParaRPr lang="en-US" sz="1050" kern="1200">
                <a:solidFill>
                  <a:prstClr val="white"/>
                </a:solidFill>
                <a:ea typeface="+mn-ea"/>
                <a:cs typeface="+mn-cs"/>
              </a:endParaRPr>
            </a:p>
          </p:txBody>
        </p:sp>
        <p:sp>
          <p:nvSpPr>
            <p:cNvPr id="6" name="Freeform 5"/>
            <p:cNvSpPr>
              <a:spLocks/>
            </p:cNvSpPr>
            <p:nvPr/>
          </p:nvSpPr>
          <p:spPr bwMode="auto">
            <a:xfrm>
              <a:off x="2984" y="2963"/>
              <a:ext cx="1242" cy="785"/>
            </a:xfrm>
            <a:custGeom>
              <a:avLst/>
              <a:gdLst>
                <a:gd name="T0" fmla="*/ 0 w 1461"/>
                <a:gd name="T1" fmla="*/ 0 h 1885"/>
                <a:gd name="T2" fmla="*/ 1066 w 1461"/>
                <a:gd name="T3" fmla="*/ 0 h 1885"/>
                <a:gd name="T4" fmla="*/ 1066 w 1461"/>
                <a:gd name="T5" fmla="*/ 336 h 1885"/>
                <a:gd name="T6" fmla="*/ 1089 w 1461"/>
                <a:gd name="T7" fmla="*/ 336 h 1885"/>
                <a:gd name="T8" fmla="*/ 1160 w 1461"/>
                <a:gd name="T9" fmla="*/ 280 h 1885"/>
                <a:gd name="T10" fmla="*/ 1242 w 1461"/>
                <a:gd name="T11" fmla="*/ 392 h 1885"/>
                <a:gd name="T12" fmla="*/ 1160 w 1461"/>
                <a:gd name="T13" fmla="*/ 505 h 1885"/>
                <a:gd name="T14" fmla="*/ 1089 w 1461"/>
                <a:gd name="T15" fmla="*/ 445 h 1885"/>
                <a:gd name="T16" fmla="*/ 1066 w 1461"/>
                <a:gd name="T17" fmla="*/ 445 h 1885"/>
                <a:gd name="T18" fmla="*/ 1066 w 1461"/>
                <a:gd name="T19" fmla="*/ 785 h 1885"/>
                <a:gd name="T20" fmla="*/ 0 w 1461"/>
                <a:gd name="T21" fmla="*/ 785 h 1885"/>
                <a:gd name="T22" fmla="*/ 0 w 1461"/>
                <a:gd name="T23" fmla="*/ 445 h 1885"/>
                <a:gd name="T24" fmla="*/ 23 w 1461"/>
                <a:gd name="T25" fmla="*/ 445 h 1885"/>
                <a:gd name="T26" fmla="*/ 90 w 1461"/>
                <a:gd name="T27" fmla="*/ 504 h 1885"/>
                <a:gd name="T28" fmla="*/ 176 w 1461"/>
                <a:gd name="T29" fmla="*/ 392 h 1885"/>
                <a:gd name="T30" fmla="*/ 94 w 1461"/>
                <a:gd name="T31" fmla="*/ 280 h 1885"/>
                <a:gd name="T32" fmla="*/ 21 w 1461"/>
                <a:gd name="T33" fmla="*/ 336 h 1885"/>
                <a:gd name="T34" fmla="*/ 0 w 1461"/>
                <a:gd name="T35" fmla="*/ 336 h 1885"/>
                <a:gd name="T36" fmla="*/ 0 w 1461"/>
                <a:gd name="T37" fmla="*/ 0 h 18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61"/>
                <a:gd name="T58" fmla="*/ 0 h 1885"/>
                <a:gd name="T59" fmla="*/ 1461 w 1461"/>
                <a:gd name="T60" fmla="*/ 1885 h 188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61" h="1885">
                  <a:moveTo>
                    <a:pt x="0" y="0"/>
                  </a:moveTo>
                  <a:lnTo>
                    <a:pt x="1254" y="0"/>
                  </a:lnTo>
                  <a:lnTo>
                    <a:pt x="1254" y="808"/>
                  </a:lnTo>
                  <a:lnTo>
                    <a:pt x="1281" y="808"/>
                  </a:lnTo>
                  <a:cubicBezTo>
                    <a:pt x="1281" y="808"/>
                    <a:pt x="1308" y="673"/>
                    <a:pt x="1365" y="673"/>
                  </a:cubicBezTo>
                  <a:cubicBezTo>
                    <a:pt x="1422" y="673"/>
                    <a:pt x="1461" y="852"/>
                    <a:pt x="1461" y="942"/>
                  </a:cubicBezTo>
                  <a:cubicBezTo>
                    <a:pt x="1461" y="1032"/>
                    <a:pt x="1426" y="1212"/>
                    <a:pt x="1365" y="1212"/>
                  </a:cubicBezTo>
                  <a:cubicBezTo>
                    <a:pt x="1304" y="1212"/>
                    <a:pt x="1299" y="1093"/>
                    <a:pt x="1281" y="1069"/>
                  </a:cubicBezTo>
                  <a:lnTo>
                    <a:pt x="1254" y="1068"/>
                  </a:lnTo>
                  <a:lnTo>
                    <a:pt x="1254" y="1885"/>
                  </a:lnTo>
                  <a:lnTo>
                    <a:pt x="0" y="1885"/>
                  </a:lnTo>
                  <a:lnTo>
                    <a:pt x="0" y="1069"/>
                  </a:lnTo>
                  <a:lnTo>
                    <a:pt x="27" y="1069"/>
                  </a:lnTo>
                  <a:cubicBezTo>
                    <a:pt x="27" y="1069"/>
                    <a:pt x="44" y="1210"/>
                    <a:pt x="106" y="1210"/>
                  </a:cubicBezTo>
                  <a:cubicBezTo>
                    <a:pt x="168" y="1210"/>
                    <a:pt x="206" y="1031"/>
                    <a:pt x="207" y="942"/>
                  </a:cubicBezTo>
                  <a:cubicBezTo>
                    <a:pt x="208" y="853"/>
                    <a:pt x="166" y="673"/>
                    <a:pt x="111" y="673"/>
                  </a:cubicBezTo>
                  <a:cubicBezTo>
                    <a:pt x="56" y="673"/>
                    <a:pt x="43" y="786"/>
                    <a:pt x="25" y="808"/>
                  </a:cubicBezTo>
                  <a:lnTo>
                    <a:pt x="0" y="808"/>
                  </a:lnTo>
                  <a:lnTo>
                    <a:pt x="0" y="0"/>
                  </a:lnTo>
                  <a:close/>
                </a:path>
              </a:pathLst>
            </a:custGeom>
            <a:solidFill>
              <a:srgbClr val="8C8C8C"/>
            </a:solidFill>
            <a:ln w="12700">
              <a:solidFill>
                <a:schemeClr val="bg1"/>
              </a:solidFill>
              <a:round/>
              <a:headEnd/>
              <a:tailEnd/>
            </a:ln>
          </p:spPr>
          <p:txBody>
            <a:bodyPr wrap="square" lIns="27000" tIns="27000" rIns="27000" bIns="27000" anchor="ctr"/>
            <a:lstStyle/>
            <a:p>
              <a:pPr algn="ctr" defTabSz="685800">
                <a:buClrTx/>
                <a:defRPr/>
              </a:pPr>
              <a:endParaRPr lang="en-US" sz="1050" kern="1200" dirty="0">
                <a:solidFill>
                  <a:prstClr val="white"/>
                </a:solidFill>
                <a:ea typeface="+mn-ea"/>
                <a:cs typeface="+mn-cs"/>
              </a:endParaRPr>
            </a:p>
          </p:txBody>
        </p:sp>
        <p:sp>
          <p:nvSpPr>
            <p:cNvPr id="697362" name="Freeform 7"/>
            <p:cNvSpPr>
              <a:spLocks/>
            </p:cNvSpPr>
            <p:nvPr/>
          </p:nvSpPr>
          <p:spPr bwMode="auto">
            <a:xfrm>
              <a:off x="852" y="2963"/>
              <a:ext cx="1242" cy="785"/>
            </a:xfrm>
            <a:custGeom>
              <a:avLst/>
              <a:gdLst>
                <a:gd name="T0" fmla="*/ 0 w 1461"/>
                <a:gd name="T1" fmla="*/ 0 h 1885"/>
                <a:gd name="T2" fmla="*/ 557 w 1461"/>
                <a:gd name="T3" fmla="*/ 0 h 1885"/>
                <a:gd name="T4" fmla="*/ 557 w 1461"/>
                <a:gd name="T5" fmla="*/ 10 h 1885"/>
                <a:gd name="T6" fmla="*/ 569 w 1461"/>
                <a:gd name="T7" fmla="*/ 10 h 1885"/>
                <a:gd name="T8" fmla="*/ 605 w 1461"/>
                <a:gd name="T9" fmla="*/ 8 h 1885"/>
                <a:gd name="T10" fmla="*/ 649 w 1461"/>
                <a:gd name="T11" fmla="*/ 12 h 1885"/>
                <a:gd name="T12" fmla="*/ 605 w 1461"/>
                <a:gd name="T13" fmla="*/ 15 h 1885"/>
                <a:gd name="T14" fmla="*/ 569 w 1461"/>
                <a:gd name="T15" fmla="*/ 13 h 1885"/>
                <a:gd name="T16" fmla="*/ 557 w 1461"/>
                <a:gd name="T17" fmla="*/ 13 h 1885"/>
                <a:gd name="T18" fmla="*/ 557 w 1461"/>
                <a:gd name="T19" fmla="*/ 24 h 1885"/>
                <a:gd name="T20" fmla="*/ 0 w 1461"/>
                <a:gd name="T21" fmla="*/ 24 h 1885"/>
                <a:gd name="T22" fmla="*/ 0 w 1461"/>
                <a:gd name="T23" fmla="*/ 0 h 188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61"/>
                <a:gd name="T37" fmla="*/ 0 h 1885"/>
                <a:gd name="T38" fmla="*/ 1461 w 1461"/>
                <a:gd name="T39" fmla="*/ 1885 h 188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61" h="1885">
                  <a:moveTo>
                    <a:pt x="0" y="0"/>
                  </a:moveTo>
                  <a:lnTo>
                    <a:pt x="1254" y="0"/>
                  </a:lnTo>
                  <a:lnTo>
                    <a:pt x="1254" y="808"/>
                  </a:lnTo>
                  <a:lnTo>
                    <a:pt x="1281" y="808"/>
                  </a:lnTo>
                  <a:cubicBezTo>
                    <a:pt x="1281" y="808"/>
                    <a:pt x="1308" y="673"/>
                    <a:pt x="1365" y="673"/>
                  </a:cubicBezTo>
                  <a:cubicBezTo>
                    <a:pt x="1422" y="673"/>
                    <a:pt x="1461" y="852"/>
                    <a:pt x="1461" y="942"/>
                  </a:cubicBezTo>
                  <a:cubicBezTo>
                    <a:pt x="1461" y="1032"/>
                    <a:pt x="1426" y="1212"/>
                    <a:pt x="1365" y="1212"/>
                  </a:cubicBezTo>
                  <a:cubicBezTo>
                    <a:pt x="1304" y="1212"/>
                    <a:pt x="1299" y="1093"/>
                    <a:pt x="1281" y="1069"/>
                  </a:cubicBezTo>
                  <a:lnTo>
                    <a:pt x="1254" y="1068"/>
                  </a:lnTo>
                  <a:lnTo>
                    <a:pt x="1254" y="1885"/>
                  </a:lnTo>
                  <a:lnTo>
                    <a:pt x="0" y="1885"/>
                  </a:lnTo>
                  <a:lnTo>
                    <a:pt x="0" y="0"/>
                  </a:lnTo>
                  <a:close/>
                </a:path>
              </a:pathLst>
            </a:custGeom>
            <a:solidFill>
              <a:srgbClr val="00A1DE"/>
            </a:solidFill>
            <a:ln w="12700">
              <a:solidFill>
                <a:schemeClr val="bg1"/>
              </a:solidFill>
              <a:round/>
              <a:headEnd/>
              <a:tailEnd/>
            </a:ln>
          </p:spPr>
          <p:txBody>
            <a:bodyPr wrap="square" lIns="27000" tIns="27000" rIns="27000" bIns="27000" anchor="ctr"/>
            <a:lstStyle/>
            <a:p>
              <a:pPr algn="ctr" defTabSz="685800">
                <a:buClrTx/>
              </a:pPr>
              <a:endParaRPr lang="en-US" sz="1050" kern="1200">
                <a:solidFill>
                  <a:prstClr val="white"/>
                </a:solidFill>
                <a:ea typeface="+mn-ea"/>
                <a:cs typeface="+mn-cs"/>
              </a:endParaRPr>
            </a:p>
          </p:txBody>
        </p:sp>
      </p:grpSp>
      <p:grpSp>
        <p:nvGrpSpPr>
          <p:cNvPr id="697348" name="Group 8"/>
          <p:cNvGrpSpPr>
            <a:grpSpLocks/>
          </p:cNvGrpSpPr>
          <p:nvPr/>
        </p:nvGrpSpPr>
        <p:grpSpPr bwMode="auto">
          <a:xfrm>
            <a:off x="2078832" y="1268731"/>
            <a:ext cx="4661297" cy="1858565"/>
            <a:chOff x="852" y="1103"/>
            <a:chExt cx="4241" cy="1561"/>
          </a:xfrm>
        </p:grpSpPr>
        <p:sp>
          <p:nvSpPr>
            <p:cNvPr id="697349" name="Freeform 9"/>
            <p:cNvSpPr>
              <a:spLocks/>
            </p:cNvSpPr>
            <p:nvPr/>
          </p:nvSpPr>
          <p:spPr bwMode="auto">
            <a:xfrm>
              <a:off x="4243" y="1103"/>
              <a:ext cx="850" cy="988"/>
            </a:xfrm>
            <a:custGeom>
              <a:avLst/>
              <a:gdLst>
                <a:gd name="T0" fmla="*/ 0 w 769"/>
                <a:gd name="T1" fmla="*/ 0 h 968"/>
                <a:gd name="T2" fmla="*/ 940 w 769"/>
                <a:gd name="T3" fmla="*/ 0 h 968"/>
                <a:gd name="T4" fmla="*/ 940 w 769"/>
                <a:gd name="T5" fmla="*/ 798 h 968"/>
                <a:gd name="T6" fmla="*/ 589 w 769"/>
                <a:gd name="T7" fmla="*/ 796 h 968"/>
                <a:gd name="T8" fmla="*/ 622 w 769"/>
                <a:gd name="T9" fmla="*/ 896 h 968"/>
                <a:gd name="T10" fmla="*/ 480 w 769"/>
                <a:gd name="T11" fmla="*/ 1008 h 968"/>
                <a:gd name="T12" fmla="*/ 306 w 769"/>
                <a:gd name="T13" fmla="*/ 902 h 968"/>
                <a:gd name="T14" fmla="*/ 339 w 769"/>
                <a:gd name="T15" fmla="*/ 794 h 968"/>
                <a:gd name="T16" fmla="*/ 0 w 769"/>
                <a:gd name="T17" fmla="*/ 798 h 968"/>
                <a:gd name="T18" fmla="*/ 0 w 769"/>
                <a:gd name="T19" fmla="*/ 0 h 9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9"/>
                <a:gd name="T31" fmla="*/ 0 h 968"/>
                <a:gd name="T32" fmla="*/ 769 w 769"/>
                <a:gd name="T33" fmla="*/ 968 h 9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9" h="968">
                  <a:moveTo>
                    <a:pt x="0" y="0"/>
                  </a:moveTo>
                  <a:lnTo>
                    <a:pt x="769" y="0"/>
                  </a:ln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rgbClr val="8C8C8C"/>
            </a:solidFill>
            <a:ln w="12700">
              <a:solidFill>
                <a:schemeClr val="bg1"/>
              </a:solidFill>
              <a:round/>
              <a:headEnd/>
              <a:tailEnd/>
            </a:ln>
          </p:spPr>
          <p:txBody>
            <a:bodyPr wrap="square" lIns="27000" tIns="27000" rIns="27000" bIns="27000" anchor="ctr"/>
            <a:lstStyle/>
            <a:p>
              <a:pPr algn="ctr" defTabSz="685800">
                <a:buClrTx/>
              </a:pPr>
              <a:endParaRPr lang="en-US" sz="1050" kern="1200">
                <a:solidFill>
                  <a:prstClr val="white"/>
                </a:solidFill>
                <a:ea typeface="+mn-ea"/>
                <a:cs typeface="+mn-cs"/>
              </a:endParaRPr>
            </a:p>
          </p:txBody>
        </p:sp>
        <p:sp>
          <p:nvSpPr>
            <p:cNvPr id="11" name="Freeform 10"/>
            <p:cNvSpPr>
              <a:spLocks/>
            </p:cNvSpPr>
            <p:nvPr/>
          </p:nvSpPr>
          <p:spPr bwMode="auto">
            <a:xfrm>
              <a:off x="4243" y="1882"/>
              <a:ext cx="850" cy="782"/>
            </a:xfrm>
            <a:custGeom>
              <a:avLst/>
              <a:gdLst>
                <a:gd name="T0" fmla="*/ 0 w 769"/>
                <a:gd name="T1" fmla="*/ 832 h 766"/>
                <a:gd name="T2" fmla="*/ 1148 w 769"/>
                <a:gd name="T3" fmla="*/ 832 h 766"/>
                <a:gd name="T4" fmla="*/ 1148 w 769"/>
                <a:gd name="T5" fmla="*/ 0 h 766"/>
                <a:gd name="T6" fmla="*/ 726 w 769"/>
                <a:gd name="T7" fmla="*/ 0 h 766"/>
                <a:gd name="T8" fmla="*/ 756 w 769"/>
                <a:gd name="T9" fmla="*/ 108 h 766"/>
                <a:gd name="T10" fmla="*/ 578 w 769"/>
                <a:gd name="T11" fmla="*/ 217 h 766"/>
                <a:gd name="T12" fmla="*/ 384 w 769"/>
                <a:gd name="T13" fmla="*/ 93 h 766"/>
                <a:gd name="T14" fmla="*/ 422 w 769"/>
                <a:gd name="T15" fmla="*/ 0 h 766"/>
                <a:gd name="T16" fmla="*/ 0 w 769"/>
                <a:gd name="T17" fmla="*/ 0 h 766"/>
                <a:gd name="T18" fmla="*/ 0 w 769"/>
                <a:gd name="T19" fmla="*/ 832 h 7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9"/>
                <a:gd name="T31" fmla="*/ 0 h 766"/>
                <a:gd name="T32" fmla="*/ 769 w 769"/>
                <a:gd name="T33" fmla="*/ 766 h 7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9" h="766">
                  <a:moveTo>
                    <a:pt x="0" y="766"/>
                  </a:moveTo>
                  <a:lnTo>
                    <a:pt x="769" y="766"/>
                  </a:lnTo>
                  <a:lnTo>
                    <a:pt x="769" y="0"/>
                  </a:lnTo>
                  <a:lnTo>
                    <a:pt x="486" y="0"/>
                  </a:lnTo>
                  <a:cubicBezTo>
                    <a:pt x="442" y="17"/>
                    <a:pt x="508" y="37"/>
                    <a:pt x="507" y="100"/>
                  </a:cubicBezTo>
                  <a:cubicBezTo>
                    <a:pt x="505" y="164"/>
                    <a:pt x="458" y="202"/>
                    <a:pt x="387" y="201"/>
                  </a:cubicBezTo>
                  <a:cubicBezTo>
                    <a:pt x="315" y="201"/>
                    <a:pt x="257" y="149"/>
                    <a:pt x="257" y="85"/>
                  </a:cubicBezTo>
                  <a:cubicBezTo>
                    <a:pt x="257" y="21"/>
                    <a:pt x="324" y="13"/>
                    <a:pt x="283" y="0"/>
                  </a:cubicBezTo>
                  <a:lnTo>
                    <a:pt x="0" y="0"/>
                  </a:lnTo>
                  <a:lnTo>
                    <a:pt x="0" y="766"/>
                  </a:lnTo>
                  <a:close/>
                </a:path>
              </a:pathLst>
            </a:custGeom>
            <a:solidFill>
              <a:srgbClr val="DCDCDC"/>
            </a:solidFill>
            <a:ln w="12700">
              <a:solidFill>
                <a:schemeClr val="bg1"/>
              </a:solidFill>
              <a:round/>
              <a:headEnd/>
              <a:tailEnd/>
            </a:ln>
          </p:spPr>
          <p:txBody>
            <a:bodyPr wrap="square" lIns="27000" tIns="27000" rIns="27000" bIns="27000" anchor="ctr"/>
            <a:lstStyle/>
            <a:p>
              <a:pPr algn="ctr" defTabSz="685800">
                <a:buClrTx/>
                <a:defRPr/>
              </a:pPr>
              <a:endParaRPr lang="en-US" sz="1050" kern="1200" dirty="0">
                <a:solidFill>
                  <a:prstClr val="white"/>
                </a:solidFill>
                <a:ea typeface="+mn-ea"/>
                <a:cs typeface="+mn-cs"/>
              </a:endParaRPr>
            </a:p>
          </p:txBody>
        </p:sp>
        <p:sp>
          <p:nvSpPr>
            <p:cNvPr id="12" name="Freeform 11"/>
            <p:cNvSpPr>
              <a:spLocks/>
            </p:cNvSpPr>
            <p:nvPr/>
          </p:nvSpPr>
          <p:spPr bwMode="auto">
            <a:xfrm>
              <a:off x="3396" y="1103"/>
              <a:ext cx="1079" cy="988"/>
            </a:xfrm>
            <a:custGeom>
              <a:avLst/>
              <a:gdLst>
                <a:gd name="T0" fmla="*/ 0 w 976"/>
                <a:gd name="T1" fmla="*/ 0 h 968"/>
                <a:gd name="T2" fmla="*/ 1149 w 976"/>
                <a:gd name="T3" fmla="*/ 0 h 968"/>
                <a:gd name="T4" fmla="*/ 1149 w 976"/>
                <a:gd name="T5" fmla="*/ 306 h 968"/>
                <a:gd name="T6" fmla="*/ 1275 w 976"/>
                <a:gd name="T7" fmla="*/ 276 h 968"/>
                <a:gd name="T8" fmla="*/ 1456 w 976"/>
                <a:gd name="T9" fmla="*/ 419 h 968"/>
                <a:gd name="T10" fmla="*/ 1298 w 976"/>
                <a:gd name="T11" fmla="*/ 548 h 968"/>
                <a:gd name="T12" fmla="*/ 1149 w 976"/>
                <a:gd name="T13" fmla="*/ 528 h 968"/>
                <a:gd name="T14" fmla="*/ 1149 w 976"/>
                <a:gd name="T15" fmla="*/ 831 h 968"/>
                <a:gd name="T16" fmla="*/ 720 w 976"/>
                <a:gd name="T17" fmla="*/ 829 h 968"/>
                <a:gd name="T18" fmla="*/ 761 w 976"/>
                <a:gd name="T19" fmla="*/ 934 h 968"/>
                <a:gd name="T20" fmla="*/ 587 w 976"/>
                <a:gd name="T21" fmla="*/ 1050 h 968"/>
                <a:gd name="T22" fmla="*/ 374 w 976"/>
                <a:gd name="T23" fmla="*/ 940 h 968"/>
                <a:gd name="T24" fmla="*/ 415 w 976"/>
                <a:gd name="T25" fmla="*/ 827 h 968"/>
                <a:gd name="T26" fmla="*/ 0 w 976"/>
                <a:gd name="T27" fmla="*/ 831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rgbClr val="DCDCDC"/>
            </a:solidFill>
            <a:ln w="12700">
              <a:solidFill>
                <a:schemeClr val="bg1"/>
              </a:solidFill>
              <a:round/>
              <a:headEnd/>
              <a:tailEnd/>
            </a:ln>
          </p:spPr>
          <p:txBody>
            <a:bodyPr wrap="square" lIns="27000" tIns="27000" rIns="27000" bIns="27000" anchor="ctr"/>
            <a:lstStyle/>
            <a:p>
              <a:pPr algn="ctr" defTabSz="685800">
                <a:buClrTx/>
                <a:defRPr/>
              </a:pPr>
              <a:endParaRPr lang="en-US" sz="1050" kern="1200" dirty="0">
                <a:solidFill>
                  <a:prstClr val="white"/>
                </a:solidFill>
                <a:ea typeface="+mn-ea"/>
                <a:cs typeface="+mn-cs"/>
              </a:endParaRPr>
            </a:p>
          </p:txBody>
        </p:sp>
        <p:sp>
          <p:nvSpPr>
            <p:cNvPr id="697352" name="Freeform 12"/>
            <p:cNvSpPr>
              <a:spLocks/>
            </p:cNvSpPr>
            <p:nvPr/>
          </p:nvSpPr>
          <p:spPr bwMode="auto">
            <a:xfrm flipV="1">
              <a:off x="3395" y="1882"/>
              <a:ext cx="1079" cy="782"/>
            </a:xfrm>
            <a:custGeom>
              <a:avLst/>
              <a:gdLst>
                <a:gd name="T0" fmla="*/ 0 w 2312"/>
                <a:gd name="T1" fmla="*/ 0 h 1823"/>
                <a:gd name="T2" fmla="*/ 397 w 2312"/>
                <a:gd name="T3" fmla="*/ 0 h 1823"/>
                <a:gd name="T4" fmla="*/ 397 w 2312"/>
                <a:gd name="T5" fmla="*/ 124 h 1823"/>
                <a:gd name="T6" fmla="*/ 440 w 2312"/>
                <a:gd name="T7" fmla="*/ 112 h 1823"/>
                <a:gd name="T8" fmla="*/ 503 w 2312"/>
                <a:gd name="T9" fmla="*/ 169 h 1823"/>
                <a:gd name="T10" fmla="*/ 448 w 2312"/>
                <a:gd name="T11" fmla="*/ 221 h 1823"/>
                <a:gd name="T12" fmla="*/ 397 w 2312"/>
                <a:gd name="T13" fmla="*/ 213 h 1823"/>
                <a:gd name="T14" fmla="*/ 397 w 2312"/>
                <a:gd name="T15" fmla="*/ 335 h 1823"/>
                <a:gd name="T16" fmla="*/ 251 w 2312"/>
                <a:gd name="T17" fmla="*/ 335 h 1823"/>
                <a:gd name="T18" fmla="*/ 261 w 2312"/>
                <a:gd name="T19" fmla="*/ 291 h 1823"/>
                <a:gd name="T20" fmla="*/ 199 w 2312"/>
                <a:gd name="T21" fmla="*/ 248 h 1823"/>
                <a:gd name="T22" fmla="*/ 133 w 2312"/>
                <a:gd name="T23" fmla="*/ 298 h 1823"/>
                <a:gd name="T24" fmla="*/ 146 w 2312"/>
                <a:gd name="T25" fmla="*/ 335 h 1823"/>
                <a:gd name="T26" fmla="*/ 0 w 2312"/>
                <a:gd name="T27" fmla="*/ 335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8C8C8C"/>
            </a:solidFill>
            <a:ln w="12700">
              <a:solidFill>
                <a:schemeClr val="bg1"/>
              </a:solidFill>
              <a:round/>
              <a:headEnd/>
              <a:tailEnd/>
            </a:ln>
          </p:spPr>
          <p:txBody>
            <a:bodyPr wrap="square" lIns="27000" tIns="27000" rIns="27000" bIns="27000" anchor="ctr"/>
            <a:lstStyle/>
            <a:p>
              <a:pPr algn="ctr" defTabSz="685800">
                <a:buClrTx/>
              </a:pPr>
              <a:endParaRPr lang="en-US" sz="1050" kern="1200">
                <a:solidFill>
                  <a:prstClr val="white"/>
                </a:solidFill>
                <a:ea typeface="+mn-ea"/>
                <a:cs typeface="+mn-cs"/>
              </a:endParaRPr>
            </a:p>
          </p:txBody>
        </p:sp>
        <p:sp>
          <p:nvSpPr>
            <p:cNvPr id="697353" name="Freeform 13"/>
            <p:cNvSpPr>
              <a:spLocks/>
            </p:cNvSpPr>
            <p:nvPr/>
          </p:nvSpPr>
          <p:spPr bwMode="auto">
            <a:xfrm>
              <a:off x="2548" y="1103"/>
              <a:ext cx="1078" cy="988"/>
            </a:xfrm>
            <a:custGeom>
              <a:avLst/>
              <a:gdLst>
                <a:gd name="T0" fmla="*/ 0 w 976"/>
                <a:gd name="T1" fmla="*/ 0 h 968"/>
                <a:gd name="T2" fmla="*/ 938 w 976"/>
                <a:gd name="T3" fmla="*/ 0 h 968"/>
                <a:gd name="T4" fmla="*/ 938 w 976"/>
                <a:gd name="T5" fmla="*/ 294 h 968"/>
                <a:gd name="T6" fmla="*/ 1040 w 976"/>
                <a:gd name="T7" fmla="*/ 265 h 968"/>
                <a:gd name="T8" fmla="*/ 1188 w 976"/>
                <a:gd name="T9" fmla="*/ 403 h 968"/>
                <a:gd name="T10" fmla="*/ 1060 w 976"/>
                <a:gd name="T11" fmla="*/ 526 h 968"/>
                <a:gd name="T12" fmla="*/ 938 w 976"/>
                <a:gd name="T13" fmla="*/ 507 h 968"/>
                <a:gd name="T14" fmla="*/ 938 w 976"/>
                <a:gd name="T15" fmla="*/ 798 h 968"/>
                <a:gd name="T16" fmla="*/ 588 w 976"/>
                <a:gd name="T17" fmla="*/ 796 h 968"/>
                <a:gd name="T18" fmla="*/ 621 w 976"/>
                <a:gd name="T19" fmla="*/ 896 h 968"/>
                <a:gd name="T20" fmla="*/ 479 w 976"/>
                <a:gd name="T21" fmla="*/ 1008 h 968"/>
                <a:gd name="T22" fmla="*/ 306 w 976"/>
                <a:gd name="T23" fmla="*/ 902 h 968"/>
                <a:gd name="T24" fmla="*/ 339 w 976"/>
                <a:gd name="T25" fmla="*/ 794 h 968"/>
                <a:gd name="T26" fmla="*/ 0 w 976"/>
                <a:gd name="T27" fmla="*/ 798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rgbClr val="8C8C8C"/>
            </a:solidFill>
            <a:ln w="12700">
              <a:solidFill>
                <a:schemeClr val="bg1"/>
              </a:solidFill>
              <a:round/>
              <a:headEnd/>
              <a:tailEnd/>
            </a:ln>
          </p:spPr>
          <p:txBody>
            <a:bodyPr wrap="square" lIns="27000" tIns="27000" rIns="27000" bIns="27000" anchor="ctr"/>
            <a:lstStyle/>
            <a:p>
              <a:pPr algn="ctr" defTabSz="685800">
                <a:buClrTx/>
              </a:pPr>
              <a:endParaRPr lang="en-US" sz="1050" kern="1200">
                <a:solidFill>
                  <a:prstClr val="white"/>
                </a:solidFill>
                <a:ea typeface="+mn-ea"/>
                <a:cs typeface="+mn-cs"/>
              </a:endParaRPr>
            </a:p>
          </p:txBody>
        </p:sp>
        <p:sp>
          <p:nvSpPr>
            <p:cNvPr id="15" name="Freeform 14"/>
            <p:cNvSpPr>
              <a:spLocks/>
            </p:cNvSpPr>
            <p:nvPr/>
          </p:nvSpPr>
          <p:spPr bwMode="auto">
            <a:xfrm flipV="1">
              <a:off x="2548" y="1882"/>
              <a:ext cx="1078" cy="782"/>
            </a:xfrm>
            <a:custGeom>
              <a:avLst/>
              <a:gdLst>
                <a:gd name="T0" fmla="*/ 0 w 2312"/>
                <a:gd name="T1" fmla="*/ 0 h 1823"/>
                <a:gd name="T2" fmla="*/ 86 w 2312"/>
                <a:gd name="T3" fmla="*/ 0 h 1823"/>
                <a:gd name="T4" fmla="*/ 86 w 2312"/>
                <a:gd name="T5" fmla="*/ 23 h 1823"/>
                <a:gd name="T6" fmla="*/ 96 w 2312"/>
                <a:gd name="T7" fmla="*/ 21 h 1823"/>
                <a:gd name="T8" fmla="*/ 109 w 2312"/>
                <a:gd name="T9" fmla="*/ 31 h 1823"/>
                <a:gd name="T10" fmla="*/ 97 w 2312"/>
                <a:gd name="T11" fmla="*/ 41 h 1823"/>
                <a:gd name="T12" fmla="*/ 86 w 2312"/>
                <a:gd name="T13" fmla="*/ 39 h 1823"/>
                <a:gd name="T14" fmla="*/ 86 w 2312"/>
                <a:gd name="T15" fmla="*/ 62 h 1823"/>
                <a:gd name="T16" fmla="*/ 55 w 2312"/>
                <a:gd name="T17" fmla="*/ 62 h 1823"/>
                <a:gd name="T18" fmla="*/ 57 w 2312"/>
                <a:gd name="T19" fmla="*/ 54 h 1823"/>
                <a:gd name="T20" fmla="*/ 43 w 2312"/>
                <a:gd name="T21" fmla="*/ 45 h 1823"/>
                <a:gd name="T22" fmla="*/ 29 w 2312"/>
                <a:gd name="T23" fmla="*/ 55 h 1823"/>
                <a:gd name="T24" fmla="*/ 32 w 2312"/>
                <a:gd name="T25" fmla="*/ 62 h 1823"/>
                <a:gd name="T26" fmla="*/ 0 w 2312"/>
                <a:gd name="T27" fmla="*/ 62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DCDCDC"/>
            </a:solidFill>
            <a:ln w="12700">
              <a:solidFill>
                <a:schemeClr val="bg1"/>
              </a:solidFill>
              <a:round/>
              <a:headEnd/>
              <a:tailEnd/>
            </a:ln>
          </p:spPr>
          <p:txBody>
            <a:bodyPr wrap="square" lIns="27000" tIns="27000" rIns="27000" bIns="27000" anchor="ctr"/>
            <a:lstStyle/>
            <a:p>
              <a:pPr algn="ctr" defTabSz="685800">
                <a:buClrTx/>
                <a:defRPr/>
              </a:pPr>
              <a:endParaRPr lang="en-US" sz="1050" kern="1200" dirty="0">
                <a:solidFill>
                  <a:prstClr val="white"/>
                </a:solidFill>
                <a:ea typeface="+mn-ea"/>
                <a:cs typeface="+mn-cs"/>
              </a:endParaRPr>
            </a:p>
          </p:txBody>
        </p:sp>
        <p:sp>
          <p:nvSpPr>
            <p:cNvPr id="16" name="Freeform 15"/>
            <p:cNvSpPr>
              <a:spLocks/>
            </p:cNvSpPr>
            <p:nvPr/>
          </p:nvSpPr>
          <p:spPr bwMode="auto">
            <a:xfrm>
              <a:off x="1700" y="1103"/>
              <a:ext cx="1079" cy="988"/>
            </a:xfrm>
            <a:custGeom>
              <a:avLst/>
              <a:gdLst>
                <a:gd name="T0" fmla="*/ 0 w 976"/>
                <a:gd name="T1" fmla="*/ 0 h 968"/>
                <a:gd name="T2" fmla="*/ 1149 w 976"/>
                <a:gd name="T3" fmla="*/ 0 h 968"/>
                <a:gd name="T4" fmla="*/ 1149 w 976"/>
                <a:gd name="T5" fmla="*/ 306 h 968"/>
                <a:gd name="T6" fmla="*/ 1275 w 976"/>
                <a:gd name="T7" fmla="*/ 276 h 968"/>
                <a:gd name="T8" fmla="*/ 1456 w 976"/>
                <a:gd name="T9" fmla="*/ 419 h 968"/>
                <a:gd name="T10" fmla="*/ 1298 w 976"/>
                <a:gd name="T11" fmla="*/ 548 h 968"/>
                <a:gd name="T12" fmla="*/ 1149 w 976"/>
                <a:gd name="T13" fmla="*/ 528 h 968"/>
                <a:gd name="T14" fmla="*/ 1149 w 976"/>
                <a:gd name="T15" fmla="*/ 831 h 968"/>
                <a:gd name="T16" fmla="*/ 720 w 976"/>
                <a:gd name="T17" fmla="*/ 829 h 968"/>
                <a:gd name="T18" fmla="*/ 761 w 976"/>
                <a:gd name="T19" fmla="*/ 934 h 968"/>
                <a:gd name="T20" fmla="*/ 587 w 976"/>
                <a:gd name="T21" fmla="*/ 1050 h 968"/>
                <a:gd name="T22" fmla="*/ 374 w 976"/>
                <a:gd name="T23" fmla="*/ 940 h 968"/>
                <a:gd name="T24" fmla="*/ 415 w 976"/>
                <a:gd name="T25" fmla="*/ 827 h 968"/>
                <a:gd name="T26" fmla="*/ 0 w 976"/>
                <a:gd name="T27" fmla="*/ 831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rgbClr val="DCDCDC"/>
            </a:solidFill>
            <a:ln w="12700">
              <a:solidFill>
                <a:schemeClr val="bg1"/>
              </a:solidFill>
              <a:round/>
              <a:headEnd/>
              <a:tailEnd/>
            </a:ln>
          </p:spPr>
          <p:txBody>
            <a:bodyPr wrap="square" lIns="27000" tIns="27000" rIns="27000" bIns="27000" anchor="ctr"/>
            <a:lstStyle/>
            <a:p>
              <a:pPr algn="ctr" defTabSz="685800">
                <a:buClrTx/>
                <a:defRPr/>
              </a:pPr>
              <a:endParaRPr lang="en-US" sz="1050" kern="1200" dirty="0">
                <a:solidFill>
                  <a:prstClr val="white"/>
                </a:solidFill>
                <a:ea typeface="+mn-ea"/>
                <a:cs typeface="+mn-cs"/>
              </a:endParaRPr>
            </a:p>
          </p:txBody>
        </p:sp>
        <p:sp>
          <p:nvSpPr>
            <p:cNvPr id="697356" name="Freeform 16"/>
            <p:cNvSpPr>
              <a:spLocks/>
            </p:cNvSpPr>
            <p:nvPr/>
          </p:nvSpPr>
          <p:spPr bwMode="auto">
            <a:xfrm flipV="1">
              <a:off x="1700" y="1882"/>
              <a:ext cx="1079" cy="782"/>
            </a:xfrm>
            <a:custGeom>
              <a:avLst/>
              <a:gdLst>
                <a:gd name="T0" fmla="*/ 0 w 2312"/>
                <a:gd name="T1" fmla="*/ 0 h 1823"/>
                <a:gd name="T2" fmla="*/ 397 w 2312"/>
                <a:gd name="T3" fmla="*/ 0 h 1823"/>
                <a:gd name="T4" fmla="*/ 397 w 2312"/>
                <a:gd name="T5" fmla="*/ 124 h 1823"/>
                <a:gd name="T6" fmla="*/ 440 w 2312"/>
                <a:gd name="T7" fmla="*/ 112 h 1823"/>
                <a:gd name="T8" fmla="*/ 503 w 2312"/>
                <a:gd name="T9" fmla="*/ 169 h 1823"/>
                <a:gd name="T10" fmla="*/ 448 w 2312"/>
                <a:gd name="T11" fmla="*/ 221 h 1823"/>
                <a:gd name="T12" fmla="*/ 397 w 2312"/>
                <a:gd name="T13" fmla="*/ 213 h 1823"/>
                <a:gd name="T14" fmla="*/ 397 w 2312"/>
                <a:gd name="T15" fmla="*/ 335 h 1823"/>
                <a:gd name="T16" fmla="*/ 251 w 2312"/>
                <a:gd name="T17" fmla="*/ 335 h 1823"/>
                <a:gd name="T18" fmla="*/ 261 w 2312"/>
                <a:gd name="T19" fmla="*/ 291 h 1823"/>
                <a:gd name="T20" fmla="*/ 199 w 2312"/>
                <a:gd name="T21" fmla="*/ 248 h 1823"/>
                <a:gd name="T22" fmla="*/ 133 w 2312"/>
                <a:gd name="T23" fmla="*/ 298 h 1823"/>
                <a:gd name="T24" fmla="*/ 146 w 2312"/>
                <a:gd name="T25" fmla="*/ 335 h 1823"/>
                <a:gd name="T26" fmla="*/ 0 w 2312"/>
                <a:gd name="T27" fmla="*/ 335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8C8C8C"/>
            </a:solidFill>
            <a:ln w="12700">
              <a:solidFill>
                <a:schemeClr val="bg1"/>
              </a:solidFill>
              <a:round/>
              <a:headEnd/>
              <a:tailEnd/>
            </a:ln>
          </p:spPr>
          <p:txBody>
            <a:bodyPr wrap="square" lIns="27000" tIns="27000" rIns="27000" bIns="27000" anchor="ctr"/>
            <a:lstStyle/>
            <a:p>
              <a:pPr algn="ctr" defTabSz="685800">
                <a:buClrTx/>
              </a:pPr>
              <a:endParaRPr lang="en-US" sz="1050" kern="1200">
                <a:solidFill>
                  <a:prstClr val="white"/>
                </a:solidFill>
                <a:ea typeface="+mn-ea"/>
                <a:cs typeface="+mn-cs"/>
              </a:endParaRPr>
            </a:p>
          </p:txBody>
        </p:sp>
        <p:sp>
          <p:nvSpPr>
            <p:cNvPr id="697357" name="Freeform 17"/>
            <p:cNvSpPr>
              <a:spLocks/>
            </p:cNvSpPr>
            <p:nvPr/>
          </p:nvSpPr>
          <p:spPr bwMode="auto">
            <a:xfrm>
              <a:off x="852" y="1103"/>
              <a:ext cx="1079" cy="988"/>
            </a:xfrm>
            <a:custGeom>
              <a:avLst/>
              <a:gdLst>
                <a:gd name="T0" fmla="*/ 0 w 976"/>
                <a:gd name="T1" fmla="*/ 0 h 968"/>
                <a:gd name="T2" fmla="*/ 940 w 976"/>
                <a:gd name="T3" fmla="*/ 0 h 968"/>
                <a:gd name="T4" fmla="*/ 940 w 976"/>
                <a:gd name="T5" fmla="*/ 294 h 968"/>
                <a:gd name="T6" fmla="*/ 1043 w 976"/>
                <a:gd name="T7" fmla="*/ 265 h 968"/>
                <a:gd name="T8" fmla="*/ 1191 w 976"/>
                <a:gd name="T9" fmla="*/ 403 h 968"/>
                <a:gd name="T10" fmla="*/ 1062 w 976"/>
                <a:gd name="T11" fmla="*/ 526 h 968"/>
                <a:gd name="T12" fmla="*/ 940 w 976"/>
                <a:gd name="T13" fmla="*/ 507 h 968"/>
                <a:gd name="T14" fmla="*/ 940 w 976"/>
                <a:gd name="T15" fmla="*/ 798 h 968"/>
                <a:gd name="T16" fmla="*/ 589 w 976"/>
                <a:gd name="T17" fmla="*/ 796 h 968"/>
                <a:gd name="T18" fmla="*/ 622 w 976"/>
                <a:gd name="T19" fmla="*/ 896 h 968"/>
                <a:gd name="T20" fmla="*/ 480 w 976"/>
                <a:gd name="T21" fmla="*/ 1008 h 968"/>
                <a:gd name="T22" fmla="*/ 306 w 976"/>
                <a:gd name="T23" fmla="*/ 902 h 968"/>
                <a:gd name="T24" fmla="*/ 339 w 976"/>
                <a:gd name="T25" fmla="*/ 794 h 968"/>
                <a:gd name="T26" fmla="*/ 0 w 976"/>
                <a:gd name="T27" fmla="*/ 798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rgbClr val="8C8C8C"/>
            </a:solidFill>
            <a:ln w="12700">
              <a:solidFill>
                <a:schemeClr val="bg1"/>
              </a:solidFill>
              <a:round/>
              <a:headEnd/>
              <a:tailEnd/>
            </a:ln>
          </p:spPr>
          <p:txBody>
            <a:bodyPr wrap="square" lIns="27000" tIns="27000" rIns="27000" bIns="27000" anchor="ctr"/>
            <a:lstStyle/>
            <a:p>
              <a:pPr algn="ctr" defTabSz="685800">
                <a:buClrTx/>
              </a:pPr>
              <a:endParaRPr lang="en-US" sz="1050" kern="1200">
                <a:solidFill>
                  <a:prstClr val="white"/>
                </a:solidFill>
                <a:ea typeface="+mn-ea"/>
                <a:cs typeface="+mn-cs"/>
              </a:endParaRPr>
            </a:p>
          </p:txBody>
        </p:sp>
        <p:sp>
          <p:nvSpPr>
            <p:cNvPr id="19" name="Freeform 18"/>
            <p:cNvSpPr>
              <a:spLocks/>
            </p:cNvSpPr>
            <p:nvPr/>
          </p:nvSpPr>
          <p:spPr bwMode="auto">
            <a:xfrm flipV="1">
              <a:off x="852" y="1882"/>
              <a:ext cx="1079" cy="782"/>
            </a:xfrm>
            <a:custGeom>
              <a:avLst/>
              <a:gdLst>
                <a:gd name="T0" fmla="*/ 0 w 2312"/>
                <a:gd name="T1" fmla="*/ 0 h 1823"/>
                <a:gd name="T2" fmla="*/ 86 w 2312"/>
                <a:gd name="T3" fmla="*/ 0 h 1823"/>
                <a:gd name="T4" fmla="*/ 86 w 2312"/>
                <a:gd name="T5" fmla="*/ 23 h 1823"/>
                <a:gd name="T6" fmla="*/ 96 w 2312"/>
                <a:gd name="T7" fmla="*/ 21 h 1823"/>
                <a:gd name="T8" fmla="*/ 110 w 2312"/>
                <a:gd name="T9" fmla="*/ 31 h 1823"/>
                <a:gd name="T10" fmla="*/ 98 w 2312"/>
                <a:gd name="T11" fmla="*/ 41 h 1823"/>
                <a:gd name="T12" fmla="*/ 86 w 2312"/>
                <a:gd name="T13" fmla="*/ 39 h 1823"/>
                <a:gd name="T14" fmla="*/ 86 w 2312"/>
                <a:gd name="T15" fmla="*/ 62 h 1823"/>
                <a:gd name="T16" fmla="*/ 55 w 2312"/>
                <a:gd name="T17" fmla="*/ 62 h 1823"/>
                <a:gd name="T18" fmla="*/ 57 w 2312"/>
                <a:gd name="T19" fmla="*/ 54 h 1823"/>
                <a:gd name="T20" fmla="*/ 43 w 2312"/>
                <a:gd name="T21" fmla="*/ 45 h 1823"/>
                <a:gd name="T22" fmla="*/ 29 w 2312"/>
                <a:gd name="T23" fmla="*/ 55 h 1823"/>
                <a:gd name="T24" fmla="*/ 32 w 2312"/>
                <a:gd name="T25" fmla="*/ 62 h 1823"/>
                <a:gd name="T26" fmla="*/ 0 w 2312"/>
                <a:gd name="T27" fmla="*/ 62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DCDCDC"/>
            </a:solidFill>
            <a:ln w="12700">
              <a:solidFill>
                <a:schemeClr val="bg1"/>
              </a:solidFill>
              <a:round/>
              <a:headEnd/>
              <a:tailEnd/>
            </a:ln>
          </p:spPr>
          <p:txBody>
            <a:bodyPr wrap="square" lIns="27000" tIns="27000" rIns="27000" bIns="27000" anchor="ctr"/>
            <a:lstStyle/>
            <a:p>
              <a:pPr algn="ctr" defTabSz="685800">
                <a:buClrTx/>
                <a:defRPr/>
              </a:pPr>
              <a:endParaRPr lang="en-US" sz="1050" kern="1200" dirty="0">
                <a:solidFill>
                  <a:prstClr val="white"/>
                </a:solidFill>
                <a:ea typeface="+mn-ea"/>
                <a:cs typeface="+mn-cs"/>
              </a:endParaRPr>
            </a:p>
          </p:txBody>
        </p:sp>
      </p:grpSp>
      <p:sp>
        <p:nvSpPr>
          <p:cNvPr id="22" name="Rectangle 21"/>
          <p:cNvSpPr>
            <a:spLocks noChangeArrowheads="1"/>
          </p:cNvSpPr>
          <p:nvPr/>
        </p:nvSpPr>
        <p:spPr bwMode="auto">
          <a:xfrm>
            <a:off x="5803107" y="0"/>
            <a:ext cx="2197894" cy="369332"/>
          </a:xfrm>
          <a:prstGeom prst="rect">
            <a:avLst/>
          </a:prstGeom>
          <a:solidFill>
            <a:schemeClr val="accent6"/>
          </a:solidFill>
          <a:ln w="6350" algn="ctr">
            <a:solidFill>
              <a:schemeClr val="bg1"/>
            </a:solidFill>
            <a:miter lim="800000"/>
            <a:headEnd/>
            <a:tailEnd/>
          </a:ln>
        </p:spPr>
        <p:txBody>
          <a:bodyPr tIns="68580" bIns="68580">
            <a:spAutoFit/>
          </a:bodyPr>
          <a:lstStyle/>
          <a:p>
            <a:pPr defTabSz="685800">
              <a:buClrTx/>
              <a:defRPr/>
            </a:pPr>
            <a:r>
              <a:rPr lang="en-US" sz="750" kern="1200" dirty="0">
                <a:solidFill>
                  <a:srgbClr val="313131"/>
                </a:solidFill>
                <a:ea typeface="ＭＳ Ｐゴシック" pitchFamily="50" charset="-128"/>
                <a:cs typeface="+mn-cs"/>
              </a:rPr>
              <a:t>Tip! Hold the Shift key when resizing the pieces or group to retain the shape proportions</a:t>
            </a:r>
          </a:p>
        </p:txBody>
      </p:sp>
    </p:spTree>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8369" name="Title 1"/>
          <p:cNvSpPr>
            <a:spLocks noGrp="1"/>
          </p:cNvSpPr>
          <p:nvPr>
            <p:ph type="title"/>
          </p:nvPr>
        </p:nvSpPr>
        <p:spPr/>
        <p:txBody>
          <a:bodyPr/>
          <a:lstStyle/>
          <a:p>
            <a:r>
              <a:rPr lang="en-US" dirty="0"/>
              <a:t>Puzzles </a:t>
            </a:r>
            <a:br>
              <a:rPr lang="en-US" dirty="0"/>
            </a:br>
            <a:r>
              <a:rPr lang="en-US" dirty="0">
                <a:solidFill>
                  <a:srgbClr val="575757"/>
                </a:solidFill>
              </a:rPr>
              <a:t>Five pieces</a:t>
            </a:r>
          </a:p>
        </p:txBody>
      </p:sp>
      <p:grpSp>
        <p:nvGrpSpPr>
          <p:cNvPr id="698371" name="Group 3"/>
          <p:cNvGrpSpPr>
            <a:grpSpLocks/>
          </p:cNvGrpSpPr>
          <p:nvPr/>
        </p:nvGrpSpPr>
        <p:grpSpPr bwMode="auto">
          <a:xfrm>
            <a:off x="4881204" y="1268731"/>
            <a:ext cx="2993231" cy="2574131"/>
            <a:chOff x="1489" y="1070"/>
            <a:chExt cx="3261" cy="2590"/>
          </a:xfrm>
        </p:grpSpPr>
        <p:sp>
          <p:nvSpPr>
            <p:cNvPr id="698373" name="Freeform 4"/>
            <p:cNvSpPr>
              <a:spLocks/>
            </p:cNvSpPr>
            <p:nvPr/>
          </p:nvSpPr>
          <p:spPr bwMode="auto">
            <a:xfrm>
              <a:off x="3123" y="1070"/>
              <a:ext cx="1627" cy="1584"/>
            </a:xfrm>
            <a:custGeom>
              <a:avLst/>
              <a:gdLst>
                <a:gd name="T0" fmla="*/ 0 w 1627"/>
                <a:gd name="T1" fmla="*/ 0 h 1584"/>
                <a:gd name="T2" fmla="*/ 1627 w 1627"/>
                <a:gd name="T3" fmla="*/ 1265 h 1584"/>
                <a:gd name="T4" fmla="*/ 1480 w 1627"/>
                <a:gd name="T5" fmla="*/ 1276 h 1584"/>
                <a:gd name="T6" fmla="*/ 1476 w 1627"/>
                <a:gd name="T7" fmla="*/ 1304 h 1584"/>
                <a:gd name="T8" fmla="*/ 1483 w 1627"/>
                <a:gd name="T9" fmla="*/ 1339 h 1584"/>
                <a:gd name="T10" fmla="*/ 1494 w 1627"/>
                <a:gd name="T11" fmla="*/ 1382 h 1584"/>
                <a:gd name="T12" fmla="*/ 1502 w 1627"/>
                <a:gd name="T13" fmla="*/ 1423 h 1584"/>
                <a:gd name="T14" fmla="*/ 1499 w 1627"/>
                <a:gd name="T15" fmla="*/ 1461 h 1584"/>
                <a:gd name="T16" fmla="*/ 1487 w 1627"/>
                <a:gd name="T17" fmla="*/ 1499 h 1584"/>
                <a:gd name="T18" fmla="*/ 1461 w 1627"/>
                <a:gd name="T19" fmla="*/ 1530 h 1584"/>
                <a:gd name="T20" fmla="*/ 1431 w 1627"/>
                <a:gd name="T21" fmla="*/ 1555 h 1584"/>
                <a:gd name="T22" fmla="*/ 1394 w 1627"/>
                <a:gd name="T23" fmla="*/ 1572 h 1584"/>
                <a:gd name="T24" fmla="*/ 1348 w 1627"/>
                <a:gd name="T25" fmla="*/ 1582 h 1584"/>
                <a:gd name="T26" fmla="*/ 1307 w 1627"/>
                <a:gd name="T27" fmla="*/ 1584 h 1584"/>
                <a:gd name="T28" fmla="*/ 1271 w 1627"/>
                <a:gd name="T29" fmla="*/ 1579 h 1584"/>
                <a:gd name="T30" fmla="*/ 1235 w 1627"/>
                <a:gd name="T31" fmla="*/ 1568 h 1584"/>
                <a:gd name="T32" fmla="*/ 1205 w 1627"/>
                <a:gd name="T33" fmla="*/ 1548 h 1584"/>
                <a:gd name="T34" fmla="*/ 1177 w 1627"/>
                <a:gd name="T35" fmla="*/ 1519 h 1584"/>
                <a:gd name="T36" fmla="*/ 1154 w 1627"/>
                <a:gd name="T37" fmla="*/ 1486 h 1584"/>
                <a:gd name="T38" fmla="*/ 1142 w 1627"/>
                <a:gd name="T39" fmla="*/ 1441 h 1584"/>
                <a:gd name="T40" fmla="*/ 1147 w 1627"/>
                <a:gd name="T41" fmla="*/ 1396 h 1584"/>
                <a:gd name="T42" fmla="*/ 1159 w 1627"/>
                <a:gd name="T43" fmla="*/ 1351 h 1584"/>
                <a:gd name="T44" fmla="*/ 1168 w 1627"/>
                <a:gd name="T45" fmla="*/ 1306 h 1584"/>
                <a:gd name="T46" fmla="*/ 1167 w 1627"/>
                <a:gd name="T47" fmla="*/ 1284 h 1584"/>
                <a:gd name="T48" fmla="*/ 892 w 1627"/>
                <a:gd name="T49" fmla="*/ 1273 h 1584"/>
                <a:gd name="T50" fmla="*/ 895 w 1627"/>
                <a:gd name="T51" fmla="*/ 1198 h 1584"/>
                <a:gd name="T52" fmla="*/ 889 w 1627"/>
                <a:gd name="T53" fmla="*/ 1149 h 1584"/>
                <a:gd name="T54" fmla="*/ 878 w 1627"/>
                <a:gd name="T55" fmla="*/ 1119 h 1584"/>
                <a:gd name="T56" fmla="*/ 855 w 1627"/>
                <a:gd name="T57" fmla="*/ 1095 h 1584"/>
                <a:gd name="T58" fmla="*/ 824 w 1627"/>
                <a:gd name="T59" fmla="*/ 1080 h 1584"/>
                <a:gd name="T60" fmla="*/ 786 w 1627"/>
                <a:gd name="T61" fmla="*/ 1075 h 1584"/>
                <a:gd name="T62" fmla="*/ 731 w 1627"/>
                <a:gd name="T63" fmla="*/ 1078 h 1584"/>
                <a:gd name="T64" fmla="*/ 679 w 1627"/>
                <a:gd name="T65" fmla="*/ 1082 h 1584"/>
                <a:gd name="T66" fmla="*/ 625 w 1627"/>
                <a:gd name="T67" fmla="*/ 1082 h 1584"/>
                <a:gd name="T68" fmla="*/ 571 w 1627"/>
                <a:gd name="T69" fmla="*/ 1073 h 1584"/>
                <a:gd name="T70" fmla="*/ 530 w 1627"/>
                <a:gd name="T71" fmla="*/ 1049 h 1584"/>
                <a:gd name="T72" fmla="*/ 506 w 1627"/>
                <a:gd name="T73" fmla="*/ 1016 h 1584"/>
                <a:gd name="T74" fmla="*/ 496 w 1627"/>
                <a:gd name="T75" fmla="*/ 972 h 1584"/>
                <a:gd name="T76" fmla="*/ 498 w 1627"/>
                <a:gd name="T77" fmla="*/ 923 h 1584"/>
                <a:gd name="T78" fmla="*/ 491 w 1627"/>
                <a:gd name="T79" fmla="*/ 878 h 1584"/>
                <a:gd name="T80" fmla="*/ 480 w 1627"/>
                <a:gd name="T81" fmla="*/ 849 h 1584"/>
                <a:gd name="T82" fmla="*/ 463 w 1627"/>
                <a:gd name="T83" fmla="*/ 831 h 1584"/>
                <a:gd name="T84" fmla="*/ 423 w 1627"/>
                <a:gd name="T85" fmla="*/ 813 h 1584"/>
                <a:gd name="T86" fmla="*/ 371 w 1627"/>
                <a:gd name="T87" fmla="*/ 799 h 1584"/>
                <a:gd name="T88" fmla="*/ 313 w 1627"/>
                <a:gd name="T89" fmla="*/ 789 h 1584"/>
                <a:gd name="T90" fmla="*/ 269 w 1627"/>
                <a:gd name="T91" fmla="*/ 775 h 1584"/>
                <a:gd name="T92" fmla="*/ 231 w 1627"/>
                <a:gd name="T93" fmla="*/ 753 h 1584"/>
                <a:gd name="T94" fmla="*/ 200 w 1627"/>
                <a:gd name="T95" fmla="*/ 724 h 1584"/>
                <a:gd name="T96" fmla="*/ 180 w 1627"/>
                <a:gd name="T97" fmla="*/ 687 h 1584"/>
                <a:gd name="T98" fmla="*/ 177 w 1627"/>
                <a:gd name="T99" fmla="*/ 646 h 1584"/>
                <a:gd name="T100" fmla="*/ 189 w 1627"/>
                <a:gd name="T101" fmla="*/ 601 h 1584"/>
                <a:gd name="T102" fmla="*/ 199 w 1627"/>
                <a:gd name="T103" fmla="*/ 550 h 1584"/>
                <a:gd name="T104" fmla="*/ 207 w 1627"/>
                <a:gd name="T105" fmla="*/ 502 h 1584"/>
                <a:gd name="T106" fmla="*/ 199 w 1627"/>
                <a:gd name="T107" fmla="*/ 454 h 1584"/>
                <a:gd name="T108" fmla="*/ 179 w 1627"/>
                <a:gd name="T109" fmla="*/ 410 h 1584"/>
                <a:gd name="T110" fmla="*/ 159 w 1627"/>
                <a:gd name="T111" fmla="*/ 384 h 1584"/>
                <a:gd name="T112" fmla="*/ 134 w 1627"/>
                <a:gd name="T113" fmla="*/ 360 h 1584"/>
                <a:gd name="T114" fmla="*/ 104 w 1627"/>
                <a:gd name="T115" fmla="*/ 343 h 1584"/>
                <a:gd name="T116" fmla="*/ 66 w 1627"/>
                <a:gd name="T117" fmla="*/ 331 h 1584"/>
                <a:gd name="T118" fmla="*/ 21 w 1627"/>
                <a:gd name="T119" fmla="*/ 330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7"/>
                <a:gd name="T181" fmla="*/ 0 h 1584"/>
                <a:gd name="T182" fmla="*/ 1627 w 1627"/>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7" h="1584">
                  <a:moveTo>
                    <a:pt x="0" y="330"/>
                  </a:moveTo>
                  <a:lnTo>
                    <a:pt x="0" y="0"/>
                  </a:lnTo>
                  <a:lnTo>
                    <a:pt x="1626" y="0"/>
                  </a:lnTo>
                  <a:lnTo>
                    <a:pt x="1627" y="1265"/>
                  </a:lnTo>
                  <a:lnTo>
                    <a:pt x="1486" y="1265"/>
                  </a:lnTo>
                  <a:lnTo>
                    <a:pt x="1480" y="1276"/>
                  </a:lnTo>
                  <a:lnTo>
                    <a:pt x="1476" y="1291"/>
                  </a:lnTo>
                  <a:lnTo>
                    <a:pt x="1476" y="1304"/>
                  </a:lnTo>
                  <a:lnTo>
                    <a:pt x="1478" y="1320"/>
                  </a:lnTo>
                  <a:lnTo>
                    <a:pt x="1483" y="1339"/>
                  </a:lnTo>
                  <a:lnTo>
                    <a:pt x="1489" y="1365"/>
                  </a:lnTo>
                  <a:lnTo>
                    <a:pt x="1494" y="1382"/>
                  </a:lnTo>
                  <a:lnTo>
                    <a:pt x="1499" y="1403"/>
                  </a:lnTo>
                  <a:lnTo>
                    <a:pt x="1502" y="1423"/>
                  </a:lnTo>
                  <a:lnTo>
                    <a:pt x="1502" y="1442"/>
                  </a:lnTo>
                  <a:lnTo>
                    <a:pt x="1499" y="1461"/>
                  </a:lnTo>
                  <a:lnTo>
                    <a:pt x="1494" y="1481"/>
                  </a:lnTo>
                  <a:lnTo>
                    <a:pt x="1487" y="1499"/>
                  </a:lnTo>
                  <a:lnTo>
                    <a:pt x="1476" y="1513"/>
                  </a:lnTo>
                  <a:lnTo>
                    <a:pt x="1461" y="1530"/>
                  </a:lnTo>
                  <a:lnTo>
                    <a:pt x="1445" y="1543"/>
                  </a:lnTo>
                  <a:lnTo>
                    <a:pt x="1431" y="1555"/>
                  </a:lnTo>
                  <a:lnTo>
                    <a:pt x="1414" y="1565"/>
                  </a:lnTo>
                  <a:lnTo>
                    <a:pt x="1394" y="1572"/>
                  </a:lnTo>
                  <a:lnTo>
                    <a:pt x="1370" y="1579"/>
                  </a:lnTo>
                  <a:lnTo>
                    <a:pt x="1348" y="1582"/>
                  </a:lnTo>
                  <a:lnTo>
                    <a:pt x="1328" y="1584"/>
                  </a:lnTo>
                  <a:lnTo>
                    <a:pt x="1307" y="1584"/>
                  </a:lnTo>
                  <a:lnTo>
                    <a:pt x="1287" y="1582"/>
                  </a:lnTo>
                  <a:lnTo>
                    <a:pt x="1271" y="1579"/>
                  </a:lnTo>
                  <a:lnTo>
                    <a:pt x="1253" y="1574"/>
                  </a:lnTo>
                  <a:lnTo>
                    <a:pt x="1235" y="1568"/>
                  </a:lnTo>
                  <a:lnTo>
                    <a:pt x="1221" y="1560"/>
                  </a:lnTo>
                  <a:lnTo>
                    <a:pt x="1205" y="1548"/>
                  </a:lnTo>
                  <a:lnTo>
                    <a:pt x="1191" y="1534"/>
                  </a:lnTo>
                  <a:lnTo>
                    <a:pt x="1177" y="1519"/>
                  </a:lnTo>
                  <a:lnTo>
                    <a:pt x="1164" y="1503"/>
                  </a:lnTo>
                  <a:lnTo>
                    <a:pt x="1154" y="1486"/>
                  </a:lnTo>
                  <a:lnTo>
                    <a:pt x="1147" y="1465"/>
                  </a:lnTo>
                  <a:lnTo>
                    <a:pt x="1142" y="1441"/>
                  </a:lnTo>
                  <a:lnTo>
                    <a:pt x="1142" y="1418"/>
                  </a:lnTo>
                  <a:lnTo>
                    <a:pt x="1147" y="1396"/>
                  </a:lnTo>
                  <a:lnTo>
                    <a:pt x="1153" y="1373"/>
                  </a:lnTo>
                  <a:lnTo>
                    <a:pt x="1159" y="1351"/>
                  </a:lnTo>
                  <a:lnTo>
                    <a:pt x="1166" y="1325"/>
                  </a:lnTo>
                  <a:lnTo>
                    <a:pt x="1168" y="1306"/>
                  </a:lnTo>
                  <a:lnTo>
                    <a:pt x="1168" y="1294"/>
                  </a:lnTo>
                  <a:lnTo>
                    <a:pt x="1167" y="1284"/>
                  </a:lnTo>
                  <a:lnTo>
                    <a:pt x="1163" y="1273"/>
                  </a:lnTo>
                  <a:lnTo>
                    <a:pt x="892" y="1273"/>
                  </a:lnTo>
                  <a:lnTo>
                    <a:pt x="896" y="1225"/>
                  </a:lnTo>
                  <a:lnTo>
                    <a:pt x="895" y="1198"/>
                  </a:lnTo>
                  <a:lnTo>
                    <a:pt x="892" y="1173"/>
                  </a:lnTo>
                  <a:lnTo>
                    <a:pt x="889" y="1149"/>
                  </a:lnTo>
                  <a:lnTo>
                    <a:pt x="885" y="1133"/>
                  </a:lnTo>
                  <a:lnTo>
                    <a:pt x="878" y="1119"/>
                  </a:lnTo>
                  <a:lnTo>
                    <a:pt x="869" y="1106"/>
                  </a:lnTo>
                  <a:lnTo>
                    <a:pt x="855" y="1095"/>
                  </a:lnTo>
                  <a:lnTo>
                    <a:pt x="839" y="1085"/>
                  </a:lnTo>
                  <a:lnTo>
                    <a:pt x="824" y="1080"/>
                  </a:lnTo>
                  <a:lnTo>
                    <a:pt x="810" y="1077"/>
                  </a:lnTo>
                  <a:lnTo>
                    <a:pt x="786" y="1075"/>
                  </a:lnTo>
                  <a:lnTo>
                    <a:pt x="758" y="1075"/>
                  </a:lnTo>
                  <a:lnTo>
                    <a:pt x="731" y="1078"/>
                  </a:lnTo>
                  <a:lnTo>
                    <a:pt x="701" y="1080"/>
                  </a:lnTo>
                  <a:lnTo>
                    <a:pt x="679" y="1082"/>
                  </a:lnTo>
                  <a:lnTo>
                    <a:pt x="649" y="1084"/>
                  </a:lnTo>
                  <a:lnTo>
                    <a:pt x="625" y="1082"/>
                  </a:lnTo>
                  <a:lnTo>
                    <a:pt x="604" y="1080"/>
                  </a:lnTo>
                  <a:lnTo>
                    <a:pt x="571" y="1073"/>
                  </a:lnTo>
                  <a:lnTo>
                    <a:pt x="550" y="1063"/>
                  </a:lnTo>
                  <a:lnTo>
                    <a:pt x="530" y="1049"/>
                  </a:lnTo>
                  <a:lnTo>
                    <a:pt x="518" y="1033"/>
                  </a:lnTo>
                  <a:lnTo>
                    <a:pt x="506" y="1016"/>
                  </a:lnTo>
                  <a:lnTo>
                    <a:pt x="498" y="995"/>
                  </a:lnTo>
                  <a:lnTo>
                    <a:pt x="496" y="972"/>
                  </a:lnTo>
                  <a:lnTo>
                    <a:pt x="496" y="944"/>
                  </a:lnTo>
                  <a:lnTo>
                    <a:pt x="498" y="923"/>
                  </a:lnTo>
                  <a:lnTo>
                    <a:pt x="496" y="902"/>
                  </a:lnTo>
                  <a:lnTo>
                    <a:pt x="491" y="878"/>
                  </a:lnTo>
                  <a:lnTo>
                    <a:pt x="487" y="864"/>
                  </a:lnTo>
                  <a:lnTo>
                    <a:pt x="480" y="849"/>
                  </a:lnTo>
                  <a:lnTo>
                    <a:pt x="471" y="840"/>
                  </a:lnTo>
                  <a:lnTo>
                    <a:pt x="463" y="831"/>
                  </a:lnTo>
                  <a:lnTo>
                    <a:pt x="444" y="823"/>
                  </a:lnTo>
                  <a:lnTo>
                    <a:pt x="423" y="813"/>
                  </a:lnTo>
                  <a:lnTo>
                    <a:pt x="399" y="806"/>
                  </a:lnTo>
                  <a:lnTo>
                    <a:pt x="371" y="799"/>
                  </a:lnTo>
                  <a:lnTo>
                    <a:pt x="343" y="793"/>
                  </a:lnTo>
                  <a:lnTo>
                    <a:pt x="313" y="789"/>
                  </a:lnTo>
                  <a:lnTo>
                    <a:pt x="292" y="782"/>
                  </a:lnTo>
                  <a:lnTo>
                    <a:pt x="269" y="775"/>
                  </a:lnTo>
                  <a:lnTo>
                    <a:pt x="247" y="766"/>
                  </a:lnTo>
                  <a:lnTo>
                    <a:pt x="231" y="753"/>
                  </a:lnTo>
                  <a:lnTo>
                    <a:pt x="213" y="738"/>
                  </a:lnTo>
                  <a:lnTo>
                    <a:pt x="200" y="724"/>
                  </a:lnTo>
                  <a:lnTo>
                    <a:pt x="189" y="707"/>
                  </a:lnTo>
                  <a:lnTo>
                    <a:pt x="180" y="687"/>
                  </a:lnTo>
                  <a:lnTo>
                    <a:pt x="177" y="666"/>
                  </a:lnTo>
                  <a:lnTo>
                    <a:pt x="177" y="646"/>
                  </a:lnTo>
                  <a:lnTo>
                    <a:pt x="182" y="628"/>
                  </a:lnTo>
                  <a:lnTo>
                    <a:pt x="189" y="601"/>
                  </a:lnTo>
                  <a:lnTo>
                    <a:pt x="196" y="574"/>
                  </a:lnTo>
                  <a:lnTo>
                    <a:pt x="199" y="550"/>
                  </a:lnTo>
                  <a:lnTo>
                    <a:pt x="204" y="526"/>
                  </a:lnTo>
                  <a:lnTo>
                    <a:pt x="207" y="502"/>
                  </a:lnTo>
                  <a:lnTo>
                    <a:pt x="204" y="477"/>
                  </a:lnTo>
                  <a:lnTo>
                    <a:pt x="199" y="454"/>
                  </a:lnTo>
                  <a:lnTo>
                    <a:pt x="190" y="432"/>
                  </a:lnTo>
                  <a:lnTo>
                    <a:pt x="179" y="410"/>
                  </a:lnTo>
                  <a:lnTo>
                    <a:pt x="166" y="393"/>
                  </a:lnTo>
                  <a:lnTo>
                    <a:pt x="159" y="384"/>
                  </a:lnTo>
                  <a:lnTo>
                    <a:pt x="146" y="371"/>
                  </a:lnTo>
                  <a:lnTo>
                    <a:pt x="134" y="360"/>
                  </a:lnTo>
                  <a:lnTo>
                    <a:pt x="121" y="351"/>
                  </a:lnTo>
                  <a:lnTo>
                    <a:pt x="104" y="343"/>
                  </a:lnTo>
                  <a:lnTo>
                    <a:pt x="87" y="337"/>
                  </a:lnTo>
                  <a:lnTo>
                    <a:pt x="66" y="331"/>
                  </a:lnTo>
                  <a:lnTo>
                    <a:pt x="42" y="330"/>
                  </a:lnTo>
                  <a:lnTo>
                    <a:pt x="21" y="330"/>
                  </a:lnTo>
                  <a:lnTo>
                    <a:pt x="0" y="330"/>
                  </a:lnTo>
                  <a:close/>
                </a:path>
              </a:pathLst>
            </a:custGeom>
            <a:solidFill>
              <a:srgbClr val="DCDCDC"/>
            </a:solid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6" name="Freeform 5"/>
            <p:cNvSpPr>
              <a:spLocks/>
            </p:cNvSpPr>
            <p:nvPr/>
          </p:nvSpPr>
          <p:spPr bwMode="auto">
            <a:xfrm>
              <a:off x="3116" y="2333"/>
              <a:ext cx="1634" cy="1327"/>
            </a:xfrm>
            <a:custGeom>
              <a:avLst/>
              <a:gdLst>
                <a:gd name="T0" fmla="*/ 0 w 1634"/>
                <a:gd name="T1" fmla="*/ 1327 h 1327"/>
                <a:gd name="T2" fmla="*/ 1633 w 1634"/>
                <a:gd name="T3" fmla="*/ 0 h 1327"/>
                <a:gd name="T4" fmla="*/ 1480 w 1634"/>
                <a:gd name="T5" fmla="*/ 26 h 1327"/>
                <a:gd name="T6" fmla="*/ 1485 w 1634"/>
                <a:gd name="T7" fmla="*/ 69 h 1327"/>
                <a:gd name="T8" fmla="*/ 1501 w 1634"/>
                <a:gd name="T9" fmla="*/ 129 h 1327"/>
                <a:gd name="T10" fmla="*/ 1506 w 1634"/>
                <a:gd name="T11" fmla="*/ 177 h 1327"/>
                <a:gd name="T12" fmla="*/ 1496 w 1634"/>
                <a:gd name="T13" fmla="*/ 226 h 1327"/>
                <a:gd name="T14" fmla="*/ 1462 w 1634"/>
                <a:gd name="T15" fmla="*/ 268 h 1327"/>
                <a:gd name="T16" fmla="*/ 1420 w 1634"/>
                <a:gd name="T17" fmla="*/ 299 h 1327"/>
                <a:gd name="T18" fmla="*/ 1369 w 1634"/>
                <a:gd name="T19" fmla="*/ 315 h 1327"/>
                <a:gd name="T20" fmla="*/ 1295 w 1634"/>
                <a:gd name="T21" fmla="*/ 314 h 1327"/>
                <a:gd name="T22" fmla="*/ 1247 w 1634"/>
                <a:gd name="T23" fmla="*/ 304 h 1327"/>
                <a:gd name="T24" fmla="*/ 1199 w 1634"/>
                <a:gd name="T25" fmla="*/ 270 h 1327"/>
                <a:gd name="T26" fmla="*/ 1167 w 1634"/>
                <a:gd name="T27" fmla="*/ 229 h 1327"/>
                <a:gd name="T28" fmla="*/ 1153 w 1634"/>
                <a:gd name="T29" fmla="*/ 185 h 1327"/>
                <a:gd name="T30" fmla="*/ 1156 w 1634"/>
                <a:gd name="T31" fmla="*/ 137 h 1327"/>
                <a:gd name="T32" fmla="*/ 1167 w 1634"/>
                <a:gd name="T33" fmla="*/ 93 h 1327"/>
                <a:gd name="T34" fmla="*/ 1178 w 1634"/>
                <a:gd name="T35" fmla="*/ 48 h 1327"/>
                <a:gd name="T36" fmla="*/ 1173 w 1634"/>
                <a:gd name="T37" fmla="*/ 6 h 1327"/>
                <a:gd name="T38" fmla="*/ 902 w 1634"/>
                <a:gd name="T39" fmla="*/ 52 h 1327"/>
                <a:gd name="T40" fmla="*/ 897 w 1634"/>
                <a:gd name="T41" fmla="*/ 112 h 1327"/>
                <a:gd name="T42" fmla="*/ 894 w 1634"/>
                <a:gd name="T43" fmla="*/ 161 h 1327"/>
                <a:gd name="T44" fmla="*/ 882 w 1634"/>
                <a:gd name="T45" fmla="*/ 203 h 1327"/>
                <a:gd name="T46" fmla="*/ 858 w 1634"/>
                <a:gd name="T47" fmla="*/ 232 h 1327"/>
                <a:gd name="T48" fmla="*/ 824 w 1634"/>
                <a:gd name="T49" fmla="*/ 247 h 1327"/>
                <a:gd name="T50" fmla="*/ 786 w 1634"/>
                <a:gd name="T51" fmla="*/ 251 h 1327"/>
                <a:gd name="T52" fmla="*/ 739 w 1634"/>
                <a:gd name="T53" fmla="*/ 249 h 1327"/>
                <a:gd name="T54" fmla="*/ 697 w 1634"/>
                <a:gd name="T55" fmla="*/ 246 h 1327"/>
                <a:gd name="T56" fmla="*/ 643 w 1634"/>
                <a:gd name="T57" fmla="*/ 243 h 1327"/>
                <a:gd name="T58" fmla="*/ 595 w 1634"/>
                <a:gd name="T59" fmla="*/ 249 h 1327"/>
                <a:gd name="T60" fmla="*/ 551 w 1634"/>
                <a:gd name="T61" fmla="*/ 266 h 1327"/>
                <a:gd name="T62" fmla="*/ 519 w 1634"/>
                <a:gd name="T63" fmla="*/ 295 h 1327"/>
                <a:gd name="T64" fmla="*/ 501 w 1634"/>
                <a:gd name="T65" fmla="*/ 332 h 1327"/>
                <a:gd name="T66" fmla="*/ 501 w 1634"/>
                <a:gd name="T67" fmla="*/ 374 h 1327"/>
                <a:gd name="T68" fmla="*/ 501 w 1634"/>
                <a:gd name="T69" fmla="*/ 421 h 1327"/>
                <a:gd name="T70" fmla="*/ 491 w 1634"/>
                <a:gd name="T71" fmla="*/ 459 h 1327"/>
                <a:gd name="T72" fmla="*/ 471 w 1634"/>
                <a:gd name="T73" fmla="*/ 490 h 1327"/>
                <a:gd name="T74" fmla="*/ 430 w 1634"/>
                <a:gd name="T75" fmla="*/ 511 h 1327"/>
                <a:gd name="T76" fmla="*/ 386 w 1634"/>
                <a:gd name="T77" fmla="*/ 524 h 1327"/>
                <a:gd name="T78" fmla="*/ 334 w 1634"/>
                <a:gd name="T79" fmla="*/ 535 h 1327"/>
                <a:gd name="T80" fmla="*/ 287 w 1634"/>
                <a:gd name="T81" fmla="*/ 547 h 1327"/>
                <a:gd name="T82" fmla="*/ 248 w 1634"/>
                <a:gd name="T83" fmla="*/ 562 h 1327"/>
                <a:gd name="T84" fmla="*/ 218 w 1634"/>
                <a:gd name="T85" fmla="*/ 585 h 1327"/>
                <a:gd name="T86" fmla="*/ 193 w 1634"/>
                <a:gd name="T87" fmla="*/ 620 h 1327"/>
                <a:gd name="T88" fmla="*/ 180 w 1634"/>
                <a:gd name="T89" fmla="*/ 664 h 1327"/>
                <a:gd name="T90" fmla="*/ 186 w 1634"/>
                <a:gd name="T91" fmla="*/ 709 h 1327"/>
                <a:gd name="T92" fmla="*/ 200 w 1634"/>
                <a:gd name="T93" fmla="*/ 765 h 1327"/>
                <a:gd name="T94" fmla="*/ 208 w 1634"/>
                <a:gd name="T95" fmla="*/ 813 h 1327"/>
                <a:gd name="T96" fmla="*/ 206 w 1634"/>
                <a:gd name="T97" fmla="*/ 860 h 1327"/>
                <a:gd name="T98" fmla="*/ 193 w 1634"/>
                <a:gd name="T99" fmla="*/ 902 h 1327"/>
                <a:gd name="T100" fmla="*/ 173 w 1634"/>
                <a:gd name="T101" fmla="*/ 945 h 1327"/>
                <a:gd name="T102" fmla="*/ 141 w 1634"/>
                <a:gd name="T103" fmla="*/ 991 h 1327"/>
                <a:gd name="T104" fmla="*/ 108 w 1634"/>
                <a:gd name="T105" fmla="*/ 1021 h 1327"/>
                <a:gd name="T106" fmla="*/ 74 w 1634"/>
                <a:gd name="T107" fmla="*/ 1039 h 1327"/>
                <a:gd name="T108" fmla="*/ 23 w 1634"/>
                <a:gd name="T109" fmla="*/ 1049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4"/>
                <a:gd name="T166" fmla="*/ 0 h 1327"/>
                <a:gd name="T167" fmla="*/ 1634 w 1634"/>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4" h="1327">
                  <a:moveTo>
                    <a:pt x="0" y="1049"/>
                  </a:moveTo>
                  <a:lnTo>
                    <a:pt x="0" y="1327"/>
                  </a:lnTo>
                  <a:lnTo>
                    <a:pt x="1634" y="1327"/>
                  </a:lnTo>
                  <a:lnTo>
                    <a:pt x="1633" y="0"/>
                  </a:lnTo>
                  <a:lnTo>
                    <a:pt x="1487" y="0"/>
                  </a:lnTo>
                  <a:lnTo>
                    <a:pt x="1480" y="26"/>
                  </a:lnTo>
                  <a:lnTo>
                    <a:pt x="1480" y="44"/>
                  </a:lnTo>
                  <a:lnTo>
                    <a:pt x="1485" y="69"/>
                  </a:lnTo>
                  <a:lnTo>
                    <a:pt x="1493" y="96"/>
                  </a:lnTo>
                  <a:lnTo>
                    <a:pt x="1501" y="129"/>
                  </a:lnTo>
                  <a:lnTo>
                    <a:pt x="1506" y="154"/>
                  </a:lnTo>
                  <a:lnTo>
                    <a:pt x="1506" y="177"/>
                  </a:lnTo>
                  <a:lnTo>
                    <a:pt x="1503" y="202"/>
                  </a:lnTo>
                  <a:lnTo>
                    <a:pt x="1496" y="226"/>
                  </a:lnTo>
                  <a:lnTo>
                    <a:pt x="1480" y="249"/>
                  </a:lnTo>
                  <a:lnTo>
                    <a:pt x="1462" y="268"/>
                  </a:lnTo>
                  <a:lnTo>
                    <a:pt x="1442" y="287"/>
                  </a:lnTo>
                  <a:lnTo>
                    <a:pt x="1420" y="299"/>
                  </a:lnTo>
                  <a:lnTo>
                    <a:pt x="1393" y="309"/>
                  </a:lnTo>
                  <a:lnTo>
                    <a:pt x="1369" y="315"/>
                  </a:lnTo>
                  <a:lnTo>
                    <a:pt x="1335" y="316"/>
                  </a:lnTo>
                  <a:lnTo>
                    <a:pt x="1295" y="314"/>
                  </a:lnTo>
                  <a:lnTo>
                    <a:pt x="1270" y="309"/>
                  </a:lnTo>
                  <a:lnTo>
                    <a:pt x="1247" y="304"/>
                  </a:lnTo>
                  <a:lnTo>
                    <a:pt x="1226" y="291"/>
                  </a:lnTo>
                  <a:lnTo>
                    <a:pt x="1199" y="270"/>
                  </a:lnTo>
                  <a:lnTo>
                    <a:pt x="1182" y="250"/>
                  </a:lnTo>
                  <a:lnTo>
                    <a:pt x="1167" y="229"/>
                  </a:lnTo>
                  <a:lnTo>
                    <a:pt x="1158" y="206"/>
                  </a:lnTo>
                  <a:lnTo>
                    <a:pt x="1153" y="185"/>
                  </a:lnTo>
                  <a:lnTo>
                    <a:pt x="1153" y="161"/>
                  </a:lnTo>
                  <a:lnTo>
                    <a:pt x="1156" y="137"/>
                  </a:lnTo>
                  <a:lnTo>
                    <a:pt x="1161" y="115"/>
                  </a:lnTo>
                  <a:lnTo>
                    <a:pt x="1167" y="93"/>
                  </a:lnTo>
                  <a:lnTo>
                    <a:pt x="1174" y="71"/>
                  </a:lnTo>
                  <a:lnTo>
                    <a:pt x="1178" y="48"/>
                  </a:lnTo>
                  <a:lnTo>
                    <a:pt x="1178" y="28"/>
                  </a:lnTo>
                  <a:lnTo>
                    <a:pt x="1173" y="6"/>
                  </a:lnTo>
                  <a:lnTo>
                    <a:pt x="899" y="6"/>
                  </a:lnTo>
                  <a:lnTo>
                    <a:pt x="902" y="52"/>
                  </a:lnTo>
                  <a:lnTo>
                    <a:pt x="899" y="85"/>
                  </a:lnTo>
                  <a:lnTo>
                    <a:pt x="897" y="112"/>
                  </a:lnTo>
                  <a:lnTo>
                    <a:pt x="897" y="136"/>
                  </a:lnTo>
                  <a:lnTo>
                    <a:pt x="894" y="161"/>
                  </a:lnTo>
                  <a:lnTo>
                    <a:pt x="889" y="187"/>
                  </a:lnTo>
                  <a:lnTo>
                    <a:pt x="882" y="203"/>
                  </a:lnTo>
                  <a:lnTo>
                    <a:pt x="872" y="219"/>
                  </a:lnTo>
                  <a:lnTo>
                    <a:pt x="858" y="232"/>
                  </a:lnTo>
                  <a:lnTo>
                    <a:pt x="842" y="242"/>
                  </a:lnTo>
                  <a:lnTo>
                    <a:pt x="824" y="247"/>
                  </a:lnTo>
                  <a:lnTo>
                    <a:pt x="804" y="250"/>
                  </a:lnTo>
                  <a:lnTo>
                    <a:pt x="786" y="251"/>
                  </a:lnTo>
                  <a:lnTo>
                    <a:pt x="762" y="251"/>
                  </a:lnTo>
                  <a:lnTo>
                    <a:pt x="739" y="249"/>
                  </a:lnTo>
                  <a:lnTo>
                    <a:pt x="721" y="247"/>
                  </a:lnTo>
                  <a:lnTo>
                    <a:pt x="697" y="246"/>
                  </a:lnTo>
                  <a:lnTo>
                    <a:pt x="671" y="243"/>
                  </a:lnTo>
                  <a:lnTo>
                    <a:pt x="643" y="243"/>
                  </a:lnTo>
                  <a:lnTo>
                    <a:pt x="619" y="246"/>
                  </a:lnTo>
                  <a:lnTo>
                    <a:pt x="595" y="249"/>
                  </a:lnTo>
                  <a:lnTo>
                    <a:pt x="570" y="256"/>
                  </a:lnTo>
                  <a:lnTo>
                    <a:pt x="551" y="266"/>
                  </a:lnTo>
                  <a:lnTo>
                    <a:pt x="532" y="278"/>
                  </a:lnTo>
                  <a:lnTo>
                    <a:pt x="519" y="295"/>
                  </a:lnTo>
                  <a:lnTo>
                    <a:pt x="506" y="314"/>
                  </a:lnTo>
                  <a:lnTo>
                    <a:pt x="501" y="332"/>
                  </a:lnTo>
                  <a:lnTo>
                    <a:pt x="498" y="353"/>
                  </a:lnTo>
                  <a:lnTo>
                    <a:pt x="501" y="374"/>
                  </a:lnTo>
                  <a:lnTo>
                    <a:pt x="502" y="397"/>
                  </a:lnTo>
                  <a:lnTo>
                    <a:pt x="501" y="421"/>
                  </a:lnTo>
                  <a:lnTo>
                    <a:pt x="496" y="439"/>
                  </a:lnTo>
                  <a:lnTo>
                    <a:pt x="491" y="459"/>
                  </a:lnTo>
                  <a:lnTo>
                    <a:pt x="482" y="477"/>
                  </a:lnTo>
                  <a:lnTo>
                    <a:pt x="471" y="490"/>
                  </a:lnTo>
                  <a:lnTo>
                    <a:pt x="453" y="503"/>
                  </a:lnTo>
                  <a:lnTo>
                    <a:pt x="430" y="511"/>
                  </a:lnTo>
                  <a:lnTo>
                    <a:pt x="407" y="518"/>
                  </a:lnTo>
                  <a:lnTo>
                    <a:pt x="386" y="524"/>
                  </a:lnTo>
                  <a:lnTo>
                    <a:pt x="364" y="530"/>
                  </a:lnTo>
                  <a:lnTo>
                    <a:pt x="334" y="535"/>
                  </a:lnTo>
                  <a:lnTo>
                    <a:pt x="311" y="540"/>
                  </a:lnTo>
                  <a:lnTo>
                    <a:pt x="287" y="547"/>
                  </a:lnTo>
                  <a:lnTo>
                    <a:pt x="268" y="554"/>
                  </a:lnTo>
                  <a:lnTo>
                    <a:pt x="248" y="562"/>
                  </a:lnTo>
                  <a:lnTo>
                    <a:pt x="232" y="573"/>
                  </a:lnTo>
                  <a:lnTo>
                    <a:pt x="218" y="585"/>
                  </a:lnTo>
                  <a:lnTo>
                    <a:pt x="203" y="603"/>
                  </a:lnTo>
                  <a:lnTo>
                    <a:pt x="193" y="620"/>
                  </a:lnTo>
                  <a:lnTo>
                    <a:pt x="184" y="640"/>
                  </a:lnTo>
                  <a:lnTo>
                    <a:pt x="180" y="664"/>
                  </a:lnTo>
                  <a:lnTo>
                    <a:pt x="183" y="686"/>
                  </a:lnTo>
                  <a:lnTo>
                    <a:pt x="186" y="709"/>
                  </a:lnTo>
                  <a:lnTo>
                    <a:pt x="193" y="736"/>
                  </a:lnTo>
                  <a:lnTo>
                    <a:pt x="200" y="765"/>
                  </a:lnTo>
                  <a:lnTo>
                    <a:pt x="206" y="792"/>
                  </a:lnTo>
                  <a:lnTo>
                    <a:pt x="208" y="813"/>
                  </a:lnTo>
                  <a:lnTo>
                    <a:pt x="208" y="833"/>
                  </a:lnTo>
                  <a:lnTo>
                    <a:pt x="206" y="860"/>
                  </a:lnTo>
                  <a:lnTo>
                    <a:pt x="199" y="883"/>
                  </a:lnTo>
                  <a:lnTo>
                    <a:pt x="193" y="902"/>
                  </a:lnTo>
                  <a:lnTo>
                    <a:pt x="184" y="921"/>
                  </a:lnTo>
                  <a:lnTo>
                    <a:pt x="173" y="945"/>
                  </a:lnTo>
                  <a:lnTo>
                    <a:pt x="158" y="972"/>
                  </a:lnTo>
                  <a:lnTo>
                    <a:pt x="141" y="991"/>
                  </a:lnTo>
                  <a:lnTo>
                    <a:pt x="124" y="1007"/>
                  </a:lnTo>
                  <a:lnTo>
                    <a:pt x="108" y="1021"/>
                  </a:lnTo>
                  <a:lnTo>
                    <a:pt x="91" y="1032"/>
                  </a:lnTo>
                  <a:lnTo>
                    <a:pt x="74" y="1039"/>
                  </a:lnTo>
                  <a:lnTo>
                    <a:pt x="50" y="1045"/>
                  </a:lnTo>
                  <a:lnTo>
                    <a:pt x="23" y="1049"/>
                  </a:lnTo>
                  <a:lnTo>
                    <a:pt x="0" y="1049"/>
                  </a:lnTo>
                  <a:close/>
                </a:path>
              </a:pathLst>
            </a:custGeom>
            <a:solidFill>
              <a:srgbClr val="B4B4B4"/>
            </a:solidFill>
            <a:ln w="12700">
              <a:solidFill>
                <a:schemeClr val="bg1"/>
              </a:solidFill>
              <a:round/>
              <a:headEnd/>
              <a:tailEnd/>
            </a:ln>
          </p:spPr>
          <p:txBody>
            <a:bodyPr/>
            <a:lstStyle/>
            <a:p>
              <a:pPr defTabSz="685800">
                <a:buClrTx/>
                <a:defRPr/>
              </a:pPr>
              <a:endParaRPr lang="en-US" sz="1350" kern="1200" dirty="0">
                <a:solidFill>
                  <a:prstClr val="black"/>
                </a:solidFill>
                <a:ea typeface="+mn-ea"/>
                <a:cs typeface="+mn-cs"/>
              </a:endParaRPr>
            </a:p>
          </p:txBody>
        </p:sp>
        <p:sp>
          <p:nvSpPr>
            <p:cNvPr id="7" name="Freeform 6"/>
            <p:cNvSpPr>
              <a:spLocks/>
            </p:cNvSpPr>
            <p:nvPr/>
          </p:nvSpPr>
          <p:spPr bwMode="auto">
            <a:xfrm>
              <a:off x="1489" y="2076"/>
              <a:ext cx="1627" cy="1584"/>
            </a:xfrm>
            <a:custGeom>
              <a:avLst/>
              <a:gdLst>
                <a:gd name="T0" fmla="*/ 1627 w 1628"/>
                <a:gd name="T1" fmla="*/ 1584 h 1584"/>
                <a:gd name="T2" fmla="*/ 0 w 1628"/>
                <a:gd name="T3" fmla="*/ 319 h 1584"/>
                <a:gd name="T4" fmla="*/ 147 w 1628"/>
                <a:gd name="T5" fmla="*/ 308 h 1584"/>
                <a:gd name="T6" fmla="*/ 151 w 1628"/>
                <a:gd name="T7" fmla="*/ 280 h 1584"/>
                <a:gd name="T8" fmla="*/ 144 w 1628"/>
                <a:gd name="T9" fmla="*/ 244 h 1584"/>
                <a:gd name="T10" fmla="*/ 133 w 1628"/>
                <a:gd name="T11" fmla="*/ 202 h 1584"/>
                <a:gd name="T12" fmla="*/ 126 w 1628"/>
                <a:gd name="T13" fmla="*/ 161 h 1584"/>
                <a:gd name="T14" fmla="*/ 127 w 1628"/>
                <a:gd name="T15" fmla="*/ 123 h 1584"/>
                <a:gd name="T16" fmla="*/ 140 w 1628"/>
                <a:gd name="T17" fmla="*/ 85 h 1584"/>
                <a:gd name="T18" fmla="*/ 166 w 1628"/>
                <a:gd name="T19" fmla="*/ 54 h 1584"/>
                <a:gd name="T20" fmla="*/ 196 w 1628"/>
                <a:gd name="T21" fmla="*/ 28 h 1584"/>
                <a:gd name="T22" fmla="*/ 233 w 1628"/>
                <a:gd name="T23" fmla="*/ 10 h 1584"/>
                <a:gd name="T24" fmla="*/ 279 w 1628"/>
                <a:gd name="T25" fmla="*/ 2 h 1584"/>
                <a:gd name="T26" fmla="*/ 320 w 1628"/>
                <a:gd name="T27" fmla="*/ 0 h 1584"/>
                <a:gd name="T28" fmla="*/ 356 w 1628"/>
                <a:gd name="T29" fmla="*/ 4 h 1584"/>
                <a:gd name="T30" fmla="*/ 392 w 1628"/>
                <a:gd name="T31" fmla="*/ 16 h 1584"/>
                <a:gd name="T32" fmla="*/ 422 w 1628"/>
                <a:gd name="T33" fmla="*/ 36 h 1584"/>
                <a:gd name="T34" fmla="*/ 450 w 1628"/>
                <a:gd name="T35" fmla="*/ 65 h 1584"/>
                <a:gd name="T36" fmla="*/ 473 w 1628"/>
                <a:gd name="T37" fmla="*/ 98 h 1584"/>
                <a:gd name="T38" fmla="*/ 485 w 1628"/>
                <a:gd name="T39" fmla="*/ 143 h 1584"/>
                <a:gd name="T40" fmla="*/ 480 w 1628"/>
                <a:gd name="T41" fmla="*/ 188 h 1584"/>
                <a:gd name="T42" fmla="*/ 469 w 1628"/>
                <a:gd name="T43" fmla="*/ 233 h 1584"/>
                <a:gd name="T44" fmla="*/ 457 w 1628"/>
                <a:gd name="T45" fmla="*/ 278 h 1584"/>
                <a:gd name="T46" fmla="*/ 460 w 1628"/>
                <a:gd name="T47" fmla="*/ 300 h 1584"/>
                <a:gd name="T48" fmla="*/ 734 w 1628"/>
                <a:gd name="T49" fmla="*/ 311 h 1584"/>
                <a:gd name="T50" fmla="*/ 727 w 1628"/>
                <a:gd name="T51" fmla="*/ 394 h 1584"/>
                <a:gd name="T52" fmla="*/ 730 w 1628"/>
                <a:gd name="T53" fmla="*/ 444 h 1584"/>
                <a:gd name="T54" fmla="*/ 737 w 1628"/>
                <a:gd name="T55" fmla="*/ 494 h 1584"/>
                <a:gd name="T56" fmla="*/ 755 w 1628"/>
                <a:gd name="T57" fmla="*/ 525 h 1584"/>
                <a:gd name="T58" fmla="*/ 785 w 1628"/>
                <a:gd name="T59" fmla="*/ 548 h 1584"/>
                <a:gd name="T60" fmla="*/ 820 w 1628"/>
                <a:gd name="T61" fmla="*/ 558 h 1584"/>
                <a:gd name="T62" fmla="*/ 863 w 1628"/>
                <a:gd name="T63" fmla="*/ 559 h 1584"/>
                <a:gd name="T64" fmla="*/ 904 w 1628"/>
                <a:gd name="T65" fmla="*/ 555 h 1584"/>
                <a:gd name="T66" fmla="*/ 955 w 1628"/>
                <a:gd name="T67" fmla="*/ 549 h 1584"/>
                <a:gd name="T68" fmla="*/ 1007 w 1628"/>
                <a:gd name="T69" fmla="*/ 552 h 1584"/>
                <a:gd name="T70" fmla="*/ 1055 w 1628"/>
                <a:gd name="T71" fmla="*/ 565 h 1584"/>
                <a:gd name="T72" fmla="*/ 1094 w 1628"/>
                <a:gd name="T73" fmla="*/ 588 h 1584"/>
                <a:gd name="T74" fmla="*/ 1118 w 1628"/>
                <a:gd name="T75" fmla="*/ 621 h 1584"/>
                <a:gd name="T76" fmla="*/ 1128 w 1628"/>
                <a:gd name="T77" fmla="*/ 661 h 1584"/>
                <a:gd name="T78" fmla="*/ 1124 w 1628"/>
                <a:gd name="T79" fmla="*/ 706 h 1584"/>
                <a:gd name="T80" fmla="*/ 1128 w 1628"/>
                <a:gd name="T81" fmla="*/ 749 h 1584"/>
                <a:gd name="T82" fmla="*/ 1144 w 1628"/>
                <a:gd name="T83" fmla="*/ 785 h 1584"/>
                <a:gd name="T84" fmla="*/ 1172 w 1628"/>
                <a:gd name="T85" fmla="*/ 811 h 1584"/>
                <a:gd name="T86" fmla="*/ 1219 w 1628"/>
                <a:gd name="T87" fmla="*/ 826 h 1584"/>
                <a:gd name="T88" fmla="*/ 1262 w 1628"/>
                <a:gd name="T89" fmla="*/ 837 h 1584"/>
                <a:gd name="T90" fmla="*/ 1315 w 1628"/>
                <a:gd name="T91" fmla="*/ 847 h 1584"/>
                <a:gd name="T92" fmla="*/ 1358 w 1628"/>
                <a:gd name="T93" fmla="*/ 861 h 1584"/>
                <a:gd name="T94" fmla="*/ 1394 w 1628"/>
                <a:gd name="T95" fmla="*/ 881 h 1584"/>
                <a:gd name="T96" fmla="*/ 1423 w 1628"/>
                <a:gd name="T97" fmla="*/ 911 h 1584"/>
                <a:gd name="T98" fmla="*/ 1442 w 1628"/>
                <a:gd name="T99" fmla="*/ 946 h 1584"/>
                <a:gd name="T100" fmla="*/ 1443 w 1628"/>
                <a:gd name="T101" fmla="*/ 996 h 1584"/>
                <a:gd name="T102" fmla="*/ 1433 w 1628"/>
                <a:gd name="T103" fmla="*/ 1044 h 1584"/>
                <a:gd name="T104" fmla="*/ 1419 w 1628"/>
                <a:gd name="T105" fmla="*/ 1100 h 1584"/>
                <a:gd name="T106" fmla="*/ 1416 w 1628"/>
                <a:gd name="T107" fmla="*/ 1141 h 1584"/>
                <a:gd name="T108" fmla="*/ 1426 w 1628"/>
                <a:gd name="T109" fmla="*/ 1190 h 1584"/>
                <a:gd name="T110" fmla="*/ 1444 w 1628"/>
                <a:gd name="T111" fmla="*/ 1224 h 1584"/>
                <a:gd name="T112" fmla="*/ 1474 w 1628"/>
                <a:gd name="T113" fmla="*/ 1261 h 1584"/>
                <a:gd name="T114" fmla="*/ 1514 w 1628"/>
                <a:gd name="T115" fmla="*/ 1289 h 1584"/>
                <a:gd name="T116" fmla="*/ 1555 w 1628"/>
                <a:gd name="T117" fmla="*/ 1302 h 1584"/>
                <a:gd name="T118" fmla="*/ 1601 w 1628"/>
                <a:gd name="T119" fmla="*/ 1306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8"/>
                <a:gd name="T181" fmla="*/ 0 h 1584"/>
                <a:gd name="T182" fmla="*/ 1628 w 1628"/>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8" h="1584">
                  <a:moveTo>
                    <a:pt x="1628" y="1305"/>
                  </a:moveTo>
                  <a:lnTo>
                    <a:pt x="1628" y="1584"/>
                  </a:lnTo>
                  <a:lnTo>
                    <a:pt x="1" y="1584"/>
                  </a:lnTo>
                  <a:lnTo>
                    <a:pt x="0" y="319"/>
                  </a:lnTo>
                  <a:lnTo>
                    <a:pt x="141" y="319"/>
                  </a:lnTo>
                  <a:lnTo>
                    <a:pt x="147" y="308"/>
                  </a:lnTo>
                  <a:lnTo>
                    <a:pt x="151" y="292"/>
                  </a:lnTo>
                  <a:lnTo>
                    <a:pt x="151" y="280"/>
                  </a:lnTo>
                  <a:lnTo>
                    <a:pt x="150" y="264"/>
                  </a:lnTo>
                  <a:lnTo>
                    <a:pt x="144" y="244"/>
                  </a:lnTo>
                  <a:lnTo>
                    <a:pt x="138" y="219"/>
                  </a:lnTo>
                  <a:lnTo>
                    <a:pt x="133" y="202"/>
                  </a:lnTo>
                  <a:lnTo>
                    <a:pt x="127" y="181"/>
                  </a:lnTo>
                  <a:lnTo>
                    <a:pt x="126" y="161"/>
                  </a:lnTo>
                  <a:lnTo>
                    <a:pt x="126" y="141"/>
                  </a:lnTo>
                  <a:lnTo>
                    <a:pt x="127" y="123"/>
                  </a:lnTo>
                  <a:lnTo>
                    <a:pt x="133" y="103"/>
                  </a:lnTo>
                  <a:lnTo>
                    <a:pt x="140" y="85"/>
                  </a:lnTo>
                  <a:lnTo>
                    <a:pt x="151" y="71"/>
                  </a:lnTo>
                  <a:lnTo>
                    <a:pt x="166" y="54"/>
                  </a:lnTo>
                  <a:lnTo>
                    <a:pt x="181" y="41"/>
                  </a:lnTo>
                  <a:lnTo>
                    <a:pt x="196" y="28"/>
                  </a:lnTo>
                  <a:lnTo>
                    <a:pt x="213" y="19"/>
                  </a:lnTo>
                  <a:lnTo>
                    <a:pt x="233" y="10"/>
                  </a:lnTo>
                  <a:lnTo>
                    <a:pt x="255" y="4"/>
                  </a:lnTo>
                  <a:lnTo>
                    <a:pt x="279" y="2"/>
                  </a:lnTo>
                  <a:lnTo>
                    <a:pt x="299" y="0"/>
                  </a:lnTo>
                  <a:lnTo>
                    <a:pt x="320" y="0"/>
                  </a:lnTo>
                  <a:lnTo>
                    <a:pt x="340" y="2"/>
                  </a:lnTo>
                  <a:lnTo>
                    <a:pt x="356" y="4"/>
                  </a:lnTo>
                  <a:lnTo>
                    <a:pt x="374" y="10"/>
                  </a:lnTo>
                  <a:lnTo>
                    <a:pt x="392" y="16"/>
                  </a:lnTo>
                  <a:lnTo>
                    <a:pt x="406" y="24"/>
                  </a:lnTo>
                  <a:lnTo>
                    <a:pt x="422" y="36"/>
                  </a:lnTo>
                  <a:lnTo>
                    <a:pt x="436" y="50"/>
                  </a:lnTo>
                  <a:lnTo>
                    <a:pt x="450" y="65"/>
                  </a:lnTo>
                  <a:lnTo>
                    <a:pt x="463" y="81"/>
                  </a:lnTo>
                  <a:lnTo>
                    <a:pt x="473" y="98"/>
                  </a:lnTo>
                  <a:lnTo>
                    <a:pt x="480" y="119"/>
                  </a:lnTo>
                  <a:lnTo>
                    <a:pt x="485" y="143"/>
                  </a:lnTo>
                  <a:lnTo>
                    <a:pt x="485" y="165"/>
                  </a:lnTo>
                  <a:lnTo>
                    <a:pt x="480" y="188"/>
                  </a:lnTo>
                  <a:lnTo>
                    <a:pt x="474" y="211"/>
                  </a:lnTo>
                  <a:lnTo>
                    <a:pt x="469" y="233"/>
                  </a:lnTo>
                  <a:lnTo>
                    <a:pt x="461" y="259"/>
                  </a:lnTo>
                  <a:lnTo>
                    <a:pt x="457" y="278"/>
                  </a:lnTo>
                  <a:lnTo>
                    <a:pt x="457" y="290"/>
                  </a:lnTo>
                  <a:lnTo>
                    <a:pt x="460" y="300"/>
                  </a:lnTo>
                  <a:lnTo>
                    <a:pt x="464" y="311"/>
                  </a:lnTo>
                  <a:lnTo>
                    <a:pt x="734" y="311"/>
                  </a:lnTo>
                  <a:lnTo>
                    <a:pt x="728" y="363"/>
                  </a:lnTo>
                  <a:lnTo>
                    <a:pt x="727" y="394"/>
                  </a:lnTo>
                  <a:lnTo>
                    <a:pt x="728" y="420"/>
                  </a:lnTo>
                  <a:lnTo>
                    <a:pt x="730" y="444"/>
                  </a:lnTo>
                  <a:lnTo>
                    <a:pt x="733" y="469"/>
                  </a:lnTo>
                  <a:lnTo>
                    <a:pt x="737" y="494"/>
                  </a:lnTo>
                  <a:lnTo>
                    <a:pt x="745" y="511"/>
                  </a:lnTo>
                  <a:lnTo>
                    <a:pt x="755" y="525"/>
                  </a:lnTo>
                  <a:lnTo>
                    <a:pt x="768" y="538"/>
                  </a:lnTo>
                  <a:lnTo>
                    <a:pt x="785" y="548"/>
                  </a:lnTo>
                  <a:lnTo>
                    <a:pt x="803" y="555"/>
                  </a:lnTo>
                  <a:lnTo>
                    <a:pt x="821" y="558"/>
                  </a:lnTo>
                  <a:lnTo>
                    <a:pt x="841" y="559"/>
                  </a:lnTo>
                  <a:lnTo>
                    <a:pt x="864" y="559"/>
                  </a:lnTo>
                  <a:lnTo>
                    <a:pt x="888" y="556"/>
                  </a:lnTo>
                  <a:lnTo>
                    <a:pt x="905" y="555"/>
                  </a:lnTo>
                  <a:lnTo>
                    <a:pt x="930" y="552"/>
                  </a:lnTo>
                  <a:lnTo>
                    <a:pt x="956" y="549"/>
                  </a:lnTo>
                  <a:lnTo>
                    <a:pt x="984" y="549"/>
                  </a:lnTo>
                  <a:lnTo>
                    <a:pt x="1008" y="552"/>
                  </a:lnTo>
                  <a:lnTo>
                    <a:pt x="1032" y="556"/>
                  </a:lnTo>
                  <a:lnTo>
                    <a:pt x="1056" y="565"/>
                  </a:lnTo>
                  <a:lnTo>
                    <a:pt x="1076" y="573"/>
                  </a:lnTo>
                  <a:lnTo>
                    <a:pt x="1095" y="588"/>
                  </a:lnTo>
                  <a:lnTo>
                    <a:pt x="1108" y="603"/>
                  </a:lnTo>
                  <a:lnTo>
                    <a:pt x="1119" y="621"/>
                  </a:lnTo>
                  <a:lnTo>
                    <a:pt x="1126" y="641"/>
                  </a:lnTo>
                  <a:lnTo>
                    <a:pt x="1129" y="661"/>
                  </a:lnTo>
                  <a:lnTo>
                    <a:pt x="1126" y="684"/>
                  </a:lnTo>
                  <a:lnTo>
                    <a:pt x="1125" y="706"/>
                  </a:lnTo>
                  <a:lnTo>
                    <a:pt x="1126" y="729"/>
                  </a:lnTo>
                  <a:lnTo>
                    <a:pt x="1129" y="749"/>
                  </a:lnTo>
                  <a:lnTo>
                    <a:pt x="1136" y="767"/>
                  </a:lnTo>
                  <a:lnTo>
                    <a:pt x="1145" y="785"/>
                  </a:lnTo>
                  <a:lnTo>
                    <a:pt x="1156" y="798"/>
                  </a:lnTo>
                  <a:lnTo>
                    <a:pt x="1173" y="811"/>
                  </a:lnTo>
                  <a:lnTo>
                    <a:pt x="1196" y="819"/>
                  </a:lnTo>
                  <a:lnTo>
                    <a:pt x="1220" y="826"/>
                  </a:lnTo>
                  <a:lnTo>
                    <a:pt x="1239" y="832"/>
                  </a:lnTo>
                  <a:lnTo>
                    <a:pt x="1263" y="837"/>
                  </a:lnTo>
                  <a:lnTo>
                    <a:pt x="1292" y="843"/>
                  </a:lnTo>
                  <a:lnTo>
                    <a:pt x="1316" y="847"/>
                  </a:lnTo>
                  <a:lnTo>
                    <a:pt x="1340" y="854"/>
                  </a:lnTo>
                  <a:lnTo>
                    <a:pt x="1359" y="861"/>
                  </a:lnTo>
                  <a:lnTo>
                    <a:pt x="1379" y="870"/>
                  </a:lnTo>
                  <a:lnTo>
                    <a:pt x="1395" y="881"/>
                  </a:lnTo>
                  <a:lnTo>
                    <a:pt x="1407" y="893"/>
                  </a:lnTo>
                  <a:lnTo>
                    <a:pt x="1424" y="911"/>
                  </a:lnTo>
                  <a:lnTo>
                    <a:pt x="1434" y="928"/>
                  </a:lnTo>
                  <a:lnTo>
                    <a:pt x="1443" y="946"/>
                  </a:lnTo>
                  <a:lnTo>
                    <a:pt x="1447" y="972"/>
                  </a:lnTo>
                  <a:lnTo>
                    <a:pt x="1444" y="996"/>
                  </a:lnTo>
                  <a:lnTo>
                    <a:pt x="1440" y="1017"/>
                  </a:lnTo>
                  <a:lnTo>
                    <a:pt x="1434" y="1044"/>
                  </a:lnTo>
                  <a:lnTo>
                    <a:pt x="1427" y="1073"/>
                  </a:lnTo>
                  <a:lnTo>
                    <a:pt x="1420" y="1100"/>
                  </a:lnTo>
                  <a:lnTo>
                    <a:pt x="1417" y="1123"/>
                  </a:lnTo>
                  <a:lnTo>
                    <a:pt x="1417" y="1141"/>
                  </a:lnTo>
                  <a:lnTo>
                    <a:pt x="1421" y="1168"/>
                  </a:lnTo>
                  <a:lnTo>
                    <a:pt x="1427" y="1190"/>
                  </a:lnTo>
                  <a:lnTo>
                    <a:pt x="1436" y="1207"/>
                  </a:lnTo>
                  <a:lnTo>
                    <a:pt x="1445" y="1224"/>
                  </a:lnTo>
                  <a:lnTo>
                    <a:pt x="1460" y="1243"/>
                  </a:lnTo>
                  <a:lnTo>
                    <a:pt x="1475" y="1261"/>
                  </a:lnTo>
                  <a:lnTo>
                    <a:pt x="1493" y="1277"/>
                  </a:lnTo>
                  <a:lnTo>
                    <a:pt x="1515" y="1289"/>
                  </a:lnTo>
                  <a:lnTo>
                    <a:pt x="1534" y="1296"/>
                  </a:lnTo>
                  <a:lnTo>
                    <a:pt x="1556" y="1302"/>
                  </a:lnTo>
                  <a:lnTo>
                    <a:pt x="1577" y="1305"/>
                  </a:lnTo>
                  <a:lnTo>
                    <a:pt x="1602" y="1306"/>
                  </a:lnTo>
                  <a:lnTo>
                    <a:pt x="1628" y="1305"/>
                  </a:lnTo>
                  <a:close/>
                </a:path>
              </a:pathLst>
            </a:custGeom>
            <a:solidFill>
              <a:srgbClr val="575757"/>
            </a:solidFill>
            <a:ln w="12700">
              <a:solidFill>
                <a:schemeClr val="bg1"/>
              </a:solidFill>
              <a:round/>
              <a:headEnd/>
              <a:tailEnd/>
            </a:ln>
          </p:spPr>
          <p:txBody>
            <a:bodyPr/>
            <a:lstStyle/>
            <a:p>
              <a:pPr defTabSz="685800">
                <a:buClrTx/>
                <a:defRPr/>
              </a:pPr>
              <a:endParaRPr lang="en-US" sz="1350" kern="1200" dirty="0">
                <a:solidFill>
                  <a:prstClr val="black"/>
                </a:solidFill>
                <a:ea typeface="+mn-ea"/>
                <a:cs typeface="+mn-cs"/>
              </a:endParaRPr>
            </a:p>
          </p:txBody>
        </p:sp>
        <p:sp>
          <p:nvSpPr>
            <p:cNvPr id="698376" name="Freeform 7"/>
            <p:cNvSpPr>
              <a:spLocks/>
            </p:cNvSpPr>
            <p:nvPr/>
          </p:nvSpPr>
          <p:spPr bwMode="auto">
            <a:xfrm>
              <a:off x="1489" y="1070"/>
              <a:ext cx="1634" cy="1327"/>
            </a:xfrm>
            <a:custGeom>
              <a:avLst/>
              <a:gdLst>
                <a:gd name="T0" fmla="*/ 1630 w 1635"/>
                <a:gd name="T1" fmla="*/ 0 h 1327"/>
                <a:gd name="T2" fmla="*/ 1 w 1635"/>
                <a:gd name="T3" fmla="*/ 1327 h 1327"/>
                <a:gd name="T4" fmla="*/ 154 w 1635"/>
                <a:gd name="T5" fmla="*/ 1301 h 1327"/>
                <a:gd name="T6" fmla="*/ 150 w 1635"/>
                <a:gd name="T7" fmla="*/ 1258 h 1327"/>
                <a:gd name="T8" fmla="*/ 133 w 1635"/>
                <a:gd name="T9" fmla="*/ 1198 h 1327"/>
                <a:gd name="T10" fmla="*/ 127 w 1635"/>
                <a:gd name="T11" fmla="*/ 1150 h 1327"/>
                <a:gd name="T12" fmla="*/ 138 w 1635"/>
                <a:gd name="T13" fmla="*/ 1101 h 1327"/>
                <a:gd name="T14" fmla="*/ 172 w 1635"/>
                <a:gd name="T15" fmla="*/ 1058 h 1327"/>
                <a:gd name="T16" fmla="*/ 214 w 1635"/>
                <a:gd name="T17" fmla="*/ 1027 h 1327"/>
                <a:gd name="T18" fmla="*/ 265 w 1635"/>
                <a:gd name="T19" fmla="*/ 1012 h 1327"/>
                <a:gd name="T20" fmla="*/ 339 w 1635"/>
                <a:gd name="T21" fmla="*/ 1013 h 1327"/>
                <a:gd name="T22" fmla="*/ 387 w 1635"/>
                <a:gd name="T23" fmla="*/ 1023 h 1327"/>
                <a:gd name="T24" fmla="*/ 435 w 1635"/>
                <a:gd name="T25" fmla="*/ 1057 h 1327"/>
                <a:gd name="T26" fmla="*/ 467 w 1635"/>
                <a:gd name="T27" fmla="*/ 1098 h 1327"/>
                <a:gd name="T28" fmla="*/ 481 w 1635"/>
                <a:gd name="T29" fmla="*/ 1142 h 1327"/>
                <a:gd name="T30" fmla="*/ 478 w 1635"/>
                <a:gd name="T31" fmla="*/ 1190 h 1327"/>
                <a:gd name="T32" fmla="*/ 467 w 1635"/>
                <a:gd name="T33" fmla="*/ 1234 h 1327"/>
                <a:gd name="T34" fmla="*/ 456 w 1635"/>
                <a:gd name="T35" fmla="*/ 1279 h 1327"/>
                <a:gd name="T36" fmla="*/ 461 w 1635"/>
                <a:gd name="T37" fmla="*/ 1321 h 1327"/>
                <a:gd name="T38" fmla="*/ 733 w 1635"/>
                <a:gd name="T39" fmla="*/ 1274 h 1327"/>
                <a:gd name="T40" fmla="*/ 735 w 1635"/>
                <a:gd name="T41" fmla="*/ 1215 h 1327"/>
                <a:gd name="T42" fmla="*/ 740 w 1635"/>
                <a:gd name="T43" fmla="*/ 1166 h 1327"/>
                <a:gd name="T44" fmla="*/ 752 w 1635"/>
                <a:gd name="T45" fmla="*/ 1123 h 1327"/>
                <a:gd name="T46" fmla="*/ 776 w 1635"/>
                <a:gd name="T47" fmla="*/ 1095 h 1327"/>
                <a:gd name="T48" fmla="*/ 810 w 1635"/>
                <a:gd name="T49" fmla="*/ 1080 h 1327"/>
                <a:gd name="T50" fmla="*/ 843 w 1635"/>
                <a:gd name="T51" fmla="*/ 1075 h 1327"/>
                <a:gd name="T52" fmla="*/ 890 w 1635"/>
                <a:gd name="T53" fmla="*/ 1077 h 1327"/>
                <a:gd name="T54" fmla="*/ 932 w 1635"/>
                <a:gd name="T55" fmla="*/ 1081 h 1327"/>
                <a:gd name="T56" fmla="*/ 986 w 1635"/>
                <a:gd name="T57" fmla="*/ 1084 h 1327"/>
                <a:gd name="T58" fmla="*/ 1034 w 1635"/>
                <a:gd name="T59" fmla="*/ 1077 h 1327"/>
                <a:gd name="T60" fmla="*/ 1078 w 1635"/>
                <a:gd name="T61" fmla="*/ 1061 h 1327"/>
                <a:gd name="T62" fmla="*/ 1110 w 1635"/>
                <a:gd name="T63" fmla="*/ 1032 h 1327"/>
                <a:gd name="T64" fmla="*/ 1128 w 1635"/>
                <a:gd name="T65" fmla="*/ 995 h 1327"/>
                <a:gd name="T66" fmla="*/ 1128 w 1635"/>
                <a:gd name="T67" fmla="*/ 953 h 1327"/>
                <a:gd name="T68" fmla="*/ 1128 w 1635"/>
                <a:gd name="T69" fmla="*/ 906 h 1327"/>
                <a:gd name="T70" fmla="*/ 1138 w 1635"/>
                <a:gd name="T71" fmla="*/ 868 h 1327"/>
                <a:gd name="T72" fmla="*/ 1158 w 1635"/>
                <a:gd name="T73" fmla="*/ 837 h 1327"/>
                <a:gd name="T74" fmla="*/ 1199 w 1635"/>
                <a:gd name="T75" fmla="*/ 816 h 1327"/>
                <a:gd name="T76" fmla="*/ 1243 w 1635"/>
                <a:gd name="T77" fmla="*/ 803 h 1327"/>
                <a:gd name="T78" fmla="*/ 1295 w 1635"/>
                <a:gd name="T79" fmla="*/ 792 h 1327"/>
                <a:gd name="T80" fmla="*/ 1342 w 1635"/>
                <a:gd name="T81" fmla="*/ 780 h 1327"/>
                <a:gd name="T82" fmla="*/ 1381 w 1635"/>
                <a:gd name="T83" fmla="*/ 765 h 1327"/>
                <a:gd name="T84" fmla="*/ 1411 w 1635"/>
                <a:gd name="T85" fmla="*/ 742 h 1327"/>
                <a:gd name="T86" fmla="*/ 1436 w 1635"/>
                <a:gd name="T87" fmla="*/ 707 h 1327"/>
                <a:gd name="T88" fmla="*/ 1449 w 1635"/>
                <a:gd name="T89" fmla="*/ 662 h 1327"/>
                <a:gd name="T90" fmla="*/ 1443 w 1635"/>
                <a:gd name="T91" fmla="*/ 618 h 1327"/>
                <a:gd name="T92" fmla="*/ 1429 w 1635"/>
                <a:gd name="T93" fmla="*/ 561 h 1327"/>
                <a:gd name="T94" fmla="*/ 1421 w 1635"/>
                <a:gd name="T95" fmla="*/ 513 h 1327"/>
                <a:gd name="T96" fmla="*/ 1423 w 1635"/>
                <a:gd name="T97" fmla="*/ 467 h 1327"/>
                <a:gd name="T98" fmla="*/ 1438 w 1635"/>
                <a:gd name="T99" fmla="*/ 427 h 1327"/>
                <a:gd name="T100" fmla="*/ 1462 w 1635"/>
                <a:gd name="T101" fmla="*/ 392 h 1327"/>
                <a:gd name="T102" fmla="*/ 1497 w 1635"/>
                <a:gd name="T103" fmla="*/ 358 h 1327"/>
                <a:gd name="T104" fmla="*/ 1538 w 1635"/>
                <a:gd name="T105" fmla="*/ 338 h 1327"/>
                <a:gd name="T106" fmla="*/ 1579 w 1635"/>
                <a:gd name="T107" fmla="*/ 330 h 1327"/>
                <a:gd name="T108" fmla="*/ 1630 w 1635"/>
                <a:gd name="T109" fmla="*/ 330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5"/>
                <a:gd name="T166" fmla="*/ 0 h 1327"/>
                <a:gd name="T167" fmla="*/ 1635 w 1635"/>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5" h="1327">
                  <a:moveTo>
                    <a:pt x="1635" y="330"/>
                  </a:moveTo>
                  <a:lnTo>
                    <a:pt x="1635" y="0"/>
                  </a:lnTo>
                  <a:lnTo>
                    <a:pt x="0" y="0"/>
                  </a:lnTo>
                  <a:lnTo>
                    <a:pt x="1" y="1327"/>
                  </a:lnTo>
                  <a:lnTo>
                    <a:pt x="147" y="1327"/>
                  </a:lnTo>
                  <a:lnTo>
                    <a:pt x="154" y="1301"/>
                  </a:lnTo>
                  <a:lnTo>
                    <a:pt x="154" y="1283"/>
                  </a:lnTo>
                  <a:lnTo>
                    <a:pt x="150" y="1258"/>
                  </a:lnTo>
                  <a:lnTo>
                    <a:pt x="141" y="1231"/>
                  </a:lnTo>
                  <a:lnTo>
                    <a:pt x="133" y="1198"/>
                  </a:lnTo>
                  <a:lnTo>
                    <a:pt x="128" y="1173"/>
                  </a:lnTo>
                  <a:lnTo>
                    <a:pt x="127" y="1150"/>
                  </a:lnTo>
                  <a:lnTo>
                    <a:pt x="131" y="1125"/>
                  </a:lnTo>
                  <a:lnTo>
                    <a:pt x="138" y="1101"/>
                  </a:lnTo>
                  <a:lnTo>
                    <a:pt x="154" y="1077"/>
                  </a:lnTo>
                  <a:lnTo>
                    <a:pt x="172" y="1058"/>
                  </a:lnTo>
                  <a:lnTo>
                    <a:pt x="192" y="1040"/>
                  </a:lnTo>
                  <a:lnTo>
                    <a:pt x="214" y="1027"/>
                  </a:lnTo>
                  <a:lnTo>
                    <a:pt x="241" y="1016"/>
                  </a:lnTo>
                  <a:lnTo>
                    <a:pt x="265" y="1012"/>
                  </a:lnTo>
                  <a:lnTo>
                    <a:pt x="299" y="1010"/>
                  </a:lnTo>
                  <a:lnTo>
                    <a:pt x="339" y="1013"/>
                  </a:lnTo>
                  <a:lnTo>
                    <a:pt x="364" y="1016"/>
                  </a:lnTo>
                  <a:lnTo>
                    <a:pt x="387" y="1023"/>
                  </a:lnTo>
                  <a:lnTo>
                    <a:pt x="408" y="1036"/>
                  </a:lnTo>
                  <a:lnTo>
                    <a:pt x="435" y="1057"/>
                  </a:lnTo>
                  <a:lnTo>
                    <a:pt x="452" y="1077"/>
                  </a:lnTo>
                  <a:lnTo>
                    <a:pt x="467" y="1098"/>
                  </a:lnTo>
                  <a:lnTo>
                    <a:pt x="476" y="1121"/>
                  </a:lnTo>
                  <a:lnTo>
                    <a:pt x="481" y="1142"/>
                  </a:lnTo>
                  <a:lnTo>
                    <a:pt x="481" y="1166"/>
                  </a:lnTo>
                  <a:lnTo>
                    <a:pt x="478" y="1190"/>
                  </a:lnTo>
                  <a:lnTo>
                    <a:pt x="473" y="1212"/>
                  </a:lnTo>
                  <a:lnTo>
                    <a:pt x="467" y="1234"/>
                  </a:lnTo>
                  <a:lnTo>
                    <a:pt x="460" y="1256"/>
                  </a:lnTo>
                  <a:lnTo>
                    <a:pt x="456" y="1279"/>
                  </a:lnTo>
                  <a:lnTo>
                    <a:pt x="456" y="1298"/>
                  </a:lnTo>
                  <a:lnTo>
                    <a:pt x="461" y="1321"/>
                  </a:lnTo>
                  <a:lnTo>
                    <a:pt x="735" y="1321"/>
                  </a:lnTo>
                  <a:lnTo>
                    <a:pt x="733" y="1274"/>
                  </a:lnTo>
                  <a:lnTo>
                    <a:pt x="735" y="1241"/>
                  </a:lnTo>
                  <a:lnTo>
                    <a:pt x="735" y="1215"/>
                  </a:lnTo>
                  <a:lnTo>
                    <a:pt x="737" y="1191"/>
                  </a:lnTo>
                  <a:lnTo>
                    <a:pt x="740" y="1166"/>
                  </a:lnTo>
                  <a:lnTo>
                    <a:pt x="745" y="1140"/>
                  </a:lnTo>
                  <a:lnTo>
                    <a:pt x="752" y="1123"/>
                  </a:lnTo>
                  <a:lnTo>
                    <a:pt x="762" y="1108"/>
                  </a:lnTo>
                  <a:lnTo>
                    <a:pt x="776" y="1095"/>
                  </a:lnTo>
                  <a:lnTo>
                    <a:pt x="792" y="1085"/>
                  </a:lnTo>
                  <a:lnTo>
                    <a:pt x="810" y="1080"/>
                  </a:lnTo>
                  <a:lnTo>
                    <a:pt x="830" y="1077"/>
                  </a:lnTo>
                  <a:lnTo>
                    <a:pt x="848" y="1075"/>
                  </a:lnTo>
                  <a:lnTo>
                    <a:pt x="872" y="1075"/>
                  </a:lnTo>
                  <a:lnTo>
                    <a:pt x="895" y="1077"/>
                  </a:lnTo>
                  <a:lnTo>
                    <a:pt x="913" y="1080"/>
                  </a:lnTo>
                  <a:lnTo>
                    <a:pt x="937" y="1081"/>
                  </a:lnTo>
                  <a:lnTo>
                    <a:pt x="963" y="1084"/>
                  </a:lnTo>
                  <a:lnTo>
                    <a:pt x="991" y="1084"/>
                  </a:lnTo>
                  <a:lnTo>
                    <a:pt x="1015" y="1081"/>
                  </a:lnTo>
                  <a:lnTo>
                    <a:pt x="1039" y="1077"/>
                  </a:lnTo>
                  <a:lnTo>
                    <a:pt x="1064" y="1071"/>
                  </a:lnTo>
                  <a:lnTo>
                    <a:pt x="1083" y="1061"/>
                  </a:lnTo>
                  <a:lnTo>
                    <a:pt x="1102" y="1049"/>
                  </a:lnTo>
                  <a:lnTo>
                    <a:pt x="1115" y="1032"/>
                  </a:lnTo>
                  <a:lnTo>
                    <a:pt x="1128" y="1013"/>
                  </a:lnTo>
                  <a:lnTo>
                    <a:pt x="1133" y="995"/>
                  </a:lnTo>
                  <a:lnTo>
                    <a:pt x="1136" y="974"/>
                  </a:lnTo>
                  <a:lnTo>
                    <a:pt x="1133" y="953"/>
                  </a:lnTo>
                  <a:lnTo>
                    <a:pt x="1132" y="930"/>
                  </a:lnTo>
                  <a:lnTo>
                    <a:pt x="1133" y="906"/>
                  </a:lnTo>
                  <a:lnTo>
                    <a:pt x="1138" y="888"/>
                  </a:lnTo>
                  <a:lnTo>
                    <a:pt x="1143" y="868"/>
                  </a:lnTo>
                  <a:lnTo>
                    <a:pt x="1152" y="849"/>
                  </a:lnTo>
                  <a:lnTo>
                    <a:pt x="1163" y="837"/>
                  </a:lnTo>
                  <a:lnTo>
                    <a:pt x="1181" y="824"/>
                  </a:lnTo>
                  <a:lnTo>
                    <a:pt x="1204" y="816"/>
                  </a:lnTo>
                  <a:lnTo>
                    <a:pt x="1227" y="809"/>
                  </a:lnTo>
                  <a:lnTo>
                    <a:pt x="1248" y="803"/>
                  </a:lnTo>
                  <a:lnTo>
                    <a:pt x="1270" y="797"/>
                  </a:lnTo>
                  <a:lnTo>
                    <a:pt x="1300" y="792"/>
                  </a:lnTo>
                  <a:lnTo>
                    <a:pt x="1323" y="787"/>
                  </a:lnTo>
                  <a:lnTo>
                    <a:pt x="1347" y="780"/>
                  </a:lnTo>
                  <a:lnTo>
                    <a:pt x="1366" y="773"/>
                  </a:lnTo>
                  <a:lnTo>
                    <a:pt x="1386" y="765"/>
                  </a:lnTo>
                  <a:lnTo>
                    <a:pt x="1402" y="753"/>
                  </a:lnTo>
                  <a:lnTo>
                    <a:pt x="1416" y="742"/>
                  </a:lnTo>
                  <a:lnTo>
                    <a:pt x="1431" y="724"/>
                  </a:lnTo>
                  <a:lnTo>
                    <a:pt x="1441" y="707"/>
                  </a:lnTo>
                  <a:lnTo>
                    <a:pt x="1450" y="687"/>
                  </a:lnTo>
                  <a:lnTo>
                    <a:pt x="1454" y="662"/>
                  </a:lnTo>
                  <a:lnTo>
                    <a:pt x="1451" y="641"/>
                  </a:lnTo>
                  <a:lnTo>
                    <a:pt x="1448" y="618"/>
                  </a:lnTo>
                  <a:lnTo>
                    <a:pt x="1441" y="591"/>
                  </a:lnTo>
                  <a:lnTo>
                    <a:pt x="1434" y="561"/>
                  </a:lnTo>
                  <a:lnTo>
                    <a:pt x="1427" y="535"/>
                  </a:lnTo>
                  <a:lnTo>
                    <a:pt x="1426" y="513"/>
                  </a:lnTo>
                  <a:lnTo>
                    <a:pt x="1426" y="494"/>
                  </a:lnTo>
                  <a:lnTo>
                    <a:pt x="1428" y="467"/>
                  </a:lnTo>
                  <a:lnTo>
                    <a:pt x="1436" y="444"/>
                  </a:lnTo>
                  <a:lnTo>
                    <a:pt x="1443" y="427"/>
                  </a:lnTo>
                  <a:lnTo>
                    <a:pt x="1452" y="410"/>
                  </a:lnTo>
                  <a:lnTo>
                    <a:pt x="1467" y="392"/>
                  </a:lnTo>
                  <a:lnTo>
                    <a:pt x="1482" y="374"/>
                  </a:lnTo>
                  <a:lnTo>
                    <a:pt x="1502" y="358"/>
                  </a:lnTo>
                  <a:lnTo>
                    <a:pt x="1523" y="345"/>
                  </a:lnTo>
                  <a:lnTo>
                    <a:pt x="1543" y="338"/>
                  </a:lnTo>
                  <a:lnTo>
                    <a:pt x="1563" y="333"/>
                  </a:lnTo>
                  <a:lnTo>
                    <a:pt x="1584" y="330"/>
                  </a:lnTo>
                  <a:lnTo>
                    <a:pt x="1609" y="330"/>
                  </a:lnTo>
                  <a:lnTo>
                    <a:pt x="1635" y="330"/>
                  </a:lnTo>
                  <a:close/>
                </a:path>
              </a:pathLst>
            </a:custGeom>
            <a:solidFill>
              <a:srgbClr val="00A1DE"/>
            </a:solid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grpSp>
      <p:sp>
        <p:nvSpPr>
          <p:cNvPr id="13" name="Rectangle 12"/>
          <p:cNvSpPr>
            <a:spLocks noChangeArrowheads="1"/>
          </p:cNvSpPr>
          <p:nvPr/>
        </p:nvSpPr>
        <p:spPr bwMode="auto">
          <a:xfrm>
            <a:off x="5803107" y="0"/>
            <a:ext cx="2197894" cy="369332"/>
          </a:xfrm>
          <a:prstGeom prst="rect">
            <a:avLst/>
          </a:prstGeom>
          <a:solidFill>
            <a:schemeClr val="accent6"/>
          </a:solidFill>
          <a:ln w="6350" algn="ctr">
            <a:solidFill>
              <a:schemeClr val="bg1"/>
            </a:solidFill>
            <a:miter lim="800000"/>
            <a:headEnd/>
            <a:tailEnd/>
          </a:ln>
        </p:spPr>
        <p:txBody>
          <a:bodyPr tIns="68580" bIns="68580">
            <a:spAutoFit/>
          </a:bodyPr>
          <a:lstStyle/>
          <a:p>
            <a:pPr defTabSz="685800">
              <a:buClrTx/>
              <a:defRPr/>
            </a:pPr>
            <a:r>
              <a:rPr lang="en-US" sz="750" kern="1200" dirty="0">
                <a:solidFill>
                  <a:srgbClr val="313131"/>
                </a:solidFill>
                <a:ea typeface="ＭＳ Ｐゴシック" pitchFamily="50" charset="-128"/>
                <a:cs typeface="+mn-cs"/>
              </a:rPr>
              <a:t>Tip! Hold the Shift key when resizing the pieces or group to retain the shape proportions</a:t>
            </a:r>
          </a:p>
        </p:txBody>
      </p:sp>
      <p:sp>
        <p:nvSpPr>
          <p:cNvPr id="14" name="Text Placeholder 3"/>
          <p:cNvSpPr txBox="1">
            <a:spLocks/>
          </p:cNvSpPr>
          <p:nvPr/>
        </p:nvSpPr>
        <p:spPr>
          <a:xfrm>
            <a:off x="1421100" y="1268730"/>
            <a:ext cx="3105000" cy="34020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5979" indent="-205979" defTabSz="685800">
              <a:spcBef>
                <a:spcPts val="900"/>
              </a:spcBef>
              <a:buClrTx/>
              <a:defRPr/>
            </a:pPr>
            <a:r>
              <a:rPr lang="en-GB" sz="1350" dirty="0">
                <a:solidFill>
                  <a:srgbClr val="313131"/>
                </a:solidFill>
                <a:latin typeface="Arial"/>
              </a:rPr>
              <a:t>This is a level one bullet this is dummy text it is not here to be read</a:t>
            </a:r>
          </a:p>
          <a:p>
            <a:pPr marL="205979" indent="-205979" defTabSz="685800">
              <a:spcBef>
                <a:spcPts val="900"/>
              </a:spcBef>
              <a:buClrTx/>
              <a:defRPr/>
            </a:pPr>
            <a:r>
              <a:rPr lang="en-GB" sz="1350" dirty="0">
                <a:solidFill>
                  <a:srgbClr val="313131"/>
                </a:solidFill>
                <a:latin typeface="Arial"/>
              </a:rPr>
              <a:t>This is a level one bullet this is dummy text it is not here to be read</a:t>
            </a:r>
          </a:p>
          <a:p>
            <a:pPr marL="205979" indent="-205979" defTabSz="685800">
              <a:spcBef>
                <a:spcPts val="900"/>
              </a:spcBef>
              <a:buClrTx/>
              <a:defRPr/>
            </a:pPr>
            <a:r>
              <a:rPr lang="en-GB" sz="1350" dirty="0">
                <a:solidFill>
                  <a:srgbClr val="313131"/>
                </a:solidFill>
                <a:latin typeface="Arial"/>
              </a:rPr>
              <a:t>This is a level one bullet this is dummy text it is not here to be read</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205979" indent="-205979" defTabSz="685800">
              <a:spcBef>
                <a:spcPts val="900"/>
              </a:spcBef>
              <a:buClrTx/>
              <a:defRPr/>
            </a:pPr>
            <a:endParaRPr lang="en-GB" sz="1350" dirty="0">
              <a:solidFill>
                <a:srgbClr val="313131"/>
              </a:solidFill>
              <a:latin typeface="Arial"/>
            </a:endParaRPr>
          </a:p>
        </p:txBody>
      </p:sp>
    </p:spTree>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0417" name="Title 1"/>
          <p:cNvSpPr>
            <a:spLocks noGrp="1"/>
          </p:cNvSpPr>
          <p:nvPr>
            <p:ph type="title"/>
          </p:nvPr>
        </p:nvSpPr>
        <p:spPr/>
        <p:txBody>
          <a:bodyPr/>
          <a:lstStyle/>
          <a:p>
            <a:r>
              <a:rPr lang="en-US" altLang="ja-JP" dirty="0"/>
              <a:t>Others </a:t>
            </a:r>
            <a:br>
              <a:rPr lang="en-US" altLang="ja-JP" dirty="0"/>
            </a:br>
            <a:r>
              <a:rPr lang="en-US" altLang="ja-JP" dirty="0">
                <a:solidFill>
                  <a:srgbClr val="575757"/>
                </a:solidFill>
              </a:rPr>
              <a:t>Trackers</a:t>
            </a:r>
            <a:endParaRPr lang="en-US" dirty="0">
              <a:solidFill>
                <a:srgbClr val="575757"/>
              </a:solidFill>
            </a:endParaRPr>
          </a:p>
        </p:txBody>
      </p:sp>
      <p:grpSp>
        <p:nvGrpSpPr>
          <p:cNvPr id="700419" name="Group 3"/>
          <p:cNvGrpSpPr>
            <a:grpSpLocks/>
          </p:cNvGrpSpPr>
          <p:nvPr/>
        </p:nvGrpSpPr>
        <p:grpSpPr bwMode="auto">
          <a:xfrm>
            <a:off x="1679972" y="2152174"/>
            <a:ext cx="898922" cy="500063"/>
            <a:chOff x="807" y="935"/>
            <a:chExt cx="818" cy="420"/>
          </a:xfrm>
          <a:solidFill>
            <a:schemeClr val="bg1"/>
          </a:solidFill>
        </p:grpSpPr>
        <p:sp>
          <p:nvSpPr>
            <p:cNvPr id="5" name="Rectangle 4"/>
            <p:cNvSpPr>
              <a:spLocks noChangeArrowheads="1"/>
            </p:cNvSpPr>
            <p:nvPr/>
          </p:nvSpPr>
          <p:spPr bwMode="auto">
            <a:xfrm>
              <a:off x="807" y="1086"/>
              <a:ext cx="303" cy="118"/>
            </a:xfrm>
            <a:prstGeom prst="rect">
              <a:avLst/>
            </a:prstGeom>
            <a:grpFill/>
            <a:ln w="6350" algn="ctr">
              <a:solidFill>
                <a:srgbClr val="00A1DE"/>
              </a:solidFill>
              <a:miter lim="800000"/>
              <a:headEnd type="none" w="sm" len="sm"/>
              <a:tailEnd type="none" w="med" len="lg"/>
            </a:ln>
          </p:spPr>
          <p:txBody>
            <a:bodyPr tIns="68580" bIns="68580" anchor="ctr"/>
            <a:lstStyle/>
            <a:p>
              <a:pPr marL="9525" indent="-9525" algn="ctr" defTabSz="685800">
                <a:lnSpc>
                  <a:spcPct val="110000"/>
                </a:lnSpc>
                <a:buClrTx/>
                <a:defRPr/>
              </a:pPr>
              <a:endParaRPr lang="en-US" sz="1050" kern="1200" dirty="0">
                <a:solidFill>
                  <a:prstClr val="black"/>
                </a:solidFill>
                <a:ea typeface="ＭＳ Ｐゴシック" pitchFamily="50" charset="-128"/>
                <a:cs typeface="+mn-cs"/>
              </a:endParaRPr>
            </a:p>
          </p:txBody>
        </p:sp>
        <p:sp>
          <p:nvSpPr>
            <p:cNvPr id="6" name="Rectangle 5"/>
            <p:cNvSpPr>
              <a:spLocks noChangeArrowheads="1"/>
            </p:cNvSpPr>
            <p:nvPr/>
          </p:nvSpPr>
          <p:spPr bwMode="auto">
            <a:xfrm>
              <a:off x="1322" y="935"/>
              <a:ext cx="303" cy="119"/>
            </a:xfrm>
            <a:prstGeom prst="rect">
              <a:avLst/>
            </a:prstGeom>
            <a:solidFill>
              <a:srgbClr val="00A1DE"/>
            </a:solidFill>
            <a:ln w="6350" algn="ctr">
              <a:solidFill>
                <a:srgbClr val="00A1DE"/>
              </a:solidFill>
              <a:miter lim="800000"/>
              <a:headEnd type="none" w="sm" len="sm"/>
              <a:tailEnd type="none" w="med" len="lg"/>
            </a:ln>
          </p:spPr>
          <p:txBody>
            <a:bodyPr tIns="68580" bIns="68580" anchor="ctr"/>
            <a:lstStyle/>
            <a:p>
              <a:pPr marL="9525" indent="-9525" algn="ctr" defTabSz="685800">
                <a:lnSpc>
                  <a:spcPct val="110000"/>
                </a:lnSpc>
                <a:buClrTx/>
                <a:defRPr/>
              </a:pPr>
              <a:endParaRPr lang="en-US" sz="1050" kern="1200" dirty="0">
                <a:solidFill>
                  <a:prstClr val="black"/>
                </a:solidFill>
                <a:ea typeface="ＭＳ Ｐゴシック" pitchFamily="50" charset="-128"/>
                <a:cs typeface="+mn-cs"/>
              </a:endParaRPr>
            </a:p>
          </p:txBody>
        </p:sp>
        <p:sp>
          <p:nvSpPr>
            <p:cNvPr id="7" name="Rectangle 6"/>
            <p:cNvSpPr>
              <a:spLocks noChangeArrowheads="1"/>
            </p:cNvSpPr>
            <p:nvPr/>
          </p:nvSpPr>
          <p:spPr bwMode="auto">
            <a:xfrm>
              <a:off x="1322" y="1085"/>
              <a:ext cx="303" cy="119"/>
            </a:xfrm>
            <a:prstGeom prst="rect">
              <a:avLst/>
            </a:prstGeom>
            <a:grpFill/>
            <a:ln w="6350" algn="ctr">
              <a:solidFill>
                <a:srgbClr val="00A1DE"/>
              </a:solidFill>
              <a:miter lim="800000"/>
              <a:headEnd type="none" w="sm" len="sm"/>
              <a:tailEnd type="none" w="med" len="lg"/>
            </a:ln>
          </p:spPr>
          <p:txBody>
            <a:bodyPr tIns="68580" bIns="68580" anchor="ctr"/>
            <a:lstStyle/>
            <a:p>
              <a:pPr marL="9525" indent="-9525" algn="ctr" defTabSz="685800">
                <a:lnSpc>
                  <a:spcPct val="110000"/>
                </a:lnSpc>
                <a:buClrTx/>
                <a:defRPr/>
              </a:pPr>
              <a:endParaRPr lang="en-US" sz="1050" kern="1200" dirty="0">
                <a:solidFill>
                  <a:prstClr val="black"/>
                </a:solidFill>
                <a:ea typeface="ＭＳ Ｐゴシック" pitchFamily="50" charset="-128"/>
                <a:cs typeface="+mn-cs"/>
              </a:endParaRPr>
            </a:p>
          </p:txBody>
        </p:sp>
        <p:sp>
          <p:nvSpPr>
            <p:cNvPr id="8" name="Rectangle 7"/>
            <p:cNvSpPr>
              <a:spLocks noChangeArrowheads="1"/>
            </p:cNvSpPr>
            <p:nvPr/>
          </p:nvSpPr>
          <p:spPr bwMode="auto">
            <a:xfrm>
              <a:off x="1322" y="1236"/>
              <a:ext cx="303" cy="119"/>
            </a:xfrm>
            <a:prstGeom prst="rect">
              <a:avLst/>
            </a:prstGeom>
            <a:grpFill/>
            <a:ln w="6350" algn="ctr">
              <a:solidFill>
                <a:srgbClr val="00A1DE"/>
              </a:solidFill>
              <a:miter lim="800000"/>
              <a:headEnd type="none" w="sm" len="sm"/>
              <a:tailEnd type="none" w="med" len="lg"/>
            </a:ln>
          </p:spPr>
          <p:txBody>
            <a:bodyPr tIns="68580" bIns="68580" anchor="ctr"/>
            <a:lstStyle/>
            <a:p>
              <a:pPr marL="9525" indent="-9525" algn="ctr" defTabSz="685800">
                <a:lnSpc>
                  <a:spcPct val="110000"/>
                </a:lnSpc>
                <a:buClrTx/>
                <a:defRPr/>
              </a:pPr>
              <a:endParaRPr lang="en-US" sz="1050" kern="1200" dirty="0">
                <a:solidFill>
                  <a:prstClr val="black"/>
                </a:solidFill>
                <a:ea typeface="ＭＳ Ｐゴシック" pitchFamily="50" charset="-128"/>
                <a:cs typeface="+mn-cs"/>
              </a:endParaRPr>
            </a:p>
          </p:txBody>
        </p:sp>
        <p:cxnSp>
          <p:nvCxnSpPr>
            <p:cNvPr id="9" name="AutoShape 8"/>
            <p:cNvCxnSpPr>
              <a:cxnSpLocks noChangeShapeType="1"/>
              <a:stCxn id="6" idx="1"/>
              <a:endCxn id="5" idx="3"/>
            </p:cNvCxnSpPr>
            <p:nvPr/>
          </p:nvCxnSpPr>
          <p:spPr bwMode="auto">
            <a:xfrm rot="10800000" flipV="1">
              <a:off x="1110" y="995"/>
              <a:ext cx="211" cy="150"/>
            </a:xfrm>
            <a:prstGeom prst="bentConnector3">
              <a:avLst>
                <a:gd name="adj1" fmla="val 50000"/>
              </a:avLst>
            </a:prstGeom>
            <a:grpFill/>
            <a:ln w="9525">
              <a:solidFill>
                <a:srgbClr val="B4B4B4"/>
              </a:solidFill>
              <a:miter lim="800000"/>
              <a:headEnd type="none" w="sm" len="sm"/>
              <a:tailEnd type="none" w="med" len="lg"/>
            </a:ln>
          </p:spPr>
        </p:cxnSp>
        <p:cxnSp>
          <p:nvCxnSpPr>
            <p:cNvPr id="10" name="AutoShape 9"/>
            <p:cNvCxnSpPr>
              <a:cxnSpLocks noChangeShapeType="1"/>
              <a:stCxn id="5" idx="3"/>
              <a:endCxn id="7" idx="1"/>
            </p:cNvCxnSpPr>
            <p:nvPr/>
          </p:nvCxnSpPr>
          <p:spPr bwMode="auto">
            <a:xfrm>
              <a:off x="1110" y="1145"/>
              <a:ext cx="211" cy="0"/>
            </a:xfrm>
            <a:prstGeom prst="straightConnector1">
              <a:avLst/>
            </a:prstGeom>
            <a:grpFill/>
            <a:ln w="9525">
              <a:solidFill>
                <a:srgbClr val="B4B4B4"/>
              </a:solidFill>
              <a:round/>
              <a:headEnd type="none" w="sm" len="sm"/>
              <a:tailEnd type="none" w="med" len="lg"/>
            </a:ln>
          </p:spPr>
        </p:cxnSp>
        <p:cxnSp>
          <p:nvCxnSpPr>
            <p:cNvPr id="11" name="AutoShape 10"/>
            <p:cNvCxnSpPr>
              <a:cxnSpLocks noChangeShapeType="1"/>
              <a:stCxn id="5" idx="3"/>
              <a:endCxn id="8" idx="1"/>
            </p:cNvCxnSpPr>
            <p:nvPr/>
          </p:nvCxnSpPr>
          <p:spPr bwMode="auto">
            <a:xfrm>
              <a:off x="1110" y="1145"/>
              <a:ext cx="211" cy="151"/>
            </a:xfrm>
            <a:prstGeom prst="bentConnector3">
              <a:avLst>
                <a:gd name="adj1" fmla="val 50000"/>
              </a:avLst>
            </a:prstGeom>
            <a:grpFill/>
            <a:ln w="9525">
              <a:solidFill>
                <a:srgbClr val="B4B4B4"/>
              </a:solidFill>
              <a:miter lim="800000"/>
              <a:headEnd type="none" w="sm" len="sm"/>
              <a:tailEnd type="none" w="med" len="lg"/>
            </a:ln>
          </p:spPr>
        </p:cxnSp>
      </p:grpSp>
      <p:grpSp>
        <p:nvGrpSpPr>
          <p:cNvPr id="700420" name="Group 11"/>
          <p:cNvGrpSpPr>
            <a:grpSpLocks/>
          </p:cNvGrpSpPr>
          <p:nvPr/>
        </p:nvGrpSpPr>
        <p:grpSpPr bwMode="auto">
          <a:xfrm>
            <a:off x="3292078" y="2152174"/>
            <a:ext cx="898922" cy="500063"/>
            <a:chOff x="2077" y="966"/>
            <a:chExt cx="818" cy="420"/>
          </a:xfrm>
          <a:solidFill>
            <a:schemeClr val="bg1"/>
          </a:solidFill>
        </p:grpSpPr>
        <p:sp>
          <p:nvSpPr>
            <p:cNvPr id="13" name="Rectangle 12"/>
            <p:cNvSpPr>
              <a:spLocks noChangeArrowheads="1"/>
            </p:cNvSpPr>
            <p:nvPr/>
          </p:nvSpPr>
          <p:spPr bwMode="auto">
            <a:xfrm>
              <a:off x="2077" y="1117"/>
              <a:ext cx="303" cy="118"/>
            </a:xfrm>
            <a:prstGeom prst="rect">
              <a:avLst/>
            </a:prstGeom>
            <a:grpFill/>
            <a:ln w="6350" algn="ctr">
              <a:solidFill>
                <a:srgbClr val="00A1DE"/>
              </a:solidFill>
              <a:miter lim="800000"/>
              <a:headEnd type="none" w="sm" len="sm"/>
              <a:tailEnd type="none" w="med" len="lg"/>
            </a:ln>
          </p:spPr>
          <p:txBody>
            <a:bodyPr tIns="68580" bIns="68580" anchor="ctr"/>
            <a:lstStyle/>
            <a:p>
              <a:pPr marL="9525" indent="-9525" algn="ctr" defTabSz="685800">
                <a:lnSpc>
                  <a:spcPct val="110000"/>
                </a:lnSpc>
                <a:buClrTx/>
                <a:defRPr/>
              </a:pPr>
              <a:endParaRPr lang="en-US" sz="1050" kern="1200" dirty="0">
                <a:solidFill>
                  <a:prstClr val="black"/>
                </a:solidFill>
                <a:ea typeface="ＭＳ Ｐゴシック" pitchFamily="50" charset="-128"/>
                <a:cs typeface="+mn-cs"/>
              </a:endParaRPr>
            </a:p>
          </p:txBody>
        </p:sp>
        <p:sp>
          <p:nvSpPr>
            <p:cNvPr id="14" name="Rectangle 13"/>
            <p:cNvSpPr>
              <a:spLocks noChangeArrowheads="1"/>
            </p:cNvSpPr>
            <p:nvPr/>
          </p:nvSpPr>
          <p:spPr bwMode="auto">
            <a:xfrm>
              <a:off x="2592" y="966"/>
              <a:ext cx="303" cy="119"/>
            </a:xfrm>
            <a:prstGeom prst="rect">
              <a:avLst/>
            </a:prstGeom>
            <a:grpFill/>
            <a:ln w="6350" algn="ctr">
              <a:solidFill>
                <a:srgbClr val="00A1DE"/>
              </a:solidFill>
              <a:miter lim="800000"/>
              <a:headEnd type="none" w="sm" len="sm"/>
              <a:tailEnd type="none" w="med" len="lg"/>
            </a:ln>
          </p:spPr>
          <p:txBody>
            <a:bodyPr tIns="68580" bIns="68580" anchor="ctr"/>
            <a:lstStyle/>
            <a:p>
              <a:pPr marL="9525" indent="-9525" algn="ctr" defTabSz="685800">
                <a:lnSpc>
                  <a:spcPct val="110000"/>
                </a:lnSpc>
                <a:buClrTx/>
                <a:defRPr/>
              </a:pPr>
              <a:endParaRPr lang="en-US" sz="1050" kern="1200" dirty="0">
                <a:solidFill>
                  <a:prstClr val="black"/>
                </a:solidFill>
                <a:ea typeface="ＭＳ Ｐゴシック" pitchFamily="50" charset="-128"/>
                <a:cs typeface="+mn-cs"/>
              </a:endParaRPr>
            </a:p>
          </p:txBody>
        </p:sp>
        <p:sp>
          <p:nvSpPr>
            <p:cNvPr id="15" name="Rectangle 14"/>
            <p:cNvSpPr>
              <a:spLocks noChangeArrowheads="1"/>
            </p:cNvSpPr>
            <p:nvPr/>
          </p:nvSpPr>
          <p:spPr bwMode="auto">
            <a:xfrm>
              <a:off x="2592" y="1116"/>
              <a:ext cx="303" cy="119"/>
            </a:xfrm>
            <a:prstGeom prst="rect">
              <a:avLst/>
            </a:prstGeom>
            <a:solidFill>
              <a:srgbClr val="00A1DE"/>
            </a:solidFill>
            <a:ln w="6350" algn="ctr">
              <a:solidFill>
                <a:srgbClr val="00A1DE"/>
              </a:solidFill>
              <a:miter lim="800000"/>
              <a:headEnd type="none" w="sm" len="sm"/>
              <a:tailEnd type="none" w="med" len="lg"/>
            </a:ln>
          </p:spPr>
          <p:txBody>
            <a:bodyPr tIns="68580" bIns="68580" anchor="ctr"/>
            <a:lstStyle/>
            <a:p>
              <a:pPr marL="9525" indent="-9525" algn="ctr" defTabSz="685800">
                <a:lnSpc>
                  <a:spcPct val="110000"/>
                </a:lnSpc>
                <a:buClrTx/>
                <a:defRPr/>
              </a:pPr>
              <a:endParaRPr lang="en-US" sz="1050" kern="1200" dirty="0">
                <a:solidFill>
                  <a:prstClr val="black"/>
                </a:solidFill>
                <a:ea typeface="ＭＳ Ｐゴシック" pitchFamily="50" charset="-128"/>
                <a:cs typeface="+mn-cs"/>
              </a:endParaRPr>
            </a:p>
          </p:txBody>
        </p:sp>
        <p:sp>
          <p:nvSpPr>
            <p:cNvPr id="16" name="Rectangle 15"/>
            <p:cNvSpPr>
              <a:spLocks noChangeArrowheads="1"/>
            </p:cNvSpPr>
            <p:nvPr/>
          </p:nvSpPr>
          <p:spPr bwMode="auto">
            <a:xfrm>
              <a:off x="2592" y="1267"/>
              <a:ext cx="303" cy="119"/>
            </a:xfrm>
            <a:prstGeom prst="rect">
              <a:avLst/>
            </a:prstGeom>
            <a:grpFill/>
            <a:ln w="6350" algn="ctr">
              <a:solidFill>
                <a:srgbClr val="00A1DE"/>
              </a:solidFill>
              <a:miter lim="800000"/>
              <a:headEnd type="none" w="sm" len="sm"/>
              <a:tailEnd type="none" w="med" len="lg"/>
            </a:ln>
          </p:spPr>
          <p:txBody>
            <a:bodyPr tIns="68580" bIns="68580" anchor="ctr"/>
            <a:lstStyle/>
            <a:p>
              <a:pPr marL="9525" indent="-9525" algn="ctr" defTabSz="685800">
                <a:lnSpc>
                  <a:spcPct val="110000"/>
                </a:lnSpc>
                <a:buClrTx/>
                <a:defRPr/>
              </a:pPr>
              <a:endParaRPr lang="en-US" sz="1050" kern="1200" dirty="0">
                <a:solidFill>
                  <a:prstClr val="black"/>
                </a:solidFill>
                <a:ea typeface="ＭＳ Ｐゴシック" pitchFamily="50" charset="-128"/>
                <a:cs typeface="+mn-cs"/>
              </a:endParaRPr>
            </a:p>
          </p:txBody>
        </p:sp>
        <p:cxnSp>
          <p:nvCxnSpPr>
            <p:cNvPr id="17" name="AutoShape 16"/>
            <p:cNvCxnSpPr>
              <a:cxnSpLocks noChangeShapeType="1"/>
              <a:stCxn id="14" idx="1"/>
              <a:endCxn id="13" idx="3"/>
            </p:cNvCxnSpPr>
            <p:nvPr/>
          </p:nvCxnSpPr>
          <p:spPr bwMode="auto">
            <a:xfrm rot="10800000" flipV="1">
              <a:off x="2380" y="1026"/>
              <a:ext cx="211" cy="150"/>
            </a:xfrm>
            <a:prstGeom prst="bentConnector3">
              <a:avLst>
                <a:gd name="adj1" fmla="val 50000"/>
              </a:avLst>
            </a:prstGeom>
            <a:grpFill/>
            <a:ln w="9525">
              <a:solidFill>
                <a:srgbClr val="B4B4B4"/>
              </a:solidFill>
              <a:miter lim="800000"/>
              <a:headEnd type="none" w="sm" len="sm"/>
              <a:tailEnd type="none" w="med" len="lg"/>
            </a:ln>
          </p:spPr>
        </p:cxnSp>
        <p:cxnSp>
          <p:nvCxnSpPr>
            <p:cNvPr id="18" name="AutoShape 17"/>
            <p:cNvCxnSpPr>
              <a:cxnSpLocks noChangeShapeType="1"/>
              <a:stCxn id="13" idx="3"/>
              <a:endCxn id="15" idx="1"/>
            </p:cNvCxnSpPr>
            <p:nvPr/>
          </p:nvCxnSpPr>
          <p:spPr bwMode="auto">
            <a:xfrm>
              <a:off x="2380" y="1176"/>
              <a:ext cx="211" cy="0"/>
            </a:xfrm>
            <a:prstGeom prst="straightConnector1">
              <a:avLst/>
            </a:prstGeom>
            <a:grpFill/>
            <a:ln w="9525">
              <a:solidFill>
                <a:srgbClr val="B4B4B4"/>
              </a:solidFill>
              <a:round/>
              <a:headEnd type="none" w="sm" len="sm"/>
              <a:tailEnd type="none" w="med" len="lg"/>
            </a:ln>
          </p:spPr>
        </p:cxnSp>
        <p:cxnSp>
          <p:nvCxnSpPr>
            <p:cNvPr id="19" name="AutoShape 18"/>
            <p:cNvCxnSpPr>
              <a:cxnSpLocks noChangeShapeType="1"/>
              <a:stCxn id="13" idx="3"/>
              <a:endCxn id="16" idx="1"/>
            </p:cNvCxnSpPr>
            <p:nvPr/>
          </p:nvCxnSpPr>
          <p:spPr bwMode="auto">
            <a:xfrm>
              <a:off x="2380" y="1176"/>
              <a:ext cx="211" cy="151"/>
            </a:xfrm>
            <a:prstGeom prst="bentConnector3">
              <a:avLst>
                <a:gd name="adj1" fmla="val 50000"/>
              </a:avLst>
            </a:prstGeom>
            <a:grpFill/>
            <a:ln w="9525">
              <a:solidFill>
                <a:srgbClr val="B4B4B4"/>
              </a:solidFill>
              <a:miter lim="800000"/>
              <a:headEnd type="none" w="sm" len="sm"/>
              <a:tailEnd type="none" w="med" len="lg"/>
            </a:ln>
          </p:spPr>
        </p:cxnSp>
      </p:grpSp>
      <p:grpSp>
        <p:nvGrpSpPr>
          <p:cNvPr id="700421" name="Group 19"/>
          <p:cNvGrpSpPr>
            <a:grpSpLocks/>
          </p:cNvGrpSpPr>
          <p:nvPr/>
        </p:nvGrpSpPr>
        <p:grpSpPr bwMode="auto">
          <a:xfrm>
            <a:off x="4902994" y="2150983"/>
            <a:ext cx="898922" cy="500063"/>
            <a:chOff x="807" y="2148"/>
            <a:chExt cx="818" cy="420"/>
          </a:xfrm>
          <a:solidFill>
            <a:schemeClr val="bg1"/>
          </a:solidFill>
        </p:grpSpPr>
        <p:sp>
          <p:nvSpPr>
            <p:cNvPr id="21" name="Rectangle 20"/>
            <p:cNvSpPr>
              <a:spLocks noChangeArrowheads="1"/>
            </p:cNvSpPr>
            <p:nvPr/>
          </p:nvSpPr>
          <p:spPr bwMode="auto">
            <a:xfrm>
              <a:off x="807" y="2299"/>
              <a:ext cx="303" cy="118"/>
            </a:xfrm>
            <a:prstGeom prst="rect">
              <a:avLst/>
            </a:prstGeom>
            <a:grpFill/>
            <a:ln w="6350" algn="ctr">
              <a:solidFill>
                <a:srgbClr val="00A1DE"/>
              </a:solidFill>
              <a:miter lim="800000"/>
              <a:headEnd type="none" w="sm" len="sm"/>
              <a:tailEnd type="none" w="med" len="lg"/>
            </a:ln>
          </p:spPr>
          <p:txBody>
            <a:bodyPr tIns="68580" bIns="68580" anchor="ctr"/>
            <a:lstStyle/>
            <a:p>
              <a:pPr marL="9525" indent="-9525" algn="ctr" defTabSz="685800">
                <a:lnSpc>
                  <a:spcPct val="110000"/>
                </a:lnSpc>
                <a:buClrTx/>
                <a:defRPr/>
              </a:pPr>
              <a:endParaRPr lang="en-US" sz="1050" kern="1200" dirty="0">
                <a:solidFill>
                  <a:prstClr val="black"/>
                </a:solidFill>
                <a:ea typeface="ＭＳ Ｐゴシック" pitchFamily="50" charset="-128"/>
                <a:cs typeface="+mn-cs"/>
              </a:endParaRPr>
            </a:p>
          </p:txBody>
        </p:sp>
        <p:sp>
          <p:nvSpPr>
            <p:cNvPr id="22" name="Rectangle 21"/>
            <p:cNvSpPr>
              <a:spLocks noChangeArrowheads="1"/>
            </p:cNvSpPr>
            <p:nvPr/>
          </p:nvSpPr>
          <p:spPr bwMode="auto">
            <a:xfrm>
              <a:off x="1322" y="2148"/>
              <a:ext cx="303" cy="119"/>
            </a:xfrm>
            <a:prstGeom prst="rect">
              <a:avLst/>
            </a:prstGeom>
            <a:grpFill/>
            <a:ln w="6350" algn="ctr">
              <a:solidFill>
                <a:srgbClr val="00A1DE"/>
              </a:solidFill>
              <a:miter lim="800000"/>
              <a:headEnd type="none" w="sm" len="sm"/>
              <a:tailEnd type="none" w="med" len="lg"/>
            </a:ln>
          </p:spPr>
          <p:txBody>
            <a:bodyPr tIns="68580" bIns="68580" anchor="ctr"/>
            <a:lstStyle/>
            <a:p>
              <a:pPr marL="9525" indent="-9525" algn="ctr" defTabSz="685800">
                <a:lnSpc>
                  <a:spcPct val="110000"/>
                </a:lnSpc>
                <a:buClrTx/>
                <a:defRPr/>
              </a:pPr>
              <a:endParaRPr lang="en-US" sz="1050" kern="1200" dirty="0">
                <a:solidFill>
                  <a:prstClr val="black"/>
                </a:solidFill>
                <a:ea typeface="ＭＳ Ｐゴシック" pitchFamily="50" charset="-128"/>
                <a:cs typeface="+mn-cs"/>
              </a:endParaRPr>
            </a:p>
          </p:txBody>
        </p:sp>
        <p:sp>
          <p:nvSpPr>
            <p:cNvPr id="23" name="Rectangle 22"/>
            <p:cNvSpPr>
              <a:spLocks noChangeArrowheads="1"/>
            </p:cNvSpPr>
            <p:nvPr/>
          </p:nvSpPr>
          <p:spPr bwMode="auto">
            <a:xfrm>
              <a:off x="1322" y="2298"/>
              <a:ext cx="303" cy="119"/>
            </a:xfrm>
            <a:prstGeom prst="rect">
              <a:avLst/>
            </a:prstGeom>
            <a:grpFill/>
            <a:ln w="6350" algn="ctr">
              <a:solidFill>
                <a:srgbClr val="00A1DE"/>
              </a:solidFill>
              <a:miter lim="800000"/>
              <a:headEnd type="none" w="sm" len="sm"/>
              <a:tailEnd type="none" w="med" len="lg"/>
            </a:ln>
          </p:spPr>
          <p:txBody>
            <a:bodyPr tIns="68580" bIns="68580" anchor="ctr"/>
            <a:lstStyle/>
            <a:p>
              <a:pPr marL="9525" indent="-9525" algn="ctr" defTabSz="685800">
                <a:lnSpc>
                  <a:spcPct val="110000"/>
                </a:lnSpc>
                <a:buClrTx/>
                <a:defRPr/>
              </a:pPr>
              <a:endParaRPr lang="en-US" sz="1050" kern="1200" dirty="0">
                <a:solidFill>
                  <a:prstClr val="black"/>
                </a:solidFill>
                <a:ea typeface="ＭＳ Ｐゴシック" pitchFamily="50" charset="-128"/>
                <a:cs typeface="+mn-cs"/>
              </a:endParaRPr>
            </a:p>
          </p:txBody>
        </p:sp>
        <p:sp>
          <p:nvSpPr>
            <p:cNvPr id="24" name="Rectangle 23"/>
            <p:cNvSpPr>
              <a:spLocks noChangeArrowheads="1"/>
            </p:cNvSpPr>
            <p:nvPr/>
          </p:nvSpPr>
          <p:spPr bwMode="auto">
            <a:xfrm>
              <a:off x="1322" y="2449"/>
              <a:ext cx="303" cy="119"/>
            </a:xfrm>
            <a:prstGeom prst="rect">
              <a:avLst/>
            </a:prstGeom>
            <a:solidFill>
              <a:srgbClr val="00A1DE"/>
            </a:solidFill>
            <a:ln w="6350" algn="ctr">
              <a:solidFill>
                <a:srgbClr val="00A1DE"/>
              </a:solidFill>
              <a:miter lim="800000"/>
              <a:headEnd type="none" w="sm" len="sm"/>
              <a:tailEnd type="none" w="med" len="lg"/>
            </a:ln>
          </p:spPr>
          <p:txBody>
            <a:bodyPr tIns="68580" bIns="68580" anchor="ctr"/>
            <a:lstStyle/>
            <a:p>
              <a:pPr marL="9525" indent="-9525" algn="ctr" defTabSz="685800">
                <a:lnSpc>
                  <a:spcPct val="110000"/>
                </a:lnSpc>
                <a:buClrTx/>
                <a:defRPr/>
              </a:pPr>
              <a:endParaRPr lang="en-US" sz="1050" kern="1200" dirty="0">
                <a:solidFill>
                  <a:prstClr val="black"/>
                </a:solidFill>
                <a:ea typeface="ＭＳ Ｐゴシック" pitchFamily="50" charset="-128"/>
                <a:cs typeface="+mn-cs"/>
              </a:endParaRPr>
            </a:p>
          </p:txBody>
        </p:sp>
        <p:cxnSp>
          <p:nvCxnSpPr>
            <p:cNvPr id="25" name="AutoShape 24"/>
            <p:cNvCxnSpPr>
              <a:cxnSpLocks noChangeShapeType="1"/>
              <a:stCxn id="22" idx="1"/>
              <a:endCxn id="21" idx="3"/>
            </p:cNvCxnSpPr>
            <p:nvPr/>
          </p:nvCxnSpPr>
          <p:spPr bwMode="auto">
            <a:xfrm rot="10800000" flipV="1">
              <a:off x="1110" y="2208"/>
              <a:ext cx="211" cy="150"/>
            </a:xfrm>
            <a:prstGeom prst="bentConnector3">
              <a:avLst>
                <a:gd name="adj1" fmla="val 50000"/>
              </a:avLst>
            </a:prstGeom>
            <a:grpFill/>
            <a:ln w="9525">
              <a:solidFill>
                <a:srgbClr val="B4B4B4"/>
              </a:solidFill>
              <a:miter lim="800000"/>
              <a:headEnd type="none" w="sm" len="sm"/>
              <a:tailEnd type="none" w="med" len="lg"/>
            </a:ln>
          </p:spPr>
        </p:cxnSp>
        <p:cxnSp>
          <p:nvCxnSpPr>
            <p:cNvPr id="26" name="AutoShape 25"/>
            <p:cNvCxnSpPr>
              <a:cxnSpLocks noChangeShapeType="1"/>
              <a:stCxn id="21" idx="3"/>
              <a:endCxn id="23" idx="1"/>
            </p:cNvCxnSpPr>
            <p:nvPr/>
          </p:nvCxnSpPr>
          <p:spPr bwMode="auto">
            <a:xfrm>
              <a:off x="1110" y="2358"/>
              <a:ext cx="211" cy="0"/>
            </a:xfrm>
            <a:prstGeom prst="straightConnector1">
              <a:avLst/>
            </a:prstGeom>
            <a:grpFill/>
            <a:ln w="9525">
              <a:solidFill>
                <a:srgbClr val="B4B4B4"/>
              </a:solidFill>
              <a:round/>
              <a:headEnd type="none" w="sm" len="sm"/>
              <a:tailEnd type="none" w="med" len="lg"/>
            </a:ln>
          </p:spPr>
        </p:cxnSp>
        <p:cxnSp>
          <p:nvCxnSpPr>
            <p:cNvPr id="27" name="AutoShape 26"/>
            <p:cNvCxnSpPr>
              <a:cxnSpLocks noChangeShapeType="1"/>
              <a:stCxn id="21" idx="3"/>
              <a:endCxn id="24" idx="1"/>
            </p:cNvCxnSpPr>
            <p:nvPr/>
          </p:nvCxnSpPr>
          <p:spPr bwMode="auto">
            <a:xfrm>
              <a:off x="1110" y="2358"/>
              <a:ext cx="211" cy="151"/>
            </a:xfrm>
            <a:prstGeom prst="bentConnector3">
              <a:avLst>
                <a:gd name="adj1" fmla="val 50000"/>
              </a:avLst>
            </a:prstGeom>
            <a:grpFill/>
            <a:ln w="9525">
              <a:solidFill>
                <a:srgbClr val="B4B4B4"/>
              </a:solidFill>
              <a:miter lim="800000"/>
              <a:headEnd type="none" w="sm" len="sm"/>
              <a:tailEnd type="none" w="med" len="lg"/>
            </a:ln>
          </p:spPr>
        </p:cxnSp>
      </p:grpSp>
      <p:grpSp>
        <p:nvGrpSpPr>
          <p:cNvPr id="700422" name="Group 27"/>
          <p:cNvGrpSpPr>
            <a:grpSpLocks/>
          </p:cNvGrpSpPr>
          <p:nvPr/>
        </p:nvGrpSpPr>
        <p:grpSpPr bwMode="auto">
          <a:xfrm>
            <a:off x="6513910" y="2152174"/>
            <a:ext cx="898922" cy="500063"/>
            <a:chOff x="807" y="2735"/>
            <a:chExt cx="818" cy="420"/>
          </a:xfrm>
          <a:solidFill>
            <a:schemeClr val="bg1"/>
          </a:solidFill>
        </p:grpSpPr>
        <p:sp>
          <p:nvSpPr>
            <p:cNvPr id="29" name="Rectangle 28"/>
            <p:cNvSpPr>
              <a:spLocks noChangeArrowheads="1"/>
            </p:cNvSpPr>
            <p:nvPr/>
          </p:nvSpPr>
          <p:spPr bwMode="auto">
            <a:xfrm>
              <a:off x="807" y="2886"/>
              <a:ext cx="303" cy="118"/>
            </a:xfrm>
            <a:prstGeom prst="rect">
              <a:avLst/>
            </a:prstGeom>
            <a:grpFill/>
            <a:ln w="6350" algn="ctr">
              <a:solidFill>
                <a:srgbClr val="00A1DE"/>
              </a:solidFill>
              <a:miter lim="800000"/>
              <a:headEnd type="none" w="sm" len="sm"/>
              <a:tailEnd type="none" w="med" len="lg"/>
            </a:ln>
          </p:spPr>
          <p:txBody>
            <a:bodyPr tIns="68580" bIns="68580" anchor="ctr"/>
            <a:lstStyle/>
            <a:p>
              <a:pPr marL="9525" indent="-9525" algn="ctr" defTabSz="685800">
                <a:lnSpc>
                  <a:spcPct val="110000"/>
                </a:lnSpc>
                <a:buClrTx/>
                <a:defRPr/>
              </a:pPr>
              <a:endParaRPr lang="en-US" sz="1050" kern="1200" dirty="0">
                <a:solidFill>
                  <a:prstClr val="black"/>
                </a:solidFill>
                <a:ea typeface="ＭＳ Ｐゴシック" pitchFamily="50" charset="-128"/>
                <a:cs typeface="+mn-cs"/>
              </a:endParaRPr>
            </a:p>
          </p:txBody>
        </p:sp>
        <p:sp>
          <p:nvSpPr>
            <p:cNvPr id="30" name="Rectangle 29"/>
            <p:cNvSpPr>
              <a:spLocks noChangeArrowheads="1"/>
            </p:cNvSpPr>
            <p:nvPr/>
          </p:nvSpPr>
          <p:spPr bwMode="auto">
            <a:xfrm>
              <a:off x="1322" y="2735"/>
              <a:ext cx="303" cy="119"/>
            </a:xfrm>
            <a:prstGeom prst="rect">
              <a:avLst/>
            </a:prstGeom>
            <a:grpFill/>
            <a:ln w="6350" algn="ctr">
              <a:solidFill>
                <a:srgbClr val="00A1DE"/>
              </a:solidFill>
              <a:miter lim="800000"/>
              <a:headEnd type="none" w="sm" len="sm"/>
              <a:tailEnd type="none" w="med" len="lg"/>
            </a:ln>
          </p:spPr>
          <p:txBody>
            <a:bodyPr tIns="68580" bIns="68580" anchor="ctr"/>
            <a:lstStyle/>
            <a:p>
              <a:pPr marL="9525" indent="-9525" algn="ctr" defTabSz="685800">
                <a:lnSpc>
                  <a:spcPct val="110000"/>
                </a:lnSpc>
                <a:buClrTx/>
                <a:defRPr/>
              </a:pPr>
              <a:endParaRPr lang="en-US" sz="1050" kern="1200" dirty="0">
                <a:solidFill>
                  <a:prstClr val="black"/>
                </a:solidFill>
                <a:ea typeface="ＭＳ Ｐゴシック" pitchFamily="50" charset="-128"/>
                <a:cs typeface="+mn-cs"/>
              </a:endParaRPr>
            </a:p>
          </p:txBody>
        </p:sp>
        <p:sp>
          <p:nvSpPr>
            <p:cNvPr id="31" name="Rectangle 30"/>
            <p:cNvSpPr>
              <a:spLocks noChangeArrowheads="1"/>
            </p:cNvSpPr>
            <p:nvPr/>
          </p:nvSpPr>
          <p:spPr bwMode="auto">
            <a:xfrm>
              <a:off x="1322" y="2885"/>
              <a:ext cx="303" cy="119"/>
            </a:xfrm>
            <a:prstGeom prst="rect">
              <a:avLst/>
            </a:prstGeom>
            <a:grpFill/>
            <a:ln w="6350" algn="ctr">
              <a:solidFill>
                <a:srgbClr val="00A1DE"/>
              </a:solidFill>
              <a:miter lim="800000"/>
              <a:headEnd type="none" w="sm" len="sm"/>
              <a:tailEnd type="none" w="med" len="lg"/>
            </a:ln>
          </p:spPr>
          <p:txBody>
            <a:bodyPr tIns="68580" bIns="68580" anchor="ctr"/>
            <a:lstStyle/>
            <a:p>
              <a:pPr marL="9525" indent="-9525" algn="ctr" defTabSz="685800">
                <a:lnSpc>
                  <a:spcPct val="110000"/>
                </a:lnSpc>
                <a:buClrTx/>
                <a:defRPr/>
              </a:pPr>
              <a:endParaRPr lang="en-US" sz="1050" kern="1200" dirty="0">
                <a:solidFill>
                  <a:prstClr val="black"/>
                </a:solidFill>
                <a:ea typeface="ＭＳ Ｐゴシック" pitchFamily="50" charset="-128"/>
                <a:cs typeface="+mn-cs"/>
              </a:endParaRPr>
            </a:p>
          </p:txBody>
        </p:sp>
        <p:sp>
          <p:nvSpPr>
            <p:cNvPr id="32" name="Rectangle 31"/>
            <p:cNvSpPr>
              <a:spLocks noChangeArrowheads="1"/>
            </p:cNvSpPr>
            <p:nvPr/>
          </p:nvSpPr>
          <p:spPr bwMode="auto">
            <a:xfrm>
              <a:off x="1322" y="3036"/>
              <a:ext cx="303" cy="119"/>
            </a:xfrm>
            <a:prstGeom prst="rect">
              <a:avLst/>
            </a:prstGeom>
            <a:grpFill/>
            <a:ln w="6350" algn="ctr">
              <a:solidFill>
                <a:srgbClr val="00A1DE"/>
              </a:solidFill>
              <a:miter lim="800000"/>
              <a:headEnd type="none" w="sm" len="sm"/>
              <a:tailEnd type="none" w="med" len="lg"/>
            </a:ln>
          </p:spPr>
          <p:txBody>
            <a:bodyPr tIns="68580" bIns="68580" anchor="ctr"/>
            <a:lstStyle/>
            <a:p>
              <a:pPr marL="9525" indent="-9525" algn="ctr" defTabSz="685800">
                <a:lnSpc>
                  <a:spcPct val="110000"/>
                </a:lnSpc>
                <a:buClrTx/>
                <a:defRPr/>
              </a:pPr>
              <a:endParaRPr lang="en-US" sz="1050" kern="1200" dirty="0">
                <a:solidFill>
                  <a:prstClr val="black"/>
                </a:solidFill>
                <a:ea typeface="ＭＳ Ｐゴシック" pitchFamily="50" charset="-128"/>
                <a:cs typeface="+mn-cs"/>
              </a:endParaRPr>
            </a:p>
          </p:txBody>
        </p:sp>
        <p:cxnSp>
          <p:nvCxnSpPr>
            <p:cNvPr id="33" name="AutoShape 32"/>
            <p:cNvCxnSpPr>
              <a:cxnSpLocks noChangeShapeType="1"/>
              <a:stCxn id="30" idx="1"/>
              <a:endCxn id="29" idx="3"/>
            </p:cNvCxnSpPr>
            <p:nvPr/>
          </p:nvCxnSpPr>
          <p:spPr bwMode="auto">
            <a:xfrm rot="10800000" flipV="1">
              <a:off x="1110" y="2795"/>
              <a:ext cx="211" cy="150"/>
            </a:xfrm>
            <a:prstGeom prst="bentConnector3">
              <a:avLst>
                <a:gd name="adj1" fmla="val 50000"/>
              </a:avLst>
            </a:prstGeom>
            <a:grpFill/>
            <a:ln w="9525">
              <a:solidFill>
                <a:srgbClr val="B4B4B4"/>
              </a:solidFill>
              <a:miter lim="800000"/>
              <a:headEnd type="none" w="sm" len="sm"/>
              <a:tailEnd type="none" w="med" len="lg"/>
            </a:ln>
          </p:spPr>
        </p:cxnSp>
        <p:cxnSp>
          <p:nvCxnSpPr>
            <p:cNvPr id="34" name="AutoShape 33"/>
            <p:cNvCxnSpPr>
              <a:cxnSpLocks noChangeShapeType="1"/>
              <a:stCxn id="29" idx="3"/>
              <a:endCxn id="31" idx="1"/>
            </p:cNvCxnSpPr>
            <p:nvPr/>
          </p:nvCxnSpPr>
          <p:spPr bwMode="auto">
            <a:xfrm>
              <a:off x="1110" y="2945"/>
              <a:ext cx="211" cy="0"/>
            </a:xfrm>
            <a:prstGeom prst="straightConnector1">
              <a:avLst/>
            </a:prstGeom>
            <a:grpFill/>
            <a:ln w="9525">
              <a:solidFill>
                <a:srgbClr val="B4B4B4"/>
              </a:solidFill>
              <a:round/>
              <a:headEnd type="none" w="sm" len="sm"/>
              <a:tailEnd type="none" w="med" len="lg"/>
            </a:ln>
          </p:spPr>
        </p:cxnSp>
        <p:cxnSp>
          <p:nvCxnSpPr>
            <p:cNvPr id="35" name="AutoShape 34"/>
            <p:cNvCxnSpPr>
              <a:cxnSpLocks noChangeShapeType="1"/>
              <a:stCxn id="29" idx="3"/>
              <a:endCxn id="32" idx="1"/>
            </p:cNvCxnSpPr>
            <p:nvPr/>
          </p:nvCxnSpPr>
          <p:spPr bwMode="auto">
            <a:xfrm>
              <a:off x="1110" y="2945"/>
              <a:ext cx="211" cy="151"/>
            </a:xfrm>
            <a:prstGeom prst="bentConnector3">
              <a:avLst>
                <a:gd name="adj1" fmla="val 50000"/>
              </a:avLst>
            </a:prstGeom>
            <a:grpFill/>
            <a:ln w="9525">
              <a:solidFill>
                <a:srgbClr val="B4B4B4"/>
              </a:solidFill>
              <a:miter lim="800000"/>
              <a:headEnd type="none" w="sm" len="sm"/>
              <a:tailEnd type="none" w="med" len="lg"/>
            </a:ln>
          </p:spPr>
        </p:cxnSp>
      </p:grpSp>
      <p:grpSp>
        <p:nvGrpSpPr>
          <p:cNvPr id="700423" name="Group 35"/>
          <p:cNvGrpSpPr>
            <a:grpSpLocks/>
          </p:cNvGrpSpPr>
          <p:nvPr/>
        </p:nvGrpSpPr>
        <p:grpSpPr bwMode="auto">
          <a:xfrm>
            <a:off x="1679972" y="1268730"/>
            <a:ext cx="898922" cy="425054"/>
            <a:chOff x="807" y="998"/>
            <a:chExt cx="818" cy="357"/>
          </a:xfrm>
          <a:solidFill>
            <a:schemeClr val="bg1"/>
          </a:solidFill>
        </p:grpSpPr>
        <p:sp>
          <p:nvSpPr>
            <p:cNvPr id="37" name="Rectangle 36"/>
            <p:cNvSpPr>
              <a:spLocks noChangeArrowheads="1"/>
            </p:cNvSpPr>
            <p:nvPr/>
          </p:nvSpPr>
          <p:spPr bwMode="auto">
            <a:xfrm>
              <a:off x="807" y="1117"/>
              <a:ext cx="303" cy="118"/>
            </a:xfrm>
            <a:prstGeom prst="rect">
              <a:avLst/>
            </a:prstGeom>
            <a:grpFill/>
            <a:ln w="6350" algn="ctr">
              <a:solidFill>
                <a:srgbClr val="00A1DE"/>
              </a:solidFill>
              <a:miter lim="800000"/>
              <a:headEnd type="none" w="sm" len="sm"/>
              <a:tailEnd type="none" w="med" len="lg"/>
            </a:ln>
          </p:spPr>
          <p:txBody>
            <a:bodyPr tIns="68580" bIns="68580" anchor="ctr"/>
            <a:lstStyle/>
            <a:p>
              <a:pPr marL="9525" indent="-9525" algn="ctr" defTabSz="685800">
                <a:lnSpc>
                  <a:spcPct val="110000"/>
                </a:lnSpc>
                <a:buClrTx/>
                <a:defRPr/>
              </a:pPr>
              <a:endParaRPr lang="en-US" sz="1050" kern="1200" dirty="0">
                <a:solidFill>
                  <a:prstClr val="black"/>
                </a:solidFill>
                <a:ea typeface="ＭＳ Ｐゴシック" pitchFamily="50" charset="-128"/>
                <a:cs typeface="+mn-cs"/>
              </a:endParaRPr>
            </a:p>
          </p:txBody>
        </p:sp>
        <p:sp>
          <p:nvSpPr>
            <p:cNvPr id="38" name="Rectangle 37"/>
            <p:cNvSpPr>
              <a:spLocks noChangeArrowheads="1"/>
            </p:cNvSpPr>
            <p:nvPr/>
          </p:nvSpPr>
          <p:spPr bwMode="auto">
            <a:xfrm>
              <a:off x="1322" y="998"/>
              <a:ext cx="303" cy="119"/>
            </a:xfrm>
            <a:prstGeom prst="rect">
              <a:avLst/>
            </a:prstGeom>
            <a:solidFill>
              <a:srgbClr val="00A1DE"/>
            </a:solidFill>
            <a:ln w="6350" algn="ctr">
              <a:solidFill>
                <a:srgbClr val="00A1DE"/>
              </a:solidFill>
              <a:miter lim="800000"/>
              <a:headEnd type="none" w="sm" len="sm"/>
              <a:tailEnd type="none" w="med" len="lg"/>
            </a:ln>
          </p:spPr>
          <p:txBody>
            <a:bodyPr tIns="68580" bIns="68580" anchor="ctr"/>
            <a:lstStyle/>
            <a:p>
              <a:pPr marL="9525" indent="-9525" algn="ctr" defTabSz="685800">
                <a:lnSpc>
                  <a:spcPct val="110000"/>
                </a:lnSpc>
                <a:buClrTx/>
                <a:defRPr/>
              </a:pPr>
              <a:endParaRPr lang="en-US" sz="1050" kern="1200" dirty="0">
                <a:solidFill>
                  <a:prstClr val="black"/>
                </a:solidFill>
                <a:ea typeface="ＭＳ Ｐゴシック" pitchFamily="50" charset="-128"/>
                <a:cs typeface="+mn-cs"/>
              </a:endParaRPr>
            </a:p>
          </p:txBody>
        </p:sp>
        <p:sp>
          <p:nvSpPr>
            <p:cNvPr id="39" name="Rectangle 38"/>
            <p:cNvSpPr>
              <a:spLocks noChangeArrowheads="1"/>
            </p:cNvSpPr>
            <p:nvPr/>
          </p:nvSpPr>
          <p:spPr bwMode="auto">
            <a:xfrm>
              <a:off x="1322" y="1236"/>
              <a:ext cx="303" cy="119"/>
            </a:xfrm>
            <a:prstGeom prst="rect">
              <a:avLst/>
            </a:prstGeom>
            <a:grpFill/>
            <a:ln w="6350" algn="ctr">
              <a:solidFill>
                <a:srgbClr val="00A1DE"/>
              </a:solidFill>
              <a:miter lim="800000"/>
              <a:headEnd type="none" w="sm" len="sm"/>
              <a:tailEnd type="none" w="med" len="lg"/>
            </a:ln>
          </p:spPr>
          <p:txBody>
            <a:bodyPr tIns="68580" bIns="68580" anchor="ctr"/>
            <a:lstStyle/>
            <a:p>
              <a:pPr marL="9525" indent="-9525" algn="ctr" defTabSz="685800">
                <a:lnSpc>
                  <a:spcPct val="110000"/>
                </a:lnSpc>
                <a:buClrTx/>
                <a:defRPr/>
              </a:pPr>
              <a:endParaRPr lang="en-US" sz="1050" kern="1200" dirty="0">
                <a:solidFill>
                  <a:prstClr val="black"/>
                </a:solidFill>
                <a:ea typeface="ＭＳ Ｐゴシック" pitchFamily="50" charset="-128"/>
                <a:cs typeface="+mn-cs"/>
              </a:endParaRPr>
            </a:p>
          </p:txBody>
        </p:sp>
        <p:cxnSp>
          <p:nvCxnSpPr>
            <p:cNvPr id="40" name="AutoShape 39"/>
            <p:cNvCxnSpPr>
              <a:cxnSpLocks noChangeShapeType="1"/>
              <a:stCxn id="38" idx="1"/>
              <a:endCxn id="37" idx="3"/>
            </p:cNvCxnSpPr>
            <p:nvPr/>
          </p:nvCxnSpPr>
          <p:spPr bwMode="auto">
            <a:xfrm rot="10800000" flipV="1">
              <a:off x="1110" y="1058"/>
              <a:ext cx="211" cy="118"/>
            </a:xfrm>
            <a:prstGeom prst="bentConnector3">
              <a:avLst>
                <a:gd name="adj1" fmla="val 50000"/>
              </a:avLst>
            </a:prstGeom>
            <a:grpFill/>
            <a:ln w="9525">
              <a:solidFill>
                <a:srgbClr val="B4B4B4"/>
              </a:solidFill>
              <a:miter lim="800000"/>
              <a:headEnd type="none" w="sm" len="sm"/>
              <a:tailEnd type="none" w="med" len="lg"/>
            </a:ln>
          </p:spPr>
        </p:cxnSp>
        <p:cxnSp>
          <p:nvCxnSpPr>
            <p:cNvPr id="41" name="AutoShape 40"/>
            <p:cNvCxnSpPr>
              <a:cxnSpLocks noChangeShapeType="1"/>
              <a:stCxn id="37" idx="3"/>
              <a:endCxn id="39" idx="1"/>
            </p:cNvCxnSpPr>
            <p:nvPr/>
          </p:nvCxnSpPr>
          <p:spPr bwMode="auto">
            <a:xfrm>
              <a:off x="1110" y="1176"/>
              <a:ext cx="211" cy="120"/>
            </a:xfrm>
            <a:prstGeom prst="bentConnector3">
              <a:avLst>
                <a:gd name="adj1" fmla="val 50000"/>
              </a:avLst>
            </a:prstGeom>
            <a:grpFill/>
            <a:ln w="9525">
              <a:solidFill>
                <a:srgbClr val="B4B4B4"/>
              </a:solidFill>
              <a:miter lim="800000"/>
              <a:headEnd type="none" w="sm" len="sm"/>
              <a:tailEnd type="none" w="med" len="lg"/>
            </a:ln>
          </p:spPr>
        </p:cxnSp>
      </p:grpSp>
      <p:grpSp>
        <p:nvGrpSpPr>
          <p:cNvPr id="700424" name="Group 41"/>
          <p:cNvGrpSpPr>
            <a:grpSpLocks/>
          </p:cNvGrpSpPr>
          <p:nvPr/>
        </p:nvGrpSpPr>
        <p:grpSpPr bwMode="auto">
          <a:xfrm>
            <a:off x="4096941" y="1268730"/>
            <a:ext cx="898922" cy="425054"/>
            <a:chOff x="2061" y="998"/>
            <a:chExt cx="818" cy="357"/>
          </a:xfrm>
          <a:solidFill>
            <a:schemeClr val="bg1"/>
          </a:solidFill>
        </p:grpSpPr>
        <p:sp>
          <p:nvSpPr>
            <p:cNvPr id="43" name="Rectangle 42"/>
            <p:cNvSpPr>
              <a:spLocks noChangeArrowheads="1"/>
            </p:cNvSpPr>
            <p:nvPr/>
          </p:nvSpPr>
          <p:spPr bwMode="auto">
            <a:xfrm>
              <a:off x="2061" y="1117"/>
              <a:ext cx="303" cy="118"/>
            </a:xfrm>
            <a:prstGeom prst="rect">
              <a:avLst/>
            </a:prstGeom>
            <a:grpFill/>
            <a:ln w="6350" algn="ctr">
              <a:solidFill>
                <a:srgbClr val="00A1DE"/>
              </a:solidFill>
              <a:miter lim="800000"/>
              <a:headEnd type="none" w="sm" len="sm"/>
              <a:tailEnd type="none" w="med" len="lg"/>
            </a:ln>
          </p:spPr>
          <p:txBody>
            <a:bodyPr tIns="68580" bIns="68580" anchor="ctr"/>
            <a:lstStyle/>
            <a:p>
              <a:pPr marL="9525" indent="-9525" algn="ctr" defTabSz="685800">
                <a:lnSpc>
                  <a:spcPct val="110000"/>
                </a:lnSpc>
                <a:buClrTx/>
                <a:defRPr/>
              </a:pPr>
              <a:endParaRPr lang="en-US" sz="1050" kern="1200" dirty="0">
                <a:solidFill>
                  <a:prstClr val="black"/>
                </a:solidFill>
                <a:ea typeface="ＭＳ Ｐゴシック" pitchFamily="50" charset="-128"/>
                <a:cs typeface="+mn-cs"/>
              </a:endParaRPr>
            </a:p>
          </p:txBody>
        </p:sp>
        <p:sp>
          <p:nvSpPr>
            <p:cNvPr id="44" name="Rectangle 43"/>
            <p:cNvSpPr>
              <a:spLocks noChangeArrowheads="1"/>
            </p:cNvSpPr>
            <p:nvPr/>
          </p:nvSpPr>
          <p:spPr bwMode="auto">
            <a:xfrm>
              <a:off x="2576" y="998"/>
              <a:ext cx="303" cy="119"/>
            </a:xfrm>
            <a:prstGeom prst="rect">
              <a:avLst/>
            </a:prstGeom>
            <a:grpFill/>
            <a:ln w="6350" algn="ctr">
              <a:solidFill>
                <a:srgbClr val="00A1DE"/>
              </a:solidFill>
              <a:miter lim="800000"/>
              <a:headEnd type="none" w="sm" len="sm"/>
              <a:tailEnd type="none" w="med" len="lg"/>
            </a:ln>
          </p:spPr>
          <p:txBody>
            <a:bodyPr tIns="68580" bIns="68580" anchor="ctr"/>
            <a:lstStyle/>
            <a:p>
              <a:pPr marL="9525" indent="-9525" algn="ctr" defTabSz="685800">
                <a:lnSpc>
                  <a:spcPct val="110000"/>
                </a:lnSpc>
                <a:buClrTx/>
                <a:defRPr/>
              </a:pPr>
              <a:endParaRPr lang="en-US" sz="1050" kern="1200" dirty="0">
                <a:solidFill>
                  <a:prstClr val="black"/>
                </a:solidFill>
                <a:ea typeface="ＭＳ Ｐゴシック" pitchFamily="50" charset="-128"/>
                <a:cs typeface="+mn-cs"/>
              </a:endParaRPr>
            </a:p>
          </p:txBody>
        </p:sp>
        <p:sp>
          <p:nvSpPr>
            <p:cNvPr id="45" name="Rectangle 44"/>
            <p:cNvSpPr>
              <a:spLocks noChangeArrowheads="1"/>
            </p:cNvSpPr>
            <p:nvPr/>
          </p:nvSpPr>
          <p:spPr bwMode="auto">
            <a:xfrm>
              <a:off x="2576" y="1236"/>
              <a:ext cx="303" cy="119"/>
            </a:xfrm>
            <a:prstGeom prst="rect">
              <a:avLst/>
            </a:prstGeom>
            <a:solidFill>
              <a:srgbClr val="00A1DE"/>
            </a:solidFill>
            <a:ln w="6350" algn="ctr">
              <a:solidFill>
                <a:srgbClr val="00A1DE"/>
              </a:solidFill>
              <a:miter lim="800000"/>
              <a:headEnd type="none" w="sm" len="sm"/>
              <a:tailEnd type="none" w="med" len="lg"/>
            </a:ln>
          </p:spPr>
          <p:txBody>
            <a:bodyPr tIns="68580" bIns="68580" anchor="ctr"/>
            <a:lstStyle/>
            <a:p>
              <a:pPr marL="9525" indent="-9525" algn="ctr" defTabSz="685800">
                <a:lnSpc>
                  <a:spcPct val="110000"/>
                </a:lnSpc>
                <a:buClrTx/>
                <a:defRPr/>
              </a:pPr>
              <a:endParaRPr lang="en-US" sz="1050" kern="1200" dirty="0">
                <a:solidFill>
                  <a:prstClr val="black"/>
                </a:solidFill>
                <a:ea typeface="ＭＳ Ｐゴシック" pitchFamily="50" charset="-128"/>
                <a:cs typeface="+mn-cs"/>
              </a:endParaRPr>
            </a:p>
          </p:txBody>
        </p:sp>
        <p:cxnSp>
          <p:nvCxnSpPr>
            <p:cNvPr id="46" name="AutoShape 45"/>
            <p:cNvCxnSpPr>
              <a:cxnSpLocks noChangeShapeType="1"/>
              <a:stCxn id="44" idx="1"/>
              <a:endCxn id="43" idx="3"/>
            </p:cNvCxnSpPr>
            <p:nvPr/>
          </p:nvCxnSpPr>
          <p:spPr bwMode="auto">
            <a:xfrm rot="10800000" flipV="1">
              <a:off x="2364" y="1058"/>
              <a:ext cx="211" cy="118"/>
            </a:xfrm>
            <a:prstGeom prst="bentConnector3">
              <a:avLst>
                <a:gd name="adj1" fmla="val 50000"/>
              </a:avLst>
            </a:prstGeom>
            <a:grpFill/>
            <a:ln w="9525">
              <a:solidFill>
                <a:srgbClr val="B4B4B4"/>
              </a:solidFill>
              <a:miter lim="800000"/>
              <a:headEnd type="none" w="sm" len="sm"/>
              <a:tailEnd type="none" w="med" len="lg"/>
            </a:ln>
          </p:spPr>
        </p:cxnSp>
        <p:cxnSp>
          <p:nvCxnSpPr>
            <p:cNvPr id="47" name="AutoShape 46"/>
            <p:cNvCxnSpPr>
              <a:cxnSpLocks noChangeShapeType="1"/>
              <a:stCxn id="43" idx="3"/>
              <a:endCxn id="45" idx="1"/>
            </p:cNvCxnSpPr>
            <p:nvPr/>
          </p:nvCxnSpPr>
          <p:spPr bwMode="auto">
            <a:xfrm>
              <a:off x="2364" y="1176"/>
              <a:ext cx="211" cy="120"/>
            </a:xfrm>
            <a:prstGeom prst="bentConnector3">
              <a:avLst>
                <a:gd name="adj1" fmla="val 50000"/>
              </a:avLst>
            </a:prstGeom>
            <a:grpFill/>
            <a:ln w="9525">
              <a:solidFill>
                <a:srgbClr val="B4B4B4"/>
              </a:solidFill>
              <a:miter lim="800000"/>
              <a:headEnd type="none" w="sm" len="sm"/>
              <a:tailEnd type="none" w="med" len="lg"/>
            </a:ln>
          </p:spPr>
        </p:cxnSp>
      </p:grpSp>
      <p:grpSp>
        <p:nvGrpSpPr>
          <p:cNvPr id="700425" name="Group 47"/>
          <p:cNvGrpSpPr>
            <a:grpSpLocks/>
          </p:cNvGrpSpPr>
          <p:nvPr/>
        </p:nvGrpSpPr>
        <p:grpSpPr bwMode="auto">
          <a:xfrm>
            <a:off x="6513910" y="1268730"/>
            <a:ext cx="898922" cy="425054"/>
            <a:chOff x="3331" y="998"/>
            <a:chExt cx="818" cy="357"/>
          </a:xfrm>
          <a:solidFill>
            <a:schemeClr val="bg1"/>
          </a:solidFill>
        </p:grpSpPr>
        <p:sp>
          <p:nvSpPr>
            <p:cNvPr id="49" name="Rectangle 48"/>
            <p:cNvSpPr>
              <a:spLocks noChangeArrowheads="1"/>
            </p:cNvSpPr>
            <p:nvPr/>
          </p:nvSpPr>
          <p:spPr bwMode="auto">
            <a:xfrm>
              <a:off x="3331" y="1117"/>
              <a:ext cx="303" cy="118"/>
            </a:xfrm>
            <a:prstGeom prst="rect">
              <a:avLst/>
            </a:prstGeom>
            <a:grpFill/>
            <a:ln w="6350" algn="ctr">
              <a:solidFill>
                <a:srgbClr val="00A1DE"/>
              </a:solidFill>
              <a:miter lim="800000"/>
              <a:headEnd type="none" w="sm" len="sm"/>
              <a:tailEnd type="none" w="med" len="lg"/>
            </a:ln>
          </p:spPr>
          <p:txBody>
            <a:bodyPr tIns="68580" bIns="68580" anchor="ctr"/>
            <a:lstStyle/>
            <a:p>
              <a:pPr marL="9525" indent="-9525" algn="ctr" defTabSz="685800">
                <a:lnSpc>
                  <a:spcPct val="110000"/>
                </a:lnSpc>
                <a:buClrTx/>
                <a:defRPr/>
              </a:pPr>
              <a:endParaRPr lang="en-US" sz="1050" kern="1200" dirty="0">
                <a:solidFill>
                  <a:prstClr val="black"/>
                </a:solidFill>
                <a:ea typeface="ＭＳ Ｐゴシック" pitchFamily="50" charset="-128"/>
                <a:cs typeface="+mn-cs"/>
              </a:endParaRPr>
            </a:p>
          </p:txBody>
        </p:sp>
        <p:sp>
          <p:nvSpPr>
            <p:cNvPr id="50" name="Rectangle 49"/>
            <p:cNvSpPr>
              <a:spLocks noChangeArrowheads="1"/>
            </p:cNvSpPr>
            <p:nvPr/>
          </p:nvSpPr>
          <p:spPr bwMode="auto">
            <a:xfrm>
              <a:off x="3846" y="998"/>
              <a:ext cx="303" cy="119"/>
            </a:xfrm>
            <a:prstGeom prst="rect">
              <a:avLst/>
            </a:prstGeom>
            <a:grpFill/>
            <a:ln w="6350" algn="ctr">
              <a:solidFill>
                <a:srgbClr val="00A1DE"/>
              </a:solidFill>
              <a:miter lim="800000"/>
              <a:headEnd type="none" w="sm" len="sm"/>
              <a:tailEnd type="none" w="med" len="lg"/>
            </a:ln>
          </p:spPr>
          <p:txBody>
            <a:bodyPr tIns="68580" bIns="68580" anchor="ctr"/>
            <a:lstStyle/>
            <a:p>
              <a:pPr marL="9525" indent="-9525" algn="ctr" defTabSz="685800">
                <a:lnSpc>
                  <a:spcPct val="110000"/>
                </a:lnSpc>
                <a:buClrTx/>
                <a:defRPr/>
              </a:pPr>
              <a:endParaRPr lang="en-US" sz="1050" kern="1200" dirty="0">
                <a:solidFill>
                  <a:prstClr val="black"/>
                </a:solidFill>
                <a:ea typeface="ＭＳ Ｐゴシック" pitchFamily="50" charset="-128"/>
                <a:cs typeface="+mn-cs"/>
              </a:endParaRPr>
            </a:p>
          </p:txBody>
        </p:sp>
        <p:sp>
          <p:nvSpPr>
            <p:cNvPr id="51" name="Rectangle 50"/>
            <p:cNvSpPr>
              <a:spLocks noChangeArrowheads="1"/>
            </p:cNvSpPr>
            <p:nvPr/>
          </p:nvSpPr>
          <p:spPr bwMode="auto">
            <a:xfrm>
              <a:off x="3846" y="1236"/>
              <a:ext cx="303" cy="119"/>
            </a:xfrm>
            <a:prstGeom prst="rect">
              <a:avLst/>
            </a:prstGeom>
            <a:grpFill/>
            <a:ln w="6350" algn="ctr">
              <a:solidFill>
                <a:srgbClr val="00A1DE"/>
              </a:solidFill>
              <a:miter lim="800000"/>
              <a:headEnd type="none" w="sm" len="sm"/>
              <a:tailEnd type="none" w="med" len="lg"/>
            </a:ln>
          </p:spPr>
          <p:txBody>
            <a:bodyPr tIns="68580" bIns="68580" anchor="ctr"/>
            <a:lstStyle/>
            <a:p>
              <a:pPr marL="9525" indent="-9525" algn="ctr" defTabSz="685800">
                <a:lnSpc>
                  <a:spcPct val="110000"/>
                </a:lnSpc>
                <a:buClrTx/>
                <a:defRPr/>
              </a:pPr>
              <a:endParaRPr lang="en-US" sz="1050" kern="1200" dirty="0">
                <a:solidFill>
                  <a:prstClr val="black"/>
                </a:solidFill>
                <a:ea typeface="ＭＳ Ｐゴシック" pitchFamily="50" charset="-128"/>
                <a:cs typeface="+mn-cs"/>
              </a:endParaRPr>
            </a:p>
          </p:txBody>
        </p:sp>
        <p:cxnSp>
          <p:nvCxnSpPr>
            <p:cNvPr id="52" name="AutoShape 51"/>
            <p:cNvCxnSpPr>
              <a:cxnSpLocks noChangeShapeType="1"/>
              <a:stCxn id="50" idx="1"/>
              <a:endCxn id="49" idx="3"/>
            </p:cNvCxnSpPr>
            <p:nvPr/>
          </p:nvCxnSpPr>
          <p:spPr bwMode="auto">
            <a:xfrm rot="10800000" flipV="1">
              <a:off x="3634" y="1058"/>
              <a:ext cx="211" cy="118"/>
            </a:xfrm>
            <a:prstGeom prst="bentConnector3">
              <a:avLst>
                <a:gd name="adj1" fmla="val 50000"/>
              </a:avLst>
            </a:prstGeom>
            <a:grpFill/>
            <a:ln w="9525">
              <a:solidFill>
                <a:srgbClr val="B4B4B4"/>
              </a:solidFill>
              <a:miter lim="800000"/>
              <a:headEnd type="none" w="sm" len="sm"/>
              <a:tailEnd type="none" w="med" len="lg"/>
            </a:ln>
          </p:spPr>
        </p:cxnSp>
        <p:cxnSp>
          <p:nvCxnSpPr>
            <p:cNvPr id="53" name="AutoShape 52"/>
            <p:cNvCxnSpPr>
              <a:cxnSpLocks noChangeShapeType="1"/>
              <a:stCxn id="49" idx="3"/>
              <a:endCxn id="51" idx="1"/>
            </p:cNvCxnSpPr>
            <p:nvPr/>
          </p:nvCxnSpPr>
          <p:spPr bwMode="auto">
            <a:xfrm>
              <a:off x="3634" y="1176"/>
              <a:ext cx="211" cy="120"/>
            </a:xfrm>
            <a:prstGeom prst="bentConnector3">
              <a:avLst>
                <a:gd name="adj1" fmla="val 50000"/>
              </a:avLst>
            </a:prstGeom>
            <a:grpFill/>
            <a:ln w="9525">
              <a:solidFill>
                <a:srgbClr val="B4B4B4"/>
              </a:solidFill>
              <a:miter lim="800000"/>
              <a:headEnd type="none" w="sm" len="sm"/>
              <a:tailEnd type="none" w="med" len="lg"/>
            </a:ln>
          </p:spPr>
        </p:cxnSp>
      </p:grpSp>
      <p:grpSp>
        <p:nvGrpSpPr>
          <p:cNvPr id="700426" name="Group 53"/>
          <p:cNvGrpSpPr>
            <a:grpSpLocks/>
          </p:cNvGrpSpPr>
          <p:nvPr/>
        </p:nvGrpSpPr>
        <p:grpSpPr bwMode="auto">
          <a:xfrm>
            <a:off x="2864644" y="4110752"/>
            <a:ext cx="995363" cy="161925"/>
            <a:chOff x="852" y="3385"/>
            <a:chExt cx="906" cy="136"/>
          </a:xfrm>
          <a:solidFill>
            <a:schemeClr val="bg1"/>
          </a:solidFill>
        </p:grpSpPr>
        <p:sp>
          <p:nvSpPr>
            <p:cNvPr id="55" name="AutoShape 54"/>
            <p:cNvSpPr>
              <a:spLocks noChangeArrowheads="1"/>
            </p:cNvSpPr>
            <p:nvPr/>
          </p:nvSpPr>
          <p:spPr bwMode="auto">
            <a:xfrm>
              <a:off x="1079" y="3385"/>
              <a:ext cx="226" cy="136"/>
            </a:xfrm>
            <a:prstGeom prst="chevron">
              <a:avLst>
                <a:gd name="adj" fmla="val 41544"/>
              </a:avLst>
            </a:prstGeom>
            <a:solidFill>
              <a:srgbClr val="00A1DE"/>
            </a:solidFill>
            <a:ln w="6350" algn="ctr">
              <a:solidFill>
                <a:srgbClr val="00A1DE"/>
              </a:solidFill>
              <a:miter lim="800000"/>
              <a:headEnd type="none" w="sm" len="sm"/>
              <a:tailEnd type="none" w="med" len="lg"/>
            </a:ln>
          </p:spPr>
          <p:txBody>
            <a:bodyPr tIns="68580" bIns="68580" anchor="ctr"/>
            <a:lstStyle/>
            <a:p>
              <a:pPr algn="ctr" defTabSz="685800">
                <a:buClrTx/>
                <a:defRPr/>
              </a:pPr>
              <a:endParaRPr lang="en-US" sz="1350" kern="1200" dirty="0">
                <a:solidFill>
                  <a:prstClr val="black"/>
                </a:solidFill>
                <a:ea typeface="+mn-ea"/>
                <a:cs typeface="+mn-cs"/>
              </a:endParaRPr>
            </a:p>
          </p:txBody>
        </p:sp>
        <p:sp>
          <p:nvSpPr>
            <p:cNvPr id="56" name="AutoShape 55"/>
            <p:cNvSpPr>
              <a:spLocks noChangeArrowheads="1"/>
            </p:cNvSpPr>
            <p:nvPr/>
          </p:nvSpPr>
          <p:spPr bwMode="auto">
            <a:xfrm>
              <a:off x="1305" y="3385"/>
              <a:ext cx="227" cy="136"/>
            </a:xfrm>
            <a:prstGeom prst="chevron">
              <a:avLst>
                <a:gd name="adj" fmla="val 41544"/>
              </a:avLst>
            </a:prstGeom>
            <a:grpFill/>
            <a:ln w="6350" algn="ctr">
              <a:solidFill>
                <a:srgbClr val="B4B4B4"/>
              </a:solidFill>
              <a:miter lim="800000"/>
              <a:headEnd type="none" w="sm" len="sm"/>
              <a:tailEnd type="none" w="med" len="lg"/>
            </a:ln>
          </p:spPr>
          <p:txBody>
            <a:bodyPr tIns="68580" bIns="68580" anchor="ctr"/>
            <a:lstStyle/>
            <a:p>
              <a:pPr algn="ctr" defTabSz="685800">
                <a:buClrTx/>
                <a:defRPr/>
              </a:pPr>
              <a:endParaRPr lang="en-US" sz="1350" kern="1200" dirty="0">
                <a:solidFill>
                  <a:prstClr val="black"/>
                </a:solidFill>
                <a:ea typeface="+mn-ea"/>
                <a:cs typeface="+mn-cs"/>
              </a:endParaRPr>
            </a:p>
          </p:txBody>
        </p:sp>
        <p:sp>
          <p:nvSpPr>
            <p:cNvPr id="57" name="AutoShape 56"/>
            <p:cNvSpPr>
              <a:spLocks noChangeArrowheads="1"/>
            </p:cNvSpPr>
            <p:nvPr/>
          </p:nvSpPr>
          <p:spPr bwMode="auto">
            <a:xfrm>
              <a:off x="1532" y="3385"/>
              <a:ext cx="226" cy="136"/>
            </a:xfrm>
            <a:prstGeom prst="chevron">
              <a:avLst>
                <a:gd name="adj" fmla="val 41544"/>
              </a:avLst>
            </a:prstGeom>
            <a:grpFill/>
            <a:ln w="6350" algn="ctr">
              <a:solidFill>
                <a:srgbClr val="B4B4B4"/>
              </a:solidFill>
              <a:miter lim="800000"/>
              <a:headEnd type="none" w="sm" len="sm"/>
              <a:tailEnd type="none" w="med" len="lg"/>
            </a:ln>
          </p:spPr>
          <p:txBody>
            <a:bodyPr tIns="68580" bIns="68580" anchor="ctr"/>
            <a:lstStyle/>
            <a:p>
              <a:pPr algn="ctr" defTabSz="685800">
                <a:buClrTx/>
                <a:defRPr/>
              </a:pPr>
              <a:endParaRPr lang="en-US" sz="1350" kern="1200" dirty="0">
                <a:solidFill>
                  <a:prstClr val="black"/>
                </a:solidFill>
                <a:ea typeface="+mn-ea"/>
                <a:cs typeface="+mn-cs"/>
              </a:endParaRPr>
            </a:p>
          </p:txBody>
        </p:sp>
        <p:sp>
          <p:nvSpPr>
            <p:cNvPr id="58" name="AutoShape 57"/>
            <p:cNvSpPr>
              <a:spLocks noChangeArrowheads="1"/>
            </p:cNvSpPr>
            <p:nvPr/>
          </p:nvSpPr>
          <p:spPr bwMode="auto">
            <a:xfrm>
              <a:off x="852" y="3385"/>
              <a:ext cx="227" cy="136"/>
            </a:xfrm>
            <a:prstGeom prst="homePlate">
              <a:avLst>
                <a:gd name="adj" fmla="val 41728"/>
              </a:avLst>
            </a:prstGeom>
            <a:grpFill/>
            <a:ln w="6350" algn="ctr">
              <a:solidFill>
                <a:srgbClr val="B4B4B4"/>
              </a:solidFill>
              <a:miter lim="800000"/>
              <a:headEnd type="none" w="sm" len="sm"/>
              <a:tailEnd type="none" w="med" len="lg"/>
            </a:ln>
          </p:spPr>
          <p:txBody>
            <a:bodyPr tIns="68580" bIns="68580" anchor="ctr"/>
            <a:lstStyle/>
            <a:p>
              <a:pPr algn="ctr" defTabSz="685800">
                <a:buClrTx/>
                <a:defRPr/>
              </a:pPr>
              <a:endParaRPr lang="en-US" sz="1350" kern="1200" dirty="0">
                <a:solidFill>
                  <a:prstClr val="black"/>
                </a:solidFill>
                <a:ea typeface="+mn-ea"/>
                <a:cs typeface="+mn-cs"/>
              </a:endParaRPr>
            </a:p>
          </p:txBody>
        </p:sp>
      </p:grpSp>
      <p:grpSp>
        <p:nvGrpSpPr>
          <p:cNvPr id="700427" name="Group 58"/>
          <p:cNvGrpSpPr>
            <a:grpSpLocks/>
          </p:cNvGrpSpPr>
          <p:nvPr/>
        </p:nvGrpSpPr>
        <p:grpSpPr bwMode="auto">
          <a:xfrm>
            <a:off x="4049316" y="4111943"/>
            <a:ext cx="995363" cy="161925"/>
            <a:chOff x="2213" y="3385"/>
            <a:chExt cx="906" cy="136"/>
          </a:xfrm>
          <a:solidFill>
            <a:schemeClr val="bg1"/>
          </a:solidFill>
        </p:grpSpPr>
        <p:sp>
          <p:nvSpPr>
            <p:cNvPr id="60" name="AutoShape 59"/>
            <p:cNvSpPr>
              <a:spLocks noChangeArrowheads="1"/>
            </p:cNvSpPr>
            <p:nvPr/>
          </p:nvSpPr>
          <p:spPr bwMode="auto">
            <a:xfrm>
              <a:off x="2439" y="3385"/>
              <a:ext cx="227" cy="136"/>
            </a:xfrm>
            <a:prstGeom prst="chevron">
              <a:avLst>
                <a:gd name="adj" fmla="val 41544"/>
              </a:avLst>
            </a:prstGeom>
            <a:grpFill/>
            <a:ln w="6350" algn="ctr">
              <a:solidFill>
                <a:srgbClr val="B4B4B4"/>
              </a:solidFill>
              <a:miter lim="800000"/>
              <a:headEnd type="none" w="sm" len="sm"/>
              <a:tailEnd type="none" w="med" len="lg"/>
            </a:ln>
          </p:spPr>
          <p:txBody>
            <a:bodyPr tIns="68580" bIns="68580" anchor="ctr"/>
            <a:lstStyle/>
            <a:p>
              <a:pPr algn="ctr" defTabSz="685800">
                <a:buClrTx/>
                <a:defRPr/>
              </a:pPr>
              <a:endParaRPr lang="en-US" sz="1350" kern="1200" dirty="0">
                <a:solidFill>
                  <a:prstClr val="black"/>
                </a:solidFill>
                <a:ea typeface="+mn-ea"/>
                <a:cs typeface="+mn-cs"/>
              </a:endParaRPr>
            </a:p>
          </p:txBody>
        </p:sp>
        <p:sp>
          <p:nvSpPr>
            <p:cNvPr id="61" name="AutoShape 60"/>
            <p:cNvSpPr>
              <a:spLocks noChangeArrowheads="1"/>
            </p:cNvSpPr>
            <p:nvPr/>
          </p:nvSpPr>
          <p:spPr bwMode="auto">
            <a:xfrm>
              <a:off x="2666" y="3385"/>
              <a:ext cx="226" cy="136"/>
            </a:xfrm>
            <a:prstGeom prst="chevron">
              <a:avLst>
                <a:gd name="adj" fmla="val 41544"/>
              </a:avLst>
            </a:prstGeom>
            <a:solidFill>
              <a:srgbClr val="00A1DE"/>
            </a:solidFill>
            <a:ln w="6350" algn="ctr">
              <a:solidFill>
                <a:srgbClr val="00A1DE"/>
              </a:solidFill>
              <a:miter lim="800000"/>
              <a:headEnd type="none" w="sm" len="sm"/>
              <a:tailEnd type="none" w="med" len="lg"/>
            </a:ln>
          </p:spPr>
          <p:txBody>
            <a:bodyPr tIns="68580" bIns="68580" anchor="ctr"/>
            <a:lstStyle/>
            <a:p>
              <a:pPr algn="ctr" defTabSz="685800">
                <a:buClrTx/>
                <a:defRPr/>
              </a:pPr>
              <a:endParaRPr lang="en-US" sz="1350" kern="1200" dirty="0">
                <a:solidFill>
                  <a:prstClr val="black"/>
                </a:solidFill>
                <a:ea typeface="+mn-ea"/>
                <a:cs typeface="+mn-cs"/>
              </a:endParaRPr>
            </a:p>
          </p:txBody>
        </p:sp>
        <p:sp>
          <p:nvSpPr>
            <p:cNvPr id="62" name="AutoShape 61"/>
            <p:cNvSpPr>
              <a:spLocks noChangeArrowheads="1"/>
            </p:cNvSpPr>
            <p:nvPr/>
          </p:nvSpPr>
          <p:spPr bwMode="auto">
            <a:xfrm>
              <a:off x="2892" y="3385"/>
              <a:ext cx="227" cy="136"/>
            </a:xfrm>
            <a:prstGeom prst="chevron">
              <a:avLst>
                <a:gd name="adj" fmla="val 41544"/>
              </a:avLst>
            </a:prstGeom>
            <a:grpFill/>
            <a:ln w="6350" algn="ctr">
              <a:solidFill>
                <a:srgbClr val="B4B4B4"/>
              </a:solidFill>
              <a:miter lim="800000"/>
              <a:headEnd type="none" w="sm" len="sm"/>
              <a:tailEnd type="none" w="med" len="lg"/>
            </a:ln>
          </p:spPr>
          <p:txBody>
            <a:bodyPr tIns="68580" bIns="68580" anchor="ctr"/>
            <a:lstStyle/>
            <a:p>
              <a:pPr algn="ctr" defTabSz="685800">
                <a:buClrTx/>
                <a:defRPr/>
              </a:pPr>
              <a:endParaRPr lang="en-US" sz="1350" kern="1200" dirty="0">
                <a:solidFill>
                  <a:prstClr val="black"/>
                </a:solidFill>
                <a:ea typeface="+mn-ea"/>
                <a:cs typeface="+mn-cs"/>
              </a:endParaRPr>
            </a:p>
          </p:txBody>
        </p:sp>
        <p:sp>
          <p:nvSpPr>
            <p:cNvPr id="63" name="AutoShape 62"/>
            <p:cNvSpPr>
              <a:spLocks noChangeArrowheads="1"/>
            </p:cNvSpPr>
            <p:nvPr/>
          </p:nvSpPr>
          <p:spPr bwMode="auto">
            <a:xfrm>
              <a:off x="2213" y="3385"/>
              <a:ext cx="226" cy="136"/>
            </a:xfrm>
            <a:prstGeom prst="homePlate">
              <a:avLst>
                <a:gd name="adj" fmla="val 41728"/>
              </a:avLst>
            </a:prstGeom>
            <a:grpFill/>
            <a:ln w="6350" algn="ctr">
              <a:solidFill>
                <a:srgbClr val="B4B4B4"/>
              </a:solidFill>
              <a:miter lim="800000"/>
              <a:headEnd type="none" w="sm" len="sm"/>
              <a:tailEnd type="none" w="med" len="lg"/>
            </a:ln>
          </p:spPr>
          <p:txBody>
            <a:bodyPr tIns="68580" bIns="68580" anchor="ctr"/>
            <a:lstStyle/>
            <a:p>
              <a:pPr algn="ctr" defTabSz="685800">
                <a:buClrTx/>
                <a:defRPr/>
              </a:pPr>
              <a:endParaRPr lang="en-US" sz="1350" kern="1200" dirty="0">
                <a:solidFill>
                  <a:prstClr val="black"/>
                </a:solidFill>
                <a:ea typeface="+mn-ea"/>
                <a:cs typeface="+mn-cs"/>
              </a:endParaRPr>
            </a:p>
          </p:txBody>
        </p:sp>
      </p:grpSp>
      <p:grpSp>
        <p:nvGrpSpPr>
          <p:cNvPr id="700428" name="Group 63"/>
          <p:cNvGrpSpPr>
            <a:grpSpLocks/>
          </p:cNvGrpSpPr>
          <p:nvPr/>
        </p:nvGrpSpPr>
        <p:grpSpPr bwMode="auto">
          <a:xfrm>
            <a:off x="5232797" y="4111943"/>
            <a:ext cx="995363" cy="161925"/>
            <a:chOff x="3529" y="3385"/>
            <a:chExt cx="906" cy="136"/>
          </a:xfrm>
          <a:solidFill>
            <a:schemeClr val="bg1"/>
          </a:solidFill>
        </p:grpSpPr>
        <p:sp>
          <p:nvSpPr>
            <p:cNvPr id="65" name="AutoShape 64"/>
            <p:cNvSpPr>
              <a:spLocks noChangeArrowheads="1"/>
            </p:cNvSpPr>
            <p:nvPr/>
          </p:nvSpPr>
          <p:spPr bwMode="auto">
            <a:xfrm>
              <a:off x="3755" y="3385"/>
              <a:ext cx="227" cy="136"/>
            </a:xfrm>
            <a:prstGeom prst="chevron">
              <a:avLst>
                <a:gd name="adj" fmla="val 41544"/>
              </a:avLst>
            </a:prstGeom>
            <a:grpFill/>
            <a:ln w="6350" algn="ctr">
              <a:solidFill>
                <a:srgbClr val="B4B4B4"/>
              </a:solidFill>
              <a:miter lim="800000"/>
              <a:headEnd type="none" w="sm" len="sm"/>
              <a:tailEnd type="none" w="med" len="lg"/>
            </a:ln>
          </p:spPr>
          <p:txBody>
            <a:bodyPr tIns="68580" bIns="68580" anchor="ctr"/>
            <a:lstStyle/>
            <a:p>
              <a:pPr algn="ctr" defTabSz="685800">
                <a:buClrTx/>
                <a:defRPr/>
              </a:pPr>
              <a:endParaRPr lang="en-US" sz="1350" kern="1200" dirty="0">
                <a:solidFill>
                  <a:prstClr val="black"/>
                </a:solidFill>
                <a:ea typeface="+mn-ea"/>
                <a:cs typeface="+mn-cs"/>
              </a:endParaRPr>
            </a:p>
          </p:txBody>
        </p:sp>
        <p:sp>
          <p:nvSpPr>
            <p:cNvPr id="66" name="AutoShape 65"/>
            <p:cNvSpPr>
              <a:spLocks noChangeArrowheads="1"/>
            </p:cNvSpPr>
            <p:nvPr/>
          </p:nvSpPr>
          <p:spPr bwMode="auto">
            <a:xfrm>
              <a:off x="3982" y="3385"/>
              <a:ext cx="226" cy="136"/>
            </a:xfrm>
            <a:prstGeom prst="chevron">
              <a:avLst>
                <a:gd name="adj" fmla="val 41544"/>
              </a:avLst>
            </a:prstGeom>
            <a:grpFill/>
            <a:ln w="6350" algn="ctr">
              <a:solidFill>
                <a:srgbClr val="B4B4B4"/>
              </a:solidFill>
              <a:miter lim="800000"/>
              <a:headEnd type="none" w="sm" len="sm"/>
              <a:tailEnd type="none" w="med" len="lg"/>
            </a:ln>
          </p:spPr>
          <p:txBody>
            <a:bodyPr tIns="68580" bIns="68580" anchor="ctr"/>
            <a:lstStyle/>
            <a:p>
              <a:pPr algn="ctr" defTabSz="685800">
                <a:buClrTx/>
                <a:defRPr/>
              </a:pPr>
              <a:endParaRPr lang="en-US" sz="1350" kern="1200" dirty="0">
                <a:solidFill>
                  <a:prstClr val="black"/>
                </a:solidFill>
                <a:ea typeface="+mn-ea"/>
                <a:cs typeface="+mn-cs"/>
              </a:endParaRPr>
            </a:p>
          </p:txBody>
        </p:sp>
        <p:sp>
          <p:nvSpPr>
            <p:cNvPr id="67" name="AutoShape 66"/>
            <p:cNvSpPr>
              <a:spLocks noChangeArrowheads="1"/>
            </p:cNvSpPr>
            <p:nvPr/>
          </p:nvSpPr>
          <p:spPr bwMode="auto">
            <a:xfrm>
              <a:off x="4208" y="3385"/>
              <a:ext cx="227" cy="136"/>
            </a:xfrm>
            <a:prstGeom prst="chevron">
              <a:avLst>
                <a:gd name="adj" fmla="val 41544"/>
              </a:avLst>
            </a:prstGeom>
            <a:solidFill>
              <a:srgbClr val="00A1DE"/>
            </a:solidFill>
            <a:ln w="6350" algn="ctr">
              <a:solidFill>
                <a:srgbClr val="00A1DE"/>
              </a:solidFill>
              <a:miter lim="800000"/>
              <a:headEnd type="none" w="sm" len="sm"/>
              <a:tailEnd type="none" w="med" len="lg"/>
            </a:ln>
          </p:spPr>
          <p:txBody>
            <a:bodyPr tIns="68580" bIns="68580" anchor="ctr"/>
            <a:lstStyle/>
            <a:p>
              <a:pPr algn="ctr" defTabSz="685800">
                <a:buClrTx/>
                <a:defRPr/>
              </a:pPr>
              <a:endParaRPr lang="en-US" sz="1350" kern="1200" dirty="0">
                <a:solidFill>
                  <a:prstClr val="black"/>
                </a:solidFill>
                <a:ea typeface="+mn-ea"/>
                <a:cs typeface="+mn-cs"/>
              </a:endParaRPr>
            </a:p>
          </p:txBody>
        </p:sp>
        <p:sp>
          <p:nvSpPr>
            <p:cNvPr id="68" name="AutoShape 67"/>
            <p:cNvSpPr>
              <a:spLocks noChangeArrowheads="1"/>
            </p:cNvSpPr>
            <p:nvPr/>
          </p:nvSpPr>
          <p:spPr bwMode="auto">
            <a:xfrm>
              <a:off x="3529" y="3385"/>
              <a:ext cx="226" cy="136"/>
            </a:xfrm>
            <a:prstGeom prst="homePlate">
              <a:avLst>
                <a:gd name="adj" fmla="val 41728"/>
              </a:avLst>
            </a:prstGeom>
            <a:grpFill/>
            <a:ln w="6350" algn="ctr">
              <a:solidFill>
                <a:srgbClr val="B4B4B4"/>
              </a:solidFill>
              <a:miter lim="800000"/>
              <a:headEnd type="none" w="sm" len="sm"/>
              <a:tailEnd type="none" w="med" len="lg"/>
            </a:ln>
          </p:spPr>
          <p:txBody>
            <a:bodyPr tIns="68580" bIns="68580" anchor="ctr"/>
            <a:lstStyle/>
            <a:p>
              <a:pPr algn="ctr" defTabSz="685800">
                <a:buClrTx/>
                <a:defRPr/>
              </a:pPr>
              <a:endParaRPr lang="en-US" sz="1350" kern="1200" dirty="0">
                <a:solidFill>
                  <a:prstClr val="black"/>
                </a:solidFill>
                <a:ea typeface="+mn-ea"/>
                <a:cs typeface="+mn-cs"/>
              </a:endParaRPr>
            </a:p>
          </p:txBody>
        </p:sp>
      </p:grpSp>
      <p:grpSp>
        <p:nvGrpSpPr>
          <p:cNvPr id="700429" name="Group 68"/>
          <p:cNvGrpSpPr>
            <a:grpSpLocks/>
          </p:cNvGrpSpPr>
          <p:nvPr/>
        </p:nvGrpSpPr>
        <p:grpSpPr bwMode="auto">
          <a:xfrm>
            <a:off x="6417469" y="4111943"/>
            <a:ext cx="995363" cy="161925"/>
            <a:chOff x="4799" y="3385"/>
            <a:chExt cx="906" cy="136"/>
          </a:xfrm>
          <a:solidFill>
            <a:schemeClr val="bg1"/>
          </a:solidFill>
        </p:grpSpPr>
        <p:sp>
          <p:nvSpPr>
            <p:cNvPr id="70" name="AutoShape 69"/>
            <p:cNvSpPr>
              <a:spLocks noChangeArrowheads="1"/>
            </p:cNvSpPr>
            <p:nvPr/>
          </p:nvSpPr>
          <p:spPr bwMode="auto">
            <a:xfrm>
              <a:off x="5026" y="3385"/>
              <a:ext cx="226" cy="136"/>
            </a:xfrm>
            <a:prstGeom prst="chevron">
              <a:avLst>
                <a:gd name="adj" fmla="val 41544"/>
              </a:avLst>
            </a:prstGeom>
            <a:grpFill/>
            <a:ln w="6350" algn="ctr">
              <a:solidFill>
                <a:srgbClr val="B4B4B4"/>
              </a:solidFill>
              <a:miter lim="800000"/>
              <a:headEnd type="none" w="sm" len="sm"/>
              <a:tailEnd type="none" w="med" len="lg"/>
            </a:ln>
          </p:spPr>
          <p:txBody>
            <a:bodyPr tIns="68580" bIns="68580" anchor="ctr"/>
            <a:lstStyle/>
            <a:p>
              <a:pPr algn="ctr" defTabSz="685800">
                <a:buClrTx/>
                <a:defRPr/>
              </a:pPr>
              <a:endParaRPr lang="en-US" sz="1350" kern="1200" dirty="0">
                <a:solidFill>
                  <a:prstClr val="black"/>
                </a:solidFill>
                <a:ea typeface="+mn-ea"/>
                <a:cs typeface="+mn-cs"/>
              </a:endParaRPr>
            </a:p>
          </p:txBody>
        </p:sp>
        <p:sp>
          <p:nvSpPr>
            <p:cNvPr id="71" name="AutoShape 70"/>
            <p:cNvSpPr>
              <a:spLocks noChangeArrowheads="1"/>
            </p:cNvSpPr>
            <p:nvPr/>
          </p:nvSpPr>
          <p:spPr bwMode="auto">
            <a:xfrm>
              <a:off x="5252" y="3385"/>
              <a:ext cx="227" cy="136"/>
            </a:xfrm>
            <a:prstGeom prst="chevron">
              <a:avLst>
                <a:gd name="adj" fmla="val 41544"/>
              </a:avLst>
            </a:prstGeom>
            <a:grpFill/>
            <a:ln w="6350" algn="ctr">
              <a:solidFill>
                <a:srgbClr val="00A1DE"/>
              </a:solidFill>
              <a:miter lim="800000"/>
              <a:headEnd type="none" w="sm" len="sm"/>
              <a:tailEnd type="none" w="med" len="lg"/>
            </a:ln>
          </p:spPr>
          <p:txBody>
            <a:bodyPr tIns="68580" bIns="68580" anchor="ctr"/>
            <a:lstStyle/>
            <a:p>
              <a:pPr algn="ctr" defTabSz="685800">
                <a:buClrTx/>
                <a:defRPr/>
              </a:pPr>
              <a:endParaRPr lang="en-US" sz="1350" kern="1200" dirty="0">
                <a:solidFill>
                  <a:prstClr val="black"/>
                </a:solidFill>
                <a:ea typeface="+mn-ea"/>
                <a:cs typeface="+mn-cs"/>
              </a:endParaRPr>
            </a:p>
          </p:txBody>
        </p:sp>
        <p:sp>
          <p:nvSpPr>
            <p:cNvPr id="72" name="AutoShape 71"/>
            <p:cNvSpPr>
              <a:spLocks noChangeArrowheads="1"/>
            </p:cNvSpPr>
            <p:nvPr/>
          </p:nvSpPr>
          <p:spPr bwMode="auto">
            <a:xfrm>
              <a:off x="5479" y="3385"/>
              <a:ext cx="226" cy="136"/>
            </a:xfrm>
            <a:prstGeom prst="chevron">
              <a:avLst>
                <a:gd name="adj" fmla="val 41544"/>
              </a:avLst>
            </a:prstGeom>
            <a:grpFill/>
            <a:ln w="6350" algn="ctr">
              <a:solidFill>
                <a:srgbClr val="B4B4B4"/>
              </a:solidFill>
              <a:miter lim="800000"/>
              <a:headEnd type="none" w="sm" len="sm"/>
              <a:tailEnd type="none" w="med" len="lg"/>
            </a:ln>
          </p:spPr>
          <p:txBody>
            <a:bodyPr tIns="68580" bIns="68580" anchor="ctr"/>
            <a:lstStyle/>
            <a:p>
              <a:pPr algn="ctr" defTabSz="685800">
                <a:buClrTx/>
                <a:defRPr/>
              </a:pPr>
              <a:endParaRPr lang="en-US" sz="1350" kern="1200" dirty="0">
                <a:solidFill>
                  <a:prstClr val="black"/>
                </a:solidFill>
                <a:ea typeface="+mn-ea"/>
                <a:cs typeface="+mn-cs"/>
              </a:endParaRPr>
            </a:p>
          </p:txBody>
        </p:sp>
        <p:sp>
          <p:nvSpPr>
            <p:cNvPr id="73" name="AutoShape 72"/>
            <p:cNvSpPr>
              <a:spLocks noChangeArrowheads="1"/>
            </p:cNvSpPr>
            <p:nvPr/>
          </p:nvSpPr>
          <p:spPr bwMode="auto">
            <a:xfrm>
              <a:off x="4799" y="3385"/>
              <a:ext cx="227" cy="136"/>
            </a:xfrm>
            <a:prstGeom prst="homePlate">
              <a:avLst>
                <a:gd name="adj" fmla="val 41728"/>
              </a:avLst>
            </a:prstGeom>
            <a:grpFill/>
            <a:ln w="6350" algn="ctr">
              <a:solidFill>
                <a:srgbClr val="B4B4B4"/>
              </a:solidFill>
              <a:miter lim="800000"/>
              <a:headEnd type="none" w="sm" len="sm"/>
              <a:tailEnd type="none" w="med" len="lg"/>
            </a:ln>
          </p:spPr>
          <p:txBody>
            <a:bodyPr tIns="68580" bIns="68580" anchor="ctr"/>
            <a:lstStyle/>
            <a:p>
              <a:pPr algn="ctr" defTabSz="685800">
                <a:buClrTx/>
                <a:defRPr/>
              </a:pPr>
              <a:endParaRPr lang="en-US" sz="1350" kern="1200" dirty="0">
                <a:solidFill>
                  <a:prstClr val="black"/>
                </a:solidFill>
                <a:ea typeface="+mn-ea"/>
                <a:cs typeface="+mn-cs"/>
              </a:endParaRPr>
            </a:p>
          </p:txBody>
        </p:sp>
      </p:grpSp>
      <p:grpSp>
        <p:nvGrpSpPr>
          <p:cNvPr id="700430" name="Group 73"/>
          <p:cNvGrpSpPr>
            <a:grpSpLocks/>
          </p:cNvGrpSpPr>
          <p:nvPr/>
        </p:nvGrpSpPr>
        <p:grpSpPr bwMode="auto">
          <a:xfrm>
            <a:off x="3342085" y="3299936"/>
            <a:ext cx="746522" cy="161925"/>
            <a:chOff x="853" y="2704"/>
            <a:chExt cx="679" cy="136"/>
          </a:xfrm>
          <a:solidFill>
            <a:schemeClr val="bg1"/>
          </a:solidFill>
        </p:grpSpPr>
        <p:sp>
          <p:nvSpPr>
            <p:cNvPr id="75" name="AutoShape 74"/>
            <p:cNvSpPr>
              <a:spLocks noChangeArrowheads="1"/>
            </p:cNvSpPr>
            <p:nvPr/>
          </p:nvSpPr>
          <p:spPr bwMode="auto">
            <a:xfrm>
              <a:off x="1080" y="2704"/>
              <a:ext cx="225" cy="136"/>
            </a:xfrm>
            <a:prstGeom prst="chevron">
              <a:avLst>
                <a:gd name="adj" fmla="val 41544"/>
              </a:avLst>
            </a:prstGeom>
            <a:solidFill>
              <a:srgbClr val="00A1DE"/>
            </a:solidFill>
            <a:ln w="6350" algn="ctr">
              <a:solidFill>
                <a:srgbClr val="00A1DE"/>
              </a:solidFill>
              <a:miter lim="800000"/>
              <a:headEnd type="none" w="sm" len="sm"/>
              <a:tailEnd type="none" w="med" len="lg"/>
            </a:ln>
          </p:spPr>
          <p:txBody>
            <a:bodyPr tIns="68580" bIns="68580" anchor="ctr"/>
            <a:lstStyle/>
            <a:p>
              <a:pPr algn="ctr" defTabSz="685800">
                <a:buClrTx/>
                <a:defRPr/>
              </a:pPr>
              <a:endParaRPr lang="en-US" sz="1350" kern="1200" dirty="0">
                <a:solidFill>
                  <a:prstClr val="black"/>
                </a:solidFill>
                <a:ea typeface="+mn-ea"/>
                <a:cs typeface="+mn-cs"/>
              </a:endParaRPr>
            </a:p>
          </p:txBody>
        </p:sp>
        <p:sp>
          <p:nvSpPr>
            <p:cNvPr id="76" name="AutoShape 75"/>
            <p:cNvSpPr>
              <a:spLocks noChangeArrowheads="1"/>
            </p:cNvSpPr>
            <p:nvPr/>
          </p:nvSpPr>
          <p:spPr bwMode="auto">
            <a:xfrm>
              <a:off x="1306" y="2704"/>
              <a:ext cx="226" cy="136"/>
            </a:xfrm>
            <a:prstGeom prst="chevron">
              <a:avLst>
                <a:gd name="adj" fmla="val 41544"/>
              </a:avLst>
            </a:prstGeom>
            <a:grpFill/>
            <a:ln w="6350" algn="ctr">
              <a:solidFill>
                <a:srgbClr val="B4B4B4"/>
              </a:solidFill>
              <a:miter lim="800000"/>
              <a:headEnd type="none" w="sm" len="sm"/>
              <a:tailEnd type="none" w="med" len="lg"/>
            </a:ln>
          </p:spPr>
          <p:txBody>
            <a:bodyPr tIns="68580" bIns="68580" anchor="ctr"/>
            <a:lstStyle/>
            <a:p>
              <a:pPr algn="ctr" defTabSz="685800">
                <a:buClrTx/>
                <a:defRPr/>
              </a:pPr>
              <a:endParaRPr lang="en-US" sz="1350" kern="1200" dirty="0">
                <a:solidFill>
                  <a:prstClr val="black"/>
                </a:solidFill>
                <a:ea typeface="+mn-ea"/>
                <a:cs typeface="+mn-cs"/>
              </a:endParaRPr>
            </a:p>
          </p:txBody>
        </p:sp>
        <p:sp>
          <p:nvSpPr>
            <p:cNvPr id="77" name="AutoShape 76"/>
            <p:cNvSpPr>
              <a:spLocks noChangeArrowheads="1"/>
            </p:cNvSpPr>
            <p:nvPr/>
          </p:nvSpPr>
          <p:spPr bwMode="auto">
            <a:xfrm>
              <a:off x="853" y="2704"/>
              <a:ext cx="227" cy="136"/>
            </a:xfrm>
            <a:prstGeom prst="homePlate">
              <a:avLst>
                <a:gd name="adj" fmla="val 41728"/>
              </a:avLst>
            </a:prstGeom>
            <a:grpFill/>
            <a:ln w="6350" algn="ctr">
              <a:solidFill>
                <a:srgbClr val="B4B4B4"/>
              </a:solidFill>
              <a:miter lim="800000"/>
              <a:headEnd type="none" w="sm" len="sm"/>
              <a:tailEnd type="none" w="med" len="lg"/>
            </a:ln>
          </p:spPr>
          <p:txBody>
            <a:bodyPr tIns="68580" bIns="68580" anchor="ctr"/>
            <a:lstStyle/>
            <a:p>
              <a:pPr algn="ctr" defTabSz="685800">
                <a:buClrTx/>
                <a:defRPr/>
              </a:pPr>
              <a:endParaRPr lang="en-US" sz="1350" kern="1200" dirty="0">
                <a:solidFill>
                  <a:prstClr val="black"/>
                </a:solidFill>
                <a:ea typeface="+mn-ea"/>
                <a:cs typeface="+mn-cs"/>
              </a:endParaRPr>
            </a:p>
          </p:txBody>
        </p:sp>
      </p:grpSp>
      <p:grpSp>
        <p:nvGrpSpPr>
          <p:cNvPr id="700431" name="Group 77"/>
          <p:cNvGrpSpPr>
            <a:grpSpLocks/>
          </p:cNvGrpSpPr>
          <p:nvPr/>
        </p:nvGrpSpPr>
        <p:grpSpPr bwMode="auto">
          <a:xfrm>
            <a:off x="5004197" y="3299936"/>
            <a:ext cx="746522" cy="161925"/>
            <a:chOff x="2214" y="2704"/>
            <a:chExt cx="679" cy="136"/>
          </a:xfrm>
          <a:solidFill>
            <a:schemeClr val="bg1"/>
          </a:solidFill>
        </p:grpSpPr>
        <p:sp>
          <p:nvSpPr>
            <p:cNvPr id="79" name="AutoShape 78"/>
            <p:cNvSpPr>
              <a:spLocks noChangeArrowheads="1"/>
            </p:cNvSpPr>
            <p:nvPr/>
          </p:nvSpPr>
          <p:spPr bwMode="auto">
            <a:xfrm>
              <a:off x="2441" y="2704"/>
              <a:ext cx="225" cy="136"/>
            </a:xfrm>
            <a:prstGeom prst="chevron">
              <a:avLst>
                <a:gd name="adj" fmla="val 41544"/>
              </a:avLst>
            </a:prstGeom>
            <a:grpFill/>
            <a:ln w="6350" algn="ctr">
              <a:solidFill>
                <a:srgbClr val="B4B4B4"/>
              </a:solidFill>
              <a:miter lim="800000"/>
              <a:headEnd type="none" w="sm" len="sm"/>
              <a:tailEnd type="none" w="med" len="lg"/>
            </a:ln>
          </p:spPr>
          <p:txBody>
            <a:bodyPr tIns="68580" bIns="68580" anchor="ctr"/>
            <a:lstStyle/>
            <a:p>
              <a:pPr algn="ctr" defTabSz="685800">
                <a:buClrTx/>
                <a:defRPr/>
              </a:pPr>
              <a:endParaRPr lang="en-US" sz="1350" kern="1200" dirty="0">
                <a:solidFill>
                  <a:prstClr val="black"/>
                </a:solidFill>
                <a:ea typeface="+mn-ea"/>
                <a:cs typeface="+mn-cs"/>
              </a:endParaRPr>
            </a:p>
          </p:txBody>
        </p:sp>
        <p:sp>
          <p:nvSpPr>
            <p:cNvPr id="80" name="AutoShape 79"/>
            <p:cNvSpPr>
              <a:spLocks noChangeArrowheads="1"/>
            </p:cNvSpPr>
            <p:nvPr/>
          </p:nvSpPr>
          <p:spPr bwMode="auto">
            <a:xfrm>
              <a:off x="2667" y="2704"/>
              <a:ext cx="226" cy="136"/>
            </a:xfrm>
            <a:prstGeom prst="chevron">
              <a:avLst>
                <a:gd name="adj" fmla="val 41544"/>
              </a:avLst>
            </a:prstGeom>
            <a:solidFill>
              <a:srgbClr val="00A1DE"/>
            </a:solidFill>
            <a:ln w="6350" algn="ctr">
              <a:solidFill>
                <a:srgbClr val="00A1DE"/>
              </a:solidFill>
              <a:miter lim="800000"/>
              <a:headEnd type="none" w="sm" len="sm"/>
              <a:tailEnd type="none" w="med" len="lg"/>
            </a:ln>
          </p:spPr>
          <p:txBody>
            <a:bodyPr tIns="68580" bIns="68580" anchor="ctr"/>
            <a:lstStyle/>
            <a:p>
              <a:pPr algn="ctr" defTabSz="685800">
                <a:buClrTx/>
                <a:defRPr/>
              </a:pPr>
              <a:endParaRPr lang="en-US" sz="1350" kern="1200" dirty="0">
                <a:solidFill>
                  <a:prstClr val="black"/>
                </a:solidFill>
                <a:ea typeface="+mn-ea"/>
                <a:cs typeface="+mn-cs"/>
              </a:endParaRPr>
            </a:p>
          </p:txBody>
        </p:sp>
        <p:sp>
          <p:nvSpPr>
            <p:cNvPr id="81" name="AutoShape 80"/>
            <p:cNvSpPr>
              <a:spLocks noChangeArrowheads="1"/>
            </p:cNvSpPr>
            <p:nvPr/>
          </p:nvSpPr>
          <p:spPr bwMode="auto">
            <a:xfrm>
              <a:off x="2214" y="2704"/>
              <a:ext cx="227" cy="136"/>
            </a:xfrm>
            <a:prstGeom prst="homePlate">
              <a:avLst>
                <a:gd name="adj" fmla="val 41728"/>
              </a:avLst>
            </a:prstGeom>
            <a:grpFill/>
            <a:ln w="6350" algn="ctr">
              <a:solidFill>
                <a:srgbClr val="B4B4B4"/>
              </a:solidFill>
              <a:miter lim="800000"/>
              <a:headEnd type="none" w="sm" len="sm"/>
              <a:tailEnd type="none" w="med" len="lg"/>
            </a:ln>
          </p:spPr>
          <p:txBody>
            <a:bodyPr tIns="68580" bIns="68580" anchor="ctr"/>
            <a:lstStyle/>
            <a:p>
              <a:pPr algn="ctr" defTabSz="685800">
                <a:buClrTx/>
                <a:defRPr/>
              </a:pPr>
              <a:endParaRPr lang="en-US" sz="1350" kern="1200" dirty="0">
                <a:solidFill>
                  <a:prstClr val="black"/>
                </a:solidFill>
                <a:ea typeface="+mn-ea"/>
                <a:cs typeface="+mn-cs"/>
              </a:endParaRPr>
            </a:p>
          </p:txBody>
        </p:sp>
      </p:grpSp>
      <p:grpSp>
        <p:nvGrpSpPr>
          <p:cNvPr id="700432" name="Group 81"/>
          <p:cNvGrpSpPr>
            <a:grpSpLocks/>
          </p:cNvGrpSpPr>
          <p:nvPr/>
        </p:nvGrpSpPr>
        <p:grpSpPr bwMode="auto">
          <a:xfrm>
            <a:off x="6666310" y="3299936"/>
            <a:ext cx="746522" cy="161925"/>
            <a:chOff x="3530" y="2704"/>
            <a:chExt cx="679" cy="136"/>
          </a:xfrm>
          <a:solidFill>
            <a:schemeClr val="bg1"/>
          </a:solidFill>
        </p:grpSpPr>
        <p:sp>
          <p:nvSpPr>
            <p:cNvPr id="83" name="AutoShape 82"/>
            <p:cNvSpPr>
              <a:spLocks noChangeArrowheads="1"/>
            </p:cNvSpPr>
            <p:nvPr/>
          </p:nvSpPr>
          <p:spPr bwMode="auto">
            <a:xfrm>
              <a:off x="3757" y="2704"/>
              <a:ext cx="225" cy="136"/>
            </a:xfrm>
            <a:prstGeom prst="chevron">
              <a:avLst>
                <a:gd name="adj" fmla="val 41544"/>
              </a:avLst>
            </a:prstGeom>
            <a:grpFill/>
            <a:ln w="6350" algn="ctr">
              <a:solidFill>
                <a:srgbClr val="B4B4B4"/>
              </a:solidFill>
              <a:miter lim="800000"/>
              <a:headEnd type="none" w="sm" len="sm"/>
              <a:tailEnd type="none" w="med" len="lg"/>
            </a:ln>
          </p:spPr>
          <p:txBody>
            <a:bodyPr tIns="68580" bIns="68580" anchor="ctr"/>
            <a:lstStyle/>
            <a:p>
              <a:pPr algn="ctr" defTabSz="685800">
                <a:buClrTx/>
                <a:defRPr/>
              </a:pPr>
              <a:endParaRPr lang="en-US" sz="1350" kern="1200" dirty="0">
                <a:solidFill>
                  <a:prstClr val="black"/>
                </a:solidFill>
                <a:ea typeface="+mn-ea"/>
                <a:cs typeface="+mn-cs"/>
              </a:endParaRPr>
            </a:p>
          </p:txBody>
        </p:sp>
        <p:sp>
          <p:nvSpPr>
            <p:cNvPr id="84" name="AutoShape 83"/>
            <p:cNvSpPr>
              <a:spLocks noChangeArrowheads="1"/>
            </p:cNvSpPr>
            <p:nvPr/>
          </p:nvSpPr>
          <p:spPr bwMode="auto">
            <a:xfrm>
              <a:off x="3983" y="2704"/>
              <a:ext cx="226" cy="136"/>
            </a:xfrm>
            <a:prstGeom prst="chevron">
              <a:avLst>
                <a:gd name="adj" fmla="val 41544"/>
              </a:avLst>
            </a:prstGeom>
            <a:grpFill/>
            <a:ln w="6350" algn="ctr">
              <a:solidFill>
                <a:srgbClr val="B4B4B4"/>
              </a:solidFill>
              <a:miter lim="800000"/>
              <a:headEnd type="none" w="sm" len="sm"/>
              <a:tailEnd type="none" w="med" len="lg"/>
            </a:ln>
          </p:spPr>
          <p:txBody>
            <a:bodyPr tIns="68580" bIns="68580" anchor="ctr"/>
            <a:lstStyle/>
            <a:p>
              <a:pPr algn="ctr" defTabSz="685800">
                <a:buClrTx/>
                <a:defRPr/>
              </a:pPr>
              <a:endParaRPr lang="en-US" sz="1350" kern="1200" dirty="0">
                <a:solidFill>
                  <a:prstClr val="black"/>
                </a:solidFill>
                <a:ea typeface="+mn-ea"/>
                <a:cs typeface="+mn-cs"/>
              </a:endParaRPr>
            </a:p>
          </p:txBody>
        </p:sp>
        <p:sp>
          <p:nvSpPr>
            <p:cNvPr id="85" name="AutoShape 84"/>
            <p:cNvSpPr>
              <a:spLocks noChangeArrowheads="1"/>
            </p:cNvSpPr>
            <p:nvPr/>
          </p:nvSpPr>
          <p:spPr bwMode="auto">
            <a:xfrm>
              <a:off x="3530" y="2704"/>
              <a:ext cx="227" cy="136"/>
            </a:xfrm>
            <a:prstGeom prst="homePlate">
              <a:avLst>
                <a:gd name="adj" fmla="val 41728"/>
              </a:avLst>
            </a:prstGeom>
            <a:grpFill/>
            <a:ln w="6350" algn="ctr">
              <a:solidFill>
                <a:srgbClr val="00A1DE"/>
              </a:solidFill>
              <a:miter lim="800000"/>
              <a:headEnd type="none" w="sm" len="sm"/>
              <a:tailEnd type="none" w="med" len="lg"/>
            </a:ln>
          </p:spPr>
          <p:txBody>
            <a:bodyPr tIns="68580" bIns="68580" anchor="ctr"/>
            <a:lstStyle/>
            <a:p>
              <a:pPr algn="ctr" defTabSz="685800">
                <a:buClrTx/>
                <a:defRPr/>
              </a:pPr>
              <a:endParaRPr lang="en-US" sz="1350" kern="1200" dirty="0">
                <a:solidFill>
                  <a:prstClr val="black"/>
                </a:solidFill>
                <a:ea typeface="+mn-ea"/>
                <a:cs typeface="+mn-cs"/>
              </a:endParaRPr>
            </a:p>
          </p:txBody>
        </p:sp>
      </p:grpSp>
      <p:grpSp>
        <p:nvGrpSpPr>
          <p:cNvPr id="700433" name="Group 85"/>
          <p:cNvGrpSpPr>
            <a:grpSpLocks/>
          </p:cNvGrpSpPr>
          <p:nvPr/>
        </p:nvGrpSpPr>
        <p:grpSpPr bwMode="auto">
          <a:xfrm>
            <a:off x="1679972" y="3299936"/>
            <a:ext cx="746522" cy="161925"/>
            <a:chOff x="853" y="2704"/>
            <a:chExt cx="679" cy="136"/>
          </a:xfrm>
          <a:solidFill>
            <a:schemeClr val="bg1"/>
          </a:solidFill>
        </p:grpSpPr>
        <p:sp>
          <p:nvSpPr>
            <p:cNvPr id="87" name="AutoShape 86"/>
            <p:cNvSpPr>
              <a:spLocks noChangeArrowheads="1"/>
            </p:cNvSpPr>
            <p:nvPr/>
          </p:nvSpPr>
          <p:spPr bwMode="auto">
            <a:xfrm>
              <a:off x="1080" y="2704"/>
              <a:ext cx="225" cy="136"/>
            </a:xfrm>
            <a:prstGeom prst="chevron">
              <a:avLst>
                <a:gd name="adj" fmla="val 41544"/>
              </a:avLst>
            </a:prstGeom>
            <a:grpFill/>
            <a:ln w="6350" algn="ctr">
              <a:solidFill>
                <a:srgbClr val="B4B4B4"/>
              </a:solidFill>
              <a:miter lim="800000"/>
              <a:headEnd type="none" w="sm" len="sm"/>
              <a:tailEnd type="none" w="med" len="lg"/>
            </a:ln>
          </p:spPr>
          <p:txBody>
            <a:bodyPr tIns="68580" bIns="68580" anchor="ctr"/>
            <a:lstStyle/>
            <a:p>
              <a:pPr algn="ctr" defTabSz="685800">
                <a:buClrTx/>
                <a:defRPr/>
              </a:pPr>
              <a:endParaRPr lang="en-US" sz="1350" kern="1200" dirty="0">
                <a:solidFill>
                  <a:prstClr val="black"/>
                </a:solidFill>
                <a:ea typeface="+mn-ea"/>
                <a:cs typeface="+mn-cs"/>
              </a:endParaRPr>
            </a:p>
          </p:txBody>
        </p:sp>
        <p:sp>
          <p:nvSpPr>
            <p:cNvPr id="88" name="AutoShape 87"/>
            <p:cNvSpPr>
              <a:spLocks noChangeArrowheads="1"/>
            </p:cNvSpPr>
            <p:nvPr/>
          </p:nvSpPr>
          <p:spPr bwMode="auto">
            <a:xfrm>
              <a:off x="1306" y="2704"/>
              <a:ext cx="226" cy="136"/>
            </a:xfrm>
            <a:prstGeom prst="chevron">
              <a:avLst>
                <a:gd name="adj" fmla="val 41544"/>
              </a:avLst>
            </a:prstGeom>
            <a:grpFill/>
            <a:ln w="6350" algn="ctr">
              <a:solidFill>
                <a:srgbClr val="B4B4B4"/>
              </a:solidFill>
              <a:miter lim="800000"/>
              <a:headEnd type="none" w="sm" len="sm"/>
              <a:tailEnd type="none" w="med" len="lg"/>
            </a:ln>
          </p:spPr>
          <p:txBody>
            <a:bodyPr tIns="68580" bIns="68580" anchor="ctr"/>
            <a:lstStyle/>
            <a:p>
              <a:pPr algn="ctr" defTabSz="685800">
                <a:buClrTx/>
                <a:defRPr/>
              </a:pPr>
              <a:endParaRPr lang="en-US" sz="1350" kern="1200" dirty="0">
                <a:solidFill>
                  <a:prstClr val="black"/>
                </a:solidFill>
                <a:ea typeface="+mn-ea"/>
                <a:cs typeface="+mn-cs"/>
              </a:endParaRPr>
            </a:p>
          </p:txBody>
        </p:sp>
        <p:sp>
          <p:nvSpPr>
            <p:cNvPr id="89" name="AutoShape 88"/>
            <p:cNvSpPr>
              <a:spLocks noChangeArrowheads="1"/>
            </p:cNvSpPr>
            <p:nvPr/>
          </p:nvSpPr>
          <p:spPr bwMode="auto">
            <a:xfrm>
              <a:off x="853" y="2704"/>
              <a:ext cx="227" cy="136"/>
            </a:xfrm>
            <a:prstGeom prst="homePlate">
              <a:avLst>
                <a:gd name="adj" fmla="val 41728"/>
              </a:avLst>
            </a:prstGeom>
            <a:solidFill>
              <a:srgbClr val="00A1DE"/>
            </a:solidFill>
            <a:ln w="6350" algn="ctr">
              <a:solidFill>
                <a:srgbClr val="00A1DE"/>
              </a:solidFill>
              <a:miter lim="800000"/>
              <a:headEnd type="none" w="sm" len="sm"/>
              <a:tailEnd type="none" w="med" len="lg"/>
            </a:ln>
          </p:spPr>
          <p:txBody>
            <a:bodyPr tIns="68580" bIns="68580" anchor="ctr"/>
            <a:lstStyle/>
            <a:p>
              <a:pPr algn="ctr" defTabSz="685800">
                <a:buClrTx/>
                <a:defRPr/>
              </a:pPr>
              <a:endParaRPr lang="en-US" sz="1350" kern="1200" dirty="0">
                <a:solidFill>
                  <a:prstClr val="black"/>
                </a:solidFill>
                <a:ea typeface="+mn-ea"/>
                <a:cs typeface="+mn-cs"/>
              </a:endParaRPr>
            </a:p>
          </p:txBody>
        </p:sp>
      </p:grpSp>
      <p:grpSp>
        <p:nvGrpSpPr>
          <p:cNvPr id="700434" name="Group 89"/>
          <p:cNvGrpSpPr>
            <a:grpSpLocks/>
          </p:cNvGrpSpPr>
          <p:nvPr/>
        </p:nvGrpSpPr>
        <p:grpSpPr bwMode="auto">
          <a:xfrm>
            <a:off x="1679973" y="4110752"/>
            <a:ext cx="996553" cy="161925"/>
            <a:chOff x="852" y="3385"/>
            <a:chExt cx="906" cy="136"/>
          </a:xfrm>
          <a:solidFill>
            <a:schemeClr val="bg1"/>
          </a:solidFill>
        </p:grpSpPr>
        <p:sp>
          <p:nvSpPr>
            <p:cNvPr id="91" name="AutoShape 90"/>
            <p:cNvSpPr>
              <a:spLocks noChangeArrowheads="1"/>
            </p:cNvSpPr>
            <p:nvPr/>
          </p:nvSpPr>
          <p:spPr bwMode="auto">
            <a:xfrm>
              <a:off x="1079" y="3385"/>
              <a:ext cx="226" cy="136"/>
            </a:xfrm>
            <a:prstGeom prst="chevron">
              <a:avLst>
                <a:gd name="adj" fmla="val 41544"/>
              </a:avLst>
            </a:prstGeom>
            <a:grpFill/>
            <a:ln w="6350" algn="ctr">
              <a:solidFill>
                <a:srgbClr val="B4B4B4"/>
              </a:solidFill>
              <a:miter lim="800000"/>
              <a:headEnd type="none" w="sm" len="sm"/>
              <a:tailEnd type="none" w="med" len="lg"/>
            </a:ln>
          </p:spPr>
          <p:txBody>
            <a:bodyPr tIns="68580" bIns="68580" anchor="ctr"/>
            <a:lstStyle/>
            <a:p>
              <a:pPr algn="ctr" defTabSz="685800">
                <a:buClrTx/>
                <a:defRPr/>
              </a:pPr>
              <a:endParaRPr lang="en-US" sz="1350" kern="1200" dirty="0">
                <a:solidFill>
                  <a:prstClr val="black"/>
                </a:solidFill>
                <a:ea typeface="+mn-ea"/>
                <a:cs typeface="+mn-cs"/>
              </a:endParaRPr>
            </a:p>
          </p:txBody>
        </p:sp>
        <p:sp>
          <p:nvSpPr>
            <p:cNvPr id="92" name="AutoShape 91"/>
            <p:cNvSpPr>
              <a:spLocks noChangeArrowheads="1"/>
            </p:cNvSpPr>
            <p:nvPr/>
          </p:nvSpPr>
          <p:spPr bwMode="auto">
            <a:xfrm>
              <a:off x="1306" y="3385"/>
              <a:ext cx="225" cy="136"/>
            </a:xfrm>
            <a:prstGeom prst="chevron">
              <a:avLst>
                <a:gd name="adj" fmla="val 41544"/>
              </a:avLst>
            </a:prstGeom>
            <a:grpFill/>
            <a:ln w="6350" algn="ctr">
              <a:solidFill>
                <a:srgbClr val="B4B4B4"/>
              </a:solidFill>
              <a:miter lim="800000"/>
              <a:headEnd type="none" w="sm" len="sm"/>
              <a:tailEnd type="none" w="med" len="lg"/>
            </a:ln>
          </p:spPr>
          <p:txBody>
            <a:bodyPr tIns="68580" bIns="68580" anchor="ctr"/>
            <a:lstStyle/>
            <a:p>
              <a:pPr algn="ctr" defTabSz="685800">
                <a:buClrTx/>
                <a:defRPr/>
              </a:pPr>
              <a:endParaRPr lang="en-US" sz="1350" kern="1200" dirty="0">
                <a:solidFill>
                  <a:prstClr val="black"/>
                </a:solidFill>
                <a:ea typeface="+mn-ea"/>
                <a:cs typeface="+mn-cs"/>
              </a:endParaRPr>
            </a:p>
          </p:txBody>
        </p:sp>
        <p:sp>
          <p:nvSpPr>
            <p:cNvPr id="93" name="AutoShape 92"/>
            <p:cNvSpPr>
              <a:spLocks noChangeArrowheads="1"/>
            </p:cNvSpPr>
            <p:nvPr/>
          </p:nvSpPr>
          <p:spPr bwMode="auto">
            <a:xfrm>
              <a:off x="1532" y="3385"/>
              <a:ext cx="226" cy="136"/>
            </a:xfrm>
            <a:prstGeom prst="chevron">
              <a:avLst>
                <a:gd name="adj" fmla="val 41544"/>
              </a:avLst>
            </a:prstGeom>
            <a:grpFill/>
            <a:ln w="6350" algn="ctr">
              <a:solidFill>
                <a:srgbClr val="B4B4B4"/>
              </a:solidFill>
              <a:miter lim="800000"/>
              <a:headEnd type="none" w="sm" len="sm"/>
              <a:tailEnd type="none" w="med" len="lg"/>
            </a:ln>
          </p:spPr>
          <p:txBody>
            <a:bodyPr tIns="68580" bIns="68580" anchor="ctr"/>
            <a:lstStyle/>
            <a:p>
              <a:pPr algn="ctr" defTabSz="685800">
                <a:buClrTx/>
                <a:defRPr/>
              </a:pPr>
              <a:endParaRPr lang="en-US" sz="1350" kern="1200" dirty="0">
                <a:solidFill>
                  <a:prstClr val="black"/>
                </a:solidFill>
                <a:ea typeface="+mn-ea"/>
                <a:cs typeface="+mn-cs"/>
              </a:endParaRPr>
            </a:p>
          </p:txBody>
        </p:sp>
        <p:sp>
          <p:nvSpPr>
            <p:cNvPr id="94" name="AutoShape 93"/>
            <p:cNvSpPr>
              <a:spLocks noChangeArrowheads="1"/>
            </p:cNvSpPr>
            <p:nvPr/>
          </p:nvSpPr>
          <p:spPr bwMode="auto">
            <a:xfrm>
              <a:off x="852" y="3385"/>
              <a:ext cx="227" cy="136"/>
            </a:xfrm>
            <a:prstGeom prst="homePlate">
              <a:avLst>
                <a:gd name="adj" fmla="val 41728"/>
              </a:avLst>
            </a:prstGeom>
            <a:solidFill>
              <a:srgbClr val="00A1DE"/>
            </a:solidFill>
            <a:ln w="6350" algn="ctr">
              <a:solidFill>
                <a:srgbClr val="00A1DE"/>
              </a:solidFill>
              <a:miter lim="800000"/>
              <a:headEnd type="none" w="sm" len="sm"/>
              <a:tailEnd type="none" w="med" len="lg"/>
            </a:ln>
          </p:spPr>
          <p:txBody>
            <a:bodyPr tIns="68580" bIns="68580" anchor="ctr"/>
            <a:lstStyle/>
            <a:p>
              <a:pPr algn="ctr" defTabSz="685800">
                <a:buClrTx/>
                <a:defRPr/>
              </a:pPr>
              <a:endParaRPr lang="en-US" sz="1350" kern="1200" dirty="0">
                <a:solidFill>
                  <a:prstClr val="black"/>
                </a:solidFill>
                <a:ea typeface="+mn-ea"/>
                <a:cs typeface="+mn-cs"/>
              </a:endParaRPr>
            </a:p>
          </p:txBody>
        </p:sp>
      </p:grpSp>
      <p:sp>
        <p:nvSpPr>
          <p:cNvPr id="95" name="Rectangle 94"/>
          <p:cNvSpPr>
            <a:spLocks noChangeArrowheads="1"/>
          </p:cNvSpPr>
          <p:nvPr/>
        </p:nvSpPr>
        <p:spPr bwMode="auto">
          <a:xfrm>
            <a:off x="6253162" y="0"/>
            <a:ext cx="1747838" cy="369332"/>
          </a:xfrm>
          <a:prstGeom prst="rect">
            <a:avLst/>
          </a:prstGeom>
          <a:solidFill>
            <a:schemeClr val="accent6"/>
          </a:solidFill>
          <a:ln w="6350" algn="ctr">
            <a:solidFill>
              <a:schemeClr val="bg1"/>
            </a:solidFill>
            <a:miter lim="800000"/>
            <a:headEnd/>
            <a:tailEnd/>
          </a:ln>
        </p:spPr>
        <p:txBody>
          <a:bodyPr tIns="68580" bIns="68580">
            <a:spAutoFit/>
          </a:bodyPr>
          <a:lstStyle/>
          <a:p>
            <a:pPr defTabSz="685800">
              <a:buClrTx/>
              <a:defRPr/>
            </a:pPr>
            <a:r>
              <a:rPr lang="en-US" sz="750" kern="1200">
                <a:solidFill>
                  <a:srgbClr val="313131"/>
                </a:solidFill>
                <a:ea typeface="ＭＳ Ｐゴシック" pitchFamily="50" charset="-128"/>
                <a:cs typeface="+mn-cs"/>
              </a:rPr>
              <a:t>Tip! Place in top right corner of slide when your chapter is very long</a:t>
            </a:r>
            <a:endParaRPr lang="en-US" sz="750" kern="1200" dirty="0">
              <a:solidFill>
                <a:srgbClr val="313131"/>
              </a:solidFill>
              <a:ea typeface="ＭＳ Ｐゴシック" pitchFamily="50" charset="-128"/>
              <a:cs typeface="+mn-cs"/>
            </a:endParaRPr>
          </a:p>
        </p:txBody>
      </p:sp>
    </p:spTree>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normAutofit lnSpcReduction="10000"/>
          </a:bodyPr>
          <a:lstStyle/>
          <a:p>
            <a:pPr marL="0" lvl="1" indent="0">
              <a:spcBef>
                <a:spcPts val="1350"/>
              </a:spcBef>
              <a:buNone/>
            </a:pPr>
            <a:r>
              <a:rPr lang="en-US" dirty="0"/>
              <a:t>Structured text				3</a:t>
            </a:r>
          </a:p>
          <a:p>
            <a:pPr marL="0" lvl="1" indent="0">
              <a:spcBef>
                <a:spcPts val="1350"/>
              </a:spcBef>
              <a:buNone/>
            </a:pPr>
            <a:r>
              <a:rPr lang="en-US" dirty="0"/>
              <a:t>Trees					35</a:t>
            </a:r>
          </a:p>
          <a:p>
            <a:pPr marL="0" lvl="1" indent="0">
              <a:spcBef>
                <a:spcPts val="1350"/>
              </a:spcBef>
              <a:buNone/>
            </a:pPr>
            <a:r>
              <a:rPr lang="en-US" dirty="0"/>
              <a:t>Graphs					50</a:t>
            </a:r>
          </a:p>
          <a:p>
            <a:pPr marL="0" lvl="1" indent="0">
              <a:spcBef>
                <a:spcPts val="1350"/>
              </a:spcBef>
              <a:buNone/>
            </a:pPr>
            <a:r>
              <a:rPr lang="en-US" dirty="0"/>
              <a:t>Shapes					93</a:t>
            </a:r>
          </a:p>
          <a:p>
            <a:pPr marL="0" lvl="1" indent="0">
              <a:spcBef>
                <a:spcPts val="1350"/>
              </a:spcBef>
              <a:buNone/>
            </a:pPr>
            <a:r>
              <a:rPr lang="en-US" dirty="0">
                <a:solidFill>
                  <a:srgbClr val="00A1DE"/>
                </a:solidFill>
              </a:rPr>
              <a:t>Maps</a:t>
            </a:r>
            <a:r>
              <a:rPr lang="en-US" dirty="0"/>
              <a:t>					117</a:t>
            </a:r>
          </a:p>
          <a:p>
            <a:pPr marL="0" lvl="1" indent="0">
              <a:spcBef>
                <a:spcPts val="1350"/>
              </a:spcBef>
              <a:buNone/>
            </a:pPr>
            <a:r>
              <a:rPr lang="en-US" dirty="0"/>
              <a:t>Special graphics			137</a:t>
            </a:r>
          </a:p>
          <a:p>
            <a:pPr marL="0" lvl="1" indent="0">
              <a:spcBef>
                <a:spcPts val="1350"/>
              </a:spcBef>
              <a:buNone/>
            </a:pPr>
            <a:r>
              <a:rPr lang="en-US" dirty="0"/>
              <a:t>Conceptual charts			164</a:t>
            </a:r>
          </a:p>
          <a:p>
            <a:pPr marL="0" lvl="1" indent="0">
              <a:spcBef>
                <a:spcPts val="1350"/>
              </a:spcBef>
              <a:buNone/>
            </a:pPr>
            <a:r>
              <a:rPr lang="en-US" dirty="0" err="1"/>
              <a:t>Infographics</a:t>
            </a:r>
            <a:r>
              <a:rPr lang="en-US" dirty="0"/>
              <a:t> 				215</a:t>
            </a:r>
          </a:p>
          <a:p>
            <a:pPr marL="0" lvl="1" indent="0">
              <a:spcBef>
                <a:spcPts val="1350"/>
              </a:spcBef>
              <a:buNone/>
            </a:pPr>
            <a:r>
              <a:rPr lang="en-US" dirty="0"/>
              <a:t>Iconography				241</a:t>
            </a:r>
          </a:p>
          <a:p>
            <a:endParaRPr lang="en-US" dirty="0"/>
          </a:p>
        </p:txBody>
      </p:sp>
      <p:sp>
        <p:nvSpPr>
          <p:cNvPr id="6" name="Title 5"/>
          <p:cNvSpPr>
            <a:spLocks noGrp="1"/>
          </p:cNvSpPr>
          <p:nvPr>
            <p:ph type="title"/>
          </p:nvPr>
        </p:nvSpPr>
        <p:spPr>
          <a:xfrm>
            <a:off x="1420585" y="134679"/>
            <a:ext cx="6291000" cy="665422"/>
          </a:xfrm>
        </p:spPr>
        <p:txBody>
          <a:bodyPr>
            <a:normAutofit/>
          </a:bodyPr>
          <a:lstStyle/>
          <a:p>
            <a:r>
              <a:rPr lang="en-US" sz="2250" dirty="0"/>
              <a:t>Contents</a:t>
            </a:r>
          </a:p>
        </p:txBody>
      </p:sp>
    </p:spTree>
    <p:extLst>
      <p:ext uri="{BB962C8B-B14F-4D97-AF65-F5344CB8AC3E}">
        <p14:creationId xmlns:p14="http://schemas.microsoft.com/office/powerpoint/2010/main" val="2646630813"/>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World </a:t>
            </a:r>
            <a:r>
              <a:rPr lang="fr-CA" dirty="0" err="1"/>
              <a:t>map</a:t>
            </a:r>
            <a:r>
              <a:rPr lang="fr-CA" dirty="0"/>
              <a:t>  </a:t>
            </a:r>
            <a:br>
              <a:rPr lang="fr-CA" dirty="0"/>
            </a:br>
            <a:r>
              <a:rPr lang="fr-CA" dirty="0">
                <a:solidFill>
                  <a:srgbClr val="575757"/>
                </a:solidFill>
              </a:rPr>
              <a:t>FY2013 People by </a:t>
            </a:r>
            <a:r>
              <a:rPr lang="fr-CA" dirty="0" err="1">
                <a:solidFill>
                  <a:srgbClr val="575757"/>
                </a:solidFill>
              </a:rPr>
              <a:t>region</a:t>
            </a:r>
            <a:endParaRPr lang="en-US" dirty="0">
              <a:solidFill>
                <a:srgbClr val="575757"/>
              </a:solidFill>
            </a:endParaRPr>
          </a:p>
        </p:txBody>
      </p:sp>
      <p:pic>
        <p:nvPicPr>
          <p:cNvPr id="1176578" name="Picture 2" descr="C:\Users\jsauvageau\Desktop\2013GlobalReport\Infographics\Infographics\GRInfo-FINAL_People by region locations.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2442" b="63511"/>
          <a:stretch/>
        </p:blipFill>
        <p:spPr bwMode="auto">
          <a:xfrm>
            <a:off x="1414895" y="1027437"/>
            <a:ext cx="6252731" cy="37445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8410697"/>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7585" name="Title 1"/>
          <p:cNvSpPr>
            <a:spLocks noGrp="1"/>
          </p:cNvSpPr>
          <p:nvPr>
            <p:ph type="title"/>
          </p:nvPr>
        </p:nvSpPr>
        <p:spPr/>
        <p:txBody>
          <a:bodyPr/>
          <a:lstStyle/>
          <a:p>
            <a:r>
              <a:rPr lang="en-US" altLang="ja-JP" dirty="0">
                <a:solidFill>
                  <a:srgbClr val="81BC00"/>
                </a:solidFill>
              </a:rPr>
              <a:t>Maps  </a:t>
            </a:r>
            <a:br>
              <a:rPr lang="en-US" altLang="ja-JP" dirty="0">
                <a:solidFill>
                  <a:srgbClr val="81BC00"/>
                </a:solidFill>
              </a:rPr>
            </a:br>
            <a:r>
              <a:rPr lang="en-US" altLang="ja-JP" dirty="0">
                <a:solidFill>
                  <a:srgbClr val="575757"/>
                </a:solidFill>
              </a:rPr>
              <a:t>Regions</a:t>
            </a:r>
            <a:endParaRPr lang="en-US" dirty="0">
              <a:solidFill>
                <a:srgbClr val="575757"/>
              </a:solidFill>
            </a:endParaRPr>
          </a:p>
        </p:txBody>
      </p:sp>
      <p:sp>
        <p:nvSpPr>
          <p:cNvPr id="61" name="Rectangle 3"/>
          <p:cNvSpPr>
            <a:spLocks noChangeArrowheads="1"/>
          </p:cNvSpPr>
          <p:nvPr/>
        </p:nvSpPr>
        <p:spPr bwMode="auto">
          <a:xfrm>
            <a:off x="5337545" y="1"/>
            <a:ext cx="2663456" cy="600164"/>
          </a:xfrm>
          <a:prstGeom prst="rect">
            <a:avLst/>
          </a:prstGeom>
          <a:solidFill>
            <a:schemeClr val="accent6"/>
          </a:solidFill>
          <a:ln w="6350" algn="ctr">
            <a:solidFill>
              <a:schemeClr val="bg1"/>
            </a:solidFill>
            <a:miter lim="800000"/>
            <a:headEnd/>
            <a:tailEnd/>
          </a:ln>
        </p:spPr>
        <p:txBody>
          <a:bodyPr wrap="square" tIns="68580" bIns="68580">
            <a:spAutoFit/>
          </a:bodyPr>
          <a:lstStyle/>
          <a:p>
            <a:pPr defTabSz="685800">
              <a:buClrTx/>
              <a:defRPr/>
            </a:pPr>
            <a:r>
              <a:rPr lang="en-US" altLang="ja-JP" sz="750" kern="1200" dirty="0">
                <a:solidFill>
                  <a:srgbClr val="313131"/>
                </a:solidFill>
                <a:ea typeface="ＭＳ Ｐゴシック" pitchFamily="50" charset="-128"/>
                <a:cs typeface="+mn-cs"/>
              </a:rPr>
              <a:t>Tip! Click once to select the entire map, and again to select one or more states within it</a:t>
            </a:r>
            <a:br>
              <a:rPr lang="en-US" altLang="ja-JP" sz="750" kern="1200" dirty="0">
                <a:solidFill>
                  <a:srgbClr val="313131"/>
                </a:solidFill>
                <a:ea typeface="ＭＳ Ｐゴシック" pitchFamily="50" charset="-128"/>
                <a:cs typeface="+mn-cs"/>
              </a:rPr>
            </a:br>
            <a:r>
              <a:rPr lang="en-US" altLang="ja-JP" sz="750" kern="1200" dirty="0">
                <a:solidFill>
                  <a:srgbClr val="313131"/>
                </a:solidFill>
                <a:ea typeface="ＭＳ Ｐゴシック" pitchFamily="50" charset="-128"/>
                <a:cs typeface="+mn-cs"/>
              </a:rPr>
              <a:t>Country/regional maps are a representative sample – more will be added</a:t>
            </a:r>
            <a:endParaRPr lang="en-US" sz="750" kern="1200" dirty="0">
              <a:solidFill>
                <a:srgbClr val="313131"/>
              </a:solidFill>
              <a:ea typeface="ＭＳ Ｐゴシック" pitchFamily="50" charset="-128"/>
              <a:cs typeface="+mn-cs"/>
            </a:endParaRPr>
          </a:p>
        </p:txBody>
      </p:sp>
      <p:sp>
        <p:nvSpPr>
          <p:cNvPr id="169" name="Text Placeholder 3"/>
          <p:cNvSpPr txBox="1">
            <a:spLocks/>
          </p:cNvSpPr>
          <p:nvPr/>
        </p:nvSpPr>
        <p:spPr>
          <a:xfrm>
            <a:off x="5482835" y="1358100"/>
            <a:ext cx="2227437" cy="34020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5979" indent="-205979" defTabSz="685800">
              <a:spcBef>
                <a:spcPts val="900"/>
              </a:spcBef>
              <a:buClrTx/>
              <a:defRPr/>
            </a:pPr>
            <a:r>
              <a:rPr lang="en-GB" sz="1350" dirty="0">
                <a:solidFill>
                  <a:srgbClr val="313131"/>
                </a:solidFill>
                <a:latin typeface="Arial"/>
              </a:rPr>
              <a:t>This is a level one bullet this is dummy text</a:t>
            </a:r>
          </a:p>
          <a:p>
            <a:pPr marL="205979" indent="-205979" defTabSz="685800">
              <a:spcBef>
                <a:spcPts val="900"/>
              </a:spcBef>
              <a:buClrTx/>
              <a:defRPr/>
            </a:pPr>
            <a:r>
              <a:rPr lang="en-GB" sz="1350" dirty="0">
                <a:solidFill>
                  <a:srgbClr val="313131"/>
                </a:solidFill>
                <a:latin typeface="Arial"/>
              </a:rPr>
              <a:t>This is a level one bullet this is dummy text</a:t>
            </a:r>
          </a:p>
          <a:p>
            <a:pPr marL="205979" indent="-205979" defTabSz="685800">
              <a:spcBef>
                <a:spcPts val="900"/>
              </a:spcBef>
              <a:buClrTx/>
              <a:defRPr/>
            </a:pPr>
            <a:r>
              <a:rPr lang="en-GB" sz="1350" dirty="0">
                <a:solidFill>
                  <a:srgbClr val="313131"/>
                </a:solidFill>
                <a:latin typeface="Arial"/>
              </a:rPr>
              <a:t>This is a level one bullet this is dummy text</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205979" indent="-205979" defTabSz="685800">
              <a:spcBef>
                <a:spcPts val="900"/>
              </a:spcBef>
              <a:buClrTx/>
              <a:defRPr/>
            </a:pPr>
            <a:endParaRPr lang="en-GB" sz="1350" dirty="0">
              <a:solidFill>
                <a:srgbClr val="313131"/>
              </a:solidFill>
              <a:latin typeface="Arial"/>
            </a:endParaRPr>
          </a:p>
          <a:p>
            <a:pPr marL="205979" indent="-205979" defTabSz="685800">
              <a:spcBef>
                <a:spcPts val="900"/>
              </a:spcBef>
              <a:buClrTx/>
              <a:defRPr/>
            </a:pPr>
            <a:endParaRPr lang="en-GB" sz="1350" dirty="0">
              <a:solidFill>
                <a:srgbClr val="313131"/>
              </a:solidFill>
              <a:latin typeface="Arial"/>
            </a:endParaRPr>
          </a:p>
        </p:txBody>
      </p:sp>
      <p:sp>
        <p:nvSpPr>
          <p:cNvPr id="2" name="TextBox 1"/>
          <p:cNvSpPr txBox="1"/>
          <p:nvPr/>
        </p:nvSpPr>
        <p:spPr>
          <a:xfrm>
            <a:off x="5340096" y="733806"/>
            <a:ext cx="2663455" cy="1107996"/>
          </a:xfrm>
          <a:prstGeom prst="rect">
            <a:avLst/>
          </a:prstGeom>
          <a:solidFill>
            <a:srgbClr val="ED1B2F"/>
          </a:solidFill>
        </p:spPr>
        <p:txBody>
          <a:bodyPr wrap="square" lIns="68580" tIns="68580" rIns="68580" bIns="68580" rtlCol="0">
            <a:spAutoFit/>
          </a:bodyPr>
          <a:lstStyle/>
          <a:p>
            <a:pPr defTabSz="685800">
              <a:buClrTx/>
            </a:pPr>
            <a:r>
              <a:rPr lang="en-US" sz="1050" kern="1200" dirty="0">
                <a:solidFill>
                  <a:prstClr val="white"/>
                </a:solidFill>
                <a:ea typeface="+mn-ea"/>
                <a:cs typeface="+mn-cs"/>
              </a:rPr>
              <a:t>Maps are for directional purposes only and are not intended to be exact renditions of country borders. For specific information about country borders and maps, please contact the local member firm.</a:t>
            </a:r>
          </a:p>
        </p:txBody>
      </p:sp>
      <p:sp>
        <p:nvSpPr>
          <p:cNvPr id="63" name="Text Placeholder 12"/>
          <p:cNvSpPr>
            <a:spLocks/>
          </p:cNvSpPr>
          <p:nvPr>
            <p:custDataLst>
              <p:tags r:id="rId1"/>
            </p:custDataLst>
          </p:nvPr>
        </p:nvSpPr>
        <p:spPr bwMode="auto">
          <a:xfrm>
            <a:off x="1623061" y="1133050"/>
            <a:ext cx="485005" cy="170816"/>
          </a:xfrm>
          <a:prstGeom prst="rect">
            <a:avLst/>
          </a:prstGeom>
          <a:noFill/>
          <a:ln w="9525">
            <a:noFill/>
            <a:miter lim="800000"/>
            <a:headEnd/>
            <a:tailEnd/>
          </a:ln>
        </p:spPr>
        <p:txBody>
          <a:bodyPr wrap="none" lIns="27432" tIns="27432" rIns="27432" bIns="27432">
            <a:spAutoFit/>
          </a:bodyPr>
          <a:lstStyle/>
          <a:p>
            <a:pPr defTabSz="764381">
              <a:buClrTx/>
            </a:pPr>
            <a:r>
              <a:rPr lang="en-US" sz="750" b="1" kern="1200" dirty="0">
                <a:solidFill>
                  <a:srgbClr val="00A1DE"/>
                </a:solidFill>
                <a:ea typeface="+mn-ea"/>
                <a:cs typeface="+mn-cs"/>
              </a:rPr>
              <a:t>Americas</a:t>
            </a:r>
          </a:p>
        </p:txBody>
      </p:sp>
      <p:sp>
        <p:nvSpPr>
          <p:cNvPr id="64" name="Rectangle 63"/>
          <p:cNvSpPr/>
          <p:nvPr/>
        </p:nvSpPr>
        <p:spPr>
          <a:xfrm>
            <a:off x="1453436" y="1110404"/>
            <a:ext cx="130568" cy="216110"/>
          </a:xfrm>
          <a:prstGeom prst="rect">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nvGrpSpPr>
          <p:cNvPr id="65" name="Group 64"/>
          <p:cNvGrpSpPr/>
          <p:nvPr/>
        </p:nvGrpSpPr>
        <p:grpSpPr>
          <a:xfrm>
            <a:off x="2328863" y="891540"/>
            <a:ext cx="2565798" cy="3914776"/>
            <a:chOff x="0" y="1230741"/>
            <a:chExt cx="3421064" cy="5219701"/>
          </a:xfrm>
        </p:grpSpPr>
        <p:sp>
          <p:nvSpPr>
            <p:cNvPr id="66" name="Freeform 25"/>
            <p:cNvSpPr>
              <a:spLocks/>
            </p:cNvSpPr>
            <p:nvPr/>
          </p:nvSpPr>
          <p:spPr bwMode="auto">
            <a:xfrm>
              <a:off x="1287463" y="1630791"/>
              <a:ext cx="301625" cy="231775"/>
            </a:xfrm>
            <a:custGeom>
              <a:avLst/>
              <a:gdLst>
                <a:gd name="T0" fmla="*/ 162 w 190"/>
                <a:gd name="T1" fmla="*/ 116 h 146"/>
                <a:gd name="T2" fmla="*/ 156 w 190"/>
                <a:gd name="T3" fmla="*/ 107 h 146"/>
                <a:gd name="T4" fmla="*/ 152 w 190"/>
                <a:gd name="T5" fmla="*/ 116 h 146"/>
                <a:gd name="T6" fmla="*/ 142 w 190"/>
                <a:gd name="T7" fmla="*/ 114 h 146"/>
                <a:gd name="T8" fmla="*/ 139 w 190"/>
                <a:gd name="T9" fmla="*/ 106 h 146"/>
                <a:gd name="T10" fmla="*/ 128 w 190"/>
                <a:gd name="T11" fmla="*/ 117 h 146"/>
                <a:gd name="T12" fmla="*/ 112 w 190"/>
                <a:gd name="T13" fmla="*/ 126 h 146"/>
                <a:gd name="T14" fmla="*/ 100 w 190"/>
                <a:gd name="T15" fmla="*/ 139 h 146"/>
                <a:gd name="T16" fmla="*/ 81 w 190"/>
                <a:gd name="T17" fmla="*/ 146 h 146"/>
                <a:gd name="T18" fmla="*/ 59 w 190"/>
                <a:gd name="T19" fmla="*/ 138 h 146"/>
                <a:gd name="T20" fmla="*/ 54 w 190"/>
                <a:gd name="T21" fmla="*/ 125 h 146"/>
                <a:gd name="T22" fmla="*/ 68 w 190"/>
                <a:gd name="T23" fmla="*/ 113 h 146"/>
                <a:gd name="T24" fmla="*/ 86 w 190"/>
                <a:gd name="T25" fmla="*/ 114 h 146"/>
                <a:gd name="T26" fmla="*/ 100 w 190"/>
                <a:gd name="T27" fmla="*/ 103 h 146"/>
                <a:gd name="T28" fmla="*/ 99 w 190"/>
                <a:gd name="T29" fmla="*/ 96 h 146"/>
                <a:gd name="T30" fmla="*/ 86 w 190"/>
                <a:gd name="T31" fmla="*/ 103 h 146"/>
                <a:gd name="T32" fmla="*/ 77 w 190"/>
                <a:gd name="T33" fmla="*/ 101 h 146"/>
                <a:gd name="T34" fmla="*/ 61 w 190"/>
                <a:gd name="T35" fmla="*/ 107 h 146"/>
                <a:gd name="T36" fmla="*/ 64 w 190"/>
                <a:gd name="T37" fmla="*/ 85 h 146"/>
                <a:gd name="T38" fmla="*/ 54 w 190"/>
                <a:gd name="T39" fmla="*/ 81 h 146"/>
                <a:gd name="T40" fmla="*/ 54 w 190"/>
                <a:gd name="T41" fmla="*/ 93 h 146"/>
                <a:gd name="T42" fmla="*/ 51 w 190"/>
                <a:gd name="T43" fmla="*/ 101 h 146"/>
                <a:gd name="T44" fmla="*/ 46 w 190"/>
                <a:gd name="T45" fmla="*/ 110 h 146"/>
                <a:gd name="T46" fmla="*/ 36 w 190"/>
                <a:gd name="T47" fmla="*/ 107 h 146"/>
                <a:gd name="T48" fmla="*/ 25 w 190"/>
                <a:gd name="T49" fmla="*/ 107 h 146"/>
                <a:gd name="T50" fmla="*/ 6 w 190"/>
                <a:gd name="T51" fmla="*/ 99 h 146"/>
                <a:gd name="T52" fmla="*/ 0 w 190"/>
                <a:gd name="T53" fmla="*/ 94 h 146"/>
                <a:gd name="T54" fmla="*/ 7 w 190"/>
                <a:gd name="T55" fmla="*/ 80 h 146"/>
                <a:gd name="T56" fmla="*/ 16 w 190"/>
                <a:gd name="T57" fmla="*/ 77 h 146"/>
                <a:gd name="T58" fmla="*/ 10 w 190"/>
                <a:gd name="T59" fmla="*/ 64 h 146"/>
                <a:gd name="T60" fmla="*/ 16 w 190"/>
                <a:gd name="T61" fmla="*/ 58 h 146"/>
                <a:gd name="T62" fmla="*/ 17 w 190"/>
                <a:gd name="T63" fmla="*/ 52 h 146"/>
                <a:gd name="T64" fmla="*/ 15 w 190"/>
                <a:gd name="T65" fmla="*/ 45 h 146"/>
                <a:gd name="T66" fmla="*/ 23 w 190"/>
                <a:gd name="T67" fmla="*/ 28 h 146"/>
                <a:gd name="T68" fmla="*/ 30 w 190"/>
                <a:gd name="T69" fmla="*/ 16 h 146"/>
                <a:gd name="T70" fmla="*/ 57 w 190"/>
                <a:gd name="T71" fmla="*/ 19 h 146"/>
                <a:gd name="T72" fmla="*/ 58 w 190"/>
                <a:gd name="T73" fmla="*/ 35 h 146"/>
                <a:gd name="T74" fmla="*/ 71 w 190"/>
                <a:gd name="T75" fmla="*/ 35 h 146"/>
                <a:gd name="T76" fmla="*/ 78 w 190"/>
                <a:gd name="T77" fmla="*/ 45 h 146"/>
                <a:gd name="T78" fmla="*/ 90 w 190"/>
                <a:gd name="T79" fmla="*/ 52 h 146"/>
                <a:gd name="T80" fmla="*/ 84 w 190"/>
                <a:gd name="T81" fmla="*/ 58 h 146"/>
                <a:gd name="T82" fmla="*/ 94 w 190"/>
                <a:gd name="T83" fmla="*/ 62 h 146"/>
                <a:gd name="T84" fmla="*/ 97 w 190"/>
                <a:gd name="T85" fmla="*/ 74 h 146"/>
                <a:gd name="T86" fmla="*/ 116 w 190"/>
                <a:gd name="T87" fmla="*/ 74 h 146"/>
                <a:gd name="T88" fmla="*/ 132 w 190"/>
                <a:gd name="T89" fmla="*/ 74 h 146"/>
                <a:gd name="T90" fmla="*/ 120 w 190"/>
                <a:gd name="T91" fmla="*/ 54 h 146"/>
                <a:gd name="T92" fmla="*/ 132 w 190"/>
                <a:gd name="T93" fmla="*/ 41 h 146"/>
                <a:gd name="T94" fmla="*/ 114 w 190"/>
                <a:gd name="T95" fmla="*/ 28 h 146"/>
                <a:gd name="T96" fmla="*/ 116 w 190"/>
                <a:gd name="T97" fmla="*/ 19 h 146"/>
                <a:gd name="T98" fmla="*/ 119 w 190"/>
                <a:gd name="T99" fmla="*/ 9 h 146"/>
                <a:gd name="T100" fmla="*/ 133 w 190"/>
                <a:gd name="T101" fmla="*/ 0 h 146"/>
                <a:gd name="T102" fmla="*/ 146 w 190"/>
                <a:gd name="T103" fmla="*/ 16 h 146"/>
                <a:gd name="T104" fmla="*/ 152 w 190"/>
                <a:gd name="T105" fmla="*/ 26 h 146"/>
                <a:gd name="T106" fmla="*/ 151 w 190"/>
                <a:gd name="T107" fmla="*/ 36 h 146"/>
                <a:gd name="T108" fmla="*/ 161 w 190"/>
                <a:gd name="T109" fmla="*/ 48 h 146"/>
                <a:gd name="T110" fmla="*/ 180 w 190"/>
                <a:gd name="T111" fmla="*/ 42 h 146"/>
                <a:gd name="T112" fmla="*/ 190 w 190"/>
                <a:gd name="T113" fmla="*/ 54 h 146"/>
                <a:gd name="T114" fmla="*/ 190 w 190"/>
                <a:gd name="T115" fmla="*/ 81 h 146"/>
                <a:gd name="T116" fmla="*/ 184 w 190"/>
                <a:gd name="T117" fmla="*/ 96 h 146"/>
                <a:gd name="T118" fmla="*/ 183 w 190"/>
                <a:gd name="T119" fmla="*/ 11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 h="146">
                  <a:moveTo>
                    <a:pt x="180" y="113"/>
                  </a:moveTo>
                  <a:lnTo>
                    <a:pt x="180" y="113"/>
                  </a:lnTo>
                  <a:lnTo>
                    <a:pt x="171" y="116"/>
                  </a:lnTo>
                  <a:lnTo>
                    <a:pt x="165" y="116"/>
                  </a:lnTo>
                  <a:lnTo>
                    <a:pt x="162" y="116"/>
                  </a:lnTo>
                  <a:lnTo>
                    <a:pt x="162" y="116"/>
                  </a:lnTo>
                  <a:lnTo>
                    <a:pt x="159" y="110"/>
                  </a:lnTo>
                  <a:lnTo>
                    <a:pt x="158" y="107"/>
                  </a:lnTo>
                  <a:lnTo>
                    <a:pt x="156" y="107"/>
                  </a:lnTo>
                  <a:lnTo>
                    <a:pt x="156" y="107"/>
                  </a:lnTo>
                  <a:lnTo>
                    <a:pt x="156" y="107"/>
                  </a:lnTo>
                  <a:lnTo>
                    <a:pt x="155" y="110"/>
                  </a:lnTo>
                  <a:lnTo>
                    <a:pt x="154" y="113"/>
                  </a:lnTo>
                  <a:lnTo>
                    <a:pt x="154" y="116"/>
                  </a:lnTo>
                  <a:lnTo>
                    <a:pt x="152" y="116"/>
                  </a:lnTo>
                  <a:lnTo>
                    <a:pt x="152" y="116"/>
                  </a:lnTo>
                  <a:lnTo>
                    <a:pt x="146" y="117"/>
                  </a:lnTo>
                  <a:lnTo>
                    <a:pt x="143" y="117"/>
                  </a:lnTo>
                  <a:lnTo>
                    <a:pt x="142" y="114"/>
                  </a:lnTo>
                  <a:lnTo>
                    <a:pt x="142" y="114"/>
                  </a:lnTo>
                  <a:lnTo>
                    <a:pt x="141" y="112"/>
                  </a:lnTo>
                  <a:lnTo>
                    <a:pt x="141" y="109"/>
                  </a:lnTo>
                  <a:lnTo>
                    <a:pt x="139" y="106"/>
                  </a:lnTo>
                  <a:lnTo>
                    <a:pt x="139" y="106"/>
                  </a:lnTo>
                  <a:lnTo>
                    <a:pt x="139" y="106"/>
                  </a:lnTo>
                  <a:lnTo>
                    <a:pt x="136" y="110"/>
                  </a:lnTo>
                  <a:lnTo>
                    <a:pt x="136" y="113"/>
                  </a:lnTo>
                  <a:lnTo>
                    <a:pt x="133" y="114"/>
                  </a:lnTo>
                  <a:lnTo>
                    <a:pt x="133" y="114"/>
                  </a:lnTo>
                  <a:lnTo>
                    <a:pt x="128" y="117"/>
                  </a:lnTo>
                  <a:lnTo>
                    <a:pt x="122" y="122"/>
                  </a:lnTo>
                  <a:lnTo>
                    <a:pt x="122" y="122"/>
                  </a:lnTo>
                  <a:lnTo>
                    <a:pt x="116" y="122"/>
                  </a:lnTo>
                  <a:lnTo>
                    <a:pt x="113" y="123"/>
                  </a:lnTo>
                  <a:lnTo>
                    <a:pt x="112" y="126"/>
                  </a:lnTo>
                  <a:lnTo>
                    <a:pt x="112" y="126"/>
                  </a:lnTo>
                  <a:lnTo>
                    <a:pt x="109" y="132"/>
                  </a:lnTo>
                  <a:lnTo>
                    <a:pt x="104" y="136"/>
                  </a:lnTo>
                  <a:lnTo>
                    <a:pt x="104" y="136"/>
                  </a:lnTo>
                  <a:lnTo>
                    <a:pt x="100" y="139"/>
                  </a:lnTo>
                  <a:lnTo>
                    <a:pt x="96" y="141"/>
                  </a:lnTo>
                  <a:lnTo>
                    <a:pt x="88" y="143"/>
                  </a:lnTo>
                  <a:lnTo>
                    <a:pt x="88" y="143"/>
                  </a:lnTo>
                  <a:lnTo>
                    <a:pt x="84" y="145"/>
                  </a:lnTo>
                  <a:lnTo>
                    <a:pt x="81" y="146"/>
                  </a:lnTo>
                  <a:lnTo>
                    <a:pt x="77" y="145"/>
                  </a:lnTo>
                  <a:lnTo>
                    <a:pt x="77" y="145"/>
                  </a:lnTo>
                  <a:lnTo>
                    <a:pt x="67" y="142"/>
                  </a:lnTo>
                  <a:lnTo>
                    <a:pt x="59" y="138"/>
                  </a:lnTo>
                  <a:lnTo>
                    <a:pt x="59" y="138"/>
                  </a:lnTo>
                  <a:lnTo>
                    <a:pt x="57" y="133"/>
                  </a:lnTo>
                  <a:lnTo>
                    <a:pt x="54" y="130"/>
                  </a:lnTo>
                  <a:lnTo>
                    <a:pt x="54" y="127"/>
                  </a:lnTo>
                  <a:lnTo>
                    <a:pt x="54" y="125"/>
                  </a:lnTo>
                  <a:lnTo>
                    <a:pt x="54" y="125"/>
                  </a:lnTo>
                  <a:lnTo>
                    <a:pt x="64" y="122"/>
                  </a:lnTo>
                  <a:lnTo>
                    <a:pt x="67" y="119"/>
                  </a:lnTo>
                  <a:lnTo>
                    <a:pt x="68" y="117"/>
                  </a:lnTo>
                  <a:lnTo>
                    <a:pt x="68" y="117"/>
                  </a:lnTo>
                  <a:lnTo>
                    <a:pt x="68" y="113"/>
                  </a:lnTo>
                  <a:lnTo>
                    <a:pt x="68" y="112"/>
                  </a:lnTo>
                  <a:lnTo>
                    <a:pt x="71" y="112"/>
                  </a:lnTo>
                  <a:lnTo>
                    <a:pt x="71" y="112"/>
                  </a:lnTo>
                  <a:lnTo>
                    <a:pt x="80" y="114"/>
                  </a:lnTo>
                  <a:lnTo>
                    <a:pt x="86" y="114"/>
                  </a:lnTo>
                  <a:lnTo>
                    <a:pt x="91" y="114"/>
                  </a:lnTo>
                  <a:lnTo>
                    <a:pt x="91" y="114"/>
                  </a:lnTo>
                  <a:lnTo>
                    <a:pt x="96" y="112"/>
                  </a:lnTo>
                  <a:lnTo>
                    <a:pt x="97" y="109"/>
                  </a:lnTo>
                  <a:lnTo>
                    <a:pt x="100" y="103"/>
                  </a:lnTo>
                  <a:lnTo>
                    <a:pt x="100" y="103"/>
                  </a:lnTo>
                  <a:lnTo>
                    <a:pt x="101" y="101"/>
                  </a:lnTo>
                  <a:lnTo>
                    <a:pt x="101" y="99"/>
                  </a:lnTo>
                  <a:lnTo>
                    <a:pt x="100" y="96"/>
                  </a:lnTo>
                  <a:lnTo>
                    <a:pt x="99" y="96"/>
                  </a:lnTo>
                  <a:lnTo>
                    <a:pt x="99" y="96"/>
                  </a:lnTo>
                  <a:lnTo>
                    <a:pt x="96" y="96"/>
                  </a:lnTo>
                  <a:lnTo>
                    <a:pt x="93" y="99"/>
                  </a:lnTo>
                  <a:lnTo>
                    <a:pt x="86" y="103"/>
                  </a:lnTo>
                  <a:lnTo>
                    <a:pt x="86" y="103"/>
                  </a:lnTo>
                  <a:lnTo>
                    <a:pt x="83" y="103"/>
                  </a:lnTo>
                  <a:lnTo>
                    <a:pt x="81" y="103"/>
                  </a:lnTo>
                  <a:lnTo>
                    <a:pt x="80" y="101"/>
                  </a:lnTo>
                  <a:lnTo>
                    <a:pt x="77" y="101"/>
                  </a:lnTo>
                  <a:lnTo>
                    <a:pt x="77" y="101"/>
                  </a:lnTo>
                  <a:lnTo>
                    <a:pt x="67" y="107"/>
                  </a:lnTo>
                  <a:lnTo>
                    <a:pt x="64" y="109"/>
                  </a:lnTo>
                  <a:lnTo>
                    <a:pt x="62" y="109"/>
                  </a:lnTo>
                  <a:lnTo>
                    <a:pt x="61" y="107"/>
                  </a:lnTo>
                  <a:lnTo>
                    <a:pt x="61" y="107"/>
                  </a:lnTo>
                  <a:lnTo>
                    <a:pt x="61" y="99"/>
                  </a:lnTo>
                  <a:lnTo>
                    <a:pt x="61" y="93"/>
                  </a:lnTo>
                  <a:lnTo>
                    <a:pt x="61" y="90"/>
                  </a:lnTo>
                  <a:lnTo>
                    <a:pt x="61" y="90"/>
                  </a:lnTo>
                  <a:lnTo>
                    <a:pt x="64" y="85"/>
                  </a:lnTo>
                  <a:lnTo>
                    <a:pt x="62" y="83"/>
                  </a:lnTo>
                  <a:lnTo>
                    <a:pt x="61" y="83"/>
                  </a:lnTo>
                  <a:lnTo>
                    <a:pt x="61" y="83"/>
                  </a:lnTo>
                  <a:lnTo>
                    <a:pt x="55" y="81"/>
                  </a:lnTo>
                  <a:lnTo>
                    <a:pt x="54" y="81"/>
                  </a:lnTo>
                  <a:lnTo>
                    <a:pt x="54" y="83"/>
                  </a:lnTo>
                  <a:lnTo>
                    <a:pt x="54" y="83"/>
                  </a:lnTo>
                  <a:lnTo>
                    <a:pt x="55" y="87"/>
                  </a:lnTo>
                  <a:lnTo>
                    <a:pt x="55" y="90"/>
                  </a:lnTo>
                  <a:lnTo>
                    <a:pt x="54" y="93"/>
                  </a:lnTo>
                  <a:lnTo>
                    <a:pt x="54" y="93"/>
                  </a:lnTo>
                  <a:lnTo>
                    <a:pt x="51" y="96"/>
                  </a:lnTo>
                  <a:lnTo>
                    <a:pt x="49" y="97"/>
                  </a:lnTo>
                  <a:lnTo>
                    <a:pt x="49" y="97"/>
                  </a:lnTo>
                  <a:lnTo>
                    <a:pt x="51" y="101"/>
                  </a:lnTo>
                  <a:lnTo>
                    <a:pt x="51" y="103"/>
                  </a:lnTo>
                  <a:lnTo>
                    <a:pt x="51" y="106"/>
                  </a:lnTo>
                  <a:lnTo>
                    <a:pt x="51" y="106"/>
                  </a:lnTo>
                  <a:lnTo>
                    <a:pt x="49" y="109"/>
                  </a:lnTo>
                  <a:lnTo>
                    <a:pt x="46" y="110"/>
                  </a:lnTo>
                  <a:lnTo>
                    <a:pt x="44" y="110"/>
                  </a:lnTo>
                  <a:lnTo>
                    <a:pt x="44" y="110"/>
                  </a:lnTo>
                  <a:lnTo>
                    <a:pt x="38" y="107"/>
                  </a:lnTo>
                  <a:lnTo>
                    <a:pt x="36" y="107"/>
                  </a:lnTo>
                  <a:lnTo>
                    <a:pt x="36" y="107"/>
                  </a:lnTo>
                  <a:lnTo>
                    <a:pt x="35" y="109"/>
                  </a:lnTo>
                  <a:lnTo>
                    <a:pt x="33" y="109"/>
                  </a:lnTo>
                  <a:lnTo>
                    <a:pt x="30" y="109"/>
                  </a:lnTo>
                  <a:lnTo>
                    <a:pt x="30" y="109"/>
                  </a:lnTo>
                  <a:lnTo>
                    <a:pt x="25" y="107"/>
                  </a:lnTo>
                  <a:lnTo>
                    <a:pt x="19" y="104"/>
                  </a:lnTo>
                  <a:lnTo>
                    <a:pt x="19" y="104"/>
                  </a:lnTo>
                  <a:lnTo>
                    <a:pt x="12" y="100"/>
                  </a:lnTo>
                  <a:lnTo>
                    <a:pt x="7" y="99"/>
                  </a:lnTo>
                  <a:lnTo>
                    <a:pt x="6" y="99"/>
                  </a:lnTo>
                  <a:lnTo>
                    <a:pt x="6" y="99"/>
                  </a:lnTo>
                  <a:lnTo>
                    <a:pt x="3" y="99"/>
                  </a:lnTo>
                  <a:lnTo>
                    <a:pt x="2" y="99"/>
                  </a:lnTo>
                  <a:lnTo>
                    <a:pt x="0" y="97"/>
                  </a:lnTo>
                  <a:lnTo>
                    <a:pt x="0" y="94"/>
                  </a:lnTo>
                  <a:lnTo>
                    <a:pt x="0" y="94"/>
                  </a:lnTo>
                  <a:lnTo>
                    <a:pt x="2" y="85"/>
                  </a:lnTo>
                  <a:lnTo>
                    <a:pt x="4" y="81"/>
                  </a:lnTo>
                  <a:lnTo>
                    <a:pt x="7" y="80"/>
                  </a:lnTo>
                  <a:lnTo>
                    <a:pt x="7" y="80"/>
                  </a:lnTo>
                  <a:lnTo>
                    <a:pt x="13" y="80"/>
                  </a:lnTo>
                  <a:lnTo>
                    <a:pt x="16" y="78"/>
                  </a:lnTo>
                  <a:lnTo>
                    <a:pt x="17" y="77"/>
                  </a:lnTo>
                  <a:lnTo>
                    <a:pt x="17" y="77"/>
                  </a:lnTo>
                  <a:lnTo>
                    <a:pt x="16" y="77"/>
                  </a:lnTo>
                  <a:lnTo>
                    <a:pt x="13" y="75"/>
                  </a:lnTo>
                  <a:lnTo>
                    <a:pt x="10" y="74"/>
                  </a:lnTo>
                  <a:lnTo>
                    <a:pt x="10" y="72"/>
                  </a:lnTo>
                  <a:lnTo>
                    <a:pt x="10" y="72"/>
                  </a:lnTo>
                  <a:lnTo>
                    <a:pt x="10" y="64"/>
                  </a:lnTo>
                  <a:lnTo>
                    <a:pt x="12" y="59"/>
                  </a:lnTo>
                  <a:lnTo>
                    <a:pt x="12" y="58"/>
                  </a:lnTo>
                  <a:lnTo>
                    <a:pt x="13" y="58"/>
                  </a:lnTo>
                  <a:lnTo>
                    <a:pt x="13" y="58"/>
                  </a:lnTo>
                  <a:lnTo>
                    <a:pt x="16" y="58"/>
                  </a:lnTo>
                  <a:lnTo>
                    <a:pt x="19" y="57"/>
                  </a:lnTo>
                  <a:lnTo>
                    <a:pt x="19" y="54"/>
                  </a:lnTo>
                  <a:lnTo>
                    <a:pt x="19" y="54"/>
                  </a:lnTo>
                  <a:lnTo>
                    <a:pt x="19" y="54"/>
                  </a:lnTo>
                  <a:lnTo>
                    <a:pt x="17" y="52"/>
                  </a:lnTo>
                  <a:lnTo>
                    <a:pt x="16" y="51"/>
                  </a:lnTo>
                  <a:lnTo>
                    <a:pt x="17" y="49"/>
                  </a:lnTo>
                  <a:lnTo>
                    <a:pt x="17" y="49"/>
                  </a:lnTo>
                  <a:lnTo>
                    <a:pt x="16" y="48"/>
                  </a:lnTo>
                  <a:lnTo>
                    <a:pt x="15" y="45"/>
                  </a:lnTo>
                  <a:lnTo>
                    <a:pt x="13" y="43"/>
                  </a:lnTo>
                  <a:lnTo>
                    <a:pt x="13" y="41"/>
                  </a:lnTo>
                  <a:lnTo>
                    <a:pt x="13" y="41"/>
                  </a:lnTo>
                  <a:lnTo>
                    <a:pt x="19" y="35"/>
                  </a:lnTo>
                  <a:lnTo>
                    <a:pt x="23" y="28"/>
                  </a:lnTo>
                  <a:lnTo>
                    <a:pt x="23" y="28"/>
                  </a:lnTo>
                  <a:lnTo>
                    <a:pt x="26" y="20"/>
                  </a:lnTo>
                  <a:lnTo>
                    <a:pt x="29" y="17"/>
                  </a:lnTo>
                  <a:lnTo>
                    <a:pt x="30" y="16"/>
                  </a:lnTo>
                  <a:lnTo>
                    <a:pt x="30" y="16"/>
                  </a:lnTo>
                  <a:lnTo>
                    <a:pt x="44" y="16"/>
                  </a:lnTo>
                  <a:lnTo>
                    <a:pt x="44" y="16"/>
                  </a:lnTo>
                  <a:lnTo>
                    <a:pt x="52" y="17"/>
                  </a:lnTo>
                  <a:lnTo>
                    <a:pt x="57" y="19"/>
                  </a:lnTo>
                  <a:lnTo>
                    <a:pt x="57" y="19"/>
                  </a:lnTo>
                  <a:lnTo>
                    <a:pt x="57" y="20"/>
                  </a:lnTo>
                  <a:lnTo>
                    <a:pt x="57" y="20"/>
                  </a:lnTo>
                  <a:lnTo>
                    <a:pt x="57" y="23"/>
                  </a:lnTo>
                  <a:lnTo>
                    <a:pt x="57" y="29"/>
                  </a:lnTo>
                  <a:lnTo>
                    <a:pt x="58" y="35"/>
                  </a:lnTo>
                  <a:lnTo>
                    <a:pt x="58" y="38"/>
                  </a:lnTo>
                  <a:lnTo>
                    <a:pt x="59" y="38"/>
                  </a:lnTo>
                  <a:lnTo>
                    <a:pt x="59" y="38"/>
                  </a:lnTo>
                  <a:lnTo>
                    <a:pt x="67" y="36"/>
                  </a:lnTo>
                  <a:lnTo>
                    <a:pt x="71" y="35"/>
                  </a:lnTo>
                  <a:lnTo>
                    <a:pt x="74" y="36"/>
                  </a:lnTo>
                  <a:lnTo>
                    <a:pt x="74" y="36"/>
                  </a:lnTo>
                  <a:lnTo>
                    <a:pt x="74" y="38"/>
                  </a:lnTo>
                  <a:lnTo>
                    <a:pt x="75" y="39"/>
                  </a:lnTo>
                  <a:lnTo>
                    <a:pt x="78" y="45"/>
                  </a:lnTo>
                  <a:lnTo>
                    <a:pt x="78" y="45"/>
                  </a:lnTo>
                  <a:lnTo>
                    <a:pt x="80" y="48"/>
                  </a:lnTo>
                  <a:lnTo>
                    <a:pt x="84" y="49"/>
                  </a:lnTo>
                  <a:lnTo>
                    <a:pt x="88" y="51"/>
                  </a:lnTo>
                  <a:lnTo>
                    <a:pt x="90" y="52"/>
                  </a:lnTo>
                  <a:lnTo>
                    <a:pt x="90" y="52"/>
                  </a:lnTo>
                  <a:lnTo>
                    <a:pt x="90" y="54"/>
                  </a:lnTo>
                  <a:lnTo>
                    <a:pt x="86" y="55"/>
                  </a:lnTo>
                  <a:lnTo>
                    <a:pt x="84" y="57"/>
                  </a:lnTo>
                  <a:lnTo>
                    <a:pt x="84" y="58"/>
                  </a:lnTo>
                  <a:lnTo>
                    <a:pt x="84" y="58"/>
                  </a:lnTo>
                  <a:lnTo>
                    <a:pt x="84" y="58"/>
                  </a:lnTo>
                  <a:lnTo>
                    <a:pt x="90" y="61"/>
                  </a:lnTo>
                  <a:lnTo>
                    <a:pt x="94" y="62"/>
                  </a:lnTo>
                  <a:lnTo>
                    <a:pt x="94" y="62"/>
                  </a:lnTo>
                  <a:lnTo>
                    <a:pt x="97" y="67"/>
                  </a:lnTo>
                  <a:lnTo>
                    <a:pt x="97" y="71"/>
                  </a:lnTo>
                  <a:lnTo>
                    <a:pt x="97" y="71"/>
                  </a:lnTo>
                  <a:lnTo>
                    <a:pt x="97" y="74"/>
                  </a:lnTo>
                  <a:lnTo>
                    <a:pt x="97" y="74"/>
                  </a:lnTo>
                  <a:lnTo>
                    <a:pt x="100" y="74"/>
                  </a:lnTo>
                  <a:lnTo>
                    <a:pt x="100" y="74"/>
                  </a:lnTo>
                  <a:lnTo>
                    <a:pt x="109" y="74"/>
                  </a:lnTo>
                  <a:lnTo>
                    <a:pt x="116" y="74"/>
                  </a:lnTo>
                  <a:lnTo>
                    <a:pt x="116" y="74"/>
                  </a:lnTo>
                  <a:lnTo>
                    <a:pt x="125" y="75"/>
                  </a:lnTo>
                  <a:lnTo>
                    <a:pt x="129" y="75"/>
                  </a:lnTo>
                  <a:lnTo>
                    <a:pt x="130" y="75"/>
                  </a:lnTo>
                  <a:lnTo>
                    <a:pt x="132" y="74"/>
                  </a:lnTo>
                  <a:lnTo>
                    <a:pt x="132" y="74"/>
                  </a:lnTo>
                  <a:lnTo>
                    <a:pt x="129" y="70"/>
                  </a:lnTo>
                  <a:lnTo>
                    <a:pt x="125" y="64"/>
                  </a:lnTo>
                  <a:lnTo>
                    <a:pt x="120" y="58"/>
                  </a:lnTo>
                  <a:lnTo>
                    <a:pt x="120" y="55"/>
                  </a:lnTo>
                  <a:lnTo>
                    <a:pt x="120" y="54"/>
                  </a:lnTo>
                  <a:lnTo>
                    <a:pt x="120" y="54"/>
                  </a:lnTo>
                  <a:lnTo>
                    <a:pt x="130" y="48"/>
                  </a:lnTo>
                  <a:lnTo>
                    <a:pt x="133" y="45"/>
                  </a:lnTo>
                  <a:lnTo>
                    <a:pt x="133" y="42"/>
                  </a:lnTo>
                  <a:lnTo>
                    <a:pt x="132" y="41"/>
                  </a:lnTo>
                  <a:lnTo>
                    <a:pt x="132" y="41"/>
                  </a:lnTo>
                  <a:lnTo>
                    <a:pt x="122" y="35"/>
                  </a:lnTo>
                  <a:lnTo>
                    <a:pt x="117" y="30"/>
                  </a:lnTo>
                  <a:lnTo>
                    <a:pt x="114" y="28"/>
                  </a:lnTo>
                  <a:lnTo>
                    <a:pt x="114" y="28"/>
                  </a:lnTo>
                  <a:lnTo>
                    <a:pt x="113" y="25"/>
                  </a:lnTo>
                  <a:lnTo>
                    <a:pt x="113" y="23"/>
                  </a:lnTo>
                  <a:lnTo>
                    <a:pt x="114" y="20"/>
                  </a:lnTo>
                  <a:lnTo>
                    <a:pt x="116" y="19"/>
                  </a:lnTo>
                  <a:lnTo>
                    <a:pt x="116" y="19"/>
                  </a:lnTo>
                  <a:lnTo>
                    <a:pt x="117" y="16"/>
                  </a:lnTo>
                  <a:lnTo>
                    <a:pt x="117" y="13"/>
                  </a:lnTo>
                  <a:lnTo>
                    <a:pt x="117" y="12"/>
                  </a:lnTo>
                  <a:lnTo>
                    <a:pt x="119" y="9"/>
                  </a:lnTo>
                  <a:lnTo>
                    <a:pt x="119" y="9"/>
                  </a:lnTo>
                  <a:lnTo>
                    <a:pt x="125" y="4"/>
                  </a:lnTo>
                  <a:lnTo>
                    <a:pt x="128" y="3"/>
                  </a:lnTo>
                  <a:lnTo>
                    <a:pt x="130" y="0"/>
                  </a:lnTo>
                  <a:lnTo>
                    <a:pt x="130" y="0"/>
                  </a:lnTo>
                  <a:lnTo>
                    <a:pt x="133" y="0"/>
                  </a:lnTo>
                  <a:lnTo>
                    <a:pt x="135" y="3"/>
                  </a:lnTo>
                  <a:lnTo>
                    <a:pt x="136" y="6"/>
                  </a:lnTo>
                  <a:lnTo>
                    <a:pt x="139" y="9"/>
                  </a:lnTo>
                  <a:lnTo>
                    <a:pt x="139" y="9"/>
                  </a:lnTo>
                  <a:lnTo>
                    <a:pt x="146" y="16"/>
                  </a:lnTo>
                  <a:lnTo>
                    <a:pt x="149" y="19"/>
                  </a:lnTo>
                  <a:lnTo>
                    <a:pt x="151" y="20"/>
                  </a:lnTo>
                  <a:lnTo>
                    <a:pt x="151" y="20"/>
                  </a:lnTo>
                  <a:lnTo>
                    <a:pt x="152" y="22"/>
                  </a:lnTo>
                  <a:lnTo>
                    <a:pt x="152" y="26"/>
                  </a:lnTo>
                  <a:lnTo>
                    <a:pt x="152" y="29"/>
                  </a:lnTo>
                  <a:lnTo>
                    <a:pt x="151" y="32"/>
                  </a:lnTo>
                  <a:lnTo>
                    <a:pt x="151" y="32"/>
                  </a:lnTo>
                  <a:lnTo>
                    <a:pt x="149" y="35"/>
                  </a:lnTo>
                  <a:lnTo>
                    <a:pt x="151" y="36"/>
                  </a:lnTo>
                  <a:lnTo>
                    <a:pt x="154" y="41"/>
                  </a:lnTo>
                  <a:lnTo>
                    <a:pt x="154" y="41"/>
                  </a:lnTo>
                  <a:lnTo>
                    <a:pt x="156" y="45"/>
                  </a:lnTo>
                  <a:lnTo>
                    <a:pt x="159" y="46"/>
                  </a:lnTo>
                  <a:lnTo>
                    <a:pt x="161" y="48"/>
                  </a:lnTo>
                  <a:lnTo>
                    <a:pt x="161" y="48"/>
                  </a:lnTo>
                  <a:lnTo>
                    <a:pt x="170" y="43"/>
                  </a:lnTo>
                  <a:lnTo>
                    <a:pt x="175" y="42"/>
                  </a:lnTo>
                  <a:lnTo>
                    <a:pt x="180" y="42"/>
                  </a:lnTo>
                  <a:lnTo>
                    <a:pt x="180" y="42"/>
                  </a:lnTo>
                  <a:lnTo>
                    <a:pt x="184" y="43"/>
                  </a:lnTo>
                  <a:lnTo>
                    <a:pt x="188" y="45"/>
                  </a:lnTo>
                  <a:lnTo>
                    <a:pt x="190" y="48"/>
                  </a:lnTo>
                  <a:lnTo>
                    <a:pt x="190" y="54"/>
                  </a:lnTo>
                  <a:lnTo>
                    <a:pt x="190" y="54"/>
                  </a:lnTo>
                  <a:lnTo>
                    <a:pt x="188" y="59"/>
                  </a:lnTo>
                  <a:lnTo>
                    <a:pt x="188" y="67"/>
                  </a:lnTo>
                  <a:lnTo>
                    <a:pt x="190" y="74"/>
                  </a:lnTo>
                  <a:lnTo>
                    <a:pt x="190" y="81"/>
                  </a:lnTo>
                  <a:lnTo>
                    <a:pt x="190" y="81"/>
                  </a:lnTo>
                  <a:lnTo>
                    <a:pt x="187" y="87"/>
                  </a:lnTo>
                  <a:lnTo>
                    <a:pt x="185" y="91"/>
                  </a:lnTo>
                  <a:lnTo>
                    <a:pt x="184" y="93"/>
                  </a:lnTo>
                  <a:lnTo>
                    <a:pt x="184" y="96"/>
                  </a:lnTo>
                  <a:lnTo>
                    <a:pt x="184" y="96"/>
                  </a:lnTo>
                  <a:lnTo>
                    <a:pt x="187" y="100"/>
                  </a:lnTo>
                  <a:lnTo>
                    <a:pt x="188" y="103"/>
                  </a:lnTo>
                  <a:lnTo>
                    <a:pt x="188" y="103"/>
                  </a:lnTo>
                  <a:lnTo>
                    <a:pt x="185" y="109"/>
                  </a:lnTo>
                  <a:lnTo>
                    <a:pt x="183" y="112"/>
                  </a:lnTo>
                  <a:lnTo>
                    <a:pt x="180" y="113"/>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7" name="Freeform 26"/>
            <p:cNvSpPr>
              <a:spLocks/>
            </p:cNvSpPr>
            <p:nvPr/>
          </p:nvSpPr>
          <p:spPr bwMode="auto">
            <a:xfrm>
              <a:off x="1287463" y="1630791"/>
              <a:ext cx="301625" cy="231775"/>
            </a:xfrm>
            <a:custGeom>
              <a:avLst/>
              <a:gdLst>
                <a:gd name="T0" fmla="*/ 162 w 190"/>
                <a:gd name="T1" fmla="*/ 116 h 146"/>
                <a:gd name="T2" fmla="*/ 156 w 190"/>
                <a:gd name="T3" fmla="*/ 107 h 146"/>
                <a:gd name="T4" fmla="*/ 152 w 190"/>
                <a:gd name="T5" fmla="*/ 116 h 146"/>
                <a:gd name="T6" fmla="*/ 142 w 190"/>
                <a:gd name="T7" fmla="*/ 114 h 146"/>
                <a:gd name="T8" fmla="*/ 139 w 190"/>
                <a:gd name="T9" fmla="*/ 106 h 146"/>
                <a:gd name="T10" fmla="*/ 128 w 190"/>
                <a:gd name="T11" fmla="*/ 117 h 146"/>
                <a:gd name="T12" fmla="*/ 112 w 190"/>
                <a:gd name="T13" fmla="*/ 126 h 146"/>
                <a:gd name="T14" fmla="*/ 100 w 190"/>
                <a:gd name="T15" fmla="*/ 139 h 146"/>
                <a:gd name="T16" fmla="*/ 81 w 190"/>
                <a:gd name="T17" fmla="*/ 146 h 146"/>
                <a:gd name="T18" fmla="*/ 59 w 190"/>
                <a:gd name="T19" fmla="*/ 138 h 146"/>
                <a:gd name="T20" fmla="*/ 54 w 190"/>
                <a:gd name="T21" fmla="*/ 125 h 146"/>
                <a:gd name="T22" fmla="*/ 68 w 190"/>
                <a:gd name="T23" fmla="*/ 113 h 146"/>
                <a:gd name="T24" fmla="*/ 86 w 190"/>
                <a:gd name="T25" fmla="*/ 114 h 146"/>
                <a:gd name="T26" fmla="*/ 100 w 190"/>
                <a:gd name="T27" fmla="*/ 103 h 146"/>
                <a:gd name="T28" fmla="*/ 99 w 190"/>
                <a:gd name="T29" fmla="*/ 96 h 146"/>
                <a:gd name="T30" fmla="*/ 86 w 190"/>
                <a:gd name="T31" fmla="*/ 103 h 146"/>
                <a:gd name="T32" fmla="*/ 77 w 190"/>
                <a:gd name="T33" fmla="*/ 101 h 146"/>
                <a:gd name="T34" fmla="*/ 61 w 190"/>
                <a:gd name="T35" fmla="*/ 107 h 146"/>
                <a:gd name="T36" fmla="*/ 64 w 190"/>
                <a:gd name="T37" fmla="*/ 85 h 146"/>
                <a:gd name="T38" fmla="*/ 54 w 190"/>
                <a:gd name="T39" fmla="*/ 81 h 146"/>
                <a:gd name="T40" fmla="*/ 54 w 190"/>
                <a:gd name="T41" fmla="*/ 93 h 146"/>
                <a:gd name="T42" fmla="*/ 51 w 190"/>
                <a:gd name="T43" fmla="*/ 101 h 146"/>
                <a:gd name="T44" fmla="*/ 46 w 190"/>
                <a:gd name="T45" fmla="*/ 110 h 146"/>
                <a:gd name="T46" fmla="*/ 36 w 190"/>
                <a:gd name="T47" fmla="*/ 107 h 146"/>
                <a:gd name="T48" fmla="*/ 25 w 190"/>
                <a:gd name="T49" fmla="*/ 107 h 146"/>
                <a:gd name="T50" fmla="*/ 6 w 190"/>
                <a:gd name="T51" fmla="*/ 99 h 146"/>
                <a:gd name="T52" fmla="*/ 0 w 190"/>
                <a:gd name="T53" fmla="*/ 94 h 146"/>
                <a:gd name="T54" fmla="*/ 7 w 190"/>
                <a:gd name="T55" fmla="*/ 80 h 146"/>
                <a:gd name="T56" fmla="*/ 16 w 190"/>
                <a:gd name="T57" fmla="*/ 77 h 146"/>
                <a:gd name="T58" fmla="*/ 10 w 190"/>
                <a:gd name="T59" fmla="*/ 64 h 146"/>
                <a:gd name="T60" fmla="*/ 16 w 190"/>
                <a:gd name="T61" fmla="*/ 58 h 146"/>
                <a:gd name="T62" fmla="*/ 17 w 190"/>
                <a:gd name="T63" fmla="*/ 52 h 146"/>
                <a:gd name="T64" fmla="*/ 15 w 190"/>
                <a:gd name="T65" fmla="*/ 45 h 146"/>
                <a:gd name="T66" fmla="*/ 23 w 190"/>
                <a:gd name="T67" fmla="*/ 28 h 146"/>
                <a:gd name="T68" fmla="*/ 30 w 190"/>
                <a:gd name="T69" fmla="*/ 16 h 146"/>
                <a:gd name="T70" fmla="*/ 57 w 190"/>
                <a:gd name="T71" fmla="*/ 19 h 146"/>
                <a:gd name="T72" fmla="*/ 58 w 190"/>
                <a:gd name="T73" fmla="*/ 35 h 146"/>
                <a:gd name="T74" fmla="*/ 71 w 190"/>
                <a:gd name="T75" fmla="*/ 35 h 146"/>
                <a:gd name="T76" fmla="*/ 78 w 190"/>
                <a:gd name="T77" fmla="*/ 45 h 146"/>
                <a:gd name="T78" fmla="*/ 90 w 190"/>
                <a:gd name="T79" fmla="*/ 52 h 146"/>
                <a:gd name="T80" fmla="*/ 84 w 190"/>
                <a:gd name="T81" fmla="*/ 58 h 146"/>
                <a:gd name="T82" fmla="*/ 94 w 190"/>
                <a:gd name="T83" fmla="*/ 62 h 146"/>
                <a:gd name="T84" fmla="*/ 97 w 190"/>
                <a:gd name="T85" fmla="*/ 74 h 146"/>
                <a:gd name="T86" fmla="*/ 116 w 190"/>
                <a:gd name="T87" fmla="*/ 74 h 146"/>
                <a:gd name="T88" fmla="*/ 132 w 190"/>
                <a:gd name="T89" fmla="*/ 74 h 146"/>
                <a:gd name="T90" fmla="*/ 120 w 190"/>
                <a:gd name="T91" fmla="*/ 54 h 146"/>
                <a:gd name="T92" fmla="*/ 132 w 190"/>
                <a:gd name="T93" fmla="*/ 41 h 146"/>
                <a:gd name="T94" fmla="*/ 114 w 190"/>
                <a:gd name="T95" fmla="*/ 28 h 146"/>
                <a:gd name="T96" fmla="*/ 116 w 190"/>
                <a:gd name="T97" fmla="*/ 19 h 146"/>
                <a:gd name="T98" fmla="*/ 119 w 190"/>
                <a:gd name="T99" fmla="*/ 9 h 146"/>
                <a:gd name="T100" fmla="*/ 133 w 190"/>
                <a:gd name="T101" fmla="*/ 0 h 146"/>
                <a:gd name="T102" fmla="*/ 146 w 190"/>
                <a:gd name="T103" fmla="*/ 16 h 146"/>
                <a:gd name="T104" fmla="*/ 152 w 190"/>
                <a:gd name="T105" fmla="*/ 26 h 146"/>
                <a:gd name="T106" fmla="*/ 151 w 190"/>
                <a:gd name="T107" fmla="*/ 36 h 146"/>
                <a:gd name="T108" fmla="*/ 161 w 190"/>
                <a:gd name="T109" fmla="*/ 48 h 146"/>
                <a:gd name="T110" fmla="*/ 180 w 190"/>
                <a:gd name="T111" fmla="*/ 42 h 146"/>
                <a:gd name="T112" fmla="*/ 190 w 190"/>
                <a:gd name="T113" fmla="*/ 54 h 146"/>
                <a:gd name="T114" fmla="*/ 190 w 190"/>
                <a:gd name="T115" fmla="*/ 81 h 146"/>
                <a:gd name="T116" fmla="*/ 184 w 190"/>
                <a:gd name="T117" fmla="*/ 96 h 146"/>
                <a:gd name="T118" fmla="*/ 183 w 190"/>
                <a:gd name="T119" fmla="*/ 11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 h="146">
                  <a:moveTo>
                    <a:pt x="180" y="113"/>
                  </a:moveTo>
                  <a:lnTo>
                    <a:pt x="180" y="113"/>
                  </a:lnTo>
                  <a:lnTo>
                    <a:pt x="171" y="116"/>
                  </a:lnTo>
                  <a:lnTo>
                    <a:pt x="165" y="116"/>
                  </a:lnTo>
                  <a:lnTo>
                    <a:pt x="162" y="116"/>
                  </a:lnTo>
                  <a:lnTo>
                    <a:pt x="162" y="116"/>
                  </a:lnTo>
                  <a:lnTo>
                    <a:pt x="159" y="110"/>
                  </a:lnTo>
                  <a:lnTo>
                    <a:pt x="158" y="107"/>
                  </a:lnTo>
                  <a:lnTo>
                    <a:pt x="156" y="107"/>
                  </a:lnTo>
                  <a:lnTo>
                    <a:pt x="156" y="107"/>
                  </a:lnTo>
                  <a:lnTo>
                    <a:pt x="156" y="107"/>
                  </a:lnTo>
                  <a:lnTo>
                    <a:pt x="155" y="110"/>
                  </a:lnTo>
                  <a:lnTo>
                    <a:pt x="154" y="113"/>
                  </a:lnTo>
                  <a:lnTo>
                    <a:pt x="154" y="116"/>
                  </a:lnTo>
                  <a:lnTo>
                    <a:pt x="152" y="116"/>
                  </a:lnTo>
                  <a:lnTo>
                    <a:pt x="152" y="116"/>
                  </a:lnTo>
                  <a:lnTo>
                    <a:pt x="146" y="117"/>
                  </a:lnTo>
                  <a:lnTo>
                    <a:pt x="143" y="117"/>
                  </a:lnTo>
                  <a:lnTo>
                    <a:pt x="142" y="114"/>
                  </a:lnTo>
                  <a:lnTo>
                    <a:pt x="142" y="114"/>
                  </a:lnTo>
                  <a:lnTo>
                    <a:pt x="141" y="112"/>
                  </a:lnTo>
                  <a:lnTo>
                    <a:pt x="141" y="109"/>
                  </a:lnTo>
                  <a:lnTo>
                    <a:pt x="139" y="106"/>
                  </a:lnTo>
                  <a:lnTo>
                    <a:pt x="139" y="106"/>
                  </a:lnTo>
                  <a:lnTo>
                    <a:pt x="139" y="106"/>
                  </a:lnTo>
                  <a:lnTo>
                    <a:pt x="136" y="110"/>
                  </a:lnTo>
                  <a:lnTo>
                    <a:pt x="136" y="113"/>
                  </a:lnTo>
                  <a:lnTo>
                    <a:pt x="133" y="114"/>
                  </a:lnTo>
                  <a:lnTo>
                    <a:pt x="133" y="114"/>
                  </a:lnTo>
                  <a:lnTo>
                    <a:pt x="128" y="117"/>
                  </a:lnTo>
                  <a:lnTo>
                    <a:pt x="122" y="122"/>
                  </a:lnTo>
                  <a:lnTo>
                    <a:pt x="122" y="122"/>
                  </a:lnTo>
                  <a:lnTo>
                    <a:pt x="116" y="122"/>
                  </a:lnTo>
                  <a:lnTo>
                    <a:pt x="113" y="123"/>
                  </a:lnTo>
                  <a:lnTo>
                    <a:pt x="112" y="126"/>
                  </a:lnTo>
                  <a:lnTo>
                    <a:pt x="112" y="126"/>
                  </a:lnTo>
                  <a:lnTo>
                    <a:pt x="109" y="132"/>
                  </a:lnTo>
                  <a:lnTo>
                    <a:pt x="104" y="136"/>
                  </a:lnTo>
                  <a:lnTo>
                    <a:pt x="104" y="136"/>
                  </a:lnTo>
                  <a:lnTo>
                    <a:pt x="100" y="139"/>
                  </a:lnTo>
                  <a:lnTo>
                    <a:pt x="96" y="141"/>
                  </a:lnTo>
                  <a:lnTo>
                    <a:pt x="88" y="143"/>
                  </a:lnTo>
                  <a:lnTo>
                    <a:pt x="88" y="143"/>
                  </a:lnTo>
                  <a:lnTo>
                    <a:pt x="84" y="145"/>
                  </a:lnTo>
                  <a:lnTo>
                    <a:pt x="81" y="146"/>
                  </a:lnTo>
                  <a:lnTo>
                    <a:pt x="77" y="145"/>
                  </a:lnTo>
                  <a:lnTo>
                    <a:pt x="77" y="145"/>
                  </a:lnTo>
                  <a:lnTo>
                    <a:pt x="67" y="142"/>
                  </a:lnTo>
                  <a:lnTo>
                    <a:pt x="59" y="138"/>
                  </a:lnTo>
                  <a:lnTo>
                    <a:pt x="59" y="138"/>
                  </a:lnTo>
                  <a:lnTo>
                    <a:pt x="57" y="133"/>
                  </a:lnTo>
                  <a:lnTo>
                    <a:pt x="54" y="130"/>
                  </a:lnTo>
                  <a:lnTo>
                    <a:pt x="54" y="127"/>
                  </a:lnTo>
                  <a:lnTo>
                    <a:pt x="54" y="125"/>
                  </a:lnTo>
                  <a:lnTo>
                    <a:pt x="54" y="125"/>
                  </a:lnTo>
                  <a:lnTo>
                    <a:pt x="64" y="122"/>
                  </a:lnTo>
                  <a:lnTo>
                    <a:pt x="67" y="119"/>
                  </a:lnTo>
                  <a:lnTo>
                    <a:pt x="68" y="117"/>
                  </a:lnTo>
                  <a:lnTo>
                    <a:pt x="68" y="117"/>
                  </a:lnTo>
                  <a:lnTo>
                    <a:pt x="68" y="113"/>
                  </a:lnTo>
                  <a:lnTo>
                    <a:pt x="68" y="112"/>
                  </a:lnTo>
                  <a:lnTo>
                    <a:pt x="71" y="112"/>
                  </a:lnTo>
                  <a:lnTo>
                    <a:pt x="71" y="112"/>
                  </a:lnTo>
                  <a:lnTo>
                    <a:pt x="80" y="114"/>
                  </a:lnTo>
                  <a:lnTo>
                    <a:pt x="86" y="114"/>
                  </a:lnTo>
                  <a:lnTo>
                    <a:pt x="91" y="114"/>
                  </a:lnTo>
                  <a:lnTo>
                    <a:pt x="91" y="114"/>
                  </a:lnTo>
                  <a:lnTo>
                    <a:pt x="96" y="112"/>
                  </a:lnTo>
                  <a:lnTo>
                    <a:pt x="97" y="109"/>
                  </a:lnTo>
                  <a:lnTo>
                    <a:pt x="100" y="103"/>
                  </a:lnTo>
                  <a:lnTo>
                    <a:pt x="100" y="103"/>
                  </a:lnTo>
                  <a:lnTo>
                    <a:pt x="101" y="101"/>
                  </a:lnTo>
                  <a:lnTo>
                    <a:pt x="101" y="99"/>
                  </a:lnTo>
                  <a:lnTo>
                    <a:pt x="100" y="96"/>
                  </a:lnTo>
                  <a:lnTo>
                    <a:pt x="99" y="96"/>
                  </a:lnTo>
                  <a:lnTo>
                    <a:pt x="99" y="96"/>
                  </a:lnTo>
                  <a:lnTo>
                    <a:pt x="96" y="96"/>
                  </a:lnTo>
                  <a:lnTo>
                    <a:pt x="93" y="99"/>
                  </a:lnTo>
                  <a:lnTo>
                    <a:pt x="86" y="103"/>
                  </a:lnTo>
                  <a:lnTo>
                    <a:pt x="86" y="103"/>
                  </a:lnTo>
                  <a:lnTo>
                    <a:pt x="83" y="103"/>
                  </a:lnTo>
                  <a:lnTo>
                    <a:pt x="81" y="103"/>
                  </a:lnTo>
                  <a:lnTo>
                    <a:pt x="80" y="101"/>
                  </a:lnTo>
                  <a:lnTo>
                    <a:pt x="77" y="101"/>
                  </a:lnTo>
                  <a:lnTo>
                    <a:pt x="77" y="101"/>
                  </a:lnTo>
                  <a:lnTo>
                    <a:pt x="67" y="107"/>
                  </a:lnTo>
                  <a:lnTo>
                    <a:pt x="64" y="109"/>
                  </a:lnTo>
                  <a:lnTo>
                    <a:pt x="62" y="109"/>
                  </a:lnTo>
                  <a:lnTo>
                    <a:pt x="61" y="107"/>
                  </a:lnTo>
                  <a:lnTo>
                    <a:pt x="61" y="107"/>
                  </a:lnTo>
                  <a:lnTo>
                    <a:pt x="61" y="99"/>
                  </a:lnTo>
                  <a:lnTo>
                    <a:pt x="61" y="93"/>
                  </a:lnTo>
                  <a:lnTo>
                    <a:pt x="61" y="90"/>
                  </a:lnTo>
                  <a:lnTo>
                    <a:pt x="61" y="90"/>
                  </a:lnTo>
                  <a:lnTo>
                    <a:pt x="64" y="85"/>
                  </a:lnTo>
                  <a:lnTo>
                    <a:pt x="62" y="83"/>
                  </a:lnTo>
                  <a:lnTo>
                    <a:pt x="61" y="83"/>
                  </a:lnTo>
                  <a:lnTo>
                    <a:pt x="61" y="83"/>
                  </a:lnTo>
                  <a:lnTo>
                    <a:pt x="55" y="81"/>
                  </a:lnTo>
                  <a:lnTo>
                    <a:pt x="54" y="81"/>
                  </a:lnTo>
                  <a:lnTo>
                    <a:pt x="54" y="83"/>
                  </a:lnTo>
                  <a:lnTo>
                    <a:pt x="54" y="83"/>
                  </a:lnTo>
                  <a:lnTo>
                    <a:pt x="55" y="87"/>
                  </a:lnTo>
                  <a:lnTo>
                    <a:pt x="55" y="90"/>
                  </a:lnTo>
                  <a:lnTo>
                    <a:pt x="54" y="93"/>
                  </a:lnTo>
                  <a:lnTo>
                    <a:pt x="54" y="93"/>
                  </a:lnTo>
                  <a:lnTo>
                    <a:pt x="51" y="96"/>
                  </a:lnTo>
                  <a:lnTo>
                    <a:pt x="49" y="97"/>
                  </a:lnTo>
                  <a:lnTo>
                    <a:pt x="49" y="97"/>
                  </a:lnTo>
                  <a:lnTo>
                    <a:pt x="51" y="101"/>
                  </a:lnTo>
                  <a:lnTo>
                    <a:pt x="51" y="103"/>
                  </a:lnTo>
                  <a:lnTo>
                    <a:pt x="51" y="106"/>
                  </a:lnTo>
                  <a:lnTo>
                    <a:pt x="51" y="106"/>
                  </a:lnTo>
                  <a:lnTo>
                    <a:pt x="49" y="109"/>
                  </a:lnTo>
                  <a:lnTo>
                    <a:pt x="46" y="110"/>
                  </a:lnTo>
                  <a:lnTo>
                    <a:pt x="44" y="110"/>
                  </a:lnTo>
                  <a:lnTo>
                    <a:pt x="44" y="110"/>
                  </a:lnTo>
                  <a:lnTo>
                    <a:pt x="38" y="107"/>
                  </a:lnTo>
                  <a:lnTo>
                    <a:pt x="36" y="107"/>
                  </a:lnTo>
                  <a:lnTo>
                    <a:pt x="36" y="107"/>
                  </a:lnTo>
                  <a:lnTo>
                    <a:pt x="35" y="109"/>
                  </a:lnTo>
                  <a:lnTo>
                    <a:pt x="33" y="109"/>
                  </a:lnTo>
                  <a:lnTo>
                    <a:pt x="30" y="109"/>
                  </a:lnTo>
                  <a:lnTo>
                    <a:pt x="30" y="109"/>
                  </a:lnTo>
                  <a:lnTo>
                    <a:pt x="25" y="107"/>
                  </a:lnTo>
                  <a:lnTo>
                    <a:pt x="19" y="104"/>
                  </a:lnTo>
                  <a:lnTo>
                    <a:pt x="19" y="104"/>
                  </a:lnTo>
                  <a:lnTo>
                    <a:pt x="12" y="100"/>
                  </a:lnTo>
                  <a:lnTo>
                    <a:pt x="7" y="99"/>
                  </a:lnTo>
                  <a:lnTo>
                    <a:pt x="6" y="99"/>
                  </a:lnTo>
                  <a:lnTo>
                    <a:pt x="6" y="99"/>
                  </a:lnTo>
                  <a:lnTo>
                    <a:pt x="3" y="99"/>
                  </a:lnTo>
                  <a:lnTo>
                    <a:pt x="2" y="99"/>
                  </a:lnTo>
                  <a:lnTo>
                    <a:pt x="0" y="97"/>
                  </a:lnTo>
                  <a:lnTo>
                    <a:pt x="0" y="94"/>
                  </a:lnTo>
                  <a:lnTo>
                    <a:pt x="0" y="94"/>
                  </a:lnTo>
                  <a:lnTo>
                    <a:pt x="2" y="85"/>
                  </a:lnTo>
                  <a:lnTo>
                    <a:pt x="4" y="81"/>
                  </a:lnTo>
                  <a:lnTo>
                    <a:pt x="7" y="80"/>
                  </a:lnTo>
                  <a:lnTo>
                    <a:pt x="7" y="80"/>
                  </a:lnTo>
                  <a:lnTo>
                    <a:pt x="13" y="80"/>
                  </a:lnTo>
                  <a:lnTo>
                    <a:pt x="16" y="78"/>
                  </a:lnTo>
                  <a:lnTo>
                    <a:pt x="17" y="77"/>
                  </a:lnTo>
                  <a:lnTo>
                    <a:pt x="17" y="77"/>
                  </a:lnTo>
                  <a:lnTo>
                    <a:pt x="16" y="77"/>
                  </a:lnTo>
                  <a:lnTo>
                    <a:pt x="13" y="75"/>
                  </a:lnTo>
                  <a:lnTo>
                    <a:pt x="10" y="74"/>
                  </a:lnTo>
                  <a:lnTo>
                    <a:pt x="10" y="72"/>
                  </a:lnTo>
                  <a:lnTo>
                    <a:pt x="10" y="72"/>
                  </a:lnTo>
                  <a:lnTo>
                    <a:pt x="10" y="64"/>
                  </a:lnTo>
                  <a:lnTo>
                    <a:pt x="12" y="59"/>
                  </a:lnTo>
                  <a:lnTo>
                    <a:pt x="12" y="58"/>
                  </a:lnTo>
                  <a:lnTo>
                    <a:pt x="13" y="58"/>
                  </a:lnTo>
                  <a:lnTo>
                    <a:pt x="13" y="58"/>
                  </a:lnTo>
                  <a:lnTo>
                    <a:pt x="16" y="58"/>
                  </a:lnTo>
                  <a:lnTo>
                    <a:pt x="19" y="57"/>
                  </a:lnTo>
                  <a:lnTo>
                    <a:pt x="19" y="54"/>
                  </a:lnTo>
                  <a:lnTo>
                    <a:pt x="19" y="54"/>
                  </a:lnTo>
                  <a:lnTo>
                    <a:pt x="19" y="54"/>
                  </a:lnTo>
                  <a:lnTo>
                    <a:pt x="17" y="52"/>
                  </a:lnTo>
                  <a:lnTo>
                    <a:pt x="16" y="51"/>
                  </a:lnTo>
                  <a:lnTo>
                    <a:pt x="17" y="49"/>
                  </a:lnTo>
                  <a:lnTo>
                    <a:pt x="17" y="49"/>
                  </a:lnTo>
                  <a:lnTo>
                    <a:pt x="16" y="48"/>
                  </a:lnTo>
                  <a:lnTo>
                    <a:pt x="15" y="45"/>
                  </a:lnTo>
                  <a:lnTo>
                    <a:pt x="13" y="43"/>
                  </a:lnTo>
                  <a:lnTo>
                    <a:pt x="13" y="41"/>
                  </a:lnTo>
                  <a:lnTo>
                    <a:pt x="13" y="41"/>
                  </a:lnTo>
                  <a:lnTo>
                    <a:pt x="19" y="35"/>
                  </a:lnTo>
                  <a:lnTo>
                    <a:pt x="23" y="28"/>
                  </a:lnTo>
                  <a:lnTo>
                    <a:pt x="23" y="28"/>
                  </a:lnTo>
                  <a:lnTo>
                    <a:pt x="26" y="20"/>
                  </a:lnTo>
                  <a:lnTo>
                    <a:pt x="29" y="17"/>
                  </a:lnTo>
                  <a:lnTo>
                    <a:pt x="30" y="16"/>
                  </a:lnTo>
                  <a:lnTo>
                    <a:pt x="30" y="16"/>
                  </a:lnTo>
                  <a:lnTo>
                    <a:pt x="44" y="16"/>
                  </a:lnTo>
                  <a:lnTo>
                    <a:pt x="44" y="16"/>
                  </a:lnTo>
                  <a:lnTo>
                    <a:pt x="52" y="17"/>
                  </a:lnTo>
                  <a:lnTo>
                    <a:pt x="57" y="19"/>
                  </a:lnTo>
                  <a:lnTo>
                    <a:pt x="57" y="19"/>
                  </a:lnTo>
                  <a:lnTo>
                    <a:pt x="57" y="20"/>
                  </a:lnTo>
                  <a:lnTo>
                    <a:pt x="57" y="20"/>
                  </a:lnTo>
                  <a:lnTo>
                    <a:pt x="57" y="23"/>
                  </a:lnTo>
                  <a:lnTo>
                    <a:pt x="57" y="29"/>
                  </a:lnTo>
                  <a:lnTo>
                    <a:pt x="58" y="35"/>
                  </a:lnTo>
                  <a:lnTo>
                    <a:pt x="58" y="38"/>
                  </a:lnTo>
                  <a:lnTo>
                    <a:pt x="59" y="38"/>
                  </a:lnTo>
                  <a:lnTo>
                    <a:pt x="59" y="38"/>
                  </a:lnTo>
                  <a:lnTo>
                    <a:pt x="67" y="36"/>
                  </a:lnTo>
                  <a:lnTo>
                    <a:pt x="71" y="35"/>
                  </a:lnTo>
                  <a:lnTo>
                    <a:pt x="74" y="36"/>
                  </a:lnTo>
                  <a:lnTo>
                    <a:pt x="74" y="36"/>
                  </a:lnTo>
                  <a:lnTo>
                    <a:pt x="74" y="38"/>
                  </a:lnTo>
                  <a:lnTo>
                    <a:pt x="75" y="39"/>
                  </a:lnTo>
                  <a:lnTo>
                    <a:pt x="78" y="45"/>
                  </a:lnTo>
                  <a:lnTo>
                    <a:pt x="78" y="45"/>
                  </a:lnTo>
                  <a:lnTo>
                    <a:pt x="80" y="48"/>
                  </a:lnTo>
                  <a:lnTo>
                    <a:pt x="84" y="49"/>
                  </a:lnTo>
                  <a:lnTo>
                    <a:pt x="88" y="51"/>
                  </a:lnTo>
                  <a:lnTo>
                    <a:pt x="90" y="52"/>
                  </a:lnTo>
                  <a:lnTo>
                    <a:pt x="90" y="52"/>
                  </a:lnTo>
                  <a:lnTo>
                    <a:pt x="90" y="54"/>
                  </a:lnTo>
                  <a:lnTo>
                    <a:pt x="86" y="55"/>
                  </a:lnTo>
                  <a:lnTo>
                    <a:pt x="84" y="57"/>
                  </a:lnTo>
                  <a:lnTo>
                    <a:pt x="84" y="58"/>
                  </a:lnTo>
                  <a:lnTo>
                    <a:pt x="84" y="58"/>
                  </a:lnTo>
                  <a:lnTo>
                    <a:pt x="84" y="58"/>
                  </a:lnTo>
                  <a:lnTo>
                    <a:pt x="90" y="61"/>
                  </a:lnTo>
                  <a:lnTo>
                    <a:pt x="94" y="62"/>
                  </a:lnTo>
                  <a:lnTo>
                    <a:pt x="94" y="62"/>
                  </a:lnTo>
                  <a:lnTo>
                    <a:pt x="97" y="67"/>
                  </a:lnTo>
                  <a:lnTo>
                    <a:pt x="97" y="71"/>
                  </a:lnTo>
                  <a:lnTo>
                    <a:pt x="97" y="71"/>
                  </a:lnTo>
                  <a:lnTo>
                    <a:pt x="97" y="74"/>
                  </a:lnTo>
                  <a:lnTo>
                    <a:pt x="97" y="74"/>
                  </a:lnTo>
                  <a:lnTo>
                    <a:pt x="100" y="74"/>
                  </a:lnTo>
                  <a:lnTo>
                    <a:pt x="100" y="74"/>
                  </a:lnTo>
                  <a:lnTo>
                    <a:pt x="109" y="74"/>
                  </a:lnTo>
                  <a:lnTo>
                    <a:pt x="116" y="74"/>
                  </a:lnTo>
                  <a:lnTo>
                    <a:pt x="116" y="74"/>
                  </a:lnTo>
                  <a:lnTo>
                    <a:pt x="125" y="75"/>
                  </a:lnTo>
                  <a:lnTo>
                    <a:pt x="129" y="75"/>
                  </a:lnTo>
                  <a:lnTo>
                    <a:pt x="130" y="75"/>
                  </a:lnTo>
                  <a:lnTo>
                    <a:pt x="132" y="74"/>
                  </a:lnTo>
                  <a:lnTo>
                    <a:pt x="132" y="74"/>
                  </a:lnTo>
                  <a:lnTo>
                    <a:pt x="129" y="70"/>
                  </a:lnTo>
                  <a:lnTo>
                    <a:pt x="125" y="64"/>
                  </a:lnTo>
                  <a:lnTo>
                    <a:pt x="120" y="58"/>
                  </a:lnTo>
                  <a:lnTo>
                    <a:pt x="120" y="55"/>
                  </a:lnTo>
                  <a:lnTo>
                    <a:pt x="120" y="54"/>
                  </a:lnTo>
                  <a:lnTo>
                    <a:pt x="120" y="54"/>
                  </a:lnTo>
                  <a:lnTo>
                    <a:pt x="130" y="48"/>
                  </a:lnTo>
                  <a:lnTo>
                    <a:pt x="133" y="45"/>
                  </a:lnTo>
                  <a:lnTo>
                    <a:pt x="133" y="42"/>
                  </a:lnTo>
                  <a:lnTo>
                    <a:pt x="132" y="41"/>
                  </a:lnTo>
                  <a:lnTo>
                    <a:pt x="132" y="41"/>
                  </a:lnTo>
                  <a:lnTo>
                    <a:pt x="122" y="35"/>
                  </a:lnTo>
                  <a:lnTo>
                    <a:pt x="117" y="30"/>
                  </a:lnTo>
                  <a:lnTo>
                    <a:pt x="114" y="28"/>
                  </a:lnTo>
                  <a:lnTo>
                    <a:pt x="114" y="28"/>
                  </a:lnTo>
                  <a:lnTo>
                    <a:pt x="113" y="25"/>
                  </a:lnTo>
                  <a:lnTo>
                    <a:pt x="113" y="23"/>
                  </a:lnTo>
                  <a:lnTo>
                    <a:pt x="114" y="20"/>
                  </a:lnTo>
                  <a:lnTo>
                    <a:pt x="116" y="19"/>
                  </a:lnTo>
                  <a:lnTo>
                    <a:pt x="116" y="19"/>
                  </a:lnTo>
                  <a:lnTo>
                    <a:pt x="117" y="16"/>
                  </a:lnTo>
                  <a:lnTo>
                    <a:pt x="117" y="13"/>
                  </a:lnTo>
                  <a:lnTo>
                    <a:pt x="117" y="12"/>
                  </a:lnTo>
                  <a:lnTo>
                    <a:pt x="119" y="9"/>
                  </a:lnTo>
                  <a:lnTo>
                    <a:pt x="119" y="9"/>
                  </a:lnTo>
                  <a:lnTo>
                    <a:pt x="125" y="4"/>
                  </a:lnTo>
                  <a:lnTo>
                    <a:pt x="128" y="3"/>
                  </a:lnTo>
                  <a:lnTo>
                    <a:pt x="130" y="0"/>
                  </a:lnTo>
                  <a:lnTo>
                    <a:pt x="130" y="0"/>
                  </a:lnTo>
                  <a:lnTo>
                    <a:pt x="133" y="0"/>
                  </a:lnTo>
                  <a:lnTo>
                    <a:pt x="135" y="3"/>
                  </a:lnTo>
                  <a:lnTo>
                    <a:pt x="136" y="6"/>
                  </a:lnTo>
                  <a:lnTo>
                    <a:pt x="139" y="9"/>
                  </a:lnTo>
                  <a:lnTo>
                    <a:pt x="139" y="9"/>
                  </a:lnTo>
                  <a:lnTo>
                    <a:pt x="146" y="16"/>
                  </a:lnTo>
                  <a:lnTo>
                    <a:pt x="149" y="19"/>
                  </a:lnTo>
                  <a:lnTo>
                    <a:pt x="151" y="20"/>
                  </a:lnTo>
                  <a:lnTo>
                    <a:pt x="151" y="20"/>
                  </a:lnTo>
                  <a:lnTo>
                    <a:pt x="152" y="22"/>
                  </a:lnTo>
                  <a:lnTo>
                    <a:pt x="152" y="26"/>
                  </a:lnTo>
                  <a:lnTo>
                    <a:pt x="152" y="29"/>
                  </a:lnTo>
                  <a:lnTo>
                    <a:pt x="151" y="32"/>
                  </a:lnTo>
                  <a:lnTo>
                    <a:pt x="151" y="32"/>
                  </a:lnTo>
                  <a:lnTo>
                    <a:pt x="149" y="35"/>
                  </a:lnTo>
                  <a:lnTo>
                    <a:pt x="151" y="36"/>
                  </a:lnTo>
                  <a:lnTo>
                    <a:pt x="154" y="41"/>
                  </a:lnTo>
                  <a:lnTo>
                    <a:pt x="154" y="41"/>
                  </a:lnTo>
                  <a:lnTo>
                    <a:pt x="156" y="45"/>
                  </a:lnTo>
                  <a:lnTo>
                    <a:pt x="159" y="46"/>
                  </a:lnTo>
                  <a:lnTo>
                    <a:pt x="161" y="48"/>
                  </a:lnTo>
                  <a:lnTo>
                    <a:pt x="161" y="48"/>
                  </a:lnTo>
                  <a:lnTo>
                    <a:pt x="170" y="43"/>
                  </a:lnTo>
                  <a:lnTo>
                    <a:pt x="175" y="42"/>
                  </a:lnTo>
                  <a:lnTo>
                    <a:pt x="180" y="42"/>
                  </a:lnTo>
                  <a:lnTo>
                    <a:pt x="180" y="42"/>
                  </a:lnTo>
                  <a:lnTo>
                    <a:pt x="184" y="43"/>
                  </a:lnTo>
                  <a:lnTo>
                    <a:pt x="188" y="45"/>
                  </a:lnTo>
                  <a:lnTo>
                    <a:pt x="190" y="48"/>
                  </a:lnTo>
                  <a:lnTo>
                    <a:pt x="190" y="54"/>
                  </a:lnTo>
                  <a:lnTo>
                    <a:pt x="190" y="54"/>
                  </a:lnTo>
                  <a:lnTo>
                    <a:pt x="188" y="59"/>
                  </a:lnTo>
                  <a:lnTo>
                    <a:pt x="188" y="67"/>
                  </a:lnTo>
                  <a:lnTo>
                    <a:pt x="190" y="74"/>
                  </a:lnTo>
                  <a:lnTo>
                    <a:pt x="190" y="81"/>
                  </a:lnTo>
                  <a:lnTo>
                    <a:pt x="190" y="81"/>
                  </a:lnTo>
                  <a:lnTo>
                    <a:pt x="187" y="87"/>
                  </a:lnTo>
                  <a:lnTo>
                    <a:pt x="185" y="91"/>
                  </a:lnTo>
                  <a:lnTo>
                    <a:pt x="184" y="93"/>
                  </a:lnTo>
                  <a:lnTo>
                    <a:pt x="184" y="96"/>
                  </a:lnTo>
                  <a:lnTo>
                    <a:pt x="184" y="96"/>
                  </a:lnTo>
                  <a:lnTo>
                    <a:pt x="187" y="100"/>
                  </a:lnTo>
                  <a:lnTo>
                    <a:pt x="188" y="103"/>
                  </a:lnTo>
                  <a:lnTo>
                    <a:pt x="188" y="103"/>
                  </a:lnTo>
                  <a:lnTo>
                    <a:pt x="185" y="109"/>
                  </a:lnTo>
                  <a:lnTo>
                    <a:pt x="183" y="112"/>
                  </a:lnTo>
                  <a:lnTo>
                    <a:pt x="180" y="1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8" name="Freeform 27"/>
            <p:cNvSpPr>
              <a:spLocks/>
            </p:cNvSpPr>
            <p:nvPr/>
          </p:nvSpPr>
          <p:spPr bwMode="auto">
            <a:xfrm>
              <a:off x="1244600" y="1702229"/>
              <a:ext cx="38100" cy="57150"/>
            </a:xfrm>
            <a:custGeom>
              <a:avLst/>
              <a:gdLst>
                <a:gd name="T0" fmla="*/ 13 w 24"/>
                <a:gd name="T1" fmla="*/ 36 h 36"/>
                <a:gd name="T2" fmla="*/ 13 w 24"/>
                <a:gd name="T3" fmla="*/ 36 h 36"/>
                <a:gd name="T4" fmla="*/ 4 w 24"/>
                <a:gd name="T5" fmla="*/ 35 h 36"/>
                <a:gd name="T6" fmla="*/ 0 w 24"/>
                <a:gd name="T7" fmla="*/ 33 h 36"/>
                <a:gd name="T8" fmla="*/ 0 w 24"/>
                <a:gd name="T9" fmla="*/ 32 h 36"/>
                <a:gd name="T10" fmla="*/ 0 w 24"/>
                <a:gd name="T11" fmla="*/ 30 h 36"/>
                <a:gd name="T12" fmla="*/ 0 w 24"/>
                <a:gd name="T13" fmla="*/ 30 h 36"/>
                <a:gd name="T14" fmla="*/ 2 w 24"/>
                <a:gd name="T15" fmla="*/ 22 h 36"/>
                <a:gd name="T16" fmla="*/ 5 w 24"/>
                <a:gd name="T17" fmla="*/ 16 h 36"/>
                <a:gd name="T18" fmla="*/ 8 w 24"/>
                <a:gd name="T19" fmla="*/ 13 h 36"/>
                <a:gd name="T20" fmla="*/ 8 w 24"/>
                <a:gd name="T21" fmla="*/ 13 h 36"/>
                <a:gd name="T22" fmla="*/ 15 w 24"/>
                <a:gd name="T23" fmla="*/ 10 h 36"/>
                <a:gd name="T24" fmla="*/ 18 w 24"/>
                <a:gd name="T25" fmla="*/ 9 h 36"/>
                <a:gd name="T26" fmla="*/ 20 w 24"/>
                <a:gd name="T27" fmla="*/ 7 h 36"/>
                <a:gd name="T28" fmla="*/ 20 w 24"/>
                <a:gd name="T29" fmla="*/ 7 h 36"/>
                <a:gd name="T30" fmla="*/ 23 w 24"/>
                <a:gd name="T31" fmla="*/ 1 h 36"/>
                <a:gd name="T32" fmla="*/ 24 w 24"/>
                <a:gd name="T33" fmla="*/ 0 h 36"/>
                <a:gd name="T34" fmla="*/ 24 w 24"/>
                <a:gd name="T35" fmla="*/ 0 h 36"/>
                <a:gd name="T36" fmla="*/ 24 w 24"/>
                <a:gd name="T37" fmla="*/ 0 h 36"/>
                <a:gd name="T38" fmla="*/ 24 w 24"/>
                <a:gd name="T39" fmla="*/ 12 h 36"/>
                <a:gd name="T40" fmla="*/ 24 w 24"/>
                <a:gd name="T41" fmla="*/ 23 h 36"/>
                <a:gd name="T42" fmla="*/ 24 w 24"/>
                <a:gd name="T43" fmla="*/ 23 h 36"/>
                <a:gd name="T44" fmla="*/ 20 w 24"/>
                <a:gd name="T45" fmla="*/ 26 h 36"/>
                <a:gd name="T46" fmla="*/ 18 w 24"/>
                <a:gd name="T47" fmla="*/ 27 h 36"/>
                <a:gd name="T48" fmla="*/ 17 w 24"/>
                <a:gd name="T49" fmla="*/ 29 h 36"/>
                <a:gd name="T50" fmla="*/ 17 w 24"/>
                <a:gd name="T51" fmla="*/ 29 h 36"/>
                <a:gd name="T52" fmla="*/ 15 w 24"/>
                <a:gd name="T53" fmla="*/ 35 h 36"/>
                <a:gd name="T54" fmla="*/ 14 w 24"/>
                <a:gd name="T55" fmla="*/ 36 h 36"/>
                <a:gd name="T56" fmla="*/ 13 w 24"/>
                <a:gd name="T5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6">
                  <a:moveTo>
                    <a:pt x="13" y="36"/>
                  </a:moveTo>
                  <a:lnTo>
                    <a:pt x="13" y="36"/>
                  </a:lnTo>
                  <a:lnTo>
                    <a:pt x="4" y="35"/>
                  </a:lnTo>
                  <a:lnTo>
                    <a:pt x="0" y="33"/>
                  </a:lnTo>
                  <a:lnTo>
                    <a:pt x="0" y="32"/>
                  </a:lnTo>
                  <a:lnTo>
                    <a:pt x="0" y="30"/>
                  </a:lnTo>
                  <a:lnTo>
                    <a:pt x="0" y="30"/>
                  </a:lnTo>
                  <a:lnTo>
                    <a:pt x="2" y="22"/>
                  </a:lnTo>
                  <a:lnTo>
                    <a:pt x="5" y="16"/>
                  </a:lnTo>
                  <a:lnTo>
                    <a:pt x="8" y="13"/>
                  </a:lnTo>
                  <a:lnTo>
                    <a:pt x="8" y="13"/>
                  </a:lnTo>
                  <a:lnTo>
                    <a:pt x="15" y="10"/>
                  </a:lnTo>
                  <a:lnTo>
                    <a:pt x="18" y="9"/>
                  </a:lnTo>
                  <a:lnTo>
                    <a:pt x="20" y="7"/>
                  </a:lnTo>
                  <a:lnTo>
                    <a:pt x="20" y="7"/>
                  </a:lnTo>
                  <a:lnTo>
                    <a:pt x="23" y="1"/>
                  </a:lnTo>
                  <a:lnTo>
                    <a:pt x="24" y="0"/>
                  </a:lnTo>
                  <a:lnTo>
                    <a:pt x="24" y="0"/>
                  </a:lnTo>
                  <a:lnTo>
                    <a:pt x="24" y="0"/>
                  </a:lnTo>
                  <a:lnTo>
                    <a:pt x="24" y="12"/>
                  </a:lnTo>
                  <a:lnTo>
                    <a:pt x="24" y="23"/>
                  </a:lnTo>
                  <a:lnTo>
                    <a:pt x="24" y="23"/>
                  </a:lnTo>
                  <a:lnTo>
                    <a:pt x="20" y="26"/>
                  </a:lnTo>
                  <a:lnTo>
                    <a:pt x="18" y="27"/>
                  </a:lnTo>
                  <a:lnTo>
                    <a:pt x="17" y="29"/>
                  </a:lnTo>
                  <a:lnTo>
                    <a:pt x="17" y="29"/>
                  </a:lnTo>
                  <a:lnTo>
                    <a:pt x="15" y="35"/>
                  </a:lnTo>
                  <a:lnTo>
                    <a:pt x="14" y="36"/>
                  </a:lnTo>
                  <a:lnTo>
                    <a:pt x="13" y="36"/>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9" name="Freeform 28"/>
            <p:cNvSpPr>
              <a:spLocks/>
            </p:cNvSpPr>
            <p:nvPr/>
          </p:nvSpPr>
          <p:spPr bwMode="auto">
            <a:xfrm>
              <a:off x="1244600" y="1702229"/>
              <a:ext cx="38100" cy="57150"/>
            </a:xfrm>
            <a:custGeom>
              <a:avLst/>
              <a:gdLst>
                <a:gd name="T0" fmla="*/ 13 w 24"/>
                <a:gd name="T1" fmla="*/ 36 h 36"/>
                <a:gd name="T2" fmla="*/ 13 w 24"/>
                <a:gd name="T3" fmla="*/ 36 h 36"/>
                <a:gd name="T4" fmla="*/ 4 w 24"/>
                <a:gd name="T5" fmla="*/ 35 h 36"/>
                <a:gd name="T6" fmla="*/ 0 w 24"/>
                <a:gd name="T7" fmla="*/ 33 h 36"/>
                <a:gd name="T8" fmla="*/ 0 w 24"/>
                <a:gd name="T9" fmla="*/ 32 h 36"/>
                <a:gd name="T10" fmla="*/ 0 w 24"/>
                <a:gd name="T11" fmla="*/ 30 h 36"/>
                <a:gd name="T12" fmla="*/ 0 w 24"/>
                <a:gd name="T13" fmla="*/ 30 h 36"/>
                <a:gd name="T14" fmla="*/ 2 w 24"/>
                <a:gd name="T15" fmla="*/ 22 h 36"/>
                <a:gd name="T16" fmla="*/ 5 w 24"/>
                <a:gd name="T17" fmla="*/ 16 h 36"/>
                <a:gd name="T18" fmla="*/ 8 w 24"/>
                <a:gd name="T19" fmla="*/ 13 h 36"/>
                <a:gd name="T20" fmla="*/ 8 w 24"/>
                <a:gd name="T21" fmla="*/ 13 h 36"/>
                <a:gd name="T22" fmla="*/ 15 w 24"/>
                <a:gd name="T23" fmla="*/ 10 h 36"/>
                <a:gd name="T24" fmla="*/ 18 w 24"/>
                <a:gd name="T25" fmla="*/ 9 h 36"/>
                <a:gd name="T26" fmla="*/ 20 w 24"/>
                <a:gd name="T27" fmla="*/ 7 h 36"/>
                <a:gd name="T28" fmla="*/ 20 w 24"/>
                <a:gd name="T29" fmla="*/ 7 h 36"/>
                <a:gd name="T30" fmla="*/ 23 w 24"/>
                <a:gd name="T31" fmla="*/ 1 h 36"/>
                <a:gd name="T32" fmla="*/ 24 w 24"/>
                <a:gd name="T33" fmla="*/ 0 h 36"/>
                <a:gd name="T34" fmla="*/ 24 w 24"/>
                <a:gd name="T35" fmla="*/ 0 h 36"/>
                <a:gd name="T36" fmla="*/ 24 w 24"/>
                <a:gd name="T37" fmla="*/ 0 h 36"/>
                <a:gd name="T38" fmla="*/ 24 w 24"/>
                <a:gd name="T39" fmla="*/ 12 h 36"/>
                <a:gd name="T40" fmla="*/ 24 w 24"/>
                <a:gd name="T41" fmla="*/ 23 h 36"/>
                <a:gd name="T42" fmla="*/ 24 w 24"/>
                <a:gd name="T43" fmla="*/ 23 h 36"/>
                <a:gd name="T44" fmla="*/ 20 w 24"/>
                <a:gd name="T45" fmla="*/ 26 h 36"/>
                <a:gd name="T46" fmla="*/ 18 w 24"/>
                <a:gd name="T47" fmla="*/ 27 h 36"/>
                <a:gd name="T48" fmla="*/ 17 w 24"/>
                <a:gd name="T49" fmla="*/ 29 h 36"/>
                <a:gd name="T50" fmla="*/ 17 w 24"/>
                <a:gd name="T51" fmla="*/ 29 h 36"/>
                <a:gd name="T52" fmla="*/ 15 w 24"/>
                <a:gd name="T53" fmla="*/ 35 h 36"/>
                <a:gd name="T54" fmla="*/ 14 w 24"/>
                <a:gd name="T55" fmla="*/ 36 h 36"/>
                <a:gd name="T56" fmla="*/ 13 w 24"/>
                <a:gd name="T5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6">
                  <a:moveTo>
                    <a:pt x="13" y="36"/>
                  </a:moveTo>
                  <a:lnTo>
                    <a:pt x="13" y="36"/>
                  </a:lnTo>
                  <a:lnTo>
                    <a:pt x="4" y="35"/>
                  </a:lnTo>
                  <a:lnTo>
                    <a:pt x="0" y="33"/>
                  </a:lnTo>
                  <a:lnTo>
                    <a:pt x="0" y="32"/>
                  </a:lnTo>
                  <a:lnTo>
                    <a:pt x="0" y="30"/>
                  </a:lnTo>
                  <a:lnTo>
                    <a:pt x="0" y="30"/>
                  </a:lnTo>
                  <a:lnTo>
                    <a:pt x="2" y="22"/>
                  </a:lnTo>
                  <a:lnTo>
                    <a:pt x="5" y="16"/>
                  </a:lnTo>
                  <a:lnTo>
                    <a:pt x="8" y="13"/>
                  </a:lnTo>
                  <a:lnTo>
                    <a:pt x="8" y="13"/>
                  </a:lnTo>
                  <a:lnTo>
                    <a:pt x="15" y="10"/>
                  </a:lnTo>
                  <a:lnTo>
                    <a:pt x="18" y="9"/>
                  </a:lnTo>
                  <a:lnTo>
                    <a:pt x="20" y="7"/>
                  </a:lnTo>
                  <a:lnTo>
                    <a:pt x="20" y="7"/>
                  </a:lnTo>
                  <a:lnTo>
                    <a:pt x="23" y="1"/>
                  </a:lnTo>
                  <a:lnTo>
                    <a:pt x="24" y="0"/>
                  </a:lnTo>
                  <a:lnTo>
                    <a:pt x="24" y="0"/>
                  </a:lnTo>
                  <a:lnTo>
                    <a:pt x="24" y="0"/>
                  </a:lnTo>
                  <a:lnTo>
                    <a:pt x="24" y="12"/>
                  </a:lnTo>
                  <a:lnTo>
                    <a:pt x="24" y="23"/>
                  </a:lnTo>
                  <a:lnTo>
                    <a:pt x="24" y="23"/>
                  </a:lnTo>
                  <a:lnTo>
                    <a:pt x="20" y="26"/>
                  </a:lnTo>
                  <a:lnTo>
                    <a:pt x="18" y="27"/>
                  </a:lnTo>
                  <a:lnTo>
                    <a:pt x="17" y="29"/>
                  </a:lnTo>
                  <a:lnTo>
                    <a:pt x="17" y="29"/>
                  </a:lnTo>
                  <a:lnTo>
                    <a:pt x="15" y="35"/>
                  </a:lnTo>
                  <a:lnTo>
                    <a:pt x="14" y="36"/>
                  </a:lnTo>
                  <a:lnTo>
                    <a:pt x="13" y="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0" name="Freeform 29"/>
            <p:cNvSpPr>
              <a:spLocks/>
            </p:cNvSpPr>
            <p:nvPr/>
          </p:nvSpPr>
          <p:spPr bwMode="auto">
            <a:xfrm>
              <a:off x="1152525" y="1545066"/>
              <a:ext cx="190500" cy="179388"/>
            </a:xfrm>
            <a:custGeom>
              <a:avLst/>
              <a:gdLst>
                <a:gd name="T0" fmla="*/ 43 w 120"/>
                <a:gd name="T1" fmla="*/ 113 h 113"/>
                <a:gd name="T2" fmla="*/ 40 w 120"/>
                <a:gd name="T3" fmla="*/ 106 h 113"/>
                <a:gd name="T4" fmla="*/ 34 w 120"/>
                <a:gd name="T5" fmla="*/ 102 h 113"/>
                <a:gd name="T6" fmla="*/ 36 w 120"/>
                <a:gd name="T7" fmla="*/ 97 h 113"/>
                <a:gd name="T8" fmla="*/ 34 w 120"/>
                <a:gd name="T9" fmla="*/ 92 h 113"/>
                <a:gd name="T10" fmla="*/ 30 w 120"/>
                <a:gd name="T11" fmla="*/ 96 h 113"/>
                <a:gd name="T12" fmla="*/ 29 w 120"/>
                <a:gd name="T13" fmla="*/ 105 h 113"/>
                <a:gd name="T14" fmla="*/ 26 w 120"/>
                <a:gd name="T15" fmla="*/ 108 h 113"/>
                <a:gd name="T16" fmla="*/ 20 w 120"/>
                <a:gd name="T17" fmla="*/ 102 h 113"/>
                <a:gd name="T18" fmla="*/ 13 w 120"/>
                <a:gd name="T19" fmla="*/ 111 h 113"/>
                <a:gd name="T20" fmla="*/ 10 w 120"/>
                <a:gd name="T21" fmla="*/ 111 h 113"/>
                <a:gd name="T22" fmla="*/ 7 w 120"/>
                <a:gd name="T23" fmla="*/ 106 h 113"/>
                <a:gd name="T24" fmla="*/ 4 w 120"/>
                <a:gd name="T25" fmla="*/ 105 h 113"/>
                <a:gd name="T26" fmla="*/ 7 w 120"/>
                <a:gd name="T27" fmla="*/ 100 h 113"/>
                <a:gd name="T28" fmla="*/ 11 w 120"/>
                <a:gd name="T29" fmla="*/ 93 h 113"/>
                <a:gd name="T30" fmla="*/ 4 w 120"/>
                <a:gd name="T31" fmla="*/ 97 h 113"/>
                <a:gd name="T32" fmla="*/ 0 w 120"/>
                <a:gd name="T33" fmla="*/ 96 h 113"/>
                <a:gd name="T34" fmla="*/ 5 w 120"/>
                <a:gd name="T35" fmla="*/ 86 h 113"/>
                <a:gd name="T36" fmla="*/ 13 w 120"/>
                <a:gd name="T37" fmla="*/ 79 h 113"/>
                <a:gd name="T38" fmla="*/ 21 w 120"/>
                <a:gd name="T39" fmla="*/ 79 h 113"/>
                <a:gd name="T40" fmla="*/ 30 w 120"/>
                <a:gd name="T41" fmla="*/ 63 h 113"/>
                <a:gd name="T42" fmla="*/ 37 w 120"/>
                <a:gd name="T43" fmla="*/ 55 h 113"/>
                <a:gd name="T44" fmla="*/ 40 w 120"/>
                <a:gd name="T45" fmla="*/ 50 h 113"/>
                <a:gd name="T46" fmla="*/ 56 w 120"/>
                <a:gd name="T47" fmla="*/ 24 h 113"/>
                <a:gd name="T48" fmla="*/ 66 w 120"/>
                <a:gd name="T49" fmla="*/ 16 h 113"/>
                <a:gd name="T50" fmla="*/ 76 w 120"/>
                <a:gd name="T51" fmla="*/ 15 h 113"/>
                <a:gd name="T52" fmla="*/ 88 w 120"/>
                <a:gd name="T53" fmla="*/ 15 h 113"/>
                <a:gd name="T54" fmla="*/ 98 w 120"/>
                <a:gd name="T55" fmla="*/ 16 h 113"/>
                <a:gd name="T56" fmla="*/ 92 w 120"/>
                <a:gd name="T57" fmla="*/ 11 h 113"/>
                <a:gd name="T58" fmla="*/ 98 w 120"/>
                <a:gd name="T59" fmla="*/ 2 h 113"/>
                <a:gd name="T60" fmla="*/ 104 w 120"/>
                <a:gd name="T61" fmla="*/ 0 h 113"/>
                <a:gd name="T62" fmla="*/ 120 w 120"/>
                <a:gd name="T63" fmla="*/ 16 h 113"/>
                <a:gd name="T64" fmla="*/ 110 w 120"/>
                <a:gd name="T65" fmla="*/ 25 h 113"/>
                <a:gd name="T66" fmla="*/ 102 w 120"/>
                <a:gd name="T67" fmla="*/ 32 h 113"/>
                <a:gd name="T68" fmla="*/ 111 w 120"/>
                <a:gd name="T69" fmla="*/ 41 h 113"/>
                <a:gd name="T70" fmla="*/ 108 w 120"/>
                <a:gd name="T71" fmla="*/ 44 h 113"/>
                <a:gd name="T72" fmla="*/ 107 w 120"/>
                <a:gd name="T73" fmla="*/ 47 h 113"/>
                <a:gd name="T74" fmla="*/ 105 w 120"/>
                <a:gd name="T75" fmla="*/ 63 h 113"/>
                <a:gd name="T76" fmla="*/ 100 w 120"/>
                <a:gd name="T77" fmla="*/ 67 h 113"/>
                <a:gd name="T78" fmla="*/ 94 w 120"/>
                <a:gd name="T79" fmla="*/ 79 h 113"/>
                <a:gd name="T80" fmla="*/ 92 w 120"/>
                <a:gd name="T81" fmla="*/ 89 h 113"/>
                <a:gd name="T82" fmla="*/ 87 w 120"/>
                <a:gd name="T83" fmla="*/ 87 h 113"/>
                <a:gd name="T84" fmla="*/ 79 w 120"/>
                <a:gd name="T85" fmla="*/ 70 h 113"/>
                <a:gd name="T86" fmla="*/ 84 w 120"/>
                <a:gd name="T87" fmla="*/ 58 h 113"/>
                <a:gd name="T88" fmla="*/ 85 w 120"/>
                <a:gd name="T89" fmla="*/ 54 h 113"/>
                <a:gd name="T90" fmla="*/ 73 w 120"/>
                <a:gd name="T91" fmla="*/ 57 h 113"/>
                <a:gd name="T92" fmla="*/ 73 w 120"/>
                <a:gd name="T93" fmla="*/ 61 h 113"/>
                <a:gd name="T94" fmla="*/ 72 w 120"/>
                <a:gd name="T95" fmla="*/ 69 h 113"/>
                <a:gd name="T96" fmla="*/ 66 w 120"/>
                <a:gd name="T97" fmla="*/ 71 h 113"/>
                <a:gd name="T98" fmla="*/ 68 w 120"/>
                <a:gd name="T99" fmla="*/ 74 h 113"/>
                <a:gd name="T100" fmla="*/ 71 w 120"/>
                <a:gd name="T101" fmla="*/ 79 h 113"/>
                <a:gd name="T102" fmla="*/ 65 w 120"/>
                <a:gd name="T103" fmla="*/ 90 h 113"/>
                <a:gd name="T104" fmla="*/ 62 w 120"/>
                <a:gd name="T105" fmla="*/ 100 h 113"/>
                <a:gd name="T106" fmla="*/ 60 w 120"/>
                <a:gd name="T107" fmla="*/ 100 h 113"/>
                <a:gd name="T108" fmla="*/ 55 w 120"/>
                <a:gd name="T109" fmla="*/ 89 h 113"/>
                <a:gd name="T110" fmla="*/ 53 w 120"/>
                <a:gd name="T111" fmla="*/ 95 h 113"/>
                <a:gd name="T112" fmla="*/ 52 w 120"/>
                <a:gd name="T113" fmla="*/ 97 h 113"/>
                <a:gd name="T114" fmla="*/ 55 w 120"/>
                <a:gd name="T115" fmla="*/ 106 h 113"/>
                <a:gd name="T116" fmla="*/ 49 w 120"/>
                <a:gd name="T117" fmla="*/ 111 h 113"/>
                <a:gd name="T118" fmla="*/ 45 w 120"/>
                <a:gd name="T119" fmla="*/ 11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13">
                  <a:moveTo>
                    <a:pt x="43" y="113"/>
                  </a:moveTo>
                  <a:lnTo>
                    <a:pt x="43" y="113"/>
                  </a:lnTo>
                  <a:lnTo>
                    <a:pt x="43" y="113"/>
                  </a:lnTo>
                  <a:lnTo>
                    <a:pt x="43" y="111"/>
                  </a:lnTo>
                  <a:lnTo>
                    <a:pt x="42" y="109"/>
                  </a:lnTo>
                  <a:lnTo>
                    <a:pt x="40" y="106"/>
                  </a:lnTo>
                  <a:lnTo>
                    <a:pt x="40" y="106"/>
                  </a:lnTo>
                  <a:lnTo>
                    <a:pt x="34" y="103"/>
                  </a:lnTo>
                  <a:lnTo>
                    <a:pt x="34" y="102"/>
                  </a:lnTo>
                  <a:lnTo>
                    <a:pt x="34" y="99"/>
                  </a:lnTo>
                  <a:lnTo>
                    <a:pt x="34" y="99"/>
                  </a:lnTo>
                  <a:lnTo>
                    <a:pt x="36" y="97"/>
                  </a:lnTo>
                  <a:lnTo>
                    <a:pt x="36" y="95"/>
                  </a:lnTo>
                  <a:lnTo>
                    <a:pt x="36" y="93"/>
                  </a:lnTo>
                  <a:lnTo>
                    <a:pt x="34" y="92"/>
                  </a:lnTo>
                  <a:lnTo>
                    <a:pt x="34" y="92"/>
                  </a:lnTo>
                  <a:lnTo>
                    <a:pt x="30" y="95"/>
                  </a:lnTo>
                  <a:lnTo>
                    <a:pt x="30" y="96"/>
                  </a:lnTo>
                  <a:lnTo>
                    <a:pt x="29" y="97"/>
                  </a:lnTo>
                  <a:lnTo>
                    <a:pt x="29" y="97"/>
                  </a:lnTo>
                  <a:lnTo>
                    <a:pt x="29" y="105"/>
                  </a:lnTo>
                  <a:lnTo>
                    <a:pt x="27" y="106"/>
                  </a:lnTo>
                  <a:lnTo>
                    <a:pt x="26" y="108"/>
                  </a:lnTo>
                  <a:lnTo>
                    <a:pt x="26" y="108"/>
                  </a:lnTo>
                  <a:lnTo>
                    <a:pt x="23" y="103"/>
                  </a:lnTo>
                  <a:lnTo>
                    <a:pt x="21" y="102"/>
                  </a:lnTo>
                  <a:lnTo>
                    <a:pt x="20" y="102"/>
                  </a:lnTo>
                  <a:lnTo>
                    <a:pt x="20" y="102"/>
                  </a:lnTo>
                  <a:lnTo>
                    <a:pt x="16" y="109"/>
                  </a:lnTo>
                  <a:lnTo>
                    <a:pt x="13" y="111"/>
                  </a:lnTo>
                  <a:lnTo>
                    <a:pt x="11" y="112"/>
                  </a:lnTo>
                  <a:lnTo>
                    <a:pt x="10" y="111"/>
                  </a:lnTo>
                  <a:lnTo>
                    <a:pt x="10" y="111"/>
                  </a:lnTo>
                  <a:lnTo>
                    <a:pt x="8" y="109"/>
                  </a:lnTo>
                  <a:lnTo>
                    <a:pt x="7" y="106"/>
                  </a:lnTo>
                  <a:lnTo>
                    <a:pt x="7" y="106"/>
                  </a:lnTo>
                  <a:lnTo>
                    <a:pt x="5" y="105"/>
                  </a:lnTo>
                  <a:lnTo>
                    <a:pt x="5" y="105"/>
                  </a:lnTo>
                  <a:lnTo>
                    <a:pt x="4" y="105"/>
                  </a:lnTo>
                  <a:lnTo>
                    <a:pt x="4" y="103"/>
                  </a:lnTo>
                  <a:lnTo>
                    <a:pt x="7" y="100"/>
                  </a:lnTo>
                  <a:lnTo>
                    <a:pt x="7" y="100"/>
                  </a:lnTo>
                  <a:lnTo>
                    <a:pt x="10" y="97"/>
                  </a:lnTo>
                  <a:lnTo>
                    <a:pt x="11" y="95"/>
                  </a:lnTo>
                  <a:lnTo>
                    <a:pt x="11" y="93"/>
                  </a:lnTo>
                  <a:lnTo>
                    <a:pt x="10" y="93"/>
                  </a:lnTo>
                  <a:lnTo>
                    <a:pt x="10" y="93"/>
                  </a:lnTo>
                  <a:lnTo>
                    <a:pt x="4" y="97"/>
                  </a:lnTo>
                  <a:lnTo>
                    <a:pt x="1" y="97"/>
                  </a:lnTo>
                  <a:lnTo>
                    <a:pt x="0" y="97"/>
                  </a:lnTo>
                  <a:lnTo>
                    <a:pt x="0" y="96"/>
                  </a:lnTo>
                  <a:lnTo>
                    <a:pt x="0" y="96"/>
                  </a:lnTo>
                  <a:lnTo>
                    <a:pt x="3" y="92"/>
                  </a:lnTo>
                  <a:lnTo>
                    <a:pt x="5" y="86"/>
                  </a:lnTo>
                  <a:lnTo>
                    <a:pt x="10" y="80"/>
                  </a:lnTo>
                  <a:lnTo>
                    <a:pt x="10" y="80"/>
                  </a:lnTo>
                  <a:lnTo>
                    <a:pt x="13" y="79"/>
                  </a:lnTo>
                  <a:lnTo>
                    <a:pt x="16" y="79"/>
                  </a:lnTo>
                  <a:lnTo>
                    <a:pt x="18" y="80"/>
                  </a:lnTo>
                  <a:lnTo>
                    <a:pt x="21" y="79"/>
                  </a:lnTo>
                  <a:lnTo>
                    <a:pt x="21" y="79"/>
                  </a:lnTo>
                  <a:lnTo>
                    <a:pt x="27" y="69"/>
                  </a:lnTo>
                  <a:lnTo>
                    <a:pt x="30" y="63"/>
                  </a:lnTo>
                  <a:lnTo>
                    <a:pt x="33" y="60"/>
                  </a:lnTo>
                  <a:lnTo>
                    <a:pt x="33" y="60"/>
                  </a:lnTo>
                  <a:lnTo>
                    <a:pt x="37" y="55"/>
                  </a:lnTo>
                  <a:lnTo>
                    <a:pt x="40" y="53"/>
                  </a:lnTo>
                  <a:lnTo>
                    <a:pt x="40" y="50"/>
                  </a:lnTo>
                  <a:lnTo>
                    <a:pt x="40" y="50"/>
                  </a:lnTo>
                  <a:lnTo>
                    <a:pt x="43" y="44"/>
                  </a:lnTo>
                  <a:lnTo>
                    <a:pt x="50" y="34"/>
                  </a:lnTo>
                  <a:lnTo>
                    <a:pt x="56" y="24"/>
                  </a:lnTo>
                  <a:lnTo>
                    <a:pt x="62" y="18"/>
                  </a:lnTo>
                  <a:lnTo>
                    <a:pt x="62" y="18"/>
                  </a:lnTo>
                  <a:lnTo>
                    <a:pt x="66" y="16"/>
                  </a:lnTo>
                  <a:lnTo>
                    <a:pt x="69" y="16"/>
                  </a:lnTo>
                  <a:lnTo>
                    <a:pt x="73" y="16"/>
                  </a:lnTo>
                  <a:lnTo>
                    <a:pt x="76" y="15"/>
                  </a:lnTo>
                  <a:lnTo>
                    <a:pt x="76" y="15"/>
                  </a:lnTo>
                  <a:lnTo>
                    <a:pt x="81" y="15"/>
                  </a:lnTo>
                  <a:lnTo>
                    <a:pt x="88" y="15"/>
                  </a:lnTo>
                  <a:lnTo>
                    <a:pt x="94" y="16"/>
                  </a:lnTo>
                  <a:lnTo>
                    <a:pt x="98" y="16"/>
                  </a:lnTo>
                  <a:lnTo>
                    <a:pt x="98" y="16"/>
                  </a:lnTo>
                  <a:lnTo>
                    <a:pt x="97" y="15"/>
                  </a:lnTo>
                  <a:lnTo>
                    <a:pt x="95" y="13"/>
                  </a:lnTo>
                  <a:lnTo>
                    <a:pt x="92" y="11"/>
                  </a:lnTo>
                  <a:lnTo>
                    <a:pt x="92" y="9"/>
                  </a:lnTo>
                  <a:lnTo>
                    <a:pt x="92" y="9"/>
                  </a:lnTo>
                  <a:lnTo>
                    <a:pt x="98" y="2"/>
                  </a:lnTo>
                  <a:lnTo>
                    <a:pt x="101" y="0"/>
                  </a:lnTo>
                  <a:lnTo>
                    <a:pt x="104" y="0"/>
                  </a:lnTo>
                  <a:lnTo>
                    <a:pt x="104" y="0"/>
                  </a:lnTo>
                  <a:lnTo>
                    <a:pt x="114" y="9"/>
                  </a:lnTo>
                  <a:lnTo>
                    <a:pt x="118" y="13"/>
                  </a:lnTo>
                  <a:lnTo>
                    <a:pt x="120" y="16"/>
                  </a:lnTo>
                  <a:lnTo>
                    <a:pt x="120" y="18"/>
                  </a:lnTo>
                  <a:lnTo>
                    <a:pt x="120" y="18"/>
                  </a:lnTo>
                  <a:lnTo>
                    <a:pt x="110" y="25"/>
                  </a:lnTo>
                  <a:lnTo>
                    <a:pt x="104" y="29"/>
                  </a:lnTo>
                  <a:lnTo>
                    <a:pt x="102" y="31"/>
                  </a:lnTo>
                  <a:lnTo>
                    <a:pt x="102" y="32"/>
                  </a:lnTo>
                  <a:lnTo>
                    <a:pt x="102" y="32"/>
                  </a:lnTo>
                  <a:lnTo>
                    <a:pt x="108" y="38"/>
                  </a:lnTo>
                  <a:lnTo>
                    <a:pt x="111" y="41"/>
                  </a:lnTo>
                  <a:lnTo>
                    <a:pt x="111" y="42"/>
                  </a:lnTo>
                  <a:lnTo>
                    <a:pt x="111" y="42"/>
                  </a:lnTo>
                  <a:lnTo>
                    <a:pt x="108" y="44"/>
                  </a:lnTo>
                  <a:lnTo>
                    <a:pt x="107" y="45"/>
                  </a:lnTo>
                  <a:lnTo>
                    <a:pt x="107" y="47"/>
                  </a:lnTo>
                  <a:lnTo>
                    <a:pt x="107" y="47"/>
                  </a:lnTo>
                  <a:lnTo>
                    <a:pt x="108" y="57"/>
                  </a:lnTo>
                  <a:lnTo>
                    <a:pt x="108" y="57"/>
                  </a:lnTo>
                  <a:lnTo>
                    <a:pt x="105" y="63"/>
                  </a:lnTo>
                  <a:lnTo>
                    <a:pt x="104" y="64"/>
                  </a:lnTo>
                  <a:lnTo>
                    <a:pt x="100" y="67"/>
                  </a:lnTo>
                  <a:lnTo>
                    <a:pt x="100" y="67"/>
                  </a:lnTo>
                  <a:lnTo>
                    <a:pt x="97" y="69"/>
                  </a:lnTo>
                  <a:lnTo>
                    <a:pt x="95" y="71"/>
                  </a:lnTo>
                  <a:lnTo>
                    <a:pt x="94" y="79"/>
                  </a:lnTo>
                  <a:lnTo>
                    <a:pt x="94" y="79"/>
                  </a:lnTo>
                  <a:lnTo>
                    <a:pt x="94" y="86"/>
                  </a:lnTo>
                  <a:lnTo>
                    <a:pt x="92" y="89"/>
                  </a:lnTo>
                  <a:lnTo>
                    <a:pt x="88" y="89"/>
                  </a:lnTo>
                  <a:lnTo>
                    <a:pt x="88" y="89"/>
                  </a:lnTo>
                  <a:lnTo>
                    <a:pt x="87" y="87"/>
                  </a:lnTo>
                  <a:lnTo>
                    <a:pt x="85" y="84"/>
                  </a:lnTo>
                  <a:lnTo>
                    <a:pt x="81" y="77"/>
                  </a:lnTo>
                  <a:lnTo>
                    <a:pt x="79" y="70"/>
                  </a:lnTo>
                  <a:lnTo>
                    <a:pt x="79" y="66"/>
                  </a:lnTo>
                  <a:lnTo>
                    <a:pt x="79" y="66"/>
                  </a:lnTo>
                  <a:lnTo>
                    <a:pt x="84" y="58"/>
                  </a:lnTo>
                  <a:lnTo>
                    <a:pt x="85" y="55"/>
                  </a:lnTo>
                  <a:lnTo>
                    <a:pt x="85" y="54"/>
                  </a:lnTo>
                  <a:lnTo>
                    <a:pt x="85" y="54"/>
                  </a:lnTo>
                  <a:lnTo>
                    <a:pt x="79" y="54"/>
                  </a:lnTo>
                  <a:lnTo>
                    <a:pt x="75" y="55"/>
                  </a:lnTo>
                  <a:lnTo>
                    <a:pt x="73" y="57"/>
                  </a:lnTo>
                  <a:lnTo>
                    <a:pt x="73" y="57"/>
                  </a:lnTo>
                  <a:lnTo>
                    <a:pt x="73" y="58"/>
                  </a:lnTo>
                  <a:lnTo>
                    <a:pt x="73" y="61"/>
                  </a:lnTo>
                  <a:lnTo>
                    <a:pt x="73" y="67"/>
                  </a:lnTo>
                  <a:lnTo>
                    <a:pt x="73" y="67"/>
                  </a:lnTo>
                  <a:lnTo>
                    <a:pt x="72" y="69"/>
                  </a:lnTo>
                  <a:lnTo>
                    <a:pt x="69" y="70"/>
                  </a:lnTo>
                  <a:lnTo>
                    <a:pt x="68" y="70"/>
                  </a:lnTo>
                  <a:lnTo>
                    <a:pt x="66" y="71"/>
                  </a:lnTo>
                  <a:lnTo>
                    <a:pt x="66" y="71"/>
                  </a:lnTo>
                  <a:lnTo>
                    <a:pt x="66" y="73"/>
                  </a:lnTo>
                  <a:lnTo>
                    <a:pt x="68" y="74"/>
                  </a:lnTo>
                  <a:lnTo>
                    <a:pt x="69" y="77"/>
                  </a:lnTo>
                  <a:lnTo>
                    <a:pt x="71" y="79"/>
                  </a:lnTo>
                  <a:lnTo>
                    <a:pt x="71" y="79"/>
                  </a:lnTo>
                  <a:lnTo>
                    <a:pt x="69" y="82"/>
                  </a:lnTo>
                  <a:lnTo>
                    <a:pt x="68" y="86"/>
                  </a:lnTo>
                  <a:lnTo>
                    <a:pt x="65" y="90"/>
                  </a:lnTo>
                  <a:lnTo>
                    <a:pt x="65" y="90"/>
                  </a:lnTo>
                  <a:lnTo>
                    <a:pt x="63" y="97"/>
                  </a:lnTo>
                  <a:lnTo>
                    <a:pt x="62" y="100"/>
                  </a:lnTo>
                  <a:lnTo>
                    <a:pt x="62" y="100"/>
                  </a:lnTo>
                  <a:lnTo>
                    <a:pt x="60" y="100"/>
                  </a:lnTo>
                  <a:lnTo>
                    <a:pt x="60" y="100"/>
                  </a:lnTo>
                  <a:lnTo>
                    <a:pt x="56" y="92"/>
                  </a:lnTo>
                  <a:lnTo>
                    <a:pt x="55" y="89"/>
                  </a:lnTo>
                  <a:lnTo>
                    <a:pt x="55" y="89"/>
                  </a:lnTo>
                  <a:lnTo>
                    <a:pt x="55" y="89"/>
                  </a:lnTo>
                  <a:lnTo>
                    <a:pt x="55" y="89"/>
                  </a:lnTo>
                  <a:lnTo>
                    <a:pt x="53" y="95"/>
                  </a:lnTo>
                  <a:lnTo>
                    <a:pt x="52" y="96"/>
                  </a:lnTo>
                  <a:lnTo>
                    <a:pt x="52" y="97"/>
                  </a:lnTo>
                  <a:lnTo>
                    <a:pt x="52" y="97"/>
                  </a:lnTo>
                  <a:lnTo>
                    <a:pt x="55" y="102"/>
                  </a:lnTo>
                  <a:lnTo>
                    <a:pt x="55" y="103"/>
                  </a:lnTo>
                  <a:lnTo>
                    <a:pt x="55" y="106"/>
                  </a:lnTo>
                  <a:lnTo>
                    <a:pt x="55" y="106"/>
                  </a:lnTo>
                  <a:lnTo>
                    <a:pt x="52" y="109"/>
                  </a:lnTo>
                  <a:lnTo>
                    <a:pt x="49" y="111"/>
                  </a:lnTo>
                  <a:lnTo>
                    <a:pt x="49" y="111"/>
                  </a:lnTo>
                  <a:lnTo>
                    <a:pt x="46" y="111"/>
                  </a:lnTo>
                  <a:lnTo>
                    <a:pt x="45" y="111"/>
                  </a:lnTo>
                  <a:lnTo>
                    <a:pt x="43" y="113"/>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1" name="Freeform 30"/>
            <p:cNvSpPr>
              <a:spLocks/>
            </p:cNvSpPr>
            <p:nvPr/>
          </p:nvSpPr>
          <p:spPr bwMode="auto">
            <a:xfrm>
              <a:off x="1152525" y="1545066"/>
              <a:ext cx="190500" cy="179388"/>
            </a:xfrm>
            <a:custGeom>
              <a:avLst/>
              <a:gdLst>
                <a:gd name="T0" fmla="*/ 43 w 120"/>
                <a:gd name="T1" fmla="*/ 113 h 113"/>
                <a:gd name="T2" fmla="*/ 40 w 120"/>
                <a:gd name="T3" fmla="*/ 106 h 113"/>
                <a:gd name="T4" fmla="*/ 34 w 120"/>
                <a:gd name="T5" fmla="*/ 102 h 113"/>
                <a:gd name="T6" fmla="*/ 36 w 120"/>
                <a:gd name="T7" fmla="*/ 97 h 113"/>
                <a:gd name="T8" fmla="*/ 34 w 120"/>
                <a:gd name="T9" fmla="*/ 92 h 113"/>
                <a:gd name="T10" fmla="*/ 30 w 120"/>
                <a:gd name="T11" fmla="*/ 96 h 113"/>
                <a:gd name="T12" fmla="*/ 29 w 120"/>
                <a:gd name="T13" fmla="*/ 105 h 113"/>
                <a:gd name="T14" fmla="*/ 26 w 120"/>
                <a:gd name="T15" fmla="*/ 108 h 113"/>
                <a:gd name="T16" fmla="*/ 20 w 120"/>
                <a:gd name="T17" fmla="*/ 102 h 113"/>
                <a:gd name="T18" fmla="*/ 13 w 120"/>
                <a:gd name="T19" fmla="*/ 111 h 113"/>
                <a:gd name="T20" fmla="*/ 10 w 120"/>
                <a:gd name="T21" fmla="*/ 111 h 113"/>
                <a:gd name="T22" fmla="*/ 7 w 120"/>
                <a:gd name="T23" fmla="*/ 106 h 113"/>
                <a:gd name="T24" fmla="*/ 4 w 120"/>
                <a:gd name="T25" fmla="*/ 105 h 113"/>
                <a:gd name="T26" fmla="*/ 7 w 120"/>
                <a:gd name="T27" fmla="*/ 100 h 113"/>
                <a:gd name="T28" fmla="*/ 11 w 120"/>
                <a:gd name="T29" fmla="*/ 93 h 113"/>
                <a:gd name="T30" fmla="*/ 4 w 120"/>
                <a:gd name="T31" fmla="*/ 97 h 113"/>
                <a:gd name="T32" fmla="*/ 0 w 120"/>
                <a:gd name="T33" fmla="*/ 96 h 113"/>
                <a:gd name="T34" fmla="*/ 5 w 120"/>
                <a:gd name="T35" fmla="*/ 86 h 113"/>
                <a:gd name="T36" fmla="*/ 13 w 120"/>
                <a:gd name="T37" fmla="*/ 79 h 113"/>
                <a:gd name="T38" fmla="*/ 21 w 120"/>
                <a:gd name="T39" fmla="*/ 79 h 113"/>
                <a:gd name="T40" fmla="*/ 30 w 120"/>
                <a:gd name="T41" fmla="*/ 63 h 113"/>
                <a:gd name="T42" fmla="*/ 37 w 120"/>
                <a:gd name="T43" fmla="*/ 55 h 113"/>
                <a:gd name="T44" fmla="*/ 40 w 120"/>
                <a:gd name="T45" fmla="*/ 50 h 113"/>
                <a:gd name="T46" fmla="*/ 56 w 120"/>
                <a:gd name="T47" fmla="*/ 24 h 113"/>
                <a:gd name="T48" fmla="*/ 66 w 120"/>
                <a:gd name="T49" fmla="*/ 16 h 113"/>
                <a:gd name="T50" fmla="*/ 76 w 120"/>
                <a:gd name="T51" fmla="*/ 15 h 113"/>
                <a:gd name="T52" fmla="*/ 88 w 120"/>
                <a:gd name="T53" fmla="*/ 15 h 113"/>
                <a:gd name="T54" fmla="*/ 98 w 120"/>
                <a:gd name="T55" fmla="*/ 16 h 113"/>
                <a:gd name="T56" fmla="*/ 92 w 120"/>
                <a:gd name="T57" fmla="*/ 11 h 113"/>
                <a:gd name="T58" fmla="*/ 98 w 120"/>
                <a:gd name="T59" fmla="*/ 2 h 113"/>
                <a:gd name="T60" fmla="*/ 104 w 120"/>
                <a:gd name="T61" fmla="*/ 0 h 113"/>
                <a:gd name="T62" fmla="*/ 120 w 120"/>
                <a:gd name="T63" fmla="*/ 16 h 113"/>
                <a:gd name="T64" fmla="*/ 110 w 120"/>
                <a:gd name="T65" fmla="*/ 25 h 113"/>
                <a:gd name="T66" fmla="*/ 102 w 120"/>
                <a:gd name="T67" fmla="*/ 32 h 113"/>
                <a:gd name="T68" fmla="*/ 111 w 120"/>
                <a:gd name="T69" fmla="*/ 41 h 113"/>
                <a:gd name="T70" fmla="*/ 108 w 120"/>
                <a:gd name="T71" fmla="*/ 44 h 113"/>
                <a:gd name="T72" fmla="*/ 107 w 120"/>
                <a:gd name="T73" fmla="*/ 47 h 113"/>
                <a:gd name="T74" fmla="*/ 105 w 120"/>
                <a:gd name="T75" fmla="*/ 63 h 113"/>
                <a:gd name="T76" fmla="*/ 100 w 120"/>
                <a:gd name="T77" fmla="*/ 67 h 113"/>
                <a:gd name="T78" fmla="*/ 94 w 120"/>
                <a:gd name="T79" fmla="*/ 79 h 113"/>
                <a:gd name="T80" fmla="*/ 92 w 120"/>
                <a:gd name="T81" fmla="*/ 89 h 113"/>
                <a:gd name="T82" fmla="*/ 87 w 120"/>
                <a:gd name="T83" fmla="*/ 87 h 113"/>
                <a:gd name="T84" fmla="*/ 79 w 120"/>
                <a:gd name="T85" fmla="*/ 70 h 113"/>
                <a:gd name="T86" fmla="*/ 84 w 120"/>
                <a:gd name="T87" fmla="*/ 58 h 113"/>
                <a:gd name="T88" fmla="*/ 85 w 120"/>
                <a:gd name="T89" fmla="*/ 54 h 113"/>
                <a:gd name="T90" fmla="*/ 73 w 120"/>
                <a:gd name="T91" fmla="*/ 57 h 113"/>
                <a:gd name="T92" fmla="*/ 73 w 120"/>
                <a:gd name="T93" fmla="*/ 61 h 113"/>
                <a:gd name="T94" fmla="*/ 72 w 120"/>
                <a:gd name="T95" fmla="*/ 69 h 113"/>
                <a:gd name="T96" fmla="*/ 66 w 120"/>
                <a:gd name="T97" fmla="*/ 71 h 113"/>
                <a:gd name="T98" fmla="*/ 68 w 120"/>
                <a:gd name="T99" fmla="*/ 74 h 113"/>
                <a:gd name="T100" fmla="*/ 71 w 120"/>
                <a:gd name="T101" fmla="*/ 79 h 113"/>
                <a:gd name="T102" fmla="*/ 65 w 120"/>
                <a:gd name="T103" fmla="*/ 90 h 113"/>
                <a:gd name="T104" fmla="*/ 62 w 120"/>
                <a:gd name="T105" fmla="*/ 100 h 113"/>
                <a:gd name="T106" fmla="*/ 60 w 120"/>
                <a:gd name="T107" fmla="*/ 100 h 113"/>
                <a:gd name="T108" fmla="*/ 55 w 120"/>
                <a:gd name="T109" fmla="*/ 89 h 113"/>
                <a:gd name="T110" fmla="*/ 53 w 120"/>
                <a:gd name="T111" fmla="*/ 95 h 113"/>
                <a:gd name="T112" fmla="*/ 52 w 120"/>
                <a:gd name="T113" fmla="*/ 97 h 113"/>
                <a:gd name="T114" fmla="*/ 55 w 120"/>
                <a:gd name="T115" fmla="*/ 106 h 113"/>
                <a:gd name="T116" fmla="*/ 49 w 120"/>
                <a:gd name="T117" fmla="*/ 111 h 113"/>
                <a:gd name="T118" fmla="*/ 45 w 120"/>
                <a:gd name="T119" fmla="*/ 11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13">
                  <a:moveTo>
                    <a:pt x="43" y="113"/>
                  </a:moveTo>
                  <a:lnTo>
                    <a:pt x="43" y="113"/>
                  </a:lnTo>
                  <a:lnTo>
                    <a:pt x="43" y="113"/>
                  </a:lnTo>
                  <a:lnTo>
                    <a:pt x="43" y="111"/>
                  </a:lnTo>
                  <a:lnTo>
                    <a:pt x="42" y="109"/>
                  </a:lnTo>
                  <a:lnTo>
                    <a:pt x="40" y="106"/>
                  </a:lnTo>
                  <a:lnTo>
                    <a:pt x="40" y="106"/>
                  </a:lnTo>
                  <a:lnTo>
                    <a:pt x="34" y="103"/>
                  </a:lnTo>
                  <a:lnTo>
                    <a:pt x="34" y="102"/>
                  </a:lnTo>
                  <a:lnTo>
                    <a:pt x="34" y="99"/>
                  </a:lnTo>
                  <a:lnTo>
                    <a:pt x="34" y="99"/>
                  </a:lnTo>
                  <a:lnTo>
                    <a:pt x="36" y="97"/>
                  </a:lnTo>
                  <a:lnTo>
                    <a:pt x="36" y="95"/>
                  </a:lnTo>
                  <a:lnTo>
                    <a:pt x="36" y="93"/>
                  </a:lnTo>
                  <a:lnTo>
                    <a:pt x="34" y="92"/>
                  </a:lnTo>
                  <a:lnTo>
                    <a:pt x="34" y="92"/>
                  </a:lnTo>
                  <a:lnTo>
                    <a:pt x="30" y="95"/>
                  </a:lnTo>
                  <a:lnTo>
                    <a:pt x="30" y="96"/>
                  </a:lnTo>
                  <a:lnTo>
                    <a:pt x="29" y="97"/>
                  </a:lnTo>
                  <a:lnTo>
                    <a:pt x="29" y="97"/>
                  </a:lnTo>
                  <a:lnTo>
                    <a:pt x="29" y="105"/>
                  </a:lnTo>
                  <a:lnTo>
                    <a:pt x="27" y="106"/>
                  </a:lnTo>
                  <a:lnTo>
                    <a:pt x="26" y="108"/>
                  </a:lnTo>
                  <a:lnTo>
                    <a:pt x="26" y="108"/>
                  </a:lnTo>
                  <a:lnTo>
                    <a:pt x="23" y="103"/>
                  </a:lnTo>
                  <a:lnTo>
                    <a:pt x="21" y="102"/>
                  </a:lnTo>
                  <a:lnTo>
                    <a:pt x="20" y="102"/>
                  </a:lnTo>
                  <a:lnTo>
                    <a:pt x="20" y="102"/>
                  </a:lnTo>
                  <a:lnTo>
                    <a:pt x="16" y="109"/>
                  </a:lnTo>
                  <a:lnTo>
                    <a:pt x="13" y="111"/>
                  </a:lnTo>
                  <a:lnTo>
                    <a:pt x="11" y="112"/>
                  </a:lnTo>
                  <a:lnTo>
                    <a:pt x="10" y="111"/>
                  </a:lnTo>
                  <a:lnTo>
                    <a:pt x="10" y="111"/>
                  </a:lnTo>
                  <a:lnTo>
                    <a:pt x="8" y="109"/>
                  </a:lnTo>
                  <a:lnTo>
                    <a:pt x="7" y="106"/>
                  </a:lnTo>
                  <a:lnTo>
                    <a:pt x="7" y="106"/>
                  </a:lnTo>
                  <a:lnTo>
                    <a:pt x="5" y="105"/>
                  </a:lnTo>
                  <a:lnTo>
                    <a:pt x="5" y="105"/>
                  </a:lnTo>
                  <a:lnTo>
                    <a:pt x="4" y="105"/>
                  </a:lnTo>
                  <a:lnTo>
                    <a:pt x="4" y="103"/>
                  </a:lnTo>
                  <a:lnTo>
                    <a:pt x="7" y="100"/>
                  </a:lnTo>
                  <a:lnTo>
                    <a:pt x="7" y="100"/>
                  </a:lnTo>
                  <a:lnTo>
                    <a:pt x="10" y="97"/>
                  </a:lnTo>
                  <a:lnTo>
                    <a:pt x="11" y="95"/>
                  </a:lnTo>
                  <a:lnTo>
                    <a:pt x="11" y="93"/>
                  </a:lnTo>
                  <a:lnTo>
                    <a:pt x="10" y="93"/>
                  </a:lnTo>
                  <a:lnTo>
                    <a:pt x="10" y="93"/>
                  </a:lnTo>
                  <a:lnTo>
                    <a:pt x="4" y="97"/>
                  </a:lnTo>
                  <a:lnTo>
                    <a:pt x="1" y="97"/>
                  </a:lnTo>
                  <a:lnTo>
                    <a:pt x="0" y="97"/>
                  </a:lnTo>
                  <a:lnTo>
                    <a:pt x="0" y="96"/>
                  </a:lnTo>
                  <a:lnTo>
                    <a:pt x="0" y="96"/>
                  </a:lnTo>
                  <a:lnTo>
                    <a:pt x="3" y="92"/>
                  </a:lnTo>
                  <a:lnTo>
                    <a:pt x="5" y="86"/>
                  </a:lnTo>
                  <a:lnTo>
                    <a:pt x="10" y="80"/>
                  </a:lnTo>
                  <a:lnTo>
                    <a:pt x="10" y="80"/>
                  </a:lnTo>
                  <a:lnTo>
                    <a:pt x="13" y="79"/>
                  </a:lnTo>
                  <a:lnTo>
                    <a:pt x="16" y="79"/>
                  </a:lnTo>
                  <a:lnTo>
                    <a:pt x="18" y="80"/>
                  </a:lnTo>
                  <a:lnTo>
                    <a:pt x="21" y="79"/>
                  </a:lnTo>
                  <a:lnTo>
                    <a:pt x="21" y="79"/>
                  </a:lnTo>
                  <a:lnTo>
                    <a:pt x="27" y="69"/>
                  </a:lnTo>
                  <a:lnTo>
                    <a:pt x="30" y="63"/>
                  </a:lnTo>
                  <a:lnTo>
                    <a:pt x="33" y="60"/>
                  </a:lnTo>
                  <a:lnTo>
                    <a:pt x="33" y="60"/>
                  </a:lnTo>
                  <a:lnTo>
                    <a:pt x="37" y="55"/>
                  </a:lnTo>
                  <a:lnTo>
                    <a:pt x="40" y="53"/>
                  </a:lnTo>
                  <a:lnTo>
                    <a:pt x="40" y="50"/>
                  </a:lnTo>
                  <a:lnTo>
                    <a:pt x="40" y="50"/>
                  </a:lnTo>
                  <a:lnTo>
                    <a:pt x="43" y="44"/>
                  </a:lnTo>
                  <a:lnTo>
                    <a:pt x="50" y="34"/>
                  </a:lnTo>
                  <a:lnTo>
                    <a:pt x="56" y="24"/>
                  </a:lnTo>
                  <a:lnTo>
                    <a:pt x="62" y="18"/>
                  </a:lnTo>
                  <a:lnTo>
                    <a:pt x="62" y="18"/>
                  </a:lnTo>
                  <a:lnTo>
                    <a:pt x="66" y="16"/>
                  </a:lnTo>
                  <a:lnTo>
                    <a:pt x="69" y="16"/>
                  </a:lnTo>
                  <a:lnTo>
                    <a:pt x="73" y="16"/>
                  </a:lnTo>
                  <a:lnTo>
                    <a:pt x="76" y="15"/>
                  </a:lnTo>
                  <a:lnTo>
                    <a:pt x="76" y="15"/>
                  </a:lnTo>
                  <a:lnTo>
                    <a:pt x="81" y="15"/>
                  </a:lnTo>
                  <a:lnTo>
                    <a:pt x="88" y="15"/>
                  </a:lnTo>
                  <a:lnTo>
                    <a:pt x="94" y="16"/>
                  </a:lnTo>
                  <a:lnTo>
                    <a:pt x="98" y="16"/>
                  </a:lnTo>
                  <a:lnTo>
                    <a:pt x="98" y="16"/>
                  </a:lnTo>
                  <a:lnTo>
                    <a:pt x="97" y="15"/>
                  </a:lnTo>
                  <a:lnTo>
                    <a:pt x="95" y="13"/>
                  </a:lnTo>
                  <a:lnTo>
                    <a:pt x="92" y="11"/>
                  </a:lnTo>
                  <a:lnTo>
                    <a:pt x="92" y="9"/>
                  </a:lnTo>
                  <a:lnTo>
                    <a:pt x="92" y="9"/>
                  </a:lnTo>
                  <a:lnTo>
                    <a:pt x="98" y="2"/>
                  </a:lnTo>
                  <a:lnTo>
                    <a:pt x="101" y="0"/>
                  </a:lnTo>
                  <a:lnTo>
                    <a:pt x="104" y="0"/>
                  </a:lnTo>
                  <a:lnTo>
                    <a:pt x="104" y="0"/>
                  </a:lnTo>
                  <a:lnTo>
                    <a:pt x="114" y="9"/>
                  </a:lnTo>
                  <a:lnTo>
                    <a:pt x="118" y="13"/>
                  </a:lnTo>
                  <a:lnTo>
                    <a:pt x="120" y="16"/>
                  </a:lnTo>
                  <a:lnTo>
                    <a:pt x="120" y="18"/>
                  </a:lnTo>
                  <a:lnTo>
                    <a:pt x="120" y="18"/>
                  </a:lnTo>
                  <a:lnTo>
                    <a:pt x="110" y="25"/>
                  </a:lnTo>
                  <a:lnTo>
                    <a:pt x="104" y="29"/>
                  </a:lnTo>
                  <a:lnTo>
                    <a:pt x="102" y="31"/>
                  </a:lnTo>
                  <a:lnTo>
                    <a:pt x="102" y="32"/>
                  </a:lnTo>
                  <a:lnTo>
                    <a:pt x="102" y="32"/>
                  </a:lnTo>
                  <a:lnTo>
                    <a:pt x="108" y="38"/>
                  </a:lnTo>
                  <a:lnTo>
                    <a:pt x="111" y="41"/>
                  </a:lnTo>
                  <a:lnTo>
                    <a:pt x="111" y="42"/>
                  </a:lnTo>
                  <a:lnTo>
                    <a:pt x="111" y="42"/>
                  </a:lnTo>
                  <a:lnTo>
                    <a:pt x="108" y="44"/>
                  </a:lnTo>
                  <a:lnTo>
                    <a:pt x="107" y="45"/>
                  </a:lnTo>
                  <a:lnTo>
                    <a:pt x="107" y="47"/>
                  </a:lnTo>
                  <a:lnTo>
                    <a:pt x="107" y="47"/>
                  </a:lnTo>
                  <a:lnTo>
                    <a:pt x="108" y="57"/>
                  </a:lnTo>
                  <a:lnTo>
                    <a:pt x="108" y="57"/>
                  </a:lnTo>
                  <a:lnTo>
                    <a:pt x="105" y="63"/>
                  </a:lnTo>
                  <a:lnTo>
                    <a:pt x="104" y="64"/>
                  </a:lnTo>
                  <a:lnTo>
                    <a:pt x="100" y="67"/>
                  </a:lnTo>
                  <a:lnTo>
                    <a:pt x="100" y="67"/>
                  </a:lnTo>
                  <a:lnTo>
                    <a:pt x="97" y="69"/>
                  </a:lnTo>
                  <a:lnTo>
                    <a:pt x="95" y="71"/>
                  </a:lnTo>
                  <a:lnTo>
                    <a:pt x="94" y="79"/>
                  </a:lnTo>
                  <a:lnTo>
                    <a:pt x="94" y="79"/>
                  </a:lnTo>
                  <a:lnTo>
                    <a:pt x="94" y="86"/>
                  </a:lnTo>
                  <a:lnTo>
                    <a:pt x="92" y="89"/>
                  </a:lnTo>
                  <a:lnTo>
                    <a:pt x="88" y="89"/>
                  </a:lnTo>
                  <a:lnTo>
                    <a:pt x="88" y="89"/>
                  </a:lnTo>
                  <a:lnTo>
                    <a:pt x="87" y="87"/>
                  </a:lnTo>
                  <a:lnTo>
                    <a:pt x="85" y="84"/>
                  </a:lnTo>
                  <a:lnTo>
                    <a:pt x="81" y="77"/>
                  </a:lnTo>
                  <a:lnTo>
                    <a:pt x="79" y="70"/>
                  </a:lnTo>
                  <a:lnTo>
                    <a:pt x="79" y="66"/>
                  </a:lnTo>
                  <a:lnTo>
                    <a:pt x="79" y="66"/>
                  </a:lnTo>
                  <a:lnTo>
                    <a:pt x="84" y="58"/>
                  </a:lnTo>
                  <a:lnTo>
                    <a:pt x="85" y="55"/>
                  </a:lnTo>
                  <a:lnTo>
                    <a:pt x="85" y="54"/>
                  </a:lnTo>
                  <a:lnTo>
                    <a:pt x="85" y="54"/>
                  </a:lnTo>
                  <a:lnTo>
                    <a:pt x="79" y="54"/>
                  </a:lnTo>
                  <a:lnTo>
                    <a:pt x="75" y="55"/>
                  </a:lnTo>
                  <a:lnTo>
                    <a:pt x="73" y="57"/>
                  </a:lnTo>
                  <a:lnTo>
                    <a:pt x="73" y="57"/>
                  </a:lnTo>
                  <a:lnTo>
                    <a:pt x="73" y="58"/>
                  </a:lnTo>
                  <a:lnTo>
                    <a:pt x="73" y="61"/>
                  </a:lnTo>
                  <a:lnTo>
                    <a:pt x="73" y="67"/>
                  </a:lnTo>
                  <a:lnTo>
                    <a:pt x="73" y="67"/>
                  </a:lnTo>
                  <a:lnTo>
                    <a:pt x="72" y="69"/>
                  </a:lnTo>
                  <a:lnTo>
                    <a:pt x="69" y="70"/>
                  </a:lnTo>
                  <a:lnTo>
                    <a:pt x="68" y="70"/>
                  </a:lnTo>
                  <a:lnTo>
                    <a:pt x="66" y="71"/>
                  </a:lnTo>
                  <a:lnTo>
                    <a:pt x="66" y="71"/>
                  </a:lnTo>
                  <a:lnTo>
                    <a:pt x="66" y="73"/>
                  </a:lnTo>
                  <a:lnTo>
                    <a:pt x="68" y="74"/>
                  </a:lnTo>
                  <a:lnTo>
                    <a:pt x="69" y="77"/>
                  </a:lnTo>
                  <a:lnTo>
                    <a:pt x="71" y="79"/>
                  </a:lnTo>
                  <a:lnTo>
                    <a:pt x="71" y="79"/>
                  </a:lnTo>
                  <a:lnTo>
                    <a:pt x="69" y="82"/>
                  </a:lnTo>
                  <a:lnTo>
                    <a:pt x="68" y="86"/>
                  </a:lnTo>
                  <a:lnTo>
                    <a:pt x="65" y="90"/>
                  </a:lnTo>
                  <a:lnTo>
                    <a:pt x="65" y="90"/>
                  </a:lnTo>
                  <a:lnTo>
                    <a:pt x="63" y="97"/>
                  </a:lnTo>
                  <a:lnTo>
                    <a:pt x="62" y="100"/>
                  </a:lnTo>
                  <a:lnTo>
                    <a:pt x="62" y="100"/>
                  </a:lnTo>
                  <a:lnTo>
                    <a:pt x="60" y="100"/>
                  </a:lnTo>
                  <a:lnTo>
                    <a:pt x="60" y="100"/>
                  </a:lnTo>
                  <a:lnTo>
                    <a:pt x="56" y="92"/>
                  </a:lnTo>
                  <a:lnTo>
                    <a:pt x="55" y="89"/>
                  </a:lnTo>
                  <a:lnTo>
                    <a:pt x="55" y="89"/>
                  </a:lnTo>
                  <a:lnTo>
                    <a:pt x="55" y="89"/>
                  </a:lnTo>
                  <a:lnTo>
                    <a:pt x="55" y="89"/>
                  </a:lnTo>
                  <a:lnTo>
                    <a:pt x="53" y="95"/>
                  </a:lnTo>
                  <a:lnTo>
                    <a:pt x="52" y="96"/>
                  </a:lnTo>
                  <a:lnTo>
                    <a:pt x="52" y="97"/>
                  </a:lnTo>
                  <a:lnTo>
                    <a:pt x="52" y="97"/>
                  </a:lnTo>
                  <a:lnTo>
                    <a:pt x="55" y="102"/>
                  </a:lnTo>
                  <a:lnTo>
                    <a:pt x="55" y="103"/>
                  </a:lnTo>
                  <a:lnTo>
                    <a:pt x="55" y="106"/>
                  </a:lnTo>
                  <a:lnTo>
                    <a:pt x="55" y="106"/>
                  </a:lnTo>
                  <a:lnTo>
                    <a:pt x="52" y="109"/>
                  </a:lnTo>
                  <a:lnTo>
                    <a:pt x="49" y="111"/>
                  </a:lnTo>
                  <a:lnTo>
                    <a:pt x="49" y="111"/>
                  </a:lnTo>
                  <a:lnTo>
                    <a:pt x="46" y="111"/>
                  </a:lnTo>
                  <a:lnTo>
                    <a:pt x="45" y="111"/>
                  </a:lnTo>
                  <a:lnTo>
                    <a:pt x="43" y="1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2" name="Freeform 31"/>
            <p:cNvSpPr>
              <a:spLocks/>
            </p:cNvSpPr>
            <p:nvPr/>
          </p:nvSpPr>
          <p:spPr bwMode="auto">
            <a:xfrm>
              <a:off x="1820863" y="1605391"/>
              <a:ext cx="452438" cy="257175"/>
            </a:xfrm>
            <a:custGeom>
              <a:avLst/>
              <a:gdLst>
                <a:gd name="T0" fmla="*/ 272 w 285"/>
                <a:gd name="T1" fmla="*/ 135 h 162"/>
                <a:gd name="T2" fmla="*/ 255 w 285"/>
                <a:gd name="T3" fmla="*/ 125 h 162"/>
                <a:gd name="T4" fmla="*/ 264 w 285"/>
                <a:gd name="T5" fmla="*/ 139 h 162"/>
                <a:gd name="T6" fmla="*/ 240 w 285"/>
                <a:gd name="T7" fmla="*/ 152 h 162"/>
                <a:gd name="T8" fmla="*/ 226 w 285"/>
                <a:gd name="T9" fmla="*/ 148 h 162"/>
                <a:gd name="T10" fmla="*/ 216 w 285"/>
                <a:gd name="T11" fmla="*/ 143 h 162"/>
                <a:gd name="T12" fmla="*/ 200 w 285"/>
                <a:gd name="T13" fmla="*/ 158 h 162"/>
                <a:gd name="T14" fmla="*/ 158 w 285"/>
                <a:gd name="T15" fmla="*/ 161 h 162"/>
                <a:gd name="T16" fmla="*/ 136 w 285"/>
                <a:gd name="T17" fmla="*/ 152 h 162"/>
                <a:gd name="T18" fmla="*/ 128 w 285"/>
                <a:gd name="T19" fmla="*/ 143 h 162"/>
                <a:gd name="T20" fmla="*/ 122 w 285"/>
                <a:gd name="T21" fmla="*/ 143 h 162"/>
                <a:gd name="T22" fmla="*/ 107 w 285"/>
                <a:gd name="T23" fmla="*/ 151 h 162"/>
                <a:gd name="T24" fmla="*/ 94 w 285"/>
                <a:gd name="T25" fmla="*/ 139 h 162"/>
                <a:gd name="T26" fmla="*/ 87 w 285"/>
                <a:gd name="T27" fmla="*/ 145 h 162"/>
                <a:gd name="T28" fmla="*/ 75 w 285"/>
                <a:gd name="T29" fmla="*/ 135 h 162"/>
                <a:gd name="T30" fmla="*/ 74 w 285"/>
                <a:gd name="T31" fmla="*/ 117 h 162"/>
                <a:gd name="T32" fmla="*/ 78 w 285"/>
                <a:gd name="T33" fmla="*/ 109 h 162"/>
                <a:gd name="T34" fmla="*/ 77 w 285"/>
                <a:gd name="T35" fmla="*/ 99 h 162"/>
                <a:gd name="T36" fmla="*/ 78 w 285"/>
                <a:gd name="T37" fmla="*/ 77 h 162"/>
                <a:gd name="T38" fmla="*/ 80 w 285"/>
                <a:gd name="T39" fmla="*/ 62 h 162"/>
                <a:gd name="T40" fmla="*/ 68 w 285"/>
                <a:gd name="T41" fmla="*/ 51 h 162"/>
                <a:gd name="T42" fmla="*/ 64 w 285"/>
                <a:gd name="T43" fmla="*/ 45 h 162"/>
                <a:gd name="T44" fmla="*/ 46 w 285"/>
                <a:gd name="T45" fmla="*/ 51 h 162"/>
                <a:gd name="T46" fmla="*/ 33 w 285"/>
                <a:gd name="T47" fmla="*/ 51 h 162"/>
                <a:gd name="T48" fmla="*/ 13 w 285"/>
                <a:gd name="T49" fmla="*/ 25 h 162"/>
                <a:gd name="T50" fmla="*/ 2 w 285"/>
                <a:gd name="T51" fmla="*/ 12 h 162"/>
                <a:gd name="T52" fmla="*/ 3 w 285"/>
                <a:gd name="T53" fmla="*/ 6 h 162"/>
                <a:gd name="T54" fmla="*/ 9 w 285"/>
                <a:gd name="T55" fmla="*/ 2 h 162"/>
                <a:gd name="T56" fmla="*/ 30 w 285"/>
                <a:gd name="T57" fmla="*/ 2 h 162"/>
                <a:gd name="T58" fmla="*/ 41 w 285"/>
                <a:gd name="T59" fmla="*/ 7 h 162"/>
                <a:gd name="T60" fmla="*/ 49 w 285"/>
                <a:gd name="T61" fmla="*/ 9 h 162"/>
                <a:gd name="T62" fmla="*/ 57 w 285"/>
                <a:gd name="T63" fmla="*/ 26 h 162"/>
                <a:gd name="T64" fmla="*/ 61 w 285"/>
                <a:gd name="T65" fmla="*/ 28 h 162"/>
                <a:gd name="T66" fmla="*/ 86 w 285"/>
                <a:gd name="T67" fmla="*/ 25 h 162"/>
                <a:gd name="T68" fmla="*/ 97 w 285"/>
                <a:gd name="T69" fmla="*/ 33 h 162"/>
                <a:gd name="T70" fmla="*/ 86 w 285"/>
                <a:gd name="T71" fmla="*/ 33 h 162"/>
                <a:gd name="T72" fmla="*/ 99 w 285"/>
                <a:gd name="T73" fmla="*/ 41 h 162"/>
                <a:gd name="T74" fmla="*/ 123 w 285"/>
                <a:gd name="T75" fmla="*/ 52 h 162"/>
                <a:gd name="T76" fmla="*/ 104 w 285"/>
                <a:gd name="T77" fmla="*/ 58 h 162"/>
                <a:gd name="T78" fmla="*/ 96 w 285"/>
                <a:gd name="T79" fmla="*/ 58 h 162"/>
                <a:gd name="T80" fmla="*/ 103 w 285"/>
                <a:gd name="T81" fmla="*/ 62 h 162"/>
                <a:gd name="T82" fmla="*/ 97 w 285"/>
                <a:gd name="T83" fmla="*/ 68 h 162"/>
                <a:gd name="T84" fmla="*/ 100 w 285"/>
                <a:gd name="T85" fmla="*/ 73 h 162"/>
                <a:gd name="T86" fmla="*/ 114 w 285"/>
                <a:gd name="T87" fmla="*/ 73 h 162"/>
                <a:gd name="T88" fmla="*/ 125 w 285"/>
                <a:gd name="T89" fmla="*/ 84 h 162"/>
                <a:gd name="T90" fmla="*/ 133 w 285"/>
                <a:gd name="T91" fmla="*/ 84 h 162"/>
                <a:gd name="T92" fmla="*/ 148 w 285"/>
                <a:gd name="T93" fmla="*/ 90 h 162"/>
                <a:gd name="T94" fmla="*/ 161 w 285"/>
                <a:gd name="T95" fmla="*/ 93 h 162"/>
                <a:gd name="T96" fmla="*/ 196 w 285"/>
                <a:gd name="T97" fmla="*/ 81 h 162"/>
                <a:gd name="T98" fmla="*/ 204 w 285"/>
                <a:gd name="T99" fmla="*/ 83 h 162"/>
                <a:gd name="T100" fmla="*/ 227 w 285"/>
                <a:gd name="T101" fmla="*/ 84 h 162"/>
                <a:gd name="T102" fmla="*/ 243 w 285"/>
                <a:gd name="T103" fmla="*/ 90 h 162"/>
                <a:gd name="T104" fmla="*/ 259 w 285"/>
                <a:gd name="T105" fmla="*/ 91 h 162"/>
                <a:gd name="T106" fmla="*/ 274 w 285"/>
                <a:gd name="T107" fmla="*/ 107 h 162"/>
                <a:gd name="T108" fmla="*/ 272 w 285"/>
                <a:gd name="T109" fmla="*/ 117 h 162"/>
                <a:gd name="T110" fmla="*/ 275 w 285"/>
                <a:gd name="T11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5" h="162">
                  <a:moveTo>
                    <a:pt x="285" y="125"/>
                  </a:moveTo>
                  <a:lnTo>
                    <a:pt x="285" y="125"/>
                  </a:lnTo>
                  <a:lnTo>
                    <a:pt x="278" y="133"/>
                  </a:lnTo>
                  <a:lnTo>
                    <a:pt x="275" y="135"/>
                  </a:lnTo>
                  <a:lnTo>
                    <a:pt x="272" y="135"/>
                  </a:lnTo>
                  <a:lnTo>
                    <a:pt x="272" y="135"/>
                  </a:lnTo>
                  <a:lnTo>
                    <a:pt x="261" y="128"/>
                  </a:lnTo>
                  <a:lnTo>
                    <a:pt x="256" y="125"/>
                  </a:lnTo>
                  <a:lnTo>
                    <a:pt x="255" y="125"/>
                  </a:lnTo>
                  <a:lnTo>
                    <a:pt x="255" y="125"/>
                  </a:lnTo>
                  <a:lnTo>
                    <a:pt x="255" y="125"/>
                  </a:lnTo>
                  <a:lnTo>
                    <a:pt x="256" y="129"/>
                  </a:lnTo>
                  <a:lnTo>
                    <a:pt x="261" y="133"/>
                  </a:lnTo>
                  <a:lnTo>
                    <a:pt x="264" y="136"/>
                  </a:lnTo>
                  <a:lnTo>
                    <a:pt x="264" y="139"/>
                  </a:lnTo>
                  <a:lnTo>
                    <a:pt x="262" y="141"/>
                  </a:lnTo>
                  <a:lnTo>
                    <a:pt x="262" y="141"/>
                  </a:lnTo>
                  <a:lnTo>
                    <a:pt x="252" y="146"/>
                  </a:lnTo>
                  <a:lnTo>
                    <a:pt x="245" y="151"/>
                  </a:lnTo>
                  <a:lnTo>
                    <a:pt x="240" y="152"/>
                  </a:lnTo>
                  <a:lnTo>
                    <a:pt x="240" y="152"/>
                  </a:lnTo>
                  <a:lnTo>
                    <a:pt x="236" y="151"/>
                  </a:lnTo>
                  <a:lnTo>
                    <a:pt x="233" y="149"/>
                  </a:lnTo>
                  <a:lnTo>
                    <a:pt x="230" y="148"/>
                  </a:lnTo>
                  <a:lnTo>
                    <a:pt x="226" y="148"/>
                  </a:lnTo>
                  <a:lnTo>
                    <a:pt x="226" y="148"/>
                  </a:lnTo>
                  <a:lnTo>
                    <a:pt x="223" y="146"/>
                  </a:lnTo>
                  <a:lnTo>
                    <a:pt x="222" y="143"/>
                  </a:lnTo>
                  <a:lnTo>
                    <a:pt x="220" y="143"/>
                  </a:lnTo>
                  <a:lnTo>
                    <a:pt x="216" y="143"/>
                  </a:lnTo>
                  <a:lnTo>
                    <a:pt x="216" y="143"/>
                  </a:lnTo>
                  <a:lnTo>
                    <a:pt x="212" y="146"/>
                  </a:lnTo>
                  <a:lnTo>
                    <a:pt x="209" y="152"/>
                  </a:lnTo>
                  <a:lnTo>
                    <a:pt x="204" y="157"/>
                  </a:lnTo>
                  <a:lnTo>
                    <a:pt x="200" y="158"/>
                  </a:lnTo>
                  <a:lnTo>
                    <a:pt x="200" y="158"/>
                  </a:lnTo>
                  <a:lnTo>
                    <a:pt x="170" y="162"/>
                  </a:lnTo>
                  <a:lnTo>
                    <a:pt x="170" y="162"/>
                  </a:lnTo>
                  <a:lnTo>
                    <a:pt x="164" y="162"/>
                  </a:lnTo>
                  <a:lnTo>
                    <a:pt x="158" y="161"/>
                  </a:lnTo>
                  <a:lnTo>
                    <a:pt x="146" y="158"/>
                  </a:lnTo>
                  <a:lnTo>
                    <a:pt x="146" y="158"/>
                  </a:lnTo>
                  <a:lnTo>
                    <a:pt x="142" y="155"/>
                  </a:lnTo>
                  <a:lnTo>
                    <a:pt x="136" y="152"/>
                  </a:lnTo>
                  <a:lnTo>
                    <a:pt x="136" y="152"/>
                  </a:lnTo>
                  <a:lnTo>
                    <a:pt x="130" y="152"/>
                  </a:lnTo>
                  <a:lnTo>
                    <a:pt x="129" y="151"/>
                  </a:lnTo>
                  <a:lnTo>
                    <a:pt x="129" y="148"/>
                  </a:lnTo>
                  <a:lnTo>
                    <a:pt x="129" y="148"/>
                  </a:lnTo>
                  <a:lnTo>
                    <a:pt x="128" y="143"/>
                  </a:lnTo>
                  <a:lnTo>
                    <a:pt x="126" y="142"/>
                  </a:lnTo>
                  <a:lnTo>
                    <a:pt x="125" y="141"/>
                  </a:lnTo>
                  <a:lnTo>
                    <a:pt x="125" y="141"/>
                  </a:lnTo>
                  <a:lnTo>
                    <a:pt x="123" y="142"/>
                  </a:lnTo>
                  <a:lnTo>
                    <a:pt x="122" y="143"/>
                  </a:lnTo>
                  <a:lnTo>
                    <a:pt x="120" y="148"/>
                  </a:lnTo>
                  <a:lnTo>
                    <a:pt x="120" y="148"/>
                  </a:lnTo>
                  <a:lnTo>
                    <a:pt x="114" y="151"/>
                  </a:lnTo>
                  <a:lnTo>
                    <a:pt x="107" y="151"/>
                  </a:lnTo>
                  <a:lnTo>
                    <a:pt x="107" y="151"/>
                  </a:lnTo>
                  <a:lnTo>
                    <a:pt x="103" y="149"/>
                  </a:lnTo>
                  <a:lnTo>
                    <a:pt x="99" y="146"/>
                  </a:lnTo>
                  <a:lnTo>
                    <a:pt x="99" y="146"/>
                  </a:lnTo>
                  <a:lnTo>
                    <a:pt x="94" y="141"/>
                  </a:lnTo>
                  <a:lnTo>
                    <a:pt x="94" y="139"/>
                  </a:lnTo>
                  <a:lnTo>
                    <a:pt x="93" y="141"/>
                  </a:lnTo>
                  <a:lnTo>
                    <a:pt x="93" y="141"/>
                  </a:lnTo>
                  <a:lnTo>
                    <a:pt x="91" y="143"/>
                  </a:lnTo>
                  <a:lnTo>
                    <a:pt x="90" y="143"/>
                  </a:lnTo>
                  <a:lnTo>
                    <a:pt x="87" y="145"/>
                  </a:lnTo>
                  <a:lnTo>
                    <a:pt x="87" y="145"/>
                  </a:lnTo>
                  <a:lnTo>
                    <a:pt x="83" y="143"/>
                  </a:lnTo>
                  <a:lnTo>
                    <a:pt x="80" y="141"/>
                  </a:lnTo>
                  <a:lnTo>
                    <a:pt x="77" y="139"/>
                  </a:lnTo>
                  <a:lnTo>
                    <a:pt x="75" y="135"/>
                  </a:lnTo>
                  <a:lnTo>
                    <a:pt x="75" y="135"/>
                  </a:lnTo>
                  <a:lnTo>
                    <a:pt x="77" y="129"/>
                  </a:lnTo>
                  <a:lnTo>
                    <a:pt x="75" y="125"/>
                  </a:lnTo>
                  <a:lnTo>
                    <a:pt x="75" y="125"/>
                  </a:lnTo>
                  <a:lnTo>
                    <a:pt x="74" y="117"/>
                  </a:lnTo>
                  <a:lnTo>
                    <a:pt x="77" y="113"/>
                  </a:lnTo>
                  <a:lnTo>
                    <a:pt x="77" y="113"/>
                  </a:lnTo>
                  <a:lnTo>
                    <a:pt x="78" y="112"/>
                  </a:lnTo>
                  <a:lnTo>
                    <a:pt x="80" y="110"/>
                  </a:lnTo>
                  <a:lnTo>
                    <a:pt x="78" y="109"/>
                  </a:lnTo>
                  <a:lnTo>
                    <a:pt x="78" y="109"/>
                  </a:lnTo>
                  <a:lnTo>
                    <a:pt x="77" y="104"/>
                  </a:lnTo>
                  <a:lnTo>
                    <a:pt x="77" y="101"/>
                  </a:lnTo>
                  <a:lnTo>
                    <a:pt x="77" y="99"/>
                  </a:lnTo>
                  <a:lnTo>
                    <a:pt x="77" y="99"/>
                  </a:lnTo>
                  <a:lnTo>
                    <a:pt x="80" y="88"/>
                  </a:lnTo>
                  <a:lnTo>
                    <a:pt x="81" y="84"/>
                  </a:lnTo>
                  <a:lnTo>
                    <a:pt x="81" y="81"/>
                  </a:lnTo>
                  <a:lnTo>
                    <a:pt x="81" y="81"/>
                  </a:lnTo>
                  <a:lnTo>
                    <a:pt x="78" y="77"/>
                  </a:lnTo>
                  <a:lnTo>
                    <a:pt x="77" y="74"/>
                  </a:lnTo>
                  <a:lnTo>
                    <a:pt x="78" y="71"/>
                  </a:lnTo>
                  <a:lnTo>
                    <a:pt x="78" y="71"/>
                  </a:lnTo>
                  <a:lnTo>
                    <a:pt x="80" y="65"/>
                  </a:lnTo>
                  <a:lnTo>
                    <a:pt x="80" y="62"/>
                  </a:lnTo>
                  <a:lnTo>
                    <a:pt x="80" y="59"/>
                  </a:lnTo>
                  <a:lnTo>
                    <a:pt x="80" y="59"/>
                  </a:lnTo>
                  <a:lnTo>
                    <a:pt x="74" y="55"/>
                  </a:lnTo>
                  <a:lnTo>
                    <a:pt x="68" y="51"/>
                  </a:lnTo>
                  <a:lnTo>
                    <a:pt x="68" y="51"/>
                  </a:lnTo>
                  <a:lnTo>
                    <a:pt x="67" y="49"/>
                  </a:lnTo>
                  <a:lnTo>
                    <a:pt x="65" y="46"/>
                  </a:lnTo>
                  <a:lnTo>
                    <a:pt x="65" y="45"/>
                  </a:lnTo>
                  <a:lnTo>
                    <a:pt x="64" y="45"/>
                  </a:lnTo>
                  <a:lnTo>
                    <a:pt x="64" y="45"/>
                  </a:lnTo>
                  <a:lnTo>
                    <a:pt x="57" y="48"/>
                  </a:lnTo>
                  <a:lnTo>
                    <a:pt x="52" y="51"/>
                  </a:lnTo>
                  <a:lnTo>
                    <a:pt x="49" y="51"/>
                  </a:lnTo>
                  <a:lnTo>
                    <a:pt x="49" y="51"/>
                  </a:lnTo>
                  <a:lnTo>
                    <a:pt x="46" y="51"/>
                  </a:lnTo>
                  <a:lnTo>
                    <a:pt x="42" y="49"/>
                  </a:lnTo>
                  <a:lnTo>
                    <a:pt x="39" y="48"/>
                  </a:lnTo>
                  <a:lnTo>
                    <a:pt x="38" y="48"/>
                  </a:lnTo>
                  <a:lnTo>
                    <a:pt x="38" y="48"/>
                  </a:lnTo>
                  <a:lnTo>
                    <a:pt x="33" y="51"/>
                  </a:lnTo>
                  <a:lnTo>
                    <a:pt x="32" y="52"/>
                  </a:lnTo>
                  <a:lnTo>
                    <a:pt x="30" y="52"/>
                  </a:lnTo>
                  <a:lnTo>
                    <a:pt x="30" y="52"/>
                  </a:lnTo>
                  <a:lnTo>
                    <a:pt x="22" y="41"/>
                  </a:lnTo>
                  <a:lnTo>
                    <a:pt x="13" y="25"/>
                  </a:lnTo>
                  <a:lnTo>
                    <a:pt x="13" y="25"/>
                  </a:lnTo>
                  <a:lnTo>
                    <a:pt x="12" y="22"/>
                  </a:lnTo>
                  <a:lnTo>
                    <a:pt x="9" y="19"/>
                  </a:lnTo>
                  <a:lnTo>
                    <a:pt x="4" y="16"/>
                  </a:lnTo>
                  <a:lnTo>
                    <a:pt x="2" y="12"/>
                  </a:lnTo>
                  <a:lnTo>
                    <a:pt x="2" y="12"/>
                  </a:lnTo>
                  <a:lnTo>
                    <a:pt x="0" y="9"/>
                  </a:lnTo>
                  <a:lnTo>
                    <a:pt x="0" y="7"/>
                  </a:lnTo>
                  <a:lnTo>
                    <a:pt x="0" y="6"/>
                  </a:lnTo>
                  <a:lnTo>
                    <a:pt x="3" y="6"/>
                  </a:lnTo>
                  <a:lnTo>
                    <a:pt x="3" y="6"/>
                  </a:lnTo>
                  <a:lnTo>
                    <a:pt x="4" y="4"/>
                  </a:lnTo>
                  <a:lnTo>
                    <a:pt x="4" y="4"/>
                  </a:lnTo>
                  <a:lnTo>
                    <a:pt x="6" y="3"/>
                  </a:lnTo>
                  <a:lnTo>
                    <a:pt x="9" y="2"/>
                  </a:lnTo>
                  <a:lnTo>
                    <a:pt x="9" y="2"/>
                  </a:lnTo>
                  <a:lnTo>
                    <a:pt x="15" y="0"/>
                  </a:lnTo>
                  <a:lnTo>
                    <a:pt x="20" y="0"/>
                  </a:lnTo>
                  <a:lnTo>
                    <a:pt x="30" y="2"/>
                  </a:lnTo>
                  <a:lnTo>
                    <a:pt x="30" y="2"/>
                  </a:lnTo>
                  <a:lnTo>
                    <a:pt x="35" y="2"/>
                  </a:lnTo>
                  <a:lnTo>
                    <a:pt x="38" y="4"/>
                  </a:lnTo>
                  <a:lnTo>
                    <a:pt x="38" y="4"/>
                  </a:lnTo>
                  <a:lnTo>
                    <a:pt x="39" y="7"/>
                  </a:lnTo>
                  <a:lnTo>
                    <a:pt x="41" y="7"/>
                  </a:lnTo>
                  <a:lnTo>
                    <a:pt x="42" y="7"/>
                  </a:lnTo>
                  <a:lnTo>
                    <a:pt x="42" y="7"/>
                  </a:lnTo>
                  <a:lnTo>
                    <a:pt x="46" y="6"/>
                  </a:lnTo>
                  <a:lnTo>
                    <a:pt x="49" y="9"/>
                  </a:lnTo>
                  <a:lnTo>
                    <a:pt x="49" y="9"/>
                  </a:lnTo>
                  <a:lnTo>
                    <a:pt x="55" y="13"/>
                  </a:lnTo>
                  <a:lnTo>
                    <a:pt x="57" y="16"/>
                  </a:lnTo>
                  <a:lnTo>
                    <a:pt x="58" y="19"/>
                  </a:lnTo>
                  <a:lnTo>
                    <a:pt x="58" y="19"/>
                  </a:lnTo>
                  <a:lnTo>
                    <a:pt x="57" y="26"/>
                  </a:lnTo>
                  <a:lnTo>
                    <a:pt x="57" y="29"/>
                  </a:lnTo>
                  <a:lnTo>
                    <a:pt x="57" y="31"/>
                  </a:lnTo>
                  <a:lnTo>
                    <a:pt x="58" y="29"/>
                  </a:lnTo>
                  <a:lnTo>
                    <a:pt x="58" y="29"/>
                  </a:lnTo>
                  <a:lnTo>
                    <a:pt x="61" y="28"/>
                  </a:lnTo>
                  <a:lnTo>
                    <a:pt x="64" y="28"/>
                  </a:lnTo>
                  <a:lnTo>
                    <a:pt x="71" y="25"/>
                  </a:lnTo>
                  <a:lnTo>
                    <a:pt x="71" y="25"/>
                  </a:lnTo>
                  <a:lnTo>
                    <a:pt x="80" y="25"/>
                  </a:lnTo>
                  <a:lnTo>
                    <a:pt x="86" y="25"/>
                  </a:lnTo>
                  <a:lnTo>
                    <a:pt x="90" y="26"/>
                  </a:lnTo>
                  <a:lnTo>
                    <a:pt x="90" y="26"/>
                  </a:lnTo>
                  <a:lnTo>
                    <a:pt x="93" y="29"/>
                  </a:lnTo>
                  <a:lnTo>
                    <a:pt x="96" y="32"/>
                  </a:lnTo>
                  <a:lnTo>
                    <a:pt x="97" y="33"/>
                  </a:lnTo>
                  <a:lnTo>
                    <a:pt x="97" y="35"/>
                  </a:lnTo>
                  <a:lnTo>
                    <a:pt x="96" y="35"/>
                  </a:lnTo>
                  <a:lnTo>
                    <a:pt x="96" y="35"/>
                  </a:lnTo>
                  <a:lnTo>
                    <a:pt x="88" y="33"/>
                  </a:lnTo>
                  <a:lnTo>
                    <a:pt x="86" y="33"/>
                  </a:lnTo>
                  <a:lnTo>
                    <a:pt x="86" y="33"/>
                  </a:lnTo>
                  <a:lnTo>
                    <a:pt x="90" y="38"/>
                  </a:lnTo>
                  <a:lnTo>
                    <a:pt x="94" y="39"/>
                  </a:lnTo>
                  <a:lnTo>
                    <a:pt x="99" y="41"/>
                  </a:lnTo>
                  <a:lnTo>
                    <a:pt x="99" y="41"/>
                  </a:lnTo>
                  <a:lnTo>
                    <a:pt x="110" y="44"/>
                  </a:lnTo>
                  <a:lnTo>
                    <a:pt x="119" y="48"/>
                  </a:lnTo>
                  <a:lnTo>
                    <a:pt x="119" y="48"/>
                  </a:lnTo>
                  <a:lnTo>
                    <a:pt x="122" y="49"/>
                  </a:lnTo>
                  <a:lnTo>
                    <a:pt x="123" y="52"/>
                  </a:lnTo>
                  <a:lnTo>
                    <a:pt x="122" y="52"/>
                  </a:lnTo>
                  <a:lnTo>
                    <a:pt x="119" y="54"/>
                  </a:lnTo>
                  <a:lnTo>
                    <a:pt x="119" y="54"/>
                  </a:lnTo>
                  <a:lnTo>
                    <a:pt x="112" y="57"/>
                  </a:lnTo>
                  <a:lnTo>
                    <a:pt x="104" y="58"/>
                  </a:lnTo>
                  <a:lnTo>
                    <a:pt x="104" y="58"/>
                  </a:lnTo>
                  <a:lnTo>
                    <a:pt x="99" y="58"/>
                  </a:lnTo>
                  <a:lnTo>
                    <a:pt x="96" y="58"/>
                  </a:lnTo>
                  <a:lnTo>
                    <a:pt x="96" y="58"/>
                  </a:lnTo>
                  <a:lnTo>
                    <a:pt x="96" y="58"/>
                  </a:lnTo>
                  <a:lnTo>
                    <a:pt x="94" y="61"/>
                  </a:lnTo>
                  <a:lnTo>
                    <a:pt x="94" y="62"/>
                  </a:lnTo>
                  <a:lnTo>
                    <a:pt x="96" y="62"/>
                  </a:lnTo>
                  <a:lnTo>
                    <a:pt x="96" y="62"/>
                  </a:lnTo>
                  <a:lnTo>
                    <a:pt x="103" y="62"/>
                  </a:lnTo>
                  <a:lnTo>
                    <a:pt x="104" y="64"/>
                  </a:lnTo>
                  <a:lnTo>
                    <a:pt x="104" y="65"/>
                  </a:lnTo>
                  <a:lnTo>
                    <a:pt x="104" y="65"/>
                  </a:lnTo>
                  <a:lnTo>
                    <a:pt x="100" y="67"/>
                  </a:lnTo>
                  <a:lnTo>
                    <a:pt x="97" y="68"/>
                  </a:lnTo>
                  <a:lnTo>
                    <a:pt x="96" y="70"/>
                  </a:lnTo>
                  <a:lnTo>
                    <a:pt x="96" y="70"/>
                  </a:lnTo>
                  <a:lnTo>
                    <a:pt x="96" y="74"/>
                  </a:lnTo>
                  <a:lnTo>
                    <a:pt x="97" y="74"/>
                  </a:lnTo>
                  <a:lnTo>
                    <a:pt x="100" y="73"/>
                  </a:lnTo>
                  <a:lnTo>
                    <a:pt x="100" y="73"/>
                  </a:lnTo>
                  <a:lnTo>
                    <a:pt x="104" y="71"/>
                  </a:lnTo>
                  <a:lnTo>
                    <a:pt x="109" y="71"/>
                  </a:lnTo>
                  <a:lnTo>
                    <a:pt x="114" y="73"/>
                  </a:lnTo>
                  <a:lnTo>
                    <a:pt x="114" y="73"/>
                  </a:lnTo>
                  <a:lnTo>
                    <a:pt x="117" y="75"/>
                  </a:lnTo>
                  <a:lnTo>
                    <a:pt x="119" y="78"/>
                  </a:lnTo>
                  <a:lnTo>
                    <a:pt x="119" y="78"/>
                  </a:lnTo>
                  <a:lnTo>
                    <a:pt x="123" y="83"/>
                  </a:lnTo>
                  <a:lnTo>
                    <a:pt x="125" y="84"/>
                  </a:lnTo>
                  <a:lnTo>
                    <a:pt x="126" y="86"/>
                  </a:lnTo>
                  <a:lnTo>
                    <a:pt x="126" y="86"/>
                  </a:lnTo>
                  <a:lnTo>
                    <a:pt x="129" y="84"/>
                  </a:lnTo>
                  <a:lnTo>
                    <a:pt x="132" y="84"/>
                  </a:lnTo>
                  <a:lnTo>
                    <a:pt x="133" y="84"/>
                  </a:lnTo>
                  <a:lnTo>
                    <a:pt x="133" y="84"/>
                  </a:lnTo>
                  <a:lnTo>
                    <a:pt x="139" y="90"/>
                  </a:lnTo>
                  <a:lnTo>
                    <a:pt x="143" y="91"/>
                  </a:lnTo>
                  <a:lnTo>
                    <a:pt x="148" y="90"/>
                  </a:lnTo>
                  <a:lnTo>
                    <a:pt x="148" y="90"/>
                  </a:lnTo>
                  <a:lnTo>
                    <a:pt x="151" y="90"/>
                  </a:lnTo>
                  <a:lnTo>
                    <a:pt x="154" y="90"/>
                  </a:lnTo>
                  <a:lnTo>
                    <a:pt x="156" y="91"/>
                  </a:lnTo>
                  <a:lnTo>
                    <a:pt x="161" y="93"/>
                  </a:lnTo>
                  <a:lnTo>
                    <a:pt x="161" y="93"/>
                  </a:lnTo>
                  <a:lnTo>
                    <a:pt x="170" y="93"/>
                  </a:lnTo>
                  <a:lnTo>
                    <a:pt x="175" y="91"/>
                  </a:lnTo>
                  <a:lnTo>
                    <a:pt x="175" y="91"/>
                  </a:lnTo>
                  <a:lnTo>
                    <a:pt x="196" y="81"/>
                  </a:lnTo>
                  <a:lnTo>
                    <a:pt x="196" y="81"/>
                  </a:lnTo>
                  <a:lnTo>
                    <a:pt x="201" y="78"/>
                  </a:lnTo>
                  <a:lnTo>
                    <a:pt x="204" y="78"/>
                  </a:lnTo>
                  <a:lnTo>
                    <a:pt x="206" y="78"/>
                  </a:lnTo>
                  <a:lnTo>
                    <a:pt x="206" y="78"/>
                  </a:lnTo>
                  <a:lnTo>
                    <a:pt x="204" y="83"/>
                  </a:lnTo>
                  <a:lnTo>
                    <a:pt x="204" y="84"/>
                  </a:lnTo>
                  <a:lnTo>
                    <a:pt x="207" y="84"/>
                  </a:lnTo>
                  <a:lnTo>
                    <a:pt x="207" y="84"/>
                  </a:lnTo>
                  <a:lnTo>
                    <a:pt x="216" y="84"/>
                  </a:lnTo>
                  <a:lnTo>
                    <a:pt x="227" y="84"/>
                  </a:lnTo>
                  <a:lnTo>
                    <a:pt x="227" y="84"/>
                  </a:lnTo>
                  <a:lnTo>
                    <a:pt x="235" y="86"/>
                  </a:lnTo>
                  <a:lnTo>
                    <a:pt x="239" y="87"/>
                  </a:lnTo>
                  <a:lnTo>
                    <a:pt x="239" y="87"/>
                  </a:lnTo>
                  <a:lnTo>
                    <a:pt x="243" y="90"/>
                  </a:lnTo>
                  <a:lnTo>
                    <a:pt x="246" y="91"/>
                  </a:lnTo>
                  <a:lnTo>
                    <a:pt x="251" y="91"/>
                  </a:lnTo>
                  <a:lnTo>
                    <a:pt x="251" y="91"/>
                  </a:lnTo>
                  <a:lnTo>
                    <a:pt x="256" y="91"/>
                  </a:lnTo>
                  <a:lnTo>
                    <a:pt x="259" y="91"/>
                  </a:lnTo>
                  <a:lnTo>
                    <a:pt x="262" y="93"/>
                  </a:lnTo>
                  <a:lnTo>
                    <a:pt x="262" y="93"/>
                  </a:lnTo>
                  <a:lnTo>
                    <a:pt x="269" y="99"/>
                  </a:lnTo>
                  <a:lnTo>
                    <a:pt x="272" y="103"/>
                  </a:lnTo>
                  <a:lnTo>
                    <a:pt x="274" y="107"/>
                  </a:lnTo>
                  <a:lnTo>
                    <a:pt x="274" y="107"/>
                  </a:lnTo>
                  <a:lnTo>
                    <a:pt x="274" y="113"/>
                  </a:lnTo>
                  <a:lnTo>
                    <a:pt x="272" y="116"/>
                  </a:lnTo>
                  <a:lnTo>
                    <a:pt x="272" y="117"/>
                  </a:lnTo>
                  <a:lnTo>
                    <a:pt x="272" y="117"/>
                  </a:lnTo>
                  <a:lnTo>
                    <a:pt x="271" y="119"/>
                  </a:lnTo>
                  <a:lnTo>
                    <a:pt x="271" y="120"/>
                  </a:lnTo>
                  <a:lnTo>
                    <a:pt x="272" y="122"/>
                  </a:lnTo>
                  <a:lnTo>
                    <a:pt x="275" y="123"/>
                  </a:lnTo>
                  <a:lnTo>
                    <a:pt x="275" y="123"/>
                  </a:lnTo>
                  <a:lnTo>
                    <a:pt x="282" y="123"/>
                  </a:lnTo>
                  <a:lnTo>
                    <a:pt x="285" y="125"/>
                  </a:lnTo>
                  <a:lnTo>
                    <a:pt x="285" y="125"/>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3" name="Freeform 32"/>
            <p:cNvSpPr>
              <a:spLocks/>
            </p:cNvSpPr>
            <p:nvPr/>
          </p:nvSpPr>
          <p:spPr bwMode="auto">
            <a:xfrm>
              <a:off x="1820863" y="1605391"/>
              <a:ext cx="452438" cy="257175"/>
            </a:xfrm>
            <a:custGeom>
              <a:avLst/>
              <a:gdLst>
                <a:gd name="T0" fmla="*/ 272 w 285"/>
                <a:gd name="T1" fmla="*/ 135 h 162"/>
                <a:gd name="T2" fmla="*/ 255 w 285"/>
                <a:gd name="T3" fmla="*/ 125 h 162"/>
                <a:gd name="T4" fmla="*/ 264 w 285"/>
                <a:gd name="T5" fmla="*/ 139 h 162"/>
                <a:gd name="T6" fmla="*/ 240 w 285"/>
                <a:gd name="T7" fmla="*/ 152 h 162"/>
                <a:gd name="T8" fmla="*/ 226 w 285"/>
                <a:gd name="T9" fmla="*/ 148 h 162"/>
                <a:gd name="T10" fmla="*/ 216 w 285"/>
                <a:gd name="T11" fmla="*/ 143 h 162"/>
                <a:gd name="T12" fmla="*/ 200 w 285"/>
                <a:gd name="T13" fmla="*/ 158 h 162"/>
                <a:gd name="T14" fmla="*/ 158 w 285"/>
                <a:gd name="T15" fmla="*/ 161 h 162"/>
                <a:gd name="T16" fmla="*/ 136 w 285"/>
                <a:gd name="T17" fmla="*/ 152 h 162"/>
                <a:gd name="T18" fmla="*/ 128 w 285"/>
                <a:gd name="T19" fmla="*/ 143 h 162"/>
                <a:gd name="T20" fmla="*/ 122 w 285"/>
                <a:gd name="T21" fmla="*/ 143 h 162"/>
                <a:gd name="T22" fmla="*/ 107 w 285"/>
                <a:gd name="T23" fmla="*/ 151 h 162"/>
                <a:gd name="T24" fmla="*/ 94 w 285"/>
                <a:gd name="T25" fmla="*/ 139 h 162"/>
                <a:gd name="T26" fmla="*/ 87 w 285"/>
                <a:gd name="T27" fmla="*/ 145 h 162"/>
                <a:gd name="T28" fmla="*/ 75 w 285"/>
                <a:gd name="T29" fmla="*/ 135 h 162"/>
                <a:gd name="T30" fmla="*/ 74 w 285"/>
                <a:gd name="T31" fmla="*/ 117 h 162"/>
                <a:gd name="T32" fmla="*/ 78 w 285"/>
                <a:gd name="T33" fmla="*/ 109 h 162"/>
                <a:gd name="T34" fmla="*/ 77 w 285"/>
                <a:gd name="T35" fmla="*/ 99 h 162"/>
                <a:gd name="T36" fmla="*/ 78 w 285"/>
                <a:gd name="T37" fmla="*/ 77 h 162"/>
                <a:gd name="T38" fmla="*/ 80 w 285"/>
                <a:gd name="T39" fmla="*/ 62 h 162"/>
                <a:gd name="T40" fmla="*/ 68 w 285"/>
                <a:gd name="T41" fmla="*/ 51 h 162"/>
                <a:gd name="T42" fmla="*/ 64 w 285"/>
                <a:gd name="T43" fmla="*/ 45 h 162"/>
                <a:gd name="T44" fmla="*/ 46 w 285"/>
                <a:gd name="T45" fmla="*/ 51 h 162"/>
                <a:gd name="T46" fmla="*/ 33 w 285"/>
                <a:gd name="T47" fmla="*/ 51 h 162"/>
                <a:gd name="T48" fmla="*/ 13 w 285"/>
                <a:gd name="T49" fmla="*/ 25 h 162"/>
                <a:gd name="T50" fmla="*/ 2 w 285"/>
                <a:gd name="T51" fmla="*/ 12 h 162"/>
                <a:gd name="T52" fmla="*/ 3 w 285"/>
                <a:gd name="T53" fmla="*/ 6 h 162"/>
                <a:gd name="T54" fmla="*/ 9 w 285"/>
                <a:gd name="T55" fmla="*/ 2 h 162"/>
                <a:gd name="T56" fmla="*/ 30 w 285"/>
                <a:gd name="T57" fmla="*/ 2 h 162"/>
                <a:gd name="T58" fmla="*/ 41 w 285"/>
                <a:gd name="T59" fmla="*/ 7 h 162"/>
                <a:gd name="T60" fmla="*/ 49 w 285"/>
                <a:gd name="T61" fmla="*/ 9 h 162"/>
                <a:gd name="T62" fmla="*/ 57 w 285"/>
                <a:gd name="T63" fmla="*/ 26 h 162"/>
                <a:gd name="T64" fmla="*/ 61 w 285"/>
                <a:gd name="T65" fmla="*/ 28 h 162"/>
                <a:gd name="T66" fmla="*/ 86 w 285"/>
                <a:gd name="T67" fmla="*/ 25 h 162"/>
                <a:gd name="T68" fmla="*/ 97 w 285"/>
                <a:gd name="T69" fmla="*/ 33 h 162"/>
                <a:gd name="T70" fmla="*/ 86 w 285"/>
                <a:gd name="T71" fmla="*/ 33 h 162"/>
                <a:gd name="T72" fmla="*/ 99 w 285"/>
                <a:gd name="T73" fmla="*/ 41 h 162"/>
                <a:gd name="T74" fmla="*/ 123 w 285"/>
                <a:gd name="T75" fmla="*/ 52 h 162"/>
                <a:gd name="T76" fmla="*/ 104 w 285"/>
                <a:gd name="T77" fmla="*/ 58 h 162"/>
                <a:gd name="T78" fmla="*/ 96 w 285"/>
                <a:gd name="T79" fmla="*/ 58 h 162"/>
                <a:gd name="T80" fmla="*/ 103 w 285"/>
                <a:gd name="T81" fmla="*/ 62 h 162"/>
                <a:gd name="T82" fmla="*/ 97 w 285"/>
                <a:gd name="T83" fmla="*/ 68 h 162"/>
                <a:gd name="T84" fmla="*/ 100 w 285"/>
                <a:gd name="T85" fmla="*/ 73 h 162"/>
                <a:gd name="T86" fmla="*/ 114 w 285"/>
                <a:gd name="T87" fmla="*/ 73 h 162"/>
                <a:gd name="T88" fmla="*/ 125 w 285"/>
                <a:gd name="T89" fmla="*/ 84 h 162"/>
                <a:gd name="T90" fmla="*/ 133 w 285"/>
                <a:gd name="T91" fmla="*/ 84 h 162"/>
                <a:gd name="T92" fmla="*/ 148 w 285"/>
                <a:gd name="T93" fmla="*/ 90 h 162"/>
                <a:gd name="T94" fmla="*/ 161 w 285"/>
                <a:gd name="T95" fmla="*/ 93 h 162"/>
                <a:gd name="T96" fmla="*/ 196 w 285"/>
                <a:gd name="T97" fmla="*/ 81 h 162"/>
                <a:gd name="T98" fmla="*/ 204 w 285"/>
                <a:gd name="T99" fmla="*/ 83 h 162"/>
                <a:gd name="T100" fmla="*/ 227 w 285"/>
                <a:gd name="T101" fmla="*/ 84 h 162"/>
                <a:gd name="T102" fmla="*/ 243 w 285"/>
                <a:gd name="T103" fmla="*/ 90 h 162"/>
                <a:gd name="T104" fmla="*/ 259 w 285"/>
                <a:gd name="T105" fmla="*/ 91 h 162"/>
                <a:gd name="T106" fmla="*/ 274 w 285"/>
                <a:gd name="T107" fmla="*/ 107 h 162"/>
                <a:gd name="T108" fmla="*/ 272 w 285"/>
                <a:gd name="T109" fmla="*/ 117 h 162"/>
                <a:gd name="T110" fmla="*/ 275 w 285"/>
                <a:gd name="T11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5" h="162">
                  <a:moveTo>
                    <a:pt x="285" y="125"/>
                  </a:moveTo>
                  <a:lnTo>
                    <a:pt x="285" y="125"/>
                  </a:lnTo>
                  <a:lnTo>
                    <a:pt x="278" y="133"/>
                  </a:lnTo>
                  <a:lnTo>
                    <a:pt x="275" y="135"/>
                  </a:lnTo>
                  <a:lnTo>
                    <a:pt x="272" y="135"/>
                  </a:lnTo>
                  <a:lnTo>
                    <a:pt x="272" y="135"/>
                  </a:lnTo>
                  <a:lnTo>
                    <a:pt x="261" y="128"/>
                  </a:lnTo>
                  <a:lnTo>
                    <a:pt x="256" y="125"/>
                  </a:lnTo>
                  <a:lnTo>
                    <a:pt x="255" y="125"/>
                  </a:lnTo>
                  <a:lnTo>
                    <a:pt x="255" y="125"/>
                  </a:lnTo>
                  <a:lnTo>
                    <a:pt x="255" y="125"/>
                  </a:lnTo>
                  <a:lnTo>
                    <a:pt x="256" y="129"/>
                  </a:lnTo>
                  <a:lnTo>
                    <a:pt x="261" y="133"/>
                  </a:lnTo>
                  <a:lnTo>
                    <a:pt x="264" y="136"/>
                  </a:lnTo>
                  <a:lnTo>
                    <a:pt x="264" y="139"/>
                  </a:lnTo>
                  <a:lnTo>
                    <a:pt x="262" y="141"/>
                  </a:lnTo>
                  <a:lnTo>
                    <a:pt x="262" y="141"/>
                  </a:lnTo>
                  <a:lnTo>
                    <a:pt x="252" y="146"/>
                  </a:lnTo>
                  <a:lnTo>
                    <a:pt x="245" y="151"/>
                  </a:lnTo>
                  <a:lnTo>
                    <a:pt x="240" y="152"/>
                  </a:lnTo>
                  <a:lnTo>
                    <a:pt x="240" y="152"/>
                  </a:lnTo>
                  <a:lnTo>
                    <a:pt x="236" y="151"/>
                  </a:lnTo>
                  <a:lnTo>
                    <a:pt x="233" y="149"/>
                  </a:lnTo>
                  <a:lnTo>
                    <a:pt x="230" y="148"/>
                  </a:lnTo>
                  <a:lnTo>
                    <a:pt x="226" y="148"/>
                  </a:lnTo>
                  <a:lnTo>
                    <a:pt x="226" y="148"/>
                  </a:lnTo>
                  <a:lnTo>
                    <a:pt x="223" y="146"/>
                  </a:lnTo>
                  <a:lnTo>
                    <a:pt x="222" y="143"/>
                  </a:lnTo>
                  <a:lnTo>
                    <a:pt x="220" y="143"/>
                  </a:lnTo>
                  <a:lnTo>
                    <a:pt x="216" y="143"/>
                  </a:lnTo>
                  <a:lnTo>
                    <a:pt x="216" y="143"/>
                  </a:lnTo>
                  <a:lnTo>
                    <a:pt x="212" y="146"/>
                  </a:lnTo>
                  <a:lnTo>
                    <a:pt x="209" y="152"/>
                  </a:lnTo>
                  <a:lnTo>
                    <a:pt x="204" y="157"/>
                  </a:lnTo>
                  <a:lnTo>
                    <a:pt x="200" y="158"/>
                  </a:lnTo>
                  <a:lnTo>
                    <a:pt x="200" y="158"/>
                  </a:lnTo>
                  <a:lnTo>
                    <a:pt x="170" y="162"/>
                  </a:lnTo>
                  <a:lnTo>
                    <a:pt x="170" y="162"/>
                  </a:lnTo>
                  <a:lnTo>
                    <a:pt x="164" y="162"/>
                  </a:lnTo>
                  <a:lnTo>
                    <a:pt x="158" y="161"/>
                  </a:lnTo>
                  <a:lnTo>
                    <a:pt x="146" y="158"/>
                  </a:lnTo>
                  <a:lnTo>
                    <a:pt x="146" y="158"/>
                  </a:lnTo>
                  <a:lnTo>
                    <a:pt x="142" y="155"/>
                  </a:lnTo>
                  <a:lnTo>
                    <a:pt x="136" y="152"/>
                  </a:lnTo>
                  <a:lnTo>
                    <a:pt x="136" y="152"/>
                  </a:lnTo>
                  <a:lnTo>
                    <a:pt x="130" y="152"/>
                  </a:lnTo>
                  <a:lnTo>
                    <a:pt x="129" y="151"/>
                  </a:lnTo>
                  <a:lnTo>
                    <a:pt x="129" y="148"/>
                  </a:lnTo>
                  <a:lnTo>
                    <a:pt x="129" y="148"/>
                  </a:lnTo>
                  <a:lnTo>
                    <a:pt x="128" y="143"/>
                  </a:lnTo>
                  <a:lnTo>
                    <a:pt x="126" y="142"/>
                  </a:lnTo>
                  <a:lnTo>
                    <a:pt x="125" y="141"/>
                  </a:lnTo>
                  <a:lnTo>
                    <a:pt x="125" y="141"/>
                  </a:lnTo>
                  <a:lnTo>
                    <a:pt x="123" y="142"/>
                  </a:lnTo>
                  <a:lnTo>
                    <a:pt x="122" y="143"/>
                  </a:lnTo>
                  <a:lnTo>
                    <a:pt x="120" y="148"/>
                  </a:lnTo>
                  <a:lnTo>
                    <a:pt x="120" y="148"/>
                  </a:lnTo>
                  <a:lnTo>
                    <a:pt x="114" y="151"/>
                  </a:lnTo>
                  <a:lnTo>
                    <a:pt x="107" y="151"/>
                  </a:lnTo>
                  <a:lnTo>
                    <a:pt x="107" y="151"/>
                  </a:lnTo>
                  <a:lnTo>
                    <a:pt x="103" y="149"/>
                  </a:lnTo>
                  <a:lnTo>
                    <a:pt x="99" y="146"/>
                  </a:lnTo>
                  <a:lnTo>
                    <a:pt x="99" y="146"/>
                  </a:lnTo>
                  <a:lnTo>
                    <a:pt x="94" y="141"/>
                  </a:lnTo>
                  <a:lnTo>
                    <a:pt x="94" y="139"/>
                  </a:lnTo>
                  <a:lnTo>
                    <a:pt x="93" y="141"/>
                  </a:lnTo>
                  <a:lnTo>
                    <a:pt x="93" y="141"/>
                  </a:lnTo>
                  <a:lnTo>
                    <a:pt x="91" y="143"/>
                  </a:lnTo>
                  <a:lnTo>
                    <a:pt x="90" y="143"/>
                  </a:lnTo>
                  <a:lnTo>
                    <a:pt x="87" y="145"/>
                  </a:lnTo>
                  <a:lnTo>
                    <a:pt x="87" y="145"/>
                  </a:lnTo>
                  <a:lnTo>
                    <a:pt x="83" y="143"/>
                  </a:lnTo>
                  <a:lnTo>
                    <a:pt x="80" y="141"/>
                  </a:lnTo>
                  <a:lnTo>
                    <a:pt x="77" y="139"/>
                  </a:lnTo>
                  <a:lnTo>
                    <a:pt x="75" y="135"/>
                  </a:lnTo>
                  <a:lnTo>
                    <a:pt x="75" y="135"/>
                  </a:lnTo>
                  <a:lnTo>
                    <a:pt x="77" y="129"/>
                  </a:lnTo>
                  <a:lnTo>
                    <a:pt x="75" y="125"/>
                  </a:lnTo>
                  <a:lnTo>
                    <a:pt x="75" y="125"/>
                  </a:lnTo>
                  <a:lnTo>
                    <a:pt x="74" y="117"/>
                  </a:lnTo>
                  <a:lnTo>
                    <a:pt x="77" y="113"/>
                  </a:lnTo>
                  <a:lnTo>
                    <a:pt x="77" y="113"/>
                  </a:lnTo>
                  <a:lnTo>
                    <a:pt x="78" y="112"/>
                  </a:lnTo>
                  <a:lnTo>
                    <a:pt x="80" y="110"/>
                  </a:lnTo>
                  <a:lnTo>
                    <a:pt x="78" y="109"/>
                  </a:lnTo>
                  <a:lnTo>
                    <a:pt x="78" y="109"/>
                  </a:lnTo>
                  <a:lnTo>
                    <a:pt x="77" y="104"/>
                  </a:lnTo>
                  <a:lnTo>
                    <a:pt x="77" y="101"/>
                  </a:lnTo>
                  <a:lnTo>
                    <a:pt x="77" y="99"/>
                  </a:lnTo>
                  <a:lnTo>
                    <a:pt x="77" y="99"/>
                  </a:lnTo>
                  <a:lnTo>
                    <a:pt x="80" y="88"/>
                  </a:lnTo>
                  <a:lnTo>
                    <a:pt x="81" y="84"/>
                  </a:lnTo>
                  <a:lnTo>
                    <a:pt x="81" y="81"/>
                  </a:lnTo>
                  <a:lnTo>
                    <a:pt x="81" y="81"/>
                  </a:lnTo>
                  <a:lnTo>
                    <a:pt x="78" y="77"/>
                  </a:lnTo>
                  <a:lnTo>
                    <a:pt x="77" y="74"/>
                  </a:lnTo>
                  <a:lnTo>
                    <a:pt x="78" y="71"/>
                  </a:lnTo>
                  <a:lnTo>
                    <a:pt x="78" y="71"/>
                  </a:lnTo>
                  <a:lnTo>
                    <a:pt x="80" y="65"/>
                  </a:lnTo>
                  <a:lnTo>
                    <a:pt x="80" y="62"/>
                  </a:lnTo>
                  <a:lnTo>
                    <a:pt x="80" y="59"/>
                  </a:lnTo>
                  <a:lnTo>
                    <a:pt x="80" y="59"/>
                  </a:lnTo>
                  <a:lnTo>
                    <a:pt x="74" y="55"/>
                  </a:lnTo>
                  <a:lnTo>
                    <a:pt x="68" y="51"/>
                  </a:lnTo>
                  <a:lnTo>
                    <a:pt x="68" y="51"/>
                  </a:lnTo>
                  <a:lnTo>
                    <a:pt x="67" y="49"/>
                  </a:lnTo>
                  <a:lnTo>
                    <a:pt x="65" y="46"/>
                  </a:lnTo>
                  <a:lnTo>
                    <a:pt x="65" y="45"/>
                  </a:lnTo>
                  <a:lnTo>
                    <a:pt x="64" y="45"/>
                  </a:lnTo>
                  <a:lnTo>
                    <a:pt x="64" y="45"/>
                  </a:lnTo>
                  <a:lnTo>
                    <a:pt x="57" y="48"/>
                  </a:lnTo>
                  <a:lnTo>
                    <a:pt x="52" y="51"/>
                  </a:lnTo>
                  <a:lnTo>
                    <a:pt x="49" y="51"/>
                  </a:lnTo>
                  <a:lnTo>
                    <a:pt x="49" y="51"/>
                  </a:lnTo>
                  <a:lnTo>
                    <a:pt x="46" y="51"/>
                  </a:lnTo>
                  <a:lnTo>
                    <a:pt x="42" y="49"/>
                  </a:lnTo>
                  <a:lnTo>
                    <a:pt x="39" y="48"/>
                  </a:lnTo>
                  <a:lnTo>
                    <a:pt x="38" y="48"/>
                  </a:lnTo>
                  <a:lnTo>
                    <a:pt x="38" y="48"/>
                  </a:lnTo>
                  <a:lnTo>
                    <a:pt x="33" y="51"/>
                  </a:lnTo>
                  <a:lnTo>
                    <a:pt x="32" y="52"/>
                  </a:lnTo>
                  <a:lnTo>
                    <a:pt x="30" y="52"/>
                  </a:lnTo>
                  <a:lnTo>
                    <a:pt x="30" y="52"/>
                  </a:lnTo>
                  <a:lnTo>
                    <a:pt x="22" y="41"/>
                  </a:lnTo>
                  <a:lnTo>
                    <a:pt x="13" y="25"/>
                  </a:lnTo>
                  <a:lnTo>
                    <a:pt x="13" y="25"/>
                  </a:lnTo>
                  <a:lnTo>
                    <a:pt x="12" y="22"/>
                  </a:lnTo>
                  <a:lnTo>
                    <a:pt x="9" y="19"/>
                  </a:lnTo>
                  <a:lnTo>
                    <a:pt x="4" y="16"/>
                  </a:lnTo>
                  <a:lnTo>
                    <a:pt x="2" y="12"/>
                  </a:lnTo>
                  <a:lnTo>
                    <a:pt x="2" y="12"/>
                  </a:lnTo>
                  <a:lnTo>
                    <a:pt x="0" y="9"/>
                  </a:lnTo>
                  <a:lnTo>
                    <a:pt x="0" y="7"/>
                  </a:lnTo>
                  <a:lnTo>
                    <a:pt x="0" y="6"/>
                  </a:lnTo>
                  <a:lnTo>
                    <a:pt x="3" y="6"/>
                  </a:lnTo>
                  <a:lnTo>
                    <a:pt x="3" y="6"/>
                  </a:lnTo>
                  <a:lnTo>
                    <a:pt x="4" y="4"/>
                  </a:lnTo>
                  <a:lnTo>
                    <a:pt x="4" y="4"/>
                  </a:lnTo>
                  <a:lnTo>
                    <a:pt x="6" y="3"/>
                  </a:lnTo>
                  <a:lnTo>
                    <a:pt x="9" y="2"/>
                  </a:lnTo>
                  <a:lnTo>
                    <a:pt x="9" y="2"/>
                  </a:lnTo>
                  <a:lnTo>
                    <a:pt x="15" y="0"/>
                  </a:lnTo>
                  <a:lnTo>
                    <a:pt x="20" y="0"/>
                  </a:lnTo>
                  <a:lnTo>
                    <a:pt x="30" y="2"/>
                  </a:lnTo>
                  <a:lnTo>
                    <a:pt x="30" y="2"/>
                  </a:lnTo>
                  <a:lnTo>
                    <a:pt x="35" y="2"/>
                  </a:lnTo>
                  <a:lnTo>
                    <a:pt x="38" y="4"/>
                  </a:lnTo>
                  <a:lnTo>
                    <a:pt x="38" y="4"/>
                  </a:lnTo>
                  <a:lnTo>
                    <a:pt x="39" y="7"/>
                  </a:lnTo>
                  <a:lnTo>
                    <a:pt x="41" y="7"/>
                  </a:lnTo>
                  <a:lnTo>
                    <a:pt x="42" y="7"/>
                  </a:lnTo>
                  <a:lnTo>
                    <a:pt x="42" y="7"/>
                  </a:lnTo>
                  <a:lnTo>
                    <a:pt x="46" y="6"/>
                  </a:lnTo>
                  <a:lnTo>
                    <a:pt x="49" y="9"/>
                  </a:lnTo>
                  <a:lnTo>
                    <a:pt x="49" y="9"/>
                  </a:lnTo>
                  <a:lnTo>
                    <a:pt x="55" y="13"/>
                  </a:lnTo>
                  <a:lnTo>
                    <a:pt x="57" y="16"/>
                  </a:lnTo>
                  <a:lnTo>
                    <a:pt x="58" y="19"/>
                  </a:lnTo>
                  <a:lnTo>
                    <a:pt x="58" y="19"/>
                  </a:lnTo>
                  <a:lnTo>
                    <a:pt x="57" y="26"/>
                  </a:lnTo>
                  <a:lnTo>
                    <a:pt x="57" y="29"/>
                  </a:lnTo>
                  <a:lnTo>
                    <a:pt x="57" y="31"/>
                  </a:lnTo>
                  <a:lnTo>
                    <a:pt x="58" y="29"/>
                  </a:lnTo>
                  <a:lnTo>
                    <a:pt x="58" y="29"/>
                  </a:lnTo>
                  <a:lnTo>
                    <a:pt x="61" y="28"/>
                  </a:lnTo>
                  <a:lnTo>
                    <a:pt x="64" y="28"/>
                  </a:lnTo>
                  <a:lnTo>
                    <a:pt x="71" y="25"/>
                  </a:lnTo>
                  <a:lnTo>
                    <a:pt x="71" y="25"/>
                  </a:lnTo>
                  <a:lnTo>
                    <a:pt x="80" y="25"/>
                  </a:lnTo>
                  <a:lnTo>
                    <a:pt x="86" y="25"/>
                  </a:lnTo>
                  <a:lnTo>
                    <a:pt x="90" y="26"/>
                  </a:lnTo>
                  <a:lnTo>
                    <a:pt x="90" y="26"/>
                  </a:lnTo>
                  <a:lnTo>
                    <a:pt x="93" y="29"/>
                  </a:lnTo>
                  <a:lnTo>
                    <a:pt x="96" y="32"/>
                  </a:lnTo>
                  <a:lnTo>
                    <a:pt x="97" y="33"/>
                  </a:lnTo>
                  <a:lnTo>
                    <a:pt x="97" y="35"/>
                  </a:lnTo>
                  <a:lnTo>
                    <a:pt x="96" y="35"/>
                  </a:lnTo>
                  <a:lnTo>
                    <a:pt x="96" y="35"/>
                  </a:lnTo>
                  <a:lnTo>
                    <a:pt x="88" y="33"/>
                  </a:lnTo>
                  <a:lnTo>
                    <a:pt x="86" y="33"/>
                  </a:lnTo>
                  <a:lnTo>
                    <a:pt x="86" y="33"/>
                  </a:lnTo>
                  <a:lnTo>
                    <a:pt x="90" y="38"/>
                  </a:lnTo>
                  <a:lnTo>
                    <a:pt x="94" y="39"/>
                  </a:lnTo>
                  <a:lnTo>
                    <a:pt x="99" y="41"/>
                  </a:lnTo>
                  <a:lnTo>
                    <a:pt x="99" y="41"/>
                  </a:lnTo>
                  <a:lnTo>
                    <a:pt x="110" y="44"/>
                  </a:lnTo>
                  <a:lnTo>
                    <a:pt x="119" y="48"/>
                  </a:lnTo>
                  <a:lnTo>
                    <a:pt x="119" y="48"/>
                  </a:lnTo>
                  <a:lnTo>
                    <a:pt x="122" y="49"/>
                  </a:lnTo>
                  <a:lnTo>
                    <a:pt x="123" y="52"/>
                  </a:lnTo>
                  <a:lnTo>
                    <a:pt x="122" y="52"/>
                  </a:lnTo>
                  <a:lnTo>
                    <a:pt x="119" y="54"/>
                  </a:lnTo>
                  <a:lnTo>
                    <a:pt x="119" y="54"/>
                  </a:lnTo>
                  <a:lnTo>
                    <a:pt x="112" y="57"/>
                  </a:lnTo>
                  <a:lnTo>
                    <a:pt x="104" y="58"/>
                  </a:lnTo>
                  <a:lnTo>
                    <a:pt x="104" y="58"/>
                  </a:lnTo>
                  <a:lnTo>
                    <a:pt x="99" y="58"/>
                  </a:lnTo>
                  <a:lnTo>
                    <a:pt x="96" y="58"/>
                  </a:lnTo>
                  <a:lnTo>
                    <a:pt x="96" y="58"/>
                  </a:lnTo>
                  <a:lnTo>
                    <a:pt x="96" y="58"/>
                  </a:lnTo>
                  <a:lnTo>
                    <a:pt x="94" y="61"/>
                  </a:lnTo>
                  <a:lnTo>
                    <a:pt x="94" y="62"/>
                  </a:lnTo>
                  <a:lnTo>
                    <a:pt x="96" y="62"/>
                  </a:lnTo>
                  <a:lnTo>
                    <a:pt x="96" y="62"/>
                  </a:lnTo>
                  <a:lnTo>
                    <a:pt x="103" y="62"/>
                  </a:lnTo>
                  <a:lnTo>
                    <a:pt x="104" y="64"/>
                  </a:lnTo>
                  <a:lnTo>
                    <a:pt x="104" y="65"/>
                  </a:lnTo>
                  <a:lnTo>
                    <a:pt x="104" y="65"/>
                  </a:lnTo>
                  <a:lnTo>
                    <a:pt x="100" y="67"/>
                  </a:lnTo>
                  <a:lnTo>
                    <a:pt x="97" y="68"/>
                  </a:lnTo>
                  <a:lnTo>
                    <a:pt x="96" y="70"/>
                  </a:lnTo>
                  <a:lnTo>
                    <a:pt x="96" y="70"/>
                  </a:lnTo>
                  <a:lnTo>
                    <a:pt x="96" y="74"/>
                  </a:lnTo>
                  <a:lnTo>
                    <a:pt x="97" y="74"/>
                  </a:lnTo>
                  <a:lnTo>
                    <a:pt x="100" y="73"/>
                  </a:lnTo>
                  <a:lnTo>
                    <a:pt x="100" y="73"/>
                  </a:lnTo>
                  <a:lnTo>
                    <a:pt x="104" y="71"/>
                  </a:lnTo>
                  <a:lnTo>
                    <a:pt x="109" y="71"/>
                  </a:lnTo>
                  <a:lnTo>
                    <a:pt x="114" y="73"/>
                  </a:lnTo>
                  <a:lnTo>
                    <a:pt x="114" y="73"/>
                  </a:lnTo>
                  <a:lnTo>
                    <a:pt x="117" y="75"/>
                  </a:lnTo>
                  <a:lnTo>
                    <a:pt x="119" y="78"/>
                  </a:lnTo>
                  <a:lnTo>
                    <a:pt x="119" y="78"/>
                  </a:lnTo>
                  <a:lnTo>
                    <a:pt x="123" y="83"/>
                  </a:lnTo>
                  <a:lnTo>
                    <a:pt x="125" y="84"/>
                  </a:lnTo>
                  <a:lnTo>
                    <a:pt x="126" y="86"/>
                  </a:lnTo>
                  <a:lnTo>
                    <a:pt x="126" y="86"/>
                  </a:lnTo>
                  <a:lnTo>
                    <a:pt x="129" y="84"/>
                  </a:lnTo>
                  <a:lnTo>
                    <a:pt x="132" y="84"/>
                  </a:lnTo>
                  <a:lnTo>
                    <a:pt x="133" y="84"/>
                  </a:lnTo>
                  <a:lnTo>
                    <a:pt x="133" y="84"/>
                  </a:lnTo>
                  <a:lnTo>
                    <a:pt x="139" y="90"/>
                  </a:lnTo>
                  <a:lnTo>
                    <a:pt x="143" y="91"/>
                  </a:lnTo>
                  <a:lnTo>
                    <a:pt x="148" y="90"/>
                  </a:lnTo>
                  <a:lnTo>
                    <a:pt x="148" y="90"/>
                  </a:lnTo>
                  <a:lnTo>
                    <a:pt x="151" y="90"/>
                  </a:lnTo>
                  <a:lnTo>
                    <a:pt x="154" y="90"/>
                  </a:lnTo>
                  <a:lnTo>
                    <a:pt x="156" y="91"/>
                  </a:lnTo>
                  <a:lnTo>
                    <a:pt x="161" y="93"/>
                  </a:lnTo>
                  <a:lnTo>
                    <a:pt x="161" y="93"/>
                  </a:lnTo>
                  <a:lnTo>
                    <a:pt x="170" y="93"/>
                  </a:lnTo>
                  <a:lnTo>
                    <a:pt x="175" y="91"/>
                  </a:lnTo>
                  <a:lnTo>
                    <a:pt x="175" y="91"/>
                  </a:lnTo>
                  <a:lnTo>
                    <a:pt x="196" y="81"/>
                  </a:lnTo>
                  <a:lnTo>
                    <a:pt x="196" y="81"/>
                  </a:lnTo>
                  <a:lnTo>
                    <a:pt x="201" y="78"/>
                  </a:lnTo>
                  <a:lnTo>
                    <a:pt x="204" y="78"/>
                  </a:lnTo>
                  <a:lnTo>
                    <a:pt x="206" y="78"/>
                  </a:lnTo>
                  <a:lnTo>
                    <a:pt x="206" y="78"/>
                  </a:lnTo>
                  <a:lnTo>
                    <a:pt x="204" y="83"/>
                  </a:lnTo>
                  <a:lnTo>
                    <a:pt x="204" y="84"/>
                  </a:lnTo>
                  <a:lnTo>
                    <a:pt x="207" y="84"/>
                  </a:lnTo>
                  <a:lnTo>
                    <a:pt x="207" y="84"/>
                  </a:lnTo>
                  <a:lnTo>
                    <a:pt x="216" y="84"/>
                  </a:lnTo>
                  <a:lnTo>
                    <a:pt x="227" y="84"/>
                  </a:lnTo>
                  <a:lnTo>
                    <a:pt x="227" y="84"/>
                  </a:lnTo>
                  <a:lnTo>
                    <a:pt x="235" y="86"/>
                  </a:lnTo>
                  <a:lnTo>
                    <a:pt x="239" y="87"/>
                  </a:lnTo>
                  <a:lnTo>
                    <a:pt x="239" y="87"/>
                  </a:lnTo>
                  <a:lnTo>
                    <a:pt x="243" y="90"/>
                  </a:lnTo>
                  <a:lnTo>
                    <a:pt x="246" y="91"/>
                  </a:lnTo>
                  <a:lnTo>
                    <a:pt x="251" y="91"/>
                  </a:lnTo>
                  <a:lnTo>
                    <a:pt x="251" y="91"/>
                  </a:lnTo>
                  <a:lnTo>
                    <a:pt x="256" y="91"/>
                  </a:lnTo>
                  <a:lnTo>
                    <a:pt x="259" y="91"/>
                  </a:lnTo>
                  <a:lnTo>
                    <a:pt x="262" y="93"/>
                  </a:lnTo>
                  <a:lnTo>
                    <a:pt x="262" y="93"/>
                  </a:lnTo>
                  <a:lnTo>
                    <a:pt x="269" y="99"/>
                  </a:lnTo>
                  <a:lnTo>
                    <a:pt x="272" y="103"/>
                  </a:lnTo>
                  <a:lnTo>
                    <a:pt x="274" y="107"/>
                  </a:lnTo>
                  <a:lnTo>
                    <a:pt x="274" y="107"/>
                  </a:lnTo>
                  <a:lnTo>
                    <a:pt x="274" y="113"/>
                  </a:lnTo>
                  <a:lnTo>
                    <a:pt x="272" y="116"/>
                  </a:lnTo>
                  <a:lnTo>
                    <a:pt x="272" y="117"/>
                  </a:lnTo>
                  <a:lnTo>
                    <a:pt x="272" y="117"/>
                  </a:lnTo>
                  <a:lnTo>
                    <a:pt x="271" y="119"/>
                  </a:lnTo>
                  <a:lnTo>
                    <a:pt x="271" y="120"/>
                  </a:lnTo>
                  <a:lnTo>
                    <a:pt x="272" y="122"/>
                  </a:lnTo>
                  <a:lnTo>
                    <a:pt x="275" y="123"/>
                  </a:lnTo>
                  <a:lnTo>
                    <a:pt x="275" y="123"/>
                  </a:lnTo>
                  <a:lnTo>
                    <a:pt x="282" y="123"/>
                  </a:lnTo>
                  <a:lnTo>
                    <a:pt x="285" y="125"/>
                  </a:lnTo>
                  <a:lnTo>
                    <a:pt x="285" y="12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4" name="Freeform 33"/>
            <p:cNvSpPr>
              <a:spLocks/>
            </p:cNvSpPr>
            <p:nvPr/>
          </p:nvSpPr>
          <p:spPr bwMode="auto">
            <a:xfrm>
              <a:off x="2262188" y="1721279"/>
              <a:ext cx="11113" cy="17463"/>
            </a:xfrm>
            <a:custGeom>
              <a:avLst/>
              <a:gdLst>
                <a:gd name="T0" fmla="*/ 6 w 7"/>
                <a:gd name="T1" fmla="*/ 10 h 11"/>
                <a:gd name="T2" fmla="*/ 6 w 7"/>
                <a:gd name="T3" fmla="*/ 10 h 11"/>
                <a:gd name="T4" fmla="*/ 4 w 7"/>
                <a:gd name="T5" fmla="*/ 11 h 11"/>
                <a:gd name="T6" fmla="*/ 3 w 7"/>
                <a:gd name="T7" fmla="*/ 10 h 11"/>
                <a:gd name="T8" fmla="*/ 0 w 7"/>
                <a:gd name="T9" fmla="*/ 8 h 11"/>
                <a:gd name="T10" fmla="*/ 0 w 7"/>
                <a:gd name="T11" fmla="*/ 5 h 11"/>
                <a:gd name="T12" fmla="*/ 0 w 7"/>
                <a:gd name="T13" fmla="*/ 5 h 11"/>
                <a:gd name="T14" fmla="*/ 0 w 7"/>
                <a:gd name="T15" fmla="*/ 1 h 11"/>
                <a:gd name="T16" fmla="*/ 2 w 7"/>
                <a:gd name="T17" fmla="*/ 0 h 11"/>
                <a:gd name="T18" fmla="*/ 4 w 7"/>
                <a:gd name="T19" fmla="*/ 0 h 11"/>
                <a:gd name="T20" fmla="*/ 4 w 7"/>
                <a:gd name="T21" fmla="*/ 0 h 11"/>
                <a:gd name="T22" fmla="*/ 6 w 7"/>
                <a:gd name="T23" fmla="*/ 1 h 11"/>
                <a:gd name="T24" fmla="*/ 7 w 7"/>
                <a:gd name="T25" fmla="*/ 4 h 11"/>
                <a:gd name="T26" fmla="*/ 6 w 7"/>
                <a:gd name="T2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1">
                  <a:moveTo>
                    <a:pt x="6" y="10"/>
                  </a:moveTo>
                  <a:lnTo>
                    <a:pt x="6" y="10"/>
                  </a:lnTo>
                  <a:lnTo>
                    <a:pt x="4" y="11"/>
                  </a:lnTo>
                  <a:lnTo>
                    <a:pt x="3" y="10"/>
                  </a:lnTo>
                  <a:lnTo>
                    <a:pt x="0" y="8"/>
                  </a:lnTo>
                  <a:lnTo>
                    <a:pt x="0" y="5"/>
                  </a:lnTo>
                  <a:lnTo>
                    <a:pt x="0" y="5"/>
                  </a:lnTo>
                  <a:lnTo>
                    <a:pt x="0" y="1"/>
                  </a:lnTo>
                  <a:lnTo>
                    <a:pt x="2" y="0"/>
                  </a:lnTo>
                  <a:lnTo>
                    <a:pt x="4" y="0"/>
                  </a:lnTo>
                  <a:lnTo>
                    <a:pt x="4" y="0"/>
                  </a:lnTo>
                  <a:lnTo>
                    <a:pt x="6" y="1"/>
                  </a:lnTo>
                  <a:lnTo>
                    <a:pt x="7" y="4"/>
                  </a:lnTo>
                  <a:lnTo>
                    <a:pt x="6" y="10"/>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5" name="Freeform 34"/>
            <p:cNvSpPr>
              <a:spLocks/>
            </p:cNvSpPr>
            <p:nvPr/>
          </p:nvSpPr>
          <p:spPr bwMode="auto">
            <a:xfrm>
              <a:off x="2262188" y="1721279"/>
              <a:ext cx="11113" cy="17463"/>
            </a:xfrm>
            <a:custGeom>
              <a:avLst/>
              <a:gdLst>
                <a:gd name="T0" fmla="*/ 6 w 7"/>
                <a:gd name="T1" fmla="*/ 10 h 11"/>
                <a:gd name="T2" fmla="*/ 6 w 7"/>
                <a:gd name="T3" fmla="*/ 10 h 11"/>
                <a:gd name="T4" fmla="*/ 4 w 7"/>
                <a:gd name="T5" fmla="*/ 11 h 11"/>
                <a:gd name="T6" fmla="*/ 3 w 7"/>
                <a:gd name="T7" fmla="*/ 10 h 11"/>
                <a:gd name="T8" fmla="*/ 0 w 7"/>
                <a:gd name="T9" fmla="*/ 8 h 11"/>
                <a:gd name="T10" fmla="*/ 0 w 7"/>
                <a:gd name="T11" fmla="*/ 5 h 11"/>
                <a:gd name="T12" fmla="*/ 0 w 7"/>
                <a:gd name="T13" fmla="*/ 5 h 11"/>
                <a:gd name="T14" fmla="*/ 0 w 7"/>
                <a:gd name="T15" fmla="*/ 1 h 11"/>
                <a:gd name="T16" fmla="*/ 2 w 7"/>
                <a:gd name="T17" fmla="*/ 0 h 11"/>
                <a:gd name="T18" fmla="*/ 4 w 7"/>
                <a:gd name="T19" fmla="*/ 0 h 11"/>
                <a:gd name="T20" fmla="*/ 4 w 7"/>
                <a:gd name="T21" fmla="*/ 0 h 11"/>
                <a:gd name="T22" fmla="*/ 6 w 7"/>
                <a:gd name="T23" fmla="*/ 1 h 11"/>
                <a:gd name="T24" fmla="*/ 7 w 7"/>
                <a:gd name="T25" fmla="*/ 4 h 11"/>
                <a:gd name="T26" fmla="*/ 6 w 7"/>
                <a:gd name="T2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1">
                  <a:moveTo>
                    <a:pt x="6" y="10"/>
                  </a:moveTo>
                  <a:lnTo>
                    <a:pt x="6" y="10"/>
                  </a:lnTo>
                  <a:lnTo>
                    <a:pt x="4" y="11"/>
                  </a:lnTo>
                  <a:lnTo>
                    <a:pt x="3" y="10"/>
                  </a:lnTo>
                  <a:lnTo>
                    <a:pt x="0" y="8"/>
                  </a:lnTo>
                  <a:lnTo>
                    <a:pt x="0" y="5"/>
                  </a:lnTo>
                  <a:lnTo>
                    <a:pt x="0" y="5"/>
                  </a:lnTo>
                  <a:lnTo>
                    <a:pt x="0" y="1"/>
                  </a:lnTo>
                  <a:lnTo>
                    <a:pt x="2" y="0"/>
                  </a:lnTo>
                  <a:lnTo>
                    <a:pt x="4" y="0"/>
                  </a:lnTo>
                  <a:lnTo>
                    <a:pt x="4" y="0"/>
                  </a:lnTo>
                  <a:lnTo>
                    <a:pt x="6" y="1"/>
                  </a:lnTo>
                  <a:lnTo>
                    <a:pt x="7" y="4"/>
                  </a:lnTo>
                  <a:lnTo>
                    <a:pt x="6"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6" name="Freeform 35"/>
            <p:cNvSpPr>
              <a:spLocks/>
            </p:cNvSpPr>
            <p:nvPr/>
          </p:nvSpPr>
          <p:spPr bwMode="auto">
            <a:xfrm>
              <a:off x="1800225" y="1743504"/>
              <a:ext cx="101600" cy="98425"/>
            </a:xfrm>
            <a:custGeom>
              <a:avLst/>
              <a:gdLst>
                <a:gd name="T0" fmla="*/ 62 w 64"/>
                <a:gd name="T1" fmla="*/ 59 h 62"/>
                <a:gd name="T2" fmla="*/ 51 w 64"/>
                <a:gd name="T3" fmla="*/ 62 h 62"/>
                <a:gd name="T4" fmla="*/ 46 w 64"/>
                <a:gd name="T5" fmla="*/ 61 h 62"/>
                <a:gd name="T6" fmla="*/ 32 w 64"/>
                <a:gd name="T7" fmla="*/ 51 h 62"/>
                <a:gd name="T8" fmla="*/ 29 w 64"/>
                <a:gd name="T9" fmla="*/ 48 h 62"/>
                <a:gd name="T10" fmla="*/ 25 w 64"/>
                <a:gd name="T11" fmla="*/ 41 h 62"/>
                <a:gd name="T12" fmla="*/ 23 w 64"/>
                <a:gd name="T13" fmla="*/ 39 h 62"/>
                <a:gd name="T14" fmla="*/ 19 w 64"/>
                <a:gd name="T15" fmla="*/ 39 h 62"/>
                <a:gd name="T16" fmla="*/ 17 w 64"/>
                <a:gd name="T17" fmla="*/ 38 h 62"/>
                <a:gd name="T18" fmla="*/ 17 w 64"/>
                <a:gd name="T19" fmla="*/ 29 h 62"/>
                <a:gd name="T20" fmla="*/ 20 w 64"/>
                <a:gd name="T21" fmla="*/ 23 h 62"/>
                <a:gd name="T22" fmla="*/ 28 w 64"/>
                <a:gd name="T23" fmla="*/ 19 h 62"/>
                <a:gd name="T24" fmla="*/ 30 w 64"/>
                <a:gd name="T25" fmla="*/ 13 h 62"/>
                <a:gd name="T26" fmla="*/ 29 w 64"/>
                <a:gd name="T27" fmla="*/ 9 h 62"/>
                <a:gd name="T28" fmla="*/ 28 w 64"/>
                <a:gd name="T29" fmla="*/ 7 h 62"/>
                <a:gd name="T30" fmla="*/ 25 w 64"/>
                <a:gd name="T31" fmla="*/ 7 h 62"/>
                <a:gd name="T32" fmla="*/ 20 w 64"/>
                <a:gd name="T33" fmla="*/ 10 h 62"/>
                <a:gd name="T34" fmla="*/ 16 w 64"/>
                <a:gd name="T35" fmla="*/ 16 h 62"/>
                <a:gd name="T36" fmla="*/ 10 w 64"/>
                <a:gd name="T37" fmla="*/ 16 h 62"/>
                <a:gd name="T38" fmla="*/ 1 w 64"/>
                <a:gd name="T39" fmla="*/ 6 h 62"/>
                <a:gd name="T40" fmla="*/ 0 w 64"/>
                <a:gd name="T41" fmla="*/ 3 h 62"/>
                <a:gd name="T42" fmla="*/ 3 w 64"/>
                <a:gd name="T43" fmla="*/ 1 h 62"/>
                <a:gd name="T44" fmla="*/ 7 w 64"/>
                <a:gd name="T45" fmla="*/ 0 h 62"/>
                <a:gd name="T46" fmla="*/ 32 w 64"/>
                <a:gd name="T47" fmla="*/ 0 h 62"/>
                <a:gd name="T48" fmla="*/ 42 w 64"/>
                <a:gd name="T49" fmla="*/ 0 h 62"/>
                <a:gd name="T50" fmla="*/ 51 w 64"/>
                <a:gd name="T51" fmla="*/ 1 h 62"/>
                <a:gd name="T52" fmla="*/ 52 w 64"/>
                <a:gd name="T53" fmla="*/ 4 h 62"/>
                <a:gd name="T54" fmla="*/ 57 w 64"/>
                <a:gd name="T55" fmla="*/ 14 h 62"/>
                <a:gd name="T56" fmla="*/ 59 w 64"/>
                <a:gd name="T57" fmla="*/ 17 h 62"/>
                <a:gd name="T58" fmla="*/ 62 w 64"/>
                <a:gd name="T59" fmla="*/ 25 h 62"/>
                <a:gd name="T60" fmla="*/ 62 w 64"/>
                <a:gd name="T61" fmla="*/ 33 h 62"/>
                <a:gd name="T62" fmla="*/ 61 w 64"/>
                <a:gd name="T63" fmla="*/ 43 h 62"/>
                <a:gd name="T64" fmla="*/ 61 w 64"/>
                <a:gd name="T65" fmla="*/ 46 h 62"/>
                <a:gd name="T66" fmla="*/ 64 w 64"/>
                <a:gd name="T67"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 h="62">
                  <a:moveTo>
                    <a:pt x="62" y="59"/>
                  </a:moveTo>
                  <a:lnTo>
                    <a:pt x="62" y="59"/>
                  </a:lnTo>
                  <a:lnTo>
                    <a:pt x="55" y="62"/>
                  </a:lnTo>
                  <a:lnTo>
                    <a:pt x="51" y="62"/>
                  </a:lnTo>
                  <a:lnTo>
                    <a:pt x="46" y="61"/>
                  </a:lnTo>
                  <a:lnTo>
                    <a:pt x="46" y="61"/>
                  </a:lnTo>
                  <a:lnTo>
                    <a:pt x="39" y="56"/>
                  </a:lnTo>
                  <a:lnTo>
                    <a:pt x="32" y="51"/>
                  </a:lnTo>
                  <a:lnTo>
                    <a:pt x="32" y="51"/>
                  </a:lnTo>
                  <a:lnTo>
                    <a:pt x="29" y="48"/>
                  </a:lnTo>
                  <a:lnTo>
                    <a:pt x="26" y="45"/>
                  </a:lnTo>
                  <a:lnTo>
                    <a:pt x="25" y="41"/>
                  </a:lnTo>
                  <a:lnTo>
                    <a:pt x="23" y="39"/>
                  </a:lnTo>
                  <a:lnTo>
                    <a:pt x="23" y="39"/>
                  </a:lnTo>
                  <a:lnTo>
                    <a:pt x="20" y="41"/>
                  </a:lnTo>
                  <a:lnTo>
                    <a:pt x="19" y="39"/>
                  </a:lnTo>
                  <a:lnTo>
                    <a:pt x="17" y="38"/>
                  </a:lnTo>
                  <a:lnTo>
                    <a:pt x="17" y="38"/>
                  </a:lnTo>
                  <a:lnTo>
                    <a:pt x="17" y="33"/>
                  </a:lnTo>
                  <a:lnTo>
                    <a:pt x="17" y="29"/>
                  </a:lnTo>
                  <a:lnTo>
                    <a:pt x="19" y="25"/>
                  </a:lnTo>
                  <a:lnTo>
                    <a:pt x="20" y="23"/>
                  </a:lnTo>
                  <a:lnTo>
                    <a:pt x="20" y="23"/>
                  </a:lnTo>
                  <a:lnTo>
                    <a:pt x="28" y="19"/>
                  </a:lnTo>
                  <a:lnTo>
                    <a:pt x="29" y="16"/>
                  </a:lnTo>
                  <a:lnTo>
                    <a:pt x="30" y="13"/>
                  </a:lnTo>
                  <a:lnTo>
                    <a:pt x="30" y="13"/>
                  </a:lnTo>
                  <a:lnTo>
                    <a:pt x="29" y="9"/>
                  </a:lnTo>
                  <a:lnTo>
                    <a:pt x="29" y="7"/>
                  </a:lnTo>
                  <a:lnTo>
                    <a:pt x="28" y="7"/>
                  </a:lnTo>
                  <a:lnTo>
                    <a:pt x="28" y="7"/>
                  </a:lnTo>
                  <a:lnTo>
                    <a:pt x="25" y="7"/>
                  </a:lnTo>
                  <a:lnTo>
                    <a:pt x="22" y="9"/>
                  </a:lnTo>
                  <a:lnTo>
                    <a:pt x="20" y="10"/>
                  </a:lnTo>
                  <a:lnTo>
                    <a:pt x="20" y="10"/>
                  </a:lnTo>
                  <a:lnTo>
                    <a:pt x="16" y="16"/>
                  </a:lnTo>
                  <a:lnTo>
                    <a:pt x="13" y="17"/>
                  </a:lnTo>
                  <a:lnTo>
                    <a:pt x="10" y="16"/>
                  </a:lnTo>
                  <a:lnTo>
                    <a:pt x="10" y="16"/>
                  </a:lnTo>
                  <a:lnTo>
                    <a:pt x="1" y="6"/>
                  </a:lnTo>
                  <a:lnTo>
                    <a:pt x="1" y="6"/>
                  </a:lnTo>
                  <a:lnTo>
                    <a:pt x="0" y="3"/>
                  </a:lnTo>
                  <a:lnTo>
                    <a:pt x="0" y="1"/>
                  </a:lnTo>
                  <a:lnTo>
                    <a:pt x="3" y="1"/>
                  </a:lnTo>
                  <a:lnTo>
                    <a:pt x="7" y="0"/>
                  </a:lnTo>
                  <a:lnTo>
                    <a:pt x="7" y="0"/>
                  </a:lnTo>
                  <a:lnTo>
                    <a:pt x="20" y="1"/>
                  </a:lnTo>
                  <a:lnTo>
                    <a:pt x="32" y="0"/>
                  </a:lnTo>
                  <a:lnTo>
                    <a:pt x="32" y="0"/>
                  </a:lnTo>
                  <a:lnTo>
                    <a:pt x="42" y="0"/>
                  </a:lnTo>
                  <a:lnTo>
                    <a:pt x="46" y="0"/>
                  </a:lnTo>
                  <a:lnTo>
                    <a:pt x="51" y="1"/>
                  </a:lnTo>
                  <a:lnTo>
                    <a:pt x="51" y="1"/>
                  </a:lnTo>
                  <a:lnTo>
                    <a:pt x="52" y="4"/>
                  </a:lnTo>
                  <a:lnTo>
                    <a:pt x="55" y="10"/>
                  </a:lnTo>
                  <a:lnTo>
                    <a:pt x="57" y="14"/>
                  </a:lnTo>
                  <a:lnTo>
                    <a:pt x="59" y="17"/>
                  </a:lnTo>
                  <a:lnTo>
                    <a:pt x="59" y="17"/>
                  </a:lnTo>
                  <a:lnTo>
                    <a:pt x="61" y="20"/>
                  </a:lnTo>
                  <a:lnTo>
                    <a:pt x="62" y="25"/>
                  </a:lnTo>
                  <a:lnTo>
                    <a:pt x="62" y="33"/>
                  </a:lnTo>
                  <a:lnTo>
                    <a:pt x="62" y="33"/>
                  </a:lnTo>
                  <a:lnTo>
                    <a:pt x="61" y="41"/>
                  </a:lnTo>
                  <a:lnTo>
                    <a:pt x="61" y="43"/>
                  </a:lnTo>
                  <a:lnTo>
                    <a:pt x="61" y="46"/>
                  </a:lnTo>
                  <a:lnTo>
                    <a:pt x="61" y="46"/>
                  </a:lnTo>
                  <a:lnTo>
                    <a:pt x="64" y="52"/>
                  </a:lnTo>
                  <a:lnTo>
                    <a:pt x="64" y="56"/>
                  </a:lnTo>
                  <a:lnTo>
                    <a:pt x="62" y="59"/>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7" name="Freeform 36"/>
            <p:cNvSpPr>
              <a:spLocks/>
            </p:cNvSpPr>
            <p:nvPr/>
          </p:nvSpPr>
          <p:spPr bwMode="auto">
            <a:xfrm>
              <a:off x="1800225" y="1743504"/>
              <a:ext cx="101600" cy="98425"/>
            </a:xfrm>
            <a:custGeom>
              <a:avLst/>
              <a:gdLst>
                <a:gd name="T0" fmla="*/ 62 w 64"/>
                <a:gd name="T1" fmla="*/ 59 h 62"/>
                <a:gd name="T2" fmla="*/ 51 w 64"/>
                <a:gd name="T3" fmla="*/ 62 h 62"/>
                <a:gd name="T4" fmla="*/ 46 w 64"/>
                <a:gd name="T5" fmla="*/ 61 h 62"/>
                <a:gd name="T6" fmla="*/ 32 w 64"/>
                <a:gd name="T7" fmla="*/ 51 h 62"/>
                <a:gd name="T8" fmla="*/ 29 w 64"/>
                <a:gd name="T9" fmla="*/ 48 h 62"/>
                <a:gd name="T10" fmla="*/ 25 w 64"/>
                <a:gd name="T11" fmla="*/ 41 h 62"/>
                <a:gd name="T12" fmla="*/ 23 w 64"/>
                <a:gd name="T13" fmla="*/ 39 h 62"/>
                <a:gd name="T14" fmla="*/ 19 w 64"/>
                <a:gd name="T15" fmla="*/ 39 h 62"/>
                <a:gd name="T16" fmla="*/ 17 w 64"/>
                <a:gd name="T17" fmla="*/ 38 h 62"/>
                <a:gd name="T18" fmla="*/ 17 w 64"/>
                <a:gd name="T19" fmla="*/ 29 h 62"/>
                <a:gd name="T20" fmla="*/ 20 w 64"/>
                <a:gd name="T21" fmla="*/ 23 h 62"/>
                <a:gd name="T22" fmla="*/ 28 w 64"/>
                <a:gd name="T23" fmla="*/ 19 h 62"/>
                <a:gd name="T24" fmla="*/ 30 w 64"/>
                <a:gd name="T25" fmla="*/ 13 h 62"/>
                <a:gd name="T26" fmla="*/ 29 w 64"/>
                <a:gd name="T27" fmla="*/ 9 h 62"/>
                <a:gd name="T28" fmla="*/ 28 w 64"/>
                <a:gd name="T29" fmla="*/ 7 h 62"/>
                <a:gd name="T30" fmla="*/ 25 w 64"/>
                <a:gd name="T31" fmla="*/ 7 h 62"/>
                <a:gd name="T32" fmla="*/ 20 w 64"/>
                <a:gd name="T33" fmla="*/ 10 h 62"/>
                <a:gd name="T34" fmla="*/ 16 w 64"/>
                <a:gd name="T35" fmla="*/ 16 h 62"/>
                <a:gd name="T36" fmla="*/ 10 w 64"/>
                <a:gd name="T37" fmla="*/ 16 h 62"/>
                <a:gd name="T38" fmla="*/ 1 w 64"/>
                <a:gd name="T39" fmla="*/ 6 h 62"/>
                <a:gd name="T40" fmla="*/ 0 w 64"/>
                <a:gd name="T41" fmla="*/ 3 h 62"/>
                <a:gd name="T42" fmla="*/ 3 w 64"/>
                <a:gd name="T43" fmla="*/ 1 h 62"/>
                <a:gd name="T44" fmla="*/ 7 w 64"/>
                <a:gd name="T45" fmla="*/ 0 h 62"/>
                <a:gd name="T46" fmla="*/ 32 w 64"/>
                <a:gd name="T47" fmla="*/ 0 h 62"/>
                <a:gd name="T48" fmla="*/ 42 w 64"/>
                <a:gd name="T49" fmla="*/ 0 h 62"/>
                <a:gd name="T50" fmla="*/ 51 w 64"/>
                <a:gd name="T51" fmla="*/ 1 h 62"/>
                <a:gd name="T52" fmla="*/ 52 w 64"/>
                <a:gd name="T53" fmla="*/ 4 h 62"/>
                <a:gd name="T54" fmla="*/ 57 w 64"/>
                <a:gd name="T55" fmla="*/ 14 h 62"/>
                <a:gd name="T56" fmla="*/ 59 w 64"/>
                <a:gd name="T57" fmla="*/ 17 h 62"/>
                <a:gd name="T58" fmla="*/ 62 w 64"/>
                <a:gd name="T59" fmla="*/ 25 h 62"/>
                <a:gd name="T60" fmla="*/ 62 w 64"/>
                <a:gd name="T61" fmla="*/ 33 h 62"/>
                <a:gd name="T62" fmla="*/ 61 w 64"/>
                <a:gd name="T63" fmla="*/ 43 h 62"/>
                <a:gd name="T64" fmla="*/ 61 w 64"/>
                <a:gd name="T65" fmla="*/ 46 h 62"/>
                <a:gd name="T66" fmla="*/ 64 w 64"/>
                <a:gd name="T67"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 h="62">
                  <a:moveTo>
                    <a:pt x="62" y="59"/>
                  </a:moveTo>
                  <a:lnTo>
                    <a:pt x="62" y="59"/>
                  </a:lnTo>
                  <a:lnTo>
                    <a:pt x="55" y="62"/>
                  </a:lnTo>
                  <a:lnTo>
                    <a:pt x="51" y="62"/>
                  </a:lnTo>
                  <a:lnTo>
                    <a:pt x="46" y="61"/>
                  </a:lnTo>
                  <a:lnTo>
                    <a:pt x="46" y="61"/>
                  </a:lnTo>
                  <a:lnTo>
                    <a:pt x="39" y="56"/>
                  </a:lnTo>
                  <a:lnTo>
                    <a:pt x="32" y="51"/>
                  </a:lnTo>
                  <a:lnTo>
                    <a:pt x="32" y="51"/>
                  </a:lnTo>
                  <a:lnTo>
                    <a:pt x="29" y="48"/>
                  </a:lnTo>
                  <a:lnTo>
                    <a:pt x="26" y="45"/>
                  </a:lnTo>
                  <a:lnTo>
                    <a:pt x="25" y="41"/>
                  </a:lnTo>
                  <a:lnTo>
                    <a:pt x="23" y="39"/>
                  </a:lnTo>
                  <a:lnTo>
                    <a:pt x="23" y="39"/>
                  </a:lnTo>
                  <a:lnTo>
                    <a:pt x="20" y="41"/>
                  </a:lnTo>
                  <a:lnTo>
                    <a:pt x="19" y="39"/>
                  </a:lnTo>
                  <a:lnTo>
                    <a:pt x="17" y="38"/>
                  </a:lnTo>
                  <a:lnTo>
                    <a:pt x="17" y="38"/>
                  </a:lnTo>
                  <a:lnTo>
                    <a:pt x="17" y="33"/>
                  </a:lnTo>
                  <a:lnTo>
                    <a:pt x="17" y="29"/>
                  </a:lnTo>
                  <a:lnTo>
                    <a:pt x="19" y="25"/>
                  </a:lnTo>
                  <a:lnTo>
                    <a:pt x="20" y="23"/>
                  </a:lnTo>
                  <a:lnTo>
                    <a:pt x="20" y="23"/>
                  </a:lnTo>
                  <a:lnTo>
                    <a:pt x="28" y="19"/>
                  </a:lnTo>
                  <a:lnTo>
                    <a:pt x="29" y="16"/>
                  </a:lnTo>
                  <a:lnTo>
                    <a:pt x="30" y="13"/>
                  </a:lnTo>
                  <a:lnTo>
                    <a:pt x="30" y="13"/>
                  </a:lnTo>
                  <a:lnTo>
                    <a:pt x="29" y="9"/>
                  </a:lnTo>
                  <a:lnTo>
                    <a:pt x="29" y="7"/>
                  </a:lnTo>
                  <a:lnTo>
                    <a:pt x="28" y="7"/>
                  </a:lnTo>
                  <a:lnTo>
                    <a:pt x="28" y="7"/>
                  </a:lnTo>
                  <a:lnTo>
                    <a:pt x="25" y="7"/>
                  </a:lnTo>
                  <a:lnTo>
                    <a:pt x="22" y="9"/>
                  </a:lnTo>
                  <a:lnTo>
                    <a:pt x="20" y="10"/>
                  </a:lnTo>
                  <a:lnTo>
                    <a:pt x="20" y="10"/>
                  </a:lnTo>
                  <a:lnTo>
                    <a:pt x="16" y="16"/>
                  </a:lnTo>
                  <a:lnTo>
                    <a:pt x="13" y="17"/>
                  </a:lnTo>
                  <a:lnTo>
                    <a:pt x="10" y="16"/>
                  </a:lnTo>
                  <a:lnTo>
                    <a:pt x="10" y="16"/>
                  </a:lnTo>
                  <a:lnTo>
                    <a:pt x="1" y="6"/>
                  </a:lnTo>
                  <a:lnTo>
                    <a:pt x="1" y="6"/>
                  </a:lnTo>
                  <a:lnTo>
                    <a:pt x="0" y="3"/>
                  </a:lnTo>
                  <a:lnTo>
                    <a:pt x="0" y="1"/>
                  </a:lnTo>
                  <a:lnTo>
                    <a:pt x="3" y="1"/>
                  </a:lnTo>
                  <a:lnTo>
                    <a:pt x="7" y="0"/>
                  </a:lnTo>
                  <a:lnTo>
                    <a:pt x="7" y="0"/>
                  </a:lnTo>
                  <a:lnTo>
                    <a:pt x="20" y="1"/>
                  </a:lnTo>
                  <a:lnTo>
                    <a:pt x="32" y="0"/>
                  </a:lnTo>
                  <a:lnTo>
                    <a:pt x="32" y="0"/>
                  </a:lnTo>
                  <a:lnTo>
                    <a:pt x="42" y="0"/>
                  </a:lnTo>
                  <a:lnTo>
                    <a:pt x="46" y="0"/>
                  </a:lnTo>
                  <a:lnTo>
                    <a:pt x="51" y="1"/>
                  </a:lnTo>
                  <a:lnTo>
                    <a:pt x="51" y="1"/>
                  </a:lnTo>
                  <a:lnTo>
                    <a:pt x="52" y="4"/>
                  </a:lnTo>
                  <a:lnTo>
                    <a:pt x="55" y="10"/>
                  </a:lnTo>
                  <a:lnTo>
                    <a:pt x="57" y="14"/>
                  </a:lnTo>
                  <a:lnTo>
                    <a:pt x="59" y="17"/>
                  </a:lnTo>
                  <a:lnTo>
                    <a:pt x="59" y="17"/>
                  </a:lnTo>
                  <a:lnTo>
                    <a:pt x="61" y="20"/>
                  </a:lnTo>
                  <a:lnTo>
                    <a:pt x="62" y="25"/>
                  </a:lnTo>
                  <a:lnTo>
                    <a:pt x="62" y="33"/>
                  </a:lnTo>
                  <a:lnTo>
                    <a:pt x="62" y="33"/>
                  </a:lnTo>
                  <a:lnTo>
                    <a:pt x="61" y="41"/>
                  </a:lnTo>
                  <a:lnTo>
                    <a:pt x="61" y="43"/>
                  </a:lnTo>
                  <a:lnTo>
                    <a:pt x="61" y="46"/>
                  </a:lnTo>
                  <a:lnTo>
                    <a:pt x="61" y="46"/>
                  </a:lnTo>
                  <a:lnTo>
                    <a:pt x="64" y="52"/>
                  </a:lnTo>
                  <a:lnTo>
                    <a:pt x="64" y="56"/>
                  </a:lnTo>
                  <a:lnTo>
                    <a:pt x="62" y="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8" name="Freeform 37"/>
            <p:cNvSpPr>
              <a:spLocks/>
            </p:cNvSpPr>
            <p:nvPr/>
          </p:nvSpPr>
          <p:spPr bwMode="auto">
            <a:xfrm>
              <a:off x="1616075" y="1754616"/>
              <a:ext cx="25400" cy="34925"/>
            </a:xfrm>
            <a:custGeom>
              <a:avLst/>
              <a:gdLst>
                <a:gd name="T0" fmla="*/ 7 w 16"/>
                <a:gd name="T1" fmla="*/ 22 h 22"/>
                <a:gd name="T2" fmla="*/ 7 w 16"/>
                <a:gd name="T3" fmla="*/ 22 h 22"/>
                <a:gd name="T4" fmla="*/ 6 w 16"/>
                <a:gd name="T5" fmla="*/ 22 h 22"/>
                <a:gd name="T6" fmla="*/ 5 w 16"/>
                <a:gd name="T7" fmla="*/ 19 h 22"/>
                <a:gd name="T8" fmla="*/ 5 w 16"/>
                <a:gd name="T9" fmla="*/ 16 h 22"/>
                <a:gd name="T10" fmla="*/ 3 w 16"/>
                <a:gd name="T11" fmla="*/ 16 h 22"/>
                <a:gd name="T12" fmla="*/ 3 w 16"/>
                <a:gd name="T13" fmla="*/ 16 h 22"/>
                <a:gd name="T14" fmla="*/ 3 w 16"/>
                <a:gd name="T15" fmla="*/ 16 h 22"/>
                <a:gd name="T16" fmla="*/ 2 w 16"/>
                <a:gd name="T17" fmla="*/ 18 h 22"/>
                <a:gd name="T18" fmla="*/ 0 w 16"/>
                <a:gd name="T19" fmla="*/ 19 h 22"/>
                <a:gd name="T20" fmla="*/ 0 w 16"/>
                <a:gd name="T21" fmla="*/ 16 h 22"/>
                <a:gd name="T22" fmla="*/ 0 w 16"/>
                <a:gd name="T23" fmla="*/ 16 h 22"/>
                <a:gd name="T24" fmla="*/ 0 w 16"/>
                <a:gd name="T25" fmla="*/ 13 h 22"/>
                <a:gd name="T26" fmla="*/ 0 w 16"/>
                <a:gd name="T27" fmla="*/ 7 h 22"/>
                <a:gd name="T28" fmla="*/ 3 w 16"/>
                <a:gd name="T29" fmla="*/ 3 h 22"/>
                <a:gd name="T30" fmla="*/ 5 w 16"/>
                <a:gd name="T31" fmla="*/ 0 h 22"/>
                <a:gd name="T32" fmla="*/ 5 w 16"/>
                <a:gd name="T33" fmla="*/ 0 h 22"/>
                <a:gd name="T34" fmla="*/ 6 w 16"/>
                <a:gd name="T35" fmla="*/ 0 h 22"/>
                <a:gd name="T36" fmla="*/ 7 w 16"/>
                <a:gd name="T37" fmla="*/ 0 h 22"/>
                <a:gd name="T38" fmla="*/ 10 w 16"/>
                <a:gd name="T39" fmla="*/ 3 h 22"/>
                <a:gd name="T40" fmla="*/ 10 w 16"/>
                <a:gd name="T41" fmla="*/ 3 h 22"/>
                <a:gd name="T42" fmla="*/ 13 w 16"/>
                <a:gd name="T43" fmla="*/ 5 h 22"/>
                <a:gd name="T44" fmla="*/ 15 w 16"/>
                <a:gd name="T45" fmla="*/ 7 h 22"/>
                <a:gd name="T46" fmla="*/ 16 w 16"/>
                <a:gd name="T47" fmla="*/ 12 h 22"/>
                <a:gd name="T48" fmla="*/ 16 w 16"/>
                <a:gd name="T49" fmla="*/ 13 h 22"/>
                <a:gd name="T50" fmla="*/ 16 w 16"/>
                <a:gd name="T51" fmla="*/ 13 h 22"/>
                <a:gd name="T52" fmla="*/ 12 w 16"/>
                <a:gd name="T53" fmla="*/ 19 h 22"/>
                <a:gd name="T54" fmla="*/ 7 w 16"/>
                <a:gd name="T5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2">
                  <a:moveTo>
                    <a:pt x="7" y="22"/>
                  </a:moveTo>
                  <a:lnTo>
                    <a:pt x="7" y="22"/>
                  </a:lnTo>
                  <a:lnTo>
                    <a:pt x="6" y="22"/>
                  </a:lnTo>
                  <a:lnTo>
                    <a:pt x="5" y="19"/>
                  </a:lnTo>
                  <a:lnTo>
                    <a:pt x="5" y="16"/>
                  </a:lnTo>
                  <a:lnTo>
                    <a:pt x="3" y="16"/>
                  </a:lnTo>
                  <a:lnTo>
                    <a:pt x="3" y="16"/>
                  </a:lnTo>
                  <a:lnTo>
                    <a:pt x="3" y="16"/>
                  </a:lnTo>
                  <a:lnTo>
                    <a:pt x="2" y="18"/>
                  </a:lnTo>
                  <a:lnTo>
                    <a:pt x="0" y="19"/>
                  </a:lnTo>
                  <a:lnTo>
                    <a:pt x="0" y="16"/>
                  </a:lnTo>
                  <a:lnTo>
                    <a:pt x="0" y="16"/>
                  </a:lnTo>
                  <a:lnTo>
                    <a:pt x="0" y="13"/>
                  </a:lnTo>
                  <a:lnTo>
                    <a:pt x="0" y="7"/>
                  </a:lnTo>
                  <a:lnTo>
                    <a:pt x="3" y="3"/>
                  </a:lnTo>
                  <a:lnTo>
                    <a:pt x="5" y="0"/>
                  </a:lnTo>
                  <a:lnTo>
                    <a:pt x="5" y="0"/>
                  </a:lnTo>
                  <a:lnTo>
                    <a:pt x="6" y="0"/>
                  </a:lnTo>
                  <a:lnTo>
                    <a:pt x="7" y="0"/>
                  </a:lnTo>
                  <a:lnTo>
                    <a:pt x="10" y="3"/>
                  </a:lnTo>
                  <a:lnTo>
                    <a:pt x="10" y="3"/>
                  </a:lnTo>
                  <a:lnTo>
                    <a:pt x="13" y="5"/>
                  </a:lnTo>
                  <a:lnTo>
                    <a:pt x="15" y="7"/>
                  </a:lnTo>
                  <a:lnTo>
                    <a:pt x="16" y="12"/>
                  </a:lnTo>
                  <a:lnTo>
                    <a:pt x="16" y="13"/>
                  </a:lnTo>
                  <a:lnTo>
                    <a:pt x="16" y="13"/>
                  </a:lnTo>
                  <a:lnTo>
                    <a:pt x="12" y="19"/>
                  </a:lnTo>
                  <a:lnTo>
                    <a:pt x="7" y="22"/>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9" name="Freeform 38"/>
            <p:cNvSpPr>
              <a:spLocks/>
            </p:cNvSpPr>
            <p:nvPr/>
          </p:nvSpPr>
          <p:spPr bwMode="auto">
            <a:xfrm>
              <a:off x="1616075" y="1754616"/>
              <a:ext cx="25400" cy="34925"/>
            </a:xfrm>
            <a:custGeom>
              <a:avLst/>
              <a:gdLst>
                <a:gd name="T0" fmla="*/ 7 w 16"/>
                <a:gd name="T1" fmla="*/ 22 h 22"/>
                <a:gd name="T2" fmla="*/ 7 w 16"/>
                <a:gd name="T3" fmla="*/ 22 h 22"/>
                <a:gd name="T4" fmla="*/ 6 w 16"/>
                <a:gd name="T5" fmla="*/ 22 h 22"/>
                <a:gd name="T6" fmla="*/ 5 w 16"/>
                <a:gd name="T7" fmla="*/ 19 h 22"/>
                <a:gd name="T8" fmla="*/ 5 w 16"/>
                <a:gd name="T9" fmla="*/ 16 h 22"/>
                <a:gd name="T10" fmla="*/ 3 w 16"/>
                <a:gd name="T11" fmla="*/ 16 h 22"/>
                <a:gd name="T12" fmla="*/ 3 w 16"/>
                <a:gd name="T13" fmla="*/ 16 h 22"/>
                <a:gd name="T14" fmla="*/ 3 w 16"/>
                <a:gd name="T15" fmla="*/ 16 h 22"/>
                <a:gd name="T16" fmla="*/ 2 w 16"/>
                <a:gd name="T17" fmla="*/ 18 h 22"/>
                <a:gd name="T18" fmla="*/ 0 w 16"/>
                <a:gd name="T19" fmla="*/ 19 h 22"/>
                <a:gd name="T20" fmla="*/ 0 w 16"/>
                <a:gd name="T21" fmla="*/ 16 h 22"/>
                <a:gd name="T22" fmla="*/ 0 w 16"/>
                <a:gd name="T23" fmla="*/ 16 h 22"/>
                <a:gd name="T24" fmla="*/ 0 w 16"/>
                <a:gd name="T25" fmla="*/ 13 h 22"/>
                <a:gd name="T26" fmla="*/ 0 w 16"/>
                <a:gd name="T27" fmla="*/ 7 h 22"/>
                <a:gd name="T28" fmla="*/ 3 w 16"/>
                <a:gd name="T29" fmla="*/ 3 h 22"/>
                <a:gd name="T30" fmla="*/ 5 w 16"/>
                <a:gd name="T31" fmla="*/ 0 h 22"/>
                <a:gd name="T32" fmla="*/ 5 w 16"/>
                <a:gd name="T33" fmla="*/ 0 h 22"/>
                <a:gd name="T34" fmla="*/ 6 w 16"/>
                <a:gd name="T35" fmla="*/ 0 h 22"/>
                <a:gd name="T36" fmla="*/ 7 w 16"/>
                <a:gd name="T37" fmla="*/ 0 h 22"/>
                <a:gd name="T38" fmla="*/ 10 w 16"/>
                <a:gd name="T39" fmla="*/ 3 h 22"/>
                <a:gd name="T40" fmla="*/ 10 w 16"/>
                <a:gd name="T41" fmla="*/ 3 h 22"/>
                <a:gd name="T42" fmla="*/ 13 w 16"/>
                <a:gd name="T43" fmla="*/ 5 h 22"/>
                <a:gd name="T44" fmla="*/ 15 w 16"/>
                <a:gd name="T45" fmla="*/ 7 h 22"/>
                <a:gd name="T46" fmla="*/ 16 w 16"/>
                <a:gd name="T47" fmla="*/ 12 h 22"/>
                <a:gd name="T48" fmla="*/ 16 w 16"/>
                <a:gd name="T49" fmla="*/ 13 h 22"/>
                <a:gd name="T50" fmla="*/ 16 w 16"/>
                <a:gd name="T51" fmla="*/ 13 h 22"/>
                <a:gd name="T52" fmla="*/ 12 w 16"/>
                <a:gd name="T53" fmla="*/ 19 h 22"/>
                <a:gd name="T54" fmla="*/ 7 w 16"/>
                <a:gd name="T5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2">
                  <a:moveTo>
                    <a:pt x="7" y="22"/>
                  </a:moveTo>
                  <a:lnTo>
                    <a:pt x="7" y="22"/>
                  </a:lnTo>
                  <a:lnTo>
                    <a:pt x="6" y="22"/>
                  </a:lnTo>
                  <a:lnTo>
                    <a:pt x="5" y="19"/>
                  </a:lnTo>
                  <a:lnTo>
                    <a:pt x="5" y="16"/>
                  </a:lnTo>
                  <a:lnTo>
                    <a:pt x="3" y="16"/>
                  </a:lnTo>
                  <a:lnTo>
                    <a:pt x="3" y="16"/>
                  </a:lnTo>
                  <a:lnTo>
                    <a:pt x="3" y="16"/>
                  </a:lnTo>
                  <a:lnTo>
                    <a:pt x="2" y="18"/>
                  </a:lnTo>
                  <a:lnTo>
                    <a:pt x="0" y="19"/>
                  </a:lnTo>
                  <a:lnTo>
                    <a:pt x="0" y="16"/>
                  </a:lnTo>
                  <a:lnTo>
                    <a:pt x="0" y="16"/>
                  </a:lnTo>
                  <a:lnTo>
                    <a:pt x="0" y="13"/>
                  </a:lnTo>
                  <a:lnTo>
                    <a:pt x="0" y="7"/>
                  </a:lnTo>
                  <a:lnTo>
                    <a:pt x="3" y="3"/>
                  </a:lnTo>
                  <a:lnTo>
                    <a:pt x="5" y="0"/>
                  </a:lnTo>
                  <a:lnTo>
                    <a:pt x="5" y="0"/>
                  </a:lnTo>
                  <a:lnTo>
                    <a:pt x="6" y="0"/>
                  </a:lnTo>
                  <a:lnTo>
                    <a:pt x="7" y="0"/>
                  </a:lnTo>
                  <a:lnTo>
                    <a:pt x="10" y="3"/>
                  </a:lnTo>
                  <a:lnTo>
                    <a:pt x="10" y="3"/>
                  </a:lnTo>
                  <a:lnTo>
                    <a:pt x="13" y="5"/>
                  </a:lnTo>
                  <a:lnTo>
                    <a:pt x="15" y="7"/>
                  </a:lnTo>
                  <a:lnTo>
                    <a:pt x="16" y="12"/>
                  </a:lnTo>
                  <a:lnTo>
                    <a:pt x="16" y="13"/>
                  </a:lnTo>
                  <a:lnTo>
                    <a:pt x="16" y="13"/>
                  </a:lnTo>
                  <a:lnTo>
                    <a:pt x="12" y="19"/>
                  </a:lnTo>
                  <a:lnTo>
                    <a:pt x="7"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0" name="Freeform 39"/>
            <p:cNvSpPr>
              <a:spLocks/>
            </p:cNvSpPr>
            <p:nvPr/>
          </p:nvSpPr>
          <p:spPr bwMode="auto">
            <a:xfrm>
              <a:off x="1600200" y="1629204"/>
              <a:ext cx="195263" cy="174625"/>
            </a:xfrm>
            <a:custGeom>
              <a:avLst/>
              <a:gdLst>
                <a:gd name="T0" fmla="*/ 78 w 123"/>
                <a:gd name="T1" fmla="*/ 104 h 110"/>
                <a:gd name="T2" fmla="*/ 72 w 123"/>
                <a:gd name="T3" fmla="*/ 91 h 110"/>
                <a:gd name="T4" fmla="*/ 68 w 123"/>
                <a:gd name="T5" fmla="*/ 85 h 110"/>
                <a:gd name="T6" fmla="*/ 74 w 123"/>
                <a:gd name="T7" fmla="*/ 79 h 110"/>
                <a:gd name="T8" fmla="*/ 68 w 123"/>
                <a:gd name="T9" fmla="*/ 76 h 110"/>
                <a:gd name="T10" fmla="*/ 61 w 123"/>
                <a:gd name="T11" fmla="*/ 76 h 110"/>
                <a:gd name="T12" fmla="*/ 52 w 123"/>
                <a:gd name="T13" fmla="*/ 75 h 110"/>
                <a:gd name="T14" fmla="*/ 39 w 123"/>
                <a:gd name="T15" fmla="*/ 73 h 110"/>
                <a:gd name="T16" fmla="*/ 42 w 123"/>
                <a:gd name="T17" fmla="*/ 68 h 110"/>
                <a:gd name="T18" fmla="*/ 42 w 123"/>
                <a:gd name="T19" fmla="*/ 63 h 110"/>
                <a:gd name="T20" fmla="*/ 25 w 123"/>
                <a:gd name="T21" fmla="*/ 63 h 110"/>
                <a:gd name="T22" fmla="*/ 30 w 123"/>
                <a:gd name="T23" fmla="*/ 53 h 110"/>
                <a:gd name="T24" fmla="*/ 29 w 123"/>
                <a:gd name="T25" fmla="*/ 44 h 110"/>
                <a:gd name="T26" fmla="*/ 20 w 123"/>
                <a:gd name="T27" fmla="*/ 43 h 110"/>
                <a:gd name="T28" fmla="*/ 19 w 123"/>
                <a:gd name="T29" fmla="*/ 31 h 110"/>
                <a:gd name="T30" fmla="*/ 3 w 123"/>
                <a:gd name="T31" fmla="*/ 24 h 110"/>
                <a:gd name="T32" fmla="*/ 3 w 123"/>
                <a:gd name="T33" fmla="*/ 13 h 110"/>
                <a:gd name="T34" fmla="*/ 1 w 123"/>
                <a:gd name="T35" fmla="*/ 8 h 110"/>
                <a:gd name="T36" fmla="*/ 15 w 123"/>
                <a:gd name="T37" fmla="*/ 1 h 110"/>
                <a:gd name="T38" fmla="*/ 28 w 123"/>
                <a:gd name="T39" fmla="*/ 8 h 110"/>
                <a:gd name="T40" fmla="*/ 41 w 123"/>
                <a:gd name="T41" fmla="*/ 20 h 110"/>
                <a:gd name="T42" fmla="*/ 43 w 123"/>
                <a:gd name="T43" fmla="*/ 27 h 110"/>
                <a:gd name="T44" fmla="*/ 46 w 123"/>
                <a:gd name="T45" fmla="*/ 42 h 110"/>
                <a:gd name="T46" fmla="*/ 54 w 123"/>
                <a:gd name="T47" fmla="*/ 46 h 110"/>
                <a:gd name="T48" fmla="*/ 62 w 123"/>
                <a:gd name="T49" fmla="*/ 47 h 110"/>
                <a:gd name="T50" fmla="*/ 57 w 123"/>
                <a:gd name="T51" fmla="*/ 36 h 110"/>
                <a:gd name="T52" fmla="*/ 51 w 123"/>
                <a:gd name="T53" fmla="*/ 27 h 110"/>
                <a:gd name="T54" fmla="*/ 54 w 123"/>
                <a:gd name="T55" fmla="*/ 16 h 110"/>
                <a:gd name="T56" fmla="*/ 67 w 123"/>
                <a:gd name="T57" fmla="*/ 17 h 110"/>
                <a:gd name="T58" fmla="*/ 67 w 123"/>
                <a:gd name="T59" fmla="*/ 31 h 110"/>
                <a:gd name="T60" fmla="*/ 77 w 123"/>
                <a:gd name="T61" fmla="*/ 42 h 110"/>
                <a:gd name="T62" fmla="*/ 87 w 123"/>
                <a:gd name="T63" fmla="*/ 43 h 110"/>
                <a:gd name="T64" fmla="*/ 90 w 123"/>
                <a:gd name="T65" fmla="*/ 34 h 110"/>
                <a:gd name="T66" fmla="*/ 85 w 123"/>
                <a:gd name="T67" fmla="*/ 29 h 110"/>
                <a:gd name="T68" fmla="*/ 74 w 123"/>
                <a:gd name="T69" fmla="*/ 27 h 110"/>
                <a:gd name="T70" fmla="*/ 74 w 123"/>
                <a:gd name="T71" fmla="*/ 10 h 110"/>
                <a:gd name="T72" fmla="*/ 84 w 123"/>
                <a:gd name="T73" fmla="*/ 7 h 110"/>
                <a:gd name="T74" fmla="*/ 88 w 123"/>
                <a:gd name="T75" fmla="*/ 0 h 110"/>
                <a:gd name="T76" fmla="*/ 93 w 123"/>
                <a:gd name="T77" fmla="*/ 5 h 110"/>
                <a:gd name="T78" fmla="*/ 101 w 123"/>
                <a:gd name="T79" fmla="*/ 11 h 110"/>
                <a:gd name="T80" fmla="*/ 103 w 123"/>
                <a:gd name="T81" fmla="*/ 8 h 110"/>
                <a:gd name="T82" fmla="*/ 107 w 123"/>
                <a:gd name="T83" fmla="*/ 4 h 110"/>
                <a:gd name="T84" fmla="*/ 116 w 123"/>
                <a:gd name="T85" fmla="*/ 4 h 110"/>
                <a:gd name="T86" fmla="*/ 114 w 123"/>
                <a:gd name="T87" fmla="*/ 10 h 110"/>
                <a:gd name="T88" fmla="*/ 122 w 123"/>
                <a:gd name="T89" fmla="*/ 13 h 110"/>
                <a:gd name="T90" fmla="*/ 122 w 123"/>
                <a:gd name="T91" fmla="*/ 30 h 110"/>
                <a:gd name="T92" fmla="*/ 122 w 123"/>
                <a:gd name="T93" fmla="*/ 52 h 110"/>
                <a:gd name="T94" fmla="*/ 119 w 123"/>
                <a:gd name="T95" fmla="*/ 65 h 110"/>
                <a:gd name="T96" fmla="*/ 122 w 123"/>
                <a:gd name="T97" fmla="*/ 71 h 110"/>
                <a:gd name="T98" fmla="*/ 117 w 123"/>
                <a:gd name="T99" fmla="*/ 84 h 110"/>
                <a:gd name="T100" fmla="*/ 120 w 123"/>
                <a:gd name="T101" fmla="*/ 97 h 110"/>
                <a:gd name="T102" fmla="*/ 120 w 123"/>
                <a:gd name="T103" fmla="*/ 105 h 110"/>
                <a:gd name="T104" fmla="*/ 113 w 123"/>
                <a:gd name="T105" fmla="*/ 110 h 110"/>
                <a:gd name="T106" fmla="*/ 99 w 123"/>
                <a:gd name="T107"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 h="110">
                  <a:moveTo>
                    <a:pt x="91" y="108"/>
                  </a:moveTo>
                  <a:lnTo>
                    <a:pt x="91" y="108"/>
                  </a:lnTo>
                  <a:lnTo>
                    <a:pt x="81" y="105"/>
                  </a:lnTo>
                  <a:lnTo>
                    <a:pt x="78" y="104"/>
                  </a:lnTo>
                  <a:lnTo>
                    <a:pt x="77" y="100"/>
                  </a:lnTo>
                  <a:lnTo>
                    <a:pt x="77" y="100"/>
                  </a:lnTo>
                  <a:lnTo>
                    <a:pt x="75" y="94"/>
                  </a:lnTo>
                  <a:lnTo>
                    <a:pt x="72" y="91"/>
                  </a:lnTo>
                  <a:lnTo>
                    <a:pt x="72" y="91"/>
                  </a:lnTo>
                  <a:lnTo>
                    <a:pt x="68" y="86"/>
                  </a:lnTo>
                  <a:lnTo>
                    <a:pt x="67" y="85"/>
                  </a:lnTo>
                  <a:lnTo>
                    <a:pt x="68" y="85"/>
                  </a:lnTo>
                  <a:lnTo>
                    <a:pt x="68" y="85"/>
                  </a:lnTo>
                  <a:lnTo>
                    <a:pt x="71" y="84"/>
                  </a:lnTo>
                  <a:lnTo>
                    <a:pt x="72" y="82"/>
                  </a:lnTo>
                  <a:lnTo>
                    <a:pt x="74" y="79"/>
                  </a:lnTo>
                  <a:lnTo>
                    <a:pt x="72" y="79"/>
                  </a:lnTo>
                  <a:lnTo>
                    <a:pt x="72" y="79"/>
                  </a:lnTo>
                  <a:lnTo>
                    <a:pt x="71" y="78"/>
                  </a:lnTo>
                  <a:lnTo>
                    <a:pt x="68" y="76"/>
                  </a:lnTo>
                  <a:lnTo>
                    <a:pt x="67" y="75"/>
                  </a:lnTo>
                  <a:lnTo>
                    <a:pt x="64" y="75"/>
                  </a:lnTo>
                  <a:lnTo>
                    <a:pt x="64" y="75"/>
                  </a:lnTo>
                  <a:lnTo>
                    <a:pt x="61" y="76"/>
                  </a:lnTo>
                  <a:lnTo>
                    <a:pt x="58" y="78"/>
                  </a:lnTo>
                  <a:lnTo>
                    <a:pt x="57" y="78"/>
                  </a:lnTo>
                  <a:lnTo>
                    <a:pt x="57" y="78"/>
                  </a:lnTo>
                  <a:lnTo>
                    <a:pt x="52" y="75"/>
                  </a:lnTo>
                  <a:lnTo>
                    <a:pt x="48" y="73"/>
                  </a:lnTo>
                  <a:lnTo>
                    <a:pt x="48" y="73"/>
                  </a:lnTo>
                  <a:lnTo>
                    <a:pt x="42" y="73"/>
                  </a:lnTo>
                  <a:lnTo>
                    <a:pt x="39" y="73"/>
                  </a:lnTo>
                  <a:lnTo>
                    <a:pt x="39" y="73"/>
                  </a:lnTo>
                  <a:lnTo>
                    <a:pt x="39" y="73"/>
                  </a:lnTo>
                  <a:lnTo>
                    <a:pt x="41" y="71"/>
                  </a:lnTo>
                  <a:lnTo>
                    <a:pt x="42" y="68"/>
                  </a:lnTo>
                  <a:lnTo>
                    <a:pt x="43" y="65"/>
                  </a:lnTo>
                  <a:lnTo>
                    <a:pt x="43" y="63"/>
                  </a:lnTo>
                  <a:lnTo>
                    <a:pt x="42" y="63"/>
                  </a:lnTo>
                  <a:lnTo>
                    <a:pt x="42" y="63"/>
                  </a:lnTo>
                  <a:lnTo>
                    <a:pt x="32" y="65"/>
                  </a:lnTo>
                  <a:lnTo>
                    <a:pt x="26" y="65"/>
                  </a:lnTo>
                  <a:lnTo>
                    <a:pt x="25" y="63"/>
                  </a:lnTo>
                  <a:lnTo>
                    <a:pt x="25" y="63"/>
                  </a:lnTo>
                  <a:lnTo>
                    <a:pt x="25" y="63"/>
                  </a:lnTo>
                  <a:lnTo>
                    <a:pt x="26" y="58"/>
                  </a:lnTo>
                  <a:lnTo>
                    <a:pt x="28" y="55"/>
                  </a:lnTo>
                  <a:lnTo>
                    <a:pt x="30" y="53"/>
                  </a:lnTo>
                  <a:lnTo>
                    <a:pt x="30" y="53"/>
                  </a:lnTo>
                  <a:lnTo>
                    <a:pt x="30" y="50"/>
                  </a:lnTo>
                  <a:lnTo>
                    <a:pt x="30" y="47"/>
                  </a:lnTo>
                  <a:lnTo>
                    <a:pt x="29" y="44"/>
                  </a:lnTo>
                  <a:lnTo>
                    <a:pt x="28" y="43"/>
                  </a:lnTo>
                  <a:lnTo>
                    <a:pt x="28" y="43"/>
                  </a:lnTo>
                  <a:lnTo>
                    <a:pt x="23" y="43"/>
                  </a:lnTo>
                  <a:lnTo>
                    <a:pt x="20" y="43"/>
                  </a:lnTo>
                  <a:lnTo>
                    <a:pt x="17" y="42"/>
                  </a:lnTo>
                  <a:lnTo>
                    <a:pt x="17" y="42"/>
                  </a:lnTo>
                  <a:lnTo>
                    <a:pt x="19" y="34"/>
                  </a:lnTo>
                  <a:lnTo>
                    <a:pt x="19" y="31"/>
                  </a:lnTo>
                  <a:lnTo>
                    <a:pt x="16" y="29"/>
                  </a:lnTo>
                  <a:lnTo>
                    <a:pt x="16" y="29"/>
                  </a:lnTo>
                  <a:lnTo>
                    <a:pt x="7" y="27"/>
                  </a:lnTo>
                  <a:lnTo>
                    <a:pt x="3" y="24"/>
                  </a:lnTo>
                  <a:lnTo>
                    <a:pt x="3" y="24"/>
                  </a:lnTo>
                  <a:lnTo>
                    <a:pt x="3" y="18"/>
                  </a:lnTo>
                  <a:lnTo>
                    <a:pt x="3" y="14"/>
                  </a:lnTo>
                  <a:lnTo>
                    <a:pt x="3" y="13"/>
                  </a:lnTo>
                  <a:lnTo>
                    <a:pt x="3" y="13"/>
                  </a:lnTo>
                  <a:lnTo>
                    <a:pt x="1" y="13"/>
                  </a:lnTo>
                  <a:lnTo>
                    <a:pt x="0" y="10"/>
                  </a:lnTo>
                  <a:lnTo>
                    <a:pt x="1" y="8"/>
                  </a:lnTo>
                  <a:lnTo>
                    <a:pt x="3" y="7"/>
                  </a:lnTo>
                  <a:lnTo>
                    <a:pt x="3" y="7"/>
                  </a:lnTo>
                  <a:lnTo>
                    <a:pt x="10" y="2"/>
                  </a:lnTo>
                  <a:lnTo>
                    <a:pt x="15" y="1"/>
                  </a:lnTo>
                  <a:lnTo>
                    <a:pt x="17" y="4"/>
                  </a:lnTo>
                  <a:lnTo>
                    <a:pt x="17" y="4"/>
                  </a:lnTo>
                  <a:lnTo>
                    <a:pt x="23" y="7"/>
                  </a:lnTo>
                  <a:lnTo>
                    <a:pt x="28" y="8"/>
                  </a:lnTo>
                  <a:lnTo>
                    <a:pt x="28" y="8"/>
                  </a:lnTo>
                  <a:lnTo>
                    <a:pt x="32" y="10"/>
                  </a:lnTo>
                  <a:lnTo>
                    <a:pt x="35" y="13"/>
                  </a:lnTo>
                  <a:lnTo>
                    <a:pt x="41" y="20"/>
                  </a:lnTo>
                  <a:lnTo>
                    <a:pt x="41" y="20"/>
                  </a:lnTo>
                  <a:lnTo>
                    <a:pt x="42" y="24"/>
                  </a:lnTo>
                  <a:lnTo>
                    <a:pt x="43" y="27"/>
                  </a:lnTo>
                  <a:lnTo>
                    <a:pt x="43" y="27"/>
                  </a:lnTo>
                  <a:lnTo>
                    <a:pt x="45" y="30"/>
                  </a:lnTo>
                  <a:lnTo>
                    <a:pt x="45" y="34"/>
                  </a:lnTo>
                  <a:lnTo>
                    <a:pt x="46" y="42"/>
                  </a:lnTo>
                  <a:lnTo>
                    <a:pt x="46" y="42"/>
                  </a:lnTo>
                  <a:lnTo>
                    <a:pt x="48" y="44"/>
                  </a:lnTo>
                  <a:lnTo>
                    <a:pt x="49" y="44"/>
                  </a:lnTo>
                  <a:lnTo>
                    <a:pt x="54" y="46"/>
                  </a:lnTo>
                  <a:lnTo>
                    <a:pt x="54" y="46"/>
                  </a:lnTo>
                  <a:lnTo>
                    <a:pt x="58" y="47"/>
                  </a:lnTo>
                  <a:lnTo>
                    <a:pt x="61" y="50"/>
                  </a:lnTo>
                  <a:lnTo>
                    <a:pt x="64" y="50"/>
                  </a:lnTo>
                  <a:lnTo>
                    <a:pt x="62" y="47"/>
                  </a:lnTo>
                  <a:lnTo>
                    <a:pt x="62" y="47"/>
                  </a:lnTo>
                  <a:lnTo>
                    <a:pt x="59" y="40"/>
                  </a:lnTo>
                  <a:lnTo>
                    <a:pt x="57" y="36"/>
                  </a:lnTo>
                  <a:lnTo>
                    <a:pt x="57" y="36"/>
                  </a:lnTo>
                  <a:lnTo>
                    <a:pt x="55" y="33"/>
                  </a:lnTo>
                  <a:lnTo>
                    <a:pt x="54" y="30"/>
                  </a:lnTo>
                  <a:lnTo>
                    <a:pt x="52" y="29"/>
                  </a:lnTo>
                  <a:lnTo>
                    <a:pt x="51" y="27"/>
                  </a:lnTo>
                  <a:lnTo>
                    <a:pt x="51" y="27"/>
                  </a:lnTo>
                  <a:lnTo>
                    <a:pt x="52" y="20"/>
                  </a:lnTo>
                  <a:lnTo>
                    <a:pt x="52" y="17"/>
                  </a:lnTo>
                  <a:lnTo>
                    <a:pt x="54" y="16"/>
                  </a:lnTo>
                  <a:lnTo>
                    <a:pt x="54" y="16"/>
                  </a:lnTo>
                  <a:lnTo>
                    <a:pt x="61" y="14"/>
                  </a:lnTo>
                  <a:lnTo>
                    <a:pt x="64" y="16"/>
                  </a:lnTo>
                  <a:lnTo>
                    <a:pt x="67" y="17"/>
                  </a:lnTo>
                  <a:lnTo>
                    <a:pt x="67" y="17"/>
                  </a:lnTo>
                  <a:lnTo>
                    <a:pt x="65" y="24"/>
                  </a:lnTo>
                  <a:lnTo>
                    <a:pt x="65" y="29"/>
                  </a:lnTo>
                  <a:lnTo>
                    <a:pt x="67" y="31"/>
                  </a:lnTo>
                  <a:lnTo>
                    <a:pt x="67" y="31"/>
                  </a:lnTo>
                  <a:lnTo>
                    <a:pt x="71" y="37"/>
                  </a:lnTo>
                  <a:lnTo>
                    <a:pt x="74" y="40"/>
                  </a:lnTo>
                  <a:lnTo>
                    <a:pt x="77" y="42"/>
                  </a:lnTo>
                  <a:lnTo>
                    <a:pt x="77" y="42"/>
                  </a:lnTo>
                  <a:lnTo>
                    <a:pt x="81" y="42"/>
                  </a:lnTo>
                  <a:lnTo>
                    <a:pt x="84" y="42"/>
                  </a:lnTo>
                  <a:lnTo>
                    <a:pt x="87" y="43"/>
                  </a:lnTo>
                  <a:lnTo>
                    <a:pt x="88" y="42"/>
                  </a:lnTo>
                  <a:lnTo>
                    <a:pt x="88" y="42"/>
                  </a:lnTo>
                  <a:lnTo>
                    <a:pt x="88" y="39"/>
                  </a:lnTo>
                  <a:lnTo>
                    <a:pt x="90" y="34"/>
                  </a:lnTo>
                  <a:lnTo>
                    <a:pt x="88" y="30"/>
                  </a:lnTo>
                  <a:lnTo>
                    <a:pt x="87" y="29"/>
                  </a:lnTo>
                  <a:lnTo>
                    <a:pt x="85" y="29"/>
                  </a:lnTo>
                  <a:lnTo>
                    <a:pt x="85" y="29"/>
                  </a:lnTo>
                  <a:lnTo>
                    <a:pt x="80" y="30"/>
                  </a:lnTo>
                  <a:lnTo>
                    <a:pt x="77" y="29"/>
                  </a:lnTo>
                  <a:lnTo>
                    <a:pt x="74" y="27"/>
                  </a:lnTo>
                  <a:lnTo>
                    <a:pt x="74" y="27"/>
                  </a:lnTo>
                  <a:lnTo>
                    <a:pt x="72" y="23"/>
                  </a:lnTo>
                  <a:lnTo>
                    <a:pt x="71" y="17"/>
                  </a:lnTo>
                  <a:lnTo>
                    <a:pt x="72" y="13"/>
                  </a:lnTo>
                  <a:lnTo>
                    <a:pt x="74" y="10"/>
                  </a:lnTo>
                  <a:lnTo>
                    <a:pt x="74" y="10"/>
                  </a:lnTo>
                  <a:lnTo>
                    <a:pt x="77" y="8"/>
                  </a:lnTo>
                  <a:lnTo>
                    <a:pt x="81" y="8"/>
                  </a:lnTo>
                  <a:lnTo>
                    <a:pt x="84" y="7"/>
                  </a:lnTo>
                  <a:lnTo>
                    <a:pt x="85" y="5"/>
                  </a:lnTo>
                  <a:lnTo>
                    <a:pt x="85" y="5"/>
                  </a:lnTo>
                  <a:lnTo>
                    <a:pt x="87" y="1"/>
                  </a:lnTo>
                  <a:lnTo>
                    <a:pt x="88" y="0"/>
                  </a:lnTo>
                  <a:lnTo>
                    <a:pt x="91" y="0"/>
                  </a:lnTo>
                  <a:lnTo>
                    <a:pt x="91" y="0"/>
                  </a:lnTo>
                  <a:lnTo>
                    <a:pt x="93" y="1"/>
                  </a:lnTo>
                  <a:lnTo>
                    <a:pt x="93" y="5"/>
                  </a:lnTo>
                  <a:lnTo>
                    <a:pt x="94" y="8"/>
                  </a:lnTo>
                  <a:lnTo>
                    <a:pt x="96" y="10"/>
                  </a:lnTo>
                  <a:lnTo>
                    <a:pt x="96" y="10"/>
                  </a:lnTo>
                  <a:lnTo>
                    <a:pt x="101" y="11"/>
                  </a:lnTo>
                  <a:lnTo>
                    <a:pt x="104" y="13"/>
                  </a:lnTo>
                  <a:lnTo>
                    <a:pt x="104" y="10"/>
                  </a:lnTo>
                  <a:lnTo>
                    <a:pt x="104" y="10"/>
                  </a:lnTo>
                  <a:lnTo>
                    <a:pt x="103" y="8"/>
                  </a:lnTo>
                  <a:lnTo>
                    <a:pt x="103" y="5"/>
                  </a:lnTo>
                  <a:lnTo>
                    <a:pt x="104" y="4"/>
                  </a:lnTo>
                  <a:lnTo>
                    <a:pt x="107" y="4"/>
                  </a:lnTo>
                  <a:lnTo>
                    <a:pt x="107" y="4"/>
                  </a:lnTo>
                  <a:lnTo>
                    <a:pt x="113" y="4"/>
                  </a:lnTo>
                  <a:lnTo>
                    <a:pt x="116" y="4"/>
                  </a:lnTo>
                  <a:lnTo>
                    <a:pt x="116" y="4"/>
                  </a:lnTo>
                  <a:lnTo>
                    <a:pt x="116" y="4"/>
                  </a:lnTo>
                  <a:lnTo>
                    <a:pt x="113" y="7"/>
                  </a:lnTo>
                  <a:lnTo>
                    <a:pt x="112" y="8"/>
                  </a:lnTo>
                  <a:lnTo>
                    <a:pt x="114" y="10"/>
                  </a:lnTo>
                  <a:lnTo>
                    <a:pt x="114" y="10"/>
                  </a:lnTo>
                  <a:lnTo>
                    <a:pt x="119" y="10"/>
                  </a:lnTo>
                  <a:lnTo>
                    <a:pt x="120" y="10"/>
                  </a:lnTo>
                  <a:lnTo>
                    <a:pt x="122" y="13"/>
                  </a:lnTo>
                  <a:lnTo>
                    <a:pt x="122" y="13"/>
                  </a:lnTo>
                  <a:lnTo>
                    <a:pt x="122" y="16"/>
                  </a:lnTo>
                  <a:lnTo>
                    <a:pt x="122" y="20"/>
                  </a:lnTo>
                  <a:lnTo>
                    <a:pt x="120" y="24"/>
                  </a:lnTo>
                  <a:lnTo>
                    <a:pt x="122" y="30"/>
                  </a:lnTo>
                  <a:lnTo>
                    <a:pt x="122" y="30"/>
                  </a:lnTo>
                  <a:lnTo>
                    <a:pt x="123" y="36"/>
                  </a:lnTo>
                  <a:lnTo>
                    <a:pt x="123" y="42"/>
                  </a:lnTo>
                  <a:lnTo>
                    <a:pt x="122" y="52"/>
                  </a:lnTo>
                  <a:lnTo>
                    <a:pt x="122" y="52"/>
                  </a:lnTo>
                  <a:lnTo>
                    <a:pt x="119" y="59"/>
                  </a:lnTo>
                  <a:lnTo>
                    <a:pt x="119" y="65"/>
                  </a:lnTo>
                  <a:lnTo>
                    <a:pt x="119" y="65"/>
                  </a:lnTo>
                  <a:lnTo>
                    <a:pt x="119" y="66"/>
                  </a:lnTo>
                  <a:lnTo>
                    <a:pt x="120" y="68"/>
                  </a:lnTo>
                  <a:lnTo>
                    <a:pt x="122" y="69"/>
                  </a:lnTo>
                  <a:lnTo>
                    <a:pt x="122" y="71"/>
                  </a:lnTo>
                  <a:lnTo>
                    <a:pt x="122" y="71"/>
                  </a:lnTo>
                  <a:lnTo>
                    <a:pt x="119" y="76"/>
                  </a:lnTo>
                  <a:lnTo>
                    <a:pt x="117" y="81"/>
                  </a:lnTo>
                  <a:lnTo>
                    <a:pt x="117" y="84"/>
                  </a:lnTo>
                  <a:lnTo>
                    <a:pt x="117" y="84"/>
                  </a:lnTo>
                  <a:lnTo>
                    <a:pt x="117" y="91"/>
                  </a:lnTo>
                  <a:lnTo>
                    <a:pt x="119" y="95"/>
                  </a:lnTo>
                  <a:lnTo>
                    <a:pt x="120" y="97"/>
                  </a:lnTo>
                  <a:lnTo>
                    <a:pt x="120" y="97"/>
                  </a:lnTo>
                  <a:lnTo>
                    <a:pt x="122" y="98"/>
                  </a:lnTo>
                  <a:lnTo>
                    <a:pt x="122" y="101"/>
                  </a:lnTo>
                  <a:lnTo>
                    <a:pt x="120" y="105"/>
                  </a:lnTo>
                  <a:lnTo>
                    <a:pt x="120" y="105"/>
                  </a:lnTo>
                  <a:lnTo>
                    <a:pt x="117" y="108"/>
                  </a:lnTo>
                  <a:lnTo>
                    <a:pt x="113" y="110"/>
                  </a:lnTo>
                  <a:lnTo>
                    <a:pt x="113" y="110"/>
                  </a:lnTo>
                  <a:lnTo>
                    <a:pt x="109" y="108"/>
                  </a:lnTo>
                  <a:lnTo>
                    <a:pt x="104" y="108"/>
                  </a:lnTo>
                  <a:lnTo>
                    <a:pt x="104" y="108"/>
                  </a:lnTo>
                  <a:lnTo>
                    <a:pt x="99" y="110"/>
                  </a:lnTo>
                  <a:lnTo>
                    <a:pt x="91" y="108"/>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1" name="Freeform 40"/>
            <p:cNvSpPr>
              <a:spLocks/>
            </p:cNvSpPr>
            <p:nvPr/>
          </p:nvSpPr>
          <p:spPr bwMode="auto">
            <a:xfrm>
              <a:off x="1600200" y="1629204"/>
              <a:ext cx="195263" cy="174625"/>
            </a:xfrm>
            <a:custGeom>
              <a:avLst/>
              <a:gdLst>
                <a:gd name="T0" fmla="*/ 78 w 123"/>
                <a:gd name="T1" fmla="*/ 104 h 110"/>
                <a:gd name="T2" fmla="*/ 72 w 123"/>
                <a:gd name="T3" fmla="*/ 91 h 110"/>
                <a:gd name="T4" fmla="*/ 68 w 123"/>
                <a:gd name="T5" fmla="*/ 85 h 110"/>
                <a:gd name="T6" fmla="*/ 74 w 123"/>
                <a:gd name="T7" fmla="*/ 79 h 110"/>
                <a:gd name="T8" fmla="*/ 68 w 123"/>
                <a:gd name="T9" fmla="*/ 76 h 110"/>
                <a:gd name="T10" fmla="*/ 61 w 123"/>
                <a:gd name="T11" fmla="*/ 76 h 110"/>
                <a:gd name="T12" fmla="*/ 52 w 123"/>
                <a:gd name="T13" fmla="*/ 75 h 110"/>
                <a:gd name="T14" fmla="*/ 39 w 123"/>
                <a:gd name="T15" fmla="*/ 73 h 110"/>
                <a:gd name="T16" fmla="*/ 42 w 123"/>
                <a:gd name="T17" fmla="*/ 68 h 110"/>
                <a:gd name="T18" fmla="*/ 42 w 123"/>
                <a:gd name="T19" fmla="*/ 63 h 110"/>
                <a:gd name="T20" fmla="*/ 25 w 123"/>
                <a:gd name="T21" fmla="*/ 63 h 110"/>
                <a:gd name="T22" fmla="*/ 30 w 123"/>
                <a:gd name="T23" fmla="*/ 53 h 110"/>
                <a:gd name="T24" fmla="*/ 29 w 123"/>
                <a:gd name="T25" fmla="*/ 44 h 110"/>
                <a:gd name="T26" fmla="*/ 20 w 123"/>
                <a:gd name="T27" fmla="*/ 43 h 110"/>
                <a:gd name="T28" fmla="*/ 19 w 123"/>
                <a:gd name="T29" fmla="*/ 31 h 110"/>
                <a:gd name="T30" fmla="*/ 3 w 123"/>
                <a:gd name="T31" fmla="*/ 24 h 110"/>
                <a:gd name="T32" fmla="*/ 3 w 123"/>
                <a:gd name="T33" fmla="*/ 13 h 110"/>
                <a:gd name="T34" fmla="*/ 1 w 123"/>
                <a:gd name="T35" fmla="*/ 8 h 110"/>
                <a:gd name="T36" fmla="*/ 15 w 123"/>
                <a:gd name="T37" fmla="*/ 1 h 110"/>
                <a:gd name="T38" fmla="*/ 28 w 123"/>
                <a:gd name="T39" fmla="*/ 8 h 110"/>
                <a:gd name="T40" fmla="*/ 41 w 123"/>
                <a:gd name="T41" fmla="*/ 20 h 110"/>
                <a:gd name="T42" fmla="*/ 43 w 123"/>
                <a:gd name="T43" fmla="*/ 27 h 110"/>
                <a:gd name="T44" fmla="*/ 46 w 123"/>
                <a:gd name="T45" fmla="*/ 42 h 110"/>
                <a:gd name="T46" fmla="*/ 54 w 123"/>
                <a:gd name="T47" fmla="*/ 46 h 110"/>
                <a:gd name="T48" fmla="*/ 62 w 123"/>
                <a:gd name="T49" fmla="*/ 47 h 110"/>
                <a:gd name="T50" fmla="*/ 57 w 123"/>
                <a:gd name="T51" fmla="*/ 36 h 110"/>
                <a:gd name="T52" fmla="*/ 51 w 123"/>
                <a:gd name="T53" fmla="*/ 27 h 110"/>
                <a:gd name="T54" fmla="*/ 54 w 123"/>
                <a:gd name="T55" fmla="*/ 16 h 110"/>
                <a:gd name="T56" fmla="*/ 67 w 123"/>
                <a:gd name="T57" fmla="*/ 17 h 110"/>
                <a:gd name="T58" fmla="*/ 67 w 123"/>
                <a:gd name="T59" fmla="*/ 31 h 110"/>
                <a:gd name="T60" fmla="*/ 77 w 123"/>
                <a:gd name="T61" fmla="*/ 42 h 110"/>
                <a:gd name="T62" fmla="*/ 87 w 123"/>
                <a:gd name="T63" fmla="*/ 43 h 110"/>
                <a:gd name="T64" fmla="*/ 90 w 123"/>
                <a:gd name="T65" fmla="*/ 34 h 110"/>
                <a:gd name="T66" fmla="*/ 85 w 123"/>
                <a:gd name="T67" fmla="*/ 29 h 110"/>
                <a:gd name="T68" fmla="*/ 74 w 123"/>
                <a:gd name="T69" fmla="*/ 27 h 110"/>
                <a:gd name="T70" fmla="*/ 74 w 123"/>
                <a:gd name="T71" fmla="*/ 10 h 110"/>
                <a:gd name="T72" fmla="*/ 84 w 123"/>
                <a:gd name="T73" fmla="*/ 7 h 110"/>
                <a:gd name="T74" fmla="*/ 88 w 123"/>
                <a:gd name="T75" fmla="*/ 0 h 110"/>
                <a:gd name="T76" fmla="*/ 93 w 123"/>
                <a:gd name="T77" fmla="*/ 5 h 110"/>
                <a:gd name="T78" fmla="*/ 101 w 123"/>
                <a:gd name="T79" fmla="*/ 11 h 110"/>
                <a:gd name="T80" fmla="*/ 103 w 123"/>
                <a:gd name="T81" fmla="*/ 8 h 110"/>
                <a:gd name="T82" fmla="*/ 107 w 123"/>
                <a:gd name="T83" fmla="*/ 4 h 110"/>
                <a:gd name="T84" fmla="*/ 116 w 123"/>
                <a:gd name="T85" fmla="*/ 4 h 110"/>
                <a:gd name="T86" fmla="*/ 114 w 123"/>
                <a:gd name="T87" fmla="*/ 10 h 110"/>
                <a:gd name="T88" fmla="*/ 122 w 123"/>
                <a:gd name="T89" fmla="*/ 13 h 110"/>
                <a:gd name="T90" fmla="*/ 122 w 123"/>
                <a:gd name="T91" fmla="*/ 30 h 110"/>
                <a:gd name="T92" fmla="*/ 122 w 123"/>
                <a:gd name="T93" fmla="*/ 52 h 110"/>
                <a:gd name="T94" fmla="*/ 119 w 123"/>
                <a:gd name="T95" fmla="*/ 65 h 110"/>
                <a:gd name="T96" fmla="*/ 122 w 123"/>
                <a:gd name="T97" fmla="*/ 71 h 110"/>
                <a:gd name="T98" fmla="*/ 117 w 123"/>
                <a:gd name="T99" fmla="*/ 84 h 110"/>
                <a:gd name="T100" fmla="*/ 120 w 123"/>
                <a:gd name="T101" fmla="*/ 97 h 110"/>
                <a:gd name="T102" fmla="*/ 120 w 123"/>
                <a:gd name="T103" fmla="*/ 105 h 110"/>
                <a:gd name="T104" fmla="*/ 113 w 123"/>
                <a:gd name="T105" fmla="*/ 110 h 110"/>
                <a:gd name="T106" fmla="*/ 99 w 123"/>
                <a:gd name="T107"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 h="110">
                  <a:moveTo>
                    <a:pt x="91" y="108"/>
                  </a:moveTo>
                  <a:lnTo>
                    <a:pt x="91" y="108"/>
                  </a:lnTo>
                  <a:lnTo>
                    <a:pt x="81" y="105"/>
                  </a:lnTo>
                  <a:lnTo>
                    <a:pt x="78" y="104"/>
                  </a:lnTo>
                  <a:lnTo>
                    <a:pt x="77" y="100"/>
                  </a:lnTo>
                  <a:lnTo>
                    <a:pt x="77" y="100"/>
                  </a:lnTo>
                  <a:lnTo>
                    <a:pt x="75" y="94"/>
                  </a:lnTo>
                  <a:lnTo>
                    <a:pt x="72" y="91"/>
                  </a:lnTo>
                  <a:lnTo>
                    <a:pt x="72" y="91"/>
                  </a:lnTo>
                  <a:lnTo>
                    <a:pt x="68" y="86"/>
                  </a:lnTo>
                  <a:lnTo>
                    <a:pt x="67" y="85"/>
                  </a:lnTo>
                  <a:lnTo>
                    <a:pt x="68" y="85"/>
                  </a:lnTo>
                  <a:lnTo>
                    <a:pt x="68" y="85"/>
                  </a:lnTo>
                  <a:lnTo>
                    <a:pt x="71" y="84"/>
                  </a:lnTo>
                  <a:lnTo>
                    <a:pt x="72" y="82"/>
                  </a:lnTo>
                  <a:lnTo>
                    <a:pt x="74" y="79"/>
                  </a:lnTo>
                  <a:lnTo>
                    <a:pt x="72" y="79"/>
                  </a:lnTo>
                  <a:lnTo>
                    <a:pt x="72" y="79"/>
                  </a:lnTo>
                  <a:lnTo>
                    <a:pt x="71" y="78"/>
                  </a:lnTo>
                  <a:lnTo>
                    <a:pt x="68" y="76"/>
                  </a:lnTo>
                  <a:lnTo>
                    <a:pt x="67" y="75"/>
                  </a:lnTo>
                  <a:lnTo>
                    <a:pt x="64" y="75"/>
                  </a:lnTo>
                  <a:lnTo>
                    <a:pt x="64" y="75"/>
                  </a:lnTo>
                  <a:lnTo>
                    <a:pt x="61" y="76"/>
                  </a:lnTo>
                  <a:lnTo>
                    <a:pt x="58" y="78"/>
                  </a:lnTo>
                  <a:lnTo>
                    <a:pt x="57" y="78"/>
                  </a:lnTo>
                  <a:lnTo>
                    <a:pt x="57" y="78"/>
                  </a:lnTo>
                  <a:lnTo>
                    <a:pt x="52" y="75"/>
                  </a:lnTo>
                  <a:lnTo>
                    <a:pt x="48" y="73"/>
                  </a:lnTo>
                  <a:lnTo>
                    <a:pt x="48" y="73"/>
                  </a:lnTo>
                  <a:lnTo>
                    <a:pt x="42" y="73"/>
                  </a:lnTo>
                  <a:lnTo>
                    <a:pt x="39" y="73"/>
                  </a:lnTo>
                  <a:lnTo>
                    <a:pt x="39" y="73"/>
                  </a:lnTo>
                  <a:lnTo>
                    <a:pt x="39" y="73"/>
                  </a:lnTo>
                  <a:lnTo>
                    <a:pt x="41" y="71"/>
                  </a:lnTo>
                  <a:lnTo>
                    <a:pt x="42" y="68"/>
                  </a:lnTo>
                  <a:lnTo>
                    <a:pt x="43" y="65"/>
                  </a:lnTo>
                  <a:lnTo>
                    <a:pt x="43" y="63"/>
                  </a:lnTo>
                  <a:lnTo>
                    <a:pt x="42" y="63"/>
                  </a:lnTo>
                  <a:lnTo>
                    <a:pt x="42" y="63"/>
                  </a:lnTo>
                  <a:lnTo>
                    <a:pt x="32" y="65"/>
                  </a:lnTo>
                  <a:lnTo>
                    <a:pt x="26" y="65"/>
                  </a:lnTo>
                  <a:lnTo>
                    <a:pt x="25" y="63"/>
                  </a:lnTo>
                  <a:lnTo>
                    <a:pt x="25" y="63"/>
                  </a:lnTo>
                  <a:lnTo>
                    <a:pt x="25" y="63"/>
                  </a:lnTo>
                  <a:lnTo>
                    <a:pt x="26" y="58"/>
                  </a:lnTo>
                  <a:lnTo>
                    <a:pt x="28" y="55"/>
                  </a:lnTo>
                  <a:lnTo>
                    <a:pt x="30" y="53"/>
                  </a:lnTo>
                  <a:lnTo>
                    <a:pt x="30" y="53"/>
                  </a:lnTo>
                  <a:lnTo>
                    <a:pt x="30" y="50"/>
                  </a:lnTo>
                  <a:lnTo>
                    <a:pt x="30" y="47"/>
                  </a:lnTo>
                  <a:lnTo>
                    <a:pt x="29" y="44"/>
                  </a:lnTo>
                  <a:lnTo>
                    <a:pt x="28" y="43"/>
                  </a:lnTo>
                  <a:lnTo>
                    <a:pt x="28" y="43"/>
                  </a:lnTo>
                  <a:lnTo>
                    <a:pt x="23" y="43"/>
                  </a:lnTo>
                  <a:lnTo>
                    <a:pt x="20" y="43"/>
                  </a:lnTo>
                  <a:lnTo>
                    <a:pt x="17" y="42"/>
                  </a:lnTo>
                  <a:lnTo>
                    <a:pt x="17" y="42"/>
                  </a:lnTo>
                  <a:lnTo>
                    <a:pt x="19" y="34"/>
                  </a:lnTo>
                  <a:lnTo>
                    <a:pt x="19" y="31"/>
                  </a:lnTo>
                  <a:lnTo>
                    <a:pt x="16" y="29"/>
                  </a:lnTo>
                  <a:lnTo>
                    <a:pt x="16" y="29"/>
                  </a:lnTo>
                  <a:lnTo>
                    <a:pt x="7" y="27"/>
                  </a:lnTo>
                  <a:lnTo>
                    <a:pt x="3" y="24"/>
                  </a:lnTo>
                  <a:lnTo>
                    <a:pt x="3" y="24"/>
                  </a:lnTo>
                  <a:lnTo>
                    <a:pt x="3" y="18"/>
                  </a:lnTo>
                  <a:lnTo>
                    <a:pt x="3" y="14"/>
                  </a:lnTo>
                  <a:lnTo>
                    <a:pt x="3" y="13"/>
                  </a:lnTo>
                  <a:lnTo>
                    <a:pt x="3" y="13"/>
                  </a:lnTo>
                  <a:lnTo>
                    <a:pt x="1" y="13"/>
                  </a:lnTo>
                  <a:lnTo>
                    <a:pt x="0" y="10"/>
                  </a:lnTo>
                  <a:lnTo>
                    <a:pt x="1" y="8"/>
                  </a:lnTo>
                  <a:lnTo>
                    <a:pt x="3" y="7"/>
                  </a:lnTo>
                  <a:lnTo>
                    <a:pt x="3" y="7"/>
                  </a:lnTo>
                  <a:lnTo>
                    <a:pt x="10" y="2"/>
                  </a:lnTo>
                  <a:lnTo>
                    <a:pt x="15" y="1"/>
                  </a:lnTo>
                  <a:lnTo>
                    <a:pt x="17" y="4"/>
                  </a:lnTo>
                  <a:lnTo>
                    <a:pt x="17" y="4"/>
                  </a:lnTo>
                  <a:lnTo>
                    <a:pt x="23" y="7"/>
                  </a:lnTo>
                  <a:lnTo>
                    <a:pt x="28" y="8"/>
                  </a:lnTo>
                  <a:lnTo>
                    <a:pt x="28" y="8"/>
                  </a:lnTo>
                  <a:lnTo>
                    <a:pt x="32" y="10"/>
                  </a:lnTo>
                  <a:lnTo>
                    <a:pt x="35" y="13"/>
                  </a:lnTo>
                  <a:lnTo>
                    <a:pt x="41" y="20"/>
                  </a:lnTo>
                  <a:lnTo>
                    <a:pt x="41" y="20"/>
                  </a:lnTo>
                  <a:lnTo>
                    <a:pt x="42" y="24"/>
                  </a:lnTo>
                  <a:lnTo>
                    <a:pt x="43" y="27"/>
                  </a:lnTo>
                  <a:lnTo>
                    <a:pt x="43" y="27"/>
                  </a:lnTo>
                  <a:lnTo>
                    <a:pt x="45" y="30"/>
                  </a:lnTo>
                  <a:lnTo>
                    <a:pt x="45" y="34"/>
                  </a:lnTo>
                  <a:lnTo>
                    <a:pt x="46" y="42"/>
                  </a:lnTo>
                  <a:lnTo>
                    <a:pt x="46" y="42"/>
                  </a:lnTo>
                  <a:lnTo>
                    <a:pt x="48" y="44"/>
                  </a:lnTo>
                  <a:lnTo>
                    <a:pt x="49" y="44"/>
                  </a:lnTo>
                  <a:lnTo>
                    <a:pt x="54" y="46"/>
                  </a:lnTo>
                  <a:lnTo>
                    <a:pt x="54" y="46"/>
                  </a:lnTo>
                  <a:lnTo>
                    <a:pt x="58" y="47"/>
                  </a:lnTo>
                  <a:lnTo>
                    <a:pt x="61" y="50"/>
                  </a:lnTo>
                  <a:lnTo>
                    <a:pt x="64" y="50"/>
                  </a:lnTo>
                  <a:lnTo>
                    <a:pt x="62" y="47"/>
                  </a:lnTo>
                  <a:lnTo>
                    <a:pt x="62" y="47"/>
                  </a:lnTo>
                  <a:lnTo>
                    <a:pt x="59" y="40"/>
                  </a:lnTo>
                  <a:lnTo>
                    <a:pt x="57" y="36"/>
                  </a:lnTo>
                  <a:lnTo>
                    <a:pt x="57" y="36"/>
                  </a:lnTo>
                  <a:lnTo>
                    <a:pt x="55" y="33"/>
                  </a:lnTo>
                  <a:lnTo>
                    <a:pt x="54" y="30"/>
                  </a:lnTo>
                  <a:lnTo>
                    <a:pt x="52" y="29"/>
                  </a:lnTo>
                  <a:lnTo>
                    <a:pt x="51" y="27"/>
                  </a:lnTo>
                  <a:lnTo>
                    <a:pt x="51" y="27"/>
                  </a:lnTo>
                  <a:lnTo>
                    <a:pt x="52" y="20"/>
                  </a:lnTo>
                  <a:lnTo>
                    <a:pt x="52" y="17"/>
                  </a:lnTo>
                  <a:lnTo>
                    <a:pt x="54" y="16"/>
                  </a:lnTo>
                  <a:lnTo>
                    <a:pt x="54" y="16"/>
                  </a:lnTo>
                  <a:lnTo>
                    <a:pt x="61" y="14"/>
                  </a:lnTo>
                  <a:lnTo>
                    <a:pt x="64" y="16"/>
                  </a:lnTo>
                  <a:lnTo>
                    <a:pt x="67" y="17"/>
                  </a:lnTo>
                  <a:lnTo>
                    <a:pt x="67" y="17"/>
                  </a:lnTo>
                  <a:lnTo>
                    <a:pt x="65" y="24"/>
                  </a:lnTo>
                  <a:lnTo>
                    <a:pt x="65" y="29"/>
                  </a:lnTo>
                  <a:lnTo>
                    <a:pt x="67" y="31"/>
                  </a:lnTo>
                  <a:lnTo>
                    <a:pt x="67" y="31"/>
                  </a:lnTo>
                  <a:lnTo>
                    <a:pt x="71" y="37"/>
                  </a:lnTo>
                  <a:lnTo>
                    <a:pt x="74" y="40"/>
                  </a:lnTo>
                  <a:lnTo>
                    <a:pt x="77" y="42"/>
                  </a:lnTo>
                  <a:lnTo>
                    <a:pt x="77" y="42"/>
                  </a:lnTo>
                  <a:lnTo>
                    <a:pt x="81" y="42"/>
                  </a:lnTo>
                  <a:lnTo>
                    <a:pt x="84" y="42"/>
                  </a:lnTo>
                  <a:lnTo>
                    <a:pt x="87" y="43"/>
                  </a:lnTo>
                  <a:lnTo>
                    <a:pt x="88" y="42"/>
                  </a:lnTo>
                  <a:lnTo>
                    <a:pt x="88" y="42"/>
                  </a:lnTo>
                  <a:lnTo>
                    <a:pt x="88" y="39"/>
                  </a:lnTo>
                  <a:lnTo>
                    <a:pt x="90" y="34"/>
                  </a:lnTo>
                  <a:lnTo>
                    <a:pt x="88" y="30"/>
                  </a:lnTo>
                  <a:lnTo>
                    <a:pt x="87" y="29"/>
                  </a:lnTo>
                  <a:lnTo>
                    <a:pt x="85" y="29"/>
                  </a:lnTo>
                  <a:lnTo>
                    <a:pt x="85" y="29"/>
                  </a:lnTo>
                  <a:lnTo>
                    <a:pt x="80" y="30"/>
                  </a:lnTo>
                  <a:lnTo>
                    <a:pt x="77" y="29"/>
                  </a:lnTo>
                  <a:lnTo>
                    <a:pt x="74" y="27"/>
                  </a:lnTo>
                  <a:lnTo>
                    <a:pt x="74" y="27"/>
                  </a:lnTo>
                  <a:lnTo>
                    <a:pt x="72" y="23"/>
                  </a:lnTo>
                  <a:lnTo>
                    <a:pt x="71" y="17"/>
                  </a:lnTo>
                  <a:lnTo>
                    <a:pt x="72" y="13"/>
                  </a:lnTo>
                  <a:lnTo>
                    <a:pt x="74" y="10"/>
                  </a:lnTo>
                  <a:lnTo>
                    <a:pt x="74" y="10"/>
                  </a:lnTo>
                  <a:lnTo>
                    <a:pt x="77" y="8"/>
                  </a:lnTo>
                  <a:lnTo>
                    <a:pt x="81" y="8"/>
                  </a:lnTo>
                  <a:lnTo>
                    <a:pt x="84" y="7"/>
                  </a:lnTo>
                  <a:lnTo>
                    <a:pt x="85" y="5"/>
                  </a:lnTo>
                  <a:lnTo>
                    <a:pt x="85" y="5"/>
                  </a:lnTo>
                  <a:lnTo>
                    <a:pt x="87" y="1"/>
                  </a:lnTo>
                  <a:lnTo>
                    <a:pt x="88" y="0"/>
                  </a:lnTo>
                  <a:lnTo>
                    <a:pt x="91" y="0"/>
                  </a:lnTo>
                  <a:lnTo>
                    <a:pt x="91" y="0"/>
                  </a:lnTo>
                  <a:lnTo>
                    <a:pt x="93" y="1"/>
                  </a:lnTo>
                  <a:lnTo>
                    <a:pt x="93" y="5"/>
                  </a:lnTo>
                  <a:lnTo>
                    <a:pt x="94" y="8"/>
                  </a:lnTo>
                  <a:lnTo>
                    <a:pt x="96" y="10"/>
                  </a:lnTo>
                  <a:lnTo>
                    <a:pt x="96" y="10"/>
                  </a:lnTo>
                  <a:lnTo>
                    <a:pt x="101" y="11"/>
                  </a:lnTo>
                  <a:lnTo>
                    <a:pt x="104" y="13"/>
                  </a:lnTo>
                  <a:lnTo>
                    <a:pt x="104" y="10"/>
                  </a:lnTo>
                  <a:lnTo>
                    <a:pt x="104" y="10"/>
                  </a:lnTo>
                  <a:lnTo>
                    <a:pt x="103" y="8"/>
                  </a:lnTo>
                  <a:lnTo>
                    <a:pt x="103" y="5"/>
                  </a:lnTo>
                  <a:lnTo>
                    <a:pt x="104" y="4"/>
                  </a:lnTo>
                  <a:lnTo>
                    <a:pt x="107" y="4"/>
                  </a:lnTo>
                  <a:lnTo>
                    <a:pt x="107" y="4"/>
                  </a:lnTo>
                  <a:lnTo>
                    <a:pt x="113" y="4"/>
                  </a:lnTo>
                  <a:lnTo>
                    <a:pt x="116" y="4"/>
                  </a:lnTo>
                  <a:lnTo>
                    <a:pt x="116" y="4"/>
                  </a:lnTo>
                  <a:lnTo>
                    <a:pt x="116" y="4"/>
                  </a:lnTo>
                  <a:lnTo>
                    <a:pt x="113" y="7"/>
                  </a:lnTo>
                  <a:lnTo>
                    <a:pt x="112" y="8"/>
                  </a:lnTo>
                  <a:lnTo>
                    <a:pt x="114" y="10"/>
                  </a:lnTo>
                  <a:lnTo>
                    <a:pt x="114" y="10"/>
                  </a:lnTo>
                  <a:lnTo>
                    <a:pt x="119" y="10"/>
                  </a:lnTo>
                  <a:lnTo>
                    <a:pt x="120" y="10"/>
                  </a:lnTo>
                  <a:lnTo>
                    <a:pt x="122" y="13"/>
                  </a:lnTo>
                  <a:lnTo>
                    <a:pt x="122" y="13"/>
                  </a:lnTo>
                  <a:lnTo>
                    <a:pt x="122" y="16"/>
                  </a:lnTo>
                  <a:lnTo>
                    <a:pt x="122" y="20"/>
                  </a:lnTo>
                  <a:lnTo>
                    <a:pt x="120" y="24"/>
                  </a:lnTo>
                  <a:lnTo>
                    <a:pt x="122" y="30"/>
                  </a:lnTo>
                  <a:lnTo>
                    <a:pt x="122" y="30"/>
                  </a:lnTo>
                  <a:lnTo>
                    <a:pt x="123" y="36"/>
                  </a:lnTo>
                  <a:lnTo>
                    <a:pt x="123" y="42"/>
                  </a:lnTo>
                  <a:lnTo>
                    <a:pt x="122" y="52"/>
                  </a:lnTo>
                  <a:lnTo>
                    <a:pt x="122" y="52"/>
                  </a:lnTo>
                  <a:lnTo>
                    <a:pt x="119" y="59"/>
                  </a:lnTo>
                  <a:lnTo>
                    <a:pt x="119" y="65"/>
                  </a:lnTo>
                  <a:lnTo>
                    <a:pt x="119" y="65"/>
                  </a:lnTo>
                  <a:lnTo>
                    <a:pt x="119" y="66"/>
                  </a:lnTo>
                  <a:lnTo>
                    <a:pt x="120" y="68"/>
                  </a:lnTo>
                  <a:lnTo>
                    <a:pt x="122" y="69"/>
                  </a:lnTo>
                  <a:lnTo>
                    <a:pt x="122" y="71"/>
                  </a:lnTo>
                  <a:lnTo>
                    <a:pt x="122" y="71"/>
                  </a:lnTo>
                  <a:lnTo>
                    <a:pt x="119" y="76"/>
                  </a:lnTo>
                  <a:lnTo>
                    <a:pt x="117" y="81"/>
                  </a:lnTo>
                  <a:lnTo>
                    <a:pt x="117" y="84"/>
                  </a:lnTo>
                  <a:lnTo>
                    <a:pt x="117" y="84"/>
                  </a:lnTo>
                  <a:lnTo>
                    <a:pt x="117" y="91"/>
                  </a:lnTo>
                  <a:lnTo>
                    <a:pt x="119" y="95"/>
                  </a:lnTo>
                  <a:lnTo>
                    <a:pt x="120" y="97"/>
                  </a:lnTo>
                  <a:lnTo>
                    <a:pt x="120" y="97"/>
                  </a:lnTo>
                  <a:lnTo>
                    <a:pt x="122" y="98"/>
                  </a:lnTo>
                  <a:lnTo>
                    <a:pt x="122" y="101"/>
                  </a:lnTo>
                  <a:lnTo>
                    <a:pt x="120" y="105"/>
                  </a:lnTo>
                  <a:lnTo>
                    <a:pt x="120" y="105"/>
                  </a:lnTo>
                  <a:lnTo>
                    <a:pt x="117" y="108"/>
                  </a:lnTo>
                  <a:lnTo>
                    <a:pt x="113" y="110"/>
                  </a:lnTo>
                  <a:lnTo>
                    <a:pt x="113" y="110"/>
                  </a:lnTo>
                  <a:lnTo>
                    <a:pt x="109" y="108"/>
                  </a:lnTo>
                  <a:lnTo>
                    <a:pt x="104" y="108"/>
                  </a:lnTo>
                  <a:lnTo>
                    <a:pt x="104" y="108"/>
                  </a:lnTo>
                  <a:lnTo>
                    <a:pt x="99" y="110"/>
                  </a:lnTo>
                  <a:lnTo>
                    <a:pt x="91" y="10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2" name="Freeform 41"/>
            <p:cNvSpPr>
              <a:spLocks/>
            </p:cNvSpPr>
            <p:nvPr/>
          </p:nvSpPr>
          <p:spPr bwMode="auto">
            <a:xfrm>
              <a:off x="1354138" y="1621266"/>
              <a:ext cx="31750" cy="14288"/>
            </a:xfrm>
            <a:custGeom>
              <a:avLst/>
              <a:gdLst>
                <a:gd name="T0" fmla="*/ 17 w 20"/>
                <a:gd name="T1" fmla="*/ 9 h 9"/>
                <a:gd name="T2" fmla="*/ 17 w 20"/>
                <a:gd name="T3" fmla="*/ 9 h 9"/>
                <a:gd name="T4" fmla="*/ 7 w 20"/>
                <a:gd name="T5" fmla="*/ 9 h 9"/>
                <a:gd name="T6" fmla="*/ 2 w 20"/>
                <a:gd name="T7" fmla="*/ 7 h 9"/>
                <a:gd name="T8" fmla="*/ 0 w 20"/>
                <a:gd name="T9" fmla="*/ 6 h 9"/>
                <a:gd name="T10" fmla="*/ 0 w 20"/>
                <a:gd name="T11" fmla="*/ 6 h 9"/>
                <a:gd name="T12" fmla="*/ 0 w 20"/>
                <a:gd name="T13" fmla="*/ 6 h 9"/>
                <a:gd name="T14" fmla="*/ 2 w 20"/>
                <a:gd name="T15" fmla="*/ 3 h 9"/>
                <a:gd name="T16" fmla="*/ 2 w 20"/>
                <a:gd name="T17" fmla="*/ 2 h 9"/>
                <a:gd name="T18" fmla="*/ 4 w 20"/>
                <a:gd name="T19" fmla="*/ 0 h 9"/>
                <a:gd name="T20" fmla="*/ 9 w 20"/>
                <a:gd name="T21" fmla="*/ 0 h 9"/>
                <a:gd name="T22" fmla="*/ 9 w 20"/>
                <a:gd name="T23" fmla="*/ 0 h 9"/>
                <a:gd name="T24" fmla="*/ 15 w 20"/>
                <a:gd name="T25" fmla="*/ 0 h 9"/>
                <a:gd name="T26" fmla="*/ 19 w 20"/>
                <a:gd name="T27" fmla="*/ 3 h 9"/>
                <a:gd name="T28" fmla="*/ 20 w 20"/>
                <a:gd name="T29" fmla="*/ 5 h 9"/>
                <a:gd name="T30" fmla="*/ 20 w 20"/>
                <a:gd name="T31" fmla="*/ 6 h 9"/>
                <a:gd name="T32" fmla="*/ 20 w 20"/>
                <a:gd name="T33" fmla="*/ 7 h 9"/>
                <a:gd name="T34" fmla="*/ 17 w 20"/>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9">
                  <a:moveTo>
                    <a:pt x="17" y="9"/>
                  </a:moveTo>
                  <a:lnTo>
                    <a:pt x="17" y="9"/>
                  </a:lnTo>
                  <a:lnTo>
                    <a:pt x="7" y="9"/>
                  </a:lnTo>
                  <a:lnTo>
                    <a:pt x="2" y="7"/>
                  </a:lnTo>
                  <a:lnTo>
                    <a:pt x="0" y="6"/>
                  </a:lnTo>
                  <a:lnTo>
                    <a:pt x="0" y="6"/>
                  </a:lnTo>
                  <a:lnTo>
                    <a:pt x="0" y="6"/>
                  </a:lnTo>
                  <a:lnTo>
                    <a:pt x="2" y="3"/>
                  </a:lnTo>
                  <a:lnTo>
                    <a:pt x="2" y="2"/>
                  </a:lnTo>
                  <a:lnTo>
                    <a:pt x="4" y="0"/>
                  </a:lnTo>
                  <a:lnTo>
                    <a:pt x="9" y="0"/>
                  </a:lnTo>
                  <a:lnTo>
                    <a:pt x="9" y="0"/>
                  </a:lnTo>
                  <a:lnTo>
                    <a:pt x="15" y="0"/>
                  </a:lnTo>
                  <a:lnTo>
                    <a:pt x="19" y="3"/>
                  </a:lnTo>
                  <a:lnTo>
                    <a:pt x="20" y="5"/>
                  </a:lnTo>
                  <a:lnTo>
                    <a:pt x="20" y="6"/>
                  </a:lnTo>
                  <a:lnTo>
                    <a:pt x="20" y="7"/>
                  </a:lnTo>
                  <a:lnTo>
                    <a:pt x="17" y="9"/>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3" name="Freeform 42"/>
            <p:cNvSpPr>
              <a:spLocks/>
            </p:cNvSpPr>
            <p:nvPr/>
          </p:nvSpPr>
          <p:spPr bwMode="auto">
            <a:xfrm>
              <a:off x="1354138" y="1621266"/>
              <a:ext cx="31750" cy="14288"/>
            </a:xfrm>
            <a:custGeom>
              <a:avLst/>
              <a:gdLst>
                <a:gd name="T0" fmla="*/ 17 w 20"/>
                <a:gd name="T1" fmla="*/ 9 h 9"/>
                <a:gd name="T2" fmla="*/ 17 w 20"/>
                <a:gd name="T3" fmla="*/ 9 h 9"/>
                <a:gd name="T4" fmla="*/ 7 w 20"/>
                <a:gd name="T5" fmla="*/ 9 h 9"/>
                <a:gd name="T6" fmla="*/ 2 w 20"/>
                <a:gd name="T7" fmla="*/ 7 h 9"/>
                <a:gd name="T8" fmla="*/ 0 w 20"/>
                <a:gd name="T9" fmla="*/ 6 h 9"/>
                <a:gd name="T10" fmla="*/ 0 w 20"/>
                <a:gd name="T11" fmla="*/ 6 h 9"/>
                <a:gd name="T12" fmla="*/ 0 w 20"/>
                <a:gd name="T13" fmla="*/ 6 h 9"/>
                <a:gd name="T14" fmla="*/ 2 w 20"/>
                <a:gd name="T15" fmla="*/ 3 h 9"/>
                <a:gd name="T16" fmla="*/ 2 w 20"/>
                <a:gd name="T17" fmla="*/ 2 h 9"/>
                <a:gd name="T18" fmla="*/ 4 w 20"/>
                <a:gd name="T19" fmla="*/ 0 h 9"/>
                <a:gd name="T20" fmla="*/ 9 w 20"/>
                <a:gd name="T21" fmla="*/ 0 h 9"/>
                <a:gd name="T22" fmla="*/ 9 w 20"/>
                <a:gd name="T23" fmla="*/ 0 h 9"/>
                <a:gd name="T24" fmla="*/ 15 w 20"/>
                <a:gd name="T25" fmla="*/ 0 h 9"/>
                <a:gd name="T26" fmla="*/ 19 w 20"/>
                <a:gd name="T27" fmla="*/ 3 h 9"/>
                <a:gd name="T28" fmla="*/ 20 w 20"/>
                <a:gd name="T29" fmla="*/ 5 h 9"/>
                <a:gd name="T30" fmla="*/ 20 w 20"/>
                <a:gd name="T31" fmla="*/ 6 h 9"/>
                <a:gd name="T32" fmla="*/ 20 w 20"/>
                <a:gd name="T33" fmla="*/ 7 h 9"/>
                <a:gd name="T34" fmla="*/ 17 w 20"/>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9">
                  <a:moveTo>
                    <a:pt x="17" y="9"/>
                  </a:moveTo>
                  <a:lnTo>
                    <a:pt x="17" y="9"/>
                  </a:lnTo>
                  <a:lnTo>
                    <a:pt x="7" y="9"/>
                  </a:lnTo>
                  <a:lnTo>
                    <a:pt x="2" y="7"/>
                  </a:lnTo>
                  <a:lnTo>
                    <a:pt x="0" y="6"/>
                  </a:lnTo>
                  <a:lnTo>
                    <a:pt x="0" y="6"/>
                  </a:lnTo>
                  <a:lnTo>
                    <a:pt x="0" y="6"/>
                  </a:lnTo>
                  <a:lnTo>
                    <a:pt x="2" y="3"/>
                  </a:lnTo>
                  <a:lnTo>
                    <a:pt x="2" y="2"/>
                  </a:lnTo>
                  <a:lnTo>
                    <a:pt x="4" y="0"/>
                  </a:lnTo>
                  <a:lnTo>
                    <a:pt x="9" y="0"/>
                  </a:lnTo>
                  <a:lnTo>
                    <a:pt x="9" y="0"/>
                  </a:lnTo>
                  <a:lnTo>
                    <a:pt x="15" y="0"/>
                  </a:lnTo>
                  <a:lnTo>
                    <a:pt x="19" y="3"/>
                  </a:lnTo>
                  <a:lnTo>
                    <a:pt x="20" y="5"/>
                  </a:lnTo>
                  <a:lnTo>
                    <a:pt x="20" y="6"/>
                  </a:lnTo>
                  <a:lnTo>
                    <a:pt x="20" y="7"/>
                  </a:lnTo>
                  <a:lnTo>
                    <a:pt x="17"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4" name="Freeform 43"/>
            <p:cNvSpPr>
              <a:spLocks/>
            </p:cNvSpPr>
            <p:nvPr/>
          </p:nvSpPr>
          <p:spPr bwMode="auto">
            <a:xfrm>
              <a:off x="1395413" y="1478391"/>
              <a:ext cx="92075" cy="92075"/>
            </a:xfrm>
            <a:custGeom>
              <a:avLst/>
              <a:gdLst>
                <a:gd name="T0" fmla="*/ 20 w 58"/>
                <a:gd name="T1" fmla="*/ 58 h 58"/>
                <a:gd name="T2" fmla="*/ 13 w 58"/>
                <a:gd name="T3" fmla="*/ 55 h 58"/>
                <a:gd name="T4" fmla="*/ 10 w 58"/>
                <a:gd name="T5" fmla="*/ 50 h 58"/>
                <a:gd name="T6" fmla="*/ 9 w 58"/>
                <a:gd name="T7" fmla="*/ 48 h 58"/>
                <a:gd name="T8" fmla="*/ 3 w 58"/>
                <a:gd name="T9" fmla="*/ 45 h 58"/>
                <a:gd name="T10" fmla="*/ 2 w 58"/>
                <a:gd name="T11" fmla="*/ 42 h 58"/>
                <a:gd name="T12" fmla="*/ 0 w 58"/>
                <a:gd name="T13" fmla="*/ 28 h 58"/>
                <a:gd name="T14" fmla="*/ 2 w 58"/>
                <a:gd name="T15" fmla="*/ 22 h 58"/>
                <a:gd name="T16" fmla="*/ 6 w 58"/>
                <a:gd name="T17" fmla="*/ 16 h 58"/>
                <a:gd name="T18" fmla="*/ 13 w 58"/>
                <a:gd name="T19" fmla="*/ 12 h 58"/>
                <a:gd name="T20" fmla="*/ 26 w 58"/>
                <a:gd name="T21" fmla="*/ 6 h 58"/>
                <a:gd name="T22" fmla="*/ 54 w 58"/>
                <a:gd name="T23" fmla="*/ 0 h 58"/>
                <a:gd name="T24" fmla="*/ 58 w 58"/>
                <a:gd name="T25" fmla="*/ 3 h 58"/>
                <a:gd name="T26" fmla="*/ 57 w 58"/>
                <a:gd name="T27" fmla="*/ 9 h 58"/>
                <a:gd name="T28" fmla="*/ 54 w 58"/>
                <a:gd name="T29" fmla="*/ 13 h 58"/>
                <a:gd name="T30" fmla="*/ 46 w 58"/>
                <a:gd name="T31" fmla="*/ 18 h 58"/>
                <a:gd name="T32" fmla="*/ 39 w 58"/>
                <a:gd name="T33" fmla="*/ 21 h 58"/>
                <a:gd name="T34" fmla="*/ 32 w 58"/>
                <a:gd name="T35" fmla="*/ 25 h 58"/>
                <a:gd name="T36" fmla="*/ 35 w 58"/>
                <a:gd name="T37" fmla="*/ 27 h 58"/>
                <a:gd name="T38" fmla="*/ 49 w 58"/>
                <a:gd name="T39" fmla="*/ 25 h 58"/>
                <a:gd name="T40" fmla="*/ 51 w 58"/>
                <a:gd name="T41" fmla="*/ 27 h 58"/>
                <a:gd name="T42" fmla="*/ 49 w 58"/>
                <a:gd name="T43" fmla="*/ 31 h 58"/>
                <a:gd name="T44" fmla="*/ 46 w 58"/>
                <a:gd name="T45" fmla="*/ 34 h 58"/>
                <a:gd name="T46" fmla="*/ 46 w 58"/>
                <a:gd name="T47" fmla="*/ 38 h 58"/>
                <a:gd name="T48" fmla="*/ 49 w 58"/>
                <a:gd name="T49" fmla="*/ 42 h 58"/>
                <a:gd name="T50" fmla="*/ 45 w 58"/>
                <a:gd name="T51" fmla="*/ 48 h 58"/>
                <a:gd name="T52" fmla="*/ 41 w 58"/>
                <a:gd name="T53" fmla="*/ 51 h 58"/>
                <a:gd name="T54" fmla="*/ 36 w 58"/>
                <a:gd name="T55" fmla="*/ 53 h 58"/>
                <a:gd name="T56" fmla="*/ 35 w 58"/>
                <a:gd name="T57" fmla="*/ 51 h 58"/>
                <a:gd name="T58" fmla="*/ 33 w 58"/>
                <a:gd name="T59" fmla="*/ 50 h 58"/>
                <a:gd name="T60" fmla="*/ 31 w 58"/>
                <a:gd name="T61" fmla="*/ 50 h 58"/>
                <a:gd name="T62" fmla="*/ 23 w 58"/>
                <a:gd name="T63"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 h="58">
                  <a:moveTo>
                    <a:pt x="20" y="58"/>
                  </a:moveTo>
                  <a:lnTo>
                    <a:pt x="20" y="58"/>
                  </a:lnTo>
                  <a:lnTo>
                    <a:pt x="16" y="57"/>
                  </a:lnTo>
                  <a:lnTo>
                    <a:pt x="13" y="55"/>
                  </a:lnTo>
                  <a:lnTo>
                    <a:pt x="12" y="53"/>
                  </a:lnTo>
                  <a:lnTo>
                    <a:pt x="10" y="50"/>
                  </a:lnTo>
                  <a:lnTo>
                    <a:pt x="10" y="50"/>
                  </a:lnTo>
                  <a:lnTo>
                    <a:pt x="9" y="48"/>
                  </a:lnTo>
                  <a:lnTo>
                    <a:pt x="7" y="47"/>
                  </a:lnTo>
                  <a:lnTo>
                    <a:pt x="3" y="45"/>
                  </a:lnTo>
                  <a:lnTo>
                    <a:pt x="3" y="45"/>
                  </a:lnTo>
                  <a:lnTo>
                    <a:pt x="2" y="42"/>
                  </a:lnTo>
                  <a:lnTo>
                    <a:pt x="2" y="38"/>
                  </a:lnTo>
                  <a:lnTo>
                    <a:pt x="0" y="28"/>
                  </a:lnTo>
                  <a:lnTo>
                    <a:pt x="0" y="28"/>
                  </a:lnTo>
                  <a:lnTo>
                    <a:pt x="2" y="22"/>
                  </a:lnTo>
                  <a:lnTo>
                    <a:pt x="3" y="19"/>
                  </a:lnTo>
                  <a:lnTo>
                    <a:pt x="6" y="16"/>
                  </a:lnTo>
                  <a:lnTo>
                    <a:pt x="6" y="16"/>
                  </a:lnTo>
                  <a:lnTo>
                    <a:pt x="13" y="12"/>
                  </a:lnTo>
                  <a:lnTo>
                    <a:pt x="26" y="6"/>
                  </a:lnTo>
                  <a:lnTo>
                    <a:pt x="26" y="6"/>
                  </a:lnTo>
                  <a:lnTo>
                    <a:pt x="45" y="2"/>
                  </a:lnTo>
                  <a:lnTo>
                    <a:pt x="54" y="0"/>
                  </a:lnTo>
                  <a:lnTo>
                    <a:pt x="57" y="2"/>
                  </a:lnTo>
                  <a:lnTo>
                    <a:pt x="58" y="3"/>
                  </a:lnTo>
                  <a:lnTo>
                    <a:pt x="58" y="3"/>
                  </a:lnTo>
                  <a:lnTo>
                    <a:pt x="57" y="9"/>
                  </a:lnTo>
                  <a:lnTo>
                    <a:pt x="55" y="12"/>
                  </a:lnTo>
                  <a:lnTo>
                    <a:pt x="54" y="13"/>
                  </a:lnTo>
                  <a:lnTo>
                    <a:pt x="54" y="13"/>
                  </a:lnTo>
                  <a:lnTo>
                    <a:pt x="46" y="18"/>
                  </a:lnTo>
                  <a:lnTo>
                    <a:pt x="39" y="21"/>
                  </a:lnTo>
                  <a:lnTo>
                    <a:pt x="39" y="21"/>
                  </a:lnTo>
                  <a:lnTo>
                    <a:pt x="33" y="24"/>
                  </a:lnTo>
                  <a:lnTo>
                    <a:pt x="32" y="25"/>
                  </a:lnTo>
                  <a:lnTo>
                    <a:pt x="35" y="27"/>
                  </a:lnTo>
                  <a:lnTo>
                    <a:pt x="35" y="27"/>
                  </a:lnTo>
                  <a:lnTo>
                    <a:pt x="45" y="25"/>
                  </a:lnTo>
                  <a:lnTo>
                    <a:pt x="49" y="25"/>
                  </a:lnTo>
                  <a:lnTo>
                    <a:pt x="51" y="25"/>
                  </a:lnTo>
                  <a:lnTo>
                    <a:pt x="51" y="27"/>
                  </a:lnTo>
                  <a:lnTo>
                    <a:pt x="51" y="27"/>
                  </a:lnTo>
                  <a:lnTo>
                    <a:pt x="49" y="31"/>
                  </a:lnTo>
                  <a:lnTo>
                    <a:pt x="46" y="34"/>
                  </a:lnTo>
                  <a:lnTo>
                    <a:pt x="46" y="34"/>
                  </a:lnTo>
                  <a:lnTo>
                    <a:pt x="46" y="37"/>
                  </a:lnTo>
                  <a:lnTo>
                    <a:pt x="46" y="38"/>
                  </a:lnTo>
                  <a:lnTo>
                    <a:pt x="48" y="41"/>
                  </a:lnTo>
                  <a:lnTo>
                    <a:pt x="49" y="42"/>
                  </a:lnTo>
                  <a:lnTo>
                    <a:pt x="49" y="42"/>
                  </a:lnTo>
                  <a:lnTo>
                    <a:pt x="45" y="48"/>
                  </a:lnTo>
                  <a:lnTo>
                    <a:pt x="44" y="50"/>
                  </a:lnTo>
                  <a:lnTo>
                    <a:pt x="41" y="51"/>
                  </a:lnTo>
                  <a:lnTo>
                    <a:pt x="41" y="51"/>
                  </a:lnTo>
                  <a:lnTo>
                    <a:pt x="36" y="53"/>
                  </a:lnTo>
                  <a:lnTo>
                    <a:pt x="36" y="53"/>
                  </a:lnTo>
                  <a:lnTo>
                    <a:pt x="35" y="51"/>
                  </a:lnTo>
                  <a:lnTo>
                    <a:pt x="35" y="51"/>
                  </a:lnTo>
                  <a:lnTo>
                    <a:pt x="33" y="50"/>
                  </a:lnTo>
                  <a:lnTo>
                    <a:pt x="31" y="50"/>
                  </a:lnTo>
                  <a:lnTo>
                    <a:pt x="31" y="50"/>
                  </a:lnTo>
                  <a:lnTo>
                    <a:pt x="26" y="54"/>
                  </a:lnTo>
                  <a:lnTo>
                    <a:pt x="23" y="57"/>
                  </a:lnTo>
                  <a:lnTo>
                    <a:pt x="20" y="58"/>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5" name="Freeform 44"/>
            <p:cNvSpPr>
              <a:spLocks/>
            </p:cNvSpPr>
            <p:nvPr/>
          </p:nvSpPr>
          <p:spPr bwMode="auto">
            <a:xfrm>
              <a:off x="1395413" y="1478391"/>
              <a:ext cx="92075" cy="92075"/>
            </a:xfrm>
            <a:custGeom>
              <a:avLst/>
              <a:gdLst>
                <a:gd name="T0" fmla="*/ 20 w 58"/>
                <a:gd name="T1" fmla="*/ 58 h 58"/>
                <a:gd name="T2" fmla="*/ 13 w 58"/>
                <a:gd name="T3" fmla="*/ 55 h 58"/>
                <a:gd name="T4" fmla="*/ 10 w 58"/>
                <a:gd name="T5" fmla="*/ 50 h 58"/>
                <a:gd name="T6" fmla="*/ 9 w 58"/>
                <a:gd name="T7" fmla="*/ 48 h 58"/>
                <a:gd name="T8" fmla="*/ 3 w 58"/>
                <a:gd name="T9" fmla="*/ 45 h 58"/>
                <a:gd name="T10" fmla="*/ 2 w 58"/>
                <a:gd name="T11" fmla="*/ 42 h 58"/>
                <a:gd name="T12" fmla="*/ 0 w 58"/>
                <a:gd name="T13" fmla="*/ 28 h 58"/>
                <a:gd name="T14" fmla="*/ 2 w 58"/>
                <a:gd name="T15" fmla="*/ 22 h 58"/>
                <a:gd name="T16" fmla="*/ 6 w 58"/>
                <a:gd name="T17" fmla="*/ 16 h 58"/>
                <a:gd name="T18" fmla="*/ 13 w 58"/>
                <a:gd name="T19" fmla="*/ 12 h 58"/>
                <a:gd name="T20" fmla="*/ 26 w 58"/>
                <a:gd name="T21" fmla="*/ 6 h 58"/>
                <a:gd name="T22" fmla="*/ 54 w 58"/>
                <a:gd name="T23" fmla="*/ 0 h 58"/>
                <a:gd name="T24" fmla="*/ 58 w 58"/>
                <a:gd name="T25" fmla="*/ 3 h 58"/>
                <a:gd name="T26" fmla="*/ 57 w 58"/>
                <a:gd name="T27" fmla="*/ 9 h 58"/>
                <a:gd name="T28" fmla="*/ 54 w 58"/>
                <a:gd name="T29" fmla="*/ 13 h 58"/>
                <a:gd name="T30" fmla="*/ 46 w 58"/>
                <a:gd name="T31" fmla="*/ 18 h 58"/>
                <a:gd name="T32" fmla="*/ 39 w 58"/>
                <a:gd name="T33" fmla="*/ 21 h 58"/>
                <a:gd name="T34" fmla="*/ 32 w 58"/>
                <a:gd name="T35" fmla="*/ 25 h 58"/>
                <a:gd name="T36" fmla="*/ 35 w 58"/>
                <a:gd name="T37" fmla="*/ 27 h 58"/>
                <a:gd name="T38" fmla="*/ 49 w 58"/>
                <a:gd name="T39" fmla="*/ 25 h 58"/>
                <a:gd name="T40" fmla="*/ 51 w 58"/>
                <a:gd name="T41" fmla="*/ 27 h 58"/>
                <a:gd name="T42" fmla="*/ 49 w 58"/>
                <a:gd name="T43" fmla="*/ 31 h 58"/>
                <a:gd name="T44" fmla="*/ 46 w 58"/>
                <a:gd name="T45" fmla="*/ 34 h 58"/>
                <a:gd name="T46" fmla="*/ 46 w 58"/>
                <a:gd name="T47" fmla="*/ 38 h 58"/>
                <a:gd name="T48" fmla="*/ 49 w 58"/>
                <a:gd name="T49" fmla="*/ 42 h 58"/>
                <a:gd name="T50" fmla="*/ 45 w 58"/>
                <a:gd name="T51" fmla="*/ 48 h 58"/>
                <a:gd name="T52" fmla="*/ 41 w 58"/>
                <a:gd name="T53" fmla="*/ 51 h 58"/>
                <a:gd name="T54" fmla="*/ 36 w 58"/>
                <a:gd name="T55" fmla="*/ 53 h 58"/>
                <a:gd name="T56" fmla="*/ 35 w 58"/>
                <a:gd name="T57" fmla="*/ 51 h 58"/>
                <a:gd name="T58" fmla="*/ 33 w 58"/>
                <a:gd name="T59" fmla="*/ 50 h 58"/>
                <a:gd name="T60" fmla="*/ 31 w 58"/>
                <a:gd name="T61" fmla="*/ 50 h 58"/>
                <a:gd name="T62" fmla="*/ 23 w 58"/>
                <a:gd name="T63"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 h="58">
                  <a:moveTo>
                    <a:pt x="20" y="58"/>
                  </a:moveTo>
                  <a:lnTo>
                    <a:pt x="20" y="58"/>
                  </a:lnTo>
                  <a:lnTo>
                    <a:pt x="16" y="57"/>
                  </a:lnTo>
                  <a:lnTo>
                    <a:pt x="13" y="55"/>
                  </a:lnTo>
                  <a:lnTo>
                    <a:pt x="12" y="53"/>
                  </a:lnTo>
                  <a:lnTo>
                    <a:pt x="10" y="50"/>
                  </a:lnTo>
                  <a:lnTo>
                    <a:pt x="10" y="50"/>
                  </a:lnTo>
                  <a:lnTo>
                    <a:pt x="9" y="48"/>
                  </a:lnTo>
                  <a:lnTo>
                    <a:pt x="7" y="47"/>
                  </a:lnTo>
                  <a:lnTo>
                    <a:pt x="3" y="45"/>
                  </a:lnTo>
                  <a:lnTo>
                    <a:pt x="3" y="45"/>
                  </a:lnTo>
                  <a:lnTo>
                    <a:pt x="2" y="42"/>
                  </a:lnTo>
                  <a:lnTo>
                    <a:pt x="2" y="38"/>
                  </a:lnTo>
                  <a:lnTo>
                    <a:pt x="0" y="28"/>
                  </a:lnTo>
                  <a:lnTo>
                    <a:pt x="0" y="28"/>
                  </a:lnTo>
                  <a:lnTo>
                    <a:pt x="2" y="22"/>
                  </a:lnTo>
                  <a:lnTo>
                    <a:pt x="3" y="19"/>
                  </a:lnTo>
                  <a:lnTo>
                    <a:pt x="6" y="16"/>
                  </a:lnTo>
                  <a:lnTo>
                    <a:pt x="6" y="16"/>
                  </a:lnTo>
                  <a:lnTo>
                    <a:pt x="13" y="12"/>
                  </a:lnTo>
                  <a:lnTo>
                    <a:pt x="26" y="6"/>
                  </a:lnTo>
                  <a:lnTo>
                    <a:pt x="26" y="6"/>
                  </a:lnTo>
                  <a:lnTo>
                    <a:pt x="45" y="2"/>
                  </a:lnTo>
                  <a:lnTo>
                    <a:pt x="54" y="0"/>
                  </a:lnTo>
                  <a:lnTo>
                    <a:pt x="57" y="2"/>
                  </a:lnTo>
                  <a:lnTo>
                    <a:pt x="58" y="3"/>
                  </a:lnTo>
                  <a:lnTo>
                    <a:pt x="58" y="3"/>
                  </a:lnTo>
                  <a:lnTo>
                    <a:pt x="57" y="9"/>
                  </a:lnTo>
                  <a:lnTo>
                    <a:pt x="55" y="12"/>
                  </a:lnTo>
                  <a:lnTo>
                    <a:pt x="54" y="13"/>
                  </a:lnTo>
                  <a:lnTo>
                    <a:pt x="54" y="13"/>
                  </a:lnTo>
                  <a:lnTo>
                    <a:pt x="46" y="18"/>
                  </a:lnTo>
                  <a:lnTo>
                    <a:pt x="39" y="21"/>
                  </a:lnTo>
                  <a:lnTo>
                    <a:pt x="39" y="21"/>
                  </a:lnTo>
                  <a:lnTo>
                    <a:pt x="33" y="24"/>
                  </a:lnTo>
                  <a:lnTo>
                    <a:pt x="32" y="25"/>
                  </a:lnTo>
                  <a:lnTo>
                    <a:pt x="35" y="27"/>
                  </a:lnTo>
                  <a:lnTo>
                    <a:pt x="35" y="27"/>
                  </a:lnTo>
                  <a:lnTo>
                    <a:pt x="45" y="25"/>
                  </a:lnTo>
                  <a:lnTo>
                    <a:pt x="49" y="25"/>
                  </a:lnTo>
                  <a:lnTo>
                    <a:pt x="51" y="25"/>
                  </a:lnTo>
                  <a:lnTo>
                    <a:pt x="51" y="27"/>
                  </a:lnTo>
                  <a:lnTo>
                    <a:pt x="51" y="27"/>
                  </a:lnTo>
                  <a:lnTo>
                    <a:pt x="49" y="31"/>
                  </a:lnTo>
                  <a:lnTo>
                    <a:pt x="46" y="34"/>
                  </a:lnTo>
                  <a:lnTo>
                    <a:pt x="46" y="34"/>
                  </a:lnTo>
                  <a:lnTo>
                    <a:pt x="46" y="37"/>
                  </a:lnTo>
                  <a:lnTo>
                    <a:pt x="46" y="38"/>
                  </a:lnTo>
                  <a:lnTo>
                    <a:pt x="48" y="41"/>
                  </a:lnTo>
                  <a:lnTo>
                    <a:pt x="49" y="42"/>
                  </a:lnTo>
                  <a:lnTo>
                    <a:pt x="49" y="42"/>
                  </a:lnTo>
                  <a:lnTo>
                    <a:pt x="45" y="48"/>
                  </a:lnTo>
                  <a:lnTo>
                    <a:pt x="44" y="50"/>
                  </a:lnTo>
                  <a:lnTo>
                    <a:pt x="41" y="51"/>
                  </a:lnTo>
                  <a:lnTo>
                    <a:pt x="41" y="51"/>
                  </a:lnTo>
                  <a:lnTo>
                    <a:pt x="36" y="53"/>
                  </a:lnTo>
                  <a:lnTo>
                    <a:pt x="36" y="53"/>
                  </a:lnTo>
                  <a:lnTo>
                    <a:pt x="35" y="51"/>
                  </a:lnTo>
                  <a:lnTo>
                    <a:pt x="35" y="51"/>
                  </a:lnTo>
                  <a:lnTo>
                    <a:pt x="33" y="50"/>
                  </a:lnTo>
                  <a:lnTo>
                    <a:pt x="31" y="50"/>
                  </a:lnTo>
                  <a:lnTo>
                    <a:pt x="31" y="50"/>
                  </a:lnTo>
                  <a:lnTo>
                    <a:pt x="26" y="54"/>
                  </a:lnTo>
                  <a:lnTo>
                    <a:pt x="23" y="57"/>
                  </a:lnTo>
                  <a:lnTo>
                    <a:pt x="20"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6" name="Freeform 45"/>
            <p:cNvSpPr>
              <a:spLocks/>
            </p:cNvSpPr>
            <p:nvPr/>
          </p:nvSpPr>
          <p:spPr bwMode="auto">
            <a:xfrm>
              <a:off x="1354138" y="1487916"/>
              <a:ext cx="30163" cy="36513"/>
            </a:xfrm>
            <a:custGeom>
              <a:avLst/>
              <a:gdLst>
                <a:gd name="T0" fmla="*/ 12 w 19"/>
                <a:gd name="T1" fmla="*/ 23 h 23"/>
                <a:gd name="T2" fmla="*/ 12 w 19"/>
                <a:gd name="T3" fmla="*/ 23 h 23"/>
                <a:gd name="T4" fmla="*/ 9 w 19"/>
                <a:gd name="T5" fmla="*/ 22 h 23"/>
                <a:gd name="T6" fmla="*/ 9 w 19"/>
                <a:gd name="T7" fmla="*/ 21 h 23"/>
                <a:gd name="T8" fmla="*/ 7 w 19"/>
                <a:gd name="T9" fmla="*/ 19 h 23"/>
                <a:gd name="T10" fmla="*/ 7 w 19"/>
                <a:gd name="T11" fmla="*/ 19 h 23"/>
                <a:gd name="T12" fmla="*/ 7 w 19"/>
                <a:gd name="T13" fmla="*/ 19 h 23"/>
                <a:gd name="T14" fmla="*/ 4 w 19"/>
                <a:gd name="T15" fmla="*/ 16 h 23"/>
                <a:gd name="T16" fmla="*/ 2 w 19"/>
                <a:gd name="T17" fmla="*/ 13 h 23"/>
                <a:gd name="T18" fmla="*/ 2 w 19"/>
                <a:gd name="T19" fmla="*/ 13 h 23"/>
                <a:gd name="T20" fmla="*/ 0 w 19"/>
                <a:gd name="T21" fmla="*/ 12 h 23"/>
                <a:gd name="T22" fmla="*/ 0 w 19"/>
                <a:gd name="T23" fmla="*/ 10 h 23"/>
                <a:gd name="T24" fmla="*/ 3 w 19"/>
                <a:gd name="T25" fmla="*/ 6 h 23"/>
                <a:gd name="T26" fmla="*/ 3 w 19"/>
                <a:gd name="T27" fmla="*/ 6 h 23"/>
                <a:gd name="T28" fmla="*/ 6 w 19"/>
                <a:gd name="T29" fmla="*/ 0 h 23"/>
                <a:gd name="T30" fmla="*/ 7 w 19"/>
                <a:gd name="T31" fmla="*/ 0 h 23"/>
                <a:gd name="T32" fmla="*/ 7 w 19"/>
                <a:gd name="T33" fmla="*/ 0 h 23"/>
                <a:gd name="T34" fmla="*/ 7 w 19"/>
                <a:gd name="T35" fmla="*/ 0 h 23"/>
                <a:gd name="T36" fmla="*/ 9 w 19"/>
                <a:gd name="T37" fmla="*/ 5 h 23"/>
                <a:gd name="T38" fmla="*/ 12 w 19"/>
                <a:gd name="T39" fmla="*/ 7 h 23"/>
                <a:gd name="T40" fmla="*/ 12 w 19"/>
                <a:gd name="T41" fmla="*/ 7 h 23"/>
                <a:gd name="T42" fmla="*/ 17 w 19"/>
                <a:gd name="T43" fmla="*/ 15 h 23"/>
                <a:gd name="T44" fmla="*/ 19 w 19"/>
                <a:gd name="T45" fmla="*/ 18 h 23"/>
                <a:gd name="T46" fmla="*/ 19 w 19"/>
                <a:gd name="T47" fmla="*/ 19 h 23"/>
                <a:gd name="T48" fmla="*/ 19 w 19"/>
                <a:gd name="T49" fmla="*/ 19 h 23"/>
                <a:gd name="T50" fmla="*/ 16 w 19"/>
                <a:gd name="T51" fmla="*/ 22 h 23"/>
                <a:gd name="T52" fmla="*/ 13 w 19"/>
                <a:gd name="T53" fmla="*/ 23 h 23"/>
                <a:gd name="T54" fmla="*/ 12 w 19"/>
                <a:gd name="T5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 h="23">
                  <a:moveTo>
                    <a:pt x="12" y="23"/>
                  </a:moveTo>
                  <a:lnTo>
                    <a:pt x="12" y="23"/>
                  </a:lnTo>
                  <a:lnTo>
                    <a:pt x="9" y="22"/>
                  </a:lnTo>
                  <a:lnTo>
                    <a:pt x="9" y="21"/>
                  </a:lnTo>
                  <a:lnTo>
                    <a:pt x="7" y="19"/>
                  </a:lnTo>
                  <a:lnTo>
                    <a:pt x="7" y="19"/>
                  </a:lnTo>
                  <a:lnTo>
                    <a:pt x="7" y="19"/>
                  </a:lnTo>
                  <a:lnTo>
                    <a:pt x="4" y="16"/>
                  </a:lnTo>
                  <a:lnTo>
                    <a:pt x="2" y="13"/>
                  </a:lnTo>
                  <a:lnTo>
                    <a:pt x="2" y="13"/>
                  </a:lnTo>
                  <a:lnTo>
                    <a:pt x="0" y="12"/>
                  </a:lnTo>
                  <a:lnTo>
                    <a:pt x="0" y="10"/>
                  </a:lnTo>
                  <a:lnTo>
                    <a:pt x="3" y="6"/>
                  </a:lnTo>
                  <a:lnTo>
                    <a:pt x="3" y="6"/>
                  </a:lnTo>
                  <a:lnTo>
                    <a:pt x="6" y="0"/>
                  </a:lnTo>
                  <a:lnTo>
                    <a:pt x="7" y="0"/>
                  </a:lnTo>
                  <a:lnTo>
                    <a:pt x="7" y="0"/>
                  </a:lnTo>
                  <a:lnTo>
                    <a:pt x="7" y="0"/>
                  </a:lnTo>
                  <a:lnTo>
                    <a:pt x="9" y="5"/>
                  </a:lnTo>
                  <a:lnTo>
                    <a:pt x="12" y="7"/>
                  </a:lnTo>
                  <a:lnTo>
                    <a:pt x="12" y="7"/>
                  </a:lnTo>
                  <a:lnTo>
                    <a:pt x="17" y="15"/>
                  </a:lnTo>
                  <a:lnTo>
                    <a:pt x="19" y="18"/>
                  </a:lnTo>
                  <a:lnTo>
                    <a:pt x="19" y="19"/>
                  </a:lnTo>
                  <a:lnTo>
                    <a:pt x="19" y="19"/>
                  </a:lnTo>
                  <a:lnTo>
                    <a:pt x="16" y="22"/>
                  </a:lnTo>
                  <a:lnTo>
                    <a:pt x="13" y="23"/>
                  </a:lnTo>
                  <a:lnTo>
                    <a:pt x="12" y="23"/>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7" name="Freeform 46"/>
            <p:cNvSpPr>
              <a:spLocks/>
            </p:cNvSpPr>
            <p:nvPr/>
          </p:nvSpPr>
          <p:spPr bwMode="auto">
            <a:xfrm>
              <a:off x="1354138" y="1487916"/>
              <a:ext cx="30163" cy="36513"/>
            </a:xfrm>
            <a:custGeom>
              <a:avLst/>
              <a:gdLst>
                <a:gd name="T0" fmla="*/ 12 w 19"/>
                <a:gd name="T1" fmla="*/ 23 h 23"/>
                <a:gd name="T2" fmla="*/ 12 w 19"/>
                <a:gd name="T3" fmla="*/ 23 h 23"/>
                <a:gd name="T4" fmla="*/ 9 w 19"/>
                <a:gd name="T5" fmla="*/ 22 h 23"/>
                <a:gd name="T6" fmla="*/ 9 w 19"/>
                <a:gd name="T7" fmla="*/ 21 h 23"/>
                <a:gd name="T8" fmla="*/ 7 w 19"/>
                <a:gd name="T9" fmla="*/ 19 h 23"/>
                <a:gd name="T10" fmla="*/ 7 w 19"/>
                <a:gd name="T11" fmla="*/ 19 h 23"/>
                <a:gd name="T12" fmla="*/ 7 w 19"/>
                <a:gd name="T13" fmla="*/ 19 h 23"/>
                <a:gd name="T14" fmla="*/ 4 w 19"/>
                <a:gd name="T15" fmla="*/ 16 h 23"/>
                <a:gd name="T16" fmla="*/ 2 w 19"/>
                <a:gd name="T17" fmla="*/ 13 h 23"/>
                <a:gd name="T18" fmla="*/ 2 w 19"/>
                <a:gd name="T19" fmla="*/ 13 h 23"/>
                <a:gd name="T20" fmla="*/ 0 w 19"/>
                <a:gd name="T21" fmla="*/ 12 h 23"/>
                <a:gd name="T22" fmla="*/ 0 w 19"/>
                <a:gd name="T23" fmla="*/ 10 h 23"/>
                <a:gd name="T24" fmla="*/ 3 w 19"/>
                <a:gd name="T25" fmla="*/ 6 h 23"/>
                <a:gd name="T26" fmla="*/ 3 w 19"/>
                <a:gd name="T27" fmla="*/ 6 h 23"/>
                <a:gd name="T28" fmla="*/ 6 w 19"/>
                <a:gd name="T29" fmla="*/ 0 h 23"/>
                <a:gd name="T30" fmla="*/ 7 w 19"/>
                <a:gd name="T31" fmla="*/ 0 h 23"/>
                <a:gd name="T32" fmla="*/ 7 w 19"/>
                <a:gd name="T33" fmla="*/ 0 h 23"/>
                <a:gd name="T34" fmla="*/ 7 w 19"/>
                <a:gd name="T35" fmla="*/ 0 h 23"/>
                <a:gd name="T36" fmla="*/ 9 w 19"/>
                <a:gd name="T37" fmla="*/ 5 h 23"/>
                <a:gd name="T38" fmla="*/ 12 w 19"/>
                <a:gd name="T39" fmla="*/ 7 h 23"/>
                <a:gd name="T40" fmla="*/ 12 w 19"/>
                <a:gd name="T41" fmla="*/ 7 h 23"/>
                <a:gd name="T42" fmla="*/ 17 w 19"/>
                <a:gd name="T43" fmla="*/ 15 h 23"/>
                <a:gd name="T44" fmla="*/ 19 w 19"/>
                <a:gd name="T45" fmla="*/ 18 h 23"/>
                <a:gd name="T46" fmla="*/ 19 w 19"/>
                <a:gd name="T47" fmla="*/ 19 h 23"/>
                <a:gd name="T48" fmla="*/ 19 w 19"/>
                <a:gd name="T49" fmla="*/ 19 h 23"/>
                <a:gd name="T50" fmla="*/ 16 w 19"/>
                <a:gd name="T51" fmla="*/ 22 h 23"/>
                <a:gd name="T52" fmla="*/ 13 w 19"/>
                <a:gd name="T53" fmla="*/ 23 h 23"/>
                <a:gd name="T54" fmla="*/ 12 w 19"/>
                <a:gd name="T5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 h="23">
                  <a:moveTo>
                    <a:pt x="12" y="23"/>
                  </a:moveTo>
                  <a:lnTo>
                    <a:pt x="12" y="23"/>
                  </a:lnTo>
                  <a:lnTo>
                    <a:pt x="9" y="22"/>
                  </a:lnTo>
                  <a:lnTo>
                    <a:pt x="9" y="21"/>
                  </a:lnTo>
                  <a:lnTo>
                    <a:pt x="7" y="19"/>
                  </a:lnTo>
                  <a:lnTo>
                    <a:pt x="7" y="19"/>
                  </a:lnTo>
                  <a:lnTo>
                    <a:pt x="7" y="19"/>
                  </a:lnTo>
                  <a:lnTo>
                    <a:pt x="4" y="16"/>
                  </a:lnTo>
                  <a:lnTo>
                    <a:pt x="2" y="13"/>
                  </a:lnTo>
                  <a:lnTo>
                    <a:pt x="2" y="13"/>
                  </a:lnTo>
                  <a:lnTo>
                    <a:pt x="0" y="12"/>
                  </a:lnTo>
                  <a:lnTo>
                    <a:pt x="0" y="10"/>
                  </a:lnTo>
                  <a:lnTo>
                    <a:pt x="3" y="6"/>
                  </a:lnTo>
                  <a:lnTo>
                    <a:pt x="3" y="6"/>
                  </a:lnTo>
                  <a:lnTo>
                    <a:pt x="6" y="0"/>
                  </a:lnTo>
                  <a:lnTo>
                    <a:pt x="7" y="0"/>
                  </a:lnTo>
                  <a:lnTo>
                    <a:pt x="7" y="0"/>
                  </a:lnTo>
                  <a:lnTo>
                    <a:pt x="7" y="0"/>
                  </a:lnTo>
                  <a:lnTo>
                    <a:pt x="9" y="5"/>
                  </a:lnTo>
                  <a:lnTo>
                    <a:pt x="12" y="7"/>
                  </a:lnTo>
                  <a:lnTo>
                    <a:pt x="12" y="7"/>
                  </a:lnTo>
                  <a:lnTo>
                    <a:pt x="17" y="15"/>
                  </a:lnTo>
                  <a:lnTo>
                    <a:pt x="19" y="18"/>
                  </a:lnTo>
                  <a:lnTo>
                    <a:pt x="19" y="19"/>
                  </a:lnTo>
                  <a:lnTo>
                    <a:pt x="19" y="19"/>
                  </a:lnTo>
                  <a:lnTo>
                    <a:pt x="16" y="22"/>
                  </a:lnTo>
                  <a:lnTo>
                    <a:pt x="13" y="23"/>
                  </a:lnTo>
                  <a:lnTo>
                    <a:pt x="12"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8" name="Freeform 47"/>
            <p:cNvSpPr>
              <a:spLocks/>
            </p:cNvSpPr>
            <p:nvPr/>
          </p:nvSpPr>
          <p:spPr bwMode="auto">
            <a:xfrm>
              <a:off x="1393825" y="1400604"/>
              <a:ext cx="100013" cy="60325"/>
            </a:xfrm>
            <a:custGeom>
              <a:avLst/>
              <a:gdLst>
                <a:gd name="T0" fmla="*/ 7 w 63"/>
                <a:gd name="T1" fmla="*/ 35 h 38"/>
                <a:gd name="T2" fmla="*/ 7 w 63"/>
                <a:gd name="T3" fmla="*/ 35 h 38"/>
                <a:gd name="T4" fmla="*/ 3 w 63"/>
                <a:gd name="T5" fmla="*/ 35 h 38"/>
                <a:gd name="T6" fmla="*/ 0 w 63"/>
                <a:gd name="T7" fmla="*/ 34 h 38"/>
                <a:gd name="T8" fmla="*/ 0 w 63"/>
                <a:gd name="T9" fmla="*/ 32 h 38"/>
                <a:gd name="T10" fmla="*/ 1 w 63"/>
                <a:gd name="T11" fmla="*/ 29 h 38"/>
                <a:gd name="T12" fmla="*/ 1 w 63"/>
                <a:gd name="T13" fmla="*/ 29 h 38"/>
                <a:gd name="T14" fmla="*/ 10 w 63"/>
                <a:gd name="T15" fmla="*/ 20 h 38"/>
                <a:gd name="T16" fmla="*/ 14 w 63"/>
                <a:gd name="T17" fmla="*/ 18 h 38"/>
                <a:gd name="T18" fmla="*/ 19 w 63"/>
                <a:gd name="T19" fmla="*/ 16 h 38"/>
                <a:gd name="T20" fmla="*/ 19 w 63"/>
                <a:gd name="T21" fmla="*/ 16 h 38"/>
                <a:gd name="T22" fmla="*/ 27 w 63"/>
                <a:gd name="T23" fmla="*/ 15 h 38"/>
                <a:gd name="T24" fmla="*/ 30 w 63"/>
                <a:gd name="T25" fmla="*/ 13 h 38"/>
                <a:gd name="T26" fmla="*/ 33 w 63"/>
                <a:gd name="T27" fmla="*/ 10 h 38"/>
                <a:gd name="T28" fmla="*/ 33 w 63"/>
                <a:gd name="T29" fmla="*/ 10 h 38"/>
                <a:gd name="T30" fmla="*/ 34 w 63"/>
                <a:gd name="T31" fmla="*/ 6 h 38"/>
                <a:gd name="T32" fmla="*/ 39 w 63"/>
                <a:gd name="T33" fmla="*/ 3 h 38"/>
                <a:gd name="T34" fmla="*/ 43 w 63"/>
                <a:gd name="T35" fmla="*/ 0 h 38"/>
                <a:gd name="T36" fmla="*/ 45 w 63"/>
                <a:gd name="T37" fmla="*/ 0 h 38"/>
                <a:gd name="T38" fmla="*/ 47 w 63"/>
                <a:gd name="T39" fmla="*/ 0 h 38"/>
                <a:gd name="T40" fmla="*/ 47 w 63"/>
                <a:gd name="T41" fmla="*/ 0 h 38"/>
                <a:gd name="T42" fmla="*/ 49 w 63"/>
                <a:gd name="T43" fmla="*/ 3 h 38"/>
                <a:gd name="T44" fmla="*/ 50 w 63"/>
                <a:gd name="T45" fmla="*/ 6 h 38"/>
                <a:gd name="T46" fmla="*/ 52 w 63"/>
                <a:gd name="T47" fmla="*/ 9 h 38"/>
                <a:gd name="T48" fmla="*/ 55 w 63"/>
                <a:gd name="T49" fmla="*/ 10 h 38"/>
                <a:gd name="T50" fmla="*/ 55 w 63"/>
                <a:gd name="T51" fmla="*/ 10 h 38"/>
                <a:gd name="T52" fmla="*/ 58 w 63"/>
                <a:gd name="T53" fmla="*/ 12 h 38"/>
                <a:gd name="T54" fmla="*/ 61 w 63"/>
                <a:gd name="T55" fmla="*/ 16 h 38"/>
                <a:gd name="T56" fmla="*/ 63 w 63"/>
                <a:gd name="T57" fmla="*/ 22 h 38"/>
                <a:gd name="T58" fmla="*/ 63 w 63"/>
                <a:gd name="T59" fmla="*/ 22 h 38"/>
                <a:gd name="T60" fmla="*/ 63 w 63"/>
                <a:gd name="T61" fmla="*/ 28 h 38"/>
                <a:gd name="T62" fmla="*/ 62 w 63"/>
                <a:gd name="T63" fmla="*/ 32 h 38"/>
                <a:gd name="T64" fmla="*/ 59 w 63"/>
                <a:gd name="T65" fmla="*/ 35 h 38"/>
                <a:gd name="T66" fmla="*/ 59 w 63"/>
                <a:gd name="T67" fmla="*/ 35 h 38"/>
                <a:gd name="T68" fmla="*/ 53 w 63"/>
                <a:gd name="T69" fmla="*/ 36 h 38"/>
                <a:gd name="T70" fmla="*/ 49 w 63"/>
                <a:gd name="T71" fmla="*/ 38 h 38"/>
                <a:gd name="T72" fmla="*/ 45 w 63"/>
                <a:gd name="T73" fmla="*/ 36 h 38"/>
                <a:gd name="T74" fmla="*/ 45 w 63"/>
                <a:gd name="T75" fmla="*/ 36 h 38"/>
                <a:gd name="T76" fmla="*/ 40 w 63"/>
                <a:gd name="T77" fmla="*/ 34 h 38"/>
                <a:gd name="T78" fmla="*/ 34 w 63"/>
                <a:gd name="T79" fmla="*/ 31 h 38"/>
                <a:gd name="T80" fmla="*/ 32 w 63"/>
                <a:gd name="T81" fmla="*/ 28 h 38"/>
                <a:gd name="T82" fmla="*/ 30 w 63"/>
                <a:gd name="T83" fmla="*/ 28 h 38"/>
                <a:gd name="T84" fmla="*/ 30 w 63"/>
                <a:gd name="T85" fmla="*/ 28 h 38"/>
                <a:gd name="T86" fmla="*/ 30 w 63"/>
                <a:gd name="T87" fmla="*/ 28 h 38"/>
                <a:gd name="T88" fmla="*/ 30 w 63"/>
                <a:gd name="T89" fmla="*/ 34 h 38"/>
                <a:gd name="T90" fmla="*/ 30 w 63"/>
                <a:gd name="T91" fmla="*/ 35 h 38"/>
                <a:gd name="T92" fmla="*/ 29 w 63"/>
                <a:gd name="T93" fmla="*/ 35 h 38"/>
                <a:gd name="T94" fmla="*/ 29 w 63"/>
                <a:gd name="T95" fmla="*/ 35 h 38"/>
                <a:gd name="T96" fmla="*/ 26 w 63"/>
                <a:gd name="T97" fmla="*/ 34 h 38"/>
                <a:gd name="T98" fmla="*/ 23 w 63"/>
                <a:gd name="T99" fmla="*/ 32 h 38"/>
                <a:gd name="T100" fmla="*/ 19 w 63"/>
                <a:gd name="T101" fmla="*/ 29 h 38"/>
                <a:gd name="T102" fmla="*/ 19 w 63"/>
                <a:gd name="T103" fmla="*/ 29 h 38"/>
                <a:gd name="T104" fmla="*/ 14 w 63"/>
                <a:gd name="T105" fmla="*/ 32 h 38"/>
                <a:gd name="T106" fmla="*/ 10 w 63"/>
                <a:gd name="T107" fmla="*/ 34 h 38"/>
                <a:gd name="T108" fmla="*/ 7 w 63"/>
                <a:gd name="T109" fmla="*/ 3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 h="38">
                  <a:moveTo>
                    <a:pt x="7" y="35"/>
                  </a:moveTo>
                  <a:lnTo>
                    <a:pt x="7" y="35"/>
                  </a:lnTo>
                  <a:lnTo>
                    <a:pt x="3" y="35"/>
                  </a:lnTo>
                  <a:lnTo>
                    <a:pt x="0" y="34"/>
                  </a:lnTo>
                  <a:lnTo>
                    <a:pt x="0" y="32"/>
                  </a:lnTo>
                  <a:lnTo>
                    <a:pt x="1" y="29"/>
                  </a:lnTo>
                  <a:lnTo>
                    <a:pt x="1" y="29"/>
                  </a:lnTo>
                  <a:lnTo>
                    <a:pt x="10" y="20"/>
                  </a:lnTo>
                  <a:lnTo>
                    <a:pt x="14" y="18"/>
                  </a:lnTo>
                  <a:lnTo>
                    <a:pt x="19" y="16"/>
                  </a:lnTo>
                  <a:lnTo>
                    <a:pt x="19" y="16"/>
                  </a:lnTo>
                  <a:lnTo>
                    <a:pt x="27" y="15"/>
                  </a:lnTo>
                  <a:lnTo>
                    <a:pt x="30" y="13"/>
                  </a:lnTo>
                  <a:lnTo>
                    <a:pt x="33" y="10"/>
                  </a:lnTo>
                  <a:lnTo>
                    <a:pt x="33" y="10"/>
                  </a:lnTo>
                  <a:lnTo>
                    <a:pt x="34" y="6"/>
                  </a:lnTo>
                  <a:lnTo>
                    <a:pt x="39" y="3"/>
                  </a:lnTo>
                  <a:lnTo>
                    <a:pt x="43" y="0"/>
                  </a:lnTo>
                  <a:lnTo>
                    <a:pt x="45" y="0"/>
                  </a:lnTo>
                  <a:lnTo>
                    <a:pt x="47" y="0"/>
                  </a:lnTo>
                  <a:lnTo>
                    <a:pt x="47" y="0"/>
                  </a:lnTo>
                  <a:lnTo>
                    <a:pt x="49" y="3"/>
                  </a:lnTo>
                  <a:lnTo>
                    <a:pt x="50" y="6"/>
                  </a:lnTo>
                  <a:lnTo>
                    <a:pt x="52" y="9"/>
                  </a:lnTo>
                  <a:lnTo>
                    <a:pt x="55" y="10"/>
                  </a:lnTo>
                  <a:lnTo>
                    <a:pt x="55" y="10"/>
                  </a:lnTo>
                  <a:lnTo>
                    <a:pt x="58" y="12"/>
                  </a:lnTo>
                  <a:lnTo>
                    <a:pt x="61" y="16"/>
                  </a:lnTo>
                  <a:lnTo>
                    <a:pt x="63" y="22"/>
                  </a:lnTo>
                  <a:lnTo>
                    <a:pt x="63" y="22"/>
                  </a:lnTo>
                  <a:lnTo>
                    <a:pt x="63" y="28"/>
                  </a:lnTo>
                  <a:lnTo>
                    <a:pt x="62" y="32"/>
                  </a:lnTo>
                  <a:lnTo>
                    <a:pt x="59" y="35"/>
                  </a:lnTo>
                  <a:lnTo>
                    <a:pt x="59" y="35"/>
                  </a:lnTo>
                  <a:lnTo>
                    <a:pt x="53" y="36"/>
                  </a:lnTo>
                  <a:lnTo>
                    <a:pt x="49" y="38"/>
                  </a:lnTo>
                  <a:lnTo>
                    <a:pt x="45" y="36"/>
                  </a:lnTo>
                  <a:lnTo>
                    <a:pt x="45" y="36"/>
                  </a:lnTo>
                  <a:lnTo>
                    <a:pt x="40" y="34"/>
                  </a:lnTo>
                  <a:lnTo>
                    <a:pt x="34" y="31"/>
                  </a:lnTo>
                  <a:lnTo>
                    <a:pt x="32" y="28"/>
                  </a:lnTo>
                  <a:lnTo>
                    <a:pt x="30" y="28"/>
                  </a:lnTo>
                  <a:lnTo>
                    <a:pt x="30" y="28"/>
                  </a:lnTo>
                  <a:lnTo>
                    <a:pt x="30" y="28"/>
                  </a:lnTo>
                  <a:lnTo>
                    <a:pt x="30" y="34"/>
                  </a:lnTo>
                  <a:lnTo>
                    <a:pt x="30" y="35"/>
                  </a:lnTo>
                  <a:lnTo>
                    <a:pt x="29" y="35"/>
                  </a:lnTo>
                  <a:lnTo>
                    <a:pt x="29" y="35"/>
                  </a:lnTo>
                  <a:lnTo>
                    <a:pt x="26" y="34"/>
                  </a:lnTo>
                  <a:lnTo>
                    <a:pt x="23" y="32"/>
                  </a:lnTo>
                  <a:lnTo>
                    <a:pt x="19" y="29"/>
                  </a:lnTo>
                  <a:lnTo>
                    <a:pt x="19" y="29"/>
                  </a:lnTo>
                  <a:lnTo>
                    <a:pt x="14" y="32"/>
                  </a:lnTo>
                  <a:lnTo>
                    <a:pt x="10" y="34"/>
                  </a:lnTo>
                  <a:lnTo>
                    <a:pt x="7" y="35"/>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9" name="Freeform 48"/>
            <p:cNvSpPr>
              <a:spLocks/>
            </p:cNvSpPr>
            <p:nvPr/>
          </p:nvSpPr>
          <p:spPr bwMode="auto">
            <a:xfrm>
              <a:off x="1393825" y="1400604"/>
              <a:ext cx="100013" cy="60325"/>
            </a:xfrm>
            <a:custGeom>
              <a:avLst/>
              <a:gdLst>
                <a:gd name="T0" fmla="*/ 7 w 63"/>
                <a:gd name="T1" fmla="*/ 35 h 38"/>
                <a:gd name="T2" fmla="*/ 7 w 63"/>
                <a:gd name="T3" fmla="*/ 35 h 38"/>
                <a:gd name="T4" fmla="*/ 3 w 63"/>
                <a:gd name="T5" fmla="*/ 35 h 38"/>
                <a:gd name="T6" fmla="*/ 0 w 63"/>
                <a:gd name="T7" fmla="*/ 34 h 38"/>
                <a:gd name="T8" fmla="*/ 0 w 63"/>
                <a:gd name="T9" fmla="*/ 32 h 38"/>
                <a:gd name="T10" fmla="*/ 1 w 63"/>
                <a:gd name="T11" fmla="*/ 29 h 38"/>
                <a:gd name="T12" fmla="*/ 1 w 63"/>
                <a:gd name="T13" fmla="*/ 29 h 38"/>
                <a:gd name="T14" fmla="*/ 10 w 63"/>
                <a:gd name="T15" fmla="*/ 20 h 38"/>
                <a:gd name="T16" fmla="*/ 14 w 63"/>
                <a:gd name="T17" fmla="*/ 18 h 38"/>
                <a:gd name="T18" fmla="*/ 19 w 63"/>
                <a:gd name="T19" fmla="*/ 16 h 38"/>
                <a:gd name="T20" fmla="*/ 19 w 63"/>
                <a:gd name="T21" fmla="*/ 16 h 38"/>
                <a:gd name="T22" fmla="*/ 27 w 63"/>
                <a:gd name="T23" fmla="*/ 15 h 38"/>
                <a:gd name="T24" fmla="*/ 30 w 63"/>
                <a:gd name="T25" fmla="*/ 13 h 38"/>
                <a:gd name="T26" fmla="*/ 33 w 63"/>
                <a:gd name="T27" fmla="*/ 10 h 38"/>
                <a:gd name="T28" fmla="*/ 33 w 63"/>
                <a:gd name="T29" fmla="*/ 10 h 38"/>
                <a:gd name="T30" fmla="*/ 34 w 63"/>
                <a:gd name="T31" fmla="*/ 6 h 38"/>
                <a:gd name="T32" fmla="*/ 39 w 63"/>
                <a:gd name="T33" fmla="*/ 3 h 38"/>
                <a:gd name="T34" fmla="*/ 43 w 63"/>
                <a:gd name="T35" fmla="*/ 0 h 38"/>
                <a:gd name="T36" fmla="*/ 45 w 63"/>
                <a:gd name="T37" fmla="*/ 0 h 38"/>
                <a:gd name="T38" fmla="*/ 47 w 63"/>
                <a:gd name="T39" fmla="*/ 0 h 38"/>
                <a:gd name="T40" fmla="*/ 47 w 63"/>
                <a:gd name="T41" fmla="*/ 0 h 38"/>
                <a:gd name="T42" fmla="*/ 49 w 63"/>
                <a:gd name="T43" fmla="*/ 3 h 38"/>
                <a:gd name="T44" fmla="*/ 50 w 63"/>
                <a:gd name="T45" fmla="*/ 6 h 38"/>
                <a:gd name="T46" fmla="*/ 52 w 63"/>
                <a:gd name="T47" fmla="*/ 9 h 38"/>
                <a:gd name="T48" fmla="*/ 55 w 63"/>
                <a:gd name="T49" fmla="*/ 10 h 38"/>
                <a:gd name="T50" fmla="*/ 55 w 63"/>
                <a:gd name="T51" fmla="*/ 10 h 38"/>
                <a:gd name="T52" fmla="*/ 58 w 63"/>
                <a:gd name="T53" fmla="*/ 12 h 38"/>
                <a:gd name="T54" fmla="*/ 61 w 63"/>
                <a:gd name="T55" fmla="*/ 16 h 38"/>
                <a:gd name="T56" fmla="*/ 63 w 63"/>
                <a:gd name="T57" fmla="*/ 22 h 38"/>
                <a:gd name="T58" fmla="*/ 63 w 63"/>
                <a:gd name="T59" fmla="*/ 22 h 38"/>
                <a:gd name="T60" fmla="*/ 63 w 63"/>
                <a:gd name="T61" fmla="*/ 28 h 38"/>
                <a:gd name="T62" fmla="*/ 62 w 63"/>
                <a:gd name="T63" fmla="*/ 32 h 38"/>
                <a:gd name="T64" fmla="*/ 59 w 63"/>
                <a:gd name="T65" fmla="*/ 35 h 38"/>
                <a:gd name="T66" fmla="*/ 59 w 63"/>
                <a:gd name="T67" fmla="*/ 35 h 38"/>
                <a:gd name="T68" fmla="*/ 53 w 63"/>
                <a:gd name="T69" fmla="*/ 36 h 38"/>
                <a:gd name="T70" fmla="*/ 49 w 63"/>
                <a:gd name="T71" fmla="*/ 38 h 38"/>
                <a:gd name="T72" fmla="*/ 45 w 63"/>
                <a:gd name="T73" fmla="*/ 36 h 38"/>
                <a:gd name="T74" fmla="*/ 45 w 63"/>
                <a:gd name="T75" fmla="*/ 36 h 38"/>
                <a:gd name="T76" fmla="*/ 40 w 63"/>
                <a:gd name="T77" fmla="*/ 34 h 38"/>
                <a:gd name="T78" fmla="*/ 34 w 63"/>
                <a:gd name="T79" fmla="*/ 31 h 38"/>
                <a:gd name="T80" fmla="*/ 32 w 63"/>
                <a:gd name="T81" fmla="*/ 28 h 38"/>
                <a:gd name="T82" fmla="*/ 30 w 63"/>
                <a:gd name="T83" fmla="*/ 28 h 38"/>
                <a:gd name="T84" fmla="*/ 30 w 63"/>
                <a:gd name="T85" fmla="*/ 28 h 38"/>
                <a:gd name="T86" fmla="*/ 30 w 63"/>
                <a:gd name="T87" fmla="*/ 28 h 38"/>
                <a:gd name="T88" fmla="*/ 30 w 63"/>
                <a:gd name="T89" fmla="*/ 34 h 38"/>
                <a:gd name="T90" fmla="*/ 30 w 63"/>
                <a:gd name="T91" fmla="*/ 35 h 38"/>
                <a:gd name="T92" fmla="*/ 29 w 63"/>
                <a:gd name="T93" fmla="*/ 35 h 38"/>
                <a:gd name="T94" fmla="*/ 29 w 63"/>
                <a:gd name="T95" fmla="*/ 35 h 38"/>
                <a:gd name="T96" fmla="*/ 26 w 63"/>
                <a:gd name="T97" fmla="*/ 34 h 38"/>
                <a:gd name="T98" fmla="*/ 23 w 63"/>
                <a:gd name="T99" fmla="*/ 32 h 38"/>
                <a:gd name="T100" fmla="*/ 19 w 63"/>
                <a:gd name="T101" fmla="*/ 29 h 38"/>
                <a:gd name="T102" fmla="*/ 19 w 63"/>
                <a:gd name="T103" fmla="*/ 29 h 38"/>
                <a:gd name="T104" fmla="*/ 14 w 63"/>
                <a:gd name="T105" fmla="*/ 32 h 38"/>
                <a:gd name="T106" fmla="*/ 10 w 63"/>
                <a:gd name="T107" fmla="*/ 34 h 38"/>
                <a:gd name="T108" fmla="*/ 7 w 63"/>
                <a:gd name="T109" fmla="*/ 3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 h="38">
                  <a:moveTo>
                    <a:pt x="7" y="35"/>
                  </a:moveTo>
                  <a:lnTo>
                    <a:pt x="7" y="35"/>
                  </a:lnTo>
                  <a:lnTo>
                    <a:pt x="3" y="35"/>
                  </a:lnTo>
                  <a:lnTo>
                    <a:pt x="0" y="34"/>
                  </a:lnTo>
                  <a:lnTo>
                    <a:pt x="0" y="32"/>
                  </a:lnTo>
                  <a:lnTo>
                    <a:pt x="1" y="29"/>
                  </a:lnTo>
                  <a:lnTo>
                    <a:pt x="1" y="29"/>
                  </a:lnTo>
                  <a:lnTo>
                    <a:pt x="10" y="20"/>
                  </a:lnTo>
                  <a:lnTo>
                    <a:pt x="14" y="18"/>
                  </a:lnTo>
                  <a:lnTo>
                    <a:pt x="19" y="16"/>
                  </a:lnTo>
                  <a:lnTo>
                    <a:pt x="19" y="16"/>
                  </a:lnTo>
                  <a:lnTo>
                    <a:pt x="27" y="15"/>
                  </a:lnTo>
                  <a:lnTo>
                    <a:pt x="30" y="13"/>
                  </a:lnTo>
                  <a:lnTo>
                    <a:pt x="33" y="10"/>
                  </a:lnTo>
                  <a:lnTo>
                    <a:pt x="33" y="10"/>
                  </a:lnTo>
                  <a:lnTo>
                    <a:pt x="34" y="6"/>
                  </a:lnTo>
                  <a:lnTo>
                    <a:pt x="39" y="3"/>
                  </a:lnTo>
                  <a:lnTo>
                    <a:pt x="43" y="0"/>
                  </a:lnTo>
                  <a:lnTo>
                    <a:pt x="45" y="0"/>
                  </a:lnTo>
                  <a:lnTo>
                    <a:pt x="47" y="0"/>
                  </a:lnTo>
                  <a:lnTo>
                    <a:pt x="47" y="0"/>
                  </a:lnTo>
                  <a:lnTo>
                    <a:pt x="49" y="3"/>
                  </a:lnTo>
                  <a:lnTo>
                    <a:pt x="50" y="6"/>
                  </a:lnTo>
                  <a:lnTo>
                    <a:pt x="52" y="9"/>
                  </a:lnTo>
                  <a:lnTo>
                    <a:pt x="55" y="10"/>
                  </a:lnTo>
                  <a:lnTo>
                    <a:pt x="55" y="10"/>
                  </a:lnTo>
                  <a:lnTo>
                    <a:pt x="58" y="12"/>
                  </a:lnTo>
                  <a:lnTo>
                    <a:pt x="61" y="16"/>
                  </a:lnTo>
                  <a:lnTo>
                    <a:pt x="63" y="22"/>
                  </a:lnTo>
                  <a:lnTo>
                    <a:pt x="63" y="22"/>
                  </a:lnTo>
                  <a:lnTo>
                    <a:pt x="63" y="28"/>
                  </a:lnTo>
                  <a:lnTo>
                    <a:pt x="62" y="32"/>
                  </a:lnTo>
                  <a:lnTo>
                    <a:pt x="59" y="35"/>
                  </a:lnTo>
                  <a:lnTo>
                    <a:pt x="59" y="35"/>
                  </a:lnTo>
                  <a:lnTo>
                    <a:pt x="53" y="36"/>
                  </a:lnTo>
                  <a:lnTo>
                    <a:pt x="49" y="38"/>
                  </a:lnTo>
                  <a:lnTo>
                    <a:pt x="45" y="36"/>
                  </a:lnTo>
                  <a:lnTo>
                    <a:pt x="45" y="36"/>
                  </a:lnTo>
                  <a:lnTo>
                    <a:pt x="40" y="34"/>
                  </a:lnTo>
                  <a:lnTo>
                    <a:pt x="34" y="31"/>
                  </a:lnTo>
                  <a:lnTo>
                    <a:pt x="32" y="28"/>
                  </a:lnTo>
                  <a:lnTo>
                    <a:pt x="30" y="28"/>
                  </a:lnTo>
                  <a:lnTo>
                    <a:pt x="30" y="28"/>
                  </a:lnTo>
                  <a:lnTo>
                    <a:pt x="30" y="28"/>
                  </a:lnTo>
                  <a:lnTo>
                    <a:pt x="30" y="34"/>
                  </a:lnTo>
                  <a:lnTo>
                    <a:pt x="30" y="35"/>
                  </a:lnTo>
                  <a:lnTo>
                    <a:pt x="29" y="35"/>
                  </a:lnTo>
                  <a:lnTo>
                    <a:pt x="29" y="35"/>
                  </a:lnTo>
                  <a:lnTo>
                    <a:pt x="26" y="34"/>
                  </a:lnTo>
                  <a:lnTo>
                    <a:pt x="23" y="32"/>
                  </a:lnTo>
                  <a:lnTo>
                    <a:pt x="19" y="29"/>
                  </a:lnTo>
                  <a:lnTo>
                    <a:pt x="19" y="29"/>
                  </a:lnTo>
                  <a:lnTo>
                    <a:pt x="14" y="32"/>
                  </a:lnTo>
                  <a:lnTo>
                    <a:pt x="10" y="34"/>
                  </a:lnTo>
                  <a:lnTo>
                    <a:pt x="7"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0" name="Freeform 49"/>
            <p:cNvSpPr>
              <a:spLocks/>
            </p:cNvSpPr>
            <p:nvPr/>
          </p:nvSpPr>
          <p:spPr bwMode="auto">
            <a:xfrm>
              <a:off x="1589088" y="1527604"/>
              <a:ext cx="41275" cy="63500"/>
            </a:xfrm>
            <a:custGeom>
              <a:avLst/>
              <a:gdLst>
                <a:gd name="T0" fmla="*/ 24 w 26"/>
                <a:gd name="T1" fmla="*/ 39 h 40"/>
                <a:gd name="T2" fmla="*/ 24 w 26"/>
                <a:gd name="T3" fmla="*/ 39 h 40"/>
                <a:gd name="T4" fmla="*/ 20 w 26"/>
                <a:gd name="T5" fmla="*/ 40 h 40"/>
                <a:gd name="T6" fmla="*/ 16 w 26"/>
                <a:gd name="T7" fmla="*/ 40 h 40"/>
                <a:gd name="T8" fmla="*/ 11 w 26"/>
                <a:gd name="T9" fmla="*/ 39 h 40"/>
                <a:gd name="T10" fmla="*/ 10 w 26"/>
                <a:gd name="T11" fmla="*/ 38 h 40"/>
                <a:gd name="T12" fmla="*/ 10 w 26"/>
                <a:gd name="T13" fmla="*/ 38 h 40"/>
                <a:gd name="T14" fmla="*/ 7 w 26"/>
                <a:gd name="T15" fmla="*/ 26 h 40"/>
                <a:gd name="T16" fmla="*/ 6 w 26"/>
                <a:gd name="T17" fmla="*/ 20 h 40"/>
                <a:gd name="T18" fmla="*/ 4 w 26"/>
                <a:gd name="T19" fmla="*/ 14 h 40"/>
                <a:gd name="T20" fmla="*/ 4 w 26"/>
                <a:gd name="T21" fmla="*/ 14 h 40"/>
                <a:gd name="T22" fmla="*/ 1 w 26"/>
                <a:gd name="T23" fmla="*/ 10 h 40"/>
                <a:gd name="T24" fmla="*/ 0 w 26"/>
                <a:gd name="T25" fmla="*/ 6 h 40"/>
                <a:gd name="T26" fmla="*/ 0 w 26"/>
                <a:gd name="T27" fmla="*/ 1 h 40"/>
                <a:gd name="T28" fmla="*/ 1 w 26"/>
                <a:gd name="T29" fmla="*/ 0 h 40"/>
                <a:gd name="T30" fmla="*/ 1 w 26"/>
                <a:gd name="T31" fmla="*/ 0 h 40"/>
                <a:gd name="T32" fmla="*/ 4 w 26"/>
                <a:gd name="T33" fmla="*/ 0 h 40"/>
                <a:gd name="T34" fmla="*/ 8 w 26"/>
                <a:gd name="T35" fmla="*/ 3 h 40"/>
                <a:gd name="T36" fmla="*/ 13 w 26"/>
                <a:gd name="T37" fmla="*/ 7 h 40"/>
                <a:gd name="T38" fmla="*/ 14 w 26"/>
                <a:gd name="T39" fmla="*/ 11 h 40"/>
                <a:gd name="T40" fmla="*/ 14 w 26"/>
                <a:gd name="T41" fmla="*/ 11 h 40"/>
                <a:gd name="T42" fmla="*/ 17 w 26"/>
                <a:gd name="T43" fmla="*/ 20 h 40"/>
                <a:gd name="T44" fmla="*/ 20 w 26"/>
                <a:gd name="T45" fmla="*/ 27 h 40"/>
                <a:gd name="T46" fmla="*/ 20 w 26"/>
                <a:gd name="T47" fmla="*/ 27 h 40"/>
                <a:gd name="T48" fmla="*/ 24 w 26"/>
                <a:gd name="T49" fmla="*/ 33 h 40"/>
                <a:gd name="T50" fmla="*/ 26 w 26"/>
                <a:gd name="T51" fmla="*/ 38 h 40"/>
                <a:gd name="T52" fmla="*/ 24 w 26"/>
                <a:gd name="T53" fmla="*/ 38 h 40"/>
                <a:gd name="T54" fmla="*/ 24 w 26"/>
                <a:gd name="T5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 h="40">
                  <a:moveTo>
                    <a:pt x="24" y="39"/>
                  </a:moveTo>
                  <a:lnTo>
                    <a:pt x="24" y="39"/>
                  </a:lnTo>
                  <a:lnTo>
                    <a:pt x="20" y="40"/>
                  </a:lnTo>
                  <a:lnTo>
                    <a:pt x="16" y="40"/>
                  </a:lnTo>
                  <a:lnTo>
                    <a:pt x="11" y="39"/>
                  </a:lnTo>
                  <a:lnTo>
                    <a:pt x="10" y="38"/>
                  </a:lnTo>
                  <a:lnTo>
                    <a:pt x="10" y="38"/>
                  </a:lnTo>
                  <a:lnTo>
                    <a:pt x="7" y="26"/>
                  </a:lnTo>
                  <a:lnTo>
                    <a:pt x="6" y="20"/>
                  </a:lnTo>
                  <a:lnTo>
                    <a:pt x="4" y="14"/>
                  </a:lnTo>
                  <a:lnTo>
                    <a:pt x="4" y="14"/>
                  </a:lnTo>
                  <a:lnTo>
                    <a:pt x="1" y="10"/>
                  </a:lnTo>
                  <a:lnTo>
                    <a:pt x="0" y="6"/>
                  </a:lnTo>
                  <a:lnTo>
                    <a:pt x="0" y="1"/>
                  </a:lnTo>
                  <a:lnTo>
                    <a:pt x="1" y="0"/>
                  </a:lnTo>
                  <a:lnTo>
                    <a:pt x="1" y="0"/>
                  </a:lnTo>
                  <a:lnTo>
                    <a:pt x="4" y="0"/>
                  </a:lnTo>
                  <a:lnTo>
                    <a:pt x="8" y="3"/>
                  </a:lnTo>
                  <a:lnTo>
                    <a:pt x="13" y="7"/>
                  </a:lnTo>
                  <a:lnTo>
                    <a:pt x="14" y="11"/>
                  </a:lnTo>
                  <a:lnTo>
                    <a:pt x="14" y="11"/>
                  </a:lnTo>
                  <a:lnTo>
                    <a:pt x="17" y="20"/>
                  </a:lnTo>
                  <a:lnTo>
                    <a:pt x="20" y="27"/>
                  </a:lnTo>
                  <a:lnTo>
                    <a:pt x="20" y="27"/>
                  </a:lnTo>
                  <a:lnTo>
                    <a:pt x="24" y="33"/>
                  </a:lnTo>
                  <a:lnTo>
                    <a:pt x="26" y="38"/>
                  </a:lnTo>
                  <a:lnTo>
                    <a:pt x="24" y="38"/>
                  </a:lnTo>
                  <a:lnTo>
                    <a:pt x="24" y="39"/>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1" name="Freeform 50"/>
            <p:cNvSpPr>
              <a:spLocks/>
            </p:cNvSpPr>
            <p:nvPr/>
          </p:nvSpPr>
          <p:spPr bwMode="auto">
            <a:xfrm>
              <a:off x="1589088" y="1527604"/>
              <a:ext cx="41275" cy="63500"/>
            </a:xfrm>
            <a:custGeom>
              <a:avLst/>
              <a:gdLst>
                <a:gd name="T0" fmla="*/ 24 w 26"/>
                <a:gd name="T1" fmla="*/ 39 h 40"/>
                <a:gd name="T2" fmla="*/ 24 w 26"/>
                <a:gd name="T3" fmla="*/ 39 h 40"/>
                <a:gd name="T4" fmla="*/ 20 w 26"/>
                <a:gd name="T5" fmla="*/ 40 h 40"/>
                <a:gd name="T6" fmla="*/ 16 w 26"/>
                <a:gd name="T7" fmla="*/ 40 h 40"/>
                <a:gd name="T8" fmla="*/ 11 w 26"/>
                <a:gd name="T9" fmla="*/ 39 h 40"/>
                <a:gd name="T10" fmla="*/ 10 w 26"/>
                <a:gd name="T11" fmla="*/ 38 h 40"/>
                <a:gd name="T12" fmla="*/ 10 w 26"/>
                <a:gd name="T13" fmla="*/ 38 h 40"/>
                <a:gd name="T14" fmla="*/ 7 w 26"/>
                <a:gd name="T15" fmla="*/ 26 h 40"/>
                <a:gd name="T16" fmla="*/ 6 w 26"/>
                <a:gd name="T17" fmla="*/ 20 h 40"/>
                <a:gd name="T18" fmla="*/ 4 w 26"/>
                <a:gd name="T19" fmla="*/ 14 h 40"/>
                <a:gd name="T20" fmla="*/ 4 w 26"/>
                <a:gd name="T21" fmla="*/ 14 h 40"/>
                <a:gd name="T22" fmla="*/ 1 w 26"/>
                <a:gd name="T23" fmla="*/ 10 h 40"/>
                <a:gd name="T24" fmla="*/ 0 w 26"/>
                <a:gd name="T25" fmla="*/ 6 h 40"/>
                <a:gd name="T26" fmla="*/ 0 w 26"/>
                <a:gd name="T27" fmla="*/ 1 h 40"/>
                <a:gd name="T28" fmla="*/ 1 w 26"/>
                <a:gd name="T29" fmla="*/ 0 h 40"/>
                <a:gd name="T30" fmla="*/ 1 w 26"/>
                <a:gd name="T31" fmla="*/ 0 h 40"/>
                <a:gd name="T32" fmla="*/ 4 w 26"/>
                <a:gd name="T33" fmla="*/ 0 h 40"/>
                <a:gd name="T34" fmla="*/ 8 w 26"/>
                <a:gd name="T35" fmla="*/ 3 h 40"/>
                <a:gd name="T36" fmla="*/ 13 w 26"/>
                <a:gd name="T37" fmla="*/ 7 h 40"/>
                <a:gd name="T38" fmla="*/ 14 w 26"/>
                <a:gd name="T39" fmla="*/ 11 h 40"/>
                <a:gd name="T40" fmla="*/ 14 w 26"/>
                <a:gd name="T41" fmla="*/ 11 h 40"/>
                <a:gd name="T42" fmla="*/ 17 w 26"/>
                <a:gd name="T43" fmla="*/ 20 h 40"/>
                <a:gd name="T44" fmla="*/ 20 w 26"/>
                <a:gd name="T45" fmla="*/ 27 h 40"/>
                <a:gd name="T46" fmla="*/ 20 w 26"/>
                <a:gd name="T47" fmla="*/ 27 h 40"/>
                <a:gd name="T48" fmla="*/ 24 w 26"/>
                <a:gd name="T49" fmla="*/ 33 h 40"/>
                <a:gd name="T50" fmla="*/ 26 w 26"/>
                <a:gd name="T51" fmla="*/ 38 h 40"/>
                <a:gd name="T52" fmla="*/ 24 w 26"/>
                <a:gd name="T53" fmla="*/ 38 h 40"/>
                <a:gd name="T54" fmla="*/ 24 w 26"/>
                <a:gd name="T5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 h="40">
                  <a:moveTo>
                    <a:pt x="24" y="39"/>
                  </a:moveTo>
                  <a:lnTo>
                    <a:pt x="24" y="39"/>
                  </a:lnTo>
                  <a:lnTo>
                    <a:pt x="20" y="40"/>
                  </a:lnTo>
                  <a:lnTo>
                    <a:pt x="16" y="40"/>
                  </a:lnTo>
                  <a:lnTo>
                    <a:pt x="11" y="39"/>
                  </a:lnTo>
                  <a:lnTo>
                    <a:pt x="10" y="38"/>
                  </a:lnTo>
                  <a:lnTo>
                    <a:pt x="10" y="38"/>
                  </a:lnTo>
                  <a:lnTo>
                    <a:pt x="7" y="26"/>
                  </a:lnTo>
                  <a:lnTo>
                    <a:pt x="6" y="20"/>
                  </a:lnTo>
                  <a:lnTo>
                    <a:pt x="4" y="14"/>
                  </a:lnTo>
                  <a:lnTo>
                    <a:pt x="4" y="14"/>
                  </a:lnTo>
                  <a:lnTo>
                    <a:pt x="1" y="10"/>
                  </a:lnTo>
                  <a:lnTo>
                    <a:pt x="0" y="6"/>
                  </a:lnTo>
                  <a:lnTo>
                    <a:pt x="0" y="1"/>
                  </a:lnTo>
                  <a:lnTo>
                    <a:pt x="1" y="0"/>
                  </a:lnTo>
                  <a:lnTo>
                    <a:pt x="1" y="0"/>
                  </a:lnTo>
                  <a:lnTo>
                    <a:pt x="4" y="0"/>
                  </a:lnTo>
                  <a:lnTo>
                    <a:pt x="8" y="3"/>
                  </a:lnTo>
                  <a:lnTo>
                    <a:pt x="13" y="7"/>
                  </a:lnTo>
                  <a:lnTo>
                    <a:pt x="14" y="11"/>
                  </a:lnTo>
                  <a:lnTo>
                    <a:pt x="14" y="11"/>
                  </a:lnTo>
                  <a:lnTo>
                    <a:pt x="17" y="20"/>
                  </a:lnTo>
                  <a:lnTo>
                    <a:pt x="20" y="27"/>
                  </a:lnTo>
                  <a:lnTo>
                    <a:pt x="20" y="27"/>
                  </a:lnTo>
                  <a:lnTo>
                    <a:pt x="24" y="33"/>
                  </a:lnTo>
                  <a:lnTo>
                    <a:pt x="26" y="38"/>
                  </a:lnTo>
                  <a:lnTo>
                    <a:pt x="24" y="38"/>
                  </a:lnTo>
                  <a:lnTo>
                    <a:pt x="24" y="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2" name="Freeform 51"/>
            <p:cNvSpPr>
              <a:spLocks/>
            </p:cNvSpPr>
            <p:nvPr/>
          </p:nvSpPr>
          <p:spPr bwMode="auto">
            <a:xfrm>
              <a:off x="1673225" y="1499029"/>
              <a:ext cx="39688" cy="23813"/>
            </a:xfrm>
            <a:custGeom>
              <a:avLst/>
              <a:gdLst>
                <a:gd name="T0" fmla="*/ 9 w 25"/>
                <a:gd name="T1" fmla="*/ 15 h 15"/>
                <a:gd name="T2" fmla="*/ 9 w 25"/>
                <a:gd name="T3" fmla="*/ 15 h 15"/>
                <a:gd name="T4" fmla="*/ 6 w 25"/>
                <a:gd name="T5" fmla="*/ 14 h 15"/>
                <a:gd name="T6" fmla="*/ 3 w 25"/>
                <a:gd name="T7" fmla="*/ 11 h 15"/>
                <a:gd name="T8" fmla="*/ 0 w 25"/>
                <a:gd name="T9" fmla="*/ 8 h 15"/>
                <a:gd name="T10" fmla="*/ 0 w 25"/>
                <a:gd name="T11" fmla="*/ 5 h 15"/>
                <a:gd name="T12" fmla="*/ 0 w 25"/>
                <a:gd name="T13" fmla="*/ 5 h 15"/>
                <a:gd name="T14" fmla="*/ 2 w 25"/>
                <a:gd name="T15" fmla="*/ 3 h 15"/>
                <a:gd name="T16" fmla="*/ 5 w 25"/>
                <a:gd name="T17" fmla="*/ 2 h 15"/>
                <a:gd name="T18" fmla="*/ 12 w 25"/>
                <a:gd name="T19" fmla="*/ 0 h 15"/>
                <a:gd name="T20" fmla="*/ 12 w 25"/>
                <a:gd name="T21" fmla="*/ 0 h 15"/>
                <a:gd name="T22" fmla="*/ 16 w 25"/>
                <a:gd name="T23" fmla="*/ 2 h 15"/>
                <a:gd name="T24" fmla="*/ 21 w 25"/>
                <a:gd name="T25" fmla="*/ 5 h 15"/>
                <a:gd name="T26" fmla="*/ 24 w 25"/>
                <a:gd name="T27" fmla="*/ 8 h 15"/>
                <a:gd name="T28" fmla="*/ 25 w 25"/>
                <a:gd name="T29" fmla="*/ 9 h 15"/>
                <a:gd name="T30" fmla="*/ 25 w 25"/>
                <a:gd name="T31" fmla="*/ 9 h 15"/>
                <a:gd name="T32" fmla="*/ 21 w 25"/>
                <a:gd name="T33" fmla="*/ 11 h 15"/>
                <a:gd name="T34" fmla="*/ 18 w 25"/>
                <a:gd name="T35" fmla="*/ 12 h 15"/>
                <a:gd name="T36" fmla="*/ 18 w 25"/>
                <a:gd name="T37" fmla="*/ 12 h 15"/>
                <a:gd name="T38" fmla="*/ 9 w 25"/>
                <a:gd name="T3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15">
                  <a:moveTo>
                    <a:pt x="9" y="15"/>
                  </a:moveTo>
                  <a:lnTo>
                    <a:pt x="9" y="15"/>
                  </a:lnTo>
                  <a:lnTo>
                    <a:pt x="6" y="14"/>
                  </a:lnTo>
                  <a:lnTo>
                    <a:pt x="3" y="11"/>
                  </a:lnTo>
                  <a:lnTo>
                    <a:pt x="0" y="8"/>
                  </a:lnTo>
                  <a:lnTo>
                    <a:pt x="0" y="5"/>
                  </a:lnTo>
                  <a:lnTo>
                    <a:pt x="0" y="5"/>
                  </a:lnTo>
                  <a:lnTo>
                    <a:pt x="2" y="3"/>
                  </a:lnTo>
                  <a:lnTo>
                    <a:pt x="5" y="2"/>
                  </a:lnTo>
                  <a:lnTo>
                    <a:pt x="12" y="0"/>
                  </a:lnTo>
                  <a:lnTo>
                    <a:pt x="12" y="0"/>
                  </a:lnTo>
                  <a:lnTo>
                    <a:pt x="16" y="2"/>
                  </a:lnTo>
                  <a:lnTo>
                    <a:pt x="21" y="5"/>
                  </a:lnTo>
                  <a:lnTo>
                    <a:pt x="24" y="8"/>
                  </a:lnTo>
                  <a:lnTo>
                    <a:pt x="25" y="9"/>
                  </a:lnTo>
                  <a:lnTo>
                    <a:pt x="25" y="9"/>
                  </a:lnTo>
                  <a:lnTo>
                    <a:pt x="21" y="11"/>
                  </a:lnTo>
                  <a:lnTo>
                    <a:pt x="18" y="12"/>
                  </a:lnTo>
                  <a:lnTo>
                    <a:pt x="18" y="12"/>
                  </a:lnTo>
                  <a:lnTo>
                    <a:pt x="9" y="15"/>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3" name="Freeform 52"/>
            <p:cNvSpPr>
              <a:spLocks/>
            </p:cNvSpPr>
            <p:nvPr/>
          </p:nvSpPr>
          <p:spPr bwMode="auto">
            <a:xfrm>
              <a:off x="1673225" y="1499029"/>
              <a:ext cx="39688" cy="23813"/>
            </a:xfrm>
            <a:custGeom>
              <a:avLst/>
              <a:gdLst>
                <a:gd name="T0" fmla="*/ 9 w 25"/>
                <a:gd name="T1" fmla="*/ 15 h 15"/>
                <a:gd name="T2" fmla="*/ 9 w 25"/>
                <a:gd name="T3" fmla="*/ 15 h 15"/>
                <a:gd name="T4" fmla="*/ 6 w 25"/>
                <a:gd name="T5" fmla="*/ 14 h 15"/>
                <a:gd name="T6" fmla="*/ 3 w 25"/>
                <a:gd name="T7" fmla="*/ 11 h 15"/>
                <a:gd name="T8" fmla="*/ 0 w 25"/>
                <a:gd name="T9" fmla="*/ 8 h 15"/>
                <a:gd name="T10" fmla="*/ 0 w 25"/>
                <a:gd name="T11" fmla="*/ 5 h 15"/>
                <a:gd name="T12" fmla="*/ 0 w 25"/>
                <a:gd name="T13" fmla="*/ 5 h 15"/>
                <a:gd name="T14" fmla="*/ 2 w 25"/>
                <a:gd name="T15" fmla="*/ 3 h 15"/>
                <a:gd name="T16" fmla="*/ 5 w 25"/>
                <a:gd name="T17" fmla="*/ 2 h 15"/>
                <a:gd name="T18" fmla="*/ 12 w 25"/>
                <a:gd name="T19" fmla="*/ 0 h 15"/>
                <a:gd name="T20" fmla="*/ 12 w 25"/>
                <a:gd name="T21" fmla="*/ 0 h 15"/>
                <a:gd name="T22" fmla="*/ 16 w 25"/>
                <a:gd name="T23" fmla="*/ 2 h 15"/>
                <a:gd name="T24" fmla="*/ 21 w 25"/>
                <a:gd name="T25" fmla="*/ 5 h 15"/>
                <a:gd name="T26" fmla="*/ 24 w 25"/>
                <a:gd name="T27" fmla="*/ 8 h 15"/>
                <a:gd name="T28" fmla="*/ 25 w 25"/>
                <a:gd name="T29" fmla="*/ 9 h 15"/>
                <a:gd name="T30" fmla="*/ 25 w 25"/>
                <a:gd name="T31" fmla="*/ 9 h 15"/>
                <a:gd name="T32" fmla="*/ 21 w 25"/>
                <a:gd name="T33" fmla="*/ 11 h 15"/>
                <a:gd name="T34" fmla="*/ 18 w 25"/>
                <a:gd name="T35" fmla="*/ 12 h 15"/>
                <a:gd name="T36" fmla="*/ 18 w 25"/>
                <a:gd name="T37" fmla="*/ 12 h 15"/>
                <a:gd name="T38" fmla="*/ 9 w 25"/>
                <a:gd name="T3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15">
                  <a:moveTo>
                    <a:pt x="9" y="15"/>
                  </a:moveTo>
                  <a:lnTo>
                    <a:pt x="9" y="15"/>
                  </a:lnTo>
                  <a:lnTo>
                    <a:pt x="6" y="14"/>
                  </a:lnTo>
                  <a:lnTo>
                    <a:pt x="3" y="11"/>
                  </a:lnTo>
                  <a:lnTo>
                    <a:pt x="0" y="8"/>
                  </a:lnTo>
                  <a:lnTo>
                    <a:pt x="0" y="5"/>
                  </a:lnTo>
                  <a:lnTo>
                    <a:pt x="0" y="5"/>
                  </a:lnTo>
                  <a:lnTo>
                    <a:pt x="2" y="3"/>
                  </a:lnTo>
                  <a:lnTo>
                    <a:pt x="5" y="2"/>
                  </a:lnTo>
                  <a:lnTo>
                    <a:pt x="12" y="0"/>
                  </a:lnTo>
                  <a:lnTo>
                    <a:pt x="12" y="0"/>
                  </a:lnTo>
                  <a:lnTo>
                    <a:pt x="16" y="2"/>
                  </a:lnTo>
                  <a:lnTo>
                    <a:pt x="21" y="5"/>
                  </a:lnTo>
                  <a:lnTo>
                    <a:pt x="24" y="8"/>
                  </a:lnTo>
                  <a:lnTo>
                    <a:pt x="25" y="9"/>
                  </a:lnTo>
                  <a:lnTo>
                    <a:pt x="25" y="9"/>
                  </a:lnTo>
                  <a:lnTo>
                    <a:pt x="21" y="11"/>
                  </a:lnTo>
                  <a:lnTo>
                    <a:pt x="18" y="12"/>
                  </a:lnTo>
                  <a:lnTo>
                    <a:pt x="18" y="12"/>
                  </a:lnTo>
                  <a:lnTo>
                    <a:pt x="9"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4" name="Freeform 53"/>
            <p:cNvSpPr>
              <a:spLocks/>
            </p:cNvSpPr>
            <p:nvPr/>
          </p:nvSpPr>
          <p:spPr bwMode="auto">
            <a:xfrm>
              <a:off x="1595438" y="1319641"/>
              <a:ext cx="163513" cy="196850"/>
            </a:xfrm>
            <a:custGeom>
              <a:avLst/>
              <a:gdLst>
                <a:gd name="T0" fmla="*/ 84 w 103"/>
                <a:gd name="T1" fmla="*/ 121 h 124"/>
                <a:gd name="T2" fmla="*/ 77 w 103"/>
                <a:gd name="T3" fmla="*/ 103 h 124"/>
                <a:gd name="T4" fmla="*/ 71 w 103"/>
                <a:gd name="T5" fmla="*/ 92 h 124"/>
                <a:gd name="T6" fmla="*/ 61 w 103"/>
                <a:gd name="T7" fmla="*/ 87 h 124"/>
                <a:gd name="T8" fmla="*/ 55 w 103"/>
                <a:gd name="T9" fmla="*/ 85 h 124"/>
                <a:gd name="T10" fmla="*/ 49 w 103"/>
                <a:gd name="T11" fmla="*/ 87 h 124"/>
                <a:gd name="T12" fmla="*/ 46 w 103"/>
                <a:gd name="T13" fmla="*/ 85 h 124"/>
                <a:gd name="T14" fmla="*/ 44 w 103"/>
                <a:gd name="T15" fmla="*/ 83 h 124"/>
                <a:gd name="T16" fmla="*/ 26 w 103"/>
                <a:gd name="T17" fmla="*/ 89 h 124"/>
                <a:gd name="T18" fmla="*/ 19 w 103"/>
                <a:gd name="T19" fmla="*/ 83 h 124"/>
                <a:gd name="T20" fmla="*/ 13 w 103"/>
                <a:gd name="T21" fmla="*/ 70 h 124"/>
                <a:gd name="T22" fmla="*/ 15 w 103"/>
                <a:gd name="T23" fmla="*/ 67 h 124"/>
                <a:gd name="T24" fmla="*/ 31 w 103"/>
                <a:gd name="T25" fmla="*/ 70 h 124"/>
                <a:gd name="T26" fmla="*/ 36 w 103"/>
                <a:gd name="T27" fmla="*/ 67 h 124"/>
                <a:gd name="T28" fmla="*/ 36 w 103"/>
                <a:gd name="T29" fmla="*/ 63 h 124"/>
                <a:gd name="T30" fmla="*/ 29 w 103"/>
                <a:gd name="T31" fmla="*/ 58 h 124"/>
                <a:gd name="T32" fmla="*/ 36 w 103"/>
                <a:gd name="T33" fmla="*/ 54 h 124"/>
                <a:gd name="T34" fmla="*/ 28 w 103"/>
                <a:gd name="T35" fmla="*/ 51 h 124"/>
                <a:gd name="T36" fmla="*/ 25 w 103"/>
                <a:gd name="T37" fmla="*/ 47 h 124"/>
                <a:gd name="T38" fmla="*/ 29 w 103"/>
                <a:gd name="T39" fmla="*/ 41 h 124"/>
                <a:gd name="T40" fmla="*/ 26 w 103"/>
                <a:gd name="T41" fmla="*/ 34 h 124"/>
                <a:gd name="T42" fmla="*/ 23 w 103"/>
                <a:gd name="T43" fmla="*/ 32 h 124"/>
                <a:gd name="T44" fmla="*/ 15 w 103"/>
                <a:gd name="T45" fmla="*/ 48 h 124"/>
                <a:gd name="T46" fmla="*/ 12 w 103"/>
                <a:gd name="T47" fmla="*/ 41 h 124"/>
                <a:gd name="T48" fmla="*/ 16 w 103"/>
                <a:gd name="T49" fmla="*/ 34 h 124"/>
                <a:gd name="T50" fmla="*/ 13 w 103"/>
                <a:gd name="T51" fmla="*/ 29 h 124"/>
                <a:gd name="T52" fmla="*/ 3 w 103"/>
                <a:gd name="T53" fmla="*/ 31 h 124"/>
                <a:gd name="T54" fmla="*/ 2 w 103"/>
                <a:gd name="T55" fmla="*/ 14 h 124"/>
                <a:gd name="T56" fmla="*/ 0 w 103"/>
                <a:gd name="T57" fmla="*/ 8 h 124"/>
                <a:gd name="T58" fmla="*/ 9 w 103"/>
                <a:gd name="T59" fmla="*/ 8 h 124"/>
                <a:gd name="T60" fmla="*/ 23 w 103"/>
                <a:gd name="T61" fmla="*/ 2 h 124"/>
                <a:gd name="T62" fmla="*/ 26 w 103"/>
                <a:gd name="T63" fmla="*/ 2 h 124"/>
                <a:gd name="T64" fmla="*/ 31 w 103"/>
                <a:gd name="T65" fmla="*/ 8 h 124"/>
                <a:gd name="T66" fmla="*/ 38 w 103"/>
                <a:gd name="T67" fmla="*/ 8 h 124"/>
                <a:gd name="T68" fmla="*/ 38 w 103"/>
                <a:gd name="T69" fmla="*/ 19 h 124"/>
                <a:gd name="T70" fmla="*/ 39 w 103"/>
                <a:gd name="T71" fmla="*/ 29 h 124"/>
                <a:gd name="T72" fmla="*/ 44 w 103"/>
                <a:gd name="T73" fmla="*/ 32 h 124"/>
                <a:gd name="T74" fmla="*/ 45 w 103"/>
                <a:gd name="T75" fmla="*/ 18 h 124"/>
                <a:gd name="T76" fmla="*/ 48 w 103"/>
                <a:gd name="T77" fmla="*/ 16 h 124"/>
                <a:gd name="T78" fmla="*/ 58 w 103"/>
                <a:gd name="T79" fmla="*/ 22 h 124"/>
                <a:gd name="T80" fmla="*/ 64 w 103"/>
                <a:gd name="T81" fmla="*/ 28 h 124"/>
                <a:gd name="T82" fmla="*/ 67 w 103"/>
                <a:gd name="T83" fmla="*/ 34 h 124"/>
                <a:gd name="T84" fmla="*/ 65 w 103"/>
                <a:gd name="T85" fmla="*/ 41 h 124"/>
                <a:gd name="T86" fmla="*/ 73 w 103"/>
                <a:gd name="T87" fmla="*/ 40 h 124"/>
                <a:gd name="T88" fmla="*/ 81 w 103"/>
                <a:gd name="T89" fmla="*/ 38 h 124"/>
                <a:gd name="T90" fmla="*/ 86 w 103"/>
                <a:gd name="T91" fmla="*/ 44 h 124"/>
                <a:gd name="T92" fmla="*/ 87 w 103"/>
                <a:gd name="T93" fmla="*/ 48 h 124"/>
                <a:gd name="T94" fmla="*/ 93 w 103"/>
                <a:gd name="T95" fmla="*/ 53 h 124"/>
                <a:gd name="T96" fmla="*/ 97 w 103"/>
                <a:gd name="T97" fmla="*/ 56 h 124"/>
                <a:gd name="T98" fmla="*/ 96 w 103"/>
                <a:gd name="T99" fmla="*/ 61 h 124"/>
                <a:gd name="T100" fmla="*/ 90 w 103"/>
                <a:gd name="T101" fmla="*/ 74 h 124"/>
                <a:gd name="T102" fmla="*/ 94 w 103"/>
                <a:gd name="T103" fmla="*/ 82 h 124"/>
                <a:gd name="T104" fmla="*/ 99 w 103"/>
                <a:gd name="T105" fmla="*/ 89 h 124"/>
                <a:gd name="T106" fmla="*/ 103 w 103"/>
                <a:gd name="T107" fmla="*/ 111 h 124"/>
                <a:gd name="T108" fmla="*/ 100 w 103"/>
                <a:gd name="T109" fmla="*/ 121 h 124"/>
                <a:gd name="T110" fmla="*/ 93 w 103"/>
                <a:gd name="T11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3" h="124">
                  <a:moveTo>
                    <a:pt x="87" y="124"/>
                  </a:moveTo>
                  <a:lnTo>
                    <a:pt x="87" y="124"/>
                  </a:lnTo>
                  <a:lnTo>
                    <a:pt x="84" y="121"/>
                  </a:lnTo>
                  <a:lnTo>
                    <a:pt x="81" y="115"/>
                  </a:lnTo>
                  <a:lnTo>
                    <a:pt x="77" y="103"/>
                  </a:lnTo>
                  <a:lnTo>
                    <a:pt x="77" y="103"/>
                  </a:lnTo>
                  <a:lnTo>
                    <a:pt x="74" y="96"/>
                  </a:lnTo>
                  <a:lnTo>
                    <a:pt x="71" y="92"/>
                  </a:lnTo>
                  <a:lnTo>
                    <a:pt x="71" y="92"/>
                  </a:lnTo>
                  <a:lnTo>
                    <a:pt x="65" y="89"/>
                  </a:lnTo>
                  <a:lnTo>
                    <a:pt x="61" y="87"/>
                  </a:lnTo>
                  <a:lnTo>
                    <a:pt x="61" y="87"/>
                  </a:lnTo>
                  <a:lnTo>
                    <a:pt x="58" y="86"/>
                  </a:lnTo>
                  <a:lnTo>
                    <a:pt x="57" y="85"/>
                  </a:lnTo>
                  <a:lnTo>
                    <a:pt x="55" y="85"/>
                  </a:lnTo>
                  <a:lnTo>
                    <a:pt x="55" y="85"/>
                  </a:lnTo>
                  <a:lnTo>
                    <a:pt x="51" y="87"/>
                  </a:lnTo>
                  <a:lnTo>
                    <a:pt x="49" y="87"/>
                  </a:lnTo>
                  <a:lnTo>
                    <a:pt x="48" y="86"/>
                  </a:lnTo>
                  <a:lnTo>
                    <a:pt x="48" y="86"/>
                  </a:lnTo>
                  <a:lnTo>
                    <a:pt x="46" y="85"/>
                  </a:lnTo>
                  <a:lnTo>
                    <a:pt x="45" y="83"/>
                  </a:lnTo>
                  <a:lnTo>
                    <a:pt x="44" y="83"/>
                  </a:lnTo>
                  <a:lnTo>
                    <a:pt x="44" y="83"/>
                  </a:lnTo>
                  <a:lnTo>
                    <a:pt x="35" y="86"/>
                  </a:lnTo>
                  <a:lnTo>
                    <a:pt x="26" y="89"/>
                  </a:lnTo>
                  <a:lnTo>
                    <a:pt x="26" y="89"/>
                  </a:lnTo>
                  <a:lnTo>
                    <a:pt x="23" y="89"/>
                  </a:lnTo>
                  <a:lnTo>
                    <a:pt x="22" y="87"/>
                  </a:lnTo>
                  <a:lnTo>
                    <a:pt x="19" y="83"/>
                  </a:lnTo>
                  <a:lnTo>
                    <a:pt x="19" y="83"/>
                  </a:lnTo>
                  <a:lnTo>
                    <a:pt x="13" y="74"/>
                  </a:lnTo>
                  <a:lnTo>
                    <a:pt x="13" y="70"/>
                  </a:lnTo>
                  <a:lnTo>
                    <a:pt x="13" y="69"/>
                  </a:lnTo>
                  <a:lnTo>
                    <a:pt x="15" y="67"/>
                  </a:lnTo>
                  <a:lnTo>
                    <a:pt x="15" y="67"/>
                  </a:lnTo>
                  <a:lnTo>
                    <a:pt x="19" y="66"/>
                  </a:lnTo>
                  <a:lnTo>
                    <a:pt x="23" y="67"/>
                  </a:lnTo>
                  <a:lnTo>
                    <a:pt x="31" y="70"/>
                  </a:lnTo>
                  <a:lnTo>
                    <a:pt x="31" y="70"/>
                  </a:lnTo>
                  <a:lnTo>
                    <a:pt x="33" y="70"/>
                  </a:lnTo>
                  <a:lnTo>
                    <a:pt x="36" y="67"/>
                  </a:lnTo>
                  <a:lnTo>
                    <a:pt x="38" y="66"/>
                  </a:lnTo>
                  <a:lnTo>
                    <a:pt x="36" y="63"/>
                  </a:lnTo>
                  <a:lnTo>
                    <a:pt x="36" y="63"/>
                  </a:lnTo>
                  <a:lnTo>
                    <a:pt x="29" y="60"/>
                  </a:lnTo>
                  <a:lnTo>
                    <a:pt x="29" y="58"/>
                  </a:lnTo>
                  <a:lnTo>
                    <a:pt x="29" y="58"/>
                  </a:lnTo>
                  <a:lnTo>
                    <a:pt x="29" y="58"/>
                  </a:lnTo>
                  <a:lnTo>
                    <a:pt x="35" y="56"/>
                  </a:lnTo>
                  <a:lnTo>
                    <a:pt x="36" y="54"/>
                  </a:lnTo>
                  <a:lnTo>
                    <a:pt x="35" y="53"/>
                  </a:lnTo>
                  <a:lnTo>
                    <a:pt x="35" y="53"/>
                  </a:lnTo>
                  <a:lnTo>
                    <a:pt x="28" y="51"/>
                  </a:lnTo>
                  <a:lnTo>
                    <a:pt x="25" y="50"/>
                  </a:lnTo>
                  <a:lnTo>
                    <a:pt x="25" y="48"/>
                  </a:lnTo>
                  <a:lnTo>
                    <a:pt x="25" y="47"/>
                  </a:lnTo>
                  <a:lnTo>
                    <a:pt x="25" y="47"/>
                  </a:lnTo>
                  <a:lnTo>
                    <a:pt x="29" y="42"/>
                  </a:lnTo>
                  <a:lnTo>
                    <a:pt x="29" y="41"/>
                  </a:lnTo>
                  <a:lnTo>
                    <a:pt x="29" y="40"/>
                  </a:lnTo>
                  <a:lnTo>
                    <a:pt x="29" y="40"/>
                  </a:lnTo>
                  <a:lnTo>
                    <a:pt x="26" y="34"/>
                  </a:lnTo>
                  <a:lnTo>
                    <a:pt x="26" y="31"/>
                  </a:lnTo>
                  <a:lnTo>
                    <a:pt x="23" y="32"/>
                  </a:lnTo>
                  <a:lnTo>
                    <a:pt x="23" y="32"/>
                  </a:lnTo>
                  <a:lnTo>
                    <a:pt x="19" y="41"/>
                  </a:lnTo>
                  <a:lnTo>
                    <a:pt x="16" y="45"/>
                  </a:lnTo>
                  <a:lnTo>
                    <a:pt x="15" y="48"/>
                  </a:lnTo>
                  <a:lnTo>
                    <a:pt x="15" y="48"/>
                  </a:lnTo>
                  <a:lnTo>
                    <a:pt x="12" y="44"/>
                  </a:lnTo>
                  <a:lnTo>
                    <a:pt x="12" y="41"/>
                  </a:lnTo>
                  <a:lnTo>
                    <a:pt x="13" y="38"/>
                  </a:lnTo>
                  <a:lnTo>
                    <a:pt x="13" y="38"/>
                  </a:lnTo>
                  <a:lnTo>
                    <a:pt x="16" y="34"/>
                  </a:lnTo>
                  <a:lnTo>
                    <a:pt x="16" y="31"/>
                  </a:lnTo>
                  <a:lnTo>
                    <a:pt x="13" y="29"/>
                  </a:lnTo>
                  <a:lnTo>
                    <a:pt x="13" y="29"/>
                  </a:lnTo>
                  <a:lnTo>
                    <a:pt x="7" y="31"/>
                  </a:lnTo>
                  <a:lnTo>
                    <a:pt x="4" y="31"/>
                  </a:lnTo>
                  <a:lnTo>
                    <a:pt x="3" y="31"/>
                  </a:lnTo>
                  <a:lnTo>
                    <a:pt x="3" y="31"/>
                  </a:lnTo>
                  <a:lnTo>
                    <a:pt x="3" y="21"/>
                  </a:lnTo>
                  <a:lnTo>
                    <a:pt x="2" y="14"/>
                  </a:lnTo>
                  <a:lnTo>
                    <a:pt x="0" y="9"/>
                  </a:lnTo>
                  <a:lnTo>
                    <a:pt x="0" y="9"/>
                  </a:lnTo>
                  <a:lnTo>
                    <a:pt x="0" y="8"/>
                  </a:lnTo>
                  <a:lnTo>
                    <a:pt x="2" y="8"/>
                  </a:lnTo>
                  <a:lnTo>
                    <a:pt x="4" y="9"/>
                  </a:lnTo>
                  <a:lnTo>
                    <a:pt x="9" y="8"/>
                  </a:lnTo>
                  <a:lnTo>
                    <a:pt x="9" y="8"/>
                  </a:lnTo>
                  <a:lnTo>
                    <a:pt x="19" y="3"/>
                  </a:lnTo>
                  <a:lnTo>
                    <a:pt x="23" y="2"/>
                  </a:lnTo>
                  <a:lnTo>
                    <a:pt x="25" y="0"/>
                  </a:lnTo>
                  <a:lnTo>
                    <a:pt x="26" y="2"/>
                  </a:lnTo>
                  <a:lnTo>
                    <a:pt x="26" y="2"/>
                  </a:lnTo>
                  <a:lnTo>
                    <a:pt x="26" y="6"/>
                  </a:lnTo>
                  <a:lnTo>
                    <a:pt x="28" y="8"/>
                  </a:lnTo>
                  <a:lnTo>
                    <a:pt x="31" y="8"/>
                  </a:lnTo>
                  <a:lnTo>
                    <a:pt x="31" y="8"/>
                  </a:lnTo>
                  <a:lnTo>
                    <a:pt x="36" y="8"/>
                  </a:lnTo>
                  <a:lnTo>
                    <a:pt x="38" y="8"/>
                  </a:lnTo>
                  <a:lnTo>
                    <a:pt x="39" y="9"/>
                  </a:lnTo>
                  <a:lnTo>
                    <a:pt x="39" y="9"/>
                  </a:lnTo>
                  <a:lnTo>
                    <a:pt x="38" y="19"/>
                  </a:lnTo>
                  <a:lnTo>
                    <a:pt x="38" y="25"/>
                  </a:lnTo>
                  <a:lnTo>
                    <a:pt x="39" y="29"/>
                  </a:lnTo>
                  <a:lnTo>
                    <a:pt x="39" y="29"/>
                  </a:lnTo>
                  <a:lnTo>
                    <a:pt x="42" y="34"/>
                  </a:lnTo>
                  <a:lnTo>
                    <a:pt x="42" y="34"/>
                  </a:lnTo>
                  <a:lnTo>
                    <a:pt x="44" y="32"/>
                  </a:lnTo>
                  <a:lnTo>
                    <a:pt x="44" y="32"/>
                  </a:lnTo>
                  <a:lnTo>
                    <a:pt x="44" y="22"/>
                  </a:lnTo>
                  <a:lnTo>
                    <a:pt x="45" y="18"/>
                  </a:lnTo>
                  <a:lnTo>
                    <a:pt x="46" y="16"/>
                  </a:lnTo>
                  <a:lnTo>
                    <a:pt x="48" y="16"/>
                  </a:lnTo>
                  <a:lnTo>
                    <a:pt x="48" y="16"/>
                  </a:lnTo>
                  <a:lnTo>
                    <a:pt x="52" y="16"/>
                  </a:lnTo>
                  <a:lnTo>
                    <a:pt x="55" y="18"/>
                  </a:lnTo>
                  <a:lnTo>
                    <a:pt x="58" y="22"/>
                  </a:lnTo>
                  <a:lnTo>
                    <a:pt x="58" y="22"/>
                  </a:lnTo>
                  <a:lnTo>
                    <a:pt x="61" y="25"/>
                  </a:lnTo>
                  <a:lnTo>
                    <a:pt x="64" y="28"/>
                  </a:lnTo>
                  <a:lnTo>
                    <a:pt x="64" y="28"/>
                  </a:lnTo>
                  <a:lnTo>
                    <a:pt x="67" y="29"/>
                  </a:lnTo>
                  <a:lnTo>
                    <a:pt x="67" y="34"/>
                  </a:lnTo>
                  <a:lnTo>
                    <a:pt x="67" y="34"/>
                  </a:lnTo>
                  <a:lnTo>
                    <a:pt x="64" y="38"/>
                  </a:lnTo>
                  <a:lnTo>
                    <a:pt x="65" y="41"/>
                  </a:lnTo>
                  <a:lnTo>
                    <a:pt x="68" y="41"/>
                  </a:lnTo>
                  <a:lnTo>
                    <a:pt x="68" y="41"/>
                  </a:lnTo>
                  <a:lnTo>
                    <a:pt x="73" y="40"/>
                  </a:lnTo>
                  <a:lnTo>
                    <a:pt x="75" y="38"/>
                  </a:lnTo>
                  <a:lnTo>
                    <a:pt x="78" y="37"/>
                  </a:lnTo>
                  <a:lnTo>
                    <a:pt x="81" y="38"/>
                  </a:lnTo>
                  <a:lnTo>
                    <a:pt x="81" y="38"/>
                  </a:lnTo>
                  <a:lnTo>
                    <a:pt x="84" y="41"/>
                  </a:lnTo>
                  <a:lnTo>
                    <a:pt x="86" y="44"/>
                  </a:lnTo>
                  <a:lnTo>
                    <a:pt x="87" y="47"/>
                  </a:lnTo>
                  <a:lnTo>
                    <a:pt x="87" y="48"/>
                  </a:lnTo>
                  <a:lnTo>
                    <a:pt x="87" y="48"/>
                  </a:lnTo>
                  <a:lnTo>
                    <a:pt x="87" y="50"/>
                  </a:lnTo>
                  <a:lnTo>
                    <a:pt x="88" y="51"/>
                  </a:lnTo>
                  <a:lnTo>
                    <a:pt x="93" y="53"/>
                  </a:lnTo>
                  <a:lnTo>
                    <a:pt x="93" y="53"/>
                  </a:lnTo>
                  <a:lnTo>
                    <a:pt x="96" y="54"/>
                  </a:lnTo>
                  <a:lnTo>
                    <a:pt x="97" y="56"/>
                  </a:lnTo>
                  <a:lnTo>
                    <a:pt x="97" y="58"/>
                  </a:lnTo>
                  <a:lnTo>
                    <a:pt x="96" y="61"/>
                  </a:lnTo>
                  <a:lnTo>
                    <a:pt x="96" y="61"/>
                  </a:lnTo>
                  <a:lnTo>
                    <a:pt x="91" y="69"/>
                  </a:lnTo>
                  <a:lnTo>
                    <a:pt x="90" y="71"/>
                  </a:lnTo>
                  <a:lnTo>
                    <a:pt x="90" y="74"/>
                  </a:lnTo>
                  <a:lnTo>
                    <a:pt x="90" y="74"/>
                  </a:lnTo>
                  <a:lnTo>
                    <a:pt x="91" y="77"/>
                  </a:lnTo>
                  <a:lnTo>
                    <a:pt x="94" y="82"/>
                  </a:lnTo>
                  <a:lnTo>
                    <a:pt x="97" y="85"/>
                  </a:lnTo>
                  <a:lnTo>
                    <a:pt x="99" y="89"/>
                  </a:lnTo>
                  <a:lnTo>
                    <a:pt x="99" y="89"/>
                  </a:lnTo>
                  <a:lnTo>
                    <a:pt x="102" y="99"/>
                  </a:lnTo>
                  <a:lnTo>
                    <a:pt x="103" y="105"/>
                  </a:lnTo>
                  <a:lnTo>
                    <a:pt x="103" y="111"/>
                  </a:lnTo>
                  <a:lnTo>
                    <a:pt x="103" y="111"/>
                  </a:lnTo>
                  <a:lnTo>
                    <a:pt x="102" y="118"/>
                  </a:lnTo>
                  <a:lnTo>
                    <a:pt x="100" y="121"/>
                  </a:lnTo>
                  <a:lnTo>
                    <a:pt x="99" y="122"/>
                  </a:lnTo>
                  <a:lnTo>
                    <a:pt x="99" y="122"/>
                  </a:lnTo>
                  <a:lnTo>
                    <a:pt x="93" y="124"/>
                  </a:lnTo>
                  <a:lnTo>
                    <a:pt x="90" y="124"/>
                  </a:lnTo>
                  <a:lnTo>
                    <a:pt x="87" y="124"/>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5" name="Freeform 54"/>
            <p:cNvSpPr>
              <a:spLocks/>
            </p:cNvSpPr>
            <p:nvPr/>
          </p:nvSpPr>
          <p:spPr bwMode="auto">
            <a:xfrm>
              <a:off x="1595438" y="1319641"/>
              <a:ext cx="163513" cy="196850"/>
            </a:xfrm>
            <a:custGeom>
              <a:avLst/>
              <a:gdLst>
                <a:gd name="T0" fmla="*/ 84 w 103"/>
                <a:gd name="T1" fmla="*/ 121 h 124"/>
                <a:gd name="T2" fmla="*/ 77 w 103"/>
                <a:gd name="T3" fmla="*/ 103 h 124"/>
                <a:gd name="T4" fmla="*/ 71 w 103"/>
                <a:gd name="T5" fmla="*/ 92 h 124"/>
                <a:gd name="T6" fmla="*/ 61 w 103"/>
                <a:gd name="T7" fmla="*/ 87 h 124"/>
                <a:gd name="T8" fmla="*/ 55 w 103"/>
                <a:gd name="T9" fmla="*/ 85 h 124"/>
                <a:gd name="T10" fmla="*/ 49 w 103"/>
                <a:gd name="T11" fmla="*/ 87 h 124"/>
                <a:gd name="T12" fmla="*/ 46 w 103"/>
                <a:gd name="T13" fmla="*/ 85 h 124"/>
                <a:gd name="T14" fmla="*/ 44 w 103"/>
                <a:gd name="T15" fmla="*/ 83 h 124"/>
                <a:gd name="T16" fmla="*/ 26 w 103"/>
                <a:gd name="T17" fmla="*/ 89 h 124"/>
                <a:gd name="T18" fmla="*/ 19 w 103"/>
                <a:gd name="T19" fmla="*/ 83 h 124"/>
                <a:gd name="T20" fmla="*/ 13 w 103"/>
                <a:gd name="T21" fmla="*/ 70 h 124"/>
                <a:gd name="T22" fmla="*/ 15 w 103"/>
                <a:gd name="T23" fmla="*/ 67 h 124"/>
                <a:gd name="T24" fmla="*/ 31 w 103"/>
                <a:gd name="T25" fmla="*/ 70 h 124"/>
                <a:gd name="T26" fmla="*/ 36 w 103"/>
                <a:gd name="T27" fmla="*/ 67 h 124"/>
                <a:gd name="T28" fmla="*/ 36 w 103"/>
                <a:gd name="T29" fmla="*/ 63 h 124"/>
                <a:gd name="T30" fmla="*/ 29 w 103"/>
                <a:gd name="T31" fmla="*/ 58 h 124"/>
                <a:gd name="T32" fmla="*/ 36 w 103"/>
                <a:gd name="T33" fmla="*/ 54 h 124"/>
                <a:gd name="T34" fmla="*/ 28 w 103"/>
                <a:gd name="T35" fmla="*/ 51 h 124"/>
                <a:gd name="T36" fmla="*/ 25 w 103"/>
                <a:gd name="T37" fmla="*/ 47 h 124"/>
                <a:gd name="T38" fmla="*/ 29 w 103"/>
                <a:gd name="T39" fmla="*/ 41 h 124"/>
                <a:gd name="T40" fmla="*/ 26 w 103"/>
                <a:gd name="T41" fmla="*/ 34 h 124"/>
                <a:gd name="T42" fmla="*/ 23 w 103"/>
                <a:gd name="T43" fmla="*/ 32 h 124"/>
                <a:gd name="T44" fmla="*/ 15 w 103"/>
                <a:gd name="T45" fmla="*/ 48 h 124"/>
                <a:gd name="T46" fmla="*/ 12 w 103"/>
                <a:gd name="T47" fmla="*/ 41 h 124"/>
                <a:gd name="T48" fmla="*/ 16 w 103"/>
                <a:gd name="T49" fmla="*/ 34 h 124"/>
                <a:gd name="T50" fmla="*/ 13 w 103"/>
                <a:gd name="T51" fmla="*/ 29 h 124"/>
                <a:gd name="T52" fmla="*/ 3 w 103"/>
                <a:gd name="T53" fmla="*/ 31 h 124"/>
                <a:gd name="T54" fmla="*/ 2 w 103"/>
                <a:gd name="T55" fmla="*/ 14 h 124"/>
                <a:gd name="T56" fmla="*/ 0 w 103"/>
                <a:gd name="T57" fmla="*/ 8 h 124"/>
                <a:gd name="T58" fmla="*/ 9 w 103"/>
                <a:gd name="T59" fmla="*/ 8 h 124"/>
                <a:gd name="T60" fmla="*/ 23 w 103"/>
                <a:gd name="T61" fmla="*/ 2 h 124"/>
                <a:gd name="T62" fmla="*/ 26 w 103"/>
                <a:gd name="T63" fmla="*/ 2 h 124"/>
                <a:gd name="T64" fmla="*/ 31 w 103"/>
                <a:gd name="T65" fmla="*/ 8 h 124"/>
                <a:gd name="T66" fmla="*/ 38 w 103"/>
                <a:gd name="T67" fmla="*/ 8 h 124"/>
                <a:gd name="T68" fmla="*/ 38 w 103"/>
                <a:gd name="T69" fmla="*/ 19 h 124"/>
                <a:gd name="T70" fmla="*/ 39 w 103"/>
                <a:gd name="T71" fmla="*/ 29 h 124"/>
                <a:gd name="T72" fmla="*/ 44 w 103"/>
                <a:gd name="T73" fmla="*/ 32 h 124"/>
                <a:gd name="T74" fmla="*/ 45 w 103"/>
                <a:gd name="T75" fmla="*/ 18 h 124"/>
                <a:gd name="T76" fmla="*/ 48 w 103"/>
                <a:gd name="T77" fmla="*/ 16 h 124"/>
                <a:gd name="T78" fmla="*/ 58 w 103"/>
                <a:gd name="T79" fmla="*/ 22 h 124"/>
                <a:gd name="T80" fmla="*/ 64 w 103"/>
                <a:gd name="T81" fmla="*/ 28 h 124"/>
                <a:gd name="T82" fmla="*/ 67 w 103"/>
                <a:gd name="T83" fmla="*/ 34 h 124"/>
                <a:gd name="T84" fmla="*/ 65 w 103"/>
                <a:gd name="T85" fmla="*/ 41 h 124"/>
                <a:gd name="T86" fmla="*/ 73 w 103"/>
                <a:gd name="T87" fmla="*/ 40 h 124"/>
                <a:gd name="T88" fmla="*/ 81 w 103"/>
                <a:gd name="T89" fmla="*/ 38 h 124"/>
                <a:gd name="T90" fmla="*/ 86 w 103"/>
                <a:gd name="T91" fmla="*/ 44 h 124"/>
                <a:gd name="T92" fmla="*/ 87 w 103"/>
                <a:gd name="T93" fmla="*/ 48 h 124"/>
                <a:gd name="T94" fmla="*/ 93 w 103"/>
                <a:gd name="T95" fmla="*/ 53 h 124"/>
                <a:gd name="T96" fmla="*/ 97 w 103"/>
                <a:gd name="T97" fmla="*/ 56 h 124"/>
                <a:gd name="T98" fmla="*/ 96 w 103"/>
                <a:gd name="T99" fmla="*/ 61 h 124"/>
                <a:gd name="T100" fmla="*/ 90 w 103"/>
                <a:gd name="T101" fmla="*/ 74 h 124"/>
                <a:gd name="T102" fmla="*/ 94 w 103"/>
                <a:gd name="T103" fmla="*/ 82 h 124"/>
                <a:gd name="T104" fmla="*/ 99 w 103"/>
                <a:gd name="T105" fmla="*/ 89 h 124"/>
                <a:gd name="T106" fmla="*/ 103 w 103"/>
                <a:gd name="T107" fmla="*/ 111 h 124"/>
                <a:gd name="T108" fmla="*/ 100 w 103"/>
                <a:gd name="T109" fmla="*/ 121 h 124"/>
                <a:gd name="T110" fmla="*/ 93 w 103"/>
                <a:gd name="T11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3" h="124">
                  <a:moveTo>
                    <a:pt x="87" y="124"/>
                  </a:moveTo>
                  <a:lnTo>
                    <a:pt x="87" y="124"/>
                  </a:lnTo>
                  <a:lnTo>
                    <a:pt x="84" y="121"/>
                  </a:lnTo>
                  <a:lnTo>
                    <a:pt x="81" y="115"/>
                  </a:lnTo>
                  <a:lnTo>
                    <a:pt x="77" y="103"/>
                  </a:lnTo>
                  <a:lnTo>
                    <a:pt x="77" y="103"/>
                  </a:lnTo>
                  <a:lnTo>
                    <a:pt x="74" y="96"/>
                  </a:lnTo>
                  <a:lnTo>
                    <a:pt x="71" y="92"/>
                  </a:lnTo>
                  <a:lnTo>
                    <a:pt x="71" y="92"/>
                  </a:lnTo>
                  <a:lnTo>
                    <a:pt x="65" y="89"/>
                  </a:lnTo>
                  <a:lnTo>
                    <a:pt x="61" y="87"/>
                  </a:lnTo>
                  <a:lnTo>
                    <a:pt x="61" y="87"/>
                  </a:lnTo>
                  <a:lnTo>
                    <a:pt x="58" y="86"/>
                  </a:lnTo>
                  <a:lnTo>
                    <a:pt x="57" y="85"/>
                  </a:lnTo>
                  <a:lnTo>
                    <a:pt x="55" y="85"/>
                  </a:lnTo>
                  <a:lnTo>
                    <a:pt x="55" y="85"/>
                  </a:lnTo>
                  <a:lnTo>
                    <a:pt x="51" y="87"/>
                  </a:lnTo>
                  <a:lnTo>
                    <a:pt x="49" y="87"/>
                  </a:lnTo>
                  <a:lnTo>
                    <a:pt x="48" y="86"/>
                  </a:lnTo>
                  <a:lnTo>
                    <a:pt x="48" y="86"/>
                  </a:lnTo>
                  <a:lnTo>
                    <a:pt x="46" y="85"/>
                  </a:lnTo>
                  <a:lnTo>
                    <a:pt x="45" y="83"/>
                  </a:lnTo>
                  <a:lnTo>
                    <a:pt x="44" y="83"/>
                  </a:lnTo>
                  <a:lnTo>
                    <a:pt x="44" y="83"/>
                  </a:lnTo>
                  <a:lnTo>
                    <a:pt x="35" y="86"/>
                  </a:lnTo>
                  <a:lnTo>
                    <a:pt x="26" y="89"/>
                  </a:lnTo>
                  <a:lnTo>
                    <a:pt x="26" y="89"/>
                  </a:lnTo>
                  <a:lnTo>
                    <a:pt x="23" y="89"/>
                  </a:lnTo>
                  <a:lnTo>
                    <a:pt x="22" y="87"/>
                  </a:lnTo>
                  <a:lnTo>
                    <a:pt x="19" y="83"/>
                  </a:lnTo>
                  <a:lnTo>
                    <a:pt x="19" y="83"/>
                  </a:lnTo>
                  <a:lnTo>
                    <a:pt x="13" y="74"/>
                  </a:lnTo>
                  <a:lnTo>
                    <a:pt x="13" y="70"/>
                  </a:lnTo>
                  <a:lnTo>
                    <a:pt x="13" y="69"/>
                  </a:lnTo>
                  <a:lnTo>
                    <a:pt x="15" y="67"/>
                  </a:lnTo>
                  <a:lnTo>
                    <a:pt x="15" y="67"/>
                  </a:lnTo>
                  <a:lnTo>
                    <a:pt x="19" y="66"/>
                  </a:lnTo>
                  <a:lnTo>
                    <a:pt x="23" y="67"/>
                  </a:lnTo>
                  <a:lnTo>
                    <a:pt x="31" y="70"/>
                  </a:lnTo>
                  <a:lnTo>
                    <a:pt x="31" y="70"/>
                  </a:lnTo>
                  <a:lnTo>
                    <a:pt x="33" y="70"/>
                  </a:lnTo>
                  <a:lnTo>
                    <a:pt x="36" y="67"/>
                  </a:lnTo>
                  <a:lnTo>
                    <a:pt x="38" y="66"/>
                  </a:lnTo>
                  <a:lnTo>
                    <a:pt x="36" y="63"/>
                  </a:lnTo>
                  <a:lnTo>
                    <a:pt x="36" y="63"/>
                  </a:lnTo>
                  <a:lnTo>
                    <a:pt x="29" y="60"/>
                  </a:lnTo>
                  <a:lnTo>
                    <a:pt x="29" y="58"/>
                  </a:lnTo>
                  <a:lnTo>
                    <a:pt x="29" y="58"/>
                  </a:lnTo>
                  <a:lnTo>
                    <a:pt x="29" y="58"/>
                  </a:lnTo>
                  <a:lnTo>
                    <a:pt x="35" y="56"/>
                  </a:lnTo>
                  <a:lnTo>
                    <a:pt x="36" y="54"/>
                  </a:lnTo>
                  <a:lnTo>
                    <a:pt x="35" y="53"/>
                  </a:lnTo>
                  <a:lnTo>
                    <a:pt x="35" y="53"/>
                  </a:lnTo>
                  <a:lnTo>
                    <a:pt x="28" y="51"/>
                  </a:lnTo>
                  <a:lnTo>
                    <a:pt x="25" y="50"/>
                  </a:lnTo>
                  <a:lnTo>
                    <a:pt x="25" y="48"/>
                  </a:lnTo>
                  <a:lnTo>
                    <a:pt x="25" y="47"/>
                  </a:lnTo>
                  <a:lnTo>
                    <a:pt x="25" y="47"/>
                  </a:lnTo>
                  <a:lnTo>
                    <a:pt x="29" y="42"/>
                  </a:lnTo>
                  <a:lnTo>
                    <a:pt x="29" y="41"/>
                  </a:lnTo>
                  <a:lnTo>
                    <a:pt x="29" y="40"/>
                  </a:lnTo>
                  <a:lnTo>
                    <a:pt x="29" y="40"/>
                  </a:lnTo>
                  <a:lnTo>
                    <a:pt x="26" y="34"/>
                  </a:lnTo>
                  <a:lnTo>
                    <a:pt x="26" y="31"/>
                  </a:lnTo>
                  <a:lnTo>
                    <a:pt x="23" y="32"/>
                  </a:lnTo>
                  <a:lnTo>
                    <a:pt x="23" y="32"/>
                  </a:lnTo>
                  <a:lnTo>
                    <a:pt x="19" y="41"/>
                  </a:lnTo>
                  <a:lnTo>
                    <a:pt x="16" y="45"/>
                  </a:lnTo>
                  <a:lnTo>
                    <a:pt x="15" y="48"/>
                  </a:lnTo>
                  <a:lnTo>
                    <a:pt x="15" y="48"/>
                  </a:lnTo>
                  <a:lnTo>
                    <a:pt x="12" y="44"/>
                  </a:lnTo>
                  <a:lnTo>
                    <a:pt x="12" y="41"/>
                  </a:lnTo>
                  <a:lnTo>
                    <a:pt x="13" y="38"/>
                  </a:lnTo>
                  <a:lnTo>
                    <a:pt x="13" y="38"/>
                  </a:lnTo>
                  <a:lnTo>
                    <a:pt x="16" y="34"/>
                  </a:lnTo>
                  <a:lnTo>
                    <a:pt x="16" y="31"/>
                  </a:lnTo>
                  <a:lnTo>
                    <a:pt x="13" y="29"/>
                  </a:lnTo>
                  <a:lnTo>
                    <a:pt x="13" y="29"/>
                  </a:lnTo>
                  <a:lnTo>
                    <a:pt x="7" y="31"/>
                  </a:lnTo>
                  <a:lnTo>
                    <a:pt x="4" y="31"/>
                  </a:lnTo>
                  <a:lnTo>
                    <a:pt x="3" y="31"/>
                  </a:lnTo>
                  <a:lnTo>
                    <a:pt x="3" y="31"/>
                  </a:lnTo>
                  <a:lnTo>
                    <a:pt x="3" y="21"/>
                  </a:lnTo>
                  <a:lnTo>
                    <a:pt x="2" y="14"/>
                  </a:lnTo>
                  <a:lnTo>
                    <a:pt x="0" y="9"/>
                  </a:lnTo>
                  <a:lnTo>
                    <a:pt x="0" y="9"/>
                  </a:lnTo>
                  <a:lnTo>
                    <a:pt x="0" y="8"/>
                  </a:lnTo>
                  <a:lnTo>
                    <a:pt x="2" y="8"/>
                  </a:lnTo>
                  <a:lnTo>
                    <a:pt x="4" y="9"/>
                  </a:lnTo>
                  <a:lnTo>
                    <a:pt x="9" y="8"/>
                  </a:lnTo>
                  <a:lnTo>
                    <a:pt x="9" y="8"/>
                  </a:lnTo>
                  <a:lnTo>
                    <a:pt x="19" y="3"/>
                  </a:lnTo>
                  <a:lnTo>
                    <a:pt x="23" y="2"/>
                  </a:lnTo>
                  <a:lnTo>
                    <a:pt x="25" y="0"/>
                  </a:lnTo>
                  <a:lnTo>
                    <a:pt x="26" y="2"/>
                  </a:lnTo>
                  <a:lnTo>
                    <a:pt x="26" y="2"/>
                  </a:lnTo>
                  <a:lnTo>
                    <a:pt x="26" y="6"/>
                  </a:lnTo>
                  <a:lnTo>
                    <a:pt x="28" y="8"/>
                  </a:lnTo>
                  <a:lnTo>
                    <a:pt x="31" y="8"/>
                  </a:lnTo>
                  <a:lnTo>
                    <a:pt x="31" y="8"/>
                  </a:lnTo>
                  <a:lnTo>
                    <a:pt x="36" y="8"/>
                  </a:lnTo>
                  <a:lnTo>
                    <a:pt x="38" y="8"/>
                  </a:lnTo>
                  <a:lnTo>
                    <a:pt x="39" y="9"/>
                  </a:lnTo>
                  <a:lnTo>
                    <a:pt x="39" y="9"/>
                  </a:lnTo>
                  <a:lnTo>
                    <a:pt x="38" y="19"/>
                  </a:lnTo>
                  <a:lnTo>
                    <a:pt x="38" y="25"/>
                  </a:lnTo>
                  <a:lnTo>
                    <a:pt x="39" y="29"/>
                  </a:lnTo>
                  <a:lnTo>
                    <a:pt x="39" y="29"/>
                  </a:lnTo>
                  <a:lnTo>
                    <a:pt x="42" y="34"/>
                  </a:lnTo>
                  <a:lnTo>
                    <a:pt x="42" y="34"/>
                  </a:lnTo>
                  <a:lnTo>
                    <a:pt x="44" y="32"/>
                  </a:lnTo>
                  <a:lnTo>
                    <a:pt x="44" y="32"/>
                  </a:lnTo>
                  <a:lnTo>
                    <a:pt x="44" y="22"/>
                  </a:lnTo>
                  <a:lnTo>
                    <a:pt x="45" y="18"/>
                  </a:lnTo>
                  <a:lnTo>
                    <a:pt x="46" y="16"/>
                  </a:lnTo>
                  <a:lnTo>
                    <a:pt x="48" y="16"/>
                  </a:lnTo>
                  <a:lnTo>
                    <a:pt x="48" y="16"/>
                  </a:lnTo>
                  <a:lnTo>
                    <a:pt x="52" y="16"/>
                  </a:lnTo>
                  <a:lnTo>
                    <a:pt x="55" y="18"/>
                  </a:lnTo>
                  <a:lnTo>
                    <a:pt x="58" y="22"/>
                  </a:lnTo>
                  <a:lnTo>
                    <a:pt x="58" y="22"/>
                  </a:lnTo>
                  <a:lnTo>
                    <a:pt x="61" y="25"/>
                  </a:lnTo>
                  <a:lnTo>
                    <a:pt x="64" y="28"/>
                  </a:lnTo>
                  <a:lnTo>
                    <a:pt x="64" y="28"/>
                  </a:lnTo>
                  <a:lnTo>
                    <a:pt x="67" y="29"/>
                  </a:lnTo>
                  <a:lnTo>
                    <a:pt x="67" y="34"/>
                  </a:lnTo>
                  <a:lnTo>
                    <a:pt x="67" y="34"/>
                  </a:lnTo>
                  <a:lnTo>
                    <a:pt x="64" y="38"/>
                  </a:lnTo>
                  <a:lnTo>
                    <a:pt x="65" y="41"/>
                  </a:lnTo>
                  <a:lnTo>
                    <a:pt x="68" y="41"/>
                  </a:lnTo>
                  <a:lnTo>
                    <a:pt x="68" y="41"/>
                  </a:lnTo>
                  <a:lnTo>
                    <a:pt x="73" y="40"/>
                  </a:lnTo>
                  <a:lnTo>
                    <a:pt x="75" y="38"/>
                  </a:lnTo>
                  <a:lnTo>
                    <a:pt x="78" y="37"/>
                  </a:lnTo>
                  <a:lnTo>
                    <a:pt x="81" y="38"/>
                  </a:lnTo>
                  <a:lnTo>
                    <a:pt x="81" y="38"/>
                  </a:lnTo>
                  <a:lnTo>
                    <a:pt x="84" y="41"/>
                  </a:lnTo>
                  <a:lnTo>
                    <a:pt x="86" y="44"/>
                  </a:lnTo>
                  <a:lnTo>
                    <a:pt x="87" y="47"/>
                  </a:lnTo>
                  <a:lnTo>
                    <a:pt x="87" y="48"/>
                  </a:lnTo>
                  <a:lnTo>
                    <a:pt x="87" y="48"/>
                  </a:lnTo>
                  <a:lnTo>
                    <a:pt x="87" y="50"/>
                  </a:lnTo>
                  <a:lnTo>
                    <a:pt x="88" y="51"/>
                  </a:lnTo>
                  <a:lnTo>
                    <a:pt x="93" y="53"/>
                  </a:lnTo>
                  <a:lnTo>
                    <a:pt x="93" y="53"/>
                  </a:lnTo>
                  <a:lnTo>
                    <a:pt x="96" y="54"/>
                  </a:lnTo>
                  <a:lnTo>
                    <a:pt x="97" y="56"/>
                  </a:lnTo>
                  <a:lnTo>
                    <a:pt x="97" y="58"/>
                  </a:lnTo>
                  <a:lnTo>
                    <a:pt x="96" y="61"/>
                  </a:lnTo>
                  <a:lnTo>
                    <a:pt x="96" y="61"/>
                  </a:lnTo>
                  <a:lnTo>
                    <a:pt x="91" y="69"/>
                  </a:lnTo>
                  <a:lnTo>
                    <a:pt x="90" y="71"/>
                  </a:lnTo>
                  <a:lnTo>
                    <a:pt x="90" y="74"/>
                  </a:lnTo>
                  <a:lnTo>
                    <a:pt x="90" y="74"/>
                  </a:lnTo>
                  <a:lnTo>
                    <a:pt x="91" y="77"/>
                  </a:lnTo>
                  <a:lnTo>
                    <a:pt x="94" y="82"/>
                  </a:lnTo>
                  <a:lnTo>
                    <a:pt x="97" y="85"/>
                  </a:lnTo>
                  <a:lnTo>
                    <a:pt x="99" y="89"/>
                  </a:lnTo>
                  <a:lnTo>
                    <a:pt x="99" y="89"/>
                  </a:lnTo>
                  <a:lnTo>
                    <a:pt x="102" y="99"/>
                  </a:lnTo>
                  <a:lnTo>
                    <a:pt x="103" y="105"/>
                  </a:lnTo>
                  <a:lnTo>
                    <a:pt x="103" y="111"/>
                  </a:lnTo>
                  <a:lnTo>
                    <a:pt x="103" y="111"/>
                  </a:lnTo>
                  <a:lnTo>
                    <a:pt x="102" y="118"/>
                  </a:lnTo>
                  <a:lnTo>
                    <a:pt x="100" y="121"/>
                  </a:lnTo>
                  <a:lnTo>
                    <a:pt x="99" y="122"/>
                  </a:lnTo>
                  <a:lnTo>
                    <a:pt x="99" y="122"/>
                  </a:lnTo>
                  <a:lnTo>
                    <a:pt x="93" y="124"/>
                  </a:lnTo>
                  <a:lnTo>
                    <a:pt x="90" y="124"/>
                  </a:lnTo>
                  <a:lnTo>
                    <a:pt x="87" y="1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6" name="Freeform 55"/>
            <p:cNvSpPr>
              <a:spLocks/>
            </p:cNvSpPr>
            <p:nvPr/>
          </p:nvSpPr>
          <p:spPr bwMode="auto">
            <a:xfrm>
              <a:off x="1652588" y="1465691"/>
              <a:ext cx="14288" cy="12700"/>
            </a:xfrm>
            <a:custGeom>
              <a:avLst/>
              <a:gdLst>
                <a:gd name="T0" fmla="*/ 3 w 9"/>
                <a:gd name="T1" fmla="*/ 8 h 8"/>
                <a:gd name="T2" fmla="*/ 3 w 9"/>
                <a:gd name="T3" fmla="*/ 8 h 8"/>
                <a:gd name="T4" fmla="*/ 0 w 9"/>
                <a:gd name="T5" fmla="*/ 7 h 8"/>
                <a:gd name="T6" fmla="*/ 0 w 9"/>
                <a:gd name="T7" fmla="*/ 7 h 8"/>
                <a:gd name="T8" fmla="*/ 0 w 9"/>
                <a:gd name="T9" fmla="*/ 4 h 8"/>
                <a:gd name="T10" fmla="*/ 3 w 9"/>
                <a:gd name="T11" fmla="*/ 1 h 8"/>
                <a:gd name="T12" fmla="*/ 5 w 9"/>
                <a:gd name="T13" fmla="*/ 0 h 8"/>
                <a:gd name="T14" fmla="*/ 5 w 9"/>
                <a:gd name="T15" fmla="*/ 0 h 8"/>
                <a:gd name="T16" fmla="*/ 9 w 9"/>
                <a:gd name="T17" fmla="*/ 0 h 8"/>
                <a:gd name="T18" fmla="*/ 9 w 9"/>
                <a:gd name="T19" fmla="*/ 1 h 8"/>
                <a:gd name="T20" fmla="*/ 9 w 9"/>
                <a:gd name="T21" fmla="*/ 4 h 8"/>
                <a:gd name="T22" fmla="*/ 9 w 9"/>
                <a:gd name="T23" fmla="*/ 4 h 8"/>
                <a:gd name="T24" fmla="*/ 6 w 9"/>
                <a:gd name="T25" fmla="*/ 8 h 8"/>
                <a:gd name="T26" fmla="*/ 5 w 9"/>
                <a:gd name="T27" fmla="*/ 8 h 8"/>
                <a:gd name="T28" fmla="*/ 3 w 9"/>
                <a:gd name="T2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8">
                  <a:moveTo>
                    <a:pt x="3" y="8"/>
                  </a:moveTo>
                  <a:lnTo>
                    <a:pt x="3" y="8"/>
                  </a:lnTo>
                  <a:lnTo>
                    <a:pt x="0" y="7"/>
                  </a:lnTo>
                  <a:lnTo>
                    <a:pt x="0" y="7"/>
                  </a:lnTo>
                  <a:lnTo>
                    <a:pt x="0" y="4"/>
                  </a:lnTo>
                  <a:lnTo>
                    <a:pt x="3" y="1"/>
                  </a:lnTo>
                  <a:lnTo>
                    <a:pt x="5" y="0"/>
                  </a:lnTo>
                  <a:lnTo>
                    <a:pt x="5" y="0"/>
                  </a:lnTo>
                  <a:lnTo>
                    <a:pt x="9" y="0"/>
                  </a:lnTo>
                  <a:lnTo>
                    <a:pt x="9" y="1"/>
                  </a:lnTo>
                  <a:lnTo>
                    <a:pt x="9" y="4"/>
                  </a:lnTo>
                  <a:lnTo>
                    <a:pt x="9" y="4"/>
                  </a:lnTo>
                  <a:lnTo>
                    <a:pt x="6" y="8"/>
                  </a:lnTo>
                  <a:lnTo>
                    <a:pt x="5" y="8"/>
                  </a:lnTo>
                  <a:lnTo>
                    <a:pt x="3" y="8"/>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7" name="Freeform 56"/>
            <p:cNvSpPr>
              <a:spLocks/>
            </p:cNvSpPr>
            <p:nvPr/>
          </p:nvSpPr>
          <p:spPr bwMode="auto">
            <a:xfrm>
              <a:off x="1652588" y="1465691"/>
              <a:ext cx="14288" cy="12700"/>
            </a:xfrm>
            <a:custGeom>
              <a:avLst/>
              <a:gdLst>
                <a:gd name="T0" fmla="*/ 3 w 9"/>
                <a:gd name="T1" fmla="*/ 8 h 8"/>
                <a:gd name="T2" fmla="*/ 3 w 9"/>
                <a:gd name="T3" fmla="*/ 8 h 8"/>
                <a:gd name="T4" fmla="*/ 0 w 9"/>
                <a:gd name="T5" fmla="*/ 7 h 8"/>
                <a:gd name="T6" fmla="*/ 0 w 9"/>
                <a:gd name="T7" fmla="*/ 7 h 8"/>
                <a:gd name="T8" fmla="*/ 0 w 9"/>
                <a:gd name="T9" fmla="*/ 4 h 8"/>
                <a:gd name="T10" fmla="*/ 3 w 9"/>
                <a:gd name="T11" fmla="*/ 1 h 8"/>
                <a:gd name="T12" fmla="*/ 5 w 9"/>
                <a:gd name="T13" fmla="*/ 0 h 8"/>
                <a:gd name="T14" fmla="*/ 5 w 9"/>
                <a:gd name="T15" fmla="*/ 0 h 8"/>
                <a:gd name="T16" fmla="*/ 9 w 9"/>
                <a:gd name="T17" fmla="*/ 0 h 8"/>
                <a:gd name="T18" fmla="*/ 9 w 9"/>
                <a:gd name="T19" fmla="*/ 1 h 8"/>
                <a:gd name="T20" fmla="*/ 9 w 9"/>
                <a:gd name="T21" fmla="*/ 4 h 8"/>
                <a:gd name="T22" fmla="*/ 9 w 9"/>
                <a:gd name="T23" fmla="*/ 4 h 8"/>
                <a:gd name="T24" fmla="*/ 6 w 9"/>
                <a:gd name="T25" fmla="*/ 8 h 8"/>
                <a:gd name="T26" fmla="*/ 5 w 9"/>
                <a:gd name="T27" fmla="*/ 8 h 8"/>
                <a:gd name="T28" fmla="*/ 3 w 9"/>
                <a:gd name="T2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8">
                  <a:moveTo>
                    <a:pt x="3" y="8"/>
                  </a:moveTo>
                  <a:lnTo>
                    <a:pt x="3" y="8"/>
                  </a:lnTo>
                  <a:lnTo>
                    <a:pt x="0" y="7"/>
                  </a:lnTo>
                  <a:lnTo>
                    <a:pt x="0" y="7"/>
                  </a:lnTo>
                  <a:lnTo>
                    <a:pt x="0" y="4"/>
                  </a:lnTo>
                  <a:lnTo>
                    <a:pt x="3" y="1"/>
                  </a:lnTo>
                  <a:lnTo>
                    <a:pt x="5" y="0"/>
                  </a:lnTo>
                  <a:lnTo>
                    <a:pt x="5" y="0"/>
                  </a:lnTo>
                  <a:lnTo>
                    <a:pt x="9" y="0"/>
                  </a:lnTo>
                  <a:lnTo>
                    <a:pt x="9" y="1"/>
                  </a:lnTo>
                  <a:lnTo>
                    <a:pt x="9" y="4"/>
                  </a:lnTo>
                  <a:lnTo>
                    <a:pt x="9" y="4"/>
                  </a:lnTo>
                  <a:lnTo>
                    <a:pt x="6" y="8"/>
                  </a:lnTo>
                  <a:lnTo>
                    <a:pt x="5" y="8"/>
                  </a:lnTo>
                  <a:lnTo>
                    <a:pt x="3"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8" name="Freeform 57"/>
            <p:cNvSpPr>
              <a:spLocks/>
            </p:cNvSpPr>
            <p:nvPr/>
          </p:nvSpPr>
          <p:spPr bwMode="auto">
            <a:xfrm>
              <a:off x="1836738" y="1521254"/>
              <a:ext cx="76200" cy="42863"/>
            </a:xfrm>
            <a:custGeom>
              <a:avLst/>
              <a:gdLst>
                <a:gd name="T0" fmla="*/ 39 w 48"/>
                <a:gd name="T1" fmla="*/ 27 h 27"/>
                <a:gd name="T2" fmla="*/ 39 w 48"/>
                <a:gd name="T3" fmla="*/ 27 h 27"/>
                <a:gd name="T4" fmla="*/ 35 w 48"/>
                <a:gd name="T5" fmla="*/ 27 h 27"/>
                <a:gd name="T6" fmla="*/ 31 w 48"/>
                <a:gd name="T7" fmla="*/ 27 h 27"/>
                <a:gd name="T8" fmla="*/ 28 w 48"/>
                <a:gd name="T9" fmla="*/ 26 h 27"/>
                <a:gd name="T10" fmla="*/ 25 w 48"/>
                <a:gd name="T11" fmla="*/ 24 h 27"/>
                <a:gd name="T12" fmla="*/ 25 w 48"/>
                <a:gd name="T13" fmla="*/ 24 h 27"/>
                <a:gd name="T14" fmla="*/ 19 w 48"/>
                <a:gd name="T15" fmla="*/ 26 h 27"/>
                <a:gd name="T16" fmla="*/ 18 w 48"/>
                <a:gd name="T17" fmla="*/ 26 h 27"/>
                <a:gd name="T18" fmla="*/ 15 w 48"/>
                <a:gd name="T19" fmla="*/ 26 h 27"/>
                <a:gd name="T20" fmla="*/ 15 w 48"/>
                <a:gd name="T21" fmla="*/ 26 h 27"/>
                <a:gd name="T22" fmla="*/ 13 w 48"/>
                <a:gd name="T23" fmla="*/ 23 h 27"/>
                <a:gd name="T24" fmla="*/ 10 w 48"/>
                <a:gd name="T25" fmla="*/ 23 h 27"/>
                <a:gd name="T26" fmla="*/ 10 w 48"/>
                <a:gd name="T27" fmla="*/ 23 h 27"/>
                <a:gd name="T28" fmla="*/ 7 w 48"/>
                <a:gd name="T29" fmla="*/ 21 h 27"/>
                <a:gd name="T30" fmla="*/ 3 w 48"/>
                <a:gd name="T31" fmla="*/ 18 h 27"/>
                <a:gd name="T32" fmla="*/ 0 w 48"/>
                <a:gd name="T33" fmla="*/ 14 h 27"/>
                <a:gd name="T34" fmla="*/ 0 w 48"/>
                <a:gd name="T35" fmla="*/ 11 h 27"/>
                <a:gd name="T36" fmla="*/ 0 w 48"/>
                <a:gd name="T37" fmla="*/ 11 h 27"/>
                <a:gd name="T38" fmla="*/ 2 w 48"/>
                <a:gd name="T39" fmla="*/ 7 h 27"/>
                <a:gd name="T40" fmla="*/ 5 w 48"/>
                <a:gd name="T41" fmla="*/ 4 h 27"/>
                <a:gd name="T42" fmla="*/ 12 w 48"/>
                <a:gd name="T43" fmla="*/ 0 h 27"/>
                <a:gd name="T44" fmla="*/ 12 w 48"/>
                <a:gd name="T45" fmla="*/ 0 h 27"/>
                <a:gd name="T46" fmla="*/ 13 w 48"/>
                <a:gd name="T47" fmla="*/ 1 h 27"/>
                <a:gd name="T48" fmla="*/ 15 w 48"/>
                <a:gd name="T49" fmla="*/ 1 h 27"/>
                <a:gd name="T50" fmla="*/ 15 w 48"/>
                <a:gd name="T51" fmla="*/ 2 h 27"/>
                <a:gd name="T52" fmla="*/ 18 w 48"/>
                <a:gd name="T53" fmla="*/ 2 h 27"/>
                <a:gd name="T54" fmla="*/ 18 w 48"/>
                <a:gd name="T55" fmla="*/ 2 h 27"/>
                <a:gd name="T56" fmla="*/ 19 w 48"/>
                <a:gd name="T57" fmla="*/ 2 h 27"/>
                <a:gd name="T58" fmla="*/ 20 w 48"/>
                <a:gd name="T59" fmla="*/ 1 h 27"/>
                <a:gd name="T60" fmla="*/ 22 w 48"/>
                <a:gd name="T61" fmla="*/ 0 h 27"/>
                <a:gd name="T62" fmla="*/ 25 w 48"/>
                <a:gd name="T63" fmla="*/ 0 h 27"/>
                <a:gd name="T64" fmla="*/ 25 w 48"/>
                <a:gd name="T65" fmla="*/ 0 h 27"/>
                <a:gd name="T66" fmla="*/ 28 w 48"/>
                <a:gd name="T67" fmla="*/ 1 h 27"/>
                <a:gd name="T68" fmla="*/ 29 w 48"/>
                <a:gd name="T69" fmla="*/ 2 h 27"/>
                <a:gd name="T70" fmla="*/ 32 w 48"/>
                <a:gd name="T71" fmla="*/ 2 h 27"/>
                <a:gd name="T72" fmla="*/ 32 w 48"/>
                <a:gd name="T73" fmla="*/ 2 h 27"/>
                <a:gd name="T74" fmla="*/ 41 w 48"/>
                <a:gd name="T75" fmla="*/ 4 h 27"/>
                <a:gd name="T76" fmla="*/ 47 w 48"/>
                <a:gd name="T77" fmla="*/ 7 h 27"/>
                <a:gd name="T78" fmla="*/ 47 w 48"/>
                <a:gd name="T79" fmla="*/ 7 h 27"/>
                <a:gd name="T80" fmla="*/ 48 w 48"/>
                <a:gd name="T81" fmla="*/ 11 h 27"/>
                <a:gd name="T82" fmla="*/ 48 w 48"/>
                <a:gd name="T83" fmla="*/ 13 h 27"/>
                <a:gd name="T84" fmla="*/ 47 w 48"/>
                <a:gd name="T85" fmla="*/ 15 h 27"/>
                <a:gd name="T86" fmla="*/ 47 w 48"/>
                <a:gd name="T87" fmla="*/ 15 h 27"/>
                <a:gd name="T88" fmla="*/ 45 w 48"/>
                <a:gd name="T89" fmla="*/ 18 h 27"/>
                <a:gd name="T90" fmla="*/ 44 w 48"/>
                <a:gd name="T91" fmla="*/ 23 h 27"/>
                <a:gd name="T92" fmla="*/ 42 w 48"/>
                <a:gd name="T93" fmla="*/ 26 h 27"/>
                <a:gd name="T94" fmla="*/ 39 w 48"/>
                <a:gd name="T9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27">
                  <a:moveTo>
                    <a:pt x="39" y="27"/>
                  </a:moveTo>
                  <a:lnTo>
                    <a:pt x="39" y="27"/>
                  </a:lnTo>
                  <a:lnTo>
                    <a:pt x="35" y="27"/>
                  </a:lnTo>
                  <a:lnTo>
                    <a:pt x="31" y="27"/>
                  </a:lnTo>
                  <a:lnTo>
                    <a:pt x="28" y="26"/>
                  </a:lnTo>
                  <a:lnTo>
                    <a:pt x="25" y="24"/>
                  </a:lnTo>
                  <a:lnTo>
                    <a:pt x="25" y="24"/>
                  </a:lnTo>
                  <a:lnTo>
                    <a:pt x="19" y="26"/>
                  </a:lnTo>
                  <a:lnTo>
                    <a:pt x="18" y="26"/>
                  </a:lnTo>
                  <a:lnTo>
                    <a:pt x="15" y="26"/>
                  </a:lnTo>
                  <a:lnTo>
                    <a:pt x="15" y="26"/>
                  </a:lnTo>
                  <a:lnTo>
                    <a:pt x="13" y="23"/>
                  </a:lnTo>
                  <a:lnTo>
                    <a:pt x="10" y="23"/>
                  </a:lnTo>
                  <a:lnTo>
                    <a:pt x="10" y="23"/>
                  </a:lnTo>
                  <a:lnTo>
                    <a:pt x="7" y="21"/>
                  </a:lnTo>
                  <a:lnTo>
                    <a:pt x="3" y="18"/>
                  </a:lnTo>
                  <a:lnTo>
                    <a:pt x="0" y="14"/>
                  </a:lnTo>
                  <a:lnTo>
                    <a:pt x="0" y="11"/>
                  </a:lnTo>
                  <a:lnTo>
                    <a:pt x="0" y="11"/>
                  </a:lnTo>
                  <a:lnTo>
                    <a:pt x="2" y="7"/>
                  </a:lnTo>
                  <a:lnTo>
                    <a:pt x="5" y="4"/>
                  </a:lnTo>
                  <a:lnTo>
                    <a:pt x="12" y="0"/>
                  </a:lnTo>
                  <a:lnTo>
                    <a:pt x="12" y="0"/>
                  </a:lnTo>
                  <a:lnTo>
                    <a:pt x="13" y="1"/>
                  </a:lnTo>
                  <a:lnTo>
                    <a:pt x="15" y="1"/>
                  </a:lnTo>
                  <a:lnTo>
                    <a:pt x="15" y="2"/>
                  </a:lnTo>
                  <a:lnTo>
                    <a:pt x="18" y="2"/>
                  </a:lnTo>
                  <a:lnTo>
                    <a:pt x="18" y="2"/>
                  </a:lnTo>
                  <a:lnTo>
                    <a:pt x="19" y="2"/>
                  </a:lnTo>
                  <a:lnTo>
                    <a:pt x="20" y="1"/>
                  </a:lnTo>
                  <a:lnTo>
                    <a:pt x="22" y="0"/>
                  </a:lnTo>
                  <a:lnTo>
                    <a:pt x="25" y="0"/>
                  </a:lnTo>
                  <a:lnTo>
                    <a:pt x="25" y="0"/>
                  </a:lnTo>
                  <a:lnTo>
                    <a:pt x="28" y="1"/>
                  </a:lnTo>
                  <a:lnTo>
                    <a:pt x="29" y="2"/>
                  </a:lnTo>
                  <a:lnTo>
                    <a:pt x="32" y="2"/>
                  </a:lnTo>
                  <a:lnTo>
                    <a:pt x="32" y="2"/>
                  </a:lnTo>
                  <a:lnTo>
                    <a:pt x="41" y="4"/>
                  </a:lnTo>
                  <a:lnTo>
                    <a:pt x="47" y="7"/>
                  </a:lnTo>
                  <a:lnTo>
                    <a:pt x="47" y="7"/>
                  </a:lnTo>
                  <a:lnTo>
                    <a:pt x="48" y="11"/>
                  </a:lnTo>
                  <a:lnTo>
                    <a:pt x="48" y="13"/>
                  </a:lnTo>
                  <a:lnTo>
                    <a:pt x="47" y="15"/>
                  </a:lnTo>
                  <a:lnTo>
                    <a:pt x="47" y="15"/>
                  </a:lnTo>
                  <a:lnTo>
                    <a:pt x="45" y="18"/>
                  </a:lnTo>
                  <a:lnTo>
                    <a:pt x="44" y="23"/>
                  </a:lnTo>
                  <a:lnTo>
                    <a:pt x="42" y="26"/>
                  </a:lnTo>
                  <a:lnTo>
                    <a:pt x="39" y="27"/>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9" name="Freeform 58"/>
            <p:cNvSpPr>
              <a:spLocks/>
            </p:cNvSpPr>
            <p:nvPr/>
          </p:nvSpPr>
          <p:spPr bwMode="auto">
            <a:xfrm>
              <a:off x="1836738" y="1521254"/>
              <a:ext cx="76200" cy="42863"/>
            </a:xfrm>
            <a:custGeom>
              <a:avLst/>
              <a:gdLst>
                <a:gd name="T0" fmla="*/ 39 w 48"/>
                <a:gd name="T1" fmla="*/ 27 h 27"/>
                <a:gd name="T2" fmla="*/ 39 w 48"/>
                <a:gd name="T3" fmla="*/ 27 h 27"/>
                <a:gd name="T4" fmla="*/ 35 w 48"/>
                <a:gd name="T5" fmla="*/ 27 h 27"/>
                <a:gd name="T6" fmla="*/ 31 w 48"/>
                <a:gd name="T7" fmla="*/ 27 h 27"/>
                <a:gd name="T8" fmla="*/ 28 w 48"/>
                <a:gd name="T9" fmla="*/ 26 h 27"/>
                <a:gd name="T10" fmla="*/ 25 w 48"/>
                <a:gd name="T11" fmla="*/ 24 h 27"/>
                <a:gd name="T12" fmla="*/ 25 w 48"/>
                <a:gd name="T13" fmla="*/ 24 h 27"/>
                <a:gd name="T14" fmla="*/ 19 w 48"/>
                <a:gd name="T15" fmla="*/ 26 h 27"/>
                <a:gd name="T16" fmla="*/ 18 w 48"/>
                <a:gd name="T17" fmla="*/ 26 h 27"/>
                <a:gd name="T18" fmla="*/ 15 w 48"/>
                <a:gd name="T19" fmla="*/ 26 h 27"/>
                <a:gd name="T20" fmla="*/ 15 w 48"/>
                <a:gd name="T21" fmla="*/ 26 h 27"/>
                <a:gd name="T22" fmla="*/ 13 w 48"/>
                <a:gd name="T23" fmla="*/ 23 h 27"/>
                <a:gd name="T24" fmla="*/ 10 w 48"/>
                <a:gd name="T25" fmla="*/ 23 h 27"/>
                <a:gd name="T26" fmla="*/ 10 w 48"/>
                <a:gd name="T27" fmla="*/ 23 h 27"/>
                <a:gd name="T28" fmla="*/ 7 w 48"/>
                <a:gd name="T29" fmla="*/ 21 h 27"/>
                <a:gd name="T30" fmla="*/ 3 w 48"/>
                <a:gd name="T31" fmla="*/ 18 h 27"/>
                <a:gd name="T32" fmla="*/ 0 w 48"/>
                <a:gd name="T33" fmla="*/ 14 h 27"/>
                <a:gd name="T34" fmla="*/ 0 w 48"/>
                <a:gd name="T35" fmla="*/ 11 h 27"/>
                <a:gd name="T36" fmla="*/ 0 w 48"/>
                <a:gd name="T37" fmla="*/ 11 h 27"/>
                <a:gd name="T38" fmla="*/ 2 w 48"/>
                <a:gd name="T39" fmla="*/ 7 h 27"/>
                <a:gd name="T40" fmla="*/ 5 w 48"/>
                <a:gd name="T41" fmla="*/ 4 h 27"/>
                <a:gd name="T42" fmla="*/ 12 w 48"/>
                <a:gd name="T43" fmla="*/ 0 h 27"/>
                <a:gd name="T44" fmla="*/ 12 w 48"/>
                <a:gd name="T45" fmla="*/ 0 h 27"/>
                <a:gd name="T46" fmla="*/ 13 w 48"/>
                <a:gd name="T47" fmla="*/ 1 h 27"/>
                <a:gd name="T48" fmla="*/ 15 w 48"/>
                <a:gd name="T49" fmla="*/ 1 h 27"/>
                <a:gd name="T50" fmla="*/ 15 w 48"/>
                <a:gd name="T51" fmla="*/ 2 h 27"/>
                <a:gd name="T52" fmla="*/ 18 w 48"/>
                <a:gd name="T53" fmla="*/ 2 h 27"/>
                <a:gd name="T54" fmla="*/ 18 w 48"/>
                <a:gd name="T55" fmla="*/ 2 h 27"/>
                <a:gd name="T56" fmla="*/ 19 w 48"/>
                <a:gd name="T57" fmla="*/ 2 h 27"/>
                <a:gd name="T58" fmla="*/ 20 w 48"/>
                <a:gd name="T59" fmla="*/ 1 h 27"/>
                <a:gd name="T60" fmla="*/ 22 w 48"/>
                <a:gd name="T61" fmla="*/ 0 h 27"/>
                <a:gd name="T62" fmla="*/ 25 w 48"/>
                <a:gd name="T63" fmla="*/ 0 h 27"/>
                <a:gd name="T64" fmla="*/ 25 w 48"/>
                <a:gd name="T65" fmla="*/ 0 h 27"/>
                <a:gd name="T66" fmla="*/ 28 w 48"/>
                <a:gd name="T67" fmla="*/ 1 h 27"/>
                <a:gd name="T68" fmla="*/ 29 w 48"/>
                <a:gd name="T69" fmla="*/ 2 h 27"/>
                <a:gd name="T70" fmla="*/ 32 w 48"/>
                <a:gd name="T71" fmla="*/ 2 h 27"/>
                <a:gd name="T72" fmla="*/ 32 w 48"/>
                <a:gd name="T73" fmla="*/ 2 h 27"/>
                <a:gd name="T74" fmla="*/ 41 w 48"/>
                <a:gd name="T75" fmla="*/ 4 h 27"/>
                <a:gd name="T76" fmla="*/ 47 w 48"/>
                <a:gd name="T77" fmla="*/ 7 h 27"/>
                <a:gd name="T78" fmla="*/ 47 w 48"/>
                <a:gd name="T79" fmla="*/ 7 h 27"/>
                <a:gd name="T80" fmla="*/ 48 w 48"/>
                <a:gd name="T81" fmla="*/ 11 h 27"/>
                <a:gd name="T82" fmla="*/ 48 w 48"/>
                <a:gd name="T83" fmla="*/ 13 h 27"/>
                <a:gd name="T84" fmla="*/ 47 w 48"/>
                <a:gd name="T85" fmla="*/ 15 h 27"/>
                <a:gd name="T86" fmla="*/ 47 w 48"/>
                <a:gd name="T87" fmla="*/ 15 h 27"/>
                <a:gd name="T88" fmla="*/ 45 w 48"/>
                <a:gd name="T89" fmla="*/ 18 h 27"/>
                <a:gd name="T90" fmla="*/ 44 w 48"/>
                <a:gd name="T91" fmla="*/ 23 h 27"/>
                <a:gd name="T92" fmla="*/ 42 w 48"/>
                <a:gd name="T93" fmla="*/ 26 h 27"/>
                <a:gd name="T94" fmla="*/ 39 w 48"/>
                <a:gd name="T9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27">
                  <a:moveTo>
                    <a:pt x="39" y="27"/>
                  </a:moveTo>
                  <a:lnTo>
                    <a:pt x="39" y="27"/>
                  </a:lnTo>
                  <a:lnTo>
                    <a:pt x="35" y="27"/>
                  </a:lnTo>
                  <a:lnTo>
                    <a:pt x="31" y="27"/>
                  </a:lnTo>
                  <a:lnTo>
                    <a:pt x="28" y="26"/>
                  </a:lnTo>
                  <a:lnTo>
                    <a:pt x="25" y="24"/>
                  </a:lnTo>
                  <a:lnTo>
                    <a:pt x="25" y="24"/>
                  </a:lnTo>
                  <a:lnTo>
                    <a:pt x="19" y="26"/>
                  </a:lnTo>
                  <a:lnTo>
                    <a:pt x="18" y="26"/>
                  </a:lnTo>
                  <a:lnTo>
                    <a:pt x="15" y="26"/>
                  </a:lnTo>
                  <a:lnTo>
                    <a:pt x="15" y="26"/>
                  </a:lnTo>
                  <a:lnTo>
                    <a:pt x="13" y="23"/>
                  </a:lnTo>
                  <a:lnTo>
                    <a:pt x="10" y="23"/>
                  </a:lnTo>
                  <a:lnTo>
                    <a:pt x="10" y="23"/>
                  </a:lnTo>
                  <a:lnTo>
                    <a:pt x="7" y="21"/>
                  </a:lnTo>
                  <a:lnTo>
                    <a:pt x="3" y="18"/>
                  </a:lnTo>
                  <a:lnTo>
                    <a:pt x="0" y="14"/>
                  </a:lnTo>
                  <a:lnTo>
                    <a:pt x="0" y="11"/>
                  </a:lnTo>
                  <a:lnTo>
                    <a:pt x="0" y="11"/>
                  </a:lnTo>
                  <a:lnTo>
                    <a:pt x="2" y="7"/>
                  </a:lnTo>
                  <a:lnTo>
                    <a:pt x="5" y="4"/>
                  </a:lnTo>
                  <a:lnTo>
                    <a:pt x="12" y="0"/>
                  </a:lnTo>
                  <a:lnTo>
                    <a:pt x="12" y="0"/>
                  </a:lnTo>
                  <a:lnTo>
                    <a:pt x="13" y="1"/>
                  </a:lnTo>
                  <a:lnTo>
                    <a:pt x="15" y="1"/>
                  </a:lnTo>
                  <a:lnTo>
                    <a:pt x="15" y="2"/>
                  </a:lnTo>
                  <a:lnTo>
                    <a:pt x="18" y="2"/>
                  </a:lnTo>
                  <a:lnTo>
                    <a:pt x="18" y="2"/>
                  </a:lnTo>
                  <a:lnTo>
                    <a:pt x="19" y="2"/>
                  </a:lnTo>
                  <a:lnTo>
                    <a:pt x="20" y="1"/>
                  </a:lnTo>
                  <a:lnTo>
                    <a:pt x="22" y="0"/>
                  </a:lnTo>
                  <a:lnTo>
                    <a:pt x="25" y="0"/>
                  </a:lnTo>
                  <a:lnTo>
                    <a:pt x="25" y="0"/>
                  </a:lnTo>
                  <a:lnTo>
                    <a:pt x="28" y="1"/>
                  </a:lnTo>
                  <a:lnTo>
                    <a:pt x="29" y="2"/>
                  </a:lnTo>
                  <a:lnTo>
                    <a:pt x="32" y="2"/>
                  </a:lnTo>
                  <a:lnTo>
                    <a:pt x="32" y="2"/>
                  </a:lnTo>
                  <a:lnTo>
                    <a:pt x="41" y="4"/>
                  </a:lnTo>
                  <a:lnTo>
                    <a:pt x="47" y="7"/>
                  </a:lnTo>
                  <a:lnTo>
                    <a:pt x="47" y="7"/>
                  </a:lnTo>
                  <a:lnTo>
                    <a:pt x="48" y="11"/>
                  </a:lnTo>
                  <a:lnTo>
                    <a:pt x="48" y="13"/>
                  </a:lnTo>
                  <a:lnTo>
                    <a:pt x="47" y="15"/>
                  </a:lnTo>
                  <a:lnTo>
                    <a:pt x="47" y="15"/>
                  </a:lnTo>
                  <a:lnTo>
                    <a:pt x="45" y="18"/>
                  </a:lnTo>
                  <a:lnTo>
                    <a:pt x="44" y="23"/>
                  </a:lnTo>
                  <a:lnTo>
                    <a:pt x="42" y="26"/>
                  </a:lnTo>
                  <a:lnTo>
                    <a:pt x="39" y="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0" name="Freeform 59"/>
            <p:cNvSpPr>
              <a:spLocks/>
            </p:cNvSpPr>
            <p:nvPr/>
          </p:nvSpPr>
          <p:spPr bwMode="auto">
            <a:xfrm>
              <a:off x="1965325" y="1543479"/>
              <a:ext cx="30163" cy="41275"/>
            </a:xfrm>
            <a:custGeom>
              <a:avLst/>
              <a:gdLst>
                <a:gd name="T0" fmla="*/ 16 w 19"/>
                <a:gd name="T1" fmla="*/ 26 h 26"/>
                <a:gd name="T2" fmla="*/ 16 w 19"/>
                <a:gd name="T3" fmla="*/ 26 h 26"/>
                <a:gd name="T4" fmla="*/ 12 w 19"/>
                <a:gd name="T5" fmla="*/ 25 h 26"/>
                <a:gd name="T6" fmla="*/ 6 w 19"/>
                <a:gd name="T7" fmla="*/ 23 h 26"/>
                <a:gd name="T8" fmla="*/ 3 w 19"/>
                <a:gd name="T9" fmla="*/ 20 h 26"/>
                <a:gd name="T10" fmla="*/ 0 w 19"/>
                <a:gd name="T11" fmla="*/ 16 h 26"/>
                <a:gd name="T12" fmla="*/ 0 w 19"/>
                <a:gd name="T13" fmla="*/ 16 h 26"/>
                <a:gd name="T14" fmla="*/ 0 w 19"/>
                <a:gd name="T15" fmla="*/ 10 h 26"/>
                <a:gd name="T16" fmla="*/ 2 w 19"/>
                <a:gd name="T17" fmla="*/ 6 h 26"/>
                <a:gd name="T18" fmla="*/ 3 w 19"/>
                <a:gd name="T19" fmla="*/ 1 h 26"/>
                <a:gd name="T20" fmla="*/ 6 w 19"/>
                <a:gd name="T21" fmla="*/ 0 h 26"/>
                <a:gd name="T22" fmla="*/ 6 w 19"/>
                <a:gd name="T23" fmla="*/ 0 h 26"/>
                <a:gd name="T24" fmla="*/ 9 w 19"/>
                <a:gd name="T25" fmla="*/ 0 h 26"/>
                <a:gd name="T26" fmla="*/ 12 w 19"/>
                <a:gd name="T27" fmla="*/ 3 h 26"/>
                <a:gd name="T28" fmla="*/ 16 w 19"/>
                <a:gd name="T29" fmla="*/ 9 h 26"/>
                <a:gd name="T30" fmla="*/ 16 w 19"/>
                <a:gd name="T31" fmla="*/ 9 h 26"/>
                <a:gd name="T32" fmla="*/ 19 w 19"/>
                <a:gd name="T33" fmla="*/ 12 h 26"/>
                <a:gd name="T34" fmla="*/ 19 w 19"/>
                <a:gd name="T35" fmla="*/ 17 h 26"/>
                <a:gd name="T36" fmla="*/ 19 w 19"/>
                <a:gd name="T37" fmla="*/ 23 h 26"/>
                <a:gd name="T38" fmla="*/ 18 w 19"/>
                <a:gd name="T39" fmla="*/ 25 h 26"/>
                <a:gd name="T40" fmla="*/ 16 w 19"/>
                <a:gd name="T4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26">
                  <a:moveTo>
                    <a:pt x="16" y="26"/>
                  </a:moveTo>
                  <a:lnTo>
                    <a:pt x="16" y="26"/>
                  </a:lnTo>
                  <a:lnTo>
                    <a:pt x="12" y="25"/>
                  </a:lnTo>
                  <a:lnTo>
                    <a:pt x="6" y="23"/>
                  </a:lnTo>
                  <a:lnTo>
                    <a:pt x="3" y="20"/>
                  </a:lnTo>
                  <a:lnTo>
                    <a:pt x="0" y="16"/>
                  </a:lnTo>
                  <a:lnTo>
                    <a:pt x="0" y="16"/>
                  </a:lnTo>
                  <a:lnTo>
                    <a:pt x="0" y="10"/>
                  </a:lnTo>
                  <a:lnTo>
                    <a:pt x="2" y="6"/>
                  </a:lnTo>
                  <a:lnTo>
                    <a:pt x="3" y="1"/>
                  </a:lnTo>
                  <a:lnTo>
                    <a:pt x="6" y="0"/>
                  </a:lnTo>
                  <a:lnTo>
                    <a:pt x="6" y="0"/>
                  </a:lnTo>
                  <a:lnTo>
                    <a:pt x="9" y="0"/>
                  </a:lnTo>
                  <a:lnTo>
                    <a:pt x="12" y="3"/>
                  </a:lnTo>
                  <a:lnTo>
                    <a:pt x="16" y="9"/>
                  </a:lnTo>
                  <a:lnTo>
                    <a:pt x="16" y="9"/>
                  </a:lnTo>
                  <a:lnTo>
                    <a:pt x="19" y="12"/>
                  </a:lnTo>
                  <a:lnTo>
                    <a:pt x="19" y="17"/>
                  </a:lnTo>
                  <a:lnTo>
                    <a:pt x="19" y="23"/>
                  </a:lnTo>
                  <a:lnTo>
                    <a:pt x="18" y="25"/>
                  </a:lnTo>
                  <a:lnTo>
                    <a:pt x="16" y="26"/>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1" name="Freeform 60"/>
            <p:cNvSpPr>
              <a:spLocks/>
            </p:cNvSpPr>
            <p:nvPr/>
          </p:nvSpPr>
          <p:spPr bwMode="auto">
            <a:xfrm>
              <a:off x="1965325" y="1543479"/>
              <a:ext cx="30163" cy="41275"/>
            </a:xfrm>
            <a:custGeom>
              <a:avLst/>
              <a:gdLst>
                <a:gd name="T0" fmla="*/ 16 w 19"/>
                <a:gd name="T1" fmla="*/ 26 h 26"/>
                <a:gd name="T2" fmla="*/ 16 w 19"/>
                <a:gd name="T3" fmla="*/ 26 h 26"/>
                <a:gd name="T4" fmla="*/ 12 w 19"/>
                <a:gd name="T5" fmla="*/ 25 h 26"/>
                <a:gd name="T6" fmla="*/ 6 w 19"/>
                <a:gd name="T7" fmla="*/ 23 h 26"/>
                <a:gd name="T8" fmla="*/ 3 w 19"/>
                <a:gd name="T9" fmla="*/ 20 h 26"/>
                <a:gd name="T10" fmla="*/ 0 w 19"/>
                <a:gd name="T11" fmla="*/ 16 h 26"/>
                <a:gd name="T12" fmla="*/ 0 w 19"/>
                <a:gd name="T13" fmla="*/ 16 h 26"/>
                <a:gd name="T14" fmla="*/ 0 w 19"/>
                <a:gd name="T15" fmla="*/ 10 h 26"/>
                <a:gd name="T16" fmla="*/ 2 w 19"/>
                <a:gd name="T17" fmla="*/ 6 h 26"/>
                <a:gd name="T18" fmla="*/ 3 w 19"/>
                <a:gd name="T19" fmla="*/ 1 h 26"/>
                <a:gd name="T20" fmla="*/ 6 w 19"/>
                <a:gd name="T21" fmla="*/ 0 h 26"/>
                <a:gd name="T22" fmla="*/ 6 w 19"/>
                <a:gd name="T23" fmla="*/ 0 h 26"/>
                <a:gd name="T24" fmla="*/ 9 w 19"/>
                <a:gd name="T25" fmla="*/ 0 h 26"/>
                <a:gd name="T26" fmla="*/ 12 w 19"/>
                <a:gd name="T27" fmla="*/ 3 h 26"/>
                <a:gd name="T28" fmla="*/ 16 w 19"/>
                <a:gd name="T29" fmla="*/ 9 h 26"/>
                <a:gd name="T30" fmla="*/ 16 w 19"/>
                <a:gd name="T31" fmla="*/ 9 h 26"/>
                <a:gd name="T32" fmla="*/ 19 w 19"/>
                <a:gd name="T33" fmla="*/ 12 h 26"/>
                <a:gd name="T34" fmla="*/ 19 w 19"/>
                <a:gd name="T35" fmla="*/ 17 h 26"/>
                <a:gd name="T36" fmla="*/ 19 w 19"/>
                <a:gd name="T37" fmla="*/ 23 h 26"/>
                <a:gd name="T38" fmla="*/ 18 w 19"/>
                <a:gd name="T39" fmla="*/ 25 h 26"/>
                <a:gd name="T40" fmla="*/ 16 w 19"/>
                <a:gd name="T4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26">
                  <a:moveTo>
                    <a:pt x="16" y="26"/>
                  </a:moveTo>
                  <a:lnTo>
                    <a:pt x="16" y="26"/>
                  </a:lnTo>
                  <a:lnTo>
                    <a:pt x="12" y="25"/>
                  </a:lnTo>
                  <a:lnTo>
                    <a:pt x="6" y="23"/>
                  </a:lnTo>
                  <a:lnTo>
                    <a:pt x="3" y="20"/>
                  </a:lnTo>
                  <a:lnTo>
                    <a:pt x="0" y="16"/>
                  </a:lnTo>
                  <a:lnTo>
                    <a:pt x="0" y="16"/>
                  </a:lnTo>
                  <a:lnTo>
                    <a:pt x="0" y="10"/>
                  </a:lnTo>
                  <a:lnTo>
                    <a:pt x="2" y="6"/>
                  </a:lnTo>
                  <a:lnTo>
                    <a:pt x="3" y="1"/>
                  </a:lnTo>
                  <a:lnTo>
                    <a:pt x="6" y="0"/>
                  </a:lnTo>
                  <a:lnTo>
                    <a:pt x="6" y="0"/>
                  </a:lnTo>
                  <a:lnTo>
                    <a:pt x="9" y="0"/>
                  </a:lnTo>
                  <a:lnTo>
                    <a:pt x="12" y="3"/>
                  </a:lnTo>
                  <a:lnTo>
                    <a:pt x="16" y="9"/>
                  </a:lnTo>
                  <a:lnTo>
                    <a:pt x="16" y="9"/>
                  </a:lnTo>
                  <a:lnTo>
                    <a:pt x="19" y="12"/>
                  </a:lnTo>
                  <a:lnTo>
                    <a:pt x="19" y="17"/>
                  </a:lnTo>
                  <a:lnTo>
                    <a:pt x="19" y="23"/>
                  </a:lnTo>
                  <a:lnTo>
                    <a:pt x="18" y="25"/>
                  </a:lnTo>
                  <a:lnTo>
                    <a:pt x="16"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2" name="Freeform 61"/>
            <p:cNvSpPr>
              <a:spLocks/>
            </p:cNvSpPr>
            <p:nvPr/>
          </p:nvSpPr>
          <p:spPr bwMode="auto">
            <a:xfrm>
              <a:off x="1781175" y="1383141"/>
              <a:ext cx="90488" cy="138113"/>
            </a:xfrm>
            <a:custGeom>
              <a:avLst/>
              <a:gdLst>
                <a:gd name="T0" fmla="*/ 54 w 57"/>
                <a:gd name="T1" fmla="*/ 73 h 87"/>
                <a:gd name="T2" fmla="*/ 48 w 57"/>
                <a:gd name="T3" fmla="*/ 76 h 87"/>
                <a:gd name="T4" fmla="*/ 42 w 57"/>
                <a:gd name="T5" fmla="*/ 79 h 87"/>
                <a:gd name="T6" fmla="*/ 35 w 57"/>
                <a:gd name="T7" fmla="*/ 85 h 87"/>
                <a:gd name="T8" fmla="*/ 34 w 57"/>
                <a:gd name="T9" fmla="*/ 84 h 87"/>
                <a:gd name="T10" fmla="*/ 28 w 57"/>
                <a:gd name="T11" fmla="*/ 81 h 87"/>
                <a:gd name="T12" fmla="*/ 25 w 57"/>
                <a:gd name="T13" fmla="*/ 84 h 87"/>
                <a:gd name="T14" fmla="*/ 21 w 57"/>
                <a:gd name="T15" fmla="*/ 85 h 87"/>
                <a:gd name="T16" fmla="*/ 19 w 57"/>
                <a:gd name="T17" fmla="*/ 84 h 87"/>
                <a:gd name="T18" fmla="*/ 21 w 57"/>
                <a:gd name="T19" fmla="*/ 78 h 87"/>
                <a:gd name="T20" fmla="*/ 18 w 57"/>
                <a:gd name="T21" fmla="*/ 73 h 87"/>
                <a:gd name="T22" fmla="*/ 12 w 57"/>
                <a:gd name="T23" fmla="*/ 66 h 87"/>
                <a:gd name="T24" fmla="*/ 11 w 57"/>
                <a:gd name="T25" fmla="*/ 62 h 87"/>
                <a:gd name="T26" fmla="*/ 15 w 57"/>
                <a:gd name="T27" fmla="*/ 62 h 87"/>
                <a:gd name="T28" fmla="*/ 27 w 57"/>
                <a:gd name="T29" fmla="*/ 60 h 87"/>
                <a:gd name="T30" fmla="*/ 27 w 57"/>
                <a:gd name="T31" fmla="*/ 58 h 87"/>
                <a:gd name="T32" fmla="*/ 24 w 57"/>
                <a:gd name="T33" fmla="*/ 55 h 87"/>
                <a:gd name="T34" fmla="*/ 12 w 57"/>
                <a:gd name="T35" fmla="*/ 52 h 87"/>
                <a:gd name="T36" fmla="*/ 9 w 57"/>
                <a:gd name="T37" fmla="*/ 49 h 87"/>
                <a:gd name="T38" fmla="*/ 0 w 57"/>
                <a:gd name="T39" fmla="*/ 30 h 87"/>
                <a:gd name="T40" fmla="*/ 0 w 57"/>
                <a:gd name="T41" fmla="*/ 27 h 87"/>
                <a:gd name="T42" fmla="*/ 5 w 57"/>
                <a:gd name="T43" fmla="*/ 24 h 87"/>
                <a:gd name="T44" fmla="*/ 5 w 57"/>
                <a:gd name="T45" fmla="*/ 21 h 87"/>
                <a:gd name="T46" fmla="*/ 2 w 57"/>
                <a:gd name="T47" fmla="*/ 13 h 87"/>
                <a:gd name="T48" fmla="*/ 2 w 57"/>
                <a:gd name="T49" fmla="*/ 10 h 87"/>
                <a:gd name="T50" fmla="*/ 3 w 57"/>
                <a:gd name="T51" fmla="*/ 4 h 87"/>
                <a:gd name="T52" fmla="*/ 11 w 57"/>
                <a:gd name="T53" fmla="*/ 0 h 87"/>
                <a:gd name="T54" fmla="*/ 15 w 57"/>
                <a:gd name="T55" fmla="*/ 1 h 87"/>
                <a:gd name="T56" fmla="*/ 24 w 57"/>
                <a:gd name="T57" fmla="*/ 7 h 87"/>
                <a:gd name="T58" fmla="*/ 27 w 57"/>
                <a:gd name="T59" fmla="*/ 10 h 87"/>
                <a:gd name="T60" fmla="*/ 29 w 57"/>
                <a:gd name="T61" fmla="*/ 13 h 87"/>
                <a:gd name="T62" fmla="*/ 34 w 57"/>
                <a:gd name="T63" fmla="*/ 16 h 87"/>
                <a:gd name="T64" fmla="*/ 37 w 57"/>
                <a:gd name="T65" fmla="*/ 20 h 87"/>
                <a:gd name="T66" fmla="*/ 37 w 57"/>
                <a:gd name="T67" fmla="*/ 24 h 87"/>
                <a:gd name="T68" fmla="*/ 38 w 57"/>
                <a:gd name="T69" fmla="*/ 30 h 87"/>
                <a:gd name="T70" fmla="*/ 41 w 57"/>
                <a:gd name="T71" fmla="*/ 30 h 87"/>
                <a:gd name="T72" fmla="*/ 47 w 57"/>
                <a:gd name="T73" fmla="*/ 30 h 87"/>
                <a:gd name="T74" fmla="*/ 53 w 57"/>
                <a:gd name="T75" fmla="*/ 34 h 87"/>
                <a:gd name="T76" fmla="*/ 57 w 57"/>
                <a:gd name="T77" fmla="*/ 40 h 87"/>
                <a:gd name="T78" fmla="*/ 55 w 57"/>
                <a:gd name="T79" fmla="*/ 43 h 87"/>
                <a:gd name="T80" fmla="*/ 48 w 57"/>
                <a:gd name="T81" fmla="*/ 47 h 87"/>
                <a:gd name="T82" fmla="*/ 48 w 57"/>
                <a:gd name="T83" fmla="*/ 50 h 87"/>
                <a:gd name="T84" fmla="*/ 55 w 57"/>
                <a:gd name="T85" fmla="*/ 62 h 87"/>
                <a:gd name="T86" fmla="*/ 55 w 57"/>
                <a:gd name="T87" fmla="*/ 65 h 87"/>
                <a:gd name="T88" fmla="*/ 55 w 57"/>
                <a:gd name="T89" fmla="*/ 72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 h="87">
                  <a:moveTo>
                    <a:pt x="54" y="73"/>
                  </a:moveTo>
                  <a:lnTo>
                    <a:pt x="54" y="73"/>
                  </a:lnTo>
                  <a:lnTo>
                    <a:pt x="51" y="76"/>
                  </a:lnTo>
                  <a:lnTo>
                    <a:pt x="48" y="76"/>
                  </a:lnTo>
                  <a:lnTo>
                    <a:pt x="42" y="79"/>
                  </a:lnTo>
                  <a:lnTo>
                    <a:pt x="42" y="79"/>
                  </a:lnTo>
                  <a:lnTo>
                    <a:pt x="38" y="84"/>
                  </a:lnTo>
                  <a:lnTo>
                    <a:pt x="35" y="85"/>
                  </a:lnTo>
                  <a:lnTo>
                    <a:pt x="34" y="84"/>
                  </a:lnTo>
                  <a:lnTo>
                    <a:pt x="34" y="84"/>
                  </a:lnTo>
                  <a:lnTo>
                    <a:pt x="31" y="81"/>
                  </a:lnTo>
                  <a:lnTo>
                    <a:pt x="28" y="81"/>
                  </a:lnTo>
                  <a:lnTo>
                    <a:pt x="28" y="81"/>
                  </a:lnTo>
                  <a:lnTo>
                    <a:pt x="25" y="84"/>
                  </a:lnTo>
                  <a:lnTo>
                    <a:pt x="24" y="87"/>
                  </a:lnTo>
                  <a:lnTo>
                    <a:pt x="21" y="85"/>
                  </a:lnTo>
                  <a:lnTo>
                    <a:pt x="21" y="85"/>
                  </a:lnTo>
                  <a:lnTo>
                    <a:pt x="19" y="84"/>
                  </a:lnTo>
                  <a:lnTo>
                    <a:pt x="21" y="81"/>
                  </a:lnTo>
                  <a:lnTo>
                    <a:pt x="21" y="78"/>
                  </a:lnTo>
                  <a:lnTo>
                    <a:pt x="18" y="73"/>
                  </a:lnTo>
                  <a:lnTo>
                    <a:pt x="18" y="73"/>
                  </a:lnTo>
                  <a:lnTo>
                    <a:pt x="15" y="69"/>
                  </a:lnTo>
                  <a:lnTo>
                    <a:pt x="12" y="66"/>
                  </a:lnTo>
                  <a:lnTo>
                    <a:pt x="9" y="63"/>
                  </a:lnTo>
                  <a:lnTo>
                    <a:pt x="11" y="62"/>
                  </a:lnTo>
                  <a:lnTo>
                    <a:pt x="11" y="62"/>
                  </a:lnTo>
                  <a:lnTo>
                    <a:pt x="15" y="62"/>
                  </a:lnTo>
                  <a:lnTo>
                    <a:pt x="21" y="62"/>
                  </a:lnTo>
                  <a:lnTo>
                    <a:pt x="27" y="60"/>
                  </a:lnTo>
                  <a:lnTo>
                    <a:pt x="27" y="59"/>
                  </a:lnTo>
                  <a:lnTo>
                    <a:pt x="27" y="58"/>
                  </a:lnTo>
                  <a:lnTo>
                    <a:pt x="27" y="58"/>
                  </a:lnTo>
                  <a:lnTo>
                    <a:pt x="24" y="55"/>
                  </a:lnTo>
                  <a:lnTo>
                    <a:pt x="19" y="53"/>
                  </a:lnTo>
                  <a:lnTo>
                    <a:pt x="12" y="52"/>
                  </a:lnTo>
                  <a:lnTo>
                    <a:pt x="12" y="52"/>
                  </a:lnTo>
                  <a:lnTo>
                    <a:pt x="9" y="49"/>
                  </a:lnTo>
                  <a:lnTo>
                    <a:pt x="6" y="42"/>
                  </a:lnTo>
                  <a:lnTo>
                    <a:pt x="0" y="30"/>
                  </a:lnTo>
                  <a:lnTo>
                    <a:pt x="0" y="30"/>
                  </a:lnTo>
                  <a:lnTo>
                    <a:pt x="0" y="27"/>
                  </a:lnTo>
                  <a:lnTo>
                    <a:pt x="3" y="26"/>
                  </a:lnTo>
                  <a:lnTo>
                    <a:pt x="5" y="24"/>
                  </a:lnTo>
                  <a:lnTo>
                    <a:pt x="5" y="21"/>
                  </a:lnTo>
                  <a:lnTo>
                    <a:pt x="5" y="21"/>
                  </a:lnTo>
                  <a:lnTo>
                    <a:pt x="3" y="16"/>
                  </a:lnTo>
                  <a:lnTo>
                    <a:pt x="2" y="13"/>
                  </a:lnTo>
                  <a:lnTo>
                    <a:pt x="2" y="10"/>
                  </a:lnTo>
                  <a:lnTo>
                    <a:pt x="2" y="10"/>
                  </a:lnTo>
                  <a:lnTo>
                    <a:pt x="2" y="7"/>
                  </a:lnTo>
                  <a:lnTo>
                    <a:pt x="3" y="4"/>
                  </a:lnTo>
                  <a:lnTo>
                    <a:pt x="6" y="1"/>
                  </a:lnTo>
                  <a:lnTo>
                    <a:pt x="11" y="0"/>
                  </a:lnTo>
                  <a:lnTo>
                    <a:pt x="11" y="0"/>
                  </a:lnTo>
                  <a:lnTo>
                    <a:pt x="15" y="1"/>
                  </a:lnTo>
                  <a:lnTo>
                    <a:pt x="21" y="2"/>
                  </a:lnTo>
                  <a:lnTo>
                    <a:pt x="24" y="7"/>
                  </a:lnTo>
                  <a:lnTo>
                    <a:pt x="27" y="10"/>
                  </a:lnTo>
                  <a:lnTo>
                    <a:pt x="27" y="10"/>
                  </a:lnTo>
                  <a:lnTo>
                    <a:pt x="28" y="11"/>
                  </a:lnTo>
                  <a:lnTo>
                    <a:pt x="29" y="13"/>
                  </a:lnTo>
                  <a:lnTo>
                    <a:pt x="34" y="16"/>
                  </a:lnTo>
                  <a:lnTo>
                    <a:pt x="34" y="16"/>
                  </a:lnTo>
                  <a:lnTo>
                    <a:pt x="37" y="17"/>
                  </a:lnTo>
                  <a:lnTo>
                    <a:pt x="37" y="20"/>
                  </a:lnTo>
                  <a:lnTo>
                    <a:pt x="37" y="24"/>
                  </a:lnTo>
                  <a:lnTo>
                    <a:pt x="37" y="24"/>
                  </a:lnTo>
                  <a:lnTo>
                    <a:pt x="37" y="29"/>
                  </a:lnTo>
                  <a:lnTo>
                    <a:pt x="38" y="30"/>
                  </a:lnTo>
                  <a:lnTo>
                    <a:pt x="41" y="30"/>
                  </a:lnTo>
                  <a:lnTo>
                    <a:pt x="41" y="30"/>
                  </a:lnTo>
                  <a:lnTo>
                    <a:pt x="44" y="30"/>
                  </a:lnTo>
                  <a:lnTo>
                    <a:pt x="47" y="30"/>
                  </a:lnTo>
                  <a:lnTo>
                    <a:pt x="53" y="34"/>
                  </a:lnTo>
                  <a:lnTo>
                    <a:pt x="53" y="34"/>
                  </a:lnTo>
                  <a:lnTo>
                    <a:pt x="57" y="39"/>
                  </a:lnTo>
                  <a:lnTo>
                    <a:pt x="57" y="40"/>
                  </a:lnTo>
                  <a:lnTo>
                    <a:pt x="55" y="43"/>
                  </a:lnTo>
                  <a:lnTo>
                    <a:pt x="55" y="43"/>
                  </a:lnTo>
                  <a:lnTo>
                    <a:pt x="50" y="46"/>
                  </a:lnTo>
                  <a:lnTo>
                    <a:pt x="48" y="47"/>
                  </a:lnTo>
                  <a:lnTo>
                    <a:pt x="48" y="50"/>
                  </a:lnTo>
                  <a:lnTo>
                    <a:pt x="48" y="50"/>
                  </a:lnTo>
                  <a:lnTo>
                    <a:pt x="53" y="58"/>
                  </a:lnTo>
                  <a:lnTo>
                    <a:pt x="55" y="62"/>
                  </a:lnTo>
                  <a:lnTo>
                    <a:pt x="55" y="65"/>
                  </a:lnTo>
                  <a:lnTo>
                    <a:pt x="55" y="65"/>
                  </a:lnTo>
                  <a:lnTo>
                    <a:pt x="55" y="69"/>
                  </a:lnTo>
                  <a:lnTo>
                    <a:pt x="55" y="72"/>
                  </a:lnTo>
                  <a:lnTo>
                    <a:pt x="54" y="73"/>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3" name="Freeform 62"/>
            <p:cNvSpPr>
              <a:spLocks/>
            </p:cNvSpPr>
            <p:nvPr/>
          </p:nvSpPr>
          <p:spPr bwMode="auto">
            <a:xfrm>
              <a:off x="1781175" y="1383141"/>
              <a:ext cx="90488" cy="138113"/>
            </a:xfrm>
            <a:custGeom>
              <a:avLst/>
              <a:gdLst>
                <a:gd name="T0" fmla="*/ 54 w 57"/>
                <a:gd name="T1" fmla="*/ 73 h 87"/>
                <a:gd name="T2" fmla="*/ 48 w 57"/>
                <a:gd name="T3" fmla="*/ 76 h 87"/>
                <a:gd name="T4" fmla="*/ 42 w 57"/>
                <a:gd name="T5" fmla="*/ 79 h 87"/>
                <a:gd name="T6" fmla="*/ 35 w 57"/>
                <a:gd name="T7" fmla="*/ 85 h 87"/>
                <a:gd name="T8" fmla="*/ 34 w 57"/>
                <a:gd name="T9" fmla="*/ 84 h 87"/>
                <a:gd name="T10" fmla="*/ 28 w 57"/>
                <a:gd name="T11" fmla="*/ 81 h 87"/>
                <a:gd name="T12" fmla="*/ 25 w 57"/>
                <a:gd name="T13" fmla="*/ 84 h 87"/>
                <a:gd name="T14" fmla="*/ 21 w 57"/>
                <a:gd name="T15" fmla="*/ 85 h 87"/>
                <a:gd name="T16" fmla="*/ 19 w 57"/>
                <a:gd name="T17" fmla="*/ 84 h 87"/>
                <a:gd name="T18" fmla="*/ 21 w 57"/>
                <a:gd name="T19" fmla="*/ 78 h 87"/>
                <a:gd name="T20" fmla="*/ 18 w 57"/>
                <a:gd name="T21" fmla="*/ 73 h 87"/>
                <a:gd name="T22" fmla="*/ 12 w 57"/>
                <a:gd name="T23" fmla="*/ 66 h 87"/>
                <a:gd name="T24" fmla="*/ 11 w 57"/>
                <a:gd name="T25" fmla="*/ 62 h 87"/>
                <a:gd name="T26" fmla="*/ 15 w 57"/>
                <a:gd name="T27" fmla="*/ 62 h 87"/>
                <a:gd name="T28" fmla="*/ 27 w 57"/>
                <a:gd name="T29" fmla="*/ 60 h 87"/>
                <a:gd name="T30" fmla="*/ 27 w 57"/>
                <a:gd name="T31" fmla="*/ 58 h 87"/>
                <a:gd name="T32" fmla="*/ 24 w 57"/>
                <a:gd name="T33" fmla="*/ 55 h 87"/>
                <a:gd name="T34" fmla="*/ 12 w 57"/>
                <a:gd name="T35" fmla="*/ 52 h 87"/>
                <a:gd name="T36" fmla="*/ 9 w 57"/>
                <a:gd name="T37" fmla="*/ 49 h 87"/>
                <a:gd name="T38" fmla="*/ 0 w 57"/>
                <a:gd name="T39" fmla="*/ 30 h 87"/>
                <a:gd name="T40" fmla="*/ 0 w 57"/>
                <a:gd name="T41" fmla="*/ 27 h 87"/>
                <a:gd name="T42" fmla="*/ 5 w 57"/>
                <a:gd name="T43" fmla="*/ 24 h 87"/>
                <a:gd name="T44" fmla="*/ 5 w 57"/>
                <a:gd name="T45" fmla="*/ 21 h 87"/>
                <a:gd name="T46" fmla="*/ 2 w 57"/>
                <a:gd name="T47" fmla="*/ 13 h 87"/>
                <a:gd name="T48" fmla="*/ 2 w 57"/>
                <a:gd name="T49" fmla="*/ 10 h 87"/>
                <a:gd name="T50" fmla="*/ 3 w 57"/>
                <a:gd name="T51" fmla="*/ 4 h 87"/>
                <a:gd name="T52" fmla="*/ 11 w 57"/>
                <a:gd name="T53" fmla="*/ 0 h 87"/>
                <a:gd name="T54" fmla="*/ 15 w 57"/>
                <a:gd name="T55" fmla="*/ 1 h 87"/>
                <a:gd name="T56" fmla="*/ 24 w 57"/>
                <a:gd name="T57" fmla="*/ 7 h 87"/>
                <a:gd name="T58" fmla="*/ 27 w 57"/>
                <a:gd name="T59" fmla="*/ 10 h 87"/>
                <a:gd name="T60" fmla="*/ 29 w 57"/>
                <a:gd name="T61" fmla="*/ 13 h 87"/>
                <a:gd name="T62" fmla="*/ 34 w 57"/>
                <a:gd name="T63" fmla="*/ 16 h 87"/>
                <a:gd name="T64" fmla="*/ 37 w 57"/>
                <a:gd name="T65" fmla="*/ 20 h 87"/>
                <a:gd name="T66" fmla="*/ 37 w 57"/>
                <a:gd name="T67" fmla="*/ 24 h 87"/>
                <a:gd name="T68" fmla="*/ 38 w 57"/>
                <a:gd name="T69" fmla="*/ 30 h 87"/>
                <a:gd name="T70" fmla="*/ 41 w 57"/>
                <a:gd name="T71" fmla="*/ 30 h 87"/>
                <a:gd name="T72" fmla="*/ 47 w 57"/>
                <a:gd name="T73" fmla="*/ 30 h 87"/>
                <a:gd name="T74" fmla="*/ 53 w 57"/>
                <a:gd name="T75" fmla="*/ 34 h 87"/>
                <a:gd name="T76" fmla="*/ 57 w 57"/>
                <a:gd name="T77" fmla="*/ 40 h 87"/>
                <a:gd name="T78" fmla="*/ 55 w 57"/>
                <a:gd name="T79" fmla="*/ 43 h 87"/>
                <a:gd name="T80" fmla="*/ 48 w 57"/>
                <a:gd name="T81" fmla="*/ 47 h 87"/>
                <a:gd name="T82" fmla="*/ 48 w 57"/>
                <a:gd name="T83" fmla="*/ 50 h 87"/>
                <a:gd name="T84" fmla="*/ 55 w 57"/>
                <a:gd name="T85" fmla="*/ 62 h 87"/>
                <a:gd name="T86" fmla="*/ 55 w 57"/>
                <a:gd name="T87" fmla="*/ 65 h 87"/>
                <a:gd name="T88" fmla="*/ 55 w 57"/>
                <a:gd name="T89" fmla="*/ 72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 h="87">
                  <a:moveTo>
                    <a:pt x="54" y="73"/>
                  </a:moveTo>
                  <a:lnTo>
                    <a:pt x="54" y="73"/>
                  </a:lnTo>
                  <a:lnTo>
                    <a:pt x="51" y="76"/>
                  </a:lnTo>
                  <a:lnTo>
                    <a:pt x="48" y="76"/>
                  </a:lnTo>
                  <a:lnTo>
                    <a:pt x="42" y="79"/>
                  </a:lnTo>
                  <a:lnTo>
                    <a:pt x="42" y="79"/>
                  </a:lnTo>
                  <a:lnTo>
                    <a:pt x="38" y="84"/>
                  </a:lnTo>
                  <a:lnTo>
                    <a:pt x="35" y="85"/>
                  </a:lnTo>
                  <a:lnTo>
                    <a:pt x="34" y="84"/>
                  </a:lnTo>
                  <a:lnTo>
                    <a:pt x="34" y="84"/>
                  </a:lnTo>
                  <a:lnTo>
                    <a:pt x="31" y="81"/>
                  </a:lnTo>
                  <a:lnTo>
                    <a:pt x="28" y="81"/>
                  </a:lnTo>
                  <a:lnTo>
                    <a:pt x="28" y="81"/>
                  </a:lnTo>
                  <a:lnTo>
                    <a:pt x="25" y="84"/>
                  </a:lnTo>
                  <a:lnTo>
                    <a:pt x="24" y="87"/>
                  </a:lnTo>
                  <a:lnTo>
                    <a:pt x="21" y="85"/>
                  </a:lnTo>
                  <a:lnTo>
                    <a:pt x="21" y="85"/>
                  </a:lnTo>
                  <a:lnTo>
                    <a:pt x="19" y="84"/>
                  </a:lnTo>
                  <a:lnTo>
                    <a:pt x="21" y="81"/>
                  </a:lnTo>
                  <a:lnTo>
                    <a:pt x="21" y="78"/>
                  </a:lnTo>
                  <a:lnTo>
                    <a:pt x="18" y="73"/>
                  </a:lnTo>
                  <a:lnTo>
                    <a:pt x="18" y="73"/>
                  </a:lnTo>
                  <a:lnTo>
                    <a:pt x="15" y="69"/>
                  </a:lnTo>
                  <a:lnTo>
                    <a:pt x="12" y="66"/>
                  </a:lnTo>
                  <a:lnTo>
                    <a:pt x="9" y="63"/>
                  </a:lnTo>
                  <a:lnTo>
                    <a:pt x="11" y="62"/>
                  </a:lnTo>
                  <a:lnTo>
                    <a:pt x="11" y="62"/>
                  </a:lnTo>
                  <a:lnTo>
                    <a:pt x="15" y="62"/>
                  </a:lnTo>
                  <a:lnTo>
                    <a:pt x="21" y="62"/>
                  </a:lnTo>
                  <a:lnTo>
                    <a:pt x="27" y="60"/>
                  </a:lnTo>
                  <a:lnTo>
                    <a:pt x="27" y="59"/>
                  </a:lnTo>
                  <a:lnTo>
                    <a:pt x="27" y="58"/>
                  </a:lnTo>
                  <a:lnTo>
                    <a:pt x="27" y="58"/>
                  </a:lnTo>
                  <a:lnTo>
                    <a:pt x="24" y="55"/>
                  </a:lnTo>
                  <a:lnTo>
                    <a:pt x="19" y="53"/>
                  </a:lnTo>
                  <a:lnTo>
                    <a:pt x="12" y="52"/>
                  </a:lnTo>
                  <a:lnTo>
                    <a:pt x="12" y="52"/>
                  </a:lnTo>
                  <a:lnTo>
                    <a:pt x="9" y="49"/>
                  </a:lnTo>
                  <a:lnTo>
                    <a:pt x="6" y="42"/>
                  </a:lnTo>
                  <a:lnTo>
                    <a:pt x="0" y="30"/>
                  </a:lnTo>
                  <a:lnTo>
                    <a:pt x="0" y="30"/>
                  </a:lnTo>
                  <a:lnTo>
                    <a:pt x="0" y="27"/>
                  </a:lnTo>
                  <a:lnTo>
                    <a:pt x="3" y="26"/>
                  </a:lnTo>
                  <a:lnTo>
                    <a:pt x="5" y="24"/>
                  </a:lnTo>
                  <a:lnTo>
                    <a:pt x="5" y="21"/>
                  </a:lnTo>
                  <a:lnTo>
                    <a:pt x="5" y="21"/>
                  </a:lnTo>
                  <a:lnTo>
                    <a:pt x="3" y="16"/>
                  </a:lnTo>
                  <a:lnTo>
                    <a:pt x="2" y="13"/>
                  </a:lnTo>
                  <a:lnTo>
                    <a:pt x="2" y="10"/>
                  </a:lnTo>
                  <a:lnTo>
                    <a:pt x="2" y="10"/>
                  </a:lnTo>
                  <a:lnTo>
                    <a:pt x="2" y="7"/>
                  </a:lnTo>
                  <a:lnTo>
                    <a:pt x="3" y="4"/>
                  </a:lnTo>
                  <a:lnTo>
                    <a:pt x="6" y="1"/>
                  </a:lnTo>
                  <a:lnTo>
                    <a:pt x="11" y="0"/>
                  </a:lnTo>
                  <a:lnTo>
                    <a:pt x="11" y="0"/>
                  </a:lnTo>
                  <a:lnTo>
                    <a:pt x="15" y="1"/>
                  </a:lnTo>
                  <a:lnTo>
                    <a:pt x="21" y="2"/>
                  </a:lnTo>
                  <a:lnTo>
                    <a:pt x="24" y="7"/>
                  </a:lnTo>
                  <a:lnTo>
                    <a:pt x="27" y="10"/>
                  </a:lnTo>
                  <a:lnTo>
                    <a:pt x="27" y="10"/>
                  </a:lnTo>
                  <a:lnTo>
                    <a:pt x="28" y="11"/>
                  </a:lnTo>
                  <a:lnTo>
                    <a:pt x="29" y="13"/>
                  </a:lnTo>
                  <a:lnTo>
                    <a:pt x="34" y="16"/>
                  </a:lnTo>
                  <a:lnTo>
                    <a:pt x="34" y="16"/>
                  </a:lnTo>
                  <a:lnTo>
                    <a:pt x="37" y="17"/>
                  </a:lnTo>
                  <a:lnTo>
                    <a:pt x="37" y="20"/>
                  </a:lnTo>
                  <a:lnTo>
                    <a:pt x="37" y="24"/>
                  </a:lnTo>
                  <a:lnTo>
                    <a:pt x="37" y="24"/>
                  </a:lnTo>
                  <a:lnTo>
                    <a:pt x="37" y="29"/>
                  </a:lnTo>
                  <a:lnTo>
                    <a:pt x="38" y="30"/>
                  </a:lnTo>
                  <a:lnTo>
                    <a:pt x="41" y="30"/>
                  </a:lnTo>
                  <a:lnTo>
                    <a:pt x="41" y="30"/>
                  </a:lnTo>
                  <a:lnTo>
                    <a:pt x="44" y="30"/>
                  </a:lnTo>
                  <a:lnTo>
                    <a:pt x="47" y="30"/>
                  </a:lnTo>
                  <a:lnTo>
                    <a:pt x="53" y="34"/>
                  </a:lnTo>
                  <a:lnTo>
                    <a:pt x="53" y="34"/>
                  </a:lnTo>
                  <a:lnTo>
                    <a:pt x="57" y="39"/>
                  </a:lnTo>
                  <a:lnTo>
                    <a:pt x="57" y="40"/>
                  </a:lnTo>
                  <a:lnTo>
                    <a:pt x="55" y="43"/>
                  </a:lnTo>
                  <a:lnTo>
                    <a:pt x="55" y="43"/>
                  </a:lnTo>
                  <a:lnTo>
                    <a:pt x="50" y="46"/>
                  </a:lnTo>
                  <a:lnTo>
                    <a:pt x="48" y="47"/>
                  </a:lnTo>
                  <a:lnTo>
                    <a:pt x="48" y="50"/>
                  </a:lnTo>
                  <a:lnTo>
                    <a:pt x="48" y="50"/>
                  </a:lnTo>
                  <a:lnTo>
                    <a:pt x="53" y="58"/>
                  </a:lnTo>
                  <a:lnTo>
                    <a:pt x="55" y="62"/>
                  </a:lnTo>
                  <a:lnTo>
                    <a:pt x="55" y="65"/>
                  </a:lnTo>
                  <a:lnTo>
                    <a:pt x="55" y="65"/>
                  </a:lnTo>
                  <a:lnTo>
                    <a:pt x="55" y="69"/>
                  </a:lnTo>
                  <a:lnTo>
                    <a:pt x="55" y="72"/>
                  </a:lnTo>
                  <a:lnTo>
                    <a:pt x="54" y="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4" name="Freeform 63"/>
            <p:cNvSpPr>
              <a:spLocks/>
            </p:cNvSpPr>
            <p:nvPr/>
          </p:nvSpPr>
          <p:spPr bwMode="auto">
            <a:xfrm>
              <a:off x="1690688" y="1629204"/>
              <a:ext cx="22225" cy="12700"/>
            </a:xfrm>
            <a:custGeom>
              <a:avLst/>
              <a:gdLst>
                <a:gd name="T0" fmla="*/ 14 w 14"/>
                <a:gd name="T1" fmla="*/ 1 h 8"/>
                <a:gd name="T2" fmla="*/ 14 w 14"/>
                <a:gd name="T3" fmla="*/ 1 h 8"/>
                <a:gd name="T4" fmla="*/ 10 w 14"/>
                <a:gd name="T5" fmla="*/ 0 h 8"/>
                <a:gd name="T6" fmla="*/ 5 w 14"/>
                <a:gd name="T7" fmla="*/ 0 h 8"/>
                <a:gd name="T8" fmla="*/ 5 w 14"/>
                <a:gd name="T9" fmla="*/ 0 h 8"/>
                <a:gd name="T10" fmla="*/ 1 w 14"/>
                <a:gd name="T11" fmla="*/ 4 h 8"/>
                <a:gd name="T12" fmla="*/ 0 w 14"/>
                <a:gd name="T13" fmla="*/ 7 h 8"/>
                <a:gd name="T14" fmla="*/ 0 w 14"/>
                <a:gd name="T15" fmla="*/ 7 h 8"/>
                <a:gd name="T16" fmla="*/ 1 w 14"/>
                <a:gd name="T17" fmla="*/ 8 h 8"/>
                <a:gd name="T18" fmla="*/ 1 w 14"/>
                <a:gd name="T19" fmla="*/ 8 h 8"/>
                <a:gd name="T20" fmla="*/ 4 w 14"/>
                <a:gd name="T21" fmla="*/ 7 h 8"/>
                <a:gd name="T22" fmla="*/ 10 w 14"/>
                <a:gd name="T23" fmla="*/ 5 h 8"/>
                <a:gd name="T24" fmla="*/ 14 w 14"/>
                <a:gd name="T25" fmla="*/ 2 h 8"/>
                <a:gd name="T26" fmla="*/ 14 w 14"/>
                <a:gd name="T27" fmla="*/ 2 h 8"/>
                <a:gd name="T28" fmla="*/ 14 w 14"/>
                <a:gd name="T2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8">
                  <a:moveTo>
                    <a:pt x="14" y="1"/>
                  </a:moveTo>
                  <a:lnTo>
                    <a:pt x="14" y="1"/>
                  </a:lnTo>
                  <a:lnTo>
                    <a:pt x="10" y="0"/>
                  </a:lnTo>
                  <a:lnTo>
                    <a:pt x="5" y="0"/>
                  </a:lnTo>
                  <a:lnTo>
                    <a:pt x="5" y="0"/>
                  </a:lnTo>
                  <a:lnTo>
                    <a:pt x="1" y="4"/>
                  </a:lnTo>
                  <a:lnTo>
                    <a:pt x="0" y="7"/>
                  </a:lnTo>
                  <a:lnTo>
                    <a:pt x="0" y="7"/>
                  </a:lnTo>
                  <a:lnTo>
                    <a:pt x="1" y="8"/>
                  </a:lnTo>
                  <a:lnTo>
                    <a:pt x="1" y="8"/>
                  </a:lnTo>
                  <a:lnTo>
                    <a:pt x="4" y="7"/>
                  </a:lnTo>
                  <a:lnTo>
                    <a:pt x="10" y="5"/>
                  </a:lnTo>
                  <a:lnTo>
                    <a:pt x="14" y="2"/>
                  </a:lnTo>
                  <a:lnTo>
                    <a:pt x="14" y="2"/>
                  </a:lnTo>
                  <a:lnTo>
                    <a:pt x="14" y="1"/>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5" name="Freeform 64"/>
            <p:cNvSpPr>
              <a:spLocks/>
            </p:cNvSpPr>
            <p:nvPr/>
          </p:nvSpPr>
          <p:spPr bwMode="auto">
            <a:xfrm>
              <a:off x="1690688" y="1629204"/>
              <a:ext cx="22225" cy="12700"/>
            </a:xfrm>
            <a:custGeom>
              <a:avLst/>
              <a:gdLst>
                <a:gd name="T0" fmla="*/ 14 w 14"/>
                <a:gd name="T1" fmla="*/ 1 h 8"/>
                <a:gd name="T2" fmla="*/ 14 w 14"/>
                <a:gd name="T3" fmla="*/ 1 h 8"/>
                <a:gd name="T4" fmla="*/ 10 w 14"/>
                <a:gd name="T5" fmla="*/ 0 h 8"/>
                <a:gd name="T6" fmla="*/ 5 w 14"/>
                <a:gd name="T7" fmla="*/ 0 h 8"/>
                <a:gd name="T8" fmla="*/ 5 w 14"/>
                <a:gd name="T9" fmla="*/ 0 h 8"/>
                <a:gd name="T10" fmla="*/ 1 w 14"/>
                <a:gd name="T11" fmla="*/ 4 h 8"/>
                <a:gd name="T12" fmla="*/ 0 w 14"/>
                <a:gd name="T13" fmla="*/ 7 h 8"/>
                <a:gd name="T14" fmla="*/ 0 w 14"/>
                <a:gd name="T15" fmla="*/ 7 h 8"/>
                <a:gd name="T16" fmla="*/ 1 w 14"/>
                <a:gd name="T17" fmla="*/ 8 h 8"/>
                <a:gd name="T18" fmla="*/ 1 w 14"/>
                <a:gd name="T19" fmla="*/ 8 h 8"/>
                <a:gd name="T20" fmla="*/ 4 w 14"/>
                <a:gd name="T21" fmla="*/ 7 h 8"/>
                <a:gd name="T22" fmla="*/ 10 w 14"/>
                <a:gd name="T23" fmla="*/ 5 h 8"/>
                <a:gd name="T24" fmla="*/ 14 w 14"/>
                <a:gd name="T25" fmla="*/ 2 h 8"/>
                <a:gd name="T26" fmla="*/ 14 w 14"/>
                <a:gd name="T27" fmla="*/ 2 h 8"/>
                <a:gd name="T28" fmla="*/ 14 w 14"/>
                <a:gd name="T2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8">
                  <a:moveTo>
                    <a:pt x="14" y="1"/>
                  </a:moveTo>
                  <a:lnTo>
                    <a:pt x="14" y="1"/>
                  </a:lnTo>
                  <a:lnTo>
                    <a:pt x="10" y="0"/>
                  </a:lnTo>
                  <a:lnTo>
                    <a:pt x="5" y="0"/>
                  </a:lnTo>
                  <a:lnTo>
                    <a:pt x="5" y="0"/>
                  </a:lnTo>
                  <a:lnTo>
                    <a:pt x="1" y="4"/>
                  </a:lnTo>
                  <a:lnTo>
                    <a:pt x="0" y="7"/>
                  </a:lnTo>
                  <a:lnTo>
                    <a:pt x="0" y="7"/>
                  </a:lnTo>
                  <a:lnTo>
                    <a:pt x="1" y="8"/>
                  </a:lnTo>
                  <a:lnTo>
                    <a:pt x="1" y="8"/>
                  </a:lnTo>
                  <a:lnTo>
                    <a:pt x="4" y="7"/>
                  </a:lnTo>
                  <a:lnTo>
                    <a:pt x="10" y="5"/>
                  </a:lnTo>
                  <a:lnTo>
                    <a:pt x="14" y="2"/>
                  </a:lnTo>
                  <a:lnTo>
                    <a:pt x="14" y="2"/>
                  </a:lnTo>
                  <a:lnTo>
                    <a:pt x="14"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6" name="Freeform 65"/>
            <p:cNvSpPr>
              <a:spLocks/>
            </p:cNvSpPr>
            <p:nvPr/>
          </p:nvSpPr>
          <p:spPr bwMode="auto">
            <a:xfrm>
              <a:off x="2005013" y="1232329"/>
              <a:ext cx="455613" cy="469900"/>
            </a:xfrm>
            <a:custGeom>
              <a:avLst/>
              <a:gdLst>
                <a:gd name="T0" fmla="*/ 284 w 287"/>
                <a:gd name="T1" fmla="*/ 18 h 296"/>
                <a:gd name="T2" fmla="*/ 248 w 287"/>
                <a:gd name="T3" fmla="*/ 21 h 296"/>
                <a:gd name="T4" fmla="*/ 239 w 287"/>
                <a:gd name="T5" fmla="*/ 25 h 296"/>
                <a:gd name="T6" fmla="*/ 236 w 287"/>
                <a:gd name="T7" fmla="*/ 47 h 296"/>
                <a:gd name="T8" fmla="*/ 211 w 287"/>
                <a:gd name="T9" fmla="*/ 47 h 296"/>
                <a:gd name="T10" fmla="*/ 210 w 287"/>
                <a:gd name="T11" fmla="*/ 53 h 296"/>
                <a:gd name="T12" fmla="*/ 191 w 287"/>
                <a:gd name="T13" fmla="*/ 57 h 296"/>
                <a:gd name="T14" fmla="*/ 198 w 287"/>
                <a:gd name="T15" fmla="*/ 63 h 296"/>
                <a:gd name="T16" fmla="*/ 229 w 287"/>
                <a:gd name="T17" fmla="*/ 71 h 296"/>
                <a:gd name="T18" fmla="*/ 214 w 287"/>
                <a:gd name="T19" fmla="*/ 76 h 296"/>
                <a:gd name="T20" fmla="*/ 200 w 287"/>
                <a:gd name="T21" fmla="*/ 80 h 296"/>
                <a:gd name="T22" fmla="*/ 181 w 287"/>
                <a:gd name="T23" fmla="*/ 92 h 296"/>
                <a:gd name="T24" fmla="*/ 209 w 287"/>
                <a:gd name="T25" fmla="*/ 93 h 296"/>
                <a:gd name="T26" fmla="*/ 229 w 287"/>
                <a:gd name="T27" fmla="*/ 111 h 296"/>
                <a:gd name="T28" fmla="*/ 203 w 287"/>
                <a:gd name="T29" fmla="*/ 122 h 296"/>
                <a:gd name="T30" fmla="*/ 217 w 287"/>
                <a:gd name="T31" fmla="*/ 145 h 296"/>
                <a:gd name="T32" fmla="*/ 213 w 287"/>
                <a:gd name="T33" fmla="*/ 157 h 296"/>
                <a:gd name="T34" fmla="*/ 201 w 287"/>
                <a:gd name="T35" fmla="*/ 173 h 296"/>
                <a:gd name="T36" fmla="*/ 178 w 287"/>
                <a:gd name="T37" fmla="*/ 189 h 296"/>
                <a:gd name="T38" fmla="*/ 175 w 287"/>
                <a:gd name="T39" fmla="*/ 215 h 296"/>
                <a:gd name="T40" fmla="*/ 122 w 287"/>
                <a:gd name="T41" fmla="*/ 205 h 296"/>
                <a:gd name="T42" fmla="*/ 119 w 287"/>
                <a:gd name="T43" fmla="*/ 222 h 296"/>
                <a:gd name="T44" fmla="*/ 140 w 287"/>
                <a:gd name="T45" fmla="*/ 222 h 296"/>
                <a:gd name="T46" fmla="*/ 159 w 287"/>
                <a:gd name="T47" fmla="*/ 229 h 296"/>
                <a:gd name="T48" fmla="*/ 172 w 287"/>
                <a:gd name="T49" fmla="*/ 241 h 296"/>
                <a:gd name="T50" fmla="*/ 180 w 287"/>
                <a:gd name="T51" fmla="*/ 260 h 296"/>
                <a:gd name="T52" fmla="*/ 142 w 287"/>
                <a:gd name="T53" fmla="*/ 293 h 296"/>
                <a:gd name="T54" fmla="*/ 119 w 287"/>
                <a:gd name="T55" fmla="*/ 271 h 296"/>
                <a:gd name="T56" fmla="*/ 114 w 287"/>
                <a:gd name="T57" fmla="*/ 277 h 296"/>
                <a:gd name="T58" fmla="*/ 98 w 287"/>
                <a:gd name="T59" fmla="*/ 264 h 296"/>
                <a:gd name="T60" fmla="*/ 81 w 287"/>
                <a:gd name="T61" fmla="*/ 261 h 296"/>
                <a:gd name="T62" fmla="*/ 68 w 287"/>
                <a:gd name="T63" fmla="*/ 268 h 296"/>
                <a:gd name="T64" fmla="*/ 64 w 287"/>
                <a:gd name="T65" fmla="*/ 289 h 296"/>
                <a:gd name="T66" fmla="*/ 49 w 287"/>
                <a:gd name="T67" fmla="*/ 261 h 296"/>
                <a:gd name="T68" fmla="*/ 36 w 287"/>
                <a:gd name="T69" fmla="*/ 258 h 296"/>
                <a:gd name="T70" fmla="*/ 20 w 287"/>
                <a:gd name="T71" fmla="*/ 261 h 296"/>
                <a:gd name="T72" fmla="*/ 10 w 287"/>
                <a:gd name="T73" fmla="*/ 276 h 296"/>
                <a:gd name="T74" fmla="*/ 1 w 287"/>
                <a:gd name="T75" fmla="*/ 258 h 296"/>
                <a:gd name="T76" fmla="*/ 29 w 287"/>
                <a:gd name="T77" fmla="*/ 232 h 296"/>
                <a:gd name="T78" fmla="*/ 33 w 287"/>
                <a:gd name="T79" fmla="*/ 216 h 296"/>
                <a:gd name="T80" fmla="*/ 16 w 287"/>
                <a:gd name="T81" fmla="*/ 190 h 296"/>
                <a:gd name="T82" fmla="*/ 46 w 287"/>
                <a:gd name="T83" fmla="*/ 179 h 296"/>
                <a:gd name="T84" fmla="*/ 81 w 287"/>
                <a:gd name="T85" fmla="*/ 212 h 296"/>
                <a:gd name="T86" fmla="*/ 103 w 287"/>
                <a:gd name="T87" fmla="*/ 186 h 296"/>
                <a:gd name="T88" fmla="*/ 88 w 287"/>
                <a:gd name="T89" fmla="*/ 200 h 296"/>
                <a:gd name="T90" fmla="*/ 64 w 287"/>
                <a:gd name="T91" fmla="*/ 182 h 296"/>
                <a:gd name="T92" fmla="*/ 71 w 287"/>
                <a:gd name="T93" fmla="*/ 157 h 296"/>
                <a:gd name="T94" fmla="*/ 72 w 287"/>
                <a:gd name="T95" fmla="*/ 145 h 296"/>
                <a:gd name="T96" fmla="*/ 51 w 287"/>
                <a:gd name="T97" fmla="*/ 161 h 296"/>
                <a:gd name="T98" fmla="*/ 45 w 287"/>
                <a:gd name="T99" fmla="*/ 154 h 296"/>
                <a:gd name="T100" fmla="*/ 33 w 287"/>
                <a:gd name="T101" fmla="*/ 148 h 296"/>
                <a:gd name="T102" fmla="*/ 38 w 287"/>
                <a:gd name="T103" fmla="*/ 115 h 296"/>
                <a:gd name="T104" fmla="*/ 67 w 287"/>
                <a:gd name="T105" fmla="*/ 95 h 296"/>
                <a:gd name="T106" fmla="*/ 110 w 287"/>
                <a:gd name="T107" fmla="*/ 122 h 296"/>
                <a:gd name="T108" fmla="*/ 98 w 287"/>
                <a:gd name="T109" fmla="*/ 102 h 296"/>
                <a:gd name="T110" fmla="*/ 113 w 287"/>
                <a:gd name="T111" fmla="*/ 95 h 296"/>
                <a:gd name="T112" fmla="*/ 72 w 287"/>
                <a:gd name="T113" fmla="*/ 80 h 296"/>
                <a:gd name="T114" fmla="*/ 88 w 287"/>
                <a:gd name="T115" fmla="*/ 77 h 296"/>
                <a:gd name="T116" fmla="*/ 69 w 287"/>
                <a:gd name="T117" fmla="*/ 4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7" h="296">
                  <a:moveTo>
                    <a:pt x="45" y="0"/>
                  </a:moveTo>
                  <a:lnTo>
                    <a:pt x="287" y="0"/>
                  </a:lnTo>
                  <a:lnTo>
                    <a:pt x="287" y="0"/>
                  </a:lnTo>
                  <a:lnTo>
                    <a:pt x="279" y="8"/>
                  </a:lnTo>
                  <a:lnTo>
                    <a:pt x="277" y="12"/>
                  </a:lnTo>
                  <a:lnTo>
                    <a:pt x="275" y="13"/>
                  </a:lnTo>
                  <a:lnTo>
                    <a:pt x="277" y="13"/>
                  </a:lnTo>
                  <a:lnTo>
                    <a:pt x="277" y="13"/>
                  </a:lnTo>
                  <a:lnTo>
                    <a:pt x="281" y="15"/>
                  </a:lnTo>
                  <a:lnTo>
                    <a:pt x="282" y="16"/>
                  </a:lnTo>
                  <a:lnTo>
                    <a:pt x="284" y="18"/>
                  </a:lnTo>
                  <a:lnTo>
                    <a:pt x="284" y="18"/>
                  </a:lnTo>
                  <a:lnTo>
                    <a:pt x="282" y="21"/>
                  </a:lnTo>
                  <a:lnTo>
                    <a:pt x="281" y="25"/>
                  </a:lnTo>
                  <a:lnTo>
                    <a:pt x="278" y="28"/>
                  </a:lnTo>
                  <a:lnTo>
                    <a:pt x="274" y="29"/>
                  </a:lnTo>
                  <a:lnTo>
                    <a:pt x="274" y="29"/>
                  </a:lnTo>
                  <a:lnTo>
                    <a:pt x="265" y="29"/>
                  </a:lnTo>
                  <a:lnTo>
                    <a:pt x="261" y="29"/>
                  </a:lnTo>
                  <a:lnTo>
                    <a:pt x="256" y="29"/>
                  </a:lnTo>
                  <a:lnTo>
                    <a:pt x="256" y="29"/>
                  </a:lnTo>
                  <a:lnTo>
                    <a:pt x="252" y="25"/>
                  </a:lnTo>
                  <a:lnTo>
                    <a:pt x="248" y="21"/>
                  </a:lnTo>
                  <a:lnTo>
                    <a:pt x="248" y="21"/>
                  </a:lnTo>
                  <a:lnTo>
                    <a:pt x="242" y="16"/>
                  </a:lnTo>
                  <a:lnTo>
                    <a:pt x="237" y="13"/>
                  </a:lnTo>
                  <a:lnTo>
                    <a:pt x="237" y="13"/>
                  </a:lnTo>
                  <a:lnTo>
                    <a:pt x="230" y="16"/>
                  </a:lnTo>
                  <a:lnTo>
                    <a:pt x="230" y="16"/>
                  </a:lnTo>
                  <a:lnTo>
                    <a:pt x="229" y="18"/>
                  </a:lnTo>
                  <a:lnTo>
                    <a:pt x="229" y="19"/>
                  </a:lnTo>
                  <a:lnTo>
                    <a:pt x="232" y="21"/>
                  </a:lnTo>
                  <a:lnTo>
                    <a:pt x="232" y="21"/>
                  </a:lnTo>
                  <a:lnTo>
                    <a:pt x="236" y="21"/>
                  </a:lnTo>
                  <a:lnTo>
                    <a:pt x="239" y="25"/>
                  </a:lnTo>
                  <a:lnTo>
                    <a:pt x="239" y="25"/>
                  </a:lnTo>
                  <a:lnTo>
                    <a:pt x="246" y="35"/>
                  </a:lnTo>
                  <a:lnTo>
                    <a:pt x="249" y="40"/>
                  </a:lnTo>
                  <a:lnTo>
                    <a:pt x="251" y="41"/>
                  </a:lnTo>
                  <a:lnTo>
                    <a:pt x="249" y="42"/>
                  </a:lnTo>
                  <a:lnTo>
                    <a:pt x="249" y="42"/>
                  </a:lnTo>
                  <a:lnTo>
                    <a:pt x="248" y="41"/>
                  </a:lnTo>
                  <a:lnTo>
                    <a:pt x="245" y="40"/>
                  </a:lnTo>
                  <a:lnTo>
                    <a:pt x="242" y="40"/>
                  </a:lnTo>
                  <a:lnTo>
                    <a:pt x="239" y="40"/>
                  </a:lnTo>
                  <a:lnTo>
                    <a:pt x="239" y="40"/>
                  </a:lnTo>
                  <a:lnTo>
                    <a:pt x="237" y="44"/>
                  </a:lnTo>
                  <a:lnTo>
                    <a:pt x="236" y="47"/>
                  </a:lnTo>
                  <a:lnTo>
                    <a:pt x="235" y="48"/>
                  </a:lnTo>
                  <a:lnTo>
                    <a:pt x="235" y="48"/>
                  </a:lnTo>
                  <a:lnTo>
                    <a:pt x="230" y="47"/>
                  </a:lnTo>
                  <a:lnTo>
                    <a:pt x="227" y="47"/>
                  </a:lnTo>
                  <a:lnTo>
                    <a:pt x="226" y="47"/>
                  </a:lnTo>
                  <a:lnTo>
                    <a:pt x="226" y="47"/>
                  </a:lnTo>
                  <a:lnTo>
                    <a:pt x="223" y="51"/>
                  </a:lnTo>
                  <a:lnTo>
                    <a:pt x="219" y="54"/>
                  </a:lnTo>
                  <a:lnTo>
                    <a:pt x="219" y="54"/>
                  </a:lnTo>
                  <a:lnTo>
                    <a:pt x="217" y="53"/>
                  </a:lnTo>
                  <a:lnTo>
                    <a:pt x="214" y="50"/>
                  </a:lnTo>
                  <a:lnTo>
                    <a:pt x="211" y="47"/>
                  </a:lnTo>
                  <a:lnTo>
                    <a:pt x="209" y="44"/>
                  </a:lnTo>
                  <a:lnTo>
                    <a:pt x="209" y="44"/>
                  </a:lnTo>
                  <a:lnTo>
                    <a:pt x="198" y="42"/>
                  </a:lnTo>
                  <a:lnTo>
                    <a:pt x="194" y="42"/>
                  </a:lnTo>
                  <a:lnTo>
                    <a:pt x="194" y="44"/>
                  </a:lnTo>
                  <a:lnTo>
                    <a:pt x="194" y="44"/>
                  </a:lnTo>
                  <a:lnTo>
                    <a:pt x="194" y="44"/>
                  </a:lnTo>
                  <a:lnTo>
                    <a:pt x="197" y="47"/>
                  </a:lnTo>
                  <a:lnTo>
                    <a:pt x="203" y="50"/>
                  </a:lnTo>
                  <a:lnTo>
                    <a:pt x="207" y="51"/>
                  </a:lnTo>
                  <a:lnTo>
                    <a:pt x="210" y="53"/>
                  </a:lnTo>
                  <a:lnTo>
                    <a:pt x="210" y="53"/>
                  </a:lnTo>
                  <a:lnTo>
                    <a:pt x="207" y="55"/>
                  </a:lnTo>
                  <a:lnTo>
                    <a:pt x="201" y="57"/>
                  </a:lnTo>
                  <a:lnTo>
                    <a:pt x="201" y="57"/>
                  </a:lnTo>
                  <a:lnTo>
                    <a:pt x="198" y="55"/>
                  </a:lnTo>
                  <a:lnTo>
                    <a:pt x="195" y="53"/>
                  </a:lnTo>
                  <a:lnTo>
                    <a:pt x="194" y="50"/>
                  </a:lnTo>
                  <a:lnTo>
                    <a:pt x="191" y="50"/>
                  </a:lnTo>
                  <a:lnTo>
                    <a:pt x="191" y="50"/>
                  </a:lnTo>
                  <a:lnTo>
                    <a:pt x="191" y="51"/>
                  </a:lnTo>
                  <a:lnTo>
                    <a:pt x="191" y="53"/>
                  </a:lnTo>
                  <a:lnTo>
                    <a:pt x="191" y="55"/>
                  </a:lnTo>
                  <a:lnTo>
                    <a:pt x="191" y="57"/>
                  </a:lnTo>
                  <a:lnTo>
                    <a:pt x="191" y="57"/>
                  </a:lnTo>
                  <a:lnTo>
                    <a:pt x="190" y="57"/>
                  </a:lnTo>
                  <a:lnTo>
                    <a:pt x="188" y="57"/>
                  </a:lnTo>
                  <a:lnTo>
                    <a:pt x="185" y="55"/>
                  </a:lnTo>
                  <a:lnTo>
                    <a:pt x="184" y="57"/>
                  </a:lnTo>
                  <a:lnTo>
                    <a:pt x="184" y="57"/>
                  </a:lnTo>
                  <a:lnTo>
                    <a:pt x="182" y="58"/>
                  </a:lnTo>
                  <a:lnTo>
                    <a:pt x="184" y="60"/>
                  </a:lnTo>
                  <a:lnTo>
                    <a:pt x="185" y="63"/>
                  </a:lnTo>
                  <a:lnTo>
                    <a:pt x="188" y="63"/>
                  </a:lnTo>
                  <a:lnTo>
                    <a:pt x="188" y="63"/>
                  </a:lnTo>
                  <a:lnTo>
                    <a:pt x="198" y="63"/>
                  </a:lnTo>
                  <a:lnTo>
                    <a:pt x="210" y="63"/>
                  </a:lnTo>
                  <a:lnTo>
                    <a:pt x="210" y="63"/>
                  </a:lnTo>
                  <a:lnTo>
                    <a:pt x="214" y="66"/>
                  </a:lnTo>
                  <a:lnTo>
                    <a:pt x="220" y="67"/>
                  </a:lnTo>
                  <a:lnTo>
                    <a:pt x="220" y="67"/>
                  </a:lnTo>
                  <a:lnTo>
                    <a:pt x="230" y="66"/>
                  </a:lnTo>
                  <a:lnTo>
                    <a:pt x="233" y="66"/>
                  </a:lnTo>
                  <a:lnTo>
                    <a:pt x="233" y="66"/>
                  </a:lnTo>
                  <a:lnTo>
                    <a:pt x="233" y="67"/>
                  </a:lnTo>
                  <a:lnTo>
                    <a:pt x="233" y="67"/>
                  </a:lnTo>
                  <a:lnTo>
                    <a:pt x="229" y="70"/>
                  </a:lnTo>
                  <a:lnTo>
                    <a:pt x="229" y="71"/>
                  </a:lnTo>
                  <a:lnTo>
                    <a:pt x="230" y="74"/>
                  </a:lnTo>
                  <a:lnTo>
                    <a:pt x="230" y="74"/>
                  </a:lnTo>
                  <a:lnTo>
                    <a:pt x="235" y="79"/>
                  </a:lnTo>
                  <a:lnTo>
                    <a:pt x="235" y="80"/>
                  </a:lnTo>
                  <a:lnTo>
                    <a:pt x="233" y="82"/>
                  </a:lnTo>
                  <a:lnTo>
                    <a:pt x="233" y="82"/>
                  </a:lnTo>
                  <a:lnTo>
                    <a:pt x="223" y="82"/>
                  </a:lnTo>
                  <a:lnTo>
                    <a:pt x="220" y="82"/>
                  </a:lnTo>
                  <a:lnTo>
                    <a:pt x="217" y="80"/>
                  </a:lnTo>
                  <a:lnTo>
                    <a:pt x="217" y="80"/>
                  </a:lnTo>
                  <a:lnTo>
                    <a:pt x="216" y="79"/>
                  </a:lnTo>
                  <a:lnTo>
                    <a:pt x="214" y="76"/>
                  </a:lnTo>
                  <a:lnTo>
                    <a:pt x="213" y="73"/>
                  </a:lnTo>
                  <a:lnTo>
                    <a:pt x="211" y="70"/>
                  </a:lnTo>
                  <a:lnTo>
                    <a:pt x="211" y="70"/>
                  </a:lnTo>
                  <a:lnTo>
                    <a:pt x="203" y="70"/>
                  </a:lnTo>
                  <a:lnTo>
                    <a:pt x="197" y="70"/>
                  </a:lnTo>
                  <a:lnTo>
                    <a:pt x="197" y="70"/>
                  </a:lnTo>
                  <a:lnTo>
                    <a:pt x="203" y="73"/>
                  </a:lnTo>
                  <a:lnTo>
                    <a:pt x="206" y="76"/>
                  </a:lnTo>
                  <a:lnTo>
                    <a:pt x="207" y="77"/>
                  </a:lnTo>
                  <a:lnTo>
                    <a:pt x="207" y="77"/>
                  </a:lnTo>
                  <a:lnTo>
                    <a:pt x="204" y="79"/>
                  </a:lnTo>
                  <a:lnTo>
                    <a:pt x="200" y="80"/>
                  </a:lnTo>
                  <a:lnTo>
                    <a:pt x="191" y="82"/>
                  </a:lnTo>
                  <a:lnTo>
                    <a:pt x="191" y="82"/>
                  </a:lnTo>
                  <a:lnTo>
                    <a:pt x="184" y="82"/>
                  </a:lnTo>
                  <a:lnTo>
                    <a:pt x="181" y="82"/>
                  </a:lnTo>
                  <a:lnTo>
                    <a:pt x="181" y="82"/>
                  </a:lnTo>
                  <a:lnTo>
                    <a:pt x="181" y="83"/>
                  </a:lnTo>
                  <a:lnTo>
                    <a:pt x="181" y="83"/>
                  </a:lnTo>
                  <a:lnTo>
                    <a:pt x="182" y="84"/>
                  </a:lnTo>
                  <a:lnTo>
                    <a:pt x="182" y="87"/>
                  </a:lnTo>
                  <a:lnTo>
                    <a:pt x="182" y="87"/>
                  </a:lnTo>
                  <a:lnTo>
                    <a:pt x="181" y="90"/>
                  </a:lnTo>
                  <a:lnTo>
                    <a:pt x="181" y="92"/>
                  </a:lnTo>
                  <a:lnTo>
                    <a:pt x="182" y="92"/>
                  </a:lnTo>
                  <a:lnTo>
                    <a:pt x="182" y="92"/>
                  </a:lnTo>
                  <a:lnTo>
                    <a:pt x="188" y="89"/>
                  </a:lnTo>
                  <a:lnTo>
                    <a:pt x="191" y="87"/>
                  </a:lnTo>
                  <a:lnTo>
                    <a:pt x="195" y="87"/>
                  </a:lnTo>
                  <a:lnTo>
                    <a:pt x="195" y="87"/>
                  </a:lnTo>
                  <a:lnTo>
                    <a:pt x="207" y="86"/>
                  </a:lnTo>
                  <a:lnTo>
                    <a:pt x="211" y="86"/>
                  </a:lnTo>
                  <a:lnTo>
                    <a:pt x="213" y="87"/>
                  </a:lnTo>
                  <a:lnTo>
                    <a:pt x="213" y="87"/>
                  </a:lnTo>
                  <a:lnTo>
                    <a:pt x="213" y="87"/>
                  </a:lnTo>
                  <a:lnTo>
                    <a:pt x="209" y="93"/>
                  </a:lnTo>
                  <a:lnTo>
                    <a:pt x="207" y="95"/>
                  </a:lnTo>
                  <a:lnTo>
                    <a:pt x="207" y="96"/>
                  </a:lnTo>
                  <a:lnTo>
                    <a:pt x="207" y="96"/>
                  </a:lnTo>
                  <a:lnTo>
                    <a:pt x="217" y="96"/>
                  </a:lnTo>
                  <a:lnTo>
                    <a:pt x="223" y="96"/>
                  </a:lnTo>
                  <a:lnTo>
                    <a:pt x="226" y="97"/>
                  </a:lnTo>
                  <a:lnTo>
                    <a:pt x="226" y="97"/>
                  </a:lnTo>
                  <a:lnTo>
                    <a:pt x="230" y="103"/>
                  </a:lnTo>
                  <a:lnTo>
                    <a:pt x="232" y="106"/>
                  </a:lnTo>
                  <a:lnTo>
                    <a:pt x="232" y="108"/>
                  </a:lnTo>
                  <a:lnTo>
                    <a:pt x="232" y="108"/>
                  </a:lnTo>
                  <a:lnTo>
                    <a:pt x="229" y="111"/>
                  </a:lnTo>
                  <a:lnTo>
                    <a:pt x="227" y="113"/>
                  </a:lnTo>
                  <a:lnTo>
                    <a:pt x="227" y="115"/>
                  </a:lnTo>
                  <a:lnTo>
                    <a:pt x="227" y="115"/>
                  </a:lnTo>
                  <a:lnTo>
                    <a:pt x="230" y="119"/>
                  </a:lnTo>
                  <a:lnTo>
                    <a:pt x="230" y="121"/>
                  </a:lnTo>
                  <a:lnTo>
                    <a:pt x="229" y="122"/>
                  </a:lnTo>
                  <a:lnTo>
                    <a:pt x="229" y="122"/>
                  </a:lnTo>
                  <a:lnTo>
                    <a:pt x="223" y="124"/>
                  </a:lnTo>
                  <a:lnTo>
                    <a:pt x="217" y="124"/>
                  </a:lnTo>
                  <a:lnTo>
                    <a:pt x="217" y="124"/>
                  </a:lnTo>
                  <a:lnTo>
                    <a:pt x="207" y="122"/>
                  </a:lnTo>
                  <a:lnTo>
                    <a:pt x="203" y="122"/>
                  </a:lnTo>
                  <a:lnTo>
                    <a:pt x="203" y="124"/>
                  </a:lnTo>
                  <a:lnTo>
                    <a:pt x="203" y="125"/>
                  </a:lnTo>
                  <a:lnTo>
                    <a:pt x="203" y="125"/>
                  </a:lnTo>
                  <a:lnTo>
                    <a:pt x="209" y="128"/>
                  </a:lnTo>
                  <a:lnTo>
                    <a:pt x="216" y="131"/>
                  </a:lnTo>
                  <a:lnTo>
                    <a:pt x="216" y="131"/>
                  </a:lnTo>
                  <a:lnTo>
                    <a:pt x="219" y="134"/>
                  </a:lnTo>
                  <a:lnTo>
                    <a:pt x="222" y="135"/>
                  </a:lnTo>
                  <a:lnTo>
                    <a:pt x="223" y="138"/>
                  </a:lnTo>
                  <a:lnTo>
                    <a:pt x="222" y="140"/>
                  </a:lnTo>
                  <a:lnTo>
                    <a:pt x="222" y="140"/>
                  </a:lnTo>
                  <a:lnTo>
                    <a:pt x="217" y="145"/>
                  </a:lnTo>
                  <a:lnTo>
                    <a:pt x="216" y="148"/>
                  </a:lnTo>
                  <a:lnTo>
                    <a:pt x="214" y="150"/>
                  </a:lnTo>
                  <a:lnTo>
                    <a:pt x="214" y="150"/>
                  </a:lnTo>
                  <a:lnTo>
                    <a:pt x="206" y="148"/>
                  </a:lnTo>
                  <a:lnTo>
                    <a:pt x="201" y="148"/>
                  </a:lnTo>
                  <a:lnTo>
                    <a:pt x="200" y="150"/>
                  </a:lnTo>
                  <a:lnTo>
                    <a:pt x="200" y="150"/>
                  </a:lnTo>
                  <a:lnTo>
                    <a:pt x="203" y="154"/>
                  </a:lnTo>
                  <a:lnTo>
                    <a:pt x="206" y="157"/>
                  </a:lnTo>
                  <a:lnTo>
                    <a:pt x="209" y="158"/>
                  </a:lnTo>
                  <a:lnTo>
                    <a:pt x="209" y="158"/>
                  </a:lnTo>
                  <a:lnTo>
                    <a:pt x="213" y="157"/>
                  </a:lnTo>
                  <a:lnTo>
                    <a:pt x="214" y="158"/>
                  </a:lnTo>
                  <a:lnTo>
                    <a:pt x="214" y="160"/>
                  </a:lnTo>
                  <a:lnTo>
                    <a:pt x="214" y="160"/>
                  </a:lnTo>
                  <a:lnTo>
                    <a:pt x="213" y="166"/>
                  </a:lnTo>
                  <a:lnTo>
                    <a:pt x="213" y="168"/>
                  </a:lnTo>
                  <a:lnTo>
                    <a:pt x="211" y="168"/>
                  </a:lnTo>
                  <a:lnTo>
                    <a:pt x="211" y="168"/>
                  </a:lnTo>
                  <a:lnTo>
                    <a:pt x="209" y="167"/>
                  </a:lnTo>
                  <a:lnTo>
                    <a:pt x="207" y="167"/>
                  </a:lnTo>
                  <a:lnTo>
                    <a:pt x="206" y="167"/>
                  </a:lnTo>
                  <a:lnTo>
                    <a:pt x="206" y="167"/>
                  </a:lnTo>
                  <a:lnTo>
                    <a:pt x="201" y="173"/>
                  </a:lnTo>
                  <a:lnTo>
                    <a:pt x="200" y="174"/>
                  </a:lnTo>
                  <a:lnTo>
                    <a:pt x="197" y="176"/>
                  </a:lnTo>
                  <a:lnTo>
                    <a:pt x="197" y="176"/>
                  </a:lnTo>
                  <a:lnTo>
                    <a:pt x="185" y="171"/>
                  </a:lnTo>
                  <a:lnTo>
                    <a:pt x="178" y="170"/>
                  </a:lnTo>
                  <a:lnTo>
                    <a:pt x="175" y="168"/>
                  </a:lnTo>
                  <a:lnTo>
                    <a:pt x="175" y="168"/>
                  </a:lnTo>
                  <a:lnTo>
                    <a:pt x="175" y="174"/>
                  </a:lnTo>
                  <a:lnTo>
                    <a:pt x="177" y="182"/>
                  </a:lnTo>
                  <a:lnTo>
                    <a:pt x="177" y="182"/>
                  </a:lnTo>
                  <a:lnTo>
                    <a:pt x="178" y="184"/>
                  </a:lnTo>
                  <a:lnTo>
                    <a:pt x="178" y="189"/>
                  </a:lnTo>
                  <a:lnTo>
                    <a:pt x="180" y="192"/>
                  </a:lnTo>
                  <a:lnTo>
                    <a:pt x="180" y="193"/>
                  </a:lnTo>
                  <a:lnTo>
                    <a:pt x="180" y="193"/>
                  </a:lnTo>
                  <a:lnTo>
                    <a:pt x="181" y="195"/>
                  </a:lnTo>
                  <a:lnTo>
                    <a:pt x="181" y="196"/>
                  </a:lnTo>
                  <a:lnTo>
                    <a:pt x="181" y="197"/>
                  </a:lnTo>
                  <a:lnTo>
                    <a:pt x="181" y="197"/>
                  </a:lnTo>
                  <a:lnTo>
                    <a:pt x="180" y="200"/>
                  </a:lnTo>
                  <a:lnTo>
                    <a:pt x="180" y="203"/>
                  </a:lnTo>
                  <a:lnTo>
                    <a:pt x="180" y="203"/>
                  </a:lnTo>
                  <a:lnTo>
                    <a:pt x="178" y="210"/>
                  </a:lnTo>
                  <a:lnTo>
                    <a:pt x="175" y="215"/>
                  </a:lnTo>
                  <a:lnTo>
                    <a:pt x="172" y="216"/>
                  </a:lnTo>
                  <a:lnTo>
                    <a:pt x="172" y="216"/>
                  </a:lnTo>
                  <a:lnTo>
                    <a:pt x="161" y="219"/>
                  </a:lnTo>
                  <a:lnTo>
                    <a:pt x="161" y="219"/>
                  </a:lnTo>
                  <a:lnTo>
                    <a:pt x="149" y="219"/>
                  </a:lnTo>
                  <a:lnTo>
                    <a:pt x="140" y="219"/>
                  </a:lnTo>
                  <a:lnTo>
                    <a:pt x="136" y="218"/>
                  </a:lnTo>
                  <a:lnTo>
                    <a:pt x="136" y="218"/>
                  </a:lnTo>
                  <a:lnTo>
                    <a:pt x="127" y="209"/>
                  </a:lnTo>
                  <a:lnTo>
                    <a:pt x="123" y="206"/>
                  </a:lnTo>
                  <a:lnTo>
                    <a:pt x="122" y="205"/>
                  </a:lnTo>
                  <a:lnTo>
                    <a:pt x="122" y="205"/>
                  </a:lnTo>
                  <a:lnTo>
                    <a:pt x="122" y="205"/>
                  </a:lnTo>
                  <a:lnTo>
                    <a:pt x="119" y="208"/>
                  </a:lnTo>
                  <a:lnTo>
                    <a:pt x="119" y="208"/>
                  </a:lnTo>
                  <a:lnTo>
                    <a:pt x="122" y="209"/>
                  </a:lnTo>
                  <a:lnTo>
                    <a:pt x="122" y="209"/>
                  </a:lnTo>
                  <a:lnTo>
                    <a:pt x="123" y="212"/>
                  </a:lnTo>
                  <a:lnTo>
                    <a:pt x="126" y="215"/>
                  </a:lnTo>
                  <a:lnTo>
                    <a:pt x="126" y="218"/>
                  </a:lnTo>
                  <a:lnTo>
                    <a:pt x="126" y="218"/>
                  </a:lnTo>
                  <a:lnTo>
                    <a:pt x="123" y="221"/>
                  </a:lnTo>
                  <a:lnTo>
                    <a:pt x="119" y="222"/>
                  </a:lnTo>
                  <a:lnTo>
                    <a:pt x="119" y="222"/>
                  </a:lnTo>
                  <a:lnTo>
                    <a:pt x="117" y="224"/>
                  </a:lnTo>
                  <a:lnTo>
                    <a:pt x="117" y="228"/>
                  </a:lnTo>
                  <a:lnTo>
                    <a:pt x="117" y="232"/>
                  </a:lnTo>
                  <a:lnTo>
                    <a:pt x="117" y="234"/>
                  </a:lnTo>
                  <a:lnTo>
                    <a:pt x="119" y="234"/>
                  </a:lnTo>
                  <a:lnTo>
                    <a:pt x="119" y="234"/>
                  </a:lnTo>
                  <a:lnTo>
                    <a:pt x="126" y="226"/>
                  </a:lnTo>
                  <a:lnTo>
                    <a:pt x="130" y="222"/>
                  </a:lnTo>
                  <a:lnTo>
                    <a:pt x="133" y="221"/>
                  </a:lnTo>
                  <a:lnTo>
                    <a:pt x="133" y="221"/>
                  </a:lnTo>
                  <a:lnTo>
                    <a:pt x="139" y="222"/>
                  </a:lnTo>
                  <a:lnTo>
                    <a:pt x="140" y="222"/>
                  </a:lnTo>
                  <a:lnTo>
                    <a:pt x="140" y="225"/>
                  </a:lnTo>
                  <a:lnTo>
                    <a:pt x="140" y="225"/>
                  </a:lnTo>
                  <a:lnTo>
                    <a:pt x="140" y="228"/>
                  </a:lnTo>
                  <a:lnTo>
                    <a:pt x="139" y="231"/>
                  </a:lnTo>
                  <a:lnTo>
                    <a:pt x="139" y="232"/>
                  </a:lnTo>
                  <a:lnTo>
                    <a:pt x="142" y="231"/>
                  </a:lnTo>
                  <a:lnTo>
                    <a:pt x="142" y="231"/>
                  </a:lnTo>
                  <a:lnTo>
                    <a:pt x="149" y="228"/>
                  </a:lnTo>
                  <a:lnTo>
                    <a:pt x="155" y="226"/>
                  </a:lnTo>
                  <a:lnTo>
                    <a:pt x="155" y="226"/>
                  </a:lnTo>
                  <a:lnTo>
                    <a:pt x="158" y="226"/>
                  </a:lnTo>
                  <a:lnTo>
                    <a:pt x="159" y="229"/>
                  </a:lnTo>
                  <a:lnTo>
                    <a:pt x="161" y="232"/>
                  </a:lnTo>
                  <a:lnTo>
                    <a:pt x="161" y="234"/>
                  </a:lnTo>
                  <a:lnTo>
                    <a:pt x="161" y="234"/>
                  </a:lnTo>
                  <a:lnTo>
                    <a:pt x="156" y="237"/>
                  </a:lnTo>
                  <a:lnTo>
                    <a:pt x="156" y="239"/>
                  </a:lnTo>
                  <a:lnTo>
                    <a:pt x="158" y="241"/>
                  </a:lnTo>
                  <a:lnTo>
                    <a:pt x="158" y="241"/>
                  </a:lnTo>
                  <a:lnTo>
                    <a:pt x="162" y="244"/>
                  </a:lnTo>
                  <a:lnTo>
                    <a:pt x="164" y="245"/>
                  </a:lnTo>
                  <a:lnTo>
                    <a:pt x="166" y="245"/>
                  </a:lnTo>
                  <a:lnTo>
                    <a:pt x="166" y="245"/>
                  </a:lnTo>
                  <a:lnTo>
                    <a:pt x="172" y="241"/>
                  </a:lnTo>
                  <a:lnTo>
                    <a:pt x="177" y="239"/>
                  </a:lnTo>
                  <a:lnTo>
                    <a:pt x="180" y="241"/>
                  </a:lnTo>
                  <a:lnTo>
                    <a:pt x="180" y="241"/>
                  </a:lnTo>
                  <a:lnTo>
                    <a:pt x="181" y="245"/>
                  </a:lnTo>
                  <a:lnTo>
                    <a:pt x="181" y="250"/>
                  </a:lnTo>
                  <a:lnTo>
                    <a:pt x="181" y="250"/>
                  </a:lnTo>
                  <a:lnTo>
                    <a:pt x="182" y="252"/>
                  </a:lnTo>
                  <a:lnTo>
                    <a:pt x="184" y="254"/>
                  </a:lnTo>
                  <a:lnTo>
                    <a:pt x="185" y="257"/>
                  </a:lnTo>
                  <a:lnTo>
                    <a:pt x="182" y="258"/>
                  </a:lnTo>
                  <a:lnTo>
                    <a:pt x="182" y="258"/>
                  </a:lnTo>
                  <a:lnTo>
                    <a:pt x="180" y="260"/>
                  </a:lnTo>
                  <a:lnTo>
                    <a:pt x="177" y="264"/>
                  </a:lnTo>
                  <a:lnTo>
                    <a:pt x="175" y="270"/>
                  </a:lnTo>
                  <a:lnTo>
                    <a:pt x="175" y="270"/>
                  </a:lnTo>
                  <a:lnTo>
                    <a:pt x="174" y="276"/>
                  </a:lnTo>
                  <a:lnTo>
                    <a:pt x="174" y="279"/>
                  </a:lnTo>
                  <a:lnTo>
                    <a:pt x="171" y="281"/>
                  </a:lnTo>
                  <a:lnTo>
                    <a:pt x="171" y="281"/>
                  </a:lnTo>
                  <a:lnTo>
                    <a:pt x="161" y="290"/>
                  </a:lnTo>
                  <a:lnTo>
                    <a:pt x="153" y="294"/>
                  </a:lnTo>
                  <a:lnTo>
                    <a:pt x="149" y="296"/>
                  </a:lnTo>
                  <a:lnTo>
                    <a:pt x="149" y="296"/>
                  </a:lnTo>
                  <a:lnTo>
                    <a:pt x="142" y="293"/>
                  </a:lnTo>
                  <a:lnTo>
                    <a:pt x="133" y="290"/>
                  </a:lnTo>
                  <a:lnTo>
                    <a:pt x="133" y="290"/>
                  </a:lnTo>
                  <a:lnTo>
                    <a:pt x="132" y="287"/>
                  </a:lnTo>
                  <a:lnTo>
                    <a:pt x="133" y="283"/>
                  </a:lnTo>
                  <a:lnTo>
                    <a:pt x="133" y="279"/>
                  </a:lnTo>
                  <a:lnTo>
                    <a:pt x="133" y="276"/>
                  </a:lnTo>
                  <a:lnTo>
                    <a:pt x="133" y="276"/>
                  </a:lnTo>
                  <a:lnTo>
                    <a:pt x="130" y="271"/>
                  </a:lnTo>
                  <a:lnTo>
                    <a:pt x="126" y="270"/>
                  </a:lnTo>
                  <a:lnTo>
                    <a:pt x="126" y="270"/>
                  </a:lnTo>
                  <a:lnTo>
                    <a:pt x="122" y="271"/>
                  </a:lnTo>
                  <a:lnTo>
                    <a:pt x="119" y="271"/>
                  </a:lnTo>
                  <a:lnTo>
                    <a:pt x="117" y="268"/>
                  </a:lnTo>
                  <a:lnTo>
                    <a:pt x="117" y="268"/>
                  </a:lnTo>
                  <a:lnTo>
                    <a:pt x="116" y="266"/>
                  </a:lnTo>
                  <a:lnTo>
                    <a:pt x="114" y="261"/>
                  </a:lnTo>
                  <a:lnTo>
                    <a:pt x="113" y="258"/>
                  </a:lnTo>
                  <a:lnTo>
                    <a:pt x="110" y="258"/>
                  </a:lnTo>
                  <a:lnTo>
                    <a:pt x="110" y="258"/>
                  </a:lnTo>
                  <a:lnTo>
                    <a:pt x="110" y="260"/>
                  </a:lnTo>
                  <a:lnTo>
                    <a:pt x="110" y="261"/>
                  </a:lnTo>
                  <a:lnTo>
                    <a:pt x="111" y="268"/>
                  </a:lnTo>
                  <a:lnTo>
                    <a:pt x="114" y="274"/>
                  </a:lnTo>
                  <a:lnTo>
                    <a:pt x="114" y="277"/>
                  </a:lnTo>
                  <a:lnTo>
                    <a:pt x="114" y="277"/>
                  </a:lnTo>
                  <a:lnTo>
                    <a:pt x="114" y="277"/>
                  </a:lnTo>
                  <a:lnTo>
                    <a:pt x="109" y="279"/>
                  </a:lnTo>
                  <a:lnTo>
                    <a:pt x="106" y="279"/>
                  </a:lnTo>
                  <a:lnTo>
                    <a:pt x="103" y="277"/>
                  </a:lnTo>
                  <a:lnTo>
                    <a:pt x="103" y="277"/>
                  </a:lnTo>
                  <a:lnTo>
                    <a:pt x="101" y="274"/>
                  </a:lnTo>
                  <a:lnTo>
                    <a:pt x="101" y="268"/>
                  </a:lnTo>
                  <a:lnTo>
                    <a:pt x="100" y="264"/>
                  </a:lnTo>
                  <a:lnTo>
                    <a:pt x="100" y="264"/>
                  </a:lnTo>
                  <a:lnTo>
                    <a:pt x="98" y="264"/>
                  </a:lnTo>
                  <a:lnTo>
                    <a:pt x="98" y="264"/>
                  </a:lnTo>
                  <a:lnTo>
                    <a:pt x="97" y="266"/>
                  </a:lnTo>
                  <a:lnTo>
                    <a:pt x="97" y="268"/>
                  </a:lnTo>
                  <a:lnTo>
                    <a:pt x="96" y="273"/>
                  </a:lnTo>
                  <a:lnTo>
                    <a:pt x="94" y="274"/>
                  </a:lnTo>
                  <a:lnTo>
                    <a:pt x="94" y="274"/>
                  </a:lnTo>
                  <a:lnTo>
                    <a:pt x="88" y="274"/>
                  </a:lnTo>
                  <a:lnTo>
                    <a:pt x="87" y="273"/>
                  </a:lnTo>
                  <a:lnTo>
                    <a:pt x="85" y="271"/>
                  </a:lnTo>
                  <a:lnTo>
                    <a:pt x="85" y="271"/>
                  </a:lnTo>
                  <a:lnTo>
                    <a:pt x="84" y="264"/>
                  </a:lnTo>
                  <a:lnTo>
                    <a:pt x="81" y="261"/>
                  </a:lnTo>
                  <a:lnTo>
                    <a:pt x="81" y="261"/>
                  </a:lnTo>
                  <a:lnTo>
                    <a:pt x="80" y="261"/>
                  </a:lnTo>
                  <a:lnTo>
                    <a:pt x="80" y="261"/>
                  </a:lnTo>
                  <a:lnTo>
                    <a:pt x="80" y="264"/>
                  </a:lnTo>
                  <a:lnTo>
                    <a:pt x="78" y="268"/>
                  </a:lnTo>
                  <a:lnTo>
                    <a:pt x="78" y="271"/>
                  </a:lnTo>
                  <a:lnTo>
                    <a:pt x="77" y="273"/>
                  </a:lnTo>
                  <a:lnTo>
                    <a:pt x="77" y="273"/>
                  </a:lnTo>
                  <a:lnTo>
                    <a:pt x="75" y="271"/>
                  </a:lnTo>
                  <a:lnTo>
                    <a:pt x="72" y="270"/>
                  </a:lnTo>
                  <a:lnTo>
                    <a:pt x="71" y="268"/>
                  </a:lnTo>
                  <a:lnTo>
                    <a:pt x="68" y="268"/>
                  </a:lnTo>
                  <a:lnTo>
                    <a:pt x="68" y="268"/>
                  </a:lnTo>
                  <a:lnTo>
                    <a:pt x="67" y="271"/>
                  </a:lnTo>
                  <a:lnTo>
                    <a:pt x="67" y="274"/>
                  </a:lnTo>
                  <a:lnTo>
                    <a:pt x="67" y="277"/>
                  </a:lnTo>
                  <a:lnTo>
                    <a:pt x="68" y="279"/>
                  </a:lnTo>
                  <a:lnTo>
                    <a:pt x="68" y="279"/>
                  </a:lnTo>
                  <a:lnTo>
                    <a:pt x="72" y="280"/>
                  </a:lnTo>
                  <a:lnTo>
                    <a:pt x="74" y="281"/>
                  </a:lnTo>
                  <a:lnTo>
                    <a:pt x="74" y="284"/>
                  </a:lnTo>
                  <a:lnTo>
                    <a:pt x="74" y="284"/>
                  </a:lnTo>
                  <a:lnTo>
                    <a:pt x="69" y="289"/>
                  </a:lnTo>
                  <a:lnTo>
                    <a:pt x="68" y="289"/>
                  </a:lnTo>
                  <a:lnTo>
                    <a:pt x="64" y="289"/>
                  </a:lnTo>
                  <a:lnTo>
                    <a:pt x="64" y="289"/>
                  </a:lnTo>
                  <a:lnTo>
                    <a:pt x="59" y="286"/>
                  </a:lnTo>
                  <a:lnTo>
                    <a:pt x="54" y="283"/>
                  </a:lnTo>
                  <a:lnTo>
                    <a:pt x="54" y="283"/>
                  </a:lnTo>
                  <a:lnTo>
                    <a:pt x="52" y="281"/>
                  </a:lnTo>
                  <a:lnTo>
                    <a:pt x="51" y="279"/>
                  </a:lnTo>
                  <a:lnTo>
                    <a:pt x="51" y="273"/>
                  </a:lnTo>
                  <a:lnTo>
                    <a:pt x="51" y="273"/>
                  </a:lnTo>
                  <a:lnTo>
                    <a:pt x="51" y="266"/>
                  </a:lnTo>
                  <a:lnTo>
                    <a:pt x="49" y="263"/>
                  </a:lnTo>
                  <a:lnTo>
                    <a:pt x="49" y="261"/>
                  </a:lnTo>
                  <a:lnTo>
                    <a:pt x="49" y="261"/>
                  </a:lnTo>
                  <a:lnTo>
                    <a:pt x="46" y="270"/>
                  </a:lnTo>
                  <a:lnTo>
                    <a:pt x="45" y="276"/>
                  </a:lnTo>
                  <a:lnTo>
                    <a:pt x="43" y="279"/>
                  </a:lnTo>
                  <a:lnTo>
                    <a:pt x="43" y="279"/>
                  </a:lnTo>
                  <a:lnTo>
                    <a:pt x="39" y="276"/>
                  </a:lnTo>
                  <a:lnTo>
                    <a:pt x="38" y="274"/>
                  </a:lnTo>
                  <a:lnTo>
                    <a:pt x="36" y="271"/>
                  </a:lnTo>
                  <a:lnTo>
                    <a:pt x="36" y="271"/>
                  </a:lnTo>
                  <a:lnTo>
                    <a:pt x="38" y="263"/>
                  </a:lnTo>
                  <a:lnTo>
                    <a:pt x="38" y="260"/>
                  </a:lnTo>
                  <a:lnTo>
                    <a:pt x="36" y="258"/>
                  </a:lnTo>
                  <a:lnTo>
                    <a:pt x="36" y="258"/>
                  </a:lnTo>
                  <a:lnTo>
                    <a:pt x="35" y="263"/>
                  </a:lnTo>
                  <a:lnTo>
                    <a:pt x="33" y="268"/>
                  </a:lnTo>
                  <a:lnTo>
                    <a:pt x="32" y="276"/>
                  </a:lnTo>
                  <a:lnTo>
                    <a:pt x="30" y="277"/>
                  </a:lnTo>
                  <a:lnTo>
                    <a:pt x="29" y="279"/>
                  </a:lnTo>
                  <a:lnTo>
                    <a:pt x="29" y="279"/>
                  </a:lnTo>
                  <a:lnTo>
                    <a:pt x="26" y="279"/>
                  </a:lnTo>
                  <a:lnTo>
                    <a:pt x="23" y="276"/>
                  </a:lnTo>
                  <a:lnTo>
                    <a:pt x="20" y="274"/>
                  </a:lnTo>
                  <a:lnTo>
                    <a:pt x="20" y="270"/>
                  </a:lnTo>
                  <a:lnTo>
                    <a:pt x="20" y="270"/>
                  </a:lnTo>
                  <a:lnTo>
                    <a:pt x="20" y="261"/>
                  </a:lnTo>
                  <a:lnTo>
                    <a:pt x="19" y="257"/>
                  </a:lnTo>
                  <a:lnTo>
                    <a:pt x="17" y="257"/>
                  </a:lnTo>
                  <a:lnTo>
                    <a:pt x="16" y="257"/>
                  </a:lnTo>
                  <a:lnTo>
                    <a:pt x="16" y="257"/>
                  </a:lnTo>
                  <a:lnTo>
                    <a:pt x="13" y="258"/>
                  </a:lnTo>
                  <a:lnTo>
                    <a:pt x="13" y="261"/>
                  </a:lnTo>
                  <a:lnTo>
                    <a:pt x="13" y="263"/>
                  </a:lnTo>
                  <a:lnTo>
                    <a:pt x="13" y="266"/>
                  </a:lnTo>
                  <a:lnTo>
                    <a:pt x="13" y="266"/>
                  </a:lnTo>
                  <a:lnTo>
                    <a:pt x="12" y="267"/>
                  </a:lnTo>
                  <a:lnTo>
                    <a:pt x="12" y="271"/>
                  </a:lnTo>
                  <a:lnTo>
                    <a:pt x="10" y="276"/>
                  </a:lnTo>
                  <a:lnTo>
                    <a:pt x="10" y="276"/>
                  </a:lnTo>
                  <a:lnTo>
                    <a:pt x="9" y="276"/>
                  </a:lnTo>
                  <a:lnTo>
                    <a:pt x="9" y="276"/>
                  </a:lnTo>
                  <a:lnTo>
                    <a:pt x="7" y="276"/>
                  </a:lnTo>
                  <a:lnTo>
                    <a:pt x="6" y="274"/>
                  </a:lnTo>
                  <a:lnTo>
                    <a:pt x="3" y="270"/>
                  </a:lnTo>
                  <a:lnTo>
                    <a:pt x="3" y="270"/>
                  </a:lnTo>
                  <a:lnTo>
                    <a:pt x="1" y="267"/>
                  </a:lnTo>
                  <a:lnTo>
                    <a:pt x="1" y="264"/>
                  </a:lnTo>
                  <a:lnTo>
                    <a:pt x="1" y="261"/>
                  </a:lnTo>
                  <a:lnTo>
                    <a:pt x="1" y="258"/>
                  </a:lnTo>
                  <a:lnTo>
                    <a:pt x="1" y="258"/>
                  </a:lnTo>
                  <a:lnTo>
                    <a:pt x="0" y="251"/>
                  </a:lnTo>
                  <a:lnTo>
                    <a:pt x="1" y="248"/>
                  </a:lnTo>
                  <a:lnTo>
                    <a:pt x="1" y="247"/>
                  </a:lnTo>
                  <a:lnTo>
                    <a:pt x="1" y="247"/>
                  </a:lnTo>
                  <a:lnTo>
                    <a:pt x="10" y="239"/>
                  </a:lnTo>
                  <a:lnTo>
                    <a:pt x="16" y="235"/>
                  </a:lnTo>
                  <a:lnTo>
                    <a:pt x="20" y="232"/>
                  </a:lnTo>
                  <a:lnTo>
                    <a:pt x="20" y="232"/>
                  </a:lnTo>
                  <a:lnTo>
                    <a:pt x="23" y="232"/>
                  </a:lnTo>
                  <a:lnTo>
                    <a:pt x="25" y="234"/>
                  </a:lnTo>
                  <a:lnTo>
                    <a:pt x="27" y="234"/>
                  </a:lnTo>
                  <a:lnTo>
                    <a:pt x="29" y="232"/>
                  </a:lnTo>
                  <a:lnTo>
                    <a:pt x="29" y="232"/>
                  </a:lnTo>
                  <a:lnTo>
                    <a:pt x="35" y="228"/>
                  </a:lnTo>
                  <a:lnTo>
                    <a:pt x="36" y="225"/>
                  </a:lnTo>
                  <a:lnTo>
                    <a:pt x="35" y="222"/>
                  </a:lnTo>
                  <a:lnTo>
                    <a:pt x="35" y="222"/>
                  </a:lnTo>
                  <a:lnTo>
                    <a:pt x="35" y="219"/>
                  </a:lnTo>
                  <a:lnTo>
                    <a:pt x="36" y="218"/>
                  </a:lnTo>
                  <a:lnTo>
                    <a:pt x="38" y="216"/>
                  </a:lnTo>
                  <a:lnTo>
                    <a:pt x="38" y="215"/>
                  </a:lnTo>
                  <a:lnTo>
                    <a:pt x="38" y="215"/>
                  </a:lnTo>
                  <a:lnTo>
                    <a:pt x="35" y="215"/>
                  </a:lnTo>
                  <a:lnTo>
                    <a:pt x="33" y="216"/>
                  </a:lnTo>
                  <a:lnTo>
                    <a:pt x="30" y="218"/>
                  </a:lnTo>
                  <a:lnTo>
                    <a:pt x="29" y="216"/>
                  </a:lnTo>
                  <a:lnTo>
                    <a:pt x="29" y="216"/>
                  </a:lnTo>
                  <a:lnTo>
                    <a:pt x="27" y="213"/>
                  </a:lnTo>
                  <a:lnTo>
                    <a:pt x="27" y="210"/>
                  </a:lnTo>
                  <a:lnTo>
                    <a:pt x="27" y="208"/>
                  </a:lnTo>
                  <a:lnTo>
                    <a:pt x="26" y="205"/>
                  </a:lnTo>
                  <a:lnTo>
                    <a:pt x="26" y="205"/>
                  </a:lnTo>
                  <a:lnTo>
                    <a:pt x="20" y="197"/>
                  </a:lnTo>
                  <a:lnTo>
                    <a:pt x="17" y="195"/>
                  </a:lnTo>
                  <a:lnTo>
                    <a:pt x="16" y="190"/>
                  </a:lnTo>
                  <a:lnTo>
                    <a:pt x="16" y="190"/>
                  </a:lnTo>
                  <a:lnTo>
                    <a:pt x="16" y="184"/>
                  </a:lnTo>
                  <a:lnTo>
                    <a:pt x="17" y="182"/>
                  </a:lnTo>
                  <a:lnTo>
                    <a:pt x="19" y="180"/>
                  </a:lnTo>
                  <a:lnTo>
                    <a:pt x="19" y="180"/>
                  </a:lnTo>
                  <a:lnTo>
                    <a:pt x="23" y="179"/>
                  </a:lnTo>
                  <a:lnTo>
                    <a:pt x="25" y="177"/>
                  </a:lnTo>
                  <a:lnTo>
                    <a:pt x="27" y="176"/>
                  </a:lnTo>
                  <a:lnTo>
                    <a:pt x="27" y="176"/>
                  </a:lnTo>
                  <a:lnTo>
                    <a:pt x="38" y="176"/>
                  </a:lnTo>
                  <a:lnTo>
                    <a:pt x="43" y="176"/>
                  </a:lnTo>
                  <a:lnTo>
                    <a:pt x="46" y="179"/>
                  </a:lnTo>
                  <a:lnTo>
                    <a:pt x="46" y="179"/>
                  </a:lnTo>
                  <a:lnTo>
                    <a:pt x="52" y="190"/>
                  </a:lnTo>
                  <a:lnTo>
                    <a:pt x="55" y="196"/>
                  </a:lnTo>
                  <a:lnTo>
                    <a:pt x="56" y="200"/>
                  </a:lnTo>
                  <a:lnTo>
                    <a:pt x="56" y="200"/>
                  </a:lnTo>
                  <a:lnTo>
                    <a:pt x="56" y="203"/>
                  </a:lnTo>
                  <a:lnTo>
                    <a:pt x="62" y="208"/>
                  </a:lnTo>
                  <a:lnTo>
                    <a:pt x="62" y="208"/>
                  </a:lnTo>
                  <a:lnTo>
                    <a:pt x="74" y="213"/>
                  </a:lnTo>
                  <a:lnTo>
                    <a:pt x="78" y="215"/>
                  </a:lnTo>
                  <a:lnTo>
                    <a:pt x="80" y="215"/>
                  </a:lnTo>
                  <a:lnTo>
                    <a:pt x="80" y="215"/>
                  </a:lnTo>
                  <a:lnTo>
                    <a:pt x="81" y="212"/>
                  </a:lnTo>
                  <a:lnTo>
                    <a:pt x="82" y="210"/>
                  </a:lnTo>
                  <a:lnTo>
                    <a:pt x="85" y="210"/>
                  </a:lnTo>
                  <a:lnTo>
                    <a:pt x="85" y="210"/>
                  </a:lnTo>
                  <a:lnTo>
                    <a:pt x="90" y="212"/>
                  </a:lnTo>
                  <a:lnTo>
                    <a:pt x="91" y="212"/>
                  </a:lnTo>
                  <a:lnTo>
                    <a:pt x="93" y="210"/>
                  </a:lnTo>
                  <a:lnTo>
                    <a:pt x="93" y="210"/>
                  </a:lnTo>
                  <a:lnTo>
                    <a:pt x="96" y="202"/>
                  </a:lnTo>
                  <a:lnTo>
                    <a:pt x="97" y="196"/>
                  </a:lnTo>
                  <a:lnTo>
                    <a:pt x="100" y="192"/>
                  </a:lnTo>
                  <a:lnTo>
                    <a:pt x="100" y="192"/>
                  </a:lnTo>
                  <a:lnTo>
                    <a:pt x="103" y="186"/>
                  </a:lnTo>
                  <a:lnTo>
                    <a:pt x="106" y="176"/>
                  </a:lnTo>
                  <a:lnTo>
                    <a:pt x="106" y="168"/>
                  </a:lnTo>
                  <a:lnTo>
                    <a:pt x="106" y="166"/>
                  </a:lnTo>
                  <a:lnTo>
                    <a:pt x="106" y="166"/>
                  </a:lnTo>
                  <a:lnTo>
                    <a:pt x="104" y="167"/>
                  </a:lnTo>
                  <a:lnTo>
                    <a:pt x="103" y="170"/>
                  </a:lnTo>
                  <a:lnTo>
                    <a:pt x="103" y="174"/>
                  </a:lnTo>
                  <a:lnTo>
                    <a:pt x="101" y="177"/>
                  </a:lnTo>
                  <a:lnTo>
                    <a:pt x="101" y="177"/>
                  </a:lnTo>
                  <a:lnTo>
                    <a:pt x="94" y="190"/>
                  </a:lnTo>
                  <a:lnTo>
                    <a:pt x="90" y="197"/>
                  </a:lnTo>
                  <a:lnTo>
                    <a:pt x="88" y="200"/>
                  </a:lnTo>
                  <a:lnTo>
                    <a:pt x="85" y="202"/>
                  </a:lnTo>
                  <a:lnTo>
                    <a:pt x="85" y="202"/>
                  </a:lnTo>
                  <a:lnTo>
                    <a:pt x="80" y="200"/>
                  </a:lnTo>
                  <a:lnTo>
                    <a:pt x="77" y="199"/>
                  </a:lnTo>
                  <a:lnTo>
                    <a:pt x="74" y="197"/>
                  </a:lnTo>
                  <a:lnTo>
                    <a:pt x="74" y="197"/>
                  </a:lnTo>
                  <a:lnTo>
                    <a:pt x="71" y="193"/>
                  </a:lnTo>
                  <a:lnTo>
                    <a:pt x="69" y="192"/>
                  </a:lnTo>
                  <a:lnTo>
                    <a:pt x="69" y="192"/>
                  </a:lnTo>
                  <a:lnTo>
                    <a:pt x="67" y="190"/>
                  </a:lnTo>
                  <a:lnTo>
                    <a:pt x="65" y="187"/>
                  </a:lnTo>
                  <a:lnTo>
                    <a:pt x="64" y="182"/>
                  </a:lnTo>
                  <a:lnTo>
                    <a:pt x="64" y="182"/>
                  </a:lnTo>
                  <a:lnTo>
                    <a:pt x="62" y="177"/>
                  </a:lnTo>
                  <a:lnTo>
                    <a:pt x="61" y="173"/>
                  </a:lnTo>
                  <a:lnTo>
                    <a:pt x="58" y="170"/>
                  </a:lnTo>
                  <a:lnTo>
                    <a:pt x="58" y="170"/>
                  </a:lnTo>
                  <a:lnTo>
                    <a:pt x="58" y="168"/>
                  </a:lnTo>
                  <a:lnTo>
                    <a:pt x="59" y="167"/>
                  </a:lnTo>
                  <a:lnTo>
                    <a:pt x="64" y="167"/>
                  </a:lnTo>
                  <a:lnTo>
                    <a:pt x="65" y="166"/>
                  </a:lnTo>
                  <a:lnTo>
                    <a:pt x="65" y="166"/>
                  </a:lnTo>
                  <a:lnTo>
                    <a:pt x="68" y="160"/>
                  </a:lnTo>
                  <a:lnTo>
                    <a:pt x="71" y="157"/>
                  </a:lnTo>
                  <a:lnTo>
                    <a:pt x="71" y="157"/>
                  </a:lnTo>
                  <a:lnTo>
                    <a:pt x="74" y="157"/>
                  </a:lnTo>
                  <a:lnTo>
                    <a:pt x="77" y="157"/>
                  </a:lnTo>
                  <a:lnTo>
                    <a:pt x="80" y="157"/>
                  </a:lnTo>
                  <a:lnTo>
                    <a:pt x="80" y="155"/>
                  </a:lnTo>
                  <a:lnTo>
                    <a:pt x="80" y="155"/>
                  </a:lnTo>
                  <a:lnTo>
                    <a:pt x="78" y="153"/>
                  </a:lnTo>
                  <a:lnTo>
                    <a:pt x="77" y="153"/>
                  </a:lnTo>
                  <a:lnTo>
                    <a:pt x="72" y="150"/>
                  </a:lnTo>
                  <a:lnTo>
                    <a:pt x="72" y="150"/>
                  </a:lnTo>
                  <a:lnTo>
                    <a:pt x="72" y="148"/>
                  </a:lnTo>
                  <a:lnTo>
                    <a:pt x="72" y="145"/>
                  </a:lnTo>
                  <a:lnTo>
                    <a:pt x="72" y="141"/>
                  </a:lnTo>
                  <a:lnTo>
                    <a:pt x="71" y="141"/>
                  </a:lnTo>
                  <a:lnTo>
                    <a:pt x="71" y="141"/>
                  </a:lnTo>
                  <a:lnTo>
                    <a:pt x="69" y="141"/>
                  </a:lnTo>
                  <a:lnTo>
                    <a:pt x="68" y="144"/>
                  </a:lnTo>
                  <a:lnTo>
                    <a:pt x="64" y="151"/>
                  </a:lnTo>
                  <a:lnTo>
                    <a:pt x="64" y="151"/>
                  </a:lnTo>
                  <a:lnTo>
                    <a:pt x="61" y="155"/>
                  </a:lnTo>
                  <a:lnTo>
                    <a:pt x="58" y="160"/>
                  </a:lnTo>
                  <a:lnTo>
                    <a:pt x="54" y="161"/>
                  </a:lnTo>
                  <a:lnTo>
                    <a:pt x="51" y="161"/>
                  </a:lnTo>
                  <a:lnTo>
                    <a:pt x="51" y="161"/>
                  </a:lnTo>
                  <a:lnTo>
                    <a:pt x="49" y="161"/>
                  </a:lnTo>
                  <a:lnTo>
                    <a:pt x="49" y="158"/>
                  </a:lnTo>
                  <a:lnTo>
                    <a:pt x="51" y="154"/>
                  </a:lnTo>
                  <a:lnTo>
                    <a:pt x="51" y="154"/>
                  </a:lnTo>
                  <a:lnTo>
                    <a:pt x="52" y="151"/>
                  </a:lnTo>
                  <a:lnTo>
                    <a:pt x="54" y="147"/>
                  </a:lnTo>
                  <a:lnTo>
                    <a:pt x="54" y="144"/>
                  </a:lnTo>
                  <a:lnTo>
                    <a:pt x="52" y="144"/>
                  </a:lnTo>
                  <a:lnTo>
                    <a:pt x="52" y="144"/>
                  </a:lnTo>
                  <a:lnTo>
                    <a:pt x="52" y="144"/>
                  </a:lnTo>
                  <a:lnTo>
                    <a:pt x="48" y="151"/>
                  </a:lnTo>
                  <a:lnTo>
                    <a:pt x="45" y="154"/>
                  </a:lnTo>
                  <a:lnTo>
                    <a:pt x="42" y="155"/>
                  </a:lnTo>
                  <a:lnTo>
                    <a:pt x="42" y="155"/>
                  </a:lnTo>
                  <a:lnTo>
                    <a:pt x="33" y="157"/>
                  </a:lnTo>
                  <a:lnTo>
                    <a:pt x="29" y="157"/>
                  </a:lnTo>
                  <a:lnTo>
                    <a:pt x="29" y="155"/>
                  </a:lnTo>
                  <a:lnTo>
                    <a:pt x="29" y="155"/>
                  </a:lnTo>
                  <a:lnTo>
                    <a:pt x="29" y="155"/>
                  </a:lnTo>
                  <a:lnTo>
                    <a:pt x="30" y="153"/>
                  </a:lnTo>
                  <a:lnTo>
                    <a:pt x="32" y="153"/>
                  </a:lnTo>
                  <a:lnTo>
                    <a:pt x="33" y="151"/>
                  </a:lnTo>
                  <a:lnTo>
                    <a:pt x="33" y="148"/>
                  </a:lnTo>
                  <a:lnTo>
                    <a:pt x="33" y="148"/>
                  </a:lnTo>
                  <a:lnTo>
                    <a:pt x="32" y="142"/>
                  </a:lnTo>
                  <a:lnTo>
                    <a:pt x="30" y="138"/>
                  </a:lnTo>
                  <a:lnTo>
                    <a:pt x="30" y="138"/>
                  </a:lnTo>
                  <a:lnTo>
                    <a:pt x="29" y="135"/>
                  </a:lnTo>
                  <a:lnTo>
                    <a:pt x="29" y="132"/>
                  </a:lnTo>
                  <a:lnTo>
                    <a:pt x="30" y="129"/>
                  </a:lnTo>
                  <a:lnTo>
                    <a:pt x="33" y="128"/>
                  </a:lnTo>
                  <a:lnTo>
                    <a:pt x="33" y="128"/>
                  </a:lnTo>
                  <a:lnTo>
                    <a:pt x="36" y="125"/>
                  </a:lnTo>
                  <a:lnTo>
                    <a:pt x="36" y="121"/>
                  </a:lnTo>
                  <a:lnTo>
                    <a:pt x="38" y="115"/>
                  </a:lnTo>
                  <a:lnTo>
                    <a:pt x="38" y="115"/>
                  </a:lnTo>
                  <a:lnTo>
                    <a:pt x="39" y="108"/>
                  </a:lnTo>
                  <a:lnTo>
                    <a:pt x="40" y="105"/>
                  </a:lnTo>
                  <a:lnTo>
                    <a:pt x="43" y="103"/>
                  </a:lnTo>
                  <a:lnTo>
                    <a:pt x="43" y="103"/>
                  </a:lnTo>
                  <a:lnTo>
                    <a:pt x="52" y="102"/>
                  </a:lnTo>
                  <a:lnTo>
                    <a:pt x="58" y="102"/>
                  </a:lnTo>
                  <a:lnTo>
                    <a:pt x="61" y="100"/>
                  </a:lnTo>
                  <a:lnTo>
                    <a:pt x="61" y="100"/>
                  </a:lnTo>
                  <a:lnTo>
                    <a:pt x="64" y="95"/>
                  </a:lnTo>
                  <a:lnTo>
                    <a:pt x="65" y="93"/>
                  </a:lnTo>
                  <a:lnTo>
                    <a:pt x="67" y="95"/>
                  </a:lnTo>
                  <a:lnTo>
                    <a:pt x="67" y="95"/>
                  </a:lnTo>
                  <a:lnTo>
                    <a:pt x="72" y="99"/>
                  </a:lnTo>
                  <a:lnTo>
                    <a:pt x="75" y="100"/>
                  </a:lnTo>
                  <a:lnTo>
                    <a:pt x="78" y="100"/>
                  </a:lnTo>
                  <a:lnTo>
                    <a:pt x="78" y="100"/>
                  </a:lnTo>
                  <a:lnTo>
                    <a:pt x="84" y="102"/>
                  </a:lnTo>
                  <a:lnTo>
                    <a:pt x="88" y="103"/>
                  </a:lnTo>
                  <a:lnTo>
                    <a:pt x="91" y="105"/>
                  </a:lnTo>
                  <a:lnTo>
                    <a:pt x="91" y="105"/>
                  </a:lnTo>
                  <a:lnTo>
                    <a:pt x="101" y="116"/>
                  </a:lnTo>
                  <a:lnTo>
                    <a:pt x="107" y="121"/>
                  </a:lnTo>
                  <a:lnTo>
                    <a:pt x="109" y="122"/>
                  </a:lnTo>
                  <a:lnTo>
                    <a:pt x="110" y="122"/>
                  </a:lnTo>
                  <a:lnTo>
                    <a:pt x="110" y="122"/>
                  </a:lnTo>
                  <a:lnTo>
                    <a:pt x="109" y="118"/>
                  </a:lnTo>
                  <a:lnTo>
                    <a:pt x="109" y="116"/>
                  </a:lnTo>
                  <a:lnTo>
                    <a:pt x="110" y="115"/>
                  </a:lnTo>
                  <a:lnTo>
                    <a:pt x="110" y="115"/>
                  </a:lnTo>
                  <a:lnTo>
                    <a:pt x="111" y="113"/>
                  </a:lnTo>
                  <a:lnTo>
                    <a:pt x="109" y="111"/>
                  </a:lnTo>
                  <a:lnTo>
                    <a:pt x="109" y="111"/>
                  </a:lnTo>
                  <a:lnTo>
                    <a:pt x="100" y="105"/>
                  </a:lnTo>
                  <a:lnTo>
                    <a:pt x="98" y="103"/>
                  </a:lnTo>
                  <a:lnTo>
                    <a:pt x="98" y="102"/>
                  </a:lnTo>
                  <a:lnTo>
                    <a:pt x="98" y="102"/>
                  </a:lnTo>
                  <a:lnTo>
                    <a:pt x="98" y="102"/>
                  </a:lnTo>
                  <a:lnTo>
                    <a:pt x="110" y="103"/>
                  </a:lnTo>
                  <a:lnTo>
                    <a:pt x="116" y="103"/>
                  </a:lnTo>
                  <a:lnTo>
                    <a:pt x="119" y="102"/>
                  </a:lnTo>
                  <a:lnTo>
                    <a:pt x="119" y="102"/>
                  </a:lnTo>
                  <a:lnTo>
                    <a:pt x="122" y="95"/>
                  </a:lnTo>
                  <a:lnTo>
                    <a:pt x="122" y="90"/>
                  </a:lnTo>
                  <a:lnTo>
                    <a:pt x="122" y="89"/>
                  </a:lnTo>
                  <a:lnTo>
                    <a:pt x="122" y="89"/>
                  </a:lnTo>
                  <a:lnTo>
                    <a:pt x="119" y="90"/>
                  </a:lnTo>
                  <a:lnTo>
                    <a:pt x="117" y="93"/>
                  </a:lnTo>
                  <a:lnTo>
                    <a:pt x="113" y="95"/>
                  </a:lnTo>
                  <a:lnTo>
                    <a:pt x="109" y="96"/>
                  </a:lnTo>
                  <a:lnTo>
                    <a:pt x="109" y="96"/>
                  </a:lnTo>
                  <a:lnTo>
                    <a:pt x="101" y="96"/>
                  </a:lnTo>
                  <a:lnTo>
                    <a:pt x="93" y="93"/>
                  </a:lnTo>
                  <a:lnTo>
                    <a:pt x="93" y="93"/>
                  </a:lnTo>
                  <a:lnTo>
                    <a:pt x="82" y="92"/>
                  </a:lnTo>
                  <a:lnTo>
                    <a:pt x="78" y="90"/>
                  </a:lnTo>
                  <a:lnTo>
                    <a:pt x="75" y="87"/>
                  </a:lnTo>
                  <a:lnTo>
                    <a:pt x="75" y="87"/>
                  </a:lnTo>
                  <a:lnTo>
                    <a:pt x="72" y="83"/>
                  </a:lnTo>
                  <a:lnTo>
                    <a:pt x="71" y="82"/>
                  </a:lnTo>
                  <a:lnTo>
                    <a:pt x="72" y="80"/>
                  </a:lnTo>
                  <a:lnTo>
                    <a:pt x="72" y="80"/>
                  </a:lnTo>
                  <a:lnTo>
                    <a:pt x="74" y="79"/>
                  </a:lnTo>
                  <a:lnTo>
                    <a:pt x="77" y="79"/>
                  </a:lnTo>
                  <a:lnTo>
                    <a:pt x="80" y="80"/>
                  </a:lnTo>
                  <a:lnTo>
                    <a:pt x="82" y="82"/>
                  </a:lnTo>
                  <a:lnTo>
                    <a:pt x="82" y="82"/>
                  </a:lnTo>
                  <a:lnTo>
                    <a:pt x="87" y="87"/>
                  </a:lnTo>
                  <a:lnTo>
                    <a:pt x="90" y="87"/>
                  </a:lnTo>
                  <a:lnTo>
                    <a:pt x="90" y="87"/>
                  </a:lnTo>
                  <a:lnTo>
                    <a:pt x="90" y="87"/>
                  </a:lnTo>
                  <a:lnTo>
                    <a:pt x="90" y="83"/>
                  </a:lnTo>
                  <a:lnTo>
                    <a:pt x="88" y="77"/>
                  </a:lnTo>
                  <a:lnTo>
                    <a:pt x="82" y="70"/>
                  </a:lnTo>
                  <a:lnTo>
                    <a:pt x="82" y="70"/>
                  </a:lnTo>
                  <a:lnTo>
                    <a:pt x="80" y="69"/>
                  </a:lnTo>
                  <a:lnTo>
                    <a:pt x="78" y="67"/>
                  </a:lnTo>
                  <a:lnTo>
                    <a:pt x="77" y="63"/>
                  </a:lnTo>
                  <a:lnTo>
                    <a:pt x="77" y="63"/>
                  </a:lnTo>
                  <a:lnTo>
                    <a:pt x="77" y="55"/>
                  </a:lnTo>
                  <a:lnTo>
                    <a:pt x="77" y="53"/>
                  </a:lnTo>
                  <a:lnTo>
                    <a:pt x="74" y="50"/>
                  </a:lnTo>
                  <a:lnTo>
                    <a:pt x="74" y="50"/>
                  </a:lnTo>
                  <a:lnTo>
                    <a:pt x="72" y="45"/>
                  </a:lnTo>
                  <a:lnTo>
                    <a:pt x="69" y="40"/>
                  </a:lnTo>
                  <a:lnTo>
                    <a:pt x="68" y="35"/>
                  </a:lnTo>
                  <a:lnTo>
                    <a:pt x="65" y="32"/>
                  </a:lnTo>
                  <a:lnTo>
                    <a:pt x="65" y="32"/>
                  </a:lnTo>
                  <a:lnTo>
                    <a:pt x="56" y="27"/>
                  </a:lnTo>
                  <a:lnTo>
                    <a:pt x="51" y="24"/>
                  </a:lnTo>
                  <a:lnTo>
                    <a:pt x="48" y="19"/>
                  </a:lnTo>
                  <a:lnTo>
                    <a:pt x="48" y="19"/>
                  </a:lnTo>
                  <a:lnTo>
                    <a:pt x="45" y="9"/>
                  </a:lnTo>
                  <a:lnTo>
                    <a:pt x="45" y="0"/>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7" name="Freeform 66"/>
            <p:cNvSpPr>
              <a:spLocks/>
            </p:cNvSpPr>
            <p:nvPr/>
          </p:nvSpPr>
          <p:spPr bwMode="auto">
            <a:xfrm>
              <a:off x="2005013" y="1232329"/>
              <a:ext cx="455613" cy="469900"/>
            </a:xfrm>
            <a:custGeom>
              <a:avLst/>
              <a:gdLst>
                <a:gd name="T0" fmla="*/ 284 w 287"/>
                <a:gd name="T1" fmla="*/ 18 h 296"/>
                <a:gd name="T2" fmla="*/ 248 w 287"/>
                <a:gd name="T3" fmla="*/ 21 h 296"/>
                <a:gd name="T4" fmla="*/ 239 w 287"/>
                <a:gd name="T5" fmla="*/ 25 h 296"/>
                <a:gd name="T6" fmla="*/ 236 w 287"/>
                <a:gd name="T7" fmla="*/ 47 h 296"/>
                <a:gd name="T8" fmla="*/ 211 w 287"/>
                <a:gd name="T9" fmla="*/ 47 h 296"/>
                <a:gd name="T10" fmla="*/ 210 w 287"/>
                <a:gd name="T11" fmla="*/ 53 h 296"/>
                <a:gd name="T12" fmla="*/ 191 w 287"/>
                <a:gd name="T13" fmla="*/ 57 h 296"/>
                <a:gd name="T14" fmla="*/ 198 w 287"/>
                <a:gd name="T15" fmla="*/ 63 h 296"/>
                <a:gd name="T16" fmla="*/ 229 w 287"/>
                <a:gd name="T17" fmla="*/ 71 h 296"/>
                <a:gd name="T18" fmla="*/ 214 w 287"/>
                <a:gd name="T19" fmla="*/ 76 h 296"/>
                <a:gd name="T20" fmla="*/ 200 w 287"/>
                <a:gd name="T21" fmla="*/ 80 h 296"/>
                <a:gd name="T22" fmla="*/ 181 w 287"/>
                <a:gd name="T23" fmla="*/ 92 h 296"/>
                <a:gd name="T24" fmla="*/ 209 w 287"/>
                <a:gd name="T25" fmla="*/ 93 h 296"/>
                <a:gd name="T26" fmla="*/ 229 w 287"/>
                <a:gd name="T27" fmla="*/ 111 h 296"/>
                <a:gd name="T28" fmla="*/ 203 w 287"/>
                <a:gd name="T29" fmla="*/ 122 h 296"/>
                <a:gd name="T30" fmla="*/ 217 w 287"/>
                <a:gd name="T31" fmla="*/ 145 h 296"/>
                <a:gd name="T32" fmla="*/ 213 w 287"/>
                <a:gd name="T33" fmla="*/ 157 h 296"/>
                <a:gd name="T34" fmla="*/ 201 w 287"/>
                <a:gd name="T35" fmla="*/ 173 h 296"/>
                <a:gd name="T36" fmla="*/ 178 w 287"/>
                <a:gd name="T37" fmla="*/ 189 h 296"/>
                <a:gd name="T38" fmla="*/ 175 w 287"/>
                <a:gd name="T39" fmla="*/ 215 h 296"/>
                <a:gd name="T40" fmla="*/ 122 w 287"/>
                <a:gd name="T41" fmla="*/ 205 h 296"/>
                <a:gd name="T42" fmla="*/ 119 w 287"/>
                <a:gd name="T43" fmla="*/ 222 h 296"/>
                <a:gd name="T44" fmla="*/ 140 w 287"/>
                <a:gd name="T45" fmla="*/ 222 h 296"/>
                <a:gd name="T46" fmla="*/ 159 w 287"/>
                <a:gd name="T47" fmla="*/ 229 h 296"/>
                <a:gd name="T48" fmla="*/ 172 w 287"/>
                <a:gd name="T49" fmla="*/ 241 h 296"/>
                <a:gd name="T50" fmla="*/ 180 w 287"/>
                <a:gd name="T51" fmla="*/ 260 h 296"/>
                <a:gd name="T52" fmla="*/ 142 w 287"/>
                <a:gd name="T53" fmla="*/ 293 h 296"/>
                <a:gd name="T54" fmla="*/ 119 w 287"/>
                <a:gd name="T55" fmla="*/ 271 h 296"/>
                <a:gd name="T56" fmla="*/ 114 w 287"/>
                <a:gd name="T57" fmla="*/ 277 h 296"/>
                <a:gd name="T58" fmla="*/ 98 w 287"/>
                <a:gd name="T59" fmla="*/ 264 h 296"/>
                <a:gd name="T60" fmla="*/ 81 w 287"/>
                <a:gd name="T61" fmla="*/ 261 h 296"/>
                <a:gd name="T62" fmla="*/ 68 w 287"/>
                <a:gd name="T63" fmla="*/ 268 h 296"/>
                <a:gd name="T64" fmla="*/ 64 w 287"/>
                <a:gd name="T65" fmla="*/ 289 h 296"/>
                <a:gd name="T66" fmla="*/ 49 w 287"/>
                <a:gd name="T67" fmla="*/ 261 h 296"/>
                <a:gd name="T68" fmla="*/ 36 w 287"/>
                <a:gd name="T69" fmla="*/ 258 h 296"/>
                <a:gd name="T70" fmla="*/ 20 w 287"/>
                <a:gd name="T71" fmla="*/ 261 h 296"/>
                <a:gd name="T72" fmla="*/ 10 w 287"/>
                <a:gd name="T73" fmla="*/ 276 h 296"/>
                <a:gd name="T74" fmla="*/ 1 w 287"/>
                <a:gd name="T75" fmla="*/ 258 h 296"/>
                <a:gd name="T76" fmla="*/ 29 w 287"/>
                <a:gd name="T77" fmla="*/ 232 h 296"/>
                <a:gd name="T78" fmla="*/ 33 w 287"/>
                <a:gd name="T79" fmla="*/ 216 h 296"/>
                <a:gd name="T80" fmla="*/ 16 w 287"/>
                <a:gd name="T81" fmla="*/ 190 h 296"/>
                <a:gd name="T82" fmla="*/ 46 w 287"/>
                <a:gd name="T83" fmla="*/ 179 h 296"/>
                <a:gd name="T84" fmla="*/ 81 w 287"/>
                <a:gd name="T85" fmla="*/ 212 h 296"/>
                <a:gd name="T86" fmla="*/ 103 w 287"/>
                <a:gd name="T87" fmla="*/ 186 h 296"/>
                <a:gd name="T88" fmla="*/ 88 w 287"/>
                <a:gd name="T89" fmla="*/ 200 h 296"/>
                <a:gd name="T90" fmla="*/ 64 w 287"/>
                <a:gd name="T91" fmla="*/ 182 h 296"/>
                <a:gd name="T92" fmla="*/ 71 w 287"/>
                <a:gd name="T93" fmla="*/ 157 h 296"/>
                <a:gd name="T94" fmla="*/ 72 w 287"/>
                <a:gd name="T95" fmla="*/ 145 h 296"/>
                <a:gd name="T96" fmla="*/ 51 w 287"/>
                <a:gd name="T97" fmla="*/ 161 h 296"/>
                <a:gd name="T98" fmla="*/ 45 w 287"/>
                <a:gd name="T99" fmla="*/ 154 h 296"/>
                <a:gd name="T100" fmla="*/ 33 w 287"/>
                <a:gd name="T101" fmla="*/ 148 h 296"/>
                <a:gd name="T102" fmla="*/ 38 w 287"/>
                <a:gd name="T103" fmla="*/ 115 h 296"/>
                <a:gd name="T104" fmla="*/ 67 w 287"/>
                <a:gd name="T105" fmla="*/ 95 h 296"/>
                <a:gd name="T106" fmla="*/ 110 w 287"/>
                <a:gd name="T107" fmla="*/ 122 h 296"/>
                <a:gd name="T108" fmla="*/ 98 w 287"/>
                <a:gd name="T109" fmla="*/ 102 h 296"/>
                <a:gd name="T110" fmla="*/ 113 w 287"/>
                <a:gd name="T111" fmla="*/ 95 h 296"/>
                <a:gd name="T112" fmla="*/ 72 w 287"/>
                <a:gd name="T113" fmla="*/ 80 h 296"/>
                <a:gd name="T114" fmla="*/ 88 w 287"/>
                <a:gd name="T115" fmla="*/ 77 h 296"/>
                <a:gd name="T116" fmla="*/ 69 w 287"/>
                <a:gd name="T117" fmla="*/ 4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7" h="296">
                  <a:moveTo>
                    <a:pt x="45" y="0"/>
                  </a:moveTo>
                  <a:lnTo>
                    <a:pt x="287" y="0"/>
                  </a:lnTo>
                  <a:lnTo>
                    <a:pt x="287" y="0"/>
                  </a:lnTo>
                  <a:lnTo>
                    <a:pt x="279" y="8"/>
                  </a:lnTo>
                  <a:lnTo>
                    <a:pt x="277" y="12"/>
                  </a:lnTo>
                  <a:lnTo>
                    <a:pt x="275" y="13"/>
                  </a:lnTo>
                  <a:lnTo>
                    <a:pt x="277" y="13"/>
                  </a:lnTo>
                  <a:lnTo>
                    <a:pt x="277" y="13"/>
                  </a:lnTo>
                  <a:lnTo>
                    <a:pt x="281" y="15"/>
                  </a:lnTo>
                  <a:lnTo>
                    <a:pt x="282" y="16"/>
                  </a:lnTo>
                  <a:lnTo>
                    <a:pt x="284" y="18"/>
                  </a:lnTo>
                  <a:lnTo>
                    <a:pt x="284" y="18"/>
                  </a:lnTo>
                  <a:lnTo>
                    <a:pt x="282" y="21"/>
                  </a:lnTo>
                  <a:lnTo>
                    <a:pt x="281" y="25"/>
                  </a:lnTo>
                  <a:lnTo>
                    <a:pt x="278" y="28"/>
                  </a:lnTo>
                  <a:lnTo>
                    <a:pt x="274" y="29"/>
                  </a:lnTo>
                  <a:lnTo>
                    <a:pt x="274" y="29"/>
                  </a:lnTo>
                  <a:lnTo>
                    <a:pt x="265" y="29"/>
                  </a:lnTo>
                  <a:lnTo>
                    <a:pt x="261" y="29"/>
                  </a:lnTo>
                  <a:lnTo>
                    <a:pt x="256" y="29"/>
                  </a:lnTo>
                  <a:lnTo>
                    <a:pt x="256" y="29"/>
                  </a:lnTo>
                  <a:lnTo>
                    <a:pt x="252" y="25"/>
                  </a:lnTo>
                  <a:lnTo>
                    <a:pt x="248" y="21"/>
                  </a:lnTo>
                  <a:lnTo>
                    <a:pt x="248" y="21"/>
                  </a:lnTo>
                  <a:lnTo>
                    <a:pt x="242" y="16"/>
                  </a:lnTo>
                  <a:lnTo>
                    <a:pt x="237" y="13"/>
                  </a:lnTo>
                  <a:lnTo>
                    <a:pt x="237" y="13"/>
                  </a:lnTo>
                  <a:lnTo>
                    <a:pt x="230" y="16"/>
                  </a:lnTo>
                  <a:lnTo>
                    <a:pt x="230" y="16"/>
                  </a:lnTo>
                  <a:lnTo>
                    <a:pt x="229" y="18"/>
                  </a:lnTo>
                  <a:lnTo>
                    <a:pt x="229" y="19"/>
                  </a:lnTo>
                  <a:lnTo>
                    <a:pt x="232" y="21"/>
                  </a:lnTo>
                  <a:lnTo>
                    <a:pt x="232" y="21"/>
                  </a:lnTo>
                  <a:lnTo>
                    <a:pt x="236" y="21"/>
                  </a:lnTo>
                  <a:lnTo>
                    <a:pt x="239" y="25"/>
                  </a:lnTo>
                  <a:lnTo>
                    <a:pt x="239" y="25"/>
                  </a:lnTo>
                  <a:lnTo>
                    <a:pt x="246" y="35"/>
                  </a:lnTo>
                  <a:lnTo>
                    <a:pt x="249" y="40"/>
                  </a:lnTo>
                  <a:lnTo>
                    <a:pt x="251" y="41"/>
                  </a:lnTo>
                  <a:lnTo>
                    <a:pt x="249" y="42"/>
                  </a:lnTo>
                  <a:lnTo>
                    <a:pt x="249" y="42"/>
                  </a:lnTo>
                  <a:lnTo>
                    <a:pt x="248" y="41"/>
                  </a:lnTo>
                  <a:lnTo>
                    <a:pt x="245" y="40"/>
                  </a:lnTo>
                  <a:lnTo>
                    <a:pt x="242" y="40"/>
                  </a:lnTo>
                  <a:lnTo>
                    <a:pt x="239" y="40"/>
                  </a:lnTo>
                  <a:lnTo>
                    <a:pt x="239" y="40"/>
                  </a:lnTo>
                  <a:lnTo>
                    <a:pt x="237" y="44"/>
                  </a:lnTo>
                  <a:lnTo>
                    <a:pt x="236" y="47"/>
                  </a:lnTo>
                  <a:lnTo>
                    <a:pt x="235" y="48"/>
                  </a:lnTo>
                  <a:lnTo>
                    <a:pt x="235" y="48"/>
                  </a:lnTo>
                  <a:lnTo>
                    <a:pt x="230" y="47"/>
                  </a:lnTo>
                  <a:lnTo>
                    <a:pt x="227" y="47"/>
                  </a:lnTo>
                  <a:lnTo>
                    <a:pt x="226" y="47"/>
                  </a:lnTo>
                  <a:lnTo>
                    <a:pt x="226" y="47"/>
                  </a:lnTo>
                  <a:lnTo>
                    <a:pt x="223" y="51"/>
                  </a:lnTo>
                  <a:lnTo>
                    <a:pt x="219" y="54"/>
                  </a:lnTo>
                  <a:lnTo>
                    <a:pt x="219" y="54"/>
                  </a:lnTo>
                  <a:lnTo>
                    <a:pt x="217" y="53"/>
                  </a:lnTo>
                  <a:lnTo>
                    <a:pt x="214" y="50"/>
                  </a:lnTo>
                  <a:lnTo>
                    <a:pt x="211" y="47"/>
                  </a:lnTo>
                  <a:lnTo>
                    <a:pt x="209" y="44"/>
                  </a:lnTo>
                  <a:lnTo>
                    <a:pt x="209" y="44"/>
                  </a:lnTo>
                  <a:lnTo>
                    <a:pt x="198" y="42"/>
                  </a:lnTo>
                  <a:lnTo>
                    <a:pt x="194" y="42"/>
                  </a:lnTo>
                  <a:lnTo>
                    <a:pt x="194" y="44"/>
                  </a:lnTo>
                  <a:lnTo>
                    <a:pt x="194" y="44"/>
                  </a:lnTo>
                  <a:lnTo>
                    <a:pt x="194" y="44"/>
                  </a:lnTo>
                  <a:lnTo>
                    <a:pt x="197" y="47"/>
                  </a:lnTo>
                  <a:lnTo>
                    <a:pt x="203" y="50"/>
                  </a:lnTo>
                  <a:lnTo>
                    <a:pt x="207" y="51"/>
                  </a:lnTo>
                  <a:lnTo>
                    <a:pt x="210" y="53"/>
                  </a:lnTo>
                  <a:lnTo>
                    <a:pt x="210" y="53"/>
                  </a:lnTo>
                  <a:lnTo>
                    <a:pt x="207" y="55"/>
                  </a:lnTo>
                  <a:lnTo>
                    <a:pt x="201" y="57"/>
                  </a:lnTo>
                  <a:lnTo>
                    <a:pt x="201" y="57"/>
                  </a:lnTo>
                  <a:lnTo>
                    <a:pt x="198" y="55"/>
                  </a:lnTo>
                  <a:lnTo>
                    <a:pt x="195" y="53"/>
                  </a:lnTo>
                  <a:lnTo>
                    <a:pt x="194" y="50"/>
                  </a:lnTo>
                  <a:lnTo>
                    <a:pt x="191" y="50"/>
                  </a:lnTo>
                  <a:lnTo>
                    <a:pt x="191" y="50"/>
                  </a:lnTo>
                  <a:lnTo>
                    <a:pt x="191" y="51"/>
                  </a:lnTo>
                  <a:lnTo>
                    <a:pt x="191" y="53"/>
                  </a:lnTo>
                  <a:lnTo>
                    <a:pt x="191" y="55"/>
                  </a:lnTo>
                  <a:lnTo>
                    <a:pt x="191" y="57"/>
                  </a:lnTo>
                  <a:lnTo>
                    <a:pt x="191" y="57"/>
                  </a:lnTo>
                  <a:lnTo>
                    <a:pt x="190" y="57"/>
                  </a:lnTo>
                  <a:lnTo>
                    <a:pt x="188" y="57"/>
                  </a:lnTo>
                  <a:lnTo>
                    <a:pt x="185" y="55"/>
                  </a:lnTo>
                  <a:lnTo>
                    <a:pt x="184" y="57"/>
                  </a:lnTo>
                  <a:lnTo>
                    <a:pt x="184" y="57"/>
                  </a:lnTo>
                  <a:lnTo>
                    <a:pt x="182" y="58"/>
                  </a:lnTo>
                  <a:lnTo>
                    <a:pt x="184" y="60"/>
                  </a:lnTo>
                  <a:lnTo>
                    <a:pt x="185" y="63"/>
                  </a:lnTo>
                  <a:lnTo>
                    <a:pt x="188" y="63"/>
                  </a:lnTo>
                  <a:lnTo>
                    <a:pt x="188" y="63"/>
                  </a:lnTo>
                  <a:lnTo>
                    <a:pt x="198" y="63"/>
                  </a:lnTo>
                  <a:lnTo>
                    <a:pt x="210" y="63"/>
                  </a:lnTo>
                  <a:lnTo>
                    <a:pt x="210" y="63"/>
                  </a:lnTo>
                  <a:lnTo>
                    <a:pt x="214" y="66"/>
                  </a:lnTo>
                  <a:lnTo>
                    <a:pt x="220" y="67"/>
                  </a:lnTo>
                  <a:lnTo>
                    <a:pt x="220" y="67"/>
                  </a:lnTo>
                  <a:lnTo>
                    <a:pt x="230" y="66"/>
                  </a:lnTo>
                  <a:lnTo>
                    <a:pt x="233" y="66"/>
                  </a:lnTo>
                  <a:lnTo>
                    <a:pt x="233" y="66"/>
                  </a:lnTo>
                  <a:lnTo>
                    <a:pt x="233" y="67"/>
                  </a:lnTo>
                  <a:lnTo>
                    <a:pt x="233" y="67"/>
                  </a:lnTo>
                  <a:lnTo>
                    <a:pt x="229" y="70"/>
                  </a:lnTo>
                  <a:lnTo>
                    <a:pt x="229" y="71"/>
                  </a:lnTo>
                  <a:lnTo>
                    <a:pt x="230" y="74"/>
                  </a:lnTo>
                  <a:lnTo>
                    <a:pt x="230" y="74"/>
                  </a:lnTo>
                  <a:lnTo>
                    <a:pt x="235" y="79"/>
                  </a:lnTo>
                  <a:lnTo>
                    <a:pt x="235" y="80"/>
                  </a:lnTo>
                  <a:lnTo>
                    <a:pt x="233" y="82"/>
                  </a:lnTo>
                  <a:lnTo>
                    <a:pt x="233" y="82"/>
                  </a:lnTo>
                  <a:lnTo>
                    <a:pt x="223" y="82"/>
                  </a:lnTo>
                  <a:lnTo>
                    <a:pt x="220" y="82"/>
                  </a:lnTo>
                  <a:lnTo>
                    <a:pt x="217" y="80"/>
                  </a:lnTo>
                  <a:lnTo>
                    <a:pt x="217" y="80"/>
                  </a:lnTo>
                  <a:lnTo>
                    <a:pt x="216" y="79"/>
                  </a:lnTo>
                  <a:lnTo>
                    <a:pt x="214" y="76"/>
                  </a:lnTo>
                  <a:lnTo>
                    <a:pt x="213" y="73"/>
                  </a:lnTo>
                  <a:lnTo>
                    <a:pt x="211" y="70"/>
                  </a:lnTo>
                  <a:lnTo>
                    <a:pt x="211" y="70"/>
                  </a:lnTo>
                  <a:lnTo>
                    <a:pt x="203" y="70"/>
                  </a:lnTo>
                  <a:lnTo>
                    <a:pt x="197" y="70"/>
                  </a:lnTo>
                  <a:lnTo>
                    <a:pt x="197" y="70"/>
                  </a:lnTo>
                  <a:lnTo>
                    <a:pt x="203" y="73"/>
                  </a:lnTo>
                  <a:lnTo>
                    <a:pt x="206" y="76"/>
                  </a:lnTo>
                  <a:lnTo>
                    <a:pt x="207" y="77"/>
                  </a:lnTo>
                  <a:lnTo>
                    <a:pt x="207" y="77"/>
                  </a:lnTo>
                  <a:lnTo>
                    <a:pt x="204" y="79"/>
                  </a:lnTo>
                  <a:lnTo>
                    <a:pt x="200" y="80"/>
                  </a:lnTo>
                  <a:lnTo>
                    <a:pt x="191" y="82"/>
                  </a:lnTo>
                  <a:lnTo>
                    <a:pt x="191" y="82"/>
                  </a:lnTo>
                  <a:lnTo>
                    <a:pt x="184" y="82"/>
                  </a:lnTo>
                  <a:lnTo>
                    <a:pt x="181" y="82"/>
                  </a:lnTo>
                  <a:lnTo>
                    <a:pt x="181" y="82"/>
                  </a:lnTo>
                  <a:lnTo>
                    <a:pt x="181" y="83"/>
                  </a:lnTo>
                  <a:lnTo>
                    <a:pt x="181" y="83"/>
                  </a:lnTo>
                  <a:lnTo>
                    <a:pt x="182" y="84"/>
                  </a:lnTo>
                  <a:lnTo>
                    <a:pt x="182" y="87"/>
                  </a:lnTo>
                  <a:lnTo>
                    <a:pt x="182" y="87"/>
                  </a:lnTo>
                  <a:lnTo>
                    <a:pt x="181" y="90"/>
                  </a:lnTo>
                  <a:lnTo>
                    <a:pt x="181" y="92"/>
                  </a:lnTo>
                  <a:lnTo>
                    <a:pt x="182" y="92"/>
                  </a:lnTo>
                  <a:lnTo>
                    <a:pt x="182" y="92"/>
                  </a:lnTo>
                  <a:lnTo>
                    <a:pt x="188" y="89"/>
                  </a:lnTo>
                  <a:lnTo>
                    <a:pt x="191" y="87"/>
                  </a:lnTo>
                  <a:lnTo>
                    <a:pt x="195" y="87"/>
                  </a:lnTo>
                  <a:lnTo>
                    <a:pt x="195" y="87"/>
                  </a:lnTo>
                  <a:lnTo>
                    <a:pt x="207" y="86"/>
                  </a:lnTo>
                  <a:lnTo>
                    <a:pt x="211" y="86"/>
                  </a:lnTo>
                  <a:lnTo>
                    <a:pt x="213" y="87"/>
                  </a:lnTo>
                  <a:lnTo>
                    <a:pt x="213" y="87"/>
                  </a:lnTo>
                  <a:lnTo>
                    <a:pt x="213" y="87"/>
                  </a:lnTo>
                  <a:lnTo>
                    <a:pt x="209" y="93"/>
                  </a:lnTo>
                  <a:lnTo>
                    <a:pt x="207" y="95"/>
                  </a:lnTo>
                  <a:lnTo>
                    <a:pt x="207" y="96"/>
                  </a:lnTo>
                  <a:lnTo>
                    <a:pt x="207" y="96"/>
                  </a:lnTo>
                  <a:lnTo>
                    <a:pt x="217" y="96"/>
                  </a:lnTo>
                  <a:lnTo>
                    <a:pt x="223" y="96"/>
                  </a:lnTo>
                  <a:lnTo>
                    <a:pt x="226" y="97"/>
                  </a:lnTo>
                  <a:lnTo>
                    <a:pt x="226" y="97"/>
                  </a:lnTo>
                  <a:lnTo>
                    <a:pt x="230" y="103"/>
                  </a:lnTo>
                  <a:lnTo>
                    <a:pt x="232" y="106"/>
                  </a:lnTo>
                  <a:lnTo>
                    <a:pt x="232" y="108"/>
                  </a:lnTo>
                  <a:lnTo>
                    <a:pt x="232" y="108"/>
                  </a:lnTo>
                  <a:lnTo>
                    <a:pt x="229" y="111"/>
                  </a:lnTo>
                  <a:lnTo>
                    <a:pt x="227" y="113"/>
                  </a:lnTo>
                  <a:lnTo>
                    <a:pt x="227" y="115"/>
                  </a:lnTo>
                  <a:lnTo>
                    <a:pt x="227" y="115"/>
                  </a:lnTo>
                  <a:lnTo>
                    <a:pt x="230" y="119"/>
                  </a:lnTo>
                  <a:lnTo>
                    <a:pt x="230" y="121"/>
                  </a:lnTo>
                  <a:lnTo>
                    <a:pt x="229" y="122"/>
                  </a:lnTo>
                  <a:lnTo>
                    <a:pt x="229" y="122"/>
                  </a:lnTo>
                  <a:lnTo>
                    <a:pt x="223" y="124"/>
                  </a:lnTo>
                  <a:lnTo>
                    <a:pt x="217" y="124"/>
                  </a:lnTo>
                  <a:lnTo>
                    <a:pt x="217" y="124"/>
                  </a:lnTo>
                  <a:lnTo>
                    <a:pt x="207" y="122"/>
                  </a:lnTo>
                  <a:lnTo>
                    <a:pt x="203" y="122"/>
                  </a:lnTo>
                  <a:lnTo>
                    <a:pt x="203" y="124"/>
                  </a:lnTo>
                  <a:lnTo>
                    <a:pt x="203" y="125"/>
                  </a:lnTo>
                  <a:lnTo>
                    <a:pt x="203" y="125"/>
                  </a:lnTo>
                  <a:lnTo>
                    <a:pt x="209" y="128"/>
                  </a:lnTo>
                  <a:lnTo>
                    <a:pt x="216" y="131"/>
                  </a:lnTo>
                  <a:lnTo>
                    <a:pt x="216" y="131"/>
                  </a:lnTo>
                  <a:lnTo>
                    <a:pt x="219" y="134"/>
                  </a:lnTo>
                  <a:lnTo>
                    <a:pt x="222" y="135"/>
                  </a:lnTo>
                  <a:lnTo>
                    <a:pt x="223" y="138"/>
                  </a:lnTo>
                  <a:lnTo>
                    <a:pt x="222" y="140"/>
                  </a:lnTo>
                  <a:lnTo>
                    <a:pt x="222" y="140"/>
                  </a:lnTo>
                  <a:lnTo>
                    <a:pt x="217" y="145"/>
                  </a:lnTo>
                  <a:lnTo>
                    <a:pt x="216" y="148"/>
                  </a:lnTo>
                  <a:lnTo>
                    <a:pt x="214" y="150"/>
                  </a:lnTo>
                  <a:lnTo>
                    <a:pt x="214" y="150"/>
                  </a:lnTo>
                  <a:lnTo>
                    <a:pt x="206" y="148"/>
                  </a:lnTo>
                  <a:lnTo>
                    <a:pt x="201" y="148"/>
                  </a:lnTo>
                  <a:lnTo>
                    <a:pt x="200" y="150"/>
                  </a:lnTo>
                  <a:lnTo>
                    <a:pt x="200" y="150"/>
                  </a:lnTo>
                  <a:lnTo>
                    <a:pt x="203" y="154"/>
                  </a:lnTo>
                  <a:lnTo>
                    <a:pt x="206" y="157"/>
                  </a:lnTo>
                  <a:lnTo>
                    <a:pt x="209" y="158"/>
                  </a:lnTo>
                  <a:lnTo>
                    <a:pt x="209" y="158"/>
                  </a:lnTo>
                  <a:lnTo>
                    <a:pt x="213" y="157"/>
                  </a:lnTo>
                  <a:lnTo>
                    <a:pt x="214" y="158"/>
                  </a:lnTo>
                  <a:lnTo>
                    <a:pt x="214" y="160"/>
                  </a:lnTo>
                  <a:lnTo>
                    <a:pt x="214" y="160"/>
                  </a:lnTo>
                  <a:lnTo>
                    <a:pt x="213" y="166"/>
                  </a:lnTo>
                  <a:lnTo>
                    <a:pt x="213" y="168"/>
                  </a:lnTo>
                  <a:lnTo>
                    <a:pt x="211" y="168"/>
                  </a:lnTo>
                  <a:lnTo>
                    <a:pt x="211" y="168"/>
                  </a:lnTo>
                  <a:lnTo>
                    <a:pt x="209" y="167"/>
                  </a:lnTo>
                  <a:lnTo>
                    <a:pt x="207" y="167"/>
                  </a:lnTo>
                  <a:lnTo>
                    <a:pt x="206" y="167"/>
                  </a:lnTo>
                  <a:lnTo>
                    <a:pt x="206" y="167"/>
                  </a:lnTo>
                  <a:lnTo>
                    <a:pt x="201" y="173"/>
                  </a:lnTo>
                  <a:lnTo>
                    <a:pt x="200" y="174"/>
                  </a:lnTo>
                  <a:lnTo>
                    <a:pt x="197" y="176"/>
                  </a:lnTo>
                  <a:lnTo>
                    <a:pt x="197" y="176"/>
                  </a:lnTo>
                  <a:lnTo>
                    <a:pt x="185" y="171"/>
                  </a:lnTo>
                  <a:lnTo>
                    <a:pt x="178" y="170"/>
                  </a:lnTo>
                  <a:lnTo>
                    <a:pt x="175" y="168"/>
                  </a:lnTo>
                  <a:lnTo>
                    <a:pt x="175" y="168"/>
                  </a:lnTo>
                  <a:lnTo>
                    <a:pt x="175" y="174"/>
                  </a:lnTo>
                  <a:lnTo>
                    <a:pt x="177" y="182"/>
                  </a:lnTo>
                  <a:lnTo>
                    <a:pt x="177" y="182"/>
                  </a:lnTo>
                  <a:lnTo>
                    <a:pt x="178" y="184"/>
                  </a:lnTo>
                  <a:lnTo>
                    <a:pt x="178" y="189"/>
                  </a:lnTo>
                  <a:lnTo>
                    <a:pt x="180" y="192"/>
                  </a:lnTo>
                  <a:lnTo>
                    <a:pt x="180" y="193"/>
                  </a:lnTo>
                  <a:lnTo>
                    <a:pt x="180" y="193"/>
                  </a:lnTo>
                  <a:lnTo>
                    <a:pt x="181" y="195"/>
                  </a:lnTo>
                  <a:lnTo>
                    <a:pt x="181" y="196"/>
                  </a:lnTo>
                  <a:lnTo>
                    <a:pt x="181" y="197"/>
                  </a:lnTo>
                  <a:lnTo>
                    <a:pt x="181" y="197"/>
                  </a:lnTo>
                  <a:lnTo>
                    <a:pt x="180" y="200"/>
                  </a:lnTo>
                  <a:lnTo>
                    <a:pt x="180" y="203"/>
                  </a:lnTo>
                  <a:lnTo>
                    <a:pt x="180" y="203"/>
                  </a:lnTo>
                  <a:lnTo>
                    <a:pt x="178" y="210"/>
                  </a:lnTo>
                  <a:lnTo>
                    <a:pt x="175" y="215"/>
                  </a:lnTo>
                  <a:lnTo>
                    <a:pt x="172" y="216"/>
                  </a:lnTo>
                  <a:lnTo>
                    <a:pt x="172" y="216"/>
                  </a:lnTo>
                  <a:lnTo>
                    <a:pt x="161" y="219"/>
                  </a:lnTo>
                  <a:lnTo>
                    <a:pt x="161" y="219"/>
                  </a:lnTo>
                  <a:lnTo>
                    <a:pt x="149" y="219"/>
                  </a:lnTo>
                  <a:lnTo>
                    <a:pt x="140" y="219"/>
                  </a:lnTo>
                  <a:lnTo>
                    <a:pt x="136" y="218"/>
                  </a:lnTo>
                  <a:lnTo>
                    <a:pt x="136" y="218"/>
                  </a:lnTo>
                  <a:lnTo>
                    <a:pt x="127" y="209"/>
                  </a:lnTo>
                  <a:lnTo>
                    <a:pt x="123" y="206"/>
                  </a:lnTo>
                  <a:lnTo>
                    <a:pt x="122" y="205"/>
                  </a:lnTo>
                  <a:lnTo>
                    <a:pt x="122" y="205"/>
                  </a:lnTo>
                  <a:lnTo>
                    <a:pt x="122" y="205"/>
                  </a:lnTo>
                  <a:lnTo>
                    <a:pt x="119" y="208"/>
                  </a:lnTo>
                  <a:lnTo>
                    <a:pt x="119" y="208"/>
                  </a:lnTo>
                  <a:lnTo>
                    <a:pt x="122" y="209"/>
                  </a:lnTo>
                  <a:lnTo>
                    <a:pt x="122" y="209"/>
                  </a:lnTo>
                  <a:lnTo>
                    <a:pt x="123" y="212"/>
                  </a:lnTo>
                  <a:lnTo>
                    <a:pt x="126" y="215"/>
                  </a:lnTo>
                  <a:lnTo>
                    <a:pt x="126" y="218"/>
                  </a:lnTo>
                  <a:lnTo>
                    <a:pt x="126" y="218"/>
                  </a:lnTo>
                  <a:lnTo>
                    <a:pt x="123" y="221"/>
                  </a:lnTo>
                  <a:lnTo>
                    <a:pt x="119" y="222"/>
                  </a:lnTo>
                  <a:lnTo>
                    <a:pt x="119" y="222"/>
                  </a:lnTo>
                  <a:lnTo>
                    <a:pt x="117" y="224"/>
                  </a:lnTo>
                  <a:lnTo>
                    <a:pt x="117" y="228"/>
                  </a:lnTo>
                  <a:lnTo>
                    <a:pt x="117" y="232"/>
                  </a:lnTo>
                  <a:lnTo>
                    <a:pt x="117" y="234"/>
                  </a:lnTo>
                  <a:lnTo>
                    <a:pt x="119" y="234"/>
                  </a:lnTo>
                  <a:lnTo>
                    <a:pt x="119" y="234"/>
                  </a:lnTo>
                  <a:lnTo>
                    <a:pt x="126" y="226"/>
                  </a:lnTo>
                  <a:lnTo>
                    <a:pt x="130" y="222"/>
                  </a:lnTo>
                  <a:lnTo>
                    <a:pt x="133" y="221"/>
                  </a:lnTo>
                  <a:lnTo>
                    <a:pt x="133" y="221"/>
                  </a:lnTo>
                  <a:lnTo>
                    <a:pt x="139" y="222"/>
                  </a:lnTo>
                  <a:lnTo>
                    <a:pt x="140" y="222"/>
                  </a:lnTo>
                  <a:lnTo>
                    <a:pt x="140" y="225"/>
                  </a:lnTo>
                  <a:lnTo>
                    <a:pt x="140" y="225"/>
                  </a:lnTo>
                  <a:lnTo>
                    <a:pt x="140" y="228"/>
                  </a:lnTo>
                  <a:lnTo>
                    <a:pt x="139" y="231"/>
                  </a:lnTo>
                  <a:lnTo>
                    <a:pt x="139" y="232"/>
                  </a:lnTo>
                  <a:lnTo>
                    <a:pt x="142" y="231"/>
                  </a:lnTo>
                  <a:lnTo>
                    <a:pt x="142" y="231"/>
                  </a:lnTo>
                  <a:lnTo>
                    <a:pt x="149" y="228"/>
                  </a:lnTo>
                  <a:lnTo>
                    <a:pt x="155" y="226"/>
                  </a:lnTo>
                  <a:lnTo>
                    <a:pt x="155" y="226"/>
                  </a:lnTo>
                  <a:lnTo>
                    <a:pt x="158" y="226"/>
                  </a:lnTo>
                  <a:lnTo>
                    <a:pt x="159" y="229"/>
                  </a:lnTo>
                  <a:lnTo>
                    <a:pt x="161" y="232"/>
                  </a:lnTo>
                  <a:lnTo>
                    <a:pt x="161" y="234"/>
                  </a:lnTo>
                  <a:lnTo>
                    <a:pt x="161" y="234"/>
                  </a:lnTo>
                  <a:lnTo>
                    <a:pt x="156" y="237"/>
                  </a:lnTo>
                  <a:lnTo>
                    <a:pt x="156" y="239"/>
                  </a:lnTo>
                  <a:lnTo>
                    <a:pt x="158" y="241"/>
                  </a:lnTo>
                  <a:lnTo>
                    <a:pt x="158" y="241"/>
                  </a:lnTo>
                  <a:lnTo>
                    <a:pt x="162" y="244"/>
                  </a:lnTo>
                  <a:lnTo>
                    <a:pt x="164" y="245"/>
                  </a:lnTo>
                  <a:lnTo>
                    <a:pt x="166" y="245"/>
                  </a:lnTo>
                  <a:lnTo>
                    <a:pt x="166" y="245"/>
                  </a:lnTo>
                  <a:lnTo>
                    <a:pt x="172" y="241"/>
                  </a:lnTo>
                  <a:lnTo>
                    <a:pt x="177" y="239"/>
                  </a:lnTo>
                  <a:lnTo>
                    <a:pt x="180" y="241"/>
                  </a:lnTo>
                  <a:lnTo>
                    <a:pt x="180" y="241"/>
                  </a:lnTo>
                  <a:lnTo>
                    <a:pt x="181" y="245"/>
                  </a:lnTo>
                  <a:lnTo>
                    <a:pt x="181" y="250"/>
                  </a:lnTo>
                  <a:lnTo>
                    <a:pt x="181" y="250"/>
                  </a:lnTo>
                  <a:lnTo>
                    <a:pt x="182" y="252"/>
                  </a:lnTo>
                  <a:lnTo>
                    <a:pt x="184" y="254"/>
                  </a:lnTo>
                  <a:lnTo>
                    <a:pt x="185" y="257"/>
                  </a:lnTo>
                  <a:lnTo>
                    <a:pt x="182" y="258"/>
                  </a:lnTo>
                  <a:lnTo>
                    <a:pt x="182" y="258"/>
                  </a:lnTo>
                  <a:lnTo>
                    <a:pt x="180" y="260"/>
                  </a:lnTo>
                  <a:lnTo>
                    <a:pt x="177" y="264"/>
                  </a:lnTo>
                  <a:lnTo>
                    <a:pt x="175" y="270"/>
                  </a:lnTo>
                  <a:lnTo>
                    <a:pt x="175" y="270"/>
                  </a:lnTo>
                  <a:lnTo>
                    <a:pt x="174" y="276"/>
                  </a:lnTo>
                  <a:lnTo>
                    <a:pt x="174" y="279"/>
                  </a:lnTo>
                  <a:lnTo>
                    <a:pt x="171" y="281"/>
                  </a:lnTo>
                  <a:lnTo>
                    <a:pt x="171" y="281"/>
                  </a:lnTo>
                  <a:lnTo>
                    <a:pt x="161" y="290"/>
                  </a:lnTo>
                  <a:lnTo>
                    <a:pt x="153" y="294"/>
                  </a:lnTo>
                  <a:lnTo>
                    <a:pt x="149" y="296"/>
                  </a:lnTo>
                  <a:lnTo>
                    <a:pt x="149" y="296"/>
                  </a:lnTo>
                  <a:lnTo>
                    <a:pt x="142" y="293"/>
                  </a:lnTo>
                  <a:lnTo>
                    <a:pt x="133" y="290"/>
                  </a:lnTo>
                  <a:lnTo>
                    <a:pt x="133" y="290"/>
                  </a:lnTo>
                  <a:lnTo>
                    <a:pt x="132" y="287"/>
                  </a:lnTo>
                  <a:lnTo>
                    <a:pt x="133" y="283"/>
                  </a:lnTo>
                  <a:lnTo>
                    <a:pt x="133" y="279"/>
                  </a:lnTo>
                  <a:lnTo>
                    <a:pt x="133" y="276"/>
                  </a:lnTo>
                  <a:lnTo>
                    <a:pt x="133" y="276"/>
                  </a:lnTo>
                  <a:lnTo>
                    <a:pt x="130" y="271"/>
                  </a:lnTo>
                  <a:lnTo>
                    <a:pt x="126" y="270"/>
                  </a:lnTo>
                  <a:lnTo>
                    <a:pt x="126" y="270"/>
                  </a:lnTo>
                  <a:lnTo>
                    <a:pt x="122" y="271"/>
                  </a:lnTo>
                  <a:lnTo>
                    <a:pt x="119" y="271"/>
                  </a:lnTo>
                  <a:lnTo>
                    <a:pt x="117" y="268"/>
                  </a:lnTo>
                  <a:lnTo>
                    <a:pt x="117" y="268"/>
                  </a:lnTo>
                  <a:lnTo>
                    <a:pt x="116" y="266"/>
                  </a:lnTo>
                  <a:lnTo>
                    <a:pt x="114" y="261"/>
                  </a:lnTo>
                  <a:lnTo>
                    <a:pt x="113" y="258"/>
                  </a:lnTo>
                  <a:lnTo>
                    <a:pt x="110" y="258"/>
                  </a:lnTo>
                  <a:lnTo>
                    <a:pt x="110" y="258"/>
                  </a:lnTo>
                  <a:lnTo>
                    <a:pt x="110" y="260"/>
                  </a:lnTo>
                  <a:lnTo>
                    <a:pt x="110" y="261"/>
                  </a:lnTo>
                  <a:lnTo>
                    <a:pt x="111" y="268"/>
                  </a:lnTo>
                  <a:lnTo>
                    <a:pt x="114" y="274"/>
                  </a:lnTo>
                  <a:lnTo>
                    <a:pt x="114" y="277"/>
                  </a:lnTo>
                  <a:lnTo>
                    <a:pt x="114" y="277"/>
                  </a:lnTo>
                  <a:lnTo>
                    <a:pt x="114" y="277"/>
                  </a:lnTo>
                  <a:lnTo>
                    <a:pt x="109" y="279"/>
                  </a:lnTo>
                  <a:lnTo>
                    <a:pt x="106" y="279"/>
                  </a:lnTo>
                  <a:lnTo>
                    <a:pt x="103" y="277"/>
                  </a:lnTo>
                  <a:lnTo>
                    <a:pt x="103" y="277"/>
                  </a:lnTo>
                  <a:lnTo>
                    <a:pt x="101" y="274"/>
                  </a:lnTo>
                  <a:lnTo>
                    <a:pt x="101" y="268"/>
                  </a:lnTo>
                  <a:lnTo>
                    <a:pt x="100" y="264"/>
                  </a:lnTo>
                  <a:lnTo>
                    <a:pt x="100" y="264"/>
                  </a:lnTo>
                  <a:lnTo>
                    <a:pt x="98" y="264"/>
                  </a:lnTo>
                  <a:lnTo>
                    <a:pt x="98" y="264"/>
                  </a:lnTo>
                  <a:lnTo>
                    <a:pt x="97" y="266"/>
                  </a:lnTo>
                  <a:lnTo>
                    <a:pt x="97" y="268"/>
                  </a:lnTo>
                  <a:lnTo>
                    <a:pt x="96" y="273"/>
                  </a:lnTo>
                  <a:lnTo>
                    <a:pt x="94" y="274"/>
                  </a:lnTo>
                  <a:lnTo>
                    <a:pt x="94" y="274"/>
                  </a:lnTo>
                  <a:lnTo>
                    <a:pt x="88" y="274"/>
                  </a:lnTo>
                  <a:lnTo>
                    <a:pt x="87" y="273"/>
                  </a:lnTo>
                  <a:lnTo>
                    <a:pt x="85" y="271"/>
                  </a:lnTo>
                  <a:lnTo>
                    <a:pt x="85" y="271"/>
                  </a:lnTo>
                  <a:lnTo>
                    <a:pt x="84" y="264"/>
                  </a:lnTo>
                  <a:lnTo>
                    <a:pt x="81" y="261"/>
                  </a:lnTo>
                  <a:lnTo>
                    <a:pt x="81" y="261"/>
                  </a:lnTo>
                  <a:lnTo>
                    <a:pt x="80" y="261"/>
                  </a:lnTo>
                  <a:lnTo>
                    <a:pt x="80" y="261"/>
                  </a:lnTo>
                  <a:lnTo>
                    <a:pt x="80" y="264"/>
                  </a:lnTo>
                  <a:lnTo>
                    <a:pt x="78" y="268"/>
                  </a:lnTo>
                  <a:lnTo>
                    <a:pt x="78" y="271"/>
                  </a:lnTo>
                  <a:lnTo>
                    <a:pt x="77" y="273"/>
                  </a:lnTo>
                  <a:lnTo>
                    <a:pt x="77" y="273"/>
                  </a:lnTo>
                  <a:lnTo>
                    <a:pt x="75" y="271"/>
                  </a:lnTo>
                  <a:lnTo>
                    <a:pt x="72" y="270"/>
                  </a:lnTo>
                  <a:lnTo>
                    <a:pt x="71" y="268"/>
                  </a:lnTo>
                  <a:lnTo>
                    <a:pt x="68" y="268"/>
                  </a:lnTo>
                  <a:lnTo>
                    <a:pt x="68" y="268"/>
                  </a:lnTo>
                  <a:lnTo>
                    <a:pt x="67" y="271"/>
                  </a:lnTo>
                  <a:lnTo>
                    <a:pt x="67" y="274"/>
                  </a:lnTo>
                  <a:lnTo>
                    <a:pt x="67" y="277"/>
                  </a:lnTo>
                  <a:lnTo>
                    <a:pt x="68" y="279"/>
                  </a:lnTo>
                  <a:lnTo>
                    <a:pt x="68" y="279"/>
                  </a:lnTo>
                  <a:lnTo>
                    <a:pt x="72" y="280"/>
                  </a:lnTo>
                  <a:lnTo>
                    <a:pt x="74" y="281"/>
                  </a:lnTo>
                  <a:lnTo>
                    <a:pt x="74" y="284"/>
                  </a:lnTo>
                  <a:lnTo>
                    <a:pt x="74" y="284"/>
                  </a:lnTo>
                  <a:lnTo>
                    <a:pt x="69" y="289"/>
                  </a:lnTo>
                  <a:lnTo>
                    <a:pt x="68" y="289"/>
                  </a:lnTo>
                  <a:lnTo>
                    <a:pt x="64" y="289"/>
                  </a:lnTo>
                  <a:lnTo>
                    <a:pt x="64" y="289"/>
                  </a:lnTo>
                  <a:lnTo>
                    <a:pt x="59" y="286"/>
                  </a:lnTo>
                  <a:lnTo>
                    <a:pt x="54" y="283"/>
                  </a:lnTo>
                  <a:lnTo>
                    <a:pt x="54" y="283"/>
                  </a:lnTo>
                  <a:lnTo>
                    <a:pt x="52" y="281"/>
                  </a:lnTo>
                  <a:lnTo>
                    <a:pt x="51" y="279"/>
                  </a:lnTo>
                  <a:lnTo>
                    <a:pt x="51" y="273"/>
                  </a:lnTo>
                  <a:lnTo>
                    <a:pt x="51" y="273"/>
                  </a:lnTo>
                  <a:lnTo>
                    <a:pt x="51" y="266"/>
                  </a:lnTo>
                  <a:lnTo>
                    <a:pt x="49" y="263"/>
                  </a:lnTo>
                  <a:lnTo>
                    <a:pt x="49" y="261"/>
                  </a:lnTo>
                  <a:lnTo>
                    <a:pt x="49" y="261"/>
                  </a:lnTo>
                  <a:lnTo>
                    <a:pt x="46" y="270"/>
                  </a:lnTo>
                  <a:lnTo>
                    <a:pt x="45" y="276"/>
                  </a:lnTo>
                  <a:lnTo>
                    <a:pt x="43" y="279"/>
                  </a:lnTo>
                  <a:lnTo>
                    <a:pt x="43" y="279"/>
                  </a:lnTo>
                  <a:lnTo>
                    <a:pt x="39" y="276"/>
                  </a:lnTo>
                  <a:lnTo>
                    <a:pt x="38" y="274"/>
                  </a:lnTo>
                  <a:lnTo>
                    <a:pt x="36" y="271"/>
                  </a:lnTo>
                  <a:lnTo>
                    <a:pt x="36" y="271"/>
                  </a:lnTo>
                  <a:lnTo>
                    <a:pt x="38" y="263"/>
                  </a:lnTo>
                  <a:lnTo>
                    <a:pt x="38" y="260"/>
                  </a:lnTo>
                  <a:lnTo>
                    <a:pt x="36" y="258"/>
                  </a:lnTo>
                  <a:lnTo>
                    <a:pt x="36" y="258"/>
                  </a:lnTo>
                  <a:lnTo>
                    <a:pt x="35" y="263"/>
                  </a:lnTo>
                  <a:lnTo>
                    <a:pt x="33" y="268"/>
                  </a:lnTo>
                  <a:lnTo>
                    <a:pt x="32" y="276"/>
                  </a:lnTo>
                  <a:lnTo>
                    <a:pt x="30" y="277"/>
                  </a:lnTo>
                  <a:lnTo>
                    <a:pt x="29" y="279"/>
                  </a:lnTo>
                  <a:lnTo>
                    <a:pt x="29" y="279"/>
                  </a:lnTo>
                  <a:lnTo>
                    <a:pt x="26" y="279"/>
                  </a:lnTo>
                  <a:lnTo>
                    <a:pt x="23" y="276"/>
                  </a:lnTo>
                  <a:lnTo>
                    <a:pt x="20" y="274"/>
                  </a:lnTo>
                  <a:lnTo>
                    <a:pt x="20" y="270"/>
                  </a:lnTo>
                  <a:lnTo>
                    <a:pt x="20" y="270"/>
                  </a:lnTo>
                  <a:lnTo>
                    <a:pt x="20" y="261"/>
                  </a:lnTo>
                  <a:lnTo>
                    <a:pt x="19" y="257"/>
                  </a:lnTo>
                  <a:lnTo>
                    <a:pt x="17" y="257"/>
                  </a:lnTo>
                  <a:lnTo>
                    <a:pt x="16" y="257"/>
                  </a:lnTo>
                  <a:lnTo>
                    <a:pt x="16" y="257"/>
                  </a:lnTo>
                  <a:lnTo>
                    <a:pt x="13" y="258"/>
                  </a:lnTo>
                  <a:lnTo>
                    <a:pt x="13" y="261"/>
                  </a:lnTo>
                  <a:lnTo>
                    <a:pt x="13" y="263"/>
                  </a:lnTo>
                  <a:lnTo>
                    <a:pt x="13" y="266"/>
                  </a:lnTo>
                  <a:lnTo>
                    <a:pt x="13" y="266"/>
                  </a:lnTo>
                  <a:lnTo>
                    <a:pt x="12" y="267"/>
                  </a:lnTo>
                  <a:lnTo>
                    <a:pt x="12" y="271"/>
                  </a:lnTo>
                  <a:lnTo>
                    <a:pt x="10" y="276"/>
                  </a:lnTo>
                  <a:lnTo>
                    <a:pt x="10" y="276"/>
                  </a:lnTo>
                  <a:lnTo>
                    <a:pt x="9" y="276"/>
                  </a:lnTo>
                  <a:lnTo>
                    <a:pt x="9" y="276"/>
                  </a:lnTo>
                  <a:lnTo>
                    <a:pt x="7" y="276"/>
                  </a:lnTo>
                  <a:lnTo>
                    <a:pt x="6" y="274"/>
                  </a:lnTo>
                  <a:lnTo>
                    <a:pt x="3" y="270"/>
                  </a:lnTo>
                  <a:lnTo>
                    <a:pt x="3" y="270"/>
                  </a:lnTo>
                  <a:lnTo>
                    <a:pt x="1" y="267"/>
                  </a:lnTo>
                  <a:lnTo>
                    <a:pt x="1" y="264"/>
                  </a:lnTo>
                  <a:lnTo>
                    <a:pt x="1" y="261"/>
                  </a:lnTo>
                  <a:lnTo>
                    <a:pt x="1" y="258"/>
                  </a:lnTo>
                  <a:lnTo>
                    <a:pt x="1" y="258"/>
                  </a:lnTo>
                  <a:lnTo>
                    <a:pt x="0" y="251"/>
                  </a:lnTo>
                  <a:lnTo>
                    <a:pt x="1" y="248"/>
                  </a:lnTo>
                  <a:lnTo>
                    <a:pt x="1" y="247"/>
                  </a:lnTo>
                  <a:lnTo>
                    <a:pt x="1" y="247"/>
                  </a:lnTo>
                  <a:lnTo>
                    <a:pt x="10" y="239"/>
                  </a:lnTo>
                  <a:lnTo>
                    <a:pt x="16" y="235"/>
                  </a:lnTo>
                  <a:lnTo>
                    <a:pt x="20" y="232"/>
                  </a:lnTo>
                  <a:lnTo>
                    <a:pt x="20" y="232"/>
                  </a:lnTo>
                  <a:lnTo>
                    <a:pt x="23" y="232"/>
                  </a:lnTo>
                  <a:lnTo>
                    <a:pt x="25" y="234"/>
                  </a:lnTo>
                  <a:lnTo>
                    <a:pt x="27" y="234"/>
                  </a:lnTo>
                  <a:lnTo>
                    <a:pt x="29" y="232"/>
                  </a:lnTo>
                  <a:lnTo>
                    <a:pt x="29" y="232"/>
                  </a:lnTo>
                  <a:lnTo>
                    <a:pt x="35" y="228"/>
                  </a:lnTo>
                  <a:lnTo>
                    <a:pt x="36" y="225"/>
                  </a:lnTo>
                  <a:lnTo>
                    <a:pt x="35" y="222"/>
                  </a:lnTo>
                  <a:lnTo>
                    <a:pt x="35" y="222"/>
                  </a:lnTo>
                  <a:lnTo>
                    <a:pt x="35" y="219"/>
                  </a:lnTo>
                  <a:lnTo>
                    <a:pt x="36" y="218"/>
                  </a:lnTo>
                  <a:lnTo>
                    <a:pt x="38" y="216"/>
                  </a:lnTo>
                  <a:lnTo>
                    <a:pt x="38" y="215"/>
                  </a:lnTo>
                  <a:lnTo>
                    <a:pt x="38" y="215"/>
                  </a:lnTo>
                  <a:lnTo>
                    <a:pt x="35" y="215"/>
                  </a:lnTo>
                  <a:lnTo>
                    <a:pt x="33" y="216"/>
                  </a:lnTo>
                  <a:lnTo>
                    <a:pt x="30" y="218"/>
                  </a:lnTo>
                  <a:lnTo>
                    <a:pt x="29" y="216"/>
                  </a:lnTo>
                  <a:lnTo>
                    <a:pt x="29" y="216"/>
                  </a:lnTo>
                  <a:lnTo>
                    <a:pt x="27" y="213"/>
                  </a:lnTo>
                  <a:lnTo>
                    <a:pt x="27" y="210"/>
                  </a:lnTo>
                  <a:lnTo>
                    <a:pt x="27" y="208"/>
                  </a:lnTo>
                  <a:lnTo>
                    <a:pt x="26" y="205"/>
                  </a:lnTo>
                  <a:lnTo>
                    <a:pt x="26" y="205"/>
                  </a:lnTo>
                  <a:lnTo>
                    <a:pt x="20" y="197"/>
                  </a:lnTo>
                  <a:lnTo>
                    <a:pt x="17" y="195"/>
                  </a:lnTo>
                  <a:lnTo>
                    <a:pt x="16" y="190"/>
                  </a:lnTo>
                  <a:lnTo>
                    <a:pt x="16" y="190"/>
                  </a:lnTo>
                  <a:lnTo>
                    <a:pt x="16" y="184"/>
                  </a:lnTo>
                  <a:lnTo>
                    <a:pt x="17" y="182"/>
                  </a:lnTo>
                  <a:lnTo>
                    <a:pt x="19" y="180"/>
                  </a:lnTo>
                  <a:lnTo>
                    <a:pt x="19" y="180"/>
                  </a:lnTo>
                  <a:lnTo>
                    <a:pt x="23" y="179"/>
                  </a:lnTo>
                  <a:lnTo>
                    <a:pt x="25" y="177"/>
                  </a:lnTo>
                  <a:lnTo>
                    <a:pt x="27" y="176"/>
                  </a:lnTo>
                  <a:lnTo>
                    <a:pt x="27" y="176"/>
                  </a:lnTo>
                  <a:lnTo>
                    <a:pt x="38" y="176"/>
                  </a:lnTo>
                  <a:lnTo>
                    <a:pt x="43" y="176"/>
                  </a:lnTo>
                  <a:lnTo>
                    <a:pt x="46" y="179"/>
                  </a:lnTo>
                  <a:lnTo>
                    <a:pt x="46" y="179"/>
                  </a:lnTo>
                  <a:lnTo>
                    <a:pt x="52" y="190"/>
                  </a:lnTo>
                  <a:lnTo>
                    <a:pt x="55" y="196"/>
                  </a:lnTo>
                  <a:lnTo>
                    <a:pt x="56" y="200"/>
                  </a:lnTo>
                  <a:lnTo>
                    <a:pt x="56" y="200"/>
                  </a:lnTo>
                  <a:lnTo>
                    <a:pt x="56" y="203"/>
                  </a:lnTo>
                  <a:lnTo>
                    <a:pt x="62" y="208"/>
                  </a:lnTo>
                  <a:lnTo>
                    <a:pt x="62" y="208"/>
                  </a:lnTo>
                  <a:lnTo>
                    <a:pt x="74" y="213"/>
                  </a:lnTo>
                  <a:lnTo>
                    <a:pt x="78" y="215"/>
                  </a:lnTo>
                  <a:lnTo>
                    <a:pt x="80" y="215"/>
                  </a:lnTo>
                  <a:lnTo>
                    <a:pt x="80" y="215"/>
                  </a:lnTo>
                  <a:lnTo>
                    <a:pt x="81" y="212"/>
                  </a:lnTo>
                  <a:lnTo>
                    <a:pt x="82" y="210"/>
                  </a:lnTo>
                  <a:lnTo>
                    <a:pt x="85" y="210"/>
                  </a:lnTo>
                  <a:lnTo>
                    <a:pt x="85" y="210"/>
                  </a:lnTo>
                  <a:lnTo>
                    <a:pt x="90" y="212"/>
                  </a:lnTo>
                  <a:lnTo>
                    <a:pt x="91" y="212"/>
                  </a:lnTo>
                  <a:lnTo>
                    <a:pt x="93" y="210"/>
                  </a:lnTo>
                  <a:lnTo>
                    <a:pt x="93" y="210"/>
                  </a:lnTo>
                  <a:lnTo>
                    <a:pt x="96" y="202"/>
                  </a:lnTo>
                  <a:lnTo>
                    <a:pt x="97" y="196"/>
                  </a:lnTo>
                  <a:lnTo>
                    <a:pt x="100" y="192"/>
                  </a:lnTo>
                  <a:lnTo>
                    <a:pt x="100" y="192"/>
                  </a:lnTo>
                  <a:lnTo>
                    <a:pt x="103" y="186"/>
                  </a:lnTo>
                  <a:lnTo>
                    <a:pt x="106" y="176"/>
                  </a:lnTo>
                  <a:lnTo>
                    <a:pt x="106" y="168"/>
                  </a:lnTo>
                  <a:lnTo>
                    <a:pt x="106" y="166"/>
                  </a:lnTo>
                  <a:lnTo>
                    <a:pt x="106" y="166"/>
                  </a:lnTo>
                  <a:lnTo>
                    <a:pt x="104" y="167"/>
                  </a:lnTo>
                  <a:lnTo>
                    <a:pt x="103" y="170"/>
                  </a:lnTo>
                  <a:lnTo>
                    <a:pt x="103" y="174"/>
                  </a:lnTo>
                  <a:lnTo>
                    <a:pt x="101" y="177"/>
                  </a:lnTo>
                  <a:lnTo>
                    <a:pt x="101" y="177"/>
                  </a:lnTo>
                  <a:lnTo>
                    <a:pt x="94" y="190"/>
                  </a:lnTo>
                  <a:lnTo>
                    <a:pt x="90" y="197"/>
                  </a:lnTo>
                  <a:lnTo>
                    <a:pt x="88" y="200"/>
                  </a:lnTo>
                  <a:lnTo>
                    <a:pt x="85" y="202"/>
                  </a:lnTo>
                  <a:lnTo>
                    <a:pt x="85" y="202"/>
                  </a:lnTo>
                  <a:lnTo>
                    <a:pt x="80" y="200"/>
                  </a:lnTo>
                  <a:lnTo>
                    <a:pt x="77" y="199"/>
                  </a:lnTo>
                  <a:lnTo>
                    <a:pt x="74" y="197"/>
                  </a:lnTo>
                  <a:lnTo>
                    <a:pt x="74" y="197"/>
                  </a:lnTo>
                  <a:lnTo>
                    <a:pt x="71" y="193"/>
                  </a:lnTo>
                  <a:lnTo>
                    <a:pt x="69" y="192"/>
                  </a:lnTo>
                  <a:lnTo>
                    <a:pt x="69" y="192"/>
                  </a:lnTo>
                  <a:lnTo>
                    <a:pt x="67" y="190"/>
                  </a:lnTo>
                  <a:lnTo>
                    <a:pt x="65" y="187"/>
                  </a:lnTo>
                  <a:lnTo>
                    <a:pt x="64" y="182"/>
                  </a:lnTo>
                  <a:lnTo>
                    <a:pt x="64" y="182"/>
                  </a:lnTo>
                  <a:lnTo>
                    <a:pt x="62" y="177"/>
                  </a:lnTo>
                  <a:lnTo>
                    <a:pt x="61" y="173"/>
                  </a:lnTo>
                  <a:lnTo>
                    <a:pt x="58" y="170"/>
                  </a:lnTo>
                  <a:lnTo>
                    <a:pt x="58" y="170"/>
                  </a:lnTo>
                  <a:lnTo>
                    <a:pt x="58" y="168"/>
                  </a:lnTo>
                  <a:lnTo>
                    <a:pt x="59" y="167"/>
                  </a:lnTo>
                  <a:lnTo>
                    <a:pt x="64" y="167"/>
                  </a:lnTo>
                  <a:lnTo>
                    <a:pt x="65" y="166"/>
                  </a:lnTo>
                  <a:lnTo>
                    <a:pt x="65" y="166"/>
                  </a:lnTo>
                  <a:lnTo>
                    <a:pt x="68" y="160"/>
                  </a:lnTo>
                  <a:lnTo>
                    <a:pt x="71" y="157"/>
                  </a:lnTo>
                  <a:lnTo>
                    <a:pt x="71" y="157"/>
                  </a:lnTo>
                  <a:lnTo>
                    <a:pt x="74" y="157"/>
                  </a:lnTo>
                  <a:lnTo>
                    <a:pt x="77" y="157"/>
                  </a:lnTo>
                  <a:lnTo>
                    <a:pt x="80" y="157"/>
                  </a:lnTo>
                  <a:lnTo>
                    <a:pt x="80" y="155"/>
                  </a:lnTo>
                  <a:lnTo>
                    <a:pt x="80" y="155"/>
                  </a:lnTo>
                  <a:lnTo>
                    <a:pt x="78" y="153"/>
                  </a:lnTo>
                  <a:lnTo>
                    <a:pt x="77" y="153"/>
                  </a:lnTo>
                  <a:lnTo>
                    <a:pt x="72" y="150"/>
                  </a:lnTo>
                  <a:lnTo>
                    <a:pt x="72" y="150"/>
                  </a:lnTo>
                  <a:lnTo>
                    <a:pt x="72" y="148"/>
                  </a:lnTo>
                  <a:lnTo>
                    <a:pt x="72" y="145"/>
                  </a:lnTo>
                  <a:lnTo>
                    <a:pt x="72" y="141"/>
                  </a:lnTo>
                  <a:lnTo>
                    <a:pt x="71" y="141"/>
                  </a:lnTo>
                  <a:lnTo>
                    <a:pt x="71" y="141"/>
                  </a:lnTo>
                  <a:lnTo>
                    <a:pt x="69" y="141"/>
                  </a:lnTo>
                  <a:lnTo>
                    <a:pt x="68" y="144"/>
                  </a:lnTo>
                  <a:lnTo>
                    <a:pt x="64" y="151"/>
                  </a:lnTo>
                  <a:lnTo>
                    <a:pt x="64" y="151"/>
                  </a:lnTo>
                  <a:lnTo>
                    <a:pt x="61" y="155"/>
                  </a:lnTo>
                  <a:lnTo>
                    <a:pt x="58" y="160"/>
                  </a:lnTo>
                  <a:lnTo>
                    <a:pt x="54" y="161"/>
                  </a:lnTo>
                  <a:lnTo>
                    <a:pt x="51" y="161"/>
                  </a:lnTo>
                  <a:lnTo>
                    <a:pt x="51" y="161"/>
                  </a:lnTo>
                  <a:lnTo>
                    <a:pt x="49" y="161"/>
                  </a:lnTo>
                  <a:lnTo>
                    <a:pt x="49" y="158"/>
                  </a:lnTo>
                  <a:lnTo>
                    <a:pt x="51" y="154"/>
                  </a:lnTo>
                  <a:lnTo>
                    <a:pt x="51" y="154"/>
                  </a:lnTo>
                  <a:lnTo>
                    <a:pt x="52" y="151"/>
                  </a:lnTo>
                  <a:lnTo>
                    <a:pt x="54" y="147"/>
                  </a:lnTo>
                  <a:lnTo>
                    <a:pt x="54" y="144"/>
                  </a:lnTo>
                  <a:lnTo>
                    <a:pt x="52" y="144"/>
                  </a:lnTo>
                  <a:lnTo>
                    <a:pt x="52" y="144"/>
                  </a:lnTo>
                  <a:lnTo>
                    <a:pt x="52" y="144"/>
                  </a:lnTo>
                  <a:lnTo>
                    <a:pt x="48" y="151"/>
                  </a:lnTo>
                  <a:lnTo>
                    <a:pt x="45" y="154"/>
                  </a:lnTo>
                  <a:lnTo>
                    <a:pt x="42" y="155"/>
                  </a:lnTo>
                  <a:lnTo>
                    <a:pt x="42" y="155"/>
                  </a:lnTo>
                  <a:lnTo>
                    <a:pt x="33" y="157"/>
                  </a:lnTo>
                  <a:lnTo>
                    <a:pt x="29" y="157"/>
                  </a:lnTo>
                  <a:lnTo>
                    <a:pt x="29" y="155"/>
                  </a:lnTo>
                  <a:lnTo>
                    <a:pt x="29" y="155"/>
                  </a:lnTo>
                  <a:lnTo>
                    <a:pt x="29" y="155"/>
                  </a:lnTo>
                  <a:lnTo>
                    <a:pt x="30" y="153"/>
                  </a:lnTo>
                  <a:lnTo>
                    <a:pt x="32" y="153"/>
                  </a:lnTo>
                  <a:lnTo>
                    <a:pt x="33" y="151"/>
                  </a:lnTo>
                  <a:lnTo>
                    <a:pt x="33" y="148"/>
                  </a:lnTo>
                  <a:lnTo>
                    <a:pt x="33" y="148"/>
                  </a:lnTo>
                  <a:lnTo>
                    <a:pt x="32" y="142"/>
                  </a:lnTo>
                  <a:lnTo>
                    <a:pt x="30" y="138"/>
                  </a:lnTo>
                  <a:lnTo>
                    <a:pt x="30" y="138"/>
                  </a:lnTo>
                  <a:lnTo>
                    <a:pt x="29" y="135"/>
                  </a:lnTo>
                  <a:lnTo>
                    <a:pt x="29" y="132"/>
                  </a:lnTo>
                  <a:lnTo>
                    <a:pt x="30" y="129"/>
                  </a:lnTo>
                  <a:lnTo>
                    <a:pt x="33" y="128"/>
                  </a:lnTo>
                  <a:lnTo>
                    <a:pt x="33" y="128"/>
                  </a:lnTo>
                  <a:lnTo>
                    <a:pt x="36" y="125"/>
                  </a:lnTo>
                  <a:lnTo>
                    <a:pt x="36" y="121"/>
                  </a:lnTo>
                  <a:lnTo>
                    <a:pt x="38" y="115"/>
                  </a:lnTo>
                  <a:lnTo>
                    <a:pt x="38" y="115"/>
                  </a:lnTo>
                  <a:lnTo>
                    <a:pt x="39" y="108"/>
                  </a:lnTo>
                  <a:lnTo>
                    <a:pt x="40" y="105"/>
                  </a:lnTo>
                  <a:lnTo>
                    <a:pt x="43" y="103"/>
                  </a:lnTo>
                  <a:lnTo>
                    <a:pt x="43" y="103"/>
                  </a:lnTo>
                  <a:lnTo>
                    <a:pt x="52" y="102"/>
                  </a:lnTo>
                  <a:lnTo>
                    <a:pt x="58" y="102"/>
                  </a:lnTo>
                  <a:lnTo>
                    <a:pt x="61" y="100"/>
                  </a:lnTo>
                  <a:lnTo>
                    <a:pt x="61" y="100"/>
                  </a:lnTo>
                  <a:lnTo>
                    <a:pt x="64" y="95"/>
                  </a:lnTo>
                  <a:lnTo>
                    <a:pt x="65" y="93"/>
                  </a:lnTo>
                  <a:lnTo>
                    <a:pt x="67" y="95"/>
                  </a:lnTo>
                  <a:lnTo>
                    <a:pt x="67" y="95"/>
                  </a:lnTo>
                  <a:lnTo>
                    <a:pt x="72" y="99"/>
                  </a:lnTo>
                  <a:lnTo>
                    <a:pt x="75" y="100"/>
                  </a:lnTo>
                  <a:lnTo>
                    <a:pt x="78" y="100"/>
                  </a:lnTo>
                  <a:lnTo>
                    <a:pt x="78" y="100"/>
                  </a:lnTo>
                  <a:lnTo>
                    <a:pt x="84" y="102"/>
                  </a:lnTo>
                  <a:lnTo>
                    <a:pt x="88" y="103"/>
                  </a:lnTo>
                  <a:lnTo>
                    <a:pt x="91" y="105"/>
                  </a:lnTo>
                  <a:lnTo>
                    <a:pt x="91" y="105"/>
                  </a:lnTo>
                  <a:lnTo>
                    <a:pt x="101" y="116"/>
                  </a:lnTo>
                  <a:lnTo>
                    <a:pt x="107" y="121"/>
                  </a:lnTo>
                  <a:lnTo>
                    <a:pt x="109" y="122"/>
                  </a:lnTo>
                  <a:lnTo>
                    <a:pt x="110" y="122"/>
                  </a:lnTo>
                  <a:lnTo>
                    <a:pt x="110" y="122"/>
                  </a:lnTo>
                  <a:lnTo>
                    <a:pt x="109" y="118"/>
                  </a:lnTo>
                  <a:lnTo>
                    <a:pt x="109" y="116"/>
                  </a:lnTo>
                  <a:lnTo>
                    <a:pt x="110" y="115"/>
                  </a:lnTo>
                  <a:lnTo>
                    <a:pt x="110" y="115"/>
                  </a:lnTo>
                  <a:lnTo>
                    <a:pt x="111" y="113"/>
                  </a:lnTo>
                  <a:lnTo>
                    <a:pt x="109" y="111"/>
                  </a:lnTo>
                  <a:lnTo>
                    <a:pt x="109" y="111"/>
                  </a:lnTo>
                  <a:lnTo>
                    <a:pt x="100" y="105"/>
                  </a:lnTo>
                  <a:lnTo>
                    <a:pt x="98" y="103"/>
                  </a:lnTo>
                  <a:lnTo>
                    <a:pt x="98" y="102"/>
                  </a:lnTo>
                  <a:lnTo>
                    <a:pt x="98" y="102"/>
                  </a:lnTo>
                  <a:lnTo>
                    <a:pt x="98" y="102"/>
                  </a:lnTo>
                  <a:lnTo>
                    <a:pt x="110" y="103"/>
                  </a:lnTo>
                  <a:lnTo>
                    <a:pt x="116" y="103"/>
                  </a:lnTo>
                  <a:lnTo>
                    <a:pt x="119" y="102"/>
                  </a:lnTo>
                  <a:lnTo>
                    <a:pt x="119" y="102"/>
                  </a:lnTo>
                  <a:lnTo>
                    <a:pt x="122" y="95"/>
                  </a:lnTo>
                  <a:lnTo>
                    <a:pt x="122" y="90"/>
                  </a:lnTo>
                  <a:lnTo>
                    <a:pt x="122" y="89"/>
                  </a:lnTo>
                  <a:lnTo>
                    <a:pt x="122" y="89"/>
                  </a:lnTo>
                  <a:lnTo>
                    <a:pt x="119" y="90"/>
                  </a:lnTo>
                  <a:lnTo>
                    <a:pt x="117" y="93"/>
                  </a:lnTo>
                  <a:lnTo>
                    <a:pt x="113" y="95"/>
                  </a:lnTo>
                  <a:lnTo>
                    <a:pt x="109" y="96"/>
                  </a:lnTo>
                  <a:lnTo>
                    <a:pt x="109" y="96"/>
                  </a:lnTo>
                  <a:lnTo>
                    <a:pt x="101" y="96"/>
                  </a:lnTo>
                  <a:lnTo>
                    <a:pt x="93" y="93"/>
                  </a:lnTo>
                  <a:lnTo>
                    <a:pt x="93" y="93"/>
                  </a:lnTo>
                  <a:lnTo>
                    <a:pt x="82" y="92"/>
                  </a:lnTo>
                  <a:lnTo>
                    <a:pt x="78" y="90"/>
                  </a:lnTo>
                  <a:lnTo>
                    <a:pt x="75" y="87"/>
                  </a:lnTo>
                  <a:lnTo>
                    <a:pt x="75" y="87"/>
                  </a:lnTo>
                  <a:lnTo>
                    <a:pt x="72" y="83"/>
                  </a:lnTo>
                  <a:lnTo>
                    <a:pt x="71" y="82"/>
                  </a:lnTo>
                  <a:lnTo>
                    <a:pt x="72" y="80"/>
                  </a:lnTo>
                  <a:lnTo>
                    <a:pt x="72" y="80"/>
                  </a:lnTo>
                  <a:lnTo>
                    <a:pt x="74" y="79"/>
                  </a:lnTo>
                  <a:lnTo>
                    <a:pt x="77" y="79"/>
                  </a:lnTo>
                  <a:lnTo>
                    <a:pt x="80" y="80"/>
                  </a:lnTo>
                  <a:lnTo>
                    <a:pt x="82" y="82"/>
                  </a:lnTo>
                  <a:lnTo>
                    <a:pt x="82" y="82"/>
                  </a:lnTo>
                  <a:lnTo>
                    <a:pt x="87" y="87"/>
                  </a:lnTo>
                  <a:lnTo>
                    <a:pt x="90" y="87"/>
                  </a:lnTo>
                  <a:lnTo>
                    <a:pt x="90" y="87"/>
                  </a:lnTo>
                  <a:lnTo>
                    <a:pt x="90" y="87"/>
                  </a:lnTo>
                  <a:lnTo>
                    <a:pt x="90" y="83"/>
                  </a:lnTo>
                  <a:lnTo>
                    <a:pt x="88" y="77"/>
                  </a:lnTo>
                  <a:lnTo>
                    <a:pt x="82" y="70"/>
                  </a:lnTo>
                  <a:lnTo>
                    <a:pt x="82" y="70"/>
                  </a:lnTo>
                  <a:lnTo>
                    <a:pt x="80" y="69"/>
                  </a:lnTo>
                  <a:lnTo>
                    <a:pt x="78" y="67"/>
                  </a:lnTo>
                  <a:lnTo>
                    <a:pt x="77" y="63"/>
                  </a:lnTo>
                  <a:lnTo>
                    <a:pt x="77" y="63"/>
                  </a:lnTo>
                  <a:lnTo>
                    <a:pt x="77" y="55"/>
                  </a:lnTo>
                  <a:lnTo>
                    <a:pt x="77" y="53"/>
                  </a:lnTo>
                  <a:lnTo>
                    <a:pt x="74" y="50"/>
                  </a:lnTo>
                  <a:lnTo>
                    <a:pt x="74" y="50"/>
                  </a:lnTo>
                  <a:lnTo>
                    <a:pt x="72" y="45"/>
                  </a:lnTo>
                  <a:lnTo>
                    <a:pt x="69" y="40"/>
                  </a:lnTo>
                  <a:lnTo>
                    <a:pt x="68" y="35"/>
                  </a:lnTo>
                  <a:lnTo>
                    <a:pt x="65" y="32"/>
                  </a:lnTo>
                  <a:lnTo>
                    <a:pt x="65" y="32"/>
                  </a:lnTo>
                  <a:lnTo>
                    <a:pt x="56" y="27"/>
                  </a:lnTo>
                  <a:lnTo>
                    <a:pt x="51" y="24"/>
                  </a:lnTo>
                  <a:lnTo>
                    <a:pt x="48" y="19"/>
                  </a:lnTo>
                  <a:lnTo>
                    <a:pt x="48" y="19"/>
                  </a:lnTo>
                  <a:lnTo>
                    <a:pt x="45" y="9"/>
                  </a:lnTo>
                  <a:lnTo>
                    <a:pt x="4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8" name="Freeform 67"/>
            <p:cNvSpPr>
              <a:spLocks/>
            </p:cNvSpPr>
            <p:nvPr/>
          </p:nvSpPr>
          <p:spPr bwMode="auto">
            <a:xfrm>
              <a:off x="1836738" y="1232329"/>
              <a:ext cx="276225" cy="254000"/>
            </a:xfrm>
            <a:custGeom>
              <a:avLst/>
              <a:gdLst>
                <a:gd name="T0" fmla="*/ 142 w 174"/>
                <a:gd name="T1" fmla="*/ 12 h 160"/>
                <a:gd name="T2" fmla="*/ 133 w 174"/>
                <a:gd name="T3" fmla="*/ 32 h 160"/>
                <a:gd name="T4" fmla="*/ 145 w 174"/>
                <a:gd name="T5" fmla="*/ 28 h 160"/>
                <a:gd name="T6" fmla="*/ 155 w 174"/>
                <a:gd name="T7" fmla="*/ 34 h 160"/>
                <a:gd name="T8" fmla="*/ 155 w 174"/>
                <a:gd name="T9" fmla="*/ 44 h 160"/>
                <a:gd name="T10" fmla="*/ 164 w 174"/>
                <a:gd name="T11" fmla="*/ 38 h 160"/>
                <a:gd name="T12" fmla="*/ 174 w 174"/>
                <a:gd name="T13" fmla="*/ 64 h 160"/>
                <a:gd name="T14" fmla="*/ 151 w 174"/>
                <a:gd name="T15" fmla="*/ 80 h 160"/>
                <a:gd name="T16" fmla="*/ 145 w 174"/>
                <a:gd name="T17" fmla="*/ 87 h 160"/>
                <a:gd name="T18" fmla="*/ 141 w 174"/>
                <a:gd name="T19" fmla="*/ 84 h 160"/>
                <a:gd name="T20" fmla="*/ 136 w 174"/>
                <a:gd name="T21" fmla="*/ 105 h 160"/>
                <a:gd name="T22" fmla="*/ 132 w 174"/>
                <a:gd name="T23" fmla="*/ 115 h 160"/>
                <a:gd name="T24" fmla="*/ 126 w 174"/>
                <a:gd name="T25" fmla="*/ 84 h 160"/>
                <a:gd name="T26" fmla="*/ 122 w 174"/>
                <a:gd name="T27" fmla="*/ 97 h 160"/>
                <a:gd name="T28" fmla="*/ 128 w 174"/>
                <a:gd name="T29" fmla="*/ 119 h 160"/>
                <a:gd name="T30" fmla="*/ 123 w 174"/>
                <a:gd name="T31" fmla="*/ 129 h 160"/>
                <a:gd name="T32" fmla="*/ 113 w 174"/>
                <a:gd name="T33" fmla="*/ 121 h 160"/>
                <a:gd name="T34" fmla="*/ 118 w 174"/>
                <a:gd name="T35" fmla="*/ 135 h 160"/>
                <a:gd name="T36" fmla="*/ 116 w 174"/>
                <a:gd name="T37" fmla="*/ 154 h 160"/>
                <a:gd name="T38" fmla="*/ 110 w 174"/>
                <a:gd name="T39" fmla="*/ 150 h 160"/>
                <a:gd name="T40" fmla="*/ 97 w 174"/>
                <a:gd name="T41" fmla="*/ 125 h 160"/>
                <a:gd name="T42" fmla="*/ 96 w 174"/>
                <a:gd name="T43" fmla="*/ 131 h 160"/>
                <a:gd name="T44" fmla="*/ 102 w 174"/>
                <a:gd name="T45" fmla="*/ 151 h 160"/>
                <a:gd name="T46" fmla="*/ 89 w 174"/>
                <a:gd name="T47" fmla="*/ 148 h 160"/>
                <a:gd name="T48" fmla="*/ 90 w 174"/>
                <a:gd name="T49" fmla="*/ 160 h 160"/>
                <a:gd name="T50" fmla="*/ 65 w 174"/>
                <a:gd name="T51" fmla="*/ 151 h 160"/>
                <a:gd name="T52" fmla="*/ 60 w 174"/>
                <a:gd name="T53" fmla="*/ 142 h 160"/>
                <a:gd name="T54" fmla="*/ 52 w 174"/>
                <a:gd name="T55" fmla="*/ 129 h 160"/>
                <a:gd name="T56" fmla="*/ 70 w 174"/>
                <a:gd name="T57" fmla="*/ 128 h 160"/>
                <a:gd name="T58" fmla="*/ 61 w 174"/>
                <a:gd name="T59" fmla="*/ 121 h 160"/>
                <a:gd name="T60" fmla="*/ 48 w 174"/>
                <a:gd name="T61" fmla="*/ 115 h 160"/>
                <a:gd name="T62" fmla="*/ 52 w 174"/>
                <a:gd name="T63" fmla="*/ 106 h 160"/>
                <a:gd name="T64" fmla="*/ 42 w 174"/>
                <a:gd name="T65" fmla="*/ 96 h 160"/>
                <a:gd name="T66" fmla="*/ 44 w 174"/>
                <a:gd name="T67" fmla="*/ 82 h 160"/>
                <a:gd name="T68" fmla="*/ 55 w 174"/>
                <a:gd name="T69" fmla="*/ 74 h 160"/>
                <a:gd name="T70" fmla="*/ 89 w 174"/>
                <a:gd name="T71" fmla="*/ 67 h 160"/>
                <a:gd name="T72" fmla="*/ 67 w 174"/>
                <a:gd name="T73" fmla="*/ 67 h 160"/>
                <a:gd name="T74" fmla="*/ 64 w 174"/>
                <a:gd name="T75" fmla="*/ 63 h 160"/>
                <a:gd name="T76" fmla="*/ 76 w 174"/>
                <a:gd name="T77" fmla="*/ 57 h 160"/>
                <a:gd name="T78" fmla="*/ 57 w 174"/>
                <a:gd name="T79" fmla="*/ 55 h 160"/>
                <a:gd name="T80" fmla="*/ 51 w 174"/>
                <a:gd name="T81" fmla="*/ 51 h 160"/>
                <a:gd name="T82" fmla="*/ 39 w 174"/>
                <a:gd name="T83" fmla="*/ 64 h 160"/>
                <a:gd name="T84" fmla="*/ 38 w 174"/>
                <a:gd name="T85" fmla="*/ 51 h 160"/>
                <a:gd name="T86" fmla="*/ 29 w 174"/>
                <a:gd name="T87" fmla="*/ 60 h 160"/>
                <a:gd name="T88" fmla="*/ 18 w 174"/>
                <a:gd name="T89" fmla="*/ 55 h 160"/>
                <a:gd name="T90" fmla="*/ 15 w 174"/>
                <a:gd name="T91" fmla="*/ 44 h 160"/>
                <a:gd name="T92" fmla="*/ 31 w 174"/>
                <a:gd name="T93" fmla="*/ 37 h 160"/>
                <a:gd name="T94" fmla="*/ 34 w 174"/>
                <a:gd name="T95" fmla="*/ 29 h 160"/>
                <a:gd name="T96" fmla="*/ 16 w 174"/>
                <a:gd name="T97" fmla="*/ 34 h 160"/>
                <a:gd name="T98" fmla="*/ 5 w 174"/>
                <a:gd name="T99" fmla="*/ 21 h 160"/>
                <a:gd name="T100" fmla="*/ 7 w 174"/>
                <a:gd name="T101" fmla="*/ 9 h 160"/>
                <a:gd name="T102" fmla="*/ 2 w 174"/>
                <a:gd name="T10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4" h="160">
                  <a:moveTo>
                    <a:pt x="2" y="0"/>
                  </a:moveTo>
                  <a:lnTo>
                    <a:pt x="144" y="0"/>
                  </a:lnTo>
                  <a:lnTo>
                    <a:pt x="144" y="0"/>
                  </a:lnTo>
                  <a:lnTo>
                    <a:pt x="142" y="8"/>
                  </a:lnTo>
                  <a:lnTo>
                    <a:pt x="142" y="12"/>
                  </a:lnTo>
                  <a:lnTo>
                    <a:pt x="142" y="12"/>
                  </a:lnTo>
                  <a:lnTo>
                    <a:pt x="141" y="19"/>
                  </a:lnTo>
                  <a:lnTo>
                    <a:pt x="138" y="27"/>
                  </a:lnTo>
                  <a:lnTo>
                    <a:pt x="138" y="27"/>
                  </a:lnTo>
                  <a:lnTo>
                    <a:pt x="133" y="32"/>
                  </a:lnTo>
                  <a:lnTo>
                    <a:pt x="133" y="34"/>
                  </a:lnTo>
                  <a:lnTo>
                    <a:pt x="135" y="34"/>
                  </a:lnTo>
                  <a:lnTo>
                    <a:pt x="135" y="34"/>
                  </a:lnTo>
                  <a:lnTo>
                    <a:pt x="142" y="29"/>
                  </a:lnTo>
                  <a:lnTo>
                    <a:pt x="145" y="28"/>
                  </a:lnTo>
                  <a:lnTo>
                    <a:pt x="146" y="28"/>
                  </a:lnTo>
                  <a:lnTo>
                    <a:pt x="146" y="28"/>
                  </a:lnTo>
                  <a:lnTo>
                    <a:pt x="151" y="31"/>
                  </a:lnTo>
                  <a:lnTo>
                    <a:pt x="154" y="32"/>
                  </a:lnTo>
                  <a:lnTo>
                    <a:pt x="155" y="34"/>
                  </a:lnTo>
                  <a:lnTo>
                    <a:pt x="155" y="34"/>
                  </a:lnTo>
                  <a:lnTo>
                    <a:pt x="154" y="41"/>
                  </a:lnTo>
                  <a:lnTo>
                    <a:pt x="154" y="44"/>
                  </a:lnTo>
                  <a:lnTo>
                    <a:pt x="155" y="44"/>
                  </a:lnTo>
                  <a:lnTo>
                    <a:pt x="155" y="44"/>
                  </a:lnTo>
                  <a:lnTo>
                    <a:pt x="155" y="44"/>
                  </a:lnTo>
                  <a:lnTo>
                    <a:pt x="160" y="40"/>
                  </a:lnTo>
                  <a:lnTo>
                    <a:pt x="161" y="38"/>
                  </a:lnTo>
                  <a:lnTo>
                    <a:pt x="164" y="38"/>
                  </a:lnTo>
                  <a:lnTo>
                    <a:pt x="164" y="38"/>
                  </a:lnTo>
                  <a:lnTo>
                    <a:pt x="167" y="45"/>
                  </a:lnTo>
                  <a:lnTo>
                    <a:pt x="173" y="57"/>
                  </a:lnTo>
                  <a:lnTo>
                    <a:pt x="173" y="57"/>
                  </a:lnTo>
                  <a:lnTo>
                    <a:pt x="174" y="61"/>
                  </a:lnTo>
                  <a:lnTo>
                    <a:pt x="174" y="64"/>
                  </a:lnTo>
                  <a:lnTo>
                    <a:pt x="174" y="66"/>
                  </a:lnTo>
                  <a:lnTo>
                    <a:pt x="174" y="66"/>
                  </a:lnTo>
                  <a:lnTo>
                    <a:pt x="161" y="73"/>
                  </a:lnTo>
                  <a:lnTo>
                    <a:pt x="154" y="77"/>
                  </a:lnTo>
                  <a:lnTo>
                    <a:pt x="151" y="80"/>
                  </a:lnTo>
                  <a:lnTo>
                    <a:pt x="151" y="80"/>
                  </a:lnTo>
                  <a:lnTo>
                    <a:pt x="148" y="84"/>
                  </a:lnTo>
                  <a:lnTo>
                    <a:pt x="146" y="87"/>
                  </a:lnTo>
                  <a:lnTo>
                    <a:pt x="145" y="87"/>
                  </a:lnTo>
                  <a:lnTo>
                    <a:pt x="145" y="87"/>
                  </a:lnTo>
                  <a:lnTo>
                    <a:pt x="144" y="87"/>
                  </a:lnTo>
                  <a:lnTo>
                    <a:pt x="142" y="84"/>
                  </a:lnTo>
                  <a:lnTo>
                    <a:pt x="141" y="84"/>
                  </a:lnTo>
                  <a:lnTo>
                    <a:pt x="141" y="84"/>
                  </a:lnTo>
                  <a:lnTo>
                    <a:pt x="141" y="84"/>
                  </a:lnTo>
                  <a:lnTo>
                    <a:pt x="139" y="95"/>
                  </a:lnTo>
                  <a:lnTo>
                    <a:pt x="139" y="99"/>
                  </a:lnTo>
                  <a:lnTo>
                    <a:pt x="138" y="102"/>
                  </a:lnTo>
                  <a:lnTo>
                    <a:pt x="138" y="102"/>
                  </a:lnTo>
                  <a:lnTo>
                    <a:pt x="136" y="105"/>
                  </a:lnTo>
                  <a:lnTo>
                    <a:pt x="135" y="109"/>
                  </a:lnTo>
                  <a:lnTo>
                    <a:pt x="133" y="113"/>
                  </a:lnTo>
                  <a:lnTo>
                    <a:pt x="133" y="115"/>
                  </a:lnTo>
                  <a:lnTo>
                    <a:pt x="132" y="115"/>
                  </a:lnTo>
                  <a:lnTo>
                    <a:pt x="132" y="115"/>
                  </a:lnTo>
                  <a:lnTo>
                    <a:pt x="131" y="113"/>
                  </a:lnTo>
                  <a:lnTo>
                    <a:pt x="129" y="109"/>
                  </a:lnTo>
                  <a:lnTo>
                    <a:pt x="129" y="99"/>
                  </a:lnTo>
                  <a:lnTo>
                    <a:pt x="128" y="87"/>
                  </a:lnTo>
                  <a:lnTo>
                    <a:pt x="126" y="84"/>
                  </a:lnTo>
                  <a:lnTo>
                    <a:pt x="126" y="83"/>
                  </a:lnTo>
                  <a:lnTo>
                    <a:pt x="126" y="83"/>
                  </a:lnTo>
                  <a:lnTo>
                    <a:pt x="123" y="86"/>
                  </a:lnTo>
                  <a:lnTo>
                    <a:pt x="122" y="89"/>
                  </a:lnTo>
                  <a:lnTo>
                    <a:pt x="122" y="97"/>
                  </a:lnTo>
                  <a:lnTo>
                    <a:pt x="122" y="97"/>
                  </a:lnTo>
                  <a:lnTo>
                    <a:pt x="123" y="106"/>
                  </a:lnTo>
                  <a:lnTo>
                    <a:pt x="126" y="115"/>
                  </a:lnTo>
                  <a:lnTo>
                    <a:pt x="126" y="115"/>
                  </a:lnTo>
                  <a:lnTo>
                    <a:pt x="128" y="119"/>
                  </a:lnTo>
                  <a:lnTo>
                    <a:pt x="128" y="124"/>
                  </a:lnTo>
                  <a:lnTo>
                    <a:pt x="126" y="129"/>
                  </a:lnTo>
                  <a:lnTo>
                    <a:pt x="126" y="129"/>
                  </a:lnTo>
                  <a:lnTo>
                    <a:pt x="125" y="129"/>
                  </a:lnTo>
                  <a:lnTo>
                    <a:pt x="123" y="129"/>
                  </a:lnTo>
                  <a:lnTo>
                    <a:pt x="120" y="125"/>
                  </a:lnTo>
                  <a:lnTo>
                    <a:pt x="118" y="122"/>
                  </a:lnTo>
                  <a:lnTo>
                    <a:pt x="116" y="121"/>
                  </a:lnTo>
                  <a:lnTo>
                    <a:pt x="116" y="121"/>
                  </a:lnTo>
                  <a:lnTo>
                    <a:pt x="113" y="121"/>
                  </a:lnTo>
                  <a:lnTo>
                    <a:pt x="113" y="122"/>
                  </a:lnTo>
                  <a:lnTo>
                    <a:pt x="112" y="125"/>
                  </a:lnTo>
                  <a:lnTo>
                    <a:pt x="113" y="129"/>
                  </a:lnTo>
                  <a:lnTo>
                    <a:pt x="113" y="129"/>
                  </a:lnTo>
                  <a:lnTo>
                    <a:pt x="118" y="135"/>
                  </a:lnTo>
                  <a:lnTo>
                    <a:pt x="119" y="137"/>
                  </a:lnTo>
                  <a:lnTo>
                    <a:pt x="119" y="140"/>
                  </a:lnTo>
                  <a:lnTo>
                    <a:pt x="119" y="140"/>
                  </a:lnTo>
                  <a:lnTo>
                    <a:pt x="118" y="150"/>
                  </a:lnTo>
                  <a:lnTo>
                    <a:pt x="116" y="154"/>
                  </a:lnTo>
                  <a:lnTo>
                    <a:pt x="116" y="155"/>
                  </a:lnTo>
                  <a:lnTo>
                    <a:pt x="115" y="155"/>
                  </a:lnTo>
                  <a:lnTo>
                    <a:pt x="115" y="155"/>
                  </a:lnTo>
                  <a:lnTo>
                    <a:pt x="110" y="151"/>
                  </a:lnTo>
                  <a:lnTo>
                    <a:pt x="110" y="150"/>
                  </a:lnTo>
                  <a:lnTo>
                    <a:pt x="109" y="147"/>
                  </a:lnTo>
                  <a:lnTo>
                    <a:pt x="109" y="147"/>
                  </a:lnTo>
                  <a:lnTo>
                    <a:pt x="107" y="141"/>
                  </a:lnTo>
                  <a:lnTo>
                    <a:pt x="104" y="135"/>
                  </a:lnTo>
                  <a:lnTo>
                    <a:pt x="97" y="125"/>
                  </a:lnTo>
                  <a:lnTo>
                    <a:pt x="97" y="125"/>
                  </a:lnTo>
                  <a:lnTo>
                    <a:pt x="96" y="125"/>
                  </a:lnTo>
                  <a:lnTo>
                    <a:pt x="94" y="126"/>
                  </a:lnTo>
                  <a:lnTo>
                    <a:pt x="96" y="131"/>
                  </a:lnTo>
                  <a:lnTo>
                    <a:pt x="96" y="131"/>
                  </a:lnTo>
                  <a:lnTo>
                    <a:pt x="100" y="141"/>
                  </a:lnTo>
                  <a:lnTo>
                    <a:pt x="104" y="151"/>
                  </a:lnTo>
                  <a:lnTo>
                    <a:pt x="104" y="151"/>
                  </a:lnTo>
                  <a:lnTo>
                    <a:pt x="104" y="153"/>
                  </a:lnTo>
                  <a:lnTo>
                    <a:pt x="102" y="151"/>
                  </a:lnTo>
                  <a:lnTo>
                    <a:pt x="96" y="148"/>
                  </a:lnTo>
                  <a:lnTo>
                    <a:pt x="96" y="148"/>
                  </a:lnTo>
                  <a:lnTo>
                    <a:pt x="91" y="147"/>
                  </a:lnTo>
                  <a:lnTo>
                    <a:pt x="89" y="147"/>
                  </a:lnTo>
                  <a:lnTo>
                    <a:pt x="89" y="148"/>
                  </a:lnTo>
                  <a:lnTo>
                    <a:pt x="89" y="148"/>
                  </a:lnTo>
                  <a:lnTo>
                    <a:pt x="90" y="155"/>
                  </a:lnTo>
                  <a:lnTo>
                    <a:pt x="91" y="158"/>
                  </a:lnTo>
                  <a:lnTo>
                    <a:pt x="91" y="158"/>
                  </a:lnTo>
                  <a:lnTo>
                    <a:pt x="90" y="160"/>
                  </a:lnTo>
                  <a:lnTo>
                    <a:pt x="90" y="160"/>
                  </a:lnTo>
                  <a:lnTo>
                    <a:pt x="78" y="157"/>
                  </a:lnTo>
                  <a:lnTo>
                    <a:pt x="71" y="154"/>
                  </a:lnTo>
                  <a:lnTo>
                    <a:pt x="65" y="151"/>
                  </a:lnTo>
                  <a:lnTo>
                    <a:pt x="65" y="151"/>
                  </a:lnTo>
                  <a:lnTo>
                    <a:pt x="62" y="148"/>
                  </a:lnTo>
                  <a:lnTo>
                    <a:pt x="62" y="147"/>
                  </a:lnTo>
                  <a:lnTo>
                    <a:pt x="62" y="145"/>
                  </a:lnTo>
                  <a:lnTo>
                    <a:pt x="60" y="142"/>
                  </a:lnTo>
                  <a:lnTo>
                    <a:pt x="60" y="142"/>
                  </a:lnTo>
                  <a:lnTo>
                    <a:pt x="55" y="138"/>
                  </a:lnTo>
                  <a:lnTo>
                    <a:pt x="52" y="135"/>
                  </a:lnTo>
                  <a:lnTo>
                    <a:pt x="51" y="131"/>
                  </a:lnTo>
                  <a:lnTo>
                    <a:pt x="52" y="129"/>
                  </a:lnTo>
                  <a:lnTo>
                    <a:pt x="52" y="129"/>
                  </a:lnTo>
                  <a:lnTo>
                    <a:pt x="57" y="128"/>
                  </a:lnTo>
                  <a:lnTo>
                    <a:pt x="62" y="129"/>
                  </a:lnTo>
                  <a:lnTo>
                    <a:pt x="67" y="129"/>
                  </a:lnTo>
                  <a:lnTo>
                    <a:pt x="70" y="129"/>
                  </a:lnTo>
                  <a:lnTo>
                    <a:pt x="70" y="128"/>
                  </a:lnTo>
                  <a:lnTo>
                    <a:pt x="70" y="128"/>
                  </a:lnTo>
                  <a:lnTo>
                    <a:pt x="70" y="125"/>
                  </a:lnTo>
                  <a:lnTo>
                    <a:pt x="67" y="122"/>
                  </a:lnTo>
                  <a:lnTo>
                    <a:pt x="64" y="121"/>
                  </a:lnTo>
                  <a:lnTo>
                    <a:pt x="61" y="121"/>
                  </a:lnTo>
                  <a:lnTo>
                    <a:pt x="61" y="121"/>
                  </a:lnTo>
                  <a:lnTo>
                    <a:pt x="52" y="119"/>
                  </a:lnTo>
                  <a:lnTo>
                    <a:pt x="49" y="118"/>
                  </a:lnTo>
                  <a:lnTo>
                    <a:pt x="48" y="115"/>
                  </a:lnTo>
                  <a:lnTo>
                    <a:pt x="48" y="115"/>
                  </a:lnTo>
                  <a:lnTo>
                    <a:pt x="45" y="109"/>
                  </a:lnTo>
                  <a:lnTo>
                    <a:pt x="45" y="108"/>
                  </a:lnTo>
                  <a:lnTo>
                    <a:pt x="47" y="106"/>
                  </a:lnTo>
                  <a:lnTo>
                    <a:pt x="47" y="106"/>
                  </a:lnTo>
                  <a:lnTo>
                    <a:pt x="52" y="106"/>
                  </a:lnTo>
                  <a:lnTo>
                    <a:pt x="52" y="105"/>
                  </a:lnTo>
                  <a:lnTo>
                    <a:pt x="51" y="105"/>
                  </a:lnTo>
                  <a:lnTo>
                    <a:pt x="51" y="105"/>
                  </a:lnTo>
                  <a:lnTo>
                    <a:pt x="48" y="102"/>
                  </a:lnTo>
                  <a:lnTo>
                    <a:pt x="42" y="96"/>
                  </a:lnTo>
                  <a:lnTo>
                    <a:pt x="39" y="92"/>
                  </a:lnTo>
                  <a:lnTo>
                    <a:pt x="39" y="89"/>
                  </a:lnTo>
                  <a:lnTo>
                    <a:pt x="39" y="87"/>
                  </a:lnTo>
                  <a:lnTo>
                    <a:pt x="39" y="87"/>
                  </a:lnTo>
                  <a:lnTo>
                    <a:pt x="44" y="82"/>
                  </a:lnTo>
                  <a:lnTo>
                    <a:pt x="47" y="79"/>
                  </a:lnTo>
                  <a:lnTo>
                    <a:pt x="47" y="79"/>
                  </a:lnTo>
                  <a:lnTo>
                    <a:pt x="48" y="77"/>
                  </a:lnTo>
                  <a:lnTo>
                    <a:pt x="51" y="76"/>
                  </a:lnTo>
                  <a:lnTo>
                    <a:pt x="55" y="74"/>
                  </a:lnTo>
                  <a:lnTo>
                    <a:pt x="60" y="74"/>
                  </a:lnTo>
                  <a:lnTo>
                    <a:pt x="60" y="74"/>
                  </a:lnTo>
                  <a:lnTo>
                    <a:pt x="67" y="74"/>
                  </a:lnTo>
                  <a:lnTo>
                    <a:pt x="76" y="71"/>
                  </a:lnTo>
                  <a:lnTo>
                    <a:pt x="89" y="67"/>
                  </a:lnTo>
                  <a:lnTo>
                    <a:pt x="89" y="67"/>
                  </a:lnTo>
                  <a:lnTo>
                    <a:pt x="89" y="66"/>
                  </a:lnTo>
                  <a:lnTo>
                    <a:pt x="87" y="66"/>
                  </a:lnTo>
                  <a:lnTo>
                    <a:pt x="77" y="66"/>
                  </a:lnTo>
                  <a:lnTo>
                    <a:pt x="67" y="67"/>
                  </a:lnTo>
                  <a:lnTo>
                    <a:pt x="62" y="67"/>
                  </a:lnTo>
                  <a:lnTo>
                    <a:pt x="61" y="66"/>
                  </a:lnTo>
                  <a:lnTo>
                    <a:pt x="61" y="66"/>
                  </a:lnTo>
                  <a:lnTo>
                    <a:pt x="62" y="64"/>
                  </a:lnTo>
                  <a:lnTo>
                    <a:pt x="64" y="63"/>
                  </a:lnTo>
                  <a:lnTo>
                    <a:pt x="70" y="61"/>
                  </a:lnTo>
                  <a:lnTo>
                    <a:pt x="76" y="58"/>
                  </a:lnTo>
                  <a:lnTo>
                    <a:pt x="77" y="58"/>
                  </a:lnTo>
                  <a:lnTo>
                    <a:pt x="76" y="57"/>
                  </a:lnTo>
                  <a:lnTo>
                    <a:pt x="76" y="57"/>
                  </a:lnTo>
                  <a:lnTo>
                    <a:pt x="61" y="54"/>
                  </a:lnTo>
                  <a:lnTo>
                    <a:pt x="61" y="54"/>
                  </a:lnTo>
                  <a:lnTo>
                    <a:pt x="60" y="54"/>
                  </a:lnTo>
                  <a:lnTo>
                    <a:pt x="58" y="55"/>
                  </a:lnTo>
                  <a:lnTo>
                    <a:pt x="57" y="55"/>
                  </a:lnTo>
                  <a:lnTo>
                    <a:pt x="54" y="55"/>
                  </a:lnTo>
                  <a:lnTo>
                    <a:pt x="54" y="55"/>
                  </a:lnTo>
                  <a:lnTo>
                    <a:pt x="52" y="54"/>
                  </a:lnTo>
                  <a:lnTo>
                    <a:pt x="52" y="53"/>
                  </a:lnTo>
                  <a:lnTo>
                    <a:pt x="51" y="51"/>
                  </a:lnTo>
                  <a:lnTo>
                    <a:pt x="48" y="53"/>
                  </a:lnTo>
                  <a:lnTo>
                    <a:pt x="48" y="53"/>
                  </a:lnTo>
                  <a:lnTo>
                    <a:pt x="42" y="61"/>
                  </a:lnTo>
                  <a:lnTo>
                    <a:pt x="41" y="64"/>
                  </a:lnTo>
                  <a:lnTo>
                    <a:pt x="39" y="64"/>
                  </a:lnTo>
                  <a:lnTo>
                    <a:pt x="39" y="63"/>
                  </a:lnTo>
                  <a:lnTo>
                    <a:pt x="39" y="63"/>
                  </a:lnTo>
                  <a:lnTo>
                    <a:pt x="38" y="58"/>
                  </a:lnTo>
                  <a:lnTo>
                    <a:pt x="38" y="54"/>
                  </a:lnTo>
                  <a:lnTo>
                    <a:pt x="38" y="51"/>
                  </a:lnTo>
                  <a:lnTo>
                    <a:pt x="38" y="50"/>
                  </a:lnTo>
                  <a:lnTo>
                    <a:pt x="38" y="50"/>
                  </a:lnTo>
                  <a:lnTo>
                    <a:pt x="38" y="50"/>
                  </a:lnTo>
                  <a:lnTo>
                    <a:pt x="32" y="57"/>
                  </a:lnTo>
                  <a:lnTo>
                    <a:pt x="29" y="60"/>
                  </a:lnTo>
                  <a:lnTo>
                    <a:pt x="28" y="60"/>
                  </a:lnTo>
                  <a:lnTo>
                    <a:pt x="26" y="60"/>
                  </a:lnTo>
                  <a:lnTo>
                    <a:pt x="26" y="60"/>
                  </a:lnTo>
                  <a:lnTo>
                    <a:pt x="22" y="57"/>
                  </a:lnTo>
                  <a:lnTo>
                    <a:pt x="18" y="55"/>
                  </a:lnTo>
                  <a:lnTo>
                    <a:pt x="18" y="55"/>
                  </a:lnTo>
                  <a:lnTo>
                    <a:pt x="16" y="54"/>
                  </a:lnTo>
                  <a:lnTo>
                    <a:pt x="13" y="51"/>
                  </a:lnTo>
                  <a:lnTo>
                    <a:pt x="13" y="47"/>
                  </a:lnTo>
                  <a:lnTo>
                    <a:pt x="15" y="44"/>
                  </a:lnTo>
                  <a:lnTo>
                    <a:pt x="15" y="44"/>
                  </a:lnTo>
                  <a:lnTo>
                    <a:pt x="18" y="42"/>
                  </a:lnTo>
                  <a:lnTo>
                    <a:pt x="22" y="41"/>
                  </a:lnTo>
                  <a:lnTo>
                    <a:pt x="26" y="40"/>
                  </a:lnTo>
                  <a:lnTo>
                    <a:pt x="31" y="37"/>
                  </a:lnTo>
                  <a:lnTo>
                    <a:pt x="31" y="37"/>
                  </a:lnTo>
                  <a:lnTo>
                    <a:pt x="34" y="34"/>
                  </a:lnTo>
                  <a:lnTo>
                    <a:pt x="35" y="31"/>
                  </a:lnTo>
                  <a:lnTo>
                    <a:pt x="35" y="29"/>
                  </a:lnTo>
                  <a:lnTo>
                    <a:pt x="34" y="29"/>
                  </a:lnTo>
                  <a:lnTo>
                    <a:pt x="34" y="29"/>
                  </a:lnTo>
                  <a:lnTo>
                    <a:pt x="28" y="31"/>
                  </a:lnTo>
                  <a:lnTo>
                    <a:pt x="22" y="31"/>
                  </a:lnTo>
                  <a:lnTo>
                    <a:pt x="22" y="31"/>
                  </a:lnTo>
                  <a:lnTo>
                    <a:pt x="16" y="34"/>
                  </a:lnTo>
                  <a:lnTo>
                    <a:pt x="13" y="34"/>
                  </a:lnTo>
                  <a:lnTo>
                    <a:pt x="10" y="31"/>
                  </a:lnTo>
                  <a:lnTo>
                    <a:pt x="10" y="31"/>
                  </a:lnTo>
                  <a:lnTo>
                    <a:pt x="7" y="27"/>
                  </a:lnTo>
                  <a:lnTo>
                    <a:pt x="5" y="21"/>
                  </a:lnTo>
                  <a:lnTo>
                    <a:pt x="3" y="13"/>
                  </a:lnTo>
                  <a:lnTo>
                    <a:pt x="3" y="13"/>
                  </a:lnTo>
                  <a:lnTo>
                    <a:pt x="5" y="12"/>
                  </a:lnTo>
                  <a:lnTo>
                    <a:pt x="6" y="11"/>
                  </a:lnTo>
                  <a:lnTo>
                    <a:pt x="7" y="9"/>
                  </a:lnTo>
                  <a:lnTo>
                    <a:pt x="7" y="8"/>
                  </a:lnTo>
                  <a:lnTo>
                    <a:pt x="7" y="8"/>
                  </a:lnTo>
                  <a:lnTo>
                    <a:pt x="2" y="3"/>
                  </a:lnTo>
                  <a:lnTo>
                    <a:pt x="0" y="2"/>
                  </a:lnTo>
                  <a:lnTo>
                    <a:pt x="2" y="0"/>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9" name="Freeform 68"/>
            <p:cNvSpPr>
              <a:spLocks/>
            </p:cNvSpPr>
            <p:nvPr/>
          </p:nvSpPr>
          <p:spPr bwMode="auto">
            <a:xfrm>
              <a:off x="1836738" y="1232329"/>
              <a:ext cx="276225" cy="254000"/>
            </a:xfrm>
            <a:custGeom>
              <a:avLst/>
              <a:gdLst>
                <a:gd name="T0" fmla="*/ 142 w 174"/>
                <a:gd name="T1" fmla="*/ 12 h 160"/>
                <a:gd name="T2" fmla="*/ 133 w 174"/>
                <a:gd name="T3" fmla="*/ 32 h 160"/>
                <a:gd name="T4" fmla="*/ 145 w 174"/>
                <a:gd name="T5" fmla="*/ 28 h 160"/>
                <a:gd name="T6" fmla="*/ 155 w 174"/>
                <a:gd name="T7" fmla="*/ 34 h 160"/>
                <a:gd name="T8" fmla="*/ 155 w 174"/>
                <a:gd name="T9" fmla="*/ 44 h 160"/>
                <a:gd name="T10" fmla="*/ 164 w 174"/>
                <a:gd name="T11" fmla="*/ 38 h 160"/>
                <a:gd name="T12" fmla="*/ 174 w 174"/>
                <a:gd name="T13" fmla="*/ 64 h 160"/>
                <a:gd name="T14" fmla="*/ 151 w 174"/>
                <a:gd name="T15" fmla="*/ 80 h 160"/>
                <a:gd name="T16" fmla="*/ 145 w 174"/>
                <a:gd name="T17" fmla="*/ 87 h 160"/>
                <a:gd name="T18" fmla="*/ 141 w 174"/>
                <a:gd name="T19" fmla="*/ 84 h 160"/>
                <a:gd name="T20" fmla="*/ 136 w 174"/>
                <a:gd name="T21" fmla="*/ 105 h 160"/>
                <a:gd name="T22" fmla="*/ 132 w 174"/>
                <a:gd name="T23" fmla="*/ 115 h 160"/>
                <a:gd name="T24" fmla="*/ 126 w 174"/>
                <a:gd name="T25" fmla="*/ 84 h 160"/>
                <a:gd name="T26" fmla="*/ 122 w 174"/>
                <a:gd name="T27" fmla="*/ 97 h 160"/>
                <a:gd name="T28" fmla="*/ 128 w 174"/>
                <a:gd name="T29" fmla="*/ 119 h 160"/>
                <a:gd name="T30" fmla="*/ 123 w 174"/>
                <a:gd name="T31" fmla="*/ 129 h 160"/>
                <a:gd name="T32" fmla="*/ 113 w 174"/>
                <a:gd name="T33" fmla="*/ 121 h 160"/>
                <a:gd name="T34" fmla="*/ 118 w 174"/>
                <a:gd name="T35" fmla="*/ 135 h 160"/>
                <a:gd name="T36" fmla="*/ 116 w 174"/>
                <a:gd name="T37" fmla="*/ 154 h 160"/>
                <a:gd name="T38" fmla="*/ 110 w 174"/>
                <a:gd name="T39" fmla="*/ 150 h 160"/>
                <a:gd name="T40" fmla="*/ 97 w 174"/>
                <a:gd name="T41" fmla="*/ 125 h 160"/>
                <a:gd name="T42" fmla="*/ 96 w 174"/>
                <a:gd name="T43" fmla="*/ 131 h 160"/>
                <a:gd name="T44" fmla="*/ 102 w 174"/>
                <a:gd name="T45" fmla="*/ 151 h 160"/>
                <a:gd name="T46" fmla="*/ 89 w 174"/>
                <a:gd name="T47" fmla="*/ 148 h 160"/>
                <a:gd name="T48" fmla="*/ 90 w 174"/>
                <a:gd name="T49" fmla="*/ 160 h 160"/>
                <a:gd name="T50" fmla="*/ 65 w 174"/>
                <a:gd name="T51" fmla="*/ 151 h 160"/>
                <a:gd name="T52" fmla="*/ 60 w 174"/>
                <a:gd name="T53" fmla="*/ 142 h 160"/>
                <a:gd name="T54" fmla="*/ 52 w 174"/>
                <a:gd name="T55" fmla="*/ 129 h 160"/>
                <a:gd name="T56" fmla="*/ 70 w 174"/>
                <a:gd name="T57" fmla="*/ 128 h 160"/>
                <a:gd name="T58" fmla="*/ 61 w 174"/>
                <a:gd name="T59" fmla="*/ 121 h 160"/>
                <a:gd name="T60" fmla="*/ 48 w 174"/>
                <a:gd name="T61" fmla="*/ 115 h 160"/>
                <a:gd name="T62" fmla="*/ 52 w 174"/>
                <a:gd name="T63" fmla="*/ 106 h 160"/>
                <a:gd name="T64" fmla="*/ 42 w 174"/>
                <a:gd name="T65" fmla="*/ 96 h 160"/>
                <a:gd name="T66" fmla="*/ 44 w 174"/>
                <a:gd name="T67" fmla="*/ 82 h 160"/>
                <a:gd name="T68" fmla="*/ 55 w 174"/>
                <a:gd name="T69" fmla="*/ 74 h 160"/>
                <a:gd name="T70" fmla="*/ 89 w 174"/>
                <a:gd name="T71" fmla="*/ 67 h 160"/>
                <a:gd name="T72" fmla="*/ 67 w 174"/>
                <a:gd name="T73" fmla="*/ 67 h 160"/>
                <a:gd name="T74" fmla="*/ 64 w 174"/>
                <a:gd name="T75" fmla="*/ 63 h 160"/>
                <a:gd name="T76" fmla="*/ 76 w 174"/>
                <a:gd name="T77" fmla="*/ 57 h 160"/>
                <a:gd name="T78" fmla="*/ 57 w 174"/>
                <a:gd name="T79" fmla="*/ 55 h 160"/>
                <a:gd name="T80" fmla="*/ 51 w 174"/>
                <a:gd name="T81" fmla="*/ 51 h 160"/>
                <a:gd name="T82" fmla="*/ 39 w 174"/>
                <a:gd name="T83" fmla="*/ 64 h 160"/>
                <a:gd name="T84" fmla="*/ 38 w 174"/>
                <a:gd name="T85" fmla="*/ 51 h 160"/>
                <a:gd name="T86" fmla="*/ 29 w 174"/>
                <a:gd name="T87" fmla="*/ 60 h 160"/>
                <a:gd name="T88" fmla="*/ 18 w 174"/>
                <a:gd name="T89" fmla="*/ 55 h 160"/>
                <a:gd name="T90" fmla="*/ 15 w 174"/>
                <a:gd name="T91" fmla="*/ 44 h 160"/>
                <a:gd name="T92" fmla="*/ 31 w 174"/>
                <a:gd name="T93" fmla="*/ 37 h 160"/>
                <a:gd name="T94" fmla="*/ 34 w 174"/>
                <a:gd name="T95" fmla="*/ 29 h 160"/>
                <a:gd name="T96" fmla="*/ 16 w 174"/>
                <a:gd name="T97" fmla="*/ 34 h 160"/>
                <a:gd name="T98" fmla="*/ 5 w 174"/>
                <a:gd name="T99" fmla="*/ 21 h 160"/>
                <a:gd name="T100" fmla="*/ 7 w 174"/>
                <a:gd name="T101" fmla="*/ 9 h 160"/>
                <a:gd name="T102" fmla="*/ 2 w 174"/>
                <a:gd name="T10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4" h="160">
                  <a:moveTo>
                    <a:pt x="2" y="0"/>
                  </a:moveTo>
                  <a:lnTo>
                    <a:pt x="144" y="0"/>
                  </a:lnTo>
                  <a:lnTo>
                    <a:pt x="144" y="0"/>
                  </a:lnTo>
                  <a:lnTo>
                    <a:pt x="142" y="8"/>
                  </a:lnTo>
                  <a:lnTo>
                    <a:pt x="142" y="12"/>
                  </a:lnTo>
                  <a:lnTo>
                    <a:pt x="142" y="12"/>
                  </a:lnTo>
                  <a:lnTo>
                    <a:pt x="141" y="19"/>
                  </a:lnTo>
                  <a:lnTo>
                    <a:pt x="138" y="27"/>
                  </a:lnTo>
                  <a:lnTo>
                    <a:pt x="138" y="27"/>
                  </a:lnTo>
                  <a:lnTo>
                    <a:pt x="133" y="32"/>
                  </a:lnTo>
                  <a:lnTo>
                    <a:pt x="133" y="34"/>
                  </a:lnTo>
                  <a:lnTo>
                    <a:pt x="135" y="34"/>
                  </a:lnTo>
                  <a:lnTo>
                    <a:pt x="135" y="34"/>
                  </a:lnTo>
                  <a:lnTo>
                    <a:pt x="142" y="29"/>
                  </a:lnTo>
                  <a:lnTo>
                    <a:pt x="145" y="28"/>
                  </a:lnTo>
                  <a:lnTo>
                    <a:pt x="146" y="28"/>
                  </a:lnTo>
                  <a:lnTo>
                    <a:pt x="146" y="28"/>
                  </a:lnTo>
                  <a:lnTo>
                    <a:pt x="151" y="31"/>
                  </a:lnTo>
                  <a:lnTo>
                    <a:pt x="154" y="32"/>
                  </a:lnTo>
                  <a:lnTo>
                    <a:pt x="155" y="34"/>
                  </a:lnTo>
                  <a:lnTo>
                    <a:pt x="155" y="34"/>
                  </a:lnTo>
                  <a:lnTo>
                    <a:pt x="154" y="41"/>
                  </a:lnTo>
                  <a:lnTo>
                    <a:pt x="154" y="44"/>
                  </a:lnTo>
                  <a:lnTo>
                    <a:pt x="155" y="44"/>
                  </a:lnTo>
                  <a:lnTo>
                    <a:pt x="155" y="44"/>
                  </a:lnTo>
                  <a:lnTo>
                    <a:pt x="155" y="44"/>
                  </a:lnTo>
                  <a:lnTo>
                    <a:pt x="160" y="40"/>
                  </a:lnTo>
                  <a:lnTo>
                    <a:pt x="161" y="38"/>
                  </a:lnTo>
                  <a:lnTo>
                    <a:pt x="164" y="38"/>
                  </a:lnTo>
                  <a:lnTo>
                    <a:pt x="164" y="38"/>
                  </a:lnTo>
                  <a:lnTo>
                    <a:pt x="167" y="45"/>
                  </a:lnTo>
                  <a:lnTo>
                    <a:pt x="173" y="57"/>
                  </a:lnTo>
                  <a:lnTo>
                    <a:pt x="173" y="57"/>
                  </a:lnTo>
                  <a:lnTo>
                    <a:pt x="174" y="61"/>
                  </a:lnTo>
                  <a:lnTo>
                    <a:pt x="174" y="64"/>
                  </a:lnTo>
                  <a:lnTo>
                    <a:pt x="174" y="66"/>
                  </a:lnTo>
                  <a:lnTo>
                    <a:pt x="174" y="66"/>
                  </a:lnTo>
                  <a:lnTo>
                    <a:pt x="161" y="73"/>
                  </a:lnTo>
                  <a:lnTo>
                    <a:pt x="154" y="77"/>
                  </a:lnTo>
                  <a:lnTo>
                    <a:pt x="151" y="80"/>
                  </a:lnTo>
                  <a:lnTo>
                    <a:pt x="151" y="80"/>
                  </a:lnTo>
                  <a:lnTo>
                    <a:pt x="148" y="84"/>
                  </a:lnTo>
                  <a:lnTo>
                    <a:pt x="146" y="87"/>
                  </a:lnTo>
                  <a:lnTo>
                    <a:pt x="145" y="87"/>
                  </a:lnTo>
                  <a:lnTo>
                    <a:pt x="145" y="87"/>
                  </a:lnTo>
                  <a:lnTo>
                    <a:pt x="144" y="87"/>
                  </a:lnTo>
                  <a:lnTo>
                    <a:pt x="142" y="84"/>
                  </a:lnTo>
                  <a:lnTo>
                    <a:pt x="141" y="84"/>
                  </a:lnTo>
                  <a:lnTo>
                    <a:pt x="141" y="84"/>
                  </a:lnTo>
                  <a:lnTo>
                    <a:pt x="141" y="84"/>
                  </a:lnTo>
                  <a:lnTo>
                    <a:pt x="139" y="95"/>
                  </a:lnTo>
                  <a:lnTo>
                    <a:pt x="139" y="99"/>
                  </a:lnTo>
                  <a:lnTo>
                    <a:pt x="138" y="102"/>
                  </a:lnTo>
                  <a:lnTo>
                    <a:pt x="138" y="102"/>
                  </a:lnTo>
                  <a:lnTo>
                    <a:pt x="136" y="105"/>
                  </a:lnTo>
                  <a:lnTo>
                    <a:pt x="135" y="109"/>
                  </a:lnTo>
                  <a:lnTo>
                    <a:pt x="133" y="113"/>
                  </a:lnTo>
                  <a:lnTo>
                    <a:pt x="133" y="115"/>
                  </a:lnTo>
                  <a:lnTo>
                    <a:pt x="132" y="115"/>
                  </a:lnTo>
                  <a:lnTo>
                    <a:pt x="132" y="115"/>
                  </a:lnTo>
                  <a:lnTo>
                    <a:pt x="131" y="113"/>
                  </a:lnTo>
                  <a:lnTo>
                    <a:pt x="129" y="109"/>
                  </a:lnTo>
                  <a:lnTo>
                    <a:pt x="129" y="99"/>
                  </a:lnTo>
                  <a:lnTo>
                    <a:pt x="128" y="87"/>
                  </a:lnTo>
                  <a:lnTo>
                    <a:pt x="126" y="84"/>
                  </a:lnTo>
                  <a:lnTo>
                    <a:pt x="126" y="83"/>
                  </a:lnTo>
                  <a:lnTo>
                    <a:pt x="126" y="83"/>
                  </a:lnTo>
                  <a:lnTo>
                    <a:pt x="123" y="86"/>
                  </a:lnTo>
                  <a:lnTo>
                    <a:pt x="122" y="89"/>
                  </a:lnTo>
                  <a:lnTo>
                    <a:pt x="122" y="97"/>
                  </a:lnTo>
                  <a:lnTo>
                    <a:pt x="122" y="97"/>
                  </a:lnTo>
                  <a:lnTo>
                    <a:pt x="123" y="106"/>
                  </a:lnTo>
                  <a:lnTo>
                    <a:pt x="126" y="115"/>
                  </a:lnTo>
                  <a:lnTo>
                    <a:pt x="126" y="115"/>
                  </a:lnTo>
                  <a:lnTo>
                    <a:pt x="128" y="119"/>
                  </a:lnTo>
                  <a:lnTo>
                    <a:pt x="128" y="124"/>
                  </a:lnTo>
                  <a:lnTo>
                    <a:pt x="126" y="129"/>
                  </a:lnTo>
                  <a:lnTo>
                    <a:pt x="126" y="129"/>
                  </a:lnTo>
                  <a:lnTo>
                    <a:pt x="125" y="129"/>
                  </a:lnTo>
                  <a:lnTo>
                    <a:pt x="123" y="129"/>
                  </a:lnTo>
                  <a:lnTo>
                    <a:pt x="120" y="125"/>
                  </a:lnTo>
                  <a:lnTo>
                    <a:pt x="118" y="122"/>
                  </a:lnTo>
                  <a:lnTo>
                    <a:pt x="116" y="121"/>
                  </a:lnTo>
                  <a:lnTo>
                    <a:pt x="116" y="121"/>
                  </a:lnTo>
                  <a:lnTo>
                    <a:pt x="113" y="121"/>
                  </a:lnTo>
                  <a:lnTo>
                    <a:pt x="113" y="122"/>
                  </a:lnTo>
                  <a:lnTo>
                    <a:pt x="112" y="125"/>
                  </a:lnTo>
                  <a:lnTo>
                    <a:pt x="113" y="129"/>
                  </a:lnTo>
                  <a:lnTo>
                    <a:pt x="113" y="129"/>
                  </a:lnTo>
                  <a:lnTo>
                    <a:pt x="118" y="135"/>
                  </a:lnTo>
                  <a:lnTo>
                    <a:pt x="119" y="137"/>
                  </a:lnTo>
                  <a:lnTo>
                    <a:pt x="119" y="140"/>
                  </a:lnTo>
                  <a:lnTo>
                    <a:pt x="119" y="140"/>
                  </a:lnTo>
                  <a:lnTo>
                    <a:pt x="118" y="150"/>
                  </a:lnTo>
                  <a:lnTo>
                    <a:pt x="116" y="154"/>
                  </a:lnTo>
                  <a:lnTo>
                    <a:pt x="116" y="155"/>
                  </a:lnTo>
                  <a:lnTo>
                    <a:pt x="115" y="155"/>
                  </a:lnTo>
                  <a:lnTo>
                    <a:pt x="115" y="155"/>
                  </a:lnTo>
                  <a:lnTo>
                    <a:pt x="110" y="151"/>
                  </a:lnTo>
                  <a:lnTo>
                    <a:pt x="110" y="150"/>
                  </a:lnTo>
                  <a:lnTo>
                    <a:pt x="109" y="147"/>
                  </a:lnTo>
                  <a:lnTo>
                    <a:pt x="109" y="147"/>
                  </a:lnTo>
                  <a:lnTo>
                    <a:pt x="107" y="141"/>
                  </a:lnTo>
                  <a:lnTo>
                    <a:pt x="104" y="135"/>
                  </a:lnTo>
                  <a:lnTo>
                    <a:pt x="97" y="125"/>
                  </a:lnTo>
                  <a:lnTo>
                    <a:pt x="97" y="125"/>
                  </a:lnTo>
                  <a:lnTo>
                    <a:pt x="96" y="125"/>
                  </a:lnTo>
                  <a:lnTo>
                    <a:pt x="94" y="126"/>
                  </a:lnTo>
                  <a:lnTo>
                    <a:pt x="96" y="131"/>
                  </a:lnTo>
                  <a:lnTo>
                    <a:pt x="96" y="131"/>
                  </a:lnTo>
                  <a:lnTo>
                    <a:pt x="100" y="141"/>
                  </a:lnTo>
                  <a:lnTo>
                    <a:pt x="104" y="151"/>
                  </a:lnTo>
                  <a:lnTo>
                    <a:pt x="104" y="151"/>
                  </a:lnTo>
                  <a:lnTo>
                    <a:pt x="104" y="153"/>
                  </a:lnTo>
                  <a:lnTo>
                    <a:pt x="102" y="151"/>
                  </a:lnTo>
                  <a:lnTo>
                    <a:pt x="96" y="148"/>
                  </a:lnTo>
                  <a:lnTo>
                    <a:pt x="96" y="148"/>
                  </a:lnTo>
                  <a:lnTo>
                    <a:pt x="91" y="147"/>
                  </a:lnTo>
                  <a:lnTo>
                    <a:pt x="89" y="147"/>
                  </a:lnTo>
                  <a:lnTo>
                    <a:pt x="89" y="148"/>
                  </a:lnTo>
                  <a:lnTo>
                    <a:pt x="89" y="148"/>
                  </a:lnTo>
                  <a:lnTo>
                    <a:pt x="90" y="155"/>
                  </a:lnTo>
                  <a:lnTo>
                    <a:pt x="91" y="158"/>
                  </a:lnTo>
                  <a:lnTo>
                    <a:pt x="91" y="158"/>
                  </a:lnTo>
                  <a:lnTo>
                    <a:pt x="90" y="160"/>
                  </a:lnTo>
                  <a:lnTo>
                    <a:pt x="90" y="160"/>
                  </a:lnTo>
                  <a:lnTo>
                    <a:pt x="78" y="157"/>
                  </a:lnTo>
                  <a:lnTo>
                    <a:pt x="71" y="154"/>
                  </a:lnTo>
                  <a:lnTo>
                    <a:pt x="65" y="151"/>
                  </a:lnTo>
                  <a:lnTo>
                    <a:pt x="65" y="151"/>
                  </a:lnTo>
                  <a:lnTo>
                    <a:pt x="62" y="148"/>
                  </a:lnTo>
                  <a:lnTo>
                    <a:pt x="62" y="147"/>
                  </a:lnTo>
                  <a:lnTo>
                    <a:pt x="62" y="145"/>
                  </a:lnTo>
                  <a:lnTo>
                    <a:pt x="60" y="142"/>
                  </a:lnTo>
                  <a:lnTo>
                    <a:pt x="60" y="142"/>
                  </a:lnTo>
                  <a:lnTo>
                    <a:pt x="55" y="138"/>
                  </a:lnTo>
                  <a:lnTo>
                    <a:pt x="52" y="135"/>
                  </a:lnTo>
                  <a:lnTo>
                    <a:pt x="51" y="131"/>
                  </a:lnTo>
                  <a:lnTo>
                    <a:pt x="52" y="129"/>
                  </a:lnTo>
                  <a:lnTo>
                    <a:pt x="52" y="129"/>
                  </a:lnTo>
                  <a:lnTo>
                    <a:pt x="57" y="128"/>
                  </a:lnTo>
                  <a:lnTo>
                    <a:pt x="62" y="129"/>
                  </a:lnTo>
                  <a:lnTo>
                    <a:pt x="67" y="129"/>
                  </a:lnTo>
                  <a:lnTo>
                    <a:pt x="70" y="129"/>
                  </a:lnTo>
                  <a:lnTo>
                    <a:pt x="70" y="128"/>
                  </a:lnTo>
                  <a:lnTo>
                    <a:pt x="70" y="128"/>
                  </a:lnTo>
                  <a:lnTo>
                    <a:pt x="70" y="125"/>
                  </a:lnTo>
                  <a:lnTo>
                    <a:pt x="67" y="122"/>
                  </a:lnTo>
                  <a:lnTo>
                    <a:pt x="64" y="121"/>
                  </a:lnTo>
                  <a:lnTo>
                    <a:pt x="61" y="121"/>
                  </a:lnTo>
                  <a:lnTo>
                    <a:pt x="61" y="121"/>
                  </a:lnTo>
                  <a:lnTo>
                    <a:pt x="52" y="119"/>
                  </a:lnTo>
                  <a:lnTo>
                    <a:pt x="49" y="118"/>
                  </a:lnTo>
                  <a:lnTo>
                    <a:pt x="48" y="115"/>
                  </a:lnTo>
                  <a:lnTo>
                    <a:pt x="48" y="115"/>
                  </a:lnTo>
                  <a:lnTo>
                    <a:pt x="45" y="109"/>
                  </a:lnTo>
                  <a:lnTo>
                    <a:pt x="45" y="108"/>
                  </a:lnTo>
                  <a:lnTo>
                    <a:pt x="47" y="106"/>
                  </a:lnTo>
                  <a:lnTo>
                    <a:pt x="47" y="106"/>
                  </a:lnTo>
                  <a:lnTo>
                    <a:pt x="52" y="106"/>
                  </a:lnTo>
                  <a:lnTo>
                    <a:pt x="52" y="105"/>
                  </a:lnTo>
                  <a:lnTo>
                    <a:pt x="51" y="105"/>
                  </a:lnTo>
                  <a:lnTo>
                    <a:pt x="51" y="105"/>
                  </a:lnTo>
                  <a:lnTo>
                    <a:pt x="48" y="102"/>
                  </a:lnTo>
                  <a:lnTo>
                    <a:pt x="42" y="96"/>
                  </a:lnTo>
                  <a:lnTo>
                    <a:pt x="39" y="92"/>
                  </a:lnTo>
                  <a:lnTo>
                    <a:pt x="39" y="89"/>
                  </a:lnTo>
                  <a:lnTo>
                    <a:pt x="39" y="87"/>
                  </a:lnTo>
                  <a:lnTo>
                    <a:pt x="39" y="87"/>
                  </a:lnTo>
                  <a:lnTo>
                    <a:pt x="44" y="82"/>
                  </a:lnTo>
                  <a:lnTo>
                    <a:pt x="47" y="79"/>
                  </a:lnTo>
                  <a:lnTo>
                    <a:pt x="47" y="79"/>
                  </a:lnTo>
                  <a:lnTo>
                    <a:pt x="48" y="77"/>
                  </a:lnTo>
                  <a:lnTo>
                    <a:pt x="51" y="76"/>
                  </a:lnTo>
                  <a:lnTo>
                    <a:pt x="55" y="74"/>
                  </a:lnTo>
                  <a:lnTo>
                    <a:pt x="60" y="74"/>
                  </a:lnTo>
                  <a:lnTo>
                    <a:pt x="60" y="74"/>
                  </a:lnTo>
                  <a:lnTo>
                    <a:pt x="67" y="74"/>
                  </a:lnTo>
                  <a:lnTo>
                    <a:pt x="76" y="71"/>
                  </a:lnTo>
                  <a:lnTo>
                    <a:pt x="89" y="67"/>
                  </a:lnTo>
                  <a:lnTo>
                    <a:pt x="89" y="67"/>
                  </a:lnTo>
                  <a:lnTo>
                    <a:pt x="89" y="66"/>
                  </a:lnTo>
                  <a:lnTo>
                    <a:pt x="87" y="66"/>
                  </a:lnTo>
                  <a:lnTo>
                    <a:pt x="77" y="66"/>
                  </a:lnTo>
                  <a:lnTo>
                    <a:pt x="67" y="67"/>
                  </a:lnTo>
                  <a:lnTo>
                    <a:pt x="62" y="67"/>
                  </a:lnTo>
                  <a:lnTo>
                    <a:pt x="61" y="66"/>
                  </a:lnTo>
                  <a:lnTo>
                    <a:pt x="61" y="66"/>
                  </a:lnTo>
                  <a:lnTo>
                    <a:pt x="62" y="64"/>
                  </a:lnTo>
                  <a:lnTo>
                    <a:pt x="64" y="63"/>
                  </a:lnTo>
                  <a:lnTo>
                    <a:pt x="70" y="61"/>
                  </a:lnTo>
                  <a:lnTo>
                    <a:pt x="76" y="58"/>
                  </a:lnTo>
                  <a:lnTo>
                    <a:pt x="77" y="58"/>
                  </a:lnTo>
                  <a:lnTo>
                    <a:pt x="76" y="57"/>
                  </a:lnTo>
                  <a:lnTo>
                    <a:pt x="76" y="57"/>
                  </a:lnTo>
                  <a:lnTo>
                    <a:pt x="61" y="54"/>
                  </a:lnTo>
                  <a:lnTo>
                    <a:pt x="61" y="54"/>
                  </a:lnTo>
                  <a:lnTo>
                    <a:pt x="60" y="54"/>
                  </a:lnTo>
                  <a:lnTo>
                    <a:pt x="58" y="55"/>
                  </a:lnTo>
                  <a:lnTo>
                    <a:pt x="57" y="55"/>
                  </a:lnTo>
                  <a:lnTo>
                    <a:pt x="54" y="55"/>
                  </a:lnTo>
                  <a:lnTo>
                    <a:pt x="54" y="55"/>
                  </a:lnTo>
                  <a:lnTo>
                    <a:pt x="52" y="54"/>
                  </a:lnTo>
                  <a:lnTo>
                    <a:pt x="52" y="53"/>
                  </a:lnTo>
                  <a:lnTo>
                    <a:pt x="51" y="51"/>
                  </a:lnTo>
                  <a:lnTo>
                    <a:pt x="48" y="53"/>
                  </a:lnTo>
                  <a:lnTo>
                    <a:pt x="48" y="53"/>
                  </a:lnTo>
                  <a:lnTo>
                    <a:pt x="42" y="61"/>
                  </a:lnTo>
                  <a:lnTo>
                    <a:pt x="41" y="64"/>
                  </a:lnTo>
                  <a:lnTo>
                    <a:pt x="39" y="64"/>
                  </a:lnTo>
                  <a:lnTo>
                    <a:pt x="39" y="63"/>
                  </a:lnTo>
                  <a:lnTo>
                    <a:pt x="39" y="63"/>
                  </a:lnTo>
                  <a:lnTo>
                    <a:pt x="38" y="58"/>
                  </a:lnTo>
                  <a:lnTo>
                    <a:pt x="38" y="54"/>
                  </a:lnTo>
                  <a:lnTo>
                    <a:pt x="38" y="51"/>
                  </a:lnTo>
                  <a:lnTo>
                    <a:pt x="38" y="50"/>
                  </a:lnTo>
                  <a:lnTo>
                    <a:pt x="38" y="50"/>
                  </a:lnTo>
                  <a:lnTo>
                    <a:pt x="38" y="50"/>
                  </a:lnTo>
                  <a:lnTo>
                    <a:pt x="32" y="57"/>
                  </a:lnTo>
                  <a:lnTo>
                    <a:pt x="29" y="60"/>
                  </a:lnTo>
                  <a:lnTo>
                    <a:pt x="28" y="60"/>
                  </a:lnTo>
                  <a:lnTo>
                    <a:pt x="26" y="60"/>
                  </a:lnTo>
                  <a:lnTo>
                    <a:pt x="26" y="60"/>
                  </a:lnTo>
                  <a:lnTo>
                    <a:pt x="22" y="57"/>
                  </a:lnTo>
                  <a:lnTo>
                    <a:pt x="18" y="55"/>
                  </a:lnTo>
                  <a:lnTo>
                    <a:pt x="18" y="55"/>
                  </a:lnTo>
                  <a:lnTo>
                    <a:pt x="16" y="54"/>
                  </a:lnTo>
                  <a:lnTo>
                    <a:pt x="13" y="51"/>
                  </a:lnTo>
                  <a:lnTo>
                    <a:pt x="13" y="47"/>
                  </a:lnTo>
                  <a:lnTo>
                    <a:pt x="15" y="44"/>
                  </a:lnTo>
                  <a:lnTo>
                    <a:pt x="15" y="44"/>
                  </a:lnTo>
                  <a:lnTo>
                    <a:pt x="18" y="42"/>
                  </a:lnTo>
                  <a:lnTo>
                    <a:pt x="22" y="41"/>
                  </a:lnTo>
                  <a:lnTo>
                    <a:pt x="26" y="40"/>
                  </a:lnTo>
                  <a:lnTo>
                    <a:pt x="31" y="37"/>
                  </a:lnTo>
                  <a:lnTo>
                    <a:pt x="31" y="37"/>
                  </a:lnTo>
                  <a:lnTo>
                    <a:pt x="34" y="34"/>
                  </a:lnTo>
                  <a:lnTo>
                    <a:pt x="35" y="31"/>
                  </a:lnTo>
                  <a:lnTo>
                    <a:pt x="35" y="29"/>
                  </a:lnTo>
                  <a:lnTo>
                    <a:pt x="34" y="29"/>
                  </a:lnTo>
                  <a:lnTo>
                    <a:pt x="34" y="29"/>
                  </a:lnTo>
                  <a:lnTo>
                    <a:pt x="28" y="31"/>
                  </a:lnTo>
                  <a:lnTo>
                    <a:pt x="22" y="31"/>
                  </a:lnTo>
                  <a:lnTo>
                    <a:pt x="22" y="31"/>
                  </a:lnTo>
                  <a:lnTo>
                    <a:pt x="16" y="34"/>
                  </a:lnTo>
                  <a:lnTo>
                    <a:pt x="13" y="34"/>
                  </a:lnTo>
                  <a:lnTo>
                    <a:pt x="10" y="31"/>
                  </a:lnTo>
                  <a:lnTo>
                    <a:pt x="10" y="31"/>
                  </a:lnTo>
                  <a:lnTo>
                    <a:pt x="7" y="27"/>
                  </a:lnTo>
                  <a:lnTo>
                    <a:pt x="5" y="21"/>
                  </a:lnTo>
                  <a:lnTo>
                    <a:pt x="3" y="13"/>
                  </a:lnTo>
                  <a:lnTo>
                    <a:pt x="3" y="13"/>
                  </a:lnTo>
                  <a:lnTo>
                    <a:pt x="5" y="12"/>
                  </a:lnTo>
                  <a:lnTo>
                    <a:pt x="6" y="11"/>
                  </a:lnTo>
                  <a:lnTo>
                    <a:pt x="7" y="9"/>
                  </a:lnTo>
                  <a:lnTo>
                    <a:pt x="7" y="8"/>
                  </a:lnTo>
                  <a:lnTo>
                    <a:pt x="7" y="8"/>
                  </a:lnTo>
                  <a:lnTo>
                    <a:pt x="2" y="3"/>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0" name="Freeform 69"/>
            <p:cNvSpPr>
              <a:spLocks/>
            </p:cNvSpPr>
            <p:nvPr/>
          </p:nvSpPr>
          <p:spPr bwMode="auto">
            <a:xfrm>
              <a:off x="2073275" y="1362504"/>
              <a:ext cx="33338" cy="20638"/>
            </a:xfrm>
            <a:custGeom>
              <a:avLst/>
              <a:gdLst>
                <a:gd name="T0" fmla="*/ 19 w 21"/>
                <a:gd name="T1" fmla="*/ 0 h 13"/>
                <a:gd name="T2" fmla="*/ 19 w 21"/>
                <a:gd name="T3" fmla="*/ 0 h 13"/>
                <a:gd name="T4" fmla="*/ 12 w 21"/>
                <a:gd name="T5" fmla="*/ 2 h 13"/>
                <a:gd name="T6" fmla="*/ 8 w 21"/>
                <a:gd name="T7" fmla="*/ 2 h 13"/>
                <a:gd name="T8" fmla="*/ 6 w 21"/>
                <a:gd name="T9" fmla="*/ 5 h 13"/>
                <a:gd name="T10" fmla="*/ 6 w 21"/>
                <a:gd name="T11" fmla="*/ 5 h 13"/>
                <a:gd name="T12" fmla="*/ 2 w 21"/>
                <a:gd name="T13" fmla="*/ 10 h 13"/>
                <a:gd name="T14" fmla="*/ 0 w 21"/>
                <a:gd name="T15" fmla="*/ 13 h 13"/>
                <a:gd name="T16" fmla="*/ 0 w 21"/>
                <a:gd name="T17" fmla="*/ 13 h 13"/>
                <a:gd name="T18" fmla="*/ 2 w 21"/>
                <a:gd name="T19" fmla="*/ 13 h 13"/>
                <a:gd name="T20" fmla="*/ 2 w 21"/>
                <a:gd name="T21" fmla="*/ 13 h 13"/>
                <a:gd name="T22" fmla="*/ 5 w 21"/>
                <a:gd name="T23" fmla="*/ 13 h 13"/>
                <a:gd name="T24" fmla="*/ 9 w 21"/>
                <a:gd name="T25" fmla="*/ 11 h 13"/>
                <a:gd name="T26" fmla="*/ 15 w 21"/>
                <a:gd name="T27" fmla="*/ 8 h 13"/>
                <a:gd name="T28" fmla="*/ 15 w 21"/>
                <a:gd name="T29" fmla="*/ 8 h 13"/>
                <a:gd name="T30" fmla="*/ 18 w 21"/>
                <a:gd name="T31" fmla="*/ 7 h 13"/>
                <a:gd name="T32" fmla="*/ 19 w 21"/>
                <a:gd name="T33" fmla="*/ 4 h 13"/>
                <a:gd name="T34" fmla="*/ 21 w 21"/>
                <a:gd name="T35" fmla="*/ 1 h 13"/>
                <a:gd name="T36" fmla="*/ 19 w 21"/>
                <a:gd name="T3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 h="13">
                  <a:moveTo>
                    <a:pt x="19" y="0"/>
                  </a:moveTo>
                  <a:lnTo>
                    <a:pt x="19" y="0"/>
                  </a:lnTo>
                  <a:lnTo>
                    <a:pt x="12" y="2"/>
                  </a:lnTo>
                  <a:lnTo>
                    <a:pt x="8" y="2"/>
                  </a:lnTo>
                  <a:lnTo>
                    <a:pt x="6" y="5"/>
                  </a:lnTo>
                  <a:lnTo>
                    <a:pt x="6" y="5"/>
                  </a:lnTo>
                  <a:lnTo>
                    <a:pt x="2" y="10"/>
                  </a:lnTo>
                  <a:lnTo>
                    <a:pt x="0" y="13"/>
                  </a:lnTo>
                  <a:lnTo>
                    <a:pt x="0" y="13"/>
                  </a:lnTo>
                  <a:lnTo>
                    <a:pt x="2" y="13"/>
                  </a:lnTo>
                  <a:lnTo>
                    <a:pt x="2" y="13"/>
                  </a:lnTo>
                  <a:lnTo>
                    <a:pt x="5" y="13"/>
                  </a:lnTo>
                  <a:lnTo>
                    <a:pt x="9" y="11"/>
                  </a:lnTo>
                  <a:lnTo>
                    <a:pt x="15" y="8"/>
                  </a:lnTo>
                  <a:lnTo>
                    <a:pt x="15" y="8"/>
                  </a:lnTo>
                  <a:lnTo>
                    <a:pt x="18" y="7"/>
                  </a:lnTo>
                  <a:lnTo>
                    <a:pt x="19" y="4"/>
                  </a:lnTo>
                  <a:lnTo>
                    <a:pt x="21" y="1"/>
                  </a:lnTo>
                  <a:lnTo>
                    <a:pt x="19" y="0"/>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1" name="Freeform 70"/>
            <p:cNvSpPr>
              <a:spLocks/>
            </p:cNvSpPr>
            <p:nvPr/>
          </p:nvSpPr>
          <p:spPr bwMode="auto">
            <a:xfrm>
              <a:off x="2073275" y="1362504"/>
              <a:ext cx="33338" cy="20638"/>
            </a:xfrm>
            <a:custGeom>
              <a:avLst/>
              <a:gdLst>
                <a:gd name="T0" fmla="*/ 19 w 21"/>
                <a:gd name="T1" fmla="*/ 0 h 13"/>
                <a:gd name="T2" fmla="*/ 19 w 21"/>
                <a:gd name="T3" fmla="*/ 0 h 13"/>
                <a:gd name="T4" fmla="*/ 12 w 21"/>
                <a:gd name="T5" fmla="*/ 2 h 13"/>
                <a:gd name="T6" fmla="*/ 8 w 21"/>
                <a:gd name="T7" fmla="*/ 2 h 13"/>
                <a:gd name="T8" fmla="*/ 6 w 21"/>
                <a:gd name="T9" fmla="*/ 5 h 13"/>
                <a:gd name="T10" fmla="*/ 6 w 21"/>
                <a:gd name="T11" fmla="*/ 5 h 13"/>
                <a:gd name="T12" fmla="*/ 2 w 21"/>
                <a:gd name="T13" fmla="*/ 10 h 13"/>
                <a:gd name="T14" fmla="*/ 0 w 21"/>
                <a:gd name="T15" fmla="*/ 13 h 13"/>
                <a:gd name="T16" fmla="*/ 0 w 21"/>
                <a:gd name="T17" fmla="*/ 13 h 13"/>
                <a:gd name="T18" fmla="*/ 2 w 21"/>
                <a:gd name="T19" fmla="*/ 13 h 13"/>
                <a:gd name="T20" fmla="*/ 2 w 21"/>
                <a:gd name="T21" fmla="*/ 13 h 13"/>
                <a:gd name="T22" fmla="*/ 5 w 21"/>
                <a:gd name="T23" fmla="*/ 13 h 13"/>
                <a:gd name="T24" fmla="*/ 9 w 21"/>
                <a:gd name="T25" fmla="*/ 11 h 13"/>
                <a:gd name="T26" fmla="*/ 15 w 21"/>
                <a:gd name="T27" fmla="*/ 8 h 13"/>
                <a:gd name="T28" fmla="*/ 15 w 21"/>
                <a:gd name="T29" fmla="*/ 8 h 13"/>
                <a:gd name="T30" fmla="*/ 18 w 21"/>
                <a:gd name="T31" fmla="*/ 7 h 13"/>
                <a:gd name="T32" fmla="*/ 19 w 21"/>
                <a:gd name="T33" fmla="*/ 4 h 13"/>
                <a:gd name="T34" fmla="*/ 21 w 21"/>
                <a:gd name="T35" fmla="*/ 1 h 13"/>
                <a:gd name="T36" fmla="*/ 19 w 21"/>
                <a:gd name="T3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 h="13">
                  <a:moveTo>
                    <a:pt x="19" y="0"/>
                  </a:moveTo>
                  <a:lnTo>
                    <a:pt x="19" y="0"/>
                  </a:lnTo>
                  <a:lnTo>
                    <a:pt x="12" y="2"/>
                  </a:lnTo>
                  <a:lnTo>
                    <a:pt x="8" y="2"/>
                  </a:lnTo>
                  <a:lnTo>
                    <a:pt x="6" y="5"/>
                  </a:lnTo>
                  <a:lnTo>
                    <a:pt x="6" y="5"/>
                  </a:lnTo>
                  <a:lnTo>
                    <a:pt x="2" y="10"/>
                  </a:lnTo>
                  <a:lnTo>
                    <a:pt x="0" y="13"/>
                  </a:lnTo>
                  <a:lnTo>
                    <a:pt x="0" y="13"/>
                  </a:lnTo>
                  <a:lnTo>
                    <a:pt x="2" y="13"/>
                  </a:lnTo>
                  <a:lnTo>
                    <a:pt x="2" y="13"/>
                  </a:lnTo>
                  <a:lnTo>
                    <a:pt x="5" y="13"/>
                  </a:lnTo>
                  <a:lnTo>
                    <a:pt x="9" y="11"/>
                  </a:lnTo>
                  <a:lnTo>
                    <a:pt x="15" y="8"/>
                  </a:lnTo>
                  <a:lnTo>
                    <a:pt x="15" y="8"/>
                  </a:lnTo>
                  <a:lnTo>
                    <a:pt x="18" y="7"/>
                  </a:lnTo>
                  <a:lnTo>
                    <a:pt x="19" y="4"/>
                  </a:lnTo>
                  <a:lnTo>
                    <a:pt x="21" y="1"/>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2" name="Freeform 71"/>
            <p:cNvSpPr>
              <a:spLocks/>
            </p:cNvSpPr>
            <p:nvPr/>
          </p:nvSpPr>
          <p:spPr bwMode="auto">
            <a:xfrm>
              <a:off x="1727200" y="1232329"/>
              <a:ext cx="38100" cy="42863"/>
            </a:xfrm>
            <a:custGeom>
              <a:avLst/>
              <a:gdLst>
                <a:gd name="T0" fmla="*/ 23 w 24"/>
                <a:gd name="T1" fmla="*/ 0 h 27"/>
                <a:gd name="T2" fmla="*/ 0 w 24"/>
                <a:gd name="T3" fmla="*/ 0 h 27"/>
                <a:gd name="T4" fmla="*/ 0 w 24"/>
                <a:gd name="T5" fmla="*/ 0 h 27"/>
                <a:gd name="T6" fmla="*/ 0 w 24"/>
                <a:gd name="T7" fmla="*/ 5 h 27"/>
                <a:gd name="T8" fmla="*/ 0 w 24"/>
                <a:gd name="T9" fmla="*/ 8 h 27"/>
                <a:gd name="T10" fmla="*/ 1 w 24"/>
                <a:gd name="T11" fmla="*/ 9 h 27"/>
                <a:gd name="T12" fmla="*/ 1 w 24"/>
                <a:gd name="T13" fmla="*/ 9 h 27"/>
                <a:gd name="T14" fmla="*/ 7 w 24"/>
                <a:gd name="T15" fmla="*/ 11 h 27"/>
                <a:gd name="T16" fmla="*/ 8 w 24"/>
                <a:gd name="T17" fmla="*/ 11 h 27"/>
                <a:gd name="T18" fmla="*/ 10 w 24"/>
                <a:gd name="T19" fmla="*/ 12 h 27"/>
                <a:gd name="T20" fmla="*/ 10 w 24"/>
                <a:gd name="T21" fmla="*/ 12 h 27"/>
                <a:gd name="T22" fmla="*/ 14 w 24"/>
                <a:gd name="T23" fmla="*/ 22 h 27"/>
                <a:gd name="T24" fmla="*/ 17 w 24"/>
                <a:gd name="T25" fmla="*/ 25 h 27"/>
                <a:gd name="T26" fmla="*/ 17 w 24"/>
                <a:gd name="T27" fmla="*/ 27 h 27"/>
                <a:gd name="T28" fmla="*/ 19 w 24"/>
                <a:gd name="T29" fmla="*/ 27 h 27"/>
                <a:gd name="T30" fmla="*/ 19 w 24"/>
                <a:gd name="T31" fmla="*/ 27 h 27"/>
                <a:gd name="T32" fmla="*/ 23 w 24"/>
                <a:gd name="T33" fmla="*/ 12 h 27"/>
                <a:gd name="T34" fmla="*/ 24 w 24"/>
                <a:gd name="T35" fmla="*/ 5 h 27"/>
                <a:gd name="T36" fmla="*/ 24 w 24"/>
                <a:gd name="T37" fmla="*/ 2 h 27"/>
                <a:gd name="T38" fmla="*/ 23 w 24"/>
                <a:gd name="T3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27">
                  <a:moveTo>
                    <a:pt x="23" y="0"/>
                  </a:moveTo>
                  <a:lnTo>
                    <a:pt x="0" y="0"/>
                  </a:lnTo>
                  <a:lnTo>
                    <a:pt x="0" y="0"/>
                  </a:lnTo>
                  <a:lnTo>
                    <a:pt x="0" y="5"/>
                  </a:lnTo>
                  <a:lnTo>
                    <a:pt x="0" y="8"/>
                  </a:lnTo>
                  <a:lnTo>
                    <a:pt x="1" y="9"/>
                  </a:lnTo>
                  <a:lnTo>
                    <a:pt x="1" y="9"/>
                  </a:lnTo>
                  <a:lnTo>
                    <a:pt x="7" y="11"/>
                  </a:lnTo>
                  <a:lnTo>
                    <a:pt x="8" y="11"/>
                  </a:lnTo>
                  <a:lnTo>
                    <a:pt x="10" y="12"/>
                  </a:lnTo>
                  <a:lnTo>
                    <a:pt x="10" y="12"/>
                  </a:lnTo>
                  <a:lnTo>
                    <a:pt x="14" y="22"/>
                  </a:lnTo>
                  <a:lnTo>
                    <a:pt x="17" y="25"/>
                  </a:lnTo>
                  <a:lnTo>
                    <a:pt x="17" y="27"/>
                  </a:lnTo>
                  <a:lnTo>
                    <a:pt x="19" y="27"/>
                  </a:lnTo>
                  <a:lnTo>
                    <a:pt x="19" y="27"/>
                  </a:lnTo>
                  <a:lnTo>
                    <a:pt x="23" y="12"/>
                  </a:lnTo>
                  <a:lnTo>
                    <a:pt x="24" y="5"/>
                  </a:lnTo>
                  <a:lnTo>
                    <a:pt x="24" y="2"/>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3" name="Freeform 72"/>
            <p:cNvSpPr>
              <a:spLocks/>
            </p:cNvSpPr>
            <p:nvPr/>
          </p:nvSpPr>
          <p:spPr bwMode="auto">
            <a:xfrm>
              <a:off x="1727200" y="1232329"/>
              <a:ext cx="38100" cy="42863"/>
            </a:xfrm>
            <a:custGeom>
              <a:avLst/>
              <a:gdLst>
                <a:gd name="T0" fmla="*/ 23 w 24"/>
                <a:gd name="T1" fmla="*/ 0 h 27"/>
                <a:gd name="T2" fmla="*/ 0 w 24"/>
                <a:gd name="T3" fmla="*/ 0 h 27"/>
                <a:gd name="T4" fmla="*/ 0 w 24"/>
                <a:gd name="T5" fmla="*/ 0 h 27"/>
                <a:gd name="T6" fmla="*/ 0 w 24"/>
                <a:gd name="T7" fmla="*/ 5 h 27"/>
                <a:gd name="T8" fmla="*/ 0 w 24"/>
                <a:gd name="T9" fmla="*/ 8 h 27"/>
                <a:gd name="T10" fmla="*/ 1 w 24"/>
                <a:gd name="T11" fmla="*/ 9 h 27"/>
                <a:gd name="T12" fmla="*/ 1 w 24"/>
                <a:gd name="T13" fmla="*/ 9 h 27"/>
                <a:gd name="T14" fmla="*/ 7 w 24"/>
                <a:gd name="T15" fmla="*/ 11 h 27"/>
                <a:gd name="T16" fmla="*/ 8 w 24"/>
                <a:gd name="T17" fmla="*/ 11 h 27"/>
                <a:gd name="T18" fmla="*/ 10 w 24"/>
                <a:gd name="T19" fmla="*/ 12 h 27"/>
                <a:gd name="T20" fmla="*/ 10 w 24"/>
                <a:gd name="T21" fmla="*/ 12 h 27"/>
                <a:gd name="T22" fmla="*/ 14 w 24"/>
                <a:gd name="T23" fmla="*/ 22 h 27"/>
                <a:gd name="T24" fmla="*/ 17 w 24"/>
                <a:gd name="T25" fmla="*/ 25 h 27"/>
                <a:gd name="T26" fmla="*/ 17 w 24"/>
                <a:gd name="T27" fmla="*/ 27 h 27"/>
                <a:gd name="T28" fmla="*/ 19 w 24"/>
                <a:gd name="T29" fmla="*/ 27 h 27"/>
                <a:gd name="T30" fmla="*/ 19 w 24"/>
                <a:gd name="T31" fmla="*/ 27 h 27"/>
                <a:gd name="T32" fmla="*/ 23 w 24"/>
                <a:gd name="T33" fmla="*/ 12 h 27"/>
                <a:gd name="T34" fmla="*/ 24 w 24"/>
                <a:gd name="T35" fmla="*/ 5 h 27"/>
                <a:gd name="T36" fmla="*/ 24 w 24"/>
                <a:gd name="T37" fmla="*/ 2 h 27"/>
                <a:gd name="T38" fmla="*/ 23 w 24"/>
                <a:gd name="T3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27">
                  <a:moveTo>
                    <a:pt x="23" y="0"/>
                  </a:moveTo>
                  <a:lnTo>
                    <a:pt x="0" y="0"/>
                  </a:lnTo>
                  <a:lnTo>
                    <a:pt x="0" y="0"/>
                  </a:lnTo>
                  <a:lnTo>
                    <a:pt x="0" y="5"/>
                  </a:lnTo>
                  <a:lnTo>
                    <a:pt x="0" y="8"/>
                  </a:lnTo>
                  <a:lnTo>
                    <a:pt x="1" y="9"/>
                  </a:lnTo>
                  <a:lnTo>
                    <a:pt x="1" y="9"/>
                  </a:lnTo>
                  <a:lnTo>
                    <a:pt x="7" y="11"/>
                  </a:lnTo>
                  <a:lnTo>
                    <a:pt x="8" y="11"/>
                  </a:lnTo>
                  <a:lnTo>
                    <a:pt x="10" y="12"/>
                  </a:lnTo>
                  <a:lnTo>
                    <a:pt x="10" y="12"/>
                  </a:lnTo>
                  <a:lnTo>
                    <a:pt x="14" y="22"/>
                  </a:lnTo>
                  <a:lnTo>
                    <a:pt x="17" y="25"/>
                  </a:lnTo>
                  <a:lnTo>
                    <a:pt x="17" y="27"/>
                  </a:lnTo>
                  <a:lnTo>
                    <a:pt x="19" y="27"/>
                  </a:lnTo>
                  <a:lnTo>
                    <a:pt x="19" y="27"/>
                  </a:lnTo>
                  <a:lnTo>
                    <a:pt x="23" y="12"/>
                  </a:lnTo>
                  <a:lnTo>
                    <a:pt x="24" y="5"/>
                  </a:lnTo>
                  <a:lnTo>
                    <a:pt x="24" y="2"/>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4" name="Freeform 73"/>
            <p:cNvSpPr>
              <a:spLocks/>
            </p:cNvSpPr>
            <p:nvPr/>
          </p:nvSpPr>
          <p:spPr bwMode="auto">
            <a:xfrm>
              <a:off x="1722438" y="1230741"/>
              <a:ext cx="46038" cy="47625"/>
            </a:xfrm>
            <a:custGeom>
              <a:avLst/>
              <a:gdLst>
                <a:gd name="T0" fmla="*/ 26 w 29"/>
                <a:gd name="T1" fmla="*/ 0 h 30"/>
                <a:gd name="T2" fmla="*/ 1 w 29"/>
                <a:gd name="T3" fmla="*/ 1 h 30"/>
                <a:gd name="T4" fmla="*/ 0 w 29"/>
                <a:gd name="T5" fmla="*/ 7 h 30"/>
                <a:gd name="T6" fmla="*/ 0 w 29"/>
                <a:gd name="T7" fmla="*/ 10 h 30"/>
                <a:gd name="T8" fmla="*/ 1 w 29"/>
                <a:gd name="T9" fmla="*/ 12 h 30"/>
                <a:gd name="T10" fmla="*/ 4 w 29"/>
                <a:gd name="T11" fmla="*/ 13 h 30"/>
                <a:gd name="T12" fmla="*/ 10 w 29"/>
                <a:gd name="T13" fmla="*/ 14 h 30"/>
                <a:gd name="T14" fmla="*/ 10 w 29"/>
                <a:gd name="T15" fmla="*/ 14 h 30"/>
                <a:gd name="T16" fmla="*/ 10 w 29"/>
                <a:gd name="T17" fmla="*/ 14 h 30"/>
                <a:gd name="T18" fmla="*/ 14 w 29"/>
                <a:gd name="T19" fmla="*/ 23 h 30"/>
                <a:gd name="T20" fmla="*/ 17 w 29"/>
                <a:gd name="T21" fmla="*/ 28 h 30"/>
                <a:gd name="T22" fmla="*/ 19 w 29"/>
                <a:gd name="T23" fmla="*/ 29 h 30"/>
                <a:gd name="T24" fmla="*/ 22 w 29"/>
                <a:gd name="T25" fmla="*/ 30 h 30"/>
                <a:gd name="T26" fmla="*/ 23 w 29"/>
                <a:gd name="T27" fmla="*/ 29 h 30"/>
                <a:gd name="T28" fmla="*/ 24 w 29"/>
                <a:gd name="T29" fmla="*/ 28 h 30"/>
                <a:gd name="T30" fmla="*/ 27 w 29"/>
                <a:gd name="T31" fmla="*/ 16 h 30"/>
                <a:gd name="T32" fmla="*/ 29 w 29"/>
                <a:gd name="T33" fmla="*/ 4 h 30"/>
                <a:gd name="T34" fmla="*/ 29 w 29"/>
                <a:gd name="T35" fmla="*/ 1 h 30"/>
                <a:gd name="T36" fmla="*/ 29 w 29"/>
                <a:gd name="T37" fmla="*/ 0 h 30"/>
                <a:gd name="T38" fmla="*/ 26 w 29"/>
                <a:gd name="T39" fmla="*/ 0 h 30"/>
                <a:gd name="T40" fmla="*/ 26 w 29"/>
                <a:gd name="T41" fmla="*/ 1 h 30"/>
                <a:gd name="T42" fmla="*/ 26 w 29"/>
                <a:gd name="T43" fmla="*/ 1 h 30"/>
                <a:gd name="T44" fmla="*/ 26 w 29"/>
                <a:gd name="T45" fmla="*/ 3 h 30"/>
                <a:gd name="T46" fmla="*/ 26 w 29"/>
                <a:gd name="T47" fmla="*/ 4 h 30"/>
                <a:gd name="T48" fmla="*/ 26 w 29"/>
                <a:gd name="T49" fmla="*/ 4 h 30"/>
                <a:gd name="T50" fmla="*/ 24 w 29"/>
                <a:gd name="T51" fmla="*/ 4 h 30"/>
                <a:gd name="T52" fmla="*/ 26 w 29"/>
                <a:gd name="T53" fmla="*/ 4 h 30"/>
                <a:gd name="T54" fmla="*/ 24 w 29"/>
                <a:gd name="T55" fmla="*/ 4 h 30"/>
                <a:gd name="T56" fmla="*/ 24 w 29"/>
                <a:gd name="T57" fmla="*/ 3 h 30"/>
                <a:gd name="T58" fmla="*/ 26 w 29"/>
                <a:gd name="T59" fmla="*/ 3 h 30"/>
                <a:gd name="T60" fmla="*/ 24 w 29"/>
                <a:gd name="T61" fmla="*/ 3 h 30"/>
                <a:gd name="T62" fmla="*/ 24 w 29"/>
                <a:gd name="T63" fmla="*/ 3 h 30"/>
                <a:gd name="T64" fmla="*/ 24 w 29"/>
                <a:gd name="T65" fmla="*/ 3 h 30"/>
                <a:gd name="T66" fmla="*/ 24 w 29"/>
                <a:gd name="T67" fmla="*/ 4 h 30"/>
                <a:gd name="T68" fmla="*/ 22 w 29"/>
                <a:gd name="T69" fmla="*/ 17 h 30"/>
                <a:gd name="T70" fmla="*/ 20 w 29"/>
                <a:gd name="T71" fmla="*/ 23 h 30"/>
                <a:gd name="T72" fmla="*/ 20 w 29"/>
                <a:gd name="T73" fmla="*/ 25 h 30"/>
                <a:gd name="T74" fmla="*/ 19 w 29"/>
                <a:gd name="T75" fmla="*/ 26 h 30"/>
                <a:gd name="T76" fmla="*/ 19 w 29"/>
                <a:gd name="T77" fmla="*/ 26 h 30"/>
                <a:gd name="T78" fmla="*/ 20 w 29"/>
                <a:gd name="T79" fmla="*/ 26 h 30"/>
                <a:gd name="T80" fmla="*/ 22 w 29"/>
                <a:gd name="T81" fmla="*/ 28 h 30"/>
                <a:gd name="T82" fmla="*/ 22 w 29"/>
                <a:gd name="T83" fmla="*/ 25 h 30"/>
                <a:gd name="T84" fmla="*/ 22 w 29"/>
                <a:gd name="T85" fmla="*/ 28 h 30"/>
                <a:gd name="T86" fmla="*/ 22 w 29"/>
                <a:gd name="T87" fmla="*/ 26 h 30"/>
                <a:gd name="T88" fmla="*/ 22 w 29"/>
                <a:gd name="T89" fmla="*/ 25 h 30"/>
                <a:gd name="T90" fmla="*/ 22 w 29"/>
                <a:gd name="T91" fmla="*/ 25 h 30"/>
                <a:gd name="T92" fmla="*/ 22 w 29"/>
                <a:gd name="T93" fmla="*/ 25 h 30"/>
                <a:gd name="T94" fmla="*/ 22 w 29"/>
                <a:gd name="T95" fmla="*/ 26 h 30"/>
                <a:gd name="T96" fmla="*/ 22 w 29"/>
                <a:gd name="T97" fmla="*/ 25 h 30"/>
                <a:gd name="T98" fmla="*/ 20 w 29"/>
                <a:gd name="T99" fmla="*/ 23 h 30"/>
                <a:gd name="T100" fmla="*/ 16 w 29"/>
                <a:gd name="T101" fmla="*/ 13 h 30"/>
                <a:gd name="T102" fmla="*/ 13 w 29"/>
                <a:gd name="T103" fmla="*/ 10 h 30"/>
                <a:gd name="T104" fmla="*/ 10 w 29"/>
                <a:gd name="T105" fmla="*/ 9 h 30"/>
                <a:gd name="T106" fmla="*/ 8 w 29"/>
                <a:gd name="T107" fmla="*/ 9 h 30"/>
                <a:gd name="T108" fmla="*/ 6 w 29"/>
                <a:gd name="T109" fmla="*/ 9 h 30"/>
                <a:gd name="T110" fmla="*/ 6 w 29"/>
                <a:gd name="T111" fmla="*/ 9 h 30"/>
                <a:gd name="T112" fmla="*/ 6 w 29"/>
                <a:gd name="T113" fmla="*/ 9 h 30"/>
                <a:gd name="T114" fmla="*/ 6 w 29"/>
                <a:gd name="T115" fmla="*/ 7 h 30"/>
                <a:gd name="T116" fmla="*/ 6 w 29"/>
                <a:gd name="T117" fmla="*/ 7 h 30"/>
                <a:gd name="T118" fmla="*/ 6 w 29"/>
                <a:gd name="T119" fmla="*/ 3 h 30"/>
                <a:gd name="T120" fmla="*/ 3 w 29"/>
                <a:gd name="T121" fmla="*/ 1 h 30"/>
                <a:gd name="T122" fmla="*/ 26 w 29"/>
                <a:gd name="T123" fmla="*/ 4 h 30"/>
                <a:gd name="T124" fmla="*/ 26 w 29"/>
                <a:gd name="T125"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 h="30">
                  <a:moveTo>
                    <a:pt x="26" y="1"/>
                  </a:moveTo>
                  <a:lnTo>
                    <a:pt x="26" y="0"/>
                  </a:lnTo>
                  <a:lnTo>
                    <a:pt x="1" y="0"/>
                  </a:lnTo>
                  <a:lnTo>
                    <a:pt x="1" y="1"/>
                  </a:lnTo>
                  <a:lnTo>
                    <a:pt x="1" y="1"/>
                  </a:lnTo>
                  <a:lnTo>
                    <a:pt x="0" y="7"/>
                  </a:lnTo>
                  <a:lnTo>
                    <a:pt x="0" y="7"/>
                  </a:lnTo>
                  <a:lnTo>
                    <a:pt x="0" y="10"/>
                  </a:lnTo>
                  <a:lnTo>
                    <a:pt x="0" y="10"/>
                  </a:lnTo>
                  <a:lnTo>
                    <a:pt x="1" y="12"/>
                  </a:lnTo>
                  <a:lnTo>
                    <a:pt x="4" y="13"/>
                  </a:lnTo>
                  <a:lnTo>
                    <a:pt x="4" y="13"/>
                  </a:lnTo>
                  <a:lnTo>
                    <a:pt x="10" y="14"/>
                  </a:lnTo>
                  <a:lnTo>
                    <a:pt x="10" y="14"/>
                  </a:lnTo>
                  <a:lnTo>
                    <a:pt x="10" y="14"/>
                  </a:lnTo>
                  <a:lnTo>
                    <a:pt x="10" y="14"/>
                  </a:lnTo>
                  <a:lnTo>
                    <a:pt x="10" y="14"/>
                  </a:lnTo>
                  <a:lnTo>
                    <a:pt x="10" y="14"/>
                  </a:lnTo>
                  <a:lnTo>
                    <a:pt x="14" y="23"/>
                  </a:lnTo>
                  <a:lnTo>
                    <a:pt x="14" y="23"/>
                  </a:lnTo>
                  <a:lnTo>
                    <a:pt x="17" y="28"/>
                  </a:lnTo>
                  <a:lnTo>
                    <a:pt x="17" y="28"/>
                  </a:lnTo>
                  <a:lnTo>
                    <a:pt x="19" y="29"/>
                  </a:lnTo>
                  <a:lnTo>
                    <a:pt x="19" y="29"/>
                  </a:lnTo>
                  <a:lnTo>
                    <a:pt x="22" y="30"/>
                  </a:lnTo>
                  <a:lnTo>
                    <a:pt x="22" y="30"/>
                  </a:lnTo>
                  <a:lnTo>
                    <a:pt x="23" y="29"/>
                  </a:lnTo>
                  <a:lnTo>
                    <a:pt x="23" y="29"/>
                  </a:lnTo>
                  <a:lnTo>
                    <a:pt x="23" y="29"/>
                  </a:lnTo>
                  <a:lnTo>
                    <a:pt x="24" y="28"/>
                  </a:lnTo>
                  <a:lnTo>
                    <a:pt x="24" y="28"/>
                  </a:lnTo>
                  <a:lnTo>
                    <a:pt x="27" y="16"/>
                  </a:lnTo>
                  <a:lnTo>
                    <a:pt x="27" y="16"/>
                  </a:lnTo>
                  <a:lnTo>
                    <a:pt x="29" y="4"/>
                  </a:lnTo>
                  <a:lnTo>
                    <a:pt x="29" y="4"/>
                  </a:lnTo>
                  <a:lnTo>
                    <a:pt x="29" y="1"/>
                  </a:lnTo>
                  <a:lnTo>
                    <a:pt x="29" y="1"/>
                  </a:lnTo>
                  <a:lnTo>
                    <a:pt x="29" y="0"/>
                  </a:lnTo>
                  <a:lnTo>
                    <a:pt x="29" y="0"/>
                  </a:lnTo>
                  <a:lnTo>
                    <a:pt x="26" y="0"/>
                  </a:lnTo>
                  <a:lnTo>
                    <a:pt x="26" y="0"/>
                  </a:lnTo>
                  <a:lnTo>
                    <a:pt x="26" y="1"/>
                  </a:lnTo>
                  <a:lnTo>
                    <a:pt x="26" y="0"/>
                  </a:lnTo>
                  <a:lnTo>
                    <a:pt x="26" y="1"/>
                  </a:lnTo>
                  <a:lnTo>
                    <a:pt x="26" y="4"/>
                  </a:lnTo>
                  <a:lnTo>
                    <a:pt x="26" y="3"/>
                  </a:lnTo>
                  <a:lnTo>
                    <a:pt x="26" y="4"/>
                  </a:lnTo>
                  <a:lnTo>
                    <a:pt x="26" y="4"/>
                  </a:lnTo>
                  <a:lnTo>
                    <a:pt x="26" y="3"/>
                  </a:lnTo>
                  <a:lnTo>
                    <a:pt x="26" y="4"/>
                  </a:lnTo>
                  <a:lnTo>
                    <a:pt x="26" y="3"/>
                  </a:lnTo>
                  <a:lnTo>
                    <a:pt x="24" y="4"/>
                  </a:lnTo>
                  <a:lnTo>
                    <a:pt x="24" y="4"/>
                  </a:lnTo>
                  <a:lnTo>
                    <a:pt x="26" y="4"/>
                  </a:lnTo>
                  <a:lnTo>
                    <a:pt x="26" y="3"/>
                  </a:lnTo>
                  <a:lnTo>
                    <a:pt x="24" y="4"/>
                  </a:lnTo>
                  <a:lnTo>
                    <a:pt x="26" y="3"/>
                  </a:lnTo>
                  <a:lnTo>
                    <a:pt x="24" y="3"/>
                  </a:lnTo>
                  <a:lnTo>
                    <a:pt x="24" y="4"/>
                  </a:lnTo>
                  <a:lnTo>
                    <a:pt x="26" y="3"/>
                  </a:lnTo>
                  <a:lnTo>
                    <a:pt x="24" y="3"/>
                  </a:lnTo>
                  <a:lnTo>
                    <a:pt x="24" y="3"/>
                  </a:lnTo>
                  <a:lnTo>
                    <a:pt x="24" y="3"/>
                  </a:lnTo>
                  <a:lnTo>
                    <a:pt x="24" y="3"/>
                  </a:lnTo>
                  <a:lnTo>
                    <a:pt x="24" y="3"/>
                  </a:lnTo>
                  <a:lnTo>
                    <a:pt x="24" y="3"/>
                  </a:lnTo>
                  <a:lnTo>
                    <a:pt x="24" y="3"/>
                  </a:lnTo>
                  <a:lnTo>
                    <a:pt x="24" y="4"/>
                  </a:lnTo>
                  <a:lnTo>
                    <a:pt x="24" y="4"/>
                  </a:lnTo>
                  <a:lnTo>
                    <a:pt x="22" y="17"/>
                  </a:lnTo>
                  <a:lnTo>
                    <a:pt x="22" y="17"/>
                  </a:lnTo>
                  <a:lnTo>
                    <a:pt x="20" y="23"/>
                  </a:lnTo>
                  <a:lnTo>
                    <a:pt x="20" y="23"/>
                  </a:lnTo>
                  <a:lnTo>
                    <a:pt x="20" y="25"/>
                  </a:lnTo>
                  <a:lnTo>
                    <a:pt x="19" y="26"/>
                  </a:lnTo>
                  <a:lnTo>
                    <a:pt x="19" y="26"/>
                  </a:lnTo>
                  <a:lnTo>
                    <a:pt x="20" y="26"/>
                  </a:lnTo>
                  <a:lnTo>
                    <a:pt x="19" y="26"/>
                  </a:lnTo>
                  <a:lnTo>
                    <a:pt x="19" y="26"/>
                  </a:lnTo>
                  <a:lnTo>
                    <a:pt x="20" y="26"/>
                  </a:lnTo>
                  <a:lnTo>
                    <a:pt x="19" y="26"/>
                  </a:lnTo>
                  <a:lnTo>
                    <a:pt x="22" y="28"/>
                  </a:lnTo>
                  <a:lnTo>
                    <a:pt x="22" y="25"/>
                  </a:lnTo>
                  <a:lnTo>
                    <a:pt x="22" y="25"/>
                  </a:lnTo>
                  <a:lnTo>
                    <a:pt x="19" y="26"/>
                  </a:lnTo>
                  <a:lnTo>
                    <a:pt x="22" y="28"/>
                  </a:lnTo>
                  <a:lnTo>
                    <a:pt x="22" y="25"/>
                  </a:lnTo>
                  <a:lnTo>
                    <a:pt x="22" y="26"/>
                  </a:lnTo>
                  <a:lnTo>
                    <a:pt x="22" y="25"/>
                  </a:lnTo>
                  <a:lnTo>
                    <a:pt x="22" y="25"/>
                  </a:lnTo>
                  <a:lnTo>
                    <a:pt x="22" y="26"/>
                  </a:lnTo>
                  <a:lnTo>
                    <a:pt x="22" y="25"/>
                  </a:lnTo>
                  <a:lnTo>
                    <a:pt x="22" y="26"/>
                  </a:lnTo>
                  <a:lnTo>
                    <a:pt x="22" y="25"/>
                  </a:lnTo>
                  <a:lnTo>
                    <a:pt x="22" y="25"/>
                  </a:lnTo>
                  <a:lnTo>
                    <a:pt x="22" y="26"/>
                  </a:lnTo>
                  <a:lnTo>
                    <a:pt x="22" y="25"/>
                  </a:lnTo>
                  <a:lnTo>
                    <a:pt x="22" y="25"/>
                  </a:lnTo>
                  <a:lnTo>
                    <a:pt x="22" y="25"/>
                  </a:lnTo>
                  <a:lnTo>
                    <a:pt x="20" y="23"/>
                  </a:lnTo>
                  <a:lnTo>
                    <a:pt x="20" y="23"/>
                  </a:lnTo>
                  <a:lnTo>
                    <a:pt x="16" y="13"/>
                  </a:lnTo>
                  <a:lnTo>
                    <a:pt x="16" y="13"/>
                  </a:lnTo>
                  <a:lnTo>
                    <a:pt x="13" y="10"/>
                  </a:lnTo>
                  <a:lnTo>
                    <a:pt x="13" y="10"/>
                  </a:lnTo>
                  <a:lnTo>
                    <a:pt x="10" y="9"/>
                  </a:lnTo>
                  <a:lnTo>
                    <a:pt x="8" y="9"/>
                  </a:lnTo>
                  <a:lnTo>
                    <a:pt x="8" y="9"/>
                  </a:lnTo>
                  <a:lnTo>
                    <a:pt x="6" y="9"/>
                  </a:lnTo>
                  <a:lnTo>
                    <a:pt x="6" y="9"/>
                  </a:lnTo>
                  <a:lnTo>
                    <a:pt x="6" y="9"/>
                  </a:lnTo>
                  <a:lnTo>
                    <a:pt x="6" y="9"/>
                  </a:lnTo>
                  <a:lnTo>
                    <a:pt x="6" y="9"/>
                  </a:lnTo>
                  <a:lnTo>
                    <a:pt x="6" y="9"/>
                  </a:lnTo>
                  <a:lnTo>
                    <a:pt x="6" y="7"/>
                  </a:lnTo>
                  <a:lnTo>
                    <a:pt x="6" y="7"/>
                  </a:lnTo>
                  <a:lnTo>
                    <a:pt x="6" y="7"/>
                  </a:lnTo>
                  <a:lnTo>
                    <a:pt x="6" y="7"/>
                  </a:lnTo>
                  <a:lnTo>
                    <a:pt x="6" y="4"/>
                  </a:lnTo>
                  <a:lnTo>
                    <a:pt x="6" y="3"/>
                  </a:lnTo>
                  <a:lnTo>
                    <a:pt x="6" y="3"/>
                  </a:lnTo>
                  <a:lnTo>
                    <a:pt x="3" y="1"/>
                  </a:lnTo>
                  <a:lnTo>
                    <a:pt x="3" y="4"/>
                  </a:lnTo>
                  <a:lnTo>
                    <a:pt x="26" y="4"/>
                  </a:lnTo>
                  <a:lnTo>
                    <a:pt x="26" y="4"/>
                  </a:lnTo>
                  <a:lnTo>
                    <a:pt x="26" y="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5" name="Freeform 92"/>
            <p:cNvSpPr>
              <a:spLocks/>
            </p:cNvSpPr>
            <p:nvPr/>
          </p:nvSpPr>
          <p:spPr bwMode="auto">
            <a:xfrm>
              <a:off x="2897188" y="2210229"/>
              <a:ext cx="76200" cy="77788"/>
            </a:xfrm>
            <a:custGeom>
              <a:avLst/>
              <a:gdLst>
                <a:gd name="T0" fmla="*/ 46 w 48"/>
                <a:gd name="T1" fmla="*/ 33 h 49"/>
                <a:gd name="T2" fmla="*/ 46 w 48"/>
                <a:gd name="T3" fmla="*/ 33 h 49"/>
                <a:gd name="T4" fmla="*/ 43 w 48"/>
                <a:gd name="T5" fmla="*/ 38 h 49"/>
                <a:gd name="T6" fmla="*/ 36 w 48"/>
                <a:gd name="T7" fmla="*/ 43 h 49"/>
                <a:gd name="T8" fmla="*/ 27 w 48"/>
                <a:gd name="T9" fmla="*/ 48 h 49"/>
                <a:gd name="T10" fmla="*/ 25 w 48"/>
                <a:gd name="T11" fmla="*/ 49 h 49"/>
                <a:gd name="T12" fmla="*/ 20 w 48"/>
                <a:gd name="T13" fmla="*/ 49 h 49"/>
                <a:gd name="T14" fmla="*/ 20 w 48"/>
                <a:gd name="T15" fmla="*/ 49 h 49"/>
                <a:gd name="T16" fmla="*/ 17 w 48"/>
                <a:gd name="T17" fmla="*/ 46 h 49"/>
                <a:gd name="T18" fmla="*/ 16 w 48"/>
                <a:gd name="T19" fmla="*/ 43 h 49"/>
                <a:gd name="T20" fmla="*/ 14 w 48"/>
                <a:gd name="T21" fmla="*/ 41 h 49"/>
                <a:gd name="T22" fmla="*/ 13 w 48"/>
                <a:gd name="T23" fmla="*/ 39 h 49"/>
                <a:gd name="T24" fmla="*/ 13 w 48"/>
                <a:gd name="T25" fmla="*/ 39 h 49"/>
                <a:gd name="T26" fmla="*/ 4 w 48"/>
                <a:gd name="T27" fmla="*/ 38 h 49"/>
                <a:gd name="T28" fmla="*/ 3 w 48"/>
                <a:gd name="T29" fmla="*/ 36 h 49"/>
                <a:gd name="T30" fmla="*/ 1 w 48"/>
                <a:gd name="T31" fmla="*/ 35 h 49"/>
                <a:gd name="T32" fmla="*/ 1 w 48"/>
                <a:gd name="T33" fmla="*/ 35 h 49"/>
                <a:gd name="T34" fmla="*/ 6 w 48"/>
                <a:gd name="T35" fmla="*/ 32 h 49"/>
                <a:gd name="T36" fmla="*/ 7 w 48"/>
                <a:gd name="T37" fmla="*/ 30 h 49"/>
                <a:gd name="T38" fmla="*/ 6 w 48"/>
                <a:gd name="T39" fmla="*/ 29 h 49"/>
                <a:gd name="T40" fmla="*/ 6 w 48"/>
                <a:gd name="T41" fmla="*/ 29 h 49"/>
                <a:gd name="T42" fmla="*/ 1 w 48"/>
                <a:gd name="T43" fmla="*/ 25 h 49"/>
                <a:gd name="T44" fmla="*/ 0 w 48"/>
                <a:gd name="T45" fmla="*/ 22 h 49"/>
                <a:gd name="T46" fmla="*/ 3 w 48"/>
                <a:gd name="T47" fmla="*/ 20 h 49"/>
                <a:gd name="T48" fmla="*/ 3 w 48"/>
                <a:gd name="T49" fmla="*/ 20 h 49"/>
                <a:gd name="T50" fmla="*/ 9 w 48"/>
                <a:gd name="T51" fmla="*/ 20 h 49"/>
                <a:gd name="T52" fmla="*/ 10 w 48"/>
                <a:gd name="T53" fmla="*/ 19 h 49"/>
                <a:gd name="T54" fmla="*/ 9 w 48"/>
                <a:gd name="T55" fmla="*/ 17 h 49"/>
                <a:gd name="T56" fmla="*/ 9 w 48"/>
                <a:gd name="T57" fmla="*/ 17 h 49"/>
                <a:gd name="T58" fmla="*/ 3 w 48"/>
                <a:gd name="T59" fmla="*/ 10 h 49"/>
                <a:gd name="T60" fmla="*/ 1 w 48"/>
                <a:gd name="T61" fmla="*/ 6 h 49"/>
                <a:gd name="T62" fmla="*/ 3 w 48"/>
                <a:gd name="T63" fmla="*/ 4 h 49"/>
                <a:gd name="T64" fmla="*/ 3 w 48"/>
                <a:gd name="T65" fmla="*/ 3 h 49"/>
                <a:gd name="T66" fmla="*/ 3 w 48"/>
                <a:gd name="T67" fmla="*/ 3 h 49"/>
                <a:gd name="T68" fmla="*/ 9 w 48"/>
                <a:gd name="T69" fmla="*/ 0 h 49"/>
                <a:gd name="T70" fmla="*/ 10 w 48"/>
                <a:gd name="T71" fmla="*/ 1 h 49"/>
                <a:gd name="T72" fmla="*/ 11 w 48"/>
                <a:gd name="T73" fmla="*/ 3 h 49"/>
                <a:gd name="T74" fmla="*/ 11 w 48"/>
                <a:gd name="T75" fmla="*/ 3 h 49"/>
                <a:gd name="T76" fmla="*/ 14 w 48"/>
                <a:gd name="T77" fmla="*/ 3 h 49"/>
                <a:gd name="T78" fmla="*/ 17 w 48"/>
                <a:gd name="T79" fmla="*/ 3 h 49"/>
                <a:gd name="T80" fmla="*/ 20 w 48"/>
                <a:gd name="T81" fmla="*/ 3 h 49"/>
                <a:gd name="T82" fmla="*/ 23 w 48"/>
                <a:gd name="T83" fmla="*/ 4 h 49"/>
                <a:gd name="T84" fmla="*/ 23 w 48"/>
                <a:gd name="T85" fmla="*/ 4 h 49"/>
                <a:gd name="T86" fmla="*/ 29 w 48"/>
                <a:gd name="T87" fmla="*/ 9 h 49"/>
                <a:gd name="T88" fmla="*/ 33 w 48"/>
                <a:gd name="T89" fmla="*/ 16 h 49"/>
                <a:gd name="T90" fmla="*/ 33 w 48"/>
                <a:gd name="T91" fmla="*/ 16 h 49"/>
                <a:gd name="T92" fmla="*/ 38 w 48"/>
                <a:gd name="T93" fmla="*/ 20 h 49"/>
                <a:gd name="T94" fmla="*/ 42 w 48"/>
                <a:gd name="T95" fmla="*/ 25 h 49"/>
                <a:gd name="T96" fmla="*/ 46 w 48"/>
                <a:gd name="T97" fmla="*/ 29 h 49"/>
                <a:gd name="T98" fmla="*/ 48 w 48"/>
                <a:gd name="T99" fmla="*/ 30 h 49"/>
                <a:gd name="T100" fmla="*/ 46 w 48"/>
                <a:gd name="T101" fmla="*/ 3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 h="49">
                  <a:moveTo>
                    <a:pt x="46" y="33"/>
                  </a:moveTo>
                  <a:lnTo>
                    <a:pt x="46" y="33"/>
                  </a:lnTo>
                  <a:lnTo>
                    <a:pt x="43" y="38"/>
                  </a:lnTo>
                  <a:lnTo>
                    <a:pt x="36" y="43"/>
                  </a:lnTo>
                  <a:lnTo>
                    <a:pt x="27" y="48"/>
                  </a:lnTo>
                  <a:lnTo>
                    <a:pt x="25" y="49"/>
                  </a:lnTo>
                  <a:lnTo>
                    <a:pt x="20" y="49"/>
                  </a:lnTo>
                  <a:lnTo>
                    <a:pt x="20" y="49"/>
                  </a:lnTo>
                  <a:lnTo>
                    <a:pt x="17" y="46"/>
                  </a:lnTo>
                  <a:lnTo>
                    <a:pt x="16" y="43"/>
                  </a:lnTo>
                  <a:lnTo>
                    <a:pt x="14" y="41"/>
                  </a:lnTo>
                  <a:lnTo>
                    <a:pt x="13" y="39"/>
                  </a:lnTo>
                  <a:lnTo>
                    <a:pt x="13" y="39"/>
                  </a:lnTo>
                  <a:lnTo>
                    <a:pt x="4" y="38"/>
                  </a:lnTo>
                  <a:lnTo>
                    <a:pt x="3" y="36"/>
                  </a:lnTo>
                  <a:lnTo>
                    <a:pt x="1" y="35"/>
                  </a:lnTo>
                  <a:lnTo>
                    <a:pt x="1" y="35"/>
                  </a:lnTo>
                  <a:lnTo>
                    <a:pt x="6" y="32"/>
                  </a:lnTo>
                  <a:lnTo>
                    <a:pt x="7" y="30"/>
                  </a:lnTo>
                  <a:lnTo>
                    <a:pt x="6" y="29"/>
                  </a:lnTo>
                  <a:lnTo>
                    <a:pt x="6" y="29"/>
                  </a:lnTo>
                  <a:lnTo>
                    <a:pt x="1" y="25"/>
                  </a:lnTo>
                  <a:lnTo>
                    <a:pt x="0" y="22"/>
                  </a:lnTo>
                  <a:lnTo>
                    <a:pt x="3" y="20"/>
                  </a:lnTo>
                  <a:lnTo>
                    <a:pt x="3" y="20"/>
                  </a:lnTo>
                  <a:lnTo>
                    <a:pt x="9" y="20"/>
                  </a:lnTo>
                  <a:lnTo>
                    <a:pt x="10" y="19"/>
                  </a:lnTo>
                  <a:lnTo>
                    <a:pt x="9" y="17"/>
                  </a:lnTo>
                  <a:lnTo>
                    <a:pt x="9" y="17"/>
                  </a:lnTo>
                  <a:lnTo>
                    <a:pt x="3" y="10"/>
                  </a:lnTo>
                  <a:lnTo>
                    <a:pt x="1" y="6"/>
                  </a:lnTo>
                  <a:lnTo>
                    <a:pt x="3" y="4"/>
                  </a:lnTo>
                  <a:lnTo>
                    <a:pt x="3" y="3"/>
                  </a:lnTo>
                  <a:lnTo>
                    <a:pt x="3" y="3"/>
                  </a:lnTo>
                  <a:lnTo>
                    <a:pt x="9" y="0"/>
                  </a:lnTo>
                  <a:lnTo>
                    <a:pt x="10" y="1"/>
                  </a:lnTo>
                  <a:lnTo>
                    <a:pt x="11" y="3"/>
                  </a:lnTo>
                  <a:lnTo>
                    <a:pt x="11" y="3"/>
                  </a:lnTo>
                  <a:lnTo>
                    <a:pt x="14" y="3"/>
                  </a:lnTo>
                  <a:lnTo>
                    <a:pt x="17" y="3"/>
                  </a:lnTo>
                  <a:lnTo>
                    <a:pt x="20" y="3"/>
                  </a:lnTo>
                  <a:lnTo>
                    <a:pt x="23" y="4"/>
                  </a:lnTo>
                  <a:lnTo>
                    <a:pt x="23" y="4"/>
                  </a:lnTo>
                  <a:lnTo>
                    <a:pt x="29" y="9"/>
                  </a:lnTo>
                  <a:lnTo>
                    <a:pt x="33" y="16"/>
                  </a:lnTo>
                  <a:lnTo>
                    <a:pt x="33" y="16"/>
                  </a:lnTo>
                  <a:lnTo>
                    <a:pt x="38" y="20"/>
                  </a:lnTo>
                  <a:lnTo>
                    <a:pt x="42" y="25"/>
                  </a:lnTo>
                  <a:lnTo>
                    <a:pt x="46" y="29"/>
                  </a:lnTo>
                  <a:lnTo>
                    <a:pt x="48" y="30"/>
                  </a:lnTo>
                  <a:lnTo>
                    <a:pt x="46"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70" name="Freeform 93"/>
            <p:cNvSpPr>
              <a:spLocks/>
            </p:cNvSpPr>
            <p:nvPr/>
          </p:nvSpPr>
          <p:spPr bwMode="auto">
            <a:xfrm>
              <a:off x="2897188" y="2210229"/>
              <a:ext cx="76200" cy="77788"/>
            </a:xfrm>
            <a:custGeom>
              <a:avLst/>
              <a:gdLst>
                <a:gd name="T0" fmla="*/ 46 w 48"/>
                <a:gd name="T1" fmla="*/ 33 h 49"/>
                <a:gd name="T2" fmla="*/ 46 w 48"/>
                <a:gd name="T3" fmla="*/ 33 h 49"/>
                <a:gd name="T4" fmla="*/ 43 w 48"/>
                <a:gd name="T5" fmla="*/ 38 h 49"/>
                <a:gd name="T6" fmla="*/ 36 w 48"/>
                <a:gd name="T7" fmla="*/ 43 h 49"/>
                <a:gd name="T8" fmla="*/ 27 w 48"/>
                <a:gd name="T9" fmla="*/ 48 h 49"/>
                <a:gd name="T10" fmla="*/ 25 w 48"/>
                <a:gd name="T11" fmla="*/ 49 h 49"/>
                <a:gd name="T12" fmla="*/ 20 w 48"/>
                <a:gd name="T13" fmla="*/ 49 h 49"/>
                <a:gd name="T14" fmla="*/ 20 w 48"/>
                <a:gd name="T15" fmla="*/ 49 h 49"/>
                <a:gd name="T16" fmla="*/ 17 w 48"/>
                <a:gd name="T17" fmla="*/ 46 h 49"/>
                <a:gd name="T18" fmla="*/ 16 w 48"/>
                <a:gd name="T19" fmla="*/ 43 h 49"/>
                <a:gd name="T20" fmla="*/ 14 w 48"/>
                <a:gd name="T21" fmla="*/ 41 h 49"/>
                <a:gd name="T22" fmla="*/ 13 w 48"/>
                <a:gd name="T23" fmla="*/ 39 h 49"/>
                <a:gd name="T24" fmla="*/ 13 w 48"/>
                <a:gd name="T25" fmla="*/ 39 h 49"/>
                <a:gd name="T26" fmla="*/ 4 w 48"/>
                <a:gd name="T27" fmla="*/ 38 h 49"/>
                <a:gd name="T28" fmla="*/ 3 w 48"/>
                <a:gd name="T29" fmla="*/ 36 h 49"/>
                <a:gd name="T30" fmla="*/ 1 w 48"/>
                <a:gd name="T31" fmla="*/ 35 h 49"/>
                <a:gd name="T32" fmla="*/ 1 w 48"/>
                <a:gd name="T33" fmla="*/ 35 h 49"/>
                <a:gd name="T34" fmla="*/ 6 w 48"/>
                <a:gd name="T35" fmla="*/ 32 h 49"/>
                <a:gd name="T36" fmla="*/ 7 w 48"/>
                <a:gd name="T37" fmla="*/ 30 h 49"/>
                <a:gd name="T38" fmla="*/ 6 w 48"/>
                <a:gd name="T39" fmla="*/ 29 h 49"/>
                <a:gd name="T40" fmla="*/ 6 w 48"/>
                <a:gd name="T41" fmla="*/ 29 h 49"/>
                <a:gd name="T42" fmla="*/ 1 w 48"/>
                <a:gd name="T43" fmla="*/ 25 h 49"/>
                <a:gd name="T44" fmla="*/ 0 w 48"/>
                <a:gd name="T45" fmla="*/ 22 h 49"/>
                <a:gd name="T46" fmla="*/ 3 w 48"/>
                <a:gd name="T47" fmla="*/ 20 h 49"/>
                <a:gd name="T48" fmla="*/ 3 w 48"/>
                <a:gd name="T49" fmla="*/ 20 h 49"/>
                <a:gd name="T50" fmla="*/ 9 w 48"/>
                <a:gd name="T51" fmla="*/ 20 h 49"/>
                <a:gd name="T52" fmla="*/ 10 w 48"/>
                <a:gd name="T53" fmla="*/ 19 h 49"/>
                <a:gd name="T54" fmla="*/ 9 w 48"/>
                <a:gd name="T55" fmla="*/ 17 h 49"/>
                <a:gd name="T56" fmla="*/ 9 w 48"/>
                <a:gd name="T57" fmla="*/ 17 h 49"/>
                <a:gd name="T58" fmla="*/ 3 w 48"/>
                <a:gd name="T59" fmla="*/ 10 h 49"/>
                <a:gd name="T60" fmla="*/ 1 w 48"/>
                <a:gd name="T61" fmla="*/ 6 h 49"/>
                <a:gd name="T62" fmla="*/ 3 w 48"/>
                <a:gd name="T63" fmla="*/ 4 h 49"/>
                <a:gd name="T64" fmla="*/ 3 w 48"/>
                <a:gd name="T65" fmla="*/ 3 h 49"/>
                <a:gd name="T66" fmla="*/ 3 w 48"/>
                <a:gd name="T67" fmla="*/ 3 h 49"/>
                <a:gd name="T68" fmla="*/ 9 w 48"/>
                <a:gd name="T69" fmla="*/ 0 h 49"/>
                <a:gd name="T70" fmla="*/ 10 w 48"/>
                <a:gd name="T71" fmla="*/ 1 h 49"/>
                <a:gd name="T72" fmla="*/ 11 w 48"/>
                <a:gd name="T73" fmla="*/ 3 h 49"/>
                <a:gd name="T74" fmla="*/ 11 w 48"/>
                <a:gd name="T75" fmla="*/ 3 h 49"/>
                <a:gd name="T76" fmla="*/ 14 w 48"/>
                <a:gd name="T77" fmla="*/ 3 h 49"/>
                <a:gd name="T78" fmla="*/ 17 w 48"/>
                <a:gd name="T79" fmla="*/ 3 h 49"/>
                <a:gd name="T80" fmla="*/ 20 w 48"/>
                <a:gd name="T81" fmla="*/ 3 h 49"/>
                <a:gd name="T82" fmla="*/ 23 w 48"/>
                <a:gd name="T83" fmla="*/ 4 h 49"/>
                <a:gd name="T84" fmla="*/ 23 w 48"/>
                <a:gd name="T85" fmla="*/ 4 h 49"/>
                <a:gd name="T86" fmla="*/ 29 w 48"/>
                <a:gd name="T87" fmla="*/ 9 h 49"/>
                <a:gd name="T88" fmla="*/ 33 w 48"/>
                <a:gd name="T89" fmla="*/ 16 h 49"/>
                <a:gd name="T90" fmla="*/ 33 w 48"/>
                <a:gd name="T91" fmla="*/ 16 h 49"/>
                <a:gd name="T92" fmla="*/ 38 w 48"/>
                <a:gd name="T93" fmla="*/ 20 h 49"/>
                <a:gd name="T94" fmla="*/ 42 w 48"/>
                <a:gd name="T95" fmla="*/ 25 h 49"/>
                <a:gd name="T96" fmla="*/ 46 w 48"/>
                <a:gd name="T97" fmla="*/ 29 h 49"/>
                <a:gd name="T98" fmla="*/ 48 w 48"/>
                <a:gd name="T99" fmla="*/ 30 h 49"/>
                <a:gd name="T100" fmla="*/ 46 w 48"/>
                <a:gd name="T101" fmla="*/ 3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 h="49">
                  <a:moveTo>
                    <a:pt x="46" y="33"/>
                  </a:moveTo>
                  <a:lnTo>
                    <a:pt x="46" y="33"/>
                  </a:lnTo>
                  <a:lnTo>
                    <a:pt x="43" y="38"/>
                  </a:lnTo>
                  <a:lnTo>
                    <a:pt x="36" y="43"/>
                  </a:lnTo>
                  <a:lnTo>
                    <a:pt x="27" y="48"/>
                  </a:lnTo>
                  <a:lnTo>
                    <a:pt x="25" y="49"/>
                  </a:lnTo>
                  <a:lnTo>
                    <a:pt x="20" y="49"/>
                  </a:lnTo>
                  <a:lnTo>
                    <a:pt x="20" y="49"/>
                  </a:lnTo>
                  <a:lnTo>
                    <a:pt x="17" y="46"/>
                  </a:lnTo>
                  <a:lnTo>
                    <a:pt x="16" y="43"/>
                  </a:lnTo>
                  <a:lnTo>
                    <a:pt x="14" y="41"/>
                  </a:lnTo>
                  <a:lnTo>
                    <a:pt x="13" y="39"/>
                  </a:lnTo>
                  <a:lnTo>
                    <a:pt x="13" y="39"/>
                  </a:lnTo>
                  <a:lnTo>
                    <a:pt x="4" y="38"/>
                  </a:lnTo>
                  <a:lnTo>
                    <a:pt x="3" y="36"/>
                  </a:lnTo>
                  <a:lnTo>
                    <a:pt x="1" y="35"/>
                  </a:lnTo>
                  <a:lnTo>
                    <a:pt x="1" y="35"/>
                  </a:lnTo>
                  <a:lnTo>
                    <a:pt x="6" y="32"/>
                  </a:lnTo>
                  <a:lnTo>
                    <a:pt x="7" y="30"/>
                  </a:lnTo>
                  <a:lnTo>
                    <a:pt x="6" y="29"/>
                  </a:lnTo>
                  <a:lnTo>
                    <a:pt x="6" y="29"/>
                  </a:lnTo>
                  <a:lnTo>
                    <a:pt x="1" y="25"/>
                  </a:lnTo>
                  <a:lnTo>
                    <a:pt x="0" y="22"/>
                  </a:lnTo>
                  <a:lnTo>
                    <a:pt x="3" y="20"/>
                  </a:lnTo>
                  <a:lnTo>
                    <a:pt x="3" y="20"/>
                  </a:lnTo>
                  <a:lnTo>
                    <a:pt x="9" y="20"/>
                  </a:lnTo>
                  <a:lnTo>
                    <a:pt x="10" y="19"/>
                  </a:lnTo>
                  <a:lnTo>
                    <a:pt x="9" y="17"/>
                  </a:lnTo>
                  <a:lnTo>
                    <a:pt x="9" y="17"/>
                  </a:lnTo>
                  <a:lnTo>
                    <a:pt x="3" y="10"/>
                  </a:lnTo>
                  <a:lnTo>
                    <a:pt x="1" y="6"/>
                  </a:lnTo>
                  <a:lnTo>
                    <a:pt x="3" y="4"/>
                  </a:lnTo>
                  <a:lnTo>
                    <a:pt x="3" y="3"/>
                  </a:lnTo>
                  <a:lnTo>
                    <a:pt x="3" y="3"/>
                  </a:lnTo>
                  <a:lnTo>
                    <a:pt x="9" y="0"/>
                  </a:lnTo>
                  <a:lnTo>
                    <a:pt x="10" y="1"/>
                  </a:lnTo>
                  <a:lnTo>
                    <a:pt x="11" y="3"/>
                  </a:lnTo>
                  <a:lnTo>
                    <a:pt x="11" y="3"/>
                  </a:lnTo>
                  <a:lnTo>
                    <a:pt x="14" y="3"/>
                  </a:lnTo>
                  <a:lnTo>
                    <a:pt x="17" y="3"/>
                  </a:lnTo>
                  <a:lnTo>
                    <a:pt x="20" y="3"/>
                  </a:lnTo>
                  <a:lnTo>
                    <a:pt x="23" y="4"/>
                  </a:lnTo>
                  <a:lnTo>
                    <a:pt x="23" y="4"/>
                  </a:lnTo>
                  <a:lnTo>
                    <a:pt x="29" y="9"/>
                  </a:lnTo>
                  <a:lnTo>
                    <a:pt x="33" y="16"/>
                  </a:lnTo>
                  <a:lnTo>
                    <a:pt x="33" y="16"/>
                  </a:lnTo>
                  <a:lnTo>
                    <a:pt x="38" y="20"/>
                  </a:lnTo>
                  <a:lnTo>
                    <a:pt x="42" y="25"/>
                  </a:lnTo>
                  <a:lnTo>
                    <a:pt x="46" y="29"/>
                  </a:lnTo>
                  <a:lnTo>
                    <a:pt x="48" y="30"/>
                  </a:lnTo>
                  <a:lnTo>
                    <a:pt x="46" y="3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71" name="Freeform 94"/>
            <p:cNvSpPr>
              <a:spLocks/>
            </p:cNvSpPr>
            <p:nvPr/>
          </p:nvSpPr>
          <p:spPr bwMode="auto">
            <a:xfrm>
              <a:off x="2989263" y="2241979"/>
              <a:ext cx="11113" cy="20638"/>
            </a:xfrm>
            <a:custGeom>
              <a:avLst/>
              <a:gdLst>
                <a:gd name="T0" fmla="*/ 3 w 7"/>
                <a:gd name="T1" fmla="*/ 13 h 13"/>
                <a:gd name="T2" fmla="*/ 3 w 7"/>
                <a:gd name="T3" fmla="*/ 13 h 13"/>
                <a:gd name="T4" fmla="*/ 1 w 7"/>
                <a:gd name="T5" fmla="*/ 13 h 13"/>
                <a:gd name="T6" fmla="*/ 0 w 7"/>
                <a:gd name="T7" fmla="*/ 10 h 13"/>
                <a:gd name="T8" fmla="*/ 0 w 7"/>
                <a:gd name="T9" fmla="*/ 8 h 13"/>
                <a:gd name="T10" fmla="*/ 1 w 7"/>
                <a:gd name="T11" fmla="*/ 5 h 13"/>
                <a:gd name="T12" fmla="*/ 1 w 7"/>
                <a:gd name="T13" fmla="*/ 5 h 13"/>
                <a:gd name="T14" fmla="*/ 6 w 7"/>
                <a:gd name="T15" fmla="*/ 0 h 13"/>
                <a:gd name="T16" fmla="*/ 6 w 7"/>
                <a:gd name="T17" fmla="*/ 0 h 13"/>
                <a:gd name="T18" fmla="*/ 7 w 7"/>
                <a:gd name="T19" fmla="*/ 0 h 13"/>
                <a:gd name="T20" fmla="*/ 7 w 7"/>
                <a:gd name="T21" fmla="*/ 0 h 13"/>
                <a:gd name="T22" fmla="*/ 6 w 7"/>
                <a:gd name="T23" fmla="*/ 8 h 13"/>
                <a:gd name="T24" fmla="*/ 4 w 7"/>
                <a:gd name="T25" fmla="*/ 12 h 13"/>
                <a:gd name="T26" fmla="*/ 3 w 7"/>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3">
                  <a:moveTo>
                    <a:pt x="3" y="13"/>
                  </a:moveTo>
                  <a:lnTo>
                    <a:pt x="3" y="13"/>
                  </a:lnTo>
                  <a:lnTo>
                    <a:pt x="1" y="13"/>
                  </a:lnTo>
                  <a:lnTo>
                    <a:pt x="0" y="10"/>
                  </a:lnTo>
                  <a:lnTo>
                    <a:pt x="0" y="8"/>
                  </a:lnTo>
                  <a:lnTo>
                    <a:pt x="1" y="5"/>
                  </a:lnTo>
                  <a:lnTo>
                    <a:pt x="1" y="5"/>
                  </a:lnTo>
                  <a:lnTo>
                    <a:pt x="6" y="0"/>
                  </a:lnTo>
                  <a:lnTo>
                    <a:pt x="6" y="0"/>
                  </a:lnTo>
                  <a:lnTo>
                    <a:pt x="7" y="0"/>
                  </a:lnTo>
                  <a:lnTo>
                    <a:pt x="7" y="0"/>
                  </a:lnTo>
                  <a:lnTo>
                    <a:pt x="6" y="8"/>
                  </a:lnTo>
                  <a:lnTo>
                    <a:pt x="4" y="12"/>
                  </a:lnTo>
                  <a:lnTo>
                    <a:pt x="3"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72" name="Freeform 95"/>
            <p:cNvSpPr>
              <a:spLocks/>
            </p:cNvSpPr>
            <p:nvPr/>
          </p:nvSpPr>
          <p:spPr bwMode="auto">
            <a:xfrm>
              <a:off x="2989263" y="2241979"/>
              <a:ext cx="11113" cy="20638"/>
            </a:xfrm>
            <a:custGeom>
              <a:avLst/>
              <a:gdLst>
                <a:gd name="T0" fmla="*/ 3 w 7"/>
                <a:gd name="T1" fmla="*/ 13 h 13"/>
                <a:gd name="T2" fmla="*/ 3 w 7"/>
                <a:gd name="T3" fmla="*/ 13 h 13"/>
                <a:gd name="T4" fmla="*/ 1 w 7"/>
                <a:gd name="T5" fmla="*/ 13 h 13"/>
                <a:gd name="T6" fmla="*/ 0 w 7"/>
                <a:gd name="T7" fmla="*/ 10 h 13"/>
                <a:gd name="T8" fmla="*/ 0 w 7"/>
                <a:gd name="T9" fmla="*/ 8 h 13"/>
                <a:gd name="T10" fmla="*/ 1 w 7"/>
                <a:gd name="T11" fmla="*/ 5 h 13"/>
                <a:gd name="T12" fmla="*/ 1 w 7"/>
                <a:gd name="T13" fmla="*/ 5 h 13"/>
                <a:gd name="T14" fmla="*/ 6 w 7"/>
                <a:gd name="T15" fmla="*/ 0 h 13"/>
                <a:gd name="T16" fmla="*/ 6 w 7"/>
                <a:gd name="T17" fmla="*/ 0 h 13"/>
                <a:gd name="T18" fmla="*/ 7 w 7"/>
                <a:gd name="T19" fmla="*/ 0 h 13"/>
                <a:gd name="T20" fmla="*/ 7 w 7"/>
                <a:gd name="T21" fmla="*/ 0 h 13"/>
                <a:gd name="T22" fmla="*/ 6 w 7"/>
                <a:gd name="T23" fmla="*/ 8 h 13"/>
                <a:gd name="T24" fmla="*/ 4 w 7"/>
                <a:gd name="T25" fmla="*/ 12 h 13"/>
                <a:gd name="T26" fmla="*/ 3 w 7"/>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3">
                  <a:moveTo>
                    <a:pt x="3" y="13"/>
                  </a:moveTo>
                  <a:lnTo>
                    <a:pt x="3" y="13"/>
                  </a:lnTo>
                  <a:lnTo>
                    <a:pt x="1" y="13"/>
                  </a:lnTo>
                  <a:lnTo>
                    <a:pt x="0" y="10"/>
                  </a:lnTo>
                  <a:lnTo>
                    <a:pt x="0" y="8"/>
                  </a:lnTo>
                  <a:lnTo>
                    <a:pt x="1" y="5"/>
                  </a:lnTo>
                  <a:lnTo>
                    <a:pt x="1" y="5"/>
                  </a:lnTo>
                  <a:lnTo>
                    <a:pt x="6" y="0"/>
                  </a:lnTo>
                  <a:lnTo>
                    <a:pt x="6" y="0"/>
                  </a:lnTo>
                  <a:lnTo>
                    <a:pt x="7" y="0"/>
                  </a:lnTo>
                  <a:lnTo>
                    <a:pt x="7" y="0"/>
                  </a:lnTo>
                  <a:lnTo>
                    <a:pt x="6" y="8"/>
                  </a:lnTo>
                  <a:lnTo>
                    <a:pt x="4" y="12"/>
                  </a:lnTo>
                  <a:lnTo>
                    <a:pt x="3"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73" name="Freeform 96"/>
            <p:cNvSpPr>
              <a:spLocks/>
            </p:cNvSpPr>
            <p:nvPr/>
          </p:nvSpPr>
          <p:spPr bwMode="auto">
            <a:xfrm>
              <a:off x="2995613" y="2276904"/>
              <a:ext cx="9525" cy="14288"/>
            </a:xfrm>
            <a:custGeom>
              <a:avLst/>
              <a:gdLst>
                <a:gd name="T0" fmla="*/ 5 w 6"/>
                <a:gd name="T1" fmla="*/ 9 h 9"/>
                <a:gd name="T2" fmla="*/ 5 w 6"/>
                <a:gd name="T3" fmla="*/ 9 h 9"/>
                <a:gd name="T4" fmla="*/ 2 w 6"/>
                <a:gd name="T5" fmla="*/ 9 h 9"/>
                <a:gd name="T6" fmla="*/ 0 w 6"/>
                <a:gd name="T7" fmla="*/ 6 h 9"/>
                <a:gd name="T8" fmla="*/ 0 w 6"/>
                <a:gd name="T9" fmla="*/ 3 h 9"/>
                <a:gd name="T10" fmla="*/ 2 w 6"/>
                <a:gd name="T11" fmla="*/ 0 h 9"/>
                <a:gd name="T12" fmla="*/ 2 w 6"/>
                <a:gd name="T13" fmla="*/ 0 h 9"/>
                <a:gd name="T14" fmla="*/ 3 w 6"/>
                <a:gd name="T15" fmla="*/ 1 h 9"/>
                <a:gd name="T16" fmla="*/ 5 w 6"/>
                <a:gd name="T17" fmla="*/ 3 h 9"/>
                <a:gd name="T18" fmla="*/ 6 w 6"/>
                <a:gd name="T19" fmla="*/ 6 h 9"/>
                <a:gd name="T20" fmla="*/ 5 w 6"/>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9">
                  <a:moveTo>
                    <a:pt x="5" y="9"/>
                  </a:moveTo>
                  <a:lnTo>
                    <a:pt x="5" y="9"/>
                  </a:lnTo>
                  <a:lnTo>
                    <a:pt x="2" y="9"/>
                  </a:lnTo>
                  <a:lnTo>
                    <a:pt x="0" y="6"/>
                  </a:lnTo>
                  <a:lnTo>
                    <a:pt x="0" y="3"/>
                  </a:lnTo>
                  <a:lnTo>
                    <a:pt x="2" y="0"/>
                  </a:lnTo>
                  <a:lnTo>
                    <a:pt x="2" y="0"/>
                  </a:lnTo>
                  <a:lnTo>
                    <a:pt x="3" y="1"/>
                  </a:lnTo>
                  <a:lnTo>
                    <a:pt x="5" y="3"/>
                  </a:lnTo>
                  <a:lnTo>
                    <a:pt x="6" y="6"/>
                  </a:lnTo>
                  <a:lnTo>
                    <a:pt x="5"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74" name="Freeform 97"/>
            <p:cNvSpPr>
              <a:spLocks/>
            </p:cNvSpPr>
            <p:nvPr/>
          </p:nvSpPr>
          <p:spPr bwMode="auto">
            <a:xfrm>
              <a:off x="2995613" y="2276904"/>
              <a:ext cx="9525" cy="14288"/>
            </a:xfrm>
            <a:custGeom>
              <a:avLst/>
              <a:gdLst>
                <a:gd name="T0" fmla="*/ 5 w 6"/>
                <a:gd name="T1" fmla="*/ 9 h 9"/>
                <a:gd name="T2" fmla="*/ 5 w 6"/>
                <a:gd name="T3" fmla="*/ 9 h 9"/>
                <a:gd name="T4" fmla="*/ 2 w 6"/>
                <a:gd name="T5" fmla="*/ 9 h 9"/>
                <a:gd name="T6" fmla="*/ 0 w 6"/>
                <a:gd name="T7" fmla="*/ 6 h 9"/>
                <a:gd name="T8" fmla="*/ 0 w 6"/>
                <a:gd name="T9" fmla="*/ 3 h 9"/>
                <a:gd name="T10" fmla="*/ 2 w 6"/>
                <a:gd name="T11" fmla="*/ 0 h 9"/>
                <a:gd name="T12" fmla="*/ 2 w 6"/>
                <a:gd name="T13" fmla="*/ 0 h 9"/>
                <a:gd name="T14" fmla="*/ 3 w 6"/>
                <a:gd name="T15" fmla="*/ 1 h 9"/>
                <a:gd name="T16" fmla="*/ 5 w 6"/>
                <a:gd name="T17" fmla="*/ 3 h 9"/>
                <a:gd name="T18" fmla="*/ 6 w 6"/>
                <a:gd name="T19" fmla="*/ 6 h 9"/>
                <a:gd name="T20" fmla="*/ 5 w 6"/>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9">
                  <a:moveTo>
                    <a:pt x="5" y="9"/>
                  </a:moveTo>
                  <a:lnTo>
                    <a:pt x="5" y="9"/>
                  </a:lnTo>
                  <a:lnTo>
                    <a:pt x="2" y="9"/>
                  </a:lnTo>
                  <a:lnTo>
                    <a:pt x="0" y="6"/>
                  </a:lnTo>
                  <a:lnTo>
                    <a:pt x="0" y="3"/>
                  </a:lnTo>
                  <a:lnTo>
                    <a:pt x="2" y="0"/>
                  </a:lnTo>
                  <a:lnTo>
                    <a:pt x="2" y="0"/>
                  </a:lnTo>
                  <a:lnTo>
                    <a:pt x="3" y="1"/>
                  </a:lnTo>
                  <a:lnTo>
                    <a:pt x="5" y="3"/>
                  </a:lnTo>
                  <a:lnTo>
                    <a:pt x="6" y="6"/>
                  </a:lnTo>
                  <a:lnTo>
                    <a:pt x="5"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75" name="Freeform 98"/>
            <p:cNvSpPr>
              <a:spLocks/>
            </p:cNvSpPr>
            <p:nvPr/>
          </p:nvSpPr>
          <p:spPr bwMode="auto">
            <a:xfrm>
              <a:off x="2949575" y="2337229"/>
              <a:ext cx="28575" cy="20638"/>
            </a:xfrm>
            <a:custGeom>
              <a:avLst/>
              <a:gdLst>
                <a:gd name="T0" fmla="*/ 18 w 18"/>
                <a:gd name="T1" fmla="*/ 10 h 13"/>
                <a:gd name="T2" fmla="*/ 18 w 18"/>
                <a:gd name="T3" fmla="*/ 10 h 13"/>
                <a:gd name="T4" fmla="*/ 12 w 18"/>
                <a:gd name="T5" fmla="*/ 11 h 13"/>
                <a:gd name="T6" fmla="*/ 6 w 18"/>
                <a:gd name="T7" fmla="*/ 13 h 13"/>
                <a:gd name="T8" fmla="*/ 2 w 18"/>
                <a:gd name="T9" fmla="*/ 11 h 13"/>
                <a:gd name="T10" fmla="*/ 0 w 18"/>
                <a:gd name="T11" fmla="*/ 10 h 13"/>
                <a:gd name="T12" fmla="*/ 0 w 18"/>
                <a:gd name="T13" fmla="*/ 8 h 13"/>
                <a:gd name="T14" fmla="*/ 0 w 18"/>
                <a:gd name="T15" fmla="*/ 8 h 13"/>
                <a:gd name="T16" fmla="*/ 5 w 18"/>
                <a:gd name="T17" fmla="*/ 4 h 13"/>
                <a:gd name="T18" fmla="*/ 7 w 18"/>
                <a:gd name="T19" fmla="*/ 1 h 13"/>
                <a:gd name="T20" fmla="*/ 12 w 18"/>
                <a:gd name="T21" fmla="*/ 0 h 13"/>
                <a:gd name="T22" fmla="*/ 15 w 18"/>
                <a:gd name="T23" fmla="*/ 0 h 13"/>
                <a:gd name="T24" fmla="*/ 15 w 18"/>
                <a:gd name="T25" fmla="*/ 0 h 13"/>
                <a:gd name="T26" fmla="*/ 18 w 18"/>
                <a:gd name="T27" fmla="*/ 6 h 13"/>
                <a:gd name="T28" fmla="*/ 18 w 18"/>
                <a:gd name="T29" fmla="*/ 8 h 13"/>
                <a:gd name="T30" fmla="*/ 18 w 18"/>
                <a:gd name="T31"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3">
                  <a:moveTo>
                    <a:pt x="18" y="10"/>
                  </a:moveTo>
                  <a:lnTo>
                    <a:pt x="18" y="10"/>
                  </a:lnTo>
                  <a:lnTo>
                    <a:pt x="12" y="11"/>
                  </a:lnTo>
                  <a:lnTo>
                    <a:pt x="6" y="13"/>
                  </a:lnTo>
                  <a:lnTo>
                    <a:pt x="2" y="11"/>
                  </a:lnTo>
                  <a:lnTo>
                    <a:pt x="0" y="10"/>
                  </a:lnTo>
                  <a:lnTo>
                    <a:pt x="0" y="8"/>
                  </a:lnTo>
                  <a:lnTo>
                    <a:pt x="0" y="8"/>
                  </a:lnTo>
                  <a:lnTo>
                    <a:pt x="5" y="4"/>
                  </a:lnTo>
                  <a:lnTo>
                    <a:pt x="7" y="1"/>
                  </a:lnTo>
                  <a:lnTo>
                    <a:pt x="12" y="0"/>
                  </a:lnTo>
                  <a:lnTo>
                    <a:pt x="15" y="0"/>
                  </a:lnTo>
                  <a:lnTo>
                    <a:pt x="15" y="0"/>
                  </a:lnTo>
                  <a:lnTo>
                    <a:pt x="18" y="6"/>
                  </a:lnTo>
                  <a:lnTo>
                    <a:pt x="18" y="8"/>
                  </a:lnTo>
                  <a:lnTo>
                    <a:pt x="18"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76" name="Freeform 99"/>
            <p:cNvSpPr>
              <a:spLocks/>
            </p:cNvSpPr>
            <p:nvPr/>
          </p:nvSpPr>
          <p:spPr bwMode="auto">
            <a:xfrm>
              <a:off x="2949575" y="2337229"/>
              <a:ext cx="28575" cy="20638"/>
            </a:xfrm>
            <a:custGeom>
              <a:avLst/>
              <a:gdLst>
                <a:gd name="T0" fmla="*/ 18 w 18"/>
                <a:gd name="T1" fmla="*/ 10 h 13"/>
                <a:gd name="T2" fmla="*/ 18 w 18"/>
                <a:gd name="T3" fmla="*/ 10 h 13"/>
                <a:gd name="T4" fmla="*/ 12 w 18"/>
                <a:gd name="T5" fmla="*/ 11 h 13"/>
                <a:gd name="T6" fmla="*/ 6 w 18"/>
                <a:gd name="T7" fmla="*/ 13 h 13"/>
                <a:gd name="T8" fmla="*/ 2 w 18"/>
                <a:gd name="T9" fmla="*/ 11 h 13"/>
                <a:gd name="T10" fmla="*/ 0 w 18"/>
                <a:gd name="T11" fmla="*/ 10 h 13"/>
                <a:gd name="T12" fmla="*/ 0 w 18"/>
                <a:gd name="T13" fmla="*/ 8 h 13"/>
                <a:gd name="T14" fmla="*/ 0 w 18"/>
                <a:gd name="T15" fmla="*/ 8 h 13"/>
                <a:gd name="T16" fmla="*/ 5 w 18"/>
                <a:gd name="T17" fmla="*/ 4 h 13"/>
                <a:gd name="T18" fmla="*/ 7 w 18"/>
                <a:gd name="T19" fmla="*/ 1 h 13"/>
                <a:gd name="T20" fmla="*/ 12 w 18"/>
                <a:gd name="T21" fmla="*/ 0 h 13"/>
                <a:gd name="T22" fmla="*/ 15 w 18"/>
                <a:gd name="T23" fmla="*/ 0 h 13"/>
                <a:gd name="T24" fmla="*/ 15 w 18"/>
                <a:gd name="T25" fmla="*/ 0 h 13"/>
                <a:gd name="T26" fmla="*/ 18 w 18"/>
                <a:gd name="T27" fmla="*/ 6 h 13"/>
                <a:gd name="T28" fmla="*/ 18 w 18"/>
                <a:gd name="T29" fmla="*/ 8 h 13"/>
                <a:gd name="T30" fmla="*/ 18 w 18"/>
                <a:gd name="T31"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3">
                  <a:moveTo>
                    <a:pt x="18" y="10"/>
                  </a:moveTo>
                  <a:lnTo>
                    <a:pt x="18" y="10"/>
                  </a:lnTo>
                  <a:lnTo>
                    <a:pt x="12" y="11"/>
                  </a:lnTo>
                  <a:lnTo>
                    <a:pt x="6" y="13"/>
                  </a:lnTo>
                  <a:lnTo>
                    <a:pt x="2" y="11"/>
                  </a:lnTo>
                  <a:lnTo>
                    <a:pt x="0" y="10"/>
                  </a:lnTo>
                  <a:lnTo>
                    <a:pt x="0" y="8"/>
                  </a:lnTo>
                  <a:lnTo>
                    <a:pt x="0" y="8"/>
                  </a:lnTo>
                  <a:lnTo>
                    <a:pt x="5" y="4"/>
                  </a:lnTo>
                  <a:lnTo>
                    <a:pt x="7" y="1"/>
                  </a:lnTo>
                  <a:lnTo>
                    <a:pt x="12" y="0"/>
                  </a:lnTo>
                  <a:lnTo>
                    <a:pt x="15" y="0"/>
                  </a:lnTo>
                  <a:lnTo>
                    <a:pt x="15" y="0"/>
                  </a:lnTo>
                  <a:lnTo>
                    <a:pt x="18" y="6"/>
                  </a:lnTo>
                  <a:lnTo>
                    <a:pt x="18" y="8"/>
                  </a:lnTo>
                  <a:lnTo>
                    <a:pt x="18"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77" name="Freeform 100"/>
            <p:cNvSpPr>
              <a:spLocks/>
            </p:cNvSpPr>
            <p:nvPr/>
          </p:nvSpPr>
          <p:spPr bwMode="auto">
            <a:xfrm>
              <a:off x="2927350" y="2368979"/>
              <a:ext cx="38100" cy="22225"/>
            </a:xfrm>
            <a:custGeom>
              <a:avLst/>
              <a:gdLst>
                <a:gd name="T0" fmla="*/ 20 w 24"/>
                <a:gd name="T1" fmla="*/ 0 h 14"/>
                <a:gd name="T2" fmla="*/ 20 w 24"/>
                <a:gd name="T3" fmla="*/ 0 h 14"/>
                <a:gd name="T4" fmla="*/ 13 w 24"/>
                <a:gd name="T5" fmla="*/ 3 h 14"/>
                <a:gd name="T6" fmla="*/ 6 w 24"/>
                <a:gd name="T7" fmla="*/ 9 h 14"/>
                <a:gd name="T8" fmla="*/ 0 w 24"/>
                <a:gd name="T9" fmla="*/ 13 h 14"/>
                <a:gd name="T10" fmla="*/ 0 w 24"/>
                <a:gd name="T11" fmla="*/ 14 h 14"/>
                <a:gd name="T12" fmla="*/ 1 w 24"/>
                <a:gd name="T13" fmla="*/ 14 h 14"/>
                <a:gd name="T14" fmla="*/ 1 w 24"/>
                <a:gd name="T15" fmla="*/ 14 h 14"/>
                <a:gd name="T16" fmla="*/ 10 w 24"/>
                <a:gd name="T17" fmla="*/ 12 h 14"/>
                <a:gd name="T18" fmla="*/ 19 w 24"/>
                <a:gd name="T19" fmla="*/ 9 h 14"/>
                <a:gd name="T20" fmla="*/ 19 w 24"/>
                <a:gd name="T21" fmla="*/ 9 h 14"/>
                <a:gd name="T22" fmla="*/ 21 w 24"/>
                <a:gd name="T23" fmla="*/ 6 h 14"/>
                <a:gd name="T24" fmla="*/ 24 w 24"/>
                <a:gd name="T25" fmla="*/ 3 h 14"/>
                <a:gd name="T26" fmla="*/ 24 w 24"/>
                <a:gd name="T27" fmla="*/ 1 h 14"/>
                <a:gd name="T28" fmla="*/ 23 w 24"/>
                <a:gd name="T29" fmla="*/ 0 h 14"/>
                <a:gd name="T30" fmla="*/ 20 w 24"/>
                <a:gd name="T3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14">
                  <a:moveTo>
                    <a:pt x="20" y="0"/>
                  </a:moveTo>
                  <a:lnTo>
                    <a:pt x="20" y="0"/>
                  </a:lnTo>
                  <a:lnTo>
                    <a:pt x="13" y="3"/>
                  </a:lnTo>
                  <a:lnTo>
                    <a:pt x="6" y="9"/>
                  </a:lnTo>
                  <a:lnTo>
                    <a:pt x="0" y="13"/>
                  </a:lnTo>
                  <a:lnTo>
                    <a:pt x="0" y="14"/>
                  </a:lnTo>
                  <a:lnTo>
                    <a:pt x="1" y="14"/>
                  </a:lnTo>
                  <a:lnTo>
                    <a:pt x="1" y="14"/>
                  </a:lnTo>
                  <a:lnTo>
                    <a:pt x="10" y="12"/>
                  </a:lnTo>
                  <a:lnTo>
                    <a:pt x="19" y="9"/>
                  </a:lnTo>
                  <a:lnTo>
                    <a:pt x="19" y="9"/>
                  </a:lnTo>
                  <a:lnTo>
                    <a:pt x="21" y="6"/>
                  </a:lnTo>
                  <a:lnTo>
                    <a:pt x="24" y="3"/>
                  </a:lnTo>
                  <a:lnTo>
                    <a:pt x="24" y="1"/>
                  </a:lnTo>
                  <a:lnTo>
                    <a:pt x="23" y="0"/>
                  </a:lnTo>
                  <a:lnTo>
                    <a:pt x="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78" name="Freeform 101"/>
            <p:cNvSpPr>
              <a:spLocks/>
            </p:cNvSpPr>
            <p:nvPr/>
          </p:nvSpPr>
          <p:spPr bwMode="auto">
            <a:xfrm>
              <a:off x="2927350" y="2368979"/>
              <a:ext cx="38100" cy="22225"/>
            </a:xfrm>
            <a:custGeom>
              <a:avLst/>
              <a:gdLst>
                <a:gd name="T0" fmla="*/ 20 w 24"/>
                <a:gd name="T1" fmla="*/ 0 h 14"/>
                <a:gd name="T2" fmla="*/ 20 w 24"/>
                <a:gd name="T3" fmla="*/ 0 h 14"/>
                <a:gd name="T4" fmla="*/ 13 w 24"/>
                <a:gd name="T5" fmla="*/ 3 h 14"/>
                <a:gd name="T6" fmla="*/ 6 w 24"/>
                <a:gd name="T7" fmla="*/ 9 h 14"/>
                <a:gd name="T8" fmla="*/ 0 w 24"/>
                <a:gd name="T9" fmla="*/ 13 h 14"/>
                <a:gd name="T10" fmla="*/ 0 w 24"/>
                <a:gd name="T11" fmla="*/ 14 h 14"/>
                <a:gd name="T12" fmla="*/ 1 w 24"/>
                <a:gd name="T13" fmla="*/ 14 h 14"/>
                <a:gd name="T14" fmla="*/ 1 w 24"/>
                <a:gd name="T15" fmla="*/ 14 h 14"/>
                <a:gd name="T16" fmla="*/ 10 w 24"/>
                <a:gd name="T17" fmla="*/ 12 h 14"/>
                <a:gd name="T18" fmla="*/ 19 w 24"/>
                <a:gd name="T19" fmla="*/ 9 h 14"/>
                <a:gd name="T20" fmla="*/ 19 w 24"/>
                <a:gd name="T21" fmla="*/ 9 h 14"/>
                <a:gd name="T22" fmla="*/ 21 w 24"/>
                <a:gd name="T23" fmla="*/ 6 h 14"/>
                <a:gd name="T24" fmla="*/ 24 w 24"/>
                <a:gd name="T25" fmla="*/ 3 h 14"/>
                <a:gd name="T26" fmla="*/ 24 w 24"/>
                <a:gd name="T27" fmla="*/ 1 h 14"/>
                <a:gd name="T28" fmla="*/ 23 w 24"/>
                <a:gd name="T29" fmla="*/ 0 h 14"/>
                <a:gd name="T30" fmla="*/ 20 w 24"/>
                <a:gd name="T3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14">
                  <a:moveTo>
                    <a:pt x="20" y="0"/>
                  </a:moveTo>
                  <a:lnTo>
                    <a:pt x="20" y="0"/>
                  </a:lnTo>
                  <a:lnTo>
                    <a:pt x="13" y="3"/>
                  </a:lnTo>
                  <a:lnTo>
                    <a:pt x="6" y="9"/>
                  </a:lnTo>
                  <a:lnTo>
                    <a:pt x="0" y="13"/>
                  </a:lnTo>
                  <a:lnTo>
                    <a:pt x="0" y="14"/>
                  </a:lnTo>
                  <a:lnTo>
                    <a:pt x="1" y="14"/>
                  </a:lnTo>
                  <a:lnTo>
                    <a:pt x="1" y="14"/>
                  </a:lnTo>
                  <a:lnTo>
                    <a:pt x="10" y="12"/>
                  </a:lnTo>
                  <a:lnTo>
                    <a:pt x="19" y="9"/>
                  </a:lnTo>
                  <a:lnTo>
                    <a:pt x="19" y="9"/>
                  </a:lnTo>
                  <a:lnTo>
                    <a:pt x="21" y="6"/>
                  </a:lnTo>
                  <a:lnTo>
                    <a:pt x="24" y="3"/>
                  </a:lnTo>
                  <a:lnTo>
                    <a:pt x="24" y="1"/>
                  </a:lnTo>
                  <a:lnTo>
                    <a:pt x="23" y="0"/>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79" name="Freeform 102"/>
            <p:cNvSpPr>
              <a:spLocks/>
            </p:cNvSpPr>
            <p:nvPr/>
          </p:nvSpPr>
          <p:spPr bwMode="auto">
            <a:xfrm>
              <a:off x="2947988" y="2134029"/>
              <a:ext cx="12700" cy="11113"/>
            </a:xfrm>
            <a:custGeom>
              <a:avLst/>
              <a:gdLst>
                <a:gd name="T0" fmla="*/ 8 w 8"/>
                <a:gd name="T1" fmla="*/ 5 h 7"/>
                <a:gd name="T2" fmla="*/ 8 w 8"/>
                <a:gd name="T3" fmla="*/ 5 h 7"/>
                <a:gd name="T4" fmla="*/ 4 w 8"/>
                <a:gd name="T5" fmla="*/ 7 h 7"/>
                <a:gd name="T6" fmla="*/ 3 w 8"/>
                <a:gd name="T7" fmla="*/ 7 h 7"/>
                <a:gd name="T8" fmla="*/ 1 w 8"/>
                <a:gd name="T9" fmla="*/ 6 h 7"/>
                <a:gd name="T10" fmla="*/ 1 w 8"/>
                <a:gd name="T11" fmla="*/ 6 h 7"/>
                <a:gd name="T12" fmla="*/ 0 w 8"/>
                <a:gd name="T13" fmla="*/ 2 h 7"/>
                <a:gd name="T14" fmla="*/ 0 w 8"/>
                <a:gd name="T15" fmla="*/ 0 h 7"/>
                <a:gd name="T16" fmla="*/ 1 w 8"/>
                <a:gd name="T17" fmla="*/ 0 h 7"/>
                <a:gd name="T18" fmla="*/ 1 w 8"/>
                <a:gd name="T19" fmla="*/ 0 h 7"/>
                <a:gd name="T20" fmla="*/ 7 w 8"/>
                <a:gd name="T21" fmla="*/ 2 h 7"/>
                <a:gd name="T22" fmla="*/ 8 w 8"/>
                <a:gd name="T23" fmla="*/ 3 h 7"/>
                <a:gd name="T24" fmla="*/ 8 w 8"/>
                <a:gd name="T25"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7">
                  <a:moveTo>
                    <a:pt x="8" y="5"/>
                  </a:moveTo>
                  <a:lnTo>
                    <a:pt x="8" y="5"/>
                  </a:lnTo>
                  <a:lnTo>
                    <a:pt x="4" y="7"/>
                  </a:lnTo>
                  <a:lnTo>
                    <a:pt x="3" y="7"/>
                  </a:lnTo>
                  <a:lnTo>
                    <a:pt x="1" y="6"/>
                  </a:lnTo>
                  <a:lnTo>
                    <a:pt x="1" y="6"/>
                  </a:lnTo>
                  <a:lnTo>
                    <a:pt x="0" y="2"/>
                  </a:lnTo>
                  <a:lnTo>
                    <a:pt x="0" y="0"/>
                  </a:lnTo>
                  <a:lnTo>
                    <a:pt x="1" y="0"/>
                  </a:lnTo>
                  <a:lnTo>
                    <a:pt x="1" y="0"/>
                  </a:lnTo>
                  <a:lnTo>
                    <a:pt x="7" y="2"/>
                  </a:lnTo>
                  <a:lnTo>
                    <a:pt x="8" y="3"/>
                  </a:lnTo>
                  <a:lnTo>
                    <a:pt x="8"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80" name="Freeform 103"/>
            <p:cNvSpPr>
              <a:spLocks/>
            </p:cNvSpPr>
            <p:nvPr/>
          </p:nvSpPr>
          <p:spPr bwMode="auto">
            <a:xfrm>
              <a:off x="2947988" y="2134029"/>
              <a:ext cx="12700" cy="11113"/>
            </a:xfrm>
            <a:custGeom>
              <a:avLst/>
              <a:gdLst>
                <a:gd name="T0" fmla="*/ 8 w 8"/>
                <a:gd name="T1" fmla="*/ 5 h 7"/>
                <a:gd name="T2" fmla="*/ 8 w 8"/>
                <a:gd name="T3" fmla="*/ 5 h 7"/>
                <a:gd name="T4" fmla="*/ 4 w 8"/>
                <a:gd name="T5" fmla="*/ 7 h 7"/>
                <a:gd name="T6" fmla="*/ 3 w 8"/>
                <a:gd name="T7" fmla="*/ 7 h 7"/>
                <a:gd name="T8" fmla="*/ 1 w 8"/>
                <a:gd name="T9" fmla="*/ 6 h 7"/>
                <a:gd name="T10" fmla="*/ 1 w 8"/>
                <a:gd name="T11" fmla="*/ 6 h 7"/>
                <a:gd name="T12" fmla="*/ 0 w 8"/>
                <a:gd name="T13" fmla="*/ 2 h 7"/>
                <a:gd name="T14" fmla="*/ 0 w 8"/>
                <a:gd name="T15" fmla="*/ 0 h 7"/>
                <a:gd name="T16" fmla="*/ 1 w 8"/>
                <a:gd name="T17" fmla="*/ 0 h 7"/>
                <a:gd name="T18" fmla="*/ 1 w 8"/>
                <a:gd name="T19" fmla="*/ 0 h 7"/>
                <a:gd name="T20" fmla="*/ 7 w 8"/>
                <a:gd name="T21" fmla="*/ 2 h 7"/>
                <a:gd name="T22" fmla="*/ 8 w 8"/>
                <a:gd name="T23" fmla="*/ 3 h 7"/>
                <a:gd name="T24" fmla="*/ 8 w 8"/>
                <a:gd name="T25"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7">
                  <a:moveTo>
                    <a:pt x="8" y="5"/>
                  </a:moveTo>
                  <a:lnTo>
                    <a:pt x="8" y="5"/>
                  </a:lnTo>
                  <a:lnTo>
                    <a:pt x="4" y="7"/>
                  </a:lnTo>
                  <a:lnTo>
                    <a:pt x="3" y="7"/>
                  </a:lnTo>
                  <a:lnTo>
                    <a:pt x="1" y="6"/>
                  </a:lnTo>
                  <a:lnTo>
                    <a:pt x="1" y="6"/>
                  </a:lnTo>
                  <a:lnTo>
                    <a:pt x="0" y="2"/>
                  </a:lnTo>
                  <a:lnTo>
                    <a:pt x="0" y="0"/>
                  </a:lnTo>
                  <a:lnTo>
                    <a:pt x="1" y="0"/>
                  </a:lnTo>
                  <a:lnTo>
                    <a:pt x="1" y="0"/>
                  </a:lnTo>
                  <a:lnTo>
                    <a:pt x="7" y="2"/>
                  </a:lnTo>
                  <a:lnTo>
                    <a:pt x="8" y="3"/>
                  </a:lnTo>
                  <a:lnTo>
                    <a:pt x="8"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81" name="Freeform 104"/>
            <p:cNvSpPr>
              <a:spLocks/>
            </p:cNvSpPr>
            <p:nvPr/>
          </p:nvSpPr>
          <p:spPr bwMode="auto">
            <a:xfrm>
              <a:off x="2973388" y="2370566"/>
              <a:ext cx="26988" cy="17463"/>
            </a:xfrm>
            <a:custGeom>
              <a:avLst/>
              <a:gdLst>
                <a:gd name="T0" fmla="*/ 16 w 17"/>
                <a:gd name="T1" fmla="*/ 11 h 11"/>
                <a:gd name="T2" fmla="*/ 16 w 17"/>
                <a:gd name="T3" fmla="*/ 11 h 11"/>
                <a:gd name="T4" fmla="*/ 7 w 17"/>
                <a:gd name="T5" fmla="*/ 11 h 11"/>
                <a:gd name="T6" fmla="*/ 7 w 17"/>
                <a:gd name="T7" fmla="*/ 11 h 11"/>
                <a:gd name="T8" fmla="*/ 1 w 17"/>
                <a:gd name="T9" fmla="*/ 11 h 11"/>
                <a:gd name="T10" fmla="*/ 0 w 17"/>
                <a:gd name="T11" fmla="*/ 11 h 11"/>
                <a:gd name="T12" fmla="*/ 0 w 17"/>
                <a:gd name="T13" fmla="*/ 9 h 11"/>
                <a:gd name="T14" fmla="*/ 0 w 17"/>
                <a:gd name="T15" fmla="*/ 9 h 11"/>
                <a:gd name="T16" fmla="*/ 4 w 17"/>
                <a:gd name="T17" fmla="*/ 3 h 11"/>
                <a:gd name="T18" fmla="*/ 7 w 17"/>
                <a:gd name="T19" fmla="*/ 0 h 11"/>
                <a:gd name="T20" fmla="*/ 10 w 17"/>
                <a:gd name="T21" fmla="*/ 0 h 11"/>
                <a:gd name="T22" fmla="*/ 10 w 17"/>
                <a:gd name="T23" fmla="*/ 0 h 11"/>
                <a:gd name="T24" fmla="*/ 16 w 17"/>
                <a:gd name="T25" fmla="*/ 6 h 11"/>
                <a:gd name="T26" fmla="*/ 17 w 17"/>
                <a:gd name="T27" fmla="*/ 9 h 11"/>
                <a:gd name="T28" fmla="*/ 17 w 17"/>
                <a:gd name="T29" fmla="*/ 11 h 11"/>
                <a:gd name="T30" fmla="*/ 16 w 17"/>
                <a:gd name="T3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11">
                  <a:moveTo>
                    <a:pt x="16" y="11"/>
                  </a:moveTo>
                  <a:lnTo>
                    <a:pt x="16" y="11"/>
                  </a:lnTo>
                  <a:lnTo>
                    <a:pt x="7" y="11"/>
                  </a:lnTo>
                  <a:lnTo>
                    <a:pt x="7" y="11"/>
                  </a:lnTo>
                  <a:lnTo>
                    <a:pt x="1" y="11"/>
                  </a:lnTo>
                  <a:lnTo>
                    <a:pt x="0" y="11"/>
                  </a:lnTo>
                  <a:lnTo>
                    <a:pt x="0" y="9"/>
                  </a:lnTo>
                  <a:lnTo>
                    <a:pt x="0" y="9"/>
                  </a:lnTo>
                  <a:lnTo>
                    <a:pt x="4" y="3"/>
                  </a:lnTo>
                  <a:lnTo>
                    <a:pt x="7" y="0"/>
                  </a:lnTo>
                  <a:lnTo>
                    <a:pt x="10" y="0"/>
                  </a:lnTo>
                  <a:lnTo>
                    <a:pt x="10" y="0"/>
                  </a:lnTo>
                  <a:lnTo>
                    <a:pt x="16" y="6"/>
                  </a:lnTo>
                  <a:lnTo>
                    <a:pt x="17" y="9"/>
                  </a:lnTo>
                  <a:lnTo>
                    <a:pt x="17" y="11"/>
                  </a:lnTo>
                  <a:lnTo>
                    <a:pt x="16"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82" name="Freeform 105"/>
            <p:cNvSpPr>
              <a:spLocks/>
            </p:cNvSpPr>
            <p:nvPr/>
          </p:nvSpPr>
          <p:spPr bwMode="auto">
            <a:xfrm>
              <a:off x="2973388" y="2370566"/>
              <a:ext cx="26988" cy="17463"/>
            </a:xfrm>
            <a:custGeom>
              <a:avLst/>
              <a:gdLst>
                <a:gd name="T0" fmla="*/ 16 w 17"/>
                <a:gd name="T1" fmla="*/ 11 h 11"/>
                <a:gd name="T2" fmla="*/ 16 w 17"/>
                <a:gd name="T3" fmla="*/ 11 h 11"/>
                <a:gd name="T4" fmla="*/ 7 w 17"/>
                <a:gd name="T5" fmla="*/ 11 h 11"/>
                <a:gd name="T6" fmla="*/ 7 w 17"/>
                <a:gd name="T7" fmla="*/ 11 h 11"/>
                <a:gd name="T8" fmla="*/ 1 w 17"/>
                <a:gd name="T9" fmla="*/ 11 h 11"/>
                <a:gd name="T10" fmla="*/ 0 w 17"/>
                <a:gd name="T11" fmla="*/ 11 h 11"/>
                <a:gd name="T12" fmla="*/ 0 w 17"/>
                <a:gd name="T13" fmla="*/ 9 h 11"/>
                <a:gd name="T14" fmla="*/ 0 w 17"/>
                <a:gd name="T15" fmla="*/ 9 h 11"/>
                <a:gd name="T16" fmla="*/ 4 w 17"/>
                <a:gd name="T17" fmla="*/ 3 h 11"/>
                <a:gd name="T18" fmla="*/ 7 w 17"/>
                <a:gd name="T19" fmla="*/ 0 h 11"/>
                <a:gd name="T20" fmla="*/ 10 w 17"/>
                <a:gd name="T21" fmla="*/ 0 h 11"/>
                <a:gd name="T22" fmla="*/ 10 w 17"/>
                <a:gd name="T23" fmla="*/ 0 h 11"/>
                <a:gd name="T24" fmla="*/ 16 w 17"/>
                <a:gd name="T25" fmla="*/ 6 h 11"/>
                <a:gd name="T26" fmla="*/ 17 w 17"/>
                <a:gd name="T27" fmla="*/ 9 h 11"/>
                <a:gd name="T28" fmla="*/ 17 w 17"/>
                <a:gd name="T29" fmla="*/ 11 h 11"/>
                <a:gd name="T30" fmla="*/ 16 w 17"/>
                <a:gd name="T3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11">
                  <a:moveTo>
                    <a:pt x="16" y="11"/>
                  </a:moveTo>
                  <a:lnTo>
                    <a:pt x="16" y="11"/>
                  </a:lnTo>
                  <a:lnTo>
                    <a:pt x="7" y="11"/>
                  </a:lnTo>
                  <a:lnTo>
                    <a:pt x="7" y="11"/>
                  </a:lnTo>
                  <a:lnTo>
                    <a:pt x="1" y="11"/>
                  </a:lnTo>
                  <a:lnTo>
                    <a:pt x="0" y="11"/>
                  </a:lnTo>
                  <a:lnTo>
                    <a:pt x="0" y="9"/>
                  </a:lnTo>
                  <a:lnTo>
                    <a:pt x="0" y="9"/>
                  </a:lnTo>
                  <a:lnTo>
                    <a:pt x="4" y="3"/>
                  </a:lnTo>
                  <a:lnTo>
                    <a:pt x="7" y="0"/>
                  </a:lnTo>
                  <a:lnTo>
                    <a:pt x="10" y="0"/>
                  </a:lnTo>
                  <a:lnTo>
                    <a:pt x="10" y="0"/>
                  </a:lnTo>
                  <a:lnTo>
                    <a:pt x="16" y="6"/>
                  </a:lnTo>
                  <a:lnTo>
                    <a:pt x="17" y="9"/>
                  </a:lnTo>
                  <a:lnTo>
                    <a:pt x="17" y="11"/>
                  </a:lnTo>
                  <a:lnTo>
                    <a:pt x="16"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83" name="Freeform 246"/>
            <p:cNvSpPr>
              <a:spLocks noEditPoints="1"/>
            </p:cNvSpPr>
            <p:nvPr/>
          </p:nvSpPr>
          <p:spPr bwMode="auto">
            <a:xfrm>
              <a:off x="14288" y="2138791"/>
              <a:ext cx="971550" cy="947738"/>
            </a:xfrm>
            <a:custGeom>
              <a:avLst/>
              <a:gdLst>
                <a:gd name="T0" fmla="*/ 556 w 612"/>
                <a:gd name="T1" fmla="*/ 503 h 597"/>
                <a:gd name="T2" fmla="*/ 512 w 612"/>
                <a:gd name="T3" fmla="*/ 455 h 597"/>
                <a:gd name="T4" fmla="*/ 459 w 612"/>
                <a:gd name="T5" fmla="*/ 430 h 597"/>
                <a:gd name="T6" fmla="*/ 386 w 612"/>
                <a:gd name="T7" fmla="*/ 60 h 597"/>
                <a:gd name="T8" fmla="*/ 320 w 612"/>
                <a:gd name="T9" fmla="*/ 48 h 597"/>
                <a:gd name="T10" fmla="*/ 257 w 612"/>
                <a:gd name="T11" fmla="*/ 38 h 597"/>
                <a:gd name="T12" fmla="*/ 220 w 612"/>
                <a:gd name="T13" fmla="*/ 25 h 597"/>
                <a:gd name="T14" fmla="*/ 204 w 612"/>
                <a:gd name="T15" fmla="*/ 26 h 597"/>
                <a:gd name="T16" fmla="*/ 176 w 612"/>
                <a:gd name="T17" fmla="*/ 9 h 597"/>
                <a:gd name="T18" fmla="*/ 121 w 612"/>
                <a:gd name="T19" fmla="*/ 41 h 597"/>
                <a:gd name="T20" fmla="*/ 85 w 612"/>
                <a:gd name="T21" fmla="*/ 70 h 597"/>
                <a:gd name="T22" fmla="*/ 29 w 612"/>
                <a:gd name="T23" fmla="*/ 119 h 597"/>
                <a:gd name="T24" fmla="*/ 30 w 612"/>
                <a:gd name="T25" fmla="*/ 145 h 597"/>
                <a:gd name="T26" fmla="*/ 66 w 612"/>
                <a:gd name="T27" fmla="*/ 191 h 597"/>
                <a:gd name="T28" fmla="*/ 113 w 612"/>
                <a:gd name="T29" fmla="*/ 212 h 597"/>
                <a:gd name="T30" fmla="*/ 92 w 612"/>
                <a:gd name="T31" fmla="*/ 215 h 597"/>
                <a:gd name="T32" fmla="*/ 104 w 612"/>
                <a:gd name="T33" fmla="*/ 229 h 597"/>
                <a:gd name="T34" fmla="*/ 76 w 612"/>
                <a:gd name="T35" fmla="*/ 236 h 597"/>
                <a:gd name="T36" fmla="*/ 50 w 612"/>
                <a:gd name="T37" fmla="*/ 213 h 597"/>
                <a:gd name="T38" fmla="*/ 23 w 612"/>
                <a:gd name="T39" fmla="*/ 233 h 597"/>
                <a:gd name="T40" fmla="*/ 5 w 612"/>
                <a:gd name="T41" fmla="*/ 257 h 597"/>
                <a:gd name="T42" fmla="*/ 36 w 612"/>
                <a:gd name="T43" fmla="*/ 299 h 597"/>
                <a:gd name="T44" fmla="*/ 85 w 612"/>
                <a:gd name="T45" fmla="*/ 293 h 597"/>
                <a:gd name="T46" fmla="*/ 107 w 612"/>
                <a:gd name="T47" fmla="*/ 294 h 597"/>
                <a:gd name="T48" fmla="*/ 101 w 612"/>
                <a:gd name="T49" fmla="*/ 332 h 597"/>
                <a:gd name="T50" fmla="*/ 56 w 612"/>
                <a:gd name="T51" fmla="*/ 341 h 597"/>
                <a:gd name="T52" fmla="*/ 29 w 612"/>
                <a:gd name="T53" fmla="*/ 393 h 597"/>
                <a:gd name="T54" fmla="*/ 30 w 612"/>
                <a:gd name="T55" fmla="*/ 413 h 597"/>
                <a:gd name="T56" fmla="*/ 56 w 612"/>
                <a:gd name="T57" fmla="*/ 438 h 597"/>
                <a:gd name="T58" fmla="*/ 85 w 612"/>
                <a:gd name="T59" fmla="*/ 452 h 597"/>
                <a:gd name="T60" fmla="*/ 89 w 612"/>
                <a:gd name="T61" fmla="*/ 471 h 597"/>
                <a:gd name="T62" fmla="*/ 100 w 612"/>
                <a:gd name="T63" fmla="*/ 494 h 597"/>
                <a:gd name="T64" fmla="*/ 136 w 612"/>
                <a:gd name="T65" fmla="*/ 487 h 597"/>
                <a:gd name="T66" fmla="*/ 152 w 612"/>
                <a:gd name="T67" fmla="*/ 481 h 597"/>
                <a:gd name="T68" fmla="*/ 171 w 612"/>
                <a:gd name="T69" fmla="*/ 493 h 597"/>
                <a:gd name="T70" fmla="*/ 134 w 612"/>
                <a:gd name="T71" fmla="*/ 549 h 597"/>
                <a:gd name="T72" fmla="*/ 94 w 612"/>
                <a:gd name="T73" fmla="*/ 575 h 597"/>
                <a:gd name="T74" fmla="*/ 103 w 612"/>
                <a:gd name="T75" fmla="*/ 580 h 597"/>
                <a:gd name="T76" fmla="*/ 136 w 612"/>
                <a:gd name="T77" fmla="*/ 569 h 597"/>
                <a:gd name="T78" fmla="*/ 197 w 612"/>
                <a:gd name="T79" fmla="*/ 529 h 597"/>
                <a:gd name="T80" fmla="*/ 234 w 612"/>
                <a:gd name="T81" fmla="*/ 482 h 597"/>
                <a:gd name="T82" fmla="*/ 240 w 612"/>
                <a:gd name="T83" fmla="*/ 452 h 597"/>
                <a:gd name="T84" fmla="*/ 278 w 612"/>
                <a:gd name="T85" fmla="*/ 407 h 597"/>
                <a:gd name="T86" fmla="*/ 292 w 612"/>
                <a:gd name="T87" fmla="*/ 420 h 597"/>
                <a:gd name="T88" fmla="*/ 259 w 612"/>
                <a:gd name="T89" fmla="*/ 452 h 597"/>
                <a:gd name="T90" fmla="*/ 268 w 612"/>
                <a:gd name="T91" fmla="*/ 467 h 597"/>
                <a:gd name="T92" fmla="*/ 315 w 612"/>
                <a:gd name="T93" fmla="*/ 445 h 597"/>
                <a:gd name="T94" fmla="*/ 318 w 612"/>
                <a:gd name="T95" fmla="*/ 417 h 597"/>
                <a:gd name="T96" fmla="*/ 343 w 612"/>
                <a:gd name="T97" fmla="*/ 425 h 597"/>
                <a:gd name="T98" fmla="*/ 382 w 612"/>
                <a:gd name="T99" fmla="*/ 443 h 597"/>
                <a:gd name="T100" fmla="*/ 453 w 612"/>
                <a:gd name="T101" fmla="*/ 449 h 597"/>
                <a:gd name="T102" fmla="*/ 486 w 612"/>
                <a:gd name="T103" fmla="*/ 493 h 597"/>
                <a:gd name="T104" fmla="*/ 504 w 612"/>
                <a:gd name="T105" fmla="*/ 481 h 597"/>
                <a:gd name="T106" fmla="*/ 517 w 612"/>
                <a:gd name="T107" fmla="*/ 467 h 597"/>
                <a:gd name="T108" fmla="*/ 541 w 612"/>
                <a:gd name="T109" fmla="*/ 501 h 597"/>
                <a:gd name="T110" fmla="*/ 570 w 612"/>
                <a:gd name="T111" fmla="*/ 539 h 597"/>
                <a:gd name="T112" fmla="*/ 596 w 612"/>
                <a:gd name="T113" fmla="*/ 566 h 597"/>
                <a:gd name="T114" fmla="*/ 604 w 612"/>
                <a:gd name="T115" fmla="*/ 597 h 597"/>
                <a:gd name="T116" fmla="*/ 194 w 612"/>
                <a:gd name="T117" fmla="*/ 469 h 597"/>
                <a:gd name="T118" fmla="*/ 218 w 612"/>
                <a:gd name="T119" fmla="*/ 461 h 597"/>
                <a:gd name="T120" fmla="*/ 215 w 612"/>
                <a:gd name="T121" fmla="*/ 429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12" h="597">
                  <a:moveTo>
                    <a:pt x="612" y="571"/>
                  </a:moveTo>
                  <a:lnTo>
                    <a:pt x="612" y="571"/>
                  </a:lnTo>
                  <a:lnTo>
                    <a:pt x="611" y="568"/>
                  </a:lnTo>
                  <a:lnTo>
                    <a:pt x="609" y="565"/>
                  </a:lnTo>
                  <a:lnTo>
                    <a:pt x="602" y="559"/>
                  </a:lnTo>
                  <a:lnTo>
                    <a:pt x="594" y="552"/>
                  </a:lnTo>
                  <a:lnTo>
                    <a:pt x="586" y="545"/>
                  </a:lnTo>
                  <a:lnTo>
                    <a:pt x="586" y="545"/>
                  </a:lnTo>
                  <a:lnTo>
                    <a:pt x="582" y="539"/>
                  </a:lnTo>
                  <a:lnTo>
                    <a:pt x="578" y="530"/>
                  </a:lnTo>
                  <a:lnTo>
                    <a:pt x="572" y="523"/>
                  </a:lnTo>
                  <a:lnTo>
                    <a:pt x="566" y="514"/>
                  </a:lnTo>
                  <a:lnTo>
                    <a:pt x="566" y="514"/>
                  </a:lnTo>
                  <a:lnTo>
                    <a:pt x="559" y="509"/>
                  </a:lnTo>
                  <a:lnTo>
                    <a:pt x="556" y="503"/>
                  </a:lnTo>
                  <a:lnTo>
                    <a:pt x="550" y="494"/>
                  </a:lnTo>
                  <a:lnTo>
                    <a:pt x="550" y="494"/>
                  </a:lnTo>
                  <a:lnTo>
                    <a:pt x="546" y="490"/>
                  </a:lnTo>
                  <a:lnTo>
                    <a:pt x="540" y="485"/>
                  </a:lnTo>
                  <a:lnTo>
                    <a:pt x="534" y="480"/>
                  </a:lnTo>
                  <a:lnTo>
                    <a:pt x="533" y="477"/>
                  </a:lnTo>
                  <a:lnTo>
                    <a:pt x="531" y="474"/>
                  </a:lnTo>
                  <a:lnTo>
                    <a:pt x="531" y="474"/>
                  </a:lnTo>
                  <a:lnTo>
                    <a:pt x="525" y="459"/>
                  </a:lnTo>
                  <a:lnTo>
                    <a:pt x="521" y="454"/>
                  </a:lnTo>
                  <a:lnTo>
                    <a:pt x="520" y="452"/>
                  </a:lnTo>
                  <a:lnTo>
                    <a:pt x="518" y="451"/>
                  </a:lnTo>
                  <a:lnTo>
                    <a:pt x="518" y="451"/>
                  </a:lnTo>
                  <a:lnTo>
                    <a:pt x="515" y="452"/>
                  </a:lnTo>
                  <a:lnTo>
                    <a:pt x="512" y="455"/>
                  </a:lnTo>
                  <a:lnTo>
                    <a:pt x="507" y="462"/>
                  </a:lnTo>
                  <a:lnTo>
                    <a:pt x="499" y="471"/>
                  </a:lnTo>
                  <a:lnTo>
                    <a:pt x="496" y="474"/>
                  </a:lnTo>
                  <a:lnTo>
                    <a:pt x="495" y="475"/>
                  </a:lnTo>
                  <a:lnTo>
                    <a:pt x="495" y="475"/>
                  </a:lnTo>
                  <a:lnTo>
                    <a:pt x="488" y="477"/>
                  </a:lnTo>
                  <a:lnTo>
                    <a:pt x="486" y="475"/>
                  </a:lnTo>
                  <a:lnTo>
                    <a:pt x="483" y="472"/>
                  </a:lnTo>
                  <a:lnTo>
                    <a:pt x="483" y="472"/>
                  </a:lnTo>
                  <a:lnTo>
                    <a:pt x="465" y="446"/>
                  </a:lnTo>
                  <a:lnTo>
                    <a:pt x="465" y="446"/>
                  </a:lnTo>
                  <a:lnTo>
                    <a:pt x="463" y="440"/>
                  </a:lnTo>
                  <a:lnTo>
                    <a:pt x="462" y="435"/>
                  </a:lnTo>
                  <a:lnTo>
                    <a:pt x="460" y="432"/>
                  </a:lnTo>
                  <a:lnTo>
                    <a:pt x="459" y="430"/>
                  </a:lnTo>
                  <a:lnTo>
                    <a:pt x="456" y="430"/>
                  </a:lnTo>
                  <a:lnTo>
                    <a:pt x="456" y="430"/>
                  </a:lnTo>
                  <a:lnTo>
                    <a:pt x="444" y="433"/>
                  </a:lnTo>
                  <a:lnTo>
                    <a:pt x="439" y="435"/>
                  </a:lnTo>
                  <a:lnTo>
                    <a:pt x="433" y="436"/>
                  </a:lnTo>
                  <a:lnTo>
                    <a:pt x="433" y="77"/>
                  </a:lnTo>
                  <a:lnTo>
                    <a:pt x="433" y="77"/>
                  </a:lnTo>
                  <a:lnTo>
                    <a:pt x="430" y="75"/>
                  </a:lnTo>
                  <a:lnTo>
                    <a:pt x="430" y="75"/>
                  </a:lnTo>
                  <a:lnTo>
                    <a:pt x="415" y="68"/>
                  </a:lnTo>
                  <a:lnTo>
                    <a:pt x="401" y="60"/>
                  </a:lnTo>
                  <a:lnTo>
                    <a:pt x="401" y="60"/>
                  </a:lnTo>
                  <a:lnTo>
                    <a:pt x="395" y="57"/>
                  </a:lnTo>
                  <a:lnTo>
                    <a:pt x="392" y="58"/>
                  </a:lnTo>
                  <a:lnTo>
                    <a:pt x="386" y="60"/>
                  </a:lnTo>
                  <a:lnTo>
                    <a:pt x="386" y="60"/>
                  </a:lnTo>
                  <a:lnTo>
                    <a:pt x="379" y="61"/>
                  </a:lnTo>
                  <a:lnTo>
                    <a:pt x="372" y="61"/>
                  </a:lnTo>
                  <a:lnTo>
                    <a:pt x="363" y="61"/>
                  </a:lnTo>
                  <a:lnTo>
                    <a:pt x="355" y="60"/>
                  </a:lnTo>
                  <a:lnTo>
                    <a:pt x="355" y="60"/>
                  </a:lnTo>
                  <a:lnTo>
                    <a:pt x="346" y="58"/>
                  </a:lnTo>
                  <a:lnTo>
                    <a:pt x="339" y="57"/>
                  </a:lnTo>
                  <a:lnTo>
                    <a:pt x="331" y="57"/>
                  </a:lnTo>
                  <a:lnTo>
                    <a:pt x="328" y="55"/>
                  </a:lnTo>
                  <a:lnTo>
                    <a:pt x="328" y="55"/>
                  </a:lnTo>
                  <a:lnTo>
                    <a:pt x="326" y="51"/>
                  </a:lnTo>
                  <a:lnTo>
                    <a:pt x="323" y="49"/>
                  </a:lnTo>
                  <a:lnTo>
                    <a:pt x="320" y="48"/>
                  </a:lnTo>
                  <a:lnTo>
                    <a:pt x="320" y="48"/>
                  </a:lnTo>
                  <a:lnTo>
                    <a:pt x="305" y="45"/>
                  </a:lnTo>
                  <a:lnTo>
                    <a:pt x="292" y="42"/>
                  </a:lnTo>
                  <a:lnTo>
                    <a:pt x="292" y="42"/>
                  </a:lnTo>
                  <a:lnTo>
                    <a:pt x="282" y="39"/>
                  </a:lnTo>
                  <a:lnTo>
                    <a:pt x="276" y="39"/>
                  </a:lnTo>
                  <a:lnTo>
                    <a:pt x="272" y="39"/>
                  </a:lnTo>
                  <a:lnTo>
                    <a:pt x="272" y="39"/>
                  </a:lnTo>
                  <a:lnTo>
                    <a:pt x="269" y="44"/>
                  </a:lnTo>
                  <a:lnTo>
                    <a:pt x="266" y="44"/>
                  </a:lnTo>
                  <a:lnTo>
                    <a:pt x="263" y="44"/>
                  </a:lnTo>
                  <a:lnTo>
                    <a:pt x="263" y="44"/>
                  </a:lnTo>
                  <a:lnTo>
                    <a:pt x="260" y="42"/>
                  </a:lnTo>
                  <a:lnTo>
                    <a:pt x="259" y="41"/>
                  </a:lnTo>
                  <a:lnTo>
                    <a:pt x="259" y="39"/>
                  </a:lnTo>
                  <a:lnTo>
                    <a:pt x="257" y="38"/>
                  </a:lnTo>
                  <a:lnTo>
                    <a:pt x="257" y="38"/>
                  </a:lnTo>
                  <a:lnTo>
                    <a:pt x="250" y="33"/>
                  </a:lnTo>
                  <a:lnTo>
                    <a:pt x="247" y="32"/>
                  </a:lnTo>
                  <a:lnTo>
                    <a:pt x="247" y="29"/>
                  </a:lnTo>
                  <a:lnTo>
                    <a:pt x="247" y="29"/>
                  </a:lnTo>
                  <a:lnTo>
                    <a:pt x="252" y="25"/>
                  </a:lnTo>
                  <a:lnTo>
                    <a:pt x="252" y="22"/>
                  </a:lnTo>
                  <a:lnTo>
                    <a:pt x="252" y="20"/>
                  </a:lnTo>
                  <a:lnTo>
                    <a:pt x="250" y="20"/>
                  </a:lnTo>
                  <a:lnTo>
                    <a:pt x="250" y="20"/>
                  </a:lnTo>
                  <a:lnTo>
                    <a:pt x="239" y="22"/>
                  </a:lnTo>
                  <a:lnTo>
                    <a:pt x="227" y="25"/>
                  </a:lnTo>
                  <a:lnTo>
                    <a:pt x="227" y="25"/>
                  </a:lnTo>
                  <a:lnTo>
                    <a:pt x="224" y="25"/>
                  </a:lnTo>
                  <a:lnTo>
                    <a:pt x="220" y="25"/>
                  </a:lnTo>
                  <a:lnTo>
                    <a:pt x="217" y="23"/>
                  </a:lnTo>
                  <a:lnTo>
                    <a:pt x="215" y="22"/>
                  </a:lnTo>
                  <a:lnTo>
                    <a:pt x="215" y="20"/>
                  </a:lnTo>
                  <a:lnTo>
                    <a:pt x="215" y="20"/>
                  </a:lnTo>
                  <a:lnTo>
                    <a:pt x="220" y="16"/>
                  </a:lnTo>
                  <a:lnTo>
                    <a:pt x="220" y="13"/>
                  </a:lnTo>
                  <a:lnTo>
                    <a:pt x="220" y="12"/>
                  </a:lnTo>
                  <a:lnTo>
                    <a:pt x="220" y="12"/>
                  </a:lnTo>
                  <a:lnTo>
                    <a:pt x="217" y="12"/>
                  </a:lnTo>
                  <a:lnTo>
                    <a:pt x="214" y="12"/>
                  </a:lnTo>
                  <a:lnTo>
                    <a:pt x="211" y="13"/>
                  </a:lnTo>
                  <a:lnTo>
                    <a:pt x="210" y="15"/>
                  </a:lnTo>
                  <a:lnTo>
                    <a:pt x="210" y="15"/>
                  </a:lnTo>
                  <a:lnTo>
                    <a:pt x="207" y="23"/>
                  </a:lnTo>
                  <a:lnTo>
                    <a:pt x="204" y="26"/>
                  </a:lnTo>
                  <a:lnTo>
                    <a:pt x="204" y="26"/>
                  </a:lnTo>
                  <a:lnTo>
                    <a:pt x="202" y="26"/>
                  </a:lnTo>
                  <a:lnTo>
                    <a:pt x="202" y="26"/>
                  </a:lnTo>
                  <a:lnTo>
                    <a:pt x="201" y="22"/>
                  </a:lnTo>
                  <a:lnTo>
                    <a:pt x="201" y="18"/>
                  </a:lnTo>
                  <a:lnTo>
                    <a:pt x="201" y="10"/>
                  </a:lnTo>
                  <a:lnTo>
                    <a:pt x="201" y="10"/>
                  </a:lnTo>
                  <a:lnTo>
                    <a:pt x="192" y="4"/>
                  </a:lnTo>
                  <a:lnTo>
                    <a:pt x="192" y="4"/>
                  </a:lnTo>
                  <a:lnTo>
                    <a:pt x="187" y="0"/>
                  </a:lnTo>
                  <a:lnTo>
                    <a:pt x="184" y="0"/>
                  </a:lnTo>
                  <a:lnTo>
                    <a:pt x="181" y="0"/>
                  </a:lnTo>
                  <a:lnTo>
                    <a:pt x="181" y="0"/>
                  </a:lnTo>
                  <a:lnTo>
                    <a:pt x="179" y="3"/>
                  </a:lnTo>
                  <a:lnTo>
                    <a:pt x="176" y="9"/>
                  </a:lnTo>
                  <a:lnTo>
                    <a:pt x="173" y="16"/>
                  </a:lnTo>
                  <a:lnTo>
                    <a:pt x="171" y="20"/>
                  </a:lnTo>
                  <a:lnTo>
                    <a:pt x="171" y="20"/>
                  </a:lnTo>
                  <a:lnTo>
                    <a:pt x="163" y="23"/>
                  </a:lnTo>
                  <a:lnTo>
                    <a:pt x="155" y="26"/>
                  </a:lnTo>
                  <a:lnTo>
                    <a:pt x="147" y="28"/>
                  </a:lnTo>
                  <a:lnTo>
                    <a:pt x="142" y="29"/>
                  </a:lnTo>
                  <a:lnTo>
                    <a:pt x="142" y="29"/>
                  </a:lnTo>
                  <a:lnTo>
                    <a:pt x="136" y="28"/>
                  </a:lnTo>
                  <a:lnTo>
                    <a:pt x="133" y="28"/>
                  </a:lnTo>
                  <a:lnTo>
                    <a:pt x="130" y="28"/>
                  </a:lnTo>
                  <a:lnTo>
                    <a:pt x="130" y="28"/>
                  </a:lnTo>
                  <a:lnTo>
                    <a:pt x="127" y="35"/>
                  </a:lnTo>
                  <a:lnTo>
                    <a:pt x="124" y="39"/>
                  </a:lnTo>
                  <a:lnTo>
                    <a:pt x="121" y="41"/>
                  </a:lnTo>
                  <a:lnTo>
                    <a:pt x="121" y="41"/>
                  </a:lnTo>
                  <a:lnTo>
                    <a:pt x="113" y="44"/>
                  </a:lnTo>
                  <a:lnTo>
                    <a:pt x="105" y="45"/>
                  </a:lnTo>
                  <a:lnTo>
                    <a:pt x="98" y="46"/>
                  </a:lnTo>
                  <a:lnTo>
                    <a:pt x="98" y="46"/>
                  </a:lnTo>
                  <a:lnTo>
                    <a:pt x="94" y="48"/>
                  </a:lnTo>
                  <a:lnTo>
                    <a:pt x="92" y="51"/>
                  </a:lnTo>
                  <a:lnTo>
                    <a:pt x="92" y="54"/>
                  </a:lnTo>
                  <a:lnTo>
                    <a:pt x="92" y="55"/>
                  </a:lnTo>
                  <a:lnTo>
                    <a:pt x="92" y="55"/>
                  </a:lnTo>
                  <a:lnTo>
                    <a:pt x="89" y="58"/>
                  </a:lnTo>
                  <a:lnTo>
                    <a:pt x="88" y="62"/>
                  </a:lnTo>
                  <a:lnTo>
                    <a:pt x="87" y="67"/>
                  </a:lnTo>
                  <a:lnTo>
                    <a:pt x="85" y="70"/>
                  </a:lnTo>
                  <a:lnTo>
                    <a:pt x="85" y="70"/>
                  </a:lnTo>
                  <a:lnTo>
                    <a:pt x="82" y="74"/>
                  </a:lnTo>
                  <a:lnTo>
                    <a:pt x="79" y="81"/>
                  </a:lnTo>
                  <a:lnTo>
                    <a:pt x="75" y="94"/>
                  </a:lnTo>
                  <a:lnTo>
                    <a:pt x="75" y="94"/>
                  </a:lnTo>
                  <a:lnTo>
                    <a:pt x="69" y="106"/>
                  </a:lnTo>
                  <a:lnTo>
                    <a:pt x="65" y="112"/>
                  </a:lnTo>
                  <a:lnTo>
                    <a:pt x="62" y="115"/>
                  </a:lnTo>
                  <a:lnTo>
                    <a:pt x="62" y="115"/>
                  </a:lnTo>
                  <a:lnTo>
                    <a:pt x="58" y="113"/>
                  </a:lnTo>
                  <a:lnTo>
                    <a:pt x="53" y="115"/>
                  </a:lnTo>
                  <a:lnTo>
                    <a:pt x="53" y="115"/>
                  </a:lnTo>
                  <a:lnTo>
                    <a:pt x="43" y="116"/>
                  </a:lnTo>
                  <a:lnTo>
                    <a:pt x="30" y="117"/>
                  </a:lnTo>
                  <a:lnTo>
                    <a:pt x="30" y="117"/>
                  </a:lnTo>
                  <a:lnTo>
                    <a:pt x="29" y="119"/>
                  </a:lnTo>
                  <a:lnTo>
                    <a:pt x="27" y="120"/>
                  </a:lnTo>
                  <a:lnTo>
                    <a:pt x="26" y="125"/>
                  </a:lnTo>
                  <a:lnTo>
                    <a:pt x="26" y="129"/>
                  </a:lnTo>
                  <a:lnTo>
                    <a:pt x="26" y="131"/>
                  </a:lnTo>
                  <a:lnTo>
                    <a:pt x="24" y="132"/>
                  </a:lnTo>
                  <a:lnTo>
                    <a:pt x="24" y="132"/>
                  </a:lnTo>
                  <a:lnTo>
                    <a:pt x="20" y="132"/>
                  </a:lnTo>
                  <a:lnTo>
                    <a:pt x="19" y="133"/>
                  </a:lnTo>
                  <a:lnTo>
                    <a:pt x="19" y="135"/>
                  </a:lnTo>
                  <a:lnTo>
                    <a:pt x="19" y="135"/>
                  </a:lnTo>
                  <a:lnTo>
                    <a:pt x="21" y="138"/>
                  </a:lnTo>
                  <a:lnTo>
                    <a:pt x="24" y="139"/>
                  </a:lnTo>
                  <a:lnTo>
                    <a:pt x="27" y="142"/>
                  </a:lnTo>
                  <a:lnTo>
                    <a:pt x="30" y="145"/>
                  </a:lnTo>
                  <a:lnTo>
                    <a:pt x="30" y="145"/>
                  </a:lnTo>
                  <a:lnTo>
                    <a:pt x="33" y="148"/>
                  </a:lnTo>
                  <a:lnTo>
                    <a:pt x="34" y="149"/>
                  </a:lnTo>
                  <a:lnTo>
                    <a:pt x="37" y="149"/>
                  </a:lnTo>
                  <a:lnTo>
                    <a:pt x="39" y="152"/>
                  </a:lnTo>
                  <a:lnTo>
                    <a:pt x="39" y="152"/>
                  </a:lnTo>
                  <a:lnTo>
                    <a:pt x="46" y="159"/>
                  </a:lnTo>
                  <a:lnTo>
                    <a:pt x="52" y="165"/>
                  </a:lnTo>
                  <a:lnTo>
                    <a:pt x="52" y="165"/>
                  </a:lnTo>
                  <a:lnTo>
                    <a:pt x="56" y="168"/>
                  </a:lnTo>
                  <a:lnTo>
                    <a:pt x="58" y="173"/>
                  </a:lnTo>
                  <a:lnTo>
                    <a:pt x="58" y="173"/>
                  </a:lnTo>
                  <a:lnTo>
                    <a:pt x="61" y="180"/>
                  </a:lnTo>
                  <a:lnTo>
                    <a:pt x="65" y="188"/>
                  </a:lnTo>
                  <a:lnTo>
                    <a:pt x="65" y="188"/>
                  </a:lnTo>
                  <a:lnTo>
                    <a:pt x="66" y="191"/>
                  </a:lnTo>
                  <a:lnTo>
                    <a:pt x="71" y="194"/>
                  </a:lnTo>
                  <a:lnTo>
                    <a:pt x="74" y="196"/>
                  </a:lnTo>
                  <a:lnTo>
                    <a:pt x="78" y="196"/>
                  </a:lnTo>
                  <a:lnTo>
                    <a:pt x="78" y="196"/>
                  </a:lnTo>
                  <a:lnTo>
                    <a:pt x="88" y="196"/>
                  </a:lnTo>
                  <a:lnTo>
                    <a:pt x="94" y="199"/>
                  </a:lnTo>
                  <a:lnTo>
                    <a:pt x="95" y="199"/>
                  </a:lnTo>
                  <a:lnTo>
                    <a:pt x="95" y="200"/>
                  </a:lnTo>
                  <a:lnTo>
                    <a:pt x="95" y="200"/>
                  </a:lnTo>
                  <a:lnTo>
                    <a:pt x="97" y="203"/>
                  </a:lnTo>
                  <a:lnTo>
                    <a:pt x="98" y="204"/>
                  </a:lnTo>
                  <a:lnTo>
                    <a:pt x="103" y="209"/>
                  </a:lnTo>
                  <a:lnTo>
                    <a:pt x="103" y="209"/>
                  </a:lnTo>
                  <a:lnTo>
                    <a:pt x="108" y="210"/>
                  </a:lnTo>
                  <a:lnTo>
                    <a:pt x="113" y="212"/>
                  </a:lnTo>
                  <a:lnTo>
                    <a:pt x="117" y="212"/>
                  </a:lnTo>
                  <a:lnTo>
                    <a:pt x="118" y="213"/>
                  </a:lnTo>
                  <a:lnTo>
                    <a:pt x="118" y="213"/>
                  </a:lnTo>
                  <a:lnTo>
                    <a:pt x="118" y="213"/>
                  </a:lnTo>
                  <a:lnTo>
                    <a:pt x="117" y="216"/>
                  </a:lnTo>
                  <a:lnTo>
                    <a:pt x="116" y="217"/>
                  </a:lnTo>
                  <a:lnTo>
                    <a:pt x="113" y="217"/>
                  </a:lnTo>
                  <a:lnTo>
                    <a:pt x="113" y="217"/>
                  </a:lnTo>
                  <a:lnTo>
                    <a:pt x="103" y="215"/>
                  </a:lnTo>
                  <a:lnTo>
                    <a:pt x="97" y="212"/>
                  </a:lnTo>
                  <a:lnTo>
                    <a:pt x="94" y="209"/>
                  </a:lnTo>
                  <a:lnTo>
                    <a:pt x="94" y="209"/>
                  </a:lnTo>
                  <a:lnTo>
                    <a:pt x="91" y="207"/>
                  </a:lnTo>
                  <a:lnTo>
                    <a:pt x="91" y="209"/>
                  </a:lnTo>
                  <a:lnTo>
                    <a:pt x="92" y="215"/>
                  </a:lnTo>
                  <a:lnTo>
                    <a:pt x="92" y="215"/>
                  </a:lnTo>
                  <a:lnTo>
                    <a:pt x="92" y="222"/>
                  </a:lnTo>
                  <a:lnTo>
                    <a:pt x="92" y="223"/>
                  </a:lnTo>
                  <a:lnTo>
                    <a:pt x="94" y="223"/>
                  </a:lnTo>
                  <a:lnTo>
                    <a:pt x="94" y="223"/>
                  </a:lnTo>
                  <a:lnTo>
                    <a:pt x="98" y="219"/>
                  </a:lnTo>
                  <a:lnTo>
                    <a:pt x="100" y="217"/>
                  </a:lnTo>
                  <a:lnTo>
                    <a:pt x="103" y="220"/>
                  </a:lnTo>
                  <a:lnTo>
                    <a:pt x="103" y="220"/>
                  </a:lnTo>
                  <a:lnTo>
                    <a:pt x="108" y="226"/>
                  </a:lnTo>
                  <a:lnTo>
                    <a:pt x="110" y="228"/>
                  </a:lnTo>
                  <a:lnTo>
                    <a:pt x="110" y="229"/>
                  </a:lnTo>
                  <a:lnTo>
                    <a:pt x="110" y="229"/>
                  </a:lnTo>
                  <a:lnTo>
                    <a:pt x="105" y="229"/>
                  </a:lnTo>
                  <a:lnTo>
                    <a:pt x="104" y="229"/>
                  </a:lnTo>
                  <a:lnTo>
                    <a:pt x="103" y="230"/>
                  </a:lnTo>
                  <a:lnTo>
                    <a:pt x="103" y="230"/>
                  </a:lnTo>
                  <a:lnTo>
                    <a:pt x="103" y="236"/>
                  </a:lnTo>
                  <a:lnTo>
                    <a:pt x="101" y="239"/>
                  </a:lnTo>
                  <a:lnTo>
                    <a:pt x="98" y="239"/>
                  </a:lnTo>
                  <a:lnTo>
                    <a:pt x="98" y="239"/>
                  </a:lnTo>
                  <a:lnTo>
                    <a:pt x="92" y="236"/>
                  </a:lnTo>
                  <a:lnTo>
                    <a:pt x="88" y="236"/>
                  </a:lnTo>
                  <a:lnTo>
                    <a:pt x="88" y="236"/>
                  </a:lnTo>
                  <a:lnTo>
                    <a:pt x="85" y="239"/>
                  </a:lnTo>
                  <a:lnTo>
                    <a:pt x="82" y="239"/>
                  </a:lnTo>
                  <a:lnTo>
                    <a:pt x="82" y="239"/>
                  </a:lnTo>
                  <a:lnTo>
                    <a:pt x="82" y="239"/>
                  </a:lnTo>
                  <a:lnTo>
                    <a:pt x="79" y="238"/>
                  </a:lnTo>
                  <a:lnTo>
                    <a:pt x="76" y="236"/>
                  </a:lnTo>
                  <a:lnTo>
                    <a:pt x="76" y="236"/>
                  </a:lnTo>
                  <a:lnTo>
                    <a:pt x="72" y="236"/>
                  </a:lnTo>
                  <a:lnTo>
                    <a:pt x="69" y="235"/>
                  </a:lnTo>
                  <a:lnTo>
                    <a:pt x="66" y="233"/>
                  </a:lnTo>
                  <a:lnTo>
                    <a:pt x="66" y="233"/>
                  </a:lnTo>
                  <a:lnTo>
                    <a:pt x="63" y="228"/>
                  </a:lnTo>
                  <a:lnTo>
                    <a:pt x="63" y="225"/>
                  </a:lnTo>
                  <a:lnTo>
                    <a:pt x="63" y="222"/>
                  </a:lnTo>
                  <a:lnTo>
                    <a:pt x="63" y="222"/>
                  </a:lnTo>
                  <a:lnTo>
                    <a:pt x="65" y="215"/>
                  </a:lnTo>
                  <a:lnTo>
                    <a:pt x="65" y="210"/>
                  </a:lnTo>
                  <a:lnTo>
                    <a:pt x="65" y="209"/>
                  </a:lnTo>
                  <a:lnTo>
                    <a:pt x="65" y="209"/>
                  </a:lnTo>
                  <a:lnTo>
                    <a:pt x="55" y="210"/>
                  </a:lnTo>
                  <a:lnTo>
                    <a:pt x="50" y="213"/>
                  </a:lnTo>
                  <a:lnTo>
                    <a:pt x="46" y="215"/>
                  </a:lnTo>
                  <a:lnTo>
                    <a:pt x="46" y="215"/>
                  </a:lnTo>
                  <a:lnTo>
                    <a:pt x="45" y="216"/>
                  </a:lnTo>
                  <a:lnTo>
                    <a:pt x="42" y="217"/>
                  </a:lnTo>
                  <a:lnTo>
                    <a:pt x="39" y="220"/>
                  </a:lnTo>
                  <a:lnTo>
                    <a:pt x="34" y="222"/>
                  </a:lnTo>
                  <a:lnTo>
                    <a:pt x="34" y="222"/>
                  </a:lnTo>
                  <a:lnTo>
                    <a:pt x="32" y="226"/>
                  </a:lnTo>
                  <a:lnTo>
                    <a:pt x="30" y="229"/>
                  </a:lnTo>
                  <a:lnTo>
                    <a:pt x="30" y="229"/>
                  </a:lnTo>
                  <a:lnTo>
                    <a:pt x="29" y="232"/>
                  </a:lnTo>
                  <a:lnTo>
                    <a:pt x="27" y="233"/>
                  </a:lnTo>
                  <a:lnTo>
                    <a:pt x="26" y="233"/>
                  </a:lnTo>
                  <a:lnTo>
                    <a:pt x="26" y="233"/>
                  </a:lnTo>
                  <a:lnTo>
                    <a:pt x="23" y="233"/>
                  </a:lnTo>
                  <a:lnTo>
                    <a:pt x="20" y="236"/>
                  </a:lnTo>
                  <a:lnTo>
                    <a:pt x="13" y="241"/>
                  </a:lnTo>
                  <a:lnTo>
                    <a:pt x="13" y="241"/>
                  </a:lnTo>
                  <a:lnTo>
                    <a:pt x="8" y="242"/>
                  </a:lnTo>
                  <a:lnTo>
                    <a:pt x="5" y="243"/>
                  </a:lnTo>
                  <a:lnTo>
                    <a:pt x="4" y="245"/>
                  </a:lnTo>
                  <a:lnTo>
                    <a:pt x="4" y="245"/>
                  </a:lnTo>
                  <a:lnTo>
                    <a:pt x="3" y="249"/>
                  </a:lnTo>
                  <a:lnTo>
                    <a:pt x="1" y="251"/>
                  </a:lnTo>
                  <a:lnTo>
                    <a:pt x="0" y="251"/>
                  </a:lnTo>
                  <a:lnTo>
                    <a:pt x="0" y="251"/>
                  </a:lnTo>
                  <a:lnTo>
                    <a:pt x="0" y="252"/>
                  </a:lnTo>
                  <a:lnTo>
                    <a:pt x="0" y="254"/>
                  </a:lnTo>
                  <a:lnTo>
                    <a:pt x="5" y="257"/>
                  </a:lnTo>
                  <a:lnTo>
                    <a:pt x="5" y="257"/>
                  </a:lnTo>
                  <a:lnTo>
                    <a:pt x="11" y="259"/>
                  </a:lnTo>
                  <a:lnTo>
                    <a:pt x="13" y="261"/>
                  </a:lnTo>
                  <a:lnTo>
                    <a:pt x="13" y="264"/>
                  </a:lnTo>
                  <a:lnTo>
                    <a:pt x="13" y="264"/>
                  </a:lnTo>
                  <a:lnTo>
                    <a:pt x="14" y="268"/>
                  </a:lnTo>
                  <a:lnTo>
                    <a:pt x="16" y="272"/>
                  </a:lnTo>
                  <a:lnTo>
                    <a:pt x="20" y="280"/>
                  </a:lnTo>
                  <a:lnTo>
                    <a:pt x="20" y="280"/>
                  </a:lnTo>
                  <a:lnTo>
                    <a:pt x="21" y="283"/>
                  </a:lnTo>
                  <a:lnTo>
                    <a:pt x="23" y="288"/>
                  </a:lnTo>
                  <a:lnTo>
                    <a:pt x="24" y="293"/>
                  </a:lnTo>
                  <a:lnTo>
                    <a:pt x="26" y="296"/>
                  </a:lnTo>
                  <a:lnTo>
                    <a:pt x="27" y="296"/>
                  </a:lnTo>
                  <a:lnTo>
                    <a:pt x="27" y="296"/>
                  </a:lnTo>
                  <a:lnTo>
                    <a:pt x="36" y="299"/>
                  </a:lnTo>
                  <a:lnTo>
                    <a:pt x="40" y="300"/>
                  </a:lnTo>
                  <a:lnTo>
                    <a:pt x="46" y="299"/>
                  </a:lnTo>
                  <a:lnTo>
                    <a:pt x="46" y="299"/>
                  </a:lnTo>
                  <a:lnTo>
                    <a:pt x="56" y="297"/>
                  </a:lnTo>
                  <a:lnTo>
                    <a:pt x="65" y="297"/>
                  </a:lnTo>
                  <a:lnTo>
                    <a:pt x="65" y="297"/>
                  </a:lnTo>
                  <a:lnTo>
                    <a:pt x="71" y="296"/>
                  </a:lnTo>
                  <a:lnTo>
                    <a:pt x="74" y="294"/>
                  </a:lnTo>
                  <a:lnTo>
                    <a:pt x="74" y="294"/>
                  </a:lnTo>
                  <a:lnTo>
                    <a:pt x="75" y="294"/>
                  </a:lnTo>
                  <a:lnTo>
                    <a:pt x="76" y="296"/>
                  </a:lnTo>
                  <a:lnTo>
                    <a:pt x="78" y="297"/>
                  </a:lnTo>
                  <a:lnTo>
                    <a:pt x="81" y="296"/>
                  </a:lnTo>
                  <a:lnTo>
                    <a:pt x="81" y="296"/>
                  </a:lnTo>
                  <a:lnTo>
                    <a:pt x="85" y="293"/>
                  </a:lnTo>
                  <a:lnTo>
                    <a:pt x="89" y="288"/>
                  </a:lnTo>
                  <a:lnTo>
                    <a:pt x="94" y="284"/>
                  </a:lnTo>
                  <a:lnTo>
                    <a:pt x="95" y="283"/>
                  </a:lnTo>
                  <a:lnTo>
                    <a:pt x="98" y="281"/>
                  </a:lnTo>
                  <a:lnTo>
                    <a:pt x="98" y="281"/>
                  </a:lnTo>
                  <a:lnTo>
                    <a:pt x="100" y="283"/>
                  </a:lnTo>
                  <a:lnTo>
                    <a:pt x="101" y="284"/>
                  </a:lnTo>
                  <a:lnTo>
                    <a:pt x="103" y="285"/>
                  </a:lnTo>
                  <a:lnTo>
                    <a:pt x="104" y="285"/>
                  </a:lnTo>
                  <a:lnTo>
                    <a:pt x="104" y="285"/>
                  </a:lnTo>
                  <a:lnTo>
                    <a:pt x="107" y="284"/>
                  </a:lnTo>
                  <a:lnTo>
                    <a:pt x="108" y="284"/>
                  </a:lnTo>
                  <a:lnTo>
                    <a:pt x="108" y="287"/>
                  </a:lnTo>
                  <a:lnTo>
                    <a:pt x="108" y="287"/>
                  </a:lnTo>
                  <a:lnTo>
                    <a:pt x="107" y="294"/>
                  </a:lnTo>
                  <a:lnTo>
                    <a:pt x="107" y="296"/>
                  </a:lnTo>
                  <a:lnTo>
                    <a:pt x="104" y="297"/>
                  </a:lnTo>
                  <a:lnTo>
                    <a:pt x="104" y="297"/>
                  </a:lnTo>
                  <a:lnTo>
                    <a:pt x="104" y="297"/>
                  </a:lnTo>
                  <a:lnTo>
                    <a:pt x="104" y="299"/>
                  </a:lnTo>
                  <a:lnTo>
                    <a:pt x="105" y="300"/>
                  </a:lnTo>
                  <a:lnTo>
                    <a:pt x="108" y="303"/>
                  </a:lnTo>
                  <a:lnTo>
                    <a:pt x="110" y="306"/>
                  </a:lnTo>
                  <a:lnTo>
                    <a:pt x="110" y="306"/>
                  </a:lnTo>
                  <a:lnTo>
                    <a:pt x="111" y="317"/>
                  </a:lnTo>
                  <a:lnTo>
                    <a:pt x="111" y="323"/>
                  </a:lnTo>
                  <a:lnTo>
                    <a:pt x="108" y="327"/>
                  </a:lnTo>
                  <a:lnTo>
                    <a:pt x="108" y="327"/>
                  </a:lnTo>
                  <a:lnTo>
                    <a:pt x="105" y="330"/>
                  </a:lnTo>
                  <a:lnTo>
                    <a:pt x="101" y="332"/>
                  </a:lnTo>
                  <a:lnTo>
                    <a:pt x="94" y="333"/>
                  </a:lnTo>
                  <a:lnTo>
                    <a:pt x="94" y="333"/>
                  </a:lnTo>
                  <a:lnTo>
                    <a:pt x="91" y="333"/>
                  </a:lnTo>
                  <a:lnTo>
                    <a:pt x="88" y="336"/>
                  </a:lnTo>
                  <a:lnTo>
                    <a:pt x="82" y="341"/>
                  </a:lnTo>
                  <a:lnTo>
                    <a:pt x="82" y="341"/>
                  </a:lnTo>
                  <a:lnTo>
                    <a:pt x="75" y="345"/>
                  </a:lnTo>
                  <a:lnTo>
                    <a:pt x="72" y="346"/>
                  </a:lnTo>
                  <a:lnTo>
                    <a:pt x="71" y="345"/>
                  </a:lnTo>
                  <a:lnTo>
                    <a:pt x="71" y="345"/>
                  </a:lnTo>
                  <a:lnTo>
                    <a:pt x="68" y="342"/>
                  </a:lnTo>
                  <a:lnTo>
                    <a:pt x="66" y="341"/>
                  </a:lnTo>
                  <a:lnTo>
                    <a:pt x="63" y="341"/>
                  </a:lnTo>
                  <a:lnTo>
                    <a:pt x="63" y="341"/>
                  </a:lnTo>
                  <a:lnTo>
                    <a:pt x="56" y="341"/>
                  </a:lnTo>
                  <a:lnTo>
                    <a:pt x="53" y="341"/>
                  </a:lnTo>
                  <a:lnTo>
                    <a:pt x="50" y="342"/>
                  </a:lnTo>
                  <a:lnTo>
                    <a:pt x="50" y="342"/>
                  </a:lnTo>
                  <a:lnTo>
                    <a:pt x="49" y="346"/>
                  </a:lnTo>
                  <a:lnTo>
                    <a:pt x="47" y="352"/>
                  </a:lnTo>
                  <a:lnTo>
                    <a:pt x="46" y="356"/>
                  </a:lnTo>
                  <a:lnTo>
                    <a:pt x="45" y="361"/>
                  </a:lnTo>
                  <a:lnTo>
                    <a:pt x="45" y="361"/>
                  </a:lnTo>
                  <a:lnTo>
                    <a:pt x="37" y="371"/>
                  </a:lnTo>
                  <a:lnTo>
                    <a:pt x="33" y="377"/>
                  </a:lnTo>
                  <a:lnTo>
                    <a:pt x="30" y="383"/>
                  </a:lnTo>
                  <a:lnTo>
                    <a:pt x="30" y="383"/>
                  </a:lnTo>
                  <a:lnTo>
                    <a:pt x="30" y="388"/>
                  </a:lnTo>
                  <a:lnTo>
                    <a:pt x="30" y="391"/>
                  </a:lnTo>
                  <a:lnTo>
                    <a:pt x="29" y="393"/>
                  </a:lnTo>
                  <a:lnTo>
                    <a:pt x="29" y="393"/>
                  </a:lnTo>
                  <a:lnTo>
                    <a:pt x="26" y="396"/>
                  </a:lnTo>
                  <a:lnTo>
                    <a:pt x="24" y="398"/>
                  </a:lnTo>
                  <a:lnTo>
                    <a:pt x="24" y="401"/>
                  </a:lnTo>
                  <a:lnTo>
                    <a:pt x="26" y="403"/>
                  </a:lnTo>
                  <a:lnTo>
                    <a:pt x="26" y="403"/>
                  </a:lnTo>
                  <a:lnTo>
                    <a:pt x="29" y="401"/>
                  </a:lnTo>
                  <a:lnTo>
                    <a:pt x="32" y="400"/>
                  </a:lnTo>
                  <a:lnTo>
                    <a:pt x="33" y="398"/>
                  </a:lnTo>
                  <a:lnTo>
                    <a:pt x="33" y="400"/>
                  </a:lnTo>
                  <a:lnTo>
                    <a:pt x="33" y="400"/>
                  </a:lnTo>
                  <a:lnTo>
                    <a:pt x="32" y="406"/>
                  </a:lnTo>
                  <a:lnTo>
                    <a:pt x="29" y="410"/>
                  </a:lnTo>
                  <a:lnTo>
                    <a:pt x="29" y="410"/>
                  </a:lnTo>
                  <a:lnTo>
                    <a:pt x="30" y="413"/>
                  </a:lnTo>
                  <a:lnTo>
                    <a:pt x="33" y="414"/>
                  </a:lnTo>
                  <a:lnTo>
                    <a:pt x="40" y="417"/>
                  </a:lnTo>
                  <a:lnTo>
                    <a:pt x="40" y="417"/>
                  </a:lnTo>
                  <a:lnTo>
                    <a:pt x="47" y="422"/>
                  </a:lnTo>
                  <a:lnTo>
                    <a:pt x="55" y="425"/>
                  </a:lnTo>
                  <a:lnTo>
                    <a:pt x="55" y="425"/>
                  </a:lnTo>
                  <a:lnTo>
                    <a:pt x="59" y="425"/>
                  </a:lnTo>
                  <a:lnTo>
                    <a:pt x="62" y="425"/>
                  </a:lnTo>
                  <a:lnTo>
                    <a:pt x="65" y="426"/>
                  </a:lnTo>
                  <a:lnTo>
                    <a:pt x="65" y="427"/>
                  </a:lnTo>
                  <a:lnTo>
                    <a:pt x="65" y="427"/>
                  </a:lnTo>
                  <a:lnTo>
                    <a:pt x="62" y="430"/>
                  </a:lnTo>
                  <a:lnTo>
                    <a:pt x="61" y="432"/>
                  </a:lnTo>
                  <a:lnTo>
                    <a:pt x="58" y="435"/>
                  </a:lnTo>
                  <a:lnTo>
                    <a:pt x="56" y="438"/>
                  </a:lnTo>
                  <a:lnTo>
                    <a:pt x="56" y="438"/>
                  </a:lnTo>
                  <a:lnTo>
                    <a:pt x="56" y="445"/>
                  </a:lnTo>
                  <a:lnTo>
                    <a:pt x="56" y="448"/>
                  </a:lnTo>
                  <a:lnTo>
                    <a:pt x="58" y="451"/>
                  </a:lnTo>
                  <a:lnTo>
                    <a:pt x="58" y="451"/>
                  </a:lnTo>
                  <a:lnTo>
                    <a:pt x="61" y="452"/>
                  </a:lnTo>
                  <a:lnTo>
                    <a:pt x="63" y="455"/>
                  </a:lnTo>
                  <a:lnTo>
                    <a:pt x="63" y="455"/>
                  </a:lnTo>
                  <a:lnTo>
                    <a:pt x="65" y="458"/>
                  </a:lnTo>
                  <a:lnTo>
                    <a:pt x="69" y="458"/>
                  </a:lnTo>
                  <a:lnTo>
                    <a:pt x="76" y="458"/>
                  </a:lnTo>
                  <a:lnTo>
                    <a:pt x="76" y="458"/>
                  </a:lnTo>
                  <a:lnTo>
                    <a:pt x="81" y="456"/>
                  </a:lnTo>
                  <a:lnTo>
                    <a:pt x="84" y="455"/>
                  </a:lnTo>
                  <a:lnTo>
                    <a:pt x="85" y="452"/>
                  </a:lnTo>
                  <a:lnTo>
                    <a:pt x="85" y="451"/>
                  </a:lnTo>
                  <a:lnTo>
                    <a:pt x="85" y="451"/>
                  </a:lnTo>
                  <a:lnTo>
                    <a:pt x="84" y="446"/>
                  </a:lnTo>
                  <a:lnTo>
                    <a:pt x="84" y="442"/>
                  </a:lnTo>
                  <a:lnTo>
                    <a:pt x="85" y="439"/>
                  </a:lnTo>
                  <a:lnTo>
                    <a:pt x="87" y="438"/>
                  </a:lnTo>
                  <a:lnTo>
                    <a:pt x="87" y="438"/>
                  </a:lnTo>
                  <a:lnTo>
                    <a:pt x="88" y="439"/>
                  </a:lnTo>
                  <a:lnTo>
                    <a:pt x="89" y="445"/>
                  </a:lnTo>
                  <a:lnTo>
                    <a:pt x="91" y="454"/>
                  </a:lnTo>
                  <a:lnTo>
                    <a:pt x="91" y="454"/>
                  </a:lnTo>
                  <a:lnTo>
                    <a:pt x="92" y="458"/>
                  </a:lnTo>
                  <a:lnTo>
                    <a:pt x="91" y="465"/>
                  </a:lnTo>
                  <a:lnTo>
                    <a:pt x="91" y="465"/>
                  </a:lnTo>
                  <a:lnTo>
                    <a:pt x="89" y="471"/>
                  </a:lnTo>
                  <a:lnTo>
                    <a:pt x="91" y="475"/>
                  </a:lnTo>
                  <a:lnTo>
                    <a:pt x="91" y="475"/>
                  </a:lnTo>
                  <a:lnTo>
                    <a:pt x="94" y="480"/>
                  </a:lnTo>
                  <a:lnTo>
                    <a:pt x="95" y="482"/>
                  </a:lnTo>
                  <a:lnTo>
                    <a:pt x="95" y="482"/>
                  </a:lnTo>
                  <a:lnTo>
                    <a:pt x="94" y="485"/>
                  </a:lnTo>
                  <a:lnTo>
                    <a:pt x="89" y="488"/>
                  </a:lnTo>
                  <a:lnTo>
                    <a:pt x="89" y="488"/>
                  </a:lnTo>
                  <a:lnTo>
                    <a:pt x="85" y="493"/>
                  </a:lnTo>
                  <a:lnTo>
                    <a:pt x="84" y="494"/>
                  </a:lnTo>
                  <a:lnTo>
                    <a:pt x="87" y="494"/>
                  </a:lnTo>
                  <a:lnTo>
                    <a:pt x="87" y="494"/>
                  </a:lnTo>
                  <a:lnTo>
                    <a:pt x="94" y="496"/>
                  </a:lnTo>
                  <a:lnTo>
                    <a:pt x="97" y="496"/>
                  </a:lnTo>
                  <a:lnTo>
                    <a:pt x="100" y="494"/>
                  </a:lnTo>
                  <a:lnTo>
                    <a:pt x="100" y="494"/>
                  </a:lnTo>
                  <a:lnTo>
                    <a:pt x="108" y="488"/>
                  </a:lnTo>
                  <a:lnTo>
                    <a:pt x="113" y="484"/>
                  </a:lnTo>
                  <a:lnTo>
                    <a:pt x="118" y="484"/>
                  </a:lnTo>
                  <a:lnTo>
                    <a:pt x="118" y="484"/>
                  </a:lnTo>
                  <a:lnTo>
                    <a:pt x="123" y="485"/>
                  </a:lnTo>
                  <a:lnTo>
                    <a:pt x="126" y="487"/>
                  </a:lnTo>
                  <a:lnTo>
                    <a:pt x="129" y="488"/>
                  </a:lnTo>
                  <a:lnTo>
                    <a:pt x="130" y="488"/>
                  </a:lnTo>
                  <a:lnTo>
                    <a:pt x="130" y="488"/>
                  </a:lnTo>
                  <a:lnTo>
                    <a:pt x="131" y="487"/>
                  </a:lnTo>
                  <a:lnTo>
                    <a:pt x="131" y="485"/>
                  </a:lnTo>
                  <a:lnTo>
                    <a:pt x="133" y="485"/>
                  </a:lnTo>
                  <a:lnTo>
                    <a:pt x="136" y="487"/>
                  </a:lnTo>
                  <a:lnTo>
                    <a:pt x="136" y="487"/>
                  </a:lnTo>
                  <a:lnTo>
                    <a:pt x="143" y="494"/>
                  </a:lnTo>
                  <a:lnTo>
                    <a:pt x="146" y="497"/>
                  </a:lnTo>
                  <a:lnTo>
                    <a:pt x="147" y="497"/>
                  </a:lnTo>
                  <a:lnTo>
                    <a:pt x="149" y="496"/>
                  </a:lnTo>
                  <a:lnTo>
                    <a:pt x="149" y="496"/>
                  </a:lnTo>
                  <a:lnTo>
                    <a:pt x="149" y="493"/>
                  </a:lnTo>
                  <a:lnTo>
                    <a:pt x="147" y="491"/>
                  </a:lnTo>
                  <a:lnTo>
                    <a:pt x="146" y="490"/>
                  </a:lnTo>
                  <a:lnTo>
                    <a:pt x="145" y="487"/>
                  </a:lnTo>
                  <a:lnTo>
                    <a:pt x="145" y="487"/>
                  </a:lnTo>
                  <a:lnTo>
                    <a:pt x="147" y="480"/>
                  </a:lnTo>
                  <a:lnTo>
                    <a:pt x="149" y="478"/>
                  </a:lnTo>
                  <a:lnTo>
                    <a:pt x="152" y="478"/>
                  </a:lnTo>
                  <a:lnTo>
                    <a:pt x="152" y="478"/>
                  </a:lnTo>
                  <a:lnTo>
                    <a:pt x="152" y="481"/>
                  </a:lnTo>
                  <a:lnTo>
                    <a:pt x="153" y="484"/>
                  </a:lnTo>
                  <a:lnTo>
                    <a:pt x="153" y="487"/>
                  </a:lnTo>
                  <a:lnTo>
                    <a:pt x="156" y="488"/>
                  </a:lnTo>
                  <a:lnTo>
                    <a:pt x="156" y="488"/>
                  </a:lnTo>
                  <a:lnTo>
                    <a:pt x="160" y="488"/>
                  </a:lnTo>
                  <a:lnTo>
                    <a:pt x="166" y="485"/>
                  </a:lnTo>
                  <a:lnTo>
                    <a:pt x="172" y="481"/>
                  </a:lnTo>
                  <a:lnTo>
                    <a:pt x="172" y="481"/>
                  </a:lnTo>
                  <a:lnTo>
                    <a:pt x="175" y="477"/>
                  </a:lnTo>
                  <a:lnTo>
                    <a:pt x="175" y="477"/>
                  </a:lnTo>
                  <a:lnTo>
                    <a:pt x="176" y="480"/>
                  </a:lnTo>
                  <a:lnTo>
                    <a:pt x="176" y="480"/>
                  </a:lnTo>
                  <a:lnTo>
                    <a:pt x="176" y="482"/>
                  </a:lnTo>
                  <a:lnTo>
                    <a:pt x="175" y="485"/>
                  </a:lnTo>
                  <a:lnTo>
                    <a:pt x="171" y="493"/>
                  </a:lnTo>
                  <a:lnTo>
                    <a:pt x="171" y="493"/>
                  </a:lnTo>
                  <a:lnTo>
                    <a:pt x="165" y="500"/>
                  </a:lnTo>
                  <a:lnTo>
                    <a:pt x="162" y="503"/>
                  </a:lnTo>
                  <a:lnTo>
                    <a:pt x="160" y="507"/>
                  </a:lnTo>
                  <a:lnTo>
                    <a:pt x="160" y="507"/>
                  </a:lnTo>
                  <a:lnTo>
                    <a:pt x="160" y="516"/>
                  </a:lnTo>
                  <a:lnTo>
                    <a:pt x="159" y="522"/>
                  </a:lnTo>
                  <a:lnTo>
                    <a:pt x="158" y="527"/>
                  </a:lnTo>
                  <a:lnTo>
                    <a:pt x="158" y="527"/>
                  </a:lnTo>
                  <a:lnTo>
                    <a:pt x="152" y="539"/>
                  </a:lnTo>
                  <a:lnTo>
                    <a:pt x="150" y="543"/>
                  </a:lnTo>
                  <a:lnTo>
                    <a:pt x="147" y="546"/>
                  </a:lnTo>
                  <a:lnTo>
                    <a:pt x="147" y="546"/>
                  </a:lnTo>
                  <a:lnTo>
                    <a:pt x="140" y="548"/>
                  </a:lnTo>
                  <a:lnTo>
                    <a:pt x="134" y="549"/>
                  </a:lnTo>
                  <a:lnTo>
                    <a:pt x="131" y="552"/>
                  </a:lnTo>
                  <a:lnTo>
                    <a:pt x="131" y="552"/>
                  </a:lnTo>
                  <a:lnTo>
                    <a:pt x="126" y="562"/>
                  </a:lnTo>
                  <a:lnTo>
                    <a:pt x="123" y="566"/>
                  </a:lnTo>
                  <a:lnTo>
                    <a:pt x="120" y="569"/>
                  </a:lnTo>
                  <a:lnTo>
                    <a:pt x="120" y="569"/>
                  </a:lnTo>
                  <a:lnTo>
                    <a:pt x="118" y="569"/>
                  </a:lnTo>
                  <a:lnTo>
                    <a:pt x="117" y="568"/>
                  </a:lnTo>
                  <a:lnTo>
                    <a:pt x="116" y="568"/>
                  </a:lnTo>
                  <a:lnTo>
                    <a:pt x="113" y="568"/>
                  </a:lnTo>
                  <a:lnTo>
                    <a:pt x="113" y="568"/>
                  </a:lnTo>
                  <a:lnTo>
                    <a:pt x="108" y="569"/>
                  </a:lnTo>
                  <a:lnTo>
                    <a:pt x="104" y="571"/>
                  </a:lnTo>
                  <a:lnTo>
                    <a:pt x="98" y="572"/>
                  </a:lnTo>
                  <a:lnTo>
                    <a:pt x="94" y="575"/>
                  </a:lnTo>
                  <a:lnTo>
                    <a:pt x="94" y="575"/>
                  </a:lnTo>
                  <a:lnTo>
                    <a:pt x="89" y="582"/>
                  </a:lnTo>
                  <a:lnTo>
                    <a:pt x="87" y="587"/>
                  </a:lnTo>
                  <a:lnTo>
                    <a:pt x="87" y="587"/>
                  </a:lnTo>
                  <a:lnTo>
                    <a:pt x="87" y="588"/>
                  </a:lnTo>
                  <a:lnTo>
                    <a:pt x="85" y="590"/>
                  </a:lnTo>
                  <a:lnTo>
                    <a:pt x="87" y="591"/>
                  </a:lnTo>
                  <a:lnTo>
                    <a:pt x="89" y="591"/>
                  </a:lnTo>
                  <a:lnTo>
                    <a:pt x="89" y="591"/>
                  </a:lnTo>
                  <a:lnTo>
                    <a:pt x="95" y="593"/>
                  </a:lnTo>
                  <a:lnTo>
                    <a:pt x="97" y="591"/>
                  </a:lnTo>
                  <a:lnTo>
                    <a:pt x="98" y="588"/>
                  </a:lnTo>
                  <a:lnTo>
                    <a:pt x="98" y="588"/>
                  </a:lnTo>
                  <a:lnTo>
                    <a:pt x="101" y="582"/>
                  </a:lnTo>
                  <a:lnTo>
                    <a:pt x="103" y="580"/>
                  </a:lnTo>
                  <a:lnTo>
                    <a:pt x="104" y="581"/>
                  </a:lnTo>
                  <a:lnTo>
                    <a:pt x="104" y="581"/>
                  </a:lnTo>
                  <a:lnTo>
                    <a:pt x="104" y="584"/>
                  </a:lnTo>
                  <a:lnTo>
                    <a:pt x="104" y="585"/>
                  </a:lnTo>
                  <a:lnTo>
                    <a:pt x="105" y="587"/>
                  </a:lnTo>
                  <a:lnTo>
                    <a:pt x="108" y="585"/>
                  </a:lnTo>
                  <a:lnTo>
                    <a:pt x="108" y="585"/>
                  </a:lnTo>
                  <a:lnTo>
                    <a:pt x="118" y="581"/>
                  </a:lnTo>
                  <a:lnTo>
                    <a:pt x="127" y="577"/>
                  </a:lnTo>
                  <a:lnTo>
                    <a:pt x="127" y="577"/>
                  </a:lnTo>
                  <a:lnTo>
                    <a:pt x="129" y="574"/>
                  </a:lnTo>
                  <a:lnTo>
                    <a:pt x="130" y="571"/>
                  </a:lnTo>
                  <a:lnTo>
                    <a:pt x="131" y="569"/>
                  </a:lnTo>
                  <a:lnTo>
                    <a:pt x="136" y="569"/>
                  </a:lnTo>
                  <a:lnTo>
                    <a:pt x="136" y="569"/>
                  </a:lnTo>
                  <a:lnTo>
                    <a:pt x="142" y="568"/>
                  </a:lnTo>
                  <a:lnTo>
                    <a:pt x="145" y="565"/>
                  </a:lnTo>
                  <a:lnTo>
                    <a:pt x="150" y="559"/>
                  </a:lnTo>
                  <a:lnTo>
                    <a:pt x="150" y="559"/>
                  </a:lnTo>
                  <a:lnTo>
                    <a:pt x="158" y="555"/>
                  </a:lnTo>
                  <a:lnTo>
                    <a:pt x="171" y="549"/>
                  </a:lnTo>
                  <a:lnTo>
                    <a:pt x="182" y="545"/>
                  </a:lnTo>
                  <a:lnTo>
                    <a:pt x="188" y="540"/>
                  </a:lnTo>
                  <a:lnTo>
                    <a:pt x="188" y="540"/>
                  </a:lnTo>
                  <a:lnTo>
                    <a:pt x="188" y="539"/>
                  </a:lnTo>
                  <a:lnTo>
                    <a:pt x="188" y="536"/>
                  </a:lnTo>
                  <a:lnTo>
                    <a:pt x="189" y="535"/>
                  </a:lnTo>
                  <a:lnTo>
                    <a:pt x="192" y="532"/>
                  </a:lnTo>
                  <a:lnTo>
                    <a:pt x="192" y="532"/>
                  </a:lnTo>
                  <a:lnTo>
                    <a:pt x="197" y="529"/>
                  </a:lnTo>
                  <a:lnTo>
                    <a:pt x="200" y="523"/>
                  </a:lnTo>
                  <a:lnTo>
                    <a:pt x="207" y="514"/>
                  </a:lnTo>
                  <a:lnTo>
                    <a:pt x="207" y="514"/>
                  </a:lnTo>
                  <a:lnTo>
                    <a:pt x="211" y="511"/>
                  </a:lnTo>
                  <a:lnTo>
                    <a:pt x="214" y="510"/>
                  </a:lnTo>
                  <a:lnTo>
                    <a:pt x="217" y="510"/>
                  </a:lnTo>
                  <a:lnTo>
                    <a:pt x="220" y="509"/>
                  </a:lnTo>
                  <a:lnTo>
                    <a:pt x="220" y="509"/>
                  </a:lnTo>
                  <a:lnTo>
                    <a:pt x="221" y="507"/>
                  </a:lnTo>
                  <a:lnTo>
                    <a:pt x="221" y="504"/>
                  </a:lnTo>
                  <a:lnTo>
                    <a:pt x="221" y="503"/>
                  </a:lnTo>
                  <a:lnTo>
                    <a:pt x="223" y="501"/>
                  </a:lnTo>
                  <a:lnTo>
                    <a:pt x="223" y="501"/>
                  </a:lnTo>
                  <a:lnTo>
                    <a:pt x="229" y="491"/>
                  </a:lnTo>
                  <a:lnTo>
                    <a:pt x="234" y="482"/>
                  </a:lnTo>
                  <a:lnTo>
                    <a:pt x="234" y="482"/>
                  </a:lnTo>
                  <a:lnTo>
                    <a:pt x="234" y="481"/>
                  </a:lnTo>
                  <a:lnTo>
                    <a:pt x="234" y="480"/>
                  </a:lnTo>
                  <a:lnTo>
                    <a:pt x="229" y="478"/>
                  </a:lnTo>
                  <a:lnTo>
                    <a:pt x="229" y="478"/>
                  </a:lnTo>
                  <a:lnTo>
                    <a:pt x="223" y="475"/>
                  </a:lnTo>
                  <a:lnTo>
                    <a:pt x="223" y="472"/>
                  </a:lnTo>
                  <a:lnTo>
                    <a:pt x="224" y="469"/>
                  </a:lnTo>
                  <a:lnTo>
                    <a:pt x="224" y="469"/>
                  </a:lnTo>
                  <a:lnTo>
                    <a:pt x="227" y="465"/>
                  </a:lnTo>
                  <a:lnTo>
                    <a:pt x="230" y="461"/>
                  </a:lnTo>
                  <a:lnTo>
                    <a:pt x="233" y="456"/>
                  </a:lnTo>
                  <a:lnTo>
                    <a:pt x="237" y="454"/>
                  </a:lnTo>
                  <a:lnTo>
                    <a:pt x="237" y="454"/>
                  </a:lnTo>
                  <a:lnTo>
                    <a:pt x="240" y="452"/>
                  </a:lnTo>
                  <a:lnTo>
                    <a:pt x="242" y="449"/>
                  </a:lnTo>
                  <a:lnTo>
                    <a:pt x="242" y="442"/>
                  </a:lnTo>
                  <a:lnTo>
                    <a:pt x="242" y="442"/>
                  </a:lnTo>
                  <a:lnTo>
                    <a:pt x="244" y="432"/>
                  </a:lnTo>
                  <a:lnTo>
                    <a:pt x="247" y="426"/>
                  </a:lnTo>
                  <a:lnTo>
                    <a:pt x="252" y="423"/>
                  </a:lnTo>
                  <a:lnTo>
                    <a:pt x="252" y="423"/>
                  </a:lnTo>
                  <a:lnTo>
                    <a:pt x="265" y="414"/>
                  </a:lnTo>
                  <a:lnTo>
                    <a:pt x="265" y="414"/>
                  </a:lnTo>
                  <a:lnTo>
                    <a:pt x="269" y="409"/>
                  </a:lnTo>
                  <a:lnTo>
                    <a:pt x="272" y="404"/>
                  </a:lnTo>
                  <a:lnTo>
                    <a:pt x="273" y="404"/>
                  </a:lnTo>
                  <a:lnTo>
                    <a:pt x="273" y="404"/>
                  </a:lnTo>
                  <a:lnTo>
                    <a:pt x="273" y="404"/>
                  </a:lnTo>
                  <a:lnTo>
                    <a:pt x="278" y="407"/>
                  </a:lnTo>
                  <a:lnTo>
                    <a:pt x="279" y="407"/>
                  </a:lnTo>
                  <a:lnTo>
                    <a:pt x="281" y="406"/>
                  </a:lnTo>
                  <a:lnTo>
                    <a:pt x="281" y="406"/>
                  </a:lnTo>
                  <a:lnTo>
                    <a:pt x="286" y="401"/>
                  </a:lnTo>
                  <a:lnTo>
                    <a:pt x="289" y="398"/>
                  </a:lnTo>
                  <a:lnTo>
                    <a:pt x="289" y="398"/>
                  </a:lnTo>
                  <a:lnTo>
                    <a:pt x="289" y="400"/>
                  </a:lnTo>
                  <a:lnTo>
                    <a:pt x="289" y="400"/>
                  </a:lnTo>
                  <a:lnTo>
                    <a:pt x="288" y="407"/>
                  </a:lnTo>
                  <a:lnTo>
                    <a:pt x="288" y="413"/>
                  </a:lnTo>
                  <a:lnTo>
                    <a:pt x="288" y="413"/>
                  </a:lnTo>
                  <a:lnTo>
                    <a:pt x="292" y="417"/>
                  </a:lnTo>
                  <a:lnTo>
                    <a:pt x="294" y="419"/>
                  </a:lnTo>
                  <a:lnTo>
                    <a:pt x="292" y="420"/>
                  </a:lnTo>
                  <a:lnTo>
                    <a:pt x="292" y="420"/>
                  </a:lnTo>
                  <a:lnTo>
                    <a:pt x="281" y="420"/>
                  </a:lnTo>
                  <a:lnTo>
                    <a:pt x="281" y="420"/>
                  </a:lnTo>
                  <a:lnTo>
                    <a:pt x="279" y="419"/>
                  </a:lnTo>
                  <a:lnTo>
                    <a:pt x="278" y="417"/>
                  </a:lnTo>
                  <a:lnTo>
                    <a:pt x="276" y="417"/>
                  </a:lnTo>
                  <a:lnTo>
                    <a:pt x="273" y="417"/>
                  </a:lnTo>
                  <a:lnTo>
                    <a:pt x="273" y="417"/>
                  </a:lnTo>
                  <a:lnTo>
                    <a:pt x="268" y="422"/>
                  </a:lnTo>
                  <a:lnTo>
                    <a:pt x="266" y="423"/>
                  </a:lnTo>
                  <a:lnTo>
                    <a:pt x="265" y="425"/>
                  </a:lnTo>
                  <a:lnTo>
                    <a:pt x="265" y="425"/>
                  </a:lnTo>
                  <a:lnTo>
                    <a:pt x="263" y="436"/>
                  </a:lnTo>
                  <a:lnTo>
                    <a:pt x="260" y="449"/>
                  </a:lnTo>
                  <a:lnTo>
                    <a:pt x="260" y="449"/>
                  </a:lnTo>
                  <a:lnTo>
                    <a:pt x="259" y="452"/>
                  </a:lnTo>
                  <a:lnTo>
                    <a:pt x="259" y="455"/>
                  </a:lnTo>
                  <a:lnTo>
                    <a:pt x="260" y="456"/>
                  </a:lnTo>
                  <a:lnTo>
                    <a:pt x="262" y="456"/>
                  </a:lnTo>
                  <a:lnTo>
                    <a:pt x="262" y="456"/>
                  </a:lnTo>
                  <a:lnTo>
                    <a:pt x="266" y="454"/>
                  </a:lnTo>
                  <a:lnTo>
                    <a:pt x="266" y="454"/>
                  </a:lnTo>
                  <a:lnTo>
                    <a:pt x="268" y="454"/>
                  </a:lnTo>
                  <a:lnTo>
                    <a:pt x="268" y="454"/>
                  </a:lnTo>
                  <a:lnTo>
                    <a:pt x="262" y="459"/>
                  </a:lnTo>
                  <a:lnTo>
                    <a:pt x="259" y="464"/>
                  </a:lnTo>
                  <a:lnTo>
                    <a:pt x="259" y="467"/>
                  </a:lnTo>
                  <a:lnTo>
                    <a:pt x="259" y="467"/>
                  </a:lnTo>
                  <a:lnTo>
                    <a:pt x="260" y="468"/>
                  </a:lnTo>
                  <a:lnTo>
                    <a:pt x="263" y="468"/>
                  </a:lnTo>
                  <a:lnTo>
                    <a:pt x="268" y="467"/>
                  </a:lnTo>
                  <a:lnTo>
                    <a:pt x="271" y="465"/>
                  </a:lnTo>
                  <a:lnTo>
                    <a:pt x="271" y="465"/>
                  </a:lnTo>
                  <a:lnTo>
                    <a:pt x="273" y="462"/>
                  </a:lnTo>
                  <a:lnTo>
                    <a:pt x="275" y="462"/>
                  </a:lnTo>
                  <a:lnTo>
                    <a:pt x="282" y="459"/>
                  </a:lnTo>
                  <a:lnTo>
                    <a:pt x="282" y="459"/>
                  </a:lnTo>
                  <a:lnTo>
                    <a:pt x="285" y="456"/>
                  </a:lnTo>
                  <a:lnTo>
                    <a:pt x="288" y="454"/>
                  </a:lnTo>
                  <a:lnTo>
                    <a:pt x="292" y="451"/>
                  </a:lnTo>
                  <a:lnTo>
                    <a:pt x="297" y="449"/>
                  </a:lnTo>
                  <a:lnTo>
                    <a:pt x="297" y="449"/>
                  </a:lnTo>
                  <a:lnTo>
                    <a:pt x="307" y="449"/>
                  </a:lnTo>
                  <a:lnTo>
                    <a:pt x="313" y="448"/>
                  </a:lnTo>
                  <a:lnTo>
                    <a:pt x="315" y="445"/>
                  </a:lnTo>
                  <a:lnTo>
                    <a:pt x="315" y="445"/>
                  </a:lnTo>
                  <a:lnTo>
                    <a:pt x="320" y="442"/>
                  </a:lnTo>
                  <a:lnTo>
                    <a:pt x="324" y="440"/>
                  </a:lnTo>
                  <a:lnTo>
                    <a:pt x="327" y="439"/>
                  </a:lnTo>
                  <a:lnTo>
                    <a:pt x="327" y="438"/>
                  </a:lnTo>
                  <a:lnTo>
                    <a:pt x="327" y="438"/>
                  </a:lnTo>
                  <a:lnTo>
                    <a:pt x="326" y="435"/>
                  </a:lnTo>
                  <a:lnTo>
                    <a:pt x="321" y="432"/>
                  </a:lnTo>
                  <a:lnTo>
                    <a:pt x="314" y="426"/>
                  </a:lnTo>
                  <a:lnTo>
                    <a:pt x="314" y="426"/>
                  </a:lnTo>
                  <a:lnTo>
                    <a:pt x="313" y="425"/>
                  </a:lnTo>
                  <a:lnTo>
                    <a:pt x="313" y="420"/>
                  </a:lnTo>
                  <a:lnTo>
                    <a:pt x="313" y="417"/>
                  </a:lnTo>
                  <a:lnTo>
                    <a:pt x="314" y="416"/>
                  </a:lnTo>
                  <a:lnTo>
                    <a:pt x="314" y="416"/>
                  </a:lnTo>
                  <a:lnTo>
                    <a:pt x="318" y="417"/>
                  </a:lnTo>
                  <a:lnTo>
                    <a:pt x="323" y="417"/>
                  </a:lnTo>
                  <a:lnTo>
                    <a:pt x="323" y="417"/>
                  </a:lnTo>
                  <a:lnTo>
                    <a:pt x="324" y="419"/>
                  </a:lnTo>
                  <a:lnTo>
                    <a:pt x="327" y="420"/>
                  </a:lnTo>
                  <a:lnTo>
                    <a:pt x="330" y="420"/>
                  </a:lnTo>
                  <a:lnTo>
                    <a:pt x="333" y="420"/>
                  </a:lnTo>
                  <a:lnTo>
                    <a:pt x="333" y="420"/>
                  </a:lnTo>
                  <a:lnTo>
                    <a:pt x="336" y="417"/>
                  </a:lnTo>
                  <a:lnTo>
                    <a:pt x="337" y="417"/>
                  </a:lnTo>
                  <a:lnTo>
                    <a:pt x="340" y="417"/>
                  </a:lnTo>
                  <a:lnTo>
                    <a:pt x="340" y="419"/>
                  </a:lnTo>
                  <a:lnTo>
                    <a:pt x="340" y="419"/>
                  </a:lnTo>
                  <a:lnTo>
                    <a:pt x="340" y="423"/>
                  </a:lnTo>
                  <a:lnTo>
                    <a:pt x="340" y="425"/>
                  </a:lnTo>
                  <a:lnTo>
                    <a:pt x="343" y="425"/>
                  </a:lnTo>
                  <a:lnTo>
                    <a:pt x="343" y="425"/>
                  </a:lnTo>
                  <a:lnTo>
                    <a:pt x="347" y="425"/>
                  </a:lnTo>
                  <a:lnTo>
                    <a:pt x="350" y="427"/>
                  </a:lnTo>
                  <a:lnTo>
                    <a:pt x="350" y="427"/>
                  </a:lnTo>
                  <a:lnTo>
                    <a:pt x="356" y="433"/>
                  </a:lnTo>
                  <a:lnTo>
                    <a:pt x="360" y="435"/>
                  </a:lnTo>
                  <a:lnTo>
                    <a:pt x="363" y="435"/>
                  </a:lnTo>
                  <a:lnTo>
                    <a:pt x="363" y="435"/>
                  </a:lnTo>
                  <a:lnTo>
                    <a:pt x="369" y="433"/>
                  </a:lnTo>
                  <a:lnTo>
                    <a:pt x="372" y="435"/>
                  </a:lnTo>
                  <a:lnTo>
                    <a:pt x="373" y="436"/>
                  </a:lnTo>
                  <a:lnTo>
                    <a:pt x="373" y="436"/>
                  </a:lnTo>
                  <a:lnTo>
                    <a:pt x="378" y="440"/>
                  </a:lnTo>
                  <a:lnTo>
                    <a:pt x="379" y="443"/>
                  </a:lnTo>
                  <a:lnTo>
                    <a:pt x="382" y="443"/>
                  </a:lnTo>
                  <a:lnTo>
                    <a:pt x="382" y="443"/>
                  </a:lnTo>
                  <a:lnTo>
                    <a:pt x="392" y="445"/>
                  </a:lnTo>
                  <a:lnTo>
                    <a:pt x="407" y="446"/>
                  </a:lnTo>
                  <a:lnTo>
                    <a:pt x="407" y="446"/>
                  </a:lnTo>
                  <a:lnTo>
                    <a:pt x="414" y="448"/>
                  </a:lnTo>
                  <a:lnTo>
                    <a:pt x="423" y="451"/>
                  </a:lnTo>
                  <a:lnTo>
                    <a:pt x="434" y="454"/>
                  </a:lnTo>
                  <a:lnTo>
                    <a:pt x="434" y="454"/>
                  </a:lnTo>
                  <a:lnTo>
                    <a:pt x="440" y="452"/>
                  </a:lnTo>
                  <a:lnTo>
                    <a:pt x="446" y="449"/>
                  </a:lnTo>
                  <a:lnTo>
                    <a:pt x="452" y="446"/>
                  </a:lnTo>
                  <a:lnTo>
                    <a:pt x="453" y="446"/>
                  </a:lnTo>
                  <a:lnTo>
                    <a:pt x="454" y="446"/>
                  </a:lnTo>
                  <a:lnTo>
                    <a:pt x="454" y="446"/>
                  </a:lnTo>
                  <a:lnTo>
                    <a:pt x="453" y="449"/>
                  </a:lnTo>
                  <a:lnTo>
                    <a:pt x="452" y="452"/>
                  </a:lnTo>
                  <a:lnTo>
                    <a:pt x="450" y="456"/>
                  </a:lnTo>
                  <a:lnTo>
                    <a:pt x="452" y="459"/>
                  </a:lnTo>
                  <a:lnTo>
                    <a:pt x="452" y="459"/>
                  </a:lnTo>
                  <a:lnTo>
                    <a:pt x="460" y="468"/>
                  </a:lnTo>
                  <a:lnTo>
                    <a:pt x="465" y="471"/>
                  </a:lnTo>
                  <a:lnTo>
                    <a:pt x="469" y="472"/>
                  </a:lnTo>
                  <a:lnTo>
                    <a:pt x="469" y="472"/>
                  </a:lnTo>
                  <a:lnTo>
                    <a:pt x="476" y="472"/>
                  </a:lnTo>
                  <a:lnTo>
                    <a:pt x="479" y="475"/>
                  </a:lnTo>
                  <a:lnTo>
                    <a:pt x="479" y="478"/>
                  </a:lnTo>
                  <a:lnTo>
                    <a:pt x="479" y="478"/>
                  </a:lnTo>
                  <a:lnTo>
                    <a:pt x="482" y="487"/>
                  </a:lnTo>
                  <a:lnTo>
                    <a:pt x="483" y="491"/>
                  </a:lnTo>
                  <a:lnTo>
                    <a:pt x="486" y="493"/>
                  </a:lnTo>
                  <a:lnTo>
                    <a:pt x="486" y="493"/>
                  </a:lnTo>
                  <a:lnTo>
                    <a:pt x="491" y="493"/>
                  </a:lnTo>
                  <a:lnTo>
                    <a:pt x="496" y="496"/>
                  </a:lnTo>
                  <a:lnTo>
                    <a:pt x="496" y="496"/>
                  </a:lnTo>
                  <a:lnTo>
                    <a:pt x="501" y="500"/>
                  </a:lnTo>
                  <a:lnTo>
                    <a:pt x="502" y="501"/>
                  </a:lnTo>
                  <a:lnTo>
                    <a:pt x="504" y="500"/>
                  </a:lnTo>
                  <a:lnTo>
                    <a:pt x="504" y="500"/>
                  </a:lnTo>
                  <a:lnTo>
                    <a:pt x="507" y="496"/>
                  </a:lnTo>
                  <a:lnTo>
                    <a:pt x="508" y="493"/>
                  </a:lnTo>
                  <a:lnTo>
                    <a:pt x="507" y="490"/>
                  </a:lnTo>
                  <a:lnTo>
                    <a:pt x="507" y="490"/>
                  </a:lnTo>
                  <a:lnTo>
                    <a:pt x="504" y="484"/>
                  </a:lnTo>
                  <a:lnTo>
                    <a:pt x="502" y="481"/>
                  </a:lnTo>
                  <a:lnTo>
                    <a:pt x="504" y="481"/>
                  </a:lnTo>
                  <a:lnTo>
                    <a:pt x="504" y="481"/>
                  </a:lnTo>
                  <a:lnTo>
                    <a:pt x="510" y="484"/>
                  </a:lnTo>
                  <a:lnTo>
                    <a:pt x="512" y="487"/>
                  </a:lnTo>
                  <a:lnTo>
                    <a:pt x="515" y="491"/>
                  </a:lnTo>
                  <a:lnTo>
                    <a:pt x="515" y="491"/>
                  </a:lnTo>
                  <a:lnTo>
                    <a:pt x="518" y="498"/>
                  </a:lnTo>
                  <a:lnTo>
                    <a:pt x="520" y="501"/>
                  </a:lnTo>
                  <a:lnTo>
                    <a:pt x="521" y="501"/>
                  </a:lnTo>
                  <a:lnTo>
                    <a:pt x="521" y="501"/>
                  </a:lnTo>
                  <a:lnTo>
                    <a:pt x="523" y="498"/>
                  </a:lnTo>
                  <a:lnTo>
                    <a:pt x="523" y="493"/>
                  </a:lnTo>
                  <a:lnTo>
                    <a:pt x="521" y="482"/>
                  </a:lnTo>
                  <a:lnTo>
                    <a:pt x="521" y="482"/>
                  </a:lnTo>
                  <a:lnTo>
                    <a:pt x="518" y="471"/>
                  </a:lnTo>
                  <a:lnTo>
                    <a:pt x="517" y="467"/>
                  </a:lnTo>
                  <a:lnTo>
                    <a:pt x="517" y="465"/>
                  </a:lnTo>
                  <a:lnTo>
                    <a:pt x="518" y="465"/>
                  </a:lnTo>
                  <a:lnTo>
                    <a:pt x="518" y="465"/>
                  </a:lnTo>
                  <a:lnTo>
                    <a:pt x="521" y="467"/>
                  </a:lnTo>
                  <a:lnTo>
                    <a:pt x="523" y="469"/>
                  </a:lnTo>
                  <a:lnTo>
                    <a:pt x="525" y="478"/>
                  </a:lnTo>
                  <a:lnTo>
                    <a:pt x="525" y="478"/>
                  </a:lnTo>
                  <a:lnTo>
                    <a:pt x="527" y="490"/>
                  </a:lnTo>
                  <a:lnTo>
                    <a:pt x="528" y="496"/>
                  </a:lnTo>
                  <a:lnTo>
                    <a:pt x="531" y="500"/>
                  </a:lnTo>
                  <a:lnTo>
                    <a:pt x="531" y="500"/>
                  </a:lnTo>
                  <a:lnTo>
                    <a:pt x="534" y="501"/>
                  </a:lnTo>
                  <a:lnTo>
                    <a:pt x="537" y="501"/>
                  </a:lnTo>
                  <a:lnTo>
                    <a:pt x="541" y="501"/>
                  </a:lnTo>
                  <a:lnTo>
                    <a:pt x="541" y="501"/>
                  </a:lnTo>
                  <a:lnTo>
                    <a:pt x="544" y="503"/>
                  </a:lnTo>
                  <a:lnTo>
                    <a:pt x="546" y="506"/>
                  </a:lnTo>
                  <a:lnTo>
                    <a:pt x="549" y="509"/>
                  </a:lnTo>
                  <a:lnTo>
                    <a:pt x="553" y="511"/>
                  </a:lnTo>
                  <a:lnTo>
                    <a:pt x="553" y="511"/>
                  </a:lnTo>
                  <a:lnTo>
                    <a:pt x="557" y="516"/>
                  </a:lnTo>
                  <a:lnTo>
                    <a:pt x="559" y="520"/>
                  </a:lnTo>
                  <a:lnTo>
                    <a:pt x="560" y="526"/>
                  </a:lnTo>
                  <a:lnTo>
                    <a:pt x="560" y="526"/>
                  </a:lnTo>
                  <a:lnTo>
                    <a:pt x="562" y="529"/>
                  </a:lnTo>
                  <a:lnTo>
                    <a:pt x="563" y="530"/>
                  </a:lnTo>
                  <a:lnTo>
                    <a:pt x="566" y="532"/>
                  </a:lnTo>
                  <a:lnTo>
                    <a:pt x="569" y="535"/>
                  </a:lnTo>
                  <a:lnTo>
                    <a:pt x="569" y="535"/>
                  </a:lnTo>
                  <a:lnTo>
                    <a:pt x="570" y="539"/>
                  </a:lnTo>
                  <a:lnTo>
                    <a:pt x="572" y="543"/>
                  </a:lnTo>
                  <a:lnTo>
                    <a:pt x="572" y="548"/>
                  </a:lnTo>
                  <a:lnTo>
                    <a:pt x="575" y="552"/>
                  </a:lnTo>
                  <a:lnTo>
                    <a:pt x="575" y="552"/>
                  </a:lnTo>
                  <a:lnTo>
                    <a:pt x="580" y="556"/>
                  </a:lnTo>
                  <a:lnTo>
                    <a:pt x="583" y="558"/>
                  </a:lnTo>
                  <a:lnTo>
                    <a:pt x="585" y="561"/>
                  </a:lnTo>
                  <a:lnTo>
                    <a:pt x="585" y="561"/>
                  </a:lnTo>
                  <a:lnTo>
                    <a:pt x="583" y="566"/>
                  </a:lnTo>
                  <a:lnTo>
                    <a:pt x="583" y="568"/>
                  </a:lnTo>
                  <a:lnTo>
                    <a:pt x="586" y="568"/>
                  </a:lnTo>
                  <a:lnTo>
                    <a:pt x="586" y="568"/>
                  </a:lnTo>
                  <a:lnTo>
                    <a:pt x="594" y="565"/>
                  </a:lnTo>
                  <a:lnTo>
                    <a:pt x="595" y="565"/>
                  </a:lnTo>
                  <a:lnTo>
                    <a:pt x="596" y="566"/>
                  </a:lnTo>
                  <a:lnTo>
                    <a:pt x="596" y="566"/>
                  </a:lnTo>
                  <a:lnTo>
                    <a:pt x="598" y="568"/>
                  </a:lnTo>
                  <a:lnTo>
                    <a:pt x="601" y="572"/>
                  </a:lnTo>
                  <a:lnTo>
                    <a:pt x="601" y="577"/>
                  </a:lnTo>
                  <a:lnTo>
                    <a:pt x="601" y="580"/>
                  </a:lnTo>
                  <a:lnTo>
                    <a:pt x="601" y="580"/>
                  </a:lnTo>
                  <a:lnTo>
                    <a:pt x="602" y="582"/>
                  </a:lnTo>
                  <a:lnTo>
                    <a:pt x="602" y="585"/>
                  </a:lnTo>
                  <a:lnTo>
                    <a:pt x="604" y="588"/>
                  </a:lnTo>
                  <a:lnTo>
                    <a:pt x="602" y="590"/>
                  </a:lnTo>
                  <a:lnTo>
                    <a:pt x="602" y="590"/>
                  </a:lnTo>
                  <a:lnTo>
                    <a:pt x="601" y="593"/>
                  </a:lnTo>
                  <a:lnTo>
                    <a:pt x="601" y="594"/>
                  </a:lnTo>
                  <a:lnTo>
                    <a:pt x="602" y="595"/>
                  </a:lnTo>
                  <a:lnTo>
                    <a:pt x="604" y="597"/>
                  </a:lnTo>
                  <a:lnTo>
                    <a:pt x="604" y="597"/>
                  </a:lnTo>
                  <a:lnTo>
                    <a:pt x="607" y="595"/>
                  </a:lnTo>
                  <a:lnTo>
                    <a:pt x="609" y="594"/>
                  </a:lnTo>
                  <a:lnTo>
                    <a:pt x="611" y="593"/>
                  </a:lnTo>
                  <a:lnTo>
                    <a:pt x="612" y="593"/>
                  </a:lnTo>
                  <a:lnTo>
                    <a:pt x="612" y="594"/>
                  </a:lnTo>
                  <a:lnTo>
                    <a:pt x="612" y="593"/>
                  </a:lnTo>
                  <a:lnTo>
                    <a:pt x="612" y="571"/>
                  </a:lnTo>
                  <a:close/>
                  <a:moveTo>
                    <a:pt x="218" y="461"/>
                  </a:moveTo>
                  <a:lnTo>
                    <a:pt x="218" y="461"/>
                  </a:lnTo>
                  <a:lnTo>
                    <a:pt x="213" y="465"/>
                  </a:lnTo>
                  <a:lnTo>
                    <a:pt x="205" y="469"/>
                  </a:lnTo>
                  <a:lnTo>
                    <a:pt x="201" y="471"/>
                  </a:lnTo>
                  <a:lnTo>
                    <a:pt x="197" y="471"/>
                  </a:lnTo>
                  <a:lnTo>
                    <a:pt x="194" y="469"/>
                  </a:lnTo>
                  <a:lnTo>
                    <a:pt x="191" y="468"/>
                  </a:lnTo>
                  <a:lnTo>
                    <a:pt x="191" y="468"/>
                  </a:lnTo>
                  <a:lnTo>
                    <a:pt x="191" y="467"/>
                  </a:lnTo>
                  <a:lnTo>
                    <a:pt x="192" y="465"/>
                  </a:lnTo>
                  <a:lnTo>
                    <a:pt x="195" y="464"/>
                  </a:lnTo>
                  <a:lnTo>
                    <a:pt x="202" y="461"/>
                  </a:lnTo>
                  <a:lnTo>
                    <a:pt x="202" y="461"/>
                  </a:lnTo>
                  <a:lnTo>
                    <a:pt x="211" y="455"/>
                  </a:lnTo>
                  <a:lnTo>
                    <a:pt x="215" y="454"/>
                  </a:lnTo>
                  <a:lnTo>
                    <a:pt x="218" y="452"/>
                  </a:lnTo>
                  <a:lnTo>
                    <a:pt x="218" y="452"/>
                  </a:lnTo>
                  <a:lnTo>
                    <a:pt x="220" y="454"/>
                  </a:lnTo>
                  <a:lnTo>
                    <a:pt x="221" y="456"/>
                  </a:lnTo>
                  <a:lnTo>
                    <a:pt x="221" y="458"/>
                  </a:lnTo>
                  <a:lnTo>
                    <a:pt x="218" y="461"/>
                  </a:lnTo>
                  <a:close/>
                  <a:moveTo>
                    <a:pt x="230" y="423"/>
                  </a:moveTo>
                  <a:lnTo>
                    <a:pt x="230" y="423"/>
                  </a:lnTo>
                  <a:lnTo>
                    <a:pt x="226" y="427"/>
                  </a:lnTo>
                  <a:lnTo>
                    <a:pt x="223" y="430"/>
                  </a:lnTo>
                  <a:lnTo>
                    <a:pt x="220" y="433"/>
                  </a:lnTo>
                  <a:lnTo>
                    <a:pt x="220" y="433"/>
                  </a:lnTo>
                  <a:lnTo>
                    <a:pt x="214" y="439"/>
                  </a:lnTo>
                  <a:lnTo>
                    <a:pt x="211" y="440"/>
                  </a:lnTo>
                  <a:lnTo>
                    <a:pt x="207" y="442"/>
                  </a:lnTo>
                  <a:lnTo>
                    <a:pt x="207" y="442"/>
                  </a:lnTo>
                  <a:lnTo>
                    <a:pt x="207" y="442"/>
                  </a:lnTo>
                  <a:lnTo>
                    <a:pt x="207" y="440"/>
                  </a:lnTo>
                  <a:lnTo>
                    <a:pt x="208" y="436"/>
                  </a:lnTo>
                  <a:lnTo>
                    <a:pt x="211" y="432"/>
                  </a:lnTo>
                  <a:lnTo>
                    <a:pt x="215" y="429"/>
                  </a:lnTo>
                  <a:lnTo>
                    <a:pt x="215" y="429"/>
                  </a:lnTo>
                  <a:lnTo>
                    <a:pt x="226" y="425"/>
                  </a:lnTo>
                  <a:lnTo>
                    <a:pt x="229" y="422"/>
                  </a:lnTo>
                  <a:lnTo>
                    <a:pt x="230" y="422"/>
                  </a:lnTo>
                  <a:lnTo>
                    <a:pt x="230" y="423"/>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84" name="Freeform 247"/>
            <p:cNvSpPr>
              <a:spLocks/>
            </p:cNvSpPr>
            <p:nvPr/>
          </p:nvSpPr>
          <p:spPr bwMode="auto">
            <a:xfrm>
              <a:off x="14288" y="2138791"/>
              <a:ext cx="971550" cy="947738"/>
            </a:xfrm>
            <a:custGeom>
              <a:avLst/>
              <a:gdLst>
                <a:gd name="T0" fmla="*/ 559 w 612"/>
                <a:gd name="T1" fmla="*/ 509 h 597"/>
                <a:gd name="T2" fmla="*/ 518 w 612"/>
                <a:gd name="T3" fmla="*/ 451 h 597"/>
                <a:gd name="T4" fmla="*/ 463 w 612"/>
                <a:gd name="T5" fmla="*/ 440 h 597"/>
                <a:gd name="T6" fmla="*/ 401 w 612"/>
                <a:gd name="T7" fmla="*/ 60 h 597"/>
                <a:gd name="T8" fmla="*/ 328 w 612"/>
                <a:gd name="T9" fmla="*/ 55 h 597"/>
                <a:gd name="T10" fmla="*/ 266 w 612"/>
                <a:gd name="T11" fmla="*/ 44 h 597"/>
                <a:gd name="T12" fmla="*/ 252 w 612"/>
                <a:gd name="T13" fmla="*/ 20 h 597"/>
                <a:gd name="T14" fmla="*/ 220 w 612"/>
                <a:gd name="T15" fmla="*/ 12 h 597"/>
                <a:gd name="T16" fmla="*/ 201 w 612"/>
                <a:gd name="T17" fmla="*/ 10 h 597"/>
                <a:gd name="T18" fmla="*/ 155 w 612"/>
                <a:gd name="T19" fmla="*/ 26 h 597"/>
                <a:gd name="T20" fmla="*/ 98 w 612"/>
                <a:gd name="T21" fmla="*/ 46 h 597"/>
                <a:gd name="T22" fmla="*/ 75 w 612"/>
                <a:gd name="T23" fmla="*/ 94 h 597"/>
                <a:gd name="T24" fmla="*/ 26 w 612"/>
                <a:gd name="T25" fmla="*/ 125 h 597"/>
                <a:gd name="T26" fmla="*/ 33 w 612"/>
                <a:gd name="T27" fmla="*/ 148 h 597"/>
                <a:gd name="T28" fmla="*/ 66 w 612"/>
                <a:gd name="T29" fmla="*/ 191 h 597"/>
                <a:gd name="T30" fmla="*/ 108 w 612"/>
                <a:gd name="T31" fmla="*/ 210 h 597"/>
                <a:gd name="T32" fmla="*/ 91 w 612"/>
                <a:gd name="T33" fmla="*/ 207 h 597"/>
                <a:gd name="T34" fmla="*/ 110 w 612"/>
                <a:gd name="T35" fmla="*/ 229 h 597"/>
                <a:gd name="T36" fmla="*/ 82 w 612"/>
                <a:gd name="T37" fmla="*/ 239 h 597"/>
                <a:gd name="T38" fmla="*/ 65 w 612"/>
                <a:gd name="T39" fmla="*/ 215 h 597"/>
                <a:gd name="T40" fmla="*/ 30 w 612"/>
                <a:gd name="T41" fmla="*/ 229 h 597"/>
                <a:gd name="T42" fmla="*/ 3 w 612"/>
                <a:gd name="T43" fmla="*/ 249 h 597"/>
                <a:gd name="T44" fmla="*/ 20 w 612"/>
                <a:gd name="T45" fmla="*/ 280 h 597"/>
                <a:gd name="T46" fmla="*/ 65 w 612"/>
                <a:gd name="T47" fmla="*/ 297 h 597"/>
                <a:gd name="T48" fmla="*/ 98 w 612"/>
                <a:gd name="T49" fmla="*/ 281 h 597"/>
                <a:gd name="T50" fmla="*/ 104 w 612"/>
                <a:gd name="T51" fmla="*/ 297 h 597"/>
                <a:gd name="T52" fmla="*/ 91 w 612"/>
                <a:gd name="T53" fmla="*/ 333 h 597"/>
                <a:gd name="T54" fmla="*/ 50 w 612"/>
                <a:gd name="T55" fmla="*/ 342 h 597"/>
                <a:gd name="T56" fmla="*/ 29 w 612"/>
                <a:gd name="T57" fmla="*/ 393 h 597"/>
                <a:gd name="T58" fmla="*/ 30 w 612"/>
                <a:gd name="T59" fmla="*/ 413 h 597"/>
                <a:gd name="T60" fmla="*/ 58 w 612"/>
                <a:gd name="T61" fmla="*/ 435 h 597"/>
                <a:gd name="T62" fmla="*/ 81 w 612"/>
                <a:gd name="T63" fmla="*/ 456 h 597"/>
                <a:gd name="T64" fmla="*/ 92 w 612"/>
                <a:gd name="T65" fmla="*/ 458 h 597"/>
                <a:gd name="T66" fmla="*/ 87 w 612"/>
                <a:gd name="T67" fmla="*/ 494 h 597"/>
                <a:gd name="T68" fmla="*/ 130 w 612"/>
                <a:gd name="T69" fmla="*/ 488 h 597"/>
                <a:gd name="T70" fmla="*/ 145 w 612"/>
                <a:gd name="T71" fmla="*/ 487 h 597"/>
                <a:gd name="T72" fmla="*/ 172 w 612"/>
                <a:gd name="T73" fmla="*/ 481 h 597"/>
                <a:gd name="T74" fmla="*/ 159 w 612"/>
                <a:gd name="T75" fmla="*/ 522 h 597"/>
                <a:gd name="T76" fmla="*/ 120 w 612"/>
                <a:gd name="T77" fmla="*/ 569 h 597"/>
                <a:gd name="T78" fmla="*/ 87 w 612"/>
                <a:gd name="T79" fmla="*/ 588 h 597"/>
                <a:gd name="T80" fmla="*/ 104 w 612"/>
                <a:gd name="T81" fmla="*/ 585 h 597"/>
                <a:gd name="T82" fmla="*/ 150 w 612"/>
                <a:gd name="T83" fmla="*/ 559 h 597"/>
                <a:gd name="T84" fmla="*/ 207 w 612"/>
                <a:gd name="T85" fmla="*/ 514 h 597"/>
                <a:gd name="T86" fmla="*/ 234 w 612"/>
                <a:gd name="T87" fmla="*/ 482 h 597"/>
                <a:gd name="T88" fmla="*/ 240 w 612"/>
                <a:gd name="T89" fmla="*/ 452 h 597"/>
                <a:gd name="T90" fmla="*/ 273 w 612"/>
                <a:gd name="T91" fmla="*/ 404 h 597"/>
                <a:gd name="T92" fmla="*/ 294 w 612"/>
                <a:gd name="T93" fmla="*/ 419 h 597"/>
                <a:gd name="T94" fmla="*/ 263 w 612"/>
                <a:gd name="T95" fmla="*/ 436 h 597"/>
                <a:gd name="T96" fmla="*/ 259 w 612"/>
                <a:gd name="T97" fmla="*/ 467 h 597"/>
                <a:gd name="T98" fmla="*/ 297 w 612"/>
                <a:gd name="T99" fmla="*/ 449 h 597"/>
                <a:gd name="T100" fmla="*/ 314 w 612"/>
                <a:gd name="T101" fmla="*/ 426 h 597"/>
                <a:gd name="T102" fmla="*/ 336 w 612"/>
                <a:gd name="T103" fmla="*/ 417 h 597"/>
                <a:gd name="T104" fmla="*/ 363 w 612"/>
                <a:gd name="T105" fmla="*/ 435 h 597"/>
                <a:gd name="T106" fmla="*/ 423 w 612"/>
                <a:gd name="T107" fmla="*/ 451 h 597"/>
                <a:gd name="T108" fmla="*/ 460 w 612"/>
                <a:gd name="T109" fmla="*/ 468 h 597"/>
                <a:gd name="T110" fmla="*/ 496 w 612"/>
                <a:gd name="T111" fmla="*/ 496 h 597"/>
                <a:gd name="T112" fmla="*/ 512 w 612"/>
                <a:gd name="T113" fmla="*/ 487 h 597"/>
                <a:gd name="T114" fmla="*/ 518 w 612"/>
                <a:gd name="T115" fmla="*/ 465 h 597"/>
                <a:gd name="T116" fmla="*/ 544 w 612"/>
                <a:gd name="T117" fmla="*/ 503 h 597"/>
                <a:gd name="T118" fmla="*/ 570 w 612"/>
                <a:gd name="T119" fmla="*/ 539 h 597"/>
                <a:gd name="T120" fmla="*/ 595 w 612"/>
                <a:gd name="T121" fmla="*/ 565 h 597"/>
                <a:gd name="T122" fmla="*/ 601 w 612"/>
                <a:gd name="T123" fmla="*/ 594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12" h="597">
                  <a:moveTo>
                    <a:pt x="612" y="571"/>
                  </a:moveTo>
                  <a:lnTo>
                    <a:pt x="612" y="571"/>
                  </a:lnTo>
                  <a:lnTo>
                    <a:pt x="611" y="568"/>
                  </a:lnTo>
                  <a:lnTo>
                    <a:pt x="609" y="565"/>
                  </a:lnTo>
                  <a:lnTo>
                    <a:pt x="602" y="559"/>
                  </a:lnTo>
                  <a:lnTo>
                    <a:pt x="594" y="552"/>
                  </a:lnTo>
                  <a:lnTo>
                    <a:pt x="586" y="545"/>
                  </a:lnTo>
                  <a:lnTo>
                    <a:pt x="586" y="545"/>
                  </a:lnTo>
                  <a:lnTo>
                    <a:pt x="582" y="539"/>
                  </a:lnTo>
                  <a:lnTo>
                    <a:pt x="578" y="530"/>
                  </a:lnTo>
                  <a:lnTo>
                    <a:pt x="572" y="523"/>
                  </a:lnTo>
                  <a:lnTo>
                    <a:pt x="566" y="514"/>
                  </a:lnTo>
                  <a:lnTo>
                    <a:pt x="566" y="514"/>
                  </a:lnTo>
                  <a:lnTo>
                    <a:pt x="559" y="509"/>
                  </a:lnTo>
                  <a:lnTo>
                    <a:pt x="556" y="503"/>
                  </a:lnTo>
                  <a:lnTo>
                    <a:pt x="550" y="494"/>
                  </a:lnTo>
                  <a:lnTo>
                    <a:pt x="550" y="494"/>
                  </a:lnTo>
                  <a:lnTo>
                    <a:pt x="546" y="490"/>
                  </a:lnTo>
                  <a:lnTo>
                    <a:pt x="540" y="485"/>
                  </a:lnTo>
                  <a:lnTo>
                    <a:pt x="534" y="480"/>
                  </a:lnTo>
                  <a:lnTo>
                    <a:pt x="533" y="477"/>
                  </a:lnTo>
                  <a:lnTo>
                    <a:pt x="531" y="474"/>
                  </a:lnTo>
                  <a:lnTo>
                    <a:pt x="531" y="474"/>
                  </a:lnTo>
                  <a:lnTo>
                    <a:pt x="525" y="459"/>
                  </a:lnTo>
                  <a:lnTo>
                    <a:pt x="521" y="454"/>
                  </a:lnTo>
                  <a:lnTo>
                    <a:pt x="520" y="452"/>
                  </a:lnTo>
                  <a:lnTo>
                    <a:pt x="518" y="451"/>
                  </a:lnTo>
                  <a:lnTo>
                    <a:pt x="518" y="451"/>
                  </a:lnTo>
                  <a:lnTo>
                    <a:pt x="515" y="452"/>
                  </a:lnTo>
                  <a:lnTo>
                    <a:pt x="512" y="455"/>
                  </a:lnTo>
                  <a:lnTo>
                    <a:pt x="507" y="462"/>
                  </a:lnTo>
                  <a:lnTo>
                    <a:pt x="499" y="471"/>
                  </a:lnTo>
                  <a:lnTo>
                    <a:pt x="496" y="474"/>
                  </a:lnTo>
                  <a:lnTo>
                    <a:pt x="495" y="475"/>
                  </a:lnTo>
                  <a:lnTo>
                    <a:pt x="495" y="475"/>
                  </a:lnTo>
                  <a:lnTo>
                    <a:pt x="488" y="477"/>
                  </a:lnTo>
                  <a:lnTo>
                    <a:pt x="486" y="475"/>
                  </a:lnTo>
                  <a:lnTo>
                    <a:pt x="483" y="472"/>
                  </a:lnTo>
                  <a:lnTo>
                    <a:pt x="483" y="472"/>
                  </a:lnTo>
                  <a:lnTo>
                    <a:pt x="465" y="446"/>
                  </a:lnTo>
                  <a:lnTo>
                    <a:pt x="465" y="446"/>
                  </a:lnTo>
                  <a:lnTo>
                    <a:pt x="463" y="440"/>
                  </a:lnTo>
                  <a:lnTo>
                    <a:pt x="462" y="435"/>
                  </a:lnTo>
                  <a:lnTo>
                    <a:pt x="460" y="432"/>
                  </a:lnTo>
                  <a:lnTo>
                    <a:pt x="459" y="430"/>
                  </a:lnTo>
                  <a:lnTo>
                    <a:pt x="456" y="430"/>
                  </a:lnTo>
                  <a:lnTo>
                    <a:pt x="456" y="430"/>
                  </a:lnTo>
                  <a:lnTo>
                    <a:pt x="444" y="433"/>
                  </a:lnTo>
                  <a:lnTo>
                    <a:pt x="439" y="435"/>
                  </a:lnTo>
                  <a:lnTo>
                    <a:pt x="433" y="436"/>
                  </a:lnTo>
                  <a:lnTo>
                    <a:pt x="433" y="77"/>
                  </a:lnTo>
                  <a:lnTo>
                    <a:pt x="433" y="77"/>
                  </a:lnTo>
                  <a:lnTo>
                    <a:pt x="430" y="75"/>
                  </a:lnTo>
                  <a:lnTo>
                    <a:pt x="430" y="75"/>
                  </a:lnTo>
                  <a:lnTo>
                    <a:pt x="415" y="68"/>
                  </a:lnTo>
                  <a:lnTo>
                    <a:pt x="401" y="60"/>
                  </a:lnTo>
                  <a:lnTo>
                    <a:pt x="401" y="60"/>
                  </a:lnTo>
                  <a:lnTo>
                    <a:pt x="395" y="57"/>
                  </a:lnTo>
                  <a:lnTo>
                    <a:pt x="392" y="58"/>
                  </a:lnTo>
                  <a:lnTo>
                    <a:pt x="386" y="60"/>
                  </a:lnTo>
                  <a:lnTo>
                    <a:pt x="386" y="60"/>
                  </a:lnTo>
                  <a:lnTo>
                    <a:pt x="379" y="61"/>
                  </a:lnTo>
                  <a:lnTo>
                    <a:pt x="372" y="61"/>
                  </a:lnTo>
                  <a:lnTo>
                    <a:pt x="363" y="61"/>
                  </a:lnTo>
                  <a:lnTo>
                    <a:pt x="355" y="60"/>
                  </a:lnTo>
                  <a:lnTo>
                    <a:pt x="355" y="60"/>
                  </a:lnTo>
                  <a:lnTo>
                    <a:pt x="346" y="58"/>
                  </a:lnTo>
                  <a:lnTo>
                    <a:pt x="339" y="57"/>
                  </a:lnTo>
                  <a:lnTo>
                    <a:pt x="331" y="57"/>
                  </a:lnTo>
                  <a:lnTo>
                    <a:pt x="328" y="55"/>
                  </a:lnTo>
                  <a:lnTo>
                    <a:pt x="328" y="55"/>
                  </a:lnTo>
                  <a:lnTo>
                    <a:pt x="326" y="51"/>
                  </a:lnTo>
                  <a:lnTo>
                    <a:pt x="323" y="49"/>
                  </a:lnTo>
                  <a:lnTo>
                    <a:pt x="320" y="48"/>
                  </a:lnTo>
                  <a:lnTo>
                    <a:pt x="320" y="48"/>
                  </a:lnTo>
                  <a:lnTo>
                    <a:pt x="305" y="45"/>
                  </a:lnTo>
                  <a:lnTo>
                    <a:pt x="292" y="42"/>
                  </a:lnTo>
                  <a:lnTo>
                    <a:pt x="292" y="42"/>
                  </a:lnTo>
                  <a:lnTo>
                    <a:pt x="282" y="39"/>
                  </a:lnTo>
                  <a:lnTo>
                    <a:pt x="276" y="39"/>
                  </a:lnTo>
                  <a:lnTo>
                    <a:pt x="272" y="39"/>
                  </a:lnTo>
                  <a:lnTo>
                    <a:pt x="272" y="39"/>
                  </a:lnTo>
                  <a:lnTo>
                    <a:pt x="269" y="44"/>
                  </a:lnTo>
                  <a:lnTo>
                    <a:pt x="266" y="44"/>
                  </a:lnTo>
                  <a:lnTo>
                    <a:pt x="263" y="44"/>
                  </a:lnTo>
                  <a:lnTo>
                    <a:pt x="263" y="44"/>
                  </a:lnTo>
                  <a:lnTo>
                    <a:pt x="260" y="42"/>
                  </a:lnTo>
                  <a:lnTo>
                    <a:pt x="259" y="41"/>
                  </a:lnTo>
                  <a:lnTo>
                    <a:pt x="259" y="39"/>
                  </a:lnTo>
                  <a:lnTo>
                    <a:pt x="257" y="38"/>
                  </a:lnTo>
                  <a:lnTo>
                    <a:pt x="257" y="38"/>
                  </a:lnTo>
                  <a:lnTo>
                    <a:pt x="250" y="33"/>
                  </a:lnTo>
                  <a:lnTo>
                    <a:pt x="247" y="32"/>
                  </a:lnTo>
                  <a:lnTo>
                    <a:pt x="247" y="29"/>
                  </a:lnTo>
                  <a:lnTo>
                    <a:pt x="247" y="29"/>
                  </a:lnTo>
                  <a:lnTo>
                    <a:pt x="252" y="25"/>
                  </a:lnTo>
                  <a:lnTo>
                    <a:pt x="252" y="22"/>
                  </a:lnTo>
                  <a:lnTo>
                    <a:pt x="252" y="20"/>
                  </a:lnTo>
                  <a:lnTo>
                    <a:pt x="250" y="20"/>
                  </a:lnTo>
                  <a:lnTo>
                    <a:pt x="250" y="20"/>
                  </a:lnTo>
                  <a:lnTo>
                    <a:pt x="239" y="22"/>
                  </a:lnTo>
                  <a:lnTo>
                    <a:pt x="227" y="25"/>
                  </a:lnTo>
                  <a:lnTo>
                    <a:pt x="227" y="25"/>
                  </a:lnTo>
                  <a:lnTo>
                    <a:pt x="224" y="25"/>
                  </a:lnTo>
                  <a:lnTo>
                    <a:pt x="220" y="25"/>
                  </a:lnTo>
                  <a:lnTo>
                    <a:pt x="217" y="23"/>
                  </a:lnTo>
                  <a:lnTo>
                    <a:pt x="215" y="22"/>
                  </a:lnTo>
                  <a:lnTo>
                    <a:pt x="215" y="20"/>
                  </a:lnTo>
                  <a:lnTo>
                    <a:pt x="215" y="20"/>
                  </a:lnTo>
                  <a:lnTo>
                    <a:pt x="220" y="16"/>
                  </a:lnTo>
                  <a:lnTo>
                    <a:pt x="220" y="13"/>
                  </a:lnTo>
                  <a:lnTo>
                    <a:pt x="220" y="12"/>
                  </a:lnTo>
                  <a:lnTo>
                    <a:pt x="220" y="12"/>
                  </a:lnTo>
                  <a:lnTo>
                    <a:pt x="217" y="12"/>
                  </a:lnTo>
                  <a:lnTo>
                    <a:pt x="214" y="12"/>
                  </a:lnTo>
                  <a:lnTo>
                    <a:pt x="211" y="13"/>
                  </a:lnTo>
                  <a:lnTo>
                    <a:pt x="210" y="15"/>
                  </a:lnTo>
                  <a:lnTo>
                    <a:pt x="210" y="15"/>
                  </a:lnTo>
                  <a:lnTo>
                    <a:pt x="207" y="23"/>
                  </a:lnTo>
                  <a:lnTo>
                    <a:pt x="204" y="26"/>
                  </a:lnTo>
                  <a:lnTo>
                    <a:pt x="204" y="26"/>
                  </a:lnTo>
                  <a:lnTo>
                    <a:pt x="202" y="26"/>
                  </a:lnTo>
                  <a:lnTo>
                    <a:pt x="202" y="26"/>
                  </a:lnTo>
                  <a:lnTo>
                    <a:pt x="201" y="22"/>
                  </a:lnTo>
                  <a:lnTo>
                    <a:pt x="201" y="18"/>
                  </a:lnTo>
                  <a:lnTo>
                    <a:pt x="201" y="10"/>
                  </a:lnTo>
                  <a:lnTo>
                    <a:pt x="201" y="10"/>
                  </a:lnTo>
                  <a:lnTo>
                    <a:pt x="192" y="4"/>
                  </a:lnTo>
                  <a:lnTo>
                    <a:pt x="192" y="4"/>
                  </a:lnTo>
                  <a:lnTo>
                    <a:pt x="187" y="0"/>
                  </a:lnTo>
                  <a:lnTo>
                    <a:pt x="184" y="0"/>
                  </a:lnTo>
                  <a:lnTo>
                    <a:pt x="181" y="0"/>
                  </a:lnTo>
                  <a:lnTo>
                    <a:pt x="181" y="0"/>
                  </a:lnTo>
                  <a:lnTo>
                    <a:pt x="179" y="3"/>
                  </a:lnTo>
                  <a:lnTo>
                    <a:pt x="176" y="9"/>
                  </a:lnTo>
                  <a:lnTo>
                    <a:pt x="173" y="16"/>
                  </a:lnTo>
                  <a:lnTo>
                    <a:pt x="171" y="20"/>
                  </a:lnTo>
                  <a:lnTo>
                    <a:pt x="171" y="20"/>
                  </a:lnTo>
                  <a:lnTo>
                    <a:pt x="163" y="23"/>
                  </a:lnTo>
                  <a:lnTo>
                    <a:pt x="155" y="26"/>
                  </a:lnTo>
                  <a:lnTo>
                    <a:pt x="147" y="28"/>
                  </a:lnTo>
                  <a:lnTo>
                    <a:pt x="142" y="29"/>
                  </a:lnTo>
                  <a:lnTo>
                    <a:pt x="142" y="29"/>
                  </a:lnTo>
                  <a:lnTo>
                    <a:pt x="136" y="28"/>
                  </a:lnTo>
                  <a:lnTo>
                    <a:pt x="133" y="28"/>
                  </a:lnTo>
                  <a:lnTo>
                    <a:pt x="130" y="28"/>
                  </a:lnTo>
                  <a:lnTo>
                    <a:pt x="130" y="28"/>
                  </a:lnTo>
                  <a:lnTo>
                    <a:pt x="127" y="35"/>
                  </a:lnTo>
                  <a:lnTo>
                    <a:pt x="124" y="39"/>
                  </a:lnTo>
                  <a:lnTo>
                    <a:pt x="121" y="41"/>
                  </a:lnTo>
                  <a:lnTo>
                    <a:pt x="121" y="41"/>
                  </a:lnTo>
                  <a:lnTo>
                    <a:pt x="113" y="44"/>
                  </a:lnTo>
                  <a:lnTo>
                    <a:pt x="105" y="45"/>
                  </a:lnTo>
                  <a:lnTo>
                    <a:pt x="98" y="46"/>
                  </a:lnTo>
                  <a:lnTo>
                    <a:pt x="98" y="46"/>
                  </a:lnTo>
                  <a:lnTo>
                    <a:pt x="94" y="48"/>
                  </a:lnTo>
                  <a:lnTo>
                    <a:pt x="92" y="51"/>
                  </a:lnTo>
                  <a:lnTo>
                    <a:pt x="92" y="54"/>
                  </a:lnTo>
                  <a:lnTo>
                    <a:pt x="92" y="55"/>
                  </a:lnTo>
                  <a:lnTo>
                    <a:pt x="92" y="55"/>
                  </a:lnTo>
                  <a:lnTo>
                    <a:pt x="89" y="58"/>
                  </a:lnTo>
                  <a:lnTo>
                    <a:pt x="88" y="62"/>
                  </a:lnTo>
                  <a:lnTo>
                    <a:pt x="87" y="67"/>
                  </a:lnTo>
                  <a:lnTo>
                    <a:pt x="85" y="70"/>
                  </a:lnTo>
                  <a:lnTo>
                    <a:pt x="85" y="70"/>
                  </a:lnTo>
                  <a:lnTo>
                    <a:pt x="82" y="74"/>
                  </a:lnTo>
                  <a:lnTo>
                    <a:pt x="79" y="81"/>
                  </a:lnTo>
                  <a:lnTo>
                    <a:pt x="75" y="94"/>
                  </a:lnTo>
                  <a:lnTo>
                    <a:pt x="75" y="94"/>
                  </a:lnTo>
                  <a:lnTo>
                    <a:pt x="69" y="106"/>
                  </a:lnTo>
                  <a:lnTo>
                    <a:pt x="65" y="112"/>
                  </a:lnTo>
                  <a:lnTo>
                    <a:pt x="62" y="115"/>
                  </a:lnTo>
                  <a:lnTo>
                    <a:pt x="62" y="115"/>
                  </a:lnTo>
                  <a:lnTo>
                    <a:pt x="58" y="113"/>
                  </a:lnTo>
                  <a:lnTo>
                    <a:pt x="53" y="115"/>
                  </a:lnTo>
                  <a:lnTo>
                    <a:pt x="53" y="115"/>
                  </a:lnTo>
                  <a:lnTo>
                    <a:pt x="43" y="116"/>
                  </a:lnTo>
                  <a:lnTo>
                    <a:pt x="30" y="117"/>
                  </a:lnTo>
                  <a:lnTo>
                    <a:pt x="30" y="117"/>
                  </a:lnTo>
                  <a:lnTo>
                    <a:pt x="29" y="119"/>
                  </a:lnTo>
                  <a:lnTo>
                    <a:pt x="27" y="120"/>
                  </a:lnTo>
                  <a:lnTo>
                    <a:pt x="26" y="125"/>
                  </a:lnTo>
                  <a:lnTo>
                    <a:pt x="26" y="129"/>
                  </a:lnTo>
                  <a:lnTo>
                    <a:pt x="26" y="131"/>
                  </a:lnTo>
                  <a:lnTo>
                    <a:pt x="24" y="132"/>
                  </a:lnTo>
                  <a:lnTo>
                    <a:pt x="24" y="132"/>
                  </a:lnTo>
                  <a:lnTo>
                    <a:pt x="20" y="132"/>
                  </a:lnTo>
                  <a:lnTo>
                    <a:pt x="19" y="133"/>
                  </a:lnTo>
                  <a:lnTo>
                    <a:pt x="19" y="135"/>
                  </a:lnTo>
                  <a:lnTo>
                    <a:pt x="19" y="135"/>
                  </a:lnTo>
                  <a:lnTo>
                    <a:pt x="21" y="138"/>
                  </a:lnTo>
                  <a:lnTo>
                    <a:pt x="24" y="139"/>
                  </a:lnTo>
                  <a:lnTo>
                    <a:pt x="27" y="142"/>
                  </a:lnTo>
                  <a:lnTo>
                    <a:pt x="30" y="145"/>
                  </a:lnTo>
                  <a:lnTo>
                    <a:pt x="30" y="145"/>
                  </a:lnTo>
                  <a:lnTo>
                    <a:pt x="33" y="148"/>
                  </a:lnTo>
                  <a:lnTo>
                    <a:pt x="34" y="149"/>
                  </a:lnTo>
                  <a:lnTo>
                    <a:pt x="37" y="149"/>
                  </a:lnTo>
                  <a:lnTo>
                    <a:pt x="39" y="152"/>
                  </a:lnTo>
                  <a:lnTo>
                    <a:pt x="39" y="152"/>
                  </a:lnTo>
                  <a:lnTo>
                    <a:pt x="46" y="159"/>
                  </a:lnTo>
                  <a:lnTo>
                    <a:pt x="52" y="165"/>
                  </a:lnTo>
                  <a:lnTo>
                    <a:pt x="52" y="165"/>
                  </a:lnTo>
                  <a:lnTo>
                    <a:pt x="56" y="168"/>
                  </a:lnTo>
                  <a:lnTo>
                    <a:pt x="58" y="173"/>
                  </a:lnTo>
                  <a:lnTo>
                    <a:pt x="58" y="173"/>
                  </a:lnTo>
                  <a:lnTo>
                    <a:pt x="61" y="180"/>
                  </a:lnTo>
                  <a:lnTo>
                    <a:pt x="65" y="188"/>
                  </a:lnTo>
                  <a:lnTo>
                    <a:pt x="65" y="188"/>
                  </a:lnTo>
                  <a:lnTo>
                    <a:pt x="66" y="191"/>
                  </a:lnTo>
                  <a:lnTo>
                    <a:pt x="71" y="194"/>
                  </a:lnTo>
                  <a:lnTo>
                    <a:pt x="74" y="196"/>
                  </a:lnTo>
                  <a:lnTo>
                    <a:pt x="78" y="196"/>
                  </a:lnTo>
                  <a:lnTo>
                    <a:pt x="78" y="196"/>
                  </a:lnTo>
                  <a:lnTo>
                    <a:pt x="88" y="196"/>
                  </a:lnTo>
                  <a:lnTo>
                    <a:pt x="94" y="199"/>
                  </a:lnTo>
                  <a:lnTo>
                    <a:pt x="95" y="199"/>
                  </a:lnTo>
                  <a:lnTo>
                    <a:pt x="95" y="200"/>
                  </a:lnTo>
                  <a:lnTo>
                    <a:pt x="95" y="200"/>
                  </a:lnTo>
                  <a:lnTo>
                    <a:pt x="97" y="203"/>
                  </a:lnTo>
                  <a:lnTo>
                    <a:pt x="98" y="204"/>
                  </a:lnTo>
                  <a:lnTo>
                    <a:pt x="103" y="209"/>
                  </a:lnTo>
                  <a:lnTo>
                    <a:pt x="103" y="209"/>
                  </a:lnTo>
                  <a:lnTo>
                    <a:pt x="108" y="210"/>
                  </a:lnTo>
                  <a:lnTo>
                    <a:pt x="113" y="212"/>
                  </a:lnTo>
                  <a:lnTo>
                    <a:pt x="117" y="212"/>
                  </a:lnTo>
                  <a:lnTo>
                    <a:pt x="118" y="213"/>
                  </a:lnTo>
                  <a:lnTo>
                    <a:pt x="118" y="213"/>
                  </a:lnTo>
                  <a:lnTo>
                    <a:pt x="118" y="213"/>
                  </a:lnTo>
                  <a:lnTo>
                    <a:pt x="117" y="216"/>
                  </a:lnTo>
                  <a:lnTo>
                    <a:pt x="116" y="217"/>
                  </a:lnTo>
                  <a:lnTo>
                    <a:pt x="113" y="217"/>
                  </a:lnTo>
                  <a:lnTo>
                    <a:pt x="113" y="217"/>
                  </a:lnTo>
                  <a:lnTo>
                    <a:pt x="103" y="215"/>
                  </a:lnTo>
                  <a:lnTo>
                    <a:pt x="97" y="212"/>
                  </a:lnTo>
                  <a:lnTo>
                    <a:pt x="94" y="209"/>
                  </a:lnTo>
                  <a:lnTo>
                    <a:pt x="94" y="209"/>
                  </a:lnTo>
                  <a:lnTo>
                    <a:pt x="91" y="207"/>
                  </a:lnTo>
                  <a:lnTo>
                    <a:pt x="91" y="209"/>
                  </a:lnTo>
                  <a:lnTo>
                    <a:pt x="92" y="215"/>
                  </a:lnTo>
                  <a:lnTo>
                    <a:pt x="92" y="215"/>
                  </a:lnTo>
                  <a:lnTo>
                    <a:pt x="92" y="222"/>
                  </a:lnTo>
                  <a:lnTo>
                    <a:pt x="92" y="223"/>
                  </a:lnTo>
                  <a:lnTo>
                    <a:pt x="94" y="223"/>
                  </a:lnTo>
                  <a:lnTo>
                    <a:pt x="94" y="223"/>
                  </a:lnTo>
                  <a:lnTo>
                    <a:pt x="98" y="219"/>
                  </a:lnTo>
                  <a:lnTo>
                    <a:pt x="100" y="217"/>
                  </a:lnTo>
                  <a:lnTo>
                    <a:pt x="103" y="220"/>
                  </a:lnTo>
                  <a:lnTo>
                    <a:pt x="103" y="220"/>
                  </a:lnTo>
                  <a:lnTo>
                    <a:pt x="108" y="226"/>
                  </a:lnTo>
                  <a:lnTo>
                    <a:pt x="110" y="228"/>
                  </a:lnTo>
                  <a:lnTo>
                    <a:pt x="110" y="229"/>
                  </a:lnTo>
                  <a:lnTo>
                    <a:pt x="110" y="229"/>
                  </a:lnTo>
                  <a:lnTo>
                    <a:pt x="105" y="229"/>
                  </a:lnTo>
                  <a:lnTo>
                    <a:pt x="104" y="229"/>
                  </a:lnTo>
                  <a:lnTo>
                    <a:pt x="103" y="230"/>
                  </a:lnTo>
                  <a:lnTo>
                    <a:pt x="103" y="230"/>
                  </a:lnTo>
                  <a:lnTo>
                    <a:pt x="103" y="236"/>
                  </a:lnTo>
                  <a:lnTo>
                    <a:pt x="101" y="239"/>
                  </a:lnTo>
                  <a:lnTo>
                    <a:pt x="98" y="239"/>
                  </a:lnTo>
                  <a:lnTo>
                    <a:pt x="98" y="239"/>
                  </a:lnTo>
                  <a:lnTo>
                    <a:pt x="92" y="236"/>
                  </a:lnTo>
                  <a:lnTo>
                    <a:pt x="88" y="236"/>
                  </a:lnTo>
                  <a:lnTo>
                    <a:pt x="88" y="236"/>
                  </a:lnTo>
                  <a:lnTo>
                    <a:pt x="85" y="239"/>
                  </a:lnTo>
                  <a:lnTo>
                    <a:pt x="82" y="239"/>
                  </a:lnTo>
                  <a:lnTo>
                    <a:pt x="82" y="239"/>
                  </a:lnTo>
                  <a:lnTo>
                    <a:pt x="82" y="239"/>
                  </a:lnTo>
                  <a:lnTo>
                    <a:pt x="79" y="238"/>
                  </a:lnTo>
                  <a:lnTo>
                    <a:pt x="76" y="236"/>
                  </a:lnTo>
                  <a:lnTo>
                    <a:pt x="76" y="236"/>
                  </a:lnTo>
                  <a:lnTo>
                    <a:pt x="72" y="236"/>
                  </a:lnTo>
                  <a:lnTo>
                    <a:pt x="69" y="235"/>
                  </a:lnTo>
                  <a:lnTo>
                    <a:pt x="66" y="233"/>
                  </a:lnTo>
                  <a:lnTo>
                    <a:pt x="66" y="233"/>
                  </a:lnTo>
                  <a:lnTo>
                    <a:pt x="63" y="228"/>
                  </a:lnTo>
                  <a:lnTo>
                    <a:pt x="63" y="225"/>
                  </a:lnTo>
                  <a:lnTo>
                    <a:pt x="63" y="222"/>
                  </a:lnTo>
                  <a:lnTo>
                    <a:pt x="63" y="222"/>
                  </a:lnTo>
                  <a:lnTo>
                    <a:pt x="65" y="215"/>
                  </a:lnTo>
                  <a:lnTo>
                    <a:pt x="65" y="210"/>
                  </a:lnTo>
                  <a:lnTo>
                    <a:pt x="65" y="209"/>
                  </a:lnTo>
                  <a:lnTo>
                    <a:pt x="65" y="209"/>
                  </a:lnTo>
                  <a:lnTo>
                    <a:pt x="55" y="210"/>
                  </a:lnTo>
                  <a:lnTo>
                    <a:pt x="50" y="213"/>
                  </a:lnTo>
                  <a:lnTo>
                    <a:pt x="46" y="215"/>
                  </a:lnTo>
                  <a:lnTo>
                    <a:pt x="46" y="215"/>
                  </a:lnTo>
                  <a:lnTo>
                    <a:pt x="45" y="216"/>
                  </a:lnTo>
                  <a:lnTo>
                    <a:pt x="42" y="217"/>
                  </a:lnTo>
                  <a:lnTo>
                    <a:pt x="39" y="220"/>
                  </a:lnTo>
                  <a:lnTo>
                    <a:pt x="34" y="222"/>
                  </a:lnTo>
                  <a:lnTo>
                    <a:pt x="34" y="222"/>
                  </a:lnTo>
                  <a:lnTo>
                    <a:pt x="32" y="226"/>
                  </a:lnTo>
                  <a:lnTo>
                    <a:pt x="30" y="229"/>
                  </a:lnTo>
                  <a:lnTo>
                    <a:pt x="30" y="229"/>
                  </a:lnTo>
                  <a:lnTo>
                    <a:pt x="29" y="232"/>
                  </a:lnTo>
                  <a:lnTo>
                    <a:pt x="27" y="233"/>
                  </a:lnTo>
                  <a:lnTo>
                    <a:pt x="26" y="233"/>
                  </a:lnTo>
                  <a:lnTo>
                    <a:pt x="26" y="233"/>
                  </a:lnTo>
                  <a:lnTo>
                    <a:pt x="23" y="233"/>
                  </a:lnTo>
                  <a:lnTo>
                    <a:pt x="20" y="236"/>
                  </a:lnTo>
                  <a:lnTo>
                    <a:pt x="13" y="241"/>
                  </a:lnTo>
                  <a:lnTo>
                    <a:pt x="13" y="241"/>
                  </a:lnTo>
                  <a:lnTo>
                    <a:pt x="8" y="242"/>
                  </a:lnTo>
                  <a:lnTo>
                    <a:pt x="5" y="243"/>
                  </a:lnTo>
                  <a:lnTo>
                    <a:pt x="4" y="245"/>
                  </a:lnTo>
                  <a:lnTo>
                    <a:pt x="4" y="245"/>
                  </a:lnTo>
                  <a:lnTo>
                    <a:pt x="3" y="249"/>
                  </a:lnTo>
                  <a:lnTo>
                    <a:pt x="1" y="251"/>
                  </a:lnTo>
                  <a:lnTo>
                    <a:pt x="0" y="251"/>
                  </a:lnTo>
                  <a:lnTo>
                    <a:pt x="0" y="251"/>
                  </a:lnTo>
                  <a:lnTo>
                    <a:pt x="0" y="252"/>
                  </a:lnTo>
                  <a:lnTo>
                    <a:pt x="0" y="254"/>
                  </a:lnTo>
                  <a:lnTo>
                    <a:pt x="5" y="257"/>
                  </a:lnTo>
                  <a:lnTo>
                    <a:pt x="5" y="257"/>
                  </a:lnTo>
                  <a:lnTo>
                    <a:pt x="11" y="259"/>
                  </a:lnTo>
                  <a:lnTo>
                    <a:pt x="13" y="261"/>
                  </a:lnTo>
                  <a:lnTo>
                    <a:pt x="13" y="264"/>
                  </a:lnTo>
                  <a:lnTo>
                    <a:pt x="13" y="264"/>
                  </a:lnTo>
                  <a:lnTo>
                    <a:pt x="14" y="268"/>
                  </a:lnTo>
                  <a:lnTo>
                    <a:pt x="16" y="272"/>
                  </a:lnTo>
                  <a:lnTo>
                    <a:pt x="20" y="280"/>
                  </a:lnTo>
                  <a:lnTo>
                    <a:pt x="20" y="280"/>
                  </a:lnTo>
                  <a:lnTo>
                    <a:pt x="21" y="283"/>
                  </a:lnTo>
                  <a:lnTo>
                    <a:pt x="23" y="288"/>
                  </a:lnTo>
                  <a:lnTo>
                    <a:pt x="24" y="293"/>
                  </a:lnTo>
                  <a:lnTo>
                    <a:pt x="26" y="296"/>
                  </a:lnTo>
                  <a:lnTo>
                    <a:pt x="27" y="296"/>
                  </a:lnTo>
                  <a:lnTo>
                    <a:pt x="27" y="296"/>
                  </a:lnTo>
                  <a:lnTo>
                    <a:pt x="36" y="299"/>
                  </a:lnTo>
                  <a:lnTo>
                    <a:pt x="40" y="300"/>
                  </a:lnTo>
                  <a:lnTo>
                    <a:pt x="46" y="299"/>
                  </a:lnTo>
                  <a:lnTo>
                    <a:pt x="46" y="299"/>
                  </a:lnTo>
                  <a:lnTo>
                    <a:pt x="56" y="297"/>
                  </a:lnTo>
                  <a:lnTo>
                    <a:pt x="65" y="297"/>
                  </a:lnTo>
                  <a:lnTo>
                    <a:pt x="65" y="297"/>
                  </a:lnTo>
                  <a:lnTo>
                    <a:pt x="71" y="296"/>
                  </a:lnTo>
                  <a:lnTo>
                    <a:pt x="74" y="294"/>
                  </a:lnTo>
                  <a:lnTo>
                    <a:pt x="74" y="294"/>
                  </a:lnTo>
                  <a:lnTo>
                    <a:pt x="75" y="294"/>
                  </a:lnTo>
                  <a:lnTo>
                    <a:pt x="76" y="296"/>
                  </a:lnTo>
                  <a:lnTo>
                    <a:pt x="78" y="297"/>
                  </a:lnTo>
                  <a:lnTo>
                    <a:pt x="81" y="296"/>
                  </a:lnTo>
                  <a:lnTo>
                    <a:pt x="81" y="296"/>
                  </a:lnTo>
                  <a:lnTo>
                    <a:pt x="85" y="293"/>
                  </a:lnTo>
                  <a:lnTo>
                    <a:pt x="89" y="288"/>
                  </a:lnTo>
                  <a:lnTo>
                    <a:pt x="94" y="284"/>
                  </a:lnTo>
                  <a:lnTo>
                    <a:pt x="95" y="283"/>
                  </a:lnTo>
                  <a:lnTo>
                    <a:pt x="98" y="281"/>
                  </a:lnTo>
                  <a:lnTo>
                    <a:pt x="98" y="281"/>
                  </a:lnTo>
                  <a:lnTo>
                    <a:pt x="100" y="283"/>
                  </a:lnTo>
                  <a:lnTo>
                    <a:pt x="101" y="284"/>
                  </a:lnTo>
                  <a:lnTo>
                    <a:pt x="103" y="285"/>
                  </a:lnTo>
                  <a:lnTo>
                    <a:pt x="104" y="285"/>
                  </a:lnTo>
                  <a:lnTo>
                    <a:pt x="104" y="285"/>
                  </a:lnTo>
                  <a:lnTo>
                    <a:pt x="107" y="284"/>
                  </a:lnTo>
                  <a:lnTo>
                    <a:pt x="108" y="284"/>
                  </a:lnTo>
                  <a:lnTo>
                    <a:pt x="108" y="287"/>
                  </a:lnTo>
                  <a:lnTo>
                    <a:pt x="108" y="287"/>
                  </a:lnTo>
                  <a:lnTo>
                    <a:pt x="107" y="294"/>
                  </a:lnTo>
                  <a:lnTo>
                    <a:pt x="107" y="296"/>
                  </a:lnTo>
                  <a:lnTo>
                    <a:pt x="104" y="297"/>
                  </a:lnTo>
                  <a:lnTo>
                    <a:pt x="104" y="297"/>
                  </a:lnTo>
                  <a:lnTo>
                    <a:pt x="104" y="297"/>
                  </a:lnTo>
                  <a:lnTo>
                    <a:pt x="104" y="299"/>
                  </a:lnTo>
                  <a:lnTo>
                    <a:pt x="105" y="300"/>
                  </a:lnTo>
                  <a:lnTo>
                    <a:pt x="108" y="303"/>
                  </a:lnTo>
                  <a:lnTo>
                    <a:pt x="110" y="306"/>
                  </a:lnTo>
                  <a:lnTo>
                    <a:pt x="110" y="306"/>
                  </a:lnTo>
                  <a:lnTo>
                    <a:pt x="111" y="317"/>
                  </a:lnTo>
                  <a:lnTo>
                    <a:pt x="111" y="323"/>
                  </a:lnTo>
                  <a:lnTo>
                    <a:pt x="108" y="327"/>
                  </a:lnTo>
                  <a:lnTo>
                    <a:pt x="108" y="327"/>
                  </a:lnTo>
                  <a:lnTo>
                    <a:pt x="105" y="330"/>
                  </a:lnTo>
                  <a:lnTo>
                    <a:pt x="101" y="332"/>
                  </a:lnTo>
                  <a:lnTo>
                    <a:pt x="94" y="333"/>
                  </a:lnTo>
                  <a:lnTo>
                    <a:pt x="94" y="333"/>
                  </a:lnTo>
                  <a:lnTo>
                    <a:pt x="91" y="333"/>
                  </a:lnTo>
                  <a:lnTo>
                    <a:pt x="88" y="336"/>
                  </a:lnTo>
                  <a:lnTo>
                    <a:pt x="82" y="341"/>
                  </a:lnTo>
                  <a:lnTo>
                    <a:pt x="82" y="341"/>
                  </a:lnTo>
                  <a:lnTo>
                    <a:pt x="75" y="345"/>
                  </a:lnTo>
                  <a:lnTo>
                    <a:pt x="72" y="346"/>
                  </a:lnTo>
                  <a:lnTo>
                    <a:pt x="71" y="345"/>
                  </a:lnTo>
                  <a:lnTo>
                    <a:pt x="71" y="345"/>
                  </a:lnTo>
                  <a:lnTo>
                    <a:pt x="68" y="342"/>
                  </a:lnTo>
                  <a:lnTo>
                    <a:pt x="66" y="341"/>
                  </a:lnTo>
                  <a:lnTo>
                    <a:pt x="63" y="341"/>
                  </a:lnTo>
                  <a:lnTo>
                    <a:pt x="63" y="341"/>
                  </a:lnTo>
                  <a:lnTo>
                    <a:pt x="56" y="341"/>
                  </a:lnTo>
                  <a:lnTo>
                    <a:pt x="53" y="341"/>
                  </a:lnTo>
                  <a:lnTo>
                    <a:pt x="50" y="342"/>
                  </a:lnTo>
                  <a:lnTo>
                    <a:pt x="50" y="342"/>
                  </a:lnTo>
                  <a:lnTo>
                    <a:pt x="49" y="346"/>
                  </a:lnTo>
                  <a:lnTo>
                    <a:pt x="47" y="352"/>
                  </a:lnTo>
                  <a:lnTo>
                    <a:pt x="46" y="356"/>
                  </a:lnTo>
                  <a:lnTo>
                    <a:pt x="45" y="361"/>
                  </a:lnTo>
                  <a:lnTo>
                    <a:pt x="45" y="361"/>
                  </a:lnTo>
                  <a:lnTo>
                    <a:pt x="37" y="371"/>
                  </a:lnTo>
                  <a:lnTo>
                    <a:pt x="33" y="377"/>
                  </a:lnTo>
                  <a:lnTo>
                    <a:pt x="30" y="383"/>
                  </a:lnTo>
                  <a:lnTo>
                    <a:pt x="30" y="383"/>
                  </a:lnTo>
                  <a:lnTo>
                    <a:pt x="30" y="388"/>
                  </a:lnTo>
                  <a:lnTo>
                    <a:pt x="30" y="391"/>
                  </a:lnTo>
                  <a:lnTo>
                    <a:pt x="29" y="393"/>
                  </a:lnTo>
                  <a:lnTo>
                    <a:pt x="29" y="393"/>
                  </a:lnTo>
                  <a:lnTo>
                    <a:pt x="26" y="396"/>
                  </a:lnTo>
                  <a:lnTo>
                    <a:pt x="24" y="398"/>
                  </a:lnTo>
                  <a:lnTo>
                    <a:pt x="24" y="401"/>
                  </a:lnTo>
                  <a:lnTo>
                    <a:pt x="26" y="403"/>
                  </a:lnTo>
                  <a:lnTo>
                    <a:pt x="26" y="403"/>
                  </a:lnTo>
                  <a:lnTo>
                    <a:pt x="29" y="401"/>
                  </a:lnTo>
                  <a:lnTo>
                    <a:pt x="32" y="400"/>
                  </a:lnTo>
                  <a:lnTo>
                    <a:pt x="33" y="398"/>
                  </a:lnTo>
                  <a:lnTo>
                    <a:pt x="33" y="400"/>
                  </a:lnTo>
                  <a:lnTo>
                    <a:pt x="33" y="400"/>
                  </a:lnTo>
                  <a:lnTo>
                    <a:pt x="32" y="406"/>
                  </a:lnTo>
                  <a:lnTo>
                    <a:pt x="29" y="410"/>
                  </a:lnTo>
                  <a:lnTo>
                    <a:pt x="29" y="410"/>
                  </a:lnTo>
                  <a:lnTo>
                    <a:pt x="30" y="413"/>
                  </a:lnTo>
                  <a:lnTo>
                    <a:pt x="33" y="414"/>
                  </a:lnTo>
                  <a:lnTo>
                    <a:pt x="40" y="417"/>
                  </a:lnTo>
                  <a:lnTo>
                    <a:pt x="40" y="417"/>
                  </a:lnTo>
                  <a:lnTo>
                    <a:pt x="47" y="422"/>
                  </a:lnTo>
                  <a:lnTo>
                    <a:pt x="55" y="425"/>
                  </a:lnTo>
                  <a:lnTo>
                    <a:pt x="55" y="425"/>
                  </a:lnTo>
                  <a:lnTo>
                    <a:pt x="59" y="425"/>
                  </a:lnTo>
                  <a:lnTo>
                    <a:pt x="62" y="425"/>
                  </a:lnTo>
                  <a:lnTo>
                    <a:pt x="65" y="426"/>
                  </a:lnTo>
                  <a:lnTo>
                    <a:pt x="65" y="427"/>
                  </a:lnTo>
                  <a:lnTo>
                    <a:pt x="65" y="427"/>
                  </a:lnTo>
                  <a:lnTo>
                    <a:pt x="62" y="430"/>
                  </a:lnTo>
                  <a:lnTo>
                    <a:pt x="61" y="432"/>
                  </a:lnTo>
                  <a:lnTo>
                    <a:pt x="58" y="435"/>
                  </a:lnTo>
                  <a:lnTo>
                    <a:pt x="56" y="438"/>
                  </a:lnTo>
                  <a:lnTo>
                    <a:pt x="56" y="438"/>
                  </a:lnTo>
                  <a:lnTo>
                    <a:pt x="56" y="445"/>
                  </a:lnTo>
                  <a:lnTo>
                    <a:pt x="56" y="448"/>
                  </a:lnTo>
                  <a:lnTo>
                    <a:pt x="58" y="451"/>
                  </a:lnTo>
                  <a:lnTo>
                    <a:pt x="58" y="451"/>
                  </a:lnTo>
                  <a:lnTo>
                    <a:pt x="61" y="452"/>
                  </a:lnTo>
                  <a:lnTo>
                    <a:pt x="63" y="455"/>
                  </a:lnTo>
                  <a:lnTo>
                    <a:pt x="63" y="455"/>
                  </a:lnTo>
                  <a:lnTo>
                    <a:pt x="65" y="458"/>
                  </a:lnTo>
                  <a:lnTo>
                    <a:pt x="69" y="458"/>
                  </a:lnTo>
                  <a:lnTo>
                    <a:pt x="76" y="458"/>
                  </a:lnTo>
                  <a:lnTo>
                    <a:pt x="76" y="458"/>
                  </a:lnTo>
                  <a:lnTo>
                    <a:pt x="81" y="456"/>
                  </a:lnTo>
                  <a:lnTo>
                    <a:pt x="84" y="455"/>
                  </a:lnTo>
                  <a:lnTo>
                    <a:pt x="85" y="452"/>
                  </a:lnTo>
                  <a:lnTo>
                    <a:pt x="85" y="451"/>
                  </a:lnTo>
                  <a:lnTo>
                    <a:pt x="85" y="451"/>
                  </a:lnTo>
                  <a:lnTo>
                    <a:pt x="84" y="446"/>
                  </a:lnTo>
                  <a:lnTo>
                    <a:pt x="84" y="442"/>
                  </a:lnTo>
                  <a:lnTo>
                    <a:pt x="85" y="439"/>
                  </a:lnTo>
                  <a:lnTo>
                    <a:pt x="87" y="438"/>
                  </a:lnTo>
                  <a:lnTo>
                    <a:pt x="87" y="438"/>
                  </a:lnTo>
                  <a:lnTo>
                    <a:pt x="88" y="439"/>
                  </a:lnTo>
                  <a:lnTo>
                    <a:pt x="89" y="445"/>
                  </a:lnTo>
                  <a:lnTo>
                    <a:pt x="91" y="454"/>
                  </a:lnTo>
                  <a:lnTo>
                    <a:pt x="91" y="454"/>
                  </a:lnTo>
                  <a:lnTo>
                    <a:pt x="92" y="458"/>
                  </a:lnTo>
                  <a:lnTo>
                    <a:pt x="91" y="465"/>
                  </a:lnTo>
                  <a:lnTo>
                    <a:pt x="91" y="465"/>
                  </a:lnTo>
                  <a:lnTo>
                    <a:pt x="89" y="471"/>
                  </a:lnTo>
                  <a:lnTo>
                    <a:pt x="91" y="475"/>
                  </a:lnTo>
                  <a:lnTo>
                    <a:pt x="91" y="475"/>
                  </a:lnTo>
                  <a:lnTo>
                    <a:pt x="94" y="480"/>
                  </a:lnTo>
                  <a:lnTo>
                    <a:pt x="95" y="482"/>
                  </a:lnTo>
                  <a:lnTo>
                    <a:pt x="95" y="482"/>
                  </a:lnTo>
                  <a:lnTo>
                    <a:pt x="94" y="485"/>
                  </a:lnTo>
                  <a:lnTo>
                    <a:pt x="89" y="488"/>
                  </a:lnTo>
                  <a:lnTo>
                    <a:pt x="89" y="488"/>
                  </a:lnTo>
                  <a:lnTo>
                    <a:pt x="85" y="493"/>
                  </a:lnTo>
                  <a:lnTo>
                    <a:pt x="84" y="494"/>
                  </a:lnTo>
                  <a:lnTo>
                    <a:pt x="87" y="494"/>
                  </a:lnTo>
                  <a:lnTo>
                    <a:pt x="87" y="494"/>
                  </a:lnTo>
                  <a:lnTo>
                    <a:pt x="94" y="496"/>
                  </a:lnTo>
                  <a:lnTo>
                    <a:pt x="97" y="496"/>
                  </a:lnTo>
                  <a:lnTo>
                    <a:pt x="100" y="494"/>
                  </a:lnTo>
                  <a:lnTo>
                    <a:pt x="100" y="494"/>
                  </a:lnTo>
                  <a:lnTo>
                    <a:pt x="108" y="488"/>
                  </a:lnTo>
                  <a:lnTo>
                    <a:pt x="113" y="484"/>
                  </a:lnTo>
                  <a:lnTo>
                    <a:pt x="118" y="484"/>
                  </a:lnTo>
                  <a:lnTo>
                    <a:pt x="118" y="484"/>
                  </a:lnTo>
                  <a:lnTo>
                    <a:pt x="123" y="485"/>
                  </a:lnTo>
                  <a:lnTo>
                    <a:pt x="126" y="487"/>
                  </a:lnTo>
                  <a:lnTo>
                    <a:pt x="129" y="488"/>
                  </a:lnTo>
                  <a:lnTo>
                    <a:pt x="130" y="488"/>
                  </a:lnTo>
                  <a:lnTo>
                    <a:pt x="130" y="488"/>
                  </a:lnTo>
                  <a:lnTo>
                    <a:pt x="131" y="487"/>
                  </a:lnTo>
                  <a:lnTo>
                    <a:pt x="131" y="485"/>
                  </a:lnTo>
                  <a:lnTo>
                    <a:pt x="133" y="485"/>
                  </a:lnTo>
                  <a:lnTo>
                    <a:pt x="136" y="487"/>
                  </a:lnTo>
                  <a:lnTo>
                    <a:pt x="136" y="487"/>
                  </a:lnTo>
                  <a:lnTo>
                    <a:pt x="143" y="494"/>
                  </a:lnTo>
                  <a:lnTo>
                    <a:pt x="146" y="497"/>
                  </a:lnTo>
                  <a:lnTo>
                    <a:pt x="147" y="497"/>
                  </a:lnTo>
                  <a:lnTo>
                    <a:pt x="149" y="496"/>
                  </a:lnTo>
                  <a:lnTo>
                    <a:pt x="149" y="496"/>
                  </a:lnTo>
                  <a:lnTo>
                    <a:pt x="149" y="493"/>
                  </a:lnTo>
                  <a:lnTo>
                    <a:pt x="147" y="491"/>
                  </a:lnTo>
                  <a:lnTo>
                    <a:pt x="146" y="490"/>
                  </a:lnTo>
                  <a:lnTo>
                    <a:pt x="145" y="487"/>
                  </a:lnTo>
                  <a:lnTo>
                    <a:pt x="145" y="487"/>
                  </a:lnTo>
                  <a:lnTo>
                    <a:pt x="147" y="480"/>
                  </a:lnTo>
                  <a:lnTo>
                    <a:pt x="149" y="478"/>
                  </a:lnTo>
                  <a:lnTo>
                    <a:pt x="152" y="478"/>
                  </a:lnTo>
                  <a:lnTo>
                    <a:pt x="152" y="478"/>
                  </a:lnTo>
                  <a:lnTo>
                    <a:pt x="152" y="481"/>
                  </a:lnTo>
                  <a:lnTo>
                    <a:pt x="153" y="484"/>
                  </a:lnTo>
                  <a:lnTo>
                    <a:pt x="153" y="487"/>
                  </a:lnTo>
                  <a:lnTo>
                    <a:pt x="156" y="488"/>
                  </a:lnTo>
                  <a:lnTo>
                    <a:pt x="156" y="488"/>
                  </a:lnTo>
                  <a:lnTo>
                    <a:pt x="160" y="488"/>
                  </a:lnTo>
                  <a:lnTo>
                    <a:pt x="166" y="485"/>
                  </a:lnTo>
                  <a:lnTo>
                    <a:pt x="172" y="481"/>
                  </a:lnTo>
                  <a:lnTo>
                    <a:pt x="172" y="481"/>
                  </a:lnTo>
                  <a:lnTo>
                    <a:pt x="175" y="477"/>
                  </a:lnTo>
                  <a:lnTo>
                    <a:pt x="175" y="477"/>
                  </a:lnTo>
                  <a:lnTo>
                    <a:pt x="176" y="480"/>
                  </a:lnTo>
                  <a:lnTo>
                    <a:pt x="176" y="480"/>
                  </a:lnTo>
                  <a:lnTo>
                    <a:pt x="176" y="482"/>
                  </a:lnTo>
                  <a:lnTo>
                    <a:pt x="175" y="485"/>
                  </a:lnTo>
                  <a:lnTo>
                    <a:pt x="171" y="493"/>
                  </a:lnTo>
                  <a:lnTo>
                    <a:pt x="171" y="493"/>
                  </a:lnTo>
                  <a:lnTo>
                    <a:pt x="165" y="500"/>
                  </a:lnTo>
                  <a:lnTo>
                    <a:pt x="162" y="503"/>
                  </a:lnTo>
                  <a:lnTo>
                    <a:pt x="160" y="507"/>
                  </a:lnTo>
                  <a:lnTo>
                    <a:pt x="160" y="507"/>
                  </a:lnTo>
                  <a:lnTo>
                    <a:pt x="160" y="516"/>
                  </a:lnTo>
                  <a:lnTo>
                    <a:pt x="159" y="522"/>
                  </a:lnTo>
                  <a:lnTo>
                    <a:pt x="158" y="527"/>
                  </a:lnTo>
                  <a:lnTo>
                    <a:pt x="158" y="527"/>
                  </a:lnTo>
                  <a:lnTo>
                    <a:pt x="152" y="539"/>
                  </a:lnTo>
                  <a:lnTo>
                    <a:pt x="150" y="543"/>
                  </a:lnTo>
                  <a:lnTo>
                    <a:pt x="147" y="546"/>
                  </a:lnTo>
                  <a:lnTo>
                    <a:pt x="147" y="546"/>
                  </a:lnTo>
                  <a:lnTo>
                    <a:pt x="140" y="548"/>
                  </a:lnTo>
                  <a:lnTo>
                    <a:pt x="134" y="549"/>
                  </a:lnTo>
                  <a:lnTo>
                    <a:pt x="131" y="552"/>
                  </a:lnTo>
                  <a:lnTo>
                    <a:pt x="131" y="552"/>
                  </a:lnTo>
                  <a:lnTo>
                    <a:pt x="126" y="562"/>
                  </a:lnTo>
                  <a:lnTo>
                    <a:pt x="123" y="566"/>
                  </a:lnTo>
                  <a:lnTo>
                    <a:pt x="120" y="569"/>
                  </a:lnTo>
                  <a:lnTo>
                    <a:pt x="120" y="569"/>
                  </a:lnTo>
                  <a:lnTo>
                    <a:pt x="118" y="569"/>
                  </a:lnTo>
                  <a:lnTo>
                    <a:pt x="117" y="568"/>
                  </a:lnTo>
                  <a:lnTo>
                    <a:pt x="116" y="568"/>
                  </a:lnTo>
                  <a:lnTo>
                    <a:pt x="113" y="568"/>
                  </a:lnTo>
                  <a:lnTo>
                    <a:pt x="113" y="568"/>
                  </a:lnTo>
                  <a:lnTo>
                    <a:pt x="108" y="569"/>
                  </a:lnTo>
                  <a:lnTo>
                    <a:pt x="104" y="571"/>
                  </a:lnTo>
                  <a:lnTo>
                    <a:pt x="98" y="572"/>
                  </a:lnTo>
                  <a:lnTo>
                    <a:pt x="94" y="575"/>
                  </a:lnTo>
                  <a:lnTo>
                    <a:pt x="94" y="575"/>
                  </a:lnTo>
                  <a:lnTo>
                    <a:pt x="89" y="582"/>
                  </a:lnTo>
                  <a:lnTo>
                    <a:pt x="87" y="587"/>
                  </a:lnTo>
                  <a:lnTo>
                    <a:pt x="87" y="587"/>
                  </a:lnTo>
                  <a:lnTo>
                    <a:pt x="87" y="588"/>
                  </a:lnTo>
                  <a:lnTo>
                    <a:pt x="85" y="590"/>
                  </a:lnTo>
                  <a:lnTo>
                    <a:pt x="87" y="591"/>
                  </a:lnTo>
                  <a:lnTo>
                    <a:pt x="89" y="591"/>
                  </a:lnTo>
                  <a:lnTo>
                    <a:pt x="89" y="591"/>
                  </a:lnTo>
                  <a:lnTo>
                    <a:pt x="95" y="593"/>
                  </a:lnTo>
                  <a:lnTo>
                    <a:pt x="97" y="591"/>
                  </a:lnTo>
                  <a:lnTo>
                    <a:pt x="98" y="588"/>
                  </a:lnTo>
                  <a:lnTo>
                    <a:pt x="98" y="588"/>
                  </a:lnTo>
                  <a:lnTo>
                    <a:pt x="101" y="582"/>
                  </a:lnTo>
                  <a:lnTo>
                    <a:pt x="103" y="580"/>
                  </a:lnTo>
                  <a:lnTo>
                    <a:pt x="104" y="581"/>
                  </a:lnTo>
                  <a:lnTo>
                    <a:pt x="104" y="581"/>
                  </a:lnTo>
                  <a:lnTo>
                    <a:pt x="104" y="584"/>
                  </a:lnTo>
                  <a:lnTo>
                    <a:pt x="104" y="585"/>
                  </a:lnTo>
                  <a:lnTo>
                    <a:pt x="105" y="587"/>
                  </a:lnTo>
                  <a:lnTo>
                    <a:pt x="108" y="585"/>
                  </a:lnTo>
                  <a:lnTo>
                    <a:pt x="108" y="585"/>
                  </a:lnTo>
                  <a:lnTo>
                    <a:pt x="118" y="581"/>
                  </a:lnTo>
                  <a:lnTo>
                    <a:pt x="127" y="577"/>
                  </a:lnTo>
                  <a:lnTo>
                    <a:pt x="127" y="577"/>
                  </a:lnTo>
                  <a:lnTo>
                    <a:pt x="129" y="574"/>
                  </a:lnTo>
                  <a:lnTo>
                    <a:pt x="130" y="571"/>
                  </a:lnTo>
                  <a:lnTo>
                    <a:pt x="131" y="569"/>
                  </a:lnTo>
                  <a:lnTo>
                    <a:pt x="136" y="569"/>
                  </a:lnTo>
                  <a:lnTo>
                    <a:pt x="136" y="569"/>
                  </a:lnTo>
                  <a:lnTo>
                    <a:pt x="142" y="568"/>
                  </a:lnTo>
                  <a:lnTo>
                    <a:pt x="145" y="565"/>
                  </a:lnTo>
                  <a:lnTo>
                    <a:pt x="150" y="559"/>
                  </a:lnTo>
                  <a:lnTo>
                    <a:pt x="150" y="559"/>
                  </a:lnTo>
                  <a:lnTo>
                    <a:pt x="158" y="555"/>
                  </a:lnTo>
                  <a:lnTo>
                    <a:pt x="171" y="549"/>
                  </a:lnTo>
                  <a:lnTo>
                    <a:pt x="182" y="545"/>
                  </a:lnTo>
                  <a:lnTo>
                    <a:pt x="188" y="540"/>
                  </a:lnTo>
                  <a:lnTo>
                    <a:pt x="188" y="540"/>
                  </a:lnTo>
                  <a:lnTo>
                    <a:pt x="188" y="539"/>
                  </a:lnTo>
                  <a:lnTo>
                    <a:pt x="188" y="536"/>
                  </a:lnTo>
                  <a:lnTo>
                    <a:pt x="189" y="535"/>
                  </a:lnTo>
                  <a:lnTo>
                    <a:pt x="192" y="532"/>
                  </a:lnTo>
                  <a:lnTo>
                    <a:pt x="192" y="532"/>
                  </a:lnTo>
                  <a:lnTo>
                    <a:pt x="197" y="529"/>
                  </a:lnTo>
                  <a:lnTo>
                    <a:pt x="200" y="523"/>
                  </a:lnTo>
                  <a:lnTo>
                    <a:pt x="207" y="514"/>
                  </a:lnTo>
                  <a:lnTo>
                    <a:pt x="207" y="514"/>
                  </a:lnTo>
                  <a:lnTo>
                    <a:pt x="211" y="511"/>
                  </a:lnTo>
                  <a:lnTo>
                    <a:pt x="214" y="510"/>
                  </a:lnTo>
                  <a:lnTo>
                    <a:pt x="217" y="510"/>
                  </a:lnTo>
                  <a:lnTo>
                    <a:pt x="220" y="509"/>
                  </a:lnTo>
                  <a:lnTo>
                    <a:pt x="220" y="509"/>
                  </a:lnTo>
                  <a:lnTo>
                    <a:pt x="221" y="507"/>
                  </a:lnTo>
                  <a:lnTo>
                    <a:pt x="221" y="504"/>
                  </a:lnTo>
                  <a:lnTo>
                    <a:pt x="221" y="503"/>
                  </a:lnTo>
                  <a:lnTo>
                    <a:pt x="223" y="501"/>
                  </a:lnTo>
                  <a:lnTo>
                    <a:pt x="223" y="501"/>
                  </a:lnTo>
                  <a:lnTo>
                    <a:pt x="229" y="491"/>
                  </a:lnTo>
                  <a:lnTo>
                    <a:pt x="234" y="482"/>
                  </a:lnTo>
                  <a:lnTo>
                    <a:pt x="234" y="482"/>
                  </a:lnTo>
                  <a:lnTo>
                    <a:pt x="234" y="481"/>
                  </a:lnTo>
                  <a:lnTo>
                    <a:pt x="234" y="480"/>
                  </a:lnTo>
                  <a:lnTo>
                    <a:pt x="229" y="478"/>
                  </a:lnTo>
                  <a:lnTo>
                    <a:pt x="229" y="478"/>
                  </a:lnTo>
                  <a:lnTo>
                    <a:pt x="223" y="475"/>
                  </a:lnTo>
                  <a:lnTo>
                    <a:pt x="223" y="472"/>
                  </a:lnTo>
                  <a:lnTo>
                    <a:pt x="224" y="469"/>
                  </a:lnTo>
                  <a:lnTo>
                    <a:pt x="224" y="469"/>
                  </a:lnTo>
                  <a:lnTo>
                    <a:pt x="227" y="465"/>
                  </a:lnTo>
                  <a:lnTo>
                    <a:pt x="230" y="461"/>
                  </a:lnTo>
                  <a:lnTo>
                    <a:pt x="233" y="456"/>
                  </a:lnTo>
                  <a:lnTo>
                    <a:pt x="237" y="454"/>
                  </a:lnTo>
                  <a:lnTo>
                    <a:pt x="237" y="454"/>
                  </a:lnTo>
                  <a:lnTo>
                    <a:pt x="240" y="452"/>
                  </a:lnTo>
                  <a:lnTo>
                    <a:pt x="242" y="449"/>
                  </a:lnTo>
                  <a:lnTo>
                    <a:pt x="242" y="442"/>
                  </a:lnTo>
                  <a:lnTo>
                    <a:pt x="242" y="442"/>
                  </a:lnTo>
                  <a:lnTo>
                    <a:pt x="244" y="432"/>
                  </a:lnTo>
                  <a:lnTo>
                    <a:pt x="247" y="426"/>
                  </a:lnTo>
                  <a:lnTo>
                    <a:pt x="252" y="423"/>
                  </a:lnTo>
                  <a:lnTo>
                    <a:pt x="252" y="423"/>
                  </a:lnTo>
                  <a:lnTo>
                    <a:pt x="265" y="414"/>
                  </a:lnTo>
                  <a:lnTo>
                    <a:pt x="265" y="414"/>
                  </a:lnTo>
                  <a:lnTo>
                    <a:pt x="269" y="409"/>
                  </a:lnTo>
                  <a:lnTo>
                    <a:pt x="272" y="404"/>
                  </a:lnTo>
                  <a:lnTo>
                    <a:pt x="273" y="404"/>
                  </a:lnTo>
                  <a:lnTo>
                    <a:pt x="273" y="404"/>
                  </a:lnTo>
                  <a:lnTo>
                    <a:pt x="273" y="404"/>
                  </a:lnTo>
                  <a:lnTo>
                    <a:pt x="278" y="407"/>
                  </a:lnTo>
                  <a:lnTo>
                    <a:pt x="279" y="407"/>
                  </a:lnTo>
                  <a:lnTo>
                    <a:pt x="281" y="406"/>
                  </a:lnTo>
                  <a:lnTo>
                    <a:pt x="281" y="406"/>
                  </a:lnTo>
                  <a:lnTo>
                    <a:pt x="286" y="401"/>
                  </a:lnTo>
                  <a:lnTo>
                    <a:pt x="289" y="398"/>
                  </a:lnTo>
                  <a:lnTo>
                    <a:pt x="289" y="398"/>
                  </a:lnTo>
                  <a:lnTo>
                    <a:pt x="289" y="400"/>
                  </a:lnTo>
                  <a:lnTo>
                    <a:pt x="289" y="400"/>
                  </a:lnTo>
                  <a:lnTo>
                    <a:pt x="288" y="407"/>
                  </a:lnTo>
                  <a:lnTo>
                    <a:pt x="288" y="413"/>
                  </a:lnTo>
                  <a:lnTo>
                    <a:pt x="288" y="413"/>
                  </a:lnTo>
                  <a:lnTo>
                    <a:pt x="292" y="417"/>
                  </a:lnTo>
                  <a:lnTo>
                    <a:pt x="294" y="419"/>
                  </a:lnTo>
                  <a:lnTo>
                    <a:pt x="292" y="420"/>
                  </a:lnTo>
                  <a:lnTo>
                    <a:pt x="292" y="420"/>
                  </a:lnTo>
                  <a:lnTo>
                    <a:pt x="281" y="420"/>
                  </a:lnTo>
                  <a:lnTo>
                    <a:pt x="281" y="420"/>
                  </a:lnTo>
                  <a:lnTo>
                    <a:pt x="279" y="419"/>
                  </a:lnTo>
                  <a:lnTo>
                    <a:pt x="278" y="417"/>
                  </a:lnTo>
                  <a:lnTo>
                    <a:pt x="276" y="417"/>
                  </a:lnTo>
                  <a:lnTo>
                    <a:pt x="273" y="417"/>
                  </a:lnTo>
                  <a:lnTo>
                    <a:pt x="273" y="417"/>
                  </a:lnTo>
                  <a:lnTo>
                    <a:pt x="268" y="422"/>
                  </a:lnTo>
                  <a:lnTo>
                    <a:pt x="266" y="423"/>
                  </a:lnTo>
                  <a:lnTo>
                    <a:pt x="265" y="425"/>
                  </a:lnTo>
                  <a:lnTo>
                    <a:pt x="265" y="425"/>
                  </a:lnTo>
                  <a:lnTo>
                    <a:pt x="263" y="436"/>
                  </a:lnTo>
                  <a:lnTo>
                    <a:pt x="260" y="449"/>
                  </a:lnTo>
                  <a:lnTo>
                    <a:pt x="260" y="449"/>
                  </a:lnTo>
                  <a:lnTo>
                    <a:pt x="259" y="452"/>
                  </a:lnTo>
                  <a:lnTo>
                    <a:pt x="259" y="455"/>
                  </a:lnTo>
                  <a:lnTo>
                    <a:pt x="260" y="456"/>
                  </a:lnTo>
                  <a:lnTo>
                    <a:pt x="262" y="456"/>
                  </a:lnTo>
                  <a:lnTo>
                    <a:pt x="262" y="456"/>
                  </a:lnTo>
                  <a:lnTo>
                    <a:pt x="266" y="454"/>
                  </a:lnTo>
                  <a:lnTo>
                    <a:pt x="266" y="454"/>
                  </a:lnTo>
                  <a:lnTo>
                    <a:pt x="268" y="454"/>
                  </a:lnTo>
                  <a:lnTo>
                    <a:pt x="268" y="454"/>
                  </a:lnTo>
                  <a:lnTo>
                    <a:pt x="262" y="459"/>
                  </a:lnTo>
                  <a:lnTo>
                    <a:pt x="259" y="464"/>
                  </a:lnTo>
                  <a:lnTo>
                    <a:pt x="259" y="467"/>
                  </a:lnTo>
                  <a:lnTo>
                    <a:pt x="259" y="467"/>
                  </a:lnTo>
                  <a:lnTo>
                    <a:pt x="260" y="468"/>
                  </a:lnTo>
                  <a:lnTo>
                    <a:pt x="263" y="468"/>
                  </a:lnTo>
                  <a:lnTo>
                    <a:pt x="268" y="467"/>
                  </a:lnTo>
                  <a:lnTo>
                    <a:pt x="271" y="465"/>
                  </a:lnTo>
                  <a:lnTo>
                    <a:pt x="271" y="465"/>
                  </a:lnTo>
                  <a:lnTo>
                    <a:pt x="273" y="462"/>
                  </a:lnTo>
                  <a:lnTo>
                    <a:pt x="275" y="462"/>
                  </a:lnTo>
                  <a:lnTo>
                    <a:pt x="282" y="459"/>
                  </a:lnTo>
                  <a:lnTo>
                    <a:pt x="282" y="459"/>
                  </a:lnTo>
                  <a:lnTo>
                    <a:pt x="285" y="456"/>
                  </a:lnTo>
                  <a:lnTo>
                    <a:pt x="288" y="454"/>
                  </a:lnTo>
                  <a:lnTo>
                    <a:pt x="292" y="451"/>
                  </a:lnTo>
                  <a:lnTo>
                    <a:pt x="297" y="449"/>
                  </a:lnTo>
                  <a:lnTo>
                    <a:pt x="297" y="449"/>
                  </a:lnTo>
                  <a:lnTo>
                    <a:pt x="307" y="449"/>
                  </a:lnTo>
                  <a:lnTo>
                    <a:pt x="313" y="448"/>
                  </a:lnTo>
                  <a:lnTo>
                    <a:pt x="315" y="445"/>
                  </a:lnTo>
                  <a:lnTo>
                    <a:pt x="315" y="445"/>
                  </a:lnTo>
                  <a:lnTo>
                    <a:pt x="320" y="442"/>
                  </a:lnTo>
                  <a:lnTo>
                    <a:pt x="324" y="440"/>
                  </a:lnTo>
                  <a:lnTo>
                    <a:pt x="327" y="439"/>
                  </a:lnTo>
                  <a:lnTo>
                    <a:pt x="327" y="438"/>
                  </a:lnTo>
                  <a:lnTo>
                    <a:pt x="327" y="438"/>
                  </a:lnTo>
                  <a:lnTo>
                    <a:pt x="326" y="435"/>
                  </a:lnTo>
                  <a:lnTo>
                    <a:pt x="321" y="432"/>
                  </a:lnTo>
                  <a:lnTo>
                    <a:pt x="314" y="426"/>
                  </a:lnTo>
                  <a:lnTo>
                    <a:pt x="314" y="426"/>
                  </a:lnTo>
                  <a:lnTo>
                    <a:pt x="313" y="425"/>
                  </a:lnTo>
                  <a:lnTo>
                    <a:pt x="313" y="420"/>
                  </a:lnTo>
                  <a:lnTo>
                    <a:pt x="313" y="417"/>
                  </a:lnTo>
                  <a:lnTo>
                    <a:pt x="314" y="416"/>
                  </a:lnTo>
                  <a:lnTo>
                    <a:pt x="314" y="416"/>
                  </a:lnTo>
                  <a:lnTo>
                    <a:pt x="318" y="417"/>
                  </a:lnTo>
                  <a:lnTo>
                    <a:pt x="323" y="417"/>
                  </a:lnTo>
                  <a:lnTo>
                    <a:pt x="323" y="417"/>
                  </a:lnTo>
                  <a:lnTo>
                    <a:pt x="324" y="419"/>
                  </a:lnTo>
                  <a:lnTo>
                    <a:pt x="327" y="420"/>
                  </a:lnTo>
                  <a:lnTo>
                    <a:pt x="330" y="420"/>
                  </a:lnTo>
                  <a:lnTo>
                    <a:pt x="333" y="420"/>
                  </a:lnTo>
                  <a:lnTo>
                    <a:pt x="333" y="420"/>
                  </a:lnTo>
                  <a:lnTo>
                    <a:pt x="336" y="417"/>
                  </a:lnTo>
                  <a:lnTo>
                    <a:pt x="337" y="417"/>
                  </a:lnTo>
                  <a:lnTo>
                    <a:pt x="340" y="417"/>
                  </a:lnTo>
                  <a:lnTo>
                    <a:pt x="340" y="419"/>
                  </a:lnTo>
                  <a:lnTo>
                    <a:pt x="340" y="419"/>
                  </a:lnTo>
                  <a:lnTo>
                    <a:pt x="340" y="423"/>
                  </a:lnTo>
                  <a:lnTo>
                    <a:pt x="340" y="425"/>
                  </a:lnTo>
                  <a:lnTo>
                    <a:pt x="343" y="425"/>
                  </a:lnTo>
                  <a:lnTo>
                    <a:pt x="343" y="425"/>
                  </a:lnTo>
                  <a:lnTo>
                    <a:pt x="347" y="425"/>
                  </a:lnTo>
                  <a:lnTo>
                    <a:pt x="350" y="427"/>
                  </a:lnTo>
                  <a:lnTo>
                    <a:pt x="350" y="427"/>
                  </a:lnTo>
                  <a:lnTo>
                    <a:pt x="356" y="433"/>
                  </a:lnTo>
                  <a:lnTo>
                    <a:pt x="360" y="435"/>
                  </a:lnTo>
                  <a:lnTo>
                    <a:pt x="363" y="435"/>
                  </a:lnTo>
                  <a:lnTo>
                    <a:pt x="363" y="435"/>
                  </a:lnTo>
                  <a:lnTo>
                    <a:pt x="369" y="433"/>
                  </a:lnTo>
                  <a:lnTo>
                    <a:pt x="372" y="435"/>
                  </a:lnTo>
                  <a:lnTo>
                    <a:pt x="373" y="436"/>
                  </a:lnTo>
                  <a:lnTo>
                    <a:pt x="373" y="436"/>
                  </a:lnTo>
                  <a:lnTo>
                    <a:pt x="378" y="440"/>
                  </a:lnTo>
                  <a:lnTo>
                    <a:pt x="379" y="443"/>
                  </a:lnTo>
                  <a:lnTo>
                    <a:pt x="382" y="443"/>
                  </a:lnTo>
                  <a:lnTo>
                    <a:pt x="382" y="443"/>
                  </a:lnTo>
                  <a:lnTo>
                    <a:pt x="392" y="445"/>
                  </a:lnTo>
                  <a:lnTo>
                    <a:pt x="407" y="446"/>
                  </a:lnTo>
                  <a:lnTo>
                    <a:pt x="407" y="446"/>
                  </a:lnTo>
                  <a:lnTo>
                    <a:pt x="414" y="448"/>
                  </a:lnTo>
                  <a:lnTo>
                    <a:pt x="423" y="451"/>
                  </a:lnTo>
                  <a:lnTo>
                    <a:pt x="434" y="454"/>
                  </a:lnTo>
                  <a:lnTo>
                    <a:pt x="434" y="454"/>
                  </a:lnTo>
                  <a:lnTo>
                    <a:pt x="440" y="452"/>
                  </a:lnTo>
                  <a:lnTo>
                    <a:pt x="446" y="449"/>
                  </a:lnTo>
                  <a:lnTo>
                    <a:pt x="452" y="446"/>
                  </a:lnTo>
                  <a:lnTo>
                    <a:pt x="453" y="446"/>
                  </a:lnTo>
                  <a:lnTo>
                    <a:pt x="454" y="446"/>
                  </a:lnTo>
                  <a:lnTo>
                    <a:pt x="454" y="446"/>
                  </a:lnTo>
                  <a:lnTo>
                    <a:pt x="453" y="449"/>
                  </a:lnTo>
                  <a:lnTo>
                    <a:pt x="452" y="452"/>
                  </a:lnTo>
                  <a:lnTo>
                    <a:pt x="450" y="456"/>
                  </a:lnTo>
                  <a:lnTo>
                    <a:pt x="452" y="459"/>
                  </a:lnTo>
                  <a:lnTo>
                    <a:pt x="452" y="459"/>
                  </a:lnTo>
                  <a:lnTo>
                    <a:pt x="460" y="468"/>
                  </a:lnTo>
                  <a:lnTo>
                    <a:pt x="465" y="471"/>
                  </a:lnTo>
                  <a:lnTo>
                    <a:pt x="469" y="472"/>
                  </a:lnTo>
                  <a:lnTo>
                    <a:pt x="469" y="472"/>
                  </a:lnTo>
                  <a:lnTo>
                    <a:pt x="476" y="472"/>
                  </a:lnTo>
                  <a:lnTo>
                    <a:pt x="479" y="475"/>
                  </a:lnTo>
                  <a:lnTo>
                    <a:pt x="479" y="478"/>
                  </a:lnTo>
                  <a:lnTo>
                    <a:pt x="479" y="478"/>
                  </a:lnTo>
                  <a:lnTo>
                    <a:pt x="482" y="487"/>
                  </a:lnTo>
                  <a:lnTo>
                    <a:pt x="483" y="491"/>
                  </a:lnTo>
                  <a:lnTo>
                    <a:pt x="486" y="493"/>
                  </a:lnTo>
                  <a:lnTo>
                    <a:pt x="486" y="493"/>
                  </a:lnTo>
                  <a:lnTo>
                    <a:pt x="491" y="493"/>
                  </a:lnTo>
                  <a:lnTo>
                    <a:pt x="496" y="496"/>
                  </a:lnTo>
                  <a:lnTo>
                    <a:pt x="496" y="496"/>
                  </a:lnTo>
                  <a:lnTo>
                    <a:pt x="501" y="500"/>
                  </a:lnTo>
                  <a:lnTo>
                    <a:pt x="502" y="501"/>
                  </a:lnTo>
                  <a:lnTo>
                    <a:pt x="504" y="500"/>
                  </a:lnTo>
                  <a:lnTo>
                    <a:pt x="504" y="500"/>
                  </a:lnTo>
                  <a:lnTo>
                    <a:pt x="507" y="496"/>
                  </a:lnTo>
                  <a:lnTo>
                    <a:pt x="508" y="493"/>
                  </a:lnTo>
                  <a:lnTo>
                    <a:pt x="507" y="490"/>
                  </a:lnTo>
                  <a:lnTo>
                    <a:pt x="507" y="490"/>
                  </a:lnTo>
                  <a:lnTo>
                    <a:pt x="504" y="484"/>
                  </a:lnTo>
                  <a:lnTo>
                    <a:pt x="502" y="481"/>
                  </a:lnTo>
                  <a:lnTo>
                    <a:pt x="504" y="481"/>
                  </a:lnTo>
                  <a:lnTo>
                    <a:pt x="504" y="481"/>
                  </a:lnTo>
                  <a:lnTo>
                    <a:pt x="510" y="484"/>
                  </a:lnTo>
                  <a:lnTo>
                    <a:pt x="512" y="487"/>
                  </a:lnTo>
                  <a:lnTo>
                    <a:pt x="515" y="491"/>
                  </a:lnTo>
                  <a:lnTo>
                    <a:pt x="515" y="491"/>
                  </a:lnTo>
                  <a:lnTo>
                    <a:pt x="518" y="498"/>
                  </a:lnTo>
                  <a:lnTo>
                    <a:pt x="520" y="501"/>
                  </a:lnTo>
                  <a:lnTo>
                    <a:pt x="521" y="501"/>
                  </a:lnTo>
                  <a:lnTo>
                    <a:pt x="521" y="501"/>
                  </a:lnTo>
                  <a:lnTo>
                    <a:pt x="523" y="498"/>
                  </a:lnTo>
                  <a:lnTo>
                    <a:pt x="523" y="493"/>
                  </a:lnTo>
                  <a:lnTo>
                    <a:pt x="521" y="482"/>
                  </a:lnTo>
                  <a:lnTo>
                    <a:pt x="521" y="482"/>
                  </a:lnTo>
                  <a:lnTo>
                    <a:pt x="518" y="471"/>
                  </a:lnTo>
                  <a:lnTo>
                    <a:pt x="517" y="467"/>
                  </a:lnTo>
                  <a:lnTo>
                    <a:pt x="517" y="465"/>
                  </a:lnTo>
                  <a:lnTo>
                    <a:pt x="518" y="465"/>
                  </a:lnTo>
                  <a:lnTo>
                    <a:pt x="518" y="465"/>
                  </a:lnTo>
                  <a:lnTo>
                    <a:pt x="521" y="467"/>
                  </a:lnTo>
                  <a:lnTo>
                    <a:pt x="523" y="469"/>
                  </a:lnTo>
                  <a:lnTo>
                    <a:pt x="525" y="478"/>
                  </a:lnTo>
                  <a:lnTo>
                    <a:pt x="525" y="478"/>
                  </a:lnTo>
                  <a:lnTo>
                    <a:pt x="527" y="490"/>
                  </a:lnTo>
                  <a:lnTo>
                    <a:pt x="528" y="496"/>
                  </a:lnTo>
                  <a:lnTo>
                    <a:pt x="531" y="500"/>
                  </a:lnTo>
                  <a:lnTo>
                    <a:pt x="531" y="500"/>
                  </a:lnTo>
                  <a:lnTo>
                    <a:pt x="534" y="501"/>
                  </a:lnTo>
                  <a:lnTo>
                    <a:pt x="537" y="501"/>
                  </a:lnTo>
                  <a:lnTo>
                    <a:pt x="541" y="501"/>
                  </a:lnTo>
                  <a:lnTo>
                    <a:pt x="541" y="501"/>
                  </a:lnTo>
                  <a:lnTo>
                    <a:pt x="544" y="503"/>
                  </a:lnTo>
                  <a:lnTo>
                    <a:pt x="546" y="506"/>
                  </a:lnTo>
                  <a:lnTo>
                    <a:pt x="549" y="509"/>
                  </a:lnTo>
                  <a:lnTo>
                    <a:pt x="553" y="511"/>
                  </a:lnTo>
                  <a:lnTo>
                    <a:pt x="553" y="511"/>
                  </a:lnTo>
                  <a:lnTo>
                    <a:pt x="557" y="516"/>
                  </a:lnTo>
                  <a:lnTo>
                    <a:pt x="559" y="520"/>
                  </a:lnTo>
                  <a:lnTo>
                    <a:pt x="560" y="526"/>
                  </a:lnTo>
                  <a:lnTo>
                    <a:pt x="560" y="526"/>
                  </a:lnTo>
                  <a:lnTo>
                    <a:pt x="562" y="529"/>
                  </a:lnTo>
                  <a:lnTo>
                    <a:pt x="563" y="530"/>
                  </a:lnTo>
                  <a:lnTo>
                    <a:pt x="566" y="532"/>
                  </a:lnTo>
                  <a:lnTo>
                    <a:pt x="569" y="535"/>
                  </a:lnTo>
                  <a:lnTo>
                    <a:pt x="569" y="535"/>
                  </a:lnTo>
                  <a:lnTo>
                    <a:pt x="570" y="539"/>
                  </a:lnTo>
                  <a:lnTo>
                    <a:pt x="572" y="543"/>
                  </a:lnTo>
                  <a:lnTo>
                    <a:pt x="572" y="548"/>
                  </a:lnTo>
                  <a:lnTo>
                    <a:pt x="575" y="552"/>
                  </a:lnTo>
                  <a:lnTo>
                    <a:pt x="575" y="552"/>
                  </a:lnTo>
                  <a:lnTo>
                    <a:pt x="580" y="556"/>
                  </a:lnTo>
                  <a:lnTo>
                    <a:pt x="583" y="558"/>
                  </a:lnTo>
                  <a:lnTo>
                    <a:pt x="585" y="561"/>
                  </a:lnTo>
                  <a:lnTo>
                    <a:pt x="585" y="561"/>
                  </a:lnTo>
                  <a:lnTo>
                    <a:pt x="583" y="566"/>
                  </a:lnTo>
                  <a:lnTo>
                    <a:pt x="583" y="568"/>
                  </a:lnTo>
                  <a:lnTo>
                    <a:pt x="586" y="568"/>
                  </a:lnTo>
                  <a:lnTo>
                    <a:pt x="586" y="568"/>
                  </a:lnTo>
                  <a:lnTo>
                    <a:pt x="594" y="565"/>
                  </a:lnTo>
                  <a:lnTo>
                    <a:pt x="595" y="565"/>
                  </a:lnTo>
                  <a:lnTo>
                    <a:pt x="596" y="566"/>
                  </a:lnTo>
                  <a:lnTo>
                    <a:pt x="596" y="566"/>
                  </a:lnTo>
                  <a:lnTo>
                    <a:pt x="598" y="568"/>
                  </a:lnTo>
                  <a:lnTo>
                    <a:pt x="601" y="572"/>
                  </a:lnTo>
                  <a:lnTo>
                    <a:pt x="601" y="577"/>
                  </a:lnTo>
                  <a:lnTo>
                    <a:pt x="601" y="580"/>
                  </a:lnTo>
                  <a:lnTo>
                    <a:pt x="601" y="580"/>
                  </a:lnTo>
                  <a:lnTo>
                    <a:pt x="602" y="582"/>
                  </a:lnTo>
                  <a:lnTo>
                    <a:pt x="602" y="585"/>
                  </a:lnTo>
                  <a:lnTo>
                    <a:pt x="604" y="588"/>
                  </a:lnTo>
                  <a:lnTo>
                    <a:pt x="602" y="590"/>
                  </a:lnTo>
                  <a:lnTo>
                    <a:pt x="602" y="590"/>
                  </a:lnTo>
                  <a:lnTo>
                    <a:pt x="601" y="593"/>
                  </a:lnTo>
                  <a:lnTo>
                    <a:pt x="601" y="594"/>
                  </a:lnTo>
                  <a:lnTo>
                    <a:pt x="602" y="595"/>
                  </a:lnTo>
                  <a:lnTo>
                    <a:pt x="604" y="597"/>
                  </a:lnTo>
                  <a:lnTo>
                    <a:pt x="604" y="597"/>
                  </a:lnTo>
                  <a:lnTo>
                    <a:pt x="607" y="595"/>
                  </a:lnTo>
                  <a:lnTo>
                    <a:pt x="609" y="594"/>
                  </a:lnTo>
                  <a:lnTo>
                    <a:pt x="611" y="593"/>
                  </a:lnTo>
                  <a:lnTo>
                    <a:pt x="612" y="593"/>
                  </a:lnTo>
                  <a:lnTo>
                    <a:pt x="612" y="594"/>
                  </a:lnTo>
                  <a:lnTo>
                    <a:pt x="612" y="593"/>
                  </a:lnTo>
                  <a:lnTo>
                    <a:pt x="612" y="5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85" name="Freeform 248"/>
            <p:cNvSpPr>
              <a:spLocks/>
            </p:cNvSpPr>
            <p:nvPr/>
          </p:nvSpPr>
          <p:spPr bwMode="auto">
            <a:xfrm>
              <a:off x="317501" y="2856341"/>
              <a:ext cx="47625" cy="30163"/>
            </a:xfrm>
            <a:custGeom>
              <a:avLst/>
              <a:gdLst>
                <a:gd name="T0" fmla="*/ 27 w 30"/>
                <a:gd name="T1" fmla="*/ 9 h 19"/>
                <a:gd name="T2" fmla="*/ 27 w 30"/>
                <a:gd name="T3" fmla="*/ 9 h 19"/>
                <a:gd name="T4" fmla="*/ 22 w 30"/>
                <a:gd name="T5" fmla="*/ 13 h 19"/>
                <a:gd name="T6" fmla="*/ 14 w 30"/>
                <a:gd name="T7" fmla="*/ 17 h 19"/>
                <a:gd name="T8" fmla="*/ 10 w 30"/>
                <a:gd name="T9" fmla="*/ 19 h 19"/>
                <a:gd name="T10" fmla="*/ 6 w 30"/>
                <a:gd name="T11" fmla="*/ 19 h 19"/>
                <a:gd name="T12" fmla="*/ 3 w 30"/>
                <a:gd name="T13" fmla="*/ 17 h 19"/>
                <a:gd name="T14" fmla="*/ 0 w 30"/>
                <a:gd name="T15" fmla="*/ 16 h 19"/>
                <a:gd name="T16" fmla="*/ 0 w 30"/>
                <a:gd name="T17" fmla="*/ 16 h 19"/>
                <a:gd name="T18" fmla="*/ 0 w 30"/>
                <a:gd name="T19" fmla="*/ 15 h 19"/>
                <a:gd name="T20" fmla="*/ 1 w 30"/>
                <a:gd name="T21" fmla="*/ 13 h 19"/>
                <a:gd name="T22" fmla="*/ 4 w 30"/>
                <a:gd name="T23" fmla="*/ 12 h 19"/>
                <a:gd name="T24" fmla="*/ 11 w 30"/>
                <a:gd name="T25" fmla="*/ 9 h 19"/>
                <a:gd name="T26" fmla="*/ 11 w 30"/>
                <a:gd name="T27" fmla="*/ 9 h 19"/>
                <a:gd name="T28" fmla="*/ 20 w 30"/>
                <a:gd name="T29" fmla="*/ 3 h 19"/>
                <a:gd name="T30" fmla="*/ 24 w 30"/>
                <a:gd name="T31" fmla="*/ 2 h 19"/>
                <a:gd name="T32" fmla="*/ 27 w 30"/>
                <a:gd name="T33" fmla="*/ 0 h 19"/>
                <a:gd name="T34" fmla="*/ 27 w 30"/>
                <a:gd name="T35" fmla="*/ 0 h 19"/>
                <a:gd name="T36" fmla="*/ 29 w 30"/>
                <a:gd name="T37" fmla="*/ 2 h 19"/>
                <a:gd name="T38" fmla="*/ 30 w 30"/>
                <a:gd name="T39" fmla="*/ 4 h 19"/>
                <a:gd name="T40" fmla="*/ 30 w 30"/>
                <a:gd name="T41" fmla="*/ 6 h 19"/>
                <a:gd name="T42" fmla="*/ 27 w 30"/>
                <a:gd name="T43"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 h="19">
                  <a:moveTo>
                    <a:pt x="27" y="9"/>
                  </a:moveTo>
                  <a:lnTo>
                    <a:pt x="27" y="9"/>
                  </a:lnTo>
                  <a:lnTo>
                    <a:pt x="22" y="13"/>
                  </a:lnTo>
                  <a:lnTo>
                    <a:pt x="14" y="17"/>
                  </a:lnTo>
                  <a:lnTo>
                    <a:pt x="10" y="19"/>
                  </a:lnTo>
                  <a:lnTo>
                    <a:pt x="6" y="19"/>
                  </a:lnTo>
                  <a:lnTo>
                    <a:pt x="3" y="17"/>
                  </a:lnTo>
                  <a:lnTo>
                    <a:pt x="0" y="16"/>
                  </a:lnTo>
                  <a:lnTo>
                    <a:pt x="0" y="16"/>
                  </a:lnTo>
                  <a:lnTo>
                    <a:pt x="0" y="15"/>
                  </a:lnTo>
                  <a:lnTo>
                    <a:pt x="1" y="13"/>
                  </a:lnTo>
                  <a:lnTo>
                    <a:pt x="4" y="12"/>
                  </a:lnTo>
                  <a:lnTo>
                    <a:pt x="11" y="9"/>
                  </a:lnTo>
                  <a:lnTo>
                    <a:pt x="11" y="9"/>
                  </a:lnTo>
                  <a:lnTo>
                    <a:pt x="20" y="3"/>
                  </a:lnTo>
                  <a:lnTo>
                    <a:pt x="24" y="2"/>
                  </a:lnTo>
                  <a:lnTo>
                    <a:pt x="27" y="0"/>
                  </a:lnTo>
                  <a:lnTo>
                    <a:pt x="27" y="0"/>
                  </a:lnTo>
                  <a:lnTo>
                    <a:pt x="29" y="2"/>
                  </a:lnTo>
                  <a:lnTo>
                    <a:pt x="30" y="4"/>
                  </a:lnTo>
                  <a:lnTo>
                    <a:pt x="30" y="6"/>
                  </a:lnTo>
                  <a:lnTo>
                    <a:pt x="27"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86" name="Freeform 249"/>
            <p:cNvSpPr>
              <a:spLocks/>
            </p:cNvSpPr>
            <p:nvPr/>
          </p:nvSpPr>
          <p:spPr bwMode="auto">
            <a:xfrm>
              <a:off x="342901" y="2808716"/>
              <a:ext cx="36513" cy="31750"/>
            </a:xfrm>
            <a:custGeom>
              <a:avLst/>
              <a:gdLst>
                <a:gd name="T0" fmla="*/ 23 w 23"/>
                <a:gd name="T1" fmla="*/ 1 h 20"/>
                <a:gd name="T2" fmla="*/ 23 w 23"/>
                <a:gd name="T3" fmla="*/ 1 h 20"/>
                <a:gd name="T4" fmla="*/ 19 w 23"/>
                <a:gd name="T5" fmla="*/ 5 h 20"/>
                <a:gd name="T6" fmla="*/ 16 w 23"/>
                <a:gd name="T7" fmla="*/ 8 h 20"/>
                <a:gd name="T8" fmla="*/ 13 w 23"/>
                <a:gd name="T9" fmla="*/ 11 h 20"/>
                <a:gd name="T10" fmla="*/ 13 w 23"/>
                <a:gd name="T11" fmla="*/ 11 h 20"/>
                <a:gd name="T12" fmla="*/ 7 w 23"/>
                <a:gd name="T13" fmla="*/ 17 h 20"/>
                <a:gd name="T14" fmla="*/ 4 w 23"/>
                <a:gd name="T15" fmla="*/ 18 h 20"/>
                <a:gd name="T16" fmla="*/ 0 w 23"/>
                <a:gd name="T17" fmla="*/ 20 h 20"/>
                <a:gd name="T18" fmla="*/ 0 w 23"/>
                <a:gd name="T19" fmla="*/ 20 h 20"/>
                <a:gd name="T20" fmla="*/ 0 w 23"/>
                <a:gd name="T21" fmla="*/ 20 h 20"/>
                <a:gd name="T22" fmla="*/ 0 w 23"/>
                <a:gd name="T23" fmla="*/ 18 h 20"/>
                <a:gd name="T24" fmla="*/ 1 w 23"/>
                <a:gd name="T25" fmla="*/ 14 h 20"/>
                <a:gd name="T26" fmla="*/ 4 w 23"/>
                <a:gd name="T27" fmla="*/ 10 h 20"/>
                <a:gd name="T28" fmla="*/ 8 w 23"/>
                <a:gd name="T29" fmla="*/ 7 h 20"/>
                <a:gd name="T30" fmla="*/ 8 w 23"/>
                <a:gd name="T31" fmla="*/ 7 h 20"/>
                <a:gd name="T32" fmla="*/ 19 w 23"/>
                <a:gd name="T33" fmla="*/ 3 h 20"/>
                <a:gd name="T34" fmla="*/ 22 w 23"/>
                <a:gd name="T35" fmla="*/ 0 h 20"/>
                <a:gd name="T36" fmla="*/ 23 w 23"/>
                <a:gd name="T37" fmla="*/ 0 h 20"/>
                <a:gd name="T38" fmla="*/ 23 w 23"/>
                <a:gd name="T39"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 h="20">
                  <a:moveTo>
                    <a:pt x="23" y="1"/>
                  </a:moveTo>
                  <a:lnTo>
                    <a:pt x="23" y="1"/>
                  </a:lnTo>
                  <a:lnTo>
                    <a:pt x="19" y="5"/>
                  </a:lnTo>
                  <a:lnTo>
                    <a:pt x="16" y="8"/>
                  </a:lnTo>
                  <a:lnTo>
                    <a:pt x="13" y="11"/>
                  </a:lnTo>
                  <a:lnTo>
                    <a:pt x="13" y="11"/>
                  </a:lnTo>
                  <a:lnTo>
                    <a:pt x="7" y="17"/>
                  </a:lnTo>
                  <a:lnTo>
                    <a:pt x="4" y="18"/>
                  </a:lnTo>
                  <a:lnTo>
                    <a:pt x="0" y="20"/>
                  </a:lnTo>
                  <a:lnTo>
                    <a:pt x="0" y="20"/>
                  </a:lnTo>
                  <a:lnTo>
                    <a:pt x="0" y="20"/>
                  </a:lnTo>
                  <a:lnTo>
                    <a:pt x="0" y="18"/>
                  </a:lnTo>
                  <a:lnTo>
                    <a:pt x="1" y="14"/>
                  </a:lnTo>
                  <a:lnTo>
                    <a:pt x="4" y="10"/>
                  </a:lnTo>
                  <a:lnTo>
                    <a:pt x="8" y="7"/>
                  </a:lnTo>
                  <a:lnTo>
                    <a:pt x="8" y="7"/>
                  </a:lnTo>
                  <a:lnTo>
                    <a:pt x="19" y="3"/>
                  </a:lnTo>
                  <a:lnTo>
                    <a:pt x="22" y="0"/>
                  </a:lnTo>
                  <a:lnTo>
                    <a:pt x="23" y="0"/>
                  </a:lnTo>
                  <a:lnTo>
                    <a:pt x="23"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87" name="Freeform 250"/>
            <p:cNvSpPr>
              <a:spLocks/>
            </p:cNvSpPr>
            <p:nvPr/>
          </p:nvSpPr>
          <p:spPr bwMode="auto">
            <a:xfrm>
              <a:off x="2020888" y="4286679"/>
              <a:ext cx="31750" cy="61913"/>
            </a:xfrm>
            <a:custGeom>
              <a:avLst/>
              <a:gdLst>
                <a:gd name="T0" fmla="*/ 10 w 20"/>
                <a:gd name="T1" fmla="*/ 39 h 39"/>
                <a:gd name="T2" fmla="*/ 10 w 20"/>
                <a:gd name="T3" fmla="*/ 39 h 39"/>
                <a:gd name="T4" fmla="*/ 12 w 20"/>
                <a:gd name="T5" fmla="*/ 38 h 39"/>
                <a:gd name="T6" fmla="*/ 12 w 20"/>
                <a:gd name="T7" fmla="*/ 38 h 39"/>
                <a:gd name="T8" fmla="*/ 15 w 20"/>
                <a:gd name="T9" fmla="*/ 35 h 39"/>
                <a:gd name="T10" fmla="*/ 17 w 20"/>
                <a:gd name="T11" fmla="*/ 32 h 39"/>
                <a:gd name="T12" fmla="*/ 17 w 20"/>
                <a:gd name="T13" fmla="*/ 29 h 39"/>
                <a:gd name="T14" fmla="*/ 19 w 20"/>
                <a:gd name="T15" fmla="*/ 25 h 39"/>
                <a:gd name="T16" fmla="*/ 19 w 20"/>
                <a:gd name="T17" fmla="*/ 25 h 39"/>
                <a:gd name="T18" fmla="*/ 20 w 20"/>
                <a:gd name="T19" fmla="*/ 12 h 39"/>
                <a:gd name="T20" fmla="*/ 19 w 20"/>
                <a:gd name="T21" fmla="*/ 1 h 39"/>
                <a:gd name="T22" fmla="*/ 19 w 20"/>
                <a:gd name="T23" fmla="*/ 1 h 39"/>
                <a:gd name="T24" fmla="*/ 19 w 20"/>
                <a:gd name="T25" fmla="*/ 0 h 39"/>
                <a:gd name="T26" fmla="*/ 19 w 20"/>
                <a:gd name="T27" fmla="*/ 0 h 39"/>
                <a:gd name="T28" fmla="*/ 15 w 20"/>
                <a:gd name="T29" fmla="*/ 1 h 39"/>
                <a:gd name="T30" fmla="*/ 10 w 20"/>
                <a:gd name="T31" fmla="*/ 4 h 39"/>
                <a:gd name="T32" fmla="*/ 7 w 20"/>
                <a:gd name="T33" fmla="*/ 7 h 39"/>
                <a:gd name="T34" fmla="*/ 0 w 20"/>
                <a:gd name="T35" fmla="*/ 7 h 39"/>
                <a:gd name="T36" fmla="*/ 0 w 20"/>
                <a:gd name="T37" fmla="*/ 39 h 39"/>
                <a:gd name="T38" fmla="*/ 10 w 20"/>
                <a:gd name="T39"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39">
                  <a:moveTo>
                    <a:pt x="10" y="39"/>
                  </a:moveTo>
                  <a:lnTo>
                    <a:pt x="10" y="39"/>
                  </a:lnTo>
                  <a:lnTo>
                    <a:pt x="12" y="38"/>
                  </a:lnTo>
                  <a:lnTo>
                    <a:pt x="12" y="38"/>
                  </a:lnTo>
                  <a:lnTo>
                    <a:pt x="15" y="35"/>
                  </a:lnTo>
                  <a:lnTo>
                    <a:pt x="17" y="32"/>
                  </a:lnTo>
                  <a:lnTo>
                    <a:pt x="17" y="29"/>
                  </a:lnTo>
                  <a:lnTo>
                    <a:pt x="19" y="25"/>
                  </a:lnTo>
                  <a:lnTo>
                    <a:pt x="19" y="25"/>
                  </a:lnTo>
                  <a:lnTo>
                    <a:pt x="20" y="12"/>
                  </a:lnTo>
                  <a:lnTo>
                    <a:pt x="19" y="1"/>
                  </a:lnTo>
                  <a:lnTo>
                    <a:pt x="19" y="1"/>
                  </a:lnTo>
                  <a:lnTo>
                    <a:pt x="19" y="0"/>
                  </a:lnTo>
                  <a:lnTo>
                    <a:pt x="19" y="0"/>
                  </a:lnTo>
                  <a:lnTo>
                    <a:pt x="15" y="1"/>
                  </a:lnTo>
                  <a:lnTo>
                    <a:pt x="10" y="4"/>
                  </a:lnTo>
                  <a:lnTo>
                    <a:pt x="7" y="7"/>
                  </a:lnTo>
                  <a:lnTo>
                    <a:pt x="0" y="7"/>
                  </a:lnTo>
                  <a:lnTo>
                    <a:pt x="0" y="39"/>
                  </a:lnTo>
                  <a:lnTo>
                    <a:pt x="10" y="39"/>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88" name="Freeform 251"/>
            <p:cNvSpPr>
              <a:spLocks/>
            </p:cNvSpPr>
            <p:nvPr/>
          </p:nvSpPr>
          <p:spPr bwMode="auto">
            <a:xfrm>
              <a:off x="1944688" y="4297791"/>
              <a:ext cx="101600" cy="106363"/>
            </a:xfrm>
            <a:custGeom>
              <a:avLst/>
              <a:gdLst>
                <a:gd name="T0" fmla="*/ 64 w 64"/>
                <a:gd name="T1" fmla="*/ 38 h 67"/>
                <a:gd name="T2" fmla="*/ 64 w 64"/>
                <a:gd name="T3" fmla="*/ 38 h 67"/>
                <a:gd name="T4" fmla="*/ 61 w 64"/>
                <a:gd name="T5" fmla="*/ 38 h 67"/>
                <a:gd name="T6" fmla="*/ 61 w 64"/>
                <a:gd name="T7" fmla="*/ 38 h 67"/>
                <a:gd name="T8" fmla="*/ 58 w 64"/>
                <a:gd name="T9" fmla="*/ 35 h 67"/>
                <a:gd name="T10" fmla="*/ 57 w 64"/>
                <a:gd name="T11" fmla="*/ 34 h 67"/>
                <a:gd name="T12" fmla="*/ 58 w 64"/>
                <a:gd name="T13" fmla="*/ 32 h 67"/>
                <a:gd name="T14" fmla="*/ 48 w 64"/>
                <a:gd name="T15" fmla="*/ 32 h 67"/>
                <a:gd name="T16" fmla="*/ 48 w 64"/>
                <a:gd name="T17" fmla="*/ 0 h 67"/>
                <a:gd name="T18" fmla="*/ 16 w 64"/>
                <a:gd name="T19" fmla="*/ 0 h 67"/>
                <a:gd name="T20" fmla="*/ 16 w 64"/>
                <a:gd name="T21" fmla="*/ 0 h 67"/>
                <a:gd name="T22" fmla="*/ 16 w 64"/>
                <a:gd name="T23" fmla="*/ 2 h 67"/>
                <a:gd name="T24" fmla="*/ 16 w 64"/>
                <a:gd name="T25" fmla="*/ 9 h 67"/>
                <a:gd name="T26" fmla="*/ 16 w 64"/>
                <a:gd name="T27" fmla="*/ 9 h 67"/>
                <a:gd name="T28" fmla="*/ 19 w 64"/>
                <a:gd name="T29" fmla="*/ 15 h 67"/>
                <a:gd name="T30" fmla="*/ 23 w 64"/>
                <a:gd name="T31" fmla="*/ 21 h 67"/>
                <a:gd name="T32" fmla="*/ 28 w 64"/>
                <a:gd name="T33" fmla="*/ 28 h 67"/>
                <a:gd name="T34" fmla="*/ 29 w 64"/>
                <a:gd name="T35" fmla="*/ 29 h 67"/>
                <a:gd name="T36" fmla="*/ 29 w 64"/>
                <a:gd name="T37" fmla="*/ 32 h 67"/>
                <a:gd name="T38" fmla="*/ 29 w 64"/>
                <a:gd name="T39" fmla="*/ 32 h 67"/>
                <a:gd name="T40" fmla="*/ 23 w 64"/>
                <a:gd name="T41" fmla="*/ 35 h 67"/>
                <a:gd name="T42" fmla="*/ 16 w 64"/>
                <a:gd name="T43" fmla="*/ 36 h 67"/>
                <a:gd name="T44" fmla="*/ 9 w 64"/>
                <a:gd name="T45" fmla="*/ 38 h 67"/>
                <a:gd name="T46" fmla="*/ 5 w 64"/>
                <a:gd name="T47" fmla="*/ 39 h 67"/>
                <a:gd name="T48" fmla="*/ 5 w 64"/>
                <a:gd name="T49" fmla="*/ 39 h 67"/>
                <a:gd name="T50" fmla="*/ 2 w 64"/>
                <a:gd name="T51" fmla="*/ 45 h 67"/>
                <a:gd name="T52" fmla="*/ 0 w 64"/>
                <a:gd name="T53" fmla="*/ 55 h 67"/>
                <a:gd name="T54" fmla="*/ 0 w 64"/>
                <a:gd name="T55" fmla="*/ 55 h 67"/>
                <a:gd name="T56" fmla="*/ 6 w 64"/>
                <a:gd name="T57" fmla="*/ 61 h 67"/>
                <a:gd name="T58" fmla="*/ 10 w 64"/>
                <a:gd name="T59" fmla="*/ 63 h 67"/>
                <a:gd name="T60" fmla="*/ 16 w 64"/>
                <a:gd name="T61" fmla="*/ 64 h 67"/>
                <a:gd name="T62" fmla="*/ 16 w 64"/>
                <a:gd name="T63" fmla="*/ 64 h 67"/>
                <a:gd name="T64" fmla="*/ 36 w 64"/>
                <a:gd name="T65" fmla="*/ 67 h 67"/>
                <a:gd name="T66" fmla="*/ 36 w 64"/>
                <a:gd name="T67" fmla="*/ 67 h 67"/>
                <a:gd name="T68" fmla="*/ 50 w 64"/>
                <a:gd name="T69" fmla="*/ 54 h 67"/>
                <a:gd name="T70" fmla="*/ 64 w 64"/>
                <a:gd name="T71"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67">
                  <a:moveTo>
                    <a:pt x="64" y="38"/>
                  </a:moveTo>
                  <a:lnTo>
                    <a:pt x="64" y="38"/>
                  </a:lnTo>
                  <a:lnTo>
                    <a:pt x="61" y="38"/>
                  </a:lnTo>
                  <a:lnTo>
                    <a:pt x="61" y="38"/>
                  </a:lnTo>
                  <a:lnTo>
                    <a:pt x="58" y="35"/>
                  </a:lnTo>
                  <a:lnTo>
                    <a:pt x="57" y="34"/>
                  </a:lnTo>
                  <a:lnTo>
                    <a:pt x="58" y="32"/>
                  </a:lnTo>
                  <a:lnTo>
                    <a:pt x="48" y="32"/>
                  </a:lnTo>
                  <a:lnTo>
                    <a:pt x="48" y="0"/>
                  </a:lnTo>
                  <a:lnTo>
                    <a:pt x="16" y="0"/>
                  </a:lnTo>
                  <a:lnTo>
                    <a:pt x="16" y="0"/>
                  </a:lnTo>
                  <a:lnTo>
                    <a:pt x="16" y="2"/>
                  </a:lnTo>
                  <a:lnTo>
                    <a:pt x="16" y="9"/>
                  </a:lnTo>
                  <a:lnTo>
                    <a:pt x="16" y="9"/>
                  </a:lnTo>
                  <a:lnTo>
                    <a:pt x="19" y="15"/>
                  </a:lnTo>
                  <a:lnTo>
                    <a:pt x="23" y="21"/>
                  </a:lnTo>
                  <a:lnTo>
                    <a:pt x="28" y="28"/>
                  </a:lnTo>
                  <a:lnTo>
                    <a:pt x="29" y="29"/>
                  </a:lnTo>
                  <a:lnTo>
                    <a:pt x="29" y="32"/>
                  </a:lnTo>
                  <a:lnTo>
                    <a:pt x="29" y="32"/>
                  </a:lnTo>
                  <a:lnTo>
                    <a:pt x="23" y="35"/>
                  </a:lnTo>
                  <a:lnTo>
                    <a:pt x="16" y="36"/>
                  </a:lnTo>
                  <a:lnTo>
                    <a:pt x="9" y="38"/>
                  </a:lnTo>
                  <a:lnTo>
                    <a:pt x="5" y="39"/>
                  </a:lnTo>
                  <a:lnTo>
                    <a:pt x="5" y="39"/>
                  </a:lnTo>
                  <a:lnTo>
                    <a:pt x="2" y="45"/>
                  </a:lnTo>
                  <a:lnTo>
                    <a:pt x="0" y="55"/>
                  </a:lnTo>
                  <a:lnTo>
                    <a:pt x="0" y="55"/>
                  </a:lnTo>
                  <a:lnTo>
                    <a:pt x="6" y="61"/>
                  </a:lnTo>
                  <a:lnTo>
                    <a:pt x="10" y="63"/>
                  </a:lnTo>
                  <a:lnTo>
                    <a:pt x="16" y="64"/>
                  </a:lnTo>
                  <a:lnTo>
                    <a:pt x="16" y="64"/>
                  </a:lnTo>
                  <a:lnTo>
                    <a:pt x="36" y="67"/>
                  </a:lnTo>
                  <a:lnTo>
                    <a:pt x="36" y="67"/>
                  </a:lnTo>
                  <a:lnTo>
                    <a:pt x="50" y="54"/>
                  </a:lnTo>
                  <a:lnTo>
                    <a:pt x="64" y="38"/>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89" name="Freeform 252"/>
            <p:cNvSpPr>
              <a:spLocks/>
            </p:cNvSpPr>
            <p:nvPr/>
          </p:nvSpPr>
          <p:spPr bwMode="auto">
            <a:xfrm>
              <a:off x="1944688" y="4297791"/>
              <a:ext cx="101600" cy="106363"/>
            </a:xfrm>
            <a:custGeom>
              <a:avLst/>
              <a:gdLst>
                <a:gd name="T0" fmla="*/ 64 w 64"/>
                <a:gd name="T1" fmla="*/ 38 h 67"/>
                <a:gd name="T2" fmla="*/ 64 w 64"/>
                <a:gd name="T3" fmla="*/ 38 h 67"/>
                <a:gd name="T4" fmla="*/ 61 w 64"/>
                <a:gd name="T5" fmla="*/ 38 h 67"/>
                <a:gd name="T6" fmla="*/ 61 w 64"/>
                <a:gd name="T7" fmla="*/ 38 h 67"/>
                <a:gd name="T8" fmla="*/ 58 w 64"/>
                <a:gd name="T9" fmla="*/ 35 h 67"/>
                <a:gd name="T10" fmla="*/ 57 w 64"/>
                <a:gd name="T11" fmla="*/ 34 h 67"/>
                <a:gd name="T12" fmla="*/ 58 w 64"/>
                <a:gd name="T13" fmla="*/ 32 h 67"/>
                <a:gd name="T14" fmla="*/ 48 w 64"/>
                <a:gd name="T15" fmla="*/ 32 h 67"/>
                <a:gd name="T16" fmla="*/ 48 w 64"/>
                <a:gd name="T17" fmla="*/ 0 h 67"/>
                <a:gd name="T18" fmla="*/ 16 w 64"/>
                <a:gd name="T19" fmla="*/ 0 h 67"/>
                <a:gd name="T20" fmla="*/ 16 w 64"/>
                <a:gd name="T21" fmla="*/ 0 h 67"/>
                <a:gd name="T22" fmla="*/ 16 w 64"/>
                <a:gd name="T23" fmla="*/ 2 h 67"/>
                <a:gd name="T24" fmla="*/ 16 w 64"/>
                <a:gd name="T25" fmla="*/ 9 h 67"/>
                <a:gd name="T26" fmla="*/ 16 w 64"/>
                <a:gd name="T27" fmla="*/ 9 h 67"/>
                <a:gd name="T28" fmla="*/ 19 w 64"/>
                <a:gd name="T29" fmla="*/ 15 h 67"/>
                <a:gd name="T30" fmla="*/ 23 w 64"/>
                <a:gd name="T31" fmla="*/ 21 h 67"/>
                <a:gd name="T32" fmla="*/ 28 w 64"/>
                <a:gd name="T33" fmla="*/ 28 h 67"/>
                <a:gd name="T34" fmla="*/ 29 w 64"/>
                <a:gd name="T35" fmla="*/ 29 h 67"/>
                <a:gd name="T36" fmla="*/ 29 w 64"/>
                <a:gd name="T37" fmla="*/ 32 h 67"/>
                <a:gd name="T38" fmla="*/ 29 w 64"/>
                <a:gd name="T39" fmla="*/ 32 h 67"/>
                <a:gd name="T40" fmla="*/ 23 w 64"/>
                <a:gd name="T41" fmla="*/ 35 h 67"/>
                <a:gd name="T42" fmla="*/ 16 w 64"/>
                <a:gd name="T43" fmla="*/ 36 h 67"/>
                <a:gd name="T44" fmla="*/ 9 w 64"/>
                <a:gd name="T45" fmla="*/ 38 h 67"/>
                <a:gd name="T46" fmla="*/ 5 w 64"/>
                <a:gd name="T47" fmla="*/ 39 h 67"/>
                <a:gd name="T48" fmla="*/ 5 w 64"/>
                <a:gd name="T49" fmla="*/ 39 h 67"/>
                <a:gd name="T50" fmla="*/ 2 w 64"/>
                <a:gd name="T51" fmla="*/ 45 h 67"/>
                <a:gd name="T52" fmla="*/ 0 w 64"/>
                <a:gd name="T53" fmla="*/ 55 h 67"/>
                <a:gd name="T54" fmla="*/ 0 w 64"/>
                <a:gd name="T55" fmla="*/ 55 h 67"/>
                <a:gd name="T56" fmla="*/ 6 w 64"/>
                <a:gd name="T57" fmla="*/ 61 h 67"/>
                <a:gd name="T58" fmla="*/ 10 w 64"/>
                <a:gd name="T59" fmla="*/ 63 h 67"/>
                <a:gd name="T60" fmla="*/ 16 w 64"/>
                <a:gd name="T61" fmla="*/ 64 h 67"/>
                <a:gd name="T62" fmla="*/ 16 w 64"/>
                <a:gd name="T63" fmla="*/ 64 h 67"/>
                <a:gd name="T64" fmla="*/ 36 w 64"/>
                <a:gd name="T65" fmla="*/ 67 h 67"/>
                <a:gd name="T66" fmla="*/ 36 w 64"/>
                <a:gd name="T67" fmla="*/ 67 h 67"/>
                <a:gd name="T68" fmla="*/ 50 w 64"/>
                <a:gd name="T69" fmla="*/ 54 h 67"/>
                <a:gd name="T70" fmla="*/ 64 w 64"/>
                <a:gd name="T71"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67">
                  <a:moveTo>
                    <a:pt x="64" y="38"/>
                  </a:moveTo>
                  <a:lnTo>
                    <a:pt x="64" y="38"/>
                  </a:lnTo>
                  <a:lnTo>
                    <a:pt x="61" y="38"/>
                  </a:lnTo>
                  <a:lnTo>
                    <a:pt x="61" y="38"/>
                  </a:lnTo>
                  <a:lnTo>
                    <a:pt x="58" y="35"/>
                  </a:lnTo>
                  <a:lnTo>
                    <a:pt x="57" y="34"/>
                  </a:lnTo>
                  <a:lnTo>
                    <a:pt x="58" y="32"/>
                  </a:lnTo>
                  <a:lnTo>
                    <a:pt x="48" y="32"/>
                  </a:lnTo>
                  <a:lnTo>
                    <a:pt x="48" y="0"/>
                  </a:lnTo>
                  <a:lnTo>
                    <a:pt x="16" y="0"/>
                  </a:lnTo>
                  <a:lnTo>
                    <a:pt x="16" y="0"/>
                  </a:lnTo>
                  <a:lnTo>
                    <a:pt x="16" y="2"/>
                  </a:lnTo>
                  <a:lnTo>
                    <a:pt x="16" y="9"/>
                  </a:lnTo>
                  <a:lnTo>
                    <a:pt x="16" y="9"/>
                  </a:lnTo>
                  <a:lnTo>
                    <a:pt x="19" y="15"/>
                  </a:lnTo>
                  <a:lnTo>
                    <a:pt x="23" y="21"/>
                  </a:lnTo>
                  <a:lnTo>
                    <a:pt x="28" y="28"/>
                  </a:lnTo>
                  <a:lnTo>
                    <a:pt x="29" y="29"/>
                  </a:lnTo>
                  <a:lnTo>
                    <a:pt x="29" y="32"/>
                  </a:lnTo>
                  <a:lnTo>
                    <a:pt x="29" y="32"/>
                  </a:lnTo>
                  <a:lnTo>
                    <a:pt x="23" y="35"/>
                  </a:lnTo>
                  <a:lnTo>
                    <a:pt x="16" y="36"/>
                  </a:lnTo>
                  <a:lnTo>
                    <a:pt x="9" y="38"/>
                  </a:lnTo>
                  <a:lnTo>
                    <a:pt x="5" y="39"/>
                  </a:lnTo>
                  <a:lnTo>
                    <a:pt x="5" y="39"/>
                  </a:lnTo>
                  <a:lnTo>
                    <a:pt x="2" y="45"/>
                  </a:lnTo>
                  <a:lnTo>
                    <a:pt x="0" y="55"/>
                  </a:lnTo>
                  <a:lnTo>
                    <a:pt x="0" y="55"/>
                  </a:lnTo>
                  <a:lnTo>
                    <a:pt x="6" y="61"/>
                  </a:lnTo>
                  <a:lnTo>
                    <a:pt x="10" y="63"/>
                  </a:lnTo>
                  <a:lnTo>
                    <a:pt x="16" y="64"/>
                  </a:lnTo>
                  <a:lnTo>
                    <a:pt x="16" y="64"/>
                  </a:lnTo>
                  <a:lnTo>
                    <a:pt x="36" y="67"/>
                  </a:lnTo>
                  <a:lnTo>
                    <a:pt x="36" y="67"/>
                  </a:lnTo>
                  <a:lnTo>
                    <a:pt x="50" y="54"/>
                  </a:lnTo>
                  <a:lnTo>
                    <a:pt x="64" y="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90" name="Freeform 253"/>
            <p:cNvSpPr>
              <a:spLocks/>
            </p:cNvSpPr>
            <p:nvPr/>
          </p:nvSpPr>
          <p:spPr bwMode="auto">
            <a:xfrm>
              <a:off x="2819401" y="5551916"/>
              <a:ext cx="141288" cy="141288"/>
            </a:xfrm>
            <a:custGeom>
              <a:avLst/>
              <a:gdLst>
                <a:gd name="T0" fmla="*/ 58 w 89"/>
                <a:gd name="T1" fmla="*/ 21 h 89"/>
                <a:gd name="T2" fmla="*/ 58 w 89"/>
                <a:gd name="T3" fmla="*/ 21 h 89"/>
                <a:gd name="T4" fmla="*/ 42 w 89"/>
                <a:gd name="T5" fmla="*/ 13 h 89"/>
                <a:gd name="T6" fmla="*/ 29 w 89"/>
                <a:gd name="T7" fmla="*/ 4 h 89"/>
                <a:gd name="T8" fmla="*/ 29 w 89"/>
                <a:gd name="T9" fmla="*/ 4 h 89"/>
                <a:gd name="T10" fmla="*/ 23 w 89"/>
                <a:gd name="T11" fmla="*/ 1 h 89"/>
                <a:gd name="T12" fmla="*/ 16 w 89"/>
                <a:gd name="T13" fmla="*/ 0 h 89"/>
                <a:gd name="T14" fmla="*/ 16 w 89"/>
                <a:gd name="T15" fmla="*/ 0 h 89"/>
                <a:gd name="T16" fmla="*/ 10 w 89"/>
                <a:gd name="T17" fmla="*/ 4 h 89"/>
                <a:gd name="T18" fmla="*/ 8 w 89"/>
                <a:gd name="T19" fmla="*/ 5 h 89"/>
                <a:gd name="T20" fmla="*/ 8 w 89"/>
                <a:gd name="T21" fmla="*/ 8 h 89"/>
                <a:gd name="T22" fmla="*/ 8 w 89"/>
                <a:gd name="T23" fmla="*/ 8 h 89"/>
                <a:gd name="T24" fmla="*/ 7 w 89"/>
                <a:gd name="T25" fmla="*/ 27 h 89"/>
                <a:gd name="T26" fmla="*/ 5 w 89"/>
                <a:gd name="T27" fmla="*/ 40 h 89"/>
                <a:gd name="T28" fmla="*/ 4 w 89"/>
                <a:gd name="T29" fmla="*/ 50 h 89"/>
                <a:gd name="T30" fmla="*/ 4 w 89"/>
                <a:gd name="T31" fmla="*/ 50 h 89"/>
                <a:gd name="T32" fmla="*/ 1 w 89"/>
                <a:gd name="T33" fmla="*/ 62 h 89"/>
                <a:gd name="T34" fmla="*/ 0 w 89"/>
                <a:gd name="T35" fmla="*/ 75 h 89"/>
                <a:gd name="T36" fmla="*/ 0 w 89"/>
                <a:gd name="T37" fmla="*/ 75 h 89"/>
                <a:gd name="T38" fmla="*/ 10 w 89"/>
                <a:gd name="T39" fmla="*/ 79 h 89"/>
                <a:gd name="T40" fmla="*/ 10 w 89"/>
                <a:gd name="T41" fmla="*/ 79 h 89"/>
                <a:gd name="T42" fmla="*/ 13 w 89"/>
                <a:gd name="T43" fmla="*/ 81 h 89"/>
                <a:gd name="T44" fmla="*/ 16 w 89"/>
                <a:gd name="T45" fmla="*/ 81 h 89"/>
                <a:gd name="T46" fmla="*/ 20 w 89"/>
                <a:gd name="T47" fmla="*/ 81 h 89"/>
                <a:gd name="T48" fmla="*/ 23 w 89"/>
                <a:gd name="T49" fmla="*/ 82 h 89"/>
                <a:gd name="T50" fmla="*/ 23 w 89"/>
                <a:gd name="T51" fmla="*/ 82 h 89"/>
                <a:gd name="T52" fmla="*/ 27 w 89"/>
                <a:gd name="T53" fmla="*/ 87 h 89"/>
                <a:gd name="T54" fmla="*/ 32 w 89"/>
                <a:gd name="T55" fmla="*/ 88 h 89"/>
                <a:gd name="T56" fmla="*/ 37 w 89"/>
                <a:gd name="T57" fmla="*/ 89 h 89"/>
                <a:gd name="T58" fmla="*/ 37 w 89"/>
                <a:gd name="T59" fmla="*/ 89 h 89"/>
                <a:gd name="T60" fmla="*/ 53 w 89"/>
                <a:gd name="T61" fmla="*/ 88 h 89"/>
                <a:gd name="T62" fmla="*/ 62 w 89"/>
                <a:gd name="T63" fmla="*/ 87 h 89"/>
                <a:gd name="T64" fmla="*/ 68 w 89"/>
                <a:gd name="T65" fmla="*/ 84 h 89"/>
                <a:gd name="T66" fmla="*/ 68 w 89"/>
                <a:gd name="T67" fmla="*/ 84 h 89"/>
                <a:gd name="T68" fmla="*/ 75 w 89"/>
                <a:gd name="T69" fmla="*/ 76 h 89"/>
                <a:gd name="T70" fmla="*/ 82 w 89"/>
                <a:gd name="T71" fmla="*/ 68 h 89"/>
                <a:gd name="T72" fmla="*/ 82 w 89"/>
                <a:gd name="T73" fmla="*/ 68 h 89"/>
                <a:gd name="T74" fmla="*/ 87 w 89"/>
                <a:gd name="T75" fmla="*/ 59 h 89"/>
                <a:gd name="T76" fmla="*/ 89 w 89"/>
                <a:gd name="T77" fmla="*/ 52 h 89"/>
                <a:gd name="T78" fmla="*/ 89 w 89"/>
                <a:gd name="T79" fmla="*/ 52 h 89"/>
                <a:gd name="T80" fmla="*/ 82 w 89"/>
                <a:gd name="T81" fmla="*/ 46 h 89"/>
                <a:gd name="T82" fmla="*/ 75 w 89"/>
                <a:gd name="T83" fmla="*/ 39 h 89"/>
                <a:gd name="T84" fmla="*/ 75 w 89"/>
                <a:gd name="T85" fmla="*/ 39 h 89"/>
                <a:gd name="T86" fmla="*/ 69 w 89"/>
                <a:gd name="T87" fmla="*/ 33 h 89"/>
                <a:gd name="T88" fmla="*/ 68 w 89"/>
                <a:gd name="T89" fmla="*/ 29 h 89"/>
                <a:gd name="T90" fmla="*/ 63 w 89"/>
                <a:gd name="T91" fmla="*/ 26 h 89"/>
                <a:gd name="T92" fmla="*/ 58 w 89"/>
                <a:gd name="T93" fmla="*/ 2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9" h="89">
                  <a:moveTo>
                    <a:pt x="58" y="21"/>
                  </a:moveTo>
                  <a:lnTo>
                    <a:pt x="58" y="21"/>
                  </a:lnTo>
                  <a:lnTo>
                    <a:pt x="42" y="13"/>
                  </a:lnTo>
                  <a:lnTo>
                    <a:pt x="29" y="4"/>
                  </a:lnTo>
                  <a:lnTo>
                    <a:pt x="29" y="4"/>
                  </a:lnTo>
                  <a:lnTo>
                    <a:pt x="23" y="1"/>
                  </a:lnTo>
                  <a:lnTo>
                    <a:pt x="16" y="0"/>
                  </a:lnTo>
                  <a:lnTo>
                    <a:pt x="16" y="0"/>
                  </a:lnTo>
                  <a:lnTo>
                    <a:pt x="10" y="4"/>
                  </a:lnTo>
                  <a:lnTo>
                    <a:pt x="8" y="5"/>
                  </a:lnTo>
                  <a:lnTo>
                    <a:pt x="8" y="8"/>
                  </a:lnTo>
                  <a:lnTo>
                    <a:pt x="8" y="8"/>
                  </a:lnTo>
                  <a:lnTo>
                    <a:pt x="7" y="27"/>
                  </a:lnTo>
                  <a:lnTo>
                    <a:pt x="5" y="40"/>
                  </a:lnTo>
                  <a:lnTo>
                    <a:pt x="4" y="50"/>
                  </a:lnTo>
                  <a:lnTo>
                    <a:pt x="4" y="50"/>
                  </a:lnTo>
                  <a:lnTo>
                    <a:pt x="1" y="62"/>
                  </a:lnTo>
                  <a:lnTo>
                    <a:pt x="0" y="75"/>
                  </a:lnTo>
                  <a:lnTo>
                    <a:pt x="0" y="75"/>
                  </a:lnTo>
                  <a:lnTo>
                    <a:pt x="10" y="79"/>
                  </a:lnTo>
                  <a:lnTo>
                    <a:pt x="10" y="79"/>
                  </a:lnTo>
                  <a:lnTo>
                    <a:pt x="13" y="81"/>
                  </a:lnTo>
                  <a:lnTo>
                    <a:pt x="16" y="81"/>
                  </a:lnTo>
                  <a:lnTo>
                    <a:pt x="20" y="81"/>
                  </a:lnTo>
                  <a:lnTo>
                    <a:pt x="23" y="82"/>
                  </a:lnTo>
                  <a:lnTo>
                    <a:pt x="23" y="82"/>
                  </a:lnTo>
                  <a:lnTo>
                    <a:pt x="27" y="87"/>
                  </a:lnTo>
                  <a:lnTo>
                    <a:pt x="32" y="88"/>
                  </a:lnTo>
                  <a:lnTo>
                    <a:pt x="37" y="89"/>
                  </a:lnTo>
                  <a:lnTo>
                    <a:pt x="37" y="89"/>
                  </a:lnTo>
                  <a:lnTo>
                    <a:pt x="53" y="88"/>
                  </a:lnTo>
                  <a:lnTo>
                    <a:pt x="62" y="87"/>
                  </a:lnTo>
                  <a:lnTo>
                    <a:pt x="68" y="84"/>
                  </a:lnTo>
                  <a:lnTo>
                    <a:pt x="68" y="84"/>
                  </a:lnTo>
                  <a:lnTo>
                    <a:pt x="75" y="76"/>
                  </a:lnTo>
                  <a:lnTo>
                    <a:pt x="82" y="68"/>
                  </a:lnTo>
                  <a:lnTo>
                    <a:pt x="82" y="68"/>
                  </a:lnTo>
                  <a:lnTo>
                    <a:pt x="87" y="59"/>
                  </a:lnTo>
                  <a:lnTo>
                    <a:pt x="89" y="52"/>
                  </a:lnTo>
                  <a:lnTo>
                    <a:pt x="89" y="52"/>
                  </a:lnTo>
                  <a:lnTo>
                    <a:pt x="82" y="46"/>
                  </a:lnTo>
                  <a:lnTo>
                    <a:pt x="75" y="39"/>
                  </a:lnTo>
                  <a:lnTo>
                    <a:pt x="75" y="39"/>
                  </a:lnTo>
                  <a:lnTo>
                    <a:pt x="69" y="33"/>
                  </a:lnTo>
                  <a:lnTo>
                    <a:pt x="68" y="29"/>
                  </a:lnTo>
                  <a:lnTo>
                    <a:pt x="63" y="26"/>
                  </a:lnTo>
                  <a:lnTo>
                    <a:pt x="58" y="21"/>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91" name="Freeform 254"/>
            <p:cNvSpPr>
              <a:spLocks/>
            </p:cNvSpPr>
            <p:nvPr/>
          </p:nvSpPr>
          <p:spPr bwMode="auto">
            <a:xfrm>
              <a:off x="2819401" y="5551916"/>
              <a:ext cx="141288" cy="141288"/>
            </a:xfrm>
            <a:custGeom>
              <a:avLst/>
              <a:gdLst>
                <a:gd name="T0" fmla="*/ 58 w 89"/>
                <a:gd name="T1" fmla="*/ 21 h 89"/>
                <a:gd name="T2" fmla="*/ 58 w 89"/>
                <a:gd name="T3" fmla="*/ 21 h 89"/>
                <a:gd name="T4" fmla="*/ 42 w 89"/>
                <a:gd name="T5" fmla="*/ 13 h 89"/>
                <a:gd name="T6" fmla="*/ 29 w 89"/>
                <a:gd name="T7" fmla="*/ 4 h 89"/>
                <a:gd name="T8" fmla="*/ 29 w 89"/>
                <a:gd name="T9" fmla="*/ 4 h 89"/>
                <a:gd name="T10" fmla="*/ 23 w 89"/>
                <a:gd name="T11" fmla="*/ 1 h 89"/>
                <a:gd name="T12" fmla="*/ 16 w 89"/>
                <a:gd name="T13" fmla="*/ 0 h 89"/>
                <a:gd name="T14" fmla="*/ 16 w 89"/>
                <a:gd name="T15" fmla="*/ 0 h 89"/>
                <a:gd name="T16" fmla="*/ 10 w 89"/>
                <a:gd name="T17" fmla="*/ 4 h 89"/>
                <a:gd name="T18" fmla="*/ 8 w 89"/>
                <a:gd name="T19" fmla="*/ 5 h 89"/>
                <a:gd name="T20" fmla="*/ 8 w 89"/>
                <a:gd name="T21" fmla="*/ 8 h 89"/>
                <a:gd name="T22" fmla="*/ 8 w 89"/>
                <a:gd name="T23" fmla="*/ 8 h 89"/>
                <a:gd name="T24" fmla="*/ 7 w 89"/>
                <a:gd name="T25" fmla="*/ 27 h 89"/>
                <a:gd name="T26" fmla="*/ 5 w 89"/>
                <a:gd name="T27" fmla="*/ 40 h 89"/>
                <a:gd name="T28" fmla="*/ 4 w 89"/>
                <a:gd name="T29" fmla="*/ 50 h 89"/>
                <a:gd name="T30" fmla="*/ 4 w 89"/>
                <a:gd name="T31" fmla="*/ 50 h 89"/>
                <a:gd name="T32" fmla="*/ 1 w 89"/>
                <a:gd name="T33" fmla="*/ 62 h 89"/>
                <a:gd name="T34" fmla="*/ 0 w 89"/>
                <a:gd name="T35" fmla="*/ 75 h 89"/>
                <a:gd name="T36" fmla="*/ 0 w 89"/>
                <a:gd name="T37" fmla="*/ 75 h 89"/>
                <a:gd name="T38" fmla="*/ 10 w 89"/>
                <a:gd name="T39" fmla="*/ 79 h 89"/>
                <a:gd name="T40" fmla="*/ 10 w 89"/>
                <a:gd name="T41" fmla="*/ 79 h 89"/>
                <a:gd name="T42" fmla="*/ 13 w 89"/>
                <a:gd name="T43" fmla="*/ 81 h 89"/>
                <a:gd name="T44" fmla="*/ 16 w 89"/>
                <a:gd name="T45" fmla="*/ 81 h 89"/>
                <a:gd name="T46" fmla="*/ 20 w 89"/>
                <a:gd name="T47" fmla="*/ 81 h 89"/>
                <a:gd name="T48" fmla="*/ 23 w 89"/>
                <a:gd name="T49" fmla="*/ 82 h 89"/>
                <a:gd name="T50" fmla="*/ 23 w 89"/>
                <a:gd name="T51" fmla="*/ 82 h 89"/>
                <a:gd name="T52" fmla="*/ 27 w 89"/>
                <a:gd name="T53" fmla="*/ 87 h 89"/>
                <a:gd name="T54" fmla="*/ 32 w 89"/>
                <a:gd name="T55" fmla="*/ 88 h 89"/>
                <a:gd name="T56" fmla="*/ 37 w 89"/>
                <a:gd name="T57" fmla="*/ 89 h 89"/>
                <a:gd name="T58" fmla="*/ 37 w 89"/>
                <a:gd name="T59" fmla="*/ 89 h 89"/>
                <a:gd name="T60" fmla="*/ 53 w 89"/>
                <a:gd name="T61" fmla="*/ 88 h 89"/>
                <a:gd name="T62" fmla="*/ 62 w 89"/>
                <a:gd name="T63" fmla="*/ 87 h 89"/>
                <a:gd name="T64" fmla="*/ 68 w 89"/>
                <a:gd name="T65" fmla="*/ 84 h 89"/>
                <a:gd name="T66" fmla="*/ 68 w 89"/>
                <a:gd name="T67" fmla="*/ 84 h 89"/>
                <a:gd name="T68" fmla="*/ 75 w 89"/>
                <a:gd name="T69" fmla="*/ 76 h 89"/>
                <a:gd name="T70" fmla="*/ 82 w 89"/>
                <a:gd name="T71" fmla="*/ 68 h 89"/>
                <a:gd name="T72" fmla="*/ 82 w 89"/>
                <a:gd name="T73" fmla="*/ 68 h 89"/>
                <a:gd name="T74" fmla="*/ 87 w 89"/>
                <a:gd name="T75" fmla="*/ 59 h 89"/>
                <a:gd name="T76" fmla="*/ 89 w 89"/>
                <a:gd name="T77" fmla="*/ 52 h 89"/>
                <a:gd name="T78" fmla="*/ 89 w 89"/>
                <a:gd name="T79" fmla="*/ 52 h 89"/>
                <a:gd name="T80" fmla="*/ 82 w 89"/>
                <a:gd name="T81" fmla="*/ 46 h 89"/>
                <a:gd name="T82" fmla="*/ 75 w 89"/>
                <a:gd name="T83" fmla="*/ 39 h 89"/>
                <a:gd name="T84" fmla="*/ 75 w 89"/>
                <a:gd name="T85" fmla="*/ 39 h 89"/>
                <a:gd name="T86" fmla="*/ 69 w 89"/>
                <a:gd name="T87" fmla="*/ 33 h 89"/>
                <a:gd name="T88" fmla="*/ 68 w 89"/>
                <a:gd name="T89" fmla="*/ 29 h 89"/>
                <a:gd name="T90" fmla="*/ 63 w 89"/>
                <a:gd name="T91" fmla="*/ 26 h 89"/>
                <a:gd name="T92" fmla="*/ 58 w 89"/>
                <a:gd name="T93" fmla="*/ 2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9" h="89">
                  <a:moveTo>
                    <a:pt x="58" y="21"/>
                  </a:moveTo>
                  <a:lnTo>
                    <a:pt x="58" y="21"/>
                  </a:lnTo>
                  <a:lnTo>
                    <a:pt x="42" y="13"/>
                  </a:lnTo>
                  <a:lnTo>
                    <a:pt x="29" y="4"/>
                  </a:lnTo>
                  <a:lnTo>
                    <a:pt x="29" y="4"/>
                  </a:lnTo>
                  <a:lnTo>
                    <a:pt x="23" y="1"/>
                  </a:lnTo>
                  <a:lnTo>
                    <a:pt x="16" y="0"/>
                  </a:lnTo>
                  <a:lnTo>
                    <a:pt x="16" y="0"/>
                  </a:lnTo>
                  <a:lnTo>
                    <a:pt x="10" y="4"/>
                  </a:lnTo>
                  <a:lnTo>
                    <a:pt x="8" y="5"/>
                  </a:lnTo>
                  <a:lnTo>
                    <a:pt x="8" y="8"/>
                  </a:lnTo>
                  <a:lnTo>
                    <a:pt x="8" y="8"/>
                  </a:lnTo>
                  <a:lnTo>
                    <a:pt x="7" y="27"/>
                  </a:lnTo>
                  <a:lnTo>
                    <a:pt x="5" y="40"/>
                  </a:lnTo>
                  <a:lnTo>
                    <a:pt x="4" y="50"/>
                  </a:lnTo>
                  <a:lnTo>
                    <a:pt x="4" y="50"/>
                  </a:lnTo>
                  <a:lnTo>
                    <a:pt x="1" y="62"/>
                  </a:lnTo>
                  <a:lnTo>
                    <a:pt x="0" y="75"/>
                  </a:lnTo>
                  <a:lnTo>
                    <a:pt x="0" y="75"/>
                  </a:lnTo>
                  <a:lnTo>
                    <a:pt x="10" y="79"/>
                  </a:lnTo>
                  <a:lnTo>
                    <a:pt x="10" y="79"/>
                  </a:lnTo>
                  <a:lnTo>
                    <a:pt x="13" y="81"/>
                  </a:lnTo>
                  <a:lnTo>
                    <a:pt x="16" y="81"/>
                  </a:lnTo>
                  <a:lnTo>
                    <a:pt x="20" y="81"/>
                  </a:lnTo>
                  <a:lnTo>
                    <a:pt x="23" y="82"/>
                  </a:lnTo>
                  <a:lnTo>
                    <a:pt x="23" y="82"/>
                  </a:lnTo>
                  <a:lnTo>
                    <a:pt x="27" y="87"/>
                  </a:lnTo>
                  <a:lnTo>
                    <a:pt x="32" y="88"/>
                  </a:lnTo>
                  <a:lnTo>
                    <a:pt x="37" y="89"/>
                  </a:lnTo>
                  <a:lnTo>
                    <a:pt x="37" y="89"/>
                  </a:lnTo>
                  <a:lnTo>
                    <a:pt x="53" y="88"/>
                  </a:lnTo>
                  <a:lnTo>
                    <a:pt x="62" y="87"/>
                  </a:lnTo>
                  <a:lnTo>
                    <a:pt x="68" y="84"/>
                  </a:lnTo>
                  <a:lnTo>
                    <a:pt x="68" y="84"/>
                  </a:lnTo>
                  <a:lnTo>
                    <a:pt x="75" y="76"/>
                  </a:lnTo>
                  <a:lnTo>
                    <a:pt x="82" y="68"/>
                  </a:lnTo>
                  <a:lnTo>
                    <a:pt x="82" y="68"/>
                  </a:lnTo>
                  <a:lnTo>
                    <a:pt x="87" y="59"/>
                  </a:lnTo>
                  <a:lnTo>
                    <a:pt x="89" y="52"/>
                  </a:lnTo>
                  <a:lnTo>
                    <a:pt x="89" y="52"/>
                  </a:lnTo>
                  <a:lnTo>
                    <a:pt x="82" y="46"/>
                  </a:lnTo>
                  <a:lnTo>
                    <a:pt x="75" y="39"/>
                  </a:lnTo>
                  <a:lnTo>
                    <a:pt x="75" y="39"/>
                  </a:lnTo>
                  <a:lnTo>
                    <a:pt x="69" y="33"/>
                  </a:lnTo>
                  <a:lnTo>
                    <a:pt x="68" y="29"/>
                  </a:lnTo>
                  <a:lnTo>
                    <a:pt x="63" y="26"/>
                  </a:lnTo>
                  <a:lnTo>
                    <a:pt x="58"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92" name="Freeform 255"/>
            <p:cNvSpPr>
              <a:spLocks noEditPoints="1"/>
            </p:cNvSpPr>
            <p:nvPr/>
          </p:nvSpPr>
          <p:spPr bwMode="auto">
            <a:xfrm>
              <a:off x="2406651" y="4631166"/>
              <a:ext cx="1014413" cy="1003300"/>
            </a:xfrm>
            <a:custGeom>
              <a:avLst/>
              <a:gdLst>
                <a:gd name="T0" fmla="*/ 620 w 639"/>
                <a:gd name="T1" fmla="*/ 157 h 632"/>
                <a:gd name="T2" fmla="*/ 568 w 639"/>
                <a:gd name="T3" fmla="*/ 136 h 632"/>
                <a:gd name="T4" fmla="*/ 513 w 639"/>
                <a:gd name="T5" fmla="*/ 125 h 632"/>
                <a:gd name="T6" fmla="*/ 481 w 639"/>
                <a:gd name="T7" fmla="*/ 119 h 632"/>
                <a:gd name="T8" fmla="*/ 436 w 639"/>
                <a:gd name="T9" fmla="*/ 92 h 632"/>
                <a:gd name="T10" fmla="*/ 412 w 639"/>
                <a:gd name="T11" fmla="*/ 112 h 632"/>
                <a:gd name="T12" fmla="*/ 418 w 639"/>
                <a:gd name="T13" fmla="*/ 87 h 632"/>
                <a:gd name="T14" fmla="*/ 391 w 639"/>
                <a:gd name="T15" fmla="*/ 78 h 632"/>
                <a:gd name="T16" fmla="*/ 378 w 639"/>
                <a:gd name="T17" fmla="*/ 86 h 632"/>
                <a:gd name="T18" fmla="*/ 394 w 639"/>
                <a:gd name="T19" fmla="*/ 60 h 632"/>
                <a:gd name="T20" fmla="*/ 373 w 639"/>
                <a:gd name="T21" fmla="*/ 21 h 632"/>
                <a:gd name="T22" fmla="*/ 336 w 639"/>
                <a:gd name="T23" fmla="*/ 50 h 632"/>
                <a:gd name="T24" fmla="*/ 300 w 639"/>
                <a:gd name="T25" fmla="*/ 47 h 632"/>
                <a:gd name="T26" fmla="*/ 258 w 639"/>
                <a:gd name="T27" fmla="*/ 63 h 632"/>
                <a:gd name="T28" fmla="*/ 236 w 639"/>
                <a:gd name="T29" fmla="*/ 45 h 632"/>
                <a:gd name="T30" fmla="*/ 225 w 639"/>
                <a:gd name="T31" fmla="*/ 0 h 632"/>
                <a:gd name="T32" fmla="*/ 203 w 639"/>
                <a:gd name="T33" fmla="*/ 19 h 632"/>
                <a:gd name="T34" fmla="*/ 157 w 639"/>
                <a:gd name="T35" fmla="*/ 15 h 632"/>
                <a:gd name="T36" fmla="*/ 167 w 639"/>
                <a:gd name="T37" fmla="*/ 50 h 632"/>
                <a:gd name="T38" fmla="*/ 137 w 639"/>
                <a:gd name="T39" fmla="*/ 70 h 632"/>
                <a:gd name="T40" fmla="*/ 105 w 639"/>
                <a:gd name="T41" fmla="*/ 54 h 632"/>
                <a:gd name="T42" fmla="*/ 87 w 639"/>
                <a:gd name="T43" fmla="*/ 65 h 632"/>
                <a:gd name="T44" fmla="*/ 76 w 639"/>
                <a:gd name="T45" fmla="*/ 84 h 632"/>
                <a:gd name="T46" fmla="*/ 70 w 639"/>
                <a:gd name="T47" fmla="*/ 134 h 632"/>
                <a:gd name="T48" fmla="*/ 53 w 639"/>
                <a:gd name="T49" fmla="*/ 151 h 632"/>
                <a:gd name="T50" fmla="*/ 31 w 639"/>
                <a:gd name="T51" fmla="*/ 154 h 632"/>
                <a:gd name="T52" fmla="*/ 11 w 639"/>
                <a:gd name="T53" fmla="*/ 177 h 632"/>
                <a:gd name="T54" fmla="*/ 11 w 639"/>
                <a:gd name="T55" fmla="*/ 218 h 632"/>
                <a:gd name="T56" fmla="*/ 50 w 639"/>
                <a:gd name="T57" fmla="*/ 225 h 632"/>
                <a:gd name="T58" fmla="*/ 61 w 639"/>
                <a:gd name="T59" fmla="*/ 247 h 632"/>
                <a:gd name="T60" fmla="*/ 109 w 639"/>
                <a:gd name="T61" fmla="*/ 238 h 632"/>
                <a:gd name="T62" fmla="*/ 141 w 639"/>
                <a:gd name="T63" fmla="*/ 231 h 632"/>
                <a:gd name="T64" fmla="*/ 157 w 639"/>
                <a:gd name="T65" fmla="*/ 270 h 632"/>
                <a:gd name="T66" fmla="*/ 199 w 639"/>
                <a:gd name="T67" fmla="*/ 289 h 632"/>
                <a:gd name="T68" fmla="*/ 223 w 639"/>
                <a:gd name="T69" fmla="*/ 299 h 632"/>
                <a:gd name="T70" fmla="*/ 236 w 639"/>
                <a:gd name="T71" fmla="*/ 331 h 632"/>
                <a:gd name="T72" fmla="*/ 258 w 639"/>
                <a:gd name="T73" fmla="*/ 335 h 632"/>
                <a:gd name="T74" fmla="*/ 270 w 639"/>
                <a:gd name="T75" fmla="*/ 358 h 632"/>
                <a:gd name="T76" fmla="*/ 265 w 639"/>
                <a:gd name="T77" fmla="*/ 401 h 632"/>
                <a:gd name="T78" fmla="*/ 296 w 639"/>
                <a:gd name="T79" fmla="*/ 435 h 632"/>
                <a:gd name="T80" fmla="*/ 309 w 639"/>
                <a:gd name="T81" fmla="*/ 458 h 632"/>
                <a:gd name="T82" fmla="*/ 316 w 639"/>
                <a:gd name="T83" fmla="*/ 487 h 632"/>
                <a:gd name="T84" fmla="*/ 329 w 639"/>
                <a:gd name="T85" fmla="*/ 516 h 632"/>
                <a:gd name="T86" fmla="*/ 287 w 639"/>
                <a:gd name="T87" fmla="*/ 556 h 632"/>
                <a:gd name="T88" fmla="*/ 289 w 639"/>
                <a:gd name="T89" fmla="*/ 584 h 632"/>
                <a:gd name="T90" fmla="*/ 335 w 639"/>
                <a:gd name="T91" fmla="*/ 619 h 632"/>
                <a:gd name="T92" fmla="*/ 352 w 639"/>
                <a:gd name="T93" fmla="*/ 623 h 632"/>
                <a:gd name="T94" fmla="*/ 367 w 639"/>
                <a:gd name="T95" fmla="*/ 588 h 632"/>
                <a:gd name="T96" fmla="*/ 373 w 639"/>
                <a:gd name="T97" fmla="*/ 593 h 632"/>
                <a:gd name="T98" fmla="*/ 393 w 639"/>
                <a:gd name="T99" fmla="*/ 575 h 632"/>
                <a:gd name="T100" fmla="*/ 416 w 639"/>
                <a:gd name="T101" fmla="*/ 546 h 632"/>
                <a:gd name="T102" fmla="*/ 416 w 639"/>
                <a:gd name="T103" fmla="*/ 525 h 632"/>
                <a:gd name="T104" fmla="*/ 418 w 639"/>
                <a:gd name="T105" fmla="*/ 497 h 632"/>
                <a:gd name="T106" fmla="*/ 461 w 639"/>
                <a:gd name="T107" fmla="*/ 462 h 632"/>
                <a:gd name="T108" fmla="*/ 497 w 639"/>
                <a:gd name="T109" fmla="*/ 449 h 632"/>
                <a:gd name="T110" fmla="*/ 542 w 639"/>
                <a:gd name="T111" fmla="*/ 417 h 632"/>
                <a:gd name="T112" fmla="*/ 562 w 639"/>
                <a:gd name="T113" fmla="*/ 373 h 632"/>
                <a:gd name="T114" fmla="*/ 572 w 639"/>
                <a:gd name="T115" fmla="*/ 326 h 632"/>
                <a:gd name="T116" fmla="*/ 587 w 639"/>
                <a:gd name="T117" fmla="*/ 274 h 632"/>
                <a:gd name="T118" fmla="*/ 636 w 639"/>
                <a:gd name="T119" fmla="*/ 209 h 632"/>
                <a:gd name="T120" fmla="*/ 403 w 639"/>
                <a:gd name="T121" fmla="*/ 154 h 632"/>
                <a:gd name="T122" fmla="*/ 406 w 639"/>
                <a:gd name="T123" fmla="*/ 142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9" h="632">
                  <a:moveTo>
                    <a:pt x="635" y="173"/>
                  </a:moveTo>
                  <a:lnTo>
                    <a:pt x="635" y="173"/>
                  </a:lnTo>
                  <a:lnTo>
                    <a:pt x="633" y="168"/>
                  </a:lnTo>
                  <a:lnTo>
                    <a:pt x="632" y="165"/>
                  </a:lnTo>
                  <a:lnTo>
                    <a:pt x="632" y="162"/>
                  </a:lnTo>
                  <a:lnTo>
                    <a:pt x="629" y="161"/>
                  </a:lnTo>
                  <a:lnTo>
                    <a:pt x="629" y="161"/>
                  </a:lnTo>
                  <a:lnTo>
                    <a:pt x="620" y="157"/>
                  </a:lnTo>
                  <a:lnTo>
                    <a:pt x="613" y="154"/>
                  </a:lnTo>
                  <a:lnTo>
                    <a:pt x="606" y="152"/>
                  </a:lnTo>
                  <a:lnTo>
                    <a:pt x="606" y="152"/>
                  </a:lnTo>
                  <a:lnTo>
                    <a:pt x="591" y="151"/>
                  </a:lnTo>
                  <a:lnTo>
                    <a:pt x="584" y="149"/>
                  </a:lnTo>
                  <a:lnTo>
                    <a:pt x="580" y="147"/>
                  </a:lnTo>
                  <a:lnTo>
                    <a:pt x="580" y="147"/>
                  </a:lnTo>
                  <a:lnTo>
                    <a:pt x="568" y="136"/>
                  </a:lnTo>
                  <a:lnTo>
                    <a:pt x="562" y="131"/>
                  </a:lnTo>
                  <a:lnTo>
                    <a:pt x="558" y="129"/>
                  </a:lnTo>
                  <a:lnTo>
                    <a:pt x="552" y="129"/>
                  </a:lnTo>
                  <a:lnTo>
                    <a:pt x="552" y="129"/>
                  </a:lnTo>
                  <a:lnTo>
                    <a:pt x="533" y="128"/>
                  </a:lnTo>
                  <a:lnTo>
                    <a:pt x="517" y="126"/>
                  </a:lnTo>
                  <a:lnTo>
                    <a:pt x="517" y="126"/>
                  </a:lnTo>
                  <a:lnTo>
                    <a:pt x="513" y="125"/>
                  </a:lnTo>
                  <a:lnTo>
                    <a:pt x="509" y="123"/>
                  </a:lnTo>
                  <a:lnTo>
                    <a:pt x="504" y="120"/>
                  </a:lnTo>
                  <a:lnTo>
                    <a:pt x="499" y="120"/>
                  </a:lnTo>
                  <a:lnTo>
                    <a:pt x="499" y="120"/>
                  </a:lnTo>
                  <a:lnTo>
                    <a:pt x="490" y="120"/>
                  </a:lnTo>
                  <a:lnTo>
                    <a:pt x="490" y="120"/>
                  </a:lnTo>
                  <a:lnTo>
                    <a:pt x="486" y="120"/>
                  </a:lnTo>
                  <a:lnTo>
                    <a:pt x="481" y="119"/>
                  </a:lnTo>
                  <a:lnTo>
                    <a:pt x="481" y="119"/>
                  </a:lnTo>
                  <a:lnTo>
                    <a:pt x="477" y="113"/>
                  </a:lnTo>
                  <a:lnTo>
                    <a:pt x="474" y="110"/>
                  </a:lnTo>
                  <a:lnTo>
                    <a:pt x="471" y="109"/>
                  </a:lnTo>
                  <a:lnTo>
                    <a:pt x="471" y="109"/>
                  </a:lnTo>
                  <a:lnTo>
                    <a:pt x="444" y="96"/>
                  </a:lnTo>
                  <a:lnTo>
                    <a:pt x="444" y="96"/>
                  </a:lnTo>
                  <a:lnTo>
                    <a:pt x="436" y="92"/>
                  </a:lnTo>
                  <a:lnTo>
                    <a:pt x="432" y="90"/>
                  </a:lnTo>
                  <a:lnTo>
                    <a:pt x="428" y="92"/>
                  </a:lnTo>
                  <a:lnTo>
                    <a:pt x="428" y="92"/>
                  </a:lnTo>
                  <a:lnTo>
                    <a:pt x="423" y="96"/>
                  </a:lnTo>
                  <a:lnTo>
                    <a:pt x="419" y="103"/>
                  </a:lnTo>
                  <a:lnTo>
                    <a:pt x="416" y="109"/>
                  </a:lnTo>
                  <a:lnTo>
                    <a:pt x="413" y="112"/>
                  </a:lnTo>
                  <a:lnTo>
                    <a:pt x="412" y="112"/>
                  </a:lnTo>
                  <a:lnTo>
                    <a:pt x="412" y="112"/>
                  </a:lnTo>
                  <a:lnTo>
                    <a:pt x="412" y="112"/>
                  </a:lnTo>
                  <a:lnTo>
                    <a:pt x="412" y="110"/>
                  </a:lnTo>
                  <a:lnTo>
                    <a:pt x="415" y="105"/>
                  </a:lnTo>
                  <a:lnTo>
                    <a:pt x="420" y="94"/>
                  </a:lnTo>
                  <a:lnTo>
                    <a:pt x="420" y="94"/>
                  </a:lnTo>
                  <a:lnTo>
                    <a:pt x="419" y="90"/>
                  </a:lnTo>
                  <a:lnTo>
                    <a:pt x="418" y="87"/>
                  </a:lnTo>
                  <a:lnTo>
                    <a:pt x="413" y="86"/>
                  </a:lnTo>
                  <a:lnTo>
                    <a:pt x="413" y="86"/>
                  </a:lnTo>
                  <a:lnTo>
                    <a:pt x="403" y="87"/>
                  </a:lnTo>
                  <a:lnTo>
                    <a:pt x="400" y="87"/>
                  </a:lnTo>
                  <a:lnTo>
                    <a:pt x="397" y="86"/>
                  </a:lnTo>
                  <a:lnTo>
                    <a:pt x="397" y="86"/>
                  </a:lnTo>
                  <a:lnTo>
                    <a:pt x="393" y="80"/>
                  </a:lnTo>
                  <a:lnTo>
                    <a:pt x="391" y="78"/>
                  </a:lnTo>
                  <a:lnTo>
                    <a:pt x="389" y="80"/>
                  </a:lnTo>
                  <a:lnTo>
                    <a:pt x="389" y="80"/>
                  </a:lnTo>
                  <a:lnTo>
                    <a:pt x="383" y="86"/>
                  </a:lnTo>
                  <a:lnTo>
                    <a:pt x="381" y="87"/>
                  </a:lnTo>
                  <a:lnTo>
                    <a:pt x="380" y="87"/>
                  </a:lnTo>
                  <a:lnTo>
                    <a:pt x="378" y="87"/>
                  </a:lnTo>
                  <a:lnTo>
                    <a:pt x="378" y="87"/>
                  </a:lnTo>
                  <a:lnTo>
                    <a:pt x="378" y="86"/>
                  </a:lnTo>
                  <a:lnTo>
                    <a:pt x="380" y="84"/>
                  </a:lnTo>
                  <a:lnTo>
                    <a:pt x="383" y="81"/>
                  </a:lnTo>
                  <a:lnTo>
                    <a:pt x="390" y="76"/>
                  </a:lnTo>
                  <a:lnTo>
                    <a:pt x="390" y="76"/>
                  </a:lnTo>
                  <a:lnTo>
                    <a:pt x="391" y="73"/>
                  </a:lnTo>
                  <a:lnTo>
                    <a:pt x="393" y="68"/>
                  </a:lnTo>
                  <a:lnTo>
                    <a:pt x="394" y="64"/>
                  </a:lnTo>
                  <a:lnTo>
                    <a:pt x="394" y="60"/>
                  </a:lnTo>
                  <a:lnTo>
                    <a:pt x="394" y="60"/>
                  </a:lnTo>
                  <a:lnTo>
                    <a:pt x="391" y="55"/>
                  </a:lnTo>
                  <a:lnTo>
                    <a:pt x="387" y="50"/>
                  </a:lnTo>
                  <a:lnTo>
                    <a:pt x="387" y="50"/>
                  </a:lnTo>
                  <a:lnTo>
                    <a:pt x="384" y="44"/>
                  </a:lnTo>
                  <a:lnTo>
                    <a:pt x="380" y="35"/>
                  </a:lnTo>
                  <a:lnTo>
                    <a:pt x="373" y="21"/>
                  </a:lnTo>
                  <a:lnTo>
                    <a:pt x="373" y="21"/>
                  </a:lnTo>
                  <a:lnTo>
                    <a:pt x="370" y="16"/>
                  </a:lnTo>
                  <a:lnTo>
                    <a:pt x="370" y="16"/>
                  </a:lnTo>
                  <a:lnTo>
                    <a:pt x="362" y="29"/>
                  </a:lnTo>
                  <a:lnTo>
                    <a:pt x="355" y="38"/>
                  </a:lnTo>
                  <a:lnTo>
                    <a:pt x="355" y="38"/>
                  </a:lnTo>
                  <a:lnTo>
                    <a:pt x="349" y="44"/>
                  </a:lnTo>
                  <a:lnTo>
                    <a:pt x="342" y="48"/>
                  </a:lnTo>
                  <a:lnTo>
                    <a:pt x="336" y="50"/>
                  </a:lnTo>
                  <a:lnTo>
                    <a:pt x="332" y="51"/>
                  </a:lnTo>
                  <a:lnTo>
                    <a:pt x="332" y="51"/>
                  </a:lnTo>
                  <a:lnTo>
                    <a:pt x="328" y="51"/>
                  </a:lnTo>
                  <a:lnTo>
                    <a:pt x="320" y="50"/>
                  </a:lnTo>
                  <a:lnTo>
                    <a:pt x="320" y="50"/>
                  </a:lnTo>
                  <a:lnTo>
                    <a:pt x="310" y="47"/>
                  </a:lnTo>
                  <a:lnTo>
                    <a:pt x="305" y="47"/>
                  </a:lnTo>
                  <a:lnTo>
                    <a:pt x="300" y="47"/>
                  </a:lnTo>
                  <a:lnTo>
                    <a:pt x="300" y="47"/>
                  </a:lnTo>
                  <a:lnTo>
                    <a:pt x="292" y="50"/>
                  </a:lnTo>
                  <a:lnTo>
                    <a:pt x="281" y="52"/>
                  </a:lnTo>
                  <a:lnTo>
                    <a:pt x="273" y="57"/>
                  </a:lnTo>
                  <a:lnTo>
                    <a:pt x="265" y="58"/>
                  </a:lnTo>
                  <a:lnTo>
                    <a:pt x="265" y="58"/>
                  </a:lnTo>
                  <a:lnTo>
                    <a:pt x="261" y="60"/>
                  </a:lnTo>
                  <a:lnTo>
                    <a:pt x="258" y="63"/>
                  </a:lnTo>
                  <a:lnTo>
                    <a:pt x="255" y="65"/>
                  </a:lnTo>
                  <a:lnTo>
                    <a:pt x="251" y="67"/>
                  </a:lnTo>
                  <a:lnTo>
                    <a:pt x="251" y="67"/>
                  </a:lnTo>
                  <a:lnTo>
                    <a:pt x="248" y="67"/>
                  </a:lnTo>
                  <a:lnTo>
                    <a:pt x="245" y="64"/>
                  </a:lnTo>
                  <a:lnTo>
                    <a:pt x="241" y="60"/>
                  </a:lnTo>
                  <a:lnTo>
                    <a:pt x="238" y="52"/>
                  </a:lnTo>
                  <a:lnTo>
                    <a:pt x="236" y="45"/>
                  </a:lnTo>
                  <a:lnTo>
                    <a:pt x="236" y="45"/>
                  </a:lnTo>
                  <a:lnTo>
                    <a:pt x="236" y="32"/>
                  </a:lnTo>
                  <a:lnTo>
                    <a:pt x="236" y="21"/>
                  </a:lnTo>
                  <a:lnTo>
                    <a:pt x="236" y="21"/>
                  </a:lnTo>
                  <a:lnTo>
                    <a:pt x="236" y="15"/>
                  </a:lnTo>
                  <a:lnTo>
                    <a:pt x="234" y="8"/>
                  </a:lnTo>
                  <a:lnTo>
                    <a:pt x="229" y="3"/>
                  </a:lnTo>
                  <a:lnTo>
                    <a:pt x="225" y="0"/>
                  </a:lnTo>
                  <a:lnTo>
                    <a:pt x="225" y="0"/>
                  </a:lnTo>
                  <a:lnTo>
                    <a:pt x="223" y="0"/>
                  </a:lnTo>
                  <a:lnTo>
                    <a:pt x="222" y="2"/>
                  </a:lnTo>
                  <a:lnTo>
                    <a:pt x="219" y="6"/>
                  </a:lnTo>
                  <a:lnTo>
                    <a:pt x="216" y="12"/>
                  </a:lnTo>
                  <a:lnTo>
                    <a:pt x="212" y="16"/>
                  </a:lnTo>
                  <a:lnTo>
                    <a:pt x="212" y="16"/>
                  </a:lnTo>
                  <a:lnTo>
                    <a:pt x="203" y="19"/>
                  </a:lnTo>
                  <a:lnTo>
                    <a:pt x="190" y="21"/>
                  </a:lnTo>
                  <a:lnTo>
                    <a:pt x="170" y="21"/>
                  </a:lnTo>
                  <a:lnTo>
                    <a:pt x="170" y="21"/>
                  </a:lnTo>
                  <a:lnTo>
                    <a:pt x="167" y="21"/>
                  </a:lnTo>
                  <a:lnTo>
                    <a:pt x="166" y="19"/>
                  </a:lnTo>
                  <a:lnTo>
                    <a:pt x="163" y="16"/>
                  </a:lnTo>
                  <a:lnTo>
                    <a:pt x="158" y="15"/>
                  </a:lnTo>
                  <a:lnTo>
                    <a:pt x="157" y="15"/>
                  </a:lnTo>
                  <a:lnTo>
                    <a:pt x="154" y="16"/>
                  </a:lnTo>
                  <a:lnTo>
                    <a:pt x="154" y="16"/>
                  </a:lnTo>
                  <a:lnTo>
                    <a:pt x="152" y="18"/>
                  </a:lnTo>
                  <a:lnTo>
                    <a:pt x="152" y="22"/>
                  </a:lnTo>
                  <a:lnTo>
                    <a:pt x="157" y="29"/>
                  </a:lnTo>
                  <a:lnTo>
                    <a:pt x="166" y="47"/>
                  </a:lnTo>
                  <a:lnTo>
                    <a:pt x="166" y="47"/>
                  </a:lnTo>
                  <a:lnTo>
                    <a:pt x="167" y="50"/>
                  </a:lnTo>
                  <a:lnTo>
                    <a:pt x="167" y="51"/>
                  </a:lnTo>
                  <a:lnTo>
                    <a:pt x="164" y="55"/>
                  </a:lnTo>
                  <a:lnTo>
                    <a:pt x="160" y="60"/>
                  </a:lnTo>
                  <a:lnTo>
                    <a:pt x="155" y="63"/>
                  </a:lnTo>
                  <a:lnTo>
                    <a:pt x="155" y="63"/>
                  </a:lnTo>
                  <a:lnTo>
                    <a:pt x="145" y="68"/>
                  </a:lnTo>
                  <a:lnTo>
                    <a:pt x="137" y="70"/>
                  </a:lnTo>
                  <a:lnTo>
                    <a:pt x="137" y="70"/>
                  </a:lnTo>
                  <a:lnTo>
                    <a:pt x="131" y="68"/>
                  </a:lnTo>
                  <a:lnTo>
                    <a:pt x="125" y="64"/>
                  </a:lnTo>
                  <a:lnTo>
                    <a:pt x="121" y="60"/>
                  </a:lnTo>
                  <a:lnTo>
                    <a:pt x="118" y="55"/>
                  </a:lnTo>
                  <a:lnTo>
                    <a:pt x="118" y="55"/>
                  </a:lnTo>
                  <a:lnTo>
                    <a:pt x="116" y="52"/>
                  </a:lnTo>
                  <a:lnTo>
                    <a:pt x="113" y="52"/>
                  </a:lnTo>
                  <a:lnTo>
                    <a:pt x="105" y="54"/>
                  </a:lnTo>
                  <a:lnTo>
                    <a:pt x="105" y="54"/>
                  </a:lnTo>
                  <a:lnTo>
                    <a:pt x="102" y="54"/>
                  </a:lnTo>
                  <a:lnTo>
                    <a:pt x="102" y="57"/>
                  </a:lnTo>
                  <a:lnTo>
                    <a:pt x="103" y="63"/>
                  </a:lnTo>
                  <a:lnTo>
                    <a:pt x="103" y="63"/>
                  </a:lnTo>
                  <a:lnTo>
                    <a:pt x="102" y="65"/>
                  </a:lnTo>
                  <a:lnTo>
                    <a:pt x="97" y="65"/>
                  </a:lnTo>
                  <a:lnTo>
                    <a:pt x="87" y="65"/>
                  </a:lnTo>
                  <a:lnTo>
                    <a:pt x="87" y="65"/>
                  </a:lnTo>
                  <a:lnTo>
                    <a:pt x="83" y="65"/>
                  </a:lnTo>
                  <a:lnTo>
                    <a:pt x="80" y="68"/>
                  </a:lnTo>
                  <a:lnTo>
                    <a:pt x="73" y="77"/>
                  </a:lnTo>
                  <a:lnTo>
                    <a:pt x="73" y="77"/>
                  </a:lnTo>
                  <a:lnTo>
                    <a:pt x="73" y="78"/>
                  </a:lnTo>
                  <a:lnTo>
                    <a:pt x="73" y="80"/>
                  </a:lnTo>
                  <a:lnTo>
                    <a:pt x="76" y="84"/>
                  </a:lnTo>
                  <a:lnTo>
                    <a:pt x="80" y="90"/>
                  </a:lnTo>
                  <a:lnTo>
                    <a:pt x="83" y="94"/>
                  </a:lnTo>
                  <a:lnTo>
                    <a:pt x="83" y="94"/>
                  </a:lnTo>
                  <a:lnTo>
                    <a:pt x="83" y="102"/>
                  </a:lnTo>
                  <a:lnTo>
                    <a:pt x="80" y="109"/>
                  </a:lnTo>
                  <a:lnTo>
                    <a:pt x="74" y="125"/>
                  </a:lnTo>
                  <a:lnTo>
                    <a:pt x="74" y="125"/>
                  </a:lnTo>
                  <a:lnTo>
                    <a:pt x="70" y="134"/>
                  </a:lnTo>
                  <a:lnTo>
                    <a:pt x="68" y="142"/>
                  </a:lnTo>
                  <a:lnTo>
                    <a:pt x="67" y="152"/>
                  </a:lnTo>
                  <a:lnTo>
                    <a:pt x="64" y="151"/>
                  </a:lnTo>
                  <a:lnTo>
                    <a:pt x="64" y="151"/>
                  </a:lnTo>
                  <a:lnTo>
                    <a:pt x="61" y="151"/>
                  </a:lnTo>
                  <a:lnTo>
                    <a:pt x="57" y="151"/>
                  </a:lnTo>
                  <a:lnTo>
                    <a:pt x="57" y="151"/>
                  </a:lnTo>
                  <a:lnTo>
                    <a:pt x="53" y="151"/>
                  </a:lnTo>
                  <a:lnTo>
                    <a:pt x="48" y="152"/>
                  </a:lnTo>
                  <a:lnTo>
                    <a:pt x="48" y="152"/>
                  </a:lnTo>
                  <a:lnTo>
                    <a:pt x="44" y="154"/>
                  </a:lnTo>
                  <a:lnTo>
                    <a:pt x="40" y="154"/>
                  </a:lnTo>
                  <a:lnTo>
                    <a:pt x="40" y="154"/>
                  </a:lnTo>
                  <a:lnTo>
                    <a:pt x="35" y="154"/>
                  </a:lnTo>
                  <a:lnTo>
                    <a:pt x="31" y="154"/>
                  </a:lnTo>
                  <a:lnTo>
                    <a:pt x="31" y="154"/>
                  </a:lnTo>
                  <a:lnTo>
                    <a:pt x="26" y="157"/>
                  </a:lnTo>
                  <a:lnTo>
                    <a:pt x="22" y="161"/>
                  </a:lnTo>
                  <a:lnTo>
                    <a:pt x="21" y="165"/>
                  </a:lnTo>
                  <a:lnTo>
                    <a:pt x="19" y="170"/>
                  </a:lnTo>
                  <a:lnTo>
                    <a:pt x="19" y="170"/>
                  </a:lnTo>
                  <a:lnTo>
                    <a:pt x="19" y="171"/>
                  </a:lnTo>
                  <a:lnTo>
                    <a:pt x="16" y="173"/>
                  </a:lnTo>
                  <a:lnTo>
                    <a:pt x="11" y="177"/>
                  </a:lnTo>
                  <a:lnTo>
                    <a:pt x="3" y="181"/>
                  </a:lnTo>
                  <a:lnTo>
                    <a:pt x="0" y="184"/>
                  </a:lnTo>
                  <a:lnTo>
                    <a:pt x="0" y="184"/>
                  </a:lnTo>
                  <a:lnTo>
                    <a:pt x="0" y="189"/>
                  </a:lnTo>
                  <a:lnTo>
                    <a:pt x="3" y="197"/>
                  </a:lnTo>
                  <a:lnTo>
                    <a:pt x="8" y="215"/>
                  </a:lnTo>
                  <a:lnTo>
                    <a:pt x="8" y="215"/>
                  </a:lnTo>
                  <a:lnTo>
                    <a:pt x="11" y="218"/>
                  </a:lnTo>
                  <a:lnTo>
                    <a:pt x="13" y="220"/>
                  </a:lnTo>
                  <a:lnTo>
                    <a:pt x="22" y="225"/>
                  </a:lnTo>
                  <a:lnTo>
                    <a:pt x="31" y="228"/>
                  </a:lnTo>
                  <a:lnTo>
                    <a:pt x="38" y="229"/>
                  </a:lnTo>
                  <a:lnTo>
                    <a:pt x="38" y="229"/>
                  </a:lnTo>
                  <a:lnTo>
                    <a:pt x="44" y="228"/>
                  </a:lnTo>
                  <a:lnTo>
                    <a:pt x="50" y="225"/>
                  </a:lnTo>
                  <a:lnTo>
                    <a:pt x="50" y="225"/>
                  </a:lnTo>
                  <a:lnTo>
                    <a:pt x="55" y="222"/>
                  </a:lnTo>
                  <a:lnTo>
                    <a:pt x="58" y="222"/>
                  </a:lnTo>
                  <a:lnTo>
                    <a:pt x="58" y="222"/>
                  </a:lnTo>
                  <a:lnTo>
                    <a:pt x="60" y="225"/>
                  </a:lnTo>
                  <a:lnTo>
                    <a:pt x="60" y="232"/>
                  </a:lnTo>
                  <a:lnTo>
                    <a:pt x="60" y="241"/>
                  </a:lnTo>
                  <a:lnTo>
                    <a:pt x="61" y="247"/>
                  </a:lnTo>
                  <a:lnTo>
                    <a:pt x="61" y="247"/>
                  </a:lnTo>
                  <a:lnTo>
                    <a:pt x="63" y="248"/>
                  </a:lnTo>
                  <a:lnTo>
                    <a:pt x="66" y="248"/>
                  </a:lnTo>
                  <a:lnTo>
                    <a:pt x="73" y="248"/>
                  </a:lnTo>
                  <a:lnTo>
                    <a:pt x="90" y="247"/>
                  </a:lnTo>
                  <a:lnTo>
                    <a:pt x="90" y="247"/>
                  </a:lnTo>
                  <a:lnTo>
                    <a:pt x="97" y="245"/>
                  </a:lnTo>
                  <a:lnTo>
                    <a:pt x="103" y="242"/>
                  </a:lnTo>
                  <a:lnTo>
                    <a:pt x="109" y="238"/>
                  </a:lnTo>
                  <a:lnTo>
                    <a:pt x="115" y="235"/>
                  </a:lnTo>
                  <a:lnTo>
                    <a:pt x="115" y="235"/>
                  </a:lnTo>
                  <a:lnTo>
                    <a:pt x="126" y="231"/>
                  </a:lnTo>
                  <a:lnTo>
                    <a:pt x="132" y="228"/>
                  </a:lnTo>
                  <a:lnTo>
                    <a:pt x="138" y="226"/>
                  </a:lnTo>
                  <a:lnTo>
                    <a:pt x="138" y="226"/>
                  </a:lnTo>
                  <a:lnTo>
                    <a:pt x="139" y="228"/>
                  </a:lnTo>
                  <a:lnTo>
                    <a:pt x="141" y="231"/>
                  </a:lnTo>
                  <a:lnTo>
                    <a:pt x="142" y="239"/>
                  </a:lnTo>
                  <a:lnTo>
                    <a:pt x="141" y="248"/>
                  </a:lnTo>
                  <a:lnTo>
                    <a:pt x="141" y="254"/>
                  </a:lnTo>
                  <a:lnTo>
                    <a:pt x="141" y="254"/>
                  </a:lnTo>
                  <a:lnTo>
                    <a:pt x="144" y="258"/>
                  </a:lnTo>
                  <a:lnTo>
                    <a:pt x="147" y="261"/>
                  </a:lnTo>
                  <a:lnTo>
                    <a:pt x="157" y="270"/>
                  </a:lnTo>
                  <a:lnTo>
                    <a:pt x="157" y="270"/>
                  </a:lnTo>
                  <a:lnTo>
                    <a:pt x="161" y="273"/>
                  </a:lnTo>
                  <a:lnTo>
                    <a:pt x="168" y="274"/>
                  </a:lnTo>
                  <a:lnTo>
                    <a:pt x="181" y="277"/>
                  </a:lnTo>
                  <a:lnTo>
                    <a:pt x="181" y="277"/>
                  </a:lnTo>
                  <a:lnTo>
                    <a:pt x="186" y="280"/>
                  </a:lnTo>
                  <a:lnTo>
                    <a:pt x="192" y="283"/>
                  </a:lnTo>
                  <a:lnTo>
                    <a:pt x="199" y="289"/>
                  </a:lnTo>
                  <a:lnTo>
                    <a:pt x="199" y="289"/>
                  </a:lnTo>
                  <a:lnTo>
                    <a:pt x="200" y="290"/>
                  </a:lnTo>
                  <a:lnTo>
                    <a:pt x="203" y="291"/>
                  </a:lnTo>
                  <a:lnTo>
                    <a:pt x="210" y="291"/>
                  </a:lnTo>
                  <a:lnTo>
                    <a:pt x="218" y="293"/>
                  </a:lnTo>
                  <a:lnTo>
                    <a:pt x="221" y="294"/>
                  </a:lnTo>
                  <a:lnTo>
                    <a:pt x="222" y="296"/>
                  </a:lnTo>
                  <a:lnTo>
                    <a:pt x="222" y="296"/>
                  </a:lnTo>
                  <a:lnTo>
                    <a:pt x="223" y="299"/>
                  </a:lnTo>
                  <a:lnTo>
                    <a:pt x="223" y="302"/>
                  </a:lnTo>
                  <a:lnTo>
                    <a:pt x="223" y="306"/>
                  </a:lnTo>
                  <a:lnTo>
                    <a:pt x="225" y="309"/>
                  </a:lnTo>
                  <a:lnTo>
                    <a:pt x="225" y="309"/>
                  </a:lnTo>
                  <a:lnTo>
                    <a:pt x="231" y="320"/>
                  </a:lnTo>
                  <a:lnTo>
                    <a:pt x="234" y="326"/>
                  </a:lnTo>
                  <a:lnTo>
                    <a:pt x="236" y="331"/>
                  </a:lnTo>
                  <a:lnTo>
                    <a:pt x="236" y="331"/>
                  </a:lnTo>
                  <a:lnTo>
                    <a:pt x="239" y="332"/>
                  </a:lnTo>
                  <a:lnTo>
                    <a:pt x="242" y="333"/>
                  </a:lnTo>
                  <a:lnTo>
                    <a:pt x="250" y="333"/>
                  </a:lnTo>
                  <a:lnTo>
                    <a:pt x="250" y="333"/>
                  </a:lnTo>
                  <a:lnTo>
                    <a:pt x="255" y="332"/>
                  </a:lnTo>
                  <a:lnTo>
                    <a:pt x="255" y="332"/>
                  </a:lnTo>
                  <a:lnTo>
                    <a:pt x="257" y="333"/>
                  </a:lnTo>
                  <a:lnTo>
                    <a:pt x="258" y="335"/>
                  </a:lnTo>
                  <a:lnTo>
                    <a:pt x="258" y="338"/>
                  </a:lnTo>
                  <a:lnTo>
                    <a:pt x="258" y="348"/>
                  </a:lnTo>
                  <a:lnTo>
                    <a:pt x="258" y="348"/>
                  </a:lnTo>
                  <a:lnTo>
                    <a:pt x="260" y="351"/>
                  </a:lnTo>
                  <a:lnTo>
                    <a:pt x="263" y="354"/>
                  </a:lnTo>
                  <a:lnTo>
                    <a:pt x="267" y="355"/>
                  </a:lnTo>
                  <a:lnTo>
                    <a:pt x="270" y="358"/>
                  </a:lnTo>
                  <a:lnTo>
                    <a:pt x="270" y="358"/>
                  </a:lnTo>
                  <a:lnTo>
                    <a:pt x="271" y="362"/>
                  </a:lnTo>
                  <a:lnTo>
                    <a:pt x="271" y="370"/>
                  </a:lnTo>
                  <a:lnTo>
                    <a:pt x="270" y="378"/>
                  </a:lnTo>
                  <a:lnTo>
                    <a:pt x="267" y="384"/>
                  </a:lnTo>
                  <a:lnTo>
                    <a:pt x="267" y="384"/>
                  </a:lnTo>
                  <a:lnTo>
                    <a:pt x="264" y="388"/>
                  </a:lnTo>
                  <a:lnTo>
                    <a:pt x="264" y="393"/>
                  </a:lnTo>
                  <a:lnTo>
                    <a:pt x="265" y="401"/>
                  </a:lnTo>
                  <a:lnTo>
                    <a:pt x="265" y="401"/>
                  </a:lnTo>
                  <a:lnTo>
                    <a:pt x="268" y="415"/>
                  </a:lnTo>
                  <a:lnTo>
                    <a:pt x="270" y="428"/>
                  </a:lnTo>
                  <a:lnTo>
                    <a:pt x="270" y="428"/>
                  </a:lnTo>
                  <a:lnTo>
                    <a:pt x="271" y="430"/>
                  </a:lnTo>
                  <a:lnTo>
                    <a:pt x="274" y="432"/>
                  </a:lnTo>
                  <a:lnTo>
                    <a:pt x="286" y="435"/>
                  </a:lnTo>
                  <a:lnTo>
                    <a:pt x="296" y="435"/>
                  </a:lnTo>
                  <a:lnTo>
                    <a:pt x="302" y="436"/>
                  </a:lnTo>
                  <a:lnTo>
                    <a:pt x="302" y="436"/>
                  </a:lnTo>
                  <a:lnTo>
                    <a:pt x="305" y="439"/>
                  </a:lnTo>
                  <a:lnTo>
                    <a:pt x="306" y="443"/>
                  </a:lnTo>
                  <a:lnTo>
                    <a:pt x="309" y="449"/>
                  </a:lnTo>
                  <a:lnTo>
                    <a:pt x="309" y="454"/>
                  </a:lnTo>
                  <a:lnTo>
                    <a:pt x="309" y="454"/>
                  </a:lnTo>
                  <a:lnTo>
                    <a:pt x="309" y="458"/>
                  </a:lnTo>
                  <a:lnTo>
                    <a:pt x="312" y="461"/>
                  </a:lnTo>
                  <a:lnTo>
                    <a:pt x="316" y="465"/>
                  </a:lnTo>
                  <a:lnTo>
                    <a:pt x="316" y="465"/>
                  </a:lnTo>
                  <a:lnTo>
                    <a:pt x="318" y="470"/>
                  </a:lnTo>
                  <a:lnTo>
                    <a:pt x="319" y="475"/>
                  </a:lnTo>
                  <a:lnTo>
                    <a:pt x="318" y="483"/>
                  </a:lnTo>
                  <a:lnTo>
                    <a:pt x="316" y="487"/>
                  </a:lnTo>
                  <a:lnTo>
                    <a:pt x="316" y="487"/>
                  </a:lnTo>
                  <a:lnTo>
                    <a:pt x="315" y="490"/>
                  </a:lnTo>
                  <a:lnTo>
                    <a:pt x="316" y="493"/>
                  </a:lnTo>
                  <a:lnTo>
                    <a:pt x="323" y="497"/>
                  </a:lnTo>
                  <a:lnTo>
                    <a:pt x="323" y="497"/>
                  </a:lnTo>
                  <a:lnTo>
                    <a:pt x="325" y="499"/>
                  </a:lnTo>
                  <a:lnTo>
                    <a:pt x="326" y="501"/>
                  </a:lnTo>
                  <a:lnTo>
                    <a:pt x="329" y="507"/>
                  </a:lnTo>
                  <a:lnTo>
                    <a:pt x="329" y="516"/>
                  </a:lnTo>
                  <a:lnTo>
                    <a:pt x="329" y="522"/>
                  </a:lnTo>
                  <a:lnTo>
                    <a:pt x="329" y="522"/>
                  </a:lnTo>
                  <a:lnTo>
                    <a:pt x="328" y="523"/>
                  </a:lnTo>
                  <a:lnTo>
                    <a:pt x="325" y="528"/>
                  </a:lnTo>
                  <a:lnTo>
                    <a:pt x="315" y="535"/>
                  </a:lnTo>
                  <a:lnTo>
                    <a:pt x="293" y="551"/>
                  </a:lnTo>
                  <a:lnTo>
                    <a:pt x="293" y="551"/>
                  </a:lnTo>
                  <a:lnTo>
                    <a:pt x="287" y="556"/>
                  </a:lnTo>
                  <a:lnTo>
                    <a:pt x="283" y="562"/>
                  </a:lnTo>
                  <a:lnTo>
                    <a:pt x="280" y="570"/>
                  </a:lnTo>
                  <a:lnTo>
                    <a:pt x="277" y="575"/>
                  </a:lnTo>
                  <a:lnTo>
                    <a:pt x="277" y="575"/>
                  </a:lnTo>
                  <a:lnTo>
                    <a:pt x="276" y="580"/>
                  </a:lnTo>
                  <a:lnTo>
                    <a:pt x="276" y="580"/>
                  </a:lnTo>
                  <a:lnTo>
                    <a:pt x="283" y="581"/>
                  </a:lnTo>
                  <a:lnTo>
                    <a:pt x="289" y="584"/>
                  </a:lnTo>
                  <a:lnTo>
                    <a:pt x="289" y="584"/>
                  </a:lnTo>
                  <a:lnTo>
                    <a:pt x="302" y="593"/>
                  </a:lnTo>
                  <a:lnTo>
                    <a:pt x="318" y="601"/>
                  </a:lnTo>
                  <a:lnTo>
                    <a:pt x="318" y="601"/>
                  </a:lnTo>
                  <a:lnTo>
                    <a:pt x="323" y="606"/>
                  </a:lnTo>
                  <a:lnTo>
                    <a:pt x="328" y="609"/>
                  </a:lnTo>
                  <a:lnTo>
                    <a:pt x="329" y="613"/>
                  </a:lnTo>
                  <a:lnTo>
                    <a:pt x="335" y="619"/>
                  </a:lnTo>
                  <a:lnTo>
                    <a:pt x="335" y="619"/>
                  </a:lnTo>
                  <a:lnTo>
                    <a:pt x="342" y="626"/>
                  </a:lnTo>
                  <a:lnTo>
                    <a:pt x="349" y="632"/>
                  </a:lnTo>
                  <a:lnTo>
                    <a:pt x="349" y="632"/>
                  </a:lnTo>
                  <a:lnTo>
                    <a:pt x="351" y="627"/>
                  </a:lnTo>
                  <a:lnTo>
                    <a:pt x="351" y="627"/>
                  </a:lnTo>
                  <a:lnTo>
                    <a:pt x="351" y="625"/>
                  </a:lnTo>
                  <a:lnTo>
                    <a:pt x="352" y="623"/>
                  </a:lnTo>
                  <a:lnTo>
                    <a:pt x="357" y="619"/>
                  </a:lnTo>
                  <a:lnTo>
                    <a:pt x="357" y="619"/>
                  </a:lnTo>
                  <a:lnTo>
                    <a:pt x="362" y="613"/>
                  </a:lnTo>
                  <a:lnTo>
                    <a:pt x="364" y="610"/>
                  </a:lnTo>
                  <a:lnTo>
                    <a:pt x="365" y="606"/>
                  </a:lnTo>
                  <a:lnTo>
                    <a:pt x="365" y="606"/>
                  </a:lnTo>
                  <a:lnTo>
                    <a:pt x="365" y="594"/>
                  </a:lnTo>
                  <a:lnTo>
                    <a:pt x="367" y="588"/>
                  </a:lnTo>
                  <a:lnTo>
                    <a:pt x="368" y="585"/>
                  </a:lnTo>
                  <a:lnTo>
                    <a:pt x="368" y="585"/>
                  </a:lnTo>
                  <a:lnTo>
                    <a:pt x="371" y="584"/>
                  </a:lnTo>
                  <a:lnTo>
                    <a:pt x="374" y="583"/>
                  </a:lnTo>
                  <a:lnTo>
                    <a:pt x="377" y="583"/>
                  </a:lnTo>
                  <a:lnTo>
                    <a:pt x="377" y="584"/>
                  </a:lnTo>
                  <a:lnTo>
                    <a:pt x="377" y="584"/>
                  </a:lnTo>
                  <a:lnTo>
                    <a:pt x="373" y="593"/>
                  </a:lnTo>
                  <a:lnTo>
                    <a:pt x="371" y="597"/>
                  </a:lnTo>
                  <a:lnTo>
                    <a:pt x="371" y="598"/>
                  </a:lnTo>
                  <a:lnTo>
                    <a:pt x="373" y="598"/>
                  </a:lnTo>
                  <a:lnTo>
                    <a:pt x="373" y="598"/>
                  </a:lnTo>
                  <a:lnTo>
                    <a:pt x="381" y="591"/>
                  </a:lnTo>
                  <a:lnTo>
                    <a:pt x="390" y="583"/>
                  </a:lnTo>
                  <a:lnTo>
                    <a:pt x="390" y="583"/>
                  </a:lnTo>
                  <a:lnTo>
                    <a:pt x="393" y="575"/>
                  </a:lnTo>
                  <a:lnTo>
                    <a:pt x="397" y="567"/>
                  </a:lnTo>
                  <a:lnTo>
                    <a:pt x="400" y="558"/>
                  </a:lnTo>
                  <a:lnTo>
                    <a:pt x="402" y="555"/>
                  </a:lnTo>
                  <a:lnTo>
                    <a:pt x="404" y="554"/>
                  </a:lnTo>
                  <a:lnTo>
                    <a:pt x="404" y="554"/>
                  </a:lnTo>
                  <a:lnTo>
                    <a:pt x="412" y="551"/>
                  </a:lnTo>
                  <a:lnTo>
                    <a:pt x="413" y="549"/>
                  </a:lnTo>
                  <a:lnTo>
                    <a:pt x="416" y="546"/>
                  </a:lnTo>
                  <a:lnTo>
                    <a:pt x="416" y="546"/>
                  </a:lnTo>
                  <a:lnTo>
                    <a:pt x="416" y="543"/>
                  </a:lnTo>
                  <a:lnTo>
                    <a:pt x="416" y="539"/>
                  </a:lnTo>
                  <a:lnTo>
                    <a:pt x="416" y="535"/>
                  </a:lnTo>
                  <a:lnTo>
                    <a:pt x="418" y="532"/>
                  </a:lnTo>
                  <a:lnTo>
                    <a:pt x="418" y="532"/>
                  </a:lnTo>
                  <a:lnTo>
                    <a:pt x="418" y="528"/>
                  </a:lnTo>
                  <a:lnTo>
                    <a:pt x="416" y="525"/>
                  </a:lnTo>
                  <a:lnTo>
                    <a:pt x="415" y="520"/>
                  </a:lnTo>
                  <a:lnTo>
                    <a:pt x="415" y="516"/>
                  </a:lnTo>
                  <a:lnTo>
                    <a:pt x="415" y="516"/>
                  </a:lnTo>
                  <a:lnTo>
                    <a:pt x="415" y="512"/>
                  </a:lnTo>
                  <a:lnTo>
                    <a:pt x="415" y="507"/>
                  </a:lnTo>
                  <a:lnTo>
                    <a:pt x="415" y="501"/>
                  </a:lnTo>
                  <a:lnTo>
                    <a:pt x="418" y="497"/>
                  </a:lnTo>
                  <a:lnTo>
                    <a:pt x="418" y="497"/>
                  </a:lnTo>
                  <a:lnTo>
                    <a:pt x="431" y="483"/>
                  </a:lnTo>
                  <a:lnTo>
                    <a:pt x="438" y="475"/>
                  </a:lnTo>
                  <a:lnTo>
                    <a:pt x="446" y="471"/>
                  </a:lnTo>
                  <a:lnTo>
                    <a:pt x="446" y="471"/>
                  </a:lnTo>
                  <a:lnTo>
                    <a:pt x="451" y="470"/>
                  </a:lnTo>
                  <a:lnTo>
                    <a:pt x="455" y="467"/>
                  </a:lnTo>
                  <a:lnTo>
                    <a:pt x="458" y="465"/>
                  </a:lnTo>
                  <a:lnTo>
                    <a:pt x="461" y="462"/>
                  </a:lnTo>
                  <a:lnTo>
                    <a:pt x="461" y="462"/>
                  </a:lnTo>
                  <a:lnTo>
                    <a:pt x="465" y="461"/>
                  </a:lnTo>
                  <a:lnTo>
                    <a:pt x="470" y="458"/>
                  </a:lnTo>
                  <a:lnTo>
                    <a:pt x="474" y="454"/>
                  </a:lnTo>
                  <a:lnTo>
                    <a:pt x="478" y="451"/>
                  </a:lnTo>
                  <a:lnTo>
                    <a:pt x="478" y="451"/>
                  </a:lnTo>
                  <a:lnTo>
                    <a:pt x="487" y="449"/>
                  </a:lnTo>
                  <a:lnTo>
                    <a:pt x="497" y="449"/>
                  </a:lnTo>
                  <a:lnTo>
                    <a:pt x="509" y="448"/>
                  </a:lnTo>
                  <a:lnTo>
                    <a:pt x="517" y="446"/>
                  </a:lnTo>
                  <a:lnTo>
                    <a:pt x="517" y="446"/>
                  </a:lnTo>
                  <a:lnTo>
                    <a:pt x="525" y="443"/>
                  </a:lnTo>
                  <a:lnTo>
                    <a:pt x="529" y="439"/>
                  </a:lnTo>
                  <a:lnTo>
                    <a:pt x="536" y="432"/>
                  </a:lnTo>
                  <a:lnTo>
                    <a:pt x="536" y="432"/>
                  </a:lnTo>
                  <a:lnTo>
                    <a:pt x="542" y="417"/>
                  </a:lnTo>
                  <a:lnTo>
                    <a:pt x="548" y="407"/>
                  </a:lnTo>
                  <a:lnTo>
                    <a:pt x="552" y="401"/>
                  </a:lnTo>
                  <a:lnTo>
                    <a:pt x="552" y="401"/>
                  </a:lnTo>
                  <a:lnTo>
                    <a:pt x="555" y="396"/>
                  </a:lnTo>
                  <a:lnTo>
                    <a:pt x="558" y="388"/>
                  </a:lnTo>
                  <a:lnTo>
                    <a:pt x="561" y="380"/>
                  </a:lnTo>
                  <a:lnTo>
                    <a:pt x="562" y="373"/>
                  </a:lnTo>
                  <a:lnTo>
                    <a:pt x="562" y="373"/>
                  </a:lnTo>
                  <a:lnTo>
                    <a:pt x="564" y="364"/>
                  </a:lnTo>
                  <a:lnTo>
                    <a:pt x="565" y="355"/>
                  </a:lnTo>
                  <a:lnTo>
                    <a:pt x="568" y="342"/>
                  </a:lnTo>
                  <a:lnTo>
                    <a:pt x="568" y="342"/>
                  </a:lnTo>
                  <a:lnTo>
                    <a:pt x="570" y="339"/>
                  </a:lnTo>
                  <a:lnTo>
                    <a:pt x="571" y="336"/>
                  </a:lnTo>
                  <a:lnTo>
                    <a:pt x="571" y="333"/>
                  </a:lnTo>
                  <a:lnTo>
                    <a:pt x="572" y="326"/>
                  </a:lnTo>
                  <a:lnTo>
                    <a:pt x="572" y="326"/>
                  </a:lnTo>
                  <a:lnTo>
                    <a:pt x="571" y="303"/>
                  </a:lnTo>
                  <a:lnTo>
                    <a:pt x="571" y="293"/>
                  </a:lnTo>
                  <a:lnTo>
                    <a:pt x="572" y="289"/>
                  </a:lnTo>
                  <a:lnTo>
                    <a:pt x="574" y="287"/>
                  </a:lnTo>
                  <a:lnTo>
                    <a:pt x="574" y="287"/>
                  </a:lnTo>
                  <a:lnTo>
                    <a:pt x="581" y="281"/>
                  </a:lnTo>
                  <a:lnTo>
                    <a:pt x="587" y="274"/>
                  </a:lnTo>
                  <a:lnTo>
                    <a:pt x="587" y="274"/>
                  </a:lnTo>
                  <a:lnTo>
                    <a:pt x="599" y="255"/>
                  </a:lnTo>
                  <a:lnTo>
                    <a:pt x="606" y="245"/>
                  </a:lnTo>
                  <a:lnTo>
                    <a:pt x="613" y="236"/>
                  </a:lnTo>
                  <a:lnTo>
                    <a:pt x="613" y="236"/>
                  </a:lnTo>
                  <a:lnTo>
                    <a:pt x="622" y="229"/>
                  </a:lnTo>
                  <a:lnTo>
                    <a:pt x="630" y="219"/>
                  </a:lnTo>
                  <a:lnTo>
                    <a:pt x="636" y="209"/>
                  </a:lnTo>
                  <a:lnTo>
                    <a:pt x="638" y="205"/>
                  </a:lnTo>
                  <a:lnTo>
                    <a:pt x="639" y="200"/>
                  </a:lnTo>
                  <a:lnTo>
                    <a:pt x="639" y="200"/>
                  </a:lnTo>
                  <a:lnTo>
                    <a:pt x="638" y="186"/>
                  </a:lnTo>
                  <a:lnTo>
                    <a:pt x="636" y="178"/>
                  </a:lnTo>
                  <a:lnTo>
                    <a:pt x="635" y="173"/>
                  </a:lnTo>
                  <a:close/>
                  <a:moveTo>
                    <a:pt x="403" y="154"/>
                  </a:moveTo>
                  <a:lnTo>
                    <a:pt x="403" y="154"/>
                  </a:lnTo>
                  <a:lnTo>
                    <a:pt x="402" y="154"/>
                  </a:lnTo>
                  <a:lnTo>
                    <a:pt x="400" y="152"/>
                  </a:lnTo>
                  <a:lnTo>
                    <a:pt x="400" y="148"/>
                  </a:lnTo>
                  <a:lnTo>
                    <a:pt x="402" y="144"/>
                  </a:lnTo>
                  <a:lnTo>
                    <a:pt x="403" y="141"/>
                  </a:lnTo>
                  <a:lnTo>
                    <a:pt x="403" y="141"/>
                  </a:lnTo>
                  <a:lnTo>
                    <a:pt x="404" y="141"/>
                  </a:lnTo>
                  <a:lnTo>
                    <a:pt x="406" y="142"/>
                  </a:lnTo>
                  <a:lnTo>
                    <a:pt x="406" y="147"/>
                  </a:lnTo>
                  <a:lnTo>
                    <a:pt x="406" y="151"/>
                  </a:lnTo>
                  <a:lnTo>
                    <a:pt x="404" y="154"/>
                  </a:lnTo>
                  <a:lnTo>
                    <a:pt x="403" y="154"/>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93" name="Freeform 256"/>
            <p:cNvSpPr>
              <a:spLocks/>
            </p:cNvSpPr>
            <p:nvPr/>
          </p:nvSpPr>
          <p:spPr bwMode="auto">
            <a:xfrm>
              <a:off x="2406651" y="4631166"/>
              <a:ext cx="1014413" cy="1003300"/>
            </a:xfrm>
            <a:custGeom>
              <a:avLst/>
              <a:gdLst>
                <a:gd name="T0" fmla="*/ 620 w 639"/>
                <a:gd name="T1" fmla="*/ 157 h 632"/>
                <a:gd name="T2" fmla="*/ 568 w 639"/>
                <a:gd name="T3" fmla="*/ 136 h 632"/>
                <a:gd name="T4" fmla="*/ 513 w 639"/>
                <a:gd name="T5" fmla="*/ 125 h 632"/>
                <a:gd name="T6" fmla="*/ 481 w 639"/>
                <a:gd name="T7" fmla="*/ 119 h 632"/>
                <a:gd name="T8" fmla="*/ 436 w 639"/>
                <a:gd name="T9" fmla="*/ 92 h 632"/>
                <a:gd name="T10" fmla="*/ 412 w 639"/>
                <a:gd name="T11" fmla="*/ 112 h 632"/>
                <a:gd name="T12" fmla="*/ 418 w 639"/>
                <a:gd name="T13" fmla="*/ 87 h 632"/>
                <a:gd name="T14" fmla="*/ 391 w 639"/>
                <a:gd name="T15" fmla="*/ 78 h 632"/>
                <a:gd name="T16" fmla="*/ 378 w 639"/>
                <a:gd name="T17" fmla="*/ 86 h 632"/>
                <a:gd name="T18" fmla="*/ 394 w 639"/>
                <a:gd name="T19" fmla="*/ 60 h 632"/>
                <a:gd name="T20" fmla="*/ 373 w 639"/>
                <a:gd name="T21" fmla="*/ 21 h 632"/>
                <a:gd name="T22" fmla="*/ 336 w 639"/>
                <a:gd name="T23" fmla="*/ 50 h 632"/>
                <a:gd name="T24" fmla="*/ 300 w 639"/>
                <a:gd name="T25" fmla="*/ 47 h 632"/>
                <a:gd name="T26" fmla="*/ 258 w 639"/>
                <a:gd name="T27" fmla="*/ 63 h 632"/>
                <a:gd name="T28" fmla="*/ 236 w 639"/>
                <a:gd name="T29" fmla="*/ 45 h 632"/>
                <a:gd name="T30" fmla="*/ 225 w 639"/>
                <a:gd name="T31" fmla="*/ 0 h 632"/>
                <a:gd name="T32" fmla="*/ 203 w 639"/>
                <a:gd name="T33" fmla="*/ 19 h 632"/>
                <a:gd name="T34" fmla="*/ 157 w 639"/>
                <a:gd name="T35" fmla="*/ 15 h 632"/>
                <a:gd name="T36" fmla="*/ 167 w 639"/>
                <a:gd name="T37" fmla="*/ 50 h 632"/>
                <a:gd name="T38" fmla="*/ 137 w 639"/>
                <a:gd name="T39" fmla="*/ 70 h 632"/>
                <a:gd name="T40" fmla="*/ 105 w 639"/>
                <a:gd name="T41" fmla="*/ 54 h 632"/>
                <a:gd name="T42" fmla="*/ 87 w 639"/>
                <a:gd name="T43" fmla="*/ 65 h 632"/>
                <a:gd name="T44" fmla="*/ 76 w 639"/>
                <a:gd name="T45" fmla="*/ 84 h 632"/>
                <a:gd name="T46" fmla="*/ 70 w 639"/>
                <a:gd name="T47" fmla="*/ 134 h 632"/>
                <a:gd name="T48" fmla="*/ 53 w 639"/>
                <a:gd name="T49" fmla="*/ 151 h 632"/>
                <a:gd name="T50" fmla="*/ 31 w 639"/>
                <a:gd name="T51" fmla="*/ 154 h 632"/>
                <a:gd name="T52" fmla="*/ 11 w 639"/>
                <a:gd name="T53" fmla="*/ 177 h 632"/>
                <a:gd name="T54" fmla="*/ 11 w 639"/>
                <a:gd name="T55" fmla="*/ 218 h 632"/>
                <a:gd name="T56" fmla="*/ 50 w 639"/>
                <a:gd name="T57" fmla="*/ 225 h 632"/>
                <a:gd name="T58" fmla="*/ 61 w 639"/>
                <a:gd name="T59" fmla="*/ 247 h 632"/>
                <a:gd name="T60" fmla="*/ 109 w 639"/>
                <a:gd name="T61" fmla="*/ 238 h 632"/>
                <a:gd name="T62" fmla="*/ 141 w 639"/>
                <a:gd name="T63" fmla="*/ 231 h 632"/>
                <a:gd name="T64" fmla="*/ 157 w 639"/>
                <a:gd name="T65" fmla="*/ 270 h 632"/>
                <a:gd name="T66" fmla="*/ 199 w 639"/>
                <a:gd name="T67" fmla="*/ 289 h 632"/>
                <a:gd name="T68" fmla="*/ 223 w 639"/>
                <a:gd name="T69" fmla="*/ 299 h 632"/>
                <a:gd name="T70" fmla="*/ 236 w 639"/>
                <a:gd name="T71" fmla="*/ 331 h 632"/>
                <a:gd name="T72" fmla="*/ 258 w 639"/>
                <a:gd name="T73" fmla="*/ 335 h 632"/>
                <a:gd name="T74" fmla="*/ 270 w 639"/>
                <a:gd name="T75" fmla="*/ 358 h 632"/>
                <a:gd name="T76" fmla="*/ 265 w 639"/>
                <a:gd name="T77" fmla="*/ 401 h 632"/>
                <a:gd name="T78" fmla="*/ 296 w 639"/>
                <a:gd name="T79" fmla="*/ 435 h 632"/>
                <a:gd name="T80" fmla="*/ 309 w 639"/>
                <a:gd name="T81" fmla="*/ 458 h 632"/>
                <a:gd name="T82" fmla="*/ 316 w 639"/>
                <a:gd name="T83" fmla="*/ 487 h 632"/>
                <a:gd name="T84" fmla="*/ 329 w 639"/>
                <a:gd name="T85" fmla="*/ 516 h 632"/>
                <a:gd name="T86" fmla="*/ 287 w 639"/>
                <a:gd name="T87" fmla="*/ 556 h 632"/>
                <a:gd name="T88" fmla="*/ 289 w 639"/>
                <a:gd name="T89" fmla="*/ 584 h 632"/>
                <a:gd name="T90" fmla="*/ 335 w 639"/>
                <a:gd name="T91" fmla="*/ 619 h 632"/>
                <a:gd name="T92" fmla="*/ 352 w 639"/>
                <a:gd name="T93" fmla="*/ 623 h 632"/>
                <a:gd name="T94" fmla="*/ 367 w 639"/>
                <a:gd name="T95" fmla="*/ 588 h 632"/>
                <a:gd name="T96" fmla="*/ 373 w 639"/>
                <a:gd name="T97" fmla="*/ 593 h 632"/>
                <a:gd name="T98" fmla="*/ 393 w 639"/>
                <a:gd name="T99" fmla="*/ 575 h 632"/>
                <a:gd name="T100" fmla="*/ 416 w 639"/>
                <a:gd name="T101" fmla="*/ 546 h 632"/>
                <a:gd name="T102" fmla="*/ 416 w 639"/>
                <a:gd name="T103" fmla="*/ 525 h 632"/>
                <a:gd name="T104" fmla="*/ 418 w 639"/>
                <a:gd name="T105" fmla="*/ 497 h 632"/>
                <a:gd name="T106" fmla="*/ 461 w 639"/>
                <a:gd name="T107" fmla="*/ 462 h 632"/>
                <a:gd name="T108" fmla="*/ 497 w 639"/>
                <a:gd name="T109" fmla="*/ 449 h 632"/>
                <a:gd name="T110" fmla="*/ 542 w 639"/>
                <a:gd name="T111" fmla="*/ 417 h 632"/>
                <a:gd name="T112" fmla="*/ 562 w 639"/>
                <a:gd name="T113" fmla="*/ 373 h 632"/>
                <a:gd name="T114" fmla="*/ 572 w 639"/>
                <a:gd name="T115" fmla="*/ 326 h 632"/>
                <a:gd name="T116" fmla="*/ 587 w 639"/>
                <a:gd name="T117" fmla="*/ 274 h 632"/>
                <a:gd name="T118" fmla="*/ 636 w 639"/>
                <a:gd name="T119" fmla="*/ 20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9" h="632">
                  <a:moveTo>
                    <a:pt x="635" y="173"/>
                  </a:moveTo>
                  <a:lnTo>
                    <a:pt x="635" y="173"/>
                  </a:lnTo>
                  <a:lnTo>
                    <a:pt x="633" y="168"/>
                  </a:lnTo>
                  <a:lnTo>
                    <a:pt x="632" y="165"/>
                  </a:lnTo>
                  <a:lnTo>
                    <a:pt x="632" y="162"/>
                  </a:lnTo>
                  <a:lnTo>
                    <a:pt x="629" y="161"/>
                  </a:lnTo>
                  <a:lnTo>
                    <a:pt x="629" y="161"/>
                  </a:lnTo>
                  <a:lnTo>
                    <a:pt x="620" y="157"/>
                  </a:lnTo>
                  <a:lnTo>
                    <a:pt x="613" y="154"/>
                  </a:lnTo>
                  <a:lnTo>
                    <a:pt x="606" y="152"/>
                  </a:lnTo>
                  <a:lnTo>
                    <a:pt x="606" y="152"/>
                  </a:lnTo>
                  <a:lnTo>
                    <a:pt x="591" y="151"/>
                  </a:lnTo>
                  <a:lnTo>
                    <a:pt x="584" y="149"/>
                  </a:lnTo>
                  <a:lnTo>
                    <a:pt x="580" y="147"/>
                  </a:lnTo>
                  <a:lnTo>
                    <a:pt x="580" y="147"/>
                  </a:lnTo>
                  <a:lnTo>
                    <a:pt x="568" y="136"/>
                  </a:lnTo>
                  <a:lnTo>
                    <a:pt x="562" y="131"/>
                  </a:lnTo>
                  <a:lnTo>
                    <a:pt x="558" y="129"/>
                  </a:lnTo>
                  <a:lnTo>
                    <a:pt x="552" y="129"/>
                  </a:lnTo>
                  <a:lnTo>
                    <a:pt x="552" y="129"/>
                  </a:lnTo>
                  <a:lnTo>
                    <a:pt x="533" y="128"/>
                  </a:lnTo>
                  <a:lnTo>
                    <a:pt x="517" y="126"/>
                  </a:lnTo>
                  <a:lnTo>
                    <a:pt x="517" y="126"/>
                  </a:lnTo>
                  <a:lnTo>
                    <a:pt x="513" y="125"/>
                  </a:lnTo>
                  <a:lnTo>
                    <a:pt x="509" y="123"/>
                  </a:lnTo>
                  <a:lnTo>
                    <a:pt x="504" y="120"/>
                  </a:lnTo>
                  <a:lnTo>
                    <a:pt x="499" y="120"/>
                  </a:lnTo>
                  <a:lnTo>
                    <a:pt x="499" y="120"/>
                  </a:lnTo>
                  <a:lnTo>
                    <a:pt x="490" y="120"/>
                  </a:lnTo>
                  <a:lnTo>
                    <a:pt x="490" y="120"/>
                  </a:lnTo>
                  <a:lnTo>
                    <a:pt x="486" y="120"/>
                  </a:lnTo>
                  <a:lnTo>
                    <a:pt x="481" y="119"/>
                  </a:lnTo>
                  <a:lnTo>
                    <a:pt x="481" y="119"/>
                  </a:lnTo>
                  <a:lnTo>
                    <a:pt x="477" y="113"/>
                  </a:lnTo>
                  <a:lnTo>
                    <a:pt x="474" y="110"/>
                  </a:lnTo>
                  <a:lnTo>
                    <a:pt x="471" y="109"/>
                  </a:lnTo>
                  <a:lnTo>
                    <a:pt x="471" y="109"/>
                  </a:lnTo>
                  <a:lnTo>
                    <a:pt x="444" y="96"/>
                  </a:lnTo>
                  <a:lnTo>
                    <a:pt x="444" y="96"/>
                  </a:lnTo>
                  <a:lnTo>
                    <a:pt x="436" y="92"/>
                  </a:lnTo>
                  <a:lnTo>
                    <a:pt x="432" y="90"/>
                  </a:lnTo>
                  <a:lnTo>
                    <a:pt x="428" y="92"/>
                  </a:lnTo>
                  <a:lnTo>
                    <a:pt x="428" y="92"/>
                  </a:lnTo>
                  <a:lnTo>
                    <a:pt x="423" y="96"/>
                  </a:lnTo>
                  <a:lnTo>
                    <a:pt x="419" y="103"/>
                  </a:lnTo>
                  <a:lnTo>
                    <a:pt x="416" y="109"/>
                  </a:lnTo>
                  <a:lnTo>
                    <a:pt x="413" y="112"/>
                  </a:lnTo>
                  <a:lnTo>
                    <a:pt x="412" y="112"/>
                  </a:lnTo>
                  <a:lnTo>
                    <a:pt x="412" y="112"/>
                  </a:lnTo>
                  <a:lnTo>
                    <a:pt x="412" y="112"/>
                  </a:lnTo>
                  <a:lnTo>
                    <a:pt x="412" y="110"/>
                  </a:lnTo>
                  <a:lnTo>
                    <a:pt x="415" y="105"/>
                  </a:lnTo>
                  <a:lnTo>
                    <a:pt x="420" y="94"/>
                  </a:lnTo>
                  <a:lnTo>
                    <a:pt x="420" y="94"/>
                  </a:lnTo>
                  <a:lnTo>
                    <a:pt x="419" y="90"/>
                  </a:lnTo>
                  <a:lnTo>
                    <a:pt x="418" y="87"/>
                  </a:lnTo>
                  <a:lnTo>
                    <a:pt x="413" y="86"/>
                  </a:lnTo>
                  <a:lnTo>
                    <a:pt x="413" y="86"/>
                  </a:lnTo>
                  <a:lnTo>
                    <a:pt x="403" y="87"/>
                  </a:lnTo>
                  <a:lnTo>
                    <a:pt x="400" y="87"/>
                  </a:lnTo>
                  <a:lnTo>
                    <a:pt x="397" y="86"/>
                  </a:lnTo>
                  <a:lnTo>
                    <a:pt x="397" y="86"/>
                  </a:lnTo>
                  <a:lnTo>
                    <a:pt x="393" y="80"/>
                  </a:lnTo>
                  <a:lnTo>
                    <a:pt x="391" y="78"/>
                  </a:lnTo>
                  <a:lnTo>
                    <a:pt x="389" y="80"/>
                  </a:lnTo>
                  <a:lnTo>
                    <a:pt x="389" y="80"/>
                  </a:lnTo>
                  <a:lnTo>
                    <a:pt x="383" y="86"/>
                  </a:lnTo>
                  <a:lnTo>
                    <a:pt x="381" y="87"/>
                  </a:lnTo>
                  <a:lnTo>
                    <a:pt x="380" y="87"/>
                  </a:lnTo>
                  <a:lnTo>
                    <a:pt x="378" y="87"/>
                  </a:lnTo>
                  <a:lnTo>
                    <a:pt x="378" y="87"/>
                  </a:lnTo>
                  <a:lnTo>
                    <a:pt x="378" y="86"/>
                  </a:lnTo>
                  <a:lnTo>
                    <a:pt x="380" y="84"/>
                  </a:lnTo>
                  <a:lnTo>
                    <a:pt x="383" y="81"/>
                  </a:lnTo>
                  <a:lnTo>
                    <a:pt x="390" y="76"/>
                  </a:lnTo>
                  <a:lnTo>
                    <a:pt x="390" y="76"/>
                  </a:lnTo>
                  <a:lnTo>
                    <a:pt x="391" y="73"/>
                  </a:lnTo>
                  <a:lnTo>
                    <a:pt x="393" y="68"/>
                  </a:lnTo>
                  <a:lnTo>
                    <a:pt x="394" y="64"/>
                  </a:lnTo>
                  <a:lnTo>
                    <a:pt x="394" y="60"/>
                  </a:lnTo>
                  <a:lnTo>
                    <a:pt x="394" y="60"/>
                  </a:lnTo>
                  <a:lnTo>
                    <a:pt x="391" y="55"/>
                  </a:lnTo>
                  <a:lnTo>
                    <a:pt x="387" y="50"/>
                  </a:lnTo>
                  <a:lnTo>
                    <a:pt x="387" y="50"/>
                  </a:lnTo>
                  <a:lnTo>
                    <a:pt x="384" y="44"/>
                  </a:lnTo>
                  <a:lnTo>
                    <a:pt x="380" y="35"/>
                  </a:lnTo>
                  <a:lnTo>
                    <a:pt x="373" y="21"/>
                  </a:lnTo>
                  <a:lnTo>
                    <a:pt x="373" y="21"/>
                  </a:lnTo>
                  <a:lnTo>
                    <a:pt x="370" y="16"/>
                  </a:lnTo>
                  <a:lnTo>
                    <a:pt x="370" y="16"/>
                  </a:lnTo>
                  <a:lnTo>
                    <a:pt x="362" y="29"/>
                  </a:lnTo>
                  <a:lnTo>
                    <a:pt x="355" y="38"/>
                  </a:lnTo>
                  <a:lnTo>
                    <a:pt x="355" y="38"/>
                  </a:lnTo>
                  <a:lnTo>
                    <a:pt x="349" y="44"/>
                  </a:lnTo>
                  <a:lnTo>
                    <a:pt x="342" y="48"/>
                  </a:lnTo>
                  <a:lnTo>
                    <a:pt x="336" y="50"/>
                  </a:lnTo>
                  <a:lnTo>
                    <a:pt x="332" y="51"/>
                  </a:lnTo>
                  <a:lnTo>
                    <a:pt x="332" y="51"/>
                  </a:lnTo>
                  <a:lnTo>
                    <a:pt x="328" y="51"/>
                  </a:lnTo>
                  <a:lnTo>
                    <a:pt x="320" y="50"/>
                  </a:lnTo>
                  <a:lnTo>
                    <a:pt x="320" y="50"/>
                  </a:lnTo>
                  <a:lnTo>
                    <a:pt x="310" y="47"/>
                  </a:lnTo>
                  <a:lnTo>
                    <a:pt x="305" y="47"/>
                  </a:lnTo>
                  <a:lnTo>
                    <a:pt x="300" y="47"/>
                  </a:lnTo>
                  <a:lnTo>
                    <a:pt x="300" y="47"/>
                  </a:lnTo>
                  <a:lnTo>
                    <a:pt x="292" y="50"/>
                  </a:lnTo>
                  <a:lnTo>
                    <a:pt x="281" y="52"/>
                  </a:lnTo>
                  <a:lnTo>
                    <a:pt x="273" y="57"/>
                  </a:lnTo>
                  <a:lnTo>
                    <a:pt x="265" y="58"/>
                  </a:lnTo>
                  <a:lnTo>
                    <a:pt x="265" y="58"/>
                  </a:lnTo>
                  <a:lnTo>
                    <a:pt x="261" y="60"/>
                  </a:lnTo>
                  <a:lnTo>
                    <a:pt x="258" y="63"/>
                  </a:lnTo>
                  <a:lnTo>
                    <a:pt x="255" y="65"/>
                  </a:lnTo>
                  <a:lnTo>
                    <a:pt x="251" y="67"/>
                  </a:lnTo>
                  <a:lnTo>
                    <a:pt x="251" y="67"/>
                  </a:lnTo>
                  <a:lnTo>
                    <a:pt x="248" y="67"/>
                  </a:lnTo>
                  <a:lnTo>
                    <a:pt x="245" y="64"/>
                  </a:lnTo>
                  <a:lnTo>
                    <a:pt x="241" y="60"/>
                  </a:lnTo>
                  <a:lnTo>
                    <a:pt x="238" y="52"/>
                  </a:lnTo>
                  <a:lnTo>
                    <a:pt x="236" y="45"/>
                  </a:lnTo>
                  <a:lnTo>
                    <a:pt x="236" y="45"/>
                  </a:lnTo>
                  <a:lnTo>
                    <a:pt x="236" y="32"/>
                  </a:lnTo>
                  <a:lnTo>
                    <a:pt x="236" y="21"/>
                  </a:lnTo>
                  <a:lnTo>
                    <a:pt x="236" y="21"/>
                  </a:lnTo>
                  <a:lnTo>
                    <a:pt x="236" y="15"/>
                  </a:lnTo>
                  <a:lnTo>
                    <a:pt x="234" y="8"/>
                  </a:lnTo>
                  <a:lnTo>
                    <a:pt x="229" y="3"/>
                  </a:lnTo>
                  <a:lnTo>
                    <a:pt x="225" y="0"/>
                  </a:lnTo>
                  <a:lnTo>
                    <a:pt x="225" y="0"/>
                  </a:lnTo>
                  <a:lnTo>
                    <a:pt x="223" y="0"/>
                  </a:lnTo>
                  <a:lnTo>
                    <a:pt x="222" y="2"/>
                  </a:lnTo>
                  <a:lnTo>
                    <a:pt x="219" y="6"/>
                  </a:lnTo>
                  <a:lnTo>
                    <a:pt x="216" y="12"/>
                  </a:lnTo>
                  <a:lnTo>
                    <a:pt x="212" y="16"/>
                  </a:lnTo>
                  <a:lnTo>
                    <a:pt x="212" y="16"/>
                  </a:lnTo>
                  <a:lnTo>
                    <a:pt x="203" y="19"/>
                  </a:lnTo>
                  <a:lnTo>
                    <a:pt x="190" y="21"/>
                  </a:lnTo>
                  <a:lnTo>
                    <a:pt x="170" y="21"/>
                  </a:lnTo>
                  <a:lnTo>
                    <a:pt x="170" y="21"/>
                  </a:lnTo>
                  <a:lnTo>
                    <a:pt x="167" y="21"/>
                  </a:lnTo>
                  <a:lnTo>
                    <a:pt x="166" y="19"/>
                  </a:lnTo>
                  <a:lnTo>
                    <a:pt x="163" y="16"/>
                  </a:lnTo>
                  <a:lnTo>
                    <a:pt x="158" y="15"/>
                  </a:lnTo>
                  <a:lnTo>
                    <a:pt x="157" y="15"/>
                  </a:lnTo>
                  <a:lnTo>
                    <a:pt x="154" y="16"/>
                  </a:lnTo>
                  <a:lnTo>
                    <a:pt x="154" y="16"/>
                  </a:lnTo>
                  <a:lnTo>
                    <a:pt x="152" y="18"/>
                  </a:lnTo>
                  <a:lnTo>
                    <a:pt x="152" y="22"/>
                  </a:lnTo>
                  <a:lnTo>
                    <a:pt x="157" y="29"/>
                  </a:lnTo>
                  <a:lnTo>
                    <a:pt x="166" y="47"/>
                  </a:lnTo>
                  <a:lnTo>
                    <a:pt x="166" y="47"/>
                  </a:lnTo>
                  <a:lnTo>
                    <a:pt x="167" y="50"/>
                  </a:lnTo>
                  <a:lnTo>
                    <a:pt x="167" y="51"/>
                  </a:lnTo>
                  <a:lnTo>
                    <a:pt x="164" y="55"/>
                  </a:lnTo>
                  <a:lnTo>
                    <a:pt x="160" y="60"/>
                  </a:lnTo>
                  <a:lnTo>
                    <a:pt x="155" y="63"/>
                  </a:lnTo>
                  <a:lnTo>
                    <a:pt x="155" y="63"/>
                  </a:lnTo>
                  <a:lnTo>
                    <a:pt x="145" y="68"/>
                  </a:lnTo>
                  <a:lnTo>
                    <a:pt x="137" y="70"/>
                  </a:lnTo>
                  <a:lnTo>
                    <a:pt x="137" y="70"/>
                  </a:lnTo>
                  <a:lnTo>
                    <a:pt x="131" y="68"/>
                  </a:lnTo>
                  <a:lnTo>
                    <a:pt x="125" y="64"/>
                  </a:lnTo>
                  <a:lnTo>
                    <a:pt x="121" y="60"/>
                  </a:lnTo>
                  <a:lnTo>
                    <a:pt x="118" y="55"/>
                  </a:lnTo>
                  <a:lnTo>
                    <a:pt x="118" y="55"/>
                  </a:lnTo>
                  <a:lnTo>
                    <a:pt x="116" y="52"/>
                  </a:lnTo>
                  <a:lnTo>
                    <a:pt x="113" y="52"/>
                  </a:lnTo>
                  <a:lnTo>
                    <a:pt x="105" y="54"/>
                  </a:lnTo>
                  <a:lnTo>
                    <a:pt x="105" y="54"/>
                  </a:lnTo>
                  <a:lnTo>
                    <a:pt x="102" y="54"/>
                  </a:lnTo>
                  <a:lnTo>
                    <a:pt x="102" y="57"/>
                  </a:lnTo>
                  <a:lnTo>
                    <a:pt x="103" y="63"/>
                  </a:lnTo>
                  <a:lnTo>
                    <a:pt x="103" y="63"/>
                  </a:lnTo>
                  <a:lnTo>
                    <a:pt x="102" y="65"/>
                  </a:lnTo>
                  <a:lnTo>
                    <a:pt x="97" y="65"/>
                  </a:lnTo>
                  <a:lnTo>
                    <a:pt x="87" y="65"/>
                  </a:lnTo>
                  <a:lnTo>
                    <a:pt x="87" y="65"/>
                  </a:lnTo>
                  <a:lnTo>
                    <a:pt x="83" y="65"/>
                  </a:lnTo>
                  <a:lnTo>
                    <a:pt x="80" y="68"/>
                  </a:lnTo>
                  <a:lnTo>
                    <a:pt x="73" y="77"/>
                  </a:lnTo>
                  <a:lnTo>
                    <a:pt x="73" y="77"/>
                  </a:lnTo>
                  <a:lnTo>
                    <a:pt x="73" y="78"/>
                  </a:lnTo>
                  <a:lnTo>
                    <a:pt x="73" y="80"/>
                  </a:lnTo>
                  <a:lnTo>
                    <a:pt x="76" y="84"/>
                  </a:lnTo>
                  <a:lnTo>
                    <a:pt x="80" y="90"/>
                  </a:lnTo>
                  <a:lnTo>
                    <a:pt x="83" y="94"/>
                  </a:lnTo>
                  <a:lnTo>
                    <a:pt x="83" y="94"/>
                  </a:lnTo>
                  <a:lnTo>
                    <a:pt x="83" y="102"/>
                  </a:lnTo>
                  <a:lnTo>
                    <a:pt x="80" y="109"/>
                  </a:lnTo>
                  <a:lnTo>
                    <a:pt x="74" y="125"/>
                  </a:lnTo>
                  <a:lnTo>
                    <a:pt x="74" y="125"/>
                  </a:lnTo>
                  <a:lnTo>
                    <a:pt x="70" y="134"/>
                  </a:lnTo>
                  <a:lnTo>
                    <a:pt x="68" y="142"/>
                  </a:lnTo>
                  <a:lnTo>
                    <a:pt x="67" y="152"/>
                  </a:lnTo>
                  <a:lnTo>
                    <a:pt x="64" y="151"/>
                  </a:lnTo>
                  <a:lnTo>
                    <a:pt x="64" y="151"/>
                  </a:lnTo>
                  <a:lnTo>
                    <a:pt x="61" y="151"/>
                  </a:lnTo>
                  <a:lnTo>
                    <a:pt x="57" y="151"/>
                  </a:lnTo>
                  <a:lnTo>
                    <a:pt x="57" y="151"/>
                  </a:lnTo>
                  <a:lnTo>
                    <a:pt x="53" y="151"/>
                  </a:lnTo>
                  <a:lnTo>
                    <a:pt x="48" y="152"/>
                  </a:lnTo>
                  <a:lnTo>
                    <a:pt x="48" y="152"/>
                  </a:lnTo>
                  <a:lnTo>
                    <a:pt x="44" y="154"/>
                  </a:lnTo>
                  <a:lnTo>
                    <a:pt x="40" y="154"/>
                  </a:lnTo>
                  <a:lnTo>
                    <a:pt x="40" y="154"/>
                  </a:lnTo>
                  <a:lnTo>
                    <a:pt x="35" y="154"/>
                  </a:lnTo>
                  <a:lnTo>
                    <a:pt x="31" y="154"/>
                  </a:lnTo>
                  <a:lnTo>
                    <a:pt x="31" y="154"/>
                  </a:lnTo>
                  <a:lnTo>
                    <a:pt x="26" y="157"/>
                  </a:lnTo>
                  <a:lnTo>
                    <a:pt x="22" y="161"/>
                  </a:lnTo>
                  <a:lnTo>
                    <a:pt x="21" y="165"/>
                  </a:lnTo>
                  <a:lnTo>
                    <a:pt x="19" y="170"/>
                  </a:lnTo>
                  <a:lnTo>
                    <a:pt x="19" y="170"/>
                  </a:lnTo>
                  <a:lnTo>
                    <a:pt x="19" y="171"/>
                  </a:lnTo>
                  <a:lnTo>
                    <a:pt x="16" y="173"/>
                  </a:lnTo>
                  <a:lnTo>
                    <a:pt x="11" y="177"/>
                  </a:lnTo>
                  <a:lnTo>
                    <a:pt x="3" y="181"/>
                  </a:lnTo>
                  <a:lnTo>
                    <a:pt x="0" y="184"/>
                  </a:lnTo>
                  <a:lnTo>
                    <a:pt x="0" y="184"/>
                  </a:lnTo>
                  <a:lnTo>
                    <a:pt x="0" y="189"/>
                  </a:lnTo>
                  <a:lnTo>
                    <a:pt x="3" y="197"/>
                  </a:lnTo>
                  <a:lnTo>
                    <a:pt x="8" y="215"/>
                  </a:lnTo>
                  <a:lnTo>
                    <a:pt x="8" y="215"/>
                  </a:lnTo>
                  <a:lnTo>
                    <a:pt x="11" y="218"/>
                  </a:lnTo>
                  <a:lnTo>
                    <a:pt x="13" y="220"/>
                  </a:lnTo>
                  <a:lnTo>
                    <a:pt x="22" y="225"/>
                  </a:lnTo>
                  <a:lnTo>
                    <a:pt x="31" y="228"/>
                  </a:lnTo>
                  <a:lnTo>
                    <a:pt x="38" y="229"/>
                  </a:lnTo>
                  <a:lnTo>
                    <a:pt x="38" y="229"/>
                  </a:lnTo>
                  <a:lnTo>
                    <a:pt x="44" y="228"/>
                  </a:lnTo>
                  <a:lnTo>
                    <a:pt x="50" y="225"/>
                  </a:lnTo>
                  <a:lnTo>
                    <a:pt x="50" y="225"/>
                  </a:lnTo>
                  <a:lnTo>
                    <a:pt x="55" y="222"/>
                  </a:lnTo>
                  <a:lnTo>
                    <a:pt x="58" y="222"/>
                  </a:lnTo>
                  <a:lnTo>
                    <a:pt x="58" y="222"/>
                  </a:lnTo>
                  <a:lnTo>
                    <a:pt x="60" y="225"/>
                  </a:lnTo>
                  <a:lnTo>
                    <a:pt x="60" y="232"/>
                  </a:lnTo>
                  <a:lnTo>
                    <a:pt x="60" y="241"/>
                  </a:lnTo>
                  <a:lnTo>
                    <a:pt x="61" y="247"/>
                  </a:lnTo>
                  <a:lnTo>
                    <a:pt x="61" y="247"/>
                  </a:lnTo>
                  <a:lnTo>
                    <a:pt x="63" y="248"/>
                  </a:lnTo>
                  <a:lnTo>
                    <a:pt x="66" y="248"/>
                  </a:lnTo>
                  <a:lnTo>
                    <a:pt x="73" y="248"/>
                  </a:lnTo>
                  <a:lnTo>
                    <a:pt x="90" y="247"/>
                  </a:lnTo>
                  <a:lnTo>
                    <a:pt x="90" y="247"/>
                  </a:lnTo>
                  <a:lnTo>
                    <a:pt x="97" y="245"/>
                  </a:lnTo>
                  <a:lnTo>
                    <a:pt x="103" y="242"/>
                  </a:lnTo>
                  <a:lnTo>
                    <a:pt x="109" y="238"/>
                  </a:lnTo>
                  <a:lnTo>
                    <a:pt x="115" y="235"/>
                  </a:lnTo>
                  <a:lnTo>
                    <a:pt x="115" y="235"/>
                  </a:lnTo>
                  <a:lnTo>
                    <a:pt x="126" y="231"/>
                  </a:lnTo>
                  <a:lnTo>
                    <a:pt x="132" y="228"/>
                  </a:lnTo>
                  <a:lnTo>
                    <a:pt x="138" y="226"/>
                  </a:lnTo>
                  <a:lnTo>
                    <a:pt x="138" y="226"/>
                  </a:lnTo>
                  <a:lnTo>
                    <a:pt x="139" y="228"/>
                  </a:lnTo>
                  <a:lnTo>
                    <a:pt x="141" y="231"/>
                  </a:lnTo>
                  <a:lnTo>
                    <a:pt x="142" y="239"/>
                  </a:lnTo>
                  <a:lnTo>
                    <a:pt x="141" y="248"/>
                  </a:lnTo>
                  <a:lnTo>
                    <a:pt x="141" y="254"/>
                  </a:lnTo>
                  <a:lnTo>
                    <a:pt x="141" y="254"/>
                  </a:lnTo>
                  <a:lnTo>
                    <a:pt x="144" y="258"/>
                  </a:lnTo>
                  <a:lnTo>
                    <a:pt x="147" y="261"/>
                  </a:lnTo>
                  <a:lnTo>
                    <a:pt x="157" y="270"/>
                  </a:lnTo>
                  <a:lnTo>
                    <a:pt x="157" y="270"/>
                  </a:lnTo>
                  <a:lnTo>
                    <a:pt x="161" y="273"/>
                  </a:lnTo>
                  <a:lnTo>
                    <a:pt x="168" y="274"/>
                  </a:lnTo>
                  <a:lnTo>
                    <a:pt x="181" y="277"/>
                  </a:lnTo>
                  <a:lnTo>
                    <a:pt x="181" y="277"/>
                  </a:lnTo>
                  <a:lnTo>
                    <a:pt x="186" y="280"/>
                  </a:lnTo>
                  <a:lnTo>
                    <a:pt x="192" y="283"/>
                  </a:lnTo>
                  <a:lnTo>
                    <a:pt x="199" y="289"/>
                  </a:lnTo>
                  <a:lnTo>
                    <a:pt x="199" y="289"/>
                  </a:lnTo>
                  <a:lnTo>
                    <a:pt x="200" y="290"/>
                  </a:lnTo>
                  <a:lnTo>
                    <a:pt x="203" y="291"/>
                  </a:lnTo>
                  <a:lnTo>
                    <a:pt x="210" y="291"/>
                  </a:lnTo>
                  <a:lnTo>
                    <a:pt x="218" y="293"/>
                  </a:lnTo>
                  <a:lnTo>
                    <a:pt x="221" y="294"/>
                  </a:lnTo>
                  <a:lnTo>
                    <a:pt x="222" y="296"/>
                  </a:lnTo>
                  <a:lnTo>
                    <a:pt x="222" y="296"/>
                  </a:lnTo>
                  <a:lnTo>
                    <a:pt x="223" y="299"/>
                  </a:lnTo>
                  <a:lnTo>
                    <a:pt x="223" y="302"/>
                  </a:lnTo>
                  <a:lnTo>
                    <a:pt x="223" y="306"/>
                  </a:lnTo>
                  <a:lnTo>
                    <a:pt x="225" y="309"/>
                  </a:lnTo>
                  <a:lnTo>
                    <a:pt x="225" y="309"/>
                  </a:lnTo>
                  <a:lnTo>
                    <a:pt x="231" y="320"/>
                  </a:lnTo>
                  <a:lnTo>
                    <a:pt x="234" y="326"/>
                  </a:lnTo>
                  <a:lnTo>
                    <a:pt x="236" y="331"/>
                  </a:lnTo>
                  <a:lnTo>
                    <a:pt x="236" y="331"/>
                  </a:lnTo>
                  <a:lnTo>
                    <a:pt x="239" y="332"/>
                  </a:lnTo>
                  <a:lnTo>
                    <a:pt x="242" y="333"/>
                  </a:lnTo>
                  <a:lnTo>
                    <a:pt x="250" y="333"/>
                  </a:lnTo>
                  <a:lnTo>
                    <a:pt x="250" y="333"/>
                  </a:lnTo>
                  <a:lnTo>
                    <a:pt x="255" y="332"/>
                  </a:lnTo>
                  <a:lnTo>
                    <a:pt x="255" y="332"/>
                  </a:lnTo>
                  <a:lnTo>
                    <a:pt x="257" y="333"/>
                  </a:lnTo>
                  <a:lnTo>
                    <a:pt x="258" y="335"/>
                  </a:lnTo>
                  <a:lnTo>
                    <a:pt x="258" y="338"/>
                  </a:lnTo>
                  <a:lnTo>
                    <a:pt x="258" y="348"/>
                  </a:lnTo>
                  <a:lnTo>
                    <a:pt x="258" y="348"/>
                  </a:lnTo>
                  <a:lnTo>
                    <a:pt x="260" y="351"/>
                  </a:lnTo>
                  <a:lnTo>
                    <a:pt x="263" y="354"/>
                  </a:lnTo>
                  <a:lnTo>
                    <a:pt x="267" y="355"/>
                  </a:lnTo>
                  <a:lnTo>
                    <a:pt x="270" y="358"/>
                  </a:lnTo>
                  <a:lnTo>
                    <a:pt x="270" y="358"/>
                  </a:lnTo>
                  <a:lnTo>
                    <a:pt x="271" y="362"/>
                  </a:lnTo>
                  <a:lnTo>
                    <a:pt x="271" y="370"/>
                  </a:lnTo>
                  <a:lnTo>
                    <a:pt x="270" y="378"/>
                  </a:lnTo>
                  <a:lnTo>
                    <a:pt x="267" y="384"/>
                  </a:lnTo>
                  <a:lnTo>
                    <a:pt x="267" y="384"/>
                  </a:lnTo>
                  <a:lnTo>
                    <a:pt x="264" y="388"/>
                  </a:lnTo>
                  <a:lnTo>
                    <a:pt x="264" y="393"/>
                  </a:lnTo>
                  <a:lnTo>
                    <a:pt x="265" y="401"/>
                  </a:lnTo>
                  <a:lnTo>
                    <a:pt x="265" y="401"/>
                  </a:lnTo>
                  <a:lnTo>
                    <a:pt x="268" y="415"/>
                  </a:lnTo>
                  <a:lnTo>
                    <a:pt x="270" y="428"/>
                  </a:lnTo>
                  <a:lnTo>
                    <a:pt x="270" y="428"/>
                  </a:lnTo>
                  <a:lnTo>
                    <a:pt x="271" y="430"/>
                  </a:lnTo>
                  <a:lnTo>
                    <a:pt x="274" y="432"/>
                  </a:lnTo>
                  <a:lnTo>
                    <a:pt x="286" y="435"/>
                  </a:lnTo>
                  <a:lnTo>
                    <a:pt x="296" y="435"/>
                  </a:lnTo>
                  <a:lnTo>
                    <a:pt x="302" y="436"/>
                  </a:lnTo>
                  <a:lnTo>
                    <a:pt x="302" y="436"/>
                  </a:lnTo>
                  <a:lnTo>
                    <a:pt x="305" y="439"/>
                  </a:lnTo>
                  <a:lnTo>
                    <a:pt x="306" y="443"/>
                  </a:lnTo>
                  <a:lnTo>
                    <a:pt x="309" y="449"/>
                  </a:lnTo>
                  <a:lnTo>
                    <a:pt x="309" y="454"/>
                  </a:lnTo>
                  <a:lnTo>
                    <a:pt x="309" y="454"/>
                  </a:lnTo>
                  <a:lnTo>
                    <a:pt x="309" y="458"/>
                  </a:lnTo>
                  <a:lnTo>
                    <a:pt x="312" y="461"/>
                  </a:lnTo>
                  <a:lnTo>
                    <a:pt x="316" y="465"/>
                  </a:lnTo>
                  <a:lnTo>
                    <a:pt x="316" y="465"/>
                  </a:lnTo>
                  <a:lnTo>
                    <a:pt x="318" y="470"/>
                  </a:lnTo>
                  <a:lnTo>
                    <a:pt x="319" y="475"/>
                  </a:lnTo>
                  <a:lnTo>
                    <a:pt x="318" y="483"/>
                  </a:lnTo>
                  <a:lnTo>
                    <a:pt x="316" y="487"/>
                  </a:lnTo>
                  <a:lnTo>
                    <a:pt x="316" y="487"/>
                  </a:lnTo>
                  <a:lnTo>
                    <a:pt x="315" y="490"/>
                  </a:lnTo>
                  <a:lnTo>
                    <a:pt x="316" y="493"/>
                  </a:lnTo>
                  <a:lnTo>
                    <a:pt x="323" y="497"/>
                  </a:lnTo>
                  <a:lnTo>
                    <a:pt x="323" y="497"/>
                  </a:lnTo>
                  <a:lnTo>
                    <a:pt x="325" y="499"/>
                  </a:lnTo>
                  <a:lnTo>
                    <a:pt x="326" y="501"/>
                  </a:lnTo>
                  <a:lnTo>
                    <a:pt x="329" y="507"/>
                  </a:lnTo>
                  <a:lnTo>
                    <a:pt x="329" y="516"/>
                  </a:lnTo>
                  <a:lnTo>
                    <a:pt x="329" y="522"/>
                  </a:lnTo>
                  <a:lnTo>
                    <a:pt x="329" y="522"/>
                  </a:lnTo>
                  <a:lnTo>
                    <a:pt x="328" y="523"/>
                  </a:lnTo>
                  <a:lnTo>
                    <a:pt x="325" y="528"/>
                  </a:lnTo>
                  <a:lnTo>
                    <a:pt x="315" y="535"/>
                  </a:lnTo>
                  <a:lnTo>
                    <a:pt x="293" y="551"/>
                  </a:lnTo>
                  <a:lnTo>
                    <a:pt x="293" y="551"/>
                  </a:lnTo>
                  <a:lnTo>
                    <a:pt x="287" y="556"/>
                  </a:lnTo>
                  <a:lnTo>
                    <a:pt x="283" y="562"/>
                  </a:lnTo>
                  <a:lnTo>
                    <a:pt x="280" y="570"/>
                  </a:lnTo>
                  <a:lnTo>
                    <a:pt x="277" y="575"/>
                  </a:lnTo>
                  <a:lnTo>
                    <a:pt x="277" y="575"/>
                  </a:lnTo>
                  <a:lnTo>
                    <a:pt x="276" y="580"/>
                  </a:lnTo>
                  <a:lnTo>
                    <a:pt x="276" y="580"/>
                  </a:lnTo>
                  <a:lnTo>
                    <a:pt x="283" y="581"/>
                  </a:lnTo>
                  <a:lnTo>
                    <a:pt x="289" y="584"/>
                  </a:lnTo>
                  <a:lnTo>
                    <a:pt x="289" y="584"/>
                  </a:lnTo>
                  <a:lnTo>
                    <a:pt x="302" y="593"/>
                  </a:lnTo>
                  <a:lnTo>
                    <a:pt x="318" y="601"/>
                  </a:lnTo>
                  <a:lnTo>
                    <a:pt x="318" y="601"/>
                  </a:lnTo>
                  <a:lnTo>
                    <a:pt x="323" y="606"/>
                  </a:lnTo>
                  <a:lnTo>
                    <a:pt x="328" y="609"/>
                  </a:lnTo>
                  <a:lnTo>
                    <a:pt x="329" y="613"/>
                  </a:lnTo>
                  <a:lnTo>
                    <a:pt x="335" y="619"/>
                  </a:lnTo>
                  <a:lnTo>
                    <a:pt x="335" y="619"/>
                  </a:lnTo>
                  <a:lnTo>
                    <a:pt x="342" y="626"/>
                  </a:lnTo>
                  <a:lnTo>
                    <a:pt x="349" y="632"/>
                  </a:lnTo>
                  <a:lnTo>
                    <a:pt x="349" y="632"/>
                  </a:lnTo>
                  <a:lnTo>
                    <a:pt x="351" y="627"/>
                  </a:lnTo>
                  <a:lnTo>
                    <a:pt x="351" y="627"/>
                  </a:lnTo>
                  <a:lnTo>
                    <a:pt x="351" y="625"/>
                  </a:lnTo>
                  <a:lnTo>
                    <a:pt x="352" y="623"/>
                  </a:lnTo>
                  <a:lnTo>
                    <a:pt x="357" y="619"/>
                  </a:lnTo>
                  <a:lnTo>
                    <a:pt x="357" y="619"/>
                  </a:lnTo>
                  <a:lnTo>
                    <a:pt x="362" y="613"/>
                  </a:lnTo>
                  <a:lnTo>
                    <a:pt x="364" y="610"/>
                  </a:lnTo>
                  <a:lnTo>
                    <a:pt x="365" y="606"/>
                  </a:lnTo>
                  <a:lnTo>
                    <a:pt x="365" y="606"/>
                  </a:lnTo>
                  <a:lnTo>
                    <a:pt x="365" y="594"/>
                  </a:lnTo>
                  <a:lnTo>
                    <a:pt x="367" y="588"/>
                  </a:lnTo>
                  <a:lnTo>
                    <a:pt x="368" y="585"/>
                  </a:lnTo>
                  <a:lnTo>
                    <a:pt x="368" y="585"/>
                  </a:lnTo>
                  <a:lnTo>
                    <a:pt x="371" y="584"/>
                  </a:lnTo>
                  <a:lnTo>
                    <a:pt x="374" y="583"/>
                  </a:lnTo>
                  <a:lnTo>
                    <a:pt x="377" y="583"/>
                  </a:lnTo>
                  <a:lnTo>
                    <a:pt x="377" y="584"/>
                  </a:lnTo>
                  <a:lnTo>
                    <a:pt x="377" y="584"/>
                  </a:lnTo>
                  <a:lnTo>
                    <a:pt x="373" y="593"/>
                  </a:lnTo>
                  <a:lnTo>
                    <a:pt x="371" y="597"/>
                  </a:lnTo>
                  <a:lnTo>
                    <a:pt x="371" y="598"/>
                  </a:lnTo>
                  <a:lnTo>
                    <a:pt x="373" y="598"/>
                  </a:lnTo>
                  <a:lnTo>
                    <a:pt x="373" y="598"/>
                  </a:lnTo>
                  <a:lnTo>
                    <a:pt x="381" y="591"/>
                  </a:lnTo>
                  <a:lnTo>
                    <a:pt x="390" y="583"/>
                  </a:lnTo>
                  <a:lnTo>
                    <a:pt x="390" y="583"/>
                  </a:lnTo>
                  <a:lnTo>
                    <a:pt x="393" y="575"/>
                  </a:lnTo>
                  <a:lnTo>
                    <a:pt x="397" y="567"/>
                  </a:lnTo>
                  <a:lnTo>
                    <a:pt x="400" y="558"/>
                  </a:lnTo>
                  <a:lnTo>
                    <a:pt x="402" y="555"/>
                  </a:lnTo>
                  <a:lnTo>
                    <a:pt x="404" y="554"/>
                  </a:lnTo>
                  <a:lnTo>
                    <a:pt x="404" y="554"/>
                  </a:lnTo>
                  <a:lnTo>
                    <a:pt x="412" y="551"/>
                  </a:lnTo>
                  <a:lnTo>
                    <a:pt x="413" y="549"/>
                  </a:lnTo>
                  <a:lnTo>
                    <a:pt x="416" y="546"/>
                  </a:lnTo>
                  <a:lnTo>
                    <a:pt x="416" y="546"/>
                  </a:lnTo>
                  <a:lnTo>
                    <a:pt x="416" y="543"/>
                  </a:lnTo>
                  <a:lnTo>
                    <a:pt x="416" y="539"/>
                  </a:lnTo>
                  <a:lnTo>
                    <a:pt x="416" y="535"/>
                  </a:lnTo>
                  <a:lnTo>
                    <a:pt x="418" y="532"/>
                  </a:lnTo>
                  <a:lnTo>
                    <a:pt x="418" y="532"/>
                  </a:lnTo>
                  <a:lnTo>
                    <a:pt x="418" y="528"/>
                  </a:lnTo>
                  <a:lnTo>
                    <a:pt x="416" y="525"/>
                  </a:lnTo>
                  <a:lnTo>
                    <a:pt x="415" y="520"/>
                  </a:lnTo>
                  <a:lnTo>
                    <a:pt x="415" y="516"/>
                  </a:lnTo>
                  <a:lnTo>
                    <a:pt x="415" y="516"/>
                  </a:lnTo>
                  <a:lnTo>
                    <a:pt x="415" y="512"/>
                  </a:lnTo>
                  <a:lnTo>
                    <a:pt x="415" y="507"/>
                  </a:lnTo>
                  <a:lnTo>
                    <a:pt x="415" y="501"/>
                  </a:lnTo>
                  <a:lnTo>
                    <a:pt x="418" y="497"/>
                  </a:lnTo>
                  <a:lnTo>
                    <a:pt x="418" y="497"/>
                  </a:lnTo>
                  <a:lnTo>
                    <a:pt x="431" y="483"/>
                  </a:lnTo>
                  <a:lnTo>
                    <a:pt x="438" y="475"/>
                  </a:lnTo>
                  <a:lnTo>
                    <a:pt x="446" y="471"/>
                  </a:lnTo>
                  <a:lnTo>
                    <a:pt x="446" y="471"/>
                  </a:lnTo>
                  <a:lnTo>
                    <a:pt x="451" y="470"/>
                  </a:lnTo>
                  <a:lnTo>
                    <a:pt x="455" y="467"/>
                  </a:lnTo>
                  <a:lnTo>
                    <a:pt x="458" y="465"/>
                  </a:lnTo>
                  <a:lnTo>
                    <a:pt x="461" y="462"/>
                  </a:lnTo>
                  <a:lnTo>
                    <a:pt x="461" y="462"/>
                  </a:lnTo>
                  <a:lnTo>
                    <a:pt x="465" y="461"/>
                  </a:lnTo>
                  <a:lnTo>
                    <a:pt x="470" y="458"/>
                  </a:lnTo>
                  <a:lnTo>
                    <a:pt x="474" y="454"/>
                  </a:lnTo>
                  <a:lnTo>
                    <a:pt x="478" y="451"/>
                  </a:lnTo>
                  <a:lnTo>
                    <a:pt x="478" y="451"/>
                  </a:lnTo>
                  <a:lnTo>
                    <a:pt x="487" y="449"/>
                  </a:lnTo>
                  <a:lnTo>
                    <a:pt x="497" y="449"/>
                  </a:lnTo>
                  <a:lnTo>
                    <a:pt x="509" y="448"/>
                  </a:lnTo>
                  <a:lnTo>
                    <a:pt x="517" y="446"/>
                  </a:lnTo>
                  <a:lnTo>
                    <a:pt x="517" y="446"/>
                  </a:lnTo>
                  <a:lnTo>
                    <a:pt x="525" y="443"/>
                  </a:lnTo>
                  <a:lnTo>
                    <a:pt x="529" y="439"/>
                  </a:lnTo>
                  <a:lnTo>
                    <a:pt x="536" y="432"/>
                  </a:lnTo>
                  <a:lnTo>
                    <a:pt x="536" y="432"/>
                  </a:lnTo>
                  <a:lnTo>
                    <a:pt x="542" y="417"/>
                  </a:lnTo>
                  <a:lnTo>
                    <a:pt x="548" y="407"/>
                  </a:lnTo>
                  <a:lnTo>
                    <a:pt x="552" y="401"/>
                  </a:lnTo>
                  <a:lnTo>
                    <a:pt x="552" y="401"/>
                  </a:lnTo>
                  <a:lnTo>
                    <a:pt x="555" y="396"/>
                  </a:lnTo>
                  <a:lnTo>
                    <a:pt x="558" y="388"/>
                  </a:lnTo>
                  <a:lnTo>
                    <a:pt x="561" y="380"/>
                  </a:lnTo>
                  <a:lnTo>
                    <a:pt x="562" y="373"/>
                  </a:lnTo>
                  <a:lnTo>
                    <a:pt x="562" y="373"/>
                  </a:lnTo>
                  <a:lnTo>
                    <a:pt x="564" y="364"/>
                  </a:lnTo>
                  <a:lnTo>
                    <a:pt x="565" y="355"/>
                  </a:lnTo>
                  <a:lnTo>
                    <a:pt x="568" y="342"/>
                  </a:lnTo>
                  <a:lnTo>
                    <a:pt x="568" y="342"/>
                  </a:lnTo>
                  <a:lnTo>
                    <a:pt x="570" y="339"/>
                  </a:lnTo>
                  <a:lnTo>
                    <a:pt x="571" y="336"/>
                  </a:lnTo>
                  <a:lnTo>
                    <a:pt x="571" y="333"/>
                  </a:lnTo>
                  <a:lnTo>
                    <a:pt x="572" y="326"/>
                  </a:lnTo>
                  <a:lnTo>
                    <a:pt x="572" y="326"/>
                  </a:lnTo>
                  <a:lnTo>
                    <a:pt x="571" y="303"/>
                  </a:lnTo>
                  <a:lnTo>
                    <a:pt x="571" y="293"/>
                  </a:lnTo>
                  <a:lnTo>
                    <a:pt x="572" y="289"/>
                  </a:lnTo>
                  <a:lnTo>
                    <a:pt x="574" y="287"/>
                  </a:lnTo>
                  <a:lnTo>
                    <a:pt x="574" y="287"/>
                  </a:lnTo>
                  <a:lnTo>
                    <a:pt x="581" y="281"/>
                  </a:lnTo>
                  <a:lnTo>
                    <a:pt x="587" y="274"/>
                  </a:lnTo>
                  <a:lnTo>
                    <a:pt x="587" y="274"/>
                  </a:lnTo>
                  <a:lnTo>
                    <a:pt x="599" y="255"/>
                  </a:lnTo>
                  <a:lnTo>
                    <a:pt x="606" y="245"/>
                  </a:lnTo>
                  <a:lnTo>
                    <a:pt x="613" y="236"/>
                  </a:lnTo>
                  <a:lnTo>
                    <a:pt x="613" y="236"/>
                  </a:lnTo>
                  <a:lnTo>
                    <a:pt x="622" y="229"/>
                  </a:lnTo>
                  <a:lnTo>
                    <a:pt x="630" y="219"/>
                  </a:lnTo>
                  <a:lnTo>
                    <a:pt x="636" y="209"/>
                  </a:lnTo>
                  <a:lnTo>
                    <a:pt x="638" y="205"/>
                  </a:lnTo>
                  <a:lnTo>
                    <a:pt x="639" y="200"/>
                  </a:lnTo>
                  <a:lnTo>
                    <a:pt x="639" y="200"/>
                  </a:lnTo>
                  <a:lnTo>
                    <a:pt x="638" y="186"/>
                  </a:lnTo>
                  <a:lnTo>
                    <a:pt x="636" y="178"/>
                  </a:lnTo>
                  <a:lnTo>
                    <a:pt x="635" y="1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94" name="Freeform 257"/>
            <p:cNvSpPr>
              <a:spLocks/>
            </p:cNvSpPr>
            <p:nvPr/>
          </p:nvSpPr>
          <p:spPr bwMode="auto">
            <a:xfrm>
              <a:off x="3041651" y="4855004"/>
              <a:ext cx="9525" cy="20638"/>
            </a:xfrm>
            <a:custGeom>
              <a:avLst/>
              <a:gdLst>
                <a:gd name="T0" fmla="*/ 3 w 6"/>
                <a:gd name="T1" fmla="*/ 13 h 13"/>
                <a:gd name="T2" fmla="*/ 3 w 6"/>
                <a:gd name="T3" fmla="*/ 13 h 13"/>
                <a:gd name="T4" fmla="*/ 2 w 6"/>
                <a:gd name="T5" fmla="*/ 13 h 13"/>
                <a:gd name="T6" fmla="*/ 0 w 6"/>
                <a:gd name="T7" fmla="*/ 11 h 13"/>
                <a:gd name="T8" fmla="*/ 0 w 6"/>
                <a:gd name="T9" fmla="*/ 7 h 13"/>
                <a:gd name="T10" fmla="*/ 2 w 6"/>
                <a:gd name="T11" fmla="*/ 3 h 13"/>
                <a:gd name="T12" fmla="*/ 3 w 6"/>
                <a:gd name="T13" fmla="*/ 0 h 13"/>
                <a:gd name="T14" fmla="*/ 3 w 6"/>
                <a:gd name="T15" fmla="*/ 0 h 13"/>
                <a:gd name="T16" fmla="*/ 4 w 6"/>
                <a:gd name="T17" fmla="*/ 0 h 13"/>
                <a:gd name="T18" fmla="*/ 6 w 6"/>
                <a:gd name="T19" fmla="*/ 1 h 13"/>
                <a:gd name="T20" fmla="*/ 6 w 6"/>
                <a:gd name="T21" fmla="*/ 6 h 13"/>
                <a:gd name="T22" fmla="*/ 6 w 6"/>
                <a:gd name="T23" fmla="*/ 10 h 13"/>
                <a:gd name="T24" fmla="*/ 4 w 6"/>
                <a:gd name="T25" fmla="*/ 13 h 13"/>
                <a:gd name="T26" fmla="*/ 3 w 6"/>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3">
                  <a:moveTo>
                    <a:pt x="3" y="13"/>
                  </a:moveTo>
                  <a:lnTo>
                    <a:pt x="3" y="13"/>
                  </a:lnTo>
                  <a:lnTo>
                    <a:pt x="2" y="13"/>
                  </a:lnTo>
                  <a:lnTo>
                    <a:pt x="0" y="11"/>
                  </a:lnTo>
                  <a:lnTo>
                    <a:pt x="0" y="7"/>
                  </a:lnTo>
                  <a:lnTo>
                    <a:pt x="2" y="3"/>
                  </a:lnTo>
                  <a:lnTo>
                    <a:pt x="3" y="0"/>
                  </a:lnTo>
                  <a:lnTo>
                    <a:pt x="3" y="0"/>
                  </a:lnTo>
                  <a:lnTo>
                    <a:pt x="4" y="0"/>
                  </a:lnTo>
                  <a:lnTo>
                    <a:pt x="6" y="1"/>
                  </a:lnTo>
                  <a:lnTo>
                    <a:pt x="6" y="6"/>
                  </a:lnTo>
                  <a:lnTo>
                    <a:pt x="6" y="10"/>
                  </a:lnTo>
                  <a:lnTo>
                    <a:pt x="4" y="13"/>
                  </a:lnTo>
                  <a:lnTo>
                    <a:pt x="3"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95" name="Freeform 258"/>
            <p:cNvSpPr>
              <a:spLocks/>
            </p:cNvSpPr>
            <p:nvPr/>
          </p:nvSpPr>
          <p:spPr bwMode="auto">
            <a:xfrm>
              <a:off x="2114551" y="4480354"/>
              <a:ext cx="76200" cy="66675"/>
            </a:xfrm>
            <a:custGeom>
              <a:avLst/>
              <a:gdLst>
                <a:gd name="T0" fmla="*/ 48 w 48"/>
                <a:gd name="T1" fmla="*/ 19 h 42"/>
                <a:gd name="T2" fmla="*/ 48 w 48"/>
                <a:gd name="T3" fmla="*/ 19 h 42"/>
                <a:gd name="T4" fmla="*/ 41 w 48"/>
                <a:gd name="T5" fmla="*/ 13 h 42"/>
                <a:gd name="T6" fmla="*/ 38 w 48"/>
                <a:gd name="T7" fmla="*/ 10 h 42"/>
                <a:gd name="T8" fmla="*/ 35 w 48"/>
                <a:gd name="T9" fmla="*/ 5 h 42"/>
                <a:gd name="T10" fmla="*/ 35 w 48"/>
                <a:gd name="T11" fmla="*/ 5 h 42"/>
                <a:gd name="T12" fmla="*/ 34 w 48"/>
                <a:gd name="T13" fmla="*/ 1 h 42"/>
                <a:gd name="T14" fmla="*/ 34 w 48"/>
                <a:gd name="T15" fmla="*/ 1 h 42"/>
                <a:gd name="T16" fmla="*/ 0 w 48"/>
                <a:gd name="T17" fmla="*/ 0 h 42"/>
                <a:gd name="T18" fmla="*/ 0 w 48"/>
                <a:gd name="T19" fmla="*/ 0 h 42"/>
                <a:gd name="T20" fmla="*/ 2 w 48"/>
                <a:gd name="T21" fmla="*/ 4 h 42"/>
                <a:gd name="T22" fmla="*/ 2 w 48"/>
                <a:gd name="T23" fmla="*/ 4 h 42"/>
                <a:gd name="T24" fmla="*/ 2 w 48"/>
                <a:gd name="T25" fmla="*/ 11 h 42"/>
                <a:gd name="T26" fmla="*/ 2 w 48"/>
                <a:gd name="T27" fmla="*/ 16 h 42"/>
                <a:gd name="T28" fmla="*/ 3 w 48"/>
                <a:gd name="T29" fmla="*/ 19 h 42"/>
                <a:gd name="T30" fmla="*/ 3 w 48"/>
                <a:gd name="T31" fmla="*/ 19 h 42"/>
                <a:gd name="T32" fmla="*/ 11 w 48"/>
                <a:gd name="T33" fmla="*/ 23 h 42"/>
                <a:gd name="T34" fmla="*/ 13 w 48"/>
                <a:gd name="T35" fmla="*/ 23 h 42"/>
                <a:gd name="T36" fmla="*/ 15 w 48"/>
                <a:gd name="T37" fmla="*/ 21 h 42"/>
                <a:gd name="T38" fmla="*/ 15 w 48"/>
                <a:gd name="T39" fmla="*/ 21 h 42"/>
                <a:gd name="T40" fmla="*/ 15 w 48"/>
                <a:gd name="T41" fmla="*/ 19 h 42"/>
                <a:gd name="T42" fmla="*/ 16 w 48"/>
                <a:gd name="T43" fmla="*/ 21 h 42"/>
                <a:gd name="T44" fmla="*/ 16 w 48"/>
                <a:gd name="T45" fmla="*/ 21 h 42"/>
                <a:gd name="T46" fmla="*/ 19 w 48"/>
                <a:gd name="T47" fmla="*/ 27 h 42"/>
                <a:gd name="T48" fmla="*/ 22 w 48"/>
                <a:gd name="T49" fmla="*/ 29 h 42"/>
                <a:gd name="T50" fmla="*/ 27 w 48"/>
                <a:gd name="T51" fmla="*/ 30 h 42"/>
                <a:gd name="T52" fmla="*/ 27 w 48"/>
                <a:gd name="T53" fmla="*/ 30 h 42"/>
                <a:gd name="T54" fmla="*/ 31 w 48"/>
                <a:gd name="T55" fmla="*/ 32 h 42"/>
                <a:gd name="T56" fmla="*/ 32 w 48"/>
                <a:gd name="T57" fmla="*/ 34 h 42"/>
                <a:gd name="T58" fmla="*/ 34 w 48"/>
                <a:gd name="T59" fmla="*/ 39 h 42"/>
                <a:gd name="T60" fmla="*/ 34 w 48"/>
                <a:gd name="T61" fmla="*/ 39 h 42"/>
                <a:gd name="T62" fmla="*/ 37 w 48"/>
                <a:gd name="T63" fmla="*/ 40 h 42"/>
                <a:gd name="T64" fmla="*/ 40 w 48"/>
                <a:gd name="T65" fmla="*/ 42 h 42"/>
                <a:gd name="T66" fmla="*/ 45 w 48"/>
                <a:gd name="T67" fmla="*/ 42 h 42"/>
                <a:gd name="T68" fmla="*/ 45 w 48"/>
                <a:gd name="T69" fmla="*/ 42 h 42"/>
                <a:gd name="T70" fmla="*/ 45 w 48"/>
                <a:gd name="T71" fmla="*/ 34 h 42"/>
                <a:gd name="T72" fmla="*/ 44 w 48"/>
                <a:gd name="T73" fmla="*/ 30 h 42"/>
                <a:gd name="T74" fmla="*/ 44 w 48"/>
                <a:gd name="T75" fmla="*/ 30 h 42"/>
                <a:gd name="T76" fmla="*/ 44 w 48"/>
                <a:gd name="T77" fmla="*/ 27 h 42"/>
                <a:gd name="T78" fmla="*/ 44 w 48"/>
                <a:gd name="T79" fmla="*/ 24 h 42"/>
                <a:gd name="T80" fmla="*/ 48 w 48"/>
                <a:gd name="T81" fmla="*/ 1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 h="42">
                  <a:moveTo>
                    <a:pt x="48" y="19"/>
                  </a:moveTo>
                  <a:lnTo>
                    <a:pt x="48" y="19"/>
                  </a:lnTo>
                  <a:lnTo>
                    <a:pt x="41" y="13"/>
                  </a:lnTo>
                  <a:lnTo>
                    <a:pt x="38" y="10"/>
                  </a:lnTo>
                  <a:lnTo>
                    <a:pt x="35" y="5"/>
                  </a:lnTo>
                  <a:lnTo>
                    <a:pt x="35" y="5"/>
                  </a:lnTo>
                  <a:lnTo>
                    <a:pt x="34" y="1"/>
                  </a:lnTo>
                  <a:lnTo>
                    <a:pt x="34" y="1"/>
                  </a:lnTo>
                  <a:lnTo>
                    <a:pt x="0" y="0"/>
                  </a:lnTo>
                  <a:lnTo>
                    <a:pt x="0" y="0"/>
                  </a:lnTo>
                  <a:lnTo>
                    <a:pt x="2" y="4"/>
                  </a:lnTo>
                  <a:lnTo>
                    <a:pt x="2" y="4"/>
                  </a:lnTo>
                  <a:lnTo>
                    <a:pt x="2" y="11"/>
                  </a:lnTo>
                  <a:lnTo>
                    <a:pt x="2" y="16"/>
                  </a:lnTo>
                  <a:lnTo>
                    <a:pt x="3" y="19"/>
                  </a:lnTo>
                  <a:lnTo>
                    <a:pt x="3" y="19"/>
                  </a:lnTo>
                  <a:lnTo>
                    <a:pt x="11" y="23"/>
                  </a:lnTo>
                  <a:lnTo>
                    <a:pt x="13" y="23"/>
                  </a:lnTo>
                  <a:lnTo>
                    <a:pt x="15" y="21"/>
                  </a:lnTo>
                  <a:lnTo>
                    <a:pt x="15" y="21"/>
                  </a:lnTo>
                  <a:lnTo>
                    <a:pt x="15" y="19"/>
                  </a:lnTo>
                  <a:lnTo>
                    <a:pt x="16" y="21"/>
                  </a:lnTo>
                  <a:lnTo>
                    <a:pt x="16" y="21"/>
                  </a:lnTo>
                  <a:lnTo>
                    <a:pt x="19" y="27"/>
                  </a:lnTo>
                  <a:lnTo>
                    <a:pt x="22" y="29"/>
                  </a:lnTo>
                  <a:lnTo>
                    <a:pt x="27" y="30"/>
                  </a:lnTo>
                  <a:lnTo>
                    <a:pt x="27" y="30"/>
                  </a:lnTo>
                  <a:lnTo>
                    <a:pt x="31" y="32"/>
                  </a:lnTo>
                  <a:lnTo>
                    <a:pt x="32" y="34"/>
                  </a:lnTo>
                  <a:lnTo>
                    <a:pt x="34" y="39"/>
                  </a:lnTo>
                  <a:lnTo>
                    <a:pt x="34" y="39"/>
                  </a:lnTo>
                  <a:lnTo>
                    <a:pt x="37" y="40"/>
                  </a:lnTo>
                  <a:lnTo>
                    <a:pt x="40" y="42"/>
                  </a:lnTo>
                  <a:lnTo>
                    <a:pt x="45" y="42"/>
                  </a:lnTo>
                  <a:lnTo>
                    <a:pt x="45" y="42"/>
                  </a:lnTo>
                  <a:lnTo>
                    <a:pt x="45" y="34"/>
                  </a:lnTo>
                  <a:lnTo>
                    <a:pt x="44" y="30"/>
                  </a:lnTo>
                  <a:lnTo>
                    <a:pt x="44" y="30"/>
                  </a:lnTo>
                  <a:lnTo>
                    <a:pt x="44" y="27"/>
                  </a:lnTo>
                  <a:lnTo>
                    <a:pt x="44" y="24"/>
                  </a:lnTo>
                  <a:lnTo>
                    <a:pt x="48" y="19"/>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96" name="Freeform 259"/>
            <p:cNvSpPr>
              <a:spLocks/>
            </p:cNvSpPr>
            <p:nvPr/>
          </p:nvSpPr>
          <p:spPr bwMode="auto">
            <a:xfrm>
              <a:off x="2114551" y="4480354"/>
              <a:ext cx="76200" cy="66675"/>
            </a:xfrm>
            <a:custGeom>
              <a:avLst/>
              <a:gdLst>
                <a:gd name="T0" fmla="*/ 48 w 48"/>
                <a:gd name="T1" fmla="*/ 19 h 42"/>
                <a:gd name="T2" fmla="*/ 48 w 48"/>
                <a:gd name="T3" fmla="*/ 19 h 42"/>
                <a:gd name="T4" fmla="*/ 41 w 48"/>
                <a:gd name="T5" fmla="*/ 13 h 42"/>
                <a:gd name="T6" fmla="*/ 38 w 48"/>
                <a:gd name="T7" fmla="*/ 10 h 42"/>
                <a:gd name="T8" fmla="*/ 35 w 48"/>
                <a:gd name="T9" fmla="*/ 5 h 42"/>
                <a:gd name="T10" fmla="*/ 35 w 48"/>
                <a:gd name="T11" fmla="*/ 5 h 42"/>
                <a:gd name="T12" fmla="*/ 34 w 48"/>
                <a:gd name="T13" fmla="*/ 1 h 42"/>
                <a:gd name="T14" fmla="*/ 34 w 48"/>
                <a:gd name="T15" fmla="*/ 1 h 42"/>
                <a:gd name="T16" fmla="*/ 0 w 48"/>
                <a:gd name="T17" fmla="*/ 0 h 42"/>
                <a:gd name="T18" fmla="*/ 0 w 48"/>
                <a:gd name="T19" fmla="*/ 0 h 42"/>
                <a:gd name="T20" fmla="*/ 2 w 48"/>
                <a:gd name="T21" fmla="*/ 4 h 42"/>
                <a:gd name="T22" fmla="*/ 2 w 48"/>
                <a:gd name="T23" fmla="*/ 4 h 42"/>
                <a:gd name="T24" fmla="*/ 2 w 48"/>
                <a:gd name="T25" fmla="*/ 11 h 42"/>
                <a:gd name="T26" fmla="*/ 2 w 48"/>
                <a:gd name="T27" fmla="*/ 16 h 42"/>
                <a:gd name="T28" fmla="*/ 3 w 48"/>
                <a:gd name="T29" fmla="*/ 19 h 42"/>
                <a:gd name="T30" fmla="*/ 3 w 48"/>
                <a:gd name="T31" fmla="*/ 19 h 42"/>
                <a:gd name="T32" fmla="*/ 11 w 48"/>
                <a:gd name="T33" fmla="*/ 23 h 42"/>
                <a:gd name="T34" fmla="*/ 13 w 48"/>
                <a:gd name="T35" fmla="*/ 23 h 42"/>
                <a:gd name="T36" fmla="*/ 15 w 48"/>
                <a:gd name="T37" fmla="*/ 21 h 42"/>
                <a:gd name="T38" fmla="*/ 15 w 48"/>
                <a:gd name="T39" fmla="*/ 21 h 42"/>
                <a:gd name="T40" fmla="*/ 15 w 48"/>
                <a:gd name="T41" fmla="*/ 19 h 42"/>
                <a:gd name="T42" fmla="*/ 16 w 48"/>
                <a:gd name="T43" fmla="*/ 21 h 42"/>
                <a:gd name="T44" fmla="*/ 16 w 48"/>
                <a:gd name="T45" fmla="*/ 21 h 42"/>
                <a:gd name="T46" fmla="*/ 19 w 48"/>
                <a:gd name="T47" fmla="*/ 27 h 42"/>
                <a:gd name="T48" fmla="*/ 22 w 48"/>
                <a:gd name="T49" fmla="*/ 29 h 42"/>
                <a:gd name="T50" fmla="*/ 27 w 48"/>
                <a:gd name="T51" fmla="*/ 30 h 42"/>
                <a:gd name="T52" fmla="*/ 27 w 48"/>
                <a:gd name="T53" fmla="*/ 30 h 42"/>
                <a:gd name="T54" fmla="*/ 31 w 48"/>
                <a:gd name="T55" fmla="*/ 32 h 42"/>
                <a:gd name="T56" fmla="*/ 32 w 48"/>
                <a:gd name="T57" fmla="*/ 34 h 42"/>
                <a:gd name="T58" fmla="*/ 34 w 48"/>
                <a:gd name="T59" fmla="*/ 39 h 42"/>
                <a:gd name="T60" fmla="*/ 34 w 48"/>
                <a:gd name="T61" fmla="*/ 39 h 42"/>
                <a:gd name="T62" fmla="*/ 37 w 48"/>
                <a:gd name="T63" fmla="*/ 40 h 42"/>
                <a:gd name="T64" fmla="*/ 40 w 48"/>
                <a:gd name="T65" fmla="*/ 42 h 42"/>
                <a:gd name="T66" fmla="*/ 45 w 48"/>
                <a:gd name="T67" fmla="*/ 42 h 42"/>
                <a:gd name="T68" fmla="*/ 45 w 48"/>
                <a:gd name="T69" fmla="*/ 42 h 42"/>
                <a:gd name="T70" fmla="*/ 45 w 48"/>
                <a:gd name="T71" fmla="*/ 34 h 42"/>
                <a:gd name="T72" fmla="*/ 44 w 48"/>
                <a:gd name="T73" fmla="*/ 30 h 42"/>
                <a:gd name="T74" fmla="*/ 44 w 48"/>
                <a:gd name="T75" fmla="*/ 30 h 42"/>
                <a:gd name="T76" fmla="*/ 44 w 48"/>
                <a:gd name="T77" fmla="*/ 27 h 42"/>
                <a:gd name="T78" fmla="*/ 44 w 48"/>
                <a:gd name="T79" fmla="*/ 24 h 42"/>
                <a:gd name="T80" fmla="*/ 48 w 48"/>
                <a:gd name="T81" fmla="*/ 1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 h="42">
                  <a:moveTo>
                    <a:pt x="48" y="19"/>
                  </a:moveTo>
                  <a:lnTo>
                    <a:pt x="48" y="19"/>
                  </a:lnTo>
                  <a:lnTo>
                    <a:pt x="41" y="13"/>
                  </a:lnTo>
                  <a:lnTo>
                    <a:pt x="38" y="10"/>
                  </a:lnTo>
                  <a:lnTo>
                    <a:pt x="35" y="5"/>
                  </a:lnTo>
                  <a:lnTo>
                    <a:pt x="35" y="5"/>
                  </a:lnTo>
                  <a:lnTo>
                    <a:pt x="34" y="1"/>
                  </a:lnTo>
                  <a:lnTo>
                    <a:pt x="34" y="1"/>
                  </a:lnTo>
                  <a:lnTo>
                    <a:pt x="0" y="0"/>
                  </a:lnTo>
                  <a:lnTo>
                    <a:pt x="0" y="0"/>
                  </a:lnTo>
                  <a:lnTo>
                    <a:pt x="2" y="4"/>
                  </a:lnTo>
                  <a:lnTo>
                    <a:pt x="2" y="4"/>
                  </a:lnTo>
                  <a:lnTo>
                    <a:pt x="2" y="11"/>
                  </a:lnTo>
                  <a:lnTo>
                    <a:pt x="2" y="16"/>
                  </a:lnTo>
                  <a:lnTo>
                    <a:pt x="3" y="19"/>
                  </a:lnTo>
                  <a:lnTo>
                    <a:pt x="3" y="19"/>
                  </a:lnTo>
                  <a:lnTo>
                    <a:pt x="11" y="23"/>
                  </a:lnTo>
                  <a:lnTo>
                    <a:pt x="13" y="23"/>
                  </a:lnTo>
                  <a:lnTo>
                    <a:pt x="15" y="21"/>
                  </a:lnTo>
                  <a:lnTo>
                    <a:pt x="15" y="21"/>
                  </a:lnTo>
                  <a:lnTo>
                    <a:pt x="15" y="19"/>
                  </a:lnTo>
                  <a:lnTo>
                    <a:pt x="16" y="21"/>
                  </a:lnTo>
                  <a:lnTo>
                    <a:pt x="16" y="21"/>
                  </a:lnTo>
                  <a:lnTo>
                    <a:pt x="19" y="27"/>
                  </a:lnTo>
                  <a:lnTo>
                    <a:pt x="22" y="29"/>
                  </a:lnTo>
                  <a:lnTo>
                    <a:pt x="27" y="30"/>
                  </a:lnTo>
                  <a:lnTo>
                    <a:pt x="27" y="30"/>
                  </a:lnTo>
                  <a:lnTo>
                    <a:pt x="31" y="32"/>
                  </a:lnTo>
                  <a:lnTo>
                    <a:pt x="32" y="34"/>
                  </a:lnTo>
                  <a:lnTo>
                    <a:pt x="34" y="39"/>
                  </a:lnTo>
                  <a:lnTo>
                    <a:pt x="34" y="39"/>
                  </a:lnTo>
                  <a:lnTo>
                    <a:pt x="37" y="40"/>
                  </a:lnTo>
                  <a:lnTo>
                    <a:pt x="40" y="42"/>
                  </a:lnTo>
                  <a:lnTo>
                    <a:pt x="45" y="42"/>
                  </a:lnTo>
                  <a:lnTo>
                    <a:pt x="45" y="42"/>
                  </a:lnTo>
                  <a:lnTo>
                    <a:pt x="45" y="34"/>
                  </a:lnTo>
                  <a:lnTo>
                    <a:pt x="44" y="30"/>
                  </a:lnTo>
                  <a:lnTo>
                    <a:pt x="44" y="30"/>
                  </a:lnTo>
                  <a:lnTo>
                    <a:pt x="44" y="27"/>
                  </a:lnTo>
                  <a:lnTo>
                    <a:pt x="44" y="24"/>
                  </a:lnTo>
                  <a:lnTo>
                    <a:pt x="48" y="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97" name="Freeform 260"/>
            <p:cNvSpPr>
              <a:spLocks/>
            </p:cNvSpPr>
            <p:nvPr/>
          </p:nvSpPr>
          <p:spPr bwMode="auto">
            <a:xfrm>
              <a:off x="2065338" y="4375579"/>
              <a:ext cx="114300" cy="106363"/>
            </a:xfrm>
            <a:custGeom>
              <a:avLst/>
              <a:gdLst>
                <a:gd name="T0" fmla="*/ 63 w 72"/>
                <a:gd name="T1" fmla="*/ 56 h 67"/>
                <a:gd name="T2" fmla="*/ 63 w 72"/>
                <a:gd name="T3" fmla="*/ 56 h 67"/>
                <a:gd name="T4" fmla="*/ 65 w 72"/>
                <a:gd name="T5" fmla="*/ 54 h 67"/>
                <a:gd name="T6" fmla="*/ 65 w 72"/>
                <a:gd name="T7" fmla="*/ 51 h 67"/>
                <a:gd name="T8" fmla="*/ 65 w 72"/>
                <a:gd name="T9" fmla="*/ 50 h 67"/>
                <a:gd name="T10" fmla="*/ 66 w 72"/>
                <a:gd name="T11" fmla="*/ 47 h 67"/>
                <a:gd name="T12" fmla="*/ 66 w 72"/>
                <a:gd name="T13" fmla="*/ 47 h 67"/>
                <a:gd name="T14" fmla="*/ 66 w 72"/>
                <a:gd name="T15" fmla="*/ 42 h 67"/>
                <a:gd name="T16" fmla="*/ 66 w 72"/>
                <a:gd name="T17" fmla="*/ 35 h 67"/>
                <a:gd name="T18" fmla="*/ 68 w 72"/>
                <a:gd name="T19" fmla="*/ 28 h 67"/>
                <a:gd name="T20" fmla="*/ 69 w 72"/>
                <a:gd name="T21" fmla="*/ 24 h 67"/>
                <a:gd name="T22" fmla="*/ 69 w 72"/>
                <a:gd name="T23" fmla="*/ 24 h 67"/>
                <a:gd name="T24" fmla="*/ 72 w 72"/>
                <a:gd name="T25" fmla="*/ 19 h 67"/>
                <a:gd name="T26" fmla="*/ 72 w 72"/>
                <a:gd name="T27" fmla="*/ 16 h 67"/>
                <a:gd name="T28" fmla="*/ 72 w 72"/>
                <a:gd name="T29" fmla="*/ 12 h 67"/>
                <a:gd name="T30" fmla="*/ 71 w 72"/>
                <a:gd name="T31" fmla="*/ 9 h 67"/>
                <a:gd name="T32" fmla="*/ 71 w 72"/>
                <a:gd name="T33" fmla="*/ 9 h 67"/>
                <a:gd name="T34" fmla="*/ 68 w 72"/>
                <a:gd name="T35" fmla="*/ 0 h 67"/>
                <a:gd name="T36" fmla="*/ 68 w 72"/>
                <a:gd name="T37" fmla="*/ 0 h 67"/>
                <a:gd name="T38" fmla="*/ 44 w 72"/>
                <a:gd name="T39" fmla="*/ 11 h 67"/>
                <a:gd name="T40" fmla="*/ 44 w 72"/>
                <a:gd name="T41" fmla="*/ 11 h 67"/>
                <a:gd name="T42" fmla="*/ 24 w 72"/>
                <a:gd name="T43" fmla="*/ 21 h 67"/>
                <a:gd name="T44" fmla="*/ 0 w 72"/>
                <a:gd name="T45" fmla="*/ 37 h 67"/>
                <a:gd name="T46" fmla="*/ 0 w 72"/>
                <a:gd name="T47" fmla="*/ 37 h 67"/>
                <a:gd name="T48" fmla="*/ 1 w 72"/>
                <a:gd name="T49" fmla="*/ 38 h 67"/>
                <a:gd name="T50" fmla="*/ 1 w 72"/>
                <a:gd name="T51" fmla="*/ 38 h 67"/>
                <a:gd name="T52" fmla="*/ 8 w 72"/>
                <a:gd name="T53" fmla="*/ 44 h 67"/>
                <a:gd name="T54" fmla="*/ 17 w 72"/>
                <a:gd name="T55" fmla="*/ 50 h 67"/>
                <a:gd name="T56" fmla="*/ 17 w 72"/>
                <a:gd name="T57" fmla="*/ 50 h 67"/>
                <a:gd name="T58" fmla="*/ 20 w 72"/>
                <a:gd name="T59" fmla="*/ 54 h 67"/>
                <a:gd name="T60" fmla="*/ 24 w 72"/>
                <a:gd name="T61" fmla="*/ 58 h 67"/>
                <a:gd name="T62" fmla="*/ 24 w 72"/>
                <a:gd name="T63" fmla="*/ 58 h 67"/>
                <a:gd name="T64" fmla="*/ 29 w 72"/>
                <a:gd name="T65" fmla="*/ 61 h 67"/>
                <a:gd name="T66" fmla="*/ 31 w 72"/>
                <a:gd name="T67" fmla="*/ 66 h 67"/>
                <a:gd name="T68" fmla="*/ 31 w 72"/>
                <a:gd name="T69" fmla="*/ 66 h 67"/>
                <a:gd name="T70" fmla="*/ 65 w 72"/>
                <a:gd name="T71" fmla="*/ 67 h 67"/>
                <a:gd name="T72" fmla="*/ 65 w 72"/>
                <a:gd name="T73" fmla="*/ 67 h 67"/>
                <a:gd name="T74" fmla="*/ 62 w 72"/>
                <a:gd name="T75" fmla="*/ 60 h 67"/>
                <a:gd name="T76" fmla="*/ 62 w 72"/>
                <a:gd name="T77" fmla="*/ 57 h 67"/>
                <a:gd name="T78" fmla="*/ 63 w 72"/>
                <a:gd name="T79" fmla="*/ 5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67">
                  <a:moveTo>
                    <a:pt x="63" y="56"/>
                  </a:moveTo>
                  <a:lnTo>
                    <a:pt x="63" y="56"/>
                  </a:lnTo>
                  <a:lnTo>
                    <a:pt x="65" y="54"/>
                  </a:lnTo>
                  <a:lnTo>
                    <a:pt x="65" y="51"/>
                  </a:lnTo>
                  <a:lnTo>
                    <a:pt x="65" y="50"/>
                  </a:lnTo>
                  <a:lnTo>
                    <a:pt x="66" y="47"/>
                  </a:lnTo>
                  <a:lnTo>
                    <a:pt x="66" y="47"/>
                  </a:lnTo>
                  <a:lnTo>
                    <a:pt x="66" y="42"/>
                  </a:lnTo>
                  <a:lnTo>
                    <a:pt x="66" y="35"/>
                  </a:lnTo>
                  <a:lnTo>
                    <a:pt x="68" y="28"/>
                  </a:lnTo>
                  <a:lnTo>
                    <a:pt x="69" y="24"/>
                  </a:lnTo>
                  <a:lnTo>
                    <a:pt x="69" y="24"/>
                  </a:lnTo>
                  <a:lnTo>
                    <a:pt x="72" y="19"/>
                  </a:lnTo>
                  <a:lnTo>
                    <a:pt x="72" y="16"/>
                  </a:lnTo>
                  <a:lnTo>
                    <a:pt x="72" y="12"/>
                  </a:lnTo>
                  <a:lnTo>
                    <a:pt x="71" y="9"/>
                  </a:lnTo>
                  <a:lnTo>
                    <a:pt x="71" y="9"/>
                  </a:lnTo>
                  <a:lnTo>
                    <a:pt x="68" y="0"/>
                  </a:lnTo>
                  <a:lnTo>
                    <a:pt x="68" y="0"/>
                  </a:lnTo>
                  <a:lnTo>
                    <a:pt x="44" y="11"/>
                  </a:lnTo>
                  <a:lnTo>
                    <a:pt x="44" y="11"/>
                  </a:lnTo>
                  <a:lnTo>
                    <a:pt x="24" y="21"/>
                  </a:lnTo>
                  <a:lnTo>
                    <a:pt x="0" y="37"/>
                  </a:lnTo>
                  <a:lnTo>
                    <a:pt x="0" y="37"/>
                  </a:lnTo>
                  <a:lnTo>
                    <a:pt x="1" y="38"/>
                  </a:lnTo>
                  <a:lnTo>
                    <a:pt x="1" y="38"/>
                  </a:lnTo>
                  <a:lnTo>
                    <a:pt x="8" y="44"/>
                  </a:lnTo>
                  <a:lnTo>
                    <a:pt x="17" y="50"/>
                  </a:lnTo>
                  <a:lnTo>
                    <a:pt x="17" y="50"/>
                  </a:lnTo>
                  <a:lnTo>
                    <a:pt x="20" y="54"/>
                  </a:lnTo>
                  <a:lnTo>
                    <a:pt x="24" y="58"/>
                  </a:lnTo>
                  <a:lnTo>
                    <a:pt x="24" y="58"/>
                  </a:lnTo>
                  <a:lnTo>
                    <a:pt x="29" y="61"/>
                  </a:lnTo>
                  <a:lnTo>
                    <a:pt x="31" y="66"/>
                  </a:lnTo>
                  <a:lnTo>
                    <a:pt x="31" y="66"/>
                  </a:lnTo>
                  <a:lnTo>
                    <a:pt x="65" y="67"/>
                  </a:lnTo>
                  <a:lnTo>
                    <a:pt x="65" y="67"/>
                  </a:lnTo>
                  <a:lnTo>
                    <a:pt x="62" y="60"/>
                  </a:lnTo>
                  <a:lnTo>
                    <a:pt x="62" y="57"/>
                  </a:lnTo>
                  <a:lnTo>
                    <a:pt x="63" y="56"/>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98" name="Freeform 261"/>
            <p:cNvSpPr>
              <a:spLocks/>
            </p:cNvSpPr>
            <p:nvPr/>
          </p:nvSpPr>
          <p:spPr bwMode="auto">
            <a:xfrm>
              <a:off x="2065338" y="4375579"/>
              <a:ext cx="114300" cy="106363"/>
            </a:xfrm>
            <a:custGeom>
              <a:avLst/>
              <a:gdLst>
                <a:gd name="T0" fmla="*/ 63 w 72"/>
                <a:gd name="T1" fmla="*/ 56 h 67"/>
                <a:gd name="T2" fmla="*/ 63 w 72"/>
                <a:gd name="T3" fmla="*/ 56 h 67"/>
                <a:gd name="T4" fmla="*/ 65 w 72"/>
                <a:gd name="T5" fmla="*/ 54 h 67"/>
                <a:gd name="T6" fmla="*/ 65 w 72"/>
                <a:gd name="T7" fmla="*/ 51 h 67"/>
                <a:gd name="T8" fmla="*/ 65 w 72"/>
                <a:gd name="T9" fmla="*/ 50 h 67"/>
                <a:gd name="T10" fmla="*/ 66 w 72"/>
                <a:gd name="T11" fmla="*/ 47 h 67"/>
                <a:gd name="T12" fmla="*/ 66 w 72"/>
                <a:gd name="T13" fmla="*/ 47 h 67"/>
                <a:gd name="T14" fmla="*/ 66 w 72"/>
                <a:gd name="T15" fmla="*/ 42 h 67"/>
                <a:gd name="T16" fmla="*/ 66 w 72"/>
                <a:gd name="T17" fmla="*/ 35 h 67"/>
                <a:gd name="T18" fmla="*/ 68 w 72"/>
                <a:gd name="T19" fmla="*/ 28 h 67"/>
                <a:gd name="T20" fmla="*/ 69 w 72"/>
                <a:gd name="T21" fmla="*/ 24 h 67"/>
                <a:gd name="T22" fmla="*/ 69 w 72"/>
                <a:gd name="T23" fmla="*/ 24 h 67"/>
                <a:gd name="T24" fmla="*/ 72 w 72"/>
                <a:gd name="T25" fmla="*/ 19 h 67"/>
                <a:gd name="T26" fmla="*/ 72 w 72"/>
                <a:gd name="T27" fmla="*/ 16 h 67"/>
                <a:gd name="T28" fmla="*/ 72 w 72"/>
                <a:gd name="T29" fmla="*/ 12 h 67"/>
                <a:gd name="T30" fmla="*/ 71 w 72"/>
                <a:gd name="T31" fmla="*/ 9 h 67"/>
                <a:gd name="T32" fmla="*/ 71 w 72"/>
                <a:gd name="T33" fmla="*/ 9 h 67"/>
                <a:gd name="T34" fmla="*/ 68 w 72"/>
                <a:gd name="T35" fmla="*/ 0 h 67"/>
                <a:gd name="T36" fmla="*/ 68 w 72"/>
                <a:gd name="T37" fmla="*/ 0 h 67"/>
                <a:gd name="T38" fmla="*/ 44 w 72"/>
                <a:gd name="T39" fmla="*/ 11 h 67"/>
                <a:gd name="T40" fmla="*/ 44 w 72"/>
                <a:gd name="T41" fmla="*/ 11 h 67"/>
                <a:gd name="T42" fmla="*/ 24 w 72"/>
                <a:gd name="T43" fmla="*/ 21 h 67"/>
                <a:gd name="T44" fmla="*/ 0 w 72"/>
                <a:gd name="T45" fmla="*/ 37 h 67"/>
                <a:gd name="T46" fmla="*/ 0 w 72"/>
                <a:gd name="T47" fmla="*/ 37 h 67"/>
                <a:gd name="T48" fmla="*/ 1 w 72"/>
                <a:gd name="T49" fmla="*/ 38 h 67"/>
                <a:gd name="T50" fmla="*/ 1 w 72"/>
                <a:gd name="T51" fmla="*/ 38 h 67"/>
                <a:gd name="T52" fmla="*/ 8 w 72"/>
                <a:gd name="T53" fmla="*/ 44 h 67"/>
                <a:gd name="T54" fmla="*/ 17 w 72"/>
                <a:gd name="T55" fmla="*/ 50 h 67"/>
                <a:gd name="T56" fmla="*/ 17 w 72"/>
                <a:gd name="T57" fmla="*/ 50 h 67"/>
                <a:gd name="T58" fmla="*/ 20 w 72"/>
                <a:gd name="T59" fmla="*/ 54 h 67"/>
                <a:gd name="T60" fmla="*/ 24 w 72"/>
                <a:gd name="T61" fmla="*/ 58 h 67"/>
                <a:gd name="T62" fmla="*/ 24 w 72"/>
                <a:gd name="T63" fmla="*/ 58 h 67"/>
                <a:gd name="T64" fmla="*/ 29 w 72"/>
                <a:gd name="T65" fmla="*/ 61 h 67"/>
                <a:gd name="T66" fmla="*/ 31 w 72"/>
                <a:gd name="T67" fmla="*/ 66 h 67"/>
                <a:gd name="T68" fmla="*/ 31 w 72"/>
                <a:gd name="T69" fmla="*/ 66 h 67"/>
                <a:gd name="T70" fmla="*/ 65 w 72"/>
                <a:gd name="T71" fmla="*/ 67 h 67"/>
                <a:gd name="T72" fmla="*/ 65 w 72"/>
                <a:gd name="T73" fmla="*/ 67 h 67"/>
                <a:gd name="T74" fmla="*/ 62 w 72"/>
                <a:gd name="T75" fmla="*/ 60 h 67"/>
                <a:gd name="T76" fmla="*/ 62 w 72"/>
                <a:gd name="T77" fmla="*/ 57 h 67"/>
                <a:gd name="T78" fmla="*/ 63 w 72"/>
                <a:gd name="T79" fmla="*/ 5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67">
                  <a:moveTo>
                    <a:pt x="63" y="56"/>
                  </a:moveTo>
                  <a:lnTo>
                    <a:pt x="63" y="56"/>
                  </a:lnTo>
                  <a:lnTo>
                    <a:pt x="65" y="54"/>
                  </a:lnTo>
                  <a:lnTo>
                    <a:pt x="65" y="51"/>
                  </a:lnTo>
                  <a:lnTo>
                    <a:pt x="65" y="50"/>
                  </a:lnTo>
                  <a:lnTo>
                    <a:pt x="66" y="47"/>
                  </a:lnTo>
                  <a:lnTo>
                    <a:pt x="66" y="47"/>
                  </a:lnTo>
                  <a:lnTo>
                    <a:pt x="66" y="42"/>
                  </a:lnTo>
                  <a:lnTo>
                    <a:pt x="66" y="35"/>
                  </a:lnTo>
                  <a:lnTo>
                    <a:pt x="68" y="28"/>
                  </a:lnTo>
                  <a:lnTo>
                    <a:pt x="69" y="24"/>
                  </a:lnTo>
                  <a:lnTo>
                    <a:pt x="69" y="24"/>
                  </a:lnTo>
                  <a:lnTo>
                    <a:pt x="72" y="19"/>
                  </a:lnTo>
                  <a:lnTo>
                    <a:pt x="72" y="16"/>
                  </a:lnTo>
                  <a:lnTo>
                    <a:pt x="72" y="12"/>
                  </a:lnTo>
                  <a:lnTo>
                    <a:pt x="71" y="9"/>
                  </a:lnTo>
                  <a:lnTo>
                    <a:pt x="71" y="9"/>
                  </a:lnTo>
                  <a:lnTo>
                    <a:pt x="68" y="0"/>
                  </a:lnTo>
                  <a:lnTo>
                    <a:pt x="68" y="0"/>
                  </a:lnTo>
                  <a:lnTo>
                    <a:pt x="44" y="11"/>
                  </a:lnTo>
                  <a:lnTo>
                    <a:pt x="44" y="11"/>
                  </a:lnTo>
                  <a:lnTo>
                    <a:pt x="24" y="21"/>
                  </a:lnTo>
                  <a:lnTo>
                    <a:pt x="0" y="37"/>
                  </a:lnTo>
                  <a:lnTo>
                    <a:pt x="0" y="37"/>
                  </a:lnTo>
                  <a:lnTo>
                    <a:pt x="1" y="38"/>
                  </a:lnTo>
                  <a:lnTo>
                    <a:pt x="1" y="38"/>
                  </a:lnTo>
                  <a:lnTo>
                    <a:pt x="8" y="44"/>
                  </a:lnTo>
                  <a:lnTo>
                    <a:pt x="17" y="50"/>
                  </a:lnTo>
                  <a:lnTo>
                    <a:pt x="17" y="50"/>
                  </a:lnTo>
                  <a:lnTo>
                    <a:pt x="20" y="54"/>
                  </a:lnTo>
                  <a:lnTo>
                    <a:pt x="24" y="58"/>
                  </a:lnTo>
                  <a:lnTo>
                    <a:pt x="24" y="58"/>
                  </a:lnTo>
                  <a:lnTo>
                    <a:pt x="29" y="61"/>
                  </a:lnTo>
                  <a:lnTo>
                    <a:pt x="31" y="66"/>
                  </a:lnTo>
                  <a:lnTo>
                    <a:pt x="31" y="66"/>
                  </a:lnTo>
                  <a:lnTo>
                    <a:pt x="65" y="67"/>
                  </a:lnTo>
                  <a:lnTo>
                    <a:pt x="65" y="67"/>
                  </a:lnTo>
                  <a:lnTo>
                    <a:pt x="62" y="60"/>
                  </a:lnTo>
                  <a:lnTo>
                    <a:pt x="62" y="57"/>
                  </a:lnTo>
                  <a:lnTo>
                    <a:pt x="63" y="5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99" name="Freeform 262"/>
            <p:cNvSpPr>
              <a:spLocks/>
            </p:cNvSpPr>
            <p:nvPr/>
          </p:nvSpPr>
          <p:spPr bwMode="auto">
            <a:xfrm>
              <a:off x="2381251" y="5210604"/>
              <a:ext cx="207963" cy="1141413"/>
            </a:xfrm>
            <a:custGeom>
              <a:avLst/>
              <a:gdLst>
                <a:gd name="T0" fmla="*/ 48 w 131"/>
                <a:gd name="T1" fmla="*/ 652 h 719"/>
                <a:gd name="T2" fmla="*/ 31 w 131"/>
                <a:gd name="T3" fmla="*/ 655 h 719"/>
                <a:gd name="T4" fmla="*/ 32 w 131"/>
                <a:gd name="T5" fmla="*/ 625 h 719"/>
                <a:gd name="T6" fmla="*/ 54 w 131"/>
                <a:gd name="T7" fmla="*/ 571 h 719"/>
                <a:gd name="T8" fmla="*/ 56 w 131"/>
                <a:gd name="T9" fmla="*/ 535 h 719"/>
                <a:gd name="T10" fmla="*/ 61 w 131"/>
                <a:gd name="T11" fmla="*/ 519 h 719"/>
                <a:gd name="T12" fmla="*/ 66 w 131"/>
                <a:gd name="T13" fmla="*/ 509 h 719"/>
                <a:gd name="T14" fmla="*/ 53 w 131"/>
                <a:gd name="T15" fmla="*/ 491 h 719"/>
                <a:gd name="T16" fmla="*/ 53 w 131"/>
                <a:gd name="T17" fmla="*/ 467 h 719"/>
                <a:gd name="T18" fmla="*/ 57 w 131"/>
                <a:gd name="T19" fmla="*/ 415 h 719"/>
                <a:gd name="T20" fmla="*/ 66 w 131"/>
                <a:gd name="T21" fmla="*/ 386 h 719"/>
                <a:gd name="T22" fmla="*/ 76 w 131"/>
                <a:gd name="T23" fmla="*/ 331 h 719"/>
                <a:gd name="T24" fmla="*/ 82 w 131"/>
                <a:gd name="T25" fmla="*/ 300 h 719"/>
                <a:gd name="T26" fmla="*/ 77 w 131"/>
                <a:gd name="T27" fmla="*/ 233 h 719"/>
                <a:gd name="T28" fmla="*/ 102 w 131"/>
                <a:gd name="T29" fmla="*/ 136 h 719"/>
                <a:gd name="T30" fmla="*/ 129 w 131"/>
                <a:gd name="T31" fmla="*/ 96 h 719"/>
                <a:gd name="T32" fmla="*/ 119 w 131"/>
                <a:gd name="T33" fmla="*/ 84 h 719"/>
                <a:gd name="T34" fmla="*/ 106 w 131"/>
                <a:gd name="T35" fmla="*/ 38 h 719"/>
                <a:gd name="T36" fmla="*/ 96 w 131"/>
                <a:gd name="T37" fmla="*/ 10 h 719"/>
                <a:gd name="T38" fmla="*/ 74 w 131"/>
                <a:gd name="T39" fmla="*/ 12 h 719"/>
                <a:gd name="T40" fmla="*/ 76 w 131"/>
                <a:gd name="T41" fmla="*/ 47 h 719"/>
                <a:gd name="T42" fmla="*/ 77 w 131"/>
                <a:gd name="T43" fmla="*/ 87 h 719"/>
                <a:gd name="T44" fmla="*/ 69 w 131"/>
                <a:gd name="T45" fmla="*/ 99 h 719"/>
                <a:gd name="T46" fmla="*/ 70 w 131"/>
                <a:gd name="T47" fmla="*/ 141 h 719"/>
                <a:gd name="T48" fmla="*/ 63 w 131"/>
                <a:gd name="T49" fmla="*/ 187 h 719"/>
                <a:gd name="T50" fmla="*/ 58 w 131"/>
                <a:gd name="T51" fmla="*/ 207 h 719"/>
                <a:gd name="T52" fmla="*/ 60 w 131"/>
                <a:gd name="T53" fmla="*/ 247 h 719"/>
                <a:gd name="T54" fmla="*/ 47 w 131"/>
                <a:gd name="T55" fmla="*/ 306 h 719"/>
                <a:gd name="T56" fmla="*/ 25 w 131"/>
                <a:gd name="T57" fmla="*/ 355 h 719"/>
                <a:gd name="T58" fmla="*/ 29 w 131"/>
                <a:gd name="T59" fmla="*/ 377 h 719"/>
                <a:gd name="T60" fmla="*/ 27 w 131"/>
                <a:gd name="T61" fmla="*/ 409 h 719"/>
                <a:gd name="T62" fmla="*/ 24 w 131"/>
                <a:gd name="T63" fmla="*/ 448 h 719"/>
                <a:gd name="T64" fmla="*/ 24 w 131"/>
                <a:gd name="T65" fmla="*/ 477 h 719"/>
                <a:gd name="T66" fmla="*/ 35 w 131"/>
                <a:gd name="T67" fmla="*/ 455 h 719"/>
                <a:gd name="T68" fmla="*/ 37 w 131"/>
                <a:gd name="T69" fmla="*/ 446 h 719"/>
                <a:gd name="T70" fmla="*/ 40 w 131"/>
                <a:gd name="T71" fmla="*/ 465 h 719"/>
                <a:gd name="T72" fmla="*/ 34 w 131"/>
                <a:gd name="T73" fmla="*/ 493 h 719"/>
                <a:gd name="T74" fmla="*/ 35 w 131"/>
                <a:gd name="T75" fmla="*/ 513 h 719"/>
                <a:gd name="T76" fmla="*/ 35 w 131"/>
                <a:gd name="T77" fmla="*/ 523 h 719"/>
                <a:gd name="T78" fmla="*/ 28 w 131"/>
                <a:gd name="T79" fmla="*/ 541 h 719"/>
                <a:gd name="T80" fmla="*/ 16 w 131"/>
                <a:gd name="T81" fmla="*/ 538 h 719"/>
                <a:gd name="T82" fmla="*/ 6 w 131"/>
                <a:gd name="T83" fmla="*/ 538 h 719"/>
                <a:gd name="T84" fmla="*/ 0 w 131"/>
                <a:gd name="T85" fmla="*/ 561 h 719"/>
                <a:gd name="T86" fmla="*/ 9 w 131"/>
                <a:gd name="T87" fmla="*/ 559 h 719"/>
                <a:gd name="T88" fmla="*/ 27 w 131"/>
                <a:gd name="T89" fmla="*/ 584 h 719"/>
                <a:gd name="T90" fmla="*/ 21 w 131"/>
                <a:gd name="T91" fmla="*/ 587 h 719"/>
                <a:gd name="T92" fmla="*/ 18 w 131"/>
                <a:gd name="T93" fmla="*/ 601 h 719"/>
                <a:gd name="T94" fmla="*/ 16 w 131"/>
                <a:gd name="T95" fmla="*/ 619 h 719"/>
                <a:gd name="T96" fmla="*/ 15 w 131"/>
                <a:gd name="T97" fmla="*/ 629 h 719"/>
                <a:gd name="T98" fmla="*/ 15 w 131"/>
                <a:gd name="T99" fmla="*/ 645 h 719"/>
                <a:gd name="T100" fmla="*/ 15 w 131"/>
                <a:gd name="T101" fmla="*/ 661 h 719"/>
                <a:gd name="T102" fmla="*/ 18 w 131"/>
                <a:gd name="T103" fmla="*/ 678 h 719"/>
                <a:gd name="T104" fmla="*/ 18 w 131"/>
                <a:gd name="T105" fmla="*/ 690 h 719"/>
                <a:gd name="T106" fmla="*/ 22 w 131"/>
                <a:gd name="T107" fmla="*/ 704 h 719"/>
                <a:gd name="T108" fmla="*/ 29 w 131"/>
                <a:gd name="T109" fmla="*/ 696 h 719"/>
                <a:gd name="T110" fmla="*/ 32 w 131"/>
                <a:gd name="T111" fmla="*/ 716 h 719"/>
                <a:gd name="T112" fmla="*/ 45 w 131"/>
                <a:gd name="T113" fmla="*/ 713 h 719"/>
                <a:gd name="T114" fmla="*/ 61 w 131"/>
                <a:gd name="T115" fmla="*/ 709 h 719"/>
                <a:gd name="T116" fmla="*/ 73 w 131"/>
                <a:gd name="T117" fmla="*/ 710 h 719"/>
                <a:gd name="T118" fmla="*/ 95 w 131"/>
                <a:gd name="T119" fmla="*/ 697 h 719"/>
                <a:gd name="T120" fmla="*/ 79 w 131"/>
                <a:gd name="T121" fmla="*/ 688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1" h="719">
                  <a:moveTo>
                    <a:pt x="51" y="684"/>
                  </a:moveTo>
                  <a:lnTo>
                    <a:pt x="51" y="684"/>
                  </a:lnTo>
                  <a:lnTo>
                    <a:pt x="48" y="677"/>
                  </a:lnTo>
                  <a:lnTo>
                    <a:pt x="48" y="669"/>
                  </a:lnTo>
                  <a:lnTo>
                    <a:pt x="48" y="656"/>
                  </a:lnTo>
                  <a:lnTo>
                    <a:pt x="48" y="656"/>
                  </a:lnTo>
                  <a:lnTo>
                    <a:pt x="48" y="652"/>
                  </a:lnTo>
                  <a:lnTo>
                    <a:pt x="47" y="651"/>
                  </a:lnTo>
                  <a:lnTo>
                    <a:pt x="45" y="651"/>
                  </a:lnTo>
                  <a:lnTo>
                    <a:pt x="42" y="652"/>
                  </a:lnTo>
                  <a:lnTo>
                    <a:pt x="42" y="652"/>
                  </a:lnTo>
                  <a:lnTo>
                    <a:pt x="37" y="656"/>
                  </a:lnTo>
                  <a:lnTo>
                    <a:pt x="34" y="656"/>
                  </a:lnTo>
                  <a:lnTo>
                    <a:pt x="31" y="655"/>
                  </a:lnTo>
                  <a:lnTo>
                    <a:pt x="31" y="655"/>
                  </a:lnTo>
                  <a:lnTo>
                    <a:pt x="29" y="651"/>
                  </a:lnTo>
                  <a:lnTo>
                    <a:pt x="28" y="642"/>
                  </a:lnTo>
                  <a:lnTo>
                    <a:pt x="28" y="633"/>
                  </a:lnTo>
                  <a:lnTo>
                    <a:pt x="29" y="629"/>
                  </a:lnTo>
                  <a:lnTo>
                    <a:pt x="32" y="625"/>
                  </a:lnTo>
                  <a:lnTo>
                    <a:pt x="32" y="625"/>
                  </a:lnTo>
                  <a:lnTo>
                    <a:pt x="42" y="610"/>
                  </a:lnTo>
                  <a:lnTo>
                    <a:pt x="45" y="604"/>
                  </a:lnTo>
                  <a:lnTo>
                    <a:pt x="47" y="598"/>
                  </a:lnTo>
                  <a:lnTo>
                    <a:pt x="47" y="598"/>
                  </a:lnTo>
                  <a:lnTo>
                    <a:pt x="48" y="585"/>
                  </a:lnTo>
                  <a:lnTo>
                    <a:pt x="50" y="578"/>
                  </a:lnTo>
                  <a:lnTo>
                    <a:pt x="54" y="571"/>
                  </a:lnTo>
                  <a:lnTo>
                    <a:pt x="54" y="571"/>
                  </a:lnTo>
                  <a:lnTo>
                    <a:pt x="56" y="568"/>
                  </a:lnTo>
                  <a:lnTo>
                    <a:pt x="56" y="564"/>
                  </a:lnTo>
                  <a:lnTo>
                    <a:pt x="57" y="552"/>
                  </a:lnTo>
                  <a:lnTo>
                    <a:pt x="56" y="542"/>
                  </a:lnTo>
                  <a:lnTo>
                    <a:pt x="56" y="535"/>
                  </a:lnTo>
                  <a:lnTo>
                    <a:pt x="56" y="535"/>
                  </a:lnTo>
                  <a:lnTo>
                    <a:pt x="54" y="532"/>
                  </a:lnTo>
                  <a:lnTo>
                    <a:pt x="56" y="529"/>
                  </a:lnTo>
                  <a:lnTo>
                    <a:pt x="58" y="526"/>
                  </a:lnTo>
                  <a:lnTo>
                    <a:pt x="61" y="522"/>
                  </a:lnTo>
                  <a:lnTo>
                    <a:pt x="63" y="520"/>
                  </a:lnTo>
                  <a:lnTo>
                    <a:pt x="61" y="519"/>
                  </a:lnTo>
                  <a:lnTo>
                    <a:pt x="61" y="519"/>
                  </a:lnTo>
                  <a:lnTo>
                    <a:pt x="56" y="513"/>
                  </a:lnTo>
                  <a:lnTo>
                    <a:pt x="54" y="513"/>
                  </a:lnTo>
                  <a:lnTo>
                    <a:pt x="56" y="512"/>
                  </a:lnTo>
                  <a:lnTo>
                    <a:pt x="56" y="512"/>
                  </a:lnTo>
                  <a:lnTo>
                    <a:pt x="61" y="510"/>
                  </a:lnTo>
                  <a:lnTo>
                    <a:pt x="66" y="509"/>
                  </a:lnTo>
                  <a:lnTo>
                    <a:pt x="66" y="509"/>
                  </a:lnTo>
                  <a:lnTo>
                    <a:pt x="64" y="506"/>
                  </a:lnTo>
                  <a:lnTo>
                    <a:pt x="64" y="506"/>
                  </a:lnTo>
                  <a:lnTo>
                    <a:pt x="60" y="503"/>
                  </a:lnTo>
                  <a:lnTo>
                    <a:pt x="56" y="500"/>
                  </a:lnTo>
                  <a:lnTo>
                    <a:pt x="53" y="496"/>
                  </a:lnTo>
                  <a:lnTo>
                    <a:pt x="51" y="494"/>
                  </a:lnTo>
                  <a:lnTo>
                    <a:pt x="53" y="491"/>
                  </a:lnTo>
                  <a:lnTo>
                    <a:pt x="53" y="491"/>
                  </a:lnTo>
                  <a:lnTo>
                    <a:pt x="54" y="487"/>
                  </a:lnTo>
                  <a:lnTo>
                    <a:pt x="57" y="486"/>
                  </a:lnTo>
                  <a:lnTo>
                    <a:pt x="58" y="483"/>
                  </a:lnTo>
                  <a:lnTo>
                    <a:pt x="57" y="478"/>
                  </a:lnTo>
                  <a:lnTo>
                    <a:pt x="57" y="478"/>
                  </a:lnTo>
                  <a:lnTo>
                    <a:pt x="53" y="467"/>
                  </a:lnTo>
                  <a:lnTo>
                    <a:pt x="51" y="461"/>
                  </a:lnTo>
                  <a:lnTo>
                    <a:pt x="51" y="455"/>
                  </a:lnTo>
                  <a:lnTo>
                    <a:pt x="51" y="455"/>
                  </a:lnTo>
                  <a:lnTo>
                    <a:pt x="54" y="441"/>
                  </a:lnTo>
                  <a:lnTo>
                    <a:pt x="56" y="423"/>
                  </a:lnTo>
                  <a:lnTo>
                    <a:pt x="56" y="423"/>
                  </a:lnTo>
                  <a:lnTo>
                    <a:pt x="57" y="415"/>
                  </a:lnTo>
                  <a:lnTo>
                    <a:pt x="58" y="407"/>
                  </a:lnTo>
                  <a:lnTo>
                    <a:pt x="58" y="407"/>
                  </a:lnTo>
                  <a:lnTo>
                    <a:pt x="60" y="403"/>
                  </a:lnTo>
                  <a:lnTo>
                    <a:pt x="61" y="397"/>
                  </a:lnTo>
                  <a:lnTo>
                    <a:pt x="64" y="390"/>
                  </a:lnTo>
                  <a:lnTo>
                    <a:pt x="64" y="390"/>
                  </a:lnTo>
                  <a:lnTo>
                    <a:pt x="66" y="386"/>
                  </a:lnTo>
                  <a:lnTo>
                    <a:pt x="66" y="377"/>
                  </a:lnTo>
                  <a:lnTo>
                    <a:pt x="64" y="357"/>
                  </a:lnTo>
                  <a:lnTo>
                    <a:pt x="64" y="357"/>
                  </a:lnTo>
                  <a:lnTo>
                    <a:pt x="66" y="348"/>
                  </a:lnTo>
                  <a:lnTo>
                    <a:pt x="69" y="341"/>
                  </a:lnTo>
                  <a:lnTo>
                    <a:pt x="71" y="335"/>
                  </a:lnTo>
                  <a:lnTo>
                    <a:pt x="76" y="331"/>
                  </a:lnTo>
                  <a:lnTo>
                    <a:pt x="76" y="331"/>
                  </a:lnTo>
                  <a:lnTo>
                    <a:pt x="77" y="328"/>
                  </a:lnTo>
                  <a:lnTo>
                    <a:pt x="79" y="323"/>
                  </a:lnTo>
                  <a:lnTo>
                    <a:pt x="79" y="315"/>
                  </a:lnTo>
                  <a:lnTo>
                    <a:pt x="80" y="307"/>
                  </a:lnTo>
                  <a:lnTo>
                    <a:pt x="82" y="300"/>
                  </a:lnTo>
                  <a:lnTo>
                    <a:pt x="82" y="300"/>
                  </a:lnTo>
                  <a:lnTo>
                    <a:pt x="82" y="297"/>
                  </a:lnTo>
                  <a:lnTo>
                    <a:pt x="83" y="293"/>
                  </a:lnTo>
                  <a:lnTo>
                    <a:pt x="82" y="280"/>
                  </a:lnTo>
                  <a:lnTo>
                    <a:pt x="80" y="258"/>
                  </a:lnTo>
                  <a:lnTo>
                    <a:pt x="80" y="258"/>
                  </a:lnTo>
                  <a:lnTo>
                    <a:pt x="79" y="242"/>
                  </a:lnTo>
                  <a:lnTo>
                    <a:pt x="77" y="233"/>
                  </a:lnTo>
                  <a:lnTo>
                    <a:pt x="79" y="225"/>
                  </a:lnTo>
                  <a:lnTo>
                    <a:pt x="79" y="225"/>
                  </a:lnTo>
                  <a:lnTo>
                    <a:pt x="90" y="189"/>
                  </a:lnTo>
                  <a:lnTo>
                    <a:pt x="100" y="152"/>
                  </a:lnTo>
                  <a:lnTo>
                    <a:pt x="100" y="152"/>
                  </a:lnTo>
                  <a:lnTo>
                    <a:pt x="100" y="145"/>
                  </a:lnTo>
                  <a:lnTo>
                    <a:pt x="102" y="136"/>
                  </a:lnTo>
                  <a:lnTo>
                    <a:pt x="103" y="128"/>
                  </a:lnTo>
                  <a:lnTo>
                    <a:pt x="106" y="123"/>
                  </a:lnTo>
                  <a:lnTo>
                    <a:pt x="108" y="121"/>
                  </a:lnTo>
                  <a:lnTo>
                    <a:pt x="108" y="121"/>
                  </a:lnTo>
                  <a:lnTo>
                    <a:pt x="115" y="113"/>
                  </a:lnTo>
                  <a:lnTo>
                    <a:pt x="124" y="105"/>
                  </a:lnTo>
                  <a:lnTo>
                    <a:pt x="129" y="96"/>
                  </a:lnTo>
                  <a:lnTo>
                    <a:pt x="131" y="93"/>
                  </a:lnTo>
                  <a:lnTo>
                    <a:pt x="131" y="90"/>
                  </a:lnTo>
                  <a:lnTo>
                    <a:pt x="131" y="90"/>
                  </a:lnTo>
                  <a:lnTo>
                    <a:pt x="126" y="89"/>
                  </a:lnTo>
                  <a:lnTo>
                    <a:pt x="124" y="89"/>
                  </a:lnTo>
                  <a:lnTo>
                    <a:pt x="119" y="87"/>
                  </a:lnTo>
                  <a:lnTo>
                    <a:pt x="119" y="84"/>
                  </a:lnTo>
                  <a:lnTo>
                    <a:pt x="118" y="81"/>
                  </a:lnTo>
                  <a:lnTo>
                    <a:pt x="118" y="81"/>
                  </a:lnTo>
                  <a:lnTo>
                    <a:pt x="113" y="63"/>
                  </a:lnTo>
                  <a:lnTo>
                    <a:pt x="108" y="47"/>
                  </a:lnTo>
                  <a:lnTo>
                    <a:pt x="108" y="47"/>
                  </a:lnTo>
                  <a:lnTo>
                    <a:pt x="106" y="41"/>
                  </a:lnTo>
                  <a:lnTo>
                    <a:pt x="106" y="38"/>
                  </a:lnTo>
                  <a:lnTo>
                    <a:pt x="108" y="35"/>
                  </a:lnTo>
                  <a:lnTo>
                    <a:pt x="105" y="31"/>
                  </a:lnTo>
                  <a:lnTo>
                    <a:pt x="105" y="31"/>
                  </a:lnTo>
                  <a:lnTo>
                    <a:pt x="98" y="21"/>
                  </a:lnTo>
                  <a:lnTo>
                    <a:pt x="96" y="16"/>
                  </a:lnTo>
                  <a:lnTo>
                    <a:pt x="96" y="10"/>
                  </a:lnTo>
                  <a:lnTo>
                    <a:pt x="96" y="10"/>
                  </a:lnTo>
                  <a:lnTo>
                    <a:pt x="98" y="3"/>
                  </a:lnTo>
                  <a:lnTo>
                    <a:pt x="96" y="0"/>
                  </a:lnTo>
                  <a:lnTo>
                    <a:pt x="93" y="0"/>
                  </a:lnTo>
                  <a:lnTo>
                    <a:pt x="93" y="0"/>
                  </a:lnTo>
                  <a:lnTo>
                    <a:pt x="86" y="3"/>
                  </a:lnTo>
                  <a:lnTo>
                    <a:pt x="74" y="12"/>
                  </a:lnTo>
                  <a:lnTo>
                    <a:pt x="74" y="12"/>
                  </a:lnTo>
                  <a:lnTo>
                    <a:pt x="79" y="21"/>
                  </a:lnTo>
                  <a:lnTo>
                    <a:pt x="80" y="25"/>
                  </a:lnTo>
                  <a:lnTo>
                    <a:pt x="79" y="29"/>
                  </a:lnTo>
                  <a:lnTo>
                    <a:pt x="79" y="29"/>
                  </a:lnTo>
                  <a:lnTo>
                    <a:pt x="76" y="38"/>
                  </a:lnTo>
                  <a:lnTo>
                    <a:pt x="76" y="42"/>
                  </a:lnTo>
                  <a:lnTo>
                    <a:pt x="76" y="47"/>
                  </a:lnTo>
                  <a:lnTo>
                    <a:pt x="76" y="47"/>
                  </a:lnTo>
                  <a:lnTo>
                    <a:pt x="79" y="52"/>
                  </a:lnTo>
                  <a:lnTo>
                    <a:pt x="79" y="57"/>
                  </a:lnTo>
                  <a:lnTo>
                    <a:pt x="79" y="63"/>
                  </a:lnTo>
                  <a:lnTo>
                    <a:pt x="79" y="63"/>
                  </a:lnTo>
                  <a:lnTo>
                    <a:pt x="79" y="78"/>
                  </a:lnTo>
                  <a:lnTo>
                    <a:pt x="77" y="87"/>
                  </a:lnTo>
                  <a:lnTo>
                    <a:pt x="77" y="89"/>
                  </a:lnTo>
                  <a:lnTo>
                    <a:pt x="76" y="90"/>
                  </a:lnTo>
                  <a:lnTo>
                    <a:pt x="76" y="90"/>
                  </a:lnTo>
                  <a:lnTo>
                    <a:pt x="70" y="94"/>
                  </a:lnTo>
                  <a:lnTo>
                    <a:pt x="69" y="96"/>
                  </a:lnTo>
                  <a:lnTo>
                    <a:pt x="69" y="99"/>
                  </a:lnTo>
                  <a:lnTo>
                    <a:pt x="69" y="99"/>
                  </a:lnTo>
                  <a:lnTo>
                    <a:pt x="71" y="107"/>
                  </a:lnTo>
                  <a:lnTo>
                    <a:pt x="71" y="113"/>
                  </a:lnTo>
                  <a:lnTo>
                    <a:pt x="71" y="119"/>
                  </a:lnTo>
                  <a:lnTo>
                    <a:pt x="71" y="119"/>
                  </a:lnTo>
                  <a:lnTo>
                    <a:pt x="70" y="131"/>
                  </a:lnTo>
                  <a:lnTo>
                    <a:pt x="70" y="141"/>
                  </a:lnTo>
                  <a:lnTo>
                    <a:pt x="70" y="141"/>
                  </a:lnTo>
                  <a:lnTo>
                    <a:pt x="67" y="154"/>
                  </a:lnTo>
                  <a:lnTo>
                    <a:pt x="66" y="167"/>
                  </a:lnTo>
                  <a:lnTo>
                    <a:pt x="66" y="167"/>
                  </a:lnTo>
                  <a:lnTo>
                    <a:pt x="66" y="177"/>
                  </a:lnTo>
                  <a:lnTo>
                    <a:pt x="64" y="184"/>
                  </a:lnTo>
                  <a:lnTo>
                    <a:pt x="63" y="187"/>
                  </a:lnTo>
                  <a:lnTo>
                    <a:pt x="63" y="187"/>
                  </a:lnTo>
                  <a:lnTo>
                    <a:pt x="60" y="190"/>
                  </a:lnTo>
                  <a:lnTo>
                    <a:pt x="57" y="196"/>
                  </a:lnTo>
                  <a:lnTo>
                    <a:pt x="56" y="202"/>
                  </a:lnTo>
                  <a:lnTo>
                    <a:pt x="56" y="203"/>
                  </a:lnTo>
                  <a:lnTo>
                    <a:pt x="57" y="206"/>
                  </a:lnTo>
                  <a:lnTo>
                    <a:pt x="57" y="206"/>
                  </a:lnTo>
                  <a:lnTo>
                    <a:pt x="58" y="207"/>
                  </a:lnTo>
                  <a:lnTo>
                    <a:pt x="60" y="210"/>
                  </a:lnTo>
                  <a:lnTo>
                    <a:pt x="57" y="215"/>
                  </a:lnTo>
                  <a:lnTo>
                    <a:pt x="57" y="215"/>
                  </a:lnTo>
                  <a:lnTo>
                    <a:pt x="57" y="222"/>
                  </a:lnTo>
                  <a:lnTo>
                    <a:pt x="57" y="231"/>
                  </a:lnTo>
                  <a:lnTo>
                    <a:pt x="60" y="247"/>
                  </a:lnTo>
                  <a:lnTo>
                    <a:pt x="60" y="247"/>
                  </a:lnTo>
                  <a:lnTo>
                    <a:pt x="60" y="254"/>
                  </a:lnTo>
                  <a:lnTo>
                    <a:pt x="60" y="261"/>
                  </a:lnTo>
                  <a:lnTo>
                    <a:pt x="58" y="274"/>
                  </a:lnTo>
                  <a:lnTo>
                    <a:pt x="58" y="274"/>
                  </a:lnTo>
                  <a:lnTo>
                    <a:pt x="51" y="290"/>
                  </a:lnTo>
                  <a:lnTo>
                    <a:pt x="51" y="290"/>
                  </a:lnTo>
                  <a:lnTo>
                    <a:pt x="47" y="306"/>
                  </a:lnTo>
                  <a:lnTo>
                    <a:pt x="40" y="323"/>
                  </a:lnTo>
                  <a:lnTo>
                    <a:pt x="40" y="323"/>
                  </a:lnTo>
                  <a:lnTo>
                    <a:pt x="35" y="336"/>
                  </a:lnTo>
                  <a:lnTo>
                    <a:pt x="34" y="342"/>
                  </a:lnTo>
                  <a:lnTo>
                    <a:pt x="31" y="348"/>
                  </a:lnTo>
                  <a:lnTo>
                    <a:pt x="31" y="348"/>
                  </a:lnTo>
                  <a:lnTo>
                    <a:pt x="25" y="355"/>
                  </a:lnTo>
                  <a:lnTo>
                    <a:pt x="24" y="359"/>
                  </a:lnTo>
                  <a:lnTo>
                    <a:pt x="25" y="364"/>
                  </a:lnTo>
                  <a:lnTo>
                    <a:pt x="25" y="364"/>
                  </a:lnTo>
                  <a:lnTo>
                    <a:pt x="29" y="370"/>
                  </a:lnTo>
                  <a:lnTo>
                    <a:pt x="31" y="373"/>
                  </a:lnTo>
                  <a:lnTo>
                    <a:pt x="29" y="377"/>
                  </a:lnTo>
                  <a:lnTo>
                    <a:pt x="29" y="377"/>
                  </a:lnTo>
                  <a:lnTo>
                    <a:pt x="29" y="380"/>
                  </a:lnTo>
                  <a:lnTo>
                    <a:pt x="31" y="383"/>
                  </a:lnTo>
                  <a:lnTo>
                    <a:pt x="31" y="386"/>
                  </a:lnTo>
                  <a:lnTo>
                    <a:pt x="31" y="390"/>
                  </a:lnTo>
                  <a:lnTo>
                    <a:pt x="31" y="390"/>
                  </a:lnTo>
                  <a:lnTo>
                    <a:pt x="29" y="400"/>
                  </a:lnTo>
                  <a:lnTo>
                    <a:pt x="27" y="409"/>
                  </a:lnTo>
                  <a:lnTo>
                    <a:pt x="27" y="409"/>
                  </a:lnTo>
                  <a:lnTo>
                    <a:pt x="25" y="415"/>
                  </a:lnTo>
                  <a:lnTo>
                    <a:pt x="25" y="422"/>
                  </a:lnTo>
                  <a:lnTo>
                    <a:pt x="24" y="433"/>
                  </a:lnTo>
                  <a:lnTo>
                    <a:pt x="24" y="433"/>
                  </a:lnTo>
                  <a:lnTo>
                    <a:pt x="25" y="442"/>
                  </a:lnTo>
                  <a:lnTo>
                    <a:pt x="24" y="448"/>
                  </a:lnTo>
                  <a:lnTo>
                    <a:pt x="24" y="448"/>
                  </a:lnTo>
                  <a:lnTo>
                    <a:pt x="21" y="454"/>
                  </a:lnTo>
                  <a:lnTo>
                    <a:pt x="19" y="462"/>
                  </a:lnTo>
                  <a:lnTo>
                    <a:pt x="19" y="462"/>
                  </a:lnTo>
                  <a:lnTo>
                    <a:pt x="21" y="471"/>
                  </a:lnTo>
                  <a:lnTo>
                    <a:pt x="22" y="475"/>
                  </a:lnTo>
                  <a:lnTo>
                    <a:pt x="24" y="477"/>
                  </a:lnTo>
                  <a:lnTo>
                    <a:pt x="24" y="477"/>
                  </a:lnTo>
                  <a:lnTo>
                    <a:pt x="25" y="475"/>
                  </a:lnTo>
                  <a:lnTo>
                    <a:pt x="28" y="471"/>
                  </a:lnTo>
                  <a:lnTo>
                    <a:pt x="29" y="462"/>
                  </a:lnTo>
                  <a:lnTo>
                    <a:pt x="29" y="462"/>
                  </a:lnTo>
                  <a:lnTo>
                    <a:pt x="34" y="458"/>
                  </a:lnTo>
                  <a:lnTo>
                    <a:pt x="35" y="455"/>
                  </a:lnTo>
                  <a:lnTo>
                    <a:pt x="35" y="452"/>
                  </a:lnTo>
                  <a:lnTo>
                    <a:pt x="35" y="452"/>
                  </a:lnTo>
                  <a:lnTo>
                    <a:pt x="34" y="446"/>
                  </a:lnTo>
                  <a:lnTo>
                    <a:pt x="34" y="445"/>
                  </a:lnTo>
                  <a:lnTo>
                    <a:pt x="35" y="445"/>
                  </a:lnTo>
                  <a:lnTo>
                    <a:pt x="35" y="445"/>
                  </a:lnTo>
                  <a:lnTo>
                    <a:pt x="37" y="446"/>
                  </a:lnTo>
                  <a:lnTo>
                    <a:pt x="38" y="445"/>
                  </a:lnTo>
                  <a:lnTo>
                    <a:pt x="40" y="445"/>
                  </a:lnTo>
                  <a:lnTo>
                    <a:pt x="40" y="449"/>
                  </a:lnTo>
                  <a:lnTo>
                    <a:pt x="40" y="449"/>
                  </a:lnTo>
                  <a:lnTo>
                    <a:pt x="41" y="457"/>
                  </a:lnTo>
                  <a:lnTo>
                    <a:pt x="40" y="465"/>
                  </a:lnTo>
                  <a:lnTo>
                    <a:pt x="40" y="465"/>
                  </a:lnTo>
                  <a:lnTo>
                    <a:pt x="38" y="471"/>
                  </a:lnTo>
                  <a:lnTo>
                    <a:pt x="38" y="478"/>
                  </a:lnTo>
                  <a:lnTo>
                    <a:pt x="40" y="483"/>
                  </a:lnTo>
                  <a:lnTo>
                    <a:pt x="38" y="486"/>
                  </a:lnTo>
                  <a:lnTo>
                    <a:pt x="38" y="486"/>
                  </a:lnTo>
                  <a:lnTo>
                    <a:pt x="37" y="490"/>
                  </a:lnTo>
                  <a:lnTo>
                    <a:pt x="34" y="493"/>
                  </a:lnTo>
                  <a:lnTo>
                    <a:pt x="34" y="493"/>
                  </a:lnTo>
                  <a:lnTo>
                    <a:pt x="38" y="499"/>
                  </a:lnTo>
                  <a:lnTo>
                    <a:pt x="40" y="504"/>
                  </a:lnTo>
                  <a:lnTo>
                    <a:pt x="40" y="504"/>
                  </a:lnTo>
                  <a:lnTo>
                    <a:pt x="38" y="509"/>
                  </a:lnTo>
                  <a:lnTo>
                    <a:pt x="37" y="512"/>
                  </a:lnTo>
                  <a:lnTo>
                    <a:pt x="35" y="513"/>
                  </a:lnTo>
                  <a:lnTo>
                    <a:pt x="35" y="513"/>
                  </a:lnTo>
                  <a:lnTo>
                    <a:pt x="32" y="513"/>
                  </a:lnTo>
                  <a:lnTo>
                    <a:pt x="31" y="514"/>
                  </a:lnTo>
                  <a:lnTo>
                    <a:pt x="31" y="517"/>
                  </a:lnTo>
                  <a:lnTo>
                    <a:pt x="32" y="520"/>
                  </a:lnTo>
                  <a:lnTo>
                    <a:pt x="32" y="520"/>
                  </a:lnTo>
                  <a:lnTo>
                    <a:pt x="35" y="523"/>
                  </a:lnTo>
                  <a:lnTo>
                    <a:pt x="34" y="526"/>
                  </a:lnTo>
                  <a:lnTo>
                    <a:pt x="34" y="526"/>
                  </a:lnTo>
                  <a:lnTo>
                    <a:pt x="31" y="529"/>
                  </a:lnTo>
                  <a:lnTo>
                    <a:pt x="29" y="532"/>
                  </a:lnTo>
                  <a:lnTo>
                    <a:pt x="28" y="538"/>
                  </a:lnTo>
                  <a:lnTo>
                    <a:pt x="28" y="538"/>
                  </a:lnTo>
                  <a:lnTo>
                    <a:pt x="28" y="541"/>
                  </a:lnTo>
                  <a:lnTo>
                    <a:pt x="27" y="542"/>
                  </a:lnTo>
                  <a:lnTo>
                    <a:pt x="24" y="541"/>
                  </a:lnTo>
                  <a:lnTo>
                    <a:pt x="24" y="541"/>
                  </a:lnTo>
                  <a:lnTo>
                    <a:pt x="21" y="539"/>
                  </a:lnTo>
                  <a:lnTo>
                    <a:pt x="19" y="539"/>
                  </a:lnTo>
                  <a:lnTo>
                    <a:pt x="18" y="539"/>
                  </a:lnTo>
                  <a:lnTo>
                    <a:pt x="16" y="538"/>
                  </a:lnTo>
                  <a:lnTo>
                    <a:pt x="16" y="538"/>
                  </a:lnTo>
                  <a:lnTo>
                    <a:pt x="14" y="535"/>
                  </a:lnTo>
                  <a:lnTo>
                    <a:pt x="11" y="533"/>
                  </a:lnTo>
                  <a:lnTo>
                    <a:pt x="9" y="533"/>
                  </a:lnTo>
                  <a:lnTo>
                    <a:pt x="6" y="535"/>
                  </a:lnTo>
                  <a:lnTo>
                    <a:pt x="6" y="535"/>
                  </a:lnTo>
                  <a:lnTo>
                    <a:pt x="6" y="538"/>
                  </a:lnTo>
                  <a:lnTo>
                    <a:pt x="6" y="541"/>
                  </a:lnTo>
                  <a:lnTo>
                    <a:pt x="6" y="542"/>
                  </a:lnTo>
                  <a:lnTo>
                    <a:pt x="5" y="543"/>
                  </a:lnTo>
                  <a:lnTo>
                    <a:pt x="5" y="543"/>
                  </a:lnTo>
                  <a:lnTo>
                    <a:pt x="2" y="548"/>
                  </a:lnTo>
                  <a:lnTo>
                    <a:pt x="0" y="555"/>
                  </a:lnTo>
                  <a:lnTo>
                    <a:pt x="0" y="561"/>
                  </a:lnTo>
                  <a:lnTo>
                    <a:pt x="0" y="562"/>
                  </a:lnTo>
                  <a:lnTo>
                    <a:pt x="0" y="562"/>
                  </a:lnTo>
                  <a:lnTo>
                    <a:pt x="0" y="562"/>
                  </a:lnTo>
                  <a:lnTo>
                    <a:pt x="6" y="558"/>
                  </a:lnTo>
                  <a:lnTo>
                    <a:pt x="8" y="558"/>
                  </a:lnTo>
                  <a:lnTo>
                    <a:pt x="9" y="559"/>
                  </a:lnTo>
                  <a:lnTo>
                    <a:pt x="9" y="559"/>
                  </a:lnTo>
                  <a:lnTo>
                    <a:pt x="12" y="572"/>
                  </a:lnTo>
                  <a:lnTo>
                    <a:pt x="12" y="572"/>
                  </a:lnTo>
                  <a:lnTo>
                    <a:pt x="15" y="578"/>
                  </a:lnTo>
                  <a:lnTo>
                    <a:pt x="16" y="581"/>
                  </a:lnTo>
                  <a:lnTo>
                    <a:pt x="18" y="583"/>
                  </a:lnTo>
                  <a:lnTo>
                    <a:pt x="18" y="583"/>
                  </a:lnTo>
                  <a:lnTo>
                    <a:pt x="27" y="584"/>
                  </a:lnTo>
                  <a:lnTo>
                    <a:pt x="29" y="585"/>
                  </a:lnTo>
                  <a:lnTo>
                    <a:pt x="29" y="585"/>
                  </a:lnTo>
                  <a:lnTo>
                    <a:pt x="29" y="587"/>
                  </a:lnTo>
                  <a:lnTo>
                    <a:pt x="29" y="587"/>
                  </a:lnTo>
                  <a:lnTo>
                    <a:pt x="28" y="587"/>
                  </a:lnTo>
                  <a:lnTo>
                    <a:pt x="24" y="587"/>
                  </a:lnTo>
                  <a:lnTo>
                    <a:pt x="21" y="587"/>
                  </a:lnTo>
                  <a:lnTo>
                    <a:pt x="16" y="588"/>
                  </a:lnTo>
                  <a:lnTo>
                    <a:pt x="16" y="588"/>
                  </a:lnTo>
                  <a:lnTo>
                    <a:pt x="15" y="590"/>
                  </a:lnTo>
                  <a:lnTo>
                    <a:pt x="15" y="593"/>
                  </a:lnTo>
                  <a:lnTo>
                    <a:pt x="18" y="598"/>
                  </a:lnTo>
                  <a:lnTo>
                    <a:pt x="18" y="598"/>
                  </a:lnTo>
                  <a:lnTo>
                    <a:pt x="18" y="601"/>
                  </a:lnTo>
                  <a:lnTo>
                    <a:pt x="18" y="603"/>
                  </a:lnTo>
                  <a:lnTo>
                    <a:pt x="15" y="607"/>
                  </a:lnTo>
                  <a:lnTo>
                    <a:pt x="15" y="607"/>
                  </a:lnTo>
                  <a:lnTo>
                    <a:pt x="14" y="613"/>
                  </a:lnTo>
                  <a:lnTo>
                    <a:pt x="15" y="616"/>
                  </a:lnTo>
                  <a:lnTo>
                    <a:pt x="16" y="619"/>
                  </a:lnTo>
                  <a:lnTo>
                    <a:pt x="16" y="619"/>
                  </a:lnTo>
                  <a:lnTo>
                    <a:pt x="19" y="619"/>
                  </a:lnTo>
                  <a:lnTo>
                    <a:pt x="21" y="622"/>
                  </a:lnTo>
                  <a:lnTo>
                    <a:pt x="19" y="623"/>
                  </a:lnTo>
                  <a:lnTo>
                    <a:pt x="18" y="625"/>
                  </a:lnTo>
                  <a:lnTo>
                    <a:pt x="18" y="625"/>
                  </a:lnTo>
                  <a:lnTo>
                    <a:pt x="15" y="626"/>
                  </a:lnTo>
                  <a:lnTo>
                    <a:pt x="15" y="629"/>
                  </a:lnTo>
                  <a:lnTo>
                    <a:pt x="18" y="635"/>
                  </a:lnTo>
                  <a:lnTo>
                    <a:pt x="18" y="635"/>
                  </a:lnTo>
                  <a:lnTo>
                    <a:pt x="19" y="642"/>
                  </a:lnTo>
                  <a:lnTo>
                    <a:pt x="19" y="643"/>
                  </a:lnTo>
                  <a:lnTo>
                    <a:pt x="16" y="645"/>
                  </a:lnTo>
                  <a:lnTo>
                    <a:pt x="16" y="645"/>
                  </a:lnTo>
                  <a:lnTo>
                    <a:pt x="15" y="645"/>
                  </a:lnTo>
                  <a:lnTo>
                    <a:pt x="15" y="646"/>
                  </a:lnTo>
                  <a:lnTo>
                    <a:pt x="16" y="651"/>
                  </a:lnTo>
                  <a:lnTo>
                    <a:pt x="18" y="655"/>
                  </a:lnTo>
                  <a:lnTo>
                    <a:pt x="18" y="658"/>
                  </a:lnTo>
                  <a:lnTo>
                    <a:pt x="18" y="658"/>
                  </a:lnTo>
                  <a:lnTo>
                    <a:pt x="16" y="659"/>
                  </a:lnTo>
                  <a:lnTo>
                    <a:pt x="15" y="661"/>
                  </a:lnTo>
                  <a:lnTo>
                    <a:pt x="18" y="665"/>
                  </a:lnTo>
                  <a:lnTo>
                    <a:pt x="18" y="665"/>
                  </a:lnTo>
                  <a:lnTo>
                    <a:pt x="21" y="671"/>
                  </a:lnTo>
                  <a:lnTo>
                    <a:pt x="21" y="672"/>
                  </a:lnTo>
                  <a:lnTo>
                    <a:pt x="19" y="675"/>
                  </a:lnTo>
                  <a:lnTo>
                    <a:pt x="19" y="675"/>
                  </a:lnTo>
                  <a:lnTo>
                    <a:pt x="18" y="678"/>
                  </a:lnTo>
                  <a:lnTo>
                    <a:pt x="18" y="681"/>
                  </a:lnTo>
                  <a:lnTo>
                    <a:pt x="19" y="684"/>
                  </a:lnTo>
                  <a:lnTo>
                    <a:pt x="18" y="687"/>
                  </a:lnTo>
                  <a:lnTo>
                    <a:pt x="18" y="687"/>
                  </a:lnTo>
                  <a:lnTo>
                    <a:pt x="16" y="687"/>
                  </a:lnTo>
                  <a:lnTo>
                    <a:pt x="16" y="688"/>
                  </a:lnTo>
                  <a:lnTo>
                    <a:pt x="18" y="690"/>
                  </a:lnTo>
                  <a:lnTo>
                    <a:pt x="18" y="693"/>
                  </a:lnTo>
                  <a:lnTo>
                    <a:pt x="18" y="693"/>
                  </a:lnTo>
                  <a:lnTo>
                    <a:pt x="18" y="697"/>
                  </a:lnTo>
                  <a:lnTo>
                    <a:pt x="19" y="701"/>
                  </a:lnTo>
                  <a:lnTo>
                    <a:pt x="21" y="704"/>
                  </a:lnTo>
                  <a:lnTo>
                    <a:pt x="22" y="704"/>
                  </a:lnTo>
                  <a:lnTo>
                    <a:pt x="22" y="704"/>
                  </a:lnTo>
                  <a:lnTo>
                    <a:pt x="22" y="704"/>
                  </a:lnTo>
                  <a:lnTo>
                    <a:pt x="27" y="697"/>
                  </a:lnTo>
                  <a:lnTo>
                    <a:pt x="29" y="693"/>
                  </a:lnTo>
                  <a:lnTo>
                    <a:pt x="29" y="693"/>
                  </a:lnTo>
                  <a:lnTo>
                    <a:pt x="31" y="693"/>
                  </a:lnTo>
                  <a:lnTo>
                    <a:pt x="31" y="693"/>
                  </a:lnTo>
                  <a:lnTo>
                    <a:pt x="29" y="696"/>
                  </a:lnTo>
                  <a:lnTo>
                    <a:pt x="28" y="703"/>
                  </a:lnTo>
                  <a:lnTo>
                    <a:pt x="28" y="703"/>
                  </a:lnTo>
                  <a:lnTo>
                    <a:pt x="27" y="710"/>
                  </a:lnTo>
                  <a:lnTo>
                    <a:pt x="27" y="713"/>
                  </a:lnTo>
                  <a:lnTo>
                    <a:pt x="28" y="716"/>
                  </a:lnTo>
                  <a:lnTo>
                    <a:pt x="28" y="716"/>
                  </a:lnTo>
                  <a:lnTo>
                    <a:pt x="32" y="716"/>
                  </a:lnTo>
                  <a:lnTo>
                    <a:pt x="35" y="716"/>
                  </a:lnTo>
                  <a:lnTo>
                    <a:pt x="38" y="716"/>
                  </a:lnTo>
                  <a:lnTo>
                    <a:pt x="37" y="717"/>
                  </a:lnTo>
                  <a:lnTo>
                    <a:pt x="37" y="717"/>
                  </a:lnTo>
                  <a:lnTo>
                    <a:pt x="37" y="719"/>
                  </a:lnTo>
                  <a:lnTo>
                    <a:pt x="40" y="719"/>
                  </a:lnTo>
                  <a:lnTo>
                    <a:pt x="45" y="713"/>
                  </a:lnTo>
                  <a:lnTo>
                    <a:pt x="45" y="713"/>
                  </a:lnTo>
                  <a:lnTo>
                    <a:pt x="54" y="707"/>
                  </a:lnTo>
                  <a:lnTo>
                    <a:pt x="58" y="706"/>
                  </a:lnTo>
                  <a:lnTo>
                    <a:pt x="60" y="704"/>
                  </a:lnTo>
                  <a:lnTo>
                    <a:pt x="61" y="706"/>
                  </a:lnTo>
                  <a:lnTo>
                    <a:pt x="61" y="706"/>
                  </a:lnTo>
                  <a:lnTo>
                    <a:pt x="61" y="709"/>
                  </a:lnTo>
                  <a:lnTo>
                    <a:pt x="60" y="711"/>
                  </a:lnTo>
                  <a:lnTo>
                    <a:pt x="60" y="714"/>
                  </a:lnTo>
                  <a:lnTo>
                    <a:pt x="63" y="714"/>
                  </a:lnTo>
                  <a:lnTo>
                    <a:pt x="63" y="714"/>
                  </a:lnTo>
                  <a:lnTo>
                    <a:pt x="70" y="714"/>
                  </a:lnTo>
                  <a:lnTo>
                    <a:pt x="71" y="713"/>
                  </a:lnTo>
                  <a:lnTo>
                    <a:pt x="73" y="710"/>
                  </a:lnTo>
                  <a:lnTo>
                    <a:pt x="73" y="710"/>
                  </a:lnTo>
                  <a:lnTo>
                    <a:pt x="74" y="706"/>
                  </a:lnTo>
                  <a:lnTo>
                    <a:pt x="77" y="704"/>
                  </a:lnTo>
                  <a:lnTo>
                    <a:pt x="84" y="700"/>
                  </a:lnTo>
                  <a:lnTo>
                    <a:pt x="84" y="700"/>
                  </a:lnTo>
                  <a:lnTo>
                    <a:pt x="92" y="698"/>
                  </a:lnTo>
                  <a:lnTo>
                    <a:pt x="95" y="697"/>
                  </a:lnTo>
                  <a:lnTo>
                    <a:pt x="96" y="694"/>
                  </a:lnTo>
                  <a:lnTo>
                    <a:pt x="96" y="694"/>
                  </a:lnTo>
                  <a:lnTo>
                    <a:pt x="98" y="693"/>
                  </a:lnTo>
                  <a:lnTo>
                    <a:pt x="98" y="693"/>
                  </a:lnTo>
                  <a:lnTo>
                    <a:pt x="89" y="690"/>
                  </a:lnTo>
                  <a:lnTo>
                    <a:pt x="79" y="688"/>
                  </a:lnTo>
                  <a:lnTo>
                    <a:pt x="79" y="688"/>
                  </a:lnTo>
                  <a:lnTo>
                    <a:pt x="63" y="688"/>
                  </a:lnTo>
                  <a:lnTo>
                    <a:pt x="56" y="687"/>
                  </a:lnTo>
                  <a:lnTo>
                    <a:pt x="53" y="685"/>
                  </a:lnTo>
                  <a:lnTo>
                    <a:pt x="51" y="684"/>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00" name="Freeform 263"/>
            <p:cNvSpPr>
              <a:spLocks/>
            </p:cNvSpPr>
            <p:nvPr/>
          </p:nvSpPr>
          <p:spPr bwMode="auto">
            <a:xfrm>
              <a:off x="2381251" y="5210604"/>
              <a:ext cx="207963" cy="1141413"/>
            </a:xfrm>
            <a:custGeom>
              <a:avLst/>
              <a:gdLst>
                <a:gd name="T0" fmla="*/ 48 w 131"/>
                <a:gd name="T1" fmla="*/ 652 h 719"/>
                <a:gd name="T2" fmla="*/ 31 w 131"/>
                <a:gd name="T3" fmla="*/ 655 h 719"/>
                <a:gd name="T4" fmla="*/ 32 w 131"/>
                <a:gd name="T5" fmla="*/ 625 h 719"/>
                <a:gd name="T6" fmla="*/ 54 w 131"/>
                <a:gd name="T7" fmla="*/ 571 h 719"/>
                <a:gd name="T8" fmla="*/ 56 w 131"/>
                <a:gd name="T9" fmla="*/ 535 h 719"/>
                <a:gd name="T10" fmla="*/ 61 w 131"/>
                <a:gd name="T11" fmla="*/ 519 h 719"/>
                <a:gd name="T12" fmla="*/ 66 w 131"/>
                <a:gd name="T13" fmla="*/ 509 h 719"/>
                <a:gd name="T14" fmla="*/ 53 w 131"/>
                <a:gd name="T15" fmla="*/ 491 h 719"/>
                <a:gd name="T16" fmla="*/ 53 w 131"/>
                <a:gd name="T17" fmla="*/ 467 h 719"/>
                <a:gd name="T18" fmla="*/ 57 w 131"/>
                <a:gd name="T19" fmla="*/ 415 h 719"/>
                <a:gd name="T20" fmla="*/ 66 w 131"/>
                <a:gd name="T21" fmla="*/ 386 h 719"/>
                <a:gd name="T22" fmla="*/ 76 w 131"/>
                <a:gd name="T23" fmla="*/ 331 h 719"/>
                <a:gd name="T24" fmla="*/ 82 w 131"/>
                <a:gd name="T25" fmla="*/ 300 h 719"/>
                <a:gd name="T26" fmla="*/ 77 w 131"/>
                <a:gd name="T27" fmla="*/ 233 h 719"/>
                <a:gd name="T28" fmla="*/ 102 w 131"/>
                <a:gd name="T29" fmla="*/ 136 h 719"/>
                <a:gd name="T30" fmla="*/ 129 w 131"/>
                <a:gd name="T31" fmla="*/ 96 h 719"/>
                <a:gd name="T32" fmla="*/ 119 w 131"/>
                <a:gd name="T33" fmla="*/ 84 h 719"/>
                <a:gd name="T34" fmla="*/ 106 w 131"/>
                <a:gd name="T35" fmla="*/ 38 h 719"/>
                <a:gd name="T36" fmla="*/ 96 w 131"/>
                <a:gd name="T37" fmla="*/ 10 h 719"/>
                <a:gd name="T38" fmla="*/ 74 w 131"/>
                <a:gd name="T39" fmla="*/ 12 h 719"/>
                <a:gd name="T40" fmla="*/ 76 w 131"/>
                <a:gd name="T41" fmla="*/ 47 h 719"/>
                <a:gd name="T42" fmla="*/ 77 w 131"/>
                <a:gd name="T43" fmla="*/ 87 h 719"/>
                <a:gd name="T44" fmla="*/ 69 w 131"/>
                <a:gd name="T45" fmla="*/ 99 h 719"/>
                <a:gd name="T46" fmla="*/ 70 w 131"/>
                <a:gd name="T47" fmla="*/ 141 h 719"/>
                <a:gd name="T48" fmla="*/ 63 w 131"/>
                <a:gd name="T49" fmla="*/ 187 h 719"/>
                <a:gd name="T50" fmla="*/ 58 w 131"/>
                <a:gd name="T51" fmla="*/ 207 h 719"/>
                <a:gd name="T52" fmla="*/ 60 w 131"/>
                <a:gd name="T53" fmla="*/ 247 h 719"/>
                <a:gd name="T54" fmla="*/ 47 w 131"/>
                <a:gd name="T55" fmla="*/ 306 h 719"/>
                <a:gd name="T56" fmla="*/ 25 w 131"/>
                <a:gd name="T57" fmla="*/ 355 h 719"/>
                <a:gd name="T58" fmla="*/ 29 w 131"/>
                <a:gd name="T59" fmla="*/ 377 h 719"/>
                <a:gd name="T60" fmla="*/ 27 w 131"/>
                <a:gd name="T61" fmla="*/ 409 h 719"/>
                <a:gd name="T62" fmla="*/ 24 w 131"/>
                <a:gd name="T63" fmla="*/ 448 h 719"/>
                <a:gd name="T64" fmla="*/ 24 w 131"/>
                <a:gd name="T65" fmla="*/ 477 h 719"/>
                <a:gd name="T66" fmla="*/ 35 w 131"/>
                <a:gd name="T67" fmla="*/ 455 h 719"/>
                <a:gd name="T68" fmla="*/ 37 w 131"/>
                <a:gd name="T69" fmla="*/ 446 h 719"/>
                <a:gd name="T70" fmla="*/ 40 w 131"/>
                <a:gd name="T71" fmla="*/ 465 h 719"/>
                <a:gd name="T72" fmla="*/ 34 w 131"/>
                <a:gd name="T73" fmla="*/ 493 h 719"/>
                <a:gd name="T74" fmla="*/ 35 w 131"/>
                <a:gd name="T75" fmla="*/ 513 h 719"/>
                <a:gd name="T76" fmla="*/ 35 w 131"/>
                <a:gd name="T77" fmla="*/ 523 h 719"/>
                <a:gd name="T78" fmla="*/ 28 w 131"/>
                <a:gd name="T79" fmla="*/ 541 h 719"/>
                <a:gd name="T80" fmla="*/ 16 w 131"/>
                <a:gd name="T81" fmla="*/ 538 h 719"/>
                <a:gd name="T82" fmla="*/ 6 w 131"/>
                <a:gd name="T83" fmla="*/ 538 h 719"/>
                <a:gd name="T84" fmla="*/ 0 w 131"/>
                <a:gd name="T85" fmla="*/ 561 h 719"/>
                <a:gd name="T86" fmla="*/ 9 w 131"/>
                <a:gd name="T87" fmla="*/ 559 h 719"/>
                <a:gd name="T88" fmla="*/ 27 w 131"/>
                <a:gd name="T89" fmla="*/ 584 h 719"/>
                <a:gd name="T90" fmla="*/ 21 w 131"/>
                <a:gd name="T91" fmla="*/ 587 h 719"/>
                <a:gd name="T92" fmla="*/ 18 w 131"/>
                <a:gd name="T93" fmla="*/ 601 h 719"/>
                <a:gd name="T94" fmla="*/ 16 w 131"/>
                <a:gd name="T95" fmla="*/ 619 h 719"/>
                <a:gd name="T96" fmla="*/ 15 w 131"/>
                <a:gd name="T97" fmla="*/ 629 h 719"/>
                <a:gd name="T98" fmla="*/ 15 w 131"/>
                <a:gd name="T99" fmla="*/ 645 h 719"/>
                <a:gd name="T100" fmla="*/ 15 w 131"/>
                <a:gd name="T101" fmla="*/ 661 h 719"/>
                <a:gd name="T102" fmla="*/ 18 w 131"/>
                <a:gd name="T103" fmla="*/ 678 h 719"/>
                <a:gd name="T104" fmla="*/ 18 w 131"/>
                <a:gd name="T105" fmla="*/ 690 h 719"/>
                <a:gd name="T106" fmla="*/ 22 w 131"/>
                <a:gd name="T107" fmla="*/ 704 h 719"/>
                <a:gd name="T108" fmla="*/ 29 w 131"/>
                <a:gd name="T109" fmla="*/ 696 h 719"/>
                <a:gd name="T110" fmla="*/ 32 w 131"/>
                <a:gd name="T111" fmla="*/ 716 h 719"/>
                <a:gd name="T112" fmla="*/ 45 w 131"/>
                <a:gd name="T113" fmla="*/ 713 h 719"/>
                <a:gd name="T114" fmla="*/ 61 w 131"/>
                <a:gd name="T115" fmla="*/ 709 h 719"/>
                <a:gd name="T116" fmla="*/ 73 w 131"/>
                <a:gd name="T117" fmla="*/ 710 h 719"/>
                <a:gd name="T118" fmla="*/ 95 w 131"/>
                <a:gd name="T119" fmla="*/ 697 h 719"/>
                <a:gd name="T120" fmla="*/ 79 w 131"/>
                <a:gd name="T121" fmla="*/ 688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1" h="719">
                  <a:moveTo>
                    <a:pt x="51" y="684"/>
                  </a:moveTo>
                  <a:lnTo>
                    <a:pt x="51" y="684"/>
                  </a:lnTo>
                  <a:lnTo>
                    <a:pt x="48" y="677"/>
                  </a:lnTo>
                  <a:lnTo>
                    <a:pt x="48" y="669"/>
                  </a:lnTo>
                  <a:lnTo>
                    <a:pt x="48" y="656"/>
                  </a:lnTo>
                  <a:lnTo>
                    <a:pt x="48" y="656"/>
                  </a:lnTo>
                  <a:lnTo>
                    <a:pt x="48" y="652"/>
                  </a:lnTo>
                  <a:lnTo>
                    <a:pt x="47" y="651"/>
                  </a:lnTo>
                  <a:lnTo>
                    <a:pt x="45" y="651"/>
                  </a:lnTo>
                  <a:lnTo>
                    <a:pt x="42" y="652"/>
                  </a:lnTo>
                  <a:lnTo>
                    <a:pt x="42" y="652"/>
                  </a:lnTo>
                  <a:lnTo>
                    <a:pt x="37" y="656"/>
                  </a:lnTo>
                  <a:lnTo>
                    <a:pt x="34" y="656"/>
                  </a:lnTo>
                  <a:lnTo>
                    <a:pt x="31" y="655"/>
                  </a:lnTo>
                  <a:lnTo>
                    <a:pt x="31" y="655"/>
                  </a:lnTo>
                  <a:lnTo>
                    <a:pt x="29" y="651"/>
                  </a:lnTo>
                  <a:lnTo>
                    <a:pt x="28" y="642"/>
                  </a:lnTo>
                  <a:lnTo>
                    <a:pt x="28" y="633"/>
                  </a:lnTo>
                  <a:lnTo>
                    <a:pt x="29" y="629"/>
                  </a:lnTo>
                  <a:lnTo>
                    <a:pt x="32" y="625"/>
                  </a:lnTo>
                  <a:lnTo>
                    <a:pt x="32" y="625"/>
                  </a:lnTo>
                  <a:lnTo>
                    <a:pt x="42" y="610"/>
                  </a:lnTo>
                  <a:lnTo>
                    <a:pt x="45" y="604"/>
                  </a:lnTo>
                  <a:lnTo>
                    <a:pt x="47" y="598"/>
                  </a:lnTo>
                  <a:lnTo>
                    <a:pt x="47" y="598"/>
                  </a:lnTo>
                  <a:lnTo>
                    <a:pt x="48" y="585"/>
                  </a:lnTo>
                  <a:lnTo>
                    <a:pt x="50" y="578"/>
                  </a:lnTo>
                  <a:lnTo>
                    <a:pt x="54" y="571"/>
                  </a:lnTo>
                  <a:lnTo>
                    <a:pt x="54" y="571"/>
                  </a:lnTo>
                  <a:lnTo>
                    <a:pt x="56" y="568"/>
                  </a:lnTo>
                  <a:lnTo>
                    <a:pt x="56" y="564"/>
                  </a:lnTo>
                  <a:lnTo>
                    <a:pt x="57" y="552"/>
                  </a:lnTo>
                  <a:lnTo>
                    <a:pt x="56" y="542"/>
                  </a:lnTo>
                  <a:lnTo>
                    <a:pt x="56" y="535"/>
                  </a:lnTo>
                  <a:lnTo>
                    <a:pt x="56" y="535"/>
                  </a:lnTo>
                  <a:lnTo>
                    <a:pt x="54" y="532"/>
                  </a:lnTo>
                  <a:lnTo>
                    <a:pt x="56" y="529"/>
                  </a:lnTo>
                  <a:lnTo>
                    <a:pt x="58" y="526"/>
                  </a:lnTo>
                  <a:lnTo>
                    <a:pt x="61" y="522"/>
                  </a:lnTo>
                  <a:lnTo>
                    <a:pt x="63" y="520"/>
                  </a:lnTo>
                  <a:lnTo>
                    <a:pt x="61" y="519"/>
                  </a:lnTo>
                  <a:lnTo>
                    <a:pt x="61" y="519"/>
                  </a:lnTo>
                  <a:lnTo>
                    <a:pt x="56" y="513"/>
                  </a:lnTo>
                  <a:lnTo>
                    <a:pt x="54" y="513"/>
                  </a:lnTo>
                  <a:lnTo>
                    <a:pt x="56" y="512"/>
                  </a:lnTo>
                  <a:lnTo>
                    <a:pt x="56" y="512"/>
                  </a:lnTo>
                  <a:lnTo>
                    <a:pt x="61" y="510"/>
                  </a:lnTo>
                  <a:lnTo>
                    <a:pt x="66" y="509"/>
                  </a:lnTo>
                  <a:lnTo>
                    <a:pt x="66" y="509"/>
                  </a:lnTo>
                  <a:lnTo>
                    <a:pt x="64" y="506"/>
                  </a:lnTo>
                  <a:lnTo>
                    <a:pt x="64" y="506"/>
                  </a:lnTo>
                  <a:lnTo>
                    <a:pt x="60" y="503"/>
                  </a:lnTo>
                  <a:lnTo>
                    <a:pt x="56" y="500"/>
                  </a:lnTo>
                  <a:lnTo>
                    <a:pt x="53" y="496"/>
                  </a:lnTo>
                  <a:lnTo>
                    <a:pt x="51" y="494"/>
                  </a:lnTo>
                  <a:lnTo>
                    <a:pt x="53" y="491"/>
                  </a:lnTo>
                  <a:lnTo>
                    <a:pt x="53" y="491"/>
                  </a:lnTo>
                  <a:lnTo>
                    <a:pt x="54" y="487"/>
                  </a:lnTo>
                  <a:lnTo>
                    <a:pt x="57" y="486"/>
                  </a:lnTo>
                  <a:lnTo>
                    <a:pt x="58" y="483"/>
                  </a:lnTo>
                  <a:lnTo>
                    <a:pt x="57" y="478"/>
                  </a:lnTo>
                  <a:lnTo>
                    <a:pt x="57" y="478"/>
                  </a:lnTo>
                  <a:lnTo>
                    <a:pt x="53" y="467"/>
                  </a:lnTo>
                  <a:lnTo>
                    <a:pt x="51" y="461"/>
                  </a:lnTo>
                  <a:lnTo>
                    <a:pt x="51" y="455"/>
                  </a:lnTo>
                  <a:lnTo>
                    <a:pt x="51" y="455"/>
                  </a:lnTo>
                  <a:lnTo>
                    <a:pt x="54" y="441"/>
                  </a:lnTo>
                  <a:lnTo>
                    <a:pt x="56" y="423"/>
                  </a:lnTo>
                  <a:lnTo>
                    <a:pt x="56" y="423"/>
                  </a:lnTo>
                  <a:lnTo>
                    <a:pt x="57" y="415"/>
                  </a:lnTo>
                  <a:lnTo>
                    <a:pt x="58" y="407"/>
                  </a:lnTo>
                  <a:lnTo>
                    <a:pt x="58" y="407"/>
                  </a:lnTo>
                  <a:lnTo>
                    <a:pt x="60" y="403"/>
                  </a:lnTo>
                  <a:lnTo>
                    <a:pt x="61" y="397"/>
                  </a:lnTo>
                  <a:lnTo>
                    <a:pt x="64" y="390"/>
                  </a:lnTo>
                  <a:lnTo>
                    <a:pt x="64" y="390"/>
                  </a:lnTo>
                  <a:lnTo>
                    <a:pt x="66" y="386"/>
                  </a:lnTo>
                  <a:lnTo>
                    <a:pt x="66" y="377"/>
                  </a:lnTo>
                  <a:lnTo>
                    <a:pt x="64" y="357"/>
                  </a:lnTo>
                  <a:lnTo>
                    <a:pt x="64" y="357"/>
                  </a:lnTo>
                  <a:lnTo>
                    <a:pt x="66" y="348"/>
                  </a:lnTo>
                  <a:lnTo>
                    <a:pt x="69" y="341"/>
                  </a:lnTo>
                  <a:lnTo>
                    <a:pt x="71" y="335"/>
                  </a:lnTo>
                  <a:lnTo>
                    <a:pt x="76" y="331"/>
                  </a:lnTo>
                  <a:lnTo>
                    <a:pt x="76" y="331"/>
                  </a:lnTo>
                  <a:lnTo>
                    <a:pt x="77" y="328"/>
                  </a:lnTo>
                  <a:lnTo>
                    <a:pt x="79" y="323"/>
                  </a:lnTo>
                  <a:lnTo>
                    <a:pt x="79" y="315"/>
                  </a:lnTo>
                  <a:lnTo>
                    <a:pt x="80" y="307"/>
                  </a:lnTo>
                  <a:lnTo>
                    <a:pt x="82" y="300"/>
                  </a:lnTo>
                  <a:lnTo>
                    <a:pt x="82" y="300"/>
                  </a:lnTo>
                  <a:lnTo>
                    <a:pt x="82" y="297"/>
                  </a:lnTo>
                  <a:lnTo>
                    <a:pt x="83" y="293"/>
                  </a:lnTo>
                  <a:lnTo>
                    <a:pt x="82" y="280"/>
                  </a:lnTo>
                  <a:lnTo>
                    <a:pt x="80" y="258"/>
                  </a:lnTo>
                  <a:lnTo>
                    <a:pt x="80" y="258"/>
                  </a:lnTo>
                  <a:lnTo>
                    <a:pt x="79" y="242"/>
                  </a:lnTo>
                  <a:lnTo>
                    <a:pt x="77" y="233"/>
                  </a:lnTo>
                  <a:lnTo>
                    <a:pt x="79" y="225"/>
                  </a:lnTo>
                  <a:lnTo>
                    <a:pt x="79" y="225"/>
                  </a:lnTo>
                  <a:lnTo>
                    <a:pt x="90" y="189"/>
                  </a:lnTo>
                  <a:lnTo>
                    <a:pt x="100" y="152"/>
                  </a:lnTo>
                  <a:lnTo>
                    <a:pt x="100" y="152"/>
                  </a:lnTo>
                  <a:lnTo>
                    <a:pt x="100" y="145"/>
                  </a:lnTo>
                  <a:lnTo>
                    <a:pt x="102" y="136"/>
                  </a:lnTo>
                  <a:lnTo>
                    <a:pt x="103" y="128"/>
                  </a:lnTo>
                  <a:lnTo>
                    <a:pt x="106" y="123"/>
                  </a:lnTo>
                  <a:lnTo>
                    <a:pt x="108" y="121"/>
                  </a:lnTo>
                  <a:lnTo>
                    <a:pt x="108" y="121"/>
                  </a:lnTo>
                  <a:lnTo>
                    <a:pt x="115" y="113"/>
                  </a:lnTo>
                  <a:lnTo>
                    <a:pt x="124" y="105"/>
                  </a:lnTo>
                  <a:lnTo>
                    <a:pt x="129" y="96"/>
                  </a:lnTo>
                  <a:lnTo>
                    <a:pt x="131" y="93"/>
                  </a:lnTo>
                  <a:lnTo>
                    <a:pt x="131" y="90"/>
                  </a:lnTo>
                  <a:lnTo>
                    <a:pt x="131" y="90"/>
                  </a:lnTo>
                  <a:lnTo>
                    <a:pt x="126" y="89"/>
                  </a:lnTo>
                  <a:lnTo>
                    <a:pt x="124" y="89"/>
                  </a:lnTo>
                  <a:lnTo>
                    <a:pt x="119" y="87"/>
                  </a:lnTo>
                  <a:lnTo>
                    <a:pt x="119" y="84"/>
                  </a:lnTo>
                  <a:lnTo>
                    <a:pt x="118" y="81"/>
                  </a:lnTo>
                  <a:lnTo>
                    <a:pt x="118" y="81"/>
                  </a:lnTo>
                  <a:lnTo>
                    <a:pt x="113" y="63"/>
                  </a:lnTo>
                  <a:lnTo>
                    <a:pt x="108" y="47"/>
                  </a:lnTo>
                  <a:lnTo>
                    <a:pt x="108" y="47"/>
                  </a:lnTo>
                  <a:lnTo>
                    <a:pt x="106" y="41"/>
                  </a:lnTo>
                  <a:lnTo>
                    <a:pt x="106" y="38"/>
                  </a:lnTo>
                  <a:lnTo>
                    <a:pt x="108" y="35"/>
                  </a:lnTo>
                  <a:lnTo>
                    <a:pt x="105" y="31"/>
                  </a:lnTo>
                  <a:lnTo>
                    <a:pt x="105" y="31"/>
                  </a:lnTo>
                  <a:lnTo>
                    <a:pt x="98" y="21"/>
                  </a:lnTo>
                  <a:lnTo>
                    <a:pt x="96" y="16"/>
                  </a:lnTo>
                  <a:lnTo>
                    <a:pt x="96" y="10"/>
                  </a:lnTo>
                  <a:lnTo>
                    <a:pt x="96" y="10"/>
                  </a:lnTo>
                  <a:lnTo>
                    <a:pt x="98" y="3"/>
                  </a:lnTo>
                  <a:lnTo>
                    <a:pt x="96" y="0"/>
                  </a:lnTo>
                  <a:lnTo>
                    <a:pt x="93" y="0"/>
                  </a:lnTo>
                  <a:lnTo>
                    <a:pt x="93" y="0"/>
                  </a:lnTo>
                  <a:lnTo>
                    <a:pt x="86" y="3"/>
                  </a:lnTo>
                  <a:lnTo>
                    <a:pt x="74" y="12"/>
                  </a:lnTo>
                  <a:lnTo>
                    <a:pt x="74" y="12"/>
                  </a:lnTo>
                  <a:lnTo>
                    <a:pt x="79" y="21"/>
                  </a:lnTo>
                  <a:lnTo>
                    <a:pt x="80" y="25"/>
                  </a:lnTo>
                  <a:lnTo>
                    <a:pt x="79" y="29"/>
                  </a:lnTo>
                  <a:lnTo>
                    <a:pt x="79" y="29"/>
                  </a:lnTo>
                  <a:lnTo>
                    <a:pt x="76" y="38"/>
                  </a:lnTo>
                  <a:lnTo>
                    <a:pt x="76" y="42"/>
                  </a:lnTo>
                  <a:lnTo>
                    <a:pt x="76" y="47"/>
                  </a:lnTo>
                  <a:lnTo>
                    <a:pt x="76" y="47"/>
                  </a:lnTo>
                  <a:lnTo>
                    <a:pt x="79" y="52"/>
                  </a:lnTo>
                  <a:lnTo>
                    <a:pt x="79" y="57"/>
                  </a:lnTo>
                  <a:lnTo>
                    <a:pt x="79" y="63"/>
                  </a:lnTo>
                  <a:lnTo>
                    <a:pt x="79" y="63"/>
                  </a:lnTo>
                  <a:lnTo>
                    <a:pt x="79" y="78"/>
                  </a:lnTo>
                  <a:lnTo>
                    <a:pt x="77" y="87"/>
                  </a:lnTo>
                  <a:lnTo>
                    <a:pt x="77" y="89"/>
                  </a:lnTo>
                  <a:lnTo>
                    <a:pt x="76" y="90"/>
                  </a:lnTo>
                  <a:lnTo>
                    <a:pt x="76" y="90"/>
                  </a:lnTo>
                  <a:lnTo>
                    <a:pt x="70" y="94"/>
                  </a:lnTo>
                  <a:lnTo>
                    <a:pt x="69" y="96"/>
                  </a:lnTo>
                  <a:lnTo>
                    <a:pt x="69" y="99"/>
                  </a:lnTo>
                  <a:lnTo>
                    <a:pt x="69" y="99"/>
                  </a:lnTo>
                  <a:lnTo>
                    <a:pt x="71" y="107"/>
                  </a:lnTo>
                  <a:lnTo>
                    <a:pt x="71" y="113"/>
                  </a:lnTo>
                  <a:lnTo>
                    <a:pt x="71" y="119"/>
                  </a:lnTo>
                  <a:lnTo>
                    <a:pt x="71" y="119"/>
                  </a:lnTo>
                  <a:lnTo>
                    <a:pt x="70" y="131"/>
                  </a:lnTo>
                  <a:lnTo>
                    <a:pt x="70" y="141"/>
                  </a:lnTo>
                  <a:lnTo>
                    <a:pt x="70" y="141"/>
                  </a:lnTo>
                  <a:lnTo>
                    <a:pt x="67" y="154"/>
                  </a:lnTo>
                  <a:lnTo>
                    <a:pt x="66" y="167"/>
                  </a:lnTo>
                  <a:lnTo>
                    <a:pt x="66" y="167"/>
                  </a:lnTo>
                  <a:lnTo>
                    <a:pt x="66" y="177"/>
                  </a:lnTo>
                  <a:lnTo>
                    <a:pt x="64" y="184"/>
                  </a:lnTo>
                  <a:lnTo>
                    <a:pt x="63" y="187"/>
                  </a:lnTo>
                  <a:lnTo>
                    <a:pt x="63" y="187"/>
                  </a:lnTo>
                  <a:lnTo>
                    <a:pt x="60" y="190"/>
                  </a:lnTo>
                  <a:lnTo>
                    <a:pt x="57" y="196"/>
                  </a:lnTo>
                  <a:lnTo>
                    <a:pt x="56" y="202"/>
                  </a:lnTo>
                  <a:lnTo>
                    <a:pt x="56" y="203"/>
                  </a:lnTo>
                  <a:lnTo>
                    <a:pt x="57" y="206"/>
                  </a:lnTo>
                  <a:lnTo>
                    <a:pt x="57" y="206"/>
                  </a:lnTo>
                  <a:lnTo>
                    <a:pt x="58" y="207"/>
                  </a:lnTo>
                  <a:lnTo>
                    <a:pt x="60" y="210"/>
                  </a:lnTo>
                  <a:lnTo>
                    <a:pt x="57" y="215"/>
                  </a:lnTo>
                  <a:lnTo>
                    <a:pt x="57" y="215"/>
                  </a:lnTo>
                  <a:lnTo>
                    <a:pt x="57" y="222"/>
                  </a:lnTo>
                  <a:lnTo>
                    <a:pt x="57" y="231"/>
                  </a:lnTo>
                  <a:lnTo>
                    <a:pt x="60" y="247"/>
                  </a:lnTo>
                  <a:lnTo>
                    <a:pt x="60" y="247"/>
                  </a:lnTo>
                  <a:lnTo>
                    <a:pt x="60" y="254"/>
                  </a:lnTo>
                  <a:lnTo>
                    <a:pt x="60" y="261"/>
                  </a:lnTo>
                  <a:lnTo>
                    <a:pt x="58" y="274"/>
                  </a:lnTo>
                  <a:lnTo>
                    <a:pt x="58" y="274"/>
                  </a:lnTo>
                  <a:lnTo>
                    <a:pt x="51" y="290"/>
                  </a:lnTo>
                  <a:lnTo>
                    <a:pt x="51" y="290"/>
                  </a:lnTo>
                  <a:lnTo>
                    <a:pt x="47" y="306"/>
                  </a:lnTo>
                  <a:lnTo>
                    <a:pt x="40" y="323"/>
                  </a:lnTo>
                  <a:lnTo>
                    <a:pt x="40" y="323"/>
                  </a:lnTo>
                  <a:lnTo>
                    <a:pt x="35" y="336"/>
                  </a:lnTo>
                  <a:lnTo>
                    <a:pt x="34" y="342"/>
                  </a:lnTo>
                  <a:lnTo>
                    <a:pt x="31" y="348"/>
                  </a:lnTo>
                  <a:lnTo>
                    <a:pt x="31" y="348"/>
                  </a:lnTo>
                  <a:lnTo>
                    <a:pt x="25" y="355"/>
                  </a:lnTo>
                  <a:lnTo>
                    <a:pt x="24" y="359"/>
                  </a:lnTo>
                  <a:lnTo>
                    <a:pt x="25" y="364"/>
                  </a:lnTo>
                  <a:lnTo>
                    <a:pt x="25" y="364"/>
                  </a:lnTo>
                  <a:lnTo>
                    <a:pt x="29" y="370"/>
                  </a:lnTo>
                  <a:lnTo>
                    <a:pt x="31" y="373"/>
                  </a:lnTo>
                  <a:lnTo>
                    <a:pt x="29" y="377"/>
                  </a:lnTo>
                  <a:lnTo>
                    <a:pt x="29" y="377"/>
                  </a:lnTo>
                  <a:lnTo>
                    <a:pt x="29" y="380"/>
                  </a:lnTo>
                  <a:lnTo>
                    <a:pt x="31" y="383"/>
                  </a:lnTo>
                  <a:lnTo>
                    <a:pt x="31" y="386"/>
                  </a:lnTo>
                  <a:lnTo>
                    <a:pt x="31" y="390"/>
                  </a:lnTo>
                  <a:lnTo>
                    <a:pt x="31" y="390"/>
                  </a:lnTo>
                  <a:lnTo>
                    <a:pt x="29" y="400"/>
                  </a:lnTo>
                  <a:lnTo>
                    <a:pt x="27" y="409"/>
                  </a:lnTo>
                  <a:lnTo>
                    <a:pt x="27" y="409"/>
                  </a:lnTo>
                  <a:lnTo>
                    <a:pt x="25" y="415"/>
                  </a:lnTo>
                  <a:lnTo>
                    <a:pt x="25" y="422"/>
                  </a:lnTo>
                  <a:lnTo>
                    <a:pt x="24" y="433"/>
                  </a:lnTo>
                  <a:lnTo>
                    <a:pt x="24" y="433"/>
                  </a:lnTo>
                  <a:lnTo>
                    <a:pt x="25" y="442"/>
                  </a:lnTo>
                  <a:lnTo>
                    <a:pt x="24" y="448"/>
                  </a:lnTo>
                  <a:lnTo>
                    <a:pt x="24" y="448"/>
                  </a:lnTo>
                  <a:lnTo>
                    <a:pt x="21" y="454"/>
                  </a:lnTo>
                  <a:lnTo>
                    <a:pt x="19" y="462"/>
                  </a:lnTo>
                  <a:lnTo>
                    <a:pt x="19" y="462"/>
                  </a:lnTo>
                  <a:lnTo>
                    <a:pt x="21" y="471"/>
                  </a:lnTo>
                  <a:lnTo>
                    <a:pt x="22" y="475"/>
                  </a:lnTo>
                  <a:lnTo>
                    <a:pt x="24" y="477"/>
                  </a:lnTo>
                  <a:lnTo>
                    <a:pt x="24" y="477"/>
                  </a:lnTo>
                  <a:lnTo>
                    <a:pt x="25" y="475"/>
                  </a:lnTo>
                  <a:lnTo>
                    <a:pt x="28" y="471"/>
                  </a:lnTo>
                  <a:lnTo>
                    <a:pt x="29" y="462"/>
                  </a:lnTo>
                  <a:lnTo>
                    <a:pt x="29" y="462"/>
                  </a:lnTo>
                  <a:lnTo>
                    <a:pt x="34" y="458"/>
                  </a:lnTo>
                  <a:lnTo>
                    <a:pt x="35" y="455"/>
                  </a:lnTo>
                  <a:lnTo>
                    <a:pt x="35" y="452"/>
                  </a:lnTo>
                  <a:lnTo>
                    <a:pt x="35" y="452"/>
                  </a:lnTo>
                  <a:lnTo>
                    <a:pt x="34" y="446"/>
                  </a:lnTo>
                  <a:lnTo>
                    <a:pt x="34" y="445"/>
                  </a:lnTo>
                  <a:lnTo>
                    <a:pt x="35" y="445"/>
                  </a:lnTo>
                  <a:lnTo>
                    <a:pt x="35" y="445"/>
                  </a:lnTo>
                  <a:lnTo>
                    <a:pt x="37" y="446"/>
                  </a:lnTo>
                  <a:lnTo>
                    <a:pt x="38" y="445"/>
                  </a:lnTo>
                  <a:lnTo>
                    <a:pt x="40" y="445"/>
                  </a:lnTo>
                  <a:lnTo>
                    <a:pt x="40" y="449"/>
                  </a:lnTo>
                  <a:lnTo>
                    <a:pt x="40" y="449"/>
                  </a:lnTo>
                  <a:lnTo>
                    <a:pt x="41" y="457"/>
                  </a:lnTo>
                  <a:lnTo>
                    <a:pt x="40" y="465"/>
                  </a:lnTo>
                  <a:lnTo>
                    <a:pt x="40" y="465"/>
                  </a:lnTo>
                  <a:lnTo>
                    <a:pt x="38" y="471"/>
                  </a:lnTo>
                  <a:lnTo>
                    <a:pt x="38" y="478"/>
                  </a:lnTo>
                  <a:lnTo>
                    <a:pt x="40" y="483"/>
                  </a:lnTo>
                  <a:lnTo>
                    <a:pt x="38" y="486"/>
                  </a:lnTo>
                  <a:lnTo>
                    <a:pt x="38" y="486"/>
                  </a:lnTo>
                  <a:lnTo>
                    <a:pt x="37" y="490"/>
                  </a:lnTo>
                  <a:lnTo>
                    <a:pt x="34" y="493"/>
                  </a:lnTo>
                  <a:lnTo>
                    <a:pt x="34" y="493"/>
                  </a:lnTo>
                  <a:lnTo>
                    <a:pt x="38" y="499"/>
                  </a:lnTo>
                  <a:lnTo>
                    <a:pt x="40" y="504"/>
                  </a:lnTo>
                  <a:lnTo>
                    <a:pt x="40" y="504"/>
                  </a:lnTo>
                  <a:lnTo>
                    <a:pt x="38" y="509"/>
                  </a:lnTo>
                  <a:lnTo>
                    <a:pt x="37" y="512"/>
                  </a:lnTo>
                  <a:lnTo>
                    <a:pt x="35" y="513"/>
                  </a:lnTo>
                  <a:lnTo>
                    <a:pt x="35" y="513"/>
                  </a:lnTo>
                  <a:lnTo>
                    <a:pt x="32" y="513"/>
                  </a:lnTo>
                  <a:lnTo>
                    <a:pt x="31" y="514"/>
                  </a:lnTo>
                  <a:lnTo>
                    <a:pt x="31" y="517"/>
                  </a:lnTo>
                  <a:lnTo>
                    <a:pt x="32" y="520"/>
                  </a:lnTo>
                  <a:lnTo>
                    <a:pt x="32" y="520"/>
                  </a:lnTo>
                  <a:lnTo>
                    <a:pt x="35" y="523"/>
                  </a:lnTo>
                  <a:lnTo>
                    <a:pt x="34" y="526"/>
                  </a:lnTo>
                  <a:lnTo>
                    <a:pt x="34" y="526"/>
                  </a:lnTo>
                  <a:lnTo>
                    <a:pt x="31" y="529"/>
                  </a:lnTo>
                  <a:lnTo>
                    <a:pt x="29" y="532"/>
                  </a:lnTo>
                  <a:lnTo>
                    <a:pt x="28" y="538"/>
                  </a:lnTo>
                  <a:lnTo>
                    <a:pt x="28" y="538"/>
                  </a:lnTo>
                  <a:lnTo>
                    <a:pt x="28" y="541"/>
                  </a:lnTo>
                  <a:lnTo>
                    <a:pt x="27" y="542"/>
                  </a:lnTo>
                  <a:lnTo>
                    <a:pt x="24" y="541"/>
                  </a:lnTo>
                  <a:lnTo>
                    <a:pt x="24" y="541"/>
                  </a:lnTo>
                  <a:lnTo>
                    <a:pt x="21" y="539"/>
                  </a:lnTo>
                  <a:lnTo>
                    <a:pt x="19" y="539"/>
                  </a:lnTo>
                  <a:lnTo>
                    <a:pt x="18" y="539"/>
                  </a:lnTo>
                  <a:lnTo>
                    <a:pt x="16" y="538"/>
                  </a:lnTo>
                  <a:lnTo>
                    <a:pt x="16" y="538"/>
                  </a:lnTo>
                  <a:lnTo>
                    <a:pt x="14" y="535"/>
                  </a:lnTo>
                  <a:lnTo>
                    <a:pt x="11" y="533"/>
                  </a:lnTo>
                  <a:lnTo>
                    <a:pt x="9" y="533"/>
                  </a:lnTo>
                  <a:lnTo>
                    <a:pt x="6" y="535"/>
                  </a:lnTo>
                  <a:lnTo>
                    <a:pt x="6" y="535"/>
                  </a:lnTo>
                  <a:lnTo>
                    <a:pt x="6" y="538"/>
                  </a:lnTo>
                  <a:lnTo>
                    <a:pt x="6" y="541"/>
                  </a:lnTo>
                  <a:lnTo>
                    <a:pt x="6" y="542"/>
                  </a:lnTo>
                  <a:lnTo>
                    <a:pt x="5" y="543"/>
                  </a:lnTo>
                  <a:lnTo>
                    <a:pt x="5" y="543"/>
                  </a:lnTo>
                  <a:lnTo>
                    <a:pt x="2" y="548"/>
                  </a:lnTo>
                  <a:lnTo>
                    <a:pt x="0" y="555"/>
                  </a:lnTo>
                  <a:lnTo>
                    <a:pt x="0" y="561"/>
                  </a:lnTo>
                  <a:lnTo>
                    <a:pt x="0" y="562"/>
                  </a:lnTo>
                  <a:lnTo>
                    <a:pt x="0" y="562"/>
                  </a:lnTo>
                  <a:lnTo>
                    <a:pt x="0" y="562"/>
                  </a:lnTo>
                  <a:lnTo>
                    <a:pt x="6" y="558"/>
                  </a:lnTo>
                  <a:lnTo>
                    <a:pt x="8" y="558"/>
                  </a:lnTo>
                  <a:lnTo>
                    <a:pt x="9" y="559"/>
                  </a:lnTo>
                  <a:lnTo>
                    <a:pt x="9" y="559"/>
                  </a:lnTo>
                  <a:lnTo>
                    <a:pt x="12" y="572"/>
                  </a:lnTo>
                  <a:lnTo>
                    <a:pt x="12" y="572"/>
                  </a:lnTo>
                  <a:lnTo>
                    <a:pt x="15" y="578"/>
                  </a:lnTo>
                  <a:lnTo>
                    <a:pt x="16" y="581"/>
                  </a:lnTo>
                  <a:lnTo>
                    <a:pt x="18" y="583"/>
                  </a:lnTo>
                  <a:lnTo>
                    <a:pt x="18" y="583"/>
                  </a:lnTo>
                  <a:lnTo>
                    <a:pt x="27" y="584"/>
                  </a:lnTo>
                  <a:lnTo>
                    <a:pt x="29" y="585"/>
                  </a:lnTo>
                  <a:lnTo>
                    <a:pt x="29" y="585"/>
                  </a:lnTo>
                  <a:lnTo>
                    <a:pt x="29" y="587"/>
                  </a:lnTo>
                  <a:lnTo>
                    <a:pt x="29" y="587"/>
                  </a:lnTo>
                  <a:lnTo>
                    <a:pt x="28" y="587"/>
                  </a:lnTo>
                  <a:lnTo>
                    <a:pt x="24" y="587"/>
                  </a:lnTo>
                  <a:lnTo>
                    <a:pt x="21" y="587"/>
                  </a:lnTo>
                  <a:lnTo>
                    <a:pt x="16" y="588"/>
                  </a:lnTo>
                  <a:lnTo>
                    <a:pt x="16" y="588"/>
                  </a:lnTo>
                  <a:lnTo>
                    <a:pt x="15" y="590"/>
                  </a:lnTo>
                  <a:lnTo>
                    <a:pt x="15" y="593"/>
                  </a:lnTo>
                  <a:lnTo>
                    <a:pt x="18" y="598"/>
                  </a:lnTo>
                  <a:lnTo>
                    <a:pt x="18" y="598"/>
                  </a:lnTo>
                  <a:lnTo>
                    <a:pt x="18" y="601"/>
                  </a:lnTo>
                  <a:lnTo>
                    <a:pt x="18" y="603"/>
                  </a:lnTo>
                  <a:lnTo>
                    <a:pt x="15" y="607"/>
                  </a:lnTo>
                  <a:lnTo>
                    <a:pt x="15" y="607"/>
                  </a:lnTo>
                  <a:lnTo>
                    <a:pt x="14" y="613"/>
                  </a:lnTo>
                  <a:lnTo>
                    <a:pt x="15" y="616"/>
                  </a:lnTo>
                  <a:lnTo>
                    <a:pt x="16" y="619"/>
                  </a:lnTo>
                  <a:lnTo>
                    <a:pt x="16" y="619"/>
                  </a:lnTo>
                  <a:lnTo>
                    <a:pt x="19" y="619"/>
                  </a:lnTo>
                  <a:lnTo>
                    <a:pt x="21" y="622"/>
                  </a:lnTo>
                  <a:lnTo>
                    <a:pt x="19" y="623"/>
                  </a:lnTo>
                  <a:lnTo>
                    <a:pt x="18" y="625"/>
                  </a:lnTo>
                  <a:lnTo>
                    <a:pt x="18" y="625"/>
                  </a:lnTo>
                  <a:lnTo>
                    <a:pt x="15" y="626"/>
                  </a:lnTo>
                  <a:lnTo>
                    <a:pt x="15" y="629"/>
                  </a:lnTo>
                  <a:lnTo>
                    <a:pt x="18" y="635"/>
                  </a:lnTo>
                  <a:lnTo>
                    <a:pt x="18" y="635"/>
                  </a:lnTo>
                  <a:lnTo>
                    <a:pt x="19" y="642"/>
                  </a:lnTo>
                  <a:lnTo>
                    <a:pt x="19" y="643"/>
                  </a:lnTo>
                  <a:lnTo>
                    <a:pt x="16" y="645"/>
                  </a:lnTo>
                  <a:lnTo>
                    <a:pt x="16" y="645"/>
                  </a:lnTo>
                  <a:lnTo>
                    <a:pt x="15" y="645"/>
                  </a:lnTo>
                  <a:lnTo>
                    <a:pt x="15" y="646"/>
                  </a:lnTo>
                  <a:lnTo>
                    <a:pt x="16" y="651"/>
                  </a:lnTo>
                  <a:lnTo>
                    <a:pt x="18" y="655"/>
                  </a:lnTo>
                  <a:lnTo>
                    <a:pt x="18" y="658"/>
                  </a:lnTo>
                  <a:lnTo>
                    <a:pt x="18" y="658"/>
                  </a:lnTo>
                  <a:lnTo>
                    <a:pt x="16" y="659"/>
                  </a:lnTo>
                  <a:lnTo>
                    <a:pt x="15" y="661"/>
                  </a:lnTo>
                  <a:lnTo>
                    <a:pt x="18" y="665"/>
                  </a:lnTo>
                  <a:lnTo>
                    <a:pt x="18" y="665"/>
                  </a:lnTo>
                  <a:lnTo>
                    <a:pt x="21" y="671"/>
                  </a:lnTo>
                  <a:lnTo>
                    <a:pt x="21" y="672"/>
                  </a:lnTo>
                  <a:lnTo>
                    <a:pt x="19" y="675"/>
                  </a:lnTo>
                  <a:lnTo>
                    <a:pt x="19" y="675"/>
                  </a:lnTo>
                  <a:lnTo>
                    <a:pt x="18" y="678"/>
                  </a:lnTo>
                  <a:lnTo>
                    <a:pt x="18" y="681"/>
                  </a:lnTo>
                  <a:lnTo>
                    <a:pt x="19" y="684"/>
                  </a:lnTo>
                  <a:lnTo>
                    <a:pt x="18" y="687"/>
                  </a:lnTo>
                  <a:lnTo>
                    <a:pt x="18" y="687"/>
                  </a:lnTo>
                  <a:lnTo>
                    <a:pt x="16" y="687"/>
                  </a:lnTo>
                  <a:lnTo>
                    <a:pt x="16" y="688"/>
                  </a:lnTo>
                  <a:lnTo>
                    <a:pt x="18" y="690"/>
                  </a:lnTo>
                  <a:lnTo>
                    <a:pt x="18" y="693"/>
                  </a:lnTo>
                  <a:lnTo>
                    <a:pt x="18" y="693"/>
                  </a:lnTo>
                  <a:lnTo>
                    <a:pt x="18" y="697"/>
                  </a:lnTo>
                  <a:lnTo>
                    <a:pt x="19" y="701"/>
                  </a:lnTo>
                  <a:lnTo>
                    <a:pt x="21" y="704"/>
                  </a:lnTo>
                  <a:lnTo>
                    <a:pt x="22" y="704"/>
                  </a:lnTo>
                  <a:lnTo>
                    <a:pt x="22" y="704"/>
                  </a:lnTo>
                  <a:lnTo>
                    <a:pt x="22" y="704"/>
                  </a:lnTo>
                  <a:lnTo>
                    <a:pt x="27" y="697"/>
                  </a:lnTo>
                  <a:lnTo>
                    <a:pt x="29" y="693"/>
                  </a:lnTo>
                  <a:lnTo>
                    <a:pt x="29" y="693"/>
                  </a:lnTo>
                  <a:lnTo>
                    <a:pt x="31" y="693"/>
                  </a:lnTo>
                  <a:lnTo>
                    <a:pt x="31" y="693"/>
                  </a:lnTo>
                  <a:lnTo>
                    <a:pt x="29" y="696"/>
                  </a:lnTo>
                  <a:lnTo>
                    <a:pt x="28" y="703"/>
                  </a:lnTo>
                  <a:lnTo>
                    <a:pt x="28" y="703"/>
                  </a:lnTo>
                  <a:lnTo>
                    <a:pt x="27" y="710"/>
                  </a:lnTo>
                  <a:lnTo>
                    <a:pt x="27" y="713"/>
                  </a:lnTo>
                  <a:lnTo>
                    <a:pt x="28" y="716"/>
                  </a:lnTo>
                  <a:lnTo>
                    <a:pt x="28" y="716"/>
                  </a:lnTo>
                  <a:lnTo>
                    <a:pt x="32" y="716"/>
                  </a:lnTo>
                  <a:lnTo>
                    <a:pt x="35" y="716"/>
                  </a:lnTo>
                  <a:lnTo>
                    <a:pt x="38" y="716"/>
                  </a:lnTo>
                  <a:lnTo>
                    <a:pt x="37" y="717"/>
                  </a:lnTo>
                  <a:lnTo>
                    <a:pt x="37" y="717"/>
                  </a:lnTo>
                  <a:lnTo>
                    <a:pt x="37" y="719"/>
                  </a:lnTo>
                  <a:lnTo>
                    <a:pt x="40" y="719"/>
                  </a:lnTo>
                  <a:lnTo>
                    <a:pt x="45" y="713"/>
                  </a:lnTo>
                  <a:lnTo>
                    <a:pt x="45" y="713"/>
                  </a:lnTo>
                  <a:lnTo>
                    <a:pt x="54" y="707"/>
                  </a:lnTo>
                  <a:lnTo>
                    <a:pt x="58" y="706"/>
                  </a:lnTo>
                  <a:lnTo>
                    <a:pt x="60" y="704"/>
                  </a:lnTo>
                  <a:lnTo>
                    <a:pt x="61" y="706"/>
                  </a:lnTo>
                  <a:lnTo>
                    <a:pt x="61" y="706"/>
                  </a:lnTo>
                  <a:lnTo>
                    <a:pt x="61" y="709"/>
                  </a:lnTo>
                  <a:lnTo>
                    <a:pt x="60" y="711"/>
                  </a:lnTo>
                  <a:lnTo>
                    <a:pt x="60" y="714"/>
                  </a:lnTo>
                  <a:lnTo>
                    <a:pt x="63" y="714"/>
                  </a:lnTo>
                  <a:lnTo>
                    <a:pt x="63" y="714"/>
                  </a:lnTo>
                  <a:lnTo>
                    <a:pt x="70" y="714"/>
                  </a:lnTo>
                  <a:lnTo>
                    <a:pt x="71" y="713"/>
                  </a:lnTo>
                  <a:lnTo>
                    <a:pt x="73" y="710"/>
                  </a:lnTo>
                  <a:lnTo>
                    <a:pt x="73" y="710"/>
                  </a:lnTo>
                  <a:lnTo>
                    <a:pt x="74" y="706"/>
                  </a:lnTo>
                  <a:lnTo>
                    <a:pt x="77" y="704"/>
                  </a:lnTo>
                  <a:lnTo>
                    <a:pt x="84" y="700"/>
                  </a:lnTo>
                  <a:lnTo>
                    <a:pt x="84" y="700"/>
                  </a:lnTo>
                  <a:lnTo>
                    <a:pt x="92" y="698"/>
                  </a:lnTo>
                  <a:lnTo>
                    <a:pt x="95" y="697"/>
                  </a:lnTo>
                  <a:lnTo>
                    <a:pt x="96" y="694"/>
                  </a:lnTo>
                  <a:lnTo>
                    <a:pt x="96" y="694"/>
                  </a:lnTo>
                  <a:lnTo>
                    <a:pt x="98" y="693"/>
                  </a:lnTo>
                  <a:lnTo>
                    <a:pt x="98" y="693"/>
                  </a:lnTo>
                  <a:lnTo>
                    <a:pt x="89" y="690"/>
                  </a:lnTo>
                  <a:lnTo>
                    <a:pt x="79" y="688"/>
                  </a:lnTo>
                  <a:lnTo>
                    <a:pt x="79" y="688"/>
                  </a:lnTo>
                  <a:lnTo>
                    <a:pt x="63" y="688"/>
                  </a:lnTo>
                  <a:lnTo>
                    <a:pt x="56" y="687"/>
                  </a:lnTo>
                  <a:lnTo>
                    <a:pt x="53" y="685"/>
                  </a:lnTo>
                  <a:lnTo>
                    <a:pt x="51" y="6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01" name="Freeform 264"/>
            <p:cNvSpPr>
              <a:spLocks/>
            </p:cNvSpPr>
            <p:nvPr/>
          </p:nvSpPr>
          <p:spPr bwMode="auto">
            <a:xfrm>
              <a:off x="2184401" y="4510516"/>
              <a:ext cx="153988" cy="74613"/>
            </a:xfrm>
            <a:custGeom>
              <a:avLst/>
              <a:gdLst>
                <a:gd name="T0" fmla="*/ 84 w 97"/>
                <a:gd name="T1" fmla="*/ 11 h 47"/>
                <a:gd name="T2" fmla="*/ 64 w 97"/>
                <a:gd name="T3" fmla="*/ 7 h 47"/>
                <a:gd name="T4" fmla="*/ 59 w 97"/>
                <a:gd name="T5" fmla="*/ 7 h 47"/>
                <a:gd name="T6" fmla="*/ 46 w 97"/>
                <a:gd name="T7" fmla="*/ 13 h 47"/>
                <a:gd name="T8" fmla="*/ 36 w 97"/>
                <a:gd name="T9" fmla="*/ 15 h 47"/>
                <a:gd name="T10" fmla="*/ 26 w 97"/>
                <a:gd name="T11" fmla="*/ 14 h 47"/>
                <a:gd name="T12" fmla="*/ 23 w 97"/>
                <a:gd name="T13" fmla="*/ 13 h 47"/>
                <a:gd name="T14" fmla="*/ 19 w 97"/>
                <a:gd name="T15" fmla="*/ 14 h 47"/>
                <a:gd name="T16" fmla="*/ 14 w 97"/>
                <a:gd name="T17" fmla="*/ 13 h 47"/>
                <a:gd name="T18" fmla="*/ 11 w 97"/>
                <a:gd name="T19" fmla="*/ 7 h 47"/>
                <a:gd name="T20" fmla="*/ 6 w 97"/>
                <a:gd name="T21" fmla="*/ 0 h 47"/>
                <a:gd name="T22" fmla="*/ 4 w 97"/>
                <a:gd name="T23" fmla="*/ 0 h 47"/>
                <a:gd name="T24" fmla="*/ 0 w 97"/>
                <a:gd name="T25" fmla="*/ 5 h 47"/>
                <a:gd name="T26" fmla="*/ 0 w 97"/>
                <a:gd name="T27" fmla="*/ 11 h 47"/>
                <a:gd name="T28" fmla="*/ 1 w 97"/>
                <a:gd name="T29" fmla="*/ 15 h 47"/>
                <a:gd name="T30" fmla="*/ 3 w 97"/>
                <a:gd name="T31" fmla="*/ 23 h 47"/>
                <a:gd name="T32" fmla="*/ 6 w 97"/>
                <a:gd name="T33" fmla="*/ 24 h 47"/>
                <a:gd name="T34" fmla="*/ 14 w 97"/>
                <a:gd name="T35" fmla="*/ 26 h 47"/>
                <a:gd name="T36" fmla="*/ 19 w 97"/>
                <a:gd name="T37" fmla="*/ 27 h 47"/>
                <a:gd name="T38" fmla="*/ 26 w 97"/>
                <a:gd name="T39" fmla="*/ 34 h 47"/>
                <a:gd name="T40" fmla="*/ 32 w 97"/>
                <a:gd name="T41" fmla="*/ 39 h 47"/>
                <a:gd name="T42" fmla="*/ 43 w 97"/>
                <a:gd name="T43" fmla="*/ 39 h 47"/>
                <a:gd name="T44" fmla="*/ 51 w 97"/>
                <a:gd name="T45" fmla="*/ 39 h 47"/>
                <a:gd name="T46" fmla="*/ 51 w 97"/>
                <a:gd name="T47" fmla="*/ 37 h 47"/>
                <a:gd name="T48" fmla="*/ 45 w 97"/>
                <a:gd name="T49" fmla="*/ 28 h 47"/>
                <a:gd name="T50" fmla="*/ 46 w 97"/>
                <a:gd name="T51" fmla="*/ 26 h 47"/>
                <a:gd name="T52" fmla="*/ 51 w 97"/>
                <a:gd name="T53" fmla="*/ 23 h 47"/>
                <a:gd name="T54" fmla="*/ 55 w 97"/>
                <a:gd name="T55" fmla="*/ 18 h 47"/>
                <a:gd name="T56" fmla="*/ 64 w 97"/>
                <a:gd name="T57" fmla="*/ 14 h 47"/>
                <a:gd name="T58" fmla="*/ 67 w 97"/>
                <a:gd name="T59" fmla="*/ 15 h 47"/>
                <a:gd name="T60" fmla="*/ 78 w 97"/>
                <a:gd name="T61" fmla="*/ 23 h 47"/>
                <a:gd name="T62" fmla="*/ 80 w 97"/>
                <a:gd name="T63" fmla="*/ 27 h 47"/>
                <a:gd name="T64" fmla="*/ 81 w 97"/>
                <a:gd name="T65" fmla="*/ 36 h 47"/>
                <a:gd name="T66" fmla="*/ 87 w 97"/>
                <a:gd name="T67" fmla="*/ 44 h 47"/>
                <a:gd name="T68" fmla="*/ 90 w 97"/>
                <a:gd name="T69" fmla="*/ 47 h 47"/>
                <a:gd name="T70" fmla="*/ 94 w 97"/>
                <a:gd name="T71" fmla="*/ 33 h 47"/>
                <a:gd name="T72" fmla="*/ 97 w 97"/>
                <a:gd name="T73" fmla="*/ 20 h 47"/>
                <a:gd name="T74" fmla="*/ 88 w 97"/>
                <a:gd name="T75" fmla="*/ 1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47">
                  <a:moveTo>
                    <a:pt x="84" y="11"/>
                  </a:moveTo>
                  <a:lnTo>
                    <a:pt x="84" y="11"/>
                  </a:lnTo>
                  <a:lnTo>
                    <a:pt x="69" y="7"/>
                  </a:lnTo>
                  <a:lnTo>
                    <a:pt x="64" y="7"/>
                  </a:lnTo>
                  <a:lnTo>
                    <a:pt x="59" y="7"/>
                  </a:lnTo>
                  <a:lnTo>
                    <a:pt x="59" y="7"/>
                  </a:lnTo>
                  <a:lnTo>
                    <a:pt x="52" y="10"/>
                  </a:lnTo>
                  <a:lnTo>
                    <a:pt x="46" y="13"/>
                  </a:lnTo>
                  <a:lnTo>
                    <a:pt x="46" y="13"/>
                  </a:lnTo>
                  <a:lnTo>
                    <a:pt x="36" y="15"/>
                  </a:lnTo>
                  <a:lnTo>
                    <a:pt x="30" y="15"/>
                  </a:lnTo>
                  <a:lnTo>
                    <a:pt x="26" y="14"/>
                  </a:lnTo>
                  <a:lnTo>
                    <a:pt x="26" y="14"/>
                  </a:lnTo>
                  <a:lnTo>
                    <a:pt x="23" y="13"/>
                  </a:lnTo>
                  <a:lnTo>
                    <a:pt x="20" y="14"/>
                  </a:lnTo>
                  <a:lnTo>
                    <a:pt x="19" y="14"/>
                  </a:lnTo>
                  <a:lnTo>
                    <a:pt x="14" y="13"/>
                  </a:lnTo>
                  <a:lnTo>
                    <a:pt x="14" y="13"/>
                  </a:lnTo>
                  <a:lnTo>
                    <a:pt x="13" y="8"/>
                  </a:lnTo>
                  <a:lnTo>
                    <a:pt x="11" y="7"/>
                  </a:lnTo>
                  <a:lnTo>
                    <a:pt x="10" y="4"/>
                  </a:lnTo>
                  <a:lnTo>
                    <a:pt x="6" y="0"/>
                  </a:lnTo>
                  <a:lnTo>
                    <a:pt x="6" y="0"/>
                  </a:lnTo>
                  <a:lnTo>
                    <a:pt x="4" y="0"/>
                  </a:lnTo>
                  <a:lnTo>
                    <a:pt x="4" y="0"/>
                  </a:lnTo>
                  <a:lnTo>
                    <a:pt x="0" y="5"/>
                  </a:lnTo>
                  <a:lnTo>
                    <a:pt x="0" y="8"/>
                  </a:lnTo>
                  <a:lnTo>
                    <a:pt x="0" y="11"/>
                  </a:lnTo>
                  <a:lnTo>
                    <a:pt x="0" y="11"/>
                  </a:lnTo>
                  <a:lnTo>
                    <a:pt x="1" y="15"/>
                  </a:lnTo>
                  <a:lnTo>
                    <a:pt x="1" y="23"/>
                  </a:lnTo>
                  <a:lnTo>
                    <a:pt x="3" y="23"/>
                  </a:lnTo>
                  <a:lnTo>
                    <a:pt x="3" y="23"/>
                  </a:lnTo>
                  <a:lnTo>
                    <a:pt x="6" y="24"/>
                  </a:lnTo>
                  <a:lnTo>
                    <a:pt x="10" y="26"/>
                  </a:lnTo>
                  <a:lnTo>
                    <a:pt x="14" y="26"/>
                  </a:lnTo>
                  <a:lnTo>
                    <a:pt x="19" y="27"/>
                  </a:lnTo>
                  <a:lnTo>
                    <a:pt x="19" y="27"/>
                  </a:lnTo>
                  <a:lnTo>
                    <a:pt x="23" y="30"/>
                  </a:lnTo>
                  <a:lnTo>
                    <a:pt x="26" y="34"/>
                  </a:lnTo>
                  <a:lnTo>
                    <a:pt x="27" y="37"/>
                  </a:lnTo>
                  <a:lnTo>
                    <a:pt x="32" y="39"/>
                  </a:lnTo>
                  <a:lnTo>
                    <a:pt x="32" y="39"/>
                  </a:lnTo>
                  <a:lnTo>
                    <a:pt x="43" y="39"/>
                  </a:lnTo>
                  <a:lnTo>
                    <a:pt x="49" y="39"/>
                  </a:lnTo>
                  <a:lnTo>
                    <a:pt x="51" y="39"/>
                  </a:lnTo>
                  <a:lnTo>
                    <a:pt x="51" y="37"/>
                  </a:lnTo>
                  <a:lnTo>
                    <a:pt x="51" y="37"/>
                  </a:lnTo>
                  <a:lnTo>
                    <a:pt x="46" y="31"/>
                  </a:lnTo>
                  <a:lnTo>
                    <a:pt x="45" y="28"/>
                  </a:lnTo>
                  <a:lnTo>
                    <a:pt x="45" y="27"/>
                  </a:lnTo>
                  <a:lnTo>
                    <a:pt x="46" y="26"/>
                  </a:lnTo>
                  <a:lnTo>
                    <a:pt x="46" y="26"/>
                  </a:lnTo>
                  <a:lnTo>
                    <a:pt x="51" y="23"/>
                  </a:lnTo>
                  <a:lnTo>
                    <a:pt x="55" y="18"/>
                  </a:lnTo>
                  <a:lnTo>
                    <a:pt x="55" y="18"/>
                  </a:lnTo>
                  <a:lnTo>
                    <a:pt x="61" y="14"/>
                  </a:lnTo>
                  <a:lnTo>
                    <a:pt x="64" y="14"/>
                  </a:lnTo>
                  <a:lnTo>
                    <a:pt x="67" y="15"/>
                  </a:lnTo>
                  <a:lnTo>
                    <a:pt x="67" y="15"/>
                  </a:lnTo>
                  <a:lnTo>
                    <a:pt x="75" y="20"/>
                  </a:lnTo>
                  <a:lnTo>
                    <a:pt x="78" y="23"/>
                  </a:lnTo>
                  <a:lnTo>
                    <a:pt x="80" y="27"/>
                  </a:lnTo>
                  <a:lnTo>
                    <a:pt x="80" y="27"/>
                  </a:lnTo>
                  <a:lnTo>
                    <a:pt x="80" y="31"/>
                  </a:lnTo>
                  <a:lnTo>
                    <a:pt x="81" y="36"/>
                  </a:lnTo>
                  <a:lnTo>
                    <a:pt x="84" y="42"/>
                  </a:lnTo>
                  <a:lnTo>
                    <a:pt x="87" y="44"/>
                  </a:lnTo>
                  <a:lnTo>
                    <a:pt x="87" y="44"/>
                  </a:lnTo>
                  <a:lnTo>
                    <a:pt x="90" y="47"/>
                  </a:lnTo>
                  <a:lnTo>
                    <a:pt x="90" y="47"/>
                  </a:lnTo>
                  <a:lnTo>
                    <a:pt x="94" y="33"/>
                  </a:lnTo>
                  <a:lnTo>
                    <a:pt x="97" y="20"/>
                  </a:lnTo>
                  <a:lnTo>
                    <a:pt x="97" y="20"/>
                  </a:lnTo>
                  <a:lnTo>
                    <a:pt x="91" y="15"/>
                  </a:lnTo>
                  <a:lnTo>
                    <a:pt x="88" y="13"/>
                  </a:lnTo>
                  <a:lnTo>
                    <a:pt x="84" y="11"/>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02" name="Freeform 265"/>
            <p:cNvSpPr>
              <a:spLocks/>
            </p:cNvSpPr>
            <p:nvPr/>
          </p:nvSpPr>
          <p:spPr bwMode="auto">
            <a:xfrm>
              <a:off x="2184401" y="4510516"/>
              <a:ext cx="153988" cy="74613"/>
            </a:xfrm>
            <a:custGeom>
              <a:avLst/>
              <a:gdLst>
                <a:gd name="T0" fmla="*/ 84 w 97"/>
                <a:gd name="T1" fmla="*/ 11 h 47"/>
                <a:gd name="T2" fmla="*/ 64 w 97"/>
                <a:gd name="T3" fmla="*/ 7 h 47"/>
                <a:gd name="T4" fmla="*/ 59 w 97"/>
                <a:gd name="T5" fmla="*/ 7 h 47"/>
                <a:gd name="T6" fmla="*/ 46 w 97"/>
                <a:gd name="T7" fmla="*/ 13 h 47"/>
                <a:gd name="T8" fmla="*/ 36 w 97"/>
                <a:gd name="T9" fmla="*/ 15 h 47"/>
                <a:gd name="T10" fmla="*/ 26 w 97"/>
                <a:gd name="T11" fmla="*/ 14 h 47"/>
                <a:gd name="T12" fmla="*/ 23 w 97"/>
                <a:gd name="T13" fmla="*/ 13 h 47"/>
                <a:gd name="T14" fmla="*/ 19 w 97"/>
                <a:gd name="T15" fmla="*/ 14 h 47"/>
                <a:gd name="T16" fmla="*/ 14 w 97"/>
                <a:gd name="T17" fmla="*/ 13 h 47"/>
                <a:gd name="T18" fmla="*/ 11 w 97"/>
                <a:gd name="T19" fmla="*/ 7 h 47"/>
                <a:gd name="T20" fmla="*/ 6 w 97"/>
                <a:gd name="T21" fmla="*/ 0 h 47"/>
                <a:gd name="T22" fmla="*/ 4 w 97"/>
                <a:gd name="T23" fmla="*/ 0 h 47"/>
                <a:gd name="T24" fmla="*/ 0 w 97"/>
                <a:gd name="T25" fmla="*/ 5 h 47"/>
                <a:gd name="T26" fmla="*/ 0 w 97"/>
                <a:gd name="T27" fmla="*/ 11 h 47"/>
                <a:gd name="T28" fmla="*/ 1 w 97"/>
                <a:gd name="T29" fmla="*/ 15 h 47"/>
                <a:gd name="T30" fmla="*/ 3 w 97"/>
                <a:gd name="T31" fmla="*/ 23 h 47"/>
                <a:gd name="T32" fmla="*/ 6 w 97"/>
                <a:gd name="T33" fmla="*/ 24 h 47"/>
                <a:gd name="T34" fmla="*/ 14 w 97"/>
                <a:gd name="T35" fmla="*/ 26 h 47"/>
                <a:gd name="T36" fmla="*/ 19 w 97"/>
                <a:gd name="T37" fmla="*/ 27 h 47"/>
                <a:gd name="T38" fmla="*/ 26 w 97"/>
                <a:gd name="T39" fmla="*/ 34 h 47"/>
                <a:gd name="T40" fmla="*/ 32 w 97"/>
                <a:gd name="T41" fmla="*/ 39 h 47"/>
                <a:gd name="T42" fmla="*/ 43 w 97"/>
                <a:gd name="T43" fmla="*/ 39 h 47"/>
                <a:gd name="T44" fmla="*/ 51 w 97"/>
                <a:gd name="T45" fmla="*/ 39 h 47"/>
                <a:gd name="T46" fmla="*/ 51 w 97"/>
                <a:gd name="T47" fmla="*/ 37 h 47"/>
                <a:gd name="T48" fmla="*/ 45 w 97"/>
                <a:gd name="T49" fmla="*/ 28 h 47"/>
                <a:gd name="T50" fmla="*/ 46 w 97"/>
                <a:gd name="T51" fmla="*/ 26 h 47"/>
                <a:gd name="T52" fmla="*/ 51 w 97"/>
                <a:gd name="T53" fmla="*/ 23 h 47"/>
                <a:gd name="T54" fmla="*/ 55 w 97"/>
                <a:gd name="T55" fmla="*/ 18 h 47"/>
                <a:gd name="T56" fmla="*/ 64 w 97"/>
                <a:gd name="T57" fmla="*/ 14 h 47"/>
                <a:gd name="T58" fmla="*/ 67 w 97"/>
                <a:gd name="T59" fmla="*/ 15 h 47"/>
                <a:gd name="T60" fmla="*/ 78 w 97"/>
                <a:gd name="T61" fmla="*/ 23 h 47"/>
                <a:gd name="T62" fmla="*/ 80 w 97"/>
                <a:gd name="T63" fmla="*/ 27 h 47"/>
                <a:gd name="T64" fmla="*/ 81 w 97"/>
                <a:gd name="T65" fmla="*/ 36 h 47"/>
                <a:gd name="T66" fmla="*/ 87 w 97"/>
                <a:gd name="T67" fmla="*/ 44 h 47"/>
                <a:gd name="T68" fmla="*/ 90 w 97"/>
                <a:gd name="T69" fmla="*/ 47 h 47"/>
                <a:gd name="T70" fmla="*/ 94 w 97"/>
                <a:gd name="T71" fmla="*/ 33 h 47"/>
                <a:gd name="T72" fmla="*/ 97 w 97"/>
                <a:gd name="T73" fmla="*/ 20 h 47"/>
                <a:gd name="T74" fmla="*/ 88 w 97"/>
                <a:gd name="T75" fmla="*/ 1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47">
                  <a:moveTo>
                    <a:pt x="84" y="11"/>
                  </a:moveTo>
                  <a:lnTo>
                    <a:pt x="84" y="11"/>
                  </a:lnTo>
                  <a:lnTo>
                    <a:pt x="69" y="7"/>
                  </a:lnTo>
                  <a:lnTo>
                    <a:pt x="64" y="7"/>
                  </a:lnTo>
                  <a:lnTo>
                    <a:pt x="59" y="7"/>
                  </a:lnTo>
                  <a:lnTo>
                    <a:pt x="59" y="7"/>
                  </a:lnTo>
                  <a:lnTo>
                    <a:pt x="52" y="10"/>
                  </a:lnTo>
                  <a:lnTo>
                    <a:pt x="46" y="13"/>
                  </a:lnTo>
                  <a:lnTo>
                    <a:pt x="46" y="13"/>
                  </a:lnTo>
                  <a:lnTo>
                    <a:pt x="36" y="15"/>
                  </a:lnTo>
                  <a:lnTo>
                    <a:pt x="30" y="15"/>
                  </a:lnTo>
                  <a:lnTo>
                    <a:pt x="26" y="14"/>
                  </a:lnTo>
                  <a:lnTo>
                    <a:pt x="26" y="14"/>
                  </a:lnTo>
                  <a:lnTo>
                    <a:pt x="23" y="13"/>
                  </a:lnTo>
                  <a:lnTo>
                    <a:pt x="20" y="14"/>
                  </a:lnTo>
                  <a:lnTo>
                    <a:pt x="19" y="14"/>
                  </a:lnTo>
                  <a:lnTo>
                    <a:pt x="14" y="13"/>
                  </a:lnTo>
                  <a:lnTo>
                    <a:pt x="14" y="13"/>
                  </a:lnTo>
                  <a:lnTo>
                    <a:pt x="13" y="8"/>
                  </a:lnTo>
                  <a:lnTo>
                    <a:pt x="11" y="7"/>
                  </a:lnTo>
                  <a:lnTo>
                    <a:pt x="10" y="4"/>
                  </a:lnTo>
                  <a:lnTo>
                    <a:pt x="6" y="0"/>
                  </a:lnTo>
                  <a:lnTo>
                    <a:pt x="6" y="0"/>
                  </a:lnTo>
                  <a:lnTo>
                    <a:pt x="4" y="0"/>
                  </a:lnTo>
                  <a:lnTo>
                    <a:pt x="4" y="0"/>
                  </a:lnTo>
                  <a:lnTo>
                    <a:pt x="0" y="5"/>
                  </a:lnTo>
                  <a:lnTo>
                    <a:pt x="0" y="8"/>
                  </a:lnTo>
                  <a:lnTo>
                    <a:pt x="0" y="11"/>
                  </a:lnTo>
                  <a:lnTo>
                    <a:pt x="0" y="11"/>
                  </a:lnTo>
                  <a:lnTo>
                    <a:pt x="1" y="15"/>
                  </a:lnTo>
                  <a:lnTo>
                    <a:pt x="1" y="23"/>
                  </a:lnTo>
                  <a:lnTo>
                    <a:pt x="3" y="23"/>
                  </a:lnTo>
                  <a:lnTo>
                    <a:pt x="3" y="23"/>
                  </a:lnTo>
                  <a:lnTo>
                    <a:pt x="6" y="24"/>
                  </a:lnTo>
                  <a:lnTo>
                    <a:pt x="10" y="26"/>
                  </a:lnTo>
                  <a:lnTo>
                    <a:pt x="14" y="26"/>
                  </a:lnTo>
                  <a:lnTo>
                    <a:pt x="19" y="27"/>
                  </a:lnTo>
                  <a:lnTo>
                    <a:pt x="19" y="27"/>
                  </a:lnTo>
                  <a:lnTo>
                    <a:pt x="23" y="30"/>
                  </a:lnTo>
                  <a:lnTo>
                    <a:pt x="26" y="34"/>
                  </a:lnTo>
                  <a:lnTo>
                    <a:pt x="27" y="37"/>
                  </a:lnTo>
                  <a:lnTo>
                    <a:pt x="32" y="39"/>
                  </a:lnTo>
                  <a:lnTo>
                    <a:pt x="32" y="39"/>
                  </a:lnTo>
                  <a:lnTo>
                    <a:pt x="43" y="39"/>
                  </a:lnTo>
                  <a:lnTo>
                    <a:pt x="49" y="39"/>
                  </a:lnTo>
                  <a:lnTo>
                    <a:pt x="51" y="39"/>
                  </a:lnTo>
                  <a:lnTo>
                    <a:pt x="51" y="37"/>
                  </a:lnTo>
                  <a:lnTo>
                    <a:pt x="51" y="37"/>
                  </a:lnTo>
                  <a:lnTo>
                    <a:pt x="46" y="31"/>
                  </a:lnTo>
                  <a:lnTo>
                    <a:pt x="45" y="28"/>
                  </a:lnTo>
                  <a:lnTo>
                    <a:pt x="45" y="27"/>
                  </a:lnTo>
                  <a:lnTo>
                    <a:pt x="46" y="26"/>
                  </a:lnTo>
                  <a:lnTo>
                    <a:pt x="46" y="26"/>
                  </a:lnTo>
                  <a:lnTo>
                    <a:pt x="51" y="23"/>
                  </a:lnTo>
                  <a:lnTo>
                    <a:pt x="55" y="18"/>
                  </a:lnTo>
                  <a:lnTo>
                    <a:pt x="55" y="18"/>
                  </a:lnTo>
                  <a:lnTo>
                    <a:pt x="61" y="14"/>
                  </a:lnTo>
                  <a:lnTo>
                    <a:pt x="64" y="14"/>
                  </a:lnTo>
                  <a:lnTo>
                    <a:pt x="67" y="15"/>
                  </a:lnTo>
                  <a:lnTo>
                    <a:pt x="67" y="15"/>
                  </a:lnTo>
                  <a:lnTo>
                    <a:pt x="75" y="20"/>
                  </a:lnTo>
                  <a:lnTo>
                    <a:pt x="78" y="23"/>
                  </a:lnTo>
                  <a:lnTo>
                    <a:pt x="80" y="27"/>
                  </a:lnTo>
                  <a:lnTo>
                    <a:pt x="80" y="27"/>
                  </a:lnTo>
                  <a:lnTo>
                    <a:pt x="80" y="31"/>
                  </a:lnTo>
                  <a:lnTo>
                    <a:pt x="81" y="36"/>
                  </a:lnTo>
                  <a:lnTo>
                    <a:pt x="84" y="42"/>
                  </a:lnTo>
                  <a:lnTo>
                    <a:pt x="87" y="44"/>
                  </a:lnTo>
                  <a:lnTo>
                    <a:pt x="87" y="44"/>
                  </a:lnTo>
                  <a:lnTo>
                    <a:pt x="90" y="47"/>
                  </a:lnTo>
                  <a:lnTo>
                    <a:pt x="90" y="47"/>
                  </a:lnTo>
                  <a:lnTo>
                    <a:pt x="94" y="33"/>
                  </a:lnTo>
                  <a:lnTo>
                    <a:pt x="97" y="20"/>
                  </a:lnTo>
                  <a:lnTo>
                    <a:pt x="97" y="20"/>
                  </a:lnTo>
                  <a:lnTo>
                    <a:pt x="91" y="15"/>
                  </a:lnTo>
                  <a:lnTo>
                    <a:pt x="88" y="13"/>
                  </a:lnTo>
                  <a:lnTo>
                    <a:pt x="84"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03" name="Freeform 659"/>
            <p:cNvSpPr>
              <a:spLocks noEditPoints="1"/>
            </p:cNvSpPr>
            <p:nvPr/>
          </p:nvSpPr>
          <p:spPr bwMode="auto">
            <a:xfrm>
              <a:off x="2519363" y="4989942"/>
              <a:ext cx="317500" cy="361950"/>
            </a:xfrm>
            <a:custGeom>
              <a:avLst/>
              <a:gdLst>
                <a:gd name="T0" fmla="*/ 196 w 200"/>
                <a:gd name="T1" fmla="*/ 129 h 228"/>
                <a:gd name="T2" fmla="*/ 187 w 200"/>
                <a:gd name="T3" fmla="*/ 122 h 228"/>
                <a:gd name="T4" fmla="*/ 187 w 200"/>
                <a:gd name="T5" fmla="*/ 109 h 228"/>
                <a:gd name="T6" fmla="*/ 184 w 200"/>
                <a:gd name="T7" fmla="*/ 106 h 228"/>
                <a:gd name="T8" fmla="*/ 165 w 200"/>
                <a:gd name="T9" fmla="*/ 105 h 228"/>
                <a:gd name="T10" fmla="*/ 160 w 200"/>
                <a:gd name="T11" fmla="*/ 94 h 228"/>
                <a:gd name="T12" fmla="*/ 152 w 200"/>
                <a:gd name="T13" fmla="*/ 80 h 228"/>
                <a:gd name="T14" fmla="*/ 151 w 200"/>
                <a:gd name="T15" fmla="*/ 70 h 228"/>
                <a:gd name="T16" fmla="*/ 147 w 200"/>
                <a:gd name="T17" fmla="*/ 67 h 228"/>
                <a:gd name="T18" fmla="*/ 129 w 200"/>
                <a:gd name="T19" fmla="*/ 64 h 228"/>
                <a:gd name="T20" fmla="*/ 121 w 200"/>
                <a:gd name="T21" fmla="*/ 57 h 228"/>
                <a:gd name="T22" fmla="*/ 110 w 200"/>
                <a:gd name="T23" fmla="*/ 51 h 228"/>
                <a:gd name="T24" fmla="*/ 86 w 200"/>
                <a:gd name="T25" fmla="*/ 44 h 228"/>
                <a:gd name="T26" fmla="*/ 73 w 200"/>
                <a:gd name="T27" fmla="*/ 32 h 228"/>
                <a:gd name="T28" fmla="*/ 70 w 200"/>
                <a:gd name="T29" fmla="*/ 22 h 228"/>
                <a:gd name="T30" fmla="*/ 68 w 200"/>
                <a:gd name="T31" fmla="*/ 2 h 228"/>
                <a:gd name="T32" fmla="*/ 61 w 200"/>
                <a:gd name="T33" fmla="*/ 2 h 228"/>
                <a:gd name="T34" fmla="*/ 44 w 200"/>
                <a:gd name="T35" fmla="*/ 9 h 228"/>
                <a:gd name="T36" fmla="*/ 26 w 200"/>
                <a:gd name="T37" fmla="*/ 19 h 228"/>
                <a:gd name="T38" fmla="*/ 5 w 200"/>
                <a:gd name="T39" fmla="*/ 22 h 228"/>
                <a:gd name="T40" fmla="*/ 8 w 200"/>
                <a:gd name="T41" fmla="*/ 47 h 228"/>
                <a:gd name="T42" fmla="*/ 6 w 200"/>
                <a:gd name="T43" fmla="*/ 58 h 228"/>
                <a:gd name="T44" fmla="*/ 2 w 200"/>
                <a:gd name="T45" fmla="*/ 89 h 228"/>
                <a:gd name="T46" fmla="*/ 0 w 200"/>
                <a:gd name="T47" fmla="*/ 93 h 228"/>
                <a:gd name="T48" fmla="*/ 8 w 200"/>
                <a:gd name="T49" fmla="*/ 102 h 228"/>
                <a:gd name="T50" fmla="*/ 16 w 200"/>
                <a:gd name="T51" fmla="*/ 110 h 228"/>
                <a:gd name="T52" fmla="*/ 21 w 200"/>
                <a:gd name="T53" fmla="*/ 116 h 228"/>
                <a:gd name="T54" fmla="*/ 21 w 200"/>
                <a:gd name="T55" fmla="*/ 122 h 228"/>
                <a:gd name="T56" fmla="*/ 6 w 200"/>
                <a:gd name="T57" fmla="*/ 139 h 228"/>
                <a:gd name="T58" fmla="*/ 11 w 200"/>
                <a:gd name="T59" fmla="*/ 142 h 228"/>
                <a:gd name="T60" fmla="*/ 9 w 200"/>
                <a:gd name="T61" fmla="*/ 155 h 228"/>
                <a:gd name="T62" fmla="*/ 18 w 200"/>
                <a:gd name="T63" fmla="*/ 170 h 228"/>
                <a:gd name="T64" fmla="*/ 19 w 200"/>
                <a:gd name="T65" fmla="*/ 180 h 228"/>
                <a:gd name="T66" fmla="*/ 26 w 200"/>
                <a:gd name="T67" fmla="*/ 202 h 228"/>
                <a:gd name="T68" fmla="*/ 32 w 200"/>
                <a:gd name="T69" fmla="*/ 223 h 228"/>
                <a:gd name="T70" fmla="*/ 37 w 200"/>
                <a:gd name="T71" fmla="*/ 228 h 228"/>
                <a:gd name="T72" fmla="*/ 63 w 200"/>
                <a:gd name="T73" fmla="*/ 215 h 228"/>
                <a:gd name="T74" fmla="*/ 87 w 200"/>
                <a:gd name="T75" fmla="*/ 219 h 228"/>
                <a:gd name="T76" fmla="*/ 93 w 200"/>
                <a:gd name="T77" fmla="*/ 212 h 228"/>
                <a:gd name="T78" fmla="*/ 99 w 200"/>
                <a:gd name="T79" fmla="*/ 206 h 228"/>
                <a:gd name="T80" fmla="*/ 115 w 200"/>
                <a:gd name="T81" fmla="*/ 207 h 228"/>
                <a:gd name="T82" fmla="*/ 123 w 200"/>
                <a:gd name="T83" fmla="*/ 174 h 228"/>
                <a:gd name="T84" fmla="*/ 126 w 200"/>
                <a:gd name="T85" fmla="*/ 160 h 228"/>
                <a:gd name="T86" fmla="*/ 134 w 200"/>
                <a:gd name="T87" fmla="*/ 155 h 228"/>
                <a:gd name="T88" fmla="*/ 145 w 200"/>
                <a:gd name="T89" fmla="*/ 158 h 228"/>
                <a:gd name="T90" fmla="*/ 157 w 200"/>
                <a:gd name="T91" fmla="*/ 160 h 228"/>
                <a:gd name="T92" fmla="*/ 179 w 200"/>
                <a:gd name="T93" fmla="*/ 154 h 228"/>
                <a:gd name="T94" fmla="*/ 193 w 200"/>
                <a:gd name="T95" fmla="*/ 162 h 228"/>
                <a:gd name="T96" fmla="*/ 196 w 200"/>
                <a:gd name="T97" fmla="*/ 158 h 228"/>
                <a:gd name="T98" fmla="*/ 200 w 200"/>
                <a:gd name="T99" fmla="*/ 136 h 228"/>
                <a:gd name="T100" fmla="*/ 45 w 200"/>
                <a:gd name="T101" fmla="*/ 167 h 228"/>
                <a:gd name="T102" fmla="*/ 39 w 200"/>
                <a:gd name="T103" fmla="*/ 162 h 228"/>
                <a:gd name="T104" fmla="*/ 39 w 200"/>
                <a:gd name="T105" fmla="*/ 157 h 228"/>
                <a:gd name="T106" fmla="*/ 45 w 200"/>
                <a:gd name="T107" fmla="*/ 16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0" h="228">
                  <a:moveTo>
                    <a:pt x="199" y="132"/>
                  </a:moveTo>
                  <a:lnTo>
                    <a:pt x="199" y="132"/>
                  </a:lnTo>
                  <a:lnTo>
                    <a:pt x="196" y="129"/>
                  </a:lnTo>
                  <a:lnTo>
                    <a:pt x="192" y="128"/>
                  </a:lnTo>
                  <a:lnTo>
                    <a:pt x="189" y="125"/>
                  </a:lnTo>
                  <a:lnTo>
                    <a:pt x="187" y="122"/>
                  </a:lnTo>
                  <a:lnTo>
                    <a:pt x="187" y="122"/>
                  </a:lnTo>
                  <a:lnTo>
                    <a:pt x="187" y="112"/>
                  </a:lnTo>
                  <a:lnTo>
                    <a:pt x="187" y="109"/>
                  </a:lnTo>
                  <a:lnTo>
                    <a:pt x="186" y="107"/>
                  </a:lnTo>
                  <a:lnTo>
                    <a:pt x="184" y="106"/>
                  </a:lnTo>
                  <a:lnTo>
                    <a:pt x="184" y="106"/>
                  </a:lnTo>
                  <a:lnTo>
                    <a:pt x="176" y="107"/>
                  </a:lnTo>
                  <a:lnTo>
                    <a:pt x="170" y="107"/>
                  </a:lnTo>
                  <a:lnTo>
                    <a:pt x="165" y="105"/>
                  </a:lnTo>
                  <a:lnTo>
                    <a:pt x="165" y="105"/>
                  </a:lnTo>
                  <a:lnTo>
                    <a:pt x="163" y="100"/>
                  </a:lnTo>
                  <a:lnTo>
                    <a:pt x="160" y="94"/>
                  </a:lnTo>
                  <a:lnTo>
                    <a:pt x="154" y="83"/>
                  </a:lnTo>
                  <a:lnTo>
                    <a:pt x="154" y="83"/>
                  </a:lnTo>
                  <a:lnTo>
                    <a:pt x="152" y="80"/>
                  </a:lnTo>
                  <a:lnTo>
                    <a:pt x="152" y="76"/>
                  </a:lnTo>
                  <a:lnTo>
                    <a:pt x="152" y="73"/>
                  </a:lnTo>
                  <a:lnTo>
                    <a:pt x="151" y="70"/>
                  </a:lnTo>
                  <a:lnTo>
                    <a:pt x="151" y="70"/>
                  </a:lnTo>
                  <a:lnTo>
                    <a:pt x="150" y="68"/>
                  </a:lnTo>
                  <a:lnTo>
                    <a:pt x="147" y="67"/>
                  </a:lnTo>
                  <a:lnTo>
                    <a:pt x="139" y="65"/>
                  </a:lnTo>
                  <a:lnTo>
                    <a:pt x="132" y="65"/>
                  </a:lnTo>
                  <a:lnTo>
                    <a:pt x="129" y="64"/>
                  </a:lnTo>
                  <a:lnTo>
                    <a:pt x="128" y="63"/>
                  </a:lnTo>
                  <a:lnTo>
                    <a:pt x="128" y="63"/>
                  </a:lnTo>
                  <a:lnTo>
                    <a:pt x="121" y="57"/>
                  </a:lnTo>
                  <a:lnTo>
                    <a:pt x="115" y="54"/>
                  </a:lnTo>
                  <a:lnTo>
                    <a:pt x="110" y="51"/>
                  </a:lnTo>
                  <a:lnTo>
                    <a:pt x="110" y="51"/>
                  </a:lnTo>
                  <a:lnTo>
                    <a:pt x="97" y="48"/>
                  </a:lnTo>
                  <a:lnTo>
                    <a:pt x="90" y="47"/>
                  </a:lnTo>
                  <a:lnTo>
                    <a:pt x="86" y="44"/>
                  </a:lnTo>
                  <a:lnTo>
                    <a:pt x="86" y="44"/>
                  </a:lnTo>
                  <a:lnTo>
                    <a:pt x="76" y="35"/>
                  </a:lnTo>
                  <a:lnTo>
                    <a:pt x="73" y="32"/>
                  </a:lnTo>
                  <a:lnTo>
                    <a:pt x="70" y="28"/>
                  </a:lnTo>
                  <a:lnTo>
                    <a:pt x="70" y="28"/>
                  </a:lnTo>
                  <a:lnTo>
                    <a:pt x="70" y="22"/>
                  </a:lnTo>
                  <a:lnTo>
                    <a:pt x="71" y="13"/>
                  </a:lnTo>
                  <a:lnTo>
                    <a:pt x="70" y="5"/>
                  </a:lnTo>
                  <a:lnTo>
                    <a:pt x="68" y="2"/>
                  </a:lnTo>
                  <a:lnTo>
                    <a:pt x="67" y="0"/>
                  </a:lnTo>
                  <a:lnTo>
                    <a:pt x="67" y="0"/>
                  </a:lnTo>
                  <a:lnTo>
                    <a:pt x="61" y="2"/>
                  </a:lnTo>
                  <a:lnTo>
                    <a:pt x="55" y="5"/>
                  </a:lnTo>
                  <a:lnTo>
                    <a:pt x="44" y="9"/>
                  </a:lnTo>
                  <a:lnTo>
                    <a:pt x="44" y="9"/>
                  </a:lnTo>
                  <a:lnTo>
                    <a:pt x="38" y="12"/>
                  </a:lnTo>
                  <a:lnTo>
                    <a:pt x="32" y="16"/>
                  </a:lnTo>
                  <a:lnTo>
                    <a:pt x="26" y="19"/>
                  </a:lnTo>
                  <a:lnTo>
                    <a:pt x="19" y="21"/>
                  </a:lnTo>
                  <a:lnTo>
                    <a:pt x="19" y="21"/>
                  </a:lnTo>
                  <a:lnTo>
                    <a:pt x="5" y="22"/>
                  </a:lnTo>
                  <a:lnTo>
                    <a:pt x="5" y="22"/>
                  </a:lnTo>
                  <a:lnTo>
                    <a:pt x="8" y="39"/>
                  </a:lnTo>
                  <a:lnTo>
                    <a:pt x="8" y="47"/>
                  </a:lnTo>
                  <a:lnTo>
                    <a:pt x="8" y="51"/>
                  </a:lnTo>
                  <a:lnTo>
                    <a:pt x="8" y="51"/>
                  </a:lnTo>
                  <a:lnTo>
                    <a:pt x="6" y="58"/>
                  </a:lnTo>
                  <a:lnTo>
                    <a:pt x="5" y="70"/>
                  </a:lnTo>
                  <a:lnTo>
                    <a:pt x="3" y="81"/>
                  </a:lnTo>
                  <a:lnTo>
                    <a:pt x="2" y="89"/>
                  </a:lnTo>
                  <a:lnTo>
                    <a:pt x="2" y="89"/>
                  </a:lnTo>
                  <a:lnTo>
                    <a:pt x="0" y="90"/>
                  </a:lnTo>
                  <a:lnTo>
                    <a:pt x="0" y="93"/>
                  </a:lnTo>
                  <a:lnTo>
                    <a:pt x="3" y="100"/>
                  </a:lnTo>
                  <a:lnTo>
                    <a:pt x="3" y="100"/>
                  </a:lnTo>
                  <a:lnTo>
                    <a:pt x="8" y="102"/>
                  </a:lnTo>
                  <a:lnTo>
                    <a:pt x="8" y="102"/>
                  </a:lnTo>
                  <a:lnTo>
                    <a:pt x="12" y="106"/>
                  </a:lnTo>
                  <a:lnTo>
                    <a:pt x="16" y="110"/>
                  </a:lnTo>
                  <a:lnTo>
                    <a:pt x="16" y="110"/>
                  </a:lnTo>
                  <a:lnTo>
                    <a:pt x="21" y="113"/>
                  </a:lnTo>
                  <a:lnTo>
                    <a:pt x="21" y="116"/>
                  </a:lnTo>
                  <a:lnTo>
                    <a:pt x="21" y="119"/>
                  </a:lnTo>
                  <a:lnTo>
                    <a:pt x="21" y="119"/>
                  </a:lnTo>
                  <a:lnTo>
                    <a:pt x="21" y="122"/>
                  </a:lnTo>
                  <a:lnTo>
                    <a:pt x="19" y="125"/>
                  </a:lnTo>
                  <a:lnTo>
                    <a:pt x="13" y="131"/>
                  </a:lnTo>
                  <a:lnTo>
                    <a:pt x="6" y="139"/>
                  </a:lnTo>
                  <a:lnTo>
                    <a:pt x="6" y="139"/>
                  </a:lnTo>
                  <a:lnTo>
                    <a:pt x="9" y="139"/>
                  </a:lnTo>
                  <a:lnTo>
                    <a:pt x="11" y="142"/>
                  </a:lnTo>
                  <a:lnTo>
                    <a:pt x="9" y="149"/>
                  </a:lnTo>
                  <a:lnTo>
                    <a:pt x="9" y="149"/>
                  </a:lnTo>
                  <a:lnTo>
                    <a:pt x="9" y="155"/>
                  </a:lnTo>
                  <a:lnTo>
                    <a:pt x="11" y="160"/>
                  </a:lnTo>
                  <a:lnTo>
                    <a:pt x="18" y="170"/>
                  </a:lnTo>
                  <a:lnTo>
                    <a:pt x="18" y="170"/>
                  </a:lnTo>
                  <a:lnTo>
                    <a:pt x="21" y="174"/>
                  </a:lnTo>
                  <a:lnTo>
                    <a:pt x="19" y="177"/>
                  </a:lnTo>
                  <a:lnTo>
                    <a:pt x="19" y="180"/>
                  </a:lnTo>
                  <a:lnTo>
                    <a:pt x="21" y="186"/>
                  </a:lnTo>
                  <a:lnTo>
                    <a:pt x="21" y="186"/>
                  </a:lnTo>
                  <a:lnTo>
                    <a:pt x="26" y="202"/>
                  </a:lnTo>
                  <a:lnTo>
                    <a:pt x="31" y="220"/>
                  </a:lnTo>
                  <a:lnTo>
                    <a:pt x="31" y="220"/>
                  </a:lnTo>
                  <a:lnTo>
                    <a:pt x="32" y="223"/>
                  </a:lnTo>
                  <a:lnTo>
                    <a:pt x="34" y="226"/>
                  </a:lnTo>
                  <a:lnTo>
                    <a:pt x="37" y="228"/>
                  </a:lnTo>
                  <a:lnTo>
                    <a:pt x="37" y="228"/>
                  </a:lnTo>
                  <a:lnTo>
                    <a:pt x="57" y="215"/>
                  </a:lnTo>
                  <a:lnTo>
                    <a:pt x="57" y="215"/>
                  </a:lnTo>
                  <a:lnTo>
                    <a:pt x="63" y="215"/>
                  </a:lnTo>
                  <a:lnTo>
                    <a:pt x="71" y="216"/>
                  </a:lnTo>
                  <a:lnTo>
                    <a:pt x="87" y="219"/>
                  </a:lnTo>
                  <a:lnTo>
                    <a:pt x="87" y="219"/>
                  </a:lnTo>
                  <a:lnTo>
                    <a:pt x="90" y="217"/>
                  </a:lnTo>
                  <a:lnTo>
                    <a:pt x="92" y="215"/>
                  </a:lnTo>
                  <a:lnTo>
                    <a:pt x="93" y="212"/>
                  </a:lnTo>
                  <a:lnTo>
                    <a:pt x="95" y="209"/>
                  </a:lnTo>
                  <a:lnTo>
                    <a:pt x="95" y="209"/>
                  </a:lnTo>
                  <a:lnTo>
                    <a:pt x="99" y="206"/>
                  </a:lnTo>
                  <a:lnTo>
                    <a:pt x="103" y="206"/>
                  </a:lnTo>
                  <a:lnTo>
                    <a:pt x="115" y="207"/>
                  </a:lnTo>
                  <a:lnTo>
                    <a:pt x="115" y="207"/>
                  </a:lnTo>
                  <a:lnTo>
                    <a:pt x="123" y="210"/>
                  </a:lnTo>
                  <a:lnTo>
                    <a:pt x="123" y="210"/>
                  </a:lnTo>
                  <a:lnTo>
                    <a:pt x="123" y="174"/>
                  </a:lnTo>
                  <a:lnTo>
                    <a:pt x="123" y="174"/>
                  </a:lnTo>
                  <a:lnTo>
                    <a:pt x="123" y="165"/>
                  </a:lnTo>
                  <a:lnTo>
                    <a:pt x="126" y="160"/>
                  </a:lnTo>
                  <a:lnTo>
                    <a:pt x="129" y="155"/>
                  </a:lnTo>
                  <a:lnTo>
                    <a:pt x="131" y="155"/>
                  </a:lnTo>
                  <a:lnTo>
                    <a:pt x="134" y="155"/>
                  </a:lnTo>
                  <a:lnTo>
                    <a:pt x="134" y="155"/>
                  </a:lnTo>
                  <a:lnTo>
                    <a:pt x="139" y="157"/>
                  </a:lnTo>
                  <a:lnTo>
                    <a:pt x="145" y="158"/>
                  </a:lnTo>
                  <a:lnTo>
                    <a:pt x="151" y="160"/>
                  </a:lnTo>
                  <a:lnTo>
                    <a:pt x="157" y="160"/>
                  </a:lnTo>
                  <a:lnTo>
                    <a:pt x="157" y="160"/>
                  </a:lnTo>
                  <a:lnTo>
                    <a:pt x="170" y="154"/>
                  </a:lnTo>
                  <a:lnTo>
                    <a:pt x="176" y="154"/>
                  </a:lnTo>
                  <a:lnTo>
                    <a:pt x="179" y="154"/>
                  </a:lnTo>
                  <a:lnTo>
                    <a:pt x="179" y="154"/>
                  </a:lnTo>
                  <a:lnTo>
                    <a:pt x="184" y="157"/>
                  </a:lnTo>
                  <a:lnTo>
                    <a:pt x="193" y="162"/>
                  </a:lnTo>
                  <a:lnTo>
                    <a:pt x="193" y="162"/>
                  </a:lnTo>
                  <a:lnTo>
                    <a:pt x="196" y="158"/>
                  </a:lnTo>
                  <a:lnTo>
                    <a:pt x="196" y="158"/>
                  </a:lnTo>
                  <a:lnTo>
                    <a:pt x="199" y="152"/>
                  </a:lnTo>
                  <a:lnTo>
                    <a:pt x="200" y="144"/>
                  </a:lnTo>
                  <a:lnTo>
                    <a:pt x="200" y="136"/>
                  </a:lnTo>
                  <a:lnTo>
                    <a:pt x="199" y="132"/>
                  </a:lnTo>
                  <a:close/>
                  <a:moveTo>
                    <a:pt x="45" y="167"/>
                  </a:moveTo>
                  <a:lnTo>
                    <a:pt x="45" y="167"/>
                  </a:lnTo>
                  <a:lnTo>
                    <a:pt x="44" y="167"/>
                  </a:lnTo>
                  <a:lnTo>
                    <a:pt x="42" y="167"/>
                  </a:lnTo>
                  <a:lnTo>
                    <a:pt x="39" y="162"/>
                  </a:lnTo>
                  <a:lnTo>
                    <a:pt x="38" y="158"/>
                  </a:lnTo>
                  <a:lnTo>
                    <a:pt x="39" y="157"/>
                  </a:lnTo>
                  <a:lnTo>
                    <a:pt x="39" y="157"/>
                  </a:lnTo>
                  <a:lnTo>
                    <a:pt x="39" y="157"/>
                  </a:lnTo>
                  <a:lnTo>
                    <a:pt x="42" y="158"/>
                  </a:lnTo>
                  <a:lnTo>
                    <a:pt x="45" y="160"/>
                  </a:lnTo>
                  <a:lnTo>
                    <a:pt x="47" y="162"/>
                  </a:lnTo>
                  <a:lnTo>
                    <a:pt x="45" y="167"/>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04" name="Freeform 660"/>
            <p:cNvSpPr>
              <a:spLocks/>
            </p:cNvSpPr>
            <p:nvPr/>
          </p:nvSpPr>
          <p:spPr bwMode="auto">
            <a:xfrm>
              <a:off x="2519363" y="4989942"/>
              <a:ext cx="317500" cy="361950"/>
            </a:xfrm>
            <a:custGeom>
              <a:avLst/>
              <a:gdLst>
                <a:gd name="T0" fmla="*/ 196 w 200"/>
                <a:gd name="T1" fmla="*/ 129 h 228"/>
                <a:gd name="T2" fmla="*/ 187 w 200"/>
                <a:gd name="T3" fmla="*/ 122 h 228"/>
                <a:gd name="T4" fmla="*/ 187 w 200"/>
                <a:gd name="T5" fmla="*/ 109 h 228"/>
                <a:gd name="T6" fmla="*/ 184 w 200"/>
                <a:gd name="T7" fmla="*/ 106 h 228"/>
                <a:gd name="T8" fmla="*/ 165 w 200"/>
                <a:gd name="T9" fmla="*/ 105 h 228"/>
                <a:gd name="T10" fmla="*/ 160 w 200"/>
                <a:gd name="T11" fmla="*/ 94 h 228"/>
                <a:gd name="T12" fmla="*/ 152 w 200"/>
                <a:gd name="T13" fmla="*/ 80 h 228"/>
                <a:gd name="T14" fmla="*/ 151 w 200"/>
                <a:gd name="T15" fmla="*/ 70 h 228"/>
                <a:gd name="T16" fmla="*/ 147 w 200"/>
                <a:gd name="T17" fmla="*/ 67 h 228"/>
                <a:gd name="T18" fmla="*/ 129 w 200"/>
                <a:gd name="T19" fmla="*/ 64 h 228"/>
                <a:gd name="T20" fmla="*/ 121 w 200"/>
                <a:gd name="T21" fmla="*/ 57 h 228"/>
                <a:gd name="T22" fmla="*/ 110 w 200"/>
                <a:gd name="T23" fmla="*/ 51 h 228"/>
                <a:gd name="T24" fmla="*/ 86 w 200"/>
                <a:gd name="T25" fmla="*/ 44 h 228"/>
                <a:gd name="T26" fmla="*/ 73 w 200"/>
                <a:gd name="T27" fmla="*/ 32 h 228"/>
                <a:gd name="T28" fmla="*/ 70 w 200"/>
                <a:gd name="T29" fmla="*/ 22 h 228"/>
                <a:gd name="T30" fmla="*/ 68 w 200"/>
                <a:gd name="T31" fmla="*/ 2 h 228"/>
                <a:gd name="T32" fmla="*/ 61 w 200"/>
                <a:gd name="T33" fmla="*/ 2 h 228"/>
                <a:gd name="T34" fmla="*/ 44 w 200"/>
                <a:gd name="T35" fmla="*/ 9 h 228"/>
                <a:gd name="T36" fmla="*/ 26 w 200"/>
                <a:gd name="T37" fmla="*/ 19 h 228"/>
                <a:gd name="T38" fmla="*/ 5 w 200"/>
                <a:gd name="T39" fmla="*/ 22 h 228"/>
                <a:gd name="T40" fmla="*/ 8 w 200"/>
                <a:gd name="T41" fmla="*/ 47 h 228"/>
                <a:gd name="T42" fmla="*/ 6 w 200"/>
                <a:gd name="T43" fmla="*/ 58 h 228"/>
                <a:gd name="T44" fmla="*/ 2 w 200"/>
                <a:gd name="T45" fmla="*/ 89 h 228"/>
                <a:gd name="T46" fmla="*/ 0 w 200"/>
                <a:gd name="T47" fmla="*/ 93 h 228"/>
                <a:gd name="T48" fmla="*/ 8 w 200"/>
                <a:gd name="T49" fmla="*/ 102 h 228"/>
                <a:gd name="T50" fmla="*/ 16 w 200"/>
                <a:gd name="T51" fmla="*/ 110 h 228"/>
                <a:gd name="T52" fmla="*/ 21 w 200"/>
                <a:gd name="T53" fmla="*/ 116 h 228"/>
                <a:gd name="T54" fmla="*/ 21 w 200"/>
                <a:gd name="T55" fmla="*/ 122 h 228"/>
                <a:gd name="T56" fmla="*/ 6 w 200"/>
                <a:gd name="T57" fmla="*/ 139 h 228"/>
                <a:gd name="T58" fmla="*/ 11 w 200"/>
                <a:gd name="T59" fmla="*/ 142 h 228"/>
                <a:gd name="T60" fmla="*/ 9 w 200"/>
                <a:gd name="T61" fmla="*/ 155 h 228"/>
                <a:gd name="T62" fmla="*/ 18 w 200"/>
                <a:gd name="T63" fmla="*/ 170 h 228"/>
                <a:gd name="T64" fmla="*/ 19 w 200"/>
                <a:gd name="T65" fmla="*/ 180 h 228"/>
                <a:gd name="T66" fmla="*/ 26 w 200"/>
                <a:gd name="T67" fmla="*/ 202 h 228"/>
                <a:gd name="T68" fmla="*/ 32 w 200"/>
                <a:gd name="T69" fmla="*/ 223 h 228"/>
                <a:gd name="T70" fmla="*/ 37 w 200"/>
                <a:gd name="T71" fmla="*/ 228 h 228"/>
                <a:gd name="T72" fmla="*/ 63 w 200"/>
                <a:gd name="T73" fmla="*/ 215 h 228"/>
                <a:gd name="T74" fmla="*/ 87 w 200"/>
                <a:gd name="T75" fmla="*/ 219 h 228"/>
                <a:gd name="T76" fmla="*/ 93 w 200"/>
                <a:gd name="T77" fmla="*/ 212 h 228"/>
                <a:gd name="T78" fmla="*/ 99 w 200"/>
                <a:gd name="T79" fmla="*/ 206 h 228"/>
                <a:gd name="T80" fmla="*/ 115 w 200"/>
                <a:gd name="T81" fmla="*/ 207 h 228"/>
                <a:gd name="T82" fmla="*/ 123 w 200"/>
                <a:gd name="T83" fmla="*/ 174 h 228"/>
                <a:gd name="T84" fmla="*/ 126 w 200"/>
                <a:gd name="T85" fmla="*/ 160 h 228"/>
                <a:gd name="T86" fmla="*/ 134 w 200"/>
                <a:gd name="T87" fmla="*/ 155 h 228"/>
                <a:gd name="T88" fmla="*/ 145 w 200"/>
                <a:gd name="T89" fmla="*/ 158 h 228"/>
                <a:gd name="T90" fmla="*/ 157 w 200"/>
                <a:gd name="T91" fmla="*/ 160 h 228"/>
                <a:gd name="T92" fmla="*/ 179 w 200"/>
                <a:gd name="T93" fmla="*/ 154 h 228"/>
                <a:gd name="T94" fmla="*/ 193 w 200"/>
                <a:gd name="T95" fmla="*/ 162 h 228"/>
                <a:gd name="T96" fmla="*/ 196 w 200"/>
                <a:gd name="T97" fmla="*/ 158 h 228"/>
                <a:gd name="T98" fmla="*/ 200 w 200"/>
                <a:gd name="T99" fmla="*/ 136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0" h="228">
                  <a:moveTo>
                    <a:pt x="199" y="132"/>
                  </a:moveTo>
                  <a:lnTo>
                    <a:pt x="199" y="132"/>
                  </a:lnTo>
                  <a:lnTo>
                    <a:pt x="196" y="129"/>
                  </a:lnTo>
                  <a:lnTo>
                    <a:pt x="192" y="128"/>
                  </a:lnTo>
                  <a:lnTo>
                    <a:pt x="189" y="125"/>
                  </a:lnTo>
                  <a:lnTo>
                    <a:pt x="187" y="122"/>
                  </a:lnTo>
                  <a:lnTo>
                    <a:pt x="187" y="122"/>
                  </a:lnTo>
                  <a:lnTo>
                    <a:pt x="187" y="112"/>
                  </a:lnTo>
                  <a:lnTo>
                    <a:pt x="187" y="109"/>
                  </a:lnTo>
                  <a:lnTo>
                    <a:pt x="186" y="107"/>
                  </a:lnTo>
                  <a:lnTo>
                    <a:pt x="184" y="106"/>
                  </a:lnTo>
                  <a:lnTo>
                    <a:pt x="184" y="106"/>
                  </a:lnTo>
                  <a:lnTo>
                    <a:pt x="176" y="107"/>
                  </a:lnTo>
                  <a:lnTo>
                    <a:pt x="170" y="107"/>
                  </a:lnTo>
                  <a:lnTo>
                    <a:pt x="165" y="105"/>
                  </a:lnTo>
                  <a:lnTo>
                    <a:pt x="165" y="105"/>
                  </a:lnTo>
                  <a:lnTo>
                    <a:pt x="163" y="100"/>
                  </a:lnTo>
                  <a:lnTo>
                    <a:pt x="160" y="94"/>
                  </a:lnTo>
                  <a:lnTo>
                    <a:pt x="154" y="83"/>
                  </a:lnTo>
                  <a:lnTo>
                    <a:pt x="154" y="83"/>
                  </a:lnTo>
                  <a:lnTo>
                    <a:pt x="152" y="80"/>
                  </a:lnTo>
                  <a:lnTo>
                    <a:pt x="152" y="76"/>
                  </a:lnTo>
                  <a:lnTo>
                    <a:pt x="152" y="73"/>
                  </a:lnTo>
                  <a:lnTo>
                    <a:pt x="151" y="70"/>
                  </a:lnTo>
                  <a:lnTo>
                    <a:pt x="151" y="70"/>
                  </a:lnTo>
                  <a:lnTo>
                    <a:pt x="150" y="68"/>
                  </a:lnTo>
                  <a:lnTo>
                    <a:pt x="147" y="67"/>
                  </a:lnTo>
                  <a:lnTo>
                    <a:pt x="139" y="65"/>
                  </a:lnTo>
                  <a:lnTo>
                    <a:pt x="132" y="65"/>
                  </a:lnTo>
                  <a:lnTo>
                    <a:pt x="129" y="64"/>
                  </a:lnTo>
                  <a:lnTo>
                    <a:pt x="128" y="63"/>
                  </a:lnTo>
                  <a:lnTo>
                    <a:pt x="128" y="63"/>
                  </a:lnTo>
                  <a:lnTo>
                    <a:pt x="121" y="57"/>
                  </a:lnTo>
                  <a:lnTo>
                    <a:pt x="115" y="54"/>
                  </a:lnTo>
                  <a:lnTo>
                    <a:pt x="110" y="51"/>
                  </a:lnTo>
                  <a:lnTo>
                    <a:pt x="110" y="51"/>
                  </a:lnTo>
                  <a:lnTo>
                    <a:pt x="97" y="48"/>
                  </a:lnTo>
                  <a:lnTo>
                    <a:pt x="90" y="47"/>
                  </a:lnTo>
                  <a:lnTo>
                    <a:pt x="86" y="44"/>
                  </a:lnTo>
                  <a:lnTo>
                    <a:pt x="86" y="44"/>
                  </a:lnTo>
                  <a:lnTo>
                    <a:pt x="76" y="35"/>
                  </a:lnTo>
                  <a:lnTo>
                    <a:pt x="73" y="32"/>
                  </a:lnTo>
                  <a:lnTo>
                    <a:pt x="70" y="28"/>
                  </a:lnTo>
                  <a:lnTo>
                    <a:pt x="70" y="28"/>
                  </a:lnTo>
                  <a:lnTo>
                    <a:pt x="70" y="22"/>
                  </a:lnTo>
                  <a:lnTo>
                    <a:pt x="71" y="13"/>
                  </a:lnTo>
                  <a:lnTo>
                    <a:pt x="70" y="5"/>
                  </a:lnTo>
                  <a:lnTo>
                    <a:pt x="68" y="2"/>
                  </a:lnTo>
                  <a:lnTo>
                    <a:pt x="67" y="0"/>
                  </a:lnTo>
                  <a:lnTo>
                    <a:pt x="67" y="0"/>
                  </a:lnTo>
                  <a:lnTo>
                    <a:pt x="61" y="2"/>
                  </a:lnTo>
                  <a:lnTo>
                    <a:pt x="55" y="5"/>
                  </a:lnTo>
                  <a:lnTo>
                    <a:pt x="44" y="9"/>
                  </a:lnTo>
                  <a:lnTo>
                    <a:pt x="44" y="9"/>
                  </a:lnTo>
                  <a:lnTo>
                    <a:pt x="38" y="12"/>
                  </a:lnTo>
                  <a:lnTo>
                    <a:pt x="32" y="16"/>
                  </a:lnTo>
                  <a:lnTo>
                    <a:pt x="26" y="19"/>
                  </a:lnTo>
                  <a:lnTo>
                    <a:pt x="19" y="21"/>
                  </a:lnTo>
                  <a:lnTo>
                    <a:pt x="19" y="21"/>
                  </a:lnTo>
                  <a:lnTo>
                    <a:pt x="5" y="22"/>
                  </a:lnTo>
                  <a:lnTo>
                    <a:pt x="5" y="22"/>
                  </a:lnTo>
                  <a:lnTo>
                    <a:pt x="8" y="39"/>
                  </a:lnTo>
                  <a:lnTo>
                    <a:pt x="8" y="47"/>
                  </a:lnTo>
                  <a:lnTo>
                    <a:pt x="8" y="51"/>
                  </a:lnTo>
                  <a:lnTo>
                    <a:pt x="8" y="51"/>
                  </a:lnTo>
                  <a:lnTo>
                    <a:pt x="6" y="58"/>
                  </a:lnTo>
                  <a:lnTo>
                    <a:pt x="5" y="70"/>
                  </a:lnTo>
                  <a:lnTo>
                    <a:pt x="3" y="81"/>
                  </a:lnTo>
                  <a:lnTo>
                    <a:pt x="2" y="89"/>
                  </a:lnTo>
                  <a:lnTo>
                    <a:pt x="2" y="89"/>
                  </a:lnTo>
                  <a:lnTo>
                    <a:pt x="0" y="90"/>
                  </a:lnTo>
                  <a:lnTo>
                    <a:pt x="0" y="93"/>
                  </a:lnTo>
                  <a:lnTo>
                    <a:pt x="3" y="100"/>
                  </a:lnTo>
                  <a:lnTo>
                    <a:pt x="3" y="100"/>
                  </a:lnTo>
                  <a:lnTo>
                    <a:pt x="8" y="102"/>
                  </a:lnTo>
                  <a:lnTo>
                    <a:pt x="8" y="102"/>
                  </a:lnTo>
                  <a:lnTo>
                    <a:pt x="12" y="106"/>
                  </a:lnTo>
                  <a:lnTo>
                    <a:pt x="16" y="110"/>
                  </a:lnTo>
                  <a:lnTo>
                    <a:pt x="16" y="110"/>
                  </a:lnTo>
                  <a:lnTo>
                    <a:pt x="21" y="113"/>
                  </a:lnTo>
                  <a:lnTo>
                    <a:pt x="21" y="116"/>
                  </a:lnTo>
                  <a:lnTo>
                    <a:pt x="21" y="119"/>
                  </a:lnTo>
                  <a:lnTo>
                    <a:pt x="21" y="119"/>
                  </a:lnTo>
                  <a:lnTo>
                    <a:pt x="21" y="122"/>
                  </a:lnTo>
                  <a:lnTo>
                    <a:pt x="19" y="125"/>
                  </a:lnTo>
                  <a:lnTo>
                    <a:pt x="13" y="131"/>
                  </a:lnTo>
                  <a:lnTo>
                    <a:pt x="6" y="139"/>
                  </a:lnTo>
                  <a:lnTo>
                    <a:pt x="6" y="139"/>
                  </a:lnTo>
                  <a:lnTo>
                    <a:pt x="9" y="139"/>
                  </a:lnTo>
                  <a:lnTo>
                    <a:pt x="11" y="142"/>
                  </a:lnTo>
                  <a:lnTo>
                    <a:pt x="9" y="149"/>
                  </a:lnTo>
                  <a:lnTo>
                    <a:pt x="9" y="149"/>
                  </a:lnTo>
                  <a:lnTo>
                    <a:pt x="9" y="155"/>
                  </a:lnTo>
                  <a:lnTo>
                    <a:pt x="11" y="160"/>
                  </a:lnTo>
                  <a:lnTo>
                    <a:pt x="18" y="170"/>
                  </a:lnTo>
                  <a:lnTo>
                    <a:pt x="18" y="170"/>
                  </a:lnTo>
                  <a:lnTo>
                    <a:pt x="21" y="174"/>
                  </a:lnTo>
                  <a:lnTo>
                    <a:pt x="19" y="177"/>
                  </a:lnTo>
                  <a:lnTo>
                    <a:pt x="19" y="180"/>
                  </a:lnTo>
                  <a:lnTo>
                    <a:pt x="21" y="186"/>
                  </a:lnTo>
                  <a:lnTo>
                    <a:pt x="21" y="186"/>
                  </a:lnTo>
                  <a:lnTo>
                    <a:pt x="26" y="202"/>
                  </a:lnTo>
                  <a:lnTo>
                    <a:pt x="31" y="220"/>
                  </a:lnTo>
                  <a:lnTo>
                    <a:pt x="31" y="220"/>
                  </a:lnTo>
                  <a:lnTo>
                    <a:pt x="32" y="223"/>
                  </a:lnTo>
                  <a:lnTo>
                    <a:pt x="34" y="226"/>
                  </a:lnTo>
                  <a:lnTo>
                    <a:pt x="37" y="228"/>
                  </a:lnTo>
                  <a:lnTo>
                    <a:pt x="37" y="228"/>
                  </a:lnTo>
                  <a:lnTo>
                    <a:pt x="57" y="215"/>
                  </a:lnTo>
                  <a:lnTo>
                    <a:pt x="57" y="215"/>
                  </a:lnTo>
                  <a:lnTo>
                    <a:pt x="63" y="215"/>
                  </a:lnTo>
                  <a:lnTo>
                    <a:pt x="71" y="216"/>
                  </a:lnTo>
                  <a:lnTo>
                    <a:pt x="87" y="219"/>
                  </a:lnTo>
                  <a:lnTo>
                    <a:pt x="87" y="219"/>
                  </a:lnTo>
                  <a:lnTo>
                    <a:pt x="90" y="217"/>
                  </a:lnTo>
                  <a:lnTo>
                    <a:pt x="92" y="215"/>
                  </a:lnTo>
                  <a:lnTo>
                    <a:pt x="93" y="212"/>
                  </a:lnTo>
                  <a:lnTo>
                    <a:pt x="95" y="209"/>
                  </a:lnTo>
                  <a:lnTo>
                    <a:pt x="95" y="209"/>
                  </a:lnTo>
                  <a:lnTo>
                    <a:pt x="99" y="206"/>
                  </a:lnTo>
                  <a:lnTo>
                    <a:pt x="103" y="206"/>
                  </a:lnTo>
                  <a:lnTo>
                    <a:pt x="115" y="207"/>
                  </a:lnTo>
                  <a:lnTo>
                    <a:pt x="115" y="207"/>
                  </a:lnTo>
                  <a:lnTo>
                    <a:pt x="123" y="210"/>
                  </a:lnTo>
                  <a:lnTo>
                    <a:pt x="123" y="210"/>
                  </a:lnTo>
                  <a:lnTo>
                    <a:pt x="123" y="174"/>
                  </a:lnTo>
                  <a:lnTo>
                    <a:pt x="123" y="174"/>
                  </a:lnTo>
                  <a:lnTo>
                    <a:pt x="123" y="165"/>
                  </a:lnTo>
                  <a:lnTo>
                    <a:pt x="126" y="160"/>
                  </a:lnTo>
                  <a:lnTo>
                    <a:pt x="129" y="155"/>
                  </a:lnTo>
                  <a:lnTo>
                    <a:pt x="131" y="155"/>
                  </a:lnTo>
                  <a:lnTo>
                    <a:pt x="134" y="155"/>
                  </a:lnTo>
                  <a:lnTo>
                    <a:pt x="134" y="155"/>
                  </a:lnTo>
                  <a:lnTo>
                    <a:pt x="139" y="157"/>
                  </a:lnTo>
                  <a:lnTo>
                    <a:pt x="145" y="158"/>
                  </a:lnTo>
                  <a:lnTo>
                    <a:pt x="151" y="160"/>
                  </a:lnTo>
                  <a:lnTo>
                    <a:pt x="157" y="160"/>
                  </a:lnTo>
                  <a:lnTo>
                    <a:pt x="157" y="160"/>
                  </a:lnTo>
                  <a:lnTo>
                    <a:pt x="170" y="154"/>
                  </a:lnTo>
                  <a:lnTo>
                    <a:pt x="176" y="154"/>
                  </a:lnTo>
                  <a:lnTo>
                    <a:pt x="179" y="154"/>
                  </a:lnTo>
                  <a:lnTo>
                    <a:pt x="179" y="154"/>
                  </a:lnTo>
                  <a:lnTo>
                    <a:pt x="184" y="157"/>
                  </a:lnTo>
                  <a:lnTo>
                    <a:pt x="193" y="162"/>
                  </a:lnTo>
                  <a:lnTo>
                    <a:pt x="193" y="162"/>
                  </a:lnTo>
                  <a:lnTo>
                    <a:pt x="196" y="158"/>
                  </a:lnTo>
                  <a:lnTo>
                    <a:pt x="196" y="158"/>
                  </a:lnTo>
                  <a:lnTo>
                    <a:pt x="199" y="152"/>
                  </a:lnTo>
                  <a:lnTo>
                    <a:pt x="200" y="144"/>
                  </a:lnTo>
                  <a:lnTo>
                    <a:pt x="200" y="136"/>
                  </a:lnTo>
                  <a:lnTo>
                    <a:pt x="199" y="1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05" name="Freeform 661"/>
            <p:cNvSpPr>
              <a:spLocks/>
            </p:cNvSpPr>
            <p:nvPr/>
          </p:nvSpPr>
          <p:spPr bwMode="auto">
            <a:xfrm>
              <a:off x="2579688" y="5239179"/>
              <a:ext cx="14288" cy="15875"/>
            </a:xfrm>
            <a:custGeom>
              <a:avLst/>
              <a:gdLst>
                <a:gd name="T0" fmla="*/ 7 w 9"/>
                <a:gd name="T1" fmla="*/ 10 h 10"/>
                <a:gd name="T2" fmla="*/ 7 w 9"/>
                <a:gd name="T3" fmla="*/ 10 h 10"/>
                <a:gd name="T4" fmla="*/ 6 w 9"/>
                <a:gd name="T5" fmla="*/ 10 h 10"/>
                <a:gd name="T6" fmla="*/ 4 w 9"/>
                <a:gd name="T7" fmla="*/ 10 h 10"/>
                <a:gd name="T8" fmla="*/ 1 w 9"/>
                <a:gd name="T9" fmla="*/ 5 h 10"/>
                <a:gd name="T10" fmla="*/ 0 w 9"/>
                <a:gd name="T11" fmla="*/ 1 h 10"/>
                <a:gd name="T12" fmla="*/ 1 w 9"/>
                <a:gd name="T13" fmla="*/ 0 h 10"/>
                <a:gd name="T14" fmla="*/ 1 w 9"/>
                <a:gd name="T15" fmla="*/ 0 h 10"/>
                <a:gd name="T16" fmla="*/ 1 w 9"/>
                <a:gd name="T17" fmla="*/ 0 h 10"/>
                <a:gd name="T18" fmla="*/ 4 w 9"/>
                <a:gd name="T19" fmla="*/ 1 h 10"/>
                <a:gd name="T20" fmla="*/ 7 w 9"/>
                <a:gd name="T21" fmla="*/ 3 h 10"/>
                <a:gd name="T22" fmla="*/ 9 w 9"/>
                <a:gd name="T23" fmla="*/ 5 h 10"/>
                <a:gd name="T24" fmla="*/ 7 w 9"/>
                <a:gd name="T2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0">
                  <a:moveTo>
                    <a:pt x="7" y="10"/>
                  </a:moveTo>
                  <a:lnTo>
                    <a:pt x="7" y="10"/>
                  </a:lnTo>
                  <a:lnTo>
                    <a:pt x="6" y="10"/>
                  </a:lnTo>
                  <a:lnTo>
                    <a:pt x="4" y="10"/>
                  </a:lnTo>
                  <a:lnTo>
                    <a:pt x="1" y="5"/>
                  </a:lnTo>
                  <a:lnTo>
                    <a:pt x="0" y="1"/>
                  </a:lnTo>
                  <a:lnTo>
                    <a:pt x="1" y="0"/>
                  </a:lnTo>
                  <a:lnTo>
                    <a:pt x="1" y="0"/>
                  </a:lnTo>
                  <a:lnTo>
                    <a:pt x="1" y="0"/>
                  </a:lnTo>
                  <a:lnTo>
                    <a:pt x="4" y="1"/>
                  </a:lnTo>
                  <a:lnTo>
                    <a:pt x="7" y="3"/>
                  </a:lnTo>
                  <a:lnTo>
                    <a:pt x="9" y="5"/>
                  </a:lnTo>
                  <a:lnTo>
                    <a:pt x="7"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06" name="Freeform 662"/>
            <p:cNvSpPr>
              <a:spLocks/>
            </p:cNvSpPr>
            <p:nvPr/>
          </p:nvSpPr>
          <p:spPr bwMode="auto">
            <a:xfrm>
              <a:off x="2220913" y="4767692"/>
              <a:ext cx="331788" cy="461963"/>
            </a:xfrm>
            <a:custGeom>
              <a:avLst/>
              <a:gdLst>
                <a:gd name="T0" fmla="*/ 203 w 209"/>
                <a:gd name="T1" fmla="*/ 259 h 291"/>
                <a:gd name="T2" fmla="*/ 190 w 209"/>
                <a:gd name="T3" fmla="*/ 253 h 291"/>
                <a:gd name="T4" fmla="*/ 185 w 209"/>
                <a:gd name="T5" fmla="*/ 242 h 291"/>
                <a:gd name="T6" fmla="*/ 188 w 209"/>
                <a:gd name="T7" fmla="*/ 233 h 291"/>
                <a:gd name="T8" fmla="*/ 191 w 209"/>
                <a:gd name="T9" fmla="*/ 221 h 291"/>
                <a:gd name="T10" fmla="*/ 196 w 209"/>
                <a:gd name="T11" fmla="*/ 191 h 291"/>
                <a:gd name="T12" fmla="*/ 193 w 209"/>
                <a:gd name="T13" fmla="*/ 162 h 291"/>
                <a:gd name="T14" fmla="*/ 178 w 209"/>
                <a:gd name="T15" fmla="*/ 161 h 291"/>
                <a:gd name="T16" fmla="*/ 175 w 209"/>
                <a:gd name="T17" fmla="*/ 136 h 291"/>
                <a:gd name="T18" fmla="*/ 161 w 209"/>
                <a:gd name="T19" fmla="*/ 142 h 291"/>
                <a:gd name="T20" fmla="*/ 139 w 209"/>
                <a:gd name="T21" fmla="*/ 139 h 291"/>
                <a:gd name="T22" fmla="*/ 125 w 209"/>
                <a:gd name="T23" fmla="*/ 129 h 291"/>
                <a:gd name="T24" fmla="*/ 117 w 209"/>
                <a:gd name="T25" fmla="*/ 98 h 291"/>
                <a:gd name="T26" fmla="*/ 136 w 209"/>
                <a:gd name="T27" fmla="*/ 85 h 291"/>
                <a:gd name="T28" fmla="*/ 139 w 209"/>
                <a:gd name="T29" fmla="*/ 75 h 291"/>
                <a:gd name="T30" fmla="*/ 152 w 209"/>
                <a:gd name="T31" fmla="*/ 68 h 291"/>
                <a:gd name="T32" fmla="*/ 165 w 209"/>
                <a:gd name="T33" fmla="*/ 66 h 291"/>
                <a:gd name="T34" fmla="*/ 181 w 209"/>
                <a:gd name="T35" fmla="*/ 65 h 291"/>
                <a:gd name="T36" fmla="*/ 180 w 209"/>
                <a:gd name="T37" fmla="*/ 56 h 291"/>
                <a:gd name="T38" fmla="*/ 180 w 209"/>
                <a:gd name="T39" fmla="*/ 40 h 291"/>
                <a:gd name="T40" fmla="*/ 175 w 209"/>
                <a:gd name="T41" fmla="*/ 34 h 291"/>
                <a:gd name="T42" fmla="*/ 159 w 209"/>
                <a:gd name="T43" fmla="*/ 33 h 291"/>
                <a:gd name="T44" fmla="*/ 126 w 209"/>
                <a:gd name="T45" fmla="*/ 16 h 291"/>
                <a:gd name="T46" fmla="*/ 109 w 209"/>
                <a:gd name="T47" fmla="*/ 0 h 291"/>
                <a:gd name="T48" fmla="*/ 106 w 209"/>
                <a:gd name="T49" fmla="*/ 16 h 291"/>
                <a:gd name="T50" fmla="*/ 93 w 209"/>
                <a:gd name="T51" fmla="*/ 30 h 291"/>
                <a:gd name="T52" fmla="*/ 84 w 209"/>
                <a:gd name="T53" fmla="*/ 37 h 291"/>
                <a:gd name="T54" fmla="*/ 55 w 209"/>
                <a:gd name="T55" fmla="*/ 48 h 291"/>
                <a:gd name="T56" fmla="*/ 44 w 209"/>
                <a:gd name="T57" fmla="*/ 68 h 291"/>
                <a:gd name="T58" fmla="*/ 29 w 209"/>
                <a:gd name="T59" fmla="*/ 65 h 291"/>
                <a:gd name="T60" fmla="*/ 17 w 209"/>
                <a:gd name="T61" fmla="*/ 62 h 291"/>
                <a:gd name="T62" fmla="*/ 19 w 209"/>
                <a:gd name="T63" fmla="*/ 50 h 291"/>
                <a:gd name="T64" fmla="*/ 15 w 209"/>
                <a:gd name="T65" fmla="*/ 46 h 291"/>
                <a:gd name="T66" fmla="*/ 0 w 209"/>
                <a:gd name="T67" fmla="*/ 62 h 291"/>
                <a:gd name="T68" fmla="*/ 6 w 209"/>
                <a:gd name="T69" fmla="*/ 71 h 291"/>
                <a:gd name="T70" fmla="*/ 3 w 209"/>
                <a:gd name="T71" fmla="*/ 78 h 291"/>
                <a:gd name="T72" fmla="*/ 12 w 209"/>
                <a:gd name="T73" fmla="*/ 82 h 291"/>
                <a:gd name="T74" fmla="*/ 28 w 209"/>
                <a:gd name="T75" fmla="*/ 95 h 291"/>
                <a:gd name="T76" fmla="*/ 30 w 209"/>
                <a:gd name="T77" fmla="*/ 107 h 291"/>
                <a:gd name="T78" fmla="*/ 44 w 209"/>
                <a:gd name="T79" fmla="*/ 123 h 291"/>
                <a:gd name="T80" fmla="*/ 65 w 209"/>
                <a:gd name="T81" fmla="*/ 163 h 291"/>
                <a:gd name="T82" fmla="*/ 77 w 209"/>
                <a:gd name="T83" fmla="*/ 178 h 291"/>
                <a:gd name="T84" fmla="*/ 78 w 209"/>
                <a:gd name="T85" fmla="*/ 195 h 291"/>
                <a:gd name="T86" fmla="*/ 87 w 209"/>
                <a:gd name="T87" fmla="*/ 223 h 291"/>
                <a:gd name="T88" fmla="*/ 101 w 209"/>
                <a:gd name="T89" fmla="*/ 239 h 291"/>
                <a:gd name="T90" fmla="*/ 122 w 209"/>
                <a:gd name="T91" fmla="*/ 256 h 291"/>
                <a:gd name="T92" fmla="*/ 159 w 209"/>
                <a:gd name="T93" fmla="*/ 276 h 291"/>
                <a:gd name="T94" fmla="*/ 175 w 209"/>
                <a:gd name="T95" fmla="*/ 289 h 291"/>
                <a:gd name="T96" fmla="*/ 194 w 209"/>
                <a:gd name="T97" fmla="*/ 279 h 291"/>
                <a:gd name="T98" fmla="*/ 209 w 209"/>
                <a:gd name="T99" fmla="*/ 2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9" h="291">
                  <a:moveTo>
                    <a:pt x="209" y="259"/>
                  </a:moveTo>
                  <a:lnTo>
                    <a:pt x="209" y="259"/>
                  </a:lnTo>
                  <a:lnTo>
                    <a:pt x="206" y="259"/>
                  </a:lnTo>
                  <a:lnTo>
                    <a:pt x="203" y="259"/>
                  </a:lnTo>
                  <a:lnTo>
                    <a:pt x="203" y="259"/>
                  </a:lnTo>
                  <a:lnTo>
                    <a:pt x="197" y="259"/>
                  </a:lnTo>
                  <a:lnTo>
                    <a:pt x="194" y="258"/>
                  </a:lnTo>
                  <a:lnTo>
                    <a:pt x="190" y="253"/>
                  </a:lnTo>
                  <a:lnTo>
                    <a:pt x="190" y="253"/>
                  </a:lnTo>
                  <a:lnTo>
                    <a:pt x="184" y="247"/>
                  </a:lnTo>
                  <a:lnTo>
                    <a:pt x="184" y="245"/>
                  </a:lnTo>
                  <a:lnTo>
                    <a:pt x="185" y="242"/>
                  </a:lnTo>
                  <a:lnTo>
                    <a:pt x="185" y="242"/>
                  </a:lnTo>
                  <a:lnTo>
                    <a:pt x="191" y="240"/>
                  </a:lnTo>
                  <a:lnTo>
                    <a:pt x="191" y="240"/>
                  </a:lnTo>
                  <a:lnTo>
                    <a:pt x="188" y="233"/>
                  </a:lnTo>
                  <a:lnTo>
                    <a:pt x="188" y="230"/>
                  </a:lnTo>
                  <a:lnTo>
                    <a:pt x="190" y="229"/>
                  </a:lnTo>
                  <a:lnTo>
                    <a:pt x="190" y="229"/>
                  </a:lnTo>
                  <a:lnTo>
                    <a:pt x="191" y="221"/>
                  </a:lnTo>
                  <a:lnTo>
                    <a:pt x="193" y="210"/>
                  </a:lnTo>
                  <a:lnTo>
                    <a:pt x="194" y="198"/>
                  </a:lnTo>
                  <a:lnTo>
                    <a:pt x="196" y="191"/>
                  </a:lnTo>
                  <a:lnTo>
                    <a:pt x="196" y="191"/>
                  </a:lnTo>
                  <a:lnTo>
                    <a:pt x="196" y="187"/>
                  </a:lnTo>
                  <a:lnTo>
                    <a:pt x="196" y="179"/>
                  </a:lnTo>
                  <a:lnTo>
                    <a:pt x="193" y="162"/>
                  </a:lnTo>
                  <a:lnTo>
                    <a:pt x="193" y="162"/>
                  </a:lnTo>
                  <a:lnTo>
                    <a:pt x="183" y="162"/>
                  </a:lnTo>
                  <a:lnTo>
                    <a:pt x="180" y="162"/>
                  </a:lnTo>
                  <a:lnTo>
                    <a:pt x="178" y="161"/>
                  </a:lnTo>
                  <a:lnTo>
                    <a:pt x="178" y="161"/>
                  </a:lnTo>
                  <a:lnTo>
                    <a:pt x="177" y="155"/>
                  </a:lnTo>
                  <a:lnTo>
                    <a:pt x="177" y="146"/>
                  </a:lnTo>
                  <a:lnTo>
                    <a:pt x="177" y="139"/>
                  </a:lnTo>
                  <a:lnTo>
                    <a:pt x="175" y="136"/>
                  </a:lnTo>
                  <a:lnTo>
                    <a:pt x="175" y="136"/>
                  </a:lnTo>
                  <a:lnTo>
                    <a:pt x="172" y="136"/>
                  </a:lnTo>
                  <a:lnTo>
                    <a:pt x="167" y="139"/>
                  </a:lnTo>
                  <a:lnTo>
                    <a:pt x="161" y="142"/>
                  </a:lnTo>
                  <a:lnTo>
                    <a:pt x="155" y="143"/>
                  </a:lnTo>
                  <a:lnTo>
                    <a:pt x="155" y="143"/>
                  </a:lnTo>
                  <a:lnTo>
                    <a:pt x="148" y="142"/>
                  </a:lnTo>
                  <a:lnTo>
                    <a:pt x="139" y="139"/>
                  </a:lnTo>
                  <a:lnTo>
                    <a:pt x="130" y="134"/>
                  </a:lnTo>
                  <a:lnTo>
                    <a:pt x="128" y="132"/>
                  </a:lnTo>
                  <a:lnTo>
                    <a:pt x="125" y="129"/>
                  </a:lnTo>
                  <a:lnTo>
                    <a:pt x="125" y="129"/>
                  </a:lnTo>
                  <a:lnTo>
                    <a:pt x="120" y="111"/>
                  </a:lnTo>
                  <a:lnTo>
                    <a:pt x="117" y="103"/>
                  </a:lnTo>
                  <a:lnTo>
                    <a:pt x="117" y="98"/>
                  </a:lnTo>
                  <a:lnTo>
                    <a:pt x="117" y="98"/>
                  </a:lnTo>
                  <a:lnTo>
                    <a:pt x="120" y="95"/>
                  </a:lnTo>
                  <a:lnTo>
                    <a:pt x="128" y="91"/>
                  </a:lnTo>
                  <a:lnTo>
                    <a:pt x="133" y="87"/>
                  </a:lnTo>
                  <a:lnTo>
                    <a:pt x="136" y="85"/>
                  </a:lnTo>
                  <a:lnTo>
                    <a:pt x="136" y="84"/>
                  </a:lnTo>
                  <a:lnTo>
                    <a:pt x="136" y="84"/>
                  </a:lnTo>
                  <a:lnTo>
                    <a:pt x="138" y="79"/>
                  </a:lnTo>
                  <a:lnTo>
                    <a:pt x="139" y="75"/>
                  </a:lnTo>
                  <a:lnTo>
                    <a:pt x="143" y="71"/>
                  </a:lnTo>
                  <a:lnTo>
                    <a:pt x="148" y="68"/>
                  </a:lnTo>
                  <a:lnTo>
                    <a:pt x="148" y="68"/>
                  </a:lnTo>
                  <a:lnTo>
                    <a:pt x="152" y="68"/>
                  </a:lnTo>
                  <a:lnTo>
                    <a:pt x="157" y="68"/>
                  </a:lnTo>
                  <a:lnTo>
                    <a:pt x="161" y="68"/>
                  </a:lnTo>
                  <a:lnTo>
                    <a:pt x="165" y="66"/>
                  </a:lnTo>
                  <a:lnTo>
                    <a:pt x="165" y="66"/>
                  </a:lnTo>
                  <a:lnTo>
                    <a:pt x="170" y="65"/>
                  </a:lnTo>
                  <a:lnTo>
                    <a:pt x="175" y="65"/>
                  </a:lnTo>
                  <a:lnTo>
                    <a:pt x="180" y="65"/>
                  </a:lnTo>
                  <a:lnTo>
                    <a:pt x="181" y="65"/>
                  </a:lnTo>
                  <a:lnTo>
                    <a:pt x="181" y="63"/>
                  </a:lnTo>
                  <a:lnTo>
                    <a:pt x="181" y="63"/>
                  </a:lnTo>
                  <a:lnTo>
                    <a:pt x="181" y="59"/>
                  </a:lnTo>
                  <a:lnTo>
                    <a:pt x="180" y="56"/>
                  </a:lnTo>
                  <a:lnTo>
                    <a:pt x="178" y="52"/>
                  </a:lnTo>
                  <a:lnTo>
                    <a:pt x="178" y="49"/>
                  </a:lnTo>
                  <a:lnTo>
                    <a:pt x="178" y="49"/>
                  </a:lnTo>
                  <a:lnTo>
                    <a:pt x="180" y="40"/>
                  </a:lnTo>
                  <a:lnTo>
                    <a:pt x="180" y="36"/>
                  </a:lnTo>
                  <a:lnTo>
                    <a:pt x="178" y="34"/>
                  </a:lnTo>
                  <a:lnTo>
                    <a:pt x="178" y="34"/>
                  </a:lnTo>
                  <a:lnTo>
                    <a:pt x="175" y="34"/>
                  </a:lnTo>
                  <a:lnTo>
                    <a:pt x="172" y="36"/>
                  </a:lnTo>
                  <a:lnTo>
                    <a:pt x="167" y="36"/>
                  </a:lnTo>
                  <a:lnTo>
                    <a:pt x="159" y="33"/>
                  </a:lnTo>
                  <a:lnTo>
                    <a:pt x="159" y="33"/>
                  </a:lnTo>
                  <a:lnTo>
                    <a:pt x="142" y="26"/>
                  </a:lnTo>
                  <a:lnTo>
                    <a:pt x="133" y="21"/>
                  </a:lnTo>
                  <a:lnTo>
                    <a:pt x="126" y="16"/>
                  </a:lnTo>
                  <a:lnTo>
                    <a:pt x="126" y="16"/>
                  </a:lnTo>
                  <a:lnTo>
                    <a:pt x="117" y="6"/>
                  </a:lnTo>
                  <a:lnTo>
                    <a:pt x="113" y="1"/>
                  </a:lnTo>
                  <a:lnTo>
                    <a:pt x="109" y="0"/>
                  </a:lnTo>
                  <a:lnTo>
                    <a:pt x="109" y="0"/>
                  </a:lnTo>
                  <a:lnTo>
                    <a:pt x="106" y="0"/>
                  </a:lnTo>
                  <a:lnTo>
                    <a:pt x="106" y="0"/>
                  </a:lnTo>
                  <a:lnTo>
                    <a:pt x="107" y="10"/>
                  </a:lnTo>
                  <a:lnTo>
                    <a:pt x="106" y="16"/>
                  </a:lnTo>
                  <a:lnTo>
                    <a:pt x="106" y="16"/>
                  </a:lnTo>
                  <a:lnTo>
                    <a:pt x="103" y="21"/>
                  </a:lnTo>
                  <a:lnTo>
                    <a:pt x="99" y="26"/>
                  </a:lnTo>
                  <a:lnTo>
                    <a:pt x="93" y="30"/>
                  </a:lnTo>
                  <a:lnTo>
                    <a:pt x="90" y="34"/>
                  </a:lnTo>
                  <a:lnTo>
                    <a:pt x="90" y="34"/>
                  </a:lnTo>
                  <a:lnTo>
                    <a:pt x="87" y="36"/>
                  </a:lnTo>
                  <a:lnTo>
                    <a:pt x="84" y="37"/>
                  </a:lnTo>
                  <a:lnTo>
                    <a:pt x="75" y="42"/>
                  </a:lnTo>
                  <a:lnTo>
                    <a:pt x="58" y="46"/>
                  </a:lnTo>
                  <a:lnTo>
                    <a:pt x="58" y="46"/>
                  </a:lnTo>
                  <a:lnTo>
                    <a:pt x="55" y="48"/>
                  </a:lnTo>
                  <a:lnTo>
                    <a:pt x="52" y="50"/>
                  </a:lnTo>
                  <a:lnTo>
                    <a:pt x="49" y="58"/>
                  </a:lnTo>
                  <a:lnTo>
                    <a:pt x="45" y="65"/>
                  </a:lnTo>
                  <a:lnTo>
                    <a:pt x="44" y="68"/>
                  </a:lnTo>
                  <a:lnTo>
                    <a:pt x="44" y="68"/>
                  </a:lnTo>
                  <a:lnTo>
                    <a:pt x="39" y="68"/>
                  </a:lnTo>
                  <a:lnTo>
                    <a:pt x="33" y="68"/>
                  </a:lnTo>
                  <a:lnTo>
                    <a:pt x="29" y="65"/>
                  </a:lnTo>
                  <a:lnTo>
                    <a:pt x="25" y="63"/>
                  </a:lnTo>
                  <a:lnTo>
                    <a:pt x="25" y="63"/>
                  </a:lnTo>
                  <a:lnTo>
                    <a:pt x="22" y="62"/>
                  </a:lnTo>
                  <a:lnTo>
                    <a:pt x="17" y="62"/>
                  </a:lnTo>
                  <a:lnTo>
                    <a:pt x="13" y="62"/>
                  </a:lnTo>
                  <a:lnTo>
                    <a:pt x="13" y="62"/>
                  </a:lnTo>
                  <a:lnTo>
                    <a:pt x="15" y="58"/>
                  </a:lnTo>
                  <a:lnTo>
                    <a:pt x="19" y="50"/>
                  </a:lnTo>
                  <a:lnTo>
                    <a:pt x="19" y="50"/>
                  </a:lnTo>
                  <a:lnTo>
                    <a:pt x="17" y="49"/>
                  </a:lnTo>
                  <a:lnTo>
                    <a:pt x="15" y="46"/>
                  </a:lnTo>
                  <a:lnTo>
                    <a:pt x="15" y="46"/>
                  </a:lnTo>
                  <a:lnTo>
                    <a:pt x="10" y="49"/>
                  </a:lnTo>
                  <a:lnTo>
                    <a:pt x="4" y="55"/>
                  </a:lnTo>
                  <a:lnTo>
                    <a:pt x="4" y="55"/>
                  </a:lnTo>
                  <a:lnTo>
                    <a:pt x="0" y="62"/>
                  </a:lnTo>
                  <a:lnTo>
                    <a:pt x="0" y="63"/>
                  </a:lnTo>
                  <a:lnTo>
                    <a:pt x="2" y="66"/>
                  </a:lnTo>
                  <a:lnTo>
                    <a:pt x="2" y="66"/>
                  </a:lnTo>
                  <a:lnTo>
                    <a:pt x="6" y="71"/>
                  </a:lnTo>
                  <a:lnTo>
                    <a:pt x="7" y="72"/>
                  </a:lnTo>
                  <a:lnTo>
                    <a:pt x="6" y="74"/>
                  </a:lnTo>
                  <a:lnTo>
                    <a:pt x="6" y="74"/>
                  </a:lnTo>
                  <a:lnTo>
                    <a:pt x="3" y="78"/>
                  </a:lnTo>
                  <a:lnTo>
                    <a:pt x="3" y="79"/>
                  </a:lnTo>
                  <a:lnTo>
                    <a:pt x="6" y="81"/>
                  </a:lnTo>
                  <a:lnTo>
                    <a:pt x="6" y="81"/>
                  </a:lnTo>
                  <a:lnTo>
                    <a:pt x="12" y="82"/>
                  </a:lnTo>
                  <a:lnTo>
                    <a:pt x="17" y="87"/>
                  </a:lnTo>
                  <a:lnTo>
                    <a:pt x="25" y="91"/>
                  </a:lnTo>
                  <a:lnTo>
                    <a:pt x="28" y="95"/>
                  </a:lnTo>
                  <a:lnTo>
                    <a:pt x="28" y="95"/>
                  </a:lnTo>
                  <a:lnTo>
                    <a:pt x="29" y="98"/>
                  </a:lnTo>
                  <a:lnTo>
                    <a:pt x="29" y="101"/>
                  </a:lnTo>
                  <a:lnTo>
                    <a:pt x="29" y="103"/>
                  </a:lnTo>
                  <a:lnTo>
                    <a:pt x="30" y="107"/>
                  </a:lnTo>
                  <a:lnTo>
                    <a:pt x="30" y="107"/>
                  </a:lnTo>
                  <a:lnTo>
                    <a:pt x="39" y="116"/>
                  </a:lnTo>
                  <a:lnTo>
                    <a:pt x="42" y="120"/>
                  </a:lnTo>
                  <a:lnTo>
                    <a:pt x="44" y="123"/>
                  </a:lnTo>
                  <a:lnTo>
                    <a:pt x="44" y="123"/>
                  </a:lnTo>
                  <a:lnTo>
                    <a:pt x="48" y="130"/>
                  </a:lnTo>
                  <a:lnTo>
                    <a:pt x="54" y="143"/>
                  </a:lnTo>
                  <a:lnTo>
                    <a:pt x="65" y="163"/>
                  </a:lnTo>
                  <a:lnTo>
                    <a:pt x="65" y="163"/>
                  </a:lnTo>
                  <a:lnTo>
                    <a:pt x="68" y="168"/>
                  </a:lnTo>
                  <a:lnTo>
                    <a:pt x="73" y="174"/>
                  </a:lnTo>
                  <a:lnTo>
                    <a:pt x="77" y="178"/>
                  </a:lnTo>
                  <a:lnTo>
                    <a:pt x="78" y="181"/>
                  </a:lnTo>
                  <a:lnTo>
                    <a:pt x="78" y="184"/>
                  </a:lnTo>
                  <a:lnTo>
                    <a:pt x="78" y="184"/>
                  </a:lnTo>
                  <a:lnTo>
                    <a:pt x="78" y="195"/>
                  </a:lnTo>
                  <a:lnTo>
                    <a:pt x="80" y="201"/>
                  </a:lnTo>
                  <a:lnTo>
                    <a:pt x="81" y="208"/>
                  </a:lnTo>
                  <a:lnTo>
                    <a:pt x="81" y="208"/>
                  </a:lnTo>
                  <a:lnTo>
                    <a:pt x="87" y="223"/>
                  </a:lnTo>
                  <a:lnTo>
                    <a:pt x="90" y="229"/>
                  </a:lnTo>
                  <a:lnTo>
                    <a:pt x="93" y="231"/>
                  </a:lnTo>
                  <a:lnTo>
                    <a:pt x="93" y="231"/>
                  </a:lnTo>
                  <a:lnTo>
                    <a:pt x="101" y="239"/>
                  </a:lnTo>
                  <a:lnTo>
                    <a:pt x="110" y="247"/>
                  </a:lnTo>
                  <a:lnTo>
                    <a:pt x="110" y="247"/>
                  </a:lnTo>
                  <a:lnTo>
                    <a:pt x="115" y="252"/>
                  </a:lnTo>
                  <a:lnTo>
                    <a:pt x="122" y="256"/>
                  </a:lnTo>
                  <a:lnTo>
                    <a:pt x="135" y="262"/>
                  </a:lnTo>
                  <a:lnTo>
                    <a:pt x="135" y="262"/>
                  </a:lnTo>
                  <a:lnTo>
                    <a:pt x="148" y="268"/>
                  </a:lnTo>
                  <a:lnTo>
                    <a:pt x="159" y="276"/>
                  </a:lnTo>
                  <a:lnTo>
                    <a:pt x="159" y="276"/>
                  </a:lnTo>
                  <a:lnTo>
                    <a:pt x="168" y="282"/>
                  </a:lnTo>
                  <a:lnTo>
                    <a:pt x="172" y="287"/>
                  </a:lnTo>
                  <a:lnTo>
                    <a:pt x="175" y="289"/>
                  </a:lnTo>
                  <a:lnTo>
                    <a:pt x="175" y="291"/>
                  </a:lnTo>
                  <a:lnTo>
                    <a:pt x="175" y="291"/>
                  </a:lnTo>
                  <a:lnTo>
                    <a:pt x="187" y="282"/>
                  </a:lnTo>
                  <a:lnTo>
                    <a:pt x="194" y="279"/>
                  </a:lnTo>
                  <a:lnTo>
                    <a:pt x="194" y="279"/>
                  </a:lnTo>
                  <a:lnTo>
                    <a:pt x="201" y="271"/>
                  </a:lnTo>
                  <a:lnTo>
                    <a:pt x="207" y="265"/>
                  </a:lnTo>
                  <a:lnTo>
                    <a:pt x="209" y="262"/>
                  </a:lnTo>
                  <a:lnTo>
                    <a:pt x="209" y="259"/>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07" name="Freeform 663"/>
            <p:cNvSpPr>
              <a:spLocks/>
            </p:cNvSpPr>
            <p:nvPr/>
          </p:nvSpPr>
          <p:spPr bwMode="auto">
            <a:xfrm>
              <a:off x="2220913" y="4767692"/>
              <a:ext cx="331788" cy="461963"/>
            </a:xfrm>
            <a:custGeom>
              <a:avLst/>
              <a:gdLst>
                <a:gd name="T0" fmla="*/ 203 w 209"/>
                <a:gd name="T1" fmla="*/ 259 h 291"/>
                <a:gd name="T2" fmla="*/ 190 w 209"/>
                <a:gd name="T3" fmla="*/ 253 h 291"/>
                <a:gd name="T4" fmla="*/ 185 w 209"/>
                <a:gd name="T5" fmla="*/ 242 h 291"/>
                <a:gd name="T6" fmla="*/ 188 w 209"/>
                <a:gd name="T7" fmla="*/ 233 h 291"/>
                <a:gd name="T8" fmla="*/ 191 w 209"/>
                <a:gd name="T9" fmla="*/ 221 h 291"/>
                <a:gd name="T10" fmla="*/ 196 w 209"/>
                <a:gd name="T11" fmla="*/ 191 h 291"/>
                <a:gd name="T12" fmla="*/ 193 w 209"/>
                <a:gd name="T13" fmla="*/ 162 h 291"/>
                <a:gd name="T14" fmla="*/ 178 w 209"/>
                <a:gd name="T15" fmla="*/ 161 h 291"/>
                <a:gd name="T16" fmla="*/ 175 w 209"/>
                <a:gd name="T17" fmla="*/ 136 h 291"/>
                <a:gd name="T18" fmla="*/ 161 w 209"/>
                <a:gd name="T19" fmla="*/ 142 h 291"/>
                <a:gd name="T20" fmla="*/ 139 w 209"/>
                <a:gd name="T21" fmla="*/ 139 h 291"/>
                <a:gd name="T22" fmla="*/ 125 w 209"/>
                <a:gd name="T23" fmla="*/ 129 h 291"/>
                <a:gd name="T24" fmla="*/ 117 w 209"/>
                <a:gd name="T25" fmla="*/ 98 h 291"/>
                <a:gd name="T26" fmla="*/ 136 w 209"/>
                <a:gd name="T27" fmla="*/ 85 h 291"/>
                <a:gd name="T28" fmla="*/ 139 w 209"/>
                <a:gd name="T29" fmla="*/ 75 h 291"/>
                <a:gd name="T30" fmla="*/ 152 w 209"/>
                <a:gd name="T31" fmla="*/ 68 h 291"/>
                <a:gd name="T32" fmla="*/ 165 w 209"/>
                <a:gd name="T33" fmla="*/ 66 h 291"/>
                <a:gd name="T34" fmla="*/ 181 w 209"/>
                <a:gd name="T35" fmla="*/ 65 h 291"/>
                <a:gd name="T36" fmla="*/ 180 w 209"/>
                <a:gd name="T37" fmla="*/ 56 h 291"/>
                <a:gd name="T38" fmla="*/ 180 w 209"/>
                <a:gd name="T39" fmla="*/ 40 h 291"/>
                <a:gd name="T40" fmla="*/ 175 w 209"/>
                <a:gd name="T41" fmla="*/ 34 h 291"/>
                <a:gd name="T42" fmla="*/ 159 w 209"/>
                <a:gd name="T43" fmla="*/ 33 h 291"/>
                <a:gd name="T44" fmla="*/ 126 w 209"/>
                <a:gd name="T45" fmla="*/ 16 h 291"/>
                <a:gd name="T46" fmla="*/ 109 w 209"/>
                <a:gd name="T47" fmla="*/ 0 h 291"/>
                <a:gd name="T48" fmla="*/ 106 w 209"/>
                <a:gd name="T49" fmla="*/ 16 h 291"/>
                <a:gd name="T50" fmla="*/ 93 w 209"/>
                <a:gd name="T51" fmla="*/ 30 h 291"/>
                <a:gd name="T52" fmla="*/ 84 w 209"/>
                <a:gd name="T53" fmla="*/ 37 h 291"/>
                <a:gd name="T54" fmla="*/ 55 w 209"/>
                <a:gd name="T55" fmla="*/ 48 h 291"/>
                <a:gd name="T56" fmla="*/ 44 w 209"/>
                <a:gd name="T57" fmla="*/ 68 h 291"/>
                <a:gd name="T58" fmla="*/ 29 w 209"/>
                <a:gd name="T59" fmla="*/ 65 h 291"/>
                <a:gd name="T60" fmla="*/ 17 w 209"/>
                <a:gd name="T61" fmla="*/ 62 h 291"/>
                <a:gd name="T62" fmla="*/ 19 w 209"/>
                <a:gd name="T63" fmla="*/ 50 h 291"/>
                <a:gd name="T64" fmla="*/ 15 w 209"/>
                <a:gd name="T65" fmla="*/ 46 h 291"/>
                <a:gd name="T66" fmla="*/ 0 w 209"/>
                <a:gd name="T67" fmla="*/ 62 h 291"/>
                <a:gd name="T68" fmla="*/ 6 w 209"/>
                <a:gd name="T69" fmla="*/ 71 h 291"/>
                <a:gd name="T70" fmla="*/ 3 w 209"/>
                <a:gd name="T71" fmla="*/ 78 h 291"/>
                <a:gd name="T72" fmla="*/ 12 w 209"/>
                <a:gd name="T73" fmla="*/ 82 h 291"/>
                <a:gd name="T74" fmla="*/ 28 w 209"/>
                <a:gd name="T75" fmla="*/ 95 h 291"/>
                <a:gd name="T76" fmla="*/ 30 w 209"/>
                <a:gd name="T77" fmla="*/ 107 h 291"/>
                <a:gd name="T78" fmla="*/ 44 w 209"/>
                <a:gd name="T79" fmla="*/ 123 h 291"/>
                <a:gd name="T80" fmla="*/ 65 w 209"/>
                <a:gd name="T81" fmla="*/ 163 h 291"/>
                <a:gd name="T82" fmla="*/ 77 w 209"/>
                <a:gd name="T83" fmla="*/ 178 h 291"/>
                <a:gd name="T84" fmla="*/ 78 w 209"/>
                <a:gd name="T85" fmla="*/ 195 h 291"/>
                <a:gd name="T86" fmla="*/ 87 w 209"/>
                <a:gd name="T87" fmla="*/ 223 h 291"/>
                <a:gd name="T88" fmla="*/ 101 w 209"/>
                <a:gd name="T89" fmla="*/ 239 h 291"/>
                <a:gd name="T90" fmla="*/ 122 w 209"/>
                <a:gd name="T91" fmla="*/ 256 h 291"/>
                <a:gd name="T92" fmla="*/ 159 w 209"/>
                <a:gd name="T93" fmla="*/ 276 h 291"/>
                <a:gd name="T94" fmla="*/ 175 w 209"/>
                <a:gd name="T95" fmla="*/ 289 h 291"/>
                <a:gd name="T96" fmla="*/ 194 w 209"/>
                <a:gd name="T97" fmla="*/ 279 h 291"/>
                <a:gd name="T98" fmla="*/ 209 w 209"/>
                <a:gd name="T99" fmla="*/ 2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9" h="291">
                  <a:moveTo>
                    <a:pt x="209" y="259"/>
                  </a:moveTo>
                  <a:lnTo>
                    <a:pt x="209" y="259"/>
                  </a:lnTo>
                  <a:lnTo>
                    <a:pt x="206" y="259"/>
                  </a:lnTo>
                  <a:lnTo>
                    <a:pt x="203" y="259"/>
                  </a:lnTo>
                  <a:lnTo>
                    <a:pt x="203" y="259"/>
                  </a:lnTo>
                  <a:lnTo>
                    <a:pt x="197" y="259"/>
                  </a:lnTo>
                  <a:lnTo>
                    <a:pt x="194" y="258"/>
                  </a:lnTo>
                  <a:lnTo>
                    <a:pt x="190" y="253"/>
                  </a:lnTo>
                  <a:lnTo>
                    <a:pt x="190" y="253"/>
                  </a:lnTo>
                  <a:lnTo>
                    <a:pt x="184" y="247"/>
                  </a:lnTo>
                  <a:lnTo>
                    <a:pt x="184" y="245"/>
                  </a:lnTo>
                  <a:lnTo>
                    <a:pt x="185" y="242"/>
                  </a:lnTo>
                  <a:lnTo>
                    <a:pt x="185" y="242"/>
                  </a:lnTo>
                  <a:lnTo>
                    <a:pt x="191" y="240"/>
                  </a:lnTo>
                  <a:lnTo>
                    <a:pt x="191" y="240"/>
                  </a:lnTo>
                  <a:lnTo>
                    <a:pt x="188" y="233"/>
                  </a:lnTo>
                  <a:lnTo>
                    <a:pt x="188" y="230"/>
                  </a:lnTo>
                  <a:lnTo>
                    <a:pt x="190" y="229"/>
                  </a:lnTo>
                  <a:lnTo>
                    <a:pt x="190" y="229"/>
                  </a:lnTo>
                  <a:lnTo>
                    <a:pt x="191" y="221"/>
                  </a:lnTo>
                  <a:lnTo>
                    <a:pt x="193" y="210"/>
                  </a:lnTo>
                  <a:lnTo>
                    <a:pt x="194" y="198"/>
                  </a:lnTo>
                  <a:lnTo>
                    <a:pt x="196" y="191"/>
                  </a:lnTo>
                  <a:lnTo>
                    <a:pt x="196" y="191"/>
                  </a:lnTo>
                  <a:lnTo>
                    <a:pt x="196" y="187"/>
                  </a:lnTo>
                  <a:lnTo>
                    <a:pt x="196" y="179"/>
                  </a:lnTo>
                  <a:lnTo>
                    <a:pt x="193" y="162"/>
                  </a:lnTo>
                  <a:lnTo>
                    <a:pt x="193" y="162"/>
                  </a:lnTo>
                  <a:lnTo>
                    <a:pt x="183" y="162"/>
                  </a:lnTo>
                  <a:lnTo>
                    <a:pt x="180" y="162"/>
                  </a:lnTo>
                  <a:lnTo>
                    <a:pt x="178" y="161"/>
                  </a:lnTo>
                  <a:lnTo>
                    <a:pt x="178" y="161"/>
                  </a:lnTo>
                  <a:lnTo>
                    <a:pt x="177" y="155"/>
                  </a:lnTo>
                  <a:lnTo>
                    <a:pt x="177" y="146"/>
                  </a:lnTo>
                  <a:lnTo>
                    <a:pt x="177" y="139"/>
                  </a:lnTo>
                  <a:lnTo>
                    <a:pt x="175" y="136"/>
                  </a:lnTo>
                  <a:lnTo>
                    <a:pt x="175" y="136"/>
                  </a:lnTo>
                  <a:lnTo>
                    <a:pt x="172" y="136"/>
                  </a:lnTo>
                  <a:lnTo>
                    <a:pt x="167" y="139"/>
                  </a:lnTo>
                  <a:lnTo>
                    <a:pt x="161" y="142"/>
                  </a:lnTo>
                  <a:lnTo>
                    <a:pt x="155" y="143"/>
                  </a:lnTo>
                  <a:lnTo>
                    <a:pt x="155" y="143"/>
                  </a:lnTo>
                  <a:lnTo>
                    <a:pt x="148" y="142"/>
                  </a:lnTo>
                  <a:lnTo>
                    <a:pt x="139" y="139"/>
                  </a:lnTo>
                  <a:lnTo>
                    <a:pt x="130" y="134"/>
                  </a:lnTo>
                  <a:lnTo>
                    <a:pt x="128" y="132"/>
                  </a:lnTo>
                  <a:lnTo>
                    <a:pt x="125" y="129"/>
                  </a:lnTo>
                  <a:lnTo>
                    <a:pt x="125" y="129"/>
                  </a:lnTo>
                  <a:lnTo>
                    <a:pt x="120" y="111"/>
                  </a:lnTo>
                  <a:lnTo>
                    <a:pt x="117" y="103"/>
                  </a:lnTo>
                  <a:lnTo>
                    <a:pt x="117" y="98"/>
                  </a:lnTo>
                  <a:lnTo>
                    <a:pt x="117" y="98"/>
                  </a:lnTo>
                  <a:lnTo>
                    <a:pt x="120" y="95"/>
                  </a:lnTo>
                  <a:lnTo>
                    <a:pt x="128" y="91"/>
                  </a:lnTo>
                  <a:lnTo>
                    <a:pt x="133" y="87"/>
                  </a:lnTo>
                  <a:lnTo>
                    <a:pt x="136" y="85"/>
                  </a:lnTo>
                  <a:lnTo>
                    <a:pt x="136" y="84"/>
                  </a:lnTo>
                  <a:lnTo>
                    <a:pt x="136" y="84"/>
                  </a:lnTo>
                  <a:lnTo>
                    <a:pt x="138" y="79"/>
                  </a:lnTo>
                  <a:lnTo>
                    <a:pt x="139" y="75"/>
                  </a:lnTo>
                  <a:lnTo>
                    <a:pt x="143" y="71"/>
                  </a:lnTo>
                  <a:lnTo>
                    <a:pt x="148" y="68"/>
                  </a:lnTo>
                  <a:lnTo>
                    <a:pt x="148" y="68"/>
                  </a:lnTo>
                  <a:lnTo>
                    <a:pt x="152" y="68"/>
                  </a:lnTo>
                  <a:lnTo>
                    <a:pt x="157" y="68"/>
                  </a:lnTo>
                  <a:lnTo>
                    <a:pt x="161" y="68"/>
                  </a:lnTo>
                  <a:lnTo>
                    <a:pt x="165" y="66"/>
                  </a:lnTo>
                  <a:lnTo>
                    <a:pt x="165" y="66"/>
                  </a:lnTo>
                  <a:lnTo>
                    <a:pt x="170" y="65"/>
                  </a:lnTo>
                  <a:lnTo>
                    <a:pt x="175" y="65"/>
                  </a:lnTo>
                  <a:lnTo>
                    <a:pt x="180" y="65"/>
                  </a:lnTo>
                  <a:lnTo>
                    <a:pt x="181" y="65"/>
                  </a:lnTo>
                  <a:lnTo>
                    <a:pt x="181" y="63"/>
                  </a:lnTo>
                  <a:lnTo>
                    <a:pt x="181" y="63"/>
                  </a:lnTo>
                  <a:lnTo>
                    <a:pt x="181" y="59"/>
                  </a:lnTo>
                  <a:lnTo>
                    <a:pt x="180" y="56"/>
                  </a:lnTo>
                  <a:lnTo>
                    <a:pt x="178" y="52"/>
                  </a:lnTo>
                  <a:lnTo>
                    <a:pt x="178" y="49"/>
                  </a:lnTo>
                  <a:lnTo>
                    <a:pt x="178" y="49"/>
                  </a:lnTo>
                  <a:lnTo>
                    <a:pt x="180" y="40"/>
                  </a:lnTo>
                  <a:lnTo>
                    <a:pt x="180" y="36"/>
                  </a:lnTo>
                  <a:lnTo>
                    <a:pt x="178" y="34"/>
                  </a:lnTo>
                  <a:lnTo>
                    <a:pt x="178" y="34"/>
                  </a:lnTo>
                  <a:lnTo>
                    <a:pt x="175" y="34"/>
                  </a:lnTo>
                  <a:lnTo>
                    <a:pt x="172" y="36"/>
                  </a:lnTo>
                  <a:lnTo>
                    <a:pt x="167" y="36"/>
                  </a:lnTo>
                  <a:lnTo>
                    <a:pt x="159" y="33"/>
                  </a:lnTo>
                  <a:lnTo>
                    <a:pt x="159" y="33"/>
                  </a:lnTo>
                  <a:lnTo>
                    <a:pt x="142" y="26"/>
                  </a:lnTo>
                  <a:lnTo>
                    <a:pt x="133" y="21"/>
                  </a:lnTo>
                  <a:lnTo>
                    <a:pt x="126" y="16"/>
                  </a:lnTo>
                  <a:lnTo>
                    <a:pt x="126" y="16"/>
                  </a:lnTo>
                  <a:lnTo>
                    <a:pt x="117" y="6"/>
                  </a:lnTo>
                  <a:lnTo>
                    <a:pt x="113" y="1"/>
                  </a:lnTo>
                  <a:lnTo>
                    <a:pt x="109" y="0"/>
                  </a:lnTo>
                  <a:lnTo>
                    <a:pt x="109" y="0"/>
                  </a:lnTo>
                  <a:lnTo>
                    <a:pt x="106" y="0"/>
                  </a:lnTo>
                  <a:lnTo>
                    <a:pt x="106" y="0"/>
                  </a:lnTo>
                  <a:lnTo>
                    <a:pt x="107" y="10"/>
                  </a:lnTo>
                  <a:lnTo>
                    <a:pt x="106" y="16"/>
                  </a:lnTo>
                  <a:lnTo>
                    <a:pt x="106" y="16"/>
                  </a:lnTo>
                  <a:lnTo>
                    <a:pt x="103" y="21"/>
                  </a:lnTo>
                  <a:lnTo>
                    <a:pt x="99" y="26"/>
                  </a:lnTo>
                  <a:lnTo>
                    <a:pt x="93" y="30"/>
                  </a:lnTo>
                  <a:lnTo>
                    <a:pt x="90" y="34"/>
                  </a:lnTo>
                  <a:lnTo>
                    <a:pt x="90" y="34"/>
                  </a:lnTo>
                  <a:lnTo>
                    <a:pt x="87" y="36"/>
                  </a:lnTo>
                  <a:lnTo>
                    <a:pt x="84" y="37"/>
                  </a:lnTo>
                  <a:lnTo>
                    <a:pt x="75" y="42"/>
                  </a:lnTo>
                  <a:lnTo>
                    <a:pt x="58" y="46"/>
                  </a:lnTo>
                  <a:lnTo>
                    <a:pt x="58" y="46"/>
                  </a:lnTo>
                  <a:lnTo>
                    <a:pt x="55" y="48"/>
                  </a:lnTo>
                  <a:lnTo>
                    <a:pt x="52" y="50"/>
                  </a:lnTo>
                  <a:lnTo>
                    <a:pt x="49" y="58"/>
                  </a:lnTo>
                  <a:lnTo>
                    <a:pt x="45" y="65"/>
                  </a:lnTo>
                  <a:lnTo>
                    <a:pt x="44" y="68"/>
                  </a:lnTo>
                  <a:lnTo>
                    <a:pt x="44" y="68"/>
                  </a:lnTo>
                  <a:lnTo>
                    <a:pt x="39" y="68"/>
                  </a:lnTo>
                  <a:lnTo>
                    <a:pt x="33" y="68"/>
                  </a:lnTo>
                  <a:lnTo>
                    <a:pt x="29" y="65"/>
                  </a:lnTo>
                  <a:lnTo>
                    <a:pt x="25" y="63"/>
                  </a:lnTo>
                  <a:lnTo>
                    <a:pt x="25" y="63"/>
                  </a:lnTo>
                  <a:lnTo>
                    <a:pt x="22" y="62"/>
                  </a:lnTo>
                  <a:lnTo>
                    <a:pt x="17" y="62"/>
                  </a:lnTo>
                  <a:lnTo>
                    <a:pt x="13" y="62"/>
                  </a:lnTo>
                  <a:lnTo>
                    <a:pt x="13" y="62"/>
                  </a:lnTo>
                  <a:lnTo>
                    <a:pt x="15" y="58"/>
                  </a:lnTo>
                  <a:lnTo>
                    <a:pt x="19" y="50"/>
                  </a:lnTo>
                  <a:lnTo>
                    <a:pt x="19" y="50"/>
                  </a:lnTo>
                  <a:lnTo>
                    <a:pt x="17" y="49"/>
                  </a:lnTo>
                  <a:lnTo>
                    <a:pt x="15" y="46"/>
                  </a:lnTo>
                  <a:lnTo>
                    <a:pt x="15" y="46"/>
                  </a:lnTo>
                  <a:lnTo>
                    <a:pt x="10" y="49"/>
                  </a:lnTo>
                  <a:lnTo>
                    <a:pt x="4" y="55"/>
                  </a:lnTo>
                  <a:lnTo>
                    <a:pt x="4" y="55"/>
                  </a:lnTo>
                  <a:lnTo>
                    <a:pt x="0" y="62"/>
                  </a:lnTo>
                  <a:lnTo>
                    <a:pt x="0" y="63"/>
                  </a:lnTo>
                  <a:lnTo>
                    <a:pt x="2" y="66"/>
                  </a:lnTo>
                  <a:lnTo>
                    <a:pt x="2" y="66"/>
                  </a:lnTo>
                  <a:lnTo>
                    <a:pt x="6" y="71"/>
                  </a:lnTo>
                  <a:lnTo>
                    <a:pt x="7" y="72"/>
                  </a:lnTo>
                  <a:lnTo>
                    <a:pt x="6" y="74"/>
                  </a:lnTo>
                  <a:lnTo>
                    <a:pt x="6" y="74"/>
                  </a:lnTo>
                  <a:lnTo>
                    <a:pt x="3" y="78"/>
                  </a:lnTo>
                  <a:lnTo>
                    <a:pt x="3" y="79"/>
                  </a:lnTo>
                  <a:lnTo>
                    <a:pt x="6" y="81"/>
                  </a:lnTo>
                  <a:lnTo>
                    <a:pt x="6" y="81"/>
                  </a:lnTo>
                  <a:lnTo>
                    <a:pt x="12" y="82"/>
                  </a:lnTo>
                  <a:lnTo>
                    <a:pt x="17" y="87"/>
                  </a:lnTo>
                  <a:lnTo>
                    <a:pt x="25" y="91"/>
                  </a:lnTo>
                  <a:lnTo>
                    <a:pt x="28" y="95"/>
                  </a:lnTo>
                  <a:lnTo>
                    <a:pt x="28" y="95"/>
                  </a:lnTo>
                  <a:lnTo>
                    <a:pt x="29" y="98"/>
                  </a:lnTo>
                  <a:lnTo>
                    <a:pt x="29" y="101"/>
                  </a:lnTo>
                  <a:lnTo>
                    <a:pt x="29" y="103"/>
                  </a:lnTo>
                  <a:lnTo>
                    <a:pt x="30" y="107"/>
                  </a:lnTo>
                  <a:lnTo>
                    <a:pt x="30" y="107"/>
                  </a:lnTo>
                  <a:lnTo>
                    <a:pt x="39" y="116"/>
                  </a:lnTo>
                  <a:lnTo>
                    <a:pt x="42" y="120"/>
                  </a:lnTo>
                  <a:lnTo>
                    <a:pt x="44" y="123"/>
                  </a:lnTo>
                  <a:lnTo>
                    <a:pt x="44" y="123"/>
                  </a:lnTo>
                  <a:lnTo>
                    <a:pt x="48" y="130"/>
                  </a:lnTo>
                  <a:lnTo>
                    <a:pt x="54" y="143"/>
                  </a:lnTo>
                  <a:lnTo>
                    <a:pt x="65" y="163"/>
                  </a:lnTo>
                  <a:lnTo>
                    <a:pt x="65" y="163"/>
                  </a:lnTo>
                  <a:lnTo>
                    <a:pt x="68" y="168"/>
                  </a:lnTo>
                  <a:lnTo>
                    <a:pt x="73" y="174"/>
                  </a:lnTo>
                  <a:lnTo>
                    <a:pt x="77" y="178"/>
                  </a:lnTo>
                  <a:lnTo>
                    <a:pt x="78" y="181"/>
                  </a:lnTo>
                  <a:lnTo>
                    <a:pt x="78" y="184"/>
                  </a:lnTo>
                  <a:lnTo>
                    <a:pt x="78" y="184"/>
                  </a:lnTo>
                  <a:lnTo>
                    <a:pt x="78" y="195"/>
                  </a:lnTo>
                  <a:lnTo>
                    <a:pt x="80" y="201"/>
                  </a:lnTo>
                  <a:lnTo>
                    <a:pt x="81" y="208"/>
                  </a:lnTo>
                  <a:lnTo>
                    <a:pt x="81" y="208"/>
                  </a:lnTo>
                  <a:lnTo>
                    <a:pt x="87" y="223"/>
                  </a:lnTo>
                  <a:lnTo>
                    <a:pt x="90" y="229"/>
                  </a:lnTo>
                  <a:lnTo>
                    <a:pt x="93" y="231"/>
                  </a:lnTo>
                  <a:lnTo>
                    <a:pt x="93" y="231"/>
                  </a:lnTo>
                  <a:lnTo>
                    <a:pt x="101" y="239"/>
                  </a:lnTo>
                  <a:lnTo>
                    <a:pt x="110" y="247"/>
                  </a:lnTo>
                  <a:lnTo>
                    <a:pt x="110" y="247"/>
                  </a:lnTo>
                  <a:lnTo>
                    <a:pt x="115" y="252"/>
                  </a:lnTo>
                  <a:lnTo>
                    <a:pt x="122" y="256"/>
                  </a:lnTo>
                  <a:lnTo>
                    <a:pt x="135" y="262"/>
                  </a:lnTo>
                  <a:lnTo>
                    <a:pt x="135" y="262"/>
                  </a:lnTo>
                  <a:lnTo>
                    <a:pt x="148" y="268"/>
                  </a:lnTo>
                  <a:lnTo>
                    <a:pt x="159" y="276"/>
                  </a:lnTo>
                  <a:lnTo>
                    <a:pt x="159" y="276"/>
                  </a:lnTo>
                  <a:lnTo>
                    <a:pt x="168" y="282"/>
                  </a:lnTo>
                  <a:lnTo>
                    <a:pt x="172" y="287"/>
                  </a:lnTo>
                  <a:lnTo>
                    <a:pt x="175" y="289"/>
                  </a:lnTo>
                  <a:lnTo>
                    <a:pt x="175" y="291"/>
                  </a:lnTo>
                  <a:lnTo>
                    <a:pt x="175" y="291"/>
                  </a:lnTo>
                  <a:lnTo>
                    <a:pt x="187" y="282"/>
                  </a:lnTo>
                  <a:lnTo>
                    <a:pt x="194" y="279"/>
                  </a:lnTo>
                  <a:lnTo>
                    <a:pt x="194" y="279"/>
                  </a:lnTo>
                  <a:lnTo>
                    <a:pt x="201" y="271"/>
                  </a:lnTo>
                  <a:lnTo>
                    <a:pt x="207" y="265"/>
                  </a:lnTo>
                  <a:lnTo>
                    <a:pt x="209" y="262"/>
                  </a:lnTo>
                  <a:lnTo>
                    <a:pt x="209" y="2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08" name="Freeform 664"/>
            <p:cNvSpPr>
              <a:spLocks/>
            </p:cNvSpPr>
            <p:nvPr/>
          </p:nvSpPr>
          <p:spPr bwMode="auto">
            <a:xfrm>
              <a:off x="2239963" y="4731179"/>
              <a:ext cx="150813" cy="144463"/>
            </a:xfrm>
            <a:custGeom>
              <a:avLst/>
              <a:gdLst>
                <a:gd name="T0" fmla="*/ 7 w 95"/>
                <a:gd name="T1" fmla="*/ 73 h 91"/>
                <a:gd name="T2" fmla="*/ 1 w 95"/>
                <a:gd name="T3" fmla="*/ 85 h 91"/>
                <a:gd name="T4" fmla="*/ 5 w 95"/>
                <a:gd name="T5" fmla="*/ 85 h 91"/>
                <a:gd name="T6" fmla="*/ 13 w 95"/>
                <a:gd name="T7" fmla="*/ 86 h 91"/>
                <a:gd name="T8" fmla="*/ 17 w 95"/>
                <a:gd name="T9" fmla="*/ 88 h 91"/>
                <a:gd name="T10" fmla="*/ 27 w 95"/>
                <a:gd name="T11" fmla="*/ 91 h 91"/>
                <a:gd name="T12" fmla="*/ 32 w 95"/>
                <a:gd name="T13" fmla="*/ 91 h 91"/>
                <a:gd name="T14" fmla="*/ 37 w 95"/>
                <a:gd name="T15" fmla="*/ 81 h 91"/>
                <a:gd name="T16" fmla="*/ 43 w 95"/>
                <a:gd name="T17" fmla="*/ 71 h 91"/>
                <a:gd name="T18" fmla="*/ 46 w 95"/>
                <a:gd name="T19" fmla="*/ 69 h 91"/>
                <a:gd name="T20" fmla="*/ 72 w 95"/>
                <a:gd name="T21" fmla="*/ 60 h 91"/>
                <a:gd name="T22" fmla="*/ 78 w 95"/>
                <a:gd name="T23" fmla="*/ 57 h 91"/>
                <a:gd name="T24" fmla="*/ 81 w 95"/>
                <a:gd name="T25" fmla="*/ 53 h 91"/>
                <a:gd name="T26" fmla="*/ 91 w 95"/>
                <a:gd name="T27" fmla="*/ 44 h 91"/>
                <a:gd name="T28" fmla="*/ 94 w 95"/>
                <a:gd name="T29" fmla="*/ 39 h 91"/>
                <a:gd name="T30" fmla="*/ 94 w 95"/>
                <a:gd name="T31" fmla="*/ 23 h 91"/>
                <a:gd name="T32" fmla="*/ 81 w 95"/>
                <a:gd name="T33" fmla="*/ 20 h 91"/>
                <a:gd name="T34" fmla="*/ 69 w 95"/>
                <a:gd name="T35" fmla="*/ 15 h 91"/>
                <a:gd name="T36" fmla="*/ 45 w 95"/>
                <a:gd name="T37" fmla="*/ 2 h 91"/>
                <a:gd name="T38" fmla="*/ 33 w 95"/>
                <a:gd name="T39" fmla="*/ 0 h 91"/>
                <a:gd name="T40" fmla="*/ 24 w 95"/>
                <a:gd name="T41" fmla="*/ 7 h 91"/>
                <a:gd name="T42" fmla="*/ 18 w 95"/>
                <a:gd name="T43" fmla="*/ 11 h 91"/>
                <a:gd name="T44" fmla="*/ 13 w 95"/>
                <a:gd name="T45" fmla="*/ 18 h 91"/>
                <a:gd name="T46" fmla="*/ 13 w 95"/>
                <a:gd name="T47" fmla="*/ 24 h 91"/>
                <a:gd name="T48" fmla="*/ 8 w 95"/>
                <a:gd name="T49" fmla="*/ 27 h 91"/>
                <a:gd name="T50" fmla="*/ 3 w 95"/>
                <a:gd name="T51" fmla="*/ 33 h 91"/>
                <a:gd name="T52" fmla="*/ 1 w 95"/>
                <a:gd name="T53" fmla="*/ 39 h 91"/>
                <a:gd name="T54" fmla="*/ 0 w 95"/>
                <a:gd name="T55" fmla="*/ 50 h 91"/>
                <a:gd name="T56" fmla="*/ 3 w 95"/>
                <a:gd name="T57" fmla="*/ 60 h 91"/>
                <a:gd name="T58" fmla="*/ 5 w 95"/>
                <a:gd name="T59" fmla="*/ 63 h 91"/>
                <a:gd name="T60" fmla="*/ 4 w 95"/>
                <a:gd name="T61" fmla="*/ 68 h 91"/>
                <a:gd name="T62" fmla="*/ 3 w 95"/>
                <a:gd name="T63" fmla="*/ 69 h 91"/>
                <a:gd name="T64" fmla="*/ 5 w 95"/>
                <a:gd name="T65" fmla="*/ 7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5" h="91">
                  <a:moveTo>
                    <a:pt x="7" y="73"/>
                  </a:moveTo>
                  <a:lnTo>
                    <a:pt x="7" y="73"/>
                  </a:lnTo>
                  <a:lnTo>
                    <a:pt x="3" y="81"/>
                  </a:lnTo>
                  <a:lnTo>
                    <a:pt x="1" y="85"/>
                  </a:lnTo>
                  <a:lnTo>
                    <a:pt x="1" y="85"/>
                  </a:lnTo>
                  <a:lnTo>
                    <a:pt x="5" y="85"/>
                  </a:lnTo>
                  <a:lnTo>
                    <a:pt x="10" y="85"/>
                  </a:lnTo>
                  <a:lnTo>
                    <a:pt x="13" y="86"/>
                  </a:lnTo>
                  <a:lnTo>
                    <a:pt x="13" y="86"/>
                  </a:lnTo>
                  <a:lnTo>
                    <a:pt x="17" y="88"/>
                  </a:lnTo>
                  <a:lnTo>
                    <a:pt x="21" y="91"/>
                  </a:lnTo>
                  <a:lnTo>
                    <a:pt x="27" y="91"/>
                  </a:lnTo>
                  <a:lnTo>
                    <a:pt x="32" y="91"/>
                  </a:lnTo>
                  <a:lnTo>
                    <a:pt x="32" y="91"/>
                  </a:lnTo>
                  <a:lnTo>
                    <a:pt x="33" y="88"/>
                  </a:lnTo>
                  <a:lnTo>
                    <a:pt x="37" y="81"/>
                  </a:lnTo>
                  <a:lnTo>
                    <a:pt x="40" y="73"/>
                  </a:lnTo>
                  <a:lnTo>
                    <a:pt x="43" y="71"/>
                  </a:lnTo>
                  <a:lnTo>
                    <a:pt x="46" y="69"/>
                  </a:lnTo>
                  <a:lnTo>
                    <a:pt x="46" y="69"/>
                  </a:lnTo>
                  <a:lnTo>
                    <a:pt x="63" y="65"/>
                  </a:lnTo>
                  <a:lnTo>
                    <a:pt x="72" y="60"/>
                  </a:lnTo>
                  <a:lnTo>
                    <a:pt x="75" y="59"/>
                  </a:lnTo>
                  <a:lnTo>
                    <a:pt x="78" y="57"/>
                  </a:lnTo>
                  <a:lnTo>
                    <a:pt x="78" y="57"/>
                  </a:lnTo>
                  <a:lnTo>
                    <a:pt x="81" y="53"/>
                  </a:lnTo>
                  <a:lnTo>
                    <a:pt x="87" y="49"/>
                  </a:lnTo>
                  <a:lnTo>
                    <a:pt x="91" y="44"/>
                  </a:lnTo>
                  <a:lnTo>
                    <a:pt x="94" y="39"/>
                  </a:lnTo>
                  <a:lnTo>
                    <a:pt x="94" y="39"/>
                  </a:lnTo>
                  <a:lnTo>
                    <a:pt x="95" y="33"/>
                  </a:lnTo>
                  <a:lnTo>
                    <a:pt x="94" y="23"/>
                  </a:lnTo>
                  <a:lnTo>
                    <a:pt x="94" y="23"/>
                  </a:lnTo>
                  <a:lnTo>
                    <a:pt x="81" y="20"/>
                  </a:lnTo>
                  <a:lnTo>
                    <a:pt x="69" y="15"/>
                  </a:lnTo>
                  <a:lnTo>
                    <a:pt x="69" y="15"/>
                  </a:lnTo>
                  <a:lnTo>
                    <a:pt x="55" y="8"/>
                  </a:lnTo>
                  <a:lnTo>
                    <a:pt x="45" y="2"/>
                  </a:lnTo>
                  <a:lnTo>
                    <a:pt x="33" y="0"/>
                  </a:lnTo>
                  <a:lnTo>
                    <a:pt x="33" y="0"/>
                  </a:lnTo>
                  <a:lnTo>
                    <a:pt x="29" y="4"/>
                  </a:lnTo>
                  <a:lnTo>
                    <a:pt x="24" y="7"/>
                  </a:lnTo>
                  <a:lnTo>
                    <a:pt x="24" y="7"/>
                  </a:lnTo>
                  <a:lnTo>
                    <a:pt x="18" y="11"/>
                  </a:lnTo>
                  <a:lnTo>
                    <a:pt x="16" y="14"/>
                  </a:lnTo>
                  <a:lnTo>
                    <a:pt x="13" y="18"/>
                  </a:lnTo>
                  <a:lnTo>
                    <a:pt x="13" y="18"/>
                  </a:lnTo>
                  <a:lnTo>
                    <a:pt x="13" y="24"/>
                  </a:lnTo>
                  <a:lnTo>
                    <a:pt x="11" y="26"/>
                  </a:lnTo>
                  <a:lnTo>
                    <a:pt x="8" y="27"/>
                  </a:lnTo>
                  <a:lnTo>
                    <a:pt x="8" y="27"/>
                  </a:lnTo>
                  <a:lnTo>
                    <a:pt x="3" y="33"/>
                  </a:lnTo>
                  <a:lnTo>
                    <a:pt x="1" y="36"/>
                  </a:lnTo>
                  <a:lnTo>
                    <a:pt x="1" y="39"/>
                  </a:lnTo>
                  <a:lnTo>
                    <a:pt x="1" y="39"/>
                  </a:lnTo>
                  <a:lnTo>
                    <a:pt x="0" y="50"/>
                  </a:lnTo>
                  <a:lnTo>
                    <a:pt x="1" y="56"/>
                  </a:lnTo>
                  <a:lnTo>
                    <a:pt x="3" y="60"/>
                  </a:lnTo>
                  <a:lnTo>
                    <a:pt x="3" y="60"/>
                  </a:lnTo>
                  <a:lnTo>
                    <a:pt x="5" y="63"/>
                  </a:lnTo>
                  <a:lnTo>
                    <a:pt x="5" y="65"/>
                  </a:lnTo>
                  <a:lnTo>
                    <a:pt x="4" y="68"/>
                  </a:lnTo>
                  <a:lnTo>
                    <a:pt x="4" y="69"/>
                  </a:lnTo>
                  <a:lnTo>
                    <a:pt x="3" y="69"/>
                  </a:lnTo>
                  <a:lnTo>
                    <a:pt x="3" y="69"/>
                  </a:lnTo>
                  <a:lnTo>
                    <a:pt x="5" y="72"/>
                  </a:lnTo>
                  <a:lnTo>
                    <a:pt x="7" y="73"/>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09" name="Freeform 665"/>
            <p:cNvSpPr>
              <a:spLocks/>
            </p:cNvSpPr>
            <p:nvPr/>
          </p:nvSpPr>
          <p:spPr bwMode="auto">
            <a:xfrm>
              <a:off x="2239963" y="4731179"/>
              <a:ext cx="150813" cy="144463"/>
            </a:xfrm>
            <a:custGeom>
              <a:avLst/>
              <a:gdLst>
                <a:gd name="T0" fmla="*/ 7 w 95"/>
                <a:gd name="T1" fmla="*/ 73 h 91"/>
                <a:gd name="T2" fmla="*/ 1 w 95"/>
                <a:gd name="T3" fmla="*/ 85 h 91"/>
                <a:gd name="T4" fmla="*/ 5 w 95"/>
                <a:gd name="T5" fmla="*/ 85 h 91"/>
                <a:gd name="T6" fmla="*/ 13 w 95"/>
                <a:gd name="T7" fmla="*/ 86 h 91"/>
                <a:gd name="T8" fmla="*/ 17 w 95"/>
                <a:gd name="T9" fmla="*/ 88 h 91"/>
                <a:gd name="T10" fmla="*/ 27 w 95"/>
                <a:gd name="T11" fmla="*/ 91 h 91"/>
                <a:gd name="T12" fmla="*/ 32 w 95"/>
                <a:gd name="T13" fmla="*/ 91 h 91"/>
                <a:gd name="T14" fmla="*/ 37 w 95"/>
                <a:gd name="T15" fmla="*/ 81 h 91"/>
                <a:gd name="T16" fmla="*/ 43 w 95"/>
                <a:gd name="T17" fmla="*/ 71 h 91"/>
                <a:gd name="T18" fmla="*/ 46 w 95"/>
                <a:gd name="T19" fmla="*/ 69 h 91"/>
                <a:gd name="T20" fmla="*/ 72 w 95"/>
                <a:gd name="T21" fmla="*/ 60 h 91"/>
                <a:gd name="T22" fmla="*/ 78 w 95"/>
                <a:gd name="T23" fmla="*/ 57 h 91"/>
                <a:gd name="T24" fmla="*/ 81 w 95"/>
                <a:gd name="T25" fmla="*/ 53 h 91"/>
                <a:gd name="T26" fmla="*/ 91 w 95"/>
                <a:gd name="T27" fmla="*/ 44 h 91"/>
                <a:gd name="T28" fmla="*/ 94 w 95"/>
                <a:gd name="T29" fmla="*/ 39 h 91"/>
                <a:gd name="T30" fmla="*/ 94 w 95"/>
                <a:gd name="T31" fmla="*/ 23 h 91"/>
                <a:gd name="T32" fmla="*/ 81 w 95"/>
                <a:gd name="T33" fmla="*/ 20 h 91"/>
                <a:gd name="T34" fmla="*/ 69 w 95"/>
                <a:gd name="T35" fmla="*/ 15 h 91"/>
                <a:gd name="T36" fmla="*/ 45 w 95"/>
                <a:gd name="T37" fmla="*/ 2 h 91"/>
                <a:gd name="T38" fmla="*/ 33 w 95"/>
                <a:gd name="T39" fmla="*/ 0 h 91"/>
                <a:gd name="T40" fmla="*/ 24 w 95"/>
                <a:gd name="T41" fmla="*/ 7 h 91"/>
                <a:gd name="T42" fmla="*/ 18 w 95"/>
                <a:gd name="T43" fmla="*/ 11 h 91"/>
                <a:gd name="T44" fmla="*/ 13 w 95"/>
                <a:gd name="T45" fmla="*/ 18 h 91"/>
                <a:gd name="T46" fmla="*/ 13 w 95"/>
                <a:gd name="T47" fmla="*/ 24 h 91"/>
                <a:gd name="T48" fmla="*/ 8 w 95"/>
                <a:gd name="T49" fmla="*/ 27 h 91"/>
                <a:gd name="T50" fmla="*/ 3 w 95"/>
                <a:gd name="T51" fmla="*/ 33 h 91"/>
                <a:gd name="T52" fmla="*/ 1 w 95"/>
                <a:gd name="T53" fmla="*/ 39 h 91"/>
                <a:gd name="T54" fmla="*/ 0 w 95"/>
                <a:gd name="T55" fmla="*/ 50 h 91"/>
                <a:gd name="T56" fmla="*/ 3 w 95"/>
                <a:gd name="T57" fmla="*/ 60 h 91"/>
                <a:gd name="T58" fmla="*/ 5 w 95"/>
                <a:gd name="T59" fmla="*/ 63 h 91"/>
                <a:gd name="T60" fmla="*/ 4 w 95"/>
                <a:gd name="T61" fmla="*/ 68 h 91"/>
                <a:gd name="T62" fmla="*/ 3 w 95"/>
                <a:gd name="T63" fmla="*/ 69 h 91"/>
                <a:gd name="T64" fmla="*/ 5 w 95"/>
                <a:gd name="T65" fmla="*/ 7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5" h="91">
                  <a:moveTo>
                    <a:pt x="7" y="73"/>
                  </a:moveTo>
                  <a:lnTo>
                    <a:pt x="7" y="73"/>
                  </a:lnTo>
                  <a:lnTo>
                    <a:pt x="3" y="81"/>
                  </a:lnTo>
                  <a:lnTo>
                    <a:pt x="1" y="85"/>
                  </a:lnTo>
                  <a:lnTo>
                    <a:pt x="1" y="85"/>
                  </a:lnTo>
                  <a:lnTo>
                    <a:pt x="5" y="85"/>
                  </a:lnTo>
                  <a:lnTo>
                    <a:pt x="10" y="85"/>
                  </a:lnTo>
                  <a:lnTo>
                    <a:pt x="13" y="86"/>
                  </a:lnTo>
                  <a:lnTo>
                    <a:pt x="13" y="86"/>
                  </a:lnTo>
                  <a:lnTo>
                    <a:pt x="17" y="88"/>
                  </a:lnTo>
                  <a:lnTo>
                    <a:pt x="21" y="91"/>
                  </a:lnTo>
                  <a:lnTo>
                    <a:pt x="27" y="91"/>
                  </a:lnTo>
                  <a:lnTo>
                    <a:pt x="32" y="91"/>
                  </a:lnTo>
                  <a:lnTo>
                    <a:pt x="32" y="91"/>
                  </a:lnTo>
                  <a:lnTo>
                    <a:pt x="33" y="88"/>
                  </a:lnTo>
                  <a:lnTo>
                    <a:pt x="37" y="81"/>
                  </a:lnTo>
                  <a:lnTo>
                    <a:pt x="40" y="73"/>
                  </a:lnTo>
                  <a:lnTo>
                    <a:pt x="43" y="71"/>
                  </a:lnTo>
                  <a:lnTo>
                    <a:pt x="46" y="69"/>
                  </a:lnTo>
                  <a:lnTo>
                    <a:pt x="46" y="69"/>
                  </a:lnTo>
                  <a:lnTo>
                    <a:pt x="63" y="65"/>
                  </a:lnTo>
                  <a:lnTo>
                    <a:pt x="72" y="60"/>
                  </a:lnTo>
                  <a:lnTo>
                    <a:pt x="75" y="59"/>
                  </a:lnTo>
                  <a:lnTo>
                    <a:pt x="78" y="57"/>
                  </a:lnTo>
                  <a:lnTo>
                    <a:pt x="78" y="57"/>
                  </a:lnTo>
                  <a:lnTo>
                    <a:pt x="81" y="53"/>
                  </a:lnTo>
                  <a:lnTo>
                    <a:pt x="87" y="49"/>
                  </a:lnTo>
                  <a:lnTo>
                    <a:pt x="91" y="44"/>
                  </a:lnTo>
                  <a:lnTo>
                    <a:pt x="94" y="39"/>
                  </a:lnTo>
                  <a:lnTo>
                    <a:pt x="94" y="39"/>
                  </a:lnTo>
                  <a:lnTo>
                    <a:pt x="95" y="33"/>
                  </a:lnTo>
                  <a:lnTo>
                    <a:pt x="94" y="23"/>
                  </a:lnTo>
                  <a:lnTo>
                    <a:pt x="94" y="23"/>
                  </a:lnTo>
                  <a:lnTo>
                    <a:pt x="81" y="20"/>
                  </a:lnTo>
                  <a:lnTo>
                    <a:pt x="69" y="15"/>
                  </a:lnTo>
                  <a:lnTo>
                    <a:pt x="69" y="15"/>
                  </a:lnTo>
                  <a:lnTo>
                    <a:pt x="55" y="8"/>
                  </a:lnTo>
                  <a:lnTo>
                    <a:pt x="45" y="2"/>
                  </a:lnTo>
                  <a:lnTo>
                    <a:pt x="33" y="0"/>
                  </a:lnTo>
                  <a:lnTo>
                    <a:pt x="33" y="0"/>
                  </a:lnTo>
                  <a:lnTo>
                    <a:pt x="29" y="4"/>
                  </a:lnTo>
                  <a:lnTo>
                    <a:pt x="24" y="7"/>
                  </a:lnTo>
                  <a:lnTo>
                    <a:pt x="24" y="7"/>
                  </a:lnTo>
                  <a:lnTo>
                    <a:pt x="18" y="11"/>
                  </a:lnTo>
                  <a:lnTo>
                    <a:pt x="16" y="14"/>
                  </a:lnTo>
                  <a:lnTo>
                    <a:pt x="13" y="18"/>
                  </a:lnTo>
                  <a:lnTo>
                    <a:pt x="13" y="18"/>
                  </a:lnTo>
                  <a:lnTo>
                    <a:pt x="13" y="24"/>
                  </a:lnTo>
                  <a:lnTo>
                    <a:pt x="11" y="26"/>
                  </a:lnTo>
                  <a:lnTo>
                    <a:pt x="8" y="27"/>
                  </a:lnTo>
                  <a:lnTo>
                    <a:pt x="8" y="27"/>
                  </a:lnTo>
                  <a:lnTo>
                    <a:pt x="3" y="33"/>
                  </a:lnTo>
                  <a:lnTo>
                    <a:pt x="1" y="36"/>
                  </a:lnTo>
                  <a:lnTo>
                    <a:pt x="1" y="39"/>
                  </a:lnTo>
                  <a:lnTo>
                    <a:pt x="1" y="39"/>
                  </a:lnTo>
                  <a:lnTo>
                    <a:pt x="0" y="50"/>
                  </a:lnTo>
                  <a:lnTo>
                    <a:pt x="1" y="56"/>
                  </a:lnTo>
                  <a:lnTo>
                    <a:pt x="3" y="60"/>
                  </a:lnTo>
                  <a:lnTo>
                    <a:pt x="3" y="60"/>
                  </a:lnTo>
                  <a:lnTo>
                    <a:pt x="5" y="63"/>
                  </a:lnTo>
                  <a:lnTo>
                    <a:pt x="5" y="65"/>
                  </a:lnTo>
                  <a:lnTo>
                    <a:pt x="4" y="68"/>
                  </a:lnTo>
                  <a:lnTo>
                    <a:pt x="4" y="69"/>
                  </a:lnTo>
                  <a:lnTo>
                    <a:pt x="3" y="69"/>
                  </a:lnTo>
                  <a:lnTo>
                    <a:pt x="3" y="69"/>
                  </a:lnTo>
                  <a:lnTo>
                    <a:pt x="5" y="72"/>
                  </a:lnTo>
                  <a:lnTo>
                    <a:pt x="7" y="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10" name="Freeform 666"/>
            <p:cNvSpPr>
              <a:spLocks/>
            </p:cNvSpPr>
            <p:nvPr/>
          </p:nvSpPr>
          <p:spPr bwMode="auto">
            <a:xfrm>
              <a:off x="2425700" y="5316967"/>
              <a:ext cx="506413" cy="998538"/>
            </a:xfrm>
            <a:custGeom>
              <a:avLst/>
              <a:gdLst>
                <a:gd name="T0" fmla="*/ 291 w 319"/>
                <a:gd name="T1" fmla="*/ 85 h 629"/>
                <a:gd name="T2" fmla="*/ 282 w 319"/>
                <a:gd name="T3" fmla="*/ 96 h 629"/>
                <a:gd name="T4" fmla="*/ 269 w 319"/>
                <a:gd name="T5" fmla="*/ 94 h 629"/>
                <a:gd name="T6" fmla="*/ 246 w 319"/>
                <a:gd name="T7" fmla="*/ 80 h 629"/>
                <a:gd name="T8" fmla="*/ 242 w 319"/>
                <a:gd name="T9" fmla="*/ 49 h 629"/>
                <a:gd name="T10" fmla="*/ 206 w 319"/>
                <a:gd name="T11" fmla="*/ 14 h 629"/>
                <a:gd name="T12" fmla="*/ 194 w 319"/>
                <a:gd name="T13" fmla="*/ 14 h 629"/>
                <a:gd name="T14" fmla="*/ 174 w 319"/>
                <a:gd name="T15" fmla="*/ 1 h 629"/>
                <a:gd name="T16" fmla="*/ 151 w 319"/>
                <a:gd name="T17" fmla="*/ 9 h 629"/>
                <a:gd name="T18" fmla="*/ 116 w 319"/>
                <a:gd name="T19" fmla="*/ 9 h 629"/>
                <a:gd name="T20" fmla="*/ 103 w 319"/>
                <a:gd name="T21" fmla="*/ 23 h 629"/>
                <a:gd name="T22" fmla="*/ 80 w 319"/>
                <a:gd name="T23" fmla="*/ 54 h 629"/>
                <a:gd name="T24" fmla="*/ 72 w 319"/>
                <a:gd name="T25" fmla="*/ 85 h 629"/>
                <a:gd name="T26" fmla="*/ 52 w 319"/>
                <a:gd name="T27" fmla="*/ 191 h 629"/>
                <a:gd name="T28" fmla="*/ 54 w 319"/>
                <a:gd name="T29" fmla="*/ 235 h 629"/>
                <a:gd name="T30" fmla="*/ 48 w 319"/>
                <a:gd name="T31" fmla="*/ 264 h 629"/>
                <a:gd name="T32" fmla="*/ 38 w 319"/>
                <a:gd name="T33" fmla="*/ 310 h 629"/>
                <a:gd name="T34" fmla="*/ 30 w 319"/>
                <a:gd name="T35" fmla="*/ 340 h 629"/>
                <a:gd name="T36" fmla="*/ 23 w 319"/>
                <a:gd name="T37" fmla="*/ 388 h 629"/>
                <a:gd name="T38" fmla="*/ 30 w 319"/>
                <a:gd name="T39" fmla="*/ 416 h 629"/>
                <a:gd name="T40" fmla="*/ 25 w 319"/>
                <a:gd name="T41" fmla="*/ 429 h 629"/>
                <a:gd name="T42" fmla="*/ 38 w 319"/>
                <a:gd name="T43" fmla="*/ 442 h 629"/>
                <a:gd name="T44" fmla="*/ 33 w 319"/>
                <a:gd name="T45" fmla="*/ 452 h 629"/>
                <a:gd name="T46" fmla="*/ 26 w 319"/>
                <a:gd name="T47" fmla="*/ 465 h 629"/>
                <a:gd name="T48" fmla="*/ 28 w 319"/>
                <a:gd name="T49" fmla="*/ 501 h 629"/>
                <a:gd name="T50" fmla="*/ 19 w 319"/>
                <a:gd name="T51" fmla="*/ 531 h 629"/>
                <a:gd name="T52" fmla="*/ 0 w 319"/>
                <a:gd name="T53" fmla="*/ 566 h 629"/>
                <a:gd name="T54" fmla="*/ 9 w 319"/>
                <a:gd name="T55" fmla="*/ 589 h 629"/>
                <a:gd name="T56" fmla="*/ 20 w 319"/>
                <a:gd name="T57" fmla="*/ 589 h 629"/>
                <a:gd name="T58" fmla="*/ 25 w 319"/>
                <a:gd name="T59" fmla="*/ 618 h 629"/>
                <a:gd name="T60" fmla="*/ 70 w 319"/>
                <a:gd name="T61" fmla="*/ 624 h 629"/>
                <a:gd name="T62" fmla="*/ 77 w 319"/>
                <a:gd name="T63" fmla="*/ 627 h 629"/>
                <a:gd name="T64" fmla="*/ 77 w 319"/>
                <a:gd name="T65" fmla="*/ 617 h 629"/>
                <a:gd name="T66" fmla="*/ 71 w 319"/>
                <a:gd name="T67" fmla="*/ 594 h 629"/>
                <a:gd name="T68" fmla="*/ 80 w 319"/>
                <a:gd name="T69" fmla="*/ 589 h 629"/>
                <a:gd name="T70" fmla="*/ 78 w 319"/>
                <a:gd name="T71" fmla="*/ 581 h 629"/>
                <a:gd name="T72" fmla="*/ 90 w 319"/>
                <a:gd name="T73" fmla="*/ 579 h 629"/>
                <a:gd name="T74" fmla="*/ 98 w 319"/>
                <a:gd name="T75" fmla="*/ 559 h 629"/>
                <a:gd name="T76" fmla="*/ 106 w 319"/>
                <a:gd name="T77" fmla="*/ 534 h 629"/>
                <a:gd name="T78" fmla="*/ 123 w 319"/>
                <a:gd name="T79" fmla="*/ 524 h 629"/>
                <a:gd name="T80" fmla="*/ 126 w 319"/>
                <a:gd name="T81" fmla="*/ 500 h 629"/>
                <a:gd name="T82" fmla="*/ 97 w 319"/>
                <a:gd name="T83" fmla="*/ 475 h 629"/>
                <a:gd name="T84" fmla="*/ 117 w 319"/>
                <a:gd name="T85" fmla="*/ 452 h 629"/>
                <a:gd name="T86" fmla="*/ 132 w 319"/>
                <a:gd name="T87" fmla="*/ 443 h 629"/>
                <a:gd name="T88" fmla="*/ 139 w 319"/>
                <a:gd name="T89" fmla="*/ 416 h 629"/>
                <a:gd name="T90" fmla="*/ 149 w 319"/>
                <a:gd name="T91" fmla="*/ 401 h 629"/>
                <a:gd name="T92" fmla="*/ 151 w 319"/>
                <a:gd name="T93" fmla="*/ 390 h 629"/>
                <a:gd name="T94" fmla="*/ 139 w 319"/>
                <a:gd name="T95" fmla="*/ 368 h 629"/>
                <a:gd name="T96" fmla="*/ 156 w 319"/>
                <a:gd name="T97" fmla="*/ 363 h 629"/>
                <a:gd name="T98" fmla="*/ 184 w 319"/>
                <a:gd name="T99" fmla="*/ 361 h 629"/>
                <a:gd name="T100" fmla="*/ 185 w 319"/>
                <a:gd name="T101" fmla="*/ 343 h 629"/>
                <a:gd name="T102" fmla="*/ 187 w 319"/>
                <a:gd name="T103" fmla="*/ 323 h 629"/>
                <a:gd name="T104" fmla="*/ 227 w 319"/>
                <a:gd name="T105" fmla="*/ 317 h 629"/>
                <a:gd name="T106" fmla="*/ 265 w 319"/>
                <a:gd name="T107" fmla="*/ 298 h 629"/>
                <a:gd name="T108" fmla="*/ 274 w 319"/>
                <a:gd name="T109" fmla="*/ 269 h 629"/>
                <a:gd name="T110" fmla="*/ 264 w 319"/>
                <a:gd name="T111" fmla="*/ 259 h 629"/>
                <a:gd name="T112" fmla="*/ 248 w 319"/>
                <a:gd name="T113" fmla="*/ 230 h 629"/>
                <a:gd name="T114" fmla="*/ 248 w 319"/>
                <a:gd name="T115" fmla="*/ 223 h 629"/>
                <a:gd name="T116" fmla="*/ 255 w 319"/>
                <a:gd name="T117" fmla="*/ 175 h 629"/>
                <a:gd name="T118" fmla="*/ 265 w 319"/>
                <a:gd name="T119" fmla="*/ 143 h 629"/>
                <a:gd name="T120" fmla="*/ 281 w 319"/>
                <a:gd name="T121" fmla="*/ 119 h 629"/>
                <a:gd name="T122" fmla="*/ 319 w 319"/>
                <a:gd name="T123" fmla="*/ 84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9" h="629">
                  <a:moveTo>
                    <a:pt x="311" y="65"/>
                  </a:moveTo>
                  <a:lnTo>
                    <a:pt x="311" y="65"/>
                  </a:lnTo>
                  <a:lnTo>
                    <a:pt x="304" y="61"/>
                  </a:lnTo>
                  <a:lnTo>
                    <a:pt x="304" y="61"/>
                  </a:lnTo>
                  <a:lnTo>
                    <a:pt x="297" y="75"/>
                  </a:lnTo>
                  <a:lnTo>
                    <a:pt x="291" y="85"/>
                  </a:lnTo>
                  <a:lnTo>
                    <a:pt x="291" y="85"/>
                  </a:lnTo>
                  <a:lnTo>
                    <a:pt x="291" y="90"/>
                  </a:lnTo>
                  <a:lnTo>
                    <a:pt x="288" y="96"/>
                  </a:lnTo>
                  <a:lnTo>
                    <a:pt x="285" y="97"/>
                  </a:lnTo>
                  <a:lnTo>
                    <a:pt x="284" y="97"/>
                  </a:lnTo>
                  <a:lnTo>
                    <a:pt x="282" y="96"/>
                  </a:lnTo>
                  <a:lnTo>
                    <a:pt x="282" y="96"/>
                  </a:lnTo>
                  <a:lnTo>
                    <a:pt x="280" y="93"/>
                  </a:lnTo>
                  <a:lnTo>
                    <a:pt x="277" y="93"/>
                  </a:lnTo>
                  <a:lnTo>
                    <a:pt x="274" y="94"/>
                  </a:lnTo>
                  <a:lnTo>
                    <a:pt x="269" y="94"/>
                  </a:lnTo>
                  <a:lnTo>
                    <a:pt x="269" y="94"/>
                  </a:lnTo>
                  <a:lnTo>
                    <a:pt x="255" y="94"/>
                  </a:lnTo>
                  <a:lnTo>
                    <a:pt x="246" y="93"/>
                  </a:lnTo>
                  <a:lnTo>
                    <a:pt x="245" y="91"/>
                  </a:lnTo>
                  <a:lnTo>
                    <a:pt x="245" y="88"/>
                  </a:lnTo>
                  <a:lnTo>
                    <a:pt x="245" y="88"/>
                  </a:lnTo>
                  <a:lnTo>
                    <a:pt x="246" y="80"/>
                  </a:lnTo>
                  <a:lnTo>
                    <a:pt x="251" y="71"/>
                  </a:lnTo>
                  <a:lnTo>
                    <a:pt x="255" y="62"/>
                  </a:lnTo>
                  <a:lnTo>
                    <a:pt x="255" y="59"/>
                  </a:lnTo>
                  <a:lnTo>
                    <a:pt x="255" y="58"/>
                  </a:lnTo>
                  <a:lnTo>
                    <a:pt x="255" y="58"/>
                  </a:lnTo>
                  <a:lnTo>
                    <a:pt x="242" y="49"/>
                  </a:lnTo>
                  <a:lnTo>
                    <a:pt x="226" y="39"/>
                  </a:lnTo>
                  <a:lnTo>
                    <a:pt x="226" y="39"/>
                  </a:lnTo>
                  <a:lnTo>
                    <a:pt x="219" y="32"/>
                  </a:lnTo>
                  <a:lnTo>
                    <a:pt x="213" y="23"/>
                  </a:lnTo>
                  <a:lnTo>
                    <a:pt x="207" y="17"/>
                  </a:lnTo>
                  <a:lnTo>
                    <a:pt x="206" y="14"/>
                  </a:lnTo>
                  <a:lnTo>
                    <a:pt x="203" y="14"/>
                  </a:lnTo>
                  <a:lnTo>
                    <a:pt x="203" y="14"/>
                  </a:lnTo>
                  <a:lnTo>
                    <a:pt x="200" y="16"/>
                  </a:lnTo>
                  <a:lnTo>
                    <a:pt x="197" y="16"/>
                  </a:lnTo>
                  <a:lnTo>
                    <a:pt x="196" y="17"/>
                  </a:lnTo>
                  <a:lnTo>
                    <a:pt x="194" y="14"/>
                  </a:lnTo>
                  <a:lnTo>
                    <a:pt x="194" y="14"/>
                  </a:lnTo>
                  <a:lnTo>
                    <a:pt x="190" y="10"/>
                  </a:lnTo>
                  <a:lnTo>
                    <a:pt x="185" y="7"/>
                  </a:lnTo>
                  <a:lnTo>
                    <a:pt x="180" y="3"/>
                  </a:lnTo>
                  <a:lnTo>
                    <a:pt x="174" y="1"/>
                  </a:lnTo>
                  <a:lnTo>
                    <a:pt x="174" y="1"/>
                  </a:lnTo>
                  <a:lnTo>
                    <a:pt x="162" y="0"/>
                  </a:lnTo>
                  <a:lnTo>
                    <a:pt x="158" y="0"/>
                  </a:lnTo>
                  <a:lnTo>
                    <a:pt x="154" y="3"/>
                  </a:lnTo>
                  <a:lnTo>
                    <a:pt x="154" y="3"/>
                  </a:lnTo>
                  <a:lnTo>
                    <a:pt x="152" y="6"/>
                  </a:lnTo>
                  <a:lnTo>
                    <a:pt x="151" y="9"/>
                  </a:lnTo>
                  <a:lnTo>
                    <a:pt x="149" y="11"/>
                  </a:lnTo>
                  <a:lnTo>
                    <a:pt x="146" y="13"/>
                  </a:lnTo>
                  <a:lnTo>
                    <a:pt x="146" y="13"/>
                  </a:lnTo>
                  <a:lnTo>
                    <a:pt x="130" y="10"/>
                  </a:lnTo>
                  <a:lnTo>
                    <a:pt x="122" y="9"/>
                  </a:lnTo>
                  <a:lnTo>
                    <a:pt x="116" y="9"/>
                  </a:lnTo>
                  <a:lnTo>
                    <a:pt x="116" y="9"/>
                  </a:lnTo>
                  <a:lnTo>
                    <a:pt x="96" y="22"/>
                  </a:lnTo>
                  <a:lnTo>
                    <a:pt x="96" y="22"/>
                  </a:lnTo>
                  <a:lnTo>
                    <a:pt x="100" y="22"/>
                  </a:lnTo>
                  <a:lnTo>
                    <a:pt x="103" y="23"/>
                  </a:lnTo>
                  <a:lnTo>
                    <a:pt x="103" y="23"/>
                  </a:lnTo>
                  <a:lnTo>
                    <a:pt x="103" y="26"/>
                  </a:lnTo>
                  <a:lnTo>
                    <a:pt x="101" y="29"/>
                  </a:lnTo>
                  <a:lnTo>
                    <a:pt x="96" y="38"/>
                  </a:lnTo>
                  <a:lnTo>
                    <a:pt x="87" y="46"/>
                  </a:lnTo>
                  <a:lnTo>
                    <a:pt x="80" y="54"/>
                  </a:lnTo>
                  <a:lnTo>
                    <a:pt x="80" y="54"/>
                  </a:lnTo>
                  <a:lnTo>
                    <a:pt x="78" y="56"/>
                  </a:lnTo>
                  <a:lnTo>
                    <a:pt x="75" y="61"/>
                  </a:lnTo>
                  <a:lnTo>
                    <a:pt x="74" y="69"/>
                  </a:lnTo>
                  <a:lnTo>
                    <a:pt x="72" y="78"/>
                  </a:lnTo>
                  <a:lnTo>
                    <a:pt x="72" y="85"/>
                  </a:lnTo>
                  <a:lnTo>
                    <a:pt x="72" y="85"/>
                  </a:lnTo>
                  <a:lnTo>
                    <a:pt x="62" y="122"/>
                  </a:lnTo>
                  <a:lnTo>
                    <a:pt x="51" y="158"/>
                  </a:lnTo>
                  <a:lnTo>
                    <a:pt x="51" y="158"/>
                  </a:lnTo>
                  <a:lnTo>
                    <a:pt x="49" y="166"/>
                  </a:lnTo>
                  <a:lnTo>
                    <a:pt x="51" y="175"/>
                  </a:lnTo>
                  <a:lnTo>
                    <a:pt x="52" y="191"/>
                  </a:lnTo>
                  <a:lnTo>
                    <a:pt x="52" y="191"/>
                  </a:lnTo>
                  <a:lnTo>
                    <a:pt x="54" y="213"/>
                  </a:lnTo>
                  <a:lnTo>
                    <a:pt x="55" y="226"/>
                  </a:lnTo>
                  <a:lnTo>
                    <a:pt x="54" y="230"/>
                  </a:lnTo>
                  <a:lnTo>
                    <a:pt x="54" y="235"/>
                  </a:lnTo>
                  <a:lnTo>
                    <a:pt x="54" y="235"/>
                  </a:lnTo>
                  <a:lnTo>
                    <a:pt x="52" y="240"/>
                  </a:lnTo>
                  <a:lnTo>
                    <a:pt x="51" y="248"/>
                  </a:lnTo>
                  <a:lnTo>
                    <a:pt x="51" y="256"/>
                  </a:lnTo>
                  <a:lnTo>
                    <a:pt x="49" y="261"/>
                  </a:lnTo>
                  <a:lnTo>
                    <a:pt x="48" y="264"/>
                  </a:lnTo>
                  <a:lnTo>
                    <a:pt x="48" y="264"/>
                  </a:lnTo>
                  <a:lnTo>
                    <a:pt x="43" y="268"/>
                  </a:lnTo>
                  <a:lnTo>
                    <a:pt x="41" y="274"/>
                  </a:lnTo>
                  <a:lnTo>
                    <a:pt x="38" y="281"/>
                  </a:lnTo>
                  <a:lnTo>
                    <a:pt x="36" y="290"/>
                  </a:lnTo>
                  <a:lnTo>
                    <a:pt x="36" y="290"/>
                  </a:lnTo>
                  <a:lnTo>
                    <a:pt x="38" y="310"/>
                  </a:lnTo>
                  <a:lnTo>
                    <a:pt x="38" y="319"/>
                  </a:lnTo>
                  <a:lnTo>
                    <a:pt x="36" y="323"/>
                  </a:lnTo>
                  <a:lnTo>
                    <a:pt x="36" y="323"/>
                  </a:lnTo>
                  <a:lnTo>
                    <a:pt x="33" y="330"/>
                  </a:lnTo>
                  <a:lnTo>
                    <a:pt x="32" y="336"/>
                  </a:lnTo>
                  <a:lnTo>
                    <a:pt x="30" y="340"/>
                  </a:lnTo>
                  <a:lnTo>
                    <a:pt x="30" y="340"/>
                  </a:lnTo>
                  <a:lnTo>
                    <a:pt x="29" y="348"/>
                  </a:lnTo>
                  <a:lnTo>
                    <a:pt x="28" y="356"/>
                  </a:lnTo>
                  <a:lnTo>
                    <a:pt x="28" y="356"/>
                  </a:lnTo>
                  <a:lnTo>
                    <a:pt x="26" y="374"/>
                  </a:lnTo>
                  <a:lnTo>
                    <a:pt x="23" y="388"/>
                  </a:lnTo>
                  <a:lnTo>
                    <a:pt x="23" y="388"/>
                  </a:lnTo>
                  <a:lnTo>
                    <a:pt x="23" y="394"/>
                  </a:lnTo>
                  <a:lnTo>
                    <a:pt x="25" y="400"/>
                  </a:lnTo>
                  <a:lnTo>
                    <a:pt x="29" y="411"/>
                  </a:lnTo>
                  <a:lnTo>
                    <a:pt x="29" y="411"/>
                  </a:lnTo>
                  <a:lnTo>
                    <a:pt x="30" y="416"/>
                  </a:lnTo>
                  <a:lnTo>
                    <a:pt x="29" y="419"/>
                  </a:lnTo>
                  <a:lnTo>
                    <a:pt x="26" y="420"/>
                  </a:lnTo>
                  <a:lnTo>
                    <a:pt x="25" y="424"/>
                  </a:lnTo>
                  <a:lnTo>
                    <a:pt x="25" y="424"/>
                  </a:lnTo>
                  <a:lnTo>
                    <a:pt x="23" y="427"/>
                  </a:lnTo>
                  <a:lnTo>
                    <a:pt x="25" y="429"/>
                  </a:lnTo>
                  <a:lnTo>
                    <a:pt x="28" y="433"/>
                  </a:lnTo>
                  <a:lnTo>
                    <a:pt x="32" y="436"/>
                  </a:lnTo>
                  <a:lnTo>
                    <a:pt x="36" y="439"/>
                  </a:lnTo>
                  <a:lnTo>
                    <a:pt x="36" y="439"/>
                  </a:lnTo>
                  <a:lnTo>
                    <a:pt x="38" y="442"/>
                  </a:lnTo>
                  <a:lnTo>
                    <a:pt x="38" y="442"/>
                  </a:lnTo>
                  <a:lnTo>
                    <a:pt x="33" y="443"/>
                  </a:lnTo>
                  <a:lnTo>
                    <a:pt x="28" y="445"/>
                  </a:lnTo>
                  <a:lnTo>
                    <a:pt x="28" y="445"/>
                  </a:lnTo>
                  <a:lnTo>
                    <a:pt x="26" y="446"/>
                  </a:lnTo>
                  <a:lnTo>
                    <a:pt x="28" y="446"/>
                  </a:lnTo>
                  <a:lnTo>
                    <a:pt x="33" y="452"/>
                  </a:lnTo>
                  <a:lnTo>
                    <a:pt x="33" y="452"/>
                  </a:lnTo>
                  <a:lnTo>
                    <a:pt x="35" y="453"/>
                  </a:lnTo>
                  <a:lnTo>
                    <a:pt x="33" y="455"/>
                  </a:lnTo>
                  <a:lnTo>
                    <a:pt x="30" y="459"/>
                  </a:lnTo>
                  <a:lnTo>
                    <a:pt x="28" y="462"/>
                  </a:lnTo>
                  <a:lnTo>
                    <a:pt x="26" y="465"/>
                  </a:lnTo>
                  <a:lnTo>
                    <a:pt x="28" y="468"/>
                  </a:lnTo>
                  <a:lnTo>
                    <a:pt x="28" y="468"/>
                  </a:lnTo>
                  <a:lnTo>
                    <a:pt x="28" y="475"/>
                  </a:lnTo>
                  <a:lnTo>
                    <a:pt x="29" y="485"/>
                  </a:lnTo>
                  <a:lnTo>
                    <a:pt x="28" y="497"/>
                  </a:lnTo>
                  <a:lnTo>
                    <a:pt x="28" y="501"/>
                  </a:lnTo>
                  <a:lnTo>
                    <a:pt x="26" y="504"/>
                  </a:lnTo>
                  <a:lnTo>
                    <a:pt x="26" y="504"/>
                  </a:lnTo>
                  <a:lnTo>
                    <a:pt x="22" y="511"/>
                  </a:lnTo>
                  <a:lnTo>
                    <a:pt x="20" y="518"/>
                  </a:lnTo>
                  <a:lnTo>
                    <a:pt x="19" y="531"/>
                  </a:lnTo>
                  <a:lnTo>
                    <a:pt x="19" y="531"/>
                  </a:lnTo>
                  <a:lnTo>
                    <a:pt x="17" y="537"/>
                  </a:lnTo>
                  <a:lnTo>
                    <a:pt x="14" y="543"/>
                  </a:lnTo>
                  <a:lnTo>
                    <a:pt x="4" y="558"/>
                  </a:lnTo>
                  <a:lnTo>
                    <a:pt x="4" y="558"/>
                  </a:lnTo>
                  <a:lnTo>
                    <a:pt x="1" y="562"/>
                  </a:lnTo>
                  <a:lnTo>
                    <a:pt x="0" y="566"/>
                  </a:lnTo>
                  <a:lnTo>
                    <a:pt x="0" y="575"/>
                  </a:lnTo>
                  <a:lnTo>
                    <a:pt x="1" y="584"/>
                  </a:lnTo>
                  <a:lnTo>
                    <a:pt x="3" y="588"/>
                  </a:lnTo>
                  <a:lnTo>
                    <a:pt x="3" y="588"/>
                  </a:lnTo>
                  <a:lnTo>
                    <a:pt x="6" y="589"/>
                  </a:lnTo>
                  <a:lnTo>
                    <a:pt x="9" y="589"/>
                  </a:lnTo>
                  <a:lnTo>
                    <a:pt x="14" y="585"/>
                  </a:lnTo>
                  <a:lnTo>
                    <a:pt x="14" y="585"/>
                  </a:lnTo>
                  <a:lnTo>
                    <a:pt x="17" y="584"/>
                  </a:lnTo>
                  <a:lnTo>
                    <a:pt x="19" y="584"/>
                  </a:lnTo>
                  <a:lnTo>
                    <a:pt x="20" y="585"/>
                  </a:lnTo>
                  <a:lnTo>
                    <a:pt x="20" y="589"/>
                  </a:lnTo>
                  <a:lnTo>
                    <a:pt x="20" y="589"/>
                  </a:lnTo>
                  <a:lnTo>
                    <a:pt x="20" y="602"/>
                  </a:lnTo>
                  <a:lnTo>
                    <a:pt x="20" y="610"/>
                  </a:lnTo>
                  <a:lnTo>
                    <a:pt x="23" y="617"/>
                  </a:lnTo>
                  <a:lnTo>
                    <a:pt x="23" y="617"/>
                  </a:lnTo>
                  <a:lnTo>
                    <a:pt x="25" y="618"/>
                  </a:lnTo>
                  <a:lnTo>
                    <a:pt x="28" y="620"/>
                  </a:lnTo>
                  <a:lnTo>
                    <a:pt x="35" y="621"/>
                  </a:lnTo>
                  <a:lnTo>
                    <a:pt x="51" y="621"/>
                  </a:lnTo>
                  <a:lnTo>
                    <a:pt x="51" y="621"/>
                  </a:lnTo>
                  <a:lnTo>
                    <a:pt x="61" y="623"/>
                  </a:lnTo>
                  <a:lnTo>
                    <a:pt x="70" y="624"/>
                  </a:lnTo>
                  <a:lnTo>
                    <a:pt x="70" y="624"/>
                  </a:lnTo>
                  <a:lnTo>
                    <a:pt x="72" y="624"/>
                  </a:lnTo>
                  <a:lnTo>
                    <a:pt x="75" y="626"/>
                  </a:lnTo>
                  <a:lnTo>
                    <a:pt x="75" y="626"/>
                  </a:lnTo>
                  <a:lnTo>
                    <a:pt x="77" y="627"/>
                  </a:lnTo>
                  <a:lnTo>
                    <a:pt x="77" y="627"/>
                  </a:lnTo>
                  <a:lnTo>
                    <a:pt x="80" y="629"/>
                  </a:lnTo>
                  <a:lnTo>
                    <a:pt x="80" y="629"/>
                  </a:lnTo>
                  <a:lnTo>
                    <a:pt x="83" y="629"/>
                  </a:lnTo>
                  <a:lnTo>
                    <a:pt x="81" y="626"/>
                  </a:lnTo>
                  <a:lnTo>
                    <a:pt x="81" y="626"/>
                  </a:lnTo>
                  <a:lnTo>
                    <a:pt x="77" y="617"/>
                  </a:lnTo>
                  <a:lnTo>
                    <a:pt x="77" y="610"/>
                  </a:lnTo>
                  <a:lnTo>
                    <a:pt x="77" y="610"/>
                  </a:lnTo>
                  <a:lnTo>
                    <a:pt x="75" y="605"/>
                  </a:lnTo>
                  <a:lnTo>
                    <a:pt x="72" y="601"/>
                  </a:lnTo>
                  <a:lnTo>
                    <a:pt x="71" y="597"/>
                  </a:lnTo>
                  <a:lnTo>
                    <a:pt x="71" y="594"/>
                  </a:lnTo>
                  <a:lnTo>
                    <a:pt x="71" y="594"/>
                  </a:lnTo>
                  <a:lnTo>
                    <a:pt x="74" y="592"/>
                  </a:lnTo>
                  <a:lnTo>
                    <a:pt x="77" y="592"/>
                  </a:lnTo>
                  <a:lnTo>
                    <a:pt x="78" y="591"/>
                  </a:lnTo>
                  <a:lnTo>
                    <a:pt x="80" y="589"/>
                  </a:lnTo>
                  <a:lnTo>
                    <a:pt x="80" y="589"/>
                  </a:lnTo>
                  <a:lnTo>
                    <a:pt x="78" y="587"/>
                  </a:lnTo>
                  <a:lnTo>
                    <a:pt x="75" y="584"/>
                  </a:lnTo>
                  <a:lnTo>
                    <a:pt x="75" y="582"/>
                  </a:lnTo>
                  <a:lnTo>
                    <a:pt x="77" y="581"/>
                  </a:lnTo>
                  <a:lnTo>
                    <a:pt x="77" y="581"/>
                  </a:lnTo>
                  <a:lnTo>
                    <a:pt x="78" y="581"/>
                  </a:lnTo>
                  <a:lnTo>
                    <a:pt x="80" y="582"/>
                  </a:lnTo>
                  <a:lnTo>
                    <a:pt x="81" y="584"/>
                  </a:lnTo>
                  <a:lnTo>
                    <a:pt x="84" y="582"/>
                  </a:lnTo>
                  <a:lnTo>
                    <a:pt x="84" y="582"/>
                  </a:lnTo>
                  <a:lnTo>
                    <a:pt x="88" y="581"/>
                  </a:lnTo>
                  <a:lnTo>
                    <a:pt x="90" y="579"/>
                  </a:lnTo>
                  <a:lnTo>
                    <a:pt x="90" y="576"/>
                  </a:lnTo>
                  <a:lnTo>
                    <a:pt x="91" y="575"/>
                  </a:lnTo>
                  <a:lnTo>
                    <a:pt x="91" y="575"/>
                  </a:lnTo>
                  <a:lnTo>
                    <a:pt x="94" y="571"/>
                  </a:lnTo>
                  <a:lnTo>
                    <a:pt x="97" y="566"/>
                  </a:lnTo>
                  <a:lnTo>
                    <a:pt x="98" y="559"/>
                  </a:lnTo>
                  <a:lnTo>
                    <a:pt x="98" y="553"/>
                  </a:lnTo>
                  <a:lnTo>
                    <a:pt x="98" y="553"/>
                  </a:lnTo>
                  <a:lnTo>
                    <a:pt x="98" y="550"/>
                  </a:lnTo>
                  <a:lnTo>
                    <a:pt x="98" y="547"/>
                  </a:lnTo>
                  <a:lnTo>
                    <a:pt x="101" y="540"/>
                  </a:lnTo>
                  <a:lnTo>
                    <a:pt x="106" y="534"/>
                  </a:lnTo>
                  <a:lnTo>
                    <a:pt x="112" y="531"/>
                  </a:lnTo>
                  <a:lnTo>
                    <a:pt x="112" y="531"/>
                  </a:lnTo>
                  <a:lnTo>
                    <a:pt x="114" y="530"/>
                  </a:lnTo>
                  <a:lnTo>
                    <a:pt x="119" y="527"/>
                  </a:lnTo>
                  <a:lnTo>
                    <a:pt x="123" y="524"/>
                  </a:lnTo>
                  <a:lnTo>
                    <a:pt x="123" y="524"/>
                  </a:lnTo>
                  <a:lnTo>
                    <a:pt x="126" y="520"/>
                  </a:lnTo>
                  <a:lnTo>
                    <a:pt x="127" y="513"/>
                  </a:lnTo>
                  <a:lnTo>
                    <a:pt x="127" y="505"/>
                  </a:lnTo>
                  <a:lnTo>
                    <a:pt x="126" y="503"/>
                  </a:lnTo>
                  <a:lnTo>
                    <a:pt x="126" y="500"/>
                  </a:lnTo>
                  <a:lnTo>
                    <a:pt x="126" y="500"/>
                  </a:lnTo>
                  <a:lnTo>
                    <a:pt x="112" y="494"/>
                  </a:lnTo>
                  <a:lnTo>
                    <a:pt x="112" y="494"/>
                  </a:lnTo>
                  <a:lnTo>
                    <a:pt x="106" y="489"/>
                  </a:lnTo>
                  <a:lnTo>
                    <a:pt x="101" y="484"/>
                  </a:lnTo>
                  <a:lnTo>
                    <a:pt x="97" y="478"/>
                  </a:lnTo>
                  <a:lnTo>
                    <a:pt x="97" y="475"/>
                  </a:lnTo>
                  <a:lnTo>
                    <a:pt x="97" y="474"/>
                  </a:lnTo>
                  <a:lnTo>
                    <a:pt x="97" y="474"/>
                  </a:lnTo>
                  <a:lnTo>
                    <a:pt x="106" y="459"/>
                  </a:lnTo>
                  <a:lnTo>
                    <a:pt x="106" y="459"/>
                  </a:lnTo>
                  <a:lnTo>
                    <a:pt x="110" y="456"/>
                  </a:lnTo>
                  <a:lnTo>
                    <a:pt x="117" y="452"/>
                  </a:lnTo>
                  <a:lnTo>
                    <a:pt x="126" y="449"/>
                  </a:lnTo>
                  <a:lnTo>
                    <a:pt x="126" y="449"/>
                  </a:lnTo>
                  <a:lnTo>
                    <a:pt x="129" y="449"/>
                  </a:lnTo>
                  <a:lnTo>
                    <a:pt x="129" y="446"/>
                  </a:lnTo>
                  <a:lnTo>
                    <a:pt x="132" y="443"/>
                  </a:lnTo>
                  <a:lnTo>
                    <a:pt x="132" y="443"/>
                  </a:lnTo>
                  <a:lnTo>
                    <a:pt x="135" y="439"/>
                  </a:lnTo>
                  <a:lnTo>
                    <a:pt x="138" y="436"/>
                  </a:lnTo>
                  <a:lnTo>
                    <a:pt x="138" y="436"/>
                  </a:lnTo>
                  <a:lnTo>
                    <a:pt x="138" y="426"/>
                  </a:lnTo>
                  <a:lnTo>
                    <a:pt x="138" y="420"/>
                  </a:lnTo>
                  <a:lnTo>
                    <a:pt x="139" y="416"/>
                  </a:lnTo>
                  <a:lnTo>
                    <a:pt x="139" y="416"/>
                  </a:lnTo>
                  <a:lnTo>
                    <a:pt x="146" y="407"/>
                  </a:lnTo>
                  <a:lnTo>
                    <a:pt x="149" y="404"/>
                  </a:lnTo>
                  <a:lnTo>
                    <a:pt x="151" y="403"/>
                  </a:lnTo>
                  <a:lnTo>
                    <a:pt x="149" y="401"/>
                  </a:lnTo>
                  <a:lnTo>
                    <a:pt x="149" y="401"/>
                  </a:lnTo>
                  <a:lnTo>
                    <a:pt x="145" y="400"/>
                  </a:lnTo>
                  <a:lnTo>
                    <a:pt x="143" y="398"/>
                  </a:lnTo>
                  <a:lnTo>
                    <a:pt x="143" y="397"/>
                  </a:lnTo>
                  <a:lnTo>
                    <a:pt x="143" y="397"/>
                  </a:lnTo>
                  <a:lnTo>
                    <a:pt x="149" y="392"/>
                  </a:lnTo>
                  <a:lnTo>
                    <a:pt x="151" y="390"/>
                  </a:lnTo>
                  <a:lnTo>
                    <a:pt x="149" y="388"/>
                  </a:lnTo>
                  <a:lnTo>
                    <a:pt x="149" y="388"/>
                  </a:lnTo>
                  <a:lnTo>
                    <a:pt x="143" y="379"/>
                  </a:lnTo>
                  <a:lnTo>
                    <a:pt x="140" y="374"/>
                  </a:lnTo>
                  <a:lnTo>
                    <a:pt x="139" y="368"/>
                  </a:lnTo>
                  <a:lnTo>
                    <a:pt x="139" y="368"/>
                  </a:lnTo>
                  <a:lnTo>
                    <a:pt x="138" y="363"/>
                  </a:lnTo>
                  <a:lnTo>
                    <a:pt x="139" y="361"/>
                  </a:lnTo>
                  <a:lnTo>
                    <a:pt x="142" y="359"/>
                  </a:lnTo>
                  <a:lnTo>
                    <a:pt x="145" y="359"/>
                  </a:lnTo>
                  <a:lnTo>
                    <a:pt x="145" y="359"/>
                  </a:lnTo>
                  <a:lnTo>
                    <a:pt x="156" y="363"/>
                  </a:lnTo>
                  <a:lnTo>
                    <a:pt x="162" y="366"/>
                  </a:lnTo>
                  <a:lnTo>
                    <a:pt x="168" y="366"/>
                  </a:lnTo>
                  <a:lnTo>
                    <a:pt x="168" y="366"/>
                  </a:lnTo>
                  <a:lnTo>
                    <a:pt x="177" y="365"/>
                  </a:lnTo>
                  <a:lnTo>
                    <a:pt x="181" y="363"/>
                  </a:lnTo>
                  <a:lnTo>
                    <a:pt x="184" y="361"/>
                  </a:lnTo>
                  <a:lnTo>
                    <a:pt x="184" y="361"/>
                  </a:lnTo>
                  <a:lnTo>
                    <a:pt x="185" y="356"/>
                  </a:lnTo>
                  <a:lnTo>
                    <a:pt x="185" y="352"/>
                  </a:lnTo>
                  <a:lnTo>
                    <a:pt x="185" y="348"/>
                  </a:lnTo>
                  <a:lnTo>
                    <a:pt x="185" y="343"/>
                  </a:lnTo>
                  <a:lnTo>
                    <a:pt x="185" y="343"/>
                  </a:lnTo>
                  <a:lnTo>
                    <a:pt x="185" y="337"/>
                  </a:lnTo>
                  <a:lnTo>
                    <a:pt x="185" y="332"/>
                  </a:lnTo>
                  <a:lnTo>
                    <a:pt x="185" y="327"/>
                  </a:lnTo>
                  <a:lnTo>
                    <a:pt x="185" y="324"/>
                  </a:lnTo>
                  <a:lnTo>
                    <a:pt x="187" y="323"/>
                  </a:lnTo>
                  <a:lnTo>
                    <a:pt x="187" y="323"/>
                  </a:lnTo>
                  <a:lnTo>
                    <a:pt x="193" y="320"/>
                  </a:lnTo>
                  <a:lnTo>
                    <a:pt x="201" y="320"/>
                  </a:lnTo>
                  <a:lnTo>
                    <a:pt x="201" y="320"/>
                  </a:lnTo>
                  <a:lnTo>
                    <a:pt x="214" y="319"/>
                  </a:lnTo>
                  <a:lnTo>
                    <a:pt x="227" y="317"/>
                  </a:lnTo>
                  <a:lnTo>
                    <a:pt x="227" y="317"/>
                  </a:lnTo>
                  <a:lnTo>
                    <a:pt x="236" y="314"/>
                  </a:lnTo>
                  <a:lnTo>
                    <a:pt x="248" y="310"/>
                  </a:lnTo>
                  <a:lnTo>
                    <a:pt x="258" y="304"/>
                  </a:lnTo>
                  <a:lnTo>
                    <a:pt x="262" y="301"/>
                  </a:lnTo>
                  <a:lnTo>
                    <a:pt x="265" y="298"/>
                  </a:lnTo>
                  <a:lnTo>
                    <a:pt x="265" y="298"/>
                  </a:lnTo>
                  <a:lnTo>
                    <a:pt x="272" y="285"/>
                  </a:lnTo>
                  <a:lnTo>
                    <a:pt x="275" y="279"/>
                  </a:lnTo>
                  <a:lnTo>
                    <a:pt x="275" y="275"/>
                  </a:lnTo>
                  <a:lnTo>
                    <a:pt x="275" y="275"/>
                  </a:lnTo>
                  <a:lnTo>
                    <a:pt x="275" y="271"/>
                  </a:lnTo>
                  <a:lnTo>
                    <a:pt x="274" y="269"/>
                  </a:lnTo>
                  <a:lnTo>
                    <a:pt x="272" y="266"/>
                  </a:lnTo>
                  <a:lnTo>
                    <a:pt x="269" y="266"/>
                  </a:lnTo>
                  <a:lnTo>
                    <a:pt x="269" y="266"/>
                  </a:lnTo>
                  <a:lnTo>
                    <a:pt x="265" y="264"/>
                  </a:lnTo>
                  <a:lnTo>
                    <a:pt x="264" y="262"/>
                  </a:lnTo>
                  <a:lnTo>
                    <a:pt x="264" y="259"/>
                  </a:lnTo>
                  <a:lnTo>
                    <a:pt x="264" y="259"/>
                  </a:lnTo>
                  <a:lnTo>
                    <a:pt x="268" y="253"/>
                  </a:lnTo>
                  <a:lnTo>
                    <a:pt x="268" y="249"/>
                  </a:lnTo>
                  <a:lnTo>
                    <a:pt x="266" y="246"/>
                  </a:lnTo>
                  <a:lnTo>
                    <a:pt x="266" y="246"/>
                  </a:lnTo>
                  <a:lnTo>
                    <a:pt x="248" y="230"/>
                  </a:lnTo>
                  <a:lnTo>
                    <a:pt x="248" y="230"/>
                  </a:lnTo>
                  <a:lnTo>
                    <a:pt x="243" y="224"/>
                  </a:lnTo>
                  <a:lnTo>
                    <a:pt x="242" y="223"/>
                  </a:lnTo>
                  <a:lnTo>
                    <a:pt x="243" y="222"/>
                  </a:lnTo>
                  <a:lnTo>
                    <a:pt x="243" y="222"/>
                  </a:lnTo>
                  <a:lnTo>
                    <a:pt x="248" y="223"/>
                  </a:lnTo>
                  <a:lnTo>
                    <a:pt x="248" y="223"/>
                  </a:lnTo>
                  <a:lnTo>
                    <a:pt x="249" y="210"/>
                  </a:lnTo>
                  <a:lnTo>
                    <a:pt x="252" y="198"/>
                  </a:lnTo>
                  <a:lnTo>
                    <a:pt x="252" y="198"/>
                  </a:lnTo>
                  <a:lnTo>
                    <a:pt x="253" y="188"/>
                  </a:lnTo>
                  <a:lnTo>
                    <a:pt x="255" y="175"/>
                  </a:lnTo>
                  <a:lnTo>
                    <a:pt x="256" y="156"/>
                  </a:lnTo>
                  <a:lnTo>
                    <a:pt x="256" y="156"/>
                  </a:lnTo>
                  <a:lnTo>
                    <a:pt x="256" y="153"/>
                  </a:lnTo>
                  <a:lnTo>
                    <a:pt x="259" y="151"/>
                  </a:lnTo>
                  <a:lnTo>
                    <a:pt x="264" y="148"/>
                  </a:lnTo>
                  <a:lnTo>
                    <a:pt x="265" y="143"/>
                  </a:lnTo>
                  <a:lnTo>
                    <a:pt x="265" y="143"/>
                  </a:lnTo>
                  <a:lnTo>
                    <a:pt x="268" y="138"/>
                  </a:lnTo>
                  <a:lnTo>
                    <a:pt x="271" y="130"/>
                  </a:lnTo>
                  <a:lnTo>
                    <a:pt x="275" y="124"/>
                  </a:lnTo>
                  <a:lnTo>
                    <a:pt x="281" y="119"/>
                  </a:lnTo>
                  <a:lnTo>
                    <a:pt x="281" y="119"/>
                  </a:lnTo>
                  <a:lnTo>
                    <a:pt x="303" y="103"/>
                  </a:lnTo>
                  <a:lnTo>
                    <a:pt x="313" y="96"/>
                  </a:lnTo>
                  <a:lnTo>
                    <a:pt x="316" y="91"/>
                  </a:lnTo>
                  <a:lnTo>
                    <a:pt x="317" y="90"/>
                  </a:lnTo>
                  <a:lnTo>
                    <a:pt x="317" y="90"/>
                  </a:lnTo>
                  <a:lnTo>
                    <a:pt x="319" y="84"/>
                  </a:lnTo>
                  <a:lnTo>
                    <a:pt x="317" y="75"/>
                  </a:lnTo>
                  <a:lnTo>
                    <a:pt x="314" y="69"/>
                  </a:lnTo>
                  <a:lnTo>
                    <a:pt x="313" y="67"/>
                  </a:lnTo>
                  <a:lnTo>
                    <a:pt x="311" y="65"/>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11" name="Freeform 667"/>
            <p:cNvSpPr>
              <a:spLocks/>
            </p:cNvSpPr>
            <p:nvPr/>
          </p:nvSpPr>
          <p:spPr bwMode="auto">
            <a:xfrm>
              <a:off x="2425700" y="5316967"/>
              <a:ext cx="506413" cy="998538"/>
            </a:xfrm>
            <a:custGeom>
              <a:avLst/>
              <a:gdLst>
                <a:gd name="T0" fmla="*/ 291 w 319"/>
                <a:gd name="T1" fmla="*/ 85 h 629"/>
                <a:gd name="T2" fmla="*/ 282 w 319"/>
                <a:gd name="T3" fmla="*/ 96 h 629"/>
                <a:gd name="T4" fmla="*/ 269 w 319"/>
                <a:gd name="T5" fmla="*/ 94 h 629"/>
                <a:gd name="T6" fmla="*/ 246 w 319"/>
                <a:gd name="T7" fmla="*/ 80 h 629"/>
                <a:gd name="T8" fmla="*/ 242 w 319"/>
                <a:gd name="T9" fmla="*/ 49 h 629"/>
                <a:gd name="T10" fmla="*/ 206 w 319"/>
                <a:gd name="T11" fmla="*/ 14 h 629"/>
                <a:gd name="T12" fmla="*/ 194 w 319"/>
                <a:gd name="T13" fmla="*/ 14 h 629"/>
                <a:gd name="T14" fmla="*/ 174 w 319"/>
                <a:gd name="T15" fmla="*/ 1 h 629"/>
                <a:gd name="T16" fmla="*/ 151 w 319"/>
                <a:gd name="T17" fmla="*/ 9 h 629"/>
                <a:gd name="T18" fmla="*/ 116 w 319"/>
                <a:gd name="T19" fmla="*/ 9 h 629"/>
                <a:gd name="T20" fmla="*/ 103 w 319"/>
                <a:gd name="T21" fmla="*/ 23 h 629"/>
                <a:gd name="T22" fmla="*/ 80 w 319"/>
                <a:gd name="T23" fmla="*/ 54 h 629"/>
                <a:gd name="T24" fmla="*/ 72 w 319"/>
                <a:gd name="T25" fmla="*/ 85 h 629"/>
                <a:gd name="T26" fmla="*/ 52 w 319"/>
                <a:gd name="T27" fmla="*/ 191 h 629"/>
                <a:gd name="T28" fmla="*/ 54 w 319"/>
                <a:gd name="T29" fmla="*/ 235 h 629"/>
                <a:gd name="T30" fmla="*/ 48 w 319"/>
                <a:gd name="T31" fmla="*/ 264 h 629"/>
                <a:gd name="T32" fmla="*/ 38 w 319"/>
                <a:gd name="T33" fmla="*/ 310 h 629"/>
                <a:gd name="T34" fmla="*/ 30 w 319"/>
                <a:gd name="T35" fmla="*/ 340 h 629"/>
                <a:gd name="T36" fmla="*/ 23 w 319"/>
                <a:gd name="T37" fmla="*/ 388 h 629"/>
                <a:gd name="T38" fmla="*/ 30 w 319"/>
                <a:gd name="T39" fmla="*/ 416 h 629"/>
                <a:gd name="T40" fmla="*/ 25 w 319"/>
                <a:gd name="T41" fmla="*/ 429 h 629"/>
                <a:gd name="T42" fmla="*/ 38 w 319"/>
                <a:gd name="T43" fmla="*/ 442 h 629"/>
                <a:gd name="T44" fmla="*/ 33 w 319"/>
                <a:gd name="T45" fmla="*/ 452 h 629"/>
                <a:gd name="T46" fmla="*/ 26 w 319"/>
                <a:gd name="T47" fmla="*/ 465 h 629"/>
                <a:gd name="T48" fmla="*/ 28 w 319"/>
                <a:gd name="T49" fmla="*/ 501 h 629"/>
                <a:gd name="T50" fmla="*/ 19 w 319"/>
                <a:gd name="T51" fmla="*/ 531 h 629"/>
                <a:gd name="T52" fmla="*/ 0 w 319"/>
                <a:gd name="T53" fmla="*/ 566 h 629"/>
                <a:gd name="T54" fmla="*/ 9 w 319"/>
                <a:gd name="T55" fmla="*/ 589 h 629"/>
                <a:gd name="T56" fmla="*/ 20 w 319"/>
                <a:gd name="T57" fmla="*/ 589 h 629"/>
                <a:gd name="T58" fmla="*/ 25 w 319"/>
                <a:gd name="T59" fmla="*/ 618 h 629"/>
                <a:gd name="T60" fmla="*/ 70 w 319"/>
                <a:gd name="T61" fmla="*/ 624 h 629"/>
                <a:gd name="T62" fmla="*/ 77 w 319"/>
                <a:gd name="T63" fmla="*/ 627 h 629"/>
                <a:gd name="T64" fmla="*/ 77 w 319"/>
                <a:gd name="T65" fmla="*/ 617 h 629"/>
                <a:gd name="T66" fmla="*/ 71 w 319"/>
                <a:gd name="T67" fmla="*/ 594 h 629"/>
                <a:gd name="T68" fmla="*/ 80 w 319"/>
                <a:gd name="T69" fmla="*/ 589 h 629"/>
                <a:gd name="T70" fmla="*/ 78 w 319"/>
                <a:gd name="T71" fmla="*/ 581 h 629"/>
                <a:gd name="T72" fmla="*/ 90 w 319"/>
                <a:gd name="T73" fmla="*/ 579 h 629"/>
                <a:gd name="T74" fmla="*/ 98 w 319"/>
                <a:gd name="T75" fmla="*/ 559 h 629"/>
                <a:gd name="T76" fmla="*/ 106 w 319"/>
                <a:gd name="T77" fmla="*/ 534 h 629"/>
                <a:gd name="T78" fmla="*/ 123 w 319"/>
                <a:gd name="T79" fmla="*/ 524 h 629"/>
                <a:gd name="T80" fmla="*/ 126 w 319"/>
                <a:gd name="T81" fmla="*/ 500 h 629"/>
                <a:gd name="T82" fmla="*/ 97 w 319"/>
                <a:gd name="T83" fmla="*/ 475 h 629"/>
                <a:gd name="T84" fmla="*/ 117 w 319"/>
                <a:gd name="T85" fmla="*/ 452 h 629"/>
                <a:gd name="T86" fmla="*/ 132 w 319"/>
                <a:gd name="T87" fmla="*/ 443 h 629"/>
                <a:gd name="T88" fmla="*/ 139 w 319"/>
                <a:gd name="T89" fmla="*/ 416 h 629"/>
                <a:gd name="T90" fmla="*/ 149 w 319"/>
                <a:gd name="T91" fmla="*/ 401 h 629"/>
                <a:gd name="T92" fmla="*/ 151 w 319"/>
                <a:gd name="T93" fmla="*/ 390 h 629"/>
                <a:gd name="T94" fmla="*/ 139 w 319"/>
                <a:gd name="T95" fmla="*/ 368 h 629"/>
                <a:gd name="T96" fmla="*/ 156 w 319"/>
                <a:gd name="T97" fmla="*/ 363 h 629"/>
                <a:gd name="T98" fmla="*/ 184 w 319"/>
                <a:gd name="T99" fmla="*/ 361 h 629"/>
                <a:gd name="T100" fmla="*/ 185 w 319"/>
                <a:gd name="T101" fmla="*/ 343 h 629"/>
                <a:gd name="T102" fmla="*/ 187 w 319"/>
                <a:gd name="T103" fmla="*/ 323 h 629"/>
                <a:gd name="T104" fmla="*/ 227 w 319"/>
                <a:gd name="T105" fmla="*/ 317 h 629"/>
                <a:gd name="T106" fmla="*/ 265 w 319"/>
                <a:gd name="T107" fmla="*/ 298 h 629"/>
                <a:gd name="T108" fmla="*/ 274 w 319"/>
                <a:gd name="T109" fmla="*/ 269 h 629"/>
                <a:gd name="T110" fmla="*/ 264 w 319"/>
                <a:gd name="T111" fmla="*/ 259 h 629"/>
                <a:gd name="T112" fmla="*/ 248 w 319"/>
                <a:gd name="T113" fmla="*/ 230 h 629"/>
                <a:gd name="T114" fmla="*/ 248 w 319"/>
                <a:gd name="T115" fmla="*/ 223 h 629"/>
                <a:gd name="T116" fmla="*/ 255 w 319"/>
                <a:gd name="T117" fmla="*/ 175 h 629"/>
                <a:gd name="T118" fmla="*/ 265 w 319"/>
                <a:gd name="T119" fmla="*/ 143 h 629"/>
                <a:gd name="T120" fmla="*/ 281 w 319"/>
                <a:gd name="T121" fmla="*/ 119 h 629"/>
                <a:gd name="T122" fmla="*/ 319 w 319"/>
                <a:gd name="T123" fmla="*/ 84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9" h="629">
                  <a:moveTo>
                    <a:pt x="311" y="65"/>
                  </a:moveTo>
                  <a:lnTo>
                    <a:pt x="311" y="65"/>
                  </a:lnTo>
                  <a:lnTo>
                    <a:pt x="304" y="61"/>
                  </a:lnTo>
                  <a:lnTo>
                    <a:pt x="304" y="61"/>
                  </a:lnTo>
                  <a:lnTo>
                    <a:pt x="297" y="75"/>
                  </a:lnTo>
                  <a:lnTo>
                    <a:pt x="291" y="85"/>
                  </a:lnTo>
                  <a:lnTo>
                    <a:pt x="291" y="85"/>
                  </a:lnTo>
                  <a:lnTo>
                    <a:pt x="291" y="90"/>
                  </a:lnTo>
                  <a:lnTo>
                    <a:pt x="288" y="96"/>
                  </a:lnTo>
                  <a:lnTo>
                    <a:pt x="285" y="97"/>
                  </a:lnTo>
                  <a:lnTo>
                    <a:pt x="284" y="97"/>
                  </a:lnTo>
                  <a:lnTo>
                    <a:pt x="282" y="96"/>
                  </a:lnTo>
                  <a:lnTo>
                    <a:pt x="282" y="96"/>
                  </a:lnTo>
                  <a:lnTo>
                    <a:pt x="280" y="93"/>
                  </a:lnTo>
                  <a:lnTo>
                    <a:pt x="277" y="93"/>
                  </a:lnTo>
                  <a:lnTo>
                    <a:pt x="274" y="94"/>
                  </a:lnTo>
                  <a:lnTo>
                    <a:pt x="269" y="94"/>
                  </a:lnTo>
                  <a:lnTo>
                    <a:pt x="269" y="94"/>
                  </a:lnTo>
                  <a:lnTo>
                    <a:pt x="255" y="94"/>
                  </a:lnTo>
                  <a:lnTo>
                    <a:pt x="246" y="93"/>
                  </a:lnTo>
                  <a:lnTo>
                    <a:pt x="245" y="91"/>
                  </a:lnTo>
                  <a:lnTo>
                    <a:pt x="245" y="88"/>
                  </a:lnTo>
                  <a:lnTo>
                    <a:pt x="245" y="88"/>
                  </a:lnTo>
                  <a:lnTo>
                    <a:pt x="246" y="80"/>
                  </a:lnTo>
                  <a:lnTo>
                    <a:pt x="251" y="71"/>
                  </a:lnTo>
                  <a:lnTo>
                    <a:pt x="255" y="62"/>
                  </a:lnTo>
                  <a:lnTo>
                    <a:pt x="255" y="59"/>
                  </a:lnTo>
                  <a:lnTo>
                    <a:pt x="255" y="58"/>
                  </a:lnTo>
                  <a:lnTo>
                    <a:pt x="255" y="58"/>
                  </a:lnTo>
                  <a:lnTo>
                    <a:pt x="242" y="49"/>
                  </a:lnTo>
                  <a:lnTo>
                    <a:pt x="226" y="39"/>
                  </a:lnTo>
                  <a:lnTo>
                    <a:pt x="226" y="39"/>
                  </a:lnTo>
                  <a:lnTo>
                    <a:pt x="219" y="32"/>
                  </a:lnTo>
                  <a:lnTo>
                    <a:pt x="213" y="23"/>
                  </a:lnTo>
                  <a:lnTo>
                    <a:pt x="207" y="17"/>
                  </a:lnTo>
                  <a:lnTo>
                    <a:pt x="206" y="14"/>
                  </a:lnTo>
                  <a:lnTo>
                    <a:pt x="203" y="14"/>
                  </a:lnTo>
                  <a:lnTo>
                    <a:pt x="203" y="14"/>
                  </a:lnTo>
                  <a:lnTo>
                    <a:pt x="200" y="16"/>
                  </a:lnTo>
                  <a:lnTo>
                    <a:pt x="197" y="16"/>
                  </a:lnTo>
                  <a:lnTo>
                    <a:pt x="196" y="17"/>
                  </a:lnTo>
                  <a:lnTo>
                    <a:pt x="194" y="14"/>
                  </a:lnTo>
                  <a:lnTo>
                    <a:pt x="194" y="14"/>
                  </a:lnTo>
                  <a:lnTo>
                    <a:pt x="190" y="10"/>
                  </a:lnTo>
                  <a:lnTo>
                    <a:pt x="185" y="7"/>
                  </a:lnTo>
                  <a:lnTo>
                    <a:pt x="180" y="3"/>
                  </a:lnTo>
                  <a:lnTo>
                    <a:pt x="174" y="1"/>
                  </a:lnTo>
                  <a:lnTo>
                    <a:pt x="174" y="1"/>
                  </a:lnTo>
                  <a:lnTo>
                    <a:pt x="162" y="0"/>
                  </a:lnTo>
                  <a:lnTo>
                    <a:pt x="158" y="0"/>
                  </a:lnTo>
                  <a:lnTo>
                    <a:pt x="154" y="3"/>
                  </a:lnTo>
                  <a:lnTo>
                    <a:pt x="154" y="3"/>
                  </a:lnTo>
                  <a:lnTo>
                    <a:pt x="152" y="6"/>
                  </a:lnTo>
                  <a:lnTo>
                    <a:pt x="151" y="9"/>
                  </a:lnTo>
                  <a:lnTo>
                    <a:pt x="149" y="11"/>
                  </a:lnTo>
                  <a:lnTo>
                    <a:pt x="146" y="13"/>
                  </a:lnTo>
                  <a:lnTo>
                    <a:pt x="146" y="13"/>
                  </a:lnTo>
                  <a:lnTo>
                    <a:pt x="130" y="10"/>
                  </a:lnTo>
                  <a:lnTo>
                    <a:pt x="122" y="9"/>
                  </a:lnTo>
                  <a:lnTo>
                    <a:pt x="116" y="9"/>
                  </a:lnTo>
                  <a:lnTo>
                    <a:pt x="116" y="9"/>
                  </a:lnTo>
                  <a:lnTo>
                    <a:pt x="96" y="22"/>
                  </a:lnTo>
                  <a:lnTo>
                    <a:pt x="96" y="22"/>
                  </a:lnTo>
                  <a:lnTo>
                    <a:pt x="100" y="22"/>
                  </a:lnTo>
                  <a:lnTo>
                    <a:pt x="103" y="23"/>
                  </a:lnTo>
                  <a:lnTo>
                    <a:pt x="103" y="23"/>
                  </a:lnTo>
                  <a:lnTo>
                    <a:pt x="103" y="26"/>
                  </a:lnTo>
                  <a:lnTo>
                    <a:pt x="101" y="29"/>
                  </a:lnTo>
                  <a:lnTo>
                    <a:pt x="96" y="38"/>
                  </a:lnTo>
                  <a:lnTo>
                    <a:pt x="87" y="46"/>
                  </a:lnTo>
                  <a:lnTo>
                    <a:pt x="80" y="54"/>
                  </a:lnTo>
                  <a:lnTo>
                    <a:pt x="80" y="54"/>
                  </a:lnTo>
                  <a:lnTo>
                    <a:pt x="78" y="56"/>
                  </a:lnTo>
                  <a:lnTo>
                    <a:pt x="75" y="61"/>
                  </a:lnTo>
                  <a:lnTo>
                    <a:pt x="74" y="69"/>
                  </a:lnTo>
                  <a:lnTo>
                    <a:pt x="72" y="78"/>
                  </a:lnTo>
                  <a:lnTo>
                    <a:pt x="72" y="85"/>
                  </a:lnTo>
                  <a:lnTo>
                    <a:pt x="72" y="85"/>
                  </a:lnTo>
                  <a:lnTo>
                    <a:pt x="62" y="122"/>
                  </a:lnTo>
                  <a:lnTo>
                    <a:pt x="51" y="158"/>
                  </a:lnTo>
                  <a:lnTo>
                    <a:pt x="51" y="158"/>
                  </a:lnTo>
                  <a:lnTo>
                    <a:pt x="49" y="166"/>
                  </a:lnTo>
                  <a:lnTo>
                    <a:pt x="51" y="175"/>
                  </a:lnTo>
                  <a:lnTo>
                    <a:pt x="52" y="191"/>
                  </a:lnTo>
                  <a:lnTo>
                    <a:pt x="52" y="191"/>
                  </a:lnTo>
                  <a:lnTo>
                    <a:pt x="54" y="213"/>
                  </a:lnTo>
                  <a:lnTo>
                    <a:pt x="55" y="226"/>
                  </a:lnTo>
                  <a:lnTo>
                    <a:pt x="54" y="230"/>
                  </a:lnTo>
                  <a:lnTo>
                    <a:pt x="54" y="235"/>
                  </a:lnTo>
                  <a:lnTo>
                    <a:pt x="54" y="235"/>
                  </a:lnTo>
                  <a:lnTo>
                    <a:pt x="52" y="240"/>
                  </a:lnTo>
                  <a:lnTo>
                    <a:pt x="51" y="248"/>
                  </a:lnTo>
                  <a:lnTo>
                    <a:pt x="51" y="256"/>
                  </a:lnTo>
                  <a:lnTo>
                    <a:pt x="49" y="261"/>
                  </a:lnTo>
                  <a:lnTo>
                    <a:pt x="48" y="264"/>
                  </a:lnTo>
                  <a:lnTo>
                    <a:pt x="48" y="264"/>
                  </a:lnTo>
                  <a:lnTo>
                    <a:pt x="43" y="268"/>
                  </a:lnTo>
                  <a:lnTo>
                    <a:pt x="41" y="274"/>
                  </a:lnTo>
                  <a:lnTo>
                    <a:pt x="38" y="281"/>
                  </a:lnTo>
                  <a:lnTo>
                    <a:pt x="36" y="290"/>
                  </a:lnTo>
                  <a:lnTo>
                    <a:pt x="36" y="290"/>
                  </a:lnTo>
                  <a:lnTo>
                    <a:pt x="38" y="310"/>
                  </a:lnTo>
                  <a:lnTo>
                    <a:pt x="38" y="319"/>
                  </a:lnTo>
                  <a:lnTo>
                    <a:pt x="36" y="323"/>
                  </a:lnTo>
                  <a:lnTo>
                    <a:pt x="36" y="323"/>
                  </a:lnTo>
                  <a:lnTo>
                    <a:pt x="33" y="330"/>
                  </a:lnTo>
                  <a:lnTo>
                    <a:pt x="32" y="336"/>
                  </a:lnTo>
                  <a:lnTo>
                    <a:pt x="30" y="340"/>
                  </a:lnTo>
                  <a:lnTo>
                    <a:pt x="30" y="340"/>
                  </a:lnTo>
                  <a:lnTo>
                    <a:pt x="29" y="348"/>
                  </a:lnTo>
                  <a:lnTo>
                    <a:pt x="28" y="356"/>
                  </a:lnTo>
                  <a:lnTo>
                    <a:pt x="28" y="356"/>
                  </a:lnTo>
                  <a:lnTo>
                    <a:pt x="26" y="374"/>
                  </a:lnTo>
                  <a:lnTo>
                    <a:pt x="23" y="388"/>
                  </a:lnTo>
                  <a:lnTo>
                    <a:pt x="23" y="388"/>
                  </a:lnTo>
                  <a:lnTo>
                    <a:pt x="23" y="394"/>
                  </a:lnTo>
                  <a:lnTo>
                    <a:pt x="25" y="400"/>
                  </a:lnTo>
                  <a:lnTo>
                    <a:pt x="29" y="411"/>
                  </a:lnTo>
                  <a:lnTo>
                    <a:pt x="29" y="411"/>
                  </a:lnTo>
                  <a:lnTo>
                    <a:pt x="30" y="416"/>
                  </a:lnTo>
                  <a:lnTo>
                    <a:pt x="29" y="419"/>
                  </a:lnTo>
                  <a:lnTo>
                    <a:pt x="26" y="420"/>
                  </a:lnTo>
                  <a:lnTo>
                    <a:pt x="25" y="424"/>
                  </a:lnTo>
                  <a:lnTo>
                    <a:pt x="25" y="424"/>
                  </a:lnTo>
                  <a:lnTo>
                    <a:pt x="23" y="427"/>
                  </a:lnTo>
                  <a:lnTo>
                    <a:pt x="25" y="429"/>
                  </a:lnTo>
                  <a:lnTo>
                    <a:pt x="28" y="433"/>
                  </a:lnTo>
                  <a:lnTo>
                    <a:pt x="32" y="436"/>
                  </a:lnTo>
                  <a:lnTo>
                    <a:pt x="36" y="439"/>
                  </a:lnTo>
                  <a:lnTo>
                    <a:pt x="36" y="439"/>
                  </a:lnTo>
                  <a:lnTo>
                    <a:pt x="38" y="442"/>
                  </a:lnTo>
                  <a:lnTo>
                    <a:pt x="38" y="442"/>
                  </a:lnTo>
                  <a:lnTo>
                    <a:pt x="33" y="443"/>
                  </a:lnTo>
                  <a:lnTo>
                    <a:pt x="28" y="445"/>
                  </a:lnTo>
                  <a:lnTo>
                    <a:pt x="28" y="445"/>
                  </a:lnTo>
                  <a:lnTo>
                    <a:pt x="26" y="446"/>
                  </a:lnTo>
                  <a:lnTo>
                    <a:pt x="28" y="446"/>
                  </a:lnTo>
                  <a:lnTo>
                    <a:pt x="33" y="452"/>
                  </a:lnTo>
                  <a:lnTo>
                    <a:pt x="33" y="452"/>
                  </a:lnTo>
                  <a:lnTo>
                    <a:pt x="35" y="453"/>
                  </a:lnTo>
                  <a:lnTo>
                    <a:pt x="33" y="455"/>
                  </a:lnTo>
                  <a:lnTo>
                    <a:pt x="30" y="459"/>
                  </a:lnTo>
                  <a:lnTo>
                    <a:pt x="28" y="462"/>
                  </a:lnTo>
                  <a:lnTo>
                    <a:pt x="26" y="465"/>
                  </a:lnTo>
                  <a:lnTo>
                    <a:pt x="28" y="468"/>
                  </a:lnTo>
                  <a:lnTo>
                    <a:pt x="28" y="468"/>
                  </a:lnTo>
                  <a:lnTo>
                    <a:pt x="28" y="475"/>
                  </a:lnTo>
                  <a:lnTo>
                    <a:pt x="29" y="485"/>
                  </a:lnTo>
                  <a:lnTo>
                    <a:pt x="28" y="497"/>
                  </a:lnTo>
                  <a:lnTo>
                    <a:pt x="28" y="501"/>
                  </a:lnTo>
                  <a:lnTo>
                    <a:pt x="26" y="504"/>
                  </a:lnTo>
                  <a:lnTo>
                    <a:pt x="26" y="504"/>
                  </a:lnTo>
                  <a:lnTo>
                    <a:pt x="22" y="511"/>
                  </a:lnTo>
                  <a:lnTo>
                    <a:pt x="20" y="518"/>
                  </a:lnTo>
                  <a:lnTo>
                    <a:pt x="19" y="531"/>
                  </a:lnTo>
                  <a:lnTo>
                    <a:pt x="19" y="531"/>
                  </a:lnTo>
                  <a:lnTo>
                    <a:pt x="17" y="537"/>
                  </a:lnTo>
                  <a:lnTo>
                    <a:pt x="14" y="543"/>
                  </a:lnTo>
                  <a:lnTo>
                    <a:pt x="4" y="558"/>
                  </a:lnTo>
                  <a:lnTo>
                    <a:pt x="4" y="558"/>
                  </a:lnTo>
                  <a:lnTo>
                    <a:pt x="1" y="562"/>
                  </a:lnTo>
                  <a:lnTo>
                    <a:pt x="0" y="566"/>
                  </a:lnTo>
                  <a:lnTo>
                    <a:pt x="0" y="575"/>
                  </a:lnTo>
                  <a:lnTo>
                    <a:pt x="1" y="584"/>
                  </a:lnTo>
                  <a:lnTo>
                    <a:pt x="3" y="588"/>
                  </a:lnTo>
                  <a:lnTo>
                    <a:pt x="3" y="588"/>
                  </a:lnTo>
                  <a:lnTo>
                    <a:pt x="6" y="589"/>
                  </a:lnTo>
                  <a:lnTo>
                    <a:pt x="9" y="589"/>
                  </a:lnTo>
                  <a:lnTo>
                    <a:pt x="14" y="585"/>
                  </a:lnTo>
                  <a:lnTo>
                    <a:pt x="14" y="585"/>
                  </a:lnTo>
                  <a:lnTo>
                    <a:pt x="17" y="584"/>
                  </a:lnTo>
                  <a:lnTo>
                    <a:pt x="19" y="584"/>
                  </a:lnTo>
                  <a:lnTo>
                    <a:pt x="20" y="585"/>
                  </a:lnTo>
                  <a:lnTo>
                    <a:pt x="20" y="589"/>
                  </a:lnTo>
                  <a:lnTo>
                    <a:pt x="20" y="589"/>
                  </a:lnTo>
                  <a:lnTo>
                    <a:pt x="20" y="602"/>
                  </a:lnTo>
                  <a:lnTo>
                    <a:pt x="20" y="610"/>
                  </a:lnTo>
                  <a:lnTo>
                    <a:pt x="23" y="617"/>
                  </a:lnTo>
                  <a:lnTo>
                    <a:pt x="23" y="617"/>
                  </a:lnTo>
                  <a:lnTo>
                    <a:pt x="25" y="618"/>
                  </a:lnTo>
                  <a:lnTo>
                    <a:pt x="28" y="620"/>
                  </a:lnTo>
                  <a:lnTo>
                    <a:pt x="35" y="621"/>
                  </a:lnTo>
                  <a:lnTo>
                    <a:pt x="51" y="621"/>
                  </a:lnTo>
                  <a:lnTo>
                    <a:pt x="51" y="621"/>
                  </a:lnTo>
                  <a:lnTo>
                    <a:pt x="61" y="623"/>
                  </a:lnTo>
                  <a:lnTo>
                    <a:pt x="70" y="624"/>
                  </a:lnTo>
                  <a:lnTo>
                    <a:pt x="70" y="624"/>
                  </a:lnTo>
                  <a:lnTo>
                    <a:pt x="72" y="624"/>
                  </a:lnTo>
                  <a:lnTo>
                    <a:pt x="75" y="626"/>
                  </a:lnTo>
                  <a:lnTo>
                    <a:pt x="75" y="626"/>
                  </a:lnTo>
                  <a:lnTo>
                    <a:pt x="77" y="627"/>
                  </a:lnTo>
                  <a:lnTo>
                    <a:pt x="77" y="627"/>
                  </a:lnTo>
                  <a:lnTo>
                    <a:pt x="80" y="629"/>
                  </a:lnTo>
                  <a:lnTo>
                    <a:pt x="80" y="629"/>
                  </a:lnTo>
                  <a:lnTo>
                    <a:pt x="83" y="629"/>
                  </a:lnTo>
                  <a:lnTo>
                    <a:pt x="81" y="626"/>
                  </a:lnTo>
                  <a:lnTo>
                    <a:pt x="81" y="626"/>
                  </a:lnTo>
                  <a:lnTo>
                    <a:pt x="77" y="617"/>
                  </a:lnTo>
                  <a:lnTo>
                    <a:pt x="77" y="610"/>
                  </a:lnTo>
                  <a:lnTo>
                    <a:pt x="77" y="610"/>
                  </a:lnTo>
                  <a:lnTo>
                    <a:pt x="75" y="605"/>
                  </a:lnTo>
                  <a:lnTo>
                    <a:pt x="72" y="601"/>
                  </a:lnTo>
                  <a:lnTo>
                    <a:pt x="71" y="597"/>
                  </a:lnTo>
                  <a:lnTo>
                    <a:pt x="71" y="594"/>
                  </a:lnTo>
                  <a:lnTo>
                    <a:pt x="71" y="594"/>
                  </a:lnTo>
                  <a:lnTo>
                    <a:pt x="74" y="592"/>
                  </a:lnTo>
                  <a:lnTo>
                    <a:pt x="77" y="592"/>
                  </a:lnTo>
                  <a:lnTo>
                    <a:pt x="78" y="591"/>
                  </a:lnTo>
                  <a:lnTo>
                    <a:pt x="80" y="589"/>
                  </a:lnTo>
                  <a:lnTo>
                    <a:pt x="80" y="589"/>
                  </a:lnTo>
                  <a:lnTo>
                    <a:pt x="78" y="587"/>
                  </a:lnTo>
                  <a:lnTo>
                    <a:pt x="75" y="584"/>
                  </a:lnTo>
                  <a:lnTo>
                    <a:pt x="75" y="582"/>
                  </a:lnTo>
                  <a:lnTo>
                    <a:pt x="77" y="581"/>
                  </a:lnTo>
                  <a:lnTo>
                    <a:pt x="77" y="581"/>
                  </a:lnTo>
                  <a:lnTo>
                    <a:pt x="78" y="581"/>
                  </a:lnTo>
                  <a:lnTo>
                    <a:pt x="80" y="582"/>
                  </a:lnTo>
                  <a:lnTo>
                    <a:pt x="81" y="584"/>
                  </a:lnTo>
                  <a:lnTo>
                    <a:pt x="84" y="582"/>
                  </a:lnTo>
                  <a:lnTo>
                    <a:pt x="84" y="582"/>
                  </a:lnTo>
                  <a:lnTo>
                    <a:pt x="88" y="581"/>
                  </a:lnTo>
                  <a:lnTo>
                    <a:pt x="90" y="579"/>
                  </a:lnTo>
                  <a:lnTo>
                    <a:pt x="90" y="576"/>
                  </a:lnTo>
                  <a:lnTo>
                    <a:pt x="91" y="575"/>
                  </a:lnTo>
                  <a:lnTo>
                    <a:pt x="91" y="575"/>
                  </a:lnTo>
                  <a:lnTo>
                    <a:pt x="94" y="571"/>
                  </a:lnTo>
                  <a:lnTo>
                    <a:pt x="97" y="566"/>
                  </a:lnTo>
                  <a:lnTo>
                    <a:pt x="98" y="559"/>
                  </a:lnTo>
                  <a:lnTo>
                    <a:pt x="98" y="553"/>
                  </a:lnTo>
                  <a:lnTo>
                    <a:pt x="98" y="553"/>
                  </a:lnTo>
                  <a:lnTo>
                    <a:pt x="98" y="550"/>
                  </a:lnTo>
                  <a:lnTo>
                    <a:pt x="98" y="547"/>
                  </a:lnTo>
                  <a:lnTo>
                    <a:pt x="101" y="540"/>
                  </a:lnTo>
                  <a:lnTo>
                    <a:pt x="106" y="534"/>
                  </a:lnTo>
                  <a:lnTo>
                    <a:pt x="112" y="531"/>
                  </a:lnTo>
                  <a:lnTo>
                    <a:pt x="112" y="531"/>
                  </a:lnTo>
                  <a:lnTo>
                    <a:pt x="114" y="530"/>
                  </a:lnTo>
                  <a:lnTo>
                    <a:pt x="119" y="527"/>
                  </a:lnTo>
                  <a:lnTo>
                    <a:pt x="123" y="524"/>
                  </a:lnTo>
                  <a:lnTo>
                    <a:pt x="123" y="524"/>
                  </a:lnTo>
                  <a:lnTo>
                    <a:pt x="126" y="520"/>
                  </a:lnTo>
                  <a:lnTo>
                    <a:pt x="127" y="513"/>
                  </a:lnTo>
                  <a:lnTo>
                    <a:pt x="127" y="505"/>
                  </a:lnTo>
                  <a:lnTo>
                    <a:pt x="126" y="503"/>
                  </a:lnTo>
                  <a:lnTo>
                    <a:pt x="126" y="500"/>
                  </a:lnTo>
                  <a:lnTo>
                    <a:pt x="126" y="500"/>
                  </a:lnTo>
                  <a:lnTo>
                    <a:pt x="112" y="494"/>
                  </a:lnTo>
                  <a:lnTo>
                    <a:pt x="112" y="494"/>
                  </a:lnTo>
                  <a:lnTo>
                    <a:pt x="106" y="489"/>
                  </a:lnTo>
                  <a:lnTo>
                    <a:pt x="101" y="484"/>
                  </a:lnTo>
                  <a:lnTo>
                    <a:pt x="97" y="478"/>
                  </a:lnTo>
                  <a:lnTo>
                    <a:pt x="97" y="475"/>
                  </a:lnTo>
                  <a:lnTo>
                    <a:pt x="97" y="474"/>
                  </a:lnTo>
                  <a:lnTo>
                    <a:pt x="97" y="474"/>
                  </a:lnTo>
                  <a:lnTo>
                    <a:pt x="106" y="459"/>
                  </a:lnTo>
                  <a:lnTo>
                    <a:pt x="106" y="459"/>
                  </a:lnTo>
                  <a:lnTo>
                    <a:pt x="110" y="456"/>
                  </a:lnTo>
                  <a:lnTo>
                    <a:pt x="117" y="452"/>
                  </a:lnTo>
                  <a:lnTo>
                    <a:pt x="126" y="449"/>
                  </a:lnTo>
                  <a:lnTo>
                    <a:pt x="126" y="449"/>
                  </a:lnTo>
                  <a:lnTo>
                    <a:pt x="129" y="449"/>
                  </a:lnTo>
                  <a:lnTo>
                    <a:pt x="129" y="446"/>
                  </a:lnTo>
                  <a:lnTo>
                    <a:pt x="132" y="443"/>
                  </a:lnTo>
                  <a:lnTo>
                    <a:pt x="132" y="443"/>
                  </a:lnTo>
                  <a:lnTo>
                    <a:pt x="135" y="439"/>
                  </a:lnTo>
                  <a:lnTo>
                    <a:pt x="138" y="436"/>
                  </a:lnTo>
                  <a:lnTo>
                    <a:pt x="138" y="436"/>
                  </a:lnTo>
                  <a:lnTo>
                    <a:pt x="138" y="426"/>
                  </a:lnTo>
                  <a:lnTo>
                    <a:pt x="138" y="420"/>
                  </a:lnTo>
                  <a:lnTo>
                    <a:pt x="139" y="416"/>
                  </a:lnTo>
                  <a:lnTo>
                    <a:pt x="139" y="416"/>
                  </a:lnTo>
                  <a:lnTo>
                    <a:pt x="146" y="407"/>
                  </a:lnTo>
                  <a:lnTo>
                    <a:pt x="149" y="404"/>
                  </a:lnTo>
                  <a:lnTo>
                    <a:pt x="151" y="403"/>
                  </a:lnTo>
                  <a:lnTo>
                    <a:pt x="149" y="401"/>
                  </a:lnTo>
                  <a:lnTo>
                    <a:pt x="149" y="401"/>
                  </a:lnTo>
                  <a:lnTo>
                    <a:pt x="145" y="400"/>
                  </a:lnTo>
                  <a:lnTo>
                    <a:pt x="143" y="398"/>
                  </a:lnTo>
                  <a:lnTo>
                    <a:pt x="143" y="397"/>
                  </a:lnTo>
                  <a:lnTo>
                    <a:pt x="143" y="397"/>
                  </a:lnTo>
                  <a:lnTo>
                    <a:pt x="149" y="392"/>
                  </a:lnTo>
                  <a:lnTo>
                    <a:pt x="151" y="390"/>
                  </a:lnTo>
                  <a:lnTo>
                    <a:pt x="149" y="388"/>
                  </a:lnTo>
                  <a:lnTo>
                    <a:pt x="149" y="388"/>
                  </a:lnTo>
                  <a:lnTo>
                    <a:pt x="143" y="379"/>
                  </a:lnTo>
                  <a:lnTo>
                    <a:pt x="140" y="374"/>
                  </a:lnTo>
                  <a:lnTo>
                    <a:pt x="139" y="368"/>
                  </a:lnTo>
                  <a:lnTo>
                    <a:pt x="139" y="368"/>
                  </a:lnTo>
                  <a:lnTo>
                    <a:pt x="138" y="363"/>
                  </a:lnTo>
                  <a:lnTo>
                    <a:pt x="139" y="361"/>
                  </a:lnTo>
                  <a:lnTo>
                    <a:pt x="142" y="359"/>
                  </a:lnTo>
                  <a:lnTo>
                    <a:pt x="145" y="359"/>
                  </a:lnTo>
                  <a:lnTo>
                    <a:pt x="145" y="359"/>
                  </a:lnTo>
                  <a:lnTo>
                    <a:pt x="156" y="363"/>
                  </a:lnTo>
                  <a:lnTo>
                    <a:pt x="162" y="366"/>
                  </a:lnTo>
                  <a:lnTo>
                    <a:pt x="168" y="366"/>
                  </a:lnTo>
                  <a:lnTo>
                    <a:pt x="168" y="366"/>
                  </a:lnTo>
                  <a:lnTo>
                    <a:pt x="177" y="365"/>
                  </a:lnTo>
                  <a:lnTo>
                    <a:pt x="181" y="363"/>
                  </a:lnTo>
                  <a:lnTo>
                    <a:pt x="184" y="361"/>
                  </a:lnTo>
                  <a:lnTo>
                    <a:pt x="184" y="361"/>
                  </a:lnTo>
                  <a:lnTo>
                    <a:pt x="185" y="356"/>
                  </a:lnTo>
                  <a:lnTo>
                    <a:pt x="185" y="352"/>
                  </a:lnTo>
                  <a:lnTo>
                    <a:pt x="185" y="348"/>
                  </a:lnTo>
                  <a:lnTo>
                    <a:pt x="185" y="343"/>
                  </a:lnTo>
                  <a:lnTo>
                    <a:pt x="185" y="343"/>
                  </a:lnTo>
                  <a:lnTo>
                    <a:pt x="185" y="337"/>
                  </a:lnTo>
                  <a:lnTo>
                    <a:pt x="185" y="332"/>
                  </a:lnTo>
                  <a:lnTo>
                    <a:pt x="185" y="327"/>
                  </a:lnTo>
                  <a:lnTo>
                    <a:pt x="185" y="324"/>
                  </a:lnTo>
                  <a:lnTo>
                    <a:pt x="187" y="323"/>
                  </a:lnTo>
                  <a:lnTo>
                    <a:pt x="187" y="323"/>
                  </a:lnTo>
                  <a:lnTo>
                    <a:pt x="193" y="320"/>
                  </a:lnTo>
                  <a:lnTo>
                    <a:pt x="201" y="320"/>
                  </a:lnTo>
                  <a:lnTo>
                    <a:pt x="201" y="320"/>
                  </a:lnTo>
                  <a:lnTo>
                    <a:pt x="214" y="319"/>
                  </a:lnTo>
                  <a:lnTo>
                    <a:pt x="227" y="317"/>
                  </a:lnTo>
                  <a:lnTo>
                    <a:pt x="227" y="317"/>
                  </a:lnTo>
                  <a:lnTo>
                    <a:pt x="236" y="314"/>
                  </a:lnTo>
                  <a:lnTo>
                    <a:pt x="248" y="310"/>
                  </a:lnTo>
                  <a:lnTo>
                    <a:pt x="258" y="304"/>
                  </a:lnTo>
                  <a:lnTo>
                    <a:pt x="262" y="301"/>
                  </a:lnTo>
                  <a:lnTo>
                    <a:pt x="265" y="298"/>
                  </a:lnTo>
                  <a:lnTo>
                    <a:pt x="265" y="298"/>
                  </a:lnTo>
                  <a:lnTo>
                    <a:pt x="272" y="285"/>
                  </a:lnTo>
                  <a:lnTo>
                    <a:pt x="275" y="279"/>
                  </a:lnTo>
                  <a:lnTo>
                    <a:pt x="275" y="275"/>
                  </a:lnTo>
                  <a:lnTo>
                    <a:pt x="275" y="275"/>
                  </a:lnTo>
                  <a:lnTo>
                    <a:pt x="275" y="271"/>
                  </a:lnTo>
                  <a:lnTo>
                    <a:pt x="274" y="269"/>
                  </a:lnTo>
                  <a:lnTo>
                    <a:pt x="272" y="266"/>
                  </a:lnTo>
                  <a:lnTo>
                    <a:pt x="269" y="266"/>
                  </a:lnTo>
                  <a:lnTo>
                    <a:pt x="269" y="266"/>
                  </a:lnTo>
                  <a:lnTo>
                    <a:pt x="265" y="264"/>
                  </a:lnTo>
                  <a:lnTo>
                    <a:pt x="264" y="262"/>
                  </a:lnTo>
                  <a:lnTo>
                    <a:pt x="264" y="259"/>
                  </a:lnTo>
                  <a:lnTo>
                    <a:pt x="264" y="259"/>
                  </a:lnTo>
                  <a:lnTo>
                    <a:pt x="268" y="253"/>
                  </a:lnTo>
                  <a:lnTo>
                    <a:pt x="268" y="249"/>
                  </a:lnTo>
                  <a:lnTo>
                    <a:pt x="266" y="246"/>
                  </a:lnTo>
                  <a:lnTo>
                    <a:pt x="266" y="246"/>
                  </a:lnTo>
                  <a:lnTo>
                    <a:pt x="248" y="230"/>
                  </a:lnTo>
                  <a:lnTo>
                    <a:pt x="248" y="230"/>
                  </a:lnTo>
                  <a:lnTo>
                    <a:pt x="243" y="224"/>
                  </a:lnTo>
                  <a:lnTo>
                    <a:pt x="242" y="223"/>
                  </a:lnTo>
                  <a:lnTo>
                    <a:pt x="243" y="222"/>
                  </a:lnTo>
                  <a:lnTo>
                    <a:pt x="243" y="222"/>
                  </a:lnTo>
                  <a:lnTo>
                    <a:pt x="248" y="223"/>
                  </a:lnTo>
                  <a:lnTo>
                    <a:pt x="248" y="223"/>
                  </a:lnTo>
                  <a:lnTo>
                    <a:pt x="249" y="210"/>
                  </a:lnTo>
                  <a:lnTo>
                    <a:pt x="252" y="198"/>
                  </a:lnTo>
                  <a:lnTo>
                    <a:pt x="252" y="198"/>
                  </a:lnTo>
                  <a:lnTo>
                    <a:pt x="253" y="188"/>
                  </a:lnTo>
                  <a:lnTo>
                    <a:pt x="255" y="175"/>
                  </a:lnTo>
                  <a:lnTo>
                    <a:pt x="256" y="156"/>
                  </a:lnTo>
                  <a:lnTo>
                    <a:pt x="256" y="156"/>
                  </a:lnTo>
                  <a:lnTo>
                    <a:pt x="256" y="153"/>
                  </a:lnTo>
                  <a:lnTo>
                    <a:pt x="259" y="151"/>
                  </a:lnTo>
                  <a:lnTo>
                    <a:pt x="264" y="148"/>
                  </a:lnTo>
                  <a:lnTo>
                    <a:pt x="265" y="143"/>
                  </a:lnTo>
                  <a:lnTo>
                    <a:pt x="265" y="143"/>
                  </a:lnTo>
                  <a:lnTo>
                    <a:pt x="268" y="138"/>
                  </a:lnTo>
                  <a:lnTo>
                    <a:pt x="271" y="130"/>
                  </a:lnTo>
                  <a:lnTo>
                    <a:pt x="275" y="124"/>
                  </a:lnTo>
                  <a:lnTo>
                    <a:pt x="281" y="119"/>
                  </a:lnTo>
                  <a:lnTo>
                    <a:pt x="281" y="119"/>
                  </a:lnTo>
                  <a:lnTo>
                    <a:pt x="303" y="103"/>
                  </a:lnTo>
                  <a:lnTo>
                    <a:pt x="313" y="96"/>
                  </a:lnTo>
                  <a:lnTo>
                    <a:pt x="316" y="91"/>
                  </a:lnTo>
                  <a:lnTo>
                    <a:pt x="317" y="90"/>
                  </a:lnTo>
                  <a:lnTo>
                    <a:pt x="317" y="90"/>
                  </a:lnTo>
                  <a:lnTo>
                    <a:pt x="319" y="84"/>
                  </a:lnTo>
                  <a:lnTo>
                    <a:pt x="317" y="75"/>
                  </a:lnTo>
                  <a:lnTo>
                    <a:pt x="314" y="69"/>
                  </a:lnTo>
                  <a:lnTo>
                    <a:pt x="313" y="67"/>
                  </a:lnTo>
                  <a:lnTo>
                    <a:pt x="311"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12" name="Freeform 668"/>
            <p:cNvSpPr>
              <a:spLocks/>
            </p:cNvSpPr>
            <p:nvPr/>
          </p:nvSpPr>
          <p:spPr bwMode="auto">
            <a:xfrm>
              <a:off x="2714625" y="5234417"/>
              <a:ext cx="198438" cy="236538"/>
            </a:xfrm>
            <a:custGeom>
              <a:avLst/>
              <a:gdLst>
                <a:gd name="T0" fmla="*/ 122 w 125"/>
                <a:gd name="T1" fmla="*/ 107 h 149"/>
                <a:gd name="T2" fmla="*/ 125 w 125"/>
                <a:gd name="T3" fmla="*/ 95 h 149"/>
                <a:gd name="T4" fmla="*/ 122 w 125"/>
                <a:gd name="T5" fmla="*/ 85 h 149"/>
                <a:gd name="T6" fmla="*/ 118 w 125"/>
                <a:gd name="T7" fmla="*/ 81 h 149"/>
                <a:gd name="T8" fmla="*/ 115 w 125"/>
                <a:gd name="T9" fmla="*/ 74 h 149"/>
                <a:gd name="T10" fmla="*/ 115 w 125"/>
                <a:gd name="T11" fmla="*/ 69 h 149"/>
                <a:gd name="T12" fmla="*/ 111 w 125"/>
                <a:gd name="T13" fmla="*/ 59 h 149"/>
                <a:gd name="T14" fmla="*/ 108 w 125"/>
                <a:gd name="T15" fmla="*/ 56 h 149"/>
                <a:gd name="T16" fmla="*/ 92 w 125"/>
                <a:gd name="T17" fmla="*/ 55 h 149"/>
                <a:gd name="T18" fmla="*/ 77 w 125"/>
                <a:gd name="T19" fmla="*/ 50 h 149"/>
                <a:gd name="T20" fmla="*/ 76 w 125"/>
                <a:gd name="T21" fmla="*/ 48 h 149"/>
                <a:gd name="T22" fmla="*/ 71 w 125"/>
                <a:gd name="T23" fmla="*/ 21 h 149"/>
                <a:gd name="T24" fmla="*/ 70 w 125"/>
                <a:gd name="T25" fmla="*/ 16 h 149"/>
                <a:gd name="T26" fmla="*/ 70 w 125"/>
                <a:gd name="T27" fmla="*/ 8 h 149"/>
                <a:gd name="T28" fmla="*/ 56 w 125"/>
                <a:gd name="T29" fmla="*/ 0 h 149"/>
                <a:gd name="T30" fmla="*/ 53 w 125"/>
                <a:gd name="T31" fmla="*/ 0 h 149"/>
                <a:gd name="T32" fmla="*/ 34 w 125"/>
                <a:gd name="T33" fmla="*/ 6 h 149"/>
                <a:gd name="T34" fmla="*/ 28 w 125"/>
                <a:gd name="T35" fmla="*/ 6 h 149"/>
                <a:gd name="T36" fmla="*/ 16 w 125"/>
                <a:gd name="T37" fmla="*/ 3 h 149"/>
                <a:gd name="T38" fmla="*/ 11 w 125"/>
                <a:gd name="T39" fmla="*/ 1 h 149"/>
                <a:gd name="T40" fmla="*/ 6 w 125"/>
                <a:gd name="T41" fmla="*/ 1 h 149"/>
                <a:gd name="T42" fmla="*/ 0 w 125"/>
                <a:gd name="T43" fmla="*/ 11 h 149"/>
                <a:gd name="T44" fmla="*/ 0 w 125"/>
                <a:gd name="T45" fmla="*/ 20 h 149"/>
                <a:gd name="T46" fmla="*/ 0 w 125"/>
                <a:gd name="T47" fmla="*/ 56 h 149"/>
                <a:gd name="T48" fmla="*/ 12 w 125"/>
                <a:gd name="T49" fmla="*/ 66 h 149"/>
                <a:gd name="T50" fmla="*/ 14 w 125"/>
                <a:gd name="T51" fmla="*/ 69 h 149"/>
                <a:gd name="T52" fmla="*/ 18 w 125"/>
                <a:gd name="T53" fmla="*/ 68 h 149"/>
                <a:gd name="T54" fmla="*/ 21 w 125"/>
                <a:gd name="T55" fmla="*/ 66 h 149"/>
                <a:gd name="T56" fmla="*/ 25 w 125"/>
                <a:gd name="T57" fmla="*/ 69 h 149"/>
                <a:gd name="T58" fmla="*/ 37 w 125"/>
                <a:gd name="T59" fmla="*/ 84 h 149"/>
                <a:gd name="T60" fmla="*/ 44 w 125"/>
                <a:gd name="T61" fmla="*/ 91 h 149"/>
                <a:gd name="T62" fmla="*/ 73 w 125"/>
                <a:gd name="T63" fmla="*/ 110 h 149"/>
                <a:gd name="T64" fmla="*/ 73 w 125"/>
                <a:gd name="T65" fmla="*/ 111 h 149"/>
                <a:gd name="T66" fmla="*/ 69 w 125"/>
                <a:gd name="T67" fmla="*/ 123 h 149"/>
                <a:gd name="T68" fmla="*/ 63 w 125"/>
                <a:gd name="T69" fmla="*/ 140 h 149"/>
                <a:gd name="T70" fmla="*/ 63 w 125"/>
                <a:gd name="T71" fmla="*/ 143 h 149"/>
                <a:gd name="T72" fmla="*/ 73 w 125"/>
                <a:gd name="T73" fmla="*/ 146 h 149"/>
                <a:gd name="T74" fmla="*/ 87 w 125"/>
                <a:gd name="T75" fmla="*/ 146 h 149"/>
                <a:gd name="T76" fmla="*/ 95 w 125"/>
                <a:gd name="T77" fmla="*/ 145 h 149"/>
                <a:gd name="T78" fmla="*/ 100 w 125"/>
                <a:gd name="T79" fmla="*/ 148 h 149"/>
                <a:gd name="T80" fmla="*/ 102 w 125"/>
                <a:gd name="T81" fmla="*/ 149 h 149"/>
                <a:gd name="T82" fmla="*/ 106 w 125"/>
                <a:gd name="T83" fmla="*/ 148 h 149"/>
                <a:gd name="T84" fmla="*/ 109 w 125"/>
                <a:gd name="T85" fmla="*/ 137 h 149"/>
                <a:gd name="T86" fmla="*/ 115 w 125"/>
                <a:gd name="T87" fmla="*/ 127 h 149"/>
                <a:gd name="T88" fmla="*/ 122 w 125"/>
                <a:gd name="T89" fmla="*/ 113 h 149"/>
                <a:gd name="T90" fmla="*/ 122 w 125"/>
                <a:gd name="T91" fmla="*/ 10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5" h="149">
                  <a:moveTo>
                    <a:pt x="122" y="107"/>
                  </a:moveTo>
                  <a:lnTo>
                    <a:pt x="122" y="107"/>
                  </a:lnTo>
                  <a:lnTo>
                    <a:pt x="124" y="103"/>
                  </a:lnTo>
                  <a:lnTo>
                    <a:pt x="125" y="95"/>
                  </a:lnTo>
                  <a:lnTo>
                    <a:pt x="124" y="90"/>
                  </a:lnTo>
                  <a:lnTo>
                    <a:pt x="122" y="85"/>
                  </a:lnTo>
                  <a:lnTo>
                    <a:pt x="122" y="85"/>
                  </a:lnTo>
                  <a:lnTo>
                    <a:pt x="118" y="81"/>
                  </a:lnTo>
                  <a:lnTo>
                    <a:pt x="115" y="78"/>
                  </a:lnTo>
                  <a:lnTo>
                    <a:pt x="115" y="74"/>
                  </a:lnTo>
                  <a:lnTo>
                    <a:pt x="115" y="74"/>
                  </a:lnTo>
                  <a:lnTo>
                    <a:pt x="115" y="69"/>
                  </a:lnTo>
                  <a:lnTo>
                    <a:pt x="112" y="63"/>
                  </a:lnTo>
                  <a:lnTo>
                    <a:pt x="111" y="59"/>
                  </a:lnTo>
                  <a:lnTo>
                    <a:pt x="108" y="56"/>
                  </a:lnTo>
                  <a:lnTo>
                    <a:pt x="108" y="56"/>
                  </a:lnTo>
                  <a:lnTo>
                    <a:pt x="102" y="55"/>
                  </a:lnTo>
                  <a:lnTo>
                    <a:pt x="92" y="55"/>
                  </a:lnTo>
                  <a:lnTo>
                    <a:pt x="80" y="52"/>
                  </a:lnTo>
                  <a:lnTo>
                    <a:pt x="77" y="50"/>
                  </a:lnTo>
                  <a:lnTo>
                    <a:pt x="76" y="48"/>
                  </a:lnTo>
                  <a:lnTo>
                    <a:pt x="76" y="48"/>
                  </a:lnTo>
                  <a:lnTo>
                    <a:pt x="74" y="35"/>
                  </a:lnTo>
                  <a:lnTo>
                    <a:pt x="71" y="21"/>
                  </a:lnTo>
                  <a:lnTo>
                    <a:pt x="71" y="21"/>
                  </a:lnTo>
                  <a:lnTo>
                    <a:pt x="70" y="16"/>
                  </a:lnTo>
                  <a:lnTo>
                    <a:pt x="70" y="13"/>
                  </a:lnTo>
                  <a:lnTo>
                    <a:pt x="70" y="8"/>
                  </a:lnTo>
                  <a:lnTo>
                    <a:pt x="70" y="8"/>
                  </a:lnTo>
                  <a:lnTo>
                    <a:pt x="56" y="0"/>
                  </a:lnTo>
                  <a:lnTo>
                    <a:pt x="56" y="0"/>
                  </a:lnTo>
                  <a:lnTo>
                    <a:pt x="53" y="0"/>
                  </a:lnTo>
                  <a:lnTo>
                    <a:pt x="47" y="0"/>
                  </a:lnTo>
                  <a:lnTo>
                    <a:pt x="34" y="6"/>
                  </a:lnTo>
                  <a:lnTo>
                    <a:pt x="34" y="6"/>
                  </a:lnTo>
                  <a:lnTo>
                    <a:pt x="28" y="6"/>
                  </a:lnTo>
                  <a:lnTo>
                    <a:pt x="22" y="4"/>
                  </a:lnTo>
                  <a:lnTo>
                    <a:pt x="16" y="3"/>
                  </a:lnTo>
                  <a:lnTo>
                    <a:pt x="11" y="1"/>
                  </a:lnTo>
                  <a:lnTo>
                    <a:pt x="11" y="1"/>
                  </a:lnTo>
                  <a:lnTo>
                    <a:pt x="8" y="1"/>
                  </a:lnTo>
                  <a:lnTo>
                    <a:pt x="6" y="1"/>
                  </a:lnTo>
                  <a:lnTo>
                    <a:pt x="3" y="6"/>
                  </a:lnTo>
                  <a:lnTo>
                    <a:pt x="0" y="11"/>
                  </a:lnTo>
                  <a:lnTo>
                    <a:pt x="0" y="20"/>
                  </a:lnTo>
                  <a:lnTo>
                    <a:pt x="0" y="20"/>
                  </a:lnTo>
                  <a:lnTo>
                    <a:pt x="0" y="56"/>
                  </a:lnTo>
                  <a:lnTo>
                    <a:pt x="0" y="56"/>
                  </a:lnTo>
                  <a:lnTo>
                    <a:pt x="6" y="61"/>
                  </a:lnTo>
                  <a:lnTo>
                    <a:pt x="12" y="66"/>
                  </a:lnTo>
                  <a:lnTo>
                    <a:pt x="12" y="66"/>
                  </a:lnTo>
                  <a:lnTo>
                    <a:pt x="14" y="69"/>
                  </a:lnTo>
                  <a:lnTo>
                    <a:pt x="15" y="68"/>
                  </a:lnTo>
                  <a:lnTo>
                    <a:pt x="18" y="68"/>
                  </a:lnTo>
                  <a:lnTo>
                    <a:pt x="21" y="66"/>
                  </a:lnTo>
                  <a:lnTo>
                    <a:pt x="21" y="66"/>
                  </a:lnTo>
                  <a:lnTo>
                    <a:pt x="24" y="66"/>
                  </a:lnTo>
                  <a:lnTo>
                    <a:pt x="25" y="69"/>
                  </a:lnTo>
                  <a:lnTo>
                    <a:pt x="31" y="75"/>
                  </a:lnTo>
                  <a:lnTo>
                    <a:pt x="37" y="84"/>
                  </a:lnTo>
                  <a:lnTo>
                    <a:pt x="44" y="91"/>
                  </a:lnTo>
                  <a:lnTo>
                    <a:pt x="44" y="91"/>
                  </a:lnTo>
                  <a:lnTo>
                    <a:pt x="60" y="101"/>
                  </a:lnTo>
                  <a:lnTo>
                    <a:pt x="73" y="110"/>
                  </a:lnTo>
                  <a:lnTo>
                    <a:pt x="73" y="110"/>
                  </a:lnTo>
                  <a:lnTo>
                    <a:pt x="73" y="111"/>
                  </a:lnTo>
                  <a:lnTo>
                    <a:pt x="73" y="114"/>
                  </a:lnTo>
                  <a:lnTo>
                    <a:pt x="69" y="123"/>
                  </a:lnTo>
                  <a:lnTo>
                    <a:pt x="64" y="132"/>
                  </a:lnTo>
                  <a:lnTo>
                    <a:pt x="63" y="140"/>
                  </a:lnTo>
                  <a:lnTo>
                    <a:pt x="63" y="140"/>
                  </a:lnTo>
                  <a:lnTo>
                    <a:pt x="63" y="143"/>
                  </a:lnTo>
                  <a:lnTo>
                    <a:pt x="64" y="145"/>
                  </a:lnTo>
                  <a:lnTo>
                    <a:pt x="73" y="146"/>
                  </a:lnTo>
                  <a:lnTo>
                    <a:pt x="87" y="146"/>
                  </a:lnTo>
                  <a:lnTo>
                    <a:pt x="87" y="146"/>
                  </a:lnTo>
                  <a:lnTo>
                    <a:pt x="92" y="146"/>
                  </a:lnTo>
                  <a:lnTo>
                    <a:pt x="95" y="145"/>
                  </a:lnTo>
                  <a:lnTo>
                    <a:pt x="98" y="145"/>
                  </a:lnTo>
                  <a:lnTo>
                    <a:pt x="100" y="148"/>
                  </a:lnTo>
                  <a:lnTo>
                    <a:pt x="100" y="148"/>
                  </a:lnTo>
                  <a:lnTo>
                    <a:pt x="102" y="149"/>
                  </a:lnTo>
                  <a:lnTo>
                    <a:pt x="103" y="149"/>
                  </a:lnTo>
                  <a:lnTo>
                    <a:pt x="106" y="148"/>
                  </a:lnTo>
                  <a:lnTo>
                    <a:pt x="109" y="142"/>
                  </a:lnTo>
                  <a:lnTo>
                    <a:pt x="109" y="137"/>
                  </a:lnTo>
                  <a:lnTo>
                    <a:pt x="109" y="137"/>
                  </a:lnTo>
                  <a:lnTo>
                    <a:pt x="115" y="127"/>
                  </a:lnTo>
                  <a:lnTo>
                    <a:pt x="122" y="113"/>
                  </a:lnTo>
                  <a:lnTo>
                    <a:pt x="122" y="113"/>
                  </a:lnTo>
                  <a:lnTo>
                    <a:pt x="121" y="110"/>
                  </a:lnTo>
                  <a:lnTo>
                    <a:pt x="122" y="107"/>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13" name="Freeform 669"/>
            <p:cNvSpPr>
              <a:spLocks/>
            </p:cNvSpPr>
            <p:nvPr/>
          </p:nvSpPr>
          <p:spPr bwMode="auto">
            <a:xfrm>
              <a:off x="2714625" y="5234417"/>
              <a:ext cx="198438" cy="236538"/>
            </a:xfrm>
            <a:custGeom>
              <a:avLst/>
              <a:gdLst>
                <a:gd name="T0" fmla="*/ 122 w 125"/>
                <a:gd name="T1" fmla="*/ 107 h 149"/>
                <a:gd name="T2" fmla="*/ 125 w 125"/>
                <a:gd name="T3" fmla="*/ 95 h 149"/>
                <a:gd name="T4" fmla="*/ 122 w 125"/>
                <a:gd name="T5" fmla="*/ 85 h 149"/>
                <a:gd name="T6" fmla="*/ 118 w 125"/>
                <a:gd name="T7" fmla="*/ 81 h 149"/>
                <a:gd name="T8" fmla="*/ 115 w 125"/>
                <a:gd name="T9" fmla="*/ 74 h 149"/>
                <a:gd name="T10" fmla="*/ 115 w 125"/>
                <a:gd name="T11" fmla="*/ 69 h 149"/>
                <a:gd name="T12" fmla="*/ 111 w 125"/>
                <a:gd name="T13" fmla="*/ 59 h 149"/>
                <a:gd name="T14" fmla="*/ 108 w 125"/>
                <a:gd name="T15" fmla="*/ 56 h 149"/>
                <a:gd name="T16" fmla="*/ 92 w 125"/>
                <a:gd name="T17" fmla="*/ 55 h 149"/>
                <a:gd name="T18" fmla="*/ 77 w 125"/>
                <a:gd name="T19" fmla="*/ 50 h 149"/>
                <a:gd name="T20" fmla="*/ 76 w 125"/>
                <a:gd name="T21" fmla="*/ 48 h 149"/>
                <a:gd name="T22" fmla="*/ 71 w 125"/>
                <a:gd name="T23" fmla="*/ 21 h 149"/>
                <a:gd name="T24" fmla="*/ 70 w 125"/>
                <a:gd name="T25" fmla="*/ 16 h 149"/>
                <a:gd name="T26" fmla="*/ 70 w 125"/>
                <a:gd name="T27" fmla="*/ 8 h 149"/>
                <a:gd name="T28" fmla="*/ 56 w 125"/>
                <a:gd name="T29" fmla="*/ 0 h 149"/>
                <a:gd name="T30" fmla="*/ 53 w 125"/>
                <a:gd name="T31" fmla="*/ 0 h 149"/>
                <a:gd name="T32" fmla="*/ 34 w 125"/>
                <a:gd name="T33" fmla="*/ 6 h 149"/>
                <a:gd name="T34" fmla="*/ 28 w 125"/>
                <a:gd name="T35" fmla="*/ 6 h 149"/>
                <a:gd name="T36" fmla="*/ 16 w 125"/>
                <a:gd name="T37" fmla="*/ 3 h 149"/>
                <a:gd name="T38" fmla="*/ 11 w 125"/>
                <a:gd name="T39" fmla="*/ 1 h 149"/>
                <a:gd name="T40" fmla="*/ 6 w 125"/>
                <a:gd name="T41" fmla="*/ 1 h 149"/>
                <a:gd name="T42" fmla="*/ 0 w 125"/>
                <a:gd name="T43" fmla="*/ 11 h 149"/>
                <a:gd name="T44" fmla="*/ 0 w 125"/>
                <a:gd name="T45" fmla="*/ 20 h 149"/>
                <a:gd name="T46" fmla="*/ 0 w 125"/>
                <a:gd name="T47" fmla="*/ 56 h 149"/>
                <a:gd name="T48" fmla="*/ 12 w 125"/>
                <a:gd name="T49" fmla="*/ 66 h 149"/>
                <a:gd name="T50" fmla="*/ 14 w 125"/>
                <a:gd name="T51" fmla="*/ 69 h 149"/>
                <a:gd name="T52" fmla="*/ 18 w 125"/>
                <a:gd name="T53" fmla="*/ 68 h 149"/>
                <a:gd name="T54" fmla="*/ 21 w 125"/>
                <a:gd name="T55" fmla="*/ 66 h 149"/>
                <a:gd name="T56" fmla="*/ 25 w 125"/>
                <a:gd name="T57" fmla="*/ 69 h 149"/>
                <a:gd name="T58" fmla="*/ 37 w 125"/>
                <a:gd name="T59" fmla="*/ 84 h 149"/>
                <a:gd name="T60" fmla="*/ 44 w 125"/>
                <a:gd name="T61" fmla="*/ 91 h 149"/>
                <a:gd name="T62" fmla="*/ 73 w 125"/>
                <a:gd name="T63" fmla="*/ 110 h 149"/>
                <a:gd name="T64" fmla="*/ 73 w 125"/>
                <a:gd name="T65" fmla="*/ 111 h 149"/>
                <a:gd name="T66" fmla="*/ 69 w 125"/>
                <a:gd name="T67" fmla="*/ 123 h 149"/>
                <a:gd name="T68" fmla="*/ 63 w 125"/>
                <a:gd name="T69" fmla="*/ 140 h 149"/>
                <a:gd name="T70" fmla="*/ 63 w 125"/>
                <a:gd name="T71" fmla="*/ 143 h 149"/>
                <a:gd name="T72" fmla="*/ 73 w 125"/>
                <a:gd name="T73" fmla="*/ 146 h 149"/>
                <a:gd name="T74" fmla="*/ 87 w 125"/>
                <a:gd name="T75" fmla="*/ 146 h 149"/>
                <a:gd name="T76" fmla="*/ 95 w 125"/>
                <a:gd name="T77" fmla="*/ 145 h 149"/>
                <a:gd name="T78" fmla="*/ 100 w 125"/>
                <a:gd name="T79" fmla="*/ 148 h 149"/>
                <a:gd name="T80" fmla="*/ 102 w 125"/>
                <a:gd name="T81" fmla="*/ 149 h 149"/>
                <a:gd name="T82" fmla="*/ 106 w 125"/>
                <a:gd name="T83" fmla="*/ 148 h 149"/>
                <a:gd name="T84" fmla="*/ 109 w 125"/>
                <a:gd name="T85" fmla="*/ 137 h 149"/>
                <a:gd name="T86" fmla="*/ 115 w 125"/>
                <a:gd name="T87" fmla="*/ 127 h 149"/>
                <a:gd name="T88" fmla="*/ 122 w 125"/>
                <a:gd name="T89" fmla="*/ 113 h 149"/>
                <a:gd name="T90" fmla="*/ 122 w 125"/>
                <a:gd name="T91" fmla="*/ 10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5" h="149">
                  <a:moveTo>
                    <a:pt x="122" y="107"/>
                  </a:moveTo>
                  <a:lnTo>
                    <a:pt x="122" y="107"/>
                  </a:lnTo>
                  <a:lnTo>
                    <a:pt x="124" y="103"/>
                  </a:lnTo>
                  <a:lnTo>
                    <a:pt x="125" y="95"/>
                  </a:lnTo>
                  <a:lnTo>
                    <a:pt x="124" y="90"/>
                  </a:lnTo>
                  <a:lnTo>
                    <a:pt x="122" y="85"/>
                  </a:lnTo>
                  <a:lnTo>
                    <a:pt x="122" y="85"/>
                  </a:lnTo>
                  <a:lnTo>
                    <a:pt x="118" y="81"/>
                  </a:lnTo>
                  <a:lnTo>
                    <a:pt x="115" y="78"/>
                  </a:lnTo>
                  <a:lnTo>
                    <a:pt x="115" y="74"/>
                  </a:lnTo>
                  <a:lnTo>
                    <a:pt x="115" y="74"/>
                  </a:lnTo>
                  <a:lnTo>
                    <a:pt x="115" y="69"/>
                  </a:lnTo>
                  <a:lnTo>
                    <a:pt x="112" y="63"/>
                  </a:lnTo>
                  <a:lnTo>
                    <a:pt x="111" y="59"/>
                  </a:lnTo>
                  <a:lnTo>
                    <a:pt x="108" y="56"/>
                  </a:lnTo>
                  <a:lnTo>
                    <a:pt x="108" y="56"/>
                  </a:lnTo>
                  <a:lnTo>
                    <a:pt x="102" y="55"/>
                  </a:lnTo>
                  <a:lnTo>
                    <a:pt x="92" y="55"/>
                  </a:lnTo>
                  <a:lnTo>
                    <a:pt x="80" y="52"/>
                  </a:lnTo>
                  <a:lnTo>
                    <a:pt x="77" y="50"/>
                  </a:lnTo>
                  <a:lnTo>
                    <a:pt x="76" y="48"/>
                  </a:lnTo>
                  <a:lnTo>
                    <a:pt x="76" y="48"/>
                  </a:lnTo>
                  <a:lnTo>
                    <a:pt x="74" y="35"/>
                  </a:lnTo>
                  <a:lnTo>
                    <a:pt x="71" y="21"/>
                  </a:lnTo>
                  <a:lnTo>
                    <a:pt x="71" y="21"/>
                  </a:lnTo>
                  <a:lnTo>
                    <a:pt x="70" y="16"/>
                  </a:lnTo>
                  <a:lnTo>
                    <a:pt x="70" y="13"/>
                  </a:lnTo>
                  <a:lnTo>
                    <a:pt x="70" y="8"/>
                  </a:lnTo>
                  <a:lnTo>
                    <a:pt x="70" y="8"/>
                  </a:lnTo>
                  <a:lnTo>
                    <a:pt x="56" y="0"/>
                  </a:lnTo>
                  <a:lnTo>
                    <a:pt x="56" y="0"/>
                  </a:lnTo>
                  <a:lnTo>
                    <a:pt x="53" y="0"/>
                  </a:lnTo>
                  <a:lnTo>
                    <a:pt x="47" y="0"/>
                  </a:lnTo>
                  <a:lnTo>
                    <a:pt x="34" y="6"/>
                  </a:lnTo>
                  <a:lnTo>
                    <a:pt x="34" y="6"/>
                  </a:lnTo>
                  <a:lnTo>
                    <a:pt x="28" y="6"/>
                  </a:lnTo>
                  <a:lnTo>
                    <a:pt x="22" y="4"/>
                  </a:lnTo>
                  <a:lnTo>
                    <a:pt x="16" y="3"/>
                  </a:lnTo>
                  <a:lnTo>
                    <a:pt x="11" y="1"/>
                  </a:lnTo>
                  <a:lnTo>
                    <a:pt x="11" y="1"/>
                  </a:lnTo>
                  <a:lnTo>
                    <a:pt x="8" y="1"/>
                  </a:lnTo>
                  <a:lnTo>
                    <a:pt x="6" y="1"/>
                  </a:lnTo>
                  <a:lnTo>
                    <a:pt x="3" y="6"/>
                  </a:lnTo>
                  <a:lnTo>
                    <a:pt x="0" y="11"/>
                  </a:lnTo>
                  <a:lnTo>
                    <a:pt x="0" y="20"/>
                  </a:lnTo>
                  <a:lnTo>
                    <a:pt x="0" y="20"/>
                  </a:lnTo>
                  <a:lnTo>
                    <a:pt x="0" y="56"/>
                  </a:lnTo>
                  <a:lnTo>
                    <a:pt x="0" y="56"/>
                  </a:lnTo>
                  <a:lnTo>
                    <a:pt x="6" y="61"/>
                  </a:lnTo>
                  <a:lnTo>
                    <a:pt x="12" y="66"/>
                  </a:lnTo>
                  <a:lnTo>
                    <a:pt x="12" y="66"/>
                  </a:lnTo>
                  <a:lnTo>
                    <a:pt x="14" y="69"/>
                  </a:lnTo>
                  <a:lnTo>
                    <a:pt x="15" y="68"/>
                  </a:lnTo>
                  <a:lnTo>
                    <a:pt x="18" y="68"/>
                  </a:lnTo>
                  <a:lnTo>
                    <a:pt x="21" y="66"/>
                  </a:lnTo>
                  <a:lnTo>
                    <a:pt x="21" y="66"/>
                  </a:lnTo>
                  <a:lnTo>
                    <a:pt x="24" y="66"/>
                  </a:lnTo>
                  <a:lnTo>
                    <a:pt x="25" y="69"/>
                  </a:lnTo>
                  <a:lnTo>
                    <a:pt x="31" y="75"/>
                  </a:lnTo>
                  <a:lnTo>
                    <a:pt x="37" y="84"/>
                  </a:lnTo>
                  <a:lnTo>
                    <a:pt x="44" y="91"/>
                  </a:lnTo>
                  <a:lnTo>
                    <a:pt x="44" y="91"/>
                  </a:lnTo>
                  <a:lnTo>
                    <a:pt x="60" y="101"/>
                  </a:lnTo>
                  <a:lnTo>
                    <a:pt x="73" y="110"/>
                  </a:lnTo>
                  <a:lnTo>
                    <a:pt x="73" y="110"/>
                  </a:lnTo>
                  <a:lnTo>
                    <a:pt x="73" y="111"/>
                  </a:lnTo>
                  <a:lnTo>
                    <a:pt x="73" y="114"/>
                  </a:lnTo>
                  <a:lnTo>
                    <a:pt x="69" y="123"/>
                  </a:lnTo>
                  <a:lnTo>
                    <a:pt x="64" y="132"/>
                  </a:lnTo>
                  <a:lnTo>
                    <a:pt x="63" y="140"/>
                  </a:lnTo>
                  <a:lnTo>
                    <a:pt x="63" y="140"/>
                  </a:lnTo>
                  <a:lnTo>
                    <a:pt x="63" y="143"/>
                  </a:lnTo>
                  <a:lnTo>
                    <a:pt x="64" y="145"/>
                  </a:lnTo>
                  <a:lnTo>
                    <a:pt x="73" y="146"/>
                  </a:lnTo>
                  <a:lnTo>
                    <a:pt x="87" y="146"/>
                  </a:lnTo>
                  <a:lnTo>
                    <a:pt x="87" y="146"/>
                  </a:lnTo>
                  <a:lnTo>
                    <a:pt x="92" y="146"/>
                  </a:lnTo>
                  <a:lnTo>
                    <a:pt x="95" y="145"/>
                  </a:lnTo>
                  <a:lnTo>
                    <a:pt x="98" y="145"/>
                  </a:lnTo>
                  <a:lnTo>
                    <a:pt x="100" y="148"/>
                  </a:lnTo>
                  <a:lnTo>
                    <a:pt x="100" y="148"/>
                  </a:lnTo>
                  <a:lnTo>
                    <a:pt x="102" y="149"/>
                  </a:lnTo>
                  <a:lnTo>
                    <a:pt x="103" y="149"/>
                  </a:lnTo>
                  <a:lnTo>
                    <a:pt x="106" y="148"/>
                  </a:lnTo>
                  <a:lnTo>
                    <a:pt x="109" y="142"/>
                  </a:lnTo>
                  <a:lnTo>
                    <a:pt x="109" y="137"/>
                  </a:lnTo>
                  <a:lnTo>
                    <a:pt x="109" y="137"/>
                  </a:lnTo>
                  <a:lnTo>
                    <a:pt x="115" y="127"/>
                  </a:lnTo>
                  <a:lnTo>
                    <a:pt x="122" y="113"/>
                  </a:lnTo>
                  <a:lnTo>
                    <a:pt x="122" y="113"/>
                  </a:lnTo>
                  <a:lnTo>
                    <a:pt x="121" y="110"/>
                  </a:lnTo>
                  <a:lnTo>
                    <a:pt x="122" y="10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14" name="Freeform 670"/>
            <p:cNvSpPr>
              <a:spLocks/>
            </p:cNvSpPr>
            <p:nvPr/>
          </p:nvSpPr>
          <p:spPr bwMode="auto">
            <a:xfrm>
              <a:off x="2292350" y="4445429"/>
              <a:ext cx="298450" cy="427038"/>
            </a:xfrm>
            <a:custGeom>
              <a:avLst/>
              <a:gdLst>
                <a:gd name="T0" fmla="*/ 171 w 188"/>
                <a:gd name="T1" fmla="*/ 127 h 269"/>
                <a:gd name="T2" fmla="*/ 172 w 188"/>
                <a:gd name="T3" fmla="*/ 119 h 269"/>
                <a:gd name="T4" fmla="*/ 182 w 188"/>
                <a:gd name="T5" fmla="*/ 100 h 269"/>
                <a:gd name="T6" fmla="*/ 174 w 188"/>
                <a:gd name="T7" fmla="*/ 100 h 269"/>
                <a:gd name="T8" fmla="*/ 164 w 188"/>
                <a:gd name="T9" fmla="*/ 101 h 269"/>
                <a:gd name="T10" fmla="*/ 116 w 188"/>
                <a:gd name="T11" fmla="*/ 90 h 269"/>
                <a:gd name="T12" fmla="*/ 104 w 188"/>
                <a:gd name="T13" fmla="*/ 84 h 269"/>
                <a:gd name="T14" fmla="*/ 98 w 188"/>
                <a:gd name="T15" fmla="*/ 74 h 269"/>
                <a:gd name="T16" fmla="*/ 94 w 188"/>
                <a:gd name="T17" fmla="*/ 55 h 269"/>
                <a:gd name="T18" fmla="*/ 93 w 188"/>
                <a:gd name="T19" fmla="*/ 52 h 269"/>
                <a:gd name="T20" fmla="*/ 96 w 188"/>
                <a:gd name="T21" fmla="*/ 36 h 269"/>
                <a:gd name="T22" fmla="*/ 104 w 188"/>
                <a:gd name="T23" fmla="*/ 20 h 269"/>
                <a:gd name="T24" fmla="*/ 116 w 188"/>
                <a:gd name="T25" fmla="*/ 19 h 269"/>
                <a:gd name="T26" fmla="*/ 120 w 188"/>
                <a:gd name="T27" fmla="*/ 14 h 269"/>
                <a:gd name="T28" fmla="*/ 126 w 188"/>
                <a:gd name="T29" fmla="*/ 7 h 269"/>
                <a:gd name="T30" fmla="*/ 119 w 188"/>
                <a:gd name="T31" fmla="*/ 1 h 269"/>
                <a:gd name="T32" fmla="*/ 107 w 188"/>
                <a:gd name="T33" fmla="*/ 4 h 269"/>
                <a:gd name="T34" fmla="*/ 91 w 188"/>
                <a:gd name="T35" fmla="*/ 17 h 269"/>
                <a:gd name="T36" fmla="*/ 83 w 188"/>
                <a:gd name="T37" fmla="*/ 16 h 269"/>
                <a:gd name="T38" fmla="*/ 77 w 188"/>
                <a:gd name="T39" fmla="*/ 16 h 269"/>
                <a:gd name="T40" fmla="*/ 64 w 188"/>
                <a:gd name="T41" fmla="*/ 26 h 269"/>
                <a:gd name="T42" fmla="*/ 56 w 188"/>
                <a:gd name="T43" fmla="*/ 29 h 269"/>
                <a:gd name="T44" fmla="*/ 55 w 188"/>
                <a:gd name="T45" fmla="*/ 33 h 269"/>
                <a:gd name="T46" fmla="*/ 52 w 188"/>
                <a:gd name="T47" fmla="*/ 41 h 269"/>
                <a:gd name="T48" fmla="*/ 52 w 188"/>
                <a:gd name="T49" fmla="*/ 48 h 269"/>
                <a:gd name="T50" fmla="*/ 48 w 188"/>
                <a:gd name="T51" fmla="*/ 51 h 269"/>
                <a:gd name="T52" fmla="*/ 39 w 188"/>
                <a:gd name="T53" fmla="*/ 61 h 269"/>
                <a:gd name="T54" fmla="*/ 29 w 188"/>
                <a:gd name="T55" fmla="*/ 61 h 269"/>
                <a:gd name="T56" fmla="*/ 26 w 188"/>
                <a:gd name="T57" fmla="*/ 74 h 269"/>
                <a:gd name="T58" fmla="*/ 25 w 188"/>
                <a:gd name="T59" fmla="*/ 94 h 269"/>
                <a:gd name="T60" fmla="*/ 26 w 188"/>
                <a:gd name="T61" fmla="*/ 110 h 269"/>
                <a:gd name="T62" fmla="*/ 26 w 188"/>
                <a:gd name="T63" fmla="*/ 113 h 269"/>
                <a:gd name="T64" fmla="*/ 25 w 188"/>
                <a:gd name="T65" fmla="*/ 122 h 269"/>
                <a:gd name="T66" fmla="*/ 26 w 188"/>
                <a:gd name="T67" fmla="*/ 126 h 269"/>
                <a:gd name="T68" fmla="*/ 26 w 188"/>
                <a:gd name="T69" fmla="*/ 136 h 269"/>
                <a:gd name="T70" fmla="*/ 26 w 188"/>
                <a:gd name="T71" fmla="*/ 145 h 269"/>
                <a:gd name="T72" fmla="*/ 20 w 188"/>
                <a:gd name="T73" fmla="*/ 155 h 269"/>
                <a:gd name="T74" fmla="*/ 10 w 188"/>
                <a:gd name="T75" fmla="*/ 156 h 269"/>
                <a:gd name="T76" fmla="*/ 7 w 188"/>
                <a:gd name="T77" fmla="*/ 165 h 269"/>
                <a:gd name="T78" fmla="*/ 4 w 188"/>
                <a:gd name="T79" fmla="*/ 174 h 269"/>
                <a:gd name="T80" fmla="*/ 12 w 188"/>
                <a:gd name="T81" fmla="*/ 182 h 269"/>
                <a:gd name="T82" fmla="*/ 36 w 188"/>
                <a:gd name="T83" fmla="*/ 195 h 269"/>
                <a:gd name="T84" fmla="*/ 64 w 188"/>
                <a:gd name="T85" fmla="*/ 203 h 269"/>
                <a:gd name="T86" fmla="*/ 72 w 188"/>
                <a:gd name="T87" fmla="*/ 209 h 269"/>
                <a:gd name="T88" fmla="*/ 88 w 188"/>
                <a:gd name="T89" fmla="*/ 224 h 269"/>
                <a:gd name="T90" fmla="*/ 114 w 188"/>
                <a:gd name="T91" fmla="*/ 236 h 269"/>
                <a:gd name="T92" fmla="*/ 130 w 188"/>
                <a:gd name="T93" fmla="*/ 237 h 269"/>
                <a:gd name="T94" fmla="*/ 135 w 188"/>
                <a:gd name="T95" fmla="*/ 239 h 269"/>
                <a:gd name="T96" fmla="*/ 133 w 188"/>
                <a:gd name="T97" fmla="*/ 252 h 269"/>
                <a:gd name="T98" fmla="*/ 136 w 188"/>
                <a:gd name="T99" fmla="*/ 262 h 269"/>
                <a:gd name="T100" fmla="*/ 136 w 188"/>
                <a:gd name="T101" fmla="*/ 268 h 269"/>
                <a:gd name="T102" fmla="*/ 140 w 188"/>
                <a:gd name="T103" fmla="*/ 259 h 269"/>
                <a:gd name="T104" fmla="*/ 146 w 188"/>
                <a:gd name="T105" fmla="*/ 242 h 269"/>
                <a:gd name="T106" fmla="*/ 155 w 188"/>
                <a:gd name="T107" fmla="*/ 211 h 269"/>
                <a:gd name="T108" fmla="*/ 148 w 188"/>
                <a:gd name="T109" fmla="*/ 201 h 269"/>
                <a:gd name="T110" fmla="*/ 145 w 188"/>
                <a:gd name="T111" fmla="*/ 194 h 269"/>
                <a:gd name="T112" fmla="*/ 155 w 188"/>
                <a:gd name="T113" fmla="*/ 182 h 269"/>
                <a:gd name="T114" fmla="*/ 169 w 188"/>
                <a:gd name="T115" fmla="*/ 184 h 269"/>
                <a:gd name="T116" fmla="*/ 175 w 188"/>
                <a:gd name="T117" fmla="*/ 180 h 269"/>
                <a:gd name="T118" fmla="*/ 177 w 188"/>
                <a:gd name="T119" fmla="*/ 171 h 269"/>
                <a:gd name="T120" fmla="*/ 188 w 188"/>
                <a:gd name="T121" fmla="*/ 169 h 269"/>
                <a:gd name="T122" fmla="*/ 184 w 188"/>
                <a:gd name="T123" fmla="*/ 161 h 269"/>
                <a:gd name="T124" fmla="*/ 180 w 188"/>
                <a:gd name="T125" fmla="*/ 151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269">
                  <a:moveTo>
                    <a:pt x="175" y="138"/>
                  </a:moveTo>
                  <a:lnTo>
                    <a:pt x="175" y="138"/>
                  </a:lnTo>
                  <a:lnTo>
                    <a:pt x="171" y="127"/>
                  </a:lnTo>
                  <a:lnTo>
                    <a:pt x="171" y="123"/>
                  </a:lnTo>
                  <a:lnTo>
                    <a:pt x="172" y="119"/>
                  </a:lnTo>
                  <a:lnTo>
                    <a:pt x="172" y="119"/>
                  </a:lnTo>
                  <a:lnTo>
                    <a:pt x="180" y="107"/>
                  </a:lnTo>
                  <a:lnTo>
                    <a:pt x="182" y="101"/>
                  </a:lnTo>
                  <a:lnTo>
                    <a:pt x="182" y="100"/>
                  </a:lnTo>
                  <a:lnTo>
                    <a:pt x="181" y="98"/>
                  </a:lnTo>
                  <a:lnTo>
                    <a:pt x="181" y="98"/>
                  </a:lnTo>
                  <a:lnTo>
                    <a:pt x="174" y="100"/>
                  </a:lnTo>
                  <a:lnTo>
                    <a:pt x="169" y="101"/>
                  </a:lnTo>
                  <a:lnTo>
                    <a:pt x="164" y="101"/>
                  </a:lnTo>
                  <a:lnTo>
                    <a:pt x="164" y="101"/>
                  </a:lnTo>
                  <a:lnTo>
                    <a:pt x="140" y="94"/>
                  </a:lnTo>
                  <a:lnTo>
                    <a:pt x="126" y="91"/>
                  </a:lnTo>
                  <a:lnTo>
                    <a:pt x="116" y="90"/>
                  </a:lnTo>
                  <a:lnTo>
                    <a:pt x="116" y="90"/>
                  </a:lnTo>
                  <a:lnTo>
                    <a:pt x="110" y="88"/>
                  </a:lnTo>
                  <a:lnTo>
                    <a:pt x="104" y="84"/>
                  </a:lnTo>
                  <a:lnTo>
                    <a:pt x="101" y="80"/>
                  </a:lnTo>
                  <a:lnTo>
                    <a:pt x="98" y="74"/>
                  </a:lnTo>
                  <a:lnTo>
                    <a:pt x="98" y="74"/>
                  </a:lnTo>
                  <a:lnTo>
                    <a:pt x="98" y="64"/>
                  </a:lnTo>
                  <a:lnTo>
                    <a:pt x="97" y="58"/>
                  </a:lnTo>
                  <a:lnTo>
                    <a:pt x="94" y="55"/>
                  </a:lnTo>
                  <a:lnTo>
                    <a:pt x="94" y="55"/>
                  </a:lnTo>
                  <a:lnTo>
                    <a:pt x="93" y="54"/>
                  </a:lnTo>
                  <a:lnTo>
                    <a:pt x="93" y="52"/>
                  </a:lnTo>
                  <a:lnTo>
                    <a:pt x="93" y="48"/>
                  </a:lnTo>
                  <a:lnTo>
                    <a:pt x="96" y="36"/>
                  </a:lnTo>
                  <a:lnTo>
                    <a:pt x="96" y="36"/>
                  </a:lnTo>
                  <a:lnTo>
                    <a:pt x="97" y="30"/>
                  </a:lnTo>
                  <a:lnTo>
                    <a:pt x="101" y="23"/>
                  </a:lnTo>
                  <a:lnTo>
                    <a:pt x="104" y="20"/>
                  </a:lnTo>
                  <a:lnTo>
                    <a:pt x="107" y="19"/>
                  </a:lnTo>
                  <a:lnTo>
                    <a:pt x="112" y="17"/>
                  </a:lnTo>
                  <a:lnTo>
                    <a:pt x="116" y="19"/>
                  </a:lnTo>
                  <a:lnTo>
                    <a:pt x="116" y="19"/>
                  </a:lnTo>
                  <a:lnTo>
                    <a:pt x="120" y="14"/>
                  </a:lnTo>
                  <a:lnTo>
                    <a:pt x="120" y="14"/>
                  </a:lnTo>
                  <a:lnTo>
                    <a:pt x="123" y="13"/>
                  </a:lnTo>
                  <a:lnTo>
                    <a:pt x="126" y="10"/>
                  </a:lnTo>
                  <a:lnTo>
                    <a:pt x="126" y="7"/>
                  </a:lnTo>
                  <a:lnTo>
                    <a:pt x="123" y="3"/>
                  </a:lnTo>
                  <a:lnTo>
                    <a:pt x="123" y="3"/>
                  </a:lnTo>
                  <a:lnTo>
                    <a:pt x="119" y="1"/>
                  </a:lnTo>
                  <a:lnTo>
                    <a:pt x="116" y="0"/>
                  </a:lnTo>
                  <a:lnTo>
                    <a:pt x="112" y="1"/>
                  </a:lnTo>
                  <a:lnTo>
                    <a:pt x="107" y="4"/>
                  </a:lnTo>
                  <a:lnTo>
                    <a:pt x="107" y="4"/>
                  </a:lnTo>
                  <a:lnTo>
                    <a:pt x="97" y="13"/>
                  </a:lnTo>
                  <a:lnTo>
                    <a:pt x="91" y="17"/>
                  </a:lnTo>
                  <a:lnTo>
                    <a:pt x="87" y="19"/>
                  </a:lnTo>
                  <a:lnTo>
                    <a:pt x="87" y="19"/>
                  </a:lnTo>
                  <a:lnTo>
                    <a:pt x="83" y="16"/>
                  </a:lnTo>
                  <a:lnTo>
                    <a:pt x="80" y="16"/>
                  </a:lnTo>
                  <a:lnTo>
                    <a:pt x="77" y="16"/>
                  </a:lnTo>
                  <a:lnTo>
                    <a:pt x="77" y="16"/>
                  </a:lnTo>
                  <a:lnTo>
                    <a:pt x="71" y="22"/>
                  </a:lnTo>
                  <a:lnTo>
                    <a:pt x="67" y="25"/>
                  </a:lnTo>
                  <a:lnTo>
                    <a:pt x="64" y="26"/>
                  </a:lnTo>
                  <a:lnTo>
                    <a:pt x="64" y="26"/>
                  </a:lnTo>
                  <a:lnTo>
                    <a:pt x="58" y="27"/>
                  </a:lnTo>
                  <a:lnTo>
                    <a:pt x="56" y="29"/>
                  </a:lnTo>
                  <a:lnTo>
                    <a:pt x="56" y="32"/>
                  </a:lnTo>
                  <a:lnTo>
                    <a:pt x="56" y="32"/>
                  </a:lnTo>
                  <a:lnTo>
                    <a:pt x="55" y="33"/>
                  </a:lnTo>
                  <a:lnTo>
                    <a:pt x="54" y="36"/>
                  </a:lnTo>
                  <a:lnTo>
                    <a:pt x="52" y="38"/>
                  </a:lnTo>
                  <a:lnTo>
                    <a:pt x="52" y="41"/>
                  </a:lnTo>
                  <a:lnTo>
                    <a:pt x="52" y="41"/>
                  </a:lnTo>
                  <a:lnTo>
                    <a:pt x="54" y="46"/>
                  </a:lnTo>
                  <a:lnTo>
                    <a:pt x="52" y="48"/>
                  </a:lnTo>
                  <a:lnTo>
                    <a:pt x="51" y="48"/>
                  </a:lnTo>
                  <a:lnTo>
                    <a:pt x="51" y="48"/>
                  </a:lnTo>
                  <a:lnTo>
                    <a:pt x="48" y="51"/>
                  </a:lnTo>
                  <a:lnTo>
                    <a:pt x="45" y="54"/>
                  </a:lnTo>
                  <a:lnTo>
                    <a:pt x="39" y="61"/>
                  </a:lnTo>
                  <a:lnTo>
                    <a:pt x="39" y="61"/>
                  </a:lnTo>
                  <a:lnTo>
                    <a:pt x="35" y="62"/>
                  </a:lnTo>
                  <a:lnTo>
                    <a:pt x="32" y="62"/>
                  </a:lnTo>
                  <a:lnTo>
                    <a:pt x="29" y="61"/>
                  </a:lnTo>
                  <a:lnTo>
                    <a:pt x="29" y="61"/>
                  </a:lnTo>
                  <a:lnTo>
                    <a:pt x="29" y="61"/>
                  </a:lnTo>
                  <a:lnTo>
                    <a:pt x="26" y="74"/>
                  </a:lnTo>
                  <a:lnTo>
                    <a:pt x="22" y="88"/>
                  </a:lnTo>
                  <a:lnTo>
                    <a:pt x="22" y="88"/>
                  </a:lnTo>
                  <a:lnTo>
                    <a:pt x="25" y="94"/>
                  </a:lnTo>
                  <a:lnTo>
                    <a:pt x="25" y="101"/>
                  </a:lnTo>
                  <a:lnTo>
                    <a:pt x="25" y="101"/>
                  </a:lnTo>
                  <a:lnTo>
                    <a:pt x="26" y="110"/>
                  </a:lnTo>
                  <a:lnTo>
                    <a:pt x="26" y="111"/>
                  </a:lnTo>
                  <a:lnTo>
                    <a:pt x="26" y="113"/>
                  </a:lnTo>
                  <a:lnTo>
                    <a:pt x="26" y="113"/>
                  </a:lnTo>
                  <a:lnTo>
                    <a:pt x="23" y="117"/>
                  </a:lnTo>
                  <a:lnTo>
                    <a:pt x="25" y="120"/>
                  </a:lnTo>
                  <a:lnTo>
                    <a:pt x="25" y="122"/>
                  </a:lnTo>
                  <a:lnTo>
                    <a:pt x="25" y="122"/>
                  </a:lnTo>
                  <a:lnTo>
                    <a:pt x="26" y="125"/>
                  </a:lnTo>
                  <a:lnTo>
                    <a:pt x="26" y="126"/>
                  </a:lnTo>
                  <a:lnTo>
                    <a:pt x="25" y="133"/>
                  </a:lnTo>
                  <a:lnTo>
                    <a:pt x="25" y="133"/>
                  </a:lnTo>
                  <a:lnTo>
                    <a:pt x="26" y="136"/>
                  </a:lnTo>
                  <a:lnTo>
                    <a:pt x="28" y="139"/>
                  </a:lnTo>
                  <a:lnTo>
                    <a:pt x="28" y="142"/>
                  </a:lnTo>
                  <a:lnTo>
                    <a:pt x="26" y="145"/>
                  </a:lnTo>
                  <a:lnTo>
                    <a:pt x="26" y="145"/>
                  </a:lnTo>
                  <a:lnTo>
                    <a:pt x="22" y="152"/>
                  </a:lnTo>
                  <a:lnTo>
                    <a:pt x="20" y="155"/>
                  </a:lnTo>
                  <a:lnTo>
                    <a:pt x="17" y="156"/>
                  </a:lnTo>
                  <a:lnTo>
                    <a:pt x="17" y="156"/>
                  </a:lnTo>
                  <a:lnTo>
                    <a:pt x="10" y="156"/>
                  </a:lnTo>
                  <a:lnTo>
                    <a:pt x="7" y="159"/>
                  </a:lnTo>
                  <a:lnTo>
                    <a:pt x="7" y="159"/>
                  </a:lnTo>
                  <a:lnTo>
                    <a:pt x="7" y="165"/>
                  </a:lnTo>
                  <a:lnTo>
                    <a:pt x="6" y="169"/>
                  </a:lnTo>
                  <a:lnTo>
                    <a:pt x="4" y="174"/>
                  </a:lnTo>
                  <a:lnTo>
                    <a:pt x="4" y="174"/>
                  </a:lnTo>
                  <a:lnTo>
                    <a:pt x="0" y="180"/>
                  </a:lnTo>
                  <a:lnTo>
                    <a:pt x="0" y="180"/>
                  </a:lnTo>
                  <a:lnTo>
                    <a:pt x="12" y="182"/>
                  </a:lnTo>
                  <a:lnTo>
                    <a:pt x="22" y="188"/>
                  </a:lnTo>
                  <a:lnTo>
                    <a:pt x="36" y="195"/>
                  </a:lnTo>
                  <a:lnTo>
                    <a:pt x="36" y="195"/>
                  </a:lnTo>
                  <a:lnTo>
                    <a:pt x="42" y="198"/>
                  </a:lnTo>
                  <a:lnTo>
                    <a:pt x="48" y="200"/>
                  </a:lnTo>
                  <a:lnTo>
                    <a:pt x="64" y="203"/>
                  </a:lnTo>
                  <a:lnTo>
                    <a:pt x="64" y="203"/>
                  </a:lnTo>
                  <a:lnTo>
                    <a:pt x="68" y="204"/>
                  </a:lnTo>
                  <a:lnTo>
                    <a:pt x="72" y="209"/>
                  </a:lnTo>
                  <a:lnTo>
                    <a:pt x="81" y="219"/>
                  </a:lnTo>
                  <a:lnTo>
                    <a:pt x="81" y="219"/>
                  </a:lnTo>
                  <a:lnTo>
                    <a:pt x="88" y="224"/>
                  </a:lnTo>
                  <a:lnTo>
                    <a:pt x="97" y="229"/>
                  </a:lnTo>
                  <a:lnTo>
                    <a:pt x="114" y="236"/>
                  </a:lnTo>
                  <a:lnTo>
                    <a:pt x="114" y="236"/>
                  </a:lnTo>
                  <a:lnTo>
                    <a:pt x="122" y="239"/>
                  </a:lnTo>
                  <a:lnTo>
                    <a:pt x="127" y="239"/>
                  </a:lnTo>
                  <a:lnTo>
                    <a:pt x="130" y="237"/>
                  </a:lnTo>
                  <a:lnTo>
                    <a:pt x="133" y="237"/>
                  </a:lnTo>
                  <a:lnTo>
                    <a:pt x="133" y="237"/>
                  </a:lnTo>
                  <a:lnTo>
                    <a:pt x="135" y="239"/>
                  </a:lnTo>
                  <a:lnTo>
                    <a:pt x="135" y="243"/>
                  </a:lnTo>
                  <a:lnTo>
                    <a:pt x="133" y="252"/>
                  </a:lnTo>
                  <a:lnTo>
                    <a:pt x="133" y="252"/>
                  </a:lnTo>
                  <a:lnTo>
                    <a:pt x="133" y="255"/>
                  </a:lnTo>
                  <a:lnTo>
                    <a:pt x="135" y="259"/>
                  </a:lnTo>
                  <a:lnTo>
                    <a:pt x="136" y="262"/>
                  </a:lnTo>
                  <a:lnTo>
                    <a:pt x="136" y="266"/>
                  </a:lnTo>
                  <a:lnTo>
                    <a:pt x="136" y="266"/>
                  </a:lnTo>
                  <a:lnTo>
                    <a:pt x="136" y="268"/>
                  </a:lnTo>
                  <a:lnTo>
                    <a:pt x="139" y="269"/>
                  </a:lnTo>
                  <a:lnTo>
                    <a:pt x="139" y="269"/>
                  </a:lnTo>
                  <a:lnTo>
                    <a:pt x="140" y="259"/>
                  </a:lnTo>
                  <a:lnTo>
                    <a:pt x="142" y="251"/>
                  </a:lnTo>
                  <a:lnTo>
                    <a:pt x="146" y="242"/>
                  </a:lnTo>
                  <a:lnTo>
                    <a:pt x="146" y="242"/>
                  </a:lnTo>
                  <a:lnTo>
                    <a:pt x="152" y="226"/>
                  </a:lnTo>
                  <a:lnTo>
                    <a:pt x="155" y="219"/>
                  </a:lnTo>
                  <a:lnTo>
                    <a:pt x="155" y="211"/>
                  </a:lnTo>
                  <a:lnTo>
                    <a:pt x="155" y="211"/>
                  </a:lnTo>
                  <a:lnTo>
                    <a:pt x="152" y="207"/>
                  </a:lnTo>
                  <a:lnTo>
                    <a:pt x="148" y="201"/>
                  </a:lnTo>
                  <a:lnTo>
                    <a:pt x="145" y="197"/>
                  </a:lnTo>
                  <a:lnTo>
                    <a:pt x="145" y="195"/>
                  </a:lnTo>
                  <a:lnTo>
                    <a:pt x="145" y="194"/>
                  </a:lnTo>
                  <a:lnTo>
                    <a:pt x="145" y="194"/>
                  </a:lnTo>
                  <a:lnTo>
                    <a:pt x="152" y="185"/>
                  </a:lnTo>
                  <a:lnTo>
                    <a:pt x="155" y="182"/>
                  </a:lnTo>
                  <a:lnTo>
                    <a:pt x="159" y="182"/>
                  </a:lnTo>
                  <a:lnTo>
                    <a:pt x="159" y="182"/>
                  </a:lnTo>
                  <a:lnTo>
                    <a:pt x="169" y="184"/>
                  </a:lnTo>
                  <a:lnTo>
                    <a:pt x="174" y="182"/>
                  </a:lnTo>
                  <a:lnTo>
                    <a:pt x="175" y="180"/>
                  </a:lnTo>
                  <a:lnTo>
                    <a:pt x="175" y="180"/>
                  </a:lnTo>
                  <a:lnTo>
                    <a:pt x="174" y="174"/>
                  </a:lnTo>
                  <a:lnTo>
                    <a:pt x="174" y="171"/>
                  </a:lnTo>
                  <a:lnTo>
                    <a:pt x="177" y="171"/>
                  </a:lnTo>
                  <a:lnTo>
                    <a:pt x="177" y="171"/>
                  </a:lnTo>
                  <a:lnTo>
                    <a:pt x="184" y="169"/>
                  </a:lnTo>
                  <a:lnTo>
                    <a:pt x="188" y="169"/>
                  </a:lnTo>
                  <a:lnTo>
                    <a:pt x="188" y="169"/>
                  </a:lnTo>
                  <a:lnTo>
                    <a:pt x="187" y="165"/>
                  </a:lnTo>
                  <a:lnTo>
                    <a:pt x="184" y="161"/>
                  </a:lnTo>
                  <a:lnTo>
                    <a:pt x="184" y="161"/>
                  </a:lnTo>
                  <a:lnTo>
                    <a:pt x="181" y="155"/>
                  </a:lnTo>
                  <a:lnTo>
                    <a:pt x="180" y="151"/>
                  </a:lnTo>
                  <a:lnTo>
                    <a:pt x="175" y="138"/>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15" name="Freeform 671"/>
            <p:cNvSpPr>
              <a:spLocks/>
            </p:cNvSpPr>
            <p:nvPr/>
          </p:nvSpPr>
          <p:spPr bwMode="auto">
            <a:xfrm>
              <a:off x="2292350" y="4445429"/>
              <a:ext cx="298450" cy="427038"/>
            </a:xfrm>
            <a:custGeom>
              <a:avLst/>
              <a:gdLst>
                <a:gd name="T0" fmla="*/ 171 w 188"/>
                <a:gd name="T1" fmla="*/ 127 h 269"/>
                <a:gd name="T2" fmla="*/ 172 w 188"/>
                <a:gd name="T3" fmla="*/ 119 h 269"/>
                <a:gd name="T4" fmla="*/ 182 w 188"/>
                <a:gd name="T5" fmla="*/ 100 h 269"/>
                <a:gd name="T6" fmla="*/ 174 w 188"/>
                <a:gd name="T7" fmla="*/ 100 h 269"/>
                <a:gd name="T8" fmla="*/ 164 w 188"/>
                <a:gd name="T9" fmla="*/ 101 h 269"/>
                <a:gd name="T10" fmla="*/ 116 w 188"/>
                <a:gd name="T11" fmla="*/ 90 h 269"/>
                <a:gd name="T12" fmla="*/ 104 w 188"/>
                <a:gd name="T13" fmla="*/ 84 h 269"/>
                <a:gd name="T14" fmla="*/ 98 w 188"/>
                <a:gd name="T15" fmla="*/ 74 h 269"/>
                <a:gd name="T16" fmla="*/ 94 w 188"/>
                <a:gd name="T17" fmla="*/ 55 h 269"/>
                <a:gd name="T18" fmla="*/ 93 w 188"/>
                <a:gd name="T19" fmla="*/ 52 h 269"/>
                <a:gd name="T20" fmla="*/ 96 w 188"/>
                <a:gd name="T21" fmla="*/ 36 h 269"/>
                <a:gd name="T22" fmla="*/ 104 w 188"/>
                <a:gd name="T23" fmla="*/ 20 h 269"/>
                <a:gd name="T24" fmla="*/ 116 w 188"/>
                <a:gd name="T25" fmla="*/ 19 h 269"/>
                <a:gd name="T26" fmla="*/ 120 w 188"/>
                <a:gd name="T27" fmla="*/ 14 h 269"/>
                <a:gd name="T28" fmla="*/ 126 w 188"/>
                <a:gd name="T29" fmla="*/ 7 h 269"/>
                <a:gd name="T30" fmla="*/ 119 w 188"/>
                <a:gd name="T31" fmla="*/ 1 h 269"/>
                <a:gd name="T32" fmla="*/ 107 w 188"/>
                <a:gd name="T33" fmla="*/ 4 h 269"/>
                <a:gd name="T34" fmla="*/ 91 w 188"/>
                <a:gd name="T35" fmla="*/ 17 h 269"/>
                <a:gd name="T36" fmla="*/ 83 w 188"/>
                <a:gd name="T37" fmla="*/ 16 h 269"/>
                <a:gd name="T38" fmla="*/ 77 w 188"/>
                <a:gd name="T39" fmla="*/ 16 h 269"/>
                <a:gd name="T40" fmla="*/ 64 w 188"/>
                <a:gd name="T41" fmla="*/ 26 h 269"/>
                <a:gd name="T42" fmla="*/ 56 w 188"/>
                <a:gd name="T43" fmla="*/ 29 h 269"/>
                <a:gd name="T44" fmla="*/ 55 w 188"/>
                <a:gd name="T45" fmla="*/ 33 h 269"/>
                <a:gd name="T46" fmla="*/ 52 w 188"/>
                <a:gd name="T47" fmla="*/ 41 h 269"/>
                <a:gd name="T48" fmla="*/ 52 w 188"/>
                <a:gd name="T49" fmla="*/ 48 h 269"/>
                <a:gd name="T50" fmla="*/ 48 w 188"/>
                <a:gd name="T51" fmla="*/ 51 h 269"/>
                <a:gd name="T52" fmla="*/ 39 w 188"/>
                <a:gd name="T53" fmla="*/ 61 h 269"/>
                <a:gd name="T54" fmla="*/ 29 w 188"/>
                <a:gd name="T55" fmla="*/ 61 h 269"/>
                <a:gd name="T56" fmla="*/ 26 w 188"/>
                <a:gd name="T57" fmla="*/ 74 h 269"/>
                <a:gd name="T58" fmla="*/ 25 w 188"/>
                <a:gd name="T59" fmla="*/ 94 h 269"/>
                <a:gd name="T60" fmla="*/ 26 w 188"/>
                <a:gd name="T61" fmla="*/ 110 h 269"/>
                <a:gd name="T62" fmla="*/ 26 w 188"/>
                <a:gd name="T63" fmla="*/ 113 h 269"/>
                <a:gd name="T64" fmla="*/ 25 w 188"/>
                <a:gd name="T65" fmla="*/ 122 h 269"/>
                <a:gd name="T66" fmla="*/ 26 w 188"/>
                <a:gd name="T67" fmla="*/ 126 h 269"/>
                <a:gd name="T68" fmla="*/ 26 w 188"/>
                <a:gd name="T69" fmla="*/ 136 h 269"/>
                <a:gd name="T70" fmla="*/ 26 w 188"/>
                <a:gd name="T71" fmla="*/ 145 h 269"/>
                <a:gd name="T72" fmla="*/ 20 w 188"/>
                <a:gd name="T73" fmla="*/ 155 h 269"/>
                <a:gd name="T74" fmla="*/ 10 w 188"/>
                <a:gd name="T75" fmla="*/ 156 h 269"/>
                <a:gd name="T76" fmla="*/ 7 w 188"/>
                <a:gd name="T77" fmla="*/ 165 h 269"/>
                <a:gd name="T78" fmla="*/ 4 w 188"/>
                <a:gd name="T79" fmla="*/ 174 h 269"/>
                <a:gd name="T80" fmla="*/ 12 w 188"/>
                <a:gd name="T81" fmla="*/ 182 h 269"/>
                <a:gd name="T82" fmla="*/ 36 w 188"/>
                <a:gd name="T83" fmla="*/ 195 h 269"/>
                <a:gd name="T84" fmla="*/ 64 w 188"/>
                <a:gd name="T85" fmla="*/ 203 h 269"/>
                <a:gd name="T86" fmla="*/ 72 w 188"/>
                <a:gd name="T87" fmla="*/ 209 h 269"/>
                <a:gd name="T88" fmla="*/ 88 w 188"/>
                <a:gd name="T89" fmla="*/ 224 h 269"/>
                <a:gd name="T90" fmla="*/ 114 w 188"/>
                <a:gd name="T91" fmla="*/ 236 h 269"/>
                <a:gd name="T92" fmla="*/ 130 w 188"/>
                <a:gd name="T93" fmla="*/ 237 h 269"/>
                <a:gd name="T94" fmla="*/ 135 w 188"/>
                <a:gd name="T95" fmla="*/ 239 h 269"/>
                <a:gd name="T96" fmla="*/ 133 w 188"/>
                <a:gd name="T97" fmla="*/ 252 h 269"/>
                <a:gd name="T98" fmla="*/ 136 w 188"/>
                <a:gd name="T99" fmla="*/ 262 h 269"/>
                <a:gd name="T100" fmla="*/ 136 w 188"/>
                <a:gd name="T101" fmla="*/ 268 h 269"/>
                <a:gd name="T102" fmla="*/ 140 w 188"/>
                <a:gd name="T103" fmla="*/ 259 h 269"/>
                <a:gd name="T104" fmla="*/ 146 w 188"/>
                <a:gd name="T105" fmla="*/ 242 h 269"/>
                <a:gd name="T106" fmla="*/ 155 w 188"/>
                <a:gd name="T107" fmla="*/ 211 h 269"/>
                <a:gd name="T108" fmla="*/ 148 w 188"/>
                <a:gd name="T109" fmla="*/ 201 h 269"/>
                <a:gd name="T110" fmla="*/ 145 w 188"/>
                <a:gd name="T111" fmla="*/ 194 h 269"/>
                <a:gd name="T112" fmla="*/ 155 w 188"/>
                <a:gd name="T113" fmla="*/ 182 h 269"/>
                <a:gd name="T114" fmla="*/ 169 w 188"/>
                <a:gd name="T115" fmla="*/ 184 h 269"/>
                <a:gd name="T116" fmla="*/ 175 w 188"/>
                <a:gd name="T117" fmla="*/ 180 h 269"/>
                <a:gd name="T118" fmla="*/ 177 w 188"/>
                <a:gd name="T119" fmla="*/ 171 h 269"/>
                <a:gd name="T120" fmla="*/ 188 w 188"/>
                <a:gd name="T121" fmla="*/ 169 h 269"/>
                <a:gd name="T122" fmla="*/ 184 w 188"/>
                <a:gd name="T123" fmla="*/ 161 h 269"/>
                <a:gd name="T124" fmla="*/ 180 w 188"/>
                <a:gd name="T125" fmla="*/ 151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269">
                  <a:moveTo>
                    <a:pt x="175" y="138"/>
                  </a:moveTo>
                  <a:lnTo>
                    <a:pt x="175" y="138"/>
                  </a:lnTo>
                  <a:lnTo>
                    <a:pt x="171" y="127"/>
                  </a:lnTo>
                  <a:lnTo>
                    <a:pt x="171" y="123"/>
                  </a:lnTo>
                  <a:lnTo>
                    <a:pt x="172" y="119"/>
                  </a:lnTo>
                  <a:lnTo>
                    <a:pt x="172" y="119"/>
                  </a:lnTo>
                  <a:lnTo>
                    <a:pt x="180" y="107"/>
                  </a:lnTo>
                  <a:lnTo>
                    <a:pt x="182" y="101"/>
                  </a:lnTo>
                  <a:lnTo>
                    <a:pt x="182" y="100"/>
                  </a:lnTo>
                  <a:lnTo>
                    <a:pt x="181" y="98"/>
                  </a:lnTo>
                  <a:lnTo>
                    <a:pt x="181" y="98"/>
                  </a:lnTo>
                  <a:lnTo>
                    <a:pt x="174" y="100"/>
                  </a:lnTo>
                  <a:lnTo>
                    <a:pt x="169" y="101"/>
                  </a:lnTo>
                  <a:lnTo>
                    <a:pt x="164" y="101"/>
                  </a:lnTo>
                  <a:lnTo>
                    <a:pt x="164" y="101"/>
                  </a:lnTo>
                  <a:lnTo>
                    <a:pt x="140" y="94"/>
                  </a:lnTo>
                  <a:lnTo>
                    <a:pt x="126" y="91"/>
                  </a:lnTo>
                  <a:lnTo>
                    <a:pt x="116" y="90"/>
                  </a:lnTo>
                  <a:lnTo>
                    <a:pt x="116" y="90"/>
                  </a:lnTo>
                  <a:lnTo>
                    <a:pt x="110" y="88"/>
                  </a:lnTo>
                  <a:lnTo>
                    <a:pt x="104" y="84"/>
                  </a:lnTo>
                  <a:lnTo>
                    <a:pt x="101" y="80"/>
                  </a:lnTo>
                  <a:lnTo>
                    <a:pt x="98" y="74"/>
                  </a:lnTo>
                  <a:lnTo>
                    <a:pt x="98" y="74"/>
                  </a:lnTo>
                  <a:lnTo>
                    <a:pt x="98" y="64"/>
                  </a:lnTo>
                  <a:lnTo>
                    <a:pt x="97" y="58"/>
                  </a:lnTo>
                  <a:lnTo>
                    <a:pt x="94" y="55"/>
                  </a:lnTo>
                  <a:lnTo>
                    <a:pt x="94" y="55"/>
                  </a:lnTo>
                  <a:lnTo>
                    <a:pt x="93" y="54"/>
                  </a:lnTo>
                  <a:lnTo>
                    <a:pt x="93" y="52"/>
                  </a:lnTo>
                  <a:lnTo>
                    <a:pt x="93" y="48"/>
                  </a:lnTo>
                  <a:lnTo>
                    <a:pt x="96" y="36"/>
                  </a:lnTo>
                  <a:lnTo>
                    <a:pt x="96" y="36"/>
                  </a:lnTo>
                  <a:lnTo>
                    <a:pt x="97" y="30"/>
                  </a:lnTo>
                  <a:lnTo>
                    <a:pt x="101" y="23"/>
                  </a:lnTo>
                  <a:lnTo>
                    <a:pt x="104" y="20"/>
                  </a:lnTo>
                  <a:lnTo>
                    <a:pt x="107" y="19"/>
                  </a:lnTo>
                  <a:lnTo>
                    <a:pt x="112" y="17"/>
                  </a:lnTo>
                  <a:lnTo>
                    <a:pt x="116" y="19"/>
                  </a:lnTo>
                  <a:lnTo>
                    <a:pt x="116" y="19"/>
                  </a:lnTo>
                  <a:lnTo>
                    <a:pt x="120" y="14"/>
                  </a:lnTo>
                  <a:lnTo>
                    <a:pt x="120" y="14"/>
                  </a:lnTo>
                  <a:lnTo>
                    <a:pt x="123" y="13"/>
                  </a:lnTo>
                  <a:lnTo>
                    <a:pt x="126" y="10"/>
                  </a:lnTo>
                  <a:lnTo>
                    <a:pt x="126" y="7"/>
                  </a:lnTo>
                  <a:lnTo>
                    <a:pt x="123" y="3"/>
                  </a:lnTo>
                  <a:lnTo>
                    <a:pt x="123" y="3"/>
                  </a:lnTo>
                  <a:lnTo>
                    <a:pt x="119" y="1"/>
                  </a:lnTo>
                  <a:lnTo>
                    <a:pt x="116" y="0"/>
                  </a:lnTo>
                  <a:lnTo>
                    <a:pt x="112" y="1"/>
                  </a:lnTo>
                  <a:lnTo>
                    <a:pt x="107" y="4"/>
                  </a:lnTo>
                  <a:lnTo>
                    <a:pt x="107" y="4"/>
                  </a:lnTo>
                  <a:lnTo>
                    <a:pt x="97" y="13"/>
                  </a:lnTo>
                  <a:lnTo>
                    <a:pt x="91" y="17"/>
                  </a:lnTo>
                  <a:lnTo>
                    <a:pt x="87" y="19"/>
                  </a:lnTo>
                  <a:lnTo>
                    <a:pt x="87" y="19"/>
                  </a:lnTo>
                  <a:lnTo>
                    <a:pt x="83" y="16"/>
                  </a:lnTo>
                  <a:lnTo>
                    <a:pt x="80" y="16"/>
                  </a:lnTo>
                  <a:lnTo>
                    <a:pt x="77" y="16"/>
                  </a:lnTo>
                  <a:lnTo>
                    <a:pt x="77" y="16"/>
                  </a:lnTo>
                  <a:lnTo>
                    <a:pt x="71" y="22"/>
                  </a:lnTo>
                  <a:lnTo>
                    <a:pt x="67" y="25"/>
                  </a:lnTo>
                  <a:lnTo>
                    <a:pt x="64" y="26"/>
                  </a:lnTo>
                  <a:lnTo>
                    <a:pt x="64" y="26"/>
                  </a:lnTo>
                  <a:lnTo>
                    <a:pt x="58" y="27"/>
                  </a:lnTo>
                  <a:lnTo>
                    <a:pt x="56" y="29"/>
                  </a:lnTo>
                  <a:lnTo>
                    <a:pt x="56" y="32"/>
                  </a:lnTo>
                  <a:lnTo>
                    <a:pt x="56" y="32"/>
                  </a:lnTo>
                  <a:lnTo>
                    <a:pt x="55" y="33"/>
                  </a:lnTo>
                  <a:lnTo>
                    <a:pt x="54" y="36"/>
                  </a:lnTo>
                  <a:lnTo>
                    <a:pt x="52" y="38"/>
                  </a:lnTo>
                  <a:lnTo>
                    <a:pt x="52" y="41"/>
                  </a:lnTo>
                  <a:lnTo>
                    <a:pt x="52" y="41"/>
                  </a:lnTo>
                  <a:lnTo>
                    <a:pt x="54" y="46"/>
                  </a:lnTo>
                  <a:lnTo>
                    <a:pt x="52" y="48"/>
                  </a:lnTo>
                  <a:lnTo>
                    <a:pt x="51" y="48"/>
                  </a:lnTo>
                  <a:lnTo>
                    <a:pt x="51" y="48"/>
                  </a:lnTo>
                  <a:lnTo>
                    <a:pt x="48" y="51"/>
                  </a:lnTo>
                  <a:lnTo>
                    <a:pt x="45" y="54"/>
                  </a:lnTo>
                  <a:lnTo>
                    <a:pt x="39" y="61"/>
                  </a:lnTo>
                  <a:lnTo>
                    <a:pt x="39" y="61"/>
                  </a:lnTo>
                  <a:lnTo>
                    <a:pt x="35" y="62"/>
                  </a:lnTo>
                  <a:lnTo>
                    <a:pt x="32" y="62"/>
                  </a:lnTo>
                  <a:lnTo>
                    <a:pt x="29" y="61"/>
                  </a:lnTo>
                  <a:lnTo>
                    <a:pt x="29" y="61"/>
                  </a:lnTo>
                  <a:lnTo>
                    <a:pt x="29" y="61"/>
                  </a:lnTo>
                  <a:lnTo>
                    <a:pt x="26" y="74"/>
                  </a:lnTo>
                  <a:lnTo>
                    <a:pt x="22" y="88"/>
                  </a:lnTo>
                  <a:lnTo>
                    <a:pt x="22" y="88"/>
                  </a:lnTo>
                  <a:lnTo>
                    <a:pt x="25" y="94"/>
                  </a:lnTo>
                  <a:lnTo>
                    <a:pt x="25" y="101"/>
                  </a:lnTo>
                  <a:lnTo>
                    <a:pt x="25" y="101"/>
                  </a:lnTo>
                  <a:lnTo>
                    <a:pt x="26" y="110"/>
                  </a:lnTo>
                  <a:lnTo>
                    <a:pt x="26" y="111"/>
                  </a:lnTo>
                  <a:lnTo>
                    <a:pt x="26" y="113"/>
                  </a:lnTo>
                  <a:lnTo>
                    <a:pt x="26" y="113"/>
                  </a:lnTo>
                  <a:lnTo>
                    <a:pt x="23" y="117"/>
                  </a:lnTo>
                  <a:lnTo>
                    <a:pt x="25" y="120"/>
                  </a:lnTo>
                  <a:lnTo>
                    <a:pt x="25" y="122"/>
                  </a:lnTo>
                  <a:lnTo>
                    <a:pt x="25" y="122"/>
                  </a:lnTo>
                  <a:lnTo>
                    <a:pt x="26" y="125"/>
                  </a:lnTo>
                  <a:lnTo>
                    <a:pt x="26" y="126"/>
                  </a:lnTo>
                  <a:lnTo>
                    <a:pt x="25" y="133"/>
                  </a:lnTo>
                  <a:lnTo>
                    <a:pt x="25" y="133"/>
                  </a:lnTo>
                  <a:lnTo>
                    <a:pt x="26" y="136"/>
                  </a:lnTo>
                  <a:lnTo>
                    <a:pt x="28" y="139"/>
                  </a:lnTo>
                  <a:lnTo>
                    <a:pt x="28" y="142"/>
                  </a:lnTo>
                  <a:lnTo>
                    <a:pt x="26" y="145"/>
                  </a:lnTo>
                  <a:lnTo>
                    <a:pt x="26" y="145"/>
                  </a:lnTo>
                  <a:lnTo>
                    <a:pt x="22" y="152"/>
                  </a:lnTo>
                  <a:lnTo>
                    <a:pt x="20" y="155"/>
                  </a:lnTo>
                  <a:lnTo>
                    <a:pt x="17" y="156"/>
                  </a:lnTo>
                  <a:lnTo>
                    <a:pt x="17" y="156"/>
                  </a:lnTo>
                  <a:lnTo>
                    <a:pt x="10" y="156"/>
                  </a:lnTo>
                  <a:lnTo>
                    <a:pt x="7" y="159"/>
                  </a:lnTo>
                  <a:lnTo>
                    <a:pt x="7" y="159"/>
                  </a:lnTo>
                  <a:lnTo>
                    <a:pt x="7" y="165"/>
                  </a:lnTo>
                  <a:lnTo>
                    <a:pt x="6" y="169"/>
                  </a:lnTo>
                  <a:lnTo>
                    <a:pt x="4" y="174"/>
                  </a:lnTo>
                  <a:lnTo>
                    <a:pt x="4" y="174"/>
                  </a:lnTo>
                  <a:lnTo>
                    <a:pt x="0" y="180"/>
                  </a:lnTo>
                  <a:lnTo>
                    <a:pt x="0" y="180"/>
                  </a:lnTo>
                  <a:lnTo>
                    <a:pt x="12" y="182"/>
                  </a:lnTo>
                  <a:lnTo>
                    <a:pt x="22" y="188"/>
                  </a:lnTo>
                  <a:lnTo>
                    <a:pt x="36" y="195"/>
                  </a:lnTo>
                  <a:lnTo>
                    <a:pt x="36" y="195"/>
                  </a:lnTo>
                  <a:lnTo>
                    <a:pt x="42" y="198"/>
                  </a:lnTo>
                  <a:lnTo>
                    <a:pt x="48" y="200"/>
                  </a:lnTo>
                  <a:lnTo>
                    <a:pt x="64" y="203"/>
                  </a:lnTo>
                  <a:lnTo>
                    <a:pt x="64" y="203"/>
                  </a:lnTo>
                  <a:lnTo>
                    <a:pt x="68" y="204"/>
                  </a:lnTo>
                  <a:lnTo>
                    <a:pt x="72" y="209"/>
                  </a:lnTo>
                  <a:lnTo>
                    <a:pt x="81" y="219"/>
                  </a:lnTo>
                  <a:lnTo>
                    <a:pt x="81" y="219"/>
                  </a:lnTo>
                  <a:lnTo>
                    <a:pt x="88" y="224"/>
                  </a:lnTo>
                  <a:lnTo>
                    <a:pt x="97" y="229"/>
                  </a:lnTo>
                  <a:lnTo>
                    <a:pt x="114" y="236"/>
                  </a:lnTo>
                  <a:lnTo>
                    <a:pt x="114" y="236"/>
                  </a:lnTo>
                  <a:lnTo>
                    <a:pt x="122" y="239"/>
                  </a:lnTo>
                  <a:lnTo>
                    <a:pt x="127" y="239"/>
                  </a:lnTo>
                  <a:lnTo>
                    <a:pt x="130" y="237"/>
                  </a:lnTo>
                  <a:lnTo>
                    <a:pt x="133" y="237"/>
                  </a:lnTo>
                  <a:lnTo>
                    <a:pt x="133" y="237"/>
                  </a:lnTo>
                  <a:lnTo>
                    <a:pt x="135" y="239"/>
                  </a:lnTo>
                  <a:lnTo>
                    <a:pt x="135" y="243"/>
                  </a:lnTo>
                  <a:lnTo>
                    <a:pt x="133" y="252"/>
                  </a:lnTo>
                  <a:lnTo>
                    <a:pt x="133" y="252"/>
                  </a:lnTo>
                  <a:lnTo>
                    <a:pt x="133" y="255"/>
                  </a:lnTo>
                  <a:lnTo>
                    <a:pt x="135" y="259"/>
                  </a:lnTo>
                  <a:lnTo>
                    <a:pt x="136" y="262"/>
                  </a:lnTo>
                  <a:lnTo>
                    <a:pt x="136" y="266"/>
                  </a:lnTo>
                  <a:lnTo>
                    <a:pt x="136" y="266"/>
                  </a:lnTo>
                  <a:lnTo>
                    <a:pt x="136" y="268"/>
                  </a:lnTo>
                  <a:lnTo>
                    <a:pt x="139" y="269"/>
                  </a:lnTo>
                  <a:lnTo>
                    <a:pt x="139" y="269"/>
                  </a:lnTo>
                  <a:lnTo>
                    <a:pt x="140" y="259"/>
                  </a:lnTo>
                  <a:lnTo>
                    <a:pt x="142" y="251"/>
                  </a:lnTo>
                  <a:lnTo>
                    <a:pt x="146" y="242"/>
                  </a:lnTo>
                  <a:lnTo>
                    <a:pt x="146" y="242"/>
                  </a:lnTo>
                  <a:lnTo>
                    <a:pt x="152" y="226"/>
                  </a:lnTo>
                  <a:lnTo>
                    <a:pt x="155" y="219"/>
                  </a:lnTo>
                  <a:lnTo>
                    <a:pt x="155" y="211"/>
                  </a:lnTo>
                  <a:lnTo>
                    <a:pt x="155" y="211"/>
                  </a:lnTo>
                  <a:lnTo>
                    <a:pt x="152" y="207"/>
                  </a:lnTo>
                  <a:lnTo>
                    <a:pt x="148" y="201"/>
                  </a:lnTo>
                  <a:lnTo>
                    <a:pt x="145" y="197"/>
                  </a:lnTo>
                  <a:lnTo>
                    <a:pt x="145" y="195"/>
                  </a:lnTo>
                  <a:lnTo>
                    <a:pt x="145" y="194"/>
                  </a:lnTo>
                  <a:lnTo>
                    <a:pt x="145" y="194"/>
                  </a:lnTo>
                  <a:lnTo>
                    <a:pt x="152" y="185"/>
                  </a:lnTo>
                  <a:lnTo>
                    <a:pt x="155" y="182"/>
                  </a:lnTo>
                  <a:lnTo>
                    <a:pt x="159" y="182"/>
                  </a:lnTo>
                  <a:lnTo>
                    <a:pt x="159" y="182"/>
                  </a:lnTo>
                  <a:lnTo>
                    <a:pt x="169" y="184"/>
                  </a:lnTo>
                  <a:lnTo>
                    <a:pt x="174" y="182"/>
                  </a:lnTo>
                  <a:lnTo>
                    <a:pt x="175" y="180"/>
                  </a:lnTo>
                  <a:lnTo>
                    <a:pt x="175" y="180"/>
                  </a:lnTo>
                  <a:lnTo>
                    <a:pt x="174" y="174"/>
                  </a:lnTo>
                  <a:lnTo>
                    <a:pt x="174" y="171"/>
                  </a:lnTo>
                  <a:lnTo>
                    <a:pt x="177" y="171"/>
                  </a:lnTo>
                  <a:lnTo>
                    <a:pt x="177" y="171"/>
                  </a:lnTo>
                  <a:lnTo>
                    <a:pt x="184" y="169"/>
                  </a:lnTo>
                  <a:lnTo>
                    <a:pt x="188" y="169"/>
                  </a:lnTo>
                  <a:lnTo>
                    <a:pt x="188" y="169"/>
                  </a:lnTo>
                  <a:lnTo>
                    <a:pt x="187" y="165"/>
                  </a:lnTo>
                  <a:lnTo>
                    <a:pt x="184" y="161"/>
                  </a:lnTo>
                  <a:lnTo>
                    <a:pt x="184" y="161"/>
                  </a:lnTo>
                  <a:lnTo>
                    <a:pt x="181" y="155"/>
                  </a:lnTo>
                  <a:lnTo>
                    <a:pt x="180" y="151"/>
                  </a:lnTo>
                  <a:lnTo>
                    <a:pt x="175" y="1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16" name="Freeform 672"/>
            <p:cNvSpPr>
              <a:spLocks/>
            </p:cNvSpPr>
            <p:nvPr/>
          </p:nvSpPr>
          <p:spPr bwMode="auto">
            <a:xfrm>
              <a:off x="2911475" y="4615292"/>
              <a:ext cx="82550" cy="96838"/>
            </a:xfrm>
            <a:custGeom>
              <a:avLst/>
              <a:gdLst>
                <a:gd name="T0" fmla="*/ 14 w 52"/>
                <a:gd name="T1" fmla="*/ 61 h 61"/>
                <a:gd name="T2" fmla="*/ 14 w 52"/>
                <a:gd name="T3" fmla="*/ 61 h 61"/>
                <a:gd name="T4" fmla="*/ 2 w 52"/>
                <a:gd name="T5" fmla="*/ 60 h 61"/>
                <a:gd name="T6" fmla="*/ 2 w 52"/>
                <a:gd name="T7" fmla="*/ 60 h 61"/>
                <a:gd name="T8" fmla="*/ 0 w 52"/>
                <a:gd name="T9" fmla="*/ 58 h 61"/>
                <a:gd name="T10" fmla="*/ 0 w 52"/>
                <a:gd name="T11" fmla="*/ 58 h 61"/>
                <a:gd name="T12" fmla="*/ 7 w 52"/>
                <a:gd name="T13" fmla="*/ 46 h 61"/>
                <a:gd name="T14" fmla="*/ 10 w 52"/>
                <a:gd name="T15" fmla="*/ 41 h 61"/>
                <a:gd name="T16" fmla="*/ 11 w 52"/>
                <a:gd name="T17" fmla="*/ 36 h 61"/>
                <a:gd name="T18" fmla="*/ 11 w 52"/>
                <a:gd name="T19" fmla="*/ 36 h 61"/>
                <a:gd name="T20" fmla="*/ 10 w 52"/>
                <a:gd name="T21" fmla="*/ 31 h 61"/>
                <a:gd name="T22" fmla="*/ 5 w 52"/>
                <a:gd name="T23" fmla="*/ 25 h 61"/>
                <a:gd name="T24" fmla="*/ 2 w 52"/>
                <a:gd name="T25" fmla="*/ 19 h 61"/>
                <a:gd name="T26" fmla="*/ 1 w 52"/>
                <a:gd name="T27" fmla="*/ 15 h 61"/>
                <a:gd name="T28" fmla="*/ 1 w 52"/>
                <a:gd name="T29" fmla="*/ 15 h 61"/>
                <a:gd name="T30" fmla="*/ 1 w 52"/>
                <a:gd name="T31" fmla="*/ 13 h 61"/>
                <a:gd name="T32" fmla="*/ 1 w 52"/>
                <a:gd name="T33" fmla="*/ 13 h 61"/>
                <a:gd name="T34" fmla="*/ 7 w 52"/>
                <a:gd name="T35" fmla="*/ 0 h 61"/>
                <a:gd name="T36" fmla="*/ 7 w 52"/>
                <a:gd name="T37" fmla="*/ 0 h 61"/>
                <a:gd name="T38" fmla="*/ 26 w 52"/>
                <a:gd name="T39" fmla="*/ 9 h 61"/>
                <a:gd name="T40" fmla="*/ 39 w 52"/>
                <a:gd name="T41" fmla="*/ 16 h 61"/>
                <a:gd name="T42" fmla="*/ 39 w 52"/>
                <a:gd name="T43" fmla="*/ 16 h 61"/>
                <a:gd name="T44" fmla="*/ 52 w 52"/>
                <a:gd name="T45" fmla="*/ 26 h 61"/>
                <a:gd name="T46" fmla="*/ 52 w 52"/>
                <a:gd name="T47" fmla="*/ 26 h 61"/>
                <a:gd name="T48" fmla="*/ 44 w 52"/>
                <a:gd name="T49" fmla="*/ 39 h 61"/>
                <a:gd name="T50" fmla="*/ 37 w 52"/>
                <a:gd name="T51" fmla="*/ 48 h 61"/>
                <a:gd name="T52" fmla="*/ 37 w 52"/>
                <a:gd name="T53" fmla="*/ 48 h 61"/>
                <a:gd name="T54" fmla="*/ 31 w 52"/>
                <a:gd name="T55" fmla="*/ 54 h 61"/>
                <a:gd name="T56" fmla="*/ 24 w 52"/>
                <a:gd name="T57" fmla="*/ 58 h 61"/>
                <a:gd name="T58" fmla="*/ 18 w 52"/>
                <a:gd name="T59" fmla="*/ 60 h 61"/>
                <a:gd name="T60" fmla="*/ 14 w 52"/>
                <a:gd name="T61" fmla="*/ 61 h 61"/>
                <a:gd name="T62" fmla="*/ 14 w 52"/>
                <a:gd name="T63" fmla="*/ 61 h 61"/>
                <a:gd name="T64" fmla="*/ 14 w 52"/>
                <a:gd name="T6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 h="61">
                  <a:moveTo>
                    <a:pt x="14" y="61"/>
                  </a:moveTo>
                  <a:lnTo>
                    <a:pt x="14" y="61"/>
                  </a:lnTo>
                  <a:lnTo>
                    <a:pt x="2" y="60"/>
                  </a:lnTo>
                  <a:lnTo>
                    <a:pt x="2" y="60"/>
                  </a:lnTo>
                  <a:lnTo>
                    <a:pt x="0" y="58"/>
                  </a:lnTo>
                  <a:lnTo>
                    <a:pt x="0" y="58"/>
                  </a:lnTo>
                  <a:lnTo>
                    <a:pt x="7" y="46"/>
                  </a:lnTo>
                  <a:lnTo>
                    <a:pt x="10" y="41"/>
                  </a:lnTo>
                  <a:lnTo>
                    <a:pt x="11" y="36"/>
                  </a:lnTo>
                  <a:lnTo>
                    <a:pt x="11" y="36"/>
                  </a:lnTo>
                  <a:lnTo>
                    <a:pt x="10" y="31"/>
                  </a:lnTo>
                  <a:lnTo>
                    <a:pt x="5" y="25"/>
                  </a:lnTo>
                  <a:lnTo>
                    <a:pt x="2" y="19"/>
                  </a:lnTo>
                  <a:lnTo>
                    <a:pt x="1" y="15"/>
                  </a:lnTo>
                  <a:lnTo>
                    <a:pt x="1" y="15"/>
                  </a:lnTo>
                  <a:lnTo>
                    <a:pt x="1" y="13"/>
                  </a:lnTo>
                  <a:lnTo>
                    <a:pt x="1" y="13"/>
                  </a:lnTo>
                  <a:lnTo>
                    <a:pt x="7" y="0"/>
                  </a:lnTo>
                  <a:lnTo>
                    <a:pt x="7" y="0"/>
                  </a:lnTo>
                  <a:lnTo>
                    <a:pt x="26" y="9"/>
                  </a:lnTo>
                  <a:lnTo>
                    <a:pt x="39" y="16"/>
                  </a:lnTo>
                  <a:lnTo>
                    <a:pt x="39" y="16"/>
                  </a:lnTo>
                  <a:lnTo>
                    <a:pt x="52" y="26"/>
                  </a:lnTo>
                  <a:lnTo>
                    <a:pt x="52" y="26"/>
                  </a:lnTo>
                  <a:lnTo>
                    <a:pt x="44" y="39"/>
                  </a:lnTo>
                  <a:lnTo>
                    <a:pt x="37" y="48"/>
                  </a:lnTo>
                  <a:lnTo>
                    <a:pt x="37" y="48"/>
                  </a:lnTo>
                  <a:lnTo>
                    <a:pt x="31" y="54"/>
                  </a:lnTo>
                  <a:lnTo>
                    <a:pt x="24" y="58"/>
                  </a:lnTo>
                  <a:lnTo>
                    <a:pt x="18" y="60"/>
                  </a:lnTo>
                  <a:lnTo>
                    <a:pt x="14" y="61"/>
                  </a:lnTo>
                  <a:lnTo>
                    <a:pt x="14" y="61"/>
                  </a:lnTo>
                  <a:lnTo>
                    <a:pt x="14" y="61"/>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17" name="Freeform 673"/>
            <p:cNvSpPr>
              <a:spLocks/>
            </p:cNvSpPr>
            <p:nvPr/>
          </p:nvSpPr>
          <p:spPr bwMode="auto">
            <a:xfrm>
              <a:off x="2911475" y="4615292"/>
              <a:ext cx="82550" cy="96838"/>
            </a:xfrm>
            <a:custGeom>
              <a:avLst/>
              <a:gdLst>
                <a:gd name="T0" fmla="*/ 14 w 52"/>
                <a:gd name="T1" fmla="*/ 61 h 61"/>
                <a:gd name="T2" fmla="*/ 14 w 52"/>
                <a:gd name="T3" fmla="*/ 61 h 61"/>
                <a:gd name="T4" fmla="*/ 2 w 52"/>
                <a:gd name="T5" fmla="*/ 60 h 61"/>
                <a:gd name="T6" fmla="*/ 2 w 52"/>
                <a:gd name="T7" fmla="*/ 60 h 61"/>
                <a:gd name="T8" fmla="*/ 0 w 52"/>
                <a:gd name="T9" fmla="*/ 58 h 61"/>
                <a:gd name="T10" fmla="*/ 0 w 52"/>
                <a:gd name="T11" fmla="*/ 58 h 61"/>
                <a:gd name="T12" fmla="*/ 7 w 52"/>
                <a:gd name="T13" fmla="*/ 46 h 61"/>
                <a:gd name="T14" fmla="*/ 10 w 52"/>
                <a:gd name="T15" fmla="*/ 41 h 61"/>
                <a:gd name="T16" fmla="*/ 11 w 52"/>
                <a:gd name="T17" fmla="*/ 36 h 61"/>
                <a:gd name="T18" fmla="*/ 11 w 52"/>
                <a:gd name="T19" fmla="*/ 36 h 61"/>
                <a:gd name="T20" fmla="*/ 10 w 52"/>
                <a:gd name="T21" fmla="*/ 31 h 61"/>
                <a:gd name="T22" fmla="*/ 5 w 52"/>
                <a:gd name="T23" fmla="*/ 25 h 61"/>
                <a:gd name="T24" fmla="*/ 2 w 52"/>
                <a:gd name="T25" fmla="*/ 19 h 61"/>
                <a:gd name="T26" fmla="*/ 1 w 52"/>
                <a:gd name="T27" fmla="*/ 15 h 61"/>
                <a:gd name="T28" fmla="*/ 1 w 52"/>
                <a:gd name="T29" fmla="*/ 15 h 61"/>
                <a:gd name="T30" fmla="*/ 1 w 52"/>
                <a:gd name="T31" fmla="*/ 13 h 61"/>
                <a:gd name="T32" fmla="*/ 1 w 52"/>
                <a:gd name="T33" fmla="*/ 13 h 61"/>
                <a:gd name="T34" fmla="*/ 7 w 52"/>
                <a:gd name="T35" fmla="*/ 0 h 61"/>
                <a:gd name="T36" fmla="*/ 7 w 52"/>
                <a:gd name="T37" fmla="*/ 0 h 61"/>
                <a:gd name="T38" fmla="*/ 26 w 52"/>
                <a:gd name="T39" fmla="*/ 9 h 61"/>
                <a:gd name="T40" fmla="*/ 39 w 52"/>
                <a:gd name="T41" fmla="*/ 16 h 61"/>
                <a:gd name="T42" fmla="*/ 39 w 52"/>
                <a:gd name="T43" fmla="*/ 16 h 61"/>
                <a:gd name="T44" fmla="*/ 52 w 52"/>
                <a:gd name="T45" fmla="*/ 26 h 61"/>
                <a:gd name="T46" fmla="*/ 52 w 52"/>
                <a:gd name="T47" fmla="*/ 26 h 61"/>
                <a:gd name="T48" fmla="*/ 44 w 52"/>
                <a:gd name="T49" fmla="*/ 39 h 61"/>
                <a:gd name="T50" fmla="*/ 37 w 52"/>
                <a:gd name="T51" fmla="*/ 48 h 61"/>
                <a:gd name="T52" fmla="*/ 37 w 52"/>
                <a:gd name="T53" fmla="*/ 48 h 61"/>
                <a:gd name="T54" fmla="*/ 31 w 52"/>
                <a:gd name="T55" fmla="*/ 54 h 61"/>
                <a:gd name="T56" fmla="*/ 24 w 52"/>
                <a:gd name="T57" fmla="*/ 58 h 61"/>
                <a:gd name="T58" fmla="*/ 18 w 52"/>
                <a:gd name="T59" fmla="*/ 60 h 61"/>
                <a:gd name="T60" fmla="*/ 14 w 52"/>
                <a:gd name="T61" fmla="*/ 61 h 61"/>
                <a:gd name="T62" fmla="*/ 14 w 52"/>
                <a:gd name="T63" fmla="*/ 61 h 61"/>
                <a:gd name="T64" fmla="*/ 14 w 52"/>
                <a:gd name="T6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 h="61">
                  <a:moveTo>
                    <a:pt x="14" y="61"/>
                  </a:moveTo>
                  <a:lnTo>
                    <a:pt x="14" y="61"/>
                  </a:lnTo>
                  <a:lnTo>
                    <a:pt x="2" y="60"/>
                  </a:lnTo>
                  <a:lnTo>
                    <a:pt x="2" y="60"/>
                  </a:lnTo>
                  <a:lnTo>
                    <a:pt x="0" y="58"/>
                  </a:lnTo>
                  <a:lnTo>
                    <a:pt x="0" y="58"/>
                  </a:lnTo>
                  <a:lnTo>
                    <a:pt x="7" y="46"/>
                  </a:lnTo>
                  <a:lnTo>
                    <a:pt x="10" y="41"/>
                  </a:lnTo>
                  <a:lnTo>
                    <a:pt x="11" y="36"/>
                  </a:lnTo>
                  <a:lnTo>
                    <a:pt x="11" y="36"/>
                  </a:lnTo>
                  <a:lnTo>
                    <a:pt x="10" y="31"/>
                  </a:lnTo>
                  <a:lnTo>
                    <a:pt x="5" y="25"/>
                  </a:lnTo>
                  <a:lnTo>
                    <a:pt x="2" y="19"/>
                  </a:lnTo>
                  <a:lnTo>
                    <a:pt x="1" y="15"/>
                  </a:lnTo>
                  <a:lnTo>
                    <a:pt x="1" y="15"/>
                  </a:lnTo>
                  <a:lnTo>
                    <a:pt x="1" y="13"/>
                  </a:lnTo>
                  <a:lnTo>
                    <a:pt x="1" y="13"/>
                  </a:lnTo>
                  <a:lnTo>
                    <a:pt x="7" y="0"/>
                  </a:lnTo>
                  <a:lnTo>
                    <a:pt x="7" y="0"/>
                  </a:lnTo>
                  <a:lnTo>
                    <a:pt x="26" y="9"/>
                  </a:lnTo>
                  <a:lnTo>
                    <a:pt x="39" y="16"/>
                  </a:lnTo>
                  <a:lnTo>
                    <a:pt x="39" y="16"/>
                  </a:lnTo>
                  <a:lnTo>
                    <a:pt x="52" y="26"/>
                  </a:lnTo>
                  <a:lnTo>
                    <a:pt x="52" y="26"/>
                  </a:lnTo>
                  <a:lnTo>
                    <a:pt x="44" y="39"/>
                  </a:lnTo>
                  <a:lnTo>
                    <a:pt x="37" y="48"/>
                  </a:lnTo>
                  <a:lnTo>
                    <a:pt x="37" y="48"/>
                  </a:lnTo>
                  <a:lnTo>
                    <a:pt x="31" y="54"/>
                  </a:lnTo>
                  <a:lnTo>
                    <a:pt x="24" y="58"/>
                  </a:lnTo>
                  <a:lnTo>
                    <a:pt x="18" y="60"/>
                  </a:lnTo>
                  <a:lnTo>
                    <a:pt x="14" y="61"/>
                  </a:lnTo>
                  <a:lnTo>
                    <a:pt x="14" y="61"/>
                  </a:lnTo>
                  <a:lnTo>
                    <a:pt x="14" y="6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18" name="Freeform 674"/>
            <p:cNvSpPr>
              <a:spLocks/>
            </p:cNvSpPr>
            <p:nvPr/>
          </p:nvSpPr>
          <p:spPr bwMode="auto">
            <a:xfrm>
              <a:off x="2911475" y="4656567"/>
              <a:ext cx="82550" cy="55563"/>
            </a:xfrm>
            <a:custGeom>
              <a:avLst/>
              <a:gdLst>
                <a:gd name="T0" fmla="*/ 14 w 52"/>
                <a:gd name="T1" fmla="*/ 35 h 35"/>
                <a:gd name="T2" fmla="*/ 14 w 52"/>
                <a:gd name="T3" fmla="*/ 35 h 35"/>
                <a:gd name="T4" fmla="*/ 8 w 52"/>
                <a:gd name="T5" fmla="*/ 35 h 35"/>
                <a:gd name="T6" fmla="*/ 0 w 52"/>
                <a:gd name="T7" fmla="*/ 32 h 35"/>
                <a:gd name="T8" fmla="*/ 0 w 52"/>
                <a:gd name="T9" fmla="*/ 32 h 35"/>
                <a:gd name="T10" fmla="*/ 0 w 52"/>
                <a:gd name="T11" fmla="*/ 32 h 35"/>
                <a:gd name="T12" fmla="*/ 0 w 52"/>
                <a:gd name="T13" fmla="*/ 32 h 35"/>
                <a:gd name="T14" fmla="*/ 2 w 52"/>
                <a:gd name="T15" fmla="*/ 34 h 35"/>
                <a:gd name="T16" fmla="*/ 2 w 52"/>
                <a:gd name="T17" fmla="*/ 34 h 35"/>
                <a:gd name="T18" fmla="*/ 14 w 52"/>
                <a:gd name="T19" fmla="*/ 35 h 35"/>
                <a:gd name="T20" fmla="*/ 14 w 52"/>
                <a:gd name="T21" fmla="*/ 35 h 35"/>
                <a:gd name="T22" fmla="*/ 14 w 52"/>
                <a:gd name="T23" fmla="*/ 35 h 35"/>
                <a:gd name="T24" fmla="*/ 14 w 52"/>
                <a:gd name="T25" fmla="*/ 35 h 35"/>
                <a:gd name="T26" fmla="*/ 18 w 52"/>
                <a:gd name="T27" fmla="*/ 34 h 35"/>
                <a:gd name="T28" fmla="*/ 24 w 52"/>
                <a:gd name="T29" fmla="*/ 32 h 35"/>
                <a:gd name="T30" fmla="*/ 31 w 52"/>
                <a:gd name="T31" fmla="*/ 28 h 35"/>
                <a:gd name="T32" fmla="*/ 37 w 52"/>
                <a:gd name="T33" fmla="*/ 22 h 35"/>
                <a:gd name="T34" fmla="*/ 37 w 52"/>
                <a:gd name="T35" fmla="*/ 22 h 35"/>
                <a:gd name="T36" fmla="*/ 44 w 52"/>
                <a:gd name="T37" fmla="*/ 13 h 35"/>
                <a:gd name="T38" fmla="*/ 52 w 52"/>
                <a:gd name="T39" fmla="*/ 0 h 35"/>
                <a:gd name="T40" fmla="*/ 52 w 52"/>
                <a:gd name="T41" fmla="*/ 0 h 35"/>
                <a:gd name="T42" fmla="*/ 44 w 52"/>
                <a:gd name="T43" fmla="*/ 13 h 35"/>
                <a:gd name="T44" fmla="*/ 37 w 52"/>
                <a:gd name="T45" fmla="*/ 22 h 35"/>
                <a:gd name="T46" fmla="*/ 37 w 52"/>
                <a:gd name="T47" fmla="*/ 22 h 35"/>
                <a:gd name="T48" fmla="*/ 31 w 52"/>
                <a:gd name="T49" fmla="*/ 28 h 35"/>
                <a:gd name="T50" fmla="*/ 24 w 52"/>
                <a:gd name="T51" fmla="*/ 32 h 35"/>
                <a:gd name="T52" fmla="*/ 18 w 52"/>
                <a:gd name="T53" fmla="*/ 34 h 35"/>
                <a:gd name="T54" fmla="*/ 14 w 52"/>
                <a:gd name="T55" fmla="*/ 35 h 35"/>
                <a:gd name="T56" fmla="*/ 14 w 52"/>
                <a:gd name="T57" fmla="*/ 35 h 35"/>
                <a:gd name="T58" fmla="*/ 14 w 52"/>
                <a:gd name="T5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5">
                  <a:moveTo>
                    <a:pt x="14" y="35"/>
                  </a:moveTo>
                  <a:lnTo>
                    <a:pt x="14" y="35"/>
                  </a:lnTo>
                  <a:lnTo>
                    <a:pt x="8" y="35"/>
                  </a:lnTo>
                  <a:lnTo>
                    <a:pt x="0" y="32"/>
                  </a:lnTo>
                  <a:lnTo>
                    <a:pt x="0" y="32"/>
                  </a:lnTo>
                  <a:lnTo>
                    <a:pt x="0" y="32"/>
                  </a:lnTo>
                  <a:lnTo>
                    <a:pt x="0" y="32"/>
                  </a:lnTo>
                  <a:lnTo>
                    <a:pt x="2" y="34"/>
                  </a:lnTo>
                  <a:lnTo>
                    <a:pt x="2" y="34"/>
                  </a:lnTo>
                  <a:lnTo>
                    <a:pt x="14" y="35"/>
                  </a:lnTo>
                  <a:lnTo>
                    <a:pt x="14" y="35"/>
                  </a:lnTo>
                  <a:lnTo>
                    <a:pt x="14" y="35"/>
                  </a:lnTo>
                  <a:lnTo>
                    <a:pt x="14" y="35"/>
                  </a:lnTo>
                  <a:lnTo>
                    <a:pt x="18" y="34"/>
                  </a:lnTo>
                  <a:lnTo>
                    <a:pt x="24" y="32"/>
                  </a:lnTo>
                  <a:lnTo>
                    <a:pt x="31" y="28"/>
                  </a:lnTo>
                  <a:lnTo>
                    <a:pt x="37" y="22"/>
                  </a:lnTo>
                  <a:lnTo>
                    <a:pt x="37" y="22"/>
                  </a:lnTo>
                  <a:lnTo>
                    <a:pt x="44" y="13"/>
                  </a:lnTo>
                  <a:lnTo>
                    <a:pt x="52" y="0"/>
                  </a:lnTo>
                  <a:lnTo>
                    <a:pt x="52" y="0"/>
                  </a:lnTo>
                  <a:lnTo>
                    <a:pt x="44" y="13"/>
                  </a:lnTo>
                  <a:lnTo>
                    <a:pt x="37" y="22"/>
                  </a:lnTo>
                  <a:lnTo>
                    <a:pt x="37" y="22"/>
                  </a:lnTo>
                  <a:lnTo>
                    <a:pt x="31" y="28"/>
                  </a:lnTo>
                  <a:lnTo>
                    <a:pt x="24" y="32"/>
                  </a:lnTo>
                  <a:lnTo>
                    <a:pt x="18" y="34"/>
                  </a:lnTo>
                  <a:lnTo>
                    <a:pt x="14" y="35"/>
                  </a:lnTo>
                  <a:lnTo>
                    <a:pt x="14" y="35"/>
                  </a:lnTo>
                  <a:lnTo>
                    <a:pt x="14" y="35"/>
                  </a:lnTo>
                  <a:close/>
                </a:path>
              </a:pathLst>
            </a:custGeom>
            <a:solidFill>
              <a:srgbClr val="60B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19" name="Freeform 675"/>
            <p:cNvSpPr>
              <a:spLocks/>
            </p:cNvSpPr>
            <p:nvPr/>
          </p:nvSpPr>
          <p:spPr bwMode="auto">
            <a:xfrm>
              <a:off x="2911475" y="4656567"/>
              <a:ext cx="82550" cy="55563"/>
            </a:xfrm>
            <a:custGeom>
              <a:avLst/>
              <a:gdLst>
                <a:gd name="T0" fmla="*/ 14 w 52"/>
                <a:gd name="T1" fmla="*/ 35 h 35"/>
                <a:gd name="T2" fmla="*/ 14 w 52"/>
                <a:gd name="T3" fmla="*/ 35 h 35"/>
                <a:gd name="T4" fmla="*/ 8 w 52"/>
                <a:gd name="T5" fmla="*/ 35 h 35"/>
                <a:gd name="T6" fmla="*/ 0 w 52"/>
                <a:gd name="T7" fmla="*/ 32 h 35"/>
                <a:gd name="T8" fmla="*/ 0 w 52"/>
                <a:gd name="T9" fmla="*/ 32 h 35"/>
                <a:gd name="T10" fmla="*/ 0 w 52"/>
                <a:gd name="T11" fmla="*/ 32 h 35"/>
                <a:gd name="T12" fmla="*/ 0 w 52"/>
                <a:gd name="T13" fmla="*/ 32 h 35"/>
                <a:gd name="T14" fmla="*/ 2 w 52"/>
                <a:gd name="T15" fmla="*/ 34 h 35"/>
                <a:gd name="T16" fmla="*/ 2 w 52"/>
                <a:gd name="T17" fmla="*/ 34 h 35"/>
                <a:gd name="T18" fmla="*/ 14 w 52"/>
                <a:gd name="T19" fmla="*/ 35 h 35"/>
                <a:gd name="T20" fmla="*/ 14 w 52"/>
                <a:gd name="T21" fmla="*/ 35 h 35"/>
                <a:gd name="T22" fmla="*/ 14 w 52"/>
                <a:gd name="T23" fmla="*/ 35 h 35"/>
                <a:gd name="T24" fmla="*/ 14 w 52"/>
                <a:gd name="T25" fmla="*/ 35 h 35"/>
                <a:gd name="T26" fmla="*/ 18 w 52"/>
                <a:gd name="T27" fmla="*/ 34 h 35"/>
                <a:gd name="T28" fmla="*/ 24 w 52"/>
                <a:gd name="T29" fmla="*/ 32 h 35"/>
                <a:gd name="T30" fmla="*/ 31 w 52"/>
                <a:gd name="T31" fmla="*/ 28 h 35"/>
                <a:gd name="T32" fmla="*/ 37 w 52"/>
                <a:gd name="T33" fmla="*/ 22 h 35"/>
                <a:gd name="T34" fmla="*/ 37 w 52"/>
                <a:gd name="T35" fmla="*/ 22 h 35"/>
                <a:gd name="T36" fmla="*/ 44 w 52"/>
                <a:gd name="T37" fmla="*/ 13 h 35"/>
                <a:gd name="T38" fmla="*/ 52 w 52"/>
                <a:gd name="T39" fmla="*/ 0 h 35"/>
                <a:gd name="T40" fmla="*/ 52 w 52"/>
                <a:gd name="T41" fmla="*/ 0 h 35"/>
                <a:gd name="T42" fmla="*/ 44 w 52"/>
                <a:gd name="T43" fmla="*/ 13 h 35"/>
                <a:gd name="T44" fmla="*/ 37 w 52"/>
                <a:gd name="T45" fmla="*/ 22 h 35"/>
                <a:gd name="T46" fmla="*/ 37 w 52"/>
                <a:gd name="T47" fmla="*/ 22 h 35"/>
                <a:gd name="T48" fmla="*/ 31 w 52"/>
                <a:gd name="T49" fmla="*/ 28 h 35"/>
                <a:gd name="T50" fmla="*/ 24 w 52"/>
                <a:gd name="T51" fmla="*/ 32 h 35"/>
                <a:gd name="T52" fmla="*/ 18 w 52"/>
                <a:gd name="T53" fmla="*/ 34 h 35"/>
                <a:gd name="T54" fmla="*/ 14 w 52"/>
                <a:gd name="T55" fmla="*/ 35 h 35"/>
                <a:gd name="T56" fmla="*/ 14 w 52"/>
                <a:gd name="T57" fmla="*/ 35 h 35"/>
                <a:gd name="T58" fmla="*/ 14 w 52"/>
                <a:gd name="T5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5">
                  <a:moveTo>
                    <a:pt x="14" y="35"/>
                  </a:moveTo>
                  <a:lnTo>
                    <a:pt x="14" y="35"/>
                  </a:lnTo>
                  <a:lnTo>
                    <a:pt x="8" y="35"/>
                  </a:lnTo>
                  <a:lnTo>
                    <a:pt x="0" y="32"/>
                  </a:lnTo>
                  <a:lnTo>
                    <a:pt x="0" y="32"/>
                  </a:lnTo>
                  <a:lnTo>
                    <a:pt x="0" y="32"/>
                  </a:lnTo>
                  <a:lnTo>
                    <a:pt x="0" y="32"/>
                  </a:lnTo>
                  <a:lnTo>
                    <a:pt x="2" y="34"/>
                  </a:lnTo>
                  <a:lnTo>
                    <a:pt x="2" y="34"/>
                  </a:lnTo>
                  <a:lnTo>
                    <a:pt x="14" y="35"/>
                  </a:lnTo>
                  <a:lnTo>
                    <a:pt x="14" y="35"/>
                  </a:lnTo>
                  <a:lnTo>
                    <a:pt x="14" y="35"/>
                  </a:lnTo>
                  <a:lnTo>
                    <a:pt x="14" y="35"/>
                  </a:lnTo>
                  <a:lnTo>
                    <a:pt x="18" y="34"/>
                  </a:lnTo>
                  <a:lnTo>
                    <a:pt x="24" y="32"/>
                  </a:lnTo>
                  <a:lnTo>
                    <a:pt x="31" y="28"/>
                  </a:lnTo>
                  <a:lnTo>
                    <a:pt x="37" y="22"/>
                  </a:lnTo>
                  <a:lnTo>
                    <a:pt x="37" y="22"/>
                  </a:lnTo>
                  <a:lnTo>
                    <a:pt x="44" y="13"/>
                  </a:lnTo>
                  <a:lnTo>
                    <a:pt x="52" y="0"/>
                  </a:lnTo>
                  <a:lnTo>
                    <a:pt x="52" y="0"/>
                  </a:lnTo>
                  <a:lnTo>
                    <a:pt x="44" y="13"/>
                  </a:lnTo>
                  <a:lnTo>
                    <a:pt x="37" y="22"/>
                  </a:lnTo>
                  <a:lnTo>
                    <a:pt x="37" y="22"/>
                  </a:lnTo>
                  <a:lnTo>
                    <a:pt x="31" y="28"/>
                  </a:lnTo>
                  <a:lnTo>
                    <a:pt x="24" y="32"/>
                  </a:lnTo>
                  <a:lnTo>
                    <a:pt x="18" y="34"/>
                  </a:lnTo>
                  <a:lnTo>
                    <a:pt x="14" y="35"/>
                  </a:lnTo>
                  <a:lnTo>
                    <a:pt x="14" y="35"/>
                  </a:lnTo>
                  <a:lnTo>
                    <a:pt x="14"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20" name="Freeform 676"/>
            <p:cNvSpPr>
              <a:spLocks noEditPoints="1"/>
            </p:cNvSpPr>
            <p:nvPr/>
          </p:nvSpPr>
          <p:spPr bwMode="auto">
            <a:xfrm>
              <a:off x="2439988" y="4470829"/>
              <a:ext cx="338138" cy="271463"/>
            </a:xfrm>
            <a:custGeom>
              <a:avLst/>
              <a:gdLst>
                <a:gd name="T0" fmla="*/ 198 w 213"/>
                <a:gd name="T1" fmla="*/ 80 h 171"/>
                <a:gd name="T2" fmla="*/ 208 w 213"/>
                <a:gd name="T3" fmla="*/ 69 h 171"/>
                <a:gd name="T4" fmla="*/ 202 w 213"/>
                <a:gd name="T5" fmla="*/ 64 h 171"/>
                <a:gd name="T6" fmla="*/ 200 w 213"/>
                <a:gd name="T7" fmla="*/ 58 h 171"/>
                <a:gd name="T8" fmla="*/ 213 w 213"/>
                <a:gd name="T9" fmla="*/ 51 h 171"/>
                <a:gd name="T10" fmla="*/ 200 w 213"/>
                <a:gd name="T11" fmla="*/ 46 h 171"/>
                <a:gd name="T12" fmla="*/ 197 w 213"/>
                <a:gd name="T13" fmla="*/ 42 h 171"/>
                <a:gd name="T14" fmla="*/ 192 w 213"/>
                <a:gd name="T15" fmla="*/ 29 h 171"/>
                <a:gd name="T16" fmla="*/ 194 w 213"/>
                <a:gd name="T17" fmla="*/ 22 h 171"/>
                <a:gd name="T18" fmla="*/ 195 w 213"/>
                <a:gd name="T19" fmla="*/ 14 h 171"/>
                <a:gd name="T20" fmla="*/ 185 w 213"/>
                <a:gd name="T21" fmla="*/ 22 h 171"/>
                <a:gd name="T22" fmla="*/ 176 w 213"/>
                <a:gd name="T23" fmla="*/ 23 h 171"/>
                <a:gd name="T24" fmla="*/ 165 w 213"/>
                <a:gd name="T25" fmla="*/ 16 h 171"/>
                <a:gd name="T26" fmla="*/ 152 w 213"/>
                <a:gd name="T27" fmla="*/ 16 h 171"/>
                <a:gd name="T28" fmla="*/ 137 w 213"/>
                <a:gd name="T29" fmla="*/ 20 h 171"/>
                <a:gd name="T30" fmla="*/ 121 w 213"/>
                <a:gd name="T31" fmla="*/ 20 h 171"/>
                <a:gd name="T32" fmla="*/ 103 w 213"/>
                <a:gd name="T33" fmla="*/ 11 h 171"/>
                <a:gd name="T34" fmla="*/ 91 w 213"/>
                <a:gd name="T35" fmla="*/ 16 h 171"/>
                <a:gd name="T36" fmla="*/ 82 w 213"/>
                <a:gd name="T37" fmla="*/ 17 h 171"/>
                <a:gd name="T38" fmla="*/ 81 w 213"/>
                <a:gd name="T39" fmla="*/ 11 h 171"/>
                <a:gd name="T40" fmla="*/ 79 w 213"/>
                <a:gd name="T41" fmla="*/ 6 h 171"/>
                <a:gd name="T42" fmla="*/ 61 w 213"/>
                <a:gd name="T43" fmla="*/ 0 h 171"/>
                <a:gd name="T44" fmla="*/ 45 w 213"/>
                <a:gd name="T45" fmla="*/ 6 h 171"/>
                <a:gd name="T46" fmla="*/ 29 w 213"/>
                <a:gd name="T47" fmla="*/ 10 h 171"/>
                <a:gd name="T48" fmla="*/ 20 w 213"/>
                <a:gd name="T49" fmla="*/ 11 h 171"/>
                <a:gd name="T50" fmla="*/ 20 w 213"/>
                <a:gd name="T51" fmla="*/ 6 h 171"/>
                <a:gd name="T52" fmla="*/ 19 w 213"/>
                <a:gd name="T53" fmla="*/ 1 h 171"/>
                <a:gd name="T54" fmla="*/ 8 w 213"/>
                <a:gd name="T55" fmla="*/ 7 h 171"/>
                <a:gd name="T56" fmla="*/ 3 w 213"/>
                <a:gd name="T57" fmla="*/ 20 h 171"/>
                <a:gd name="T58" fmla="*/ 0 w 213"/>
                <a:gd name="T59" fmla="*/ 38 h 171"/>
                <a:gd name="T60" fmla="*/ 4 w 213"/>
                <a:gd name="T61" fmla="*/ 42 h 171"/>
                <a:gd name="T62" fmla="*/ 5 w 213"/>
                <a:gd name="T63" fmla="*/ 58 h 171"/>
                <a:gd name="T64" fmla="*/ 17 w 213"/>
                <a:gd name="T65" fmla="*/ 72 h 171"/>
                <a:gd name="T66" fmla="*/ 33 w 213"/>
                <a:gd name="T67" fmla="*/ 75 h 171"/>
                <a:gd name="T68" fmla="*/ 71 w 213"/>
                <a:gd name="T69" fmla="*/ 85 h 171"/>
                <a:gd name="T70" fmla="*/ 88 w 213"/>
                <a:gd name="T71" fmla="*/ 82 h 171"/>
                <a:gd name="T72" fmla="*/ 89 w 213"/>
                <a:gd name="T73" fmla="*/ 85 h 171"/>
                <a:gd name="T74" fmla="*/ 79 w 213"/>
                <a:gd name="T75" fmla="*/ 103 h 171"/>
                <a:gd name="T76" fmla="*/ 82 w 213"/>
                <a:gd name="T77" fmla="*/ 122 h 171"/>
                <a:gd name="T78" fmla="*/ 88 w 213"/>
                <a:gd name="T79" fmla="*/ 139 h 171"/>
                <a:gd name="T80" fmla="*/ 94 w 213"/>
                <a:gd name="T81" fmla="*/ 149 h 171"/>
                <a:gd name="T82" fmla="*/ 97 w 213"/>
                <a:gd name="T83" fmla="*/ 156 h 171"/>
                <a:gd name="T84" fmla="*/ 104 w 213"/>
                <a:gd name="T85" fmla="*/ 165 h 171"/>
                <a:gd name="T86" fmla="*/ 116 w 213"/>
                <a:gd name="T87" fmla="*/ 171 h 171"/>
                <a:gd name="T88" fmla="*/ 134 w 213"/>
                <a:gd name="T89" fmla="*/ 164 h 171"/>
                <a:gd name="T90" fmla="*/ 146 w 213"/>
                <a:gd name="T91" fmla="*/ 152 h 171"/>
                <a:gd name="T92" fmla="*/ 145 w 213"/>
                <a:gd name="T93" fmla="*/ 148 h 171"/>
                <a:gd name="T94" fmla="*/ 131 w 213"/>
                <a:gd name="T95" fmla="*/ 119 h 171"/>
                <a:gd name="T96" fmla="*/ 136 w 213"/>
                <a:gd name="T97" fmla="*/ 116 h 171"/>
                <a:gd name="T98" fmla="*/ 145 w 213"/>
                <a:gd name="T99" fmla="*/ 120 h 171"/>
                <a:gd name="T100" fmla="*/ 149 w 213"/>
                <a:gd name="T101" fmla="*/ 122 h 171"/>
                <a:gd name="T102" fmla="*/ 191 w 213"/>
                <a:gd name="T103" fmla="*/ 117 h 171"/>
                <a:gd name="T104" fmla="*/ 195 w 213"/>
                <a:gd name="T105" fmla="*/ 113 h 171"/>
                <a:gd name="T106" fmla="*/ 200 w 213"/>
                <a:gd name="T107" fmla="*/ 101 h 171"/>
                <a:gd name="T108" fmla="*/ 192 w 213"/>
                <a:gd name="T109" fmla="*/ 97 h 171"/>
                <a:gd name="T110" fmla="*/ 189 w 213"/>
                <a:gd name="T111" fmla="*/ 90 h 171"/>
                <a:gd name="T112" fmla="*/ 34 w 213"/>
                <a:gd name="T113" fmla="*/ 39 h 171"/>
                <a:gd name="T114" fmla="*/ 19 w 213"/>
                <a:gd name="T115" fmla="*/ 38 h 171"/>
                <a:gd name="T116" fmla="*/ 19 w 213"/>
                <a:gd name="T117" fmla="*/ 33 h 171"/>
                <a:gd name="T118" fmla="*/ 20 w 213"/>
                <a:gd name="T119" fmla="*/ 25 h 171"/>
                <a:gd name="T120" fmla="*/ 30 w 213"/>
                <a:gd name="T121" fmla="*/ 20 h 171"/>
                <a:gd name="T122" fmla="*/ 37 w 213"/>
                <a:gd name="T123" fmla="*/ 33 h 171"/>
                <a:gd name="T124" fmla="*/ 34 w 213"/>
                <a:gd name="T125" fmla="*/ 39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3" h="171">
                  <a:moveTo>
                    <a:pt x="192" y="85"/>
                  </a:moveTo>
                  <a:lnTo>
                    <a:pt x="192" y="85"/>
                  </a:lnTo>
                  <a:lnTo>
                    <a:pt x="198" y="80"/>
                  </a:lnTo>
                  <a:lnTo>
                    <a:pt x="205" y="75"/>
                  </a:lnTo>
                  <a:lnTo>
                    <a:pt x="208" y="71"/>
                  </a:lnTo>
                  <a:lnTo>
                    <a:pt x="208" y="69"/>
                  </a:lnTo>
                  <a:lnTo>
                    <a:pt x="208" y="67"/>
                  </a:lnTo>
                  <a:lnTo>
                    <a:pt x="208" y="67"/>
                  </a:lnTo>
                  <a:lnTo>
                    <a:pt x="202" y="64"/>
                  </a:lnTo>
                  <a:lnTo>
                    <a:pt x="198" y="62"/>
                  </a:lnTo>
                  <a:lnTo>
                    <a:pt x="197" y="61"/>
                  </a:lnTo>
                  <a:lnTo>
                    <a:pt x="200" y="58"/>
                  </a:lnTo>
                  <a:lnTo>
                    <a:pt x="200" y="58"/>
                  </a:lnTo>
                  <a:lnTo>
                    <a:pt x="213" y="51"/>
                  </a:lnTo>
                  <a:lnTo>
                    <a:pt x="213" y="51"/>
                  </a:lnTo>
                  <a:lnTo>
                    <a:pt x="205" y="48"/>
                  </a:lnTo>
                  <a:lnTo>
                    <a:pt x="200" y="46"/>
                  </a:lnTo>
                  <a:lnTo>
                    <a:pt x="200" y="46"/>
                  </a:lnTo>
                  <a:lnTo>
                    <a:pt x="197" y="46"/>
                  </a:lnTo>
                  <a:lnTo>
                    <a:pt x="197" y="45"/>
                  </a:lnTo>
                  <a:lnTo>
                    <a:pt x="197" y="42"/>
                  </a:lnTo>
                  <a:lnTo>
                    <a:pt x="195" y="38"/>
                  </a:lnTo>
                  <a:lnTo>
                    <a:pt x="195" y="38"/>
                  </a:lnTo>
                  <a:lnTo>
                    <a:pt x="192" y="29"/>
                  </a:lnTo>
                  <a:lnTo>
                    <a:pt x="192" y="25"/>
                  </a:lnTo>
                  <a:lnTo>
                    <a:pt x="194" y="22"/>
                  </a:lnTo>
                  <a:lnTo>
                    <a:pt x="194" y="22"/>
                  </a:lnTo>
                  <a:lnTo>
                    <a:pt x="197" y="19"/>
                  </a:lnTo>
                  <a:lnTo>
                    <a:pt x="197" y="16"/>
                  </a:lnTo>
                  <a:lnTo>
                    <a:pt x="195" y="14"/>
                  </a:lnTo>
                  <a:lnTo>
                    <a:pt x="192" y="16"/>
                  </a:lnTo>
                  <a:lnTo>
                    <a:pt x="192" y="16"/>
                  </a:lnTo>
                  <a:lnTo>
                    <a:pt x="185" y="22"/>
                  </a:lnTo>
                  <a:lnTo>
                    <a:pt x="181" y="23"/>
                  </a:lnTo>
                  <a:lnTo>
                    <a:pt x="176" y="23"/>
                  </a:lnTo>
                  <a:lnTo>
                    <a:pt x="176" y="23"/>
                  </a:lnTo>
                  <a:lnTo>
                    <a:pt x="171" y="20"/>
                  </a:lnTo>
                  <a:lnTo>
                    <a:pt x="168" y="19"/>
                  </a:lnTo>
                  <a:lnTo>
                    <a:pt x="165" y="16"/>
                  </a:lnTo>
                  <a:lnTo>
                    <a:pt x="159" y="16"/>
                  </a:lnTo>
                  <a:lnTo>
                    <a:pt x="159" y="16"/>
                  </a:lnTo>
                  <a:lnTo>
                    <a:pt x="152" y="16"/>
                  </a:lnTo>
                  <a:lnTo>
                    <a:pt x="145" y="19"/>
                  </a:lnTo>
                  <a:lnTo>
                    <a:pt x="145" y="19"/>
                  </a:lnTo>
                  <a:lnTo>
                    <a:pt x="137" y="20"/>
                  </a:lnTo>
                  <a:lnTo>
                    <a:pt x="130" y="22"/>
                  </a:lnTo>
                  <a:lnTo>
                    <a:pt x="130" y="22"/>
                  </a:lnTo>
                  <a:lnTo>
                    <a:pt x="121" y="20"/>
                  </a:lnTo>
                  <a:lnTo>
                    <a:pt x="114" y="16"/>
                  </a:lnTo>
                  <a:lnTo>
                    <a:pt x="107" y="13"/>
                  </a:lnTo>
                  <a:lnTo>
                    <a:pt x="103" y="11"/>
                  </a:lnTo>
                  <a:lnTo>
                    <a:pt x="103" y="11"/>
                  </a:lnTo>
                  <a:lnTo>
                    <a:pt x="97" y="13"/>
                  </a:lnTo>
                  <a:lnTo>
                    <a:pt x="91" y="16"/>
                  </a:lnTo>
                  <a:lnTo>
                    <a:pt x="85" y="17"/>
                  </a:lnTo>
                  <a:lnTo>
                    <a:pt x="84" y="17"/>
                  </a:lnTo>
                  <a:lnTo>
                    <a:pt x="82" y="17"/>
                  </a:lnTo>
                  <a:lnTo>
                    <a:pt x="82" y="17"/>
                  </a:lnTo>
                  <a:lnTo>
                    <a:pt x="81" y="14"/>
                  </a:lnTo>
                  <a:lnTo>
                    <a:pt x="81" y="11"/>
                  </a:lnTo>
                  <a:lnTo>
                    <a:pt x="81" y="9"/>
                  </a:lnTo>
                  <a:lnTo>
                    <a:pt x="79" y="6"/>
                  </a:lnTo>
                  <a:lnTo>
                    <a:pt x="79" y="6"/>
                  </a:lnTo>
                  <a:lnTo>
                    <a:pt x="74" y="4"/>
                  </a:lnTo>
                  <a:lnTo>
                    <a:pt x="68" y="1"/>
                  </a:lnTo>
                  <a:lnTo>
                    <a:pt x="61" y="0"/>
                  </a:lnTo>
                  <a:lnTo>
                    <a:pt x="55" y="1"/>
                  </a:lnTo>
                  <a:lnTo>
                    <a:pt x="55" y="1"/>
                  </a:lnTo>
                  <a:lnTo>
                    <a:pt x="45" y="6"/>
                  </a:lnTo>
                  <a:lnTo>
                    <a:pt x="33" y="9"/>
                  </a:lnTo>
                  <a:lnTo>
                    <a:pt x="33" y="9"/>
                  </a:lnTo>
                  <a:lnTo>
                    <a:pt x="29" y="10"/>
                  </a:lnTo>
                  <a:lnTo>
                    <a:pt x="24" y="11"/>
                  </a:lnTo>
                  <a:lnTo>
                    <a:pt x="21" y="11"/>
                  </a:lnTo>
                  <a:lnTo>
                    <a:pt x="20" y="11"/>
                  </a:lnTo>
                  <a:lnTo>
                    <a:pt x="20" y="10"/>
                  </a:lnTo>
                  <a:lnTo>
                    <a:pt x="20" y="10"/>
                  </a:lnTo>
                  <a:lnTo>
                    <a:pt x="20" y="6"/>
                  </a:lnTo>
                  <a:lnTo>
                    <a:pt x="23" y="3"/>
                  </a:lnTo>
                  <a:lnTo>
                    <a:pt x="23" y="3"/>
                  </a:lnTo>
                  <a:lnTo>
                    <a:pt x="19" y="1"/>
                  </a:lnTo>
                  <a:lnTo>
                    <a:pt x="14" y="3"/>
                  </a:lnTo>
                  <a:lnTo>
                    <a:pt x="11" y="4"/>
                  </a:lnTo>
                  <a:lnTo>
                    <a:pt x="8" y="7"/>
                  </a:lnTo>
                  <a:lnTo>
                    <a:pt x="4" y="14"/>
                  </a:lnTo>
                  <a:lnTo>
                    <a:pt x="3" y="20"/>
                  </a:lnTo>
                  <a:lnTo>
                    <a:pt x="3" y="20"/>
                  </a:lnTo>
                  <a:lnTo>
                    <a:pt x="0" y="32"/>
                  </a:lnTo>
                  <a:lnTo>
                    <a:pt x="0" y="36"/>
                  </a:lnTo>
                  <a:lnTo>
                    <a:pt x="0" y="38"/>
                  </a:lnTo>
                  <a:lnTo>
                    <a:pt x="1" y="39"/>
                  </a:lnTo>
                  <a:lnTo>
                    <a:pt x="1" y="39"/>
                  </a:lnTo>
                  <a:lnTo>
                    <a:pt x="4" y="42"/>
                  </a:lnTo>
                  <a:lnTo>
                    <a:pt x="5" y="48"/>
                  </a:lnTo>
                  <a:lnTo>
                    <a:pt x="5" y="58"/>
                  </a:lnTo>
                  <a:lnTo>
                    <a:pt x="5" y="58"/>
                  </a:lnTo>
                  <a:lnTo>
                    <a:pt x="8" y="64"/>
                  </a:lnTo>
                  <a:lnTo>
                    <a:pt x="11" y="68"/>
                  </a:lnTo>
                  <a:lnTo>
                    <a:pt x="17" y="72"/>
                  </a:lnTo>
                  <a:lnTo>
                    <a:pt x="23" y="74"/>
                  </a:lnTo>
                  <a:lnTo>
                    <a:pt x="23" y="74"/>
                  </a:lnTo>
                  <a:lnTo>
                    <a:pt x="33" y="75"/>
                  </a:lnTo>
                  <a:lnTo>
                    <a:pt x="47" y="78"/>
                  </a:lnTo>
                  <a:lnTo>
                    <a:pt x="71" y="85"/>
                  </a:lnTo>
                  <a:lnTo>
                    <a:pt x="71" y="85"/>
                  </a:lnTo>
                  <a:lnTo>
                    <a:pt x="76" y="85"/>
                  </a:lnTo>
                  <a:lnTo>
                    <a:pt x="81" y="84"/>
                  </a:lnTo>
                  <a:lnTo>
                    <a:pt x="88" y="82"/>
                  </a:lnTo>
                  <a:lnTo>
                    <a:pt x="88" y="82"/>
                  </a:lnTo>
                  <a:lnTo>
                    <a:pt x="89" y="84"/>
                  </a:lnTo>
                  <a:lnTo>
                    <a:pt x="89" y="85"/>
                  </a:lnTo>
                  <a:lnTo>
                    <a:pt x="87" y="91"/>
                  </a:lnTo>
                  <a:lnTo>
                    <a:pt x="79" y="103"/>
                  </a:lnTo>
                  <a:lnTo>
                    <a:pt x="79" y="103"/>
                  </a:lnTo>
                  <a:lnTo>
                    <a:pt x="78" y="107"/>
                  </a:lnTo>
                  <a:lnTo>
                    <a:pt x="78" y="111"/>
                  </a:lnTo>
                  <a:lnTo>
                    <a:pt x="82" y="122"/>
                  </a:lnTo>
                  <a:lnTo>
                    <a:pt x="82" y="122"/>
                  </a:lnTo>
                  <a:lnTo>
                    <a:pt x="87" y="135"/>
                  </a:lnTo>
                  <a:lnTo>
                    <a:pt x="88" y="139"/>
                  </a:lnTo>
                  <a:lnTo>
                    <a:pt x="91" y="145"/>
                  </a:lnTo>
                  <a:lnTo>
                    <a:pt x="91" y="145"/>
                  </a:lnTo>
                  <a:lnTo>
                    <a:pt x="94" y="149"/>
                  </a:lnTo>
                  <a:lnTo>
                    <a:pt x="95" y="153"/>
                  </a:lnTo>
                  <a:lnTo>
                    <a:pt x="95" y="153"/>
                  </a:lnTo>
                  <a:lnTo>
                    <a:pt x="97" y="156"/>
                  </a:lnTo>
                  <a:lnTo>
                    <a:pt x="97" y="156"/>
                  </a:lnTo>
                  <a:lnTo>
                    <a:pt x="100" y="161"/>
                  </a:lnTo>
                  <a:lnTo>
                    <a:pt x="104" y="165"/>
                  </a:lnTo>
                  <a:lnTo>
                    <a:pt x="110" y="169"/>
                  </a:lnTo>
                  <a:lnTo>
                    <a:pt x="116" y="171"/>
                  </a:lnTo>
                  <a:lnTo>
                    <a:pt x="116" y="171"/>
                  </a:lnTo>
                  <a:lnTo>
                    <a:pt x="124" y="169"/>
                  </a:lnTo>
                  <a:lnTo>
                    <a:pt x="134" y="164"/>
                  </a:lnTo>
                  <a:lnTo>
                    <a:pt x="134" y="164"/>
                  </a:lnTo>
                  <a:lnTo>
                    <a:pt x="139" y="161"/>
                  </a:lnTo>
                  <a:lnTo>
                    <a:pt x="143" y="156"/>
                  </a:lnTo>
                  <a:lnTo>
                    <a:pt x="146" y="152"/>
                  </a:lnTo>
                  <a:lnTo>
                    <a:pt x="146" y="151"/>
                  </a:lnTo>
                  <a:lnTo>
                    <a:pt x="145" y="148"/>
                  </a:lnTo>
                  <a:lnTo>
                    <a:pt x="145" y="148"/>
                  </a:lnTo>
                  <a:lnTo>
                    <a:pt x="136" y="130"/>
                  </a:lnTo>
                  <a:lnTo>
                    <a:pt x="131" y="123"/>
                  </a:lnTo>
                  <a:lnTo>
                    <a:pt x="131" y="119"/>
                  </a:lnTo>
                  <a:lnTo>
                    <a:pt x="133" y="117"/>
                  </a:lnTo>
                  <a:lnTo>
                    <a:pt x="133" y="117"/>
                  </a:lnTo>
                  <a:lnTo>
                    <a:pt x="136" y="116"/>
                  </a:lnTo>
                  <a:lnTo>
                    <a:pt x="137" y="116"/>
                  </a:lnTo>
                  <a:lnTo>
                    <a:pt x="142" y="117"/>
                  </a:lnTo>
                  <a:lnTo>
                    <a:pt x="145" y="120"/>
                  </a:lnTo>
                  <a:lnTo>
                    <a:pt x="146" y="122"/>
                  </a:lnTo>
                  <a:lnTo>
                    <a:pt x="149" y="122"/>
                  </a:lnTo>
                  <a:lnTo>
                    <a:pt x="149" y="122"/>
                  </a:lnTo>
                  <a:lnTo>
                    <a:pt x="169" y="122"/>
                  </a:lnTo>
                  <a:lnTo>
                    <a:pt x="182" y="120"/>
                  </a:lnTo>
                  <a:lnTo>
                    <a:pt x="191" y="117"/>
                  </a:lnTo>
                  <a:lnTo>
                    <a:pt x="191" y="117"/>
                  </a:lnTo>
                  <a:lnTo>
                    <a:pt x="194" y="116"/>
                  </a:lnTo>
                  <a:lnTo>
                    <a:pt x="195" y="113"/>
                  </a:lnTo>
                  <a:lnTo>
                    <a:pt x="198" y="106"/>
                  </a:lnTo>
                  <a:lnTo>
                    <a:pt x="198" y="106"/>
                  </a:lnTo>
                  <a:lnTo>
                    <a:pt x="200" y="101"/>
                  </a:lnTo>
                  <a:lnTo>
                    <a:pt x="200" y="101"/>
                  </a:lnTo>
                  <a:lnTo>
                    <a:pt x="198" y="100"/>
                  </a:lnTo>
                  <a:lnTo>
                    <a:pt x="192" y="97"/>
                  </a:lnTo>
                  <a:lnTo>
                    <a:pt x="191" y="94"/>
                  </a:lnTo>
                  <a:lnTo>
                    <a:pt x="189" y="93"/>
                  </a:lnTo>
                  <a:lnTo>
                    <a:pt x="189" y="90"/>
                  </a:lnTo>
                  <a:lnTo>
                    <a:pt x="192" y="85"/>
                  </a:lnTo>
                  <a:close/>
                  <a:moveTo>
                    <a:pt x="34" y="39"/>
                  </a:moveTo>
                  <a:lnTo>
                    <a:pt x="34" y="39"/>
                  </a:lnTo>
                  <a:lnTo>
                    <a:pt x="24" y="40"/>
                  </a:lnTo>
                  <a:lnTo>
                    <a:pt x="20" y="39"/>
                  </a:lnTo>
                  <a:lnTo>
                    <a:pt x="19" y="38"/>
                  </a:lnTo>
                  <a:lnTo>
                    <a:pt x="19" y="36"/>
                  </a:lnTo>
                  <a:lnTo>
                    <a:pt x="19" y="36"/>
                  </a:lnTo>
                  <a:lnTo>
                    <a:pt x="19" y="33"/>
                  </a:lnTo>
                  <a:lnTo>
                    <a:pt x="19" y="30"/>
                  </a:lnTo>
                  <a:lnTo>
                    <a:pt x="19" y="27"/>
                  </a:lnTo>
                  <a:lnTo>
                    <a:pt x="20" y="25"/>
                  </a:lnTo>
                  <a:lnTo>
                    <a:pt x="20" y="25"/>
                  </a:lnTo>
                  <a:lnTo>
                    <a:pt x="27" y="20"/>
                  </a:lnTo>
                  <a:lnTo>
                    <a:pt x="30" y="20"/>
                  </a:lnTo>
                  <a:lnTo>
                    <a:pt x="32" y="22"/>
                  </a:lnTo>
                  <a:lnTo>
                    <a:pt x="32" y="22"/>
                  </a:lnTo>
                  <a:lnTo>
                    <a:pt x="37" y="33"/>
                  </a:lnTo>
                  <a:lnTo>
                    <a:pt x="37" y="38"/>
                  </a:lnTo>
                  <a:lnTo>
                    <a:pt x="37" y="39"/>
                  </a:lnTo>
                  <a:lnTo>
                    <a:pt x="34" y="39"/>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21" name="Freeform 677"/>
            <p:cNvSpPr>
              <a:spLocks/>
            </p:cNvSpPr>
            <p:nvPr/>
          </p:nvSpPr>
          <p:spPr bwMode="auto">
            <a:xfrm>
              <a:off x="2439988" y="4470829"/>
              <a:ext cx="338138" cy="271463"/>
            </a:xfrm>
            <a:custGeom>
              <a:avLst/>
              <a:gdLst>
                <a:gd name="T0" fmla="*/ 198 w 213"/>
                <a:gd name="T1" fmla="*/ 80 h 171"/>
                <a:gd name="T2" fmla="*/ 208 w 213"/>
                <a:gd name="T3" fmla="*/ 69 h 171"/>
                <a:gd name="T4" fmla="*/ 202 w 213"/>
                <a:gd name="T5" fmla="*/ 64 h 171"/>
                <a:gd name="T6" fmla="*/ 200 w 213"/>
                <a:gd name="T7" fmla="*/ 58 h 171"/>
                <a:gd name="T8" fmla="*/ 213 w 213"/>
                <a:gd name="T9" fmla="*/ 51 h 171"/>
                <a:gd name="T10" fmla="*/ 200 w 213"/>
                <a:gd name="T11" fmla="*/ 46 h 171"/>
                <a:gd name="T12" fmla="*/ 197 w 213"/>
                <a:gd name="T13" fmla="*/ 42 h 171"/>
                <a:gd name="T14" fmla="*/ 192 w 213"/>
                <a:gd name="T15" fmla="*/ 29 h 171"/>
                <a:gd name="T16" fmla="*/ 194 w 213"/>
                <a:gd name="T17" fmla="*/ 22 h 171"/>
                <a:gd name="T18" fmla="*/ 195 w 213"/>
                <a:gd name="T19" fmla="*/ 14 h 171"/>
                <a:gd name="T20" fmla="*/ 185 w 213"/>
                <a:gd name="T21" fmla="*/ 22 h 171"/>
                <a:gd name="T22" fmla="*/ 176 w 213"/>
                <a:gd name="T23" fmla="*/ 23 h 171"/>
                <a:gd name="T24" fmla="*/ 165 w 213"/>
                <a:gd name="T25" fmla="*/ 16 h 171"/>
                <a:gd name="T26" fmla="*/ 152 w 213"/>
                <a:gd name="T27" fmla="*/ 16 h 171"/>
                <a:gd name="T28" fmla="*/ 137 w 213"/>
                <a:gd name="T29" fmla="*/ 20 h 171"/>
                <a:gd name="T30" fmla="*/ 121 w 213"/>
                <a:gd name="T31" fmla="*/ 20 h 171"/>
                <a:gd name="T32" fmla="*/ 103 w 213"/>
                <a:gd name="T33" fmla="*/ 11 h 171"/>
                <a:gd name="T34" fmla="*/ 91 w 213"/>
                <a:gd name="T35" fmla="*/ 16 h 171"/>
                <a:gd name="T36" fmla="*/ 82 w 213"/>
                <a:gd name="T37" fmla="*/ 17 h 171"/>
                <a:gd name="T38" fmla="*/ 81 w 213"/>
                <a:gd name="T39" fmla="*/ 11 h 171"/>
                <a:gd name="T40" fmla="*/ 79 w 213"/>
                <a:gd name="T41" fmla="*/ 6 h 171"/>
                <a:gd name="T42" fmla="*/ 61 w 213"/>
                <a:gd name="T43" fmla="*/ 0 h 171"/>
                <a:gd name="T44" fmla="*/ 45 w 213"/>
                <a:gd name="T45" fmla="*/ 6 h 171"/>
                <a:gd name="T46" fmla="*/ 29 w 213"/>
                <a:gd name="T47" fmla="*/ 10 h 171"/>
                <a:gd name="T48" fmla="*/ 20 w 213"/>
                <a:gd name="T49" fmla="*/ 11 h 171"/>
                <a:gd name="T50" fmla="*/ 20 w 213"/>
                <a:gd name="T51" fmla="*/ 6 h 171"/>
                <a:gd name="T52" fmla="*/ 19 w 213"/>
                <a:gd name="T53" fmla="*/ 1 h 171"/>
                <a:gd name="T54" fmla="*/ 8 w 213"/>
                <a:gd name="T55" fmla="*/ 7 h 171"/>
                <a:gd name="T56" fmla="*/ 3 w 213"/>
                <a:gd name="T57" fmla="*/ 20 h 171"/>
                <a:gd name="T58" fmla="*/ 0 w 213"/>
                <a:gd name="T59" fmla="*/ 38 h 171"/>
                <a:gd name="T60" fmla="*/ 4 w 213"/>
                <a:gd name="T61" fmla="*/ 42 h 171"/>
                <a:gd name="T62" fmla="*/ 5 w 213"/>
                <a:gd name="T63" fmla="*/ 58 h 171"/>
                <a:gd name="T64" fmla="*/ 17 w 213"/>
                <a:gd name="T65" fmla="*/ 72 h 171"/>
                <a:gd name="T66" fmla="*/ 33 w 213"/>
                <a:gd name="T67" fmla="*/ 75 h 171"/>
                <a:gd name="T68" fmla="*/ 71 w 213"/>
                <a:gd name="T69" fmla="*/ 85 h 171"/>
                <a:gd name="T70" fmla="*/ 88 w 213"/>
                <a:gd name="T71" fmla="*/ 82 h 171"/>
                <a:gd name="T72" fmla="*/ 89 w 213"/>
                <a:gd name="T73" fmla="*/ 85 h 171"/>
                <a:gd name="T74" fmla="*/ 79 w 213"/>
                <a:gd name="T75" fmla="*/ 103 h 171"/>
                <a:gd name="T76" fmla="*/ 82 w 213"/>
                <a:gd name="T77" fmla="*/ 122 h 171"/>
                <a:gd name="T78" fmla="*/ 88 w 213"/>
                <a:gd name="T79" fmla="*/ 139 h 171"/>
                <a:gd name="T80" fmla="*/ 94 w 213"/>
                <a:gd name="T81" fmla="*/ 149 h 171"/>
                <a:gd name="T82" fmla="*/ 97 w 213"/>
                <a:gd name="T83" fmla="*/ 156 h 171"/>
                <a:gd name="T84" fmla="*/ 104 w 213"/>
                <a:gd name="T85" fmla="*/ 165 h 171"/>
                <a:gd name="T86" fmla="*/ 116 w 213"/>
                <a:gd name="T87" fmla="*/ 171 h 171"/>
                <a:gd name="T88" fmla="*/ 134 w 213"/>
                <a:gd name="T89" fmla="*/ 164 h 171"/>
                <a:gd name="T90" fmla="*/ 146 w 213"/>
                <a:gd name="T91" fmla="*/ 152 h 171"/>
                <a:gd name="T92" fmla="*/ 145 w 213"/>
                <a:gd name="T93" fmla="*/ 148 h 171"/>
                <a:gd name="T94" fmla="*/ 131 w 213"/>
                <a:gd name="T95" fmla="*/ 119 h 171"/>
                <a:gd name="T96" fmla="*/ 136 w 213"/>
                <a:gd name="T97" fmla="*/ 116 h 171"/>
                <a:gd name="T98" fmla="*/ 145 w 213"/>
                <a:gd name="T99" fmla="*/ 120 h 171"/>
                <a:gd name="T100" fmla="*/ 149 w 213"/>
                <a:gd name="T101" fmla="*/ 122 h 171"/>
                <a:gd name="T102" fmla="*/ 191 w 213"/>
                <a:gd name="T103" fmla="*/ 117 h 171"/>
                <a:gd name="T104" fmla="*/ 195 w 213"/>
                <a:gd name="T105" fmla="*/ 113 h 171"/>
                <a:gd name="T106" fmla="*/ 200 w 213"/>
                <a:gd name="T107" fmla="*/ 101 h 171"/>
                <a:gd name="T108" fmla="*/ 192 w 213"/>
                <a:gd name="T109" fmla="*/ 97 h 171"/>
                <a:gd name="T110" fmla="*/ 189 w 213"/>
                <a:gd name="T111" fmla="*/ 9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3" h="171">
                  <a:moveTo>
                    <a:pt x="192" y="85"/>
                  </a:moveTo>
                  <a:lnTo>
                    <a:pt x="192" y="85"/>
                  </a:lnTo>
                  <a:lnTo>
                    <a:pt x="198" y="80"/>
                  </a:lnTo>
                  <a:lnTo>
                    <a:pt x="205" y="75"/>
                  </a:lnTo>
                  <a:lnTo>
                    <a:pt x="208" y="71"/>
                  </a:lnTo>
                  <a:lnTo>
                    <a:pt x="208" y="69"/>
                  </a:lnTo>
                  <a:lnTo>
                    <a:pt x="208" y="67"/>
                  </a:lnTo>
                  <a:lnTo>
                    <a:pt x="208" y="67"/>
                  </a:lnTo>
                  <a:lnTo>
                    <a:pt x="202" y="64"/>
                  </a:lnTo>
                  <a:lnTo>
                    <a:pt x="198" y="62"/>
                  </a:lnTo>
                  <a:lnTo>
                    <a:pt x="197" y="61"/>
                  </a:lnTo>
                  <a:lnTo>
                    <a:pt x="200" y="58"/>
                  </a:lnTo>
                  <a:lnTo>
                    <a:pt x="200" y="58"/>
                  </a:lnTo>
                  <a:lnTo>
                    <a:pt x="213" y="51"/>
                  </a:lnTo>
                  <a:lnTo>
                    <a:pt x="213" y="51"/>
                  </a:lnTo>
                  <a:lnTo>
                    <a:pt x="205" y="48"/>
                  </a:lnTo>
                  <a:lnTo>
                    <a:pt x="200" y="46"/>
                  </a:lnTo>
                  <a:lnTo>
                    <a:pt x="200" y="46"/>
                  </a:lnTo>
                  <a:lnTo>
                    <a:pt x="197" y="46"/>
                  </a:lnTo>
                  <a:lnTo>
                    <a:pt x="197" y="45"/>
                  </a:lnTo>
                  <a:lnTo>
                    <a:pt x="197" y="42"/>
                  </a:lnTo>
                  <a:lnTo>
                    <a:pt x="195" y="38"/>
                  </a:lnTo>
                  <a:lnTo>
                    <a:pt x="195" y="38"/>
                  </a:lnTo>
                  <a:lnTo>
                    <a:pt x="192" y="29"/>
                  </a:lnTo>
                  <a:lnTo>
                    <a:pt x="192" y="25"/>
                  </a:lnTo>
                  <a:lnTo>
                    <a:pt x="194" y="22"/>
                  </a:lnTo>
                  <a:lnTo>
                    <a:pt x="194" y="22"/>
                  </a:lnTo>
                  <a:lnTo>
                    <a:pt x="197" y="19"/>
                  </a:lnTo>
                  <a:lnTo>
                    <a:pt x="197" y="16"/>
                  </a:lnTo>
                  <a:lnTo>
                    <a:pt x="195" y="14"/>
                  </a:lnTo>
                  <a:lnTo>
                    <a:pt x="192" y="16"/>
                  </a:lnTo>
                  <a:lnTo>
                    <a:pt x="192" y="16"/>
                  </a:lnTo>
                  <a:lnTo>
                    <a:pt x="185" y="22"/>
                  </a:lnTo>
                  <a:lnTo>
                    <a:pt x="181" y="23"/>
                  </a:lnTo>
                  <a:lnTo>
                    <a:pt x="176" y="23"/>
                  </a:lnTo>
                  <a:lnTo>
                    <a:pt x="176" y="23"/>
                  </a:lnTo>
                  <a:lnTo>
                    <a:pt x="171" y="20"/>
                  </a:lnTo>
                  <a:lnTo>
                    <a:pt x="168" y="19"/>
                  </a:lnTo>
                  <a:lnTo>
                    <a:pt x="165" y="16"/>
                  </a:lnTo>
                  <a:lnTo>
                    <a:pt x="159" y="16"/>
                  </a:lnTo>
                  <a:lnTo>
                    <a:pt x="159" y="16"/>
                  </a:lnTo>
                  <a:lnTo>
                    <a:pt x="152" y="16"/>
                  </a:lnTo>
                  <a:lnTo>
                    <a:pt x="145" y="19"/>
                  </a:lnTo>
                  <a:lnTo>
                    <a:pt x="145" y="19"/>
                  </a:lnTo>
                  <a:lnTo>
                    <a:pt x="137" y="20"/>
                  </a:lnTo>
                  <a:lnTo>
                    <a:pt x="130" y="22"/>
                  </a:lnTo>
                  <a:lnTo>
                    <a:pt x="130" y="22"/>
                  </a:lnTo>
                  <a:lnTo>
                    <a:pt x="121" y="20"/>
                  </a:lnTo>
                  <a:lnTo>
                    <a:pt x="114" y="16"/>
                  </a:lnTo>
                  <a:lnTo>
                    <a:pt x="107" y="13"/>
                  </a:lnTo>
                  <a:lnTo>
                    <a:pt x="103" y="11"/>
                  </a:lnTo>
                  <a:lnTo>
                    <a:pt x="103" y="11"/>
                  </a:lnTo>
                  <a:lnTo>
                    <a:pt x="97" y="13"/>
                  </a:lnTo>
                  <a:lnTo>
                    <a:pt x="91" y="16"/>
                  </a:lnTo>
                  <a:lnTo>
                    <a:pt x="85" y="17"/>
                  </a:lnTo>
                  <a:lnTo>
                    <a:pt x="84" y="17"/>
                  </a:lnTo>
                  <a:lnTo>
                    <a:pt x="82" y="17"/>
                  </a:lnTo>
                  <a:lnTo>
                    <a:pt x="82" y="17"/>
                  </a:lnTo>
                  <a:lnTo>
                    <a:pt x="81" y="14"/>
                  </a:lnTo>
                  <a:lnTo>
                    <a:pt x="81" y="11"/>
                  </a:lnTo>
                  <a:lnTo>
                    <a:pt x="81" y="9"/>
                  </a:lnTo>
                  <a:lnTo>
                    <a:pt x="79" y="6"/>
                  </a:lnTo>
                  <a:lnTo>
                    <a:pt x="79" y="6"/>
                  </a:lnTo>
                  <a:lnTo>
                    <a:pt x="74" y="4"/>
                  </a:lnTo>
                  <a:lnTo>
                    <a:pt x="68" y="1"/>
                  </a:lnTo>
                  <a:lnTo>
                    <a:pt x="61" y="0"/>
                  </a:lnTo>
                  <a:lnTo>
                    <a:pt x="55" y="1"/>
                  </a:lnTo>
                  <a:lnTo>
                    <a:pt x="55" y="1"/>
                  </a:lnTo>
                  <a:lnTo>
                    <a:pt x="45" y="6"/>
                  </a:lnTo>
                  <a:lnTo>
                    <a:pt x="33" y="9"/>
                  </a:lnTo>
                  <a:lnTo>
                    <a:pt x="33" y="9"/>
                  </a:lnTo>
                  <a:lnTo>
                    <a:pt x="29" y="10"/>
                  </a:lnTo>
                  <a:lnTo>
                    <a:pt x="24" y="11"/>
                  </a:lnTo>
                  <a:lnTo>
                    <a:pt x="21" y="11"/>
                  </a:lnTo>
                  <a:lnTo>
                    <a:pt x="20" y="11"/>
                  </a:lnTo>
                  <a:lnTo>
                    <a:pt x="20" y="10"/>
                  </a:lnTo>
                  <a:lnTo>
                    <a:pt x="20" y="10"/>
                  </a:lnTo>
                  <a:lnTo>
                    <a:pt x="20" y="6"/>
                  </a:lnTo>
                  <a:lnTo>
                    <a:pt x="23" y="3"/>
                  </a:lnTo>
                  <a:lnTo>
                    <a:pt x="23" y="3"/>
                  </a:lnTo>
                  <a:lnTo>
                    <a:pt x="19" y="1"/>
                  </a:lnTo>
                  <a:lnTo>
                    <a:pt x="14" y="3"/>
                  </a:lnTo>
                  <a:lnTo>
                    <a:pt x="11" y="4"/>
                  </a:lnTo>
                  <a:lnTo>
                    <a:pt x="8" y="7"/>
                  </a:lnTo>
                  <a:lnTo>
                    <a:pt x="4" y="14"/>
                  </a:lnTo>
                  <a:lnTo>
                    <a:pt x="3" y="20"/>
                  </a:lnTo>
                  <a:lnTo>
                    <a:pt x="3" y="20"/>
                  </a:lnTo>
                  <a:lnTo>
                    <a:pt x="0" y="32"/>
                  </a:lnTo>
                  <a:lnTo>
                    <a:pt x="0" y="36"/>
                  </a:lnTo>
                  <a:lnTo>
                    <a:pt x="0" y="38"/>
                  </a:lnTo>
                  <a:lnTo>
                    <a:pt x="1" y="39"/>
                  </a:lnTo>
                  <a:lnTo>
                    <a:pt x="1" y="39"/>
                  </a:lnTo>
                  <a:lnTo>
                    <a:pt x="4" y="42"/>
                  </a:lnTo>
                  <a:lnTo>
                    <a:pt x="5" y="48"/>
                  </a:lnTo>
                  <a:lnTo>
                    <a:pt x="5" y="58"/>
                  </a:lnTo>
                  <a:lnTo>
                    <a:pt x="5" y="58"/>
                  </a:lnTo>
                  <a:lnTo>
                    <a:pt x="8" y="64"/>
                  </a:lnTo>
                  <a:lnTo>
                    <a:pt x="11" y="68"/>
                  </a:lnTo>
                  <a:lnTo>
                    <a:pt x="17" y="72"/>
                  </a:lnTo>
                  <a:lnTo>
                    <a:pt x="23" y="74"/>
                  </a:lnTo>
                  <a:lnTo>
                    <a:pt x="23" y="74"/>
                  </a:lnTo>
                  <a:lnTo>
                    <a:pt x="33" y="75"/>
                  </a:lnTo>
                  <a:lnTo>
                    <a:pt x="47" y="78"/>
                  </a:lnTo>
                  <a:lnTo>
                    <a:pt x="71" y="85"/>
                  </a:lnTo>
                  <a:lnTo>
                    <a:pt x="71" y="85"/>
                  </a:lnTo>
                  <a:lnTo>
                    <a:pt x="76" y="85"/>
                  </a:lnTo>
                  <a:lnTo>
                    <a:pt x="81" y="84"/>
                  </a:lnTo>
                  <a:lnTo>
                    <a:pt x="88" y="82"/>
                  </a:lnTo>
                  <a:lnTo>
                    <a:pt x="88" y="82"/>
                  </a:lnTo>
                  <a:lnTo>
                    <a:pt x="89" y="84"/>
                  </a:lnTo>
                  <a:lnTo>
                    <a:pt x="89" y="85"/>
                  </a:lnTo>
                  <a:lnTo>
                    <a:pt x="87" y="91"/>
                  </a:lnTo>
                  <a:lnTo>
                    <a:pt x="79" y="103"/>
                  </a:lnTo>
                  <a:lnTo>
                    <a:pt x="79" y="103"/>
                  </a:lnTo>
                  <a:lnTo>
                    <a:pt x="78" y="107"/>
                  </a:lnTo>
                  <a:lnTo>
                    <a:pt x="78" y="111"/>
                  </a:lnTo>
                  <a:lnTo>
                    <a:pt x="82" y="122"/>
                  </a:lnTo>
                  <a:lnTo>
                    <a:pt x="82" y="122"/>
                  </a:lnTo>
                  <a:lnTo>
                    <a:pt x="87" y="135"/>
                  </a:lnTo>
                  <a:lnTo>
                    <a:pt x="88" y="139"/>
                  </a:lnTo>
                  <a:lnTo>
                    <a:pt x="91" y="145"/>
                  </a:lnTo>
                  <a:lnTo>
                    <a:pt x="91" y="145"/>
                  </a:lnTo>
                  <a:lnTo>
                    <a:pt x="94" y="149"/>
                  </a:lnTo>
                  <a:lnTo>
                    <a:pt x="95" y="153"/>
                  </a:lnTo>
                  <a:lnTo>
                    <a:pt x="95" y="153"/>
                  </a:lnTo>
                  <a:lnTo>
                    <a:pt x="97" y="156"/>
                  </a:lnTo>
                  <a:lnTo>
                    <a:pt x="97" y="156"/>
                  </a:lnTo>
                  <a:lnTo>
                    <a:pt x="100" y="161"/>
                  </a:lnTo>
                  <a:lnTo>
                    <a:pt x="104" y="165"/>
                  </a:lnTo>
                  <a:lnTo>
                    <a:pt x="110" y="169"/>
                  </a:lnTo>
                  <a:lnTo>
                    <a:pt x="116" y="171"/>
                  </a:lnTo>
                  <a:lnTo>
                    <a:pt x="116" y="171"/>
                  </a:lnTo>
                  <a:lnTo>
                    <a:pt x="124" y="169"/>
                  </a:lnTo>
                  <a:lnTo>
                    <a:pt x="134" y="164"/>
                  </a:lnTo>
                  <a:lnTo>
                    <a:pt x="134" y="164"/>
                  </a:lnTo>
                  <a:lnTo>
                    <a:pt x="139" y="161"/>
                  </a:lnTo>
                  <a:lnTo>
                    <a:pt x="143" y="156"/>
                  </a:lnTo>
                  <a:lnTo>
                    <a:pt x="146" y="152"/>
                  </a:lnTo>
                  <a:lnTo>
                    <a:pt x="146" y="151"/>
                  </a:lnTo>
                  <a:lnTo>
                    <a:pt x="145" y="148"/>
                  </a:lnTo>
                  <a:lnTo>
                    <a:pt x="145" y="148"/>
                  </a:lnTo>
                  <a:lnTo>
                    <a:pt x="136" y="130"/>
                  </a:lnTo>
                  <a:lnTo>
                    <a:pt x="131" y="123"/>
                  </a:lnTo>
                  <a:lnTo>
                    <a:pt x="131" y="119"/>
                  </a:lnTo>
                  <a:lnTo>
                    <a:pt x="133" y="117"/>
                  </a:lnTo>
                  <a:lnTo>
                    <a:pt x="133" y="117"/>
                  </a:lnTo>
                  <a:lnTo>
                    <a:pt x="136" y="116"/>
                  </a:lnTo>
                  <a:lnTo>
                    <a:pt x="137" y="116"/>
                  </a:lnTo>
                  <a:lnTo>
                    <a:pt x="142" y="117"/>
                  </a:lnTo>
                  <a:lnTo>
                    <a:pt x="145" y="120"/>
                  </a:lnTo>
                  <a:lnTo>
                    <a:pt x="146" y="122"/>
                  </a:lnTo>
                  <a:lnTo>
                    <a:pt x="149" y="122"/>
                  </a:lnTo>
                  <a:lnTo>
                    <a:pt x="149" y="122"/>
                  </a:lnTo>
                  <a:lnTo>
                    <a:pt x="169" y="122"/>
                  </a:lnTo>
                  <a:lnTo>
                    <a:pt x="182" y="120"/>
                  </a:lnTo>
                  <a:lnTo>
                    <a:pt x="191" y="117"/>
                  </a:lnTo>
                  <a:lnTo>
                    <a:pt x="191" y="117"/>
                  </a:lnTo>
                  <a:lnTo>
                    <a:pt x="194" y="116"/>
                  </a:lnTo>
                  <a:lnTo>
                    <a:pt x="195" y="113"/>
                  </a:lnTo>
                  <a:lnTo>
                    <a:pt x="198" y="106"/>
                  </a:lnTo>
                  <a:lnTo>
                    <a:pt x="198" y="106"/>
                  </a:lnTo>
                  <a:lnTo>
                    <a:pt x="200" y="101"/>
                  </a:lnTo>
                  <a:lnTo>
                    <a:pt x="200" y="101"/>
                  </a:lnTo>
                  <a:lnTo>
                    <a:pt x="198" y="100"/>
                  </a:lnTo>
                  <a:lnTo>
                    <a:pt x="192" y="97"/>
                  </a:lnTo>
                  <a:lnTo>
                    <a:pt x="191" y="94"/>
                  </a:lnTo>
                  <a:lnTo>
                    <a:pt x="189" y="93"/>
                  </a:lnTo>
                  <a:lnTo>
                    <a:pt x="189" y="90"/>
                  </a:lnTo>
                  <a:lnTo>
                    <a:pt x="192" y="8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22" name="Freeform 678"/>
            <p:cNvSpPr>
              <a:spLocks/>
            </p:cNvSpPr>
            <p:nvPr/>
          </p:nvSpPr>
          <p:spPr bwMode="auto">
            <a:xfrm>
              <a:off x="2470150" y="4502579"/>
              <a:ext cx="28575" cy="31750"/>
            </a:xfrm>
            <a:custGeom>
              <a:avLst/>
              <a:gdLst>
                <a:gd name="T0" fmla="*/ 15 w 18"/>
                <a:gd name="T1" fmla="*/ 19 h 20"/>
                <a:gd name="T2" fmla="*/ 15 w 18"/>
                <a:gd name="T3" fmla="*/ 19 h 20"/>
                <a:gd name="T4" fmla="*/ 5 w 18"/>
                <a:gd name="T5" fmla="*/ 20 h 20"/>
                <a:gd name="T6" fmla="*/ 1 w 18"/>
                <a:gd name="T7" fmla="*/ 19 h 20"/>
                <a:gd name="T8" fmla="*/ 0 w 18"/>
                <a:gd name="T9" fmla="*/ 18 h 20"/>
                <a:gd name="T10" fmla="*/ 0 w 18"/>
                <a:gd name="T11" fmla="*/ 16 h 20"/>
                <a:gd name="T12" fmla="*/ 0 w 18"/>
                <a:gd name="T13" fmla="*/ 16 h 20"/>
                <a:gd name="T14" fmla="*/ 0 w 18"/>
                <a:gd name="T15" fmla="*/ 13 h 20"/>
                <a:gd name="T16" fmla="*/ 0 w 18"/>
                <a:gd name="T17" fmla="*/ 10 h 20"/>
                <a:gd name="T18" fmla="*/ 0 w 18"/>
                <a:gd name="T19" fmla="*/ 7 h 20"/>
                <a:gd name="T20" fmla="*/ 1 w 18"/>
                <a:gd name="T21" fmla="*/ 5 h 20"/>
                <a:gd name="T22" fmla="*/ 1 w 18"/>
                <a:gd name="T23" fmla="*/ 5 h 20"/>
                <a:gd name="T24" fmla="*/ 8 w 18"/>
                <a:gd name="T25" fmla="*/ 0 h 20"/>
                <a:gd name="T26" fmla="*/ 11 w 18"/>
                <a:gd name="T27" fmla="*/ 0 h 20"/>
                <a:gd name="T28" fmla="*/ 13 w 18"/>
                <a:gd name="T29" fmla="*/ 2 h 20"/>
                <a:gd name="T30" fmla="*/ 13 w 18"/>
                <a:gd name="T31" fmla="*/ 2 h 20"/>
                <a:gd name="T32" fmla="*/ 18 w 18"/>
                <a:gd name="T33" fmla="*/ 13 h 20"/>
                <a:gd name="T34" fmla="*/ 18 w 18"/>
                <a:gd name="T35" fmla="*/ 18 h 20"/>
                <a:gd name="T36" fmla="*/ 18 w 18"/>
                <a:gd name="T37" fmla="*/ 19 h 20"/>
                <a:gd name="T38" fmla="*/ 15 w 18"/>
                <a:gd name="T39"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20">
                  <a:moveTo>
                    <a:pt x="15" y="19"/>
                  </a:moveTo>
                  <a:lnTo>
                    <a:pt x="15" y="19"/>
                  </a:lnTo>
                  <a:lnTo>
                    <a:pt x="5" y="20"/>
                  </a:lnTo>
                  <a:lnTo>
                    <a:pt x="1" y="19"/>
                  </a:lnTo>
                  <a:lnTo>
                    <a:pt x="0" y="18"/>
                  </a:lnTo>
                  <a:lnTo>
                    <a:pt x="0" y="16"/>
                  </a:lnTo>
                  <a:lnTo>
                    <a:pt x="0" y="16"/>
                  </a:lnTo>
                  <a:lnTo>
                    <a:pt x="0" y="13"/>
                  </a:lnTo>
                  <a:lnTo>
                    <a:pt x="0" y="10"/>
                  </a:lnTo>
                  <a:lnTo>
                    <a:pt x="0" y="7"/>
                  </a:lnTo>
                  <a:lnTo>
                    <a:pt x="1" y="5"/>
                  </a:lnTo>
                  <a:lnTo>
                    <a:pt x="1" y="5"/>
                  </a:lnTo>
                  <a:lnTo>
                    <a:pt x="8" y="0"/>
                  </a:lnTo>
                  <a:lnTo>
                    <a:pt x="11" y="0"/>
                  </a:lnTo>
                  <a:lnTo>
                    <a:pt x="13" y="2"/>
                  </a:lnTo>
                  <a:lnTo>
                    <a:pt x="13" y="2"/>
                  </a:lnTo>
                  <a:lnTo>
                    <a:pt x="18" y="13"/>
                  </a:lnTo>
                  <a:lnTo>
                    <a:pt x="18" y="18"/>
                  </a:lnTo>
                  <a:lnTo>
                    <a:pt x="18" y="19"/>
                  </a:lnTo>
                  <a:lnTo>
                    <a:pt x="15" y="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23" name="Freeform 679"/>
            <p:cNvSpPr>
              <a:spLocks/>
            </p:cNvSpPr>
            <p:nvPr/>
          </p:nvSpPr>
          <p:spPr bwMode="auto">
            <a:xfrm>
              <a:off x="2835275" y="4605767"/>
              <a:ext cx="93663" cy="101600"/>
            </a:xfrm>
            <a:custGeom>
              <a:avLst/>
              <a:gdLst>
                <a:gd name="T0" fmla="*/ 48 w 59"/>
                <a:gd name="T1" fmla="*/ 64 h 64"/>
                <a:gd name="T2" fmla="*/ 48 w 59"/>
                <a:gd name="T3" fmla="*/ 64 h 64"/>
                <a:gd name="T4" fmla="*/ 35 w 59"/>
                <a:gd name="T5" fmla="*/ 63 h 64"/>
                <a:gd name="T6" fmla="*/ 35 w 59"/>
                <a:gd name="T7" fmla="*/ 63 h 64"/>
                <a:gd name="T8" fmla="*/ 30 w 59"/>
                <a:gd name="T9" fmla="*/ 63 h 64"/>
                <a:gd name="T10" fmla="*/ 30 w 59"/>
                <a:gd name="T11" fmla="*/ 63 h 64"/>
                <a:gd name="T12" fmla="*/ 29 w 59"/>
                <a:gd name="T13" fmla="*/ 63 h 64"/>
                <a:gd name="T14" fmla="*/ 29 w 59"/>
                <a:gd name="T15" fmla="*/ 63 h 64"/>
                <a:gd name="T16" fmla="*/ 11 w 59"/>
                <a:gd name="T17" fmla="*/ 48 h 64"/>
                <a:gd name="T18" fmla="*/ 4 w 59"/>
                <a:gd name="T19" fmla="*/ 39 h 64"/>
                <a:gd name="T20" fmla="*/ 1 w 59"/>
                <a:gd name="T21" fmla="*/ 37 h 64"/>
                <a:gd name="T22" fmla="*/ 0 w 59"/>
                <a:gd name="T23" fmla="*/ 34 h 64"/>
                <a:gd name="T24" fmla="*/ 0 w 59"/>
                <a:gd name="T25" fmla="*/ 34 h 64"/>
                <a:gd name="T26" fmla="*/ 1 w 59"/>
                <a:gd name="T27" fmla="*/ 32 h 64"/>
                <a:gd name="T28" fmla="*/ 1 w 59"/>
                <a:gd name="T29" fmla="*/ 32 h 64"/>
                <a:gd name="T30" fmla="*/ 7 w 59"/>
                <a:gd name="T31" fmla="*/ 21 h 64"/>
                <a:gd name="T32" fmla="*/ 10 w 59"/>
                <a:gd name="T33" fmla="*/ 16 h 64"/>
                <a:gd name="T34" fmla="*/ 10 w 59"/>
                <a:gd name="T35" fmla="*/ 12 h 64"/>
                <a:gd name="T36" fmla="*/ 10 w 59"/>
                <a:gd name="T37" fmla="*/ 0 h 64"/>
                <a:gd name="T38" fmla="*/ 10 w 59"/>
                <a:gd name="T39" fmla="*/ 0 h 64"/>
                <a:gd name="T40" fmla="*/ 17 w 59"/>
                <a:gd name="T41" fmla="*/ 5 h 64"/>
                <a:gd name="T42" fmla="*/ 17 w 59"/>
                <a:gd name="T43" fmla="*/ 5 h 64"/>
                <a:gd name="T44" fmla="*/ 24 w 59"/>
                <a:gd name="T45" fmla="*/ 5 h 64"/>
                <a:gd name="T46" fmla="*/ 24 w 59"/>
                <a:gd name="T47" fmla="*/ 5 h 64"/>
                <a:gd name="T48" fmla="*/ 45 w 59"/>
                <a:gd name="T49" fmla="*/ 3 h 64"/>
                <a:gd name="T50" fmla="*/ 45 w 59"/>
                <a:gd name="T51" fmla="*/ 3 h 64"/>
                <a:gd name="T52" fmla="*/ 49 w 59"/>
                <a:gd name="T53" fmla="*/ 3 h 64"/>
                <a:gd name="T54" fmla="*/ 55 w 59"/>
                <a:gd name="T55" fmla="*/ 6 h 64"/>
                <a:gd name="T56" fmla="*/ 55 w 59"/>
                <a:gd name="T57" fmla="*/ 6 h 64"/>
                <a:gd name="T58" fmla="*/ 49 w 59"/>
                <a:gd name="T59" fmla="*/ 19 h 64"/>
                <a:gd name="T60" fmla="*/ 49 w 59"/>
                <a:gd name="T61" fmla="*/ 19 h 64"/>
                <a:gd name="T62" fmla="*/ 49 w 59"/>
                <a:gd name="T63" fmla="*/ 21 h 64"/>
                <a:gd name="T64" fmla="*/ 49 w 59"/>
                <a:gd name="T65" fmla="*/ 21 h 64"/>
                <a:gd name="T66" fmla="*/ 50 w 59"/>
                <a:gd name="T67" fmla="*/ 25 h 64"/>
                <a:gd name="T68" fmla="*/ 53 w 59"/>
                <a:gd name="T69" fmla="*/ 31 h 64"/>
                <a:gd name="T70" fmla="*/ 58 w 59"/>
                <a:gd name="T71" fmla="*/ 37 h 64"/>
                <a:gd name="T72" fmla="*/ 59 w 59"/>
                <a:gd name="T73" fmla="*/ 42 h 64"/>
                <a:gd name="T74" fmla="*/ 59 w 59"/>
                <a:gd name="T75" fmla="*/ 42 h 64"/>
                <a:gd name="T76" fmla="*/ 58 w 59"/>
                <a:gd name="T77" fmla="*/ 47 h 64"/>
                <a:gd name="T78" fmla="*/ 55 w 59"/>
                <a:gd name="T79" fmla="*/ 52 h 64"/>
                <a:gd name="T80" fmla="*/ 48 w 59"/>
                <a:gd name="T8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9" h="64">
                  <a:moveTo>
                    <a:pt x="48" y="64"/>
                  </a:moveTo>
                  <a:lnTo>
                    <a:pt x="48" y="64"/>
                  </a:lnTo>
                  <a:lnTo>
                    <a:pt x="35" y="63"/>
                  </a:lnTo>
                  <a:lnTo>
                    <a:pt x="35" y="63"/>
                  </a:lnTo>
                  <a:lnTo>
                    <a:pt x="30" y="63"/>
                  </a:lnTo>
                  <a:lnTo>
                    <a:pt x="30" y="63"/>
                  </a:lnTo>
                  <a:lnTo>
                    <a:pt x="29" y="63"/>
                  </a:lnTo>
                  <a:lnTo>
                    <a:pt x="29" y="63"/>
                  </a:lnTo>
                  <a:lnTo>
                    <a:pt x="11" y="48"/>
                  </a:lnTo>
                  <a:lnTo>
                    <a:pt x="4" y="39"/>
                  </a:lnTo>
                  <a:lnTo>
                    <a:pt x="1" y="37"/>
                  </a:lnTo>
                  <a:lnTo>
                    <a:pt x="0" y="34"/>
                  </a:lnTo>
                  <a:lnTo>
                    <a:pt x="0" y="34"/>
                  </a:lnTo>
                  <a:lnTo>
                    <a:pt x="1" y="32"/>
                  </a:lnTo>
                  <a:lnTo>
                    <a:pt x="1" y="32"/>
                  </a:lnTo>
                  <a:lnTo>
                    <a:pt x="7" y="21"/>
                  </a:lnTo>
                  <a:lnTo>
                    <a:pt x="10" y="16"/>
                  </a:lnTo>
                  <a:lnTo>
                    <a:pt x="10" y="12"/>
                  </a:lnTo>
                  <a:lnTo>
                    <a:pt x="10" y="0"/>
                  </a:lnTo>
                  <a:lnTo>
                    <a:pt x="10" y="0"/>
                  </a:lnTo>
                  <a:lnTo>
                    <a:pt x="17" y="5"/>
                  </a:lnTo>
                  <a:lnTo>
                    <a:pt x="17" y="5"/>
                  </a:lnTo>
                  <a:lnTo>
                    <a:pt x="24" y="5"/>
                  </a:lnTo>
                  <a:lnTo>
                    <a:pt x="24" y="5"/>
                  </a:lnTo>
                  <a:lnTo>
                    <a:pt x="45" y="3"/>
                  </a:lnTo>
                  <a:lnTo>
                    <a:pt x="45" y="3"/>
                  </a:lnTo>
                  <a:lnTo>
                    <a:pt x="49" y="3"/>
                  </a:lnTo>
                  <a:lnTo>
                    <a:pt x="55" y="6"/>
                  </a:lnTo>
                  <a:lnTo>
                    <a:pt x="55" y="6"/>
                  </a:lnTo>
                  <a:lnTo>
                    <a:pt x="49" y="19"/>
                  </a:lnTo>
                  <a:lnTo>
                    <a:pt x="49" y="19"/>
                  </a:lnTo>
                  <a:lnTo>
                    <a:pt x="49" y="21"/>
                  </a:lnTo>
                  <a:lnTo>
                    <a:pt x="49" y="21"/>
                  </a:lnTo>
                  <a:lnTo>
                    <a:pt x="50" y="25"/>
                  </a:lnTo>
                  <a:lnTo>
                    <a:pt x="53" y="31"/>
                  </a:lnTo>
                  <a:lnTo>
                    <a:pt x="58" y="37"/>
                  </a:lnTo>
                  <a:lnTo>
                    <a:pt x="59" y="42"/>
                  </a:lnTo>
                  <a:lnTo>
                    <a:pt x="59" y="42"/>
                  </a:lnTo>
                  <a:lnTo>
                    <a:pt x="58" y="47"/>
                  </a:lnTo>
                  <a:lnTo>
                    <a:pt x="55" y="52"/>
                  </a:lnTo>
                  <a:lnTo>
                    <a:pt x="48" y="64"/>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24" name="Freeform 680"/>
            <p:cNvSpPr>
              <a:spLocks/>
            </p:cNvSpPr>
            <p:nvPr/>
          </p:nvSpPr>
          <p:spPr bwMode="auto">
            <a:xfrm>
              <a:off x="2835275" y="4605767"/>
              <a:ext cx="93663" cy="101600"/>
            </a:xfrm>
            <a:custGeom>
              <a:avLst/>
              <a:gdLst>
                <a:gd name="T0" fmla="*/ 48 w 59"/>
                <a:gd name="T1" fmla="*/ 64 h 64"/>
                <a:gd name="T2" fmla="*/ 48 w 59"/>
                <a:gd name="T3" fmla="*/ 64 h 64"/>
                <a:gd name="T4" fmla="*/ 35 w 59"/>
                <a:gd name="T5" fmla="*/ 63 h 64"/>
                <a:gd name="T6" fmla="*/ 35 w 59"/>
                <a:gd name="T7" fmla="*/ 63 h 64"/>
                <a:gd name="T8" fmla="*/ 30 w 59"/>
                <a:gd name="T9" fmla="*/ 63 h 64"/>
                <a:gd name="T10" fmla="*/ 30 w 59"/>
                <a:gd name="T11" fmla="*/ 63 h 64"/>
                <a:gd name="T12" fmla="*/ 29 w 59"/>
                <a:gd name="T13" fmla="*/ 63 h 64"/>
                <a:gd name="T14" fmla="*/ 29 w 59"/>
                <a:gd name="T15" fmla="*/ 63 h 64"/>
                <a:gd name="T16" fmla="*/ 11 w 59"/>
                <a:gd name="T17" fmla="*/ 48 h 64"/>
                <a:gd name="T18" fmla="*/ 4 w 59"/>
                <a:gd name="T19" fmla="*/ 39 h 64"/>
                <a:gd name="T20" fmla="*/ 1 w 59"/>
                <a:gd name="T21" fmla="*/ 37 h 64"/>
                <a:gd name="T22" fmla="*/ 0 w 59"/>
                <a:gd name="T23" fmla="*/ 34 h 64"/>
                <a:gd name="T24" fmla="*/ 0 w 59"/>
                <a:gd name="T25" fmla="*/ 34 h 64"/>
                <a:gd name="T26" fmla="*/ 1 w 59"/>
                <a:gd name="T27" fmla="*/ 32 h 64"/>
                <a:gd name="T28" fmla="*/ 1 w 59"/>
                <a:gd name="T29" fmla="*/ 32 h 64"/>
                <a:gd name="T30" fmla="*/ 7 w 59"/>
                <a:gd name="T31" fmla="*/ 21 h 64"/>
                <a:gd name="T32" fmla="*/ 10 w 59"/>
                <a:gd name="T33" fmla="*/ 16 h 64"/>
                <a:gd name="T34" fmla="*/ 10 w 59"/>
                <a:gd name="T35" fmla="*/ 12 h 64"/>
                <a:gd name="T36" fmla="*/ 10 w 59"/>
                <a:gd name="T37" fmla="*/ 0 h 64"/>
                <a:gd name="T38" fmla="*/ 10 w 59"/>
                <a:gd name="T39" fmla="*/ 0 h 64"/>
                <a:gd name="T40" fmla="*/ 17 w 59"/>
                <a:gd name="T41" fmla="*/ 5 h 64"/>
                <a:gd name="T42" fmla="*/ 17 w 59"/>
                <a:gd name="T43" fmla="*/ 5 h 64"/>
                <a:gd name="T44" fmla="*/ 24 w 59"/>
                <a:gd name="T45" fmla="*/ 5 h 64"/>
                <a:gd name="T46" fmla="*/ 24 w 59"/>
                <a:gd name="T47" fmla="*/ 5 h 64"/>
                <a:gd name="T48" fmla="*/ 45 w 59"/>
                <a:gd name="T49" fmla="*/ 3 h 64"/>
                <a:gd name="T50" fmla="*/ 45 w 59"/>
                <a:gd name="T51" fmla="*/ 3 h 64"/>
                <a:gd name="T52" fmla="*/ 49 w 59"/>
                <a:gd name="T53" fmla="*/ 3 h 64"/>
                <a:gd name="T54" fmla="*/ 55 w 59"/>
                <a:gd name="T55" fmla="*/ 6 h 64"/>
                <a:gd name="T56" fmla="*/ 55 w 59"/>
                <a:gd name="T57" fmla="*/ 6 h 64"/>
                <a:gd name="T58" fmla="*/ 49 w 59"/>
                <a:gd name="T59" fmla="*/ 19 h 64"/>
                <a:gd name="T60" fmla="*/ 49 w 59"/>
                <a:gd name="T61" fmla="*/ 19 h 64"/>
                <a:gd name="T62" fmla="*/ 49 w 59"/>
                <a:gd name="T63" fmla="*/ 21 h 64"/>
                <a:gd name="T64" fmla="*/ 49 w 59"/>
                <a:gd name="T65" fmla="*/ 21 h 64"/>
                <a:gd name="T66" fmla="*/ 50 w 59"/>
                <a:gd name="T67" fmla="*/ 25 h 64"/>
                <a:gd name="T68" fmla="*/ 53 w 59"/>
                <a:gd name="T69" fmla="*/ 31 h 64"/>
                <a:gd name="T70" fmla="*/ 58 w 59"/>
                <a:gd name="T71" fmla="*/ 37 h 64"/>
                <a:gd name="T72" fmla="*/ 59 w 59"/>
                <a:gd name="T73" fmla="*/ 42 h 64"/>
                <a:gd name="T74" fmla="*/ 59 w 59"/>
                <a:gd name="T75" fmla="*/ 42 h 64"/>
                <a:gd name="T76" fmla="*/ 58 w 59"/>
                <a:gd name="T77" fmla="*/ 47 h 64"/>
                <a:gd name="T78" fmla="*/ 55 w 59"/>
                <a:gd name="T79" fmla="*/ 52 h 64"/>
                <a:gd name="T80" fmla="*/ 48 w 59"/>
                <a:gd name="T8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9" h="64">
                  <a:moveTo>
                    <a:pt x="48" y="64"/>
                  </a:moveTo>
                  <a:lnTo>
                    <a:pt x="48" y="64"/>
                  </a:lnTo>
                  <a:lnTo>
                    <a:pt x="35" y="63"/>
                  </a:lnTo>
                  <a:lnTo>
                    <a:pt x="35" y="63"/>
                  </a:lnTo>
                  <a:lnTo>
                    <a:pt x="30" y="63"/>
                  </a:lnTo>
                  <a:lnTo>
                    <a:pt x="30" y="63"/>
                  </a:lnTo>
                  <a:lnTo>
                    <a:pt x="29" y="63"/>
                  </a:lnTo>
                  <a:lnTo>
                    <a:pt x="29" y="63"/>
                  </a:lnTo>
                  <a:lnTo>
                    <a:pt x="11" y="48"/>
                  </a:lnTo>
                  <a:lnTo>
                    <a:pt x="4" y="39"/>
                  </a:lnTo>
                  <a:lnTo>
                    <a:pt x="1" y="37"/>
                  </a:lnTo>
                  <a:lnTo>
                    <a:pt x="0" y="34"/>
                  </a:lnTo>
                  <a:lnTo>
                    <a:pt x="0" y="34"/>
                  </a:lnTo>
                  <a:lnTo>
                    <a:pt x="1" y="32"/>
                  </a:lnTo>
                  <a:lnTo>
                    <a:pt x="1" y="32"/>
                  </a:lnTo>
                  <a:lnTo>
                    <a:pt x="7" y="21"/>
                  </a:lnTo>
                  <a:lnTo>
                    <a:pt x="10" y="16"/>
                  </a:lnTo>
                  <a:lnTo>
                    <a:pt x="10" y="12"/>
                  </a:lnTo>
                  <a:lnTo>
                    <a:pt x="10" y="0"/>
                  </a:lnTo>
                  <a:lnTo>
                    <a:pt x="10" y="0"/>
                  </a:lnTo>
                  <a:lnTo>
                    <a:pt x="17" y="5"/>
                  </a:lnTo>
                  <a:lnTo>
                    <a:pt x="17" y="5"/>
                  </a:lnTo>
                  <a:lnTo>
                    <a:pt x="24" y="5"/>
                  </a:lnTo>
                  <a:lnTo>
                    <a:pt x="24" y="5"/>
                  </a:lnTo>
                  <a:lnTo>
                    <a:pt x="45" y="3"/>
                  </a:lnTo>
                  <a:lnTo>
                    <a:pt x="45" y="3"/>
                  </a:lnTo>
                  <a:lnTo>
                    <a:pt x="49" y="3"/>
                  </a:lnTo>
                  <a:lnTo>
                    <a:pt x="55" y="6"/>
                  </a:lnTo>
                  <a:lnTo>
                    <a:pt x="55" y="6"/>
                  </a:lnTo>
                  <a:lnTo>
                    <a:pt x="49" y="19"/>
                  </a:lnTo>
                  <a:lnTo>
                    <a:pt x="49" y="19"/>
                  </a:lnTo>
                  <a:lnTo>
                    <a:pt x="49" y="21"/>
                  </a:lnTo>
                  <a:lnTo>
                    <a:pt x="49" y="21"/>
                  </a:lnTo>
                  <a:lnTo>
                    <a:pt x="50" y="25"/>
                  </a:lnTo>
                  <a:lnTo>
                    <a:pt x="53" y="31"/>
                  </a:lnTo>
                  <a:lnTo>
                    <a:pt x="58" y="37"/>
                  </a:lnTo>
                  <a:lnTo>
                    <a:pt x="59" y="42"/>
                  </a:lnTo>
                  <a:lnTo>
                    <a:pt x="59" y="42"/>
                  </a:lnTo>
                  <a:lnTo>
                    <a:pt x="58" y="47"/>
                  </a:lnTo>
                  <a:lnTo>
                    <a:pt x="55" y="52"/>
                  </a:lnTo>
                  <a:lnTo>
                    <a:pt x="48"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25" name="Freeform 681"/>
            <p:cNvSpPr>
              <a:spLocks/>
            </p:cNvSpPr>
            <p:nvPr/>
          </p:nvSpPr>
          <p:spPr bwMode="auto">
            <a:xfrm>
              <a:off x="2881313" y="4705779"/>
              <a:ext cx="30163" cy="1588"/>
            </a:xfrm>
            <a:custGeom>
              <a:avLst/>
              <a:gdLst>
                <a:gd name="T0" fmla="*/ 19 w 19"/>
                <a:gd name="T1" fmla="*/ 1 h 1"/>
                <a:gd name="T2" fmla="*/ 19 w 19"/>
                <a:gd name="T3" fmla="*/ 1 h 1"/>
                <a:gd name="T4" fmla="*/ 13 w 19"/>
                <a:gd name="T5" fmla="*/ 0 h 1"/>
                <a:gd name="T6" fmla="*/ 6 w 19"/>
                <a:gd name="T7" fmla="*/ 0 h 1"/>
                <a:gd name="T8" fmla="*/ 6 w 19"/>
                <a:gd name="T9" fmla="*/ 0 h 1"/>
                <a:gd name="T10" fmla="*/ 1 w 19"/>
                <a:gd name="T11" fmla="*/ 0 h 1"/>
                <a:gd name="T12" fmla="*/ 1 w 19"/>
                <a:gd name="T13" fmla="*/ 0 h 1"/>
                <a:gd name="T14" fmla="*/ 0 w 19"/>
                <a:gd name="T15" fmla="*/ 0 h 1"/>
                <a:gd name="T16" fmla="*/ 0 w 19"/>
                <a:gd name="T17" fmla="*/ 0 h 1"/>
                <a:gd name="T18" fmla="*/ 0 w 19"/>
                <a:gd name="T19" fmla="*/ 0 h 1"/>
                <a:gd name="T20" fmla="*/ 0 w 19"/>
                <a:gd name="T21" fmla="*/ 0 h 1"/>
                <a:gd name="T22" fmla="*/ 1 w 19"/>
                <a:gd name="T23" fmla="*/ 0 h 1"/>
                <a:gd name="T24" fmla="*/ 1 w 19"/>
                <a:gd name="T25" fmla="*/ 0 h 1"/>
                <a:gd name="T26" fmla="*/ 6 w 19"/>
                <a:gd name="T27" fmla="*/ 0 h 1"/>
                <a:gd name="T28" fmla="*/ 6 w 19"/>
                <a:gd name="T29" fmla="*/ 0 h 1"/>
                <a:gd name="T30" fmla="*/ 13 w 19"/>
                <a:gd name="T31" fmla="*/ 0 h 1"/>
                <a:gd name="T32" fmla="*/ 19 w 19"/>
                <a:gd name="T33" fmla="*/ 1 h 1"/>
                <a:gd name="T34" fmla="*/ 19 w 19"/>
                <a:gd name="T3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1">
                  <a:moveTo>
                    <a:pt x="19" y="1"/>
                  </a:moveTo>
                  <a:lnTo>
                    <a:pt x="19" y="1"/>
                  </a:lnTo>
                  <a:lnTo>
                    <a:pt x="13" y="0"/>
                  </a:lnTo>
                  <a:lnTo>
                    <a:pt x="6" y="0"/>
                  </a:lnTo>
                  <a:lnTo>
                    <a:pt x="6" y="0"/>
                  </a:lnTo>
                  <a:lnTo>
                    <a:pt x="1" y="0"/>
                  </a:lnTo>
                  <a:lnTo>
                    <a:pt x="1" y="0"/>
                  </a:lnTo>
                  <a:lnTo>
                    <a:pt x="0" y="0"/>
                  </a:lnTo>
                  <a:lnTo>
                    <a:pt x="0" y="0"/>
                  </a:lnTo>
                  <a:lnTo>
                    <a:pt x="0" y="0"/>
                  </a:lnTo>
                  <a:lnTo>
                    <a:pt x="0" y="0"/>
                  </a:lnTo>
                  <a:lnTo>
                    <a:pt x="1" y="0"/>
                  </a:lnTo>
                  <a:lnTo>
                    <a:pt x="1" y="0"/>
                  </a:lnTo>
                  <a:lnTo>
                    <a:pt x="6" y="0"/>
                  </a:lnTo>
                  <a:lnTo>
                    <a:pt x="6" y="0"/>
                  </a:lnTo>
                  <a:lnTo>
                    <a:pt x="13" y="0"/>
                  </a:lnTo>
                  <a:lnTo>
                    <a:pt x="19" y="1"/>
                  </a:lnTo>
                  <a:lnTo>
                    <a:pt x="19" y="1"/>
                  </a:lnTo>
                  <a:close/>
                </a:path>
              </a:pathLst>
            </a:custGeom>
            <a:solidFill>
              <a:srgbClr val="60B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26" name="Freeform 682"/>
            <p:cNvSpPr>
              <a:spLocks/>
            </p:cNvSpPr>
            <p:nvPr/>
          </p:nvSpPr>
          <p:spPr bwMode="auto">
            <a:xfrm>
              <a:off x="2881313" y="4705779"/>
              <a:ext cx="30163" cy="1588"/>
            </a:xfrm>
            <a:custGeom>
              <a:avLst/>
              <a:gdLst>
                <a:gd name="T0" fmla="*/ 19 w 19"/>
                <a:gd name="T1" fmla="*/ 1 h 1"/>
                <a:gd name="T2" fmla="*/ 19 w 19"/>
                <a:gd name="T3" fmla="*/ 1 h 1"/>
                <a:gd name="T4" fmla="*/ 13 w 19"/>
                <a:gd name="T5" fmla="*/ 0 h 1"/>
                <a:gd name="T6" fmla="*/ 6 w 19"/>
                <a:gd name="T7" fmla="*/ 0 h 1"/>
                <a:gd name="T8" fmla="*/ 6 w 19"/>
                <a:gd name="T9" fmla="*/ 0 h 1"/>
                <a:gd name="T10" fmla="*/ 1 w 19"/>
                <a:gd name="T11" fmla="*/ 0 h 1"/>
                <a:gd name="T12" fmla="*/ 1 w 19"/>
                <a:gd name="T13" fmla="*/ 0 h 1"/>
                <a:gd name="T14" fmla="*/ 0 w 19"/>
                <a:gd name="T15" fmla="*/ 0 h 1"/>
                <a:gd name="T16" fmla="*/ 0 w 19"/>
                <a:gd name="T17" fmla="*/ 0 h 1"/>
                <a:gd name="T18" fmla="*/ 0 w 19"/>
                <a:gd name="T19" fmla="*/ 0 h 1"/>
                <a:gd name="T20" fmla="*/ 0 w 19"/>
                <a:gd name="T21" fmla="*/ 0 h 1"/>
                <a:gd name="T22" fmla="*/ 1 w 19"/>
                <a:gd name="T23" fmla="*/ 0 h 1"/>
                <a:gd name="T24" fmla="*/ 1 w 19"/>
                <a:gd name="T25" fmla="*/ 0 h 1"/>
                <a:gd name="T26" fmla="*/ 6 w 19"/>
                <a:gd name="T27" fmla="*/ 0 h 1"/>
                <a:gd name="T28" fmla="*/ 6 w 19"/>
                <a:gd name="T29" fmla="*/ 0 h 1"/>
                <a:gd name="T30" fmla="*/ 13 w 19"/>
                <a:gd name="T31" fmla="*/ 0 h 1"/>
                <a:gd name="T32" fmla="*/ 19 w 19"/>
                <a:gd name="T33" fmla="*/ 1 h 1"/>
                <a:gd name="T34" fmla="*/ 19 w 19"/>
                <a:gd name="T3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1">
                  <a:moveTo>
                    <a:pt x="19" y="1"/>
                  </a:moveTo>
                  <a:lnTo>
                    <a:pt x="19" y="1"/>
                  </a:lnTo>
                  <a:lnTo>
                    <a:pt x="13" y="0"/>
                  </a:lnTo>
                  <a:lnTo>
                    <a:pt x="6" y="0"/>
                  </a:lnTo>
                  <a:lnTo>
                    <a:pt x="6" y="0"/>
                  </a:lnTo>
                  <a:lnTo>
                    <a:pt x="1" y="0"/>
                  </a:lnTo>
                  <a:lnTo>
                    <a:pt x="1" y="0"/>
                  </a:lnTo>
                  <a:lnTo>
                    <a:pt x="0" y="0"/>
                  </a:lnTo>
                  <a:lnTo>
                    <a:pt x="0" y="0"/>
                  </a:lnTo>
                  <a:lnTo>
                    <a:pt x="0" y="0"/>
                  </a:lnTo>
                  <a:lnTo>
                    <a:pt x="0" y="0"/>
                  </a:lnTo>
                  <a:lnTo>
                    <a:pt x="1" y="0"/>
                  </a:lnTo>
                  <a:lnTo>
                    <a:pt x="1" y="0"/>
                  </a:lnTo>
                  <a:lnTo>
                    <a:pt x="6" y="0"/>
                  </a:lnTo>
                  <a:lnTo>
                    <a:pt x="6" y="0"/>
                  </a:lnTo>
                  <a:lnTo>
                    <a:pt x="13" y="0"/>
                  </a:lnTo>
                  <a:lnTo>
                    <a:pt x="19" y="1"/>
                  </a:lnTo>
                  <a:lnTo>
                    <a:pt x="19"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27" name="Freeform 683"/>
            <p:cNvSpPr>
              <a:spLocks/>
            </p:cNvSpPr>
            <p:nvPr/>
          </p:nvSpPr>
          <p:spPr bwMode="auto">
            <a:xfrm>
              <a:off x="2740025" y="4551792"/>
              <a:ext cx="141288" cy="185738"/>
            </a:xfrm>
            <a:custGeom>
              <a:avLst/>
              <a:gdLst>
                <a:gd name="T0" fmla="*/ 41 w 89"/>
                <a:gd name="T1" fmla="*/ 117 h 117"/>
                <a:gd name="T2" fmla="*/ 35 w 89"/>
                <a:gd name="T3" fmla="*/ 114 h 117"/>
                <a:gd name="T4" fmla="*/ 28 w 89"/>
                <a:gd name="T5" fmla="*/ 102 h 117"/>
                <a:gd name="T6" fmla="*/ 26 w 89"/>
                <a:gd name="T7" fmla="*/ 95 h 117"/>
                <a:gd name="T8" fmla="*/ 26 w 89"/>
                <a:gd name="T9" fmla="*/ 86 h 117"/>
                <a:gd name="T10" fmla="*/ 26 w 89"/>
                <a:gd name="T11" fmla="*/ 71 h 117"/>
                <a:gd name="T12" fmla="*/ 24 w 89"/>
                <a:gd name="T13" fmla="*/ 58 h 117"/>
                <a:gd name="T14" fmla="*/ 15 w 89"/>
                <a:gd name="T15" fmla="*/ 50 h 117"/>
                <a:gd name="T16" fmla="*/ 15 w 89"/>
                <a:gd name="T17" fmla="*/ 50 h 117"/>
                <a:gd name="T18" fmla="*/ 12 w 89"/>
                <a:gd name="T19" fmla="*/ 52 h 117"/>
                <a:gd name="T20" fmla="*/ 9 w 89"/>
                <a:gd name="T21" fmla="*/ 55 h 117"/>
                <a:gd name="T22" fmla="*/ 11 w 89"/>
                <a:gd name="T23" fmla="*/ 50 h 117"/>
                <a:gd name="T24" fmla="*/ 6 w 89"/>
                <a:gd name="T25" fmla="*/ 47 h 117"/>
                <a:gd name="T26" fmla="*/ 2 w 89"/>
                <a:gd name="T27" fmla="*/ 42 h 117"/>
                <a:gd name="T28" fmla="*/ 0 w 89"/>
                <a:gd name="T29" fmla="*/ 40 h 117"/>
                <a:gd name="T30" fmla="*/ 3 w 89"/>
                <a:gd name="T31" fmla="*/ 34 h 117"/>
                <a:gd name="T32" fmla="*/ 9 w 89"/>
                <a:gd name="T33" fmla="*/ 29 h 117"/>
                <a:gd name="T34" fmla="*/ 18 w 89"/>
                <a:gd name="T35" fmla="*/ 21 h 117"/>
                <a:gd name="T36" fmla="*/ 19 w 89"/>
                <a:gd name="T37" fmla="*/ 18 h 117"/>
                <a:gd name="T38" fmla="*/ 19 w 89"/>
                <a:gd name="T39" fmla="*/ 16 h 117"/>
                <a:gd name="T40" fmla="*/ 12 w 89"/>
                <a:gd name="T41" fmla="*/ 11 h 117"/>
                <a:gd name="T42" fmla="*/ 8 w 89"/>
                <a:gd name="T43" fmla="*/ 10 h 117"/>
                <a:gd name="T44" fmla="*/ 11 w 89"/>
                <a:gd name="T45" fmla="*/ 7 h 117"/>
                <a:gd name="T46" fmla="*/ 24 w 89"/>
                <a:gd name="T47" fmla="*/ 0 h 117"/>
                <a:gd name="T48" fmla="*/ 25 w 89"/>
                <a:gd name="T49" fmla="*/ 0 h 117"/>
                <a:gd name="T50" fmla="*/ 31 w 89"/>
                <a:gd name="T51" fmla="*/ 1 h 117"/>
                <a:gd name="T52" fmla="*/ 41 w 89"/>
                <a:gd name="T53" fmla="*/ 14 h 117"/>
                <a:gd name="T54" fmla="*/ 44 w 89"/>
                <a:gd name="T55" fmla="*/ 17 h 117"/>
                <a:gd name="T56" fmla="*/ 47 w 89"/>
                <a:gd name="T57" fmla="*/ 21 h 117"/>
                <a:gd name="T58" fmla="*/ 50 w 89"/>
                <a:gd name="T59" fmla="*/ 21 h 117"/>
                <a:gd name="T60" fmla="*/ 58 w 89"/>
                <a:gd name="T61" fmla="*/ 27 h 117"/>
                <a:gd name="T62" fmla="*/ 70 w 89"/>
                <a:gd name="T63" fmla="*/ 46 h 117"/>
                <a:gd name="T64" fmla="*/ 70 w 89"/>
                <a:gd name="T65" fmla="*/ 50 h 117"/>
                <a:gd name="T66" fmla="*/ 61 w 89"/>
                <a:gd name="T67" fmla="*/ 66 h 117"/>
                <a:gd name="T68" fmla="*/ 60 w 89"/>
                <a:gd name="T69" fmla="*/ 68 h 117"/>
                <a:gd name="T70" fmla="*/ 61 w 89"/>
                <a:gd name="T71" fmla="*/ 71 h 117"/>
                <a:gd name="T72" fmla="*/ 71 w 89"/>
                <a:gd name="T73" fmla="*/ 82 h 117"/>
                <a:gd name="T74" fmla="*/ 89 w 89"/>
                <a:gd name="T75" fmla="*/ 97 h 117"/>
                <a:gd name="T76" fmla="*/ 58 w 89"/>
                <a:gd name="T77" fmla="*/ 107 h 117"/>
                <a:gd name="T78" fmla="*/ 58 w 89"/>
                <a:gd name="T79" fmla="*/ 107 h 117"/>
                <a:gd name="T80" fmla="*/ 58 w 89"/>
                <a:gd name="T81" fmla="*/ 107 h 117"/>
                <a:gd name="T82" fmla="*/ 55 w 89"/>
                <a:gd name="T83" fmla="*/ 108 h 117"/>
                <a:gd name="T84" fmla="*/ 51 w 89"/>
                <a:gd name="T85" fmla="*/ 110 h 117"/>
                <a:gd name="T86" fmla="*/ 45 w 89"/>
                <a:gd name="T87" fmla="*/ 11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9" h="117">
                  <a:moveTo>
                    <a:pt x="41" y="117"/>
                  </a:moveTo>
                  <a:lnTo>
                    <a:pt x="41" y="117"/>
                  </a:lnTo>
                  <a:lnTo>
                    <a:pt x="38" y="117"/>
                  </a:lnTo>
                  <a:lnTo>
                    <a:pt x="35" y="114"/>
                  </a:lnTo>
                  <a:lnTo>
                    <a:pt x="31" y="110"/>
                  </a:lnTo>
                  <a:lnTo>
                    <a:pt x="28" y="102"/>
                  </a:lnTo>
                  <a:lnTo>
                    <a:pt x="26" y="95"/>
                  </a:lnTo>
                  <a:lnTo>
                    <a:pt x="26" y="95"/>
                  </a:lnTo>
                  <a:lnTo>
                    <a:pt x="26" y="86"/>
                  </a:lnTo>
                  <a:lnTo>
                    <a:pt x="26" y="86"/>
                  </a:lnTo>
                  <a:lnTo>
                    <a:pt x="26" y="71"/>
                  </a:lnTo>
                  <a:lnTo>
                    <a:pt x="26" y="71"/>
                  </a:lnTo>
                  <a:lnTo>
                    <a:pt x="26" y="65"/>
                  </a:lnTo>
                  <a:lnTo>
                    <a:pt x="24" y="58"/>
                  </a:lnTo>
                  <a:lnTo>
                    <a:pt x="19" y="53"/>
                  </a:lnTo>
                  <a:lnTo>
                    <a:pt x="15" y="50"/>
                  </a:lnTo>
                  <a:lnTo>
                    <a:pt x="15" y="50"/>
                  </a:lnTo>
                  <a:lnTo>
                    <a:pt x="15" y="50"/>
                  </a:lnTo>
                  <a:lnTo>
                    <a:pt x="15" y="50"/>
                  </a:lnTo>
                  <a:lnTo>
                    <a:pt x="12" y="52"/>
                  </a:lnTo>
                  <a:lnTo>
                    <a:pt x="9" y="55"/>
                  </a:lnTo>
                  <a:lnTo>
                    <a:pt x="9" y="55"/>
                  </a:lnTo>
                  <a:lnTo>
                    <a:pt x="11" y="50"/>
                  </a:lnTo>
                  <a:lnTo>
                    <a:pt x="11" y="50"/>
                  </a:lnTo>
                  <a:lnTo>
                    <a:pt x="9" y="49"/>
                  </a:lnTo>
                  <a:lnTo>
                    <a:pt x="6" y="47"/>
                  </a:lnTo>
                  <a:lnTo>
                    <a:pt x="2" y="44"/>
                  </a:lnTo>
                  <a:lnTo>
                    <a:pt x="2" y="42"/>
                  </a:lnTo>
                  <a:lnTo>
                    <a:pt x="0" y="40"/>
                  </a:lnTo>
                  <a:lnTo>
                    <a:pt x="0" y="40"/>
                  </a:lnTo>
                  <a:lnTo>
                    <a:pt x="2" y="37"/>
                  </a:lnTo>
                  <a:lnTo>
                    <a:pt x="3" y="34"/>
                  </a:lnTo>
                  <a:lnTo>
                    <a:pt x="3" y="34"/>
                  </a:lnTo>
                  <a:lnTo>
                    <a:pt x="9" y="29"/>
                  </a:lnTo>
                  <a:lnTo>
                    <a:pt x="13" y="26"/>
                  </a:lnTo>
                  <a:lnTo>
                    <a:pt x="18" y="21"/>
                  </a:lnTo>
                  <a:lnTo>
                    <a:pt x="19" y="18"/>
                  </a:lnTo>
                  <a:lnTo>
                    <a:pt x="19" y="18"/>
                  </a:lnTo>
                  <a:lnTo>
                    <a:pt x="19" y="16"/>
                  </a:lnTo>
                  <a:lnTo>
                    <a:pt x="19" y="16"/>
                  </a:lnTo>
                  <a:lnTo>
                    <a:pt x="15" y="14"/>
                  </a:lnTo>
                  <a:lnTo>
                    <a:pt x="12" y="11"/>
                  </a:lnTo>
                  <a:lnTo>
                    <a:pt x="9" y="11"/>
                  </a:lnTo>
                  <a:lnTo>
                    <a:pt x="8" y="10"/>
                  </a:lnTo>
                  <a:lnTo>
                    <a:pt x="8" y="10"/>
                  </a:lnTo>
                  <a:lnTo>
                    <a:pt x="11" y="7"/>
                  </a:lnTo>
                  <a:lnTo>
                    <a:pt x="11" y="7"/>
                  </a:lnTo>
                  <a:lnTo>
                    <a:pt x="24" y="0"/>
                  </a:lnTo>
                  <a:lnTo>
                    <a:pt x="24" y="0"/>
                  </a:lnTo>
                  <a:lnTo>
                    <a:pt x="25" y="0"/>
                  </a:lnTo>
                  <a:lnTo>
                    <a:pt x="25" y="0"/>
                  </a:lnTo>
                  <a:lnTo>
                    <a:pt x="31" y="1"/>
                  </a:lnTo>
                  <a:lnTo>
                    <a:pt x="34" y="5"/>
                  </a:lnTo>
                  <a:lnTo>
                    <a:pt x="41" y="14"/>
                  </a:lnTo>
                  <a:lnTo>
                    <a:pt x="41" y="14"/>
                  </a:lnTo>
                  <a:lnTo>
                    <a:pt x="44" y="17"/>
                  </a:lnTo>
                  <a:lnTo>
                    <a:pt x="45" y="20"/>
                  </a:lnTo>
                  <a:lnTo>
                    <a:pt x="47" y="21"/>
                  </a:lnTo>
                  <a:lnTo>
                    <a:pt x="50" y="21"/>
                  </a:lnTo>
                  <a:lnTo>
                    <a:pt x="50" y="21"/>
                  </a:lnTo>
                  <a:lnTo>
                    <a:pt x="54" y="23"/>
                  </a:lnTo>
                  <a:lnTo>
                    <a:pt x="58" y="27"/>
                  </a:lnTo>
                  <a:lnTo>
                    <a:pt x="70" y="34"/>
                  </a:lnTo>
                  <a:lnTo>
                    <a:pt x="70" y="46"/>
                  </a:lnTo>
                  <a:lnTo>
                    <a:pt x="70" y="46"/>
                  </a:lnTo>
                  <a:lnTo>
                    <a:pt x="70" y="50"/>
                  </a:lnTo>
                  <a:lnTo>
                    <a:pt x="67" y="55"/>
                  </a:lnTo>
                  <a:lnTo>
                    <a:pt x="61" y="66"/>
                  </a:lnTo>
                  <a:lnTo>
                    <a:pt x="61" y="66"/>
                  </a:lnTo>
                  <a:lnTo>
                    <a:pt x="60" y="68"/>
                  </a:lnTo>
                  <a:lnTo>
                    <a:pt x="60" y="68"/>
                  </a:lnTo>
                  <a:lnTo>
                    <a:pt x="61" y="71"/>
                  </a:lnTo>
                  <a:lnTo>
                    <a:pt x="64" y="73"/>
                  </a:lnTo>
                  <a:lnTo>
                    <a:pt x="71" y="82"/>
                  </a:lnTo>
                  <a:lnTo>
                    <a:pt x="89" y="97"/>
                  </a:lnTo>
                  <a:lnTo>
                    <a:pt x="89" y="97"/>
                  </a:lnTo>
                  <a:lnTo>
                    <a:pt x="73" y="102"/>
                  </a:lnTo>
                  <a:lnTo>
                    <a:pt x="58" y="107"/>
                  </a:lnTo>
                  <a:lnTo>
                    <a:pt x="58" y="107"/>
                  </a:lnTo>
                  <a:lnTo>
                    <a:pt x="58" y="107"/>
                  </a:lnTo>
                  <a:lnTo>
                    <a:pt x="58" y="107"/>
                  </a:lnTo>
                  <a:lnTo>
                    <a:pt x="58" y="107"/>
                  </a:lnTo>
                  <a:lnTo>
                    <a:pt x="58" y="107"/>
                  </a:lnTo>
                  <a:lnTo>
                    <a:pt x="55" y="108"/>
                  </a:lnTo>
                  <a:lnTo>
                    <a:pt x="55" y="108"/>
                  </a:lnTo>
                  <a:lnTo>
                    <a:pt x="51" y="110"/>
                  </a:lnTo>
                  <a:lnTo>
                    <a:pt x="48" y="113"/>
                  </a:lnTo>
                  <a:lnTo>
                    <a:pt x="45" y="115"/>
                  </a:lnTo>
                  <a:lnTo>
                    <a:pt x="41" y="117"/>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28" name="Freeform 684"/>
            <p:cNvSpPr>
              <a:spLocks/>
            </p:cNvSpPr>
            <p:nvPr/>
          </p:nvSpPr>
          <p:spPr bwMode="auto">
            <a:xfrm>
              <a:off x="2740025" y="4551792"/>
              <a:ext cx="141288" cy="185738"/>
            </a:xfrm>
            <a:custGeom>
              <a:avLst/>
              <a:gdLst>
                <a:gd name="T0" fmla="*/ 41 w 89"/>
                <a:gd name="T1" fmla="*/ 117 h 117"/>
                <a:gd name="T2" fmla="*/ 35 w 89"/>
                <a:gd name="T3" fmla="*/ 114 h 117"/>
                <a:gd name="T4" fmla="*/ 28 w 89"/>
                <a:gd name="T5" fmla="*/ 102 h 117"/>
                <a:gd name="T6" fmla="*/ 26 w 89"/>
                <a:gd name="T7" fmla="*/ 95 h 117"/>
                <a:gd name="T8" fmla="*/ 26 w 89"/>
                <a:gd name="T9" fmla="*/ 86 h 117"/>
                <a:gd name="T10" fmla="*/ 26 w 89"/>
                <a:gd name="T11" fmla="*/ 71 h 117"/>
                <a:gd name="T12" fmla="*/ 24 w 89"/>
                <a:gd name="T13" fmla="*/ 58 h 117"/>
                <a:gd name="T14" fmla="*/ 15 w 89"/>
                <a:gd name="T15" fmla="*/ 50 h 117"/>
                <a:gd name="T16" fmla="*/ 15 w 89"/>
                <a:gd name="T17" fmla="*/ 50 h 117"/>
                <a:gd name="T18" fmla="*/ 12 w 89"/>
                <a:gd name="T19" fmla="*/ 52 h 117"/>
                <a:gd name="T20" fmla="*/ 9 w 89"/>
                <a:gd name="T21" fmla="*/ 55 h 117"/>
                <a:gd name="T22" fmla="*/ 11 w 89"/>
                <a:gd name="T23" fmla="*/ 50 h 117"/>
                <a:gd name="T24" fmla="*/ 6 w 89"/>
                <a:gd name="T25" fmla="*/ 47 h 117"/>
                <a:gd name="T26" fmla="*/ 2 w 89"/>
                <a:gd name="T27" fmla="*/ 42 h 117"/>
                <a:gd name="T28" fmla="*/ 0 w 89"/>
                <a:gd name="T29" fmla="*/ 40 h 117"/>
                <a:gd name="T30" fmla="*/ 3 w 89"/>
                <a:gd name="T31" fmla="*/ 34 h 117"/>
                <a:gd name="T32" fmla="*/ 9 w 89"/>
                <a:gd name="T33" fmla="*/ 29 h 117"/>
                <a:gd name="T34" fmla="*/ 18 w 89"/>
                <a:gd name="T35" fmla="*/ 21 h 117"/>
                <a:gd name="T36" fmla="*/ 19 w 89"/>
                <a:gd name="T37" fmla="*/ 18 h 117"/>
                <a:gd name="T38" fmla="*/ 19 w 89"/>
                <a:gd name="T39" fmla="*/ 16 h 117"/>
                <a:gd name="T40" fmla="*/ 12 w 89"/>
                <a:gd name="T41" fmla="*/ 11 h 117"/>
                <a:gd name="T42" fmla="*/ 8 w 89"/>
                <a:gd name="T43" fmla="*/ 10 h 117"/>
                <a:gd name="T44" fmla="*/ 11 w 89"/>
                <a:gd name="T45" fmla="*/ 7 h 117"/>
                <a:gd name="T46" fmla="*/ 24 w 89"/>
                <a:gd name="T47" fmla="*/ 0 h 117"/>
                <a:gd name="T48" fmla="*/ 25 w 89"/>
                <a:gd name="T49" fmla="*/ 0 h 117"/>
                <a:gd name="T50" fmla="*/ 31 w 89"/>
                <a:gd name="T51" fmla="*/ 1 h 117"/>
                <a:gd name="T52" fmla="*/ 41 w 89"/>
                <a:gd name="T53" fmla="*/ 14 h 117"/>
                <a:gd name="T54" fmla="*/ 44 w 89"/>
                <a:gd name="T55" fmla="*/ 17 h 117"/>
                <a:gd name="T56" fmla="*/ 47 w 89"/>
                <a:gd name="T57" fmla="*/ 21 h 117"/>
                <a:gd name="T58" fmla="*/ 50 w 89"/>
                <a:gd name="T59" fmla="*/ 21 h 117"/>
                <a:gd name="T60" fmla="*/ 58 w 89"/>
                <a:gd name="T61" fmla="*/ 27 h 117"/>
                <a:gd name="T62" fmla="*/ 70 w 89"/>
                <a:gd name="T63" fmla="*/ 46 h 117"/>
                <a:gd name="T64" fmla="*/ 70 w 89"/>
                <a:gd name="T65" fmla="*/ 50 h 117"/>
                <a:gd name="T66" fmla="*/ 61 w 89"/>
                <a:gd name="T67" fmla="*/ 66 h 117"/>
                <a:gd name="T68" fmla="*/ 60 w 89"/>
                <a:gd name="T69" fmla="*/ 68 h 117"/>
                <a:gd name="T70" fmla="*/ 61 w 89"/>
                <a:gd name="T71" fmla="*/ 71 h 117"/>
                <a:gd name="T72" fmla="*/ 71 w 89"/>
                <a:gd name="T73" fmla="*/ 82 h 117"/>
                <a:gd name="T74" fmla="*/ 89 w 89"/>
                <a:gd name="T75" fmla="*/ 97 h 117"/>
                <a:gd name="T76" fmla="*/ 58 w 89"/>
                <a:gd name="T77" fmla="*/ 107 h 117"/>
                <a:gd name="T78" fmla="*/ 58 w 89"/>
                <a:gd name="T79" fmla="*/ 107 h 117"/>
                <a:gd name="T80" fmla="*/ 58 w 89"/>
                <a:gd name="T81" fmla="*/ 107 h 117"/>
                <a:gd name="T82" fmla="*/ 55 w 89"/>
                <a:gd name="T83" fmla="*/ 108 h 117"/>
                <a:gd name="T84" fmla="*/ 51 w 89"/>
                <a:gd name="T85" fmla="*/ 110 h 117"/>
                <a:gd name="T86" fmla="*/ 45 w 89"/>
                <a:gd name="T87" fmla="*/ 11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9" h="117">
                  <a:moveTo>
                    <a:pt x="41" y="117"/>
                  </a:moveTo>
                  <a:lnTo>
                    <a:pt x="41" y="117"/>
                  </a:lnTo>
                  <a:lnTo>
                    <a:pt x="38" y="117"/>
                  </a:lnTo>
                  <a:lnTo>
                    <a:pt x="35" y="114"/>
                  </a:lnTo>
                  <a:lnTo>
                    <a:pt x="31" y="110"/>
                  </a:lnTo>
                  <a:lnTo>
                    <a:pt x="28" y="102"/>
                  </a:lnTo>
                  <a:lnTo>
                    <a:pt x="26" y="95"/>
                  </a:lnTo>
                  <a:lnTo>
                    <a:pt x="26" y="95"/>
                  </a:lnTo>
                  <a:lnTo>
                    <a:pt x="26" y="86"/>
                  </a:lnTo>
                  <a:lnTo>
                    <a:pt x="26" y="86"/>
                  </a:lnTo>
                  <a:lnTo>
                    <a:pt x="26" y="71"/>
                  </a:lnTo>
                  <a:lnTo>
                    <a:pt x="26" y="71"/>
                  </a:lnTo>
                  <a:lnTo>
                    <a:pt x="26" y="65"/>
                  </a:lnTo>
                  <a:lnTo>
                    <a:pt x="24" y="58"/>
                  </a:lnTo>
                  <a:lnTo>
                    <a:pt x="19" y="53"/>
                  </a:lnTo>
                  <a:lnTo>
                    <a:pt x="15" y="50"/>
                  </a:lnTo>
                  <a:lnTo>
                    <a:pt x="15" y="50"/>
                  </a:lnTo>
                  <a:lnTo>
                    <a:pt x="15" y="50"/>
                  </a:lnTo>
                  <a:lnTo>
                    <a:pt x="15" y="50"/>
                  </a:lnTo>
                  <a:lnTo>
                    <a:pt x="12" y="52"/>
                  </a:lnTo>
                  <a:lnTo>
                    <a:pt x="9" y="55"/>
                  </a:lnTo>
                  <a:lnTo>
                    <a:pt x="9" y="55"/>
                  </a:lnTo>
                  <a:lnTo>
                    <a:pt x="11" y="50"/>
                  </a:lnTo>
                  <a:lnTo>
                    <a:pt x="11" y="50"/>
                  </a:lnTo>
                  <a:lnTo>
                    <a:pt x="9" y="49"/>
                  </a:lnTo>
                  <a:lnTo>
                    <a:pt x="6" y="47"/>
                  </a:lnTo>
                  <a:lnTo>
                    <a:pt x="2" y="44"/>
                  </a:lnTo>
                  <a:lnTo>
                    <a:pt x="2" y="42"/>
                  </a:lnTo>
                  <a:lnTo>
                    <a:pt x="0" y="40"/>
                  </a:lnTo>
                  <a:lnTo>
                    <a:pt x="0" y="40"/>
                  </a:lnTo>
                  <a:lnTo>
                    <a:pt x="2" y="37"/>
                  </a:lnTo>
                  <a:lnTo>
                    <a:pt x="3" y="34"/>
                  </a:lnTo>
                  <a:lnTo>
                    <a:pt x="3" y="34"/>
                  </a:lnTo>
                  <a:lnTo>
                    <a:pt x="9" y="29"/>
                  </a:lnTo>
                  <a:lnTo>
                    <a:pt x="13" y="26"/>
                  </a:lnTo>
                  <a:lnTo>
                    <a:pt x="18" y="21"/>
                  </a:lnTo>
                  <a:lnTo>
                    <a:pt x="19" y="18"/>
                  </a:lnTo>
                  <a:lnTo>
                    <a:pt x="19" y="18"/>
                  </a:lnTo>
                  <a:lnTo>
                    <a:pt x="19" y="16"/>
                  </a:lnTo>
                  <a:lnTo>
                    <a:pt x="19" y="16"/>
                  </a:lnTo>
                  <a:lnTo>
                    <a:pt x="15" y="14"/>
                  </a:lnTo>
                  <a:lnTo>
                    <a:pt x="12" y="11"/>
                  </a:lnTo>
                  <a:lnTo>
                    <a:pt x="9" y="11"/>
                  </a:lnTo>
                  <a:lnTo>
                    <a:pt x="8" y="10"/>
                  </a:lnTo>
                  <a:lnTo>
                    <a:pt x="8" y="10"/>
                  </a:lnTo>
                  <a:lnTo>
                    <a:pt x="11" y="7"/>
                  </a:lnTo>
                  <a:lnTo>
                    <a:pt x="11" y="7"/>
                  </a:lnTo>
                  <a:lnTo>
                    <a:pt x="24" y="0"/>
                  </a:lnTo>
                  <a:lnTo>
                    <a:pt x="24" y="0"/>
                  </a:lnTo>
                  <a:lnTo>
                    <a:pt x="25" y="0"/>
                  </a:lnTo>
                  <a:lnTo>
                    <a:pt x="25" y="0"/>
                  </a:lnTo>
                  <a:lnTo>
                    <a:pt x="31" y="1"/>
                  </a:lnTo>
                  <a:lnTo>
                    <a:pt x="34" y="5"/>
                  </a:lnTo>
                  <a:lnTo>
                    <a:pt x="41" y="14"/>
                  </a:lnTo>
                  <a:lnTo>
                    <a:pt x="41" y="14"/>
                  </a:lnTo>
                  <a:lnTo>
                    <a:pt x="44" y="17"/>
                  </a:lnTo>
                  <a:lnTo>
                    <a:pt x="45" y="20"/>
                  </a:lnTo>
                  <a:lnTo>
                    <a:pt x="47" y="21"/>
                  </a:lnTo>
                  <a:lnTo>
                    <a:pt x="50" y="21"/>
                  </a:lnTo>
                  <a:lnTo>
                    <a:pt x="50" y="21"/>
                  </a:lnTo>
                  <a:lnTo>
                    <a:pt x="54" y="23"/>
                  </a:lnTo>
                  <a:lnTo>
                    <a:pt x="58" y="27"/>
                  </a:lnTo>
                  <a:lnTo>
                    <a:pt x="70" y="34"/>
                  </a:lnTo>
                  <a:lnTo>
                    <a:pt x="70" y="46"/>
                  </a:lnTo>
                  <a:lnTo>
                    <a:pt x="70" y="46"/>
                  </a:lnTo>
                  <a:lnTo>
                    <a:pt x="70" y="50"/>
                  </a:lnTo>
                  <a:lnTo>
                    <a:pt x="67" y="55"/>
                  </a:lnTo>
                  <a:lnTo>
                    <a:pt x="61" y="66"/>
                  </a:lnTo>
                  <a:lnTo>
                    <a:pt x="61" y="66"/>
                  </a:lnTo>
                  <a:lnTo>
                    <a:pt x="60" y="68"/>
                  </a:lnTo>
                  <a:lnTo>
                    <a:pt x="60" y="68"/>
                  </a:lnTo>
                  <a:lnTo>
                    <a:pt x="61" y="71"/>
                  </a:lnTo>
                  <a:lnTo>
                    <a:pt x="64" y="73"/>
                  </a:lnTo>
                  <a:lnTo>
                    <a:pt x="71" y="82"/>
                  </a:lnTo>
                  <a:lnTo>
                    <a:pt x="89" y="97"/>
                  </a:lnTo>
                  <a:lnTo>
                    <a:pt x="89" y="97"/>
                  </a:lnTo>
                  <a:lnTo>
                    <a:pt x="73" y="102"/>
                  </a:lnTo>
                  <a:lnTo>
                    <a:pt x="58" y="107"/>
                  </a:lnTo>
                  <a:lnTo>
                    <a:pt x="58" y="107"/>
                  </a:lnTo>
                  <a:lnTo>
                    <a:pt x="58" y="107"/>
                  </a:lnTo>
                  <a:lnTo>
                    <a:pt x="58" y="107"/>
                  </a:lnTo>
                  <a:lnTo>
                    <a:pt x="58" y="107"/>
                  </a:lnTo>
                  <a:lnTo>
                    <a:pt x="58" y="107"/>
                  </a:lnTo>
                  <a:lnTo>
                    <a:pt x="55" y="108"/>
                  </a:lnTo>
                  <a:lnTo>
                    <a:pt x="55" y="108"/>
                  </a:lnTo>
                  <a:lnTo>
                    <a:pt x="51" y="110"/>
                  </a:lnTo>
                  <a:lnTo>
                    <a:pt x="48" y="113"/>
                  </a:lnTo>
                  <a:lnTo>
                    <a:pt x="45" y="115"/>
                  </a:lnTo>
                  <a:lnTo>
                    <a:pt x="41" y="1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29" name="Freeform 685"/>
            <p:cNvSpPr>
              <a:spLocks noEditPoints="1"/>
            </p:cNvSpPr>
            <p:nvPr/>
          </p:nvSpPr>
          <p:spPr bwMode="auto">
            <a:xfrm>
              <a:off x="2754313" y="4631167"/>
              <a:ext cx="127000" cy="106363"/>
            </a:xfrm>
            <a:custGeom>
              <a:avLst/>
              <a:gdLst>
                <a:gd name="T0" fmla="*/ 17 w 80"/>
                <a:gd name="T1" fmla="*/ 21 h 67"/>
                <a:gd name="T2" fmla="*/ 17 w 80"/>
                <a:gd name="T3" fmla="*/ 21 h 67"/>
                <a:gd name="T4" fmla="*/ 17 w 80"/>
                <a:gd name="T5" fmla="*/ 15 h 67"/>
                <a:gd name="T6" fmla="*/ 15 w 80"/>
                <a:gd name="T7" fmla="*/ 8 h 67"/>
                <a:gd name="T8" fmla="*/ 10 w 80"/>
                <a:gd name="T9" fmla="*/ 3 h 67"/>
                <a:gd name="T10" fmla="*/ 6 w 80"/>
                <a:gd name="T11" fmla="*/ 0 h 67"/>
                <a:gd name="T12" fmla="*/ 6 w 80"/>
                <a:gd name="T13" fmla="*/ 0 h 67"/>
                <a:gd name="T14" fmla="*/ 6 w 80"/>
                <a:gd name="T15" fmla="*/ 0 h 67"/>
                <a:gd name="T16" fmla="*/ 6 w 80"/>
                <a:gd name="T17" fmla="*/ 0 h 67"/>
                <a:gd name="T18" fmla="*/ 3 w 80"/>
                <a:gd name="T19" fmla="*/ 2 h 67"/>
                <a:gd name="T20" fmla="*/ 0 w 80"/>
                <a:gd name="T21" fmla="*/ 5 h 67"/>
                <a:gd name="T22" fmla="*/ 0 w 80"/>
                <a:gd name="T23" fmla="*/ 5 h 67"/>
                <a:gd name="T24" fmla="*/ 0 w 80"/>
                <a:gd name="T25" fmla="*/ 5 h 67"/>
                <a:gd name="T26" fmla="*/ 3 w 80"/>
                <a:gd name="T27" fmla="*/ 2 h 67"/>
                <a:gd name="T28" fmla="*/ 6 w 80"/>
                <a:gd name="T29" fmla="*/ 0 h 67"/>
                <a:gd name="T30" fmla="*/ 6 w 80"/>
                <a:gd name="T31" fmla="*/ 0 h 67"/>
                <a:gd name="T32" fmla="*/ 6 w 80"/>
                <a:gd name="T33" fmla="*/ 0 h 67"/>
                <a:gd name="T34" fmla="*/ 6 w 80"/>
                <a:gd name="T35" fmla="*/ 0 h 67"/>
                <a:gd name="T36" fmla="*/ 10 w 80"/>
                <a:gd name="T37" fmla="*/ 3 h 67"/>
                <a:gd name="T38" fmla="*/ 15 w 80"/>
                <a:gd name="T39" fmla="*/ 8 h 67"/>
                <a:gd name="T40" fmla="*/ 17 w 80"/>
                <a:gd name="T41" fmla="*/ 15 h 67"/>
                <a:gd name="T42" fmla="*/ 17 w 80"/>
                <a:gd name="T43" fmla="*/ 21 h 67"/>
                <a:gd name="T44" fmla="*/ 49 w 80"/>
                <a:gd name="T45" fmla="*/ 57 h 67"/>
                <a:gd name="T46" fmla="*/ 49 w 80"/>
                <a:gd name="T47" fmla="*/ 57 h 67"/>
                <a:gd name="T48" fmla="*/ 64 w 80"/>
                <a:gd name="T49" fmla="*/ 52 h 67"/>
                <a:gd name="T50" fmla="*/ 80 w 80"/>
                <a:gd name="T51" fmla="*/ 47 h 67"/>
                <a:gd name="T52" fmla="*/ 80 w 80"/>
                <a:gd name="T53" fmla="*/ 47 h 67"/>
                <a:gd name="T54" fmla="*/ 80 w 80"/>
                <a:gd name="T55" fmla="*/ 47 h 67"/>
                <a:gd name="T56" fmla="*/ 80 w 80"/>
                <a:gd name="T57" fmla="*/ 47 h 67"/>
                <a:gd name="T58" fmla="*/ 64 w 80"/>
                <a:gd name="T59" fmla="*/ 52 h 67"/>
                <a:gd name="T60" fmla="*/ 49 w 80"/>
                <a:gd name="T61" fmla="*/ 57 h 67"/>
                <a:gd name="T62" fmla="*/ 49 w 80"/>
                <a:gd name="T63" fmla="*/ 57 h 67"/>
                <a:gd name="T64" fmla="*/ 49 w 80"/>
                <a:gd name="T65" fmla="*/ 57 h 67"/>
                <a:gd name="T66" fmla="*/ 49 w 80"/>
                <a:gd name="T67" fmla="*/ 57 h 67"/>
                <a:gd name="T68" fmla="*/ 49 w 80"/>
                <a:gd name="T69" fmla="*/ 57 h 67"/>
                <a:gd name="T70" fmla="*/ 49 w 80"/>
                <a:gd name="T71" fmla="*/ 57 h 67"/>
                <a:gd name="T72" fmla="*/ 32 w 80"/>
                <a:gd name="T73" fmla="*/ 67 h 67"/>
                <a:gd name="T74" fmla="*/ 32 w 80"/>
                <a:gd name="T75" fmla="*/ 67 h 67"/>
                <a:gd name="T76" fmla="*/ 29 w 80"/>
                <a:gd name="T77" fmla="*/ 67 h 67"/>
                <a:gd name="T78" fmla="*/ 26 w 80"/>
                <a:gd name="T79" fmla="*/ 64 h 67"/>
                <a:gd name="T80" fmla="*/ 22 w 80"/>
                <a:gd name="T81" fmla="*/ 60 h 67"/>
                <a:gd name="T82" fmla="*/ 19 w 80"/>
                <a:gd name="T83" fmla="*/ 52 h 67"/>
                <a:gd name="T84" fmla="*/ 17 w 80"/>
                <a:gd name="T85" fmla="*/ 45 h 67"/>
                <a:gd name="T86" fmla="*/ 17 w 80"/>
                <a:gd name="T87" fmla="*/ 45 h 67"/>
                <a:gd name="T88" fmla="*/ 17 w 80"/>
                <a:gd name="T89" fmla="*/ 36 h 67"/>
                <a:gd name="T90" fmla="*/ 17 w 80"/>
                <a:gd name="T91" fmla="*/ 36 h 67"/>
                <a:gd name="T92" fmla="*/ 17 w 80"/>
                <a:gd name="T93" fmla="*/ 45 h 67"/>
                <a:gd name="T94" fmla="*/ 17 w 80"/>
                <a:gd name="T95" fmla="*/ 45 h 67"/>
                <a:gd name="T96" fmla="*/ 19 w 80"/>
                <a:gd name="T97" fmla="*/ 52 h 67"/>
                <a:gd name="T98" fmla="*/ 22 w 80"/>
                <a:gd name="T99" fmla="*/ 60 h 67"/>
                <a:gd name="T100" fmla="*/ 26 w 80"/>
                <a:gd name="T101" fmla="*/ 64 h 67"/>
                <a:gd name="T102" fmla="*/ 29 w 80"/>
                <a:gd name="T103" fmla="*/ 67 h 67"/>
                <a:gd name="T104" fmla="*/ 32 w 80"/>
                <a:gd name="T105" fmla="*/ 67 h 67"/>
                <a:gd name="T106" fmla="*/ 32 w 80"/>
                <a:gd name="T107" fmla="*/ 67 h 67"/>
                <a:gd name="T108" fmla="*/ 36 w 80"/>
                <a:gd name="T109" fmla="*/ 65 h 67"/>
                <a:gd name="T110" fmla="*/ 39 w 80"/>
                <a:gd name="T111" fmla="*/ 63 h 67"/>
                <a:gd name="T112" fmla="*/ 42 w 80"/>
                <a:gd name="T113" fmla="*/ 60 h 67"/>
                <a:gd name="T114" fmla="*/ 46 w 80"/>
                <a:gd name="T115" fmla="*/ 58 h 67"/>
                <a:gd name="T116" fmla="*/ 46 w 80"/>
                <a:gd name="T117" fmla="*/ 58 h 67"/>
                <a:gd name="T118" fmla="*/ 42 w 80"/>
                <a:gd name="T119" fmla="*/ 60 h 67"/>
                <a:gd name="T120" fmla="*/ 39 w 80"/>
                <a:gd name="T121" fmla="*/ 63 h 67"/>
                <a:gd name="T122" fmla="*/ 36 w 80"/>
                <a:gd name="T123" fmla="*/ 65 h 67"/>
                <a:gd name="T124" fmla="*/ 32 w 80"/>
                <a:gd name="T125"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67">
                  <a:moveTo>
                    <a:pt x="17" y="21"/>
                  </a:moveTo>
                  <a:lnTo>
                    <a:pt x="17" y="21"/>
                  </a:lnTo>
                  <a:lnTo>
                    <a:pt x="17" y="15"/>
                  </a:lnTo>
                  <a:lnTo>
                    <a:pt x="15" y="8"/>
                  </a:lnTo>
                  <a:lnTo>
                    <a:pt x="10" y="3"/>
                  </a:lnTo>
                  <a:lnTo>
                    <a:pt x="6" y="0"/>
                  </a:lnTo>
                  <a:lnTo>
                    <a:pt x="6" y="0"/>
                  </a:lnTo>
                  <a:lnTo>
                    <a:pt x="6" y="0"/>
                  </a:lnTo>
                  <a:lnTo>
                    <a:pt x="6" y="0"/>
                  </a:lnTo>
                  <a:lnTo>
                    <a:pt x="3" y="2"/>
                  </a:lnTo>
                  <a:lnTo>
                    <a:pt x="0" y="5"/>
                  </a:lnTo>
                  <a:lnTo>
                    <a:pt x="0" y="5"/>
                  </a:lnTo>
                  <a:lnTo>
                    <a:pt x="0" y="5"/>
                  </a:lnTo>
                  <a:lnTo>
                    <a:pt x="3" y="2"/>
                  </a:lnTo>
                  <a:lnTo>
                    <a:pt x="6" y="0"/>
                  </a:lnTo>
                  <a:lnTo>
                    <a:pt x="6" y="0"/>
                  </a:lnTo>
                  <a:lnTo>
                    <a:pt x="6" y="0"/>
                  </a:lnTo>
                  <a:lnTo>
                    <a:pt x="6" y="0"/>
                  </a:lnTo>
                  <a:lnTo>
                    <a:pt x="10" y="3"/>
                  </a:lnTo>
                  <a:lnTo>
                    <a:pt x="15" y="8"/>
                  </a:lnTo>
                  <a:lnTo>
                    <a:pt x="17" y="15"/>
                  </a:lnTo>
                  <a:lnTo>
                    <a:pt x="17" y="21"/>
                  </a:lnTo>
                  <a:close/>
                  <a:moveTo>
                    <a:pt x="49" y="57"/>
                  </a:moveTo>
                  <a:lnTo>
                    <a:pt x="49" y="57"/>
                  </a:lnTo>
                  <a:lnTo>
                    <a:pt x="64" y="52"/>
                  </a:lnTo>
                  <a:lnTo>
                    <a:pt x="80" y="47"/>
                  </a:lnTo>
                  <a:lnTo>
                    <a:pt x="80" y="47"/>
                  </a:lnTo>
                  <a:lnTo>
                    <a:pt x="80" y="47"/>
                  </a:lnTo>
                  <a:lnTo>
                    <a:pt x="80" y="47"/>
                  </a:lnTo>
                  <a:lnTo>
                    <a:pt x="64" y="52"/>
                  </a:lnTo>
                  <a:lnTo>
                    <a:pt x="49" y="57"/>
                  </a:lnTo>
                  <a:close/>
                  <a:moveTo>
                    <a:pt x="49" y="57"/>
                  </a:moveTo>
                  <a:lnTo>
                    <a:pt x="49" y="57"/>
                  </a:lnTo>
                  <a:lnTo>
                    <a:pt x="49" y="57"/>
                  </a:lnTo>
                  <a:lnTo>
                    <a:pt x="49" y="57"/>
                  </a:lnTo>
                  <a:lnTo>
                    <a:pt x="49" y="57"/>
                  </a:lnTo>
                  <a:close/>
                  <a:moveTo>
                    <a:pt x="32" y="67"/>
                  </a:moveTo>
                  <a:lnTo>
                    <a:pt x="32" y="67"/>
                  </a:lnTo>
                  <a:lnTo>
                    <a:pt x="29" y="67"/>
                  </a:lnTo>
                  <a:lnTo>
                    <a:pt x="26" y="64"/>
                  </a:lnTo>
                  <a:lnTo>
                    <a:pt x="22" y="60"/>
                  </a:lnTo>
                  <a:lnTo>
                    <a:pt x="19" y="52"/>
                  </a:lnTo>
                  <a:lnTo>
                    <a:pt x="17" y="45"/>
                  </a:lnTo>
                  <a:lnTo>
                    <a:pt x="17" y="45"/>
                  </a:lnTo>
                  <a:lnTo>
                    <a:pt x="17" y="36"/>
                  </a:lnTo>
                  <a:lnTo>
                    <a:pt x="17" y="36"/>
                  </a:lnTo>
                  <a:lnTo>
                    <a:pt x="17" y="45"/>
                  </a:lnTo>
                  <a:lnTo>
                    <a:pt x="17" y="45"/>
                  </a:lnTo>
                  <a:lnTo>
                    <a:pt x="19" y="52"/>
                  </a:lnTo>
                  <a:lnTo>
                    <a:pt x="22" y="60"/>
                  </a:lnTo>
                  <a:lnTo>
                    <a:pt x="26" y="64"/>
                  </a:lnTo>
                  <a:lnTo>
                    <a:pt x="29" y="67"/>
                  </a:lnTo>
                  <a:lnTo>
                    <a:pt x="32" y="67"/>
                  </a:lnTo>
                  <a:lnTo>
                    <a:pt x="32" y="67"/>
                  </a:lnTo>
                  <a:lnTo>
                    <a:pt x="36" y="65"/>
                  </a:lnTo>
                  <a:lnTo>
                    <a:pt x="39" y="63"/>
                  </a:lnTo>
                  <a:lnTo>
                    <a:pt x="42" y="60"/>
                  </a:lnTo>
                  <a:lnTo>
                    <a:pt x="46" y="58"/>
                  </a:lnTo>
                  <a:lnTo>
                    <a:pt x="46" y="58"/>
                  </a:lnTo>
                  <a:lnTo>
                    <a:pt x="42" y="60"/>
                  </a:lnTo>
                  <a:lnTo>
                    <a:pt x="39" y="63"/>
                  </a:lnTo>
                  <a:lnTo>
                    <a:pt x="36" y="65"/>
                  </a:lnTo>
                  <a:lnTo>
                    <a:pt x="32" y="67"/>
                  </a:lnTo>
                  <a:close/>
                </a:path>
              </a:pathLst>
            </a:custGeom>
            <a:solidFill>
              <a:srgbClr val="60B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30" name="Freeform 686"/>
            <p:cNvSpPr>
              <a:spLocks/>
            </p:cNvSpPr>
            <p:nvPr/>
          </p:nvSpPr>
          <p:spPr bwMode="auto">
            <a:xfrm>
              <a:off x="2754313" y="4631167"/>
              <a:ext cx="26988" cy="33338"/>
            </a:xfrm>
            <a:custGeom>
              <a:avLst/>
              <a:gdLst>
                <a:gd name="T0" fmla="*/ 17 w 17"/>
                <a:gd name="T1" fmla="*/ 21 h 21"/>
                <a:gd name="T2" fmla="*/ 17 w 17"/>
                <a:gd name="T3" fmla="*/ 21 h 21"/>
                <a:gd name="T4" fmla="*/ 17 w 17"/>
                <a:gd name="T5" fmla="*/ 15 h 21"/>
                <a:gd name="T6" fmla="*/ 15 w 17"/>
                <a:gd name="T7" fmla="*/ 8 h 21"/>
                <a:gd name="T8" fmla="*/ 10 w 17"/>
                <a:gd name="T9" fmla="*/ 3 h 21"/>
                <a:gd name="T10" fmla="*/ 6 w 17"/>
                <a:gd name="T11" fmla="*/ 0 h 21"/>
                <a:gd name="T12" fmla="*/ 6 w 17"/>
                <a:gd name="T13" fmla="*/ 0 h 21"/>
                <a:gd name="T14" fmla="*/ 6 w 17"/>
                <a:gd name="T15" fmla="*/ 0 h 21"/>
                <a:gd name="T16" fmla="*/ 6 w 17"/>
                <a:gd name="T17" fmla="*/ 0 h 21"/>
                <a:gd name="T18" fmla="*/ 3 w 17"/>
                <a:gd name="T19" fmla="*/ 2 h 21"/>
                <a:gd name="T20" fmla="*/ 0 w 17"/>
                <a:gd name="T21" fmla="*/ 5 h 21"/>
                <a:gd name="T22" fmla="*/ 0 w 17"/>
                <a:gd name="T23" fmla="*/ 5 h 21"/>
                <a:gd name="T24" fmla="*/ 0 w 17"/>
                <a:gd name="T25" fmla="*/ 5 h 21"/>
                <a:gd name="T26" fmla="*/ 3 w 17"/>
                <a:gd name="T27" fmla="*/ 2 h 21"/>
                <a:gd name="T28" fmla="*/ 6 w 17"/>
                <a:gd name="T29" fmla="*/ 0 h 21"/>
                <a:gd name="T30" fmla="*/ 6 w 17"/>
                <a:gd name="T31" fmla="*/ 0 h 21"/>
                <a:gd name="T32" fmla="*/ 6 w 17"/>
                <a:gd name="T33" fmla="*/ 0 h 21"/>
                <a:gd name="T34" fmla="*/ 6 w 17"/>
                <a:gd name="T35" fmla="*/ 0 h 21"/>
                <a:gd name="T36" fmla="*/ 10 w 17"/>
                <a:gd name="T37" fmla="*/ 3 h 21"/>
                <a:gd name="T38" fmla="*/ 15 w 17"/>
                <a:gd name="T39" fmla="*/ 8 h 21"/>
                <a:gd name="T40" fmla="*/ 17 w 17"/>
                <a:gd name="T41" fmla="*/ 15 h 21"/>
                <a:gd name="T42" fmla="*/ 17 w 17"/>
                <a:gd name="T4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21">
                  <a:moveTo>
                    <a:pt x="17" y="21"/>
                  </a:moveTo>
                  <a:lnTo>
                    <a:pt x="17" y="21"/>
                  </a:lnTo>
                  <a:lnTo>
                    <a:pt x="17" y="15"/>
                  </a:lnTo>
                  <a:lnTo>
                    <a:pt x="15" y="8"/>
                  </a:lnTo>
                  <a:lnTo>
                    <a:pt x="10" y="3"/>
                  </a:lnTo>
                  <a:lnTo>
                    <a:pt x="6" y="0"/>
                  </a:lnTo>
                  <a:lnTo>
                    <a:pt x="6" y="0"/>
                  </a:lnTo>
                  <a:lnTo>
                    <a:pt x="6" y="0"/>
                  </a:lnTo>
                  <a:lnTo>
                    <a:pt x="6" y="0"/>
                  </a:lnTo>
                  <a:lnTo>
                    <a:pt x="3" y="2"/>
                  </a:lnTo>
                  <a:lnTo>
                    <a:pt x="0" y="5"/>
                  </a:lnTo>
                  <a:lnTo>
                    <a:pt x="0" y="5"/>
                  </a:lnTo>
                  <a:lnTo>
                    <a:pt x="0" y="5"/>
                  </a:lnTo>
                  <a:lnTo>
                    <a:pt x="3" y="2"/>
                  </a:lnTo>
                  <a:lnTo>
                    <a:pt x="6" y="0"/>
                  </a:lnTo>
                  <a:lnTo>
                    <a:pt x="6" y="0"/>
                  </a:lnTo>
                  <a:lnTo>
                    <a:pt x="6" y="0"/>
                  </a:lnTo>
                  <a:lnTo>
                    <a:pt x="6" y="0"/>
                  </a:lnTo>
                  <a:lnTo>
                    <a:pt x="10" y="3"/>
                  </a:lnTo>
                  <a:lnTo>
                    <a:pt x="15" y="8"/>
                  </a:lnTo>
                  <a:lnTo>
                    <a:pt x="17" y="15"/>
                  </a:lnTo>
                  <a:lnTo>
                    <a:pt x="1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31" name="Freeform 687"/>
            <p:cNvSpPr>
              <a:spLocks/>
            </p:cNvSpPr>
            <p:nvPr/>
          </p:nvSpPr>
          <p:spPr bwMode="auto">
            <a:xfrm>
              <a:off x="2832100" y="4705779"/>
              <a:ext cx="49213" cy="15875"/>
            </a:xfrm>
            <a:custGeom>
              <a:avLst/>
              <a:gdLst>
                <a:gd name="T0" fmla="*/ 0 w 31"/>
                <a:gd name="T1" fmla="*/ 10 h 10"/>
                <a:gd name="T2" fmla="*/ 0 w 31"/>
                <a:gd name="T3" fmla="*/ 10 h 10"/>
                <a:gd name="T4" fmla="*/ 15 w 31"/>
                <a:gd name="T5" fmla="*/ 5 h 10"/>
                <a:gd name="T6" fmla="*/ 31 w 31"/>
                <a:gd name="T7" fmla="*/ 0 h 10"/>
                <a:gd name="T8" fmla="*/ 31 w 31"/>
                <a:gd name="T9" fmla="*/ 0 h 10"/>
                <a:gd name="T10" fmla="*/ 31 w 31"/>
                <a:gd name="T11" fmla="*/ 0 h 10"/>
                <a:gd name="T12" fmla="*/ 31 w 31"/>
                <a:gd name="T13" fmla="*/ 0 h 10"/>
                <a:gd name="T14" fmla="*/ 15 w 31"/>
                <a:gd name="T15" fmla="*/ 5 h 10"/>
                <a:gd name="T16" fmla="*/ 0 w 31"/>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0">
                  <a:moveTo>
                    <a:pt x="0" y="10"/>
                  </a:moveTo>
                  <a:lnTo>
                    <a:pt x="0" y="10"/>
                  </a:lnTo>
                  <a:lnTo>
                    <a:pt x="15" y="5"/>
                  </a:lnTo>
                  <a:lnTo>
                    <a:pt x="31" y="0"/>
                  </a:lnTo>
                  <a:lnTo>
                    <a:pt x="31" y="0"/>
                  </a:lnTo>
                  <a:lnTo>
                    <a:pt x="31" y="0"/>
                  </a:lnTo>
                  <a:lnTo>
                    <a:pt x="31" y="0"/>
                  </a:lnTo>
                  <a:lnTo>
                    <a:pt x="15" y="5"/>
                  </a:lnTo>
                  <a:lnTo>
                    <a:pt x="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32" name="Rectangle 688"/>
            <p:cNvSpPr>
              <a:spLocks noChangeArrowheads="1"/>
            </p:cNvSpPr>
            <p:nvPr/>
          </p:nvSpPr>
          <p:spPr bwMode="auto">
            <a:xfrm>
              <a:off x="2832100" y="4721654"/>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33" name="Freeform 689"/>
            <p:cNvSpPr>
              <a:spLocks/>
            </p:cNvSpPr>
            <p:nvPr/>
          </p:nvSpPr>
          <p:spPr bwMode="auto">
            <a:xfrm>
              <a:off x="2781300" y="4688317"/>
              <a:ext cx="46038" cy="49213"/>
            </a:xfrm>
            <a:custGeom>
              <a:avLst/>
              <a:gdLst>
                <a:gd name="T0" fmla="*/ 15 w 29"/>
                <a:gd name="T1" fmla="*/ 31 h 31"/>
                <a:gd name="T2" fmla="*/ 15 w 29"/>
                <a:gd name="T3" fmla="*/ 31 h 31"/>
                <a:gd name="T4" fmla="*/ 12 w 29"/>
                <a:gd name="T5" fmla="*/ 31 h 31"/>
                <a:gd name="T6" fmla="*/ 9 w 29"/>
                <a:gd name="T7" fmla="*/ 28 h 31"/>
                <a:gd name="T8" fmla="*/ 5 w 29"/>
                <a:gd name="T9" fmla="*/ 24 h 31"/>
                <a:gd name="T10" fmla="*/ 2 w 29"/>
                <a:gd name="T11" fmla="*/ 16 h 31"/>
                <a:gd name="T12" fmla="*/ 0 w 29"/>
                <a:gd name="T13" fmla="*/ 9 h 31"/>
                <a:gd name="T14" fmla="*/ 0 w 29"/>
                <a:gd name="T15" fmla="*/ 9 h 31"/>
                <a:gd name="T16" fmla="*/ 0 w 29"/>
                <a:gd name="T17" fmla="*/ 0 h 31"/>
                <a:gd name="T18" fmla="*/ 0 w 29"/>
                <a:gd name="T19" fmla="*/ 0 h 31"/>
                <a:gd name="T20" fmla="*/ 0 w 29"/>
                <a:gd name="T21" fmla="*/ 9 h 31"/>
                <a:gd name="T22" fmla="*/ 0 w 29"/>
                <a:gd name="T23" fmla="*/ 9 h 31"/>
                <a:gd name="T24" fmla="*/ 2 w 29"/>
                <a:gd name="T25" fmla="*/ 16 h 31"/>
                <a:gd name="T26" fmla="*/ 5 w 29"/>
                <a:gd name="T27" fmla="*/ 24 h 31"/>
                <a:gd name="T28" fmla="*/ 9 w 29"/>
                <a:gd name="T29" fmla="*/ 28 h 31"/>
                <a:gd name="T30" fmla="*/ 12 w 29"/>
                <a:gd name="T31" fmla="*/ 31 h 31"/>
                <a:gd name="T32" fmla="*/ 15 w 29"/>
                <a:gd name="T33" fmla="*/ 31 h 31"/>
                <a:gd name="T34" fmla="*/ 15 w 29"/>
                <a:gd name="T35" fmla="*/ 31 h 31"/>
                <a:gd name="T36" fmla="*/ 19 w 29"/>
                <a:gd name="T37" fmla="*/ 29 h 31"/>
                <a:gd name="T38" fmla="*/ 22 w 29"/>
                <a:gd name="T39" fmla="*/ 27 h 31"/>
                <a:gd name="T40" fmla="*/ 25 w 29"/>
                <a:gd name="T41" fmla="*/ 24 h 31"/>
                <a:gd name="T42" fmla="*/ 29 w 29"/>
                <a:gd name="T43" fmla="*/ 22 h 31"/>
                <a:gd name="T44" fmla="*/ 29 w 29"/>
                <a:gd name="T45" fmla="*/ 22 h 31"/>
                <a:gd name="T46" fmla="*/ 25 w 29"/>
                <a:gd name="T47" fmla="*/ 24 h 31"/>
                <a:gd name="T48" fmla="*/ 22 w 29"/>
                <a:gd name="T49" fmla="*/ 27 h 31"/>
                <a:gd name="T50" fmla="*/ 19 w 29"/>
                <a:gd name="T51" fmla="*/ 29 h 31"/>
                <a:gd name="T52" fmla="*/ 15 w 29"/>
                <a:gd name="T53"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 h="31">
                  <a:moveTo>
                    <a:pt x="15" y="31"/>
                  </a:moveTo>
                  <a:lnTo>
                    <a:pt x="15" y="31"/>
                  </a:lnTo>
                  <a:lnTo>
                    <a:pt x="12" y="31"/>
                  </a:lnTo>
                  <a:lnTo>
                    <a:pt x="9" y="28"/>
                  </a:lnTo>
                  <a:lnTo>
                    <a:pt x="5" y="24"/>
                  </a:lnTo>
                  <a:lnTo>
                    <a:pt x="2" y="16"/>
                  </a:lnTo>
                  <a:lnTo>
                    <a:pt x="0" y="9"/>
                  </a:lnTo>
                  <a:lnTo>
                    <a:pt x="0" y="9"/>
                  </a:lnTo>
                  <a:lnTo>
                    <a:pt x="0" y="0"/>
                  </a:lnTo>
                  <a:lnTo>
                    <a:pt x="0" y="0"/>
                  </a:lnTo>
                  <a:lnTo>
                    <a:pt x="0" y="9"/>
                  </a:lnTo>
                  <a:lnTo>
                    <a:pt x="0" y="9"/>
                  </a:lnTo>
                  <a:lnTo>
                    <a:pt x="2" y="16"/>
                  </a:lnTo>
                  <a:lnTo>
                    <a:pt x="5" y="24"/>
                  </a:lnTo>
                  <a:lnTo>
                    <a:pt x="9" y="28"/>
                  </a:lnTo>
                  <a:lnTo>
                    <a:pt x="12" y="31"/>
                  </a:lnTo>
                  <a:lnTo>
                    <a:pt x="15" y="31"/>
                  </a:lnTo>
                  <a:lnTo>
                    <a:pt x="15" y="31"/>
                  </a:lnTo>
                  <a:lnTo>
                    <a:pt x="19" y="29"/>
                  </a:lnTo>
                  <a:lnTo>
                    <a:pt x="22" y="27"/>
                  </a:lnTo>
                  <a:lnTo>
                    <a:pt x="25" y="24"/>
                  </a:lnTo>
                  <a:lnTo>
                    <a:pt x="29" y="22"/>
                  </a:lnTo>
                  <a:lnTo>
                    <a:pt x="29" y="22"/>
                  </a:lnTo>
                  <a:lnTo>
                    <a:pt x="25" y="24"/>
                  </a:lnTo>
                  <a:lnTo>
                    <a:pt x="22" y="27"/>
                  </a:lnTo>
                  <a:lnTo>
                    <a:pt x="19" y="29"/>
                  </a:lnTo>
                  <a:lnTo>
                    <a:pt x="15" y="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34" name="Freeform 690"/>
            <p:cNvSpPr>
              <a:spLocks/>
            </p:cNvSpPr>
            <p:nvPr/>
          </p:nvSpPr>
          <p:spPr bwMode="auto">
            <a:xfrm>
              <a:off x="2001838" y="4383517"/>
              <a:ext cx="60325" cy="41275"/>
            </a:xfrm>
            <a:custGeom>
              <a:avLst/>
              <a:gdLst>
                <a:gd name="T0" fmla="*/ 14 w 38"/>
                <a:gd name="T1" fmla="*/ 0 h 26"/>
                <a:gd name="T2" fmla="*/ 14 w 38"/>
                <a:gd name="T3" fmla="*/ 0 h 26"/>
                <a:gd name="T4" fmla="*/ 0 w 38"/>
                <a:gd name="T5" fmla="*/ 13 h 26"/>
                <a:gd name="T6" fmla="*/ 0 w 38"/>
                <a:gd name="T7" fmla="*/ 13 h 26"/>
                <a:gd name="T8" fmla="*/ 3 w 38"/>
                <a:gd name="T9" fmla="*/ 14 h 26"/>
                <a:gd name="T10" fmla="*/ 3 w 38"/>
                <a:gd name="T11" fmla="*/ 14 h 26"/>
                <a:gd name="T12" fmla="*/ 15 w 38"/>
                <a:gd name="T13" fmla="*/ 20 h 26"/>
                <a:gd name="T14" fmla="*/ 24 w 38"/>
                <a:gd name="T15" fmla="*/ 24 h 26"/>
                <a:gd name="T16" fmla="*/ 29 w 38"/>
                <a:gd name="T17" fmla="*/ 26 h 26"/>
                <a:gd name="T18" fmla="*/ 29 w 38"/>
                <a:gd name="T19" fmla="*/ 26 h 26"/>
                <a:gd name="T20" fmla="*/ 37 w 38"/>
                <a:gd name="T21" fmla="*/ 24 h 26"/>
                <a:gd name="T22" fmla="*/ 38 w 38"/>
                <a:gd name="T23" fmla="*/ 11 h 26"/>
                <a:gd name="T24" fmla="*/ 14 w 38"/>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26">
                  <a:moveTo>
                    <a:pt x="14" y="0"/>
                  </a:moveTo>
                  <a:lnTo>
                    <a:pt x="14" y="0"/>
                  </a:lnTo>
                  <a:lnTo>
                    <a:pt x="0" y="13"/>
                  </a:lnTo>
                  <a:lnTo>
                    <a:pt x="0" y="13"/>
                  </a:lnTo>
                  <a:lnTo>
                    <a:pt x="3" y="14"/>
                  </a:lnTo>
                  <a:lnTo>
                    <a:pt x="3" y="14"/>
                  </a:lnTo>
                  <a:lnTo>
                    <a:pt x="15" y="20"/>
                  </a:lnTo>
                  <a:lnTo>
                    <a:pt x="24" y="24"/>
                  </a:lnTo>
                  <a:lnTo>
                    <a:pt x="29" y="26"/>
                  </a:lnTo>
                  <a:lnTo>
                    <a:pt x="29" y="26"/>
                  </a:lnTo>
                  <a:lnTo>
                    <a:pt x="37" y="24"/>
                  </a:lnTo>
                  <a:lnTo>
                    <a:pt x="38" y="11"/>
                  </a:lnTo>
                  <a:lnTo>
                    <a:pt x="14" y="0"/>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35" name="Freeform 691"/>
            <p:cNvSpPr>
              <a:spLocks/>
            </p:cNvSpPr>
            <p:nvPr/>
          </p:nvSpPr>
          <p:spPr bwMode="auto">
            <a:xfrm>
              <a:off x="2024063" y="4353354"/>
              <a:ext cx="149225" cy="80963"/>
            </a:xfrm>
            <a:custGeom>
              <a:avLst/>
              <a:gdLst>
                <a:gd name="T0" fmla="*/ 88 w 94"/>
                <a:gd name="T1" fmla="*/ 4 h 51"/>
                <a:gd name="T2" fmla="*/ 88 w 94"/>
                <a:gd name="T3" fmla="*/ 4 h 51"/>
                <a:gd name="T4" fmla="*/ 81 w 94"/>
                <a:gd name="T5" fmla="*/ 4 h 51"/>
                <a:gd name="T6" fmla="*/ 73 w 94"/>
                <a:gd name="T7" fmla="*/ 3 h 51"/>
                <a:gd name="T8" fmla="*/ 73 w 94"/>
                <a:gd name="T9" fmla="*/ 3 h 51"/>
                <a:gd name="T10" fmla="*/ 68 w 94"/>
                <a:gd name="T11" fmla="*/ 1 h 51"/>
                <a:gd name="T12" fmla="*/ 60 w 94"/>
                <a:gd name="T13" fmla="*/ 0 h 51"/>
                <a:gd name="T14" fmla="*/ 60 w 94"/>
                <a:gd name="T15" fmla="*/ 0 h 51"/>
                <a:gd name="T16" fmla="*/ 55 w 94"/>
                <a:gd name="T17" fmla="*/ 1 h 51"/>
                <a:gd name="T18" fmla="*/ 47 w 94"/>
                <a:gd name="T19" fmla="*/ 1 h 51"/>
                <a:gd name="T20" fmla="*/ 47 w 94"/>
                <a:gd name="T21" fmla="*/ 1 h 51"/>
                <a:gd name="T22" fmla="*/ 26 w 94"/>
                <a:gd name="T23" fmla="*/ 3 h 51"/>
                <a:gd name="T24" fmla="*/ 26 w 94"/>
                <a:gd name="T25" fmla="*/ 3 h 51"/>
                <a:gd name="T26" fmla="*/ 20 w 94"/>
                <a:gd name="T27" fmla="*/ 3 h 51"/>
                <a:gd name="T28" fmla="*/ 14 w 94"/>
                <a:gd name="T29" fmla="*/ 3 h 51"/>
                <a:gd name="T30" fmla="*/ 14 w 94"/>
                <a:gd name="T31" fmla="*/ 3 h 51"/>
                <a:gd name="T32" fmla="*/ 0 w 94"/>
                <a:gd name="T33" fmla="*/ 19 h 51"/>
                <a:gd name="T34" fmla="*/ 24 w 94"/>
                <a:gd name="T35" fmla="*/ 30 h 51"/>
                <a:gd name="T36" fmla="*/ 23 w 94"/>
                <a:gd name="T37" fmla="*/ 43 h 51"/>
                <a:gd name="T38" fmla="*/ 23 w 94"/>
                <a:gd name="T39" fmla="*/ 43 h 51"/>
                <a:gd name="T40" fmla="*/ 27 w 94"/>
                <a:gd name="T41" fmla="*/ 43 h 51"/>
                <a:gd name="T42" fmla="*/ 28 w 94"/>
                <a:gd name="T43" fmla="*/ 43 h 51"/>
                <a:gd name="T44" fmla="*/ 28 w 94"/>
                <a:gd name="T45" fmla="*/ 43 h 51"/>
                <a:gd name="T46" fmla="*/ 28 w 94"/>
                <a:gd name="T47" fmla="*/ 43 h 51"/>
                <a:gd name="T48" fmla="*/ 27 w 94"/>
                <a:gd name="T49" fmla="*/ 46 h 51"/>
                <a:gd name="T50" fmla="*/ 26 w 94"/>
                <a:gd name="T51" fmla="*/ 51 h 51"/>
                <a:gd name="T52" fmla="*/ 26 w 94"/>
                <a:gd name="T53" fmla="*/ 51 h 51"/>
                <a:gd name="T54" fmla="*/ 50 w 94"/>
                <a:gd name="T55" fmla="*/ 35 h 51"/>
                <a:gd name="T56" fmla="*/ 70 w 94"/>
                <a:gd name="T57" fmla="*/ 25 h 51"/>
                <a:gd name="T58" fmla="*/ 70 w 94"/>
                <a:gd name="T59" fmla="*/ 25 h 51"/>
                <a:gd name="T60" fmla="*/ 94 w 94"/>
                <a:gd name="T61" fmla="*/ 14 h 51"/>
                <a:gd name="T62" fmla="*/ 94 w 94"/>
                <a:gd name="T63" fmla="*/ 14 h 51"/>
                <a:gd name="T64" fmla="*/ 92 w 94"/>
                <a:gd name="T65" fmla="*/ 7 h 51"/>
                <a:gd name="T66" fmla="*/ 91 w 94"/>
                <a:gd name="T67" fmla="*/ 4 h 51"/>
                <a:gd name="T68" fmla="*/ 88 w 94"/>
                <a:gd name="T69"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4" h="51">
                  <a:moveTo>
                    <a:pt x="88" y="4"/>
                  </a:moveTo>
                  <a:lnTo>
                    <a:pt x="88" y="4"/>
                  </a:lnTo>
                  <a:lnTo>
                    <a:pt x="81" y="4"/>
                  </a:lnTo>
                  <a:lnTo>
                    <a:pt x="73" y="3"/>
                  </a:lnTo>
                  <a:lnTo>
                    <a:pt x="73" y="3"/>
                  </a:lnTo>
                  <a:lnTo>
                    <a:pt x="68" y="1"/>
                  </a:lnTo>
                  <a:lnTo>
                    <a:pt x="60" y="0"/>
                  </a:lnTo>
                  <a:lnTo>
                    <a:pt x="60" y="0"/>
                  </a:lnTo>
                  <a:lnTo>
                    <a:pt x="55" y="1"/>
                  </a:lnTo>
                  <a:lnTo>
                    <a:pt x="47" y="1"/>
                  </a:lnTo>
                  <a:lnTo>
                    <a:pt x="47" y="1"/>
                  </a:lnTo>
                  <a:lnTo>
                    <a:pt x="26" y="3"/>
                  </a:lnTo>
                  <a:lnTo>
                    <a:pt x="26" y="3"/>
                  </a:lnTo>
                  <a:lnTo>
                    <a:pt x="20" y="3"/>
                  </a:lnTo>
                  <a:lnTo>
                    <a:pt x="14" y="3"/>
                  </a:lnTo>
                  <a:lnTo>
                    <a:pt x="14" y="3"/>
                  </a:lnTo>
                  <a:lnTo>
                    <a:pt x="0" y="19"/>
                  </a:lnTo>
                  <a:lnTo>
                    <a:pt x="24" y="30"/>
                  </a:lnTo>
                  <a:lnTo>
                    <a:pt x="23" y="43"/>
                  </a:lnTo>
                  <a:lnTo>
                    <a:pt x="23" y="43"/>
                  </a:lnTo>
                  <a:lnTo>
                    <a:pt x="27" y="43"/>
                  </a:lnTo>
                  <a:lnTo>
                    <a:pt x="28" y="43"/>
                  </a:lnTo>
                  <a:lnTo>
                    <a:pt x="28" y="43"/>
                  </a:lnTo>
                  <a:lnTo>
                    <a:pt x="28" y="43"/>
                  </a:lnTo>
                  <a:lnTo>
                    <a:pt x="27" y="46"/>
                  </a:lnTo>
                  <a:lnTo>
                    <a:pt x="26" y="51"/>
                  </a:lnTo>
                  <a:lnTo>
                    <a:pt x="26" y="51"/>
                  </a:lnTo>
                  <a:lnTo>
                    <a:pt x="50" y="35"/>
                  </a:lnTo>
                  <a:lnTo>
                    <a:pt x="70" y="25"/>
                  </a:lnTo>
                  <a:lnTo>
                    <a:pt x="70" y="25"/>
                  </a:lnTo>
                  <a:lnTo>
                    <a:pt x="94" y="14"/>
                  </a:lnTo>
                  <a:lnTo>
                    <a:pt x="94" y="14"/>
                  </a:lnTo>
                  <a:lnTo>
                    <a:pt x="92" y="7"/>
                  </a:lnTo>
                  <a:lnTo>
                    <a:pt x="91" y="4"/>
                  </a:lnTo>
                  <a:lnTo>
                    <a:pt x="88" y="4"/>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36" name="Freeform 692"/>
            <p:cNvSpPr>
              <a:spLocks/>
            </p:cNvSpPr>
            <p:nvPr/>
          </p:nvSpPr>
          <p:spPr bwMode="auto">
            <a:xfrm>
              <a:off x="2024063" y="4353354"/>
              <a:ext cx="149225" cy="80963"/>
            </a:xfrm>
            <a:custGeom>
              <a:avLst/>
              <a:gdLst>
                <a:gd name="T0" fmla="*/ 88 w 94"/>
                <a:gd name="T1" fmla="*/ 4 h 51"/>
                <a:gd name="T2" fmla="*/ 88 w 94"/>
                <a:gd name="T3" fmla="*/ 4 h 51"/>
                <a:gd name="T4" fmla="*/ 81 w 94"/>
                <a:gd name="T5" fmla="*/ 4 h 51"/>
                <a:gd name="T6" fmla="*/ 73 w 94"/>
                <a:gd name="T7" fmla="*/ 3 h 51"/>
                <a:gd name="T8" fmla="*/ 73 w 94"/>
                <a:gd name="T9" fmla="*/ 3 h 51"/>
                <a:gd name="T10" fmla="*/ 68 w 94"/>
                <a:gd name="T11" fmla="*/ 1 h 51"/>
                <a:gd name="T12" fmla="*/ 60 w 94"/>
                <a:gd name="T13" fmla="*/ 0 h 51"/>
                <a:gd name="T14" fmla="*/ 60 w 94"/>
                <a:gd name="T15" fmla="*/ 0 h 51"/>
                <a:gd name="T16" fmla="*/ 55 w 94"/>
                <a:gd name="T17" fmla="*/ 1 h 51"/>
                <a:gd name="T18" fmla="*/ 47 w 94"/>
                <a:gd name="T19" fmla="*/ 1 h 51"/>
                <a:gd name="T20" fmla="*/ 47 w 94"/>
                <a:gd name="T21" fmla="*/ 1 h 51"/>
                <a:gd name="T22" fmla="*/ 26 w 94"/>
                <a:gd name="T23" fmla="*/ 3 h 51"/>
                <a:gd name="T24" fmla="*/ 26 w 94"/>
                <a:gd name="T25" fmla="*/ 3 h 51"/>
                <a:gd name="T26" fmla="*/ 20 w 94"/>
                <a:gd name="T27" fmla="*/ 3 h 51"/>
                <a:gd name="T28" fmla="*/ 14 w 94"/>
                <a:gd name="T29" fmla="*/ 3 h 51"/>
                <a:gd name="T30" fmla="*/ 14 w 94"/>
                <a:gd name="T31" fmla="*/ 3 h 51"/>
                <a:gd name="T32" fmla="*/ 0 w 94"/>
                <a:gd name="T33" fmla="*/ 19 h 51"/>
                <a:gd name="T34" fmla="*/ 24 w 94"/>
                <a:gd name="T35" fmla="*/ 30 h 51"/>
                <a:gd name="T36" fmla="*/ 23 w 94"/>
                <a:gd name="T37" fmla="*/ 43 h 51"/>
                <a:gd name="T38" fmla="*/ 23 w 94"/>
                <a:gd name="T39" fmla="*/ 43 h 51"/>
                <a:gd name="T40" fmla="*/ 27 w 94"/>
                <a:gd name="T41" fmla="*/ 43 h 51"/>
                <a:gd name="T42" fmla="*/ 28 w 94"/>
                <a:gd name="T43" fmla="*/ 43 h 51"/>
                <a:gd name="T44" fmla="*/ 28 w 94"/>
                <a:gd name="T45" fmla="*/ 43 h 51"/>
                <a:gd name="T46" fmla="*/ 28 w 94"/>
                <a:gd name="T47" fmla="*/ 43 h 51"/>
                <a:gd name="T48" fmla="*/ 27 w 94"/>
                <a:gd name="T49" fmla="*/ 46 h 51"/>
                <a:gd name="T50" fmla="*/ 26 w 94"/>
                <a:gd name="T51" fmla="*/ 51 h 51"/>
                <a:gd name="T52" fmla="*/ 26 w 94"/>
                <a:gd name="T53" fmla="*/ 51 h 51"/>
                <a:gd name="T54" fmla="*/ 50 w 94"/>
                <a:gd name="T55" fmla="*/ 35 h 51"/>
                <a:gd name="T56" fmla="*/ 70 w 94"/>
                <a:gd name="T57" fmla="*/ 25 h 51"/>
                <a:gd name="T58" fmla="*/ 70 w 94"/>
                <a:gd name="T59" fmla="*/ 25 h 51"/>
                <a:gd name="T60" fmla="*/ 94 w 94"/>
                <a:gd name="T61" fmla="*/ 14 h 51"/>
                <a:gd name="T62" fmla="*/ 94 w 94"/>
                <a:gd name="T63" fmla="*/ 14 h 51"/>
                <a:gd name="T64" fmla="*/ 92 w 94"/>
                <a:gd name="T65" fmla="*/ 7 h 51"/>
                <a:gd name="T66" fmla="*/ 91 w 94"/>
                <a:gd name="T67" fmla="*/ 4 h 51"/>
                <a:gd name="T68" fmla="*/ 88 w 94"/>
                <a:gd name="T69"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4" h="51">
                  <a:moveTo>
                    <a:pt x="88" y="4"/>
                  </a:moveTo>
                  <a:lnTo>
                    <a:pt x="88" y="4"/>
                  </a:lnTo>
                  <a:lnTo>
                    <a:pt x="81" y="4"/>
                  </a:lnTo>
                  <a:lnTo>
                    <a:pt x="73" y="3"/>
                  </a:lnTo>
                  <a:lnTo>
                    <a:pt x="73" y="3"/>
                  </a:lnTo>
                  <a:lnTo>
                    <a:pt x="68" y="1"/>
                  </a:lnTo>
                  <a:lnTo>
                    <a:pt x="60" y="0"/>
                  </a:lnTo>
                  <a:lnTo>
                    <a:pt x="60" y="0"/>
                  </a:lnTo>
                  <a:lnTo>
                    <a:pt x="55" y="1"/>
                  </a:lnTo>
                  <a:lnTo>
                    <a:pt x="47" y="1"/>
                  </a:lnTo>
                  <a:lnTo>
                    <a:pt x="47" y="1"/>
                  </a:lnTo>
                  <a:lnTo>
                    <a:pt x="26" y="3"/>
                  </a:lnTo>
                  <a:lnTo>
                    <a:pt x="26" y="3"/>
                  </a:lnTo>
                  <a:lnTo>
                    <a:pt x="20" y="3"/>
                  </a:lnTo>
                  <a:lnTo>
                    <a:pt x="14" y="3"/>
                  </a:lnTo>
                  <a:lnTo>
                    <a:pt x="14" y="3"/>
                  </a:lnTo>
                  <a:lnTo>
                    <a:pt x="0" y="19"/>
                  </a:lnTo>
                  <a:lnTo>
                    <a:pt x="24" y="30"/>
                  </a:lnTo>
                  <a:lnTo>
                    <a:pt x="23" y="43"/>
                  </a:lnTo>
                  <a:lnTo>
                    <a:pt x="23" y="43"/>
                  </a:lnTo>
                  <a:lnTo>
                    <a:pt x="27" y="43"/>
                  </a:lnTo>
                  <a:lnTo>
                    <a:pt x="28" y="43"/>
                  </a:lnTo>
                  <a:lnTo>
                    <a:pt x="28" y="43"/>
                  </a:lnTo>
                  <a:lnTo>
                    <a:pt x="28" y="43"/>
                  </a:lnTo>
                  <a:lnTo>
                    <a:pt x="27" y="46"/>
                  </a:lnTo>
                  <a:lnTo>
                    <a:pt x="26" y="51"/>
                  </a:lnTo>
                  <a:lnTo>
                    <a:pt x="26" y="51"/>
                  </a:lnTo>
                  <a:lnTo>
                    <a:pt x="50" y="35"/>
                  </a:lnTo>
                  <a:lnTo>
                    <a:pt x="70" y="25"/>
                  </a:lnTo>
                  <a:lnTo>
                    <a:pt x="70" y="25"/>
                  </a:lnTo>
                  <a:lnTo>
                    <a:pt x="94" y="14"/>
                  </a:lnTo>
                  <a:lnTo>
                    <a:pt x="94" y="14"/>
                  </a:lnTo>
                  <a:lnTo>
                    <a:pt x="92" y="7"/>
                  </a:lnTo>
                  <a:lnTo>
                    <a:pt x="91" y="4"/>
                  </a:lnTo>
                  <a:lnTo>
                    <a:pt x="88"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37" name="Freeform 693"/>
            <p:cNvSpPr>
              <a:spLocks/>
            </p:cNvSpPr>
            <p:nvPr/>
          </p:nvSpPr>
          <p:spPr bwMode="auto">
            <a:xfrm>
              <a:off x="1314450" y="3885042"/>
              <a:ext cx="771525" cy="500063"/>
            </a:xfrm>
            <a:custGeom>
              <a:avLst/>
              <a:gdLst>
                <a:gd name="T0" fmla="*/ 260 w 486"/>
                <a:gd name="T1" fmla="*/ 68 h 315"/>
                <a:gd name="T2" fmla="*/ 234 w 486"/>
                <a:gd name="T3" fmla="*/ 57 h 315"/>
                <a:gd name="T4" fmla="*/ 222 w 486"/>
                <a:gd name="T5" fmla="*/ 69 h 315"/>
                <a:gd name="T6" fmla="*/ 181 w 486"/>
                <a:gd name="T7" fmla="*/ 31 h 315"/>
                <a:gd name="T8" fmla="*/ 138 w 486"/>
                <a:gd name="T9" fmla="*/ 28 h 315"/>
                <a:gd name="T10" fmla="*/ 6 w 486"/>
                <a:gd name="T11" fmla="*/ 18 h 315"/>
                <a:gd name="T12" fmla="*/ 25 w 486"/>
                <a:gd name="T13" fmla="*/ 56 h 315"/>
                <a:gd name="T14" fmla="*/ 47 w 486"/>
                <a:gd name="T15" fmla="*/ 81 h 315"/>
                <a:gd name="T16" fmla="*/ 40 w 486"/>
                <a:gd name="T17" fmla="*/ 92 h 315"/>
                <a:gd name="T18" fmla="*/ 60 w 486"/>
                <a:gd name="T19" fmla="*/ 108 h 315"/>
                <a:gd name="T20" fmla="*/ 74 w 486"/>
                <a:gd name="T21" fmla="*/ 115 h 315"/>
                <a:gd name="T22" fmla="*/ 82 w 486"/>
                <a:gd name="T23" fmla="*/ 140 h 315"/>
                <a:gd name="T24" fmla="*/ 106 w 486"/>
                <a:gd name="T25" fmla="*/ 166 h 315"/>
                <a:gd name="T26" fmla="*/ 116 w 486"/>
                <a:gd name="T27" fmla="*/ 176 h 315"/>
                <a:gd name="T28" fmla="*/ 119 w 486"/>
                <a:gd name="T29" fmla="*/ 162 h 315"/>
                <a:gd name="T30" fmla="*/ 105 w 486"/>
                <a:gd name="T31" fmla="*/ 141 h 315"/>
                <a:gd name="T32" fmla="*/ 93 w 486"/>
                <a:gd name="T33" fmla="*/ 124 h 315"/>
                <a:gd name="T34" fmla="*/ 86 w 486"/>
                <a:gd name="T35" fmla="*/ 107 h 315"/>
                <a:gd name="T36" fmla="*/ 66 w 486"/>
                <a:gd name="T37" fmla="*/ 76 h 315"/>
                <a:gd name="T38" fmla="*/ 38 w 486"/>
                <a:gd name="T39" fmla="*/ 47 h 315"/>
                <a:gd name="T40" fmla="*/ 35 w 486"/>
                <a:gd name="T41" fmla="*/ 26 h 315"/>
                <a:gd name="T42" fmla="*/ 38 w 486"/>
                <a:gd name="T43" fmla="*/ 14 h 315"/>
                <a:gd name="T44" fmla="*/ 57 w 486"/>
                <a:gd name="T45" fmla="*/ 27 h 315"/>
                <a:gd name="T46" fmla="*/ 64 w 486"/>
                <a:gd name="T47" fmla="*/ 33 h 315"/>
                <a:gd name="T48" fmla="*/ 70 w 486"/>
                <a:gd name="T49" fmla="*/ 52 h 315"/>
                <a:gd name="T50" fmla="*/ 80 w 486"/>
                <a:gd name="T51" fmla="*/ 72 h 315"/>
                <a:gd name="T52" fmla="*/ 118 w 486"/>
                <a:gd name="T53" fmla="*/ 104 h 315"/>
                <a:gd name="T54" fmla="*/ 126 w 486"/>
                <a:gd name="T55" fmla="*/ 123 h 315"/>
                <a:gd name="T56" fmla="*/ 155 w 486"/>
                <a:gd name="T57" fmla="*/ 149 h 315"/>
                <a:gd name="T58" fmla="*/ 168 w 486"/>
                <a:gd name="T59" fmla="*/ 165 h 315"/>
                <a:gd name="T60" fmla="*/ 187 w 486"/>
                <a:gd name="T61" fmla="*/ 208 h 315"/>
                <a:gd name="T62" fmla="*/ 181 w 486"/>
                <a:gd name="T63" fmla="*/ 224 h 315"/>
                <a:gd name="T64" fmla="*/ 223 w 486"/>
                <a:gd name="T65" fmla="*/ 256 h 315"/>
                <a:gd name="T66" fmla="*/ 251 w 486"/>
                <a:gd name="T67" fmla="*/ 267 h 315"/>
                <a:gd name="T68" fmla="*/ 296 w 486"/>
                <a:gd name="T69" fmla="*/ 283 h 315"/>
                <a:gd name="T70" fmla="*/ 331 w 486"/>
                <a:gd name="T71" fmla="*/ 296 h 315"/>
                <a:gd name="T72" fmla="*/ 363 w 486"/>
                <a:gd name="T73" fmla="*/ 286 h 315"/>
                <a:gd name="T74" fmla="*/ 384 w 486"/>
                <a:gd name="T75" fmla="*/ 301 h 315"/>
                <a:gd name="T76" fmla="*/ 399 w 486"/>
                <a:gd name="T77" fmla="*/ 305 h 315"/>
                <a:gd name="T78" fmla="*/ 426 w 486"/>
                <a:gd name="T79" fmla="*/ 292 h 315"/>
                <a:gd name="T80" fmla="*/ 413 w 486"/>
                <a:gd name="T81" fmla="*/ 269 h 315"/>
                <a:gd name="T82" fmla="*/ 455 w 486"/>
                <a:gd name="T83" fmla="*/ 257 h 315"/>
                <a:gd name="T84" fmla="*/ 465 w 486"/>
                <a:gd name="T85" fmla="*/ 249 h 315"/>
                <a:gd name="T86" fmla="*/ 475 w 486"/>
                <a:gd name="T87" fmla="*/ 244 h 315"/>
                <a:gd name="T88" fmla="*/ 483 w 486"/>
                <a:gd name="T89" fmla="*/ 215 h 315"/>
                <a:gd name="T90" fmla="*/ 483 w 486"/>
                <a:gd name="T91" fmla="*/ 201 h 315"/>
                <a:gd name="T92" fmla="*/ 470 w 486"/>
                <a:gd name="T93" fmla="*/ 198 h 315"/>
                <a:gd name="T94" fmla="*/ 457 w 486"/>
                <a:gd name="T95" fmla="*/ 199 h 315"/>
                <a:gd name="T96" fmla="*/ 432 w 486"/>
                <a:gd name="T97" fmla="*/ 211 h 315"/>
                <a:gd name="T98" fmla="*/ 425 w 486"/>
                <a:gd name="T99" fmla="*/ 228 h 315"/>
                <a:gd name="T100" fmla="*/ 425 w 486"/>
                <a:gd name="T101" fmla="*/ 234 h 315"/>
                <a:gd name="T102" fmla="*/ 413 w 486"/>
                <a:gd name="T103" fmla="*/ 249 h 315"/>
                <a:gd name="T104" fmla="*/ 393 w 486"/>
                <a:gd name="T105" fmla="*/ 247 h 315"/>
                <a:gd name="T106" fmla="*/ 376 w 486"/>
                <a:gd name="T107" fmla="*/ 250 h 315"/>
                <a:gd name="T108" fmla="*/ 364 w 486"/>
                <a:gd name="T109" fmla="*/ 252 h 315"/>
                <a:gd name="T110" fmla="*/ 339 w 486"/>
                <a:gd name="T111" fmla="*/ 243 h 315"/>
                <a:gd name="T112" fmla="*/ 335 w 486"/>
                <a:gd name="T113" fmla="*/ 231 h 315"/>
                <a:gd name="T114" fmla="*/ 321 w 486"/>
                <a:gd name="T115" fmla="*/ 214 h 315"/>
                <a:gd name="T116" fmla="*/ 316 w 486"/>
                <a:gd name="T117" fmla="*/ 195 h 315"/>
                <a:gd name="T118" fmla="*/ 310 w 486"/>
                <a:gd name="T119" fmla="*/ 175 h 315"/>
                <a:gd name="T120" fmla="*/ 315 w 486"/>
                <a:gd name="T121" fmla="*/ 141 h 315"/>
                <a:gd name="T122" fmla="*/ 299 w 486"/>
                <a:gd name="T123" fmla="*/ 117 h 315"/>
                <a:gd name="T124" fmla="*/ 279 w 486"/>
                <a:gd name="T125" fmla="*/ 95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6" h="315">
                  <a:moveTo>
                    <a:pt x="276" y="91"/>
                  </a:moveTo>
                  <a:lnTo>
                    <a:pt x="276" y="91"/>
                  </a:lnTo>
                  <a:lnTo>
                    <a:pt x="271" y="86"/>
                  </a:lnTo>
                  <a:lnTo>
                    <a:pt x="267" y="79"/>
                  </a:lnTo>
                  <a:lnTo>
                    <a:pt x="264" y="72"/>
                  </a:lnTo>
                  <a:lnTo>
                    <a:pt x="260" y="68"/>
                  </a:lnTo>
                  <a:lnTo>
                    <a:pt x="260" y="68"/>
                  </a:lnTo>
                  <a:lnTo>
                    <a:pt x="254" y="63"/>
                  </a:lnTo>
                  <a:lnTo>
                    <a:pt x="245" y="60"/>
                  </a:lnTo>
                  <a:lnTo>
                    <a:pt x="238" y="57"/>
                  </a:lnTo>
                  <a:lnTo>
                    <a:pt x="234" y="57"/>
                  </a:lnTo>
                  <a:lnTo>
                    <a:pt x="234" y="57"/>
                  </a:lnTo>
                  <a:lnTo>
                    <a:pt x="231" y="59"/>
                  </a:lnTo>
                  <a:lnTo>
                    <a:pt x="229" y="63"/>
                  </a:lnTo>
                  <a:lnTo>
                    <a:pt x="228" y="68"/>
                  </a:lnTo>
                  <a:lnTo>
                    <a:pt x="226" y="70"/>
                  </a:lnTo>
                  <a:lnTo>
                    <a:pt x="226" y="70"/>
                  </a:lnTo>
                  <a:lnTo>
                    <a:pt x="222" y="69"/>
                  </a:lnTo>
                  <a:lnTo>
                    <a:pt x="213" y="63"/>
                  </a:lnTo>
                  <a:lnTo>
                    <a:pt x="205" y="57"/>
                  </a:lnTo>
                  <a:lnTo>
                    <a:pt x="197" y="52"/>
                  </a:lnTo>
                  <a:lnTo>
                    <a:pt x="197" y="52"/>
                  </a:lnTo>
                  <a:lnTo>
                    <a:pt x="187" y="37"/>
                  </a:lnTo>
                  <a:lnTo>
                    <a:pt x="181" y="31"/>
                  </a:lnTo>
                  <a:lnTo>
                    <a:pt x="177" y="27"/>
                  </a:lnTo>
                  <a:lnTo>
                    <a:pt x="177" y="27"/>
                  </a:lnTo>
                  <a:lnTo>
                    <a:pt x="170" y="21"/>
                  </a:lnTo>
                  <a:lnTo>
                    <a:pt x="168" y="18"/>
                  </a:lnTo>
                  <a:lnTo>
                    <a:pt x="142" y="18"/>
                  </a:lnTo>
                  <a:lnTo>
                    <a:pt x="138" y="28"/>
                  </a:lnTo>
                  <a:lnTo>
                    <a:pt x="96" y="28"/>
                  </a:lnTo>
                  <a:lnTo>
                    <a:pt x="37" y="0"/>
                  </a:lnTo>
                  <a:lnTo>
                    <a:pt x="0" y="5"/>
                  </a:lnTo>
                  <a:lnTo>
                    <a:pt x="0" y="5"/>
                  </a:lnTo>
                  <a:lnTo>
                    <a:pt x="6" y="18"/>
                  </a:lnTo>
                  <a:lnTo>
                    <a:pt x="6" y="18"/>
                  </a:lnTo>
                  <a:lnTo>
                    <a:pt x="15" y="33"/>
                  </a:lnTo>
                  <a:lnTo>
                    <a:pt x="19" y="42"/>
                  </a:lnTo>
                  <a:lnTo>
                    <a:pt x="21" y="47"/>
                  </a:lnTo>
                  <a:lnTo>
                    <a:pt x="21" y="47"/>
                  </a:lnTo>
                  <a:lnTo>
                    <a:pt x="22" y="52"/>
                  </a:lnTo>
                  <a:lnTo>
                    <a:pt x="25" y="56"/>
                  </a:lnTo>
                  <a:lnTo>
                    <a:pt x="32" y="62"/>
                  </a:lnTo>
                  <a:lnTo>
                    <a:pt x="32" y="62"/>
                  </a:lnTo>
                  <a:lnTo>
                    <a:pt x="42" y="69"/>
                  </a:lnTo>
                  <a:lnTo>
                    <a:pt x="45" y="75"/>
                  </a:lnTo>
                  <a:lnTo>
                    <a:pt x="47" y="78"/>
                  </a:lnTo>
                  <a:lnTo>
                    <a:pt x="47" y="81"/>
                  </a:lnTo>
                  <a:lnTo>
                    <a:pt x="47" y="81"/>
                  </a:lnTo>
                  <a:lnTo>
                    <a:pt x="44" y="88"/>
                  </a:lnTo>
                  <a:lnTo>
                    <a:pt x="42" y="91"/>
                  </a:lnTo>
                  <a:lnTo>
                    <a:pt x="41" y="91"/>
                  </a:lnTo>
                  <a:lnTo>
                    <a:pt x="41" y="91"/>
                  </a:lnTo>
                  <a:lnTo>
                    <a:pt x="40" y="92"/>
                  </a:lnTo>
                  <a:lnTo>
                    <a:pt x="40" y="94"/>
                  </a:lnTo>
                  <a:lnTo>
                    <a:pt x="44" y="98"/>
                  </a:lnTo>
                  <a:lnTo>
                    <a:pt x="44" y="98"/>
                  </a:lnTo>
                  <a:lnTo>
                    <a:pt x="53" y="104"/>
                  </a:lnTo>
                  <a:lnTo>
                    <a:pt x="57" y="107"/>
                  </a:lnTo>
                  <a:lnTo>
                    <a:pt x="60" y="108"/>
                  </a:lnTo>
                  <a:lnTo>
                    <a:pt x="60" y="108"/>
                  </a:lnTo>
                  <a:lnTo>
                    <a:pt x="63" y="108"/>
                  </a:lnTo>
                  <a:lnTo>
                    <a:pt x="66" y="108"/>
                  </a:lnTo>
                  <a:lnTo>
                    <a:pt x="71" y="113"/>
                  </a:lnTo>
                  <a:lnTo>
                    <a:pt x="71" y="113"/>
                  </a:lnTo>
                  <a:lnTo>
                    <a:pt x="74" y="115"/>
                  </a:lnTo>
                  <a:lnTo>
                    <a:pt x="77" y="120"/>
                  </a:lnTo>
                  <a:lnTo>
                    <a:pt x="79" y="126"/>
                  </a:lnTo>
                  <a:lnTo>
                    <a:pt x="79" y="128"/>
                  </a:lnTo>
                  <a:lnTo>
                    <a:pt x="79" y="128"/>
                  </a:lnTo>
                  <a:lnTo>
                    <a:pt x="80" y="137"/>
                  </a:lnTo>
                  <a:lnTo>
                    <a:pt x="82" y="140"/>
                  </a:lnTo>
                  <a:lnTo>
                    <a:pt x="84" y="143"/>
                  </a:lnTo>
                  <a:lnTo>
                    <a:pt x="84" y="143"/>
                  </a:lnTo>
                  <a:lnTo>
                    <a:pt x="96" y="155"/>
                  </a:lnTo>
                  <a:lnTo>
                    <a:pt x="103" y="160"/>
                  </a:lnTo>
                  <a:lnTo>
                    <a:pt x="106" y="166"/>
                  </a:lnTo>
                  <a:lnTo>
                    <a:pt x="106" y="166"/>
                  </a:lnTo>
                  <a:lnTo>
                    <a:pt x="108" y="169"/>
                  </a:lnTo>
                  <a:lnTo>
                    <a:pt x="111" y="173"/>
                  </a:lnTo>
                  <a:lnTo>
                    <a:pt x="115" y="176"/>
                  </a:lnTo>
                  <a:lnTo>
                    <a:pt x="115" y="178"/>
                  </a:lnTo>
                  <a:lnTo>
                    <a:pt x="116" y="176"/>
                  </a:lnTo>
                  <a:lnTo>
                    <a:pt x="116" y="176"/>
                  </a:lnTo>
                  <a:lnTo>
                    <a:pt x="118" y="175"/>
                  </a:lnTo>
                  <a:lnTo>
                    <a:pt x="121" y="173"/>
                  </a:lnTo>
                  <a:lnTo>
                    <a:pt x="122" y="170"/>
                  </a:lnTo>
                  <a:lnTo>
                    <a:pt x="122" y="168"/>
                  </a:lnTo>
                  <a:lnTo>
                    <a:pt x="122" y="168"/>
                  </a:lnTo>
                  <a:lnTo>
                    <a:pt x="119" y="162"/>
                  </a:lnTo>
                  <a:lnTo>
                    <a:pt x="113" y="156"/>
                  </a:lnTo>
                  <a:lnTo>
                    <a:pt x="102" y="146"/>
                  </a:lnTo>
                  <a:lnTo>
                    <a:pt x="102" y="146"/>
                  </a:lnTo>
                  <a:lnTo>
                    <a:pt x="102" y="144"/>
                  </a:lnTo>
                  <a:lnTo>
                    <a:pt x="103" y="144"/>
                  </a:lnTo>
                  <a:lnTo>
                    <a:pt x="105" y="141"/>
                  </a:lnTo>
                  <a:lnTo>
                    <a:pt x="103" y="139"/>
                  </a:lnTo>
                  <a:lnTo>
                    <a:pt x="103" y="139"/>
                  </a:lnTo>
                  <a:lnTo>
                    <a:pt x="96" y="130"/>
                  </a:lnTo>
                  <a:lnTo>
                    <a:pt x="93" y="127"/>
                  </a:lnTo>
                  <a:lnTo>
                    <a:pt x="93" y="124"/>
                  </a:lnTo>
                  <a:lnTo>
                    <a:pt x="93" y="124"/>
                  </a:lnTo>
                  <a:lnTo>
                    <a:pt x="95" y="123"/>
                  </a:lnTo>
                  <a:lnTo>
                    <a:pt x="96" y="123"/>
                  </a:lnTo>
                  <a:lnTo>
                    <a:pt x="97" y="121"/>
                  </a:lnTo>
                  <a:lnTo>
                    <a:pt x="95" y="118"/>
                  </a:lnTo>
                  <a:lnTo>
                    <a:pt x="95" y="118"/>
                  </a:lnTo>
                  <a:lnTo>
                    <a:pt x="86" y="107"/>
                  </a:lnTo>
                  <a:lnTo>
                    <a:pt x="80" y="98"/>
                  </a:lnTo>
                  <a:lnTo>
                    <a:pt x="80" y="98"/>
                  </a:lnTo>
                  <a:lnTo>
                    <a:pt x="74" y="91"/>
                  </a:lnTo>
                  <a:lnTo>
                    <a:pt x="70" y="82"/>
                  </a:lnTo>
                  <a:lnTo>
                    <a:pt x="70" y="82"/>
                  </a:lnTo>
                  <a:lnTo>
                    <a:pt x="66" y="76"/>
                  </a:lnTo>
                  <a:lnTo>
                    <a:pt x="61" y="70"/>
                  </a:lnTo>
                  <a:lnTo>
                    <a:pt x="53" y="60"/>
                  </a:lnTo>
                  <a:lnTo>
                    <a:pt x="53" y="60"/>
                  </a:lnTo>
                  <a:lnTo>
                    <a:pt x="44" y="53"/>
                  </a:lnTo>
                  <a:lnTo>
                    <a:pt x="40" y="50"/>
                  </a:lnTo>
                  <a:lnTo>
                    <a:pt x="38" y="47"/>
                  </a:lnTo>
                  <a:lnTo>
                    <a:pt x="38" y="47"/>
                  </a:lnTo>
                  <a:lnTo>
                    <a:pt x="38" y="39"/>
                  </a:lnTo>
                  <a:lnTo>
                    <a:pt x="35" y="30"/>
                  </a:lnTo>
                  <a:lnTo>
                    <a:pt x="35" y="30"/>
                  </a:lnTo>
                  <a:lnTo>
                    <a:pt x="35" y="27"/>
                  </a:lnTo>
                  <a:lnTo>
                    <a:pt x="35" y="26"/>
                  </a:lnTo>
                  <a:lnTo>
                    <a:pt x="35" y="23"/>
                  </a:lnTo>
                  <a:lnTo>
                    <a:pt x="35" y="20"/>
                  </a:lnTo>
                  <a:lnTo>
                    <a:pt x="35" y="20"/>
                  </a:lnTo>
                  <a:lnTo>
                    <a:pt x="35" y="17"/>
                  </a:lnTo>
                  <a:lnTo>
                    <a:pt x="37" y="15"/>
                  </a:lnTo>
                  <a:lnTo>
                    <a:pt x="38" y="14"/>
                  </a:lnTo>
                  <a:lnTo>
                    <a:pt x="38" y="14"/>
                  </a:lnTo>
                  <a:lnTo>
                    <a:pt x="38" y="14"/>
                  </a:lnTo>
                  <a:lnTo>
                    <a:pt x="44" y="18"/>
                  </a:lnTo>
                  <a:lnTo>
                    <a:pt x="47" y="21"/>
                  </a:lnTo>
                  <a:lnTo>
                    <a:pt x="47" y="21"/>
                  </a:lnTo>
                  <a:lnTo>
                    <a:pt x="57" y="27"/>
                  </a:lnTo>
                  <a:lnTo>
                    <a:pt x="57" y="27"/>
                  </a:lnTo>
                  <a:lnTo>
                    <a:pt x="60" y="28"/>
                  </a:lnTo>
                  <a:lnTo>
                    <a:pt x="63" y="28"/>
                  </a:lnTo>
                  <a:lnTo>
                    <a:pt x="63" y="30"/>
                  </a:lnTo>
                  <a:lnTo>
                    <a:pt x="64" y="33"/>
                  </a:lnTo>
                  <a:lnTo>
                    <a:pt x="64" y="33"/>
                  </a:lnTo>
                  <a:lnTo>
                    <a:pt x="64" y="40"/>
                  </a:lnTo>
                  <a:lnTo>
                    <a:pt x="66" y="43"/>
                  </a:lnTo>
                  <a:lnTo>
                    <a:pt x="67" y="44"/>
                  </a:lnTo>
                  <a:lnTo>
                    <a:pt x="67" y="44"/>
                  </a:lnTo>
                  <a:lnTo>
                    <a:pt x="69" y="47"/>
                  </a:lnTo>
                  <a:lnTo>
                    <a:pt x="70" y="52"/>
                  </a:lnTo>
                  <a:lnTo>
                    <a:pt x="71" y="57"/>
                  </a:lnTo>
                  <a:lnTo>
                    <a:pt x="74" y="60"/>
                  </a:lnTo>
                  <a:lnTo>
                    <a:pt x="74" y="60"/>
                  </a:lnTo>
                  <a:lnTo>
                    <a:pt x="76" y="63"/>
                  </a:lnTo>
                  <a:lnTo>
                    <a:pt x="79" y="68"/>
                  </a:lnTo>
                  <a:lnTo>
                    <a:pt x="80" y="72"/>
                  </a:lnTo>
                  <a:lnTo>
                    <a:pt x="84" y="76"/>
                  </a:lnTo>
                  <a:lnTo>
                    <a:pt x="84" y="76"/>
                  </a:lnTo>
                  <a:lnTo>
                    <a:pt x="92" y="84"/>
                  </a:lnTo>
                  <a:lnTo>
                    <a:pt x="102" y="91"/>
                  </a:lnTo>
                  <a:lnTo>
                    <a:pt x="102" y="91"/>
                  </a:lnTo>
                  <a:lnTo>
                    <a:pt x="118" y="104"/>
                  </a:lnTo>
                  <a:lnTo>
                    <a:pt x="124" y="110"/>
                  </a:lnTo>
                  <a:lnTo>
                    <a:pt x="126" y="113"/>
                  </a:lnTo>
                  <a:lnTo>
                    <a:pt x="126" y="113"/>
                  </a:lnTo>
                  <a:lnTo>
                    <a:pt x="125" y="117"/>
                  </a:lnTo>
                  <a:lnTo>
                    <a:pt x="125" y="120"/>
                  </a:lnTo>
                  <a:lnTo>
                    <a:pt x="126" y="123"/>
                  </a:lnTo>
                  <a:lnTo>
                    <a:pt x="126" y="123"/>
                  </a:lnTo>
                  <a:lnTo>
                    <a:pt x="134" y="128"/>
                  </a:lnTo>
                  <a:lnTo>
                    <a:pt x="142" y="136"/>
                  </a:lnTo>
                  <a:lnTo>
                    <a:pt x="142" y="136"/>
                  </a:lnTo>
                  <a:lnTo>
                    <a:pt x="153" y="144"/>
                  </a:lnTo>
                  <a:lnTo>
                    <a:pt x="155" y="149"/>
                  </a:lnTo>
                  <a:lnTo>
                    <a:pt x="158" y="152"/>
                  </a:lnTo>
                  <a:lnTo>
                    <a:pt x="158" y="152"/>
                  </a:lnTo>
                  <a:lnTo>
                    <a:pt x="158" y="155"/>
                  </a:lnTo>
                  <a:lnTo>
                    <a:pt x="161" y="157"/>
                  </a:lnTo>
                  <a:lnTo>
                    <a:pt x="168" y="165"/>
                  </a:lnTo>
                  <a:lnTo>
                    <a:pt x="168" y="165"/>
                  </a:lnTo>
                  <a:lnTo>
                    <a:pt x="173" y="169"/>
                  </a:lnTo>
                  <a:lnTo>
                    <a:pt x="176" y="175"/>
                  </a:lnTo>
                  <a:lnTo>
                    <a:pt x="181" y="185"/>
                  </a:lnTo>
                  <a:lnTo>
                    <a:pt x="181" y="185"/>
                  </a:lnTo>
                  <a:lnTo>
                    <a:pt x="186" y="198"/>
                  </a:lnTo>
                  <a:lnTo>
                    <a:pt x="187" y="208"/>
                  </a:lnTo>
                  <a:lnTo>
                    <a:pt x="187" y="208"/>
                  </a:lnTo>
                  <a:lnTo>
                    <a:pt x="183" y="214"/>
                  </a:lnTo>
                  <a:lnTo>
                    <a:pt x="181" y="217"/>
                  </a:lnTo>
                  <a:lnTo>
                    <a:pt x="181" y="220"/>
                  </a:lnTo>
                  <a:lnTo>
                    <a:pt x="181" y="220"/>
                  </a:lnTo>
                  <a:lnTo>
                    <a:pt x="181" y="224"/>
                  </a:lnTo>
                  <a:lnTo>
                    <a:pt x="183" y="228"/>
                  </a:lnTo>
                  <a:lnTo>
                    <a:pt x="189" y="233"/>
                  </a:lnTo>
                  <a:lnTo>
                    <a:pt x="189" y="233"/>
                  </a:lnTo>
                  <a:lnTo>
                    <a:pt x="206" y="244"/>
                  </a:lnTo>
                  <a:lnTo>
                    <a:pt x="223" y="256"/>
                  </a:lnTo>
                  <a:lnTo>
                    <a:pt x="223" y="256"/>
                  </a:lnTo>
                  <a:lnTo>
                    <a:pt x="229" y="257"/>
                  </a:lnTo>
                  <a:lnTo>
                    <a:pt x="235" y="259"/>
                  </a:lnTo>
                  <a:lnTo>
                    <a:pt x="239" y="260"/>
                  </a:lnTo>
                  <a:lnTo>
                    <a:pt x="244" y="262"/>
                  </a:lnTo>
                  <a:lnTo>
                    <a:pt x="244" y="262"/>
                  </a:lnTo>
                  <a:lnTo>
                    <a:pt x="251" y="267"/>
                  </a:lnTo>
                  <a:lnTo>
                    <a:pt x="261" y="270"/>
                  </a:lnTo>
                  <a:lnTo>
                    <a:pt x="261" y="270"/>
                  </a:lnTo>
                  <a:lnTo>
                    <a:pt x="280" y="276"/>
                  </a:lnTo>
                  <a:lnTo>
                    <a:pt x="290" y="281"/>
                  </a:lnTo>
                  <a:lnTo>
                    <a:pt x="296" y="283"/>
                  </a:lnTo>
                  <a:lnTo>
                    <a:pt x="296" y="283"/>
                  </a:lnTo>
                  <a:lnTo>
                    <a:pt x="303" y="289"/>
                  </a:lnTo>
                  <a:lnTo>
                    <a:pt x="307" y="292"/>
                  </a:lnTo>
                  <a:lnTo>
                    <a:pt x="312" y="292"/>
                  </a:lnTo>
                  <a:lnTo>
                    <a:pt x="312" y="292"/>
                  </a:lnTo>
                  <a:lnTo>
                    <a:pt x="323" y="296"/>
                  </a:lnTo>
                  <a:lnTo>
                    <a:pt x="331" y="296"/>
                  </a:lnTo>
                  <a:lnTo>
                    <a:pt x="335" y="296"/>
                  </a:lnTo>
                  <a:lnTo>
                    <a:pt x="335" y="296"/>
                  </a:lnTo>
                  <a:lnTo>
                    <a:pt x="348" y="289"/>
                  </a:lnTo>
                  <a:lnTo>
                    <a:pt x="355" y="286"/>
                  </a:lnTo>
                  <a:lnTo>
                    <a:pt x="360" y="285"/>
                  </a:lnTo>
                  <a:lnTo>
                    <a:pt x="363" y="286"/>
                  </a:lnTo>
                  <a:lnTo>
                    <a:pt x="363" y="286"/>
                  </a:lnTo>
                  <a:lnTo>
                    <a:pt x="371" y="289"/>
                  </a:lnTo>
                  <a:lnTo>
                    <a:pt x="377" y="292"/>
                  </a:lnTo>
                  <a:lnTo>
                    <a:pt x="377" y="292"/>
                  </a:lnTo>
                  <a:lnTo>
                    <a:pt x="380" y="295"/>
                  </a:lnTo>
                  <a:lnTo>
                    <a:pt x="384" y="301"/>
                  </a:lnTo>
                  <a:lnTo>
                    <a:pt x="389" y="307"/>
                  </a:lnTo>
                  <a:lnTo>
                    <a:pt x="394" y="312"/>
                  </a:lnTo>
                  <a:lnTo>
                    <a:pt x="394" y="312"/>
                  </a:lnTo>
                  <a:lnTo>
                    <a:pt x="397" y="315"/>
                  </a:lnTo>
                  <a:lnTo>
                    <a:pt x="397" y="315"/>
                  </a:lnTo>
                  <a:lnTo>
                    <a:pt x="399" y="305"/>
                  </a:lnTo>
                  <a:lnTo>
                    <a:pt x="402" y="299"/>
                  </a:lnTo>
                  <a:lnTo>
                    <a:pt x="402" y="299"/>
                  </a:lnTo>
                  <a:lnTo>
                    <a:pt x="406" y="298"/>
                  </a:lnTo>
                  <a:lnTo>
                    <a:pt x="413" y="296"/>
                  </a:lnTo>
                  <a:lnTo>
                    <a:pt x="420" y="295"/>
                  </a:lnTo>
                  <a:lnTo>
                    <a:pt x="426" y="292"/>
                  </a:lnTo>
                  <a:lnTo>
                    <a:pt x="426" y="292"/>
                  </a:lnTo>
                  <a:lnTo>
                    <a:pt x="426" y="289"/>
                  </a:lnTo>
                  <a:lnTo>
                    <a:pt x="425" y="288"/>
                  </a:lnTo>
                  <a:lnTo>
                    <a:pt x="420" y="281"/>
                  </a:lnTo>
                  <a:lnTo>
                    <a:pt x="416" y="275"/>
                  </a:lnTo>
                  <a:lnTo>
                    <a:pt x="413" y="269"/>
                  </a:lnTo>
                  <a:lnTo>
                    <a:pt x="413" y="269"/>
                  </a:lnTo>
                  <a:lnTo>
                    <a:pt x="413" y="262"/>
                  </a:lnTo>
                  <a:lnTo>
                    <a:pt x="413" y="260"/>
                  </a:lnTo>
                  <a:lnTo>
                    <a:pt x="452" y="260"/>
                  </a:lnTo>
                  <a:lnTo>
                    <a:pt x="452" y="260"/>
                  </a:lnTo>
                  <a:lnTo>
                    <a:pt x="455" y="257"/>
                  </a:lnTo>
                  <a:lnTo>
                    <a:pt x="460" y="254"/>
                  </a:lnTo>
                  <a:lnTo>
                    <a:pt x="464" y="253"/>
                  </a:lnTo>
                  <a:lnTo>
                    <a:pt x="464" y="253"/>
                  </a:lnTo>
                  <a:lnTo>
                    <a:pt x="462" y="249"/>
                  </a:lnTo>
                  <a:lnTo>
                    <a:pt x="464" y="247"/>
                  </a:lnTo>
                  <a:lnTo>
                    <a:pt x="465" y="249"/>
                  </a:lnTo>
                  <a:lnTo>
                    <a:pt x="465" y="249"/>
                  </a:lnTo>
                  <a:lnTo>
                    <a:pt x="470" y="252"/>
                  </a:lnTo>
                  <a:lnTo>
                    <a:pt x="474" y="249"/>
                  </a:lnTo>
                  <a:lnTo>
                    <a:pt x="474" y="249"/>
                  </a:lnTo>
                  <a:lnTo>
                    <a:pt x="474" y="247"/>
                  </a:lnTo>
                  <a:lnTo>
                    <a:pt x="475" y="244"/>
                  </a:lnTo>
                  <a:lnTo>
                    <a:pt x="475" y="236"/>
                  </a:lnTo>
                  <a:lnTo>
                    <a:pt x="475" y="227"/>
                  </a:lnTo>
                  <a:lnTo>
                    <a:pt x="477" y="223"/>
                  </a:lnTo>
                  <a:lnTo>
                    <a:pt x="478" y="221"/>
                  </a:lnTo>
                  <a:lnTo>
                    <a:pt x="478" y="221"/>
                  </a:lnTo>
                  <a:lnTo>
                    <a:pt x="483" y="215"/>
                  </a:lnTo>
                  <a:lnTo>
                    <a:pt x="486" y="210"/>
                  </a:lnTo>
                  <a:lnTo>
                    <a:pt x="486" y="210"/>
                  </a:lnTo>
                  <a:lnTo>
                    <a:pt x="486" y="204"/>
                  </a:lnTo>
                  <a:lnTo>
                    <a:pt x="484" y="202"/>
                  </a:lnTo>
                  <a:lnTo>
                    <a:pt x="483" y="201"/>
                  </a:lnTo>
                  <a:lnTo>
                    <a:pt x="483" y="201"/>
                  </a:lnTo>
                  <a:lnTo>
                    <a:pt x="478" y="202"/>
                  </a:lnTo>
                  <a:lnTo>
                    <a:pt x="475" y="202"/>
                  </a:lnTo>
                  <a:lnTo>
                    <a:pt x="474" y="202"/>
                  </a:lnTo>
                  <a:lnTo>
                    <a:pt x="474" y="202"/>
                  </a:lnTo>
                  <a:lnTo>
                    <a:pt x="471" y="199"/>
                  </a:lnTo>
                  <a:lnTo>
                    <a:pt x="470" y="198"/>
                  </a:lnTo>
                  <a:lnTo>
                    <a:pt x="468" y="198"/>
                  </a:lnTo>
                  <a:lnTo>
                    <a:pt x="468" y="198"/>
                  </a:lnTo>
                  <a:lnTo>
                    <a:pt x="462" y="199"/>
                  </a:lnTo>
                  <a:lnTo>
                    <a:pt x="460" y="201"/>
                  </a:lnTo>
                  <a:lnTo>
                    <a:pt x="457" y="199"/>
                  </a:lnTo>
                  <a:lnTo>
                    <a:pt x="457" y="199"/>
                  </a:lnTo>
                  <a:lnTo>
                    <a:pt x="452" y="199"/>
                  </a:lnTo>
                  <a:lnTo>
                    <a:pt x="445" y="199"/>
                  </a:lnTo>
                  <a:lnTo>
                    <a:pt x="445" y="199"/>
                  </a:lnTo>
                  <a:lnTo>
                    <a:pt x="442" y="202"/>
                  </a:lnTo>
                  <a:lnTo>
                    <a:pt x="438" y="205"/>
                  </a:lnTo>
                  <a:lnTo>
                    <a:pt x="432" y="211"/>
                  </a:lnTo>
                  <a:lnTo>
                    <a:pt x="432" y="211"/>
                  </a:lnTo>
                  <a:lnTo>
                    <a:pt x="428" y="217"/>
                  </a:lnTo>
                  <a:lnTo>
                    <a:pt x="426" y="221"/>
                  </a:lnTo>
                  <a:lnTo>
                    <a:pt x="425" y="224"/>
                  </a:lnTo>
                  <a:lnTo>
                    <a:pt x="425" y="224"/>
                  </a:lnTo>
                  <a:lnTo>
                    <a:pt x="425" y="228"/>
                  </a:lnTo>
                  <a:lnTo>
                    <a:pt x="425" y="230"/>
                  </a:lnTo>
                  <a:lnTo>
                    <a:pt x="423" y="231"/>
                  </a:lnTo>
                  <a:lnTo>
                    <a:pt x="423" y="231"/>
                  </a:lnTo>
                  <a:lnTo>
                    <a:pt x="423" y="231"/>
                  </a:lnTo>
                  <a:lnTo>
                    <a:pt x="423" y="233"/>
                  </a:lnTo>
                  <a:lnTo>
                    <a:pt x="425" y="234"/>
                  </a:lnTo>
                  <a:lnTo>
                    <a:pt x="425" y="236"/>
                  </a:lnTo>
                  <a:lnTo>
                    <a:pt x="425" y="236"/>
                  </a:lnTo>
                  <a:lnTo>
                    <a:pt x="422" y="239"/>
                  </a:lnTo>
                  <a:lnTo>
                    <a:pt x="419" y="243"/>
                  </a:lnTo>
                  <a:lnTo>
                    <a:pt x="416" y="247"/>
                  </a:lnTo>
                  <a:lnTo>
                    <a:pt x="413" y="249"/>
                  </a:lnTo>
                  <a:lnTo>
                    <a:pt x="409" y="249"/>
                  </a:lnTo>
                  <a:lnTo>
                    <a:pt x="409" y="249"/>
                  </a:lnTo>
                  <a:lnTo>
                    <a:pt x="399" y="246"/>
                  </a:lnTo>
                  <a:lnTo>
                    <a:pt x="394" y="246"/>
                  </a:lnTo>
                  <a:lnTo>
                    <a:pt x="393" y="247"/>
                  </a:lnTo>
                  <a:lnTo>
                    <a:pt x="393" y="247"/>
                  </a:lnTo>
                  <a:lnTo>
                    <a:pt x="390" y="252"/>
                  </a:lnTo>
                  <a:lnTo>
                    <a:pt x="389" y="252"/>
                  </a:lnTo>
                  <a:lnTo>
                    <a:pt x="386" y="252"/>
                  </a:lnTo>
                  <a:lnTo>
                    <a:pt x="386" y="252"/>
                  </a:lnTo>
                  <a:lnTo>
                    <a:pt x="378" y="250"/>
                  </a:lnTo>
                  <a:lnTo>
                    <a:pt x="376" y="250"/>
                  </a:lnTo>
                  <a:lnTo>
                    <a:pt x="376" y="250"/>
                  </a:lnTo>
                  <a:lnTo>
                    <a:pt x="371" y="253"/>
                  </a:lnTo>
                  <a:lnTo>
                    <a:pt x="370" y="254"/>
                  </a:lnTo>
                  <a:lnTo>
                    <a:pt x="367" y="254"/>
                  </a:lnTo>
                  <a:lnTo>
                    <a:pt x="367" y="254"/>
                  </a:lnTo>
                  <a:lnTo>
                    <a:pt x="364" y="252"/>
                  </a:lnTo>
                  <a:lnTo>
                    <a:pt x="360" y="250"/>
                  </a:lnTo>
                  <a:lnTo>
                    <a:pt x="360" y="250"/>
                  </a:lnTo>
                  <a:lnTo>
                    <a:pt x="348" y="247"/>
                  </a:lnTo>
                  <a:lnTo>
                    <a:pt x="342" y="246"/>
                  </a:lnTo>
                  <a:lnTo>
                    <a:pt x="341" y="244"/>
                  </a:lnTo>
                  <a:lnTo>
                    <a:pt x="339" y="243"/>
                  </a:lnTo>
                  <a:lnTo>
                    <a:pt x="339" y="243"/>
                  </a:lnTo>
                  <a:lnTo>
                    <a:pt x="339" y="240"/>
                  </a:lnTo>
                  <a:lnTo>
                    <a:pt x="338" y="237"/>
                  </a:lnTo>
                  <a:lnTo>
                    <a:pt x="338" y="237"/>
                  </a:lnTo>
                  <a:lnTo>
                    <a:pt x="335" y="234"/>
                  </a:lnTo>
                  <a:lnTo>
                    <a:pt x="335" y="231"/>
                  </a:lnTo>
                  <a:lnTo>
                    <a:pt x="334" y="225"/>
                  </a:lnTo>
                  <a:lnTo>
                    <a:pt x="334" y="225"/>
                  </a:lnTo>
                  <a:lnTo>
                    <a:pt x="331" y="223"/>
                  </a:lnTo>
                  <a:lnTo>
                    <a:pt x="326" y="220"/>
                  </a:lnTo>
                  <a:lnTo>
                    <a:pt x="322" y="215"/>
                  </a:lnTo>
                  <a:lnTo>
                    <a:pt x="321" y="214"/>
                  </a:lnTo>
                  <a:lnTo>
                    <a:pt x="319" y="211"/>
                  </a:lnTo>
                  <a:lnTo>
                    <a:pt x="319" y="211"/>
                  </a:lnTo>
                  <a:lnTo>
                    <a:pt x="319" y="207"/>
                  </a:lnTo>
                  <a:lnTo>
                    <a:pt x="319" y="202"/>
                  </a:lnTo>
                  <a:lnTo>
                    <a:pt x="319" y="199"/>
                  </a:lnTo>
                  <a:lnTo>
                    <a:pt x="316" y="195"/>
                  </a:lnTo>
                  <a:lnTo>
                    <a:pt x="316" y="195"/>
                  </a:lnTo>
                  <a:lnTo>
                    <a:pt x="310" y="186"/>
                  </a:lnTo>
                  <a:lnTo>
                    <a:pt x="310" y="182"/>
                  </a:lnTo>
                  <a:lnTo>
                    <a:pt x="310" y="179"/>
                  </a:lnTo>
                  <a:lnTo>
                    <a:pt x="310" y="179"/>
                  </a:lnTo>
                  <a:lnTo>
                    <a:pt x="310" y="175"/>
                  </a:lnTo>
                  <a:lnTo>
                    <a:pt x="309" y="169"/>
                  </a:lnTo>
                  <a:lnTo>
                    <a:pt x="307" y="163"/>
                  </a:lnTo>
                  <a:lnTo>
                    <a:pt x="309" y="157"/>
                  </a:lnTo>
                  <a:lnTo>
                    <a:pt x="309" y="157"/>
                  </a:lnTo>
                  <a:lnTo>
                    <a:pt x="313" y="147"/>
                  </a:lnTo>
                  <a:lnTo>
                    <a:pt x="315" y="141"/>
                  </a:lnTo>
                  <a:lnTo>
                    <a:pt x="318" y="137"/>
                  </a:lnTo>
                  <a:lnTo>
                    <a:pt x="318" y="137"/>
                  </a:lnTo>
                  <a:lnTo>
                    <a:pt x="319" y="131"/>
                  </a:lnTo>
                  <a:lnTo>
                    <a:pt x="321" y="123"/>
                  </a:lnTo>
                  <a:lnTo>
                    <a:pt x="321" y="123"/>
                  </a:lnTo>
                  <a:lnTo>
                    <a:pt x="299" y="117"/>
                  </a:lnTo>
                  <a:lnTo>
                    <a:pt x="292" y="114"/>
                  </a:lnTo>
                  <a:lnTo>
                    <a:pt x="287" y="111"/>
                  </a:lnTo>
                  <a:lnTo>
                    <a:pt x="287" y="111"/>
                  </a:lnTo>
                  <a:lnTo>
                    <a:pt x="284" y="107"/>
                  </a:lnTo>
                  <a:lnTo>
                    <a:pt x="281" y="101"/>
                  </a:lnTo>
                  <a:lnTo>
                    <a:pt x="279" y="95"/>
                  </a:lnTo>
                  <a:lnTo>
                    <a:pt x="276" y="91"/>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38" name="Freeform 694"/>
            <p:cNvSpPr>
              <a:spLocks/>
            </p:cNvSpPr>
            <p:nvPr/>
          </p:nvSpPr>
          <p:spPr bwMode="auto">
            <a:xfrm>
              <a:off x="1314450" y="3885042"/>
              <a:ext cx="771525" cy="500063"/>
            </a:xfrm>
            <a:custGeom>
              <a:avLst/>
              <a:gdLst>
                <a:gd name="T0" fmla="*/ 260 w 486"/>
                <a:gd name="T1" fmla="*/ 68 h 315"/>
                <a:gd name="T2" fmla="*/ 234 w 486"/>
                <a:gd name="T3" fmla="*/ 57 h 315"/>
                <a:gd name="T4" fmla="*/ 222 w 486"/>
                <a:gd name="T5" fmla="*/ 69 h 315"/>
                <a:gd name="T6" fmla="*/ 181 w 486"/>
                <a:gd name="T7" fmla="*/ 31 h 315"/>
                <a:gd name="T8" fmla="*/ 138 w 486"/>
                <a:gd name="T9" fmla="*/ 28 h 315"/>
                <a:gd name="T10" fmla="*/ 6 w 486"/>
                <a:gd name="T11" fmla="*/ 18 h 315"/>
                <a:gd name="T12" fmla="*/ 25 w 486"/>
                <a:gd name="T13" fmla="*/ 56 h 315"/>
                <a:gd name="T14" fmla="*/ 47 w 486"/>
                <a:gd name="T15" fmla="*/ 81 h 315"/>
                <a:gd name="T16" fmla="*/ 40 w 486"/>
                <a:gd name="T17" fmla="*/ 92 h 315"/>
                <a:gd name="T18" fmla="*/ 60 w 486"/>
                <a:gd name="T19" fmla="*/ 108 h 315"/>
                <a:gd name="T20" fmla="*/ 74 w 486"/>
                <a:gd name="T21" fmla="*/ 115 h 315"/>
                <a:gd name="T22" fmla="*/ 82 w 486"/>
                <a:gd name="T23" fmla="*/ 140 h 315"/>
                <a:gd name="T24" fmla="*/ 106 w 486"/>
                <a:gd name="T25" fmla="*/ 166 h 315"/>
                <a:gd name="T26" fmla="*/ 116 w 486"/>
                <a:gd name="T27" fmla="*/ 176 h 315"/>
                <a:gd name="T28" fmla="*/ 119 w 486"/>
                <a:gd name="T29" fmla="*/ 162 h 315"/>
                <a:gd name="T30" fmla="*/ 105 w 486"/>
                <a:gd name="T31" fmla="*/ 141 h 315"/>
                <a:gd name="T32" fmla="*/ 93 w 486"/>
                <a:gd name="T33" fmla="*/ 124 h 315"/>
                <a:gd name="T34" fmla="*/ 86 w 486"/>
                <a:gd name="T35" fmla="*/ 107 h 315"/>
                <a:gd name="T36" fmla="*/ 66 w 486"/>
                <a:gd name="T37" fmla="*/ 76 h 315"/>
                <a:gd name="T38" fmla="*/ 38 w 486"/>
                <a:gd name="T39" fmla="*/ 47 h 315"/>
                <a:gd name="T40" fmla="*/ 35 w 486"/>
                <a:gd name="T41" fmla="*/ 26 h 315"/>
                <a:gd name="T42" fmla="*/ 38 w 486"/>
                <a:gd name="T43" fmla="*/ 14 h 315"/>
                <a:gd name="T44" fmla="*/ 57 w 486"/>
                <a:gd name="T45" fmla="*/ 27 h 315"/>
                <a:gd name="T46" fmla="*/ 64 w 486"/>
                <a:gd name="T47" fmla="*/ 33 h 315"/>
                <a:gd name="T48" fmla="*/ 70 w 486"/>
                <a:gd name="T49" fmla="*/ 52 h 315"/>
                <a:gd name="T50" fmla="*/ 80 w 486"/>
                <a:gd name="T51" fmla="*/ 72 h 315"/>
                <a:gd name="T52" fmla="*/ 118 w 486"/>
                <a:gd name="T53" fmla="*/ 104 h 315"/>
                <a:gd name="T54" fmla="*/ 126 w 486"/>
                <a:gd name="T55" fmla="*/ 123 h 315"/>
                <a:gd name="T56" fmla="*/ 155 w 486"/>
                <a:gd name="T57" fmla="*/ 149 h 315"/>
                <a:gd name="T58" fmla="*/ 168 w 486"/>
                <a:gd name="T59" fmla="*/ 165 h 315"/>
                <a:gd name="T60" fmla="*/ 187 w 486"/>
                <a:gd name="T61" fmla="*/ 208 h 315"/>
                <a:gd name="T62" fmla="*/ 181 w 486"/>
                <a:gd name="T63" fmla="*/ 224 h 315"/>
                <a:gd name="T64" fmla="*/ 223 w 486"/>
                <a:gd name="T65" fmla="*/ 256 h 315"/>
                <a:gd name="T66" fmla="*/ 251 w 486"/>
                <a:gd name="T67" fmla="*/ 267 h 315"/>
                <a:gd name="T68" fmla="*/ 296 w 486"/>
                <a:gd name="T69" fmla="*/ 283 h 315"/>
                <a:gd name="T70" fmla="*/ 331 w 486"/>
                <a:gd name="T71" fmla="*/ 296 h 315"/>
                <a:gd name="T72" fmla="*/ 363 w 486"/>
                <a:gd name="T73" fmla="*/ 286 h 315"/>
                <a:gd name="T74" fmla="*/ 384 w 486"/>
                <a:gd name="T75" fmla="*/ 301 h 315"/>
                <a:gd name="T76" fmla="*/ 399 w 486"/>
                <a:gd name="T77" fmla="*/ 305 h 315"/>
                <a:gd name="T78" fmla="*/ 426 w 486"/>
                <a:gd name="T79" fmla="*/ 292 h 315"/>
                <a:gd name="T80" fmla="*/ 413 w 486"/>
                <a:gd name="T81" fmla="*/ 269 h 315"/>
                <a:gd name="T82" fmla="*/ 455 w 486"/>
                <a:gd name="T83" fmla="*/ 257 h 315"/>
                <a:gd name="T84" fmla="*/ 465 w 486"/>
                <a:gd name="T85" fmla="*/ 249 h 315"/>
                <a:gd name="T86" fmla="*/ 475 w 486"/>
                <a:gd name="T87" fmla="*/ 244 h 315"/>
                <a:gd name="T88" fmla="*/ 483 w 486"/>
                <a:gd name="T89" fmla="*/ 215 h 315"/>
                <a:gd name="T90" fmla="*/ 483 w 486"/>
                <a:gd name="T91" fmla="*/ 201 h 315"/>
                <a:gd name="T92" fmla="*/ 470 w 486"/>
                <a:gd name="T93" fmla="*/ 198 h 315"/>
                <a:gd name="T94" fmla="*/ 457 w 486"/>
                <a:gd name="T95" fmla="*/ 199 h 315"/>
                <a:gd name="T96" fmla="*/ 432 w 486"/>
                <a:gd name="T97" fmla="*/ 211 h 315"/>
                <a:gd name="T98" fmla="*/ 425 w 486"/>
                <a:gd name="T99" fmla="*/ 228 h 315"/>
                <a:gd name="T100" fmla="*/ 425 w 486"/>
                <a:gd name="T101" fmla="*/ 234 h 315"/>
                <a:gd name="T102" fmla="*/ 413 w 486"/>
                <a:gd name="T103" fmla="*/ 249 h 315"/>
                <a:gd name="T104" fmla="*/ 393 w 486"/>
                <a:gd name="T105" fmla="*/ 247 h 315"/>
                <a:gd name="T106" fmla="*/ 376 w 486"/>
                <a:gd name="T107" fmla="*/ 250 h 315"/>
                <a:gd name="T108" fmla="*/ 364 w 486"/>
                <a:gd name="T109" fmla="*/ 252 h 315"/>
                <a:gd name="T110" fmla="*/ 339 w 486"/>
                <a:gd name="T111" fmla="*/ 243 h 315"/>
                <a:gd name="T112" fmla="*/ 335 w 486"/>
                <a:gd name="T113" fmla="*/ 231 h 315"/>
                <a:gd name="T114" fmla="*/ 321 w 486"/>
                <a:gd name="T115" fmla="*/ 214 h 315"/>
                <a:gd name="T116" fmla="*/ 316 w 486"/>
                <a:gd name="T117" fmla="*/ 195 h 315"/>
                <a:gd name="T118" fmla="*/ 310 w 486"/>
                <a:gd name="T119" fmla="*/ 175 h 315"/>
                <a:gd name="T120" fmla="*/ 315 w 486"/>
                <a:gd name="T121" fmla="*/ 141 h 315"/>
                <a:gd name="T122" fmla="*/ 299 w 486"/>
                <a:gd name="T123" fmla="*/ 117 h 315"/>
                <a:gd name="T124" fmla="*/ 279 w 486"/>
                <a:gd name="T125" fmla="*/ 95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6" h="315">
                  <a:moveTo>
                    <a:pt x="276" y="91"/>
                  </a:moveTo>
                  <a:lnTo>
                    <a:pt x="276" y="91"/>
                  </a:lnTo>
                  <a:lnTo>
                    <a:pt x="271" y="86"/>
                  </a:lnTo>
                  <a:lnTo>
                    <a:pt x="267" y="79"/>
                  </a:lnTo>
                  <a:lnTo>
                    <a:pt x="264" y="72"/>
                  </a:lnTo>
                  <a:lnTo>
                    <a:pt x="260" y="68"/>
                  </a:lnTo>
                  <a:lnTo>
                    <a:pt x="260" y="68"/>
                  </a:lnTo>
                  <a:lnTo>
                    <a:pt x="254" y="63"/>
                  </a:lnTo>
                  <a:lnTo>
                    <a:pt x="245" y="60"/>
                  </a:lnTo>
                  <a:lnTo>
                    <a:pt x="238" y="57"/>
                  </a:lnTo>
                  <a:lnTo>
                    <a:pt x="234" y="57"/>
                  </a:lnTo>
                  <a:lnTo>
                    <a:pt x="234" y="57"/>
                  </a:lnTo>
                  <a:lnTo>
                    <a:pt x="231" y="59"/>
                  </a:lnTo>
                  <a:lnTo>
                    <a:pt x="229" y="63"/>
                  </a:lnTo>
                  <a:lnTo>
                    <a:pt x="228" y="68"/>
                  </a:lnTo>
                  <a:lnTo>
                    <a:pt x="226" y="70"/>
                  </a:lnTo>
                  <a:lnTo>
                    <a:pt x="226" y="70"/>
                  </a:lnTo>
                  <a:lnTo>
                    <a:pt x="222" y="69"/>
                  </a:lnTo>
                  <a:lnTo>
                    <a:pt x="213" y="63"/>
                  </a:lnTo>
                  <a:lnTo>
                    <a:pt x="205" y="57"/>
                  </a:lnTo>
                  <a:lnTo>
                    <a:pt x="197" y="52"/>
                  </a:lnTo>
                  <a:lnTo>
                    <a:pt x="197" y="52"/>
                  </a:lnTo>
                  <a:lnTo>
                    <a:pt x="187" y="37"/>
                  </a:lnTo>
                  <a:lnTo>
                    <a:pt x="181" y="31"/>
                  </a:lnTo>
                  <a:lnTo>
                    <a:pt x="177" y="27"/>
                  </a:lnTo>
                  <a:lnTo>
                    <a:pt x="177" y="27"/>
                  </a:lnTo>
                  <a:lnTo>
                    <a:pt x="170" y="21"/>
                  </a:lnTo>
                  <a:lnTo>
                    <a:pt x="168" y="18"/>
                  </a:lnTo>
                  <a:lnTo>
                    <a:pt x="142" y="18"/>
                  </a:lnTo>
                  <a:lnTo>
                    <a:pt x="138" y="28"/>
                  </a:lnTo>
                  <a:lnTo>
                    <a:pt x="96" y="28"/>
                  </a:lnTo>
                  <a:lnTo>
                    <a:pt x="37" y="0"/>
                  </a:lnTo>
                  <a:lnTo>
                    <a:pt x="0" y="5"/>
                  </a:lnTo>
                  <a:lnTo>
                    <a:pt x="0" y="5"/>
                  </a:lnTo>
                  <a:lnTo>
                    <a:pt x="6" y="18"/>
                  </a:lnTo>
                  <a:lnTo>
                    <a:pt x="6" y="18"/>
                  </a:lnTo>
                  <a:lnTo>
                    <a:pt x="15" y="33"/>
                  </a:lnTo>
                  <a:lnTo>
                    <a:pt x="19" y="42"/>
                  </a:lnTo>
                  <a:lnTo>
                    <a:pt x="21" y="47"/>
                  </a:lnTo>
                  <a:lnTo>
                    <a:pt x="21" y="47"/>
                  </a:lnTo>
                  <a:lnTo>
                    <a:pt x="22" y="52"/>
                  </a:lnTo>
                  <a:lnTo>
                    <a:pt x="25" y="56"/>
                  </a:lnTo>
                  <a:lnTo>
                    <a:pt x="32" y="62"/>
                  </a:lnTo>
                  <a:lnTo>
                    <a:pt x="32" y="62"/>
                  </a:lnTo>
                  <a:lnTo>
                    <a:pt x="42" y="69"/>
                  </a:lnTo>
                  <a:lnTo>
                    <a:pt x="45" y="75"/>
                  </a:lnTo>
                  <a:lnTo>
                    <a:pt x="47" y="78"/>
                  </a:lnTo>
                  <a:lnTo>
                    <a:pt x="47" y="81"/>
                  </a:lnTo>
                  <a:lnTo>
                    <a:pt x="47" y="81"/>
                  </a:lnTo>
                  <a:lnTo>
                    <a:pt x="44" y="88"/>
                  </a:lnTo>
                  <a:lnTo>
                    <a:pt x="42" y="91"/>
                  </a:lnTo>
                  <a:lnTo>
                    <a:pt x="41" y="91"/>
                  </a:lnTo>
                  <a:lnTo>
                    <a:pt x="41" y="91"/>
                  </a:lnTo>
                  <a:lnTo>
                    <a:pt x="40" y="92"/>
                  </a:lnTo>
                  <a:lnTo>
                    <a:pt x="40" y="94"/>
                  </a:lnTo>
                  <a:lnTo>
                    <a:pt x="44" y="98"/>
                  </a:lnTo>
                  <a:lnTo>
                    <a:pt x="44" y="98"/>
                  </a:lnTo>
                  <a:lnTo>
                    <a:pt x="53" y="104"/>
                  </a:lnTo>
                  <a:lnTo>
                    <a:pt x="57" y="107"/>
                  </a:lnTo>
                  <a:lnTo>
                    <a:pt x="60" y="108"/>
                  </a:lnTo>
                  <a:lnTo>
                    <a:pt x="60" y="108"/>
                  </a:lnTo>
                  <a:lnTo>
                    <a:pt x="63" y="108"/>
                  </a:lnTo>
                  <a:lnTo>
                    <a:pt x="66" y="108"/>
                  </a:lnTo>
                  <a:lnTo>
                    <a:pt x="71" y="113"/>
                  </a:lnTo>
                  <a:lnTo>
                    <a:pt x="71" y="113"/>
                  </a:lnTo>
                  <a:lnTo>
                    <a:pt x="74" y="115"/>
                  </a:lnTo>
                  <a:lnTo>
                    <a:pt x="77" y="120"/>
                  </a:lnTo>
                  <a:lnTo>
                    <a:pt x="79" y="126"/>
                  </a:lnTo>
                  <a:lnTo>
                    <a:pt x="79" y="128"/>
                  </a:lnTo>
                  <a:lnTo>
                    <a:pt x="79" y="128"/>
                  </a:lnTo>
                  <a:lnTo>
                    <a:pt x="80" y="137"/>
                  </a:lnTo>
                  <a:lnTo>
                    <a:pt x="82" y="140"/>
                  </a:lnTo>
                  <a:lnTo>
                    <a:pt x="84" y="143"/>
                  </a:lnTo>
                  <a:lnTo>
                    <a:pt x="84" y="143"/>
                  </a:lnTo>
                  <a:lnTo>
                    <a:pt x="96" y="155"/>
                  </a:lnTo>
                  <a:lnTo>
                    <a:pt x="103" y="160"/>
                  </a:lnTo>
                  <a:lnTo>
                    <a:pt x="106" y="166"/>
                  </a:lnTo>
                  <a:lnTo>
                    <a:pt x="106" y="166"/>
                  </a:lnTo>
                  <a:lnTo>
                    <a:pt x="108" y="169"/>
                  </a:lnTo>
                  <a:lnTo>
                    <a:pt x="111" y="173"/>
                  </a:lnTo>
                  <a:lnTo>
                    <a:pt x="115" y="176"/>
                  </a:lnTo>
                  <a:lnTo>
                    <a:pt x="115" y="178"/>
                  </a:lnTo>
                  <a:lnTo>
                    <a:pt x="116" y="176"/>
                  </a:lnTo>
                  <a:lnTo>
                    <a:pt x="116" y="176"/>
                  </a:lnTo>
                  <a:lnTo>
                    <a:pt x="118" y="175"/>
                  </a:lnTo>
                  <a:lnTo>
                    <a:pt x="121" y="173"/>
                  </a:lnTo>
                  <a:lnTo>
                    <a:pt x="122" y="170"/>
                  </a:lnTo>
                  <a:lnTo>
                    <a:pt x="122" y="168"/>
                  </a:lnTo>
                  <a:lnTo>
                    <a:pt x="122" y="168"/>
                  </a:lnTo>
                  <a:lnTo>
                    <a:pt x="119" y="162"/>
                  </a:lnTo>
                  <a:lnTo>
                    <a:pt x="113" y="156"/>
                  </a:lnTo>
                  <a:lnTo>
                    <a:pt x="102" y="146"/>
                  </a:lnTo>
                  <a:lnTo>
                    <a:pt x="102" y="146"/>
                  </a:lnTo>
                  <a:lnTo>
                    <a:pt x="102" y="144"/>
                  </a:lnTo>
                  <a:lnTo>
                    <a:pt x="103" y="144"/>
                  </a:lnTo>
                  <a:lnTo>
                    <a:pt x="105" y="141"/>
                  </a:lnTo>
                  <a:lnTo>
                    <a:pt x="103" y="139"/>
                  </a:lnTo>
                  <a:lnTo>
                    <a:pt x="103" y="139"/>
                  </a:lnTo>
                  <a:lnTo>
                    <a:pt x="96" y="130"/>
                  </a:lnTo>
                  <a:lnTo>
                    <a:pt x="93" y="127"/>
                  </a:lnTo>
                  <a:lnTo>
                    <a:pt x="93" y="124"/>
                  </a:lnTo>
                  <a:lnTo>
                    <a:pt x="93" y="124"/>
                  </a:lnTo>
                  <a:lnTo>
                    <a:pt x="95" y="123"/>
                  </a:lnTo>
                  <a:lnTo>
                    <a:pt x="96" y="123"/>
                  </a:lnTo>
                  <a:lnTo>
                    <a:pt x="97" y="121"/>
                  </a:lnTo>
                  <a:lnTo>
                    <a:pt x="95" y="118"/>
                  </a:lnTo>
                  <a:lnTo>
                    <a:pt x="95" y="118"/>
                  </a:lnTo>
                  <a:lnTo>
                    <a:pt x="86" y="107"/>
                  </a:lnTo>
                  <a:lnTo>
                    <a:pt x="80" y="98"/>
                  </a:lnTo>
                  <a:lnTo>
                    <a:pt x="80" y="98"/>
                  </a:lnTo>
                  <a:lnTo>
                    <a:pt x="74" y="91"/>
                  </a:lnTo>
                  <a:lnTo>
                    <a:pt x="70" y="82"/>
                  </a:lnTo>
                  <a:lnTo>
                    <a:pt x="70" y="82"/>
                  </a:lnTo>
                  <a:lnTo>
                    <a:pt x="66" y="76"/>
                  </a:lnTo>
                  <a:lnTo>
                    <a:pt x="61" y="70"/>
                  </a:lnTo>
                  <a:lnTo>
                    <a:pt x="53" y="60"/>
                  </a:lnTo>
                  <a:lnTo>
                    <a:pt x="53" y="60"/>
                  </a:lnTo>
                  <a:lnTo>
                    <a:pt x="44" y="53"/>
                  </a:lnTo>
                  <a:lnTo>
                    <a:pt x="40" y="50"/>
                  </a:lnTo>
                  <a:lnTo>
                    <a:pt x="38" y="47"/>
                  </a:lnTo>
                  <a:lnTo>
                    <a:pt x="38" y="47"/>
                  </a:lnTo>
                  <a:lnTo>
                    <a:pt x="38" y="39"/>
                  </a:lnTo>
                  <a:lnTo>
                    <a:pt x="35" y="30"/>
                  </a:lnTo>
                  <a:lnTo>
                    <a:pt x="35" y="30"/>
                  </a:lnTo>
                  <a:lnTo>
                    <a:pt x="35" y="27"/>
                  </a:lnTo>
                  <a:lnTo>
                    <a:pt x="35" y="26"/>
                  </a:lnTo>
                  <a:lnTo>
                    <a:pt x="35" y="23"/>
                  </a:lnTo>
                  <a:lnTo>
                    <a:pt x="35" y="20"/>
                  </a:lnTo>
                  <a:lnTo>
                    <a:pt x="35" y="20"/>
                  </a:lnTo>
                  <a:lnTo>
                    <a:pt x="35" y="17"/>
                  </a:lnTo>
                  <a:lnTo>
                    <a:pt x="37" y="15"/>
                  </a:lnTo>
                  <a:lnTo>
                    <a:pt x="38" y="14"/>
                  </a:lnTo>
                  <a:lnTo>
                    <a:pt x="38" y="14"/>
                  </a:lnTo>
                  <a:lnTo>
                    <a:pt x="38" y="14"/>
                  </a:lnTo>
                  <a:lnTo>
                    <a:pt x="44" y="18"/>
                  </a:lnTo>
                  <a:lnTo>
                    <a:pt x="47" y="21"/>
                  </a:lnTo>
                  <a:lnTo>
                    <a:pt x="47" y="21"/>
                  </a:lnTo>
                  <a:lnTo>
                    <a:pt x="57" y="27"/>
                  </a:lnTo>
                  <a:lnTo>
                    <a:pt x="57" y="27"/>
                  </a:lnTo>
                  <a:lnTo>
                    <a:pt x="60" y="28"/>
                  </a:lnTo>
                  <a:lnTo>
                    <a:pt x="63" y="28"/>
                  </a:lnTo>
                  <a:lnTo>
                    <a:pt x="63" y="30"/>
                  </a:lnTo>
                  <a:lnTo>
                    <a:pt x="64" y="33"/>
                  </a:lnTo>
                  <a:lnTo>
                    <a:pt x="64" y="33"/>
                  </a:lnTo>
                  <a:lnTo>
                    <a:pt x="64" y="40"/>
                  </a:lnTo>
                  <a:lnTo>
                    <a:pt x="66" y="43"/>
                  </a:lnTo>
                  <a:lnTo>
                    <a:pt x="67" y="44"/>
                  </a:lnTo>
                  <a:lnTo>
                    <a:pt x="67" y="44"/>
                  </a:lnTo>
                  <a:lnTo>
                    <a:pt x="69" y="47"/>
                  </a:lnTo>
                  <a:lnTo>
                    <a:pt x="70" y="52"/>
                  </a:lnTo>
                  <a:lnTo>
                    <a:pt x="71" y="57"/>
                  </a:lnTo>
                  <a:lnTo>
                    <a:pt x="74" y="60"/>
                  </a:lnTo>
                  <a:lnTo>
                    <a:pt x="74" y="60"/>
                  </a:lnTo>
                  <a:lnTo>
                    <a:pt x="76" y="63"/>
                  </a:lnTo>
                  <a:lnTo>
                    <a:pt x="79" y="68"/>
                  </a:lnTo>
                  <a:lnTo>
                    <a:pt x="80" y="72"/>
                  </a:lnTo>
                  <a:lnTo>
                    <a:pt x="84" y="76"/>
                  </a:lnTo>
                  <a:lnTo>
                    <a:pt x="84" y="76"/>
                  </a:lnTo>
                  <a:lnTo>
                    <a:pt x="92" y="84"/>
                  </a:lnTo>
                  <a:lnTo>
                    <a:pt x="102" y="91"/>
                  </a:lnTo>
                  <a:lnTo>
                    <a:pt x="102" y="91"/>
                  </a:lnTo>
                  <a:lnTo>
                    <a:pt x="118" y="104"/>
                  </a:lnTo>
                  <a:lnTo>
                    <a:pt x="124" y="110"/>
                  </a:lnTo>
                  <a:lnTo>
                    <a:pt x="126" y="113"/>
                  </a:lnTo>
                  <a:lnTo>
                    <a:pt x="126" y="113"/>
                  </a:lnTo>
                  <a:lnTo>
                    <a:pt x="125" y="117"/>
                  </a:lnTo>
                  <a:lnTo>
                    <a:pt x="125" y="120"/>
                  </a:lnTo>
                  <a:lnTo>
                    <a:pt x="126" y="123"/>
                  </a:lnTo>
                  <a:lnTo>
                    <a:pt x="126" y="123"/>
                  </a:lnTo>
                  <a:lnTo>
                    <a:pt x="134" y="128"/>
                  </a:lnTo>
                  <a:lnTo>
                    <a:pt x="142" y="136"/>
                  </a:lnTo>
                  <a:lnTo>
                    <a:pt x="142" y="136"/>
                  </a:lnTo>
                  <a:lnTo>
                    <a:pt x="153" y="144"/>
                  </a:lnTo>
                  <a:lnTo>
                    <a:pt x="155" y="149"/>
                  </a:lnTo>
                  <a:lnTo>
                    <a:pt x="158" y="152"/>
                  </a:lnTo>
                  <a:lnTo>
                    <a:pt x="158" y="152"/>
                  </a:lnTo>
                  <a:lnTo>
                    <a:pt x="158" y="155"/>
                  </a:lnTo>
                  <a:lnTo>
                    <a:pt x="161" y="157"/>
                  </a:lnTo>
                  <a:lnTo>
                    <a:pt x="168" y="165"/>
                  </a:lnTo>
                  <a:lnTo>
                    <a:pt x="168" y="165"/>
                  </a:lnTo>
                  <a:lnTo>
                    <a:pt x="173" y="169"/>
                  </a:lnTo>
                  <a:lnTo>
                    <a:pt x="176" y="175"/>
                  </a:lnTo>
                  <a:lnTo>
                    <a:pt x="181" y="185"/>
                  </a:lnTo>
                  <a:lnTo>
                    <a:pt x="181" y="185"/>
                  </a:lnTo>
                  <a:lnTo>
                    <a:pt x="186" y="198"/>
                  </a:lnTo>
                  <a:lnTo>
                    <a:pt x="187" y="208"/>
                  </a:lnTo>
                  <a:lnTo>
                    <a:pt x="187" y="208"/>
                  </a:lnTo>
                  <a:lnTo>
                    <a:pt x="183" y="214"/>
                  </a:lnTo>
                  <a:lnTo>
                    <a:pt x="181" y="217"/>
                  </a:lnTo>
                  <a:lnTo>
                    <a:pt x="181" y="220"/>
                  </a:lnTo>
                  <a:lnTo>
                    <a:pt x="181" y="220"/>
                  </a:lnTo>
                  <a:lnTo>
                    <a:pt x="181" y="224"/>
                  </a:lnTo>
                  <a:lnTo>
                    <a:pt x="183" y="228"/>
                  </a:lnTo>
                  <a:lnTo>
                    <a:pt x="189" y="233"/>
                  </a:lnTo>
                  <a:lnTo>
                    <a:pt x="189" y="233"/>
                  </a:lnTo>
                  <a:lnTo>
                    <a:pt x="206" y="244"/>
                  </a:lnTo>
                  <a:lnTo>
                    <a:pt x="223" y="256"/>
                  </a:lnTo>
                  <a:lnTo>
                    <a:pt x="223" y="256"/>
                  </a:lnTo>
                  <a:lnTo>
                    <a:pt x="229" y="257"/>
                  </a:lnTo>
                  <a:lnTo>
                    <a:pt x="235" y="259"/>
                  </a:lnTo>
                  <a:lnTo>
                    <a:pt x="239" y="260"/>
                  </a:lnTo>
                  <a:lnTo>
                    <a:pt x="244" y="262"/>
                  </a:lnTo>
                  <a:lnTo>
                    <a:pt x="244" y="262"/>
                  </a:lnTo>
                  <a:lnTo>
                    <a:pt x="251" y="267"/>
                  </a:lnTo>
                  <a:lnTo>
                    <a:pt x="261" y="270"/>
                  </a:lnTo>
                  <a:lnTo>
                    <a:pt x="261" y="270"/>
                  </a:lnTo>
                  <a:lnTo>
                    <a:pt x="280" y="276"/>
                  </a:lnTo>
                  <a:lnTo>
                    <a:pt x="290" y="281"/>
                  </a:lnTo>
                  <a:lnTo>
                    <a:pt x="296" y="283"/>
                  </a:lnTo>
                  <a:lnTo>
                    <a:pt x="296" y="283"/>
                  </a:lnTo>
                  <a:lnTo>
                    <a:pt x="303" y="289"/>
                  </a:lnTo>
                  <a:lnTo>
                    <a:pt x="307" y="292"/>
                  </a:lnTo>
                  <a:lnTo>
                    <a:pt x="312" y="292"/>
                  </a:lnTo>
                  <a:lnTo>
                    <a:pt x="312" y="292"/>
                  </a:lnTo>
                  <a:lnTo>
                    <a:pt x="323" y="296"/>
                  </a:lnTo>
                  <a:lnTo>
                    <a:pt x="331" y="296"/>
                  </a:lnTo>
                  <a:lnTo>
                    <a:pt x="335" y="296"/>
                  </a:lnTo>
                  <a:lnTo>
                    <a:pt x="335" y="296"/>
                  </a:lnTo>
                  <a:lnTo>
                    <a:pt x="348" y="289"/>
                  </a:lnTo>
                  <a:lnTo>
                    <a:pt x="355" y="286"/>
                  </a:lnTo>
                  <a:lnTo>
                    <a:pt x="360" y="285"/>
                  </a:lnTo>
                  <a:lnTo>
                    <a:pt x="363" y="286"/>
                  </a:lnTo>
                  <a:lnTo>
                    <a:pt x="363" y="286"/>
                  </a:lnTo>
                  <a:lnTo>
                    <a:pt x="371" y="289"/>
                  </a:lnTo>
                  <a:lnTo>
                    <a:pt x="377" y="292"/>
                  </a:lnTo>
                  <a:lnTo>
                    <a:pt x="377" y="292"/>
                  </a:lnTo>
                  <a:lnTo>
                    <a:pt x="380" y="295"/>
                  </a:lnTo>
                  <a:lnTo>
                    <a:pt x="384" y="301"/>
                  </a:lnTo>
                  <a:lnTo>
                    <a:pt x="389" y="307"/>
                  </a:lnTo>
                  <a:lnTo>
                    <a:pt x="394" y="312"/>
                  </a:lnTo>
                  <a:lnTo>
                    <a:pt x="394" y="312"/>
                  </a:lnTo>
                  <a:lnTo>
                    <a:pt x="397" y="315"/>
                  </a:lnTo>
                  <a:lnTo>
                    <a:pt x="397" y="315"/>
                  </a:lnTo>
                  <a:lnTo>
                    <a:pt x="399" y="305"/>
                  </a:lnTo>
                  <a:lnTo>
                    <a:pt x="402" y="299"/>
                  </a:lnTo>
                  <a:lnTo>
                    <a:pt x="402" y="299"/>
                  </a:lnTo>
                  <a:lnTo>
                    <a:pt x="406" y="298"/>
                  </a:lnTo>
                  <a:lnTo>
                    <a:pt x="413" y="296"/>
                  </a:lnTo>
                  <a:lnTo>
                    <a:pt x="420" y="295"/>
                  </a:lnTo>
                  <a:lnTo>
                    <a:pt x="426" y="292"/>
                  </a:lnTo>
                  <a:lnTo>
                    <a:pt x="426" y="292"/>
                  </a:lnTo>
                  <a:lnTo>
                    <a:pt x="426" y="289"/>
                  </a:lnTo>
                  <a:lnTo>
                    <a:pt x="425" y="288"/>
                  </a:lnTo>
                  <a:lnTo>
                    <a:pt x="420" y="281"/>
                  </a:lnTo>
                  <a:lnTo>
                    <a:pt x="416" y="275"/>
                  </a:lnTo>
                  <a:lnTo>
                    <a:pt x="413" y="269"/>
                  </a:lnTo>
                  <a:lnTo>
                    <a:pt x="413" y="269"/>
                  </a:lnTo>
                  <a:lnTo>
                    <a:pt x="413" y="262"/>
                  </a:lnTo>
                  <a:lnTo>
                    <a:pt x="413" y="260"/>
                  </a:lnTo>
                  <a:lnTo>
                    <a:pt x="452" y="260"/>
                  </a:lnTo>
                  <a:lnTo>
                    <a:pt x="452" y="260"/>
                  </a:lnTo>
                  <a:lnTo>
                    <a:pt x="455" y="257"/>
                  </a:lnTo>
                  <a:lnTo>
                    <a:pt x="460" y="254"/>
                  </a:lnTo>
                  <a:lnTo>
                    <a:pt x="464" y="253"/>
                  </a:lnTo>
                  <a:lnTo>
                    <a:pt x="464" y="253"/>
                  </a:lnTo>
                  <a:lnTo>
                    <a:pt x="462" y="249"/>
                  </a:lnTo>
                  <a:lnTo>
                    <a:pt x="464" y="247"/>
                  </a:lnTo>
                  <a:lnTo>
                    <a:pt x="465" y="249"/>
                  </a:lnTo>
                  <a:lnTo>
                    <a:pt x="465" y="249"/>
                  </a:lnTo>
                  <a:lnTo>
                    <a:pt x="470" y="252"/>
                  </a:lnTo>
                  <a:lnTo>
                    <a:pt x="474" y="249"/>
                  </a:lnTo>
                  <a:lnTo>
                    <a:pt x="474" y="249"/>
                  </a:lnTo>
                  <a:lnTo>
                    <a:pt x="474" y="247"/>
                  </a:lnTo>
                  <a:lnTo>
                    <a:pt x="475" y="244"/>
                  </a:lnTo>
                  <a:lnTo>
                    <a:pt x="475" y="236"/>
                  </a:lnTo>
                  <a:lnTo>
                    <a:pt x="475" y="227"/>
                  </a:lnTo>
                  <a:lnTo>
                    <a:pt x="477" y="223"/>
                  </a:lnTo>
                  <a:lnTo>
                    <a:pt x="478" y="221"/>
                  </a:lnTo>
                  <a:lnTo>
                    <a:pt x="478" y="221"/>
                  </a:lnTo>
                  <a:lnTo>
                    <a:pt x="483" y="215"/>
                  </a:lnTo>
                  <a:lnTo>
                    <a:pt x="486" y="210"/>
                  </a:lnTo>
                  <a:lnTo>
                    <a:pt x="486" y="210"/>
                  </a:lnTo>
                  <a:lnTo>
                    <a:pt x="486" y="204"/>
                  </a:lnTo>
                  <a:lnTo>
                    <a:pt x="484" y="202"/>
                  </a:lnTo>
                  <a:lnTo>
                    <a:pt x="483" y="201"/>
                  </a:lnTo>
                  <a:lnTo>
                    <a:pt x="483" y="201"/>
                  </a:lnTo>
                  <a:lnTo>
                    <a:pt x="478" y="202"/>
                  </a:lnTo>
                  <a:lnTo>
                    <a:pt x="475" y="202"/>
                  </a:lnTo>
                  <a:lnTo>
                    <a:pt x="474" y="202"/>
                  </a:lnTo>
                  <a:lnTo>
                    <a:pt x="474" y="202"/>
                  </a:lnTo>
                  <a:lnTo>
                    <a:pt x="471" y="199"/>
                  </a:lnTo>
                  <a:lnTo>
                    <a:pt x="470" y="198"/>
                  </a:lnTo>
                  <a:lnTo>
                    <a:pt x="468" y="198"/>
                  </a:lnTo>
                  <a:lnTo>
                    <a:pt x="468" y="198"/>
                  </a:lnTo>
                  <a:lnTo>
                    <a:pt x="462" y="199"/>
                  </a:lnTo>
                  <a:lnTo>
                    <a:pt x="460" y="201"/>
                  </a:lnTo>
                  <a:lnTo>
                    <a:pt x="457" y="199"/>
                  </a:lnTo>
                  <a:lnTo>
                    <a:pt x="457" y="199"/>
                  </a:lnTo>
                  <a:lnTo>
                    <a:pt x="452" y="199"/>
                  </a:lnTo>
                  <a:lnTo>
                    <a:pt x="445" y="199"/>
                  </a:lnTo>
                  <a:lnTo>
                    <a:pt x="445" y="199"/>
                  </a:lnTo>
                  <a:lnTo>
                    <a:pt x="442" y="202"/>
                  </a:lnTo>
                  <a:lnTo>
                    <a:pt x="438" y="205"/>
                  </a:lnTo>
                  <a:lnTo>
                    <a:pt x="432" y="211"/>
                  </a:lnTo>
                  <a:lnTo>
                    <a:pt x="432" y="211"/>
                  </a:lnTo>
                  <a:lnTo>
                    <a:pt x="428" y="217"/>
                  </a:lnTo>
                  <a:lnTo>
                    <a:pt x="426" y="221"/>
                  </a:lnTo>
                  <a:lnTo>
                    <a:pt x="425" y="224"/>
                  </a:lnTo>
                  <a:lnTo>
                    <a:pt x="425" y="224"/>
                  </a:lnTo>
                  <a:lnTo>
                    <a:pt x="425" y="228"/>
                  </a:lnTo>
                  <a:lnTo>
                    <a:pt x="425" y="230"/>
                  </a:lnTo>
                  <a:lnTo>
                    <a:pt x="423" y="231"/>
                  </a:lnTo>
                  <a:lnTo>
                    <a:pt x="423" y="231"/>
                  </a:lnTo>
                  <a:lnTo>
                    <a:pt x="423" y="231"/>
                  </a:lnTo>
                  <a:lnTo>
                    <a:pt x="423" y="233"/>
                  </a:lnTo>
                  <a:lnTo>
                    <a:pt x="425" y="234"/>
                  </a:lnTo>
                  <a:lnTo>
                    <a:pt x="425" y="236"/>
                  </a:lnTo>
                  <a:lnTo>
                    <a:pt x="425" y="236"/>
                  </a:lnTo>
                  <a:lnTo>
                    <a:pt x="422" y="239"/>
                  </a:lnTo>
                  <a:lnTo>
                    <a:pt x="419" y="243"/>
                  </a:lnTo>
                  <a:lnTo>
                    <a:pt x="416" y="247"/>
                  </a:lnTo>
                  <a:lnTo>
                    <a:pt x="413" y="249"/>
                  </a:lnTo>
                  <a:lnTo>
                    <a:pt x="409" y="249"/>
                  </a:lnTo>
                  <a:lnTo>
                    <a:pt x="409" y="249"/>
                  </a:lnTo>
                  <a:lnTo>
                    <a:pt x="399" y="246"/>
                  </a:lnTo>
                  <a:lnTo>
                    <a:pt x="394" y="246"/>
                  </a:lnTo>
                  <a:lnTo>
                    <a:pt x="393" y="247"/>
                  </a:lnTo>
                  <a:lnTo>
                    <a:pt x="393" y="247"/>
                  </a:lnTo>
                  <a:lnTo>
                    <a:pt x="390" y="252"/>
                  </a:lnTo>
                  <a:lnTo>
                    <a:pt x="389" y="252"/>
                  </a:lnTo>
                  <a:lnTo>
                    <a:pt x="386" y="252"/>
                  </a:lnTo>
                  <a:lnTo>
                    <a:pt x="386" y="252"/>
                  </a:lnTo>
                  <a:lnTo>
                    <a:pt x="378" y="250"/>
                  </a:lnTo>
                  <a:lnTo>
                    <a:pt x="376" y="250"/>
                  </a:lnTo>
                  <a:lnTo>
                    <a:pt x="376" y="250"/>
                  </a:lnTo>
                  <a:lnTo>
                    <a:pt x="371" y="253"/>
                  </a:lnTo>
                  <a:lnTo>
                    <a:pt x="370" y="254"/>
                  </a:lnTo>
                  <a:lnTo>
                    <a:pt x="367" y="254"/>
                  </a:lnTo>
                  <a:lnTo>
                    <a:pt x="367" y="254"/>
                  </a:lnTo>
                  <a:lnTo>
                    <a:pt x="364" y="252"/>
                  </a:lnTo>
                  <a:lnTo>
                    <a:pt x="360" y="250"/>
                  </a:lnTo>
                  <a:lnTo>
                    <a:pt x="360" y="250"/>
                  </a:lnTo>
                  <a:lnTo>
                    <a:pt x="348" y="247"/>
                  </a:lnTo>
                  <a:lnTo>
                    <a:pt x="342" y="246"/>
                  </a:lnTo>
                  <a:lnTo>
                    <a:pt x="341" y="244"/>
                  </a:lnTo>
                  <a:lnTo>
                    <a:pt x="339" y="243"/>
                  </a:lnTo>
                  <a:lnTo>
                    <a:pt x="339" y="243"/>
                  </a:lnTo>
                  <a:lnTo>
                    <a:pt x="339" y="240"/>
                  </a:lnTo>
                  <a:lnTo>
                    <a:pt x="338" y="237"/>
                  </a:lnTo>
                  <a:lnTo>
                    <a:pt x="338" y="237"/>
                  </a:lnTo>
                  <a:lnTo>
                    <a:pt x="335" y="234"/>
                  </a:lnTo>
                  <a:lnTo>
                    <a:pt x="335" y="231"/>
                  </a:lnTo>
                  <a:lnTo>
                    <a:pt x="334" y="225"/>
                  </a:lnTo>
                  <a:lnTo>
                    <a:pt x="334" y="225"/>
                  </a:lnTo>
                  <a:lnTo>
                    <a:pt x="331" y="223"/>
                  </a:lnTo>
                  <a:lnTo>
                    <a:pt x="326" y="220"/>
                  </a:lnTo>
                  <a:lnTo>
                    <a:pt x="322" y="215"/>
                  </a:lnTo>
                  <a:lnTo>
                    <a:pt x="321" y="214"/>
                  </a:lnTo>
                  <a:lnTo>
                    <a:pt x="319" y="211"/>
                  </a:lnTo>
                  <a:lnTo>
                    <a:pt x="319" y="211"/>
                  </a:lnTo>
                  <a:lnTo>
                    <a:pt x="319" y="207"/>
                  </a:lnTo>
                  <a:lnTo>
                    <a:pt x="319" y="202"/>
                  </a:lnTo>
                  <a:lnTo>
                    <a:pt x="319" y="199"/>
                  </a:lnTo>
                  <a:lnTo>
                    <a:pt x="316" y="195"/>
                  </a:lnTo>
                  <a:lnTo>
                    <a:pt x="316" y="195"/>
                  </a:lnTo>
                  <a:lnTo>
                    <a:pt x="310" y="186"/>
                  </a:lnTo>
                  <a:lnTo>
                    <a:pt x="310" y="182"/>
                  </a:lnTo>
                  <a:lnTo>
                    <a:pt x="310" y="179"/>
                  </a:lnTo>
                  <a:lnTo>
                    <a:pt x="310" y="179"/>
                  </a:lnTo>
                  <a:lnTo>
                    <a:pt x="310" y="175"/>
                  </a:lnTo>
                  <a:lnTo>
                    <a:pt x="309" y="169"/>
                  </a:lnTo>
                  <a:lnTo>
                    <a:pt x="307" y="163"/>
                  </a:lnTo>
                  <a:lnTo>
                    <a:pt x="309" y="157"/>
                  </a:lnTo>
                  <a:lnTo>
                    <a:pt x="309" y="157"/>
                  </a:lnTo>
                  <a:lnTo>
                    <a:pt x="313" y="147"/>
                  </a:lnTo>
                  <a:lnTo>
                    <a:pt x="315" y="141"/>
                  </a:lnTo>
                  <a:lnTo>
                    <a:pt x="318" y="137"/>
                  </a:lnTo>
                  <a:lnTo>
                    <a:pt x="318" y="137"/>
                  </a:lnTo>
                  <a:lnTo>
                    <a:pt x="319" y="131"/>
                  </a:lnTo>
                  <a:lnTo>
                    <a:pt x="321" y="123"/>
                  </a:lnTo>
                  <a:lnTo>
                    <a:pt x="321" y="123"/>
                  </a:lnTo>
                  <a:lnTo>
                    <a:pt x="299" y="117"/>
                  </a:lnTo>
                  <a:lnTo>
                    <a:pt x="292" y="114"/>
                  </a:lnTo>
                  <a:lnTo>
                    <a:pt x="287" y="111"/>
                  </a:lnTo>
                  <a:lnTo>
                    <a:pt x="287" y="111"/>
                  </a:lnTo>
                  <a:lnTo>
                    <a:pt x="284" y="107"/>
                  </a:lnTo>
                  <a:lnTo>
                    <a:pt x="281" y="101"/>
                  </a:lnTo>
                  <a:lnTo>
                    <a:pt x="279" y="95"/>
                  </a:lnTo>
                  <a:lnTo>
                    <a:pt x="276" y="9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39" name="Freeform 695"/>
            <p:cNvSpPr>
              <a:spLocks noEditPoints="1"/>
            </p:cNvSpPr>
            <p:nvPr/>
          </p:nvSpPr>
          <p:spPr bwMode="auto">
            <a:xfrm>
              <a:off x="1114425" y="3326242"/>
              <a:ext cx="1479550" cy="787400"/>
            </a:xfrm>
            <a:custGeom>
              <a:avLst/>
              <a:gdLst>
                <a:gd name="T0" fmla="*/ 917 w 932"/>
                <a:gd name="T1" fmla="*/ 44 h 496"/>
                <a:gd name="T2" fmla="*/ 868 w 932"/>
                <a:gd name="T3" fmla="*/ 82 h 496"/>
                <a:gd name="T4" fmla="*/ 784 w 932"/>
                <a:gd name="T5" fmla="*/ 121 h 496"/>
                <a:gd name="T6" fmla="*/ 755 w 932"/>
                <a:gd name="T7" fmla="*/ 134 h 496"/>
                <a:gd name="T8" fmla="*/ 710 w 932"/>
                <a:gd name="T9" fmla="*/ 162 h 496"/>
                <a:gd name="T10" fmla="*/ 677 w 932"/>
                <a:gd name="T11" fmla="*/ 168 h 496"/>
                <a:gd name="T12" fmla="*/ 684 w 932"/>
                <a:gd name="T13" fmla="*/ 139 h 496"/>
                <a:gd name="T14" fmla="*/ 665 w 932"/>
                <a:gd name="T15" fmla="*/ 127 h 496"/>
                <a:gd name="T16" fmla="*/ 665 w 932"/>
                <a:gd name="T17" fmla="*/ 89 h 496"/>
                <a:gd name="T18" fmla="*/ 651 w 932"/>
                <a:gd name="T19" fmla="*/ 76 h 496"/>
                <a:gd name="T20" fmla="*/ 632 w 932"/>
                <a:gd name="T21" fmla="*/ 94 h 496"/>
                <a:gd name="T22" fmla="*/ 619 w 932"/>
                <a:gd name="T23" fmla="*/ 150 h 496"/>
                <a:gd name="T24" fmla="*/ 599 w 932"/>
                <a:gd name="T25" fmla="*/ 160 h 496"/>
                <a:gd name="T26" fmla="*/ 599 w 932"/>
                <a:gd name="T27" fmla="*/ 104 h 496"/>
                <a:gd name="T28" fmla="*/ 613 w 932"/>
                <a:gd name="T29" fmla="*/ 76 h 496"/>
                <a:gd name="T30" fmla="*/ 648 w 932"/>
                <a:gd name="T31" fmla="*/ 71 h 496"/>
                <a:gd name="T32" fmla="*/ 638 w 932"/>
                <a:gd name="T33" fmla="*/ 60 h 496"/>
                <a:gd name="T34" fmla="*/ 615 w 932"/>
                <a:gd name="T35" fmla="*/ 59 h 496"/>
                <a:gd name="T36" fmla="*/ 587 w 932"/>
                <a:gd name="T37" fmla="*/ 50 h 496"/>
                <a:gd name="T38" fmla="*/ 564 w 932"/>
                <a:gd name="T39" fmla="*/ 53 h 496"/>
                <a:gd name="T40" fmla="*/ 528 w 932"/>
                <a:gd name="T41" fmla="*/ 53 h 496"/>
                <a:gd name="T42" fmla="*/ 545 w 932"/>
                <a:gd name="T43" fmla="*/ 36 h 496"/>
                <a:gd name="T44" fmla="*/ 552 w 932"/>
                <a:gd name="T45" fmla="*/ 17 h 496"/>
                <a:gd name="T46" fmla="*/ 502 w 932"/>
                <a:gd name="T47" fmla="*/ 13 h 496"/>
                <a:gd name="T48" fmla="*/ 35 w 932"/>
                <a:gd name="T49" fmla="*/ 24 h 496"/>
                <a:gd name="T50" fmla="*/ 2 w 932"/>
                <a:gd name="T51" fmla="*/ 17 h 496"/>
                <a:gd name="T52" fmla="*/ 9 w 932"/>
                <a:gd name="T53" fmla="*/ 92 h 496"/>
                <a:gd name="T54" fmla="*/ 8 w 932"/>
                <a:gd name="T55" fmla="*/ 166 h 496"/>
                <a:gd name="T56" fmla="*/ 24 w 932"/>
                <a:gd name="T57" fmla="*/ 233 h 496"/>
                <a:gd name="T58" fmla="*/ 58 w 932"/>
                <a:gd name="T59" fmla="*/ 294 h 496"/>
                <a:gd name="T60" fmla="*/ 97 w 932"/>
                <a:gd name="T61" fmla="*/ 320 h 496"/>
                <a:gd name="T62" fmla="*/ 294 w 932"/>
                <a:gd name="T63" fmla="*/ 370 h 496"/>
                <a:gd name="T64" fmla="*/ 352 w 932"/>
                <a:gd name="T65" fmla="*/ 422 h 496"/>
                <a:gd name="T66" fmla="*/ 390 w 932"/>
                <a:gd name="T67" fmla="*/ 424 h 496"/>
                <a:gd name="T68" fmla="*/ 447 w 932"/>
                <a:gd name="T69" fmla="*/ 475 h 496"/>
                <a:gd name="T70" fmla="*/ 449 w 932"/>
                <a:gd name="T71" fmla="*/ 438 h 496"/>
                <a:gd name="T72" fmla="*/ 483 w 932"/>
                <a:gd name="T73" fmla="*/ 409 h 496"/>
                <a:gd name="T74" fmla="*/ 532 w 932"/>
                <a:gd name="T75" fmla="*/ 408 h 496"/>
                <a:gd name="T76" fmla="*/ 567 w 932"/>
                <a:gd name="T77" fmla="*/ 408 h 496"/>
                <a:gd name="T78" fmla="*/ 599 w 932"/>
                <a:gd name="T79" fmla="*/ 398 h 496"/>
                <a:gd name="T80" fmla="*/ 633 w 932"/>
                <a:gd name="T81" fmla="*/ 402 h 496"/>
                <a:gd name="T82" fmla="*/ 668 w 932"/>
                <a:gd name="T83" fmla="*/ 411 h 496"/>
                <a:gd name="T84" fmla="*/ 688 w 932"/>
                <a:gd name="T85" fmla="*/ 462 h 496"/>
                <a:gd name="T86" fmla="*/ 709 w 932"/>
                <a:gd name="T87" fmla="*/ 488 h 496"/>
                <a:gd name="T88" fmla="*/ 713 w 932"/>
                <a:gd name="T89" fmla="*/ 433 h 496"/>
                <a:gd name="T90" fmla="*/ 709 w 932"/>
                <a:gd name="T91" fmla="*/ 360 h 496"/>
                <a:gd name="T92" fmla="*/ 755 w 932"/>
                <a:gd name="T93" fmla="*/ 331 h 496"/>
                <a:gd name="T94" fmla="*/ 780 w 932"/>
                <a:gd name="T95" fmla="*/ 304 h 496"/>
                <a:gd name="T96" fmla="*/ 783 w 932"/>
                <a:gd name="T97" fmla="*/ 269 h 496"/>
                <a:gd name="T98" fmla="*/ 785 w 932"/>
                <a:gd name="T99" fmla="*/ 244 h 496"/>
                <a:gd name="T100" fmla="*/ 798 w 932"/>
                <a:gd name="T101" fmla="*/ 253 h 496"/>
                <a:gd name="T102" fmla="*/ 803 w 932"/>
                <a:gd name="T103" fmla="*/ 223 h 496"/>
                <a:gd name="T104" fmla="*/ 822 w 932"/>
                <a:gd name="T105" fmla="*/ 192 h 496"/>
                <a:gd name="T106" fmla="*/ 851 w 932"/>
                <a:gd name="T107" fmla="*/ 185 h 496"/>
                <a:gd name="T108" fmla="*/ 875 w 932"/>
                <a:gd name="T109" fmla="*/ 165 h 496"/>
                <a:gd name="T110" fmla="*/ 881 w 932"/>
                <a:gd name="T111" fmla="*/ 130 h 496"/>
                <a:gd name="T112" fmla="*/ 932 w 932"/>
                <a:gd name="T113" fmla="*/ 98 h 496"/>
                <a:gd name="T114" fmla="*/ 196 w 932"/>
                <a:gd name="T115" fmla="*/ 189 h 496"/>
                <a:gd name="T116" fmla="*/ 196 w 932"/>
                <a:gd name="T117" fmla="*/ 178 h 496"/>
                <a:gd name="T118" fmla="*/ 232 w 932"/>
                <a:gd name="T119" fmla="*/ 262 h 496"/>
                <a:gd name="T120" fmla="*/ 232 w 932"/>
                <a:gd name="T121" fmla="*/ 253 h 496"/>
                <a:gd name="T122" fmla="*/ 276 w 932"/>
                <a:gd name="T123" fmla="*/ 37 h 496"/>
                <a:gd name="T124" fmla="*/ 261 w 932"/>
                <a:gd name="T125" fmla="*/ 3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32" h="496">
                  <a:moveTo>
                    <a:pt x="924" y="85"/>
                  </a:moveTo>
                  <a:lnTo>
                    <a:pt x="924" y="85"/>
                  </a:lnTo>
                  <a:lnTo>
                    <a:pt x="926" y="79"/>
                  </a:lnTo>
                  <a:lnTo>
                    <a:pt x="926" y="75"/>
                  </a:lnTo>
                  <a:lnTo>
                    <a:pt x="923" y="71"/>
                  </a:lnTo>
                  <a:lnTo>
                    <a:pt x="923" y="71"/>
                  </a:lnTo>
                  <a:lnTo>
                    <a:pt x="922" y="68"/>
                  </a:lnTo>
                  <a:lnTo>
                    <a:pt x="922" y="65"/>
                  </a:lnTo>
                  <a:lnTo>
                    <a:pt x="920" y="56"/>
                  </a:lnTo>
                  <a:lnTo>
                    <a:pt x="920" y="47"/>
                  </a:lnTo>
                  <a:lnTo>
                    <a:pt x="919" y="44"/>
                  </a:lnTo>
                  <a:lnTo>
                    <a:pt x="917" y="44"/>
                  </a:lnTo>
                  <a:lnTo>
                    <a:pt x="917" y="44"/>
                  </a:lnTo>
                  <a:lnTo>
                    <a:pt x="904" y="42"/>
                  </a:lnTo>
                  <a:lnTo>
                    <a:pt x="898" y="43"/>
                  </a:lnTo>
                  <a:lnTo>
                    <a:pt x="894" y="44"/>
                  </a:lnTo>
                  <a:lnTo>
                    <a:pt x="894" y="44"/>
                  </a:lnTo>
                  <a:lnTo>
                    <a:pt x="890" y="47"/>
                  </a:lnTo>
                  <a:lnTo>
                    <a:pt x="884" y="53"/>
                  </a:lnTo>
                  <a:lnTo>
                    <a:pt x="880" y="60"/>
                  </a:lnTo>
                  <a:lnTo>
                    <a:pt x="878" y="66"/>
                  </a:lnTo>
                  <a:lnTo>
                    <a:pt x="878" y="66"/>
                  </a:lnTo>
                  <a:lnTo>
                    <a:pt x="875" y="73"/>
                  </a:lnTo>
                  <a:lnTo>
                    <a:pt x="868" y="82"/>
                  </a:lnTo>
                  <a:lnTo>
                    <a:pt x="861" y="91"/>
                  </a:lnTo>
                  <a:lnTo>
                    <a:pt x="856" y="95"/>
                  </a:lnTo>
                  <a:lnTo>
                    <a:pt x="856" y="95"/>
                  </a:lnTo>
                  <a:lnTo>
                    <a:pt x="836" y="97"/>
                  </a:lnTo>
                  <a:lnTo>
                    <a:pt x="814" y="97"/>
                  </a:lnTo>
                  <a:lnTo>
                    <a:pt x="814" y="97"/>
                  </a:lnTo>
                  <a:lnTo>
                    <a:pt x="807" y="98"/>
                  </a:lnTo>
                  <a:lnTo>
                    <a:pt x="798" y="104"/>
                  </a:lnTo>
                  <a:lnTo>
                    <a:pt x="780" y="115"/>
                  </a:lnTo>
                  <a:lnTo>
                    <a:pt x="780" y="115"/>
                  </a:lnTo>
                  <a:lnTo>
                    <a:pt x="783" y="118"/>
                  </a:lnTo>
                  <a:lnTo>
                    <a:pt x="784" y="121"/>
                  </a:lnTo>
                  <a:lnTo>
                    <a:pt x="784" y="124"/>
                  </a:lnTo>
                  <a:lnTo>
                    <a:pt x="784" y="127"/>
                  </a:lnTo>
                  <a:lnTo>
                    <a:pt x="784" y="127"/>
                  </a:lnTo>
                  <a:lnTo>
                    <a:pt x="781" y="133"/>
                  </a:lnTo>
                  <a:lnTo>
                    <a:pt x="778" y="136"/>
                  </a:lnTo>
                  <a:lnTo>
                    <a:pt x="774" y="137"/>
                  </a:lnTo>
                  <a:lnTo>
                    <a:pt x="774" y="137"/>
                  </a:lnTo>
                  <a:lnTo>
                    <a:pt x="767" y="137"/>
                  </a:lnTo>
                  <a:lnTo>
                    <a:pt x="762" y="137"/>
                  </a:lnTo>
                  <a:lnTo>
                    <a:pt x="758" y="136"/>
                  </a:lnTo>
                  <a:lnTo>
                    <a:pt x="758" y="136"/>
                  </a:lnTo>
                  <a:lnTo>
                    <a:pt x="755" y="134"/>
                  </a:lnTo>
                  <a:lnTo>
                    <a:pt x="751" y="134"/>
                  </a:lnTo>
                  <a:lnTo>
                    <a:pt x="751" y="134"/>
                  </a:lnTo>
                  <a:lnTo>
                    <a:pt x="730" y="144"/>
                  </a:lnTo>
                  <a:lnTo>
                    <a:pt x="730" y="144"/>
                  </a:lnTo>
                  <a:lnTo>
                    <a:pt x="736" y="147"/>
                  </a:lnTo>
                  <a:lnTo>
                    <a:pt x="738" y="149"/>
                  </a:lnTo>
                  <a:lnTo>
                    <a:pt x="738" y="149"/>
                  </a:lnTo>
                  <a:lnTo>
                    <a:pt x="736" y="150"/>
                  </a:lnTo>
                  <a:lnTo>
                    <a:pt x="733" y="153"/>
                  </a:lnTo>
                  <a:lnTo>
                    <a:pt x="726" y="156"/>
                  </a:lnTo>
                  <a:lnTo>
                    <a:pt x="710" y="162"/>
                  </a:lnTo>
                  <a:lnTo>
                    <a:pt x="710" y="162"/>
                  </a:lnTo>
                  <a:lnTo>
                    <a:pt x="694" y="169"/>
                  </a:lnTo>
                  <a:lnTo>
                    <a:pt x="685" y="173"/>
                  </a:lnTo>
                  <a:lnTo>
                    <a:pt x="681" y="175"/>
                  </a:lnTo>
                  <a:lnTo>
                    <a:pt x="681" y="175"/>
                  </a:lnTo>
                  <a:lnTo>
                    <a:pt x="675" y="173"/>
                  </a:lnTo>
                  <a:lnTo>
                    <a:pt x="672" y="170"/>
                  </a:lnTo>
                  <a:lnTo>
                    <a:pt x="672" y="170"/>
                  </a:lnTo>
                  <a:lnTo>
                    <a:pt x="672" y="169"/>
                  </a:lnTo>
                  <a:lnTo>
                    <a:pt x="674" y="169"/>
                  </a:lnTo>
                  <a:lnTo>
                    <a:pt x="675" y="168"/>
                  </a:lnTo>
                  <a:lnTo>
                    <a:pt x="675" y="168"/>
                  </a:lnTo>
                  <a:lnTo>
                    <a:pt x="677" y="168"/>
                  </a:lnTo>
                  <a:lnTo>
                    <a:pt x="678" y="165"/>
                  </a:lnTo>
                  <a:lnTo>
                    <a:pt x="678" y="162"/>
                  </a:lnTo>
                  <a:lnTo>
                    <a:pt x="677" y="159"/>
                  </a:lnTo>
                  <a:lnTo>
                    <a:pt x="677" y="159"/>
                  </a:lnTo>
                  <a:lnTo>
                    <a:pt x="675" y="155"/>
                  </a:lnTo>
                  <a:lnTo>
                    <a:pt x="677" y="153"/>
                  </a:lnTo>
                  <a:lnTo>
                    <a:pt x="678" y="153"/>
                  </a:lnTo>
                  <a:lnTo>
                    <a:pt x="678" y="153"/>
                  </a:lnTo>
                  <a:lnTo>
                    <a:pt x="680" y="147"/>
                  </a:lnTo>
                  <a:lnTo>
                    <a:pt x="683" y="141"/>
                  </a:lnTo>
                  <a:lnTo>
                    <a:pt x="683" y="141"/>
                  </a:lnTo>
                  <a:lnTo>
                    <a:pt x="684" y="139"/>
                  </a:lnTo>
                  <a:lnTo>
                    <a:pt x="684" y="139"/>
                  </a:lnTo>
                  <a:lnTo>
                    <a:pt x="683" y="134"/>
                  </a:lnTo>
                  <a:lnTo>
                    <a:pt x="683" y="127"/>
                  </a:lnTo>
                  <a:lnTo>
                    <a:pt x="683" y="127"/>
                  </a:lnTo>
                  <a:lnTo>
                    <a:pt x="681" y="123"/>
                  </a:lnTo>
                  <a:lnTo>
                    <a:pt x="678" y="120"/>
                  </a:lnTo>
                  <a:lnTo>
                    <a:pt x="677" y="118"/>
                  </a:lnTo>
                  <a:lnTo>
                    <a:pt x="674" y="118"/>
                  </a:lnTo>
                  <a:lnTo>
                    <a:pt x="674" y="118"/>
                  </a:lnTo>
                  <a:lnTo>
                    <a:pt x="671" y="120"/>
                  </a:lnTo>
                  <a:lnTo>
                    <a:pt x="668" y="124"/>
                  </a:lnTo>
                  <a:lnTo>
                    <a:pt x="665" y="127"/>
                  </a:lnTo>
                  <a:lnTo>
                    <a:pt x="662" y="128"/>
                  </a:lnTo>
                  <a:lnTo>
                    <a:pt x="662" y="128"/>
                  </a:lnTo>
                  <a:lnTo>
                    <a:pt x="661" y="127"/>
                  </a:lnTo>
                  <a:lnTo>
                    <a:pt x="661" y="124"/>
                  </a:lnTo>
                  <a:lnTo>
                    <a:pt x="661" y="121"/>
                  </a:lnTo>
                  <a:lnTo>
                    <a:pt x="661" y="118"/>
                  </a:lnTo>
                  <a:lnTo>
                    <a:pt x="661" y="118"/>
                  </a:lnTo>
                  <a:lnTo>
                    <a:pt x="665" y="114"/>
                  </a:lnTo>
                  <a:lnTo>
                    <a:pt x="668" y="110"/>
                  </a:lnTo>
                  <a:lnTo>
                    <a:pt x="668" y="110"/>
                  </a:lnTo>
                  <a:lnTo>
                    <a:pt x="667" y="99"/>
                  </a:lnTo>
                  <a:lnTo>
                    <a:pt x="665" y="89"/>
                  </a:lnTo>
                  <a:lnTo>
                    <a:pt x="665" y="89"/>
                  </a:lnTo>
                  <a:lnTo>
                    <a:pt x="662" y="85"/>
                  </a:lnTo>
                  <a:lnTo>
                    <a:pt x="659" y="84"/>
                  </a:lnTo>
                  <a:lnTo>
                    <a:pt x="658" y="85"/>
                  </a:lnTo>
                  <a:lnTo>
                    <a:pt x="658" y="85"/>
                  </a:lnTo>
                  <a:lnTo>
                    <a:pt x="658" y="85"/>
                  </a:lnTo>
                  <a:lnTo>
                    <a:pt x="657" y="85"/>
                  </a:lnTo>
                  <a:lnTo>
                    <a:pt x="654" y="82"/>
                  </a:lnTo>
                  <a:lnTo>
                    <a:pt x="654" y="82"/>
                  </a:lnTo>
                  <a:lnTo>
                    <a:pt x="652" y="79"/>
                  </a:lnTo>
                  <a:lnTo>
                    <a:pt x="651" y="78"/>
                  </a:lnTo>
                  <a:lnTo>
                    <a:pt x="651" y="76"/>
                  </a:lnTo>
                  <a:lnTo>
                    <a:pt x="649" y="76"/>
                  </a:lnTo>
                  <a:lnTo>
                    <a:pt x="649" y="76"/>
                  </a:lnTo>
                  <a:lnTo>
                    <a:pt x="646" y="76"/>
                  </a:lnTo>
                  <a:lnTo>
                    <a:pt x="642" y="78"/>
                  </a:lnTo>
                  <a:lnTo>
                    <a:pt x="642" y="78"/>
                  </a:lnTo>
                  <a:lnTo>
                    <a:pt x="641" y="81"/>
                  </a:lnTo>
                  <a:lnTo>
                    <a:pt x="639" y="82"/>
                  </a:lnTo>
                  <a:lnTo>
                    <a:pt x="638" y="88"/>
                  </a:lnTo>
                  <a:lnTo>
                    <a:pt x="638" y="88"/>
                  </a:lnTo>
                  <a:lnTo>
                    <a:pt x="635" y="91"/>
                  </a:lnTo>
                  <a:lnTo>
                    <a:pt x="632" y="94"/>
                  </a:lnTo>
                  <a:lnTo>
                    <a:pt x="632" y="94"/>
                  </a:lnTo>
                  <a:lnTo>
                    <a:pt x="628" y="95"/>
                  </a:lnTo>
                  <a:lnTo>
                    <a:pt x="623" y="99"/>
                  </a:lnTo>
                  <a:lnTo>
                    <a:pt x="623" y="99"/>
                  </a:lnTo>
                  <a:lnTo>
                    <a:pt x="620" y="110"/>
                  </a:lnTo>
                  <a:lnTo>
                    <a:pt x="616" y="123"/>
                  </a:lnTo>
                  <a:lnTo>
                    <a:pt x="616" y="123"/>
                  </a:lnTo>
                  <a:lnTo>
                    <a:pt x="616" y="127"/>
                  </a:lnTo>
                  <a:lnTo>
                    <a:pt x="616" y="131"/>
                  </a:lnTo>
                  <a:lnTo>
                    <a:pt x="619" y="139"/>
                  </a:lnTo>
                  <a:lnTo>
                    <a:pt x="619" y="139"/>
                  </a:lnTo>
                  <a:lnTo>
                    <a:pt x="619" y="144"/>
                  </a:lnTo>
                  <a:lnTo>
                    <a:pt x="619" y="150"/>
                  </a:lnTo>
                  <a:lnTo>
                    <a:pt x="617" y="157"/>
                  </a:lnTo>
                  <a:lnTo>
                    <a:pt x="615" y="162"/>
                  </a:lnTo>
                  <a:lnTo>
                    <a:pt x="615" y="162"/>
                  </a:lnTo>
                  <a:lnTo>
                    <a:pt x="612" y="166"/>
                  </a:lnTo>
                  <a:lnTo>
                    <a:pt x="609" y="168"/>
                  </a:lnTo>
                  <a:lnTo>
                    <a:pt x="606" y="169"/>
                  </a:lnTo>
                  <a:lnTo>
                    <a:pt x="606" y="169"/>
                  </a:lnTo>
                  <a:lnTo>
                    <a:pt x="603" y="168"/>
                  </a:lnTo>
                  <a:lnTo>
                    <a:pt x="600" y="168"/>
                  </a:lnTo>
                  <a:lnTo>
                    <a:pt x="599" y="165"/>
                  </a:lnTo>
                  <a:lnTo>
                    <a:pt x="599" y="160"/>
                  </a:lnTo>
                  <a:lnTo>
                    <a:pt x="599" y="160"/>
                  </a:lnTo>
                  <a:lnTo>
                    <a:pt x="596" y="149"/>
                  </a:lnTo>
                  <a:lnTo>
                    <a:pt x="594" y="137"/>
                  </a:lnTo>
                  <a:lnTo>
                    <a:pt x="594" y="137"/>
                  </a:lnTo>
                  <a:lnTo>
                    <a:pt x="597" y="124"/>
                  </a:lnTo>
                  <a:lnTo>
                    <a:pt x="601" y="111"/>
                  </a:lnTo>
                  <a:lnTo>
                    <a:pt x="601" y="111"/>
                  </a:lnTo>
                  <a:lnTo>
                    <a:pt x="604" y="102"/>
                  </a:lnTo>
                  <a:lnTo>
                    <a:pt x="604" y="99"/>
                  </a:lnTo>
                  <a:lnTo>
                    <a:pt x="603" y="99"/>
                  </a:lnTo>
                  <a:lnTo>
                    <a:pt x="603" y="99"/>
                  </a:lnTo>
                  <a:lnTo>
                    <a:pt x="600" y="102"/>
                  </a:lnTo>
                  <a:lnTo>
                    <a:pt x="599" y="104"/>
                  </a:lnTo>
                  <a:lnTo>
                    <a:pt x="597" y="105"/>
                  </a:lnTo>
                  <a:lnTo>
                    <a:pt x="596" y="102"/>
                  </a:lnTo>
                  <a:lnTo>
                    <a:pt x="596" y="102"/>
                  </a:lnTo>
                  <a:lnTo>
                    <a:pt x="596" y="98"/>
                  </a:lnTo>
                  <a:lnTo>
                    <a:pt x="599" y="92"/>
                  </a:lnTo>
                  <a:lnTo>
                    <a:pt x="604" y="85"/>
                  </a:lnTo>
                  <a:lnTo>
                    <a:pt x="604" y="85"/>
                  </a:lnTo>
                  <a:lnTo>
                    <a:pt x="607" y="78"/>
                  </a:lnTo>
                  <a:lnTo>
                    <a:pt x="609" y="75"/>
                  </a:lnTo>
                  <a:lnTo>
                    <a:pt x="610" y="75"/>
                  </a:lnTo>
                  <a:lnTo>
                    <a:pt x="610" y="75"/>
                  </a:lnTo>
                  <a:lnTo>
                    <a:pt x="613" y="76"/>
                  </a:lnTo>
                  <a:lnTo>
                    <a:pt x="616" y="75"/>
                  </a:lnTo>
                  <a:lnTo>
                    <a:pt x="616" y="75"/>
                  </a:lnTo>
                  <a:lnTo>
                    <a:pt x="619" y="73"/>
                  </a:lnTo>
                  <a:lnTo>
                    <a:pt x="625" y="73"/>
                  </a:lnTo>
                  <a:lnTo>
                    <a:pt x="625" y="73"/>
                  </a:lnTo>
                  <a:lnTo>
                    <a:pt x="630" y="73"/>
                  </a:lnTo>
                  <a:lnTo>
                    <a:pt x="635" y="72"/>
                  </a:lnTo>
                  <a:lnTo>
                    <a:pt x="635" y="72"/>
                  </a:lnTo>
                  <a:lnTo>
                    <a:pt x="636" y="71"/>
                  </a:lnTo>
                  <a:lnTo>
                    <a:pt x="642" y="71"/>
                  </a:lnTo>
                  <a:lnTo>
                    <a:pt x="642" y="71"/>
                  </a:lnTo>
                  <a:lnTo>
                    <a:pt x="648" y="71"/>
                  </a:lnTo>
                  <a:lnTo>
                    <a:pt x="651" y="69"/>
                  </a:lnTo>
                  <a:lnTo>
                    <a:pt x="651" y="69"/>
                  </a:lnTo>
                  <a:lnTo>
                    <a:pt x="652" y="66"/>
                  </a:lnTo>
                  <a:lnTo>
                    <a:pt x="652" y="65"/>
                  </a:lnTo>
                  <a:lnTo>
                    <a:pt x="651" y="65"/>
                  </a:lnTo>
                  <a:lnTo>
                    <a:pt x="651" y="65"/>
                  </a:lnTo>
                  <a:lnTo>
                    <a:pt x="645" y="65"/>
                  </a:lnTo>
                  <a:lnTo>
                    <a:pt x="642" y="65"/>
                  </a:lnTo>
                  <a:lnTo>
                    <a:pt x="639" y="63"/>
                  </a:lnTo>
                  <a:lnTo>
                    <a:pt x="639" y="63"/>
                  </a:lnTo>
                  <a:lnTo>
                    <a:pt x="639" y="62"/>
                  </a:lnTo>
                  <a:lnTo>
                    <a:pt x="638" y="60"/>
                  </a:lnTo>
                  <a:lnTo>
                    <a:pt x="638" y="59"/>
                  </a:lnTo>
                  <a:lnTo>
                    <a:pt x="636" y="57"/>
                  </a:lnTo>
                  <a:lnTo>
                    <a:pt x="636" y="57"/>
                  </a:lnTo>
                  <a:lnTo>
                    <a:pt x="633" y="57"/>
                  </a:lnTo>
                  <a:lnTo>
                    <a:pt x="629" y="56"/>
                  </a:lnTo>
                  <a:lnTo>
                    <a:pt x="629" y="56"/>
                  </a:lnTo>
                  <a:lnTo>
                    <a:pt x="626" y="57"/>
                  </a:lnTo>
                  <a:lnTo>
                    <a:pt x="623" y="59"/>
                  </a:lnTo>
                  <a:lnTo>
                    <a:pt x="622" y="60"/>
                  </a:lnTo>
                  <a:lnTo>
                    <a:pt x="619" y="60"/>
                  </a:lnTo>
                  <a:lnTo>
                    <a:pt x="619" y="60"/>
                  </a:lnTo>
                  <a:lnTo>
                    <a:pt x="615" y="59"/>
                  </a:lnTo>
                  <a:lnTo>
                    <a:pt x="613" y="57"/>
                  </a:lnTo>
                  <a:lnTo>
                    <a:pt x="610" y="56"/>
                  </a:lnTo>
                  <a:lnTo>
                    <a:pt x="607" y="56"/>
                  </a:lnTo>
                  <a:lnTo>
                    <a:pt x="607" y="56"/>
                  </a:lnTo>
                  <a:lnTo>
                    <a:pt x="603" y="55"/>
                  </a:lnTo>
                  <a:lnTo>
                    <a:pt x="599" y="53"/>
                  </a:lnTo>
                  <a:lnTo>
                    <a:pt x="599" y="53"/>
                  </a:lnTo>
                  <a:lnTo>
                    <a:pt x="590" y="53"/>
                  </a:lnTo>
                  <a:lnTo>
                    <a:pt x="587" y="52"/>
                  </a:lnTo>
                  <a:lnTo>
                    <a:pt x="586" y="52"/>
                  </a:lnTo>
                  <a:lnTo>
                    <a:pt x="587" y="50"/>
                  </a:lnTo>
                  <a:lnTo>
                    <a:pt x="587" y="50"/>
                  </a:lnTo>
                  <a:lnTo>
                    <a:pt x="591" y="43"/>
                  </a:lnTo>
                  <a:lnTo>
                    <a:pt x="593" y="40"/>
                  </a:lnTo>
                  <a:lnTo>
                    <a:pt x="591" y="40"/>
                  </a:lnTo>
                  <a:lnTo>
                    <a:pt x="591" y="40"/>
                  </a:lnTo>
                  <a:lnTo>
                    <a:pt x="588" y="40"/>
                  </a:lnTo>
                  <a:lnTo>
                    <a:pt x="584" y="42"/>
                  </a:lnTo>
                  <a:lnTo>
                    <a:pt x="578" y="47"/>
                  </a:lnTo>
                  <a:lnTo>
                    <a:pt x="578" y="47"/>
                  </a:lnTo>
                  <a:lnTo>
                    <a:pt x="575" y="49"/>
                  </a:lnTo>
                  <a:lnTo>
                    <a:pt x="571" y="52"/>
                  </a:lnTo>
                  <a:lnTo>
                    <a:pt x="564" y="53"/>
                  </a:lnTo>
                  <a:lnTo>
                    <a:pt x="564" y="53"/>
                  </a:lnTo>
                  <a:lnTo>
                    <a:pt x="559" y="55"/>
                  </a:lnTo>
                  <a:lnTo>
                    <a:pt x="557" y="56"/>
                  </a:lnTo>
                  <a:lnTo>
                    <a:pt x="552" y="57"/>
                  </a:lnTo>
                  <a:lnTo>
                    <a:pt x="551" y="57"/>
                  </a:lnTo>
                  <a:lnTo>
                    <a:pt x="551" y="57"/>
                  </a:lnTo>
                  <a:lnTo>
                    <a:pt x="548" y="53"/>
                  </a:lnTo>
                  <a:lnTo>
                    <a:pt x="545" y="52"/>
                  </a:lnTo>
                  <a:lnTo>
                    <a:pt x="544" y="52"/>
                  </a:lnTo>
                  <a:lnTo>
                    <a:pt x="544" y="52"/>
                  </a:lnTo>
                  <a:lnTo>
                    <a:pt x="533" y="53"/>
                  </a:lnTo>
                  <a:lnTo>
                    <a:pt x="529" y="55"/>
                  </a:lnTo>
                  <a:lnTo>
                    <a:pt x="528" y="53"/>
                  </a:lnTo>
                  <a:lnTo>
                    <a:pt x="526" y="53"/>
                  </a:lnTo>
                  <a:lnTo>
                    <a:pt x="526" y="53"/>
                  </a:lnTo>
                  <a:lnTo>
                    <a:pt x="528" y="52"/>
                  </a:lnTo>
                  <a:lnTo>
                    <a:pt x="531" y="50"/>
                  </a:lnTo>
                  <a:lnTo>
                    <a:pt x="533" y="49"/>
                  </a:lnTo>
                  <a:lnTo>
                    <a:pt x="536" y="44"/>
                  </a:lnTo>
                  <a:lnTo>
                    <a:pt x="536" y="44"/>
                  </a:lnTo>
                  <a:lnTo>
                    <a:pt x="539" y="42"/>
                  </a:lnTo>
                  <a:lnTo>
                    <a:pt x="541" y="39"/>
                  </a:lnTo>
                  <a:lnTo>
                    <a:pt x="542" y="37"/>
                  </a:lnTo>
                  <a:lnTo>
                    <a:pt x="545" y="36"/>
                  </a:lnTo>
                  <a:lnTo>
                    <a:pt x="545" y="36"/>
                  </a:lnTo>
                  <a:lnTo>
                    <a:pt x="561" y="29"/>
                  </a:lnTo>
                  <a:lnTo>
                    <a:pt x="575" y="23"/>
                  </a:lnTo>
                  <a:lnTo>
                    <a:pt x="575" y="23"/>
                  </a:lnTo>
                  <a:lnTo>
                    <a:pt x="577" y="20"/>
                  </a:lnTo>
                  <a:lnTo>
                    <a:pt x="577" y="20"/>
                  </a:lnTo>
                  <a:lnTo>
                    <a:pt x="571" y="21"/>
                  </a:lnTo>
                  <a:lnTo>
                    <a:pt x="564" y="21"/>
                  </a:lnTo>
                  <a:lnTo>
                    <a:pt x="564" y="21"/>
                  </a:lnTo>
                  <a:lnTo>
                    <a:pt x="561" y="20"/>
                  </a:lnTo>
                  <a:lnTo>
                    <a:pt x="558" y="18"/>
                  </a:lnTo>
                  <a:lnTo>
                    <a:pt x="555" y="17"/>
                  </a:lnTo>
                  <a:lnTo>
                    <a:pt x="552" y="17"/>
                  </a:lnTo>
                  <a:lnTo>
                    <a:pt x="552" y="17"/>
                  </a:lnTo>
                  <a:lnTo>
                    <a:pt x="546" y="18"/>
                  </a:lnTo>
                  <a:lnTo>
                    <a:pt x="544" y="21"/>
                  </a:lnTo>
                  <a:lnTo>
                    <a:pt x="539" y="23"/>
                  </a:lnTo>
                  <a:lnTo>
                    <a:pt x="536" y="23"/>
                  </a:lnTo>
                  <a:lnTo>
                    <a:pt x="533" y="23"/>
                  </a:lnTo>
                  <a:lnTo>
                    <a:pt x="533" y="23"/>
                  </a:lnTo>
                  <a:lnTo>
                    <a:pt x="522" y="17"/>
                  </a:lnTo>
                  <a:lnTo>
                    <a:pt x="515" y="15"/>
                  </a:lnTo>
                  <a:lnTo>
                    <a:pt x="509" y="14"/>
                  </a:lnTo>
                  <a:lnTo>
                    <a:pt x="509" y="14"/>
                  </a:lnTo>
                  <a:lnTo>
                    <a:pt x="502" y="13"/>
                  </a:lnTo>
                  <a:lnTo>
                    <a:pt x="493" y="7"/>
                  </a:lnTo>
                  <a:lnTo>
                    <a:pt x="483" y="2"/>
                  </a:lnTo>
                  <a:lnTo>
                    <a:pt x="477" y="1"/>
                  </a:lnTo>
                  <a:lnTo>
                    <a:pt x="473" y="0"/>
                  </a:lnTo>
                  <a:lnTo>
                    <a:pt x="31" y="0"/>
                  </a:lnTo>
                  <a:lnTo>
                    <a:pt x="31" y="0"/>
                  </a:lnTo>
                  <a:lnTo>
                    <a:pt x="31" y="2"/>
                  </a:lnTo>
                  <a:lnTo>
                    <a:pt x="31" y="2"/>
                  </a:lnTo>
                  <a:lnTo>
                    <a:pt x="32" y="11"/>
                  </a:lnTo>
                  <a:lnTo>
                    <a:pt x="35" y="18"/>
                  </a:lnTo>
                  <a:lnTo>
                    <a:pt x="35" y="18"/>
                  </a:lnTo>
                  <a:lnTo>
                    <a:pt x="35" y="24"/>
                  </a:lnTo>
                  <a:lnTo>
                    <a:pt x="35" y="27"/>
                  </a:lnTo>
                  <a:lnTo>
                    <a:pt x="34" y="27"/>
                  </a:lnTo>
                  <a:lnTo>
                    <a:pt x="34" y="27"/>
                  </a:lnTo>
                  <a:lnTo>
                    <a:pt x="29" y="23"/>
                  </a:lnTo>
                  <a:lnTo>
                    <a:pt x="27" y="20"/>
                  </a:lnTo>
                  <a:lnTo>
                    <a:pt x="24" y="20"/>
                  </a:lnTo>
                  <a:lnTo>
                    <a:pt x="24" y="20"/>
                  </a:lnTo>
                  <a:lnTo>
                    <a:pt x="15" y="20"/>
                  </a:lnTo>
                  <a:lnTo>
                    <a:pt x="9" y="20"/>
                  </a:lnTo>
                  <a:lnTo>
                    <a:pt x="5" y="18"/>
                  </a:lnTo>
                  <a:lnTo>
                    <a:pt x="5" y="18"/>
                  </a:lnTo>
                  <a:lnTo>
                    <a:pt x="2" y="17"/>
                  </a:lnTo>
                  <a:lnTo>
                    <a:pt x="0" y="18"/>
                  </a:lnTo>
                  <a:lnTo>
                    <a:pt x="0" y="21"/>
                  </a:lnTo>
                  <a:lnTo>
                    <a:pt x="2" y="26"/>
                  </a:lnTo>
                  <a:lnTo>
                    <a:pt x="2" y="26"/>
                  </a:lnTo>
                  <a:lnTo>
                    <a:pt x="5" y="31"/>
                  </a:lnTo>
                  <a:lnTo>
                    <a:pt x="8" y="42"/>
                  </a:lnTo>
                  <a:lnTo>
                    <a:pt x="9" y="52"/>
                  </a:lnTo>
                  <a:lnTo>
                    <a:pt x="9" y="62"/>
                  </a:lnTo>
                  <a:lnTo>
                    <a:pt x="9" y="62"/>
                  </a:lnTo>
                  <a:lnTo>
                    <a:pt x="9" y="72"/>
                  </a:lnTo>
                  <a:lnTo>
                    <a:pt x="9" y="82"/>
                  </a:lnTo>
                  <a:lnTo>
                    <a:pt x="9" y="92"/>
                  </a:lnTo>
                  <a:lnTo>
                    <a:pt x="9" y="99"/>
                  </a:lnTo>
                  <a:lnTo>
                    <a:pt x="9" y="99"/>
                  </a:lnTo>
                  <a:lnTo>
                    <a:pt x="6" y="117"/>
                  </a:lnTo>
                  <a:lnTo>
                    <a:pt x="5" y="127"/>
                  </a:lnTo>
                  <a:lnTo>
                    <a:pt x="3" y="134"/>
                  </a:lnTo>
                  <a:lnTo>
                    <a:pt x="3" y="134"/>
                  </a:lnTo>
                  <a:lnTo>
                    <a:pt x="3" y="139"/>
                  </a:lnTo>
                  <a:lnTo>
                    <a:pt x="3" y="143"/>
                  </a:lnTo>
                  <a:lnTo>
                    <a:pt x="6" y="152"/>
                  </a:lnTo>
                  <a:lnTo>
                    <a:pt x="6" y="152"/>
                  </a:lnTo>
                  <a:lnTo>
                    <a:pt x="8" y="157"/>
                  </a:lnTo>
                  <a:lnTo>
                    <a:pt x="8" y="166"/>
                  </a:lnTo>
                  <a:lnTo>
                    <a:pt x="8" y="166"/>
                  </a:lnTo>
                  <a:lnTo>
                    <a:pt x="6" y="183"/>
                  </a:lnTo>
                  <a:lnTo>
                    <a:pt x="8" y="192"/>
                  </a:lnTo>
                  <a:lnTo>
                    <a:pt x="9" y="198"/>
                  </a:lnTo>
                  <a:lnTo>
                    <a:pt x="9" y="198"/>
                  </a:lnTo>
                  <a:lnTo>
                    <a:pt x="15" y="207"/>
                  </a:lnTo>
                  <a:lnTo>
                    <a:pt x="18" y="211"/>
                  </a:lnTo>
                  <a:lnTo>
                    <a:pt x="19" y="217"/>
                  </a:lnTo>
                  <a:lnTo>
                    <a:pt x="19" y="217"/>
                  </a:lnTo>
                  <a:lnTo>
                    <a:pt x="21" y="226"/>
                  </a:lnTo>
                  <a:lnTo>
                    <a:pt x="24" y="233"/>
                  </a:lnTo>
                  <a:lnTo>
                    <a:pt x="24" y="233"/>
                  </a:lnTo>
                  <a:lnTo>
                    <a:pt x="31" y="241"/>
                  </a:lnTo>
                  <a:lnTo>
                    <a:pt x="34" y="247"/>
                  </a:lnTo>
                  <a:lnTo>
                    <a:pt x="37" y="253"/>
                  </a:lnTo>
                  <a:lnTo>
                    <a:pt x="37" y="253"/>
                  </a:lnTo>
                  <a:lnTo>
                    <a:pt x="40" y="262"/>
                  </a:lnTo>
                  <a:lnTo>
                    <a:pt x="41" y="266"/>
                  </a:lnTo>
                  <a:lnTo>
                    <a:pt x="45" y="270"/>
                  </a:lnTo>
                  <a:lnTo>
                    <a:pt x="45" y="270"/>
                  </a:lnTo>
                  <a:lnTo>
                    <a:pt x="48" y="275"/>
                  </a:lnTo>
                  <a:lnTo>
                    <a:pt x="51" y="281"/>
                  </a:lnTo>
                  <a:lnTo>
                    <a:pt x="54" y="288"/>
                  </a:lnTo>
                  <a:lnTo>
                    <a:pt x="58" y="294"/>
                  </a:lnTo>
                  <a:lnTo>
                    <a:pt x="58" y="294"/>
                  </a:lnTo>
                  <a:lnTo>
                    <a:pt x="66" y="304"/>
                  </a:lnTo>
                  <a:lnTo>
                    <a:pt x="69" y="307"/>
                  </a:lnTo>
                  <a:lnTo>
                    <a:pt x="71" y="311"/>
                  </a:lnTo>
                  <a:lnTo>
                    <a:pt x="71" y="311"/>
                  </a:lnTo>
                  <a:lnTo>
                    <a:pt x="73" y="314"/>
                  </a:lnTo>
                  <a:lnTo>
                    <a:pt x="77" y="314"/>
                  </a:lnTo>
                  <a:lnTo>
                    <a:pt x="83" y="315"/>
                  </a:lnTo>
                  <a:lnTo>
                    <a:pt x="89" y="317"/>
                  </a:lnTo>
                  <a:lnTo>
                    <a:pt x="89" y="317"/>
                  </a:lnTo>
                  <a:lnTo>
                    <a:pt x="93" y="320"/>
                  </a:lnTo>
                  <a:lnTo>
                    <a:pt x="97" y="320"/>
                  </a:lnTo>
                  <a:lnTo>
                    <a:pt x="106" y="323"/>
                  </a:lnTo>
                  <a:lnTo>
                    <a:pt x="106" y="323"/>
                  </a:lnTo>
                  <a:lnTo>
                    <a:pt x="109" y="324"/>
                  </a:lnTo>
                  <a:lnTo>
                    <a:pt x="111" y="325"/>
                  </a:lnTo>
                  <a:lnTo>
                    <a:pt x="113" y="331"/>
                  </a:lnTo>
                  <a:lnTo>
                    <a:pt x="113" y="331"/>
                  </a:lnTo>
                  <a:lnTo>
                    <a:pt x="126" y="357"/>
                  </a:lnTo>
                  <a:lnTo>
                    <a:pt x="163" y="352"/>
                  </a:lnTo>
                  <a:lnTo>
                    <a:pt x="222" y="380"/>
                  </a:lnTo>
                  <a:lnTo>
                    <a:pt x="264" y="380"/>
                  </a:lnTo>
                  <a:lnTo>
                    <a:pt x="268" y="370"/>
                  </a:lnTo>
                  <a:lnTo>
                    <a:pt x="294" y="370"/>
                  </a:lnTo>
                  <a:lnTo>
                    <a:pt x="294" y="370"/>
                  </a:lnTo>
                  <a:lnTo>
                    <a:pt x="296" y="373"/>
                  </a:lnTo>
                  <a:lnTo>
                    <a:pt x="303" y="379"/>
                  </a:lnTo>
                  <a:lnTo>
                    <a:pt x="303" y="379"/>
                  </a:lnTo>
                  <a:lnTo>
                    <a:pt x="307" y="383"/>
                  </a:lnTo>
                  <a:lnTo>
                    <a:pt x="313" y="389"/>
                  </a:lnTo>
                  <a:lnTo>
                    <a:pt x="323" y="404"/>
                  </a:lnTo>
                  <a:lnTo>
                    <a:pt x="323" y="404"/>
                  </a:lnTo>
                  <a:lnTo>
                    <a:pt x="331" y="409"/>
                  </a:lnTo>
                  <a:lnTo>
                    <a:pt x="339" y="415"/>
                  </a:lnTo>
                  <a:lnTo>
                    <a:pt x="348" y="421"/>
                  </a:lnTo>
                  <a:lnTo>
                    <a:pt x="352" y="422"/>
                  </a:lnTo>
                  <a:lnTo>
                    <a:pt x="352" y="422"/>
                  </a:lnTo>
                  <a:lnTo>
                    <a:pt x="354" y="420"/>
                  </a:lnTo>
                  <a:lnTo>
                    <a:pt x="355" y="415"/>
                  </a:lnTo>
                  <a:lnTo>
                    <a:pt x="357" y="411"/>
                  </a:lnTo>
                  <a:lnTo>
                    <a:pt x="360" y="409"/>
                  </a:lnTo>
                  <a:lnTo>
                    <a:pt x="360" y="409"/>
                  </a:lnTo>
                  <a:lnTo>
                    <a:pt x="364" y="409"/>
                  </a:lnTo>
                  <a:lnTo>
                    <a:pt x="371" y="412"/>
                  </a:lnTo>
                  <a:lnTo>
                    <a:pt x="380" y="415"/>
                  </a:lnTo>
                  <a:lnTo>
                    <a:pt x="386" y="420"/>
                  </a:lnTo>
                  <a:lnTo>
                    <a:pt x="386" y="420"/>
                  </a:lnTo>
                  <a:lnTo>
                    <a:pt x="390" y="424"/>
                  </a:lnTo>
                  <a:lnTo>
                    <a:pt x="393" y="431"/>
                  </a:lnTo>
                  <a:lnTo>
                    <a:pt x="397" y="438"/>
                  </a:lnTo>
                  <a:lnTo>
                    <a:pt x="402" y="443"/>
                  </a:lnTo>
                  <a:lnTo>
                    <a:pt x="402" y="443"/>
                  </a:lnTo>
                  <a:lnTo>
                    <a:pt x="405" y="447"/>
                  </a:lnTo>
                  <a:lnTo>
                    <a:pt x="407" y="453"/>
                  </a:lnTo>
                  <a:lnTo>
                    <a:pt x="410" y="459"/>
                  </a:lnTo>
                  <a:lnTo>
                    <a:pt x="413" y="463"/>
                  </a:lnTo>
                  <a:lnTo>
                    <a:pt x="413" y="463"/>
                  </a:lnTo>
                  <a:lnTo>
                    <a:pt x="418" y="466"/>
                  </a:lnTo>
                  <a:lnTo>
                    <a:pt x="425" y="469"/>
                  </a:lnTo>
                  <a:lnTo>
                    <a:pt x="447" y="475"/>
                  </a:lnTo>
                  <a:lnTo>
                    <a:pt x="447" y="475"/>
                  </a:lnTo>
                  <a:lnTo>
                    <a:pt x="447" y="467"/>
                  </a:lnTo>
                  <a:lnTo>
                    <a:pt x="445" y="460"/>
                  </a:lnTo>
                  <a:lnTo>
                    <a:pt x="445" y="460"/>
                  </a:lnTo>
                  <a:lnTo>
                    <a:pt x="445" y="454"/>
                  </a:lnTo>
                  <a:lnTo>
                    <a:pt x="447" y="450"/>
                  </a:lnTo>
                  <a:lnTo>
                    <a:pt x="448" y="444"/>
                  </a:lnTo>
                  <a:lnTo>
                    <a:pt x="448" y="444"/>
                  </a:lnTo>
                  <a:lnTo>
                    <a:pt x="445" y="441"/>
                  </a:lnTo>
                  <a:lnTo>
                    <a:pt x="447" y="440"/>
                  </a:lnTo>
                  <a:lnTo>
                    <a:pt x="449" y="438"/>
                  </a:lnTo>
                  <a:lnTo>
                    <a:pt x="449" y="438"/>
                  </a:lnTo>
                  <a:lnTo>
                    <a:pt x="454" y="437"/>
                  </a:lnTo>
                  <a:lnTo>
                    <a:pt x="457" y="433"/>
                  </a:lnTo>
                  <a:lnTo>
                    <a:pt x="458" y="430"/>
                  </a:lnTo>
                  <a:lnTo>
                    <a:pt x="462" y="427"/>
                  </a:lnTo>
                  <a:lnTo>
                    <a:pt x="462" y="427"/>
                  </a:lnTo>
                  <a:lnTo>
                    <a:pt x="473" y="422"/>
                  </a:lnTo>
                  <a:lnTo>
                    <a:pt x="478" y="420"/>
                  </a:lnTo>
                  <a:lnTo>
                    <a:pt x="481" y="415"/>
                  </a:lnTo>
                  <a:lnTo>
                    <a:pt x="481" y="415"/>
                  </a:lnTo>
                  <a:lnTo>
                    <a:pt x="483" y="412"/>
                  </a:lnTo>
                  <a:lnTo>
                    <a:pt x="483" y="409"/>
                  </a:lnTo>
                  <a:lnTo>
                    <a:pt x="483" y="409"/>
                  </a:lnTo>
                  <a:lnTo>
                    <a:pt x="487" y="409"/>
                  </a:lnTo>
                  <a:lnTo>
                    <a:pt x="487" y="409"/>
                  </a:lnTo>
                  <a:lnTo>
                    <a:pt x="491" y="412"/>
                  </a:lnTo>
                  <a:lnTo>
                    <a:pt x="494" y="412"/>
                  </a:lnTo>
                  <a:lnTo>
                    <a:pt x="502" y="411"/>
                  </a:lnTo>
                  <a:lnTo>
                    <a:pt x="502" y="411"/>
                  </a:lnTo>
                  <a:lnTo>
                    <a:pt x="512" y="409"/>
                  </a:lnTo>
                  <a:lnTo>
                    <a:pt x="522" y="409"/>
                  </a:lnTo>
                  <a:lnTo>
                    <a:pt x="522" y="409"/>
                  </a:lnTo>
                  <a:lnTo>
                    <a:pt x="528" y="408"/>
                  </a:lnTo>
                  <a:lnTo>
                    <a:pt x="531" y="408"/>
                  </a:lnTo>
                  <a:lnTo>
                    <a:pt x="532" y="408"/>
                  </a:lnTo>
                  <a:lnTo>
                    <a:pt x="532" y="408"/>
                  </a:lnTo>
                  <a:lnTo>
                    <a:pt x="538" y="411"/>
                  </a:lnTo>
                  <a:lnTo>
                    <a:pt x="541" y="412"/>
                  </a:lnTo>
                  <a:lnTo>
                    <a:pt x="544" y="414"/>
                  </a:lnTo>
                  <a:lnTo>
                    <a:pt x="544" y="414"/>
                  </a:lnTo>
                  <a:lnTo>
                    <a:pt x="545" y="417"/>
                  </a:lnTo>
                  <a:lnTo>
                    <a:pt x="546" y="418"/>
                  </a:lnTo>
                  <a:lnTo>
                    <a:pt x="549" y="418"/>
                  </a:lnTo>
                  <a:lnTo>
                    <a:pt x="552" y="417"/>
                  </a:lnTo>
                  <a:lnTo>
                    <a:pt x="552" y="417"/>
                  </a:lnTo>
                  <a:lnTo>
                    <a:pt x="558" y="412"/>
                  </a:lnTo>
                  <a:lnTo>
                    <a:pt x="567" y="408"/>
                  </a:lnTo>
                  <a:lnTo>
                    <a:pt x="567" y="408"/>
                  </a:lnTo>
                  <a:lnTo>
                    <a:pt x="573" y="405"/>
                  </a:lnTo>
                  <a:lnTo>
                    <a:pt x="577" y="402"/>
                  </a:lnTo>
                  <a:lnTo>
                    <a:pt x="580" y="399"/>
                  </a:lnTo>
                  <a:lnTo>
                    <a:pt x="584" y="398"/>
                  </a:lnTo>
                  <a:lnTo>
                    <a:pt x="584" y="398"/>
                  </a:lnTo>
                  <a:lnTo>
                    <a:pt x="591" y="398"/>
                  </a:lnTo>
                  <a:lnTo>
                    <a:pt x="596" y="396"/>
                  </a:lnTo>
                  <a:lnTo>
                    <a:pt x="596" y="396"/>
                  </a:lnTo>
                  <a:lnTo>
                    <a:pt x="597" y="396"/>
                  </a:lnTo>
                  <a:lnTo>
                    <a:pt x="597" y="398"/>
                  </a:lnTo>
                  <a:lnTo>
                    <a:pt x="599" y="398"/>
                  </a:lnTo>
                  <a:lnTo>
                    <a:pt x="601" y="398"/>
                  </a:lnTo>
                  <a:lnTo>
                    <a:pt x="601" y="398"/>
                  </a:lnTo>
                  <a:lnTo>
                    <a:pt x="609" y="396"/>
                  </a:lnTo>
                  <a:lnTo>
                    <a:pt x="610" y="396"/>
                  </a:lnTo>
                  <a:lnTo>
                    <a:pt x="615" y="398"/>
                  </a:lnTo>
                  <a:lnTo>
                    <a:pt x="615" y="398"/>
                  </a:lnTo>
                  <a:lnTo>
                    <a:pt x="619" y="399"/>
                  </a:lnTo>
                  <a:lnTo>
                    <a:pt x="622" y="398"/>
                  </a:lnTo>
                  <a:lnTo>
                    <a:pt x="623" y="398"/>
                  </a:lnTo>
                  <a:lnTo>
                    <a:pt x="626" y="398"/>
                  </a:lnTo>
                  <a:lnTo>
                    <a:pt x="626" y="398"/>
                  </a:lnTo>
                  <a:lnTo>
                    <a:pt x="633" y="402"/>
                  </a:lnTo>
                  <a:lnTo>
                    <a:pt x="638" y="405"/>
                  </a:lnTo>
                  <a:lnTo>
                    <a:pt x="642" y="407"/>
                  </a:lnTo>
                  <a:lnTo>
                    <a:pt x="642" y="407"/>
                  </a:lnTo>
                  <a:lnTo>
                    <a:pt x="649" y="407"/>
                  </a:lnTo>
                  <a:lnTo>
                    <a:pt x="651" y="405"/>
                  </a:lnTo>
                  <a:lnTo>
                    <a:pt x="654" y="404"/>
                  </a:lnTo>
                  <a:lnTo>
                    <a:pt x="654" y="404"/>
                  </a:lnTo>
                  <a:lnTo>
                    <a:pt x="657" y="399"/>
                  </a:lnTo>
                  <a:lnTo>
                    <a:pt x="658" y="398"/>
                  </a:lnTo>
                  <a:lnTo>
                    <a:pt x="661" y="401"/>
                  </a:lnTo>
                  <a:lnTo>
                    <a:pt x="661" y="401"/>
                  </a:lnTo>
                  <a:lnTo>
                    <a:pt x="668" y="411"/>
                  </a:lnTo>
                  <a:lnTo>
                    <a:pt x="671" y="415"/>
                  </a:lnTo>
                  <a:lnTo>
                    <a:pt x="674" y="418"/>
                  </a:lnTo>
                  <a:lnTo>
                    <a:pt x="674" y="418"/>
                  </a:lnTo>
                  <a:lnTo>
                    <a:pt x="675" y="420"/>
                  </a:lnTo>
                  <a:lnTo>
                    <a:pt x="677" y="422"/>
                  </a:lnTo>
                  <a:lnTo>
                    <a:pt x="680" y="430"/>
                  </a:lnTo>
                  <a:lnTo>
                    <a:pt x="680" y="444"/>
                  </a:lnTo>
                  <a:lnTo>
                    <a:pt x="680" y="444"/>
                  </a:lnTo>
                  <a:lnTo>
                    <a:pt x="681" y="449"/>
                  </a:lnTo>
                  <a:lnTo>
                    <a:pt x="684" y="454"/>
                  </a:lnTo>
                  <a:lnTo>
                    <a:pt x="685" y="460"/>
                  </a:lnTo>
                  <a:lnTo>
                    <a:pt x="688" y="462"/>
                  </a:lnTo>
                  <a:lnTo>
                    <a:pt x="688" y="462"/>
                  </a:lnTo>
                  <a:lnTo>
                    <a:pt x="690" y="459"/>
                  </a:lnTo>
                  <a:lnTo>
                    <a:pt x="690" y="459"/>
                  </a:lnTo>
                  <a:lnTo>
                    <a:pt x="691" y="460"/>
                  </a:lnTo>
                  <a:lnTo>
                    <a:pt x="691" y="460"/>
                  </a:lnTo>
                  <a:lnTo>
                    <a:pt x="694" y="467"/>
                  </a:lnTo>
                  <a:lnTo>
                    <a:pt x="697" y="473"/>
                  </a:lnTo>
                  <a:lnTo>
                    <a:pt x="700" y="478"/>
                  </a:lnTo>
                  <a:lnTo>
                    <a:pt x="700" y="478"/>
                  </a:lnTo>
                  <a:lnTo>
                    <a:pt x="704" y="483"/>
                  </a:lnTo>
                  <a:lnTo>
                    <a:pt x="709" y="488"/>
                  </a:lnTo>
                  <a:lnTo>
                    <a:pt x="709" y="488"/>
                  </a:lnTo>
                  <a:lnTo>
                    <a:pt x="713" y="495"/>
                  </a:lnTo>
                  <a:lnTo>
                    <a:pt x="716" y="496"/>
                  </a:lnTo>
                  <a:lnTo>
                    <a:pt x="717" y="496"/>
                  </a:lnTo>
                  <a:lnTo>
                    <a:pt x="719" y="495"/>
                  </a:lnTo>
                  <a:lnTo>
                    <a:pt x="719" y="495"/>
                  </a:lnTo>
                  <a:lnTo>
                    <a:pt x="720" y="489"/>
                  </a:lnTo>
                  <a:lnTo>
                    <a:pt x="720" y="480"/>
                  </a:lnTo>
                  <a:lnTo>
                    <a:pt x="720" y="465"/>
                  </a:lnTo>
                  <a:lnTo>
                    <a:pt x="720" y="465"/>
                  </a:lnTo>
                  <a:lnTo>
                    <a:pt x="719" y="456"/>
                  </a:lnTo>
                  <a:lnTo>
                    <a:pt x="716" y="444"/>
                  </a:lnTo>
                  <a:lnTo>
                    <a:pt x="713" y="433"/>
                  </a:lnTo>
                  <a:lnTo>
                    <a:pt x="709" y="424"/>
                  </a:lnTo>
                  <a:lnTo>
                    <a:pt x="709" y="424"/>
                  </a:lnTo>
                  <a:lnTo>
                    <a:pt x="704" y="417"/>
                  </a:lnTo>
                  <a:lnTo>
                    <a:pt x="700" y="408"/>
                  </a:lnTo>
                  <a:lnTo>
                    <a:pt x="697" y="399"/>
                  </a:lnTo>
                  <a:lnTo>
                    <a:pt x="697" y="395"/>
                  </a:lnTo>
                  <a:lnTo>
                    <a:pt x="697" y="391"/>
                  </a:lnTo>
                  <a:lnTo>
                    <a:pt x="697" y="391"/>
                  </a:lnTo>
                  <a:lnTo>
                    <a:pt x="701" y="375"/>
                  </a:lnTo>
                  <a:lnTo>
                    <a:pt x="706" y="365"/>
                  </a:lnTo>
                  <a:lnTo>
                    <a:pt x="706" y="365"/>
                  </a:lnTo>
                  <a:lnTo>
                    <a:pt x="709" y="360"/>
                  </a:lnTo>
                  <a:lnTo>
                    <a:pt x="713" y="359"/>
                  </a:lnTo>
                  <a:lnTo>
                    <a:pt x="720" y="354"/>
                  </a:lnTo>
                  <a:lnTo>
                    <a:pt x="720" y="354"/>
                  </a:lnTo>
                  <a:lnTo>
                    <a:pt x="732" y="350"/>
                  </a:lnTo>
                  <a:lnTo>
                    <a:pt x="732" y="350"/>
                  </a:lnTo>
                  <a:lnTo>
                    <a:pt x="735" y="346"/>
                  </a:lnTo>
                  <a:lnTo>
                    <a:pt x="738" y="340"/>
                  </a:lnTo>
                  <a:lnTo>
                    <a:pt x="742" y="331"/>
                  </a:lnTo>
                  <a:lnTo>
                    <a:pt x="742" y="331"/>
                  </a:lnTo>
                  <a:lnTo>
                    <a:pt x="748" y="331"/>
                  </a:lnTo>
                  <a:lnTo>
                    <a:pt x="752" y="331"/>
                  </a:lnTo>
                  <a:lnTo>
                    <a:pt x="755" y="331"/>
                  </a:lnTo>
                  <a:lnTo>
                    <a:pt x="755" y="331"/>
                  </a:lnTo>
                  <a:lnTo>
                    <a:pt x="759" y="328"/>
                  </a:lnTo>
                  <a:lnTo>
                    <a:pt x="762" y="323"/>
                  </a:lnTo>
                  <a:lnTo>
                    <a:pt x="770" y="314"/>
                  </a:lnTo>
                  <a:lnTo>
                    <a:pt x="770" y="314"/>
                  </a:lnTo>
                  <a:lnTo>
                    <a:pt x="772" y="312"/>
                  </a:lnTo>
                  <a:lnTo>
                    <a:pt x="777" y="312"/>
                  </a:lnTo>
                  <a:lnTo>
                    <a:pt x="780" y="311"/>
                  </a:lnTo>
                  <a:lnTo>
                    <a:pt x="781" y="311"/>
                  </a:lnTo>
                  <a:lnTo>
                    <a:pt x="781" y="310"/>
                  </a:lnTo>
                  <a:lnTo>
                    <a:pt x="781" y="310"/>
                  </a:lnTo>
                  <a:lnTo>
                    <a:pt x="780" y="304"/>
                  </a:lnTo>
                  <a:lnTo>
                    <a:pt x="781" y="301"/>
                  </a:lnTo>
                  <a:lnTo>
                    <a:pt x="783" y="299"/>
                  </a:lnTo>
                  <a:lnTo>
                    <a:pt x="783" y="299"/>
                  </a:lnTo>
                  <a:lnTo>
                    <a:pt x="785" y="299"/>
                  </a:lnTo>
                  <a:lnTo>
                    <a:pt x="787" y="298"/>
                  </a:lnTo>
                  <a:lnTo>
                    <a:pt x="790" y="294"/>
                  </a:lnTo>
                  <a:lnTo>
                    <a:pt x="790" y="294"/>
                  </a:lnTo>
                  <a:lnTo>
                    <a:pt x="790" y="285"/>
                  </a:lnTo>
                  <a:lnTo>
                    <a:pt x="790" y="279"/>
                  </a:lnTo>
                  <a:lnTo>
                    <a:pt x="788" y="276"/>
                  </a:lnTo>
                  <a:lnTo>
                    <a:pt x="788" y="276"/>
                  </a:lnTo>
                  <a:lnTo>
                    <a:pt x="783" y="269"/>
                  </a:lnTo>
                  <a:lnTo>
                    <a:pt x="781" y="266"/>
                  </a:lnTo>
                  <a:lnTo>
                    <a:pt x="780" y="263"/>
                  </a:lnTo>
                  <a:lnTo>
                    <a:pt x="780" y="263"/>
                  </a:lnTo>
                  <a:lnTo>
                    <a:pt x="781" y="257"/>
                  </a:lnTo>
                  <a:lnTo>
                    <a:pt x="783" y="254"/>
                  </a:lnTo>
                  <a:lnTo>
                    <a:pt x="783" y="252"/>
                  </a:lnTo>
                  <a:lnTo>
                    <a:pt x="783" y="252"/>
                  </a:lnTo>
                  <a:lnTo>
                    <a:pt x="783" y="249"/>
                  </a:lnTo>
                  <a:lnTo>
                    <a:pt x="783" y="246"/>
                  </a:lnTo>
                  <a:lnTo>
                    <a:pt x="784" y="244"/>
                  </a:lnTo>
                  <a:lnTo>
                    <a:pt x="785" y="244"/>
                  </a:lnTo>
                  <a:lnTo>
                    <a:pt x="785" y="244"/>
                  </a:lnTo>
                  <a:lnTo>
                    <a:pt x="788" y="249"/>
                  </a:lnTo>
                  <a:lnTo>
                    <a:pt x="790" y="252"/>
                  </a:lnTo>
                  <a:lnTo>
                    <a:pt x="790" y="253"/>
                  </a:lnTo>
                  <a:lnTo>
                    <a:pt x="790" y="253"/>
                  </a:lnTo>
                  <a:lnTo>
                    <a:pt x="788" y="259"/>
                  </a:lnTo>
                  <a:lnTo>
                    <a:pt x="788" y="262"/>
                  </a:lnTo>
                  <a:lnTo>
                    <a:pt x="790" y="260"/>
                  </a:lnTo>
                  <a:lnTo>
                    <a:pt x="790" y="260"/>
                  </a:lnTo>
                  <a:lnTo>
                    <a:pt x="796" y="256"/>
                  </a:lnTo>
                  <a:lnTo>
                    <a:pt x="797" y="254"/>
                  </a:lnTo>
                  <a:lnTo>
                    <a:pt x="798" y="253"/>
                  </a:lnTo>
                  <a:lnTo>
                    <a:pt x="798" y="253"/>
                  </a:lnTo>
                  <a:lnTo>
                    <a:pt x="800" y="243"/>
                  </a:lnTo>
                  <a:lnTo>
                    <a:pt x="801" y="239"/>
                  </a:lnTo>
                  <a:lnTo>
                    <a:pt x="804" y="234"/>
                  </a:lnTo>
                  <a:lnTo>
                    <a:pt x="804" y="234"/>
                  </a:lnTo>
                  <a:lnTo>
                    <a:pt x="804" y="233"/>
                  </a:lnTo>
                  <a:lnTo>
                    <a:pt x="804" y="231"/>
                  </a:lnTo>
                  <a:lnTo>
                    <a:pt x="803" y="228"/>
                  </a:lnTo>
                  <a:lnTo>
                    <a:pt x="801" y="226"/>
                  </a:lnTo>
                  <a:lnTo>
                    <a:pt x="800" y="224"/>
                  </a:lnTo>
                  <a:lnTo>
                    <a:pt x="801" y="224"/>
                  </a:lnTo>
                  <a:lnTo>
                    <a:pt x="801" y="224"/>
                  </a:lnTo>
                  <a:lnTo>
                    <a:pt x="803" y="223"/>
                  </a:lnTo>
                  <a:lnTo>
                    <a:pt x="804" y="223"/>
                  </a:lnTo>
                  <a:lnTo>
                    <a:pt x="807" y="221"/>
                  </a:lnTo>
                  <a:lnTo>
                    <a:pt x="810" y="220"/>
                  </a:lnTo>
                  <a:lnTo>
                    <a:pt x="810" y="220"/>
                  </a:lnTo>
                  <a:lnTo>
                    <a:pt x="817" y="210"/>
                  </a:lnTo>
                  <a:lnTo>
                    <a:pt x="820" y="205"/>
                  </a:lnTo>
                  <a:lnTo>
                    <a:pt x="820" y="201"/>
                  </a:lnTo>
                  <a:lnTo>
                    <a:pt x="820" y="201"/>
                  </a:lnTo>
                  <a:lnTo>
                    <a:pt x="819" y="197"/>
                  </a:lnTo>
                  <a:lnTo>
                    <a:pt x="820" y="194"/>
                  </a:lnTo>
                  <a:lnTo>
                    <a:pt x="822" y="192"/>
                  </a:lnTo>
                  <a:lnTo>
                    <a:pt x="822" y="192"/>
                  </a:lnTo>
                  <a:lnTo>
                    <a:pt x="830" y="189"/>
                  </a:lnTo>
                  <a:lnTo>
                    <a:pt x="833" y="189"/>
                  </a:lnTo>
                  <a:lnTo>
                    <a:pt x="835" y="188"/>
                  </a:lnTo>
                  <a:lnTo>
                    <a:pt x="835" y="188"/>
                  </a:lnTo>
                  <a:lnTo>
                    <a:pt x="836" y="185"/>
                  </a:lnTo>
                  <a:lnTo>
                    <a:pt x="838" y="183"/>
                  </a:lnTo>
                  <a:lnTo>
                    <a:pt x="839" y="182"/>
                  </a:lnTo>
                  <a:lnTo>
                    <a:pt x="839" y="182"/>
                  </a:lnTo>
                  <a:lnTo>
                    <a:pt x="843" y="185"/>
                  </a:lnTo>
                  <a:lnTo>
                    <a:pt x="848" y="185"/>
                  </a:lnTo>
                  <a:lnTo>
                    <a:pt x="851" y="185"/>
                  </a:lnTo>
                  <a:lnTo>
                    <a:pt x="851" y="185"/>
                  </a:lnTo>
                  <a:lnTo>
                    <a:pt x="855" y="182"/>
                  </a:lnTo>
                  <a:lnTo>
                    <a:pt x="861" y="179"/>
                  </a:lnTo>
                  <a:lnTo>
                    <a:pt x="867" y="175"/>
                  </a:lnTo>
                  <a:lnTo>
                    <a:pt x="872" y="173"/>
                  </a:lnTo>
                  <a:lnTo>
                    <a:pt x="872" y="173"/>
                  </a:lnTo>
                  <a:lnTo>
                    <a:pt x="881" y="172"/>
                  </a:lnTo>
                  <a:lnTo>
                    <a:pt x="882" y="170"/>
                  </a:lnTo>
                  <a:lnTo>
                    <a:pt x="882" y="169"/>
                  </a:lnTo>
                  <a:lnTo>
                    <a:pt x="882" y="169"/>
                  </a:lnTo>
                  <a:lnTo>
                    <a:pt x="881" y="168"/>
                  </a:lnTo>
                  <a:lnTo>
                    <a:pt x="878" y="166"/>
                  </a:lnTo>
                  <a:lnTo>
                    <a:pt x="875" y="165"/>
                  </a:lnTo>
                  <a:lnTo>
                    <a:pt x="874" y="163"/>
                  </a:lnTo>
                  <a:lnTo>
                    <a:pt x="874" y="163"/>
                  </a:lnTo>
                  <a:lnTo>
                    <a:pt x="872" y="160"/>
                  </a:lnTo>
                  <a:lnTo>
                    <a:pt x="872" y="156"/>
                  </a:lnTo>
                  <a:lnTo>
                    <a:pt x="872" y="152"/>
                  </a:lnTo>
                  <a:lnTo>
                    <a:pt x="872" y="147"/>
                  </a:lnTo>
                  <a:lnTo>
                    <a:pt x="872" y="147"/>
                  </a:lnTo>
                  <a:lnTo>
                    <a:pt x="872" y="143"/>
                  </a:lnTo>
                  <a:lnTo>
                    <a:pt x="874" y="139"/>
                  </a:lnTo>
                  <a:lnTo>
                    <a:pt x="877" y="133"/>
                  </a:lnTo>
                  <a:lnTo>
                    <a:pt x="881" y="130"/>
                  </a:lnTo>
                  <a:lnTo>
                    <a:pt x="881" y="130"/>
                  </a:lnTo>
                  <a:lnTo>
                    <a:pt x="891" y="123"/>
                  </a:lnTo>
                  <a:lnTo>
                    <a:pt x="900" y="117"/>
                  </a:lnTo>
                  <a:lnTo>
                    <a:pt x="900" y="117"/>
                  </a:lnTo>
                  <a:lnTo>
                    <a:pt x="906" y="113"/>
                  </a:lnTo>
                  <a:lnTo>
                    <a:pt x="910" y="113"/>
                  </a:lnTo>
                  <a:lnTo>
                    <a:pt x="910" y="113"/>
                  </a:lnTo>
                  <a:lnTo>
                    <a:pt x="916" y="111"/>
                  </a:lnTo>
                  <a:lnTo>
                    <a:pt x="923" y="107"/>
                  </a:lnTo>
                  <a:lnTo>
                    <a:pt x="930" y="102"/>
                  </a:lnTo>
                  <a:lnTo>
                    <a:pt x="932" y="99"/>
                  </a:lnTo>
                  <a:lnTo>
                    <a:pt x="932" y="99"/>
                  </a:lnTo>
                  <a:lnTo>
                    <a:pt x="932" y="98"/>
                  </a:lnTo>
                  <a:lnTo>
                    <a:pt x="929" y="97"/>
                  </a:lnTo>
                  <a:lnTo>
                    <a:pt x="929" y="95"/>
                  </a:lnTo>
                  <a:lnTo>
                    <a:pt x="932" y="94"/>
                  </a:lnTo>
                  <a:lnTo>
                    <a:pt x="932" y="94"/>
                  </a:lnTo>
                  <a:lnTo>
                    <a:pt x="926" y="89"/>
                  </a:lnTo>
                  <a:lnTo>
                    <a:pt x="924" y="85"/>
                  </a:lnTo>
                  <a:close/>
                  <a:moveTo>
                    <a:pt x="203" y="185"/>
                  </a:moveTo>
                  <a:lnTo>
                    <a:pt x="203" y="185"/>
                  </a:lnTo>
                  <a:lnTo>
                    <a:pt x="202" y="186"/>
                  </a:lnTo>
                  <a:lnTo>
                    <a:pt x="199" y="188"/>
                  </a:lnTo>
                  <a:lnTo>
                    <a:pt x="196" y="189"/>
                  </a:lnTo>
                  <a:lnTo>
                    <a:pt x="196" y="189"/>
                  </a:lnTo>
                  <a:lnTo>
                    <a:pt x="190" y="182"/>
                  </a:lnTo>
                  <a:lnTo>
                    <a:pt x="187" y="178"/>
                  </a:lnTo>
                  <a:lnTo>
                    <a:pt x="187" y="178"/>
                  </a:lnTo>
                  <a:lnTo>
                    <a:pt x="187" y="170"/>
                  </a:lnTo>
                  <a:lnTo>
                    <a:pt x="187" y="169"/>
                  </a:lnTo>
                  <a:lnTo>
                    <a:pt x="190" y="168"/>
                  </a:lnTo>
                  <a:lnTo>
                    <a:pt x="190" y="168"/>
                  </a:lnTo>
                  <a:lnTo>
                    <a:pt x="192" y="168"/>
                  </a:lnTo>
                  <a:lnTo>
                    <a:pt x="192" y="169"/>
                  </a:lnTo>
                  <a:lnTo>
                    <a:pt x="193" y="175"/>
                  </a:lnTo>
                  <a:lnTo>
                    <a:pt x="193" y="175"/>
                  </a:lnTo>
                  <a:lnTo>
                    <a:pt x="196" y="178"/>
                  </a:lnTo>
                  <a:lnTo>
                    <a:pt x="196" y="179"/>
                  </a:lnTo>
                  <a:lnTo>
                    <a:pt x="197" y="178"/>
                  </a:lnTo>
                  <a:lnTo>
                    <a:pt x="197" y="178"/>
                  </a:lnTo>
                  <a:lnTo>
                    <a:pt x="197" y="173"/>
                  </a:lnTo>
                  <a:lnTo>
                    <a:pt x="199" y="172"/>
                  </a:lnTo>
                  <a:lnTo>
                    <a:pt x="199" y="173"/>
                  </a:lnTo>
                  <a:lnTo>
                    <a:pt x="199" y="173"/>
                  </a:lnTo>
                  <a:lnTo>
                    <a:pt x="202" y="179"/>
                  </a:lnTo>
                  <a:lnTo>
                    <a:pt x="203" y="182"/>
                  </a:lnTo>
                  <a:lnTo>
                    <a:pt x="203" y="185"/>
                  </a:lnTo>
                  <a:close/>
                  <a:moveTo>
                    <a:pt x="232" y="262"/>
                  </a:moveTo>
                  <a:lnTo>
                    <a:pt x="232" y="262"/>
                  </a:lnTo>
                  <a:lnTo>
                    <a:pt x="231" y="263"/>
                  </a:lnTo>
                  <a:lnTo>
                    <a:pt x="229" y="265"/>
                  </a:lnTo>
                  <a:lnTo>
                    <a:pt x="225" y="266"/>
                  </a:lnTo>
                  <a:lnTo>
                    <a:pt x="225" y="266"/>
                  </a:lnTo>
                  <a:lnTo>
                    <a:pt x="222" y="268"/>
                  </a:lnTo>
                  <a:lnTo>
                    <a:pt x="219" y="269"/>
                  </a:lnTo>
                  <a:lnTo>
                    <a:pt x="216" y="270"/>
                  </a:lnTo>
                  <a:lnTo>
                    <a:pt x="215" y="270"/>
                  </a:lnTo>
                  <a:lnTo>
                    <a:pt x="215" y="270"/>
                  </a:lnTo>
                  <a:lnTo>
                    <a:pt x="216" y="268"/>
                  </a:lnTo>
                  <a:lnTo>
                    <a:pt x="222" y="262"/>
                  </a:lnTo>
                  <a:lnTo>
                    <a:pt x="232" y="253"/>
                  </a:lnTo>
                  <a:lnTo>
                    <a:pt x="232" y="253"/>
                  </a:lnTo>
                  <a:lnTo>
                    <a:pt x="234" y="253"/>
                  </a:lnTo>
                  <a:lnTo>
                    <a:pt x="234" y="256"/>
                  </a:lnTo>
                  <a:lnTo>
                    <a:pt x="232" y="262"/>
                  </a:lnTo>
                  <a:close/>
                  <a:moveTo>
                    <a:pt x="293" y="34"/>
                  </a:moveTo>
                  <a:lnTo>
                    <a:pt x="293" y="34"/>
                  </a:lnTo>
                  <a:lnTo>
                    <a:pt x="289" y="36"/>
                  </a:lnTo>
                  <a:lnTo>
                    <a:pt x="284" y="36"/>
                  </a:lnTo>
                  <a:lnTo>
                    <a:pt x="281" y="34"/>
                  </a:lnTo>
                  <a:lnTo>
                    <a:pt x="280" y="36"/>
                  </a:lnTo>
                  <a:lnTo>
                    <a:pt x="280" y="36"/>
                  </a:lnTo>
                  <a:lnTo>
                    <a:pt x="276" y="37"/>
                  </a:lnTo>
                  <a:lnTo>
                    <a:pt x="271" y="39"/>
                  </a:lnTo>
                  <a:lnTo>
                    <a:pt x="271" y="39"/>
                  </a:lnTo>
                  <a:lnTo>
                    <a:pt x="270" y="37"/>
                  </a:lnTo>
                  <a:lnTo>
                    <a:pt x="268" y="36"/>
                  </a:lnTo>
                  <a:lnTo>
                    <a:pt x="267" y="34"/>
                  </a:lnTo>
                  <a:lnTo>
                    <a:pt x="263" y="34"/>
                  </a:lnTo>
                  <a:lnTo>
                    <a:pt x="263" y="34"/>
                  </a:lnTo>
                  <a:lnTo>
                    <a:pt x="260" y="33"/>
                  </a:lnTo>
                  <a:lnTo>
                    <a:pt x="258" y="31"/>
                  </a:lnTo>
                  <a:lnTo>
                    <a:pt x="260" y="30"/>
                  </a:lnTo>
                  <a:lnTo>
                    <a:pt x="261" y="30"/>
                  </a:lnTo>
                  <a:lnTo>
                    <a:pt x="261" y="30"/>
                  </a:lnTo>
                  <a:lnTo>
                    <a:pt x="270" y="30"/>
                  </a:lnTo>
                  <a:lnTo>
                    <a:pt x="277" y="30"/>
                  </a:lnTo>
                  <a:lnTo>
                    <a:pt x="277" y="30"/>
                  </a:lnTo>
                  <a:lnTo>
                    <a:pt x="290" y="30"/>
                  </a:lnTo>
                  <a:lnTo>
                    <a:pt x="294" y="31"/>
                  </a:lnTo>
                  <a:lnTo>
                    <a:pt x="294" y="33"/>
                  </a:lnTo>
                  <a:lnTo>
                    <a:pt x="293" y="34"/>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40" name="Freeform 696"/>
            <p:cNvSpPr>
              <a:spLocks/>
            </p:cNvSpPr>
            <p:nvPr/>
          </p:nvSpPr>
          <p:spPr bwMode="auto">
            <a:xfrm>
              <a:off x="1114425" y="3326242"/>
              <a:ext cx="1479550" cy="787400"/>
            </a:xfrm>
            <a:custGeom>
              <a:avLst/>
              <a:gdLst>
                <a:gd name="T0" fmla="*/ 919 w 932"/>
                <a:gd name="T1" fmla="*/ 44 h 496"/>
                <a:gd name="T2" fmla="*/ 878 w 932"/>
                <a:gd name="T3" fmla="*/ 66 h 496"/>
                <a:gd name="T4" fmla="*/ 780 w 932"/>
                <a:gd name="T5" fmla="*/ 115 h 496"/>
                <a:gd name="T6" fmla="*/ 767 w 932"/>
                <a:gd name="T7" fmla="*/ 137 h 496"/>
                <a:gd name="T8" fmla="*/ 738 w 932"/>
                <a:gd name="T9" fmla="*/ 149 h 496"/>
                <a:gd name="T10" fmla="*/ 672 w 932"/>
                <a:gd name="T11" fmla="*/ 170 h 496"/>
                <a:gd name="T12" fmla="*/ 675 w 932"/>
                <a:gd name="T13" fmla="*/ 155 h 496"/>
                <a:gd name="T14" fmla="*/ 683 w 932"/>
                <a:gd name="T15" fmla="*/ 127 h 496"/>
                <a:gd name="T16" fmla="*/ 661 w 932"/>
                <a:gd name="T17" fmla="*/ 127 h 496"/>
                <a:gd name="T18" fmla="*/ 662 w 932"/>
                <a:gd name="T19" fmla="*/ 85 h 496"/>
                <a:gd name="T20" fmla="*/ 649 w 932"/>
                <a:gd name="T21" fmla="*/ 76 h 496"/>
                <a:gd name="T22" fmla="*/ 632 w 932"/>
                <a:gd name="T23" fmla="*/ 94 h 496"/>
                <a:gd name="T24" fmla="*/ 619 w 932"/>
                <a:gd name="T25" fmla="*/ 144 h 496"/>
                <a:gd name="T26" fmla="*/ 599 w 932"/>
                <a:gd name="T27" fmla="*/ 165 h 496"/>
                <a:gd name="T28" fmla="*/ 603 w 932"/>
                <a:gd name="T29" fmla="*/ 99 h 496"/>
                <a:gd name="T30" fmla="*/ 607 w 932"/>
                <a:gd name="T31" fmla="*/ 78 h 496"/>
                <a:gd name="T32" fmla="*/ 635 w 932"/>
                <a:gd name="T33" fmla="*/ 72 h 496"/>
                <a:gd name="T34" fmla="*/ 651 w 932"/>
                <a:gd name="T35" fmla="*/ 65 h 496"/>
                <a:gd name="T36" fmla="*/ 629 w 932"/>
                <a:gd name="T37" fmla="*/ 56 h 496"/>
                <a:gd name="T38" fmla="*/ 607 w 932"/>
                <a:gd name="T39" fmla="*/ 56 h 496"/>
                <a:gd name="T40" fmla="*/ 591 w 932"/>
                <a:gd name="T41" fmla="*/ 40 h 496"/>
                <a:gd name="T42" fmla="*/ 557 w 932"/>
                <a:gd name="T43" fmla="*/ 56 h 496"/>
                <a:gd name="T44" fmla="*/ 526 w 932"/>
                <a:gd name="T45" fmla="*/ 53 h 496"/>
                <a:gd name="T46" fmla="*/ 545 w 932"/>
                <a:gd name="T47" fmla="*/ 36 h 496"/>
                <a:gd name="T48" fmla="*/ 555 w 932"/>
                <a:gd name="T49" fmla="*/ 17 h 496"/>
                <a:gd name="T50" fmla="*/ 509 w 932"/>
                <a:gd name="T51" fmla="*/ 14 h 496"/>
                <a:gd name="T52" fmla="*/ 32 w 932"/>
                <a:gd name="T53" fmla="*/ 11 h 496"/>
                <a:gd name="T54" fmla="*/ 15 w 932"/>
                <a:gd name="T55" fmla="*/ 20 h 496"/>
                <a:gd name="T56" fmla="*/ 9 w 932"/>
                <a:gd name="T57" fmla="*/ 52 h 496"/>
                <a:gd name="T58" fmla="*/ 3 w 932"/>
                <a:gd name="T59" fmla="*/ 134 h 496"/>
                <a:gd name="T60" fmla="*/ 9 w 932"/>
                <a:gd name="T61" fmla="*/ 198 h 496"/>
                <a:gd name="T62" fmla="*/ 37 w 932"/>
                <a:gd name="T63" fmla="*/ 253 h 496"/>
                <a:gd name="T64" fmla="*/ 69 w 932"/>
                <a:gd name="T65" fmla="*/ 307 h 496"/>
                <a:gd name="T66" fmla="*/ 106 w 932"/>
                <a:gd name="T67" fmla="*/ 323 h 496"/>
                <a:gd name="T68" fmla="*/ 294 w 932"/>
                <a:gd name="T69" fmla="*/ 370 h 496"/>
                <a:gd name="T70" fmla="*/ 352 w 932"/>
                <a:gd name="T71" fmla="*/ 422 h 496"/>
                <a:gd name="T72" fmla="*/ 386 w 932"/>
                <a:gd name="T73" fmla="*/ 420 h 496"/>
                <a:gd name="T74" fmla="*/ 418 w 932"/>
                <a:gd name="T75" fmla="*/ 466 h 496"/>
                <a:gd name="T76" fmla="*/ 445 w 932"/>
                <a:gd name="T77" fmla="*/ 441 h 496"/>
                <a:gd name="T78" fmla="*/ 481 w 932"/>
                <a:gd name="T79" fmla="*/ 415 h 496"/>
                <a:gd name="T80" fmla="*/ 512 w 932"/>
                <a:gd name="T81" fmla="*/ 409 h 496"/>
                <a:gd name="T82" fmla="*/ 545 w 932"/>
                <a:gd name="T83" fmla="*/ 417 h 496"/>
                <a:gd name="T84" fmla="*/ 584 w 932"/>
                <a:gd name="T85" fmla="*/ 398 h 496"/>
                <a:gd name="T86" fmla="*/ 610 w 932"/>
                <a:gd name="T87" fmla="*/ 396 h 496"/>
                <a:gd name="T88" fmla="*/ 642 w 932"/>
                <a:gd name="T89" fmla="*/ 407 h 496"/>
                <a:gd name="T90" fmla="*/ 674 w 932"/>
                <a:gd name="T91" fmla="*/ 418 h 496"/>
                <a:gd name="T92" fmla="*/ 688 w 932"/>
                <a:gd name="T93" fmla="*/ 462 h 496"/>
                <a:gd name="T94" fmla="*/ 709 w 932"/>
                <a:gd name="T95" fmla="*/ 488 h 496"/>
                <a:gd name="T96" fmla="*/ 716 w 932"/>
                <a:gd name="T97" fmla="*/ 444 h 496"/>
                <a:gd name="T98" fmla="*/ 706 w 932"/>
                <a:gd name="T99" fmla="*/ 365 h 496"/>
                <a:gd name="T100" fmla="*/ 742 w 932"/>
                <a:gd name="T101" fmla="*/ 331 h 496"/>
                <a:gd name="T102" fmla="*/ 780 w 932"/>
                <a:gd name="T103" fmla="*/ 311 h 496"/>
                <a:gd name="T104" fmla="*/ 790 w 932"/>
                <a:gd name="T105" fmla="*/ 294 h 496"/>
                <a:gd name="T106" fmla="*/ 783 w 932"/>
                <a:gd name="T107" fmla="*/ 252 h 496"/>
                <a:gd name="T108" fmla="*/ 788 w 932"/>
                <a:gd name="T109" fmla="*/ 259 h 496"/>
                <a:gd name="T110" fmla="*/ 804 w 932"/>
                <a:gd name="T111" fmla="*/ 234 h 496"/>
                <a:gd name="T112" fmla="*/ 810 w 932"/>
                <a:gd name="T113" fmla="*/ 220 h 496"/>
                <a:gd name="T114" fmla="*/ 833 w 932"/>
                <a:gd name="T115" fmla="*/ 189 h 496"/>
                <a:gd name="T116" fmla="*/ 855 w 932"/>
                <a:gd name="T117" fmla="*/ 182 h 496"/>
                <a:gd name="T118" fmla="*/ 875 w 932"/>
                <a:gd name="T119" fmla="*/ 165 h 496"/>
                <a:gd name="T120" fmla="*/ 881 w 932"/>
                <a:gd name="T121" fmla="*/ 130 h 496"/>
                <a:gd name="T122" fmla="*/ 932 w 932"/>
                <a:gd name="T123" fmla="*/ 99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32" h="496">
                  <a:moveTo>
                    <a:pt x="924" y="85"/>
                  </a:moveTo>
                  <a:lnTo>
                    <a:pt x="924" y="85"/>
                  </a:lnTo>
                  <a:lnTo>
                    <a:pt x="926" y="79"/>
                  </a:lnTo>
                  <a:lnTo>
                    <a:pt x="926" y="75"/>
                  </a:lnTo>
                  <a:lnTo>
                    <a:pt x="923" y="71"/>
                  </a:lnTo>
                  <a:lnTo>
                    <a:pt x="923" y="71"/>
                  </a:lnTo>
                  <a:lnTo>
                    <a:pt x="922" y="68"/>
                  </a:lnTo>
                  <a:lnTo>
                    <a:pt x="922" y="65"/>
                  </a:lnTo>
                  <a:lnTo>
                    <a:pt x="920" y="56"/>
                  </a:lnTo>
                  <a:lnTo>
                    <a:pt x="920" y="47"/>
                  </a:lnTo>
                  <a:lnTo>
                    <a:pt x="919" y="44"/>
                  </a:lnTo>
                  <a:lnTo>
                    <a:pt x="917" y="44"/>
                  </a:lnTo>
                  <a:lnTo>
                    <a:pt x="917" y="44"/>
                  </a:lnTo>
                  <a:lnTo>
                    <a:pt x="904" y="42"/>
                  </a:lnTo>
                  <a:lnTo>
                    <a:pt x="898" y="43"/>
                  </a:lnTo>
                  <a:lnTo>
                    <a:pt x="894" y="44"/>
                  </a:lnTo>
                  <a:lnTo>
                    <a:pt x="894" y="44"/>
                  </a:lnTo>
                  <a:lnTo>
                    <a:pt x="890" y="47"/>
                  </a:lnTo>
                  <a:lnTo>
                    <a:pt x="884" y="53"/>
                  </a:lnTo>
                  <a:lnTo>
                    <a:pt x="880" y="60"/>
                  </a:lnTo>
                  <a:lnTo>
                    <a:pt x="878" y="66"/>
                  </a:lnTo>
                  <a:lnTo>
                    <a:pt x="878" y="66"/>
                  </a:lnTo>
                  <a:lnTo>
                    <a:pt x="875" y="73"/>
                  </a:lnTo>
                  <a:lnTo>
                    <a:pt x="868" y="82"/>
                  </a:lnTo>
                  <a:lnTo>
                    <a:pt x="861" y="91"/>
                  </a:lnTo>
                  <a:lnTo>
                    <a:pt x="856" y="95"/>
                  </a:lnTo>
                  <a:lnTo>
                    <a:pt x="856" y="95"/>
                  </a:lnTo>
                  <a:lnTo>
                    <a:pt x="836" y="97"/>
                  </a:lnTo>
                  <a:lnTo>
                    <a:pt x="814" y="97"/>
                  </a:lnTo>
                  <a:lnTo>
                    <a:pt x="814" y="97"/>
                  </a:lnTo>
                  <a:lnTo>
                    <a:pt x="807" y="98"/>
                  </a:lnTo>
                  <a:lnTo>
                    <a:pt x="798" y="104"/>
                  </a:lnTo>
                  <a:lnTo>
                    <a:pt x="780" y="115"/>
                  </a:lnTo>
                  <a:lnTo>
                    <a:pt x="780" y="115"/>
                  </a:lnTo>
                  <a:lnTo>
                    <a:pt x="783" y="118"/>
                  </a:lnTo>
                  <a:lnTo>
                    <a:pt x="784" y="121"/>
                  </a:lnTo>
                  <a:lnTo>
                    <a:pt x="784" y="124"/>
                  </a:lnTo>
                  <a:lnTo>
                    <a:pt x="784" y="127"/>
                  </a:lnTo>
                  <a:lnTo>
                    <a:pt x="784" y="127"/>
                  </a:lnTo>
                  <a:lnTo>
                    <a:pt x="781" y="133"/>
                  </a:lnTo>
                  <a:lnTo>
                    <a:pt x="778" y="136"/>
                  </a:lnTo>
                  <a:lnTo>
                    <a:pt x="774" y="137"/>
                  </a:lnTo>
                  <a:lnTo>
                    <a:pt x="774" y="137"/>
                  </a:lnTo>
                  <a:lnTo>
                    <a:pt x="767" y="137"/>
                  </a:lnTo>
                  <a:lnTo>
                    <a:pt x="762" y="137"/>
                  </a:lnTo>
                  <a:lnTo>
                    <a:pt x="758" y="136"/>
                  </a:lnTo>
                  <a:lnTo>
                    <a:pt x="758" y="136"/>
                  </a:lnTo>
                  <a:lnTo>
                    <a:pt x="755" y="134"/>
                  </a:lnTo>
                  <a:lnTo>
                    <a:pt x="751" y="134"/>
                  </a:lnTo>
                  <a:lnTo>
                    <a:pt x="751" y="134"/>
                  </a:lnTo>
                  <a:lnTo>
                    <a:pt x="730" y="144"/>
                  </a:lnTo>
                  <a:lnTo>
                    <a:pt x="730" y="144"/>
                  </a:lnTo>
                  <a:lnTo>
                    <a:pt x="736" y="147"/>
                  </a:lnTo>
                  <a:lnTo>
                    <a:pt x="738" y="149"/>
                  </a:lnTo>
                  <a:lnTo>
                    <a:pt x="738" y="149"/>
                  </a:lnTo>
                  <a:lnTo>
                    <a:pt x="736" y="150"/>
                  </a:lnTo>
                  <a:lnTo>
                    <a:pt x="733" y="153"/>
                  </a:lnTo>
                  <a:lnTo>
                    <a:pt x="726" y="156"/>
                  </a:lnTo>
                  <a:lnTo>
                    <a:pt x="710" y="162"/>
                  </a:lnTo>
                  <a:lnTo>
                    <a:pt x="710" y="162"/>
                  </a:lnTo>
                  <a:lnTo>
                    <a:pt x="694" y="169"/>
                  </a:lnTo>
                  <a:lnTo>
                    <a:pt x="685" y="173"/>
                  </a:lnTo>
                  <a:lnTo>
                    <a:pt x="681" y="175"/>
                  </a:lnTo>
                  <a:lnTo>
                    <a:pt x="681" y="175"/>
                  </a:lnTo>
                  <a:lnTo>
                    <a:pt x="675" y="173"/>
                  </a:lnTo>
                  <a:lnTo>
                    <a:pt x="672" y="170"/>
                  </a:lnTo>
                  <a:lnTo>
                    <a:pt x="672" y="170"/>
                  </a:lnTo>
                  <a:lnTo>
                    <a:pt x="672" y="169"/>
                  </a:lnTo>
                  <a:lnTo>
                    <a:pt x="674" y="169"/>
                  </a:lnTo>
                  <a:lnTo>
                    <a:pt x="675" y="168"/>
                  </a:lnTo>
                  <a:lnTo>
                    <a:pt x="675" y="168"/>
                  </a:lnTo>
                  <a:lnTo>
                    <a:pt x="677" y="168"/>
                  </a:lnTo>
                  <a:lnTo>
                    <a:pt x="678" y="165"/>
                  </a:lnTo>
                  <a:lnTo>
                    <a:pt x="678" y="162"/>
                  </a:lnTo>
                  <a:lnTo>
                    <a:pt x="677" y="159"/>
                  </a:lnTo>
                  <a:lnTo>
                    <a:pt x="677" y="159"/>
                  </a:lnTo>
                  <a:lnTo>
                    <a:pt x="675" y="155"/>
                  </a:lnTo>
                  <a:lnTo>
                    <a:pt x="677" y="153"/>
                  </a:lnTo>
                  <a:lnTo>
                    <a:pt x="678" y="153"/>
                  </a:lnTo>
                  <a:lnTo>
                    <a:pt x="678" y="153"/>
                  </a:lnTo>
                  <a:lnTo>
                    <a:pt x="680" y="147"/>
                  </a:lnTo>
                  <a:lnTo>
                    <a:pt x="683" y="141"/>
                  </a:lnTo>
                  <a:lnTo>
                    <a:pt x="683" y="141"/>
                  </a:lnTo>
                  <a:lnTo>
                    <a:pt x="684" y="139"/>
                  </a:lnTo>
                  <a:lnTo>
                    <a:pt x="684" y="139"/>
                  </a:lnTo>
                  <a:lnTo>
                    <a:pt x="683" y="134"/>
                  </a:lnTo>
                  <a:lnTo>
                    <a:pt x="683" y="127"/>
                  </a:lnTo>
                  <a:lnTo>
                    <a:pt x="683" y="127"/>
                  </a:lnTo>
                  <a:lnTo>
                    <a:pt x="681" y="123"/>
                  </a:lnTo>
                  <a:lnTo>
                    <a:pt x="678" y="120"/>
                  </a:lnTo>
                  <a:lnTo>
                    <a:pt x="677" y="118"/>
                  </a:lnTo>
                  <a:lnTo>
                    <a:pt x="674" y="118"/>
                  </a:lnTo>
                  <a:lnTo>
                    <a:pt x="674" y="118"/>
                  </a:lnTo>
                  <a:lnTo>
                    <a:pt x="671" y="120"/>
                  </a:lnTo>
                  <a:lnTo>
                    <a:pt x="668" y="124"/>
                  </a:lnTo>
                  <a:lnTo>
                    <a:pt x="665" y="127"/>
                  </a:lnTo>
                  <a:lnTo>
                    <a:pt x="662" y="128"/>
                  </a:lnTo>
                  <a:lnTo>
                    <a:pt x="662" y="128"/>
                  </a:lnTo>
                  <a:lnTo>
                    <a:pt x="661" y="127"/>
                  </a:lnTo>
                  <a:lnTo>
                    <a:pt x="661" y="124"/>
                  </a:lnTo>
                  <a:lnTo>
                    <a:pt x="661" y="121"/>
                  </a:lnTo>
                  <a:lnTo>
                    <a:pt x="661" y="118"/>
                  </a:lnTo>
                  <a:lnTo>
                    <a:pt x="661" y="118"/>
                  </a:lnTo>
                  <a:lnTo>
                    <a:pt x="665" y="114"/>
                  </a:lnTo>
                  <a:lnTo>
                    <a:pt x="668" y="110"/>
                  </a:lnTo>
                  <a:lnTo>
                    <a:pt x="668" y="110"/>
                  </a:lnTo>
                  <a:lnTo>
                    <a:pt x="667" y="99"/>
                  </a:lnTo>
                  <a:lnTo>
                    <a:pt x="665" y="89"/>
                  </a:lnTo>
                  <a:lnTo>
                    <a:pt x="665" y="89"/>
                  </a:lnTo>
                  <a:lnTo>
                    <a:pt x="662" y="85"/>
                  </a:lnTo>
                  <a:lnTo>
                    <a:pt x="659" y="84"/>
                  </a:lnTo>
                  <a:lnTo>
                    <a:pt x="658" y="85"/>
                  </a:lnTo>
                  <a:lnTo>
                    <a:pt x="658" y="85"/>
                  </a:lnTo>
                  <a:lnTo>
                    <a:pt x="658" y="85"/>
                  </a:lnTo>
                  <a:lnTo>
                    <a:pt x="657" y="85"/>
                  </a:lnTo>
                  <a:lnTo>
                    <a:pt x="654" y="82"/>
                  </a:lnTo>
                  <a:lnTo>
                    <a:pt x="654" y="82"/>
                  </a:lnTo>
                  <a:lnTo>
                    <a:pt x="652" y="79"/>
                  </a:lnTo>
                  <a:lnTo>
                    <a:pt x="651" y="78"/>
                  </a:lnTo>
                  <a:lnTo>
                    <a:pt x="651" y="76"/>
                  </a:lnTo>
                  <a:lnTo>
                    <a:pt x="649" y="76"/>
                  </a:lnTo>
                  <a:lnTo>
                    <a:pt x="649" y="76"/>
                  </a:lnTo>
                  <a:lnTo>
                    <a:pt x="646" y="76"/>
                  </a:lnTo>
                  <a:lnTo>
                    <a:pt x="642" y="78"/>
                  </a:lnTo>
                  <a:lnTo>
                    <a:pt x="642" y="78"/>
                  </a:lnTo>
                  <a:lnTo>
                    <a:pt x="641" y="81"/>
                  </a:lnTo>
                  <a:lnTo>
                    <a:pt x="639" y="82"/>
                  </a:lnTo>
                  <a:lnTo>
                    <a:pt x="638" y="88"/>
                  </a:lnTo>
                  <a:lnTo>
                    <a:pt x="638" y="88"/>
                  </a:lnTo>
                  <a:lnTo>
                    <a:pt x="635" y="91"/>
                  </a:lnTo>
                  <a:lnTo>
                    <a:pt x="632" y="94"/>
                  </a:lnTo>
                  <a:lnTo>
                    <a:pt x="632" y="94"/>
                  </a:lnTo>
                  <a:lnTo>
                    <a:pt x="628" y="95"/>
                  </a:lnTo>
                  <a:lnTo>
                    <a:pt x="623" y="99"/>
                  </a:lnTo>
                  <a:lnTo>
                    <a:pt x="623" y="99"/>
                  </a:lnTo>
                  <a:lnTo>
                    <a:pt x="620" y="110"/>
                  </a:lnTo>
                  <a:lnTo>
                    <a:pt x="616" y="123"/>
                  </a:lnTo>
                  <a:lnTo>
                    <a:pt x="616" y="123"/>
                  </a:lnTo>
                  <a:lnTo>
                    <a:pt x="616" y="127"/>
                  </a:lnTo>
                  <a:lnTo>
                    <a:pt x="616" y="131"/>
                  </a:lnTo>
                  <a:lnTo>
                    <a:pt x="619" y="139"/>
                  </a:lnTo>
                  <a:lnTo>
                    <a:pt x="619" y="139"/>
                  </a:lnTo>
                  <a:lnTo>
                    <a:pt x="619" y="144"/>
                  </a:lnTo>
                  <a:lnTo>
                    <a:pt x="619" y="150"/>
                  </a:lnTo>
                  <a:lnTo>
                    <a:pt x="617" y="157"/>
                  </a:lnTo>
                  <a:lnTo>
                    <a:pt x="615" y="162"/>
                  </a:lnTo>
                  <a:lnTo>
                    <a:pt x="615" y="162"/>
                  </a:lnTo>
                  <a:lnTo>
                    <a:pt x="612" y="166"/>
                  </a:lnTo>
                  <a:lnTo>
                    <a:pt x="609" y="168"/>
                  </a:lnTo>
                  <a:lnTo>
                    <a:pt x="606" y="169"/>
                  </a:lnTo>
                  <a:lnTo>
                    <a:pt x="606" y="169"/>
                  </a:lnTo>
                  <a:lnTo>
                    <a:pt x="603" y="168"/>
                  </a:lnTo>
                  <a:lnTo>
                    <a:pt x="600" y="168"/>
                  </a:lnTo>
                  <a:lnTo>
                    <a:pt x="599" y="165"/>
                  </a:lnTo>
                  <a:lnTo>
                    <a:pt x="599" y="160"/>
                  </a:lnTo>
                  <a:lnTo>
                    <a:pt x="599" y="160"/>
                  </a:lnTo>
                  <a:lnTo>
                    <a:pt x="596" y="149"/>
                  </a:lnTo>
                  <a:lnTo>
                    <a:pt x="594" y="137"/>
                  </a:lnTo>
                  <a:lnTo>
                    <a:pt x="594" y="137"/>
                  </a:lnTo>
                  <a:lnTo>
                    <a:pt x="597" y="124"/>
                  </a:lnTo>
                  <a:lnTo>
                    <a:pt x="601" y="111"/>
                  </a:lnTo>
                  <a:lnTo>
                    <a:pt x="601" y="111"/>
                  </a:lnTo>
                  <a:lnTo>
                    <a:pt x="604" y="102"/>
                  </a:lnTo>
                  <a:lnTo>
                    <a:pt x="604" y="99"/>
                  </a:lnTo>
                  <a:lnTo>
                    <a:pt x="603" y="99"/>
                  </a:lnTo>
                  <a:lnTo>
                    <a:pt x="603" y="99"/>
                  </a:lnTo>
                  <a:lnTo>
                    <a:pt x="600" y="102"/>
                  </a:lnTo>
                  <a:lnTo>
                    <a:pt x="599" y="104"/>
                  </a:lnTo>
                  <a:lnTo>
                    <a:pt x="597" y="105"/>
                  </a:lnTo>
                  <a:lnTo>
                    <a:pt x="596" y="102"/>
                  </a:lnTo>
                  <a:lnTo>
                    <a:pt x="596" y="102"/>
                  </a:lnTo>
                  <a:lnTo>
                    <a:pt x="596" y="98"/>
                  </a:lnTo>
                  <a:lnTo>
                    <a:pt x="599" y="92"/>
                  </a:lnTo>
                  <a:lnTo>
                    <a:pt x="604" y="85"/>
                  </a:lnTo>
                  <a:lnTo>
                    <a:pt x="604" y="85"/>
                  </a:lnTo>
                  <a:lnTo>
                    <a:pt x="607" y="78"/>
                  </a:lnTo>
                  <a:lnTo>
                    <a:pt x="609" y="75"/>
                  </a:lnTo>
                  <a:lnTo>
                    <a:pt x="610" y="75"/>
                  </a:lnTo>
                  <a:lnTo>
                    <a:pt x="610" y="75"/>
                  </a:lnTo>
                  <a:lnTo>
                    <a:pt x="613" y="76"/>
                  </a:lnTo>
                  <a:lnTo>
                    <a:pt x="616" y="75"/>
                  </a:lnTo>
                  <a:lnTo>
                    <a:pt x="616" y="75"/>
                  </a:lnTo>
                  <a:lnTo>
                    <a:pt x="619" y="73"/>
                  </a:lnTo>
                  <a:lnTo>
                    <a:pt x="625" y="73"/>
                  </a:lnTo>
                  <a:lnTo>
                    <a:pt x="625" y="73"/>
                  </a:lnTo>
                  <a:lnTo>
                    <a:pt x="630" y="73"/>
                  </a:lnTo>
                  <a:lnTo>
                    <a:pt x="635" y="72"/>
                  </a:lnTo>
                  <a:lnTo>
                    <a:pt x="635" y="72"/>
                  </a:lnTo>
                  <a:lnTo>
                    <a:pt x="636" y="71"/>
                  </a:lnTo>
                  <a:lnTo>
                    <a:pt x="642" y="71"/>
                  </a:lnTo>
                  <a:lnTo>
                    <a:pt x="642" y="71"/>
                  </a:lnTo>
                  <a:lnTo>
                    <a:pt x="648" y="71"/>
                  </a:lnTo>
                  <a:lnTo>
                    <a:pt x="651" y="69"/>
                  </a:lnTo>
                  <a:lnTo>
                    <a:pt x="651" y="69"/>
                  </a:lnTo>
                  <a:lnTo>
                    <a:pt x="652" y="66"/>
                  </a:lnTo>
                  <a:lnTo>
                    <a:pt x="652" y="65"/>
                  </a:lnTo>
                  <a:lnTo>
                    <a:pt x="651" y="65"/>
                  </a:lnTo>
                  <a:lnTo>
                    <a:pt x="651" y="65"/>
                  </a:lnTo>
                  <a:lnTo>
                    <a:pt x="645" y="65"/>
                  </a:lnTo>
                  <a:lnTo>
                    <a:pt x="642" y="65"/>
                  </a:lnTo>
                  <a:lnTo>
                    <a:pt x="639" y="63"/>
                  </a:lnTo>
                  <a:lnTo>
                    <a:pt x="639" y="63"/>
                  </a:lnTo>
                  <a:lnTo>
                    <a:pt x="639" y="62"/>
                  </a:lnTo>
                  <a:lnTo>
                    <a:pt x="638" y="60"/>
                  </a:lnTo>
                  <a:lnTo>
                    <a:pt x="638" y="59"/>
                  </a:lnTo>
                  <a:lnTo>
                    <a:pt x="636" y="57"/>
                  </a:lnTo>
                  <a:lnTo>
                    <a:pt x="636" y="57"/>
                  </a:lnTo>
                  <a:lnTo>
                    <a:pt x="633" y="57"/>
                  </a:lnTo>
                  <a:lnTo>
                    <a:pt x="629" y="56"/>
                  </a:lnTo>
                  <a:lnTo>
                    <a:pt x="629" y="56"/>
                  </a:lnTo>
                  <a:lnTo>
                    <a:pt x="626" y="57"/>
                  </a:lnTo>
                  <a:lnTo>
                    <a:pt x="623" y="59"/>
                  </a:lnTo>
                  <a:lnTo>
                    <a:pt x="622" y="60"/>
                  </a:lnTo>
                  <a:lnTo>
                    <a:pt x="619" y="60"/>
                  </a:lnTo>
                  <a:lnTo>
                    <a:pt x="619" y="60"/>
                  </a:lnTo>
                  <a:lnTo>
                    <a:pt x="615" y="59"/>
                  </a:lnTo>
                  <a:lnTo>
                    <a:pt x="613" y="57"/>
                  </a:lnTo>
                  <a:lnTo>
                    <a:pt x="610" y="56"/>
                  </a:lnTo>
                  <a:lnTo>
                    <a:pt x="607" y="56"/>
                  </a:lnTo>
                  <a:lnTo>
                    <a:pt x="607" y="56"/>
                  </a:lnTo>
                  <a:lnTo>
                    <a:pt x="603" y="55"/>
                  </a:lnTo>
                  <a:lnTo>
                    <a:pt x="599" y="53"/>
                  </a:lnTo>
                  <a:lnTo>
                    <a:pt x="599" y="53"/>
                  </a:lnTo>
                  <a:lnTo>
                    <a:pt x="590" y="53"/>
                  </a:lnTo>
                  <a:lnTo>
                    <a:pt x="587" y="52"/>
                  </a:lnTo>
                  <a:lnTo>
                    <a:pt x="586" y="52"/>
                  </a:lnTo>
                  <a:lnTo>
                    <a:pt x="587" y="50"/>
                  </a:lnTo>
                  <a:lnTo>
                    <a:pt x="587" y="50"/>
                  </a:lnTo>
                  <a:lnTo>
                    <a:pt x="591" y="43"/>
                  </a:lnTo>
                  <a:lnTo>
                    <a:pt x="593" y="40"/>
                  </a:lnTo>
                  <a:lnTo>
                    <a:pt x="591" y="40"/>
                  </a:lnTo>
                  <a:lnTo>
                    <a:pt x="591" y="40"/>
                  </a:lnTo>
                  <a:lnTo>
                    <a:pt x="588" y="40"/>
                  </a:lnTo>
                  <a:lnTo>
                    <a:pt x="584" y="42"/>
                  </a:lnTo>
                  <a:lnTo>
                    <a:pt x="578" y="47"/>
                  </a:lnTo>
                  <a:lnTo>
                    <a:pt x="578" y="47"/>
                  </a:lnTo>
                  <a:lnTo>
                    <a:pt x="575" y="49"/>
                  </a:lnTo>
                  <a:lnTo>
                    <a:pt x="571" y="52"/>
                  </a:lnTo>
                  <a:lnTo>
                    <a:pt x="564" y="53"/>
                  </a:lnTo>
                  <a:lnTo>
                    <a:pt x="564" y="53"/>
                  </a:lnTo>
                  <a:lnTo>
                    <a:pt x="559" y="55"/>
                  </a:lnTo>
                  <a:lnTo>
                    <a:pt x="557" y="56"/>
                  </a:lnTo>
                  <a:lnTo>
                    <a:pt x="552" y="57"/>
                  </a:lnTo>
                  <a:lnTo>
                    <a:pt x="551" y="57"/>
                  </a:lnTo>
                  <a:lnTo>
                    <a:pt x="551" y="57"/>
                  </a:lnTo>
                  <a:lnTo>
                    <a:pt x="548" y="53"/>
                  </a:lnTo>
                  <a:lnTo>
                    <a:pt x="545" y="52"/>
                  </a:lnTo>
                  <a:lnTo>
                    <a:pt x="544" y="52"/>
                  </a:lnTo>
                  <a:lnTo>
                    <a:pt x="544" y="52"/>
                  </a:lnTo>
                  <a:lnTo>
                    <a:pt x="533" y="53"/>
                  </a:lnTo>
                  <a:lnTo>
                    <a:pt x="529" y="55"/>
                  </a:lnTo>
                  <a:lnTo>
                    <a:pt x="528" y="53"/>
                  </a:lnTo>
                  <a:lnTo>
                    <a:pt x="526" y="53"/>
                  </a:lnTo>
                  <a:lnTo>
                    <a:pt x="526" y="53"/>
                  </a:lnTo>
                  <a:lnTo>
                    <a:pt x="528" y="52"/>
                  </a:lnTo>
                  <a:lnTo>
                    <a:pt x="531" y="50"/>
                  </a:lnTo>
                  <a:lnTo>
                    <a:pt x="533" y="49"/>
                  </a:lnTo>
                  <a:lnTo>
                    <a:pt x="536" y="44"/>
                  </a:lnTo>
                  <a:lnTo>
                    <a:pt x="536" y="44"/>
                  </a:lnTo>
                  <a:lnTo>
                    <a:pt x="539" y="42"/>
                  </a:lnTo>
                  <a:lnTo>
                    <a:pt x="541" y="39"/>
                  </a:lnTo>
                  <a:lnTo>
                    <a:pt x="542" y="37"/>
                  </a:lnTo>
                  <a:lnTo>
                    <a:pt x="545" y="36"/>
                  </a:lnTo>
                  <a:lnTo>
                    <a:pt x="545" y="36"/>
                  </a:lnTo>
                  <a:lnTo>
                    <a:pt x="561" y="29"/>
                  </a:lnTo>
                  <a:lnTo>
                    <a:pt x="575" y="23"/>
                  </a:lnTo>
                  <a:lnTo>
                    <a:pt x="575" y="23"/>
                  </a:lnTo>
                  <a:lnTo>
                    <a:pt x="577" y="20"/>
                  </a:lnTo>
                  <a:lnTo>
                    <a:pt x="577" y="20"/>
                  </a:lnTo>
                  <a:lnTo>
                    <a:pt x="571" y="21"/>
                  </a:lnTo>
                  <a:lnTo>
                    <a:pt x="564" y="21"/>
                  </a:lnTo>
                  <a:lnTo>
                    <a:pt x="564" y="21"/>
                  </a:lnTo>
                  <a:lnTo>
                    <a:pt x="561" y="20"/>
                  </a:lnTo>
                  <a:lnTo>
                    <a:pt x="558" y="18"/>
                  </a:lnTo>
                  <a:lnTo>
                    <a:pt x="555" y="17"/>
                  </a:lnTo>
                  <a:lnTo>
                    <a:pt x="552" y="17"/>
                  </a:lnTo>
                  <a:lnTo>
                    <a:pt x="552" y="17"/>
                  </a:lnTo>
                  <a:lnTo>
                    <a:pt x="546" y="18"/>
                  </a:lnTo>
                  <a:lnTo>
                    <a:pt x="544" y="21"/>
                  </a:lnTo>
                  <a:lnTo>
                    <a:pt x="539" y="23"/>
                  </a:lnTo>
                  <a:lnTo>
                    <a:pt x="536" y="23"/>
                  </a:lnTo>
                  <a:lnTo>
                    <a:pt x="533" y="23"/>
                  </a:lnTo>
                  <a:lnTo>
                    <a:pt x="533" y="23"/>
                  </a:lnTo>
                  <a:lnTo>
                    <a:pt x="522" y="17"/>
                  </a:lnTo>
                  <a:lnTo>
                    <a:pt x="515" y="15"/>
                  </a:lnTo>
                  <a:lnTo>
                    <a:pt x="509" y="14"/>
                  </a:lnTo>
                  <a:lnTo>
                    <a:pt x="509" y="14"/>
                  </a:lnTo>
                  <a:lnTo>
                    <a:pt x="502" y="13"/>
                  </a:lnTo>
                  <a:lnTo>
                    <a:pt x="493" y="7"/>
                  </a:lnTo>
                  <a:lnTo>
                    <a:pt x="483" y="2"/>
                  </a:lnTo>
                  <a:lnTo>
                    <a:pt x="477" y="1"/>
                  </a:lnTo>
                  <a:lnTo>
                    <a:pt x="473" y="0"/>
                  </a:lnTo>
                  <a:lnTo>
                    <a:pt x="31" y="0"/>
                  </a:lnTo>
                  <a:lnTo>
                    <a:pt x="31" y="0"/>
                  </a:lnTo>
                  <a:lnTo>
                    <a:pt x="31" y="2"/>
                  </a:lnTo>
                  <a:lnTo>
                    <a:pt x="31" y="2"/>
                  </a:lnTo>
                  <a:lnTo>
                    <a:pt x="32" y="11"/>
                  </a:lnTo>
                  <a:lnTo>
                    <a:pt x="35" y="18"/>
                  </a:lnTo>
                  <a:lnTo>
                    <a:pt x="35" y="18"/>
                  </a:lnTo>
                  <a:lnTo>
                    <a:pt x="35" y="24"/>
                  </a:lnTo>
                  <a:lnTo>
                    <a:pt x="35" y="27"/>
                  </a:lnTo>
                  <a:lnTo>
                    <a:pt x="34" y="27"/>
                  </a:lnTo>
                  <a:lnTo>
                    <a:pt x="34" y="27"/>
                  </a:lnTo>
                  <a:lnTo>
                    <a:pt x="29" y="23"/>
                  </a:lnTo>
                  <a:lnTo>
                    <a:pt x="27" y="20"/>
                  </a:lnTo>
                  <a:lnTo>
                    <a:pt x="24" y="20"/>
                  </a:lnTo>
                  <a:lnTo>
                    <a:pt x="24" y="20"/>
                  </a:lnTo>
                  <a:lnTo>
                    <a:pt x="15" y="20"/>
                  </a:lnTo>
                  <a:lnTo>
                    <a:pt x="9" y="20"/>
                  </a:lnTo>
                  <a:lnTo>
                    <a:pt x="5" y="18"/>
                  </a:lnTo>
                  <a:lnTo>
                    <a:pt x="5" y="18"/>
                  </a:lnTo>
                  <a:lnTo>
                    <a:pt x="2" y="17"/>
                  </a:lnTo>
                  <a:lnTo>
                    <a:pt x="0" y="18"/>
                  </a:lnTo>
                  <a:lnTo>
                    <a:pt x="0" y="21"/>
                  </a:lnTo>
                  <a:lnTo>
                    <a:pt x="2" y="26"/>
                  </a:lnTo>
                  <a:lnTo>
                    <a:pt x="2" y="26"/>
                  </a:lnTo>
                  <a:lnTo>
                    <a:pt x="5" y="31"/>
                  </a:lnTo>
                  <a:lnTo>
                    <a:pt x="8" y="42"/>
                  </a:lnTo>
                  <a:lnTo>
                    <a:pt x="9" y="52"/>
                  </a:lnTo>
                  <a:lnTo>
                    <a:pt x="9" y="62"/>
                  </a:lnTo>
                  <a:lnTo>
                    <a:pt x="9" y="62"/>
                  </a:lnTo>
                  <a:lnTo>
                    <a:pt x="9" y="72"/>
                  </a:lnTo>
                  <a:lnTo>
                    <a:pt x="9" y="82"/>
                  </a:lnTo>
                  <a:lnTo>
                    <a:pt x="9" y="92"/>
                  </a:lnTo>
                  <a:lnTo>
                    <a:pt x="9" y="99"/>
                  </a:lnTo>
                  <a:lnTo>
                    <a:pt x="9" y="99"/>
                  </a:lnTo>
                  <a:lnTo>
                    <a:pt x="6" y="117"/>
                  </a:lnTo>
                  <a:lnTo>
                    <a:pt x="5" y="127"/>
                  </a:lnTo>
                  <a:lnTo>
                    <a:pt x="3" y="134"/>
                  </a:lnTo>
                  <a:lnTo>
                    <a:pt x="3" y="134"/>
                  </a:lnTo>
                  <a:lnTo>
                    <a:pt x="3" y="139"/>
                  </a:lnTo>
                  <a:lnTo>
                    <a:pt x="3" y="143"/>
                  </a:lnTo>
                  <a:lnTo>
                    <a:pt x="6" y="152"/>
                  </a:lnTo>
                  <a:lnTo>
                    <a:pt x="6" y="152"/>
                  </a:lnTo>
                  <a:lnTo>
                    <a:pt x="8" y="157"/>
                  </a:lnTo>
                  <a:lnTo>
                    <a:pt x="8" y="166"/>
                  </a:lnTo>
                  <a:lnTo>
                    <a:pt x="8" y="166"/>
                  </a:lnTo>
                  <a:lnTo>
                    <a:pt x="6" y="183"/>
                  </a:lnTo>
                  <a:lnTo>
                    <a:pt x="8" y="192"/>
                  </a:lnTo>
                  <a:lnTo>
                    <a:pt x="9" y="198"/>
                  </a:lnTo>
                  <a:lnTo>
                    <a:pt x="9" y="198"/>
                  </a:lnTo>
                  <a:lnTo>
                    <a:pt x="15" y="207"/>
                  </a:lnTo>
                  <a:lnTo>
                    <a:pt x="18" y="211"/>
                  </a:lnTo>
                  <a:lnTo>
                    <a:pt x="19" y="217"/>
                  </a:lnTo>
                  <a:lnTo>
                    <a:pt x="19" y="217"/>
                  </a:lnTo>
                  <a:lnTo>
                    <a:pt x="21" y="226"/>
                  </a:lnTo>
                  <a:lnTo>
                    <a:pt x="24" y="233"/>
                  </a:lnTo>
                  <a:lnTo>
                    <a:pt x="24" y="233"/>
                  </a:lnTo>
                  <a:lnTo>
                    <a:pt x="31" y="241"/>
                  </a:lnTo>
                  <a:lnTo>
                    <a:pt x="34" y="247"/>
                  </a:lnTo>
                  <a:lnTo>
                    <a:pt x="37" y="253"/>
                  </a:lnTo>
                  <a:lnTo>
                    <a:pt x="37" y="253"/>
                  </a:lnTo>
                  <a:lnTo>
                    <a:pt x="40" y="262"/>
                  </a:lnTo>
                  <a:lnTo>
                    <a:pt x="41" y="266"/>
                  </a:lnTo>
                  <a:lnTo>
                    <a:pt x="45" y="270"/>
                  </a:lnTo>
                  <a:lnTo>
                    <a:pt x="45" y="270"/>
                  </a:lnTo>
                  <a:lnTo>
                    <a:pt x="48" y="275"/>
                  </a:lnTo>
                  <a:lnTo>
                    <a:pt x="51" y="281"/>
                  </a:lnTo>
                  <a:lnTo>
                    <a:pt x="54" y="288"/>
                  </a:lnTo>
                  <a:lnTo>
                    <a:pt x="58" y="294"/>
                  </a:lnTo>
                  <a:lnTo>
                    <a:pt x="58" y="294"/>
                  </a:lnTo>
                  <a:lnTo>
                    <a:pt x="66" y="304"/>
                  </a:lnTo>
                  <a:lnTo>
                    <a:pt x="69" y="307"/>
                  </a:lnTo>
                  <a:lnTo>
                    <a:pt x="71" y="311"/>
                  </a:lnTo>
                  <a:lnTo>
                    <a:pt x="71" y="311"/>
                  </a:lnTo>
                  <a:lnTo>
                    <a:pt x="73" y="314"/>
                  </a:lnTo>
                  <a:lnTo>
                    <a:pt x="77" y="314"/>
                  </a:lnTo>
                  <a:lnTo>
                    <a:pt x="83" y="315"/>
                  </a:lnTo>
                  <a:lnTo>
                    <a:pt x="89" y="317"/>
                  </a:lnTo>
                  <a:lnTo>
                    <a:pt x="89" y="317"/>
                  </a:lnTo>
                  <a:lnTo>
                    <a:pt x="93" y="320"/>
                  </a:lnTo>
                  <a:lnTo>
                    <a:pt x="97" y="320"/>
                  </a:lnTo>
                  <a:lnTo>
                    <a:pt x="106" y="323"/>
                  </a:lnTo>
                  <a:lnTo>
                    <a:pt x="106" y="323"/>
                  </a:lnTo>
                  <a:lnTo>
                    <a:pt x="109" y="324"/>
                  </a:lnTo>
                  <a:lnTo>
                    <a:pt x="111" y="325"/>
                  </a:lnTo>
                  <a:lnTo>
                    <a:pt x="113" y="331"/>
                  </a:lnTo>
                  <a:lnTo>
                    <a:pt x="113" y="331"/>
                  </a:lnTo>
                  <a:lnTo>
                    <a:pt x="126" y="357"/>
                  </a:lnTo>
                  <a:lnTo>
                    <a:pt x="163" y="352"/>
                  </a:lnTo>
                  <a:lnTo>
                    <a:pt x="222" y="380"/>
                  </a:lnTo>
                  <a:lnTo>
                    <a:pt x="264" y="380"/>
                  </a:lnTo>
                  <a:lnTo>
                    <a:pt x="268" y="370"/>
                  </a:lnTo>
                  <a:lnTo>
                    <a:pt x="294" y="370"/>
                  </a:lnTo>
                  <a:lnTo>
                    <a:pt x="294" y="370"/>
                  </a:lnTo>
                  <a:lnTo>
                    <a:pt x="296" y="373"/>
                  </a:lnTo>
                  <a:lnTo>
                    <a:pt x="303" y="379"/>
                  </a:lnTo>
                  <a:lnTo>
                    <a:pt x="303" y="379"/>
                  </a:lnTo>
                  <a:lnTo>
                    <a:pt x="307" y="383"/>
                  </a:lnTo>
                  <a:lnTo>
                    <a:pt x="313" y="389"/>
                  </a:lnTo>
                  <a:lnTo>
                    <a:pt x="323" y="404"/>
                  </a:lnTo>
                  <a:lnTo>
                    <a:pt x="323" y="404"/>
                  </a:lnTo>
                  <a:lnTo>
                    <a:pt x="331" y="409"/>
                  </a:lnTo>
                  <a:lnTo>
                    <a:pt x="339" y="415"/>
                  </a:lnTo>
                  <a:lnTo>
                    <a:pt x="348" y="421"/>
                  </a:lnTo>
                  <a:lnTo>
                    <a:pt x="352" y="422"/>
                  </a:lnTo>
                  <a:lnTo>
                    <a:pt x="352" y="422"/>
                  </a:lnTo>
                  <a:lnTo>
                    <a:pt x="354" y="420"/>
                  </a:lnTo>
                  <a:lnTo>
                    <a:pt x="355" y="415"/>
                  </a:lnTo>
                  <a:lnTo>
                    <a:pt x="357" y="411"/>
                  </a:lnTo>
                  <a:lnTo>
                    <a:pt x="360" y="409"/>
                  </a:lnTo>
                  <a:lnTo>
                    <a:pt x="360" y="409"/>
                  </a:lnTo>
                  <a:lnTo>
                    <a:pt x="364" y="409"/>
                  </a:lnTo>
                  <a:lnTo>
                    <a:pt x="371" y="412"/>
                  </a:lnTo>
                  <a:lnTo>
                    <a:pt x="380" y="415"/>
                  </a:lnTo>
                  <a:lnTo>
                    <a:pt x="386" y="420"/>
                  </a:lnTo>
                  <a:lnTo>
                    <a:pt x="386" y="420"/>
                  </a:lnTo>
                  <a:lnTo>
                    <a:pt x="390" y="424"/>
                  </a:lnTo>
                  <a:lnTo>
                    <a:pt x="393" y="431"/>
                  </a:lnTo>
                  <a:lnTo>
                    <a:pt x="397" y="438"/>
                  </a:lnTo>
                  <a:lnTo>
                    <a:pt x="402" y="443"/>
                  </a:lnTo>
                  <a:lnTo>
                    <a:pt x="402" y="443"/>
                  </a:lnTo>
                  <a:lnTo>
                    <a:pt x="405" y="447"/>
                  </a:lnTo>
                  <a:lnTo>
                    <a:pt x="407" y="453"/>
                  </a:lnTo>
                  <a:lnTo>
                    <a:pt x="410" y="459"/>
                  </a:lnTo>
                  <a:lnTo>
                    <a:pt x="413" y="463"/>
                  </a:lnTo>
                  <a:lnTo>
                    <a:pt x="413" y="463"/>
                  </a:lnTo>
                  <a:lnTo>
                    <a:pt x="418" y="466"/>
                  </a:lnTo>
                  <a:lnTo>
                    <a:pt x="425" y="469"/>
                  </a:lnTo>
                  <a:lnTo>
                    <a:pt x="447" y="475"/>
                  </a:lnTo>
                  <a:lnTo>
                    <a:pt x="447" y="475"/>
                  </a:lnTo>
                  <a:lnTo>
                    <a:pt x="447" y="467"/>
                  </a:lnTo>
                  <a:lnTo>
                    <a:pt x="445" y="460"/>
                  </a:lnTo>
                  <a:lnTo>
                    <a:pt x="445" y="460"/>
                  </a:lnTo>
                  <a:lnTo>
                    <a:pt x="445" y="454"/>
                  </a:lnTo>
                  <a:lnTo>
                    <a:pt x="447" y="450"/>
                  </a:lnTo>
                  <a:lnTo>
                    <a:pt x="448" y="444"/>
                  </a:lnTo>
                  <a:lnTo>
                    <a:pt x="448" y="444"/>
                  </a:lnTo>
                  <a:lnTo>
                    <a:pt x="445" y="441"/>
                  </a:lnTo>
                  <a:lnTo>
                    <a:pt x="447" y="440"/>
                  </a:lnTo>
                  <a:lnTo>
                    <a:pt x="449" y="438"/>
                  </a:lnTo>
                  <a:lnTo>
                    <a:pt x="449" y="438"/>
                  </a:lnTo>
                  <a:lnTo>
                    <a:pt x="454" y="437"/>
                  </a:lnTo>
                  <a:lnTo>
                    <a:pt x="457" y="433"/>
                  </a:lnTo>
                  <a:lnTo>
                    <a:pt x="458" y="430"/>
                  </a:lnTo>
                  <a:lnTo>
                    <a:pt x="462" y="427"/>
                  </a:lnTo>
                  <a:lnTo>
                    <a:pt x="462" y="427"/>
                  </a:lnTo>
                  <a:lnTo>
                    <a:pt x="473" y="422"/>
                  </a:lnTo>
                  <a:lnTo>
                    <a:pt x="478" y="420"/>
                  </a:lnTo>
                  <a:lnTo>
                    <a:pt x="481" y="415"/>
                  </a:lnTo>
                  <a:lnTo>
                    <a:pt x="481" y="415"/>
                  </a:lnTo>
                  <a:lnTo>
                    <a:pt x="483" y="412"/>
                  </a:lnTo>
                  <a:lnTo>
                    <a:pt x="483" y="409"/>
                  </a:lnTo>
                  <a:lnTo>
                    <a:pt x="483" y="409"/>
                  </a:lnTo>
                  <a:lnTo>
                    <a:pt x="487" y="409"/>
                  </a:lnTo>
                  <a:lnTo>
                    <a:pt x="487" y="409"/>
                  </a:lnTo>
                  <a:lnTo>
                    <a:pt x="491" y="412"/>
                  </a:lnTo>
                  <a:lnTo>
                    <a:pt x="494" y="412"/>
                  </a:lnTo>
                  <a:lnTo>
                    <a:pt x="502" y="411"/>
                  </a:lnTo>
                  <a:lnTo>
                    <a:pt x="502" y="411"/>
                  </a:lnTo>
                  <a:lnTo>
                    <a:pt x="512" y="409"/>
                  </a:lnTo>
                  <a:lnTo>
                    <a:pt x="522" y="409"/>
                  </a:lnTo>
                  <a:lnTo>
                    <a:pt x="522" y="409"/>
                  </a:lnTo>
                  <a:lnTo>
                    <a:pt x="528" y="408"/>
                  </a:lnTo>
                  <a:lnTo>
                    <a:pt x="531" y="408"/>
                  </a:lnTo>
                  <a:lnTo>
                    <a:pt x="532" y="408"/>
                  </a:lnTo>
                  <a:lnTo>
                    <a:pt x="532" y="408"/>
                  </a:lnTo>
                  <a:lnTo>
                    <a:pt x="538" y="411"/>
                  </a:lnTo>
                  <a:lnTo>
                    <a:pt x="541" y="412"/>
                  </a:lnTo>
                  <a:lnTo>
                    <a:pt x="544" y="414"/>
                  </a:lnTo>
                  <a:lnTo>
                    <a:pt x="544" y="414"/>
                  </a:lnTo>
                  <a:lnTo>
                    <a:pt x="545" y="417"/>
                  </a:lnTo>
                  <a:lnTo>
                    <a:pt x="546" y="418"/>
                  </a:lnTo>
                  <a:lnTo>
                    <a:pt x="549" y="418"/>
                  </a:lnTo>
                  <a:lnTo>
                    <a:pt x="552" y="417"/>
                  </a:lnTo>
                  <a:lnTo>
                    <a:pt x="552" y="417"/>
                  </a:lnTo>
                  <a:lnTo>
                    <a:pt x="558" y="412"/>
                  </a:lnTo>
                  <a:lnTo>
                    <a:pt x="567" y="408"/>
                  </a:lnTo>
                  <a:lnTo>
                    <a:pt x="567" y="408"/>
                  </a:lnTo>
                  <a:lnTo>
                    <a:pt x="573" y="405"/>
                  </a:lnTo>
                  <a:lnTo>
                    <a:pt x="577" y="402"/>
                  </a:lnTo>
                  <a:lnTo>
                    <a:pt x="580" y="399"/>
                  </a:lnTo>
                  <a:lnTo>
                    <a:pt x="584" y="398"/>
                  </a:lnTo>
                  <a:lnTo>
                    <a:pt x="584" y="398"/>
                  </a:lnTo>
                  <a:lnTo>
                    <a:pt x="591" y="398"/>
                  </a:lnTo>
                  <a:lnTo>
                    <a:pt x="596" y="396"/>
                  </a:lnTo>
                  <a:lnTo>
                    <a:pt x="596" y="396"/>
                  </a:lnTo>
                  <a:lnTo>
                    <a:pt x="597" y="396"/>
                  </a:lnTo>
                  <a:lnTo>
                    <a:pt x="597" y="398"/>
                  </a:lnTo>
                  <a:lnTo>
                    <a:pt x="599" y="398"/>
                  </a:lnTo>
                  <a:lnTo>
                    <a:pt x="601" y="398"/>
                  </a:lnTo>
                  <a:lnTo>
                    <a:pt x="601" y="398"/>
                  </a:lnTo>
                  <a:lnTo>
                    <a:pt x="609" y="396"/>
                  </a:lnTo>
                  <a:lnTo>
                    <a:pt x="610" y="396"/>
                  </a:lnTo>
                  <a:lnTo>
                    <a:pt x="615" y="398"/>
                  </a:lnTo>
                  <a:lnTo>
                    <a:pt x="615" y="398"/>
                  </a:lnTo>
                  <a:lnTo>
                    <a:pt x="619" y="399"/>
                  </a:lnTo>
                  <a:lnTo>
                    <a:pt x="622" y="398"/>
                  </a:lnTo>
                  <a:lnTo>
                    <a:pt x="623" y="398"/>
                  </a:lnTo>
                  <a:lnTo>
                    <a:pt x="626" y="398"/>
                  </a:lnTo>
                  <a:lnTo>
                    <a:pt x="626" y="398"/>
                  </a:lnTo>
                  <a:lnTo>
                    <a:pt x="633" y="402"/>
                  </a:lnTo>
                  <a:lnTo>
                    <a:pt x="638" y="405"/>
                  </a:lnTo>
                  <a:lnTo>
                    <a:pt x="642" y="407"/>
                  </a:lnTo>
                  <a:lnTo>
                    <a:pt x="642" y="407"/>
                  </a:lnTo>
                  <a:lnTo>
                    <a:pt x="649" y="407"/>
                  </a:lnTo>
                  <a:lnTo>
                    <a:pt x="651" y="405"/>
                  </a:lnTo>
                  <a:lnTo>
                    <a:pt x="654" y="404"/>
                  </a:lnTo>
                  <a:lnTo>
                    <a:pt x="654" y="404"/>
                  </a:lnTo>
                  <a:lnTo>
                    <a:pt x="657" y="399"/>
                  </a:lnTo>
                  <a:lnTo>
                    <a:pt x="658" y="398"/>
                  </a:lnTo>
                  <a:lnTo>
                    <a:pt x="661" y="401"/>
                  </a:lnTo>
                  <a:lnTo>
                    <a:pt x="661" y="401"/>
                  </a:lnTo>
                  <a:lnTo>
                    <a:pt x="668" y="411"/>
                  </a:lnTo>
                  <a:lnTo>
                    <a:pt x="671" y="415"/>
                  </a:lnTo>
                  <a:lnTo>
                    <a:pt x="674" y="418"/>
                  </a:lnTo>
                  <a:lnTo>
                    <a:pt x="674" y="418"/>
                  </a:lnTo>
                  <a:lnTo>
                    <a:pt x="675" y="420"/>
                  </a:lnTo>
                  <a:lnTo>
                    <a:pt x="677" y="422"/>
                  </a:lnTo>
                  <a:lnTo>
                    <a:pt x="680" y="430"/>
                  </a:lnTo>
                  <a:lnTo>
                    <a:pt x="680" y="444"/>
                  </a:lnTo>
                  <a:lnTo>
                    <a:pt x="680" y="444"/>
                  </a:lnTo>
                  <a:lnTo>
                    <a:pt x="681" y="449"/>
                  </a:lnTo>
                  <a:lnTo>
                    <a:pt x="684" y="454"/>
                  </a:lnTo>
                  <a:lnTo>
                    <a:pt x="685" y="460"/>
                  </a:lnTo>
                  <a:lnTo>
                    <a:pt x="688" y="462"/>
                  </a:lnTo>
                  <a:lnTo>
                    <a:pt x="688" y="462"/>
                  </a:lnTo>
                  <a:lnTo>
                    <a:pt x="690" y="459"/>
                  </a:lnTo>
                  <a:lnTo>
                    <a:pt x="690" y="459"/>
                  </a:lnTo>
                  <a:lnTo>
                    <a:pt x="691" y="460"/>
                  </a:lnTo>
                  <a:lnTo>
                    <a:pt x="691" y="460"/>
                  </a:lnTo>
                  <a:lnTo>
                    <a:pt x="694" y="467"/>
                  </a:lnTo>
                  <a:lnTo>
                    <a:pt x="697" y="473"/>
                  </a:lnTo>
                  <a:lnTo>
                    <a:pt x="700" y="478"/>
                  </a:lnTo>
                  <a:lnTo>
                    <a:pt x="700" y="478"/>
                  </a:lnTo>
                  <a:lnTo>
                    <a:pt x="704" y="483"/>
                  </a:lnTo>
                  <a:lnTo>
                    <a:pt x="709" y="488"/>
                  </a:lnTo>
                  <a:lnTo>
                    <a:pt x="709" y="488"/>
                  </a:lnTo>
                  <a:lnTo>
                    <a:pt x="713" y="495"/>
                  </a:lnTo>
                  <a:lnTo>
                    <a:pt x="716" y="496"/>
                  </a:lnTo>
                  <a:lnTo>
                    <a:pt x="717" y="496"/>
                  </a:lnTo>
                  <a:lnTo>
                    <a:pt x="719" y="495"/>
                  </a:lnTo>
                  <a:lnTo>
                    <a:pt x="719" y="495"/>
                  </a:lnTo>
                  <a:lnTo>
                    <a:pt x="720" y="489"/>
                  </a:lnTo>
                  <a:lnTo>
                    <a:pt x="720" y="480"/>
                  </a:lnTo>
                  <a:lnTo>
                    <a:pt x="720" y="465"/>
                  </a:lnTo>
                  <a:lnTo>
                    <a:pt x="720" y="465"/>
                  </a:lnTo>
                  <a:lnTo>
                    <a:pt x="719" y="456"/>
                  </a:lnTo>
                  <a:lnTo>
                    <a:pt x="716" y="444"/>
                  </a:lnTo>
                  <a:lnTo>
                    <a:pt x="713" y="433"/>
                  </a:lnTo>
                  <a:lnTo>
                    <a:pt x="709" y="424"/>
                  </a:lnTo>
                  <a:lnTo>
                    <a:pt x="709" y="424"/>
                  </a:lnTo>
                  <a:lnTo>
                    <a:pt x="704" y="417"/>
                  </a:lnTo>
                  <a:lnTo>
                    <a:pt x="700" y="408"/>
                  </a:lnTo>
                  <a:lnTo>
                    <a:pt x="697" y="399"/>
                  </a:lnTo>
                  <a:lnTo>
                    <a:pt x="697" y="395"/>
                  </a:lnTo>
                  <a:lnTo>
                    <a:pt x="697" y="391"/>
                  </a:lnTo>
                  <a:lnTo>
                    <a:pt x="697" y="391"/>
                  </a:lnTo>
                  <a:lnTo>
                    <a:pt x="701" y="375"/>
                  </a:lnTo>
                  <a:lnTo>
                    <a:pt x="706" y="365"/>
                  </a:lnTo>
                  <a:lnTo>
                    <a:pt x="706" y="365"/>
                  </a:lnTo>
                  <a:lnTo>
                    <a:pt x="709" y="360"/>
                  </a:lnTo>
                  <a:lnTo>
                    <a:pt x="713" y="359"/>
                  </a:lnTo>
                  <a:lnTo>
                    <a:pt x="720" y="354"/>
                  </a:lnTo>
                  <a:lnTo>
                    <a:pt x="720" y="354"/>
                  </a:lnTo>
                  <a:lnTo>
                    <a:pt x="732" y="350"/>
                  </a:lnTo>
                  <a:lnTo>
                    <a:pt x="732" y="350"/>
                  </a:lnTo>
                  <a:lnTo>
                    <a:pt x="735" y="346"/>
                  </a:lnTo>
                  <a:lnTo>
                    <a:pt x="738" y="340"/>
                  </a:lnTo>
                  <a:lnTo>
                    <a:pt x="742" y="331"/>
                  </a:lnTo>
                  <a:lnTo>
                    <a:pt x="742" y="331"/>
                  </a:lnTo>
                  <a:lnTo>
                    <a:pt x="748" y="331"/>
                  </a:lnTo>
                  <a:lnTo>
                    <a:pt x="752" y="331"/>
                  </a:lnTo>
                  <a:lnTo>
                    <a:pt x="755" y="331"/>
                  </a:lnTo>
                  <a:lnTo>
                    <a:pt x="755" y="331"/>
                  </a:lnTo>
                  <a:lnTo>
                    <a:pt x="759" y="328"/>
                  </a:lnTo>
                  <a:lnTo>
                    <a:pt x="762" y="323"/>
                  </a:lnTo>
                  <a:lnTo>
                    <a:pt x="770" y="314"/>
                  </a:lnTo>
                  <a:lnTo>
                    <a:pt x="770" y="314"/>
                  </a:lnTo>
                  <a:lnTo>
                    <a:pt x="772" y="312"/>
                  </a:lnTo>
                  <a:lnTo>
                    <a:pt x="777" y="312"/>
                  </a:lnTo>
                  <a:lnTo>
                    <a:pt x="780" y="311"/>
                  </a:lnTo>
                  <a:lnTo>
                    <a:pt x="781" y="311"/>
                  </a:lnTo>
                  <a:lnTo>
                    <a:pt x="781" y="310"/>
                  </a:lnTo>
                  <a:lnTo>
                    <a:pt x="781" y="310"/>
                  </a:lnTo>
                  <a:lnTo>
                    <a:pt x="780" y="304"/>
                  </a:lnTo>
                  <a:lnTo>
                    <a:pt x="781" y="301"/>
                  </a:lnTo>
                  <a:lnTo>
                    <a:pt x="783" y="299"/>
                  </a:lnTo>
                  <a:lnTo>
                    <a:pt x="783" y="299"/>
                  </a:lnTo>
                  <a:lnTo>
                    <a:pt x="785" y="299"/>
                  </a:lnTo>
                  <a:lnTo>
                    <a:pt x="787" y="298"/>
                  </a:lnTo>
                  <a:lnTo>
                    <a:pt x="790" y="294"/>
                  </a:lnTo>
                  <a:lnTo>
                    <a:pt x="790" y="294"/>
                  </a:lnTo>
                  <a:lnTo>
                    <a:pt x="790" y="285"/>
                  </a:lnTo>
                  <a:lnTo>
                    <a:pt x="790" y="279"/>
                  </a:lnTo>
                  <a:lnTo>
                    <a:pt x="788" y="276"/>
                  </a:lnTo>
                  <a:lnTo>
                    <a:pt x="788" y="276"/>
                  </a:lnTo>
                  <a:lnTo>
                    <a:pt x="783" y="269"/>
                  </a:lnTo>
                  <a:lnTo>
                    <a:pt x="781" y="266"/>
                  </a:lnTo>
                  <a:lnTo>
                    <a:pt x="780" y="263"/>
                  </a:lnTo>
                  <a:lnTo>
                    <a:pt x="780" y="263"/>
                  </a:lnTo>
                  <a:lnTo>
                    <a:pt x="781" y="257"/>
                  </a:lnTo>
                  <a:lnTo>
                    <a:pt x="783" y="254"/>
                  </a:lnTo>
                  <a:lnTo>
                    <a:pt x="783" y="252"/>
                  </a:lnTo>
                  <a:lnTo>
                    <a:pt x="783" y="252"/>
                  </a:lnTo>
                  <a:lnTo>
                    <a:pt x="783" y="249"/>
                  </a:lnTo>
                  <a:lnTo>
                    <a:pt x="783" y="246"/>
                  </a:lnTo>
                  <a:lnTo>
                    <a:pt x="784" y="244"/>
                  </a:lnTo>
                  <a:lnTo>
                    <a:pt x="785" y="244"/>
                  </a:lnTo>
                  <a:lnTo>
                    <a:pt x="785" y="244"/>
                  </a:lnTo>
                  <a:lnTo>
                    <a:pt x="788" y="249"/>
                  </a:lnTo>
                  <a:lnTo>
                    <a:pt x="790" y="252"/>
                  </a:lnTo>
                  <a:lnTo>
                    <a:pt x="790" y="253"/>
                  </a:lnTo>
                  <a:lnTo>
                    <a:pt x="790" y="253"/>
                  </a:lnTo>
                  <a:lnTo>
                    <a:pt x="788" y="259"/>
                  </a:lnTo>
                  <a:lnTo>
                    <a:pt x="788" y="262"/>
                  </a:lnTo>
                  <a:lnTo>
                    <a:pt x="790" y="260"/>
                  </a:lnTo>
                  <a:lnTo>
                    <a:pt x="790" y="260"/>
                  </a:lnTo>
                  <a:lnTo>
                    <a:pt x="796" y="256"/>
                  </a:lnTo>
                  <a:lnTo>
                    <a:pt x="797" y="254"/>
                  </a:lnTo>
                  <a:lnTo>
                    <a:pt x="798" y="253"/>
                  </a:lnTo>
                  <a:lnTo>
                    <a:pt x="798" y="253"/>
                  </a:lnTo>
                  <a:lnTo>
                    <a:pt x="800" y="243"/>
                  </a:lnTo>
                  <a:lnTo>
                    <a:pt x="801" y="239"/>
                  </a:lnTo>
                  <a:lnTo>
                    <a:pt x="804" y="234"/>
                  </a:lnTo>
                  <a:lnTo>
                    <a:pt x="804" y="234"/>
                  </a:lnTo>
                  <a:lnTo>
                    <a:pt x="804" y="233"/>
                  </a:lnTo>
                  <a:lnTo>
                    <a:pt x="804" y="231"/>
                  </a:lnTo>
                  <a:lnTo>
                    <a:pt x="803" y="228"/>
                  </a:lnTo>
                  <a:lnTo>
                    <a:pt x="801" y="226"/>
                  </a:lnTo>
                  <a:lnTo>
                    <a:pt x="800" y="224"/>
                  </a:lnTo>
                  <a:lnTo>
                    <a:pt x="801" y="224"/>
                  </a:lnTo>
                  <a:lnTo>
                    <a:pt x="801" y="224"/>
                  </a:lnTo>
                  <a:lnTo>
                    <a:pt x="803" y="223"/>
                  </a:lnTo>
                  <a:lnTo>
                    <a:pt x="804" y="223"/>
                  </a:lnTo>
                  <a:lnTo>
                    <a:pt x="807" y="221"/>
                  </a:lnTo>
                  <a:lnTo>
                    <a:pt x="810" y="220"/>
                  </a:lnTo>
                  <a:lnTo>
                    <a:pt x="810" y="220"/>
                  </a:lnTo>
                  <a:lnTo>
                    <a:pt x="817" y="210"/>
                  </a:lnTo>
                  <a:lnTo>
                    <a:pt x="820" y="205"/>
                  </a:lnTo>
                  <a:lnTo>
                    <a:pt x="820" y="201"/>
                  </a:lnTo>
                  <a:lnTo>
                    <a:pt x="820" y="201"/>
                  </a:lnTo>
                  <a:lnTo>
                    <a:pt x="819" y="197"/>
                  </a:lnTo>
                  <a:lnTo>
                    <a:pt x="820" y="194"/>
                  </a:lnTo>
                  <a:lnTo>
                    <a:pt x="822" y="192"/>
                  </a:lnTo>
                  <a:lnTo>
                    <a:pt x="822" y="192"/>
                  </a:lnTo>
                  <a:lnTo>
                    <a:pt x="830" y="189"/>
                  </a:lnTo>
                  <a:lnTo>
                    <a:pt x="833" y="189"/>
                  </a:lnTo>
                  <a:lnTo>
                    <a:pt x="835" y="188"/>
                  </a:lnTo>
                  <a:lnTo>
                    <a:pt x="835" y="188"/>
                  </a:lnTo>
                  <a:lnTo>
                    <a:pt x="836" y="185"/>
                  </a:lnTo>
                  <a:lnTo>
                    <a:pt x="838" y="183"/>
                  </a:lnTo>
                  <a:lnTo>
                    <a:pt x="839" y="182"/>
                  </a:lnTo>
                  <a:lnTo>
                    <a:pt x="839" y="182"/>
                  </a:lnTo>
                  <a:lnTo>
                    <a:pt x="843" y="185"/>
                  </a:lnTo>
                  <a:lnTo>
                    <a:pt x="848" y="185"/>
                  </a:lnTo>
                  <a:lnTo>
                    <a:pt x="851" y="185"/>
                  </a:lnTo>
                  <a:lnTo>
                    <a:pt x="851" y="185"/>
                  </a:lnTo>
                  <a:lnTo>
                    <a:pt x="855" y="182"/>
                  </a:lnTo>
                  <a:lnTo>
                    <a:pt x="861" y="179"/>
                  </a:lnTo>
                  <a:lnTo>
                    <a:pt x="867" y="175"/>
                  </a:lnTo>
                  <a:lnTo>
                    <a:pt x="872" y="173"/>
                  </a:lnTo>
                  <a:lnTo>
                    <a:pt x="872" y="173"/>
                  </a:lnTo>
                  <a:lnTo>
                    <a:pt x="881" y="172"/>
                  </a:lnTo>
                  <a:lnTo>
                    <a:pt x="882" y="170"/>
                  </a:lnTo>
                  <a:lnTo>
                    <a:pt x="882" y="169"/>
                  </a:lnTo>
                  <a:lnTo>
                    <a:pt x="882" y="169"/>
                  </a:lnTo>
                  <a:lnTo>
                    <a:pt x="881" y="168"/>
                  </a:lnTo>
                  <a:lnTo>
                    <a:pt x="878" y="166"/>
                  </a:lnTo>
                  <a:lnTo>
                    <a:pt x="875" y="165"/>
                  </a:lnTo>
                  <a:lnTo>
                    <a:pt x="874" y="163"/>
                  </a:lnTo>
                  <a:lnTo>
                    <a:pt x="874" y="163"/>
                  </a:lnTo>
                  <a:lnTo>
                    <a:pt x="872" y="160"/>
                  </a:lnTo>
                  <a:lnTo>
                    <a:pt x="872" y="156"/>
                  </a:lnTo>
                  <a:lnTo>
                    <a:pt x="872" y="152"/>
                  </a:lnTo>
                  <a:lnTo>
                    <a:pt x="872" y="147"/>
                  </a:lnTo>
                  <a:lnTo>
                    <a:pt x="872" y="147"/>
                  </a:lnTo>
                  <a:lnTo>
                    <a:pt x="872" y="143"/>
                  </a:lnTo>
                  <a:lnTo>
                    <a:pt x="874" y="139"/>
                  </a:lnTo>
                  <a:lnTo>
                    <a:pt x="877" y="133"/>
                  </a:lnTo>
                  <a:lnTo>
                    <a:pt x="881" y="130"/>
                  </a:lnTo>
                  <a:lnTo>
                    <a:pt x="881" y="130"/>
                  </a:lnTo>
                  <a:lnTo>
                    <a:pt x="891" y="123"/>
                  </a:lnTo>
                  <a:lnTo>
                    <a:pt x="900" y="117"/>
                  </a:lnTo>
                  <a:lnTo>
                    <a:pt x="900" y="117"/>
                  </a:lnTo>
                  <a:lnTo>
                    <a:pt x="906" y="113"/>
                  </a:lnTo>
                  <a:lnTo>
                    <a:pt x="910" y="113"/>
                  </a:lnTo>
                  <a:lnTo>
                    <a:pt x="910" y="113"/>
                  </a:lnTo>
                  <a:lnTo>
                    <a:pt x="916" y="111"/>
                  </a:lnTo>
                  <a:lnTo>
                    <a:pt x="923" y="107"/>
                  </a:lnTo>
                  <a:lnTo>
                    <a:pt x="930" y="102"/>
                  </a:lnTo>
                  <a:lnTo>
                    <a:pt x="932" y="99"/>
                  </a:lnTo>
                  <a:lnTo>
                    <a:pt x="932" y="99"/>
                  </a:lnTo>
                  <a:lnTo>
                    <a:pt x="932" y="98"/>
                  </a:lnTo>
                  <a:lnTo>
                    <a:pt x="929" y="97"/>
                  </a:lnTo>
                  <a:lnTo>
                    <a:pt x="929" y="95"/>
                  </a:lnTo>
                  <a:lnTo>
                    <a:pt x="932" y="94"/>
                  </a:lnTo>
                  <a:lnTo>
                    <a:pt x="932" y="94"/>
                  </a:lnTo>
                  <a:lnTo>
                    <a:pt x="926" y="89"/>
                  </a:lnTo>
                  <a:lnTo>
                    <a:pt x="924" y="8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41" name="Freeform 697"/>
            <p:cNvSpPr>
              <a:spLocks/>
            </p:cNvSpPr>
            <p:nvPr/>
          </p:nvSpPr>
          <p:spPr bwMode="auto">
            <a:xfrm>
              <a:off x="1411288" y="3592942"/>
              <a:ext cx="25400" cy="33338"/>
            </a:xfrm>
            <a:custGeom>
              <a:avLst/>
              <a:gdLst>
                <a:gd name="T0" fmla="*/ 16 w 16"/>
                <a:gd name="T1" fmla="*/ 17 h 21"/>
                <a:gd name="T2" fmla="*/ 16 w 16"/>
                <a:gd name="T3" fmla="*/ 17 h 21"/>
                <a:gd name="T4" fmla="*/ 15 w 16"/>
                <a:gd name="T5" fmla="*/ 18 h 21"/>
                <a:gd name="T6" fmla="*/ 12 w 16"/>
                <a:gd name="T7" fmla="*/ 20 h 21"/>
                <a:gd name="T8" fmla="*/ 9 w 16"/>
                <a:gd name="T9" fmla="*/ 21 h 21"/>
                <a:gd name="T10" fmla="*/ 9 w 16"/>
                <a:gd name="T11" fmla="*/ 21 h 21"/>
                <a:gd name="T12" fmla="*/ 3 w 16"/>
                <a:gd name="T13" fmla="*/ 14 h 21"/>
                <a:gd name="T14" fmla="*/ 0 w 16"/>
                <a:gd name="T15" fmla="*/ 10 h 21"/>
                <a:gd name="T16" fmla="*/ 0 w 16"/>
                <a:gd name="T17" fmla="*/ 10 h 21"/>
                <a:gd name="T18" fmla="*/ 0 w 16"/>
                <a:gd name="T19" fmla="*/ 2 h 21"/>
                <a:gd name="T20" fmla="*/ 0 w 16"/>
                <a:gd name="T21" fmla="*/ 1 h 21"/>
                <a:gd name="T22" fmla="*/ 3 w 16"/>
                <a:gd name="T23" fmla="*/ 0 h 21"/>
                <a:gd name="T24" fmla="*/ 3 w 16"/>
                <a:gd name="T25" fmla="*/ 0 h 21"/>
                <a:gd name="T26" fmla="*/ 5 w 16"/>
                <a:gd name="T27" fmla="*/ 0 h 21"/>
                <a:gd name="T28" fmla="*/ 5 w 16"/>
                <a:gd name="T29" fmla="*/ 1 h 21"/>
                <a:gd name="T30" fmla="*/ 6 w 16"/>
                <a:gd name="T31" fmla="*/ 7 h 21"/>
                <a:gd name="T32" fmla="*/ 6 w 16"/>
                <a:gd name="T33" fmla="*/ 7 h 21"/>
                <a:gd name="T34" fmla="*/ 9 w 16"/>
                <a:gd name="T35" fmla="*/ 10 h 21"/>
                <a:gd name="T36" fmla="*/ 9 w 16"/>
                <a:gd name="T37" fmla="*/ 11 h 21"/>
                <a:gd name="T38" fmla="*/ 10 w 16"/>
                <a:gd name="T39" fmla="*/ 10 h 21"/>
                <a:gd name="T40" fmla="*/ 10 w 16"/>
                <a:gd name="T41" fmla="*/ 10 h 21"/>
                <a:gd name="T42" fmla="*/ 10 w 16"/>
                <a:gd name="T43" fmla="*/ 5 h 21"/>
                <a:gd name="T44" fmla="*/ 12 w 16"/>
                <a:gd name="T45" fmla="*/ 4 h 21"/>
                <a:gd name="T46" fmla="*/ 12 w 16"/>
                <a:gd name="T47" fmla="*/ 5 h 21"/>
                <a:gd name="T48" fmla="*/ 12 w 16"/>
                <a:gd name="T49" fmla="*/ 5 h 21"/>
                <a:gd name="T50" fmla="*/ 15 w 16"/>
                <a:gd name="T51" fmla="*/ 11 h 21"/>
                <a:gd name="T52" fmla="*/ 16 w 16"/>
                <a:gd name="T53" fmla="*/ 14 h 21"/>
                <a:gd name="T54" fmla="*/ 16 w 16"/>
                <a:gd name="T55"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1">
                  <a:moveTo>
                    <a:pt x="16" y="17"/>
                  </a:moveTo>
                  <a:lnTo>
                    <a:pt x="16" y="17"/>
                  </a:lnTo>
                  <a:lnTo>
                    <a:pt x="15" y="18"/>
                  </a:lnTo>
                  <a:lnTo>
                    <a:pt x="12" y="20"/>
                  </a:lnTo>
                  <a:lnTo>
                    <a:pt x="9" y="21"/>
                  </a:lnTo>
                  <a:lnTo>
                    <a:pt x="9" y="21"/>
                  </a:lnTo>
                  <a:lnTo>
                    <a:pt x="3" y="14"/>
                  </a:lnTo>
                  <a:lnTo>
                    <a:pt x="0" y="10"/>
                  </a:lnTo>
                  <a:lnTo>
                    <a:pt x="0" y="10"/>
                  </a:lnTo>
                  <a:lnTo>
                    <a:pt x="0" y="2"/>
                  </a:lnTo>
                  <a:lnTo>
                    <a:pt x="0" y="1"/>
                  </a:lnTo>
                  <a:lnTo>
                    <a:pt x="3" y="0"/>
                  </a:lnTo>
                  <a:lnTo>
                    <a:pt x="3" y="0"/>
                  </a:lnTo>
                  <a:lnTo>
                    <a:pt x="5" y="0"/>
                  </a:lnTo>
                  <a:lnTo>
                    <a:pt x="5" y="1"/>
                  </a:lnTo>
                  <a:lnTo>
                    <a:pt x="6" y="7"/>
                  </a:lnTo>
                  <a:lnTo>
                    <a:pt x="6" y="7"/>
                  </a:lnTo>
                  <a:lnTo>
                    <a:pt x="9" y="10"/>
                  </a:lnTo>
                  <a:lnTo>
                    <a:pt x="9" y="11"/>
                  </a:lnTo>
                  <a:lnTo>
                    <a:pt x="10" y="10"/>
                  </a:lnTo>
                  <a:lnTo>
                    <a:pt x="10" y="10"/>
                  </a:lnTo>
                  <a:lnTo>
                    <a:pt x="10" y="5"/>
                  </a:lnTo>
                  <a:lnTo>
                    <a:pt x="12" y="4"/>
                  </a:lnTo>
                  <a:lnTo>
                    <a:pt x="12" y="5"/>
                  </a:lnTo>
                  <a:lnTo>
                    <a:pt x="12" y="5"/>
                  </a:lnTo>
                  <a:lnTo>
                    <a:pt x="15" y="11"/>
                  </a:lnTo>
                  <a:lnTo>
                    <a:pt x="16" y="14"/>
                  </a:lnTo>
                  <a:lnTo>
                    <a:pt x="16"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42" name="Freeform 698"/>
            <p:cNvSpPr>
              <a:spLocks/>
            </p:cNvSpPr>
            <p:nvPr/>
          </p:nvSpPr>
          <p:spPr bwMode="auto">
            <a:xfrm>
              <a:off x="1455738" y="3727879"/>
              <a:ext cx="30163" cy="26988"/>
            </a:xfrm>
            <a:custGeom>
              <a:avLst/>
              <a:gdLst>
                <a:gd name="T0" fmla="*/ 17 w 19"/>
                <a:gd name="T1" fmla="*/ 9 h 17"/>
                <a:gd name="T2" fmla="*/ 17 w 19"/>
                <a:gd name="T3" fmla="*/ 9 h 17"/>
                <a:gd name="T4" fmla="*/ 16 w 19"/>
                <a:gd name="T5" fmla="*/ 10 h 17"/>
                <a:gd name="T6" fmla="*/ 14 w 19"/>
                <a:gd name="T7" fmla="*/ 12 h 17"/>
                <a:gd name="T8" fmla="*/ 10 w 19"/>
                <a:gd name="T9" fmla="*/ 13 h 17"/>
                <a:gd name="T10" fmla="*/ 10 w 19"/>
                <a:gd name="T11" fmla="*/ 13 h 17"/>
                <a:gd name="T12" fmla="*/ 7 w 19"/>
                <a:gd name="T13" fmla="*/ 15 h 17"/>
                <a:gd name="T14" fmla="*/ 4 w 19"/>
                <a:gd name="T15" fmla="*/ 16 h 17"/>
                <a:gd name="T16" fmla="*/ 1 w 19"/>
                <a:gd name="T17" fmla="*/ 17 h 17"/>
                <a:gd name="T18" fmla="*/ 0 w 19"/>
                <a:gd name="T19" fmla="*/ 17 h 17"/>
                <a:gd name="T20" fmla="*/ 0 w 19"/>
                <a:gd name="T21" fmla="*/ 17 h 17"/>
                <a:gd name="T22" fmla="*/ 1 w 19"/>
                <a:gd name="T23" fmla="*/ 15 h 17"/>
                <a:gd name="T24" fmla="*/ 7 w 19"/>
                <a:gd name="T25" fmla="*/ 9 h 17"/>
                <a:gd name="T26" fmla="*/ 17 w 19"/>
                <a:gd name="T27" fmla="*/ 0 h 17"/>
                <a:gd name="T28" fmla="*/ 17 w 19"/>
                <a:gd name="T29" fmla="*/ 0 h 17"/>
                <a:gd name="T30" fmla="*/ 19 w 19"/>
                <a:gd name="T31" fmla="*/ 0 h 17"/>
                <a:gd name="T32" fmla="*/ 19 w 19"/>
                <a:gd name="T33" fmla="*/ 3 h 17"/>
                <a:gd name="T34" fmla="*/ 17 w 19"/>
                <a:gd name="T35" fmla="*/ 9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17">
                  <a:moveTo>
                    <a:pt x="17" y="9"/>
                  </a:moveTo>
                  <a:lnTo>
                    <a:pt x="17" y="9"/>
                  </a:lnTo>
                  <a:lnTo>
                    <a:pt x="16" y="10"/>
                  </a:lnTo>
                  <a:lnTo>
                    <a:pt x="14" y="12"/>
                  </a:lnTo>
                  <a:lnTo>
                    <a:pt x="10" y="13"/>
                  </a:lnTo>
                  <a:lnTo>
                    <a:pt x="10" y="13"/>
                  </a:lnTo>
                  <a:lnTo>
                    <a:pt x="7" y="15"/>
                  </a:lnTo>
                  <a:lnTo>
                    <a:pt x="4" y="16"/>
                  </a:lnTo>
                  <a:lnTo>
                    <a:pt x="1" y="17"/>
                  </a:lnTo>
                  <a:lnTo>
                    <a:pt x="0" y="17"/>
                  </a:lnTo>
                  <a:lnTo>
                    <a:pt x="0" y="17"/>
                  </a:lnTo>
                  <a:lnTo>
                    <a:pt x="1" y="15"/>
                  </a:lnTo>
                  <a:lnTo>
                    <a:pt x="7" y="9"/>
                  </a:lnTo>
                  <a:lnTo>
                    <a:pt x="17" y="0"/>
                  </a:lnTo>
                  <a:lnTo>
                    <a:pt x="17" y="0"/>
                  </a:lnTo>
                  <a:lnTo>
                    <a:pt x="19" y="0"/>
                  </a:lnTo>
                  <a:lnTo>
                    <a:pt x="19" y="3"/>
                  </a:lnTo>
                  <a:lnTo>
                    <a:pt x="17"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43" name="Freeform 699"/>
            <p:cNvSpPr>
              <a:spLocks/>
            </p:cNvSpPr>
            <p:nvPr/>
          </p:nvSpPr>
          <p:spPr bwMode="auto">
            <a:xfrm>
              <a:off x="1524000" y="3373867"/>
              <a:ext cx="57150" cy="14288"/>
            </a:xfrm>
            <a:custGeom>
              <a:avLst/>
              <a:gdLst>
                <a:gd name="T0" fmla="*/ 35 w 36"/>
                <a:gd name="T1" fmla="*/ 4 h 9"/>
                <a:gd name="T2" fmla="*/ 35 w 36"/>
                <a:gd name="T3" fmla="*/ 4 h 9"/>
                <a:gd name="T4" fmla="*/ 31 w 36"/>
                <a:gd name="T5" fmla="*/ 6 h 9"/>
                <a:gd name="T6" fmla="*/ 26 w 36"/>
                <a:gd name="T7" fmla="*/ 6 h 9"/>
                <a:gd name="T8" fmla="*/ 23 w 36"/>
                <a:gd name="T9" fmla="*/ 4 h 9"/>
                <a:gd name="T10" fmla="*/ 22 w 36"/>
                <a:gd name="T11" fmla="*/ 6 h 9"/>
                <a:gd name="T12" fmla="*/ 22 w 36"/>
                <a:gd name="T13" fmla="*/ 6 h 9"/>
                <a:gd name="T14" fmla="*/ 18 w 36"/>
                <a:gd name="T15" fmla="*/ 7 h 9"/>
                <a:gd name="T16" fmla="*/ 13 w 36"/>
                <a:gd name="T17" fmla="*/ 9 h 9"/>
                <a:gd name="T18" fmla="*/ 13 w 36"/>
                <a:gd name="T19" fmla="*/ 9 h 9"/>
                <a:gd name="T20" fmla="*/ 12 w 36"/>
                <a:gd name="T21" fmla="*/ 7 h 9"/>
                <a:gd name="T22" fmla="*/ 10 w 36"/>
                <a:gd name="T23" fmla="*/ 6 h 9"/>
                <a:gd name="T24" fmla="*/ 9 w 36"/>
                <a:gd name="T25" fmla="*/ 4 h 9"/>
                <a:gd name="T26" fmla="*/ 5 w 36"/>
                <a:gd name="T27" fmla="*/ 4 h 9"/>
                <a:gd name="T28" fmla="*/ 5 w 36"/>
                <a:gd name="T29" fmla="*/ 4 h 9"/>
                <a:gd name="T30" fmla="*/ 2 w 36"/>
                <a:gd name="T31" fmla="*/ 3 h 9"/>
                <a:gd name="T32" fmla="*/ 0 w 36"/>
                <a:gd name="T33" fmla="*/ 1 h 9"/>
                <a:gd name="T34" fmla="*/ 2 w 36"/>
                <a:gd name="T35" fmla="*/ 0 h 9"/>
                <a:gd name="T36" fmla="*/ 3 w 36"/>
                <a:gd name="T37" fmla="*/ 0 h 9"/>
                <a:gd name="T38" fmla="*/ 3 w 36"/>
                <a:gd name="T39" fmla="*/ 0 h 9"/>
                <a:gd name="T40" fmla="*/ 12 w 36"/>
                <a:gd name="T41" fmla="*/ 0 h 9"/>
                <a:gd name="T42" fmla="*/ 19 w 36"/>
                <a:gd name="T43" fmla="*/ 0 h 9"/>
                <a:gd name="T44" fmla="*/ 19 w 36"/>
                <a:gd name="T45" fmla="*/ 0 h 9"/>
                <a:gd name="T46" fmla="*/ 32 w 36"/>
                <a:gd name="T47" fmla="*/ 0 h 9"/>
                <a:gd name="T48" fmla="*/ 36 w 36"/>
                <a:gd name="T49" fmla="*/ 1 h 9"/>
                <a:gd name="T50" fmla="*/ 36 w 36"/>
                <a:gd name="T51" fmla="*/ 3 h 9"/>
                <a:gd name="T52" fmla="*/ 35 w 36"/>
                <a:gd name="T53"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 h="9">
                  <a:moveTo>
                    <a:pt x="35" y="4"/>
                  </a:moveTo>
                  <a:lnTo>
                    <a:pt x="35" y="4"/>
                  </a:lnTo>
                  <a:lnTo>
                    <a:pt x="31" y="6"/>
                  </a:lnTo>
                  <a:lnTo>
                    <a:pt x="26" y="6"/>
                  </a:lnTo>
                  <a:lnTo>
                    <a:pt x="23" y="4"/>
                  </a:lnTo>
                  <a:lnTo>
                    <a:pt x="22" y="6"/>
                  </a:lnTo>
                  <a:lnTo>
                    <a:pt x="22" y="6"/>
                  </a:lnTo>
                  <a:lnTo>
                    <a:pt x="18" y="7"/>
                  </a:lnTo>
                  <a:lnTo>
                    <a:pt x="13" y="9"/>
                  </a:lnTo>
                  <a:lnTo>
                    <a:pt x="13" y="9"/>
                  </a:lnTo>
                  <a:lnTo>
                    <a:pt x="12" y="7"/>
                  </a:lnTo>
                  <a:lnTo>
                    <a:pt x="10" y="6"/>
                  </a:lnTo>
                  <a:lnTo>
                    <a:pt x="9" y="4"/>
                  </a:lnTo>
                  <a:lnTo>
                    <a:pt x="5" y="4"/>
                  </a:lnTo>
                  <a:lnTo>
                    <a:pt x="5" y="4"/>
                  </a:lnTo>
                  <a:lnTo>
                    <a:pt x="2" y="3"/>
                  </a:lnTo>
                  <a:lnTo>
                    <a:pt x="0" y="1"/>
                  </a:lnTo>
                  <a:lnTo>
                    <a:pt x="2" y="0"/>
                  </a:lnTo>
                  <a:lnTo>
                    <a:pt x="3" y="0"/>
                  </a:lnTo>
                  <a:lnTo>
                    <a:pt x="3" y="0"/>
                  </a:lnTo>
                  <a:lnTo>
                    <a:pt x="12" y="0"/>
                  </a:lnTo>
                  <a:lnTo>
                    <a:pt x="19" y="0"/>
                  </a:lnTo>
                  <a:lnTo>
                    <a:pt x="19" y="0"/>
                  </a:lnTo>
                  <a:lnTo>
                    <a:pt x="32" y="0"/>
                  </a:lnTo>
                  <a:lnTo>
                    <a:pt x="36" y="1"/>
                  </a:lnTo>
                  <a:lnTo>
                    <a:pt x="36" y="3"/>
                  </a:lnTo>
                  <a:lnTo>
                    <a:pt x="3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44" name="Freeform 898"/>
            <p:cNvSpPr>
              <a:spLocks/>
            </p:cNvSpPr>
            <p:nvPr/>
          </p:nvSpPr>
          <p:spPr bwMode="auto">
            <a:xfrm>
              <a:off x="368300" y="4239054"/>
              <a:ext cx="25400" cy="28575"/>
            </a:xfrm>
            <a:custGeom>
              <a:avLst/>
              <a:gdLst>
                <a:gd name="T0" fmla="*/ 1 w 16"/>
                <a:gd name="T1" fmla="*/ 18 h 18"/>
                <a:gd name="T2" fmla="*/ 1 w 16"/>
                <a:gd name="T3" fmla="*/ 18 h 18"/>
                <a:gd name="T4" fmla="*/ 0 w 16"/>
                <a:gd name="T5" fmla="*/ 17 h 18"/>
                <a:gd name="T6" fmla="*/ 0 w 16"/>
                <a:gd name="T7" fmla="*/ 14 h 18"/>
                <a:gd name="T8" fmla="*/ 0 w 16"/>
                <a:gd name="T9" fmla="*/ 11 h 18"/>
                <a:gd name="T10" fmla="*/ 0 w 16"/>
                <a:gd name="T11" fmla="*/ 7 h 18"/>
                <a:gd name="T12" fmla="*/ 0 w 16"/>
                <a:gd name="T13" fmla="*/ 7 h 18"/>
                <a:gd name="T14" fmla="*/ 0 w 16"/>
                <a:gd name="T15" fmla="*/ 4 h 18"/>
                <a:gd name="T16" fmla="*/ 0 w 16"/>
                <a:gd name="T17" fmla="*/ 1 h 18"/>
                <a:gd name="T18" fmla="*/ 1 w 16"/>
                <a:gd name="T19" fmla="*/ 0 h 18"/>
                <a:gd name="T20" fmla="*/ 4 w 16"/>
                <a:gd name="T21" fmla="*/ 0 h 18"/>
                <a:gd name="T22" fmla="*/ 4 w 16"/>
                <a:gd name="T23" fmla="*/ 0 h 18"/>
                <a:gd name="T24" fmla="*/ 8 w 16"/>
                <a:gd name="T25" fmla="*/ 1 h 18"/>
                <a:gd name="T26" fmla="*/ 13 w 16"/>
                <a:gd name="T27" fmla="*/ 4 h 18"/>
                <a:gd name="T28" fmla="*/ 14 w 16"/>
                <a:gd name="T29" fmla="*/ 7 h 18"/>
                <a:gd name="T30" fmla="*/ 16 w 16"/>
                <a:gd name="T31" fmla="*/ 8 h 18"/>
                <a:gd name="T32" fmla="*/ 14 w 16"/>
                <a:gd name="T33" fmla="*/ 10 h 18"/>
                <a:gd name="T34" fmla="*/ 14 w 16"/>
                <a:gd name="T35" fmla="*/ 10 h 18"/>
                <a:gd name="T36" fmla="*/ 8 w 16"/>
                <a:gd name="T37" fmla="*/ 17 h 18"/>
                <a:gd name="T38" fmla="*/ 4 w 16"/>
                <a:gd name="T39" fmla="*/ 18 h 18"/>
                <a:gd name="T40" fmla="*/ 1 w 16"/>
                <a:gd name="T4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18">
                  <a:moveTo>
                    <a:pt x="1" y="18"/>
                  </a:moveTo>
                  <a:lnTo>
                    <a:pt x="1" y="18"/>
                  </a:lnTo>
                  <a:lnTo>
                    <a:pt x="0" y="17"/>
                  </a:lnTo>
                  <a:lnTo>
                    <a:pt x="0" y="14"/>
                  </a:lnTo>
                  <a:lnTo>
                    <a:pt x="0" y="11"/>
                  </a:lnTo>
                  <a:lnTo>
                    <a:pt x="0" y="7"/>
                  </a:lnTo>
                  <a:lnTo>
                    <a:pt x="0" y="7"/>
                  </a:lnTo>
                  <a:lnTo>
                    <a:pt x="0" y="4"/>
                  </a:lnTo>
                  <a:lnTo>
                    <a:pt x="0" y="1"/>
                  </a:lnTo>
                  <a:lnTo>
                    <a:pt x="1" y="0"/>
                  </a:lnTo>
                  <a:lnTo>
                    <a:pt x="4" y="0"/>
                  </a:lnTo>
                  <a:lnTo>
                    <a:pt x="4" y="0"/>
                  </a:lnTo>
                  <a:lnTo>
                    <a:pt x="8" y="1"/>
                  </a:lnTo>
                  <a:lnTo>
                    <a:pt x="13" y="4"/>
                  </a:lnTo>
                  <a:lnTo>
                    <a:pt x="14" y="7"/>
                  </a:lnTo>
                  <a:lnTo>
                    <a:pt x="16" y="8"/>
                  </a:lnTo>
                  <a:lnTo>
                    <a:pt x="14" y="10"/>
                  </a:lnTo>
                  <a:lnTo>
                    <a:pt x="14" y="10"/>
                  </a:lnTo>
                  <a:lnTo>
                    <a:pt x="8" y="17"/>
                  </a:lnTo>
                  <a:lnTo>
                    <a:pt x="4" y="18"/>
                  </a:lnTo>
                  <a:lnTo>
                    <a:pt x="1" y="18"/>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45" name="Freeform 899"/>
            <p:cNvSpPr>
              <a:spLocks/>
            </p:cNvSpPr>
            <p:nvPr/>
          </p:nvSpPr>
          <p:spPr bwMode="auto">
            <a:xfrm>
              <a:off x="368300" y="4239054"/>
              <a:ext cx="25400" cy="28575"/>
            </a:xfrm>
            <a:custGeom>
              <a:avLst/>
              <a:gdLst>
                <a:gd name="T0" fmla="*/ 1 w 16"/>
                <a:gd name="T1" fmla="*/ 18 h 18"/>
                <a:gd name="T2" fmla="*/ 1 w 16"/>
                <a:gd name="T3" fmla="*/ 18 h 18"/>
                <a:gd name="T4" fmla="*/ 0 w 16"/>
                <a:gd name="T5" fmla="*/ 17 h 18"/>
                <a:gd name="T6" fmla="*/ 0 w 16"/>
                <a:gd name="T7" fmla="*/ 14 h 18"/>
                <a:gd name="T8" fmla="*/ 0 w 16"/>
                <a:gd name="T9" fmla="*/ 11 h 18"/>
                <a:gd name="T10" fmla="*/ 0 w 16"/>
                <a:gd name="T11" fmla="*/ 7 h 18"/>
                <a:gd name="T12" fmla="*/ 0 w 16"/>
                <a:gd name="T13" fmla="*/ 7 h 18"/>
                <a:gd name="T14" fmla="*/ 0 w 16"/>
                <a:gd name="T15" fmla="*/ 4 h 18"/>
                <a:gd name="T16" fmla="*/ 0 w 16"/>
                <a:gd name="T17" fmla="*/ 1 h 18"/>
                <a:gd name="T18" fmla="*/ 1 w 16"/>
                <a:gd name="T19" fmla="*/ 0 h 18"/>
                <a:gd name="T20" fmla="*/ 4 w 16"/>
                <a:gd name="T21" fmla="*/ 0 h 18"/>
                <a:gd name="T22" fmla="*/ 4 w 16"/>
                <a:gd name="T23" fmla="*/ 0 h 18"/>
                <a:gd name="T24" fmla="*/ 8 w 16"/>
                <a:gd name="T25" fmla="*/ 1 h 18"/>
                <a:gd name="T26" fmla="*/ 13 w 16"/>
                <a:gd name="T27" fmla="*/ 4 h 18"/>
                <a:gd name="T28" fmla="*/ 14 w 16"/>
                <a:gd name="T29" fmla="*/ 7 h 18"/>
                <a:gd name="T30" fmla="*/ 16 w 16"/>
                <a:gd name="T31" fmla="*/ 8 h 18"/>
                <a:gd name="T32" fmla="*/ 14 w 16"/>
                <a:gd name="T33" fmla="*/ 10 h 18"/>
                <a:gd name="T34" fmla="*/ 14 w 16"/>
                <a:gd name="T35" fmla="*/ 10 h 18"/>
                <a:gd name="T36" fmla="*/ 8 w 16"/>
                <a:gd name="T37" fmla="*/ 17 h 18"/>
                <a:gd name="T38" fmla="*/ 4 w 16"/>
                <a:gd name="T39" fmla="*/ 18 h 18"/>
                <a:gd name="T40" fmla="*/ 1 w 16"/>
                <a:gd name="T4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18">
                  <a:moveTo>
                    <a:pt x="1" y="18"/>
                  </a:moveTo>
                  <a:lnTo>
                    <a:pt x="1" y="18"/>
                  </a:lnTo>
                  <a:lnTo>
                    <a:pt x="0" y="17"/>
                  </a:lnTo>
                  <a:lnTo>
                    <a:pt x="0" y="14"/>
                  </a:lnTo>
                  <a:lnTo>
                    <a:pt x="0" y="11"/>
                  </a:lnTo>
                  <a:lnTo>
                    <a:pt x="0" y="7"/>
                  </a:lnTo>
                  <a:lnTo>
                    <a:pt x="0" y="7"/>
                  </a:lnTo>
                  <a:lnTo>
                    <a:pt x="0" y="4"/>
                  </a:lnTo>
                  <a:lnTo>
                    <a:pt x="0" y="1"/>
                  </a:lnTo>
                  <a:lnTo>
                    <a:pt x="1" y="0"/>
                  </a:lnTo>
                  <a:lnTo>
                    <a:pt x="4" y="0"/>
                  </a:lnTo>
                  <a:lnTo>
                    <a:pt x="4" y="0"/>
                  </a:lnTo>
                  <a:lnTo>
                    <a:pt x="8" y="1"/>
                  </a:lnTo>
                  <a:lnTo>
                    <a:pt x="13" y="4"/>
                  </a:lnTo>
                  <a:lnTo>
                    <a:pt x="14" y="7"/>
                  </a:lnTo>
                  <a:lnTo>
                    <a:pt x="16" y="8"/>
                  </a:lnTo>
                  <a:lnTo>
                    <a:pt x="14" y="10"/>
                  </a:lnTo>
                  <a:lnTo>
                    <a:pt x="14" y="10"/>
                  </a:lnTo>
                  <a:lnTo>
                    <a:pt x="8" y="17"/>
                  </a:lnTo>
                  <a:lnTo>
                    <a:pt x="4" y="18"/>
                  </a:lnTo>
                  <a:lnTo>
                    <a:pt x="1"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46" name="Freeform 900"/>
            <p:cNvSpPr>
              <a:spLocks/>
            </p:cNvSpPr>
            <p:nvPr/>
          </p:nvSpPr>
          <p:spPr bwMode="auto">
            <a:xfrm>
              <a:off x="2570163" y="6436154"/>
              <a:ext cx="23813" cy="9525"/>
            </a:xfrm>
            <a:custGeom>
              <a:avLst/>
              <a:gdLst>
                <a:gd name="T0" fmla="*/ 13 w 15"/>
                <a:gd name="T1" fmla="*/ 6 h 6"/>
                <a:gd name="T2" fmla="*/ 13 w 15"/>
                <a:gd name="T3" fmla="*/ 6 h 6"/>
                <a:gd name="T4" fmla="*/ 10 w 15"/>
                <a:gd name="T5" fmla="*/ 6 h 6"/>
                <a:gd name="T6" fmla="*/ 5 w 15"/>
                <a:gd name="T7" fmla="*/ 5 h 6"/>
                <a:gd name="T8" fmla="*/ 2 w 15"/>
                <a:gd name="T9" fmla="*/ 3 h 6"/>
                <a:gd name="T10" fmla="*/ 0 w 15"/>
                <a:gd name="T11" fmla="*/ 2 h 6"/>
                <a:gd name="T12" fmla="*/ 2 w 15"/>
                <a:gd name="T13" fmla="*/ 0 h 6"/>
                <a:gd name="T14" fmla="*/ 2 w 15"/>
                <a:gd name="T15" fmla="*/ 0 h 6"/>
                <a:gd name="T16" fmla="*/ 6 w 15"/>
                <a:gd name="T17" fmla="*/ 0 h 6"/>
                <a:gd name="T18" fmla="*/ 10 w 15"/>
                <a:gd name="T19" fmla="*/ 0 h 6"/>
                <a:gd name="T20" fmla="*/ 15 w 15"/>
                <a:gd name="T21" fmla="*/ 3 h 6"/>
                <a:gd name="T22" fmla="*/ 15 w 15"/>
                <a:gd name="T23" fmla="*/ 5 h 6"/>
                <a:gd name="T24" fmla="*/ 13 w 15"/>
                <a:gd name="T2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6">
                  <a:moveTo>
                    <a:pt x="13" y="6"/>
                  </a:moveTo>
                  <a:lnTo>
                    <a:pt x="13" y="6"/>
                  </a:lnTo>
                  <a:lnTo>
                    <a:pt x="10" y="6"/>
                  </a:lnTo>
                  <a:lnTo>
                    <a:pt x="5" y="5"/>
                  </a:lnTo>
                  <a:lnTo>
                    <a:pt x="2" y="3"/>
                  </a:lnTo>
                  <a:lnTo>
                    <a:pt x="0" y="2"/>
                  </a:lnTo>
                  <a:lnTo>
                    <a:pt x="2" y="0"/>
                  </a:lnTo>
                  <a:lnTo>
                    <a:pt x="2" y="0"/>
                  </a:lnTo>
                  <a:lnTo>
                    <a:pt x="6" y="0"/>
                  </a:lnTo>
                  <a:lnTo>
                    <a:pt x="10" y="0"/>
                  </a:lnTo>
                  <a:lnTo>
                    <a:pt x="15" y="3"/>
                  </a:lnTo>
                  <a:lnTo>
                    <a:pt x="15" y="5"/>
                  </a:lnTo>
                  <a:lnTo>
                    <a:pt x="13" y="6"/>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47" name="Freeform 901"/>
            <p:cNvSpPr>
              <a:spLocks/>
            </p:cNvSpPr>
            <p:nvPr/>
          </p:nvSpPr>
          <p:spPr bwMode="auto">
            <a:xfrm>
              <a:off x="2570163" y="6436154"/>
              <a:ext cx="23813" cy="9525"/>
            </a:xfrm>
            <a:custGeom>
              <a:avLst/>
              <a:gdLst>
                <a:gd name="T0" fmla="*/ 13 w 15"/>
                <a:gd name="T1" fmla="*/ 6 h 6"/>
                <a:gd name="T2" fmla="*/ 13 w 15"/>
                <a:gd name="T3" fmla="*/ 6 h 6"/>
                <a:gd name="T4" fmla="*/ 10 w 15"/>
                <a:gd name="T5" fmla="*/ 6 h 6"/>
                <a:gd name="T6" fmla="*/ 5 w 15"/>
                <a:gd name="T7" fmla="*/ 5 h 6"/>
                <a:gd name="T8" fmla="*/ 2 w 15"/>
                <a:gd name="T9" fmla="*/ 3 h 6"/>
                <a:gd name="T10" fmla="*/ 0 w 15"/>
                <a:gd name="T11" fmla="*/ 2 h 6"/>
                <a:gd name="T12" fmla="*/ 2 w 15"/>
                <a:gd name="T13" fmla="*/ 0 h 6"/>
                <a:gd name="T14" fmla="*/ 2 w 15"/>
                <a:gd name="T15" fmla="*/ 0 h 6"/>
                <a:gd name="T16" fmla="*/ 6 w 15"/>
                <a:gd name="T17" fmla="*/ 0 h 6"/>
                <a:gd name="T18" fmla="*/ 10 w 15"/>
                <a:gd name="T19" fmla="*/ 0 h 6"/>
                <a:gd name="T20" fmla="*/ 15 w 15"/>
                <a:gd name="T21" fmla="*/ 3 h 6"/>
                <a:gd name="T22" fmla="*/ 15 w 15"/>
                <a:gd name="T23" fmla="*/ 5 h 6"/>
                <a:gd name="T24" fmla="*/ 13 w 15"/>
                <a:gd name="T2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6">
                  <a:moveTo>
                    <a:pt x="13" y="6"/>
                  </a:moveTo>
                  <a:lnTo>
                    <a:pt x="13" y="6"/>
                  </a:lnTo>
                  <a:lnTo>
                    <a:pt x="10" y="6"/>
                  </a:lnTo>
                  <a:lnTo>
                    <a:pt x="5" y="5"/>
                  </a:lnTo>
                  <a:lnTo>
                    <a:pt x="2" y="3"/>
                  </a:lnTo>
                  <a:lnTo>
                    <a:pt x="0" y="2"/>
                  </a:lnTo>
                  <a:lnTo>
                    <a:pt x="2" y="0"/>
                  </a:lnTo>
                  <a:lnTo>
                    <a:pt x="2" y="0"/>
                  </a:lnTo>
                  <a:lnTo>
                    <a:pt x="6" y="0"/>
                  </a:lnTo>
                  <a:lnTo>
                    <a:pt x="10" y="0"/>
                  </a:lnTo>
                  <a:lnTo>
                    <a:pt x="15" y="3"/>
                  </a:lnTo>
                  <a:lnTo>
                    <a:pt x="15" y="5"/>
                  </a:lnTo>
                  <a:lnTo>
                    <a:pt x="13"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48" name="Freeform 902"/>
            <p:cNvSpPr>
              <a:spLocks/>
            </p:cNvSpPr>
            <p:nvPr/>
          </p:nvSpPr>
          <p:spPr bwMode="auto">
            <a:xfrm>
              <a:off x="2519363" y="6439329"/>
              <a:ext cx="30163" cy="11113"/>
            </a:xfrm>
            <a:custGeom>
              <a:avLst/>
              <a:gdLst>
                <a:gd name="T0" fmla="*/ 19 w 19"/>
                <a:gd name="T1" fmla="*/ 1 h 7"/>
                <a:gd name="T2" fmla="*/ 19 w 19"/>
                <a:gd name="T3" fmla="*/ 1 h 7"/>
                <a:gd name="T4" fmla="*/ 13 w 19"/>
                <a:gd name="T5" fmla="*/ 6 h 7"/>
                <a:gd name="T6" fmla="*/ 12 w 19"/>
                <a:gd name="T7" fmla="*/ 7 h 7"/>
                <a:gd name="T8" fmla="*/ 9 w 19"/>
                <a:gd name="T9" fmla="*/ 7 h 7"/>
                <a:gd name="T10" fmla="*/ 9 w 19"/>
                <a:gd name="T11" fmla="*/ 7 h 7"/>
                <a:gd name="T12" fmla="*/ 3 w 19"/>
                <a:gd name="T13" fmla="*/ 4 h 7"/>
                <a:gd name="T14" fmla="*/ 0 w 19"/>
                <a:gd name="T15" fmla="*/ 3 h 7"/>
                <a:gd name="T16" fmla="*/ 2 w 19"/>
                <a:gd name="T17" fmla="*/ 1 h 7"/>
                <a:gd name="T18" fmla="*/ 2 w 19"/>
                <a:gd name="T19" fmla="*/ 1 h 7"/>
                <a:gd name="T20" fmla="*/ 6 w 19"/>
                <a:gd name="T21" fmla="*/ 0 h 7"/>
                <a:gd name="T22" fmla="*/ 12 w 19"/>
                <a:gd name="T23" fmla="*/ 0 h 7"/>
                <a:gd name="T24" fmla="*/ 18 w 19"/>
                <a:gd name="T25" fmla="*/ 0 h 7"/>
                <a:gd name="T26" fmla="*/ 19 w 19"/>
                <a:gd name="T27" fmla="*/ 0 h 7"/>
                <a:gd name="T28" fmla="*/ 19 w 19"/>
                <a:gd name="T2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7">
                  <a:moveTo>
                    <a:pt x="19" y="1"/>
                  </a:moveTo>
                  <a:lnTo>
                    <a:pt x="19" y="1"/>
                  </a:lnTo>
                  <a:lnTo>
                    <a:pt x="13" y="6"/>
                  </a:lnTo>
                  <a:lnTo>
                    <a:pt x="12" y="7"/>
                  </a:lnTo>
                  <a:lnTo>
                    <a:pt x="9" y="7"/>
                  </a:lnTo>
                  <a:lnTo>
                    <a:pt x="9" y="7"/>
                  </a:lnTo>
                  <a:lnTo>
                    <a:pt x="3" y="4"/>
                  </a:lnTo>
                  <a:lnTo>
                    <a:pt x="0" y="3"/>
                  </a:lnTo>
                  <a:lnTo>
                    <a:pt x="2" y="1"/>
                  </a:lnTo>
                  <a:lnTo>
                    <a:pt x="2" y="1"/>
                  </a:lnTo>
                  <a:lnTo>
                    <a:pt x="6" y="0"/>
                  </a:lnTo>
                  <a:lnTo>
                    <a:pt x="12" y="0"/>
                  </a:lnTo>
                  <a:lnTo>
                    <a:pt x="18" y="0"/>
                  </a:lnTo>
                  <a:lnTo>
                    <a:pt x="19" y="0"/>
                  </a:lnTo>
                  <a:lnTo>
                    <a:pt x="19" y="1"/>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49" name="Freeform 903"/>
            <p:cNvSpPr>
              <a:spLocks/>
            </p:cNvSpPr>
            <p:nvPr/>
          </p:nvSpPr>
          <p:spPr bwMode="auto">
            <a:xfrm>
              <a:off x="2519363" y="6439329"/>
              <a:ext cx="30163" cy="11113"/>
            </a:xfrm>
            <a:custGeom>
              <a:avLst/>
              <a:gdLst>
                <a:gd name="T0" fmla="*/ 19 w 19"/>
                <a:gd name="T1" fmla="*/ 1 h 7"/>
                <a:gd name="T2" fmla="*/ 19 w 19"/>
                <a:gd name="T3" fmla="*/ 1 h 7"/>
                <a:gd name="T4" fmla="*/ 13 w 19"/>
                <a:gd name="T5" fmla="*/ 6 h 7"/>
                <a:gd name="T6" fmla="*/ 12 w 19"/>
                <a:gd name="T7" fmla="*/ 7 h 7"/>
                <a:gd name="T8" fmla="*/ 9 w 19"/>
                <a:gd name="T9" fmla="*/ 7 h 7"/>
                <a:gd name="T10" fmla="*/ 9 w 19"/>
                <a:gd name="T11" fmla="*/ 7 h 7"/>
                <a:gd name="T12" fmla="*/ 3 w 19"/>
                <a:gd name="T13" fmla="*/ 4 h 7"/>
                <a:gd name="T14" fmla="*/ 0 w 19"/>
                <a:gd name="T15" fmla="*/ 3 h 7"/>
                <a:gd name="T16" fmla="*/ 2 w 19"/>
                <a:gd name="T17" fmla="*/ 1 h 7"/>
                <a:gd name="T18" fmla="*/ 2 w 19"/>
                <a:gd name="T19" fmla="*/ 1 h 7"/>
                <a:gd name="T20" fmla="*/ 6 w 19"/>
                <a:gd name="T21" fmla="*/ 0 h 7"/>
                <a:gd name="T22" fmla="*/ 12 w 19"/>
                <a:gd name="T23" fmla="*/ 0 h 7"/>
                <a:gd name="T24" fmla="*/ 18 w 19"/>
                <a:gd name="T25" fmla="*/ 0 h 7"/>
                <a:gd name="T26" fmla="*/ 19 w 19"/>
                <a:gd name="T27" fmla="*/ 0 h 7"/>
                <a:gd name="T28" fmla="*/ 19 w 19"/>
                <a:gd name="T2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7">
                  <a:moveTo>
                    <a:pt x="19" y="1"/>
                  </a:moveTo>
                  <a:lnTo>
                    <a:pt x="19" y="1"/>
                  </a:lnTo>
                  <a:lnTo>
                    <a:pt x="13" y="6"/>
                  </a:lnTo>
                  <a:lnTo>
                    <a:pt x="12" y="7"/>
                  </a:lnTo>
                  <a:lnTo>
                    <a:pt x="9" y="7"/>
                  </a:lnTo>
                  <a:lnTo>
                    <a:pt x="9" y="7"/>
                  </a:lnTo>
                  <a:lnTo>
                    <a:pt x="3" y="4"/>
                  </a:lnTo>
                  <a:lnTo>
                    <a:pt x="0" y="3"/>
                  </a:lnTo>
                  <a:lnTo>
                    <a:pt x="2" y="1"/>
                  </a:lnTo>
                  <a:lnTo>
                    <a:pt x="2" y="1"/>
                  </a:lnTo>
                  <a:lnTo>
                    <a:pt x="6" y="0"/>
                  </a:lnTo>
                  <a:lnTo>
                    <a:pt x="12" y="0"/>
                  </a:lnTo>
                  <a:lnTo>
                    <a:pt x="18" y="0"/>
                  </a:lnTo>
                  <a:lnTo>
                    <a:pt x="19" y="0"/>
                  </a:lnTo>
                  <a:lnTo>
                    <a:pt x="19"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50" name="Freeform 904"/>
            <p:cNvSpPr>
              <a:spLocks/>
            </p:cNvSpPr>
            <p:nvPr/>
          </p:nvSpPr>
          <p:spPr bwMode="auto">
            <a:xfrm>
              <a:off x="2393950" y="6339317"/>
              <a:ext cx="63500" cy="55563"/>
            </a:xfrm>
            <a:custGeom>
              <a:avLst/>
              <a:gdLst>
                <a:gd name="T0" fmla="*/ 34 w 40"/>
                <a:gd name="T1" fmla="*/ 35 h 35"/>
                <a:gd name="T2" fmla="*/ 34 w 40"/>
                <a:gd name="T3" fmla="*/ 35 h 35"/>
                <a:gd name="T4" fmla="*/ 27 w 40"/>
                <a:gd name="T5" fmla="*/ 31 h 35"/>
                <a:gd name="T6" fmla="*/ 21 w 40"/>
                <a:gd name="T7" fmla="*/ 27 h 35"/>
                <a:gd name="T8" fmla="*/ 21 w 40"/>
                <a:gd name="T9" fmla="*/ 27 h 35"/>
                <a:gd name="T10" fmla="*/ 17 w 40"/>
                <a:gd name="T11" fmla="*/ 21 h 35"/>
                <a:gd name="T12" fmla="*/ 17 w 40"/>
                <a:gd name="T13" fmla="*/ 18 h 35"/>
                <a:gd name="T14" fmla="*/ 17 w 40"/>
                <a:gd name="T15" fmla="*/ 18 h 35"/>
                <a:gd name="T16" fmla="*/ 17 w 40"/>
                <a:gd name="T17" fmla="*/ 16 h 35"/>
                <a:gd name="T18" fmla="*/ 16 w 40"/>
                <a:gd name="T19" fmla="*/ 15 h 35"/>
                <a:gd name="T20" fmla="*/ 13 w 40"/>
                <a:gd name="T21" fmla="*/ 12 h 35"/>
                <a:gd name="T22" fmla="*/ 13 w 40"/>
                <a:gd name="T23" fmla="*/ 12 h 35"/>
                <a:gd name="T24" fmla="*/ 10 w 40"/>
                <a:gd name="T25" fmla="*/ 12 h 35"/>
                <a:gd name="T26" fmla="*/ 6 w 40"/>
                <a:gd name="T27" fmla="*/ 8 h 35"/>
                <a:gd name="T28" fmla="*/ 6 w 40"/>
                <a:gd name="T29" fmla="*/ 8 h 35"/>
                <a:gd name="T30" fmla="*/ 1 w 40"/>
                <a:gd name="T31" fmla="*/ 3 h 35"/>
                <a:gd name="T32" fmla="*/ 0 w 40"/>
                <a:gd name="T33" fmla="*/ 0 h 35"/>
                <a:gd name="T34" fmla="*/ 1 w 40"/>
                <a:gd name="T35" fmla="*/ 0 h 35"/>
                <a:gd name="T36" fmla="*/ 1 w 40"/>
                <a:gd name="T37" fmla="*/ 0 h 35"/>
                <a:gd name="T38" fmla="*/ 11 w 40"/>
                <a:gd name="T39" fmla="*/ 5 h 35"/>
                <a:gd name="T40" fmla="*/ 21 w 40"/>
                <a:gd name="T41" fmla="*/ 12 h 35"/>
                <a:gd name="T42" fmla="*/ 21 w 40"/>
                <a:gd name="T43" fmla="*/ 12 h 35"/>
                <a:gd name="T44" fmla="*/ 33 w 40"/>
                <a:gd name="T45" fmla="*/ 21 h 35"/>
                <a:gd name="T46" fmla="*/ 39 w 40"/>
                <a:gd name="T47" fmla="*/ 24 h 35"/>
                <a:gd name="T48" fmla="*/ 40 w 40"/>
                <a:gd name="T49" fmla="*/ 27 h 35"/>
                <a:gd name="T50" fmla="*/ 40 w 40"/>
                <a:gd name="T51" fmla="*/ 27 h 35"/>
                <a:gd name="T52" fmla="*/ 39 w 40"/>
                <a:gd name="T53" fmla="*/ 32 h 35"/>
                <a:gd name="T54" fmla="*/ 36 w 40"/>
                <a:gd name="T55" fmla="*/ 34 h 35"/>
                <a:gd name="T56" fmla="*/ 34 w 40"/>
                <a:gd name="T5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 h="35">
                  <a:moveTo>
                    <a:pt x="34" y="35"/>
                  </a:moveTo>
                  <a:lnTo>
                    <a:pt x="34" y="35"/>
                  </a:lnTo>
                  <a:lnTo>
                    <a:pt x="27" y="31"/>
                  </a:lnTo>
                  <a:lnTo>
                    <a:pt x="21" y="27"/>
                  </a:lnTo>
                  <a:lnTo>
                    <a:pt x="21" y="27"/>
                  </a:lnTo>
                  <a:lnTo>
                    <a:pt x="17" y="21"/>
                  </a:lnTo>
                  <a:lnTo>
                    <a:pt x="17" y="18"/>
                  </a:lnTo>
                  <a:lnTo>
                    <a:pt x="17" y="18"/>
                  </a:lnTo>
                  <a:lnTo>
                    <a:pt x="17" y="16"/>
                  </a:lnTo>
                  <a:lnTo>
                    <a:pt x="16" y="15"/>
                  </a:lnTo>
                  <a:lnTo>
                    <a:pt x="13" y="12"/>
                  </a:lnTo>
                  <a:lnTo>
                    <a:pt x="13" y="12"/>
                  </a:lnTo>
                  <a:lnTo>
                    <a:pt x="10" y="12"/>
                  </a:lnTo>
                  <a:lnTo>
                    <a:pt x="6" y="8"/>
                  </a:lnTo>
                  <a:lnTo>
                    <a:pt x="6" y="8"/>
                  </a:lnTo>
                  <a:lnTo>
                    <a:pt x="1" y="3"/>
                  </a:lnTo>
                  <a:lnTo>
                    <a:pt x="0" y="0"/>
                  </a:lnTo>
                  <a:lnTo>
                    <a:pt x="1" y="0"/>
                  </a:lnTo>
                  <a:lnTo>
                    <a:pt x="1" y="0"/>
                  </a:lnTo>
                  <a:lnTo>
                    <a:pt x="11" y="5"/>
                  </a:lnTo>
                  <a:lnTo>
                    <a:pt x="21" y="12"/>
                  </a:lnTo>
                  <a:lnTo>
                    <a:pt x="21" y="12"/>
                  </a:lnTo>
                  <a:lnTo>
                    <a:pt x="33" y="21"/>
                  </a:lnTo>
                  <a:lnTo>
                    <a:pt x="39" y="24"/>
                  </a:lnTo>
                  <a:lnTo>
                    <a:pt x="40" y="27"/>
                  </a:lnTo>
                  <a:lnTo>
                    <a:pt x="40" y="27"/>
                  </a:lnTo>
                  <a:lnTo>
                    <a:pt x="39" y="32"/>
                  </a:lnTo>
                  <a:lnTo>
                    <a:pt x="36" y="34"/>
                  </a:lnTo>
                  <a:lnTo>
                    <a:pt x="34" y="35"/>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51" name="Freeform 905"/>
            <p:cNvSpPr>
              <a:spLocks/>
            </p:cNvSpPr>
            <p:nvPr/>
          </p:nvSpPr>
          <p:spPr bwMode="auto">
            <a:xfrm>
              <a:off x="2393950" y="6339317"/>
              <a:ext cx="63500" cy="55563"/>
            </a:xfrm>
            <a:custGeom>
              <a:avLst/>
              <a:gdLst>
                <a:gd name="T0" fmla="*/ 34 w 40"/>
                <a:gd name="T1" fmla="*/ 35 h 35"/>
                <a:gd name="T2" fmla="*/ 34 w 40"/>
                <a:gd name="T3" fmla="*/ 35 h 35"/>
                <a:gd name="T4" fmla="*/ 27 w 40"/>
                <a:gd name="T5" fmla="*/ 31 h 35"/>
                <a:gd name="T6" fmla="*/ 21 w 40"/>
                <a:gd name="T7" fmla="*/ 27 h 35"/>
                <a:gd name="T8" fmla="*/ 21 w 40"/>
                <a:gd name="T9" fmla="*/ 27 h 35"/>
                <a:gd name="T10" fmla="*/ 17 w 40"/>
                <a:gd name="T11" fmla="*/ 21 h 35"/>
                <a:gd name="T12" fmla="*/ 17 w 40"/>
                <a:gd name="T13" fmla="*/ 18 h 35"/>
                <a:gd name="T14" fmla="*/ 17 w 40"/>
                <a:gd name="T15" fmla="*/ 18 h 35"/>
                <a:gd name="T16" fmla="*/ 17 w 40"/>
                <a:gd name="T17" fmla="*/ 16 h 35"/>
                <a:gd name="T18" fmla="*/ 16 w 40"/>
                <a:gd name="T19" fmla="*/ 15 h 35"/>
                <a:gd name="T20" fmla="*/ 13 w 40"/>
                <a:gd name="T21" fmla="*/ 12 h 35"/>
                <a:gd name="T22" fmla="*/ 13 w 40"/>
                <a:gd name="T23" fmla="*/ 12 h 35"/>
                <a:gd name="T24" fmla="*/ 10 w 40"/>
                <a:gd name="T25" fmla="*/ 12 h 35"/>
                <a:gd name="T26" fmla="*/ 6 w 40"/>
                <a:gd name="T27" fmla="*/ 8 h 35"/>
                <a:gd name="T28" fmla="*/ 6 w 40"/>
                <a:gd name="T29" fmla="*/ 8 h 35"/>
                <a:gd name="T30" fmla="*/ 1 w 40"/>
                <a:gd name="T31" fmla="*/ 3 h 35"/>
                <a:gd name="T32" fmla="*/ 0 w 40"/>
                <a:gd name="T33" fmla="*/ 0 h 35"/>
                <a:gd name="T34" fmla="*/ 1 w 40"/>
                <a:gd name="T35" fmla="*/ 0 h 35"/>
                <a:gd name="T36" fmla="*/ 1 w 40"/>
                <a:gd name="T37" fmla="*/ 0 h 35"/>
                <a:gd name="T38" fmla="*/ 11 w 40"/>
                <a:gd name="T39" fmla="*/ 5 h 35"/>
                <a:gd name="T40" fmla="*/ 21 w 40"/>
                <a:gd name="T41" fmla="*/ 12 h 35"/>
                <a:gd name="T42" fmla="*/ 21 w 40"/>
                <a:gd name="T43" fmla="*/ 12 h 35"/>
                <a:gd name="T44" fmla="*/ 33 w 40"/>
                <a:gd name="T45" fmla="*/ 21 h 35"/>
                <a:gd name="T46" fmla="*/ 39 w 40"/>
                <a:gd name="T47" fmla="*/ 24 h 35"/>
                <a:gd name="T48" fmla="*/ 40 w 40"/>
                <a:gd name="T49" fmla="*/ 27 h 35"/>
                <a:gd name="T50" fmla="*/ 40 w 40"/>
                <a:gd name="T51" fmla="*/ 27 h 35"/>
                <a:gd name="T52" fmla="*/ 39 w 40"/>
                <a:gd name="T53" fmla="*/ 32 h 35"/>
                <a:gd name="T54" fmla="*/ 36 w 40"/>
                <a:gd name="T55" fmla="*/ 34 h 35"/>
                <a:gd name="T56" fmla="*/ 34 w 40"/>
                <a:gd name="T5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 h="35">
                  <a:moveTo>
                    <a:pt x="34" y="35"/>
                  </a:moveTo>
                  <a:lnTo>
                    <a:pt x="34" y="35"/>
                  </a:lnTo>
                  <a:lnTo>
                    <a:pt x="27" y="31"/>
                  </a:lnTo>
                  <a:lnTo>
                    <a:pt x="21" y="27"/>
                  </a:lnTo>
                  <a:lnTo>
                    <a:pt x="21" y="27"/>
                  </a:lnTo>
                  <a:lnTo>
                    <a:pt x="17" y="21"/>
                  </a:lnTo>
                  <a:lnTo>
                    <a:pt x="17" y="18"/>
                  </a:lnTo>
                  <a:lnTo>
                    <a:pt x="17" y="18"/>
                  </a:lnTo>
                  <a:lnTo>
                    <a:pt x="17" y="16"/>
                  </a:lnTo>
                  <a:lnTo>
                    <a:pt x="16" y="15"/>
                  </a:lnTo>
                  <a:lnTo>
                    <a:pt x="13" y="12"/>
                  </a:lnTo>
                  <a:lnTo>
                    <a:pt x="13" y="12"/>
                  </a:lnTo>
                  <a:lnTo>
                    <a:pt x="10" y="12"/>
                  </a:lnTo>
                  <a:lnTo>
                    <a:pt x="6" y="8"/>
                  </a:lnTo>
                  <a:lnTo>
                    <a:pt x="6" y="8"/>
                  </a:lnTo>
                  <a:lnTo>
                    <a:pt x="1" y="3"/>
                  </a:lnTo>
                  <a:lnTo>
                    <a:pt x="0" y="0"/>
                  </a:lnTo>
                  <a:lnTo>
                    <a:pt x="1" y="0"/>
                  </a:lnTo>
                  <a:lnTo>
                    <a:pt x="1" y="0"/>
                  </a:lnTo>
                  <a:lnTo>
                    <a:pt x="11" y="5"/>
                  </a:lnTo>
                  <a:lnTo>
                    <a:pt x="21" y="12"/>
                  </a:lnTo>
                  <a:lnTo>
                    <a:pt x="21" y="12"/>
                  </a:lnTo>
                  <a:lnTo>
                    <a:pt x="33" y="21"/>
                  </a:lnTo>
                  <a:lnTo>
                    <a:pt x="39" y="24"/>
                  </a:lnTo>
                  <a:lnTo>
                    <a:pt x="40" y="27"/>
                  </a:lnTo>
                  <a:lnTo>
                    <a:pt x="40" y="27"/>
                  </a:lnTo>
                  <a:lnTo>
                    <a:pt x="39" y="32"/>
                  </a:lnTo>
                  <a:lnTo>
                    <a:pt x="36" y="34"/>
                  </a:lnTo>
                  <a:lnTo>
                    <a:pt x="34"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52" name="Freeform 906"/>
            <p:cNvSpPr>
              <a:spLocks/>
            </p:cNvSpPr>
            <p:nvPr/>
          </p:nvSpPr>
          <p:spPr bwMode="auto">
            <a:xfrm>
              <a:off x="2460625" y="6353604"/>
              <a:ext cx="31750" cy="31750"/>
            </a:xfrm>
            <a:custGeom>
              <a:avLst/>
              <a:gdLst>
                <a:gd name="T0" fmla="*/ 16 w 20"/>
                <a:gd name="T1" fmla="*/ 20 h 20"/>
                <a:gd name="T2" fmla="*/ 16 w 20"/>
                <a:gd name="T3" fmla="*/ 20 h 20"/>
                <a:gd name="T4" fmla="*/ 6 w 20"/>
                <a:gd name="T5" fmla="*/ 15 h 20"/>
                <a:gd name="T6" fmla="*/ 3 w 20"/>
                <a:gd name="T7" fmla="*/ 12 h 20"/>
                <a:gd name="T8" fmla="*/ 0 w 20"/>
                <a:gd name="T9" fmla="*/ 9 h 20"/>
                <a:gd name="T10" fmla="*/ 0 w 20"/>
                <a:gd name="T11" fmla="*/ 9 h 20"/>
                <a:gd name="T12" fmla="*/ 1 w 20"/>
                <a:gd name="T13" fmla="*/ 6 h 20"/>
                <a:gd name="T14" fmla="*/ 3 w 20"/>
                <a:gd name="T15" fmla="*/ 5 h 20"/>
                <a:gd name="T16" fmla="*/ 7 w 20"/>
                <a:gd name="T17" fmla="*/ 3 h 20"/>
                <a:gd name="T18" fmla="*/ 7 w 20"/>
                <a:gd name="T19" fmla="*/ 3 h 20"/>
                <a:gd name="T20" fmla="*/ 13 w 20"/>
                <a:gd name="T21" fmla="*/ 0 h 20"/>
                <a:gd name="T22" fmla="*/ 16 w 20"/>
                <a:gd name="T23" fmla="*/ 0 h 20"/>
                <a:gd name="T24" fmla="*/ 19 w 20"/>
                <a:gd name="T25" fmla="*/ 0 h 20"/>
                <a:gd name="T26" fmla="*/ 19 w 20"/>
                <a:gd name="T27" fmla="*/ 0 h 20"/>
                <a:gd name="T28" fmla="*/ 20 w 20"/>
                <a:gd name="T29" fmla="*/ 5 h 20"/>
                <a:gd name="T30" fmla="*/ 19 w 20"/>
                <a:gd name="T31" fmla="*/ 12 h 20"/>
                <a:gd name="T32" fmla="*/ 17 w 20"/>
                <a:gd name="T33" fmla="*/ 18 h 20"/>
                <a:gd name="T34" fmla="*/ 17 w 20"/>
                <a:gd name="T35" fmla="*/ 19 h 20"/>
                <a:gd name="T36" fmla="*/ 16 w 20"/>
                <a:gd name="T3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0">
                  <a:moveTo>
                    <a:pt x="16" y="20"/>
                  </a:moveTo>
                  <a:lnTo>
                    <a:pt x="16" y="20"/>
                  </a:lnTo>
                  <a:lnTo>
                    <a:pt x="6" y="15"/>
                  </a:lnTo>
                  <a:lnTo>
                    <a:pt x="3" y="12"/>
                  </a:lnTo>
                  <a:lnTo>
                    <a:pt x="0" y="9"/>
                  </a:lnTo>
                  <a:lnTo>
                    <a:pt x="0" y="9"/>
                  </a:lnTo>
                  <a:lnTo>
                    <a:pt x="1" y="6"/>
                  </a:lnTo>
                  <a:lnTo>
                    <a:pt x="3" y="5"/>
                  </a:lnTo>
                  <a:lnTo>
                    <a:pt x="7" y="3"/>
                  </a:lnTo>
                  <a:lnTo>
                    <a:pt x="7" y="3"/>
                  </a:lnTo>
                  <a:lnTo>
                    <a:pt x="13" y="0"/>
                  </a:lnTo>
                  <a:lnTo>
                    <a:pt x="16" y="0"/>
                  </a:lnTo>
                  <a:lnTo>
                    <a:pt x="19" y="0"/>
                  </a:lnTo>
                  <a:lnTo>
                    <a:pt x="19" y="0"/>
                  </a:lnTo>
                  <a:lnTo>
                    <a:pt x="20" y="5"/>
                  </a:lnTo>
                  <a:lnTo>
                    <a:pt x="19" y="12"/>
                  </a:lnTo>
                  <a:lnTo>
                    <a:pt x="17" y="18"/>
                  </a:lnTo>
                  <a:lnTo>
                    <a:pt x="17" y="19"/>
                  </a:lnTo>
                  <a:lnTo>
                    <a:pt x="16" y="20"/>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53" name="Freeform 907"/>
            <p:cNvSpPr>
              <a:spLocks/>
            </p:cNvSpPr>
            <p:nvPr/>
          </p:nvSpPr>
          <p:spPr bwMode="auto">
            <a:xfrm>
              <a:off x="2460625" y="6353604"/>
              <a:ext cx="31750" cy="31750"/>
            </a:xfrm>
            <a:custGeom>
              <a:avLst/>
              <a:gdLst>
                <a:gd name="T0" fmla="*/ 16 w 20"/>
                <a:gd name="T1" fmla="*/ 20 h 20"/>
                <a:gd name="T2" fmla="*/ 16 w 20"/>
                <a:gd name="T3" fmla="*/ 20 h 20"/>
                <a:gd name="T4" fmla="*/ 6 w 20"/>
                <a:gd name="T5" fmla="*/ 15 h 20"/>
                <a:gd name="T6" fmla="*/ 3 w 20"/>
                <a:gd name="T7" fmla="*/ 12 h 20"/>
                <a:gd name="T8" fmla="*/ 0 w 20"/>
                <a:gd name="T9" fmla="*/ 9 h 20"/>
                <a:gd name="T10" fmla="*/ 0 w 20"/>
                <a:gd name="T11" fmla="*/ 9 h 20"/>
                <a:gd name="T12" fmla="*/ 1 w 20"/>
                <a:gd name="T13" fmla="*/ 6 h 20"/>
                <a:gd name="T14" fmla="*/ 3 w 20"/>
                <a:gd name="T15" fmla="*/ 5 h 20"/>
                <a:gd name="T16" fmla="*/ 7 w 20"/>
                <a:gd name="T17" fmla="*/ 3 h 20"/>
                <a:gd name="T18" fmla="*/ 7 w 20"/>
                <a:gd name="T19" fmla="*/ 3 h 20"/>
                <a:gd name="T20" fmla="*/ 13 w 20"/>
                <a:gd name="T21" fmla="*/ 0 h 20"/>
                <a:gd name="T22" fmla="*/ 16 w 20"/>
                <a:gd name="T23" fmla="*/ 0 h 20"/>
                <a:gd name="T24" fmla="*/ 19 w 20"/>
                <a:gd name="T25" fmla="*/ 0 h 20"/>
                <a:gd name="T26" fmla="*/ 19 w 20"/>
                <a:gd name="T27" fmla="*/ 0 h 20"/>
                <a:gd name="T28" fmla="*/ 20 w 20"/>
                <a:gd name="T29" fmla="*/ 5 h 20"/>
                <a:gd name="T30" fmla="*/ 19 w 20"/>
                <a:gd name="T31" fmla="*/ 12 h 20"/>
                <a:gd name="T32" fmla="*/ 17 w 20"/>
                <a:gd name="T33" fmla="*/ 18 h 20"/>
                <a:gd name="T34" fmla="*/ 17 w 20"/>
                <a:gd name="T35" fmla="*/ 19 h 20"/>
                <a:gd name="T36" fmla="*/ 16 w 20"/>
                <a:gd name="T3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0">
                  <a:moveTo>
                    <a:pt x="16" y="20"/>
                  </a:moveTo>
                  <a:lnTo>
                    <a:pt x="16" y="20"/>
                  </a:lnTo>
                  <a:lnTo>
                    <a:pt x="6" y="15"/>
                  </a:lnTo>
                  <a:lnTo>
                    <a:pt x="3" y="12"/>
                  </a:lnTo>
                  <a:lnTo>
                    <a:pt x="0" y="9"/>
                  </a:lnTo>
                  <a:lnTo>
                    <a:pt x="0" y="9"/>
                  </a:lnTo>
                  <a:lnTo>
                    <a:pt x="1" y="6"/>
                  </a:lnTo>
                  <a:lnTo>
                    <a:pt x="3" y="5"/>
                  </a:lnTo>
                  <a:lnTo>
                    <a:pt x="7" y="3"/>
                  </a:lnTo>
                  <a:lnTo>
                    <a:pt x="7" y="3"/>
                  </a:lnTo>
                  <a:lnTo>
                    <a:pt x="13" y="0"/>
                  </a:lnTo>
                  <a:lnTo>
                    <a:pt x="16" y="0"/>
                  </a:lnTo>
                  <a:lnTo>
                    <a:pt x="19" y="0"/>
                  </a:lnTo>
                  <a:lnTo>
                    <a:pt x="19" y="0"/>
                  </a:lnTo>
                  <a:lnTo>
                    <a:pt x="20" y="5"/>
                  </a:lnTo>
                  <a:lnTo>
                    <a:pt x="19" y="12"/>
                  </a:lnTo>
                  <a:lnTo>
                    <a:pt x="17" y="18"/>
                  </a:lnTo>
                  <a:lnTo>
                    <a:pt x="17" y="19"/>
                  </a:lnTo>
                  <a:lnTo>
                    <a:pt x="16"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54" name="Freeform 908"/>
            <p:cNvSpPr>
              <a:spLocks/>
            </p:cNvSpPr>
            <p:nvPr/>
          </p:nvSpPr>
          <p:spPr bwMode="auto">
            <a:xfrm>
              <a:off x="2759075" y="6272642"/>
              <a:ext cx="36513" cy="34925"/>
            </a:xfrm>
            <a:custGeom>
              <a:avLst/>
              <a:gdLst>
                <a:gd name="T0" fmla="*/ 13 w 23"/>
                <a:gd name="T1" fmla="*/ 19 h 22"/>
                <a:gd name="T2" fmla="*/ 13 w 23"/>
                <a:gd name="T3" fmla="*/ 19 h 22"/>
                <a:gd name="T4" fmla="*/ 7 w 23"/>
                <a:gd name="T5" fmla="*/ 21 h 22"/>
                <a:gd name="T6" fmla="*/ 3 w 23"/>
                <a:gd name="T7" fmla="*/ 22 h 22"/>
                <a:gd name="T8" fmla="*/ 0 w 23"/>
                <a:gd name="T9" fmla="*/ 22 h 22"/>
                <a:gd name="T10" fmla="*/ 0 w 23"/>
                <a:gd name="T11" fmla="*/ 22 h 22"/>
                <a:gd name="T12" fmla="*/ 0 w 23"/>
                <a:gd name="T13" fmla="*/ 19 h 22"/>
                <a:gd name="T14" fmla="*/ 1 w 23"/>
                <a:gd name="T15" fmla="*/ 18 h 22"/>
                <a:gd name="T16" fmla="*/ 6 w 23"/>
                <a:gd name="T17" fmla="*/ 12 h 22"/>
                <a:gd name="T18" fmla="*/ 6 w 23"/>
                <a:gd name="T19" fmla="*/ 12 h 22"/>
                <a:gd name="T20" fmla="*/ 4 w 23"/>
                <a:gd name="T21" fmla="*/ 11 h 22"/>
                <a:gd name="T22" fmla="*/ 3 w 23"/>
                <a:gd name="T23" fmla="*/ 8 h 22"/>
                <a:gd name="T24" fmla="*/ 1 w 23"/>
                <a:gd name="T25" fmla="*/ 5 h 22"/>
                <a:gd name="T26" fmla="*/ 1 w 23"/>
                <a:gd name="T27" fmla="*/ 3 h 22"/>
                <a:gd name="T28" fmla="*/ 1 w 23"/>
                <a:gd name="T29" fmla="*/ 3 h 22"/>
                <a:gd name="T30" fmla="*/ 3 w 23"/>
                <a:gd name="T31" fmla="*/ 2 h 22"/>
                <a:gd name="T32" fmla="*/ 4 w 23"/>
                <a:gd name="T33" fmla="*/ 0 h 22"/>
                <a:gd name="T34" fmla="*/ 7 w 23"/>
                <a:gd name="T35" fmla="*/ 0 h 22"/>
                <a:gd name="T36" fmla="*/ 10 w 23"/>
                <a:gd name="T37" fmla="*/ 2 h 22"/>
                <a:gd name="T38" fmla="*/ 10 w 23"/>
                <a:gd name="T39" fmla="*/ 2 h 22"/>
                <a:gd name="T40" fmla="*/ 13 w 23"/>
                <a:gd name="T41" fmla="*/ 3 h 22"/>
                <a:gd name="T42" fmla="*/ 14 w 23"/>
                <a:gd name="T43" fmla="*/ 5 h 22"/>
                <a:gd name="T44" fmla="*/ 16 w 23"/>
                <a:gd name="T45" fmla="*/ 3 h 22"/>
                <a:gd name="T46" fmla="*/ 16 w 23"/>
                <a:gd name="T47" fmla="*/ 3 h 22"/>
                <a:gd name="T48" fmla="*/ 20 w 23"/>
                <a:gd name="T49" fmla="*/ 0 h 22"/>
                <a:gd name="T50" fmla="*/ 22 w 23"/>
                <a:gd name="T51" fmla="*/ 0 h 22"/>
                <a:gd name="T52" fmla="*/ 23 w 23"/>
                <a:gd name="T53" fmla="*/ 2 h 22"/>
                <a:gd name="T54" fmla="*/ 23 w 23"/>
                <a:gd name="T55" fmla="*/ 2 h 22"/>
                <a:gd name="T56" fmla="*/ 23 w 23"/>
                <a:gd name="T57" fmla="*/ 3 h 22"/>
                <a:gd name="T58" fmla="*/ 22 w 23"/>
                <a:gd name="T59" fmla="*/ 6 h 22"/>
                <a:gd name="T60" fmla="*/ 19 w 23"/>
                <a:gd name="T61" fmla="*/ 11 h 22"/>
                <a:gd name="T62" fmla="*/ 19 w 23"/>
                <a:gd name="T63" fmla="*/ 11 h 22"/>
                <a:gd name="T64" fmla="*/ 16 w 23"/>
                <a:gd name="T65" fmla="*/ 15 h 22"/>
                <a:gd name="T66" fmla="*/ 13 w 23"/>
                <a:gd name="T67"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22">
                  <a:moveTo>
                    <a:pt x="13" y="19"/>
                  </a:moveTo>
                  <a:lnTo>
                    <a:pt x="13" y="19"/>
                  </a:lnTo>
                  <a:lnTo>
                    <a:pt x="7" y="21"/>
                  </a:lnTo>
                  <a:lnTo>
                    <a:pt x="3" y="22"/>
                  </a:lnTo>
                  <a:lnTo>
                    <a:pt x="0" y="22"/>
                  </a:lnTo>
                  <a:lnTo>
                    <a:pt x="0" y="22"/>
                  </a:lnTo>
                  <a:lnTo>
                    <a:pt x="0" y="19"/>
                  </a:lnTo>
                  <a:lnTo>
                    <a:pt x="1" y="18"/>
                  </a:lnTo>
                  <a:lnTo>
                    <a:pt x="6" y="12"/>
                  </a:lnTo>
                  <a:lnTo>
                    <a:pt x="6" y="12"/>
                  </a:lnTo>
                  <a:lnTo>
                    <a:pt x="4" y="11"/>
                  </a:lnTo>
                  <a:lnTo>
                    <a:pt x="3" y="8"/>
                  </a:lnTo>
                  <a:lnTo>
                    <a:pt x="1" y="5"/>
                  </a:lnTo>
                  <a:lnTo>
                    <a:pt x="1" y="3"/>
                  </a:lnTo>
                  <a:lnTo>
                    <a:pt x="1" y="3"/>
                  </a:lnTo>
                  <a:lnTo>
                    <a:pt x="3" y="2"/>
                  </a:lnTo>
                  <a:lnTo>
                    <a:pt x="4" y="0"/>
                  </a:lnTo>
                  <a:lnTo>
                    <a:pt x="7" y="0"/>
                  </a:lnTo>
                  <a:lnTo>
                    <a:pt x="10" y="2"/>
                  </a:lnTo>
                  <a:lnTo>
                    <a:pt x="10" y="2"/>
                  </a:lnTo>
                  <a:lnTo>
                    <a:pt x="13" y="3"/>
                  </a:lnTo>
                  <a:lnTo>
                    <a:pt x="14" y="5"/>
                  </a:lnTo>
                  <a:lnTo>
                    <a:pt x="16" y="3"/>
                  </a:lnTo>
                  <a:lnTo>
                    <a:pt x="16" y="3"/>
                  </a:lnTo>
                  <a:lnTo>
                    <a:pt x="20" y="0"/>
                  </a:lnTo>
                  <a:lnTo>
                    <a:pt x="22" y="0"/>
                  </a:lnTo>
                  <a:lnTo>
                    <a:pt x="23" y="2"/>
                  </a:lnTo>
                  <a:lnTo>
                    <a:pt x="23" y="2"/>
                  </a:lnTo>
                  <a:lnTo>
                    <a:pt x="23" y="3"/>
                  </a:lnTo>
                  <a:lnTo>
                    <a:pt x="22" y="6"/>
                  </a:lnTo>
                  <a:lnTo>
                    <a:pt x="19" y="11"/>
                  </a:lnTo>
                  <a:lnTo>
                    <a:pt x="19" y="11"/>
                  </a:lnTo>
                  <a:lnTo>
                    <a:pt x="16" y="15"/>
                  </a:lnTo>
                  <a:lnTo>
                    <a:pt x="13" y="19"/>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55" name="Freeform 909"/>
            <p:cNvSpPr>
              <a:spLocks/>
            </p:cNvSpPr>
            <p:nvPr/>
          </p:nvSpPr>
          <p:spPr bwMode="auto">
            <a:xfrm>
              <a:off x="2759075" y="6272642"/>
              <a:ext cx="36513" cy="34925"/>
            </a:xfrm>
            <a:custGeom>
              <a:avLst/>
              <a:gdLst>
                <a:gd name="T0" fmla="*/ 13 w 23"/>
                <a:gd name="T1" fmla="*/ 19 h 22"/>
                <a:gd name="T2" fmla="*/ 13 w 23"/>
                <a:gd name="T3" fmla="*/ 19 h 22"/>
                <a:gd name="T4" fmla="*/ 7 w 23"/>
                <a:gd name="T5" fmla="*/ 21 h 22"/>
                <a:gd name="T6" fmla="*/ 3 w 23"/>
                <a:gd name="T7" fmla="*/ 22 h 22"/>
                <a:gd name="T8" fmla="*/ 0 w 23"/>
                <a:gd name="T9" fmla="*/ 22 h 22"/>
                <a:gd name="T10" fmla="*/ 0 w 23"/>
                <a:gd name="T11" fmla="*/ 22 h 22"/>
                <a:gd name="T12" fmla="*/ 0 w 23"/>
                <a:gd name="T13" fmla="*/ 19 h 22"/>
                <a:gd name="T14" fmla="*/ 1 w 23"/>
                <a:gd name="T15" fmla="*/ 18 h 22"/>
                <a:gd name="T16" fmla="*/ 6 w 23"/>
                <a:gd name="T17" fmla="*/ 12 h 22"/>
                <a:gd name="T18" fmla="*/ 6 w 23"/>
                <a:gd name="T19" fmla="*/ 12 h 22"/>
                <a:gd name="T20" fmla="*/ 4 w 23"/>
                <a:gd name="T21" fmla="*/ 11 h 22"/>
                <a:gd name="T22" fmla="*/ 3 w 23"/>
                <a:gd name="T23" fmla="*/ 8 h 22"/>
                <a:gd name="T24" fmla="*/ 1 w 23"/>
                <a:gd name="T25" fmla="*/ 5 h 22"/>
                <a:gd name="T26" fmla="*/ 1 w 23"/>
                <a:gd name="T27" fmla="*/ 3 h 22"/>
                <a:gd name="T28" fmla="*/ 1 w 23"/>
                <a:gd name="T29" fmla="*/ 3 h 22"/>
                <a:gd name="T30" fmla="*/ 3 w 23"/>
                <a:gd name="T31" fmla="*/ 2 h 22"/>
                <a:gd name="T32" fmla="*/ 4 w 23"/>
                <a:gd name="T33" fmla="*/ 0 h 22"/>
                <a:gd name="T34" fmla="*/ 7 w 23"/>
                <a:gd name="T35" fmla="*/ 0 h 22"/>
                <a:gd name="T36" fmla="*/ 10 w 23"/>
                <a:gd name="T37" fmla="*/ 2 h 22"/>
                <a:gd name="T38" fmla="*/ 10 w 23"/>
                <a:gd name="T39" fmla="*/ 2 h 22"/>
                <a:gd name="T40" fmla="*/ 13 w 23"/>
                <a:gd name="T41" fmla="*/ 3 h 22"/>
                <a:gd name="T42" fmla="*/ 14 w 23"/>
                <a:gd name="T43" fmla="*/ 5 h 22"/>
                <a:gd name="T44" fmla="*/ 16 w 23"/>
                <a:gd name="T45" fmla="*/ 3 h 22"/>
                <a:gd name="T46" fmla="*/ 16 w 23"/>
                <a:gd name="T47" fmla="*/ 3 h 22"/>
                <a:gd name="T48" fmla="*/ 20 w 23"/>
                <a:gd name="T49" fmla="*/ 0 h 22"/>
                <a:gd name="T50" fmla="*/ 22 w 23"/>
                <a:gd name="T51" fmla="*/ 0 h 22"/>
                <a:gd name="T52" fmla="*/ 23 w 23"/>
                <a:gd name="T53" fmla="*/ 2 h 22"/>
                <a:gd name="T54" fmla="*/ 23 w 23"/>
                <a:gd name="T55" fmla="*/ 2 h 22"/>
                <a:gd name="T56" fmla="*/ 23 w 23"/>
                <a:gd name="T57" fmla="*/ 3 h 22"/>
                <a:gd name="T58" fmla="*/ 22 w 23"/>
                <a:gd name="T59" fmla="*/ 6 h 22"/>
                <a:gd name="T60" fmla="*/ 19 w 23"/>
                <a:gd name="T61" fmla="*/ 11 h 22"/>
                <a:gd name="T62" fmla="*/ 19 w 23"/>
                <a:gd name="T63" fmla="*/ 11 h 22"/>
                <a:gd name="T64" fmla="*/ 16 w 23"/>
                <a:gd name="T65" fmla="*/ 15 h 22"/>
                <a:gd name="T66" fmla="*/ 13 w 23"/>
                <a:gd name="T67"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22">
                  <a:moveTo>
                    <a:pt x="13" y="19"/>
                  </a:moveTo>
                  <a:lnTo>
                    <a:pt x="13" y="19"/>
                  </a:lnTo>
                  <a:lnTo>
                    <a:pt x="7" y="21"/>
                  </a:lnTo>
                  <a:lnTo>
                    <a:pt x="3" y="22"/>
                  </a:lnTo>
                  <a:lnTo>
                    <a:pt x="0" y="22"/>
                  </a:lnTo>
                  <a:lnTo>
                    <a:pt x="0" y="22"/>
                  </a:lnTo>
                  <a:lnTo>
                    <a:pt x="0" y="19"/>
                  </a:lnTo>
                  <a:lnTo>
                    <a:pt x="1" y="18"/>
                  </a:lnTo>
                  <a:lnTo>
                    <a:pt x="6" y="12"/>
                  </a:lnTo>
                  <a:lnTo>
                    <a:pt x="6" y="12"/>
                  </a:lnTo>
                  <a:lnTo>
                    <a:pt x="4" y="11"/>
                  </a:lnTo>
                  <a:lnTo>
                    <a:pt x="3" y="8"/>
                  </a:lnTo>
                  <a:lnTo>
                    <a:pt x="1" y="5"/>
                  </a:lnTo>
                  <a:lnTo>
                    <a:pt x="1" y="3"/>
                  </a:lnTo>
                  <a:lnTo>
                    <a:pt x="1" y="3"/>
                  </a:lnTo>
                  <a:lnTo>
                    <a:pt x="3" y="2"/>
                  </a:lnTo>
                  <a:lnTo>
                    <a:pt x="4" y="0"/>
                  </a:lnTo>
                  <a:lnTo>
                    <a:pt x="7" y="0"/>
                  </a:lnTo>
                  <a:lnTo>
                    <a:pt x="10" y="2"/>
                  </a:lnTo>
                  <a:lnTo>
                    <a:pt x="10" y="2"/>
                  </a:lnTo>
                  <a:lnTo>
                    <a:pt x="13" y="3"/>
                  </a:lnTo>
                  <a:lnTo>
                    <a:pt x="14" y="5"/>
                  </a:lnTo>
                  <a:lnTo>
                    <a:pt x="16" y="3"/>
                  </a:lnTo>
                  <a:lnTo>
                    <a:pt x="16" y="3"/>
                  </a:lnTo>
                  <a:lnTo>
                    <a:pt x="20" y="0"/>
                  </a:lnTo>
                  <a:lnTo>
                    <a:pt x="22" y="0"/>
                  </a:lnTo>
                  <a:lnTo>
                    <a:pt x="23" y="2"/>
                  </a:lnTo>
                  <a:lnTo>
                    <a:pt x="23" y="2"/>
                  </a:lnTo>
                  <a:lnTo>
                    <a:pt x="23" y="3"/>
                  </a:lnTo>
                  <a:lnTo>
                    <a:pt x="22" y="6"/>
                  </a:lnTo>
                  <a:lnTo>
                    <a:pt x="19" y="11"/>
                  </a:lnTo>
                  <a:lnTo>
                    <a:pt x="19" y="11"/>
                  </a:lnTo>
                  <a:lnTo>
                    <a:pt x="16" y="15"/>
                  </a:lnTo>
                  <a:lnTo>
                    <a:pt x="13" y="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56" name="Freeform 910"/>
            <p:cNvSpPr>
              <a:spLocks/>
            </p:cNvSpPr>
            <p:nvPr/>
          </p:nvSpPr>
          <p:spPr bwMode="auto">
            <a:xfrm>
              <a:off x="2789238" y="6277404"/>
              <a:ext cx="36513" cy="38100"/>
            </a:xfrm>
            <a:custGeom>
              <a:avLst/>
              <a:gdLst>
                <a:gd name="T0" fmla="*/ 6 w 23"/>
                <a:gd name="T1" fmla="*/ 24 h 24"/>
                <a:gd name="T2" fmla="*/ 6 w 23"/>
                <a:gd name="T3" fmla="*/ 24 h 24"/>
                <a:gd name="T4" fmla="*/ 3 w 23"/>
                <a:gd name="T5" fmla="*/ 24 h 24"/>
                <a:gd name="T6" fmla="*/ 1 w 23"/>
                <a:gd name="T7" fmla="*/ 22 h 24"/>
                <a:gd name="T8" fmla="*/ 0 w 23"/>
                <a:gd name="T9" fmla="*/ 19 h 24"/>
                <a:gd name="T10" fmla="*/ 1 w 23"/>
                <a:gd name="T11" fmla="*/ 16 h 24"/>
                <a:gd name="T12" fmla="*/ 1 w 23"/>
                <a:gd name="T13" fmla="*/ 16 h 24"/>
                <a:gd name="T14" fmla="*/ 4 w 23"/>
                <a:gd name="T15" fmla="*/ 15 h 24"/>
                <a:gd name="T16" fmla="*/ 7 w 23"/>
                <a:gd name="T17" fmla="*/ 13 h 24"/>
                <a:gd name="T18" fmla="*/ 9 w 23"/>
                <a:gd name="T19" fmla="*/ 12 h 24"/>
                <a:gd name="T20" fmla="*/ 10 w 23"/>
                <a:gd name="T21" fmla="*/ 9 h 24"/>
                <a:gd name="T22" fmla="*/ 10 w 23"/>
                <a:gd name="T23" fmla="*/ 9 h 24"/>
                <a:gd name="T24" fmla="*/ 10 w 23"/>
                <a:gd name="T25" fmla="*/ 3 h 24"/>
                <a:gd name="T26" fmla="*/ 11 w 23"/>
                <a:gd name="T27" fmla="*/ 2 h 24"/>
                <a:gd name="T28" fmla="*/ 13 w 23"/>
                <a:gd name="T29" fmla="*/ 0 h 24"/>
                <a:gd name="T30" fmla="*/ 13 w 23"/>
                <a:gd name="T31" fmla="*/ 0 h 24"/>
                <a:gd name="T32" fmla="*/ 16 w 23"/>
                <a:gd name="T33" fmla="*/ 0 h 24"/>
                <a:gd name="T34" fmla="*/ 19 w 23"/>
                <a:gd name="T35" fmla="*/ 2 h 24"/>
                <a:gd name="T36" fmla="*/ 22 w 23"/>
                <a:gd name="T37" fmla="*/ 3 h 24"/>
                <a:gd name="T38" fmla="*/ 23 w 23"/>
                <a:gd name="T39" fmla="*/ 6 h 24"/>
                <a:gd name="T40" fmla="*/ 23 w 23"/>
                <a:gd name="T41" fmla="*/ 6 h 24"/>
                <a:gd name="T42" fmla="*/ 19 w 23"/>
                <a:gd name="T43" fmla="*/ 11 h 24"/>
                <a:gd name="T44" fmla="*/ 16 w 23"/>
                <a:gd name="T45" fmla="*/ 13 h 24"/>
                <a:gd name="T46" fmla="*/ 16 w 23"/>
                <a:gd name="T47" fmla="*/ 13 h 24"/>
                <a:gd name="T48" fmla="*/ 13 w 23"/>
                <a:gd name="T49" fmla="*/ 19 h 24"/>
                <a:gd name="T50" fmla="*/ 10 w 23"/>
                <a:gd name="T51" fmla="*/ 22 h 24"/>
                <a:gd name="T52" fmla="*/ 6 w 23"/>
                <a:gd name="T5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4">
                  <a:moveTo>
                    <a:pt x="6" y="24"/>
                  </a:moveTo>
                  <a:lnTo>
                    <a:pt x="6" y="24"/>
                  </a:lnTo>
                  <a:lnTo>
                    <a:pt x="3" y="24"/>
                  </a:lnTo>
                  <a:lnTo>
                    <a:pt x="1" y="22"/>
                  </a:lnTo>
                  <a:lnTo>
                    <a:pt x="0" y="19"/>
                  </a:lnTo>
                  <a:lnTo>
                    <a:pt x="1" y="16"/>
                  </a:lnTo>
                  <a:lnTo>
                    <a:pt x="1" y="16"/>
                  </a:lnTo>
                  <a:lnTo>
                    <a:pt x="4" y="15"/>
                  </a:lnTo>
                  <a:lnTo>
                    <a:pt x="7" y="13"/>
                  </a:lnTo>
                  <a:lnTo>
                    <a:pt x="9" y="12"/>
                  </a:lnTo>
                  <a:lnTo>
                    <a:pt x="10" y="9"/>
                  </a:lnTo>
                  <a:lnTo>
                    <a:pt x="10" y="9"/>
                  </a:lnTo>
                  <a:lnTo>
                    <a:pt x="10" y="3"/>
                  </a:lnTo>
                  <a:lnTo>
                    <a:pt x="11" y="2"/>
                  </a:lnTo>
                  <a:lnTo>
                    <a:pt x="13" y="0"/>
                  </a:lnTo>
                  <a:lnTo>
                    <a:pt x="13" y="0"/>
                  </a:lnTo>
                  <a:lnTo>
                    <a:pt x="16" y="0"/>
                  </a:lnTo>
                  <a:lnTo>
                    <a:pt x="19" y="2"/>
                  </a:lnTo>
                  <a:lnTo>
                    <a:pt x="22" y="3"/>
                  </a:lnTo>
                  <a:lnTo>
                    <a:pt x="23" y="6"/>
                  </a:lnTo>
                  <a:lnTo>
                    <a:pt x="23" y="6"/>
                  </a:lnTo>
                  <a:lnTo>
                    <a:pt x="19" y="11"/>
                  </a:lnTo>
                  <a:lnTo>
                    <a:pt x="16" y="13"/>
                  </a:lnTo>
                  <a:lnTo>
                    <a:pt x="16" y="13"/>
                  </a:lnTo>
                  <a:lnTo>
                    <a:pt x="13" y="19"/>
                  </a:lnTo>
                  <a:lnTo>
                    <a:pt x="10" y="22"/>
                  </a:lnTo>
                  <a:lnTo>
                    <a:pt x="6" y="24"/>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57" name="Freeform 911"/>
            <p:cNvSpPr>
              <a:spLocks/>
            </p:cNvSpPr>
            <p:nvPr/>
          </p:nvSpPr>
          <p:spPr bwMode="auto">
            <a:xfrm>
              <a:off x="2789238" y="6277404"/>
              <a:ext cx="36513" cy="38100"/>
            </a:xfrm>
            <a:custGeom>
              <a:avLst/>
              <a:gdLst>
                <a:gd name="T0" fmla="*/ 6 w 23"/>
                <a:gd name="T1" fmla="*/ 24 h 24"/>
                <a:gd name="T2" fmla="*/ 6 w 23"/>
                <a:gd name="T3" fmla="*/ 24 h 24"/>
                <a:gd name="T4" fmla="*/ 3 w 23"/>
                <a:gd name="T5" fmla="*/ 24 h 24"/>
                <a:gd name="T6" fmla="*/ 1 w 23"/>
                <a:gd name="T7" fmla="*/ 22 h 24"/>
                <a:gd name="T8" fmla="*/ 0 w 23"/>
                <a:gd name="T9" fmla="*/ 19 h 24"/>
                <a:gd name="T10" fmla="*/ 1 w 23"/>
                <a:gd name="T11" fmla="*/ 16 h 24"/>
                <a:gd name="T12" fmla="*/ 1 w 23"/>
                <a:gd name="T13" fmla="*/ 16 h 24"/>
                <a:gd name="T14" fmla="*/ 4 w 23"/>
                <a:gd name="T15" fmla="*/ 15 h 24"/>
                <a:gd name="T16" fmla="*/ 7 w 23"/>
                <a:gd name="T17" fmla="*/ 13 h 24"/>
                <a:gd name="T18" fmla="*/ 9 w 23"/>
                <a:gd name="T19" fmla="*/ 12 h 24"/>
                <a:gd name="T20" fmla="*/ 10 w 23"/>
                <a:gd name="T21" fmla="*/ 9 h 24"/>
                <a:gd name="T22" fmla="*/ 10 w 23"/>
                <a:gd name="T23" fmla="*/ 9 h 24"/>
                <a:gd name="T24" fmla="*/ 10 w 23"/>
                <a:gd name="T25" fmla="*/ 3 h 24"/>
                <a:gd name="T26" fmla="*/ 11 w 23"/>
                <a:gd name="T27" fmla="*/ 2 h 24"/>
                <a:gd name="T28" fmla="*/ 13 w 23"/>
                <a:gd name="T29" fmla="*/ 0 h 24"/>
                <a:gd name="T30" fmla="*/ 13 w 23"/>
                <a:gd name="T31" fmla="*/ 0 h 24"/>
                <a:gd name="T32" fmla="*/ 16 w 23"/>
                <a:gd name="T33" fmla="*/ 0 h 24"/>
                <a:gd name="T34" fmla="*/ 19 w 23"/>
                <a:gd name="T35" fmla="*/ 2 h 24"/>
                <a:gd name="T36" fmla="*/ 22 w 23"/>
                <a:gd name="T37" fmla="*/ 3 h 24"/>
                <a:gd name="T38" fmla="*/ 23 w 23"/>
                <a:gd name="T39" fmla="*/ 6 h 24"/>
                <a:gd name="T40" fmla="*/ 23 w 23"/>
                <a:gd name="T41" fmla="*/ 6 h 24"/>
                <a:gd name="T42" fmla="*/ 19 w 23"/>
                <a:gd name="T43" fmla="*/ 11 h 24"/>
                <a:gd name="T44" fmla="*/ 16 w 23"/>
                <a:gd name="T45" fmla="*/ 13 h 24"/>
                <a:gd name="T46" fmla="*/ 16 w 23"/>
                <a:gd name="T47" fmla="*/ 13 h 24"/>
                <a:gd name="T48" fmla="*/ 13 w 23"/>
                <a:gd name="T49" fmla="*/ 19 h 24"/>
                <a:gd name="T50" fmla="*/ 10 w 23"/>
                <a:gd name="T51" fmla="*/ 22 h 24"/>
                <a:gd name="T52" fmla="*/ 6 w 23"/>
                <a:gd name="T5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4">
                  <a:moveTo>
                    <a:pt x="6" y="24"/>
                  </a:moveTo>
                  <a:lnTo>
                    <a:pt x="6" y="24"/>
                  </a:lnTo>
                  <a:lnTo>
                    <a:pt x="3" y="24"/>
                  </a:lnTo>
                  <a:lnTo>
                    <a:pt x="1" y="22"/>
                  </a:lnTo>
                  <a:lnTo>
                    <a:pt x="0" y="19"/>
                  </a:lnTo>
                  <a:lnTo>
                    <a:pt x="1" y="16"/>
                  </a:lnTo>
                  <a:lnTo>
                    <a:pt x="1" y="16"/>
                  </a:lnTo>
                  <a:lnTo>
                    <a:pt x="4" y="15"/>
                  </a:lnTo>
                  <a:lnTo>
                    <a:pt x="7" y="13"/>
                  </a:lnTo>
                  <a:lnTo>
                    <a:pt x="9" y="12"/>
                  </a:lnTo>
                  <a:lnTo>
                    <a:pt x="10" y="9"/>
                  </a:lnTo>
                  <a:lnTo>
                    <a:pt x="10" y="9"/>
                  </a:lnTo>
                  <a:lnTo>
                    <a:pt x="10" y="3"/>
                  </a:lnTo>
                  <a:lnTo>
                    <a:pt x="11" y="2"/>
                  </a:lnTo>
                  <a:lnTo>
                    <a:pt x="13" y="0"/>
                  </a:lnTo>
                  <a:lnTo>
                    <a:pt x="13" y="0"/>
                  </a:lnTo>
                  <a:lnTo>
                    <a:pt x="16" y="0"/>
                  </a:lnTo>
                  <a:lnTo>
                    <a:pt x="19" y="2"/>
                  </a:lnTo>
                  <a:lnTo>
                    <a:pt x="22" y="3"/>
                  </a:lnTo>
                  <a:lnTo>
                    <a:pt x="23" y="6"/>
                  </a:lnTo>
                  <a:lnTo>
                    <a:pt x="23" y="6"/>
                  </a:lnTo>
                  <a:lnTo>
                    <a:pt x="19" y="11"/>
                  </a:lnTo>
                  <a:lnTo>
                    <a:pt x="16" y="13"/>
                  </a:lnTo>
                  <a:lnTo>
                    <a:pt x="16" y="13"/>
                  </a:lnTo>
                  <a:lnTo>
                    <a:pt x="13" y="19"/>
                  </a:lnTo>
                  <a:lnTo>
                    <a:pt x="10" y="22"/>
                  </a:lnTo>
                  <a:lnTo>
                    <a:pt x="6"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58" name="Freeform 912"/>
            <p:cNvSpPr>
              <a:spLocks/>
            </p:cNvSpPr>
            <p:nvPr/>
          </p:nvSpPr>
          <p:spPr bwMode="auto">
            <a:xfrm>
              <a:off x="2144713" y="4158092"/>
              <a:ext cx="271463" cy="93663"/>
            </a:xfrm>
            <a:custGeom>
              <a:avLst/>
              <a:gdLst>
                <a:gd name="T0" fmla="*/ 129 w 171"/>
                <a:gd name="T1" fmla="*/ 59 h 59"/>
                <a:gd name="T2" fmla="*/ 126 w 171"/>
                <a:gd name="T3" fmla="*/ 59 h 59"/>
                <a:gd name="T4" fmla="*/ 113 w 171"/>
                <a:gd name="T5" fmla="*/ 58 h 59"/>
                <a:gd name="T6" fmla="*/ 113 w 171"/>
                <a:gd name="T7" fmla="*/ 56 h 59"/>
                <a:gd name="T8" fmla="*/ 121 w 171"/>
                <a:gd name="T9" fmla="*/ 51 h 59"/>
                <a:gd name="T10" fmla="*/ 119 w 171"/>
                <a:gd name="T11" fmla="*/ 48 h 59"/>
                <a:gd name="T12" fmla="*/ 118 w 171"/>
                <a:gd name="T13" fmla="*/ 46 h 59"/>
                <a:gd name="T14" fmla="*/ 105 w 171"/>
                <a:gd name="T15" fmla="*/ 43 h 59"/>
                <a:gd name="T16" fmla="*/ 102 w 171"/>
                <a:gd name="T17" fmla="*/ 42 h 59"/>
                <a:gd name="T18" fmla="*/ 93 w 171"/>
                <a:gd name="T19" fmla="*/ 29 h 59"/>
                <a:gd name="T20" fmla="*/ 89 w 171"/>
                <a:gd name="T21" fmla="*/ 27 h 59"/>
                <a:gd name="T22" fmla="*/ 87 w 171"/>
                <a:gd name="T23" fmla="*/ 27 h 59"/>
                <a:gd name="T24" fmla="*/ 81 w 171"/>
                <a:gd name="T25" fmla="*/ 29 h 59"/>
                <a:gd name="T26" fmla="*/ 76 w 171"/>
                <a:gd name="T27" fmla="*/ 30 h 59"/>
                <a:gd name="T28" fmla="*/ 70 w 171"/>
                <a:gd name="T29" fmla="*/ 27 h 59"/>
                <a:gd name="T30" fmla="*/ 63 w 171"/>
                <a:gd name="T31" fmla="*/ 23 h 59"/>
                <a:gd name="T32" fmla="*/ 54 w 171"/>
                <a:gd name="T33" fmla="*/ 20 h 59"/>
                <a:gd name="T34" fmla="*/ 44 w 171"/>
                <a:gd name="T35" fmla="*/ 17 h 59"/>
                <a:gd name="T36" fmla="*/ 42 w 171"/>
                <a:gd name="T37" fmla="*/ 14 h 59"/>
                <a:gd name="T38" fmla="*/ 41 w 171"/>
                <a:gd name="T39" fmla="*/ 11 h 59"/>
                <a:gd name="T40" fmla="*/ 34 w 171"/>
                <a:gd name="T41" fmla="*/ 10 h 59"/>
                <a:gd name="T42" fmla="*/ 28 w 171"/>
                <a:gd name="T43" fmla="*/ 11 h 59"/>
                <a:gd name="T44" fmla="*/ 26 w 171"/>
                <a:gd name="T45" fmla="*/ 14 h 59"/>
                <a:gd name="T46" fmla="*/ 29 w 171"/>
                <a:gd name="T47" fmla="*/ 22 h 59"/>
                <a:gd name="T48" fmla="*/ 31 w 171"/>
                <a:gd name="T49" fmla="*/ 27 h 59"/>
                <a:gd name="T50" fmla="*/ 31 w 171"/>
                <a:gd name="T51" fmla="*/ 27 h 59"/>
                <a:gd name="T52" fmla="*/ 31 w 171"/>
                <a:gd name="T53" fmla="*/ 27 h 59"/>
                <a:gd name="T54" fmla="*/ 25 w 171"/>
                <a:gd name="T55" fmla="*/ 25 h 59"/>
                <a:gd name="T56" fmla="*/ 18 w 171"/>
                <a:gd name="T57" fmla="*/ 20 h 59"/>
                <a:gd name="T58" fmla="*/ 9 w 171"/>
                <a:gd name="T59" fmla="*/ 20 h 59"/>
                <a:gd name="T60" fmla="*/ 9 w 171"/>
                <a:gd name="T61" fmla="*/ 20 h 59"/>
                <a:gd name="T62" fmla="*/ 8 w 171"/>
                <a:gd name="T63" fmla="*/ 20 h 59"/>
                <a:gd name="T64" fmla="*/ 0 w 171"/>
                <a:gd name="T65" fmla="*/ 19 h 59"/>
                <a:gd name="T66" fmla="*/ 2 w 171"/>
                <a:gd name="T67" fmla="*/ 16 h 59"/>
                <a:gd name="T68" fmla="*/ 13 w 171"/>
                <a:gd name="T69" fmla="*/ 7 h 59"/>
                <a:gd name="T70" fmla="*/ 31 w 171"/>
                <a:gd name="T71" fmla="*/ 1 h 59"/>
                <a:gd name="T72" fmla="*/ 51 w 171"/>
                <a:gd name="T73" fmla="*/ 0 h 59"/>
                <a:gd name="T74" fmla="*/ 63 w 171"/>
                <a:gd name="T75" fmla="*/ 1 h 59"/>
                <a:gd name="T76" fmla="*/ 71 w 171"/>
                <a:gd name="T77" fmla="*/ 6 h 59"/>
                <a:gd name="T78" fmla="*/ 80 w 171"/>
                <a:gd name="T79" fmla="*/ 11 h 59"/>
                <a:gd name="T80" fmla="*/ 97 w 171"/>
                <a:gd name="T81" fmla="*/ 20 h 59"/>
                <a:gd name="T82" fmla="*/ 105 w 171"/>
                <a:gd name="T83" fmla="*/ 22 h 59"/>
                <a:gd name="T84" fmla="*/ 116 w 171"/>
                <a:gd name="T85" fmla="*/ 26 h 59"/>
                <a:gd name="T86" fmla="*/ 123 w 171"/>
                <a:gd name="T87" fmla="*/ 30 h 59"/>
                <a:gd name="T88" fmla="*/ 142 w 171"/>
                <a:gd name="T89" fmla="*/ 38 h 59"/>
                <a:gd name="T90" fmla="*/ 148 w 171"/>
                <a:gd name="T91" fmla="*/ 39 h 59"/>
                <a:gd name="T92" fmla="*/ 149 w 171"/>
                <a:gd name="T93" fmla="*/ 42 h 59"/>
                <a:gd name="T94" fmla="*/ 148 w 171"/>
                <a:gd name="T95" fmla="*/ 42 h 59"/>
                <a:gd name="T96" fmla="*/ 149 w 171"/>
                <a:gd name="T97" fmla="*/ 45 h 59"/>
                <a:gd name="T98" fmla="*/ 152 w 171"/>
                <a:gd name="T99" fmla="*/ 45 h 59"/>
                <a:gd name="T100" fmla="*/ 167 w 171"/>
                <a:gd name="T101" fmla="*/ 51 h 59"/>
                <a:gd name="T102" fmla="*/ 171 w 171"/>
                <a:gd name="T103" fmla="*/ 53 h 59"/>
                <a:gd name="T104" fmla="*/ 164 w 171"/>
                <a:gd name="T105" fmla="*/ 56 h 59"/>
                <a:gd name="T106" fmla="*/ 149 w 171"/>
                <a:gd name="T107" fmla="*/ 5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 h="59">
                  <a:moveTo>
                    <a:pt x="129" y="59"/>
                  </a:moveTo>
                  <a:lnTo>
                    <a:pt x="129" y="59"/>
                  </a:lnTo>
                  <a:lnTo>
                    <a:pt x="126" y="59"/>
                  </a:lnTo>
                  <a:lnTo>
                    <a:pt x="126" y="59"/>
                  </a:lnTo>
                  <a:lnTo>
                    <a:pt x="115" y="58"/>
                  </a:lnTo>
                  <a:lnTo>
                    <a:pt x="113" y="58"/>
                  </a:lnTo>
                  <a:lnTo>
                    <a:pt x="113" y="56"/>
                  </a:lnTo>
                  <a:lnTo>
                    <a:pt x="113" y="56"/>
                  </a:lnTo>
                  <a:lnTo>
                    <a:pt x="119" y="52"/>
                  </a:lnTo>
                  <a:lnTo>
                    <a:pt x="121" y="51"/>
                  </a:lnTo>
                  <a:lnTo>
                    <a:pt x="121" y="49"/>
                  </a:lnTo>
                  <a:lnTo>
                    <a:pt x="119" y="48"/>
                  </a:lnTo>
                  <a:lnTo>
                    <a:pt x="118" y="46"/>
                  </a:lnTo>
                  <a:lnTo>
                    <a:pt x="118" y="46"/>
                  </a:lnTo>
                  <a:lnTo>
                    <a:pt x="107" y="45"/>
                  </a:lnTo>
                  <a:lnTo>
                    <a:pt x="105" y="43"/>
                  </a:lnTo>
                  <a:lnTo>
                    <a:pt x="102" y="42"/>
                  </a:lnTo>
                  <a:lnTo>
                    <a:pt x="102" y="42"/>
                  </a:lnTo>
                  <a:lnTo>
                    <a:pt x="97" y="33"/>
                  </a:lnTo>
                  <a:lnTo>
                    <a:pt x="93" y="29"/>
                  </a:lnTo>
                  <a:lnTo>
                    <a:pt x="89" y="27"/>
                  </a:lnTo>
                  <a:lnTo>
                    <a:pt x="89" y="27"/>
                  </a:lnTo>
                  <a:lnTo>
                    <a:pt x="87" y="27"/>
                  </a:lnTo>
                  <a:lnTo>
                    <a:pt x="87" y="27"/>
                  </a:lnTo>
                  <a:lnTo>
                    <a:pt x="81" y="29"/>
                  </a:lnTo>
                  <a:lnTo>
                    <a:pt x="81" y="29"/>
                  </a:lnTo>
                  <a:lnTo>
                    <a:pt x="76" y="30"/>
                  </a:lnTo>
                  <a:lnTo>
                    <a:pt x="76" y="30"/>
                  </a:lnTo>
                  <a:lnTo>
                    <a:pt x="73" y="29"/>
                  </a:lnTo>
                  <a:lnTo>
                    <a:pt x="70" y="27"/>
                  </a:lnTo>
                  <a:lnTo>
                    <a:pt x="70" y="27"/>
                  </a:lnTo>
                  <a:lnTo>
                    <a:pt x="63" y="23"/>
                  </a:lnTo>
                  <a:lnTo>
                    <a:pt x="54" y="20"/>
                  </a:lnTo>
                  <a:lnTo>
                    <a:pt x="54" y="20"/>
                  </a:lnTo>
                  <a:lnTo>
                    <a:pt x="45" y="19"/>
                  </a:lnTo>
                  <a:lnTo>
                    <a:pt x="44" y="17"/>
                  </a:lnTo>
                  <a:lnTo>
                    <a:pt x="42" y="14"/>
                  </a:lnTo>
                  <a:lnTo>
                    <a:pt x="42" y="14"/>
                  </a:lnTo>
                  <a:lnTo>
                    <a:pt x="42" y="13"/>
                  </a:lnTo>
                  <a:lnTo>
                    <a:pt x="41" y="11"/>
                  </a:lnTo>
                  <a:lnTo>
                    <a:pt x="34" y="10"/>
                  </a:lnTo>
                  <a:lnTo>
                    <a:pt x="34" y="10"/>
                  </a:lnTo>
                  <a:lnTo>
                    <a:pt x="31" y="10"/>
                  </a:lnTo>
                  <a:lnTo>
                    <a:pt x="28" y="11"/>
                  </a:lnTo>
                  <a:lnTo>
                    <a:pt x="26" y="13"/>
                  </a:lnTo>
                  <a:lnTo>
                    <a:pt x="26" y="14"/>
                  </a:lnTo>
                  <a:lnTo>
                    <a:pt x="26" y="14"/>
                  </a:lnTo>
                  <a:lnTo>
                    <a:pt x="29" y="22"/>
                  </a:lnTo>
                  <a:lnTo>
                    <a:pt x="31" y="26"/>
                  </a:lnTo>
                  <a:lnTo>
                    <a:pt x="31" y="27"/>
                  </a:lnTo>
                  <a:lnTo>
                    <a:pt x="31" y="27"/>
                  </a:lnTo>
                  <a:lnTo>
                    <a:pt x="31" y="27"/>
                  </a:lnTo>
                  <a:lnTo>
                    <a:pt x="31" y="27"/>
                  </a:lnTo>
                  <a:lnTo>
                    <a:pt x="31" y="27"/>
                  </a:lnTo>
                  <a:lnTo>
                    <a:pt x="28" y="26"/>
                  </a:lnTo>
                  <a:lnTo>
                    <a:pt x="25" y="25"/>
                  </a:lnTo>
                  <a:lnTo>
                    <a:pt x="21" y="22"/>
                  </a:lnTo>
                  <a:lnTo>
                    <a:pt x="18" y="20"/>
                  </a:lnTo>
                  <a:lnTo>
                    <a:pt x="18" y="20"/>
                  </a:lnTo>
                  <a:lnTo>
                    <a:pt x="9" y="20"/>
                  </a:lnTo>
                  <a:lnTo>
                    <a:pt x="9" y="20"/>
                  </a:lnTo>
                  <a:lnTo>
                    <a:pt x="9" y="20"/>
                  </a:lnTo>
                  <a:lnTo>
                    <a:pt x="8" y="20"/>
                  </a:lnTo>
                  <a:lnTo>
                    <a:pt x="8" y="20"/>
                  </a:lnTo>
                  <a:lnTo>
                    <a:pt x="2" y="19"/>
                  </a:lnTo>
                  <a:lnTo>
                    <a:pt x="0" y="19"/>
                  </a:lnTo>
                  <a:lnTo>
                    <a:pt x="2" y="16"/>
                  </a:lnTo>
                  <a:lnTo>
                    <a:pt x="2" y="16"/>
                  </a:lnTo>
                  <a:lnTo>
                    <a:pt x="6" y="11"/>
                  </a:lnTo>
                  <a:lnTo>
                    <a:pt x="13" y="7"/>
                  </a:lnTo>
                  <a:lnTo>
                    <a:pt x="22" y="3"/>
                  </a:lnTo>
                  <a:lnTo>
                    <a:pt x="31" y="1"/>
                  </a:lnTo>
                  <a:lnTo>
                    <a:pt x="31" y="1"/>
                  </a:lnTo>
                  <a:lnTo>
                    <a:pt x="51" y="0"/>
                  </a:lnTo>
                  <a:lnTo>
                    <a:pt x="51" y="0"/>
                  </a:lnTo>
                  <a:lnTo>
                    <a:pt x="63" y="1"/>
                  </a:lnTo>
                  <a:lnTo>
                    <a:pt x="67" y="3"/>
                  </a:lnTo>
                  <a:lnTo>
                    <a:pt x="71" y="6"/>
                  </a:lnTo>
                  <a:lnTo>
                    <a:pt x="71" y="6"/>
                  </a:lnTo>
                  <a:lnTo>
                    <a:pt x="80" y="11"/>
                  </a:lnTo>
                  <a:lnTo>
                    <a:pt x="89" y="17"/>
                  </a:lnTo>
                  <a:lnTo>
                    <a:pt x="97" y="20"/>
                  </a:lnTo>
                  <a:lnTo>
                    <a:pt x="105" y="22"/>
                  </a:lnTo>
                  <a:lnTo>
                    <a:pt x="105" y="22"/>
                  </a:lnTo>
                  <a:lnTo>
                    <a:pt x="112" y="23"/>
                  </a:lnTo>
                  <a:lnTo>
                    <a:pt x="116" y="26"/>
                  </a:lnTo>
                  <a:lnTo>
                    <a:pt x="123" y="30"/>
                  </a:lnTo>
                  <a:lnTo>
                    <a:pt x="123" y="30"/>
                  </a:lnTo>
                  <a:lnTo>
                    <a:pt x="134" y="35"/>
                  </a:lnTo>
                  <a:lnTo>
                    <a:pt x="142" y="38"/>
                  </a:lnTo>
                  <a:lnTo>
                    <a:pt x="142" y="38"/>
                  </a:lnTo>
                  <a:lnTo>
                    <a:pt x="148" y="39"/>
                  </a:lnTo>
                  <a:lnTo>
                    <a:pt x="149" y="40"/>
                  </a:lnTo>
                  <a:lnTo>
                    <a:pt x="149" y="42"/>
                  </a:lnTo>
                  <a:lnTo>
                    <a:pt x="149" y="42"/>
                  </a:lnTo>
                  <a:lnTo>
                    <a:pt x="148" y="42"/>
                  </a:lnTo>
                  <a:lnTo>
                    <a:pt x="148" y="43"/>
                  </a:lnTo>
                  <a:lnTo>
                    <a:pt x="149" y="45"/>
                  </a:lnTo>
                  <a:lnTo>
                    <a:pt x="152" y="45"/>
                  </a:lnTo>
                  <a:lnTo>
                    <a:pt x="152" y="45"/>
                  </a:lnTo>
                  <a:lnTo>
                    <a:pt x="160" y="48"/>
                  </a:lnTo>
                  <a:lnTo>
                    <a:pt x="167" y="51"/>
                  </a:lnTo>
                  <a:lnTo>
                    <a:pt x="170" y="52"/>
                  </a:lnTo>
                  <a:lnTo>
                    <a:pt x="171" y="53"/>
                  </a:lnTo>
                  <a:lnTo>
                    <a:pt x="170" y="55"/>
                  </a:lnTo>
                  <a:lnTo>
                    <a:pt x="164" y="56"/>
                  </a:lnTo>
                  <a:lnTo>
                    <a:pt x="164" y="56"/>
                  </a:lnTo>
                  <a:lnTo>
                    <a:pt x="149" y="58"/>
                  </a:lnTo>
                  <a:lnTo>
                    <a:pt x="129" y="59"/>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59" name="Freeform 913"/>
            <p:cNvSpPr>
              <a:spLocks/>
            </p:cNvSpPr>
            <p:nvPr/>
          </p:nvSpPr>
          <p:spPr bwMode="auto">
            <a:xfrm>
              <a:off x="2144713" y="4158092"/>
              <a:ext cx="271463" cy="93663"/>
            </a:xfrm>
            <a:custGeom>
              <a:avLst/>
              <a:gdLst>
                <a:gd name="T0" fmla="*/ 129 w 171"/>
                <a:gd name="T1" fmla="*/ 59 h 59"/>
                <a:gd name="T2" fmla="*/ 126 w 171"/>
                <a:gd name="T3" fmla="*/ 59 h 59"/>
                <a:gd name="T4" fmla="*/ 113 w 171"/>
                <a:gd name="T5" fmla="*/ 58 h 59"/>
                <a:gd name="T6" fmla="*/ 113 w 171"/>
                <a:gd name="T7" fmla="*/ 56 h 59"/>
                <a:gd name="T8" fmla="*/ 121 w 171"/>
                <a:gd name="T9" fmla="*/ 51 h 59"/>
                <a:gd name="T10" fmla="*/ 119 w 171"/>
                <a:gd name="T11" fmla="*/ 48 h 59"/>
                <a:gd name="T12" fmla="*/ 118 w 171"/>
                <a:gd name="T13" fmla="*/ 46 h 59"/>
                <a:gd name="T14" fmla="*/ 105 w 171"/>
                <a:gd name="T15" fmla="*/ 43 h 59"/>
                <a:gd name="T16" fmla="*/ 102 w 171"/>
                <a:gd name="T17" fmla="*/ 42 h 59"/>
                <a:gd name="T18" fmla="*/ 93 w 171"/>
                <a:gd name="T19" fmla="*/ 29 h 59"/>
                <a:gd name="T20" fmla="*/ 89 w 171"/>
                <a:gd name="T21" fmla="*/ 27 h 59"/>
                <a:gd name="T22" fmla="*/ 87 w 171"/>
                <a:gd name="T23" fmla="*/ 27 h 59"/>
                <a:gd name="T24" fmla="*/ 81 w 171"/>
                <a:gd name="T25" fmla="*/ 29 h 59"/>
                <a:gd name="T26" fmla="*/ 76 w 171"/>
                <a:gd name="T27" fmla="*/ 30 h 59"/>
                <a:gd name="T28" fmla="*/ 70 w 171"/>
                <a:gd name="T29" fmla="*/ 27 h 59"/>
                <a:gd name="T30" fmla="*/ 63 w 171"/>
                <a:gd name="T31" fmla="*/ 23 h 59"/>
                <a:gd name="T32" fmla="*/ 54 w 171"/>
                <a:gd name="T33" fmla="*/ 20 h 59"/>
                <a:gd name="T34" fmla="*/ 44 w 171"/>
                <a:gd name="T35" fmla="*/ 17 h 59"/>
                <a:gd name="T36" fmla="*/ 42 w 171"/>
                <a:gd name="T37" fmla="*/ 14 h 59"/>
                <a:gd name="T38" fmla="*/ 41 w 171"/>
                <a:gd name="T39" fmla="*/ 11 h 59"/>
                <a:gd name="T40" fmla="*/ 34 w 171"/>
                <a:gd name="T41" fmla="*/ 10 h 59"/>
                <a:gd name="T42" fmla="*/ 28 w 171"/>
                <a:gd name="T43" fmla="*/ 11 h 59"/>
                <a:gd name="T44" fmla="*/ 26 w 171"/>
                <a:gd name="T45" fmla="*/ 14 h 59"/>
                <a:gd name="T46" fmla="*/ 29 w 171"/>
                <a:gd name="T47" fmla="*/ 22 h 59"/>
                <a:gd name="T48" fmla="*/ 31 w 171"/>
                <a:gd name="T49" fmla="*/ 27 h 59"/>
                <a:gd name="T50" fmla="*/ 31 w 171"/>
                <a:gd name="T51" fmla="*/ 27 h 59"/>
                <a:gd name="T52" fmla="*/ 31 w 171"/>
                <a:gd name="T53" fmla="*/ 27 h 59"/>
                <a:gd name="T54" fmla="*/ 25 w 171"/>
                <a:gd name="T55" fmla="*/ 25 h 59"/>
                <a:gd name="T56" fmla="*/ 18 w 171"/>
                <a:gd name="T57" fmla="*/ 20 h 59"/>
                <a:gd name="T58" fmla="*/ 9 w 171"/>
                <a:gd name="T59" fmla="*/ 20 h 59"/>
                <a:gd name="T60" fmla="*/ 9 w 171"/>
                <a:gd name="T61" fmla="*/ 20 h 59"/>
                <a:gd name="T62" fmla="*/ 8 w 171"/>
                <a:gd name="T63" fmla="*/ 20 h 59"/>
                <a:gd name="T64" fmla="*/ 0 w 171"/>
                <a:gd name="T65" fmla="*/ 19 h 59"/>
                <a:gd name="T66" fmla="*/ 2 w 171"/>
                <a:gd name="T67" fmla="*/ 16 h 59"/>
                <a:gd name="T68" fmla="*/ 13 w 171"/>
                <a:gd name="T69" fmla="*/ 7 h 59"/>
                <a:gd name="T70" fmla="*/ 31 w 171"/>
                <a:gd name="T71" fmla="*/ 1 h 59"/>
                <a:gd name="T72" fmla="*/ 51 w 171"/>
                <a:gd name="T73" fmla="*/ 0 h 59"/>
                <a:gd name="T74" fmla="*/ 63 w 171"/>
                <a:gd name="T75" fmla="*/ 1 h 59"/>
                <a:gd name="T76" fmla="*/ 71 w 171"/>
                <a:gd name="T77" fmla="*/ 6 h 59"/>
                <a:gd name="T78" fmla="*/ 80 w 171"/>
                <a:gd name="T79" fmla="*/ 11 h 59"/>
                <a:gd name="T80" fmla="*/ 97 w 171"/>
                <a:gd name="T81" fmla="*/ 20 h 59"/>
                <a:gd name="T82" fmla="*/ 105 w 171"/>
                <a:gd name="T83" fmla="*/ 22 h 59"/>
                <a:gd name="T84" fmla="*/ 116 w 171"/>
                <a:gd name="T85" fmla="*/ 26 h 59"/>
                <a:gd name="T86" fmla="*/ 123 w 171"/>
                <a:gd name="T87" fmla="*/ 30 h 59"/>
                <a:gd name="T88" fmla="*/ 142 w 171"/>
                <a:gd name="T89" fmla="*/ 38 h 59"/>
                <a:gd name="T90" fmla="*/ 148 w 171"/>
                <a:gd name="T91" fmla="*/ 39 h 59"/>
                <a:gd name="T92" fmla="*/ 149 w 171"/>
                <a:gd name="T93" fmla="*/ 42 h 59"/>
                <a:gd name="T94" fmla="*/ 148 w 171"/>
                <a:gd name="T95" fmla="*/ 42 h 59"/>
                <a:gd name="T96" fmla="*/ 149 w 171"/>
                <a:gd name="T97" fmla="*/ 45 h 59"/>
                <a:gd name="T98" fmla="*/ 152 w 171"/>
                <a:gd name="T99" fmla="*/ 45 h 59"/>
                <a:gd name="T100" fmla="*/ 167 w 171"/>
                <a:gd name="T101" fmla="*/ 51 h 59"/>
                <a:gd name="T102" fmla="*/ 171 w 171"/>
                <a:gd name="T103" fmla="*/ 53 h 59"/>
                <a:gd name="T104" fmla="*/ 164 w 171"/>
                <a:gd name="T105" fmla="*/ 56 h 59"/>
                <a:gd name="T106" fmla="*/ 149 w 171"/>
                <a:gd name="T107" fmla="*/ 5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 h="59">
                  <a:moveTo>
                    <a:pt x="129" y="59"/>
                  </a:moveTo>
                  <a:lnTo>
                    <a:pt x="129" y="59"/>
                  </a:lnTo>
                  <a:lnTo>
                    <a:pt x="126" y="59"/>
                  </a:lnTo>
                  <a:lnTo>
                    <a:pt x="126" y="59"/>
                  </a:lnTo>
                  <a:lnTo>
                    <a:pt x="115" y="58"/>
                  </a:lnTo>
                  <a:lnTo>
                    <a:pt x="113" y="58"/>
                  </a:lnTo>
                  <a:lnTo>
                    <a:pt x="113" y="56"/>
                  </a:lnTo>
                  <a:lnTo>
                    <a:pt x="113" y="56"/>
                  </a:lnTo>
                  <a:lnTo>
                    <a:pt x="119" y="52"/>
                  </a:lnTo>
                  <a:lnTo>
                    <a:pt x="121" y="51"/>
                  </a:lnTo>
                  <a:lnTo>
                    <a:pt x="121" y="49"/>
                  </a:lnTo>
                  <a:lnTo>
                    <a:pt x="119" y="48"/>
                  </a:lnTo>
                  <a:lnTo>
                    <a:pt x="118" y="46"/>
                  </a:lnTo>
                  <a:lnTo>
                    <a:pt x="118" y="46"/>
                  </a:lnTo>
                  <a:lnTo>
                    <a:pt x="107" y="45"/>
                  </a:lnTo>
                  <a:lnTo>
                    <a:pt x="105" y="43"/>
                  </a:lnTo>
                  <a:lnTo>
                    <a:pt x="102" y="42"/>
                  </a:lnTo>
                  <a:lnTo>
                    <a:pt x="102" y="42"/>
                  </a:lnTo>
                  <a:lnTo>
                    <a:pt x="97" y="33"/>
                  </a:lnTo>
                  <a:lnTo>
                    <a:pt x="93" y="29"/>
                  </a:lnTo>
                  <a:lnTo>
                    <a:pt x="89" y="27"/>
                  </a:lnTo>
                  <a:lnTo>
                    <a:pt x="89" y="27"/>
                  </a:lnTo>
                  <a:lnTo>
                    <a:pt x="87" y="27"/>
                  </a:lnTo>
                  <a:lnTo>
                    <a:pt x="87" y="27"/>
                  </a:lnTo>
                  <a:lnTo>
                    <a:pt x="81" y="29"/>
                  </a:lnTo>
                  <a:lnTo>
                    <a:pt x="81" y="29"/>
                  </a:lnTo>
                  <a:lnTo>
                    <a:pt x="76" y="30"/>
                  </a:lnTo>
                  <a:lnTo>
                    <a:pt x="76" y="30"/>
                  </a:lnTo>
                  <a:lnTo>
                    <a:pt x="73" y="29"/>
                  </a:lnTo>
                  <a:lnTo>
                    <a:pt x="70" y="27"/>
                  </a:lnTo>
                  <a:lnTo>
                    <a:pt x="70" y="27"/>
                  </a:lnTo>
                  <a:lnTo>
                    <a:pt x="63" y="23"/>
                  </a:lnTo>
                  <a:lnTo>
                    <a:pt x="54" y="20"/>
                  </a:lnTo>
                  <a:lnTo>
                    <a:pt x="54" y="20"/>
                  </a:lnTo>
                  <a:lnTo>
                    <a:pt x="45" y="19"/>
                  </a:lnTo>
                  <a:lnTo>
                    <a:pt x="44" y="17"/>
                  </a:lnTo>
                  <a:lnTo>
                    <a:pt x="42" y="14"/>
                  </a:lnTo>
                  <a:lnTo>
                    <a:pt x="42" y="14"/>
                  </a:lnTo>
                  <a:lnTo>
                    <a:pt x="42" y="13"/>
                  </a:lnTo>
                  <a:lnTo>
                    <a:pt x="41" y="11"/>
                  </a:lnTo>
                  <a:lnTo>
                    <a:pt x="34" y="10"/>
                  </a:lnTo>
                  <a:lnTo>
                    <a:pt x="34" y="10"/>
                  </a:lnTo>
                  <a:lnTo>
                    <a:pt x="31" y="10"/>
                  </a:lnTo>
                  <a:lnTo>
                    <a:pt x="28" y="11"/>
                  </a:lnTo>
                  <a:lnTo>
                    <a:pt x="26" y="13"/>
                  </a:lnTo>
                  <a:lnTo>
                    <a:pt x="26" y="14"/>
                  </a:lnTo>
                  <a:lnTo>
                    <a:pt x="26" y="14"/>
                  </a:lnTo>
                  <a:lnTo>
                    <a:pt x="29" y="22"/>
                  </a:lnTo>
                  <a:lnTo>
                    <a:pt x="31" y="26"/>
                  </a:lnTo>
                  <a:lnTo>
                    <a:pt x="31" y="27"/>
                  </a:lnTo>
                  <a:lnTo>
                    <a:pt x="31" y="27"/>
                  </a:lnTo>
                  <a:lnTo>
                    <a:pt x="31" y="27"/>
                  </a:lnTo>
                  <a:lnTo>
                    <a:pt x="31" y="27"/>
                  </a:lnTo>
                  <a:lnTo>
                    <a:pt x="31" y="27"/>
                  </a:lnTo>
                  <a:lnTo>
                    <a:pt x="28" y="26"/>
                  </a:lnTo>
                  <a:lnTo>
                    <a:pt x="25" y="25"/>
                  </a:lnTo>
                  <a:lnTo>
                    <a:pt x="21" y="22"/>
                  </a:lnTo>
                  <a:lnTo>
                    <a:pt x="18" y="20"/>
                  </a:lnTo>
                  <a:lnTo>
                    <a:pt x="18" y="20"/>
                  </a:lnTo>
                  <a:lnTo>
                    <a:pt x="9" y="20"/>
                  </a:lnTo>
                  <a:lnTo>
                    <a:pt x="9" y="20"/>
                  </a:lnTo>
                  <a:lnTo>
                    <a:pt x="9" y="20"/>
                  </a:lnTo>
                  <a:lnTo>
                    <a:pt x="8" y="20"/>
                  </a:lnTo>
                  <a:lnTo>
                    <a:pt x="8" y="20"/>
                  </a:lnTo>
                  <a:lnTo>
                    <a:pt x="2" y="19"/>
                  </a:lnTo>
                  <a:lnTo>
                    <a:pt x="0" y="19"/>
                  </a:lnTo>
                  <a:lnTo>
                    <a:pt x="2" y="16"/>
                  </a:lnTo>
                  <a:lnTo>
                    <a:pt x="2" y="16"/>
                  </a:lnTo>
                  <a:lnTo>
                    <a:pt x="6" y="11"/>
                  </a:lnTo>
                  <a:lnTo>
                    <a:pt x="13" y="7"/>
                  </a:lnTo>
                  <a:lnTo>
                    <a:pt x="22" y="3"/>
                  </a:lnTo>
                  <a:lnTo>
                    <a:pt x="31" y="1"/>
                  </a:lnTo>
                  <a:lnTo>
                    <a:pt x="31" y="1"/>
                  </a:lnTo>
                  <a:lnTo>
                    <a:pt x="51" y="0"/>
                  </a:lnTo>
                  <a:lnTo>
                    <a:pt x="51" y="0"/>
                  </a:lnTo>
                  <a:lnTo>
                    <a:pt x="63" y="1"/>
                  </a:lnTo>
                  <a:lnTo>
                    <a:pt x="67" y="3"/>
                  </a:lnTo>
                  <a:lnTo>
                    <a:pt x="71" y="6"/>
                  </a:lnTo>
                  <a:lnTo>
                    <a:pt x="71" y="6"/>
                  </a:lnTo>
                  <a:lnTo>
                    <a:pt x="80" y="11"/>
                  </a:lnTo>
                  <a:lnTo>
                    <a:pt x="89" y="17"/>
                  </a:lnTo>
                  <a:lnTo>
                    <a:pt x="97" y="20"/>
                  </a:lnTo>
                  <a:lnTo>
                    <a:pt x="105" y="22"/>
                  </a:lnTo>
                  <a:lnTo>
                    <a:pt x="105" y="22"/>
                  </a:lnTo>
                  <a:lnTo>
                    <a:pt x="112" y="23"/>
                  </a:lnTo>
                  <a:lnTo>
                    <a:pt x="116" y="26"/>
                  </a:lnTo>
                  <a:lnTo>
                    <a:pt x="123" y="30"/>
                  </a:lnTo>
                  <a:lnTo>
                    <a:pt x="123" y="30"/>
                  </a:lnTo>
                  <a:lnTo>
                    <a:pt x="134" y="35"/>
                  </a:lnTo>
                  <a:lnTo>
                    <a:pt x="142" y="38"/>
                  </a:lnTo>
                  <a:lnTo>
                    <a:pt x="142" y="38"/>
                  </a:lnTo>
                  <a:lnTo>
                    <a:pt x="148" y="39"/>
                  </a:lnTo>
                  <a:lnTo>
                    <a:pt x="149" y="40"/>
                  </a:lnTo>
                  <a:lnTo>
                    <a:pt x="149" y="42"/>
                  </a:lnTo>
                  <a:lnTo>
                    <a:pt x="149" y="42"/>
                  </a:lnTo>
                  <a:lnTo>
                    <a:pt x="148" y="42"/>
                  </a:lnTo>
                  <a:lnTo>
                    <a:pt x="148" y="43"/>
                  </a:lnTo>
                  <a:lnTo>
                    <a:pt x="149" y="45"/>
                  </a:lnTo>
                  <a:lnTo>
                    <a:pt x="152" y="45"/>
                  </a:lnTo>
                  <a:lnTo>
                    <a:pt x="152" y="45"/>
                  </a:lnTo>
                  <a:lnTo>
                    <a:pt x="160" y="48"/>
                  </a:lnTo>
                  <a:lnTo>
                    <a:pt x="167" y="51"/>
                  </a:lnTo>
                  <a:lnTo>
                    <a:pt x="170" y="52"/>
                  </a:lnTo>
                  <a:lnTo>
                    <a:pt x="171" y="53"/>
                  </a:lnTo>
                  <a:lnTo>
                    <a:pt x="170" y="55"/>
                  </a:lnTo>
                  <a:lnTo>
                    <a:pt x="164" y="56"/>
                  </a:lnTo>
                  <a:lnTo>
                    <a:pt x="164" y="56"/>
                  </a:lnTo>
                  <a:lnTo>
                    <a:pt x="149" y="58"/>
                  </a:lnTo>
                  <a:lnTo>
                    <a:pt x="129" y="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60" name="Freeform 914"/>
            <p:cNvSpPr>
              <a:spLocks/>
            </p:cNvSpPr>
            <p:nvPr/>
          </p:nvSpPr>
          <p:spPr bwMode="auto">
            <a:xfrm>
              <a:off x="2311400" y="4291442"/>
              <a:ext cx="38100" cy="14288"/>
            </a:xfrm>
            <a:custGeom>
              <a:avLst/>
              <a:gdLst>
                <a:gd name="T0" fmla="*/ 23 w 24"/>
                <a:gd name="T1" fmla="*/ 6 h 9"/>
                <a:gd name="T2" fmla="*/ 23 w 24"/>
                <a:gd name="T3" fmla="*/ 6 h 9"/>
                <a:gd name="T4" fmla="*/ 13 w 24"/>
                <a:gd name="T5" fmla="*/ 7 h 9"/>
                <a:gd name="T6" fmla="*/ 8 w 24"/>
                <a:gd name="T7" fmla="*/ 9 h 9"/>
                <a:gd name="T8" fmla="*/ 7 w 24"/>
                <a:gd name="T9" fmla="*/ 9 h 9"/>
                <a:gd name="T10" fmla="*/ 7 w 24"/>
                <a:gd name="T11" fmla="*/ 9 h 9"/>
                <a:gd name="T12" fmla="*/ 5 w 24"/>
                <a:gd name="T13" fmla="*/ 4 h 9"/>
                <a:gd name="T14" fmla="*/ 1 w 24"/>
                <a:gd name="T15" fmla="*/ 1 h 9"/>
                <a:gd name="T16" fmla="*/ 1 w 24"/>
                <a:gd name="T17" fmla="*/ 1 h 9"/>
                <a:gd name="T18" fmla="*/ 0 w 24"/>
                <a:gd name="T19" fmla="*/ 0 h 9"/>
                <a:gd name="T20" fmla="*/ 2 w 24"/>
                <a:gd name="T21" fmla="*/ 0 h 9"/>
                <a:gd name="T22" fmla="*/ 11 w 24"/>
                <a:gd name="T23" fmla="*/ 0 h 9"/>
                <a:gd name="T24" fmla="*/ 11 w 24"/>
                <a:gd name="T25" fmla="*/ 0 h 9"/>
                <a:gd name="T26" fmla="*/ 21 w 24"/>
                <a:gd name="T27" fmla="*/ 3 h 9"/>
                <a:gd name="T28" fmla="*/ 24 w 24"/>
                <a:gd name="T29" fmla="*/ 4 h 9"/>
                <a:gd name="T30" fmla="*/ 24 w 24"/>
                <a:gd name="T31" fmla="*/ 4 h 9"/>
                <a:gd name="T32" fmla="*/ 23 w 24"/>
                <a:gd name="T33"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9">
                  <a:moveTo>
                    <a:pt x="23" y="6"/>
                  </a:moveTo>
                  <a:lnTo>
                    <a:pt x="23" y="6"/>
                  </a:lnTo>
                  <a:lnTo>
                    <a:pt x="13" y="7"/>
                  </a:lnTo>
                  <a:lnTo>
                    <a:pt x="8" y="9"/>
                  </a:lnTo>
                  <a:lnTo>
                    <a:pt x="7" y="9"/>
                  </a:lnTo>
                  <a:lnTo>
                    <a:pt x="7" y="9"/>
                  </a:lnTo>
                  <a:lnTo>
                    <a:pt x="5" y="4"/>
                  </a:lnTo>
                  <a:lnTo>
                    <a:pt x="1" y="1"/>
                  </a:lnTo>
                  <a:lnTo>
                    <a:pt x="1" y="1"/>
                  </a:lnTo>
                  <a:lnTo>
                    <a:pt x="0" y="0"/>
                  </a:lnTo>
                  <a:lnTo>
                    <a:pt x="2" y="0"/>
                  </a:lnTo>
                  <a:lnTo>
                    <a:pt x="11" y="0"/>
                  </a:lnTo>
                  <a:lnTo>
                    <a:pt x="11" y="0"/>
                  </a:lnTo>
                  <a:lnTo>
                    <a:pt x="21" y="3"/>
                  </a:lnTo>
                  <a:lnTo>
                    <a:pt x="24" y="4"/>
                  </a:lnTo>
                  <a:lnTo>
                    <a:pt x="24" y="4"/>
                  </a:lnTo>
                  <a:lnTo>
                    <a:pt x="23" y="6"/>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61" name="Freeform 915"/>
            <p:cNvSpPr>
              <a:spLocks/>
            </p:cNvSpPr>
            <p:nvPr/>
          </p:nvSpPr>
          <p:spPr bwMode="auto">
            <a:xfrm>
              <a:off x="2311400" y="4291442"/>
              <a:ext cx="38100" cy="14288"/>
            </a:xfrm>
            <a:custGeom>
              <a:avLst/>
              <a:gdLst>
                <a:gd name="T0" fmla="*/ 23 w 24"/>
                <a:gd name="T1" fmla="*/ 6 h 9"/>
                <a:gd name="T2" fmla="*/ 23 w 24"/>
                <a:gd name="T3" fmla="*/ 6 h 9"/>
                <a:gd name="T4" fmla="*/ 13 w 24"/>
                <a:gd name="T5" fmla="*/ 7 h 9"/>
                <a:gd name="T6" fmla="*/ 8 w 24"/>
                <a:gd name="T7" fmla="*/ 9 h 9"/>
                <a:gd name="T8" fmla="*/ 7 w 24"/>
                <a:gd name="T9" fmla="*/ 9 h 9"/>
                <a:gd name="T10" fmla="*/ 7 w 24"/>
                <a:gd name="T11" fmla="*/ 9 h 9"/>
                <a:gd name="T12" fmla="*/ 5 w 24"/>
                <a:gd name="T13" fmla="*/ 4 h 9"/>
                <a:gd name="T14" fmla="*/ 1 w 24"/>
                <a:gd name="T15" fmla="*/ 1 h 9"/>
                <a:gd name="T16" fmla="*/ 1 w 24"/>
                <a:gd name="T17" fmla="*/ 1 h 9"/>
                <a:gd name="T18" fmla="*/ 0 w 24"/>
                <a:gd name="T19" fmla="*/ 0 h 9"/>
                <a:gd name="T20" fmla="*/ 2 w 24"/>
                <a:gd name="T21" fmla="*/ 0 h 9"/>
                <a:gd name="T22" fmla="*/ 11 w 24"/>
                <a:gd name="T23" fmla="*/ 0 h 9"/>
                <a:gd name="T24" fmla="*/ 11 w 24"/>
                <a:gd name="T25" fmla="*/ 0 h 9"/>
                <a:gd name="T26" fmla="*/ 21 w 24"/>
                <a:gd name="T27" fmla="*/ 3 h 9"/>
                <a:gd name="T28" fmla="*/ 24 w 24"/>
                <a:gd name="T29" fmla="*/ 4 h 9"/>
                <a:gd name="T30" fmla="*/ 24 w 24"/>
                <a:gd name="T31" fmla="*/ 4 h 9"/>
                <a:gd name="T32" fmla="*/ 23 w 24"/>
                <a:gd name="T33"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9">
                  <a:moveTo>
                    <a:pt x="23" y="6"/>
                  </a:moveTo>
                  <a:lnTo>
                    <a:pt x="23" y="6"/>
                  </a:lnTo>
                  <a:lnTo>
                    <a:pt x="13" y="7"/>
                  </a:lnTo>
                  <a:lnTo>
                    <a:pt x="8" y="9"/>
                  </a:lnTo>
                  <a:lnTo>
                    <a:pt x="7" y="9"/>
                  </a:lnTo>
                  <a:lnTo>
                    <a:pt x="7" y="9"/>
                  </a:lnTo>
                  <a:lnTo>
                    <a:pt x="5" y="4"/>
                  </a:lnTo>
                  <a:lnTo>
                    <a:pt x="1" y="1"/>
                  </a:lnTo>
                  <a:lnTo>
                    <a:pt x="1" y="1"/>
                  </a:lnTo>
                  <a:lnTo>
                    <a:pt x="0" y="0"/>
                  </a:lnTo>
                  <a:lnTo>
                    <a:pt x="2" y="0"/>
                  </a:lnTo>
                  <a:lnTo>
                    <a:pt x="11" y="0"/>
                  </a:lnTo>
                  <a:lnTo>
                    <a:pt x="11" y="0"/>
                  </a:lnTo>
                  <a:lnTo>
                    <a:pt x="21" y="3"/>
                  </a:lnTo>
                  <a:lnTo>
                    <a:pt x="24" y="4"/>
                  </a:lnTo>
                  <a:lnTo>
                    <a:pt x="24" y="4"/>
                  </a:lnTo>
                  <a:lnTo>
                    <a:pt x="23"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62" name="Freeform 916"/>
            <p:cNvSpPr>
              <a:spLocks/>
            </p:cNvSpPr>
            <p:nvPr/>
          </p:nvSpPr>
          <p:spPr bwMode="auto">
            <a:xfrm>
              <a:off x="2416175" y="4286679"/>
              <a:ext cx="39688" cy="9525"/>
            </a:xfrm>
            <a:custGeom>
              <a:avLst/>
              <a:gdLst>
                <a:gd name="T0" fmla="*/ 23 w 25"/>
                <a:gd name="T1" fmla="*/ 6 h 6"/>
                <a:gd name="T2" fmla="*/ 23 w 25"/>
                <a:gd name="T3" fmla="*/ 6 h 6"/>
                <a:gd name="T4" fmla="*/ 20 w 25"/>
                <a:gd name="T5" fmla="*/ 6 h 6"/>
                <a:gd name="T6" fmla="*/ 15 w 25"/>
                <a:gd name="T7" fmla="*/ 6 h 6"/>
                <a:gd name="T8" fmla="*/ 2 w 25"/>
                <a:gd name="T9" fmla="*/ 3 h 6"/>
                <a:gd name="T10" fmla="*/ 2 w 25"/>
                <a:gd name="T11" fmla="*/ 3 h 6"/>
                <a:gd name="T12" fmla="*/ 0 w 25"/>
                <a:gd name="T13" fmla="*/ 1 h 6"/>
                <a:gd name="T14" fmla="*/ 2 w 25"/>
                <a:gd name="T15" fmla="*/ 0 h 6"/>
                <a:gd name="T16" fmla="*/ 10 w 25"/>
                <a:gd name="T17" fmla="*/ 0 h 6"/>
                <a:gd name="T18" fmla="*/ 10 w 25"/>
                <a:gd name="T19" fmla="*/ 0 h 6"/>
                <a:gd name="T20" fmla="*/ 16 w 25"/>
                <a:gd name="T21" fmla="*/ 0 h 6"/>
                <a:gd name="T22" fmla="*/ 22 w 25"/>
                <a:gd name="T23" fmla="*/ 1 h 6"/>
                <a:gd name="T24" fmla="*/ 25 w 25"/>
                <a:gd name="T25" fmla="*/ 3 h 6"/>
                <a:gd name="T26" fmla="*/ 25 w 25"/>
                <a:gd name="T27" fmla="*/ 4 h 6"/>
                <a:gd name="T28" fmla="*/ 23 w 25"/>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6">
                  <a:moveTo>
                    <a:pt x="23" y="6"/>
                  </a:moveTo>
                  <a:lnTo>
                    <a:pt x="23" y="6"/>
                  </a:lnTo>
                  <a:lnTo>
                    <a:pt x="20" y="6"/>
                  </a:lnTo>
                  <a:lnTo>
                    <a:pt x="15" y="6"/>
                  </a:lnTo>
                  <a:lnTo>
                    <a:pt x="2" y="3"/>
                  </a:lnTo>
                  <a:lnTo>
                    <a:pt x="2" y="3"/>
                  </a:lnTo>
                  <a:lnTo>
                    <a:pt x="0" y="1"/>
                  </a:lnTo>
                  <a:lnTo>
                    <a:pt x="2" y="0"/>
                  </a:lnTo>
                  <a:lnTo>
                    <a:pt x="10" y="0"/>
                  </a:lnTo>
                  <a:lnTo>
                    <a:pt x="10" y="0"/>
                  </a:lnTo>
                  <a:lnTo>
                    <a:pt x="16" y="0"/>
                  </a:lnTo>
                  <a:lnTo>
                    <a:pt x="22" y="1"/>
                  </a:lnTo>
                  <a:lnTo>
                    <a:pt x="25" y="3"/>
                  </a:lnTo>
                  <a:lnTo>
                    <a:pt x="25" y="4"/>
                  </a:lnTo>
                  <a:lnTo>
                    <a:pt x="23" y="6"/>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63" name="Freeform 917"/>
            <p:cNvSpPr>
              <a:spLocks/>
            </p:cNvSpPr>
            <p:nvPr/>
          </p:nvSpPr>
          <p:spPr bwMode="auto">
            <a:xfrm>
              <a:off x="2416175" y="4286679"/>
              <a:ext cx="39688" cy="9525"/>
            </a:xfrm>
            <a:custGeom>
              <a:avLst/>
              <a:gdLst>
                <a:gd name="T0" fmla="*/ 23 w 25"/>
                <a:gd name="T1" fmla="*/ 6 h 6"/>
                <a:gd name="T2" fmla="*/ 23 w 25"/>
                <a:gd name="T3" fmla="*/ 6 h 6"/>
                <a:gd name="T4" fmla="*/ 20 w 25"/>
                <a:gd name="T5" fmla="*/ 6 h 6"/>
                <a:gd name="T6" fmla="*/ 15 w 25"/>
                <a:gd name="T7" fmla="*/ 6 h 6"/>
                <a:gd name="T8" fmla="*/ 2 w 25"/>
                <a:gd name="T9" fmla="*/ 3 h 6"/>
                <a:gd name="T10" fmla="*/ 2 w 25"/>
                <a:gd name="T11" fmla="*/ 3 h 6"/>
                <a:gd name="T12" fmla="*/ 0 w 25"/>
                <a:gd name="T13" fmla="*/ 1 h 6"/>
                <a:gd name="T14" fmla="*/ 2 w 25"/>
                <a:gd name="T15" fmla="*/ 0 h 6"/>
                <a:gd name="T16" fmla="*/ 10 w 25"/>
                <a:gd name="T17" fmla="*/ 0 h 6"/>
                <a:gd name="T18" fmla="*/ 10 w 25"/>
                <a:gd name="T19" fmla="*/ 0 h 6"/>
                <a:gd name="T20" fmla="*/ 16 w 25"/>
                <a:gd name="T21" fmla="*/ 0 h 6"/>
                <a:gd name="T22" fmla="*/ 22 w 25"/>
                <a:gd name="T23" fmla="*/ 1 h 6"/>
                <a:gd name="T24" fmla="*/ 25 w 25"/>
                <a:gd name="T25" fmla="*/ 3 h 6"/>
                <a:gd name="T26" fmla="*/ 25 w 25"/>
                <a:gd name="T27" fmla="*/ 4 h 6"/>
                <a:gd name="T28" fmla="*/ 23 w 25"/>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6">
                  <a:moveTo>
                    <a:pt x="23" y="6"/>
                  </a:moveTo>
                  <a:lnTo>
                    <a:pt x="23" y="6"/>
                  </a:lnTo>
                  <a:lnTo>
                    <a:pt x="20" y="6"/>
                  </a:lnTo>
                  <a:lnTo>
                    <a:pt x="15" y="6"/>
                  </a:lnTo>
                  <a:lnTo>
                    <a:pt x="2" y="3"/>
                  </a:lnTo>
                  <a:lnTo>
                    <a:pt x="2" y="3"/>
                  </a:lnTo>
                  <a:lnTo>
                    <a:pt x="0" y="1"/>
                  </a:lnTo>
                  <a:lnTo>
                    <a:pt x="2" y="0"/>
                  </a:lnTo>
                  <a:lnTo>
                    <a:pt x="10" y="0"/>
                  </a:lnTo>
                  <a:lnTo>
                    <a:pt x="10" y="0"/>
                  </a:lnTo>
                  <a:lnTo>
                    <a:pt x="16" y="0"/>
                  </a:lnTo>
                  <a:lnTo>
                    <a:pt x="22" y="1"/>
                  </a:lnTo>
                  <a:lnTo>
                    <a:pt x="25" y="3"/>
                  </a:lnTo>
                  <a:lnTo>
                    <a:pt x="25" y="4"/>
                  </a:lnTo>
                  <a:lnTo>
                    <a:pt x="23"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64" name="Freeform 918"/>
            <p:cNvSpPr>
              <a:spLocks/>
            </p:cNvSpPr>
            <p:nvPr/>
          </p:nvSpPr>
          <p:spPr bwMode="auto">
            <a:xfrm>
              <a:off x="2473325" y="4254929"/>
              <a:ext cx="85725" cy="42863"/>
            </a:xfrm>
            <a:custGeom>
              <a:avLst/>
              <a:gdLst>
                <a:gd name="T0" fmla="*/ 48 w 54"/>
                <a:gd name="T1" fmla="*/ 17 h 27"/>
                <a:gd name="T2" fmla="*/ 48 w 54"/>
                <a:gd name="T3" fmla="*/ 17 h 27"/>
                <a:gd name="T4" fmla="*/ 45 w 54"/>
                <a:gd name="T5" fmla="*/ 16 h 27"/>
                <a:gd name="T6" fmla="*/ 42 w 54"/>
                <a:gd name="T7" fmla="*/ 13 h 27"/>
                <a:gd name="T8" fmla="*/ 38 w 54"/>
                <a:gd name="T9" fmla="*/ 6 h 27"/>
                <a:gd name="T10" fmla="*/ 38 w 54"/>
                <a:gd name="T11" fmla="*/ 6 h 27"/>
                <a:gd name="T12" fmla="*/ 34 w 54"/>
                <a:gd name="T13" fmla="*/ 3 h 27"/>
                <a:gd name="T14" fmla="*/ 28 w 54"/>
                <a:gd name="T15" fmla="*/ 1 h 27"/>
                <a:gd name="T16" fmla="*/ 16 w 54"/>
                <a:gd name="T17" fmla="*/ 1 h 27"/>
                <a:gd name="T18" fmla="*/ 16 w 54"/>
                <a:gd name="T19" fmla="*/ 1 h 27"/>
                <a:gd name="T20" fmla="*/ 0 w 54"/>
                <a:gd name="T21" fmla="*/ 0 h 27"/>
                <a:gd name="T22" fmla="*/ 0 w 54"/>
                <a:gd name="T23" fmla="*/ 23 h 27"/>
                <a:gd name="T24" fmla="*/ 0 w 54"/>
                <a:gd name="T25" fmla="*/ 23 h 27"/>
                <a:gd name="T26" fmla="*/ 8 w 54"/>
                <a:gd name="T27" fmla="*/ 27 h 27"/>
                <a:gd name="T28" fmla="*/ 8 w 54"/>
                <a:gd name="T29" fmla="*/ 27 h 27"/>
                <a:gd name="T30" fmla="*/ 11 w 54"/>
                <a:gd name="T31" fmla="*/ 27 h 27"/>
                <a:gd name="T32" fmla="*/ 13 w 54"/>
                <a:gd name="T33" fmla="*/ 26 h 27"/>
                <a:gd name="T34" fmla="*/ 18 w 54"/>
                <a:gd name="T35" fmla="*/ 21 h 27"/>
                <a:gd name="T36" fmla="*/ 18 w 54"/>
                <a:gd name="T37" fmla="*/ 21 h 27"/>
                <a:gd name="T38" fmla="*/ 19 w 54"/>
                <a:gd name="T39" fmla="*/ 21 h 27"/>
                <a:gd name="T40" fmla="*/ 21 w 54"/>
                <a:gd name="T41" fmla="*/ 21 h 27"/>
                <a:gd name="T42" fmla="*/ 24 w 54"/>
                <a:gd name="T43" fmla="*/ 26 h 27"/>
                <a:gd name="T44" fmla="*/ 24 w 54"/>
                <a:gd name="T45" fmla="*/ 26 h 27"/>
                <a:gd name="T46" fmla="*/ 25 w 54"/>
                <a:gd name="T47" fmla="*/ 26 h 27"/>
                <a:gd name="T48" fmla="*/ 29 w 54"/>
                <a:gd name="T49" fmla="*/ 26 h 27"/>
                <a:gd name="T50" fmla="*/ 37 w 54"/>
                <a:gd name="T51" fmla="*/ 21 h 27"/>
                <a:gd name="T52" fmla="*/ 37 w 54"/>
                <a:gd name="T53" fmla="*/ 21 h 27"/>
                <a:gd name="T54" fmla="*/ 42 w 54"/>
                <a:gd name="T55" fmla="*/ 21 h 27"/>
                <a:gd name="T56" fmla="*/ 48 w 54"/>
                <a:gd name="T57" fmla="*/ 23 h 27"/>
                <a:gd name="T58" fmla="*/ 48 w 54"/>
                <a:gd name="T59" fmla="*/ 23 h 27"/>
                <a:gd name="T60" fmla="*/ 54 w 54"/>
                <a:gd name="T61" fmla="*/ 24 h 27"/>
                <a:gd name="T62" fmla="*/ 54 w 54"/>
                <a:gd name="T63" fmla="*/ 24 h 27"/>
                <a:gd name="T64" fmla="*/ 54 w 54"/>
                <a:gd name="T65" fmla="*/ 23 h 27"/>
                <a:gd name="T66" fmla="*/ 54 w 54"/>
                <a:gd name="T67" fmla="*/ 21 h 27"/>
                <a:gd name="T68" fmla="*/ 51 w 54"/>
                <a:gd name="T69" fmla="*/ 19 h 27"/>
                <a:gd name="T70" fmla="*/ 48 w 54"/>
                <a:gd name="T71"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27">
                  <a:moveTo>
                    <a:pt x="48" y="17"/>
                  </a:moveTo>
                  <a:lnTo>
                    <a:pt x="48" y="17"/>
                  </a:lnTo>
                  <a:lnTo>
                    <a:pt x="45" y="16"/>
                  </a:lnTo>
                  <a:lnTo>
                    <a:pt x="42" y="13"/>
                  </a:lnTo>
                  <a:lnTo>
                    <a:pt x="38" y="6"/>
                  </a:lnTo>
                  <a:lnTo>
                    <a:pt x="38" y="6"/>
                  </a:lnTo>
                  <a:lnTo>
                    <a:pt x="34" y="3"/>
                  </a:lnTo>
                  <a:lnTo>
                    <a:pt x="28" y="1"/>
                  </a:lnTo>
                  <a:lnTo>
                    <a:pt x="16" y="1"/>
                  </a:lnTo>
                  <a:lnTo>
                    <a:pt x="16" y="1"/>
                  </a:lnTo>
                  <a:lnTo>
                    <a:pt x="0" y="0"/>
                  </a:lnTo>
                  <a:lnTo>
                    <a:pt x="0" y="23"/>
                  </a:lnTo>
                  <a:lnTo>
                    <a:pt x="0" y="23"/>
                  </a:lnTo>
                  <a:lnTo>
                    <a:pt x="8" y="27"/>
                  </a:lnTo>
                  <a:lnTo>
                    <a:pt x="8" y="27"/>
                  </a:lnTo>
                  <a:lnTo>
                    <a:pt x="11" y="27"/>
                  </a:lnTo>
                  <a:lnTo>
                    <a:pt x="13" y="26"/>
                  </a:lnTo>
                  <a:lnTo>
                    <a:pt x="18" y="21"/>
                  </a:lnTo>
                  <a:lnTo>
                    <a:pt x="18" y="21"/>
                  </a:lnTo>
                  <a:lnTo>
                    <a:pt x="19" y="21"/>
                  </a:lnTo>
                  <a:lnTo>
                    <a:pt x="21" y="21"/>
                  </a:lnTo>
                  <a:lnTo>
                    <a:pt x="24" y="26"/>
                  </a:lnTo>
                  <a:lnTo>
                    <a:pt x="24" y="26"/>
                  </a:lnTo>
                  <a:lnTo>
                    <a:pt x="25" y="26"/>
                  </a:lnTo>
                  <a:lnTo>
                    <a:pt x="29" y="26"/>
                  </a:lnTo>
                  <a:lnTo>
                    <a:pt x="37" y="21"/>
                  </a:lnTo>
                  <a:lnTo>
                    <a:pt x="37" y="21"/>
                  </a:lnTo>
                  <a:lnTo>
                    <a:pt x="42" y="21"/>
                  </a:lnTo>
                  <a:lnTo>
                    <a:pt x="48" y="23"/>
                  </a:lnTo>
                  <a:lnTo>
                    <a:pt x="48" y="23"/>
                  </a:lnTo>
                  <a:lnTo>
                    <a:pt x="54" y="24"/>
                  </a:lnTo>
                  <a:lnTo>
                    <a:pt x="54" y="24"/>
                  </a:lnTo>
                  <a:lnTo>
                    <a:pt x="54" y="23"/>
                  </a:lnTo>
                  <a:lnTo>
                    <a:pt x="54" y="21"/>
                  </a:lnTo>
                  <a:lnTo>
                    <a:pt x="51" y="19"/>
                  </a:lnTo>
                  <a:lnTo>
                    <a:pt x="48" y="17"/>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65" name="Freeform 919"/>
            <p:cNvSpPr>
              <a:spLocks/>
            </p:cNvSpPr>
            <p:nvPr/>
          </p:nvSpPr>
          <p:spPr bwMode="auto">
            <a:xfrm>
              <a:off x="2473325" y="4254929"/>
              <a:ext cx="85725" cy="42863"/>
            </a:xfrm>
            <a:custGeom>
              <a:avLst/>
              <a:gdLst>
                <a:gd name="T0" fmla="*/ 48 w 54"/>
                <a:gd name="T1" fmla="*/ 17 h 27"/>
                <a:gd name="T2" fmla="*/ 48 w 54"/>
                <a:gd name="T3" fmla="*/ 17 h 27"/>
                <a:gd name="T4" fmla="*/ 45 w 54"/>
                <a:gd name="T5" fmla="*/ 16 h 27"/>
                <a:gd name="T6" fmla="*/ 42 w 54"/>
                <a:gd name="T7" fmla="*/ 13 h 27"/>
                <a:gd name="T8" fmla="*/ 38 w 54"/>
                <a:gd name="T9" fmla="*/ 6 h 27"/>
                <a:gd name="T10" fmla="*/ 38 w 54"/>
                <a:gd name="T11" fmla="*/ 6 h 27"/>
                <a:gd name="T12" fmla="*/ 34 w 54"/>
                <a:gd name="T13" fmla="*/ 3 h 27"/>
                <a:gd name="T14" fmla="*/ 28 w 54"/>
                <a:gd name="T15" fmla="*/ 1 h 27"/>
                <a:gd name="T16" fmla="*/ 16 w 54"/>
                <a:gd name="T17" fmla="*/ 1 h 27"/>
                <a:gd name="T18" fmla="*/ 16 w 54"/>
                <a:gd name="T19" fmla="*/ 1 h 27"/>
                <a:gd name="T20" fmla="*/ 0 w 54"/>
                <a:gd name="T21" fmla="*/ 0 h 27"/>
                <a:gd name="T22" fmla="*/ 0 w 54"/>
                <a:gd name="T23" fmla="*/ 23 h 27"/>
                <a:gd name="T24" fmla="*/ 0 w 54"/>
                <a:gd name="T25" fmla="*/ 23 h 27"/>
                <a:gd name="T26" fmla="*/ 8 w 54"/>
                <a:gd name="T27" fmla="*/ 27 h 27"/>
                <a:gd name="T28" fmla="*/ 8 w 54"/>
                <a:gd name="T29" fmla="*/ 27 h 27"/>
                <a:gd name="T30" fmla="*/ 11 w 54"/>
                <a:gd name="T31" fmla="*/ 27 h 27"/>
                <a:gd name="T32" fmla="*/ 13 w 54"/>
                <a:gd name="T33" fmla="*/ 26 h 27"/>
                <a:gd name="T34" fmla="*/ 18 w 54"/>
                <a:gd name="T35" fmla="*/ 21 h 27"/>
                <a:gd name="T36" fmla="*/ 18 w 54"/>
                <a:gd name="T37" fmla="*/ 21 h 27"/>
                <a:gd name="T38" fmla="*/ 19 w 54"/>
                <a:gd name="T39" fmla="*/ 21 h 27"/>
                <a:gd name="T40" fmla="*/ 21 w 54"/>
                <a:gd name="T41" fmla="*/ 21 h 27"/>
                <a:gd name="T42" fmla="*/ 24 w 54"/>
                <a:gd name="T43" fmla="*/ 26 h 27"/>
                <a:gd name="T44" fmla="*/ 24 w 54"/>
                <a:gd name="T45" fmla="*/ 26 h 27"/>
                <a:gd name="T46" fmla="*/ 25 w 54"/>
                <a:gd name="T47" fmla="*/ 26 h 27"/>
                <a:gd name="T48" fmla="*/ 29 w 54"/>
                <a:gd name="T49" fmla="*/ 26 h 27"/>
                <a:gd name="T50" fmla="*/ 37 w 54"/>
                <a:gd name="T51" fmla="*/ 21 h 27"/>
                <a:gd name="T52" fmla="*/ 37 w 54"/>
                <a:gd name="T53" fmla="*/ 21 h 27"/>
                <a:gd name="T54" fmla="*/ 42 w 54"/>
                <a:gd name="T55" fmla="*/ 21 h 27"/>
                <a:gd name="T56" fmla="*/ 48 w 54"/>
                <a:gd name="T57" fmla="*/ 23 h 27"/>
                <a:gd name="T58" fmla="*/ 48 w 54"/>
                <a:gd name="T59" fmla="*/ 23 h 27"/>
                <a:gd name="T60" fmla="*/ 54 w 54"/>
                <a:gd name="T61" fmla="*/ 24 h 27"/>
                <a:gd name="T62" fmla="*/ 54 w 54"/>
                <a:gd name="T63" fmla="*/ 24 h 27"/>
                <a:gd name="T64" fmla="*/ 54 w 54"/>
                <a:gd name="T65" fmla="*/ 23 h 27"/>
                <a:gd name="T66" fmla="*/ 54 w 54"/>
                <a:gd name="T67" fmla="*/ 21 h 27"/>
                <a:gd name="T68" fmla="*/ 51 w 54"/>
                <a:gd name="T69" fmla="*/ 19 h 27"/>
                <a:gd name="T70" fmla="*/ 48 w 54"/>
                <a:gd name="T71"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27">
                  <a:moveTo>
                    <a:pt x="48" y="17"/>
                  </a:moveTo>
                  <a:lnTo>
                    <a:pt x="48" y="17"/>
                  </a:lnTo>
                  <a:lnTo>
                    <a:pt x="45" y="16"/>
                  </a:lnTo>
                  <a:lnTo>
                    <a:pt x="42" y="13"/>
                  </a:lnTo>
                  <a:lnTo>
                    <a:pt x="38" y="6"/>
                  </a:lnTo>
                  <a:lnTo>
                    <a:pt x="38" y="6"/>
                  </a:lnTo>
                  <a:lnTo>
                    <a:pt x="34" y="3"/>
                  </a:lnTo>
                  <a:lnTo>
                    <a:pt x="28" y="1"/>
                  </a:lnTo>
                  <a:lnTo>
                    <a:pt x="16" y="1"/>
                  </a:lnTo>
                  <a:lnTo>
                    <a:pt x="16" y="1"/>
                  </a:lnTo>
                  <a:lnTo>
                    <a:pt x="0" y="0"/>
                  </a:lnTo>
                  <a:lnTo>
                    <a:pt x="0" y="23"/>
                  </a:lnTo>
                  <a:lnTo>
                    <a:pt x="0" y="23"/>
                  </a:lnTo>
                  <a:lnTo>
                    <a:pt x="8" y="27"/>
                  </a:lnTo>
                  <a:lnTo>
                    <a:pt x="8" y="27"/>
                  </a:lnTo>
                  <a:lnTo>
                    <a:pt x="11" y="27"/>
                  </a:lnTo>
                  <a:lnTo>
                    <a:pt x="13" y="26"/>
                  </a:lnTo>
                  <a:lnTo>
                    <a:pt x="18" y="21"/>
                  </a:lnTo>
                  <a:lnTo>
                    <a:pt x="18" y="21"/>
                  </a:lnTo>
                  <a:lnTo>
                    <a:pt x="19" y="21"/>
                  </a:lnTo>
                  <a:lnTo>
                    <a:pt x="21" y="21"/>
                  </a:lnTo>
                  <a:lnTo>
                    <a:pt x="24" y="26"/>
                  </a:lnTo>
                  <a:lnTo>
                    <a:pt x="24" y="26"/>
                  </a:lnTo>
                  <a:lnTo>
                    <a:pt x="25" y="26"/>
                  </a:lnTo>
                  <a:lnTo>
                    <a:pt x="29" y="26"/>
                  </a:lnTo>
                  <a:lnTo>
                    <a:pt x="37" y="21"/>
                  </a:lnTo>
                  <a:lnTo>
                    <a:pt x="37" y="21"/>
                  </a:lnTo>
                  <a:lnTo>
                    <a:pt x="42" y="21"/>
                  </a:lnTo>
                  <a:lnTo>
                    <a:pt x="48" y="23"/>
                  </a:lnTo>
                  <a:lnTo>
                    <a:pt x="48" y="23"/>
                  </a:lnTo>
                  <a:lnTo>
                    <a:pt x="54" y="24"/>
                  </a:lnTo>
                  <a:lnTo>
                    <a:pt x="54" y="24"/>
                  </a:lnTo>
                  <a:lnTo>
                    <a:pt x="54" y="23"/>
                  </a:lnTo>
                  <a:lnTo>
                    <a:pt x="54" y="21"/>
                  </a:lnTo>
                  <a:lnTo>
                    <a:pt x="51" y="19"/>
                  </a:lnTo>
                  <a:lnTo>
                    <a:pt x="48"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66" name="Freeform 920"/>
            <p:cNvSpPr>
              <a:spLocks/>
            </p:cNvSpPr>
            <p:nvPr/>
          </p:nvSpPr>
          <p:spPr bwMode="auto">
            <a:xfrm>
              <a:off x="2436813" y="4251754"/>
              <a:ext cx="36513" cy="39688"/>
            </a:xfrm>
            <a:custGeom>
              <a:avLst/>
              <a:gdLst>
                <a:gd name="T0" fmla="*/ 23 w 23"/>
                <a:gd name="T1" fmla="*/ 25 h 25"/>
                <a:gd name="T2" fmla="*/ 23 w 23"/>
                <a:gd name="T3" fmla="*/ 25 h 25"/>
                <a:gd name="T4" fmla="*/ 16 w 23"/>
                <a:gd name="T5" fmla="*/ 19 h 25"/>
                <a:gd name="T6" fmla="*/ 10 w 23"/>
                <a:gd name="T7" fmla="*/ 15 h 25"/>
                <a:gd name="T8" fmla="*/ 10 w 23"/>
                <a:gd name="T9" fmla="*/ 15 h 25"/>
                <a:gd name="T10" fmla="*/ 6 w 23"/>
                <a:gd name="T11" fmla="*/ 9 h 25"/>
                <a:gd name="T12" fmla="*/ 2 w 23"/>
                <a:gd name="T13" fmla="*/ 5 h 25"/>
                <a:gd name="T14" fmla="*/ 2 w 23"/>
                <a:gd name="T15" fmla="*/ 5 h 25"/>
                <a:gd name="T16" fmla="*/ 0 w 23"/>
                <a:gd name="T17" fmla="*/ 3 h 25"/>
                <a:gd name="T18" fmla="*/ 0 w 23"/>
                <a:gd name="T19" fmla="*/ 2 h 25"/>
                <a:gd name="T20" fmla="*/ 3 w 23"/>
                <a:gd name="T21" fmla="*/ 0 h 25"/>
                <a:gd name="T22" fmla="*/ 6 w 23"/>
                <a:gd name="T23" fmla="*/ 0 h 25"/>
                <a:gd name="T24" fmla="*/ 6 w 23"/>
                <a:gd name="T25" fmla="*/ 0 h 25"/>
                <a:gd name="T26" fmla="*/ 9 w 23"/>
                <a:gd name="T27" fmla="*/ 0 h 25"/>
                <a:gd name="T28" fmla="*/ 9 w 23"/>
                <a:gd name="T29" fmla="*/ 0 h 25"/>
                <a:gd name="T30" fmla="*/ 23 w 23"/>
                <a:gd name="T31" fmla="*/ 2 h 25"/>
                <a:gd name="T32" fmla="*/ 23 w 23"/>
                <a:gd name="T33" fmla="*/ 3 h 25"/>
                <a:gd name="T34" fmla="*/ 23 w 23"/>
                <a:gd name="T35" fmla="*/ 3 h 25"/>
                <a:gd name="T36" fmla="*/ 23 w 23"/>
                <a:gd name="T37" fmla="*/ 2 h 25"/>
                <a:gd name="T38" fmla="*/ 23 w 23"/>
                <a:gd name="T3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 h="25">
                  <a:moveTo>
                    <a:pt x="23" y="25"/>
                  </a:moveTo>
                  <a:lnTo>
                    <a:pt x="23" y="25"/>
                  </a:lnTo>
                  <a:lnTo>
                    <a:pt x="16" y="19"/>
                  </a:lnTo>
                  <a:lnTo>
                    <a:pt x="10" y="15"/>
                  </a:lnTo>
                  <a:lnTo>
                    <a:pt x="10" y="15"/>
                  </a:lnTo>
                  <a:lnTo>
                    <a:pt x="6" y="9"/>
                  </a:lnTo>
                  <a:lnTo>
                    <a:pt x="2" y="5"/>
                  </a:lnTo>
                  <a:lnTo>
                    <a:pt x="2" y="5"/>
                  </a:lnTo>
                  <a:lnTo>
                    <a:pt x="0" y="3"/>
                  </a:lnTo>
                  <a:lnTo>
                    <a:pt x="0" y="2"/>
                  </a:lnTo>
                  <a:lnTo>
                    <a:pt x="3" y="0"/>
                  </a:lnTo>
                  <a:lnTo>
                    <a:pt x="6" y="0"/>
                  </a:lnTo>
                  <a:lnTo>
                    <a:pt x="6" y="0"/>
                  </a:lnTo>
                  <a:lnTo>
                    <a:pt x="9" y="0"/>
                  </a:lnTo>
                  <a:lnTo>
                    <a:pt x="9" y="0"/>
                  </a:lnTo>
                  <a:lnTo>
                    <a:pt x="23" y="2"/>
                  </a:lnTo>
                  <a:lnTo>
                    <a:pt x="23" y="3"/>
                  </a:lnTo>
                  <a:lnTo>
                    <a:pt x="23" y="3"/>
                  </a:lnTo>
                  <a:lnTo>
                    <a:pt x="23" y="2"/>
                  </a:lnTo>
                  <a:lnTo>
                    <a:pt x="23" y="25"/>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67" name="Freeform 921"/>
            <p:cNvSpPr>
              <a:spLocks/>
            </p:cNvSpPr>
            <p:nvPr/>
          </p:nvSpPr>
          <p:spPr bwMode="auto">
            <a:xfrm>
              <a:off x="2436813" y="4251754"/>
              <a:ext cx="36513" cy="39688"/>
            </a:xfrm>
            <a:custGeom>
              <a:avLst/>
              <a:gdLst>
                <a:gd name="T0" fmla="*/ 23 w 23"/>
                <a:gd name="T1" fmla="*/ 25 h 25"/>
                <a:gd name="T2" fmla="*/ 23 w 23"/>
                <a:gd name="T3" fmla="*/ 25 h 25"/>
                <a:gd name="T4" fmla="*/ 16 w 23"/>
                <a:gd name="T5" fmla="*/ 19 h 25"/>
                <a:gd name="T6" fmla="*/ 10 w 23"/>
                <a:gd name="T7" fmla="*/ 15 h 25"/>
                <a:gd name="T8" fmla="*/ 10 w 23"/>
                <a:gd name="T9" fmla="*/ 15 h 25"/>
                <a:gd name="T10" fmla="*/ 6 w 23"/>
                <a:gd name="T11" fmla="*/ 9 h 25"/>
                <a:gd name="T12" fmla="*/ 2 w 23"/>
                <a:gd name="T13" fmla="*/ 5 h 25"/>
                <a:gd name="T14" fmla="*/ 2 w 23"/>
                <a:gd name="T15" fmla="*/ 5 h 25"/>
                <a:gd name="T16" fmla="*/ 0 w 23"/>
                <a:gd name="T17" fmla="*/ 3 h 25"/>
                <a:gd name="T18" fmla="*/ 0 w 23"/>
                <a:gd name="T19" fmla="*/ 2 h 25"/>
                <a:gd name="T20" fmla="*/ 3 w 23"/>
                <a:gd name="T21" fmla="*/ 0 h 25"/>
                <a:gd name="T22" fmla="*/ 6 w 23"/>
                <a:gd name="T23" fmla="*/ 0 h 25"/>
                <a:gd name="T24" fmla="*/ 6 w 23"/>
                <a:gd name="T25" fmla="*/ 0 h 25"/>
                <a:gd name="T26" fmla="*/ 9 w 23"/>
                <a:gd name="T27" fmla="*/ 0 h 25"/>
                <a:gd name="T28" fmla="*/ 9 w 23"/>
                <a:gd name="T29" fmla="*/ 0 h 25"/>
                <a:gd name="T30" fmla="*/ 23 w 23"/>
                <a:gd name="T31" fmla="*/ 2 h 25"/>
                <a:gd name="T32" fmla="*/ 23 w 23"/>
                <a:gd name="T33" fmla="*/ 3 h 25"/>
                <a:gd name="T34" fmla="*/ 23 w 23"/>
                <a:gd name="T35" fmla="*/ 3 h 25"/>
                <a:gd name="T36" fmla="*/ 23 w 23"/>
                <a:gd name="T37" fmla="*/ 2 h 25"/>
                <a:gd name="T38" fmla="*/ 23 w 23"/>
                <a:gd name="T3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 h="25">
                  <a:moveTo>
                    <a:pt x="23" y="25"/>
                  </a:moveTo>
                  <a:lnTo>
                    <a:pt x="23" y="25"/>
                  </a:lnTo>
                  <a:lnTo>
                    <a:pt x="16" y="19"/>
                  </a:lnTo>
                  <a:lnTo>
                    <a:pt x="10" y="15"/>
                  </a:lnTo>
                  <a:lnTo>
                    <a:pt x="10" y="15"/>
                  </a:lnTo>
                  <a:lnTo>
                    <a:pt x="6" y="9"/>
                  </a:lnTo>
                  <a:lnTo>
                    <a:pt x="2" y="5"/>
                  </a:lnTo>
                  <a:lnTo>
                    <a:pt x="2" y="5"/>
                  </a:lnTo>
                  <a:lnTo>
                    <a:pt x="0" y="3"/>
                  </a:lnTo>
                  <a:lnTo>
                    <a:pt x="0" y="2"/>
                  </a:lnTo>
                  <a:lnTo>
                    <a:pt x="3" y="0"/>
                  </a:lnTo>
                  <a:lnTo>
                    <a:pt x="6" y="0"/>
                  </a:lnTo>
                  <a:lnTo>
                    <a:pt x="6" y="0"/>
                  </a:lnTo>
                  <a:lnTo>
                    <a:pt x="9" y="0"/>
                  </a:lnTo>
                  <a:lnTo>
                    <a:pt x="9" y="0"/>
                  </a:lnTo>
                  <a:lnTo>
                    <a:pt x="23" y="2"/>
                  </a:lnTo>
                  <a:lnTo>
                    <a:pt x="23" y="3"/>
                  </a:lnTo>
                  <a:lnTo>
                    <a:pt x="23" y="3"/>
                  </a:lnTo>
                  <a:lnTo>
                    <a:pt x="23" y="2"/>
                  </a:lnTo>
                  <a:lnTo>
                    <a:pt x="23" y="2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68" name="Freeform 922"/>
            <p:cNvSpPr>
              <a:spLocks/>
            </p:cNvSpPr>
            <p:nvPr/>
          </p:nvSpPr>
          <p:spPr bwMode="auto">
            <a:xfrm>
              <a:off x="2473325" y="4254929"/>
              <a:ext cx="0" cy="36513"/>
            </a:xfrm>
            <a:custGeom>
              <a:avLst/>
              <a:gdLst>
                <a:gd name="T0" fmla="*/ 23 h 23"/>
                <a:gd name="T1" fmla="*/ 23 h 23"/>
                <a:gd name="T2" fmla="*/ 23 h 23"/>
                <a:gd name="T3" fmla="*/ 0 h 23"/>
                <a:gd name="T4" fmla="*/ 0 h 23"/>
                <a:gd name="T5" fmla="*/ 1 h 23"/>
                <a:gd name="T6" fmla="*/ 23 h 23"/>
              </a:gdLst>
              <a:ahLst/>
              <a:cxnLst>
                <a:cxn ang="0">
                  <a:pos x="0" y="T0"/>
                </a:cxn>
                <a:cxn ang="0">
                  <a:pos x="0" y="T1"/>
                </a:cxn>
                <a:cxn ang="0">
                  <a:pos x="0" y="T2"/>
                </a:cxn>
                <a:cxn ang="0">
                  <a:pos x="0" y="T3"/>
                </a:cxn>
                <a:cxn ang="0">
                  <a:pos x="0" y="T4"/>
                </a:cxn>
                <a:cxn ang="0">
                  <a:pos x="0" y="T5"/>
                </a:cxn>
                <a:cxn ang="0">
                  <a:pos x="0" y="T6"/>
                </a:cxn>
              </a:cxnLst>
              <a:rect l="0" t="0" r="r" b="b"/>
              <a:pathLst>
                <a:path h="23">
                  <a:moveTo>
                    <a:pt x="0" y="23"/>
                  </a:moveTo>
                  <a:lnTo>
                    <a:pt x="0" y="23"/>
                  </a:lnTo>
                  <a:lnTo>
                    <a:pt x="0" y="23"/>
                  </a:lnTo>
                  <a:lnTo>
                    <a:pt x="0" y="0"/>
                  </a:lnTo>
                  <a:lnTo>
                    <a:pt x="0" y="0"/>
                  </a:lnTo>
                  <a:lnTo>
                    <a:pt x="0" y="1"/>
                  </a:lnTo>
                  <a:lnTo>
                    <a:pt x="0" y="23"/>
                  </a:lnTo>
                  <a:close/>
                </a:path>
              </a:pathLst>
            </a:custGeom>
            <a:solidFill>
              <a:srgbClr val="60B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69" name="Freeform 923"/>
            <p:cNvSpPr>
              <a:spLocks/>
            </p:cNvSpPr>
            <p:nvPr/>
          </p:nvSpPr>
          <p:spPr bwMode="auto">
            <a:xfrm>
              <a:off x="2473325" y="4254929"/>
              <a:ext cx="0" cy="36513"/>
            </a:xfrm>
            <a:custGeom>
              <a:avLst/>
              <a:gdLst>
                <a:gd name="T0" fmla="*/ 23 h 23"/>
                <a:gd name="T1" fmla="*/ 23 h 23"/>
                <a:gd name="T2" fmla="*/ 23 h 23"/>
                <a:gd name="T3" fmla="*/ 0 h 23"/>
                <a:gd name="T4" fmla="*/ 0 h 23"/>
                <a:gd name="T5" fmla="*/ 1 h 23"/>
                <a:gd name="T6" fmla="*/ 23 h 23"/>
              </a:gdLst>
              <a:ahLst/>
              <a:cxnLst>
                <a:cxn ang="0">
                  <a:pos x="0" y="T0"/>
                </a:cxn>
                <a:cxn ang="0">
                  <a:pos x="0" y="T1"/>
                </a:cxn>
                <a:cxn ang="0">
                  <a:pos x="0" y="T2"/>
                </a:cxn>
                <a:cxn ang="0">
                  <a:pos x="0" y="T3"/>
                </a:cxn>
                <a:cxn ang="0">
                  <a:pos x="0" y="T4"/>
                </a:cxn>
                <a:cxn ang="0">
                  <a:pos x="0" y="T5"/>
                </a:cxn>
                <a:cxn ang="0">
                  <a:pos x="0" y="T6"/>
                </a:cxn>
              </a:cxnLst>
              <a:rect l="0" t="0" r="r" b="b"/>
              <a:pathLst>
                <a:path h="23">
                  <a:moveTo>
                    <a:pt x="0" y="23"/>
                  </a:moveTo>
                  <a:lnTo>
                    <a:pt x="0" y="23"/>
                  </a:lnTo>
                  <a:lnTo>
                    <a:pt x="0" y="23"/>
                  </a:lnTo>
                  <a:lnTo>
                    <a:pt x="0" y="0"/>
                  </a:lnTo>
                  <a:lnTo>
                    <a:pt x="0" y="0"/>
                  </a:lnTo>
                  <a:lnTo>
                    <a:pt x="0" y="1"/>
                  </a:lnTo>
                  <a:lnTo>
                    <a:pt x="0"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70" name="Freeform 924"/>
            <p:cNvSpPr>
              <a:spLocks/>
            </p:cNvSpPr>
            <p:nvPr/>
          </p:nvSpPr>
          <p:spPr bwMode="auto">
            <a:xfrm>
              <a:off x="2593975" y="4288267"/>
              <a:ext cx="36513" cy="17463"/>
            </a:xfrm>
            <a:custGeom>
              <a:avLst/>
              <a:gdLst>
                <a:gd name="T0" fmla="*/ 14 w 23"/>
                <a:gd name="T1" fmla="*/ 9 h 11"/>
                <a:gd name="T2" fmla="*/ 14 w 23"/>
                <a:gd name="T3" fmla="*/ 9 h 11"/>
                <a:gd name="T4" fmla="*/ 8 w 23"/>
                <a:gd name="T5" fmla="*/ 11 h 11"/>
                <a:gd name="T6" fmla="*/ 4 w 23"/>
                <a:gd name="T7" fmla="*/ 11 h 11"/>
                <a:gd name="T8" fmla="*/ 1 w 23"/>
                <a:gd name="T9" fmla="*/ 9 h 11"/>
                <a:gd name="T10" fmla="*/ 0 w 23"/>
                <a:gd name="T11" fmla="*/ 6 h 11"/>
                <a:gd name="T12" fmla="*/ 0 w 23"/>
                <a:gd name="T13" fmla="*/ 6 h 11"/>
                <a:gd name="T14" fmla="*/ 0 w 23"/>
                <a:gd name="T15" fmla="*/ 3 h 11"/>
                <a:gd name="T16" fmla="*/ 1 w 23"/>
                <a:gd name="T17" fmla="*/ 2 h 11"/>
                <a:gd name="T18" fmla="*/ 4 w 23"/>
                <a:gd name="T19" fmla="*/ 2 h 11"/>
                <a:gd name="T20" fmla="*/ 10 w 23"/>
                <a:gd name="T21" fmla="*/ 0 h 11"/>
                <a:gd name="T22" fmla="*/ 10 w 23"/>
                <a:gd name="T23" fmla="*/ 0 h 11"/>
                <a:gd name="T24" fmla="*/ 17 w 23"/>
                <a:gd name="T25" fmla="*/ 0 h 11"/>
                <a:gd name="T26" fmla="*/ 23 w 23"/>
                <a:gd name="T27" fmla="*/ 2 h 11"/>
                <a:gd name="T28" fmla="*/ 23 w 23"/>
                <a:gd name="T29" fmla="*/ 2 h 11"/>
                <a:gd name="T30" fmla="*/ 23 w 23"/>
                <a:gd name="T31" fmla="*/ 3 h 11"/>
                <a:gd name="T32" fmla="*/ 14 w 23"/>
                <a:gd name="T33"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11">
                  <a:moveTo>
                    <a:pt x="14" y="9"/>
                  </a:moveTo>
                  <a:lnTo>
                    <a:pt x="14" y="9"/>
                  </a:lnTo>
                  <a:lnTo>
                    <a:pt x="8" y="11"/>
                  </a:lnTo>
                  <a:lnTo>
                    <a:pt x="4" y="11"/>
                  </a:lnTo>
                  <a:lnTo>
                    <a:pt x="1" y="9"/>
                  </a:lnTo>
                  <a:lnTo>
                    <a:pt x="0" y="6"/>
                  </a:lnTo>
                  <a:lnTo>
                    <a:pt x="0" y="6"/>
                  </a:lnTo>
                  <a:lnTo>
                    <a:pt x="0" y="3"/>
                  </a:lnTo>
                  <a:lnTo>
                    <a:pt x="1" y="2"/>
                  </a:lnTo>
                  <a:lnTo>
                    <a:pt x="4" y="2"/>
                  </a:lnTo>
                  <a:lnTo>
                    <a:pt x="10" y="0"/>
                  </a:lnTo>
                  <a:lnTo>
                    <a:pt x="10" y="0"/>
                  </a:lnTo>
                  <a:lnTo>
                    <a:pt x="17" y="0"/>
                  </a:lnTo>
                  <a:lnTo>
                    <a:pt x="23" y="2"/>
                  </a:lnTo>
                  <a:lnTo>
                    <a:pt x="23" y="2"/>
                  </a:lnTo>
                  <a:lnTo>
                    <a:pt x="23" y="3"/>
                  </a:lnTo>
                  <a:lnTo>
                    <a:pt x="14" y="9"/>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71" name="Freeform 925"/>
            <p:cNvSpPr>
              <a:spLocks/>
            </p:cNvSpPr>
            <p:nvPr/>
          </p:nvSpPr>
          <p:spPr bwMode="auto">
            <a:xfrm>
              <a:off x="2593975" y="4288267"/>
              <a:ext cx="36513" cy="17463"/>
            </a:xfrm>
            <a:custGeom>
              <a:avLst/>
              <a:gdLst>
                <a:gd name="T0" fmla="*/ 14 w 23"/>
                <a:gd name="T1" fmla="*/ 9 h 11"/>
                <a:gd name="T2" fmla="*/ 14 w 23"/>
                <a:gd name="T3" fmla="*/ 9 h 11"/>
                <a:gd name="T4" fmla="*/ 8 w 23"/>
                <a:gd name="T5" fmla="*/ 11 h 11"/>
                <a:gd name="T6" fmla="*/ 4 w 23"/>
                <a:gd name="T7" fmla="*/ 11 h 11"/>
                <a:gd name="T8" fmla="*/ 1 w 23"/>
                <a:gd name="T9" fmla="*/ 9 h 11"/>
                <a:gd name="T10" fmla="*/ 0 w 23"/>
                <a:gd name="T11" fmla="*/ 6 h 11"/>
                <a:gd name="T12" fmla="*/ 0 w 23"/>
                <a:gd name="T13" fmla="*/ 6 h 11"/>
                <a:gd name="T14" fmla="*/ 0 w 23"/>
                <a:gd name="T15" fmla="*/ 3 h 11"/>
                <a:gd name="T16" fmla="*/ 1 w 23"/>
                <a:gd name="T17" fmla="*/ 2 h 11"/>
                <a:gd name="T18" fmla="*/ 4 w 23"/>
                <a:gd name="T19" fmla="*/ 2 h 11"/>
                <a:gd name="T20" fmla="*/ 10 w 23"/>
                <a:gd name="T21" fmla="*/ 0 h 11"/>
                <a:gd name="T22" fmla="*/ 10 w 23"/>
                <a:gd name="T23" fmla="*/ 0 h 11"/>
                <a:gd name="T24" fmla="*/ 17 w 23"/>
                <a:gd name="T25" fmla="*/ 0 h 11"/>
                <a:gd name="T26" fmla="*/ 23 w 23"/>
                <a:gd name="T27" fmla="*/ 2 h 11"/>
                <a:gd name="T28" fmla="*/ 23 w 23"/>
                <a:gd name="T29" fmla="*/ 2 h 11"/>
                <a:gd name="T30" fmla="*/ 23 w 23"/>
                <a:gd name="T31" fmla="*/ 3 h 11"/>
                <a:gd name="T32" fmla="*/ 14 w 23"/>
                <a:gd name="T33"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11">
                  <a:moveTo>
                    <a:pt x="14" y="9"/>
                  </a:moveTo>
                  <a:lnTo>
                    <a:pt x="14" y="9"/>
                  </a:lnTo>
                  <a:lnTo>
                    <a:pt x="8" y="11"/>
                  </a:lnTo>
                  <a:lnTo>
                    <a:pt x="4" y="11"/>
                  </a:lnTo>
                  <a:lnTo>
                    <a:pt x="1" y="9"/>
                  </a:lnTo>
                  <a:lnTo>
                    <a:pt x="0" y="6"/>
                  </a:lnTo>
                  <a:lnTo>
                    <a:pt x="0" y="6"/>
                  </a:lnTo>
                  <a:lnTo>
                    <a:pt x="0" y="3"/>
                  </a:lnTo>
                  <a:lnTo>
                    <a:pt x="1" y="2"/>
                  </a:lnTo>
                  <a:lnTo>
                    <a:pt x="4" y="2"/>
                  </a:lnTo>
                  <a:lnTo>
                    <a:pt x="10" y="0"/>
                  </a:lnTo>
                  <a:lnTo>
                    <a:pt x="10" y="0"/>
                  </a:lnTo>
                  <a:lnTo>
                    <a:pt x="17" y="0"/>
                  </a:lnTo>
                  <a:lnTo>
                    <a:pt x="23" y="2"/>
                  </a:lnTo>
                  <a:lnTo>
                    <a:pt x="23" y="2"/>
                  </a:lnTo>
                  <a:lnTo>
                    <a:pt x="23" y="3"/>
                  </a:lnTo>
                  <a:lnTo>
                    <a:pt x="14"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72" name="Freeform 926"/>
            <p:cNvSpPr>
              <a:spLocks/>
            </p:cNvSpPr>
            <p:nvPr/>
          </p:nvSpPr>
          <p:spPr bwMode="auto">
            <a:xfrm>
              <a:off x="2697163" y="4307317"/>
              <a:ext cx="6350" cy="9525"/>
            </a:xfrm>
            <a:custGeom>
              <a:avLst/>
              <a:gdLst>
                <a:gd name="T0" fmla="*/ 4 w 4"/>
                <a:gd name="T1" fmla="*/ 4 h 6"/>
                <a:gd name="T2" fmla="*/ 4 w 4"/>
                <a:gd name="T3" fmla="*/ 4 h 6"/>
                <a:gd name="T4" fmla="*/ 3 w 4"/>
                <a:gd name="T5" fmla="*/ 6 h 6"/>
                <a:gd name="T6" fmla="*/ 1 w 4"/>
                <a:gd name="T7" fmla="*/ 4 h 6"/>
                <a:gd name="T8" fmla="*/ 0 w 4"/>
                <a:gd name="T9" fmla="*/ 3 h 6"/>
                <a:gd name="T10" fmla="*/ 1 w 4"/>
                <a:gd name="T11" fmla="*/ 0 h 6"/>
                <a:gd name="T12" fmla="*/ 1 w 4"/>
                <a:gd name="T13" fmla="*/ 0 h 6"/>
                <a:gd name="T14" fmla="*/ 3 w 4"/>
                <a:gd name="T15" fmla="*/ 0 h 6"/>
                <a:gd name="T16" fmla="*/ 4 w 4"/>
                <a:gd name="T17" fmla="*/ 1 h 6"/>
                <a:gd name="T18" fmla="*/ 4 w 4"/>
                <a:gd name="T19" fmla="*/ 3 h 6"/>
                <a:gd name="T20" fmla="*/ 4 w 4"/>
                <a:gd name="T2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6">
                  <a:moveTo>
                    <a:pt x="4" y="4"/>
                  </a:moveTo>
                  <a:lnTo>
                    <a:pt x="4" y="4"/>
                  </a:lnTo>
                  <a:lnTo>
                    <a:pt x="3" y="6"/>
                  </a:lnTo>
                  <a:lnTo>
                    <a:pt x="1" y="4"/>
                  </a:lnTo>
                  <a:lnTo>
                    <a:pt x="0" y="3"/>
                  </a:lnTo>
                  <a:lnTo>
                    <a:pt x="1" y="0"/>
                  </a:lnTo>
                  <a:lnTo>
                    <a:pt x="1" y="0"/>
                  </a:lnTo>
                  <a:lnTo>
                    <a:pt x="3" y="0"/>
                  </a:lnTo>
                  <a:lnTo>
                    <a:pt x="4" y="1"/>
                  </a:lnTo>
                  <a:lnTo>
                    <a:pt x="4" y="3"/>
                  </a:lnTo>
                  <a:lnTo>
                    <a:pt x="4" y="4"/>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73" name="Freeform 927"/>
            <p:cNvSpPr>
              <a:spLocks/>
            </p:cNvSpPr>
            <p:nvPr/>
          </p:nvSpPr>
          <p:spPr bwMode="auto">
            <a:xfrm>
              <a:off x="2697163" y="4307317"/>
              <a:ext cx="6350" cy="9525"/>
            </a:xfrm>
            <a:custGeom>
              <a:avLst/>
              <a:gdLst>
                <a:gd name="T0" fmla="*/ 4 w 4"/>
                <a:gd name="T1" fmla="*/ 4 h 6"/>
                <a:gd name="T2" fmla="*/ 4 w 4"/>
                <a:gd name="T3" fmla="*/ 4 h 6"/>
                <a:gd name="T4" fmla="*/ 3 w 4"/>
                <a:gd name="T5" fmla="*/ 6 h 6"/>
                <a:gd name="T6" fmla="*/ 1 w 4"/>
                <a:gd name="T7" fmla="*/ 4 h 6"/>
                <a:gd name="T8" fmla="*/ 0 w 4"/>
                <a:gd name="T9" fmla="*/ 3 h 6"/>
                <a:gd name="T10" fmla="*/ 1 w 4"/>
                <a:gd name="T11" fmla="*/ 0 h 6"/>
                <a:gd name="T12" fmla="*/ 1 w 4"/>
                <a:gd name="T13" fmla="*/ 0 h 6"/>
                <a:gd name="T14" fmla="*/ 3 w 4"/>
                <a:gd name="T15" fmla="*/ 0 h 6"/>
                <a:gd name="T16" fmla="*/ 4 w 4"/>
                <a:gd name="T17" fmla="*/ 1 h 6"/>
                <a:gd name="T18" fmla="*/ 4 w 4"/>
                <a:gd name="T19" fmla="*/ 3 h 6"/>
                <a:gd name="T20" fmla="*/ 4 w 4"/>
                <a:gd name="T2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6">
                  <a:moveTo>
                    <a:pt x="4" y="4"/>
                  </a:moveTo>
                  <a:lnTo>
                    <a:pt x="4" y="4"/>
                  </a:lnTo>
                  <a:lnTo>
                    <a:pt x="3" y="6"/>
                  </a:lnTo>
                  <a:lnTo>
                    <a:pt x="1" y="4"/>
                  </a:lnTo>
                  <a:lnTo>
                    <a:pt x="0" y="3"/>
                  </a:lnTo>
                  <a:lnTo>
                    <a:pt x="1" y="0"/>
                  </a:lnTo>
                  <a:lnTo>
                    <a:pt x="1" y="0"/>
                  </a:lnTo>
                  <a:lnTo>
                    <a:pt x="3" y="0"/>
                  </a:lnTo>
                  <a:lnTo>
                    <a:pt x="4" y="1"/>
                  </a:lnTo>
                  <a:lnTo>
                    <a:pt x="4" y="3"/>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74" name="Freeform 928"/>
            <p:cNvSpPr>
              <a:spLocks/>
            </p:cNvSpPr>
            <p:nvPr/>
          </p:nvSpPr>
          <p:spPr bwMode="auto">
            <a:xfrm>
              <a:off x="2724150" y="4321604"/>
              <a:ext cx="9525" cy="6350"/>
            </a:xfrm>
            <a:custGeom>
              <a:avLst/>
              <a:gdLst>
                <a:gd name="T0" fmla="*/ 2 w 6"/>
                <a:gd name="T1" fmla="*/ 4 h 4"/>
                <a:gd name="T2" fmla="*/ 2 w 6"/>
                <a:gd name="T3" fmla="*/ 4 h 4"/>
                <a:gd name="T4" fmla="*/ 0 w 6"/>
                <a:gd name="T5" fmla="*/ 3 h 4"/>
                <a:gd name="T6" fmla="*/ 0 w 6"/>
                <a:gd name="T7" fmla="*/ 1 h 4"/>
                <a:gd name="T8" fmla="*/ 3 w 6"/>
                <a:gd name="T9" fmla="*/ 0 h 4"/>
                <a:gd name="T10" fmla="*/ 6 w 6"/>
                <a:gd name="T11" fmla="*/ 0 h 4"/>
                <a:gd name="T12" fmla="*/ 6 w 6"/>
                <a:gd name="T13" fmla="*/ 0 h 4"/>
                <a:gd name="T14" fmla="*/ 6 w 6"/>
                <a:gd name="T15" fmla="*/ 1 h 4"/>
                <a:gd name="T16" fmla="*/ 5 w 6"/>
                <a:gd name="T17" fmla="*/ 3 h 4"/>
                <a:gd name="T18" fmla="*/ 2 w 6"/>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2" y="4"/>
                  </a:moveTo>
                  <a:lnTo>
                    <a:pt x="2" y="4"/>
                  </a:lnTo>
                  <a:lnTo>
                    <a:pt x="0" y="3"/>
                  </a:lnTo>
                  <a:lnTo>
                    <a:pt x="0" y="1"/>
                  </a:lnTo>
                  <a:lnTo>
                    <a:pt x="3" y="0"/>
                  </a:lnTo>
                  <a:lnTo>
                    <a:pt x="6" y="0"/>
                  </a:lnTo>
                  <a:lnTo>
                    <a:pt x="6" y="0"/>
                  </a:lnTo>
                  <a:lnTo>
                    <a:pt x="6" y="1"/>
                  </a:lnTo>
                  <a:lnTo>
                    <a:pt x="5" y="3"/>
                  </a:lnTo>
                  <a:lnTo>
                    <a:pt x="2" y="4"/>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75" name="Freeform 929"/>
            <p:cNvSpPr>
              <a:spLocks/>
            </p:cNvSpPr>
            <p:nvPr/>
          </p:nvSpPr>
          <p:spPr bwMode="auto">
            <a:xfrm>
              <a:off x="2724150" y="4321604"/>
              <a:ext cx="9525" cy="6350"/>
            </a:xfrm>
            <a:custGeom>
              <a:avLst/>
              <a:gdLst>
                <a:gd name="T0" fmla="*/ 2 w 6"/>
                <a:gd name="T1" fmla="*/ 4 h 4"/>
                <a:gd name="T2" fmla="*/ 2 w 6"/>
                <a:gd name="T3" fmla="*/ 4 h 4"/>
                <a:gd name="T4" fmla="*/ 0 w 6"/>
                <a:gd name="T5" fmla="*/ 3 h 4"/>
                <a:gd name="T6" fmla="*/ 0 w 6"/>
                <a:gd name="T7" fmla="*/ 1 h 4"/>
                <a:gd name="T8" fmla="*/ 3 w 6"/>
                <a:gd name="T9" fmla="*/ 0 h 4"/>
                <a:gd name="T10" fmla="*/ 6 w 6"/>
                <a:gd name="T11" fmla="*/ 0 h 4"/>
                <a:gd name="T12" fmla="*/ 6 w 6"/>
                <a:gd name="T13" fmla="*/ 0 h 4"/>
                <a:gd name="T14" fmla="*/ 6 w 6"/>
                <a:gd name="T15" fmla="*/ 1 h 4"/>
                <a:gd name="T16" fmla="*/ 5 w 6"/>
                <a:gd name="T17" fmla="*/ 3 h 4"/>
                <a:gd name="T18" fmla="*/ 2 w 6"/>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2" y="4"/>
                  </a:moveTo>
                  <a:lnTo>
                    <a:pt x="2" y="4"/>
                  </a:lnTo>
                  <a:lnTo>
                    <a:pt x="0" y="3"/>
                  </a:lnTo>
                  <a:lnTo>
                    <a:pt x="0" y="1"/>
                  </a:lnTo>
                  <a:lnTo>
                    <a:pt x="3" y="0"/>
                  </a:lnTo>
                  <a:lnTo>
                    <a:pt x="6" y="0"/>
                  </a:lnTo>
                  <a:lnTo>
                    <a:pt x="6" y="0"/>
                  </a:lnTo>
                  <a:lnTo>
                    <a:pt x="6" y="1"/>
                  </a:lnTo>
                  <a:lnTo>
                    <a:pt x="5" y="3"/>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76" name="Freeform 930"/>
            <p:cNvSpPr>
              <a:spLocks/>
            </p:cNvSpPr>
            <p:nvPr/>
          </p:nvSpPr>
          <p:spPr bwMode="auto">
            <a:xfrm>
              <a:off x="2738438" y="4367642"/>
              <a:ext cx="4763" cy="6350"/>
            </a:xfrm>
            <a:custGeom>
              <a:avLst/>
              <a:gdLst>
                <a:gd name="T0" fmla="*/ 3 w 3"/>
                <a:gd name="T1" fmla="*/ 4 h 4"/>
                <a:gd name="T2" fmla="*/ 3 w 3"/>
                <a:gd name="T3" fmla="*/ 4 h 4"/>
                <a:gd name="T4" fmla="*/ 1 w 3"/>
                <a:gd name="T5" fmla="*/ 4 h 4"/>
                <a:gd name="T6" fmla="*/ 0 w 3"/>
                <a:gd name="T7" fmla="*/ 3 h 4"/>
                <a:gd name="T8" fmla="*/ 1 w 3"/>
                <a:gd name="T9" fmla="*/ 1 h 4"/>
                <a:gd name="T10" fmla="*/ 1 w 3"/>
                <a:gd name="T11" fmla="*/ 0 h 4"/>
                <a:gd name="T12" fmla="*/ 1 w 3"/>
                <a:gd name="T13" fmla="*/ 0 h 4"/>
                <a:gd name="T14" fmla="*/ 3 w 3"/>
                <a:gd name="T15" fmla="*/ 0 h 4"/>
                <a:gd name="T16" fmla="*/ 3 w 3"/>
                <a:gd name="T17" fmla="*/ 0 h 4"/>
                <a:gd name="T18" fmla="*/ 3 w 3"/>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3" y="4"/>
                  </a:moveTo>
                  <a:lnTo>
                    <a:pt x="3" y="4"/>
                  </a:lnTo>
                  <a:lnTo>
                    <a:pt x="1" y="4"/>
                  </a:lnTo>
                  <a:lnTo>
                    <a:pt x="0" y="3"/>
                  </a:lnTo>
                  <a:lnTo>
                    <a:pt x="1" y="1"/>
                  </a:lnTo>
                  <a:lnTo>
                    <a:pt x="1" y="0"/>
                  </a:lnTo>
                  <a:lnTo>
                    <a:pt x="1" y="0"/>
                  </a:lnTo>
                  <a:lnTo>
                    <a:pt x="3" y="0"/>
                  </a:lnTo>
                  <a:lnTo>
                    <a:pt x="3" y="0"/>
                  </a:lnTo>
                  <a:lnTo>
                    <a:pt x="3" y="4"/>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77" name="Freeform 931"/>
            <p:cNvSpPr>
              <a:spLocks/>
            </p:cNvSpPr>
            <p:nvPr/>
          </p:nvSpPr>
          <p:spPr bwMode="auto">
            <a:xfrm>
              <a:off x="2738438" y="4367642"/>
              <a:ext cx="4763" cy="6350"/>
            </a:xfrm>
            <a:custGeom>
              <a:avLst/>
              <a:gdLst>
                <a:gd name="T0" fmla="*/ 3 w 3"/>
                <a:gd name="T1" fmla="*/ 4 h 4"/>
                <a:gd name="T2" fmla="*/ 3 w 3"/>
                <a:gd name="T3" fmla="*/ 4 h 4"/>
                <a:gd name="T4" fmla="*/ 1 w 3"/>
                <a:gd name="T5" fmla="*/ 4 h 4"/>
                <a:gd name="T6" fmla="*/ 0 w 3"/>
                <a:gd name="T7" fmla="*/ 3 h 4"/>
                <a:gd name="T8" fmla="*/ 1 w 3"/>
                <a:gd name="T9" fmla="*/ 1 h 4"/>
                <a:gd name="T10" fmla="*/ 1 w 3"/>
                <a:gd name="T11" fmla="*/ 0 h 4"/>
                <a:gd name="T12" fmla="*/ 1 w 3"/>
                <a:gd name="T13" fmla="*/ 0 h 4"/>
                <a:gd name="T14" fmla="*/ 3 w 3"/>
                <a:gd name="T15" fmla="*/ 0 h 4"/>
                <a:gd name="T16" fmla="*/ 3 w 3"/>
                <a:gd name="T17" fmla="*/ 0 h 4"/>
                <a:gd name="T18" fmla="*/ 3 w 3"/>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3" y="4"/>
                  </a:moveTo>
                  <a:lnTo>
                    <a:pt x="3" y="4"/>
                  </a:lnTo>
                  <a:lnTo>
                    <a:pt x="1" y="4"/>
                  </a:lnTo>
                  <a:lnTo>
                    <a:pt x="0" y="3"/>
                  </a:lnTo>
                  <a:lnTo>
                    <a:pt x="1" y="1"/>
                  </a:lnTo>
                  <a:lnTo>
                    <a:pt x="1" y="0"/>
                  </a:lnTo>
                  <a:lnTo>
                    <a:pt x="1" y="0"/>
                  </a:lnTo>
                  <a:lnTo>
                    <a:pt x="3" y="0"/>
                  </a:lnTo>
                  <a:lnTo>
                    <a:pt x="3" y="0"/>
                  </a:lnTo>
                  <a:lnTo>
                    <a:pt x="3"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78" name="Freeform 932"/>
            <p:cNvSpPr>
              <a:spLocks/>
            </p:cNvSpPr>
            <p:nvPr/>
          </p:nvSpPr>
          <p:spPr bwMode="auto">
            <a:xfrm>
              <a:off x="2727325" y="4451779"/>
              <a:ext cx="9525" cy="9525"/>
            </a:xfrm>
            <a:custGeom>
              <a:avLst/>
              <a:gdLst>
                <a:gd name="T0" fmla="*/ 4 w 6"/>
                <a:gd name="T1" fmla="*/ 5 h 6"/>
                <a:gd name="T2" fmla="*/ 4 w 6"/>
                <a:gd name="T3" fmla="*/ 5 h 6"/>
                <a:gd name="T4" fmla="*/ 3 w 6"/>
                <a:gd name="T5" fmla="*/ 6 h 6"/>
                <a:gd name="T6" fmla="*/ 1 w 6"/>
                <a:gd name="T7" fmla="*/ 5 h 6"/>
                <a:gd name="T8" fmla="*/ 0 w 6"/>
                <a:gd name="T9" fmla="*/ 3 h 6"/>
                <a:gd name="T10" fmla="*/ 0 w 6"/>
                <a:gd name="T11" fmla="*/ 2 h 6"/>
                <a:gd name="T12" fmla="*/ 0 w 6"/>
                <a:gd name="T13" fmla="*/ 2 h 6"/>
                <a:gd name="T14" fmla="*/ 3 w 6"/>
                <a:gd name="T15" fmla="*/ 0 h 6"/>
                <a:gd name="T16" fmla="*/ 4 w 6"/>
                <a:gd name="T17" fmla="*/ 0 h 6"/>
                <a:gd name="T18" fmla="*/ 6 w 6"/>
                <a:gd name="T19" fmla="*/ 2 h 6"/>
                <a:gd name="T20" fmla="*/ 4 w 6"/>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4" y="5"/>
                  </a:moveTo>
                  <a:lnTo>
                    <a:pt x="4" y="5"/>
                  </a:lnTo>
                  <a:lnTo>
                    <a:pt x="3" y="6"/>
                  </a:lnTo>
                  <a:lnTo>
                    <a:pt x="1" y="5"/>
                  </a:lnTo>
                  <a:lnTo>
                    <a:pt x="0" y="3"/>
                  </a:lnTo>
                  <a:lnTo>
                    <a:pt x="0" y="2"/>
                  </a:lnTo>
                  <a:lnTo>
                    <a:pt x="0" y="2"/>
                  </a:lnTo>
                  <a:lnTo>
                    <a:pt x="3" y="0"/>
                  </a:lnTo>
                  <a:lnTo>
                    <a:pt x="4" y="0"/>
                  </a:lnTo>
                  <a:lnTo>
                    <a:pt x="6" y="2"/>
                  </a:lnTo>
                  <a:lnTo>
                    <a:pt x="4" y="5"/>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79" name="Freeform 933"/>
            <p:cNvSpPr>
              <a:spLocks/>
            </p:cNvSpPr>
            <p:nvPr/>
          </p:nvSpPr>
          <p:spPr bwMode="auto">
            <a:xfrm>
              <a:off x="2727325" y="4451779"/>
              <a:ext cx="9525" cy="9525"/>
            </a:xfrm>
            <a:custGeom>
              <a:avLst/>
              <a:gdLst>
                <a:gd name="T0" fmla="*/ 4 w 6"/>
                <a:gd name="T1" fmla="*/ 5 h 6"/>
                <a:gd name="T2" fmla="*/ 4 w 6"/>
                <a:gd name="T3" fmla="*/ 5 h 6"/>
                <a:gd name="T4" fmla="*/ 3 w 6"/>
                <a:gd name="T5" fmla="*/ 6 h 6"/>
                <a:gd name="T6" fmla="*/ 1 w 6"/>
                <a:gd name="T7" fmla="*/ 5 h 6"/>
                <a:gd name="T8" fmla="*/ 0 w 6"/>
                <a:gd name="T9" fmla="*/ 3 h 6"/>
                <a:gd name="T10" fmla="*/ 0 w 6"/>
                <a:gd name="T11" fmla="*/ 2 h 6"/>
                <a:gd name="T12" fmla="*/ 0 w 6"/>
                <a:gd name="T13" fmla="*/ 2 h 6"/>
                <a:gd name="T14" fmla="*/ 3 w 6"/>
                <a:gd name="T15" fmla="*/ 0 h 6"/>
                <a:gd name="T16" fmla="*/ 4 w 6"/>
                <a:gd name="T17" fmla="*/ 0 h 6"/>
                <a:gd name="T18" fmla="*/ 6 w 6"/>
                <a:gd name="T19" fmla="*/ 2 h 6"/>
                <a:gd name="T20" fmla="*/ 4 w 6"/>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4" y="5"/>
                  </a:moveTo>
                  <a:lnTo>
                    <a:pt x="4" y="5"/>
                  </a:lnTo>
                  <a:lnTo>
                    <a:pt x="3" y="6"/>
                  </a:lnTo>
                  <a:lnTo>
                    <a:pt x="1" y="5"/>
                  </a:lnTo>
                  <a:lnTo>
                    <a:pt x="0" y="3"/>
                  </a:lnTo>
                  <a:lnTo>
                    <a:pt x="0" y="2"/>
                  </a:lnTo>
                  <a:lnTo>
                    <a:pt x="0" y="2"/>
                  </a:lnTo>
                  <a:lnTo>
                    <a:pt x="3" y="0"/>
                  </a:lnTo>
                  <a:lnTo>
                    <a:pt x="4" y="0"/>
                  </a:lnTo>
                  <a:lnTo>
                    <a:pt x="6" y="2"/>
                  </a:lnTo>
                  <a:lnTo>
                    <a:pt x="4"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80" name="Freeform 934"/>
            <p:cNvSpPr>
              <a:spLocks/>
            </p:cNvSpPr>
            <p:nvPr/>
          </p:nvSpPr>
          <p:spPr bwMode="auto">
            <a:xfrm>
              <a:off x="2781300" y="4420029"/>
              <a:ext cx="12700" cy="11113"/>
            </a:xfrm>
            <a:custGeom>
              <a:avLst/>
              <a:gdLst>
                <a:gd name="T0" fmla="*/ 6 w 8"/>
                <a:gd name="T1" fmla="*/ 6 h 7"/>
                <a:gd name="T2" fmla="*/ 6 w 8"/>
                <a:gd name="T3" fmla="*/ 6 h 7"/>
                <a:gd name="T4" fmla="*/ 5 w 8"/>
                <a:gd name="T5" fmla="*/ 7 h 7"/>
                <a:gd name="T6" fmla="*/ 2 w 8"/>
                <a:gd name="T7" fmla="*/ 6 h 7"/>
                <a:gd name="T8" fmla="*/ 0 w 8"/>
                <a:gd name="T9" fmla="*/ 4 h 7"/>
                <a:gd name="T10" fmla="*/ 2 w 8"/>
                <a:gd name="T11" fmla="*/ 1 h 7"/>
                <a:gd name="T12" fmla="*/ 2 w 8"/>
                <a:gd name="T13" fmla="*/ 1 h 7"/>
                <a:gd name="T14" fmla="*/ 5 w 8"/>
                <a:gd name="T15" fmla="*/ 0 h 7"/>
                <a:gd name="T16" fmla="*/ 8 w 8"/>
                <a:gd name="T17" fmla="*/ 0 h 7"/>
                <a:gd name="T18" fmla="*/ 8 w 8"/>
                <a:gd name="T19" fmla="*/ 1 h 7"/>
                <a:gd name="T20" fmla="*/ 6 w 8"/>
                <a:gd name="T21"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7">
                  <a:moveTo>
                    <a:pt x="6" y="6"/>
                  </a:moveTo>
                  <a:lnTo>
                    <a:pt x="6" y="6"/>
                  </a:lnTo>
                  <a:lnTo>
                    <a:pt x="5" y="7"/>
                  </a:lnTo>
                  <a:lnTo>
                    <a:pt x="2" y="6"/>
                  </a:lnTo>
                  <a:lnTo>
                    <a:pt x="0" y="4"/>
                  </a:lnTo>
                  <a:lnTo>
                    <a:pt x="2" y="1"/>
                  </a:lnTo>
                  <a:lnTo>
                    <a:pt x="2" y="1"/>
                  </a:lnTo>
                  <a:lnTo>
                    <a:pt x="5" y="0"/>
                  </a:lnTo>
                  <a:lnTo>
                    <a:pt x="8" y="0"/>
                  </a:lnTo>
                  <a:lnTo>
                    <a:pt x="8" y="1"/>
                  </a:lnTo>
                  <a:lnTo>
                    <a:pt x="6" y="6"/>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81" name="Freeform 935"/>
            <p:cNvSpPr>
              <a:spLocks/>
            </p:cNvSpPr>
            <p:nvPr/>
          </p:nvSpPr>
          <p:spPr bwMode="auto">
            <a:xfrm>
              <a:off x="2781300" y="4420029"/>
              <a:ext cx="12700" cy="11113"/>
            </a:xfrm>
            <a:custGeom>
              <a:avLst/>
              <a:gdLst>
                <a:gd name="T0" fmla="*/ 6 w 8"/>
                <a:gd name="T1" fmla="*/ 6 h 7"/>
                <a:gd name="T2" fmla="*/ 6 w 8"/>
                <a:gd name="T3" fmla="*/ 6 h 7"/>
                <a:gd name="T4" fmla="*/ 5 w 8"/>
                <a:gd name="T5" fmla="*/ 7 h 7"/>
                <a:gd name="T6" fmla="*/ 2 w 8"/>
                <a:gd name="T7" fmla="*/ 6 h 7"/>
                <a:gd name="T8" fmla="*/ 0 w 8"/>
                <a:gd name="T9" fmla="*/ 4 h 7"/>
                <a:gd name="T10" fmla="*/ 2 w 8"/>
                <a:gd name="T11" fmla="*/ 1 h 7"/>
                <a:gd name="T12" fmla="*/ 2 w 8"/>
                <a:gd name="T13" fmla="*/ 1 h 7"/>
                <a:gd name="T14" fmla="*/ 5 w 8"/>
                <a:gd name="T15" fmla="*/ 0 h 7"/>
                <a:gd name="T16" fmla="*/ 8 w 8"/>
                <a:gd name="T17" fmla="*/ 0 h 7"/>
                <a:gd name="T18" fmla="*/ 8 w 8"/>
                <a:gd name="T19" fmla="*/ 1 h 7"/>
                <a:gd name="T20" fmla="*/ 6 w 8"/>
                <a:gd name="T21"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7">
                  <a:moveTo>
                    <a:pt x="6" y="6"/>
                  </a:moveTo>
                  <a:lnTo>
                    <a:pt x="6" y="6"/>
                  </a:lnTo>
                  <a:lnTo>
                    <a:pt x="5" y="7"/>
                  </a:lnTo>
                  <a:lnTo>
                    <a:pt x="2" y="6"/>
                  </a:lnTo>
                  <a:lnTo>
                    <a:pt x="0" y="4"/>
                  </a:lnTo>
                  <a:lnTo>
                    <a:pt x="2" y="1"/>
                  </a:lnTo>
                  <a:lnTo>
                    <a:pt x="2" y="1"/>
                  </a:lnTo>
                  <a:lnTo>
                    <a:pt x="5" y="0"/>
                  </a:lnTo>
                  <a:lnTo>
                    <a:pt x="8" y="0"/>
                  </a:lnTo>
                  <a:lnTo>
                    <a:pt x="8" y="1"/>
                  </a:lnTo>
                  <a:lnTo>
                    <a:pt x="6"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82" name="Freeform 936"/>
            <p:cNvSpPr>
              <a:spLocks/>
            </p:cNvSpPr>
            <p:nvPr/>
          </p:nvSpPr>
          <p:spPr bwMode="auto">
            <a:xfrm>
              <a:off x="2308225" y="4108879"/>
              <a:ext cx="11113" cy="17463"/>
            </a:xfrm>
            <a:custGeom>
              <a:avLst/>
              <a:gdLst>
                <a:gd name="T0" fmla="*/ 7 w 7"/>
                <a:gd name="T1" fmla="*/ 9 h 11"/>
                <a:gd name="T2" fmla="*/ 7 w 7"/>
                <a:gd name="T3" fmla="*/ 9 h 11"/>
                <a:gd name="T4" fmla="*/ 4 w 7"/>
                <a:gd name="T5" fmla="*/ 11 h 11"/>
                <a:gd name="T6" fmla="*/ 3 w 7"/>
                <a:gd name="T7" fmla="*/ 9 h 11"/>
                <a:gd name="T8" fmla="*/ 2 w 7"/>
                <a:gd name="T9" fmla="*/ 8 h 11"/>
                <a:gd name="T10" fmla="*/ 0 w 7"/>
                <a:gd name="T11" fmla="*/ 6 h 11"/>
                <a:gd name="T12" fmla="*/ 0 w 7"/>
                <a:gd name="T13" fmla="*/ 6 h 11"/>
                <a:gd name="T14" fmla="*/ 0 w 7"/>
                <a:gd name="T15" fmla="*/ 2 h 11"/>
                <a:gd name="T16" fmla="*/ 0 w 7"/>
                <a:gd name="T17" fmla="*/ 0 h 11"/>
                <a:gd name="T18" fmla="*/ 3 w 7"/>
                <a:gd name="T19" fmla="*/ 0 h 11"/>
                <a:gd name="T20" fmla="*/ 3 w 7"/>
                <a:gd name="T21" fmla="*/ 0 h 11"/>
                <a:gd name="T22" fmla="*/ 6 w 7"/>
                <a:gd name="T23" fmla="*/ 2 h 11"/>
                <a:gd name="T24" fmla="*/ 7 w 7"/>
                <a:gd name="T25" fmla="*/ 5 h 11"/>
                <a:gd name="T26" fmla="*/ 7 w 7"/>
                <a:gd name="T27" fmla="*/ 8 h 11"/>
                <a:gd name="T28" fmla="*/ 7 w 7"/>
                <a:gd name="T2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1">
                  <a:moveTo>
                    <a:pt x="7" y="9"/>
                  </a:moveTo>
                  <a:lnTo>
                    <a:pt x="7" y="9"/>
                  </a:lnTo>
                  <a:lnTo>
                    <a:pt x="4" y="11"/>
                  </a:lnTo>
                  <a:lnTo>
                    <a:pt x="3" y="9"/>
                  </a:lnTo>
                  <a:lnTo>
                    <a:pt x="2" y="8"/>
                  </a:lnTo>
                  <a:lnTo>
                    <a:pt x="0" y="6"/>
                  </a:lnTo>
                  <a:lnTo>
                    <a:pt x="0" y="6"/>
                  </a:lnTo>
                  <a:lnTo>
                    <a:pt x="0" y="2"/>
                  </a:lnTo>
                  <a:lnTo>
                    <a:pt x="0" y="0"/>
                  </a:lnTo>
                  <a:lnTo>
                    <a:pt x="3" y="0"/>
                  </a:lnTo>
                  <a:lnTo>
                    <a:pt x="3" y="0"/>
                  </a:lnTo>
                  <a:lnTo>
                    <a:pt x="6" y="2"/>
                  </a:lnTo>
                  <a:lnTo>
                    <a:pt x="7" y="5"/>
                  </a:lnTo>
                  <a:lnTo>
                    <a:pt x="7" y="8"/>
                  </a:lnTo>
                  <a:lnTo>
                    <a:pt x="7" y="9"/>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83" name="Freeform 937"/>
            <p:cNvSpPr>
              <a:spLocks/>
            </p:cNvSpPr>
            <p:nvPr/>
          </p:nvSpPr>
          <p:spPr bwMode="auto">
            <a:xfrm>
              <a:off x="2308225" y="4108879"/>
              <a:ext cx="11113" cy="17463"/>
            </a:xfrm>
            <a:custGeom>
              <a:avLst/>
              <a:gdLst>
                <a:gd name="T0" fmla="*/ 7 w 7"/>
                <a:gd name="T1" fmla="*/ 9 h 11"/>
                <a:gd name="T2" fmla="*/ 7 w 7"/>
                <a:gd name="T3" fmla="*/ 9 h 11"/>
                <a:gd name="T4" fmla="*/ 4 w 7"/>
                <a:gd name="T5" fmla="*/ 11 h 11"/>
                <a:gd name="T6" fmla="*/ 3 w 7"/>
                <a:gd name="T7" fmla="*/ 9 h 11"/>
                <a:gd name="T8" fmla="*/ 2 w 7"/>
                <a:gd name="T9" fmla="*/ 8 h 11"/>
                <a:gd name="T10" fmla="*/ 0 w 7"/>
                <a:gd name="T11" fmla="*/ 6 h 11"/>
                <a:gd name="T12" fmla="*/ 0 w 7"/>
                <a:gd name="T13" fmla="*/ 6 h 11"/>
                <a:gd name="T14" fmla="*/ 0 w 7"/>
                <a:gd name="T15" fmla="*/ 2 h 11"/>
                <a:gd name="T16" fmla="*/ 0 w 7"/>
                <a:gd name="T17" fmla="*/ 0 h 11"/>
                <a:gd name="T18" fmla="*/ 3 w 7"/>
                <a:gd name="T19" fmla="*/ 0 h 11"/>
                <a:gd name="T20" fmla="*/ 3 w 7"/>
                <a:gd name="T21" fmla="*/ 0 h 11"/>
                <a:gd name="T22" fmla="*/ 6 w 7"/>
                <a:gd name="T23" fmla="*/ 2 h 11"/>
                <a:gd name="T24" fmla="*/ 7 w 7"/>
                <a:gd name="T25" fmla="*/ 5 h 11"/>
                <a:gd name="T26" fmla="*/ 7 w 7"/>
                <a:gd name="T27" fmla="*/ 8 h 11"/>
                <a:gd name="T28" fmla="*/ 7 w 7"/>
                <a:gd name="T2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1">
                  <a:moveTo>
                    <a:pt x="7" y="9"/>
                  </a:moveTo>
                  <a:lnTo>
                    <a:pt x="7" y="9"/>
                  </a:lnTo>
                  <a:lnTo>
                    <a:pt x="4" y="11"/>
                  </a:lnTo>
                  <a:lnTo>
                    <a:pt x="3" y="9"/>
                  </a:lnTo>
                  <a:lnTo>
                    <a:pt x="2" y="8"/>
                  </a:lnTo>
                  <a:lnTo>
                    <a:pt x="0" y="6"/>
                  </a:lnTo>
                  <a:lnTo>
                    <a:pt x="0" y="6"/>
                  </a:lnTo>
                  <a:lnTo>
                    <a:pt x="0" y="2"/>
                  </a:lnTo>
                  <a:lnTo>
                    <a:pt x="0" y="0"/>
                  </a:lnTo>
                  <a:lnTo>
                    <a:pt x="3" y="0"/>
                  </a:lnTo>
                  <a:lnTo>
                    <a:pt x="3" y="0"/>
                  </a:lnTo>
                  <a:lnTo>
                    <a:pt x="6" y="2"/>
                  </a:lnTo>
                  <a:lnTo>
                    <a:pt x="7" y="5"/>
                  </a:lnTo>
                  <a:lnTo>
                    <a:pt x="7" y="8"/>
                  </a:lnTo>
                  <a:lnTo>
                    <a:pt x="7"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84" name="Freeform 938"/>
            <p:cNvSpPr>
              <a:spLocks/>
            </p:cNvSpPr>
            <p:nvPr/>
          </p:nvSpPr>
          <p:spPr bwMode="auto">
            <a:xfrm>
              <a:off x="2317750" y="4132692"/>
              <a:ext cx="6350" cy="6350"/>
            </a:xfrm>
            <a:custGeom>
              <a:avLst/>
              <a:gdLst>
                <a:gd name="T0" fmla="*/ 1 w 4"/>
                <a:gd name="T1" fmla="*/ 4 h 4"/>
                <a:gd name="T2" fmla="*/ 1 w 4"/>
                <a:gd name="T3" fmla="*/ 4 h 4"/>
                <a:gd name="T4" fmla="*/ 0 w 4"/>
                <a:gd name="T5" fmla="*/ 4 h 4"/>
                <a:gd name="T6" fmla="*/ 0 w 4"/>
                <a:gd name="T7" fmla="*/ 3 h 4"/>
                <a:gd name="T8" fmla="*/ 0 w 4"/>
                <a:gd name="T9" fmla="*/ 0 h 4"/>
                <a:gd name="T10" fmla="*/ 3 w 4"/>
                <a:gd name="T11" fmla="*/ 0 h 4"/>
                <a:gd name="T12" fmla="*/ 3 w 4"/>
                <a:gd name="T13" fmla="*/ 0 h 4"/>
                <a:gd name="T14" fmla="*/ 3 w 4"/>
                <a:gd name="T15" fmla="*/ 0 h 4"/>
                <a:gd name="T16" fmla="*/ 4 w 4"/>
                <a:gd name="T17" fmla="*/ 1 h 4"/>
                <a:gd name="T18" fmla="*/ 3 w 4"/>
                <a:gd name="T19" fmla="*/ 3 h 4"/>
                <a:gd name="T20" fmla="*/ 1 w 4"/>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1" y="4"/>
                  </a:moveTo>
                  <a:lnTo>
                    <a:pt x="1" y="4"/>
                  </a:lnTo>
                  <a:lnTo>
                    <a:pt x="0" y="4"/>
                  </a:lnTo>
                  <a:lnTo>
                    <a:pt x="0" y="3"/>
                  </a:lnTo>
                  <a:lnTo>
                    <a:pt x="0" y="0"/>
                  </a:lnTo>
                  <a:lnTo>
                    <a:pt x="3" y="0"/>
                  </a:lnTo>
                  <a:lnTo>
                    <a:pt x="3" y="0"/>
                  </a:lnTo>
                  <a:lnTo>
                    <a:pt x="3" y="0"/>
                  </a:lnTo>
                  <a:lnTo>
                    <a:pt x="4" y="1"/>
                  </a:lnTo>
                  <a:lnTo>
                    <a:pt x="3" y="3"/>
                  </a:lnTo>
                  <a:lnTo>
                    <a:pt x="1" y="4"/>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85" name="Freeform 939"/>
            <p:cNvSpPr>
              <a:spLocks/>
            </p:cNvSpPr>
            <p:nvPr/>
          </p:nvSpPr>
          <p:spPr bwMode="auto">
            <a:xfrm>
              <a:off x="2317750" y="4132692"/>
              <a:ext cx="6350" cy="6350"/>
            </a:xfrm>
            <a:custGeom>
              <a:avLst/>
              <a:gdLst>
                <a:gd name="T0" fmla="*/ 1 w 4"/>
                <a:gd name="T1" fmla="*/ 4 h 4"/>
                <a:gd name="T2" fmla="*/ 1 w 4"/>
                <a:gd name="T3" fmla="*/ 4 h 4"/>
                <a:gd name="T4" fmla="*/ 0 w 4"/>
                <a:gd name="T5" fmla="*/ 4 h 4"/>
                <a:gd name="T6" fmla="*/ 0 w 4"/>
                <a:gd name="T7" fmla="*/ 3 h 4"/>
                <a:gd name="T8" fmla="*/ 0 w 4"/>
                <a:gd name="T9" fmla="*/ 0 h 4"/>
                <a:gd name="T10" fmla="*/ 3 w 4"/>
                <a:gd name="T11" fmla="*/ 0 h 4"/>
                <a:gd name="T12" fmla="*/ 3 w 4"/>
                <a:gd name="T13" fmla="*/ 0 h 4"/>
                <a:gd name="T14" fmla="*/ 3 w 4"/>
                <a:gd name="T15" fmla="*/ 0 h 4"/>
                <a:gd name="T16" fmla="*/ 4 w 4"/>
                <a:gd name="T17" fmla="*/ 1 h 4"/>
                <a:gd name="T18" fmla="*/ 3 w 4"/>
                <a:gd name="T19" fmla="*/ 3 h 4"/>
                <a:gd name="T20" fmla="*/ 1 w 4"/>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1" y="4"/>
                  </a:moveTo>
                  <a:lnTo>
                    <a:pt x="1" y="4"/>
                  </a:lnTo>
                  <a:lnTo>
                    <a:pt x="0" y="4"/>
                  </a:lnTo>
                  <a:lnTo>
                    <a:pt x="0" y="3"/>
                  </a:lnTo>
                  <a:lnTo>
                    <a:pt x="0" y="0"/>
                  </a:lnTo>
                  <a:lnTo>
                    <a:pt x="3" y="0"/>
                  </a:lnTo>
                  <a:lnTo>
                    <a:pt x="3" y="0"/>
                  </a:lnTo>
                  <a:lnTo>
                    <a:pt x="3" y="0"/>
                  </a:lnTo>
                  <a:lnTo>
                    <a:pt x="4" y="1"/>
                  </a:lnTo>
                  <a:lnTo>
                    <a:pt x="3" y="3"/>
                  </a:lnTo>
                  <a:lnTo>
                    <a:pt x="1"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86" name="Freeform 940"/>
            <p:cNvSpPr>
              <a:spLocks/>
            </p:cNvSpPr>
            <p:nvPr/>
          </p:nvSpPr>
          <p:spPr bwMode="auto">
            <a:xfrm>
              <a:off x="2641600" y="3897742"/>
              <a:ext cx="9525" cy="11113"/>
            </a:xfrm>
            <a:custGeom>
              <a:avLst/>
              <a:gdLst>
                <a:gd name="T0" fmla="*/ 2 w 6"/>
                <a:gd name="T1" fmla="*/ 7 h 7"/>
                <a:gd name="T2" fmla="*/ 2 w 6"/>
                <a:gd name="T3" fmla="*/ 7 h 7"/>
                <a:gd name="T4" fmla="*/ 0 w 6"/>
                <a:gd name="T5" fmla="*/ 7 h 7"/>
                <a:gd name="T6" fmla="*/ 0 w 6"/>
                <a:gd name="T7" fmla="*/ 5 h 7"/>
                <a:gd name="T8" fmla="*/ 2 w 6"/>
                <a:gd name="T9" fmla="*/ 3 h 7"/>
                <a:gd name="T10" fmla="*/ 3 w 6"/>
                <a:gd name="T11" fmla="*/ 0 h 7"/>
                <a:gd name="T12" fmla="*/ 3 w 6"/>
                <a:gd name="T13" fmla="*/ 0 h 7"/>
                <a:gd name="T14" fmla="*/ 6 w 6"/>
                <a:gd name="T15" fmla="*/ 0 h 7"/>
                <a:gd name="T16" fmla="*/ 6 w 6"/>
                <a:gd name="T17" fmla="*/ 3 h 7"/>
                <a:gd name="T18" fmla="*/ 4 w 6"/>
                <a:gd name="T19" fmla="*/ 5 h 7"/>
                <a:gd name="T20" fmla="*/ 2 w 6"/>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7">
                  <a:moveTo>
                    <a:pt x="2" y="7"/>
                  </a:moveTo>
                  <a:lnTo>
                    <a:pt x="2" y="7"/>
                  </a:lnTo>
                  <a:lnTo>
                    <a:pt x="0" y="7"/>
                  </a:lnTo>
                  <a:lnTo>
                    <a:pt x="0" y="5"/>
                  </a:lnTo>
                  <a:lnTo>
                    <a:pt x="2" y="3"/>
                  </a:lnTo>
                  <a:lnTo>
                    <a:pt x="3" y="0"/>
                  </a:lnTo>
                  <a:lnTo>
                    <a:pt x="3" y="0"/>
                  </a:lnTo>
                  <a:lnTo>
                    <a:pt x="6" y="0"/>
                  </a:lnTo>
                  <a:lnTo>
                    <a:pt x="6" y="3"/>
                  </a:lnTo>
                  <a:lnTo>
                    <a:pt x="4" y="5"/>
                  </a:lnTo>
                  <a:lnTo>
                    <a:pt x="2" y="7"/>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87" name="Freeform 941"/>
            <p:cNvSpPr>
              <a:spLocks/>
            </p:cNvSpPr>
            <p:nvPr/>
          </p:nvSpPr>
          <p:spPr bwMode="auto">
            <a:xfrm>
              <a:off x="2641600" y="3897742"/>
              <a:ext cx="9525" cy="11113"/>
            </a:xfrm>
            <a:custGeom>
              <a:avLst/>
              <a:gdLst>
                <a:gd name="T0" fmla="*/ 2 w 6"/>
                <a:gd name="T1" fmla="*/ 7 h 7"/>
                <a:gd name="T2" fmla="*/ 2 w 6"/>
                <a:gd name="T3" fmla="*/ 7 h 7"/>
                <a:gd name="T4" fmla="*/ 0 w 6"/>
                <a:gd name="T5" fmla="*/ 7 h 7"/>
                <a:gd name="T6" fmla="*/ 0 w 6"/>
                <a:gd name="T7" fmla="*/ 5 h 7"/>
                <a:gd name="T8" fmla="*/ 2 w 6"/>
                <a:gd name="T9" fmla="*/ 3 h 7"/>
                <a:gd name="T10" fmla="*/ 3 w 6"/>
                <a:gd name="T11" fmla="*/ 0 h 7"/>
                <a:gd name="T12" fmla="*/ 3 w 6"/>
                <a:gd name="T13" fmla="*/ 0 h 7"/>
                <a:gd name="T14" fmla="*/ 6 w 6"/>
                <a:gd name="T15" fmla="*/ 0 h 7"/>
                <a:gd name="T16" fmla="*/ 6 w 6"/>
                <a:gd name="T17" fmla="*/ 3 h 7"/>
                <a:gd name="T18" fmla="*/ 4 w 6"/>
                <a:gd name="T19" fmla="*/ 5 h 7"/>
                <a:gd name="T20" fmla="*/ 2 w 6"/>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7">
                  <a:moveTo>
                    <a:pt x="2" y="7"/>
                  </a:moveTo>
                  <a:lnTo>
                    <a:pt x="2" y="7"/>
                  </a:lnTo>
                  <a:lnTo>
                    <a:pt x="0" y="7"/>
                  </a:lnTo>
                  <a:lnTo>
                    <a:pt x="0" y="5"/>
                  </a:lnTo>
                  <a:lnTo>
                    <a:pt x="2" y="3"/>
                  </a:lnTo>
                  <a:lnTo>
                    <a:pt x="3" y="0"/>
                  </a:lnTo>
                  <a:lnTo>
                    <a:pt x="3" y="0"/>
                  </a:lnTo>
                  <a:lnTo>
                    <a:pt x="6" y="0"/>
                  </a:lnTo>
                  <a:lnTo>
                    <a:pt x="6" y="3"/>
                  </a:lnTo>
                  <a:lnTo>
                    <a:pt x="4" y="5"/>
                  </a:lnTo>
                  <a:lnTo>
                    <a:pt x="2"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88" name="Freeform 942"/>
            <p:cNvSpPr>
              <a:spLocks/>
            </p:cNvSpPr>
            <p:nvPr/>
          </p:nvSpPr>
          <p:spPr bwMode="auto">
            <a:xfrm>
              <a:off x="2662238" y="3300842"/>
              <a:ext cx="61913" cy="26988"/>
            </a:xfrm>
            <a:custGeom>
              <a:avLst/>
              <a:gdLst>
                <a:gd name="T0" fmla="*/ 39 w 39"/>
                <a:gd name="T1" fmla="*/ 16 h 17"/>
                <a:gd name="T2" fmla="*/ 39 w 39"/>
                <a:gd name="T3" fmla="*/ 16 h 17"/>
                <a:gd name="T4" fmla="*/ 35 w 39"/>
                <a:gd name="T5" fmla="*/ 17 h 17"/>
                <a:gd name="T6" fmla="*/ 29 w 39"/>
                <a:gd name="T7" fmla="*/ 16 h 17"/>
                <a:gd name="T8" fmla="*/ 19 w 39"/>
                <a:gd name="T9" fmla="*/ 11 h 17"/>
                <a:gd name="T10" fmla="*/ 2 w 39"/>
                <a:gd name="T11" fmla="*/ 1 h 17"/>
                <a:gd name="T12" fmla="*/ 2 w 39"/>
                <a:gd name="T13" fmla="*/ 1 h 17"/>
                <a:gd name="T14" fmla="*/ 0 w 39"/>
                <a:gd name="T15" fmla="*/ 1 h 17"/>
                <a:gd name="T16" fmla="*/ 0 w 39"/>
                <a:gd name="T17" fmla="*/ 0 h 17"/>
                <a:gd name="T18" fmla="*/ 5 w 39"/>
                <a:gd name="T19" fmla="*/ 0 h 17"/>
                <a:gd name="T20" fmla="*/ 13 w 39"/>
                <a:gd name="T21" fmla="*/ 0 h 17"/>
                <a:gd name="T22" fmla="*/ 23 w 39"/>
                <a:gd name="T23" fmla="*/ 3 h 17"/>
                <a:gd name="T24" fmla="*/ 23 w 39"/>
                <a:gd name="T25" fmla="*/ 3 h 17"/>
                <a:gd name="T26" fmla="*/ 31 w 39"/>
                <a:gd name="T27" fmla="*/ 7 h 17"/>
                <a:gd name="T28" fmla="*/ 36 w 39"/>
                <a:gd name="T29" fmla="*/ 11 h 17"/>
                <a:gd name="T30" fmla="*/ 39 w 39"/>
                <a:gd name="T31" fmla="*/ 14 h 17"/>
                <a:gd name="T32" fmla="*/ 39 w 39"/>
                <a:gd name="T33" fmla="*/ 16 h 17"/>
                <a:gd name="T34" fmla="*/ 39 w 39"/>
                <a:gd name="T35"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17">
                  <a:moveTo>
                    <a:pt x="39" y="16"/>
                  </a:moveTo>
                  <a:lnTo>
                    <a:pt x="39" y="16"/>
                  </a:lnTo>
                  <a:lnTo>
                    <a:pt x="35" y="17"/>
                  </a:lnTo>
                  <a:lnTo>
                    <a:pt x="29" y="16"/>
                  </a:lnTo>
                  <a:lnTo>
                    <a:pt x="19" y="11"/>
                  </a:lnTo>
                  <a:lnTo>
                    <a:pt x="2" y="1"/>
                  </a:lnTo>
                  <a:lnTo>
                    <a:pt x="2" y="1"/>
                  </a:lnTo>
                  <a:lnTo>
                    <a:pt x="0" y="1"/>
                  </a:lnTo>
                  <a:lnTo>
                    <a:pt x="0" y="0"/>
                  </a:lnTo>
                  <a:lnTo>
                    <a:pt x="5" y="0"/>
                  </a:lnTo>
                  <a:lnTo>
                    <a:pt x="13" y="0"/>
                  </a:lnTo>
                  <a:lnTo>
                    <a:pt x="23" y="3"/>
                  </a:lnTo>
                  <a:lnTo>
                    <a:pt x="23" y="3"/>
                  </a:lnTo>
                  <a:lnTo>
                    <a:pt x="31" y="7"/>
                  </a:lnTo>
                  <a:lnTo>
                    <a:pt x="36" y="11"/>
                  </a:lnTo>
                  <a:lnTo>
                    <a:pt x="39" y="14"/>
                  </a:lnTo>
                  <a:lnTo>
                    <a:pt x="39" y="16"/>
                  </a:lnTo>
                  <a:lnTo>
                    <a:pt x="39" y="16"/>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89" name="Freeform 943"/>
            <p:cNvSpPr>
              <a:spLocks/>
            </p:cNvSpPr>
            <p:nvPr/>
          </p:nvSpPr>
          <p:spPr bwMode="auto">
            <a:xfrm>
              <a:off x="2662238" y="3300842"/>
              <a:ext cx="61913" cy="26988"/>
            </a:xfrm>
            <a:custGeom>
              <a:avLst/>
              <a:gdLst>
                <a:gd name="T0" fmla="*/ 39 w 39"/>
                <a:gd name="T1" fmla="*/ 16 h 17"/>
                <a:gd name="T2" fmla="*/ 39 w 39"/>
                <a:gd name="T3" fmla="*/ 16 h 17"/>
                <a:gd name="T4" fmla="*/ 35 w 39"/>
                <a:gd name="T5" fmla="*/ 17 h 17"/>
                <a:gd name="T6" fmla="*/ 29 w 39"/>
                <a:gd name="T7" fmla="*/ 16 h 17"/>
                <a:gd name="T8" fmla="*/ 19 w 39"/>
                <a:gd name="T9" fmla="*/ 11 h 17"/>
                <a:gd name="T10" fmla="*/ 2 w 39"/>
                <a:gd name="T11" fmla="*/ 1 h 17"/>
                <a:gd name="T12" fmla="*/ 2 w 39"/>
                <a:gd name="T13" fmla="*/ 1 h 17"/>
                <a:gd name="T14" fmla="*/ 0 w 39"/>
                <a:gd name="T15" fmla="*/ 1 h 17"/>
                <a:gd name="T16" fmla="*/ 0 w 39"/>
                <a:gd name="T17" fmla="*/ 0 h 17"/>
                <a:gd name="T18" fmla="*/ 5 w 39"/>
                <a:gd name="T19" fmla="*/ 0 h 17"/>
                <a:gd name="T20" fmla="*/ 13 w 39"/>
                <a:gd name="T21" fmla="*/ 0 h 17"/>
                <a:gd name="T22" fmla="*/ 23 w 39"/>
                <a:gd name="T23" fmla="*/ 3 h 17"/>
                <a:gd name="T24" fmla="*/ 23 w 39"/>
                <a:gd name="T25" fmla="*/ 3 h 17"/>
                <a:gd name="T26" fmla="*/ 31 w 39"/>
                <a:gd name="T27" fmla="*/ 7 h 17"/>
                <a:gd name="T28" fmla="*/ 36 w 39"/>
                <a:gd name="T29" fmla="*/ 11 h 17"/>
                <a:gd name="T30" fmla="*/ 39 w 39"/>
                <a:gd name="T31" fmla="*/ 14 h 17"/>
                <a:gd name="T32" fmla="*/ 39 w 39"/>
                <a:gd name="T33" fmla="*/ 16 h 17"/>
                <a:gd name="T34" fmla="*/ 39 w 39"/>
                <a:gd name="T35"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17">
                  <a:moveTo>
                    <a:pt x="39" y="16"/>
                  </a:moveTo>
                  <a:lnTo>
                    <a:pt x="39" y="16"/>
                  </a:lnTo>
                  <a:lnTo>
                    <a:pt x="35" y="17"/>
                  </a:lnTo>
                  <a:lnTo>
                    <a:pt x="29" y="16"/>
                  </a:lnTo>
                  <a:lnTo>
                    <a:pt x="19" y="11"/>
                  </a:lnTo>
                  <a:lnTo>
                    <a:pt x="2" y="1"/>
                  </a:lnTo>
                  <a:lnTo>
                    <a:pt x="2" y="1"/>
                  </a:lnTo>
                  <a:lnTo>
                    <a:pt x="0" y="1"/>
                  </a:lnTo>
                  <a:lnTo>
                    <a:pt x="0" y="0"/>
                  </a:lnTo>
                  <a:lnTo>
                    <a:pt x="5" y="0"/>
                  </a:lnTo>
                  <a:lnTo>
                    <a:pt x="13" y="0"/>
                  </a:lnTo>
                  <a:lnTo>
                    <a:pt x="23" y="3"/>
                  </a:lnTo>
                  <a:lnTo>
                    <a:pt x="23" y="3"/>
                  </a:lnTo>
                  <a:lnTo>
                    <a:pt x="31" y="7"/>
                  </a:lnTo>
                  <a:lnTo>
                    <a:pt x="36" y="11"/>
                  </a:lnTo>
                  <a:lnTo>
                    <a:pt x="39" y="14"/>
                  </a:lnTo>
                  <a:lnTo>
                    <a:pt x="39" y="16"/>
                  </a:lnTo>
                  <a:lnTo>
                    <a:pt x="39"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90" name="Freeform 944"/>
            <p:cNvSpPr>
              <a:spLocks/>
            </p:cNvSpPr>
            <p:nvPr/>
          </p:nvSpPr>
          <p:spPr bwMode="auto">
            <a:xfrm>
              <a:off x="2736850" y="3410379"/>
              <a:ext cx="22225" cy="36513"/>
            </a:xfrm>
            <a:custGeom>
              <a:avLst/>
              <a:gdLst>
                <a:gd name="T0" fmla="*/ 2 w 14"/>
                <a:gd name="T1" fmla="*/ 23 h 23"/>
                <a:gd name="T2" fmla="*/ 2 w 14"/>
                <a:gd name="T3" fmla="*/ 23 h 23"/>
                <a:gd name="T4" fmla="*/ 1 w 14"/>
                <a:gd name="T5" fmla="*/ 23 h 23"/>
                <a:gd name="T6" fmla="*/ 0 w 14"/>
                <a:gd name="T7" fmla="*/ 20 h 23"/>
                <a:gd name="T8" fmla="*/ 0 w 14"/>
                <a:gd name="T9" fmla="*/ 18 h 23"/>
                <a:gd name="T10" fmla="*/ 2 w 14"/>
                <a:gd name="T11" fmla="*/ 13 h 23"/>
                <a:gd name="T12" fmla="*/ 2 w 14"/>
                <a:gd name="T13" fmla="*/ 13 h 23"/>
                <a:gd name="T14" fmla="*/ 7 w 14"/>
                <a:gd name="T15" fmla="*/ 3 h 23"/>
                <a:gd name="T16" fmla="*/ 10 w 14"/>
                <a:gd name="T17" fmla="*/ 0 h 23"/>
                <a:gd name="T18" fmla="*/ 10 w 14"/>
                <a:gd name="T19" fmla="*/ 0 h 23"/>
                <a:gd name="T20" fmla="*/ 11 w 14"/>
                <a:gd name="T21" fmla="*/ 2 h 23"/>
                <a:gd name="T22" fmla="*/ 11 w 14"/>
                <a:gd name="T23" fmla="*/ 2 h 23"/>
                <a:gd name="T24" fmla="*/ 11 w 14"/>
                <a:gd name="T25" fmla="*/ 9 h 23"/>
                <a:gd name="T26" fmla="*/ 13 w 14"/>
                <a:gd name="T27" fmla="*/ 12 h 23"/>
                <a:gd name="T28" fmla="*/ 14 w 14"/>
                <a:gd name="T29" fmla="*/ 13 h 23"/>
                <a:gd name="T30" fmla="*/ 14 w 14"/>
                <a:gd name="T31" fmla="*/ 13 h 23"/>
                <a:gd name="T32" fmla="*/ 14 w 14"/>
                <a:gd name="T33" fmla="*/ 15 h 23"/>
                <a:gd name="T34" fmla="*/ 14 w 14"/>
                <a:gd name="T35" fmla="*/ 16 h 23"/>
                <a:gd name="T36" fmla="*/ 10 w 14"/>
                <a:gd name="T37" fmla="*/ 19 h 23"/>
                <a:gd name="T38" fmla="*/ 2 w 14"/>
                <a:gd name="T3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23">
                  <a:moveTo>
                    <a:pt x="2" y="23"/>
                  </a:moveTo>
                  <a:lnTo>
                    <a:pt x="2" y="23"/>
                  </a:lnTo>
                  <a:lnTo>
                    <a:pt x="1" y="23"/>
                  </a:lnTo>
                  <a:lnTo>
                    <a:pt x="0" y="20"/>
                  </a:lnTo>
                  <a:lnTo>
                    <a:pt x="0" y="18"/>
                  </a:lnTo>
                  <a:lnTo>
                    <a:pt x="2" y="13"/>
                  </a:lnTo>
                  <a:lnTo>
                    <a:pt x="2" y="13"/>
                  </a:lnTo>
                  <a:lnTo>
                    <a:pt x="7" y="3"/>
                  </a:lnTo>
                  <a:lnTo>
                    <a:pt x="10" y="0"/>
                  </a:lnTo>
                  <a:lnTo>
                    <a:pt x="10" y="0"/>
                  </a:lnTo>
                  <a:lnTo>
                    <a:pt x="11" y="2"/>
                  </a:lnTo>
                  <a:lnTo>
                    <a:pt x="11" y="2"/>
                  </a:lnTo>
                  <a:lnTo>
                    <a:pt x="11" y="9"/>
                  </a:lnTo>
                  <a:lnTo>
                    <a:pt x="13" y="12"/>
                  </a:lnTo>
                  <a:lnTo>
                    <a:pt x="14" y="13"/>
                  </a:lnTo>
                  <a:lnTo>
                    <a:pt x="14" y="13"/>
                  </a:lnTo>
                  <a:lnTo>
                    <a:pt x="14" y="15"/>
                  </a:lnTo>
                  <a:lnTo>
                    <a:pt x="14" y="16"/>
                  </a:lnTo>
                  <a:lnTo>
                    <a:pt x="10" y="19"/>
                  </a:lnTo>
                  <a:lnTo>
                    <a:pt x="2" y="23"/>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91" name="Freeform 945"/>
            <p:cNvSpPr>
              <a:spLocks/>
            </p:cNvSpPr>
            <p:nvPr/>
          </p:nvSpPr>
          <p:spPr bwMode="auto">
            <a:xfrm>
              <a:off x="2736850" y="3410379"/>
              <a:ext cx="22225" cy="36513"/>
            </a:xfrm>
            <a:custGeom>
              <a:avLst/>
              <a:gdLst>
                <a:gd name="T0" fmla="*/ 2 w 14"/>
                <a:gd name="T1" fmla="*/ 23 h 23"/>
                <a:gd name="T2" fmla="*/ 2 w 14"/>
                <a:gd name="T3" fmla="*/ 23 h 23"/>
                <a:gd name="T4" fmla="*/ 1 w 14"/>
                <a:gd name="T5" fmla="*/ 23 h 23"/>
                <a:gd name="T6" fmla="*/ 0 w 14"/>
                <a:gd name="T7" fmla="*/ 20 h 23"/>
                <a:gd name="T8" fmla="*/ 0 w 14"/>
                <a:gd name="T9" fmla="*/ 18 h 23"/>
                <a:gd name="T10" fmla="*/ 2 w 14"/>
                <a:gd name="T11" fmla="*/ 13 h 23"/>
                <a:gd name="T12" fmla="*/ 2 w 14"/>
                <a:gd name="T13" fmla="*/ 13 h 23"/>
                <a:gd name="T14" fmla="*/ 7 w 14"/>
                <a:gd name="T15" fmla="*/ 3 h 23"/>
                <a:gd name="T16" fmla="*/ 10 w 14"/>
                <a:gd name="T17" fmla="*/ 0 h 23"/>
                <a:gd name="T18" fmla="*/ 10 w 14"/>
                <a:gd name="T19" fmla="*/ 0 h 23"/>
                <a:gd name="T20" fmla="*/ 11 w 14"/>
                <a:gd name="T21" fmla="*/ 2 h 23"/>
                <a:gd name="T22" fmla="*/ 11 w 14"/>
                <a:gd name="T23" fmla="*/ 2 h 23"/>
                <a:gd name="T24" fmla="*/ 11 w 14"/>
                <a:gd name="T25" fmla="*/ 9 h 23"/>
                <a:gd name="T26" fmla="*/ 13 w 14"/>
                <a:gd name="T27" fmla="*/ 12 h 23"/>
                <a:gd name="T28" fmla="*/ 14 w 14"/>
                <a:gd name="T29" fmla="*/ 13 h 23"/>
                <a:gd name="T30" fmla="*/ 14 w 14"/>
                <a:gd name="T31" fmla="*/ 13 h 23"/>
                <a:gd name="T32" fmla="*/ 14 w 14"/>
                <a:gd name="T33" fmla="*/ 15 h 23"/>
                <a:gd name="T34" fmla="*/ 14 w 14"/>
                <a:gd name="T35" fmla="*/ 16 h 23"/>
                <a:gd name="T36" fmla="*/ 10 w 14"/>
                <a:gd name="T37" fmla="*/ 19 h 23"/>
                <a:gd name="T38" fmla="*/ 2 w 14"/>
                <a:gd name="T3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23">
                  <a:moveTo>
                    <a:pt x="2" y="23"/>
                  </a:moveTo>
                  <a:lnTo>
                    <a:pt x="2" y="23"/>
                  </a:lnTo>
                  <a:lnTo>
                    <a:pt x="1" y="23"/>
                  </a:lnTo>
                  <a:lnTo>
                    <a:pt x="0" y="20"/>
                  </a:lnTo>
                  <a:lnTo>
                    <a:pt x="0" y="18"/>
                  </a:lnTo>
                  <a:lnTo>
                    <a:pt x="2" y="13"/>
                  </a:lnTo>
                  <a:lnTo>
                    <a:pt x="2" y="13"/>
                  </a:lnTo>
                  <a:lnTo>
                    <a:pt x="7" y="3"/>
                  </a:lnTo>
                  <a:lnTo>
                    <a:pt x="10" y="0"/>
                  </a:lnTo>
                  <a:lnTo>
                    <a:pt x="10" y="0"/>
                  </a:lnTo>
                  <a:lnTo>
                    <a:pt x="11" y="2"/>
                  </a:lnTo>
                  <a:lnTo>
                    <a:pt x="11" y="2"/>
                  </a:lnTo>
                  <a:lnTo>
                    <a:pt x="11" y="9"/>
                  </a:lnTo>
                  <a:lnTo>
                    <a:pt x="13" y="12"/>
                  </a:lnTo>
                  <a:lnTo>
                    <a:pt x="14" y="13"/>
                  </a:lnTo>
                  <a:lnTo>
                    <a:pt x="14" y="13"/>
                  </a:lnTo>
                  <a:lnTo>
                    <a:pt x="14" y="15"/>
                  </a:lnTo>
                  <a:lnTo>
                    <a:pt x="14" y="16"/>
                  </a:lnTo>
                  <a:lnTo>
                    <a:pt x="10" y="19"/>
                  </a:lnTo>
                  <a:lnTo>
                    <a:pt x="2"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92" name="Freeform 946"/>
            <p:cNvSpPr>
              <a:spLocks/>
            </p:cNvSpPr>
            <p:nvPr/>
          </p:nvSpPr>
          <p:spPr bwMode="auto">
            <a:xfrm>
              <a:off x="2789238" y="3221467"/>
              <a:ext cx="165100" cy="198438"/>
            </a:xfrm>
            <a:custGeom>
              <a:avLst/>
              <a:gdLst>
                <a:gd name="T0" fmla="*/ 46 w 104"/>
                <a:gd name="T1" fmla="*/ 110 h 125"/>
                <a:gd name="T2" fmla="*/ 49 w 104"/>
                <a:gd name="T3" fmla="*/ 106 h 125"/>
                <a:gd name="T4" fmla="*/ 46 w 104"/>
                <a:gd name="T5" fmla="*/ 100 h 125"/>
                <a:gd name="T6" fmla="*/ 11 w 104"/>
                <a:gd name="T7" fmla="*/ 102 h 125"/>
                <a:gd name="T8" fmla="*/ 0 w 104"/>
                <a:gd name="T9" fmla="*/ 99 h 125"/>
                <a:gd name="T10" fmla="*/ 0 w 104"/>
                <a:gd name="T11" fmla="*/ 96 h 125"/>
                <a:gd name="T12" fmla="*/ 7 w 104"/>
                <a:gd name="T13" fmla="*/ 83 h 125"/>
                <a:gd name="T14" fmla="*/ 1 w 104"/>
                <a:gd name="T15" fmla="*/ 83 h 125"/>
                <a:gd name="T16" fmla="*/ 0 w 104"/>
                <a:gd name="T17" fmla="*/ 79 h 125"/>
                <a:gd name="T18" fmla="*/ 11 w 104"/>
                <a:gd name="T19" fmla="*/ 67 h 125"/>
                <a:gd name="T20" fmla="*/ 19 w 104"/>
                <a:gd name="T21" fmla="*/ 64 h 125"/>
                <a:gd name="T22" fmla="*/ 16 w 104"/>
                <a:gd name="T23" fmla="*/ 54 h 125"/>
                <a:gd name="T24" fmla="*/ 23 w 104"/>
                <a:gd name="T25" fmla="*/ 35 h 125"/>
                <a:gd name="T26" fmla="*/ 39 w 104"/>
                <a:gd name="T27" fmla="*/ 9 h 125"/>
                <a:gd name="T28" fmla="*/ 48 w 104"/>
                <a:gd name="T29" fmla="*/ 3 h 125"/>
                <a:gd name="T30" fmla="*/ 56 w 104"/>
                <a:gd name="T31" fmla="*/ 0 h 125"/>
                <a:gd name="T32" fmla="*/ 51 w 104"/>
                <a:gd name="T33" fmla="*/ 9 h 125"/>
                <a:gd name="T34" fmla="*/ 51 w 104"/>
                <a:gd name="T35" fmla="*/ 16 h 125"/>
                <a:gd name="T36" fmla="*/ 42 w 104"/>
                <a:gd name="T37" fmla="*/ 32 h 125"/>
                <a:gd name="T38" fmla="*/ 39 w 104"/>
                <a:gd name="T39" fmla="*/ 51 h 125"/>
                <a:gd name="T40" fmla="*/ 48 w 104"/>
                <a:gd name="T41" fmla="*/ 42 h 125"/>
                <a:gd name="T42" fmla="*/ 52 w 104"/>
                <a:gd name="T43" fmla="*/ 42 h 125"/>
                <a:gd name="T44" fmla="*/ 55 w 104"/>
                <a:gd name="T45" fmla="*/ 48 h 125"/>
                <a:gd name="T46" fmla="*/ 61 w 104"/>
                <a:gd name="T47" fmla="*/ 57 h 125"/>
                <a:gd name="T48" fmla="*/ 68 w 104"/>
                <a:gd name="T49" fmla="*/ 57 h 125"/>
                <a:gd name="T50" fmla="*/ 84 w 104"/>
                <a:gd name="T51" fmla="*/ 58 h 125"/>
                <a:gd name="T52" fmla="*/ 91 w 104"/>
                <a:gd name="T53" fmla="*/ 61 h 125"/>
                <a:gd name="T54" fmla="*/ 90 w 104"/>
                <a:gd name="T55" fmla="*/ 73 h 125"/>
                <a:gd name="T56" fmla="*/ 91 w 104"/>
                <a:gd name="T57" fmla="*/ 80 h 125"/>
                <a:gd name="T58" fmla="*/ 93 w 104"/>
                <a:gd name="T59" fmla="*/ 83 h 125"/>
                <a:gd name="T60" fmla="*/ 95 w 104"/>
                <a:gd name="T61" fmla="*/ 83 h 125"/>
                <a:gd name="T62" fmla="*/ 90 w 104"/>
                <a:gd name="T63" fmla="*/ 96 h 125"/>
                <a:gd name="T64" fmla="*/ 98 w 104"/>
                <a:gd name="T65" fmla="*/ 92 h 125"/>
                <a:gd name="T66" fmla="*/ 100 w 104"/>
                <a:gd name="T67" fmla="*/ 92 h 125"/>
                <a:gd name="T68" fmla="*/ 97 w 104"/>
                <a:gd name="T69" fmla="*/ 102 h 125"/>
                <a:gd name="T70" fmla="*/ 103 w 104"/>
                <a:gd name="T71" fmla="*/ 100 h 125"/>
                <a:gd name="T72" fmla="*/ 103 w 104"/>
                <a:gd name="T73" fmla="*/ 116 h 125"/>
                <a:gd name="T74" fmla="*/ 97 w 104"/>
                <a:gd name="T75" fmla="*/ 125 h 125"/>
                <a:gd name="T76" fmla="*/ 93 w 104"/>
                <a:gd name="T77" fmla="*/ 118 h 125"/>
                <a:gd name="T78" fmla="*/ 90 w 104"/>
                <a:gd name="T79" fmla="*/ 113 h 125"/>
                <a:gd name="T80" fmla="*/ 82 w 104"/>
                <a:gd name="T81" fmla="*/ 118 h 125"/>
                <a:gd name="T82" fmla="*/ 81 w 104"/>
                <a:gd name="T83" fmla="*/ 118 h 125"/>
                <a:gd name="T84" fmla="*/ 84 w 104"/>
                <a:gd name="T85" fmla="*/ 105 h 125"/>
                <a:gd name="T86" fmla="*/ 81 w 104"/>
                <a:gd name="T87" fmla="*/ 96 h 125"/>
                <a:gd name="T88" fmla="*/ 77 w 104"/>
                <a:gd name="T89" fmla="*/ 102 h 125"/>
                <a:gd name="T90" fmla="*/ 72 w 104"/>
                <a:gd name="T91" fmla="*/ 106 h 125"/>
                <a:gd name="T92" fmla="*/ 68 w 104"/>
                <a:gd name="T93" fmla="*/ 110 h 125"/>
                <a:gd name="T94" fmla="*/ 61 w 104"/>
                <a:gd name="T95" fmla="*/ 121 h 125"/>
                <a:gd name="T96" fmla="*/ 52 w 104"/>
                <a:gd name="T97" fmla="*/ 12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 h="125">
                  <a:moveTo>
                    <a:pt x="49" y="118"/>
                  </a:moveTo>
                  <a:lnTo>
                    <a:pt x="49" y="118"/>
                  </a:lnTo>
                  <a:lnTo>
                    <a:pt x="46" y="110"/>
                  </a:lnTo>
                  <a:lnTo>
                    <a:pt x="46" y="109"/>
                  </a:lnTo>
                  <a:lnTo>
                    <a:pt x="49" y="106"/>
                  </a:lnTo>
                  <a:lnTo>
                    <a:pt x="49" y="106"/>
                  </a:lnTo>
                  <a:lnTo>
                    <a:pt x="51" y="105"/>
                  </a:lnTo>
                  <a:lnTo>
                    <a:pt x="49" y="102"/>
                  </a:lnTo>
                  <a:lnTo>
                    <a:pt x="46" y="100"/>
                  </a:lnTo>
                  <a:lnTo>
                    <a:pt x="43" y="99"/>
                  </a:lnTo>
                  <a:lnTo>
                    <a:pt x="43" y="99"/>
                  </a:lnTo>
                  <a:lnTo>
                    <a:pt x="11" y="102"/>
                  </a:lnTo>
                  <a:lnTo>
                    <a:pt x="11" y="102"/>
                  </a:lnTo>
                  <a:lnTo>
                    <a:pt x="3" y="100"/>
                  </a:lnTo>
                  <a:lnTo>
                    <a:pt x="0" y="99"/>
                  </a:lnTo>
                  <a:lnTo>
                    <a:pt x="0" y="97"/>
                  </a:lnTo>
                  <a:lnTo>
                    <a:pt x="0" y="96"/>
                  </a:lnTo>
                  <a:lnTo>
                    <a:pt x="0" y="96"/>
                  </a:lnTo>
                  <a:lnTo>
                    <a:pt x="6" y="87"/>
                  </a:lnTo>
                  <a:lnTo>
                    <a:pt x="7" y="84"/>
                  </a:lnTo>
                  <a:lnTo>
                    <a:pt x="7" y="83"/>
                  </a:lnTo>
                  <a:lnTo>
                    <a:pt x="7" y="83"/>
                  </a:lnTo>
                  <a:lnTo>
                    <a:pt x="7" y="83"/>
                  </a:lnTo>
                  <a:lnTo>
                    <a:pt x="1" y="83"/>
                  </a:lnTo>
                  <a:lnTo>
                    <a:pt x="0" y="81"/>
                  </a:lnTo>
                  <a:lnTo>
                    <a:pt x="0" y="79"/>
                  </a:lnTo>
                  <a:lnTo>
                    <a:pt x="0" y="79"/>
                  </a:lnTo>
                  <a:lnTo>
                    <a:pt x="7" y="71"/>
                  </a:lnTo>
                  <a:lnTo>
                    <a:pt x="11" y="67"/>
                  </a:lnTo>
                  <a:lnTo>
                    <a:pt x="11" y="67"/>
                  </a:lnTo>
                  <a:lnTo>
                    <a:pt x="17" y="67"/>
                  </a:lnTo>
                  <a:lnTo>
                    <a:pt x="19" y="66"/>
                  </a:lnTo>
                  <a:lnTo>
                    <a:pt x="19" y="64"/>
                  </a:lnTo>
                  <a:lnTo>
                    <a:pt x="19" y="64"/>
                  </a:lnTo>
                  <a:lnTo>
                    <a:pt x="16" y="58"/>
                  </a:lnTo>
                  <a:lnTo>
                    <a:pt x="16" y="54"/>
                  </a:lnTo>
                  <a:lnTo>
                    <a:pt x="16" y="54"/>
                  </a:lnTo>
                  <a:lnTo>
                    <a:pt x="20" y="42"/>
                  </a:lnTo>
                  <a:lnTo>
                    <a:pt x="23" y="35"/>
                  </a:lnTo>
                  <a:lnTo>
                    <a:pt x="26" y="28"/>
                  </a:lnTo>
                  <a:lnTo>
                    <a:pt x="26" y="28"/>
                  </a:lnTo>
                  <a:lnTo>
                    <a:pt x="39" y="9"/>
                  </a:lnTo>
                  <a:lnTo>
                    <a:pt x="39" y="9"/>
                  </a:lnTo>
                  <a:lnTo>
                    <a:pt x="42" y="6"/>
                  </a:lnTo>
                  <a:lnTo>
                    <a:pt x="48" y="3"/>
                  </a:lnTo>
                  <a:lnTo>
                    <a:pt x="53" y="0"/>
                  </a:lnTo>
                  <a:lnTo>
                    <a:pt x="56" y="0"/>
                  </a:lnTo>
                  <a:lnTo>
                    <a:pt x="56" y="0"/>
                  </a:lnTo>
                  <a:lnTo>
                    <a:pt x="53" y="5"/>
                  </a:lnTo>
                  <a:lnTo>
                    <a:pt x="51" y="9"/>
                  </a:lnTo>
                  <a:lnTo>
                    <a:pt x="51" y="9"/>
                  </a:lnTo>
                  <a:lnTo>
                    <a:pt x="51" y="12"/>
                  </a:lnTo>
                  <a:lnTo>
                    <a:pt x="52" y="15"/>
                  </a:lnTo>
                  <a:lnTo>
                    <a:pt x="51" y="16"/>
                  </a:lnTo>
                  <a:lnTo>
                    <a:pt x="51" y="16"/>
                  </a:lnTo>
                  <a:lnTo>
                    <a:pt x="46" y="24"/>
                  </a:lnTo>
                  <a:lnTo>
                    <a:pt x="42" y="32"/>
                  </a:lnTo>
                  <a:lnTo>
                    <a:pt x="42" y="32"/>
                  </a:lnTo>
                  <a:lnTo>
                    <a:pt x="40" y="42"/>
                  </a:lnTo>
                  <a:lnTo>
                    <a:pt x="39" y="51"/>
                  </a:lnTo>
                  <a:lnTo>
                    <a:pt x="39" y="51"/>
                  </a:lnTo>
                  <a:lnTo>
                    <a:pt x="43" y="44"/>
                  </a:lnTo>
                  <a:lnTo>
                    <a:pt x="48" y="42"/>
                  </a:lnTo>
                  <a:lnTo>
                    <a:pt x="51" y="41"/>
                  </a:lnTo>
                  <a:lnTo>
                    <a:pt x="51" y="41"/>
                  </a:lnTo>
                  <a:lnTo>
                    <a:pt x="52" y="42"/>
                  </a:lnTo>
                  <a:lnTo>
                    <a:pt x="53" y="44"/>
                  </a:lnTo>
                  <a:lnTo>
                    <a:pt x="55" y="48"/>
                  </a:lnTo>
                  <a:lnTo>
                    <a:pt x="55" y="48"/>
                  </a:lnTo>
                  <a:lnTo>
                    <a:pt x="55" y="51"/>
                  </a:lnTo>
                  <a:lnTo>
                    <a:pt x="58" y="55"/>
                  </a:lnTo>
                  <a:lnTo>
                    <a:pt x="61" y="57"/>
                  </a:lnTo>
                  <a:lnTo>
                    <a:pt x="64" y="58"/>
                  </a:lnTo>
                  <a:lnTo>
                    <a:pt x="64" y="58"/>
                  </a:lnTo>
                  <a:lnTo>
                    <a:pt x="68" y="57"/>
                  </a:lnTo>
                  <a:lnTo>
                    <a:pt x="72" y="57"/>
                  </a:lnTo>
                  <a:lnTo>
                    <a:pt x="72" y="57"/>
                  </a:lnTo>
                  <a:lnTo>
                    <a:pt x="84" y="58"/>
                  </a:lnTo>
                  <a:lnTo>
                    <a:pt x="90" y="60"/>
                  </a:lnTo>
                  <a:lnTo>
                    <a:pt x="91" y="61"/>
                  </a:lnTo>
                  <a:lnTo>
                    <a:pt x="91" y="61"/>
                  </a:lnTo>
                  <a:lnTo>
                    <a:pt x="88" y="66"/>
                  </a:lnTo>
                  <a:lnTo>
                    <a:pt x="88" y="68"/>
                  </a:lnTo>
                  <a:lnTo>
                    <a:pt x="90" y="73"/>
                  </a:lnTo>
                  <a:lnTo>
                    <a:pt x="90" y="73"/>
                  </a:lnTo>
                  <a:lnTo>
                    <a:pt x="91" y="77"/>
                  </a:lnTo>
                  <a:lnTo>
                    <a:pt x="91" y="80"/>
                  </a:lnTo>
                  <a:lnTo>
                    <a:pt x="93" y="83"/>
                  </a:lnTo>
                  <a:lnTo>
                    <a:pt x="93" y="83"/>
                  </a:lnTo>
                  <a:lnTo>
                    <a:pt x="93" y="83"/>
                  </a:lnTo>
                  <a:lnTo>
                    <a:pt x="95" y="81"/>
                  </a:lnTo>
                  <a:lnTo>
                    <a:pt x="95" y="81"/>
                  </a:lnTo>
                  <a:lnTo>
                    <a:pt x="95" y="83"/>
                  </a:lnTo>
                  <a:lnTo>
                    <a:pt x="95" y="83"/>
                  </a:lnTo>
                  <a:lnTo>
                    <a:pt x="90" y="96"/>
                  </a:lnTo>
                  <a:lnTo>
                    <a:pt x="90" y="96"/>
                  </a:lnTo>
                  <a:lnTo>
                    <a:pt x="91" y="96"/>
                  </a:lnTo>
                  <a:lnTo>
                    <a:pt x="94" y="93"/>
                  </a:lnTo>
                  <a:lnTo>
                    <a:pt x="98" y="92"/>
                  </a:lnTo>
                  <a:lnTo>
                    <a:pt x="98" y="92"/>
                  </a:lnTo>
                  <a:lnTo>
                    <a:pt x="100" y="92"/>
                  </a:lnTo>
                  <a:lnTo>
                    <a:pt x="100" y="92"/>
                  </a:lnTo>
                  <a:lnTo>
                    <a:pt x="97" y="99"/>
                  </a:lnTo>
                  <a:lnTo>
                    <a:pt x="97" y="102"/>
                  </a:lnTo>
                  <a:lnTo>
                    <a:pt x="97" y="102"/>
                  </a:lnTo>
                  <a:lnTo>
                    <a:pt x="97" y="102"/>
                  </a:lnTo>
                  <a:lnTo>
                    <a:pt x="101" y="100"/>
                  </a:lnTo>
                  <a:lnTo>
                    <a:pt x="103" y="100"/>
                  </a:lnTo>
                  <a:lnTo>
                    <a:pt x="104" y="102"/>
                  </a:lnTo>
                  <a:lnTo>
                    <a:pt x="104" y="102"/>
                  </a:lnTo>
                  <a:lnTo>
                    <a:pt x="103" y="116"/>
                  </a:lnTo>
                  <a:lnTo>
                    <a:pt x="100" y="122"/>
                  </a:lnTo>
                  <a:lnTo>
                    <a:pt x="98" y="125"/>
                  </a:lnTo>
                  <a:lnTo>
                    <a:pt x="97" y="125"/>
                  </a:lnTo>
                  <a:lnTo>
                    <a:pt x="97" y="125"/>
                  </a:lnTo>
                  <a:lnTo>
                    <a:pt x="94" y="121"/>
                  </a:lnTo>
                  <a:lnTo>
                    <a:pt x="93" y="118"/>
                  </a:lnTo>
                  <a:lnTo>
                    <a:pt x="93" y="115"/>
                  </a:lnTo>
                  <a:lnTo>
                    <a:pt x="90" y="113"/>
                  </a:lnTo>
                  <a:lnTo>
                    <a:pt x="90" y="113"/>
                  </a:lnTo>
                  <a:lnTo>
                    <a:pt x="88" y="115"/>
                  </a:lnTo>
                  <a:lnTo>
                    <a:pt x="85" y="116"/>
                  </a:lnTo>
                  <a:lnTo>
                    <a:pt x="82" y="118"/>
                  </a:lnTo>
                  <a:lnTo>
                    <a:pt x="82" y="118"/>
                  </a:lnTo>
                  <a:lnTo>
                    <a:pt x="81" y="118"/>
                  </a:lnTo>
                  <a:lnTo>
                    <a:pt x="81" y="118"/>
                  </a:lnTo>
                  <a:lnTo>
                    <a:pt x="84" y="110"/>
                  </a:lnTo>
                  <a:lnTo>
                    <a:pt x="84" y="108"/>
                  </a:lnTo>
                  <a:lnTo>
                    <a:pt x="84" y="105"/>
                  </a:lnTo>
                  <a:lnTo>
                    <a:pt x="84" y="105"/>
                  </a:lnTo>
                  <a:lnTo>
                    <a:pt x="81" y="99"/>
                  </a:lnTo>
                  <a:lnTo>
                    <a:pt x="81" y="96"/>
                  </a:lnTo>
                  <a:lnTo>
                    <a:pt x="79" y="96"/>
                  </a:lnTo>
                  <a:lnTo>
                    <a:pt x="79" y="96"/>
                  </a:lnTo>
                  <a:lnTo>
                    <a:pt x="77" y="102"/>
                  </a:lnTo>
                  <a:lnTo>
                    <a:pt x="75" y="105"/>
                  </a:lnTo>
                  <a:lnTo>
                    <a:pt x="72" y="106"/>
                  </a:lnTo>
                  <a:lnTo>
                    <a:pt x="72" y="106"/>
                  </a:lnTo>
                  <a:lnTo>
                    <a:pt x="69" y="106"/>
                  </a:lnTo>
                  <a:lnTo>
                    <a:pt x="68" y="110"/>
                  </a:lnTo>
                  <a:lnTo>
                    <a:pt x="68" y="110"/>
                  </a:lnTo>
                  <a:lnTo>
                    <a:pt x="65" y="116"/>
                  </a:lnTo>
                  <a:lnTo>
                    <a:pt x="62" y="119"/>
                  </a:lnTo>
                  <a:lnTo>
                    <a:pt x="61" y="121"/>
                  </a:lnTo>
                  <a:lnTo>
                    <a:pt x="61" y="121"/>
                  </a:lnTo>
                  <a:lnTo>
                    <a:pt x="55" y="122"/>
                  </a:lnTo>
                  <a:lnTo>
                    <a:pt x="52" y="121"/>
                  </a:lnTo>
                  <a:lnTo>
                    <a:pt x="49" y="118"/>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93" name="Freeform 947"/>
            <p:cNvSpPr>
              <a:spLocks/>
            </p:cNvSpPr>
            <p:nvPr/>
          </p:nvSpPr>
          <p:spPr bwMode="auto">
            <a:xfrm>
              <a:off x="2789238" y="3221467"/>
              <a:ext cx="165100" cy="198438"/>
            </a:xfrm>
            <a:custGeom>
              <a:avLst/>
              <a:gdLst>
                <a:gd name="T0" fmla="*/ 46 w 104"/>
                <a:gd name="T1" fmla="*/ 110 h 125"/>
                <a:gd name="T2" fmla="*/ 49 w 104"/>
                <a:gd name="T3" fmla="*/ 106 h 125"/>
                <a:gd name="T4" fmla="*/ 46 w 104"/>
                <a:gd name="T5" fmla="*/ 100 h 125"/>
                <a:gd name="T6" fmla="*/ 11 w 104"/>
                <a:gd name="T7" fmla="*/ 102 h 125"/>
                <a:gd name="T8" fmla="*/ 0 w 104"/>
                <a:gd name="T9" fmla="*/ 99 h 125"/>
                <a:gd name="T10" fmla="*/ 0 w 104"/>
                <a:gd name="T11" fmla="*/ 96 h 125"/>
                <a:gd name="T12" fmla="*/ 7 w 104"/>
                <a:gd name="T13" fmla="*/ 83 h 125"/>
                <a:gd name="T14" fmla="*/ 1 w 104"/>
                <a:gd name="T15" fmla="*/ 83 h 125"/>
                <a:gd name="T16" fmla="*/ 0 w 104"/>
                <a:gd name="T17" fmla="*/ 79 h 125"/>
                <a:gd name="T18" fmla="*/ 11 w 104"/>
                <a:gd name="T19" fmla="*/ 67 h 125"/>
                <a:gd name="T20" fmla="*/ 19 w 104"/>
                <a:gd name="T21" fmla="*/ 64 h 125"/>
                <a:gd name="T22" fmla="*/ 16 w 104"/>
                <a:gd name="T23" fmla="*/ 54 h 125"/>
                <a:gd name="T24" fmla="*/ 23 w 104"/>
                <a:gd name="T25" fmla="*/ 35 h 125"/>
                <a:gd name="T26" fmla="*/ 39 w 104"/>
                <a:gd name="T27" fmla="*/ 9 h 125"/>
                <a:gd name="T28" fmla="*/ 48 w 104"/>
                <a:gd name="T29" fmla="*/ 3 h 125"/>
                <a:gd name="T30" fmla="*/ 56 w 104"/>
                <a:gd name="T31" fmla="*/ 0 h 125"/>
                <a:gd name="T32" fmla="*/ 51 w 104"/>
                <a:gd name="T33" fmla="*/ 9 h 125"/>
                <a:gd name="T34" fmla="*/ 51 w 104"/>
                <a:gd name="T35" fmla="*/ 16 h 125"/>
                <a:gd name="T36" fmla="*/ 42 w 104"/>
                <a:gd name="T37" fmla="*/ 32 h 125"/>
                <a:gd name="T38" fmla="*/ 39 w 104"/>
                <a:gd name="T39" fmla="*/ 51 h 125"/>
                <a:gd name="T40" fmla="*/ 48 w 104"/>
                <a:gd name="T41" fmla="*/ 42 h 125"/>
                <a:gd name="T42" fmla="*/ 52 w 104"/>
                <a:gd name="T43" fmla="*/ 42 h 125"/>
                <a:gd name="T44" fmla="*/ 55 w 104"/>
                <a:gd name="T45" fmla="*/ 48 h 125"/>
                <a:gd name="T46" fmla="*/ 61 w 104"/>
                <a:gd name="T47" fmla="*/ 57 h 125"/>
                <a:gd name="T48" fmla="*/ 68 w 104"/>
                <a:gd name="T49" fmla="*/ 57 h 125"/>
                <a:gd name="T50" fmla="*/ 84 w 104"/>
                <a:gd name="T51" fmla="*/ 58 h 125"/>
                <a:gd name="T52" fmla="*/ 91 w 104"/>
                <a:gd name="T53" fmla="*/ 61 h 125"/>
                <a:gd name="T54" fmla="*/ 90 w 104"/>
                <a:gd name="T55" fmla="*/ 73 h 125"/>
                <a:gd name="T56" fmla="*/ 91 w 104"/>
                <a:gd name="T57" fmla="*/ 80 h 125"/>
                <a:gd name="T58" fmla="*/ 93 w 104"/>
                <a:gd name="T59" fmla="*/ 83 h 125"/>
                <a:gd name="T60" fmla="*/ 95 w 104"/>
                <a:gd name="T61" fmla="*/ 83 h 125"/>
                <a:gd name="T62" fmla="*/ 90 w 104"/>
                <a:gd name="T63" fmla="*/ 96 h 125"/>
                <a:gd name="T64" fmla="*/ 98 w 104"/>
                <a:gd name="T65" fmla="*/ 92 h 125"/>
                <a:gd name="T66" fmla="*/ 100 w 104"/>
                <a:gd name="T67" fmla="*/ 92 h 125"/>
                <a:gd name="T68" fmla="*/ 97 w 104"/>
                <a:gd name="T69" fmla="*/ 102 h 125"/>
                <a:gd name="T70" fmla="*/ 103 w 104"/>
                <a:gd name="T71" fmla="*/ 100 h 125"/>
                <a:gd name="T72" fmla="*/ 103 w 104"/>
                <a:gd name="T73" fmla="*/ 116 h 125"/>
                <a:gd name="T74" fmla="*/ 97 w 104"/>
                <a:gd name="T75" fmla="*/ 125 h 125"/>
                <a:gd name="T76" fmla="*/ 93 w 104"/>
                <a:gd name="T77" fmla="*/ 118 h 125"/>
                <a:gd name="T78" fmla="*/ 90 w 104"/>
                <a:gd name="T79" fmla="*/ 113 h 125"/>
                <a:gd name="T80" fmla="*/ 82 w 104"/>
                <a:gd name="T81" fmla="*/ 118 h 125"/>
                <a:gd name="T82" fmla="*/ 81 w 104"/>
                <a:gd name="T83" fmla="*/ 118 h 125"/>
                <a:gd name="T84" fmla="*/ 84 w 104"/>
                <a:gd name="T85" fmla="*/ 105 h 125"/>
                <a:gd name="T86" fmla="*/ 81 w 104"/>
                <a:gd name="T87" fmla="*/ 96 h 125"/>
                <a:gd name="T88" fmla="*/ 77 w 104"/>
                <a:gd name="T89" fmla="*/ 102 h 125"/>
                <a:gd name="T90" fmla="*/ 72 w 104"/>
                <a:gd name="T91" fmla="*/ 106 h 125"/>
                <a:gd name="T92" fmla="*/ 68 w 104"/>
                <a:gd name="T93" fmla="*/ 110 h 125"/>
                <a:gd name="T94" fmla="*/ 61 w 104"/>
                <a:gd name="T95" fmla="*/ 121 h 125"/>
                <a:gd name="T96" fmla="*/ 52 w 104"/>
                <a:gd name="T97" fmla="*/ 12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 h="125">
                  <a:moveTo>
                    <a:pt x="49" y="118"/>
                  </a:moveTo>
                  <a:lnTo>
                    <a:pt x="49" y="118"/>
                  </a:lnTo>
                  <a:lnTo>
                    <a:pt x="46" y="110"/>
                  </a:lnTo>
                  <a:lnTo>
                    <a:pt x="46" y="109"/>
                  </a:lnTo>
                  <a:lnTo>
                    <a:pt x="49" y="106"/>
                  </a:lnTo>
                  <a:lnTo>
                    <a:pt x="49" y="106"/>
                  </a:lnTo>
                  <a:lnTo>
                    <a:pt x="51" y="105"/>
                  </a:lnTo>
                  <a:lnTo>
                    <a:pt x="49" y="102"/>
                  </a:lnTo>
                  <a:lnTo>
                    <a:pt x="46" y="100"/>
                  </a:lnTo>
                  <a:lnTo>
                    <a:pt x="43" y="99"/>
                  </a:lnTo>
                  <a:lnTo>
                    <a:pt x="43" y="99"/>
                  </a:lnTo>
                  <a:lnTo>
                    <a:pt x="11" y="102"/>
                  </a:lnTo>
                  <a:lnTo>
                    <a:pt x="11" y="102"/>
                  </a:lnTo>
                  <a:lnTo>
                    <a:pt x="3" y="100"/>
                  </a:lnTo>
                  <a:lnTo>
                    <a:pt x="0" y="99"/>
                  </a:lnTo>
                  <a:lnTo>
                    <a:pt x="0" y="97"/>
                  </a:lnTo>
                  <a:lnTo>
                    <a:pt x="0" y="96"/>
                  </a:lnTo>
                  <a:lnTo>
                    <a:pt x="0" y="96"/>
                  </a:lnTo>
                  <a:lnTo>
                    <a:pt x="6" y="87"/>
                  </a:lnTo>
                  <a:lnTo>
                    <a:pt x="7" y="84"/>
                  </a:lnTo>
                  <a:lnTo>
                    <a:pt x="7" y="83"/>
                  </a:lnTo>
                  <a:lnTo>
                    <a:pt x="7" y="83"/>
                  </a:lnTo>
                  <a:lnTo>
                    <a:pt x="7" y="83"/>
                  </a:lnTo>
                  <a:lnTo>
                    <a:pt x="1" y="83"/>
                  </a:lnTo>
                  <a:lnTo>
                    <a:pt x="0" y="81"/>
                  </a:lnTo>
                  <a:lnTo>
                    <a:pt x="0" y="79"/>
                  </a:lnTo>
                  <a:lnTo>
                    <a:pt x="0" y="79"/>
                  </a:lnTo>
                  <a:lnTo>
                    <a:pt x="7" y="71"/>
                  </a:lnTo>
                  <a:lnTo>
                    <a:pt x="11" y="67"/>
                  </a:lnTo>
                  <a:lnTo>
                    <a:pt x="11" y="67"/>
                  </a:lnTo>
                  <a:lnTo>
                    <a:pt x="17" y="67"/>
                  </a:lnTo>
                  <a:lnTo>
                    <a:pt x="19" y="66"/>
                  </a:lnTo>
                  <a:lnTo>
                    <a:pt x="19" y="64"/>
                  </a:lnTo>
                  <a:lnTo>
                    <a:pt x="19" y="64"/>
                  </a:lnTo>
                  <a:lnTo>
                    <a:pt x="16" y="58"/>
                  </a:lnTo>
                  <a:lnTo>
                    <a:pt x="16" y="54"/>
                  </a:lnTo>
                  <a:lnTo>
                    <a:pt x="16" y="54"/>
                  </a:lnTo>
                  <a:lnTo>
                    <a:pt x="20" y="42"/>
                  </a:lnTo>
                  <a:lnTo>
                    <a:pt x="23" y="35"/>
                  </a:lnTo>
                  <a:lnTo>
                    <a:pt x="26" y="28"/>
                  </a:lnTo>
                  <a:lnTo>
                    <a:pt x="26" y="28"/>
                  </a:lnTo>
                  <a:lnTo>
                    <a:pt x="39" y="9"/>
                  </a:lnTo>
                  <a:lnTo>
                    <a:pt x="39" y="9"/>
                  </a:lnTo>
                  <a:lnTo>
                    <a:pt x="42" y="6"/>
                  </a:lnTo>
                  <a:lnTo>
                    <a:pt x="48" y="3"/>
                  </a:lnTo>
                  <a:lnTo>
                    <a:pt x="53" y="0"/>
                  </a:lnTo>
                  <a:lnTo>
                    <a:pt x="56" y="0"/>
                  </a:lnTo>
                  <a:lnTo>
                    <a:pt x="56" y="0"/>
                  </a:lnTo>
                  <a:lnTo>
                    <a:pt x="53" y="5"/>
                  </a:lnTo>
                  <a:lnTo>
                    <a:pt x="51" y="9"/>
                  </a:lnTo>
                  <a:lnTo>
                    <a:pt x="51" y="9"/>
                  </a:lnTo>
                  <a:lnTo>
                    <a:pt x="51" y="12"/>
                  </a:lnTo>
                  <a:lnTo>
                    <a:pt x="52" y="15"/>
                  </a:lnTo>
                  <a:lnTo>
                    <a:pt x="51" y="16"/>
                  </a:lnTo>
                  <a:lnTo>
                    <a:pt x="51" y="16"/>
                  </a:lnTo>
                  <a:lnTo>
                    <a:pt x="46" y="24"/>
                  </a:lnTo>
                  <a:lnTo>
                    <a:pt x="42" y="32"/>
                  </a:lnTo>
                  <a:lnTo>
                    <a:pt x="42" y="32"/>
                  </a:lnTo>
                  <a:lnTo>
                    <a:pt x="40" y="42"/>
                  </a:lnTo>
                  <a:lnTo>
                    <a:pt x="39" y="51"/>
                  </a:lnTo>
                  <a:lnTo>
                    <a:pt x="39" y="51"/>
                  </a:lnTo>
                  <a:lnTo>
                    <a:pt x="43" y="44"/>
                  </a:lnTo>
                  <a:lnTo>
                    <a:pt x="48" y="42"/>
                  </a:lnTo>
                  <a:lnTo>
                    <a:pt x="51" y="41"/>
                  </a:lnTo>
                  <a:lnTo>
                    <a:pt x="51" y="41"/>
                  </a:lnTo>
                  <a:lnTo>
                    <a:pt x="52" y="42"/>
                  </a:lnTo>
                  <a:lnTo>
                    <a:pt x="53" y="44"/>
                  </a:lnTo>
                  <a:lnTo>
                    <a:pt x="55" y="48"/>
                  </a:lnTo>
                  <a:lnTo>
                    <a:pt x="55" y="48"/>
                  </a:lnTo>
                  <a:lnTo>
                    <a:pt x="55" y="51"/>
                  </a:lnTo>
                  <a:lnTo>
                    <a:pt x="58" y="55"/>
                  </a:lnTo>
                  <a:lnTo>
                    <a:pt x="61" y="57"/>
                  </a:lnTo>
                  <a:lnTo>
                    <a:pt x="64" y="58"/>
                  </a:lnTo>
                  <a:lnTo>
                    <a:pt x="64" y="58"/>
                  </a:lnTo>
                  <a:lnTo>
                    <a:pt x="68" y="57"/>
                  </a:lnTo>
                  <a:lnTo>
                    <a:pt x="72" y="57"/>
                  </a:lnTo>
                  <a:lnTo>
                    <a:pt x="72" y="57"/>
                  </a:lnTo>
                  <a:lnTo>
                    <a:pt x="84" y="58"/>
                  </a:lnTo>
                  <a:lnTo>
                    <a:pt x="90" y="60"/>
                  </a:lnTo>
                  <a:lnTo>
                    <a:pt x="91" y="61"/>
                  </a:lnTo>
                  <a:lnTo>
                    <a:pt x="91" y="61"/>
                  </a:lnTo>
                  <a:lnTo>
                    <a:pt x="88" y="66"/>
                  </a:lnTo>
                  <a:lnTo>
                    <a:pt x="88" y="68"/>
                  </a:lnTo>
                  <a:lnTo>
                    <a:pt x="90" y="73"/>
                  </a:lnTo>
                  <a:lnTo>
                    <a:pt x="90" y="73"/>
                  </a:lnTo>
                  <a:lnTo>
                    <a:pt x="91" y="77"/>
                  </a:lnTo>
                  <a:lnTo>
                    <a:pt x="91" y="80"/>
                  </a:lnTo>
                  <a:lnTo>
                    <a:pt x="93" y="83"/>
                  </a:lnTo>
                  <a:lnTo>
                    <a:pt x="93" y="83"/>
                  </a:lnTo>
                  <a:lnTo>
                    <a:pt x="93" y="83"/>
                  </a:lnTo>
                  <a:lnTo>
                    <a:pt x="95" y="81"/>
                  </a:lnTo>
                  <a:lnTo>
                    <a:pt x="95" y="81"/>
                  </a:lnTo>
                  <a:lnTo>
                    <a:pt x="95" y="83"/>
                  </a:lnTo>
                  <a:lnTo>
                    <a:pt x="95" y="83"/>
                  </a:lnTo>
                  <a:lnTo>
                    <a:pt x="90" y="96"/>
                  </a:lnTo>
                  <a:lnTo>
                    <a:pt x="90" y="96"/>
                  </a:lnTo>
                  <a:lnTo>
                    <a:pt x="91" y="96"/>
                  </a:lnTo>
                  <a:lnTo>
                    <a:pt x="94" y="93"/>
                  </a:lnTo>
                  <a:lnTo>
                    <a:pt x="98" y="92"/>
                  </a:lnTo>
                  <a:lnTo>
                    <a:pt x="98" y="92"/>
                  </a:lnTo>
                  <a:lnTo>
                    <a:pt x="100" y="92"/>
                  </a:lnTo>
                  <a:lnTo>
                    <a:pt x="100" y="92"/>
                  </a:lnTo>
                  <a:lnTo>
                    <a:pt x="97" y="99"/>
                  </a:lnTo>
                  <a:lnTo>
                    <a:pt x="97" y="102"/>
                  </a:lnTo>
                  <a:lnTo>
                    <a:pt x="97" y="102"/>
                  </a:lnTo>
                  <a:lnTo>
                    <a:pt x="97" y="102"/>
                  </a:lnTo>
                  <a:lnTo>
                    <a:pt x="101" y="100"/>
                  </a:lnTo>
                  <a:lnTo>
                    <a:pt x="103" y="100"/>
                  </a:lnTo>
                  <a:lnTo>
                    <a:pt x="104" y="102"/>
                  </a:lnTo>
                  <a:lnTo>
                    <a:pt x="104" y="102"/>
                  </a:lnTo>
                  <a:lnTo>
                    <a:pt x="103" y="116"/>
                  </a:lnTo>
                  <a:lnTo>
                    <a:pt x="100" y="122"/>
                  </a:lnTo>
                  <a:lnTo>
                    <a:pt x="98" y="125"/>
                  </a:lnTo>
                  <a:lnTo>
                    <a:pt x="97" y="125"/>
                  </a:lnTo>
                  <a:lnTo>
                    <a:pt x="97" y="125"/>
                  </a:lnTo>
                  <a:lnTo>
                    <a:pt x="94" y="121"/>
                  </a:lnTo>
                  <a:lnTo>
                    <a:pt x="93" y="118"/>
                  </a:lnTo>
                  <a:lnTo>
                    <a:pt x="93" y="115"/>
                  </a:lnTo>
                  <a:lnTo>
                    <a:pt x="90" y="113"/>
                  </a:lnTo>
                  <a:lnTo>
                    <a:pt x="90" y="113"/>
                  </a:lnTo>
                  <a:lnTo>
                    <a:pt x="88" y="115"/>
                  </a:lnTo>
                  <a:lnTo>
                    <a:pt x="85" y="116"/>
                  </a:lnTo>
                  <a:lnTo>
                    <a:pt x="82" y="118"/>
                  </a:lnTo>
                  <a:lnTo>
                    <a:pt x="82" y="118"/>
                  </a:lnTo>
                  <a:lnTo>
                    <a:pt x="81" y="118"/>
                  </a:lnTo>
                  <a:lnTo>
                    <a:pt x="81" y="118"/>
                  </a:lnTo>
                  <a:lnTo>
                    <a:pt x="84" y="110"/>
                  </a:lnTo>
                  <a:lnTo>
                    <a:pt x="84" y="108"/>
                  </a:lnTo>
                  <a:lnTo>
                    <a:pt x="84" y="105"/>
                  </a:lnTo>
                  <a:lnTo>
                    <a:pt x="84" y="105"/>
                  </a:lnTo>
                  <a:lnTo>
                    <a:pt x="81" y="99"/>
                  </a:lnTo>
                  <a:lnTo>
                    <a:pt x="81" y="96"/>
                  </a:lnTo>
                  <a:lnTo>
                    <a:pt x="79" y="96"/>
                  </a:lnTo>
                  <a:lnTo>
                    <a:pt x="79" y="96"/>
                  </a:lnTo>
                  <a:lnTo>
                    <a:pt x="77" y="102"/>
                  </a:lnTo>
                  <a:lnTo>
                    <a:pt x="75" y="105"/>
                  </a:lnTo>
                  <a:lnTo>
                    <a:pt x="72" y="106"/>
                  </a:lnTo>
                  <a:lnTo>
                    <a:pt x="72" y="106"/>
                  </a:lnTo>
                  <a:lnTo>
                    <a:pt x="69" y="106"/>
                  </a:lnTo>
                  <a:lnTo>
                    <a:pt x="68" y="110"/>
                  </a:lnTo>
                  <a:lnTo>
                    <a:pt x="68" y="110"/>
                  </a:lnTo>
                  <a:lnTo>
                    <a:pt x="65" y="116"/>
                  </a:lnTo>
                  <a:lnTo>
                    <a:pt x="62" y="119"/>
                  </a:lnTo>
                  <a:lnTo>
                    <a:pt x="61" y="121"/>
                  </a:lnTo>
                  <a:lnTo>
                    <a:pt x="61" y="121"/>
                  </a:lnTo>
                  <a:lnTo>
                    <a:pt x="55" y="122"/>
                  </a:lnTo>
                  <a:lnTo>
                    <a:pt x="52" y="121"/>
                  </a:lnTo>
                  <a:lnTo>
                    <a:pt x="49" y="1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94" name="Freeform 948"/>
            <p:cNvSpPr>
              <a:spLocks/>
            </p:cNvSpPr>
            <p:nvPr/>
          </p:nvSpPr>
          <p:spPr bwMode="auto">
            <a:xfrm>
              <a:off x="2246313" y="2711879"/>
              <a:ext cx="20638" cy="46038"/>
            </a:xfrm>
            <a:custGeom>
              <a:avLst/>
              <a:gdLst>
                <a:gd name="T0" fmla="*/ 4 w 13"/>
                <a:gd name="T1" fmla="*/ 29 h 29"/>
                <a:gd name="T2" fmla="*/ 4 w 13"/>
                <a:gd name="T3" fmla="*/ 29 h 29"/>
                <a:gd name="T4" fmla="*/ 1 w 13"/>
                <a:gd name="T5" fmla="*/ 27 h 29"/>
                <a:gd name="T6" fmla="*/ 0 w 13"/>
                <a:gd name="T7" fmla="*/ 24 h 29"/>
                <a:gd name="T8" fmla="*/ 0 w 13"/>
                <a:gd name="T9" fmla="*/ 14 h 29"/>
                <a:gd name="T10" fmla="*/ 1 w 13"/>
                <a:gd name="T11" fmla="*/ 4 h 29"/>
                <a:gd name="T12" fmla="*/ 3 w 13"/>
                <a:gd name="T13" fmla="*/ 1 h 29"/>
                <a:gd name="T14" fmla="*/ 4 w 13"/>
                <a:gd name="T15" fmla="*/ 0 h 29"/>
                <a:gd name="T16" fmla="*/ 4 w 13"/>
                <a:gd name="T17" fmla="*/ 0 h 29"/>
                <a:gd name="T18" fmla="*/ 9 w 13"/>
                <a:gd name="T19" fmla="*/ 0 h 29"/>
                <a:gd name="T20" fmla="*/ 12 w 13"/>
                <a:gd name="T21" fmla="*/ 3 h 29"/>
                <a:gd name="T22" fmla="*/ 13 w 13"/>
                <a:gd name="T23" fmla="*/ 7 h 29"/>
                <a:gd name="T24" fmla="*/ 13 w 13"/>
                <a:gd name="T25" fmla="*/ 10 h 29"/>
                <a:gd name="T26" fmla="*/ 13 w 13"/>
                <a:gd name="T27" fmla="*/ 10 h 29"/>
                <a:gd name="T28" fmla="*/ 13 w 13"/>
                <a:gd name="T29" fmla="*/ 14 h 29"/>
                <a:gd name="T30" fmla="*/ 10 w 13"/>
                <a:gd name="T31" fmla="*/ 22 h 29"/>
                <a:gd name="T32" fmla="*/ 7 w 13"/>
                <a:gd name="T33" fmla="*/ 27 h 29"/>
                <a:gd name="T34" fmla="*/ 6 w 13"/>
                <a:gd name="T35" fmla="*/ 29 h 29"/>
                <a:gd name="T36" fmla="*/ 4 w 13"/>
                <a:gd name="T3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29">
                  <a:moveTo>
                    <a:pt x="4" y="29"/>
                  </a:moveTo>
                  <a:lnTo>
                    <a:pt x="4" y="29"/>
                  </a:lnTo>
                  <a:lnTo>
                    <a:pt x="1" y="27"/>
                  </a:lnTo>
                  <a:lnTo>
                    <a:pt x="0" y="24"/>
                  </a:lnTo>
                  <a:lnTo>
                    <a:pt x="0" y="14"/>
                  </a:lnTo>
                  <a:lnTo>
                    <a:pt x="1" y="4"/>
                  </a:lnTo>
                  <a:lnTo>
                    <a:pt x="3" y="1"/>
                  </a:lnTo>
                  <a:lnTo>
                    <a:pt x="4" y="0"/>
                  </a:lnTo>
                  <a:lnTo>
                    <a:pt x="4" y="0"/>
                  </a:lnTo>
                  <a:lnTo>
                    <a:pt x="9" y="0"/>
                  </a:lnTo>
                  <a:lnTo>
                    <a:pt x="12" y="3"/>
                  </a:lnTo>
                  <a:lnTo>
                    <a:pt x="13" y="7"/>
                  </a:lnTo>
                  <a:lnTo>
                    <a:pt x="13" y="10"/>
                  </a:lnTo>
                  <a:lnTo>
                    <a:pt x="13" y="10"/>
                  </a:lnTo>
                  <a:lnTo>
                    <a:pt x="13" y="14"/>
                  </a:lnTo>
                  <a:lnTo>
                    <a:pt x="10" y="22"/>
                  </a:lnTo>
                  <a:lnTo>
                    <a:pt x="7" y="27"/>
                  </a:lnTo>
                  <a:lnTo>
                    <a:pt x="6" y="29"/>
                  </a:lnTo>
                  <a:lnTo>
                    <a:pt x="4" y="29"/>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95" name="Freeform 949"/>
            <p:cNvSpPr>
              <a:spLocks/>
            </p:cNvSpPr>
            <p:nvPr/>
          </p:nvSpPr>
          <p:spPr bwMode="auto">
            <a:xfrm>
              <a:off x="2246313" y="2711879"/>
              <a:ext cx="20638" cy="46038"/>
            </a:xfrm>
            <a:custGeom>
              <a:avLst/>
              <a:gdLst>
                <a:gd name="T0" fmla="*/ 4 w 13"/>
                <a:gd name="T1" fmla="*/ 29 h 29"/>
                <a:gd name="T2" fmla="*/ 4 w 13"/>
                <a:gd name="T3" fmla="*/ 29 h 29"/>
                <a:gd name="T4" fmla="*/ 1 w 13"/>
                <a:gd name="T5" fmla="*/ 27 h 29"/>
                <a:gd name="T6" fmla="*/ 0 w 13"/>
                <a:gd name="T7" fmla="*/ 24 h 29"/>
                <a:gd name="T8" fmla="*/ 0 w 13"/>
                <a:gd name="T9" fmla="*/ 14 h 29"/>
                <a:gd name="T10" fmla="*/ 1 w 13"/>
                <a:gd name="T11" fmla="*/ 4 h 29"/>
                <a:gd name="T12" fmla="*/ 3 w 13"/>
                <a:gd name="T13" fmla="*/ 1 h 29"/>
                <a:gd name="T14" fmla="*/ 4 w 13"/>
                <a:gd name="T15" fmla="*/ 0 h 29"/>
                <a:gd name="T16" fmla="*/ 4 w 13"/>
                <a:gd name="T17" fmla="*/ 0 h 29"/>
                <a:gd name="T18" fmla="*/ 9 w 13"/>
                <a:gd name="T19" fmla="*/ 0 h 29"/>
                <a:gd name="T20" fmla="*/ 12 w 13"/>
                <a:gd name="T21" fmla="*/ 3 h 29"/>
                <a:gd name="T22" fmla="*/ 13 w 13"/>
                <a:gd name="T23" fmla="*/ 7 h 29"/>
                <a:gd name="T24" fmla="*/ 13 w 13"/>
                <a:gd name="T25" fmla="*/ 10 h 29"/>
                <a:gd name="T26" fmla="*/ 13 w 13"/>
                <a:gd name="T27" fmla="*/ 10 h 29"/>
                <a:gd name="T28" fmla="*/ 13 w 13"/>
                <a:gd name="T29" fmla="*/ 14 h 29"/>
                <a:gd name="T30" fmla="*/ 10 w 13"/>
                <a:gd name="T31" fmla="*/ 22 h 29"/>
                <a:gd name="T32" fmla="*/ 7 w 13"/>
                <a:gd name="T33" fmla="*/ 27 h 29"/>
                <a:gd name="T34" fmla="*/ 6 w 13"/>
                <a:gd name="T35" fmla="*/ 29 h 29"/>
                <a:gd name="T36" fmla="*/ 4 w 13"/>
                <a:gd name="T3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29">
                  <a:moveTo>
                    <a:pt x="4" y="29"/>
                  </a:moveTo>
                  <a:lnTo>
                    <a:pt x="4" y="29"/>
                  </a:lnTo>
                  <a:lnTo>
                    <a:pt x="1" y="27"/>
                  </a:lnTo>
                  <a:lnTo>
                    <a:pt x="0" y="24"/>
                  </a:lnTo>
                  <a:lnTo>
                    <a:pt x="0" y="14"/>
                  </a:lnTo>
                  <a:lnTo>
                    <a:pt x="1" y="4"/>
                  </a:lnTo>
                  <a:lnTo>
                    <a:pt x="3" y="1"/>
                  </a:lnTo>
                  <a:lnTo>
                    <a:pt x="4" y="0"/>
                  </a:lnTo>
                  <a:lnTo>
                    <a:pt x="4" y="0"/>
                  </a:lnTo>
                  <a:lnTo>
                    <a:pt x="9" y="0"/>
                  </a:lnTo>
                  <a:lnTo>
                    <a:pt x="12" y="3"/>
                  </a:lnTo>
                  <a:lnTo>
                    <a:pt x="13" y="7"/>
                  </a:lnTo>
                  <a:lnTo>
                    <a:pt x="13" y="10"/>
                  </a:lnTo>
                  <a:lnTo>
                    <a:pt x="13" y="10"/>
                  </a:lnTo>
                  <a:lnTo>
                    <a:pt x="13" y="14"/>
                  </a:lnTo>
                  <a:lnTo>
                    <a:pt x="10" y="22"/>
                  </a:lnTo>
                  <a:lnTo>
                    <a:pt x="7" y="27"/>
                  </a:lnTo>
                  <a:lnTo>
                    <a:pt x="6" y="29"/>
                  </a:lnTo>
                  <a:lnTo>
                    <a:pt x="4" y="2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96" name="Freeform 950"/>
            <p:cNvSpPr>
              <a:spLocks/>
            </p:cNvSpPr>
            <p:nvPr/>
          </p:nvSpPr>
          <p:spPr bwMode="auto">
            <a:xfrm>
              <a:off x="2157413" y="2688067"/>
              <a:ext cx="57150" cy="53975"/>
            </a:xfrm>
            <a:custGeom>
              <a:avLst/>
              <a:gdLst>
                <a:gd name="T0" fmla="*/ 8 w 36"/>
                <a:gd name="T1" fmla="*/ 29 h 34"/>
                <a:gd name="T2" fmla="*/ 8 w 36"/>
                <a:gd name="T3" fmla="*/ 29 h 34"/>
                <a:gd name="T4" fmla="*/ 7 w 36"/>
                <a:gd name="T5" fmla="*/ 29 h 34"/>
                <a:gd name="T6" fmla="*/ 5 w 36"/>
                <a:gd name="T7" fmla="*/ 28 h 34"/>
                <a:gd name="T8" fmla="*/ 5 w 36"/>
                <a:gd name="T9" fmla="*/ 28 h 34"/>
                <a:gd name="T10" fmla="*/ 4 w 36"/>
                <a:gd name="T11" fmla="*/ 28 h 34"/>
                <a:gd name="T12" fmla="*/ 4 w 36"/>
                <a:gd name="T13" fmla="*/ 28 h 34"/>
                <a:gd name="T14" fmla="*/ 2 w 36"/>
                <a:gd name="T15" fmla="*/ 32 h 34"/>
                <a:gd name="T16" fmla="*/ 1 w 36"/>
                <a:gd name="T17" fmla="*/ 34 h 34"/>
                <a:gd name="T18" fmla="*/ 0 w 36"/>
                <a:gd name="T19" fmla="*/ 32 h 34"/>
                <a:gd name="T20" fmla="*/ 0 w 36"/>
                <a:gd name="T21" fmla="*/ 32 h 34"/>
                <a:gd name="T22" fmla="*/ 0 w 36"/>
                <a:gd name="T23" fmla="*/ 29 h 34"/>
                <a:gd name="T24" fmla="*/ 0 w 36"/>
                <a:gd name="T25" fmla="*/ 26 h 34"/>
                <a:gd name="T26" fmla="*/ 2 w 36"/>
                <a:gd name="T27" fmla="*/ 19 h 34"/>
                <a:gd name="T28" fmla="*/ 2 w 36"/>
                <a:gd name="T29" fmla="*/ 19 h 34"/>
                <a:gd name="T30" fmla="*/ 10 w 36"/>
                <a:gd name="T31" fmla="*/ 10 h 34"/>
                <a:gd name="T32" fmla="*/ 13 w 36"/>
                <a:gd name="T33" fmla="*/ 6 h 34"/>
                <a:gd name="T34" fmla="*/ 17 w 36"/>
                <a:gd name="T35" fmla="*/ 3 h 34"/>
                <a:gd name="T36" fmla="*/ 17 w 36"/>
                <a:gd name="T37" fmla="*/ 3 h 34"/>
                <a:gd name="T38" fmla="*/ 24 w 36"/>
                <a:gd name="T39" fmla="*/ 3 h 34"/>
                <a:gd name="T40" fmla="*/ 30 w 36"/>
                <a:gd name="T41" fmla="*/ 3 h 34"/>
                <a:gd name="T42" fmla="*/ 30 w 36"/>
                <a:gd name="T43" fmla="*/ 3 h 34"/>
                <a:gd name="T44" fmla="*/ 34 w 36"/>
                <a:gd name="T45" fmla="*/ 0 h 34"/>
                <a:gd name="T46" fmla="*/ 36 w 36"/>
                <a:gd name="T47" fmla="*/ 0 h 34"/>
                <a:gd name="T48" fmla="*/ 36 w 36"/>
                <a:gd name="T49" fmla="*/ 2 h 34"/>
                <a:gd name="T50" fmla="*/ 36 w 36"/>
                <a:gd name="T51" fmla="*/ 2 h 34"/>
                <a:gd name="T52" fmla="*/ 34 w 36"/>
                <a:gd name="T53" fmla="*/ 8 h 34"/>
                <a:gd name="T54" fmla="*/ 31 w 36"/>
                <a:gd name="T55" fmla="*/ 13 h 34"/>
                <a:gd name="T56" fmla="*/ 27 w 36"/>
                <a:gd name="T57" fmla="*/ 21 h 34"/>
                <a:gd name="T58" fmla="*/ 21 w 36"/>
                <a:gd name="T59" fmla="*/ 23 h 34"/>
                <a:gd name="T60" fmla="*/ 21 w 36"/>
                <a:gd name="T61" fmla="*/ 23 h 34"/>
                <a:gd name="T62" fmla="*/ 14 w 36"/>
                <a:gd name="T63" fmla="*/ 28 h 34"/>
                <a:gd name="T64" fmla="*/ 8 w 36"/>
                <a:gd name="T65" fmla="*/ 2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34">
                  <a:moveTo>
                    <a:pt x="8" y="29"/>
                  </a:moveTo>
                  <a:lnTo>
                    <a:pt x="8" y="29"/>
                  </a:lnTo>
                  <a:lnTo>
                    <a:pt x="7" y="29"/>
                  </a:lnTo>
                  <a:lnTo>
                    <a:pt x="5" y="28"/>
                  </a:lnTo>
                  <a:lnTo>
                    <a:pt x="5" y="28"/>
                  </a:lnTo>
                  <a:lnTo>
                    <a:pt x="4" y="28"/>
                  </a:lnTo>
                  <a:lnTo>
                    <a:pt x="4" y="28"/>
                  </a:lnTo>
                  <a:lnTo>
                    <a:pt x="2" y="32"/>
                  </a:lnTo>
                  <a:lnTo>
                    <a:pt x="1" y="34"/>
                  </a:lnTo>
                  <a:lnTo>
                    <a:pt x="0" y="32"/>
                  </a:lnTo>
                  <a:lnTo>
                    <a:pt x="0" y="32"/>
                  </a:lnTo>
                  <a:lnTo>
                    <a:pt x="0" y="29"/>
                  </a:lnTo>
                  <a:lnTo>
                    <a:pt x="0" y="26"/>
                  </a:lnTo>
                  <a:lnTo>
                    <a:pt x="2" y="19"/>
                  </a:lnTo>
                  <a:lnTo>
                    <a:pt x="2" y="19"/>
                  </a:lnTo>
                  <a:lnTo>
                    <a:pt x="10" y="10"/>
                  </a:lnTo>
                  <a:lnTo>
                    <a:pt x="13" y="6"/>
                  </a:lnTo>
                  <a:lnTo>
                    <a:pt x="17" y="3"/>
                  </a:lnTo>
                  <a:lnTo>
                    <a:pt x="17" y="3"/>
                  </a:lnTo>
                  <a:lnTo>
                    <a:pt x="24" y="3"/>
                  </a:lnTo>
                  <a:lnTo>
                    <a:pt x="30" y="3"/>
                  </a:lnTo>
                  <a:lnTo>
                    <a:pt x="30" y="3"/>
                  </a:lnTo>
                  <a:lnTo>
                    <a:pt x="34" y="0"/>
                  </a:lnTo>
                  <a:lnTo>
                    <a:pt x="36" y="0"/>
                  </a:lnTo>
                  <a:lnTo>
                    <a:pt x="36" y="2"/>
                  </a:lnTo>
                  <a:lnTo>
                    <a:pt x="36" y="2"/>
                  </a:lnTo>
                  <a:lnTo>
                    <a:pt x="34" y="8"/>
                  </a:lnTo>
                  <a:lnTo>
                    <a:pt x="31" y="13"/>
                  </a:lnTo>
                  <a:lnTo>
                    <a:pt x="27" y="21"/>
                  </a:lnTo>
                  <a:lnTo>
                    <a:pt x="21" y="23"/>
                  </a:lnTo>
                  <a:lnTo>
                    <a:pt x="21" y="23"/>
                  </a:lnTo>
                  <a:lnTo>
                    <a:pt x="14" y="28"/>
                  </a:lnTo>
                  <a:lnTo>
                    <a:pt x="8" y="29"/>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97" name="Freeform 951"/>
            <p:cNvSpPr>
              <a:spLocks/>
            </p:cNvSpPr>
            <p:nvPr/>
          </p:nvSpPr>
          <p:spPr bwMode="auto">
            <a:xfrm>
              <a:off x="2157413" y="2688067"/>
              <a:ext cx="57150" cy="53975"/>
            </a:xfrm>
            <a:custGeom>
              <a:avLst/>
              <a:gdLst>
                <a:gd name="T0" fmla="*/ 8 w 36"/>
                <a:gd name="T1" fmla="*/ 29 h 34"/>
                <a:gd name="T2" fmla="*/ 8 w 36"/>
                <a:gd name="T3" fmla="*/ 29 h 34"/>
                <a:gd name="T4" fmla="*/ 7 w 36"/>
                <a:gd name="T5" fmla="*/ 29 h 34"/>
                <a:gd name="T6" fmla="*/ 5 w 36"/>
                <a:gd name="T7" fmla="*/ 28 h 34"/>
                <a:gd name="T8" fmla="*/ 5 w 36"/>
                <a:gd name="T9" fmla="*/ 28 h 34"/>
                <a:gd name="T10" fmla="*/ 4 w 36"/>
                <a:gd name="T11" fmla="*/ 28 h 34"/>
                <a:gd name="T12" fmla="*/ 4 w 36"/>
                <a:gd name="T13" fmla="*/ 28 h 34"/>
                <a:gd name="T14" fmla="*/ 2 w 36"/>
                <a:gd name="T15" fmla="*/ 32 h 34"/>
                <a:gd name="T16" fmla="*/ 1 w 36"/>
                <a:gd name="T17" fmla="*/ 34 h 34"/>
                <a:gd name="T18" fmla="*/ 0 w 36"/>
                <a:gd name="T19" fmla="*/ 32 h 34"/>
                <a:gd name="T20" fmla="*/ 0 w 36"/>
                <a:gd name="T21" fmla="*/ 32 h 34"/>
                <a:gd name="T22" fmla="*/ 0 w 36"/>
                <a:gd name="T23" fmla="*/ 29 h 34"/>
                <a:gd name="T24" fmla="*/ 0 w 36"/>
                <a:gd name="T25" fmla="*/ 26 h 34"/>
                <a:gd name="T26" fmla="*/ 2 w 36"/>
                <a:gd name="T27" fmla="*/ 19 h 34"/>
                <a:gd name="T28" fmla="*/ 2 w 36"/>
                <a:gd name="T29" fmla="*/ 19 h 34"/>
                <a:gd name="T30" fmla="*/ 10 w 36"/>
                <a:gd name="T31" fmla="*/ 10 h 34"/>
                <a:gd name="T32" fmla="*/ 13 w 36"/>
                <a:gd name="T33" fmla="*/ 6 h 34"/>
                <a:gd name="T34" fmla="*/ 17 w 36"/>
                <a:gd name="T35" fmla="*/ 3 h 34"/>
                <a:gd name="T36" fmla="*/ 17 w 36"/>
                <a:gd name="T37" fmla="*/ 3 h 34"/>
                <a:gd name="T38" fmla="*/ 24 w 36"/>
                <a:gd name="T39" fmla="*/ 3 h 34"/>
                <a:gd name="T40" fmla="*/ 30 w 36"/>
                <a:gd name="T41" fmla="*/ 3 h 34"/>
                <a:gd name="T42" fmla="*/ 30 w 36"/>
                <a:gd name="T43" fmla="*/ 3 h 34"/>
                <a:gd name="T44" fmla="*/ 34 w 36"/>
                <a:gd name="T45" fmla="*/ 0 h 34"/>
                <a:gd name="T46" fmla="*/ 36 w 36"/>
                <a:gd name="T47" fmla="*/ 0 h 34"/>
                <a:gd name="T48" fmla="*/ 36 w 36"/>
                <a:gd name="T49" fmla="*/ 2 h 34"/>
                <a:gd name="T50" fmla="*/ 36 w 36"/>
                <a:gd name="T51" fmla="*/ 2 h 34"/>
                <a:gd name="T52" fmla="*/ 34 w 36"/>
                <a:gd name="T53" fmla="*/ 8 h 34"/>
                <a:gd name="T54" fmla="*/ 31 w 36"/>
                <a:gd name="T55" fmla="*/ 13 h 34"/>
                <a:gd name="T56" fmla="*/ 27 w 36"/>
                <a:gd name="T57" fmla="*/ 21 h 34"/>
                <a:gd name="T58" fmla="*/ 21 w 36"/>
                <a:gd name="T59" fmla="*/ 23 h 34"/>
                <a:gd name="T60" fmla="*/ 21 w 36"/>
                <a:gd name="T61" fmla="*/ 23 h 34"/>
                <a:gd name="T62" fmla="*/ 14 w 36"/>
                <a:gd name="T63" fmla="*/ 28 h 34"/>
                <a:gd name="T64" fmla="*/ 8 w 36"/>
                <a:gd name="T65" fmla="*/ 2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34">
                  <a:moveTo>
                    <a:pt x="8" y="29"/>
                  </a:moveTo>
                  <a:lnTo>
                    <a:pt x="8" y="29"/>
                  </a:lnTo>
                  <a:lnTo>
                    <a:pt x="7" y="29"/>
                  </a:lnTo>
                  <a:lnTo>
                    <a:pt x="5" y="28"/>
                  </a:lnTo>
                  <a:lnTo>
                    <a:pt x="5" y="28"/>
                  </a:lnTo>
                  <a:lnTo>
                    <a:pt x="4" y="28"/>
                  </a:lnTo>
                  <a:lnTo>
                    <a:pt x="4" y="28"/>
                  </a:lnTo>
                  <a:lnTo>
                    <a:pt x="2" y="32"/>
                  </a:lnTo>
                  <a:lnTo>
                    <a:pt x="1" y="34"/>
                  </a:lnTo>
                  <a:lnTo>
                    <a:pt x="0" y="32"/>
                  </a:lnTo>
                  <a:lnTo>
                    <a:pt x="0" y="32"/>
                  </a:lnTo>
                  <a:lnTo>
                    <a:pt x="0" y="29"/>
                  </a:lnTo>
                  <a:lnTo>
                    <a:pt x="0" y="26"/>
                  </a:lnTo>
                  <a:lnTo>
                    <a:pt x="2" y="19"/>
                  </a:lnTo>
                  <a:lnTo>
                    <a:pt x="2" y="19"/>
                  </a:lnTo>
                  <a:lnTo>
                    <a:pt x="10" y="10"/>
                  </a:lnTo>
                  <a:lnTo>
                    <a:pt x="13" y="6"/>
                  </a:lnTo>
                  <a:lnTo>
                    <a:pt x="17" y="3"/>
                  </a:lnTo>
                  <a:lnTo>
                    <a:pt x="17" y="3"/>
                  </a:lnTo>
                  <a:lnTo>
                    <a:pt x="24" y="3"/>
                  </a:lnTo>
                  <a:lnTo>
                    <a:pt x="30" y="3"/>
                  </a:lnTo>
                  <a:lnTo>
                    <a:pt x="30" y="3"/>
                  </a:lnTo>
                  <a:lnTo>
                    <a:pt x="34" y="0"/>
                  </a:lnTo>
                  <a:lnTo>
                    <a:pt x="36" y="0"/>
                  </a:lnTo>
                  <a:lnTo>
                    <a:pt x="36" y="2"/>
                  </a:lnTo>
                  <a:lnTo>
                    <a:pt x="36" y="2"/>
                  </a:lnTo>
                  <a:lnTo>
                    <a:pt x="34" y="8"/>
                  </a:lnTo>
                  <a:lnTo>
                    <a:pt x="31" y="13"/>
                  </a:lnTo>
                  <a:lnTo>
                    <a:pt x="27" y="21"/>
                  </a:lnTo>
                  <a:lnTo>
                    <a:pt x="21" y="23"/>
                  </a:lnTo>
                  <a:lnTo>
                    <a:pt x="21" y="23"/>
                  </a:lnTo>
                  <a:lnTo>
                    <a:pt x="14" y="28"/>
                  </a:lnTo>
                  <a:lnTo>
                    <a:pt x="8" y="2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98" name="Freeform 952"/>
            <p:cNvSpPr>
              <a:spLocks/>
            </p:cNvSpPr>
            <p:nvPr/>
          </p:nvSpPr>
          <p:spPr bwMode="auto">
            <a:xfrm>
              <a:off x="2068513" y="2518204"/>
              <a:ext cx="171450" cy="169863"/>
            </a:xfrm>
            <a:custGeom>
              <a:avLst/>
              <a:gdLst>
                <a:gd name="T0" fmla="*/ 24 w 108"/>
                <a:gd name="T1" fmla="*/ 107 h 107"/>
                <a:gd name="T2" fmla="*/ 21 w 108"/>
                <a:gd name="T3" fmla="*/ 104 h 107"/>
                <a:gd name="T4" fmla="*/ 22 w 108"/>
                <a:gd name="T5" fmla="*/ 91 h 107"/>
                <a:gd name="T6" fmla="*/ 21 w 108"/>
                <a:gd name="T7" fmla="*/ 88 h 107"/>
                <a:gd name="T8" fmla="*/ 11 w 108"/>
                <a:gd name="T9" fmla="*/ 87 h 107"/>
                <a:gd name="T10" fmla="*/ 2 w 108"/>
                <a:gd name="T11" fmla="*/ 86 h 107"/>
                <a:gd name="T12" fmla="*/ 0 w 108"/>
                <a:gd name="T13" fmla="*/ 84 h 107"/>
                <a:gd name="T14" fmla="*/ 0 w 108"/>
                <a:gd name="T15" fmla="*/ 77 h 107"/>
                <a:gd name="T16" fmla="*/ 8 w 108"/>
                <a:gd name="T17" fmla="*/ 71 h 107"/>
                <a:gd name="T18" fmla="*/ 18 w 108"/>
                <a:gd name="T19" fmla="*/ 65 h 107"/>
                <a:gd name="T20" fmla="*/ 22 w 108"/>
                <a:gd name="T21" fmla="*/ 60 h 107"/>
                <a:gd name="T22" fmla="*/ 22 w 108"/>
                <a:gd name="T23" fmla="*/ 35 h 107"/>
                <a:gd name="T24" fmla="*/ 24 w 108"/>
                <a:gd name="T25" fmla="*/ 13 h 107"/>
                <a:gd name="T26" fmla="*/ 27 w 108"/>
                <a:gd name="T27" fmla="*/ 2 h 107"/>
                <a:gd name="T28" fmla="*/ 29 w 108"/>
                <a:gd name="T29" fmla="*/ 0 h 107"/>
                <a:gd name="T30" fmla="*/ 35 w 108"/>
                <a:gd name="T31" fmla="*/ 3 h 107"/>
                <a:gd name="T32" fmla="*/ 38 w 108"/>
                <a:gd name="T33" fmla="*/ 10 h 107"/>
                <a:gd name="T34" fmla="*/ 37 w 108"/>
                <a:gd name="T35" fmla="*/ 19 h 107"/>
                <a:gd name="T36" fmla="*/ 38 w 108"/>
                <a:gd name="T37" fmla="*/ 25 h 107"/>
                <a:gd name="T38" fmla="*/ 38 w 108"/>
                <a:gd name="T39" fmla="*/ 25 h 107"/>
                <a:gd name="T40" fmla="*/ 41 w 108"/>
                <a:gd name="T41" fmla="*/ 23 h 107"/>
                <a:gd name="T42" fmla="*/ 42 w 108"/>
                <a:gd name="T43" fmla="*/ 16 h 107"/>
                <a:gd name="T44" fmla="*/ 44 w 108"/>
                <a:gd name="T45" fmla="*/ 16 h 107"/>
                <a:gd name="T46" fmla="*/ 47 w 108"/>
                <a:gd name="T47" fmla="*/ 18 h 107"/>
                <a:gd name="T48" fmla="*/ 53 w 108"/>
                <a:gd name="T49" fmla="*/ 25 h 107"/>
                <a:gd name="T50" fmla="*/ 56 w 108"/>
                <a:gd name="T51" fmla="*/ 26 h 107"/>
                <a:gd name="T52" fmla="*/ 61 w 108"/>
                <a:gd name="T53" fmla="*/ 31 h 107"/>
                <a:gd name="T54" fmla="*/ 63 w 108"/>
                <a:gd name="T55" fmla="*/ 38 h 107"/>
                <a:gd name="T56" fmla="*/ 70 w 108"/>
                <a:gd name="T57" fmla="*/ 44 h 107"/>
                <a:gd name="T58" fmla="*/ 80 w 108"/>
                <a:gd name="T59" fmla="*/ 46 h 107"/>
                <a:gd name="T60" fmla="*/ 83 w 108"/>
                <a:gd name="T61" fmla="*/ 52 h 107"/>
                <a:gd name="T62" fmla="*/ 86 w 108"/>
                <a:gd name="T63" fmla="*/ 71 h 107"/>
                <a:gd name="T64" fmla="*/ 87 w 108"/>
                <a:gd name="T65" fmla="*/ 74 h 107"/>
                <a:gd name="T66" fmla="*/ 89 w 108"/>
                <a:gd name="T67" fmla="*/ 73 h 107"/>
                <a:gd name="T68" fmla="*/ 92 w 108"/>
                <a:gd name="T69" fmla="*/ 68 h 107"/>
                <a:gd name="T70" fmla="*/ 95 w 108"/>
                <a:gd name="T71" fmla="*/ 68 h 107"/>
                <a:gd name="T72" fmla="*/ 106 w 108"/>
                <a:gd name="T73" fmla="*/ 74 h 107"/>
                <a:gd name="T74" fmla="*/ 108 w 108"/>
                <a:gd name="T75" fmla="*/ 75 h 107"/>
                <a:gd name="T76" fmla="*/ 105 w 108"/>
                <a:gd name="T77" fmla="*/ 84 h 107"/>
                <a:gd name="T78" fmla="*/ 96 w 108"/>
                <a:gd name="T79" fmla="*/ 90 h 107"/>
                <a:gd name="T80" fmla="*/ 90 w 108"/>
                <a:gd name="T81" fmla="*/ 88 h 107"/>
                <a:gd name="T82" fmla="*/ 82 w 108"/>
                <a:gd name="T83" fmla="*/ 84 h 107"/>
                <a:gd name="T84" fmla="*/ 76 w 108"/>
                <a:gd name="T85" fmla="*/ 81 h 107"/>
                <a:gd name="T86" fmla="*/ 69 w 108"/>
                <a:gd name="T87" fmla="*/ 78 h 107"/>
                <a:gd name="T88" fmla="*/ 69 w 108"/>
                <a:gd name="T89" fmla="*/ 74 h 107"/>
                <a:gd name="T90" fmla="*/ 69 w 108"/>
                <a:gd name="T91" fmla="*/ 71 h 107"/>
                <a:gd name="T92" fmla="*/ 67 w 108"/>
                <a:gd name="T93" fmla="*/ 64 h 107"/>
                <a:gd name="T94" fmla="*/ 66 w 108"/>
                <a:gd name="T95" fmla="*/ 64 h 107"/>
                <a:gd name="T96" fmla="*/ 58 w 108"/>
                <a:gd name="T97" fmla="*/ 70 h 107"/>
                <a:gd name="T98" fmla="*/ 54 w 108"/>
                <a:gd name="T99" fmla="*/ 75 h 107"/>
                <a:gd name="T100" fmla="*/ 56 w 108"/>
                <a:gd name="T101" fmla="*/ 83 h 107"/>
                <a:gd name="T102" fmla="*/ 54 w 108"/>
                <a:gd name="T103" fmla="*/ 84 h 107"/>
                <a:gd name="T104" fmla="*/ 48 w 108"/>
                <a:gd name="T105" fmla="*/ 94 h 107"/>
                <a:gd name="T106" fmla="*/ 45 w 108"/>
                <a:gd name="T107" fmla="*/ 103 h 107"/>
                <a:gd name="T108" fmla="*/ 29 w 108"/>
                <a:gd name="T109"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 h="107">
                  <a:moveTo>
                    <a:pt x="24" y="107"/>
                  </a:moveTo>
                  <a:lnTo>
                    <a:pt x="24" y="107"/>
                  </a:lnTo>
                  <a:lnTo>
                    <a:pt x="22" y="107"/>
                  </a:lnTo>
                  <a:lnTo>
                    <a:pt x="21" y="104"/>
                  </a:lnTo>
                  <a:lnTo>
                    <a:pt x="21" y="99"/>
                  </a:lnTo>
                  <a:lnTo>
                    <a:pt x="22" y="91"/>
                  </a:lnTo>
                  <a:lnTo>
                    <a:pt x="22" y="88"/>
                  </a:lnTo>
                  <a:lnTo>
                    <a:pt x="21" y="88"/>
                  </a:lnTo>
                  <a:lnTo>
                    <a:pt x="21" y="88"/>
                  </a:lnTo>
                  <a:lnTo>
                    <a:pt x="11" y="87"/>
                  </a:lnTo>
                  <a:lnTo>
                    <a:pt x="5" y="87"/>
                  </a:lnTo>
                  <a:lnTo>
                    <a:pt x="2" y="86"/>
                  </a:lnTo>
                  <a:lnTo>
                    <a:pt x="0" y="84"/>
                  </a:lnTo>
                  <a:lnTo>
                    <a:pt x="0" y="84"/>
                  </a:lnTo>
                  <a:lnTo>
                    <a:pt x="0" y="80"/>
                  </a:lnTo>
                  <a:lnTo>
                    <a:pt x="0" y="77"/>
                  </a:lnTo>
                  <a:lnTo>
                    <a:pt x="2" y="74"/>
                  </a:lnTo>
                  <a:lnTo>
                    <a:pt x="8" y="71"/>
                  </a:lnTo>
                  <a:lnTo>
                    <a:pt x="8" y="71"/>
                  </a:lnTo>
                  <a:lnTo>
                    <a:pt x="18" y="65"/>
                  </a:lnTo>
                  <a:lnTo>
                    <a:pt x="21" y="64"/>
                  </a:lnTo>
                  <a:lnTo>
                    <a:pt x="22" y="60"/>
                  </a:lnTo>
                  <a:lnTo>
                    <a:pt x="22" y="60"/>
                  </a:lnTo>
                  <a:lnTo>
                    <a:pt x="22" y="35"/>
                  </a:lnTo>
                  <a:lnTo>
                    <a:pt x="24" y="13"/>
                  </a:lnTo>
                  <a:lnTo>
                    <a:pt x="24" y="13"/>
                  </a:lnTo>
                  <a:lnTo>
                    <a:pt x="27" y="4"/>
                  </a:lnTo>
                  <a:lnTo>
                    <a:pt x="27" y="2"/>
                  </a:lnTo>
                  <a:lnTo>
                    <a:pt x="29" y="0"/>
                  </a:lnTo>
                  <a:lnTo>
                    <a:pt x="29" y="0"/>
                  </a:lnTo>
                  <a:lnTo>
                    <a:pt x="32" y="2"/>
                  </a:lnTo>
                  <a:lnTo>
                    <a:pt x="35" y="3"/>
                  </a:lnTo>
                  <a:lnTo>
                    <a:pt x="37" y="7"/>
                  </a:lnTo>
                  <a:lnTo>
                    <a:pt x="38" y="10"/>
                  </a:lnTo>
                  <a:lnTo>
                    <a:pt x="38" y="10"/>
                  </a:lnTo>
                  <a:lnTo>
                    <a:pt x="37" y="19"/>
                  </a:lnTo>
                  <a:lnTo>
                    <a:pt x="37" y="23"/>
                  </a:lnTo>
                  <a:lnTo>
                    <a:pt x="38" y="25"/>
                  </a:lnTo>
                  <a:lnTo>
                    <a:pt x="38" y="25"/>
                  </a:lnTo>
                  <a:lnTo>
                    <a:pt x="38" y="25"/>
                  </a:lnTo>
                  <a:lnTo>
                    <a:pt x="40" y="25"/>
                  </a:lnTo>
                  <a:lnTo>
                    <a:pt x="41" y="23"/>
                  </a:lnTo>
                  <a:lnTo>
                    <a:pt x="41" y="19"/>
                  </a:lnTo>
                  <a:lnTo>
                    <a:pt x="42" y="16"/>
                  </a:lnTo>
                  <a:lnTo>
                    <a:pt x="44" y="15"/>
                  </a:lnTo>
                  <a:lnTo>
                    <a:pt x="44" y="16"/>
                  </a:lnTo>
                  <a:lnTo>
                    <a:pt x="44" y="16"/>
                  </a:lnTo>
                  <a:lnTo>
                    <a:pt x="47" y="18"/>
                  </a:lnTo>
                  <a:lnTo>
                    <a:pt x="50" y="20"/>
                  </a:lnTo>
                  <a:lnTo>
                    <a:pt x="53" y="25"/>
                  </a:lnTo>
                  <a:lnTo>
                    <a:pt x="56" y="26"/>
                  </a:lnTo>
                  <a:lnTo>
                    <a:pt x="56" y="26"/>
                  </a:lnTo>
                  <a:lnTo>
                    <a:pt x="58" y="28"/>
                  </a:lnTo>
                  <a:lnTo>
                    <a:pt x="61" y="31"/>
                  </a:lnTo>
                  <a:lnTo>
                    <a:pt x="63" y="38"/>
                  </a:lnTo>
                  <a:lnTo>
                    <a:pt x="63" y="38"/>
                  </a:lnTo>
                  <a:lnTo>
                    <a:pt x="66" y="42"/>
                  </a:lnTo>
                  <a:lnTo>
                    <a:pt x="70" y="44"/>
                  </a:lnTo>
                  <a:lnTo>
                    <a:pt x="80" y="46"/>
                  </a:lnTo>
                  <a:lnTo>
                    <a:pt x="80" y="46"/>
                  </a:lnTo>
                  <a:lnTo>
                    <a:pt x="82" y="48"/>
                  </a:lnTo>
                  <a:lnTo>
                    <a:pt x="83" y="52"/>
                  </a:lnTo>
                  <a:lnTo>
                    <a:pt x="84" y="62"/>
                  </a:lnTo>
                  <a:lnTo>
                    <a:pt x="86" y="71"/>
                  </a:lnTo>
                  <a:lnTo>
                    <a:pt x="86" y="74"/>
                  </a:lnTo>
                  <a:lnTo>
                    <a:pt x="87" y="74"/>
                  </a:lnTo>
                  <a:lnTo>
                    <a:pt x="87" y="74"/>
                  </a:lnTo>
                  <a:lnTo>
                    <a:pt x="89" y="73"/>
                  </a:lnTo>
                  <a:lnTo>
                    <a:pt x="90" y="70"/>
                  </a:lnTo>
                  <a:lnTo>
                    <a:pt x="92" y="68"/>
                  </a:lnTo>
                  <a:lnTo>
                    <a:pt x="95" y="68"/>
                  </a:lnTo>
                  <a:lnTo>
                    <a:pt x="95" y="68"/>
                  </a:lnTo>
                  <a:lnTo>
                    <a:pt x="103" y="73"/>
                  </a:lnTo>
                  <a:lnTo>
                    <a:pt x="106" y="74"/>
                  </a:lnTo>
                  <a:lnTo>
                    <a:pt x="108" y="75"/>
                  </a:lnTo>
                  <a:lnTo>
                    <a:pt x="108" y="75"/>
                  </a:lnTo>
                  <a:lnTo>
                    <a:pt x="108" y="80"/>
                  </a:lnTo>
                  <a:lnTo>
                    <a:pt x="105" y="84"/>
                  </a:lnTo>
                  <a:lnTo>
                    <a:pt x="100" y="88"/>
                  </a:lnTo>
                  <a:lnTo>
                    <a:pt x="96" y="90"/>
                  </a:lnTo>
                  <a:lnTo>
                    <a:pt x="96" y="90"/>
                  </a:lnTo>
                  <a:lnTo>
                    <a:pt x="90" y="88"/>
                  </a:lnTo>
                  <a:lnTo>
                    <a:pt x="86" y="86"/>
                  </a:lnTo>
                  <a:lnTo>
                    <a:pt x="82" y="84"/>
                  </a:lnTo>
                  <a:lnTo>
                    <a:pt x="76" y="81"/>
                  </a:lnTo>
                  <a:lnTo>
                    <a:pt x="76" y="81"/>
                  </a:lnTo>
                  <a:lnTo>
                    <a:pt x="71" y="80"/>
                  </a:lnTo>
                  <a:lnTo>
                    <a:pt x="69" y="78"/>
                  </a:lnTo>
                  <a:lnTo>
                    <a:pt x="67" y="75"/>
                  </a:lnTo>
                  <a:lnTo>
                    <a:pt x="69" y="74"/>
                  </a:lnTo>
                  <a:lnTo>
                    <a:pt x="69" y="74"/>
                  </a:lnTo>
                  <a:lnTo>
                    <a:pt x="69" y="71"/>
                  </a:lnTo>
                  <a:lnTo>
                    <a:pt x="69" y="67"/>
                  </a:lnTo>
                  <a:lnTo>
                    <a:pt x="67" y="64"/>
                  </a:lnTo>
                  <a:lnTo>
                    <a:pt x="66" y="64"/>
                  </a:lnTo>
                  <a:lnTo>
                    <a:pt x="66" y="64"/>
                  </a:lnTo>
                  <a:lnTo>
                    <a:pt x="63" y="65"/>
                  </a:lnTo>
                  <a:lnTo>
                    <a:pt x="58" y="70"/>
                  </a:lnTo>
                  <a:lnTo>
                    <a:pt x="54" y="75"/>
                  </a:lnTo>
                  <a:lnTo>
                    <a:pt x="54" y="75"/>
                  </a:lnTo>
                  <a:lnTo>
                    <a:pt x="56" y="80"/>
                  </a:lnTo>
                  <a:lnTo>
                    <a:pt x="56" y="83"/>
                  </a:lnTo>
                  <a:lnTo>
                    <a:pt x="54" y="84"/>
                  </a:lnTo>
                  <a:lnTo>
                    <a:pt x="54" y="84"/>
                  </a:lnTo>
                  <a:lnTo>
                    <a:pt x="51" y="88"/>
                  </a:lnTo>
                  <a:lnTo>
                    <a:pt x="48" y="94"/>
                  </a:lnTo>
                  <a:lnTo>
                    <a:pt x="45" y="103"/>
                  </a:lnTo>
                  <a:lnTo>
                    <a:pt x="45" y="103"/>
                  </a:lnTo>
                  <a:lnTo>
                    <a:pt x="37" y="106"/>
                  </a:lnTo>
                  <a:lnTo>
                    <a:pt x="29" y="107"/>
                  </a:lnTo>
                  <a:lnTo>
                    <a:pt x="24" y="107"/>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299" name="Freeform 953"/>
            <p:cNvSpPr>
              <a:spLocks/>
            </p:cNvSpPr>
            <p:nvPr/>
          </p:nvSpPr>
          <p:spPr bwMode="auto">
            <a:xfrm>
              <a:off x="2068513" y="2518204"/>
              <a:ext cx="171450" cy="169863"/>
            </a:xfrm>
            <a:custGeom>
              <a:avLst/>
              <a:gdLst>
                <a:gd name="T0" fmla="*/ 24 w 108"/>
                <a:gd name="T1" fmla="*/ 107 h 107"/>
                <a:gd name="T2" fmla="*/ 21 w 108"/>
                <a:gd name="T3" fmla="*/ 104 h 107"/>
                <a:gd name="T4" fmla="*/ 22 w 108"/>
                <a:gd name="T5" fmla="*/ 91 h 107"/>
                <a:gd name="T6" fmla="*/ 21 w 108"/>
                <a:gd name="T7" fmla="*/ 88 h 107"/>
                <a:gd name="T8" fmla="*/ 11 w 108"/>
                <a:gd name="T9" fmla="*/ 87 h 107"/>
                <a:gd name="T10" fmla="*/ 2 w 108"/>
                <a:gd name="T11" fmla="*/ 86 h 107"/>
                <a:gd name="T12" fmla="*/ 0 w 108"/>
                <a:gd name="T13" fmla="*/ 84 h 107"/>
                <a:gd name="T14" fmla="*/ 0 w 108"/>
                <a:gd name="T15" fmla="*/ 77 h 107"/>
                <a:gd name="T16" fmla="*/ 8 w 108"/>
                <a:gd name="T17" fmla="*/ 71 h 107"/>
                <a:gd name="T18" fmla="*/ 18 w 108"/>
                <a:gd name="T19" fmla="*/ 65 h 107"/>
                <a:gd name="T20" fmla="*/ 22 w 108"/>
                <a:gd name="T21" fmla="*/ 60 h 107"/>
                <a:gd name="T22" fmla="*/ 22 w 108"/>
                <a:gd name="T23" fmla="*/ 35 h 107"/>
                <a:gd name="T24" fmla="*/ 24 w 108"/>
                <a:gd name="T25" fmla="*/ 13 h 107"/>
                <a:gd name="T26" fmla="*/ 27 w 108"/>
                <a:gd name="T27" fmla="*/ 2 h 107"/>
                <a:gd name="T28" fmla="*/ 29 w 108"/>
                <a:gd name="T29" fmla="*/ 0 h 107"/>
                <a:gd name="T30" fmla="*/ 35 w 108"/>
                <a:gd name="T31" fmla="*/ 3 h 107"/>
                <a:gd name="T32" fmla="*/ 38 w 108"/>
                <a:gd name="T33" fmla="*/ 10 h 107"/>
                <a:gd name="T34" fmla="*/ 37 w 108"/>
                <a:gd name="T35" fmla="*/ 19 h 107"/>
                <a:gd name="T36" fmla="*/ 38 w 108"/>
                <a:gd name="T37" fmla="*/ 25 h 107"/>
                <a:gd name="T38" fmla="*/ 38 w 108"/>
                <a:gd name="T39" fmla="*/ 25 h 107"/>
                <a:gd name="T40" fmla="*/ 41 w 108"/>
                <a:gd name="T41" fmla="*/ 23 h 107"/>
                <a:gd name="T42" fmla="*/ 42 w 108"/>
                <a:gd name="T43" fmla="*/ 16 h 107"/>
                <a:gd name="T44" fmla="*/ 44 w 108"/>
                <a:gd name="T45" fmla="*/ 16 h 107"/>
                <a:gd name="T46" fmla="*/ 47 w 108"/>
                <a:gd name="T47" fmla="*/ 18 h 107"/>
                <a:gd name="T48" fmla="*/ 53 w 108"/>
                <a:gd name="T49" fmla="*/ 25 h 107"/>
                <a:gd name="T50" fmla="*/ 56 w 108"/>
                <a:gd name="T51" fmla="*/ 26 h 107"/>
                <a:gd name="T52" fmla="*/ 61 w 108"/>
                <a:gd name="T53" fmla="*/ 31 h 107"/>
                <a:gd name="T54" fmla="*/ 63 w 108"/>
                <a:gd name="T55" fmla="*/ 38 h 107"/>
                <a:gd name="T56" fmla="*/ 70 w 108"/>
                <a:gd name="T57" fmla="*/ 44 h 107"/>
                <a:gd name="T58" fmla="*/ 80 w 108"/>
                <a:gd name="T59" fmla="*/ 46 h 107"/>
                <a:gd name="T60" fmla="*/ 83 w 108"/>
                <a:gd name="T61" fmla="*/ 52 h 107"/>
                <a:gd name="T62" fmla="*/ 86 w 108"/>
                <a:gd name="T63" fmla="*/ 71 h 107"/>
                <a:gd name="T64" fmla="*/ 87 w 108"/>
                <a:gd name="T65" fmla="*/ 74 h 107"/>
                <a:gd name="T66" fmla="*/ 89 w 108"/>
                <a:gd name="T67" fmla="*/ 73 h 107"/>
                <a:gd name="T68" fmla="*/ 92 w 108"/>
                <a:gd name="T69" fmla="*/ 68 h 107"/>
                <a:gd name="T70" fmla="*/ 95 w 108"/>
                <a:gd name="T71" fmla="*/ 68 h 107"/>
                <a:gd name="T72" fmla="*/ 106 w 108"/>
                <a:gd name="T73" fmla="*/ 74 h 107"/>
                <a:gd name="T74" fmla="*/ 108 w 108"/>
                <a:gd name="T75" fmla="*/ 75 h 107"/>
                <a:gd name="T76" fmla="*/ 105 w 108"/>
                <a:gd name="T77" fmla="*/ 84 h 107"/>
                <a:gd name="T78" fmla="*/ 96 w 108"/>
                <a:gd name="T79" fmla="*/ 90 h 107"/>
                <a:gd name="T80" fmla="*/ 90 w 108"/>
                <a:gd name="T81" fmla="*/ 88 h 107"/>
                <a:gd name="T82" fmla="*/ 82 w 108"/>
                <a:gd name="T83" fmla="*/ 84 h 107"/>
                <a:gd name="T84" fmla="*/ 76 w 108"/>
                <a:gd name="T85" fmla="*/ 81 h 107"/>
                <a:gd name="T86" fmla="*/ 69 w 108"/>
                <a:gd name="T87" fmla="*/ 78 h 107"/>
                <a:gd name="T88" fmla="*/ 69 w 108"/>
                <a:gd name="T89" fmla="*/ 74 h 107"/>
                <a:gd name="T90" fmla="*/ 69 w 108"/>
                <a:gd name="T91" fmla="*/ 71 h 107"/>
                <a:gd name="T92" fmla="*/ 67 w 108"/>
                <a:gd name="T93" fmla="*/ 64 h 107"/>
                <a:gd name="T94" fmla="*/ 66 w 108"/>
                <a:gd name="T95" fmla="*/ 64 h 107"/>
                <a:gd name="T96" fmla="*/ 58 w 108"/>
                <a:gd name="T97" fmla="*/ 70 h 107"/>
                <a:gd name="T98" fmla="*/ 54 w 108"/>
                <a:gd name="T99" fmla="*/ 75 h 107"/>
                <a:gd name="T100" fmla="*/ 56 w 108"/>
                <a:gd name="T101" fmla="*/ 83 h 107"/>
                <a:gd name="T102" fmla="*/ 54 w 108"/>
                <a:gd name="T103" fmla="*/ 84 h 107"/>
                <a:gd name="T104" fmla="*/ 48 w 108"/>
                <a:gd name="T105" fmla="*/ 94 h 107"/>
                <a:gd name="T106" fmla="*/ 45 w 108"/>
                <a:gd name="T107" fmla="*/ 103 h 107"/>
                <a:gd name="T108" fmla="*/ 29 w 108"/>
                <a:gd name="T109"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 h="107">
                  <a:moveTo>
                    <a:pt x="24" y="107"/>
                  </a:moveTo>
                  <a:lnTo>
                    <a:pt x="24" y="107"/>
                  </a:lnTo>
                  <a:lnTo>
                    <a:pt x="22" y="107"/>
                  </a:lnTo>
                  <a:lnTo>
                    <a:pt x="21" y="104"/>
                  </a:lnTo>
                  <a:lnTo>
                    <a:pt x="21" y="99"/>
                  </a:lnTo>
                  <a:lnTo>
                    <a:pt x="22" y="91"/>
                  </a:lnTo>
                  <a:lnTo>
                    <a:pt x="22" y="88"/>
                  </a:lnTo>
                  <a:lnTo>
                    <a:pt x="21" y="88"/>
                  </a:lnTo>
                  <a:lnTo>
                    <a:pt x="21" y="88"/>
                  </a:lnTo>
                  <a:lnTo>
                    <a:pt x="11" y="87"/>
                  </a:lnTo>
                  <a:lnTo>
                    <a:pt x="5" y="87"/>
                  </a:lnTo>
                  <a:lnTo>
                    <a:pt x="2" y="86"/>
                  </a:lnTo>
                  <a:lnTo>
                    <a:pt x="0" y="84"/>
                  </a:lnTo>
                  <a:lnTo>
                    <a:pt x="0" y="84"/>
                  </a:lnTo>
                  <a:lnTo>
                    <a:pt x="0" y="80"/>
                  </a:lnTo>
                  <a:lnTo>
                    <a:pt x="0" y="77"/>
                  </a:lnTo>
                  <a:lnTo>
                    <a:pt x="2" y="74"/>
                  </a:lnTo>
                  <a:lnTo>
                    <a:pt x="8" y="71"/>
                  </a:lnTo>
                  <a:lnTo>
                    <a:pt x="8" y="71"/>
                  </a:lnTo>
                  <a:lnTo>
                    <a:pt x="18" y="65"/>
                  </a:lnTo>
                  <a:lnTo>
                    <a:pt x="21" y="64"/>
                  </a:lnTo>
                  <a:lnTo>
                    <a:pt x="22" y="60"/>
                  </a:lnTo>
                  <a:lnTo>
                    <a:pt x="22" y="60"/>
                  </a:lnTo>
                  <a:lnTo>
                    <a:pt x="22" y="35"/>
                  </a:lnTo>
                  <a:lnTo>
                    <a:pt x="24" y="13"/>
                  </a:lnTo>
                  <a:lnTo>
                    <a:pt x="24" y="13"/>
                  </a:lnTo>
                  <a:lnTo>
                    <a:pt x="27" y="4"/>
                  </a:lnTo>
                  <a:lnTo>
                    <a:pt x="27" y="2"/>
                  </a:lnTo>
                  <a:lnTo>
                    <a:pt x="29" y="0"/>
                  </a:lnTo>
                  <a:lnTo>
                    <a:pt x="29" y="0"/>
                  </a:lnTo>
                  <a:lnTo>
                    <a:pt x="32" y="2"/>
                  </a:lnTo>
                  <a:lnTo>
                    <a:pt x="35" y="3"/>
                  </a:lnTo>
                  <a:lnTo>
                    <a:pt x="37" y="7"/>
                  </a:lnTo>
                  <a:lnTo>
                    <a:pt x="38" y="10"/>
                  </a:lnTo>
                  <a:lnTo>
                    <a:pt x="38" y="10"/>
                  </a:lnTo>
                  <a:lnTo>
                    <a:pt x="37" y="19"/>
                  </a:lnTo>
                  <a:lnTo>
                    <a:pt x="37" y="23"/>
                  </a:lnTo>
                  <a:lnTo>
                    <a:pt x="38" y="25"/>
                  </a:lnTo>
                  <a:lnTo>
                    <a:pt x="38" y="25"/>
                  </a:lnTo>
                  <a:lnTo>
                    <a:pt x="38" y="25"/>
                  </a:lnTo>
                  <a:lnTo>
                    <a:pt x="40" y="25"/>
                  </a:lnTo>
                  <a:lnTo>
                    <a:pt x="41" y="23"/>
                  </a:lnTo>
                  <a:lnTo>
                    <a:pt x="41" y="19"/>
                  </a:lnTo>
                  <a:lnTo>
                    <a:pt x="42" y="16"/>
                  </a:lnTo>
                  <a:lnTo>
                    <a:pt x="44" y="15"/>
                  </a:lnTo>
                  <a:lnTo>
                    <a:pt x="44" y="16"/>
                  </a:lnTo>
                  <a:lnTo>
                    <a:pt x="44" y="16"/>
                  </a:lnTo>
                  <a:lnTo>
                    <a:pt x="47" y="18"/>
                  </a:lnTo>
                  <a:lnTo>
                    <a:pt x="50" y="20"/>
                  </a:lnTo>
                  <a:lnTo>
                    <a:pt x="53" y="25"/>
                  </a:lnTo>
                  <a:lnTo>
                    <a:pt x="56" y="26"/>
                  </a:lnTo>
                  <a:lnTo>
                    <a:pt x="56" y="26"/>
                  </a:lnTo>
                  <a:lnTo>
                    <a:pt x="58" y="28"/>
                  </a:lnTo>
                  <a:lnTo>
                    <a:pt x="61" y="31"/>
                  </a:lnTo>
                  <a:lnTo>
                    <a:pt x="63" y="38"/>
                  </a:lnTo>
                  <a:lnTo>
                    <a:pt x="63" y="38"/>
                  </a:lnTo>
                  <a:lnTo>
                    <a:pt x="66" y="42"/>
                  </a:lnTo>
                  <a:lnTo>
                    <a:pt x="70" y="44"/>
                  </a:lnTo>
                  <a:lnTo>
                    <a:pt x="80" y="46"/>
                  </a:lnTo>
                  <a:lnTo>
                    <a:pt x="80" y="46"/>
                  </a:lnTo>
                  <a:lnTo>
                    <a:pt x="82" y="48"/>
                  </a:lnTo>
                  <a:lnTo>
                    <a:pt x="83" y="52"/>
                  </a:lnTo>
                  <a:lnTo>
                    <a:pt x="84" y="62"/>
                  </a:lnTo>
                  <a:lnTo>
                    <a:pt x="86" y="71"/>
                  </a:lnTo>
                  <a:lnTo>
                    <a:pt x="86" y="74"/>
                  </a:lnTo>
                  <a:lnTo>
                    <a:pt x="87" y="74"/>
                  </a:lnTo>
                  <a:lnTo>
                    <a:pt x="87" y="74"/>
                  </a:lnTo>
                  <a:lnTo>
                    <a:pt x="89" y="73"/>
                  </a:lnTo>
                  <a:lnTo>
                    <a:pt x="90" y="70"/>
                  </a:lnTo>
                  <a:lnTo>
                    <a:pt x="92" y="68"/>
                  </a:lnTo>
                  <a:lnTo>
                    <a:pt x="95" y="68"/>
                  </a:lnTo>
                  <a:lnTo>
                    <a:pt x="95" y="68"/>
                  </a:lnTo>
                  <a:lnTo>
                    <a:pt x="103" y="73"/>
                  </a:lnTo>
                  <a:lnTo>
                    <a:pt x="106" y="74"/>
                  </a:lnTo>
                  <a:lnTo>
                    <a:pt x="108" y="75"/>
                  </a:lnTo>
                  <a:lnTo>
                    <a:pt x="108" y="75"/>
                  </a:lnTo>
                  <a:lnTo>
                    <a:pt x="108" y="80"/>
                  </a:lnTo>
                  <a:lnTo>
                    <a:pt x="105" y="84"/>
                  </a:lnTo>
                  <a:lnTo>
                    <a:pt x="100" y="88"/>
                  </a:lnTo>
                  <a:lnTo>
                    <a:pt x="96" y="90"/>
                  </a:lnTo>
                  <a:lnTo>
                    <a:pt x="96" y="90"/>
                  </a:lnTo>
                  <a:lnTo>
                    <a:pt x="90" y="88"/>
                  </a:lnTo>
                  <a:lnTo>
                    <a:pt x="86" y="86"/>
                  </a:lnTo>
                  <a:lnTo>
                    <a:pt x="82" y="84"/>
                  </a:lnTo>
                  <a:lnTo>
                    <a:pt x="76" y="81"/>
                  </a:lnTo>
                  <a:lnTo>
                    <a:pt x="76" y="81"/>
                  </a:lnTo>
                  <a:lnTo>
                    <a:pt x="71" y="80"/>
                  </a:lnTo>
                  <a:lnTo>
                    <a:pt x="69" y="78"/>
                  </a:lnTo>
                  <a:lnTo>
                    <a:pt x="67" y="75"/>
                  </a:lnTo>
                  <a:lnTo>
                    <a:pt x="69" y="74"/>
                  </a:lnTo>
                  <a:lnTo>
                    <a:pt x="69" y="74"/>
                  </a:lnTo>
                  <a:lnTo>
                    <a:pt x="69" y="71"/>
                  </a:lnTo>
                  <a:lnTo>
                    <a:pt x="69" y="67"/>
                  </a:lnTo>
                  <a:lnTo>
                    <a:pt x="67" y="64"/>
                  </a:lnTo>
                  <a:lnTo>
                    <a:pt x="66" y="64"/>
                  </a:lnTo>
                  <a:lnTo>
                    <a:pt x="66" y="64"/>
                  </a:lnTo>
                  <a:lnTo>
                    <a:pt x="63" y="65"/>
                  </a:lnTo>
                  <a:lnTo>
                    <a:pt x="58" y="70"/>
                  </a:lnTo>
                  <a:lnTo>
                    <a:pt x="54" y="75"/>
                  </a:lnTo>
                  <a:lnTo>
                    <a:pt x="54" y="75"/>
                  </a:lnTo>
                  <a:lnTo>
                    <a:pt x="56" y="80"/>
                  </a:lnTo>
                  <a:lnTo>
                    <a:pt x="56" y="83"/>
                  </a:lnTo>
                  <a:lnTo>
                    <a:pt x="54" y="84"/>
                  </a:lnTo>
                  <a:lnTo>
                    <a:pt x="54" y="84"/>
                  </a:lnTo>
                  <a:lnTo>
                    <a:pt x="51" y="88"/>
                  </a:lnTo>
                  <a:lnTo>
                    <a:pt x="48" y="94"/>
                  </a:lnTo>
                  <a:lnTo>
                    <a:pt x="45" y="103"/>
                  </a:lnTo>
                  <a:lnTo>
                    <a:pt x="45" y="103"/>
                  </a:lnTo>
                  <a:lnTo>
                    <a:pt x="37" y="106"/>
                  </a:lnTo>
                  <a:lnTo>
                    <a:pt x="29" y="107"/>
                  </a:lnTo>
                  <a:lnTo>
                    <a:pt x="24" y="10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00" name="Freeform 954"/>
            <p:cNvSpPr>
              <a:spLocks/>
            </p:cNvSpPr>
            <p:nvPr/>
          </p:nvSpPr>
          <p:spPr bwMode="auto">
            <a:xfrm>
              <a:off x="2293938" y="2657904"/>
              <a:ext cx="28575" cy="25400"/>
            </a:xfrm>
            <a:custGeom>
              <a:avLst/>
              <a:gdLst>
                <a:gd name="T0" fmla="*/ 6 w 18"/>
                <a:gd name="T1" fmla="*/ 15 h 16"/>
                <a:gd name="T2" fmla="*/ 6 w 18"/>
                <a:gd name="T3" fmla="*/ 15 h 16"/>
                <a:gd name="T4" fmla="*/ 3 w 18"/>
                <a:gd name="T5" fmla="*/ 12 h 16"/>
                <a:gd name="T6" fmla="*/ 0 w 18"/>
                <a:gd name="T7" fmla="*/ 8 h 16"/>
                <a:gd name="T8" fmla="*/ 0 w 18"/>
                <a:gd name="T9" fmla="*/ 3 h 16"/>
                <a:gd name="T10" fmla="*/ 2 w 18"/>
                <a:gd name="T11" fmla="*/ 0 h 16"/>
                <a:gd name="T12" fmla="*/ 2 w 18"/>
                <a:gd name="T13" fmla="*/ 0 h 16"/>
                <a:gd name="T14" fmla="*/ 5 w 18"/>
                <a:gd name="T15" fmla="*/ 2 h 16"/>
                <a:gd name="T16" fmla="*/ 8 w 18"/>
                <a:gd name="T17" fmla="*/ 3 h 16"/>
                <a:gd name="T18" fmla="*/ 11 w 18"/>
                <a:gd name="T19" fmla="*/ 8 h 16"/>
                <a:gd name="T20" fmla="*/ 11 w 18"/>
                <a:gd name="T21" fmla="*/ 8 h 16"/>
                <a:gd name="T22" fmla="*/ 15 w 18"/>
                <a:gd name="T23" fmla="*/ 9 h 16"/>
                <a:gd name="T24" fmla="*/ 18 w 18"/>
                <a:gd name="T25" fmla="*/ 11 h 16"/>
                <a:gd name="T26" fmla="*/ 18 w 18"/>
                <a:gd name="T27" fmla="*/ 11 h 16"/>
                <a:gd name="T28" fmla="*/ 18 w 18"/>
                <a:gd name="T29" fmla="*/ 11 h 16"/>
                <a:gd name="T30" fmla="*/ 18 w 18"/>
                <a:gd name="T31" fmla="*/ 11 h 16"/>
                <a:gd name="T32" fmla="*/ 11 w 18"/>
                <a:gd name="T33" fmla="*/ 15 h 16"/>
                <a:gd name="T34" fmla="*/ 8 w 18"/>
                <a:gd name="T35" fmla="*/ 16 h 16"/>
                <a:gd name="T36" fmla="*/ 6 w 18"/>
                <a:gd name="T37"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16">
                  <a:moveTo>
                    <a:pt x="6" y="15"/>
                  </a:moveTo>
                  <a:lnTo>
                    <a:pt x="6" y="15"/>
                  </a:lnTo>
                  <a:lnTo>
                    <a:pt x="3" y="12"/>
                  </a:lnTo>
                  <a:lnTo>
                    <a:pt x="0" y="8"/>
                  </a:lnTo>
                  <a:lnTo>
                    <a:pt x="0" y="3"/>
                  </a:lnTo>
                  <a:lnTo>
                    <a:pt x="2" y="0"/>
                  </a:lnTo>
                  <a:lnTo>
                    <a:pt x="2" y="0"/>
                  </a:lnTo>
                  <a:lnTo>
                    <a:pt x="5" y="2"/>
                  </a:lnTo>
                  <a:lnTo>
                    <a:pt x="8" y="3"/>
                  </a:lnTo>
                  <a:lnTo>
                    <a:pt x="11" y="8"/>
                  </a:lnTo>
                  <a:lnTo>
                    <a:pt x="11" y="8"/>
                  </a:lnTo>
                  <a:lnTo>
                    <a:pt x="15" y="9"/>
                  </a:lnTo>
                  <a:lnTo>
                    <a:pt x="18" y="11"/>
                  </a:lnTo>
                  <a:lnTo>
                    <a:pt x="18" y="11"/>
                  </a:lnTo>
                  <a:lnTo>
                    <a:pt x="18" y="11"/>
                  </a:lnTo>
                  <a:lnTo>
                    <a:pt x="18" y="11"/>
                  </a:lnTo>
                  <a:lnTo>
                    <a:pt x="11" y="15"/>
                  </a:lnTo>
                  <a:lnTo>
                    <a:pt x="8" y="16"/>
                  </a:lnTo>
                  <a:lnTo>
                    <a:pt x="6" y="15"/>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01" name="Freeform 955"/>
            <p:cNvSpPr>
              <a:spLocks/>
            </p:cNvSpPr>
            <p:nvPr/>
          </p:nvSpPr>
          <p:spPr bwMode="auto">
            <a:xfrm>
              <a:off x="2293938" y="2657904"/>
              <a:ext cx="28575" cy="25400"/>
            </a:xfrm>
            <a:custGeom>
              <a:avLst/>
              <a:gdLst>
                <a:gd name="T0" fmla="*/ 6 w 18"/>
                <a:gd name="T1" fmla="*/ 15 h 16"/>
                <a:gd name="T2" fmla="*/ 6 w 18"/>
                <a:gd name="T3" fmla="*/ 15 h 16"/>
                <a:gd name="T4" fmla="*/ 3 w 18"/>
                <a:gd name="T5" fmla="*/ 12 h 16"/>
                <a:gd name="T6" fmla="*/ 0 w 18"/>
                <a:gd name="T7" fmla="*/ 8 h 16"/>
                <a:gd name="T8" fmla="*/ 0 w 18"/>
                <a:gd name="T9" fmla="*/ 3 h 16"/>
                <a:gd name="T10" fmla="*/ 2 w 18"/>
                <a:gd name="T11" fmla="*/ 0 h 16"/>
                <a:gd name="T12" fmla="*/ 2 w 18"/>
                <a:gd name="T13" fmla="*/ 0 h 16"/>
                <a:gd name="T14" fmla="*/ 5 w 18"/>
                <a:gd name="T15" fmla="*/ 2 h 16"/>
                <a:gd name="T16" fmla="*/ 8 w 18"/>
                <a:gd name="T17" fmla="*/ 3 h 16"/>
                <a:gd name="T18" fmla="*/ 11 w 18"/>
                <a:gd name="T19" fmla="*/ 8 h 16"/>
                <a:gd name="T20" fmla="*/ 11 w 18"/>
                <a:gd name="T21" fmla="*/ 8 h 16"/>
                <a:gd name="T22" fmla="*/ 15 w 18"/>
                <a:gd name="T23" fmla="*/ 9 h 16"/>
                <a:gd name="T24" fmla="*/ 18 w 18"/>
                <a:gd name="T25" fmla="*/ 11 h 16"/>
                <a:gd name="T26" fmla="*/ 18 w 18"/>
                <a:gd name="T27" fmla="*/ 11 h 16"/>
                <a:gd name="T28" fmla="*/ 18 w 18"/>
                <a:gd name="T29" fmla="*/ 11 h 16"/>
                <a:gd name="T30" fmla="*/ 18 w 18"/>
                <a:gd name="T31" fmla="*/ 11 h 16"/>
                <a:gd name="T32" fmla="*/ 11 w 18"/>
                <a:gd name="T33" fmla="*/ 15 h 16"/>
                <a:gd name="T34" fmla="*/ 8 w 18"/>
                <a:gd name="T35" fmla="*/ 16 h 16"/>
                <a:gd name="T36" fmla="*/ 6 w 18"/>
                <a:gd name="T37"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16">
                  <a:moveTo>
                    <a:pt x="6" y="15"/>
                  </a:moveTo>
                  <a:lnTo>
                    <a:pt x="6" y="15"/>
                  </a:lnTo>
                  <a:lnTo>
                    <a:pt x="3" y="12"/>
                  </a:lnTo>
                  <a:lnTo>
                    <a:pt x="0" y="8"/>
                  </a:lnTo>
                  <a:lnTo>
                    <a:pt x="0" y="3"/>
                  </a:lnTo>
                  <a:lnTo>
                    <a:pt x="2" y="0"/>
                  </a:lnTo>
                  <a:lnTo>
                    <a:pt x="2" y="0"/>
                  </a:lnTo>
                  <a:lnTo>
                    <a:pt x="5" y="2"/>
                  </a:lnTo>
                  <a:lnTo>
                    <a:pt x="8" y="3"/>
                  </a:lnTo>
                  <a:lnTo>
                    <a:pt x="11" y="8"/>
                  </a:lnTo>
                  <a:lnTo>
                    <a:pt x="11" y="8"/>
                  </a:lnTo>
                  <a:lnTo>
                    <a:pt x="15" y="9"/>
                  </a:lnTo>
                  <a:lnTo>
                    <a:pt x="18" y="11"/>
                  </a:lnTo>
                  <a:lnTo>
                    <a:pt x="18" y="11"/>
                  </a:lnTo>
                  <a:lnTo>
                    <a:pt x="18" y="11"/>
                  </a:lnTo>
                  <a:lnTo>
                    <a:pt x="18" y="11"/>
                  </a:lnTo>
                  <a:lnTo>
                    <a:pt x="11" y="15"/>
                  </a:lnTo>
                  <a:lnTo>
                    <a:pt x="8" y="16"/>
                  </a:lnTo>
                  <a:lnTo>
                    <a:pt x="6"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02" name="Freeform 956"/>
            <p:cNvSpPr>
              <a:spLocks/>
            </p:cNvSpPr>
            <p:nvPr/>
          </p:nvSpPr>
          <p:spPr bwMode="auto">
            <a:xfrm>
              <a:off x="2319338" y="2646792"/>
              <a:ext cx="23813" cy="19050"/>
            </a:xfrm>
            <a:custGeom>
              <a:avLst/>
              <a:gdLst>
                <a:gd name="T0" fmla="*/ 13 w 15"/>
                <a:gd name="T1" fmla="*/ 12 h 12"/>
                <a:gd name="T2" fmla="*/ 13 w 15"/>
                <a:gd name="T3" fmla="*/ 12 h 12"/>
                <a:gd name="T4" fmla="*/ 8 w 15"/>
                <a:gd name="T5" fmla="*/ 12 h 12"/>
                <a:gd name="T6" fmla="*/ 3 w 15"/>
                <a:gd name="T7" fmla="*/ 9 h 12"/>
                <a:gd name="T8" fmla="*/ 0 w 15"/>
                <a:gd name="T9" fmla="*/ 6 h 12"/>
                <a:gd name="T10" fmla="*/ 0 w 15"/>
                <a:gd name="T11" fmla="*/ 3 h 12"/>
                <a:gd name="T12" fmla="*/ 0 w 15"/>
                <a:gd name="T13" fmla="*/ 3 h 12"/>
                <a:gd name="T14" fmla="*/ 2 w 15"/>
                <a:gd name="T15" fmla="*/ 2 h 12"/>
                <a:gd name="T16" fmla="*/ 3 w 15"/>
                <a:gd name="T17" fmla="*/ 0 h 12"/>
                <a:gd name="T18" fmla="*/ 6 w 15"/>
                <a:gd name="T19" fmla="*/ 2 h 12"/>
                <a:gd name="T20" fmla="*/ 8 w 15"/>
                <a:gd name="T21" fmla="*/ 3 h 12"/>
                <a:gd name="T22" fmla="*/ 8 w 15"/>
                <a:gd name="T23" fmla="*/ 3 h 12"/>
                <a:gd name="T24" fmla="*/ 13 w 15"/>
                <a:gd name="T25" fmla="*/ 9 h 12"/>
                <a:gd name="T26" fmla="*/ 15 w 15"/>
                <a:gd name="T27" fmla="*/ 12 h 12"/>
                <a:gd name="T28" fmla="*/ 13 w 15"/>
                <a:gd name="T2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2">
                  <a:moveTo>
                    <a:pt x="13" y="12"/>
                  </a:moveTo>
                  <a:lnTo>
                    <a:pt x="13" y="12"/>
                  </a:lnTo>
                  <a:lnTo>
                    <a:pt x="8" y="12"/>
                  </a:lnTo>
                  <a:lnTo>
                    <a:pt x="3" y="9"/>
                  </a:lnTo>
                  <a:lnTo>
                    <a:pt x="0" y="6"/>
                  </a:lnTo>
                  <a:lnTo>
                    <a:pt x="0" y="3"/>
                  </a:lnTo>
                  <a:lnTo>
                    <a:pt x="0" y="3"/>
                  </a:lnTo>
                  <a:lnTo>
                    <a:pt x="2" y="2"/>
                  </a:lnTo>
                  <a:lnTo>
                    <a:pt x="3" y="0"/>
                  </a:lnTo>
                  <a:lnTo>
                    <a:pt x="6" y="2"/>
                  </a:lnTo>
                  <a:lnTo>
                    <a:pt x="8" y="3"/>
                  </a:lnTo>
                  <a:lnTo>
                    <a:pt x="8" y="3"/>
                  </a:lnTo>
                  <a:lnTo>
                    <a:pt x="13" y="9"/>
                  </a:lnTo>
                  <a:lnTo>
                    <a:pt x="15" y="12"/>
                  </a:lnTo>
                  <a:lnTo>
                    <a:pt x="13" y="12"/>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03" name="Freeform 957"/>
            <p:cNvSpPr>
              <a:spLocks/>
            </p:cNvSpPr>
            <p:nvPr/>
          </p:nvSpPr>
          <p:spPr bwMode="auto">
            <a:xfrm>
              <a:off x="2319338" y="2646792"/>
              <a:ext cx="23813" cy="19050"/>
            </a:xfrm>
            <a:custGeom>
              <a:avLst/>
              <a:gdLst>
                <a:gd name="T0" fmla="*/ 13 w 15"/>
                <a:gd name="T1" fmla="*/ 12 h 12"/>
                <a:gd name="T2" fmla="*/ 13 w 15"/>
                <a:gd name="T3" fmla="*/ 12 h 12"/>
                <a:gd name="T4" fmla="*/ 8 w 15"/>
                <a:gd name="T5" fmla="*/ 12 h 12"/>
                <a:gd name="T6" fmla="*/ 3 w 15"/>
                <a:gd name="T7" fmla="*/ 9 h 12"/>
                <a:gd name="T8" fmla="*/ 0 w 15"/>
                <a:gd name="T9" fmla="*/ 6 h 12"/>
                <a:gd name="T10" fmla="*/ 0 w 15"/>
                <a:gd name="T11" fmla="*/ 3 h 12"/>
                <a:gd name="T12" fmla="*/ 0 w 15"/>
                <a:gd name="T13" fmla="*/ 3 h 12"/>
                <a:gd name="T14" fmla="*/ 2 w 15"/>
                <a:gd name="T15" fmla="*/ 2 h 12"/>
                <a:gd name="T16" fmla="*/ 3 w 15"/>
                <a:gd name="T17" fmla="*/ 0 h 12"/>
                <a:gd name="T18" fmla="*/ 6 w 15"/>
                <a:gd name="T19" fmla="*/ 2 h 12"/>
                <a:gd name="T20" fmla="*/ 8 w 15"/>
                <a:gd name="T21" fmla="*/ 3 h 12"/>
                <a:gd name="T22" fmla="*/ 8 w 15"/>
                <a:gd name="T23" fmla="*/ 3 h 12"/>
                <a:gd name="T24" fmla="*/ 13 w 15"/>
                <a:gd name="T25" fmla="*/ 9 h 12"/>
                <a:gd name="T26" fmla="*/ 15 w 15"/>
                <a:gd name="T27" fmla="*/ 12 h 12"/>
                <a:gd name="T28" fmla="*/ 13 w 15"/>
                <a:gd name="T2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2">
                  <a:moveTo>
                    <a:pt x="13" y="12"/>
                  </a:moveTo>
                  <a:lnTo>
                    <a:pt x="13" y="12"/>
                  </a:lnTo>
                  <a:lnTo>
                    <a:pt x="8" y="12"/>
                  </a:lnTo>
                  <a:lnTo>
                    <a:pt x="3" y="9"/>
                  </a:lnTo>
                  <a:lnTo>
                    <a:pt x="0" y="6"/>
                  </a:lnTo>
                  <a:lnTo>
                    <a:pt x="0" y="3"/>
                  </a:lnTo>
                  <a:lnTo>
                    <a:pt x="0" y="3"/>
                  </a:lnTo>
                  <a:lnTo>
                    <a:pt x="2" y="2"/>
                  </a:lnTo>
                  <a:lnTo>
                    <a:pt x="3" y="0"/>
                  </a:lnTo>
                  <a:lnTo>
                    <a:pt x="6" y="2"/>
                  </a:lnTo>
                  <a:lnTo>
                    <a:pt x="8" y="3"/>
                  </a:lnTo>
                  <a:lnTo>
                    <a:pt x="8" y="3"/>
                  </a:lnTo>
                  <a:lnTo>
                    <a:pt x="13" y="9"/>
                  </a:lnTo>
                  <a:lnTo>
                    <a:pt x="15" y="12"/>
                  </a:lnTo>
                  <a:lnTo>
                    <a:pt x="13"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04" name="Freeform 958"/>
            <p:cNvSpPr>
              <a:spLocks/>
            </p:cNvSpPr>
            <p:nvPr/>
          </p:nvSpPr>
          <p:spPr bwMode="auto">
            <a:xfrm>
              <a:off x="2359025" y="2373742"/>
              <a:ext cx="31750" cy="41275"/>
            </a:xfrm>
            <a:custGeom>
              <a:avLst/>
              <a:gdLst>
                <a:gd name="T0" fmla="*/ 10 w 20"/>
                <a:gd name="T1" fmla="*/ 26 h 26"/>
                <a:gd name="T2" fmla="*/ 10 w 20"/>
                <a:gd name="T3" fmla="*/ 26 h 26"/>
                <a:gd name="T4" fmla="*/ 7 w 20"/>
                <a:gd name="T5" fmla="*/ 25 h 26"/>
                <a:gd name="T6" fmla="*/ 6 w 20"/>
                <a:gd name="T7" fmla="*/ 25 h 26"/>
                <a:gd name="T8" fmla="*/ 1 w 20"/>
                <a:gd name="T9" fmla="*/ 20 h 26"/>
                <a:gd name="T10" fmla="*/ 0 w 20"/>
                <a:gd name="T11" fmla="*/ 14 h 26"/>
                <a:gd name="T12" fmla="*/ 0 w 20"/>
                <a:gd name="T13" fmla="*/ 10 h 26"/>
                <a:gd name="T14" fmla="*/ 0 w 20"/>
                <a:gd name="T15" fmla="*/ 10 h 26"/>
                <a:gd name="T16" fmla="*/ 0 w 20"/>
                <a:gd name="T17" fmla="*/ 7 h 26"/>
                <a:gd name="T18" fmla="*/ 3 w 20"/>
                <a:gd name="T19" fmla="*/ 3 h 26"/>
                <a:gd name="T20" fmla="*/ 7 w 20"/>
                <a:gd name="T21" fmla="*/ 0 h 26"/>
                <a:gd name="T22" fmla="*/ 13 w 20"/>
                <a:gd name="T23" fmla="*/ 0 h 26"/>
                <a:gd name="T24" fmla="*/ 13 w 20"/>
                <a:gd name="T25" fmla="*/ 0 h 26"/>
                <a:gd name="T26" fmla="*/ 16 w 20"/>
                <a:gd name="T27" fmla="*/ 0 h 26"/>
                <a:gd name="T28" fmla="*/ 17 w 20"/>
                <a:gd name="T29" fmla="*/ 1 h 26"/>
                <a:gd name="T30" fmla="*/ 20 w 20"/>
                <a:gd name="T31" fmla="*/ 7 h 26"/>
                <a:gd name="T32" fmla="*/ 20 w 20"/>
                <a:gd name="T33" fmla="*/ 13 h 26"/>
                <a:gd name="T34" fmla="*/ 20 w 20"/>
                <a:gd name="T35" fmla="*/ 17 h 26"/>
                <a:gd name="T36" fmla="*/ 20 w 20"/>
                <a:gd name="T37" fmla="*/ 17 h 26"/>
                <a:gd name="T38" fmla="*/ 19 w 20"/>
                <a:gd name="T39" fmla="*/ 22 h 26"/>
                <a:gd name="T40" fmla="*/ 17 w 20"/>
                <a:gd name="T41" fmla="*/ 23 h 26"/>
                <a:gd name="T42" fmla="*/ 14 w 20"/>
                <a:gd name="T43" fmla="*/ 25 h 26"/>
                <a:gd name="T44" fmla="*/ 10 w 20"/>
                <a:gd name="T4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26">
                  <a:moveTo>
                    <a:pt x="10" y="26"/>
                  </a:moveTo>
                  <a:lnTo>
                    <a:pt x="10" y="26"/>
                  </a:lnTo>
                  <a:lnTo>
                    <a:pt x="7" y="25"/>
                  </a:lnTo>
                  <a:lnTo>
                    <a:pt x="6" y="25"/>
                  </a:lnTo>
                  <a:lnTo>
                    <a:pt x="1" y="20"/>
                  </a:lnTo>
                  <a:lnTo>
                    <a:pt x="0" y="14"/>
                  </a:lnTo>
                  <a:lnTo>
                    <a:pt x="0" y="10"/>
                  </a:lnTo>
                  <a:lnTo>
                    <a:pt x="0" y="10"/>
                  </a:lnTo>
                  <a:lnTo>
                    <a:pt x="0" y="7"/>
                  </a:lnTo>
                  <a:lnTo>
                    <a:pt x="3" y="3"/>
                  </a:lnTo>
                  <a:lnTo>
                    <a:pt x="7" y="0"/>
                  </a:lnTo>
                  <a:lnTo>
                    <a:pt x="13" y="0"/>
                  </a:lnTo>
                  <a:lnTo>
                    <a:pt x="13" y="0"/>
                  </a:lnTo>
                  <a:lnTo>
                    <a:pt x="16" y="0"/>
                  </a:lnTo>
                  <a:lnTo>
                    <a:pt x="17" y="1"/>
                  </a:lnTo>
                  <a:lnTo>
                    <a:pt x="20" y="7"/>
                  </a:lnTo>
                  <a:lnTo>
                    <a:pt x="20" y="13"/>
                  </a:lnTo>
                  <a:lnTo>
                    <a:pt x="20" y="17"/>
                  </a:lnTo>
                  <a:lnTo>
                    <a:pt x="20" y="17"/>
                  </a:lnTo>
                  <a:lnTo>
                    <a:pt x="19" y="22"/>
                  </a:lnTo>
                  <a:lnTo>
                    <a:pt x="17" y="23"/>
                  </a:lnTo>
                  <a:lnTo>
                    <a:pt x="14" y="25"/>
                  </a:lnTo>
                  <a:lnTo>
                    <a:pt x="10" y="26"/>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05" name="Freeform 959"/>
            <p:cNvSpPr>
              <a:spLocks/>
            </p:cNvSpPr>
            <p:nvPr/>
          </p:nvSpPr>
          <p:spPr bwMode="auto">
            <a:xfrm>
              <a:off x="2359025" y="2373742"/>
              <a:ext cx="31750" cy="41275"/>
            </a:xfrm>
            <a:custGeom>
              <a:avLst/>
              <a:gdLst>
                <a:gd name="T0" fmla="*/ 10 w 20"/>
                <a:gd name="T1" fmla="*/ 26 h 26"/>
                <a:gd name="T2" fmla="*/ 10 w 20"/>
                <a:gd name="T3" fmla="*/ 26 h 26"/>
                <a:gd name="T4" fmla="*/ 7 w 20"/>
                <a:gd name="T5" fmla="*/ 25 h 26"/>
                <a:gd name="T6" fmla="*/ 6 w 20"/>
                <a:gd name="T7" fmla="*/ 25 h 26"/>
                <a:gd name="T8" fmla="*/ 1 w 20"/>
                <a:gd name="T9" fmla="*/ 20 h 26"/>
                <a:gd name="T10" fmla="*/ 0 w 20"/>
                <a:gd name="T11" fmla="*/ 14 h 26"/>
                <a:gd name="T12" fmla="*/ 0 w 20"/>
                <a:gd name="T13" fmla="*/ 10 h 26"/>
                <a:gd name="T14" fmla="*/ 0 w 20"/>
                <a:gd name="T15" fmla="*/ 10 h 26"/>
                <a:gd name="T16" fmla="*/ 0 w 20"/>
                <a:gd name="T17" fmla="*/ 7 h 26"/>
                <a:gd name="T18" fmla="*/ 3 w 20"/>
                <a:gd name="T19" fmla="*/ 3 h 26"/>
                <a:gd name="T20" fmla="*/ 7 w 20"/>
                <a:gd name="T21" fmla="*/ 0 h 26"/>
                <a:gd name="T22" fmla="*/ 13 w 20"/>
                <a:gd name="T23" fmla="*/ 0 h 26"/>
                <a:gd name="T24" fmla="*/ 13 w 20"/>
                <a:gd name="T25" fmla="*/ 0 h 26"/>
                <a:gd name="T26" fmla="*/ 16 w 20"/>
                <a:gd name="T27" fmla="*/ 0 h 26"/>
                <a:gd name="T28" fmla="*/ 17 w 20"/>
                <a:gd name="T29" fmla="*/ 1 h 26"/>
                <a:gd name="T30" fmla="*/ 20 w 20"/>
                <a:gd name="T31" fmla="*/ 7 h 26"/>
                <a:gd name="T32" fmla="*/ 20 w 20"/>
                <a:gd name="T33" fmla="*/ 13 h 26"/>
                <a:gd name="T34" fmla="*/ 20 w 20"/>
                <a:gd name="T35" fmla="*/ 17 h 26"/>
                <a:gd name="T36" fmla="*/ 20 w 20"/>
                <a:gd name="T37" fmla="*/ 17 h 26"/>
                <a:gd name="T38" fmla="*/ 19 w 20"/>
                <a:gd name="T39" fmla="*/ 22 h 26"/>
                <a:gd name="T40" fmla="*/ 17 w 20"/>
                <a:gd name="T41" fmla="*/ 23 h 26"/>
                <a:gd name="T42" fmla="*/ 14 w 20"/>
                <a:gd name="T43" fmla="*/ 25 h 26"/>
                <a:gd name="T44" fmla="*/ 10 w 20"/>
                <a:gd name="T4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26">
                  <a:moveTo>
                    <a:pt x="10" y="26"/>
                  </a:moveTo>
                  <a:lnTo>
                    <a:pt x="10" y="26"/>
                  </a:lnTo>
                  <a:lnTo>
                    <a:pt x="7" y="25"/>
                  </a:lnTo>
                  <a:lnTo>
                    <a:pt x="6" y="25"/>
                  </a:lnTo>
                  <a:lnTo>
                    <a:pt x="1" y="20"/>
                  </a:lnTo>
                  <a:lnTo>
                    <a:pt x="0" y="14"/>
                  </a:lnTo>
                  <a:lnTo>
                    <a:pt x="0" y="10"/>
                  </a:lnTo>
                  <a:lnTo>
                    <a:pt x="0" y="10"/>
                  </a:lnTo>
                  <a:lnTo>
                    <a:pt x="0" y="7"/>
                  </a:lnTo>
                  <a:lnTo>
                    <a:pt x="3" y="3"/>
                  </a:lnTo>
                  <a:lnTo>
                    <a:pt x="7" y="0"/>
                  </a:lnTo>
                  <a:lnTo>
                    <a:pt x="13" y="0"/>
                  </a:lnTo>
                  <a:lnTo>
                    <a:pt x="13" y="0"/>
                  </a:lnTo>
                  <a:lnTo>
                    <a:pt x="16" y="0"/>
                  </a:lnTo>
                  <a:lnTo>
                    <a:pt x="17" y="1"/>
                  </a:lnTo>
                  <a:lnTo>
                    <a:pt x="20" y="7"/>
                  </a:lnTo>
                  <a:lnTo>
                    <a:pt x="20" y="13"/>
                  </a:lnTo>
                  <a:lnTo>
                    <a:pt x="20" y="17"/>
                  </a:lnTo>
                  <a:lnTo>
                    <a:pt x="20" y="17"/>
                  </a:lnTo>
                  <a:lnTo>
                    <a:pt x="19" y="22"/>
                  </a:lnTo>
                  <a:lnTo>
                    <a:pt x="17" y="23"/>
                  </a:lnTo>
                  <a:lnTo>
                    <a:pt x="14" y="25"/>
                  </a:lnTo>
                  <a:lnTo>
                    <a:pt x="1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06" name="Freeform 960"/>
            <p:cNvSpPr>
              <a:spLocks/>
            </p:cNvSpPr>
            <p:nvPr/>
          </p:nvSpPr>
          <p:spPr bwMode="auto">
            <a:xfrm>
              <a:off x="2225675" y="2245154"/>
              <a:ext cx="42863" cy="25400"/>
            </a:xfrm>
            <a:custGeom>
              <a:avLst/>
              <a:gdLst>
                <a:gd name="T0" fmla="*/ 26 w 27"/>
                <a:gd name="T1" fmla="*/ 16 h 16"/>
                <a:gd name="T2" fmla="*/ 26 w 27"/>
                <a:gd name="T3" fmla="*/ 16 h 16"/>
                <a:gd name="T4" fmla="*/ 20 w 27"/>
                <a:gd name="T5" fmla="*/ 16 h 16"/>
                <a:gd name="T6" fmla="*/ 16 w 27"/>
                <a:gd name="T7" fmla="*/ 16 h 16"/>
                <a:gd name="T8" fmla="*/ 12 w 27"/>
                <a:gd name="T9" fmla="*/ 13 h 16"/>
                <a:gd name="T10" fmla="*/ 12 w 27"/>
                <a:gd name="T11" fmla="*/ 13 h 16"/>
                <a:gd name="T12" fmla="*/ 1 w 27"/>
                <a:gd name="T13" fmla="*/ 7 h 16"/>
                <a:gd name="T14" fmla="*/ 0 w 27"/>
                <a:gd name="T15" fmla="*/ 4 h 16"/>
                <a:gd name="T16" fmla="*/ 0 w 27"/>
                <a:gd name="T17" fmla="*/ 3 h 16"/>
                <a:gd name="T18" fmla="*/ 1 w 27"/>
                <a:gd name="T19" fmla="*/ 3 h 16"/>
                <a:gd name="T20" fmla="*/ 1 w 27"/>
                <a:gd name="T21" fmla="*/ 3 h 16"/>
                <a:gd name="T22" fmla="*/ 16 w 27"/>
                <a:gd name="T23" fmla="*/ 1 h 16"/>
                <a:gd name="T24" fmla="*/ 22 w 27"/>
                <a:gd name="T25" fmla="*/ 0 h 16"/>
                <a:gd name="T26" fmla="*/ 25 w 27"/>
                <a:gd name="T27" fmla="*/ 0 h 16"/>
                <a:gd name="T28" fmla="*/ 26 w 27"/>
                <a:gd name="T29" fmla="*/ 1 h 16"/>
                <a:gd name="T30" fmla="*/ 26 w 27"/>
                <a:gd name="T31" fmla="*/ 1 h 16"/>
                <a:gd name="T32" fmla="*/ 27 w 27"/>
                <a:gd name="T33" fmla="*/ 10 h 16"/>
                <a:gd name="T34" fmla="*/ 27 w 27"/>
                <a:gd name="T35" fmla="*/ 13 h 16"/>
                <a:gd name="T36" fmla="*/ 26 w 27"/>
                <a:gd name="T3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16">
                  <a:moveTo>
                    <a:pt x="26" y="16"/>
                  </a:moveTo>
                  <a:lnTo>
                    <a:pt x="26" y="16"/>
                  </a:lnTo>
                  <a:lnTo>
                    <a:pt x="20" y="16"/>
                  </a:lnTo>
                  <a:lnTo>
                    <a:pt x="16" y="16"/>
                  </a:lnTo>
                  <a:lnTo>
                    <a:pt x="12" y="13"/>
                  </a:lnTo>
                  <a:lnTo>
                    <a:pt x="12" y="13"/>
                  </a:lnTo>
                  <a:lnTo>
                    <a:pt x="1" y="7"/>
                  </a:lnTo>
                  <a:lnTo>
                    <a:pt x="0" y="4"/>
                  </a:lnTo>
                  <a:lnTo>
                    <a:pt x="0" y="3"/>
                  </a:lnTo>
                  <a:lnTo>
                    <a:pt x="1" y="3"/>
                  </a:lnTo>
                  <a:lnTo>
                    <a:pt x="1" y="3"/>
                  </a:lnTo>
                  <a:lnTo>
                    <a:pt x="16" y="1"/>
                  </a:lnTo>
                  <a:lnTo>
                    <a:pt x="22" y="0"/>
                  </a:lnTo>
                  <a:lnTo>
                    <a:pt x="25" y="0"/>
                  </a:lnTo>
                  <a:lnTo>
                    <a:pt x="26" y="1"/>
                  </a:lnTo>
                  <a:lnTo>
                    <a:pt x="26" y="1"/>
                  </a:lnTo>
                  <a:lnTo>
                    <a:pt x="27" y="10"/>
                  </a:lnTo>
                  <a:lnTo>
                    <a:pt x="27" y="13"/>
                  </a:lnTo>
                  <a:lnTo>
                    <a:pt x="26" y="16"/>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07" name="Freeform 961"/>
            <p:cNvSpPr>
              <a:spLocks/>
            </p:cNvSpPr>
            <p:nvPr/>
          </p:nvSpPr>
          <p:spPr bwMode="auto">
            <a:xfrm>
              <a:off x="2225675" y="2245154"/>
              <a:ext cx="42863" cy="25400"/>
            </a:xfrm>
            <a:custGeom>
              <a:avLst/>
              <a:gdLst>
                <a:gd name="T0" fmla="*/ 26 w 27"/>
                <a:gd name="T1" fmla="*/ 16 h 16"/>
                <a:gd name="T2" fmla="*/ 26 w 27"/>
                <a:gd name="T3" fmla="*/ 16 h 16"/>
                <a:gd name="T4" fmla="*/ 20 w 27"/>
                <a:gd name="T5" fmla="*/ 16 h 16"/>
                <a:gd name="T6" fmla="*/ 16 w 27"/>
                <a:gd name="T7" fmla="*/ 16 h 16"/>
                <a:gd name="T8" fmla="*/ 12 w 27"/>
                <a:gd name="T9" fmla="*/ 13 h 16"/>
                <a:gd name="T10" fmla="*/ 12 w 27"/>
                <a:gd name="T11" fmla="*/ 13 h 16"/>
                <a:gd name="T12" fmla="*/ 1 w 27"/>
                <a:gd name="T13" fmla="*/ 7 h 16"/>
                <a:gd name="T14" fmla="*/ 0 w 27"/>
                <a:gd name="T15" fmla="*/ 4 h 16"/>
                <a:gd name="T16" fmla="*/ 0 w 27"/>
                <a:gd name="T17" fmla="*/ 3 h 16"/>
                <a:gd name="T18" fmla="*/ 1 w 27"/>
                <a:gd name="T19" fmla="*/ 3 h 16"/>
                <a:gd name="T20" fmla="*/ 1 w 27"/>
                <a:gd name="T21" fmla="*/ 3 h 16"/>
                <a:gd name="T22" fmla="*/ 16 w 27"/>
                <a:gd name="T23" fmla="*/ 1 h 16"/>
                <a:gd name="T24" fmla="*/ 22 w 27"/>
                <a:gd name="T25" fmla="*/ 0 h 16"/>
                <a:gd name="T26" fmla="*/ 25 w 27"/>
                <a:gd name="T27" fmla="*/ 0 h 16"/>
                <a:gd name="T28" fmla="*/ 26 w 27"/>
                <a:gd name="T29" fmla="*/ 1 h 16"/>
                <a:gd name="T30" fmla="*/ 26 w 27"/>
                <a:gd name="T31" fmla="*/ 1 h 16"/>
                <a:gd name="T32" fmla="*/ 27 w 27"/>
                <a:gd name="T33" fmla="*/ 10 h 16"/>
                <a:gd name="T34" fmla="*/ 27 w 27"/>
                <a:gd name="T35" fmla="*/ 13 h 16"/>
                <a:gd name="T36" fmla="*/ 26 w 27"/>
                <a:gd name="T3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16">
                  <a:moveTo>
                    <a:pt x="26" y="16"/>
                  </a:moveTo>
                  <a:lnTo>
                    <a:pt x="26" y="16"/>
                  </a:lnTo>
                  <a:lnTo>
                    <a:pt x="20" y="16"/>
                  </a:lnTo>
                  <a:lnTo>
                    <a:pt x="16" y="16"/>
                  </a:lnTo>
                  <a:lnTo>
                    <a:pt x="12" y="13"/>
                  </a:lnTo>
                  <a:lnTo>
                    <a:pt x="12" y="13"/>
                  </a:lnTo>
                  <a:lnTo>
                    <a:pt x="1" y="7"/>
                  </a:lnTo>
                  <a:lnTo>
                    <a:pt x="0" y="4"/>
                  </a:lnTo>
                  <a:lnTo>
                    <a:pt x="0" y="3"/>
                  </a:lnTo>
                  <a:lnTo>
                    <a:pt x="1" y="3"/>
                  </a:lnTo>
                  <a:lnTo>
                    <a:pt x="1" y="3"/>
                  </a:lnTo>
                  <a:lnTo>
                    <a:pt x="16" y="1"/>
                  </a:lnTo>
                  <a:lnTo>
                    <a:pt x="22" y="0"/>
                  </a:lnTo>
                  <a:lnTo>
                    <a:pt x="25" y="0"/>
                  </a:lnTo>
                  <a:lnTo>
                    <a:pt x="26" y="1"/>
                  </a:lnTo>
                  <a:lnTo>
                    <a:pt x="26" y="1"/>
                  </a:lnTo>
                  <a:lnTo>
                    <a:pt x="27" y="10"/>
                  </a:lnTo>
                  <a:lnTo>
                    <a:pt x="27" y="13"/>
                  </a:lnTo>
                  <a:lnTo>
                    <a:pt x="26"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08" name="Freeform 962"/>
            <p:cNvSpPr>
              <a:spLocks/>
            </p:cNvSpPr>
            <p:nvPr/>
          </p:nvSpPr>
          <p:spPr bwMode="auto">
            <a:xfrm>
              <a:off x="2620963" y="2746804"/>
              <a:ext cx="31750" cy="28575"/>
            </a:xfrm>
            <a:custGeom>
              <a:avLst/>
              <a:gdLst>
                <a:gd name="T0" fmla="*/ 19 w 20"/>
                <a:gd name="T1" fmla="*/ 10 h 18"/>
                <a:gd name="T2" fmla="*/ 19 w 20"/>
                <a:gd name="T3" fmla="*/ 10 h 18"/>
                <a:gd name="T4" fmla="*/ 17 w 20"/>
                <a:gd name="T5" fmla="*/ 13 h 18"/>
                <a:gd name="T6" fmla="*/ 16 w 20"/>
                <a:gd name="T7" fmla="*/ 15 h 18"/>
                <a:gd name="T8" fmla="*/ 15 w 20"/>
                <a:gd name="T9" fmla="*/ 18 h 18"/>
                <a:gd name="T10" fmla="*/ 10 w 20"/>
                <a:gd name="T11" fmla="*/ 18 h 18"/>
                <a:gd name="T12" fmla="*/ 10 w 20"/>
                <a:gd name="T13" fmla="*/ 18 h 18"/>
                <a:gd name="T14" fmla="*/ 6 w 20"/>
                <a:gd name="T15" fmla="*/ 15 h 18"/>
                <a:gd name="T16" fmla="*/ 3 w 20"/>
                <a:gd name="T17" fmla="*/ 13 h 18"/>
                <a:gd name="T18" fmla="*/ 0 w 20"/>
                <a:gd name="T19" fmla="*/ 8 h 18"/>
                <a:gd name="T20" fmla="*/ 0 w 20"/>
                <a:gd name="T21" fmla="*/ 7 h 18"/>
                <a:gd name="T22" fmla="*/ 0 w 20"/>
                <a:gd name="T23" fmla="*/ 5 h 18"/>
                <a:gd name="T24" fmla="*/ 0 w 20"/>
                <a:gd name="T25" fmla="*/ 5 h 18"/>
                <a:gd name="T26" fmla="*/ 6 w 20"/>
                <a:gd name="T27" fmla="*/ 1 h 18"/>
                <a:gd name="T28" fmla="*/ 7 w 20"/>
                <a:gd name="T29" fmla="*/ 0 h 18"/>
                <a:gd name="T30" fmla="*/ 9 w 20"/>
                <a:gd name="T31" fmla="*/ 1 h 18"/>
                <a:gd name="T32" fmla="*/ 9 w 20"/>
                <a:gd name="T33" fmla="*/ 1 h 18"/>
                <a:gd name="T34" fmla="*/ 9 w 20"/>
                <a:gd name="T35" fmla="*/ 4 h 18"/>
                <a:gd name="T36" fmla="*/ 10 w 20"/>
                <a:gd name="T37" fmla="*/ 5 h 18"/>
                <a:gd name="T38" fmla="*/ 12 w 20"/>
                <a:gd name="T39" fmla="*/ 7 h 18"/>
                <a:gd name="T40" fmla="*/ 12 w 20"/>
                <a:gd name="T41" fmla="*/ 7 h 18"/>
                <a:gd name="T42" fmla="*/ 17 w 20"/>
                <a:gd name="T43" fmla="*/ 7 h 18"/>
                <a:gd name="T44" fmla="*/ 20 w 20"/>
                <a:gd name="T45" fmla="*/ 8 h 18"/>
                <a:gd name="T46" fmla="*/ 19 w 20"/>
                <a:gd name="T47"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18">
                  <a:moveTo>
                    <a:pt x="19" y="10"/>
                  </a:moveTo>
                  <a:lnTo>
                    <a:pt x="19" y="10"/>
                  </a:lnTo>
                  <a:lnTo>
                    <a:pt x="17" y="13"/>
                  </a:lnTo>
                  <a:lnTo>
                    <a:pt x="16" y="15"/>
                  </a:lnTo>
                  <a:lnTo>
                    <a:pt x="15" y="18"/>
                  </a:lnTo>
                  <a:lnTo>
                    <a:pt x="10" y="18"/>
                  </a:lnTo>
                  <a:lnTo>
                    <a:pt x="10" y="18"/>
                  </a:lnTo>
                  <a:lnTo>
                    <a:pt x="6" y="15"/>
                  </a:lnTo>
                  <a:lnTo>
                    <a:pt x="3" y="13"/>
                  </a:lnTo>
                  <a:lnTo>
                    <a:pt x="0" y="8"/>
                  </a:lnTo>
                  <a:lnTo>
                    <a:pt x="0" y="7"/>
                  </a:lnTo>
                  <a:lnTo>
                    <a:pt x="0" y="5"/>
                  </a:lnTo>
                  <a:lnTo>
                    <a:pt x="0" y="5"/>
                  </a:lnTo>
                  <a:lnTo>
                    <a:pt x="6" y="1"/>
                  </a:lnTo>
                  <a:lnTo>
                    <a:pt x="7" y="0"/>
                  </a:lnTo>
                  <a:lnTo>
                    <a:pt x="9" y="1"/>
                  </a:lnTo>
                  <a:lnTo>
                    <a:pt x="9" y="1"/>
                  </a:lnTo>
                  <a:lnTo>
                    <a:pt x="9" y="4"/>
                  </a:lnTo>
                  <a:lnTo>
                    <a:pt x="10" y="5"/>
                  </a:lnTo>
                  <a:lnTo>
                    <a:pt x="12" y="7"/>
                  </a:lnTo>
                  <a:lnTo>
                    <a:pt x="12" y="7"/>
                  </a:lnTo>
                  <a:lnTo>
                    <a:pt x="17" y="7"/>
                  </a:lnTo>
                  <a:lnTo>
                    <a:pt x="20" y="8"/>
                  </a:lnTo>
                  <a:lnTo>
                    <a:pt x="19" y="10"/>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09" name="Freeform 963"/>
            <p:cNvSpPr>
              <a:spLocks/>
            </p:cNvSpPr>
            <p:nvPr/>
          </p:nvSpPr>
          <p:spPr bwMode="auto">
            <a:xfrm>
              <a:off x="2620963" y="2746804"/>
              <a:ext cx="31750" cy="28575"/>
            </a:xfrm>
            <a:custGeom>
              <a:avLst/>
              <a:gdLst>
                <a:gd name="T0" fmla="*/ 19 w 20"/>
                <a:gd name="T1" fmla="*/ 10 h 18"/>
                <a:gd name="T2" fmla="*/ 19 w 20"/>
                <a:gd name="T3" fmla="*/ 10 h 18"/>
                <a:gd name="T4" fmla="*/ 17 w 20"/>
                <a:gd name="T5" fmla="*/ 13 h 18"/>
                <a:gd name="T6" fmla="*/ 16 w 20"/>
                <a:gd name="T7" fmla="*/ 15 h 18"/>
                <a:gd name="T8" fmla="*/ 15 w 20"/>
                <a:gd name="T9" fmla="*/ 18 h 18"/>
                <a:gd name="T10" fmla="*/ 10 w 20"/>
                <a:gd name="T11" fmla="*/ 18 h 18"/>
                <a:gd name="T12" fmla="*/ 10 w 20"/>
                <a:gd name="T13" fmla="*/ 18 h 18"/>
                <a:gd name="T14" fmla="*/ 6 w 20"/>
                <a:gd name="T15" fmla="*/ 15 h 18"/>
                <a:gd name="T16" fmla="*/ 3 w 20"/>
                <a:gd name="T17" fmla="*/ 13 h 18"/>
                <a:gd name="T18" fmla="*/ 0 w 20"/>
                <a:gd name="T19" fmla="*/ 8 h 18"/>
                <a:gd name="T20" fmla="*/ 0 w 20"/>
                <a:gd name="T21" fmla="*/ 7 h 18"/>
                <a:gd name="T22" fmla="*/ 0 w 20"/>
                <a:gd name="T23" fmla="*/ 5 h 18"/>
                <a:gd name="T24" fmla="*/ 0 w 20"/>
                <a:gd name="T25" fmla="*/ 5 h 18"/>
                <a:gd name="T26" fmla="*/ 6 w 20"/>
                <a:gd name="T27" fmla="*/ 1 h 18"/>
                <a:gd name="T28" fmla="*/ 7 w 20"/>
                <a:gd name="T29" fmla="*/ 0 h 18"/>
                <a:gd name="T30" fmla="*/ 9 w 20"/>
                <a:gd name="T31" fmla="*/ 1 h 18"/>
                <a:gd name="T32" fmla="*/ 9 w 20"/>
                <a:gd name="T33" fmla="*/ 1 h 18"/>
                <a:gd name="T34" fmla="*/ 9 w 20"/>
                <a:gd name="T35" fmla="*/ 4 h 18"/>
                <a:gd name="T36" fmla="*/ 10 w 20"/>
                <a:gd name="T37" fmla="*/ 5 h 18"/>
                <a:gd name="T38" fmla="*/ 12 w 20"/>
                <a:gd name="T39" fmla="*/ 7 h 18"/>
                <a:gd name="T40" fmla="*/ 12 w 20"/>
                <a:gd name="T41" fmla="*/ 7 h 18"/>
                <a:gd name="T42" fmla="*/ 17 w 20"/>
                <a:gd name="T43" fmla="*/ 7 h 18"/>
                <a:gd name="T44" fmla="*/ 20 w 20"/>
                <a:gd name="T45" fmla="*/ 8 h 18"/>
                <a:gd name="T46" fmla="*/ 19 w 20"/>
                <a:gd name="T47"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18">
                  <a:moveTo>
                    <a:pt x="19" y="10"/>
                  </a:moveTo>
                  <a:lnTo>
                    <a:pt x="19" y="10"/>
                  </a:lnTo>
                  <a:lnTo>
                    <a:pt x="17" y="13"/>
                  </a:lnTo>
                  <a:lnTo>
                    <a:pt x="16" y="15"/>
                  </a:lnTo>
                  <a:lnTo>
                    <a:pt x="15" y="18"/>
                  </a:lnTo>
                  <a:lnTo>
                    <a:pt x="10" y="18"/>
                  </a:lnTo>
                  <a:lnTo>
                    <a:pt x="10" y="18"/>
                  </a:lnTo>
                  <a:lnTo>
                    <a:pt x="6" y="15"/>
                  </a:lnTo>
                  <a:lnTo>
                    <a:pt x="3" y="13"/>
                  </a:lnTo>
                  <a:lnTo>
                    <a:pt x="0" y="8"/>
                  </a:lnTo>
                  <a:lnTo>
                    <a:pt x="0" y="7"/>
                  </a:lnTo>
                  <a:lnTo>
                    <a:pt x="0" y="5"/>
                  </a:lnTo>
                  <a:lnTo>
                    <a:pt x="0" y="5"/>
                  </a:lnTo>
                  <a:lnTo>
                    <a:pt x="6" y="1"/>
                  </a:lnTo>
                  <a:lnTo>
                    <a:pt x="7" y="0"/>
                  </a:lnTo>
                  <a:lnTo>
                    <a:pt x="9" y="1"/>
                  </a:lnTo>
                  <a:lnTo>
                    <a:pt x="9" y="1"/>
                  </a:lnTo>
                  <a:lnTo>
                    <a:pt x="9" y="4"/>
                  </a:lnTo>
                  <a:lnTo>
                    <a:pt x="10" y="5"/>
                  </a:lnTo>
                  <a:lnTo>
                    <a:pt x="12" y="7"/>
                  </a:lnTo>
                  <a:lnTo>
                    <a:pt x="12" y="7"/>
                  </a:lnTo>
                  <a:lnTo>
                    <a:pt x="17" y="7"/>
                  </a:lnTo>
                  <a:lnTo>
                    <a:pt x="20" y="8"/>
                  </a:lnTo>
                  <a:lnTo>
                    <a:pt x="19"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10" name="Freeform 964"/>
            <p:cNvSpPr>
              <a:spLocks/>
            </p:cNvSpPr>
            <p:nvPr/>
          </p:nvSpPr>
          <p:spPr bwMode="auto">
            <a:xfrm>
              <a:off x="2232025" y="1908604"/>
              <a:ext cx="115888" cy="106363"/>
            </a:xfrm>
            <a:custGeom>
              <a:avLst/>
              <a:gdLst>
                <a:gd name="T0" fmla="*/ 63 w 73"/>
                <a:gd name="T1" fmla="*/ 67 h 67"/>
                <a:gd name="T2" fmla="*/ 63 w 73"/>
                <a:gd name="T3" fmla="*/ 67 h 67"/>
                <a:gd name="T4" fmla="*/ 58 w 73"/>
                <a:gd name="T5" fmla="*/ 67 h 67"/>
                <a:gd name="T6" fmla="*/ 52 w 73"/>
                <a:gd name="T7" fmla="*/ 65 h 67"/>
                <a:gd name="T8" fmla="*/ 48 w 73"/>
                <a:gd name="T9" fmla="*/ 64 h 67"/>
                <a:gd name="T10" fmla="*/ 45 w 73"/>
                <a:gd name="T11" fmla="*/ 64 h 67"/>
                <a:gd name="T12" fmla="*/ 45 w 73"/>
                <a:gd name="T13" fmla="*/ 64 h 67"/>
                <a:gd name="T14" fmla="*/ 23 w 73"/>
                <a:gd name="T15" fmla="*/ 65 h 67"/>
                <a:gd name="T16" fmla="*/ 12 w 73"/>
                <a:gd name="T17" fmla="*/ 65 h 67"/>
                <a:gd name="T18" fmla="*/ 5 w 73"/>
                <a:gd name="T19" fmla="*/ 65 h 67"/>
                <a:gd name="T20" fmla="*/ 5 w 73"/>
                <a:gd name="T21" fmla="*/ 65 h 67"/>
                <a:gd name="T22" fmla="*/ 3 w 73"/>
                <a:gd name="T23" fmla="*/ 63 h 67"/>
                <a:gd name="T24" fmla="*/ 3 w 73"/>
                <a:gd name="T25" fmla="*/ 55 h 67"/>
                <a:gd name="T26" fmla="*/ 3 w 73"/>
                <a:gd name="T27" fmla="*/ 42 h 67"/>
                <a:gd name="T28" fmla="*/ 3 w 73"/>
                <a:gd name="T29" fmla="*/ 42 h 67"/>
                <a:gd name="T30" fmla="*/ 0 w 73"/>
                <a:gd name="T31" fmla="*/ 26 h 67"/>
                <a:gd name="T32" fmla="*/ 0 w 73"/>
                <a:gd name="T33" fmla="*/ 13 h 67"/>
                <a:gd name="T34" fmla="*/ 0 w 73"/>
                <a:gd name="T35" fmla="*/ 13 h 67"/>
                <a:gd name="T36" fmla="*/ 0 w 73"/>
                <a:gd name="T37" fmla="*/ 8 h 67"/>
                <a:gd name="T38" fmla="*/ 3 w 73"/>
                <a:gd name="T39" fmla="*/ 6 h 67"/>
                <a:gd name="T40" fmla="*/ 6 w 73"/>
                <a:gd name="T41" fmla="*/ 3 h 67"/>
                <a:gd name="T42" fmla="*/ 6 w 73"/>
                <a:gd name="T43" fmla="*/ 3 h 67"/>
                <a:gd name="T44" fmla="*/ 15 w 73"/>
                <a:gd name="T45" fmla="*/ 0 h 67"/>
                <a:gd name="T46" fmla="*/ 18 w 73"/>
                <a:gd name="T47" fmla="*/ 0 h 67"/>
                <a:gd name="T48" fmla="*/ 21 w 73"/>
                <a:gd name="T49" fmla="*/ 2 h 67"/>
                <a:gd name="T50" fmla="*/ 21 w 73"/>
                <a:gd name="T51" fmla="*/ 2 h 67"/>
                <a:gd name="T52" fmla="*/ 23 w 73"/>
                <a:gd name="T53" fmla="*/ 6 h 67"/>
                <a:gd name="T54" fmla="*/ 28 w 73"/>
                <a:gd name="T55" fmla="*/ 9 h 67"/>
                <a:gd name="T56" fmla="*/ 32 w 73"/>
                <a:gd name="T57" fmla="*/ 10 h 67"/>
                <a:gd name="T58" fmla="*/ 35 w 73"/>
                <a:gd name="T59" fmla="*/ 10 h 67"/>
                <a:gd name="T60" fmla="*/ 35 w 73"/>
                <a:gd name="T61" fmla="*/ 10 h 67"/>
                <a:gd name="T62" fmla="*/ 44 w 73"/>
                <a:gd name="T63" fmla="*/ 9 h 67"/>
                <a:gd name="T64" fmla="*/ 51 w 73"/>
                <a:gd name="T65" fmla="*/ 9 h 67"/>
                <a:gd name="T66" fmla="*/ 55 w 73"/>
                <a:gd name="T67" fmla="*/ 9 h 67"/>
                <a:gd name="T68" fmla="*/ 55 w 73"/>
                <a:gd name="T69" fmla="*/ 9 h 67"/>
                <a:gd name="T70" fmla="*/ 61 w 73"/>
                <a:gd name="T71" fmla="*/ 13 h 67"/>
                <a:gd name="T72" fmla="*/ 63 w 73"/>
                <a:gd name="T73" fmla="*/ 15 h 67"/>
                <a:gd name="T74" fmla="*/ 64 w 73"/>
                <a:gd name="T75" fmla="*/ 18 h 67"/>
                <a:gd name="T76" fmla="*/ 64 w 73"/>
                <a:gd name="T77" fmla="*/ 18 h 67"/>
                <a:gd name="T78" fmla="*/ 64 w 73"/>
                <a:gd name="T79" fmla="*/ 23 h 67"/>
                <a:gd name="T80" fmla="*/ 64 w 73"/>
                <a:gd name="T81" fmla="*/ 26 h 67"/>
                <a:gd name="T82" fmla="*/ 66 w 73"/>
                <a:gd name="T83" fmla="*/ 29 h 67"/>
                <a:gd name="T84" fmla="*/ 66 w 73"/>
                <a:gd name="T85" fmla="*/ 29 h 67"/>
                <a:gd name="T86" fmla="*/ 67 w 73"/>
                <a:gd name="T87" fmla="*/ 32 h 67"/>
                <a:gd name="T88" fmla="*/ 68 w 73"/>
                <a:gd name="T89" fmla="*/ 37 h 67"/>
                <a:gd name="T90" fmla="*/ 70 w 73"/>
                <a:gd name="T91" fmla="*/ 47 h 67"/>
                <a:gd name="T92" fmla="*/ 70 w 73"/>
                <a:gd name="T93" fmla="*/ 47 h 67"/>
                <a:gd name="T94" fmla="*/ 71 w 73"/>
                <a:gd name="T95" fmla="*/ 52 h 67"/>
                <a:gd name="T96" fmla="*/ 73 w 73"/>
                <a:gd name="T97" fmla="*/ 58 h 67"/>
                <a:gd name="T98" fmla="*/ 73 w 73"/>
                <a:gd name="T99" fmla="*/ 61 h 67"/>
                <a:gd name="T100" fmla="*/ 71 w 73"/>
                <a:gd name="T101" fmla="*/ 64 h 67"/>
                <a:gd name="T102" fmla="*/ 68 w 73"/>
                <a:gd name="T103" fmla="*/ 65 h 67"/>
                <a:gd name="T104" fmla="*/ 63 w 73"/>
                <a:gd name="T105"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 h="67">
                  <a:moveTo>
                    <a:pt x="63" y="67"/>
                  </a:moveTo>
                  <a:lnTo>
                    <a:pt x="63" y="67"/>
                  </a:lnTo>
                  <a:lnTo>
                    <a:pt x="58" y="67"/>
                  </a:lnTo>
                  <a:lnTo>
                    <a:pt x="52" y="65"/>
                  </a:lnTo>
                  <a:lnTo>
                    <a:pt x="48" y="64"/>
                  </a:lnTo>
                  <a:lnTo>
                    <a:pt x="45" y="64"/>
                  </a:lnTo>
                  <a:lnTo>
                    <a:pt x="45" y="64"/>
                  </a:lnTo>
                  <a:lnTo>
                    <a:pt x="23" y="65"/>
                  </a:lnTo>
                  <a:lnTo>
                    <a:pt x="12" y="65"/>
                  </a:lnTo>
                  <a:lnTo>
                    <a:pt x="5" y="65"/>
                  </a:lnTo>
                  <a:lnTo>
                    <a:pt x="5" y="65"/>
                  </a:lnTo>
                  <a:lnTo>
                    <a:pt x="3" y="63"/>
                  </a:lnTo>
                  <a:lnTo>
                    <a:pt x="3" y="55"/>
                  </a:lnTo>
                  <a:lnTo>
                    <a:pt x="3" y="42"/>
                  </a:lnTo>
                  <a:lnTo>
                    <a:pt x="3" y="42"/>
                  </a:lnTo>
                  <a:lnTo>
                    <a:pt x="0" y="26"/>
                  </a:lnTo>
                  <a:lnTo>
                    <a:pt x="0" y="13"/>
                  </a:lnTo>
                  <a:lnTo>
                    <a:pt x="0" y="13"/>
                  </a:lnTo>
                  <a:lnTo>
                    <a:pt x="0" y="8"/>
                  </a:lnTo>
                  <a:lnTo>
                    <a:pt x="3" y="6"/>
                  </a:lnTo>
                  <a:lnTo>
                    <a:pt x="6" y="3"/>
                  </a:lnTo>
                  <a:lnTo>
                    <a:pt x="6" y="3"/>
                  </a:lnTo>
                  <a:lnTo>
                    <a:pt x="15" y="0"/>
                  </a:lnTo>
                  <a:lnTo>
                    <a:pt x="18" y="0"/>
                  </a:lnTo>
                  <a:lnTo>
                    <a:pt x="21" y="2"/>
                  </a:lnTo>
                  <a:lnTo>
                    <a:pt x="21" y="2"/>
                  </a:lnTo>
                  <a:lnTo>
                    <a:pt x="23" y="6"/>
                  </a:lnTo>
                  <a:lnTo>
                    <a:pt x="28" y="9"/>
                  </a:lnTo>
                  <a:lnTo>
                    <a:pt x="32" y="10"/>
                  </a:lnTo>
                  <a:lnTo>
                    <a:pt x="35" y="10"/>
                  </a:lnTo>
                  <a:lnTo>
                    <a:pt x="35" y="10"/>
                  </a:lnTo>
                  <a:lnTo>
                    <a:pt x="44" y="9"/>
                  </a:lnTo>
                  <a:lnTo>
                    <a:pt x="51" y="9"/>
                  </a:lnTo>
                  <a:lnTo>
                    <a:pt x="55" y="9"/>
                  </a:lnTo>
                  <a:lnTo>
                    <a:pt x="55" y="9"/>
                  </a:lnTo>
                  <a:lnTo>
                    <a:pt x="61" y="13"/>
                  </a:lnTo>
                  <a:lnTo>
                    <a:pt x="63" y="15"/>
                  </a:lnTo>
                  <a:lnTo>
                    <a:pt x="64" y="18"/>
                  </a:lnTo>
                  <a:lnTo>
                    <a:pt x="64" y="18"/>
                  </a:lnTo>
                  <a:lnTo>
                    <a:pt x="64" y="23"/>
                  </a:lnTo>
                  <a:lnTo>
                    <a:pt x="64" y="26"/>
                  </a:lnTo>
                  <a:lnTo>
                    <a:pt x="66" y="29"/>
                  </a:lnTo>
                  <a:lnTo>
                    <a:pt x="66" y="29"/>
                  </a:lnTo>
                  <a:lnTo>
                    <a:pt x="67" y="32"/>
                  </a:lnTo>
                  <a:lnTo>
                    <a:pt x="68" y="37"/>
                  </a:lnTo>
                  <a:lnTo>
                    <a:pt x="70" y="47"/>
                  </a:lnTo>
                  <a:lnTo>
                    <a:pt x="70" y="47"/>
                  </a:lnTo>
                  <a:lnTo>
                    <a:pt x="71" y="52"/>
                  </a:lnTo>
                  <a:lnTo>
                    <a:pt x="73" y="58"/>
                  </a:lnTo>
                  <a:lnTo>
                    <a:pt x="73" y="61"/>
                  </a:lnTo>
                  <a:lnTo>
                    <a:pt x="71" y="64"/>
                  </a:lnTo>
                  <a:lnTo>
                    <a:pt x="68" y="65"/>
                  </a:lnTo>
                  <a:lnTo>
                    <a:pt x="63" y="67"/>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11" name="Freeform 965"/>
            <p:cNvSpPr>
              <a:spLocks/>
            </p:cNvSpPr>
            <p:nvPr/>
          </p:nvSpPr>
          <p:spPr bwMode="auto">
            <a:xfrm>
              <a:off x="2232025" y="1908604"/>
              <a:ext cx="115888" cy="106363"/>
            </a:xfrm>
            <a:custGeom>
              <a:avLst/>
              <a:gdLst>
                <a:gd name="T0" fmla="*/ 63 w 73"/>
                <a:gd name="T1" fmla="*/ 67 h 67"/>
                <a:gd name="T2" fmla="*/ 63 w 73"/>
                <a:gd name="T3" fmla="*/ 67 h 67"/>
                <a:gd name="T4" fmla="*/ 58 w 73"/>
                <a:gd name="T5" fmla="*/ 67 h 67"/>
                <a:gd name="T6" fmla="*/ 52 w 73"/>
                <a:gd name="T7" fmla="*/ 65 h 67"/>
                <a:gd name="T8" fmla="*/ 48 w 73"/>
                <a:gd name="T9" fmla="*/ 64 h 67"/>
                <a:gd name="T10" fmla="*/ 45 w 73"/>
                <a:gd name="T11" fmla="*/ 64 h 67"/>
                <a:gd name="T12" fmla="*/ 45 w 73"/>
                <a:gd name="T13" fmla="*/ 64 h 67"/>
                <a:gd name="T14" fmla="*/ 23 w 73"/>
                <a:gd name="T15" fmla="*/ 65 h 67"/>
                <a:gd name="T16" fmla="*/ 12 w 73"/>
                <a:gd name="T17" fmla="*/ 65 h 67"/>
                <a:gd name="T18" fmla="*/ 5 w 73"/>
                <a:gd name="T19" fmla="*/ 65 h 67"/>
                <a:gd name="T20" fmla="*/ 5 w 73"/>
                <a:gd name="T21" fmla="*/ 65 h 67"/>
                <a:gd name="T22" fmla="*/ 3 w 73"/>
                <a:gd name="T23" fmla="*/ 63 h 67"/>
                <a:gd name="T24" fmla="*/ 3 w 73"/>
                <a:gd name="T25" fmla="*/ 55 h 67"/>
                <a:gd name="T26" fmla="*/ 3 w 73"/>
                <a:gd name="T27" fmla="*/ 42 h 67"/>
                <a:gd name="T28" fmla="*/ 3 w 73"/>
                <a:gd name="T29" fmla="*/ 42 h 67"/>
                <a:gd name="T30" fmla="*/ 0 w 73"/>
                <a:gd name="T31" fmla="*/ 26 h 67"/>
                <a:gd name="T32" fmla="*/ 0 w 73"/>
                <a:gd name="T33" fmla="*/ 13 h 67"/>
                <a:gd name="T34" fmla="*/ 0 w 73"/>
                <a:gd name="T35" fmla="*/ 13 h 67"/>
                <a:gd name="T36" fmla="*/ 0 w 73"/>
                <a:gd name="T37" fmla="*/ 8 h 67"/>
                <a:gd name="T38" fmla="*/ 3 w 73"/>
                <a:gd name="T39" fmla="*/ 6 h 67"/>
                <a:gd name="T40" fmla="*/ 6 w 73"/>
                <a:gd name="T41" fmla="*/ 3 h 67"/>
                <a:gd name="T42" fmla="*/ 6 w 73"/>
                <a:gd name="T43" fmla="*/ 3 h 67"/>
                <a:gd name="T44" fmla="*/ 15 w 73"/>
                <a:gd name="T45" fmla="*/ 0 h 67"/>
                <a:gd name="T46" fmla="*/ 18 w 73"/>
                <a:gd name="T47" fmla="*/ 0 h 67"/>
                <a:gd name="T48" fmla="*/ 21 w 73"/>
                <a:gd name="T49" fmla="*/ 2 h 67"/>
                <a:gd name="T50" fmla="*/ 21 w 73"/>
                <a:gd name="T51" fmla="*/ 2 h 67"/>
                <a:gd name="T52" fmla="*/ 23 w 73"/>
                <a:gd name="T53" fmla="*/ 6 h 67"/>
                <a:gd name="T54" fmla="*/ 28 w 73"/>
                <a:gd name="T55" fmla="*/ 9 h 67"/>
                <a:gd name="T56" fmla="*/ 32 w 73"/>
                <a:gd name="T57" fmla="*/ 10 h 67"/>
                <a:gd name="T58" fmla="*/ 35 w 73"/>
                <a:gd name="T59" fmla="*/ 10 h 67"/>
                <a:gd name="T60" fmla="*/ 35 w 73"/>
                <a:gd name="T61" fmla="*/ 10 h 67"/>
                <a:gd name="T62" fmla="*/ 44 w 73"/>
                <a:gd name="T63" fmla="*/ 9 h 67"/>
                <a:gd name="T64" fmla="*/ 51 w 73"/>
                <a:gd name="T65" fmla="*/ 9 h 67"/>
                <a:gd name="T66" fmla="*/ 55 w 73"/>
                <a:gd name="T67" fmla="*/ 9 h 67"/>
                <a:gd name="T68" fmla="*/ 55 w 73"/>
                <a:gd name="T69" fmla="*/ 9 h 67"/>
                <a:gd name="T70" fmla="*/ 61 w 73"/>
                <a:gd name="T71" fmla="*/ 13 h 67"/>
                <a:gd name="T72" fmla="*/ 63 w 73"/>
                <a:gd name="T73" fmla="*/ 15 h 67"/>
                <a:gd name="T74" fmla="*/ 64 w 73"/>
                <a:gd name="T75" fmla="*/ 18 h 67"/>
                <a:gd name="T76" fmla="*/ 64 w 73"/>
                <a:gd name="T77" fmla="*/ 18 h 67"/>
                <a:gd name="T78" fmla="*/ 64 w 73"/>
                <a:gd name="T79" fmla="*/ 23 h 67"/>
                <a:gd name="T80" fmla="*/ 64 w 73"/>
                <a:gd name="T81" fmla="*/ 26 h 67"/>
                <a:gd name="T82" fmla="*/ 66 w 73"/>
                <a:gd name="T83" fmla="*/ 29 h 67"/>
                <a:gd name="T84" fmla="*/ 66 w 73"/>
                <a:gd name="T85" fmla="*/ 29 h 67"/>
                <a:gd name="T86" fmla="*/ 67 w 73"/>
                <a:gd name="T87" fmla="*/ 32 h 67"/>
                <a:gd name="T88" fmla="*/ 68 w 73"/>
                <a:gd name="T89" fmla="*/ 37 h 67"/>
                <a:gd name="T90" fmla="*/ 70 w 73"/>
                <a:gd name="T91" fmla="*/ 47 h 67"/>
                <a:gd name="T92" fmla="*/ 70 w 73"/>
                <a:gd name="T93" fmla="*/ 47 h 67"/>
                <a:gd name="T94" fmla="*/ 71 w 73"/>
                <a:gd name="T95" fmla="*/ 52 h 67"/>
                <a:gd name="T96" fmla="*/ 73 w 73"/>
                <a:gd name="T97" fmla="*/ 58 h 67"/>
                <a:gd name="T98" fmla="*/ 73 w 73"/>
                <a:gd name="T99" fmla="*/ 61 h 67"/>
                <a:gd name="T100" fmla="*/ 71 w 73"/>
                <a:gd name="T101" fmla="*/ 64 h 67"/>
                <a:gd name="T102" fmla="*/ 68 w 73"/>
                <a:gd name="T103" fmla="*/ 65 h 67"/>
                <a:gd name="T104" fmla="*/ 63 w 73"/>
                <a:gd name="T105"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 h="67">
                  <a:moveTo>
                    <a:pt x="63" y="67"/>
                  </a:moveTo>
                  <a:lnTo>
                    <a:pt x="63" y="67"/>
                  </a:lnTo>
                  <a:lnTo>
                    <a:pt x="58" y="67"/>
                  </a:lnTo>
                  <a:lnTo>
                    <a:pt x="52" y="65"/>
                  </a:lnTo>
                  <a:lnTo>
                    <a:pt x="48" y="64"/>
                  </a:lnTo>
                  <a:lnTo>
                    <a:pt x="45" y="64"/>
                  </a:lnTo>
                  <a:lnTo>
                    <a:pt x="45" y="64"/>
                  </a:lnTo>
                  <a:lnTo>
                    <a:pt x="23" y="65"/>
                  </a:lnTo>
                  <a:lnTo>
                    <a:pt x="12" y="65"/>
                  </a:lnTo>
                  <a:lnTo>
                    <a:pt x="5" y="65"/>
                  </a:lnTo>
                  <a:lnTo>
                    <a:pt x="5" y="65"/>
                  </a:lnTo>
                  <a:lnTo>
                    <a:pt x="3" y="63"/>
                  </a:lnTo>
                  <a:lnTo>
                    <a:pt x="3" y="55"/>
                  </a:lnTo>
                  <a:lnTo>
                    <a:pt x="3" y="42"/>
                  </a:lnTo>
                  <a:lnTo>
                    <a:pt x="3" y="42"/>
                  </a:lnTo>
                  <a:lnTo>
                    <a:pt x="0" y="26"/>
                  </a:lnTo>
                  <a:lnTo>
                    <a:pt x="0" y="13"/>
                  </a:lnTo>
                  <a:lnTo>
                    <a:pt x="0" y="13"/>
                  </a:lnTo>
                  <a:lnTo>
                    <a:pt x="0" y="8"/>
                  </a:lnTo>
                  <a:lnTo>
                    <a:pt x="3" y="6"/>
                  </a:lnTo>
                  <a:lnTo>
                    <a:pt x="6" y="3"/>
                  </a:lnTo>
                  <a:lnTo>
                    <a:pt x="6" y="3"/>
                  </a:lnTo>
                  <a:lnTo>
                    <a:pt x="15" y="0"/>
                  </a:lnTo>
                  <a:lnTo>
                    <a:pt x="18" y="0"/>
                  </a:lnTo>
                  <a:lnTo>
                    <a:pt x="21" y="2"/>
                  </a:lnTo>
                  <a:lnTo>
                    <a:pt x="21" y="2"/>
                  </a:lnTo>
                  <a:lnTo>
                    <a:pt x="23" y="6"/>
                  </a:lnTo>
                  <a:lnTo>
                    <a:pt x="28" y="9"/>
                  </a:lnTo>
                  <a:lnTo>
                    <a:pt x="32" y="10"/>
                  </a:lnTo>
                  <a:lnTo>
                    <a:pt x="35" y="10"/>
                  </a:lnTo>
                  <a:lnTo>
                    <a:pt x="35" y="10"/>
                  </a:lnTo>
                  <a:lnTo>
                    <a:pt x="44" y="9"/>
                  </a:lnTo>
                  <a:lnTo>
                    <a:pt x="51" y="9"/>
                  </a:lnTo>
                  <a:lnTo>
                    <a:pt x="55" y="9"/>
                  </a:lnTo>
                  <a:lnTo>
                    <a:pt x="55" y="9"/>
                  </a:lnTo>
                  <a:lnTo>
                    <a:pt x="61" y="13"/>
                  </a:lnTo>
                  <a:lnTo>
                    <a:pt x="63" y="15"/>
                  </a:lnTo>
                  <a:lnTo>
                    <a:pt x="64" y="18"/>
                  </a:lnTo>
                  <a:lnTo>
                    <a:pt x="64" y="18"/>
                  </a:lnTo>
                  <a:lnTo>
                    <a:pt x="64" y="23"/>
                  </a:lnTo>
                  <a:lnTo>
                    <a:pt x="64" y="26"/>
                  </a:lnTo>
                  <a:lnTo>
                    <a:pt x="66" y="29"/>
                  </a:lnTo>
                  <a:lnTo>
                    <a:pt x="66" y="29"/>
                  </a:lnTo>
                  <a:lnTo>
                    <a:pt x="67" y="32"/>
                  </a:lnTo>
                  <a:lnTo>
                    <a:pt x="68" y="37"/>
                  </a:lnTo>
                  <a:lnTo>
                    <a:pt x="70" y="47"/>
                  </a:lnTo>
                  <a:lnTo>
                    <a:pt x="70" y="47"/>
                  </a:lnTo>
                  <a:lnTo>
                    <a:pt x="71" y="52"/>
                  </a:lnTo>
                  <a:lnTo>
                    <a:pt x="73" y="58"/>
                  </a:lnTo>
                  <a:lnTo>
                    <a:pt x="73" y="61"/>
                  </a:lnTo>
                  <a:lnTo>
                    <a:pt x="71" y="64"/>
                  </a:lnTo>
                  <a:lnTo>
                    <a:pt x="68" y="65"/>
                  </a:lnTo>
                  <a:lnTo>
                    <a:pt x="63"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12" name="Freeform 966"/>
            <p:cNvSpPr>
              <a:spLocks/>
            </p:cNvSpPr>
            <p:nvPr/>
          </p:nvSpPr>
          <p:spPr bwMode="auto">
            <a:xfrm>
              <a:off x="1747838" y="2237217"/>
              <a:ext cx="112713" cy="106363"/>
            </a:xfrm>
            <a:custGeom>
              <a:avLst/>
              <a:gdLst>
                <a:gd name="T0" fmla="*/ 69 w 71"/>
                <a:gd name="T1" fmla="*/ 55 h 67"/>
                <a:gd name="T2" fmla="*/ 56 w 71"/>
                <a:gd name="T3" fmla="*/ 66 h 67"/>
                <a:gd name="T4" fmla="*/ 52 w 71"/>
                <a:gd name="T5" fmla="*/ 67 h 67"/>
                <a:gd name="T6" fmla="*/ 34 w 71"/>
                <a:gd name="T7" fmla="*/ 63 h 67"/>
                <a:gd name="T8" fmla="*/ 24 w 71"/>
                <a:gd name="T9" fmla="*/ 58 h 67"/>
                <a:gd name="T10" fmla="*/ 16 w 71"/>
                <a:gd name="T11" fmla="*/ 55 h 67"/>
                <a:gd name="T12" fmla="*/ 6 w 71"/>
                <a:gd name="T13" fmla="*/ 51 h 67"/>
                <a:gd name="T14" fmla="*/ 1 w 71"/>
                <a:gd name="T15" fmla="*/ 45 h 67"/>
                <a:gd name="T16" fmla="*/ 1 w 71"/>
                <a:gd name="T17" fmla="*/ 40 h 67"/>
                <a:gd name="T18" fmla="*/ 7 w 71"/>
                <a:gd name="T19" fmla="*/ 40 h 67"/>
                <a:gd name="T20" fmla="*/ 14 w 71"/>
                <a:gd name="T21" fmla="*/ 38 h 67"/>
                <a:gd name="T22" fmla="*/ 19 w 71"/>
                <a:gd name="T23" fmla="*/ 32 h 67"/>
                <a:gd name="T24" fmla="*/ 19 w 71"/>
                <a:gd name="T25" fmla="*/ 25 h 67"/>
                <a:gd name="T26" fmla="*/ 17 w 71"/>
                <a:gd name="T27" fmla="*/ 24 h 67"/>
                <a:gd name="T28" fmla="*/ 20 w 71"/>
                <a:gd name="T29" fmla="*/ 19 h 67"/>
                <a:gd name="T30" fmla="*/ 20 w 71"/>
                <a:gd name="T31" fmla="*/ 18 h 67"/>
                <a:gd name="T32" fmla="*/ 23 w 71"/>
                <a:gd name="T33" fmla="*/ 8 h 67"/>
                <a:gd name="T34" fmla="*/ 26 w 71"/>
                <a:gd name="T35" fmla="*/ 3 h 67"/>
                <a:gd name="T36" fmla="*/ 29 w 71"/>
                <a:gd name="T37" fmla="*/ 0 h 67"/>
                <a:gd name="T38" fmla="*/ 34 w 71"/>
                <a:gd name="T39" fmla="*/ 5 h 67"/>
                <a:gd name="T40" fmla="*/ 39 w 71"/>
                <a:gd name="T41" fmla="*/ 9 h 67"/>
                <a:gd name="T42" fmla="*/ 39 w 71"/>
                <a:gd name="T43" fmla="*/ 12 h 67"/>
                <a:gd name="T44" fmla="*/ 42 w 71"/>
                <a:gd name="T45" fmla="*/ 16 h 67"/>
                <a:gd name="T46" fmla="*/ 45 w 71"/>
                <a:gd name="T47" fmla="*/ 16 h 67"/>
                <a:gd name="T48" fmla="*/ 48 w 71"/>
                <a:gd name="T49" fmla="*/ 15 h 67"/>
                <a:gd name="T50" fmla="*/ 52 w 71"/>
                <a:gd name="T51" fmla="*/ 19 h 67"/>
                <a:gd name="T52" fmla="*/ 58 w 71"/>
                <a:gd name="T53" fmla="*/ 28 h 67"/>
                <a:gd name="T54" fmla="*/ 59 w 71"/>
                <a:gd name="T55" fmla="*/ 32 h 67"/>
                <a:gd name="T56" fmla="*/ 58 w 71"/>
                <a:gd name="T57" fmla="*/ 34 h 67"/>
                <a:gd name="T58" fmla="*/ 58 w 71"/>
                <a:gd name="T59" fmla="*/ 38 h 67"/>
                <a:gd name="T60" fmla="*/ 59 w 71"/>
                <a:gd name="T61" fmla="*/ 40 h 67"/>
                <a:gd name="T62" fmla="*/ 62 w 71"/>
                <a:gd name="T63" fmla="*/ 44 h 67"/>
                <a:gd name="T64" fmla="*/ 66 w 71"/>
                <a:gd name="T65" fmla="*/ 51 h 67"/>
                <a:gd name="T66" fmla="*/ 71 w 71"/>
                <a:gd name="T67" fmla="*/ 54 h 67"/>
                <a:gd name="T68" fmla="*/ 69 w 71"/>
                <a:gd name="T69" fmla="*/ 5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 h="67">
                  <a:moveTo>
                    <a:pt x="69" y="55"/>
                  </a:moveTo>
                  <a:lnTo>
                    <a:pt x="69" y="55"/>
                  </a:lnTo>
                  <a:lnTo>
                    <a:pt x="61" y="63"/>
                  </a:lnTo>
                  <a:lnTo>
                    <a:pt x="56" y="66"/>
                  </a:lnTo>
                  <a:lnTo>
                    <a:pt x="52" y="67"/>
                  </a:lnTo>
                  <a:lnTo>
                    <a:pt x="52" y="67"/>
                  </a:lnTo>
                  <a:lnTo>
                    <a:pt x="43" y="64"/>
                  </a:lnTo>
                  <a:lnTo>
                    <a:pt x="34" y="63"/>
                  </a:lnTo>
                  <a:lnTo>
                    <a:pt x="34" y="63"/>
                  </a:lnTo>
                  <a:lnTo>
                    <a:pt x="24" y="58"/>
                  </a:lnTo>
                  <a:lnTo>
                    <a:pt x="16" y="55"/>
                  </a:lnTo>
                  <a:lnTo>
                    <a:pt x="16" y="55"/>
                  </a:lnTo>
                  <a:lnTo>
                    <a:pt x="10" y="54"/>
                  </a:lnTo>
                  <a:lnTo>
                    <a:pt x="6" y="51"/>
                  </a:lnTo>
                  <a:lnTo>
                    <a:pt x="6" y="51"/>
                  </a:lnTo>
                  <a:lnTo>
                    <a:pt x="1" y="45"/>
                  </a:lnTo>
                  <a:lnTo>
                    <a:pt x="0" y="41"/>
                  </a:lnTo>
                  <a:lnTo>
                    <a:pt x="1" y="40"/>
                  </a:lnTo>
                  <a:lnTo>
                    <a:pt x="1" y="40"/>
                  </a:lnTo>
                  <a:lnTo>
                    <a:pt x="7" y="40"/>
                  </a:lnTo>
                  <a:lnTo>
                    <a:pt x="14" y="38"/>
                  </a:lnTo>
                  <a:lnTo>
                    <a:pt x="14" y="38"/>
                  </a:lnTo>
                  <a:lnTo>
                    <a:pt x="17" y="35"/>
                  </a:lnTo>
                  <a:lnTo>
                    <a:pt x="19" y="32"/>
                  </a:lnTo>
                  <a:lnTo>
                    <a:pt x="20" y="28"/>
                  </a:lnTo>
                  <a:lnTo>
                    <a:pt x="19" y="25"/>
                  </a:lnTo>
                  <a:lnTo>
                    <a:pt x="19" y="25"/>
                  </a:lnTo>
                  <a:lnTo>
                    <a:pt x="17" y="24"/>
                  </a:lnTo>
                  <a:lnTo>
                    <a:pt x="17" y="22"/>
                  </a:lnTo>
                  <a:lnTo>
                    <a:pt x="20" y="19"/>
                  </a:lnTo>
                  <a:lnTo>
                    <a:pt x="20" y="19"/>
                  </a:lnTo>
                  <a:lnTo>
                    <a:pt x="20" y="18"/>
                  </a:lnTo>
                  <a:lnTo>
                    <a:pt x="21" y="13"/>
                  </a:lnTo>
                  <a:lnTo>
                    <a:pt x="23" y="8"/>
                  </a:lnTo>
                  <a:lnTo>
                    <a:pt x="23" y="8"/>
                  </a:lnTo>
                  <a:lnTo>
                    <a:pt x="26" y="3"/>
                  </a:lnTo>
                  <a:lnTo>
                    <a:pt x="27" y="0"/>
                  </a:lnTo>
                  <a:lnTo>
                    <a:pt x="29" y="0"/>
                  </a:lnTo>
                  <a:lnTo>
                    <a:pt x="29" y="0"/>
                  </a:lnTo>
                  <a:lnTo>
                    <a:pt x="34" y="5"/>
                  </a:lnTo>
                  <a:lnTo>
                    <a:pt x="39" y="8"/>
                  </a:lnTo>
                  <a:lnTo>
                    <a:pt x="39" y="9"/>
                  </a:lnTo>
                  <a:lnTo>
                    <a:pt x="39" y="9"/>
                  </a:lnTo>
                  <a:lnTo>
                    <a:pt x="39" y="12"/>
                  </a:lnTo>
                  <a:lnTo>
                    <a:pt x="40" y="13"/>
                  </a:lnTo>
                  <a:lnTo>
                    <a:pt x="42" y="16"/>
                  </a:lnTo>
                  <a:lnTo>
                    <a:pt x="45" y="16"/>
                  </a:lnTo>
                  <a:lnTo>
                    <a:pt x="45" y="16"/>
                  </a:lnTo>
                  <a:lnTo>
                    <a:pt x="46" y="15"/>
                  </a:lnTo>
                  <a:lnTo>
                    <a:pt x="48" y="15"/>
                  </a:lnTo>
                  <a:lnTo>
                    <a:pt x="50" y="16"/>
                  </a:lnTo>
                  <a:lnTo>
                    <a:pt x="52" y="19"/>
                  </a:lnTo>
                  <a:lnTo>
                    <a:pt x="52" y="19"/>
                  </a:lnTo>
                  <a:lnTo>
                    <a:pt x="58" y="28"/>
                  </a:lnTo>
                  <a:lnTo>
                    <a:pt x="59" y="31"/>
                  </a:lnTo>
                  <a:lnTo>
                    <a:pt x="59" y="32"/>
                  </a:lnTo>
                  <a:lnTo>
                    <a:pt x="59" y="32"/>
                  </a:lnTo>
                  <a:lnTo>
                    <a:pt x="58" y="34"/>
                  </a:lnTo>
                  <a:lnTo>
                    <a:pt x="58" y="37"/>
                  </a:lnTo>
                  <a:lnTo>
                    <a:pt x="58" y="38"/>
                  </a:lnTo>
                  <a:lnTo>
                    <a:pt x="59" y="40"/>
                  </a:lnTo>
                  <a:lnTo>
                    <a:pt x="59" y="40"/>
                  </a:lnTo>
                  <a:lnTo>
                    <a:pt x="61" y="41"/>
                  </a:lnTo>
                  <a:lnTo>
                    <a:pt x="62" y="44"/>
                  </a:lnTo>
                  <a:lnTo>
                    <a:pt x="65" y="48"/>
                  </a:lnTo>
                  <a:lnTo>
                    <a:pt x="66" y="51"/>
                  </a:lnTo>
                  <a:lnTo>
                    <a:pt x="66" y="51"/>
                  </a:lnTo>
                  <a:lnTo>
                    <a:pt x="71" y="54"/>
                  </a:lnTo>
                  <a:lnTo>
                    <a:pt x="71" y="55"/>
                  </a:lnTo>
                  <a:lnTo>
                    <a:pt x="69" y="55"/>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13" name="Freeform 967"/>
            <p:cNvSpPr>
              <a:spLocks/>
            </p:cNvSpPr>
            <p:nvPr/>
          </p:nvSpPr>
          <p:spPr bwMode="auto">
            <a:xfrm>
              <a:off x="1747838" y="2237217"/>
              <a:ext cx="112713" cy="106363"/>
            </a:xfrm>
            <a:custGeom>
              <a:avLst/>
              <a:gdLst>
                <a:gd name="T0" fmla="*/ 69 w 71"/>
                <a:gd name="T1" fmla="*/ 55 h 67"/>
                <a:gd name="T2" fmla="*/ 56 w 71"/>
                <a:gd name="T3" fmla="*/ 66 h 67"/>
                <a:gd name="T4" fmla="*/ 52 w 71"/>
                <a:gd name="T5" fmla="*/ 67 h 67"/>
                <a:gd name="T6" fmla="*/ 34 w 71"/>
                <a:gd name="T7" fmla="*/ 63 h 67"/>
                <a:gd name="T8" fmla="*/ 24 w 71"/>
                <a:gd name="T9" fmla="*/ 58 h 67"/>
                <a:gd name="T10" fmla="*/ 16 w 71"/>
                <a:gd name="T11" fmla="*/ 55 h 67"/>
                <a:gd name="T12" fmla="*/ 6 w 71"/>
                <a:gd name="T13" fmla="*/ 51 h 67"/>
                <a:gd name="T14" fmla="*/ 1 w 71"/>
                <a:gd name="T15" fmla="*/ 45 h 67"/>
                <a:gd name="T16" fmla="*/ 1 w 71"/>
                <a:gd name="T17" fmla="*/ 40 h 67"/>
                <a:gd name="T18" fmla="*/ 7 w 71"/>
                <a:gd name="T19" fmla="*/ 40 h 67"/>
                <a:gd name="T20" fmla="*/ 14 w 71"/>
                <a:gd name="T21" fmla="*/ 38 h 67"/>
                <a:gd name="T22" fmla="*/ 19 w 71"/>
                <a:gd name="T23" fmla="*/ 32 h 67"/>
                <a:gd name="T24" fmla="*/ 19 w 71"/>
                <a:gd name="T25" fmla="*/ 25 h 67"/>
                <a:gd name="T26" fmla="*/ 17 w 71"/>
                <a:gd name="T27" fmla="*/ 24 h 67"/>
                <a:gd name="T28" fmla="*/ 20 w 71"/>
                <a:gd name="T29" fmla="*/ 19 h 67"/>
                <a:gd name="T30" fmla="*/ 20 w 71"/>
                <a:gd name="T31" fmla="*/ 18 h 67"/>
                <a:gd name="T32" fmla="*/ 23 w 71"/>
                <a:gd name="T33" fmla="*/ 8 h 67"/>
                <a:gd name="T34" fmla="*/ 26 w 71"/>
                <a:gd name="T35" fmla="*/ 3 h 67"/>
                <a:gd name="T36" fmla="*/ 29 w 71"/>
                <a:gd name="T37" fmla="*/ 0 h 67"/>
                <a:gd name="T38" fmla="*/ 34 w 71"/>
                <a:gd name="T39" fmla="*/ 5 h 67"/>
                <a:gd name="T40" fmla="*/ 39 w 71"/>
                <a:gd name="T41" fmla="*/ 9 h 67"/>
                <a:gd name="T42" fmla="*/ 39 w 71"/>
                <a:gd name="T43" fmla="*/ 12 h 67"/>
                <a:gd name="T44" fmla="*/ 42 w 71"/>
                <a:gd name="T45" fmla="*/ 16 h 67"/>
                <a:gd name="T46" fmla="*/ 45 w 71"/>
                <a:gd name="T47" fmla="*/ 16 h 67"/>
                <a:gd name="T48" fmla="*/ 48 w 71"/>
                <a:gd name="T49" fmla="*/ 15 h 67"/>
                <a:gd name="T50" fmla="*/ 52 w 71"/>
                <a:gd name="T51" fmla="*/ 19 h 67"/>
                <a:gd name="T52" fmla="*/ 58 w 71"/>
                <a:gd name="T53" fmla="*/ 28 h 67"/>
                <a:gd name="T54" fmla="*/ 59 w 71"/>
                <a:gd name="T55" fmla="*/ 32 h 67"/>
                <a:gd name="T56" fmla="*/ 58 w 71"/>
                <a:gd name="T57" fmla="*/ 34 h 67"/>
                <a:gd name="T58" fmla="*/ 58 w 71"/>
                <a:gd name="T59" fmla="*/ 38 h 67"/>
                <a:gd name="T60" fmla="*/ 59 w 71"/>
                <a:gd name="T61" fmla="*/ 40 h 67"/>
                <a:gd name="T62" fmla="*/ 62 w 71"/>
                <a:gd name="T63" fmla="*/ 44 h 67"/>
                <a:gd name="T64" fmla="*/ 66 w 71"/>
                <a:gd name="T65" fmla="*/ 51 h 67"/>
                <a:gd name="T66" fmla="*/ 71 w 71"/>
                <a:gd name="T67" fmla="*/ 54 h 67"/>
                <a:gd name="T68" fmla="*/ 69 w 71"/>
                <a:gd name="T69" fmla="*/ 5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 h="67">
                  <a:moveTo>
                    <a:pt x="69" y="55"/>
                  </a:moveTo>
                  <a:lnTo>
                    <a:pt x="69" y="55"/>
                  </a:lnTo>
                  <a:lnTo>
                    <a:pt x="61" y="63"/>
                  </a:lnTo>
                  <a:lnTo>
                    <a:pt x="56" y="66"/>
                  </a:lnTo>
                  <a:lnTo>
                    <a:pt x="52" y="67"/>
                  </a:lnTo>
                  <a:lnTo>
                    <a:pt x="52" y="67"/>
                  </a:lnTo>
                  <a:lnTo>
                    <a:pt x="43" y="64"/>
                  </a:lnTo>
                  <a:lnTo>
                    <a:pt x="34" y="63"/>
                  </a:lnTo>
                  <a:lnTo>
                    <a:pt x="34" y="63"/>
                  </a:lnTo>
                  <a:lnTo>
                    <a:pt x="24" y="58"/>
                  </a:lnTo>
                  <a:lnTo>
                    <a:pt x="16" y="55"/>
                  </a:lnTo>
                  <a:lnTo>
                    <a:pt x="16" y="55"/>
                  </a:lnTo>
                  <a:lnTo>
                    <a:pt x="10" y="54"/>
                  </a:lnTo>
                  <a:lnTo>
                    <a:pt x="6" y="51"/>
                  </a:lnTo>
                  <a:lnTo>
                    <a:pt x="6" y="51"/>
                  </a:lnTo>
                  <a:lnTo>
                    <a:pt x="1" y="45"/>
                  </a:lnTo>
                  <a:lnTo>
                    <a:pt x="0" y="41"/>
                  </a:lnTo>
                  <a:lnTo>
                    <a:pt x="1" y="40"/>
                  </a:lnTo>
                  <a:lnTo>
                    <a:pt x="1" y="40"/>
                  </a:lnTo>
                  <a:lnTo>
                    <a:pt x="7" y="40"/>
                  </a:lnTo>
                  <a:lnTo>
                    <a:pt x="14" y="38"/>
                  </a:lnTo>
                  <a:lnTo>
                    <a:pt x="14" y="38"/>
                  </a:lnTo>
                  <a:lnTo>
                    <a:pt x="17" y="35"/>
                  </a:lnTo>
                  <a:lnTo>
                    <a:pt x="19" y="32"/>
                  </a:lnTo>
                  <a:lnTo>
                    <a:pt x="20" y="28"/>
                  </a:lnTo>
                  <a:lnTo>
                    <a:pt x="19" y="25"/>
                  </a:lnTo>
                  <a:lnTo>
                    <a:pt x="19" y="25"/>
                  </a:lnTo>
                  <a:lnTo>
                    <a:pt x="17" y="24"/>
                  </a:lnTo>
                  <a:lnTo>
                    <a:pt x="17" y="22"/>
                  </a:lnTo>
                  <a:lnTo>
                    <a:pt x="20" y="19"/>
                  </a:lnTo>
                  <a:lnTo>
                    <a:pt x="20" y="19"/>
                  </a:lnTo>
                  <a:lnTo>
                    <a:pt x="20" y="18"/>
                  </a:lnTo>
                  <a:lnTo>
                    <a:pt x="21" y="13"/>
                  </a:lnTo>
                  <a:lnTo>
                    <a:pt x="23" y="8"/>
                  </a:lnTo>
                  <a:lnTo>
                    <a:pt x="23" y="8"/>
                  </a:lnTo>
                  <a:lnTo>
                    <a:pt x="26" y="3"/>
                  </a:lnTo>
                  <a:lnTo>
                    <a:pt x="27" y="0"/>
                  </a:lnTo>
                  <a:lnTo>
                    <a:pt x="29" y="0"/>
                  </a:lnTo>
                  <a:lnTo>
                    <a:pt x="29" y="0"/>
                  </a:lnTo>
                  <a:lnTo>
                    <a:pt x="34" y="5"/>
                  </a:lnTo>
                  <a:lnTo>
                    <a:pt x="39" y="8"/>
                  </a:lnTo>
                  <a:lnTo>
                    <a:pt x="39" y="9"/>
                  </a:lnTo>
                  <a:lnTo>
                    <a:pt x="39" y="9"/>
                  </a:lnTo>
                  <a:lnTo>
                    <a:pt x="39" y="12"/>
                  </a:lnTo>
                  <a:lnTo>
                    <a:pt x="40" y="13"/>
                  </a:lnTo>
                  <a:lnTo>
                    <a:pt x="42" y="16"/>
                  </a:lnTo>
                  <a:lnTo>
                    <a:pt x="45" y="16"/>
                  </a:lnTo>
                  <a:lnTo>
                    <a:pt x="45" y="16"/>
                  </a:lnTo>
                  <a:lnTo>
                    <a:pt x="46" y="15"/>
                  </a:lnTo>
                  <a:lnTo>
                    <a:pt x="48" y="15"/>
                  </a:lnTo>
                  <a:lnTo>
                    <a:pt x="50" y="16"/>
                  </a:lnTo>
                  <a:lnTo>
                    <a:pt x="52" y="19"/>
                  </a:lnTo>
                  <a:lnTo>
                    <a:pt x="52" y="19"/>
                  </a:lnTo>
                  <a:lnTo>
                    <a:pt x="58" y="28"/>
                  </a:lnTo>
                  <a:lnTo>
                    <a:pt x="59" y="31"/>
                  </a:lnTo>
                  <a:lnTo>
                    <a:pt x="59" y="32"/>
                  </a:lnTo>
                  <a:lnTo>
                    <a:pt x="59" y="32"/>
                  </a:lnTo>
                  <a:lnTo>
                    <a:pt x="58" y="34"/>
                  </a:lnTo>
                  <a:lnTo>
                    <a:pt x="58" y="37"/>
                  </a:lnTo>
                  <a:lnTo>
                    <a:pt x="58" y="38"/>
                  </a:lnTo>
                  <a:lnTo>
                    <a:pt x="59" y="40"/>
                  </a:lnTo>
                  <a:lnTo>
                    <a:pt x="59" y="40"/>
                  </a:lnTo>
                  <a:lnTo>
                    <a:pt x="61" y="41"/>
                  </a:lnTo>
                  <a:lnTo>
                    <a:pt x="62" y="44"/>
                  </a:lnTo>
                  <a:lnTo>
                    <a:pt x="65" y="48"/>
                  </a:lnTo>
                  <a:lnTo>
                    <a:pt x="66" y="51"/>
                  </a:lnTo>
                  <a:lnTo>
                    <a:pt x="66" y="51"/>
                  </a:lnTo>
                  <a:lnTo>
                    <a:pt x="71" y="54"/>
                  </a:lnTo>
                  <a:lnTo>
                    <a:pt x="71" y="55"/>
                  </a:lnTo>
                  <a:lnTo>
                    <a:pt x="69" y="5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14" name="Freeform 968"/>
            <p:cNvSpPr>
              <a:spLocks/>
            </p:cNvSpPr>
            <p:nvPr/>
          </p:nvSpPr>
          <p:spPr bwMode="auto">
            <a:xfrm>
              <a:off x="1101725" y="1851454"/>
              <a:ext cx="255588" cy="296863"/>
            </a:xfrm>
            <a:custGeom>
              <a:avLst/>
              <a:gdLst>
                <a:gd name="T0" fmla="*/ 159 w 161"/>
                <a:gd name="T1" fmla="*/ 61 h 187"/>
                <a:gd name="T2" fmla="*/ 143 w 161"/>
                <a:gd name="T3" fmla="*/ 78 h 187"/>
                <a:gd name="T4" fmla="*/ 123 w 161"/>
                <a:gd name="T5" fmla="*/ 86 h 187"/>
                <a:gd name="T6" fmla="*/ 114 w 161"/>
                <a:gd name="T7" fmla="*/ 94 h 187"/>
                <a:gd name="T8" fmla="*/ 105 w 161"/>
                <a:gd name="T9" fmla="*/ 96 h 187"/>
                <a:gd name="T10" fmla="*/ 97 w 161"/>
                <a:gd name="T11" fmla="*/ 107 h 187"/>
                <a:gd name="T12" fmla="*/ 88 w 161"/>
                <a:gd name="T13" fmla="*/ 157 h 187"/>
                <a:gd name="T14" fmla="*/ 81 w 161"/>
                <a:gd name="T15" fmla="*/ 167 h 187"/>
                <a:gd name="T16" fmla="*/ 68 w 161"/>
                <a:gd name="T17" fmla="*/ 172 h 187"/>
                <a:gd name="T18" fmla="*/ 55 w 161"/>
                <a:gd name="T19" fmla="*/ 171 h 187"/>
                <a:gd name="T20" fmla="*/ 52 w 161"/>
                <a:gd name="T21" fmla="*/ 180 h 187"/>
                <a:gd name="T22" fmla="*/ 50 w 161"/>
                <a:gd name="T23" fmla="*/ 184 h 187"/>
                <a:gd name="T24" fmla="*/ 42 w 161"/>
                <a:gd name="T25" fmla="*/ 187 h 187"/>
                <a:gd name="T26" fmla="*/ 29 w 161"/>
                <a:gd name="T27" fmla="*/ 184 h 187"/>
                <a:gd name="T28" fmla="*/ 20 w 161"/>
                <a:gd name="T29" fmla="*/ 161 h 187"/>
                <a:gd name="T30" fmla="*/ 10 w 161"/>
                <a:gd name="T31" fmla="*/ 152 h 187"/>
                <a:gd name="T32" fmla="*/ 1 w 161"/>
                <a:gd name="T33" fmla="*/ 143 h 187"/>
                <a:gd name="T34" fmla="*/ 1 w 161"/>
                <a:gd name="T35" fmla="*/ 135 h 187"/>
                <a:gd name="T36" fmla="*/ 4 w 161"/>
                <a:gd name="T37" fmla="*/ 129 h 187"/>
                <a:gd name="T38" fmla="*/ 6 w 161"/>
                <a:gd name="T39" fmla="*/ 107 h 187"/>
                <a:gd name="T40" fmla="*/ 7 w 161"/>
                <a:gd name="T41" fmla="*/ 99 h 187"/>
                <a:gd name="T42" fmla="*/ 11 w 161"/>
                <a:gd name="T43" fmla="*/ 90 h 187"/>
                <a:gd name="T44" fmla="*/ 13 w 161"/>
                <a:gd name="T45" fmla="*/ 68 h 187"/>
                <a:gd name="T46" fmla="*/ 20 w 161"/>
                <a:gd name="T47" fmla="*/ 55 h 187"/>
                <a:gd name="T48" fmla="*/ 23 w 161"/>
                <a:gd name="T49" fmla="*/ 54 h 187"/>
                <a:gd name="T50" fmla="*/ 26 w 161"/>
                <a:gd name="T51" fmla="*/ 48 h 187"/>
                <a:gd name="T52" fmla="*/ 21 w 161"/>
                <a:gd name="T53" fmla="*/ 42 h 187"/>
                <a:gd name="T54" fmla="*/ 20 w 161"/>
                <a:gd name="T55" fmla="*/ 38 h 187"/>
                <a:gd name="T56" fmla="*/ 20 w 161"/>
                <a:gd name="T57" fmla="*/ 29 h 187"/>
                <a:gd name="T58" fmla="*/ 14 w 161"/>
                <a:gd name="T59" fmla="*/ 28 h 187"/>
                <a:gd name="T60" fmla="*/ 21 w 161"/>
                <a:gd name="T61" fmla="*/ 17 h 187"/>
                <a:gd name="T62" fmla="*/ 30 w 161"/>
                <a:gd name="T63" fmla="*/ 12 h 187"/>
                <a:gd name="T64" fmla="*/ 40 w 161"/>
                <a:gd name="T65" fmla="*/ 7 h 187"/>
                <a:gd name="T66" fmla="*/ 46 w 161"/>
                <a:gd name="T67" fmla="*/ 3 h 187"/>
                <a:gd name="T68" fmla="*/ 69 w 161"/>
                <a:gd name="T69" fmla="*/ 0 h 187"/>
                <a:gd name="T70" fmla="*/ 75 w 161"/>
                <a:gd name="T71" fmla="*/ 0 h 187"/>
                <a:gd name="T72" fmla="*/ 74 w 161"/>
                <a:gd name="T73" fmla="*/ 4 h 187"/>
                <a:gd name="T74" fmla="*/ 68 w 161"/>
                <a:gd name="T75" fmla="*/ 16 h 187"/>
                <a:gd name="T76" fmla="*/ 74 w 161"/>
                <a:gd name="T77" fmla="*/ 16 h 187"/>
                <a:gd name="T78" fmla="*/ 82 w 161"/>
                <a:gd name="T79" fmla="*/ 13 h 187"/>
                <a:gd name="T80" fmla="*/ 90 w 161"/>
                <a:gd name="T81" fmla="*/ 16 h 187"/>
                <a:gd name="T82" fmla="*/ 97 w 161"/>
                <a:gd name="T83" fmla="*/ 19 h 187"/>
                <a:gd name="T84" fmla="*/ 103 w 161"/>
                <a:gd name="T85" fmla="*/ 23 h 187"/>
                <a:gd name="T86" fmla="*/ 107 w 161"/>
                <a:gd name="T87" fmla="*/ 31 h 187"/>
                <a:gd name="T88" fmla="*/ 110 w 161"/>
                <a:gd name="T89" fmla="*/ 28 h 187"/>
                <a:gd name="T90" fmla="*/ 113 w 161"/>
                <a:gd name="T91" fmla="*/ 22 h 187"/>
                <a:gd name="T92" fmla="*/ 121 w 161"/>
                <a:gd name="T93" fmla="*/ 20 h 187"/>
                <a:gd name="T94" fmla="*/ 129 w 161"/>
                <a:gd name="T95" fmla="*/ 23 h 187"/>
                <a:gd name="T96" fmla="*/ 145 w 161"/>
                <a:gd name="T97" fmla="*/ 41 h 187"/>
                <a:gd name="T98" fmla="*/ 149 w 161"/>
                <a:gd name="T99" fmla="*/ 48 h 187"/>
                <a:gd name="T100" fmla="*/ 155 w 161"/>
                <a:gd name="T101" fmla="*/ 49 h 187"/>
                <a:gd name="T102" fmla="*/ 161 w 161"/>
                <a:gd name="T103" fmla="*/ 5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1" h="187">
                  <a:moveTo>
                    <a:pt x="161" y="55"/>
                  </a:moveTo>
                  <a:lnTo>
                    <a:pt x="161" y="55"/>
                  </a:lnTo>
                  <a:lnTo>
                    <a:pt x="159" y="61"/>
                  </a:lnTo>
                  <a:lnTo>
                    <a:pt x="155" y="68"/>
                  </a:lnTo>
                  <a:lnTo>
                    <a:pt x="149" y="75"/>
                  </a:lnTo>
                  <a:lnTo>
                    <a:pt x="143" y="78"/>
                  </a:lnTo>
                  <a:lnTo>
                    <a:pt x="143" y="78"/>
                  </a:lnTo>
                  <a:lnTo>
                    <a:pt x="133" y="81"/>
                  </a:lnTo>
                  <a:lnTo>
                    <a:pt x="123" y="86"/>
                  </a:lnTo>
                  <a:lnTo>
                    <a:pt x="123" y="86"/>
                  </a:lnTo>
                  <a:lnTo>
                    <a:pt x="117" y="91"/>
                  </a:lnTo>
                  <a:lnTo>
                    <a:pt x="114" y="94"/>
                  </a:lnTo>
                  <a:lnTo>
                    <a:pt x="110" y="94"/>
                  </a:lnTo>
                  <a:lnTo>
                    <a:pt x="110" y="94"/>
                  </a:lnTo>
                  <a:lnTo>
                    <a:pt x="105" y="96"/>
                  </a:lnTo>
                  <a:lnTo>
                    <a:pt x="101" y="100"/>
                  </a:lnTo>
                  <a:lnTo>
                    <a:pt x="97" y="107"/>
                  </a:lnTo>
                  <a:lnTo>
                    <a:pt x="97" y="107"/>
                  </a:lnTo>
                  <a:lnTo>
                    <a:pt x="94" y="130"/>
                  </a:lnTo>
                  <a:lnTo>
                    <a:pt x="91" y="146"/>
                  </a:lnTo>
                  <a:lnTo>
                    <a:pt x="88" y="157"/>
                  </a:lnTo>
                  <a:lnTo>
                    <a:pt x="88" y="157"/>
                  </a:lnTo>
                  <a:lnTo>
                    <a:pt x="85" y="162"/>
                  </a:lnTo>
                  <a:lnTo>
                    <a:pt x="81" y="167"/>
                  </a:lnTo>
                  <a:lnTo>
                    <a:pt x="75" y="171"/>
                  </a:lnTo>
                  <a:lnTo>
                    <a:pt x="68" y="172"/>
                  </a:lnTo>
                  <a:lnTo>
                    <a:pt x="68" y="172"/>
                  </a:lnTo>
                  <a:lnTo>
                    <a:pt x="61" y="172"/>
                  </a:lnTo>
                  <a:lnTo>
                    <a:pt x="58" y="171"/>
                  </a:lnTo>
                  <a:lnTo>
                    <a:pt x="55" y="171"/>
                  </a:lnTo>
                  <a:lnTo>
                    <a:pt x="53" y="172"/>
                  </a:lnTo>
                  <a:lnTo>
                    <a:pt x="53" y="172"/>
                  </a:lnTo>
                  <a:lnTo>
                    <a:pt x="52" y="180"/>
                  </a:lnTo>
                  <a:lnTo>
                    <a:pt x="52" y="183"/>
                  </a:lnTo>
                  <a:lnTo>
                    <a:pt x="50" y="184"/>
                  </a:lnTo>
                  <a:lnTo>
                    <a:pt x="50" y="184"/>
                  </a:lnTo>
                  <a:lnTo>
                    <a:pt x="46" y="185"/>
                  </a:lnTo>
                  <a:lnTo>
                    <a:pt x="42" y="187"/>
                  </a:lnTo>
                  <a:lnTo>
                    <a:pt x="42" y="187"/>
                  </a:lnTo>
                  <a:lnTo>
                    <a:pt x="35" y="187"/>
                  </a:lnTo>
                  <a:lnTo>
                    <a:pt x="32" y="187"/>
                  </a:lnTo>
                  <a:lnTo>
                    <a:pt x="29" y="184"/>
                  </a:lnTo>
                  <a:lnTo>
                    <a:pt x="29" y="184"/>
                  </a:lnTo>
                  <a:lnTo>
                    <a:pt x="23" y="170"/>
                  </a:lnTo>
                  <a:lnTo>
                    <a:pt x="20" y="161"/>
                  </a:lnTo>
                  <a:lnTo>
                    <a:pt x="14" y="155"/>
                  </a:lnTo>
                  <a:lnTo>
                    <a:pt x="14" y="155"/>
                  </a:lnTo>
                  <a:lnTo>
                    <a:pt x="10" y="152"/>
                  </a:lnTo>
                  <a:lnTo>
                    <a:pt x="6" y="149"/>
                  </a:lnTo>
                  <a:lnTo>
                    <a:pt x="3" y="148"/>
                  </a:lnTo>
                  <a:lnTo>
                    <a:pt x="1" y="143"/>
                  </a:lnTo>
                  <a:lnTo>
                    <a:pt x="1" y="143"/>
                  </a:lnTo>
                  <a:lnTo>
                    <a:pt x="0" y="138"/>
                  </a:lnTo>
                  <a:lnTo>
                    <a:pt x="1" y="135"/>
                  </a:lnTo>
                  <a:lnTo>
                    <a:pt x="1" y="133"/>
                  </a:lnTo>
                  <a:lnTo>
                    <a:pt x="1" y="133"/>
                  </a:lnTo>
                  <a:lnTo>
                    <a:pt x="4" y="129"/>
                  </a:lnTo>
                  <a:lnTo>
                    <a:pt x="6" y="120"/>
                  </a:lnTo>
                  <a:lnTo>
                    <a:pt x="6" y="107"/>
                  </a:lnTo>
                  <a:lnTo>
                    <a:pt x="6" y="107"/>
                  </a:lnTo>
                  <a:lnTo>
                    <a:pt x="4" y="101"/>
                  </a:lnTo>
                  <a:lnTo>
                    <a:pt x="4" y="100"/>
                  </a:lnTo>
                  <a:lnTo>
                    <a:pt x="7" y="99"/>
                  </a:lnTo>
                  <a:lnTo>
                    <a:pt x="7" y="99"/>
                  </a:lnTo>
                  <a:lnTo>
                    <a:pt x="10" y="94"/>
                  </a:lnTo>
                  <a:lnTo>
                    <a:pt x="11" y="90"/>
                  </a:lnTo>
                  <a:lnTo>
                    <a:pt x="11" y="90"/>
                  </a:lnTo>
                  <a:lnTo>
                    <a:pt x="11" y="77"/>
                  </a:lnTo>
                  <a:lnTo>
                    <a:pt x="13" y="68"/>
                  </a:lnTo>
                  <a:lnTo>
                    <a:pt x="16" y="61"/>
                  </a:lnTo>
                  <a:lnTo>
                    <a:pt x="16" y="61"/>
                  </a:lnTo>
                  <a:lnTo>
                    <a:pt x="20" y="55"/>
                  </a:lnTo>
                  <a:lnTo>
                    <a:pt x="21" y="54"/>
                  </a:lnTo>
                  <a:lnTo>
                    <a:pt x="23" y="54"/>
                  </a:lnTo>
                  <a:lnTo>
                    <a:pt x="23" y="54"/>
                  </a:lnTo>
                  <a:lnTo>
                    <a:pt x="24" y="54"/>
                  </a:lnTo>
                  <a:lnTo>
                    <a:pt x="24" y="52"/>
                  </a:lnTo>
                  <a:lnTo>
                    <a:pt x="26" y="48"/>
                  </a:lnTo>
                  <a:lnTo>
                    <a:pt x="24" y="44"/>
                  </a:lnTo>
                  <a:lnTo>
                    <a:pt x="24" y="44"/>
                  </a:lnTo>
                  <a:lnTo>
                    <a:pt x="21" y="42"/>
                  </a:lnTo>
                  <a:lnTo>
                    <a:pt x="21" y="41"/>
                  </a:lnTo>
                  <a:lnTo>
                    <a:pt x="20" y="38"/>
                  </a:lnTo>
                  <a:lnTo>
                    <a:pt x="20" y="38"/>
                  </a:lnTo>
                  <a:lnTo>
                    <a:pt x="21" y="32"/>
                  </a:lnTo>
                  <a:lnTo>
                    <a:pt x="20" y="29"/>
                  </a:lnTo>
                  <a:lnTo>
                    <a:pt x="20" y="29"/>
                  </a:lnTo>
                  <a:lnTo>
                    <a:pt x="20" y="29"/>
                  </a:lnTo>
                  <a:lnTo>
                    <a:pt x="16" y="28"/>
                  </a:lnTo>
                  <a:lnTo>
                    <a:pt x="14" y="28"/>
                  </a:lnTo>
                  <a:lnTo>
                    <a:pt x="16" y="25"/>
                  </a:lnTo>
                  <a:lnTo>
                    <a:pt x="16" y="25"/>
                  </a:lnTo>
                  <a:lnTo>
                    <a:pt x="21" y="17"/>
                  </a:lnTo>
                  <a:lnTo>
                    <a:pt x="26" y="13"/>
                  </a:lnTo>
                  <a:lnTo>
                    <a:pt x="27" y="12"/>
                  </a:lnTo>
                  <a:lnTo>
                    <a:pt x="30" y="12"/>
                  </a:lnTo>
                  <a:lnTo>
                    <a:pt x="30" y="12"/>
                  </a:lnTo>
                  <a:lnTo>
                    <a:pt x="36" y="10"/>
                  </a:lnTo>
                  <a:lnTo>
                    <a:pt x="40" y="7"/>
                  </a:lnTo>
                  <a:lnTo>
                    <a:pt x="43" y="4"/>
                  </a:lnTo>
                  <a:lnTo>
                    <a:pt x="46" y="3"/>
                  </a:lnTo>
                  <a:lnTo>
                    <a:pt x="46" y="3"/>
                  </a:lnTo>
                  <a:lnTo>
                    <a:pt x="58" y="3"/>
                  </a:lnTo>
                  <a:lnTo>
                    <a:pt x="65" y="3"/>
                  </a:lnTo>
                  <a:lnTo>
                    <a:pt x="69" y="0"/>
                  </a:lnTo>
                  <a:lnTo>
                    <a:pt x="69" y="0"/>
                  </a:lnTo>
                  <a:lnTo>
                    <a:pt x="74" y="0"/>
                  </a:lnTo>
                  <a:lnTo>
                    <a:pt x="75" y="0"/>
                  </a:lnTo>
                  <a:lnTo>
                    <a:pt x="75" y="2"/>
                  </a:lnTo>
                  <a:lnTo>
                    <a:pt x="74" y="4"/>
                  </a:lnTo>
                  <a:lnTo>
                    <a:pt x="74" y="4"/>
                  </a:lnTo>
                  <a:lnTo>
                    <a:pt x="68" y="12"/>
                  </a:lnTo>
                  <a:lnTo>
                    <a:pt x="66" y="15"/>
                  </a:lnTo>
                  <a:lnTo>
                    <a:pt x="68" y="16"/>
                  </a:lnTo>
                  <a:lnTo>
                    <a:pt x="69" y="16"/>
                  </a:lnTo>
                  <a:lnTo>
                    <a:pt x="69" y="16"/>
                  </a:lnTo>
                  <a:lnTo>
                    <a:pt x="74" y="16"/>
                  </a:lnTo>
                  <a:lnTo>
                    <a:pt x="77" y="15"/>
                  </a:lnTo>
                  <a:lnTo>
                    <a:pt x="79" y="13"/>
                  </a:lnTo>
                  <a:lnTo>
                    <a:pt x="82" y="13"/>
                  </a:lnTo>
                  <a:lnTo>
                    <a:pt x="82" y="13"/>
                  </a:lnTo>
                  <a:lnTo>
                    <a:pt x="87" y="15"/>
                  </a:lnTo>
                  <a:lnTo>
                    <a:pt x="90" y="16"/>
                  </a:lnTo>
                  <a:lnTo>
                    <a:pt x="94" y="19"/>
                  </a:lnTo>
                  <a:lnTo>
                    <a:pt x="97" y="19"/>
                  </a:lnTo>
                  <a:lnTo>
                    <a:pt x="97" y="19"/>
                  </a:lnTo>
                  <a:lnTo>
                    <a:pt x="100" y="19"/>
                  </a:lnTo>
                  <a:lnTo>
                    <a:pt x="103" y="19"/>
                  </a:lnTo>
                  <a:lnTo>
                    <a:pt x="103" y="23"/>
                  </a:lnTo>
                  <a:lnTo>
                    <a:pt x="103" y="23"/>
                  </a:lnTo>
                  <a:lnTo>
                    <a:pt x="104" y="29"/>
                  </a:lnTo>
                  <a:lnTo>
                    <a:pt x="107" y="31"/>
                  </a:lnTo>
                  <a:lnTo>
                    <a:pt x="108" y="31"/>
                  </a:lnTo>
                  <a:lnTo>
                    <a:pt x="108" y="31"/>
                  </a:lnTo>
                  <a:lnTo>
                    <a:pt x="110" y="28"/>
                  </a:lnTo>
                  <a:lnTo>
                    <a:pt x="110" y="26"/>
                  </a:lnTo>
                  <a:lnTo>
                    <a:pt x="111" y="23"/>
                  </a:lnTo>
                  <a:lnTo>
                    <a:pt x="113" y="22"/>
                  </a:lnTo>
                  <a:lnTo>
                    <a:pt x="113" y="22"/>
                  </a:lnTo>
                  <a:lnTo>
                    <a:pt x="117" y="20"/>
                  </a:lnTo>
                  <a:lnTo>
                    <a:pt x="121" y="20"/>
                  </a:lnTo>
                  <a:lnTo>
                    <a:pt x="126" y="20"/>
                  </a:lnTo>
                  <a:lnTo>
                    <a:pt x="129" y="23"/>
                  </a:lnTo>
                  <a:lnTo>
                    <a:pt x="129" y="23"/>
                  </a:lnTo>
                  <a:lnTo>
                    <a:pt x="137" y="33"/>
                  </a:lnTo>
                  <a:lnTo>
                    <a:pt x="145" y="41"/>
                  </a:lnTo>
                  <a:lnTo>
                    <a:pt x="145" y="41"/>
                  </a:lnTo>
                  <a:lnTo>
                    <a:pt x="146" y="44"/>
                  </a:lnTo>
                  <a:lnTo>
                    <a:pt x="147" y="45"/>
                  </a:lnTo>
                  <a:lnTo>
                    <a:pt x="149" y="48"/>
                  </a:lnTo>
                  <a:lnTo>
                    <a:pt x="150" y="48"/>
                  </a:lnTo>
                  <a:lnTo>
                    <a:pt x="150" y="48"/>
                  </a:lnTo>
                  <a:lnTo>
                    <a:pt x="155" y="49"/>
                  </a:lnTo>
                  <a:lnTo>
                    <a:pt x="158" y="51"/>
                  </a:lnTo>
                  <a:lnTo>
                    <a:pt x="161" y="54"/>
                  </a:lnTo>
                  <a:lnTo>
                    <a:pt x="161" y="55"/>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15" name="Freeform 969"/>
            <p:cNvSpPr>
              <a:spLocks/>
            </p:cNvSpPr>
            <p:nvPr/>
          </p:nvSpPr>
          <p:spPr bwMode="auto">
            <a:xfrm>
              <a:off x="1101725" y="1851454"/>
              <a:ext cx="255588" cy="296863"/>
            </a:xfrm>
            <a:custGeom>
              <a:avLst/>
              <a:gdLst>
                <a:gd name="T0" fmla="*/ 159 w 161"/>
                <a:gd name="T1" fmla="*/ 61 h 187"/>
                <a:gd name="T2" fmla="*/ 143 w 161"/>
                <a:gd name="T3" fmla="*/ 78 h 187"/>
                <a:gd name="T4" fmla="*/ 123 w 161"/>
                <a:gd name="T5" fmla="*/ 86 h 187"/>
                <a:gd name="T6" fmla="*/ 114 w 161"/>
                <a:gd name="T7" fmla="*/ 94 h 187"/>
                <a:gd name="T8" fmla="*/ 105 w 161"/>
                <a:gd name="T9" fmla="*/ 96 h 187"/>
                <a:gd name="T10" fmla="*/ 97 w 161"/>
                <a:gd name="T11" fmla="*/ 107 h 187"/>
                <a:gd name="T12" fmla="*/ 88 w 161"/>
                <a:gd name="T13" fmla="*/ 157 h 187"/>
                <a:gd name="T14" fmla="*/ 81 w 161"/>
                <a:gd name="T15" fmla="*/ 167 h 187"/>
                <a:gd name="T16" fmla="*/ 68 w 161"/>
                <a:gd name="T17" fmla="*/ 172 h 187"/>
                <a:gd name="T18" fmla="*/ 55 w 161"/>
                <a:gd name="T19" fmla="*/ 171 h 187"/>
                <a:gd name="T20" fmla="*/ 52 w 161"/>
                <a:gd name="T21" fmla="*/ 180 h 187"/>
                <a:gd name="T22" fmla="*/ 50 w 161"/>
                <a:gd name="T23" fmla="*/ 184 h 187"/>
                <a:gd name="T24" fmla="*/ 42 w 161"/>
                <a:gd name="T25" fmla="*/ 187 h 187"/>
                <a:gd name="T26" fmla="*/ 29 w 161"/>
                <a:gd name="T27" fmla="*/ 184 h 187"/>
                <a:gd name="T28" fmla="*/ 20 w 161"/>
                <a:gd name="T29" fmla="*/ 161 h 187"/>
                <a:gd name="T30" fmla="*/ 10 w 161"/>
                <a:gd name="T31" fmla="*/ 152 h 187"/>
                <a:gd name="T32" fmla="*/ 1 w 161"/>
                <a:gd name="T33" fmla="*/ 143 h 187"/>
                <a:gd name="T34" fmla="*/ 1 w 161"/>
                <a:gd name="T35" fmla="*/ 135 h 187"/>
                <a:gd name="T36" fmla="*/ 4 w 161"/>
                <a:gd name="T37" fmla="*/ 129 h 187"/>
                <a:gd name="T38" fmla="*/ 6 w 161"/>
                <a:gd name="T39" fmla="*/ 107 h 187"/>
                <a:gd name="T40" fmla="*/ 7 w 161"/>
                <a:gd name="T41" fmla="*/ 99 h 187"/>
                <a:gd name="T42" fmla="*/ 11 w 161"/>
                <a:gd name="T43" fmla="*/ 90 h 187"/>
                <a:gd name="T44" fmla="*/ 13 w 161"/>
                <a:gd name="T45" fmla="*/ 68 h 187"/>
                <a:gd name="T46" fmla="*/ 20 w 161"/>
                <a:gd name="T47" fmla="*/ 55 h 187"/>
                <a:gd name="T48" fmla="*/ 23 w 161"/>
                <a:gd name="T49" fmla="*/ 54 h 187"/>
                <a:gd name="T50" fmla="*/ 26 w 161"/>
                <a:gd name="T51" fmla="*/ 48 h 187"/>
                <a:gd name="T52" fmla="*/ 21 w 161"/>
                <a:gd name="T53" fmla="*/ 42 h 187"/>
                <a:gd name="T54" fmla="*/ 20 w 161"/>
                <a:gd name="T55" fmla="*/ 38 h 187"/>
                <a:gd name="T56" fmla="*/ 20 w 161"/>
                <a:gd name="T57" fmla="*/ 29 h 187"/>
                <a:gd name="T58" fmla="*/ 14 w 161"/>
                <a:gd name="T59" fmla="*/ 28 h 187"/>
                <a:gd name="T60" fmla="*/ 21 w 161"/>
                <a:gd name="T61" fmla="*/ 17 h 187"/>
                <a:gd name="T62" fmla="*/ 30 w 161"/>
                <a:gd name="T63" fmla="*/ 12 h 187"/>
                <a:gd name="T64" fmla="*/ 40 w 161"/>
                <a:gd name="T65" fmla="*/ 7 h 187"/>
                <a:gd name="T66" fmla="*/ 46 w 161"/>
                <a:gd name="T67" fmla="*/ 3 h 187"/>
                <a:gd name="T68" fmla="*/ 69 w 161"/>
                <a:gd name="T69" fmla="*/ 0 h 187"/>
                <a:gd name="T70" fmla="*/ 75 w 161"/>
                <a:gd name="T71" fmla="*/ 0 h 187"/>
                <a:gd name="T72" fmla="*/ 74 w 161"/>
                <a:gd name="T73" fmla="*/ 4 h 187"/>
                <a:gd name="T74" fmla="*/ 68 w 161"/>
                <a:gd name="T75" fmla="*/ 16 h 187"/>
                <a:gd name="T76" fmla="*/ 74 w 161"/>
                <a:gd name="T77" fmla="*/ 16 h 187"/>
                <a:gd name="T78" fmla="*/ 82 w 161"/>
                <a:gd name="T79" fmla="*/ 13 h 187"/>
                <a:gd name="T80" fmla="*/ 90 w 161"/>
                <a:gd name="T81" fmla="*/ 16 h 187"/>
                <a:gd name="T82" fmla="*/ 97 w 161"/>
                <a:gd name="T83" fmla="*/ 19 h 187"/>
                <a:gd name="T84" fmla="*/ 103 w 161"/>
                <a:gd name="T85" fmla="*/ 23 h 187"/>
                <a:gd name="T86" fmla="*/ 107 w 161"/>
                <a:gd name="T87" fmla="*/ 31 h 187"/>
                <a:gd name="T88" fmla="*/ 110 w 161"/>
                <a:gd name="T89" fmla="*/ 28 h 187"/>
                <a:gd name="T90" fmla="*/ 113 w 161"/>
                <a:gd name="T91" fmla="*/ 22 h 187"/>
                <a:gd name="T92" fmla="*/ 121 w 161"/>
                <a:gd name="T93" fmla="*/ 20 h 187"/>
                <a:gd name="T94" fmla="*/ 129 w 161"/>
                <a:gd name="T95" fmla="*/ 23 h 187"/>
                <a:gd name="T96" fmla="*/ 145 w 161"/>
                <a:gd name="T97" fmla="*/ 41 h 187"/>
                <a:gd name="T98" fmla="*/ 149 w 161"/>
                <a:gd name="T99" fmla="*/ 48 h 187"/>
                <a:gd name="T100" fmla="*/ 155 w 161"/>
                <a:gd name="T101" fmla="*/ 49 h 187"/>
                <a:gd name="T102" fmla="*/ 161 w 161"/>
                <a:gd name="T103" fmla="*/ 5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1" h="187">
                  <a:moveTo>
                    <a:pt x="161" y="55"/>
                  </a:moveTo>
                  <a:lnTo>
                    <a:pt x="161" y="55"/>
                  </a:lnTo>
                  <a:lnTo>
                    <a:pt x="159" y="61"/>
                  </a:lnTo>
                  <a:lnTo>
                    <a:pt x="155" y="68"/>
                  </a:lnTo>
                  <a:lnTo>
                    <a:pt x="149" y="75"/>
                  </a:lnTo>
                  <a:lnTo>
                    <a:pt x="143" y="78"/>
                  </a:lnTo>
                  <a:lnTo>
                    <a:pt x="143" y="78"/>
                  </a:lnTo>
                  <a:lnTo>
                    <a:pt x="133" y="81"/>
                  </a:lnTo>
                  <a:lnTo>
                    <a:pt x="123" y="86"/>
                  </a:lnTo>
                  <a:lnTo>
                    <a:pt x="123" y="86"/>
                  </a:lnTo>
                  <a:lnTo>
                    <a:pt x="117" y="91"/>
                  </a:lnTo>
                  <a:lnTo>
                    <a:pt x="114" y="94"/>
                  </a:lnTo>
                  <a:lnTo>
                    <a:pt x="110" y="94"/>
                  </a:lnTo>
                  <a:lnTo>
                    <a:pt x="110" y="94"/>
                  </a:lnTo>
                  <a:lnTo>
                    <a:pt x="105" y="96"/>
                  </a:lnTo>
                  <a:lnTo>
                    <a:pt x="101" y="100"/>
                  </a:lnTo>
                  <a:lnTo>
                    <a:pt x="97" y="107"/>
                  </a:lnTo>
                  <a:lnTo>
                    <a:pt x="97" y="107"/>
                  </a:lnTo>
                  <a:lnTo>
                    <a:pt x="94" y="130"/>
                  </a:lnTo>
                  <a:lnTo>
                    <a:pt x="91" y="146"/>
                  </a:lnTo>
                  <a:lnTo>
                    <a:pt x="88" y="157"/>
                  </a:lnTo>
                  <a:lnTo>
                    <a:pt x="88" y="157"/>
                  </a:lnTo>
                  <a:lnTo>
                    <a:pt x="85" y="162"/>
                  </a:lnTo>
                  <a:lnTo>
                    <a:pt x="81" y="167"/>
                  </a:lnTo>
                  <a:lnTo>
                    <a:pt x="75" y="171"/>
                  </a:lnTo>
                  <a:lnTo>
                    <a:pt x="68" y="172"/>
                  </a:lnTo>
                  <a:lnTo>
                    <a:pt x="68" y="172"/>
                  </a:lnTo>
                  <a:lnTo>
                    <a:pt x="61" y="172"/>
                  </a:lnTo>
                  <a:lnTo>
                    <a:pt x="58" y="171"/>
                  </a:lnTo>
                  <a:lnTo>
                    <a:pt x="55" y="171"/>
                  </a:lnTo>
                  <a:lnTo>
                    <a:pt x="53" y="172"/>
                  </a:lnTo>
                  <a:lnTo>
                    <a:pt x="53" y="172"/>
                  </a:lnTo>
                  <a:lnTo>
                    <a:pt x="52" y="180"/>
                  </a:lnTo>
                  <a:lnTo>
                    <a:pt x="52" y="183"/>
                  </a:lnTo>
                  <a:lnTo>
                    <a:pt x="50" y="184"/>
                  </a:lnTo>
                  <a:lnTo>
                    <a:pt x="50" y="184"/>
                  </a:lnTo>
                  <a:lnTo>
                    <a:pt x="46" y="185"/>
                  </a:lnTo>
                  <a:lnTo>
                    <a:pt x="42" y="187"/>
                  </a:lnTo>
                  <a:lnTo>
                    <a:pt x="42" y="187"/>
                  </a:lnTo>
                  <a:lnTo>
                    <a:pt x="35" y="187"/>
                  </a:lnTo>
                  <a:lnTo>
                    <a:pt x="32" y="187"/>
                  </a:lnTo>
                  <a:lnTo>
                    <a:pt x="29" y="184"/>
                  </a:lnTo>
                  <a:lnTo>
                    <a:pt x="29" y="184"/>
                  </a:lnTo>
                  <a:lnTo>
                    <a:pt x="23" y="170"/>
                  </a:lnTo>
                  <a:lnTo>
                    <a:pt x="20" y="161"/>
                  </a:lnTo>
                  <a:lnTo>
                    <a:pt x="14" y="155"/>
                  </a:lnTo>
                  <a:lnTo>
                    <a:pt x="14" y="155"/>
                  </a:lnTo>
                  <a:lnTo>
                    <a:pt x="10" y="152"/>
                  </a:lnTo>
                  <a:lnTo>
                    <a:pt x="6" y="149"/>
                  </a:lnTo>
                  <a:lnTo>
                    <a:pt x="3" y="148"/>
                  </a:lnTo>
                  <a:lnTo>
                    <a:pt x="1" y="143"/>
                  </a:lnTo>
                  <a:lnTo>
                    <a:pt x="1" y="143"/>
                  </a:lnTo>
                  <a:lnTo>
                    <a:pt x="0" y="138"/>
                  </a:lnTo>
                  <a:lnTo>
                    <a:pt x="1" y="135"/>
                  </a:lnTo>
                  <a:lnTo>
                    <a:pt x="1" y="133"/>
                  </a:lnTo>
                  <a:lnTo>
                    <a:pt x="1" y="133"/>
                  </a:lnTo>
                  <a:lnTo>
                    <a:pt x="4" y="129"/>
                  </a:lnTo>
                  <a:lnTo>
                    <a:pt x="6" y="120"/>
                  </a:lnTo>
                  <a:lnTo>
                    <a:pt x="6" y="107"/>
                  </a:lnTo>
                  <a:lnTo>
                    <a:pt x="6" y="107"/>
                  </a:lnTo>
                  <a:lnTo>
                    <a:pt x="4" y="101"/>
                  </a:lnTo>
                  <a:lnTo>
                    <a:pt x="4" y="100"/>
                  </a:lnTo>
                  <a:lnTo>
                    <a:pt x="7" y="99"/>
                  </a:lnTo>
                  <a:lnTo>
                    <a:pt x="7" y="99"/>
                  </a:lnTo>
                  <a:lnTo>
                    <a:pt x="10" y="94"/>
                  </a:lnTo>
                  <a:lnTo>
                    <a:pt x="11" y="90"/>
                  </a:lnTo>
                  <a:lnTo>
                    <a:pt x="11" y="90"/>
                  </a:lnTo>
                  <a:lnTo>
                    <a:pt x="11" y="77"/>
                  </a:lnTo>
                  <a:lnTo>
                    <a:pt x="13" y="68"/>
                  </a:lnTo>
                  <a:lnTo>
                    <a:pt x="16" y="61"/>
                  </a:lnTo>
                  <a:lnTo>
                    <a:pt x="16" y="61"/>
                  </a:lnTo>
                  <a:lnTo>
                    <a:pt x="20" y="55"/>
                  </a:lnTo>
                  <a:lnTo>
                    <a:pt x="21" y="54"/>
                  </a:lnTo>
                  <a:lnTo>
                    <a:pt x="23" y="54"/>
                  </a:lnTo>
                  <a:lnTo>
                    <a:pt x="23" y="54"/>
                  </a:lnTo>
                  <a:lnTo>
                    <a:pt x="24" y="54"/>
                  </a:lnTo>
                  <a:lnTo>
                    <a:pt x="24" y="52"/>
                  </a:lnTo>
                  <a:lnTo>
                    <a:pt x="26" y="48"/>
                  </a:lnTo>
                  <a:lnTo>
                    <a:pt x="24" y="44"/>
                  </a:lnTo>
                  <a:lnTo>
                    <a:pt x="24" y="44"/>
                  </a:lnTo>
                  <a:lnTo>
                    <a:pt x="21" y="42"/>
                  </a:lnTo>
                  <a:lnTo>
                    <a:pt x="21" y="41"/>
                  </a:lnTo>
                  <a:lnTo>
                    <a:pt x="20" y="38"/>
                  </a:lnTo>
                  <a:lnTo>
                    <a:pt x="20" y="38"/>
                  </a:lnTo>
                  <a:lnTo>
                    <a:pt x="21" y="32"/>
                  </a:lnTo>
                  <a:lnTo>
                    <a:pt x="20" y="29"/>
                  </a:lnTo>
                  <a:lnTo>
                    <a:pt x="20" y="29"/>
                  </a:lnTo>
                  <a:lnTo>
                    <a:pt x="20" y="29"/>
                  </a:lnTo>
                  <a:lnTo>
                    <a:pt x="16" y="28"/>
                  </a:lnTo>
                  <a:lnTo>
                    <a:pt x="14" y="28"/>
                  </a:lnTo>
                  <a:lnTo>
                    <a:pt x="16" y="25"/>
                  </a:lnTo>
                  <a:lnTo>
                    <a:pt x="16" y="25"/>
                  </a:lnTo>
                  <a:lnTo>
                    <a:pt x="21" y="17"/>
                  </a:lnTo>
                  <a:lnTo>
                    <a:pt x="26" y="13"/>
                  </a:lnTo>
                  <a:lnTo>
                    <a:pt x="27" y="12"/>
                  </a:lnTo>
                  <a:lnTo>
                    <a:pt x="30" y="12"/>
                  </a:lnTo>
                  <a:lnTo>
                    <a:pt x="30" y="12"/>
                  </a:lnTo>
                  <a:lnTo>
                    <a:pt x="36" y="10"/>
                  </a:lnTo>
                  <a:lnTo>
                    <a:pt x="40" y="7"/>
                  </a:lnTo>
                  <a:lnTo>
                    <a:pt x="43" y="4"/>
                  </a:lnTo>
                  <a:lnTo>
                    <a:pt x="46" y="3"/>
                  </a:lnTo>
                  <a:lnTo>
                    <a:pt x="46" y="3"/>
                  </a:lnTo>
                  <a:lnTo>
                    <a:pt x="58" y="3"/>
                  </a:lnTo>
                  <a:lnTo>
                    <a:pt x="65" y="3"/>
                  </a:lnTo>
                  <a:lnTo>
                    <a:pt x="69" y="0"/>
                  </a:lnTo>
                  <a:lnTo>
                    <a:pt x="69" y="0"/>
                  </a:lnTo>
                  <a:lnTo>
                    <a:pt x="74" y="0"/>
                  </a:lnTo>
                  <a:lnTo>
                    <a:pt x="75" y="0"/>
                  </a:lnTo>
                  <a:lnTo>
                    <a:pt x="75" y="2"/>
                  </a:lnTo>
                  <a:lnTo>
                    <a:pt x="74" y="4"/>
                  </a:lnTo>
                  <a:lnTo>
                    <a:pt x="74" y="4"/>
                  </a:lnTo>
                  <a:lnTo>
                    <a:pt x="68" y="12"/>
                  </a:lnTo>
                  <a:lnTo>
                    <a:pt x="66" y="15"/>
                  </a:lnTo>
                  <a:lnTo>
                    <a:pt x="68" y="16"/>
                  </a:lnTo>
                  <a:lnTo>
                    <a:pt x="69" y="16"/>
                  </a:lnTo>
                  <a:lnTo>
                    <a:pt x="69" y="16"/>
                  </a:lnTo>
                  <a:lnTo>
                    <a:pt x="74" y="16"/>
                  </a:lnTo>
                  <a:lnTo>
                    <a:pt x="77" y="15"/>
                  </a:lnTo>
                  <a:lnTo>
                    <a:pt x="79" y="13"/>
                  </a:lnTo>
                  <a:lnTo>
                    <a:pt x="82" y="13"/>
                  </a:lnTo>
                  <a:lnTo>
                    <a:pt x="82" y="13"/>
                  </a:lnTo>
                  <a:lnTo>
                    <a:pt x="87" y="15"/>
                  </a:lnTo>
                  <a:lnTo>
                    <a:pt x="90" y="16"/>
                  </a:lnTo>
                  <a:lnTo>
                    <a:pt x="94" y="19"/>
                  </a:lnTo>
                  <a:lnTo>
                    <a:pt x="97" y="19"/>
                  </a:lnTo>
                  <a:lnTo>
                    <a:pt x="97" y="19"/>
                  </a:lnTo>
                  <a:lnTo>
                    <a:pt x="100" y="19"/>
                  </a:lnTo>
                  <a:lnTo>
                    <a:pt x="103" y="19"/>
                  </a:lnTo>
                  <a:lnTo>
                    <a:pt x="103" y="23"/>
                  </a:lnTo>
                  <a:lnTo>
                    <a:pt x="103" y="23"/>
                  </a:lnTo>
                  <a:lnTo>
                    <a:pt x="104" y="29"/>
                  </a:lnTo>
                  <a:lnTo>
                    <a:pt x="107" y="31"/>
                  </a:lnTo>
                  <a:lnTo>
                    <a:pt x="108" y="31"/>
                  </a:lnTo>
                  <a:lnTo>
                    <a:pt x="108" y="31"/>
                  </a:lnTo>
                  <a:lnTo>
                    <a:pt x="110" y="28"/>
                  </a:lnTo>
                  <a:lnTo>
                    <a:pt x="110" y="26"/>
                  </a:lnTo>
                  <a:lnTo>
                    <a:pt x="111" y="23"/>
                  </a:lnTo>
                  <a:lnTo>
                    <a:pt x="113" y="22"/>
                  </a:lnTo>
                  <a:lnTo>
                    <a:pt x="113" y="22"/>
                  </a:lnTo>
                  <a:lnTo>
                    <a:pt x="117" y="20"/>
                  </a:lnTo>
                  <a:lnTo>
                    <a:pt x="121" y="20"/>
                  </a:lnTo>
                  <a:lnTo>
                    <a:pt x="126" y="20"/>
                  </a:lnTo>
                  <a:lnTo>
                    <a:pt x="129" y="23"/>
                  </a:lnTo>
                  <a:lnTo>
                    <a:pt x="129" y="23"/>
                  </a:lnTo>
                  <a:lnTo>
                    <a:pt x="137" y="33"/>
                  </a:lnTo>
                  <a:lnTo>
                    <a:pt x="145" y="41"/>
                  </a:lnTo>
                  <a:lnTo>
                    <a:pt x="145" y="41"/>
                  </a:lnTo>
                  <a:lnTo>
                    <a:pt x="146" y="44"/>
                  </a:lnTo>
                  <a:lnTo>
                    <a:pt x="147" y="45"/>
                  </a:lnTo>
                  <a:lnTo>
                    <a:pt x="149" y="48"/>
                  </a:lnTo>
                  <a:lnTo>
                    <a:pt x="150" y="48"/>
                  </a:lnTo>
                  <a:lnTo>
                    <a:pt x="150" y="48"/>
                  </a:lnTo>
                  <a:lnTo>
                    <a:pt x="155" y="49"/>
                  </a:lnTo>
                  <a:lnTo>
                    <a:pt x="158" y="51"/>
                  </a:lnTo>
                  <a:lnTo>
                    <a:pt x="161" y="54"/>
                  </a:lnTo>
                  <a:lnTo>
                    <a:pt x="161" y="5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16" name="Freeform 970"/>
            <p:cNvSpPr>
              <a:spLocks/>
            </p:cNvSpPr>
            <p:nvPr/>
          </p:nvSpPr>
          <p:spPr bwMode="auto">
            <a:xfrm>
              <a:off x="1255713" y="1954642"/>
              <a:ext cx="463550" cy="382588"/>
            </a:xfrm>
            <a:custGeom>
              <a:avLst/>
              <a:gdLst>
                <a:gd name="T0" fmla="*/ 56 w 292"/>
                <a:gd name="T1" fmla="*/ 15 h 241"/>
                <a:gd name="T2" fmla="*/ 29 w 292"/>
                <a:gd name="T3" fmla="*/ 35 h 241"/>
                <a:gd name="T4" fmla="*/ 8 w 292"/>
                <a:gd name="T5" fmla="*/ 47 h 241"/>
                <a:gd name="T6" fmla="*/ 17 w 292"/>
                <a:gd name="T7" fmla="*/ 61 h 241"/>
                <a:gd name="T8" fmla="*/ 3 w 292"/>
                <a:gd name="T9" fmla="*/ 73 h 241"/>
                <a:gd name="T10" fmla="*/ 4 w 292"/>
                <a:gd name="T11" fmla="*/ 94 h 241"/>
                <a:gd name="T12" fmla="*/ 17 w 292"/>
                <a:gd name="T13" fmla="*/ 100 h 241"/>
                <a:gd name="T14" fmla="*/ 30 w 292"/>
                <a:gd name="T15" fmla="*/ 107 h 241"/>
                <a:gd name="T16" fmla="*/ 50 w 292"/>
                <a:gd name="T17" fmla="*/ 105 h 241"/>
                <a:gd name="T18" fmla="*/ 45 w 292"/>
                <a:gd name="T19" fmla="*/ 110 h 241"/>
                <a:gd name="T20" fmla="*/ 17 w 292"/>
                <a:gd name="T21" fmla="*/ 122 h 241"/>
                <a:gd name="T22" fmla="*/ 29 w 292"/>
                <a:gd name="T23" fmla="*/ 147 h 241"/>
                <a:gd name="T24" fmla="*/ 45 w 292"/>
                <a:gd name="T25" fmla="*/ 148 h 241"/>
                <a:gd name="T26" fmla="*/ 78 w 292"/>
                <a:gd name="T27" fmla="*/ 142 h 241"/>
                <a:gd name="T28" fmla="*/ 104 w 292"/>
                <a:gd name="T29" fmla="*/ 147 h 241"/>
                <a:gd name="T30" fmla="*/ 111 w 292"/>
                <a:gd name="T31" fmla="*/ 157 h 241"/>
                <a:gd name="T32" fmla="*/ 113 w 292"/>
                <a:gd name="T33" fmla="*/ 165 h 241"/>
                <a:gd name="T34" fmla="*/ 90 w 292"/>
                <a:gd name="T35" fmla="*/ 168 h 241"/>
                <a:gd name="T36" fmla="*/ 50 w 292"/>
                <a:gd name="T37" fmla="*/ 170 h 241"/>
                <a:gd name="T38" fmla="*/ 36 w 292"/>
                <a:gd name="T39" fmla="*/ 178 h 241"/>
                <a:gd name="T40" fmla="*/ 45 w 292"/>
                <a:gd name="T41" fmla="*/ 200 h 241"/>
                <a:gd name="T42" fmla="*/ 62 w 292"/>
                <a:gd name="T43" fmla="*/ 213 h 241"/>
                <a:gd name="T44" fmla="*/ 90 w 292"/>
                <a:gd name="T45" fmla="*/ 223 h 241"/>
                <a:gd name="T46" fmla="*/ 98 w 292"/>
                <a:gd name="T47" fmla="*/ 239 h 241"/>
                <a:gd name="T48" fmla="*/ 130 w 292"/>
                <a:gd name="T49" fmla="*/ 235 h 241"/>
                <a:gd name="T50" fmla="*/ 161 w 292"/>
                <a:gd name="T51" fmla="*/ 228 h 241"/>
                <a:gd name="T52" fmla="*/ 192 w 292"/>
                <a:gd name="T53" fmla="*/ 218 h 241"/>
                <a:gd name="T54" fmla="*/ 223 w 292"/>
                <a:gd name="T55" fmla="*/ 220 h 241"/>
                <a:gd name="T56" fmla="*/ 224 w 292"/>
                <a:gd name="T57" fmla="*/ 229 h 241"/>
                <a:gd name="T58" fmla="*/ 255 w 292"/>
                <a:gd name="T59" fmla="*/ 232 h 241"/>
                <a:gd name="T60" fmla="*/ 281 w 292"/>
                <a:gd name="T61" fmla="*/ 215 h 241"/>
                <a:gd name="T62" fmla="*/ 274 w 292"/>
                <a:gd name="T63" fmla="*/ 204 h 241"/>
                <a:gd name="T64" fmla="*/ 259 w 292"/>
                <a:gd name="T65" fmla="*/ 206 h 241"/>
                <a:gd name="T66" fmla="*/ 246 w 292"/>
                <a:gd name="T67" fmla="*/ 207 h 241"/>
                <a:gd name="T68" fmla="*/ 246 w 292"/>
                <a:gd name="T69" fmla="*/ 197 h 241"/>
                <a:gd name="T70" fmla="*/ 247 w 292"/>
                <a:gd name="T71" fmla="*/ 186 h 241"/>
                <a:gd name="T72" fmla="*/ 265 w 292"/>
                <a:gd name="T73" fmla="*/ 193 h 241"/>
                <a:gd name="T74" fmla="*/ 269 w 292"/>
                <a:gd name="T75" fmla="*/ 186 h 241"/>
                <a:gd name="T76" fmla="*/ 282 w 292"/>
                <a:gd name="T77" fmla="*/ 187 h 241"/>
                <a:gd name="T78" fmla="*/ 291 w 292"/>
                <a:gd name="T79" fmla="*/ 183 h 241"/>
                <a:gd name="T80" fmla="*/ 291 w 292"/>
                <a:gd name="T81" fmla="*/ 174 h 241"/>
                <a:gd name="T82" fmla="*/ 276 w 292"/>
                <a:gd name="T83" fmla="*/ 171 h 241"/>
                <a:gd name="T84" fmla="*/ 256 w 292"/>
                <a:gd name="T85" fmla="*/ 149 h 241"/>
                <a:gd name="T86" fmla="*/ 232 w 292"/>
                <a:gd name="T87" fmla="*/ 120 h 241"/>
                <a:gd name="T88" fmla="*/ 226 w 292"/>
                <a:gd name="T89" fmla="*/ 41 h 241"/>
                <a:gd name="T90" fmla="*/ 197 w 292"/>
                <a:gd name="T91" fmla="*/ 5 h 241"/>
                <a:gd name="T92" fmla="*/ 179 w 292"/>
                <a:gd name="T93" fmla="*/ 6 h 241"/>
                <a:gd name="T94" fmla="*/ 181 w 292"/>
                <a:gd name="T95" fmla="*/ 15 h 241"/>
                <a:gd name="T96" fmla="*/ 185 w 292"/>
                <a:gd name="T97" fmla="*/ 41 h 241"/>
                <a:gd name="T98" fmla="*/ 190 w 292"/>
                <a:gd name="T99" fmla="*/ 94 h 241"/>
                <a:gd name="T100" fmla="*/ 168 w 292"/>
                <a:gd name="T101" fmla="*/ 45 h 241"/>
                <a:gd name="T102" fmla="*/ 150 w 292"/>
                <a:gd name="T103" fmla="*/ 21 h 241"/>
                <a:gd name="T104" fmla="*/ 133 w 292"/>
                <a:gd name="T105" fmla="*/ 16 h 241"/>
                <a:gd name="T106" fmla="*/ 148 w 292"/>
                <a:gd name="T107" fmla="*/ 32 h 241"/>
                <a:gd name="T108" fmla="*/ 142 w 292"/>
                <a:gd name="T109" fmla="*/ 44 h 241"/>
                <a:gd name="T110" fmla="*/ 117 w 292"/>
                <a:gd name="T111" fmla="*/ 51 h 241"/>
                <a:gd name="T112" fmla="*/ 129 w 292"/>
                <a:gd name="T113" fmla="*/ 34 h 241"/>
                <a:gd name="T114" fmla="*/ 117 w 292"/>
                <a:gd name="T115" fmla="*/ 19 h 241"/>
                <a:gd name="T116" fmla="*/ 103 w 292"/>
                <a:gd name="T117" fmla="*/ 18 h 241"/>
                <a:gd name="T118" fmla="*/ 98 w 292"/>
                <a:gd name="T119" fmla="*/ 44 h 241"/>
                <a:gd name="T120" fmla="*/ 77 w 292"/>
                <a:gd name="T121" fmla="*/ 42 h 241"/>
                <a:gd name="T122" fmla="*/ 87 w 292"/>
                <a:gd name="T123" fmla="*/ 2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41">
                  <a:moveTo>
                    <a:pt x="84" y="2"/>
                  </a:moveTo>
                  <a:lnTo>
                    <a:pt x="84" y="2"/>
                  </a:lnTo>
                  <a:lnTo>
                    <a:pt x="78" y="0"/>
                  </a:lnTo>
                  <a:lnTo>
                    <a:pt x="74" y="0"/>
                  </a:lnTo>
                  <a:lnTo>
                    <a:pt x="71" y="2"/>
                  </a:lnTo>
                  <a:lnTo>
                    <a:pt x="71" y="2"/>
                  </a:lnTo>
                  <a:lnTo>
                    <a:pt x="56" y="15"/>
                  </a:lnTo>
                  <a:lnTo>
                    <a:pt x="56" y="15"/>
                  </a:lnTo>
                  <a:lnTo>
                    <a:pt x="46" y="21"/>
                  </a:lnTo>
                  <a:lnTo>
                    <a:pt x="37" y="26"/>
                  </a:lnTo>
                  <a:lnTo>
                    <a:pt x="37" y="26"/>
                  </a:lnTo>
                  <a:lnTo>
                    <a:pt x="33" y="29"/>
                  </a:lnTo>
                  <a:lnTo>
                    <a:pt x="29" y="35"/>
                  </a:lnTo>
                  <a:lnTo>
                    <a:pt x="29" y="35"/>
                  </a:lnTo>
                  <a:lnTo>
                    <a:pt x="26" y="38"/>
                  </a:lnTo>
                  <a:lnTo>
                    <a:pt x="24" y="39"/>
                  </a:lnTo>
                  <a:lnTo>
                    <a:pt x="22" y="41"/>
                  </a:lnTo>
                  <a:lnTo>
                    <a:pt x="22" y="41"/>
                  </a:lnTo>
                  <a:lnTo>
                    <a:pt x="13" y="42"/>
                  </a:lnTo>
                  <a:lnTo>
                    <a:pt x="10" y="45"/>
                  </a:lnTo>
                  <a:lnTo>
                    <a:pt x="8" y="47"/>
                  </a:lnTo>
                  <a:lnTo>
                    <a:pt x="8" y="47"/>
                  </a:lnTo>
                  <a:lnTo>
                    <a:pt x="11" y="52"/>
                  </a:lnTo>
                  <a:lnTo>
                    <a:pt x="13" y="57"/>
                  </a:lnTo>
                  <a:lnTo>
                    <a:pt x="13" y="57"/>
                  </a:lnTo>
                  <a:lnTo>
                    <a:pt x="14" y="58"/>
                  </a:lnTo>
                  <a:lnTo>
                    <a:pt x="16" y="60"/>
                  </a:lnTo>
                  <a:lnTo>
                    <a:pt x="17" y="61"/>
                  </a:lnTo>
                  <a:lnTo>
                    <a:pt x="17" y="63"/>
                  </a:lnTo>
                  <a:lnTo>
                    <a:pt x="17" y="63"/>
                  </a:lnTo>
                  <a:lnTo>
                    <a:pt x="14" y="65"/>
                  </a:lnTo>
                  <a:lnTo>
                    <a:pt x="10" y="68"/>
                  </a:lnTo>
                  <a:lnTo>
                    <a:pt x="6" y="70"/>
                  </a:lnTo>
                  <a:lnTo>
                    <a:pt x="3" y="73"/>
                  </a:lnTo>
                  <a:lnTo>
                    <a:pt x="3" y="73"/>
                  </a:lnTo>
                  <a:lnTo>
                    <a:pt x="1" y="80"/>
                  </a:lnTo>
                  <a:lnTo>
                    <a:pt x="0" y="87"/>
                  </a:lnTo>
                  <a:lnTo>
                    <a:pt x="0" y="87"/>
                  </a:lnTo>
                  <a:lnTo>
                    <a:pt x="1" y="92"/>
                  </a:lnTo>
                  <a:lnTo>
                    <a:pt x="3" y="93"/>
                  </a:lnTo>
                  <a:lnTo>
                    <a:pt x="4" y="94"/>
                  </a:lnTo>
                  <a:lnTo>
                    <a:pt x="4" y="94"/>
                  </a:lnTo>
                  <a:lnTo>
                    <a:pt x="6" y="94"/>
                  </a:lnTo>
                  <a:lnTo>
                    <a:pt x="6" y="97"/>
                  </a:lnTo>
                  <a:lnTo>
                    <a:pt x="7" y="99"/>
                  </a:lnTo>
                  <a:lnTo>
                    <a:pt x="10" y="100"/>
                  </a:lnTo>
                  <a:lnTo>
                    <a:pt x="10" y="100"/>
                  </a:lnTo>
                  <a:lnTo>
                    <a:pt x="16" y="99"/>
                  </a:lnTo>
                  <a:lnTo>
                    <a:pt x="17" y="100"/>
                  </a:lnTo>
                  <a:lnTo>
                    <a:pt x="19" y="100"/>
                  </a:lnTo>
                  <a:lnTo>
                    <a:pt x="19" y="100"/>
                  </a:lnTo>
                  <a:lnTo>
                    <a:pt x="19" y="105"/>
                  </a:lnTo>
                  <a:lnTo>
                    <a:pt x="20" y="107"/>
                  </a:lnTo>
                  <a:lnTo>
                    <a:pt x="22" y="107"/>
                  </a:lnTo>
                  <a:lnTo>
                    <a:pt x="22" y="107"/>
                  </a:lnTo>
                  <a:lnTo>
                    <a:pt x="30" y="107"/>
                  </a:lnTo>
                  <a:lnTo>
                    <a:pt x="35" y="107"/>
                  </a:lnTo>
                  <a:lnTo>
                    <a:pt x="37" y="107"/>
                  </a:lnTo>
                  <a:lnTo>
                    <a:pt x="37" y="107"/>
                  </a:lnTo>
                  <a:lnTo>
                    <a:pt x="40" y="105"/>
                  </a:lnTo>
                  <a:lnTo>
                    <a:pt x="43" y="105"/>
                  </a:lnTo>
                  <a:lnTo>
                    <a:pt x="50" y="105"/>
                  </a:lnTo>
                  <a:lnTo>
                    <a:pt x="50" y="105"/>
                  </a:lnTo>
                  <a:lnTo>
                    <a:pt x="61" y="106"/>
                  </a:lnTo>
                  <a:lnTo>
                    <a:pt x="62" y="107"/>
                  </a:lnTo>
                  <a:lnTo>
                    <a:pt x="62" y="107"/>
                  </a:lnTo>
                  <a:lnTo>
                    <a:pt x="62" y="107"/>
                  </a:lnTo>
                  <a:lnTo>
                    <a:pt x="53" y="109"/>
                  </a:lnTo>
                  <a:lnTo>
                    <a:pt x="48" y="109"/>
                  </a:lnTo>
                  <a:lnTo>
                    <a:pt x="45" y="110"/>
                  </a:lnTo>
                  <a:lnTo>
                    <a:pt x="45" y="110"/>
                  </a:lnTo>
                  <a:lnTo>
                    <a:pt x="40" y="112"/>
                  </a:lnTo>
                  <a:lnTo>
                    <a:pt x="33" y="115"/>
                  </a:lnTo>
                  <a:lnTo>
                    <a:pt x="33" y="115"/>
                  </a:lnTo>
                  <a:lnTo>
                    <a:pt x="29" y="116"/>
                  </a:lnTo>
                  <a:lnTo>
                    <a:pt x="23" y="118"/>
                  </a:lnTo>
                  <a:lnTo>
                    <a:pt x="17" y="122"/>
                  </a:lnTo>
                  <a:lnTo>
                    <a:pt x="17" y="122"/>
                  </a:lnTo>
                  <a:lnTo>
                    <a:pt x="16" y="123"/>
                  </a:lnTo>
                  <a:lnTo>
                    <a:pt x="17" y="129"/>
                  </a:lnTo>
                  <a:lnTo>
                    <a:pt x="20" y="139"/>
                  </a:lnTo>
                  <a:lnTo>
                    <a:pt x="20" y="139"/>
                  </a:lnTo>
                  <a:lnTo>
                    <a:pt x="24" y="145"/>
                  </a:lnTo>
                  <a:lnTo>
                    <a:pt x="29" y="147"/>
                  </a:lnTo>
                  <a:lnTo>
                    <a:pt x="33" y="148"/>
                  </a:lnTo>
                  <a:lnTo>
                    <a:pt x="33" y="148"/>
                  </a:lnTo>
                  <a:lnTo>
                    <a:pt x="37" y="148"/>
                  </a:lnTo>
                  <a:lnTo>
                    <a:pt x="40" y="149"/>
                  </a:lnTo>
                  <a:lnTo>
                    <a:pt x="43" y="149"/>
                  </a:lnTo>
                  <a:lnTo>
                    <a:pt x="45" y="148"/>
                  </a:lnTo>
                  <a:lnTo>
                    <a:pt x="45" y="148"/>
                  </a:lnTo>
                  <a:lnTo>
                    <a:pt x="46" y="147"/>
                  </a:lnTo>
                  <a:lnTo>
                    <a:pt x="50" y="147"/>
                  </a:lnTo>
                  <a:lnTo>
                    <a:pt x="50" y="147"/>
                  </a:lnTo>
                  <a:lnTo>
                    <a:pt x="58" y="148"/>
                  </a:lnTo>
                  <a:lnTo>
                    <a:pt x="65" y="147"/>
                  </a:lnTo>
                  <a:lnTo>
                    <a:pt x="65" y="147"/>
                  </a:lnTo>
                  <a:lnTo>
                    <a:pt x="78" y="142"/>
                  </a:lnTo>
                  <a:lnTo>
                    <a:pt x="85" y="141"/>
                  </a:lnTo>
                  <a:lnTo>
                    <a:pt x="90" y="141"/>
                  </a:lnTo>
                  <a:lnTo>
                    <a:pt x="90" y="141"/>
                  </a:lnTo>
                  <a:lnTo>
                    <a:pt x="95" y="145"/>
                  </a:lnTo>
                  <a:lnTo>
                    <a:pt x="100" y="147"/>
                  </a:lnTo>
                  <a:lnTo>
                    <a:pt x="104" y="147"/>
                  </a:lnTo>
                  <a:lnTo>
                    <a:pt x="104" y="147"/>
                  </a:lnTo>
                  <a:lnTo>
                    <a:pt x="117" y="148"/>
                  </a:lnTo>
                  <a:lnTo>
                    <a:pt x="123" y="149"/>
                  </a:lnTo>
                  <a:lnTo>
                    <a:pt x="124" y="149"/>
                  </a:lnTo>
                  <a:lnTo>
                    <a:pt x="123" y="149"/>
                  </a:lnTo>
                  <a:lnTo>
                    <a:pt x="123" y="149"/>
                  </a:lnTo>
                  <a:lnTo>
                    <a:pt x="116" y="154"/>
                  </a:lnTo>
                  <a:lnTo>
                    <a:pt x="111" y="157"/>
                  </a:lnTo>
                  <a:lnTo>
                    <a:pt x="111" y="157"/>
                  </a:lnTo>
                  <a:lnTo>
                    <a:pt x="114" y="158"/>
                  </a:lnTo>
                  <a:lnTo>
                    <a:pt x="116" y="161"/>
                  </a:lnTo>
                  <a:lnTo>
                    <a:pt x="116" y="161"/>
                  </a:lnTo>
                  <a:lnTo>
                    <a:pt x="116" y="161"/>
                  </a:lnTo>
                  <a:lnTo>
                    <a:pt x="114" y="162"/>
                  </a:lnTo>
                  <a:lnTo>
                    <a:pt x="113" y="165"/>
                  </a:lnTo>
                  <a:lnTo>
                    <a:pt x="113" y="167"/>
                  </a:lnTo>
                  <a:lnTo>
                    <a:pt x="111" y="168"/>
                  </a:lnTo>
                  <a:lnTo>
                    <a:pt x="111" y="168"/>
                  </a:lnTo>
                  <a:lnTo>
                    <a:pt x="106" y="168"/>
                  </a:lnTo>
                  <a:lnTo>
                    <a:pt x="95" y="168"/>
                  </a:lnTo>
                  <a:lnTo>
                    <a:pt x="95" y="168"/>
                  </a:lnTo>
                  <a:lnTo>
                    <a:pt x="90" y="168"/>
                  </a:lnTo>
                  <a:lnTo>
                    <a:pt x="82" y="170"/>
                  </a:lnTo>
                  <a:lnTo>
                    <a:pt x="69" y="173"/>
                  </a:lnTo>
                  <a:lnTo>
                    <a:pt x="69" y="173"/>
                  </a:lnTo>
                  <a:lnTo>
                    <a:pt x="65" y="173"/>
                  </a:lnTo>
                  <a:lnTo>
                    <a:pt x="61" y="171"/>
                  </a:lnTo>
                  <a:lnTo>
                    <a:pt x="56" y="170"/>
                  </a:lnTo>
                  <a:lnTo>
                    <a:pt x="50" y="170"/>
                  </a:lnTo>
                  <a:lnTo>
                    <a:pt x="50" y="170"/>
                  </a:lnTo>
                  <a:lnTo>
                    <a:pt x="39" y="171"/>
                  </a:lnTo>
                  <a:lnTo>
                    <a:pt x="36" y="173"/>
                  </a:lnTo>
                  <a:lnTo>
                    <a:pt x="35" y="174"/>
                  </a:lnTo>
                  <a:lnTo>
                    <a:pt x="36" y="176"/>
                  </a:lnTo>
                  <a:lnTo>
                    <a:pt x="36" y="176"/>
                  </a:lnTo>
                  <a:lnTo>
                    <a:pt x="36" y="178"/>
                  </a:lnTo>
                  <a:lnTo>
                    <a:pt x="36" y="183"/>
                  </a:lnTo>
                  <a:lnTo>
                    <a:pt x="36" y="187"/>
                  </a:lnTo>
                  <a:lnTo>
                    <a:pt x="37" y="190"/>
                  </a:lnTo>
                  <a:lnTo>
                    <a:pt x="37" y="190"/>
                  </a:lnTo>
                  <a:lnTo>
                    <a:pt x="42" y="194"/>
                  </a:lnTo>
                  <a:lnTo>
                    <a:pt x="45" y="196"/>
                  </a:lnTo>
                  <a:lnTo>
                    <a:pt x="45" y="200"/>
                  </a:lnTo>
                  <a:lnTo>
                    <a:pt x="45" y="200"/>
                  </a:lnTo>
                  <a:lnTo>
                    <a:pt x="46" y="203"/>
                  </a:lnTo>
                  <a:lnTo>
                    <a:pt x="48" y="206"/>
                  </a:lnTo>
                  <a:lnTo>
                    <a:pt x="50" y="210"/>
                  </a:lnTo>
                  <a:lnTo>
                    <a:pt x="56" y="213"/>
                  </a:lnTo>
                  <a:lnTo>
                    <a:pt x="56" y="213"/>
                  </a:lnTo>
                  <a:lnTo>
                    <a:pt x="62" y="213"/>
                  </a:lnTo>
                  <a:lnTo>
                    <a:pt x="69" y="215"/>
                  </a:lnTo>
                  <a:lnTo>
                    <a:pt x="77" y="213"/>
                  </a:lnTo>
                  <a:lnTo>
                    <a:pt x="81" y="215"/>
                  </a:lnTo>
                  <a:lnTo>
                    <a:pt x="81" y="215"/>
                  </a:lnTo>
                  <a:lnTo>
                    <a:pt x="87" y="218"/>
                  </a:lnTo>
                  <a:lnTo>
                    <a:pt x="88" y="220"/>
                  </a:lnTo>
                  <a:lnTo>
                    <a:pt x="90" y="223"/>
                  </a:lnTo>
                  <a:lnTo>
                    <a:pt x="90" y="223"/>
                  </a:lnTo>
                  <a:lnTo>
                    <a:pt x="88" y="228"/>
                  </a:lnTo>
                  <a:lnTo>
                    <a:pt x="88" y="231"/>
                  </a:lnTo>
                  <a:lnTo>
                    <a:pt x="90" y="233"/>
                  </a:lnTo>
                  <a:lnTo>
                    <a:pt x="90" y="233"/>
                  </a:lnTo>
                  <a:lnTo>
                    <a:pt x="95" y="238"/>
                  </a:lnTo>
                  <a:lnTo>
                    <a:pt x="98" y="239"/>
                  </a:lnTo>
                  <a:lnTo>
                    <a:pt x="104" y="241"/>
                  </a:lnTo>
                  <a:lnTo>
                    <a:pt x="104" y="241"/>
                  </a:lnTo>
                  <a:lnTo>
                    <a:pt x="110" y="239"/>
                  </a:lnTo>
                  <a:lnTo>
                    <a:pt x="119" y="238"/>
                  </a:lnTo>
                  <a:lnTo>
                    <a:pt x="126" y="235"/>
                  </a:lnTo>
                  <a:lnTo>
                    <a:pt x="130" y="235"/>
                  </a:lnTo>
                  <a:lnTo>
                    <a:pt x="130" y="235"/>
                  </a:lnTo>
                  <a:lnTo>
                    <a:pt x="137" y="238"/>
                  </a:lnTo>
                  <a:lnTo>
                    <a:pt x="142" y="238"/>
                  </a:lnTo>
                  <a:lnTo>
                    <a:pt x="146" y="238"/>
                  </a:lnTo>
                  <a:lnTo>
                    <a:pt x="146" y="238"/>
                  </a:lnTo>
                  <a:lnTo>
                    <a:pt x="150" y="235"/>
                  </a:lnTo>
                  <a:lnTo>
                    <a:pt x="156" y="232"/>
                  </a:lnTo>
                  <a:lnTo>
                    <a:pt x="161" y="228"/>
                  </a:lnTo>
                  <a:lnTo>
                    <a:pt x="163" y="226"/>
                  </a:lnTo>
                  <a:lnTo>
                    <a:pt x="163" y="226"/>
                  </a:lnTo>
                  <a:lnTo>
                    <a:pt x="178" y="225"/>
                  </a:lnTo>
                  <a:lnTo>
                    <a:pt x="185" y="223"/>
                  </a:lnTo>
                  <a:lnTo>
                    <a:pt x="188" y="222"/>
                  </a:lnTo>
                  <a:lnTo>
                    <a:pt x="188" y="222"/>
                  </a:lnTo>
                  <a:lnTo>
                    <a:pt x="192" y="218"/>
                  </a:lnTo>
                  <a:lnTo>
                    <a:pt x="195" y="216"/>
                  </a:lnTo>
                  <a:lnTo>
                    <a:pt x="198" y="216"/>
                  </a:lnTo>
                  <a:lnTo>
                    <a:pt x="198" y="216"/>
                  </a:lnTo>
                  <a:lnTo>
                    <a:pt x="204" y="218"/>
                  </a:lnTo>
                  <a:lnTo>
                    <a:pt x="210" y="219"/>
                  </a:lnTo>
                  <a:lnTo>
                    <a:pt x="210" y="219"/>
                  </a:lnTo>
                  <a:lnTo>
                    <a:pt x="223" y="220"/>
                  </a:lnTo>
                  <a:lnTo>
                    <a:pt x="227" y="220"/>
                  </a:lnTo>
                  <a:lnTo>
                    <a:pt x="227" y="220"/>
                  </a:lnTo>
                  <a:lnTo>
                    <a:pt x="227" y="222"/>
                  </a:lnTo>
                  <a:lnTo>
                    <a:pt x="227" y="222"/>
                  </a:lnTo>
                  <a:lnTo>
                    <a:pt x="224" y="226"/>
                  </a:lnTo>
                  <a:lnTo>
                    <a:pt x="223" y="228"/>
                  </a:lnTo>
                  <a:lnTo>
                    <a:pt x="224" y="229"/>
                  </a:lnTo>
                  <a:lnTo>
                    <a:pt x="224" y="229"/>
                  </a:lnTo>
                  <a:lnTo>
                    <a:pt x="233" y="228"/>
                  </a:lnTo>
                  <a:lnTo>
                    <a:pt x="239" y="228"/>
                  </a:lnTo>
                  <a:lnTo>
                    <a:pt x="243" y="228"/>
                  </a:lnTo>
                  <a:lnTo>
                    <a:pt x="243" y="228"/>
                  </a:lnTo>
                  <a:lnTo>
                    <a:pt x="252" y="232"/>
                  </a:lnTo>
                  <a:lnTo>
                    <a:pt x="255" y="232"/>
                  </a:lnTo>
                  <a:lnTo>
                    <a:pt x="259" y="232"/>
                  </a:lnTo>
                  <a:lnTo>
                    <a:pt x="259" y="232"/>
                  </a:lnTo>
                  <a:lnTo>
                    <a:pt x="269" y="226"/>
                  </a:lnTo>
                  <a:lnTo>
                    <a:pt x="275" y="222"/>
                  </a:lnTo>
                  <a:lnTo>
                    <a:pt x="278" y="219"/>
                  </a:lnTo>
                  <a:lnTo>
                    <a:pt x="278" y="219"/>
                  </a:lnTo>
                  <a:lnTo>
                    <a:pt x="281" y="215"/>
                  </a:lnTo>
                  <a:lnTo>
                    <a:pt x="282" y="213"/>
                  </a:lnTo>
                  <a:lnTo>
                    <a:pt x="282" y="213"/>
                  </a:lnTo>
                  <a:lnTo>
                    <a:pt x="281" y="213"/>
                  </a:lnTo>
                  <a:lnTo>
                    <a:pt x="278" y="213"/>
                  </a:lnTo>
                  <a:lnTo>
                    <a:pt x="276" y="212"/>
                  </a:lnTo>
                  <a:lnTo>
                    <a:pt x="276" y="212"/>
                  </a:lnTo>
                  <a:lnTo>
                    <a:pt x="274" y="204"/>
                  </a:lnTo>
                  <a:lnTo>
                    <a:pt x="271" y="200"/>
                  </a:lnTo>
                  <a:lnTo>
                    <a:pt x="269" y="199"/>
                  </a:lnTo>
                  <a:lnTo>
                    <a:pt x="269" y="199"/>
                  </a:lnTo>
                  <a:lnTo>
                    <a:pt x="268" y="200"/>
                  </a:lnTo>
                  <a:lnTo>
                    <a:pt x="265" y="203"/>
                  </a:lnTo>
                  <a:lnTo>
                    <a:pt x="262" y="206"/>
                  </a:lnTo>
                  <a:lnTo>
                    <a:pt x="259" y="206"/>
                  </a:lnTo>
                  <a:lnTo>
                    <a:pt x="259" y="206"/>
                  </a:lnTo>
                  <a:lnTo>
                    <a:pt x="256" y="204"/>
                  </a:lnTo>
                  <a:lnTo>
                    <a:pt x="255" y="204"/>
                  </a:lnTo>
                  <a:lnTo>
                    <a:pt x="252" y="204"/>
                  </a:lnTo>
                  <a:lnTo>
                    <a:pt x="252" y="204"/>
                  </a:lnTo>
                  <a:lnTo>
                    <a:pt x="247" y="206"/>
                  </a:lnTo>
                  <a:lnTo>
                    <a:pt x="246" y="207"/>
                  </a:lnTo>
                  <a:lnTo>
                    <a:pt x="246" y="204"/>
                  </a:lnTo>
                  <a:lnTo>
                    <a:pt x="246" y="204"/>
                  </a:lnTo>
                  <a:lnTo>
                    <a:pt x="250" y="200"/>
                  </a:lnTo>
                  <a:lnTo>
                    <a:pt x="250" y="199"/>
                  </a:lnTo>
                  <a:lnTo>
                    <a:pt x="250" y="197"/>
                  </a:lnTo>
                  <a:lnTo>
                    <a:pt x="250" y="197"/>
                  </a:lnTo>
                  <a:lnTo>
                    <a:pt x="246" y="197"/>
                  </a:lnTo>
                  <a:lnTo>
                    <a:pt x="243" y="196"/>
                  </a:lnTo>
                  <a:lnTo>
                    <a:pt x="243" y="194"/>
                  </a:lnTo>
                  <a:lnTo>
                    <a:pt x="243" y="194"/>
                  </a:lnTo>
                  <a:lnTo>
                    <a:pt x="245" y="189"/>
                  </a:lnTo>
                  <a:lnTo>
                    <a:pt x="246" y="186"/>
                  </a:lnTo>
                  <a:lnTo>
                    <a:pt x="247" y="186"/>
                  </a:lnTo>
                  <a:lnTo>
                    <a:pt x="247" y="186"/>
                  </a:lnTo>
                  <a:lnTo>
                    <a:pt x="250" y="191"/>
                  </a:lnTo>
                  <a:lnTo>
                    <a:pt x="253" y="194"/>
                  </a:lnTo>
                  <a:lnTo>
                    <a:pt x="256" y="196"/>
                  </a:lnTo>
                  <a:lnTo>
                    <a:pt x="256" y="196"/>
                  </a:lnTo>
                  <a:lnTo>
                    <a:pt x="263" y="196"/>
                  </a:lnTo>
                  <a:lnTo>
                    <a:pt x="265" y="194"/>
                  </a:lnTo>
                  <a:lnTo>
                    <a:pt x="265" y="193"/>
                  </a:lnTo>
                  <a:lnTo>
                    <a:pt x="265" y="193"/>
                  </a:lnTo>
                  <a:lnTo>
                    <a:pt x="259" y="191"/>
                  </a:lnTo>
                  <a:lnTo>
                    <a:pt x="259" y="190"/>
                  </a:lnTo>
                  <a:lnTo>
                    <a:pt x="262" y="189"/>
                  </a:lnTo>
                  <a:lnTo>
                    <a:pt x="262" y="189"/>
                  </a:lnTo>
                  <a:lnTo>
                    <a:pt x="268" y="186"/>
                  </a:lnTo>
                  <a:lnTo>
                    <a:pt x="269" y="186"/>
                  </a:lnTo>
                  <a:lnTo>
                    <a:pt x="271" y="186"/>
                  </a:lnTo>
                  <a:lnTo>
                    <a:pt x="271" y="186"/>
                  </a:lnTo>
                  <a:lnTo>
                    <a:pt x="275" y="187"/>
                  </a:lnTo>
                  <a:lnTo>
                    <a:pt x="278" y="186"/>
                  </a:lnTo>
                  <a:lnTo>
                    <a:pt x="279" y="186"/>
                  </a:lnTo>
                  <a:lnTo>
                    <a:pt x="282" y="187"/>
                  </a:lnTo>
                  <a:lnTo>
                    <a:pt x="282" y="187"/>
                  </a:lnTo>
                  <a:lnTo>
                    <a:pt x="285" y="191"/>
                  </a:lnTo>
                  <a:lnTo>
                    <a:pt x="288" y="191"/>
                  </a:lnTo>
                  <a:lnTo>
                    <a:pt x="289" y="190"/>
                  </a:lnTo>
                  <a:lnTo>
                    <a:pt x="289" y="190"/>
                  </a:lnTo>
                  <a:lnTo>
                    <a:pt x="292" y="186"/>
                  </a:lnTo>
                  <a:lnTo>
                    <a:pt x="292" y="184"/>
                  </a:lnTo>
                  <a:lnTo>
                    <a:pt x="291" y="183"/>
                  </a:lnTo>
                  <a:lnTo>
                    <a:pt x="291" y="183"/>
                  </a:lnTo>
                  <a:lnTo>
                    <a:pt x="287" y="180"/>
                  </a:lnTo>
                  <a:lnTo>
                    <a:pt x="285" y="178"/>
                  </a:lnTo>
                  <a:lnTo>
                    <a:pt x="287" y="177"/>
                  </a:lnTo>
                  <a:lnTo>
                    <a:pt x="287" y="177"/>
                  </a:lnTo>
                  <a:lnTo>
                    <a:pt x="291" y="176"/>
                  </a:lnTo>
                  <a:lnTo>
                    <a:pt x="291" y="174"/>
                  </a:lnTo>
                  <a:lnTo>
                    <a:pt x="291" y="173"/>
                  </a:lnTo>
                  <a:lnTo>
                    <a:pt x="291" y="173"/>
                  </a:lnTo>
                  <a:lnTo>
                    <a:pt x="287" y="168"/>
                  </a:lnTo>
                  <a:lnTo>
                    <a:pt x="284" y="167"/>
                  </a:lnTo>
                  <a:lnTo>
                    <a:pt x="281" y="168"/>
                  </a:lnTo>
                  <a:lnTo>
                    <a:pt x="281" y="168"/>
                  </a:lnTo>
                  <a:lnTo>
                    <a:pt x="276" y="171"/>
                  </a:lnTo>
                  <a:lnTo>
                    <a:pt x="274" y="173"/>
                  </a:lnTo>
                  <a:lnTo>
                    <a:pt x="272" y="171"/>
                  </a:lnTo>
                  <a:lnTo>
                    <a:pt x="272" y="171"/>
                  </a:lnTo>
                  <a:lnTo>
                    <a:pt x="265" y="162"/>
                  </a:lnTo>
                  <a:lnTo>
                    <a:pt x="265" y="162"/>
                  </a:lnTo>
                  <a:lnTo>
                    <a:pt x="259" y="154"/>
                  </a:lnTo>
                  <a:lnTo>
                    <a:pt x="256" y="149"/>
                  </a:lnTo>
                  <a:lnTo>
                    <a:pt x="253" y="148"/>
                  </a:lnTo>
                  <a:lnTo>
                    <a:pt x="253" y="148"/>
                  </a:lnTo>
                  <a:lnTo>
                    <a:pt x="242" y="141"/>
                  </a:lnTo>
                  <a:lnTo>
                    <a:pt x="237" y="136"/>
                  </a:lnTo>
                  <a:lnTo>
                    <a:pt x="233" y="132"/>
                  </a:lnTo>
                  <a:lnTo>
                    <a:pt x="233" y="132"/>
                  </a:lnTo>
                  <a:lnTo>
                    <a:pt x="232" y="120"/>
                  </a:lnTo>
                  <a:lnTo>
                    <a:pt x="230" y="100"/>
                  </a:lnTo>
                  <a:lnTo>
                    <a:pt x="230" y="70"/>
                  </a:lnTo>
                  <a:lnTo>
                    <a:pt x="230" y="70"/>
                  </a:lnTo>
                  <a:lnTo>
                    <a:pt x="227" y="47"/>
                  </a:lnTo>
                  <a:lnTo>
                    <a:pt x="227" y="47"/>
                  </a:lnTo>
                  <a:lnTo>
                    <a:pt x="227" y="44"/>
                  </a:lnTo>
                  <a:lnTo>
                    <a:pt x="226" y="41"/>
                  </a:lnTo>
                  <a:lnTo>
                    <a:pt x="221" y="34"/>
                  </a:lnTo>
                  <a:lnTo>
                    <a:pt x="221" y="34"/>
                  </a:lnTo>
                  <a:lnTo>
                    <a:pt x="208" y="15"/>
                  </a:lnTo>
                  <a:lnTo>
                    <a:pt x="208" y="15"/>
                  </a:lnTo>
                  <a:lnTo>
                    <a:pt x="203" y="8"/>
                  </a:lnTo>
                  <a:lnTo>
                    <a:pt x="198" y="5"/>
                  </a:lnTo>
                  <a:lnTo>
                    <a:pt x="197" y="5"/>
                  </a:lnTo>
                  <a:lnTo>
                    <a:pt x="197" y="5"/>
                  </a:lnTo>
                  <a:lnTo>
                    <a:pt x="195" y="10"/>
                  </a:lnTo>
                  <a:lnTo>
                    <a:pt x="194" y="12"/>
                  </a:lnTo>
                  <a:lnTo>
                    <a:pt x="191" y="12"/>
                  </a:lnTo>
                  <a:lnTo>
                    <a:pt x="191" y="12"/>
                  </a:lnTo>
                  <a:lnTo>
                    <a:pt x="184" y="8"/>
                  </a:lnTo>
                  <a:lnTo>
                    <a:pt x="179" y="6"/>
                  </a:lnTo>
                  <a:lnTo>
                    <a:pt x="179" y="6"/>
                  </a:lnTo>
                  <a:lnTo>
                    <a:pt x="179" y="6"/>
                  </a:lnTo>
                  <a:lnTo>
                    <a:pt x="179" y="6"/>
                  </a:lnTo>
                  <a:lnTo>
                    <a:pt x="181" y="12"/>
                  </a:lnTo>
                  <a:lnTo>
                    <a:pt x="181" y="13"/>
                  </a:lnTo>
                  <a:lnTo>
                    <a:pt x="181" y="15"/>
                  </a:lnTo>
                  <a:lnTo>
                    <a:pt x="181" y="15"/>
                  </a:lnTo>
                  <a:lnTo>
                    <a:pt x="178" y="16"/>
                  </a:lnTo>
                  <a:lnTo>
                    <a:pt x="178" y="18"/>
                  </a:lnTo>
                  <a:lnTo>
                    <a:pt x="178" y="21"/>
                  </a:lnTo>
                  <a:lnTo>
                    <a:pt x="178" y="21"/>
                  </a:lnTo>
                  <a:lnTo>
                    <a:pt x="181" y="31"/>
                  </a:lnTo>
                  <a:lnTo>
                    <a:pt x="185" y="41"/>
                  </a:lnTo>
                  <a:lnTo>
                    <a:pt x="185" y="41"/>
                  </a:lnTo>
                  <a:lnTo>
                    <a:pt x="187" y="57"/>
                  </a:lnTo>
                  <a:lnTo>
                    <a:pt x="188" y="67"/>
                  </a:lnTo>
                  <a:lnTo>
                    <a:pt x="188" y="73"/>
                  </a:lnTo>
                  <a:lnTo>
                    <a:pt x="188" y="73"/>
                  </a:lnTo>
                  <a:lnTo>
                    <a:pt x="190" y="86"/>
                  </a:lnTo>
                  <a:lnTo>
                    <a:pt x="190" y="94"/>
                  </a:lnTo>
                  <a:lnTo>
                    <a:pt x="190" y="94"/>
                  </a:lnTo>
                  <a:lnTo>
                    <a:pt x="187" y="97"/>
                  </a:lnTo>
                  <a:lnTo>
                    <a:pt x="182" y="97"/>
                  </a:lnTo>
                  <a:lnTo>
                    <a:pt x="182" y="97"/>
                  </a:lnTo>
                  <a:lnTo>
                    <a:pt x="178" y="96"/>
                  </a:lnTo>
                  <a:lnTo>
                    <a:pt x="175" y="94"/>
                  </a:lnTo>
                  <a:lnTo>
                    <a:pt x="175" y="94"/>
                  </a:lnTo>
                  <a:lnTo>
                    <a:pt x="168" y="45"/>
                  </a:lnTo>
                  <a:lnTo>
                    <a:pt x="168" y="45"/>
                  </a:lnTo>
                  <a:lnTo>
                    <a:pt x="166" y="41"/>
                  </a:lnTo>
                  <a:lnTo>
                    <a:pt x="161" y="35"/>
                  </a:lnTo>
                  <a:lnTo>
                    <a:pt x="155" y="28"/>
                  </a:lnTo>
                  <a:lnTo>
                    <a:pt x="152" y="23"/>
                  </a:lnTo>
                  <a:lnTo>
                    <a:pt x="152" y="23"/>
                  </a:lnTo>
                  <a:lnTo>
                    <a:pt x="150" y="21"/>
                  </a:lnTo>
                  <a:lnTo>
                    <a:pt x="149" y="18"/>
                  </a:lnTo>
                  <a:lnTo>
                    <a:pt x="143" y="15"/>
                  </a:lnTo>
                  <a:lnTo>
                    <a:pt x="136" y="10"/>
                  </a:lnTo>
                  <a:lnTo>
                    <a:pt x="133" y="10"/>
                  </a:lnTo>
                  <a:lnTo>
                    <a:pt x="133" y="10"/>
                  </a:lnTo>
                  <a:lnTo>
                    <a:pt x="132" y="13"/>
                  </a:lnTo>
                  <a:lnTo>
                    <a:pt x="133" y="16"/>
                  </a:lnTo>
                  <a:lnTo>
                    <a:pt x="134" y="21"/>
                  </a:lnTo>
                  <a:lnTo>
                    <a:pt x="137" y="23"/>
                  </a:lnTo>
                  <a:lnTo>
                    <a:pt x="137" y="23"/>
                  </a:lnTo>
                  <a:lnTo>
                    <a:pt x="140" y="25"/>
                  </a:lnTo>
                  <a:lnTo>
                    <a:pt x="143" y="26"/>
                  </a:lnTo>
                  <a:lnTo>
                    <a:pt x="146" y="28"/>
                  </a:lnTo>
                  <a:lnTo>
                    <a:pt x="148" y="32"/>
                  </a:lnTo>
                  <a:lnTo>
                    <a:pt x="148" y="32"/>
                  </a:lnTo>
                  <a:lnTo>
                    <a:pt x="149" y="38"/>
                  </a:lnTo>
                  <a:lnTo>
                    <a:pt x="150" y="41"/>
                  </a:lnTo>
                  <a:lnTo>
                    <a:pt x="152" y="44"/>
                  </a:lnTo>
                  <a:lnTo>
                    <a:pt x="149" y="45"/>
                  </a:lnTo>
                  <a:lnTo>
                    <a:pt x="149" y="45"/>
                  </a:lnTo>
                  <a:lnTo>
                    <a:pt x="142" y="44"/>
                  </a:lnTo>
                  <a:lnTo>
                    <a:pt x="139" y="42"/>
                  </a:lnTo>
                  <a:lnTo>
                    <a:pt x="136" y="44"/>
                  </a:lnTo>
                  <a:lnTo>
                    <a:pt x="136" y="44"/>
                  </a:lnTo>
                  <a:lnTo>
                    <a:pt x="130" y="45"/>
                  </a:lnTo>
                  <a:lnTo>
                    <a:pt x="124" y="48"/>
                  </a:lnTo>
                  <a:lnTo>
                    <a:pt x="120" y="51"/>
                  </a:lnTo>
                  <a:lnTo>
                    <a:pt x="117" y="51"/>
                  </a:lnTo>
                  <a:lnTo>
                    <a:pt x="116" y="51"/>
                  </a:lnTo>
                  <a:lnTo>
                    <a:pt x="116" y="51"/>
                  </a:lnTo>
                  <a:lnTo>
                    <a:pt x="116" y="50"/>
                  </a:lnTo>
                  <a:lnTo>
                    <a:pt x="116" y="47"/>
                  </a:lnTo>
                  <a:lnTo>
                    <a:pt x="121" y="42"/>
                  </a:lnTo>
                  <a:lnTo>
                    <a:pt x="127" y="36"/>
                  </a:lnTo>
                  <a:lnTo>
                    <a:pt x="129" y="34"/>
                  </a:lnTo>
                  <a:lnTo>
                    <a:pt x="129" y="31"/>
                  </a:lnTo>
                  <a:lnTo>
                    <a:pt x="129" y="31"/>
                  </a:lnTo>
                  <a:lnTo>
                    <a:pt x="126" y="26"/>
                  </a:lnTo>
                  <a:lnTo>
                    <a:pt x="123" y="25"/>
                  </a:lnTo>
                  <a:lnTo>
                    <a:pt x="119" y="22"/>
                  </a:lnTo>
                  <a:lnTo>
                    <a:pt x="117" y="19"/>
                  </a:lnTo>
                  <a:lnTo>
                    <a:pt x="117" y="19"/>
                  </a:lnTo>
                  <a:lnTo>
                    <a:pt x="114" y="16"/>
                  </a:lnTo>
                  <a:lnTo>
                    <a:pt x="110" y="13"/>
                  </a:lnTo>
                  <a:lnTo>
                    <a:pt x="107" y="12"/>
                  </a:lnTo>
                  <a:lnTo>
                    <a:pt x="104" y="13"/>
                  </a:lnTo>
                  <a:lnTo>
                    <a:pt x="104" y="13"/>
                  </a:lnTo>
                  <a:lnTo>
                    <a:pt x="103" y="15"/>
                  </a:lnTo>
                  <a:lnTo>
                    <a:pt x="103" y="18"/>
                  </a:lnTo>
                  <a:lnTo>
                    <a:pt x="104" y="21"/>
                  </a:lnTo>
                  <a:lnTo>
                    <a:pt x="104" y="23"/>
                  </a:lnTo>
                  <a:lnTo>
                    <a:pt x="104" y="23"/>
                  </a:lnTo>
                  <a:lnTo>
                    <a:pt x="101" y="35"/>
                  </a:lnTo>
                  <a:lnTo>
                    <a:pt x="100" y="41"/>
                  </a:lnTo>
                  <a:lnTo>
                    <a:pt x="98" y="44"/>
                  </a:lnTo>
                  <a:lnTo>
                    <a:pt x="98" y="44"/>
                  </a:lnTo>
                  <a:lnTo>
                    <a:pt x="98" y="44"/>
                  </a:lnTo>
                  <a:lnTo>
                    <a:pt x="92" y="41"/>
                  </a:lnTo>
                  <a:lnTo>
                    <a:pt x="88" y="39"/>
                  </a:lnTo>
                  <a:lnTo>
                    <a:pt x="88" y="39"/>
                  </a:lnTo>
                  <a:lnTo>
                    <a:pt x="82" y="42"/>
                  </a:lnTo>
                  <a:lnTo>
                    <a:pt x="79" y="44"/>
                  </a:lnTo>
                  <a:lnTo>
                    <a:pt x="77" y="42"/>
                  </a:lnTo>
                  <a:lnTo>
                    <a:pt x="77" y="42"/>
                  </a:lnTo>
                  <a:lnTo>
                    <a:pt x="77" y="39"/>
                  </a:lnTo>
                  <a:lnTo>
                    <a:pt x="77" y="38"/>
                  </a:lnTo>
                  <a:lnTo>
                    <a:pt x="78" y="32"/>
                  </a:lnTo>
                  <a:lnTo>
                    <a:pt x="84" y="25"/>
                  </a:lnTo>
                  <a:lnTo>
                    <a:pt x="84" y="25"/>
                  </a:lnTo>
                  <a:lnTo>
                    <a:pt x="87" y="22"/>
                  </a:lnTo>
                  <a:lnTo>
                    <a:pt x="88" y="19"/>
                  </a:lnTo>
                  <a:lnTo>
                    <a:pt x="88" y="16"/>
                  </a:lnTo>
                  <a:lnTo>
                    <a:pt x="88" y="16"/>
                  </a:lnTo>
                  <a:lnTo>
                    <a:pt x="87" y="8"/>
                  </a:lnTo>
                  <a:lnTo>
                    <a:pt x="85" y="5"/>
                  </a:lnTo>
                  <a:lnTo>
                    <a:pt x="84" y="2"/>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17" name="Freeform 971"/>
            <p:cNvSpPr>
              <a:spLocks/>
            </p:cNvSpPr>
            <p:nvPr/>
          </p:nvSpPr>
          <p:spPr bwMode="auto">
            <a:xfrm>
              <a:off x="1255713" y="1954642"/>
              <a:ext cx="463550" cy="382588"/>
            </a:xfrm>
            <a:custGeom>
              <a:avLst/>
              <a:gdLst>
                <a:gd name="T0" fmla="*/ 56 w 292"/>
                <a:gd name="T1" fmla="*/ 15 h 241"/>
                <a:gd name="T2" fmla="*/ 29 w 292"/>
                <a:gd name="T3" fmla="*/ 35 h 241"/>
                <a:gd name="T4" fmla="*/ 8 w 292"/>
                <a:gd name="T5" fmla="*/ 47 h 241"/>
                <a:gd name="T6" fmla="*/ 17 w 292"/>
                <a:gd name="T7" fmla="*/ 61 h 241"/>
                <a:gd name="T8" fmla="*/ 3 w 292"/>
                <a:gd name="T9" fmla="*/ 73 h 241"/>
                <a:gd name="T10" fmla="*/ 4 w 292"/>
                <a:gd name="T11" fmla="*/ 94 h 241"/>
                <a:gd name="T12" fmla="*/ 17 w 292"/>
                <a:gd name="T13" fmla="*/ 100 h 241"/>
                <a:gd name="T14" fmla="*/ 30 w 292"/>
                <a:gd name="T15" fmla="*/ 107 h 241"/>
                <a:gd name="T16" fmla="*/ 50 w 292"/>
                <a:gd name="T17" fmla="*/ 105 h 241"/>
                <a:gd name="T18" fmla="*/ 45 w 292"/>
                <a:gd name="T19" fmla="*/ 110 h 241"/>
                <a:gd name="T20" fmla="*/ 17 w 292"/>
                <a:gd name="T21" fmla="*/ 122 h 241"/>
                <a:gd name="T22" fmla="*/ 29 w 292"/>
                <a:gd name="T23" fmla="*/ 147 h 241"/>
                <a:gd name="T24" fmla="*/ 45 w 292"/>
                <a:gd name="T25" fmla="*/ 148 h 241"/>
                <a:gd name="T26" fmla="*/ 78 w 292"/>
                <a:gd name="T27" fmla="*/ 142 h 241"/>
                <a:gd name="T28" fmla="*/ 104 w 292"/>
                <a:gd name="T29" fmla="*/ 147 h 241"/>
                <a:gd name="T30" fmla="*/ 111 w 292"/>
                <a:gd name="T31" fmla="*/ 157 h 241"/>
                <a:gd name="T32" fmla="*/ 113 w 292"/>
                <a:gd name="T33" fmla="*/ 165 h 241"/>
                <a:gd name="T34" fmla="*/ 90 w 292"/>
                <a:gd name="T35" fmla="*/ 168 h 241"/>
                <a:gd name="T36" fmla="*/ 50 w 292"/>
                <a:gd name="T37" fmla="*/ 170 h 241"/>
                <a:gd name="T38" fmla="*/ 36 w 292"/>
                <a:gd name="T39" fmla="*/ 178 h 241"/>
                <a:gd name="T40" fmla="*/ 45 w 292"/>
                <a:gd name="T41" fmla="*/ 200 h 241"/>
                <a:gd name="T42" fmla="*/ 62 w 292"/>
                <a:gd name="T43" fmla="*/ 213 h 241"/>
                <a:gd name="T44" fmla="*/ 90 w 292"/>
                <a:gd name="T45" fmla="*/ 223 h 241"/>
                <a:gd name="T46" fmla="*/ 98 w 292"/>
                <a:gd name="T47" fmla="*/ 239 h 241"/>
                <a:gd name="T48" fmla="*/ 130 w 292"/>
                <a:gd name="T49" fmla="*/ 235 h 241"/>
                <a:gd name="T50" fmla="*/ 161 w 292"/>
                <a:gd name="T51" fmla="*/ 228 h 241"/>
                <a:gd name="T52" fmla="*/ 192 w 292"/>
                <a:gd name="T53" fmla="*/ 218 h 241"/>
                <a:gd name="T54" fmla="*/ 223 w 292"/>
                <a:gd name="T55" fmla="*/ 220 h 241"/>
                <a:gd name="T56" fmla="*/ 224 w 292"/>
                <a:gd name="T57" fmla="*/ 229 h 241"/>
                <a:gd name="T58" fmla="*/ 255 w 292"/>
                <a:gd name="T59" fmla="*/ 232 h 241"/>
                <a:gd name="T60" fmla="*/ 281 w 292"/>
                <a:gd name="T61" fmla="*/ 215 h 241"/>
                <a:gd name="T62" fmla="*/ 274 w 292"/>
                <a:gd name="T63" fmla="*/ 204 h 241"/>
                <a:gd name="T64" fmla="*/ 259 w 292"/>
                <a:gd name="T65" fmla="*/ 206 h 241"/>
                <a:gd name="T66" fmla="*/ 246 w 292"/>
                <a:gd name="T67" fmla="*/ 207 h 241"/>
                <a:gd name="T68" fmla="*/ 246 w 292"/>
                <a:gd name="T69" fmla="*/ 197 h 241"/>
                <a:gd name="T70" fmla="*/ 247 w 292"/>
                <a:gd name="T71" fmla="*/ 186 h 241"/>
                <a:gd name="T72" fmla="*/ 265 w 292"/>
                <a:gd name="T73" fmla="*/ 193 h 241"/>
                <a:gd name="T74" fmla="*/ 269 w 292"/>
                <a:gd name="T75" fmla="*/ 186 h 241"/>
                <a:gd name="T76" fmla="*/ 282 w 292"/>
                <a:gd name="T77" fmla="*/ 187 h 241"/>
                <a:gd name="T78" fmla="*/ 291 w 292"/>
                <a:gd name="T79" fmla="*/ 183 h 241"/>
                <a:gd name="T80" fmla="*/ 291 w 292"/>
                <a:gd name="T81" fmla="*/ 174 h 241"/>
                <a:gd name="T82" fmla="*/ 276 w 292"/>
                <a:gd name="T83" fmla="*/ 171 h 241"/>
                <a:gd name="T84" fmla="*/ 256 w 292"/>
                <a:gd name="T85" fmla="*/ 149 h 241"/>
                <a:gd name="T86" fmla="*/ 232 w 292"/>
                <a:gd name="T87" fmla="*/ 120 h 241"/>
                <a:gd name="T88" fmla="*/ 226 w 292"/>
                <a:gd name="T89" fmla="*/ 41 h 241"/>
                <a:gd name="T90" fmla="*/ 197 w 292"/>
                <a:gd name="T91" fmla="*/ 5 h 241"/>
                <a:gd name="T92" fmla="*/ 179 w 292"/>
                <a:gd name="T93" fmla="*/ 6 h 241"/>
                <a:gd name="T94" fmla="*/ 181 w 292"/>
                <a:gd name="T95" fmla="*/ 15 h 241"/>
                <a:gd name="T96" fmla="*/ 185 w 292"/>
                <a:gd name="T97" fmla="*/ 41 h 241"/>
                <a:gd name="T98" fmla="*/ 190 w 292"/>
                <a:gd name="T99" fmla="*/ 94 h 241"/>
                <a:gd name="T100" fmla="*/ 168 w 292"/>
                <a:gd name="T101" fmla="*/ 45 h 241"/>
                <a:gd name="T102" fmla="*/ 150 w 292"/>
                <a:gd name="T103" fmla="*/ 21 h 241"/>
                <a:gd name="T104" fmla="*/ 133 w 292"/>
                <a:gd name="T105" fmla="*/ 16 h 241"/>
                <a:gd name="T106" fmla="*/ 148 w 292"/>
                <a:gd name="T107" fmla="*/ 32 h 241"/>
                <a:gd name="T108" fmla="*/ 142 w 292"/>
                <a:gd name="T109" fmla="*/ 44 h 241"/>
                <a:gd name="T110" fmla="*/ 117 w 292"/>
                <a:gd name="T111" fmla="*/ 51 h 241"/>
                <a:gd name="T112" fmla="*/ 129 w 292"/>
                <a:gd name="T113" fmla="*/ 34 h 241"/>
                <a:gd name="T114" fmla="*/ 117 w 292"/>
                <a:gd name="T115" fmla="*/ 19 h 241"/>
                <a:gd name="T116" fmla="*/ 103 w 292"/>
                <a:gd name="T117" fmla="*/ 18 h 241"/>
                <a:gd name="T118" fmla="*/ 98 w 292"/>
                <a:gd name="T119" fmla="*/ 44 h 241"/>
                <a:gd name="T120" fmla="*/ 77 w 292"/>
                <a:gd name="T121" fmla="*/ 42 h 241"/>
                <a:gd name="T122" fmla="*/ 87 w 292"/>
                <a:gd name="T123" fmla="*/ 2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41">
                  <a:moveTo>
                    <a:pt x="84" y="2"/>
                  </a:moveTo>
                  <a:lnTo>
                    <a:pt x="84" y="2"/>
                  </a:lnTo>
                  <a:lnTo>
                    <a:pt x="78" y="0"/>
                  </a:lnTo>
                  <a:lnTo>
                    <a:pt x="74" y="0"/>
                  </a:lnTo>
                  <a:lnTo>
                    <a:pt x="71" y="2"/>
                  </a:lnTo>
                  <a:lnTo>
                    <a:pt x="71" y="2"/>
                  </a:lnTo>
                  <a:lnTo>
                    <a:pt x="56" y="15"/>
                  </a:lnTo>
                  <a:lnTo>
                    <a:pt x="56" y="15"/>
                  </a:lnTo>
                  <a:lnTo>
                    <a:pt x="46" y="21"/>
                  </a:lnTo>
                  <a:lnTo>
                    <a:pt x="37" y="26"/>
                  </a:lnTo>
                  <a:lnTo>
                    <a:pt x="37" y="26"/>
                  </a:lnTo>
                  <a:lnTo>
                    <a:pt x="33" y="29"/>
                  </a:lnTo>
                  <a:lnTo>
                    <a:pt x="29" y="35"/>
                  </a:lnTo>
                  <a:lnTo>
                    <a:pt x="29" y="35"/>
                  </a:lnTo>
                  <a:lnTo>
                    <a:pt x="26" y="38"/>
                  </a:lnTo>
                  <a:lnTo>
                    <a:pt x="24" y="39"/>
                  </a:lnTo>
                  <a:lnTo>
                    <a:pt x="22" y="41"/>
                  </a:lnTo>
                  <a:lnTo>
                    <a:pt x="22" y="41"/>
                  </a:lnTo>
                  <a:lnTo>
                    <a:pt x="13" y="42"/>
                  </a:lnTo>
                  <a:lnTo>
                    <a:pt x="10" y="45"/>
                  </a:lnTo>
                  <a:lnTo>
                    <a:pt x="8" y="47"/>
                  </a:lnTo>
                  <a:lnTo>
                    <a:pt x="8" y="47"/>
                  </a:lnTo>
                  <a:lnTo>
                    <a:pt x="11" y="52"/>
                  </a:lnTo>
                  <a:lnTo>
                    <a:pt x="13" y="57"/>
                  </a:lnTo>
                  <a:lnTo>
                    <a:pt x="13" y="57"/>
                  </a:lnTo>
                  <a:lnTo>
                    <a:pt x="14" y="58"/>
                  </a:lnTo>
                  <a:lnTo>
                    <a:pt x="16" y="60"/>
                  </a:lnTo>
                  <a:lnTo>
                    <a:pt x="17" y="61"/>
                  </a:lnTo>
                  <a:lnTo>
                    <a:pt x="17" y="63"/>
                  </a:lnTo>
                  <a:lnTo>
                    <a:pt x="17" y="63"/>
                  </a:lnTo>
                  <a:lnTo>
                    <a:pt x="14" y="65"/>
                  </a:lnTo>
                  <a:lnTo>
                    <a:pt x="10" y="68"/>
                  </a:lnTo>
                  <a:lnTo>
                    <a:pt x="6" y="70"/>
                  </a:lnTo>
                  <a:lnTo>
                    <a:pt x="3" y="73"/>
                  </a:lnTo>
                  <a:lnTo>
                    <a:pt x="3" y="73"/>
                  </a:lnTo>
                  <a:lnTo>
                    <a:pt x="1" y="80"/>
                  </a:lnTo>
                  <a:lnTo>
                    <a:pt x="0" y="87"/>
                  </a:lnTo>
                  <a:lnTo>
                    <a:pt x="0" y="87"/>
                  </a:lnTo>
                  <a:lnTo>
                    <a:pt x="1" y="92"/>
                  </a:lnTo>
                  <a:lnTo>
                    <a:pt x="3" y="93"/>
                  </a:lnTo>
                  <a:lnTo>
                    <a:pt x="4" y="94"/>
                  </a:lnTo>
                  <a:lnTo>
                    <a:pt x="4" y="94"/>
                  </a:lnTo>
                  <a:lnTo>
                    <a:pt x="6" y="94"/>
                  </a:lnTo>
                  <a:lnTo>
                    <a:pt x="6" y="97"/>
                  </a:lnTo>
                  <a:lnTo>
                    <a:pt x="7" y="99"/>
                  </a:lnTo>
                  <a:lnTo>
                    <a:pt x="10" y="100"/>
                  </a:lnTo>
                  <a:lnTo>
                    <a:pt x="10" y="100"/>
                  </a:lnTo>
                  <a:lnTo>
                    <a:pt x="16" y="99"/>
                  </a:lnTo>
                  <a:lnTo>
                    <a:pt x="17" y="100"/>
                  </a:lnTo>
                  <a:lnTo>
                    <a:pt x="19" y="100"/>
                  </a:lnTo>
                  <a:lnTo>
                    <a:pt x="19" y="100"/>
                  </a:lnTo>
                  <a:lnTo>
                    <a:pt x="19" y="105"/>
                  </a:lnTo>
                  <a:lnTo>
                    <a:pt x="20" y="107"/>
                  </a:lnTo>
                  <a:lnTo>
                    <a:pt x="22" y="107"/>
                  </a:lnTo>
                  <a:lnTo>
                    <a:pt x="22" y="107"/>
                  </a:lnTo>
                  <a:lnTo>
                    <a:pt x="30" y="107"/>
                  </a:lnTo>
                  <a:lnTo>
                    <a:pt x="35" y="107"/>
                  </a:lnTo>
                  <a:lnTo>
                    <a:pt x="37" y="107"/>
                  </a:lnTo>
                  <a:lnTo>
                    <a:pt x="37" y="107"/>
                  </a:lnTo>
                  <a:lnTo>
                    <a:pt x="40" y="105"/>
                  </a:lnTo>
                  <a:lnTo>
                    <a:pt x="43" y="105"/>
                  </a:lnTo>
                  <a:lnTo>
                    <a:pt x="50" y="105"/>
                  </a:lnTo>
                  <a:lnTo>
                    <a:pt x="50" y="105"/>
                  </a:lnTo>
                  <a:lnTo>
                    <a:pt x="61" y="106"/>
                  </a:lnTo>
                  <a:lnTo>
                    <a:pt x="62" y="107"/>
                  </a:lnTo>
                  <a:lnTo>
                    <a:pt x="62" y="107"/>
                  </a:lnTo>
                  <a:lnTo>
                    <a:pt x="62" y="107"/>
                  </a:lnTo>
                  <a:lnTo>
                    <a:pt x="53" y="109"/>
                  </a:lnTo>
                  <a:lnTo>
                    <a:pt x="48" y="109"/>
                  </a:lnTo>
                  <a:lnTo>
                    <a:pt x="45" y="110"/>
                  </a:lnTo>
                  <a:lnTo>
                    <a:pt x="45" y="110"/>
                  </a:lnTo>
                  <a:lnTo>
                    <a:pt x="40" y="112"/>
                  </a:lnTo>
                  <a:lnTo>
                    <a:pt x="33" y="115"/>
                  </a:lnTo>
                  <a:lnTo>
                    <a:pt x="33" y="115"/>
                  </a:lnTo>
                  <a:lnTo>
                    <a:pt x="29" y="116"/>
                  </a:lnTo>
                  <a:lnTo>
                    <a:pt x="23" y="118"/>
                  </a:lnTo>
                  <a:lnTo>
                    <a:pt x="17" y="122"/>
                  </a:lnTo>
                  <a:lnTo>
                    <a:pt x="17" y="122"/>
                  </a:lnTo>
                  <a:lnTo>
                    <a:pt x="16" y="123"/>
                  </a:lnTo>
                  <a:lnTo>
                    <a:pt x="17" y="129"/>
                  </a:lnTo>
                  <a:lnTo>
                    <a:pt x="20" y="139"/>
                  </a:lnTo>
                  <a:lnTo>
                    <a:pt x="20" y="139"/>
                  </a:lnTo>
                  <a:lnTo>
                    <a:pt x="24" y="145"/>
                  </a:lnTo>
                  <a:lnTo>
                    <a:pt x="29" y="147"/>
                  </a:lnTo>
                  <a:lnTo>
                    <a:pt x="33" y="148"/>
                  </a:lnTo>
                  <a:lnTo>
                    <a:pt x="33" y="148"/>
                  </a:lnTo>
                  <a:lnTo>
                    <a:pt x="37" y="148"/>
                  </a:lnTo>
                  <a:lnTo>
                    <a:pt x="40" y="149"/>
                  </a:lnTo>
                  <a:lnTo>
                    <a:pt x="43" y="149"/>
                  </a:lnTo>
                  <a:lnTo>
                    <a:pt x="45" y="148"/>
                  </a:lnTo>
                  <a:lnTo>
                    <a:pt x="45" y="148"/>
                  </a:lnTo>
                  <a:lnTo>
                    <a:pt x="46" y="147"/>
                  </a:lnTo>
                  <a:lnTo>
                    <a:pt x="50" y="147"/>
                  </a:lnTo>
                  <a:lnTo>
                    <a:pt x="50" y="147"/>
                  </a:lnTo>
                  <a:lnTo>
                    <a:pt x="58" y="148"/>
                  </a:lnTo>
                  <a:lnTo>
                    <a:pt x="65" y="147"/>
                  </a:lnTo>
                  <a:lnTo>
                    <a:pt x="65" y="147"/>
                  </a:lnTo>
                  <a:lnTo>
                    <a:pt x="78" y="142"/>
                  </a:lnTo>
                  <a:lnTo>
                    <a:pt x="85" y="141"/>
                  </a:lnTo>
                  <a:lnTo>
                    <a:pt x="90" y="141"/>
                  </a:lnTo>
                  <a:lnTo>
                    <a:pt x="90" y="141"/>
                  </a:lnTo>
                  <a:lnTo>
                    <a:pt x="95" y="145"/>
                  </a:lnTo>
                  <a:lnTo>
                    <a:pt x="100" y="147"/>
                  </a:lnTo>
                  <a:lnTo>
                    <a:pt x="104" y="147"/>
                  </a:lnTo>
                  <a:lnTo>
                    <a:pt x="104" y="147"/>
                  </a:lnTo>
                  <a:lnTo>
                    <a:pt x="117" y="148"/>
                  </a:lnTo>
                  <a:lnTo>
                    <a:pt x="123" y="149"/>
                  </a:lnTo>
                  <a:lnTo>
                    <a:pt x="124" y="149"/>
                  </a:lnTo>
                  <a:lnTo>
                    <a:pt x="123" y="149"/>
                  </a:lnTo>
                  <a:lnTo>
                    <a:pt x="123" y="149"/>
                  </a:lnTo>
                  <a:lnTo>
                    <a:pt x="116" y="154"/>
                  </a:lnTo>
                  <a:lnTo>
                    <a:pt x="111" y="157"/>
                  </a:lnTo>
                  <a:lnTo>
                    <a:pt x="111" y="157"/>
                  </a:lnTo>
                  <a:lnTo>
                    <a:pt x="114" y="158"/>
                  </a:lnTo>
                  <a:lnTo>
                    <a:pt x="116" y="161"/>
                  </a:lnTo>
                  <a:lnTo>
                    <a:pt x="116" y="161"/>
                  </a:lnTo>
                  <a:lnTo>
                    <a:pt x="116" y="161"/>
                  </a:lnTo>
                  <a:lnTo>
                    <a:pt x="114" y="162"/>
                  </a:lnTo>
                  <a:lnTo>
                    <a:pt x="113" y="165"/>
                  </a:lnTo>
                  <a:lnTo>
                    <a:pt x="113" y="167"/>
                  </a:lnTo>
                  <a:lnTo>
                    <a:pt x="111" y="168"/>
                  </a:lnTo>
                  <a:lnTo>
                    <a:pt x="111" y="168"/>
                  </a:lnTo>
                  <a:lnTo>
                    <a:pt x="106" y="168"/>
                  </a:lnTo>
                  <a:lnTo>
                    <a:pt x="95" y="168"/>
                  </a:lnTo>
                  <a:lnTo>
                    <a:pt x="95" y="168"/>
                  </a:lnTo>
                  <a:lnTo>
                    <a:pt x="90" y="168"/>
                  </a:lnTo>
                  <a:lnTo>
                    <a:pt x="82" y="170"/>
                  </a:lnTo>
                  <a:lnTo>
                    <a:pt x="69" y="173"/>
                  </a:lnTo>
                  <a:lnTo>
                    <a:pt x="69" y="173"/>
                  </a:lnTo>
                  <a:lnTo>
                    <a:pt x="65" y="173"/>
                  </a:lnTo>
                  <a:lnTo>
                    <a:pt x="61" y="171"/>
                  </a:lnTo>
                  <a:lnTo>
                    <a:pt x="56" y="170"/>
                  </a:lnTo>
                  <a:lnTo>
                    <a:pt x="50" y="170"/>
                  </a:lnTo>
                  <a:lnTo>
                    <a:pt x="50" y="170"/>
                  </a:lnTo>
                  <a:lnTo>
                    <a:pt x="39" y="171"/>
                  </a:lnTo>
                  <a:lnTo>
                    <a:pt x="36" y="173"/>
                  </a:lnTo>
                  <a:lnTo>
                    <a:pt x="35" y="174"/>
                  </a:lnTo>
                  <a:lnTo>
                    <a:pt x="36" y="176"/>
                  </a:lnTo>
                  <a:lnTo>
                    <a:pt x="36" y="176"/>
                  </a:lnTo>
                  <a:lnTo>
                    <a:pt x="36" y="178"/>
                  </a:lnTo>
                  <a:lnTo>
                    <a:pt x="36" y="183"/>
                  </a:lnTo>
                  <a:lnTo>
                    <a:pt x="36" y="187"/>
                  </a:lnTo>
                  <a:lnTo>
                    <a:pt x="37" y="190"/>
                  </a:lnTo>
                  <a:lnTo>
                    <a:pt x="37" y="190"/>
                  </a:lnTo>
                  <a:lnTo>
                    <a:pt x="42" y="194"/>
                  </a:lnTo>
                  <a:lnTo>
                    <a:pt x="45" y="196"/>
                  </a:lnTo>
                  <a:lnTo>
                    <a:pt x="45" y="200"/>
                  </a:lnTo>
                  <a:lnTo>
                    <a:pt x="45" y="200"/>
                  </a:lnTo>
                  <a:lnTo>
                    <a:pt x="46" y="203"/>
                  </a:lnTo>
                  <a:lnTo>
                    <a:pt x="48" y="206"/>
                  </a:lnTo>
                  <a:lnTo>
                    <a:pt x="50" y="210"/>
                  </a:lnTo>
                  <a:lnTo>
                    <a:pt x="56" y="213"/>
                  </a:lnTo>
                  <a:lnTo>
                    <a:pt x="56" y="213"/>
                  </a:lnTo>
                  <a:lnTo>
                    <a:pt x="62" y="213"/>
                  </a:lnTo>
                  <a:lnTo>
                    <a:pt x="69" y="215"/>
                  </a:lnTo>
                  <a:lnTo>
                    <a:pt x="77" y="213"/>
                  </a:lnTo>
                  <a:lnTo>
                    <a:pt x="81" y="215"/>
                  </a:lnTo>
                  <a:lnTo>
                    <a:pt x="81" y="215"/>
                  </a:lnTo>
                  <a:lnTo>
                    <a:pt x="87" y="218"/>
                  </a:lnTo>
                  <a:lnTo>
                    <a:pt x="88" y="220"/>
                  </a:lnTo>
                  <a:lnTo>
                    <a:pt x="90" y="223"/>
                  </a:lnTo>
                  <a:lnTo>
                    <a:pt x="90" y="223"/>
                  </a:lnTo>
                  <a:lnTo>
                    <a:pt x="88" y="228"/>
                  </a:lnTo>
                  <a:lnTo>
                    <a:pt x="88" y="231"/>
                  </a:lnTo>
                  <a:lnTo>
                    <a:pt x="90" y="233"/>
                  </a:lnTo>
                  <a:lnTo>
                    <a:pt x="90" y="233"/>
                  </a:lnTo>
                  <a:lnTo>
                    <a:pt x="95" y="238"/>
                  </a:lnTo>
                  <a:lnTo>
                    <a:pt x="98" y="239"/>
                  </a:lnTo>
                  <a:lnTo>
                    <a:pt x="104" y="241"/>
                  </a:lnTo>
                  <a:lnTo>
                    <a:pt x="104" y="241"/>
                  </a:lnTo>
                  <a:lnTo>
                    <a:pt x="110" y="239"/>
                  </a:lnTo>
                  <a:lnTo>
                    <a:pt x="119" y="238"/>
                  </a:lnTo>
                  <a:lnTo>
                    <a:pt x="126" y="235"/>
                  </a:lnTo>
                  <a:lnTo>
                    <a:pt x="130" y="235"/>
                  </a:lnTo>
                  <a:lnTo>
                    <a:pt x="130" y="235"/>
                  </a:lnTo>
                  <a:lnTo>
                    <a:pt x="137" y="238"/>
                  </a:lnTo>
                  <a:lnTo>
                    <a:pt x="142" y="238"/>
                  </a:lnTo>
                  <a:lnTo>
                    <a:pt x="146" y="238"/>
                  </a:lnTo>
                  <a:lnTo>
                    <a:pt x="146" y="238"/>
                  </a:lnTo>
                  <a:lnTo>
                    <a:pt x="150" y="235"/>
                  </a:lnTo>
                  <a:lnTo>
                    <a:pt x="156" y="232"/>
                  </a:lnTo>
                  <a:lnTo>
                    <a:pt x="161" y="228"/>
                  </a:lnTo>
                  <a:lnTo>
                    <a:pt x="163" y="226"/>
                  </a:lnTo>
                  <a:lnTo>
                    <a:pt x="163" y="226"/>
                  </a:lnTo>
                  <a:lnTo>
                    <a:pt x="178" y="225"/>
                  </a:lnTo>
                  <a:lnTo>
                    <a:pt x="185" y="223"/>
                  </a:lnTo>
                  <a:lnTo>
                    <a:pt x="188" y="222"/>
                  </a:lnTo>
                  <a:lnTo>
                    <a:pt x="188" y="222"/>
                  </a:lnTo>
                  <a:lnTo>
                    <a:pt x="192" y="218"/>
                  </a:lnTo>
                  <a:lnTo>
                    <a:pt x="195" y="216"/>
                  </a:lnTo>
                  <a:lnTo>
                    <a:pt x="198" y="216"/>
                  </a:lnTo>
                  <a:lnTo>
                    <a:pt x="198" y="216"/>
                  </a:lnTo>
                  <a:lnTo>
                    <a:pt x="204" y="218"/>
                  </a:lnTo>
                  <a:lnTo>
                    <a:pt x="210" y="219"/>
                  </a:lnTo>
                  <a:lnTo>
                    <a:pt x="210" y="219"/>
                  </a:lnTo>
                  <a:lnTo>
                    <a:pt x="223" y="220"/>
                  </a:lnTo>
                  <a:lnTo>
                    <a:pt x="227" y="220"/>
                  </a:lnTo>
                  <a:lnTo>
                    <a:pt x="227" y="220"/>
                  </a:lnTo>
                  <a:lnTo>
                    <a:pt x="227" y="222"/>
                  </a:lnTo>
                  <a:lnTo>
                    <a:pt x="227" y="222"/>
                  </a:lnTo>
                  <a:lnTo>
                    <a:pt x="224" y="226"/>
                  </a:lnTo>
                  <a:lnTo>
                    <a:pt x="223" y="228"/>
                  </a:lnTo>
                  <a:lnTo>
                    <a:pt x="224" y="229"/>
                  </a:lnTo>
                  <a:lnTo>
                    <a:pt x="224" y="229"/>
                  </a:lnTo>
                  <a:lnTo>
                    <a:pt x="233" y="228"/>
                  </a:lnTo>
                  <a:lnTo>
                    <a:pt x="239" y="228"/>
                  </a:lnTo>
                  <a:lnTo>
                    <a:pt x="243" y="228"/>
                  </a:lnTo>
                  <a:lnTo>
                    <a:pt x="243" y="228"/>
                  </a:lnTo>
                  <a:lnTo>
                    <a:pt x="252" y="232"/>
                  </a:lnTo>
                  <a:lnTo>
                    <a:pt x="255" y="232"/>
                  </a:lnTo>
                  <a:lnTo>
                    <a:pt x="259" y="232"/>
                  </a:lnTo>
                  <a:lnTo>
                    <a:pt x="259" y="232"/>
                  </a:lnTo>
                  <a:lnTo>
                    <a:pt x="269" y="226"/>
                  </a:lnTo>
                  <a:lnTo>
                    <a:pt x="275" y="222"/>
                  </a:lnTo>
                  <a:lnTo>
                    <a:pt x="278" y="219"/>
                  </a:lnTo>
                  <a:lnTo>
                    <a:pt x="278" y="219"/>
                  </a:lnTo>
                  <a:lnTo>
                    <a:pt x="281" y="215"/>
                  </a:lnTo>
                  <a:lnTo>
                    <a:pt x="282" y="213"/>
                  </a:lnTo>
                  <a:lnTo>
                    <a:pt x="282" y="213"/>
                  </a:lnTo>
                  <a:lnTo>
                    <a:pt x="281" y="213"/>
                  </a:lnTo>
                  <a:lnTo>
                    <a:pt x="278" y="213"/>
                  </a:lnTo>
                  <a:lnTo>
                    <a:pt x="276" y="212"/>
                  </a:lnTo>
                  <a:lnTo>
                    <a:pt x="276" y="212"/>
                  </a:lnTo>
                  <a:lnTo>
                    <a:pt x="274" y="204"/>
                  </a:lnTo>
                  <a:lnTo>
                    <a:pt x="271" y="200"/>
                  </a:lnTo>
                  <a:lnTo>
                    <a:pt x="269" y="199"/>
                  </a:lnTo>
                  <a:lnTo>
                    <a:pt x="269" y="199"/>
                  </a:lnTo>
                  <a:lnTo>
                    <a:pt x="268" y="200"/>
                  </a:lnTo>
                  <a:lnTo>
                    <a:pt x="265" y="203"/>
                  </a:lnTo>
                  <a:lnTo>
                    <a:pt x="262" y="206"/>
                  </a:lnTo>
                  <a:lnTo>
                    <a:pt x="259" y="206"/>
                  </a:lnTo>
                  <a:lnTo>
                    <a:pt x="259" y="206"/>
                  </a:lnTo>
                  <a:lnTo>
                    <a:pt x="256" y="204"/>
                  </a:lnTo>
                  <a:lnTo>
                    <a:pt x="255" y="204"/>
                  </a:lnTo>
                  <a:lnTo>
                    <a:pt x="252" y="204"/>
                  </a:lnTo>
                  <a:lnTo>
                    <a:pt x="252" y="204"/>
                  </a:lnTo>
                  <a:lnTo>
                    <a:pt x="247" y="206"/>
                  </a:lnTo>
                  <a:lnTo>
                    <a:pt x="246" y="207"/>
                  </a:lnTo>
                  <a:lnTo>
                    <a:pt x="246" y="204"/>
                  </a:lnTo>
                  <a:lnTo>
                    <a:pt x="246" y="204"/>
                  </a:lnTo>
                  <a:lnTo>
                    <a:pt x="250" y="200"/>
                  </a:lnTo>
                  <a:lnTo>
                    <a:pt x="250" y="199"/>
                  </a:lnTo>
                  <a:lnTo>
                    <a:pt x="250" y="197"/>
                  </a:lnTo>
                  <a:lnTo>
                    <a:pt x="250" y="197"/>
                  </a:lnTo>
                  <a:lnTo>
                    <a:pt x="246" y="197"/>
                  </a:lnTo>
                  <a:lnTo>
                    <a:pt x="243" y="196"/>
                  </a:lnTo>
                  <a:lnTo>
                    <a:pt x="243" y="194"/>
                  </a:lnTo>
                  <a:lnTo>
                    <a:pt x="243" y="194"/>
                  </a:lnTo>
                  <a:lnTo>
                    <a:pt x="245" y="189"/>
                  </a:lnTo>
                  <a:lnTo>
                    <a:pt x="246" y="186"/>
                  </a:lnTo>
                  <a:lnTo>
                    <a:pt x="247" y="186"/>
                  </a:lnTo>
                  <a:lnTo>
                    <a:pt x="247" y="186"/>
                  </a:lnTo>
                  <a:lnTo>
                    <a:pt x="250" y="191"/>
                  </a:lnTo>
                  <a:lnTo>
                    <a:pt x="253" y="194"/>
                  </a:lnTo>
                  <a:lnTo>
                    <a:pt x="256" y="196"/>
                  </a:lnTo>
                  <a:lnTo>
                    <a:pt x="256" y="196"/>
                  </a:lnTo>
                  <a:lnTo>
                    <a:pt x="263" y="196"/>
                  </a:lnTo>
                  <a:lnTo>
                    <a:pt x="265" y="194"/>
                  </a:lnTo>
                  <a:lnTo>
                    <a:pt x="265" y="193"/>
                  </a:lnTo>
                  <a:lnTo>
                    <a:pt x="265" y="193"/>
                  </a:lnTo>
                  <a:lnTo>
                    <a:pt x="259" y="191"/>
                  </a:lnTo>
                  <a:lnTo>
                    <a:pt x="259" y="190"/>
                  </a:lnTo>
                  <a:lnTo>
                    <a:pt x="262" y="189"/>
                  </a:lnTo>
                  <a:lnTo>
                    <a:pt x="262" y="189"/>
                  </a:lnTo>
                  <a:lnTo>
                    <a:pt x="268" y="186"/>
                  </a:lnTo>
                  <a:lnTo>
                    <a:pt x="269" y="186"/>
                  </a:lnTo>
                  <a:lnTo>
                    <a:pt x="271" y="186"/>
                  </a:lnTo>
                  <a:lnTo>
                    <a:pt x="271" y="186"/>
                  </a:lnTo>
                  <a:lnTo>
                    <a:pt x="275" y="187"/>
                  </a:lnTo>
                  <a:lnTo>
                    <a:pt x="278" y="186"/>
                  </a:lnTo>
                  <a:lnTo>
                    <a:pt x="279" y="186"/>
                  </a:lnTo>
                  <a:lnTo>
                    <a:pt x="282" y="187"/>
                  </a:lnTo>
                  <a:lnTo>
                    <a:pt x="282" y="187"/>
                  </a:lnTo>
                  <a:lnTo>
                    <a:pt x="285" y="191"/>
                  </a:lnTo>
                  <a:lnTo>
                    <a:pt x="288" y="191"/>
                  </a:lnTo>
                  <a:lnTo>
                    <a:pt x="289" y="190"/>
                  </a:lnTo>
                  <a:lnTo>
                    <a:pt x="289" y="190"/>
                  </a:lnTo>
                  <a:lnTo>
                    <a:pt x="292" y="186"/>
                  </a:lnTo>
                  <a:lnTo>
                    <a:pt x="292" y="184"/>
                  </a:lnTo>
                  <a:lnTo>
                    <a:pt x="291" y="183"/>
                  </a:lnTo>
                  <a:lnTo>
                    <a:pt x="291" y="183"/>
                  </a:lnTo>
                  <a:lnTo>
                    <a:pt x="287" y="180"/>
                  </a:lnTo>
                  <a:lnTo>
                    <a:pt x="285" y="178"/>
                  </a:lnTo>
                  <a:lnTo>
                    <a:pt x="287" y="177"/>
                  </a:lnTo>
                  <a:lnTo>
                    <a:pt x="287" y="177"/>
                  </a:lnTo>
                  <a:lnTo>
                    <a:pt x="291" y="176"/>
                  </a:lnTo>
                  <a:lnTo>
                    <a:pt x="291" y="174"/>
                  </a:lnTo>
                  <a:lnTo>
                    <a:pt x="291" y="173"/>
                  </a:lnTo>
                  <a:lnTo>
                    <a:pt x="291" y="173"/>
                  </a:lnTo>
                  <a:lnTo>
                    <a:pt x="287" y="168"/>
                  </a:lnTo>
                  <a:lnTo>
                    <a:pt x="284" y="167"/>
                  </a:lnTo>
                  <a:lnTo>
                    <a:pt x="281" y="168"/>
                  </a:lnTo>
                  <a:lnTo>
                    <a:pt x="281" y="168"/>
                  </a:lnTo>
                  <a:lnTo>
                    <a:pt x="276" y="171"/>
                  </a:lnTo>
                  <a:lnTo>
                    <a:pt x="274" y="173"/>
                  </a:lnTo>
                  <a:lnTo>
                    <a:pt x="272" y="171"/>
                  </a:lnTo>
                  <a:lnTo>
                    <a:pt x="272" y="171"/>
                  </a:lnTo>
                  <a:lnTo>
                    <a:pt x="265" y="162"/>
                  </a:lnTo>
                  <a:lnTo>
                    <a:pt x="265" y="162"/>
                  </a:lnTo>
                  <a:lnTo>
                    <a:pt x="259" y="154"/>
                  </a:lnTo>
                  <a:lnTo>
                    <a:pt x="256" y="149"/>
                  </a:lnTo>
                  <a:lnTo>
                    <a:pt x="253" y="148"/>
                  </a:lnTo>
                  <a:lnTo>
                    <a:pt x="253" y="148"/>
                  </a:lnTo>
                  <a:lnTo>
                    <a:pt x="242" y="141"/>
                  </a:lnTo>
                  <a:lnTo>
                    <a:pt x="237" y="136"/>
                  </a:lnTo>
                  <a:lnTo>
                    <a:pt x="233" y="132"/>
                  </a:lnTo>
                  <a:lnTo>
                    <a:pt x="233" y="132"/>
                  </a:lnTo>
                  <a:lnTo>
                    <a:pt x="232" y="120"/>
                  </a:lnTo>
                  <a:lnTo>
                    <a:pt x="230" y="100"/>
                  </a:lnTo>
                  <a:lnTo>
                    <a:pt x="230" y="70"/>
                  </a:lnTo>
                  <a:lnTo>
                    <a:pt x="230" y="70"/>
                  </a:lnTo>
                  <a:lnTo>
                    <a:pt x="227" y="47"/>
                  </a:lnTo>
                  <a:lnTo>
                    <a:pt x="227" y="47"/>
                  </a:lnTo>
                  <a:lnTo>
                    <a:pt x="227" y="44"/>
                  </a:lnTo>
                  <a:lnTo>
                    <a:pt x="226" y="41"/>
                  </a:lnTo>
                  <a:lnTo>
                    <a:pt x="221" y="34"/>
                  </a:lnTo>
                  <a:lnTo>
                    <a:pt x="221" y="34"/>
                  </a:lnTo>
                  <a:lnTo>
                    <a:pt x="208" y="15"/>
                  </a:lnTo>
                  <a:lnTo>
                    <a:pt x="208" y="15"/>
                  </a:lnTo>
                  <a:lnTo>
                    <a:pt x="203" y="8"/>
                  </a:lnTo>
                  <a:lnTo>
                    <a:pt x="198" y="5"/>
                  </a:lnTo>
                  <a:lnTo>
                    <a:pt x="197" y="5"/>
                  </a:lnTo>
                  <a:lnTo>
                    <a:pt x="197" y="5"/>
                  </a:lnTo>
                  <a:lnTo>
                    <a:pt x="195" y="10"/>
                  </a:lnTo>
                  <a:lnTo>
                    <a:pt x="194" y="12"/>
                  </a:lnTo>
                  <a:lnTo>
                    <a:pt x="191" y="12"/>
                  </a:lnTo>
                  <a:lnTo>
                    <a:pt x="191" y="12"/>
                  </a:lnTo>
                  <a:lnTo>
                    <a:pt x="184" y="8"/>
                  </a:lnTo>
                  <a:lnTo>
                    <a:pt x="179" y="6"/>
                  </a:lnTo>
                  <a:lnTo>
                    <a:pt x="179" y="6"/>
                  </a:lnTo>
                  <a:lnTo>
                    <a:pt x="179" y="6"/>
                  </a:lnTo>
                  <a:lnTo>
                    <a:pt x="179" y="6"/>
                  </a:lnTo>
                  <a:lnTo>
                    <a:pt x="181" y="12"/>
                  </a:lnTo>
                  <a:lnTo>
                    <a:pt x="181" y="13"/>
                  </a:lnTo>
                  <a:lnTo>
                    <a:pt x="181" y="15"/>
                  </a:lnTo>
                  <a:lnTo>
                    <a:pt x="181" y="15"/>
                  </a:lnTo>
                  <a:lnTo>
                    <a:pt x="178" y="16"/>
                  </a:lnTo>
                  <a:lnTo>
                    <a:pt x="178" y="18"/>
                  </a:lnTo>
                  <a:lnTo>
                    <a:pt x="178" y="21"/>
                  </a:lnTo>
                  <a:lnTo>
                    <a:pt x="178" y="21"/>
                  </a:lnTo>
                  <a:lnTo>
                    <a:pt x="181" y="31"/>
                  </a:lnTo>
                  <a:lnTo>
                    <a:pt x="185" y="41"/>
                  </a:lnTo>
                  <a:lnTo>
                    <a:pt x="185" y="41"/>
                  </a:lnTo>
                  <a:lnTo>
                    <a:pt x="187" y="57"/>
                  </a:lnTo>
                  <a:lnTo>
                    <a:pt x="188" y="67"/>
                  </a:lnTo>
                  <a:lnTo>
                    <a:pt x="188" y="73"/>
                  </a:lnTo>
                  <a:lnTo>
                    <a:pt x="188" y="73"/>
                  </a:lnTo>
                  <a:lnTo>
                    <a:pt x="190" y="86"/>
                  </a:lnTo>
                  <a:lnTo>
                    <a:pt x="190" y="94"/>
                  </a:lnTo>
                  <a:lnTo>
                    <a:pt x="190" y="94"/>
                  </a:lnTo>
                  <a:lnTo>
                    <a:pt x="187" y="97"/>
                  </a:lnTo>
                  <a:lnTo>
                    <a:pt x="182" y="97"/>
                  </a:lnTo>
                  <a:lnTo>
                    <a:pt x="182" y="97"/>
                  </a:lnTo>
                  <a:lnTo>
                    <a:pt x="178" y="96"/>
                  </a:lnTo>
                  <a:lnTo>
                    <a:pt x="175" y="94"/>
                  </a:lnTo>
                  <a:lnTo>
                    <a:pt x="175" y="94"/>
                  </a:lnTo>
                  <a:lnTo>
                    <a:pt x="168" y="45"/>
                  </a:lnTo>
                  <a:lnTo>
                    <a:pt x="168" y="45"/>
                  </a:lnTo>
                  <a:lnTo>
                    <a:pt x="166" y="41"/>
                  </a:lnTo>
                  <a:lnTo>
                    <a:pt x="161" y="35"/>
                  </a:lnTo>
                  <a:lnTo>
                    <a:pt x="155" y="28"/>
                  </a:lnTo>
                  <a:lnTo>
                    <a:pt x="152" y="23"/>
                  </a:lnTo>
                  <a:lnTo>
                    <a:pt x="152" y="23"/>
                  </a:lnTo>
                  <a:lnTo>
                    <a:pt x="150" y="21"/>
                  </a:lnTo>
                  <a:lnTo>
                    <a:pt x="149" y="18"/>
                  </a:lnTo>
                  <a:lnTo>
                    <a:pt x="143" y="15"/>
                  </a:lnTo>
                  <a:lnTo>
                    <a:pt x="136" y="10"/>
                  </a:lnTo>
                  <a:lnTo>
                    <a:pt x="133" y="10"/>
                  </a:lnTo>
                  <a:lnTo>
                    <a:pt x="133" y="10"/>
                  </a:lnTo>
                  <a:lnTo>
                    <a:pt x="132" y="13"/>
                  </a:lnTo>
                  <a:lnTo>
                    <a:pt x="133" y="16"/>
                  </a:lnTo>
                  <a:lnTo>
                    <a:pt x="134" y="21"/>
                  </a:lnTo>
                  <a:lnTo>
                    <a:pt x="137" y="23"/>
                  </a:lnTo>
                  <a:lnTo>
                    <a:pt x="137" y="23"/>
                  </a:lnTo>
                  <a:lnTo>
                    <a:pt x="140" y="25"/>
                  </a:lnTo>
                  <a:lnTo>
                    <a:pt x="143" y="26"/>
                  </a:lnTo>
                  <a:lnTo>
                    <a:pt x="146" y="28"/>
                  </a:lnTo>
                  <a:lnTo>
                    <a:pt x="148" y="32"/>
                  </a:lnTo>
                  <a:lnTo>
                    <a:pt x="148" y="32"/>
                  </a:lnTo>
                  <a:lnTo>
                    <a:pt x="149" y="38"/>
                  </a:lnTo>
                  <a:lnTo>
                    <a:pt x="150" y="41"/>
                  </a:lnTo>
                  <a:lnTo>
                    <a:pt x="152" y="44"/>
                  </a:lnTo>
                  <a:lnTo>
                    <a:pt x="149" y="45"/>
                  </a:lnTo>
                  <a:lnTo>
                    <a:pt x="149" y="45"/>
                  </a:lnTo>
                  <a:lnTo>
                    <a:pt x="142" y="44"/>
                  </a:lnTo>
                  <a:lnTo>
                    <a:pt x="139" y="42"/>
                  </a:lnTo>
                  <a:lnTo>
                    <a:pt x="136" y="44"/>
                  </a:lnTo>
                  <a:lnTo>
                    <a:pt x="136" y="44"/>
                  </a:lnTo>
                  <a:lnTo>
                    <a:pt x="130" y="45"/>
                  </a:lnTo>
                  <a:lnTo>
                    <a:pt x="124" y="48"/>
                  </a:lnTo>
                  <a:lnTo>
                    <a:pt x="120" y="51"/>
                  </a:lnTo>
                  <a:lnTo>
                    <a:pt x="117" y="51"/>
                  </a:lnTo>
                  <a:lnTo>
                    <a:pt x="116" y="51"/>
                  </a:lnTo>
                  <a:lnTo>
                    <a:pt x="116" y="51"/>
                  </a:lnTo>
                  <a:lnTo>
                    <a:pt x="116" y="50"/>
                  </a:lnTo>
                  <a:lnTo>
                    <a:pt x="116" y="47"/>
                  </a:lnTo>
                  <a:lnTo>
                    <a:pt x="121" y="42"/>
                  </a:lnTo>
                  <a:lnTo>
                    <a:pt x="127" y="36"/>
                  </a:lnTo>
                  <a:lnTo>
                    <a:pt x="129" y="34"/>
                  </a:lnTo>
                  <a:lnTo>
                    <a:pt x="129" y="31"/>
                  </a:lnTo>
                  <a:lnTo>
                    <a:pt x="129" y="31"/>
                  </a:lnTo>
                  <a:lnTo>
                    <a:pt x="126" y="26"/>
                  </a:lnTo>
                  <a:lnTo>
                    <a:pt x="123" y="25"/>
                  </a:lnTo>
                  <a:lnTo>
                    <a:pt x="119" y="22"/>
                  </a:lnTo>
                  <a:lnTo>
                    <a:pt x="117" y="19"/>
                  </a:lnTo>
                  <a:lnTo>
                    <a:pt x="117" y="19"/>
                  </a:lnTo>
                  <a:lnTo>
                    <a:pt x="114" y="16"/>
                  </a:lnTo>
                  <a:lnTo>
                    <a:pt x="110" y="13"/>
                  </a:lnTo>
                  <a:lnTo>
                    <a:pt x="107" y="12"/>
                  </a:lnTo>
                  <a:lnTo>
                    <a:pt x="104" y="13"/>
                  </a:lnTo>
                  <a:lnTo>
                    <a:pt x="104" y="13"/>
                  </a:lnTo>
                  <a:lnTo>
                    <a:pt x="103" y="15"/>
                  </a:lnTo>
                  <a:lnTo>
                    <a:pt x="103" y="18"/>
                  </a:lnTo>
                  <a:lnTo>
                    <a:pt x="104" y="21"/>
                  </a:lnTo>
                  <a:lnTo>
                    <a:pt x="104" y="23"/>
                  </a:lnTo>
                  <a:lnTo>
                    <a:pt x="104" y="23"/>
                  </a:lnTo>
                  <a:lnTo>
                    <a:pt x="101" y="35"/>
                  </a:lnTo>
                  <a:lnTo>
                    <a:pt x="100" y="41"/>
                  </a:lnTo>
                  <a:lnTo>
                    <a:pt x="98" y="44"/>
                  </a:lnTo>
                  <a:lnTo>
                    <a:pt x="98" y="44"/>
                  </a:lnTo>
                  <a:lnTo>
                    <a:pt x="98" y="44"/>
                  </a:lnTo>
                  <a:lnTo>
                    <a:pt x="92" y="41"/>
                  </a:lnTo>
                  <a:lnTo>
                    <a:pt x="88" y="39"/>
                  </a:lnTo>
                  <a:lnTo>
                    <a:pt x="88" y="39"/>
                  </a:lnTo>
                  <a:lnTo>
                    <a:pt x="82" y="42"/>
                  </a:lnTo>
                  <a:lnTo>
                    <a:pt x="79" y="44"/>
                  </a:lnTo>
                  <a:lnTo>
                    <a:pt x="77" y="42"/>
                  </a:lnTo>
                  <a:lnTo>
                    <a:pt x="77" y="42"/>
                  </a:lnTo>
                  <a:lnTo>
                    <a:pt x="77" y="39"/>
                  </a:lnTo>
                  <a:lnTo>
                    <a:pt x="77" y="38"/>
                  </a:lnTo>
                  <a:lnTo>
                    <a:pt x="78" y="32"/>
                  </a:lnTo>
                  <a:lnTo>
                    <a:pt x="84" y="25"/>
                  </a:lnTo>
                  <a:lnTo>
                    <a:pt x="84" y="25"/>
                  </a:lnTo>
                  <a:lnTo>
                    <a:pt x="87" y="22"/>
                  </a:lnTo>
                  <a:lnTo>
                    <a:pt x="88" y="19"/>
                  </a:lnTo>
                  <a:lnTo>
                    <a:pt x="88" y="16"/>
                  </a:lnTo>
                  <a:lnTo>
                    <a:pt x="88" y="16"/>
                  </a:lnTo>
                  <a:lnTo>
                    <a:pt x="87" y="8"/>
                  </a:lnTo>
                  <a:lnTo>
                    <a:pt x="85" y="5"/>
                  </a:lnTo>
                  <a:lnTo>
                    <a:pt x="84"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18" name="Freeform 972"/>
            <p:cNvSpPr>
              <a:spLocks/>
            </p:cNvSpPr>
            <p:nvPr/>
          </p:nvSpPr>
          <p:spPr bwMode="auto">
            <a:xfrm>
              <a:off x="1565275" y="1908604"/>
              <a:ext cx="74613" cy="82550"/>
            </a:xfrm>
            <a:custGeom>
              <a:avLst/>
              <a:gdLst>
                <a:gd name="T0" fmla="*/ 28 w 47"/>
                <a:gd name="T1" fmla="*/ 48 h 52"/>
                <a:gd name="T2" fmla="*/ 28 w 47"/>
                <a:gd name="T3" fmla="*/ 48 h 52"/>
                <a:gd name="T4" fmla="*/ 22 w 47"/>
                <a:gd name="T5" fmla="*/ 39 h 52"/>
                <a:gd name="T6" fmla="*/ 19 w 47"/>
                <a:gd name="T7" fmla="*/ 35 h 52"/>
                <a:gd name="T8" fmla="*/ 15 w 47"/>
                <a:gd name="T9" fmla="*/ 31 h 52"/>
                <a:gd name="T10" fmla="*/ 15 w 47"/>
                <a:gd name="T11" fmla="*/ 31 h 52"/>
                <a:gd name="T12" fmla="*/ 5 w 47"/>
                <a:gd name="T13" fmla="*/ 25 h 52"/>
                <a:gd name="T14" fmla="*/ 2 w 47"/>
                <a:gd name="T15" fmla="*/ 21 h 52"/>
                <a:gd name="T16" fmla="*/ 0 w 47"/>
                <a:gd name="T17" fmla="*/ 18 h 52"/>
                <a:gd name="T18" fmla="*/ 2 w 47"/>
                <a:gd name="T19" fmla="*/ 16 h 52"/>
                <a:gd name="T20" fmla="*/ 2 w 47"/>
                <a:gd name="T21" fmla="*/ 16 h 52"/>
                <a:gd name="T22" fmla="*/ 8 w 47"/>
                <a:gd name="T23" fmla="*/ 3 h 52"/>
                <a:gd name="T24" fmla="*/ 8 w 47"/>
                <a:gd name="T25" fmla="*/ 3 h 52"/>
                <a:gd name="T26" fmla="*/ 13 w 47"/>
                <a:gd name="T27" fmla="*/ 2 h 52"/>
                <a:gd name="T28" fmla="*/ 25 w 47"/>
                <a:gd name="T29" fmla="*/ 0 h 52"/>
                <a:gd name="T30" fmla="*/ 38 w 47"/>
                <a:gd name="T31" fmla="*/ 2 h 52"/>
                <a:gd name="T32" fmla="*/ 42 w 47"/>
                <a:gd name="T33" fmla="*/ 2 h 52"/>
                <a:gd name="T34" fmla="*/ 45 w 47"/>
                <a:gd name="T35" fmla="*/ 3 h 52"/>
                <a:gd name="T36" fmla="*/ 45 w 47"/>
                <a:gd name="T37" fmla="*/ 3 h 52"/>
                <a:gd name="T38" fmla="*/ 47 w 47"/>
                <a:gd name="T39" fmla="*/ 8 h 52"/>
                <a:gd name="T40" fmla="*/ 47 w 47"/>
                <a:gd name="T41" fmla="*/ 10 h 52"/>
                <a:gd name="T42" fmla="*/ 47 w 47"/>
                <a:gd name="T43" fmla="*/ 15 h 52"/>
                <a:gd name="T44" fmla="*/ 45 w 47"/>
                <a:gd name="T45" fmla="*/ 19 h 52"/>
                <a:gd name="T46" fmla="*/ 45 w 47"/>
                <a:gd name="T47" fmla="*/ 19 h 52"/>
                <a:gd name="T48" fmla="*/ 41 w 47"/>
                <a:gd name="T49" fmla="*/ 31 h 52"/>
                <a:gd name="T50" fmla="*/ 39 w 47"/>
                <a:gd name="T51" fmla="*/ 35 h 52"/>
                <a:gd name="T52" fmla="*/ 38 w 47"/>
                <a:gd name="T53" fmla="*/ 38 h 52"/>
                <a:gd name="T54" fmla="*/ 38 w 47"/>
                <a:gd name="T55" fmla="*/ 38 h 52"/>
                <a:gd name="T56" fmla="*/ 35 w 47"/>
                <a:gd name="T57" fmla="*/ 41 h 52"/>
                <a:gd name="T58" fmla="*/ 34 w 47"/>
                <a:gd name="T59" fmla="*/ 44 h 52"/>
                <a:gd name="T60" fmla="*/ 34 w 47"/>
                <a:gd name="T61" fmla="*/ 44 h 52"/>
                <a:gd name="T62" fmla="*/ 31 w 47"/>
                <a:gd name="T63" fmla="*/ 51 h 52"/>
                <a:gd name="T64" fmla="*/ 31 w 47"/>
                <a:gd name="T65" fmla="*/ 52 h 52"/>
                <a:gd name="T66" fmla="*/ 29 w 47"/>
                <a:gd name="T67" fmla="*/ 52 h 52"/>
                <a:gd name="T68" fmla="*/ 28 w 47"/>
                <a:gd name="T69"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 h="52">
                  <a:moveTo>
                    <a:pt x="28" y="48"/>
                  </a:moveTo>
                  <a:lnTo>
                    <a:pt x="28" y="48"/>
                  </a:lnTo>
                  <a:lnTo>
                    <a:pt x="22" y="39"/>
                  </a:lnTo>
                  <a:lnTo>
                    <a:pt x="19" y="35"/>
                  </a:lnTo>
                  <a:lnTo>
                    <a:pt x="15" y="31"/>
                  </a:lnTo>
                  <a:lnTo>
                    <a:pt x="15" y="31"/>
                  </a:lnTo>
                  <a:lnTo>
                    <a:pt x="5" y="25"/>
                  </a:lnTo>
                  <a:lnTo>
                    <a:pt x="2" y="21"/>
                  </a:lnTo>
                  <a:lnTo>
                    <a:pt x="0" y="18"/>
                  </a:lnTo>
                  <a:lnTo>
                    <a:pt x="2" y="16"/>
                  </a:lnTo>
                  <a:lnTo>
                    <a:pt x="2" y="16"/>
                  </a:lnTo>
                  <a:lnTo>
                    <a:pt x="8" y="3"/>
                  </a:lnTo>
                  <a:lnTo>
                    <a:pt x="8" y="3"/>
                  </a:lnTo>
                  <a:lnTo>
                    <a:pt x="13" y="2"/>
                  </a:lnTo>
                  <a:lnTo>
                    <a:pt x="25" y="0"/>
                  </a:lnTo>
                  <a:lnTo>
                    <a:pt x="38" y="2"/>
                  </a:lnTo>
                  <a:lnTo>
                    <a:pt x="42" y="2"/>
                  </a:lnTo>
                  <a:lnTo>
                    <a:pt x="45" y="3"/>
                  </a:lnTo>
                  <a:lnTo>
                    <a:pt x="45" y="3"/>
                  </a:lnTo>
                  <a:lnTo>
                    <a:pt x="47" y="8"/>
                  </a:lnTo>
                  <a:lnTo>
                    <a:pt x="47" y="10"/>
                  </a:lnTo>
                  <a:lnTo>
                    <a:pt x="47" y="15"/>
                  </a:lnTo>
                  <a:lnTo>
                    <a:pt x="45" y="19"/>
                  </a:lnTo>
                  <a:lnTo>
                    <a:pt x="45" y="19"/>
                  </a:lnTo>
                  <a:lnTo>
                    <a:pt x="41" y="31"/>
                  </a:lnTo>
                  <a:lnTo>
                    <a:pt x="39" y="35"/>
                  </a:lnTo>
                  <a:lnTo>
                    <a:pt x="38" y="38"/>
                  </a:lnTo>
                  <a:lnTo>
                    <a:pt x="38" y="38"/>
                  </a:lnTo>
                  <a:lnTo>
                    <a:pt x="35" y="41"/>
                  </a:lnTo>
                  <a:lnTo>
                    <a:pt x="34" y="44"/>
                  </a:lnTo>
                  <a:lnTo>
                    <a:pt x="34" y="44"/>
                  </a:lnTo>
                  <a:lnTo>
                    <a:pt x="31" y="51"/>
                  </a:lnTo>
                  <a:lnTo>
                    <a:pt x="31" y="52"/>
                  </a:lnTo>
                  <a:lnTo>
                    <a:pt x="29" y="52"/>
                  </a:lnTo>
                  <a:lnTo>
                    <a:pt x="28" y="48"/>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19" name="Freeform 973"/>
            <p:cNvSpPr>
              <a:spLocks/>
            </p:cNvSpPr>
            <p:nvPr/>
          </p:nvSpPr>
          <p:spPr bwMode="auto">
            <a:xfrm>
              <a:off x="1565275" y="1908604"/>
              <a:ext cx="74613" cy="82550"/>
            </a:xfrm>
            <a:custGeom>
              <a:avLst/>
              <a:gdLst>
                <a:gd name="T0" fmla="*/ 28 w 47"/>
                <a:gd name="T1" fmla="*/ 48 h 52"/>
                <a:gd name="T2" fmla="*/ 28 w 47"/>
                <a:gd name="T3" fmla="*/ 48 h 52"/>
                <a:gd name="T4" fmla="*/ 22 w 47"/>
                <a:gd name="T5" fmla="*/ 39 h 52"/>
                <a:gd name="T6" fmla="*/ 19 w 47"/>
                <a:gd name="T7" fmla="*/ 35 h 52"/>
                <a:gd name="T8" fmla="*/ 15 w 47"/>
                <a:gd name="T9" fmla="*/ 31 h 52"/>
                <a:gd name="T10" fmla="*/ 15 w 47"/>
                <a:gd name="T11" fmla="*/ 31 h 52"/>
                <a:gd name="T12" fmla="*/ 5 w 47"/>
                <a:gd name="T13" fmla="*/ 25 h 52"/>
                <a:gd name="T14" fmla="*/ 2 w 47"/>
                <a:gd name="T15" fmla="*/ 21 h 52"/>
                <a:gd name="T16" fmla="*/ 0 w 47"/>
                <a:gd name="T17" fmla="*/ 18 h 52"/>
                <a:gd name="T18" fmla="*/ 2 w 47"/>
                <a:gd name="T19" fmla="*/ 16 h 52"/>
                <a:gd name="T20" fmla="*/ 2 w 47"/>
                <a:gd name="T21" fmla="*/ 16 h 52"/>
                <a:gd name="T22" fmla="*/ 8 w 47"/>
                <a:gd name="T23" fmla="*/ 3 h 52"/>
                <a:gd name="T24" fmla="*/ 8 w 47"/>
                <a:gd name="T25" fmla="*/ 3 h 52"/>
                <a:gd name="T26" fmla="*/ 13 w 47"/>
                <a:gd name="T27" fmla="*/ 2 h 52"/>
                <a:gd name="T28" fmla="*/ 25 w 47"/>
                <a:gd name="T29" fmla="*/ 0 h 52"/>
                <a:gd name="T30" fmla="*/ 38 w 47"/>
                <a:gd name="T31" fmla="*/ 2 h 52"/>
                <a:gd name="T32" fmla="*/ 42 w 47"/>
                <a:gd name="T33" fmla="*/ 2 h 52"/>
                <a:gd name="T34" fmla="*/ 45 w 47"/>
                <a:gd name="T35" fmla="*/ 3 h 52"/>
                <a:gd name="T36" fmla="*/ 45 w 47"/>
                <a:gd name="T37" fmla="*/ 3 h 52"/>
                <a:gd name="T38" fmla="*/ 47 w 47"/>
                <a:gd name="T39" fmla="*/ 8 h 52"/>
                <a:gd name="T40" fmla="*/ 47 w 47"/>
                <a:gd name="T41" fmla="*/ 10 h 52"/>
                <a:gd name="T42" fmla="*/ 47 w 47"/>
                <a:gd name="T43" fmla="*/ 15 h 52"/>
                <a:gd name="T44" fmla="*/ 45 w 47"/>
                <a:gd name="T45" fmla="*/ 19 h 52"/>
                <a:gd name="T46" fmla="*/ 45 w 47"/>
                <a:gd name="T47" fmla="*/ 19 h 52"/>
                <a:gd name="T48" fmla="*/ 41 w 47"/>
                <a:gd name="T49" fmla="*/ 31 h 52"/>
                <a:gd name="T50" fmla="*/ 39 w 47"/>
                <a:gd name="T51" fmla="*/ 35 h 52"/>
                <a:gd name="T52" fmla="*/ 38 w 47"/>
                <a:gd name="T53" fmla="*/ 38 h 52"/>
                <a:gd name="T54" fmla="*/ 38 w 47"/>
                <a:gd name="T55" fmla="*/ 38 h 52"/>
                <a:gd name="T56" fmla="*/ 35 w 47"/>
                <a:gd name="T57" fmla="*/ 41 h 52"/>
                <a:gd name="T58" fmla="*/ 34 w 47"/>
                <a:gd name="T59" fmla="*/ 44 h 52"/>
                <a:gd name="T60" fmla="*/ 34 w 47"/>
                <a:gd name="T61" fmla="*/ 44 h 52"/>
                <a:gd name="T62" fmla="*/ 31 w 47"/>
                <a:gd name="T63" fmla="*/ 51 h 52"/>
                <a:gd name="T64" fmla="*/ 31 w 47"/>
                <a:gd name="T65" fmla="*/ 52 h 52"/>
                <a:gd name="T66" fmla="*/ 29 w 47"/>
                <a:gd name="T67" fmla="*/ 52 h 52"/>
                <a:gd name="T68" fmla="*/ 28 w 47"/>
                <a:gd name="T69"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 h="52">
                  <a:moveTo>
                    <a:pt x="28" y="48"/>
                  </a:moveTo>
                  <a:lnTo>
                    <a:pt x="28" y="48"/>
                  </a:lnTo>
                  <a:lnTo>
                    <a:pt x="22" y="39"/>
                  </a:lnTo>
                  <a:lnTo>
                    <a:pt x="19" y="35"/>
                  </a:lnTo>
                  <a:lnTo>
                    <a:pt x="15" y="31"/>
                  </a:lnTo>
                  <a:lnTo>
                    <a:pt x="15" y="31"/>
                  </a:lnTo>
                  <a:lnTo>
                    <a:pt x="5" y="25"/>
                  </a:lnTo>
                  <a:lnTo>
                    <a:pt x="2" y="21"/>
                  </a:lnTo>
                  <a:lnTo>
                    <a:pt x="0" y="18"/>
                  </a:lnTo>
                  <a:lnTo>
                    <a:pt x="2" y="16"/>
                  </a:lnTo>
                  <a:lnTo>
                    <a:pt x="2" y="16"/>
                  </a:lnTo>
                  <a:lnTo>
                    <a:pt x="8" y="3"/>
                  </a:lnTo>
                  <a:lnTo>
                    <a:pt x="8" y="3"/>
                  </a:lnTo>
                  <a:lnTo>
                    <a:pt x="13" y="2"/>
                  </a:lnTo>
                  <a:lnTo>
                    <a:pt x="25" y="0"/>
                  </a:lnTo>
                  <a:lnTo>
                    <a:pt x="38" y="2"/>
                  </a:lnTo>
                  <a:lnTo>
                    <a:pt x="42" y="2"/>
                  </a:lnTo>
                  <a:lnTo>
                    <a:pt x="45" y="3"/>
                  </a:lnTo>
                  <a:lnTo>
                    <a:pt x="45" y="3"/>
                  </a:lnTo>
                  <a:lnTo>
                    <a:pt x="47" y="8"/>
                  </a:lnTo>
                  <a:lnTo>
                    <a:pt x="47" y="10"/>
                  </a:lnTo>
                  <a:lnTo>
                    <a:pt x="47" y="15"/>
                  </a:lnTo>
                  <a:lnTo>
                    <a:pt x="45" y="19"/>
                  </a:lnTo>
                  <a:lnTo>
                    <a:pt x="45" y="19"/>
                  </a:lnTo>
                  <a:lnTo>
                    <a:pt x="41" y="31"/>
                  </a:lnTo>
                  <a:lnTo>
                    <a:pt x="39" y="35"/>
                  </a:lnTo>
                  <a:lnTo>
                    <a:pt x="38" y="38"/>
                  </a:lnTo>
                  <a:lnTo>
                    <a:pt x="38" y="38"/>
                  </a:lnTo>
                  <a:lnTo>
                    <a:pt x="35" y="41"/>
                  </a:lnTo>
                  <a:lnTo>
                    <a:pt x="34" y="44"/>
                  </a:lnTo>
                  <a:lnTo>
                    <a:pt x="34" y="44"/>
                  </a:lnTo>
                  <a:lnTo>
                    <a:pt x="31" y="51"/>
                  </a:lnTo>
                  <a:lnTo>
                    <a:pt x="31" y="52"/>
                  </a:lnTo>
                  <a:lnTo>
                    <a:pt x="29" y="52"/>
                  </a:lnTo>
                  <a:lnTo>
                    <a:pt x="28" y="4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20" name="Freeform 974"/>
            <p:cNvSpPr>
              <a:spLocks/>
            </p:cNvSpPr>
            <p:nvPr/>
          </p:nvSpPr>
          <p:spPr bwMode="auto">
            <a:xfrm>
              <a:off x="868363" y="2262617"/>
              <a:ext cx="19050" cy="28575"/>
            </a:xfrm>
            <a:custGeom>
              <a:avLst/>
              <a:gdLst>
                <a:gd name="T0" fmla="*/ 11 w 12"/>
                <a:gd name="T1" fmla="*/ 16 h 18"/>
                <a:gd name="T2" fmla="*/ 11 w 12"/>
                <a:gd name="T3" fmla="*/ 16 h 18"/>
                <a:gd name="T4" fmla="*/ 5 w 12"/>
                <a:gd name="T5" fmla="*/ 18 h 18"/>
                <a:gd name="T6" fmla="*/ 2 w 12"/>
                <a:gd name="T7" fmla="*/ 16 h 18"/>
                <a:gd name="T8" fmla="*/ 0 w 12"/>
                <a:gd name="T9" fmla="*/ 15 h 18"/>
                <a:gd name="T10" fmla="*/ 0 w 12"/>
                <a:gd name="T11" fmla="*/ 15 h 18"/>
                <a:gd name="T12" fmla="*/ 2 w 12"/>
                <a:gd name="T13" fmla="*/ 6 h 18"/>
                <a:gd name="T14" fmla="*/ 2 w 12"/>
                <a:gd name="T15" fmla="*/ 2 h 18"/>
                <a:gd name="T16" fmla="*/ 3 w 12"/>
                <a:gd name="T17" fmla="*/ 0 h 18"/>
                <a:gd name="T18" fmla="*/ 3 w 12"/>
                <a:gd name="T19" fmla="*/ 0 h 18"/>
                <a:gd name="T20" fmla="*/ 6 w 12"/>
                <a:gd name="T21" fmla="*/ 3 h 18"/>
                <a:gd name="T22" fmla="*/ 9 w 12"/>
                <a:gd name="T23" fmla="*/ 8 h 18"/>
                <a:gd name="T24" fmla="*/ 12 w 12"/>
                <a:gd name="T25" fmla="*/ 13 h 18"/>
                <a:gd name="T26" fmla="*/ 12 w 12"/>
                <a:gd name="T27" fmla="*/ 15 h 18"/>
                <a:gd name="T28" fmla="*/ 11 w 12"/>
                <a:gd name="T29"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8">
                  <a:moveTo>
                    <a:pt x="11" y="16"/>
                  </a:moveTo>
                  <a:lnTo>
                    <a:pt x="11" y="16"/>
                  </a:lnTo>
                  <a:lnTo>
                    <a:pt x="5" y="18"/>
                  </a:lnTo>
                  <a:lnTo>
                    <a:pt x="2" y="16"/>
                  </a:lnTo>
                  <a:lnTo>
                    <a:pt x="0" y="15"/>
                  </a:lnTo>
                  <a:lnTo>
                    <a:pt x="0" y="15"/>
                  </a:lnTo>
                  <a:lnTo>
                    <a:pt x="2" y="6"/>
                  </a:lnTo>
                  <a:lnTo>
                    <a:pt x="2" y="2"/>
                  </a:lnTo>
                  <a:lnTo>
                    <a:pt x="3" y="0"/>
                  </a:lnTo>
                  <a:lnTo>
                    <a:pt x="3" y="0"/>
                  </a:lnTo>
                  <a:lnTo>
                    <a:pt x="6" y="3"/>
                  </a:lnTo>
                  <a:lnTo>
                    <a:pt x="9" y="8"/>
                  </a:lnTo>
                  <a:lnTo>
                    <a:pt x="12" y="13"/>
                  </a:lnTo>
                  <a:lnTo>
                    <a:pt x="12" y="15"/>
                  </a:lnTo>
                  <a:lnTo>
                    <a:pt x="11" y="16"/>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21" name="Freeform 975"/>
            <p:cNvSpPr>
              <a:spLocks/>
            </p:cNvSpPr>
            <p:nvPr/>
          </p:nvSpPr>
          <p:spPr bwMode="auto">
            <a:xfrm>
              <a:off x="868363" y="2262617"/>
              <a:ext cx="19050" cy="28575"/>
            </a:xfrm>
            <a:custGeom>
              <a:avLst/>
              <a:gdLst>
                <a:gd name="T0" fmla="*/ 11 w 12"/>
                <a:gd name="T1" fmla="*/ 16 h 18"/>
                <a:gd name="T2" fmla="*/ 11 w 12"/>
                <a:gd name="T3" fmla="*/ 16 h 18"/>
                <a:gd name="T4" fmla="*/ 5 w 12"/>
                <a:gd name="T5" fmla="*/ 18 h 18"/>
                <a:gd name="T6" fmla="*/ 2 w 12"/>
                <a:gd name="T7" fmla="*/ 16 h 18"/>
                <a:gd name="T8" fmla="*/ 0 w 12"/>
                <a:gd name="T9" fmla="*/ 15 h 18"/>
                <a:gd name="T10" fmla="*/ 0 w 12"/>
                <a:gd name="T11" fmla="*/ 15 h 18"/>
                <a:gd name="T12" fmla="*/ 2 w 12"/>
                <a:gd name="T13" fmla="*/ 6 h 18"/>
                <a:gd name="T14" fmla="*/ 2 w 12"/>
                <a:gd name="T15" fmla="*/ 2 h 18"/>
                <a:gd name="T16" fmla="*/ 3 w 12"/>
                <a:gd name="T17" fmla="*/ 0 h 18"/>
                <a:gd name="T18" fmla="*/ 3 w 12"/>
                <a:gd name="T19" fmla="*/ 0 h 18"/>
                <a:gd name="T20" fmla="*/ 6 w 12"/>
                <a:gd name="T21" fmla="*/ 3 h 18"/>
                <a:gd name="T22" fmla="*/ 9 w 12"/>
                <a:gd name="T23" fmla="*/ 8 h 18"/>
                <a:gd name="T24" fmla="*/ 12 w 12"/>
                <a:gd name="T25" fmla="*/ 13 h 18"/>
                <a:gd name="T26" fmla="*/ 12 w 12"/>
                <a:gd name="T27" fmla="*/ 15 h 18"/>
                <a:gd name="T28" fmla="*/ 11 w 12"/>
                <a:gd name="T29"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8">
                  <a:moveTo>
                    <a:pt x="11" y="16"/>
                  </a:moveTo>
                  <a:lnTo>
                    <a:pt x="11" y="16"/>
                  </a:lnTo>
                  <a:lnTo>
                    <a:pt x="5" y="18"/>
                  </a:lnTo>
                  <a:lnTo>
                    <a:pt x="2" y="16"/>
                  </a:lnTo>
                  <a:lnTo>
                    <a:pt x="0" y="15"/>
                  </a:lnTo>
                  <a:lnTo>
                    <a:pt x="0" y="15"/>
                  </a:lnTo>
                  <a:lnTo>
                    <a:pt x="2" y="6"/>
                  </a:lnTo>
                  <a:lnTo>
                    <a:pt x="2" y="2"/>
                  </a:lnTo>
                  <a:lnTo>
                    <a:pt x="3" y="0"/>
                  </a:lnTo>
                  <a:lnTo>
                    <a:pt x="3" y="0"/>
                  </a:lnTo>
                  <a:lnTo>
                    <a:pt x="6" y="3"/>
                  </a:lnTo>
                  <a:lnTo>
                    <a:pt x="9" y="8"/>
                  </a:lnTo>
                  <a:lnTo>
                    <a:pt x="12" y="13"/>
                  </a:lnTo>
                  <a:lnTo>
                    <a:pt x="12" y="15"/>
                  </a:lnTo>
                  <a:lnTo>
                    <a:pt x="11"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22" name="Freeform 976"/>
            <p:cNvSpPr>
              <a:spLocks/>
            </p:cNvSpPr>
            <p:nvPr/>
          </p:nvSpPr>
          <p:spPr bwMode="auto">
            <a:xfrm>
              <a:off x="1846263" y="1886379"/>
              <a:ext cx="142875" cy="195263"/>
            </a:xfrm>
            <a:custGeom>
              <a:avLst/>
              <a:gdLst>
                <a:gd name="T0" fmla="*/ 23 w 90"/>
                <a:gd name="T1" fmla="*/ 123 h 123"/>
                <a:gd name="T2" fmla="*/ 17 w 90"/>
                <a:gd name="T3" fmla="*/ 121 h 123"/>
                <a:gd name="T4" fmla="*/ 22 w 90"/>
                <a:gd name="T5" fmla="*/ 119 h 123"/>
                <a:gd name="T6" fmla="*/ 14 w 90"/>
                <a:gd name="T7" fmla="*/ 116 h 123"/>
                <a:gd name="T8" fmla="*/ 13 w 90"/>
                <a:gd name="T9" fmla="*/ 111 h 123"/>
                <a:gd name="T10" fmla="*/ 14 w 90"/>
                <a:gd name="T11" fmla="*/ 95 h 123"/>
                <a:gd name="T12" fmla="*/ 9 w 90"/>
                <a:gd name="T13" fmla="*/ 90 h 123"/>
                <a:gd name="T14" fmla="*/ 1 w 90"/>
                <a:gd name="T15" fmla="*/ 85 h 123"/>
                <a:gd name="T16" fmla="*/ 1 w 90"/>
                <a:gd name="T17" fmla="*/ 84 h 123"/>
                <a:gd name="T18" fmla="*/ 6 w 90"/>
                <a:gd name="T19" fmla="*/ 79 h 123"/>
                <a:gd name="T20" fmla="*/ 1 w 90"/>
                <a:gd name="T21" fmla="*/ 71 h 123"/>
                <a:gd name="T22" fmla="*/ 0 w 90"/>
                <a:gd name="T23" fmla="*/ 62 h 123"/>
                <a:gd name="T24" fmla="*/ 4 w 90"/>
                <a:gd name="T25" fmla="*/ 56 h 123"/>
                <a:gd name="T26" fmla="*/ 3 w 90"/>
                <a:gd name="T27" fmla="*/ 37 h 123"/>
                <a:gd name="T28" fmla="*/ 3 w 90"/>
                <a:gd name="T29" fmla="*/ 23 h 123"/>
                <a:gd name="T30" fmla="*/ 4 w 90"/>
                <a:gd name="T31" fmla="*/ 23 h 123"/>
                <a:gd name="T32" fmla="*/ 7 w 90"/>
                <a:gd name="T33" fmla="*/ 27 h 123"/>
                <a:gd name="T34" fmla="*/ 12 w 90"/>
                <a:gd name="T35" fmla="*/ 24 h 123"/>
                <a:gd name="T36" fmla="*/ 13 w 90"/>
                <a:gd name="T37" fmla="*/ 16 h 123"/>
                <a:gd name="T38" fmla="*/ 10 w 90"/>
                <a:gd name="T39" fmla="*/ 9 h 123"/>
                <a:gd name="T40" fmla="*/ 13 w 90"/>
                <a:gd name="T41" fmla="*/ 4 h 123"/>
                <a:gd name="T42" fmla="*/ 29 w 90"/>
                <a:gd name="T43" fmla="*/ 7 h 123"/>
                <a:gd name="T44" fmla="*/ 30 w 90"/>
                <a:gd name="T45" fmla="*/ 6 h 123"/>
                <a:gd name="T46" fmla="*/ 33 w 90"/>
                <a:gd name="T47" fmla="*/ 0 h 123"/>
                <a:gd name="T48" fmla="*/ 49 w 90"/>
                <a:gd name="T49" fmla="*/ 0 h 123"/>
                <a:gd name="T50" fmla="*/ 56 w 90"/>
                <a:gd name="T51" fmla="*/ 9 h 123"/>
                <a:gd name="T52" fmla="*/ 61 w 90"/>
                <a:gd name="T53" fmla="*/ 11 h 123"/>
                <a:gd name="T54" fmla="*/ 61 w 90"/>
                <a:gd name="T55" fmla="*/ 9 h 123"/>
                <a:gd name="T56" fmla="*/ 65 w 90"/>
                <a:gd name="T57" fmla="*/ 7 h 123"/>
                <a:gd name="T58" fmla="*/ 72 w 90"/>
                <a:gd name="T59" fmla="*/ 6 h 123"/>
                <a:gd name="T60" fmla="*/ 78 w 90"/>
                <a:gd name="T61" fmla="*/ 6 h 123"/>
                <a:gd name="T62" fmla="*/ 88 w 90"/>
                <a:gd name="T63" fmla="*/ 10 h 123"/>
                <a:gd name="T64" fmla="*/ 90 w 90"/>
                <a:gd name="T65" fmla="*/ 16 h 123"/>
                <a:gd name="T66" fmla="*/ 83 w 90"/>
                <a:gd name="T67" fmla="*/ 33 h 123"/>
                <a:gd name="T68" fmla="*/ 77 w 90"/>
                <a:gd name="T69" fmla="*/ 42 h 123"/>
                <a:gd name="T70" fmla="*/ 72 w 90"/>
                <a:gd name="T71" fmla="*/ 49 h 123"/>
                <a:gd name="T72" fmla="*/ 72 w 90"/>
                <a:gd name="T73" fmla="*/ 62 h 123"/>
                <a:gd name="T74" fmla="*/ 61 w 90"/>
                <a:gd name="T75" fmla="*/ 77 h 123"/>
                <a:gd name="T76" fmla="*/ 46 w 90"/>
                <a:gd name="T77" fmla="*/ 79 h 123"/>
                <a:gd name="T78" fmla="*/ 42 w 90"/>
                <a:gd name="T79" fmla="*/ 78 h 123"/>
                <a:gd name="T80" fmla="*/ 35 w 90"/>
                <a:gd name="T81" fmla="*/ 84 h 123"/>
                <a:gd name="T82" fmla="*/ 28 w 90"/>
                <a:gd name="T83" fmla="*/ 87 h 123"/>
                <a:gd name="T84" fmla="*/ 30 w 90"/>
                <a:gd name="T85" fmla="*/ 95 h 123"/>
                <a:gd name="T86" fmla="*/ 38 w 90"/>
                <a:gd name="T87" fmla="*/ 110 h 123"/>
                <a:gd name="T88" fmla="*/ 32 w 90"/>
                <a:gd name="T89"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 h="123">
                  <a:moveTo>
                    <a:pt x="32" y="123"/>
                  </a:moveTo>
                  <a:lnTo>
                    <a:pt x="32" y="123"/>
                  </a:lnTo>
                  <a:lnTo>
                    <a:pt x="23" y="123"/>
                  </a:lnTo>
                  <a:lnTo>
                    <a:pt x="19" y="123"/>
                  </a:lnTo>
                  <a:lnTo>
                    <a:pt x="17" y="121"/>
                  </a:lnTo>
                  <a:lnTo>
                    <a:pt x="17" y="121"/>
                  </a:lnTo>
                  <a:lnTo>
                    <a:pt x="17" y="121"/>
                  </a:lnTo>
                  <a:lnTo>
                    <a:pt x="20" y="119"/>
                  </a:lnTo>
                  <a:lnTo>
                    <a:pt x="22" y="119"/>
                  </a:lnTo>
                  <a:lnTo>
                    <a:pt x="20" y="117"/>
                  </a:lnTo>
                  <a:lnTo>
                    <a:pt x="20" y="117"/>
                  </a:lnTo>
                  <a:lnTo>
                    <a:pt x="14" y="116"/>
                  </a:lnTo>
                  <a:lnTo>
                    <a:pt x="14" y="113"/>
                  </a:lnTo>
                  <a:lnTo>
                    <a:pt x="13" y="111"/>
                  </a:lnTo>
                  <a:lnTo>
                    <a:pt x="13" y="111"/>
                  </a:lnTo>
                  <a:lnTo>
                    <a:pt x="14" y="104"/>
                  </a:lnTo>
                  <a:lnTo>
                    <a:pt x="16" y="100"/>
                  </a:lnTo>
                  <a:lnTo>
                    <a:pt x="14" y="95"/>
                  </a:lnTo>
                  <a:lnTo>
                    <a:pt x="14" y="95"/>
                  </a:lnTo>
                  <a:lnTo>
                    <a:pt x="10" y="91"/>
                  </a:lnTo>
                  <a:lnTo>
                    <a:pt x="9" y="90"/>
                  </a:lnTo>
                  <a:lnTo>
                    <a:pt x="7" y="88"/>
                  </a:lnTo>
                  <a:lnTo>
                    <a:pt x="7" y="88"/>
                  </a:lnTo>
                  <a:lnTo>
                    <a:pt x="1" y="85"/>
                  </a:lnTo>
                  <a:lnTo>
                    <a:pt x="0" y="84"/>
                  </a:lnTo>
                  <a:lnTo>
                    <a:pt x="1" y="84"/>
                  </a:lnTo>
                  <a:lnTo>
                    <a:pt x="1" y="84"/>
                  </a:lnTo>
                  <a:lnTo>
                    <a:pt x="4" y="82"/>
                  </a:lnTo>
                  <a:lnTo>
                    <a:pt x="4" y="81"/>
                  </a:lnTo>
                  <a:lnTo>
                    <a:pt x="6" y="79"/>
                  </a:lnTo>
                  <a:lnTo>
                    <a:pt x="6" y="79"/>
                  </a:lnTo>
                  <a:lnTo>
                    <a:pt x="4" y="75"/>
                  </a:lnTo>
                  <a:lnTo>
                    <a:pt x="1" y="71"/>
                  </a:lnTo>
                  <a:lnTo>
                    <a:pt x="0" y="65"/>
                  </a:lnTo>
                  <a:lnTo>
                    <a:pt x="0" y="62"/>
                  </a:lnTo>
                  <a:lnTo>
                    <a:pt x="0" y="62"/>
                  </a:lnTo>
                  <a:lnTo>
                    <a:pt x="3" y="59"/>
                  </a:lnTo>
                  <a:lnTo>
                    <a:pt x="4" y="59"/>
                  </a:lnTo>
                  <a:lnTo>
                    <a:pt x="4" y="56"/>
                  </a:lnTo>
                  <a:lnTo>
                    <a:pt x="4" y="56"/>
                  </a:lnTo>
                  <a:lnTo>
                    <a:pt x="3" y="46"/>
                  </a:lnTo>
                  <a:lnTo>
                    <a:pt x="3" y="37"/>
                  </a:lnTo>
                  <a:lnTo>
                    <a:pt x="3" y="37"/>
                  </a:lnTo>
                  <a:lnTo>
                    <a:pt x="3" y="27"/>
                  </a:lnTo>
                  <a:lnTo>
                    <a:pt x="3" y="23"/>
                  </a:lnTo>
                  <a:lnTo>
                    <a:pt x="3" y="23"/>
                  </a:lnTo>
                  <a:lnTo>
                    <a:pt x="4" y="23"/>
                  </a:lnTo>
                  <a:lnTo>
                    <a:pt x="4" y="23"/>
                  </a:lnTo>
                  <a:lnTo>
                    <a:pt x="6" y="24"/>
                  </a:lnTo>
                  <a:lnTo>
                    <a:pt x="7" y="26"/>
                  </a:lnTo>
                  <a:lnTo>
                    <a:pt x="7" y="27"/>
                  </a:lnTo>
                  <a:lnTo>
                    <a:pt x="9" y="26"/>
                  </a:lnTo>
                  <a:lnTo>
                    <a:pt x="9" y="26"/>
                  </a:lnTo>
                  <a:lnTo>
                    <a:pt x="12" y="24"/>
                  </a:lnTo>
                  <a:lnTo>
                    <a:pt x="13" y="22"/>
                  </a:lnTo>
                  <a:lnTo>
                    <a:pt x="14" y="19"/>
                  </a:lnTo>
                  <a:lnTo>
                    <a:pt x="13" y="16"/>
                  </a:lnTo>
                  <a:lnTo>
                    <a:pt x="13" y="16"/>
                  </a:lnTo>
                  <a:lnTo>
                    <a:pt x="10" y="13"/>
                  </a:lnTo>
                  <a:lnTo>
                    <a:pt x="10" y="9"/>
                  </a:lnTo>
                  <a:lnTo>
                    <a:pt x="10" y="6"/>
                  </a:lnTo>
                  <a:lnTo>
                    <a:pt x="13" y="4"/>
                  </a:lnTo>
                  <a:lnTo>
                    <a:pt x="13" y="4"/>
                  </a:lnTo>
                  <a:lnTo>
                    <a:pt x="17" y="6"/>
                  </a:lnTo>
                  <a:lnTo>
                    <a:pt x="23" y="7"/>
                  </a:lnTo>
                  <a:lnTo>
                    <a:pt x="29" y="7"/>
                  </a:lnTo>
                  <a:lnTo>
                    <a:pt x="30" y="7"/>
                  </a:lnTo>
                  <a:lnTo>
                    <a:pt x="30" y="6"/>
                  </a:lnTo>
                  <a:lnTo>
                    <a:pt x="30" y="6"/>
                  </a:lnTo>
                  <a:lnTo>
                    <a:pt x="29" y="1"/>
                  </a:lnTo>
                  <a:lnTo>
                    <a:pt x="30" y="0"/>
                  </a:lnTo>
                  <a:lnTo>
                    <a:pt x="33" y="0"/>
                  </a:lnTo>
                  <a:lnTo>
                    <a:pt x="33" y="0"/>
                  </a:lnTo>
                  <a:lnTo>
                    <a:pt x="45" y="0"/>
                  </a:lnTo>
                  <a:lnTo>
                    <a:pt x="49" y="0"/>
                  </a:lnTo>
                  <a:lnTo>
                    <a:pt x="52" y="3"/>
                  </a:lnTo>
                  <a:lnTo>
                    <a:pt x="52" y="3"/>
                  </a:lnTo>
                  <a:lnTo>
                    <a:pt x="56" y="9"/>
                  </a:lnTo>
                  <a:lnTo>
                    <a:pt x="58" y="11"/>
                  </a:lnTo>
                  <a:lnTo>
                    <a:pt x="61" y="11"/>
                  </a:lnTo>
                  <a:lnTo>
                    <a:pt x="61" y="11"/>
                  </a:lnTo>
                  <a:lnTo>
                    <a:pt x="61" y="11"/>
                  </a:lnTo>
                  <a:lnTo>
                    <a:pt x="61" y="11"/>
                  </a:lnTo>
                  <a:lnTo>
                    <a:pt x="61" y="9"/>
                  </a:lnTo>
                  <a:lnTo>
                    <a:pt x="61" y="7"/>
                  </a:lnTo>
                  <a:lnTo>
                    <a:pt x="65" y="7"/>
                  </a:lnTo>
                  <a:lnTo>
                    <a:pt x="65" y="7"/>
                  </a:lnTo>
                  <a:lnTo>
                    <a:pt x="70" y="7"/>
                  </a:lnTo>
                  <a:lnTo>
                    <a:pt x="72" y="7"/>
                  </a:lnTo>
                  <a:lnTo>
                    <a:pt x="72" y="6"/>
                  </a:lnTo>
                  <a:lnTo>
                    <a:pt x="74" y="4"/>
                  </a:lnTo>
                  <a:lnTo>
                    <a:pt x="74" y="4"/>
                  </a:lnTo>
                  <a:lnTo>
                    <a:pt x="78" y="6"/>
                  </a:lnTo>
                  <a:lnTo>
                    <a:pt x="84" y="9"/>
                  </a:lnTo>
                  <a:lnTo>
                    <a:pt x="84" y="9"/>
                  </a:lnTo>
                  <a:lnTo>
                    <a:pt x="88" y="10"/>
                  </a:lnTo>
                  <a:lnTo>
                    <a:pt x="90" y="11"/>
                  </a:lnTo>
                  <a:lnTo>
                    <a:pt x="90" y="14"/>
                  </a:lnTo>
                  <a:lnTo>
                    <a:pt x="90" y="16"/>
                  </a:lnTo>
                  <a:lnTo>
                    <a:pt x="90" y="16"/>
                  </a:lnTo>
                  <a:lnTo>
                    <a:pt x="85" y="23"/>
                  </a:lnTo>
                  <a:lnTo>
                    <a:pt x="83" y="33"/>
                  </a:lnTo>
                  <a:lnTo>
                    <a:pt x="83" y="33"/>
                  </a:lnTo>
                  <a:lnTo>
                    <a:pt x="80" y="37"/>
                  </a:lnTo>
                  <a:lnTo>
                    <a:pt x="77" y="42"/>
                  </a:lnTo>
                  <a:lnTo>
                    <a:pt x="74" y="46"/>
                  </a:lnTo>
                  <a:lnTo>
                    <a:pt x="72" y="49"/>
                  </a:lnTo>
                  <a:lnTo>
                    <a:pt x="72" y="49"/>
                  </a:lnTo>
                  <a:lnTo>
                    <a:pt x="72" y="56"/>
                  </a:lnTo>
                  <a:lnTo>
                    <a:pt x="72" y="62"/>
                  </a:lnTo>
                  <a:lnTo>
                    <a:pt x="72" y="62"/>
                  </a:lnTo>
                  <a:lnTo>
                    <a:pt x="67" y="71"/>
                  </a:lnTo>
                  <a:lnTo>
                    <a:pt x="64" y="75"/>
                  </a:lnTo>
                  <a:lnTo>
                    <a:pt x="61" y="77"/>
                  </a:lnTo>
                  <a:lnTo>
                    <a:pt x="61" y="77"/>
                  </a:lnTo>
                  <a:lnTo>
                    <a:pt x="54" y="79"/>
                  </a:lnTo>
                  <a:lnTo>
                    <a:pt x="46" y="79"/>
                  </a:lnTo>
                  <a:lnTo>
                    <a:pt x="46" y="79"/>
                  </a:lnTo>
                  <a:lnTo>
                    <a:pt x="43" y="79"/>
                  </a:lnTo>
                  <a:lnTo>
                    <a:pt x="42" y="78"/>
                  </a:lnTo>
                  <a:lnTo>
                    <a:pt x="41" y="79"/>
                  </a:lnTo>
                  <a:lnTo>
                    <a:pt x="41" y="79"/>
                  </a:lnTo>
                  <a:lnTo>
                    <a:pt x="35" y="84"/>
                  </a:lnTo>
                  <a:lnTo>
                    <a:pt x="29" y="87"/>
                  </a:lnTo>
                  <a:lnTo>
                    <a:pt x="29" y="87"/>
                  </a:lnTo>
                  <a:lnTo>
                    <a:pt x="28" y="87"/>
                  </a:lnTo>
                  <a:lnTo>
                    <a:pt x="28" y="90"/>
                  </a:lnTo>
                  <a:lnTo>
                    <a:pt x="30" y="95"/>
                  </a:lnTo>
                  <a:lnTo>
                    <a:pt x="30" y="95"/>
                  </a:lnTo>
                  <a:lnTo>
                    <a:pt x="35" y="104"/>
                  </a:lnTo>
                  <a:lnTo>
                    <a:pt x="38" y="110"/>
                  </a:lnTo>
                  <a:lnTo>
                    <a:pt x="38" y="110"/>
                  </a:lnTo>
                  <a:lnTo>
                    <a:pt x="38" y="117"/>
                  </a:lnTo>
                  <a:lnTo>
                    <a:pt x="35" y="120"/>
                  </a:lnTo>
                  <a:lnTo>
                    <a:pt x="32" y="123"/>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23" name="Freeform 977"/>
            <p:cNvSpPr>
              <a:spLocks/>
            </p:cNvSpPr>
            <p:nvPr/>
          </p:nvSpPr>
          <p:spPr bwMode="auto">
            <a:xfrm>
              <a:off x="1846263" y="1886379"/>
              <a:ext cx="142875" cy="195263"/>
            </a:xfrm>
            <a:custGeom>
              <a:avLst/>
              <a:gdLst>
                <a:gd name="T0" fmla="*/ 23 w 90"/>
                <a:gd name="T1" fmla="*/ 123 h 123"/>
                <a:gd name="T2" fmla="*/ 17 w 90"/>
                <a:gd name="T3" fmla="*/ 121 h 123"/>
                <a:gd name="T4" fmla="*/ 22 w 90"/>
                <a:gd name="T5" fmla="*/ 119 h 123"/>
                <a:gd name="T6" fmla="*/ 14 w 90"/>
                <a:gd name="T7" fmla="*/ 116 h 123"/>
                <a:gd name="T8" fmla="*/ 13 w 90"/>
                <a:gd name="T9" fmla="*/ 111 h 123"/>
                <a:gd name="T10" fmla="*/ 14 w 90"/>
                <a:gd name="T11" fmla="*/ 95 h 123"/>
                <a:gd name="T12" fmla="*/ 9 w 90"/>
                <a:gd name="T13" fmla="*/ 90 h 123"/>
                <a:gd name="T14" fmla="*/ 1 w 90"/>
                <a:gd name="T15" fmla="*/ 85 h 123"/>
                <a:gd name="T16" fmla="*/ 1 w 90"/>
                <a:gd name="T17" fmla="*/ 84 h 123"/>
                <a:gd name="T18" fmla="*/ 6 w 90"/>
                <a:gd name="T19" fmla="*/ 79 h 123"/>
                <a:gd name="T20" fmla="*/ 1 w 90"/>
                <a:gd name="T21" fmla="*/ 71 h 123"/>
                <a:gd name="T22" fmla="*/ 0 w 90"/>
                <a:gd name="T23" fmla="*/ 62 h 123"/>
                <a:gd name="T24" fmla="*/ 4 w 90"/>
                <a:gd name="T25" fmla="*/ 56 h 123"/>
                <a:gd name="T26" fmla="*/ 3 w 90"/>
                <a:gd name="T27" fmla="*/ 37 h 123"/>
                <a:gd name="T28" fmla="*/ 3 w 90"/>
                <a:gd name="T29" fmla="*/ 23 h 123"/>
                <a:gd name="T30" fmla="*/ 4 w 90"/>
                <a:gd name="T31" fmla="*/ 23 h 123"/>
                <a:gd name="T32" fmla="*/ 7 w 90"/>
                <a:gd name="T33" fmla="*/ 27 h 123"/>
                <a:gd name="T34" fmla="*/ 12 w 90"/>
                <a:gd name="T35" fmla="*/ 24 h 123"/>
                <a:gd name="T36" fmla="*/ 13 w 90"/>
                <a:gd name="T37" fmla="*/ 16 h 123"/>
                <a:gd name="T38" fmla="*/ 10 w 90"/>
                <a:gd name="T39" fmla="*/ 9 h 123"/>
                <a:gd name="T40" fmla="*/ 13 w 90"/>
                <a:gd name="T41" fmla="*/ 4 h 123"/>
                <a:gd name="T42" fmla="*/ 29 w 90"/>
                <a:gd name="T43" fmla="*/ 7 h 123"/>
                <a:gd name="T44" fmla="*/ 30 w 90"/>
                <a:gd name="T45" fmla="*/ 6 h 123"/>
                <a:gd name="T46" fmla="*/ 33 w 90"/>
                <a:gd name="T47" fmla="*/ 0 h 123"/>
                <a:gd name="T48" fmla="*/ 49 w 90"/>
                <a:gd name="T49" fmla="*/ 0 h 123"/>
                <a:gd name="T50" fmla="*/ 56 w 90"/>
                <a:gd name="T51" fmla="*/ 9 h 123"/>
                <a:gd name="T52" fmla="*/ 61 w 90"/>
                <a:gd name="T53" fmla="*/ 11 h 123"/>
                <a:gd name="T54" fmla="*/ 61 w 90"/>
                <a:gd name="T55" fmla="*/ 9 h 123"/>
                <a:gd name="T56" fmla="*/ 65 w 90"/>
                <a:gd name="T57" fmla="*/ 7 h 123"/>
                <a:gd name="T58" fmla="*/ 72 w 90"/>
                <a:gd name="T59" fmla="*/ 6 h 123"/>
                <a:gd name="T60" fmla="*/ 78 w 90"/>
                <a:gd name="T61" fmla="*/ 6 h 123"/>
                <a:gd name="T62" fmla="*/ 88 w 90"/>
                <a:gd name="T63" fmla="*/ 10 h 123"/>
                <a:gd name="T64" fmla="*/ 90 w 90"/>
                <a:gd name="T65" fmla="*/ 16 h 123"/>
                <a:gd name="T66" fmla="*/ 83 w 90"/>
                <a:gd name="T67" fmla="*/ 33 h 123"/>
                <a:gd name="T68" fmla="*/ 77 w 90"/>
                <a:gd name="T69" fmla="*/ 42 h 123"/>
                <a:gd name="T70" fmla="*/ 72 w 90"/>
                <a:gd name="T71" fmla="*/ 49 h 123"/>
                <a:gd name="T72" fmla="*/ 72 w 90"/>
                <a:gd name="T73" fmla="*/ 62 h 123"/>
                <a:gd name="T74" fmla="*/ 61 w 90"/>
                <a:gd name="T75" fmla="*/ 77 h 123"/>
                <a:gd name="T76" fmla="*/ 46 w 90"/>
                <a:gd name="T77" fmla="*/ 79 h 123"/>
                <a:gd name="T78" fmla="*/ 42 w 90"/>
                <a:gd name="T79" fmla="*/ 78 h 123"/>
                <a:gd name="T80" fmla="*/ 35 w 90"/>
                <a:gd name="T81" fmla="*/ 84 h 123"/>
                <a:gd name="T82" fmla="*/ 28 w 90"/>
                <a:gd name="T83" fmla="*/ 87 h 123"/>
                <a:gd name="T84" fmla="*/ 30 w 90"/>
                <a:gd name="T85" fmla="*/ 95 h 123"/>
                <a:gd name="T86" fmla="*/ 38 w 90"/>
                <a:gd name="T87" fmla="*/ 110 h 123"/>
                <a:gd name="T88" fmla="*/ 32 w 90"/>
                <a:gd name="T89"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 h="123">
                  <a:moveTo>
                    <a:pt x="32" y="123"/>
                  </a:moveTo>
                  <a:lnTo>
                    <a:pt x="32" y="123"/>
                  </a:lnTo>
                  <a:lnTo>
                    <a:pt x="23" y="123"/>
                  </a:lnTo>
                  <a:lnTo>
                    <a:pt x="19" y="123"/>
                  </a:lnTo>
                  <a:lnTo>
                    <a:pt x="17" y="121"/>
                  </a:lnTo>
                  <a:lnTo>
                    <a:pt x="17" y="121"/>
                  </a:lnTo>
                  <a:lnTo>
                    <a:pt x="17" y="121"/>
                  </a:lnTo>
                  <a:lnTo>
                    <a:pt x="20" y="119"/>
                  </a:lnTo>
                  <a:lnTo>
                    <a:pt x="22" y="119"/>
                  </a:lnTo>
                  <a:lnTo>
                    <a:pt x="20" y="117"/>
                  </a:lnTo>
                  <a:lnTo>
                    <a:pt x="20" y="117"/>
                  </a:lnTo>
                  <a:lnTo>
                    <a:pt x="14" y="116"/>
                  </a:lnTo>
                  <a:lnTo>
                    <a:pt x="14" y="113"/>
                  </a:lnTo>
                  <a:lnTo>
                    <a:pt x="13" y="111"/>
                  </a:lnTo>
                  <a:lnTo>
                    <a:pt x="13" y="111"/>
                  </a:lnTo>
                  <a:lnTo>
                    <a:pt x="14" y="104"/>
                  </a:lnTo>
                  <a:lnTo>
                    <a:pt x="16" y="100"/>
                  </a:lnTo>
                  <a:lnTo>
                    <a:pt x="14" y="95"/>
                  </a:lnTo>
                  <a:lnTo>
                    <a:pt x="14" y="95"/>
                  </a:lnTo>
                  <a:lnTo>
                    <a:pt x="10" y="91"/>
                  </a:lnTo>
                  <a:lnTo>
                    <a:pt x="9" y="90"/>
                  </a:lnTo>
                  <a:lnTo>
                    <a:pt x="7" y="88"/>
                  </a:lnTo>
                  <a:lnTo>
                    <a:pt x="7" y="88"/>
                  </a:lnTo>
                  <a:lnTo>
                    <a:pt x="1" y="85"/>
                  </a:lnTo>
                  <a:lnTo>
                    <a:pt x="0" y="84"/>
                  </a:lnTo>
                  <a:lnTo>
                    <a:pt x="1" y="84"/>
                  </a:lnTo>
                  <a:lnTo>
                    <a:pt x="1" y="84"/>
                  </a:lnTo>
                  <a:lnTo>
                    <a:pt x="4" y="82"/>
                  </a:lnTo>
                  <a:lnTo>
                    <a:pt x="4" y="81"/>
                  </a:lnTo>
                  <a:lnTo>
                    <a:pt x="6" y="79"/>
                  </a:lnTo>
                  <a:lnTo>
                    <a:pt x="6" y="79"/>
                  </a:lnTo>
                  <a:lnTo>
                    <a:pt x="4" y="75"/>
                  </a:lnTo>
                  <a:lnTo>
                    <a:pt x="1" y="71"/>
                  </a:lnTo>
                  <a:lnTo>
                    <a:pt x="0" y="65"/>
                  </a:lnTo>
                  <a:lnTo>
                    <a:pt x="0" y="62"/>
                  </a:lnTo>
                  <a:lnTo>
                    <a:pt x="0" y="62"/>
                  </a:lnTo>
                  <a:lnTo>
                    <a:pt x="3" y="59"/>
                  </a:lnTo>
                  <a:lnTo>
                    <a:pt x="4" y="59"/>
                  </a:lnTo>
                  <a:lnTo>
                    <a:pt x="4" y="56"/>
                  </a:lnTo>
                  <a:lnTo>
                    <a:pt x="4" y="56"/>
                  </a:lnTo>
                  <a:lnTo>
                    <a:pt x="3" y="46"/>
                  </a:lnTo>
                  <a:lnTo>
                    <a:pt x="3" y="37"/>
                  </a:lnTo>
                  <a:lnTo>
                    <a:pt x="3" y="37"/>
                  </a:lnTo>
                  <a:lnTo>
                    <a:pt x="3" y="27"/>
                  </a:lnTo>
                  <a:lnTo>
                    <a:pt x="3" y="23"/>
                  </a:lnTo>
                  <a:lnTo>
                    <a:pt x="3" y="23"/>
                  </a:lnTo>
                  <a:lnTo>
                    <a:pt x="4" y="23"/>
                  </a:lnTo>
                  <a:lnTo>
                    <a:pt x="4" y="23"/>
                  </a:lnTo>
                  <a:lnTo>
                    <a:pt x="6" y="24"/>
                  </a:lnTo>
                  <a:lnTo>
                    <a:pt x="7" y="26"/>
                  </a:lnTo>
                  <a:lnTo>
                    <a:pt x="7" y="27"/>
                  </a:lnTo>
                  <a:lnTo>
                    <a:pt x="9" y="26"/>
                  </a:lnTo>
                  <a:lnTo>
                    <a:pt x="9" y="26"/>
                  </a:lnTo>
                  <a:lnTo>
                    <a:pt x="12" y="24"/>
                  </a:lnTo>
                  <a:lnTo>
                    <a:pt x="13" y="22"/>
                  </a:lnTo>
                  <a:lnTo>
                    <a:pt x="14" y="19"/>
                  </a:lnTo>
                  <a:lnTo>
                    <a:pt x="13" y="16"/>
                  </a:lnTo>
                  <a:lnTo>
                    <a:pt x="13" y="16"/>
                  </a:lnTo>
                  <a:lnTo>
                    <a:pt x="10" y="13"/>
                  </a:lnTo>
                  <a:lnTo>
                    <a:pt x="10" y="9"/>
                  </a:lnTo>
                  <a:lnTo>
                    <a:pt x="10" y="6"/>
                  </a:lnTo>
                  <a:lnTo>
                    <a:pt x="13" y="4"/>
                  </a:lnTo>
                  <a:lnTo>
                    <a:pt x="13" y="4"/>
                  </a:lnTo>
                  <a:lnTo>
                    <a:pt x="17" y="6"/>
                  </a:lnTo>
                  <a:lnTo>
                    <a:pt x="23" y="7"/>
                  </a:lnTo>
                  <a:lnTo>
                    <a:pt x="29" y="7"/>
                  </a:lnTo>
                  <a:lnTo>
                    <a:pt x="30" y="7"/>
                  </a:lnTo>
                  <a:lnTo>
                    <a:pt x="30" y="6"/>
                  </a:lnTo>
                  <a:lnTo>
                    <a:pt x="30" y="6"/>
                  </a:lnTo>
                  <a:lnTo>
                    <a:pt x="29" y="1"/>
                  </a:lnTo>
                  <a:lnTo>
                    <a:pt x="30" y="0"/>
                  </a:lnTo>
                  <a:lnTo>
                    <a:pt x="33" y="0"/>
                  </a:lnTo>
                  <a:lnTo>
                    <a:pt x="33" y="0"/>
                  </a:lnTo>
                  <a:lnTo>
                    <a:pt x="45" y="0"/>
                  </a:lnTo>
                  <a:lnTo>
                    <a:pt x="49" y="0"/>
                  </a:lnTo>
                  <a:lnTo>
                    <a:pt x="52" y="3"/>
                  </a:lnTo>
                  <a:lnTo>
                    <a:pt x="52" y="3"/>
                  </a:lnTo>
                  <a:lnTo>
                    <a:pt x="56" y="9"/>
                  </a:lnTo>
                  <a:lnTo>
                    <a:pt x="58" y="11"/>
                  </a:lnTo>
                  <a:lnTo>
                    <a:pt x="61" y="11"/>
                  </a:lnTo>
                  <a:lnTo>
                    <a:pt x="61" y="11"/>
                  </a:lnTo>
                  <a:lnTo>
                    <a:pt x="61" y="11"/>
                  </a:lnTo>
                  <a:lnTo>
                    <a:pt x="61" y="11"/>
                  </a:lnTo>
                  <a:lnTo>
                    <a:pt x="61" y="9"/>
                  </a:lnTo>
                  <a:lnTo>
                    <a:pt x="61" y="7"/>
                  </a:lnTo>
                  <a:lnTo>
                    <a:pt x="65" y="7"/>
                  </a:lnTo>
                  <a:lnTo>
                    <a:pt x="65" y="7"/>
                  </a:lnTo>
                  <a:lnTo>
                    <a:pt x="70" y="7"/>
                  </a:lnTo>
                  <a:lnTo>
                    <a:pt x="72" y="7"/>
                  </a:lnTo>
                  <a:lnTo>
                    <a:pt x="72" y="6"/>
                  </a:lnTo>
                  <a:lnTo>
                    <a:pt x="74" y="4"/>
                  </a:lnTo>
                  <a:lnTo>
                    <a:pt x="74" y="4"/>
                  </a:lnTo>
                  <a:lnTo>
                    <a:pt x="78" y="6"/>
                  </a:lnTo>
                  <a:lnTo>
                    <a:pt x="84" y="9"/>
                  </a:lnTo>
                  <a:lnTo>
                    <a:pt x="84" y="9"/>
                  </a:lnTo>
                  <a:lnTo>
                    <a:pt x="88" y="10"/>
                  </a:lnTo>
                  <a:lnTo>
                    <a:pt x="90" y="11"/>
                  </a:lnTo>
                  <a:lnTo>
                    <a:pt x="90" y="14"/>
                  </a:lnTo>
                  <a:lnTo>
                    <a:pt x="90" y="16"/>
                  </a:lnTo>
                  <a:lnTo>
                    <a:pt x="90" y="16"/>
                  </a:lnTo>
                  <a:lnTo>
                    <a:pt x="85" y="23"/>
                  </a:lnTo>
                  <a:lnTo>
                    <a:pt x="83" y="33"/>
                  </a:lnTo>
                  <a:lnTo>
                    <a:pt x="83" y="33"/>
                  </a:lnTo>
                  <a:lnTo>
                    <a:pt x="80" y="37"/>
                  </a:lnTo>
                  <a:lnTo>
                    <a:pt x="77" y="42"/>
                  </a:lnTo>
                  <a:lnTo>
                    <a:pt x="74" y="46"/>
                  </a:lnTo>
                  <a:lnTo>
                    <a:pt x="72" y="49"/>
                  </a:lnTo>
                  <a:lnTo>
                    <a:pt x="72" y="49"/>
                  </a:lnTo>
                  <a:lnTo>
                    <a:pt x="72" y="56"/>
                  </a:lnTo>
                  <a:lnTo>
                    <a:pt x="72" y="62"/>
                  </a:lnTo>
                  <a:lnTo>
                    <a:pt x="72" y="62"/>
                  </a:lnTo>
                  <a:lnTo>
                    <a:pt x="67" y="71"/>
                  </a:lnTo>
                  <a:lnTo>
                    <a:pt x="64" y="75"/>
                  </a:lnTo>
                  <a:lnTo>
                    <a:pt x="61" y="77"/>
                  </a:lnTo>
                  <a:lnTo>
                    <a:pt x="61" y="77"/>
                  </a:lnTo>
                  <a:lnTo>
                    <a:pt x="54" y="79"/>
                  </a:lnTo>
                  <a:lnTo>
                    <a:pt x="46" y="79"/>
                  </a:lnTo>
                  <a:lnTo>
                    <a:pt x="46" y="79"/>
                  </a:lnTo>
                  <a:lnTo>
                    <a:pt x="43" y="79"/>
                  </a:lnTo>
                  <a:lnTo>
                    <a:pt x="42" y="78"/>
                  </a:lnTo>
                  <a:lnTo>
                    <a:pt x="41" y="79"/>
                  </a:lnTo>
                  <a:lnTo>
                    <a:pt x="41" y="79"/>
                  </a:lnTo>
                  <a:lnTo>
                    <a:pt x="35" y="84"/>
                  </a:lnTo>
                  <a:lnTo>
                    <a:pt x="29" y="87"/>
                  </a:lnTo>
                  <a:lnTo>
                    <a:pt x="29" y="87"/>
                  </a:lnTo>
                  <a:lnTo>
                    <a:pt x="28" y="87"/>
                  </a:lnTo>
                  <a:lnTo>
                    <a:pt x="28" y="90"/>
                  </a:lnTo>
                  <a:lnTo>
                    <a:pt x="30" y="95"/>
                  </a:lnTo>
                  <a:lnTo>
                    <a:pt x="30" y="95"/>
                  </a:lnTo>
                  <a:lnTo>
                    <a:pt x="35" y="104"/>
                  </a:lnTo>
                  <a:lnTo>
                    <a:pt x="38" y="110"/>
                  </a:lnTo>
                  <a:lnTo>
                    <a:pt x="38" y="110"/>
                  </a:lnTo>
                  <a:lnTo>
                    <a:pt x="38" y="117"/>
                  </a:lnTo>
                  <a:lnTo>
                    <a:pt x="35" y="120"/>
                  </a:lnTo>
                  <a:lnTo>
                    <a:pt x="32" y="1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24" name="Freeform 978"/>
            <p:cNvSpPr>
              <a:spLocks/>
            </p:cNvSpPr>
            <p:nvPr/>
          </p:nvSpPr>
          <p:spPr bwMode="auto">
            <a:xfrm>
              <a:off x="1671638" y="1897492"/>
              <a:ext cx="168275" cy="239713"/>
            </a:xfrm>
            <a:custGeom>
              <a:avLst/>
              <a:gdLst>
                <a:gd name="T0" fmla="*/ 91 w 106"/>
                <a:gd name="T1" fmla="*/ 126 h 151"/>
                <a:gd name="T2" fmla="*/ 88 w 106"/>
                <a:gd name="T3" fmla="*/ 128 h 151"/>
                <a:gd name="T4" fmla="*/ 82 w 106"/>
                <a:gd name="T5" fmla="*/ 133 h 151"/>
                <a:gd name="T6" fmla="*/ 74 w 106"/>
                <a:gd name="T7" fmla="*/ 138 h 151"/>
                <a:gd name="T8" fmla="*/ 68 w 106"/>
                <a:gd name="T9" fmla="*/ 145 h 151"/>
                <a:gd name="T10" fmla="*/ 59 w 106"/>
                <a:gd name="T11" fmla="*/ 149 h 151"/>
                <a:gd name="T12" fmla="*/ 55 w 106"/>
                <a:gd name="T13" fmla="*/ 149 h 151"/>
                <a:gd name="T14" fmla="*/ 49 w 106"/>
                <a:gd name="T15" fmla="*/ 133 h 151"/>
                <a:gd name="T16" fmla="*/ 39 w 106"/>
                <a:gd name="T17" fmla="*/ 119 h 151"/>
                <a:gd name="T18" fmla="*/ 35 w 106"/>
                <a:gd name="T19" fmla="*/ 120 h 151"/>
                <a:gd name="T20" fmla="*/ 30 w 106"/>
                <a:gd name="T21" fmla="*/ 113 h 151"/>
                <a:gd name="T22" fmla="*/ 26 w 106"/>
                <a:gd name="T23" fmla="*/ 109 h 151"/>
                <a:gd name="T24" fmla="*/ 19 w 106"/>
                <a:gd name="T25" fmla="*/ 110 h 151"/>
                <a:gd name="T26" fmla="*/ 7 w 106"/>
                <a:gd name="T27" fmla="*/ 96 h 151"/>
                <a:gd name="T28" fmla="*/ 6 w 106"/>
                <a:gd name="T29" fmla="*/ 87 h 151"/>
                <a:gd name="T30" fmla="*/ 4 w 106"/>
                <a:gd name="T31" fmla="*/ 83 h 151"/>
                <a:gd name="T32" fmla="*/ 0 w 106"/>
                <a:gd name="T33" fmla="*/ 62 h 151"/>
                <a:gd name="T34" fmla="*/ 1 w 106"/>
                <a:gd name="T35" fmla="*/ 54 h 151"/>
                <a:gd name="T36" fmla="*/ 4 w 106"/>
                <a:gd name="T37" fmla="*/ 48 h 151"/>
                <a:gd name="T38" fmla="*/ 10 w 106"/>
                <a:gd name="T39" fmla="*/ 45 h 151"/>
                <a:gd name="T40" fmla="*/ 17 w 106"/>
                <a:gd name="T41" fmla="*/ 54 h 151"/>
                <a:gd name="T42" fmla="*/ 14 w 106"/>
                <a:gd name="T43" fmla="*/ 61 h 151"/>
                <a:gd name="T44" fmla="*/ 19 w 106"/>
                <a:gd name="T45" fmla="*/ 65 h 151"/>
                <a:gd name="T46" fmla="*/ 29 w 106"/>
                <a:gd name="T47" fmla="*/ 71 h 151"/>
                <a:gd name="T48" fmla="*/ 33 w 106"/>
                <a:gd name="T49" fmla="*/ 72 h 151"/>
                <a:gd name="T50" fmla="*/ 40 w 106"/>
                <a:gd name="T51" fmla="*/ 65 h 151"/>
                <a:gd name="T52" fmla="*/ 36 w 106"/>
                <a:gd name="T53" fmla="*/ 59 h 151"/>
                <a:gd name="T54" fmla="*/ 36 w 106"/>
                <a:gd name="T55" fmla="*/ 49 h 151"/>
                <a:gd name="T56" fmla="*/ 33 w 106"/>
                <a:gd name="T57" fmla="*/ 41 h 151"/>
                <a:gd name="T58" fmla="*/ 22 w 106"/>
                <a:gd name="T59" fmla="*/ 35 h 151"/>
                <a:gd name="T60" fmla="*/ 17 w 106"/>
                <a:gd name="T61" fmla="*/ 25 h 151"/>
                <a:gd name="T62" fmla="*/ 17 w 106"/>
                <a:gd name="T63" fmla="*/ 13 h 151"/>
                <a:gd name="T64" fmla="*/ 23 w 106"/>
                <a:gd name="T65" fmla="*/ 2 h 151"/>
                <a:gd name="T66" fmla="*/ 29 w 106"/>
                <a:gd name="T67" fmla="*/ 2 h 151"/>
                <a:gd name="T68" fmla="*/ 33 w 106"/>
                <a:gd name="T69" fmla="*/ 3 h 151"/>
                <a:gd name="T70" fmla="*/ 46 w 106"/>
                <a:gd name="T71" fmla="*/ 0 h 151"/>
                <a:gd name="T72" fmla="*/ 43 w 106"/>
                <a:gd name="T73" fmla="*/ 4 h 151"/>
                <a:gd name="T74" fmla="*/ 43 w 106"/>
                <a:gd name="T75" fmla="*/ 7 h 151"/>
                <a:gd name="T76" fmla="*/ 56 w 106"/>
                <a:gd name="T77" fmla="*/ 15 h 151"/>
                <a:gd name="T78" fmla="*/ 71 w 106"/>
                <a:gd name="T79" fmla="*/ 9 h 151"/>
                <a:gd name="T80" fmla="*/ 77 w 106"/>
                <a:gd name="T81" fmla="*/ 4 h 151"/>
                <a:gd name="T82" fmla="*/ 84 w 106"/>
                <a:gd name="T83" fmla="*/ 12 h 151"/>
                <a:gd name="T84" fmla="*/ 87 w 106"/>
                <a:gd name="T85" fmla="*/ 17 h 151"/>
                <a:gd name="T86" fmla="*/ 80 w 106"/>
                <a:gd name="T87" fmla="*/ 22 h 151"/>
                <a:gd name="T88" fmla="*/ 82 w 106"/>
                <a:gd name="T89" fmla="*/ 26 h 151"/>
                <a:gd name="T90" fmla="*/ 87 w 106"/>
                <a:gd name="T91" fmla="*/ 35 h 151"/>
                <a:gd name="T92" fmla="*/ 82 w 106"/>
                <a:gd name="T93" fmla="*/ 38 h 151"/>
                <a:gd name="T94" fmla="*/ 77 w 106"/>
                <a:gd name="T95" fmla="*/ 36 h 151"/>
                <a:gd name="T96" fmla="*/ 74 w 106"/>
                <a:gd name="T97" fmla="*/ 46 h 151"/>
                <a:gd name="T98" fmla="*/ 72 w 106"/>
                <a:gd name="T99" fmla="*/ 52 h 151"/>
                <a:gd name="T100" fmla="*/ 71 w 106"/>
                <a:gd name="T101" fmla="*/ 57 h 151"/>
                <a:gd name="T102" fmla="*/ 80 w 106"/>
                <a:gd name="T103" fmla="*/ 68 h 151"/>
                <a:gd name="T104" fmla="*/ 81 w 106"/>
                <a:gd name="T105" fmla="*/ 68 h 151"/>
                <a:gd name="T106" fmla="*/ 81 w 106"/>
                <a:gd name="T107" fmla="*/ 57 h 151"/>
                <a:gd name="T108" fmla="*/ 84 w 106"/>
                <a:gd name="T109" fmla="*/ 57 h 151"/>
                <a:gd name="T110" fmla="*/ 88 w 106"/>
                <a:gd name="T111" fmla="*/ 67 h 151"/>
                <a:gd name="T112" fmla="*/ 94 w 106"/>
                <a:gd name="T113" fmla="*/ 71 h 151"/>
                <a:gd name="T114" fmla="*/ 100 w 106"/>
                <a:gd name="T115" fmla="*/ 75 h 151"/>
                <a:gd name="T116" fmla="*/ 106 w 106"/>
                <a:gd name="T117" fmla="*/ 90 h 151"/>
                <a:gd name="T118" fmla="*/ 100 w 106"/>
                <a:gd name="T119" fmla="*/ 99 h 151"/>
                <a:gd name="T120" fmla="*/ 97 w 106"/>
                <a:gd name="T121" fmla="*/ 104 h 151"/>
                <a:gd name="T122" fmla="*/ 103 w 106"/>
                <a:gd name="T123" fmla="*/ 114 h 151"/>
                <a:gd name="T124" fmla="*/ 101 w 106"/>
                <a:gd name="T125" fmla="*/ 12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 h="151">
                  <a:moveTo>
                    <a:pt x="97" y="125"/>
                  </a:moveTo>
                  <a:lnTo>
                    <a:pt x="97" y="125"/>
                  </a:lnTo>
                  <a:lnTo>
                    <a:pt x="91" y="126"/>
                  </a:lnTo>
                  <a:lnTo>
                    <a:pt x="90" y="126"/>
                  </a:lnTo>
                  <a:lnTo>
                    <a:pt x="88" y="128"/>
                  </a:lnTo>
                  <a:lnTo>
                    <a:pt x="88" y="128"/>
                  </a:lnTo>
                  <a:lnTo>
                    <a:pt x="85" y="130"/>
                  </a:lnTo>
                  <a:lnTo>
                    <a:pt x="82" y="133"/>
                  </a:lnTo>
                  <a:lnTo>
                    <a:pt x="82" y="133"/>
                  </a:lnTo>
                  <a:lnTo>
                    <a:pt x="80" y="136"/>
                  </a:lnTo>
                  <a:lnTo>
                    <a:pt x="77" y="138"/>
                  </a:lnTo>
                  <a:lnTo>
                    <a:pt x="74" y="138"/>
                  </a:lnTo>
                  <a:lnTo>
                    <a:pt x="72" y="141"/>
                  </a:lnTo>
                  <a:lnTo>
                    <a:pt x="72" y="141"/>
                  </a:lnTo>
                  <a:lnTo>
                    <a:pt x="68" y="145"/>
                  </a:lnTo>
                  <a:lnTo>
                    <a:pt x="64" y="148"/>
                  </a:lnTo>
                  <a:lnTo>
                    <a:pt x="64" y="148"/>
                  </a:lnTo>
                  <a:lnTo>
                    <a:pt x="59" y="149"/>
                  </a:lnTo>
                  <a:lnTo>
                    <a:pt x="56" y="151"/>
                  </a:lnTo>
                  <a:lnTo>
                    <a:pt x="55" y="149"/>
                  </a:lnTo>
                  <a:lnTo>
                    <a:pt x="55" y="149"/>
                  </a:lnTo>
                  <a:lnTo>
                    <a:pt x="52" y="142"/>
                  </a:lnTo>
                  <a:lnTo>
                    <a:pt x="49" y="133"/>
                  </a:lnTo>
                  <a:lnTo>
                    <a:pt x="49" y="133"/>
                  </a:lnTo>
                  <a:lnTo>
                    <a:pt x="43" y="125"/>
                  </a:lnTo>
                  <a:lnTo>
                    <a:pt x="40" y="120"/>
                  </a:lnTo>
                  <a:lnTo>
                    <a:pt x="39" y="119"/>
                  </a:lnTo>
                  <a:lnTo>
                    <a:pt x="39" y="119"/>
                  </a:lnTo>
                  <a:lnTo>
                    <a:pt x="36" y="120"/>
                  </a:lnTo>
                  <a:lnTo>
                    <a:pt x="35" y="120"/>
                  </a:lnTo>
                  <a:lnTo>
                    <a:pt x="33" y="119"/>
                  </a:lnTo>
                  <a:lnTo>
                    <a:pt x="33" y="119"/>
                  </a:lnTo>
                  <a:lnTo>
                    <a:pt x="30" y="113"/>
                  </a:lnTo>
                  <a:lnTo>
                    <a:pt x="29" y="110"/>
                  </a:lnTo>
                  <a:lnTo>
                    <a:pt x="26" y="109"/>
                  </a:lnTo>
                  <a:lnTo>
                    <a:pt x="26" y="109"/>
                  </a:lnTo>
                  <a:lnTo>
                    <a:pt x="23" y="110"/>
                  </a:lnTo>
                  <a:lnTo>
                    <a:pt x="20" y="110"/>
                  </a:lnTo>
                  <a:lnTo>
                    <a:pt x="19" y="110"/>
                  </a:lnTo>
                  <a:lnTo>
                    <a:pt x="19" y="110"/>
                  </a:lnTo>
                  <a:lnTo>
                    <a:pt x="12" y="101"/>
                  </a:lnTo>
                  <a:lnTo>
                    <a:pt x="7" y="96"/>
                  </a:lnTo>
                  <a:lnTo>
                    <a:pt x="6" y="91"/>
                  </a:lnTo>
                  <a:lnTo>
                    <a:pt x="6" y="91"/>
                  </a:lnTo>
                  <a:lnTo>
                    <a:pt x="6" y="87"/>
                  </a:lnTo>
                  <a:lnTo>
                    <a:pt x="6" y="86"/>
                  </a:lnTo>
                  <a:lnTo>
                    <a:pt x="4" y="83"/>
                  </a:lnTo>
                  <a:lnTo>
                    <a:pt x="4" y="83"/>
                  </a:lnTo>
                  <a:lnTo>
                    <a:pt x="3" y="78"/>
                  </a:lnTo>
                  <a:lnTo>
                    <a:pt x="1" y="72"/>
                  </a:lnTo>
                  <a:lnTo>
                    <a:pt x="0" y="62"/>
                  </a:lnTo>
                  <a:lnTo>
                    <a:pt x="0" y="62"/>
                  </a:lnTo>
                  <a:lnTo>
                    <a:pt x="0" y="58"/>
                  </a:lnTo>
                  <a:lnTo>
                    <a:pt x="1" y="54"/>
                  </a:lnTo>
                  <a:lnTo>
                    <a:pt x="1" y="54"/>
                  </a:lnTo>
                  <a:lnTo>
                    <a:pt x="1" y="51"/>
                  </a:lnTo>
                  <a:lnTo>
                    <a:pt x="4" y="48"/>
                  </a:lnTo>
                  <a:lnTo>
                    <a:pt x="7" y="45"/>
                  </a:lnTo>
                  <a:lnTo>
                    <a:pt x="10" y="45"/>
                  </a:lnTo>
                  <a:lnTo>
                    <a:pt x="10" y="45"/>
                  </a:lnTo>
                  <a:lnTo>
                    <a:pt x="16" y="49"/>
                  </a:lnTo>
                  <a:lnTo>
                    <a:pt x="17" y="52"/>
                  </a:lnTo>
                  <a:lnTo>
                    <a:pt x="17" y="54"/>
                  </a:lnTo>
                  <a:lnTo>
                    <a:pt x="17" y="54"/>
                  </a:lnTo>
                  <a:lnTo>
                    <a:pt x="16" y="57"/>
                  </a:lnTo>
                  <a:lnTo>
                    <a:pt x="14" y="61"/>
                  </a:lnTo>
                  <a:lnTo>
                    <a:pt x="14" y="61"/>
                  </a:lnTo>
                  <a:lnTo>
                    <a:pt x="16" y="64"/>
                  </a:lnTo>
                  <a:lnTo>
                    <a:pt x="19" y="65"/>
                  </a:lnTo>
                  <a:lnTo>
                    <a:pt x="25" y="70"/>
                  </a:lnTo>
                  <a:lnTo>
                    <a:pt x="25" y="70"/>
                  </a:lnTo>
                  <a:lnTo>
                    <a:pt x="29" y="71"/>
                  </a:lnTo>
                  <a:lnTo>
                    <a:pt x="32" y="72"/>
                  </a:lnTo>
                  <a:lnTo>
                    <a:pt x="33" y="72"/>
                  </a:lnTo>
                  <a:lnTo>
                    <a:pt x="33" y="72"/>
                  </a:lnTo>
                  <a:lnTo>
                    <a:pt x="38" y="68"/>
                  </a:lnTo>
                  <a:lnTo>
                    <a:pt x="40" y="65"/>
                  </a:lnTo>
                  <a:lnTo>
                    <a:pt x="40" y="65"/>
                  </a:lnTo>
                  <a:lnTo>
                    <a:pt x="40" y="64"/>
                  </a:lnTo>
                  <a:lnTo>
                    <a:pt x="39" y="61"/>
                  </a:lnTo>
                  <a:lnTo>
                    <a:pt x="36" y="59"/>
                  </a:lnTo>
                  <a:lnTo>
                    <a:pt x="36" y="57"/>
                  </a:lnTo>
                  <a:lnTo>
                    <a:pt x="36" y="57"/>
                  </a:lnTo>
                  <a:lnTo>
                    <a:pt x="36" y="49"/>
                  </a:lnTo>
                  <a:lnTo>
                    <a:pt x="35" y="44"/>
                  </a:lnTo>
                  <a:lnTo>
                    <a:pt x="33" y="41"/>
                  </a:lnTo>
                  <a:lnTo>
                    <a:pt x="33" y="41"/>
                  </a:lnTo>
                  <a:lnTo>
                    <a:pt x="26" y="39"/>
                  </a:lnTo>
                  <a:lnTo>
                    <a:pt x="23" y="38"/>
                  </a:lnTo>
                  <a:lnTo>
                    <a:pt x="22" y="35"/>
                  </a:lnTo>
                  <a:lnTo>
                    <a:pt x="22" y="35"/>
                  </a:lnTo>
                  <a:lnTo>
                    <a:pt x="20" y="29"/>
                  </a:lnTo>
                  <a:lnTo>
                    <a:pt x="17" y="25"/>
                  </a:lnTo>
                  <a:lnTo>
                    <a:pt x="17" y="25"/>
                  </a:lnTo>
                  <a:lnTo>
                    <a:pt x="17" y="20"/>
                  </a:lnTo>
                  <a:lnTo>
                    <a:pt x="17" y="13"/>
                  </a:lnTo>
                  <a:lnTo>
                    <a:pt x="20" y="6"/>
                  </a:lnTo>
                  <a:lnTo>
                    <a:pt x="22" y="3"/>
                  </a:lnTo>
                  <a:lnTo>
                    <a:pt x="23" y="2"/>
                  </a:lnTo>
                  <a:lnTo>
                    <a:pt x="23" y="2"/>
                  </a:lnTo>
                  <a:lnTo>
                    <a:pt x="26" y="2"/>
                  </a:lnTo>
                  <a:lnTo>
                    <a:pt x="29" y="2"/>
                  </a:lnTo>
                  <a:lnTo>
                    <a:pt x="30" y="3"/>
                  </a:lnTo>
                  <a:lnTo>
                    <a:pt x="33" y="3"/>
                  </a:lnTo>
                  <a:lnTo>
                    <a:pt x="33" y="3"/>
                  </a:lnTo>
                  <a:lnTo>
                    <a:pt x="42" y="0"/>
                  </a:lnTo>
                  <a:lnTo>
                    <a:pt x="45" y="0"/>
                  </a:lnTo>
                  <a:lnTo>
                    <a:pt x="46" y="0"/>
                  </a:lnTo>
                  <a:lnTo>
                    <a:pt x="46" y="2"/>
                  </a:lnTo>
                  <a:lnTo>
                    <a:pt x="46" y="2"/>
                  </a:lnTo>
                  <a:lnTo>
                    <a:pt x="43" y="4"/>
                  </a:lnTo>
                  <a:lnTo>
                    <a:pt x="42" y="6"/>
                  </a:lnTo>
                  <a:lnTo>
                    <a:pt x="43" y="7"/>
                  </a:lnTo>
                  <a:lnTo>
                    <a:pt x="43" y="7"/>
                  </a:lnTo>
                  <a:lnTo>
                    <a:pt x="51" y="13"/>
                  </a:lnTo>
                  <a:lnTo>
                    <a:pt x="54" y="15"/>
                  </a:lnTo>
                  <a:lnTo>
                    <a:pt x="56" y="15"/>
                  </a:lnTo>
                  <a:lnTo>
                    <a:pt x="56" y="15"/>
                  </a:lnTo>
                  <a:lnTo>
                    <a:pt x="65" y="12"/>
                  </a:lnTo>
                  <a:lnTo>
                    <a:pt x="71" y="9"/>
                  </a:lnTo>
                  <a:lnTo>
                    <a:pt x="71" y="9"/>
                  </a:lnTo>
                  <a:lnTo>
                    <a:pt x="74" y="4"/>
                  </a:lnTo>
                  <a:lnTo>
                    <a:pt x="77" y="4"/>
                  </a:lnTo>
                  <a:lnTo>
                    <a:pt x="78" y="4"/>
                  </a:lnTo>
                  <a:lnTo>
                    <a:pt x="78" y="4"/>
                  </a:lnTo>
                  <a:lnTo>
                    <a:pt x="84" y="12"/>
                  </a:lnTo>
                  <a:lnTo>
                    <a:pt x="87" y="16"/>
                  </a:lnTo>
                  <a:lnTo>
                    <a:pt x="87" y="17"/>
                  </a:lnTo>
                  <a:lnTo>
                    <a:pt x="87" y="17"/>
                  </a:lnTo>
                  <a:lnTo>
                    <a:pt x="82" y="19"/>
                  </a:lnTo>
                  <a:lnTo>
                    <a:pt x="81" y="19"/>
                  </a:lnTo>
                  <a:lnTo>
                    <a:pt x="80" y="22"/>
                  </a:lnTo>
                  <a:lnTo>
                    <a:pt x="80" y="22"/>
                  </a:lnTo>
                  <a:lnTo>
                    <a:pt x="81" y="23"/>
                  </a:lnTo>
                  <a:lnTo>
                    <a:pt x="82" y="26"/>
                  </a:lnTo>
                  <a:lnTo>
                    <a:pt x="87" y="32"/>
                  </a:lnTo>
                  <a:lnTo>
                    <a:pt x="87" y="32"/>
                  </a:lnTo>
                  <a:lnTo>
                    <a:pt x="87" y="35"/>
                  </a:lnTo>
                  <a:lnTo>
                    <a:pt x="87" y="36"/>
                  </a:lnTo>
                  <a:lnTo>
                    <a:pt x="85" y="38"/>
                  </a:lnTo>
                  <a:lnTo>
                    <a:pt x="82" y="38"/>
                  </a:lnTo>
                  <a:lnTo>
                    <a:pt x="82" y="38"/>
                  </a:lnTo>
                  <a:lnTo>
                    <a:pt x="78" y="36"/>
                  </a:lnTo>
                  <a:lnTo>
                    <a:pt x="77" y="36"/>
                  </a:lnTo>
                  <a:lnTo>
                    <a:pt x="75" y="38"/>
                  </a:lnTo>
                  <a:lnTo>
                    <a:pt x="75" y="38"/>
                  </a:lnTo>
                  <a:lnTo>
                    <a:pt x="74" y="46"/>
                  </a:lnTo>
                  <a:lnTo>
                    <a:pt x="74" y="49"/>
                  </a:lnTo>
                  <a:lnTo>
                    <a:pt x="72" y="52"/>
                  </a:lnTo>
                  <a:lnTo>
                    <a:pt x="72" y="52"/>
                  </a:lnTo>
                  <a:lnTo>
                    <a:pt x="69" y="54"/>
                  </a:lnTo>
                  <a:lnTo>
                    <a:pt x="69" y="55"/>
                  </a:lnTo>
                  <a:lnTo>
                    <a:pt x="71" y="57"/>
                  </a:lnTo>
                  <a:lnTo>
                    <a:pt x="71" y="57"/>
                  </a:lnTo>
                  <a:lnTo>
                    <a:pt x="77" y="65"/>
                  </a:lnTo>
                  <a:lnTo>
                    <a:pt x="80" y="68"/>
                  </a:lnTo>
                  <a:lnTo>
                    <a:pt x="81" y="70"/>
                  </a:lnTo>
                  <a:lnTo>
                    <a:pt x="81" y="68"/>
                  </a:lnTo>
                  <a:lnTo>
                    <a:pt x="81" y="68"/>
                  </a:lnTo>
                  <a:lnTo>
                    <a:pt x="81" y="64"/>
                  </a:lnTo>
                  <a:lnTo>
                    <a:pt x="81" y="59"/>
                  </a:lnTo>
                  <a:lnTo>
                    <a:pt x="81" y="57"/>
                  </a:lnTo>
                  <a:lnTo>
                    <a:pt x="82" y="57"/>
                  </a:lnTo>
                  <a:lnTo>
                    <a:pt x="84" y="57"/>
                  </a:lnTo>
                  <a:lnTo>
                    <a:pt x="84" y="57"/>
                  </a:lnTo>
                  <a:lnTo>
                    <a:pt x="87" y="59"/>
                  </a:lnTo>
                  <a:lnTo>
                    <a:pt x="87" y="64"/>
                  </a:lnTo>
                  <a:lnTo>
                    <a:pt x="88" y="67"/>
                  </a:lnTo>
                  <a:lnTo>
                    <a:pt x="90" y="70"/>
                  </a:lnTo>
                  <a:lnTo>
                    <a:pt x="90" y="70"/>
                  </a:lnTo>
                  <a:lnTo>
                    <a:pt x="94" y="71"/>
                  </a:lnTo>
                  <a:lnTo>
                    <a:pt x="97" y="72"/>
                  </a:lnTo>
                  <a:lnTo>
                    <a:pt x="100" y="75"/>
                  </a:lnTo>
                  <a:lnTo>
                    <a:pt x="100" y="75"/>
                  </a:lnTo>
                  <a:lnTo>
                    <a:pt x="103" y="80"/>
                  </a:lnTo>
                  <a:lnTo>
                    <a:pt x="106" y="86"/>
                  </a:lnTo>
                  <a:lnTo>
                    <a:pt x="106" y="90"/>
                  </a:lnTo>
                  <a:lnTo>
                    <a:pt x="106" y="94"/>
                  </a:lnTo>
                  <a:lnTo>
                    <a:pt x="106" y="94"/>
                  </a:lnTo>
                  <a:lnTo>
                    <a:pt x="100" y="99"/>
                  </a:lnTo>
                  <a:lnTo>
                    <a:pt x="98" y="100"/>
                  </a:lnTo>
                  <a:lnTo>
                    <a:pt x="97" y="104"/>
                  </a:lnTo>
                  <a:lnTo>
                    <a:pt x="97" y="104"/>
                  </a:lnTo>
                  <a:lnTo>
                    <a:pt x="98" y="107"/>
                  </a:lnTo>
                  <a:lnTo>
                    <a:pt x="101" y="112"/>
                  </a:lnTo>
                  <a:lnTo>
                    <a:pt x="103" y="114"/>
                  </a:lnTo>
                  <a:lnTo>
                    <a:pt x="103" y="117"/>
                  </a:lnTo>
                  <a:lnTo>
                    <a:pt x="103" y="117"/>
                  </a:lnTo>
                  <a:lnTo>
                    <a:pt x="101" y="122"/>
                  </a:lnTo>
                  <a:lnTo>
                    <a:pt x="98" y="125"/>
                  </a:lnTo>
                  <a:lnTo>
                    <a:pt x="97" y="125"/>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25" name="Freeform 979"/>
            <p:cNvSpPr>
              <a:spLocks/>
            </p:cNvSpPr>
            <p:nvPr/>
          </p:nvSpPr>
          <p:spPr bwMode="auto">
            <a:xfrm>
              <a:off x="1671638" y="1897492"/>
              <a:ext cx="168275" cy="239713"/>
            </a:xfrm>
            <a:custGeom>
              <a:avLst/>
              <a:gdLst>
                <a:gd name="T0" fmla="*/ 91 w 106"/>
                <a:gd name="T1" fmla="*/ 126 h 151"/>
                <a:gd name="T2" fmla="*/ 88 w 106"/>
                <a:gd name="T3" fmla="*/ 128 h 151"/>
                <a:gd name="T4" fmla="*/ 82 w 106"/>
                <a:gd name="T5" fmla="*/ 133 h 151"/>
                <a:gd name="T6" fmla="*/ 74 w 106"/>
                <a:gd name="T7" fmla="*/ 138 h 151"/>
                <a:gd name="T8" fmla="*/ 68 w 106"/>
                <a:gd name="T9" fmla="*/ 145 h 151"/>
                <a:gd name="T10" fmla="*/ 59 w 106"/>
                <a:gd name="T11" fmla="*/ 149 h 151"/>
                <a:gd name="T12" fmla="*/ 55 w 106"/>
                <a:gd name="T13" fmla="*/ 149 h 151"/>
                <a:gd name="T14" fmla="*/ 49 w 106"/>
                <a:gd name="T15" fmla="*/ 133 h 151"/>
                <a:gd name="T16" fmla="*/ 39 w 106"/>
                <a:gd name="T17" fmla="*/ 119 h 151"/>
                <a:gd name="T18" fmla="*/ 35 w 106"/>
                <a:gd name="T19" fmla="*/ 120 h 151"/>
                <a:gd name="T20" fmla="*/ 30 w 106"/>
                <a:gd name="T21" fmla="*/ 113 h 151"/>
                <a:gd name="T22" fmla="*/ 26 w 106"/>
                <a:gd name="T23" fmla="*/ 109 h 151"/>
                <a:gd name="T24" fmla="*/ 19 w 106"/>
                <a:gd name="T25" fmla="*/ 110 h 151"/>
                <a:gd name="T26" fmla="*/ 7 w 106"/>
                <a:gd name="T27" fmla="*/ 96 h 151"/>
                <a:gd name="T28" fmla="*/ 6 w 106"/>
                <a:gd name="T29" fmla="*/ 87 h 151"/>
                <a:gd name="T30" fmla="*/ 4 w 106"/>
                <a:gd name="T31" fmla="*/ 83 h 151"/>
                <a:gd name="T32" fmla="*/ 0 w 106"/>
                <a:gd name="T33" fmla="*/ 62 h 151"/>
                <a:gd name="T34" fmla="*/ 1 w 106"/>
                <a:gd name="T35" fmla="*/ 54 h 151"/>
                <a:gd name="T36" fmla="*/ 4 w 106"/>
                <a:gd name="T37" fmla="*/ 48 h 151"/>
                <a:gd name="T38" fmla="*/ 10 w 106"/>
                <a:gd name="T39" fmla="*/ 45 h 151"/>
                <a:gd name="T40" fmla="*/ 17 w 106"/>
                <a:gd name="T41" fmla="*/ 54 h 151"/>
                <a:gd name="T42" fmla="*/ 14 w 106"/>
                <a:gd name="T43" fmla="*/ 61 h 151"/>
                <a:gd name="T44" fmla="*/ 19 w 106"/>
                <a:gd name="T45" fmla="*/ 65 h 151"/>
                <a:gd name="T46" fmla="*/ 29 w 106"/>
                <a:gd name="T47" fmla="*/ 71 h 151"/>
                <a:gd name="T48" fmla="*/ 33 w 106"/>
                <a:gd name="T49" fmla="*/ 72 h 151"/>
                <a:gd name="T50" fmla="*/ 40 w 106"/>
                <a:gd name="T51" fmla="*/ 65 h 151"/>
                <a:gd name="T52" fmla="*/ 36 w 106"/>
                <a:gd name="T53" fmla="*/ 59 h 151"/>
                <a:gd name="T54" fmla="*/ 36 w 106"/>
                <a:gd name="T55" fmla="*/ 49 h 151"/>
                <a:gd name="T56" fmla="*/ 33 w 106"/>
                <a:gd name="T57" fmla="*/ 41 h 151"/>
                <a:gd name="T58" fmla="*/ 22 w 106"/>
                <a:gd name="T59" fmla="*/ 35 h 151"/>
                <a:gd name="T60" fmla="*/ 17 w 106"/>
                <a:gd name="T61" fmla="*/ 25 h 151"/>
                <a:gd name="T62" fmla="*/ 17 w 106"/>
                <a:gd name="T63" fmla="*/ 13 h 151"/>
                <a:gd name="T64" fmla="*/ 23 w 106"/>
                <a:gd name="T65" fmla="*/ 2 h 151"/>
                <a:gd name="T66" fmla="*/ 29 w 106"/>
                <a:gd name="T67" fmla="*/ 2 h 151"/>
                <a:gd name="T68" fmla="*/ 33 w 106"/>
                <a:gd name="T69" fmla="*/ 3 h 151"/>
                <a:gd name="T70" fmla="*/ 46 w 106"/>
                <a:gd name="T71" fmla="*/ 0 h 151"/>
                <a:gd name="T72" fmla="*/ 43 w 106"/>
                <a:gd name="T73" fmla="*/ 4 h 151"/>
                <a:gd name="T74" fmla="*/ 43 w 106"/>
                <a:gd name="T75" fmla="*/ 7 h 151"/>
                <a:gd name="T76" fmla="*/ 56 w 106"/>
                <a:gd name="T77" fmla="*/ 15 h 151"/>
                <a:gd name="T78" fmla="*/ 71 w 106"/>
                <a:gd name="T79" fmla="*/ 9 h 151"/>
                <a:gd name="T80" fmla="*/ 77 w 106"/>
                <a:gd name="T81" fmla="*/ 4 h 151"/>
                <a:gd name="T82" fmla="*/ 84 w 106"/>
                <a:gd name="T83" fmla="*/ 12 h 151"/>
                <a:gd name="T84" fmla="*/ 87 w 106"/>
                <a:gd name="T85" fmla="*/ 17 h 151"/>
                <a:gd name="T86" fmla="*/ 80 w 106"/>
                <a:gd name="T87" fmla="*/ 22 h 151"/>
                <a:gd name="T88" fmla="*/ 82 w 106"/>
                <a:gd name="T89" fmla="*/ 26 h 151"/>
                <a:gd name="T90" fmla="*/ 87 w 106"/>
                <a:gd name="T91" fmla="*/ 35 h 151"/>
                <a:gd name="T92" fmla="*/ 82 w 106"/>
                <a:gd name="T93" fmla="*/ 38 h 151"/>
                <a:gd name="T94" fmla="*/ 77 w 106"/>
                <a:gd name="T95" fmla="*/ 36 h 151"/>
                <a:gd name="T96" fmla="*/ 74 w 106"/>
                <a:gd name="T97" fmla="*/ 46 h 151"/>
                <a:gd name="T98" fmla="*/ 72 w 106"/>
                <a:gd name="T99" fmla="*/ 52 h 151"/>
                <a:gd name="T100" fmla="*/ 71 w 106"/>
                <a:gd name="T101" fmla="*/ 57 h 151"/>
                <a:gd name="T102" fmla="*/ 80 w 106"/>
                <a:gd name="T103" fmla="*/ 68 h 151"/>
                <a:gd name="T104" fmla="*/ 81 w 106"/>
                <a:gd name="T105" fmla="*/ 68 h 151"/>
                <a:gd name="T106" fmla="*/ 81 w 106"/>
                <a:gd name="T107" fmla="*/ 57 h 151"/>
                <a:gd name="T108" fmla="*/ 84 w 106"/>
                <a:gd name="T109" fmla="*/ 57 h 151"/>
                <a:gd name="T110" fmla="*/ 88 w 106"/>
                <a:gd name="T111" fmla="*/ 67 h 151"/>
                <a:gd name="T112" fmla="*/ 94 w 106"/>
                <a:gd name="T113" fmla="*/ 71 h 151"/>
                <a:gd name="T114" fmla="*/ 100 w 106"/>
                <a:gd name="T115" fmla="*/ 75 h 151"/>
                <a:gd name="T116" fmla="*/ 106 w 106"/>
                <a:gd name="T117" fmla="*/ 90 h 151"/>
                <a:gd name="T118" fmla="*/ 100 w 106"/>
                <a:gd name="T119" fmla="*/ 99 h 151"/>
                <a:gd name="T120" fmla="*/ 97 w 106"/>
                <a:gd name="T121" fmla="*/ 104 h 151"/>
                <a:gd name="T122" fmla="*/ 103 w 106"/>
                <a:gd name="T123" fmla="*/ 114 h 151"/>
                <a:gd name="T124" fmla="*/ 101 w 106"/>
                <a:gd name="T125" fmla="*/ 12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 h="151">
                  <a:moveTo>
                    <a:pt x="97" y="125"/>
                  </a:moveTo>
                  <a:lnTo>
                    <a:pt x="97" y="125"/>
                  </a:lnTo>
                  <a:lnTo>
                    <a:pt x="91" y="126"/>
                  </a:lnTo>
                  <a:lnTo>
                    <a:pt x="90" y="126"/>
                  </a:lnTo>
                  <a:lnTo>
                    <a:pt x="88" y="128"/>
                  </a:lnTo>
                  <a:lnTo>
                    <a:pt x="88" y="128"/>
                  </a:lnTo>
                  <a:lnTo>
                    <a:pt x="85" y="130"/>
                  </a:lnTo>
                  <a:lnTo>
                    <a:pt x="82" y="133"/>
                  </a:lnTo>
                  <a:lnTo>
                    <a:pt x="82" y="133"/>
                  </a:lnTo>
                  <a:lnTo>
                    <a:pt x="80" y="136"/>
                  </a:lnTo>
                  <a:lnTo>
                    <a:pt x="77" y="138"/>
                  </a:lnTo>
                  <a:lnTo>
                    <a:pt x="74" y="138"/>
                  </a:lnTo>
                  <a:lnTo>
                    <a:pt x="72" y="141"/>
                  </a:lnTo>
                  <a:lnTo>
                    <a:pt x="72" y="141"/>
                  </a:lnTo>
                  <a:lnTo>
                    <a:pt x="68" y="145"/>
                  </a:lnTo>
                  <a:lnTo>
                    <a:pt x="64" y="148"/>
                  </a:lnTo>
                  <a:lnTo>
                    <a:pt x="64" y="148"/>
                  </a:lnTo>
                  <a:lnTo>
                    <a:pt x="59" y="149"/>
                  </a:lnTo>
                  <a:lnTo>
                    <a:pt x="56" y="151"/>
                  </a:lnTo>
                  <a:lnTo>
                    <a:pt x="55" y="149"/>
                  </a:lnTo>
                  <a:lnTo>
                    <a:pt x="55" y="149"/>
                  </a:lnTo>
                  <a:lnTo>
                    <a:pt x="52" y="142"/>
                  </a:lnTo>
                  <a:lnTo>
                    <a:pt x="49" y="133"/>
                  </a:lnTo>
                  <a:lnTo>
                    <a:pt x="49" y="133"/>
                  </a:lnTo>
                  <a:lnTo>
                    <a:pt x="43" y="125"/>
                  </a:lnTo>
                  <a:lnTo>
                    <a:pt x="40" y="120"/>
                  </a:lnTo>
                  <a:lnTo>
                    <a:pt x="39" y="119"/>
                  </a:lnTo>
                  <a:lnTo>
                    <a:pt x="39" y="119"/>
                  </a:lnTo>
                  <a:lnTo>
                    <a:pt x="36" y="120"/>
                  </a:lnTo>
                  <a:lnTo>
                    <a:pt x="35" y="120"/>
                  </a:lnTo>
                  <a:lnTo>
                    <a:pt x="33" y="119"/>
                  </a:lnTo>
                  <a:lnTo>
                    <a:pt x="33" y="119"/>
                  </a:lnTo>
                  <a:lnTo>
                    <a:pt x="30" y="113"/>
                  </a:lnTo>
                  <a:lnTo>
                    <a:pt x="29" y="110"/>
                  </a:lnTo>
                  <a:lnTo>
                    <a:pt x="26" y="109"/>
                  </a:lnTo>
                  <a:lnTo>
                    <a:pt x="26" y="109"/>
                  </a:lnTo>
                  <a:lnTo>
                    <a:pt x="23" y="110"/>
                  </a:lnTo>
                  <a:lnTo>
                    <a:pt x="20" y="110"/>
                  </a:lnTo>
                  <a:lnTo>
                    <a:pt x="19" y="110"/>
                  </a:lnTo>
                  <a:lnTo>
                    <a:pt x="19" y="110"/>
                  </a:lnTo>
                  <a:lnTo>
                    <a:pt x="12" y="101"/>
                  </a:lnTo>
                  <a:lnTo>
                    <a:pt x="7" y="96"/>
                  </a:lnTo>
                  <a:lnTo>
                    <a:pt x="6" y="91"/>
                  </a:lnTo>
                  <a:lnTo>
                    <a:pt x="6" y="91"/>
                  </a:lnTo>
                  <a:lnTo>
                    <a:pt x="6" y="87"/>
                  </a:lnTo>
                  <a:lnTo>
                    <a:pt x="6" y="86"/>
                  </a:lnTo>
                  <a:lnTo>
                    <a:pt x="4" y="83"/>
                  </a:lnTo>
                  <a:lnTo>
                    <a:pt x="4" y="83"/>
                  </a:lnTo>
                  <a:lnTo>
                    <a:pt x="3" y="78"/>
                  </a:lnTo>
                  <a:lnTo>
                    <a:pt x="1" y="72"/>
                  </a:lnTo>
                  <a:lnTo>
                    <a:pt x="0" y="62"/>
                  </a:lnTo>
                  <a:lnTo>
                    <a:pt x="0" y="62"/>
                  </a:lnTo>
                  <a:lnTo>
                    <a:pt x="0" y="58"/>
                  </a:lnTo>
                  <a:lnTo>
                    <a:pt x="1" y="54"/>
                  </a:lnTo>
                  <a:lnTo>
                    <a:pt x="1" y="54"/>
                  </a:lnTo>
                  <a:lnTo>
                    <a:pt x="1" y="51"/>
                  </a:lnTo>
                  <a:lnTo>
                    <a:pt x="4" y="48"/>
                  </a:lnTo>
                  <a:lnTo>
                    <a:pt x="7" y="45"/>
                  </a:lnTo>
                  <a:lnTo>
                    <a:pt x="10" y="45"/>
                  </a:lnTo>
                  <a:lnTo>
                    <a:pt x="10" y="45"/>
                  </a:lnTo>
                  <a:lnTo>
                    <a:pt x="16" y="49"/>
                  </a:lnTo>
                  <a:lnTo>
                    <a:pt x="17" y="52"/>
                  </a:lnTo>
                  <a:lnTo>
                    <a:pt x="17" y="54"/>
                  </a:lnTo>
                  <a:lnTo>
                    <a:pt x="17" y="54"/>
                  </a:lnTo>
                  <a:lnTo>
                    <a:pt x="16" y="57"/>
                  </a:lnTo>
                  <a:lnTo>
                    <a:pt x="14" y="61"/>
                  </a:lnTo>
                  <a:lnTo>
                    <a:pt x="14" y="61"/>
                  </a:lnTo>
                  <a:lnTo>
                    <a:pt x="16" y="64"/>
                  </a:lnTo>
                  <a:lnTo>
                    <a:pt x="19" y="65"/>
                  </a:lnTo>
                  <a:lnTo>
                    <a:pt x="25" y="70"/>
                  </a:lnTo>
                  <a:lnTo>
                    <a:pt x="25" y="70"/>
                  </a:lnTo>
                  <a:lnTo>
                    <a:pt x="29" y="71"/>
                  </a:lnTo>
                  <a:lnTo>
                    <a:pt x="32" y="72"/>
                  </a:lnTo>
                  <a:lnTo>
                    <a:pt x="33" y="72"/>
                  </a:lnTo>
                  <a:lnTo>
                    <a:pt x="33" y="72"/>
                  </a:lnTo>
                  <a:lnTo>
                    <a:pt x="38" y="68"/>
                  </a:lnTo>
                  <a:lnTo>
                    <a:pt x="40" y="65"/>
                  </a:lnTo>
                  <a:lnTo>
                    <a:pt x="40" y="65"/>
                  </a:lnTo>
                  <a:lnTo>
                    <a:pt x="40" y="64"/>
                  </a:lnTo>
                  <a:lnTo>
                    <a:pt x="39" y="61"/>
                  </a:lnTo>
                  <a:lnTo>
                    <a:pt x="36" y="59"/>
                  </a:lnTo>
                  <a:lnTo>
                    <a:pt x="36" y="57"/>
                  </a:lnTo>
                  <a:lnTo>
                    <a:pt x="36" y="57"/>
                  </a:lnTo>
                  <a:lnTo>
                    <a:pt x="36" y="49"/>
                  </a:lnTo>
                  <a:lnTo>
                    <a:pt x="35" y="44"/>
                  </a:lnTo>
                  <a:lnTo>
                    <a:pt x="33" y="41"/>
                  </a:lnTo>
                  <a:lnTo>
                    <a:pt x="33" y="41"/>
                  </a:lnTo>
                  <a:lnTo>
                    <a:pt x="26" y="39"/>
                  </a:lnTo>
                  <a:lnTo>
                    <a:pt x="23" y="38"/>
                  </a:lnTo>
                  <a:lnTo>
                    <a:pt x="22" y="35"/>
                  </a:lnTo>
                  <a:lnTo>
                    <a:pt x="22" y="35"/>
                  </a:lnTo>
                  <a:lnTo>
                    <a:pt x="20" y="29"/>
                  </a:lnTo>
                  <a:lnTo>
                    <a:pt x="17" y="25"/>
                  </a:lnTo>
                  <a:lnTo>
                    <a:pt x="17" y="25"/>
                  </a:lnTo>
                  <a:lnTo>
                    <a:pt x="17" y="20"/>
                  </a:lnTo>
                  <a:lnTo>
                    <a:pt x="17" y="13"/>
                  </a:lnTo>
                  <a:lnTo>
                    <a:pt x="20" y="6"/>
                  </a:lnTo>
                  <a:lnTo>
                    <a:pt x="22" y="3"/>
                  </a:lnTo>
                  <a:lnTo>
                    <a:pt x="23" y="2"/>
                  </a:lnTo>
                  <a:lnTo>
                    <a:pt x="23" y="2"/>
                  </a:lnTo>
                  <a:lnTo>
                    <a:pt x="26" y="2"/>
                  </a:lnTo>
                  <a:lnTo>
                    <a:pt x="29" y="2"/>
                  </a:lnTo>
                  <a:lnTo>
                    <a:pt x="30" y="3"/>
                  </a:lnTo>
                  <a:lnTo>
                    <a:pt x="33" y="3"/>
                  </a:lnTo>
                  <a:lnTo>
                    <a:pt x="33" y="3"/>
                  </a:lnTo>
                  <a:lnTo>
                    <a:pt x="42" y="0"/>
                  </a:lnTo>
                  <a:lnTo>
                    <a:pt x="45" y="0"/>
                  </a:lnTo>
                  <a:lnTo>
                    <a:pt x="46" y="0"/>
                  </a:lnTo>
                  <a:lnTo>
                    <a:pt x="46" y="2"/>
                  </a:lnTo>
                  <a:lnTo>
                    <a:pt x="46" y="2"/>
                  </a:lnTo>
                  <a:lnTo>
                    <a:pt x="43" y="4"/>
                  </a:lnTo>
                  <a:lnTo>
                    <a:pt x="42" y="6"/>
                  </a:lnTo>
                  <a:lnTo>
                    <a:pt x="43" y="7"/>
                  </a:lnTo>
                  <a:lnTo>
                    <a:pt x="43" y="7"/>
                  </a:lnTo>
                  <a:lnTo>
                    <a:pt x="51" y="13"/>
                  </a:lnTo>
                  <a:lnTo>
                    <a:pt x="54" y="15"/>
                  </a:lnTo>
                  <a:lnTo>
                    <a:pt x="56" y="15"/>
                  </a:lnTo>
                  <a:lnTo>
                    <a:pt x="56" y="15"/>
                  </a:lnTo>
                  <a:lnTo>
                    <a:pt x="65" y="12"/>
                  </a:lnTo>
                  <a:lnTo>
                    <a:pt x="71" y="9"/>
                  </a:lnTo>
                  <a:lnTo>
                    <a:pt x="71" y="9"/>
                  </a:lnTo>
                  <a:lnTo>
                    <a:pt x="74" y="4"/>
                  </a:lnTo>
                  <a:lnTo>
                    <a:pt x="77" y="4"/>
                  </a:lnTo>
                  <a:lnTo>
                    <a:pt x="78" y="4"/>
                  </a:lnTo>
                  <a:lnTo>
                    <a:pt x="78" y="4"/>
                  </a:lnTo>
                  <a:lnTo>
                    <a:pt x="84" y="12"/>
                  </a:lnTo>
                  <a:lnTo>
                    <a:pt x="87" y="16"/>
                  </a:lnTo>
                  <a:lnTo>
                    <a:pt x="87" y="17"/>
                  </a:lnTo>
                  <a:lnTo>
                    <a:pt x="87" y="17"/>
                  </a:lnTo>
                  <a:lnTo>
                    <a:pt x="82" y="19"/>
                  </a:lnTo>
                  <a:lnTo>
                    <a:pt x="81" y="19"/>
                  </a:lnTo>
                  <a:lnTo>
                    <a:pt x="80" y="22"/>
                  </a:lnTo>
                  <a:lnTo>
                    <a:pt x="80" y="22"/>
                  </a:lnTo>
                  <a:lnTo>
                    <a:pt x="81" y="23"/>
                  </a:lnTo>
                  <a:lnTo>
                    <a:pt x="82" y="26"/>
                  </a:lnTo>
                  <a:lnTo>
                    <a:pt x="87" y="32"/>
                  </a:lnTo>
                  <a:lnTo>
                    <a:pt x="87" y="32"/>
                  </a:lnTo>
                  <a:lnTo>
                    <a:pt x="87" y="35"/>
                  </a:lnTo>
                  <a:lnTo>
                    <a:pt x="87" y="36"/>
                  </a:lnTo>
                  <a:lnTo>
                    <a:pt x="85" y="38"/>
                  </a:lnTo>
                  <a:lnTo>
                    <a:pt x="82" y="38"/>
                  </a:lnTo>
                  <a:lnTo>
                    <a:pt x="82" y="38"/>
                  </a:lnTo>
                  <a:lnTo>
                    <a:pt x="78" y="36"/>
                  </a:lnTo>
                  <a:lnTo>
                    <a:pt x="77" y="36"/>
                  </a:lnTo>
                  <a:lnTo>
                    <a:pt x="75" y="38"/>
                  </a:lnTo>
                  <a:lnTo>
                    <a:pt x="75" y="38"/>
                  </a:lnTo>
                  <a:lnTo>
                    <a:pt x="74" y="46"/>
                  </a:lnTo>
                  <a:lnTo>
                    <a:pt x="74" y="49"/>
                  </a:lnTo>
                  <a:lnTo>
                    <a:pt x="72" y="52"/>
                  </a:lnTo>
                  <a:lnTo>
                    <a:pt x="72" y="52"/>
                  </a:lnTo>
                  <a:lnTo>
                    <a:pt x="69" y="54"/>
                  </a:lnTo>
                  <a:lnTo>
                    <a:pt x="69" y="55"/>
                  </a:lnTo>
                  <a:lnTo>
                    <a:pt x="71" y="57"/>
                  </a:lnTo>
                  <a:lnTo>
                    <a:pt x="71" y="57"/>
                  </a:lnTo>
                  <a:lnTo>
                    <a:pt x="77" y="65"/>
                  </a:lnTo>
                  <a:lnTo>
                    <a:pt x="80" y="68"/>
                  </a:lnTo>
                  <a:lnTo>
                    <a:pt x="81" y="70"/>
                  </a:lnTo>
                  <a:lnTo>
                    <a:pt x="81" y="68"/>
                  </a:lnTo>
                  <a:lnTo>
                    <a:pt x="81" y="68"/>
                  </a:lnTo>
                  <a:lnTo>
                    <a:pt x="81" y="64"/>
                  </a:lnTo>
                  <a:lnTo>
                    <a:pt x="81" y="59"/>
                  </a:lnTo>
                  <a:lnTo>
                    <a:pt x="81" y="57"/>
                  </a:lnTo>
                  <a:lnTo>
                    <a:pt x="82" y="57"/>
                  </a:lnTo>
                  <a:lnTo>
                    <a:pt x="84" y="57"/>
                  </a:lnTo>
                  <a:lnTo>
                    <a:pt x="84" y="57"/>
                  </a:lnTo>
                  <a:lnTo>
                    <a:pt x="87" y="59"/>
                  </a:lnTo>
                  <a:lnTo>
                    <a:pt x="87" y="64"/>
                  </a:lnTo>
                  <a:lnTo>
                    <a:pt x="88" y="67"/>
                  </a:lnTo>
                  <a:lnTo>
                    <a:pt x="90" y="70"/>
                  </a:lnTo>
                  <a:lnTo>
                    <a:pt x="90" y="70"/>
                  </a:lnTo>
                  <a:lnTo>
                    <a:pt x="94" y="71"/>
                  </a:lnTo>
                  <a:lnTo>
                    <a:pt x="97" y="72"/>
                  </a:lnTo>
                  <a:lnTo>
                    <a:pt x="100" y="75"/>
                  </a:lnTo>
                  <a:lnTo>
                    <a:pt x="100" y="75"/>
                  </a:lnTo>
                  <a:lnTo>
                    <a:pt x="103" y="80"/>
                  </a:lnTo>
                  <a:lnTo>
                    <a:pt x="106" y="86"/>
                  </a:lnTo>
                  <a:lnTo>
                    <a:pt x="106" y="90"/>
                  </a:lnTo>
                  <a:lnTo>
                    <a:pt x="106" y="94"/>
                  </a:lnTo>
                  <a:lnTo>
                    <a:pt x="106" y="94"/>
                  </a:lnTo>
                  <a:lnTo>
                    <a:pt x="100" y="99"/>
                  </a:lnTo>
                  <a:lnTo>
                    <a:pt x="98" y="100"/>
                  </a:lnTo>
                  <a:lnTo>
                    <a:pt x="97" y="104"/>
                  </a:lnTo>
                  <a:lnTo>
                    <a:pt x="97" y="104"/>
                  </a:lnTo>
                  <a:lnTo>
                    <a:pt x="98" y="107"/>
                  </a:lnTo>
                  <a:lnTo>
                    <a:pt x="101" y="112"/>
                  </a:lnTo>
                  <a:lnTo>
                    <a:pt x="103" y="114"/>
                  </a:lnTo>
                  <a:lnTo>
                    <a:pt x="103" y="117"/>
                  </a:lnTo>
                  <a:lnTo>
                    <a:pt x="103" y="117"/>
                  </a:lnTo>
                  <a:lnTo>
                    <a:pt x="101" y="122"/>
                  </a:lnTo>
                  <a:lnTo>
                    <a:pt x="98" y="125"/>
                  </a:lnTo>
                  <a:lnTo>
                    <a:pt x="97" y="12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26" name="Freeform 1031"/>
            <p:cNvSpPr>
              <a:spLocks/>
            </p:cNvSpPr>
            <p:nvPr/>
          </p:nvSpPr>
          <p:spPr bwMode="auto">
            <a:xfrm>
              <a:off x="2493963" y="6324234"/>
              <a:ext cx="58738" cy="104775"/>
            </a:xfrm>
            <a:custGeom>
              <a:avLst/>
              <a:gdLst>
                <a:gd name="T0" fmla="*/ 32 w 37"/>
                <a:gd name="T1" fmla="*/ 2 h 66"/>
                <a:gd name="T2" fmla="*/ 29 w 37"/>
                <a:gd name="T3" fmla="*/ 8 h 66"/>
                <a:gd name="T4" fmla="*/ 28 w 37"/>
                <a:gd name="T5" fmla="*/ 8 h 66"/>
                <a:gd name="T6" fmla="*/ 25 w 37"/>
                <a:gd name="T7" fmla="*/ 3 h 66"/>
                <a:gd name="T8" fmla="*/ 24 w 37"/>
                <a:gd name="T9" fmla="*/ 2 h 66"/>
                <a:gd name="T10" fmla="*/ 21 w 37"/>
                <a:gd name="T11" fmla="*/ 6 h 66"/>
                <a:gd name="T12" fmla="*/ 16 w 37"/>
                <a:gd name="T13" fmla="*/ 9 h 66"/>
                <a:gd name="T14" fmla="*/ 15 w 37"/>
                <a:gd name="T15" fmla="*/ 10 h 66"/>
                <a:gd name="T16" fmla="*/ 15 w 37"/>
                <a:gd name="T17" fmla="*/ 15 h 66"/>
                <a:gd name="T18" fmla="*/ 19 w 37"/>
                <a:gd name="T19" fmla="*/ 16 h 66"/>
                <a:gd name="T20" fmla="*/ 24 w 37"/>
                <a:gd name="T21" fmla="*/ 19 h 66"/>
                <a:gd name="T22" fmla="*/ 28 w 37"/>
                <a:gd name="T23" fmla="*/ 25 h 66"/>
                <a:gd name="T24" fmla="*/ 27 w 37"/>
                <a:gd name="T25" fmla="*/ 26 h 66"/>
                <a:gd name="T26" fmla="*/ 15 w 37"/>
                <a:gd name="T27" fmla="*/ 35 h 66"/>
                <a:gd name="T28" fmla="*/ 13 w 37"/>
                <a:gd name="T29" fmla="*/ 35 h 66"/>
                <a:gd name="T30" fmla="*/ 13 w 37"/>
                <a:gd name="T31" fmla="*/ 39 h 66"/>
                <a:gd name="T32" fmla="*/ 16 w 37"/>
                <a:gd name="T33" fmla="*/ 42 h 66"/>
                <a:gd name="T34" fmla="*/ 28 w 37"/>
                <a:gd name="T35" fmla="*/ 51 h 66"/>
                <a:gd name="T36" fmla="*/ 27 w 37"/>
                <a:gd name="T37" fmla="*/ 52 h 66"/>
                <a:gd name="T38" fmla="*/ 16 w 37"/>
                <a:gd name="T39" fmla="*/ 50 h 66"/>
                <a:gd name="T40" fmla="*/ 15 w 37"/>
                <a:gd name="T41" fmla="*/ 51 h 66"/>
                <a:gd name="T42" fmla="*/ 13 w 37"/>
                <a:gd name="T43" fmla="*/ 54 h 66"/>
                <a:gd name="T44" fmla="*/ 12 w 37"/>
                <a:gd name="T45" fmla="*/ 54 h 66"/>
                <a:gd name="T46" fmla="*/ 3 w 37"/>
                <a:gd name="T47" fmla="*/ 51 h 66"/>
                <a:gd name="T48" fmla="*/ 2 w 37"/>
                <a:gd name="T49" fmla="*/ 52 h 66"/>
                <a:gd name="T50" fmla="*/ 0 w 37"/>
                <a:gd name="T51" fmla="*/ 58 h 66"/>
                <a:gd name="T52" fmla="*/ 2 w 37"/>
                <a:gd name="T53" fmla="*/ 63 h 66"/>
                <a:gd name="T54" fmla="*/ 5 w 37"/>
                <a:gd name="T55" fmla="*/ 63 h 66"/>
                <a:gd name="T56" fmla="*/ 13 w 37"/>
                <a:gd name="T57" fmla="*/ 63 h 66"/>
                <a:gd name="T58" fmla="*/ 16 w 37"/>
                <a:gd name="T59" fmla="*/ 64 h 66"/>
                <a:gd name="T60" fmla="*/ 25 w 37"/>
                <a:gd name="T61" fmla="*/ 66 h 66"/>
                <a:gd name="T62" fmla="*/ 34 w 37"/>
                <a:gd name="T63" fmla="*/ 66 h 66"/>
                <a:gd name="T64" fmla="*/ 37 w 37"/>
                <a:gd name="T65" fmla="*/ 0 h 66"/>
                <a:gd name="T66" fmla="*/ 34 w 37"/>
                <a:gd name="T6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 h="66">
                  <a:moveTo>
                    <a:pt x="32" y="2"/>
                  </a:moveTo>
                  <a:lnTo>
                    <a:pt x="32" y="2"/>
                  </a:lnTo>
                  <a:lnTo>
                    <a:pt x="31" y="6"/>
                  </a:lnTo>
                  <a:lnTo>
                    <a:pt x="29" y="8"/>
                  </a:lnTo>
                  <a:lnTo>
                    <a:pt x="28" y="8"/>
                  </a:lnTo>
                  <a:lnTo>
                    <a:pt x="28" y="8"/>
                  </a:lnTo>
                  <a:lnTo>
                    <a:pt x="27" y="5"/>
                  </a:lnTo>
                  <a:lnTo>
                    <a:pt x="25" y="3"/>
                  </a:lnTo>
                  <a:lnTo>
                    <a:pt x="25" y="2"/>
                  </a:lnTo>
                  <a:lnTo>
                    <a:pt x="24" y="2"/>
                  </a:lnTo>
                  <a:lnTo>
                    <a:pt x="24" y="2"/>
                  </a:lnTo>
                  <a:lnTo>
                    <a:pt x="21" y="6"/>
                  </a:lnTo>
                  <a:lnTo>
                    <a:pt x="16" y="9"/>
                  </a:lnTo>
                  <a:lnTo>
                    <a:pt x="16" y="9"/>
                  </a:lnTo>
                  <a:lnTo>
                    <a:pt x="15" y="9"/>
                  </a:lnTo>
                  <a:lnTo>
                    <a:pt x="15" y="10"/>
                  </a:lnTo>
                  <a:lnTo>
                    <a:pt x="15" y="12"/>
                  </a:lnTo>
                  <a:lnTo>
                    <a:pt x="15" y="15"/>
                  </a:lnTo>
                  <a:lnTo>
                    <a:pt x="15" y="15"/>
                  </a:lnTo>
                  <a:lnTo>
                    <a:pt x="19" y="16"/>
                  </a:lnTo>
                  <a:lnTo>
                    <a:pt x="24" y="19"/>
                  </a:lnTo>
                  <a:lnTo>
                    <a:pt x="24" y="19"/>
                  </a:lnTo>
                  <a:lnTo>
                    <a:pt x="28" y="22"/>
                  </a:lnTo>
                  <a:lnTo>
                    <a:pt x="28" y="25"/>
                  </a:lnTo>
                  <a:lnTo>
                    <a:pt x="27" y="26"/>
                  </a:lnTo>
                  <a:lnTo>
                    <a:pt x="27" y="26"/>
                  </a:lnTo>
                  <a:lnTo>
                    <a:pt x="21" y="32"/>
                  </a:lnTo>
                  <a:lnTo>
                    <a:pt x="15" y="35"/>
                  </a:lnTo>
                  <a:lnTo>
                    <a:pt x="15" y="35"/>
                  </a:lnTo>
                  <a:lnTo>
                    <a:pt x="13" y="35"/>
                  </a:lnTo>
                  <a:lnTo>
                    <a:pt x="13" y="38"/>
                  </a:lnTo>
                  <a:lnTo>
                    <a:pt x="13" y="39"/>
                  </a:lnTo>
                  <a:lnTo>
                    <a:pt x="16" y="42"/>
                  </a:lnTo>
                  <a:lnTo>
                    <a:pt x="16" y="42"/>
                  </a:lnTo>
                  <a:lnTo>
                    <a:pt x="25" y="50"/>
                  </a:lnTo>
                  <a:lnTo>
                    <a:pt x="28" y="51"/>
                  </a:lnTo>
                  <a:lnTo>
                    <a:pt x="27" y="52"/>
                  </a:lnTo>
                  <a:lnTo>
                    <a:pt x="27" y="52"/>
                  </a:lnTo>
                  <a:lnTo>
                    <a:pt x="21" y="51"/>
                  </a:lnTo>
                  <a:lnTo>
                    <a:pt x="16" y="50"/>
                  </a:lnTo>
                  <a:lnTo>
                    <a:pt x="15" y="51"/>
                  </a:lnTo>
                  <a:lnTo>
                    <a:pt x="15" y="51"/>
                  </a:lnTo>
                  <a:lnTo>
                    <a:pt x="13" y="54"/>
                  </a:lnTo>
                  <a:lnTo>
                    <a:pt x="13" y="54"/>
                  </a:lnTo>
                  <a:lnTo>
                    <a:pt x="12" y="54"/>
                  </a:lnTo>
                  <a:lnTo>
                    <a:pt x="12" y="54"/>
                  </a:lnTo>
                  <a:lnTo>
                    <a:pt x="6" y="52"/>
                  </a:lnTo>
                  <a:lnTo>
                    <a:pt x="3" y="51"/>
                  </a:lnTo>
                  <a:lnTo>
                    <a:pt x="2" y="52"/>
                  </a:lnTo>
                  <a:lnTo>
                    <a:pt x="2" y="52"/>
                  </a:lnTo>
                  <a:lnTo>
                    <a:pt x="0" y="54"/>
                  </a:lnTo>
                  <a:lnTo>
                    <a:pt x="0" y="58"/>
                  </a:lnTo>
                  <a:lnTo>
                    <a:pt x="0" y="61"/>
                  </a:lnTo>
                  <a:lnTo>
                    <a:pt x="2" y="63"/>
                  </a:lnTo>
                  <a:lnTo>
                    <a:pt x="2" y="63"/>
                  </a:lnTo>
                  <a:lnTo>
                    <a:pt x="5" y="63"/>
                  </a:lnTo>
                  <a:lnTo>
                    <a:pt x="9" y="63"/>
                  </a:lnTo>
                  <a:lnTo>
                    <a:pt x="13" y="63"/>
                  </a:lnTo>
                  <a:lnTo>
                    <a:pt x="16" y="64"/>
                  </a:lnTo>
                  <a:lnTo>
                    <a:pt x="16" y="64"/>
                  </a:lnTo>
                  <a:lnTo>
                    <a:pt x="21" y="66"/>
                  </a:lnTo>
                  <a:lnTo>
                    <a:pt x="25" y="66"/>
                  </a:lnTo>
                  <a:lnTo>
                    <a:pt x="34" y="66"/>
                  </a:lnTo>
                  <a:lnTo>
                    <a:pt x="34" y="66"/>
                  </a:lnTo>
                  <a:lnTo>
                    <a:pt x="37" y="66"/>
                  </a:lnTo>
                  <a:lnTo>
                    <a:pt x="37" y="0"/>
                  </a:lnTo>
                  <a:lnTo>
                    <a:pt x="37" y="0"/>
                  </a:lnTo>
                  <a:lnTo>
                    <a:pt x="34" y="0"/>
                  </a:lnTo>
                  <a:lnTo>
                    <a:pt x="32" y="2"/>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27" name="Freeform 1032"/>
            <p:cNvSpPr>
              <a:spLocks/>
            </p:cNvSpPr>
            <p:nvPr/>
          </p:nvSpPr>
          <p:spPr bwMode="auto">
            <a:xfrm>
              <a:off x="2493963" y="6324234"/>
              <a:ext cx="58738" cy="104775"/>
            </a:xfrm>
            <a:custGeom>
              <a:avLst/>
              <a:gdLst>
                <a:gd name="T0" fmla="*/ 32 w 37"/>
                <a:gd name="T1" fmla="*/ 2 h 66"/>
                <a:gd name="T2" fmla="*/ 29 w 37"/>
                <a:gd name="T3" fmla="*/ 8 h 66"/>
                <a:gd name="T4" fmla="*/ 28 w 37"/>
                <a:gd name="T5" fmla="*/ 8 h 66"/>
                <a:gd name="T6" fmla="*/ 25 w 37"/>
                <a:gd name="T7" fmla="*/ 3 h 66"/>
                <a:gd name="T8" fmla="*/ 24 w 37"/>
                <a:gd name="T9" fmla="*/ 2 h 66"/>
                <a:gd name="T10" fmla="*/ 21 w 37"/>
                <a:gd name="T11" fmla="*/ 6 h 66"/>
                <a:gd name="T12" fmla="*/ 16 w 37"/>
                <a:gd name="T13" fmla="*/ 9 h 66"/>
                <a:gd name="T14" fmla="*/ 15 w 37"/>
                <a:gd name="T15" fmla="*/ 10 h 66"/>
                <a:gd name="T16" fmla="*/ 15 w 37"/>
                <a:gd name="T17" fmla="*/ 15 h 66"/>
                <a:gd name="T18" fmla="*/ 19 w 37"/>
                <a:gd name="T19" fmla="*/ 16 h 66"/>
                <a:gd name="T20" fmla="*/ 24 w 37"/>
                <a:gd name="T21" fmla="*/ 19 h 66"/>
                <a:gd name="T22" fmla="*/ 28 w 37"/>
                <a:gd name="T23" fmla="*/ 25 h 66"/>
                <a:gd name="T24" fmla="*/ 27 w 37"/>
                <a:gd name="T25" fmla="*/ 26 h 66"/>
                <a:gd name="T26" fmla="*/ 15 w 37"/>
                <a:gd name="T27" fmla="*/ 35 h 66"/>
                <a:gd name="T28" fmla="*/ 13 w 37"/>
                <a:gd name="T29" fmla="*/ 35 h 66"/>
                <a:gd name="T30" fmla="*/ 13 w 37"/>
                <a:gd name="T31" fmla="*/ 39 h 66"/>
                <a:gd name="T32" fmla="*/ 16 w 37"/>
                <a:gd name="T33" fmla="*/ 42 h 66"/>
                <a:gd name="T34" fmla="*/ 28 w 37"/>
                <a:gd name="T35" fmla="*/ 51 h 66"/>
                <a:gd name="T36" fmla="*/ 27 w 37"/>
                <a:gd name="T37" fmla="*/ 52 h 66"/>
                <a:gd name="T38" fmla="*/ 16 w 37"/>
                <a:gd name="T39" fmla="*/ 50 h 66"/>
                <a:gd name="T40" fmla="*/ 15 w 37"/>
                <a:gd name="T41" fmla="*/ 51 h 66"/>
                <a:gd name="T42" fmla="*/ 13 w 37"/>
                <a:gd name="T43" fmla="*/ 54 h 66"/>
                <a:gd name="T44" fmla="*/ 12 w 37"/>
                <a:gd name="T45" fmla="*/ 54 h 66"/>
                <a:gd name="T46" fmla="*/ 3 w 37"/>
                <a:gd name="T47" fmla="*/ 51 h 66"/>
                <a:gd name="T48" fmla="*/ 2 w 37"/>
                <a:gd name="T49" fmla="*/ 52 h 66"/>
                <a:gd name="T50" fmla="*/ 0 w 37"/>
                <a:gd name="T51" fmla="*/ 58 h 66"/>
                <a:gd name="T52" fmla="*/ 2 w 37"/>
                <a:gd name="T53" fmla="*/ 63 h 66"/>
                <a:gd name="T54" fmla="*/ 5 w 37"/>
                <a:gd name="T55" fmla="*/ 63 h 66"/>
                <a:gd name="T56" fmla="*/ 13 w 37"/>
                <a:gd name="T57" fmla="*/ 63 h 66"/>
                <a:gd name="T58" fmla="*/ 16 w 37"/>
                <a:gd name="T59" fmla="*/ 64 h 66"/>
                <a:gd name="T60" fmla="*/ 25 w 37"/>
                <a:gd name="T61" fmla="*/ 66 h 66"/>
                <a:gd name="T62" fmla="*/ 34 w 37"/>
                <a:gd name="T63" fmla="*/ 66 h 66"/>
                <a:gd name="T64" fmla="*/ 37 w 37"/>
                <a:gd name="T65" fmla="*/ 0 h 66"/>
                <a:gd name="T66" fmla="*/ 34 w 37"/>
                <a:gd name="T6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 h="66">
                  <a:moveTo>
                    <a:pt x="32" y="2"/>
                  </a:moveTo>
                  <a:lnTo>
                    <a:pt x="32" y="2"/>
                  </a:lnTo>
                  <a:lnTo>
                    <a:pt x="31" y="6"/>
                  </a:lnTo>
                  <a:lnTo>
                    <a:pt x="29" y="8"/>
                  </a:lnTo>
                  <a:lnTo>
                    <a:pt x="28" y="8"/>
                  </a:lnTo>
                  <a:lnTo>
                    <a:pt x="28" y="8"/>
                  </a:lnTo>
                  <a:lnTo>
                    <a:pt x="27" y="5"/>
                  </a:lnTo>
                  <a:lnTo>
                    <a:pt x="25" y="3"/>
                  </a:lnTo>
                  <a:lnTo>
                    <a:pt x="25" y="2"/>
                  </a:lnTo>
                  <a:lnTo>
                    <a:pt x="24" y="2"/>
                  </a:lnTo>
                  <a:lnTo>
                    <a:pt x="24" y="2"/>
                  </a:lnTo>
                  <a:lnTo>
                    <a:pt x="21" y="6"/>
                  </a:lnTo>
                  <a:lnTo>
                    <a:pt x="16" y="9"/>
                  </a:lnTo>
                  <a:lnTo>
                    <a:pt x="16" y="9"/>
                  </a:lnTo>
                  <a:lnTo>
                    <a:pt x="15" y="9"/>
                  </a:lnTo>
                  <a:lnTo>
                    <a:pt x="15" y="10"/>
                  </a:lnTo>
                  <a:lnTo>
                    <a:pt x="15" y="12"/>
                  </a:lnTo>
                  <a:lnTo>
                    <a:pt x="15" y="15"/>
                  </a:lnTo>
                  <a:lnTo>
                    <a:pt x="15" y="15"/>
                  </a:lnTo>
                  <a:lnTo>
                    <a:pt x="19" y="16"/>
                  </a:lnTo>
                  <a:lnTo>
                    <a:pt x="24" y="19"/>
                  </a:lnTo>
                  <a:lnTo>
                    <a:pt x="24" y="19"/>
                  </a:lnTo>
                  <a:lnTo>
                    <a:pt x="28" y="22"/>
                  </a:lnTo>
                  <a:lnTo>
                    <a:pt x="28" y="25"/>
                  </a:lnTo>
                  <a:lnTo>
                    <a:pt x="27" y="26"/>
                  </a:lnTo>
                  <a:lnTo>
                    <a:pt x="27" y="26"/>
                  </a:lnTo>
                  <a:lnTo>
                    <a:pt x="21" y="32"/>
                  </a:lnTo>
                  <a:lnTo>
                    <a:pt x="15" y="35"/>
                  </a:lnTo>
                  <a:lnTo>
                    <a:pt x="15" y="35"/>
                  </a:lnTo>
                  <a:lnTo>
                    <a:pt x="13" y="35"/>
                  </a:lnTo>
                  <a:lnTo>
                    <a:pt x="13" y="38"/>
                  </a:lnTo>
                  <a:lnTo>
                    <a:pt x="13" y="39"/>
                  </a:lnTo>
                  <a:lnTo>
                    <a:pt x="16" y="42"/>
                  </a:lnTo>
                  <a:lnTo>
                    <a:pt x="16" y="42"/>
                  </a:lnTo>
                  <a:lnTo>
                    <a:pt x="25" y="50"/>
                  </a:lnTo>
                  <a:lnTo>
                    <a:pt x="28" y="51"/>
                  </a:lnTo>
                  <a:lnTo>
                    <a:pt x="27" y="52"/>
                  </a:lnTo>
                  <a:lnTo>
                    <a:pt x="27" y="52"/>
                  </a:lnTo>
                  <a:lnTo>
                    <a:pt x="21" y="51"/>
                  </a:lnTo>
                  <a:lnTo>
                    <a:pt x="16" y="50"/>
                  </a:lnTo>
                  <a:lnTo>
                    <a:pt x="15" y="51"/>
                  </a:lnTo>
                  <a:lnTo>
                    <a:pt x="15" y="51"/>
                  </a:lnTo>
                  <a:lnTo>
                    <a:pt x="13" y="54"/>
                  </a:lnTo>
                  <a:lnTo>
                    <a:pt x="13" y="54"/>
                  </a:lnTo>
                  <a:lnTo>
                    <a:pt x="12" y="54"/>
                  </a:lnTo>
                  <a:lnTo>
                    <a:pt x="12" y="54"/>
                  </a:lnTo>
                  <a:lnTo>
                    <a:pt x="6" y="52"/>
                  </a:lnTo>
                  <a:lnTo>
                    <a:pt x="3" y="51"/>
                  </a:lnTo>
                  <a:lnTo>
                    <a:pt x="2" y="52"/>
                  </a:lnTo>
                  <a:lnTo>
                    <a:pt x="2" y="52"/>
                  </a:lnTo>
                  <a:lnTo>
                    <a:pt x="0" y="54"/>
                  </a:lnTo>
                  <a:lnTo>
                    <a:pt x="0" y="58"/>
                  </a:lnTo>
                  <a:lnTo>
                    <a:pt x="0" y="61"/>
                  </a:lnTo>
                  <a:lnTo>
                    <a:pt x="2" y="63"/>
                  </a:lnTo>
                  <a:lnTo>
                    <a:pt x="2" y="63"/>
                  </a:lnTo>
                  <a:lnTo>
                    <a:pt x="5" y="63"/>
                  </a:lnTo>
                  <a:lnTo>
                    <a:pt x="9" y="63"/>
                  </a:lnTo>
                  <a:lnTo>
                    <a:pt x="13" y="63"/>
                  </a:lnTo>
                  <a:lnTo>
                    <a:pt x="16" y="64"/>
                  </a:lnTo>
                  <a:lnTo>
                    <a:pt x="16" y="64"/>
                  </a:lnTo>
                  <a:lnTo>
                    <a:pt x="21" y="66"/>
                  </a:lnTo>
                  <a:lnTo>
                    <a:pt x="25" y="66"/>
                  </a:lnTo>
                  <a:lnTo>
                    <a:pt x="34" y="66"/>
                  </a:lnTo>
                  <a:lnTo>
                    <a:pt x="34" y="66"/>
                  </a:lnTo>
                  <a:lnTo>
                    <a:pt x="37" y="66"/>
                  </a:lnTo>
                  <a:lnTo>
                    <a:pt x="37" y="0"/>
                  </a:lnTo>
                  <a:lnTo>
                    <a:pt x="37" y="0"/>
                  </a:lnTo>
                  <a:lnTo>
                    <a:pt x="34" y="0"/>
                  </a:lnTo>
                  <a:lnTo>
                    <a:pt x="3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28" name="Freeform 1033"/>
            <p:cNvSpPr>
              <a:spLocks/>
            </p:cNvSpPr>
            <p:nvPr/>
          </p:nvSpPr>
          <p:spPr bwMode="auto">
            <a:xfrm>
              <a:off x="2552700" y="6324234"/>
              <a:ext cx="87313" cy="111125"/>
            </a:xfrm>
            <a:custGeom>
              <a:avLst/>
              <a:gdLst>
                <a:gd name="T0" fmla="*/ 53 w 55"/>
                <a:gd name="T1" fmla="*/ 63 h 70"/>
                <a:gd name="T2" fmla="*/ 53 w 55"/>
                <a:gd name="T3" fmla="*/ 63 h 70"/>
                <a:gd name="T4" fmla="*/ 39 w 55"/>
                <a:gd name="T5" fmla="*/ 55 h 70"/>
                <a:gd name="T6" fmla="*/ 32 w 55"/>
                <a:gd name="T7" fmla="*/ 51 h 70"/>
                <a:gd name="T8" fmla="*/ 27 w 55"/>
                <a:gd name="T9" fmla="*/ 48 h 70"/>
                <a:gd name="T10" fmla="*/ 27 w 55"/>
                <a:gd name="T11" fmla="*/ 48 h 70"/>
                <a:gd name="T12" fmla="*/ 23 w 55"/>
                <a:gd name="T13" fmla="*/ 42 h 70"/>
                <a:gd name="T14" fmla="*/ 18 w 55"/>
                <a:gd name="T15" fmla="*/ 38 h 70"/>
                <a:gd name="T16" fmla="*/ 13 w 55"/>
                <a:gd name="T17" fmla="*/ 32 h 70"/>
                <a:gd name="T18" fmla="*/ 10 w 55"/>
                <a:gd name="T19" fmla="*/ 28 h 70"/>
                <a:gd name="T20" fmla="*/ 10 w 55"/>
                <a:gd name="T21" fmla="*/ 28 h 70"/>
                <a:gd name="T22" fmla="*/ 8 w 55"/>
                <a:gd name="T23" fmla="*/ 25 h 70"/>
                <a:gd name="T24" fmla="*/ 5 w 55"/>
                <a:gd name="T25" fmla="*/ 24 h 70"/>
                <a:gd name="T26" fmla="*/ 4 w 55"/>
                <a:gd name="T27" fmla="*/ 22 h 70"/>
                <a:gd name="T28" fmla="*/ 4 w 55"/>
                <a:gd name="T29" fmla="*/ 19 h 70"/>
                <a:gd name="T30" fmla="*/ 4 w 55"/>
                <a:gd name="T31" fmla="*/ 19 h 70"/>
                <a:gd name="T32" fmla="*/ 5 w 55"/>
                <a:gd name="T33" fmla="*/ 16 h 70"/>
                <a:gd name="T34" fmla="*/ 7 w 55"/>
                <a:gd name="T35" fmla="*/ 15 h 70"/>
                <a:gd name="T36" fmla="*/ 7 w 55"/>
                <a:gd name="T37" fmla="*/ 12 h 70"/>
                <a:gd name="T38" fmla="*/ 5 w 55"/>
                <a:gd name="T39" fmla="*/ 8 h 70"/>
                <a:gd name="T40" fmla="*/ 5 w 55"/>
                <a:gd name="T41" fmla="*/ 8 h 70"/>
                <a:gd name="T42" fmla="*/ 3 w 55"/>
                <a:gd name="T43" fmla="*/ 3 h 70"/>
                <a:gd name="T44" fmla="*/ 0 w 55"/>
                <a:gd name="T45" fmla="*/ 0 h 70"/>
                <a:gd name="T46" fmla="*/ 0 w 55"/>
                <a:gd name="T47" fmla="*/ 66 h 70"/>
                <a:gd name="T48" fmla="*/ 0 w 55"/>
                <a:gd name="T49" fmla="*/ 66 h 70"/>
                <a:gd name="T50" fmla="*/ 13 w 55"/>
                <a:gd name="T51" fmla="*/ 66 h 70"/>
                <a:gd name="T52" fmla="*/ 18 w 55"/>
                <a:gd name="T53" fmla="*/ 66 h 70"/>
                <a:gd name="T54" fmla="*/ 23 w 55"/>
                <a:gd name="T55" fmla="*/ 66 h 70"/>
                <a:gd name="T56" fmla="*/ 23 w 55"/>
                <a:gd name="T57" fmla="*/ 66 h 70"/>
                <a:gd name="T58" fmla="*/ 30 w 55"/>
                <a:gd name="T59" fmla="*/ 68 h 70"/>
                <a:gd name="T60" fmla="*/ 37 w 55"/>
                <a:gd name="T61" fmla="*/ 70 h 70"/>
                <a:gd name="T62" fmla="*/ 37 w 55"/>
                <a:gd name="T63" fmla="*/ 70 h 70"/>
                <a:gd name="T64" fmla="*/ 42 w 55"/>
                <a:gd name="T65" fmla="*/ 67 h 70"/>
                <a:gd name="T66" fmla="*/ 45 w 55"/>
                <a:gd name="T67" fmla="*/ 67 h 70"/>
                <a:gd name="T68" fmla="*/ 47 w 55"/>
                <a:gd name="T69" fmla="*/ 66 h 70"/>
                <a:gd name="T70" fmla="*/ 47 w 55"/>
                <a:gd name="T71" fmla="*/ 66 h 70"/>
                <a:gd name="T72" fmla="*/ 53 w 55"/>
                <a:gd name="T73" fmla="*/ 66 h 70"/>
                <a:gd name="T74" fmla="*/ 55 w 55"/>
                <a:gd name="T75" fmla="*/ 64 h 70"/>
                <a:gd name="T76" fmla="*/ 53 w 55"/>
                <a:gd name="T77" fmla="*/ 6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70">
                  <a:moveTo>
                    <a:pt x="53" y="63"/>
                  </a:moveTo>
                  <a:lnTo>
                    <a:pt x="53" y="63"/>
                  </a:lnTo>
                  <a:lnTo>
                    <a:pt x="39" y="55"/>
                  </a:lnTo>
                  <a:lnTo>
                    <a:pt x="32" y="51"/>
                  </a:lnTo>
                  <a:lnTo>
                    <a:pt x="27" y="48"/>
                  </a:lnTo>
                  <a:lnTo>
                    <a:pt x="27" y="48"/>
                  </a:lnTo>
                  <a:lnTo>
                    <a:pt x="23" y="42"/>
                  </a:lnTo>
                  <a:lnTo>
                    <a:pt x="18" y="38"/>
                  </a:lnTo>
                  <a:lnTo>
                    <a:pt x="13" y="32"/>
                  </a:lnTo>
                  <a:lnTo>
                    <a:pt x="10" y="28"/>
                  </a:lnTo>
                  <a:lnTo>
                    <a:pt x="10" y="28"/>
                  </a:lnTo>
                  <a:lnTo>
                    <a:pt x="8" y="25"/>
                  </a:lnTo>
                  <a:lnTo>
                    <a:pt x="5" y="24"/>
                  </a:lnTo>
                  <a:lnTo>
                    <a:pt x="4" y="22"/>
                  </a:lnTo>
                  <a:lnTo>
                    <a:pt x="4" y="19"/>
                  </a:lnTo>
                  <a:lnTo>
                    <a:pt x="4" y="19"/>
                  </a:lnTo>
                  <a:lnTo>
                    <a:pt x="5" y="16"/>
                  </a:lnTo>
                  <a:lnTo>
                    <a:pt x="7" y="15"/>
                  </a:lnTo>
                  <a:lnTo>
                    <a:pt x="7" y="12"/>
                  </a:lnTo>
                  <a:lnTo>
                    <a:pt x="5" y="8"/>
                  </a:lnTo>
                  <a:lnTo>
                    <a:pt x="5" y="8"/>
                  </a:lnTo>
                  <a:lnTo>
                    <a:pt x="3" y="3"/>
                  </a:lnTo>
                  <a:lnTo>
                    <a:pt x="0" y="0"/>
                  </a:lnTo>
                  <a:lnTo>
                    <a:pt x="0" y="66"/>
                  </a:lnTo>
                  <a:lnTo>
                    <a:pt x="0" y="66"/>
                  </a:lnTo>
                  <a:lnTo>
                    <a:pt x="13" y="66"/>
                  </a:lnTo>
                  <a:lnTo>
                    <a:pt x="18" y="66"/>
                  </a:lnTo>
                  <a:lnTo>
                    <a:pt x="23" y="66"/>
                  </a:lnTo>
                  <a:lnTo>
                    <a:pt x="23" y="66"/>
                  </a:lnTo>
                  <a:lnTo>
                    <a:pt x="30" y="68"/>
                  </a:lnTo>
                  <a:lnTo>
                    <a:pt x="37" y="70"/>
                  </a:lnTo>
                  <a:lnTo>
                    <a:pt x="37" y="70"/>
                  </a:lnTo>
                  <a:lnTo>
                    <a:pt x="42" y="67"/>
                  </a:lnTo>
                  <a:lnTo>
                    <a:pt x="45" y="67"/>
                  </a:lnTo>
                  <a:lnTo>
                    <a:pt x="47" y="66"/>
                  </a:lnTo>
                  <a:lnTo>
                    <a:pt x="47" y="66"/>
                  </a:lnTo>
                  <a:lnTo>
                    <a:pt x="53" y="66"/>
                  </a:lnTo>
                  <a:lnTo>
                    <a:pt x="55" y="64"/>
                  </a:lnTo>
                  <a:lnTo>
                    <a:pt x="53" y="63"/>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29" name="Freeform 1034"/>
            <p:cNvSpPr>
              <a:spLocks/>
            </p:cNvSpPr>
            <p:nvPr/>
          </p:nvSpPr>
          <p:spPr bwMode="auto">
            <a:xfrm>
              <a:off x="2552700" y="6324234"/>
              <a:ext cx="87313" cy="111125"/>
            </a:xfrm>
            <a:custGeom>
              <a:avLst/>
              <a:gdLst>
                <a:gd name="T0" fmla="*/ 53 w 55"/>
                <a:gd name="T1" fmla="*/ 63 h 70"/>
                <a:gd name="T2" fmla="*/ 53 w 55"/>
                <a:gd name="T3" fmla="*/ 63 h 70"/>
                <a:gd name="T4" fmla="*/ 39 w 55"/>
                <a:gd name="T5" fmla="*/ 55 h 70"/>
                <a:gd name="T6" fmla="*/ 32 w 55"/>
                <a:gd name="T7" fmla="*/ 51 h 70"/>
                <a:gd name="T8" fmla="*/ 27 w 55"/>
                <a:gd name="T9" fmla="*/ 48 h 70"/>
                <a:gd name="T10" fmla="*/ 27 w 55"/>
                <a:gd name="T11" fmla="*/ 48 h 70"/>
                <a:gd name="T12" fmla="*/ 23 w 55"/>
                <a:gd name="T13" fmla="*/ 42 h 70"/>
                <a:gd name="T14" fmla="*/ 18 w 55"/>
                <a:gd name="T15" fmla="*/ 38 h 70"/>
                <a:gd name="T16" fmla="*/ 13 w 55"/>
                <a:gd name="T17" fmla="*/ 32 h 70"/>
                <a:gd name="T18" fmla="*/ 10 w 55"/>
                <a:gd name="T19" fmla="*/ 28 h 70"/>
                <a:gd name="T20" fmla="*/ 10 w 55"/>
                <a:gd name="T21" fmla="*/ 28 h 70"/>
                <a:gd name="T22" fmla="*/ 8 w 55"/>
                <a:gd name="T23" fmla="*/ 25 h 70"/>
                <a:gd name="T24" fmla="*/ 5 w 55"/>
                <a:gd name="T25" fmla="*/ 24 h 70"/>
                <a:gd name="T26" fmla="*/ 4 w 55"/>
                <a:gd name="T27" fmla="*/ 22 h 70"/>
                <a:gd name="T28" fmla="*/ 4 w 55"/>
                <a:gd name="T29" fmla="*/ 19 h 70"/>
                <a:gd name="T30" fmla="*/ 4 w 55"/>
                <a:gd name="T31" fmla="*/ 19 h 70"/>
                <a:gd name="T32" fmla="*/ 5 w 55"/>
                <a:gd name="T33" fmla="*/ 16 h 70"/>
                <a:gd name="T34" fmla="*/ 7 w 55"/>
                <a:gd name="T35" fmla="*/ 15 h 70"/>
                <a:gd name="T36" fmla="*/ 7 w 55"/>
                <a:gd name="T37" fmla="*/ 12 h 70"/>
                <a:gd name="T38" fmla="*/ 5 w 55"/>
                <a:gd name="T39" fmla="*/ 8 h 70"/>
                <a:gd name="T40" fmla="*/ 5 w 55"/>
                <a:gd name="T41" fmla="*/ 8 h 70"/>
                <a:gd name="T42" fmla="*/ 3 w 55"/>
                <a:gd name="T43" fmla="*/ 3 h 70"/>
                <a:gd name="T44" fmla="*/ 0 w 55"/>
                <a:gd name="T45" fmla="*/ 0 h 70"/>
                <a:gd name="T46" fmla="*/ 0 w 55"/>
                <a:gd name="T47" fmla="*/ 66 h 70"/>
                <a:gd name="T48" fmla="*/ 0 w 55"/>
                <a:gd name="T49" fmla="*/ 66 h 70"/>
                <a:gd name="T50" fmla="*/ 13 w 55"/>
                <a:gd name="T51" fmla="*/ 66 h 70"/>
                <a:gd name="T52" fmla="*/ 18 w 55"/>
                <a:gd name="T53" fmla="*/ 66 h 70"/>
                <a:gd name="T54" fmla="*/ 23 w 55"/>
                <a:gd name="T55" fmla="*/ 66 h 70"/>
                <a:gd name="T56" fmla="*/ 23 w 55"/>
                <a:gd name="T57" fmla="*/ 66 h 70"/>
                <a:gd name="T58" fmla="*/ 30 w 55"/>
                <a:gd name="T59" fmla="*/ 68 h 70"/>
                <a:gd name="T60" fmla="*/ 37 w 55"/>
                <a:gd name="T61" fmla="*/ 70 h 70"/>
                <a:gd name="T62" fmla="*/ 37 w 55"/>
                <a:gd name="T63" fmla="*/ 70 h 70"/>
                <a:gd name="T64" fmla="*/ 42 w 55"/>
                <a:gd name="T65" fmla="*/ 67 h 70"/>
                <a:gd name="T66" fmla="*/ 45 w 55"/>
                <a:gd name="T67" fmla="*/ 67 h 70"/>
                <a:gd name="T68" fmla="*/ 47 w 55"/>
                <a:gd name="T69" fmla="*/ 66 h 70"/>
                <a:gd name="T70" fmla="*/ 47 w 55"/>
                <a:gd name="T71" fmla="*/ 66 h 70"/>
                <a:gd name="T72" fmla="*/ 53 w 55"/>
                <a:gd name="T73" fmla="*/ 66 h 70"/>
                <a:gd name="T74" fmla="*/ 55 w 55"/>
                <a:gd name="T75" fmla="*/ 64 h 70"/>
                <a:gd name="T76" fmla="*/ 53 w 55"/>
                <a:gd name="T77" fmla="*/ 6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70">
                  <a:moveTo>
                    <a:pt x="53" y="63"/>
                  </a:moveTo>
                  <a:lnTo>
                    <a:pt x="53" y="63"/>
                  </a:lnTo>
                  <a:lnTo>
                    <a:pt x="39" y="55"/>
                  </a:lnTo>
                  <a:lnTo>
                    <a:pt x="32" y="51"/>
                  </a:lnTo>
                  <a:lnTo>
                    <a:pt x="27" y="48"/>
                  </a:lnTo>
                  <a:lnTo>
                    <a:pt x="27" y="48"/>
                  </a:lnTo>
                  <a:lnTo>
                    <a:pt x="23" y="42"/>
                  </a:lnTo>
                  <a:lnTo>
                    <a:pt x="18" y="38"/>
                  </a:lnTo>
                  <a:lnTo>
                    <a:pt x="13" y="32"/>
                  </a:lnTo>
                  <a:lnTo>
                    <a:pt x="10" y="28"/>
                  </a:lnTo>
                  <a:lnTo>
                    <a:pt x="10" y="28"/>
                  </a:lnTo>
                  <a:lnTo>
                    <a:pt x="8" y="25"/>
                  </a:lnTo>
                  <a:lnTo>
                    <a:pt x="5" y="24"/>
                  </a:lnTo>
                  <a:lnTo>
                    <a:pt x="4" y="22"/>
                  </a:lnTo>
                  <a:lnTo>
                    <a:pt x="4" y="19"/>
                  </a:lnTo>
                  <a:lnTo>
                    <a:pt x="4" y="19"/>
                  </a:lnTo>
                  <a:lnTo>
                    <a:pt x="5" y="16"/>
                  </a:lnTo>
                  <a:lnTo>
                    <a:pt x="7" y="15"/>
                  </a:lnTo>
                  <a:lnTo>
                    <a:pt x="7" y="12"/>
                  </a:lnTo>
                  <a:lnTo>
                    <a:pt x="5" y="8"/>
                  </a:lnTo>
                  <a:lnTo>
                    <a:pt x="5" y="8"/>
                  </a:lnTo>
                  <a:lnTo>
                    <a:pt x="3" y="3"/>
                  </a:lnTo>
                  <a:lnTo>
                    <a:pt x="0" y="0"/>
                  </a:lnTo>
                  <a:lnTo>
                    <a:pt x="0" y="66"/>
                  </a:lnTo>
                  <a:lnTo>
                    <a:pt x="0" y="66"/>
                  </a:lnTo>
                  <a:lnTo>
                    <a:pt x="13" y="66"/>
                  </a:lnTo>
                  <a:lnTo>
                    <a:pt x="18" y="66"/>
                  </a:lnTo>
                  <a:lnTo>
                    <a:pt x="23" y="66"/>
                  </a:lnTo>
                  <a:lnTo>
                    <a:pt x="23" y="66"/>
                  </a:lnTo>
                  <a:lnTo>
                    <a:pt x="30" y="68"/>
                  </a:lnTo>
                  <a:lnTo>
                    <a:pt x="37" y="70"/>
                  </a:lnTo>
                  <a:lnTo>
                    <a:pt x="37" y="70"/>
                  </a:lnTo>
                  <a:lnTo>
                    <a:pt x="42" y="67"/>
                  </a:lnTo>
                  <a:lnTo>
                    <a:pt x="45" y="67"/>
                  </a:lnTo>
                  <a:lnTo>
                    <a:pt x="47" y="66"/>
                  </a:lnTo>
                  <a:lnTo>
                    <a:pt x="47" y="66"/>
                  </a:lnTo>
                  <a:lnTo>
                    <a:pt x="53" y="66"/>
                  </a:lnTo>
                  <a:lnTo>
                    <a:pt x="55" y="64"/>
                  </a:lnTo>
                  <a:lnTo>
                    <a:pt x="53" y="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30" name="Freeform 1035"/>
            <p:cNvSpPr>
              <a:spLocks/>
            </p:cNvSpPr>
            <p:nvPr/>
          </p:nvSpPr>
          <p:spPr bwMode="auto">
            <a:xfrm>
              <a:off x="1025525" y="3260359"/>
              <a:ext cx="127000" cy="87313"/>
            </a:xfrm>
            <a:custGeom>
              <a:avLst/>
              <a:gdLst>
                <a:gd name="T0" fmla="*/ 77 w 80"/>
                <a:gd name="T1" fmla="*/ 55 h 55"/>
                <a:gd name="T2" fmla="*/ 77 w 80"/>
                <a:gd name="T3" fmla="*/ 55 h 55"/>
                <a:gd name="T4" fmla="*/ 72 w 80"/>
                <a:gd name="T5" fmla="*/ 55 h 55"/>
                <a:gd name="T6" fmla="*/ 65 w 80"/>
                <a:gd name="T7" fmla="*/ 53 h 55"/>
                <a:gd name="T8" fmla="*/ 59 w 80"/>
                <a:gd name="T9" fmla="*/ 50 h 55"/>
                <a:gd name="T10" fmla="*/ 55 w 80"/>
                <a:gd name="T11" fmla="*/ 46 h 55"/>
                <a:gd name="T12" fmla="*/ 55 w 80"/>
                <a:gd name="T13" fmla="*/ 46 h 55"/>
                <a:gd name="T14" fmla="*/ 52 w 80"/>
                <a:gd name="T15" fmla="*/ 43 h 55"/>
                <a:gd name="T16" fmla="*/ 51 w 80"/>
                <a:gd name="T17" fmla="*/ 42 h 55"/>
                <a:gd name="T18" fmla="*/ 45 w 80"/>
                <a:gd name="T19" fmla="*/ 40 h 55"/>
                <a:gd name="T20" fmla="*/ 45 w 80"/>
                <a:gd name="T21" fmla="*/ 40 h 55"/>
                <a:gd name="T22" fmla="*/ 42 w 80"/>
                <a:gd name="T23" fmla="*/ 39 h 55"/>
                <a:gd name="T24" fmla="*/ 36 w 80"/>
                <a:gd name="T25" fmla="*/ 33 h 55"/>
                <a:gd name="T26" fmla="*/ 36 w 80"/>
                <a:gd name="T27" fmla="*/ 33 h 55"/>
                <a:gd name="T28" fmla="*/ 3 w 80"/>
                <a:gd name="T29" fmla="*/ 8 h 55"/>
                <a:gd name="T30" fmla="*/ 3 w 80"/>
                <a:gd name="T31" fmla="*/ 8 h 55"/>
                <a:gd name="T32" fmla="*/ 0 w 80"/>
                <a:gd name="T33" fmla="*/ 5 h 55"/>
                <a:gd name="T34" fmla="*/ 0 w 80"/>
                <a:gd name="T35" fmla="*/ 2 h 55"/>
                <a:gd name="T36" fmla="*/ 3 w 80"/>
                <a:gd name="T37" fmla="*/ 0 h 55"/>
                <a:gd name="T38" fmla="*/ 4 w 80"/>
                <a:gd name="T39" fmla="*/ 0 h 55"/>
                <a:gd name="T40" fmla="*/ 4 w 80"/>
                <a:gd name="T41" fmla="*/ 0 h 55"/>
                <a:gd name="T42" fmla="*/ 19 w 80"/>
                <a:gd name="T43" fmla="*/ 4 h 55"/>
                <a:gd name="T44" fmla="*/ 33 w 80"/>
                <a:gd name="T45" fmla="*/ 10 h 55"/>
                <a:gd name="T46" fmla="*/ 33 w 80"/>
                <a:gd name="T47" fmla="*/ 10 h 55"/>
                <a:gd name="T48" fmla="*/ 38 w 80"/>
                <a:gd name="T49" fmla="*/ 11 h 55"/>
                <a:gd name="T50" fmla="*/ 43 w 80"/>
                <a:gd name="T51" fmla="*/ 15 h 55"/>
                <a:gd name="T52" fmla="*/ 49 w 80"/>
                <a:gd name="T53" fmla="*/ 21 h 55"/>
                <a:gd name="T54" fmla="*/ 52 w 80"/>
                <a:gd name="T55" fmla="*/ 24 h 55"/>
                <a:gd name="T56" fmla="*/ 52 w 80"/>
                <a:gd name="T57" fmla="*/ 24 h 55"/>
                <a:gd name="T58" fmla="*/ 54 w 80"/>
                <a:gd name="T59" fmla="*/ 27 h 55"/>
                <a:gd name="T60" fmla="*/ 58 w 80"/>
                <a:gd name="T61" fmla="*/ 29 h 55"/>
                <a:gd name="T62" fmla="*/ 62 w 80"/>
                <a:gd name="T63" fmla="*/ 33 h 55"/>
                <a:gd name="T64" fmla="*/ 67 w 80"/>
                <a:gd name="T65" fmla="*/ 36 h 55"/>
                <a:gd name="T66" fmla="*/ 67 w 80"/>
                <a:gd name="T67" fmla="*/ 36 h 55"/>
                <a:gd name="T68" fmla="*/ 77 w 80"/>
                <a:gd name="T69" fmla="*/ 47 h 55"/>
                <a:gd name="T70" fmla="*/ 80 w 80"/>
                <a:gd name="T71" fmla="*/ 53 h 55"/>
                <a:gd name="T72" fmla="*/ 80 w 80"/>
                <a:gd name="T73" fmla="*/ 55 h 55"/>
                <a:gd name="T74" fmla="*/ 77 w 80"/>
                <a:gd name="T75"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55">
                  <a:moveTo>
                    <a:pt x="77" y="55"/>
                  </a:moveTo>
                  <a:lnTo>
                    <a:pt x="77" y="55"/>
                  </a:lnTo>
                  <a:lnTo>
                    <a:pt x="72" y="55"/>
                  </a:lnTo>
                  <a:lnTo>
                    <a:pt x="65" y="53"/>
                  </a:lnTo>
                  <a:lnTo>
                    <a:pt x="59" y="50"/>
                  </a:lnTo>
                  <a:lnTo>
                    <a:pt x="55" y="46"/>
                  </a:lnTo>
                  <a:lnTo>
                    <a:pt x="55" y="46"/>
                  </a:lnTo>
                  <a:lnTo>
                    <a:pt x="52" y="43"/>
                  </a:lnTo>
                  <a:lnTo>
                    <a:pt x="51" y="42"/>
                  </a:lnTo>
                  <a:lnTo>
                    <a:pt x="45" y="40"/>
                  </a:lnTo>
                  <a:lnTo>
                    <a:pt x="45" y="40"/>
                  </a:lnTo>
                  <a:lnTo>
                    <a:pt x="42" y="39"/>
                  </a:lnTo>
                  <a:lnTo>
                    <a:pt x="36" y="33"/>
                  </a:lnTo>
                  <a:lnTo>
                    <a:pt x="36" y="33"/>
                  </a:lnTo>
                  <a:lnTo>
                    <a:pt x="3" y="8"/>
                  </a:lnTo>
                  <a:lnTo>
                    <a:pt x="3" y="8"/>
                  </a:lnTo>
                  <a:lnTo>
                    <a:pt x="0" y="5"/>
                  </a:lnTo>
                  <a:lnTo>
                    <a:pt x="0" y="2"/>
                  </a:lnTo>
                  <a:lnTo>
                    <a:pt x="3" y="0"/>
                  </a:lnTo>
                  <a:lnTo>
                    <a:pt x="4" y="0"/>
                  </a:lnTo>
                  <a:lnTo>
                    <a:pt x="4" y="0"/>
                  </a:lnTo>
                  <a:lnTo>
                    <a:pt x="19" y="4"/>
                  </a:lnTo>
                  <a:lnTo>
                    <a:pt x="33" y="10"/>
                  </a:lnTo>
                  <a:lnTo>
                    <a:pt x="33" y="10"/>
                  </a:lnTo>
                  <a:lnTo>
                    <a:pt x="38" y="11"/>
                  </a:lnTo>
                  <a:lnTo>
                    <a:pt x="43" y="15"/>
                  </a:lnTo>
                  <a:lnTo>
                    <a:pt x="49" y="21"/>
                  </a:lnTo>
                  <a:lnTo>
                    <a:pt x="52" y="24"/>
                  </a:lnTo>
                  <a:lnTo>
                    <a:pt x="52" y="24"/>
                  </a:lnTo>
                  <a:lnTo>
                    <a:pt x="54" y="27"/>
                  </a:lnTo>
                  <a:lnTo>
                    <a:pt x="58" y="29"/>
                  </a:lnTo>
                  <a:lnTo>
                    <a:pt x="62" y="33"/>
                  </a:lnTo>
                  <a:lnTo>
                    <a:pt x="67" y="36"/>
                  </a:lnTo>
                  <a:lnTo>
                    <a:pt x="67" y="36"/>
                  </a:lnTo>
                  <a:lnTo>
                    <a:pt x="77" y="47"/>
                  </a:lnTo>
                  <a:lnTo>
                    <a:pt x="80" y="53"/>
                  </a:lnTo>
                  <a:lnTo>
                    <a:pt x="80" y="55"/>
                  </a:lnTo>
                  <a:lnTo>
                    <a:pt x="77" y="55"/>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31" name="Freeform 1036"/>
            <p:cNvSpPr>
              <a:spLocks/>
            </p:cNvSpPr>
            <p:nvPr/>
          </p:nvSpPr>
          <p:spPr bwMode="auto">
            <a:xfrm>
              <a:off x="1025525" y="3260359"/>
              <a:ext cx="127000" cy="87313"/>
            </a:xfrm>
            <a:custGeom>
              <a:avLst/>
              <a:gdLst>
                <a:gd name="T0" fmla="*/ 77 w 80"/>
                <a:gd name="T1" fmla="*/ 55 h 55"/>
                <a:gd name="T2" fmla="*/ 77 w 80"/>
                <a:gd name="T3" fmla="*/ 55 h 55"/>
                <a:gd name="T4" fmla="*/ 72 w 80"/>
                <a:gd name="T5" fmla="*/ 55 h 55"/>
                <a:gd name="T6" fmla="*/ 65 w 80"/>
                <a:gd name="T7" fmla="*/ 53 h 55"/>
                <a:gd name="T8" fmla="*/ 59 w 80"/>
                <a:gd name="T9" fmla="*/ 50 h 55"/>
                <a:gd name="T10" fmla="*/ 55 w 80"/>
                <a:gd name="T11" fmla="*/ 46 h 55"/>
                <a:gd name="T12" fmla="*/ 55 w 80"/>
                <a:gd name="T13" fmla="*/ 46 h 55"/>
                <a:gd name="T14" fmla="*/ 52 w 80"/>
                <a:gd name="T15" fmla="*/ 43 h 55"/>
                <a:gd name="T16" fmla="*/ 51 w 80"/>
                <a:gd name="T17" fmla="*/ 42 h 55"/>
                <a:gd name="T18" fmla="*/ 45 w 80"/>
                <a:gd name="T19" fmla="*/ 40 h 55"/>
                <a:gd name="T20" fmla="*/ 45 w 80"/>
                <a:gd name="T21" fmla="*/ 40 h 55"/>
                <a:gd name="T22" fmla="*/ 42 w 80"/>
                <a:gd name="T23" fmla="*/ 39 h 55"/>
                <a:gd name="T24" fmla="*/ 36 w 80"/>
                <a:gd name="T25" fmla="*/ 33 h 55"/>
                <a:gd name="T26" fmla="*/ 36 w 80"/>
                <a:gd name="T27" fmla="*/ 33 h 55"/>
                <a:gd name="T28" fmla="*/ 3 w 80"/>
                <a:gd name="T29" fmla="*/ 8 h 55"/>
                <a:gd name="T30" fmla="*/ 3 w 80"/>
                <a:gd name="T31" fmla="*/ 8 h 55"/>
                <a:gd name="T32" fmla="*/ 0 w 80"/>
                <a:gd name="T33" fmla="*/ 5 h 55"/>
                <a:gd name="T34" fmla="*/ 0 w 80"/>
                <a:gd name="T35" fmla="*/ 2 h 55"/>
                <a:gd name="T36" fmla="*/ 3 w 80"/>
                <a:gd name="T37" fmla="*/ 0 h 55"/>
                <a:gd name="T38" fmla="*/ 4 w 80"/>
                <a:gd name="T39" fmla="*/ 0 h 55"/>
                <a:gd name="T40" fmla="*/ 4 w 80"/>
                <a:gd name="T41" fmla="*/ 0 h 55"/>
                <a:gd name="T42" fmla="*/ 19 w 80"/>
                <a:gd name="T43" fmla="*/ 4 h 55"/>
                <a:gd name="T44" fmla="*/ 33 w 80"/>
                <a:gd name="T45" fmla="*/ 10 h 55"/>
                <a:gd name="T46" fmla="*/ 33 w 80"/>
                <a:gd name="T47" fmla="*/ 10 h 55"/>
                <a:gd name="T48" fmla="*/ 38 w 80"/>
                <a:gd name="T49" fmla="*/ 11 h 55"/>
                <a:gd name="T50" fmla="*/ 43 w 80"/>
                <a:gd name="T51" fmla="*/ 15 h 55"/>
                <a:gd name="T52" fmla="*/ 49 w 80"/>
                <a:gd name="T53" fmla="*/ 21 h 55"/>
                <a:gd name="T54" fmla="*/ 52 w 80"/>
                <a:gd name="T55" fmla="*/ 24 h 55"/>
                <a:gd name="T56" fmla="*/ 52 w 80"/>
                <a:gd name="T57" fmla="*/ 24 h 55"/>
                <a:gd name="T58" fmla="*/ 54 w 80"/>
                <a:gd name="T59" fmla="*/ 27 h 55"/>
                <a:gd name="T60" fmla="*/ 58 w 80"/>
                <a:gd name="T61" fmla="*/ 29 h 55"/>
                <a:gd name="T62" fmla="*/ 62 w 80"/>
                <a:gd name="T63" fmla="*/ 33 h 55"/>
                <a:gd name="T64" fmla="*/ 67 w 80"/>
                <a:gd name="T65" fmla="*/ 36 h 55"/>
                <a:gd name="T66" fmla="*/ 67 w 80"/>
                <a:gd name="T67" fmla="*/ 36 h 55"/>
                <a:gd name="T68" fmla="*/ 77 w 80"/>
                <a:gd name="T69" fmla="*/ 47 h 55"/>
                <a:gd name="T70" fmla="*/ 80 w 80"/>
                <a:gd name="T71" fmla="*/ 53 h 55"/>
                <a:gd name="T72" fmla="*/ 80 w 80"/>
                <a:gd name="T73" fmla="*/ 55 h 55"/>
                <a:gd name="T74" fmla="*/ 77 w 80"/>
                <a:gd name="T75"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55">
                  <a:moveTo>
                    <a:pt x="77" y="55"/>
                  </a:moveTo>
                  <a:lnTo>
                    <a:pt x="77" y="55"/>
                  </a:lnTo>
                  <a:lnTo>
                    <a:pt x="72" y="55"/>
                  </a:lnTo>
                  <a:lnTo>
                    <a:pt x="65" y="53"/>
                  </a:lnTo>
                  <a:lnTo>
                    <a:pt x="59" y="50"/>
                  </a:lnTo>
                  <a:lnTo>
                    <a:pt x="55" y="46"/>
                  </a:lnTo>
                  <a:lnTo>
                    <a:pt x="55" y="46"/>
                  </a:lnTo>
                  <a:lnTo>
                    <a:pt x="52" y="43"/>
                  </a:lnTo>
                  <a:lnTo>
                    <a:pt x="51" y="42"/>
                  </a:lnTo>
                  <a:lnTo>
                    <a:pt x="45" y="40"/>
                  </a:lnTo>
                  <a:lnTo>
                    <a:pt x="45" y="40"/>
                  </a:lnTo>
                  <a:lnTo>
                    <a:pt x="42" y="39"/>
                  </a:lnTo>
                  <a:lnTo>
                    <a:pt x="36" y="33"/>
                  </a:lnTo>
                  <a:lnTo>
                    <a:pt x="36" y="33"/>
                  </a:lnTo>
                  <a:lnTo>
                    <a:pt x="3" y="8"/>
                  </a:lnTo>
                  <a:lnTo>
                    <a:pt x="3" y="8"/>
                  </a:lnTo>
                  <a:lnTo>
                    <a:pt x="0" y="5"/>
                  </a:lnTo>
                  <a:lnTo>
                    <a:pt x="0" y="2"/>
                  </a:lnTo>
                  <a:lnTo>
                    <a:pt x="3" y="0"/>
                  </a:lnTo>
                  <a:lnTo>
                    <a:pt x="4" y="0"/>
                  </a:lnTo>
                  <a:lnTo>
                    <a:pt x="4" y="0"/>
                  </a:lnTo>
                  <a:lnTo>
                    <a:pt x="19" y="4"/>
                  </a:lnTo>
                  <a:lnTo>
                    <a:pt x="33" y="10"/>
                  </a:lnTo>
                  <a:lnTo>
                    <a:pt x="33" y="10"/>
                  </a:lnTo>
                  <a:lnTo>
                    <a:pt x="38" y="11"/>
                  </a:lnTo>
                  <a:lnTo>
                    <a:pt x="43" y="15"/>
                  </a:lnTo>
                  <a:lnTo>
                    <a:pt x="49" y="21"/>
                  </a:lnTo>
                  <a:lnTo>
                    <a:pt x="52" y="24"/>
                  </a:lnTo>
                  <a:lnTo>
                    <a:pt x="52" y="24"/>
                  </a:lnTo>
                  <a:lnTo>
                    <a:pt x="54" y="27"/>
                  </a:lnTo>
                  <a:lnTo>
                    <a:pt x="58" y="29"/>
                  </a:lnTo>
                  <a:lnTo>
                    <a:pt x="62" y="33"/>
                  </a:lnTo>
                  <a:lnTo>
                    <a:pt x="67" y="36"/>
                  </a:lnTo>
                  <a:lnTo>
                    <a:pt x="67" y="36"/>
                  </a:lnTo>
                  <a:lnTo>
                    <a:pt x="77" y="47"/>
                  </a:lnTo>
                  <a:lnTo>
                    <a:pt x="80" y="53"/>
                  </a:lnTo>
                  <a:lnTo>
                    <a:pt x="80" y="55"/>
                  </a:lnTo>
                  <a:lnTo>
                    <a:pt x="77" y="5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32" name="Freeform 1037"/>
            <p:cNvSpPr>
              <a:spLocks/>
            </p:cNvSpPr>
            <p:nvPr/>
          </p:nvSpPr>
          <p:spPr bwMode="auto">
            <a:xfrm>
              <a:off x="896938" y="3025409"/>
              <a:ext cx="60325" cy="57150"/>
            </a:xfrm>
            <a:custGeom>
              <a:avLst/>
              <a:gdLst>
                <a:gd name="T0" fmla="*/ 24 w 38"/>
                <a:gd name="T1" fmla="*/ 36 h 36"/>
                <a:gd name="T2" fmla="*/ 24 w 38"/>
                <a:gd name="T3" fmla="*/ 36 h 36"/>
                <a:gd name="T4" fmla="*/ 13 w 38"/>
                <a:gd name="T5" fmla="*/ 35 h 36"/>
                <a:gd name="T6" fmla="*/ 9 w 38"/>
                <a:gd name="T7" fmla="*/ 32 h 36"/>
                <a:gd name="T8" fmla="*/ 7 w 38"/>
                <a:gd name="T9" fmla="*/ 30 h 36"/>
                <a:gd name="T10" fmla="*/ 7 w 38"/>
                <a:gd name="T11" fmla="*/ 30 h 36"/>
                <a:gd name="T12" fmla="*/ 7 w 38"/>
                <a:gd name="T13" fmla="*/ 26 h 36"/>
                <a:gd name="T14" fmla="*/ 7 w 38"/>
                <a:gd name="T15" fmla="*/ 24 h 36"/>
                <a:gd name="T16" fmla="*/ 4 w 38"/>
                <a:gd name="T17" fmla="*/ 19 h 36"/>
                <a:gd name="T18" fmla="*/ 4 w 38"/>
                <a:gd name="T19" fmla="*/ 19 h 36"/>
                <a:gd name="T20" fmla="*/ 1 w 38"/>
                <a:gd name="T21" fmla="*/ 11 h 36"/>
                <a:gd name="T22" fmla="*/ 0 w 38"/>
                <a:gd name="T23" fmla="*/ 6 h 36"/>
                <a:gd name="T24" fmla="*/ 1 w 38"/>
                <a:gd name="T25" fmla="*/ 1 h 36"/>
                <a:gd name="T26" fmla="*/ 1 w 38"/>
                <a:gd name="T27" fmla="*/ 0 h 36"/>
                <a:gd name="T28" fmla="*/ 3 w 38"/>
                <a:gd name="T29" fmla="*/ 0 h 36"/>
                <a:gd name="T30" fmla="*/ 3 w 38"/>
                <a:gd name="T31" fmla="*/ 0 h 36"/>
                <a:gd name="T32" fmla="*/ 6 w 38"/>
                <a:gd name="T33" fmla="*/ 1 h 36"/>
                <a:gd name="T34" fmla="*/ 9 w 38"/>
                <a:gd name="T35" fmla="*/ 6 h 36"/>
                <a:gd name="T36" fmla="*/ 13 w 38"/>
                <a:gd name="T37" fmla="*/ 10 h 36"/>
                <a:gd name="T38" fmla="*/ 17 w 38"/>
                <a:gd name="T39" fmla="*/ 14 h 36"/>
                <a:gd name="T40" fmla="*/ 17 w 38"/>
                <a:gd name="T41" fmla="*/ 14 h 36"/>
                <a:gd name="T42" fmla="*/ 23 w 38"/>
                <a:gd name="T43" fmla="*/ 19 h 36"/>
                <a:gd name="T44" fmla="*/ 24 w 38"/>
                <a:gd name="T45" fmla="*/ 20 h 36"/>
                <a:gd name="T46" fmla="*/ 27 w 38"/>
                <a:gd name="T47" fmla="*/ 19 h 36"/>
                <a:gd name="T48" fmla="*/ 27 w 38"/>
                <a:gd name="T49" fmla="*/ 19 h 36"/>
                <a:gd name="T50" fmla="*/ 30 w 38"/>
                <a:gd name="T51" fmla="*/ 19 h 36"/>
                <a:gd name="T52" fmla="*/ 33 w 38"/>
                <a:gd name="T53" fmla="*/ 19 h 36"/>
                <a:gd name="T54" fmla="*/ 36 w 38"/>
                <a:gd name="T55" fmla="*/ 22 h 36"/>
                <a:gd name="T56" fmla="*/ 38 w 38"/>
                <a:gd name="T57" fmla="*/ 24 h 36"/>
                <a:gd name="T58" fmla="*/ 38 w 38"/>
                <a:gd name="T59" fmla="*/ 24 h 36"/>
                <a:gd name="T60" fmla="*/ 35 w 38"/>
                <a:gd name="T61" fmla="*/ 29 h 36"/>
                <a:gd name="T62" fmla="*/ 32 w 38"/>
                <a:gd name="T63" fmla="*/ 32 h 36"/>
                <a:gd name="T64" fmla="*/ 27 w 38"/>
                <a:gd name="T65" fmla="*/ 36 h 36"/>
                <a:gd name="T66" fmla="*/ 24 w 38"/>
                <a:gd name="T6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 h="36">
                  <a:moveTo>
                    <a:pt x="24" y="36"/>
                  </a:moveTo>
                  <a:lnTo>
                    <a:pt x="24" y="36"/>
                  </a:lnTo>
                  <a:lnTo>
                    <a:pt x="13" y="35"/>
                  </a:lnTo>
                  <a:lnTo>
                    <a:pt x="9" y="32"/>
                  </a:lnTo>
                  <a:lnTo>
                    <a:pt x="7" y="30"/>
                  </a:lnTo>
                  <a:lnTo>
                    <a:pt x="7" y="30"/>
                  </a:lnTo>
                  <a:lnTo>
                    <a:pt x="7" y="26"/>
                  </a:lnTo>
                  <a:lnTo>
                    <a:pt x="7" y="24"/>
                  </a:lnTo>
                  <a:lnTo>
                    <a:pt x="4" y="19"/>
                  </a:lnTo>
                  <a:lnTo>
                    <a:pt x="4" y="19"/>
                  </a:lnTo>
                  <a:lnTo>
                    <a:pt x="1" y="11"/>
                  </a:lnTo>
                  <a:lnTo>
                    <a:pt x="0" y="6"/>
                  </a:lnTo>
                  <a:lnTo>
                    <a:pt x="1" y="1"/>
                  </a:lnTo>
                  <a:lnTo>
                    <a:pt x="1" y="0"/>
                  </a:lnTo>
                  <a:lnTo>
                    <a:pt x="3" y="0"/>
                  </a:lnTo>
                  <a:lnTo>
                    <a:pt x="3" y="0"/>
                  </a:lnTo>
                  <a:lnTo>
                    <a:pt x="6" y="1"/>
                  </a:lnTo>
                  <a:lnTo>
                    <a:pt x="9" y="6"/>
                  </a:lnTo>
                  <a:lnTo>
                    <a:pt x="13" y="10"/>
                  </a:lnTo>
                  <a:lnTo>
                    <a:pt x="17" y="14"/>
                  </a:lnTo>
                  <a:lnTo>
                    <a:pt x="17" y="14"/>
                  </a:lnTo>
                  <a:lnTo>
                    <a:pt x="23" y="19"/>
                  </a:lnTo>
                  <a:lnTo>
                    <a:pt x="24" y="20"/>
                  </a:lnTo>
                  <a:lnTo>
                    <a:pt x="27" y="19"/>
                  </a:lnTo>
                  <a:lnTo>
                    <a:pt x="27" y="19"/>
                  </a:lnTo>
                  <a:lnTo>
                    <a:pt x="30" y="19"/>
                  </a:lnTo>
                  <a:lnTo>
                    <a:pt x="33" y="19"/>
                  </a:lnTo>
                  <a:lnTo>
                    <a:pt x="36" y="22"/>
                  </a:lnTo>
                  <a:lnTo>
                    <a:pt x="38" y="24"/>
                  </a:lnTo>
                  <a:lnTo>
                    <a:pt x="38" y="24"/>
                  </a:lnTo>
                  <a:lnTo>
                    <a:pt x="35" y="29"/>
                  </a:lnTo>
                  <a:lnTo>
                    <a:pt x="32" y="32"/>
                  </a:lnTo>
                  <a:lnTo>
                    <a:pt x="27" y="36"/>
                  </a:lnTo>
                  <a:lnTo>
                    <a:pt x="24" y="36"/>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33" name="Freeform 1038"/>
            <p:cNvSpPr>
              <a:spLocks/>
            </p:cNvSpPr>
            <p:nvPr/>
          </p:nvSpPr>
          <p:spPr bwMode="auto">
            <a:xfrm>
              <a:off x="896938" y="3025409"/>
              <a:ext cx="60325" cy="57150"/>
            </a:xfrm>
            <a:custGeom>
              <a:avLst/>
              <a:gdLst>
                <a:gd name="T0" fmla="*/ 24 w 38"/>
                <a:gd name="T1" fmla="*/ 36 h 36"/>
                <a:gd name="T2" fmla="*/ 24 w 38"/>
                <a:gd name="T3" fmla="*/ 36 h 36"/>
                <a:gd name="T4" fmla="*/ 13 w 38"/>
                <a:gd name="T5" fmla="*/ 35 h 36"/>
                <a:gd name="T6" fmla="*/ 9 w 38"/>
                <a:gd name="T7" fmla="*/ 32 h 36"/>
                <a:gd name="T8" fmla="*/ 7 w 38"/>
                <a:gd name="T9" fmla="*/ 30 h 36"/>
                <a:gd name="T10" fmla="*/ 7 w 38"/>
                <a:gd name="T11" fmla="*/ 30 h 36"/>
                <a:gd name="T12" fmla="*/ 7 w 38"/>
                <a:gd name="T13" fmla="*/ 26 h 36"/>
                <a:gd name="T14" fmla="*/ 7 w 38"/>
                <a:gd name="T15" fmla="*/ 24 h 36"/>
                <a:gd name="T16" fmla="*/ 4 w 38"/>
                <a:gd name="T17" fmla="*/ 19 h 36"/>
                <a:gd name="T18" fmla="*/ 4 w 38"/>
                <a:gd name="T19" fmla="*/ 19 h 36"/>
                <a:gd name="T20" fmla="*/ 1 w 38"/>
                <a:gd name="T21" fmla="*/ 11 h 36"/>
                <a:gd name="T22" fmla="*/ 0 w 38"/>
                <a:gd name="T23" fmla="*/ 6 h 36"/>
                <a:gd name="T24" fmla="*/ 1 w 38"/>
                <a:gd name="T25" fmla="*/ 1 h 36"/>
                <a:gd name="T26" fmla="*/ 1 w 38"/>
                <a:gd name="T27" fmla="*/ 0 h 36"/>
                <a:gd name="T28" fmla="*/ 3 w 38"/>
                <a:gd name="T29" fmla="*/ 0 h 36"/>
                <a:gd name="T30" fmla="*/ 3 w 38"/>
                <a:gd name="T31" fmla="*/ 0 h 36"/>
                <a:gd name="T32" fmla="*/ 6 w 38"/>
                <a:gd name="T33" fmla="*/ 1 h 36"/>
                <a:gd name="T34" fmla="*/ 9 w 38"/>
                <a:gd name="T35" fmla="*/ 6 h 36"/>
                <a:gd name="T36" fmla="*/ 13 w 38"/>
                <a:gd name="T37" fmla="*/ 10 h 36"/>
                <a:gd name="T38" fmla="*/ 17 w 38"/>
                <a:gd name="T39" fmla="*/ 14 h 36"/>
                <a:gd name="T40" fmla="*/ 17 w 38"/>
                <a:gd name="T41" fmla="*/ 14 h 36"/>
                <a:gd name="T42" fmla="*/ 23 w 38"/>
                <a:gd name="T43" fmla="*/ 19 h 36"/>
                <a:gd name="T44" fmla="*/ 24 w 38"/>
                <a:gd name="T45" fmla="*/ 20 h 36"/>
                <a:gd name="T46" fmla="*/ 27 w 38"/>
                <a:gd name="T47" fmla="*/ 19 h 36"/>
                <a:gd name="T48" fmla="*/ 27 w 38"/>
                <a:gd name="T49" fmla="*/ 19 h 36"/>
                <a:gd name="T50" fmla="*/ 30 w 38"/>
                <a:gd name="T51" fmla="*/ 19 h 36"/>
                <a:gd name="T52" fmla="*/ 33 w 38"/>
                <a:gd name="T53" fmla="*/ 19 h 36"/>
                <a:gd name="T54" fmla="*/ 36 w 38"/>
                <a:gd name="T55" fmla="*/ 22 h 36"/>
                <a:gd name="T56" fmla="*/ 38 w 38"/>
                <a:gd name="T57" fmla="*/ 24 h 36"/>
                <a:gd name="T58" fmla="*/ 38 w 38"/>
                <a:gd name="T59" fmla="*/ 24 h 36"/>
                <a:gd name="T60" fmla="*/ 35 w 38"/>
                <a:gd name="T61" fmla="*/ 29 h 36"/>
                <a:gd name="T62" fmla="*/ 32 w 38"/>
                <a:gd name="T63" fmla="*/ 32 h 36"/>
                <a:gd name="T64" fmla="*/ 27 w 38"/>
                <a:gd name="T65" fmla="*/ 36 h 36"/>
                <a:gd name="T66" fmla="*/ 24 w 38"/>
                <a:gd name="T6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 h="36">
                  <a:moveTo>
                    <a:pt x="24" y="36"/>
                  </a:moveTo>
                  <a:lnTo>
                    <a:pt x="24" y="36"/>
                  </a:lnTo>
                  <a:lnTo>
                    <a:pt x="13" y="35"/>
                  </a:lnTo>
                  <a:lnTo>
                    <a:pt x="9" y="32"/>
                  </a:lnTo>
                  <a:lnTo>
                    <a:pt x="7" y="30"/>
                  </a:lnTo>
                  <a:lnTo>
                    <a:pt x="7" y="30"/>
                  </a:lnTo>
                  <a:lnTo>
                    <a:pt x="7" y="26"/>
                  </a:lnTo>
                  <a:lnTo>
                    <a:pt x="7" y="24"/>
                  </a:lnTo>
                  <a:lnTo>
                    <a:pt x="4" y="19"/>
                  </a:lnTo>
                  <a:lnTo>
                    <a:pt x="4" y="19"/>
                  </a:lnTo>
                  <a:lnTo>
                    <a:pt x="1" y="11"/>
                  </a:lnTo>
                  <a:lnTo>
                    <a:pt x="0" y="6"/>
                  </a:lnTo>
                  <a:lnTo>
                    <a:pt x="1" y="1"/>
                  </a:lnTo>
                  <a:lnTo>
                    <a:pt x="1" y="0"/>
                  </a:lnTo>
                  <a:lnTo>
                    <a:pt x="3" y="0"/>
                  </a:lnTo>
                  <a:lnTo>
                    <a:pt x="3" y="0"/>
                  </a:lnTo>
                  <a:lnTo>
                    <a:pt x="6" y="1"/>
                  </a:lnTo>
                  <a:lnTo>
                    <a:pt x="9" y="6"/>
                  </a:lnTo>
                  <a:lnTo>
                    <a:pt x="13" y="10"/>
                  </a:lnTo>
                  <a:lnTo>
                    <a:pt x="17" y="14"/>
                  </a:lnTo>
                  <a:lnTo>
                    <a:pt x="17" y="14"/>
                  </a:lnTo>
                  <a:lnTo>
                    <a:pt x="23" y="19"/>
                  </a:lnTo>
                  <a:lnTo>
                    <a:pt x="24" y="20"/>
                  </a:lnTo>
                  <a:lnTo>
                    <a:pt x="27" y="19"/>
                  </a:lnTo>
                  <a:lnTo>
                    <a:pt x="27" y="19"/>
                  </a:lnTo>
                  <a:lnTo>
                    <a:pt x="30" y="19"/>
                  </a:lnTo>
                  <a:lnTo>
                    <a:pt x="33" y="19"/>
                  </a:lnTo>
                  <a:lnTo>
                    <a:pt x="36" y="22"/>
                  </a:lnTo>
                  <a:lnTo>
                    <a:pt x="38" y="24"/>
                  </a:lnTo>
                  <a:lnTo>
                    <a:pt x="38" y="24"/>
                  </a:lnTo>
                  <a:lnTo>
                    <a:pt x="35" y="29"/>
                  </a:lnTo>
                  <a:lnTo>
                    <a:pt x="32" y="32"/>
                  </a:lnTo>
                  <a:lnTo>
                    <a:pt x="27" y="36"/>
                  </a:lnTo>
                  <a:lnTo>
                    <a:pt x="24" y="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34" name="Freeform 1039"/>
            <p:cNvSpPr>
              <a:spLocks/>
            </p:cNvSpPr>
            <p:nvPr/>
          </p:nvSpPr>
          <p:spPr bwMode="auto">
            <a:xfrm>
              <a:off x="917575" y="3107959"/>
              <a:ext cx="25400" cy="73025"/>
            </a:xfrm>
            <a:custGeom>
              <a:avLst/>
              <a:gdLst>
                <a:gd name="T0" fmla="*/ 16 w 16"/>
                <a:gd name="T1" fmla="*/ 6 h 46"/>
                <a:gd name="T2" fmla="*/ 16 w 16"/>
                <a:gd name="T3" fmla="*/ 6 h 46"/>
                <a:gd name="T4" fmla="*/ 10 w 16"/>
                <a:gd name="T5" fmla="*/ 6 h 46"/>
                <a:gd name="T6" fmla="*/ 6 w 16"/>
                <a:gd name="T7" fmla="*/ 4 h 46"/>
                <a:gd name="T8" fmla="*/ 6 w 16"/>
                <a:gd name="T9" fmla="*/ 4 h 46"/>
                <a:gd name="T10" fmla="*/ 1 w 16"/>
                <a:gd name="T11" fmla="*/ 1 h 46"/>
                <a:gd name="T12" fmla="*/ 0 w 16"/>
                <a:gd name="T13" fmla="*/ 0 h 46"/>
                <a:gd name="T14" fmla="*/ 0 w 16"/>
                <a:gd name="T15" fmla="*/ 1 h 46"/>
                <a:gd name="T16" fmla="*/ 0 w 16"/>
                <a:gd name="T17" fmla="*/ 1 h 46"/>
                <a:gd name="T18" fmla="*/ 0 w 16"/>
                <a:gd name="T19" fmla="*/ 10 h 46"/>
                <a:gd name="T20" fmla="*/ 0 w 16"/>
                <a:gd name="T21" fmla="*/ 17 h 46"/>
                <a:gd name="T22" fmla="*/ 1 w 16"/>
                <a:gd name="T23" fmla="*/ 25 h 46"/>
                <a:gd name="T24" fmla="*/ 1 w 16"/>
                <a:gd name="T25" fmla="*/ 25 h 46"/>
                <a:gd name="T26" fmla="*/ 7 w 16"/>
                <a:gd name="T27" fmla="*/ 39 h 46"/>
                <a:gd name="T28" fmla="*/ 10 w 16"/>
                <a:gd name="T29" fmla="*/ 45 h 46"/>
                <a:gd name="T30" fmla="*/ 11 w 16"/>
                <a:gd name="T31" fmla="*/ 46 h 46"/>
                <a:gd name="T32" fmla="*/ 13 w 16"/>
                <a:gd name="T33" fmla="*/ 46 h 46"/>
                <a:gd name="T34" fmla="*/ 13 w 16"/>
                <a:gd name="T35" fmla="*/ 46 h 46"/>
                <a:gd name="T36" fmla="*/ 14 w 16"/>
                <a:gd name="T37" fmla="*/ 42 h 46"/>
                <a:gd name="T38" fmla="*/ 16 w 16"/>
                <a:gd name="T39" fmla="*/ 36 h 46"/>
                <a:gd name="T40" fmla="*/ 16 w 16"/>
                <a:gd name="T41" fmla="*/ 30 h 46"/>
                <a:gd name="T42" fmla="*/ 14 w 16"/>
                <a:gd name="T43" fmla="*/ 26 h 46"/>
                <a:gd name="T44" fmla="*/ 14 w 16"/>
                <a:gd name="T45" fmla="*/ 26 h 46"/>
                <a:gd name="T46" fmla="*/ 14 w 16"/>
                <a:gd name="T47" fmla="*/ 22 h 46"/>
                <a:gd name="T48" fmla="*/ 16 w 16"/>
                <a:gd name="T49" fmla="*/ 14 h 46"/>
                <a:gd name="T50" fmla="*/ 16 w 16"/>
                <a:gd name="T51" fmla="*/ 9 h 46"/>
                <a:gd name="T52" fmla="*/ 16 w 16"/>
                <a:gd name="T53"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 h="46">
                  <a:moveTo>
                    <a:pt x="16" y="6"/>
                  </a:moveTo>
                  <a:lnTo>
                    <a:pt x="16" y="6"/>
                  </a:lnTo>
                  <a:lnTo>
                    <a:pt x="10" y="6"/>
                  </a:lnTo>
                  <a:lnTo>
                    <a:pt x="6" y="4"/>
                  </a:lnTo>
                  <a:lnTo>
                    <a:pt x="6" y="4"/>
                  </a:lnTo>
                  <a:lnTo>
                    <a:pt x="1" y="1"/>
                  </a:lnTo>
                  <a:lnTo>
                    <a:pt x="0" y="0"/>
                  </a:lnTo>
                  <a:lnTo>
                    <a:pt x="0" y="1"/>
                  </a:lnTo>
                  <a:lnTo>
                    <a:pt x="0" y="1"/>
                  </a:lnTo>
                  <a:lnTo>
                    <a:pt x="0" y="10"/>
                  </a:lnTo>
                  <a:lnTo>
                    <a:pt x="0" y="17"/>
                  </a:lnTo>
                  <a:lnTo>
                    <a:pt x="1" y="25"/>
                  </a:lnTo>
                  <a:lnTo>
                    <a:pt x="1" y="25"/>
                  </a:lnTo>
                  <a:lnTo>
                    <a:pt x="7" y="39"/>
                  </a:lnTo>
                  <a:lnTo>
                    <a:pt x="10" y="45"/>
                  </a:lnTo>
                  <a:lnTo>
                    <a:pt x="11" y="46"/>
                  </a:lnTo>
                  <a:lnTo>
                    <a:pt x="13" y="46"/>
                  </a:lnTo>
                  <a:lnTo>
                    <a:pt x="13" y="46"/>
                  </a:lnTo>
                  <a:lnTo>
                    <a:pt x="14" y="42"/>
                  </a:lnTo>
                  <a:lnTo>
                    <a:pt x="16" y="36"/>
                  </a:lnTo>
                  <a:lnTo>
                    <a:pt x="16" y="30"/>
                  </a:lnTo>
                  <a:lnTo>
                    <a:pt x="14" y="26"/>
                  </a:lnTo>
                  <a:lnTo>
                    <a:pt x="14" y="26"/>
                  </a:lnTo>
                  <a:lnTo>
                    <a:pt x="14" y="22"/>
                  </a:lnTo>
                  <a:lnTo>
                    <a:pt x="16" y="14"/>
                  </a:lnTo>
                  <a:lnTo>
                    <a:pt x="16" y="9"/>
                  </a:lnTo>
                  <a:lnTo>
                    <a:pt x="16" y="6"/>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35" name="Freeform 1040"/>
            <p:cNvSpPr>
              <a:spLocks/>
            </p:cNvSpPr>
            <p:nvPr/>
          </p:nvSpPr>
          <p:spPr bwMode="auto">
            <a:xfrm>
              <a:off x="917575" y="3107959"/>
              <a:ext cx="25400" cy="73025"/>
            </a:xfrm>
            <a:custGeom>
              <a:avLst/>
              <a:gdLst>
                <a:gd name="T0" fmla="*/ 16 w 16"/>
                <a:gd name="T1" fmla="*/ 6 h 46"/>
                <a:gd name="T2" fmla="*/ 16 w 16"/>
                <a:gd name="T3" fmla="*/ 6 h 46"/>
                <a:gd name="T4" fmla="*/ 10 w 16"/>
                <a:gd name="T5" fmla="*/ 6 h 46"/>
                <a:gd name="T6" fmla="*/ 6 w 16"/>
                <a:gd name="T7" fmla="*/ 4 h 46"/>
                <a:gd name="T8" fmla="*/ 6 w 16"/>
                <a:gd name="T9" fmla="*/ 4 h 46"/>
                <a:gd name="T10" fmla="*/ 1 w 16"/>
                <a:gd name="T11" fmla="*/ 1 h 46"/>
                <a:gd name="T12" fmla="*/ 0 w 16"/>
                <a:gd name="T13" fmla="*/ 0 h 46"/>
                <a:gd name="T14" fmla="*/ 0 w 16"/>
                <a:gd name="T15" fmla="*/ 1 h 46"/>
                <a:gd name="T16" fmla="*/ 0 w 16"/>
                <a:gd name="T17" fmla="*/ 1 h 46"/>
                <a:gd name="T18" fmla="*/ 0 w 16"/>
                <a:gd name="T19" fmla="*/ 10 h 46"/>
                <a:gd name="T20" fmla="*/ 0 w 16"/>
                <a:gd name="T21" fmla="*/ 17 h 46"/>
                <a:gd name="T22" fmla="*/ 1 w 16"/>
                <a:gd name="T23" fmla="*/ 25 h 46"/>
                <a:gd name="T24" fmla="*/ 1 w 16"/>
                <a:gd name="T25" fmla="*/ 25 h 46"/>
                <a:gd name="T26" fmla="*/ 7 w 16"/>
                <a:gd name="T27" fmla="*/ 39 h 46"/>
                <a:gd name="T28" fmla="*/ 10 w 16"/>
                <a:gd name="T29" fmla="*/ 45 h 46"/>
                <a:gd name="T30" fmla="*/ 11 w 16"/>
                <a:gd name="T31" fmla="*/ 46 h 46"/>
                <a:gd name="T32" fmla="*/ 13 w 16"/>
                <a:gd name="T33" fmla="*/ 46 h 46"/>
                <a:gd name="T34" fmla="*/ 13 w 16"/>
                <a:gd name="T35" fmla="*/ 46 h 46"/>
                <a:gd name="T36" fmla="*/ 14 w 16"/>
                <a:gd name="T37" fmla="*/ 42 h 46"/>
                <a:gd name="T38" fmla="*/ 16 w 16"/>
                <a:gd name="T39" fmla="*/ 36 h 46"/>
                <a:gd name="T40" fmla="*/ 16 w 16"/>
                <a:gd name="T41" fmla="*/ 30 h 46"/>
                <a:gd name="T42" fmla="*/ 14 w 16"/>
                <a:gd name="T43" fmla="*/ 26 h 46"/>
                <a:gd name="T44" fmla="*/ 14 w 16"/>
                <a:gd name="T45" fmla="*/ 26 h 46"/>
                <a:gd name="T46" fmla="*/ 14 w 16"/>
                <a:gd name="T47" fmla="*/ 22 h 46"/>
                <a:gd name="T48" fmla="*/ 16 w 16"/>
                <a:gd name="T49" fmla="*/ 14 h 46"/>
                <a:gd name="T50" fmla="*/ 16 w 16"/>
                <a:gd name="T51" fmla="*/ 9 h 46"/>
                <a:gd name="T52" fmla="*/ 16 w 16"/>
                <a:gd name="T53"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 h="46">
                  <a:moveTo>
                    <a:pt x="16" y="6"/>
                  </a:moveTo>
                  <a:lnTo>
                    <a:pt x="16" y="6"/>
                  </a:lnTo>
                  <a:lnTo>
                    <a:pt x="10" y="6"/>
                  </a:lnTo>
                  <a:lnTo>
                    <a:pt x="6" y="4"/>
                  </a:lnTo>
                  <a:lnTo>
                    <a:pt x="6" y="4"/>
                  </a:lnTo>
                  <a:lnTo>
                    <a:pt x="1" y="1"/>
                  </a:lnTo>
                  <a:lnTo>
                    <a:pt x="0" y="0"/>
                  </a:lnTo>
                  <a:lnTo>
                    <a:pt x="0" y="1"/>
                  </a:lnTo>
                  <a:lnTo>
                    <a:pt x="0" y="1"/>
                  </a:lnTo>
                  <a:lnTo>
                    <a:pt x="0" y="10"/>
                  </a:lnTo>
                  <a:lnTo>
                    <a:pt x="0" y="17"/>
                  </a:lnTo>
                  <a:lnTo>
                    <a:pt x="1" y="25"/>
                  </a:lnTo>
                  <a:lnTo>
                    <a:pt x="1" y="25"/>
                  </a:lnTo>
                  <a:lnTo>
                    <a:pt x="7" y="39"/>
                  </a:lnTo>
                  <a:lnTo>
                    <a:pt x="10" y="45"/>
                  </a:lnTo>
                  <a:lnTo>
                    <a:pt x="11" y="46"/>
                  </a:lnTo>
                  <a:lnTo>
                    <a:pt x="13" y="46"/>
                  </a:lnTo>
                  <a:lnTo>
                    <a:pt x="13" y="46"/>
                  </a:lnTo>
                  <a:lnTo>
                    <a:pt x="14" y="42"/>
                  </a:lnTo>
                  <a:lnTo>
                    <a:pt x="16" y="36"/>
                  </a:lnTo>
                  <a:lnTo>
                    <a:pt x="16" y="30"/>
                  </a:lnTo>
                  <a:lnTo>
                    <a:pt x="14" y="26"/>
                  </a:lnTo>
                  <a:lnTo>
                    <a:pt x="14" y="26"/>
                  </a:lnTo>
                  <a:lnTo>
                    <a:pt x="14" y="22"/>
                  </a:lnTo>
                  <a:lnTo>
                    <a:pt x="16" y="14"/>
                  </a:lnTo>
                  <a:lnTo>
                    <a:pt x="16" y="9"/>
                  </a:lnTo>
                  <a:lnTo>
                    <a:pt x="16"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36" name="Freeform 1041"/>
            <p:cNvSpPr>
              <a:spLocks/>
            </p:cNvSpPr>
            <p:nvPr/>
          </p:nvSpPr>
          <p:spPr bwMode="auto">
            <a:xfrm>
              <a:off x="825500" y="2939684"/>
              <a:ext cx="42863" cy="80963"/>
            </a:xfrm>
            <a:custGeom>
              <a:avLst/>
              <a:gdLst>
                <a:gd name="T0" fmla="*/ 25 w 27"/>
                <a:gd name="T1" fmla="*/ 49 h 51"/>
                <a:gd name="T2" fmla="*/ 25 w 27"/>
                <a:gd name="T3" fmla="*/ 49 h 51"/>
                <a:gd name="T4" fmla="*/ 22 w 27"/>
                <a:gd name="T5" fmla="*/ 42 h 51"/>
                <a:gd name="T6" fmla="*/ 19 w 27"/>
                <a:gd name="T7" fmla="*/ 34 h 51"/>
                <a:gd name="T8" fmla="*/ 14 w 27"/>
                <a:gd name="T9" fmla="*/ 26 h 51"/>
                <a:gd name="T10" fmla="*/ 12 w 27"/>
                <a:gd name="T11" fmla="*/ 20 h 51"/>
                <a:gd name="T12" fmla="*/ 12 w 27"/>
                <a:gd name="T13" fmla="*/ 20 h 51"/>
                <a:gd name="T14" fmla="*/ 4 w 27"/>
                <a:gd name="T15" fmla="*/ 9 h 51"/>
                <a:gd name="T16" fmla="*/ 0 w 27"/>
                <a:gd name="T17" fmla="*/ 5 h 51"/>
                <a:gd name="T18" fmla="*/ 0 w 27"/>
                <a:gd name="T19" fmla="*/ 2 h 51"/>
                <a:gd name="T20" fmla="*/ 0 w 27"/>
                <a:gd name="T21" fmla="*/ 2 h 51"/>
                <a:gd name="T22" fmla="*/ 0 w 27"/>
                <a:gd name="T23" fmla="*/ 2 h 51"/>
                <a:gd name="T24" fmla="*/ 3 w 27"/>
                <a:gd name="T25" fmla="*/ 0 h 51"/>
                <a:gd name="T26" fmla="*/ 4 w 27"/>
                <a:gd name="T27" fmla="*/ 2 h 51"/>
                <a:gd name="T28" fmla="*/ 10 w 27"/>
                <a:gd name="T29" fmla="*/ 6 h 51"/>
                <a:gd name="T30" fmla="*/ 10 w 27"/>
                <a:gd name="T31" fmla="*/ 6 h 51"/>
                <a:gd name="T32" fmla="*/ 17 w 27"/>
                <a:gd name="T33" fmla="*/ 13 h 51"/>
                <a:gd name="T34" fmla="*/ 19 w 27"/>
                <a:gd name="T35" fmla="*/ 18 h 51"/>
                <a:gd name="T36" fmla="*/ 19 w 27"/>
                <a:gd name="T37" fmla="*/ 18 h 51"/>
                <a:gd name="T38" fmla="*/ 23 w 27"/>
                <a:gd name="T39" fmla="*/ 23 h 51"/>
                <a:gd name="T40" fmla="*/ 27 w 27"/>
                <a:gd name="T41" fmla="*/ 29 h 51"/>
                <a:gd name="T42" fmla="*/ 27 w 27"/>
                <a:gd name="T43" fmla="*/ 29 h 51"/>
                <a:gd name="T44" fmla="*/ 27 w 27"/>
                <a:gd name="T45" fmla="*/ 44 h 51"/>
                <a:gd name="T46" fmla="*/ 27 w 27"/>
                <a:gd name="T47" fmla="*/ 49 h 51"/>
                <a:gd name="T48" fmla="*/ 26 w 27"/>
                <a:gd name="T49" fmla="*/ 51 h 51"/>
                <a:gd name="T50" fmla="*/ 25 w 27"/>
                <a:gd name="T51" fmla="*/ 4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51">
                  <a:moveTo>
                    <a:pt x="25" y="49"/>
                  </a:moveTo>
                  <a:lnTo>
                    <a:pt x="25" y="49"/>
                  </a:lnTo>
                  <a:lnTo>
                    <a:pt x="22" y="42"/>
                  </a:lnTo>
                  <a:lnTo>
                    <a:pt x="19" y="34"/>
                  </a:lnTo>
                  <a:lnTo>
                    <a:pt x="14" y="26"/>
                  </a:lnTo>
                  <a:lnTo>
                    <a:pt x="12" y="20"/>
                  </a:lnTo>
                  <a:lnTo>
                    <a:pt x="12" y="20"/>
                  </a:lnTo>
                  <a:lnTo>
                    <a:pt x="4" y="9"/>
                  </a:lnTo>
                  <a:lnTo>
                    <a:pt x="0" y="5"/>
                  </a:lnTo>
                  <a:lnTo>
                    <a:pt x="0" y="2"/>
                  </a:lnTo>
                  <a:lnTo>
                    <a:pt x="0" y="2"/>
                  </a:lnTo>
                  <a:lnTo>
                    <a:pt x="0" y="2"/>
                  </a:lnTo>
                  <a:lnTo>
                    <a:pt x="3" y="0"/>
                  </a:lnTo>
                  <a:lnTo>
                    <a:pt x="4" y="2"/>
                  </a:lnTo>
                  <a:lnTo>
                    <a:pt x="10" y="6"/>
                  </a:lnTo>
                  <a:lnTo>
                    <a:pt x="10" y="6"/>
                  </a:lnTo>
                  <a:lnTo>
                    <a:pt x="17" y="13"/>
                  </a:lnTo>
                  <a:lnTo>
                    <a:pt x="19" y="18"/>
                  </a:lnTo>
                  <a:lnTo>
                    <a:pt x="19" y="18"/>
                  </a:lnTo>
                  <a:lnTo>
                    <a:pt x="23" y="23"/>
                  </a:lnTo>
                  <a:lnTo>
                    <a:pt x="27" y="29"/>
                  </a:lnTo>
                  <a:lnTo>
                    <a:pt x="27" y="29"/>
                  </a:lnTo>
                  <a:lnTo>
                    <a:pt x="27" y="44"/>
                  </a:lnTo>
                  <a:lnTo>
                    <a:pt x="27" y="49"/>
                  </a:lnTo>
                  <a:lnTo>
                    <a:pt x="26" y="51"/>
                  </a:lnTo>
                  <a:lnTo>
                    <a:pt x="25" y="49"/>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37" name="Freeform 1042"/>
            <p:cNvSpPr>
              <a:spLocks/>
            </p:cNvSpPr>
            <p:nvPr/>
          </p:nvSpPr>
          <p:spPr bwMode="auto">
            <a:xfrm>
              <a:off x="825500" y="2939684"/>
              <a:ext cx="42863" cy="80963"/>
            </a:xfrm>
            <a:custGeom>
              <a:avLst/>
              <a:gdLst>
                <a:gd name="T0" fmla="*/ 25 w 27"/>
                <a:gd name="T1" fmla="*/ 49 h 51"/>
                <a:gd name="T2" fmla="*/ 25 w 27"/>
                <a:gd name="T3" fmla="*/ 49 h 51"/>
                <a:gd name="T4" fmla="*/ 22 w 27"/>
                <a:gd name="T5" fmla="*/ 42 h 51"/>
                <a:gd name="T6" fmla="*/ 19 w 27"/>
                <a:gd name="T7" fmla="*/ 34 h 51"/>
                <a:gd name="T8" fmla="*/ 14 w 27"/>
                <a:gd name="T9" fmla="*/ 26 h 51"/>
                <a:gd name="T10" fmla="*/ 12 w 27"/>
                <a:gd name="T11" fmla="*/ 20 h 51"/>
                <a:gd name="T12" fmla="*/ 12 w 27"/>
                <a:gd name="T13" fmla="*/ 20 h 51"/>
                <a:gd name="T14" fmla="*/ 4 w 27"/>
                <a:gd name="T15" fmla="*/ 9 h 51"/>
                <a:gd name="T16" fmla="*/ 0 w 27"/>
                <a:gd name="T17" fmla="*/ 5 h 51"/>
                <a:gd name="T18" fmla="*/ 0 w 27"/>
                <a:gd name="T19" fmla="*/ 2 h 51"/>
                <a:gd name="T20" fmla="*/ 0 w 27"/>
                <a:gd name="T21" fmla="*/ 2 h 51"/>
                <a:gd name="T22" fmla="*/ 0 w 27"/>
                <a:gd name="T23" fmla="*/ 2 h 51"/>
                <a:gd name="T24" fmla="*/ 3 w 27"/>
                <a:gd name="T25" fmla="*/ 0 h 51"/>
                <a:gd name="T26" fmla="*/ 4 w 27"/>
                <a:gd name="T27" fmla="*/ 2 h 51"/>
                <a:gd name="T28" fmla="*/ 10 w 27"/>
                <a:gd name="T29" fmla="*/ 6 h 51"/>
                <a:gd name="T30" fmla="*/ 10 w 27"/>
                <a:gd name="T31" fmla="*/ 6 h 51"/>
                <a:gd name="T32" fmla="*/ 17 w 27"/>
                <a:gd name="T33" fmla="*/ 13 h 51"/>
                <a:gd name="T34" fmla="*/ 19 w 27"/>
                <a:gd name="T35" fmla="*/ 18 h 51"/>
                <a:gd name="T36" fmla="*/ 19 w 27"/>
                <a:gd name="T37" fmla="*/ 18 h 51"/>
                <a:gd name="T38" fmla="*/ 23 w 27"/>
                <a:gd name="T39" fmla="*/ 23 h 51"/>
                <a:gd name="T40" fmla="*/ 27 w 27"/>
                <a:gd name="T41" fmla="*/ 29 h 51"/>
                <a:gd name="T42" fmla="*/ 27 w 27"/>
                <a:gd name="T43" fmla="*/ 29 h 51"/>
                <a:gd name="T44" fmla="*/ 27 w 27"/>
                <a:gd name="T45" fmla="*/ 44 h 51"/>
                <a:gd name="T46" fmla="*/ 27 w 27"/>
                <a:gd name="T47" fmla="*/ 49 h 51"/>
                <a:gd name="T48" fmla="*/ 26 w 27"/>
                <a:gd name="T49" fmla="*/ 51 h 51"/>
                <a:gd name="T50" fmla="*/ 25 w 27"/>
                <a:gd name="T51" fmla="*/ 4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51">
                  <a:moveTo>
                    <a:pt x="25" y="49"/>
                  </a:moveTo>
                  <a:lnTo>
                    <a:pt x="25" y="49"/>
                  </a:lnTo>
                  <a:lnTo>
                    <a:pt x="22" y="42"/>
                  </a:lnTo>
                  <a:lnTo>
                    <a:pt x="19" y="34"/>
                  </a:lnTo>
                  <a:lnTo>
                    <a:pt x="14" y="26"/>
                  </a:lnTo>
                  <a:lnTo>
                    <a:pt x="12" y="20"/>
                  </a:lnTo>
                  <a:lnTo>
                    <a:pt x="12" y="20"/>
                  </a:lnTo>
                  <a:lnTo>
                    <a:pt x="4" y="9"/>
                  </a:lnTo>
                  <a:lnTo>
                    <a:pt x="0" y="5"/>
                  </a:lnTo>
                  <a:lnTo>
                    <a:pt x="0" y="2"/>
                  </a:lnTo>
                  <a:lnTo>
                    <a:pt x="0" y="2"/>
                  </a:lnTo>
                  <a:lnTo>
                    <a:pt x="0" y="2"/>
                  </a:lnTo>
                  <a:lnTo>
                    <a:pt x="3" y="0"/>
                  </a:lnTo>
                  <a:lnTo>
                    <a:pt x="4" y="2"/>
                  </a:lnTo>
                  <a:lnTo>
                    <a:pt x="10" y="6"/>
                  </a:lnTo>
                  <a:lnTo>
                    <a:pt x="10" y="6"/>
                  </a:lnTo>
                  <a:lnTo>
                    <a:pt x="17" y="13"/>
                  </a:lnTo>
                  <a:lnTo>
                    <a:pt x="19" y="18"/>
                  </a:lnTo>
                  <a:lnTo>
                    <a:pt x="19" y="18"/>
                  </a:lnTo>
                  <a:lnTo>
                    <a:pt x="23" y="23"/>
                  </a:lnTo>
                  <a:lnTo>
                    <a:pt x="27" y="29"/>
                  </a:lnTo>
                  <a:lnTo>
                    <a:pt x="27" y="29"/>
                  </a:lnTo>
                  <a:lnTo>
                    <a:pt x="27" y="44"/>
                  </a:lnTo>
                  <a:lnTo>
                    <a:pt x="27" y="49"/>
                  </a:lnTo>
                  <a:lnTo>
                    <a:pt x="26" y="51"/>
                  </a:lnTo>
                  <a:lnTo>
                    <a:pt x="25" y="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38" name="Freeform 1043"/>
            <p:cNvSpPr>
              <a:spLocks/>
            </p:cNvSpPr>
            <p:nvPr/>
          </p:nvSpPr>
          <p:spPr bwMode="auto">
            <a:xfrm>
              <a:off x="860425" y="2944446"/>
              <a:ext cx="26988" cy="41275"/>
            </a:xfrm>
            <a:custGeom>
              <a:avLst/>
              <a:gdLst>
                <a:gd name="T0" fmla="*/ 10 w 17"/>
                <a:gd name="T1" fmla="*/ 25 h 26"/>
                <a:gd name="T2" fmla="*/ 10 w 17"/>
                <a:gd name="T3" fmla="*/ 25 h 26"/>
                <a:gd name="T4" fmla="*/ 10 w 17"/>
                <a:gd name="T5" fmla="*/ 22 h 26"/>
                <a:gd name="T6" fmla="*/ 10 w 17"/>
                <a:gd name="T7" fmla="*/ 19 h 26"/>
                <a:gd name="T8" fmla="*/ 10 w 17"/>
                <a:gd name="T9" fmla="*/ 16 h 26"/>
                <a:gd name="T10" fmla="*/ 8 w 17"/>
                <a:gd name="T11" fmla="*/ 13 h 26"/>
                <a:gd name="T12" fmla="*/ 8 w 17"/>
                <a:gd name="T13" fmla="*/ 13 h 26"/>
                <a:gd name="T14" fmla="*/ 1 w 17"/>
                <a:gd name="T15" fmla="*/ 4 h 26"/>
                <a:gd name="T16" fmla="*/ 0 w 17"/>
                <a:gd name="T17" fmla="*/ 2 h 26"/>
                <a:gd name="T18" fmla="*/ 0 w 17"/>
                <a:gd name="T19" fmla="*/ 0 h 26"/>
                <a:gd name="T20" fmla="*/ 0 w 17"/>
                <a:gd name="T21" fmla="*/ 0 h 26"/>
                <a:gd name="T22" fmla="*/ 0 w 17"/>
                <a:gd name="T23" fmla="*/ 0 h 26"/>
                <a:gd name="T24" fmla="*/ 10 w 17"/>
                <a:gd name="T25" fmla="*/ 4 h 26"/>
                <a:gd name="T26" fmla="*/ 16 w 17"/>
                <a:gd name="T27" fmla="*/ 7 h 26"/>
                <a:gd name="T28" fmla="*/ 17 w 17"/>
                <a:gd name="T29" fmla="*/ 10 h 26"/>
                <a:gd name="T30" fmla="*/ 17 w 17"/>
                <a:gd name="T31" fmla="*/ 10 h 26"/>
                <a:gd name="T32" fmla="*/ 17 w 17"/>
                <a:gd name="T33" fmla="*/ 16 h 26"/>
                <a:gd name="T34" fmla="*/ 16 w 17"/>
                <a:gd name="T35" fmla="*/ 22 h 26"/>
                <a:gd name="T36" fmla="*/ 13 w 17"/>
                <a:gd name="T37" fmla="*/ 26 h 26"/>
                <a:gd name="T38" fmla="*/ 11 w 17"/>
                <a:gd name="T39" fmla="*/ 26 h 26"/>
                <a:gd name="T40" fmla="*/ 10 w 17"/>
                <a:gd name="T41"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26">
                  <a:moveTo>
                    <a:pt x="10" y="25"/>
                  </a:moveTo>
                  <a:lnTo>
                    <a:pt x="10" y="25"/>
                  </a:lnTo>
                  <a:lnTo>
                    <a:pt x="10" y="22"/>
                  </a:lnTo>
                  <a:lnTo>
                    <a:pt x="10" y="19"/>
                  </a:lnTo>
                  <a:lnTo>
                    <a:pt x="10" y="16"/>
                  </a:lnTo>
                  <a:lnTo>
                    <a:pt x="8" y="13"/>
                  </a:lnTo>
                  <a:lnTo>
                    <a:pt x="8" y="13"/>
                  </a:lnTo>
                  <a:lnTo>
                    <a:pt x="1" y="4"/>
                  </a:lnTo>
                  <a:lnTo>
                    <a:pt x="0" y="2"/>
                  </a:lnTo>
                  <a:lnTo>
                    <a:pt x="0" y="0"/>
                  </a:lnTo>
                  <a:lnTo>
                    <a:pt x="0" y="0"/>
                  </a:lnTo>
                  <a:lnTo>
                    <a:pt x="0" y="0"/>
                  </a:lnTo>
                  <a:lnTo>
                    <a:pt x="10" y="4"/>
                  </a:lnTo>
                  <a:lnTo>
                    <a:pt x="16" y="7"/>
                  </a:lnTo>
                  <a:lnTo>
                    <a:pt x="17" y="10"/>
                  </a:lnTo>
                  <a:lnTo>
                    <a:pt x="17" y="10"/>
                  </a:lnTo>
                  <a:lnTo>
                    <a:pt x="17" y="16"/>
                  </a:lnTo>
                  <a:lnTo>
                    <a:pt x="16" y="22"/>
                  </a:lnTo>
                  <a:lnTo>
                    <a:pt x="13" y="26"/>
                  </a:lnTo>
                  <a:lnTo>
                    <a:pt x="11" y="26"/>
                  </a:lnTo>
                  <a:lnTo>
                    <a:pt x="10" y="25"/>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39" name="Freeform 1044"/>
            <p:cNvSpPr>
              <a:spLocks/>
            </p:cNvSpPr>
            <p:nvPr/>
          </p:nvSpPr>
          <p:spPr bwMode="auto">
            <a:xfrm>
              <a:off x="860425" y="2944446"/>
              <a:ext cx="26988" cy="41275"/>
            </a:xfrm>
            <a:custGeom>
              <a:avLst/>
              <a:gdLst>
                <a:gd name="T0" fmla="*/ 10 w 17"/>
                <a:gd name="T1" fmla="*/ 25 h 26"/>
                <a:gd name="T2" fmla="*/ 10 w 17"/>
                <a:gd name="T3" fmla="*/ 25 h 26"/>
                <a:gd name="T4" fmla="*/ 10 w 17"/>
                <a:gd name="T5" fmla="*/ 22 h 26"/>
                <a:gd name="T6" fmla="*/ 10 w 17"/>
                <a:gd name="T7" fmla="*/ 19 h 26"/>
                <a:gd name="T8" fmla="*/ 10 w 17"/>
                <a:gd name="T9" fmla="*/ 16 h 26"/>
                <a:gd name="T10" fmla="*/ 8 w 17"/>
                <a:gd name="T11" fmla="*/ 13 h 26"/>
                <a:gd name="T12" fmla="*/ 8 w 17"/>
                <a:gd name="T13" fmla="*/ 13 h 26"/>
                <a:gd name="T14" fmla="*/ 1 w 17"/>
                <a:gd name="T15" fmla="*/ 4 h 26"/>
                <a:gd name="T16" fmla="*/ 0 w 17"/>
                <a:gd name="T17" fmla="*/ 2 h 26"/>
                <a:gd name="T18" fmla="*/ 0 w 17"/>
                <a:gd name="T19" fmla="*/ 0 h 26"/>
                <a:gd name="T20" fmla="*/ 0 w 17"/>
                <a:gd name="T21" fmla="*/ 0 h 26"/>
                <a:gd name="T22" fmla="*/ 0 w 17"/>
                <a:gd name="T23" fmla="*/ 0 h 26"/>
                <a:gd name="T24" fmla="*/ 10 w 17"/>
                <a:gd name="T25" fmla="*/ 4 h 26"/>
                <a:gd name="T26" fmla="*/ 16 w 17"/>
                <a:gd name="T27" fmla="*/ 7 h 26"/>
                <a:gd name="T28" fmla="*/ 17 w 17"/>
                <a:gd name="T29" fmla="*/ 10 h 26"/>
                <a:gd name="T30" fmla="*/ 17 w 17"/>
                <a:gd name="T31" fmla="*/ 10 h 26"/>
                <a:gd name="T32" fmla="*/ 17 w 17"/>
                <a:gd name="T33" fmla="*/ 16 h 26"/>
                <a:gd name="T34" fmla="*/ 16 w 17"/>
                <a:gd name="T35" fmla="*/ 22 h 26"/>
                <a:gd name="T36" fmla="*/ 13 w 17"/>
                <a:gd name="T37" fmla="*/ 26 h 26"/>
                <a:gd name="T38" fmla="*/ 11 w 17"/>
                <a:gd name="T39" fmla="*/ 26 h 26"/>
                <a:gd name="T40" fmla="*/ 10 w 17"/>
                <a:gd name="T41"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26">
                  <a:moveTo>
                    <a:pt x="10" y="25"/>
                  </a:moveTo>
                  <a:lnTo>
                    <a:pt x="10" y="25"/>
                  </a:lnTo>
                  <a:lnTo>
                    <a:pt x="10" y="22"/>
                  </a:lnTo>
                  <a:lnTo>
                    <a:pt x="10" y="19"/>
                  </a:lnTo>
                  <a:lnTo>
                    <a:pt x="10" y="16"/>
                  </a:lnTo>
                  <a:lnTo>
                    <a:pt x="8" y="13"/>
                  </a:lnTo>
                  <a:lnTo>
                    <a:pt x="8" y="13"/>
                  </a:lnTo>
                  <a:lnTo>
                    <a:pt x="1" y="4"/>
                  </a:lnTo>
                  <a:lnTo>
                    <a:pt x="0" y="2"/>
                  </a:lnTo>
                  <a:lnTo>
                    <a:pt x="0" y="0"/>
                  </a:lnTo>
                  <a:lnTo>
                    <a:pt x="0" y="0"/>
                  </a:lnTo>
                  <a:lnTo>
                    <a:pt x="0" y="0"/>
                  </a:lnTo>
                  <a:lnTo>
                    <a:pt x="10" y="4"/>
                  </a:lnTo>
                  <a:lnTo>
                    <a:pt x="16" y="7"/>
                  </a:lnTo>
                  <a:lnTo>
                    <a:pt x="17" y="10"/>
                  </a:lnTo>
                  <a:lnTo>
                    <a:pt x="17" y="10"/>
                  </a:lnTo>
                  <a:lnTo>
                    <a:pt x="17" y="16"/>
                  </a:lnTo>
                  <a:lnTo>
                    <a:pt x="16" y="22"/>
                  </a:lnTo>
                  <a:lnTo>
                    <a:pt x="13" y="26"/>
                  </a:lnTo>
                  <a:lnTo>
                    <a:pt x="11" y="26"/>
                  </a:lnTo>
                  <a:lnTo>
                    <a:pt x="10" y="2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40" name="Freeform 1045"/>
            <p:cNvSpPr>
              <a:spLocks/>
            </p:cNvSpPr>
            <p:nvPr/>
          </p:nvSpPr>
          <p:spPr bwMode="auto">
            <a:xfrm>
              <a:off x="890588" y="2985721"/>
              <a:ext cx="12700" cy="25400"/>
            </a:xfrm>
            <a:custGeom>
              <a:avLst/>
              <a:gdLst>
                <a:gd name="T0" fmla="*/ 0 w 8"/>
                <a:gd name="T1" fmla="*/ 2 h 16"/>
                <a:gd name="T2" fmla="*/ 0 w 8"/>
                <a:gd name="T3" fmla="*/ 2 h 16"/>
                <a:gd name="T4" fmla="*/ 0 w 8"/>
                <a:gd name="T5" fmla="*/ 3 h 16"/>
                <a:gd name="T6" fmla="*/ 1 w 8"/>
                <a:gd name="T7" fmla="*/ 7 h 16"/>
                <a:gd name="T8" fmla="*/ 2 w 8"/>
                <a:gd name="T9" fmla="*/ 12 h 16"/>
                <a:gd name="T10" fmla="*/ 2 w 8"/>
                <a:gd name="T11" fmla="*/ 13 h 16"/>
                <a:gd name="T12" fmla="*/ 2 w 8"/>
                <a:gd name="T13" fmla="*/ 13 h 16"/>
                <a:gd name="T14" fmla="*/ 2 w 8"/>
                <a:gd name="T15" fmla="*/ 15 h 16"/>
                <a:gd name="T16" fmla="*/ 4 w 8"/>
                <a:gd name="T17" fmla="*/ 16 h 16"/>
                <a:gd name="T18" fmla="*/ 7 w 8"/>
                <a:gd name="T19" fmla="*/ 16 h 16"/>
                <a:gd name="T20" fmla="*/ 8 w 8"/>
                <a:gd name="T21" fmla="*/ 15 h 16"/>
                <a:gd name="T22" fmla="*/ 8 w 8"/>
                <a:gd name="T23" fmla="*/ 15 h 16"/>
                <a:gd name="T24" fmla="*/ 8 w 8"/>
                <a:gd name="T25" fmla="*/ 12 h 16"/>
                <a:gd name="T26" fmla="*/ 7 w 8"/>
                <a:gd name="T27" fmla="*/ 6 h 16"/>
                <a:gd name="T28" fmla="*/ 4 w 8"/>
                <a:gd name="T29" fmla="*/ 2 h 16"/>
                <a:gd name="T30" fmla="*/ 2 w 8"/>
                <a:gd name="T31" fmla="*/ 0 h 16"/>
                <a:gd name="T32" fmla="*/ 0 w 8"/>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16">
                  <a:moveTo>
                    <a:pt x="0" y="2"/>
                  </a:moveTo>
                  <a:lnTo>
                    <a:pt x="0" y="2"/>
                  </a:lnTo>
                  <a:lnTo>
                    <a:pt x="0" y="3"/>
                  </a:lnTo>
                  <a:lnTo>
                    <a:pt x="1" y="7"/>
                  </a:lnTo>
                  <a:lnTo>
                    <a:pt x="2" y="12"/>
                  </a:lnTo>
                  <a:lnTo>
                    <a:pt x="2" y="13"/>
                  </a:lnTo>
                  <a:lnTo>
                    <a:pt x="2" y="13"/>
                  </a:lnTo>
                  <a:lnTo>
                    <a:pt x="2" y="15"/>
                  </a:lnTo>
                  <a:lnTo>
                    <a:pt x="4" y="16"/>
                  </a:lnTo>
                  <a:lnTo>
                    <a:pt x="7" y="16"/>
                  </a:lnTo>
                  <a:lnTo>
                    <a:pt x="8" y="15"/>
                  </a:lnTo>
                  <a:lnTo>
                    <a:pt x="8" y="15"/>
                  </a:lnTo>
                  <a:lnTo>
                    <a:pt x="8" y="12"/>
                  </a:lnTo>
                  <a:lnTo>
                    <a:pt x="7" y="6"/>
                  </a:lnTo>
                  <a:lnTo>
                    <a:pt x="4" y="2"/>
                  </a:lnTo>
                  <a:lnTo>
                    <a:pt x="2" y="0"/>
                  </a:lnTo>
                  <a:lnTo>
                    <a:pt x="0" y="2"/>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41" name="Freeform 1046"/>
            <p:cNvSpPr>
              <a:spLocks/>
            </p:cNvSpPr>
            <p:nvPr/>
          </p:nvSpPr>
          <p:spPr bwMode="auto">
            <a:xfrm>
              <a:off x="890588" y="2985721"/>
              <a:ext cx="12700" cy="25400"/>
            </a:xfrm>
            <a:custGeom>
              <a:avLst/>
              <a:gdLst>
                <a:gd name="T0" fmla="*/ 0 w 8"/>
                <a:gd name="T1" fmla="*/ 2 h 16"/>
                <a:gd name="T2" fmla="*/ 0 w 8"/>
                <a:gd name="T3" fmla="*/ 2 h 16"/>
                <a:gd name="T4" fmla="*/ 0 w 8"/>
                <a:gd name="T5" fmla="*/ 3 h 16"/>
                <a:gd name="T6" fmla="*/ 1 w 8"/>
                <a:gd name="T7" fmla="*/ 7 h 16"/>
                <a:gd name="T8" fmla="*/ 2 w 8"/>
                <a:gd name="T9" fmla="*/ 12 h 16"/>
                <a:gd name="T10" fmla="*/ 2 w 8"/>
                <a:gd name="T11" fmla="*/ 13 h 16"/>
                <a:gd name="T12" fmla="*/ 2 w 8"/>
                <a:gd name="T13" fmla="*/ 13 h 16"/>
                <a:gd name="T14" fmla="*/ 2 w 8"/>
                <a:gd name="T15" fmla="*/ 15 h 16"/>
                <a:gd name="T16" fmla="*/ 4 w 8"/>
                <a:gd name="T17" fmla="*/ 16 h 16"/>
                <a:gd name="T18" fmla="*/ 7 w 8"/>
                <a:gd name="T19" fmla="*/ 16 h 16"/>
                <a:gd name="T20" fmla="*/ 8 w 8"/>
                <a:gd name="T21" fmla="*/ 15 h 16"/>
                <a:gd name="T22" fmla="*/ 8 w 8"/>
                <a:gd name="T23" fmla="*/ 15 h 16"/>
                <a:gd name="T24" fmla="*/ 8 w 8"/>
                <a:gd name="T25" fmla="*/ 12 h 16"/>
                <a:gd name="T26" fmla="*/ 7 w 8"/>
                <a:gd name="T27" fmla="*/ 6 h 16"/>
                <a:gd name="T28" fmla="*/ 4 w 8"/>
                <a:gd name="T29" fmla="*/ 2 h 16"/>
                <a:gd name="T30" fmla="*/ 2 w 8"/>
                <a:gd name="T31" fmla="*/ 0 h 16"/>
                <a:gd name="T32" fmla="*/ 0 w 8"/>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16">
                  <a:moveTo>
                    <a:pt x="0" y="2"/>
                  </a:moveTo>
                  <a:lnTo>
                    <a:pt x="0" y="2"/>
                  </a:lnTo>
                  <a:lnTo>
                    <a:pt x="0" y="3"/>
                  </a:lnTo>
                  <a:lnTo>
                    <a:pt x="1" y="7"/>
                  </a:lnTo>
                  <a:lnTo>
                    <a:pt x="2" y="12"/>
                  </a:lnTo>
                  <a:lnTo>
                    <a:pt x="2" y="13"/>
                  </a:lnTo>
                  <a:lnTo>
                    <a:pt x="2" y="13"/>
                  </a:lnTo>
                  <a:lnTo>
                    <a:pt x="2" y="15"/>
                  </a:lnTo>
                  <a:lnTo>
                    <a:pt x="4" y="16"/>
                  </a:lnTo>
                  <a:lnTo>
                    <a:pt x="7" y="16"/>
                  </a:lnTo>
                  <a:lnTo>
                    <a:pt x="8" y="15"/>
                  </a:lnTo>
                  <a:lnTo>
                    <a:pt x="8" y="15"/>
                  </a:lnTo>
                  <a:lnTo>
                    <a:pt x="8" y="12"/>
                  </a:lnTo>
                  <a:lnTo>
                    <a:pt x="7" y="6"/>
                  </a:lnTo>
                  <a:lnTo>
                    <a:pt x="4" y="2"/>
                  </a:lnTo>
                  <a:lnTo>
                    <a:pt x="2"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42" name="Freeform 1047"/>
            <p:cNvSpPr>
              <a:spLocks/>
            </p:cNvSpPr>
            <p:nvPr/>
          </p:nvSpPr>
          <p:spPr bwMode="auto">
            <a:xfrm>
              <a:off x="352425" y="2947621"/>
              <a:ext cx="58738" cy="66675"/>
            </a:xfrm>
            <a:custGeom>
              <a:avLst/>
              <a:gdLst>
                <a:gd name="T0" fmla="*/ 11 w 37"/>
                <a:gd name="T1" fmla="*/ 40 h 42"/>
                <a:gd name="T2" fmla="*/ 11 w 37"/>
                <a:gd name="T3" fmla="*/ 40 h 42"/>
                <a:gd name="T4" fmla="*/ 10 w 37"/>
                <a:gd name="T5" fmla="*/ 34 h 42"/>
                <a:gd name="T6" fmla="*/ 8 w 37"/>
                <a:gd name="T7" fmla="*/ 33 h 42"/>
                <a:gd name="T8" fmla="*/ 8 w 37"/>
                <a:gd name="T9" fmla="*/ 31 h 42"/>
                <a:gd name="T10" fmla="*/ 8 w 37"/>
                <a:gd name="T11" fmla="*/ 31 h 42"/>
                <a:gd name="T12" fmla="*/ 2 w 37"/>
                <a:gd name="T13" fmla="*/ 31 h 42"/>
                <a:gd name="T14" fmla="*/ 1 w 37"/>
                <a:gd name="T15" fmla="*/ 30 h 42"/>
                <a:gd name="T16" fmla="*/ 0 w 37"/>
                <a:gd name="T17" fmla="*/ 27 h 42"/>
                <a:gd name="T18" fmla="*/ 0 w 37"/>
                <a:gd name="T19" fmla="*/ 27 h 42"/>
                <a:gd name="T20" fmla="*/ 1 w 37"/>
                <a:gd name="T21" fmla="*/ 18 h 42"/>
                <a:gd name="T22" fmla="*/ 2 w 37"/>
                <a:gd name="T23" fmla="*/ 15 h 42"/>
                <a:gd name="T24" fmla="*/ 5 w 37"/>
                <a:gd name="T25" fmla="*/ 14 h 42"/>
                <a:gd name="T26" fmla="*/ 5 w 37"/>
                <a:gd name="T27" fmla="*/ 14 h 42"/>
                <a:gd name="T28" fmla="*/ 11 w 37"/>
                <a:gd name="T29" fmla="*/ 15 h 42"/>
                <a:gd name="T30" fmla="*/ 13 w 37"/>
                <a:gd name="T31" fmla="*/ 15 h 42"/>
                <a:gd name="T32" fmla="*/ 14 w 37"/>
                <a:gd name="T33" fmla="*/ 15 h 42"/>
                <a:gd name="T34" fmla="*/ 14 w 37"/>
                <a:gd name="T35" fmla="*/ 15 h 42"/>
                <a:gd name="T36" fmla="*/ 13 w 37"/>
                <a:gd name="T37" fmla="*/ 10 h 42"/>
                <a:gd name="T38" fmla="*/ 13 w 37"/>
                <a:gd name="T39" fmla="*/ 8 h 42"/>
                <a:gd name="T40" fmla="*/ 14 w 37"/>
                <a:gd name="T41" fmla="*/ 8 h 42"/>
                <a:gd name="T42" fmla="*/ 14 w 37"/>
                <a:gd name="T43" fmla="*/ 8 h 42"/>
                <a:gd name="T44" fmla="*/ 21 w 37"/>
                <a:gd name="T45" fmla="*/ 8 h 42"/>
                <a:gd name="T46" fmla="*/ 24 w 37"/>
                <a:gd name="T47" fmla="*/ 8 h 42"/>
                <a:gd name="T48" fmla="*/ 26 w 37"/>
                <a:gd name="T49" fmla="*/ 7 h 42"/>
                <a:gd name="T50" fmla="*/ 26 w 37"/>
                <a:gd name="T51" fmla="*/ 7 h 42"/>
                <a:gd name="T52" fmla="*/ 24 w 37"/>
                <a:gd name="T53" fmla="*/ 1 h 42"/>
                <a:gd name="T54" fmla="*/ 24 w 37"/>
                <a:gd name="T55" fmla="*/ 0 h 42"/>
                <a:gd name="T56" fmla="*/ 26 w 37"/>
                <a:gd name="T57" fmla="*/ 1 h 42"/>
                <a:gd name="T58" fmla="*/ 26 w 37"/>
                <a:gd name="T59" fmla="*/ 1 h 42"/>
                <a:gd name="T60" fmla="*/ 30 w 37"/>
                <a:gd name="T61" fmla="*/ 5 h 42"/>
                <a:gd name="T62" fmla="*/ 31 w 37"/>
                <a:gd name="T63" fmla="*/ 8 h 42"/>
                <a:gd name="T64" fmla="*/ 33 w 37"/>
                <a:gd name="T65" fmla="*/ 10 h 42"/>
                <a:gd name="T66" fmla="*/ 33 w 37"/>
                <a:gd name="T67" fmla="*/ 10 h 42"/>
                <a:gd name="T68" fmla="*/ 34 w 37"/>
                <a:gd name="T69" fmla="*/ 11 h 42"/>
                <a:gd name="T70" fmla="*/ 37 w 37"/>
                <a:gd name="T71" fmla="*/ 14 h 42"/>
                <a:gd name="T72" fmla="*/ 37 w 37"/>
                <a:gd name="T73" fmla="*/ 17 h 42"/>
                <a:gd name="T74" fmla="*/ 36 w 37"/>
                <a:gd name="T75" fmla="*/ 18 h 42"/>
                <a:gd name="T76" fmla="*/ 36 w 37"/>
                <a:gd name="T77" fmla="*/ 18 h 42"/>
                <a:gd name="T78" fmla="*/ 31 w 37"/>
                <a:gd name="T79" fmla="*/ 27 h 42"/>
                <a:gd name="T80" fmla="*/ 29 w 37"/>
                <a:gd name="T81" fmla="*/ 31 h 42"/>
                <a:gd name="T82" fmla="*/ 27 w 37"/>
                <a:gd name="T83" fmla="*/ 33 h 42"/>
                <a:gd name="T84" fmla="*/ 27 w 37"/>
                <a:gd name="T85" fmla="*/ 33 h 42"/>
                <a:gd name="T86" fmla="*/ 24 w 37"/>
                <a:gd name="T87" fmla="*/ 30 h 42"/>
                <a:gd name="T88" fmla="*/ 23 w 37"/>
                <a:gd name="T89" fmla="*/ 30 h 42"/>
                <a:gd name="T90" fmla="*/ 21 w 37"/>
                <a:gd name="T91" fmla="*/ 30 h 42"/>
                <a:gd name="T92" fmla="*/ 21 w 37"/>
                <a:gd name="T93" fmla="*/ 30 h 42"/>
                <a:gd name="T94" fmla="*/ 17 w 37"/>
                <a:gd name="T95" fmla="*/ 37 h 42"/>
                <a:gd name="T96" fmla="*/ 14 w 37"/>
                <a:gd name="T97" fmla="*/ 40 h 42"/>
                <a:gd name="T98" fmla="*/ 13 w 37"/>
                <a:gd name="T99" fmla="*/ 42 h 42"/>
                <a:gd name="T100" fmla="*/ 11 w 37"/>
                <a:gd name="T101"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 h="42">
                  <a:moveTo>
                    <a:pt x="11" y="40"/>
                  </a:moveTo>
                  <a:lnTo>
                    <a:pt x="11" y="40"/>
                  </a:lnTo>
                  <a:lnTo>
                    <a:pt x="10" y="34"/>
                  </a:lnTo>
                  <a:lnTo>
                    <a:pt x="8" y="33"/>
                  </a:lnTo>
                  <a:lnTo>
                    <a:pt x="8" y="31"/>
                  </a:lnTo>
                  <a:lnTo>
                    <a:pt x="8" y="31"/>
                  </a:lnTo>
                  <a:lnTo>
                    <a:pt x="2" y="31"/>
                  </a:lnTo>
                  <a:lnTo>
                    <a:pt x="1" y="30"/>
                  </a:lnTo>
                  <a:lnTo>
                    <a:pt x="0" y="27"/>
                  </a:lnTo>
                  <a:lnTo>
                    <a:pt x="0" y="27"/>
                  </a:lnTo>
                  <a:lnTo>
                    <a:pt x="1" y="18"/>
                  </a:lnTo>
                  <a:lnTo>
                    <a:pt x="2" y="15"/>
                  </a:lnTo>
                  <a:lnTo>
                    <a:pt x="5" y="14"/>
                  </a:lnTo>
                  <a:lnTo>
                    <a:pt x="5" y="14"/>
                  </a:lnTo>
                  <a:lnTo>
                    <a:pt x="11" y="15"/>
                  </a:lnTo>
                  <a:lnTo>
                    <a:pt x="13" y="15"/>
                  </a:lnTo>
                  <a:lnTo>
                    <a:pt x="14" y="15"/>
                  </a:lnTo>
                  <a:lnTo>
                    <a:pt x="14" y="15"/>
                  </a:lnTo>
                  <a:lnTo>
                    <a:pt x="13" y="10"/>
                  </a:lnTo>
                  <a:lnTo>
                    <a:pt x="13" y="8"/>
                  </a:lnTo>
                  <a:lnTo>
                    <a:pt x="14" y="8"/>
                  </a:lnTo>
                  <a:lnTo>
                    <a:pt x="14" y="8"/>
                  </a:lnTo>
                  <a:lnTo>
                    <a:pt x="21" y="8"/>
                  </a:lnTo>
                  <a:lnTo>
                    <a:pt x="24" y="8"/>
                  </a:lnTo>
                  <a:lnTo>
                    <a:pt x="26" y="7"/>
                  </a:lnTo>
                  <a:lnTo>
                    <a:pt x="26" y="7"/>
                  </a:lnTo>
                  <a:lnTo>
                    <a:pt x="24" y="1"/>
                  </a:lnTo>
                  <a:lnTo>
                    <a:pt x="24" y="0"/>
                  </a:lnTo>
                  <a:lnTo>
                    <a:pt x="26" y="1"/>
                  </a:lnTo>
                  <a:lnTo>
                    <a:pt x="26" y="1"/>
                  </a:lnTo>
                  <a:lnTo>
                    <a:pt x="30" y="5"/>
                  </a:lnTo>
                  <a:lnTo>
                    <a:pt x="31" y="8"/>
                  </a:lnTo>
                  <a:lnTo>
                    <a:pt x="33" y="10"/>
                  </a:lnTo>
                  <a:lnTo>
                    <a:pt x="33" y="10"/>
                  </a:lnTo>
                  <a:lnTo>
                    <a:pt x="34" y="11"/>
                  </a:lnTo>
                  <a:lnTo>
                    <a:pt x="37" y="14"/>
                  </a:lnTo>
                  <a:lnTo>
                    <a:pt x="37" y="17"/>
                  </a:lnTo>
                  <a:lnTo>
                    <a:pt x="36" y="18"/>
                  </a:lnTo>
                  <a:lnTo>
                    <a:pt x="36" y="18"/>
                  </a:lnTo>
                  <a:lnTo>
                    <a:pt x="31" y="27"/>
                  </a:lnTo>
                  <a:lnTo>
                    <a:pt x="29" y="31"/>
                  </a:lnTo>
                  <a:lnTo>
                    <a:pt x="27" y="33"/>
                  </a:lnTo>
                  <a:lnTo>
                    <a:pt x="27" y="33"/>
                  </a:lnTo>
                  <a:lnTo>
                    <a:pt x="24" y="30"/>
                  </a:lnTo>
                  <a:lnTo>
                    <a:pt x="23" y="30"/>
                  </a:lnTo>
                  <a:lnTo>
                    <a:pt x="21" y="30"/>
                  </a:lnTo>
                  <a:lnTo>
                    <a:pt x="21" y="30"/>
                  </a:lnTo>
                  <a:lnTo>
                    <a:pt x="17" y="37"/>
                  </a:lnTo>
                  <a:lnTo>
                    <a:pt x="14" y="40"/>
                  </a:lnTo>
                  <a:lnTo>
                    <a:pt x="13" y="42"/>
                  </a:lnTo>
                  <a:lnTo>
                    <a:pt x="11" y="40"/>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43" name="Freeform 1048"/>
            <p:cNvSpPr>
              <a:spLocks/>
            </p:cNvSpPr>
            <p:nvPr/>
          </p:nvSpPr>
          <p:spPr bwMode="auto">
            <a:xfrm>
              <a:off x="352425" y="2947621"/>
              <a:ext cx="58738" cy="66675"/>
            </a:xfrm>
            <a:custGeom>
              <a:avLst/>
              <a:gdLst>
                <a:gd name="T0" fmla="*/ 11 w 37"/>
                <a:gd name="T1" fmla="*/ 40 h 42"/>
                <a:gd name="T2" fmla="*/ 11 w 37"/>
                <a:gd name="T3" fmla="*/ 40 h 42"/>
                <a:gd name="T4" fmla="*/ 10 w 37"/>
                <a:gd name="T5" fmla="*/ 34 h 42"/>
                <a:gd name="T6" fmla="*/ 8 w 37"/>
                <a:gd name="T7" fmla="*/ 33 h 42"/>
                <a:gd name="T8" fmla="*/ 8 w 37"/>
                <a:gd name="T9" fmla="*/ 31 h 42"/>
                <a:gd name="T10" fmla="*/ 8 w 37"/>
                <a:gd name="T11" fmla="*/ 31 h 42"/>
                <a:gd name="T12" fmla="*/ 2 w 37"/>
                <a:gd name="T13" fmla="*/ 31 h 42"/>
                <a:gd name="T14" fmla="*/ 1 w 37"/>
                <a:gd name="T15" fmla="*/ 30 h 42"/>
                <a:gd name="T16" fmla="*/ 0 w 37"/>
                <a:gd name="T17" fmla="*/ 27 h 42"/>
                <a:gd name="T18" fmla="*/ 0 w 37"/>
                <a:gd name="T19" fmla="*/ 27 h 42"/>
                <a:gd name="T20" fmla="*/ 1 w 37"/>
                <a:gd name="T21" fmla="*/ 18 h 42"/>
                <a:gd name="T22" fmla="*/ 2 w 37"/>
                <a:gd name="T23" fmla="*/ 15 h 42"/>
                <a:gd name="T24" fmla="*/ 5 w 37"/>
                <a:gd name="T25" fmla="*/ 14 h 42"/>
                <a:gd name="T26" fmla="*/ 5 w 37"/>
                <a:gd name="T27" fmla="*/ 14 h 42"/>
                <a:gd name="T28" fmla="*/ 11 w 37"/>
                <a:gd name="T29" fmla="*/ 15 h 42"/>
                <a:gd name="T30" fmla="*/ 13 w 37"/>
                <a:gd name="T31" fmla="*/ 15 h 42"/>
                <a:gd name="T32" fmla="*/ 14 w 37"/>
                <a:gd name="T33" fmla="*/ 15 h 42"/>
                <a:gd name="T34" fmla="*/ 14 w 37"/>
                <a:gd name="T35" fmla="*/ 15 h 42"/>
                <a:gd name="T36" fmla="*/ 13 w 37"/>
                <a:gd name="T37" fmla="*/ 10 h 42"/>
                <a:gd name="T38" fmla="*/ 13 w 37"/>
                <a:gd name="T39" fmla="*/ 8 h 42"/>
                <a:gd name="T40" fmla="*/ 14 w 37"/>
                <a:gd name="T41" fmla="*/ 8 h 42"/>
                <a:gd name="T42" fmla="*/ 14 w 37"/>
                <a:gd name="T43" fmla="*/ 8 h 42"/>
                <a:gd name="T44" fmla="*/ 21 w 37"/>
                <a:gd name="T45" fmla="*/ 8 h 42"/>
                <a:gd name="T46" fmla="*/ 24 w 37"/>
                <a:gd name="T47" fmla="*/ 8 h 42"/>
                <a:gd name="T48" fmla="*/ 26 w 37"/>
                <a:gd name="T49" fmla="*/ 7 h 42"/>
                <a:gd name="T50" fmla="*/ 26 w 37"/>
                <a:gd name="T51" fmla="*/ 7 h 42"/>
                <a:gd name="T52" fmla="*/ 24 w 37"/>
                <a:gd name="T53" fmla="*/ 1 h 42"/>
                <a:gd name="T54" fmla="*/ 24 w 37"/>
                <a:gd name="T55" fmla="*/ 0 h 42"/>
                <a:gd name="T56" fmla="*/ 26 w 37"/>
                <a:gd name="T57" fmla="*/ 1 h 42"/>
                <a:gd name="T58" fmla="*/ 26 w 37"/>
                <a:gd name="T59" fmla="*/ 1 h 42"/>
                <a:gd name="T60" fmla="*/ 30 w 37"/>
                <a:gd name="T61" fmla="*/ 5 h 42"/>
                <a:gd name="T62" fmla="*/ 31 w 37"/>
                <a:gd name="T63" fmla="*/ 8 h 42"/>
                <a:gd name="T64" fmla="*/ 33 w 37"/>
                <a:gd name="T65" fmla="*/ 10 h 42"/>
                <a:gd name="T66" fmla="*/ 33 w 37"/>
                <a:gd name="T67" fmla="*/ 10 h 42"/>
                <a:gd name="T68" fmla="*/ 34 w 37"/>
                <a:gd name="T69" fmla="*/ 11 h 42"/>
                <a:gd name="T70" fmla="*/ 37 w 37"/>
                <a:gd name="T71" fmla="*/ 14 h 42"/>
                <a:gd name="T72" fmla="*/ 37 w 37"/>
                <a:gd name="T73" fmla="*/ 17 h 42"/>
                <a:gd name="T74" fmla="*/ 36 w 37"/>
                <a:gd name="T75" fmla="*/ 18 h 42"/>
                <a:gd name="T76" fmla="*/ 36 w 37"/>
                <a:gd name="T77" fmla="*/ 18 h 42"/>
                <a:gd name="T78" fmla="*/ 31 w 37"/>
                <a:gd name="T79" fmla="*/ 27 h 42"/>
                <a:gd name="T80" fmla="*/ 29 w 37"/>
                <a:gd name="T81" fmla="*/ 31 h 42"/>
                <a:gd name="T82" fmla="*/ 27 w 37"/>
                <a:gd name="T83" fmla="*/ 33 h 42"/>
                <a:gd name="T84" fmla="*/ 27 w 37"/>
                <a:gd name="T85" fmla="*/ 33 h 42"/>
                <a:gd name="T86" fmla="*/ 24 w 37"/>
                <a:gd name="T87" fmla="*/ 30 h 42"/>
                <a:gd name="T88" fmla="*/ 23 w 37"/>
                <a:gd name="T89" fmla="*/ 30 h 42"/>
                <a:gd name="T90" fmla="*/ 21 w 37"/>
                <a:gd name="T91" fmla="*/ 30 h 42"/>
                <a:gd name="T92" fmla="*/ 21 w 37"/>
                <a:gd name="T93" fmla="*/ 30 h 42"/>
                <a:gd name="T94" fmla="*/ 17 w 37"/>
                <a:gd name="T95" fmla="*/ 37 h 42"/>
                <a:gd name="T96" fmla="*/ 14 w 37"/>
                <a:gd name="T97" fmla="*/ 40 h 42"/>
                <a:gd name="T98" fmla="*/ 13 w 37"/>
                <a:gd name="T99" fmla="*/ 42 h 42"/>
                <a:gd name="T100" fmla="*/ 11 w 37"/>
                <a:gd name="T101"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 h="42">
                  <a:moveTo>
                    <a:pt x="11" y="40"/>
                  </a:moveTo>
                  <a:lnTo>
                    <a:pt x="11" y="40"/>
                  </a:lnTo>
                  <a:lnTo>
                    <a:pt x="10" y="34"/>
                  </a:lnTo>
                  <a:lnTo>
                    <a:pt x="8" y="33"/>
                  </a:lnTo>
                  <a:lnTo>
                    <a:pt x="8" y="31"/>
                  </a:lnTo>
                  <a:lnTo>
                    <a:pt x="8" y="31"/>
                  </a:lnTo>
                  <a:lnTo>
                    <a:pt x="2" y="31"/>
                  </a:lnTo>
                  <a:lnTo>
                    <a:pt x="1" y="30"/>
                  </a:lnTo>
                  <a:lnTo>
                    <a:pt x="0" y="27"/>
                  </a:lnTo>
                  <a:lnTo>
                    <a:pt x="0" y="27"/>
                  </a:lnTo>
                  <a:lnTo>
                    <a:pt x="1" y="18"/>
                  </a:lnTo>
                  <a:lnTo>
                    <a:pt x="2" y="15"/>
                  </a:lnTo>
                  <a:lnTo>
                    <a:pt x="5" y="14"/>
                  </a:lnTo>
                  <a:lnTo>
                    <a:pt x="5" y="14"/>
                  </a:lnTo>
                  <a:lnTo>
                    <a:pt x="11" y="15"/>
                  </a:lnTo>
                  <a:lnTo>
                    <a:pt x="13" y="15"/>
                  </a:lnTo>
                  <a:lnTo>
                    <a:pt x="14" y="15"/>
                  </a:lnTo>
                  <a:lnTo>
                    <a:pt x="14" y="15"/>
                  </a:lnTo>
                  <a:lnTo>
                    <a:pt x="13" y="10"/>
                  </a:lnTo>
                  <a:lnTo>
                    <a:pt x="13" y="8"/>
                  </a:lnTo>
                  <a:lnTo>
                    <a:pt x="14" y="8"/>
                  </a:lnTo>
                  <a:lnTo>
                    <a:pt x="14" y="8"/>
                  </a:lnTo>
                  <a:lnTo>
                    <a:pt x="21" y="8"/>
                  </a:lnTo>
                  <a:lnTo>
                    <a:pt x="24" y="8"/>
                  </a:lnTo>
                  <a:lnTo>
                    <a:pt x="26" y="7"/>
                  </a:lnTo>
                  <a:lnTo>
                    <a:pt x="26" y="7"/>
                  </a:lnTo>
                  <a:lnTo>
                    <a:pt x="24" y="1"/>
                  </a:lnTo>
                  <a:lnTo>
                    <a:pt x="24" y="0"/>
                  </a:lnTo>
                  <a:lnTo>
                    <a:pt x="26" y="1"/>
                  </a:lnTo>
                  <a:lnTo>
                    <a:pt x="26" y="1"/>
                  </a:lnTo>
                  <a:lnTo>
                    <a:pt x="30" y="5"/>
                  </a:lnTo>
                  <a:lnTo>
                    <a:pt x="31" y="8"/>
                  </a:lnTo>
                  <a:lnTo>
                    <a:pt x="33" y="10"/>
                  </a:lnTo>
                  <a:lnTo>
                    <a:pt x="33" y="10"/>
                  </a:lnTo>
                  <a:lnTo>
                    <a:pt x="34" y="11"/>
                  </a:lnTo>
                  <a:lnTo>
                    <a:pt x="37" y="14"/>
                  </a:lnTo>
                  <a:lnTo>
                    <a:pt x="37" y="17"/>
                  </a:lnTo>
                  <a:lnTo>
                    <a:pt x="36" y="18"/>
                  </a:lnTo>
                  <a:lnTo>
                    <a:pt x="36" y="18"/>
                  </a:lnTo>
                  <a:lnTo>
                    <a:pt x="31" y="27"/>
                  </a:lnTo>
                  <a:lnTo>
                    <a:pt x="29" y="31"/>
                  </a:lnTo>
                  <a:lnTo>
                    <a:pt x="27" y="33"/>
                  </a:lnTo>
                  <a:lnTo>
                    <a:pt x="27" y="33"/>
                  </a:lnTo>
                  <a:lnTo>
                    <a:pt x="24" y="30"/>
                  </a:lnTo>
                  <a:lnTo>
                    <a:pt x="23" y="30"/>
                  </a:lnTo>
                  <a:lnTo>
                    <a:pt x="21" y="30"/>
                  </a:lnTo>
                  <a:lnTo>
                    <a:pt x="21" y="30"/>
                  </a:lnTo>
                  <a:lnTo>
                    <a:pt x="17" y="37"/>
                  </a:lnTo>
                  <a:lnTo>
                    <a:pt x="14" y="40"/>
                  </a:lnTo>
                  <a:lnTo>
                    <a:pt x="13" y="42"/>
                  </a:lnTo>
                  <a:lnTo>
                    <a:pt x="11" y="4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44" name="Freeform 1049"/>
            <p:cNvSpPr>
              <a:spLocks/>
            </p:cNvSpPr>
            <p:nvPr/>
          </p:nvSpPr>
          <p:spPr bwMode="auto">
            <a:xfrm>
              <a:off x="400050" y="2933334"/>
              <a:ext cx="26988" cy="14288"/>
            </a:xfrm>
            <a:custGeom>
              <a:avLst/>
              <a:gdLst>
                <a:gd name="T0" fmla="*/ 7 w 17"/>
                <a:gd name="T1" fmla="*/ 9 h 9"/>
                <a:gd name="T2" fmla="*/ 7 w 17"/>
                <a:gd name="T3" fmla="*/ 9 h 9"/>
                <a:gd name="T4" fmla="*/ 4 w 17"/>
                <a:gd name="T5" fmla="*/ 9 h 9"/>
                <a:gd name="T6" fmla="*/ 1 w 17"/>
                <a:gd name="T7" fmla="*/ 6 h 9"/>
                <a:gd name="T8" fmla="*/ 0 w 17"/>
                <a:gd name="T9" fmla="*/ 3 h 9"/>
                <a:gd name="T10" fmla="*/ 1 w 17"/>
                <a:gd name="T11" fmla="*/ 0 h 9"/>
                <a:gd name="T12" fmla="*/ 1 w 17"/>
                <a:gd name="T13" fmla="*/ 0 h 9"/>
                <a:gd name="T14" fmla="*/ 6 w 17"/>
                <a:gd name="T15" fmla="*/ 0 h 9"/>
                <a:gd name="T16" fmla="*/ 10 w 17"/>
                <a:gd name="T17" fmla="*/ 3 h 9"/>
                <a:gd name="T18" fmla="*/ 17 w 17"/>
                <a:gd name="T19" fmla="*/ 6 h 9"/>
                <a:gd name="T20" fmla="*/ 17 w 17"/>
                <a:gd name="T21" fmla="*/ 6 h 9"/>
                <a:gd name="T22" fmla="*/ 17 w 17"/>
                <a:gd name="T23" fmla="*/ 6 h 9"/>
                <a:gd name="T24" fmla="*/ 14 w 17"/>
                <a:gd name="T25" fmla="*/ 7 h 9"/>
                <a:gd name="T26" fmla="*/ 7 w 17"/>
                <a:gd name="T2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9">
                  <a:moveTo>
                    <a:pt x="7" y="9"/>
                  </a:moveTo>
                  <a:lnTo>
                    <a:pt x="7" y="9"/>
                  </a:lnTo>
                  <a:lnTo>
                    <a:pt x="4" y="9"/>
                  </a:lnTo>
                  <a:lnTo>
                    <a:pt x="1" y="6"/>
                  </a:lnTo>
                  <a:lnTo>
                    <a:pt x="0" y="3"/>
                  </a:lnTo>
                  <a:lnTo>
                    <a:pt x="1" y="0"/>
                  </a:lnTo>
                  <a:lnTo>
                    <a:pt x="1" y="0"/>
                  </a:lnTo>
                  <a:lnTo>
                    <a:pt x="6" y="0"/>
                  </a:lnTo>
                  <a:lnTo>
                    <a:pt x="10" y="3"/>
                  </a:lnTo>
                  <a:lnTo>
                    <a:pt x="17" y="6"/>
                  </a:lnTo>
                  <a:lnTo>
                    <a:pt x="17" y="6"/>
                  </a:lnTo>
                  <a:lnTo>
                    <a:pt x="17" y="6"/>
                  </a:lnTo>
                  <a:lnTo>
                    <a:pt x="14" y="7"/>
                  </a:lnTo>
                  <a:lnTo>
                    <a:pt x="7" y="9"/>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45" name="Freeform 1050"/>
            <p:cNvSpPr>
              <a:spLocks/>
            </p:cNvSpPr>
            <p:nvPr/>
          </p:nvSpPr>
          <p:spPr bwMode="auto">
            <a:xfrm>
              <a:off x="400050" y="2933334"/>
              <a:ext cx="26988" cy="14288"/>
            </a:xfrm>
            <a:custGeom>
              <a:avLst/>
              <a:gdLst>
                <a:gd name="T0" fmla="*/ 7 w 17"/>
                <a:gd name="T1" fmla="*/ 9 h 9"/>
                <a:gd name="T2" fmla="*/ 7 w 17"/>
                <a:gd name="T3" fmla="*/ 9 h 9"/>
                <a:gd name="T4" fmla="*/ 4 w 17"/>
                <a:gd name="T5" fmla="*/ 9 h 9"/>
                <a:gd name="T6" fmla="*/ 1 w 17"/>
                <a:gd name="T7" fmla="*/ 6 h 9"/>
                <a:gd name="T8" fmla="*/ 0 w 17"/>
                <a:gd name="T9" fmla="*/ 3 h 9"/>
                <a:gd name="T10" fmla="*/ 1 w 17"/>
                <a:gd name="T11" fmla="*/ 0 h 9"/>
                <a:gd name="T12" fmla="*/ 1 w 17"/>
                <a:gd name="T13" fmla="*/ 0 h 9"/>
                <a:gd name="T14" fmla="*/ 6 w 17"/>
                <a:gd name="T15" fmla="*/ 0 h 9"/>
                <a:gd name="T16" fmla="*/ 10 w 17"/>
                <a:gd name="T17" fmla="*/ 3 h 9"/>
                <a:gd name="T18" fmla="*/ 17 w 17"/>
                <a:gd name="T19" fmla="*/ 6 h 9"/>
                <a:gd name="T20" fmla="*/ 17 w 17"/>
                <a:gd name="T21" fmla="*/ 6 h 9"/>
                <a:gd name="T22" fmla="*/ 17 w 17"/>
                <a:gd name="T23" fmla="*/ 6 h 9"/>
                <a:gd name="T24" fmla="*/ 14 w 17"/>
                <a:gd name="T25" fmla="*/ 7 h 9"/>
                <a:gd name="T26" fmla="*/ 7 w 17"/>
                <a:gd name="T2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9">
                  <a:moveTo>
                    <a:pt x="7" y="9"/>
                  </a:moveTo>
                  <a:lnTo>
                    <a:pt x="7" y="9"/>
                  </a:lnTo>
                  <a:lnTo>
                    <a:pt x="4" y="9"/>
                  </a:lnTo>
                  <a:lnTo>
                    <a:pt x="1" y="6"/>
                  </a:lnTo>
                  <a:lnTo>
                    <a:pt x="0" y="3"/>
                  </a:lnTo>
                  <a:lnTo>
                    <a:pt x="1" y="0"/>
                  </a:lnTo>
                  <a:lnTo>
                    <a:pt x="1" y="0"/>
                  </a:lnTo>
                  <a:lnTo>
                    <a:pt x="6" y="0"/>
                  </a:lnTo>
                  <a:lnTo>
                    <a:pt x="10" y="3"/>
                  </a:lnTo>
                  <a:lnTo>
                    <a:pt x="17" y="6"/>
                  </a:lnTo>
                  <a:lnTo>
                    <a:pt x="17" y="6"/>
                  </a:lnTo>
                  <a:lnTo>
                    <a:pt x="17" y="6"/>
                  </a:lnTo>
                  <a:lnTo>
                    <a:pt x="14" y="7"/>
                  </a:lnTo>
                  <a:lnTo>
                    <a:pt x="7"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46" name="Freeform 1051"/>
            <p:cNvSpPr>
              <a:spLocks/>
            </p:cNvSpPr>
            <p:nvPr/>
          </p:nvSpPr>
          <p:spPr bwMode="auto">
            <a:xfrm>
              <a:off x="98425" y="3080971"/>
              <a:ext cx="34925" cy="22225"/>
            </a:xfrm>
            <a:custGeom>
              <a:avLst/>
              <a:gdLst>
                <a:gd name="T0" fmla="*/ 19 w 22"/>
                <a:gd name="T1" fmla="*/ 10 h 14"/>
                <a:gd name="T2" fmla="*/ 19 w 22"/>
                <a:gd name="T3" fmla="*/ 10 h 14"/>
                <a:gd name="T4" fmla="*/ 15 w 22"/>
                <a:gd name="T5" fmla="*/ 11 h 14"/>
                <a:gd name="T6" fmla="*/ 9 w 22"/>
                <a:gd name="T7" fmla="*/ 13 h 14"/>
                <a:gd name="T8" fmla="*/ 3 w 22"/>
                <a:gd name="T9" fmla="*/ 14 h 14"/>
                <a:gd name="T10" fmla="*/ 2 w 22"/>
                <a:gd name="T11" fmla="*/ 14 h 14"/>
                <a:gd name="T12" fmla="*/ 0 w 22"/>
                <a:gd name="T13" fmla="*/ 13 h 14"/>
                <a:gd name="T14" fmla="*/ 0 w 22"/>
                <a:gd name="T15" fmla="*/ 13 h 14"/>
                <a:gd name="T16" fmla="*/ 0 w 22"/>
                <a:gd name="T17" fmla="*/ 11 h 14"/>
                <a:gd name="T18" fmla="*/ 2 w 22"/>
                <a:gd name="T19" fmla="*/ 8 h 14"/>
                <a:gd name="T20" fmla="*/ 8 w 22"/>
                <a:gd name="T21" fmla="*/ 4 h 14"/>
                <a:gd name="T22" fmla="*/ 8 w 22"/>
                <a:gd name="T23" fmla="*/ 4 h 14"/>
                <a:gd name="T24" fmla="*/ 13 w 22"/>
                <a:gd name="T25" fmla="*/ 1 h 14"/>
                <a:gd name="T26" fmla="*/ 16 w 22"/>
                <a:gd name="T27" fmla="*/ 0 h 14"/>
                <a:gd name="T28" fmla="*/ 18 w 22"/>
                <a:gd name="T29" fmla="*/ 1 h 14"/>
                <a:gd name="T30" fmla="*/ 18 w 22"/>
                <a:gd name="T31" fmla="*/ 1 h 14"/>
                <a:gd name="T32" fmla="*/ 21 w 22"/>
                <a:gd name="T33" fmla="*/ 5 h 14"/>
                <a:gd name="T34" fmla="*/ 22 w 22"/>
                <a:gd name="T35" fmla="*/ 8 h 14"/>
                <a:gd name="T36" fmla="*/ 21 w 22"/>
                <a:gd name="T37" fmla="*/ 10 h 14"/>
                <a:gd name="T38" fmla="*/ 19 w 22"/>
                <a:gd name="T3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14">
                  <a:moveTo>
                    <a:pt x="19" y="10"/>
                  </a:moveTo>
                  <a:lnTo>
                    <a:pt x="19" y="10"/>
                  </a:lnTo>
                  <a:lnTo>
                    <a:pt x="15" y="11"/>
                  </a:lnTo>
                  <a:lnTo>
                    <a:pt x="9" y="13"/>
                  </a:lnTo>
                  <a:lnTo>
                    <a:pt x="3" y="14"/>
                  </a:lnTo>
                  <a:lnTo>
                    <a:pt x="2" y="14"/>
                  </a:lnTo>
                  <a:lnTo>
                    <a:pt x="0" y="13"/>
                  </a:lnTo>
                  <a:lnTo>
                    <a:pt x="0" y="13"/>
                  </a:lnTo>
                  <a:lnTo>
                    <a:pt x="0" y="11"/>
                  </a:lnTo>
                  <a:lnTo>
                    <a:pt x="2" y="8"/>
                  </a:lnTo>
                  <a:lnTo>
                    <a:pt x="8" y="4"/>
                  </a:lnTo>
                  <a:lnTo>
                    <a:pt x="8" y="4"/>
                  </a:lnTo>
                  <a:lnTo>
                    <a:pt x="13" y="1"/>
                  </a:lnTo>
                  <a:lnTo>
                    <a:pt x="16" y="0"/>
                  </a:lnTo>
                  <a:lnTo>
                    <a:pt x="18" y="1"/>
                  </a:lnTo>
                  <a:lnTo>
                    <a:pt x="18" y="1"/>
                  </a:lnTo>
                  <a:lnTo>
                    <a:pt x="21" y="5"/>
                  </a:lnTo>
                  <a:lnTo>
                    <a:pt x="22" y="8"/>
                  </a:lnTo>
                  <a:lnTo>
                    <a:pt x="21" y="10"/>
                  </a:lnTo>
                  <a:lnTo>
                    <a:pt x="19" y="10"/>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47" name="Freeform 1052"/>
            <p:cNvSpPr>
              <a:spLocks/>
            </p:cNvSpPr>
            <p:nvPr/>
          </p:nvSpPr>
          <p:spPr bwMode="auto">
            <a:xfrm>
              <a:off x="98425" y="3080971"/>
              <a:ext cx="34925" cy="22225"/>
            </a:xfrm>
            <a:custGeom>
              <a:avLst/>
              <a:gdLst>
                <a:gd name="T0" fmla="*/ 19 w 22"/>
                <a:gd name="T1" fmla="*/ 10 h 14"/>
                <a:gd name="T2" fmla="*/ 19 w 22"/>
                <a:gd name="T3" fmla="*/ 10 h 14"/>
                <a:gd name="T4" fmla="*/ 15 w 22"/>
                <a:gd name="T5" fmla="*/ 11 h 14"/>
                <a:gd name="T6" fmla="*/ 9 w 22"/>
                <a:gd name="T7" fmla="*/ 13 h 14"/>
                <a:gd name="T8" fmla="*/ 3 w 22"/>
                <a:gd name="T9" fmla="*/ 14 h 14"/>
                <a:gd name="T10" fmla="*/ 2 w 22"/>
                <a:gd name="T11" fmla="*/ 14 h 14"/>
                <a:gd name="T12" fmla="*/ 0 w 22"/>
                <a:gd name="T13" fmla="*/ 13 h 14"/>
                <a:gd name="T14" fmla="*/ 0 w 22"/>
                <a:gd name="T15" fmla="*/ 13 h 14"/>
                <a:gd name="T16" fmla="*/ 0 w 22"/>
                <a:gd name="T17" fmla="*/ 11 h 14"/>
                <a:gd name="T18" fmla="*/ 2 w 22"/>
                <a:gd name="T19" fmla="*/ 8 h 14"/>
                <a:gd name="T20" fmla="*/ 8 w 22"/>
                <a:gd name="T21" fmla="*/ 4 h 14"/>
                <a:gd name="T22" fmla="*/ 8 w 22"/>
                <a:gd name="T23" fmla="*/ 4 h 14"/>
                <a:gd name="T24" fmla="*/ 13 w 22"/>
                <a:gd name="T25" fmla="*/ 1 h 14"/>
                <a:gd name="T26" fmla="*/ 16 w 22"/>
                <a:gd name="T27" fmla="*/ 0 h 14"/>
                <a:gd name="T28" fmla="*/ 18 w 22"/>
                <a:gd name="T29" fmla="*/ 1 h 14"/>
                <a:gd name="T30" fmla="*/ 18 w 22"/>
                <a:gd name="T31" fmla="*/ 1 h 14"/>
                <a:gd name="T32" fmla="*/ 21 w 22"/>
                <a:gd name="T33" fmla="*/ 5 h 14"/>
                <a:gd name="T34" fmla="*/ 22 w 22"/>
                <a:gd name="T35" fmla="*/ 8 h 14"/>
                <a:gd name="T36" fmla="*/ 21 w 22"/>
                <a:gd name="T37" fmla="*/ 10 h 14"/>
                <a:gd name="T38" fmla="*/ 19 w 22"/>
                <a:gd name="T3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14">
                  <a:moveTo>
                    <a:pt x="19" y="10"/>
                  </a:moveTo>
                  <a:lnTo>
                    <a:pt x="19" y="10"/>
                  </a:lnTo>
                  <a:lnTo>
                    <a:pt x="15" y="11"/>
                  </a:lnTo>
                  <a:lnTo>
                    <a:pt x="9" y="13"/>
                  </a:lnTo>
                  <a:lnTo>
                    <a:pt x="3" y="14"/>
                  </a:lnTo>
                  <a:lnTo>
                    <a:pt x="2" y="14"/>
                  </a:lnTo>
                  <a:lnTo>
                    <a:pt x="0" y="13"/>
                  </a:lnTo>
                  <a:lnTo>
                    <a:pt x="0" y="13"/>
                  </a:lnTo>
                  <a:lnTo>
                    <a:pt x="0" y="11"/>
                  </a:lnTo>
                  <a:lnTo>
                    <a:pt x="2" y="8"/>
                  </a:lnTo>
                  <a:lnTo>
                    <a:pt x="8" y="4"/>
                  </a:lnTo>
                  <a:lnTo>
                    <a:pt x="8" y="4"/>
                  </a:lnTo>
                  <a:lnTo>
                    <a:pt x="13" y="1"/>
                  </a:lnTo>
                  <a:lnTo>
                    <a:pt x="16" y="0"/>
                  </a:lnTo>
                  <a:lnTo>
                    <a:pt x="18" y="1"/>
                  </a:lnTo>
                  <a:lnTo>
                    <a:pt x="18" y="1"/>
                  </a:lnTo>
                  <a:lnTo>
                    <a:pt x="21" y="5"/>
                  </a:lnTo>
                  <a:lnTo>
                    <a:pt x="22" y="8"/>
                  </a:lnTo>
                  <a:lnTo>
                    <a:pt x="21" y="10"/>
                  </a:lnTo>
                  <a:lnTo>
                    <a:pt x="19"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48" name="Freeform 1053"/>
            <p:cNvSpPr>
              <a:spLocks/>
            </p:cNvSpPr>
            <p:nvPr/>
          </p:nvSpPr>
          <p:spPr bwMode="auto">
            <a:xfrm>
              <a:off x="39688" y="3130184"/>
              <a:ext cx="17463" cy="20638"/>
            </a:xfrm>
            <a:custGeom>
              <a:avLst/>
              <a:gdLst>
                <a:gd name="T0" fmla="*/ 11 w 11"/>
                <a:gd name="T1" fmla="*/ 6 h 13"/>
                <a:gd name="T2" fmla="*/ 11 w 11"/>
                <a:gd name="T3" fmla="*/ 6 h 13"/>
                <a:gd name="T4" fmla="*/ 5 w 11"/>
                <a:gd name="T5" fmla="*/ 11 h 13"/>
                <a:gd name="T6" fmla="*/ 1 w 11"/>
                <a:gd name="T7" fmla="*/ 13 h 13"/>
                <a:gd name="T8" fmla="*/ 0 w 11"/>
                <a:gd name="T9" fmla="*/ 13 h 13"/>
                <a:gd name="T10" fmla="*/ 0 w 11"/>
                <a:gd name="T11" fmla="*/ 13 h 13"/>
                <a:gd name="T12" fmla="*/ 0 w 11"/>
                <a:gd name="T13" fmla="*/ 11 h 13"/>
                <a:gd name="T14" fmla="*/ 1 w 11"/>
                <a:gd name="T15" fmla="*/ 5 h 13"/>
                <a:gd name="T16" fmla="*/ 4 w 11"/>
                <a:gd name="T17" fmla="*/ 0 h 13"/>
                <a:gd name="T18" fmla="*/ 5 w 11"/>
                <a:gd name="T19" fmla="*/ 0 h 13"/>
                <a:gd name="T20" fmla="*/ 7 w 11"/>
                <a:gd name="T21" fmla="*/ 0 h 13"/>
                <a:gd name="T22" fmla="*/ 7 w 11"/>
                <a:gd name="T23" fmla="*/ 0 h 13"/>
                <a:gd name="T24" fmla="*/ 10 w 11"/>
                <a:gd name="T25" fmla="*/ 0 h 13"/>
                <a:gd name="T26" fmla="*/ 11 w 11"/>
                <a:gd name="T27" fmla="*/ 2 h 13"/>
                <a:gd name="T28" fmla="*/ 11 w 11"/>
                <a:gd name="T29" fmla="*/ 5 h 13"/>
                <a:gd name="T30" fmla="*/ 11 w 11"/>
                <a:gd name="T31"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13">
                  <a:moveTo>
                    <a:pt x="11" y="6"/>
                  </a:moveTo>
                  <a:lnTo>
                    <a:pt x="11" y="6"/>
                  </a:lnTo>
                  <a:lnTo>
                    <a:pt x="5" y="11"/>
                  </a:lnTo>
                  <a:lnTo>
                    <a:pt x="1" y="13"/>
                  </a:lnTo>
                  <a:lnTo>
                    <a:pt x="0" y="13"/>
                  </a:lnTo>
                  <a:lnTo>
                    <a:pt x="0" y="13"/>
                  </a:lnTo>
                  <a:lnTo>
                    <a:pt x="0" y="11"/>
                  </a:lnTo>
                  <a:lnTo>
                    <a:pt x="1" y="5"/>
                  </a:lnTo>
                  <a:lnTo>
                    <a:pt x="4" y="0"/>
                  </a:lnTo>
                  <a:lnTo>
                    <a:pt x="5" y="0"/>
                  </a:lnTo>
                  <a:lnTo>
                    <a:pt x="7" y="0"/>
                  </a:lnTo>
                  <a:lnTo>
                    <a:pt x="7" y="0"/>
                  </a:lnTo>
                  <a:lnTo>
                    <a:pt x="10" y="0"/>
                  </a:lnTo>
                  <a:lnTo>
                    <a:pt x="11" y="2"/>
                  </a:lnTo>
                  <a:lnTo>
                    <a:pt x="11" y="5"/>
                  </a:lnTo>
                  <a:lnTo>
                    <a:pt x="11" y="6"/>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49" name="Freeform 1054"/>
            <p:cNvSpPr>
              <a:spLocks/>
            </p:cNvSpPr>
            <p:nvPr/>
          </p:nvSpPr>
          <p:spPr bwMode="auto">
            <a:xfrm>
              <a:off x="39688" y="3130184"/>
              <a:ext cx="17463" cy="20638"/>
            </a:xfrm>
            <a:custGeom>
              <a:avLst/>
              <a:gdLst>
                <a:gd name="T0" fmla="*/ 11 w 11"/>
                <a:gd name="T1" fmla="*/ 6 h 13"/>
                <a:gd name="T2" fmla="*/ 11 w 11"/>
                <a:gd name="T3" fmla="*/ 6 h 13"/>
                <a:gd name="T4" fmla="*/ 5 w 11"/>
                <a:gd name="T5" fmla="*/ 11 h 13"/>
                <a:gd name="T6" fmla="*/ 1 w 11"/>
                <a:gd name="T7" fmla="*/ 13 h 13"/>
                <a:gd name="T8" fmla="*/ 0 w 11"/>
                <a:gd name="T9" fmla="*/ 13 h 13"/>
                <a:gd name="T10" fmla="*/ 0 w 11"/>
                <a:gd name="T11" fmla="*/ 13 h 13"/>
                <a:gd name="T12" fmla="*/ 0 w 11"/>
                <a:gd name="T13" fmla="*/ 11 h 13"/>
                <a:gd name="T14" fmla="*/ 1 w 11"/>
                <a:gd name="T15" fmla="*/ 5 h 13"/>
                <a:gd name="T16" fmla="*/ 4 w 11"/>
                <a:gd name="T17" fmla="*/ 0 h 13"/>
                <a:gd name="T18" fmla="*/ 5 w 11"/>
                <a:gd name="T19" fmla="*/ 0 h 13"/>
                <a:gd name="T20" fmla="*/ 7 w 11"/>
                <a:gd name="T21" fmla="*/ 0 h 13"/>
                <a:gd name="T22" fmla="*/ 7 w 11"/>
                <a:gd name="T23" fmla="*/ 0 h 13"/>
                <a:gd name="T24" fmla="*/ 10 w 11"/>
                <a:gd name="T25" fmla="*/ 0 h 13"/>
                <a:gd name="T26" fmla="*/ 11 w 11"/>
                <a:gd name="T27" fmla="*/ 2 h 13"/>
                <a:gd name="T28" fmla="*/ 11 w 11"/>
                <a:gd name="T29" fmla="*/ 5 h 13"/>
                <a:gd name="T30" fmla="*/ 11 w 11"/>
                <a:gd name="T31"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13">
                  <a:moveTo>
                    <a:pt x="11" y="6"/>
                  </a:moveTo>
                  <a:lnTo>
                    <a:pt x="11" y="6"/>
                  </a:lnTo>
                  <a:lnTo>
                    <a:pt x="5" y="11"/>
                  </a:lnTo>
                  <a:lnTo>
                    <a:pt x="1" y="13"/>
                  </a:lnTo>
                  <a:lnTo>
                    <a:pt x="0" y="13"/>
                  </a:lnTo>
                  <a:lnTo>
                    <a:pt x="0" y="13"/>
                  </a:lnTo>
                  <a:lnTo>
                    <a:pt x="0" y="11"/>
                  </a:lnTo>
                  <a:lnTo>
                    <a:pt x="1" y="5"/>
                  </a:lnTo>
                  <a:lnTo>
                    <a:pt x="4" y="0"/>
                  </a:lnTo>
                  <a:lnTo>
                    <a:pt x="5" y="0"/>
                  </a:lnTo>
                  <a:lnTo>
                    <a:pt x="7" y="0"/>
                  </a:lnTo>
                  <a:lnTo>
                    <a:pt x="7" y="0"/>
                  </a:lnTo>
                  <a:lnTo>
                    <a:pt x="10" y="0"/>
                  </a:lnTo>
                  <a:lnTo>
                    <a:pt x="11" y="2"/>
                  </a:lnTo>
                  <a:lnTo>
                    <a:pt x="11" y="5"/>
                  </a:lnTo>
                  <a:lnTo>
                    <a:pt x="11"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50" name="Freeform 1055"/>
            <p:cNvSpPr>
              <a:spLocks/>
            </p:cNvSpPr>
            <p:nvPr/>
          </p:nvSpPr>
          <p:spPr bwMode="auto">
            <a:xfrm>
              <a:off x="0" y="3149234"/>
              <a:ext cx="20638" cy="20638"/>
            </a:xfrm>
            <a:custGeom>
              <a:avLst/>
              <a:gdLst>
                <a:gd name="T0" fmla="*/ 12 w 13"/>
                <a:gd name="T1" fmla="*/ 0 h 13"/>
                <a:gd name="T2" fmla="*/ 12 w 13"/>
                <a:gd name="T3" fmla="*/ 0 h 13"/>
                <a:gd name="T4" fmla="*/ 9 w 13"/>
                <a:gd name="T5" fmla="*/ 1 h 13"/>
                <a:gd name="T6" fmla="*/ 3 w 13"/>
                <a:gd name="T7" fmla="*/ 6 h 13"/>
                <a:gd name="T8" fmla="*/ 0 w 13"/>
                <a:gd name="T9" fmla="*/ 10 h 13"/>
                <a:gd name="T10" fmla="*/ 0 w 13"/>
                <a:gd name="T11" fmla="*/ 12 h 13"/>
                <a:gd name="T12" fmla="*/ 0 w 13"/>
                <a:gd name="T13" fmla="*/ 13 h 13"/>
                <a:gd name="T14" fmla="*/ 0 w 13"/>
                <a:gd name="T15" fmla="*/ 13 h 13"/>
                <a:gd name="T16" fmla="*/ 3 w 13"/>
                <a:gd name="T17" fmla="*/ 13 h 13"/>
                <a:gd name="T18" fmla="*/ 4 w 13"/>
                <a:gd name="T19" fmla="*/ 13 h 13"/>
                <a:gd name="T20" fmla="*/ 10 w 13"/>
                <a:gd name="T21" fmla="*/ 9 h 13"/>
                <a:gd name="T22" fmla="*/ 13 w 13"/>
                <a:gd name="T23" fmla="*/ 3 h 13"/>
                <a:gd name="T24" fmla="*/ 13 w 13"/>
                <a:gd name="T25" fmla="*/ 1 h 13"/>
                <a:gd name="T26" fmla="*/ 12 w 13"/>
                <a:gd name="T2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3">
                  <a:moveTo>
                    <a:pt x="12" y="0"/>
                  </a:moveTo>
                  <a:lnTo>
                    <a:pt x="12" y="0"/>
                  </a:lnTo>
                  <a:lnTo>
                    <a:pt x="9" y="1"/>
                  </a:lnTo>
                  <a:lnTo>
                    <a:pt x="3" y="6"/>
                  </a:lnTo>
                  <a:lnTo>
                    <a:pt x="0" y="10"/>
                  </a:lnTo>
                  <a:lnTo>
                    <a:pt x="0" y="12"/>
                  </a:lnTo>
                  <a:lnTo>
                    <a:pt x="0" y="13"/>
                  </a:lnTo>
                  <a:lnTo>
                    <a:pt x="0" y="13"/>
                  </a:lnTo>
                  <a:lnTo>
                    <a:pt x="3" y="13"/>
                  </a:lnTo>
                  <a:lnTo>
                    <a:pt x="4" y="13"/>
                  </a:lnTo>
                  <a:lnTo>
                    <a:pt x="10" y="9"/>
                  </a:lnTo>
                  <a:lnTo>
                    <a:pt x="13" y="3"/>
                  </a:lnTo>
                  <a:lnTo>
                    <a:pt x="13" y="1"/>
                  </a:lnTo>
                  <a:lnTo>
                    <a:pt x="12" y="0"/>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51" name="Freeform 1056"/>
            <p:cNvSpPr>
              <a:spLocks/>
            </p:cNvSpPr>
            <p:nvPr/>
          </p:nvSpPr>
          <p:spPr bwMode="auto">
            <a:xfrm>
              <a:off x="0" y="3149234"/>
              <a:ext cx="20638" cy="20638"/>
            </a:xfrm>
            <a:custGeom>
              <a:avLst/>
              <a:gdLst>
                <a:gd name="T0" fmla="*/ 12 w 13"/>
                <a:gd name="T1" fmla="*/ 0 h 13"/>
                <a:gd name="T2" fmla="*/ 12 w 13"/>
                <a:gd name="T3" fmla="*/ 0 h 13"/>
                <a:gd name="T4" fmla="*/ 9 w 13"/>
                <a:gd name="T5" fmla="*/ 1 h 13"/>
                <a:gd name="T6" fmla="*/ 3 w 13"/>
                <a:gd name="T7" fmla="*/ 6 h 13"/>
                <a:gd name="T8" fmla="*/ 0 w 13"/>
                <a:gd name="T9" fmla="*/ 10 h 13"/>
                <a:gd name="T10" fmla="*/ 0 w 13"/>
                <a:gd name="T11" fmla="*/ 12 h 13"/>
                <a:gd name="T12" fmla="*/ 0 w 13"/>
                <a:gd name="T13" fmla="*/ 13 h 13"/>
                <a:gd name="T14" fmla="*/ 0 w 13"/>
                <a:gd name="T15" fmla="*/ 13 h 13"/>
                <a:gd name="T16" fmla="*/ 3 w 13"/>
                <a:gd name="T17" fmla="*/ 13 h 13"/>
                <a:gd name="T18" fmla="*/ 4 w 13"/>
                <a:gd name="T19" fmla="*/ 13 h 13"/>
                <a:gd name="T20" fmla="*/ 10 w 13"/>
                <a:gd name="T21" fmla="*/ 9 h 13"/>
                <a:gd name="T22" fmla="*/ 13 w 13"/>
                <a:gd name="T23" fmla="*/ 3 h 13"/>
                <a:gd name="T24" fmla="*/ 13 w 13"/>
                <a:gd name="T25" fmla="*/ 1 h 13"/>
                <a:gd name="T26" fmla="*/ 12 w 13"/>
                <a:gd name="T2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3">
                  <a:moveTo>
                    <a:pt x="12" y="0"/>
                  </a:moveTo>
                  <a:lnTo>
                    <a:pt x="12" y="0"/>
                  </a:lnTo>
                  <a:lnTo>
                    <a:pt x="9" y="1"/>
                  </a:lnTo>
                  <a:lnTo>
                    <a:pt x="3" y="6"/>
                  </a:lnTo>
                  <a:lnTo>
                    <a:pt x="0" y="10"/>
                  </a:lnTo>
                  <a:lnTo>
                    <a:pt x="0" y="12"/>
                  </a:lnTo>
                  <a:lnTo>
                    <a:pt x="0" y="13"/>
                  </a:lnTo>
                  <a:lnTo>
                    <a:pt x="0" y="13"/>
                  </a:lnTo>
                  <a:lnTo>
                    <a:pt x="3" y="13"/>
                  </a:lnTo>
                  <a:lnTo>
                    <a:pt x="4" y="13"/>
                  </a:lnTo>
                  <a:lnTo>
                    <a:pt x="10" y="9"/>
                  </a:lnTo>
                  <a:lnTo>
                    <a:pt x="13" y="3"/>
                  </a:lnTo>
                  <a:lnTo>
                    <a:pt x="13" y="1"/>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52" name="Freeform 1057"/>
            <p:cNvSpPr>
              <a:spLocks/>
            </p:cNvSpPr>
            <p:nvPr/>
          </p:nvSpPr>
          <p:spPr bwMode="auto">
            <a:xfrm>
              <a:off x="26988" y="2830146"/>
              <a:ext cx="39688" cy="26988"/>
            </a:xfrm>
            <a:custGeom>
              <a:avLst/>
              <a:gdLst>
                <a:gd name="T0" fmla="*/ 24 w 25"/>
                <a:gd name="T1" fmla="*/ 14 h 17"/>
                <a:gd name="T2" fmla="*/ 24 w 25"/>
                <a:gd name="T3" fmla="*/ 14 h 17"/>
                <a:gd name="T4" fmla="*/ 18 w 25"/>
                <a:gd name="T5" fmla="*/ 16 h 17"/>
                <a:gd name="T6" fmla="*/ 15 w 25"/>
                <a:gd name="T7" fmla="*/ 17 h 17"/>
                <a:gd name="T8" fmla="*/ 12 w 25"/>
                <a:gd name="T9" fmla="*/ 17 h 17"/>
                <a:gd name="T10" fmla="*/ 12 w 25"/>
                <a:gd name="T11" fmla="*/ 17 h 17"/>
                <a:gd name="T12" fmla="*/ 5 w 25"/>
                <a:gd name="T13" fmla="*/ 13 h 17"/>
                <a:gd name="T14" fmla="*/ 0 w 25"/>
                <a:gd name="T15" fmla="*/ 10 h 17"/>
                <a:gd name="T16" fmla="*/ 0 w 25"/>
                <a:gd name="T17" fmla="*/ 8 h 17"/>
                <a:gd name="T18" fmla="*/ 0 w 25"/>
                <a:gd name="T19" fmla="*/ 7 h 17"/>
                <a:gd name="T20" fmla="*/ 0 w 25"/>
                <a:gd name="T21" fmla="*/ 7 h 17"/>
                <a:gd name="T22" fmla="*/ 11 w 25"/>
                <a:gd name="T23" fmla="*/ 1 h 17"/>
                <a:gd name="T24" fmla="*/ 15 w 25"/>
                <a:gd name="T25" fmla="*/ 0 h 17"/>
                <a:gd name="T26" fmla="*/ 18 w 25"/>
                <a:gd name="T27" fmla="*/ 0 h 17"/>
                <a:gd name="T28" fmla="*/ 19 w 25"/>
                <a:gd name="T29" fmla="*/ 0 h 17"/>
                <a:gd name="T30" fmla="*/ 19 w 25"/>
                <a:gd name="T31" fmla="*/ 0 h 17"/>
                <a:gd name="T32" fmla="*/ 24 w 25"/>
                <a:gd name="T33" fmla="*/ 8 h 17"/>
                <a:gd name="T34" fmla="*/ 25 w 25"/>
                <a:gd name="T35" fmla="*/ 13 h 17"/>
                <a:gd name="T36" fmla="*/ 25 w 25"/>
                <a:gd name="T37" fmla="*/ 14 h 17"/>
                <a:gd name="T38" fmla="*/ 24 w 25"/>
                <a:gd name="T39"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17">
                  <a:moveTo>
                    <a:pt x="24" y="14"/>
                  </a:moveTo>
                  <a:lnTo>
                    <a:pt x="24" y="14"/>
                  </a:lnTo>
                  <a:lnTo>
                    <a:pt x="18" y="16"/>
                  </a:lnTo>
                  <a:lnTo>
                    <a:pt x="15" y="17"/>
                  </a:lnTo>
                  <a:lnTo>
                    <a:pt x="12" y="17"/>
                  </a:lnTo>
                  <a:lnTo>
                    <a:pt x="12" y="17"/>
                  </a:lnTo>
                  <a:lnTo>
                    <a:pt x="5" y="13"/>
                  </a:lnTo>
                  <a:lnTo>
                    <a:pt x="0" y="10"/>
                  </a:lnTo>
                  <a:lnTo>
                    <a:pt x="0" y="8"/>
                  </a:lnTo>
                  <a:lnTo>
                    <a:pt x="0" y="7"/>
                  </a:lnTo>
                  <a:lnTo>
                    <a:pt x="0" y="7"/>
                  </a:lnTo>
                  <a:lnTo>
                    <a:pt x="11" y="1"/>
                  </a:lnTo>
                  <a:lnTo>
                    <a:pt x="15" y="0"/>
                  </a:lnTo>
                  <a:lnTo>
                    <a:pt x="18" y="0"/>
                  </a:lnTo>
                  <a:lnTo>
                    <a:pt x="19" y="0"/>
                  </a:lnTo>
                  <a:lnTo>
                    <a:pt x="19" y="0"/>
                  </a:lnTo>
                  <a:lnTo>
                    <a:pt x="24" y="8"/>
                  </a:lnTo>
                  <a:lnTo>
                    <a:pt x="25" y="13"/>
                  </a:lnTo>
                  <a:lnTo>
                    <a:pt x="25" y="14"/>
                  </a:lnTo>
                  <a:lnTo>
                    <a:pt x="24" y="14"/>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53" name="Freeform 1058"/>
            <p:cNvSpPr>
              <a:spLocks/>
            </p:cNvSpPr>
            <p:nvPr/>
          </p:nvSpPr>
          <p:spPr bwMode="auto">
            <a:xfrm>
              <a:off x="26988" y="2830146"/>
              <a:ext cx="39688" cy="26988"/>
            </a:xfrm>
            <a:custGeom>
              <a:avLst/>
              <a:gdLst>
                <a:gd name="T0" fmla="*/ 24 w 25"/>
                <a:gd name="T1" fmla="*/ 14 h 17"/>
                <a:gd name="T2" fmla="*/ 24 w 25"/>
                <a:gd name="T3" fmla="*/ 14 h 17"/>
                <a:gd name="T4" fmla="*/ 18 w 25"/>
                <a:gd name="T5" fmla="*/ 16 h 17"/>
                <a:gd name="T6" fmla="*/ 15 w 25"/>
                <a:gd name="T7" fmla="*/ 17 h 17"/>
                <a:gd name="T8" fmla="*/ 12 w 25"/>
                <a:gd name="T9" fmla="*/ 17 h 17"/>
                <a:gd name="T10" fmla="*/ 12 w 25"/>
                <a:gd name="T11" fmla="*/ 17 h 17"/>
                <a:gd name="T12" fmla="*/ 5 w 25"/>
                <a:gd name="T13" fmla="*/ 13 h 17"/>
                <a:gd name="T14" fmla="*/ 0 w 25"/>
                <a:gd name="T15" fmla="*/ 10 h 17"/>
                <a:gd name="T16" fmla="*/ 0 w 25"/>
                <a:gd name="T17" fmla="*/ 8 h 17"/>
                <a:gd name="T18" fmla="*/ 0 w 25"/>
                <a:gd name="T19" fmla="*/ 7 h 17"/>
                <a:gd name="T20" fmla="*/ 0 w 25"/>
                <a:gd name="T21" fmla="*/ 7 h 17"/>
                <a:gd name="T22" fmla="*/ 11 w 25"/>
                <a:gd name="T23" fmla="*/ 1 h 17"/>
                <a:gd name="T24" fmla="*/ 15 w 25"/>
                <a:gd name="T25" fmla="*/ 0 h 17"/>
                <a:gd name="T26" fmla="*/ 18 w 25"/>
                <a:gd name="T27" fmla="*/ 0 h 17"/>
                <a:gd name="T28" fmla="*/ 19 w 25"/>
                <a:gd name="T29" fmla="*/ 0 h 17"/>
                <a:gd name="T30" fmla="*/ 19 w 25"/>
                <a:gd name="T31" fmla="*/ 0 h 17"/>
                <a:gd name="T32" fmla="*/ 24 w 25"/>
                <a:gd name="T33" fmla="*/ 8 h 17"/>
                <a:gd name="T34" fmla="*/ 25 w 25"/>
                <a:gd name="T35" fmla="*/ 13 h 17"/>
                <a:gd name="T36" fmla="*/ 25 w 25"/>
                <a:gd name="T37" fmla="*/ 14 h 17"/>
                <a:gd name="T38" fmla="*/ 24 w 25"/>
                <a:gd name="T39"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17">
                  <a:moveTo>
                    <a:pt x="24" y="14"/>
                  </a:moveTo>
                  <a:lnTo>
                    <a:pt x="24" y="14"/>
                  </a:lnTo>
                  <a:lnTo>
                    <a:pt x="18" y="16"/>
                  </a:lnTo>
                  <a:lnTo>
                    <a:pt x="15" y="17"/>
                  </a:lnTo>
                  <a:lnTo>
                    <a:pt x="12" y="17"/>
                  </a:lnTo>
                  <a:lnTo>
                    <a:pt x="12" y="17"/>
                  </a:lnTo>
                  <a:lnTo>
                    <a:pt x="5" y="13"/>
                  </a:lnTo>
                  <a:lnTo>
                    <a:pt x="0" y="10"/>
                  </a:lnTo>
                  <a:lnTo>
                    <a:pt x="0" y="8"/>
                  </a:lnTo>
                  <a:lnTo>
                    <a:pt x="0" y="7"/>
                  </a:lnTo>
                  <a:lnTo>
                    <a:pt x="0" y="7"/>
                  </a:lnTo>
                  <a:lnTo>
                    <a:pt x="11" y="1"/>
                  </a:lnTo>
                  <a:lnTo>
                    <a:pt x="15" y="0"/>
                  </a:lnTo>
                  <a:lnTo>
                    <a:pt x="18" y="0"/>
                  </a:lnTo>
                  <a:lnTo>
                    <a:pt x="19" y="0"/>
                  </a:lnTo>
                  <a:lnTo>
                    <a:pt x="19" y="0"/>
                  </a:lnTo>
                  <a:lnTo>
                    <a:pt x="24" y="8"/>
                  </a:lnTo>
                  <a:lnTo>
                    <a:pt x="25" y="13"/>
                  </a:lnTo>
                  <a:lnTo>
                    <a:pt x="25" y="14"/>
                  </a:lnTo>
                  <a:lnTo>
                    <a:pt x="24"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54" name="Freeform 1061"/>
            <p:cNvSpPr>
              <a:spLocks/>
            </p:cNvSpPr>
            <p:nvPr/>
          </p:nvSpPr>
          <p:spPr bwMode="auto">
            <a:xfrm>
              <a:off x="2193925" y="3153996"/>
              <a:ext cx="46038" cy="26988"/>
            </a:xfrm>
            <a:custGeom>
              <a:avLst/>
              <a:gdLst>
                <a:gd name="T0" fmla="*/ 26 w 29"/>
                <a:gd name="T1" fmla="*/ 17 h 17"/>
                <a:gd name="T2" fmla="*/ 26 w 29"/>
                <a:gd name="T3" fmla="*/ 17 h 17"/>
                <a:gd name="T4" fmla="*/ 20 w 29"/>
                <a:gd name="T5" fmla="*/ 17 h 17"/>
                <a:gd name="T6" fmla="*/ 14 w 29"/>
                <a:gd name="T7" fmla="*/ 14 h 17"/>
                <a:gd name="T8" fmla="*/ 4 w 29"/>
                <a:gd name="T9" fmla="*/ 10 h 17"/>
                <a:gd name="T10" fmla="*/ 4 w 29"/>
                <a:gd name="T11" fmla="*/ 10 h 17"/>
                <a:gd name="T12" fmla="*/ 1 w 29"/>
                <a:gd name="T13" fmla="*/ 7 h 17"/>
                <a:gd name="T14" fmla="*/ 0 w 29"/>
                <a:gd name="T15" fmla="*/ 3 h 17"/>
                <a:gd name="T16" fmla="*/ 0 w 29"/>
                <a:gd name="T17" fmla="*/ 1 h 17"/>
                <a:gd name="T18" fmla="*/ 1 w 29"/>
                <a:gd name="T19" fmla="*/ 0 h 17"/>
                <a:gd name="T20" fmla="*/ 1 w 29"/>
                <a:gd name="T21" fmla="*/ 0 h 17"/>
                <a:gd name="T22" fmla="*/ 7 w 29"/>
                <a:gd name="T23" fmla="*/ 3 h 17"/>
                <a:gd name="T24" fmla="*/ 19 w 29"/>
                <a:gd name="T25" fmla="*/ 7 h 17"/>
                <a:gd name="T26" fmla="*/ 19 w 29"/>
                <a:gd name="T27" fmla="*/ 7 h 17"/>
                <a:gd name="T28" fmla="*/ 24 w 29"/>
                <a:gd name="T29" fmla="*/ 9 h 17"/>
                <a:gd name="T30" fmla="*/ 27 w 29"/>
                <a:gd name="T31" fmla="*/ 13 h 17"/>
                <a:gd name="T32" fmla="*/ 29 w 29"/>
                <a:gd name="T33" fmla="*/ 16 h 17"/>
                <a:gd name="T34" fmla="*/ 27 w 29"/>
                <a:gd name="T35" fmla="*/ 16 h 17"/>
                <a:gd name="T36" fmla="*/ 26 w 29"/>
                <a:gd name="T3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7">
                  <a:moveTo>
                    <a:pt x="26" y="17"/>
                  </a:moveTo>
                  <a:lnTo>
                    <a:pt x="26" y="17"/>
                  </a:lnTo>
                  <a:lnTo>
                    <a:pt x="20" y="17"/>
                  </a:lnTo>
                  <a:lnTo>
                    <a:pt x="14" y="14"/>
                  </a:lnTo>
                  <a:lnTo>
                    <a:pt x="4" y="10"/>
                  </a:lnTo>
                  <a:lnTo>
                    <a:pt x="4" y="10"/>
                  </a:lnTo>
                  <a:lnTo>
                    <a:pt x="1" y="7"/>
                  </a:lnTo>
                  <a:lnTo>
                    <a:pt x="0" y="3"/>
                  </a:lnTo>
                  <a:lnTo>
                    <a:pt x="0" y="1"/>
                  </a:lnTo>
                  <a:lnTo>
                    <a:pt x="1" y="0"/>
                  </a:lnTo>
                  <a:lnTo>
                    <a:pt x="1" y="0"/>
                  </a:lnTo>
                  <a:lnTo>
                    <a:pt x="7" y="3"/>
                  </a:lnTo>
                  <a:lnTo>
                    <a:pt x="19" y="7"/>
                  </a:lnTo>
                  <a:lnTo>
                    <a:pt x="19" y="7"/>
                  </a:lnTo>
                  <a:lnTo>
                    <a:pt x="24" y="9"/>
                  </a:lnTo>
                  <a:lnTo>
                    <a:pt x="27" y="13"/>
                  </a:lnTo>
                  <a:lnTo>
                    <a:pt x="29" y="16"/>
                  </a:lnTo>
                  <a:lnTo>
                    <a:pt x="27" y="16"/>
                  </a:lnTo>
                  <a:lnTo>
                    <a:pt x="26" y="17"/>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55" name="Freeform 1062"/>
            <p:cNvSpPr>
              <a:spLocks/>
            </p:cNvSpPr>
            <p:nvPr/>
          </p:nvSpPr>
          <p:spPr bwMode="auto">
            <a:xfrm>
              <a:off x="2193925" y="3153996"/>
              <a:ext cx="46038" cy="26988"/>
            </a:xfrm>
            <a:custGeom>
              <a:avLst/>
              <a:gdLst>
                <a:gd name="T0" fmla="*/ 26 w 29"/>
                <a:gd name="T1" fmla="*/ 17 h 17"/>
                <a:gd name="T2" fmla="*/ 26 w 29"/>
                <a:gd name="T3" fmla="*/ 17 h 17"/>
                <a:gd name="T4" fmla="*/ 20 w 29"/>
                <a:gd name="T5" fmla="*/ 17 h 17"/>
                <a:gd name="T6" fmla="*/ 14 w 29"/>
                <a:gd name="T7" fmla="*/ 14 h 17"/>
                <a:gd name="T8" fmla="*/ 4 w 29"/>
                <a:gd name="T9" fmla="*/ 10 h 17"/>
                <a:gd name="T10" fmla="*/ 4 w 29"/>
                <a:gd name="T11" fmla="*/ 10 h 17"/>
                <a:gd name="T12" fmla="*/ 1 w 29"/>
                <a:gd name="T13" fmla="*/ 7 h 17"/>
                <a:gd name="T14" fmla="*/ 0 w 29"/>
                <a:gd name="T15" fmla="*/ 3 h 17"/>
                <a:gd name="T16" fmla="*/ 0 w 29"/>
                <a:gd name="T17" fmla="*/ 1 h 17"/>
                <a:gd name="T18" fmla="*/ 1 w 29"/>
                <a:gd name="T19" fmla="*/ 0 h 17"/>
                <a:gd name="T20" fmla="*/ 1 w 29"/>
                <a:gd name="T21" fmla="*/ 0 h 17"/>
                <a:gd name="T22" fmla="*/ 7 w 29"/>
                <a:gd name="T23" fmla="*/ 3 h 17"/>
                <a:gd name="T24" fmla="*/ 19 w 29"/>
                <a:gd name="T25" fmla="*/ 7 h 17"/>
                <a:gd name="T26" fmla="*/ 19 w 29"/>
                <a:gd name="T27" fmla="*/ 7 h 17"/>
                <a:gd name="T28" fmla="*/ 24 w 29"/>
                <a:gd name="T29" fmla="*/ 9 h 17"/>
                <a:gd name="T30" fmla="*/ 27 w 29"/>
                <a:gd name="T31" fmla="*/ 13 h 17"/>
                <a:gd name="T32" fmla="*/ 29 w 29"/>
                <a:gd name="T33" fmla="*/ 16 h 17"/>
                <a:gd name="T34" fmla="*/ 27 w 29"/>
                <a:gd name="T35" fmla="*/ 16 h 17"/>
                <a:gd name="T36" fmla="*/ 26 w 29"/>
                <a:gd name="T3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7">
                  <a:moveTo>
                    <a:pt x="26" y="17"/>
                  </a:moveTo>
                  <a:lnTo>
                    <a:pt x="26" y="17"/>
                  </a:lnTo>
                  <a:lnTo>
                    <a:pt x="20" y="17"/>
                  </a:lnTo>
                  <a:lnTo>
                    <a:pt x="14" y="14"/>
                  </a:lnTo>
                  <a:lnTo>
                    <a:pt x="4" y="10"/>
                  </a:lnTo>
                  <a:lnTo>
                    <a:pt x="4" y="10"/>
                  </a:lnTo>
                  <a:lnTo>
                    <a:pt x="1" y="7"/>
                  </a:lnTo>
                  <a:lnTo>
                    <a:pt x="0" y="3"/>
                  </a:lnTo>
                  <a:lnTo>
                    <a:pt x="0" y="1"/>
                  </a:lnTo>
                  <a:lnTo>
                    <a:pt x="1" y="0"/>
                  </a:lnTo>
                  <a:lnTo>
                    <a:pt x="1" y="0"/>
                  </a:lnTo>
                  <a:lnTo>
                    <a:pt x="7" y="3"/>
                  </a:lnTo>
                  <a:lnTo>
                    <a:pt x="19" y="7"/>
                  </a:lnTo>
                  <a:lnTo>
                    <a:pt x="19" y="7"/>
                  </a:lnTo>
                  <a:lnTo>
                    <a:pt x="24" y="9"/>
                  </a:lnTo>
                  <a:lnTo>
                    <a:pt x="27" y="13"/>
                  </a:lnTo>
                  <a:lnTo>
                    <a:pt x="29" y="16"/>
                  </a:lnTo>
                  <a:lnTo>
                    <a:pt x="27" y="16"/>
                  </a:lnTo>
                  <a:lnTo>
                    <a:pt x="26"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56" name="Freeform 1063"/>
            <p:cNvSpPr>
              <a:spLocks/>
            </p:cNvSpPr>
            <p:nvPr/>
          </p:nvSpPr>
          <p:spPr bwMode="auto">
            <a:xfrm>
              <a:off x="1974850" y="4770071"/>
              <a:ext cx="20638" cy="25400"/>
            </a:xfrm>
            <a:custGeom>
              <a:avLst/>
              <a:gdLst>
                <a:gd name="T0" fmla="*/ 2 w 13"/>
                <a:gd name="T1" fmla="*/ 16 h 16"/>
                <a:gd name="T2" fmla="*/ 2 w 13"/>
                <a:gd name="T3" fmla="*/ 16 h 16"/>
                <a:gd name="T4" fmla="*/ 0 w 13"/>
                <a:gd name="T5" fmla="*/ 16 h 16"/>
                <a:gd name="T6" fmla="*/ 0 w 13"/>
                <a:gd name="T7" fmla="*/ 15 h 16"/>
                <a:gd name="T8" fmla="*/ 2 w 13"/>
                <a:gd name="T9" fmla="*/ 13 h 16"/>
                <a:gd name="T10" fmla="*/ 3 w 13"/>
                <a:gd name="T11" fmla="*/ 10 h 16"/>
                <a:gd name="T12" fmla="*/ 3 w 13"/>
                <a:gd name="T13" fmla="*/ 7 h 16"/>
                <a:gd name="T14" fmla="*/ 3 w 13"/>
                <a:gd name="T15" fmla="*/ 7 h 16"/>
                <a:gd name="T16" fmla="*/ 0 w 13"/>
                <a:gd name="T17" fmla="*/ 2 h 16"/>
                <a:gd name="T18" fmla="*/ 0 w 13"/>
                <a:gd name="T19" fmla="*/ 0 h 16"/>
                <a:gd name="T20" fmla="*/ 3 w 13"/>
                <a:gd name="T21" fmla="*/ 0 h 16"/>
                <a:gd name="T22" fmla="*/ 3 w 13"/>
                <a:gd name="T23" fmla="*/ 0 h 16"/>
                <a:gd name="T24" fmla="*/ 9 w 13"/>
                <a:gd name="T25" fmla="*/ 5 h 16"/>
                <a:gd name="T26" fmla="*/ 12 w 13"/>
                <a:gd name="T27" fmla="*/ 7 h 16"/>
                <a:gd name="T28" fmla="*/ 13 w 13"/>
                <a:gd name="T29" fmla="*/ 10 h 16"/>
                <a:gd name="T30" fmla="*/ 13 w 13"/>
                <a:gd name="T31" fmla="*/ 10 h 16"/>
                <a:gd name="T32" fmla="*/ 7 w 13"/>
                <a:gd name="T33" fmla="*/ 13 h 16"/>
                <a:gd name="T34" fmla="*/ 4 w 13"/>
                <a:gd name="T35" fmla="*/ 16 h 16"/>
                <a:gd name="T36" fmla="*/ 2 w 13"/>
                <a:gd name="T3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16">
                  <a:moveTo>
                    <a:pt x="2" y="16"/>
                  </a:moveTo>
                  <a:lnTo>
                    <a:pt x="2" y="16"/>
                  </a:lnTo>
                  <a:lnTo>
                    <a:pt x="0" y="16"/>
                  </a:lnTo>
                  <a:lnTo>
                    <a:pt x="0" y="15"/>
                  </a:lnTo>
                  <a:lnTo>
                    <a:pt x="2" y="13"/>
                  </a:lnTo>
                  <a:lnTo>
                    <a:pt x="3" y="10"/>
                  </a:lnTo>
                  <a:lnTo>
                    <a:pt x="3" y="7"/>
                  </a:lnTo>
                  <a:lnTo>
                    <a:pt x="3" y="7"/>
                  </a:lnTo>
                  <a:lnTo>
                    <a:pt x="0" y="2"/>
                  </a:lnTo>
                  <a:lnTo>
                    <a:pt x="0" y="0"/>
                  </a:lnTo>
                  <a:lnTo>
                    <a:pt x="3" y="0"/>
                  </a:lnTo>
                  <a:lnTo>
                    <a:pt x="3" y="0"/>
                  </a:lnTo>
                  <a:lnTo>
                    <a:pt x="9" y="5"/>
                  </a:lnTo>
                  <a:lnTo>
                    <a:pt x="12" y="7"/>
                  </a:lnTo>
                  <a:lnTo>
                    <a:pt x="13" y="10"/>
                  </a:lnTo>
                  <a:lnTo>
                    <a:pt x="13" y="10"/>
                  </a:lnTo>
                  <a:lnTo>
                    <a:pt x="7" y="13"/>
                  </a:lnTo>
                  <a:lnTo>
                    <a:pt x="4" y="16"/>
                  </a:lnTo>
                  <a:lnTo>
                    <a:pt x="2" y="16"/>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57" name="Freeform 1064"/>
            <p:cNvSpPr>
              <a:spLocks/>
            </p:cNvSpPr>
            <p:nvPr/>
          </p:nvSpPr>
          <p:spPr bwMode="auto">
            <a:xfrm>
              <a:off x="1974850" y="4770071"/>
              <a:ext cx="20638" cy="25400"/>
            </a:xfrm>
            <a:custGeom>
              <a:avLst/>
              <a:gdLst>
                <a:gd name="T0" fmla="*/ 2 w 13"/>
                <a:gd name="T1" fmla="*/ 16 h 16"/>
                <a:gd name="T2" fmla="*/ 2 w 13"/>
                <a:gd name="T3" fmla="*/ 16 h 16"/>
                <a:gd name="T4" fmla="*/ 0 w 13"/>
                <a:gd name="T5" fmla="*/ 16 h 16"/>
                <a:gd name="T6" fmla="*/ 0 w 13"/>
                <a:gd name="T7" fmla="*/ 15 h 16"/>
                <a:gd name="T8" fmla="*/ 2 w 13"/>
                <a:gd name="T9" fmla="*/ 13 h 16"/>
                <a:gd name="T10" fmla="*/ 3 w 13"/>
                <a:gd name="T11" fmla="*/ 10 h 16"/>
                <a:gd name="T12" fmla="*/ 3 w 13"/>
                <a:gd name="T13" fmla="*/ 7 h 16"/>
                <a:gd name="T14" fmla="*/ 3 w 13"/>
                <a:gd name="T15" fmla="*/ 7 h 16"/>
                <a:gd name="T16" fmla="*/ 0 w 13"/>
                <a:gd name="T17" fmla="*/ 2 h 16"/>
                <a:gd name="T18" fmla="*/ 0 w 13"/>
                <a:gd name="T19" fmla="*/ 0 h 16"/>
                <a:gd name="T20" fmla="*/ 3 w 13"/>
                <a:gd name="T21" fmla="*/ 0 h 16"/>
                <a:gd name="T22" fmla="*/ 3 w 13"/>
                <a:gd name="T23" fmla="*/ 0 h 16"/>
                <a:gd name="T24" fmla="*/ 9 w 13"/>
                <a:gd name="T25" fmla="*/ 5 h 16"/>
                <a:gd name="T26" fmla="*/ 12 w 13"/>
                <a:gd name="T27" fmla="*/ 7 h 16"/>
                <a:gd name="T28" fmla="*/ 13 w 13"/>
                <a:gd name="T29" fmla="*/ 10 h 16"/>
                <a:gd name="T30" fmla="*/ 13 w 13"/>
                <a:gd name="T31" fmla="*/ 10 h 16"/>
                <a:gd name="T32" fmla="*/ 7 w 13"/>
                <a:gd name="T33" fmla="*/ 13 h 16"/>
                <a:gd name="T34" fmla="*/ 4 w 13"/>
                <a:gd name="T35" fmla="*/ 16 h 16"/>
                <a:gd name="T36" fmla="*/ 2 w 13"/>
                <a:gd name="T3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16">
                  <a:moveTo>
                    <a:pt x="2" y="16"/>
                  </a:moveTo>
                  <a:lnTo>
                    <a:pt x="2" y="16"/>
                  </a:lnTo>
                  <a:lnTo>
                    <a:pt x="0" y="16"/>
                  </a:lnTo>
                  <a:lnTo>
                    <a:pt x="0" y="15"/>
                  </a:lnTo>
                  <a:lnTo>
                    <a:pt x="2" y="13"/>
                  </a:lnTo>
                  <a:lnTo>
                    <a:pt x="3" y="10"/>
                  </a:lnTo>
                  <a:lnTo>
                    <a:pt x="3" y="7"/>
                  </a:lnTo>
                  <a:lnTo>
                    <a:pt x="3" y="7"/>
                  </a:lnTo>
                  <a:lnTo>
                    <a:pt x="0" y="2"/>
                  </a:lnTo>
                  <a:lnTo>
                    <a:pt x="0" y="0"/>
                  </a:lnTo>
                  <a:lnTo>
                    <a:pt x="3" y="0"/>
                  </a:lnTo>
                  <a:lnTo>
                    <a:pt x="3" y="0"/>
                  </a:lnTo>
                  <a:lnTo>
                    <a:pt x="9" y="5"/>
                  </a:lnTo>
                  <a:lnTo>
                    <a:pt x="12" y="7"/>
                  </a:lnTo>
                  <a:lnTo>
                    <a:pt x="13" y="10"/>
                  </a:lnTo>
                  <a:lnTo>
                    <a:pt x="13" y="10"/>
                  </a:lnTo>
                  <a:lnTo>
                    <a:pt x="7" y="13"/>
                  </a:lnTo>
                  <a:lnTo>
                    <a:pt x="4" y="16"/>
                  </a:lnTo>
                  <a:lnTo>
                    <a:pt x="2"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58" name="Freeform 1181"/>
            <p:cNvSpPr>
              <a:spLocks noEditPoints="1"/>
            </p:cNvSpPr>
            <p:nvPr/>
          </p:nvSpPr>
          <p:spPr bwMode="auto">
            <a:xfrm>
              <a:off x="1998663" y="1904634"/>
              <a:ext cx="730250" cy="854075"/>
            </a:xfrm>
            <a:custGeom>
              <a:avLst/>
              <a:gdLst>
                <a:gd name="T0" fmla="*/ 446 w 460"/>
                <a:gd name="T1" fmla="*/ 347 h 538"/>
                <a:gd name="T2" fmla="*/ 423 w 460"/>
                <a:gd name="T3" fmla="*/ 336 h 538"/>
                <a:gd name="T4" fmla="*/ 415 w 460"/>
                <a:gd name="T5" fmla="*/ 329 h 538"/>
                <a:gd name="T6" fmla="*/ 401 w 460"/>
                <a:gd name="T7" fmla="*/ 297 h 538"/>
                <a:gd name="T8" fmla="*/ 376 w 460"/>
                <a:gd name="T9" fmla="*/ 286 h 538"/>
                <a:gd name="T10" fmla="*/ 359 w 460"/>
                <a:gd name="T11" fmla="*/ 271 h 538"/>
                <a:gd name="T12" fmla="*/ 343 w 460"/>
                <a:gd name="T13" fmla="*/ 250 h 538"/>
                <a:gd name="T14" fmla="*/ 347 w 460"/>
                <a:gd name="T15" fmla="*/ 234 h 538"/>
                <a:gd name="T16" fmla="*/ 333 w 460"/>
                <a:gd name="T17" fmla="*/ 199 h 538"/>
                <a:gd name="T18" fmla="*/ 323 w 460"/>
                <a:gd name="T19" fmla="*/ 166 h 538"/>
                <a:gd name="T20" fmla="*/ 286 w 460"/>
                <a:gd name="T21" fmla="*/ 139 h 538"/>
                <a:gd name="T22" fmla="*/ 250 w 460"/>
                <a:gd name="T23" fmla="*/ 116 h 538"/>
                <a:gd name="T24" fmla="*/ 186 w 460"/>
                <a:gd name="T25" fmla="*/ 79 h 538"/>
                <a:gd name="T26" fmla="*/ 170 w 460"/>
                <a:gd name="T27" fmla="*/ 105 h 538"/>
                <a:gd name="T28" fmla="*/ 143 w 460"/>
                <a:gd name="T29" fmla="*/ 86 h 538"/>
                <a:gd name="T30" fmla="*/ 139 w 460"/>
                <a:gd name="T31" fmla="*/ 73 h 538"/>
                <a:gd name="T32" fmla="*/ 142 w 460"/>
                <a:gd name="T33" fmla="*/ 24 h 538"/>
                <a:gd name="T34" fmla="*/ 110 w 460"/>
                <a:gd name="T35" fmla="*/ 18 h 538"/>
                <a:gd name="T36" fmla="*/ 111 w 460"/>
                <a:gd name="T37" fmla="*/ 44 h 538"/>
                <a:gd name="T38" fmla="*/ 86 w 460"/>
                <a:gd name="T39" fmla="*/ 73 h 538"/>
                <a:gd name="T40" fmla="*/ 88 w 460"/>
                <a:gd name="T41" fmla="*/ 105 h 538"/>
                <a:gd name="T42" fmla="*/ 118 w 460"/>
                <a:gd name="T43" fmla="*/ 150 h 538"/>
                <a:gd name="T44" fmla="*/ 94 w 460"/>
                <a:gd name="T45" fmla="*/ 151 h 538"/>
                <a:gd name="T46" fmla="*/ 76 w 460"/>
                <a:gd name="T47" fmla="*/ 115 h 538"/>
                <a:gd name="T48" fmla="*/ 88 w 460"/>
                <a:gd name="T49" fmla="*/ 18 h 538"/>
                <a:gd name="T50" fmla="*/ 24 w 460"/>
                <a:gd name="T51" fmla="*/ 25 h 538"/>
                <a:gd name="T52" fmla="*/ 8 w 460"/>
                <a:gd name="T53" fmla="*/ 118 h 538"/>
                <a:gd name="T54" fmla="*/ 44 w 460"/>
                <a:gd name="T55" fmla="*/ 161 h 538"/>
                <a:gd name="T56" fmla="*/ 58 w 460"/>
                <a:gd name="T57" fmla="*/ 186 h 538"/>
                <a:gd name="T58" fmla="*/ 81 w 460"/>
                <a:gd name="T59" fmla="*/ 199 h 538"/>
                <a:gd name="T60" fmla="*/ 137 w 460"/>
                <a:gd name="T61" fmla="*/ 209 h 538"/>
                <a:gd name="T62" fmla="*/ 204 w 460"/>
                <a:gd name="T63" fmla="*/ 215 h 538"/>
                <a:gd name="T64" fmla="*/ 231 w 460"/>
                <a:gd name="T65" fmla="*/ 241 h 538"/>
                <a:gd name="T66" fmla="*/ 263 w 460"/>
                <a:gd name="T67" fmla="*/ 284 h 538"/>
                <a:gd name="T68" fmla="*/ 276 w 460"/>
                <a:gd name="T69" fmla="*/ 338 h 538"/>
                <a:gd name="T70" fmla="*/ 247 w 460"/>
                <a:gd name="T71" fmla="*/ 393 h 538"/>
                <a:gd name="T72" fmla="*/ 192 w 460"/>
                <a:gd name="T73" fmla="*/ 397 h 538"/>
                <a:gd name="T74" fmla="*/ 207 w 460"/>
                <a:gd name="T75" fmla="*/ 452 h 538"/>
                <a:gd name="T76" fmla="*/ 275 w 460"/>
                <a:gd name="T77" fmla="*/ 452 h 538"/>
                <a:gd name="T78" fmla="*/ 294 w 460"/>
                <a:gd name="T79" fmla="*/ 478 h 538"/>
                <a:gd name="T80" fmla="*/ 317 w 460"/>
                <a:gd name="T81" fmla="*/ 502 h 538"/>
                <a:gd name="T82" fmla="*/ 383 w 460"/>
                <a:gd name="T83" fmla="*/ 538 h 538"/>
                <a:gd name="T84" fmla="*/ 360 w 460"/>
                <a:gd name="T85" fmla="*/ 489 h 538"/>
                <a:gd name="T86" fmla="*/ 346 w 460"/>
                <a:gd name="T87" fmla="*/ 467 h 538"/>
                <a:gd name="T88" fmla="*/ 386 w 460"/>
                <a:gd name="T89" fmla="*/ 494 h 538"/>
                <a:gd name="T90" fmla="*/ 412 w 460"/>
                <a:gd name="T91" fmla="*/ 519 h 538"/>
                <a:gd name="T92" fmla="*/ 412 w 460"/>
                <a:gd name="T93" fmla="*/ 486 h 538"/>
                <a:gd name="T94" fmla="*/ 407 w 460"/>
                <a:gd name="T95" fmla="*/ 457 h 538"/>
                <a:gd name="T96" fmla="*/ 379 w 460"/>
                <a:gd name="T97" fmla="*/ 425 h 538"/>
                <a:gd name="T98" fmla="*/ 365 w 460"/>
                <a:gd name="T99" fmla="*/ 399 h 538"/>
                <a:gd name="T100" fmla="*/ 360 w 460"/>
                <a:gd name="T101" fmla="*/ 374 h 538"/>
                <a:gd name="T102" fmla="*/ 388 w 460"/>
                <a:gd name="T103" fmla="*/ 380 h 538"/>
                <a:gd name="T104" fmla="*/ 404 w 460"/>
                <a:gd name="T105" fmla="*/ 396 h 538"/>
                <a:gd name="T106" fmla="*/ 420 w 460"/>
                <a:gd name="T107" fmla="*/ 410 h 538"/>
                <a:gd name="T108" fmla="*/ 428 w 460"/>
                <a:gd name="T109" fmla="*/ 389 h 538"/>
                <a:gd name="T110" fmla="*/ 457 w 460"/>
                <a:gd name="T111" fmla="*/ 386 h 538"/>
                <a:gd name="T112" fmla="*/ 292 w 460"/>
                <a:gd name="T113" fmla="*/ 438 h 538"/>
                <a:gd name="T114" fmla="*/ 292 w 460"/>
                <a:gd name="T115" fmla="*/ 402 h 538"/>
                <a:gd name="T116" fmla="*/ 314 w 460"/>
                <a:gd name="T117" fmla="*/ 368 h 538"/>
                <a:gd name="T118" fmla="*/ 298 w 460"/>
                <a:gd name="T119" fmla="*/ 364 h 538"/>
                <a:gd name="T120" fmla="*/ 336 w 460"/>
                <a:gd name="T121" fmla="*/ 357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538">
                  <a:moveTo>
                    <a:pt x="451" y="360"/>
                  </a:moveTo>
                  <a:lnTo>
                    <a:pt x="451" y="360"/>
                  </a:lnTo>
                  <a:lnTo>
                    <a:pt x="456" y="360"/>
                  </a:lnTo>
                  <a:lnTo>
                    <a:pt x="457" y="357"/>
                  </a:lnTo>
                  <a:lnTo>
                    <a:pt x="460" y="352"/>
                  </a:lnTo>
                  <a:lnTo>
                    <a:pt x="460" y="352"/>
                  </a:lnTo>
                  <a:lnTo>
                    <a:pt x="460" y="351"/>
                  </a:lnTo>
                  <a:lnTo>
                    <a:pt x="460" y="349"/>
                  </a:lnTo>
                  <a:lnTo>
                    <a:pt x="456" y="349"/>
                  </a:lnTo>
                  <a:lnTo>
                    <a:pt x="456" y="349"/>
                  </a:lnTo>
                  <a:lnTo>
                    <a:pt x="454" y="348"/>
                  </a:lnTo>
                  <a:lnTo>
                    <a:pt x="451" y="344"/>
                  </a:lnTo>
                  <a:lnTo>
                    <a:pt x="450" y="341"/>
                  </a:lnTo>
                  <a:lnTo>
                    <a:pt x="449" y="338"/>
                  </a:lnTo>
                  <a:lnTo>
                    <a:pt x="449" y="338"/>
                  </a:lnTo>
                  <a:lnTo>
                    <a:pt x="447" y="339"/>
                  </a:lnTo>
                  <a:lnTo>
                    <a:pt x="446" y="341"/>
                  </a:lnTo>
                  <a:lnTo>
                    <a:pt x="446" y="347"/>
                  </a:lnTo>
                  <a:lnTo>
                    <a:pt x="446" y="347"/>
                  </a:lnTo>
                  <a:lnTo>
                    <a:pt x="444" y="347"/>
                  </a:lnTo>
                  <a:lnTo>
                    <a:pt x="441" y="347"/>
                  </a:lnTo>
                  <a:lnTo>
                    <a:pt x="434" y="345"/>
                  </a:lnTo>
                  <a:lnTo>
                    <a:pt x="434" y="345"/>
                  </a:lnTo>
                  <a:lnTo>
                    <a:pt x="433" y="344"/>
                  </a:lnTo>
                  <a:lnTo>
                    <a:pt x="434" y="339"/>
                  </a:lnTo>
                  <a:lnTo>
                    <a:pt x="436" y="334"/>
                  </a:lnTo>
                  <a:lnTo>
                    <a:pt x="436" y="334"/>
                  </a:lnTo>
                  <a:lnTo>
                    <a:pt x="434" y="334"/>
                  </a:lnTo>
                  <a:lnTo>
                    <a:pt x="431" y="335"/>
                  </a:lnTo>
                  <a:lnTo>
                    <a:pt x="427" y="341"/>
                  </a:lnTo>
                  <a:lnTo>
                    <a:pt x="427" y="341"/>
                  </a:lnTo>
                  <a:lnTo>
                    <a:pt x="425" y="342"/>
                  </a:lnTo>
                  <a:lnTo>
                    <a:pt x="424" y="339"/>
                  </a:lnTo>
                  <a:lnTo>
                    <a:pt x="424" y="338"/>
                  </a:lnTo>
                  <a:lnTo>
                    <a:pt x="423" y="336"/>
                  </a:lnTo>
                  <a:lnTo>
                    <a:pt x="423" y="336"/>
                  </a:lnTo>
                  <a:lnTo>
                    <a:pt x="420" y="336"/>
                  </a:lnTo>
                  <a:lnTo>
                    <a:pt x="417" y="339"/>
                  </a:lnTo>
                  <a:lnTo>
                    <a:pt x="408" y="347"/>
                  </a:lnTo>
                  <a:lnTo>
                    <a:pt x="408" y="347"/>
                  </a:lnTo>
                  <a:lnTo>
                    <a:pt x="407" y="347"/>
                  </a:lnTo>
                  <a:lnTo>
                    <a:pt x="405" y="347"/>
                  </a:lnTo>
                  <a:lnTo>
                    <a:pt x="407" y="344"/>
                  </a:lnTo>
                  <a:lnTo>
                    <a:pt x="408" y="341"/>
                  </a:lnTo>
                  <a:lnTo>
                    <a:pt x="409" y="339"/>
                  </a:lnTo>
                  <a:lnTo>
                    <a:pt x="409" y="339"/>
                  </a:lnTo>
                  <a:lnTo>
                    <a:pt x="411" y="338"/>
                  </a:lnTo>
                  <a:lnTo>
                    <a:pt x="409" y="335"/>
                  </a:lnTo>
                  <a:lnTo>
                    <a:pt x="408" y="331"/>
                  </a:lnTo>
                  <a:lnTo>
                    <a:pt x="408" y="331"/>
                  </a:lnTo>
                  <a:lnTo>
                    <a:pt x="408" y="329"/>
                  </a:lnTo>
                  <a:lnTo>
                    <a:pt x="411" y="329"/>
                  </a:lnTo>
                  <a:lnTo>
                    <a:pt x="415" y="329"/>
                  </a:lnTo>
                  <a:lnTo>
                    <a:pt x="415" y="329"/>
                  </a:lnTo>
                  <a:lnTo>
                    <a:pt x="415" y="326"/>
                  </a:lnTo>
                  <a:lnTo>
                    <a:pt x="415" y="322"/>
                  </a:lnTo>
                  <a:lnTo>
                    <a:pt x="412" y="315"/>
                  </a:lnTo>
                  <a:lnTo>
                    <a:pt x="409" y="310"/>
                  </a:lnTo>
                  <a:lnTo>
                    <a:pt x="409" y="310"/>
                  </a:lnTo>
                  <a:lnTo>
                    <a:pt x="408" y="309"/>
                  </a:lnTo>
                  <a:lnTo>
                    <a:pt x="407" y="309"/>
                  </a:lnTo>
                  <a:lnTo>
                    <a:pt x="404" y="310"/>
                  </a:lnTo>
                  <a:lnTo>
                    <a:pt x="402" y="310"/>
                  </a:lnTo>
                  <a:lnTo>
                    <a:pt x="401" y="310"/>
                  </a:lnTo>
                  <a:lnTo>
                    <a:pt x="399" y="310"/>
                  </a:lnTo>
                  <a:lnTo>
                    <a:pt x="399" y="310"/>
                  </a:lnTo>
                  <a:lnTo>
                    <a:pt x="398" y="306"/>
                  </a:lnTo>
                  <a:lnTo>
                    <a:pt x="399" y="303"/>
                  </a:lnTo>
                  <a:lnTo>
                    <a:pt x="401" y="299"/>
                  </a:lnTo>
                  <a:lnTo>
                    <a:pt x="401" y="297"/>
                  </a:lnTo>
                  <a:lnTo>
                    <a:pt x="401" y="297"/>
                  </a:lnTo>
                  <a:lnTo>
                    <a:pt x="401" y="297"/>
                  </a:lnTo>
                  <a:lnTo>
                    <a:pt x="398" y="297"/>
                  </a:lnTo>
                  <a:lnTo>
                    <a:pt x="394" y="302"/>
                  </a:lnTo>
                  <a:lnTo>
                    <a:pt x="394" y="302"/>
                  </a:lnTo>
                  <a:lnTo>
                    <a:pt x="391" y="303"/>
                  </a:lnTo>
                  <a:lnTo>
                    <a:pt x="389" y="302"/>
                  </a:lnTo>
                  <a:lnTo>
                    <a:pt x="388" y="300"/>
                  </a:lnTo>
                  <a:lnTo>
                    <a:pt x="385" y="299"/>
                  </a:lnTo>
                  <a:lnTo>
                    <a:pt x="385" y="299"/>
                  </a:lnTo>
                  <a:lnTo>
                    <a:pt x="382" y="299"/>
                  </a:lnTo>
                  <a:lnTo>
                    <a:pt x="379" y="296"/>
                  </a:lnTo>
                  <a:lnTo>
                    <a:pt x="378" y="293"/>
                  </a:lnTo>
                  <a:lnTo>
                    <a:pt x="375" y="292"/>
                  </a:lnTo>
                  <a:lnTo>
                    <a:pt x="375" y="292"/>
                  </a:lnTo>
                  <a:lnTo>
                    <a:pt x="373" y="290"/>
                  </a:lnTo>
                  <a:lnTo>
                    <a:pt x="372" y="289"/>
                  </a:lnTo>
                  <a:lnTo>
                    <a:pt x="376" y="287"/>
                  </a:lnTo>
                  <a:lnTo>
                    <a:pt x="376" y="287"/>
                  </a:lnTo>
                  <a:lnTo>
                    <a:pt x="376" y="286"/>
                  </a:lnTo>
                  <a:lnTo>
                    <a:pt x="376" y="286"/>
                  </a:lnTo>
                  <a:lnTo>
                    <a:pt x="375" y="283"/>
                  </a:lnTo>
                  <a:lnTo>
                    <a:pt x="370" y="281"/>
                  </a:lnTo>
                  <a:lnTo>
                    <a:pt x="367" y="280"/>
                  </a:lnTo>
                  <a:lnTo>
                    <a:pt x="367" y="280"/>
                  </a:lnTo>
                  <a:lnTo>
                    <a:pt x="360" y="280"/>
                  </a:lnTo>
                  <a:lnTo>
                    <a:pt x="353" y="277"/>
                  </a:lnTo>
                  <a:lnTo>
                    <a:pt x="353" y="277"/>
                  </a:lnTo>
                  <a:lnTo>
                    <a:pt x="347" y="274"/>
                  </a:lnTo>
                  <a:lnTo>
                    <a:pt x="344" y="274"/>
                  </a:lnTo>
                  <a:lnTo>
                    <a:pt x="344" y="273"/>
                  </a:lnTo>
                  <a:lnTo>
                    <a:pt x="344" y="273"/>
                  </a:lnTo>
                  <a:lnTo>
                    <a:pt x="346" y="271"/>
                  </a:lnTo>
                  <a:lnTo>
                    <a:pt x="349" y="271"/>
                  </a:lnTo>
                  <a:lnTo>
                    <a:pt x="357" y="273"/>
                  </a:lnTo>
                  <a:lnTo>
                    <a:pt x="357" y="273"/>
                  </a:lnTo>
                  <a:lnTo>
                    <a:pt x="359" y="273"/>
                  </a:lnTo>
                  <a:lnTo>
                    <a:pt x="359" y="271"/>
                  </a:lnTo>
                  <a:lnTo>
                    <a:pt x="356" y="268"/>
                  </a:lnTo>
                  <a:lnTo>
                    <a:pt x="350" y="264"/>
                  </a:lnTo>
                  <a:lnTo>
                    <a:pt x="350" y="264"/>
                  </a:lnTo>
                  <a:lnTo>
                    <a:pt x="349" y="264"/>
                  </a:lnTo>
                  <a:lnTo>
                    <a:pt x="349" y="263"/>
                  </a:lnTo>
                  <a:lnTo>
                    <a:pt x="353" y="261"/>
                  </a:lnTo>
                  <a:lnTo>
                    <a:pt x="353" y="261"/>
                  </a:lnTo>
                  <a:lnTo>
                    <a:pt x="354" y="261"/>
                  </a:lnTo>
                  <a:lnTo>
                    <a:pt x="354" y="260"/>
                  </a:lnTo>
                  <a:lnTo>
                    <a:pt x="353" y="258"/>
                  </a:lnTo>
                  <a:lnTo>
                    <a:pt x="352" y="257"/>
                  </a:lnTo>
                  <a:lnTo>
                    <a:pt x="352" y="257"/>
                  </a:lnTo>
                  <a:lnTo>
                    <a:pt x="353" y="255"/>
                  </a:lnTo>
                  <a:lnTo>
                    <a:pt x="353" y="255"/>
                  </a:lnTo>
                  <a:lnTo>
                    <a:pt x="353" y="255"/>
                  </a:lnTo>
                  <a:lnTo>
                    <a:pt x="353" y="254"/>
                  </a:lnTo>
                  <a:lnTo>
                    <a:pt x="352" y="252"/>
                  </a:lnTo>
                  <a:lnTo>
                    <a:pt x="343" y="250"/>
                  </a:lnTo>
                  <a:lnTo>
                    <a:pt x="343" y="250"/>
                  </a:lnTo>
                  <a:lnTo>
                    <a:pt x="343" y="250"/>
                  </a:lnTo>
                  <a:lnTo>
                    <a:pt x="344" y="250"/>
                  </a:lnTo>
                  <a:lnTo>
                    <a:pt x="349" y="248"/>
                  </a:lnTo>
                  <a:lnTo>
                    <a:pt x="360" y="248"/>
                  </a:lnTo>
                  <a:lnTo>
                    <a:pt x="360" y="248"/>
                  </a:lnTo>
                  <a:lnTo>
                    <a:pt x="363" y="248"/>
                  </a:lnTo>
                  <a:lnTo>
                    <a:pt x="366" y="247"/>
                  </a:lnTo>
                  <a:lnTo>
                    <a:pt x="369" y="245"/>
                  </a:lnTo>
                  <a:lnTo>
                    <a:pt x="370" y="242"/>
                  </a:lnTo>
                  <a:lnTo>
                    <a:pt x="370" y="242"/>
                  </a:lnTo>
                  <a:lnTo>
                    <a:pt x="369" y="241"/>
                  </a:lnTo>
                  <a:lnTo>
                    <a:pt x="367" y="239"/>
                  </a:lnTo>
                  <a:lnTo>
                    <a:pt x="362" y="238"/>
                  </a:lnTo>
                  <a:lnTo>
                    <a:pt x="349" y="235"/>
                  </a:lnTo>
                  <a:lnTo>
                    <a:pt x="349" y="235"/>
                  </a:lnTo>
                  <a:lnTo>
                    <a:pt x="347" y="235"/>
                  </a:lnTo>
                  <a:lnTo>
                    <a:pt x="347" y="234"/>
                  </a:lnTo>
                  <a:lnTo>
                    <a:pt x="349" y="231"/>
                  </a:lnTo>
                  <a:lnTo>
                    <a:pt x="356" y="225"/>
                  </a:lnTo>
                  <a:lnTo>
                    <a:pt x="356" y="225"/>
                  </a:lnTo>
                  <a:lnTo>
                    <a:pt x="360" y="221"/>
                  </a:lnTo>
                  <a:lnTo>
                    <a:pt x="365" y="219"/>
                  </a:lnTo>
                  <a:lnTo>
                    <a:pt x="365" y="219"/>
                  </a:lnTo>
                  <a:lnTo>
                    <a:pt x="366" y="219"/>
                  </a:lnTo>
                  <a:lnTo>
                    <a:pt x="366" y="216"/>
                  </a:lnTo>
                  <a:lnTo>
                    <a:pt x="365" y="209"/>
                  </a:lnTo>
                  <a:lnTo>
                    <a:pt x="362" y="194"/>
                  </a:lnTo>
                  <a:lnTo>
                    <a:pt x="362" y="194"/>
                  </a:lnTo>
                  <a:lnTo>
                    <a:pt x="360" y="192"/>
                  </a:lnTo>
                  <a:lnTo>
                    <a:pt x="357" y="192"/>
                  </a:lnTo>
                  <a:lnTo>
                    <a:pt x="350" y="196"/>
                  </a:lnTo>
                  <a:lnTo>
                    <a:pt x="350" y="196"/>
                  </a:lnTo>
                  <a:lnTo>
                    <a:pt x="343" y="199"/>
                  </a:lnTo>
                  <a:lnTo>
                    <a:pt x="333" y="199"/>
                  </a:lnTo>
                  <a:lnTo>
                    <a:pt x="333" y="199"/>
                  </a:lnTo>
                  <a:lnTo>
                    <a:pt x="328" y="197"/>
                  </a:lnTo>
                  <a:lnTo>
                    <a:pt x="330" y="196"/>
                  </a:lnTo>
                  <a:lnTo>
                    <a:pt x="337" y="192"/>
                  </a:lnTo>
                  <a:lnTo>
                    <a:pt x="337" y="192"/>
                  </a:lnTo>
                  <a:lnTo>
                    <a:pt x="341" y="190"/>
                  </a:lnTo>
                  <a:lnTo>
                    <a:pt x="346" y="186"/>
                  </a:lnTo>
                  <a:lnTo>
                    <a:pt x="350" y="180"/>
                  </a:lnTo>
                  <a:lnTo>
                    <a:pt x="350" y="180"/>
                  </a:lnTo>
                  <a:lnTo>
                    <a:pt x="350" y="179"/>
                  </a:lnTo>
                  <a:lnTo>
                    <a:pt x="349" y="177"/>
                  </a:lnTo>
                  <a:lnTo>
                    <a:pt x="344" y="174"/>
                  </a:lnTo>
                  <a:lnTo>
                    <a:pt x="344" y="174"/>
                  </a:lnTo>
                  <a:lnTo>
                    <a:pt x="341" y="173"/>
                  </a:lnTo>
                  <a:lnTo>
                    <a:pt x="337" y="170"/>
                  </a:lnTo>
                  <a:lnTo>
                    <a:pt x="334" y="168"/>
                  </a:lnTo>
                  <a:lnTo>
                    <a:pt x="330" y="167"/>
                  </a:lnTo>
                  <a:lnTo>
                    <a:pt x="330" y="167"/>
                  </a:lnTo>
                  <a:lnTo>
                    <a:pt x="323" y="166"/>
                  </a:lnTo>
                  <a:lnTo>
                    <a:pt x="318" y="164"/>
                  </a:lnTo>
                  <a:lnTo>
                    <a:pt x="315" y="161"/>
                  </a:lnTo>
                  <a:lnTo>
                    <a:pt x="315" y="161"/>
                  </a:lnTo>
                  <a:lnTo>
                    <a:pt x="312" y="158"/>
                  </a:lnTo>
                  <a:lnTo>
                    <a:pt x="311" y="157"/>
                  </a:lnTo>
                  <a:lnTo>
                    <a:pt x="310" y="157"/>
                  </a:lnTo>
                  <a:lnTo>
                    <a:pt x="310" y="157"/>
                  </a:lnTo>
                  <a:lnTo>
                    <a:pt x="307" y="155"/>
                  </a:lnTo>
                  <a:lnTo>
                    <a:pt x="305" y="154"/>
                  </a:lnTo>
                  <a:lnTo>
                    <a:pt x="304" y="150"/>
                  </a:lnTo>
                  <a:lnTo>
                    <a:pt x="304" y="150"/>
                  </a:lnTo>
                  <a:lnTo>
                    <a:pt x="304" y="145"/>
                  </a:lnTo>
                  <a:lnTo>
                    <a:pt x="304" y="142"/>
                  </a:lnTo>
                  <a:lnTo>
                    <a:pt x="302" y="139"/>
                  </a:lnTo>
                  <a:lnTo>
                    <a:pt x="302" y="139"/>
                  </a:lnTo>
                  <a:lnTo>
                    <a:pt x="298" y="137"/>
                  </a:lnTo>
                  <a:lnTo>
                    <a:pt x="295" y="137"/>
                  </a:lnTo>
                  <a:lnTo>
                    <a:pt x="286" y="139"/>
                  </a:lnTo>
                  <a:lnTo>
                    <a:pt x="286" y="139"/>
                  </a:lnTo>
                  <a:lnTo>
                    <a:pt x="282" y="138"/>
                  </a:lnTo>
                  <a:lnTo>
                    <a:pt x="276" y="135"/>
                  </a:lnTo>
                  <a:lnTo>
                    <a:pt x="269" y="132"/>
                  </a:lnTo>
                  <a:lnTo>
                    <a:pt x="265" y="131"/>
                  </a:lnTo>
                  <a:lnTo>
                    <a:pt x="265" y="131"/>
                  </a:lnTo>
                  <a:lnTo>
                    <a:pt x="262" y="129"/>
                  </a:lnTo>
                  <a:lnTo>
                    <a:pt x="260" y="129"/>
                  </a:lnTo>
                  <a:lnTo>
                    <a:pt x="259" y="125"/>
                  </a:lnTo>
                  <a:lnTo>
                    <a:pt x="259" y="125"/>
                  </a:lnTo>
                  <a:lnTo>
                    <a:pt x="257" y="124"/>
                  </a:lnTo>
                  <a:lnTo>
                    <a:pt x="255" y="124"/>
                  </a:lnTo>
                  <a:lnTo>
                    <a:pt x="252" y="122"/>
                  </a:lnTo>
                  <a:lnTo>
                    <a:pt x="252" y="122"/>
                  </a:lnTo>
                  <a:lnTo>
                    <a:pt x="250" y="122"/>
                  </a:lnTo>
                  <a:lnTo>
                    <a:pt x="250" y="121"/>
                  </a:lnTo>
                  <a:lnTo>
                    <a:pt x="250" y="116"/>
                  </a:lnTo>
                  <a:lnTo>
                    <a:pt x="250" y="116"/>
                  </a:lnTo>
                  <a:lnTo>
                    <a:pt x="246" y="113"/>
                  </a:lnTo>
                  <a:lnTo>
                    <a:pt x="241" y="110"/>
                  </a:lnTo>
                  <a:lnTo>
                    <a:pt x="241" y="110"/>
                  </a:lnTo>
                  <a:lnTo>
                    <a:pt x="239" y="109"/>
                  </a:lnTo>
                  <a:lnTo>
                    <a:pt x="239" y="105"/>
                  </a:lnTo>
                  <a:lnTo>
                    <a:pt x="239" y="102"/>
                  </a:lnTo>
                  <a:lnTo>
                    <a:pt x="239" y="99"/>
                  </a:lnTo>
                  <a:lnTo>
                    <a:pt x="239" y="99"/>
                  </a:lnTo>
                  <a:lnTo>
                    <a:pt x="233" y="92"/>
                  </a:lnTo>
                  <a:lnTo>
                    <a:pt x="228" y="89"/>
                  </a:lnTo>
                  <a:lnTo>
                    <a:pt x="224" y="86"/>
                  </a:lnTo>
                  <a:lnTo>
                    <a:pt x="224" y="86"/>
                  </a:lnTo>
                  <a:lnTo>
                    <a:pt x="220" y="84"/>
                  </a:lnTo>
                  <a:lnTo>
                    <a:pt x="214" y="82"/>
                  </a:lnTo>
                  <a:lnTo>
                    <a:pt x="214" y="82"/>
                  </a:lnTo>
                  <a:lnTo>
                    <a:pt x="208" y="80"/>
                  </a:lnTo>
                  <a:lnTo>
                    <a:pt x="199" y="80"/>
                  </a:lnTo>
                  <a:lnTo>
                    <a:pt x="186" y="79"/>
                  </a:lnTo>
                  <a:lnTo>
                    <a:pt x="186" y="79"/>
                  </a:lnTo>
                  <a:lnTo>
                    <a:pt x="184" y="80"/>
                  </a:lnTo>
                  <a:lnTo>
                    <a:pt x="182" y="82"/>
                  </a:lnTo>
                  <a:lnTo>
                    <a:pt x="179" y="86"/>
                  </a:lnTo>
                  <a:lnTo>
                    <a:pt x="179" y="86"/>
                  </a:lnTo>
                  <a:lnTo>
                    <a:pt x="181" y="87"/>
                  </a:lnTo>
                  <a:lnTo>
                    <a:pt x="184" y="90"/>
                  </a:lnTo>
                  <a:lnTo>
                    <a:pt x="186" y="93"/>
                  </a:lnTo>
                  <a:lnTo>
                    <a:pt x="188" y="95"/>
                  </a:lnTo>
                  <a:lnTo>
                    <a:pt x="188" y="95"/>
                  </a:lnTo>
                  <a:lnTo>
                    <a:pt x="186" y="95"/>
                  </a:lnTo>
                  <a:lnTo>
                    <a:pt x="182" y="95"/>
                  </a:lnTo>
                  <a:lnTo>
                    <a:pt x="175" y="92"/>
                  </a:lnTo>
                  <a:lnTo>
                    <a:pt x="175" y="92"/>
                  </a:lnTo>
                  <a:lnTo>
                    <a:pt x="173" y="93"/>
                  </a:lnTo>
                  <a:lnTo>
                    <a:pt x="173" y="95"/>
                  </a:lnTo>
                  <a:lnTo>
                    <a:pt x="172" y="99"/>
                  </a:lnTo>
                  <a:lnTo>
                    <a:pt x="170" y="105"/>
                  </a:lnTo>
                  <a:lnTo>
                    <a:pt x="169" y="108"/>
                  </a:lnTo>
                  <a:lnTo>
                    <a:pt x="169" y="108"/>
                  </a:lnTo>
                  <a:lnTo>
                    <a:pt x="168" y="108"/>
                  </a:lnTo>
                  <a:lnTo>
                    <a:pt x="166" y="106"/>
                  </a:lnTo>
                  <a:lnTo>
                    <a:pt x="165" y="99"/>
                  </a:lnTo>
                  <a:lnTo>
                    <a:pt x="165" y="84"/>
                  </a:lnTo>
                  <a:lnTo>
                    <a:pt x="165" y="84"/>
                  </a:lnTo>
                  <a:lnTo>
                    <a:pt x="165" y="82"/>
                  </a:lnTo>
                  <a:lnTo>
                    <a:pt x="163" y="80"/>
                  </a:lnTo>
                  <a:lnTo>
                    <a:pt x="159" y="77"/>
                  </a:lnTo>
                  <a:lnTo>
                    <a:pt x="159" y="77"/>
                  </a:lnTo>
                  <a:lnTo>
                    <a:pt x="156" y="79"/>
                  </a:lnTo>
                  <a:lnTo>
                    <a:pt x="155" y="80"/>
                  </a:lnTo>
                  <a:lnTo>
                    <a:pt x="150" y="86"/>
                  </a:lnTo>
                  <a:lnTo>
                    <a:pt x="150" y="86"/>
                  </a:lnTo>
                  <a:lnTo>
                    <a:pt x="149" y="87"/>
                  </a:lnTo>
                  <a:lnTo>
                    <a:pt x="147" y="87"/>
                  </a:lnTo>
                  <a:lnTo>
                    <a:pt x="143" y="86"/>
                  </a:lnTo>
                  <a:lnTo>
                    <a:pt x="143" y="86"/>
                  </a:lnTo>
                  <a:lnTo>
                    <a:pt x="142" y="87"/>
                  </a:lnTo>
                  <a:lnTo>
                    <a:pt x="139" y="90"/>
                  </a:lnTo>
                  <a:lnTo>
                    <a:pt x="136" y="100"/>
                  </a:lnTo>
                  <a:lnTo>
                    <a:pt x="136" y="100"/>
                  </a:lnTo>
                  <a:lnTo>
                    <a:pt x="133" y="105"/>
                  </a:lnTo>
                  <a:lnTo>
                    <a:pt x="130" y="108"/>
                  </a:lnTo>
                  <a:lnTo>
                    <a:pt x="127" y="109"/>
                  </a:lnTo>
                  <a:lnTo>
                    <a:pt x="124" y="109"/>
                  </a:lnTo>
                  <a:lnTo>
                    <a:pt x="124" y="109"/>
                  </a:lnTo>
                  <a:lnTo>
                    <a:pt x="123" y="109"/>
                  </a:lnTo>
                  <a:lnTo>
                    <a:pt x="123" y="106"/>
                  </a:lnTo>
                  <a:lnTo>
                    <a:pt x="124" y="99"/>
                  </a:lnTo>
                  <a:lnTo>
                    <a:pt x="130" y="84"/>
                  </a:lnTo>
                  <a:lnTo>
                    <a:pt x="130" y="84"/>
                  </a:lnTo>
                  <a:lnTo>
                    <a:pt x="131" y="80"/>
                  </a:lnTo>
                  <a:lnTo>
                    <a:pt x="133" y="77"/>
                  </a:lnTo>
                  <a:lnTo>
                    <a:pt x="139" y="73"/>
                  </a:lnTo>
                  <a:lnTo>
                    <a:pt x="139" y="73"/>
                  </a:lnTo>
                  <a:lnTo>
                    <a:pt x="139" y="68"/>
                  </a:lnTo>
                  <a:lnTo>
                    <a:pt x="139" y="61"/>
                  </a:lnTo>
                  <a:lnTo>
                    <a:pt x="136" y="51"/>
                  </a:lnTo>
                  <a:lnTo>
                    <a:pt x="136" y="51"/>
                  </a:lnTo>
                  <a:lnTo>
                    <a:pt x="136" y="48"/>
                  </a:lnTo>
                  <a:lnTo>
                    <a:pt x="137" y="45"/>
                  </a:lnTo>
                  <a:lnTo>
                    <a:pt x="140" y="41"/>
                  </a:lnTo>
                  <a:lnTo>
                    <a:pt x="140" y="41"/>
                  </a:lnTo>
                  <a:lnTo>
                    <a:pt x="142" y="40"/>
                  </a:lnTo>
                  <a:lnTo>
                    <a:pt x="142" y="38"/>
                  </a:lnTo>
                  <a:lnTo>
                    <a:pt x="139" y="35"/>
                  </a:lnTo>
                  <a:lnTo>
                    <a:pt x="139" y="35"/>
                  </a:lnTo>
                  <a:lnTo>
                    <a:pt x="139" y="32"/>
                  </a:lnTo>
                  <a:lnTo>
                    <a:pt x="139" y="31"/>
                  </a:lnTo>
                  <a:lnTo>
                    <a:pt x="140" y="28"/>
                  </a:lnTo>
                  <a:lnTo>
                    <a:pt x="142" y="24"/>
                  </a:lnTo>
                  <a:lnTo>
                    <a:pt x="142" y="24"/>
                  </a:lnTo>
                  <a:lnTo>
                    <a:pt x="140" y="6"/>
                  </a:lnTo>
                  <a:lnTo>
                    <a:pt x="140" y="6"/>
                  </a:lnTo>
                  <a:lnTo>
                    <a:pt x="140" y="5"/>
                  </a:lnTo>
                  <a:lnTo>
                    <a:pt x="139" y="5"/>
                  </a:lnTo>
                  <a:lnTo>
                    <a:pt x="134" y="3"/>
                  </a:lnTo>
                  <a:lnTo>
                    <a:pt x="126" y="6"/>
                  </a:lnTo>
                  <a:lnTo>
                    <a:pt x="126" y="6"/>
                  </a:lnTo>
                  <a:lnTo>
                    <a:pt x="120" y="8"/>
                  </a:lnTo>
                  <a:lnTo>
                    <a:pt x="117" y="8"/>
                  </a:lnTo>
                  <a:lnTo>
                    <a:pt x="114" y="11"/>
                  </a:lnTo>
                  <a:lnTo>
                    <a:pt x="114" y="11"/>
                  </a:lnTo>
                  <a:lnTo>
                    <a:pt x="115" y="12"/>
                  </a:lnTo>
                  <a:lnTo>
                    <a:pt x="117" y="16"/>
                  </a:lnTo>
                  <a:lnTo>
                    <a:pt x="120" y="21"/>
                  </a:lnTo>
                  <a:lnTo>
                    <a:pt x="120" y="21"/>
                  </a:lnTo>
                  <a:lnTo>
                    <a:pt x="118" y="21"/>
                  </a:lnTo>
                  <a:lnTo>
                    <a:pt x="117" y="21"/>
                  </a:lnTo>
                  <a:lnTo>
                    <a:pt x="110" y="18"/>
                  </a:lnTo>
                  <a:lnTo>
                    <a:pt x="110" y="18"/>
                  </a:lnTo>
                  <a:lnTo>
                    <a:pt x="107" y="18"/>
                  </a:lnTo>
                  <a:lnTo>
                    <a:pt x="104" y="18"/>
                  </a:lnTo>
                  <a:lnTo>
                    <a:pt x="101" y="19"/>
                  </a:lnTo>
                  <a:lnTo>
                    <a:pt x="100" y="21"/>
                  </a:lnTo>
                  <a:lnTo>
                    <a:pt x="100" y="21"/>
                  </a:lnTo>
                  <a:lnTo>
                    <a:pt x="101" y="22"/>
                  </a:lnTo>
                  <a:lnTo>
                    <a:pt x="105" y="24"/>
                  </a:lnTo>
                  <a:lnTo>
                    <a:pt x="108" y="25"/>
                  </a:lnTo>
                  <a:lnTo>
                    <a:pt x="111" y="28"/>
                  </a:lnTo>
                  <a:lnTo>
                    <a:pt x="111" y="28"/>
                  </a:lnTo>
                  <a:lnTo>
                    <a:pt x="115" y="32"/>
                  </a:lnTo>
                  <a:lnTo>
                    <a:pt x="120" y="37"/>
                  </a:lnTo>
                  <a:lnTo>
                    <a:pt x="120" y="37"/>
                  </a:lnTo>
                  <a:lnTo>
                    <a:pt x="120" y="38"/>
                  </a:lnTo>
                  <a:lnTo>
                    <a:pt x="118" y="40"/>
                  </a:lnTo>
                  <a:lnTo>
                    <a:pt x="115" y="42"/>
                  </a:lnTo>
                  <a:lnTo>
                    <a:pt x="111" y="44"/>
                  </a:lnTo>
                  <a:lnTo>
                    <a:pt x="107" y="45"/>
                  </a:lnTo>
                  <a:lnTo>
                    <a:pt x="107" y="45"/>
                  </a:lnTo>
                  <a:lnTo>
                    <a:pt x="104" y="45"/>
                  </a:lnTo>
                  <a:lnTo>
                    <a:pt x="101" y="44"/>
                  </a:lnTo>
                  <a:lnTo>
                    <a:pt x="100" y="44"/>
                  </a:lnTo>
                  <a:lnTo>
                    <a:pt x="95" y="45"/>
                  </a:lnTo>
                  <a:lnTo>
                    <a:pt x="95" y="45"/>
                  </a:lnTo>
                  <a:lnTo>
                    <a:pt x="92" y="45"/>
                  </a:lnTo>
                  <a:lnTo>
                    <a:pt x="91" y="45"/>
                  </a:lnTo>
                  <a:lnTo>
                    <a:pt x="89" y="44"/>
                  </a:lnTo>
                  <a:lnTo>
                    <a:pt x="86" y="44"/>
                  </a:lnTo>
                  <a:lnTo>
                    <a:pt x="86" y="44"/>
                  </a:lnTo>
                  <a:lnTo>
                    <a:pt x="86" y="45"/>
                  </a:lnTo>
                  <a:lnTo>
                    <a:pt x="85" y="47"/>
                  </a:lnTo>
                  <a:lnTo>
                    <a:pt x="85" y="54"/>
                  </a:lnTo>
                  <a:lnTo>
                    <a:pt x="86" y="68"/>
                  </a:lnTo>
                  <a:lnTo>
                    <a:pt x="86" y="68"/>
                  </a:lnTo>
                  <a:lnTo>
                    <a:pt x="86" y="73"/>
                  </a:lnTo>
                  <a:lnTo>
                    <a:pt x="88" y="76"/>
                  </a:lnTo>
                  <a:lnTo>
                    <a:pt x="94" y="82"/>
                  </a:lnTo>
                  <a:lnTo>
                    <a:pt x="94" y="82"/>
                  </a:lnTo>
                  <a:lnTo>
                    <a:pt x="97" y="84"/>
                  </a:lnTo>
                  <a:lnTo>
                    <a:pt x="97" y="87"/>
                  </a:lnTo>
                  <a:lnTo>
                    <a:pt x="97" y="89"/>
                  </a:lnTo>
                  <a:lnTo>
                    <a:pt x="95" y="90"/>
                  </a:lnTo>
                  <a:lnTo>
                    <a:pt x="95" y="90"/>
                  </a:lnTo>
                  <a:lnTo>
                    <a:pt x="92" y="90"/>
                  </a:lnTo>
                  <a:lnTo>
                    <a:pt x="89" y="89"/>
                  </a:lnTo>
                  <a:lnTo>
                    <a:pt x="86" y="87"/>
                  </a:lnTo>
                  <a:lnTo>
                    <a:pt x="84" y="87"/>
                  </a:lnTo>
                  <a:lnTo>
                    <a:pt x="84" y="87"/>
                  </a:lnTo>
                  <a:lnTo>
                    <a:pt x="84" y="90"/>
                  </a:lnTo>
                  <a:lnTo>
                    <a:pt x="85" y="95"/>
                  </a:lnTo>
                  <a:lnTo>
                    <a:pt x="86" y="99"/>
                  </a:lnTo>
                  <a:lnTo>
                    <a:pt x="88" y="105"/>
                  </a:lnTo>
                  <a:lnTo>
                    <a:pt x="88" y="105"/>
                  </a:lnTo>
                  <a:lnTo>
                    <a:pt x="89" y="109"/>
                  </a:lnTo>
                  <a:lnTo>
                    <a:pt x="92" y="112"/>
                  </a:lnTo>
                  <a:lnTo>
                    <a:pt x="97" y="116"/>
                  </a:lnTo>
                  <a:lnTo>
                    <a:pt x="101" y="118"/>
                  </a:lnTo>
                  <a:lnTo>
                    <a:pt x="101" y="118"/>
                  </a:lnTo>
                  <a:lnTo>
                    <a:pt x="104" y="119"/>
                  </a:lnTo>
                  <a:lnTo>
                    <a:pt x="104" y="121"/>
                  </a:lnTo>
                  <a:lnTo>
                    <a:pt x="105" y="125"/>
                  </a:lnTo>
                  <a:lnTo>
                    <a:pt x="105" y="125"/>
                  </a:lnTo>
                  <a:lnTo>
                    <a:pt x="110" y="128"/>
                  </a:lnTo>
                  <a:lnTo>
                    <a:pt x="115" y="132"/>
                  </a:lnTo>
                  <a:lnTo>
                    <a:pt x="121" y="137"/>
                  </a:lnTo>
                  <a:lnTo>
                    <a:pt x="124" y="139"/>
                  </a:lnTo>
                  <a:lnTo>
                    <a:pt x="124" y="139"/>
                  </a:lnTo>
                  <a:lnTo>
                    <a:pt x="124" y="144"/>
                  </a:lnTo>
                  <a:lnTo>
                    <a:pt x="123" y="145"/>
                  </a:lnTo>
                  <a:lnTo>
                    <a:pt x="118" y="150"/>
                  </a:lnTo>
                  <a:lnTo>
                    <a:pt x="118" y="150"/>
                  </a:lnTo>
                  <a:lnTo>
                    <a:pt x="117" y="150"/>
                  </a:lnTo>
                  <a:lnTo>
                    <a:pt x="115" y="150"/>
                  </a:lnTo>
                  <a:lnTo>
                    <a:pt x="115" y="148"/>
                  </a:lnTo>
                  <a:lnTo>
                    <a:pt x="114" y="148"/>
                  </a:lnTo>
                  <a:lnTo>
                    <a:pt x="114" y="148"/>
                  </a:lnTo>
                  <a:lnTo>
                    <a:pt x="113" y="148"/>
                  </a:lnTo>
                  <a:lnTo>
                    <a:pt x="111" y="151"/>
                  </a:lnTo>
                  <a:lnTo>
                    <a:pt x="110" y="154"/>
                  </a:lnTo>
                  <a:lnTo>
                    <a:pt x="108" y="157"/>
                  </a:lnTo>
                  <a:lnTo>
                    <a:pt x="108" y="157"/>
                  </a:lnTo>
                  <a:lnTo>
                    <a:pt x="107" y="157"/>
                  </a:lnTo>
                  <a:lnTo>
                    <a:pt x="107" y="155"/>
                  </a:lnTo>
                  <a:lnTo>
                    <a:pt x="105" y="152"/>
                  </a:lnTo>
                  <a:lnTo>
                    <a:pt x="104" y="145"/>
                  </a:lnTo>
                  <a:lnTo>
                    <a:pt x="104" y="145"/>
                  </a:lnTo>
                  <a:lnTo>
                    <a:pt x="101" y="145"/>
                  </a:lnTo>
                  <a:lnTo>
                    <a:pt x="98" y="148"/>
                  </a:lnTo>
                  <a:lnTo>
                    <a:pt x="94" y="151"/>
                  </a:lnTo>
                  <a:lnTo>
                    <a:pt x="89" y="154"/>
                  </a:lnTo>
                  <a:lnTo>
                    <a:pt x="89" y="154"/>
                  </a:lnTo>
                  <a:lnTo>
                    <a:pt x="88" y="154"/>
                  </a:lnTo>
                  <a:lnTo>
                    <a:pt x="88" y="152"/>
                  </a:lnTo>
                  <a:lnTo>
                    <a:pt x="89" y="150"/>
                  </a:lnTo>
                  <a:lnTo>
                    <a:pt x="95" y="141"/>
                  </a:lnTo>
                  <a:lnTo>
                    <a:pt x="95" y="141"/>
                  </a:lnTo>
                  <a:lnTo>
                    <a:pt x="95" y="139"/>
                  </a:lnTo>
                  <a:lnTo>
                    <a:pt x="95" y="137"/>
                  </a:lnTo>
                  <a:lnTo>
                    <a:pt x="94" y="135"/>
                  </a:lnTo>
                  <a:lnTo>
                    <a:pt x="92" y="135"/>
                  </a:lnTo>
                  <a:lnTo>
                    <a:pt x="92" y="135"/>
                  </a:lnTo>
                  <a:lnTo>
                    <a:pt x="91" y="134"/>
                  </a:lnTo>
                  <a:lnTo>
                    <a:pt x="91" y="132"/>
                  </a:lnTo>
                  <a:lnTo>
                    <a:pt x="89" y="128"/>
                  </a:lnTo>
                  <a:lnTo>
                    <a:pt x="86" y="125"/>
                  </a:lnTo>
                  <a:lnTo>
                    <a:pt x="86" y="125"/>
                  </a:lnTo>
                  <a:lnTo>
                    <a:pt x="76" y="115"/>
                  </a:lnTo>
                  <a:lnTo>
                    <a:pt x="72" y="109"/>
                  </a:lnTo>
                  <a:lnTo>
                    <a:pt x="69" y="103"/>
                  </a:lnTo>
                  <a:lnTo>
                    <a:pt x="69" y="103"/>
                  </a:lnTo>
                  <a:lnTo>
                    <a:pt x="68" y="100"/>
                  </a:lnTo>
                  <a:lnTo>
                    <a:pt x="68" y="96"/>
                  </a:lnTo>
                  <a:lnTo>
                    <a:pt x="71" y="87"/>
                  </a:lnTo>
                  <a:lnTo>
                    <a:pt x="72" y="80"/>
                  </a:lnTo>
                  <a:lnTo>
                    <a:pt x="73" y="74"/>
                  </a:lnTo>
                  <a:lnTo>
                    <a:pt x="73" y="74"/>
                  </a:lnTo>
                  <a:lnTo>
                    <a:pt x="72" y="63"/>
                  </a:lnTo>
                  <a:lnTo>
                    <a:pt x="71" y="55"/>
                  </a:lnTo>
                  <a:lnTo>
                    <a:pt x="69" y="48"/>
                  </a:lnTo>
                  <a:lnTo>
                    <a:pt x="69" y="48"/>
                  </a:lnTo>
                  <a:lnTo>
                    <a:pt x="71" y="44"/>
                  </a:lnTo>
                  <a:lnTo>
                    <a:pt x="72" y="40"/>
                  </a:lnTo>
                  <a:lnTo>
                    <a:pt x="78" y="31"/>
                  </a:lnTo>
                  <a:lnTo>
                    <a:pt x="88" y="18"/>
                  </a:lnTo>
                  <a:lnTo>
                    <a:pt x="88" y="18"/>
                  </a:lnTo>
                  <a:lnTo>
                    <a:pt x="94" y="9"/>
                  </a:lnTo>
                  <a:lnTo>
                    <a:pt x="97" y="5"/>
                  </a:lnTo>
                  <a:lnTo>
                    <a:pt x="97" y="2"/>
                  </a:lnTo>
                  <a:lnTo>
                    <a:pt x="97" y="2"/>
                  </a:lnTo>
                  <a:lnTo>
                    <a:pt x="97" y="0"/>
                  </a:lnTo>
                  <a:lnTo>
                    <a:pt x="95" y="0"/>
                  </a:lnTo>
                  <a:lnTo>
                    <a:pt x="92" y="2"/>
                  </a:lnTo>
                  <a:lnTo>
                    <a:pt x="92" y="2"/>
                  </a:lnTo>
                  <a:lnTo>
                    <a:pt x="86" y="3"/>
                  </a:lnTo>
                  <a:lnTo>
                    <a:pt x="75" y="3"/>
                  </a:lnTo>
                  <a:lnTo>
                    <a:pt x="58" y="3"/>
                  </a:lnTo>
                  <a:lnTo>
                    <a:pt x="58" y="3"/>
                  </a:lnTo>
                  <a:lnTo>
                    <a:pt x="44" y="9"/>
                  </a:lnTo>
                  <a:lnTo>
                    <a:pt x="33" y="15"/>
                  </a:lnTo>
                  <a:lnTo>
                    <a:pt x="33" y="15"/>
                  </a:lnTo>
                  <a:lnTo>
                    <a:pt x="29" y="19"/>
                  </a:lnTo>
                  <a:lnTo>
                    <a:pt x="24" y="25"/>
                  </a:lnTo>
                  <a:lnTo>
                    <a:pt x="24" y="25"/>
                  </a:lnTo>
                  <a:lnTo>
                    <a:pt x="17" y="32"/>
                  </a:lnTo>
                  <a:lnTo>
                    <a:pt x="11" y="38"/>
                  </a:lnTo>
                  <a:lnTo>
                    <a:pt x="11" y="38"/>
                  </a:lnTo>
                  <a:lnTo>
                    <a:pt x="10" y="40"/>
                  </a:lnTo>
                  <a:lnTo>
                    <a:pt x="10" y="41"/>
                  </a:lnTo>
                  <a:lnTo>
                    <a:pt x="11" y="48"/>
                  </a:lnTo>
                  <a:lnTo>
                    <a:pt x="13" y="61"/>
                  </a:lnTo>
                  <a:lnTo>
                    <a:pt x="13" y="61"/>
                  </a:lnTo>
                  <a:lnTo>
                    <a:pt x="11" y="68"/>
                  </a:lnTo>
                  <a:lnTo>
                    <a:pt x="8" y="79"/>
                  </a:lnTo>
                  <a:lnTo>
                    <a:pt x="5" y="89"/>
                  </a:lnTo>
                  <a:lnTo>
                    <a:pt x="1" y="95"/>
                  </a:lnTo>
                  <a:lnTo>
                    <a:pt x="1" y="95"/>
                  </a:lnTo>
                  <a:lnTo>
                    <a:pt x="0" y="100"/>
                  </a:lnTo>
                  <a:lnTo>
                    <a:pt x="1" y="106"/>
                  </a:lnTo>
                  <a:lnTo>
                    <a:pt x="4" y="112"/>
                  </a:lnTo>
                  <a:lnTo>
                    <a:pt x="8" y="118"/>
                  </a:lnTo>
                  <a:lnTo>
                    <a:pt x="8" y="118"/>
                  </a:lnTo>
                  <a:lnTo>
                    <a:pt x="13" y="122"/>
                  </a:lnTo>
                  <a:lnTo>
                    <a:pt x="13" y="124"/>
                  </a:lnTo>
                  <a:lnTo>
                    <a:pt x="13" y="126"/>
                  </a:lnTo>
                  <a:lnTo>
                    <a:pt x="13" y="126"/>
                  </a:lnTo>
                  <a:lnTo>
                    <a:pt x="13" y="129"/>
                  </a:lnTo>
                  <a:lnTo>
                    <a:pt x="14" y="134"/>
                  </a:lnTo>
                  <a:lnTo>
                    <a:pt x="18" y="142"/>
                  </a:lnTo>
                  <a:lnTo>
                    <a:pt x="18" y="142"/>
                  </a:lnTo>
                  <a:lnTo>
                    <a:pt x="20" y="145"/>
                  </a:lnTo>
                  <a:lnTo>
                    <a:pt x="23" y="145"/>
                  </a:lnTo>
                  <a:lnTo>
                    <a:pt x="31" y="148"/>
                  </a:lnTo>
                  <a:lnTo>
                    <a:pt x="31" y="148"/>
                  </a:lnTo>
                  <a:lnTo>
                    <a:pt x="37" y="151"/>
                  </a:lnTo>
                  <a:lnTo>
                    <a:pt x="42" y="154"/>
                  </a:lnTo>
                  <a:lnTo>
                    <a:pt x="46" y="160"/>
                  </a:lnTo>
                  <a:lnTo>
                    <a:pt x="46" y="160"/>
                  </a:lnTo>
                  <a:lnTo>
                    <a:pt x="46" y="161"/>
                  </a:lnTo>
                  <a:lnTo>
                    <a:pt x="44" y="161"/>
                  </a:lnTo>
                  <a:lnTo>
                    <a:pt x="40" y="160"/>
                  </a:lnTo>
                  <a:lnTo>
                    <a:pt x="30" y="158"/>
                  </a:lnTo>
                  <a:lnTo>
                    <a:pt x="30" y="158"/>
                  </a:lnTo>
                  <a:lnTo>
                    <a:pt x="30" y="158"/>
                  </a:lnTo>
                  <a:lnTo>
                    <a:pt x="30" y="160"/>
                  </a:lnTo>
                  <a:lnTo>
                    <a:pt x="31" y="163"/>
                  </a:lnTo>
                  <a:lnTo>
                    <a:pt x="37" y="171"/>
                  </a:lnTo>
                  <a:lnTo>
                    <a:pt x="37" y="171"/>
                  </a:lnTo>
                  <a:lnTo>
                    <a:pt x="40" y="174"/>
                  </a:lnTo>
                  <a:lnTo>
                    <a:pt x="43" y="176"/>
                  </a:lnTo>
                  <a:lnTo>
                    <a:pt x="44" y="174"/>
                  </a:lnTo>
                  <a:lnTo>
                    <a:pt x="49" y="176"/>
                  </a:lnTo>
                  <a:lnTo>
                    <a:pt x="49" y="176"/>
                  </a:lnTo>
                  <a:lnTo>
                    <a:pt x="53" y="177"/>
                  </a:lnTo>
                  <a:lnTo>
                    <a:pt x="55" y="180"/>
                  </a:lnTo>
                  <a:lnTo>
                    <a:pt x="58" y="186"/>
                  </a:lnTo>
                  <a:lnTo>
                    <a:pt x="58" y="186"/>
                  </a:lnTo>
                  <a:lnTo>
                    <a:pt x="58" y="186"/>
                  </a:lnTo>
                  <a:lnTo>
                    <a:pt x="56" y="186"/>
                  </a:lnTo>
                  <a:lnTo>
                    <a:pt x="52" y="184"/>
                  </a:lnTo>
                  <a:lnTo>
                    <a:pt x="47" y="183"/>
                  </a:lnTo>
                  <a:lnTo>
                    <a:pt x="46" y="183"/>
                  </a:lnTo>
                  <a:lnTo>
                    <a:pt x="47" y="183"/>
                  </a:lnTo>
                  <a:lnTo>
                    <a:pt x="47" y="183"/>
                  </a:lnTo>
                  <a:lnTo>
                    <a:pt x="53" y="190"/>
                  </a:lnTo>
                  <a:lnTo>
                    <a:pt x="59" y="196"/>
                  </a:lnTo>
                  <a:lnTo>
                    <a:pt x="59" y="196"/>
                  </a:lnTo>
                  <a:lnTo>
                    <a:pt x="62" y="197"/>
                  </a:lnTo>
                  <a:lnTo>
                    <a:pt x="63" y="196"/>
                  </a:lnTo>
                  <a:lnTo>
                    <a:pt x="66" y="193"/>
                  </a:lnTo>
                  <a:lnTo>
                    <a:pt x="66" y="193"/>
                  </a:lnTo>
                  <a:lnTo>
                    <a:pt x="69" y="194"/>
                  </a:lnTo>
                  <a:lnTo>
                    <a:pt x="72" y="197"/>
                  </a:lnTo>
                  <a:lnTo>
                    <a:pt x="76" y="200"/>
                  </a:lnTo>
                  <a:lnTo>
                    <a:pt x="76" y="200"/>
                  </a:lnTo>
                  <a:lnTo>
                    <a:pt x="81" y="199"/>
                  </a:lnTo>
                  <a:lnTo>
                    <a:pt x="85" y="197"/>
                  </a:lnTo>
                  <a:lnTo>
                    <a:pt x="85" y="197"/>
                  </a:lnTo>
                  <a:lnTo>
                    <a:pt x="88" y="199"/>
                  </a:lnTo>
                  <a:lnTo>
                    <a:pt x="89" y="202"/>
                  </a:lnTo>
                  <a:lnTo>
                    <a:pt x="92" y="205"/>
                  </a:lnTo>
                  <a:lnTo>
                    <a:pt x="95" y="208"/>
                  </a:lnTo>
                  <a:lnTo>
                    <a:pt x="95" y="208"/>
                  </a:lnTo>
                  <a:lnTo>
                    <a:pt x="101" y="209"/>
                  </a:lnTo>
                  <a:lnTo>
                    <a:pt x="108" y="209"/>
                  </a:lnTo>
                  <a:lnTo>
                    <a:pt x="121" y="210"/>
                  </a:lnTo>
                  <a:lnTo>
                    <a:pt x="121" y="210"/>
                  </a:lnTo>
                  <a:lnTo>
                    <a:pt x="127" y="212"/>
                  </a:lnTo>
                  <a:lnTo>
                    <a:pt x="130" y="213"/>
                  </a:lnTo>
                  <a:lnTo>
                    <a:pt x="130" y="213"/>
                  </a:lnTo>
                  <a:lnTo>
                    <a:pt x="133" y="212"/>
                  </a:lnTo>
                  <a:lnTo>
                    <a:pt x="136" y="209"/>
                  </a:lnTo>
                  <a:lnTo>
                    <a:pt x="136" y="209"/>
                  </a:lnTo>
                  <a:lnTo>
                    <a:pt x="137" y="209"/>
                  </a:lnTo>
                  <a:lnTo>
                    <a:pt x="139" y="210"/>
                  </a:lnTo>
                  <a:lnTo>
                    <a:pt x="139" y="212"/>
                  </a:lnTo>
                  <a:lnTo>
                    <a:pt x="140" y="212"/>
                  </a:lnTo>
                  <a:lnTo>
                    <a:pt x="140" y="212"/>
                  </a:lnTo>
                  <a:lnTo>
                    <a:pt x="152" y="210"/>
                  </a:lnTo>
                  <a:lnTo>
                    <a:pt x="168" y="208"/>
                  </a:lnTo>
                  <a:lnTo>
                    <a:pt x="168" y="208"/>
                  </a:lnTo>
                  <a:lnTo>
                    <a:pt x="185" y="205"/>
                  </a:lnTo>
                  <a:lnTo>
                    <a:pt x="185" y="205"/>
                  </a:lnTo>
                  <a:lnTo>
                    <a:pt x="189" y="206"/>
                  </a:lnTo>
                  <a:lnTo>
                    <a:pt x="192" y="210"/>
                  </a:lnTo>
                  <a:lnTo>
                    <a:pt x="197" y="216"/>
                  </a:lnTo>
                  <a:lnTo>
                    <a:pt x="201" y="221"/>
                  </a:lnTo>
                  <a:lnTo>
                    <a:pt x="201" y="221"/>
                  </a:lnTo>
                  <a:lnTo>
                    <a:pt x="202" y="221"/>
                  </a:lnTo>
                  <a:lnTo>
                    <a:pt x="204" y="221"/>
                  </a:lnTo>
                  <a:lnTo>
                    <a:pt x="204" y="215"/>
                  </a:lnTo>
                  <a:lnTo>
                    <a:pt x="204" y="215"/>
                  </a:lnTo>
                  <a:lnTo>
                    <a:pt x="205" y="212"/>
                  </a:lnTo>
                  <a:lnTo>
                    <a:pt x="207" y="210"/>
                  </a:lnTo>
                  <a:lnTo>
                    <a:pt x="210" y="209"/>
                  </a:lnTo>
                  <a:lnTo>
                    <a:pt x="213" y="209"/>
                  </a:lnTo>
                  <a:lnTo>
                    <a:pt x="213" y="209"/>
                  </a:lnTo>
                  <a:lnTo>
                    <a:pt x="214" y="209"/>
                  </a:lnTo>
                  <a:lnTo>
                    <a:pt x="214" y="212"/>
                  </a:lnTo>
                  <a:lnTo>
                    <a:pt x="213" y="216"/>
                  </a:lnTo>
                  <a:lnTo>
                    <a:pt x="213" y="216"/>
                  </a:lnTo>
                  <a:lnTo>
                    <a:pt x="213" y="219"/>
                  </a:lnTo>
                  <a:lnTo>
                    <a:pt x="213" y="223"/>
                  </a:lnTo>
                  <a:lnTo>
                    <a:pt x="214" y="228"/>
                  </a:lnTo>
                  <a:lnTo>
                    <a:pt x="217" y="232"/>
                  </a:lnTo>
                  <a:lnTo>
                    <a:pt x="217" y="232"/>
                  </a:lnTo>
                  <a:lnTo>
                    <a:pt x="220" y="235"/>
                  </a:lnTo>
                  <a:lnTo>
                    <a:pt x="223" y="236"/>
                  </a:lnTo>
                  <a:lnTo>
                    <a:pt x="231" y="241"/>
                  </a:lnTo>
                  <a:lnTo>
                    <a:pt x="231" y="241"/>
                  </a:lnTo>
                  <a:lnTo>
                    <a:pt x="236" y="244"/>
                  </a:lnTo>
                  <a:lnTo>
                    <a:pt x="240" y="245"/>
                  </a:lnTo>
                  <a:lnTo>
                    <a:pt x="249" y="245"/>
                  </a:lnTo>
                  <a:lnTo>
                    <a:pt x="249" y="245"/>
                  </a:lnTo>
                  <a:lnTo>
                    <a:pt x="253" y="247"/>
                  </a:lnTo>
                  <a:lnTo>
                    <a:pt x="256" y="248"/>
                  </a:lnTo>
                  <a:lnTo>
                    <a:pt x="257" y="251"/>
                  </a:lnTo>
                  <a:lnTo>
                    <a:pt x="256" y="252"/>
                  </a:lnTo>
                  <a:lnTo>
                    <a:pt x="256" y="252"/>
                  </a:lnTo>
                  <a:lnTo>
                    <a:pt x="253" y="257"/>
                  </a:lnTo>
                  <a:lnTo>
                    <a:pt x="253" y="263"/>
                  </a:lnTo>
                  <a:lnTo>
                    <a:pt x="255" y="268"/>
                  </a:lnTo>
                  <a:lnTo>
                    <a:pt x="256" y="273"/>
                  </a:lnTo>
                  <a:lnTo>
                    <a:pt x="256" y="273"/>
                  </a:lnTo>
                  <a:lnTo>
                    <a:pt x="259" y="280"/>
                  </a:lnTo>
                  <a:lnTo>
                    <a:pt x="260" y="283"/>
                  </a:lnTo>
                  <a:lnTo>
                    <a:pt x="263" y="284"/>
                  </a:lnTo>
                  <a:lnTo>
                    <a:pt x="263" y="284"/>
                  </a:lnTo>
                  <a:lnTo>
                    <a:pt x="266" y="286"/>
                  </a:lnTo>
                  <a:lnTo>
                    <a:pt x="268" y="287"/>
                  </a:lnTo>
                  <a:lnTo>
                    <a:pt x="268" y="297"/>
                  </a:lnTo>
                  <a:lnTo>
                    <a:pt x="268" y="297"/>
                  </a:lnTo>
                  <a:lnTo>
                    <a:pt x="269" y="305"/>
                  </a:lnTo>
                  <a:lnTo>
                    <a:pt x="272" y="310"/>
                  </a:lnTo>
                  <a:lnTo>
                    <a:pt x="276" y="315"/>
                  </a:lnTo>
                  <a:lnTo>
                    <a:pt x="278" y="321"/>
                  </a:lnTo>
                  <a:lnTo>
                    <a:pt x="278" y="321"/>
                  </a:lnTo>
                  <a:lnTo>
                    <a:pt x="276" y="323"/>
                  </a:lnTo>
                  <a:lnTo>
                    <a:pt x="275" y="325"/>
                  </a:lnTo>
                  <a:lnTo>
                    <a:pt x="270" y="326"/>
                  </a:lnTo>
                  <a:lnTo>
                    <a:pt x="270" y="326"/>
                  </a:lnTo>
                  <a:lnTo>
                    <a:pt x="270" y="329"/>
                  </a:lnTo>
                  <a:lnTo>
                    <a:pt x="272" y="332"/>
                  </a:lnTo>
                  <a:lnTo>
                    <a:pt x="276" y="336"/>
                  </a:lnTo>
                  <a:lnTo>
                    <a:pt x="276" y="336"/>
                  </a:lnTo>
                  <a:lnTo>
                    <a:pt x="276" y="338"/>
                  </a:lnTo>
                  <a:lnTo>
                    <a:pt x="276" y="338"/>
                  </a:lnTo>
                  <a:lnTo>
                    <a:pt x="272" y="339"/>
                  </a:lnTo>
                  <a:lnTo>
                    <a:pt x="263" y="342"/>
                  </a:lnTo>
                  <a:lnTo>
                    <a:pt x="263" y="342"/>
                  </a:lnTo>
                  <a:lnTo>
                    <a:pt x="259" y="345"/>
                  </a:lnTo>
                  <a:lnTo>
                    <a:pt x="255" y="349"/>
                  </a:lnTo>
                  <a:lnTo>
                    <a:pt x="252" y="355"/>
                  </a:lnTo>
                  <a:lnTo>
                    <a:pt x="249" y="360"/>
                  </a:lnTo>
                  <a:lnTo>
                    <a:pt x="249" y="360"/>
                  </a:lnTo>
                  <a:lnTo>
                    <a:pt x="250" y="365"/>
                  </a:lnTo>
                  <a:lnTo>
                    <a:pt x="253" y="371"/>
                  </a:lnTo>
                  <a:lnTo>
                    <a:pt x="260" y="381"/>
                  </a:lnTo>
                  <a:lnTo>
                    <a:pt x="260" y="381"/>
                  </a:lnTo>
                  <a:lnTo>
                    <a:pt x="260" y="386"/>
                  </a:lnTo>
                  <a:lnTo>
                    <a:pt x="257" y="389"/>
                  </a:lnTo>
                  <a:lnTo>
                    <a:pt x="250" y="393"/>
                  </a:lnTo>
                  <a:lnTo>
                    <a:pt x="250" y="393"/>
                  </a:lnTo>
                  <a:lnTo>
                    <a:pt x="247" y="393"/>
                  </a:lnTo>
                  <a:lnTo>
                    <a:pt x="246" y="393"/>
                  </a:lnTo>
                  <a:lnTo>
                    <a:pt x="241" y="391"/>
                  </a:lnTo>
                  <a:lnTo>
                    <a:pt x="241" y="391"/>
                  </a:lnTo>
                  <a:lnTo>
                    <a:pt x="237" y="391"/>
                  </a:lnTo>
                  <a:lnTo>
                    <a:pt x="230" y="393"/>
                  </a:lnTo>
                  <a:lnTo>
                    <a:pt x="230" y="393"/>
                  </a:lnTo>
                  <a:lnTo>
                    <a:pt x="227" y="393"/>
                  </a:lnTo>
                  <a:lnTo>
                    <a:pt x="223" y="391"/>
                  </a:lnTo>
                  <a:lnTo>
                    <a:pt x="218" y="387"/>
                  </a:lnTo>
                  <a:lnTo>
                    <a:pt x="218" y="387"/>
                  </a:lnTo>
                  <a:lnTo>
                    <a:pt x="215" y="387"/>
                  </a:lnTo>
                  <a:lnTo>
                    <a:pt x="210" y="387"/>
                  </a:lnTo>
                  <a:lnTo>
                    <a:pt x="204" y="387"/>
                  </a:lnTo>
                  <a:lnTo>
                    <a:pt x="201" y="389"/>
                  </a:lnTo>
                  <a:lnTo>
                    <a:pt x="201" y="389"/>
                  </a:lnTo>
                  <a:lnTo>
                    <a:pt x="194" y="394"/>
                  </a:lnTo>
                  <a:lnTo>
                    <a:pt x="194" y="394"/>
                  </a:lnTo>
                  <a:lnTo>
                    <a:pt x="192" y="397"/>
                  </a:lnTo>
                  <a:lnTo>
                    <a:pt x="194" y="399"/>
                  </a:lnTo>
                  <a:lnTo>
                    <a:pt x="198" y="402"/>
                  </a:lnTo>
                  <a:lnTo>
                    <a:pt x="198" y="402"/>
                  </a:lnTo>
                  <a:lnTo>
                    <a:pt x="199" y="405"/>
                  </a:lnTo>
                  <a:lnTo>
                    <a:pt x="199" y="409"/>
                  </a:lnTo>
                  <a:lnTo>
                    <a:pt x="198" y="418"/>
                  </a:lnTo>
                  <a:lnTo>
                    <a:pt x="198" y="418"/>
                  </a:lnTo>
                  <a:lnTo>
                    <a:pt x="195" y="420"/>
                  </a:lnTo>
                  <a:lnTo>
                    <a:pt x="192" y="422"/>
                  </a:lnTo>
                  <a:lnTo>
                    <a:pt x="189" y="425"/>
                  </a:lnTo>
                  <a:lnTo>
                    <a:pt x="188" y="428"/>
                  </a:lnTo>
                  <a:lnTo>
                    <a:pt x="188" y="428"/>
                  </a:lnTo>
                  <a:lnTo>
                    <a:pt x="188" y="432"/>
                  </a:lnTo>
                  <a:lnTo>
                    <a:pt x="191" y="439"/>
                  </a:lnTo>
                  <a:lnTo>
                    <a:pt x="198" y="449"/>
                  </a:lnTo>
                  <a:lnTo>
                    <a:pt x="198" y="449"/>
                  </a:lnTo>
                  <a:lnTo>
                    <a:pt x="201" y="451"/>
                  </a:lnTo>
                  <a:lnTo>
                    <a:pt x="207" y="452"/>
                  </a:lnTo>
                  <a:lnTo>
                    <a:pt x="211" y="452"/>
                  </a:lnTo>
                  <a:lnTo>
                    <a:pt x="217" y="452"/>
                  </a:lnTo>
                  <a:lnTo>
                    <a:pt x="217" y="452"/>
                  </a:lnTo>
                  <a:lnTo>
                    <a:pt x="228" y="447"/>
                  </a:lnTo>
                  <a:lnTo>
                    <a:pt x="236" y="442"/>
                  </a:lnTo>
                  <a:lnTo>
                    <a:pt x="240" y="442"/>
                  </a:lnTo>
                  <a:lnTo>
                    <a:pt x="240" y="442"/>
                  </a:lnTo>
                  <a:lnTo>
                    <a:pt x="247" y="444"/>
                  </a:lnTo>
                  <a:lnTo>
                    <a:pt x="255" y="447"/>
                  </a:lnTo>
                  <a:lnTo>
                    <a:pt x="255" y="447"/>
                  </a:lnTo>
                  <a:lnTo>
                    <a:pt x="260" y="448"/>
                  </a:lnTo>
                  <a:lnTo>
                    <a:pt x="260" y="447"/>
                  </a:lnTo>
                  <a:lnTo>
                    <a:pt x="262" y="445"/>
                  </a:lnTo>
                  <a:lnTo>
                    <a:pt x="262" y="445"/>
                  </a:lnTo>
                  <a:lnTo>
                    <a:pt x="262" y="444"/>
                  </a:lnTo>
                  <a:lnTo>
                    <a:pt x="263" y="444"/>
                  </a:lnTo>
                  <a:lnTo>
                    <a:pt x="268" y="447"/>
                  </a:lnTo>
                  <a:lnTo>
                    <a:pt x="275" y="452"/>
                  </a:lnTo>
                  <a:lnTo>
                    <a:pt x="275" y="452"/>
                  </a:lnTo>
                  <a:lnTo>
                    <a:pt x="276" y="455"/>
                  </a:lnTo>
                  <a:lnTo>
                    <a:pt x="276" y="460"/>
                  </a:lnTo>
                  <a:lnTo>
                    <a:pt x="276" y="462"/>
                  </a:lnTo>
                  <a:lnTo>
                    <a:pt x="276" y="465"/>
                  </a:lnTo>
                  <a:lnTo>
                    <a:pt x="276" y="465"/>
                  </a:lnTo>
                  <a:lnTo>
                    <a:pt x="279" y="468"/>
                  </a:lnTo>
                  <a:lnTo>
                    <a:pt x="282" y="468"/>
                  </a:lnTo>
                  <a:lnTo>
                    <a:pt x="288" y="468"/>
                  </a:lnTo>
                  <a:lnTo>
                    <a:pt x="288" y="468"/>
                  </a:lnTo>
                  <a:lnTo>
                    <a:pt x="292" y="468"/>
                  </a:lnTo>
                  <a:lnTo>
                    <a:pt x="294" y="470"/>
                  </a:lnTo>
                  <a:lnTo>
                    <a:pt x="299" y="474"/>
                  </a:lnTo>
                  <a:lnTo>
                    <a:pt x="299" y="474"/>
                  </a:lnTo>
                  <a:lnTo>
                    <a:pt x="299" y="474"/>
                  </a:lnTo>
                  <a:lnTo>
                    <a:pt x="299" y="475"/>
                  </a:lnTo>
                  <a:lnTo>
                    <a:pt x="297" y="477"/>
                  </a:lnTo>
                  <a:lnTo>
                    <a:pt x="294" y="478"/>
                  </a:lnTo>
                  <a:lnTo>
                    <a:pt x="291" y="481"/>
                  </a:lnTo>
                  <a:lnTo>
                    <a:pt x="291" y="481"/>
                  </a:lnTo>
                  <a:lnTo>
                    <a:pt x="289" y="484"/>
                  </a:lnTo>
                  <a:lnTo>
                    <a:pt x="292" y="487"/>
                  </a:lnTo>
                  <a:lnTo>
                    <a:pt x="299" y="491"/>
                  </a:lnTo>
                  <a:lnTo>
                    <a:pt x="299" y="491"/>
                  </a:lnTo>
                  <a:lnTo>
                    <a:pt x="304" y="493"/>
                  </a:lnTo>
                  <a:lnTo>
                    <a:pt x="305" y="496"/>
                  </a:lnTo>
                  <a:lnTo>
                    <a:pt x="305" y="499"/>
                  </a:lnTo>
                  <a:lnTo>
                    <a:pt x="307" y="500"/>
                  </a:lnTo>
                  <a:lnTo>
                    <a:pt x="307" y="500"/>
                  </a:lnTo>
                  <a:lnTo>
                    <a:pt x="312" y="506"/>
                  </a:lnTo>
                  <a:lnTo>
                    <a:pt x="315" y="507"/>
                  </a:lnTo>
                  <a:lnTo>
                    <a:pt x="318" y="507"/>
                  </a:lnTo>
                  <a:lnTo>
                    <a:pt x="318" y="507"/>
                  </a:lnTo>
                  <a:lnTo>
                    <a:pt x="320" y="507"/>
                  </a:lnTo>
                  <a:lnTo>
                    <a:pt x="318" y="504"/>
                  </a:lnTo>
                  <a:lnTo>
                    <a:pt x="317" y="502"/>
                  </a:lnTo>
                  <a:lnTo>
                    <a:pt x="317" y="502"/>
                  </a:lnTo>
                  <a:lnTo>
                    <a:pt x="317" y="502"/>
                  </a:lnTo>
                  <a:lnTo>
                    <a:pt x="321" y="503"/>
                  </a:lnTo>
                  <a:lnTo>
                    <a:pt x="330" y="509"/>
                  </a:lnTo>
                  <a:lnTo>
                    <a:pt x="330" y="509"/>
                  </a:lnTo>
                  <a:lnTo>
                    <a:pt x="336" y="512"/>
                  </a:lnTo>
                  <a:lnTo>
                    <a:pt x="337" y="515"/>
                  </a:lnTo>
                  <a:lnTo>
                    <a:pt x="337" y="515"/>
                  </a:lnTo>
                  <a:lnTo>
                    <a:pt x="340" y="516"/>
                  </a:lnTo>
                  <a:lnTo>
                    <a:pt x="347" y="517"/>
                  </a:lnTo>
                  <a:lnTo>
                    <a:pt x="357" y="519"/>
                  </a:lnTo>
                  <a:lnTo>
                    <a:pt x="357" y="519"/>
                  </a:lnTo>
                  <a:lnTo>
                    <a:pt x="362" y="520"/>
                  </a:lnTo>
                  <a:lnTo>
                    <a:pt x="367" y="528"/>
                  </a:lnTo>
                  <a:lnTo>
                    <a:pt x="375" y="533"/>
                  </a:lnTo>
                  <a:lnTo>
                    <a:pt x="381" y="538"/>
                  </a:lnTo>
                  <a:lnTo>
                    <a:pt x="381" y="538"/>
                  </a:lnTo>
                  <a:lnTo>
                    <a:pt x="383" y="538"/>
                  </a:lnTo>
                  <a:lnTo>
                    <a:pt x="385" y="538"/>
                  </a:lnTo>
                  <a:lnTo>
                    <a:pt x="388" y="535"/>
                  </a:lnTo>
                  <a:lnTo>
                    <a:pt x="391" y="528"/>
                  </a:lnTo>
                  <a:lnTo>
                    <a:pt x="391" y="528"/>
                  </a:lnTo>
                  <a:lnTo>
                    <a:pt x="391" y="525"/>
                  </a:lnTo>
                  <a:lnTo>
                    <a:pt x="389" y="523"/>
                  </a:lnTo>
                  <a:lnTo>
                    <a:pt x="388" y="517"/>
                  </a:lnTo>
                  <a:lnTo>
                    <a:pt x="388" y="517"/>
                  </a:lnTo>
                  <a:lnTo>
                    <a:pt x="388" y="515"/>
                  </a:lnTo>
                  <a:lnTo>
                    <a:pt x="385" y="510"/>
                  </a:lnTo>
                  <a:lnTo>
                    <a:pt x="382" y="507"/>
                  </a:lnTo>
                  <a:lnTo>
                    <a:pt x="379" y="506"/>
                  </a:lnTo>
                  <a:lnTo>
                    <a:pt x="379" y="506"/>
                  </a:lnTo>
                  <a:lnTo>
                    <a:pt x="376" y="504"/>
                  </a:lnTo>
                  <a:lnTo>
                    <a:pt x="372" y="500"/>
                  </a:lnTo>
                  <a:lnTo>
                    <a:pt x="363" y="493"/>
                  </a:lnTo>
                  <a:lnTo>
                    <a:pt x="363" y="493"/>
                  </a:lnTo>
                  <a:lnTo>
                    <a:pt x="360" y="489"/>
                  </a:lnTo>
                  <a:lnTo>
                    <a:pt x="360" y="487"/>
                  </a:lnTo>
                  <a:lnTo>
                    <a:pt x="360" y="486"/>
                  </a:lnTo>
                  <a:lnTo>
                    <a:pt x="362" y="484"/>
                  </a:lnTo>
                  <a:lnTo>
                    <a:pt x="362" y="484"/>
                  </a:lnTo>
                  <a:lnTo>
                    <a:pt x="360" y="483"/>
                  </a:lnTo>
                  <a:lnTo>
                    <a:pt x="359" y="483"/>
                  </a:lnTo>
                  <a:lnTo>
                    <a:pt x="356" y="483"/>
                  </a:lnTo>
                  <a:lnTo>
                    <a:pt x="356" y="483"/>
                  </a:lnTo>
                  <a:lnTo>
                    <a:pt x="354" y="484"/>
                  </a:lnTo>
                  <a:lnTo>
                    <a:pt x="352" y="483"/>
                  </a:lnTo>
                  <a:lnTo>
                    <a:pt x="349" y="478"/>
                  </a:lnTo>
                  <a:lnTo>
                    <a:pt x="349" y="478"/>
                  </a:lnTo>
                  <a:lnTo>
                    <a:pt x="344" y="470"/>
                  </a:lnTo>
                  <a:lnTo>
                    <a:pt x="341" y="465"/>
                  </a:lnTo>
                  <a:lnTo>
                    <a:pt x="341" y="465"/>
                  </a:lnTo>
                  <a:lnTo>
                    <a:pt x="341" y="465"/>
                  </a:lnTo>
                  <a:lnTo>
                    <a:pt x="343" y="465"/>
                  </a:lnTo>
                  <a:lnTo>
                    <a:pt x="346" y="467"/>
                  </a:lnTo>
                  <a:lnTo>
                    <a:pt x="346" y="467"/>
                  </a:lnTo>
                  <a:lnTo>
                    <a:pt x="347" y="467"/>
                  </a:lnTo>
                  <a:lnTo>
                    <a:pt x="349" y="464"/>
                  </a:lnTo>
                  <a:lnTo>
                    <a:pt x="349" y="464"/>
                  </a:lnTo>
                  <a:lnTo>
                    <a:pt x="350" y="465"/>
                  </a:lnTo>
                  <a:lnTo>
                    <a:pt x="353" y="468"/>
                  </a:lnTo>
                  <a:lnTo>
                    <a:pt x="360" y="475"/>
                  </a:lnTo>
                  <a:lnTo>
                    <a:pt x="360" y="475"/>
                  </a:lnTo>
                  <a:lnTo>
                    <a:pt x="362" y="477"/>
                  </a:lnTo>
                  <a:lnTo>
                    <a:pt x="363" y="477"/>
                  </a:lnTo>
                  <a:lnTo>
                    <a:pt x="365" y="474"/>
                  </a:lnTo>
                  <a:lnTo>
                    <a:pt x="365" y="474"/>
                  </a:lnTo>
                  <a:lnTo>
                    <a:pt x="366" y="474"/>
                  </a:lnTo>
                  <a:lnTo>
                    <a:pt x="367" y="477"/>
                  </a:lnTo>
                  <a:lnTo>
                    <a:pt x="373" y="484"/>
                  </a:lnTo>
                  <a:lnTo>
                    <a:pt x="373" y="484"/>
                  </a:lnTo>
                  <a:lnTo>
                    <a:pt x="381" y="490"/>
                  </a:lnTo>
                  <a:lnTo>
                    <a:pt x="386" y="494"/>
                  </a:lnTo>
                  <a:lnTo>
                    <a:pt x="386" y="494"/>
                  </a:lnTo>
                  <a:lnTo>
                    <a:pt x="388" y="497"/>
                  </a:lnTo>
                  <a:lnTo>
                    <a:pt x="392" y="499"/>
                  </a:lnTo>
                  <a:lnTo>
                    <a:pt x="399" y="502"/>
                  </a:lnTo>
                  <a:lnTo>
                    <a:pt x="399" y="502"/>
                  </a:lnTo>
                  <a:lnTo>
                    <a:pt x="401" y="504"/>
                  </a:lnTo>
                  <a:lnTo>
                    <a:pt x="401" y="506"/>
                  </a:lnTo>
                  <a:lnTo>
                    <a:pt x="398" y="512"/>
                  </a:lnTo>
                  <a:lnTo>
                    <a:pt x="398" y="512"/>
                  </a:lnTo>
                  <a:lnTo>
                    <a:pt x="399" y="515"/>
                  </a:lnTo>
                  <a:lnTo>
                    <a:pt x="401" y="515"/>
                  </a:lnTo>
                  <a:lnTo>
                    <a:pt x="404" y="515"/>
                  </a:lnTo>
                  <a:lnTo>
                    <a:pt x="404" y="515"/>
                  </a:lnTo>
                  <a:lnTo>
                    <a:pt x="407" y="516"/>
                  </a:lnTo>
                  <a:lnTo>
                    <a:pt x="411" y="519"/>
                  </a:lnTo>
                  <a:lnTo>
                    <a:pt x="411" y="519"/>
                  </a:lnTo>
                  <a:lnTo>
                    <a:pt x="411" y="519"/>
                  </a:lnTo>
                  <a:lnTo>
                    <a:pt x="412" y="519"/>
                  </a:lnTo>
                  <a:lnTo>
                    <a:pt x="414" y="516"/>
                  </a:lnTo>
                  <a:lnTo>
                    <a:pt x="417" y="510"/>
                  </a:lnTo>
                  <a:lnTo>
                    <a:pt x="417" y="510"/>
                  </a:lnTo>
                  <a:lnTo>
                    <a:pt x="415" y="509"/>
                  </a:lnTo>
                  <a:lnTo>
                    <a:pt x="412" y="507"/>
                  </a:lnTo>
                  <a:lnTo>
                    <a:pt x="409" y="507"/>
                  </a:lnTo>
                  <a:lnTo>
                    <a:pt x="408" y="506"/>
                  </a:lnTo>
                  <a:lnTo>
                    <a:pt x="408" y="506"/>
                  </a:lnTo>
                  <a:lnTo>
                    <a:pt x="408" y="500"/>
                  </a:lnTo>
                  <a:lnTo>
                    <a:pt x="409" y="494"/>
                  </a:lnTo>
                  <a:lnTo>
                    <a:pt x="409" y="494"/>
                  </a:lnTo>
                  <a:lnTo>
                    <a:pt x="409" y="489"/>
                  </a:lnTo>
                  <a:lnTo>
                    <a:pt x="408" y="484"/>
                  </a:lnTo>
                  <a:lnTo>
                    <a:pt x="408" y="484"/>
                  </a:lnTo>
                  <a:lnTo>
                    <a:pt x="408" y="483"/>
                  </a:lnTo>
                  <a:lnTo>
                    <a:pt x="409" y="484"/>
                  </a:lnTo>
                  <a:lnTo>
                    <a:pt x="412" y="486"/>
                  </a:lnTo>
                  <a:lnTo>
                    <a:pt x="412" y="486"/>
                  </a:lnTo>
                  <a:lnTo>
                    <a:pt x="414" y="487"/>
                  </a:lnTo>
                  <a:lnTo>
                    <a:pt x="415" y="486"/>
                  </a:lnTo>
                  <a:lnTo>
                    <a:pt x="420" y="484"/>
                  </a:lnTo>
                  <a:lnTo>
                    <a:pt x="420" y="484"/>
                  </a:lnTo>
                  <a:lnTo>
                    <a:pt x="421" y="484"/>
                  </a:lnTo>
                  <a:lnTo>
                    <a:pt x="421" y="484"/>
                  </a:lnTo>
                  <a:lnTo>
                    <a:pt x="420" y="481"/>
                  </a:lnTo>
                  <a:lnTo>
                    <a:pt x="418" y="478"/>
                  </a:lnTo>
                  <a:lnTo>
                    <a:pt x="418" y="475"/>
                  </a:lnTo>
                  <a:lnTo>
                    <a:pt x="418" y="475"/>
                  </a:lnTo>
                  <a:lnTo>
                    <a:pt x="418" y="474"/>
                  </a:lnTo>
                  <a:lnTo>
                    <a:pt x="417" y="471"/>
                  </a:lnTo>
                  <a:lnTo>
                    <a:pt x="412" y="468"/>
                  </a:lnTo>
                  <a:lnTo>
                    <a:pt x="412" y="468"/>
                  </a:lnTo>
                  <a:lnTo>
                    <a:pt x="411" y="462"/>
                  </a:lnTo>
                  <a:lnTo>
                    <a:pt x="409" y="460"/>
                  </a:lnTo>
                  <a:lnTo>
                    <a:pt x="407" y="457"/>
                  </a:lnTo>
                  <a:lnTo>
                    <a:pt x="407" y="457"/>
                  </a:lnTo>
                  <a:lnTo>
                    <a:pt x="404" y="454"/>
                  </a:lnTo>
                  <a:lnTo>
                    <a:pt x="402" y="448"/>
                  </a:lnTo>
                  <a:lnTo>
                    <a:pt x="399" y="444"/>
                  </a:lnTo>
                  <a:lnTo>
                    <a:pt x="396" y="439"/>
                  </a:lnTo>
                  <a:lnTo>
                    <a:pt x="396" y="439"/>
                  </a:lnTo>
                  <a:lnTo>
                    <a:pt x="394" y="435"/>
                  </a:lnTo>
                  <a:lnTo>
                    <a:pt x="392" y="432"/>
                  </a:lnTo>
                  <a:lnTo>
                    <a:pt x="389" y="426"/>
                  </a:lnTo>
                  <a:lnTo>
                    <a:pt x="389" y="426"/>
                  </a:lnTo>
                  <a:lnTo>
                    <a:pt x="388" y="426"/>
                  </a:lnTo>
                  <a:lnTo>
                    <a:pt x="388" y="426"/>
                  </a:lnTo>
                  <a:lnTo>
                    <a:pt x="385" y="429"/>
                  </a:lnTo>
                  <a:lnTo>
                    <a:pt x="385" y="429"/>
                  </a:lnTo>
                  <a:lnTo>
                    <a:pt x="385" y="429"/>
                  </a:lnTo>
                  <a:lnTo>
                    <a:pt x="383" y="428"/>
                  </a:lnTo>
                  <a:lnTo>
                    <a:pt x="382" y="426"/>
                  </a:lnTo>
                  <a:lnTo>
                    <a:pt x="379" y="425"/>
                  </a:lnTo>
                  <a:lnTo>
                    <a:pt x="379" y="425"/>
                  </a:lnTo>
                  <a:lnTo>
                    <a:pt x="375" y="423"/>
                  </a:lnTo>
                  <a:lnTo>
                    <a:pt x="370" y="423"/>
                  </a:lnTo>
                  <a:lnTo>
                    <a:pt x="370" y="423"/>
                  </a:lnTo>
                  <a:lnTo>
                    <a:pt x="369" y="422"/>
                  </a:lnTo>
                  <a:lnTo>
                    <a:pt x="369" y="419"/>
                  </a:lnTo>
                  <a:lnTo>
                    <a:pt x="370" y="416"/>
                  </a:lnTo>
                  <a:lnTo>
                    <a:pt x="373" y="415"/>
                  </a:lnTo>
                  <a:lnTo>
                    <a:pt x="373" y="415"/>
                  </a:lnTo>
                  <a:lnTo>
                    <a:pt x="375" y="413"/>
                  </a:lnTo>
                  <a:lnTo>
                    <a:pt x="375" y="412"/>
                  </a:lnTo>
                  <a:lnTo>
                    <a:pt x="370" y="407"/>
                  </a:lnTo>
                  <a:lnTo>
                    <a:pt x="370" y="407"/>
                  </a:lnTo>
                  <a:lnTo>
                    <a:pt x="369" y="403"/>
                  </a:lnTo>
                  <a:lnTo>
                    <a:pt x="367" y="402"/>
                  </a:lnTo>
                  <a:lnTo>
                    <a:pt x="366" y="402"/>
                  </a:lnTo>
                  <a:lnTo>
                    <a:pt x="366" y="402"/>
                  </a:lnTo>
                  <a:lnTo>
                    <a:pt x="365" y="400"/>
                  </a:lnTo>
                  <a:lnTo>
                    <a:pt x="365" y="399"/>
                  </a:lnTo>
                  <a:lnTo>
                    <a:pt x="365" y="394"/>
                  </a:lnTo>
                  <a:lnTo>
                    <a:pt x="365" y="394"/>
                  </a:lnTo>
                  <a:lnTo>
                    <a:pt x="365" y="393"/>
                  </a:lnTo>
                  <a:lnTo>
                    <a:pt x="362" y="393"/>
                  </a:lnTo>
                  <a:lnTo>
                    <a:pt x="359" y="393"/>
                  </a:lnTo>
                  <a:lnTo>
                    <a:pt x="357" y="391"/>
                  </a:lnTo>
                  <a:lnTo>
                    <a:pt x="357" y="391"/>
                  </a:lnTo>
                  <a:lnTo>
                    <a:pt x="357" y="389"/>
                  </a:lnTo>
                  <a:lnTo>
                    <a:pt x="360" y="386"/>
                  </a:lnTo>
                  <a:lnTo>
                    <a:pt x="362" y="384"/>
                  </a:lnTo>
                  <a:lnTo>
                    <a:pt x="362" y="384"/>
                  </a:lnTo>
                  <a:lnTo>
                    <a:pt x="363" y="383"/>
                  </a:lnTo>
                  <a:lnTo>
                    <a:pt x="362" y="381"/>
                  </a:lnTo>
                  <a:lnTo>
                    <a:pt x="357" y="378"/>
                  </a:lnTo>
                  <a:lnTo>
                    <a:pt x="357" y="378"/>
                  </a:lnTo>
                  <a:lnTo>
                    <a:pt x="357" y="377"/>
                  </a:lnTo>
                  <a:lnTo>
                    <a:pt x="357" y="376"/>
                  </a:lnTo>
                  <a:lnTo>
                    <a:pt x="360" y="374"/>
                  </a:lnTo>
                  <a:lnTo>
                    <a:pt x="360" y="374"/>
                  </a:lnTo>
                  <a:lnTo>
                    <a:pt x="362" y="373"/>
                  </a:lnTo>
                  <a:lnTo>
                    <a:pt x="363" y="370"/>
                  </a:lnTo>
                  <a:lnTo>
                    <a:pt x="365" y="367"/>
                  </a:lnTo>
                  <a:lnTo>
                    <a:pt x="366" y="365"/>
                  </a:lnTo>
                  <a:lnTo>
                    <a:pt x="366" y="365"/>
                  </a:lnTo>
                  <a:lnTo>
                    <a:pt x="370" y="364"/>
                  </a:lnTo>
                  <a:lnTo>
                    <a:pt x="373" y="361"/>
                  </a:lnTo>
                  <a:lnTo>
                    <a:pt x="373" y="361"/>
                  </a:lnTo>
                  <a:lnTo>
                    <a:pt x="375" y="363"/>
                  </a:lnTo>
                  <a:lnTo>
                    <a:pt x="376" y="364"/>
                  </a:lnTo>
                  <a:lnTo>
                    <a:pt x="378" y="371"/>
                  </a:lnTo>
                  <a:lnTo>
                    <a:pt x="378" y="371"/>
                  </a:lnTo>
                  <a:lnTo>
                    <a:pt x="381" y="376"/>
                  </a:lnTo>
                  <a:lnTo>
                    <a:pt x="383" y="381"/>
                  </a:lnTo>
                  <a:lnTo>
                    <a:pt x="383" y="381"/>
                  </a:lnTo>
                  <a:lnTo>
                    <a:pt x="386" y="381"/>
                  </a:lnTo>
                  <a:lnTo>
                    <a:pt x="388" y="380"/>
                  </a:lnTo>
                  <a:lnTo>
                    <a:pt x="391" y="377"/>
                  </a:lnTo>
                  <a:lnTo>
                    <a:pt x="391" y="377"/>
                  </a:lnTo>
                  <a:lnTo>
                    <a:pt x="392" y="377"/>
                  </a:lnTo>
                  <a:lnTo>
                    <a:pt x="392" y="378"/>
                  </a:lnTo>
                  <a:lnTo>
                    <a:pt x="391" y="383"/>
                  </a:lnTo>
                  <a:lnTo>
                    <a:pt x="391" y="383"/>
                  </a:lnTo>
                  <a:lnTo>
                    <a:pt x="392" y="384"/>
                  </a:lnTo>
                  <a:lnTo>
                    <a:pt x="394" y="384"/>
                  </a:lnTo>
                  <a:lnTo>
                    <a:pt x="398" y="384"/>
                  </a:lnTo>
                  <a:lnTo>
                    <a:pt x="398" y="384"/>
                  </a:lnTo>
                  <a:lnTo>
                    <a:pt x="401" y="384"/>
                  </a:lnTo>
                  <a:lnTo>
                    <a:pt x="399" y="386"/>
                  </a:lnTo>
                  <a:lnTo>
                    <a:pt x="395" y="390"/>
                  </a:lnTo>
                  <a:lnTo>
                    <a:pt x="395" y="390"/>
                  </a:lnTo>
                  <a:lnTo>
                    <a:pt x="395" y="391"/>
                  </a:lnTo>
                  <a:lnTo>
                    <a:pt x="398" y="393"/>
                  </a:lnTo>
                  <a:lnTo>
                    <a:pt x="404" y="396"/>
                  </a:lnTo>
                  <a:lnTo>
                    <a:pt x="404" y="396"/>
                  </a:lnTo>
                  <a:lnTo>
                    <a:pt x="405" y="397"/>
                  </a:lnTo>
                  <a:lnTo>
                    <a:pt x="405" y="397"/>
                  </a:lnTo>
                  <a:lnTo>
                    <a:pt x="402" y="402"/>
                  </a:lnTo>
                  <a:lnTo>
                    <a:pt x="402" y="402"/>
                  </a:lnTo>
                  <a:lnTo>
                    <a:pt x="401" y="403"/>
                  </a:lnTo>
                  <a:lnTo>
                    <a:pt x="402" y="403"/>
                  </a:lnTo>
                  <a:lnTo>
                    <a:pt x="408" y="403"/>
                  </a:lnTo>
                  <a:lnTo>
                    <a:pt x="408" y="403"/>
                  </a:lnTo>
                  <a:lnTo>
                    <a:pt x="409" y="403"/>
                  </a:lnTo>
                  <a:lnTo>
                    <a:pt x="409" y="405"/>
                  </a:lnTo>
                  <a:lnTo>
                    <a:pt x="408" y="407"/>
                  </a:lnTo>
                  <a:lnTo>
                    <a:pt x="405" y="412"/>
                  </a:lnTo>
                  <a:lnTo>
                    <a:pt x="405" y="412"/>
                  </a:lnTo>
                  <a:lnTo>
                    <a:pt x="409" y="412"/>
                  </a:lnTo>
                  <a:lnTo>
                    <a:pt x="417" y="409"/>
                  </a:lnTo>
                  <a:lnTo>
                    <a:pt x="417" y="409"/>
                  </a:lnTo>
                  <a:lnTo>
                    <a:pt x="418" y="409"/>
                  </a:lnTo>
                  <a:lnTo>
                    <a:pt x="420" y="410"/>
                  </a:lnTo>
                  <a:lnTo>
                    <a:pt x="423" y="413"/>
                  </a:lnTo>
                  <a:lnTo>
                    <a:pt x="427" y="416"/>
                  </a:lnTo>
                  <a:lnTo>
                    <a:pt x="430" y="418"/>
                  </a:lnTo>
                  <a:lnTo>
                    <a:pt x="430" y="418"/>
                  </a:lnTo>
                  <a:lnTo>
                    <a:pt x="431" y="418"/>
                  </a:lnTo>
                  <a:lnTo>
                    <a:pt x="431" y="418"/>
                  </a:lnTo>
                  <a:lnTo>
                    <a:pt x="428" y="413"/>
                  </a:lnTo>
                  <a:lnTo>
                    <a:pt x="425" y="409"/>
                  </a:lnTo>
                  <a:lnTo>
                    <a:pt x="424" y="407"/>
                  </a:lnTo>
                  <a:lnTo>
                    <a:pt x="424" y="407"/>
                  </a:lnTo>
                  <a:lnTo>
                    <a:pt x="425" y="406"/>
                  </a:lnTo>
                  <a:lnTo>
                    <a:pt x="425" y="403"/>
                  </a:lnTo>
                  <a:lnTo>
                    <a:pt x="425" y="400"/>
                  </a:lnTo>
                  <a:lnTo>
                    <a:pt x="427" y="399"/>
                  </a:lnTo>
                  <a:lnTo>
                    <a:pt x="427" y="399"/>
                  </a:lnTo>
                  <a:lnTo>
                    <a:pt x="428" y="397"/>
                  </a:lnTo>
                  <a:lnTo>
                    <a:pt x="428" y="396"/>
                  </a:lnTo>
                  <a:lnTo>
                    <a:pt x="428" y="389"/>
                  </a:lnTo>
                  <a:lnTo>
                    <a:pt x="428" y="389"/>
                  </a:lnTo>
                  <a:lnTo>
                    <a:pt x="428" y="389"/>
                  </a:lnTo>
                  <a:lnTo>
                    <a:pt x="430" y="389"/>
                  </a:lnTo>
                  <a:lnTo>
                    <a:pt x="431" y="391"/>
                  </a:lnTo>
                  <a:lnTo>
                    <a:pt x="438" y="399"/>
                  </a:lnTo>
                  <a:lnTo>
                    <a:pt x="438" y="399"/>
                  </a:lnTo>
                  <a:lnTo>
                    <a:pt x="440" y="400"/>
                  </a:lnTo>
                  <a:lnTo>
                    <a:pt x="441" y="399"/>
                  </a:lnTo>
                  <a:lnTo>
                    <a:pt x="441" y="396"/>
                  </a:lnTo>
                  <a:lnTo>
                    <a:pt x="444" y="393"/>
                  </a:lnTo>
                  <a:lnTo>
                    <a:pt x="444" y="393"/>
                  </a:lnTo>
                  <a:lnTo>
                    <a:pt x="447" y="393"/>
                  </a:lnTo>
                  <a:lnTo>
                    <a:pt x="450" y="393"/>
                  </a:lnTo>
                  <a:lnTo>
                    <a:pt x="457" y="393"/>
                  </a:lnTo>
                  <a:lnTo>
                    <a:pt x="457" y="393"/>
                  </a:lnTo>
                  <a:lnTo>
                    <a:pt x="459" y="391"/>
                  </a:lnTo>
                  <a:lnTo>
                    <a:pt x="459" y="389"/>
                  </a:lnTo>
                  <a:lnTo>
                    <a:pt x="457" y="386"/>
                  </a:lnTo>
                  <a:lnTo>
                    <a:pt x="454" y="381"/>
                  </a:lnTo>
                  <a:lnTo>
                    <a:pt x="454" y="381"/>
                  </a:lnTo>
                  <a:lnTo>
                    <a:pt x="447" y="374"/>
                  </a:lnTo>
                  <a:lnTo>
                    <a:pt x="443" y="364"/>
                  </a:lnTo>
                  <a:lnTo>
                    <a:pt x="443" y="364"/>
                  </a:lnTo>
                  <a:lnTo>
                    <a:pt x="443" y="361"/>
                  </a:lnTo>
                  <a:lnTo>
                    <a:pt x="444" y="360"/>
                  </a:lnTo>
                  <a:lnTo>
                    <a:pt x="451" y="360"/>
                  </a:lnTo>
                  <a:close/>
                  <a:moveTo>
                    <a:pt x="312" y="425"/>
                  </a:moveTo>
                  <a:lnTo>
                    <a:pt x="312" y="425"/>
                  </a:lnTo>
                  <a:lnTo>
                    <a:pt x="311" y="433"/>
                  </a:lnTo>
                  <a:lnTo>
                    <a:pt x="310" y="439"/>
                  </a:lnTo>
                  <a:lnTo>
                    <a:pt x="307" y="442"/>
                  </a:lnTo>
                  <a:lnTo>
                    <a:pt x="307" y="442"/>
                  </a:lnTo>
                  <a:lnTo>
                    <a:pt x="301" y="441"/>
                  </a:lnTo>
                  <a:lnTo>
                    <a:pt x="297" y="441"/>
                  </a:lnTo>
                  <a:lnTo>
                    <a:pt x="292" y="438"/>
                  </a:lnTo>
                  <a:lnTo>
                    <a:pt x="292" y="438"/>
                  </a:lnTo>
                  <a:lnTo>
                    <a:pt x="288" y="433"/>
                  </a:lnTo>
                  <a:lnTo>
                    <a:pt x="286" y="426"/>
                  </a:lnTo>
                  <a:lnTo>
                    <a:pt x="286" y="426"/>
                  </a:lnTo>
                  <a:lnTo>
                    <a:pt x="285" y="420"/>
                  </a:lnTo>
                  <a:lnTo>
                    <a:pt x="283" y="416"/>
                  </a:lnTo>
                  <a:lnTo>
                    <a:pt x="283" y="416"/>
                  </a:lnTo>
                  <a:lnTo>
                    <a:pt x="286" y="416"/>
                  </a:lnTo>
                  <a:lnTo>
                    <a:pt x="288" y="418"/>
                  </a:lnTo>
                  <a:lnTo>
                    <a:pt x="291" y="416"/>
                  </a:lnTo>
                  <a:lnTo>
                    <a:pt x="291" y="416"/>
                  </a:lnTo>
                  <a:lnTo>
                    <a:pt x="291" y="412"/>
                  </a:lnTo>
                  <a:lnTo>
                    <a:pt x="289" y="407"/>
                  </a:lnTo>
                  <a:lnTo>
                    <a:pt x="288" y="402"/>
                  </a:lnTo>
                  <a:lnTo>
                    <a:pt x="288" y="400"/>
                  </a:lnTo>
                  <a:lnTo>
                    <a:pt x="289" y="400"/>
                  </a:lnTo>
                  <a:lnTo>
                    <a:pt x="289" y="400"/>
                  </a:lnTo>
                  <a:lnTo>
                    <a:pt x="291" y="400"/>
                  </a:lnTo>
                  <a:lnTo>
                    <a:pt x="292" y="402"/>
                  </a:lnTo>
                  <a:lnTo>
                    <a:pt x="295" y="403"/>
                  </a:lnTo>
                  <a:lnTo>
                    <a:pt x="298" y="405"/>
                  </a:lnTo>
                  <a:lnTo>
                    <a:pt x="298" y="405"/>
                  </a:lnTo>
                  <a:lnTo>
                    <a:pt x="302" y="406"/>
                  </a:lnTo>
                  <a:lnTo>
                    <a:pt x="308" y="409"/>
                  </a:lnTo>
                  <a:lnTo>
                    <a:pt x="312" y="413"/>
                  </a:lnTo>
                  <a:lnTo>
                    <a:pt x="314" y="416"/>
                  </a:lnTo>
                  <a:lnTo>
                    <a:pt x="314" y="416"/>
                  </a:lnTo>
                  <a:lnTo>
                    <a:pt x="312" y="420"/>
                  </a:lnTo>
                  <a:lnTo>
                    <a:pt x="312" y="425"/>
                  </a:lnTo>
                  <a:close/>
                  <a:moveTo>
                    <a:pt x="328" y="367"/>
                  </a:moveTo>
                  <a:lnTo>
                    <a:pt x="328" y="367"/>
                  </a:lnTo>
                  <a:lnTo>
                    <a:pt x="325" y="368"/>
                  </a:lnTo>
                  <a:lnTo>
                    <a:pt x="323" y="370"/>
                  </a:lnTo>
                  <a:lnTo>
                    <a:pt x="320" y="371"/>
                  </a:lnTo>
                  <a:lnTo>
                    <a:pt x="317" y="371"/>
                  </a:lnTo>
                  <a:lnTo>
                    <a:pt x="317" y="371"/>
                  </a:lnTo>
                  <a:lnTo>
                    <a:pt x="314" y="368"/>
                  </a:lnTo>
                  <a:lnTo>
                    <a:pt x="312" y="368"/>
                  </a:lnTo>
                  <a:lnTo>
                    <a:pt x="310" y="368"/>
                  </a:lnTo>
                  <a:lnTo>
                    <a:pt x="310" y="368"/>
                  </a:lnTo>
                  <a:lnTo>
                    <a:pt x="307" y="368"/>
                  </a:lnTo>
                  <a:lnTo>
                    <a:pt x="305" y="370"/>
                  </a:lnTo>
                  <a:lnTo>
                    <a:pt x="305" y="371"/>
                  </a:lnTo>
                  <a:lnTo>
                    <a:pt x="304" y="373"/>
                  </a:lnTo>
                  <a:lnTo>
                    <a:pt x="304" y="373"/>
                  </a:lnTo>
                  <a:lnTo>
                    <a:pt x="302" y="374"/>
                  </a:lnTo>
                  <a:lnTo>
                    <a:pt x="301" y="376"/>
                  </a:lnTo>
                  <a:lnTo>
                    <a:pt x="299" y="377"/>
                  </a:lnTo>
                  <a:lnTo>
                    <a:pt x="298" y="377"/>
                  </a:lnTo>
                  <a:lnTo>
                    <a:pt x="298" y="377"/>
                  </a:lnTo>
                  <a:lnTo>
                    <a:pt x="298" y="377"/>
                  </a:lnTo>
                  <a:lnTo>
                    <a:pt x="298" y="374"/>
                  </a:lnTo>
                  <a:lnTo>
                    <a:pt x="299" y="368"/>
                  </a:lnTo>
                  <a:lnTo>
                    <a:pt x="299" y="368"/>
                  </a:lnTo>
                  <a:lnTo>
                    <a:pt x="298" y="364"/>
                  </a:lnTo>
                  <a:lnTo>
                    <a:pt x="297" y="360"/>
                  </a:lnTo>
                  <a:lnTo>
                    <a:pt x="294" y="355"/>
                  </a:lnTo>
                  <a:lnTo>
                    <a:pt x="294" y="352"/>
                  </a:lnTo>
                  <a:lnTo>
                    <a:pt x="294" y="352"/>
                  </a:lnTo>
                  <a:lnTo>
                    <a:pt x="297" y="344"/>
                  </a:lnTo>
                  <a:lnTo>
                    <a:pt x="297" y="339"/>
                  </a:lnTo>
                  <a:lnTo>
                    <a:pt x="297" y="335"/>
                  </a:lnTo>
                  <a:lnTo>
                    <a:pt x="297" y="335"/>
                  </a:lnTo>
                  <a:lnTo>
                    <a:pt x="295" y="332"/>
                  </a:lnTo>
                  <a:lnTo>
                    <a:pt x="298" y="332"/>
                  </a:lnTo>
                  <a:lnTo>
                    <a:pt x="301" y="334"/>
                  </a:lnTo>
                  <a:lnTo>
                    <a:pt x="304" y="336"/>
                  </a:lnTo>
                  <a:lnTo>
                    <a:pt x="304" y="336"/>
                  </a:lnTo>
                  <a:lnTo>
                    <a:pt x="312" y="344"/>
                  </a:lnTo>
                  <a:lnTo>
                    <a:pt x="320" y="349"/>
                  </a:lnTo>
                  <a:lnTo>
                    <a:pt x="320" y="349"/>
                  </a:lnTo>
                  <a:lnTo>
                    <a:pt x="330" y="354"/>
                  </a:lnTo>
                  <a:lnTo>
                    <a:pt x="336" y="357"/>
                  </a:lnTo>
                  <a:lnTo>
                    <a:pt x="337" y="361"/>
                  </a:lnTo>
                  <a:lnTo>
                    <a:pt x="337" y="361"/>
                  </a:lnTo>
                  <a:lnTo>
                    <a:pt x="336" y="363"/>
                  </a:lnTo>
                  <a:lnTo>
                    <a:pt x="333" y="365"/>
                  </a:lnTo>
                  <a:lnTo>
                    <a:pt x="330" y="367"/>
                  </a:lnTo>
                  <a:lnTo>
                    <a:pt x="328" y="367"/>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59" name="Freeform 1182"/>
            <p:cNvSpPr>
              <a:spLocks/>
            </p:cNvSpPr>
            <p:nvPr/>
          </p:nvSpPr>
          <p:spPr bwMode="auto">
            <a:xfrm>
              <a:off x="1998663" y="1904634"/>
              <a:ext cx="730250" cy="854075"/>
            </a:xfrm>
            <a:custGeom>
              <a:avLst/>
              <a:gdLst>
                <a:gd name="T0" fmla="*/ 447 w 460"/>
                <a:gd name="T1" fmla="*/ 339 h 538"/>
                <a:gd name="T2" fmla="*/ 425 w 460"/>
                <a:gd name="T3" fmla="*/ 342 h 538"/>
                <a:gd name="T4" fmla="*/ 409 w 460"/>
                <a:gd name="T5" fmla="*/ 335 h 538"/>
                <a:gd name="T6" fmla="*/ 401 w 460"/>
                <a:gd name="T7" fmla="*/ 310 h 538"/>
                <a:gd name="T8" fmla="*/ 385 w 460"/>
                <a:gd name="T9" fmla="*/ 299 h 538"/>
                <a:gd name="T10" fmla="*/ 360 w 460"/>
                <a:gd name="T11" fmla="*/ 280 h 538"/>
                <a:gd name="T12" fmla="*/ 349 w 460"/>
                <a:gd name="T13" fmla="*/ 264 h 538"/>
                <a:gd name="T14" fmla="*/ 343 w 460"/>
                <a:gd name="T15" fmla="*/ 250 h 538"/>
                <a:gd name="T16" fmla="*/ 347 w 460"/>
                <a:gd name="T17" fmla="*/ 234 h 538"/>
                <a:gd name="T18" fmla="*/ 343 w 460"/>
                <a:gd name="T19" fmla="*/ 199 h 538"/>
                <a:gd name="T20" fmla="*/ 337 w 460"/>
                <a:gd name="T21" fmla="*/ 170 h 538"/>
                <a:gd name="T22" fmla="*/ 304 w 460"/>
                <a:gd name="T23" fmla="*/ 145 h 538"/>
                <a:gd name="T24" fmla="*/ 259 w 460"/>
                <a:gd name="T25" fmla="*/ 125 h 538"/>
                <a:gd name="T26" fmla="*/ 239 w 460"/>
                <a:gd name="T27" fmla="*/ 99 h 538"/>
                <a:gd name="T28" fmla="*/ 181 w 460"/>
                <a:gd name="T29" fmla="*/ 87 h 538"/>
                <a:gd name="T30" fmla="*/ 166 w 460"/>
                <a:gd name="T31" fmla="*/ 106 h 538"/>
                <a:gd name="T32" fmla="*/ 142 w 460"/>
                <a:gd name="T33" fmla="*/ 87 h 538"/>
                <a:gd name="T34" fmla="*/ 139 w 460"/>
                <a:gd name="T35" fmla="*/ 73 h 538"/>
                <a:gd name="T36" fmla="*/ 140 w 460"/>
                <a:gd name="T37" fmla="*/ 28 h 538"/>
                <a:gd name="T38" fmla="*/ 120 w 460"/>
                <a:gd name="T39" fmla="*/ 21 h 538"/>
                <a:gd name="T40" fmla="*/ 115 w 460"/>
                <a:gd name="T41" fmla="*/ 32 h 538"/>
                <a:gd name="T42" fmla="*/ 89 w 460"/>
                <a:gd name="T43" fmla="*/ 44 h 538"/>
                <a:gd name="T44" fmla="*/ 95 w 460"/>
                <a:gd name="T45" fmla="*/ 90 h 538"/>
                <a:gd name="T46" fmla="*/ 104 w 460"/>
                <a:gd name="T47" fmla="*/ 119 h 538"/>
                <a:gd name="T48" fmla="*/ 114 w 460"/>
                <a:gd name="T49" fmla="*/ 148 h 538"/>
                <a:gd name="T50" fmla="*/ 89 w 460"/>
                <a:gd name="T51" fmla="*/ 154 h 538"/>
                <a:gd name="T52" fmla="*/ 76 w 460"/>
                <a:gd name="T53" fmla="*/ 115 h 538"/>
                <a:gd name="T54" fmla="*/ 78 w 460"/>
                <a:gd name="T55" fmla="*/ 31 h 538"/>
                <a:gd name="T56" fmla="*/ 33 w 460"/>
                <a:gd name="T57" fmla="*/ 15 h 538"/>
                <a:gd name="T58" fmla="*/ 1 w 460"/>
                <a:gd name="T59" fmla="*/ 95 h 538"/>
                <a:gd name="T60" fmla="*/ 23 w 460"/>
                <a:gd name="T61" fmla="*/ 145 h 538"/>
                <a:gd name="T62" fmla="*/ 37 w 460"/>
                <a:gd name="T63" fmla="*/ 171 h 538"/>
                <a:gd name="T64" fmla="*/ 47 w 460"/>
                <a:gd name="T65" fmla="*/ 183 h 538"/>
                <a:gd name="T66" fmla="*/ 89 w 460"/>
                <a:gd name="T67" fmla="*/ 202 h 538"/>
                <a:gd name="T68" fmla="*/ 139 w 460"/>
                <a:gd name="T69" fmla="*/ 212 h 538"/>
                <a:gd name="T70" fmla="*/ 204 w 460"/>
                <a:gd name="T71" fmla="*/ 215 h 538"/>
                <a:gd name="T72" fmla="*/ 223 w 460"/>
                <a:gd name="T73" fmla="*/ 236 h 538"/>
                <a:gd name="T74" fmla="*/ 256 w 460"/>
                <a:gd name="T75" fmla="*/ 273 h 538"/>
                <a:gd name="T76" fmla="*/ 270 w 460"/>
                <a:gd name="T77" fmla="*/ 326 h 538"/>
                <a:gd name="T78" fmla="*/ 250 w 460"/>
                <a:gd name="T79" fmla="*/ 365 h 538"/>
                <a:gd name="T80" fmla="*/ 223 w 460"/>
                <a:gd name="T81" fmla="*/ 391 h 538"/>
                <a:gd name="T82" fmla="*/ 198 w 460"/>
                <a:gd name="T83" fmla="*/ 418 h 538"/>
                <a:gd name="T84" fmla="*/ 228 w 460"/>
                <a:gd name="T85" fmla="*/ 447 h 538"/>
                <a:gd name="T86" fmla="*/ 276 w 460"/>
                <a:gd name="T87" fmla="*/ 455 h 538"/>
                <a:gd name="T88" fmla="*/ 294 w 460"/>
                <a:gd name="T89" fmla="*/ 478 h 538"/>
                <a:gd name="T90" fmla="*/ 320 w 460"/>
                <a:gd name="T91" fmla="*/ 507 h 538"/>
                <a:gd name="T92" fmla="*/ 367 w 460"/>
                <a:gd name="T93" fmla="*/ 528 h 538"/>
                <a:gd name="T94" fmla="*/ 379 w 460"/>
                <a:gd name="T95" fmla="*/ 506 h 538"/>
                <a:gd name="T96" fmla="*/ 352 w 460"/>
                <a:gd name="T97" fmla="*/ 483 h 538"/>
                <a:gd name="T98" fmla="*/ 360 w 460"/>
                <a:gd name="T99" fmla="*/ 475 h 538"/>
                <a:gd name="T100" fmla="*/ 401 w 460"/>
                <a:gd name="T101" fmla="*/ 504 h 538"/>
                <a:gd name="T102" fmla="*/ 415 w 460"/>
                <a:gd name="T103" fmla="*/ 509 h 538"/>
                <a:gd name="T104" fmla="*/ 415 w 460"/>
                <a:gd name="T105" fmla="*/ 486 h 538"/>
                <a:gd name="T106" fmla="*/ 407 w 460"/>
                <a:gd name="T107" fmla="*/ 457 h 538"/>
                <a:gd name="T108" fmla="*/ 382 w 460"/>
                <a:gd name="T109" fmla="*/ 426 h 538"/>
                <a:gd name="T110" fmla="*/ 367 w 460"/>
                <a:gd name="T111" fmla="*/ 402 h 538"/>
                <a:gd name="T112" fmla="*/ 363 w 460"/>
                <a:gd name="T113" fmla="*/ 383 h 538"/>
                <a:gd name="T114" fmla="*/ 375 w 460"/>
                <a:gd name="T115" fmla="*/ 363 h 538"/>
                <a:gd name="T116" fmla="*/ 394 w 460"/>
                <a:gd name="T117" fmla="*/ 384 h 538"/>
                <a:gd name="T118" fmla="*/ 402 w 460"/>
                <a:gd name="T119" fmla="*/ 403 h 538"/>
                <a:gd name="T120" fmla="*/ 430 w 460"/>
                <a:gd name="T121" fmla="*/ 418 h 538"/>
                <a:gd name="T122" fmla="*/ 428 w 460"/>
                <a:gd name="T123" fmla="*/ 389 h 538"/>
                <a:gd name="T124" fmla="*/ 457 w 460"/>
                <a:gd name="T125" fmla="*/ 386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0" h="538">
                  <a:moveTo>
                    <a:pt x="451" y="360"/>
                  </a:moveTo>
                  <a:lnTo>
                    <a:pt x="451" y="360"/>
                  </a:lnTo>
                  <a:lnTo>
                    <a:pt x="456" y="360"/>
                  </a:lnTo>
                  <a:lnTo>
                    <a:pt x="457" y="357"/>
                  </a:lnTo>
                  <a:lnTo>
                    <a:pt x="460" y="352"/>
                  </a:lnTo>
                  <a:lnTo>
                    <a:pt x="460" y="352"/>
                  </a:lnTo>
                  <a:lnTo>
                    <a:pt x="460" y="351"/>
                  </a:lnTo>
                  <a:lnTo>
                    <a:pt x="460" y="349"/>
                  </a:lnTo>
                  <a:lnTo>
                    <a:pt x="456" y="349"/>
                  </a:lnTo>
                  <a:lnTo>
                    <a:pt x="456" y="349"/>
                  </a:lnTo>
                  <a:lnTo>
                    <a:pt x="454" y="348"/>
                  </a:lnTo>
                  <a:lnTo>
                    <a:pt x="451" y="344"/>
                  </a:lnTo>
                  <a:lnTo>
                    <a:pt x="450" y="341"/>
                  </a:lnTo>
                  <a:lnTo>
                    <a:pt x="449" y="338"/>
                  </a:lnTo>
                  <a:lnTo>
                    <a:pt x="449" y="338"/>
                  </a:lnTo>
                  <a:lnTo>
                    <a:pt x="447" y="339"/>
                  </a:lnTo>
                  <a:lnTo>
                    <a:pt x="446" y="341"/>
                  </a:lnTo>
                  <a:lnTo>
                    <a:pt x="446" y="347"/>
                  </a:lnTo>
                  <a:lnTo>
                    <a:pt x="446" y="347"/>
                  </a:lnTo>
                  <a:lnTo>
                    <a:pt x="444" y="347"/>
                  </a:lnTo>
                  <a:lnTo>
                    <a:pt x="441" y="347"/>
                  </a:lnTo>
                  <a:lnTo>
                    <a:pt x="434" y="345"/>
                  </a:lnTo>
                  <a:lnTo>
                    <a:pt x="434" y="345"/>
                  </a:lnTo>
                  <a:lnTo>
                    <a:pt x="433" y="344"/>
                  </a:lnTo>
                  <a:lnTo>
                    <a:pt x="434" y="339"/>
                  </a:lnTo>
                  <a:lnTo>
                    <a:pt x="436" y="334"/>
                  </a:lnTo>
                  <a:lnTo>
                    <a:pt x="436" y="334"/>
                  </a:lnTo>
                  <a:lnTo>
                    <a:pt x="434" y="334"/>
                  </a:lnTo>
                  <a:lnTo>
                    <a:pt x="431" y="335"/>
                  </a:lnTo>
                  <a:lnTo>
                    <a:pt x="427" y="341"/>
                  </a:lnTo>
                  <a:lnTo>
                    <a:pt x="427" y="341"/>
                  </a:lnTo>
                  <a:lnTo>
                    <a:pt x="425" y="342"/>
                  </a:lnTo>
                  <a:lnTo>
                    <a:pt x="424" y="339"/>
                  </a:lnTo>
                  <a:lnTo>
                    <a:pt x="424" y="338"/>
                  </a:lnTo>
                  <a:lnTo>
                    <a:pt x="423" y="336"/>
                  </a:lnTo>
                  <a:lnTo>
                    <a:pt x="423" y="336"/>
                  </a:lnTo>
                  <a:lnTo>
                    <a:pt x="420" y="336"/>
                  </a:lnTo>
                  <a:lnTo>
                    <a:pt x="417" y="339"/>
                  </a:lnTo>
                  <a:lnTo>
                    <a:pt x="408" y="347"/>
                  </a:lnTo>
                  <a:lnTo>
                    <a:pt x="408" y="347"/>
                  </a:lnTo>
                  <a:lnTo>
                    <a:pt x="407" y="347"/>
                  </a:lnTo>
                  <a:lnTo>
                    <a:pt x="405" y="347"/>
                  </a:lnTo>
                  <a:lnTo>
                    <a:pt x="407" y="344"/>
                  </a:lnTo>
                  <a:lnTo>
                    <a:pt x="408" y="341"/>
                  </a:lnTo>
                  <a:lnTo>
                    <a:pt x="409" y="339"/>
                  </a:lnTo>
                  <a:lnTo>
                    <a:pt x="409" y="339"/>
                  </a:lnTo>
                  <a:lnTo>
                    <a:pt x="411" y="338"/>
                  </a:lnTo>
                  <a:lnTo>
                    <a:pt x="409" y="335"/>
                  </a:lnTo>
                  <a:lnTo>
                    <a:pt x="408" y="331"/>
                  </a:lnTo>
                  <a:lnTo>
                    <a:pt x="408" y="331"/>
                  </a:lnTo>
                  <a:lnTo>
                    <a:pt x="408" y="329"/>
                  </a:lnTo>
                  <a:lnTo>
                    <a:pt x="411" y="329"/>
                  </a:lnTo>
                  <a:lnTo>
                    <a:pt x="415" y="329"/>
                  </a:lnTo>
                  <a:lnTo>
                    <a:pt x="415" y="329"/>
                  </a:lnTo>
                  <a:lnTo>
                    <a:pt x="415" y="326"/>
                  </a:lnTo>
                  <a:lnTo>
                    <a:pt x="415" y="322"/>
                  </a:lnTo>
                  <a:lnTo>
                    <a:pt x="412" y="315"/>
                  </a:lnTo>
                  <a:lnTo>
                    <a:pt x="409" y="310"/>
                  </a:lnTo>
                  <a:lnTo>
                    <a:pt x="409" y="310"/>
                  </a:lnTo>
                  <a:lnTo>
                    <a:pt x="408" y="309"/>
                  </a:lnTo>
                  <a:lnTo>
                    <a:pt x="407" y="309"/>
                  </a:lnTo>
                  <a:lnTo>
                    <a:pt x="404" y="310"/>
                  </a:lnTo>
                  <a:lnTo>
                    <a:pt x="402" y="310"/>
                  </a:lnTo>
                  <a:lnTo>
                    <a:pt x="401" y="310"/>
                  </a:lnTo>
                  <a:lnTo>
                    <a:pt x="399" y="310"/>
                  </a:lnTo>
                  <a:lnTo>
                    <a:pt x="399" y="310"/>
                  </a:lnTo>
                  <a:lnTo>
                    <a:pt x="398" y="306"/>
                  </a:lnTo>
                  <a:lnTo>
                    <a:pt x="399" y="303"/>
                  </a:lnTo>
                  <a:lnTo>
                    <a:pt x="401" y="299"/>
                  </a:lnTo>
                  <a:lnTo>
                    <a:pt x="401" y="297"/>
                  </a:lnTo>
                  <a:lnTo>
                    <a:pt x="401" y="297"/>
                  </a:lnTo>
                  <a:lnTo>
                    <a:pt x="401" y="297"/>
                  </a:lnTo>
                  <a:lnTo>
                    <a:pt x="398" y="297"/>
                  </a:lnTo>
                  <a:lnTo>
                    <a:pt x="394" y="302"/>
                  </a:lnTo>
                  <a:lnTo>
                    <a:pt x="394" y="302"/>
                  </a:lnTo>
                  <a:lnTo>
                    <a:pt x="391" y="303"/>
                  </a:lnTo>
                  <a:lnTo>
                    <a:pt x="389" y="302"/>
                  </a:lnTo>
                  <a:lnTo>
                    <a:pt x="388" y="300"/>
                  </a:lnTo>
                  <a:lnTo>
                    <a:pt x="385" y="299"/>
                  </a:lnTo>
                  <a:lnTo>
                    <a:pt x="385" y="299"/>
                  </a:lnTo>
                  <a:lnTo>
                    <a:pt x="382" y="299"/>
                  </a:lnTo>
                  <a:lnTo>
                    <a:pt x="379" y="296"/>
                  </a:lnTo>
                  <a:lnTo>
                    <a:pt x="378" y="293"/>
                  </a:lnTo>
                  <a:lnTo>
                    <a:pt x="375" y="292"/>
                  </a:lnTo>
                  <a:lnTo>
                    <a:pt x="375" y="292"/>
                  </a:lnTo>
                  <a:lnTo>
                    <a:pt x="373" y="290"/>
                  </a:lnTo>
                  <a:lnTo>
                    <a:pt x="372" y="289"/>
                  </a:lnTo>
                  <a:lnTo>
                    <a:pt x="376" y="287"/>
                  </a:lnTo>
                  <a:lnTo>
                    <a:pt x="376" y="287"/>
                  </a:lnTo>
                  <a:lnTo>
                    <a:pt x="376" y="286"/>
                  </a:lnTo>
                  <a:lnTo>
                    <a:pt x="376" y="286"/>
                  </a:lnTo>
                  <a:lnTo>
                    <a:pt x="375" y="283"/>
                  </a:lnTo>
                  <a:lnTo>
                    <a:pt x="370" y="281"/>
                  </a:lnTo>
                  <a:lnTo>
                    <a:pt x="367" y="280"/>
                  </a:lnTo>
                  <a:lnTo>
                    <a:pt x="367" y="280"/>
                  </a:lnTo>
                  <a:lnTo>
                    <a:pt x="360" y="280"/>
                  </a:lnTo>
                  <a:lnTo>
                    <a:pt x="353" y="277"/>
                  </a:lnTo>
                  <a:lnTo>
                    <a:pt x="353" y="277"/>
                  </a:lnTo>
                  <a:lnTo>
                    <a:pt x="347" y="274"/>
                  </a:lnTo>
                  <a:lnTo>
                    <a:pt x="344" y="274"/>
                  </a:lnTo>
                  <a:lnTo>
                    <a:pt x="344" y="273"/>
                  </a:lnTo>
                  <a:lnTo>
                    <a:pt x="344" y="273"/>
                  </a:lnTo>
                  <a:lnTo>
                    <a:pt x="346" y="271"/>
                  </a:lnTo>
                  <a:lnTo>
                    <a:pt x="349" y="271"/>
                  </a:lnTo>
                  <a:lnTo>
                    <a:pt x="357" y="273"/>
                  </a:lnTo>
                  <a:lnTo>
                    <a:pt x="357" y="273"/>
                  </a:lnTo>
                  <a:lnTo>
                    <a:pt x="359" y="273"/>
                  </a:lnTo>
                  <a:lnTo>
                    <a:pt x="359" y="271"/>
                  </a:lnTo>
                  <a:lnTo>
                    <a:pt x="356" y="268"/>
                  </a:lnTo>
                  <a:lnTo>
                    <a:pt x="350" y="264"/>
                  </a:lnTo>
                  <a:lnTo>
                    <a:pt x="350" y="264"/>
                  </a:lnTo>
                  <a:lnTo>
                    <a:pt x="349" y="264"/>
                  </a:lnTo>
                  <a:lnTo>
                    <a:pt x="349" y="263"/>
                  </a:lnTo>
                  <a:lnTo>
                    <a:pt x="353" y="261"/>
                  </a:lnTo>
                  <a:lnTo>
                    <a:pt x="353" y="261"/>
                  </a:lnTo>
                  <a:lnTo>
                    <a:pt x="354" y="261"/>
                  </a:lnTo>
                  <a:lnTo>
                    <a:pt x="354" y="260"/>
                  </a:lnTo>
                  <a:lnTo>
                    <a:pt x="353" y="258"/>
                  </a:lnTo>
                  <a:lnTo>
                    <a:pt x="352" y="257"/>
                  </a:lnTo>
                  <a:lnTo>
                    <a:pt x="352" y="257"/>
                  </a:lnTo>
                  <a:lnTo>
                    <a:pt x="353" y="255"/>
                  </a:lnTo>
                  <a:lnTo>
                    <a:pt x="353" y="255"/>
                  </a:lnTo>
                  <a:lnTo>
                    <a:pt x="353" y="255"/>
                  </a:lnTo>
                  <a:lnTo>
                    <a:pt x="353" y="254"/>
                  </a:lnTo>
                  <a:lnTo>
                    <a:pt x="352" y="252"/>
                  </a:lnTo>
                  <a:lnTo>
                    <a:pt x="343" y="250"/>
                  </a:lnTo>
                  <a:lnTo>
                    <a:pt x="343" y="250"/>
                  </a:lnTo>
                  <a:lnTo>
                    <a:pt x="343" y="250"/>
                  </a:lnTo>
                  <a:lnTo>
                    <a:pt x="344" y="250"/>
                  </a:lnTo>
                  <a:lnTo>
                    <a:pt x="349" y="248"/>
                  </a:lnTo>
                  <a:lnTo>
                    <a:pt x="360" y="248"/>
                  </a:lnTo>
                  <a:lnTo>
                    <a:pt x="360" y="248"/>
                  </a:lnTo>
                  <a:lnTo>
                    <a:pt x="363" y="248"/>
                  </a:lnTo>
                  <a:lnTo>
                    <a:pt x="366" y="247"/>
                  </a:lnTo>
                  <a:lnTo>
                    <a:pt x="369" y="245"/>
                  </a:lnTo>
                  <a:lnTo>
                    <a:pt x="370" y="242"/>
                  </a:lnTo>
                  <a:lnTo>
                    <a:pt x="370" y="242"/>
                  </a:lnTo>
                  <a:lnTo>
                    <a:pt x="369" y="241"/>
                  </a:lnTo>
                  <a:lnTo>
                    <a:pt x="367" y="239"/>
                  </a:lnTo>
                  <a:lnTo>
                    <a:pt x="362" y="238"/>
                  </a:lnTo>
                  <a:lnTo>
                    <a:pt x="349" y="235"/>
                  </a:lnTo>
                  <a:lnTo>
                    <a:pt x="349" y="235"/>
                  </a:lnTo>
                  <a:lnTo>
                    <a:pt x="347" y="235"/>
                  </a:lnTo>
                  <a:lnTo>
                    <a:pt x="347" y="234"/>
                  </a:lnTo>
                  <a:lnTo>
                    <a:pt x="349" y="231"/>
                  </a:lnTo>
                  <a:lnTo>
                    <a:pt x="356" y="225"/>
                  </a:lnTo>
                  <a:lnTo>
                    <a:pt x="356" y="225"/>
                  </a:lnTo>
                  <a:lnTo>
                    <a:pt x="360" y="221"/>
                  </a:lnTo>
                  <a:lnTo>
                    <a:pt x="365" y="219"/>
                  </a:lnTo>
                  <a:lnTo>
                    <a:pt x="365" y="219"/>
                  </a:lnTo>
                  <a:lnTo>
                    <a:pt x="366" y="219"/>
                  </a:lnTo>
                  <a:lnTo>
                    <a:pt x="366" y="216"/>
                  </a:lnTo>
                  <a:lnTo>
                    <a:pt x="365" y="209"/>
                  </a:lnTo>
                  <a:lnTo>
                    <a:pt x="362" y="194"/>
                  </a:lnTo>
                  <a:lnTo>
                    <a:pt x="362" y="194"/>
                  </a:lnTo>
                  <a:lnTo>
                    <a:pt x="360" y="192"/>
                  </a:lnTo>
                  <a:lnTo>
                    <a:pt x="357" y="192"/>
                  </a:lnTo>
                  <a:lnTo>
                    <a:pt x="350" y="196"/>
                  </a:lnTo>
                  <a:lnTo>
                    <a:pt x="350" y="196"/>
                  </a:lnTo>
                  <a:lnTo>
                    <a:pt x="343" y="199"/>
                  </a:lnTo>
                  <a:lnTo>
                    <a:pt x="333" y="199"/>
                  </a:lnTo>
                  <a:lnTo>
                    <a:pt x="333" y="199"/>
                  </a:lnTo>
                  <a:lnTo>
                    <a:pt x="328" y="197"/>
                  </a:lnTo>
                  <a:lnTo>
                    <a:pt x="330" y="196"/>
                  </a:lnTo>
                  <a:lnTo>
                    <a:pt x="337" y="192"/>
                  </a:lnTo>
                  <a:lnTo>
                    <a:pt x="337" y="192"/>
                  </a:lnTo>
                  <a:lnTo>
                    <a:pt x="341" y="190"/>
                  </a:lnTo>
                  <a:lnTo>
                    <a:pt x="346" y="186"/>
                  </a:lnTo>
                  <a:lnTo>
                    <a:pt x="350" y="180"/>
                  </a:lnTo>
                  <a:lnTo>
                    <a:pt x="350" y="180"/>
                  </a:lnTo>
                  <a:lnTo>
                    <a:pt x="350" y="179"/>
                  </a:lnTo>
                  <a:lnTo>
                    <a:pt x="349" y="177"/>
                  </a:lnTo>
                  <a:lnTo>
                    <a:pt x="344" y="174"/>
                  </a:lnTo>
                  <a:lnTo>
                    <a:pt x="344" y="174"/>
                  </a:lnTo>
                  <a:lnTo>
                    <a:pt x="341" y="173"/>
                  </a:lnTo>
                  <a:lnTo>
                    <a:pt x="337" y="170"/>
                  </a:lnTo>
                  <a:lnTo>
                    <a:pt x="334" y="168"/>
                  </a:lnTo>
                  <a:lnTo>
                    <a:pt x="330" y="167"/>
                  </a:lnTo>
                  <a:lnTo>
                    <a:pt x="330" y="167"/>
                  </a:lnTo>
                  <a:lnTo>
                    <a:pt x="323" y="166"/>
                  </a:lnTo>
                  <a:lnTo>
                    <a:pt x="318" y="164"/>
                  </a:lnTo>
                  <a:lnTo>
                    <a:pt x="315" y="161"/>
                  </a:lnTo>
                  <a:lnTo>
                    <a:pt x="315" y="161"/>
                  </a:lnTo>
                  <a:lnTo>
                    <a:pt x="312" y="158"/>
                  </a:lnTo>
                  <a:lnTo>
                    <a:pt x="311" y="157"/>
                  </a:lnTo>
                  <a:lnTo>
                    <a:pt x="310" y="157"/>
                  </a:lnTo>
                  <a:lnTo>
                    <a:pt x="310" y="157"/>
                  </a:lnTo>
                  <a:lnTo>
                    <a:pt x="307" y="155"/>
                  </a:lnTo>
                  <a:lnTo>
                    <a:pt x="305" y="154"/>
                  </a:lnTo>
                  <a:lnTo>
                    <a:pt x="304" y="150"/>
                  </a:lnTo>
                  <a:lnTo>
                    <a:pt x="304" y="150"/>
                  </a:lnTo>
                  <a:lnTo>
                    <a:pt x="304" y="145"/>
                  </a:lnTo>
                  <a:lnTo>
                    <a:pt x="304" y="142"/>
                  </a:lnTo>
                  <a:lnTo>
                    <a:pt x="302" y="139"/>
                  </a:lnTo>
                  <a:lnTo>
                    <a:pt x="302" y="139"/>
                  </a:lnTo>
                  <a:lnTo>
                    <a:pt x="298" y="137"/>
                  </a:lnTo>
                  <a:lnTo>
                    <a:pt x="295" y="137"/>
                  </a:lnTo>
                  <a:lnTo>
                    <a:pt x="286" y="139"/>
                  </a:lnTo>
                  <a:lnTo>
                    <a:pt x="286" y="139"/>
                  </a:lnTo>
                  <a:lnTo>
                    <a:pt x="282" y="138"/>
                  </a:lnTo>
                  <a:lnTo>
                    <a:pt x="276" y="135"/>
                  </a:lnTo>
                  <a:lnTo>
                    <a:pt x="269" y="132"/>
                  </a:lnTo>
                  <a:lnTo>
                    <a:pt x="265" y="131"/>
                  </a:lnTo>
                  <a:lnTo>
                    <a:pt x="265" y="131"/>
                  </a:lnTo>
                  <a:lnTo>
                    <a:pt x="262" y="129"/>
                  </a:lnTo>
                  <a:lnTo>
                    <a:pt x="260" y="129"/>
                  </a:lnTo>
                  <a:lnTo>
                    <a:pt x="259" y="125"/>
                  </a:lnTo>
                  <a:lnTo>
                    <a:pt x="259" y="125"/>
                  </a:lnTo>
                  <a:lnTo>
                    <a:pt x="257" y="124"/>
                  </a:lnTo>
                  <a:lnTo>
                    <a:pt x="255" y="124"/>
                  </a:lnTo>
                  <a:lnTo>
                    <a:pt x="252" y="122"/>
                  </a:lnTo>
                  <a:lnTo>
                    <a:pt x="252" y="122"/>
                  </a:lnTo>
                  <a:lnTo>
                    <a:pt x="250" y="122"/>
                  </a:lnTo>
                  <a:lnTo>
                    <a:pt x="250" y="121"/>
                  </a:lnTo>
                  <a:lnTo>
                    <a:pt x="250" y="116"/>
                  </a:lnTo>
                  <a:lnTo>
                    <a:pt x="250" y="116"/>
                  </a:lnTo>
                  <a:lnTo>
                    <a:pt x="246" y="113"/>
                  </a:lnTo>
                  <a:lnTo>
                    <a:pt x="241" y="110"/>
                  </a:lnTo>
                  <a:lnTo>
                    <a:pt x="241" y="110"/>
                  </a:lnTo>
                  <a:lnTo>
                    <a:pt x="239" y="109"/>
                  </a:lnTo>
                  <a:lnTo>
                    <a:pt x="239" y="105"/>
                  </a:lnTo>
                  <a:lnTo>
                    <a:pt x="239" y="102"/>
                  </a:lnTo>
                  <a:lnTo>
                    <a:pt x="239" y="99"/>
                  </a:lnTo>
                  <a:lnTo>
                    <a:pt x="239" y="99"/>
                  </a:lnTo>
                  <a:lnTo>
                    <a:pt x="233" y="92"/>
                  </a:lnTo>
                  <a:lnTo>
                    <a:pt x="228" y="89"/>
                  </a:lnTo>
                  <a:lnTo>
                    <a:pt x="224" y="86"/>
                  </a:lnTo>
                  <a:lnTo>
                    <a:pt x="224" y="86"/>
                  </a:lnTo>
                  <a:lnTo>
                    <a:pt x="220" y="84"/>
                  </a:lnTo>
                  <a:lnTo>
                    <a:pt x="214" y="82"/>
                  </a:lnTo>
                  <a:lnTo>
                    <a:pt x="214" y="82"/>
                  </a:lnTo>
                  <a:lnTo>
                    <a:pt x="208" y="80"/>
                  </a:lnTo>
                  <a:lnTo>
                    <a:pt x="199" y="80"/>
                  </a:lnTo>
                  <a:lnTo>
                    <a:pt x="186" y="79"/>
                  </a:lnTo>
                  <a:lnTo>
                    <a:pt x="186" y="79"/>
                  </a:lnTo>
                  <a:lnTo>
                    <a:pt x="184" y="80"/>
                  </a:lnTo>
                  <a:lnTo>
                    <a:pt x="182" y="82"/>
                  </a:lnTo>
                  <a:lnTo>
                    <a:pt x="179" y="86"/>
                  </a:lnTo>
                  <a:lnTo>
                    <a:pt x="179" y="86"/>
                  </a:lnTo>
                  <a:lnTo>
                    <a:pt x="181" y="87"/>
                  </a:lnTo>
                  <a:lnTo>
                    <a:pt x="184" y="90"/>
                  </a:lnTo>
                  <a:lnTo>
                    <a:pt x="186" y="93"/>
                  </a:lnTo>
                  <a:lnTo>
                    <a:pt x="188" y="95"/>
                  </a:lnTo>
                  <a:lnTo>
                    <a:pt x="188" y="95"/>
                  </a:lnTo>
                  <a:lnTo>
                    <a:pt x="186" y="95"/>
                  </a:lnTo>
                  <a:lnTo>
                    <a:pt x="182" y="95"/>
                  </a:lnTo>
                  <a:lnTo>
                    <a:pt x="175" y="92"/>
                  </a:lnTo>
                  <a:lnTo>
                    <a:pt x="175" y="92"/>
                  </a:lnTo>
                  <a:lnTo>
                    <a:pt x="173" y="93"/>
                  </a:lnTo>
                  <a:lnTo>
                    <a:pt x="173" y="95"/>
                  </a:lnTo>
                  <a:lnTo>
                    <a:pt x="172" y="99"/>
                  </a:lnTo>
                  <a:lnTo>
                    <a:pt x="170" y="105"/>
                  </a:lnTo>
                  <a:lnTo>
                    <a:pt x="169" y="108"/>
                  </a:lnTo>
                  <a:lnTo>
                    <a:pt x="169" y="108"/>
                  </a:lnTo>
                  <a:lnTo>
                    <a:pt x="168" y="108"/>
                  </a:lnTo>
                  <a:lnTo>
                    <a:pt x="166" y="106"/>
                  </a:lnTo>
                  <a:lnTo>
                    <a:pt x="165" y="99"/>
                  </a:lnTo>
                  <a:lnTo>
                    <a:pt x="165" y="84"/>
                  </a:lnTo>
                  <a:lnTo>
                    <a:pt x="165" y="84"/>
                  </a:lnTo>
                  <a:lnTo>
                    <a:pt x="165" y="82"/>
                  </a:lnTo>
                  <a:lnTo>
                    <a:pt x="163" y="80"/>
                  </a:lnTo>
                  <a:lnTo>
                    <a:pt x="159" y="77"/>
                  </a:lnTo>
                  <a:lnTo>
                    <a:pt x="159" y="77"/>
                  </a:lnTo>
                  <a:lnTo>
                    <a:pt x="156" y="79"/>
                  </a:lnTo>
                  <a:lnTo>
                    <a:pt x="155" y="80"/>
                  </a:lnTo>
                  <a:lnTo>
                    <a:pt x="150" y="86"/>
                  </a:lnTo>
                  <a:lnTo>
                    <a:pt x="150" y="86"/>
                  </a:lnTo>
                  <a:lnTo>
                    <a:pt x="149" y="87"/>
                  </a:lnTo>
                  <a:lnTo>
                    <a:pt x="147" y="87"/>
                  </a:lnTo>
                  <a:lnTo>
                    <a:pt x="143" y="86"/>
                  </a:lnTo>
                  <a:lnTo>
                    <a:pt x="143" y="86"/>
                  </a:lnTo>
                  <a:lnTo>
                    <a:pt x="142" y="87"/>
                  </a:lnTo>
                  <a:lnTo>
                    <a:pt x="139" y="90"/>
                  </a:lnTo>
                  <a:lnTo>
                    <a:pt x="136" y="100"/>
                  </a:lnTo>
                  <a:lnTo>
                    <a:pt x="136" y="100"/>
                  </a:lnTo>
                  <a:lnTo>
                    <a:pt x="133" y="105"/>
                  </a:lnTo>
                  <a:lnTo>
                    <a:pt x="130" y="108"/>
                  </a:lnTo>
                  <a:lnTo>
                    <a:pt x="127" y="109"/>
                  </a:lnTo>
                  <a:lnTo>
                    <a:pt x="124" y="109"/>
                  </a:lnTo>
                  <a:lnTo>
                    <a:pt x="124" y="109"/>
                  </a:lnTo>
                  <a:lnTo>
                    <a:pt x="123" y="109"/>
                  </a:lnTo>
                  <a:lnTo>
                    <a:pt x="123" y="106"/>
                  </a:lnTo>
                  <a:lnTo>
                    <a:pt x="124" y="99"/>
                  </a:lnTo>
                  <a:lnTo>
                    <a:pt x="130" y="84"/>
                  </a:lnTo>
                  <a:lnTo>
                    <a:pt x="130" y="84"/>
                  </a:lnTo>
                  <a:lnTo>
                    <a:pt x="131" y="80"/>
                  </a:lnTo>
                  <a:lnTo>
                    <a:pt x="133" y="77"/>
                  </a:lnTo>
                  <a:lnTo>
                    <a:pt x="139" y="73"/>
                  </a:lnTo>
                  <a:lnTo>
                    <a:pt x="139" y="73"/>
                  </a:lnTo>
                  <a:lnTo>
                    <a:pt x="139" y="68"/>
                  </a:lnTo>
                  <a:lnTo>
                    <a:pt x="139" y="61"/>
                  </a:lnTo>
                  <a:lnTo>
                    <a:pt x="136" y="51"/>
                  </a:lnTo>
                  <a:lnTo>
                    <a:pt x="136" y="51"/>
                  </a:lnTo>
                  <a:lnTo>
                    <a:pt x="136" y="48"/>
                  </a:lnTo>
                  <a:lnTo>
                    <a:pt x="137" y="45"/>
                  </a:lnTo>
                  <a:lnTo>
                    <a:pt x="140" y="41"/>
                  </a:lnTo>
                  <a:lnTo>
                    <a:pt x="140" y="41"/>
                  </a:lnTo>
                  <a:lnTo>
                    <a:pt x="142" y="40"/>
                  </a:lnTo>
                  <a:lnTo>
                    <a:pt x="142" y="38"/>
                  </a:lnTo>
                  <a:lnTo>
                    <a:pt x="139" y="35"/>
                  </a:lnTo>
                  <a:lnTo>
                    <a:pt x="139" y="35"/>
                  </a:lnTo>
                  <a:lnTo>
                    <a:pt x="139" y="32"/>
                  </a:lnTo>
                  <a:lnTo>
                    <a:pt x="139" y="31"/>
                  </a:lnTo>
                  <a:lnTo>
                    <a:pt x="140" y="28"/>
                  </a:lnTo>
                  <a:lnTo>
                    <a:pt x="142" y="24"/>
                  </a:lnTo>
                  <a:lnTo>
                    <a:pt x="142" y="24"/>
                  </a:lnTo>
                  <a:lnTo>
                    <a:pt x="140" y="6"/>
                  </a:lnTo>
                  <a:lnTo>
                    <a:pt x="140" y="6"/>
                  </a:lnTo>
                  <a:lnTo>
                    <a:pt x="140" y="5"/>
                  </a:lnTo>
                  <a:lnTo>
                    <a:pt x="139" y="5"/>
                  </a:lnTo>
                  <a:lnTo>
                    <a:pt x="134" y="3"/>
                  </a:lnTo>
                  <a:lnTo>
                    <a:pt x="126" y="6"/>
                  </a:lnTo>
                  <a:lnTo>
                    <a:pt x="126" y="6"/>
                  </a:lnTo>
                  <a:lnTo>
                    <a:pt x="120" y="8"/>
                  </a:lnTo>
                  <a:lnTo>
                    <a:pt x="117" y="8"/>
                  </a:lnTo>
                  <a:lnTo>
                    <a:pt x="114" y="11"/>
                  </a:lnTo>
                  <a:lnTo>
                    <a:pt x="114" y="11"/>
                  </a:lnTo>
                  <a:lnTo>
                    <a:pt x="115" y="12"/>
                  </a:lnTo>
                  <a:lnTo>
                    <a:pt x="117" y="16"/>
                  </a:lnTo>
                  <a:lnTo>
                    <a:pt x="120" y="21"/>
                  </a:lnTo>
                  <a:lnTo>
                    <a:pt x="120" y="21"/>
                  </a:lnTo>
                  <a:lnTo>
                    <a:pt x="118" y="21"/>
                  </a:lnTo>
                  <a:lnTo>
                    <a:pt x="117" y="21"/>
                  </a:lnTo>
                  <a:lnTo>
                    <a:pt x="110" y="18"/>
                  </a:lnTo>
                  <a:lnTo>
                    <a:pt x="110" y="18"/>
                  </a:lnTo>
                  <a:lnTo>
                    <a:pt x="107" y="18"/>
                  </a:lnTo>
                  <a:lnTo>
                    <a:pt x="104" y="18"/>
                  </a:lnTo>
                  <a:lnTo>
                    <a:pt x="101" y="19"/>
                  </a:lnTo>
                  <a:lnTo>
                    <a:pt x="100" y="21"/>
                  </a:lnTo>
                  <a:lnTo>
                    <a:pt x="100" y="21"/>
                  </a:lnTo>
                  <a:lnTo>
                    <a:pt x="101" y="22"/>
                  </a:lnTo>
                  <a:lnTo>
                    <a:pt x="105" y="24"/>
                  </a:lnTo>
                  <a:lnTo>
                    <a:pt x="108" y="25"/>
                  </a:lnTo>
                  <a:lnTo>
                    <a:pt x="111" y="28"/>
                  </a:lnTo>
                  <a:lnTo>
                    <a:pt x="111" y="28"/>
                  </a:lnTo>
                  <a:lnTo>
                    <a:pt x="115" y="32"/>
                  </a:lnTo>
                  <a:lnTo>
                    <a:pt x="120" y="37"/>
                  </a:lnTo>
                  <a:lnTo>
                    <a:pt x="120" y="37"/>
                  </a:lnTo>
                  <a:lnTo>
                    <a:pt x="120" y="38"/>
                  </a:lnTo>
                  <a:lnTo>
                    <a:pt x="118" y="40"/>
                  </a:lnTo>
                  <a:lnTo>
                    <a:pt x="115" y="42"/>
                  </a:lnTo>
                  <a:lnTo>
                    <a:pt x="111" y="44"/>
                  </a:lnTo>
                  <a:lnTo>
                    <a:pt x="107" y="45"/>
                  </a:lnTo>
                  <a:lnTo>
                    <a:pt x="107" y="45"/>
                  </a:lnTo>
                  <a:lnTo>
                    <a:pt x="104" y="45"/>
                  </a:lnTo>
                  <a:lnTo>
                    <a:pt x="101" y="44"/>
                  </a:lnTo>
                  <a:lnTo>
                    <a:pt x="100" y="44"/>
                  </a:lnTo>
                  <a:lnTo>
                    <a:pt x="95" y="45"/>
                  </a:lnTo>
                  <a:lnTo>
                    <a:pt x="95" y="45"/>
                  </a:lnTo>
                  <a:lnTo>
                    <a:pt x="92" y="45"/>
                  </a:lnTo>
                  <a:lnTo>
                    <a:pt x="91" y="45"/>
                  </a:lnTo>
                  <a:lnTo>
                    <a:pt x="89" y="44"/>
                  </a:lnTo>
                  <a:lnTo>
                    <a:pt x="86" y="44"/>
                  </a:lnTo>
                  <a:lnTo>
                    <a:pt x="86" y="44"/>
                  </a:lnTo>
                  <a:lnTo>
                    <a:pt x="86" y="45"/>
                  </a:lnTo>
                  <a:lnTo>
                    <a:pt x="85" y="47"/>
                  </a:lnTo>
                  <a:lnTo>
                    <a:pt x="85" y="54"/>
                  </a:lnTo>
                  <a:lnTo>
                    <a:pt x="86" y="68"/>
                  </a:lnTo>
                  <a:lnTo>
                    <a:pt x="86" y="68"/>
                  </a:lnTo>
                  <a:lnTo>
                    <a:pt x="86" y="73"/>
                  </a:lnTo>
                  <a:lnTo>
                    <a:pt x="88" y="76"/>
                  </a:lnTo>
                  <a:lnTo>
                    <a:pt x="94" y="82"/>
                  </a:lnTo>
                  <a:lnTo>
                    <a:pt x="94" y="82"/>
                  </a:lnTo>
                  <a:lnTo>
                    <a:pt x="97" y="84"/>
                  </a:lnTo>
                  <a:lnTo>
                    <a:pt x="97" y="87"/>
                  </a:lnTo>
                  <a:lnTo>
                    <a:pt x="97" y="89"/>
                  </a:lnTo>
                  <a:lnTo>
                    <a:pt x="95" y="90"/>
                  </a:lnTo>
                  <a:lnTo>
                    <a:pt x="95" y="90"/>
                  </a:lnTo>
                  <a:lnTo>
                    <a:pt x="92" y="90"/>
                  </a:lnTo>
                  <a:lnTo>
                    <a:pt x="89" y="89"/>
                  </a:lnTo>
                  <a:lnTo>
                    <a:pt x="86" y="87"/>
                  </a:lnTo>
                  <a:lnTo>
                    <a:pt x="84" y="87"/>
                  </a:lnTo>
                  <a:lnTo>
                    <a:pt x="84" y="87"/>
                  </a:lnTo>
                  <a:lnTo>
                    <a:pt x="84" y="90"/>
                  </a:lnTo>
                  <a:lnTo>
                    <a:pt x="85" y="95"/>
                  </a:lnTo>
                  <a:lnTo>
                    <a:pt x="86" y="99"/>
                  </a:lnTo>
                  <a:lnTo>
                    <a:pt x="88" y="105"/>
                  </a:lnTo>
                  <a:lnTo>
                    <a:pt x="88" y="105"/>
                  </a:lnTo>
                  <a:lnTo>
                    <a:pt x="89" y="109"/>
                  </a:lnTo>
                  <a:lnTo>
                    <a:pt x="92" y="112"/>
                  </a:lnTo>
                  <a:lnTo>
                    <a:pt x="97" y="116"/>
                  </a:lnTo>
                  <a:lnTo>
                    <a:pt x="101" y="118"/>
                  </a:lnTo>
                  <a:lnTo>
                    <a:pt x="101" y="118"/>
                  </a:lnTo>
                  <a:lnTo>
                    <a:pt x="104" y="119"/>
                  </a:lnTo>
                  <a:lnTo>
                    <a:pt x="104" y="121"/>
                  </a:lnTo>
                  <a:lnTo>
                    <a:pt x="105" y="125"/>
                  </a:lnTo>
                  <a:lnTo>
                    <a:pt x="105" y="125"/>
                  </a:lnTo>
                  <a:lnTo>
                    <a:pt x="110" y="128"/>
                  </a:lnTo>
                  <a:lnTo>
                    <a:pt x="115" y="132"/>
                  </a:lnTo>
                  <a:lnTo>
                    <a:pt x="121" y="137"/>
                  </a:lnTo>
                  <a:lnTo>
                    <a:pt x="124" y="139"/>
                  </a:lnTo>
                  <a:lnTo>
                    <a:pt x="124" y="139"/>
                  </a:lnTo>
                  <a:lnTo>
                    <a:pt x="124" y="144"/>
                  </a:lnTo>
                  <a:lnTo>
                    <a:pt x="123" y="145"/>
                  </a:lnTo>
                  <a:lnTo>
                    <a:pt x="118" y="150"/>
                  </a:lnTo>
                  <a:lnTo>
                    <a:pt x="118" y="150"/>
                  </a:lnTo>
                  <a:lnTo>
                    <a:pt x="117" y="150"/>
                  </a:lnTo>
                  <a:lnTo>
                    <a:pt x="115" y="150"/>
                  </a:lnTo>
                  <a:lnTo>
                    <a:pt x="115" y="148"/>
                  </a:lnTo>
                  <a:lnTo>
                    <a:pt x="114" y="148"/>
                  </a:lnTo>
                  <a:lnTo>
                    <a:pt x="114" y="148"/>
                  </a:lnTo>
                  <a:lnTo>
                    <a:pt x="113" y="148"/>
                  </a:lnTo>
                  <a:lnTo>
                    <a:pt x="111" y="151"/>
                  </a:lnTo>
                  <a:lnTo>
                    <a:pt x="110" y="154"/>
                  </a:lnTo>
                  <a:lnTo>
                    <a:pt x="108" y="157"/>
                  </a:lnTo>
                  <a:lnTo>
                    <a:pt x="108" y="157"/>
                  </a:lnTo>
                  <a:lnTo>
                    <a:pt x="107" y="157"/>
                  </a:lnTo>
                  <a:lnTo>
                    <a:pt x="107" y="155"/>
                  </a:lnTo>
                  <a:lnTo>
                    <a:pt x="105" y="152"/>
                  </a:lnTo>
                  <a:lnTo>
                    <a:pt x="104" y="145"/>
                  </a:lnTo>
                  <a:lnTo>
                    <a:pt x="104" y="145"/>
                  </a:lnTo>
                  <a:lnTo>
                    <a:pt x="101" y="145"/>
                  </a:lnTo>
                  <a:lnTo>
                    <a:pt x="98" y="148"/>
                  </a:lnTo>
                  <a:lnTo>
                    <a:pt x="94" y="151"/>
                  </a:lnTo>
                  <a:lnTo>
                    <a:pt x="89" y="154"/>
                  </a:lnTo>
                  <a:lnTo>
                    <a:pt x="89" y="154"/>
                  </a:lnTo>
                  <a:lnTo>
                    <a:pt x="88" y="154"/>
                  </a:lnTo>
                  <a:lnTo>
                    <a:pt x="88" y="152"/>
                  </a:lnTo>
                  <a:lnTo>
                    <a:pt x="89" y="150"/>
                  </a:lnTo>
                  <a:lnTo>
                    <a:pt x="95" y="141"/>
                  </a:lnTo>
                  <a:lnTo>
                    <a:pt x="95" y="141"/>
                  </a:lnTo>
                  <a:lnTo>
                    <a:pt x="95" y="139"/>
                  </a:lnTo>
                  <a:lnTo>
                    <a:pt x="95" y="137"/>
                  </a:lnTo>
                  <a:lnTo>
                    <a:pt x="94" y="135"/>
                  </a:lnTo>
                  <a:lnTo>
                    <a:pt x="92" y="135"/>
                  </a:lnTo>
                  <a:lnTo>
                    <a:pt x="92" y="135"/>
                  </a:lnTo>
                  <a:lnTo>
                    <a:pt x="91" y="134"/>
                  </a:lnTo>
                  <a:lnTo>
                    <a:pt x="91" y="132"/>
                  </a:lnTo>
                  <a:lnTo>
                    <a:pt x="89" y="128"/>
                  </a:lnTo>
                  <a:lnTo>
                    <a:pt x="86" y="125"/>
                  </a:lnTo>
                  <a:lnTo>
                    <a:pt x="86" y="125"/>
                  </a:lnTo>
                  <a:lnTo>
                    <a:pt x="76" y="115"/>
                  </a:lnTo>
                  <a:lnTo>
                    <a:pt x="72" y="109"/>
                  </a:lnTo>
                  <a:lnTo>
                    <a:pt x="69" y="103"/>
                  </a:lnTo>
                  <a:lnTo>
                    <a:pt x="69" y="103"/>
                  </a:lnTo>
                  <a:lnTo>
                    <a:pt x="68" y="100"/>
                  </a:lnTo>
                  <a:lnTo>
                    <a:pt x="68" y="96"/>
                  </a:lnTo>
                  <a:lnTo>
                    <a:pt x="71" y="87"/>
                  </a:lnTo>
                  <a:lnTo>
                    <a:pt x="72" y="80"/>
                  </a:lnTo>
                  <a:lnTo>
                    <a:pt x="73" y="74"/>
                  </a:lnTo>
                  <a:lnTo>
                    <a:pt x="73" y="74"/>
                  </a:lnTo>
                  <a:lnTo>
                    <a:pt x="72" y="63"/>
                  </a:lnTo>
                  <a:lnTo>
                    <a:pt x="71" y="55"/>
                  </a:lnTo>
                  <a:lnTo>
                    <a:pt x="69" y="48"/>
                  </a:lnTo>
                  <a:lnTo>
                    <a:pt x="69" y="48"/>
                  </a:lnTo>
                  <a:lnTo>
                    <a:pt x="71" y="44"/>
                  </a:lnTo>
                  <a:lnTo>
                    <a:pt x="72" y="40"/>
                  </a:lnTo>
                  <a:lnTo>
                    <a:pt x="78" y="31"/>
                  </a:lnTo>
                  <a:lnTo>
                    <a:pt x="88" y="18"/>
                  </a:lnTo>
                  <a:lnTo>
                    <a:pt x="88" y="18"/>
                  </a:lnTo>
                  <a:lnTo>
                    <a:pt x="94" y="9"/>
                  </a:lnTo>
                  <a:lnTo>
                    <a:pt x="97" y="5"/>
                  </a:lnTo>
                  <a:lnTo>
                    <a:pt x="97" y="2"/>
                  </a:lnTo>
                  <a:lnTo>
                    <a:pt x="97" y="2"/>
                  </a:lnTo>
                  <a:lnTo>
                    <a:pt x="97" y="0"/>
                  </a:lnTo>
                  <a:lnTo>
                    <a:pt x="95" y="0"/>
                  </a:lnTo>
                  <a:lnTo>
                    <a:pt x="92" y="2"/>
                  </a:lnTo>
                  <a:lnTo>
                    <a:pt x="92" y="2"/>
                  </a:lnTo>
                  <a:lnTo>
                    <a:pt x="86" y="3"/>
                  </a:lnTo>
                  <a:lnTo>
                    <a:pt x="75" y="3"/>
                  </a:lnTo>
                  <a:lnTo>
                    <a:pt x="58" y="3"/>
                  </a:lnTo>
                  <a:lnTo>
                    <a:pt x="58" y="3"/>
                  </a:lnTo>
                  <a:lnTo>
                    <a:pt x="44" y="9"/>
                  </a:lnTo>
                  <a:lnTo>
                    <a:pt x="33" y="15"/>
                  </a:lnTo>
                  <a:lnTo>
                    <a:pt x="33" y="15"/>
                  </a:lnTo>
                  <a:lnTo>
                    <a:pt x="29" y="19"/>
                  </a:lnTo>
                  <a:lnTo>
                    <a:pt x="24" y="25"/>
                  </a:lnTo>
                  <a:lnTo>
                    <a:pt x="24" y="25"/>
                  </a:lnTo>
                  <a:lnTo>
                    <a:pt x="17" y="32"/>
                  </a:lnTo>
                  <a:lnTo>
                    <a:pt x="11" y="38"/>
                  </a:lnTo>
                  <a:lnTo>
                    <a:pt x="11" y="38"/>
                  </a:lnTo>
                  <a:lnTo>
                    <a:pt x="10" y="40"/>
                  </a:lnTo>
                  <a:lnTo>
                    <a:pt x="10" y="41"/>
                  </a:lnTo>
                  <a:lnTo>
                    <a:pt x="11" y="48"/>
                  </a:lnTo>
                  <a:lnTo>
                    <a:pt x="13" y="61"/>
                  </a:lnTo>
                  <a:lnTo>
                    <a:pt x="13" y="61"/>
                  </a:lnTo>
                  <a:lnTo>
                    <a:pt x="11" y="68"/>
                  </a:lnTo>
                  <a:lnTo>
                    <a:pt x="8" y="79"/>
                  </a:lnTo>
                  <a:lnTo>
                    <a:pt x="5" y="89"/>
                  </a:lnTo>
                  <a:lnTo>
                    <a:pt x="1" y="95"/>
                  </a:lnTo>
                  <a:lnTo>
                    <a:pt x="1" y="95"/>
                  </a:lnTo>
                  <a:lnTo>
                    <a:pt x="0" y="100"/>
                  </a:lnTo>
                  <a:lnTo>
                    <a:pt x="1" y="106"/>
                  </a:lnTo>
                  <a:lnTo>
                    <a:pt x="4" y="112"/>
                  </a:lnTo>
                  <a:lnTo>
                    <a:pt x="8" y="118"/>
                  </a:lnTo>
                  <a:lnTo>
                    <a:pt x="8" y="118"/>
                  </a:lnTo>
                  <a:lnTo>
                    <a:pt x="13" y="122"/>
                  </a:lnTo>
                  <a:lnTo>
                    <a:pt x="13" y="124"/>
                  </a:lnTo>
                  <a:lnTo>
                    <a:pt x="13" y="126"/>
                  </a:lnTo>
                  <a:lnTo>
                    <a:pt x="13" y="126"/>
                  </a:lnTo>
                  <a:lnTo>
                    <a:pt x="13" y="129"/>
                  </a:lnTo>
                  <a:lnTo>
                    <a:pt x="14" y="134"/>
                  </a:lnTo>
                  <a:lnTo>
                    <a:pt x="18" y="142"/>
                  </a:lnTo>
                  <a:lnTo>
                    <a:pt x="18" y="142"/>
                  </a:lnTo>
                  <a:lnTo>
                    <a:pt x="20" y="145"/>
                  </a:lnTo>
                  <a:lnTo>
                    <a:pt x="23" y="145"/>
                  </a:lnTo>
                  <a:lnTo>
                    <a:pt x="31" y="148"/>
                  </a:lnTo>
                  <a:lnTo>
                    <a:pt x="31" y="148"/>
                  </a:lnTo>
                  <a:lnTo>
                    <a:pt x="37" y="151"/>
                  </a:lnTo>
                  <a:lnTo>
                    <a:pt x="42" y="154"/>
                  </a:lnTo>
                  <a:lnTo>
                    <a:pt x="46" y="160"/>
                  </a:lnTo>
                  <a:lnTo>
                    <a:pt x="46" y="160"/>
                  </a:lnTo>
                  <a:lnTo>
                    <a:pt x="46" y="161"/>
                  </a:lnTo>
                  <a:lnTo>
                    <a:pt x="44" y="161"/>
                  </a:lnTo>
                  <a:lnTo>
                    <a:pt x="40" y="160"/>
                  </a:lnTo>
                  <a:lnTo>
                    <a:pt x="30" y="158"/>
                  </a:lnTo>
                  <a:lnTo>
                    <a:pt x="30" y="158"/>
                  </a:lnTo>
                  <a:lnTo>
                    <a:pt x="30" y="158"/>
                  </a:lnTo>
                  <a:lnTo>
                    <a:pt x="30" y="160"/>
                  </a:lnTo>
                  <a:lnTo>
                    <a:pt x="31" y="163"/>
                  </a:lnTo>
                  <a:lnTo>
                    <a:pt x="37" y="171"/>
                  </a:lnTo>
                  <a:lnTo>
                    <a:pt x="37" y="171"/>
                  </a:lnTo>
                  <a:lnTo>
                    <a:pt x="40" y="174"/>
                  </a:lnTo>
                  <a:lnTo>
                    <a:pt x="43" y="176"/>
                  </a:lnTo>
                  <a:lnTo>
                    <a:pt x="44" y="174"/>
                  </a:lnTo>
                  <a:lnTo>
                    <a:pt x="49" y="176"/>
                  </a:lnTo>
                  <a:lnTo>
                    <a:pt x="49" y="176"/>
                  </a:lnTo>
                  <a:lnTo>
                    <a:pt x="53" y="177"/>
                  </a:lnTo>
                  <a:lnTo>
                    <a:pt x="55" y="180"/>
                  </a:lnTo>
                  <a:lnTo>
                    <a:pt x="58" y="186"/>
                  </a:lnTo>
                  <a:lnTo>
                    <a:pt x="58" y="186"/>
                  </a:lnTo>
                  <a:lnTo>
                    <a:pt x="58" y="186"/>
                  </a:lnTo>
                  <a:lnTo>
                    <a:pt x="56" y="186"/>
                  </a:lnTo>
                  <a:lnTo>
                    <a:pt x="52" y="184"/>
                  </a:lnTo>
                  <a:lnTo>
                    <a:pt x="47" y="183"/>
                  </a:lnTo>
                  <a:lnTo>
                    <a:pt x="46" y="183"/>
                  </a:lnTo>
                  <a:lnTo>
                    <a:pt x="47" y="183"/>
                  </a:lnTo>
                  <a:lnTo>
                    <a:pt x="47" y="183"/>
                  </a:lnTo>
                  <a:lnTo>
                    <a:pt x="53" y="190"/>
                  </a:lnTo>
                  <a:lnTo>
                    <a:pt x="59" y="196"/>
                  </a:lnTo>
                  <a:lnTo>
                    <a:pt x="59" y="196"/>
                  </a:lnTo>
                  <a:lnTo>
                    <a:pt x="62" y="197"/>
                  </a:lnTo>
                  <a:lnTo>
                    <a:pt x="63" y="196"/>
                  </a:lnTo>
                  <a:lnTo>
                    <a:pt x="66" y="193"/>
                  </a:lnTo>
                  <a:lnTo>
                    <a:pt x="66" y="193"/>
                  </a:lnTo>
                  <a:lnTo>
                    <a:pt x="69" y="194"/>
                  </a:lnTo>
                  <a:lnTo>
                    <a:pt x="72" y="197"/>
                  </a:lnTo>
                  <a:lnTo>
                    <a:pt x="76" y="200"/>
                  </a:lnTo>
                  <a:lnTo>
                    <a:pt x="76" y="200"/>
                  </a:lnTo>
                  <a:lnTo>
                    <a:pt x="81" y="199"/>
                  </a:lnTo>
                  <a:lnTo>
                    <a:pt x="85" y="197"/>
                  </a:lnTo>
                  <a:lnTo>
                    <a:pt x="85" y="197"/>
                  </a:lnTo>
                  <a:lnTo>
                    <a:pt x="88" y="199"/>
                  </a:lnTo>
                  <a:lnTo>
                    <a:pt x="89" y="202"/>
                  </a:lnTo>
                  <a:lnTo>
                    <a:pt x="92" y="205"/>
                  </a:lnTo>
                  <a:lnTo>
                    <a:pt x="95" y="208"/>
                  </a:lnTo>
                  <a:lnTo>
                    <a:pt x="95" y="208"/>
                  </a:lnTo>
                  <a:lnTo>
                    <a:pt x="101" y="209"/>
                  </a:lnTo>
                  <a:lnTo>
                    <a:pt x="108" y="209"/>
                  </a:lnTo>
                  <a:lnTo>
                    <a:pt x="121" y="210"/>
                  </a:lnTo>
                  <a:lnTo>
                    <a:pt x="121" y="210"/>
                  </a:lnTo>
                  <a:lnTo>
                    <a:pt x="127" y="212"/>
                  </a:lnTo>
                  <a:lnTo>
                    <a:pt x="130" y="213"/>
                  </a:lnTo>
                  <a:lnTo>
                    <a:pt x="130" y="213"/>
                  </a:lnTo>
                  <a:lnTo>
                    <a:pt x="133" y="212"/>
                  </a:lnTo>
                  <a:lnTo>
                    <a:pt x="136" y="209"/>
                  </a:lnTo>
                  <a:lnTo>
                    <a:pt x="136" y="209"/>
                  </a:lnTo>
                  <a:lnTo>
                    <a:pt x="137" y="209"/>
                  </a:lnTo>
                  <a:lnTo>
                    <a:pt x="139" y="210"/>
                  </a:lnTo>
                  <a:lnTo>
                    <a:pt x="139" y="212"/>
                  </a:lnTo>
                  <a:lnTo>
                    <a:pt x="140" y="212"/>
                  </a:lnTo>
                  <a:lnTo>
                    <a:pt x="140" y="212"/>
                  </a:lnTo>
                  <a:lnTo>
                    <a:pt x="152" y="210"/>
                  </a:lnTo>
                  <a:lnTo>
                    <a:pt x="168" y="208"/>
                  </a:lnTo>
                  <a:lnTo>
                    <a:pt x="168" y="208"/>
                  </a:lnTo>
                  <a:lnTo>
                    <a:pt x="185" y="205"/>
                  </a:lnTo>
                  <a:lnTo>
                    <a:pt x="185" y="205"/>
                  </a:lnTo>
                  <a:lnTo>
                    <a:pt x="189" y="206"/>
                  </a:lnTo>
                  <a:lnTo>
                    <a:pt x="192" y="210"/>
                  </a:lnTo>
                  <a:lnTo>
                    <a:pt x="197" y="216"/>
                  </a:lnTo>
                  <a:lnTo>
                    <a:pt x="201" y="221"/>
                  </a:lnTo>
                  <a:lnTo>
                    <a:pt x="201" y="221"/>
                  </a:lnTo>
                  <a:lnTo>
                    <a:pt x="202" y="221"/>
                  </a:lnTo>
                  <a:lnTo>
                    <a:pt x="204" y="221"/>
                  </a:lnTo>
                  <a:lnTo>
                    <a:pt x="204" y="215"/>
                  </a:lnTo>
                  <a:lnTo>
                    <a:pt x="204" y="215"/>
                  </a:lnTo>
                  <a:lnTo>
                    <a:pt x="205" y="212"/>
                  </a:lnTo>
                  <a:lnTo>
                    <a:pt x="207" y="210"/>
                  </a:lnTo>
                  <a:lnTo>
                    <a:pt x="210" y="209"/>
                  </a:lnTo>
                  <a:lnTo>
                    <a:pt x="213" y="209"/>
                  </a:lnTo>
                  <a:lnTo>
                    <a:pt x="213" y="209"/>
                  </a:lnTo>
                  <a:lnTo>
                    <a:pt x="214" y="209"/>
                  </a:lnTo>
                  <a:lnTo>
                    <a:pt x="214" y="212"/>
                  </a:lnTo>
                  <a:lnTo>
                    <a:pt x="213" y="216"/>
                  </a:lnTo>
                  <a:lnTo>
                    <a:pt x="213" y="216"/>
                  </a:lnTo>
                  <a:lnTo>
                    <a:pt x="213" y="219"/>
                  </a:lnTo>
                  <a:lnTo>
                    <a:pt x="213" y="223"/>
                  </a:lnTo>
                  <a:lnTo>
                    <a:pt x="214" y="228"/>
                  </a:lnTo>
                  <a:lnTo>
                    <a:pt x="217" y="232"/>
                  </a:lnTo>
                  <a:lnTo>
                    <a:pt x="217" y="232"/>
                  </a:lnTo>
                  <a:lnTo>
                    <a:pt x="220" y="235"/>
                  </a:lnTo>
                  <a:lnTo>
                    <a:pt x="223" y="236"/>
                  </a:lnTo>
                  <a:lnTo>
                    <a:pt x="231" y="241"/>
                  </a:lnTo>
                  <a:lnTo>
                    <a:pt x="231" y="241"/>
                  </a:lnTo>
                  <a:lnTo>
                    <a:pt x="236" y="244"/>
                  </a:lnTo>
                  <a:lnTo>
                    <a:pt x="240" y="245"/>
                  </a:lnTo>
                  <a:lnTo>
                    <a:pt x="249" y="245"/>
                  </a:lnTo>
                  <a:lnTo>
                    <a:pt x="249" y="245"/>
                  </a:lnTo>
                  <a:lnTo>
                    <a:pt x="253" y="247"/>
                  </a:lnTo>
                  <a:lnTo>
                    <a:pt x="256" y="248"/>
                  </a:lnTo>
                  <a:lnTo>
                    <a:pt x="257" y="251"/>
                  </a:lnTo>
                  <a:lnTo>
                    <a:pt x="256" y="252"/>
                  </a:lnTo>
                  <a:lnTo>
                    <a:pt x="256" y="252"/>
                  </a:lnTo>
                  <a:lnTo>
                    <a:pt x="253" y="257"/>
                  </a:lnTo>
                  <a:lnTo>
                    <a:pt x="253" y="263"/>
                  </a:lnTo>
                  <a:lnTo>
                    <a:pt x="255" y="268"/>
                  </a:lnTo>
                  <a:lnTo>
                    <a:pt x="256" y="273"/>
                  </a:lnTo>
                  <a:lnTo>
                    <a:pt x="256" y="273"/>
                  </a:lnTo>
                  <a:lnTo>
                    <a:pt x="259" y="280"/>
                  </a:lnTo>
                  <a:lnTo>
                    <a:pt x="260" y="283"/>
                  </a:lnTo>
                  <a:lnTo>
                    <a:pt x="263" y="284"/>
                  </a:lnTo>
                  <a:lnTo>
                    <a:pt x="263" y="284"/>
                  </a:lnTo>
                  <a:lnTo>
                    <a:pt x="266" y="286"/>
                  </a:lnTo>
                  <a:lnTo>
                    <a:pt x="268" y="287"/>
                  </a:lnTo>
                  <a:lnTo>
                    <a:pt x="268" y="297"/>
                  </a:lnTo>
                  <a:lnTo>
                    <a:pt x="268" y="297"/>
                  </a:lnTo>
                  <a:lnTo>
                    <a:pt x="269" y="305"/>
                  </a:lnTo>
                  <a:lnTo>
                    <a:pt x="272" y="310"/>
                  </a:lnTo>
                  <a:lnTo>
                    <a:pt x="276" y="315"/>
                  </a:lnTo>
                  <a:lnTo>
                    <a:pt x="278" y="321"/>
                  </a:lnTo>
                  <a:lnTo>
                    <a:pt x="278" y="321"/>
                  </a:lnTo>
                  <a:lnTo>
                    <a:pt x="276" y="323"/>
                  </a:lnTo>
                  <a:lnTo>
                    <a:pt x="275" y="325"/>
                  </a:lnTo>
                  <a:lnTo>
                    <a:pt x="270" y="326"/>
                  </a:lnTo>
                  <a:lnTo>
                    <a:pt x="270" y="326"/>
                  </a:lnTo>
                  <a:lnTo>
                    <a:pt x="270" y="329"/>
                  </a:lnTo>
                  <a:lnTo>
                    <a:pt x="272" y="332"/>
                  </a:lnTo>
                  <a:lnTo>
                    <a:pt x="276" y="336"/>
                  </a:lnTo>
                  <a:lnTo>
                    <a:pt x="276" y="336"/>
                  </a:lnTo>
                  <a:lnTo>
                    <a:pt x="276" y="338"/>
                  </a:lnTo>
                  <a:lnTo>
                    <a:pt x="276" y="338"/>
                  </a:lnTo>
                  <a:lnTo>
                    <a:pt x="272" y="339"/>
                  </a:lnTo>
                  <a:lnTo>
                    <a:pt x="263" y="342"/>
                  </a:lnTo>
                  <a:lnTo>
                    <a:pt x="263" y="342"/>
                  </a:lnTo>
                  <a:lnTo>
                    <a:pt x="259" y="345"/>
                  </a:lnTo>
                  <a:lnTo>
                    <a:pt x="255" y="349"/>
                  </a:lnTo>
                  <a:lnTo>
                    <a:pt x="252" y="355"/>
                  </a:lnTo>
                  <a:lnTo>
                    <a:pt x="249" y="360"/>
                  </a:lnTo>
                  <a:lnTo>
                    <a:pt x="249" y="360"/>
                  </a:lnTo>
                  <a:lnTo>
                    <a:pt x="250" y="365"/>
                  </a:lnTo>
                  <a:lnTo>
                    <a:pt x="253" y="371"/>
                  </a:lnTo>
                  <a:lnTo>
                    <a:pt x="260" y="381"/>
                  </a:lnTo>
                  <a:lnTo>
                    <a:pt x="260" y="381"/>
                  </a:lnTo>
                  <a:lnTo>
                    <a:pt x="260" y="386"/>
                  </a:lnTo>
                  <a:lnTo>
                    <a:pt x="257" y="389"/>
                  </a:lnTo>
                  <a:lnTo>
                    <a:pt x="250" y="393"/>
                  </a:lnTo>
                  <a:lnTo>
                    <a:pt x="250" y="393"/>
                  </a:lnTo>
                  <a:lnTo>
                    <a:pt x="247" y="393"/>
                  </a:lnTo>
                  <a:lnTo>
                    <a:pt x="246" y="393"/>
                  </a:lnTo>
                  <a:lnTo>
                    <a:pt x="241" y="391"/>
                  </a:lnTo>
                  <a:lnTo>
                    <a:pt x="241" y="391"/>
                  </a:lnTo>
                  <a:lnTo>
                    <a:pt x="237" y="391"/>
                  </a:lnTo>
                  <a:lnTo>
                    <a:pt x="230" y="393"/>
                  </a:lnTo>
                  <a:lnTo>
                    <a:pt x="230" y="393"/>
                  </a:lnTo>
                  <a:lnTo>
                    <a:pt x="227" y="393"/>
                  </a:lnTo>
                  <a:lnTo>
                    <a:pt x="223" y="391"/>
                  </a:lnTo>
                  <a:lnTo>
                    <a:pt x="218" y="387"/>
                  </a:lnTo>
                  <a:lnTo>
                    <a:pt x="218" y="387"/>
                  </a:lnTo>
                  <a:lnTo>
                    <a:pt x="215" y="387"/>
                  </a:lnTo>
                  <a:lnTo>
                    <a:pt x="210" y="387"/>
                  </a:lnTo>
                  <a:lnTo>
                    <a:pt x="204" y="387"/>
                  </a:lnTo>
                  <a:lnTo>
                    <a:pt x="201" y="389"/>
                  </a:lnTo>
                  <a:lnTo>
                    <a:pt x="201" y="389"/>
                  </a:lnTo>
                  <a:lnTo>
                    <a:pt x="194" y="394"/>
                  </a:lnTo>
                  <a:lnTo>
                    <a:pt x="194" y="394"/>
                  </a:lnTo>
                  <a:lnTo>
                    <a:pt x="192" y="397"/>
                  </a:lnTo>
                  <a:lnTo>
                    <a:pt x="194" y="399"/>
                  </a:lnTo>
                  <a:lnTo>
                    <a:pt x="198" y="402"/>
                  </a:lnTo>
                  <a:lnTo>
                    <a:pt x="198" y="402"/>
                  </a:lnTo>
                  <a:lnTo>
                    <a:pt x="199" y="405"/>
                  </a:lnTo>
                  <a:lnTo>
                    <a:pt x="199" y="409"/>
                  </a:lnTo>
                  <a:lnTo>
                    <a:pt x="198" y="418"/>
                  </a:lnTo>
                  <a:lnTo>
                    <a:pt x="198" y="418"/>
                  </a:lnTo>
                  <a:lnTo>
                    <a:pt x="195" y="420"/>
                  </a:lnTo>
                  <a:lnTo>
                    <a:pt x="192" y="422"/>
                  </a:lnTo>
                  <a:lnTo>
                    <a:pt x="189" y="425"/>
                  </a:lnTo>
                  <a:lnTo>
                    <a:pt x="188" y="428"/>
                  </a:lnTo>
                  <a:lnTo>
                    <a:pt x="188" y="428"/>
                  </a:lnTo>
                  <a:lnTo>
                    <a:pt x="188" y="432"/>
                  </a:lnTo>
                  <a:lnTo>
                    <a:pt x="191" y="439"/>
                  </a:lnTo>
                  <a:lnTo>
                    <a:pt x="198" y="449"/>
                  </a:lnTo>
                  <a:lnTo>
                    <a:pt x="198" y="449"/>
                  </a:lnTo>
                  <a:lnTo>
                    <a:pt x="201" y="451"/>
                  </a:lnTo>
                  <a:lnTo>
                    <a:pt x="207" y="452"/>
                  </a:lnTo>
                  <a:lnTo>
                    <a:pt x="211" y="452"/>
                  </a:lnTo>
                  <a:lnTo>
                    <a:pt x="217" y="452"/>
                  </a:lnTo>
                  <a:lnTo>
                    <a:pt x="217" y="452"/>
                  </a:lnTo>
                  <a:lnTo>
                    <a:pt x="228" y="447"/>
                  </a:lnTo>
                  <a:lnTo>
                    <a:pt x="236" y="442"/>
                  </a:lnTo>
                  <a:lnTo>
                    <a:pt x="240" y="442"/>
                  </a:lnTo>
                  <a:lnTo>
                    <a:pt x="240" y="442"/>
                  </a:lnTo>
                  <a:lnTo>
                    <a:pt x="247" y="444"/>
                  </a:lnTo>
                  <a:lnTo>
                    <a:pt x="255" y="447"/>
                  </a:lnTo>
                  <a:lnTo>
                    <a:pt x="255" y="447"/>
                  </a:lnTo>
                  <a:lnTo>
                    <a:pt x="260" y="448"/>
                  </a:lnTo>
                  <a:lnTo>
                    <a:pt x="260" y="447"/>
                  </a:lnTo>
                  <a:lnTo>
                    <a:pt x="262" y="445"/>
                  </a:lnTo>
                  <a:lnTo>
                    <a:pt x="262" y="445"/>
                  </a:lnTo>
                  <a:lnTo>
                    <a:pt x="262" y="444"/>
                  </a:lnTo>
                  <a:lnTo>
                    <a:pt x="263" y="444"/>
                  </a:lnTo>
                  <a:lnTo>
                    <a:pt x="268" y="447"/>
                  </a:lnTo>
                  <a:lnTo>
                    <a:pt x="275" y="452"/>
                  </a:lnTo>
                  <a:lnTo>
                    <a:pt x="275" y="452"/>
                  </a:lnTo>
                  <a:lnTo>
                    <a:pt x="276" y="455"/>
                  </a:lnTo>
                  <a:lnTo>
                    <a:pt x="276" y="460"/>
                  </a:lnTo>
                  <a:lnTo>
                    <a:pt x="276" y="462"/>
                  </a:lnTo>
                  <a:lnTo>
                    <a:pt x="276" y="465"/>
                  </a:lnTo>
                  <a:lnTo>
                    <a:pt x="276" y="465"/>
                  </a:lnTo>
                  <a:lnTo>
                    <a:pt x="279" y="468"/>
                  </a:lnTo>
                  <a:lnTo>
                    <a:pt x="282" y="468"/>
                  </a:lnTo>
                  <a:lnTo>
                    <a:pt x="288" y="468"/>
                  </a:lnTo>
                  <a:lnTo>
                    <a:pt x="288" y="468"/>
                  </a:lnTo>
                  <a:lnTo>
                    <a:pt x="292" y="468"/>
                  </a:lnTo>
                  <a:lnTo>
                    <a:pt x="294" y="470"/>
                  </a:lnTo>
                  <a:lnTo>
                    <a:pt x="299" y="474"/>
                  </a:lnTo>
                  <a:lnTo>
                    <a:pt x="299" y="474"/>
                  </a:lnTo>
                  <a:lnTo>
                    <a:pt x="299" y="474"/>
                  </a:lnTo>
                  <a:lnTo>
                    <a:pt x="299" y="475"/>
                  </a:lnTo>
                  <a:lnTo>
                    <a:pt x="297" y="477"/>
                  </a:lnTo>
                  <a:lnTo>
                    <a:pt x="294" y="478"/>
                  </a:lnTo>
                  <a:lnTo>
                    <a:pt x="291" y="481"/>
                  </a:lnTo>
                  <a:lnTo>
                    <a:pt x="291" y="481"/>
                  </a:lnTo>
                  <a:lnTo>
                    <a:pt x="289" y="484"/>
                  </a:lnTo>
                  <a:lnTo>
                    <a:pt x="292" y="487"/>
                  </a:lnTo>
                  <a:lnTo>
                    <a:pt x="299" y="491"/>
                  </a:lnTo>
                  <a:lnTo>
                    <a:pt x="299" y="491"/>
                  </a:lnTo>
                  <a:lnTo>
                    <a:pt x="304" y="493"/>
                  </a:lnTo>
                  <a:lnTo>
                    <a:pt x="305" y="496"/>
                  </a:lnTo>
                  <a:lnTo>
                    <a:pt x="305" y="499"/>
                  </a:lnTo>
                  <a:lnTo>
                    <a:pt x="307" y="500"/>
                  </a:lnTo>
                  <a:lnTo>
                    <a:pt x="307" y="500"/>
                  </a:lnTo>
                  <a:lnTo>
                    <a:pt x="312" y="506"/>
                  </a:lnTo>
                  <a:lnTo>
                    <a:pt x="315" y="507"/>
                  </a:lnTo>
                  <a:lnTo>
                    <a:pt x="318" y="507"/>
                  </a:lnTo>
                  <a:lnTo>
                    <a:pt x="318" y="507"/>
                  </a:lnTo>
                  <a:lnTo>
                    <a:pt x="320" y="507"/>
                  </a:lnTo>
                  <a:lnTo>
                    <a:pt x="318" y="504"/>
                  </a:lnTo>
                  <a:lnTo>
                    <a:pt x="317" y="502"/>
                  </a:lnTo>
                  <a:lnTo>
                    <a:pt x="317" y="502"/>
                  </a:lnTo>
                  <a:lnTo>
                    <a:pt x="317" y="502"/>
                  </a:lnTo>
                  <a:lnTo>
                    <a:pt x="321" y="503"/>
                  </a:lnTo>
                  <a:lnTo>
                    <a:pt x="330" y="509"/>
                  </a:lnTo>
                  <a:lnTo>
                    <a:pt x="330" y="509"/>
                  </a:lnTo>
                  <a:lnTo>
                    <a:pt x="336" y="512"/>
                  </a:lnTo>
                  <a:lnTo>
                    <a:pt x="337" y="515"/>
                  </a:lnTo>
                  <a:lnTo>
                    <a:pt x="337" y="515"/>
                  </a:lnTo>
                  <a:lnTo>
                    <a:pt x="340" y="516"/>
                  </a:lnTo>
                  <a:lnTo>
                    <a:pt x="347" y="517"/>
                  </a:lnTo>
                  <a:lnTo>
                    <a:pt x="357" y="519"/>
                  </a:lnTo>
                  <a:lnTo>
                    <a:pt x="357" y="519"/>
                  </a:lnTo>
                  <a:lnTo>
                    <a:pt x="362" y="520"/>
                  </a:lnTo>
                  <a:lnTo>
                    <a:pt x="367" y="528"/>
                  </a:lnTo>
                  <a:lnTo>
                    <a:pt x="375" y="533"/>
                  </a:lnTo>
                  <a:lnTo>
                    <a:pt x="381" y="538"/>
                  </a:lnTo>
                  <a:lnTo>
                    <a:pt x="381" y="538"/>
                  </a:lnTo>
                  <a:lnTo>
                    <a:pt x="383" y="538"/>
                  </a:lnTo>
                  <a:lnTo>
                    <a:pt x="385" y="538"/>
                  </a:lnTo>
                  <a:lnTo>
                    <a:pt x="388" y="535"/>
                  </a:lnTo>
                  <a:lnTo>
                    <a:pt x="391" y="528"/>
                  </a:lnTo>
                  <a:lnTo>
                    <a:pt x="391" y="528"/>
                  </a:lnTo>
                  <a:lnTo>
                    <a:pt x="391" y="525"/>
                  </a:lnTo>
                  <a:lnTo>
                    <a:pt x="389" y="523"/>
                  </a:lnTo>
                  <a:lnTo>
                    <a:pt x="388" y="517"/>
                  </a:lnTo>
                  <a:lnTo>
                    <a:pt x="388" y="517"/>
                  </a:lnTo>
                  <a:lnTo>
                    <a:pt x="388" y="515"/>
                  </a:lnTo>
                  <a:lnTo>
                    <a:pt x="385" y="510"/>
                  </a:lnTo>
                  <a:lnTo>
                    <a:pt x="382" y="507"/>
                  </a:lnTo>
                  <a:lnTo>
                    <a:pt x="379" y="506"/>
                  </a:lnTo>
                  <a:lnTo>
                    <a:pt x="379" y="506"/>
                  </a:lnTo>
                  <a:lnTo>
                    <a:pt x="376" y="504"/>
                  </a:lnTo>
                  <a:lnTo>
                    <a:pt x="372" y="500"/>
                  </a:lnTo>
                  <a:lnTo>
                    <a:pt x="363" y="493"/>
                  </a:lnTo>
                  <a:lnTo>
                    <a:pt x="363" y="493"/>
                  </a:lnTo>
                  <a:lnTo>
                    <a:pt x="360" y="489"/>
                  </a:lnTo>
                  <a:lnTo>
                    <a:pt x="360" y="487"/>
                  </a:lnTo>
                  <a:lnTo>
                    <a:pt x="360" y="486"/>
                  </a:lnTo>
                  <a:lnTo>
                    <a:pt x="362" y="484"/>
                  </a:lnTo>
                  <a:lnTo>
                    <a:pt x="362" y="484"/>
                  </a:lnTo>
                  <a:lnTo>
                    <a:pt x="360" y="483"/>
                  </a:lnTo>
                  <a:lnTo>
                    <a:pt x="359" y="483"/>
                  </a:lnTo>
                  <a:lnTo>
                    <a:pt x="356" y="483"/>
                  </a:lnTo>
                  <a:lnTo>
                    <a:pt x="356" y="483"/>
                  </a:lnTo>
                  <a:lnTo>
                    <a:pt x="354" y="484"/>
                  </a:lnTo>
                  <a:lnTo>
                    <a:pt x="352" y="483"/>
                  </a:lnTo>
                  <a:lnTo>
                    <a:pt x="349" y="478"/>
                  </a:lnTo>
                  <a:lnTo>
                    <a:pt x="349" y="478"/>
                  </a:lnTo>
                  <a:lnTo>
                    <a:pt x="344" y="470"/>
                  </a:lnTo>
                  <a:lnTo>
                    <a:pt x="341" y="465"/>
                  </a:lnTo>
                  <a:lnTo>
                    <a:pt x="341" y="465"/>
                  </a:lnTo>
                  <a:lnTo>
                    <a:pt x="341" y="465"/>
                  </a:lnTo>
                  <a:lnTo>
                    <a:pt x="343" y="465"/>
                  </a:lnTo>
                  <a:lnTo>
                    <a:pt x="346" y="467"/>
                  </a:lnTo>
                  <a:lnTo>
                    <a:pt x="346" y="467"/>
                  </a:lnTo>
                  <a:lnTo>
                    <a:pt x="347" y="467"/>
                  </a:lnTo>
                  <a:lnTo>
                    <a:pt x="349" y="464"/>
                  </a:lnTo>
                  <a:lnTo>
                    <a:pt x="349" y="464"/>
                  </a:lnTo>
                  <a:lnTo>
                    <a:pt x="350" y="465"/>
                  </a:lnTo>
                  <a:lnTo>
                    <a:pt x="353" y="468"/>
                  </a:lnTo>
                  <a:lnTo>
                    <a:pt x="360" y="475"/>
                  </a:lnTo>
                  <a:lnTo>
                    <a:pt x="360" y="475"/>
                  </a:lnTo>
                  <a:lnTo>
                    <a:pt x="362" y="477"/>
                  </a:lnTo>
                  <a:lnTo>
                    <a:pt x="363" y="477"/>
                  </a:lnTo>
                  <a:lnTo>
                    <a:pt x="365" y="474"/>
                  </a:lnTo>
                  <a:lnTo>
                    <a:pt x="365" y="474"/>
                  </a:lnTo>
                  <a:lnTo>
                    <a:pt x="366" y="474"/>
                  </a:lnTo>
                  <a:lnTo>
                    <a:pt x="367" y="477"/>
                  </a:lnTo>
                  <a:lnTo>
                    <a:pt x="373" y="484"/>
                  </a:lnTo>
                  <a:lnTo>
                    <a:pt x="373" y="484"/>
                  </a:lnTo>
                  <a:lnTo>
                    <a:pt x="381" y="490"/>
                  </a:lnTo>
                  <a:lnTo>
                    <a:pt x="386" y="494"/>
                  </a:lnTo>
                  <a:lnTo>
                    <a:pt x="386" y="494"/>
                  </a:lnTo>
                  <a:lnTo>
                    <a:pt x="388" y="497"/>
                  </a:lnTo>
                  <a:lnTo>
                    <a:pt x="392" y="499"/>
                  </a:lnTo>
                  <a:lnTo>
                    <a:pt x="399" y="502"/>
                  </a:lnTo>
                  <a:lnTo>
                    <a:pt x="399" y="502"/>
                  </a:lnTo>
                  <a:lnTo>
                    <a:pt x="401" y="504"/>
                  </a:lnTo>
                  <a:lnTo>
                    <a:pt x="401" y="506"/>
                  </a:lnTo>
                  <a:lnTo>
                    <a:pt x="398" y="512"/>
                  </a:lnTo>
                  <a:lnTo>
                    <a:pt x="398" y="512"/>
                  </a:lnTo>
                  <a:lnTo>
                    <a:pt x="399" y="515"/>
                  </a:lnTo>
                  <a:lnTo>
                    <a:pt x="401" y="515"/>
                  </a:lnTo>
                  <a:lnTo>
                    <a:pt x="404" y="515"/>
                  </a:lnTo>
                  <a:lnTo>
                    <a:pt x="404" y="515"/>
                  </a:lnTo>
                  <a:lnTo>
                    <a:pt x="407" y="516"/>
                  </a:lnTo>
                  <a:lnTo>
                    <a:pt x="411" y="519"/>
                  </a:lnTo>
                  <a:lnTo>
                    <a:pt x="411" y="519"/>
                  </a:lnTo>
                  <a:lnTo>
                    <a:pt x="411" y="519"/>
                  </a:lnTo>
                  <a:lnTo>
                    <a:pt x="412" y="519"/>
                  </a:lnTo>
                  <a:lnTo>
                    <a:pt x="414" y="516"/>
                  </a:lnTo>
                  <a:lnTo>
                    <a:pt x="417" y="510"/>
                  </a:lnTo>
                  <a:lnTo>
                    <a:pt x="417" y="510"/>
                  </a:lnTo>
                  <a:lnTo>
                    <a:pt x="415" y="509"/>
                  </a:lnTo>
                  <a:lnTo>
                    <a:pt x="412" y="507"/>
                  </a:lnTo>
                  <a:lnTo>
                    <a:pt x="409" y="507"/>
                  </a:lnTo>
                  <a:lnTo>
                    <a:pt x="408" y="506"/>
                  </a:lnTo>
                  <a:lnTo>
                    <a:pt x="408" y="506"/>
                  </a:lnTo>
                  <a:lnTo>
                    <a:pt x="408" y="500"/>
                  </a:lnTo>
                  <a:lnTo>
                    <a:pt x="409" y="494"/>
                  </a:lnTo>
                  <a:lnTo>
                    <a:pt x="409" y="494"/>
                  </a:lnTo>
                  <a:lnTo>
                    <a:pt x="409" y="489"/>
                  </a:lnTo>
                  <a:lnTo>
                    <a:pt x="408" y="484"/>
                  </a:lnTo>
                  <a:lnTo>
                    <a:pt x="408" y="484"/>
                  </a:lnTo>
                  <a:lnTo>
                    <a:pt x="408" y="483"/>
                  </a:lnTo>
                  <a:lnTo>
                    <a:pt x="409" y="484"/>
                  </a:lnTo>
                  <a:lnTo>
                    <a:pt x="412" y="486"/>
                  </a:lnTo>
                  <a:lnTo>
                    <a:pt x="412" y="486"/>
                  </a:lnTo>
                  <a:lnTo>
                    <a:pt x="414" y="487"/>
                  </a:lnTo>
                  <a:lnTo>
                    <a:pt x="415" y="486"/>
                  </a:lnTo>
                  <a:lnTo>
                    <a:pt x="420" y="484"/>
                  </a:lnTo>
                  <a:lnTo>
                    <a:pt x="420" y="484"/>
                  </a:lnTo>
                  <a:lnTo>
                    <a:pt x="421" y="484"/>
                  </a:lnTo>
                  <a:lnTo>
                    <a:pt x="421" y="484"/>
                  </a:lnTo>
                  <a:lnTo>
                    <a:pt x="420" y="481"/>
                  </a:lnTo>
                  <a:lnTo>
                    <a:pt x="418" y="478"/>
                  </a:lnTo>
                  <a:lnTo>
                    <a:pt x="418" y="475"/>
                  </a:lnTo>
                  <a:lnTo>
                    <a:pt x="418" y="475"/>
                  </a:lnTo>
                  <a:lnTo>
                    <a:pt x="418" y="474"/>
                  </a:lnTo>
                  <a:lnTo>
                    <a:pt x="417" y="471"/>
                  </a:lnTo>
                  <a:lnTo>
                    <a:pt x="412" y="468"/>
                  </a:lnTo>
                  <a:lnTo>
                    <a:pt x="412" y="468"/>
                  </a:lnTo>
                  <a:lnTo>
                    <a:pt x="411" y="462"/>
                  </a:lnTo>
                  <a:lnTo>
                    <a:pt x="409" y="460"/>
                  </a:lnTo>
                  <a:lnTo>
                    <a:pt x="407" y="457"/>
                  </a:lnTo>
                  <a:lnTo>
                    <a:pt x="407" y="457"/>
                  </a:lnTo>
                  <a:lnTo>
                    <a:pt x="404" y="454"/>
                  </a:lnTo>
                  <a:lnTo>
                    <a:pt x="402" y="448"/>
                  </a:lnTo>
                  <a:lnTo>
                    <a:pt x="399" y="444"/>
                  </a:lnTo>
                  <a:lnTo>
                    <a:pt x="396" y="439"/>
                  </a:lnTo>
                  <a:lnTo>
                    <a:pt x="396" y="439"/>
                  </a:lnTo>
                  <a:lnTo>
                    <a:pt x="394" y="435"/>
                  </a:lnTo>
                  <a:lnTo>
                    <a:pt x="392" y="432"/>
                  </a:lnTo>
                  <a:lnTo>
                    <a:pt x="389" y="426"/>
                  </a:lnTo>
                  <a:lnTo>
                    <a:pt x="389" y="426"/>
                  </a:lnTo>
                  <a:lnTo>
                    <a:pt x="388" y="426"/>
                  </a:lnTo>
                  <a:lnTo>
                    <a:pt x="388" y="426"/>
                  </a:lnTo>
                  <a:lnTo>
                    <a:pt x="385" y="429"/>
                  </a:lnTo>
                  <a:lnTo>
                    <a:pt x="385" y="429"/>
                  </a:lnTo>
                  <a:lnTo>
                    <a:pt x="385" y="429"/>
                  </a:lnTo>
                  <a:lnTo>
                    <a:pt x="383" y="428"/>
                  </a:lnTo>
                  <a:lnTo>
                    <a:pt x="382" y="426"/>
                  </a:lnTo>
                  <a:lnTo>
                    <a:pt x="379" y="425"/>
                  </a:lnTo>
                  <a:lnTo>
                    <a:pt x="379" y="425"/>
                  </a:lnTo>
                  <a:lnTo>
                    <a:pt x="375" y="423"/>
                  </a:lnTo>
                  <a:lnTo>
                    <a:pt x="370" y="423"/>
                  </a:lnTo>
                  <a:lnTo>
                    <a:pt x="370" y="423"/>
                  </a:lnTo>
                  <a:lnTo>
                    <a:pt x="369" y="422"/>
                  </a:lnTo>
                  <a:lnTo>
                    <a:pt x="369" y="419"/>
                  </a:lnTo>
                  <a:lnTo>
                    <a:pt x="370" y="416"/>
                  </a:lnTo>
                  <a:lnTo>
                    <a:pt x="373" y="415"/>
                  </a:lnTo>
                  <a:lnTo>
                    <a:pt x="373" y="415"/>
                  </a:lnTo>
                  <a:lnTo>
                    <a:pt x="375" y="413"/>
                  </a:lnTo>
                  <a:lnTo>
                    <a:pt x="375" y="412"/>
                  </a:lnTo>
                  <a:lnTo>
                    <a:pt x="370" y="407"/>
                  </a:lnTo>
                  <a:lnTo>
                    <a:pt x="370" y="407"/>
                  </a:lnTo>
                  <a:lnTo>
                    <a:pt x="369" y="403"/>
                  </a:lnTo>
                  <a:lnTo>
                    <a:pt x="367" y="402"/>
                  </a:lnTo>
                  <a:lnTo>
                    <a:pt x="366" y="402"/>
                  </a:lnTo>
                  <a:lnTo>
                    <a:pt x="366" y="402"/>
                  </a:lnTo>
                  <a:lnTo>
                    <a:pt x="365" y="400"/>
                  </a:lnTo>
                  <a:lnTo>
                    <a:pt x="365" y="399"/>
                  </a:lnTo>
                  <a:lnTo>
                    <a:pt x="365" y="394"/>
                  </a:lnTo>
                  <a:lnTo>
                    <a:pt x="365" y="394"/>
                  </a:lnTo>
                  <a:lnTo>
                    <a:pt x="365" y="393"/>
                  </a:lnTo>
                  <a:lnTo>
                    <a:pt x="362" y="393"/>
                  </a:lnTo>
                  <a:lnTo>
                    <a:pt x="359" y="393"/>
                  </a:lnTo>
                  <a:lnTo>
                    <a:pt x="357" y="391"/>
                  </a:lnTo>
                  <a:lnTo>
                    <a:pt x="357" y="391"/>
                  </a:lnTo>
                  <a:lnTo>
                    <a:pt x="357" y="389"/>
                  </a:lnTo>
                  <a:lnTo>
                    <a:pt x="360" y="386"/>
                  </a:lnTo>
                  <a:lnTo>
                    <a:pt x="362" y="384"/>
                  </a:lnTo>
                  <a:lnTo>
                    <a:pt x="362" y="384"/>
                  </a:lnTo>
                  <a:lnTo>
                    <a:pt x="363" y="383"/>
                  </a:lnTo>
                  <a:lnTo>
                    <a:pt x="362" y="381"/>
                  </a:lnTo>
                  <a:lnTo>
                    <a:pt x="357" y="378"/>
                  </a:lnTo>
                  <a:lnTo>
                    <a:pt x="357" y="378"/>
                  </a:lnTo>
                  <a:lnTo>
                    <a:pt x="357" y="377"/>
                  </a:lnTo>
                  <a:lnTo>
                    <a:pt x="357" y="376"/>
                  </a:lnTo>
                  <a:lnTo>
                    <a:pt x="360" y="374"/>
                  </a:lnTo>
                  <a:lnTo>
                    <a:pt x="360" y="374"/>
                  </a:lnTo>
                  <a:lnTo>
                    <a:pt x="362" y="373"/>
                  </a:lnTo>
                  <a:lnTo>
                    <a:pt x="363" y="370"/>
                  </a:lnTo>
                  <a:lnTo>
                    <a:pt x="365" y="367"/>
                  </a:lnTo>
                  <a:lnTo>
                    <a:pt x="366" y="365"/>
                  </a:lnTo>
                  <a:lnTo>
                    <a:pt x="366" y="365"/>
                  </a:lnTo>
                  <a:lnTo>
                    <a:pt x="370" y="364"/>
                  </a:lnTo>
                  <a:lnTo>
                    <a:pt x="373" y="361"/>
                  </a:lnTo>
                  <a:lnTo>
                    <a:pt x="373" y="361"/>
                  </a:lnTo>
                  <a:lnTo>
                    <a:pt x="375" y="363"/>
                  </a:lnTo>
                  <a:lnTo>
                    <a:pt x="376" y="364"/>
                  </a:lnTo>
                  <a:lnTo>
                    <a:pt x="378" y="371"/>
                  </a:lnTo>
                  <a:lnTo>
                    <a:pt x="378" y="371"/>
                  </a:lnTo>
                  <a:lnTo>
                    <a:pt x="381" y="376"/>
                  </a:lnTo>
                  <a:lnTo>
                    <a:pt x="383" y="381"/>
                  </a:lnTo>
                  <a:lnTo>
                    <a:pt x="383" y="381"/>
                  </a:lnTo>
                  <a:lnTo>
                    <a:pt x="386" y="381"/>
                  </a:lnTo>
                  <a:lnTo>
                    <a:pt x="388" y="380"/>
                  </a:lnTo>
                  <a:lnTo>
                    <a:pt x="391" y="377"/>
                  </a:lnTo>
                  <a:lnTo>
                    <a:pt x="391" y="377"/>
                  </a:lnTo>
                  <a:lnTo>
                    <a:pt x="392" y="377"/>
                  </a:lnTo>
                  <a:lnTo>
                    <a:pt x="392" y="378"/>
                  </a:lnTo>
                  <a:lnTo>
                    <a:pt x="391" y="383"/>
                  </a:lnTo>
                  <a:lnTo>
                    <a:pt x="391" y="383"/>
                  </a:lnTo>
                  <a:lnTo>
                    <a:pt x="392" y="384"/>
                  </a:lnTo>
                  <a:lnTo>
                    <a:pt x="394" y="384"/>
                  </a:lnTo>
                  <a:lnTo>
                    <a:pt x="398" y="384"/>
                  </a:lnTo>
                  <a:lnTo>
                    <a:pt x="398" y="384"/>
                  </a:lnTo>
                  <a:lnTo>
                    <a:pt x="401" y="384"/>
                  </a:lnTo>
                  <a:lnTo>
                    <a:pt x="399" y="386"/>
                  </a:lnTo>
                  <a:lnTo>
                    <a:pt x="395" y="390"/>
                  </a:lnTo>
                  <a:lnTo>
                    <a:pt x="395" y="390"/>
                  </a:lnTo>
                  <a:lnTo>
                    <a:pt x="395" y="391"/>
                  </a:lnTo>
                  <a:lnTo>
                    <a:pt x="398" y="393"/>
                  </a:lnTo>
                  <a:lnTo>
                    <a:pt x="404" y="396"/>
                  </a:lnTo>
                  <a:lnTo>
                    <a:pt x="404" y="396"/>
                  </a:lnTo>
                  <a:lnTo>
                    <a:pt x="405" y="397"/>
                  </a:lnTo>
                  <a:lnTo>
                    <a:pt x="405" y="397"/>
                  </a:lnTo>
                  <a:lnTo>
                    <a:pt x="402" y="402"/>
                  </a:lnTo>
                  <a:lnTo>
                    <a:pt x="402" y="402"/>
                  </a:lnTo>
                  <a:lnTo>
                    <a:pt x="401" y="403"/>
                  </a:lnTo>
                  <a:lnTo>
                    <a:pt x="402" y="403"/>
                  </a:lnTo>
                  <a:lnTo>
                    <a:pt x="408" y="403"/>
                  </a:lnTo>
                  <a:lnTo>
                    <a:pt x="408" y="403"/>
                  </a:lnTo>
                  <a:lnTo>
                    <a:pt x="409" y="403"/>
                  </a:lnTo>
                  <a:lnTo>
                    <a:pt x="409" y="405"/>
                  </a:lnTo>
                  <a:lnTo>
                    <a:pt x="408" y="407"/>
                  </a:lnTo>
                  <a:lnTo>
                    <a:pt x="405" y="412"/>
                  </a:lnTo>
                  <a:lnTo>
                    <a:pt x="405" y="412"/>
                  </a:lnTo>
                  <a:lnTo>
                    <a:pt x="409" y="412"/>
                  </a:lnTo>
                  <a:lnTo>
                    <a:pt x="417" y="409"/>
                  </a:lnTo>
                  <a:lnTo>
                    <a:pt x="417" y="409"/>
                  </a:lnTo>
                  <a:lnTo>
                    <a:pt x="418" y="409"/>
                  </a:lnTo>
                  <a:lnTo>
                    <a:pt x="420" y="410"/>
                  </a:lnTo>
                  <a:lnTo>
                    <a:pt x="423" y="413"/>
                  </a:lnTo>
                  <a:lnTo>
                    <a:pt x="427" y="416"/>
                  </a:lnTo>
                  <a:lnTo>
                    <a:pt x="430" y="418"/>
                  </a:lnTo>
                  <a:lnTo>
                    <a:pt x="430" y="418"/>
                  </a:lnTo>
                  <a:lnTo>
                    <a:pt x="431" y="418"/>
                  </a:lnTo>
                  <a:lnTo>
                    <a:pt x="431" y="418"/>
                  </a:lnTo>
                  <a:lnTo>
                    <a:pt x="428" y="413"/>
                  </a:lnTo>
                  <a:lnTo>
                    <a:pt x="425" y="409"/>
                  </a:lnTo>
                  <a:lnTo>
                    <a:pt x="424" y="407"/>
                  </a:lnTo>
                  <a:lnTo>
                    <a:pt x="424" y="407"/>
                  </a:lnTo>
                  <a:lnTo>
                    <a:pt x="425" y="406"/>
                  </a:lnTo>
                  <a:lnTo>
                    <a:pt x="425" y="403"/>
                  </a:lnTo>
                  <a:lnTo>
                    <a:pt x="425" y="400"/>
                  </a:lnTo>
                  <a:lnTo>
                    <a:pt x="427" y="399"/>
                  </a:lnTo>
                  <a:lnTo>
                    <a:pt x="427" y="399"/>
                  </a:lnTo>
                  <a:lnTo>
                    <a:pt x="428" y="397"/>
                  </a:lnTo>
                  <a:lnTo>
                    <a:pt x="428" y="396"/>
                  </a:lnTo>
                  <a:lnTo>
                    <a:pt x="428" y="389"/>
                  </a:lnTo>
                  <a:lnTo>
                    <a:pt x="428" y="389"/>
                  </a:lnTo>
                  <a:lnTo>
                    <a:pt x="428" y="389"/>
                  </a:lnTo>
                  <a:lnTo>
                    <a:pt x="430" y="389"/>
                  </a:lnTo>
                  <a:lnTo>
                    <a:pt x="431" y="391"/>
                  </a:lnTo>
                  <a:lnTo>
                    <a:pt x="438" y="399"/>
                  </a:lnTo>
                  <a:lnTo>
                    <a:pt x="438" y="399"/>
                  </a:lnTo>
                  <a:lnTo>
                    <a:pt x="440" y="400"/>
                  </a:lnTo>
                  <a:lnTo>
                    <a:pt x="441" y="399"/>
                  </a:lnTo>
                  <a:lnTo>
                    <a:pt x="441" y="396"/>
                  </a:lnTo>
                  <a:lnTo>
                    <a:pt x="444" y="393"/>
                  </a:lnTo>
                  <a:lnTo>
                    <a:pt x="444" y="393"/>
                  </a:lnTo>
                  <a:lnTo>
                    <a:pt x="447" y="393"/>
                  </a:lnTo>
                  <a:lnTo>
                    <a:pt x="450" y="393"/>
                  </a:lnTo>
                  <a:lnTo>
                    <a:pt x="457" y="393"/>
                  </a:lnTo>
                  <a:lnTo>
                    <a:pt x="457" y="393"/>
                  </a:lnTo>
                  <a:lnTo>
                    <a:pt x="459" y="391"/>
                  </a:lnTo>
                  <a:lnTo>
                    <a:pt x="459" y="389"/>
                  </a:lnTo>
                  <a:lnTo>
                    <a:pt x="457" y="386"/>
                  </a:lnTo>
                  <a:lnTo>
                    <a:pt x="454" y="381"/>
                  </a:lnTo>
                  <a:lnTo>
                    <a:pt x="454" y="381"/>
                  </a:lnTo>
                  <a:lnTo>
                    <a:pt x="447" y="374"/>
                  </a:lnTo>
                  <a:lnTo>
                    <a:pt x="443" y="364"/>
                  </a:lnTo>
                  <a:lnTo>
                    <a:pt x="443" y="364"/>
                  </a:lnTo>
                  <a:lnTo>
                    <a:pt x="443" y="361"/>
                  </a:lnTo>
                  <a:lnTo>
                    <a:pt x="444" y="360"/>
                  </a:lnTo>
                  <a:lnTo>
                    <a:pt x="451" y="3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60" name="Freeform 1183"/>
            <p:cNvSpPr>
              <a:spLocks/>
            </p:cNvSpPr>
            <p:nvPr/>
          </p:nvSpPr>
          <p:spPr bwMode="auto">
            <a:xfrm>
              <a:off x="2447925" y="2539634"/>
              <a:ext cx="49213" cy="66675"/>
            </a:xfrm>
            <a:custGeom>
              <a:avLst/>
              <a:gdLst>
                <a:gd name="T0" fmla="*/ 29 w 31"/>
                <a:gd name="T1" fmla="*/ 25 h 42"/>
                <a:gd name="T2" fmla="*/ 29 w 31"/>
                <a:gd name="T3" fmla="*/ 25 h 42"/>
                <a:gd name="T4" fmla="*/ 28 w 31"/>
                <a:gd name="T5" fmla="*/ 33 h 42"/>
                <a:gd name="T6" fmla="*/ 27 w 31"/>
                <a:gd name="T7" fmla="*/ 39 h 42"/>
                <a:gd name="T8" fmla="*/ 24 w 31"/>
                <a:gd name="T9" fmla="*/ 42 h 42"/>
                <a:gd name="T10" fmla="*/ 24 w 31"/>
                <a:gd name="T11" fmla="*/ 42 h 42"/>
                <a:gd name="T12" fmla="*/ 18 w 31"/>
                <a:gd name="T13" fmla="*/ 41 h 42"/>
                <a:gd name="T14" fmla="*/ 14 w 31"/>
                <a:gd name="T15" fmla="*/ 41 h 42"/>
                <a:gd name="T16" fmla="*/ 9 w 31"/>
                <a:gd name="T17" fmla="*/ 38 h 42"/>
                <a:gd name="T18" fmla="*/ 9 w 31"/>
                <a:gd name="T19" fmla="*/ 38 h 42"/>
                <a:gd name="T20" fmla="*/ 5 w 31"/>
                <a:gd name="T21" fmla="*/ 33 h 42"/>
                <a:gd name="T22" fmla="*/ 3 w 31"/>
                <a:gd name="T23" fmla="*/ 26 h 42"/>
                <a:gd name="T24" fmla="*/ 3 w 31"/>
                <a:gd name="T25" fmla="*/ 26 h 42"/>
                <a:gd name="T26" fmla="*/ 2 w 31"/>
                <a:gd name="T27" fmla="*/ 20 h 42"/>
                <a:gd name="T28" fmla="*/ 0 w 31"/>
                <a:gd name="T29" fmla="*/ 16 h 42"/>
                <a:gd name="T30" fmla="*/ 0 w 31"/>
                <a:gd name="T31" fmla="*/ 16 h 42"/>
                <a:gd name="T32" fmla="*/ 3 w 31"/>
                <a:gd name="T33" fmla="*/ 16 h 42"/>
                <a:gd name="T34" fmla="*/ 5 w 31"/>
                <a:gd name="T35" fmla="*/ 18 h 42"/>
                <a:gd name="T36" fmla="*/ 8 w 31"/>
                <a:gd name="T37" fmla="*/ 16 h 42"/>
                <a:gd name="T38" fmla="*/ 8 w 31"/>
                <a:gd name="T39" fmla="*/ 16 h 42"/>
                <a:gd name="T40" fmla="*/ 8 w 31"/>
                <a:gd name="T41" fmla="*/ 12 h 42"/>
                <a:gd name="T42" fmla="*/ 6 w 31"/>
                <a:gd name="T43" fmla="*/ 7 h 42"/>
                <a:gd name="T44" fmla="*/ 5 w 31"/>
                <a:gd name="T45" fmla="*/ 2 h 42"/>
                <a:gd name="T46" fmla="*/ 5 w 31"/>
                <a:gd name="T47" fmla="*/ 0 h 42"/>
                <a:gd name="T48" fmla="*/ 6 w 31"/>
                <a:gd name="T49" fmla="*/ 0 h 42"/>
                <a:gd name="T50" fmla="*/ 6 w 31"/>
                <a:gd name="T51" fmla="*/ 0 h 42"/>
                <a:gd name="T52" fmla="*/ 8 w 31"/>
                <a:gd name="T53" fmla="*/ 0 h 42"/>
                <a:gd name="T54" fmla="*/ 9 w 31"/>
                <a:gd name="T55" fmla="*/ 2 h 42"/>
                <a:gd name="T56" fmla="*/ 12 w 31"/>
                <a:gd name="T57" fmla="*/ 3 h 42"/>
                <a:gd name="T58" fmla="*/ 15 w 31"/>
                <a:gd name="T59" fmla="*/ 5 h 42"/>
                <a:gd name="T60" fmla="*/ 15 w 31"/>
                <a:gd name="T61" fmla="*/ 5 h 42"/>
                <a:gd name="T62" fmla="*/ 19 w 31"/>
                <a:gd name="T63" fmla="*/ 6 h 42"/>
                <a:gd name="T64" fmla="*/ 25 w 31"/>
                <a:gd name="T65" fmla="*/ 9 h 42"/>
                <a:gd name="T66" fmla="*/ 29 w 31"/>
                <a:gd name="T67" fmla="*/ 13 h 42"/>
                <a:gd name="T68" fmla="*/ 31 w 31"/>
                <a:gd name="T69" fmla="*/ 16 h 42"/>
                <a:gd name="T70" fmla="*/ 31 w 31"/>
                <a:gd name="T71" fmla="*/ 16 h 42"/>
                <a:gd name="T72" fmla="*/ 29 w 31"/>
                <a:gd name="T73" fmla="*/ 20 h 42"/>
                <a:gd name="T74" fmla="*/ 29 w 31"/>
                <a:gd name="T75" fmla="*/ 2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 h="42">
                  <a:moveTo>
                    <a:pt x="29" y="25"/>
                  </a:moveTo>
                  <a:lnTo>
                    <a:pt x="29" y="25"/>
                  </a:lnTo>
                  <a:lnTo>
                    <a:pt x="28" y="33"/>
                  </a:lnTo>
                  <a:lnTo>
                    <a:pt x="27" y="39"/>
                  </a:lnTo>
                  <a:lnTo>
                    <a:pt x="24" y="42"/>
                  </a:lnTo>
                  <a:lnTo>
                    <a:pt x="24" y="42"/>
                  </a:lnTo>
                  <a:lnTo>
                    <a:pt x="18" y="41"/>
                  </a:lnTo>
                  <a:lnTo>
                    <a:pt x="14" y="41"/>
                  </a:lnTo>
                  <a:lnTo>
                    <a:pt x="9" y="38"/>
                  </a:lnTo>
                  <a:lnTo>
                    <a:pt x="9" y="38"/>
                  </a:lnTo>
                  <a:lnTo>
                    <a:pt x="5" y="33"/>
                  </a:lnTo>
                  <a:lnTo>
                    <a:pt x="3" y="26"/>
                  </a:lnTo>
                  <a:lnTo>
                    <a:pt x="3" y="26"/>
                  </a:lnTo>
                  <a:lnTo>
                    <a:pt x="2" y="20"/>
                  </a:lnTo>
                  <a:lnTo>
                    <a:pt x="0" y="16"/>
                  </a:lnTo>
                  <a:lnTo>
                    <a:pt x="0" y="16"/>
                  </a:lnTo>
                  <a:lnTo>
                    <a:pt x="3" y="16"/>
                  </a:lnTo>
                  <a:lnTo>
                    <a:pt x="5" y="18"/>
                  </a:lnTo>
                  <a:lnTo>
                    <a:pt x="8" y="16"/>
                  </a:lnTo>
                  <a:lnTo>
                    <a:pt x="8" y="16"/>
                  </a:lnTo>
                  <a:lnTo>
                    <a:pt x="8" y="12"/>
                  </a:lnTo>
                  <a:lnTo>
                    <a:pt x="6" y="7"/>
                  </a:lnTo>
                  <a:lnTo>
                    <a:pt x="5" y="2"/>
                  </a:lnTo>
                  <a:lnTo>
                    <a:pt x="5" y="0"/>
                  </a:lnTo>
                  <a:lnTo>
                    <a:pt x="6" y="0"/>
                  </a:lnTo>
                  <a:lnTo>
                    <a:pt x="6" y="0"/>
                  </a:lnTo>
                  <a:lnTo>
                    <a:pt x="8" y="0"/>
                  </a:lnTo>
                  <a:lnTo>
                    <a:pt x="9" y="2"/>
                  </a:lnTo>
                  <a:lnTo>
                    <a:pt x="12" y="3"/>
                  </a:lnTo>
                  <a:lnTo>
                    <a:pt x="15" y="5"/>
                  </a:lnTo>
                  <a:lnTo>
                    <a:pt x="15" y="5"/>
                  </a:lnTo>
                  <a:lnTo>
                    <a:pt x="19" y="6"/>
                  </a:lnTo>
                  <a:lnTo>
                    <a:pt x="25" y="9"/>
                  </a:lnTo>
                  <a:lnTo>
                    <a:pt x="29" y="13"/>
                  </a:lnTo>
                  <a:lnTo>
                    <a:pt x="31" y="16"/>
                  </a:lnTo>
                  <a:lnTo>
                    <a:pt x="31" y="16"/>
                  </a:lnTo>
                  <a:lnTo>
                    <a:pt x="29" y="20"/>
                  </a:lnTo>
                  <a:lnTo>
                    <a:pt x="29" y="2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61" name="Freeform 1184"/>
            <p:cNvSpPr>
              <a:spLocks/>
            </p:cNvSpPr>
            <p:nvPr/>
          </p:nvSpPr>
          <p:spPr bwMode="auto">
            <a:xfrm>
              <a:off x="2465388" y="2431684"/>
              <a:ext cx="68263" cy="71438"/>
            </a:xfrm>
            <a:custGeom>
              <a:avLst/>
              <a:gdLst>
                <a:gd name="T0" fmla="*/ 34 w 43"/>
                <a:gd name="T1" fmla="*/ 35 h 45"/>
                <a:gd name="T2" fmla="*/ 34 w 43"/>
                <a:gd name="T3" fmla="*/ 35 h 45"/>
                <a:gd name="T4" fmla="*/ 31 w 43"/>
                <a:gd name="T5" fmla="*/ 36 h 45"/>
                <a:gd name="T6" fmla="*/ 29 w 43"/>
                <a:gd name="T7" fmla="*/ 38 h 45"/>
                <a:gd name="T8" fmla="*/ 26 w 43"/>
                <a:gd name="T9" fmla="*/ 39 h 45"/>
                <a:gd name="T10" fmla="*/ 23 w 43"/>
                <a:gd name="T11" fmla="*/ 39 h 45"/>
                <a:gd name="T12" fmla="*/ 23 w 43"/>
                <a:gd name="T13" fmla="*/ 39 h 45"/>
                <a:gd name="T14" fmla="*/ 20 w 43"/>
                <a:gd name="T15" fmla="*/ 36 h 45"/>
                <a:gd name="T16" fmla="*/ 18 w 43"/>
                <a:gd name="T17" fmla="*/ 36 h 45"/>
                <a:gd name="T18" fmla="*/ 16 w 43"/>
                <a:gd name="T19" fmla="*/ 36 h 45"/>
                <a:gd name="T20" fmla="*/ 16 w 43"/>
                <a:gd name="T21" fmla="*/ 36 h 45"/>
                <a:gd name="T22" fmla="*/ 13 w 43"/>
                <a:gd name="T23" fmla="*/ 36 h 45"/>
                <a:gd name="T24" fmla="*/ 11 w 43"/>
                <a:gd name="T25" fmla="*/ 38 h 45"/>
                <a:gd name="T26" fmla="*/ 11 w 43"/>
                <a:gd name="T27" fmla="*/ 39 h 45"/>
                <a:gd name="T28" fmla="*/ 10 w 43"/>
                <a:gd name="T29" fmla="*/ 41 h 45"/>
                <a:gd name="T30" fmla="*/ 10 w 43"/>
                <a:gd name="T31" fmla="*/ 41 h 45"/>
                <a:gd name="T32" fmla="*/ 8 w 43"/>
                <a:gd name="T33" fmla="*/ 42 h 45"/>
                <a:gd name="T34" fmla="*/ 7 w 43"/>
                <a:gd name="T35" fmla="*/ 44 h 45"/>
                <a:gd name="T36" fmla="*/ 5 w 43"/>
                <a:gd name="T37" fmla="*/ 45 h 45"/>
                <a:gd name="T38" fmla="*/ 4 w 43"/>
                <a:gd name="T39" fmla="*/ 45 h 45"/>
                <a:gd name="T40" fmla="*/ 4 w 43"/>
                <a:gd name="T41" fmla="*/ 45 h 45"/>
                <a:gd name="T42" fmla="*/ 4 w 43"/>
                <a:gd name="T43" fmla="*/ 45 h 45"/>
                <a:gd name="T44" fmla="*/ 4 w 43"/>
                <a:gd name="T45" fmla="*/ 42 h 45"/>
                <a:gd name="T46" fmla="*/ 5 w 43"/>
                <a:gd name="T47" fmla="*/ 36 h 45"/>
                <a:gd name="T48" fmla="*/ 5 w 43"/>
                <a:gd name="T49" fmla="*/ 36 h 45"/>
                <a:gd name="T50" fmla="*/ 4 w 43"/>
                <a:gd name="T51" fmla="*/ 32 h 45"/>
                <a:gd name="T52" fmla="*/ 3 w 43"/>
                <a:gd name="T53" fmla="*/ 28 h 45"/>
                <a:gd name="T54" fmla="*/ 0 w 43"/>
                <a:gd name="T55" fmla="*/ 23 h 45"/>
                <a:gd name="T56" fmla="*/ 0 w 43"/>
                <a:gd name="T57" fmla="*/ 20 h 45"/>
                <a:gd name="T58" fmla="*/ 0 w 43"/>
                <a:gd name="T59" fmla="*/ 20 h 45"/>
                <a:gd name="T60" fmla="*/ 3 w 43"/>
                <a:gd name="T61" fmla="*/ 12 h 45"/>
                <a:gd name="T62" fmla="*/ 3 w 43"/>
                <a:gd name="T63" fmla="*/ 7 h 45"/>
                <a:gd name="T64" fmla="*/ 3 w 43"/>
                <a:gd name="T65" fmla="*/ 3 h 45"/>
                <a:gd name="T66" fmla="*/ 3 w 43"/>
                <a:gd name="T67" fmla="*/ 3 h 45"/>
                <a:gd name="T68" fmla="*/ 1 w 43"/>
                <a:gd name="T69" fmla="*/ 0 h 45"/>
                <a:gd name="T70" fmla="*/ 4 w 43"/>
                <a:gd name="T71" fmla="*/ 0 h 45"/>
                <a:gd name="T72" fmla="*/ 7 w 43"/>
                <a:gd name="T73" fmla="*/ 2 h 45"/>
                <a:gd name="T74" fmla="*/ 10 w 43"/>
                <a:gd name="T75" fmla="*/ 4 h 45"/>
                <a:gd name="T76" fmla="*/ 10 w 43"/>
                <a:gd name="T77" fmla="*/ 4 h 45"/>
                <a:gd name="T78" fmla="*/ 18 w 43"/>
                <a:gd name="T79" fmla="*/ 12 h 45"/>
                <a:gd name="T80" fmla="*/ 26 w 43"/>
                <a:gd name="T81" fmla="*/ 17 h 45"/>
                <a:gd name="T82" fmla="*/ 26 w 43"/>
                <a:gd name="T83" fmla="*/ 17 h 45"/>
                <a:gd name="T84" fmla="*/ 36 w 43"/>
                <a:gd name="T85" fmla="*/ 22 h 45"/>
                <a:gd name="T86" fmla="*/ 42 w 43"/>
                <a:gd name="T87" fmla="*/ 25 h 45"/>
                <a:gd name="T88" fmla="*/ 43 w 43"/>
                <a:gd name="T89" fmla="*/ 29 h 45"/>
                <a:gd name="T90" fmla="*/ 43 w 43"/>
                <a:gd name="T91" fmla="*/ 29 h 45"/>
                <a:gd name="T92" fmla="*/ 42 w 43"/>
                <a:gd name="T93" fmla="*/ 31 h 45"/>
                <a:gd name="T94" fmla="*/ 39 w 43"/>
                <a:gd name="T95" fmla="*/ 33 h 45"/>
                <a:gd name="T96" fmla="*/ 36 w 43"/>
                <a:gd name="T97" fmla="*/ 35 h 45"/>
                <a:gd name="T98" fmla="*/ 34 w 43"/>
                <a:gd name="T99" fmla="*/ 3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 h="45">
                  <a:moveTo>
                    <a:pt x="34" y="35"/>
                  </a:moveTo>
                  <a:lnTo>
                    <a:pt x="34" y="35"/>
                  </a:lnTo>
                  <a:lnTo>
                    <a:pt x="31" y="36"/>
                  </a:lnTo>
                  <a:lnTo>
                    <a:pt x="29" y="38"/>
                  </a:lnTo>
                  <a:lnTo>
                    <a:pt x="26" y="39"/>
                  </a:lnTo>
                  <a:lnTo>
                    <a:pt x="23" y="39"/>
                  </a:lnTo>
                  <a:lnTo>
                    <a:pt x="23" y="39"/>
                  </a:lnTo>
                  <a:lnTo>
                    <a:pt x="20" y="36"/>
                  </a:lnTo>
                  <a:lnTo>
                    <a:pt x="18" y="36"/>
                  </a:lnTo>
                  <a:lnTo>
                    <a:pt x="16" y="36"/>
                  </a:lnTo>
                  <a:lnTo>
                    <a:pt x="16" y="36"/>
                  </a:lnTo>
                  <a:lnTo>
                    <a:pt x="13" y="36"/>
                  </a:lnTo>
                  <a:lnTo>
                    <a:pt x="11" y="38"/>
                  </a:lnTo>
                  <a:lnTo>
                    <a:pt x="11" y="39"/>
                  </a:lnTo>
                  <a:lnTo>
                    <a:pt x="10" y="41"/>
                  </a:lnTo>
                  <a:lnTo>
                    <a:pt x="10" y="41"/>
                  </a:lnTo>
                  <a:lnTo>
                    <a:pt x="8" y="42"/>
                  </a:lnTo>
                  <a:lnTo>
                    <a:pt x="7" y="44"/>
                  </a:lnTo>
                  <a:lnTo>
                    <a:pt x="5" y="45"/>
                  </a:lnTo>
                  <a:lnTo>
                    <a:pt x="4" y="45"/>
                  </a:lnTo>
                  <a:lnTo>
                    <a:pt x="4" y="45"/>
                  </a:lnTo>
                  <a:lnTo>
                    <a:pt x="4" y="45"/>
                  </a:lnTo>
                  <a:lnTo>
                    <a:pt x="4" y="42"/>
                  </a:lnTo>
                  <a:lnTo>
                    <a:pt x="5" y="36"/>
                  </a:lnTo>
                  <a:lnTo>
                    <a:pt x="5" y="36"/>
                  </a:lnTo>
                  <a:lnTo>
                    <a:pt x="4" y="32"/>
                  </a:lnTo>
                  <a:lnTo>
                    <a:pt x="3" y="28"/>
                  </a:lnTo>
                  <a:lnTo>
                    <a:pt x="0" y="23"/>
                  </a:lnTo>
                  <a:lnTo>
                    <a:pt x="0" y="20"/>
                  </a:lnTo>
                  <a:lnTo>
                    <a:pt x="0" y="20"/>
                  </a:lnTo>
                  <a:lnTo>
                    <a:pt x="3" y="12"/>
                  </a:lnTo>
                  <a:lnTo>
                    <a:pt x="3" y="7"/>
                  </a:lnTo>
                  <a:lnTo>
                    <a:pt x="3" y="3"/>
                  </a:lnTo>
                  <a:lnTo>
                    <a:pt x="3" y="3"/>
                  </a:lnTo>
                  <a:lnTo>
                    <a:pt x="1" y="0"/>
                  </a:lnTo>
                  <a:lnTo>
                    <a:pt x="4" y="0"/>
                  </a:lnTo>
                  <a:lnTo>
                    <a:pt x="7" y="2"/>
                  </a:lnTo>
                  <a:lnTo>
                    <a:pt x="10" y="4"/>
                  </a:lnTo>
                  <a:lnTo>
                    <a:pt x="10" y="4"/>
                  </a:lnTo>
                  <a:lnTo>
                    <a:pt x="18" y="12"/>
                  </a:lnTo>
                  <a:lnTo>
                    <a:pt x="26" y="17"/>
                  </a:lnTo>
                  <a:lnTo>
                    <a:pt x="26" y="17"/>
                  </a:lnTo>
                  <a:lnTo>
                    <a:pt x="36" y="22"/>
                  </a:lnTo>
                  <a:lnTo>
                    <a:pt x="42" y="25"/>
                  </a:lnTo>
                  <a:lnTo>
                    <a:pt x="43" y="29"/>
                  </a:lnTo>
                  <a:lnTo>
                    <a:pt x="43" y="29"/>
                  </a:lnTo>
                  <a:lnTo>
                    <a:pt x="42" y="31"/>
                  </a:lnTo>
                  <a:lnTo>
                    <a:pt x="39" y="33"/>
                  </a:lnTo>
                  <a:lnTo>
                    <a:pt x="36" y="35"/>
                  </a:lnTo>
                  <a:lnTo>
                    <a:pt x="34"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62" name="Freeform 1185"/>
            <p:cNvSpPr>
              <a:spLocks noEditPoints="1"/>
            </p:cNvSpPr>
            <p:nvPr/>
          </p:nvSpPr>
          <p:spPr bwMode="auto">
            <a:xfrm>
              <a:off x="701675" y="2091959"/>
              <a:ext cx="2174875" cy="1487488"/>
            </a:xfrm>
            <a:custGeom>
              <a:avLst/>
              <a:gdLst>
                <a:gd name="T0" fmla="*/ 1309 w 1370"/>
                <a:gd name="T1" fmla="*/ 654 h 937"/>
                <a:gd name="T2" fmla="*/ 1270 w 1370"/>
                <a:gd name="T3" fmla="*/ 556 h 937"/>
                <a:gd name="T4" fmla="*/ 1222 w 1370"/>
                <a:gd name="T5" fmla="*/ 463 h 937"/>
                <a:gd name="T6" fmla="*/ 1141 w 1370"/>
                <a:gd name="T7" fmla="*/ 498 h 937"/>
                <a:gd name="T8" fmla="*/ 1079 w 1370"/>
                <a:gd name="T9" fmla="*/ 398 h 937"/>
                <a:gd name="T10" fmla="*/ 1011 w 1370"/>
                <a:gd name="T11" fmla="*/ 475 h 937"/>
                <a:gd name="T12" fmla="*/ 1008 w 1370"/>
                <a:gd name="T13" fmla="*/ 612 h 937"/>
                <a:gd name="T14" fmla="*/ 983 w 1370"/>
                <a:gd name="T15" fmla="*/ 731 h 937"/>
                <a:gd name="T16" fmla="*/ 863 w 1370"/>
                <a:gd name="T17" fmla="*/ 602 h 937"/>
                <a:gd name="T18" fmla="*/ 746 w 1370"/>
                <a:gd name="T19" fmla="*/ 452 h 937"/>
                <a:gd name="T20" fmla="*/ 777 w 1370"/>
                <a:gd name="T21" fmla="*/ 376 h 937"/>
                <a:gd name="T22" fmla="*/ 851 w 1370"/>
                <a:gd name="T23" fmla="*/ 311 h 937"/>
                <a:gd name="T24" fmla="*/ 867 w 1370"/>
                <a:gd name="T25" fmla="*/ 246 h 937"/>
                <a:gd name="T26" fmla="*/ 917 w 1370"/>
                <a:gd name="T27" fmla="*/ 249 h 937"/>
                <a:gd name="T28" fmla="*/ 956 w 1370"/>
                <a:gd name="T29" fmla="*/ 139 h 937"/>
                <a:gd name="T30" fmla="*/ 892 w 1370"/>
                <a:gd name="T31" fmla="*/ 110 h 937"/>
                <a:gd name="T32" fmla="*/ 877 w 1370"/>
                <a:gd name="T33" fmla="*/ 204 h 937"/>
                <a:gd name="T34" fmla="*/ 821 w 1370"/>
                <a:gd name="T35" fmla="*/ 155 h 937"/>
                <a:gd name="T36" fmla="*/ 780 w 1370"/>
                <a:gd name="T37" fmla="*/ 88 h 937"/>
                <a:gd name="T38" fmla="*/ 715 w 1370"/>
                <a:gd name="T39" fmla="*/ 29 h 937"/>
                <a:gd name="T40" fmla="*/ 753 w 1370"/>
                <a:gd name="T41" fmla="*/ 140 h 937"/>
                <a:gd name="T42" fmla="*/ 711 w 1370"/>
                <a:gd name="T43" fmla="*/ 187 h 937"/>
                <a:gd name="T44" fmla="*/ 604 w 1370"/>
                <a:gd name="T45" fmla="*/ 179 h 937"/>
                <a:gd name="T46" fmla="*/ 554 w 1370"/>
                <a:gd name="T47" fmla="*/ 156 h 937"/>
                <a:gd name="T48" fmla="*/ 514 w 1370"/>
                <a:gd name="T49" fmla="*/ 214 h 937"/>
                <a:gd name="T50" fmla="*/ 407 w 1370"/>
                <a:gd name="T51" fmla="*/ 174 h 937"/>
                <a:gd name="T52" fmla="*/ 311 w 1370"/>
                <a:gd name="T53" fmla="*/ 104 h 937"/>
                <a:gd name="T54" fmla="*/ 231 w 1370"/>
                <a:gd name="T55" fmla="*/ 87 h 937"/>
                <a:gd name="T56" fmla="*/ 178 w 1370"/>
                <a:gd name="T57" fmla="*/ 81 h 937"/>
                <a:gd name="T58" fmla="*/ 87 w 1370"/>
                <a:gd name="T59" fmla="*/ 146 h 937"/>
                <a:gd name="T60" fmla="*/ 66 w 1370"/>
                <a:gd name="T61" fmla="*/ 501 h 937"/>
                <a:gd name="T62" fmla="*/ 176 w 1370"/>
                <a:gd name="T63" fmla="*/ 660 h 937"/>
                <a:gd name="T64" fmla="*/ 230 w 1370"/>
                <a:gd name="T65" fmla="*/ 734 h 937"/>
                <a:gd name="T66" fmla="*/ 782 w 1370"/>
                <a:gd name="T67" fmla="*/ 795 h 937"/>
                <a:gd name="T68" fmla="*/ 908 w 1370"/>
                <a:gd name="T69" fmla="*/ 828 h 937"/>
                <a:gd name="T70" fmla="*/ 944 w 1370"/>
                <a:gd name="T71" fmla="*/ 917 h 937"/>
                <a:gd name="T72" fmla="*/ 1074 w 1370"/>
                <a:gd name="T73" fmla="*/ 875 h 937"/>
                <a:gd name="T74" fmla="*/ 1242 w 1370"/>
                <a:gd name="T75" fmla="*/ 864 h 937"/>
                <a:gd name="T76" fmla="*/ 1271 w 1370"/>
                <a:gd name="T77" fmla="*/ 856 h 937"/>
                <a:gd name="T78" fmla="*/ 1231 w 1370"/>
                <a:gd name="T79" fmla="*/ 795 h 937"/>
                <a:gd name="T80" fmla="*/ 1247 w 1370"/>
                <a:gd name="T81" fmla="*/ 747 h 937"/>
                <a:gd name="T82" fmla="*/ 289 w 1370"/>
                <a:gd name="T83" fmla="*/ 208 h 937"/>
                <a:gd name="T84" fmla="*/ 359 w 1370"/>
                <a:gd name="T85" fmla="*/ 375 h 937"/>
                <a:gd name="T86" fmla="*/ 313 w 1370"/>
                <a:gd name="T87" fmla="*/ 307 h 937"/>
                <a:gd name="T88" fmla="*/ 311 w 1370"/>
                <a:gd name="T89" fmla="*/ 272 h 937"/>
                <a:gd name="T90" fmla="*/ 324 w 1370"/>
                <a:gd name="T91" fmla="*/ 230 h 937"/>
                <a:gd name="T92" fmla="*/ 488 w 1370"/>
                <a:gd name="T93" fmla="*/ 327 h 937"/>
                <a:gd name="T94" fmla="*/ 410 w 1370"/>
                <a:gd name="T95" fmla="*/ 452 h 937"/>
                <a:gd name="T96" fmla="*/ 415 w 1370"/>
                <a:gd name="T97" fmla="*/ 398 h 937"/>
                <a:gd name="T98" fmla="*/ 463 w 1370"/>
                <a:gd name="T99" fmla="*/ 404 h 937"/>
                <a:gd name="T100" fmla="*/ 472 w 1370"/>
                <a:gd name="T101" fmla="*/ 512 h 937"/>
                <a:gd name="T102" fmla="*/ 533 w 1370"/>
                <a:gd name="T103" fmla="*/ 366 h 937"/>
                <a:gd name="T104" fmla="*/ 517 w 1370"/>
                <a:gd name="T105" fmla="*/ 327 h 937"/>
                <a:gd name="T106" fmla="*/ 702 w 1370"/>
                <a:gd name="T107" fmla="*/ 415 h 937"/>
                <a:gd name="T108" fmla="*/ 657 w 1370"/>
                <a:gd name="T109" fmla="*/ 255 h 937"/>
                <a:gd name="T110" fmla="*/ 667 w 1370"/>
                <a:gd name="T111" fmla="*/ 273 h 937"/>
                <a:gd name="T112" fmla="*/ 640 w 1370"/>
                <a:gd name="T113" fmla="*/ 357 h 937"/>
                <a:gd name="T114" fmla="*/ 654 w 1370"/>
                <a:gd name="T115" fmla="*/ 585 h 937"/>
                <a:gd name="T116" fmla="*/ 701 w 1370"/>
                <a:gd name="T117" fmla="*/ 712 h 937"/>
                <a:gd name="T118" fmla="*/ 714 w 1370"/>
                <a:gd name="T119" fmla="*/ 724 h 937"/>
                <a:gd name="T120" fmla="*/ 837 w 1370"/>
                <a:gd name="T121" fmla="*/ 754 h 937"/>
                <a:gd name="T122" fmla="*/ 1237 w 1370"/>
                <a:gd name="T123" fmla="*/ 64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0" h="937">
                  <a:moveTo>
                    <a:pt x="1366" y="696"/>
                  </a:moveTo>
                  <a:lnTo>
                    <a:pt x="1366" y="696"/>
                  </a:lnTo>
                  <a:lnTo>
                    <a:pt x="1361" y="695"/>
                  </a:lnTo>
                  <a:lnTo>
                    <a:pt x="1361" y="694"/>
                  </a:lnTo>
                  <a:lnTo>
                    <a:pt x="1361" y="691"/>
                  </a:lnTo>
                  <a:lnTo>
                    <a:pt x="1361" y="691"/>
                  </a:lnTo>
                  <a:lnTo>
                    <a:pt x="1364" y="685"/>
                  </a:lnTo>
                  <a:lnTo>
                    <a:pt x="1366" y="682"/>
                  </a:lnTo>
                  <a:lnTo>
                    <a:pt x="1366" y="679"/>
                  </a:lnTo>
                  <a:lnTo>
                    <a:pt x="1366" y="679"/>
                  </a:lnTo>
                  <a:lnTo>
                    <a:pt x="1364" y="676"/>
                  </a:lnTo>
                  <a:lnTo>
                    <a:pt x="1364" y="676"/>
                  </a:lnTo>
                  <a:lnTo>
                    <a:pt x="1364" y="675"/>
                  </a:lnTo>
                  <a:lnTo>
                    <a:pt x="1364" y="675"/>
                  </a:lnTo>
                  <a:lnTo>
                    <a:pt x="1368" y="670"/>
                  </a:lnTo>
                  <a:lnTo>
                    <a:pt x="1370" y="667"/>
                  </a:lnTo>
                  <a:lnTo>
                    <a:pt x="1368" y="666"/>
                  </a:lnTo>
                  <a:lnTo>
                    <a:pt x="1368" y="666"/>
                  </a:lnTo>
                  <a:lnTo>
                    <a:pt x="1363" y="662"/>
                  </a:lnTo>
                  <a:lnTo>
                    <a:pt x="1358" y="660"/>
                  </a:lnTo>
                  <a:lnTo>
                    <a:pt x="1355" y="660"/>
                  </a:lnTo>
                  <a:lnTo>
                    <a:pt x="1355" y="660"/>
                  </a:lnTo>
                  <a:lnTo>
                    <a:pt x="1352" y="660"/>
                  </a:lnTo>
                  <a:lnTo>
                    <a:pt x="1350" y="662"/>
                  </a:lnTo>
                  <a:lnTo>
                    <a:pt x="1348" y="663"/>
                  </a:lnTo>
                  <a:lnTo>
                    <a:pt x="1347" y="662"/>
                  </a:lnTo>
                  <a:lnTo>
                    <a:pt x="1347" y="662"/>
                  </a:lnTo>
                  <a:lnTo>
                    <a:pt x="1342" y="653"/>
                  </a:lnTo>
                  <a:lnTo>
                    <a:pt x="1339" y="649"/>
                  </a:lnTo>
                  <a:lnTo>
                    <a:pt x="1338" y="647"/>
                  </a:lnTo>
                  <a:lnTo>
                    <a:pt x="1338" y="647"/>
                  </a:lnTo>
                  <a:lnTo>
                    <a:pt x="1328" y="650"/>
                  </a:lnTo>
                  <a:lnTo>
                    <a:pt x="1322" y="653"/>
                  </a:lnTo>
                  <a:lnTo>
                    <a:pt x="1321" y="654"/>
                  </a:lnTo>
                  <a:lnTo>
                    <a:pt x="1321" y="656"/>
                  </a:lnTo>
                  <a:lnTo>
                    <a:pt x="1321" y="656"/>
                  </a:lnTo>
                  <a:lnTo>
                    <a:pt x="1319" y="657"/>
                  </a:lnTo>
                  <a:lnTo>
                    <a:pt x="1319" y="660"/>
                  </a:lnTo>
                  <a:lnTo>
                    <a:pt x="1315" y="662"/>
                  </a:lnTo>
                  <a:lnTo>
                    <a:pt x="1315" y="662"/>
                  </a:lnTo>
                  <a:lnTo>
                    <a:pt x="1303" y="667"/>
                  </a:lnTo>
                  <a:lnTo>
                    <a:pt x="1296" y="670"/>
                  </a:lnTo>
                  <a:lnTo>
                    <a:pt x="1295" y="670"/>
                  </a:lnTo>
                  <a:lnTo>
                    <a:pt x="1293" y="670"/>
                  </a:lnTo>
                  <a:lnTo>
                    <a:pt x="1293" y="670"/>
                  </a:lnTo>
                  <a:lnTo>
                    <a:pt x="1296" y="666"/>
                  </a:lnTo>
                  <a:lnTo>
                    <a:pt x="1300" y="662"/>
                  </a:lnTo>
                  <a:lnTo>
                    <a:pt x="1309" y="654"/>
                  </a:lnTo>
                  <a:lnTo>
                    <a:pt x="1309" y="654"/>
                  </a:lnTo>
                  <a:lnTo>
                    <a:pt x="1315" y="650"/>
                  </a:lnTo>
                  <a:lnTo>
                    <a:pt x="1326" y="646"/>
                  </a:lnTo>
                  <a:lnTo>
                    <a:pt x="1335" y="641"/>
                  </a:lnTo>
                  <a:lnTo>
                    <a:pt x="1339" y="638"/>
                  </a:lnTo>
                  <a:lnTo>
                    <a:pt x="1339" y="638"/>
                  </a:lnTo>
                  <a:lnTo>
                    <a:pt x="1338" y="636"/>
                  </a:lnTo>
                  <a:lnTo>
                    <a:pt x="1335" y="633"/>
                  </a:lnTo>
                  <a:lnTo>
                    <a:pt x="1335" y="633"/>
                  </a:lnTo>
                  <a:lnTo>
                    <a:pt x="1332" y="633"/>
                  </a:lnTo>
                  <a:lnTo>
                    <a:pt x="1328" y="633"/>
                  </a:lnTo>
                  <a:lnTo>
                    <a:pt x="1324" y="631"/>
                  </a:lnTo>
                  <a:lnTo>
                    <a:pt x="1321" y="630"/>
                  </a:lnTo>
                  <a:lnTo>
                    <a:pt x="1321" y="630"/>
                  </a:lnTo>
                  <a:lnTo>
                    <a:pt x="1318" y="625"/>
                  </a:lnTo>
                  <a:lnTo>
                    <a:pt x="1313" y="621"/>
                  </a:lnTo>
                  <a:lnTo>
                    <a:pt x="1313" y="621"/>
                  </a:lnTo>
                  <a:lnTo>
                    <a:pt x="1309" y="621"/>
                  </a:lnTo>
                  <a:lnTo>
                    <a:pt x="1306" y="621"/>
                  </a:lnTo>
                  <a:lnTo>
                    <a:pt x="1303" y="620"/>
                  </a:lnTo>
                  <a:lnTo>
                    <a:pt x="1303" y="620"/>
                  </a:lnTo>
                  <a:lnTo>
                    <a:pt x="1300" y="614"/>
                  </a:lnTo>
                  <a:lnTo>
                    <a:pt x="1297" y="608"/>
                  </a:lnTo>
                  <a:lnTo>
                    <a:pt x="1297" y="608"/>
                  </a:lnTo>
                  <a:lnTo>
                    <a:pt x="1290" y="602"/>
                  </a:lnTo>
                  <a:lnTo>
                    <a:pt x="1286" y="599"/>
                  </a:lnTo>
                  <a:lnTo>
                    <a:pt x="1283" y="598"/>
                  </a:lnTo>
                  <a:lnTo>
                    <a:pt x="1283" y="598"/>
                  </a:lnTo>
                  <a:lnTo>
                    <a:pt x="1280" y="598"/>
                  </a:lnTo>
                  <a:lnTo>
                    <a:pt x="1279" y="596"/>
                  </a:lnTo>
                  <a:lnTo>
                    <a:pt x="1274" y="592"/>
                  </a:lnTo>
                  <a:lnTo>
                    <a:pt x="1274" y="592"/>
                  </a:lnTo>
                  <a:lnTo>
                    <a:pt x="1271" y="591"/>
                  </a:lnTo>
                  <a:lnTo>
                    <a:pt x="1270" y="588"/>
                  </a:lnTo>
                  <a:lnTo>
                    <a:pt x="1268" y="585"/>
                  </a:lnTo>
                  <a:lnTo>
                    <a:pt x="1270" y="583"/>
                  </a:lnTo>
                  <a:lnTo>
                    <a:pt x="1270" y="583"/>
                  </a:lnTo>
                  <a:lnTo>
                    <a:pt x="1276" y="579"/>
                  </a:lnTo>
                  <a:lnTo>
                    <a:pt x="1279" y="578"/>
                  </a:lnTo>
                  <a:lnTo>
                    <a:pt x="1279" y="576"/>
                  </a:lnTo>
                  <a:lnTo>
                    <a:pt x="1279" y="575"/>
                  </a:lnTo>
                  <a:lnTo>
                    <a:pt x="1279" y="575"/>
                  </a:lnTo>
                  <a:lnTo>
                    <a:pt x="1274" y="569"/>
                  </a:lnTo>
                  <a:lnTo>
                    <a:pt x="1271" y="566"/>
                  </a:lnTo>
                  <a:lnTo>
                    <a:pt x="1271" y="563"/>
                  </a:lnTo>
                  <a:lnTo>
                    <a:pt x="1271" y="563"/>
                  </a:lnTo>
                  <a:lnTo>
                    <a:pt x="1271" y="560"/>
                  </a:lnTo>
                  <a:lnTo>
                    <a:pt x="1270" y="556"/>
                  </a:lnTo>
                  <a:lnTo>
                    <a:pt x="1266" y="549"/>
                  </a:lnTo>
                  <a:lnTo>
                    <a:pt x="1266" y="549"/>
                  </a:lnTo>
                  <a:lnTo>
                    <a:pt x="1263" y="544"/>
                  </a:lnTo>
                  <a:lnTo>
                    <a:pt x="1261" y="540"/>
                  </a:lnTo>
                  <a:lnTo>
                    <a:pt x="1260" y="536"/>
                  </a:lnTo>
                  <a:lnTo>
                    <a:pt x="1258" y="534"/>
                  </a:lnTo>
                  <a:lnTo>
                    <a:pt x="1258" y="534"/>
                  </a:lnTo>
                  <a:lnTo>
                    <a:pt x="1255" y="531"/>
                  </a:lnTo>
                  <a:lnTo>
                    <a:pt x="1253" y="528"/>
                  </a:lnTo>
                  <a:lnTo>
                    <a:pt x="1253" y="528"/>
                  </a:lnTo>
                  <a:lnTo>
                    <a:pt x="1247" y="528"/>
                  </a:lnTo>
                  <a:lnTo>
                    <a:pt x="1242" y="527"/>
                  </a:lnTo>
                  <a:lnTo>
                    <a:pt x="1242" y="527"/>
                  </a:lnTo>
                  <a:lnTo>
                    <a:pt x="1242" y="527"/>
                  </a:lnTo>
                  <a:lnTo>
                    <a:pt x="1242" y="527"/>
                  </a:lnTo>
                  <a:lnTo>
                    <a:pt x="1250" y="524"/>
                  </a:lnTo>
                  <a:lnTo>
                    <a:pt x="1253" y="521"/>
                  </a:lnTo>
                  <a:lnTo>
                    <a:pt x="1253" y="520"/>
                  </a:lnTo>
                  <a:lnTo>
                    <a:pt x="1253" y="520"/>
                  </a:lnTo>
                  <a:lnTo>
                    <a:pt x="1251" y="514"/>
                  </a:lnTo>
                  <a:lnTo>
                    <a:pt x="1250" y="512"/>
                  </a:lnTo>
                  <a:lnTo>
                    <a:pt x="1247" y="511"/>
                  </a:lnTo>
                  <a:lnTo>
                    <a:pt x="1247" y="511"/>
                  </a:lnTo>
                  <a:lnTo>
                    <a:pt x="1240" y="511"/>
                  </a:lnTo>
                  <a:lnTo>
                    <a:pt x="1238" y="510"/>
                  </a:lnTo>
                  <a:lnTo>
                    <a:pt x="1237" y="510"/>
                  </a:lnTo>
                  <a:lnTo>
                    <a:pt x="1238" y="508"/>
                  </a:lnTo>
                  <a:lnTo>
                    <a:pt x="1238" y="508"/>
                  </a:lnTo>
                  <a:lnTo>
                    <a:pt x="1241" y="507"/>
                  </a:lnTo>
                  <a:lnTo>
                    <a:pt x="1244" y="504"/>
                  </a:lnTo>
                  <a:lnTo>
                    <a:pt x="1245" y="501"/>
                  </a:lnTo>
                  <a:lnTo>
                    <a:pt x="1245" y="499"/>
                  </a:lnTo>
                  <a:lnTo>
                    <a:pt x="1245" y="499"/>
                  </a:lnTo>
                  <a:lnTo>
                    <a:pt x="1240" y="491"/>
                  </a:lnTo>
                  <a:lnTo>
                    <a:pt x="1237" y="485"/>
                  </a:lnTo>
                  <a:lnTo>
                    <a:pt x="1234" y="484"/>
                  </a:lnTo>
                  <a:lnTo>
                    <a:pt x="1234" y="484"/>
                  </a:lnTo>
                  <a:lnTo>
                    <a:pt x="1232" y="482"/>
                  </a:lnTo>
                  <a:lnTo>
                    <a:pt x="1231" y="481"/>
                  </a:lnTo>
                  <a:lnTo>
                    <a:pt x="1231" y="476"/>
                  </a:lnTo>
                  <a:lnTo>
                    <a:pt x="1231" y="476"/>
                  </a:lnTo>
                  <a:lnTo>
                    <a:pt x="1231" y="468"/>
                  </a:lnTo>
                  <a:lnTo>
                    <a:pt x="1231" y="463"/>
                  </a:lnTo>
                  <a:lnTo>
                    <a:pt x="1231" y="460"/>
                  </a:lnTo>
                  <a:lnTo>
                    <a:pt x="1231" y="460"/>
                  </a:lnTo>
                  <a:lnTo>
                    <a:pt x="1228" y="460"/>
                  </a:lnTo>
                  <a:lnTo>
                    <a:pt x="1225" y="462"/>
                  </a:lnTo>
                  <a:lnTo>
                    <a:pt x="1222" y="463"/>
                  </a:lnTo>
                  <a:lnTo>
                    <a:pt x="1221" y="468"/>
                  </a:lnTo>
                  <a:lnTo>
                    <a:pt x="1221" y="468"/>
                  </a:lnTo>
                  <a:lnTo>
                    <a:pt x="1219" y="478"/>
                  </a:lnTo>
                  <a:lnTo>
                    <a:pt x="1216" y="482"/>
                  </a:lnTo>
                  <a:lnTo>
                    <a:pt x="1215" y="484"/>
                  </a:lnTo>
                  <a:lnTo>
                    <a:pt x="1215" y="484"/>
                  </a:lnTo>
                  <a:lnTo>
                    <a:pt x="1212" y="485"/>
                  </a:lnTo>
                  <a:lnTo>
                    <a:pt x="1209" y="486"/>
                  </a:lnTo>
                  <a:lnTo>
                    <a:pt x="1208" y="491"/>
                  </a:lnTo>
                  <a:lnTo>
                    <a:pt x="1208" y="497"/>
                  </a:lnTo>
                  <a:lnTo>
                    <a:pt x="1208" y="497"/>
                  </a:lnTo>
                  <a:lnTo>
                    <a:pt x="1206" y="504"/>
                  </a:lnTo>
                  <a:lnTo>
                    <a:pt x="1205" y="510"/>
                  </a:lnTo>
                  <a:lnTo>
                    <a:pt x="1203" y="514"/>
                  </a:lnTo>
                  <a:lnTo>
                    <a:pt x="1203" y="514"/>
                  </a:lnTo>
                  <a:lnTo>
                    <a:pt x="1200" y="515"/>
                  </a:lnTo>
                  <a:lnTo>
                    <a:pt x="1198" y="515"/>
                  </a:lnTo>
                  <a:lnTo>
                    <a:pt x="1195" y="517"/>
                  </a:lnTo>
                  <a:lnTo>
                    <a:pt x="1195" y="517"/>
                  </a:lnTo>
                  <a:lnTo>
                    <a:pt x="1190" y="521"/>
                  </a:lnTo>
                  <a:lnTo>
                    <a:pt x="1187" y="524"/>
                  </a:lnTo>
                  <a:lnTo>
                    <a:pt x="1186" y="526"/>
                  </a:lnTo>
                  <a:lnTo>
                    <a:pt x="1186" y="526"/>
                  </a:lnTo>
                  <a:lnTo>
                    <a:pt x="1184" y="527"/>
                  </a:lnTo>
                  <a:lnTo>
                    <a:pt x="1183" y="528"/>
                  </a:lnTo>
                  <a:lnTo>
                    <a:pt x="1182" y="530"/>
                  </a:lnTo>
                  <a:lnTo>
                    <a:pt x="1180" y="530"/>
                  </a:lnTo>
                  <a:lnTo>
                    <a:pt x="1180" y="530"/>
                  </a:lnTo>
                  <a:lnTo>
                    <a:pt x="1173" y="526"/>
                  </a:lnTo>
                  <a:lnTo>
                    <a:pt x="1170" y="523"/>
                  </a:lnTo>
                  <a:lnTo>
                    <a:pt x="1169" y="520"/>
                  </a:lnTo>
                  <a:lnTo>
                    <a:pt x="1169" y="520"/>
                  </a:lnTo>
                  <a:lnTo>
                    <a:pt x="1169" y="518"/>
                  </a:lnTo>
                  <a:lnTo>
                    <a:pt x="1166" y="517"/>
                  </a:lnTo>
                  <a:lnTo>
                    <a:pt x="1163" y="515"/>
                  </a:lnTo>
                  <a:lnTo>
                    <a:pt x="1160" y="515"/>
                  </a:lnTo>
                  <a:lnTo>
                    <a:pt x="1160" y="515"/>
                  </a:lnTo>
                  <a:lnTo>
                    <a:pt x="1156" y="520"/>
                  </a:lnTo>
                  <a:lnTo>
                    <a:pt x="1153" y="520"/>
                  </a:lnTo>
                  <a:lnTo>
                    <a:pt x="1150" y="518"/>
                  </a:lnTo>
                  <a:lnTo>
                    <a:pt x="1150" y="518"/>
                  </a:lnTo>
                  <a:lnTo>
                    <a:pt x="1148" y="514"/>
                  </a:lnTo>
                  <a:lnTo>
                    <a:pt x="1147" y="508"/>
                  </a:lnTo>
                  <a:lnTo>
                    <a:pt x="1147" y="508"/>
                  </a:lnTo>
                  <a:lnTo>
                    <a:pt x="1141" y="502"/>
                  </a:lnTo>
                  <a:lnTo>
                    <a:pt x="1141" y="499"/>
                  </a:lnTo>
                  <a:lnTo>
                    <a:pt x="1141" y="498"/>
                  </a:lnTo>
                  <a:lnTo>
                    <a:pt x="1141" y="498"/>
                  </a:lnTo>
                  <a:lnTo>
                    <a:pt x="1144" y="494"/>
                  </a:lnTo>
                  <a:lnTo>
                    <a:pt x="1145" y="489"/>
                  </a:lnTo>
                  <a:lnTo>
                    <a:pt x="1145" y="486"/>
                  </a:lnTo>
                  <a:lnTo>
                    <a:pt x="1144" y="484"/>
                  </a:lnTo>
                  <a:lnTo>
                    <a:pt x="1144" y="484"/>
                  </a:lnTo>
                  <a:lnTo>
                    <a:pt x="1138" y="479"/>
                  </a:lnTo>
                  <a:lnTo>
                    <a:pt x="1137" y="478"/>
                  </a:lnTo>
                  <a:lnTo>
                    <a:pt x="1138" y="476"/>
                  </a:lnTo>
                  <a:lnTo>
                    <a:pt x="1138" y="476"/>
                  </a:lnTo>
                  <a:lnTo>
                    <a:pt x="1142" y="473"/>
                  </a:lnTo>
                  <a:lnTo>
                    <a:pt x="1144" y="469"/>
                  </a:lnTo>
                  <a:lnTo>
                    <a:pt x="1144" y="469"/>
                  </a:lnTo>
                  <a:lnTo>
                    <a:pt x="1148" y="457"/>
                  </a:lnTo>
                  <a:lnTo>
                    <a:pt x="1148" y="452"/>
                  </a:lnTo>
                  <a:lnTo>
                    <a:pt x="1148" y="450"/>
                  </a:lnTo>
                  <a:lnTo>
                    <a:pt x="1145" y="449"/>
                  </a:lnTo>
                  <a:lnTo>
                    <a:pt x="1145" y="449"/>
                  </a:lnTo>
                  <a:lnTo>
                    <a:pt x="1141" y="447"/>
                  </a:lnTo>
                  <a:lnTo>
                    <a:pt x="1137" y="447"/>
                  </a:lnTo>
                  <a:lnTo>
                    <a:pt x="1129" y="447"/>
                  </a:lnTo>
                  <a:lnTo>
                    <a:pt x="1129" y="447"/>
                  </a:lnTo>
                  <a:lnTo>
                    <a:pt x="1125" y="446"/>
                  </a:lnTo>
                  <a:lnTo>
                    <a:pt x="1122" y="442"/>
                  </a:lnTo>
                  <a:lnTo>
                    <a:pt x="1116" y="436"/>
                  </a:lnTo>
                  <a:lnTo>
                    <a:pt x="1116" y="436"/>
                  </a:lnTo>
                  <a:lnTo>
                    <a:pt x="1114" y="431"/>
                  </a:lnTo>
                  <a:lnTo>
                    <a:pt x="1112" y="430"/>
                  </a:lnTo>
                  <a:lnTo>
                    <a:pt x="1112" y="428"/>
                  </a:lnTo>
                  <a:lnTo>
                    <a:pt x="1112" y="428"/>
                  </a:lnTo>
                  <a:lnTo>
                    <a:pt x="1114" y="426"/>
                  </a:lnTo>
                  <a:lnTo>
                    <a:pt x="1114" y="424"/>
                  </a:lnTo>
                  <a:lnTo>
                    <a:pt x="1112" y="421"/>
                  </a:lnTo>
                  <a:lnTo>
                    <a:pt x="1109" y="421"/>
                  </a:lnTo>
                  <a:lnTo>
                    <a:pt x="1109" y="421"/>
                  </a:lnTo>
                  <a:lnTo>
                    <a:pt x="1103" y="421"/>
                  </a:lnTo>
                  <a:lnTo>
                    <a:pt x="1100" y="420"/>
                  </a:lnTo>
                  <a:lnTo>
                    <a:pt x="1098" y="418"/>
                  </a:lnTo>
                  <a:lnTo>
                    <a:pt x="1098" y="418"/>
                  </a:lnTo>
                  <a:lnTo>
                    <a:pt x="1093" y="413"/>
                  </a:lnTo>
                  <a:lnTo>
                    <a:pt x="1092" y="411"/>
                  </a:lnTo>
                  <a:lnTo>
                    <a:pt x="1090" y="411"/>
                  </a:lnTo>
                  <a:lnTo>
                    <a:pt x="1090" y="411"/>
                  </a:lnTo>
                  <a:lnTo>
                    <a:pt x="1089" y="411"/>
                  </a:lnTo>
                  <a:lnTo>
                    <a:pt x="1087" y="410"/>
                  </a:lnTo>
                  <a:lnTo>
                    <a:pt x="1085" y="405"/>
                  </a:lnTo>
                  <a:lnTo>
                    <a:pt x="1085" y="405"/>
                  </a:lnTo>
                  <a:lnTo>
                    <a:pt x="1082" y="401"/>
                  </a:lnTo>
                  <a:lnTo>
                    <a:pt x="1079" y="398"/>
                  </a:lnTo>
                  <a:lnTo>
                    <a:pt x="1076" y="397"/>
                  </a:lnTo>
                  <a:lnTo>
                    <a:pt x="1076" y="397"/>
                  </a:lnTo>
                  <a:lnTo>
                    <a:pt x="1064" y="397"/>
                  </a:lnTo>
                  <a:lnTo>
                    <a:pt x="1054" y="397"/>
                  </a:lnTo>
                  <a:lnTo>
                    <a:pt x="1054" y="397"/>
                  </a:lnTo>
                  <a:lnTo>
                    <a:pt x="1051" y="397"/>
                  </a:lnTo>
                  <a:lnTo>
                    <a:pt x="1048" y="395"/>
                  </a:lnTo>
                  <a:lnTo>
                    <a:pt x="1045" y="394"/>
                  </a:lnTo>
                  <a:lnTo>
                    <a:pt x="1043" y="394"/>
                  </a:lnTo>
                  <a:lnTo>
                    <a:pt x="1043" y="394"/>
                  </a:lnTo>
                  <a:lnTo>
                    <a:pt x="1031" y="392"/>
                  </a:lnTo>
                  <a:lnTo>
                    <a:pt x="1018" y="391"/>
                  </a:lnTo>
                  <a:lnTo>
                    <a:pt x="1018" y="391"/>
                  </a:lnTo>
                  <a:lnTo>
                    <a:pt x="1015" y="392"/>
                  </a:lnTo>
                  <a:lnTo>
                    <a:pt x="1012" y="394"/>
                  </a:lnTo>
                  <a:lnTo>
                    <a:pt x="1008" y="399"/>
                  </a:lnTo>
                  <a:lnTo>
                    <a:pt x="1008" y="399"/>
                  </a:lnTo>
                  <a:lnTo>
                    <a:pt x="1003" y="402"/>
                  </a:lnTo>
                  <a:lnTo>
                    <a:pt x="1002" y="405"/>
                  </a:lnTo>
                  <a:lnTo>
                    <a:pt x="1003" y="408"/>
                  </a:lnTo>
                  <a:lnTo>
                    <a:pt x="1003" y="408"/>
                  </a:lnTo>
                  <a:lnTo>
                    <a:pt x="1006" y="413"/>
                  </a:lnTo>
                  <a:lnTo>
                    <a:pt x="1006" y="417"/>
                  </a:lnTo>
                  <a:lnTo>
                    <a:pt x="1006" y="420"/>
                  </a:lnTo>
                  <a:lnTo>
                    <a:pt x="1008" y="421"/>
                  </a:lnTo>
                  <a:lnTo>
                    <a:pt x="1008" y="421"/>
                  </a:lnTo>
                  <a:lnTo>
                    <a:pt x="1011" y="423"/>
                  </a:lnTo>
                  <a:lnTo>
                    <a:pt x="1012" y="423"/>
                  </a:lnTo>
                  <a:lnTo>
                    <a:pt x="1011" y="427"/>
                  </a:lnTo>
                  <a:lnTo>
                    <a:pt x="1011" y="427"/>
                  </a:lnTo>
                  <a:lnTo>
                    <a:pt x="1006" y="434"/>
                  </a:lnTo>
                  <a:lnTo>
                    <a:pt x="1002" y="442"/>
                  </a:lnTo>
                  <a:lnTo>
                    <a:pt x="1002" y="442"/>
                  </a:lnTo>
                  <a:lnTo>
                    <a:pt x="999" y="447"/>
                  </a:lnTo>
                  <a:lnTo>
                    <a:pt x="999" y="450"/>
                  </a:lnTo>
                  <a:lnTo>
                    <a:pt x="1001" y="452"/>
                  </a:lnTo>
                  <a:lnTo>
                    <a:pt x="1002" y="452"/>
                  </a:lnTo>
                  <a:lnTo>
                    <a:pt x="1002" y="452"/>
                  </a:lnTo>
                  <a:lnTo>
                    <a:pt x="1006" y="452"/>
                  </a:lnTo>
                  <a:lnTo>
                    <a:pt x="1008" y="453"/>
                  </a:lnTo>
                  <a:lnTo>
                    <a:pt x="1008" y="455"/>
                  </a:lnTo>
                  <a:lnTo>
                    <a:pt x="1008" y="457"/>
                  </a:lnTo>
                  <a:lnTo>
                    <a:pt x="1008" y="457"/>
                  </a:lnTo>
                  <a:lnTo>
                    <a:pt x="1008" y="468"/>
                  </a:lnTo>
                  <a:lnTo>
                    <a:pt x="1008" y="473"/>
                  </a:lnTo>
                  <a:lnTo>
                    <a:pt x="1009" y="475"/>
                  </a:lnTo>
                  <a:lnTo>
                    <a:pt x="1011" y="475"/>
                  </a:lnTo>
                  <a:lnTo>
                    <a:pt x="1011" y="475"/>
                  </a:lnTo>
                  <a:lnTo>
                    <a:pt x="1014" y="476"/>
                  </a:lnTo>
                  <a:lnTo>
                    <a:pt x="1015" y="478"/>
                  </a:lnTo>
                  <a:lnTo>
                    <a:pt x="1014" y="481"/>
                  </a:lnTo>
                  <a:lnTo>
                    <a:pt x="1012" y="484"/>
                  </a:lnTo>
                  <a:lnTo>
                    <a:pt x="1012" y="484"/>
                  </a:lnTo>
                  <a:lnTo>
                    <a:pt x="1011" y="486"/>
                  </a:lnTo>
                  <a:lnTo>
                    <a:pt x="1009" y="491"/>
                  </a:lnTo>
                  <a:lnTo>
                    <a:pt x="1009" y="494"/>
                  </a:lnTo>
                  <a:lnTo>
                    <a:pt x="1011" y="495"/>
                  </a:lnTo>
                  <a:lnTo>
                    <a:pt x="1011" y="495"/>
                  </a:lnTo>
                  <a:lnTo>
                    <a:pt x="1012" y="495"/>
                  </a:lnTo>
                  <a:lnTo>
                    <a:pt x="1014" y="497"/>
                  </a:lnTo>
                  <a:lnTo>
                    <a:pt x="1012" y="498"/>
                  </a:lnTo>
                  <a:lnTo>
                    <a:pt x="1009" y="501"/>
                  </a:lnTo>
                  <a:lnTo>
                    <a:pt x="1009" y="501"/>
                  </a:lnTo>
                  <a:lnTo>
                    <a:pt x="1001" y="507"/>
                  </a:lnTo>
                  <a:lnTo>
                    <a:pt x="995" y="511"/>
                  </a:lnTo>
                  <a:lnTo>
                    <a:pt x="995" y="511"/>
                  </a:lnTo>
                  <a:lnTo>
                    <a:pt x="995" y="514"/>
                  </a:lnTo>
                  <a:lnTo>
                    <a:pt x="993" y="517"/>
                  </a:lnTo>
                  <a:lnTo>
                    <a:pt x="995" y="521"/>
                  </a:lnTo>
                  <a:lnTo>
                    <a:pt x="998" y="524"/>
                  </a:lnTo>
                  <a:lnTo>
                    <a:pt x="998" y="524"/>
                  </a:lnTo>
                  <a:lnTo>
                    <a:pt x="1001" y="527"/>
                  </a:lnTo>
                  <a:lnTo>
                    <a:pt x="1002" y="531"/>
                  </a:lnTo>
                  <a:lnTo>
                    <a:pt x="1005" y="540"/>
                  </a:lnTo>
                  <a:lnTo>
                    <a:pt x="1005" y="540"/>
                  </a:lnTo>
                  <a:lnTo>
                    <a:pt x="1006" y="543"/>
                  </a:lnTo>
                  <a:lnTo>
                    <a:pt x="1009" y="544"/>
                  </a:lnTo>
                  <a:lnTo>
                    <a:pt x="1012" y="546"/>
                  </a:lnTo>
                  <a:lnTo>
                    <a:pt x="1014" y="550"/>
                  </a:lnTo>
                  <a:lnTo>
                    <a:pt x="1014" y="550"/>
                  </a:lnTo>
                  <a:lnTo>
                    <a:pt x="1015" y="562"/>
                  </a:lnTo>
                  <a:lnTo>
                    <a:pt x="1019" y="572"/>
                  </a:lnTo>
                  <a:lnTo>
                    <a:pt x="1019" y="572"/>
                  </a:lnTo>
                  <a:lnTo>
                    <a:pt x="1019" y="581"/>
                  </a:lnTo>
                  <a:lnTo>
                    <a:pt x="1019" y="591"/>
                  </a:lnTo>
                  <a:lnTo>
                    <a:pt x="1018" y="599"/>
                  </a:lnTo>
                  <a:lnTo>
                    <a:pt x="1016" y="604"/>
                  </a:lnTo>
                  <a:lnTo>
                    <a:pt x="1016" y="604"/>
                  </a:lnTo>
                  <a:lnTo>
                    <a:pt x="1014" y="607"/>
                  </a:lnTo>
                  <a:lnTo>
                    <a:pt x="1012" y="611"/>
                  </a:lnTo>
                  <a:lnTo>
                    <a:pt x="1012" y="615"/>
                  </a:lnTo>
                  <a:lnTo>
                    <a:pt x="1011" y="615"/>
                  </a:lnTo>
                  <a:lnTo>
                    <a:pt x="1011" y="615"/>
                  </a:lnTo>
                  <a:lnTo>
                    <a:pt x="1011" y="615"/>
                  </a:lnTo>
                  <a:lnTo>
                    <a:pt x="1008" y="612"/>
                  </a:lnTo>
                  <a:lnTo>
                    <a:pt x="1008" y="612"/>
                  </a:lnTo>
                  <a:lnTo>
                    <a:pt x="1006" y="614"/>
                  </a:lnTo>
                  <a:lnTo>
                    <a:pt x="1006" y="614"/>
                  </a:lnTo>
                  <a:lnTo>
                    <a:pt x="1003" y="623"/>
                  </a:lnTo>
                  <a:lnTo>
                    <a:pt x="1002" y="627"/>
                  </a:lnTo>
                  <a:lnTo>
                    <a:pt x="999" y="630"/>
                  </a:lnTo>
                  <a:lnTo>
                    <a:pt x="999" y="630"/>
                  </a:lnTo>
                  <a:lnTo>
                    <a:pt x="993" y="633"/>
                  </a:lnTo>
                  <a:lnTo>
                    <a:pt x="990" y="634"/>
                  </a:lnTo>
                  <a:lnTo>
                    <a:pt x="990" y="637"/>
                  </a:lnTo>
                  <a:lnTo>
                    <a:pt x="990" y="637"/>
                  </a:lnTo>
                  <a:lnTo>
                    <a:pt x="995" y="641"/>
                  </a:lnTo>
                  <a:lnTo>
                    <a:pt x="998" y="644"/>
                  </a:lnTo>
                  <a:lnTo>
                    <a:pt x="998" y="647"/>
                  </a:lnTo>
                  <a:lnTo>
                    <a:pt x="998" y="647"/>
                  </a:lnTo>
                  <a:lnTo>
                    <a:pt x="996" y="656"/>
                  </a:lnTo>
                  <a:lnTo>
                    <a:pt x="995" y="660"/>
                  </a:lnTo>
                  <a:lnTo>
                    <a:pt x="995" y="663"/>
                  </a:lnTo>
                  <a:lnTo>
                    <a:pt x="995" y="663"/>
                  </a:lnTo>
                  <a:lnTo>
                    <a:pt x="996" y="672"/>
                  </a:lnTo>
                  <a:lnTo>
                    <a:pt x="998" y="678"/>
                  </a:lnTo>
                  <a:lnTo>
                    <a:pt x="1001" y="680"/>
                  </a:lnTo>
                  <a:lnTo>
                    <a:pt x="1001" y="680"/>
                  </a:lnTo>
                  <a:lnTo>
                    <a:pt x="1002" y="683"/>
                  </a:lnTo>
                  <a:lnTo>
                    <a:pt x="1005" y="686"/>
                  </a:lnTo>
                  <a:lnTo>
                    <a:pt x="1005" y="689"/>
                  </a:lnTo>
                  <a:lnTo>
                    <a:pt x="1005" y="694"/>
                  </a:lnTo>
                  <a:lnTo>
                    <a:pt x="1005" y="694"/>
                  </a:lnTo>
                  <a:lnTo>
                    <a:pt x="1005" y="704"/>
                  </a:lnTo>
                  <a:lnTo>
                    <a:pt x="1003" y="707"/>
                  </a:lnTo>
                  <a:lnTo>
                    <a:pt x="1001" y="708"/>
                  </a:lnTo>
                  <a:lnTo>
                    <a:pt x="1001" y="708"/>
                  </a:lnTo>
                  <a:lnTo>
                    <a:pt x="998" y="711"/>
                  </a:lnTo>
                  <a:lnTo>
                    <a:pt x="996" y="714"/>
                  </a:lnTo>
                  <a:lnTo>
                    <a:pt x="998" y="720"/>
                  </a:lnTo>
                  <a:lnTo>
                    <a:pt x="998" y="720"/>
                  </a:lnTo>
                  <a:lnTo>
                    <a:pt x="998" y="725"/>
                  </a:lnTo>
                  <a:lnTo>
                    <a:pt x="996" y="727"/>
                  </a:lnTo>
                  <a:lnTo>
                    <a:pt x="995" y="725"/>
                  </a:lnTo>
                  <a:lnTo>
                    <a:pt x="995" y="725"/>
                  </a:lnTo>
                  <a:lnTo>
                    <a:pt x="990" y="723"/>
                  </a:lnTo>
                  <a:lnTo>
                    <a:pt x="987" y="721"/>
                  </a:lnTo>
                  <a:lnTo>
                    <a:pt x="986" y="721"/>
                  </a:lnTo>
                  <a:lnTo>
                    <a:pt x="986" y="721"/>
                  </a:lnTo>
                  <a:lnTo>
                    <a:pt x="986" y="724"/>
                  </a:lnTo>
                  <a:lnTo>
                    <a:pt x="986" y="727"/>
                  </a:lnTo>
                  <a:lnTo>
                    <a:pt x="986" y="731"/>
                  </a:lnTo>
                  <a:lnTo>
                    <a:pt x="985" y="731"/>
                  </a:lnTo>
                  <a:lnTo>
                    <a:pt x="983" y="731"/>
                  </a:lnTo>
                  <a:lnTo>
                    <a:pt x="983" y="731"/>
                  </a:lnTo>
                  <a:lnTo>
                    <a:pt x="979" y="728"/>
                  </a:lnTo>
                  <a:lnTo>
                    <a:pt x="973" y="724"/>
                  </a:lnTo>
                  <a:lnTo>
                    <a:pt x="970" y="718"/>
                  </a:lnTo>
                  <a:lnTo>
                    <a:pt x="969" y="714"/>
                  </a:lnTo>
                  <a:lnTo>
                    <a:pt x="969" y="714"/>
                  </a:lnTo>
                  <a:lnTo>
                    <a:pt x="969" y="712"/>
                  </a:lnTo>
                  <a:lnTo>
                    <a:pt x="970" y="711"/>
                  </a:lnTo>
                  <a:lnTo>
                    <a:pt x="972" y="709"/>
                  </a:lnTo>
                  <a:lnTo>
                    <a:pt x="969" y="708"/>
                  </a:lnTo>
                  <a:lnTo>
                    <a:pt x="969" y="708"/>
                  </a:lnTo>
                  <a:lnTo>
                    <a:pt x="957" y="704"/>
                  </a:lnTo>
                  <a:lnTo>
                    <a:pt x="951" y="701"/>
                  </a:lnTo>
                  <a:lnTo>
                    <a:pt x="947" y="698"/>
                  </a:lnTo>
                  <a:lnTo>
                    <a:pt x="947" y="698"/>
                  </a:lnTo>
                  <a:lnTo>
                    <a:pt x="947" y="695"/>
                  </a:lnTo>
                  <a:lnTo>
                    <a:pt x="947" y="694"/>
                  </a:lnTo>
                  <a:lnTo>
                    <a:pt x="947" y="691"/>
                  </a:lnTo>
                  <a:lnTo>
                    <a:pt x="943" y="686"/>
                  </a:lnTo>
                  <a:lnTo>
                    <a:pt x="943" y="686"/>
                  </a:lnTo>
                  <a:lnTo>
                    <a:pt x="931" y="679"/>
                  </a:lnTo>
                  <a:lnTo>
                    <a:pt x="927" y="675"/>
                  </a:lnTo>
                  <a:lnTo>
                    <a:pt x="927" y="673"/>
                  </a:lnTo>
                  <a:lnTo>
                    <a:pt x="927" y="670"/>
                  </a:lnTo>
                  <a:lnTo>
                    <a:pt x="927" y="670"/>
                  </a:lnTo>
                  <a:lnTo>
                    <a:pt x="928" y="660"/>
                  </a:lnTo>
                  <a:lnTo>
                    <a:pt x="930" y="654"/>
                  </a:lnTo>
                  <a:lnTo>
                    <a:pt x="930" y="649"/>
                  </a:lnTo>
                  <a:lnTo>
                    <a:pt x="930" y="649"/>
                  </a:lnTo>
                  <a:lnTo>
                    <a:pt x="928" y="644"/>
                  </a:lnTo>
                  <a:lnTo>
                    <a:pt x="928" y="640"/>
                  </a:lnTo>
                  <a:lnTo>
                    <a:pt x="930" y="637"/>
                  </a:lnTo>
                  <a:lnTo>
                    <a:pt x="932" y="634"/>
                  </a:lnTo>
                  <a:lnTo>
                    <a:pt x="932" y="634"/>
                  </a:lnTo>
                  <a:lnTo>
                    <a:pt x="938" y="628"/>
                  </a:lnTo>
                  <a:lnTo>
                    <a:pt x="940" y="627"/>
                  </a:lnTo>
                  <a:lnTo>
                    <a:pt x="938" y="625"/>
                  </a:lnTo>
                  <a:lnTo>
                    <a:pt x="938" y="625"/>
                  </a:lnTo>
                  <a:lnTo>
                    <a:pt x="915" y="624"/>
                  </a:lnTo>
                  <a:lnTo>
                    <a:pt x="901" y="623"/>
                  </a:lnTo>
                  <a:lnTo>
                    <a:pt x="892" y="623"/>
                  </a:lnTo>
                  <a:lnTo>
                    <a:pt x="892" y="623"/>
                  </a:lnTo>
                  <a:lnTo>
                    <a:pt x="889" y="621"/>
                  </a:lnTo>
                  <a:lnTo>
                    <a:pt x="888" y="620"/>
                  </a:lnTo>
                  <a:lnTo>
                    <a:pt x="883" y="617"/>
                  </a:lnTo>
                  <a:lnTo>
                    <a:pt x="883" y="617"/>
                  </a:lnTo>
                  <a:lnTo>
                    <a:pt x="873" y="610"/>
                  </a:lnTo>
                  <a:lnTo>
                    <a:pt x="863" y="602"/>
                  </a:lnTo>
                  <a:lnTo>
                    <a:pt x="863" y="602"/>
                  </a:lnTo>
                  <a:lnTo>
                    <a:pt x="856" y="596"/>
                  </a:lnTo>
                  <a:lnTo>
                    <a:pt x="850" y="591"/>
                  </a:lnTo>
                  <a:lnTo>
                    <a:pt x="850" y="591"/>
                  </a:lnTo>
                  <a:lnTo>
                    <a:pt x="838" y="579"/>
                  </a:lnTo>
                  <a:lnTo>
                    <a:pt x="833" y="575"/>
                  </a:lnTo>
                  <a:lnTo>
                    <a:pt x="830" y="572"/>
                  </a:lnTo>
                  <a:lnTo>
                    <a:pt x="830" y="572"/>
                  </a:lnTo>
                  <a:lnTo>
                    <a:pt x="821" y="573"/>
                  </a:lnTo>
                  <a:lnTo>
                    <a:pt x="817" y="573"/>
                  </a:lnTo>
                  <a:lnTo>
                    <a:pt x="814" y="572"/>
                  </a:lnTo>
                  <a:lnTo>
                    <a:pt x="814" y="572"/>
                  </a:lnTo>
                  <a:lnTo>
                    <a:pt x="804" y="565"/>
                  </a:lnTo>
                  <a:lnTo>
                    <a:pt x="799" y="562"/>
                  </a:lnTo>
                  <a:lnTo>
                    <a:pt x="795" y="562"/>
                  </a:lnTo>
                  <a:lnTo>
                    <a:pt x="795" y="562"/>
                  </a:lnTo>
                  <a:lnTo>
                    <a:pt x="785" y="568"/>
                  </a:lnTo>
                  <a:lnTo>
                    <a:pt x="779" y="572"/>
                  </a:lnTo>
                  <a:lnTo>
                    <a:pt x="775" y="572"/>
                  </a:lnTo>
                  <a:lnTo>
                    <a:pt x="775" y="572"/>
                  </a:lnTo>
                  <a:lnTo>
                    <a:pt x="775" y="570"/>
                  </a:lnTo>
                  <a:lnTo>
                    <a:pt x="775" y="566"/>
                  </a:lnTo>
                  <a:lnTo>
                    <a:pt x="777" y="560"/>
                  </a:lnTo>
                  <a:lnTo>
                    <a:pt x="777" y="560"/>
                  </a:lnTo>
                  <a:lnTo>
                    <a:pt x="773" y="540"/>
                  </a:lnTo>
                  <a:lnTo>
                    <a:pt x="770" y="527"/>
                  </a:lnTo>
                  <a:lnTo>
                    <a:pt x="767" y="520"/>
                  </a:lnTo>
                  <a:lnTo>
                    <a:pt x="767" y="520"/>
                  </a:lnTo>
                  <a:lnTo>
                    <a:pt x="762" y="515"/>
                  </a:lnTo>
                  <a:lnTo>
                    <a:pt x="759" y="515"/>
                  </a:lnTo>
                  <a:lnTo>
                    <a:pt x="756" y="514"/>
                  </a:lnTo>
                  <a:lnTo>
                    <a:pt x="756" y="514"/>
                  </a:lnTo>
                  <a:lnTo>
                    <a:pt x="751" y="518"/>
                  </a:lnTo>
                  <a:lnTo>
                    <a:pt x="749" y="520"/>
                  </a:lnTo>
                  <a:lnTo>
                    <a:pt x="746" y="518"/>
                  </a:lnTo>
                  <a:lnTo>
                    <a:pt x="746" y="518"/>
                  </a:lnTo>
                  <a:lnTo>
                    <a:pt x="740" y="510"/>
                  </a:lnTo>
                  <a:lnTo>
                    <a:pt x="737" y="507"/>
                  </a:lnTo>
                  <a:lnTo>
                    <a:pt x="735" y="502"/>
                  </a:lnTo>
                  <a:lnTo>
                    <a:pt x="735" y="502"/>
                  </a:lnTo>
                  <a:lnTo>
                    <a:pt x="737" y="498"/>
                  </a:lnTo>
                  <a:lnTo>
                    <a:pt x="737" y="495"/>
                  </a:lnTo>
                  <a:lnTo>
                    <a:pt x="737" y="492"/>
                  </a:lnTo>
                  <a:lnTo>
                    <a:pt x="737" y="492"/>
                  </a:lnTo>
                  <a:lnTo>
                    <a:pt x="737" y="485"/>
                  </a:lnTo>
                  <a:lnTo>
                    <a:pt x="740" y="473"/>
                  </a:lnTo>
                  <a:lnTo>
                    <a:pt x="746" y="452"/>
                  </a:lnTo>
                  <a:lnTo>
                    <a:pt x="746" y="452"/>
                  </a:lnTo>
                  <a:lnTo>
                    <a:pt x="749" y="447"/>
                  </a:lnTo>
                  <a:lnTo>
                    <a:pt x="751" y="444"/>
                  </a:lnTo>
                  <a:lnTo>
                    <a:pt x="753" y="440"/>
                  </a:lnTo>
                  <a:lnTo>
                    <a:pt x="753" y="436"/>
                  </a:lnTo>
                  <a:lnTo>
                    <a:pt x="753" y="436"/>
                  </a:lnTo>
                  <a:lnTo>
                    <a:pt x="749" y="427"/>
                  </a:lnTo>
                  <a:lnTo>
                    <a:pt x="746" y="420"/>
                  </a:lnTo>
                  <a:lnTo>
                    <a:pt x="746" y="420"/>
                  </a:lnTo>
                  <a:lnTo>
                    <a:pt x="743" y="410"/>
                  </a:lnTo>
                  <a:lnTo>
                    <a:pt x="743" y="407"/>
                  </a:lnTo>
                  <a:lnTo>
                    <a:pt x="743" y="405"/>
                  </a:lnTo>
                  <a:lnTo>
                    <a:pt x="744" y="404"/>
                  </a:lnTo>
                  <a:lnTo>
                    <a:pt x="744" y="404"/>
                  </a:lnTo>
                  <a:lnTo>
                    <a:pt x="747" y="405"/>
                  </a:lnTo>
                  <a:lnTo>
                    <a:pt x="749" y="407"/>
                  </a:lnTo>
                  <a:lnTo>
                    <a:pt x="750" y="408"/>
                  </a:lnTo>
                  <a:lnTo>
                    <a:pt x="751" y="407"/>
                  </a:lnTo>
                  <a:lnTo>
                    <a:pt x="751" y="407"/>
                  </a:lnTo>
                  <a:lnTo>
                    <a:pt x="751" y="398"/>
                  </a:lnTo>
                  <a:lnTo>
                    <a:pt x="753" y="395"/>
                  </a:lnTo>
                  <a:lnTo>
                    <a:pt x="754" y="395"/>
                  </a:lnTo>
                  <a:lnTo>
                    <a:pt x="754" y="395"/>
                  </a:lnTo>
                  <a:lnTo>
                    <a:pt x="757" y="397"/>
                  </a:lnTo>
                  <a:lnTo>
                    <a:pt x="760" y="399"/>
                  </a:lnTo>
                  <a:lnTo>
                    <a:pt x="763" y="407"/>
                  </a:lnTo>
                  <a:lnTo>
                    <a:pt x="763" y="407"/>
                  </a:lnTo>
                  <a:lnTo>
                    <a:pt x="767" y="408"/>
                  </a:lnTo>
                  <a:lnTo>
                    <a:pt x="772" y="408"/>
                  </a:lnTo>
                  <a:lnTo>
                    <a:pt x="776" y="408"/>
                  </a:lnTo>
                  <a:lnTo>
                    <a:pt x="777" y="408"/>
                  </a:lnTo>
                  <a:lnTo>
                    <a:pt x="776" y="407"/>
                  </a:lnTo>
                  <a:lnTo>
                    <a:pt x="776" y="407"/>
                  </a:lnTo>
                  <a:lnTo>
                    <a:pt x="772" y="402"/>
                  </a:lnTo>
                  <a:lnTo>
                    <a:pt x="769" y="399"/>
                  </a:lnTo>
                  <a:lnTo>
                    <a:pt x="769" y="398"/>
                  </a:lnTo>
                  <a:lnTo>
                    <a:pt x="770" y="397"/>
                  </a:lnTo>
                  <a:lnTo>
                    <a:pt x="770" y="397"/>
                  </a:lnTo>
                  <a:lnTo>
                    <a:pt x="776" y="391"/>
                  </a:lnTo>
                  <a:lnTo>
                    <a:pt x="777" y="386"/>
                  </a:lnTo>
                  <a:lnTo>
                    <a:pt x="777" y="384"/>
                  </a:lnTo>
                  <a:lnTo>
                    <a:pt x="777" y="384"/>
                  </a:lnTo>
                  <a:lnTo>
                    <a:pt x="772" y="378"/>
                  </a:lnTo>
                  <a:lnTo>
                    <a:pt x="770" y="376"/>
                  </a:lnTo>
                  <a:lnTo>
                    <a:pt x="770" y="375"/>
                  </a:lnTo>
                  <a:lnTo>
                    <a:pt x="770" y="375"/>
                  </a:lnTo>
                  <a:lnTo>
                    <a:pt x="770" y="375"/>
                  </a:lnTo>
                  <a:lnTo>
                    <a:pt x="775" y="375"/>
                  </a:lnTo>
                  <a:lnTo>
                    <a:pt x="777" y="376"/>
                  </a:lnTo>
                  <a:lnTo>
                    <a:pt x="785" y="381"/>
                  </a:lnTo>
                  <a:lnTo>
                    <a:pt x="785" y="381"/>
                  </a:lnTo>
                  <a:lnTo>
                    <a:pt x="792" y="385"/>
                  </a:lnTo>
                  <a:lnTo>
                    <a:pt x="795" y="386"/>
                  </a:lnTo>
                  <a:lnTo>
                    <a:pt x="799" y="385"/>
                  </a:lnTo>
                  <a:lnTo>
                    <a:pt x="799" y="385"/>
                  </a:lnTo>
                  <a:lnTo>
                    <a:pt x="802" y="384"/>
                  </a:lnTo>
                  <a:lnTo>
                    <a:pt x="804" y="381"/>
                  </a:lnTo>
                  <a:lnTo>
                    <a:pt x="805" y="378"/>
                  </a:lnTo>
                  <a:lnTo>
                    <a:pt x="805" y="373"/>
                  </a:lnTo>
                  <a:lnTo>
                    <a:pt x="805" y="373"/>
                  </a:lnTo>
                  <a:lnTo>
                    <a:pt x="801" y="368"/>
                  </a:lnTo>
                  <a:lnTo>
                    <a:pt x="795" y="360"/>
                  </a:lnTo>
                  <a:lnTo>
                    <a:pt x="786" y="353"/>
                  </a:lnTo>
                  <a:lnTo>
                    <a:pt x="779" y="347"/>
                  </a:lnTo>
                  <a:lnTo>
                    <a:pt x="779" y="347"/>
                  </a:lnTo>
                  <a:lnTo>
                    <a:pt x="788" y="352"/>
                  </a:lnTo>
                  <a:lnTo>
                    <a:pt x="805" y="360"/>
                  </a:lnTo>
                  <a:lnTo>
                    <a:pt x="805" y="360"/>
                  </a:lnTo>
                  <a:lnTo>
                    <a:pt x="806" y="360"/>
                  </a:lnTo>
                  <a:lnTo>
                    <a:pt x="808" y="360"/>
                  </a:lnTo>
                  <a:lnTo>
                    <a:pt x="809" y="359"/>
                  </a:lnTo>
                  <a:lnTo>
                    <a:pt x="809" y="353"/>
                  </a:lnTo>
                  <a:lnTo>
                    <a:pt x="809" y="349"/>
                  </a:lnTo>
                  <a:lnTo>
                    <a:pt x="809" y="349"/>
                  </a:lnTo>
                  <a:lnTo>
                    <a:pt x="806" y="342"/>
                  </a:lnTo>
                  <a:lnTo>
                    <a:pt x="806" y="340"/>
                  </a:lnTo>
                  <a:lnTo>
                    <a:pt x="811" y="340"/>
                  </a:lnTo>
                  <a:lnTo>
                    <a:pt x="811" y="340"/>
                  </a:lnTo>
                  <a:lnTo>
                    <a:pt x="814" y="340"/>
                  </a:lnTo>
                  <a:lnTo>
                    <a:pt x="817" y="339"/>
                  </a:lnTo>
                  <a:lnTo>
                    <a:pt x="819" y="337"/>
                  </a:lnTo>
                  <a:lnTo>
                    <a:pt x="819" y="334"/>
                  </a:lnTo>
                  <a:lnTo>
                    <a:pt x="819" y="334"/>
                  </a:lnTo>
                  <a:lnTo>
                    <a:pt x="821" y="334"/>
                  </a:lnTo>
                  <a:lnTo>
                    <a:pt x="822" y="336"/>
                  </a:lnTo>
                  <a:lnTo>
                    <a:pt x="827" y="339"/>
                  </a:lnTo>
                  <a:lnTo>
                    <a:pt x="833" y="343"/>
                  </a:lnTo>
                  <a:lnTo>
                    <a:pt x="837" y="344"/>
                  </a:lnTo>
                  <a:lnTo>
                    <a:pt x="837" y="344"/>
                  </a:lnTo>
                  <a:lnTo>
                    <a:pt x="840" y="342"/>
                  </a:lnTo>
                  <a:lnTo>
                    <a:pt x="844" y="339"/>
                  </a:lnTo>
                  <a:lnTo>
                    <a:pt x="847" y="334"/>
                  </a:lnTo>
                  <a:lnTo>
                    <a:pt x="848" y="330"/>
                  </a:lnTo>
                  <a:lnTo>
                    <a:pt x="848" y="330"/>
                  </a:lnTo>
                  <a:lnTo>
                    <a:pt x="848" y="320"/>
                  </a:lnTo>
                  <a:lnTo>
                    <a:pt x="848" y="315"/>
                  </a:lnTo>
                  <a:lnTo>
                    <a:pt x="851" y="311"/>
                  </a:lnTo>
                  <a:lnTo>
                    <a:pt x="851" y="311"/>
                  </a:lnTo>
                  <a:lnTo>
                    <a:pt x="854" y="302"/>
                  </a:lnTo>
                  <a:lnTo>
                    <a:pt x="856" y="298"/>
                  </a:lnTo>
                  <a:lnTo>
                    <a:pt x="854" y="297"/>
                  </a:lnTo>
                  <a:lnTo>
                    <a:pt x="853" y="295"/>
                  </a:lnTo>
                  <a:lnTo>
                    <a:pt x="853" y="295"/>
                  </a:lnTo>
                  <a:lnTo>
                    <a:pt x="843" y="294"/>
                  </a:lnTo>
                  <a:lnTo>
                    <a:pt x="835" y="292"/>
                  </a:lnTo>
                  <a:lnTo>
                    <a:pt x="828" y="289"/>
                  </a:lnTo>
                  <a:lnTo>
                    <a:pt x="828" y="289"/>
                  </a:lnTo>
                  <a:lnTo>
                    <a:pt x="815" y="285"/>
                  </a:lnTo>
                  <a:lnTo>
                    <a:pt x="804" y="282"/>
                  </a:lnTo>
                  <a:lnTo>
                    <a:pt x="804" y="282"/>
                  </a:lnTo>
                  <a:lnTo>
                    <a:pt x="785" y="284"/>
                  </a:lnTo>
                  <a:lnTo>
                    <a:pt x="772" y="284"/>
                  </a:lnTo>
                  <a:lnTo>
                    <a:pt x="767" y="284"/>
                  </a:lnTo>
                  <a:lnTo>
                    <a:pt x="767" y="284"/>
                  </a:lnTo>
                  <a:lnTo>
                    <a:pt x="772" y="281"/>
                  </a:lnTo>
                  <a:lnTo>
                    <a:pt x="777" y="279"/>
                  </a:lnTo>
                  <a:lnTo>
                    <a:pt x="777" y="279"/>
                  </a:lnTo>
                  <a:lnTo>
                    <a:pt x="788" y="278"/>
                  </a:lnTo>
                  <a:lnTo>
                    <a:pt x="793" y="276"/>
                  </a:lnTo>
                  <a:lnTo>
                    <a:pt x="795" y="275"/>
                  </a:lnTo>
                  <a:lnTo>
                    <a:pt x="795" y="275"/>
                  </a:lnTo>
                  <a:lnTo>
                    <a:pt x="792" y="272"/>
                  </a:lnTo>
                  <a:lnTo>
                    <a:pt x="792" y="269"/>
                  </a:lnTo>
                  <a:lnTo>
                    <a:pt x="793" y="268"/>
                  </a:lnTo>
                  <a:lnTo>
                    <a:pt x="793" y="268"/>
                  </a:lnTo>
                  <a:lnTo>
                    <a:pt x="796" y="266"/>
                  </a:lnTo>
                  <a:lnTo>
                    <a:pt x="799" y="268"/>
                  </a:lnTo>
                  <a:lnTo>
                    <a:pt x="809" y="269"/>
                  </a:lnTo>
                  <a:lnTo>
                    <a:pt x="809" y="269"/>
                  </a:lnTo>
                  <a:lnTo>
                    <a:pt x="815" y="272"/>
                  </a:lnTo>
                  <a:lnTo>
                    <a:pt x="822" y="275"/>
                  </a:lnTo>
                  <a:lnTo>
                    <a:pt x="834" y="282"/>
                  </a:lnTo>
                  <a:lnTo>
                    <a:pt x="834" y="282"/>
                  </a:lnTo>
                  <a:lnTo>
                    <a:pt x="846" y="287"/>
                  </a:lnTo>
                  <a:lnTo>
                    <a:pt x="853" y="289"/>
                  </a:lnTo>
                  <a:lnTo>
                    <a:pt x="859" y="289"/>
                  </a:lnTo>
                  <a:lnTo>
                    <a:pt x="859" y="289"/>
                  </a:lnTo>
                  <a:lnTo>
                    <a:pt x="863" y="285"/>
                  </a:lnTo>
                  <a:lnTo>
                    <a:pt x="870" y="276"/>
                  </a:lnTo>
                  <a:lnTo>
                    <a:pt x="879" y="265"/>
                  </a:lnTo>
                  <a:lnTo>
                    <a:pt x="879" y="265"/>
                  </a:lnTo>
                  <a:lnTo>
                    <a:pt x="879" y="263"/>
                  </a:lnTo>
                  <a:lnTo>
                    <a:pt x="877" y="260"/>
                  </a:lnTo>
                  <a:lnTo>
                    <a:pt x="873" y="253"/>
                  </a:lnTo>
                  <a:lnTo>
                    <a:pt x="867" y="246"/>
                  </a:lnTo>
                  <a:lnTo>
                    <a:pt x="866" y="245"/>
                  </a:lnTo>
                  <a:lnTo>
                    <a:pt x="867" y="243"/>
                  </a:lnTo>
                  <a:lnTo>
                    <a:pt x="867" y="243"/>
                  </a:lnTo>
                  <a:lnTo>
                    <a:pt x="869" y="243"/>
                  </a:lnTo>
                  <a:lnTo>
                    <a:pt x="870" y="245"/>
                  </a:lnTo>
                  <a:lnTo>
                    <a:pt x="873" y="245"/>
                  </a:lnTo>
                  <a:lnTo>
                    <a:pt x="876" y="245"/>
                  </a:lnTo>
                  <a:lnTo>
                    <a:pt x="876" y="245"/>
                  </a:lnTo>
                  <a:lnTo>
                    <a:pt x="883" y="242"/>
                  </a:lnTo>
                  <a:lnTo>
                    <a:pt x="886" y="242"/>
                  </a:lnTo>
                  <a:lnTo>
                    <a:pt x="886" y="243"/>
                  </a:lnTo>
                  <a:lnTo>
                    <a:pt x="886" y="243"/>
                  </a:lnTo>
                  <a:lnTo>
                    <a:pt x="889" y="252"/>
                  </a:lnTo>
                  <a:lnTo>
                    <a:pt x="890" y="256"/>
                  </a:lnTo>
                  <a:lnTo>
                    <a:pt x="893" y="259"/>
                  </a:lnTo>
                  <a:lnTo>
                    <a:pt x="893" y="259"/>
                  </a:lnTo>
                  <a:lnTo>
                    <a:pt x="902" y="263"/>
                  </a:lnTo>
                  <a:lnTo>
                    <a:pt x="905" y="263"/>
                  </a:lnTo>
                  <a:lnTo>
                    <a:pt x="906" y="262"/>
                  </a:lnTo>
                  <a:lnTo>
                    <a:pt x="905" y="260"/>
                  </a:lnTo>
                  <a:lnTo>
                    <a:pt x="905" y="260"/>
                  </a:lnTo>
                  <a:lnTo>
                    <a:pt x="901" y="253"/>
                  </a:lnTo>
                  <a:lnTo>
                    <a:pt x="899" y="250"/>
                  </a:lnTo>
                  <a:lnTo>
                    <a:pt x="901" y="249"/>
                  </a:lnTo>
                  <a:lnTo>
                    <a:pt x="901" y="249"/>
                  </a:lnTo>
                  <a:lnTo>
                    <a:pt x="902" y="249"/>
                  </a:lnTo>
                  <a:lnTo>
                    <a:pt x="903" y="247"/>
                  </a:lnTo>
                  <a:lnTo>
                    <a:pt x="903" y="243"/>
                  </a:lnTo>
                  <a:lnTo>
                    <a:pt x="903" y="243"/>
                  </a:lnTo>
                  <a:lnTo>
                    <a:pt x="905" y="240"/>
                  </a:lnTo>
                  <a:lnTo>
                    <a:pt x="905" y="240"/>
                  </a:lnTo>
                  <a:lnTo>
                    <a:pt x="905" y="239"/>
                  </a:lnTo>
                  <a:lnTo>
                    <a:pt x="903" y="236"/>
                  </a:lnTo>
                  <a:lnTo>
                    <a:pt x="903" y="236"/>
                  </a:lnTo>
                  <a:lnTo>
                    <a:pt x="893" y="229"/>
                  </a:lnTo>
                  <a:lnTo>
                    <a:pt x="890" y="226"/>
                  </a:lnTo>
                  <a:lnTo>
                    <a:pt x="889" y="224"/>
                  </a:lnTo>
                  <a:lnTo>
                    <a:pt x="889" y="224"/>
                  </a:lnTo>
                  <a:lnTo>
                    <a:pt x="892" y="223"/>
                  </a:lnTo>
                  <a:lnTo>
                    <a:pt x="895" y="223"/>
                  </a:lnTo>
                  <a:lnTo>
                    <a:pt x="898" y="223"/>
                  </a:lnTo>
                  <a:lnTo>
                    <a:pt x="902" y="224"/>
                  </a:lnTo>
                  <a:lnTo>
                    <a:pt x="902" y="224"/>
                  </a:lnTo>
                  <a:lnTo>
                    <a:pt x="906" y="229"/>
                  </a:lnTo>
                  <a:lnTo>
                    <a:pt x="909" y="233"/>
                  </a:lnTo>
                  <a:lnTo>
                    <a:pt x="909" y="233"/>
                  </a:lnTo>
                  <a:lnTo>
                    <a:pt x="914" y="242"/>
                  </a:lnTo>
                  <a:lnTo>
                    <a:pt x="917" y="249"/>
                  </a:lnTo>
                  <a:lnTo>
                    <a:pt x="917" y="249"/>
                  </a:lnTo>
                  <a:lnTo>
                    <a:pt x="918" y="253"/>
                  </a:lnTo>
                  <a:lnTo>
                    <a:pt x="919" y="255"/>
                  </a:lnTo>
                  <a:lnTo>
                    <a:pt x="921" y="256"/>
                  </a:lnTo>
                  <a:lnTo>
                    <a:pt x="921" y="256"/>
                  </a:lnTo>
                  <a:lnTo>
                    <a:pt x="922" y="253"/>
                  </a:lnTo>
                  <a:lnTo>
                    <a:pt x="924" y="252"/>
                  </a:lnTo>
                  <a:lnTo>
                    <a:pt x="924" y="249"/>
                  </a:lnTo>
                  <a:lnTo>
                    <a:pt x="927" y="246"/>
                  </a:lnTo>
                  <a:lnTo>
                    <a:pt x="927" y="246"/>
                  </a:lnTo>
                  <a:lnTo>
                    <a:pt x="934" y="242"/>
                  </a:lnTo>
                  <a:lnTo>
                    <a:pt x="943" y="236"/>
                  </a:lnTo>
                  <a:lnTo>
                    <a:pt x="943" y="236"/>
                  </a:lnTo>
                  <a:lnTo>
                    <a:pt x="945" y="231"/>
                  </a:lnTo>
                  <a:lnTo>
                    <a:pt x="947" y="230"/>
                  </a:lnTo>
                  <a:lnTo>
                    <a:pt x="951" y="229"/>
                  </a:lnTo>
                  <a:lnTo>
                    <a:pt x="951" y="229"/>
                  </a:lnTo>
                  <a:lnTo>
                    <a:pt x="954" y="227"/>
                  </a:lnTo>
                  <a:lnTo>
                    <a:pt x="957" y="226"/>
                  </a:lnTo>
                  <a:lnTo>
                    <a:pt x="959" y="223"/>
                  </a:lnTo>
                  <a:lnTo>
                    <a:pt x="959" y="221"/>
                  </a:lnTo>
                  <a:lnTo>
                    <a:pt x="959" y="221"/>
                  </a:lnTo>
                  <a:lnTo>
                    <a:pt x="957" y="210"/>
                  </a:lnTo>
                  <a:lnTo>
                    <a:pt x="956" y="201"/>
                  </a:lnTo>
                  <a:lnTo>
                    <a:pt x="954" y="197"/>
                  </a:lnTo>
                  <a:lnTo>
                    <a:pt x="954" y="197"/>
                  </a:lnTo>
                  <a:lnTo>
                    <a:pt x="950" y="189"/>
                  </a:lnTo>
                  <a:lnTo>
                    <a:pt x="947" y="185"/>
                  </a:lnTo>
                  <a:lnTo>
                    <a:pt x="947" y="181"/>
                  </a:lnTo>
                  <a:lnTo>
                    <a:pt x="947" y="181"/>
                  </a:lnTo>
                  <a:lnTo>
                    <a:pt x="945" y="172"/>
                  </a:lnTo>
                  <a:lnTo>
                    <a:pt x="944" y="165"/>
                  </a:lnTo>
                  <a:lnTo>
                    <a:pt x="944" y="165"/>
                  </a:lnTo>
                  <a:lnTo>
                    <a:pt x="941" y="161"/>
                  </a:lnTo>
                  <a:lnTo>
                    <a:pt x="941" y="158"/>
                  </a:lnTo>
                  <a:lnTo>
                    <a:pt x="944" y="158"/>
                  </a:lnTo>
                  <a:lnTo>
                    <a:pt x="944" y="158"/>
                  </a:lnTo>
                  <a:lnTo>
                    <a:pt x="954" y="158"/>
                  </a:lnTo>
                  <a:lnTo>
                    <a:pt x="959" y="158"/>
                  </a:lnTo>
                  <a:lnTo>
                    <a:pt x="960" y="156"/>
                  </a:lnTo>
                  <a:lnTo>
                    <a:pt x="960" y="155"/>
                  </a:lnTo>
                  <a:lnTo>
                    <a:pt x="960" y="155"/>
                  </a:lnTo>
                  <a:lnTo>
                    <a:pt x="961" y="147"/>
                  </a:lnTo>
                  <a:lnTo>
                    <a:pt x="960" y="145"/>
                  </a:lnTo>
                  <a:lnTo>
                    <a:pt x="959" y="143"/>
                  </a:lnTo>
                  <a:lnTo>
                    <a:pt x="959" y="143"/>
                  </a:lnTo>
                  <a:lnTo>
                    <a:pt x="956" y="140"/>
                  </a:lnTo>
                  <a:lnTo>
                    <a:pt x="956" y="139"/>
                  </a:lnTo>
                  <a:lnTo>
                    <a:pt x="957" y="137"/>
                  </a:lnTo>
                  <a:lnTo>
                    <a:pt x="957" y="137"/>
                  </a:lnTo>
                  <a:lnTo>
                    <a:pt x="959" y="134"/>
                  </a:lnTo>
                  <a:lnTo>
                    <a:pt x="960" y="133"/>
                  </a:lnTo>
                  <a:lnTo>
                    <a:pt x="959" y="132"/>
                  </a:lnTo>
                  <a:lnTo>
                    <a:pt x="957" y="130"/>
                  </a:lnTo>
                  <a:lnTo>
                    <a:pt x="957" y="130"/>
                  </a:lnTo>
                  <a:lnTo>
                    <a:pt x="951" y="133"/>
                  </a:lnTo>
                  <a:lnTo>
                    <a:pt x="948" y="133"/>
                  </a:lnTo>
                  <a:lnTo>
                    <a:pt x="945" y="133"/>
                  </a:lnTo>
                  <a:lnTo>
                    <a:pt x="945" y="133"/>
                  </a:lnTo>
                  <a:lnTo>
                    <a:pt x="944" y="127"/>
                  </a:lnTo>
                  <a:lnTo>
                    <a:pt x="943" y="126"/>
                  </a:lnTo>
                  <a:lnTo>
                    <a:pt x="944" y="124"/>
                  </a:lnTo>
                  <a:lnTo>
                    <a:pt x="944" y="124"/>
                  </a:lnTo>
                  <a:lnTo>
                    <a:pt x="944" y="123"/>
                  </a:lnTo>
                  <a:lnTo>
                    <a:pt x="943" y="121"/>
                  </a:lnTo>
                  <a:lnTo>
                    <a:pt x="940" y="120"/>
                  </a:lnTo>
                  <a:lnTo>
                    <a:pt x="940" y="117"/>
                  </a:lnTo>
                  <a:lnTo>
                    <a:pt x="940" y="117"/>
                  </a:lnTo>
                  <a:lnTo>
                    <a:pt x="943" y="111"/>
                  </a:lnTo>
                  <a:lnTo>
                    <a:pt x="944" y="110"/>
                  </a:lnTo>
                  <a:lnTo>
                    <a:pt x="943" y="108"/>
                  </a:lnTo>
                  <a:lnTo>
                    <a:pt x="943" y="108"/>
                  </a:lnTo>
                  <a:lnTo>
                    <a:pt x="934" y="105"/>
                  </a:lnTo>
                  <a:lnTo>
                    <a:pt x="931" y="105"/>
                  </a:lnTo>
                  <a:lnTo>
                    <a:pt x="930" y="105"/>
                  </a:lnTo>
                  <a:lnTo>
                    <a:pt x="930" y="105"/>
                  </a:lnTo>
                  <a:lnTo>
                    <a:pt x="928" y="107"/>
                  </a:lnTo>
                  <a:lnTo>
                    <a:pt x="925" y="108"/>
                  </a:lnTo>
                  <a:lnTo>
                    <a:pt x="922" y="110"/>
                  </a:lnTo>
                  <a:lnTo>
                    <a:pt x="919" y="108"/>
                  </a:lnTo>
                  <a:lnTo>
                    <a:pt x="919" y="108"/>
                  </a:lnTo>
                  <a:lnTo>
                    <a:pt x="915" y="104"/>
                  </a:lnTo>
                  <a:lnTo>
                    <a:pt x="912" y="103"/>
                  </a:lnTo>
                  <a:lnTo>
                    <a:pt x="909" y="101"/>
                  </a:lnTo>
                  <a:lnTo>
                    <a:pt x="909" y="101"/>
                  </a:lnTo>
                  <a:lnTo>
                    <a:pt x="902" y="103"/>
                  </a:lnTo>
                  <a:lnTo>
                    <a:pt x="898" y="103"/>
                  </a:lnTo>
                  <a:lnTo>
                    <a:pt x="895" y="103"/>
                  </a:lnTo>
                  <a:lnTo>
                    <a:pt x="895" y="103"/>
                  </a:lnTo>
                  <a:lnTo>
                    <a:pt x="892" y="101"/>
                  </a:lnTo>
                  <a:lnTo>
                    <a:pt x="890" y="101"/>
                  </a:lnTo>
                  <a:lnTo>
                    <a:pt x="890" y="103"/>
                  </a:lnTo>
                  <a:lnTo>
                    <a:pt x="890" y="103"/>
                  </a:lnTo>
                  <a:lnTo>
                    <a:pt x="892" y="107"/>
                  </a:lnTo>
                  <a:lnTo>
                    <a:pt x="892" y="108"/>
                  </a:lnTo>
                  <a:lnTo>
                    <a:pt x="892" y="110"/>
                  </a:lnTo>
                  <a:lnTo>
                    <a:pt x="892" y="110"/>
                  </a:lnTo>
                  <a:lnTo>
                    <a:pt x="890" y="111"/>
                  </a:lnTo>
                  <a:lnTo>
                    <a:pt x="890" y="114"/>
                  </a:lnTo>
                  <a:lnTo>
                    <a:pt x="893" y="123"/>
                  </a:lnTo>
                  <a:lnTo>
                    <a:pt x="893" y="123"/>
                  </a:lnTo>
                  <a:lnTo>
                    <a:pt x="893" y="126"/>
                  </a:lnTo>
                  <a:lnTo>
                    <a:pt x="893" y="129"/>
                  </a:lnTo>
                  <a:lnTo>
                    <a:pt x="893" y="130"/>
                  </a:lnTo>
                  <a:lnTo>
                    <a:pt x="895" y="132"/>
                  </a:lnTo>
                  <a:lnTo>
                    <a:pt x="895" y="132"/>
                  </a:lnTo>
                  <a:lnTo>
                    <a:pt x="901" y="134"/>
                  </a:lnTo>
                  <a:lnTo>
                    <a:pt x="903" y="137"/>
                  </a:lnTo>
                  <a:lnTo>
                    <a:pt x="903" y="139"/>
                  </a:lnTo>
                  <a:lnTo>
                    <a:pt x="903" y="139"/>
                  </a:lnTo>
                  <a:lnTo>
                    <a:pt x="903" y="139"/>
                  </a:lnTo>
                  <a:lnTo>
                    <a:pt x="906" y="142"/>
                  </a:lnTo>
                  <a:lnTo>
                    <a:pt x="908" y="143"/>
                  </a:lnTo>
                  <a:lnTo>
                    <a:pt x="909" y="143"/>
                  </a:lnTo>
                  <a:lnTo>
                    <a:pt x="908" y="145"/>
                  </a:lnTo>
                  <a:lnTo>
                    <a:pt x="908" y="145"/>
                  </a:lnTo>
                  <a:lnTo>
                    <a:pt x="905" y="147"/>
                  </a:lnTo>
                  <a:lnTo>
                    <a:pt x="902" y="149"/>
                  </a:lnTo>
                  <a:lnTo>
                    <a:pt x="899" y="149"/>
                  </a:lnTo>
                  <a:lnTo>
                    <a:pt x="899" y="149"/>
                  </a:lnTo>
                  <a:lnTo>
                    <a:pt x="893" y="146"/>
                  </a:lnTo>
                  <a:lnTo>
                    <a:pt x="892" y="147"/>
                  </a:lnTo>
                  <a:lnTo>
                    <a:pt x="892" y="147"/>
                  </a:lnTo>
                  <a:lnTo>
                    <a:pt x="892" y="147"/>
                  </a:lnTo>
                  <a:lnTo>
                    <a:pt x="890" y="153"/>
                  </a:lnTo>
                  <a:lnTo>
                    <a:pt x="889" y="162"/>
                  </a:lnTo>
                  <a:lnTo>
                    <a:pt x="888" y="171"/>
                  </a:lnTo>
                  <a:lnTo>
                    <a:pt x="885" y="176"/>
                  </a:lnTo>
                  <a:lnTo>
                    <a:pt x="885" y="176"/>
                  </a:lnTo>
                  <a:lnTo>
                    <a:pt x="883" y="181"/>
                  </a:lnTo>
                  <a:lnTo>
                    <a:pt x="882" y="185"/>
                  </a:lnTo>
                  <a:lnTo>
                    <a:pt x="880" y="189"/>
                  </a:lnTo>
                  <a:lnTo>
                    <a:pt x="879" y="191"/>
                  </a:lnTo>
                  <a:lnTo>
                    <a:pt x="877" y="191"/>
                  </a:lnTo>
                  <a:lnTo>
                    <a:pt x="877" y="191"/>
                  </a:lnTo>
                  <a:lnTo>
                    <a:pt x="875" y="188"/>
                  </a:lnTo>
                  <a:lnTo>
                    <a:pt x="873" y="187"/>
                  </a:lnTo>
                  <a:lnTo>
                    <a:pt x="873" y="185"/>
                  </a:lnTo>
                  <a:lnTo>
                    <a:pt x="872" y="188"/>
                  </a:lnTo>
                  <a:lnTo>
                    <a:pt x="872" y="188"/>
                  </a:lnTo>
                  <a:lnTo>
                    <a:pt x="873" y="192"/>
                  </a:lnTo>
                  <a:lnTo>
                    <a:pt x="876" y="198"/>
                  </a:lnTo>
                  <a:lnTo>
                    <a:pt x="877" y="203"/>
                  </a:lnTo>
                  <a:lnTo>
                    <a:pt x="877" y="204"/>
                  </a:lnTo>
                  <a:lnTo>
                    <a:pt x="876" y="205"/>
                  </a:lnTo>
                  <a:lnTo>
                    <a:pt x="876" y="205"/>
                  </a:lnTo>
                  <a:lnTo>
                    <a:pt x="873" y="207"/>
                  </a:lnTo>
                  <a:lnTo>
                    <a:pt x="870" y="210"/>
                  </a:lnTo>
                  <a:lnTo>
                    <a:pt x="867" y="213"/>
                  </a:lnTo>
                  <a:lnTo>
                    <a:pt x="864" y="213"/>
                  </a:lnTo>
                  <a:lnTo>
                    <a:pt x="864" y="213"/>
                  </a:lnTo>
                  <a:lnTo>
                    <a:pt x="860" y="211"/>
                  </a:lnTo>
                  <a:lnTo>
                    <a:pt x="857" y="210"/>
                  </a:lnTo>
                  <a:lnTo>
                    <a:pt x="854" y="205"/>
                  </a:lnTo>
                  <a:lnTo>
                    <a:pt x="854" y="205"/>
                  </a:lnTo>
                  <a:lnTo>
                    <a:pt x="851" y="198"/>
                  </a:lnTo>
                  <a:lnTo>
                    <a:pt x="846" y="191"/>
                  </a:lnTo>
                  <a:lnTo>
                    <a:pt x="846" y="191"/>
                  </a:lnTo>
                  <a:lnTo>
                    <a:pt x="846" y="187"/>
                  </a:lnTo>
                  <a:lnTo>
                    <a:pt x="844" y="181"/>
                  </a:lnTo>
                  <a:lnTo>
                    <a:pt x="844" y="171"/>
                  </a:lnTo>
                  <a:lnTo>
                    <a:pt x="844" y="171"/>
                  </a:lnTo>
                  <a:lnTo>
                    <a:pt x="844" y="168"/>
                  </a:lnTo>
                  <a:lnTo>
                    <a:pt x="846" y="166"/>
                  </a:lnTo>
                  <a:lnTo>
                    <a:pt x="847" y="166"/>
                  </a:lnTo>
                  <a:lnTo>
                    <a:pt x="848" y="166"/>
                  </a:lnTo>
                  <a:lnTo>
                    <a:pt x="848" y="166"/>
                  </a:lnTo>
                  <a:lnTo>
                    <a:pt x="850" y="168"/>
                  </a:lnTo>
                  <a:lnTo>
                    <a:pt x="851" y="166"/>
                  </a:lnTo>
                  <a:lnTo>
                    <a:pt x="851" y="158"/>
                  </a:lnTo>
                  <a:lnTo>
                    <a:pt x="851" y="158"/>
                  </a:lnTo>
                  <a:lnTo>
                    <a:pt x="853" y="152"/>
                  </a:lnTo>
                  <a:lnTo>
                    <a:pt x="853" y="149"/>
                  </a:lnTo>
                  <a:lnTo>
                    <a:pt x="853" y="145"/>
                  </a:lnTo>
                  <a:lnTo>
                    <a:pt x="851" y="142"/>
                  </a:lnTo>
                  <a:lnTo>
                    <a:pt x="851" y="142"/>
                  </a:lnTo>
                  <a:lnTo>
                    <a:pt x="846" y="136"/>
                  </a:lnTo>
                  <a:lnTo>
                    <a:pt x="841" y="130"/>
                  </a:lnTo>
                  <a:lnTo>
                    <a:pt x="841" y="130"/>
                  </a:lnTo>
                  <a:lnTo>
                    <a:pt x="838" y="129"/>
                  </a:lnTo>
                  <a:lnTo>
                    <a:pt x="834" y="127"/>
                  </a:lnTo>
                  <a:lnTo>
                    <a:pt x="830" y="127"/>
                  </a:lnTo>
                  <a:lnTo>
                    <a:pt x="828" y="129"/>
                  </a:lnTo>
                  <a:lnTo>
                    <a:pt x="828" y="129"/>
                  </a:lnTo>
                  <a:lnTo>
                    <a:pt x="824" y="132"/>
                  </a:lnTo>
                  <a:lnTo>
                    <a:pt x="822" y="134"/>
                  </a:lnTo>
                  <a:lnTo>
                    <a:pt x="822" y="137"/>
                  </a:lnTo>
                  <a:lnTo>
                    <a:pt x="822" y="137"/>
                  </a:lnTo>
                  <a:lnTo>
                    <a:pt x="824" y="142"/>
                  </a:lnTo>
                  <a:lnTo>
                    <a:pt x="824" y="147"/>
                  </a:lnTo>
                  <a:lnTo>
                    <a:pt x="822" y="152"/>
                  </a:lnTo>
                  <a:lnTo>
                    <a:pt x="821" y="155"/>
                  </a:lnTo>
                  <a:lnTo>
                    <a:pt x="821" y="155"/>
                  </a:lnTo>
                  <a:lnTo>
                    <a:pt x="819" y="158"/>
                  </a:lnTo>
                  <a:lnTo>
                    <a:pt x="817" y="162"/>
                  </a:lnTo>
                  <a:lnTo>
                    <a:pt x="814" y="166"/>
                  </a:lnTo>
                  <a:lnTo>
                    <a:pt x="811" y="168"/>
                  </a:lnTo>
                  <a:lnTo>
                    <a:pt x="811" y="168"/>
                  </a:lnTo>
                  <a:lnTo>
                    <a:pt x="808" y="166"/>
                  </a:lnTo>
                  <a:lnTo>
                    <a:pt x="806" y="163"/>
                  </a:lnTo>
                  <a:lnTo>
                    <a:pt x="804" y="155"/>
                  </a:lnTo>
                  <a:lnTo>
                    <a:pt x="804" y="155"/>
                  </a:lnTo>
                  <a:lnTo>
                    <a:pt x="805" y="143"/>
                  </a:lnTo>
                  <a:lnTo>
                    <a:pt x="804" y="137"/>
                  </a:lnTo>
                  <a:lnTo>
                    <a:pt x="802" y="133"/>
                  </a:lnTo>
                  <a:lnTo>
                    <a:pt x="802" y="133"/>
                  </a:lnTo>
                  <a:lnTo>
                    <a:pt x="796" y="129"/>
                  </a:lnTo>
                  <a:lnTo>
                    <a:pt x="793" y="127"/>
                  </a:lnTo>
                  <a:lnTo>
                    <a:pt x="793" y="126"/>
                  </a:lnTo>
                  <a:lnTo>
                    <a:pt x="793" y="126"/>
                  </a:lnTo>
                  <a:lnTo>
                    <a:pt x="799" y="126"/>
                  </a:lnTo>
                  <a:lnTo>
                    <a:pt x="802" y="126"/>
                  </a:lnTo>
                  <a:lnTo>
                    <a:pt x="801" y="124"/>
                  </a:lnTo>
                  <a:lnTo>
                    <a:pt x="801" y="124"/>
                  </a:lnTo>
                  <a:lnTo>
                    <a:pt x="799" y="123"/>
                  </a:lnTo>
                  <a:lnTo>
                    <a:pt x="796" y="121"/>
                  </a:lnTo>
                  <a:lnTo>
                    <a:pt x="789" y="117"/>
                  </a:lnTo>
                  <a:lnTo>
                    <a:pt x="789" y="117"/>
                  </a:lnTo>
                  <a:lnTo>
                    <a:pt x="786" y="116"/>
                  </a:lnTo>
                  <a:lnTo>
                    <a:pt x="786" y="113"/>
                  </a:lnTo>
                  <a:lnTo>
                    <a:pt x="785" y="110"/>
                  </a:lnTo>
                  <a:lnTo>
                    <a:pt x="782" y="108"/>
                  </a:lnTo>
                  <a:lnTo>
                    <a:pt x="782" y="108"/>
                  </a:lnTo>
                  <a:lnTo>
                    <a:pt x="775" y="104"/>
                  </a:lnTo>
                  <a:lnTo>
                    <a:pt x="773" y="103"/>
                  </a:lnTo>
                  <a:lnTo>
                    <a:pt x="773" y="100"/>
                  </a:lnTo>
                  <a:lnTo>
                    <a:pt x="773" y="100"/>
                  </a:lnTo>
                  <a:lnTo>
                    <a:pt x="776" y="98"/>
                  </a:lnTo>
                  <a:lnTo>
                    <a:pt x="779" y="98"/>
                  </a:lnTo>
                  <a:lnTo>
                    <a:pt x="782" y="97"/>
                  </a:lnTo>
                  <a:lnTo>
                    <a:pt x="786" y="94"/>
                  </a:lnTo>
                  <a:lnTo>
                    <a:pt x="786" y="94"/>
                  </a:lnTo>
                  <a:lnTo>
                    <a:pt x="788" y="91"/>
                  </a:lnTo>
                  <a:lnTo>
                    <a:pt x="789" y="88"/>
                  </a:lnTo>
                  <a:lnTo>
                    <a:pt x="789" y="87"/>
                  </a:lnTo>
                  <a:lnTo>
                    <a:pt x="788" y="87"/>
                  </a:lnTo>
                  <a:lnTo>
                    <a:pt x="788" y="87"/>
                  </a:lnTo>
                  <a:lnTo>
                    <a:pt x="786" y="88"/>
                  </a:lnTo>
                  <a:lnTo>
                    <a:pt x="785" y="88"/>
                  </a:lnTo>
                  <a:lnTo>
                    <a:pt x="780" y="88"/>
                  </a:lnTo>
                  <a:lnTo>
                    <a:pt x="780" y="88"/>
                  </a:lnTo>
                  <a:lnTo>
                    <a:pt x="775" y="87"/>
                  </a:lnTo>
                  <a:lnTo>
                    <a:pt x="775" y="85"/>
                  </a:lnTo>
                  <a:lnTo>
                    <a:pt x="776" y="85"/>
                  </a:lnTo>
                  <a:lnTo>
                    <a:pt x="776" y="85"/>
                  </a:lnTo>
                  <a:lnTo>
                    <a:pt x="785" y="84"/>
                  </a:lnTo>
                  <a:lnTo>
                    <a:pt x="788" y="82"/>
                  </a:lnTo>
                  <a:lnTo>
                    <a:pt x="788" y="79"/>
                  </a:lnTo>
                  <a:lnTo>
                    <a:pt x="788" y="79"/>
                  </a:lnTo>
                  <a:lnTo>
                    <a:pt x="785" y="69"/>
                  </a:lnTo>
                  <a:lnTo>
                    <a:pt x="780" y="63"/>
                  </a:lnTo>
                  <a:lnTo>
                    <a:pt x="776" y="58"/>
                  </a:lnTo>
                  <a:lnTo>
                    <a:pt x="776" y="58"/>
                  </a:lnTo>
                  <a:lnTo>
                    <a:pt x="767" y="48"/>
                  </a:lnTo>
                  <a:lnTo>
                    <a:pt x="764" y="43"/>
                  </a:lnTo>
                  <a:lnTo>
                    <a:pt x="763" y="39"/>
                  </a:lnTo>
                  <a:lnTo>
                    <a:pt x="763" y="39"/>
                  </a:lnTo>
                  <a:lnTo>
                    <a:pt x="759" y="30"/>
                  </a:lnTo>
                  <a:lnTo>
                    <a:pt x="759" y="26"/>
                  </a:lnTo>
                  <a:lnTo>
                    <a:pt x="759" y="21"/>
                  </a:lnTo>
                  <a:lnTo>
                    <a:pt x="759" y="21"/>
                  </a:lnTo>
                  <a:lnTo>
                    <a:pt x="757" y="17"/>
                  </a:lnTo>
                  <a:lnTo>
                    <a:pt x="754" y="10"/>
                  </a:lnTo>
                  <a:lnTo>
                    <a:pt x="749" y="3"/>
                  </a:lnTo>
                  <a:lnTo>
                    <a:pt x="746" y="1"/>
                  </a:lnTo>
                  <a:lnTo>
                    <a:pt x="743" y="0"/>
                  </a:lnTo>
                  <a:lnTo>
                    <a:pt x="743" y="0"/>
                  </a:lnTo>
                  <a:lnTo>
                    <a:pt x="734" y="0"/>
                  </a:lnTo>
                  <a:lnTo>
                    <a:pt x="730" y="1"/>
                  </a:lnTo>
                  <a:lnTo>
                    <a:pt x="728" y="3"/>
                  </a:lnTo>
                  <a:lnTo>
                    <a:pt x="728" y="6"/>
                  </a:lnTo>
                  <a:lnTo>
                    <a:pt x="728" y="6"/>
                  </a:lnTo>
                  <a:lnTo>
                    <a:pt x="728" y="10"/>
                  </a:lnTo>
                  <a:lnTo>
                    <a:pt x="730" y="14"/>
                  </a:lnTo>
                  <a:lnTo>
                    <a:pt x="733" y="19"/>
                  </a:lnTo>
                  <a:lnTo>
                    <a:pt x="733" y="21"/>
                  </a:lnTo>
                  <a:lnTo>
                    <a:pt x="733" y="21"/>
                  </a:lnTo>
                  <a:lnTo>
                    <a:pt x="731" y="26"/>
                  </a:lnTo>
                  <a:lnTo>
                    <a:pt x="730" y="27"/>
                  </a:lnTo>
                  <a:lnTo>
                    <a:pt x="728" y="26"/>
                  </a:lnTo>
                  <a:lnTo>
                    <a:pt x="728" y="26"/>
                  </a:lnTo>
                  <a:lnTo>
                    <a:pt x="724" y="23"/>
                  </a:lnTo>
                  <a:lnTo>
                    <a:pt x="722" y="23"/>
                  </a:lnTo>
                  <a:lnTo>
                    <a:pt x="721" y="23"/>
                  </a:lnTo>
                  <a:lnTo>
                    <a:pt x="721" y="23"/>
                  </a:lnTo>
                  <a:lnTo>
                    <a:pt x="718" y="26"/>
                  </a:lnTo>
                  <a:lnTo>
                    <a:pt x="717" y="27"/>
                  </a:lnTo>
                  <a:lnTo>
                    <a:pt x="715" y="29"/>
                  </a:lnTo>
                  <a:lnTo>
                    <a:pt x="715" y="29"/>
                  </a:lnTo>
                  <a:lnTo>
                    <a:pt x="712" y="39"/>
                  </a:lnTo>
                  <a:lnTo>
                    <a:pt x="708" y="50"/>
                  </a:lnTo>
                  <a:lnTo>
                    <a:pt x="708" y="50"/>
                  </a:lnTo>
                  <a:lnTo>
                    <a:pt x="707" y="63"/>
                  </a:lnTo>
                  <a:lnTo>
                    <a:pt x="708" y="78"/>
                  </a:lnTo>
                  <a:lnTo>
                    <a:pt x="708" y="78"/>
                  </a:lnTo>
                  <a:lnTo>
                    <a:pt x="709" y="85"/>
                  </a:lnTo>
                  <a:lnTo>
                    <a:pt x="711" y="90"/>
                  </a:lnTo>
                  <a:lnTo>
                    <a:pt x="714" y="91"/>
                  </a:lnTo>
                  <a:lnTo>
                    <a:pt x="718" y="91"/>
                  </a:lnTo>
                  <a:lnTo>
                    <a:pt x="718" y="91"/>
                  </a:lnTo>
                  <a:lnTo>
                    <a:pt x="720" y="92"/>
                  </a:lnTo>
                  <a:lnTo>
                    <a:pt x="721" y="95"/>
                  </a:lnTo>
                  <a:lnTo>
                    <a:pt x="722" y="97"/>
                  </a:lnTo>
                  <a:lnTo>
                    <a:pt x="725" y="98"/>
                  </a:lnTo>
                  <a:lnTo>
                    <a:pt x="725" y="98"/>
                  </a:lnTo>
                  <a:lnTo>
                    <a:pt x="727" y="100"/>
                  </a:lnTo>
                  <a:lnTo>
                    <a:pt x="728" y="101"/>
                  </a:lnTo>
                  <a:lnTo>
                    <a:pt x="731" y="104"/>
                  </a:lnTo>
                  <a:lnTo>
                    <a:pt x="734" y="108"/>
                  </a:lnTo>
                  <a:lnTo>
                    <a:pt x="737" y="110"/>
                  </a:lnTo>
                  <a:lnTo>
                    <a:pt x="737" y="110"/>
                  </a:lnTo>
                  <a:lnTo>
                    <a:pt x="743" y="108"/>
                  </a:lnTo>
                  <a:lnTo>
                    <a:pt x="744" y="108"/>
                  </a:lnTo>
                  <a:lnTo>
                    <a:pt x="747" y="110"/>
                  </a:lnTo>
                  <a:lnTo>
                    <a:pt x="747" y="110"/>
                  </a:lnTo>
                  <a:lnTo>
                    <a:pt x="751" y="111"/>
                  </a:lnTo>
                  <a:lnTo>
                    <a:pt x="757" y="111"/>
                  </a:lnTo>
                  <a:lnTo>
                    <a:pt x="762" y="113"/>
                  </a:lnTo>
                  <a:lnTo>
                    <a:pt x="762" y="113"/>
                  </a:lnTo>
                  <a:lnTo>
                    <a:pt x="762" y="114"/>
                  </a:lnTo>
                  <a:lnTo>
                    <a:pt x="762" y="114"/>
                  </a:lnTo>
                  <a:lnTo>
                    <a:pt x="757" y="116"/>
                  </a:lnTo>
                  <a:lnTo>
                    <a:pt x="754" y="116"/>
                  </a:lnTo>
                  <a:lnTo>
                    <a:pt x="751" y="117"/>
                  </a:lnTo>
                  <a:lnTo>
                    <a:pt x="749" y="120"/>
                  </a:lnTo>
                  <a:lnTo>
                    <a:pt x="749" y="120"/>
                  </a:lnTo>
                  <a:lnTo>
                    <a:pt x="746" y="132"/>
                  </a:lnTo>
                  <a:lnTo>
                    <a:pt x="741" y="139"/>
                  </a:lnTo>
                  <a:lnTo>
                    <a:pt x="741" y="139"/>
                  </a:lnTo>
                  <a:lnTo>
                    <a:pt x="740" y="143"/>
                  </a:lnTo>
                  <a:lnTo>
                    <a:pt x="740" y="146"/>
                  </a:lnTo>
                  <a:lnTo>
                    <a:pt x="740" y="147"/>
                  </a:lnTo>
                  <a:lnTo>
                    <a:pt x="741" y="147"/>
                  </a:lnTo>
                  <a:lnTo>
                    <a:pt x="741" y="147"/>
                  </a:lnTo>
                  <a:lnTo>
                    <a:pt x="749" y="143"/>
                  </a:lnTo>
                  <a:lnTo>
                    <a:pt x="753" y="140"/>
                  </a:lnTo>
                  <a:lnTo>
                    <a:pt x="754" y="140"/>
                  </a:lnTo>
                  <a:lnTo>
                    <a:pt x="754" y="140"/>
                  </a:lnTo>
                  <a:lnTo>
                    <a:pt x="754" y="140"/>
                  </a:lnTo>
                  <a:lnTo>
                    <a:pt x="754" y="146"/>
                  </a:lnTo>
                  <a:lnTo>
                    <a:pt x="754" y="150"/>
                  </a:lnTo>
                  <a:lnTo>
                    <a:pt x="756" y="153"/>
                  </a:lnTo>
                  <a:lnTo>
                    <a:pt x="756" y="153"/>
                  </a:lnTo>
                  <a:lnTo>
                    <a:pt x="757" y="155"/>
                  </a:lnTo>
                  <a:lnTo>
                    <a:pt x="757" y="156"/>
                  </a:lnTo>
                  <a:lnTo>
                    <a:pt x="757" y="159"/>
                  </a:lnTo>
                  <a:lnTo>
                    <a:pt x="756" y="159"/>
                  </a:lnTo>
                  <a:lnTo>
                    <a:pt x="756" y="159"/>
                  </a:lnTo>
                  <a:lnTo>
                    <a:pt x="749" y="161"/>
                  </a:lnTo>
                  <a:lnTo>
                    <a:pt x="744" y="162"/>
                  </a:lnTo>
                  <a:lnTo>
                    <a:pt x="741" y="165"/>
                  </a:lnTo>
                  <a:lnTo>
                    <a:pt x="741" y="165"/>
                  </a:lnTo>
                  <a:lnTo>
                    <a:pt x="737" y="175"/>
                  </a:lnTo>
                  <a:lnTo>
                    <a:pt x="734" y="178"/>
                  </a:lnTo>
                  <a:lnTo>
                    <a:pt x="733" y="181"/>
                  </a:lnTo>
                  <a:lnTo>
                    <a:pt x="733" y="181"/>
                  </a:lnTo>
                  <a:lnTo>
                    <a:pt x="730" y="182"/>
                  </a:lnTo>
                  <a:lnTo>
                    <a:pt x="728" y="184"/>
                  </a:lnTo>
                  <a:lnTo>
                    <a:pt x="725" y="188"/>
                  </a:lnTo>
                  <a:lnTo>
                    <a:pt x="725" y="188"/>
                  </a:lnTo>
                  <a:lnTo>
                    <a:pt x="724" y="191"/>
                  </a:lnTo>
                  <a:lnTo>
                    <a:pt x="722" y="192"/>
                  </a:lnTo>
                  <a:lnTo>
                    <a:pt x="722" y="195"/>
                  </a:lnTo>
                  <a:lnTo>
                    <a:pt x="724" y="198"/>
                  </a:lnTo>
                  <a:lnTo>
                    <a:pt x="724" y="198"/>
                  </a:lnTo>
                  <a:lnTo>
                    <a:pt x="730" y="208"/>
                  </a:lnTo>
                  <a:lnTo>
                    <a:pt x="731" y="213"/>
                  </a:lnTo>
                  <a:lnTo>
                    <a:pt x="730" y="217"/>
                  </a:lnTo>
                  <a:lnTo>
                    <a:pt x="730" y="217"/>
                  </a:lnTo>
                  <a:lnTo>
                    <a:pt x="730" y="220"/>
                  </a:lnTo>
                  <a:lnTo>
                    <a:pt x="728" y="224"/>
                  </a:lnTo>
                  <a:lnTo>
                    <a:pt x="728" y="226"/>
                  </a:lnTo>
                  <a:lnTo>
                    <a:pt x="727" y="224"/>
                  </a:lnTo>
                  <a:lnTo>
                    <a:pt x="727" y="224"/>
                  </a:lnTo>
                  <a:lnTo>
                    <a:pt x="724" y="214"/>
                  </a:lnTo>
                  <a:lnTo>
                    <a:pt x="721" y="210"/>
                  </a:lnTo>
                  <a:lnTo>
                    <a:pt x="717" y="205"/>
                  </a:lnTo>
                  <a:lnTo>
                    <a:pt x="717" y="205"/>
                  </a:lnTo>
                  <a:lnTo>
                    <a:pt x="712" y="203"/>
                  </a:lnTo>
                  <a:lnTo>
                    <a:pt x="709" y="197"/>
                  </a:lnTo>
                  <a:lnTo>
                    <a:pt x="708" y="192"/>
                  </a:lnTo>
                  <a:lnTo>
                    <a:pt x="708" y="191"/>
                  </a:lnTo>
                  <a:lnTo>
                    <a:pt x="708" y="191"/>
                  </a:lnTo>
                  <a:lnTo>
                    <a:pt x="711" y="187"/>
                  </a:lnTo>
                  <a:lnTo>
                    <a:pt x="711" y="184"/>
                  </a:lnTo>
                  <a:lnTo>
                    <a:pt x="709" y="182"/>
                  </a:lnTo>
                  <a:lnTo>
                    <a:pt x="709" y="182"/>
                  </a:lnTo>
                  <a:lnTo>
                    <a:pt x="707" y="178"/>
                  </a:lnTo>
                  <a:lnTo>
                    <a:pt x="707" y="176"/>
                  </a:lnTo>
                  <a:lnTo>
                    <a:pt x="707" y="175"/>
                  </a:lnTo>
                  <a:lnTo>
                    <a:pt x="707" y="175"/>
                  </a:lnTo>
                  <a:lnTo>
                    <a:pt x="709" y="171"/>
                  </a:lnTo>
                  <a:lnTo>
                    <a:pt x="709" y="169"/>
                  </a:lnTo>
                  <a:lnTo>
                    <a:pt x="707" y="168"/>
                  </a:lnTo>
                  <a:lnTo>
                    <a:pt x="707" y="168"/>
                  </a:lnTo>
                  <a:lnTo>
                    <a:pt x="698" y="162"/>
                  </a:lnTo>
                  <a:lnTo>
                    <a:pt x="695" y="161"/>
                  </a:lnTo>
                  <a:lnTo>
                    <a:pt x="692" y="161"/>
                  </a:lnTo>
                  <a:lnTo>
                    <a:pt x="692" y="161"/>
                  </a:lnTo>
                  <a:lnTo>
                    <a:pt x="688" y="166"/>
                  </a:lnTo>
                  <a:lnTo>
                    <a:pt x="685" y="169"/>
                  </a:lnTo>
                  <a:lnTo>
                    <a:pt x="685" y="172"/>
                  </a:lnTo>
                  <a:lnTo>
                    <a:pt x="685" y="172"/>
                  </a:lnTo>
                  <a:lnTo>
                    <a:pt x="689" y="184"/>
                  </a:lnTo>
                  <a:lnTo>
                    <a:pt x="691" y="191"/>
                  </a:lnTo>
                  <a:lnTo>
                    <a:pt x="691" y="192"/>
                  </a:lnTo>
                  <a:lnTo>
                    <a:pt x="691" y="192"/>
                  </a:lnTo>
                  <a:lnTo>
                    <a:pt x="691" y="192"/>
                  </a:lnTo>
                  <a:lnTo>
                    <a:pt x="685" y="187"/>
                  </a:lnTo>
                  <a:lnTo>
                    <a:pt x="682" y="185"/>
                  </a:lnTo>
                  <a:lnTo>
                    <a:pt x="680" y="184"/>
                  </a:lnTo>
                  <a:lnTo>
                    <a:pt x="680" y="184"/>
                  </a:lnTo>
                  <a:lnTo>
                    <a:pt x="675" y="188"/>
                  </a:lnTo>
                  <a:lnTo>
                    <a:pt x="670" y="189"/>
                  </a:lnTo>
                  <a:lnTo>
                    <a:pt x="667" y="189"/>
                  </a:lnTo>
                  <a:lnTo>
                    <a:pt x="667" y="189"/>
                  </a:lnTo>
                  <a:lnTo>
                    <a:pt x="659" y="188"/>
                  </a:lnTo>
                  <a:lnTo>
                    <a:pt x="654" y="188"/>
                  </a:lnTo>
                  <a:lnTo>
                    <a:pt x="650" y="188"/>
                  </a:lnTo>
                  <a:lnTo>
                    <a:pt x="650" y="188"/>
                  </a:lnTo>
                  <a:lnTo>
                    <a:pt x="640" y="192"/>
                  </a:lnTo>
                  <a:lnTo>
                    <a:pt x="631" y="195"/>
                  </a:lnTo>
                  <a:lnTo>
                    <a:pt x="631" y="195"/>
                  </a:lnTo>
                  <a:lnTo>
                    <a:pt x="618" y="192"/>
                  </a:lnTo>
                  <a:lnTo>
                    <a:pt x="618" y="192"/>
                  </a:lnTo>
                  <a:lnTo>
                    <a:pt x="617" y="191"/>
                  </a:lnTo>
                  <a:lnTo>
                    <a:pt x="614" y="189"/>
                  </a:lnTo>
                  <a:lnTo>
                    <a:pt x="611" y="187"/>
                  </a:lnTo>
                  <a:lnTo>
                    <a:pt x="608" y="185"/>
                  </a:lnTo>
                  <a:lnTo>
                    <a:pt x="608" y="185"/>
                  </a:lnTo>
                  <a:lnTo>
                    <a:pt x="605" y="182"/>
                  </a:lnTo>
                  <a:lnTo>
                    <a:pt x="604" y="179"/>
                  </a:lnTo>
                  <a:lnTo>
                    <a:pt x="601" y="176"/>
                  </a:lnTo>
                  <a:lnTo>
                    <a:pt x="599" y="175"/>
                  </a:lnTo>
                  <a:lnTo>
                    <a:pt x="598" y="175"/>
                  </a:lnTo>
                  <a:lnTo>
                    <a:pt x="598" y="175"/>
                  </a:lnTo>
                  <a:lnTo>
                    <a:pt x="589" y="178"/>
                  </a:lnTo>
                  <a:lnTo>
                    <a:pt x="586" y="178"/>
                  </a:lnTo>
                  <a:lnTo>
                    <a:pt x="583" y="175"/>
                  </a:lnTo>
                  <a:lnTo>
                    <a:pt x="583" y="175"/>
                  </a:lnTo>
                  <a:lnTo>
                    <a:pt x="581" y="172"/>
                  </a:lnTo>
                  <a:lnTo>
                    <a:pt x="576" y="171"/>
                  </a:lnTo>
                  <a:lnTo>
                    <a:pt x="572" y="168"/>
                  </a:lnTo>
                  <a:lnTo>
                    <a:pt x="567" y="163"/>
                  </a:lnTo>
                  <a:lnTo>
                    <a:pt x="567" y="163"/>
                  </a:lnTo>
                  <a:lnTo>
                    <a:pt x="566" y="158"/>
                  </a:lnTo>
                  <a:lnTo>
                    <a:pt x="566" y="152"/>
                  </a:lnTo>
                  <a:lnTo>
                    <a:pt x="566" y="147"/>
                  </a:lnTo>
                  <a:lnTo>
                    <a:pt x="565" y="146"/>
                  </a:lnTo>
                  <a:lnTo>
                    <a:pt x="565" y="145"/>
                  </a:lnTo>
                  <a:lnTo>
                    <a:pt x="565" y="145"/>
                  </a:lnTo>
                  <a:lnTo>
                    <a:pt x="560" y="145"/>
                  </a:lnTo>
                  <a:lnTo>
                    <a:pt x="554" y="145"/>
                  </a:lnTo>
                  <a:lnTo>
                    <a:pt x="543" y="146"/>
                  </a:lnTo>
                  <a:lnTo>
                    <a:pt x="543" y="146"/>
                  </a:lnTo>
                  <a:lnTo>
                    <a:pt x="523" y="149"/>
                  </a:lnTo>
                  <a:lnTo>
                    <a:pt x="523" y="149"/>
                  </a:lnTo>
                  <a:lnTo>
                    <a:pt x="518" y="152"/>
                  </a:lnTo>
                  <a:lnTo>
                    <a:pt x="515" y="158"/>
                  </a:lnTo>
                  <a:lnTo>
                    <a:pt x="515" y="158"/>
                  </a:lnTo>
                  <a:lnTo>
                    <a:pt x="511" y="163"/>
                  </a:lnTo>
                  <a:lnTo>
                    <a:pt x="510" y="166"/>
                  </a:lnTo>
                  <a:lnTo>
                    <a:pt x="511" y="168"/>
                  </a:lnTo>
                  <a:lnTo>
                    <a:pt x="511" y="168"/>
                  </a:lnTo>
                  <a:lnTo>
                    <a:pt x="517" y="174"/>
                  </a:lnTo>
                  <a:lnTo>
                    <a:pt x="520" y="175"/>
                  </a:lnTo>
                  <a:lnTo>
                    <a:pt x="520" y="175"/>
                  </a:lnTo>
                  <a:lnTo>
                    <a:pt x="520" y="174"/>
                  </a:lnTo>
                  <a:lnTo>
                    <a:pt x="520" y="174"/>
                  </a:lnTo>
                  <a:lnTo>
                    <a:pt x="520" y="168"/>
                  </a:lnTo>
                  <a:lnTo>
                    <a:pt x="521" y="166"/>
                  </a:lnTo>
                  <a:lnTo>
                    <a:pt x="523" y="166"/>
                  </a:lnTo>
                  <a:lnTo>
                    <a:pt x="523" y="166"/>
                  </a:lnTo>
                  <a:lnTo>
                    <a:pt x="528" y="168"/>
                  </a:lnTo>
                  <a:lnTo>
                    <a:pt x="531" y="168"/>
                  </a:lnTo>
                  <a:lnTo>
                    <a:pt x="534" y="166"/>
                  </a:lnTo>
                  <a:lnTo>
                    <a:pt x="534" y="166"/>
                  </a:lnTo>
                  <a:lnTo>
                    <a:pt x="547" y="158"/>
                  </a:lnTo>
                  <a:lnTo>
                    <a:pt x="547" y="158"/>
                  </a:lnTo>
                  <a:lnTo>
                    <a:pt x="554" y="156"/>
                  </a:lnTo>
                  <a:lnTo>
                    <a:pt x="557" y="156"/>
                  </a:lnTo>
                  <a:lnTo>
                    <a:pt x="557" y="156"/>
                  </a:lnTo>
                  <a:lnTo>
                    <a:pt x="557" y="158"/>
                  </a:lnTo>
                  <a:lnTo>
                    <a:pt x="557" y="158"/>
                  </a:lnTo>
                  <a:lnTo>
                    <a:pt x="553" y="162"/>
                  </a:lnTo>
                  <a:lnTo>
                    <a:pt x="549" y="166"/>
                  </a:lnTo>
                  <a:lnTo>
                    <a:pt x="549" y="166"/>
                  </a:lnTo>
                  <a:lnTo>
                    <a:pt x="543" y="169"/>
                  </a:lnTo>
                  <a:lnTo>
                    <a:pt x="537" y="172"/>
                  </a:lnTo>
                  <a:lnTo>
                    <a:pt x="537" y="172"/>
                  </a:lnTo>
                  <a:lnTo>
                    <a:pt x="533" y="176"/>
                  </a:lnTo>
                  <a:lnTo>
                    <a:pt x="528" y="178"/>
                  </a:lnTo>
                  <a:lnTo>
                    <a:pt x="528" y="178"/>
                  </a:lnTo>
                  <a:lnTo>
                    <a:pt x="523" y="181"/>
                  </a:lnTo>
                  <a:lnTo>
                    <a:pt x="518" y="182"/>
                  </a:lnTo>
                  <a:lnTo>
                    <a:pt x="517" y="185"/>
                  </a:lnTo>
                  <a:lnTo>
                    <a:pt x="517" y="185"/>
                  </a:lnTo>
                  <a:lnTo>
                    <a:pt x="515" y="191"/>
                  </a:lnTo>
                  <a:lnTo>
                    <a:pt x="514" y="197"/>
                  </a:lnTo>
                  <a:lnTo>
                    <a:pt x="514" y="197"/>
                  </a:lnTo>
                  <a:lnTo>
                    <a:pt x="514" y="198"/>
                  </a:lnTo>
                  <a:lnTo>
                    <a:pt x="515" y="200"/>
                  </a:lnTo>
                  <a:lnTo>
                    <a:pt x="518" y="203"/>
                  </a:lnTo>
                  <a:lnTo>
                    <a:pt x="518" y="204"/>
                  </a:lnTo>
                  <a:lnTo>
                    <a:pt x="518" y="204"/>
                  </a:lnTo>
                  <a:lnTo>
                    <a:pt x="520" y="208"/>
                  </a:lnTo>
                  <a:lnTo>
                    <a:pt x="523" y="214"/>
                  </a:lnTo>
                  <a:lnTo>
                    <a:pt x="523" y="214"/>
                  </a:lnTo>
                  <a:lnTo>
                    <a:pt x="524" y="216"/>
                  </a:lnTo>
                  <a:lnTo>
                    <a:pt x="524" y="218"/>
                  </a:lnTo>
                  <a:lnTo>
                    <a:pt x="521" y="226"/>
                  </a:lnTo>
                  <a:lnTo>
                    <a:pt x="521" y="226"/>
                  </a:lnTo>
                  <a:lnTo>
                    <a:pt x="521" y="230"/>
                  </a:lnTo>
                  <a:lnTo>
                    <a:pt x="524" y="234"/>
                  </a:lnTo>
                  <a:lnTo>
                    <a:pt x="525" y="237"/>
                  </a:lnTo>
                  <a:lnTo>
                    <a:pt x="525" y="239"/>
                  </a:lnTo>
                  <a:lnTo>
                    <a:pt x="523" y="237"/>
                  </a:lnTo>
                  <a:lnTo>
                    <a:pt x="523" y="237"/>
                  </a:lnTo>
                  <a:lnTo>
                    <a:pt x="517" y="234"/>
                  </a:lnTo>
                  <a:lnTo>
                    <a:pt x="512" y="230"/>
                  </a:lnTo>
                  <a:lnTo>
                    <a:pt x="510" y="226"/>
                  </a:lnTo>
                  <a:lnTo>
                    <a:pt x="508" y="224"/>
                  </a:lnTo>
                  <a:lnTo>
                    <a:pt x="510" y="223"/>
                  </a:lnTo>
                  <a:lnTo>
                    <a:pt x="510" y="223"/>
                  </a:lnTo>
                  <a:lnTo>
                    <a:pt x="514" y="218"/>
                  </a:lnTo>
                  <a:lnTo>
                    <a:pt x="514" y="216"/>
                  </a:lnTo>
                  <a:lnTo>
                    <a:pt x="514" y="214"/>
                  </a:lnTo>
                  <a:lnTo>
                    <a:pt x="514" y="214"/>
                  </a:lnTo>
                  <a:lnTo>
                    <a:pt x="510" y="205"/>
                  </a:lnTo>
                  <a:lnTo>
                    <a:pt x="507" y="203"/>
                  </a:lnTo>
                  <a:lnTo>
                    <a:pt x="505" y="201"/>
                  </a:lnTo>
                  <a:lnTo>
                    <a:pt x="504" y="201"/>
                  </a:lnTo>
                  <a:lnTo>
                    <a:pt x="504" y="201"/>
                  </a:lnTo>
                  <a:lnTo>
                    <a:pt x="498" y="205"/>
                  </a:lnTo>
                  <a:lnTo>
                    <a:pt x="497" y="205"/>
                  </a:lnTo>
                  <a:lnTo>
                    <a:pt x="497" y="204"/>
                  </a:lnTo>
                  <a:lnTo>
                    <a:pt x="497" y="204"/>
                  </a:lnTo>
                  <a:lnTo>
                    <a:pt x="497" y="195"/>
                  </a:lnTo>
                  <a:lnTo>
                    <a:pt x="498" y="192"/>
                  </a:lnTo>
                  <a:lnTo>
                    <a:pt x="497" y="191"/>
                  </a:lnTo>
                  <a:lnTo>
                    <a:pt x="497" y="191"/>
                  </a:lnTo>
                  <a:lnTo>
                    <a:pt x="492" y="192"/>
                  </a:lnTo>
                  <a:lnTo>
                    <a:pt x="489" y="192"/>
                  </a:lnTo>
                  <a:lnTo>
                    <a:pt x="488" y="191"/>
                  </a:lnTo>
                  <a:lnTo>
                    <a:pt x="488" y="191"/>
                  </a:lnTo>
                  <a:lnTo>
                    <a:pt x="483" y="184"/>
                  </a:lnTo>
                  <a:lnTo>
                    <a:pt x="481" y="181"/>
                  </a:lnTo>
                  <a:lnTo>
                    <a:pt x="478" y="179"/>
                  </a:lnTo>
                  <a:lnTo>
                    <a:pt x="478" y="179"/>
                  </a:lnTo>
                  <a:lnTo>
                    <a:pt x="472" y="185"/>
                  </a:lnTo>
                  <a:lnTo>
                    <a:pt x="466" y="189"/>
                  </a:lnTo>
                  <a:lnTo>
                    <a:pt x="462" y="191"/>
                  </a:lnTo>
                  <a:lnTo>
                    <a:pt x="462" y="191"/>
                  </a:lnTo>
                  <a:lnTo>
                    <a:pt x="447" y="192"/>
                  </a:lnTo>
                  <a:lnTo>
                    <a:pt x="437" y="194"/>
                  </a:lnTo>
                  <a:lnTo>
                    <a:pt x="431" y="194"/>
                  </a:lnTo>
                  <a:lnTo>
                    <a:pt x="431" y="194"/>
                  </a:lnTo>
                  <a:lnTo>
                    <a:pt x="428" y="192"/>
                  </a:lnTo>
                  <a:lnTo>
                    <a:pt x="426" y="194"/>
                  </a:lnTo>
                  <a:lnTo>
                    <a:pt x="424" y="194"/>
                  </a:lnTo>
                  <a:lnTo>
                    <a:pt x="420" y="192"/>
                  </a:lnTo>
                  <a:lnTo>
                    <a:pt x="420" y="192"/>
                  </a:lnTo>
                  <a:lnTo>
                    <a:pt x="404" y="188"/>
                  </a:lnTo>
                  <a:lnTo>
                    <a:pt x="399" y="185"/>
                  </a:lnTo>
                  <a:lnTo>
                    <a:pt x="398" y="185"/>
                  </a:lnTo>
                  <a:lnTo>
                    <a:pt x="399" y="184"/>
                  </a:lnTo>
                  <a:lnTo>
                    <a:pt x="399" y="184"/>
                  </a:lnTo>
                  <a:lnTo>
                    <a:pt x="408" y="182"/>
                  </a:lnTo>
                  <a:lnTo>
                    <a:pt x="410" y="181"/>
                  </a:lnTo>
                  <a:lnTo>
                    <a:pt x="410" y="179"/>
                  </a:lnTo>
                  <a:lnTo>
                    <a:pt x="410" y="179"/>
                  </a:lnTo>
                  <a:lnTo>
                    <a:pt x="408" y="176"/>
                  </a:lnTo>
                  <a:lnTo>
                    <a:pt x="405" y="175"/>
                  </a:lnTo>
                  <a:lnTo>
                    <a:pt x="404" y="174"/>
                  </a:lnTo>
                  <a:lnTo>
                    <a:pt x="407" y="174"/>
                  </a:lnTo>
                  <a:lnTo>
                    <a:pt x="407" y="174"/>
                  </a:lnTo>
                  <a:lnTo>
                    <a:pt x="413" y="174"/>
                  </a:lnTo>
                  <a:lnTo>
                    <a:pt x="414" y="172"/>
                  </a:lnTo>
                  <a:lnTo>
                    <a:pt x="415" y="171"/>
                  </a:lnTo>
                  <a:lnTo>
                    <a:pt x="415" y="171"/>
                  </a:lnTo>
                  <a:lnTo>
                    <a:pt x="413" y="168"/>
                  </a:lnTo>
                  <a:lnTo>
                    <a:pt x="413" y="165"/>
                  </a:lnTo>
                  <a:lnTo>
                    <a:pt x="417" y="165"/>
                  </a:lnTo>
                  <a:lnTo>
                    <a:pt x="417" y="165"/>
                  </a:lnTo>
                  <a:lnTo>
                    <a:pt x="421" y="165"/>
                  </a:lnTo>
                  <a:lnTo>
                    <a:pt x="424" y="165"/>
                  </a:lnTo>
                  <a:lnTo>
                    <a:pt x="427" y="165"/>
                  </a:lnTo>
                  <a:lnTo>
                    <a:pt x="428" y="165"/>
                  </a:lnTo>
                  <a:lnTo>
                    <a:pt x="428" y="165"/>
                  </a:lnTo>
                  <a:lnTo>
                    <a:pt x="428" y="162"/>
                  </a:lnTo>
                  <a:lnTo>
                    <a:pt x="428" y="159"/>
                  </a:lnTo>
                  <a:lnTo>
                    <a:pt x="427" y="156"/>
                  </a:lnTo>
                  <a:lnTo>
                    <a:pt x="424" y="153"/>
                  </a:lnTo>
                  <a:lnTo>
                    <a:pt x="424" y="153"/>
                  </a:lnTo>
                  <a:lnTo>
                    <a:pt x="417" y="146"/>
                  </a:lnTo>
                  <a:lnTo>
                    <a:pt x="414" y="143"/>
                  </a:lnTo>
                  <a:lnTo>
                    <a:pt x="408" y="142"/>
                  </a:lnTo>
                  <a:lnTo>
                    <a:pt x="408" y="142"/>
                  </a:lnTo>
                  <a:lnTo>
                    <a:pt x="397" y="140"/>
                  </a:lnTo>
                  <a:lnTo>
                    <a:pt x="394" y="140"/>
                  </a:lnTo>
                  <a:lnTo>
                    <a:pt x="395" y="143"/>
                  </a:lnTo>
                  <a:lnTo>
                    <a:pt x="395" y="143"/>
                  </a:lnTo>
                  <a:lnTo>
                    <a:pt x="398" y="149"/>
                  </a:lnTo>
                  <a:lnTo>
                    <a:pt x="399" y="150"/>
                  </a:lnTo>
                  <a:lnTo>
                    <a:pt x="397" y="150"/>
                  </a:lnTo>
                  <a:lnTo>
                    <a:pt x="397" y="150"/>
                  </a:lnTo>
                  <a:lnTo>
                    <a:pt x="378" y="143"/>
                  </a:lnTo>
                  <a:lnTo>
                    <a:pt x="378" y="143"/>
                  </a:lnTo>
                  <a:lnTo>
                    <a:pt x="373" y="140"/>
                  </a:lnTo>
                  <a:lnTo>
                    <a:pt x="369" y="137"/>
                  </a:lnTo>
                  <a:lnTo>
                    <a:pt x="366" y="134"/>
                  </a:lnTo>
                  <a:lnTo>
                    <a:pt x="363" y="133"/>
                  </a:lnTo>
                  <a:lnTo>
                    <a:pt x="363" y="133"/>
                  </a:lnTo>
                  <a:lnTo>
                    <a:pt x="360" y="132"/>
                  </a:lnTo>
                  <a:lnTo>
                    <a:pt x="360" y="129"/>
                  </a:lnTo>
                  <a:lnTo>
                    <a:pt x="359" y="127"/>
                  </a:lnTo>
                  <a:lnTo>
                    <a:pt x="356" y="126"/>
                  </a:lnTo>
                  <a:lnTo>
                    <a:pt x="356" y="126"/>
                  </a:lnTo>
                  <a:lnTo>
                    <a:pt x="337" y="117"/>
                  </a:lnTo>
                  <a:lnTo>
                    <a:pt x="326" y="111"/>
                  </a:lnTo>
                  <a:lnTo>
                    <a:pt x="318" y="108"/>
                  </a:lnTo>
                  <a:lnTo>
                    <a:pt x="318" y="108"/>
                  </a:lnTo>
                  <a:lnTo>
                    <a:pt x="315" y="107"/>
                  </a:lnTo>
                  <a:lnTo>
                    <a:pt x="311" y="104"/>
                  </a:lnTo>
                  <a:lnTo>
                    <a:pt x="307" y="103"/>
                  </a:lnTo>
                  <a:lnTo>
                    <a:pt x="302" y="101"/>
                  </a:lnTo>
                  <a:lnTo>
                    <a:pt x="302" y="101"/>
                  </a:lnTo>
                  <a:lnTo>
                    <a:pt x="292" y="100"/>
                  </a:lnTo>
                  <a:lnTo>
                    <a:pt x="288" y="101"/>
                  </a:lnTo>
                  <a:lnTo>
                    <a:pt x="288" y="101"/>
                  </a:lnTo>
                  <a:lnTo>
                    <a:pt x="287" y="103"/>
                  </a:lnTo>
                  <a:lnTo>
                    <a:pt x="287" y="103"/>
                  </a:lnTo>
                  <a:lnTo>
                    <a:pt x="285" y="105"/>
                  </a:lnTo>
                  <a:lnTo>
                    <a:pt x="282" y="110"/>
                  </a:lnTo>
                  <a:lnTo>
                    <a:pt x="279" y="113"/>
                  </a:lnTo>
                  <a:lnTo>
                    <a:pt x="278" y="113"/>
                  </a:lnTo>
                  <a:lnTo>
                    <a:pt x="275" y="113"/>
                  </a:lnTo>
                  <a:lnTo>
                    <a:pt x="275" y="113"/>
                  </a:lnTo>
                  <a:lnTo>
                    <a:pt x="273" y="110"/>
                  </a:lnTo>
                  <a:lnTo>
                    <a:pt x="273" y="107"/>
                  </a:lnTo>
                  <a:lnTo>
                    <a:pt x="276" y="103"/>
                  </a:lnTo>
                  <a:lnTo>
                    <a:pt x="276" y="103"/>
                  </a:lnTo>
                  <a:lnTo>
                    <a:pt x="273" y="98"/>
                  </a:lnTo>
                  <a:lnTo>
                    <a:pt x="272" y="95"/>
                  </a:lnTo>
                  <a:lnTo>
                    <a:pt x="272" y="91"/>
                  </a:lnTo>
                  <a:lnTo>
                    <a:pt x="272" y="91"/>
                  </a:lnTo>
                  <a:lnTo>
                    <a:pt x="272" y="90"/>
                  </a:lnTo>
                  <a:lnTo>
                    <a:pt x="272" y="88"/>
                  </a:lnTo>
                  <a:lnTo>
                    <a:pt x="268" y="90"/>
                  </a:lnTo>
                  <a:lnTo>
                    <a:pt x="268" y="90"/>
                  </a:lnTo>
                  <a:lnTo>
                    <a:pt x="266" y="91"/>
                  </a:lnTo>
                  <a:lnTo>
                    <a:pt x="266" y="92"/>
                  </a:lnTo>
                  <a:lnTo>
                    <a:pt x="266" y="98"/>
                  </a:lnTo>
                  <a:lnTo>
                    <a:pt x="266" y="98"/>
                  </a:lnTo>
                  <a:lnTo>
                    <a:pt x="266" y="101"/>
                  </a:lnTo>
                  <a:lnTo>
                    <a:pt x="265" y="103"/>
                  </a:lnTo>
                  <a:lnTo>
                    <a:pt x="263" y="104"/>
                  </a:lnTo>
                  <a:lnTo>
                    <a:pt x="263" y="105"/>
                  </a:lnTo>
                  <a:lnTo>
                    <a:pt x="263" y="105"/>
                  </a:lnTo>
                  <a:lnTo>
                    <a:pt x="262" y="111"/>
                  </a:lnTo>
                  <a:lnTo>
                    <a:pt x="262" y="114"/>
                  </a:lnTo>
                  <a:lnTo>
                    <a:pt x="259" y="116"/>
                  </a:lnTo>
                  <a:lnTo>
                    <a:pt x="259" y="116"/>
                  </a:lnTo>
                  <a:lnTo>
                    <a:pt x="256" y="116"/>
                  </a:lnTo>
                  <a:lnTo>
                    <a:pt x="252" y="114"/>
                  </a:lnTo>
                  <a:lnTo>
                    <a:pt x="249" y="111"/>
                  </a:lnTo>
                  <a:lnTo>
                    <a:pt x="245" y="107"/>
                  </a:lnTo>
                  <a:lnTo>
                    <a:pt x="245" y="107"/>
                  </a:lnTo>
                  <a:lnTo>
                    <a:pt x="237" y="97"/>
                  </a:lnTo>
                  <a:lnTo>
                    <a:pt x="234" y="92"/>
                  </a:lnTo>
                  <a:lnTo>
                    <a:pt x="231" y="87"/>
                  </a:lnTo>
                  <a:lnTo>
                    <a:pt x="231" y="87"/>
                  </a:lnTo>
                  <a:lnTo>
                    <a:pt x="230" y="79"/>
                  </a:lnTo>
                  <a:lnTo>
                    <a:pt x="227" y="74"/>
                  </a:lnTo>
                  <a:lnTo>
                    <a:pt x="220" y="63"/>
                  </a:lnTo>
                  <a:lnTo>
                    <a:pt x="220" y="63"/>
                  </a:lnTo>
                  <a:lnTo>
                    <a:pt x="214" y="58"/>
                  </a:lnTo>
                  <a:lnTo>
                    <a:pt x="211" y="56"/>
                  </a:lnTo>
                  <a:lnTo>
                    <a:pt x="211" y="58"/>
                  </a:lnTo>
                  <a:lnTo>
                    <a:pt x="211" y="58"/>
                  </a:lnTo>
                  <a:lnTo>
                    <a:pt x="210" y="61"/>
                  </a:lnTo>
                  <a:lnTo>
                    <a:pt x="210" y="63"/>
                  </a:lnTo>
                  <a:lnTo>
                    <a:pt x="210" y="65"/>
                  </a:lnTo>
                  <a:lnTo>
                    <a:pt x="210" y="65"/>
                  </a:lnTo>
                  <a:lnTo>
                    <a:pt x="213" y="71"/>
                  </a:lnTo>
                  <a:lnTo>
                    <a:pt x="214" y="74"/>
                  </a:lnTo>
                  <a:lnTo>
                    <a:pt x="216" y="75"/>
                  </a:lnTo>
                  <a:lnTo>
                    <a:pt x="216" y="75"/>
                  </a:lnTo>
                  <a:lnTo>
                    <a:pt x="220" y="79"/>
                  </a:lnTo>
                  <a:lnTo>
                    <a:pt x="221" y="81"/>
                  </a:lnTo>
                  <a:lnTo>
                    <a:pt x="220" y="82"/>
                  </a:lnTo>
                  <a:lnTo>
                    <a:pt x="220" y="82"/>
                  </a:lnTo>
                  <a:lnTo>
                    <a:pt x="217" y="82"/>
                  </a:lnTo>
                  <a:lnTo>
                    <a:pt x="216" y="84"/>
                  </a:lnTo>
                  <a:lnTo>
                    <a:pt x="214" y="85"/>
                  </a:lnTo>
                  <a:lnTo>
                    <a:pt x="214" y="85"/>
                  </a:lnTo>
                  <a:lnTo>
                    <a:pt x="213" y="90"/>
                  </a:lnTo>
                  <a:lnTo>
                    <a:pt x="210" y="92"/>
                  </a:lnTo>
                  <a:lnTo>
                    <a:pt x="210" y="92"/>
                  </a:lnTo>
                  <a:lnTo>
                    <a:pt x="208" y="95"/>
                  </a:lnTo>
                  <a:lnTo>
                    <a:pt x="207" y="100"/>
                  </a:lnTo>
                  <a:lnTo>
                    <a:pt x="207" y="103"/>
                  </a:lnTo>
                  <a:lnTo>
                    <a:pt x="205" y="104"/>
                  </a:lnTo>
                  <a:lnTo>
                    <a:pt x="205" y="104"/>
                  </a:lnTo>
                  <a:lnTo>
                    <a:pt x="203" y="104"/>
                  </a:lnTo>
                  <a:lnTo>
                    <a:pt x="201" y="101"/>
                  </a:lnTo>
                  <a:lnTo>
                    <a:pt x="198" y="98"/>
                  </a:lnTo>
                  <a:lnTo>
                    <a:pt x="195" y="98"/>
                  </a:lnTo>
                  <a:lnTo>
                    <a:pt x="195" y="98"/>
                  </a:lnTo>
                  <a:lnTo>
                    <a:pt x="189" y="103"/>
                  </a:lnTo>
                  <a:lnTo>
                    <a:pt x="188" y="103"/>
                  </a:lnTo>
                  <a:lnTo>
                    <a:pt x="187" y="103"/>
                  </a:lnTo>
                  <a:lnTo>
                    <a:pt x="187" y="101"/>
                  </a:lnTo>
                  <a:lnTo>
                    <a:pt x="187" y="101"/>
                  </a:lnTo>
                  <a:lnTo>
                    <a:pt x="187" y="94"/>
                  </a:lnTo>
                  <a:lnTo>
                    <a:pt x="187" y="90"/>
                  </a:lnTo>
                  <a:lnTo>
                    <a:pt x="185" y="87"/>
                  </a:lnTo>
                  <a:lnTo>
                    <a:pt x="185" y="87"/>
                  </a:lnTo>
                  <a:lnTo>
                    <a:pt x="179" y="81"/>
                  </a:lnTo>
                  <a:lnTo>
                    <a:pt x="178" y="81"/>
                  </a:lnTo>
                  <a:lnTo>
                    <a:pt x="175" y="82"/>
                  </a:lnTo>
                  <a:lnTo>
                    <a:pt x="175" y="82"/>
                  </a:lnTo>
                  <a:lnTo>
                    <a:pt x="172" y="87"/>
                  </a:lnTo>
                  <a:lnTo>
                    <a:pt x="168" y="91"/>
                  </a:lnTo>
                  <a:lnTo>
                    <a:pt x="161" y="97"/>
                  </a:lnTo>
                  <a:lnTo>
                    <a:pt x="161" y="97"/>
                  </a:lnTo>
                  <a:lnTo>
                    <a:pt x="156" y="108"/>
                  </a:lnTo>
                  <a:lnTo>
                    <a:pt x="152" y="117"/>
                  </a:lnTo>
                  <a:lnTo>
                    <a:pt x="150" y="120"/>
                  </a:lnTo>
                  <a:lnTo>
                    <a:pt x="150" y="120"/>
                  </a:lnTo>
                  <a:lnTo>
                    <a:pt x="145" y="124"/>
                  </a:lnTo>
                  <a:lnTo>
                    <a:pt x="143" y="126"/>
                  </a:lnTo>
                  <a:lnTo>
                    <a:pt x="143" y="124"/>
                  </a:lnTo>
                  <a:lnTo>
                    <a:pt x="143" y="124"/>
                  </a:lnTo>
                  <a:lnTo>
                    <a:pt x="149" y="114"/>
                  </a:lnTo>
                  <a:lnTo>
                    <a:pt x="150" y="108"/>
                  </a:lnTo>
                  <a:lnTo>
                    <a:pt x="150" y="104"/>
                  </a:lnTo>
                  <a:lnTo>
                    <a:pt x="150" y="104"/>
                  </a:lnTo>
                  <a:lnTo>
                    <a:pt x="149" y="101"/>
                  </a:lnTo>
                  <a:lnTo>
                    <a:pt x="147" y="100"/>
                  </a:lnTo>
                  <a:lnTo>
                    <a:pt x="146" y="100"/>
                  </a:lnTo>
                  <a:lnTo>
                    <a:pt x="146" y="100"/>
                  </a:lnTo>
                  <a:lnTo>
                    <a:pt x="139" y="108"/>
                  </a:lnTo>
                  <a:lnTo>
                    <a:pt x="134" y="114"/>
                  </a:lnTo>
                  <a:lnTo>
                    <a:pt x="130" y="118"/>
                  </a:lnTo>
                  <a:lnTo>
                    <a:pt x="130" y="118"/>
                  </a:lnTo>
                  <a:lnTo>
                    <a:pt x="111" y="133"/>
                  </a:lnTo>
                  <a:lnTo>
                    <a:pt x="111" y="133"/>
                  </a:lnTo>
                  <a:lnTo>
                    <a:pt x="110" y="136"/>
                  </a:lnTo>
                  <a:lnTo>
                    <a:pt x="110" y="140"/>
                  </a:lnTo>
                  <a:lnTo>
                    <a:pt x="108" y="143"/>
                  </a:lnTo>
                  <a:lnTo>
                    <a:pt x="108" y="143"/>
                  </a:lnTo>
                  <a:lnTo>
                    <a:pt x="107" y="143"/>
                  </a:lnTo>
                  <a:lnTo>
                    <a:pt x="107" y="143"/>
                  </a:lnTo>
                  <a:lnTo>
                    <a:pt x="105" y="139"/>
                  </a:lnTo>
                  <a:lnTo>
                    <a:pt x="104" y="136"/>
                  </a:lnTo>
                  <a:lnTo>
                    <a:pt x="101" y="137"/>
                  </a:lnTo>
                  <a:lnTo>
                    <a:pt x="101" y="137"/>
                  </a:lnTo>
                  <a:lnTo>
                    <a:pt x="101" y="139"/>
                  </a:lnTo>
                  <a:lnTo>
                    <a:pt x="100" y="142"/>
                  </a:lnTo>
                  <a:lnTo>
                    <a:pt x="100" y="143"/>
                  </a:lnTo>
                  <a:lnTo>
                    <a:pt x="98" y="145"/>
                  </a:lnTo>
                  <a:lnTo>
                    <a:pt x="98" y="145"/>
                  </a:lnTo>
                  <a:lnTo>
                    <a:pt x="92" y="142"/>
                  </a:lnTo>
                  <a:lnTo>
                    <a:pt x="90" y="142"/>
                  </a:lnTo>
                  <a:lnTo>
                    <a:pt x="88" y="143"/>
                  </a:lnTo>
                  <a:lnTo>
                    <a:pt x="88" y="143"/>
                  </a:lnTo>
                  <a:lnTo>
                    <a:pt x="87" y="146"/>
                  </a:lnTo>
                  <a:lnTo>
                    <a:pt x="85" y="147"/>
                  </a:lnTo>
                  <a:lnTo>
                    <a:pt x="82" y="146"/>
                  </a:lnTo>
                  <a:lnTo>
                    <a:pt x="82" y="146"/>
                  </a:lnTo>
                  <a:lnTo>
                    <a:pt x="77" y="142"/>
                  </a:lnTo>
                  <a:lnTo>
                    <a:pt x="74" y="140"/>
                  </a:lnTo>
                  <a:lnTo>
                    <a:pt x="74" y="142"/>
                  </a:lnTo>
                  <a:lnTo>
                    <a:pt x="74" y="142"/>
                  </a:lnTo>
                  <a:lnTo>
                    <a:pt x="72" y="143"/>
                  </a:lnTo>
                  <a:lnTo>
                    <a:pt x="72" y="145"/>
                  </a:lnTo>
                  <a:lnTo>
                    <a:pt x="69" y="146"/>
                  </a:lnTo>
                  <a:lnTo>
                    <a:pt x="68" y="146"/>
                  </a:lnTo>
                  <a:lnTo>
                    <a:pt x="68" y="146"/>
                  </a:lnTo>
                  <a:lnTo>
                    <a:pt x="58" y="139"/>
                  </a:lnTo>
                  <a:lnTo>
                    <a:pt x="50" y="132"/>
                  </a:lnTo>
                  <a:lnTo>
                    <a:pt x="50" y="132"/>
                  </a:lnTo>
                  <a:lnTo>
                    <a:pt x="48" y="127"/>
                  </a:lnTo>
                  <a:lnTo>
                    <a:pt x="45" y="123"/>
                  </a:lnTo>
                  <a:lnTo>
                    <a:pt x="45" y="123"/>
                  </a:lnTo>
                  <a:lnTo>
                    <a:pt x="42" y="120"/>
                  </a:lnTo>
                  <a:lnTo>
                    <a:pt x="39" y="116"/>
                  </a:lnTo>
                  <a:lnTo>
                    <a:pt x="36" y="111"/>
                  </a:lnTo>
                  <a:lnTo>
                    <a:pt x="33" y="108"/>
                  </a:lnTo>
                  <a:lnTo>
                    <a:pt x="33" y="108"/>
                  </a:lnTo>
                  <a:lnTo>
                    <a:pt x="27" y="108"/>
                  </a:lnTo>
                  <a:lnTo>
                    <a:pt x="19" y="108"/>
                  </a:lnTo>
                  <a:lnTo>
                    <a:pt x="19" y="108"/>
                  </a:lnTo>
                  <a:lnTo>
                    <a:pt x="10" y="107"/>
                  </a:lnTo>
                  <a:lnTo>
                    <a:pt x="0" y="107"/>
                  </a:lnTo>
                  <a:lnTo>
                    <a:pt x="0" y="466"/>
                  </a:lnTo>
                  <a:lnTo>
                    <a:pt x="0" y="466"/>
                  </a:lnTo>
                  <a:lnTo>
                    <a:pt x="6" y="465"/>
                  </a:lnTo>
                  <a:lnTo>
                    <a:pt x="11" y="463"/>
                  </a:lnTo>
                  <a:lnTo>
                    <a:pt x="23" y="460"/>
                  </a:lnTo>
                  <a:lnTo>
                    <a:pt x="23" y="460"/>
                  </a:lnTo>
                  <a:lnTo>
                    <a:pt x="26" y="460"/>
                  </a:lnTo>
                  <a:lnTo>
                    <a:pt x="27" y="462"/>
                  </a:lnTo>
                  <a:lnTo>
                    <a:pt x="29" y="465"/>
                  </a:lnTo>
                  <a:lnTo>
                    <a:pt x="30" y="470"/>
                  </a:lnTo>
                  <a:lnTo>
                    <a:pt x="32" y="476"/>
                  </a:lnTo>
                  <a:lnTo>
                    <a:pt x="32" y="476"/>
                  </a:lnTo>
                  <a:lnTo>
                    <a:pt x="50" y="502"/>
                  </a:lnTo>
                  <a:lnTo>
                    <a:pt x="50" y="502"/>
                  </a:lnTo>
                  <a:lnTo>
                    <a:pt x="53" y="505"/>
                  </a:lnTo>
                  <a:lnTo>
                    <a:pt x="55" y="507"/>
                  </a:lnTo>
                  <a:lnTo>
                    <a:pt x="62" y="505"/>
                  </a:lnTo>
                  <a:lnTo>
                    <a:pt x="62" y="505"/>
                  </a:lnTo>
                  <a:lnTo>
                    <a:pt x="63" y="504"/>
                  </a:lnTo>
                  <a:lnTo>
                    <a:pt x="66" y="501"/>
                  </a:lnTo>
                  <a:lnTo>
                    <a:pt x="74" y="492"/>
                  </a:lnTo>
                  <a:lnTo>
                    <a:pt x="79" y="485"/>
                  </a:lnTo>
                  <a:lnTo>
                    <a:pt x="82" y="482"/>
                  </a:lnTo>
                  <a:lnTo>
                    <a:pt x="85" y="481"/>
                  </a:lnTo>
                  <a:lnTo>
                    <a:pt x="85" y="481"/>
                  </a:lnTo>
                  <a:lnTo>
                    <a:pt x="87" y="482"/>
                  </a:lnTo>
                  <a:lnTo>
                    <a:pt x="88" y="484"/>
                  </a:lnTo>
                  <a:lnTo>
                    <a:pt x="92" y="489"/>
                  </a:lnTo>
                  <a:lnTo>
                    <a:pt x="98" y="504"/>
                  </a:lnTo>
                  <a:lnTo>
                    <a:pt x="98" y="504"/>
                  </a:lnTo>
                  <a:lnTo>
                    <a:pt x="100" y="507"/>
                  </a:lnTo>
                  <a:lnTo>
                    <a:pt x="101" y="510"/>
                  </a:lnTo>
                  <a:lnTo>
                    <a:pt x="107" y="515"/>
                  </a:lnTo>
                  <a:lnTo>
                    <a:pt x="113" y="520"/>
                  </a:lnTo>
                  <a:lnTo>
                    <a:pt x="117" y="524"/>
                  </a:lnTo>
                  <a:lnTo>
                    <a:pt x="117" y="524"/>
                  </a:lnTo>
                  <a:lnTo>
                    <a:pt x="123" y="533"/>
                  </a:lnTo>
                  <a:lnTo>
                    <a:pt x="126" y="539"/>
                  </a:lnTo>
                  <a:lnTo>
                    <a:pt x="133" y="544"/>
                  </a:lnTo>
                  <a:lnTo>
                    <a:pt x="133" y="544"/>
                  </a:lnTo>
                  <a:lnTo>
                    <a:pt x="139" y="553"/>
                  </a:lnTo>
                  <a:lnTo>
                    <a:pt x="145" y="560"/>
                  </a:lnTo>
                  <a:lnTo>
                    <a:pt x="149" y="569"/>
                  </a:lnTo>
                  <a:lnTo>
                    <a:pt x="153" y="575"/>
                  </a:lnTo>
                  <a:lnTo>
                    <a:pt x="153" y="575"/>
                  </a:lnTo>
                  <a:lnTo>
                    <a:pt x="161" y="582"/>
                  </a:lnTo>
                  <a:lnTo>
                    <a:pt x="169" y="589"/>
                  </a:lnTo>
                  <a:lnTo>
                    <a:pt x="176" y="595"/>
                  </a:lnTo>
                  <a:lnTo>
                    <a:pt x="178" y="598"/>
                  </a:lnTo>
                  <a:lnTo>
                    <a:pt x="179" y="601"/>
                  </a:lnTo>
                  <a:lnTo>
                    <a:pt x="179" y="623"/>
                  </a:lnTo>
                  <a:lnTo>
                    <a:pt x="179" y="624"/>
                  </a:lnTo>
                  <a:lnTo>
                    <a:pt x="179" y="624"/>
                  </a:lnTo>
                  <a:lnTo>
                    <a:pt x="178" y="625"/>
                  </a:lnTo>
                  <a:lnTo>
                    <a:pt x="176" y="630"/>
                  </a:lnTo>
                  <a:lnTo>
                    <a:pt x="175" y="633"/>
                  </a:lnTo>
                  <a:lnTo>
                    <a:pt x="174" y="637"/>
                  </a:lnTo>
                  <a:lnTo>
                    <a:pt x="174" y="637"/>
                  </a:lnTo>
                  <a:lnTo>
                    <a:pt x="175" y="641"/>
                  </a:lnTo>
                  <a:lnTo>
                    <a:pt x="176" y="644"/>
                  </a:lnTo>
                  <a:lnTo>
                    <a:pt x="181" y="649"/>
                  </a:lnTo>
                  <a:lnTo>
                    <a:pt x="181" y="649"/>
                  </a:lnTo>
                  <a:lnTo>
                    <a:pt x="182" y="653"/>
                  </a:lnTo>
                  <a:lnTo>
                    <a:pt x="182" y="654"/>
                  </a:lnTo>
                  <a:lnTo>
                    <a:pt x="179" y="656"/>
                  </a:lnTo>
                  <a:lnTo>
                    <a:pt x="179" y="656"/>
                  </a:lnTo>
                  <a:lnTo>
                    <a:pt x="176" y="659"/>
                  </a:lnTo>
                  <a:lnTo>
                    <a:pt x="176" y="660"/>
                  </a:lnTo>
                  <a:lnTo>
                    <a:pt x="179" y="663"/>
                  </a:lnTo>
                  <a:lnTo>
                    <a:pt x="182" y="665"/>
                  </a:lnTo>
                  <a:lnTo>
                    <a:pt x="182" y="665"/>
                  </a:lnTo>
                  <a:lnTo>
                    <a:pt x="188" y="665"/>
                  </a:lnTo>
                  <a:lnTo>
                    <a:pt x="191" y="665"/>
                  </a:lnTo>
                  <a:lnTo>
                    <a:pt x="191" y="663"/>
                  </a:lnTo>
                  <a:lnTo>
                    <a:pt x="191" y="663"/>
                  </a:lnTo>
                  <a:lnTo>
                    <a:pt x="194" y="657"/>
                  </a:lnTo>
                  <a:lnTo>
                    <a:pt x="195" y="654"/>
                  </a:lnTo>
                  <a:lnTo>
                    <a:pt x="197" y="654"/>
                  </a:lnTo>
                  <a:lnTo>
                    <a:pt x="198" y="654"/>
                  </a:lnTo>
                  <a:lnTo>
                    <a:pt x="198" y="654"/>
                  </a:lnTo>
                  <a:lnTo>
                    <a:pt x="203" y="660"/>
                  </a:lnTo>
                  <a:lnTo>
                    <a:pt x="204" y="663"/>
                  </a:lnTo>
                  <a:lnTo>
                    <a:pt x="204" y="665"/>
                  </a:lnTo>
                  <a:lnTo>
                    <a:pt x="204" y="665"/>
                  </a:lnTo>
                  <a:lnTo>
                    <a:pt x="200" y="666"/>
                  </a:lnTo>
                  <a:lnTo>
                    <a:pt x="197" y="669"/>
                  </a:lnTo>
                  <a:lnTo>
                    <a:pt x="197" y="669"/>
                  </a:lnTo>
                  <a:lnTo>
                    <a:pt x="198" y="670"/>
                  </a:lnTo>
                  <a:lnTo>
                    <a:pt x="200" y="673"/>
                  </a:lnTo>
                  <a:lnTo>
                    <a:pt x="204" y="678"/>
                  </a:lnTo>
                  <a:lnTo>
                    <a:pt x="204" y="678"/>
                  </a:lnTo>
                  <a:lnTo>
                    <a:pt x="210" y="686"/>
                  </a:lnTo>
                  <a:lnTo>
                    <a:pt x="213" y="691"/>
                  </a:lnTo>
                  <a:lnTo>
                    <a:pt x="214" y="692"/>
                  </a:lnTo>
                  <a:lnTo>
                    <a:pt x="216" y="691"/>
                  </a:lnTo>
                  <a:lnTo>
                    <a:pt x="216" y="691"/>
                  </a:lnTo>
                  <a:lnTo>
                    <a:pt x="223" y="688"/>
                  </a:lnTo>
                  <a:lnTo>
                    <a:pt x="227" y="686"/>
                  </a:lnTo>
                  <a:lnTo>
                    <a:pt x="227" y="686"/>
                  </a:lnTo>
                  <a:lnTo>
                    <a:pt x="226" y="694"/>
                  </a:lnTo>
                  <a:lnTo>
                    <a:pt x="223" y="698"/>
                  </a:lnTo>
                  <a:lnTo>
                    <a:pt x="221" y="701"/>
                  </a:lnTo>
                  <a:lnTo>
                    <a:pt x="221" y="701"/>
                  </a:lnTo>
                  <a:lnTo>
                    <a:pt x="217" y="709"/>
                  </a:lnTo>
                  <a:lnTo>
                    <a:pt x="214" y="718"/>
                  </a:lnTo>
                  <a:lnTo>
                    <a:pt x="214" y="718"/>
                  </a:lnTo>
                  <a:lnTo>
                    <a:pt x="213" y="721"/>
                  </a:lnTo>
                  <a:lnTo>
                    <a:pt x="214" y="723"/>
                  </a:lnTo>
                  <a:lnTo>
                    <a:pt x="216" y="725"/>
                  </a:lnTo>
                  <a:lnTo>
                    <a:pt x="216" y="725"/>
                  </a:lnTo>
                  <a:lnTo>
                    <a:pt x="220" y="728"/>
                  </a:lnTo>
                  <a:lnTo>
                    <a:pt x="223" y="730"/>
                  </a:lnTo>
                  <a:lnTo>
                    <a:pt x="226" y="731"/>
                  </a:lnTo>
                  <a:lnTo>
                    <a:pt x="226" y="731"/>
                  </a:lnTo>
                  <a:lnTo>
                    <a:pt x="229" y="731"/>
                  </a:lnTo>
                  <a:lnTo>
                    <a:pt x="230" y="734"/>
                  </a:lnTo>
                  <a:lnTo>
                    <a:pt x="230" y="734"/>
                  </a:lnTo>
                  <a:lnTo>
                    <a:pt x="230" y="736"/>
                  </a:lnTo>
                  <a:lnTo>
                    <a:pt x="230" y="737"/>
                  </a:lnTo>
                  <a:lnTo>
                    <a:pt x="233" y="738"/>
                  </a:lnTo>
                  <a:lnTo>
                    <a:pt x="237" y="740"/>
                  </a:lnTo>
                  <a:lnTo>
                    <a:pt x="237" y="740"/>
                  </a:lnTo>
                  <a:lnTo>
                    <a:pt x="247" y="738"/>
                  </a:lnTo>
                  <a:lnTo>
                    <a:pt x="252" y="738"/>
                  </a:lnTo>
                  <a:lnTo>
                    <a:pt x="253" y="740"/>
                  </a:lnTo>
                  <a:lnTo>
                    <a:pt x="253" y="740"/>
                  </a:lnTo>
                  <a:lnTo>
                    <a:pt x="255" y="741"/>
                  </a:lnTo>
                  <a:lnTo>
                    <a:pt x="255" y="741"/>
                  </a:lnTo>
                  <a:lnTo>
                    <a:pt x="256" y="741"/>
                  </a:lnTo>
                  <a:lnTo>
                    <a:pt x="256" y="741"/>
                  </a:lnTo>
                  <a:lnTo>
                    <a:pt x="260" y="741"/>
                  </a:lnTo>
                  <a:lnTo>
                    <a:pt x="262" y="740"/>
                  </a:lnTo>
                  <a:lnTo>
                    <a:pt x="263" y="738"/>
                  </a:lnTo>
                  <a:lnTo>
                    <a:pt x="263" y="741"/>
                  </a:lnTo>
                  <a:lnTo>
                    <a:pt x="263" y="741"/>
                  </a:lnTo>
                  <a:lnTo>
                    <a:pt x="260" y="747"/>
                  </a:lnTo>
                  <a:lnTo>
                    <a:pt x="260" y="750"/>
                  </a:lnTo>
                  <a:lnTo>
                    <a:pt x="262" y="753"/>
                  </a:lnTo>
                  <a:lnTo>
                    <a:pt x="262" y="753"/>
                  </a:lnTo>
                  <a:lnTo>
                    <a:pt x="265" y="754"/>
                  </a:lnTo>
                  <a:lnTo>
                    <a:pt x="266" y="754"/>
                  </a:lnTo>
                  <a:lnTo>
                    <a:pt x="268" y="754"/>
                  </a:lnTo>
                  <a:lnTo>
                    <a:pt x="268" y="757"/>
                  </a:lnTo>
                  <a:lnTo>
                    <a:pt x="268" y="757"/>
                  </a:lnTo>
                  <a:lnTo>
                    <a:pt x="271" y="763"/>
                  </a:lnTo>
                  <a:lnTo>
                    <a:pt x="273" y="766"/>
                  </a:lnTo>
                  <a:lnTo>
                    <a:pt x="276" y="766"/>
                  </a:lnTo>
                  <a:lnTo>
                    <a:pt x="276" y="766"/>
                  </a:lnTo>
                  <a:lnTo>
                    <a:pt x="278" y="765"/>
                  </a:lnTo>
                  <a:lnTo>
                    <a:pt x="279" y="765"/>
                  </a:lnTo>
                  <a:lnTo>
                    <a:pt x="284" y="770"/>
                  </a:lnTo>
                  <a:lnTo>
                    <a:pt x="284" y="770"/>
                  </a:lnTo>
                  <a:lnTo>
                    <a:pt x="288" y="775"/>
                  </a:lnTo>
                  <a:lnTo>
                    <a:pt x="291" y="778"/>
                  </a:lnTo>
                  <a:lnTo>
                    <a:pt x="733" y="778"/>
                  </a:lnTo>
                  <a:lnTo>
                    <a:pt x="733" y="778"/>
                  </a:lnTo>
                  <a:lnTo>
                    <a:pt x="737" y="779"/>
                  </a:lnTo>
                  <a:lnTo>
                    <a:pt x="743" y="780"/>
                  </a:lnTo>
                  <a:lnTo>
                    <a:pt x="753" y="785"/>
                  </a:lnTo>
                  <a:lnTo>
                    <a:pt x="762" y="791"/>
                  </a:lnTo>
                  <a:lnTo>
                    <a:pt x="769" y="792"/>
                  </a:lnTo>
                  <a:lnTo>
                    <a:pt x="769" y="792"/>
                  </a:lnTo>
                  <a:lnTo>
                    <a:pt x="775" y="793"/>
                  </a:lnTo>
                  <a:lnTo>
                    <a:pt x="782" y="795"/>
                  </a:lnTo>
                  <a:lnTo>
                    <a:pt x="793" y="801"/>
                  </a:lnTo>
                  <a:lnTo>
                    <a:pt x="793" y="801"/>
                  </a:lnTo>
                  <a:lnTo>
                    <a:pt x="796" y="801"/>
                  </a:lnTo>
                  <a:lnTo>
                    <a:pt x="799" y="801"/>
                  </a:lnTo>
                  <a:lnTo>
                    <a:pt x="804" y="799"/>
                  </a:lnTo>
                  <a:lnTo>
                    <a:pt x="806" y="796"/>
                  </a:lnTo>
                  <a:lnTo>
                    <a:pt x="812" y="795"/>
                  </a:lnTo>
                  <a:lnTo>
                    <a:pt x="812" y="795"/>
                  </a:lnTo>
                  <a:lnTo>
                    <a:pt x="815" y="795"/>
                  </a:lnTo>
                  <a:lnTo>
                    <a:pt x="818" y="796"/>
                  </a:lnTo>
                  <a:lnTo>
                    <a:pt x="821" y="798"/>
                  </a:lnTo>
                  <a:lnTo>
                    <a:pt x="824" y="799"/>
                  </a:lnTo>
                  <a:lnTo>
                    <a:pt x="824" y="799"/>
                  </a:lnTo>
                  <a:lnTo>
                    <a:pt x="831" y="799"/>
                  </a:lnTo>
                  <a:lnTo>
                    <a:pt x="837" y="798"/>
                  </a:lnTo>
                  <a:lnTo>
                    <a:pt x="837" y="798"/>
                  </a:lnTo>
                  <a:lnTo>
                    <a:pt x="844" y="788"/>
                  </a:lnTo>
                  <a:lnTo>
                    <a:pt x="844" y="788"/>
                  </a:lnTo>
                  <a:lnTo>
                    <a:pt x="848" y="783"/>
                  </a:lnTo>
                  <a:lnTo>
                    <a:pt x="850" y="782"/>
                  </a:lnTo>
                  <a:lnTo>
                    <a:pt x="851" y="782"/>
                  </a:lnTo>
                  <a:lnTo>
                    <a:pt x="851" y="782"/>
                  </a:lnTo>
                  <a:lnTo>
                    <a:pt x="856" y="783"/>
                  </a:lnTo>
                  <a:lnTo>
                    <a:pt x="859" y="785"/>
                  </a:lnTo>
                  <a:lnTo>
                    <a:pt x="863" y="785"/>
                  </a:lnTo>
                  <a:lnTo>
                    <a:pt x="863" y="785"/>
                  </a:lnTo>
                  <a:lnTo>
                    <a:pt x="867" y="785"/>
                  </a:lnTo>
                  <a:lnTo>
                    <a:pt x="872" y="786"/>
                  </a:lnTo>
                  <a:lnTo>
                    <a:pt x="876" y="788"/>
                  </a:lnTo>
                  <a:lnTo>
                    <a:pt x="879" y="791"/>
                  </a:lnTo>
                  <a:lnTo>
                    <a:pt x="879" y="791"/>
                  </a:lnTo>
                  <a:lnTo>
                    <a:pt x="880" y="793"/>
                  </a:lnTo>
                  <a:lnTo>
                    <a:pt x="882" y="798"/>
                  </a:lnTo>
                  <a:lnTo>
                    <a:pt x="883" y="802"/>
                  </a:lnTo>
                  <a:lnTo>
                    <a:pt x="885" y="804"/>
                  </a:lnTo>
                  <a:lnTo>
                    <a:pt x="886" y="804"/>
                  </a:lnTo>
                  <a:lnTo>
                    <a:pt x="886" y="804"/>
                  </a:lnTo>
                  <a:lnTo>
                    <a:pt x="890" y="804"/>
                  </a:lnTo>
                  <a:lnTo>
                    <a:pt x="893" y="804"/>
                  </a:lnTo>
                  <a:lnTo>
                    <a:pt x="896" y="804"/>
                  </a:lnTo>
                  <a:lnTo>
                    <a:pt x="898" y="807"/>
                  </a:lnTo>
                  <a:lnTo>
                    <a:pt x="898" y="807"/>
                  </a:lnTo>
                  <a:lnTo>
                    <a:pt x="901" y="815"/>
                  </a:lnTo>
                  <a:lnTo>
                    <a:pt x="905" y="820"/>
                  </a:lnTo>
                  <a:lnTo>
                    <a:pt x="905" y="820"/>
                  </a:lnTo>
                  <a:lnTo>
                    <a:pt x="906" y="824"/>
                  </a:lnTo>
                  <a:lnTo>
                    <a:pt x="908" y="828"/>
                  </a:lnTo>
                  <a:lnTo>
                    <a:pt x="908" y="828"/>
                  </a:lnTo>
                  <a:lnTo>
                    <a:pt x="908" y="834"/>
                  </a:lnTo>
                  <a:lnTo>
                    <a:pt x="906" y="835"/>
                  </a:lnTo>
                  <a:lnTo>
                    <a:pt x="908" y="837"/>
                  </a:lnTo>
                  <a:lnTo>
                    <a:pt x="908" y="837"/>
                  </a:lnTo>
                  <a:lnTo>
                    <a:pt x="914" y="840"/>
                  </a:lnTo>
                  <a:lnTo>
                    <a:pt x="914" y="840"/>
                  </a:lnTo>
                  <a:lnTo>
                    <a:pt x="925" y="843"/>
                  </a:lnTo>
                  <a:lnTo>
                    <a:pt x="925" y="843"/>
                  </a:lnTo>
                  <a:lnTo>
                    <a:pt x="938" y="844"/>
                  </a:lnTo>
                  <a:lnTo>
                    <a:pt x="948" y="847"/>
                  </a:lnTo>
                  <a:lnTo>
                    <a:pt x="956" y="849"/>
                  </a:lnTo>
                  <a:lnTo>
                    <a:pt x="956" y="849"/>
                  </a:lnTo>
                  <a:lnTo>
                    <a:pt x="972" y="857"/>
                  </a:lnTo>
                  <a:lnTo>
                    <a:pt x="977" y="862"/>
                  </a:lnTo>
                  <a:lnTo>
                    <a:pt x="979" y="864"/>
                  </a:lnTo>
                  <a:lnTo>
                    <a:pt x="979" y="866"/>
                  </a:lnTo>
                  <a:lnTo>
                    <a:pt x="979" y="866"/>
                  </a:lnTo>
                  <a:lnTo>
                    <a:pt x="979" y="877"/>
                  </a:lnTo>
                  <a:lnTo>
                    <a:pt x="979" y="883"/>
                  </a:lnTo>
                  <a:lnTo>
                    <a:pt x="979" y="886"/>
                  </a:lnTo>
                  <a:lnTo>
                    <a:pt x="979" y="886"/>
                  </a:lnTo>
                  <a:lnTo>
                    <a:pt x="973" y="885"/>
                  </a:lnTo>
                  <a:lnTo>
                    <a:pt x="969" y="882"/>
                  </a:lnTo>
                  <a:lnTo>
                    <a:pt x="969" y="882"/>
                  </a:lnTo>
                  <a:lnTo>
                    <a:pt x="966" y="882"/>
                  </a:lnTo>
                  <a:lnTo>
                    <a:pt x="964" y="882"/>
                  </a:lnTo>
                  <a:lnTo>
                    <a:pt x="964" y="882"/>
                  </a:lnTo>
                  <a:lnTo>
                    <a:pt x="961" y="876"/>
                  </a:lnTo>
                  <a:lnTo>
                    <a:pt x="960" y="873"/>
                  </a:lnTo>
                  <a:lnTo>
                    <a:pt x="959" y="872"/>
                  </a:lnTo>
                  <a:lnTo>
                    <a:pt x="959" y="872"/>
                  </a:lnTo>
                  <a:lnTo>
                    <a:pt x="957" y="873"/>
                  </a:lnTo>
                  <a:lnTo>
                    <a:pt x="959" y="875"/>
                  </a:lnTo>
                  <a:lnTo>
                    <a:pt x="959" y="880"/>
                  </a:lnTo>
                  <a:lnTo>
                    <a:pt x="959" y="880"/>
                  </a:lnTo>
                  <a:lnTo>
                    <a:pt x="959" y="888"/>
                  </a:lnTo>
                  <a:lnTo>
                    <a:pt x="957" y="891"/>
                  </a:lnTo>
                  <a:lnTo>
                    <a:pt x="956" y="892"/>
                  </a:lnTo>
                  <a:lnTo>
                    <a:pt x="956" y="892"/>
                  </a:lnTo>
                  <a:lnTo>
                    <a:pt x="954" y="895"/>
                  </a:lnTo>
                  <a:lnTo>
                    <a:pt x="953" y="901"/>
                  </a:lnTo>
                  <a:lnTo>
                    <a:pt x="951" y="911"/>
                  </a:lnTo>
                  <a:lnTo>
                    <a:pt x="951" y="911"/>
                  </a:lnTo>
                  <a:lnTo>
                    <a:pt x="948" y="917"/>
                  </a:lnTo>
                  <a:lnTo>
                    <a:pt x="947" y="918"/>
                  </a:lnTo>
                  <a:lnTo>
                    <a:pt x="945" y="918"/>
                  </a:lnTo>
                  <a:lnTo>
                    <a:pt x="944" y="917"/>
                  </a:lnTo>
                  <a:lnTo>
                    <a:pt x="944" y="917"/>
                  </a:lnTo>
                  <a:lnTo>
                    <a:pt x="943" y="919"/>
                  </a:lnTo>
                  <a:lnTo>
                    <a:pt x="943" y="919"/>
                  </a:lnTo>
                  <a:lnTo>
                    <a:pt x="940" y="925"/>
                  </a:lnTo>
                  <a:lnTo>
                    <a:pt x="938" y="931"/>
                  </a:lnTo>
                  <a:lnTo>
                    <a:pt x="938" y="931"/>
                  </a:lnTo>
                  <a:lnTo>
                    <a:pt x="943" y="934"/>
                  </a:lnTo>
                  <a:lnTo>
                    <a:pt x="945" y="935"/>
                  </a:lnTo>
                  <a:lnTo>
                    <a:pt x="947" y="937"/>
                  </a:lnTo>
                  <a:lnTo>
                    <a:pt x="947" y="937"/>
                  </a:lnTo>
                  <a:lnTo>
                    <a:pt x="951" y="935"/>
                  </a:lnTo>
                  <a:lnTo>
                    <a:pt x="954" y="933"/>
                  </a:lnTo>
                  <a:lnTo>
                    <a:pt x="960" y="925"/>
                  </a:lnTo>
                  <a:lnTo>
                    <a:pt x="960" y="925"/>
                  </a:lnTo>
                  <a:lnTo>
                    <a:pt x="963" y="925"/>
                  </a:lnTo>
                  <a:lnTo>
                    <a:pt x="966" y="925"/>
                  </a:lnTo>
                  <a:lnTo>
                    <a:pt x="973" y="927"/>
                  </a:lnTo>
                  <a:lnTo>
                    <a:pt x="973" y="927"/>
                  </a:lnTo>
                  <a:lnTo>
                    <a:pt x="980" y="924"/>
                  </a:lnTo>
                  <a:lnTo>
                    <a:pt x="987" y="922"/>
                  </a:lnTo>
                  <a:lnTo>
                    <a:pt x="987" y="922"/>
                  </a:lnTo>
                  <a:lnTo>
                    <a:pt x="990" y="922"/>
                  </a:lnTo>
                  <a:lnTo>
                    <a:pt x="990" y="922"/>
                  </a:lnTo>
                  <a:lnTo>
                    <a:pt x="1011" y="912"/>
                  </a:lnTo>
                  <a:lnTo>
                    <a:pt x="1011" y="912"/>
                  </a:lnTo>
                  <a:lnTo>
                    <a:pt x="1002" y="914"/>
                  </a:lnTo>
                  <a:lnTo>
                    <a:pt x="1002" y="914"/>
                  </a:lnTo>
                  <a:lnTo>
                    <a:pt x="992" y="915"/>
                  </a:lnTo>
                  <a:lnTo>
                    <a:pt x="989" y="914"/>
                  </a:lnTo>
                  <a:lnTo>
                    <a:pt x="987" y="912"/>
                  </a:lnTo>
                  <a:lnTo>
                    <a:pt x="987" y="912"/>
                  </a:lnTo>
                  <a:lnTo>
                    <a:pt x="989" y="909"/>
                  </a:lnTo>
                  <a:lnTo>
                    <a:pt x="993" y="905"/>
                  </a:lnTo>
                  <a:lnTo>
                    <a:pt x="999" y="902"/>
                  </a:lnTo>
                  <a:lnTo>
                    <a:pt x="1002" y="899"/>
                  </a:lnTo>
                  <a:lnTo>
                    <a:pt x="1002" y="899"/>
                  </a:lnTo>
                  <a:lnTo>
                    <a:pt x="1014" y="899"/>
                  </a:lnTo>
                  <a:lnTo>
                    <a:pt x="1019" y="899"/>
                  </a:lnTo>
                  <a:lnTo>
                    <a:pt x="1025" y="899"/>
                  </a:lnTo>
                  <a:lnTo>
                    <a:pt x="1025" y="899"/>
                  </a:lnTo>
                  <a:lnTo>
                    <a:pt x="1032" y="895"/>
                  </a:lnTo>
                  <a:lnTo>
                    <a:pt x="1037" y="893"/>
                  </a:lnTo>
                  <a:lnTo>
                    <a:pt x="1040" y="893"/>
                  </a:lnTo>
                  <a:lnTo>
                    <a:pt x="1040" y="893"/>
                  </a:lnTo>
                  <a:lnTo>
                    <a:pt x="1040" y="893"/>
                  </a:lnTo>
                  <a:lnTo>
                    <a:pt x="1058" y="882"/>
                  </a:lnTo>
                  <a:lnTo>
                    <a:pt x="1067" y="876"/>
                  </a:lnTo>
                  <a:lnTo>
                    <a:pt x="1074" y="875"/>
                  </a:lnTo>
                  <a:lnTo>
                    <a:pt x="1074" y="875"/>
                  </a:lnTo>
                  <a:lnTo>
                    <a:pt x="1096" y="875"/>
                  </a:lnTo>
                  <a:lnTo>
                    <a:pt x="1116" y="873"/>
                  </a:lnTo>
                  <a:lnTo>
                    <a:pt x="1116" y="873"/>
                  </a:lnTo>
                  <a:lnTo>
                    <a:pt x="1121" y="869"/>
                  </a:lnTo>
                  <a:lnTo>
                    <a:pt x="1128" y="860"/>
                  </a:lnTo>
                  <a:lnTo>
                    <a:pt x="1135" y="851"/>
                  </a:lnTo>
                  <a:lnTo>
                    <a:pt x="1138" y="844"/>
                  </a:lnTo>
                  <a:lnTo>
                    <a:pt x="1138" y="844"/>
                  </a:lnTo>
                  <a:lnTo>
                    <a:pt x="1140" y="838"/>
                  </a:lnTo>
                  <a:lnTo>
                    <a:pt x="1144" y="831"/>
                  </a:lnTo>
                  <a:lnTo>
                    <a:pt x="1150" y="825"/>
                  </a:lnTo>
                  <a:lnTo>
                    <a:pt x="1154" y="822"/>
                  </a:lnTo>
                  <a:lnTo>
                    <a:pt x="1154" y="822"/>
                  </a:lnTo>
                  <a:lnTo>
                    <a:pt x="1158" y="821"/>
                  </a:lnTo>
                  <a:lnTo>
                    <a:pt x="1164" y="820"/>
                  </a:lnTo>
                  <a:lnTo>
                    <a:pt x="1177" y="822"/>
                  </a:lnTo>
                  <a:lnTo>
                    <a:pt x="1177" y="822"/>
                  </a:lnTo>
                  <a:lnTo>
                    <a:pt x="1179" y="822"/>
                  </a:lnTo>
                  <a:lnTo>
                    <a:pt x="1180" y="825"/>
                  </a:lnTo>
                  <a:lnTo>
                    <a:pt x="1180" y="834"/>
                  </a:lnTo>
                  <a:lnTo>
                    <a:pt x="1182" y="843"/>
                  </a:lnTo>
                  <a:lnTo>
                    <a:pt x="1182" y="846"/>
                  </a:lnTo>
                  <a:lnTo>
                    <a:pt x="1183" y="849"/>
                  </a:lnTo>
                  <a:lnTo>
                    <a:pt x="1183" y="849"/>
                  </a:lnTo>
                  <a:lnTo>
                    <a:pt x="1186" y="853"/>
                  </a:lnTo>
                  <a:lnTo>
                    <a:pt x="1186" y="857"/>
                  </a:lnTo>
                  <a:lnTo>
                    <a:pt x="1184" y="863"/>
                  </a:lnTo>
                  <a:lnTo>
                    <a:pt x="1184" y="863"/>
                  </a:lnTo>
                  <a:lnTo>
                    <a:pt x="1186" y="867"/>
                  </a:lnTo>
                  <a:lnTo>
                    <a:pt x="1192" y="872"/>
                  </a:lnTo>
                  <a:lnTo>
                    <a:pt x="1192" y="872"/>
                  </a:lnTo>
                  <a:lnTo>
                    <a:pt x="1193" y="872"/>
                  </a:lnTo>
                  <a:lnTo>
                    <a:pt x="1193" y="872"/>
                  </a:lnTo>
                  <a:lnTo>
                    <a:pt x="1200" y="872"/>
                  </a:lnTo>
                  <a:lnTo>
                    <a:pt x="1205" y="870"/>
                  </a:lnTo>
                  <a:lnTo>
                    <a:pt x="1213" y="866"/>
                  </a:lnTo>
                  <a:lnTo>
                    <a:pt x="1213" y="866"/>
                  </a:lnTo>
                  <a:lnTo>
                    <a:pt x="1221" y="863"/>
                  </a:lnTo>
                  <a:lnTo>
                    <a:pt x="1222" y="862"/>
                  </a:lnTo>
                  <a:lnTo>
                    <a:pt x="1222" y="863"/>
                  </a:lnTo>
                  <a:lnTo>
                    <a:pt x="1222" y="863"/>
                  </a:lnTo>
                  <a:lnTo>
                    <a:pt x="1222" y="866"/>
                  </a:lnTo>
                  <a:lnTo>
                    <a:pt x="1222" y="866"/>
                  </a:lnTo>
                  <a:lnTo>
                    <a:pt x="1225" y="866"/>
                  </a:lnTo>
                  <a:lnTo>
                    <a:pt x="1225" y="866"/>
                  </a:lnTo>
                  <a:lnTo>
                    <a:pt x="1237" y="864"/>
                  </a:lnTo>
                  <a:lnTo>
                    <a:pt x="1241" y="864"/>
                  </a:lnTo>
                  <a:lnTo>
                    <a:pt x="1242" y="864"/>
                  </a:lnTo>
                  <a:lnTo>
                    <a:pt x="1242" y="864"/>
                  </a:lnTo>
                  <a:lnTo>
                    <a:pt x="1238" y="869"/>
                  </a:lnTo>
                  <a:lnTo>
                    <a:pt x="1237" y="872"/>
                  </a:lnTo>
                  <a:lnTo>
                    <a:pt x="1234" y="872"/>
                  </a:lnTo>
                  <a:lnTo>
                    <a:pt x="1234" y="872"/>
                  </a:lnTo>
                  <a:lnTo>
                    <a:pt x="1229" y="872"/>
                  </a:lnTo>
                  <a:lnTo>
                    <a:pt x="1228" y="872"/>
                  </a:lnTo>
                  <a:lnTo>
                    <a:pt x="1224" y="875"/>
                  </a:lnTo>
                  <a:lnTo>
                    <a:pt x="1224" y="875"/>
                  </a:lnTo>
                  <a:lnTo>
                    <a:pt x="1212" y="882"/>
                  </a:lnTo>
                  <a:lnTo>
                    <a:pt x="1208" y="885"/>
                  </a:lnTo>
                  <a:lnTo>
                    <a:pt x="1205" y="888"/>
                  </a:lnTo>
                  <a:lnTo>
                    <a:pt x="1205" y="888"/>
                  </a:lnTo>
                  <a:lnTo>
                    <a:pt x="1205" y="892"/>
                  </a:lnTo>
                  <a:lnTo>
                    <a:pt x="1206" y="899"/>
                  </a:lnTo>
                  <a:lnTo>
                    <a:pt x="1209" y="904"/>
                  </a:lnTo>
                  <a:lnTo>
                    <a:pt x="1211" y="905"/>
                  </a:lnTo>
                  <a:lnTo>
                    <a:pt x="1212" y="906"/>
                  </a:lnTo>
                  <a:lnTo>
                    <a:pt x="1212" y="906"/>
                  </a:lnTo>
                  <a:lnTo>
                    <a:pt x="1216" y="905"/>
                  </a:lnTo>
                  <a:lnTo>
                    <a:pt x="1222" y="901"/>
                  </a:lnTo>
                  <a:lnTo>
                    <a:pt x="1226" y="898"/>
                  </a:lnTo>
                  <a:lnTo>
                    <a:pt x="1228" y="895"/>
                  </a:lnTo>
                  <a:lnTo>
                    <a:pt x="1228" y="895"/>
                  </a:lnTo>
                  <a:lnTo>
                    <a:pt x="1231" y="886"/>
                  </a:lnTo>
                  <a:lnTo>
                    <a:pt x="1235" y="883"/>
                  </a:lnTo>
                  <a:lnTo>
                    <a:pt x="1237" y="882"/>
                  </a:lnTo>
                  <a:lnTo>
                    <a:pt x="1240" y="882"/>
                  </a:lnTo>
                  <a:lnTo>
                    <a:pt x="1240" y="882"/>
                  </a:lnTo>
                  <a:lnTo>
                    <a:pt x="1248" y="885"/>
                  </a:lnTo>
                  <a:lnTo>
                    <a:pt x="1251" y="885"/>
                  </a:lnTo>
                  <a:lnTo>
                    <a:pt x="1255" y="883"/>
                  </a:lnTo>
                  <a:lnTo>
                    <a:pt x="1255" y="883"/>
                  </a:lnTo>
                  <a:lnTo>
                    <a:pt x="1261" y="880"/>
                  </a:lnTo>
                  <a:lnTo>
                    <a:pt x="1267" y="876"/>
                  </a:lnTo>
                  <a:lnTo>
                    <a:pt x="1274" y="872"/>
                  </a:lnTo>
                  <a:lnTo>
                    <a:pt x="1279" y="870"/>
                  </a:lnTo>
                  <a:lnTo>
                    <a:pt x="1279" y="870"/>
                  </a:lnTo>
                  <a:lnTo>
                    <a:pt x="1284" y="867"/>
                  </a:lnTo>
                  <a:lnTo>
                    <a:pt x="1286" y="867"/>
                  </a:lnTo>
                  <a:lnTo>
                    <a:pt x="1286" y="864"/>
                  </a:lnTo>
                  <a:lnTo>
                    <a:pt x="1286" y="864"/>
                  </a:lnTo>
                  <a:lnTo>
                    <a:pt x="1283" y="862"/>
                  </a:lnTo>
                  <a:lnTo>
                    <a:pt x="1282" y="860"/>
                  </a:lnTo>
                  <a:lnTo>
                    <a:pt x="1277" y="859"/>
                  </a:lnTo>
                  <a:lnTo>
                    <a:pt x="1277" y="859"/>
                  </a:lnTo>
                  <a:lnTo>
                    <a:pt x="1273" y="857"/>
                  </a:lnTo>
                  <a:lnTo>
                    <a:pt x="1271" y="856"/>
                  </a:lnTo>
                  <a:lnTo>
                    <a:pt x="1270" y="854"/>
                  </a:lnTo>
                  <a:lnTo>
                    <a:pt x="1268" y="854"/>
                  </a:lnTo>
                  <a:lnTo>
                    <a:pt x="1268" y="854"/>
                  </a:lnTo>
                  <a:lnTo>
                    <a:pt x="1264" y="856"/>
                  </a:lnTo>
                  <a:lnTo>
                    <a:pt x="1257" y="856"/>
                  </a:lnTo>
                  <a:lnTo>
                    <a:pt x="1257" y="856"/>
                  </a:lnTo>
                  <a:lnTo>
                    <a:pt x="1248" y="853"/>
                  </a:lnTo>
                  <a:lnTo>
                    <a:pt x="1245" y="851"/>
                  </a:lnTo>
                  <a:lnTo>
                    <a:pt x="1244" y="849"/>
                  </a:lnTo>
                  <a:lnTo>
                    <a:pt x="1244" y="849"/>
                  </a:lnTo>
                  <a:lnTo>
                    <a:pt x="1241" y="847"/>
                  </a:lnTo>
                  <a:lnTo>
                    <a:pt x="1238" y="847"/>
                  </a:lnTo>
                  <a:lnTo>
                    <a:pt x="1232" y="847"/>
                  </a:lnTo>
                  <a:lnTo>
                    <a:pt x="1229" y="847"/>
                  </a:lnTo>
                  <a:lnTo>
                    <a:pt x="1229" y="847"/>
                  </a:lnTo>
                  <a:lnTo>
                    <a:pt x="1228" y="846"/>
                  </a:lnTo>
                  <a:lnTo>
                    <a:pt x="1226" y="843"/>
                  </a:lnTo>
                  <a:lnTo>
                    <a:pt x="1226" y="840"/>
                  </a:lnTo>
                  <a:lnTo>
                    <a:pt x="1225" y="837"/>
                  </a:lnTo>
                  <a:lnTo>
                    <a:pt x="1225" y="837"/>
                  </a:lnTo>
                  <a:lnTo>
                    <a:pt x="1219" y="831"/>
                  </a:lnTo>
                  <a:lnTo>
                    <a:pt x="1218" y="828"/>
                  </a:lnTo>
                  <a:lnTo>
                    <a:pt x="1219" y="827"/>
                  </a:lnTo>
                  <a:lnTo>
                    <a:pt x="1219" y="827"/>
                  </a:lnTo>
                  <a:lnTo>
                    <a:pt x="1221" y="824"/>
                  </a:lnTo>
                  <a:lnTo>
                    <a:pt x="1224" y="820"/>
                  </a:lnTo>
                  <a:lnTo>
                    <a:pt x="1224" y="815"/>
                  </a:lnTo>
                  <a:lnTo>
                    <a:pt x="1224" y="812"/>
                  </a:lnTo>
                  <a:lnTo>
                    <a:pt x="1222" y="812"/>
                  </a:lnTo>
                  <a:lnTo>
                    <a:pt x="1222" y="812"/>
                  </a:lnTo>
                  <a:lnTo>
                    <a:pt x="1216" y="812"/>
                  </a:lnTo>
                  <a:lnTo>
                    <a:pt x="1213" y="812"/>
                  </a:lnTo>
                  <a:lnTo>
                    <a:pt x="1211" y="809"/>
                  </a:lnTo>
                  <a:lnTo>
                    <a:pt x="1211" y="809"/>
                  </a:lnTo>
                  <a:lnTo>
                    <a:pt x="1208" y="808"/>
                  </a:lnTo>
                  <a:lnTo>
                    <a:pt x="1203" y="807"/>
                  </a:lnTo>
                  <a:lnTo>
                    <a:pt x="1200" y="805"/>
                  </a:lnTo>
                  <a:lnTo>
                    <a:pt x="1200" y="804"/>
                  </a:lnTo>
                  <a:lnTo>
                    <a:pt x="1200" y="804"/>
                  </a:lnTo>
                  <a:lnTo>
                    <a:pt x="1200" y="804"/>
                  </a:lnTo>
                  <a:lnTo>
                    <a:pt x="1202" y="802"/>
                  </a:lnTo>
                  <a:lnTo>
                    <a:pt x="1205" y="802"/>
                  </a:lnTo>
                  <a:lnTo>
                    <a:pt x="1212" y="804"/>
                  </a:lnTo>
                  <a:lnTo>
                    <a:pt x="1212" y="804"/>
                  </a:lnTo>
                  <a:lnTo>
                    <a:pt x="1219" y="804"/>
                  </a:lnTo>
                  <a:lnTo>
                    <a:pt x="1224" y="802"/>
                  </a:lnTo>
                  <a:lnTo>
                    <a:pt x="1228" y="799"/>
                  </a:lnTo>
                  <a:lnTo>
                    <a:pt x="1231" y="795"/>
                  </a:lnTo>
                  <a:lnTo>
                    <a:pt x="1231" y="795"/>
                  </a:lnTo>
                  <a:lnTo>
                    <a:pt x="1232" y="791"/>
                  </a:lnTo>
                  <a:lnTo>
                    <a:pt x="1232" y="786"/>
                  </a:lnTo>
                  <a:lnTo>
                    <a:pt x="1232" y="786"/>
                  </a:lnTo>
                  <a:lnTo>
                    <a:pt x="1232" y="780"/>
                  </a:lnTo>
                  <a:lnTo>
                    <a:pt x="1231" y="779"/>
                  </a:lnTo>
                  <a:lnTo>
                    <a:pt x="1226" y="776"/>
                  </a:lnTo>
                  <a:lnTo>
                    <a:pt x="1226" y="776"/>
                  </a:lnTo>
                  <a:lnTo>
                    <a:pt x="1221" y="775"/>
                  </a:lnTo>
                  <a:lnTo>
                    <a:pt x="1215" y="773"/>
                  </a:lnTo>
                  <a:lnTo>
                    <a:pt x="1211" y="773"/>
                  </a:lnTo>
                  <a:lnTo>
                    <a:pt x="1206" y="773"/>
                  </a:lnTo>
                  <a:lnTo>
                    <a:pt x="1206" y="773"/>
                  </a:lnTo>
                  <a:lnTo>
                    <a:pt x="1192" y="779"/>
                  </a:lnTo>
                  <a:lnTo>
                    <a:pt x="1176" y="788"/>
                  </a:lnTo>
                  <a:lnTo>
                    <a:pt x="1176" y="788"/>
                  </a:lnTo>
                  <a:lnTo>
                    <a:pt x="1166" y="792"/>
                  </a:lnTo>
                  <a:lnTo>
                    <a:pt x="1163" y="795"/>
                  </a:lnTo>
                  <a:lnTo>
                    <a:pt x="1157" y="798"/>
                  </a:lnTo>
                  <a:lnTo>
                    <a:pt x="1157" y="798"/>
                  </a:lnTo>
                  <a:lnTo>
                    <a:pt x="1151" y="805"/>
                  </a:lnTo>
                  <a:lnTo>
                    <a:pt x="1144" y="815"/>
                  </a:lnTo>
                  <a:lnTo>
                    <a:pt x="1137" y="824"/>
                  </a:lnTo>
                  <a:lnTo>
                    <a:pt x="1134" y="827"/>
                  </a:lnTo>
                  <a:lnTo>
                    <a:pt x="1131" y="828"/>
                  </a:lnTo>
                  <a:lnTo>
                    <a:pt x="1131" y="828"/>
                  </a:lnTo>
                  <a:lnTo>
                    <a:pt x="1129" y="828"/>
                  </a:lnTo>
                  <a:lnTo>
                    <a:pt x="1129" y="827"/>
                  </a:lnTo>
                  <a:lnTo>
                    <a:pt x="1131" y="825"/>
                  </a:lnTo>
                  <a:lnTo>
                    <a:pt x="1137" y="817"/>
                  </a:lnTo>
                  <a:lnTo>
                    <a:pt x="1137" y="817"/>
                  </a:lnTo>
                  <a:lnTo>
                    <a:pt x="1145" y="802"/>
                  </a:lnTo>
                  <a:lnTo>
                    <a:pt x="1154" y="789"/>
                  </a:lnTo>
                  <a:lnTo>
                    <a:pt x="1154" y="789"/>
                  </a:lnTo>
                  <a:lnTo>
                    <a:pt x="1163" y="780"/>
                  </a:lnTo>
                  <a:lnTo>
                    <a:pt x="1167" y="776"/>
                  </a:lnTo>
                  <a:lnTo>
                    <a:pt x="1171" y="775"/>
                  </a:lnTo>
                  <a:lnTo>
                    <a:pt x="1171" y="775"/>
                  </a:lnTo>
                  <a:lnTo>
                    <a:pt x="1179" y="770"/>
                  </a:lnTo>
                  <a:lnTo>
                    <a:pt x="1184" y="767"/>
                  </a:lnTo>
                  <a:lnTo>
                    <a:pt x="1184" y="767"/>
                  </a:lnTo>
                  <a:lnTo>
                    <a:pt x="1192" y="756"/>
                  </a:lnTo>
                  <a:lnTo>
                    <a:pt x="1198" y="749"/>
                  </a:lnTo>
                  <a:lnTo>
                    <a:pt x="1202" y="746"/>
                  </a:lnTo>
                  <a:lnTo>
                    <a:pt x="1202" y="746"/>
                  </a:lnTo>
                  <a:lnTo>
                    <a:pt x="1211" y="746"/>
                  </a:lnTo>
                  <a:lnTo>
                    <a:pt x="1222" y="746"/>
                  </a:lnTo>
                  <a:lnTo>
                    <a:pt x="1247" y="747"/>
                  </a:lnTo>
                  <a:lnTo>
                    <a:pt x="1247" y="747"/>
                  </a:lnTo>
                  <a:lnTo>
                    <a:pt x="1279" y="746"/>
                  </a:lnTo>
                  <a:lnTo>
                    <a:pt x="1297" y="746"/>
                  </a:lnTo>
                  <a:lnTo>
                    <a:pt x="1308" y="743"/>
                  </a:lnTo>
                  <a:lnTo>
                    <a:pt x="1308" y="743"/>
                  </a:lnTo>
                  <a:lnTo>
                    <a:pt x="1312" y="740"/>
                  </a:lnTo>
                  <a:lnTo>
                    <a:pt x="1315" y="736"/>
                  </a:lnTo>
                  <a:lnTo>
                    <a:pt x="1319" y="728"/>
                  </a:lnTo>
                  <a:lnTo>
                    <a:pt x="1319" y="728"/>
                  </a:lnTo>
                  <a:lnTo>
                    <a:pt x="1322" y="725"/>
                  </a:lnTo>
                  <a:lnTo>
                    <a:pt x="1325" y="723"/>
                  </a:lnTo>
                  <a:lnTo>
                    <a:pt x="1328" y="720"/>
                  </a:lnTo>
                  <a:lnTo>
                    <a:pt x="1331" y="720"/>
                  </a:lnTo>
                  <a:lnTo>
                    <a:pt x="1331" y="720"/>
                  </a:lnTo>
                  <a:lnTo>
                    <a:pt x="1338" y="718"/>
                  </a:lnTo>
                  <a:lnTo>
                    <a:pt x="1347" y="715"/>
                  </a:lnTo>
                  <a:lnTo>
                    <a:pt x="1347" y="715"/>
                  </a:lnTo>
                  <a:lnTo>
                    <a:pt x="1357" y="712"/>
                  </a:lnTo>
                  <a:lnTo>
                    <a:pt x="1363" y="709"/>
                  </a:lnTo>
                  <a:lnTo>
                    <a:pt x="1366" y="705"/>
                  </a:lnTo>
                  <a:lnTo>
                    <a:pt x="1366" y="705"/>
                  </a:lnTo>
                  <a:lnTo>
                    <a:pt x="1367" y="699"/>
                  </a:lnTo>
                  <a:lnTo>
                    <a:pt x="1367" y="698"/>
                  </a:lnTo>
                  <a:lnTo>
                    <a:pt x="1366" y="696"/>
                  </a:lnTo>
                  <a:close/>
                  <a:moveTo>
                    <a:pt x="266" y="216"/>
                  </a:moveTo>
                  <a:lnTo>
                    <a:pt x="266" y="216"/>
                  </a:lnTo>
                  <a:lnTo>
                    <a:pt x="265" y="218"/>
                  </a:lnTo>
                  <a:lnTo>
                    <a:pt x="262" y="220"/>
                  </a:lnTo>
                  <a:lnTo>
                    <a:pt x="259" y="221"/>
                  </a:lnTo>
                  <a:lnTo>
                    <a:pt x="259" y="221"/>
                  </a:lnTo>
                  <a:lnTo>
                    <a:pt x="253" y="218"/>
                  </a:lnTo>
                  <a:lnTo>
                    <a:pt x="252" y="217"/>
                  </a:lnTo>
                  <a:lnTo>
                    <a:pt x="253" y="214"/>
                  </a:lnTo>
                  <a:lnTo>
                    <a:pt x="253" y="214"/>
                  </a:lnTo>
                  <a:lnTo>
                    <a:pt x="259" y="210"/>
                  </a:lnTo>
                  <a:lnTo>
                    <a:pt x="262" y="208"/>
                  </a:lnTo>
                  <a:lnTo>
                    <a:pt x="263" y="208"/>
                  </a:lnTo>
                  <a:lnTo>
                    <a:pt x="263" y="208"/>
                  </a:lnTo>
                  <a:lnTo>
                    <a:pt x="265" y="213"/>
                  </a:lnTo>
                  <a:lnTo>
                    <a:pt x="266" y="214"/>
                  </a:lnTo>
                  <a:lnTo>
                    <a:pt x="266" y="216"/>
                  </a:lnTo>
                  <a:close/>
                  <a:moveTo>
                    <a:pt x="281" y="211"/>
                  </a:moveTo>
                  <a:lnTo>
                    <a:pt x="281" y="211"/>
                  </a:lnTo>
                  <a:lnTo>
                    <a:pt x="282" y="204"/>
                  </a:lnTo>
                  <a:lnTo>
                    <a:pt x="284" y="204"/>
                  </a:lnTo>
                  <a:lnTo>
                    <a:pt x="287" y="205"/>
                  </a:lnTo>
                  <a:lnTo>
                    <a:pt x="287" y="205"/>
                  </a:lnTo>
                  <a:lnTo>
                    <a:pt x="289" y="208"/>
                  </a:lnTo>
                  <a:lnTo>
                    <a:pt x="291" y="213"/>
                  </a:lnTo>
                  <a:lnTo>
                    <a:pt x="292" y="217"/>
                  </a:lnTo>
                  <a:lnTo>
                    <a:pt x="292" y="220"/>
                  </a:lnTo>
                  <a:lnTo>
                    <a:pt x="292" y="220"/>
                  </a:lnTo>
                  <a:lnTo>
                    <a:pt x="291" y="224"/>
                  </a:lnTo>
                  <a:lnTo>
                    <a:pt x="291" y="226"/>
                  </a:lnTo>
                  <a:lnTo>
                    <a:pt x="288" y="227"/>
                  </a:lnTo>
                  <a:lnTo>
                    <a:pt x="288" y="227"/>
                  </a:lnTo>
                  <a:lnTo>
                    <a:pt x="285" y="226"/>
                  </a:lnTo>
                  <a:lnTo>
                    <a:pt x="282" y="221"/>
                  </a:lnTo>
                  <a:lnTo>
                    <a:pt x="281" y="216"/>
                  </a:lnTo>
                  <a:lnTo>
                    <a:pt x="281" y="211"/>
                  </a:lnTo>
                  <a:close/>
                  <a:moveTo>
                    <a:pt x="294" y="466"/>
                  </a:moveTo>
                  <a:lnTo>
                    <a:pt x="294" y="466"/>
                  </a:lnTo>
                  <a:lnTo>
                    <a:pt x="289" y="468"/>
                  </a:lnTo>
                  <a:lnTo>
                    <a:pt x="285" y="468"/>
                  </a:lnTo>
                  <a:lnTo>
                    <a:pt x="282" y="466"/>
                  </a:lnTo>
                  <a:lnTo>
                    <a:pt x="284" y="465"/>
                  </a:lnTo>
                  <a:lnTo>
                    <a:pt x="284" y="463"/>
                  </a:lnTo>
                  <a:lnTo>
                    <a:pt x="284" y="463"/>
                  </a:lnTo>
                  <a:lnTo>
                    <a:pt x="294" y="459"/>
                  </a:lnTo>
                  <a:lnTo>
                    <a:pt x="297" y="457"/>
                  </a:lnTo>
                  <a:lnTo>
                    <a:pt x="300" y="457"/>
                  </a:lnTo>
                  <a:lnTo>
                    <a:pt x="300" y="457"/>
                  </a:lnTo>
                  <a:lnTo>
                    <a:pt x="301" y="459"/>
                  </a:lnTo>
                  <a:lnTo>
                    <a:pt x="298" y="462"/>
                  </a:lnTo>
                  <a:lnTo>
                    <a:pt x="294" y="466"/>
                  </a:lnTo>
                  <a:close/>
                  <a:moveTo>
                    <a:pt x="353" y="384"/>
                  </a:moveTo>
                  <a:lnTo>
                    <a:pt x="353" y="384"/>
                  </a:lnTo>
                  <a:lnTo>
                    <a:pt x="349" y="385"/>
                  </a:lnTo>
                  <a:lnTo>
                    <a:pt x="344" y="385"/>
                  </a:lnTo>
                  <a:lnTo>
                    <a:pt x="336" y="384"/>
                  </a:lnTo>
                  <a:lnTo>
                    <a:pt x="327" y="381"/>
                  </a:lnTo>
                  <a:lnTo>
                    <a:pt x="326" y="379"/>
                  </a:lnTo>
                  <a:lnTo>
                    <a:pt x="326" y="376"/>
                  </a:lnTo>
                  <a:lnTo>
                    <a:pt x="326" y="376"/>
                  </a:lnTo>
                  <a:lnTo>
                    <a:pt x="327" y="373"/>
                  </a:lnTo>
                  <a:lnTo>
                    <a:pt x="330" y="371"/>
                  </a:lnTo>
                  <a:lnTo>
                    <a:pt x="333" y="371"/>
                  </a:lnTo>
                  <a:lnTo>
                    <a:pt x="337" y="372"/>
                  </a:lnTo>
                  <a:lnTo>
                    <a:pt x="337" y="372"/>
                  </a:lnTo>
                  <a:lnTo>
                    <a:pt x="343" y="375"/>
                  </a:lnTo>
                  <a:lnTo>
                    <a:pt x="349" y="375"/>
                  </a:lnTo>
                  <a:lnTo>
                    <a:pt x="349" y="375"/>
                  </a:lnTo>
                  <a:lnTo>
                    <a:pt x="355" y="373"/>
                  </a:lnTo>
                  <a:lnTo>
                    <a:pt x="357" y="373"/>
                  </a:lnTo>
                  <a:lnTo>
                    <a:pt x="359" y="375"/>
                  </a:lnTo>
                  <a:lnTo>
                    <a:pt x="359" y="375"/>
                  </a:lnTo>
                  <a:lnTo>
                    <a:pt x="359" y="378"/>
                  </a:lnTo>
                  <a:lnTo>
                    <a:pt x="357" y="379"/>
                  </a:lnTo>
                  <a:lnTo>
                    <a:pt x="353" y="384"/>
                  </a:lnTo>
                  <a:close/>
                  <a:moveTo>
                    <a:pt x="372" y="250"/>
                  </a:moveTo>
                  <a:lnTo>
                    <a:pt x="372" y="250"/>
                  </a:lnTo>
                  <a:lnTo>
                    <a:pt x="369" y="259"/>
                  </a:lnTo>
                  <a:lnTo>
                    <a:pt x="366" y="266"/>
                  </a:lnTo>
                  <a:lnTo>
                    <a:pt x="366" y="266"/>
                  </a:lnTo>
                  <a:lnTo>
                    <a:pt x="365" y="269"/>
                  </a:lnTo>
                  <a:lnTo>
                    <a:pt x="363" y="271"/>
                  </a:lnTo>
                  <a:lnTo>
                    <a:pt x="366" y="272"/>
                  </a:lnTo>
                  <a:lnTo>
                    <a:pt x="366" y="272"/>
                  </a:lnTo>
                  <a:lnTo>
                    <a:pt x="369" y="275"/>
                  </a:lnTo>
                  <a:lnTo>
                    <a:pt x="371" y="279"/>
                  </a:lnTo>
                  <a:lnTo>
                    <a:pt x="371" y="279"/>
                  </a:lnTo>
                  <a:lnTo>
                    <a:pt x="372" y="288"/>
                  </a:lnTo>
                  <a:lnTo>
                    <a:pt x="372" y="289"/>
                  </a:lnTo>
                  <a:lnTo>
                    <a:pt x="372" y="289"/>
                  </a:lnTo>
                  <a:lnTo>
                    <a:pt x="372" y="289"/>
                  </a:lnTo>
                  <a:lnTo>
                    <a:pt x="369" y="284"/>
                  </a:lnTo>
                  <a:lnTo>
                    <a:pt x="366" y="281"/>
                  </a:lnTo>
                  <a:lnTo>
                    <a:pt x="365" y="281"/>
                  </a:lnTo>
                  <a:lnTo>
                    <a:pt x="365" y="281"/>
                  </a:lnTo>
                  <a:lnTo>
                    <a:pt x="357" y="281"/>
                  </a:lnTo>
                  <a:lnTo>
                    <a:pt x="355" y="281"/>
                  </a:lnTo>
                  <a:lnTo>
                    <a:pt x="353" y="279"/>
                  </a:lnTo>
                  <a:lnTo>
                    <a:pt x="353" y="279"/>
                  </a:lnTo>
                  <a:lnTo>
                    <a:pt x="352" y="276"/>
                  </a:lnTo>
                  <a:lnTo>
                    <a:pt x="349" y="276"/>
                  </a:lnTo>
                  <a:lnTo>
                    <a:pt x="346" y="275"/>
                  </a:lnTo>
                  <a:lnTo>
                    <a:pt x="343" y="276"/>
                  </a:lnTo>
                  <a:lnTo>
                    <a:pt x="343" y="276"/>
                  </a:lnTo>
                  <a:lnTo>
                    <a:pt x="339" y="281"/>
                  </a:lnTo>
                  <a:lnTo>
                    <a:pt x="339" y="284"/>
                  </a:lnTo>
                  <a:lnTo>
                    <a:pt x="340" y="285"/>
                  </a:lnTo>
                  <a:lnTo>
                    <a:pt x="340" y="285"/>
                  </a:lnTo>
                  <a:lnTo>
                    <a:pt x="343" y="289"/>
                  </a:lnTo>
                  <a:lnTo>
                    <a:pt x="344" y="292"/>
                  </a:lnTo>
                  <a:lnTo>
                    <a:pt x="343" y="294"/>
                  </a:lnTo>
                  <a:lnTo>
                    <a:pt x="343" y="294"/>
                  </a:lnTo>
                  <a:lnTo>
                    <a:pt x="339" y="298"/>
                  </a:lnTo>
                  <a:lnTo>
                    <a:pt x="331" y="300"/>
                  </a:lnTo>
                  <a:lnTo>
                    <a:pt x="331" y="300"/>
                  </a:lnTo>
                  <a:lnTo>
                    <a:pt x="326" y="302"/>
                  </a:lnTo>
                  <a:lnTo>
                    <a:pt x="320" y="305"/>
                  </a:lnTo>
                  <a:lnTo>
                    <a:pt x="314" y="308"/>
                  </a:lnTo>
                  <a:lnTo>
                    <a:pt x="313" y="308"/>
                  </a:lnTo>
                  <a:lnTo>
                    <a:pt x="313" y="307"/>
                  </a:lnTo>
                  <a:lnTo>
                    <a:pt x="313" y="307"/>
                  </a:lnTo>
                  <a:lnTo>
                    <a:pt x="313" y="305"/>
                  </a:lnTo>
                  <a:lnTo>
                    <a:pt x="315" y="302"/>
                  </a:lnTo>
                  <a:lnTo>
                    <a:pt x="321" y="298"/>
                  </a:lnTo>
                  <a:lnTo>
                    <a:pt x="321" y="298"/>
                  </a:lnTo>
                  <a:lnTo>
                    <a:pt x="327" y="294"/>
                  </a:lnTo>
                  <a:lnTo>
                    <a:pt x="330" y="291"/>
                  </a:lnTo>
                  <a:lnTo>
                    <a:pt x="331" y="288"/>
                  </a:lnTo>
                  <a:lnTo>
                    <a:pt x="331" y="288"/>
                  </a:lnTo>
                  <a:lnTo>
                    <a:pt x="331" y="287"/>
                  </a:lnTo>
                  <a:lnTo>
                    <a:pt x="330" y="285"/>
                  </a:lnTo>
                  <a:lnTo>
                    <a:pt x="327" y="285"/>
                  </a:lnTo>
                  <a:lnTo>
                    <a:pt x="324" y="287"/>
                  </a:lnTo>
                  <a:lnTo>
                    <a:pt x="324" y="287"/>
                  </a:lnTo>
                  <a:lnTo>
                    <a:pt x="317" y="289"/>
                  </a:lnTo>
                  <a:lnTo>
                    <a:pt x="311" y="291"/>
                  </a:lnTo>
                  <a:lnTo>
                    <a:pt x="311" y="291"/>
                  </a:lnTo>
                  <a:lnTo>
                    <a:pt x="310" y="292"/>
                  </a:lnTo>
                  <a:lnTo>
                    <a:pt x="307" y="295"/>
                  </a:lnTo>
                  <a:lnTo>
                    <a:pt x="302" y="301"/>
                  </a:lnTo>
                  <a:lnTo>
                    <a:pt x="302" y="301"/>
                  </a:lnTo>
                  <a:lnTo>
                    <a:pt x="300" y="302"/>
                  </a:lnTo>
                  <a:lnTo>
                    <a:pt x="297" y="302"/>
                  </a:lnTo>
                  <a:lnTo>
                    <a:pt x="289" y="298"/>
                  </a:lnTo>
                  <a:lnTo>
                    <a:pt x="289" y="298"/>
                  </a:lnTo>
                  <a:lnTo>
                    <a:pt x="285" y="295"/>
                  </a:lnTo>
                  <a:lnTo>
                    <a:pt x="285" y="294"/>
                  </a:lnTo>
                  <a:lnTo>
                    <a:pt x="287" y="292"/>
                  </a:lnTo>
                  <a:lnTo>
                    <a:pt x="287" y="292"/>
                  </a:lnTo>
                  <a:lnTo>
                    <a:pt x="289" y="288"/>
                  </a:lnTo>
                  <a:lnTo>
                    <a:pt x="289" y="287"/>
                  </a:lnTo>
                  <a:lnTo>
                    <a:pt x="288" y="284"/>
                  </a:lnTo>
                  <a:lnTo>
                    <a:pt x="288" y="284"/>
                  </a:lnTo>
                  <a:lnTo>
                    <a:pt x="288" y="282"/>
                  </a:lnTo>
                  <a:lnTo>
                    <a:pt x="288" y="282"/>
                  </a:lnTo>
                  <a:lnTo>
                    <a:pt x="294" y="281"/>
                  </a:lnTo>
                  <a:lnTo>
                    <a:pt x="294" y="281"/>
                  </a:lnTo>
                  <a:lnTo>
                    <a:pt x="297" y="279"/>
                  </a:lnTo>
                  <a:lnTo>
                    <a:pt x="300" y="278"/>
                  </a:lnTo>
                  <a:lnTo>
                    <a:pt x="300" y="275"/>
                  </a:lnTo>
                  <a:lnTo>
                    <a:pt x="300" y="273"/>
                  </a:lnTo>
                  <a:lnTo>
                    <a:pt x="300" y="273"/>
                  </a:lnTo>
                  <a:lnTo>
                    <a:pt x="297" y="269"/>
                  </a:lnTo>
                  <a:lnTo>
                    <a:pt x="297" y="268"/>
                  </a:lnTo>
                  <a:lnTo>
                    <a:pt x="300" y="269"/>
                  </a:lnTo>
                  <a:lnTo>
                    <a:pt x="300" y="269"/>
                  </a:lnTo>
                  <a:lnTo>
                    <a:pt x="308" y="272"/>
                  </a:lnTo>
                  <a:lnTo>
                    <a:pt x="311" y="272"/>
                  </a:lnTo>
                  <a:lnTo>
                    <a:pt x="314" y="269"/>
                  </a:lnTo>
                  <a:lnTo>
                    <a:pt x="314" y="269"/>
                  </a:lnTo>
                  <a:lnTo>
                    <a:pt x="317" y="263"/>
                  </a:lnTo>
                  <a:lnTo>
                    <a:pt x="317" y="260"/>
                  </a:lnTo>
                  <a:lnTo>
                    <a:pt x="317" y="259"/>
                  </a:lnTo>
                  <a:lnTo>
                    <a:pt x="317" y="259"/>
                  </a:lnTo>
                  <a:lnTo>
                    <a:pt x="311" y="262"/>
                  </a:lnTo>
                  <a:lnTo>
                    <a:pt x="310" y="262"/>
                  </a:lnTo>
                  <a:lnTo>
                    <a:pt x="308" y="262"/>
                  </a:lnTo>
                  <a:lnTo>
                    <a:pt x="308" y="262"/>
                  </a:lnTo>
                  <a:lnTo>
                    <a:pt x="307" y="258"/>
                  </a:lnTo>
                  <a:lnTo>
                    <a:pt x="305" y="256"/>
                  </a:lnTo>
                  <a:lnTo>
                    <a:pt x="301" y="256"/>
                  </a:lnTo>
                  <a:lnTo>
                    <a:pt x="301" y="256"/>
                  </a:lnTo>
                  <a:lnTo>
                    <a:pt x="295" y="258"/>
                  </a:lnTo>
                  <a:lnTo>
                    <a:pt x="292" y="258"/>
                  </a:lnTo>
                  <a:lnTo>
                    <a:pt x="289" y="256"/>
                  </a:lnTo>
                  <a:lnTo>
                    <a:pt x="289" y="256"/>
                  </a:lnTo>
                  <a:lnTo>
                    <a:pt x="285" y="255"/>
                  </a:lnTo>
                  <a:lnTo>
                    <a:pt x="284" y="256"/>
                  </a:lnTo>
                  <a:lnTo>
                    <a:pt x="282" y="258"/>
                  </a:lnTo>
                  <a:lnTo>
                    <a:pt x="282" y="258"/>
                  </a:lnTo>
                  <a:lnTo>
                    <a:pt x="281" y="262"/>
                  </a:lnTo>
                  <a:lnTo>
                    <a:pt x="278" y="262"/>
                  </a:lnTo>
                  <a:lnTo>
                    <a:pt x="275" y="262"/>
                  </a:lnTo>
                  <a:lnTo>
                    <a:pt x="275" y="262"/>
                  </a:lnTo>
                  <a:lnTo>
                    <a:pt x="272" y="260"/>
                  </a:lnTo>
                  <a:lnTo>
                    <a:pt x="271" y="258"/>
                  </a:lnTo>
                  <a:lnTo>
                    <a:pt x="269" y="255"/>
                  </a:lnTo>
                  <a:lnTo>
                    <a:pt x="269" y="252"/>
                  </a:lnTo>
                  <a:lnTo>
                    <a:pt x="269" y="252"/>
                  </a:lnTo>
                  <a:lnTo>
                    <a:pt x="273" y="250"/>
                  </a:lnTo>
                  <a:lnTo>
                    <a:pt x="278" y="249"/>
                  </a:lnTo>
                  <a:lnTo>
                    <a:pt x="282" y="247"/>
                  </a:lnTo>
                  <a:lnTo>
                    <a:pt x="284" y="245"/>
                  </a:lnTo>
                  <a:lnTo>
                    <a:pt x="284" y="245"/>
                  </a:lnTo>
                  <a:lnTo>
                    <a:pt x="287" y="243"/>
                  </a:lnTo>
                  <a:lnTo>
                    <a:pt x="289" y="243"/>
                  </a:lnTo>
                  <a:lnTo>
                    <a:pt x="292" y="243"/>
                  </a:lnTo>
                  <a:lnTo>
                    <a:pt x="297" y="242"/>
                  </a:lnTo>
                  <a:lnTo>
                    <a:pt x="297" y="242"/>
                  </a:lnTo>
                  <a:lnTo>
                    <a:pt x="302" y="240"/>
                  </a:lnTo>
                  <a:lnTo>
                    <a:pt x="311" y="239"/>
                  </a:lnTo>
                  <a:lnTo>
                    <a:pt x="311" y="239"/>
                  </a:lnTo>
                  <a:lnTo>
                    <a:pt x="315" y="237"/>
                  </a:lnTo>
                  <a:lnTo>
                    <a:pt x="318" y="236"/>
                  </a:lnTo>
                  <a:lnTo>
                    <a:pt x="324" y="230"/>
                  </a:lnTo>
                  <a:lnTo>
                    <a:pt x="324" y="230"/>
                  </a:lnTo>
                  <a:lnTo>
                    <a:pt x="330" y="226"/>
                  </a:lnTo>
                  <a:lnTo>
                    <a:pt x="334" y="224"/>
                  </a:lnTo>
                  <a:lnTo>
                    <a:pt x="339" y="224"/>
                  </a:lnTo>
                  <a:lnTo>
                    <a:pt x="339" y="224"/>
                  </a:lnTo>
                  <a:lnTo>
                    <a:pt x="349" y="227"/>
                  </a:lnTo>
                  <a:lnTo>
                    <a:pt x="350" y="229"/>
                  </a:lnTo>
                  <a:lnTo>
                    <a:pt x="350" y="230"/>
                  </a:lnTo>
                  <a:lnTo>
                    <a:pt x="350" y="230"/>
                  </a:lnTo>
                  <a:lnTo>
                    <a:pt x="336" y="242"/>
                  </a:lnTo>
                  <a:lnTo>
                    <a:pt x="336" y="242"/>
                  </a:lnTo>
                  <a:lnTo>
                    <a:pt x="333" y="246"/>
                  </a:lnTo>
                  <a:lnTo>
                    <a:pt x="331" y="249"/>
                  </a:lnTo>
                  <a:lnTo>
                    <a:pt x="333" y="249"/>
                  </a:lnTo>
                  <a:lnTo>
                    <a:pt x="333" y="249"/>
                  </a:lnTo>
                  <a:lnTo>
                    <a:pt x="336" y="253"/>
                  </a:lnTo>
                  <a:lnTo>
                    <a:pt x="337" y="253"/>
                  </a:lnTo>
                  <a:lnTo>
                    <a:pt x="340" y="253"/>
                  </a:lnTo>
                  <a:lnTo>
                    <a:pt x="340" y="253"/>
                  </a:lnTo>
                  <a:lnTo>
                    <a:pt x="344" y="250"/>
                  </a:lnTo>
                  <a:lnTo>
                    <a:pt x="346" y="249"/>
                  </a:lnTo>
                  <a:lnTo>
                    <a:pt x="349" y="249"/>
                  </a:lnTo>
                  <a:lnTo>
                    <a:pt x="349" y="249"/>
                  </a:lnTo>
                  <a:lnTo>
                    <a:pt x="353" y="253"/>
                  </a:lnTo>
                  <a:lnTo>
                    <a:pt x="356" y="255"/>
                  </a:lnTo>
                  <a:lnTo>
                    <a:pt x="360" y="253"/>
                  </a:lnTo>
                  <a:lnTo>
                    <a:pt x="360" y="253"/>
                  </a:lnTo>
                  <a:lnTo>
                    <a:pt x="363" y="252"/>
                  </a:lnTo>
                  <a:lnTo>
                    <a:pt x="365" y="249"/>
                  </a:lnTo>
                  <a:lnTo>
                    <a:pt x="366" y="246"/>
                  </a:lnTo>
                  <a:lnTo>
                    <a:pt x="369" y="245"/>
                  </a:lnTo>
                  <a:lnTo>
                    <a:pt x="369" y="245"/>
                  </a:lnTo>
                  <a:lnTo>
                    <a:pt x="371" y="245"/>
                  </a:lnTo>
                  <a:lnTo>
                    <a:pt x="372" y="246"/>
                  </a:lnTo>
                  <a:lnTo>
                    <a:pt x="373" y="247"/>
                  </a:lnTo>
                  <a:lnTo>
                    <a:pt x="372" y="250"/>
                  </a:lnTo>
                  <a:close/>
                  <a:moveTo>
                    <a:pt x="453" y="344"/>
                  </a:moveTo>
                  <a:lnTo>
                    <a:pt x="453" y="344"/>
                  </a:lnTo>
                  <a:lnTo>
                    <a:pt x="459" y="343"/>
                  </a:lnTo>
                  <a:lnTo>
                    <a:pt x="460" y="340"/>
                  </a:lnTo>
                  <a:lnTo>
                    <a:pt x="462" y="337"/>
                  </a:lnTo>
                  <a:lnTo>
                    <a:pt x="465" y="336"/>
                  </a:lnTo>
                  <a:lnTo>
                    <a:pt x="465" y="336"/>
                  </a:lnTo>
                  <a:lnTo>
                    <a:pt x="473" y="333"/>
                  </a:lnTo>
                  <a:lnTo>
                    <a:pt x="479" y="329"/>
                  </a:lnTo>
                  <a:lnTo>
                    <a:pt x="479" y="329"/>
                  </a:lnTo>
                  <a:lnTo>
                    <a:pt x="481" y="329"/>
                  </a:lnTo>
                  <a:lnTo>
                    <a:pt x="485" y="327"/>
                  </a:lnTo>
                  <a:lnTo>
                    <a:pt x="488" y="327"/>
                  </a:lnTo>
                  <a:lnTo>
                    <a:pt x="488" y="329"/>
                  </a:lnTo>
                  <a:lnTo>
                    <a:pt x="488" y="329"/>
                  </a:lnTo>
                  <a:lnTo>
                    <a:pt x="488" y="330"/>
                  </a:lnTo>
                  <a:lnTo>
                    <a:pt x="491" y="330"/>
                  </a:lnTo>
                  <a:lnTo>
                    <a:pt x="494" y="329"/>
                  </a:lnTo>
                  <a:lnTo>
                    <a:pt x="494" y="329"/>
                  </a:lnTo>
                  <a:lnTo>
                    <a:pt x="497" y="334"/>
                  </a:lnTo>
                  <a:lnTo>
                    <a:pt x="497" y="337"/>
                  </a:lnTo>
                  <a:lnTo>
                    <a:pt x="495" y="340"/>
                  </a:lnTo>
                  <a:lnTo>
                    <a:pt x="495" y="340"/>
                  </a:lnTo>
                  <a:lnTo>
                    <a:pt x="491" y="344"/>
                  </a:lnTo>
                  <a:lnTo>
                    <a:pt x="488" y="346"/>
                  </a:lnTo>
                  <a:lnTo>
                    <a:pt x="488" y="344"/>
                  </a:lnTo>
                  <a:lnTo>
                    <a:pt x="488" y="344"/>
                  </a:lnTo>
                  <a:lnTo>
                    <a:pt x="489" y="337"/>
                  </a:lnTo>
                  <a:lnTo>
                    <a:pt x="489" y="334"/>
                  </a:lnTo>
                  <a:lnTo>
                    <a:pt x="489" y="333"/>
                  </a:lnTo>
                  <a:lnTo>
                    <a:pt x="488" y="333"/>
                  </a:lnTo>
                  <a:lnTo>
                    <a:pt x="488" y="333"/>
                  </a:lnTo>
                  <a:lnTo>
                    <a:pt x="483" y="334"/>
                  </a:lnTo>
                  <a:lnTo>
                    <a:pt x="479" y="339"/>
                  </a:lnTo>
                  <a:lnTo>
                    <a:pt x="479" y="339"/>
                  </a:lnTo>
                  <a:lnTo>
                    <a:pt x="473" y="342"/>
                  </a:lnTo>
                  <a:lnTo>
                    <a:pt x="465" y="346"/>
                  </a:lnTo>
                  <a:lnTo>
                    <a:pt x="465" y="346"/>
                  </a:lnTo>
                  <a:lnTo>
                    <a:pt x="459" y="347"/>
                  </a:lnTo>
                  <a:lnTo>
                    <a:pt x="456" y="349"/>
                  </a:lnTo>
                  <a:lnTo>
                    <a:pt x="456" y="349"/>
                  </a:lnTo>
                  <a:lnTo>
                    <a:pt x="453" y="353"/>
                  </a:lnTo>
                  <a:lnTo>
                    <a:pt x="452" y="355"/>
                  </a:lnTo>
                  <a:lnTo>
                    <a:pt x="450" y="355"/>
                  </a:lnTo>
                  <a:lnTo>
                    <a:pt x="450" y="355"/>
                  </a:lnTo>
                  <a:lnTo>
                    <a:pt x="447" y="352"/>
                  </a:lnTo>
                  <a:lnTo>
                    <a:pt x="446" y="350"/>
                  </a:lnTo>
                  <a:lnTo>
                    <a:pt x="447" y="347"/>
                  </a:lnTo>
                  <a:lnTo>
                    <a:pt x="453" y="344"/>
                  </a:lnTo>
                  <a:close/>
                  <a:moveTo>
                    <a:pt x="441" y="431"/>
                  </a:moveTo>
                  <a:lnTo>
                    <a:pt x="441" y="431"/>
                  </a:lnTo>
                  <a:lnTo>
                    <a:pt x="436" y="433"/>
                  </a:lnTo>
                  <a:lnTo>
                    <a:pt x="434" y="434"/>
                  </a:lnTo>
                  <a:lnTo>
                    <a:pt x="433" y="434"/>
                  </a:lnTo>
                  <a:lnTo>
                    <a:pt x="433" y="434"/>
                  </a:lnTo>
                  <a:lnTo>
                    <a:pt x="434" y="440"/>
                  </a:lnTo>
                  <a:lnTo>
                    <a:pt x="434" y="442"/>
                  </a:lnTo>
                  <a:lnTo>
                    <a:pt x="431" y="443"/>
                  </a:lnTo>
                  <a:lnTo>
                    <a:pt x="431" y="443"/>
                  </a:lnTo>
                  <a:lnTo>
                    <a:pt x="418" y="449"/>
                  </a:lnTo>
                  <a:lnTo>
                    <a:pt x="410" y="452"/>
                  </a:lnTo>
                  <a:lnTo>
                    <a:pt x="402" y="452"/>
                  </a:lnTo>
                  <a:lnTo>
                    <a:pt x="402" y="452"/>
                  </a:lnTo>
                  <a:lnTo>
                    <a:pt x="394" y="449"/>
                  </a:lnTo>
                  <a:lnTo>
                    <a:pt x="385" y="443"/>
                  </a:lnTo>
                  <a:lnTo>
                    <a:pt x="385" y="443"/>
                  </a:lnTo>
                  <a:lnTo>
                    <a:pt x="382" y="440"/>
                  </a:lnTo>
                  <a:lnTo>
                    <a:pt x="381" y="437"/>
                  </a:lnTo>
                  <a:lnTo>
                    <a:pt x="381" y="436"/>
                  </a:lnTo>
                  <a:lnTo>
                    <a:pt x="382" y="434"/>
                  </a:lnTo>
                  <a:lnTo>
                    <a:pt x="382" y="434"/>
                  </a:lnTo>
                  <a:lnTo>
                    <a:pt x="385" y="436"/>
                  </a:lnTo>
                  <a:lnTo>
                    <a:pt x="388" y="436"/>
                  </a:lnTo>
                  <a:lnTo>
                    <a:pt x="389" y="437"/>
                  </a:lnTo>
                  <a:lnTo>
                    <a:pt x="391" y="436"/>
                  </a:lnTo>
                  <a:lnTo>
                    <a:pt x="391" y="436"/>
                  </a:lnTo>
                  <a:lnTo>
                    <a:pt x="389" y="433"/>
                  </a:lnTo>
                  <a:lnTo>
                    <a:pt x="391" y="431"/>
                  </a:lnTo>
                  <a:lnTo>
                    <a:pt x="392" y="431"/>
                  </a:lnTo>
                  <a:lnTo>
                    <a:pt x="392" y="431"/>
                  </a:lnTo>
                  <a:lnTo>
                    <a:pt x="398" y="430"/>
                  </a:lnTo>
                  <a:lnTo>
                    <a:pt x="399" y="428"/>
                  </a:lnTo>
                  <a:lnTo>
                    <a:pt x="399" y="427"/>
                  </a:lnTo>
                  <a:lnTo>
                    <a:pt x="399" y="427"/>
                  </a:lnTo>
                  <a:lnTo>
                    <a:pt x="399" y="423"/>
                  </a:lnTo>
                  <a:lnTo>
                    <a:pt x="399" y="420"/>
                  </a:lnTo>
                  <a:lnTo>
                    <a:pt x="399" y="418"/>
                  </a:lnTo>
                  <a:lnTo>
                    <a:pt x="399" y="418"/>
                  </a:lnTo>
                  <a:lnTo>
                    <a:pt x="404" y="417"/>
                  </a:lnTo>
                  <a:lnTo>
                    <a:pt x="405" y="415"/>
                  </a:lnTo>
                  <a:lnTo>
                    <a:pt x="407" y="415"/>
                  </a:lnTo>
                  <a:lnTo>
                    <a:pt x="407" y="415"/>
                  </a:lnTo>
                  <a:lnTo>
                    <a:pt x="411" y="415"/>
                  </a:lnTo>
                  <a:lnTo>
                    <a:pt x="413" y="414"/>
                  </a:lnTo>
                  <a:lnTo>
                    <a:pt x="413" y="413"/>
                  </a:lnTo>
                  <a:lnTo>
                    <a:pt x="413" y="413"/>
                  </a:lnTo>
                  <a:lnTo>
                    <a:pt x="411" y="407"/>
                  </a:lnTo>
                  <a:lnTo>
                    <a:pt x="407" y="395"/>
                  </a:lnTo>
                  <a:lnTo>
                    <a:pt x="407" y="395"/>
                  </a:lnTo>
                  <a:lnTo>
                    <a:pt x="398" y="386"/>
                  </a:lnTo>
                  <a:lnTo>
                    <a:pt x="397" y="384"/>
                  </a:lnTo>
                  <a:lnTo>
                    <a:pt x="397" y="384"/>
                  </a:lnTo>
                  <a:lnTo>
                    <a:pt x="398" y="382"/>
                  </a:lnTo>
                  <a:lnTo>
                    <a:pt x="398" y="382"/>
                  </a:lnTo>
                  <a:lnTo>
                    <a:pt x="405" y="385"/>
                  </a:lnTo>
                  <a:lnTo>
                    <a:pt x="410" y="388"/>
                  </a:lnTo>
                  <a:lnTo>
                    <a:pt x="413" y="391"/>
                  </a:lnTo>
                  <a:lnTo>
                    <a:pt x="413" y="391"/>
                  </a:lnTo>
                  <a:lnTo>
                    <a:pt x="415" y="398"/>
                  </a:lnTo>
                  <a:lnTo>
                    <a:pt x="417" y="399"/>
                  </a:lnTo>
                  <a:lnTo>
                    <a:pt x="420" y="401"/>
                  </a:lnTo>
                  <a:lnTo>
                    <a:pt x="420" y="401"/>
                  </a:lnTo>
                  <a:lnTo>
                    <a:pt x="421" y="402"/>
                  </a:lnTo>
                  <a:lnTo>
                    <a:pt x="423" y="404"/>
                  </a:lnTo>
                  <a:lnTo>
                    <a:pt x="424" y="407"/>
                  </a:lnTo>
                  <a:lnTo>
                    <a:pt x="428" y="408"/>
                  </a:lnTo>
                  <a:lnTo>
                    <a:pt x="428" y="408"/>
                  </a:lnTo>
                  <a:lnTo>
                    <a:pt x="437" y="408"/>
                  </a:lnTo>
                  <a:lnTo>
                    <a:pt x="440" y="408"/>
                  </a:lnTo>
                  <a:lnTo>
                    <a:pt x="441" y="407"/>
                  </a:lnTo>
                  <a:lnTo>
                    <a:pt x="441" y="407"/>
                  </a:lnTo>
                  <a:lnTo>
                    <a:pt x="444" y="402"/>
                  </a:lnTo>
                  <a:lnTo>
                    <a:pt x="447" y="399"/>
                  </a:lnTo>
                  <a:lnTo>
                    <a:pt x="447" y="399"/>
                  </a:lnTo>
                  <a:lnTo>
                    <a:pt x="457" y="395"/>
                  </a:lnTo>
                  <a:lnTo>
                    <a:pt x="466" y="389"/>
                  </a:lnTo>
                  <a:lnTo>
                    <a:pt x="466" y="389"/>
                  </a:lnTo>
                  <a:lnTo>
                    <a:pt x="470" y="386"/>
                  </a:lnTo>
                  <a:lnTo>
                    <a:pt x="476" y="384"/>
                  </a:lnTo>
                  <a:lnTo>
                    <a:pt x="488" y="382"/>
                  </a:lnTo>
                  <a:lnTo>
                    <a:pt x="488" y="382"/>
                  </a:lnTo>
                  <a:lnTo>
                    <a:pt x="499" y="382"/>
                  </a:lnTo>
                  <a:lnTo>
                    <a:pt x="504" y="384"/>
                  </a:lnTo>
                  <a:lnTo>
                    <a:pt x="507" y="385"/>
                  </a:lnTo>
                  <a:lnTo>
                    <a:pt x="507" y="386"/>
                  </a:lnTo>
                  <a:lnTo>
                    <a:pt x="507" y="386"/>
                  </a:lnTo>
                  <a:lnTo>
                    <a:pt x="507" y="391"/>
                  </a:lnTo>
                  <a:lnTo>
                    <a:pt x="507" y="392"/>
                  </a:lnTo>
                  <a:lnTo>
                    <a:pt x="505" y="392"/>
                  </a:lnTo>
                  <a:lnTo>
                    <a:pt x="505" y="392"/>
                  </a:lnTo>
                  <a:lnTo>
                    <a:pt x="502" y="389"/>
                  </a:lnTo>
                  <a:lnTo>
                    <a:pt x="499" y="388"/>
                  </a:lnTo>
                  <a:lnTo>
                    <a:pt x="498" y="389"/>
                  </a:lnTo>
                  <a:lnTo>
                    <a:pt x="498" y="389"/>
                  </a:lnTo>
                  <a:lnTo>
                    <a:pt x="495" y="394"/>
                  </a:lnTo>
                  <a:lnTo>
                    <a:pt x="492" y="399"/>
                  </a:lnTo>
                  <a:lnTo>
                    <a:pt x="492" y="399"/>
                  </a:lnTo>
                  <a:lnTo>
                    <a:pt x="491" y="404"/>
                  </a:lnTo>
                  <a:lnTo>
                    <a:pt x="489" y="405"/>
                  </a:lnTo>
                  <a:lnTo>
                    <a:pt x="486" y="405"/>
                  </a:lnTo>
                  <a:lnTo>
                    <a:pt x="486" y="405"/>
                  </a:lnTo>
                  <a:lnTo>
                    <a:pt x="475" y="401"/>
                  </a:lnTo>
                  <a:lnTo>
                    <a:pt x="470" y="399"/>
                  </a:lnTo>
                  <a:lnTo>
                    <a:pt x="468" y="399"/>
                  </a:lnTo>
                  <a:lnTo>
                    <a:pt x="466" y="399"/>
                  </a:lnTo>
                  <a:lnTo>
                    <a:pt x="466" y="399"/>
                  </a:lnTo>
                  <a:lnTo>
                    <a:pt x="463" y="404"/>
                  </a:lnTo>
                  <a:lnTo>
                    <a:pt x="462" y="408"/>
                  </a:lnTo>
                  <a:lnTo>
                    <a:pt x="460" y="417"/>
                  </a:lnTo>
                  <a:lnTo>
                    <a:pt x="460" y="417"/>
                  </a:lnTo>
                  <a:lnTo>
                    <a:pt x="457" y="423"/>
                  </a:lnTo>
                  <a:lnTo>
                    <a:pt x="456" y="424"/>
                  </a:lnTo>
                  <a:lnTo>
                    <a:pt x="453" y="426"/>
                  </a:lnTo>
                  <a:lnTo>
                    <a:pt x="453" y="426"/>
                  </a:lnTo>
                  <a:lnTo>
                    <a:pt x="444" y="424"/>
                  </a:lnTo>
                  <a:lnTo>
                    <a:pt x="440" y="424"/>
                  </a:lnTo>
                  <a:lnTo>
                    <a:pt x="439" y="426"/>
                  </a:lnTo>
                  <a:lnTo>
                    <a:pt x="439" y="426"/>
                  </a:lnTo>
                  <a:lnTo>
                    <a:pt x="441" y="430"/>
                  </a:lnTo>
                  <a:lnTo>
                    <a:pt x="441" y="431"/>
                  </a:lnTo>
                  <a:lnTo>
                    <a:pt x="441" y="431"/>
                  </a:lnTo>
                  <a:close/>
                  <a:moveTo>
                    <a:pt x="521" y="502"/>
                  </a:moveTo>
                  <a:lnTo>
                    <a:pt x="521" y="502"/>
                  </a:lnTo>
                  <a:lnTo>
                    <a:pt x="515" y="504"/>
                  </a:lnTo>
                  <a:lnTo>
                    <a:pt x="511" y="505"/>
                  </a:lnTo>
                  <a:lnTo>
                    <a:pt x="508" y="507"/>
                  </a:lnTo>
                  <a:lnTo>
                    <a:pt x="508" y="507"/>
                  </a:lnTo>
                  <a:lnTo>
                    <a:pt x="498" y="505"/>
                  </a:lnTo>
                  <a:lnTo>
                    <a:pt x="494" y="505"/>
                  </a:lnTo>
                  <a:lnTo>
                    <a:pt x="489" y="508"/>
                  </a:lnTo>
                  <a:lnTo>
                    <a:pt x="489" y="508"/>
                  </a:lnTo>
                  <a:lnTo>
                    <a:pt x="485" y="514"/>
                  </a:lnTo>
                  <a:lnTo>
                    <a:pt x="483" y="517"/>
                  </a:lnTo>
                  <a:lnTo>
                    <a:pt x="481" y="518"/>
                  </a:lnTo>
                  <a:lnTo>
                    <a:pt x="481" y="518"/>
                  </a:lnTo>
                  <a:lnTo>
                    <a:pt x="473" y="518"/>
                  </a:lnTo>
                  <a:lnTo>
                    <a:pt x="470" y="518"/>
                  </a:lnTo>
                  <a:lnTo>
                    <a:pt x="469" y="518"/>
                  </a:lnTo>
                  <a:lnTo>
                    <a:pt x="469" y="518"/>
                  </a:lnTo>
                  <a:lnTo>
                    <a:pt x="465" y="523"/>
                  </a:lnTo>
                  <a:lnTo>
                    <a:pt x="462" y="524"/>
                  </a:lnTo>
                  <a:lnTo>
                    <a:pt x="459" y="524"/>
                  </a:lnTo>
                  <a:lnTo>
                    <a:pt x="459" y="524"/>
                  </a:lnTo>
                  <a:lnTo>
                    <a:pt x="455" y="521"/>
                  </a:lnTo>
                  <a:lnTo>
                    <a:pt x="453" y="518"/>
                  </a:lnTo>
                  <a:lnTo>
                    <a:pt x="455" y="518"/>
                  </a:lnTo>
                  <a:lnTo>
                    <a:pt x="455" y="518"/>
                  </a:lnTo>
                  <a:lnTo>
                    <a:pt x="460" y="517"/>
                  </a:lnTo>
                  <a:lnTo>
                    <a:pt x="463" y="517"/>
                  </a:lnTo>
                  <a:lnTo>
                    <a:pt x="465" y="514"/>
                  </a:lnTo>
                  <a:lnTo>
                    <a:pt x="465" y="514"/>
                  </a:lnTo>
                  <a:lnTo>
                    <a:pt x="466" y="512"/>
                  </a:lnTo>
                  <a:lnTo>
                    <a:pt x="468" y="512"/>
                  </a:lnTo>
                  <a:lnTo>
                    <a:pt x="469" y="512"/>
                  </a:lnTo>
                  <a:lnTo>
                    <a:pt x="472" y="512"/>
                  </a:lnTo>
                  <a:lnTo>
                    <a:pt x="472" y="512"/>
                  </a:lnTo>
                  <a:lnTo>
                    <a:pt x="485" y="501"/>
                  </a:lnTo>
                  <a:lnTo>
                    <a:pt x="492" y="495"/>
                  </a:lnTo>
                  <a:lnTo>
                    <a:pt x="495" y="492"/>
                  </a:lnTo>
                  <a:lnTo>
                    <a:pt x="498" y="492"/>
                  </a:lnTo>
                  <a:lnTo>
                    <a:pt x="498" y="492"/>
                  </a:lnTo>
                  <a:lnTo>
                    <a:pt x="501" y="494"/>
                  </a:lnTo>
                  <a:lnTo>
                    <a:pt x="504" y="495"/>
                  </a:lnTo>
                  <a:lnTo>
                    <a:pt x="507" y="497"/>
                  </a:lnTo>
                  <a:lnTo>
                    <a:pt x="510" y="498"/>
                  </a:lnTo>
                  <a:lnTo>
                    <a:pt x="510" y="498"/>
                  </a:lnTo>
                  <a:lnTo>
                    <a:pt x="520" y="497"/>
                  </a:lnTo>
                  <a:lnTo>
                    <a:pt x="525" y="497"/>
                  </a:lnTo>
                  <a:lnTo>
                    <a:pt x="528" y="498"/>
                  </a:lnTo>
                  <a:lnTo>
                    <a:pt x="528" y="498"/>
                  </a:lnTo>
                  <a:lnTo>
                    <a:pt x="530" y="501"/>
                  </a:lnTo>
                  <a:lnTo>
                    <a:pt x="528" y="501"/>
                  </a:lnTo>
                  <a:lnTo>
                    <a:pt x="521" y="502"/>
                  </a:lnTo>
                  <a:close/>
                  <a:moveTo>
                    <a:pt x="508" y="359"/>
                  </a:moveTo>
                  <a:lnTo>
                    <a:pt x="508" y="359"/>
                  </a:lnTo>
                  <a:lnTo>
                    <a:pt x="508" y="357"/>
                  </a:lnTo>
                  <a:lnTo>
                    <a:pt x="510" y="357"/>
                  </a:lnTo>
                  <a:lnTo>
                    <a:pt x="512" y="357"/>
                  </a:lnTo>
                  <a:lnTo>
                    <a:pt x="515" y="359"/>
                  </a:lnTo>
                  <a:lnTo>
                    <a:pt x="520" y="360"/>
                  </a:lnTo>
                  <a:lnTo>
                    <a:pt x="520" y="360"/>
                  </a:lnTo>
                  <a:lnTo>
                    <a:pt x="521" y="360"/>
                  </a:lnTo>
                  <a:lnTo>
                    <a:pt x="521" y="360"/>
                  </a:lnTo>
                  <a:lnTo>
                    <a:pt x="518" y="363"/>
                  </a:lnTo>
                  <a:lnTo>
                    <a:pt x="515" y="366"/>
                  </a:lnTo>
                  <a:lnTo>
                    <a:pt x="511" y="366"/>
                  </a:lnTo>
                  <a:lnTo>
                    <a:pt x="511" y="366"/>
                  </a:lnTo>
                  <a:lnTo>
                    <a:pt x="510" y="366"/>
                  </a:lnTo>
                  <a:lnTo>
                    <a:pt x="508" y="363"/>
                  </a:lnTo>
                  <a:lnTo>
                    <a:pt x="510" y="362"/>
                  </a:lnTo>
                  <a:lnTo>
                    <a:pt x="508" y="359"/>
                  </a:lnTo>
                  <a:close/>
                  <a:moveTo>
                    <a:pt x="521" y="381"/>
                  </a:moveTo>
                  <a:lnTo>
                    <a:pt x="521" y="381"/>
                  </a:lnTo>
                  <a:lnTo>
                    <a:pt x="520" y="381"/>
                  </a:lnTo>
                  <a:lnTo>
                    <a:pt x="520" y="381"/>
                  </a:lnTo>
                  <a:lnTo>
                    <a:pt x="523" y="378"/>
                  </a:lnTo>
                  <a:lnTo>
                    <a:pt x="525" y="373"/>
                  </a:lnTo>
                  <a:lnTo>
                    <a:pt x="527" y="371"/>
                  </a:lnTo>
                  <a:lnTo>
                    <a:pt x="527" y="371"/>
                  </a:lnTo>
                  <a:lnTo>
                    <a:pt x="528" y="366"/>
                  </a:lnTo>
                  <a:lnTo>
                    <a:pt x="531" y="365"/>
                  </a:lnTo>
                  <a:lnTo>
                    <a:pt x="531" y="365"/>
                  </a:lnTo>
                  <a:lnTo>
                    <a:pt x="533" y="366"/>
                  </a:lnTo>
                  <a:lnTo>
                    <a:pt x="533" y="368"/>
                  </a:lnTo>
                  <a:lnTo>
                    <a:pt x="530" y="372"/>
                  </a:lnTo>
                  <a:lnTo>
                    <a:pt x="525" y="378"/>
                  </a:lnTo>
                  <a:lnTo>
                    <a:pt x="521" y="381"/>
                  </a:lnTo>
                  <a:close/>
                  <a:moveTo>
                    <a:pt x="549" y="337"/>
                  </a:moveTo>
                  <a:lnTo>
                    <a:pt x="549" y="337"/>
                  </a:lnTo>
                  <a:lnTo>
                    <a:pt x="544" y="340"/>
                  </a:lnTo>
                  <a:lnTo>
                    <a:pt x="541" y="342"/>
                  </a:lnTo>
                  <a:lnTo>
                    <a:pt x="541" y="344"/>
                  </a:lnTo>
                  <a:lnTo>
                    <a:pt x="541" y="344"/>
                  </a:lnTo>
                  <a:lnTo>
                    <a:pt x="540" y="350"/>
                  </a:lnTo>
                  <a:lnTo>
                    <a:pt x="540" y="353"/>
                  </a:lnTo>
                  <a:lnTo>
                    <a:pt x="540" y="355"/>
                  </a:lnTo>
                  <a:lnTo>
                    <a:pt x="540" y="355"/>
                  </a:lnTo>
                  <a:lnTo>
                    <a:pt x="537" y="357"/>
                  </a:lnTo>
                  <a:lnTo>
                    <a:pt x="536" y="357"/>
                  </a:lnTo>
                  <a:lnTo>
                    <a:pt x="536" y="355"/>
                  </a:lnTo>
                  <a:lnTo>
                    <a:pt x="536" y="355"/>
                  </a:lnTo>
                  <a:lnTo>
                    <a:pt x="534" y="353"/>
                  </a:lnTo>
                  <a:lnTo>
                    <a:pt x="534" y="352"/>
                  </a:lnTo>
                  <a:lnTo>
                    <a:pt x="534" y="349"/>
                  </a:lnTo>
                  <a:lnTo>
                    <a:pt x="534" y="347"/>
                  </a:lnTo>
                  <a:lnTo>
                    <a:pt x="534" y="347"/>
                  </a:lnTo>
                  <a:lnTo>
                    <a:pt x="536" y="342"/>
                  </a:lnTo>
                  <a:lnTo>
                    <a:pt x="536" y="340"/>
                  </a:lnTo>
                  <a:lnTo>
                    <a:pt x="534" y="340"/>
                  </a:lnTo>
                  <a:lnTo>
                    <a:pt x="534" y="340"/>
                  </a:lnTo>
                  <a:lnTo>
                    <a:pt x="528" y="344"/>
                  </a:lnTo>
                  <a:lnTo>
                    <a:pt x="525" y="346"/>
                  </a:lnTo>
                  <a:lnTo>
                    <a:pt x="523" y="346"/>
                  </a:lnTo>
                  <a:lnTo>
                    <a:pt x="523" y="346"/>
                  </a:lnTo>
                  <a:lnTo>
                    <a:pt x="520" y="340"/>
                  </a:lnTo>
                  <a:lnTo>
                    <a:pt x="520" y="339"/>
                  </a:lnTo>
                  <a:lnTo>
                    <a:pt x="518" y="337"/>
                  </a:lnTo>
                  <a:lnTo>
                    <a:pt x="518" y="337"/>
                  </a:lnTo>
                  <a:lnTo>
                    <a:pt x="514" y="339"/>
                  </a:lnTo>
                  <a:lnTo>
                    <a:pt x="510" y="339"/>
                  </a:lnTo>
                  <a:lnTo>
                    <a:pt x="510" y="339"/>
                  </a:lnTo>
                  <a:lnTo>
                    <a:pt x="507" y="337"/>
                  </a:lnTo>
                  <a:lnTo>
                    <a:pt x="504" y="334"/>
                  </a:lnTo>
                  <a:lnTo>
                    <a:pt x="501" y="330"/>
                  </a:lnTo>
                  <a:lnTo>
                    <a:pt x="501" y="327"/>
                  </a:lnTo>
                  <a:lnTo>
                    <a:pt x="501" y="327"/>
                  </a:lnTo>
                  <a:lnTo>
                    <a:pt x="504" y="327"/>
                  </a:lnTo>
                  <a:lnTo>
                    <a:pt x="508" y="326"/>
                  </a:lnTo>
                  <a:lnTo>
                    <a:pt x="514" y="326"/>
                  </a:lnTo>
                  <a:lnTo>
                    <a:pt x="514" y="326"/>
                  </a:lnTo>
                  <a:lnTo>
                    <a:pt x="517" y="327"/>
                  </a:lnTo>
                  <a:lnTo>
                    <a:pt x="518" y="330"/>
                  </a:lnTo>
                  <a:lnTo>
                    <a:pt x="520" y="333"/>
                  </a:lnTo>
                  <a:lnTo>
                    <a:pt x="521" y="334"/>
                  </a:lnTo>
                  <a:lnTo>
                    <a:pt x="521" y="334"/>
                  </a:lnTo>
                  <a:lnTo>
                    <a:pt x="523" y="336"/>
                  </a:lnTo>
                  <a:lnTo>
                    <a:pt x="523" y="336"/>
                  </a:lnTo>
                  <a:lnTo>
                    <a:pt x="523" y="337"/>
                  </a:lnTo>
                  <a:lnTo>
                    <a:pt x="524" y="337"/>
                  </a:lnTo>
                  <a:lnTo>
                    <a:pt x="524" y="337"/>
                  </a:lnTo>
                  <a:lnTo>
                    <a:pt x="525" y="337"/>
                  </a:lnTo>
                  <a:lnTo>
                    <a:pt x="527" y="334"/>
                  </a:lnTo>
                  <a:lnTo>
                    <a:pt x="528" y="333"/>
                  </a:lnTo>
                  <a:lnTo>
                    <a:pt x="530" y="331"/>
                  </a:lnTo>
                  <a:lnTo>
                    <a:pt x="530" y="331"/>
                  </a:lnTo>
                  <a:lnTo>
                    <a:pt x="533" y="331"/>
                  </a:lnTo>
                  <a:lnTo>
                    <a:pt x="534" y="333"/>
                  </a:lnTo>
                  <a:lnTo>
                    <a:pt x="536" y="334"/>
                  </a:lnTo>
                  <a:lnTo>
                    <a:pt x="539" y="336"/>
                  </a:lnTo>
                  <a:lnTo>
                    <a:pt x="539" y="336"/>
                  </a:lnTo>
                  <a:lnTo>
                    <a:pt x="546" y="336"/>
                  </a:lnTo>
                  <a:lnTo>
                    <a:pt x="549" y="337"/>
                  </a:lnTo>
                  <a:lnTo>
                    <a:pt x="549" y="337"/>
                  </a:lnTo>
                  <a:lnTo>
                    <a:pt x="549" y="337"/>
                  </a:lnTo>
                  <a:close/>
                  <a:moveTo>
                    <a:pt x="711" y="534"/>
                  </a:moveTo>
                  <a:lnTo>
                    <a:pt x="711" y="534"/>
                  </a:lnTo>
                  <a:lnTo>
                    <a:pt x="712" y="534"/>
                  </a:lnTo>
                  <a:lnTo>
                    <a:pt x="712" y="536"/>
                  </a:lnTo>
                  <a:lnTo>
                    <a:pt x="708" y="539"/>
                  </a:lnTo>
                  <a:lnTo>
                    <a:pt x="708" y="539"/>
                  </a:lnTo>
                  <a:lnTo>
                    <a:pt x="708" y="540"/>
                  </a:lnTo>
                  <a:lnTo>
                    <a:pt x="708" y="541"/>
                  </a:lnTo>
                  <a:lnTo>
                    <a:pt x="707" y="541"/>
                  </a:lnTo>
                  <a:lnTo>
                    <a:pt x="705" y="541"/>
                  </a:lnTo>
                  <a:lnTo>
                    <a:pt x="705" y="541"/>
                  </a:lnTo>
                  <a:lnTo>
                    <a:pt x="702" y="541"/>
                  </a:lnTo>
                  <a:lnTo>
                    <a:pt x="701" y="540"/>
                  </a:lnTo>
                  <a:lnTo>
                    <a:pt x="702" y="539"/>
                  </a:lnTo>
                  <a:lnTo>
                    <a:pt x="702" y="539"/>
                  </a:lnTo>
                  <a:lnTo>
                    <a:pt x="704" y="539"/>
                  </a:lnTo>
                  <a:lnTo>
                    <a:pt x="702" y="537"/>
                  </a:lnTo>
                  <a:lnTo>
                    <a:pt x="701" y="534"/>
                  </a:lnTo>
                  <a:lnTo>
                    <a:pt x="701" y="534"/>
                  </a:lnTo>
                  <a:lnTo>
                    <a:pt x="701" y="533"/>
                  </a:lnTo>
                  <a:lnTo>
                    <a:pt x="704" y="534"/>
                  </a:lnTo>
                  <a:lnTo>
                    <a:pt x="707" y="534"/>
                  </a:lnTo>
                  <a:lnTo>
                    <a:pt x="711" y="534"/>
                  </a:lnTo>
                  <a:close/>
                  <a:moveTo>
                    <a:pt x="702" y="415"/>
                  </a:moveTo>
                  <a:lnTo>
                    <a:pt x="702" y="415"/>
                  </a:lnTo>
                  <a:lnTo>
                    <a:pt x="702" y="417"/>
                  </a:lnTo>
                  <a:lnTo>
                    <a:pt x="702" y="418"/>
                  </a:lnTo>
                  <a:lnTo>
                    <a:pt x="701" y="421"/>
                  </a:lnTo>
                  <a:lnTo>
                    <a:pt x="698" y="424"/>
                  </a:lnTo>
                  <a:lnTo>
                    <a:pt x="698" y="424"/>
                  </a:lnTo>
                  <a:lnTo>
                    <a:pt x="696" y="423"/>
                  </a:lnTo>
                  <a:lnTo>
                    <a:pt x="696" y="423"/>
                  </a:lnTo>
                  <a:lnTo>
                    <a:pt x="695" y="418"/>
                  </a:lnTo>
                  <a:lnTo>
                    <a:pt x="695" y="413"/>
                  </a:lnTo>
                  <a:lnTo>
                    <a:pt x="695" y="413"/>
                  </a:lnTo>
                  <a:lnTo>
                    <a:pt x="695" y="411"/>
                  </a:lnTo>
                  <a:lnTo>
                    <a:pt x="698" y="411"/>
                  </a:lnTo>
                  <a:lnTo>
                    <a:pt x="702" y="415"/>
                  </a:lnTo>
                  <a:close/>
                  <a:moveTo>
                    <a:pt x="693" y="384"/>
                  </a:moveTo>
                  <a:lnTo>
                    <a:pt x="693" y="384"/>
                  </a:lnTo>
                  <a:lnTo>
                    <a:pt x="696" y="386"/>
                  </a:lnTo>
                  <a:lnTo>
                    <a:pt x="699" y="386"/>
                  </a:lnTo>
                  <a:lnTo>
                    <a:pt x="701" y="388"/>
                  </a:lnTo>
                  <a:lnTo>
                    <a:pt x="701" y="389"/>
                  </a:lnTo>
                  <a:lnTo>
                    <a:pt x="701" y="389"/>
                  </a:lnTo>
                  <a:lnTo>
                    <a:pt x="699" y="395"/>
                  </a:lnTo>
                  <a:lnTo>
                    <a:pt x="698" y="398"/>
                  </a:lnTo>
                  <a:lnTo>
                    <a:pt x="695" y="398"/>
                  </a:lnTo>
                  <a:lnTo>
                    <a:pt x="695" y="398"/>
                  </a:lnTo>
                  <a:lnTo>
                    <a:pt x="691" y="397"/>
                  </a:lnTo>
                  <a:lnTo>
                    <a:pt x="686" y="394"/>
                  </a:lnTo>
                  <a:lnTo>
                    <a:pt x="683" y="391"/>
                  </a:lnTo>
                  <a:lnTo>
                    <a:pt x="683" y="389"/>
                  </a:lnTo>
                  <a:lnTo>
                    <a:pt x="683" y="388"/>
                  </a:lnTo>
                  <a:lnTo>
                    <a:pt x="683" y="388"/>
                  </a:lnTo>
                  <a:lnTo>
                    <a:pt x="688" y="384"/>
                  </a:lnTo>
                  <a:lnTo>
                    <a:pt x="691" y="382"/>
                  </a:lnTo>
                  <a:lnTo>
                    <a:pt x="693" y="384"/>
                  </a:lnTo>
                  <a:close/>
                  <a:moveTo>
                    <a:pt x="624" y="265"/>
                  </a:moveTo>
                  <a:lnTo>
                    <a:pt x="624" y="265"/>
                  </a:lnTo>
                  <a:lnTo>
                    <a:pt x="630" y="262"/>
                  </a:lnTo>
                  <a:lnTo>
                    <a:pt x="631" y="262"/>
                  </a:lnTo>
                  <a:lnTo>
                    <a:pt x="634" y="263"/>
                  </a:lnTo>
                  <a:lnTo>
                    <a:pt x="634" y="263"/>
                  </a:lnTo>
                  <a:lnTo>
                    <a:pt x="637" y="266"/>
                  </a:lnTo>
                  <a:lnTo>
                    <a:pt x="640" y="269"/>
                  </a:lnTo>
                  <a:lnTo>
                    <a:pt x="644" y="271"/>
                  </a:lnTo>
                  <a:lnTo>
                    <a:pt x="647" y="271"/>
                  </a:lnTo>
                  <a:lnTo>
                    <a:pt x="647" y="271"/>
                  </a:lnTo>
                  <a:lnTo>
                    <a:pt x="649" y="265"/>
                  </a:lnTo>
                  <a:lnTo>
                    <a:pt x="653" y="259"/>
                  </a:lnTo>
                  <a:lnTo>
                    <a:pt x="653" y="259"/>
                  </a:lnTo>
                  <a:lnTo>
                    <a:pt x="657" y="255"/>
                  </a:lnTo>
                  <a:lnTo>
                    <a:pt x="659" y="255"/>
                  </a:lnTo>
                  <a:lnTo>
                    <a:pt x="659" y="256"/>
                  </a:lnTo>
                  <a:lnTo>
                    <a:pt x="659" y="256"/>
                  </a:lnTo>
                  <a:lnTo>
                    <a:pt x="659" y="262"/>
                  </a:lnTo>
                  <a:lnTo>
                    <a:pt x="659" y="263"/>
                  </a:lnTo>
                  <a:lnTo>
                    <a:pt x="660" y="263"/>
                  </a:lnTo>
                  <a:lnTo>
                    <a:pt x="660" y="263"/>
                  </a:lnTo>
                  <a:lnTo>
                    <a:pt x="663" y="262"/>
                  </a:lnTo>
                  <a:lnTo>
                    <a:pt x="665" y="262"/>
                  </a:lnTo>
                  <a:lnTo>
                    <a:pt x="665" y="263"/>
                  </a:lnTo>
                  <a:lnTo>
                    <a:pt x="665" y="263"/>
                  </a:lnTo>
                  <a:lnTo>
                    <a:pt x="665" y="266"/>
                  </a:lnTo>
                  <a:lnTo>
                    <a:pt x="665" y="268"/>
                  </a:lnTo>
                  <a:lnTo>
                    <a:pt x="666" y="268"/>
                  </a:lnTo>
                  <a:lnTo>
                    <a:pt x="666" y="268"/>
                  </a:lnTo>
                  <a:lnTo>
                    <a:pt x="672" y="266"/>
                  </a:lnTo>
                  <a:lnTo>
                    <a:pt x="675" y="265"/>
                  </a:lnTo>
                  <a:lnTo>
                    <a:pt x="675" y="265"/>
                  </a:lnTo>
                  <a:lnTo>
                    <a:pt x="678" y="259"/>
                  </a:lnTo>
                  <a:lnTo>
                    <a:pt x="679" y="256"/>
                  </a:lnTo>
                  <a:lnTo>
                    <a:pt x="679" y="255"/>
                  </a:lnTo>
                  <a:lnTo>
                    <a:pt x="680" y="255"/>
                  </a:lnTo>
                  <a:lnTo>
                    <a:pt x="680" y="255"/>
                  </a:lnTo>
                  <a:lnTo>
                    <a:pt x="685" y="258"/>
                  </a:lnTo>
                  <a:lnTo>
                    <a:pt x="688" y="259"/>
                  </a:lnTo>
                  <a:lnTo>
                    <a:pt x="688" y="262"/>
                  </a:lnTo>
                  <a:lnTo>
                    <a:pt x="688" y="262"/>
                  </a:lnTo>
                  <a:lnTo>
                    <a:pt x="688" y="265"/>
                  </a:lnTo>
                  <a:lnTo>
                    <a:pt x="691" y="266"/>
                  </a:lnTo>
                  <a:lnTo>
                    <a:pt x="692" y="268"/>
                  </a:lnTo>
                  <a:lnTo>
                    <a:pt x="692" y="269"/>
                  </a:lnTo>
                  <a:lnTo>
                    <a:pt x="692" y="269"/>
                  </a:lnTo>
                  <a:lnTo>
                    <a:pt x="691" y="273"/>
                  </a:lnTo>
                  <a:lnTo>
                    <a:pt x="689" y="275"/>
                  </a:lnTo>
                  <a:lnTo>
                    <a:pt x="688" y="273"/>
                  </a:lnTo>
                  <a:lnTo>
                    <a:pt x="688" y="273"/>
                  </a:lnTo>
                  <a:lnTo>
                    <a:pt x="685" y="266"/>
                  </a:lnTo>
                  <a:lnTo>
                    <a:pt x="683" y="265"/>
                  </a:lnTo>
                  <a:lnTo>
                    <a:pt x="682" y="263"/>
                  </a:lnTo>
                  <a:lnTo>
                    <a:pt x="682" y="263"/>
                  </a:lnTo>
                  <a:lnTo>
                    <a:pt x="680" y="268"/>
                  </a:lnTo>
                  <a:lnTo>
                    <a:pt x="678" y="272"/>
                  </a:lnTo>
                  <a:lnTo>
                    <a:pt x="678" y="272"/>
                  </a:lnTo>
                  <a:lnTo>
                    <a:pt x="675" y="275"/>
                  </a:lnTo>
                  <a:lnTo>
                    <a:pt x="672" y="275"/>
                  </a:lnTo>
                  <a:lnTo>
                    <a:pt x="672" y="275"/>
                  </a:lnTo>
                  <a:lnTo>
                    <a:pt x="669" y="273"/>
                  </a:lnTo>
                  <a:lnTo>
                    <a:pt x="667" y="273"/>
                  </a:lnTo>
                  <a:lnTo>
                    <a:pt x="665" y="273"/>
                  </a:lnTo>
                  <a:lnTo>
                    <a:pt x="665" y="273"/>
                  </a:lnTo>
                  <a:lnTo>
                    <a:pt x="662" y="275"/>
                  </a:lnTo>
                  <a:lnTo>
                    <a:pt x="659" y="276"/>
                  </a:lnTo>
                  <a:lnTo>
                    <a:pt x="657" y="276"/>
                  </a:lnTo>
                  <a:lnTo>
                    <a:pt x="657" y="276"/>
                  </a:lnTo>
                  <a:lnTo>
                    <a:pt x="656" y="273"/>
                  </a:lnTo>
                  <a:lnTo>
                    <a:pt x="654" y="272"/>
                  </a:lnTo>
                  <a:lnTo>
                    <a:pt x="654" y="271"/>
                  </a:lnTo>
                  <a:lnTo>
                    <a:pt x="653" y="271"/>
                  </a:lnTo>
                  <a:lnTo>
                    <a:pt x="653" y="271"/>
                  </a:lnTo>
                  <a:lnTo>
                    <a:pt x="649" y="275"/>
                  </a:lnTo>
                  <a:lnTo>
                    <a:pt x="644" y="276"/>
                  </a:lnTo>
                  <a:lnTo>
                    <a:pt x="644" y="276"/>
                  </a:lnTo>
                  <a:lnTo>
                    <a:pt x="643" y="278"/>
                  </a:lnTo>
                  <a:lnTo>
                    <a:pt x="640" y="279"/>
                  </a:lnTo>
                  <a:lnTo>
                    <a:pt x="638" y="279"/>
                  </a:lnTo>
                  <a:lnTo>
                    <a:pt x="638" y="279"/>
                  </a:lnTo>
                  <a:lnTo>
                    <a:pt x="637" y="278"/>
                  </a:lnTo>
                  <a:lnTo>
                    <a:pt x="637" y="275"/>
                  </a:lnTo>
                  <a:lnTo>
                    <a:pt x="636" y="273"/>
                  </a:lnTo>
                  <a:lnTo>
                    <a:pt x="634" y="272"/>
                  </a:lnTo>
                  <a:lnTo>
                    <a:pt x="634" y="272"/>
                  </a:lnTo>
                  <a:lnTo>
                    <a:pt x="625" y="268"/>
                  </a:lnTo>
                  <a:lnTo>
                    <a:pt x="624" y="266"/>
                  </a:lnTo>
                  <a:lnTo>
                    <a:pt x="624" y="265"/>
                  </a:lnTo>
                  <a:close/>
                  <a:moveTo>
                    <a:pt x="631" y="388"/>
                  </a:moveTo>
                  <a:lnTo>
                    <a:pt x="631" y="388"/>
                  </a:lnTo>
                  <a:lnTo>
                    <a:pt x="628" y="389"/>
                  </a:lnTo>
                  <a:lnTo>
                    <a:pt x="625" y="391"/>
                  </a:lnTo>
                  <a:lnTo>
                    <a:pt x="624" y="389"/>
                  </a:lnTo>
                  <a:lnTo>
                    <a:pt x="624" y="389"/>
                  </a:lnTo>
                  <a:lnTo>
                    <a:pt x="624" y="388"/>
                  </a:lnTo>
                  <a:lnTo>
                    <a:pt x="624" y="386"/>
                  </a:lnTo>
                  <a:lnTo>
                    <a:pt x="624" y="384"/>
                  </a:lnTo>
                  <a:lnTo>
                    <a:pt x="623" y="381"/>
                  </a:lnTo>
                  <a:lnTo>
                    <a:pt x="623" y="381"/>
                  </a:lnTo>
                  <a:lnTo>
                    <a:pt x="618" y="373"/>
                  </a:lnTo>
                  <a:lnTo>
                    <a:pt x="618" y="371"/>
                  </a:lnTo>
                  <a:lnTo>
                    <a:pt x="618" y="369"/>
                  </a:lnTo>
                  <a:lnTo>
                    <a:pt x="618" y="369"/>
                  </a:lnTo>
                  <a:lnTo>
                    <a:pt x="623" y="366"/>
                  </a:lnTo>
                  <a:lnTo>
                    <a:pt x="627" y="363"/>
                  </a:lnTo>
                  <a:lnTo>
                    <a:pt x="627" y="363"/>
                  </a:lnTo>
                  <a:lnTo>
                    <a:pt x="634" y="359"/>
                  </a:lnTo>
                  <a:lnTo>
                    <a:pt x="638" y="357"/>
                  </a:lnTo>
                  <a:lnTo>
                    <a:pt x="640" y="357"/>
                  </a:lnTo>
                  <a:lnTo>
                    <a:pt x="640" y="357"/>
                  </a:lnTo>
                  <a:lnTo>
                    <a:pt x="636" y="363"/>
                  </a:lnTo>
                  <a:lnTo>
                    <a:pt x="636" y="368"/>
                  </a:lnTo>
                  <a:lnTo>
                    <a:pt x="636" y="369"/>
                  </a:lnTo>
                  <a:lnTo>
                    <a:pt x="636" y="369"/>
                  </a:lnTo>
                  <a:lnTo>
                    <a:pt x="640" y="371"/>
                  </a:lnTo>
                  <a:lnTo>
                    <a:pt x="640" y="371"/>
                  </a:lnTo>
                  <a:lnTo>
                    <a:pt x="640" y="373"/>
                  </a:lnTo>
                  <a:lnTo>
                    <a:pt x="640" y="373"/>
                  </a:lnTo>
                  <a:lnTo>
                    <a:pt x="636" y="381"/>
                  </a:lnTo>
                  <a:lnTo>
                    <a:pt x="631" y="388"/>
                  </a:lnTo>
                  <a:close/>
                  <a:moveTo>
                    <a:pt x="649" y="598"/>
                  </a:moveTo>
                  <a:lnTo>
                    <a:pt x="649" y="598"/>
                  </a:lnTo>
                  <a:lnTo>
                    <a:pt x="647" y="596"/>
                  </a:lnTo>
                  <a:lnTo>
                    <a:pt x="646" y="595"/>
                  </a:lnTo>
                  <a:lnTo>
                    <a:pt x="646" y="594"/>
                  </a:lnTo>
                  <a:lnTo>
                    <a:pt x="643" y="592"/>
                  </a:lnTo>
                  <a:lnTo>
                    <a:pt x="643" y="592"/>
                  </a:lnTo>
                  <a:lnTo>
                    <a:pt x="641" y="591"/>
                  </a:lnTo>
                  <a:lnTo>
                    <a:pt x="640" y="589"/>
                  </a:lnTo>
                  <a:lnTo>
                    <a:pt x="640" y="586"/>
                  </a:lnTo>
                  <a:lnTo>
                    <a:pt x="643" y="585"/>
                  </a:lnTo>
                  <a:lnTo>
                    <a:pt x="643" y="585"/>
                  </a:lnTo>
                  <a:lnTo>
                    <a:pt x="649" y="583"/>
                  </a:lnTo>
                  <a:lnTo>
                    <a:pt x="653" y="582"/>
                  </a:lnTo>
                  <a:lnTo>
                    <a:pt x="656" y="578"/>
                  </a:lnTo>
                  <a:lnTo>
                    <a:pt x="656" y="578"/>
                  </a:lnTo>
                  <a:lnTo>
                    <a:pt x="662" y="566"/>
                  </a:lnTo>
                  <a:lnTo>
                    <a:pt x="665" y="559"/>
                  </a:lnTo>
                  <a:lnTo>
                    <a:pt x="665" y="559"/>
                  </a:lnTo>
                  <a:lnTo>
                    <a:pt x="667" y="553"/>
                  </a:lnTo>
                  <a:lnTo>
                    <a:pt x="669" y="552"/>
                  </a:lnTo>
                  <a:lnTo>
                    <a:pt x="670" y="553"/>
                  </a:lnTo>
                  <a:lnTo>
                    <a:pt x="670" y="553"/>
                  </a:lnTo>
                  <a:lnTo>
                    <a:pt x="673" y="560"/>
                  </a:lnTo>
                  <a:lnTo>
                    <a:pt x="673" y="562"/>
                  </a:lnTo>
                  <a:lnTo>
                    <a:pt x="675" y="562"/>
                  </a:lnTo>
                  <a:lnTo>
                    <a:pt x="675" y="562"/>
                  </a:lnTo>
                  <a:lnTo>
                    <a:pt x="678" y="563"/>
                  </a:lnTo>
                  <a:lnTo>
                    <a:pt x="678" y="566"/>
                  </a:lnTo>
                  <a:lnTo>
                    <a:pt x="676" y="569"/>
                  </a:lnTo>
                  <a:lnTo>
                    <a:pt x="675" y="572"/>
                  </a:lnTo>
                  <a:lnTo>
                    <a:pt x="675" y="572"/>
                  </a:lnTo>
                  <a:lnTo>
                    <a:pt x="672" y="573"/>
                  </a:lnTo>
                  <a:lnTo>
                    <a:pt x="669" y="573"/>
                  </a:lnTo>
                  <a:lnTo>
                    <a:pt x="666" y="573"/>
                  </a:lnTo>
                  <a:lnTo>
                    <a:pt x="663" y="575"/>
                  </a:lnTo>
                  <a:lnTo>
                    <a:pt x="663" y="575"/>
                  </a:lnTo>
                  <a:lnTo>
                    <a:pt x="654" y="585"/>
                  </a:lnTo>
                  <a:lnTo>
                    <a:pt x="651" y="589"/>
                  </a:lnTo>
                  <a:lnTo>
                    <a:pt x="650" y="592"/>
                  </a:lnTo>
                  <a:lnTo>
                    <a:pt x="650" y="592"/>
                  </a:lnTo>
                  <a:lnTo>
                    <a:pt x="650" y="596"/>
                  </a:lnTo>
                  <a:lnTo>
                    <a:pt x="650" y="598"/>
                  </a:lnTo>
                  <a:lnTo>
                    <a:pt x="649" y="598"/>
                  </a:lnTo>
                  <a:close/>
                  <a:moveTo>
                    <a:pt x="680" y="749"/>
                  </a:moveTo>
                  <a:lnTo>
                    <a:pt x="680" y="749"/>
                  </a:lnTo>
                  <a:lnTo>
                    <a:pt x="679" y="747"/>
                  </a:lnTo>
                  <a:lnTo>
                    <a:pt x="678" y="743"/>
                  </a:lnTo>
                  <a:lnTo>
                    <a:pt x="676" y="737"/>
                  </a:lnTo>
                  <a:lnTo>
                    <a:pt x="676" y="736"/>
                  </a:lnTo>
                  <a:lnTo>
                    <a:pt x="676" y="736"/>
                  </a:lnTo>
                  <a:lnTo>
                    <a:pt x="679" y="736"/>
                  </a:lnTo>
                  <a:lnTo>
                    <a:pt x="682" y="736"/>
                  </a:lnTo>
                  <a:lnTo>
                    <a:pt x="685" y="738"/>
                  </a:lnTo>
                  <a:lnTo>
                    <a:pt x="686" y="740"/>
                  </a:lnTo>
                  <a:lnTo>
                    <a:pt x="686" y="740"/>
                  </a:lnTo>
                  <a:lnTo>
                    <a:pt x="686" y="746"/>
                  </a:lnTo>
                  <a:lnTo>
                    <a:pt x="685" y="747"/>
                  </a:lnTo>
                  <a:lnTo>
                    <a:pt x="680" y="749"/>
                  </a:lnTo>
                  <a:close/>
                  <a:moveTo>
                    <a:pt x="714" y="740"/>
                  </a:moveTo>
                  <a:lnTo>
                    <a:pt x="714" y="740"/>
                  </a:lnTo>
                  <a:lnTo>
                    <a:pt x="712" y="746"/>
                  </a:lnTo>
                  <a:lnTo>
                    <a:pt x="711" y="747"/>
                  </a:lnTo>
                  <a:lnTo>
                    <a:pt x="708" y="747"/>
                  </a:lnTo>
                  <a:lnTo>
                    <a:pt x="708" y="747"/>
                  </a:lnTo>
                  <a:lnTo>
                    <a:pt x="707" y="746"/>
                  </a:lnTo>
                  <a:lnTo>
                    <a:pt x="705" y="744"/>
                  </a:lnTo>
                  <a:lnTo>
                    <a:pt x="705" y="738"/>
                  </a:lnTo>
                  <a:lnTo>
                    <a:pt x="707" y="734"/>
                  </a:lnTo>
                  <a:lnTo>
                    <a:pt x="707" y="730"/>
                  </a:lnTo>
                  <a:lnTo>
                    <a:pt x="707" y="730"/>
                  </a:lnTo>
                  <a:lnTo>
                    <a:pt x="708" y="728"/>
                  </a:lnTo>
                  <a:lnTo>
                    <a:pt x="709" y="727"/>
                  </a:lnTo>
                  <a:lnTo>
                    <a:pt x="709" y="727"/>
                  </a:lnTo>
                  <a:lnTo>
                    <a:pt x="708" y="725"/>
                  </a:lnTo>
                  <a:lnTo>
                    <a:pt x="707" y="724"/>
                  </a:lnTo>
                  <a:lnTo>
                    <a:pt x="707" y="724"/>
                  </a:lnTo>
                  <a:lnTo>
                    <a:pt x="707" y="718"/>
                  </a:lnTo>
                  <a:lnTo>
                    <a:pt x="707" y="717"/>
                  </a:lnTo>
                  <a:lnTo>
                    <a:pt x="705" y="717"/>
                  </a:lnTo>
                  <a:lnTo>
                    <a:pt x="705" y="717"/>
                  </a:lnTo>
                  <a:lnTo>
                    <a:pt x="701" y="721"/>
                  </a:lnTo>
                  <a:lnTo>
                    <a:pt x="699" y="721"/>
                  </a:lnTo>
                  <a:lnTo>
                    <a:pt x="698" y="720"/>
                  </a:lnTo>
                  <a:lnTo>
                    <a:pt x="698" y="720"/>
                  </a:lnTo>
                  <a:lnTo>
                    <a:pt x="701" y="712"/>
                  </a:lnTo>
                  <a:lnTo>
                    <a:pt x="701" y="708"/>
                  </a:lnTo>
                  <a:lnTo>
                    <a:pt x="699" y="708"/>
                  </a:lnTo>
                  <a:lnTo>
                    <a:pt x="699" y="707"/>
                  </a:lnTo>
                  <a:lnTo>
                    <a:pt x="699" y="707"/>
                  </a:lnTo>
                  <a:lnTo>
                    <a:pt x="695" y="707"/>
                  </a:lnTo>
                  <a:lnTo>
                    <a:pt x="692" y="708"/>
                  </a:lnTo>
                  <a:lnTo>
                    <a:pt x="688" y="708"/>
                  </a:lnTo>
                  <a:lnTo>
                    <a:pt x="685" y="705"/>
                  </a:lnTo>
                  <a:lnTo>
                    <a:pt x="685" y="705"/>
                  </a:lnTo>
                  <a:lnTo>
                    <a:pt x="678" y="695"/>
                  </a:lnTo>
                  <a:lnTo>
                    <a:pt x="675" y="688"/>
                  </a:lnTo>
                  <a:lnTo>
                    <a:pt x="673" y="685"/>
                  </a:lnTo>
                  <a:lnTo>
                    <a:pt x="673" y="685"/>
                  </a:lnTo>
                  <a:lnTo>
                    <a:pt x="673" y="682"/>
                  </a:lnTo>
                  <a:lnTo>
                    <a:pt x="675" y="680"/>
                  </a:lnTo>
                  <a:lnTo>
                    <a:pt x="676" y="679"/>
                  </a:lnTo>
                  <a:lnTo>
                    <a:pt x="673" y="679"/>
                  </a:lnTo>
                  <a:lnTo>
                    <a:pt x="673" y="679"/>
                  </a:lnTo>
                  <a:lnTo>
                    <a:pt x="666" y="678"/>
                  </a:lnTo>
                  <a:lnTo>
                    <a:pt x="663" y="676"/>
                  </a:lnTo>
                  <a:lnTo>
                    <a:pt x="663" y="675"/>
                  </a:lnTo>
                  <a:lnTo>
                    <a:pt x="663" y="675"/>
                  </a:lnTo>
                  <a:lnTo>
                    <a:pt x="666" y="663"/>
                  </a:lnTo>
                  <a:lnTo>
                    <a:pt x="669" y="659"/>
                  </a:lnTo>
                  <a:lnTo>
                    <a:pt x="669" y="657"/>
                  </a:lnTo>
                  <a:lnTo>
                    <a:pt x="670" y="657"/>
                  </a:lnTo>
                  <a:lnTo>
                    <a:pt x="670" y="657"/>
                  </a:lnTo>
                  <a:lnTo>
                    <a:pt x="676" y="657"/>
                  </a:lnTo>
                  <a:lnTo>
                    <a:pt x="682" y="657"/>
                  </a:lnTo>
                  <a:lnTo>
                    <a:pt x="682" y="657"/>
                  </a:lnTo>
                  <a:lnTo>
                    <a:pt x="685" y="659"/>
                  </a:lnTo>
                  <a:lnTo>
                    <a:pt x="688" y="662"/>
                  </a:lnTo>
                  <a:lnTo>
                    <a:pt x="689" y="665"/>
                  </a:lnTo>
                  <a:lnTo>
                    <a:pt x="691" y="669"/>
                  </a:lnTo>
                  <a:lnTo>
                    <a:pt x="691" y="669"/>
                  </a:lnTo>
                  <a:lnTo>
                    <a:pt x="693" y="679"/>
                  </a:lnTo>
                  <a:lnTo>
                    <a:pt x="698" y="688"/>
                  </a:lnTo>
                  <a:lnTo>
                    <a:pt x="698" y="688"/>
                  </a:lnTo>
                  <a:lnTo>
                    <a:pt x="699" y="695"/>
                  </a:lnTo>
                  <a:lnTo>
                    <a:pt x="699" y="699"/>
                  </a:lnTo>
                  <a:lnTo>
                    <a:pt x="702" y="704"/>
                  </a:lnTo>
                  <a:lnTo>
                    <a:pt x="702" y="704"/>
                  </a:lnTo>
                  <a:lnTo>
                    <a:pt x="707" y="708"/>
                  </a:lnTo>
                  <a:lnTo>
                    <a:pt x="708" y="711"/>
                  </a:lnTo>
                  <a:lnTo>
                    <a:pt x="708" y="714"/>
                  </a:lnTo>
                  <a:lnTo>
                    <a:pt x="708" y="714"/>
                  </a:lnTo>
                  <a:lnTo>
                    <a:pt x="711" y="718"/>
                  </a:lnTo>
                  <a:lnTo>
                    <a:pt x="714" y="724"/>
                  </a:lnTo>
                  <a:lnTo>
                    <a:pt x="714" y="724"/>
                  </a:lnTo>
                  <a:lnTo>
                    <a:pt x="714" y="724"/>
                  </a:lnTo>
                  <a:lnTo>
                    <a:pt x="714" y="725"/>
                  </a:lnTo>
                  <a:lnTo>
                    <a:pt x="712" y="725"/>
                  </a:lnTo>
                  <a:lnTo>
                    <a:pt x="712" y="725"/>
                  </a:lnTo>
                  <a:lnTo>
                    <a:pt x="712" y="725"/>
                  </a:lnTo>
                  <a:lnTo>
                    <a:pt x="714" y="733"/>
                  </a:lnTo>
                  <a:lnTo>
                    <a:pt x="714" y="740"/>
                  </a:lnTo>
                  <a:close/>
                  <a:moveTo>
                    <a:pt x="725" y="336"/>
                  </a:moveTo>
                  <a:lnTo>
                    <a:pt x="725" y="336"/>
                  </a:lnTo>
                  <a:lnTo>
                    <a:pt x="722" y="336"/>
                  </a:lnTo>
                  <a:lnTo>
                    <a:pt x="720" y="333"/>
                  </a:lnTo>
                  <a:lnTo>
                    <a:pt x="718" y="330"/>
                  </a:lnTo>
                  <a:lnTo>
                    <a:pt x="718" y="329"/>
                  </a:lnTo>
                  <a:lnTo>
                    <a:pt x="718" y="329"/>
                  </a:lnTo>
                  <a:lnTo>
                    <a:pt x="724" y="326"/>
                  </a:lnTo>
                  <a:lnTo>
                    <a:pt x="731" y="326"/>
                  </a:lnTo>
                  <a:lnTo>
                    <a:pt x="731" y="326"/>
                  </a:lnTo>
                  <a:lnTo>
                    <a:pt x="737" y="329"/>
                  </a:lnTo>
                  <a:lnTo>
                    <a:pt x="744" y="331"/>
                  </a:lnTo>
                  <a:lnTo>
                    <a:pt x="749" y="336"/>
                  </a:lnTo>
                  <a:lnTo>
                    <a:pt x="750" y="336"/>
                  </a:lnTo>
                  <a:lnTo>
                    <a:pt x="750" y="337"/>
                  </a:lnTo>
                  <a:lnTo>
                    <a:pt x="750" y="337"/>
                  </a:lnTo>
                  <a:lnTo>
                    <a:pt x="737" y="334"/>
                  </a:lnTo>
                  <a:lnTo>
                    <a:pt x="737" y="334"/>
                  </a:lnTo>
                  <a:lnTo>
                    <a:pt x="725" y="336"/>
                  </a:lnTo>
                  <a:close/>
                  <a:moveTo>
                    <a:pt x="795" y="666"/>
                  </a:moveTo>
                  <a:lnTo>
                    <a:pt x="795" y="666"/>
                  </a:lnTo>
                  <a:lnTo>
                    <a:pt x="792" y="665"/>
                  </a:lnTo>
                  <a:lnTo>
                    <a:pt x="788" y="662"/>
                  </a:lnTo>
                  <a:lnTo>
                    <a:pt x="788" y="659"/>
                  </a:lnTo>
                  <a:lnTo>
                    <a:pt x="788" y="657"/>
                  </a:lnTo>
                  <a:lnTo>
                    <a:pt x="791" y="657"/>
                  </a:lnTo>
                  <a:lnTo>
                    <a:pt x="791" y="657"/>
                  </a:lnTo>
                  <a:lnTo>
                    <a:pt x="795" y="659"/>
                  </a:lnTo>
                  <a:lnTo>
                    <a:pt x="799" y="660"/>
                  </a:lnTo>
                  <a:lnTo>
                    <a:pt x="802" y="663"/>
                  </a:lnTo>
                  <a:lnTo>
                    <a:pt x="802" y="663"/>
                  </a:lnTo>
                  <a:lnTo>
                    <a:pt x="801" y="665"/>
                  </a:lnTo>
                  <a:lnTo>
                    <a:pt x="795" y="666"/>
                  </a:lnTo>
                  <a:close/>
                  <a:moveTo>
                    <a:pt x="846" y="770"/>
                  </a:moveTo>
                  <a:lnTo>
                    <a:pt x="846" y="770"/>
                  </a:lnTo>
                  <a:lnTo>
                    <a:pt x="843" y="770"/>
                  </a:lnTo>
                  <a:lnTo>
                    <a:pt x="841" y="767"/>
                  </a:lnTo>
                  <a:lnTo>
                    <a:pt x="838" y="763"/>
                  </a:lnTo>
                  <a:lnTo>
                    <a:pt x="837" y="756"/>
                  </a:lnTo>
                  <a:lnTo>
                    <a:pt x="837" y="754"/>
                  </a:lnTo>
                  <a:lnTo>
                    <a:pt x="838" y="753"/>
                  </a:lnTo>
                  <a:lnTo>
                    <a:pt x="838" y="753"/>
                  </a:lnTo>
                  <a:lnTo>
                    <a:pt x="840" y="753"/>
                  </a:lnTo>
                  <a:lnTo>
                    <a:pt x="843" y="754"/>
                  </a:lnTo>
                  <a:lnTo>
                    <a:pt x="846" y="757"/>
                  </a:lnTo>
                  <a:lnTo>
                    <a:pt x="848" y="760"/>
                  </a:lnTo>
                  <a:lnTo>
                    <a:pt x="848" y="760"/>
                  </a:lnTo>
                  <a:lnTo>
                    <a:pt x="850" y="763"/>
                  </a:lnTo>
                  <a:lnTo>
                    <a:pt x="850" y="766"/>
                  </a:lnTo>
                  <a:lnTo>
                    <a:pt x="848" y="769"/>
                  </a:lnTo>
                  <a:lnTo>
                    <a:pt x="846" y="770"/>
                  </a:lnTo>
                  <a:close/>
                  <a:moveTo>
                    <a:pt x="1219" y="659"/>
                  </a:moveTo>
                  <a:lnTo>
                    <a:pt x="1219" y="659"/>
                  </a:lnTo>
                  <a:lnTo>
                    <a:pt x="1218" y="656"/>
                  </a:lnTo>
                  <a:lnTo>
                    <a:pt x="1216" y="654"/>
                  </a:lnTo>
                  <a:lnTo>
                    <a:pt x="1216" y="653"/>
                  </a:lnTo>
                  <a:lnTo>
                    <a:pt x="1212" y="652"/>
                  </a:lnTo>
                  <a:lnTo>
                    <a:pt x="1212" y="652"/>
                  </a:lnTo>
                  <a:lnTo>
                    <a:pt x="1198" y="644"/>
                  </a:lnTo>
                  <a:lnTo>
                    <a:pt x="1192" y="640"/>
                  </a:lnTo>
                  <a:lnTo>
                    <a:pt x="1190" y="638"/>
                  </a:lnTo>
                  <a:lnTo>
                    <a:pt x="1190" y="637"/>
                  </a:lnTo>
                  <a:lnTo>
                    <a:pt x="1190" y="637"/>
                  </a:lnTo>
                  <a:lnTo>
                    <a:pt x="1195" y="636"/>
                  </a:lnTo>
                  <a:lnTo>
                    <a:pt x="1199" y="636"/>
                  </a:lnTo>
                  <a:lnTo>
                    <a:pt x="1208" y="638"/>
                  </a:lnTo>
                  <a:lnTo>
                    <a:pt x="1208" y="638"/>
                  </a:lnTo>
                  <a:lnTo>
                    <a:pt x="1218" y="643"/>
                  </a:lnTo>
                  <a:lnTo>
                    <a:pt x="1225" y="647"/>
                  </a:lnTo>
                  <a:lnTo>
                    <a:pt x="1228" y="650"/>
                  </a:lnTo>
                  <a:lnTo>
                    <a:pt x="1228" y="650"/>
                  </a:lnTo>
                  <a:lnTo>
                    <a:pt x="1228" y="653"/>
                  </a:lnTo>
                  <a:lnTo>
                    <a:pt x="1226" y="657"/>
                  </a:lnTo>
                  <a:lnTo>
                    <a:pt x="1222" y="659"/>
                  </a:lnTo>
                  <a:lnTo>
                    <a:pt x="1219" y="659"/>
                  </a:lnTo>
                  <a:close/>
                  <a:moveTo>
                    <a:pt x="1258" y="641"/>
                  </a:moveTo>
                  <a:lnTo>
                    <a:pt x="1258" y="641"/>
                  </a:lnTo>
                  <a:lnTo>
                    <a:pt x="1255" y="644"/>
                  </a:lnTo>
                  <a:lnTo>
                    <a:pt x="1253" y="644"/>
                  </a:lnTo>
                  <a:lnTo>
                    <a:pt x="1251" y="644"/>
                  </a:lnTo>
                  <a:lnTo>
                    <a:pt x="1251" y="644"/>
                  </a:lnTo>
                  <a:lnTo>
                    <a:pt x="1245" y="646"/>
                  </a:lnTo>
                  <a:lnTo>
                    <a:pt x="1242" y="647"/>
                  </a:lnTo>
                  <a:lnTo>
                    <a:pt x="1242" y="647"/>
                  </a:lnTo>
                  <a:lnTo>
                    <a:pt x="1240" y="649"/>
                  </a:lnTo>
                  <a:lnTo>
                    <a:pt x="1237" y="650"/>
                  </a:lnTo>
                  <a:lnTo>
                    <a:pt x="1237" y="647"/>
                  </a:lnTo>
                  <a:lnTo>
                    <a:pt x="1237" y="647"/>
                  </a:lnTo>
                  <a:lnTo>
                    <a:pt x="1237" y="643"/>
                  </a:lnTo>
                  <a:lnTo>
                    <a:pt x="1235" y="640"/>
                  </a:lnTo>
                  <a:lnTo>
                    <a:pt x="1235" y="640"/>
                  </a:lnTo>
                  <a:lnTo>
                    <a:pt x="1229" y="638"/>
                  </a:lnTo>
                  <a:lnTo>
                    <a:pt x="1224" y="638"/>
                  </a:lnTo>
                  <a:lnTo>
                    <a:pt x="1224" y="638"/>
                  </a:lnTo>
                  <a:lnTo>
                    <a:pt x="1218" y="637"/>
                  </a:lnTo>
                  <a:lnTo>
                    <a:pt x="1216" y="636"/>
                  </a:lnTo>
                  <a:lnTo>
                    <a:pt x="1215" y="633"/>
                  </a:lnTo>
                  <a:lnTo>
                    <a:pt x="1215" y="633"/>
                  </a:lnTo>
                  <a:lnTo>
                    <a:pt x="1215" y="630"/>
                  </a:lnTo>
                  <a:lnTo>
                    <a:pt x="1216" y="628"/>
                  </a:lnTo>
                  <a:lnTo>
                    <a:pt x="1218" y="630"/>
                  </a:lnTo>
                  <a:lnTo>
                    <a:pt x="1218" y="630"/>
                  </a:lnTo>
                  <a:lnTo>
                    <a:pt x="1225" y="631"/>
                  </a:lnTo>
                  <a:lnTo>
                    <a:pt x="1229" y="633"/>
                  </a:lnTo>
                  <a:lnTo>
                    <a:pt x="1231" y="631"/>
                  </a:lnTo>
                  <a:lnTo>
                    <a:pt x="1231" y="631"/>
                  </a:lnTo>
                  <a:lnTo>
                    <a:pt x="1231" y="630"/>
                  </a:lnTo>
                  <a:lnTo>
                    <a:pt x="1229" y="627"/>
                  </a:lnTo>
                  <a:lnTo>
                    <a:pt x="1229" y="624"/>
                  </a:lnTo>
                  <a:lnTo>
                    <a:pt x="1231" y="623"/>
                  </a:lnTo>
                  <a:lnTo>
                    <a:pt x="1231" y="623"/>
                  </a:lnTo>
                  <a:lnTo>
                    <a:pt x="1235" y="625"/>
                  </a:lnTo>
                  <a:lnTo>
                    <a:pt x="1240" y="628"/>
                  </a:lnTo>
                  <a:lnTo>
                    <a:pt x="1242" y="631"/>
                  </a:lnTo>
                  <a:lnTo>
                    <a:pt x="1245" y="634"/>
                  </a:lnTo>
                  <a:lnTo>
                    <a:pt x="1245" y="634"/>
                  </a:lnTo>
                  <a:lnTo>
                    <a:pt x="1250" y="634"/>
                  </a:lnTo>
                  <a:lnTo>
                    <a:pt x="1254" y="634"/>
                  </a:lnTo>
                  <a:lnTo>
                    <a:pt x="1257" y="634"/>
                  </a:lnTo>
                  <a:lnTo>
                    <a:pt x="1258" y="636"/>
                  </a:lnTo>
                  <a:lnTo>
                    <a:pt x="1258" y="637"/>
                  </a:lnTo>
                  <a:lnTo>
                    <a:pt x="1258" y="641"/>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63" name="Freeform 1186"/>
            <p:cNvSpPr>
              <a:spLocks/>
            </p:cNvSpPr>
            <p:nvPr/>
          </p:nvSpPr>
          <p:spPr bwMode="auto">
            <a:xfrm>
              <a:off x="701675" y="2091959"/>
              <a:ext cx="2174875" cy="1487488"/>
            </a:xfrm>
            <a:custGeom>
              <a:avLst/>
              <a:gdLst>
                <a:gd name="T0" fmla="*/ 1328 w 1370"/>
                <a:gd name="T1" fmla="*/ 650 h 937"/>
                <a:gd name="T2" fmla="*/ 1313 w 1370"/>
                <a:gd name="T3" fmla="*/ 621 h 937"/>
                <a:gd name="T4" fmla="*/ 1270 w 1370"/>
                <a:gd name="T5" fmla="*/ 556 h 937"/>
                <a:gd name="T6" fmla="*/ 1245 w 1370"/>
                <a:gd name="T7" fmla="*/ 499 h 937"/>
                <a:gd name="T8" fmla="*/ 1200 w 1370"/>
                <a:gd name="T9" fmla="*/ 515 h 937"/>
                <a:gd name="T10" fmla="*/ 1141 w 1370"/>
                <a:gd name="T11" fmla="*/ 498 h 937"/>
                <a:gd name="T12" fmla="*/ 1112 w 1370"/>
                <a:gd name="T13" fmla="*/ 421 h 937"/>
                <a:gd name="T14" fmla="*/ 1008 w 1370"/>
                <a:gd name="T15" fmla="*/ 399 h 937"/>
                <a:gd name="T16" fmla="*/ 1011 w 1370"/>
                <a:gd name="T17" fmla="*/ 475 h 937"/>
                <a:gd name="T18" fmla="*/ 1014 w 1370"/>
                <a:gd name="T19" fmla="*/ 550 h 937"/>
                <a:gd name="T20" fmla="*/ 995 w 1370"/>
                <a:gd name="T21" fmla="*/ 660 h 937"/>
                <a:gd name="T22" fmla="*/ 983 w 1370"/>
                <a:gd name="T23" fmla="*/ 731 h 937"/>
                <a:gd name="T24" fmla="*/ 930 w 1370"/>
                <a:gd name="T25" fmla="*/ 637 h 937"/>
                <a:gd name="T26" fmla="*/ 795 w 1370"/>
                <a:gd name="T27" fmla="*/ 562 h 937"/>
                <a:gd name="T28" fmla="*/ 746 w 1370"/>
                <a:gd name="T29" fmla="*/ 452 h 937"/>
                <a:gd name="T30" fmla="*/ 776 w 1370"/>
                <a:gd name="T31" fmla="*/ 407 h 937"/>
                <a:gd name="T32" fmla="*/ 779 w 1370"/>
                <a:gd name="T33" fmla="*/ 347 h 937"/>
                <a:gd name="T34" fmla="*/ 851 w 1370"/>
                <a:gd name="T35" fmla="*/ 311 h 937"/>
                <a:gd name="T36" fmla="*/ 809 w 1370"/>
                <a:gd name="T37" fmla="*/ 269 h 937"/>
                <a:gd name="T38" fmla="*/ 893 w 1370"/>
                <a:gd name="T39" fmla="*/ 259 h 937"/>
                <a:gd name="T40" fmla="*/ 917 w 1370"/>
                <a:gd name="T41" fmla="*/ 249 h 937"/>
                <a:gd name="T42" fmla="*/ 944 w 1370"/>
                <a:gd name="T43" fmla="*/ 165 h 937"/>
                <a:gd name="T44" fmla="*/ 944 w 1370"/>
                <a:gd name="T45" fmla="*/ 123 h 937"/>
                <a:gd name="T46" fmla="*/ 892 w 1370"/>
                <a:gd name="T47" fmla="*/ 110 h 937"/>
                <a:gd name="T48" fmla="*/ 885 w 1370"/>
                <a:gd name="T49" fmla="*/ 176 h 937"/>
                <a:gd name="T50" fmla="*/ 844 w 1370"/>
                <a:gd name="T51" fmla="*/ 181 h 937"/>
                <a:gd name="T52" fmla="*/ 821 w 1370"/>
                <a:gd name="T53" fmla="*/ 155 h 937"/>
                <a:gd name="T54" fmla="*/ 775 w 1370"/>
                <a:gd name="T55" fmla="*/ 104 h 937"/>
                <a:gd name="T56" fmla="*/ 763 w 1370"/>
                <a:gd name="T57" fmla="*/ 39 h 937"/>
                <a:gd name="T58" fmla="*/ 715 w 1370"/>
                <a:gd name="T59" fmla="*/ 29 h 937"/>
                <a:gd name="T60" fmla="*/ 762 w 1370"/>
                <a:gd name="T61" fmla="*/ 114 h 937"/>
                <a:gd name="T62" fmla="*/ 741 w 1370"/>
                <a:gd name="T63" fmla="*/ 165 h 937"/>
                <a:gd name="T64" fmla="*/ 711 w 1370"/>
                <a:gd name="T65" fmla="*/ 187 h 937"/>
                <a:gd name="T66" fmla="*/ 667 w 1370"/>
                <a:gd name="T67" fmla="*/ 189 h 937"/>
                <a:gd name="T68" fmla="*/ 566 w 1370"/>
                <a:gd name="T69" fmla="*/ 147 h 937"/>
                <a:gd name="T70" fmla="*/ 554 w 1370"/>
                <a:gd name="T71" fmla="*/ 156 h 937"/>
                <a:gd name="T72" fmla="*/ 521 w 1370"/>
                <a:gd name="T73" fmla="*/ 226 h 937"/>
                <a:gd name="T74" fmla="*/ 488 w 1370"/>
                <a:gd name="T75" fmla="*/ 191 h 937"/>
                <a:gd name="T76" fmla="*/ 407 w 1370"/>
                <a:gd name="T77" fmla="*/ 174 h 937"/>
                <a:gd name="T78" fmla="*/ 378 w 1370"/>
                <a:gd name="T79" fmla="*/ 143 h 937"/>
                <a:gd name="T80" fmla="*/ 273 w 1370"/>
                <a:gd name="T81" fmla="*/ 107 h 937"/>
                <a:gd name="T82" fmla="*/ 231 w 1370"/>
                <a:gd name="T83" fmla="*/ 87 h 937"/>
                <a:gd name="T84" fmla="*/ 205 w 1370"/>
                <a:gd name="T85" fmla="*/ 104 h 937"/>
                <a:gd name="T86" fmla="*/ 150 w 1370"/>
                <a:gd name="T87" fmla="*/ 108 h 937"/>
                <a:gd name="T88" fmla="*/ 87 w 1370"/>
                <a:gd name="T89" fmla="*/ 146 h 937"/>
                <a:gd name="T90" fmla="*/ 11 w 1370"/>
                <a:gd name="T91" fmla="*/ 463 h 937"/>
                <a:gd name="T92" fmla="*/ 117 w 1370"/>
                <a:gd name="T93" fmla="*/ 524 h 937"/>
                <a:gd name="T94" fmla="*/ 176 w 1370"/>
                <a:gd name="T95" fmla="*/ 660 h 937"/>
                <a:gd name="T96" fmla="*/ 226 w 1370"/>
                <a:gd name="T97" fmla="*/ 694 h 937"/>
                <a:gd name="T98" fmla="*/ 262 w 1370"/>
                <a:gd name="T99" fmla="*/ 740 h 937"/>
                <a:gd name="T100" fmla="*/ 782 w 1370"/>
                <a:gd name="T101" fmla="*/ 795 h 937"/>
                <a:gd name="T102" fmla="*/ 880 w 1370"/>
                <a:gd name="T103" fmla="*/ 793 h 937"/>
                <a:gd name="T104" fmla="*/ 979 w 1370"/>
                <a:gd name="T105" fmla="*/ 866 h 937"/>
                <a:gd name="T106" fmla="*/ 944 w 1370"/>
                <a:gd name="T107" fmla="*/ 917 h 937"/>
                <a:gd name="T108" fmla="*/ 993 w 1370"/>
                <a:gd name="T109" fmla="*/ 905 h 937"/>
                <a:gd name="T110" fmla="*/ 1177 w 1370"/>
                <a:gd name="T111" fmla="*/ 822 h 937"/>
                <a:gd name="T112" fmla="*/ 1242 w 1370"/>
                <a:gd name="T113" fmla="*/ 864 h 937"/>
                <a:gd name="T114" fmla="*/ 1255 w 1370"/>
                <a:gd name="T115" fmla="*/ 883 h 937"/>
                <a:gd name="T116" fmla="*/ 1228 w 1370"/>
                <a:gd name="T117" fmla="*/ 846 h 937"/>
                <a:gd name="T118" fmla="*/ 1231 w 1370"/>
                <a:gd name="T119" fmla="*/ 795 h 937"/>
                <a:gd name="T120" fmla="*/ 1145 w 1370"/>
                <a:gd name="T121" fmla="*/ 802 h 937"/>
                <a:gd name="T122" fmla="*/ 1347 w 1370"/>
                <a:gd name="T123" fmla="*/ 715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0" h="937">
                  <a:moveTo>
                    <a:pt x="1366" y="696"/>
                  </a:moveTo>
                  <a:lnTo>
                    <a:pt x="1366" y="696"/>
                  </a:lnTo>
                  <a:lnTo>
                    <a:pt x="1361" y="695"/>
                  </a:lnTo>
                  <a:lnTo>
                    <a:pt x="1361" y="694"/>
                  </a:lnTo>
                  <a:lnTo>
                    <a:pt x="1361" y="691"/>
                  </a:lnTo>
                  <a:lnTo>
                    <a:pt x="1361" y="691"/>
                  </a:lnTo>
                  <a:lnTo>
                    <a:pt x="1364" y="685"/>
                  </a:lnTo>
                  <a:lnTo>
                    <a:pt x="1366" y="682"/>
                  </a:lnTo>
                  <a:lnTo>
                    <a:pt x="1366" y="679"/>
                  </a:lnTo>
                  <a:lnTo>
                    <a:pt x="1366" y="679"/>
                  </a:lnTo>
                  <a:lnTo>
                    <a:pt x="1364" y="676"/>
                  </a:lnTo>
                  <a:lnTo>
                    <a:pt x="1364" y="676"/>
                  </a:lnTo>
                  <a:lnTo>
                    <a:pt x="1364" y="675"/>
                  </a:lnTo>
                  <a:lnTo>
                    <a:pt x="1364" y="675"/>
                  </a:lnTo>
                  <a:lnTo>
                    <a:pt x="1368" y="670"/>
                  </a:lnTo>
                  <a:lnTo>
                    <a:pt x="1370" y="667"/>
                  </a:lnTo>
                  <a:lnTo>
                    <a:pt x="1368" y="666"/>
                  </a:lnTo>
                  <a:lnTo>
                    <a:pt x="1368" y="666"/>
                  </a:lnTo>
                  <a:lnTo>
                    <a:pt x="1363" y="662"/>
                  </a:lnTo>
                  <a:lnTo>
                    <a:pt x="1358" y="660"/>
                  </a:lnTo>
                  <a:lnTo>
                    <a:pt x="1355" y="660"/>
                  </a:lnTo>
                  <a:lnTo>
                    <a:pt x="1355" y="660"/>
                  </a:lnTo>
                  <a:lnTo>
                    <a:pt x="1352" y="660"/>
                  </a:lnTo>
                  <a:lnTo>
                    <a:pt x="1350" y="662"/>
                  </a:lnTo>
                  <a:lnTo>
                    <a:pt x="1348" y="663"/>
                  </a:lnTo>
                  <a:lnTo>
                    <a:pt x="1347" y="662"/>
                  </a:lnTo>
                  <a:lnTo>
                    <a:pt x="1347" y="662"/>
                  </a:lnTo>
                  <a:lnTo>
                    <a:pt x="1342" y="653"/>
                  </a:lnTo>
                  <a:lnTo>
                    <a:pt x="1339" y="649"/>
                  </a:lnTo>
                  <a:lnTo>
                    <a:pt x="1338" y="647"/>
                  </a:lnTo>
                  <a:lnTo>
                    <a:pt x="1338" y="647"/>
                  </a:lnTo>
                  <a:lnTo>
                    <a:pt x="1328" y="650"/>
                  </a:lnTo>
                  <a:lnTo>
                    <a:pt x="1322" y="653"/>
                  </a:lnTo>
                  <a:lnTo>
                    <a:pt x="1321" y="654"/>
                  </a:lnTo>
                  <a:lnTo>
                    <a:pt x="1321" y="656"/>
                  </a:lnTo>
                  <a:lnTo>
                    <a:pt x="1321" y="656"/>
                  </a:lnTo>
                  <a:lnTo>
                    <a:pt x="1319" y="657"/>
                  </a:lnTo>
                  <a:lnTo>
                    <a:pt x="1319" y="660"/>
                  </a:lnTo>
                  <a:lnTo>
                    <a:pt x="1315" y="662"/>
                  </a:lnTo>
                  <a:lnTo>
                    <a:pt x="1315" y="662"/>
                  </a:lnTo>
                  <a:lnTo>
                    <a:pt x="1303" y="667"/>
                  </a:lnTo>
                  <a:lnTo>
                    <a:pt x="1296" y="670"/>
                  </a:lnTo>
                  <a:lnTo>
                    <a:pt x="1295" y="670"/>
                  </a:lnTo>
                  <a:lnTo>
                    <a:pt x="1293" y="670"/>
                  </a:lnTo>
                  <a:lnTo>
                    <a:pt x="1293" y="670"/>
                  </a:lnTo>
                  <a:lnTo>
                    <a:pt x="1296" y="666"/>
                  </a:lnTo>
                  <a:lnTo>
                    <a:pt x="1300" y="662"/>
                  </a:lnTo>
                  <a:lnTo>
                    <a:pt x="1309" y="654"/>
                  </a:lnTo>
                  <a:lnTo>
                    <a:pt x="1309" y="654"/>
                  </a:lnTo>
                  <a:lnTo>
                    <a:pt x="1315" y="650"/>
                  </a:lnTo>
                  <a:lnTo>
                    <a:pt x="1326" y="646"/>
                  </a:lnTo>
                  <a:lnTo>
                    <a:pt x="1335" y="641"/>
                  </a:lnTo>
                  <a:lnTo>
                    <a:pt x="1339" y="638"/>
                  </a:lnTo>
                  <a:lnTo>
                    <a:pt x="1339" y="638"/>
                  </a:lnTo>
                  <a:lnTo>
                    <a:pt x="1338" y="636"/>
                  </a:lnTo>
                  <a:lnTo>
                    <a:pt x="1335" y="633"/>
                  </a:lnTo>
                  <a:lnTo>
                    <a:pt x="1335" y="633"/>
                  </a:lnTo>
                  <a:lnTo>
                    <a:pt x="1332" y="633"/>
                  </a:lnTo>
                  <a:lnTo>
                    <a:pt x="1328" y="633"/>
                  </a:lnTo>
                  <a:lnTo>
                    <a:pt x="1324" y="631"/>
                  </a:lnTo>
                  <a:lnTo>
                    <a:pt x="1321" y="630"/>
                  </a:lnTo>
                  <a:lnTo>
                    <a:pt x="1321" y="630"/>
                  </a:lnTo>
                  <a:lnTo>
                    <a:pt x="1318" y="625"/>
                  </a:lnTo>
                  <a:lnTo>
                    <a:pt x="1313" y="621"/>
                  </a:lnTo>
                  <a:lnTo>
                    <a:pt x="1313" y="621"/>
                  </a:lnTo>
                  <a:lnTo>
                    <a:pt x="1309" y="621"/>
                  </a:lnTo>
                  <a:lnTo>
                    <a:pt x="1306" y="621"/>
                  </a:lnTo>
                  <a:lnTo>
                    <a:pt x="1303" y="620"/>
                  </a:lnTo>
                  <a:lnTo>
                    <a:pt x="1303" y="620"/>
                  </a:lnTo>
                  <a:lnTo>
                    <a:pt x="1300" y="614"/>
                  </a:lnTo>
                  <a:lnTo>
                    <a:pt x="1297" y="608"/>
                  </a:lnTo>
                  <a:lnTo>
                    <a:pt x="1297" y="608"/>
                  </a:lnTo>
                  <a:lnTo>
                    <a:pt x="1290" y="602"/>
                  </a:lnTo>
                  <a:lnTo>
                    <a:pt x="1286" y="599"/>
                  </a:lnTo>
                  <a:lnTo>
                    <a:pt x="1283" y="598"/>
                  </a:lnTo>
                  <a:lnTo>
                    <a:pt x="1283" y="598"/>
                  </a:lnTo>
                  <a:lnTo>
                    <a:pt x="1280" y="598"/>
                  </a:lnTo>
                  <a:lnTo>
                    <a:pt x="1279" y="596"/>
                  </a:lnTo>
                  <a:lnTo>
                    <a:pt x="1274" y="592"/>
                  </a:lnTo>
                  <a:lnTo>
                    <a:pt x="1274" y="592"/>
                  </a:lnTo>
                  <a:lnTo>
                    <a:pt x="1271" y="591"/>
                  </a:lnTo>
                  <a:lnTo>
                    <a:pt x="1270" y="588"/>
                  </a:lnTo>
                  <a:lnTo>
                    <a:pt x="1268" y="585"/>
                  </a:lnTo>
                  <a:lnTo>
                    <a:pt x="1270" y="583"/>
                  </a:lnTo>
                  <a:lnTo>
                    <a:pt x="1270" y="583"/>
                  </a:lnTo>
                  <a:lnTo>
                    <a:pt x="1276" y="579"/>
                  </a:lnTo>
                  <a:lnTo>
                    <a:pt x="1279" y="578"/>
                  </a:lnTo>
                  <a:lnTo>
                    <a:pt x="1279" y="576"/>
                  </a:lnTo>
                  <a:lnTo>
                    <a:pt x="1279" y="575"/>
                  </a:lnTo>
                  <a:lnTo>
                    <a:pt x="1279" y="575"/>
                  </a:lnTo>
                  <a:lnTo>
                    <a:pt x="1274" y="569"/>
                  </a:lnTo>
                  <a:lnTo>
                    <a:pt x="1271" y="566"/>
                  </a:lnTo>
                  <a:lnTo>
                    <a:pt x="1271" y="563"/>
                  </a:lnTo>
                  <a:lnTo>
                    <a:pt x="1271" y="563"/>
                  </a:lnTo>
                  <a:lnTo>
                    <a:pt x="1271" y="560"/>
                  </a:lnTo>
                  <a:lnTo>
                    <a:pt x="1270" y="556"/>
                  </a:lnTo>
                  <a:lnTo>
                    <a:pt x="1266" y="549"/>
                  </a:lnTo>
                  <a:lnTo>
                    <a:pt x="1266" y="549"/>
                  </a:lnTo>
                  <a:lnTo>
                    <a:pt x="1263" y="544"/>
                  </a:lnTo>
                  <a:lnTo>
                    <a:pt x="1261" y="540"/>
                  </a:lnTo>
                  <a:lnTo>
                    <a:pt x="1260" y="536"/>
                  </a:lnTo>
                  <a:lnTo>
                    <a:pt x="1258" y="534"/>
                  </a:lnTo>
                  <a:lnTo>
                    <a:pt x="1258" y="534"/>
                  </a:lnTo>
                  <a:lnTo>
                    <a:pt x="1255" y="531"/>
                  </a:lnTo>
                  <a:lnTo>
                    <a:pt x="1253" y="528"/>
                  </a:lnTo>
                  <a:lnTo>
                    <a:pt x="1253" y="528"/>
                  </a:lnTo>
                  <a:lnTo>
                    <a:pt x="1247" y="528"/>
                  </a:lnTo>
                  <a:lnTo>
                    <a:pt x="1242" y="527"/>
                  </a:lnTo>
                  <a:lnTo>
                    <a:pt x="1242" y="527"/>
                  </a:lnTo>
                  <a:lnTo>
                    <a:pt x="1242" y="527"/>
                  </a:lnTo>
                  <a:lnTo>
                    <a:pt x="1242" y="527"/>
                  </a:lnTo>
                  <a:lnTo>
                    <a:pt x="1250" y="524"/>
                  </a:lnTo>
                  <a:lnTo>
                    <a:pt x="1253" y="521"/>
                  </a:lnTo>
                  <a:lnTo>
                    <a:pt x="1253" y="520"/>
                  </a:lnTo>
                  <a:lnTo>
                    <a:pt x="1253" y="520"/>
                  </a:lnTo>
                  <a:lnTo>
                    <a:pt x="1251" y="514"/>
                  </a:lnTo>
                  <a:lnTo>
                    <a:pt x="1250" y="512"/>
                  </a:lnTo>
                  <a:lnTo>
                    <a:pt x="1247" y="511"/>
                  </a:lnTo>
                  <a:lnTo>
                    <a:pt x="1247" y="511"/>
                  </a:lnTo>
                  <a:lnTo>
                    <a:pt x="1240" y="511"/>
                  </a:lnTo>
                  <a:lnTo>
                    <a:pt x="1238" y="510"/>
                  </a:lnTo>
                  <a:lnTo>
                    <a:pt x="1237" y="510"/>
                  </a:lnTo>
                  <a:lnTo>
                    <a:pt x="1238" y="508"/>
                  </a:lnTo>
                  <a:lnTo>
                    <a:pt x="1238" y="508"/>
                  </a:lnTo>
                  <a:lnTo>
                    <a:pt x="1241" y="507"/>
                  </a:lnTo>
                  <a:lnTo>
                    <a:pt x="1244" y="504"/>
                  </a:lnTo>
                  <a:lnTo>
                    <a:pt x="1245" y="501"/>
                  </a:lnTo>
                  <a:lnTo>
                    <a:pt x="1245" y="499"/>
                  </a:lnTo>
                  <a:lnTo>
                    <a:pt x="1245" y="499"/>
                  </a:lnTo>
                  <a:lnTo>
                    <a:pt x="1240" y="491"/>
                  </a:lnTo>
                  <a:lnTo>
                    <a:pt x="1237" y="485"/>
                  </a:lnTo>
                  <a:lnTo>
                    <a:pt x="1234" y="484"/>
                  </a:lnTo>
                  <a:lnTo>
                    <a:pt x="1234" y="484"/>
                  </a:lnTo>
                  <a:lnTo>
                    <a:pt x="1232" y="482"/>
                  </a:lnTo>
                  <a:lnTo>
                    <a:pt x="1231" y="481"/>
                  </a:lnTo>
                  <a:lnTo>
                    <a:pt x="1231" y="476"/>
                  </a:lnTo>
                  <a:lnTo>
                    <a:pt x="1231" y="476"/>
                  </a:lnTo>
                  <a:lnTo>
                    <a:pt x="1231" y="468"/>
                  </a:lnTo>
                  <a:lnTo>
                    <a:pt x="1231" y="463"/>
                  </a:lnTo>
                  <a:lnTo>
                    <a:pt x="1231" y="460"/>
                  </a:lnTo>
                  <a:lnTo>
                    <a:pt x="1231" y="460"/>
                  </a:lnTo>
                  <a:lnTo>
                    <a:pt x="1228" y="460"/>
                  </a:lnTo>
                  <a:lnTo>
                    <a:pt x="1225" y="462"/>
                  </a:lnTo>
                  <a:lnTo>
                    <a:pt x="1222" y="463"/>
                  </a:lnTo>
                  <a:lnTo>
                    <a:pt x="1221" y="468"/>
                  </a:lnTo>
                  <a:lnTo>
                    <a:pt x="1221" y="468"/>
                  </a:lnTo>
                  <a:lnTo>
                    <a:pt x="1219" y="478"/>
                  </a:lnTo>
                  <a:lnTo>
                    <a:pt x="1216" y="482"/>
                  </a:lnTo>
                  <a:lnTo>
                    <a:pt x="1215" y="484"/>
                  </a:lnTo>
                  <a:lnTo>
                    <a:pt x="1215" y="484"/>
                  </a:lnTo>
                  <a:lnTo>
                    <a:pt x="1212" y="485"/>
                  </a:lnTo>
                  <a:lnTo>
                    <a:pt x="1209" y="486"/>
                  </a:lnTo>
                  <a:lnTo>
                    <a:pt x="1208" y="491"/>
                  </a:lnTo>
                  <a:lnTo>
                    <a:pt x="1208" y="497"/>
                  </a:lnTo>
                  <a:lnTo>
                    <a:pt x="1208" y="497"/>
                  </a:lnTo>
                  <a:lnTo>
                    <a:pt x="1206" y="504"/>
                  </a:lnTo>
                  <a:lnTo>
                    <a:pt x="1205" y="510"/>
                  </a:lnTo>
                  <a:lnTo>
                    <a:pt x="1203" y="514"/>
                  </a:lnTo>
                  <a:lnTo>
                    <a:pt x="1203" y="514"/>
                  </a:lnTo>
                  <a:lnTo>
                    <a:pt x="1200" y="515"/>
                  </a:lnTo>
                  <a:lnTo>
                    <a:pt x="1198" y="515"/>
                  </a:lnTo>
                  <a:lnTo>
                    <a:pt x="1195" y="517"/>
                  </a:lnTo>
                  <a:lnTo>
                    <a:pt x="1195" y="517"/>
                  </a:lnTo>
                  <a:lnTo>
                    <a:pt x="1190" y="521"/>
                  </a:lnTo>
                  <a:lnTo>
                    <a:pt x="1187" y="524"/>
                  </a:lnTo>
                  <a:lnTo>
                    <a:pt x="1186" y="526"/>
                  </a:lnTo>
                  <a:lnTo>
                    <a:pt x="1186" y="526"/>
                  </a:lnTo>
                  <a:lnTo>
                    <a:pt x="1184" y="527"/>
                  </a:lnTo>
                  <a:lnTo>
                    <a:pt x="1183" y="528"/>
                  </a:lnTo>
                  <a:lnTo>
                    <a:pt x="1182" y="530"/>
                  </a:lnTo>
                  <a:lnTo>
                    <a:pt x="1180" y="530"/>
                  </a:lnTo>
                  <a:lnTo>
                    <a:pt x="1180" y="530"/>
                  </a:lnTo>
                  <a:lnTo>
                    <a:pt x="1173" y="526"/>
                  </a:lnTo>
                  <a:lnTo>
                    <a:pt x="1170" y="523"/>
                  </a:lnTo>
                  <a:lnTo>
                    <a:pt x="1169" y="520"/>
                  </a:lnTo>
                  <a:lnTo>
                    <a:pt x="1169" y="520"/>
                  </a:lnTo>
                  <a:lnTo>
                    <a:pt x="1169" y="518"/>
                  </a:lnTo>
                  <a:lnTo>
                    <a:pt x="1166" y="517"/>
                  </a:lnTo>
                  <a:lnTo>
                    <a:pt x="1163" y="515"/>
                  </a:lnTo>
                  <a:lnTo>
                    <a:pt x="1160" y="515"/>
                  </a:lnTo>
                  <a:lnTo>
                    <a:pt x="1160" y="515"/>
                  </a:lnTo>
                  <a:lnTo>
                    <a:pt x="1156" y="520"/>
                  </a:lnTo>
                  <a:lnTo>
                    <a:pt x="1153" y="520"/>
                  </a:lnTo>
                  <a:lnTo>
                    <a:pt x="1150" y="518"/>
                  </a:lnTo>
                  <a:lnTo>
                    <a:pt x="1150" y="518"/>
                  </a:lnTo>
                  <a:lnTo>
                    <a:pt x="1148" y="514"/>
                  </a:lnTo>
                  <a:lnTo>
                    <a:pt x="1147" y="508"/>
                  </a:lnTo>
                  <a:lnTo>
                    <a:pt x="1147" y="508"/>
                  </a:lnTo>
                  <a:lnTo>
                    <a:pt x="1141" y="502"/>
                  </a:lnTo>
                  <a:lnTo>
                    <a:pt x="1141" y="499"/>
                  </a:lnTo>
                  <a:lnTo>
                    <a:pt x="1141" y="498"/>
                  </a:lnTo>
                  <a:lnTo>
                    <a:pt x="1141" y="498"/>
                  </a:lnTo>
                  <a:lnTo>
                    <a:pt x="1144" y="494"/>
                  </a:lnTo>
                  <a:lnTo>
                    <a:pt x="1145" y="489"/>
                  </a:lnTo>
                  <a:lnTo>
                    <a:pt x="1145" y="486"/>
                  </a:lnTo>
                  <a:lnTo>
                    <a:pt x="1144" y="484"/>
                  </a:lnTo>
                  <a:lnTo>
                    <a:pt x="1144" y="484"/>
                  </a:lnTo>
                  <a:lnTo>
                    <a:pt x="1138" y="479"/>
                  </a:lnTo>
                  <a:lnTo>
                    <a:pt x="1137" y="478"/>
                  </a:lnTo>
                  <a:lnTo>
                    <a:pt x="1138" y="476"/>
                  </a:lnTo>
                  <a:lnTo>
                    <a:pt x="1138" y="476"/>
                  </a:lnTo>
                  <a:lnTo>
                    <a:pt x="1142" y="473"/>
                  </a:lnTo>
                  <a:lnTo>
                    <a:pt x="1144" y="469"/>
                  </a:lnTo>
                  <a:lnTo>
                    <a:pt x="1144" y="469"/>
                  </a:lnTo>
                  <a:lnTo>
                    <a:pt x="1148" y="457"/>
                  </a:lnTo>
                  <a:lnTo>
                    <a:pt x="1148" y="452"/>
                  </a:lnTo>
                  <a:lnTo>
                    <a:pt x="1148" y="450"/>
                  </a:lnTo>
                  <a:lnTo>
                    <a:pt x="1145" y="449"/>
                  </a:lnTo>
                  <a:lnTo>
                    <a:pt x="1145" y="449"/>
                  </a:lnTo>
                  <a:lnTo>
                    <a:pt x="1141" y="447"/>
                  </a:lnTo>
                  <a:lnTo>
                    <a:pt x="1137" y="447"/>
                  </a:lnTo>
                  <a:lnTo>
                    <a:pt x="1129" y="447"/>
                  </a:lnTo>
                  <a:lnTo>
                    <a:pt x="1129" y="447"/>
                  </a:lnTo>
                  <a:lnTo>
                    <a:pt x="1125" y="446"/>
                  </a:lnTo>
                  <a:lnTo>
                    <a:pt x="1122" y="442"/>
                  </a:lnTo>
                  <a:lnTo>
                    <a:pt x="1116" y="436"/>
                  </a:lnTo>
                  <a:lnTo>
                    <a:pt x="1116" y="436"/>
                  </a:lnTo>
                  <a:lnTo>
                    <a:pt x="1114" y="431"/>
                  </a:lnTo>
                  <a:lnTo>
                    <a:pt x="1112" y="430"/>
                  </a:lnTo>
                  <a:lnTo>
                    <a:pt x="1112" y="428"/>
                  </a:lnTo>
                  <a:lnTo>
                    <a:pt x="1112" y="428"/>
                  </a:lnTo>
                  <a:lnTo>
                    <a:pt x="1114" y="426"/>
                  </a:lnTo>
                  <a:lnTo>
                    <a:pt x="1114" y="424"/>
                  </a:lnTo>
                  <a:lnTo>
                    <a:pt x="1112" y="421"/>
                  </a:lnTo>
                  <a:lnTo>
                    <a:pt x="1109" y="421"/>
                  </a:lnTo>
                  <a:lnTo>
                    <a:pt x="1109" y="421"/>
                  </a:lnTo>
                  <a:lnTo>
                    <a:pt x="1103" y="421"/>
                  </a:lnTo>
                  <a:lnTo>
                    <a:pt x="1100" y="420"/>
                  </a:lnTo>
                  <a:lnTo>
                    <a:pt x="1098" y="418"/>
                  </a:lnTo>
                  <a:lnTo>
                    <a:pt x="1098" y="418"/>
                  </a:lnTo>
                  <a:lnTo>
                    <a:pt x="1093" y="413"/>
                  </a:lnTo>
                  <a:lnTo>
                    <a:pt x="1092" y="411"/>
                  </a:lnTo>
                  <a:lnTo>
                    <a:pt x="1090" y="411"/>
                  </a:lnTo>
                  <a:lnTo>
                    <a:pt x="1090" y="411"/>
                  </a:lnTo>
                  <a:lnTo>
                    <a:pt x="1089" y="411"/>
                  </a:lnTo>
                  <a:lnTo>
                    <a:pt x="1087" y="410"/>
                  </a:lnTo>
                  <a:lnTo>
                    <a:pt x="1085" y="405"/>
                  </a:lnTo>
                  <a:lnTo>
                    <a:pt x="1085" y="405"/>
                  </a:lnTo>
                  <a:lnTo>
                    <a:pt x="1082" y="401"/>
                  </a:lnTo>
                  <a:lnTo>
                    <a:pt x="1079" y="398"/>
                  </a:lnTo>
                  <a:lnTo>
                    <a:pt x="1076" y="397"/>
                  </a:lnTo>
                  <a:lnTo>
                    <a:pt x="1076" y="397"/>
                  </a:lnTo>
                  <a:lnTo>
                    <a:pt x="1064" y="397"/>
                  </a:lnTo>
                  <a:lnTo>
                    <a:pt x="1054" y="397"/>
                  </a:lnTo>
                  <a:lnTo>
                    <a:pt x="1054" y="397"/>
                  </a:lnTo>
                  <a:lnTo>
                    <a:pt x="1051" y="397"/>
                  </a:lnTo>
                  <a:lnTo>
                    <a:pt x="1048" y="395"/>
                  </a:lnTo>
                  <a:lnTo>
                    <a:pt x="1045" y="394"/>
                  </a:lnTo>
                  <a:lnTo>
                    <a:pt x="1043" y="394"/>
                  </a:lnTo>
                  <a:lnTo>
                    <a:pt x="1043" y="394"/>
                  </a:lnTo>
                  <a:lnTo>
                    <a:pt x="1031" y="392"/>
                  </a:lnTo>
                  <a:lnTo>
                    <a:pt x="1018" y="391"/>
                  </a:lnTo>
                  <a:lnTo>
                    <a:pt x="1018" y="391"/>
                  </a:lnTo>
                  <a:lnTo>
                    <a:pt x="1015" y="392"/>
                  </a:lnTo>
                  <a:lnTo>
                    <a:pt x="1012" y="394"/>
                  </a:lnTo>
                  <a:lnTo>
                    <a:pt x="1008" y="399"/>
                  </a:lnTo>
                  <a:lnTo>
                    <a:pt x="1008" y="399"/>
                  </a:lnTo>
                  <a:lnTo>
                    <a:pt x="1003" y="402"/>
                  </a:lnTo>
                  <a:lnTo>
                    <a:pt x="1002" y="405"/>
                  </a:lnTo>
                  <a:lnTo>
                    <a:pt x="1003" y="408"/>
                  </a:lnTo>
                  <a:lnTo>
                    <a:pt x="1003" y="408"/>
                  </a:lnTo>
                  <a:lnTo>
                    <a:pt x="1006" y="413"/>
                  </a:lnTo>
                  <a:lnTo>
                    <a:pt x="1006" y="417"/>
                  </a:lnTo>
                  <a:lnTo>
                    <a:pt x="1006" y="420"/>
                  </a:lnTo>
                  <a:lnTo>
                    <a:pt x="1008" y="421"/>
                  </a:lnTo>
                  <a:lnTo>
                    <a:pt x="1008" y="421"/>
                  </a:lnTo>
                  <a:lnTo>
                    <a:pt x="1011" y="423"/>
                  </a:lnTo>
                  <a:lnTo>
                    <a:pt x="1012" y="423"/>
                  </a:lnTo>
                  <a:lnTo>
                    <a:pt x="1011" y="427"/>
                  </a:lnTo>
                  <a:lnTo>
                    <a:pt x="1011" y="427"/>
                  </a:lnTo>
                  <a:lnTo>
                    <a:pt x="1006" y="434"/>
                  </a:lnTo>
                  <a:lnTo>
                    <a:pt x="1002" y="442"/>
                  </a:lnTo>
                  <a:lnTo>
                    <a:pt x="1002" y="442"/>
                  </a:lnTo>
                  <a:lnTo>
                    <a:pt x="999" y="447"/>
                  </a:lnTo>
                  <a:lnTo>
                    <a:pt x="999" y="450"/>
                  </a:lnTo>
                  <a:lnTo>
                    <a:pt x="1001" y="452"/>
                  </a:lnTo>
                  <a:lnTo>
                    <a:pt x="1002" y="452"/>
                  </a:lnTo>
                  <a:lnTo>
                    <a:pt x="1002" y="452"/>
                  </a:lnTo>
                  <a:lnTo>
                    <a:pt x="1006" y="452"/>
                  </a:lnTo>
                  <a:lnTo>
                    <a:pt x="1008" y="453"/>
                  </a:lnTo>
                  <a:lnTo>
                    <a:pt x="1008" y="455"/>
                  </a:lnTo>
                  <a:lnTo>
                    <a:pt x="1008" y="457"/>
                  </a:lnTo>
                  <a:lnTo>
                    <a:pt x="1008" y="457"/>
                  </a:lnTo>
                  <a:lnTo>
                    <a:pt x="1008" y="468"/>
                  </a:lnTo>
                  <a:lnTo>
                    <a:pt x="1008" y="473"/>
                  </a:lnTo>
                  <a:lnTo>
                    <a:pt x="1009" y="475"/>
                  </a:lnTo>
                  <a:lnTo>
                    <a:pt x="1011" y="475"/>
                  </a:lnTo>
                  <a:lnTo>
                    <a:pt x="1011" y="475"/>
                  </a:lnTo>
                  <a:lnTo>
                    <a:pt x="1014" y="476"/>
                  </a:lnTo>
                  <a:lnTo>
                    <a:pt x="1015" y="478"/>
                  </a:lnTo>
                  <a:lnTo>
                    <a:pt x="1014" y="481"/>
                  </a:lnTo>
                  <a:lnTo>
                    <a:pt x="1012" y="484"/>
                  </a:lnTo>
                  <a:lnTo>
                    <a:pt x="1012" y="484"/>
                  </a:lnTo>
                  <a:lnTo>
                    <a:pt x="1011" y="486"/>
                  </a:lnTo>
                  <a:lnTo>
                    <a:pt x="1009" y="491"/>
                  </a:lnTo>
                  <a:lnTo>
                    <a:pt x="1009" y="494"/>
                  </a:lnTo>
                  <a:lnTo>
                    <a:pt x="1011" y="495"/>
                  </a:lnTo>
                  <a:lnTo>
                    <a:pt x="1011" y="495"/>
                  </a:lnTo>
                  <a:lnTo>
                    <a:pt x="1012" y="495"/>
                  </a:lnTo>
                  <a:lnTo>
                    <a:pt x="1014" y="497"/>
                  </a:lnTo>
                  <a:lnTo>
                    <a:pt x="1012" y="498"/>
                  </a:lnTo>
                  <a:lnTo>
                    <a:pt x="1009" y="501"/>
                  </a:lnTo>
                  <a:lnTo>
                    <a:pt x="1009" y="501"/>
                  </a:lnTo>
                  <a:lnTo>
                    <a:pt x="1001" y="507"/>
                  </a:lnTo>
                  <a:lnTo>
                    <a:pt x="995" y="511"/>
                  </a:lnTo>
                  <a:lnTo>
                    <a:pt x="995" y="511"/>
                  </a:lnTo>
                  <a:lnTo>
                    <a:pt x="995" y="514"/>
                  </a:lnTo>
                  <a:lnTo>
                    <a:pt x="993" y="517"/>
                  </a:lnTo>
                  <a:lnTo>
                    <a:pt x="995" y="521"/>
                  </a:lnTo>
                  <a:lnTo>
                    <a:pt x="998" y="524"/>
                  </a:lnTo>
                  <a:lnTo>
                    <a:pt x="998" y="524"/>
                  </a:lnTo>
                  <a:lnTo>
                    <a:pt x="1001" y="527"/>
                  </a:lnTo>
                  <a:lnTo>
                    <a:pt x="1002" y="531"/>
                  </a:lnTo>
                  <a:lnTo>
                    <a:pt x="1005" y="540"/>
                  </a:lnTo>
                  <a:lnTo>
                    <a:pt x="1005" y="540"/>
                  </a:lnTo>
                  <a:lnTo>
                    <a:pt x="1006" y="543"/>
                  </a:lnTo>
                  <a:lnTo>
                    <a:pt x="1009" y="544"/>
                  </a:lnTo>
                  <a:lnTo>
                    <a:pt x="1012" y="546"/>
                  </a:lnTo>
                  <a:lnTo>
                    <a:pt x="1014" y="550"/>
                  </a:lnTo>
                  <a:lnTo>
                    <a:pt x="1014" y="550"/>
                  </a:lnTo>
                  <a:lnTo>
                    <a:pt x="1015" y="562"/>
                  </a:lnTo>
                  <a:lnTo>
                    <a:pt x="1019" y="572"/>
                  </a:lnTo>
                  <a:lnTo>
                    <a:pt x="1019" y="572"/>
                  </a:lnTo>
                  <a:lnTo>
                    <a:pt x="1019" y="581"/>
                  </a:lnTo>
                  <a:lnTo>
                    <a:pt x="1019" y="591"/>
                  </a:lnTo>
                  <a:lnTo>
                    <a:pt x="1018" y="599"/>
                  </a:lnTo>
                  <a:lnTo>
                    <a:pt x="1016" y="604"/>
                  </a:lnTo>
                  <a:lnTo>
                    <a:pt x="1016" y="604"/>
                  </a:lnTo>
                  <a:lnTo>
                    <a:pt x="1014" y="607"/>
                  </a:lnTo>
                  <a:lnTo>
                    <a:pt x="1012" y="611"/>
                  </a:lnTo>
                  <a:lnTo>
                    <a:pt x="1012" y="615"/>
                  </a:lnTo>
                  <a:lnTo>
                    <a:pt x="1011" y="615"/>
                  </a:lnTo>
                  <a:lnTo>
                    <a:pt x="1011" y="615"/>
                  </a:lnTo>
                  <a:lnTo>
                    <a:pt x="1011" y="615"/>
                  </a:lnTo>
                  <a:lnTo>
                    <a:pt x="1008" y="612"/>
                  </a:lnTo>
                  <a:lnTo>
                    <a:pt x="1008" y="612"/>
                  </a:lnTo>
                  <a:lnTo>
                    <a:pt x="1006" y="614"/>
                  </a:lnTo>
                  <a:lnTo>
                    <a:pt x="1006" y="614"/>
                  </a:lnTo>
                  <a:lnTo>
                    <a:pt x="1003" y="623"/>
                  </a:lnTo>
                  <a:lnTo>
                    <a:pt x="1002" y="627"/>
                  </a:lnTo>
                  <a:lnTo>
                    <a:pt x="999" y="630"/>
                  </a:lnTo>
                  <a:lnTo>
                    <a:pt x="999" y="630"/>
                  </a:lnTo>
                  <a:lnTo>
                    <a:pt x="993" y="633"/>
                  </a:lnTo>
                  <a:lnTo>
                    <a:pt x="990" y="634"/>
                  </a:lnTo>
                  <a:lnTo>
                    <a:pt x="990" y="637"/>
                  </a:lnTo>
                  <a:lnTo>
                    <a:pt x="990" y="637"/>
                  </a:lnTo>
                  <a:lnTo>
                    <a:pt x="995" y="641"/>
                  </a:lnTo>
                  <a:lnTo>
                    <a:pt x="998" y="644"/>
                  </a:lnTo>
                  <a:lnTo>
                    <a:pt x="998" y="647"/>
                  </a:lnTo>
                  <a:lnTo>
                    <a:pt x="998" y="647"/>
                  </a:lnTo>
                  <a:lnTo>
                    <a:pt x="996" y="656"/>
                  </a:lnTo>
                  <a:lnTo>
                    <a:pt x="995" y="660"/>
                  </a:lnTo>
                  <a:lnTo>
                    <a:pt x="995" y="663"/>
                  </a:lnTo>
                  <a:lnTo>
                    <a:pt x="995" y="663"/>
                  </a:lnTo>
                  <a:lnTo>
                    <a:pt x="996" y="672"/>
                  </a:lnTo>
                  <a:lnTo>
                    <a:pt x="998" y="678"/>
                  </a:lnTo>
                  <a:lnTo>
                    <a:pt x="1001" y="680"/>
                  </a:lnTo>
                  <a:lnTo>
                    <a:pt x="1001" y="680"/>
                  </a:lnTo>
                  <a:lnTo>
                    <a:pt x="1002" y="683"/>
                  </a:lnTo>
                  <a:lnTo>
                    <a:pt x="1005" y="686"/>
                  </a:lnTo>
                  <a:lnTo>
                    <a:pt x="1005" y="689"/>
                  </a:lnTo>
                  <a:lnTo>
                    <a:pt x="1005" y="694"/>
                  </a:lnTo>
                  <a:lnTo>
                    <a:pt x="1005" y="694"/>
                  </a:lnTo>
                  <a:lnTo>
                    <a:pt x="1005" y="704"/>
                  </a:lnTo>
                  <a:lnTo>
                    <a:pt x="1003" y="707"/>
                  </a:lnTo>
                  <a:lnTo>
                    <a:pt x="1001" y="708"/>
                  </a:lnTo>
                  <a:lnTo>
                    <a:pt x="1001" y="708"/>
                  </a:lnTo>
                  <a:lnTo>
                    <a:pt x="998" y="711"/>
                  </a:lnTo>
                  <a:lnTo>
                    <a:pt x="996" y="714"/>
                  </a:lnTo>
                  <a:lnTo>
                    <a:pt x="998" y="720"/>
                  </a:lnTo>
                  <a:lnTo>
                    <a:pt x="998" y="720"/>
                  </a:lnTo>
                  <a:lnTo>
                    <a:pt x="998" y="725"/>
                  </a:lnTo>
                  <a:lnTo>
                    <a:pt x="996" y="727"/>
                  </a:lnTo>
                  <a:lnTo>
                    <a:pt x="995" y="725"/>
                  </a:lnTo>
                  <a:lnTo>
                    <a:pt x="995" y="725"/>
                  </a:lnTo>
                  <a:lnTo>
                    <a:pt x="990" y="723"/>
                  </a:lnTo>
                  <a:lnTo>
                    <a:pt x="987" y="721"/>
                  </a:lnTo>
                  <a:lnTo>
                    <a:pt x="986" y="721"/>
                  </a:lnTo>
                  <a:lnTo>
                    <a:pt x="986" y="721"/>
                  </a:lnTo>
                  <a:lnTo>
                    <a:pt x="986" y="724"/>
                  </a:lnTo>
                  <a:lnTo>
                    <a:pt x="986" y="727"/>
                  </a:lnTo>
                  <a:lnTo>
                    <a:pt x="986" y="731"/>
                  </a:lnTo>
                  <a:lnTo>
                    <a:pt x="985" y="731"/>
                  </a:lnTo>
                  <a:lnTo>
                    <a:pt x="983" y="731"/>
                  </a:lnTo>
                  <a:lnTo>
                    <a:pt x="983" y="731"/>
                  </a:lnTo>
                  <a:lnTo>
                    <a:pt x="979" y="728"/>
                  </a:lnTo>
                  <a:lnTo>
                    <a:pt x="973" y="724"/>
                  </a:lnTo>
                  <a:lnTo>
                    <a:pt x="970" y="718"/>
                  </a:lnTo>
                  <a:lnTo>
                    <a:pt x="969" y="714"/>
                  </a:lnTo>
                  <a:lnTo>
                    <a:pt x="969" y="714"/>
                  </a:lnTo>
                  <a:lnTo>
                    <a:pt x="969" y="712"/>
                  </a:lnTo>
                  <a:lnTo>
                    <a:pt x="970" y="711"/>
                  </a:lnTo>
                  <a:lnTo>
                    <a:pt x="972" y="709"/>
                  </a:lnTo>
                  <a:lnTo>
                    <a:pt x="969" y="708"/>
                  </a:lnTo>
                  <a:lnTo>
                    <a:pt x="969" y="708"/>
                  </a:lnTo>
                  <a:lnTo>
                    <a:pt x="957" y="704"/>
                  </a:lnTo>
                  <a:lnTo>
                    <a:pt x="951" y="701"/>
                  </a:lnTo>
                  <a:lnTo>
                    <a:pt x="947" y="698"/>
                  </a:lnTo>
                  <a:lnTo>
                    <a:pt x="947" y="698"/>
                  </a:lnTo>
                  <a:lnTo>
                    <a:pt x="947" y="695"/>
                  </a:lnTo>
                  <a:lnTo>
                    <a:pt x="947" y="694"/>
                  </a:lnTo>
                  <a:lnTo>
                    <a:pt x="947" y="691"/>
                  </a:lnTo>
                  <a:lnTo>
                    <a:pt x="943" y="686"/>
                  </a:lnTo>
                  <a:lnTo>
                    <a:pt x="943" y="686"/>
                  </a:lnTo>
                  <a:lnTo>
                    <a:pt x="931" y="679"/>
                  </a:lnTo>
                  <a:lnTo>
                    <a:pt x="927" y="675"/>
                  </a:lnTo>
                  <a:lnTo>
                    <a:pt x="927" y="673"/>
                  </a:lnTo>
                  <a:lnTo>
                    <a:pt x="927" y="670"/>
                  </a:lnTo>
                  <a:lnTo>
                    <a:pt x="927" y="670"/>
                  </a:lnTo>
                  <a:lnTo>
                    <a:pt x="928" y="660"/>
                  </a:lnTo>
                  <a:lnTo>
                    <a:pt x="930" y="654"/>
                  </a:lnTo>
                  <a:lnTo>
                    <a:pt x="930" y="649"/>
                  </a:lnTo>
                  <a:lnTo>
                    <a:pt x="930" y="649"/>
                  </a:lnTo>
                  <a:lnTo>
                    <a:pt x="928" y="644"/>
                  </a:lnTo>
                  <a:lnTo>
                    <a:pt x="928" y="640"/>
                  </a:lnTo>
                  <a:lnTo>
                    <a:pt x="930" y="637"/>
                  </a:lnTo>
                  <a:lnTo>
                    <a:pt x="932" y="634"/>
                  </a:lnTo>
                  <a:lnTo>
                    <a:pt x="932" y="634"/>
                  </a:lnTo>
                  <a:lnTo>
                    <a:pt x="938" y="628"/>
                  </a:lnTo>
                  <a:lnTo>
                    <a:pt x="940" y="627"/>
                  </a:lnTo>
                  <a:lnTo>
                    <a:pt x="938" y="625"/>
                  </a:lnTo>
                  <a:lnTo>
                    <a:pt x="938" y="625"/>
                  </a:lnTo>
                  <a:lnTo>
                    <a:pt x="915" y="624"/>
                  </a:lnTo>
                  <a:lnTo>
                    <a:pt x="901" y="623"/>
                  </a:lnTo>
                  <a:lnTo>
                    <a:pt x="892" y="623"/>
                  </a:lnTo>
                  <a:lnTo>
                    <a:pt x="892" y="623"/>
                  </a:lnTo>
                  <a:lnTo>
                    <a:pt x="889" y="621"/>
                  </a:lnTo>
                  <a:lnTo>
                    <a:pt x="888" y="620"/>
                  </a:lnTo>
                  <a:lnTo>
                    <a:pt x="883" y="617"/>
                  </a:lnTo>
                  <a:lnTo>
                    <a:pt x="883" y="617"/>
                  </a:lnTo>
                  <a:lnTo>
                    <a:pt x="873" y="610"/>
                  </a:lnTo>
                  <a:lnTo>
                    <a:pt x="863" y="602"/>
                  </a:lnTo>
                  <a:lnTo>
                    <a:pt x="863" y="602"/>
                  </a:lnTo>
                  <a:lnTo>
                    <a:pt x="856" y="596"/>
                  </a:lnTo>
                  <a:lnTo>
                    <a:pt x="850" y="591"/>
                  </a:lnTo>
                  <a:lnTo>
                    <a:pt x="850" y="591"/>
                  </a:lnTo>
                  <a:lnTo>
                    <a:pt x="838" y="579"/>
                  </a:lnTo>
                  <a:lnTo>
                    <a:pt x="833" y="575"/>
                  </a:lnTo>
                  <a:lnTo>
                    <a:pt x="830" y="572"/>
                  </a:lnTo>
                  <a:lnTo>
                    <a:pt x="830" y="572"/>
                  </a:lnTo>
                  <a:lnTo>
                    <a:pt x="821" y="573"/>
                  </a:lnTo>
                  <a:lnTo>
                    <a:pt x="817" y="573"/>
                  </a:lnTo>
                  <a:lnTo>
                    <a:pt x="814" y="572"/>
                  </a:lnTo>
                  <a:lnTo>
                    <a:pt x="814" y="572"/>
                  </a:lnTo>
                  <a:lnTo>
                    <a:pt x="804" y="565"/>
                  </a:lnTo>
                  <a:lnTo>
                    <a:pt x="799" y="562"/>
                  </a:lnTo>
                  <a:lnTo>
                    <a:pt x="795" y="562"/>
                  </a:lnTo>
                  <a:lnTo>
                    <a:pt x="795" y="562"/>
                  </a:lnTo>
                  <a:lnTo>
                    <a:pt x="785" y="568"/>
                  </a:lnTo>
                  <a:lnTo>
                    <a:pt x="779" y="572"/>
                  </a:lnTo>
                  <a:lnTo>
                    <a:pt x="775" y="572"/>
                  </a:lnTo>
                  <a:lnTo>
                    <a:pt x="775" y="572"/>
                  </a:lnTo>
                  <a:lnTo>
                    <a:pt x="775" y="570"/>
                  </a:lnTo>
                  <a:lnTo>
                    <a:pt x="775" y="566"/>
                  </a:lnTo>
                  <a:lnTo>
                    <a:pt x="777" y="560"/>
                  </a:lnTo>
                  <a:lnTo>
                    <a:pt x="777" y="560"/>
                  </a:lnTo>
                  <a:lnTo>
                    <a:pt x="773" y="540"/>
                  </a:lnTo>
                  <a:lnTo>
                    <a:pt x="770" y="527"/>
                  </a:lnTo>
                  <a:lnTo>
                    <a:pt x="767" y="520"/>
                  </a:lnTo>
                  <a:lnTo>
                    <a:pt x="767" y="520"/>
                  </a:lnTo>
                  <a:lnTo>
                    <a:pt x="762" y="515"/>
                  </a:lnTo>
                  <a:lnTo>
                    <a:pt x="759" y="515"/>
                  </a:lnTo>
                  <a:lnTo>
                    <a:pt x="756" y="514"/>
                  </a:lnTo>
                  <a:lnTo>
                    <a:pt x="756" y="514"/>
                  </a:lnTo>
                  <a:lnTo>
                    <a:pt x="751" y="518"/>
                  </a:lnTo>
                  <a:lnTo>
                    <a:pt x="749" y="520"/>
                  </a:lnTo>
                  <a:lnTo>
                    <a:pt x="746" y="518"/>
                  </a:lnTo>
                  <a:lnTo>
                    <a:pt x="746" y="518"/>
                  </a:lnTo>
                  <a:lnTo>
                    <a:pt x="740" y="510"/>
                  </a:lnTo>
                  <a:lnTo>
                    <a:pt x="737" y="507"/>
                  </a:lnTo>
                  <a:lnTo>
                    <a:pt x="735" y="502"/>
                  </a:lnTo>
                  <a:lnTo>
                    <a:pt x="735" y="502"/>
                  </a:lnTo>
                  <a:lnTo>
                    <a:pt x="737" y="498"/>
                  </a:lnTo>
                  <a:lnTo>
                    <a:pt x="737" y="495"/>
                  </a:lnTo>
                  <a:lnTo>
                    <a:pt x="737" y="492"/>
                  </a:lnTo>
                  <a:lnTo>
                    <a:pt x="737" y="492"/>
                  </a:lnTo>
                  <a:lnTo>
                    <a:pt x="737" y="485"/>
                  </a:lnTo>
                  <a:lnTo>
                    <a:pt x="740" y="473"/>
                  </a:lnTo>
                  <a:lnTo>
                    <a:pt x="746" y="452"/>
                  </a:lnTo>
                  <a:lnTo>
                    <a:pt x="746" y="452"/>
                  </a:lnTo>
                  <a:lnTo>
                    <a:pt x="749" y="447"/>
                  </a:lnTo>
                  <a:lnTo>
                    <a:pt x="751" y="444"/>
                  </a:lnTo>
                  <a:lnTo>
                    <a:pt x="753" y="440"/>
                  </a:lnTo>
                  <a:lnTo>
                    <a:pt x="753" y="436"/>
                  </a:lnTo>
                  <a:lnTo>
                    <a:pt x="753" y="436"/>
                  </a:lnTo>
                  <a:lnTo>
                    <a:pt x="749" y="427"/>
                  </a:lnTo>
                  <a:lnTo>
                    <a:pt x="746" y="420"/>
                  </a:lnTo>
                  <a:lnTo>
                    <a:pt x="746" y="420"/>
                  </a:lnTo>
                  <a:lnTo>
                    <a:pt x="743" y="410"/>
                  </a:lnTo>
                  <a:lnTo>
                    <a:pt x="743" y="407"/>
                  </a:lnTo>
                  <a:lnTo>
                    <a:pt x="743" y="405"/>
                  </a:lnTo>
                  <a:lnTo>
                    <a:pt x="744" y="404"/>
                  </a:lnTo>
                  <a:lnTo>
                    <a:pt x="744" y="404"/>
                  </a:lnTo>
                  <a:lnTo>
                    <a:pt x="747" y="405"/>
                  </a:lnTo>
                  <a:lnTo>
                    <a:pt x="749" y="407"/>
                  </a:lnTo>
                  <a:lnTo>
                    <a:pt x="750" y="408"/>
                  </a:lnTo>
                  <a:lnTo>
                    <a:pt x="751" y="407"/>
                  </a:lnTo>
                  <a:lnTo>
                    <a:pt x="751" y="407"/>
                  </a:lnTo>
                  <a:lnTo>
                    <a:pt x="751" y="398"/>
                  </a:lnTo>
                  <a:lnTo>
                    <a:pt x="753" y="395"/>
                  </a:lnTo>
                  <a:lnTo>
                    <a:pt x="754" y="395"/>
                  </a:lnTo>
                  <a:lnTo>
                    <a:pt x="754" y="395"/>
                  </a:lnTo>
                  <a:lnTo>
                    <a:pt x="757" y="397"/>
                  </a:lnTo>
                  <a:lnTo>
                    <a:pt x="760" y="399"/>
                  </a:lnTo>
                  <a:lnTo>
                    <a:pt x="763" y="407"/>
                  </a:lnTo>
                  <a:lnTo>
                    <a:pt x="763" y="407"/>
                  </a:lnTo>
                  <a:lnTo>
                    <a:pt x="767" y="408"/>
                  </a:lnTo>
                  <a:lnTo>
                    <a:pt x="772" y="408"/>
                  </a:lnTo>
                  <a:lnTo>
                    <a:pt x="776" y="408"/>
                  </a:lnTo>
                  <a:lnTo>
                    <a:pt x="777" y="408"/>
                  </a:lnTo>
                  <a:lnTo>
                    <a:pt x="776" y="407"/>
                  </a:lnTo>
                  <a:lnTo>
                    <a:pt x="776" y="407"/>
                  </a:lnTo>
                  <a:lnTo>
                    <a:pt x="772" y="402"/>
                  </a:lnTo>
                  <a:lnTo>
                    <a:pt x="769" y="399"/>
                  </a:lnTo>
                  <a:lnTo>
                    <a:pt x="769" y="398"/>
                  </a:lnTo>
                  <a:lnTo>
                    <a:pt x="770" y="397"/>
                  </a:lnTo>
                  <a:lnTo>
                    <a:pt x="770" y="397"/>
                  </a:lnTo>
                  <a:lnTo>
                    <a:pt x="776" y="391"/>
                  </a:lnTo>
                  <a:lnTo>
                    <a:pt x="777" y="386"/>
                  </a:lnTo>
                  <a:lnTo>
                    <a:pt x="777" y="384"/>
                  </a:lnTo>
                  <a:lnTo>
                    <a:pt x="777" y="384"/>
                  </a:lnTo>
                  <a:lnTo>
                    <a:pt x="772" y="378"/>
                  </a:lnTo>
                  <a:lnTo>
                    <a:pt x="770" y="376"/>
                  </a:lnTo>
                  <a:lnTo>
                    <a:pt x="770" y="375"/>
                  </a:lnTo>
                  <a:lnTo>
                    <a:pt x="770" y="375"/>
                  </a:lnTo>
                  <a:lnTo>
                    <a:pt x="770" y="375"/>
                  </a:lnTo>
                  <a:lnTo>
                    <a:pt x="775" y="375"/>
                  </a:lnTo>
                  <a:lnTo>
                    <a:pt x="777" y="376"/>
                  </a:lnTo>
                  <a:lnTo>
                    <a:pt x="785" y="381"/>
                  </a:lnTo>
                  <a:lnTo>
                    <a:pt x="785" y="381"/>
                  </a:lnTo>
                  <a:lnTo>
                    <a:pt x="792" y="385"/>
                  </a:lnTo>
                  <a:lnTo>
                    <a:pt x="795" y="386"/>
                  </a:lnTo>
                  <a:lnTo>
                    <a:pt x="799" y="385"/>
                  </a:lnTo>
                  <a:lnTo>
                    <a:pt x="799" y="385"/>
                  </a:lnTo>
                  <a:lnTo>
                    <a:pt x="802" y="384"/>
                  </a:lnTo>
                  <a:lnTo>
                    <a:pt x="804" y="381"/>
                  </a:lnTo>
                  <a:lnTo>
                    <a:pt x="805" y="378"/>
                  </a:lnTo>
                  <a:lnTo>
                    <a:pt x="805" y="373"/>
                  </a:lnTo>
                  <a:lnTo>
                    <a:pt x="805" y="373"/>
                  </a:lnTo>
                  <a:lnTo>
                    <a:pt x="801" y="368"/>
                  </a:lnTo>
                  <a:lnTo>
                    <a:pt x="795" y="360"/>
                  </a:lnTo>
                  <a:lnTo>
                    <a:pt x="786" y="353"/>
                  </a:lnTo>
                  <a:lnTo>
                    <a:pt x="779" y="347"/>
                  </a:lnTo>
                  <a:lnTo>
                    <a:pt x="779" y="347"/>
                  </a:lnTo>
                  <a:lnTo>
                    <a:pt x="788" y="352"/>
                  </a:lnTo>
                  <a:lnTo>
                    <a:pt x="805" y="360"/>
                  </a:lnTo>
                  <a:lnTo>
                    <a:pt x="805" y="360"/>
                  </a:lnTo>
                  <a:lnTo>
                    <a:pt x="806" y="360"/>
                  </a:lnTo>
                  <a:lnTo>
                    <a:pt x="808" y="360"/>
                  </a:lnTo>
                  <a:lnTo>
                    <a:pt x="809" y="359"/>
                  </a:lnTo>
                  <a:lnTo>
                    <a:pt x="809" y="353"/>
                  </a:lnTo>
                  <a:lnTo>
                    <a:pt x="809" y="349"/>
                  </a:lnTo>
                  <a:lnTo>
                    <a:pt x="809" y="349"/>
                  </a:lnTo>
                  <a:lnTo>
                    <a:pt x="806" y="342"/>
                  </a:lnTo>
                  <a:lnTo>
                    <a:pt x="806" y="340"/>
                  </a:lnTo>
                  <a:lnTo>
                    <a:pt x="811" y="340"/>
                  </a:lnTo>
                  <a:lnTo>
                    <a:pt x="811" y="340"/>
                  </a:lnTo>
                  <a:lnTo>
                    <a:pt x="814" y="340"/>
                  </a:lnTo>
                  <a:lnTo>
                    <a:pt x="817" y="339"/>
                  </a:lnTo>
                  <a:lnTo>
                    <a:pt x="819" y="337"/>
                  </a:lnTo>
                  <a:lnTo>
                    <a:pt x="819" y="334"/>
                  </a:lnTo>
                  <a:lnTo>
                    <a:pt x="819" y="334"/>
                  </a:lnTo>
                  <a:lnTo>
                    <a:pt x="821" y="334"/>
                  </a:lnTo>
                  <a:lnTo>
                    <a:pt x="822" y="336"/>
                  </a:lnTo>
                  <a:lnTo>
                    <a:pt x="827" y="339"/>
                  </a:lnTo>
                  <a:lnTo>
                    <a:pt x="833" y="343"/>
                  </a:lnTo>
                  <a:lnTo>
                    <a:pt x="837" y="344"/>
                  </a:lnTo>
                  <a:lnTo>
                    <a:pt x="837" y="344"/>
                  </a:lnTo>
                  <a:lnTo>
                    <a:pt x="840" y="342"/>
                  </a:lnTo>
                  <a:lnTo>
                    <a:pt x="844" y="339"/>
                  </a:lnTo>
                  <a:lnTo>
                    <a:pt x="847" y="334"/>
                  </a:lnTo>
                  <a:lnTo>
                    <a:pt x="848" y="330"/>
                  </a:lnTo>
                  <a:lnTo>
                    <a:pt x="848" y="330"/>
                  </a:lnTo>
                  <a:lnTo>
                    <a:pt x="848" y="320"/>
                  </a:lnTo>
                  <a:lnTo>
                    <a:pt x="848" y="315"/>
                  </a:lnTo>
                  <a:lnTo>
                    <a:pt x="851" y="311"/>
                  </a:lnTo>
                  <a:lnTo>
                    <a:pt x="851" y="311"/>
                  </a:lnTo>
                  <a:lnTo>
                    <a:pt x="854" y="302"/>
                  </a:lnTo>
                  <a:lnTo>
                    <a:pt x="856" y="298"/>
                  </a:lnTo>
                  <a:lnTo>
                    <a:pt x="854" y="297"/>
                  </a:lnTo>
                  <a:lnTo>
                    <a:pt x="853" y="295"/>
                  </a:lnTo>
                  <a:lnTo>
                    <a:pt x="853" y="295"/>
                  </a:lnTo>
                  <a:lnTo>
                    <a:pt x="843" y="294"/>
                  </a:lnTo>
                  <a:lnTo>
                    <a:pt x="835" y="292"/>
                  </a:lnTo>
                  <a:lnTo>
                    <a:pt x="828" y="289"/>
                  </a:lnTo>
                  <a:lnTo>
                    <a:pt x="828" y="289"/>
                  </a:lnTo>
                  <a:lnTo>
                    <a:pt x="815" y="285"/>
                  </a:lnTo>
                  <a:lnTo>
                    <a:pt x="804" y="282"/>
                  </a:lnTo>
                  <a:lnTo>
                    <a:pt x="804" y="282"/>
                  </a:lnTo>
                  <a:lnTo>
                    <a:pt x="785" y="284"/>
                  </a:lnTo>
                  <a:lnTo>
                    <a:pt x="772" y="284"/>
                  </a:lnTo>
                  <a:lnTo>
                    <a:pt x="767" y="284"/>
                  </a:lnTo>
                  <a:lnTo>
                    <a:pt x="767" y="284"/>
                  </a:lnTo>
                  <a:lnTo>
                    <a:pt x="772" y="281"/>
                  </a:lnTo>
                  <a:lnTo>
                    <a:pt x="777" y="279"/>
                  </a:lnTo>
                  <a:lnTo>
                    <a:pt x="777" y="279"/>
                  </a:lnTo>
                  <a:lnTo>
                    <a:pt x="788" y="278"/>
                  </a:lnTo>
                  <a:lnTo>
                    <a:pt x="793" y="276"/>
                  </a:lnTo>
                  <a:lnTo>
                    <a:pt x="795" y="275"/>
                  </a:lnTo>
                  <a:lnTo>
                    <a:pt x="795" y="275"/>
                  </a:lnTo>
                  <a:lnTo>
                    <a:pt x="792" y="272"/>
                  </a:lnTo>
                  <a:lnTo>
                    <a:pt x="792" y="269"/>
                  </a:lnTo>
                  <a:lnTo>
                    <a:pt x="793" y="268"/>
                  </a:lnTo>
                  <a:lnTo>
                    <a:pt x="793" y="268"/>
                  </a:lnTo>
                  <a:lnTo>
                    <a:pt x="796" y="266"/>
                  </a:lnTo>
                  <a:lnTo>
                    <a:pt x="799" y="268"/>
                  </a:lnTo>
                  <a:lnTo>
                    <a:pt x="809" y="269"/>
                  </a:lnTo>
                  <a:lnTo>
                    <a:pt x="809" y="269"/>
                  </a:lnTo>
                  <a:lnTo>
                    <a:pt x="815" y="272"/>
                  </a:lnTo>
                  <a:lnTo>
                    <a:pt x="822" y="275"/>
                  </a:lnTo>
                  <a:lnTo>
                    <a:pt x="834" y="282"/>
                  </a:lnTo>
                  <a:lnTo>
                    <a:pt x="834" y="282"/>
                  </a:lnTo>
                  <a:lnTo>
                    <a:pt x="846" y="287"/>
                  </a:lnTo>
                  <a:lnTo>
                    <a:pt x="853" y="289"/>
                  </a:lnTo>
                  <a:lnTo>
                    <a:pt x="859" y="289"/>
                  </a:lnTo>
                  <a:lnTo>
                    <a:pt x="859" y="289"/>
                  </a:lnTo>
                  <a:lnTo>
                    <a:pt x="863" y="285"/>
                  </a:lnTo>
                  <a:lnTo>
                    <a:pt x="870" y="276"/>
                  </a:lnTo>
                  <a:lnTo>
                    <a:pt x="879" y="265"/>
                  </a:lnTo>
                  <a:lnTo>
                    <a:pt x="879" y="265"/>
                  </a:lnTo>
                  <a:lnTo>
                    <a:pt x="879" y="263"/>
                  </a:lnTo>
                  <a:lnTo>
                    <a:pt x="877" y="260"/>
                  </a:lnTo>
                  <a:lnTo>
                    <a:pt x="873" y="253"/>
                  </a:lnTo>
                  <a:lnTo>
                    <a:pt x="867" y="246"/>
                  </a:lnTo>
                  <a:lnTo>
                    <a:pt x="866" y="245"/>
                  </a:lnTo>
                  <a:lnTo>
                    <a:pt x="867" y="243"/>
                  </a:lnTo>
                  <a:lnTo>
                    <a:pt x="867" y="243"/>
                  </a:lnTo>
                  <a:lnTo>
                    <a:pt x="869" y="243"/>
                  </a:lnTo>
                  <a:lnTo>
                    <a:pt x="870" y="245"/>
                  </a:lnTo>
                  <a:lnTo>
                    <a:pt x="873" y="245"/>
                  </a:lnTo>
                  <a:lnTo>
                    <a:pt x="876" y="245"/>
                  </a:lnTo>
                  <a:lnTo>
                    <a:pt x="876" y="245"/>
                  </a:lnTo>
                  <a:lnTo>
                    <a:pt x="883" y="242"/>
                  </a:lnTo>
                  <a:lnTo>
                    <a:pt x="886" y="242"/>
                  </a:lnTo>
                  <a:lnTo>
                    <a:pt x="886" y="243"/>
                  </a:lnTo>
                  <a:lnTo>
                    <a:pt x="886" y="243"/>
                  </a:lnTo>
                  <a:lnTo>
                    <a:pt x="889" y="252"/>
                  </a:lnTo>
                  <a:lnTo>
                    <a:pt x="890" y="256"/>
                  </a:lnTo>
                  <a:lnTo>
                    <a:pt x="893" y="259"/>
                  </a:lnTo>
                  <a:lnTo>
                    <a:pt x="893" y="259"/>
                  </a:lnTo>
                  <a:lnTo>
                    <a:pt x="902" y="263"/>
                  </a:lnTo>
                  <a:lnTo>
                    <a:pt x="905" y="263"/>
                  </a:lnTo>
                  <a:lnTo>
                    <a:pt x="906" y="262"/>
                  </a:lnTo>
                  <a:lnTo>
                    <a:pt x="905" y="260"/>
                  </a:lnTo>
                  <a:lnTo>
                    <a:pt x="905" y="260"/>
                  </a:lnTo>
                  <a:lnTo>
                    <a:pt x="901" y="253"/>
                  </a:lnTo>
                  <a:lnTo>
                    <a:pt x="899" y="250"/>
                  </a:lnTo>
                  <a:lnTo>
                    <a:pt x="901" y="249"/>
                  </a:lnTo>
                  <a:lnTo>
                    <a:pt x="901" y="249"/>
                  </a:lnTo>
                  <a:lnTo>
                    <a:pt x="902" y="249"/>
                  </a:lnTo>
                  <a:lnTo>
                    <a:pt x="903" y="247"/>
                  </a:lnTo>
                  <a:lnTo>
                    <a:pt x="903" y="243"/>
                  </a:lnTo>
                  <a:lnTo>
                    <a:pt x="903" y="243"/>
                  </a:lnTo>
                  <a:lnTo>
                    <a:pt x="905" y="240"/>
                  </a:lnTo>
                  <a:lnTo>
                    <a:pt x="905" y="240"/>
                  </a:lnTo>
                  <a:lnTo>
                    <a:pt x="905" y="239"/>
                  </a:lnTo>
                  <a:lnTo>
                    <a:pt x="903" y="236"/>
                  </a:lnTo>
                  <a:lnTo>
                    <a:pt x="903" y="236"/>
                  </a:lnTo>
                  <a:lnTo>
                    <a:pt x="893" y="229"/>
                  </a:lnTo>
                  <a:lnTo>
                    <a:pt x="890" y="226"/>
                  </a:lnTo>
                  <a:lnTo>
                    <a:pt x="889" y="224"/>
                  </a:lnTo>
                  <a:lnTo>
                    <a:pt x="889" y="224"/>
                  </a:lnTo>
                  <a:lnTo>
                    <a:pt x="892" y="223"/>
                  </a:lnTo>
                  <a:lnTo>
                    <a:pt x="895" y="223"/>
                  </a:lnTo>
                  <a:lnTo>
                    <a:pt x="898" y="223"/>
                  </a:lnTo>
                  <a:lnTo>
                    <a:pt x="902" y="224"/>
                  </a:lnTo>
                  <a:lnTo>
                    <a:pt x="902" y="224"/>
                  </a:lnTo>
                  <a:lnTo>
                    <a:pt x="906" y="229"/>
                  </a:lnTo>
                  <a:lnTo>
                    <a:pt x="909" y="233"/>
                  </a:lnTo>
                  <a:lnTo>
                    <a:pt x="909" y="233"/>
                  </a:lnTo>
                  <a:lnTo>
                    <a:pt x="914" y="242"/>
                  </a:lnTo>
                  <a:lnTo>
                    <a:pt x="917" y="249"/>
                  </a:lnTo>
                  <a:lnTo>
                    <a:pt x="917" y="249"/>
                  </a:lnTo>
                  <a:lnTo>
                    <a:pt x="918" y="253"/>
                  </a:lnTo>
                  <a:lnTo>
                    <a:pt x="919" y="255"/>
                  </a:lnTo>
                  <a:lnTo>
                    <a:pt x="921" y="256"/>
                  </a:lnTo>
                  <a:lnTo>
                    <a:pt x="921" y="256"/>
                  </a:lnTo>
                  <a:lnTo>
                    <a:pt x="922" y="253"/>
                  </a:lnTo>
                  <a:lnTo>
                    <a:pt x="924" y="252"/>
                  </a:lnTo>
                  <a:lnTo>
                    <a:pt x="924" y="249"/>
                  </a:lnTo>
                  <a:lnTo>
                    <a:pt x="927" y="246"/>
                  </a:lnTo>
                  <a:lnTo>
                    <a:pt x="927" y="246"/>
                  </a:lnTo>
                  <a:lnTo>
                    <a:pt x="934" y="242"/>
                  </a:lnTo>
                  <a:lnTo>
                    <a:pt x="943" y="236"/>
                  </a:lnTo>
                  <a:lnTo>
                    <a:pt x="943" y="236"/>
                  </a:lnTo>
                  <a:lnTo>
                    <a:pt x="945" y="231"/>
                  </a:lnTo>
                  <a:lnTo>
                    <a:pt x="947" y="230"/>
                  </a:lnTo>
                  <a:lnTo>
                    <a:pt x="951" y="229"/>
                  </a:lnTo>
                  <a:lnTo>
                    <a:pt x="951" y="229"/>
                  </a:lnTo>
                  <a:lnTo>
                    <a:pt x="954" y="227"/>
                  </a:lnTo>
                  <a:lnTo>
                    <a:pt x="957" y="226"/>
                  </a:lnTo>
                  <a:lnTo>
                    <a:pt x="959" y="223"/>
                  </a:lnTo>
                  <a:lnTo>
                    <a:pt x="959" y="221"/>
                  </a:lnTo>
                  <a:lnTo>
                    <a:pt x="959" y="221"/>
                  </a:lnTo>
                  <a:lnTo>
                    <a:pt x="957" y="210"/>
                  </a:lnTo>
                  <a:lnTo>
                    <a:pt x="956" y="201"/>
                  </a:lnTo>
                  <a:lnTo>
                    <a:pt x="954" y="197"/>
                  </a:lnTo>
                  <a:lnTo>
                    <a:pt x="954" y="197"/>
                  </a:lnTo>
                  <a:lnTo>
                    <a:pt x="950" y="189"/>
                  </a:lnTo>
                  <a:lnTo>
                    <a:pt x="947" y="185"/>
                  </a:lnTo>
                  <a:lnTo>
                    <a:pt x="947" y="181"/>
                  </a:lnTo>
                  <a:lnTo>
                    <a:pt x="947" y="181"/>
                  </a:lnTo>
                  <a:lnTo>
                    <a:pt x="945" y="172"/>
                  </a:lnTo>
                  <a:lnTo>
                    <a:pt x="944" y="165"/>
                  </a:lnTo>
                  <a:lnTo>
                    <a:pt x="944" y="165"/>
                  </a:lnTo>
                  <a:lnTo>
                    <a:pt x="941" y="161"/>
                  </a:lnTo>
                  <a:lnTo>
                    <a:pt x="941" y="158"/>
                  </a:lnTo>
                  <a:lnTo>
                    <a:pt x="944" y="158"/>
                  </a:lnTo>
                  <a:lnTo>
                    <a:pt x="944" y="158"/>
                  </a:lnTo>
                  <a:lnTo>
                    <a:pt x="954" y="158"/>
                  </a:lnTo>
                  <a:lnTo>
                    <a:pt x="959" y="158"/>
                  </a:lnTo>
                  <a:lnTo>
                    <a:pt x="960" y="156"/>
                  </a:lnTo>
                  <a:lnTo>
                    <a:pt x="960" y="155"/>
                  </a:lnTo>
                  <a:lnTo>
                    <a:pt x="960" y="155"/>
                  </a:lnTo>
                  <a:lnTo>
                    <a:pt x="961" y="147"/>
                  </a:lnTo>
                  <a:lnTo>
                    <a:pt x="960" y="145"/>
                  </a:lnTo>
                  <a:lnTo>
                    <a:pt x="959" y="143"/>
                  </a:lnTo>
                  <a:lnTo>
                    <a:pt x="959" y="143"/>
                  </a:lnTo>
                  <a:lnTo>
                    <a:pt x="956" y="140"/>
                  </a:lnTo>
                  <a:lnTo>
                    <a:pt x="956" y="139"/>
                  </a:lnTo>
                  <a:lnTo>
                    <a:pt x="957" y="137"/>
                  </a:lnTo>
                  <a:lnTo>
                    <a:pt x="957" y="137"/>
                  </a:lnTo>
                  <a:lnTo>
                    <a:pt x="959" y="134"/>
                  </a:lnTo>
                  <a:lnTo>
                    <a:pt x="960" y="133"/>
                  </a:lnTo>
                  <a:lnTo>
                    <a:pt x="959" y="132"/>
                  </a:lnTo>
                  <a:lnTo>
                    <a:pt x="957" y="130"/>
                  </a:lnTo>
                  <a:lnTo>
                    <a:pt x="957" y="130"/>
                  </a:lnTo>
                  <a:lnTo>
                    <a:pt x="951" y="133"/>
                  </a:lnTo>
                  <a:lnTo>
                    <a:pt x="948" y="133"/>
                  </a:lnTo>
                  <a:lnTo>
                    <a:pt x="945" y="133"/>
                  </a:lnTo>
                  <a:lnTo>
                    <a:pt x="945" y="133"/>
                  </a:lnTo>
                  <a:lnTo>
                    <a:pt x="944" y="127"/>
                  </a:lnTo>
                  <a:lnTo>
                    <a:pt x="943" y="126"/>
                  </a:lnTo>
                  <a:lnTo>
                    <a:pt x="944" y="124"/>
                  </a:lnTo>
                  <a:lnTo>
                    <a:pt x="944" y="124"/>
                  </a:lnTo>
                  <a:lnTo>
                    <a:pt x="944" y="123"/>
                  </a:lnTo>
                  <a:lnTo>
                    <a:pt x="943" y="121"/>
                  </a:lnTo>
                  <a:lnTo>
                    <a:pt x="940" y="120"/>
                  </a:lnTo>
                  <a:lnTo>
                    <a:pt x="940" y="117"/>
                  </a:lnTo>
                  <a:lnTo>
                    <a:pt x="940" y="117"/>
                  </a:lnTo>
                  <a:lnTo>
                    <a:pt x="943" y="111"/>
                  </a:lnTo>
                  <a:lnTo>
                    <a:pt x="944" y="110"/>
                  </a:lnTo>
                  <a:lnTo>
                    <a:pt x="943" y="108"/>
                  </a:lnTo>
                  <a:lnTo>
                    <a:pt x="943" y="108"/>
                  </a:lnTo>
                  <a:lnTo>
                    <a:pt x="934" y="105"/>
                  </a:lnTo>
                  <a:lnTo>
                    <a:pt x="931" y="105"/>
                  </a:lnTo>
                  <a:lnTo>
                    <a:pt x="930" y="105"/>
                  </a:lnTo>
                  <a:lnTo>
                    <a:pt x="930" y="105"/>
                  </a:lnTo>
                  <a:lnTo>
                    <a:pt x="928" y="107"/>
                  </a:lnTo>
                  <a:lnTo>
                    <a:pt x="925" y="108"/>
                  </a:lnTo>
                  <a:lnTo>
                    <a:pt x="922" y="110"/>
                  </a:lnTo>
                  <a:lnTo>
                    <a:pt x="919" y="108"/>
                  </a:lnTo>
                  <a:lnTo>
                    <a:pt x="919" y="108"/>
                  </a:lnTo>
                  <a:lnTo>
                    <a:pt x="915" y="104"/>
                  </a:lnTo>
                  <a:lnTo>
                    <a:pt x="912" y="103"/>
                  </a:lnTo>
                  <a:lnTo>
                    <a:pt x="909" y="101"/>
                  </a:lnTo>
                  <a:lnTo>
                    <a:pt x="909" y="101"/>
                  </a:lnTo>
                  <a:lnTo>
                    <a:pt x="902" y="103"/>
                  </a:lnTo>
                  <a:lnTo>
                    <a:pt x="898" y="103"/>
                  </a:lnTo>
                  <a:lnTo>
                    <a:pt x="895" y="103"/>
                  </a:lnTo>
                  <a:lnTo>
                    <a:pt x="895" y="103"/>
                  </a:lnTo>
                  <a:lnTo>
                    <a:pt x="892" y="101"/>
                  </a:lnTo>
                  <a:lnTo>
                    <a:pt x="890" y="101"/>
                  </a:lnTo>
                  <a:lnTo>
                    <a:pt x="890" y="103"/>
                  </a:lnTo>
                  <a:lnTo>
                    <a:pt x="890" y="103"/>
                  </a:lnTo>
                  <a:lnTo>
                    <a:pt x="892" y="107"/>
                  </a:lnTo>
                  <a:lnTo>
                    <a:pt x="892" y="108"/>
                  </a:lnTo>
                  <a:lnTo>
                    <a:pt x="892" y="110"/>
                  </a:lnTo>
                  <a:lnTo>
                    <a:pt x="892" y="110"/>
                  </a:lnTo>
                  <a:lnTo>
                    <a:pt x="890" y="111"/>
                  </a:lnTo>
                  <a:lnTo>
                    <a:pt x="890" y="114"/>
                  </a:lnTo>
                  <a:lnTo>
                    <a:pt x="893" y="123"/>
                  </a:lnTo>
                  <a:lnTo>
                    <a:pt x="893" y="123"/>
                  </a:lnTo>
                  <a:lnTo>
                    <a:pt x="893" y="126"/>
                  </a:lnTo>
                  <a:lnTo>
                    <a:pt x="893" y="129"/>
                  </a:lnTo>
                  <a:lnTo>
                    <a:pt x="893" y="130"/>
                  </a:lnTo>
                  <a:lnTo>
                    <a:pt x="895" y="132"/>
                  </a:lnTo>
                  <a:lnTo>
                    <a:pt x="895" y="132"/>
                  </a:lnTo>
                  <a:lnTo>
                    <a:pt x="901" y="134"/>
                  </a:lnTo>
                  <a:lnTo>
                    <a:pt x="903" y="137"/>
                  </a:lnTo>
                  <a:lnTo>
                    <a:pt x="903" y="139"/>
                  </a:lnTo>
                  <a:lnTo>
                    <a:pt x="903" y="139"/>
                  </a:lnTo>
                  <a:lnTo>
                    <a:pt x="903" y="139"/>
                  </a:lnTo>
                  <a:lnTo>
                    <a:pt x="906" y="142"/>
                  </a:lnTo>
                  <a:lnTo>
                    <a:pt x="908" y="143"/>
                  </a:lnTo>
                  <a:lnTo>
                    <a:pt x="909" y="143"/>
                  </a:lnTo>
                  <a:lnTo>
                    <a:pt x="908" y="145"/>
                  </a:lnTo>
                  <a:lnTo>
                    <a:pt x="908" y="145"/>
                  </a:lnTo>
                  <a:lnTo>
                    <a:pt x="905" y="147"/>
                  </a:lnTo>
                  <a:lnTo>
                    <a:pt x="902" y="149"/>
                  </a:lnTo>
                  <a:lnTo>
                    <a:pt x="899" y="149"/>
                  </a:lnTo>
                  <a:lnTo>
                    <a:pt x="899" y="149"/>
                  </a:lnTo>
                  <a:lnTo>
                    <a:pt x="893" y="146"/>
                  </a:lnTo>
                  <a:lnTo>
                    <a:pt x="892" y="147"/>
                  </a:lnTo>
                  <a:lnTo>
                    <a:pt x="892" y="147"/>
                  </a:lnTo>
                  <a:lnTo>
                    <a:pt x="892" y="147"/>
                  </a:lnTo>
                  <a:lnTo>
                    <a:pt x="890" y="153"/>
                  </a:lnTo>
                  <a:lnTo>
                    <a:pt x="889" y="162"/>
                  </a:lnTo>
                  <a:lnTo>
                    <a:pt x="888" y="171"/>
                  </a:lnTo>
                  <a:lnTo>
                    <a:pt x="885" y="176"/>
                  </a:lnTo>
                  <a:lnTo>
                    <a:pt x="885" y="176"/>
                  </a:lnTo>
                  <a:lnTo>
                    <a:pt x="883" y="181"/>
                  </a:lnTo>
                  <a:lnTo>
                    <a:pt x="882" y="185"/>
                  </a:lnTo>
                  <a:lnTo>
                    <a:pt x="880" y="189"/>
                  </a:lnTo>
                  <a:lnTo>
                    <a:pt x="879" y="191"/>
                  </a:lnTo>
                  <a:lnTo>
                    <a:pt x="877" y="191"/>
                  </a:lnTo>
                  <a:lnTo>
                    <a:pt x="877" y="191"/>
                  </a:lnTo>
                  <a:lnTo>
                    <a:pt x="875" y="188"/>
                  </a:lnTo>
                  <a:lnTo>
                    <a:pt x="873" y="187"/>
                  </a:lnTo>
                  <a:lnTo>
                    <a:pt x="873" y="185"/>
                  </a:lnTo>
                  <a:lnTo>
                    <a:pt x="872" y="188"/>
                  </a:lnTo>
                  <a:lnTo>
                    <a:pt x="872" y="188"/>
                  </a:lnTo>
                  <a:lnTo>
                    <a:pt x="873" y="192"/>
                  </a:lnTo>
                  <a:lnTo>
                    <a:pt x="876" y="198"/>
                  </a:lnTo>
                  <a:lnTo>
                    <a:pt x="877" y="203"/>
                  </a:lnTo>
                  <a:lnTo>
                    <a:pt x="877" y="204"/>
                  </a:lnTo>
                  <a:lnTo>
                    <a:pt x="876" y="205"/>
                  </a:lnTo>
                  <a:lnTo>
                    <a:pt x="876" y="205"/>
                  </a:lnTo>
                  <a:lnTo>
                    <a:pt x="873" y="207"/>
                  </a:lnTo>
                  <a:lnTo>
                    <a:pt x="870" y="210"/>
                  </a:lnTo>
                  <a:lnTo>
                    <a:pt x="867" y="213"/>
                  </a:lnTo>
                  <a:lnTo>
                    <a:pt x="864" y="213"/>
                  </a:lnTo>
                  <a:lnTo>
                    <a:pt x="864" y="213"/>
                  </a:lnTo>
                  <a:lnTo>
                    <a:pt x="860" y="211"/>
                  </a:lnTo>
                  <a:lnTo>
                    <a:pt x="857" y="210"/>
                  </a:lnTo>
                  <a:lnTo>
                    <a:pt x="854" y="205"/>
                  </a:lnTo>
                  <a:lnTo>
                    <a:pt x="854" y="205"/>
                  </a:lnTo>
                  <a:lnTo>
                    <a:pt x="851" y="198"/>
                  </a:lnTo>
                  <a:lnTo>
                    <a:pt x="846" y="191"/>
                  </a:lnTo>
                  <a:lnTo>
                    <a:pt x="846" y="191"/>
                  </a:lnTo>
                  <a:lnTo>
                    <a:pt x="846" y="187"/>
                  </a:lnTo>
                  <a:lnTo>
                    <a:pt x="844" y="181"/>
                  </a:lnTo>
                  <a:lnTo>
                    <a:pt x="844" y="171"/>
                  </a:lnTo>
                  <a:lnTo>
                    <a:pt x="844" y="171"/>
                  </a:lnTo>
                  <a:lnTo>
                    <a:pt x="844" y="168"/>
                  </a:lnTo>
                  <a:lnTo>
                    <a:pt x="846" y="166"/>
                  </a:lnTo>
                  <a:lnTo>
                    <a:pt x="847" y="166"/>
                  </a:lnTo>
                  <a:lnTo>
                    <a:pt x="848" y="166"/>
                  </a:lnTo>
                  <a:lnTo>
                    <a:pt x="848" y="166"/>
                  </a:lnTo>
                  <a:lnTo>
                    <a:pt x="850" y="168"/>
                  </a:lnTo>
                  <a:lnTo>
                    <a:pt x="851" y="166"/>
                  </a:lnTo>
                  <a:lnTo>
                    <a:pt x="851" y="158"/>
                  </a:lnTo>
                  <a:lnTo>
                    <a:pt x="851" y="158"/>
                  </a:lnTo>
                  <a:lnTo>
                    <a:pt x="853" y="152"/>
                  </a:lnTo>
                  <a:lnTo>
                    <a:pt x="853" y="149"/>
                  </a:lnTo>
                  <a:lnTo>
                    <a:pt x="853" y="145"/>
                  </a:lnTo>
                  <a:lnTo>
                    <a:pt x="851" y="142"/>
                  </a:lnTo>
                  <a:lnTo>
                    <a:pt x="851" y="142"/>
                  </a:lnTo>
                  <a:lnTo>
                    <a:pt x="846" y="136"/>
                  </a:lnTo>
                  <a:lnTo>
                    <a:pt x="841" y="130"/>
                  </a:lnTo>
                  <a:lnTo>
                    <a:pt x="841" y="130"/>
                  </a:lnTo>
                  <a:lnTo>
                    <a:pt x="838" y="129"/>
                  </a:lnTo>
                  <a:lnTo>
                    <a:pt x="834" y="127"/>
                  </a:lnTo>
                  <a:lnTo>
                    <a:pt x="830" y="127"/>
                  </a:lnTo>
                  <a:lnTo>
                    <a:pt x="828" y="129"/>
                  </a:lnTo>
                  <a:lnTo>
                    <a:pt x="828" y="129"/>
                  </a:lnTo>
                  <a:lnTo>
                    <a:pt x="824" y="132"/>
                  </a:lnTo>
                  <a:lnTo>
                    <a:pt x="822" y="134"/>
                  </a:lnTo>
                  <a:lnTo>
                    <a:pt x="822" y="137"/>
                  </a:lnTo>
                  <a:lnTo>
                    <a:pt x="822" y="137"/>
                  </a:lnTo>
                  <a:lnTo>
                    <a:pt x="824" y="142"/>
                  </a:lnTo>
                  <a:lnTo>
                    <a:pt x="824" y="147"/>
                  </a:lnTo>
                  <a:lnTo>
                    <a:pt x="822" y="152"/>
                  </a:lnTo>
                  <a:lnTo>
                    <a:pt x="821" y="155"/>
                  </a:lnTo>
                  <a:lnTo>
                    <a:pt x="821" y="155"/>
                  </a:lnTo>
                  <a:lnTo>
                    <a:pt x="819" y="158"/>
                  </a:lnTo>
                  <a:lnTo>
                    <a:pt x="817" y="162"/>
                  </a:lnTo>
                  <a:lnTo>
                    <a:pt x="814" y="166"/>
                  </a:lnTo>
                  <a:lnTo>
                    <a:pt x="811" y="168"/>
                  </a:lnTo>
                  <a:lnTo>
                    <a:pt x="811" y="168"/>
                  </a:lnTo>
                  <a:lnTo>
                    <a:pt x="808" y="166"/>
                  </a:lnTo>
                  <a:lnTo>
                    <a:pt x="806" y="163"/>
                  </a:lnTo>
                  <a:lnTo>
                    <a:pt x="804" y="155"/>
                  </a:lnTo>
                  <a:lnTo>
                    <a:pt x="804" y="155"/>
                  </a:lnTo>
                  <a:lnTo>
                    <a:pt x="805" y="143"/>
                  </a:lnTo>
                  <a:lnTo>
                    <a:pt x="804" y="137"/>
                  </a:lnTo>
                  <a:lnTo>
                    <a:pt x="802" y="133"/>
                  </a:lnTo>
                  <a:lnTo>
                    <a:pt x="802" y="133"/>
                  </a:lnTo>
                  <a:lnTo>
                    <a:pt x="796" y="129"/>
                  </a:lnTo>
                  <a:lnTo>
                    <a:pt x="793" y="127"/>
                  </a:lnTo>
                  <a:lnTo>
                    <a:pt x="793" y="126"/>
                  </a:lnTo>
                  <a:lnTo>
                    <a:pt x="793" y="126"/>
                  </a:lnTo>
                  <a:lnTo>
                    <a:pt x="799" y="126"/>
                  </a:lnTo>
                  <a:lnTo>
                    <a:pt x="802" y="126"/>
                  </a:lnTo>
                  <a:lnTo>
                    <a:pt x="801" y="124"/>
                  </a:lnTo>
                  <a:lnTo>
                    <a:pt x="801" y="124"/>
                  </a:lnTo>
                  <a:lnTo>
                    <a:pt x="799" y="123"/>
                  </a:lnTo>
                  <a:lnTo>
                    <a:pt x="796" y="121"/>
                  </a:lnTo>
                  <a:lnTo>
                    <a:pt x="789" y="117"/>
                  </a:lnTo>
                  <a:lnTo>
                    <a:pt x="789" y="117"/>
                  </a:lnTo>
                  <a:lnTo>
                    <a:pt x="786" y="116"/>
                  </a:lnTo>
                  <a:lnTo>
                    <a:pt x="786" y="113"/>
                  </a:lnTo>
                  <a:lnTo>
                    <a:pt x="785" y="110"/>
                  </a:lnTo>
                  <a:lnTo>
                    <a:pt x="782" y="108"/>
                  </a:lnTo>
                  <a:lnTo>
                    <a:pt x="782" y="108"/>
                  </a:lnTo>
                  <a:lnTo>
                    <a:pt x="775" y="104"/>
                  </a:lnTo>
                  <a:lnTo>
                    <a:pt x="773" y="103"/>
                  </a:lnTo>
                  <a:lnTo>
                    <a:pt x="773" y="100"/>
                  </a:lnTo>
                  <a:lnTo>
                    <a:pt x="773" y="100"/>
                  </a:lnTo>
                  <a:lnTo>
                    <a:pt x="776" y="98"/>
                  </a:lnTo>
                  <a:lnTo>
                    <a:pt x="779" y="98"/>
                  </a:lnTo>
                  <a:lnTo>
                    <a:pt x="782" y="97"/>
                  </a:lnTo>
                  <a:lnTo>
                    <a:pt x="786" y="94"/>
                  </a:lnTo>
                  <a:lnTo>
                    <a:pt x="786" y="94"/>
                  </a:lnTo>
                  <a:lnTo>
                    <a:pt x="788" y="91"/>
                  </a:lnTo>
                  <a:lnTo>
                    <a:pt x="789" y="88"/>
                  </a:lnTo>
                  <a:lnTo>
                    <a:pt x="789" y="87"/>
                  </a:lnTo>
                  <a:lnTo>
                    <a:pt x="788" y="87"/>
                  </a:lnTo>
                  <a:lnTo>
                    <a:pt x="788" y="87"/>
                  </a:lnTo>
                  <a:lnTo>
                    <a:pt x="786" y="88"/>
                  </a:lnTo>
                  <a:lnTo>
                    <a:pt x="785" y="88"/>
                  </a:lnTo>
                  <a:lnTo>
                    <a:pt x="780" y="88"/>
                  </a:lnTo>
                  <a:lnTo>
                    <a:pt x="780" y="88"/>
                  </a:lnTo>
                  <a:lnTo>
                    <a:pt x="775" y="87"/>
                  </a:lnTo>
                  <a:lnTo>
                    <a:pt x="775" y="85"/>
                  </a:lnTo>
                  <a:lnTo>
                    <a:pt x="776" y="85"/>
                  </a:lnTo>
                  <a:lnTo>
                    <a:pt x="776" y="85"/>
                  </a:lnTo>
                  <a:lnTo>
                    <a:pt x="785" y="84"/>
                  </a:lnTo>
                  <a:lnTo>
                    <a:pt x="788" y="82"/>
                  </a:lnTo>
                  <a:lnTo>
                    <a:pt x="788" y="79"/>
                  </a:lnTo>
                  <a:lnTo>
                    <a:pt x="788" y="79"/>
                  </a:lnTo>
                  <a:lnTo>
                    <a:pt x="785" y="69"/>
                  </a:lnTo>
                  <a:lnTo>
                    <a:pt x="780" y="63"/>
                  </a:lnTo>
                  <a:lnTo>
                    <a:pt x="776" y="58"/>
                  </a:lnTo>
                  <a:lnTo>
                    <a:pt x="776" y="58"/>
                  </a:lnTo>
                  <a:lnTo>
                    <a:pt x="767" y="48"/>
                  </a:lnTo>
                  <a:lnTo>
                    <a:pt x="764" y="43"/>
                  </a:lnTo>
                  <a:lnTo>
                    <a:pt x="763" y="39"/>
                  </a:lnTo>
                  <a:lnTo>
                    <a:pt x="763" y="39"/>
                  </a:lnTo>
                  <a:lnTo>
                    <a:pt x="759" y="30"/>
                  </a:lnTo>
                  <a:lnTo>
                    <a:pt x="759" y="26"/>
                  </a:lnTo>
                  <a:lnTo>
                    <a:pt x="759" y="21"/>
                  </a:lnTo>
                  <a:lnTo>
                    <a:pt x="759" y="21"/>
                  </a:lnTo>
                  <a:lnTo>
                    <a:pt x="757" y="17"/>
                  </a:lnTo>
                  <a:lnTo>
                    <a:pt x="754" y="10"/>
                  </a:lnTo>
                  <a:lnTo>
                    <a:pt x="749" y="3"/>
                  </a:lnTo>
                  <a:lnTo>
                    <a:pt x="746" y="1"/>
                  </a:lnTo>
                  <a:lnTo>
                    <a:pt x="743" y="0"/>
                  </a:lnTo>
                  <a:lnTo>
                    <a:pt x="743" y="0"/>
                  </a:lnTo>
                  <a:lnTo>
                    <a:pt x="734" y="0"/>
                  </a:lnTo>
                  <a:lnTo>
                    <a:pt x="730" y="1"/>
                  </a:lnTo>
                  <a:lnTo>
                    <a:pt x="728" y="3"/>
                  </a:lnTo>
                  <a:lnTo>
                    <a:pt x="728" y="6"/>
                  </a:lnTo>
                  <a:lnTo>
                    <a:pt x="728" y="6"/>
                  </a:lnTo>
                  <a:lnTo>
                    <a:pt x="728" y="10"/>
                  </a:lnTo>
                  <a:lnTo>
                    <a:pt x="730" y="14"/>
                  </a:lnTo>
                  <a:lnTo>
                    <a:pt x="733" y="19"/>
                  </a:lnTo>
                  <a:lnTo>
                    <a:pt x="733" y="21"/>
                  </a:lnTo>
                  <a:lnTo>
                    <a:pt x="733" y="21"/>
                  </a:lnTo>
                  <a:lnTo>
                    <a:pt x="731" y="26"/>
                  </a:lnTo>
                  <a:lnTo>
                    <a:pt x="730" y="27"/>
                  </a:lnTo>
                  <a:lnTo>
                    <a:pt x="728" y="26"/>
                  </a:lnTo>
                  <a:lnTo>
                    <a:pt x="728" y="26"/>
                  </a:lnTo>
                  <a:lnTo>
                    <a:pt x="724" y="23"/>
                  </a:lnTo>
                  <a:lnTo>
                    <a:pt x="722" y="23"/>
                  </a:lnTo>
                  <a:lnTo>
                    <a:pt x="721" y="23"/>
                  </a:lnTo>
                  <a:lnTo>
                    <a:pt x="721" y="23"/>
                  </a:lnTo>
                  <a:lnTo>
                    <a:pt x="718" y="26"/>
                  </a:lnTo>
                  <a:lnTo>
                    <a:pt x="717" y="27"/>
                  </a:lnTo>
                  <a:lnTo>
                    <a:pt x="715" y="29"/>
                  </a:lnTo>
                  <a:lnTo>
                    <a:pt x="715" y="29"/>
                  </a:lnTo>
                  <a:lnTo>
                    <a:pt x="712" y="39"/>
                  </a:lnTo>
                  <a:lnTo>
                    <a:pt x="708" y="50"/>
                  </a:lnTo>
                  <a:lnTo>
                    <a:pt x="708" y="50"/>
                  </a:lnTo>
                  <a:lnTo>
                    <a:pt x="707" y="63"/>
                  </a:lnTo>
                  <a:lnTo>
                    <a:pt x="708" y="78"/>
                  </a:lnTo>
                  <a:lnTo>
                    <a:pt x="708" y="78"/>
                  </a:lnTo>
                  <a:lnTo>
                    <a:pt x="709" y="85"/>
                  </a:lnTo>
                  <a:lnTo>
                    <a:pt x="711" y="90"/>
                  </a:lnTo>
                  <a:lnTo>
                    <a:pt x="714" y="91"/>
                  </a:lnTo>
                  <a:lnTo>
                    <a:pt x="718" y="91"/>
                  </a:lnTo>
                  <a:lnTo>
                    <a:pt x="718" y="91"/>
                  </a:lnTo>
                  <a:lnTo>
                    <a:pt x="720" y="92"/>
                  </a:lnTo>
                  <a:lnTo>
                    <a:pt x="721" y="95"/>
                  </a:lnTo>
                  <a:lnTo>
                    <a:pt x="722" y="97"/>
                  </a:lnTo>
                  <a:lnTo>
                    <a:pt x="725" y="98"/>
                  </a:lnTo>
                  <a:lnTo>
                    <a:pt x="725" y="98"/>
                  </a:lnTo>
                  <a:lnTo>
                    <a:pt x="727" y="100"/>
                  </a:lnTo>
                  <a:lnTo>
                    <a:pt x="728" y="101"/>
                  </a:lnTo>
                  <a:lnTo>
                    <a:pt x="731" y="104"/>
                  </a:lnTo>
                  <a:lnTo>
                    <a:pt x="734" y="108"/>
                  </a:lnTo>
                  <a:lnTo>
                    <a:pt x="737" y="110"/>
                  </a:lnTo>
                  <a:lnTo>
                    <a:pt x="737" y="110"/>
                  </a:lnTo>
                  <a:lnTo>
                    <a:pt x="743" y="108"/>
                  </a:lnTo>
                  <a:lnTo>
                    <a:pt x="744" y="108"/>
                  </a:lnTo>
                  <a:lnTo>
                    <a:pt x="747" y="110"/>
                  </a:lnTo>
                  <a:lnTo>
                    <a:pt x="747" y="110"/>
                  </a:lnTo>
                  <a:lnTo>
                    <a:pt x="751" y="111"/>
                  </a:lnTo>
                  <a:lnTo>
                    <a:pt x="757" y="111"/>
                  </a:lnTo>
                  <a:lnTo>
                    <a:pt x="762" y="113"/>
                  </a:lnTo>
                  <a:lnTo>
                    <a:pt x="762" y="113"/>
                  </a:lnTo>
                  <a:lnTo>
                    <a:pt x="762" y="114"/>
                  </a:lnTo>
                  <a:lnTo>
                    <a:pt x="762" y="114"/>
                  </a:lnTo>
                  <a:lnTo>
                    <a:pt x="757" y="116"/>
                  </a:lnTo>
                  <a:lnTo>
                    <a:pt x="754" y="116"/>
                  </a:lnTo>
                  <a:lnTo>
                    <a:pt x="751" y="117"/>
                  </a:lnTo>
                  <a:lnTo>
                    <a:pt x="749" y="120"/>
                  </a:lnTo>
                  <a:lnTo>
                    <a:pt x="749" y="120"/>
                  </a:lnTo>
                  <a:lnTo>
                    <a:pt x="746" y="132"/>
                  </a:lnTo>
                  <a:lnTo>
                    <a:pt x="741" y="139"/>
                  </a:lnTo>
                  <a:lnTo>
                    <a:pt x="741" y="139"/>
                  </a:lnTo>
                  <a:lnTo>
                    <a:pt x="740" y="143"/>
                  </a:lnTo>
                  <a:lnTo>
                    <a:pt x="740" y="146"/>
                  </a:lnTo>
                  <a:lnTo>
                    <a:pt x="740" y="147"/>
                  </a:lnTo>
                  <a:lnTo>
                    <a:pt x="741" y="147"/>
                  </a:lnTo>
                  <a:lnTo>
                    <a:pt x="741" y="147"/>
                  </a:lnTo>
                  <a:lnTo>
                    <a:pt x="749" y="143"/>
                  </a:lnTo>
                  <a:lnTo>
                    <a:pt x="753" y="140"/>
                  </a:lnTo>
                  <a:lnTo>
                    <a:pt x="754" y="140"/>
                  </a:lnTo>
                  <a:lnTo>
                    <a:pt x="754" y="140"/>
                  </a:lnTo>
                  <a:lnTo>
                    <a:pt x="754" y="140"/>
                  </a:lnTo>
                  <a:lnTo>
                    <a:pt x="754" y="146"/>
                  </a:lnTo>
                  <a:lnTo>
                    <a:pt x="754" y="150"/>
                  </a:lnTo>
                  <a:lnTo>
                    <a:pt x="756" y="153"/>
                  </a:lnTo>
                  <a:lnTo>
                    <a:pt x="756" y="153"/>
                  </a:lnTo>
                  <a:lnTo>
                    <a:pt x="757" y="155"/>
                  </a:lnTo>
                  <a:lnTo>
                    <a:pt x="757" y="156"/>
                  </a:lnTo>
                  <a:lnTo>
                    <a:pt x="757" y="159"/>
                  </a:lnTo>
                  <a:lnTo>
                    <a:pt x="756" y="159"/>
                  </a:lnTo>
                  <a:lnTo>
                    <a:pt x="756" y="159"/>
                  </a:lnTo>
                  <a:lnTo>
                    <a:pt x="749" y="161"/>
                  </a:lnTo>
                  <a:lnTo>
                    <a:pt x="744" y="162"/>
                  </a:lnTo>
                  <a:lnTo>
                    <a:pt x="741" y="165"/>
                  </a:lnTo>
                  <a:lnTo>
                    <a:pt x="741" y="165"/>
                  </a:lnTo>
                  <a:lnTo>
                    <a:pt x="737" y="175"/>
                  </a:lnTo>
                  <a:lnTo>
                    <a:pt x="734" y="178"/>
                  </a:lnTo>
                  <a:lnTo>
                    <a:pt x="733" y="181"/>
                  </a:lnTo>
                  <a:lnTo>
                    <a:pt x="733" y="181"/>
                  </a:lnTo>
                  <a:lnTo>
                    <a:pt x="730" y="182"/>
                  </a:lnTo>
                  <a:lnTo>
                    <a:pt x="728" y="184"/>
                  </a:lnTo>
                  <a:lnTo>
                    <a:pt x="725" y="188"/>
                  </a:lnTo>
                  <a:lnTo>
                    <a:pt x="725" y="188"/>
                  </a:lnTo>
                  <a:lnTo>
                    <a:pt x="724" y="191"/>
                  </a:lnTo>
                  <a:lnTo>
                    <a:pt x="722" y="192"/>
                  </a:lnTo>
                  <a:lnTo>
                    <a:pt x="722" y="195"/>
                  </a:lnTo>
                  <a:lnTo>
                    <a:pt x="724" y="198"/>
                  </a:lnTo>
                  <a:lnTo>
                    <a:pt x="724" y="198"/>
                  </a:lnTo>
                  <a:lnTo>
                    <a:pt x="730" y="208"/>
                  </a:lnTo>
                  <a:lnTo>
                    <a:pt x="731" y="213"/>
                  </a:lnTo>
                  <a:lnTo>
                    <a:pt x="730" y="217"/>
                  </a:lnTo>
                  <a:lnTo>
                    <a:pt x="730" y="217"/>
                  </a:lnTo>
                  <a:lnTo>
                    <a:pt x="730" y="220"/>
                  </a:lnTo>
                  <a:lnTo>
                    <a:pt x="728" y="224"/>
                  </a:lnTo>
                  <a:lnTo>
                    <a:pt x="728" y="226"/>
                  </a:lnTo>
                  <a:lnTo>
                    <a:pt x="727" y="224"/>
                  </a:lnTo>
                  <a:lnTo>
                    <a:pt x="727" y="224"/>
                  </a:lnTo>
                  <a:lnTo>
                    <a:pt x="724" y="214"/>
                  </a:lnTo>
                  <a:lnTo>
                    <a:pt x="721" y="210"/>
                  </a:lnTo>
                  <a:lnTo>
                    <a:pt x="717" y="205"/>
                  </a:lnTo>
                  <a:lnTo>
                    <a:pt x="717" y="205"/>
                  </a:lnTo>
                  <a:lnTo>
                    <a:pt x="712" y="203"/>
                  </a:lnTo>
                  <a:lnTo>
                    <a:pt x="709" y="197"/>
                  </a:lnTo>
                  <a:lnTo>
                    <a:pt x="708" y="192"/>
                  </a:lnTo>
                  <a:lnTo>
                    <a:pt x="708" y="191"/>
                  </a:lnTo>
                  <a:lnTo>
                    <a:pt x="708" y="191"/>
                  </a:lnTo>
                  <a:lnTo>
                    <a:pt x="711" y="187"/>
                  </a:lnTo>
                  <a:lnTo>
                    <a:pt x="711" y="184"/>
                  </a:lnTo>
                  <a:lnTo>
                    <a:pt x="709" y="182"/>
                  </a:lnTo>
                  <a:lnTo>
                    <a:pt x="709" y="182"/>
                  </a:lnTo>
                  <a:lnTo>
                    <a:pt x="707" y="178"/>
                  </a:lnTo>
                  <a:lnTo>
                    <a:pt x="707" y="176"/>
                  </a:lnTo>
                  <a:lnTo>
                    <a:pt x="707" y="175"/>
                  </a:lnTo>
                  <a:lnTo>
                    <a:pt x="707" y="175"/>
                  </a:lnTo>
                  <a:lnTo>
                    <a:pt x="709" y="171"/>
                  </a:lnTo>
                  <a:lnTo>
                    <a:pt x="709" y="169"/>
                  </a:lnTo>
                  <a:lnTo>
                    <a:pt x="707" y="168"/>
                  </a:lnTo>
                  <a:lnTo>
                    <a:pt x="707" y="168"/>
                  </a:lnTo>
                  <a:lnTo>
                    <a:pt x="698" y="162"/>
                  </a:lnTo>
                  <a:lnTo>
                    <a:pt x="695" y="161"/>
                  </a:lnTo>
                  <a:lnTo>
                    <a:pt x="692" y="161"/>
                  </a:lnTo>
                  <a:lnTo>
                    <a:pt x="692" y="161"/>
                  </a:lnTo>
                  <a:lnTo>
                    <a:pt x="688" y="166"/>
                  </a:lnTo>
                  <a:lnTo>
                    <a:pt x="685" y="169"/>
                  </a:lnTo>
                  <a:lnTo>
                    <a:pt x="685" y="172"/>
                  </a:lnTo>
                  <a:lnTo>
                    <a:pt x="685" y="172"/>
                  </a:lnTo>
                  <a:lnTo>
                    <a:pt x="689" y="184"/>
                  </a:lnTo>
                  <a:lnTo>
                    <a:pt x="691" y="191"/>
                  </a:lnTo>
                  <a:lnTo>
                    <a:pt x="691" y="192"/>
                  </a:lnTo>
                  <a:lnTo>
                    <a:pt x="691" y="192"/>
                  </a:lnTo>
                  <a:lnTo>
                    <a:pt x="691" y="192"/>
                  </a:lnTo>
                  <a:lnTo>
                    <a:pt x="685" y="187"/>
                  </a:lnTo>
                  <a:lnTo>
                    <a:pt x="682" y="185"/>
                  </a:lnTo>
                  <a:lnTo>
                    <a:pt x="680" y="184"/>
                  </a:lnTo>
                  <a:lnTo>
                    <a:pt x="680" y="184"/>
                  </a:lnTo>
                  <a:lnTo>
                    <a:pt x="675" y="188"/>
                  </a:lnTo>
                  <a:lnTo>
                    <a:pt x="670" y="189"/>
                  </a:lnTo>
                  <a:lnTo>
                    <a:pt x="667" y="189"/>
                  </a:lnTo>
                  <a:lnTo>
                    <a:pt x="667" y="189"/>
                  </a:lnTo>
                  <a:lnTo>
                    <a:pt x="659" y="188"/>
                  </a:lnTo>
                  <a:lnTo>
                    <a:pt x="654" y="188"/>
                  </a:lnTo>
                  <a:lnTo>
                    <a:pt x="650" y="188"/>
                  </a:lnTo>
                  <a:lnTo>
                    <a:pt x="650" y="188"/>
                  </a:lnTo>
                  <a:lnTo>
                    <a:pt x="640" y="192"/>
                  </a:lnTo>
                  <a:lnTo>
                    <a:pt x="631" y="195"/>
                  </a:lnTo>
                  <a:lnTo>
                    <a:pt x="631" y="195"/>
                  </a:lnTo>
                  <a:lnTo>
                    <a:pt x="618" y="192"/>
                  </a:lnTo>
                  <a:lnTo>
                    <a:pt x="618" y="192"/>
                  </a:lnTo>
                  <a:lnTo>
                    <a:pt x="617" y="191"/>
                  </a:lnTo>
                  <a:lnTo>
                    <a:pt x="614" y="189"/>
                  </a:lnTo>
                  <a:lnTo>
                    <a:pt x="611" y="187"/>
                  </a:lnTo>
                  <a:lnTo>
                    <a:pt x="608" y="185"/>
                  </a:lnTo>
                  <a:lnTo>
                    <a:pt x="608" y="185"/>
                  </a:lnTo>
                  <a:lnTo>
                    <a:pt x="605" y="182"/>
                  </a:lnTo>
                  <a:lnTo>
                    <a:pt x="604" y="179"/>
                  </a:lnTo>
                  <a:lnTo>
                    <a:pt x="601" y="176"/>
                  </a:lnTo>
                  <a:lnTo>
                    <a:pt x="599" y="175"/>
                  </a:lnTo>
                  <a:lnTo>
                    <a:pt x="598" y="175"/>
                  </a:lnTo>
                  <a:lnTo>
                    <a:pt x="598" y="175"/>
                  </a:lnTo>
                  <a:lnTo>
                    <a:pt x="589" y="178"/>
                  </a:lnTo>
                  <a:lnTo>
                    <a:pt x="586" y="178"/>
                  </a:lnTo>
                  <a:lnTo>
                    <a:pt x="583" y="175"/>
                  </a:lnTo>
                  <a:lnTo>
                    <a:pt x="583" y="175"/>
                  </a:lnTo>
                  <a:lnTo>
                    <a:pt x="581" y="172"/>
                  </a:lnTo>
                  <a:lnTo>
                    <a:pt x="576" y="171"/>
                  </a:lnTo>
                  <a:lnTo>
                    <a:pt x="572" y="168"/>
                  </a:lnTo>
                  <a:lnTo>
                    <a:pt x="567" y="163"/>
                  </a:lnTo>
                  <a:lnTo>
                    <a:pt x="567" y="163"/>
                  </a:lnTo>
                  <a:lnTo>
                    <a:pt x="566" y="158"/>
                  </a:lnTo>
                  <a:lnTo>
                    <a:pt x="566" y="152"/>
                  </a:lnTo>
                  <a:lnTo>
                    <a:pt x="566" y="147"/>
                  </a:lnTo>
                  <a:lnTo>
                    <a:pt x="565" y="146"/>
                  </a:lnTo>
                  <a:lnTo>
                    <a:pt x="565" y="145"/>
                  </a:lnTo>
                  <a:lnTo>
                    <a:pt x="565" y="145"/>
                  </a:lnTo>
                  <a:lnTo>
                    <a:pt x="560" y="145"/>
                  </a:lnTo>
                  <a:lnTo>
                    <a:pt x="554" y="145"/>
                  </a:lnTo>
                  <a:lnTo>
                    <a:pt x="543" y="146"/>
                  </a:lnTo>
                  <a:lnTo>
                    <a:pt x="543" y="146"/>
                  </a:lnTo>
                  <a:lnTo>
                    <a:pt x="523" y="149"/>
                  </a:lnTo>
                  <a:lnTo>
                    <a:pt x="523" y="149"/>
                  </a:lnTo>
                  <a:lnTo>
                    <a:pt x="518" y="152"/>
                  </a:lnTo>
                  <a:lnTo>
                    <a:pt x="515" y="158"/>
                  </a:lnTo>
                  <a:lnTo>
                    <a:pt x="515" y="158"/>
                  </a:lnTo>
                  <a:lnTo>
                    <a:pt x="511" y="163"/>
                  </a:lnTo>
                  <a:lnTo>
                    <a:pt x="510" y="166"/>
                  </a:lnTo>
                  <a:lnTo>
                    <a:pt x="511" y="168"/>
                  </a:lnTo>
                  <a:lnTo>
                    <a:pt x="511" y="168"/>
                  </a:lnTo>
                  <a:lnTo>
                    <a:pt x="517" y="174"/>
                  </a:lnTo>
                  <a:lnTo>
                    <a:pt x="520" y="175"/>
                  </a:lnTo>
                  <a:lnTo>
                    <a:pt x="520" y="175"/>
                  </a:lnTo>
                  <a:lnTo>
                    <a:pt x="520" y="174"/>
                  </a:lnTo>
                  <a:lnTo>
                    <a:pt x="520" y="174"/>
                  </a:lnTo>
                  <a:lnTo>
                    <a:pt x="520" y="168"/>
                  </a:lnTo>
                  <a:lnTo>
                    <a:pt x="521" y="166"/>
                  </a:lnTo>
                  <a:lnTo>
                    <a:pt x="523" y="166"/>
                  </a:lnTo>
                  <a:lnTo>
                    <a:pt x="523" y="166"/>
                  </a:lnTo>
                  <a:lnTo>
                    <a:pt x="528" y="168"/>
                  </a:lnTo>
                  <a:lnTo>
                    <a:pt x="531" y="168"/>
                  </a:lnTo>
                  <a:lnTo>
                    <a:pt x="534" y="166"/>
                  </a:lnTo>
                  <a:lnTo>
                    <a:pt x="534" y="166"/>
                  </a:lnTo>
                  <a:lnTo>
                    <a:pt x="547" y="158"/>
                  </a:lnTo>
                  <a:lnTo>
                    <a:pt x="547" y="158"/>
                  </a:lnTo>
                  <a:lnTo>
                    <a:pt x="554" y="156"/>
                  </a:lnTo>
                  <a:lnTo>
                    <a:pt x="557" y="156"/>
                  </a:lnTo>
                  <a:lnTo>
                    <a:pt x="557" y="156"/>
                  </a:lnTo>
                  <a:lnTo>
                    <a:pt x="557" y="158"/>
                  </a:lnTo>
                  <a:lnTo>
                    <a:pt x="557" y="158"/>
                  </a:lnTo>
                  <a:lnTo>
                    <a:pt x="553" y="162"/>
                  </a:lnTo>
                  <a:lnTo>
                    <a:pt x="549" y="166"/>
                  </a:lnTo>
                  <a:lnTo>
                    <a:pt x="549" y="166"/>
                  </a:lnTo>
                  <a:lnTo>
                    <a:pt x="543" y="169"/>
                  </a:lnTo>
                  <a:lnTo>
                    <a:pt x="537" y="172"/>
                  </a:lnTo>
                  <a:lnTo>
                    <a:pt x="537" y="172"/>
                  </a:lnTo>
                  <a:lnTo>
                    <a:pt x="533" y="176"/>
                  </a:lnTo>
                  <a:lnTo>
                    <a:pt x="528" y="178"/>
                  </a:lnTo>
                  <a:lnTo>
                    <a:pt x="528" y="178"/>
                  </a:lnTo>
                  <a:lnTo>
                    <a:pt x="523" y="181"/>
                  </a:lnTo>
                  <a:lnTo>
                    <a:pt x="518" y="182"/>
                  </a:lnTo>
                  <a:lnTo>
                    <a:pt x="517" y="185"/>
                  </a:lnTo>
                  <a:lnTo>
                    <a:pt x="517" y="185"/>
                  </a:lnTo>
                  <a:lnTo>
                    <a:pt x="515" y="191"/>
                  </a:lnTo>
                  <a:lnTo>
                    <a:pt x="514" y="197"/>
                  </a:lnTo>
                  <a:lnTo>
                    <a:pt x="514" y="197"/>
                  </a:lnTo>
                  <a:lnTo>
                    <a:pt x="514" y="198"/>
                  </a:lnTo>
                  <a:lnTo>
                    <a:pt x="515" y="200"/>
                  </a:lnTo>
                  <a:lnTo>
                    <a:pt x="518" y="203"/>
                  </a:lnTo>
                  <a:lnTo>
                    <a:pt x="518" y="204"/>
                  </a:lnTo>
                  <a:lnTo>
                    <a:pt x="518" y="204"/>
                  </a:lnTo>
                  <a:lnTo>
                    <a:pt x="520" y="208"/>
                  </a:lnTo>
                  <a:lnTo>
                    <a:pt x="523" y="214"/>
                  </a:lnTo>
                  <a:lnTo>
                    <a:pt x="523" y="214"/>
                  </a:lnTo>
                  <a:lnTo>
                    <a:pt x="524" y="216"/>
                  </a:lnTo>
                  <a:lnTo>
                    <a:pt x="524" y="218"/>
                  </a:lnTo>
                  <a:lnTo>
                    <a:pt x="521" y="226"/>
                  </a:lnTo>
                  <a:lnTo>
                    <a:pt x="521" y="226"/>
                  </a:lnTo>
                  <a:lnTo>
                    <a:pt x="521" y="230"/>
                  </a:lnTo>
                  <a:lnTo>
                    <a:pt x="524" y="234"/>
                  </a:lnTo>
                  <a:lnTo>
                    <a:pt x="525" y="237"/>
                  </a:lnTo>
                  <a:lnTo>
                    <a:pt x="525" y="239"/>
                  </a:lnTo>
                  <a:lnTo>
                    <a:pt x="523" y="237"/>
                  </a:lnTo>
                  <a:lnTo>
                    <a:pt x="523" y="237"/>
                  </a:lnTo>
                  <a:lnTo>
                    <a:pt x="517" y="234"/>
                  </a:lnTo>
                  <a:lnTo>
                    <a:pt x="512" y="230"/>
                  </a:lnTo>
                  <a:lnTo>
                    <a:pt x="510" y="226"/>
                  </a:lnTo>
                  <a:lnTo>
                    <a:pt x="508" y="224"/>
                  </a:lnTo>
                  <a:lnTo>
                    <a:pt x="510" y="223"/>
                  </a:lnTo>
                  <a:lnTo>
                    <a:pt x="510" y="223"/>
                  </a:lnTo>
                  <a:lnTo>
                    <a:pt x="514" y="218"/>
                  </a:lnTo>
                  <a:lnTo>
                    <a:pt x="514" y="216"/>
                  </a:lnTo>
                  <a:lnTo>
                    <a:pt x="514" y="214"/>
                  </a:lnTo>
                  <a:lnTo>
                    <a:pt x="514" y="214"/>
                  </a:lnTo>
                  <a:lnTo>
                    <a:pt x="510" y="205"/>
                  </a:lnTo>
                  <a:lnTo>
                    <a:pt x="507" y="203"/>
                  </a:lnTo>
                  <a:lnTo>
                    <a:pt x="505" y="201"/>
                  </a:lnTo>
                  <a:lnTo>
                    <a:pt x="504" y="201"/>
                  </a:lnTo>
                  <a:lnTo>
                    <a:pt x="504" y="201"/>
                  </a:lnTo>
                  <a:lnTo>
                    <a:pt x="498" y="205"/>
                  </a:lnTo>
                  <a:lnTo>
                    <a:pt x="497" y="205"/>
                  </a:lnTo>
                  <a:lnTo>
                    <a:pt x="497" y="204"/>
                  </a:lnTo>
                  <a:lnTo>
                    <a:pt x="497" y="204"/>
                  </a:lnTo>
                  <a:lnTo>
                    <a:pt x="497" y="195"/>
                  </a:lnTo>
                  <a:lnTo>
                    <a:pt x="498" y="192"/>
                  </a:lnTo>
                  <a:lnTo>
                    <a:pt x="497" y="191"/>
                  </a:lnTo>
                  <a:lnTo>
                    <a:pt x="497" y="191"/>
                  </a:lnTo>
                  <a:lnTo>
                    <a:pt x="492" y="192"/>
                  </a:lnTo>
                  <a:lnTo>
                    <a:pt x="489" y="192"/>
                  </a:lnTo>
                  <a:lnTo>
                    <a:pt x="488" y="191"/>
                  </a:lnTo>
                  <a:lnTo>
                    <a:pt x="488" y="191"/>
                  </a:lnTo>
                  <a:lnTo>
                    <a:pt x="483" y="184"/>
                  </a:lnTo>
                  <a:lnTo>
                    <a:pt x="481" y="181"/>
                  </a:lnTo>
                  <a:lnTo>
                    <a:pt x="478" y="179"/>
                  </a:lnTo>
                  <a:lnTo>
                    <a:pt x="478" y="179"/>
                  </a:lnTo>
                  <a:lnTo>
                    <a:pt x="472" y="185"/>
                  </a:lnTo>
                  <a:lnTo>
                    <a:pt x="466" y="189"/>
                  </a:lnTo>
                  <a:lnTo>
                    <a:pt x="462" y="191"/>
                  </a:lnTo>
                  <a:lnTo>
                    <a:pt x="462" y="191"/>
                  </a:lnTo>
                  <a:lnTo>
                    <a:pt x="447" y="192"/>
                  </a:lnTo>
                  <a:lnTo>
                    <a:pt x="437" y="194"/>
                  </a:lnTo>
                  <a:lnTo>
                    <a:pt x="431" y="194"/>
                  </a:lnTo>
                  <a:lnTo>
                    <a:pt x="431" y="194"/>
                  </a:lnTo>
                  <a:lnTo>
                    <a:pt x="428" y="192"/>
                  </a:lnTo>
                  <a:lnTo>
                    <a:pt x="426" y="194"/>
                  </a:lnTo>
                  <a:lnTo>
                    <a:pt x="424" y="194"/>
                  </a:lnTo>
                  <a:lnTo>
                    <a:pt x="420" y="192"/>
                  </a:lnTo>
                  <a:lnTo>
                    <a:pt x="420" y="192"/>
                  </a:lnTo>
                  <a:lnTo>
                    <a:pt x="404" y="188"/>
                  </a:lnTo>
                  <a:lnTo>
                    <a:pt x="399" y="185"/>
                  </a:lnTo>
                  <a:lnTo>
                    <a:pt x="398" y="185"/>
                  </a:lnTo>
                  <a:lnTo>
                    <a:pt x="399" y="184"/>
                  </a:lnTo>
                  <a:lnTo>
                    <a:pt x="399" y="184"/>
                  </a:lnTo>
                  <a:lnTo>
                    <a:pt x="408" y="182"/>
                  </a:lnTo>
                  <a:lnTo>
                    <a:pt x="410" y="181"/>
                  </a:lnTo>
                  <a:lnTo>
                    <a:pt x="410" y="179"/>
                  </a:lnTo>
                  <a:lnTo>
                    <a:pt x="410" y="179"/>
                  </a:lnTo>
                  <a:lnTo>
                    <a:pt x="408" y="176"/>
                  </a:lnTo>
                  <a:lnTo>
                    <a:pt x="405" y="175"/>
                  </a:lnTo>
                  <a:lnTo>
                    <a:pt x="404" y="174"/>
                  </a:lnTo>
                  <a:lnTo>
                    <a:pt x="407" y="174"/>
                  </a:lnTo>
                  <a:lnTo>
                    <a:pt x="407" y="174"/>
                  </a:lnTo>
                  <a:lnTo>
                    <a:pt x="413" y="174"/>
                  </a:lnTo>
                  <a:lnTo>
                    <a:pt x="414" y="172"/>
                  </a:lnTo>
                  <a:lnTo>
                    <a:pt x="415" y="171"/>
                  </a:lnTo>
                  <a:lnTo>
                    <a:pt x="415" y="171"/>
                  </a:lnTo>
                  <a:lnTo>
                    <a:pt x="413" y="168"/>
                  </a:lnTo>
                  <a:lnTo>
                    <a:pt x="413" y="165"/>
                  </a:lnTo>
                  <a:lnTo>
                    <a:pt x="417" y="165"/>
                  </a:lnTo>
                  <a:lnTo>
                    <a:pt x="417" y="165"/>
                  </a:lnTo>
                  <a:lnTo>
                    <a:pt x="421" y="165"/>
                  </a:lnTo>
                  <a:lnTo>
                    <a:pt x="424" y="165"/>
                  </a:lnTo>
                  <a:lnTo>
                    <a:pt x="427" y="165"/>
                  </a:lnTo>
                  <a:lnTo>
                    <a:pt x="428" y="165"/>
                  </a:lnTo>
                  <a:lnTo>
                    <a:pt x="428" y="165"/>
                  </a:lnTo>
                  <a:lnTo>
                    <a:pt x="428" y="162"/>
                  </a:lnTo>
                  <a:lnTo>
                    <a:pt x="428" y="159"/>
                  </a:lnTo>
                  <a:lnTo>
                    <a:pt x="427" y="156"/>
                  </a:lnTo>
                  <a:lnTo>
                    <a:pt x="424" y="153"/>
                  </a:lnTo>
                  <a:lnTo>
                    <a:pt x="424" y="153"/>
                  </a:lnTo>
                  <a:lnTo>
                    <a:pt x="417" y="146"/>
                  </a:lnTo>
                  <a:lnTo>
                    <a:pt x="414" y="143"/>
                  </a:lnTo>
                  <a:lnTo>
                    <a:pt x="408" y="142"/>
                  </a:lnTo>
                  <a:lnTo>
                    <a:pt x="408" y="142"/>
                  </a:lnTo>
                  <a:lnTo>
                    <a:pt x="397" y="140"/>
                  </a:lnTo>
                  <a:lnTo>
                    <a:pt x="394" y="140"/>
                  </a:lnTo>
                  <a:lnTo>
                    <a:pt x="395" y="143"/>
                  </a:lnTo>
                  <a:lnTo>
                    <a:pt x="395" y="143"/>
                  </a:lnTo>
                  <a:lnTo>
                    <a:pt x="398" y="149"/>
                  </a:lnTo>
                  <a:lnTo>
                    <a:pt x="399" y="150"/>
                  </a:lnTo>
                  <a:lnTo>
                    <a:pt x="397" y="150"/>
                  </a:lnTo>
                  <a:lnTo>
                    <a:pt x="397" y="150"/>
                  </a:lnTo>
                  <a:lnTo>
                    <a:pt x="378" y="143"/>
                  </a:lnTo>
                  <a:lnTo>
                    <a:pt x="378" y="143"/>
                  </a:lnTo>
                  <a:lnTo>
                    <a:pt x="373" y="140"/>
                  </a:lnTo>
                  <a:lnTo>
                    <a:pt x="369" y="137"/>
                  </a:lnTo>
                  <a:lnTo>
                    <a:pt x="366" y="134"/>
                  </a:lnTo>
                  <a:lnTo>
                    <a:pt x="363" y="133"/>
                  </a:lnTo>
                  <a:lnTo>
                    <a:pt x="363" y="133"/>
                  </a:lnTo>
                  <a:lnTo>
                    <a:pt x="360" y="132"/>
                  </a:lnTo>
                  <a:lnTo>
                    <a:pt x="360" y="129"/>
                  </a:lnTo>
                  <a:lnTo>
                    <a:pt x="359" y="127"/>
                  </a:lnTo>
                  <a:lnTo>
                    <a:pt x="356" y="126"/>
                  </a:lnTo>
                  <a:lnTo>
                    <a:pt x="356" y="126"/>
                  </a:lnTo>
                  <a:lnTo>
                    <a:pt x="337" y="117"/>
                  </a:lnTo>
                  <a:lnTo>
                    <a:pt x="326" y="111"/>
                  </a:lnTo>
                  <a:lnTo>
                    <a:pt x="318" y="108"/>
                  </a:lnTo>
                  <a:lnTo>
                    <a:pt x="318" y="108"/>
                  </a:lnTo>
                  <a:lnTo>
                    <a:pt x="315" y="107"/>
                  </a:lnTo>
                  <a:lnTo>
                    <a:pt x="311" y="104"/>
                  </a:lnTo>
                  <a:lnTo>
                    <a:pt x="307" y="103"/>
                  </a:lnTo>
                  <a:lnTo>
                    <a:pt x="302" y="101"/>
                  </a:lnTo>
                  <a:lnTo>
                    <a:pt x="302" y="101"/>
                  </a:lnTo>
                  <a:lnTo>
                    <a:pt x="292" y="100"/>
                  </a:lnTo>
                  <a:lnTo>
                    <a:pt x="288" y="101"/>
                  </a:lnTo>
                  <a:lnTo>
                    <a:pt x="288" y="101"/>
                  </a:lnTo>
                  <a:lnTo>
                    <a:pt x="287" y="103"/>
                  </a:lnTo>
                  <a:lnTo>
                    <a:pt x="287" y="103"/>
                  </a:lnTo>
                  <a:lnTo>
                    <a:pt x="285" y="105"/>
                  </a:lnTo>
                  <a:lnTo>
                    <a:pt x="282" y="110"/>
                  </a:lnTo>
                  <a:lnTo>
                    <a:pt x="279" y="113"/>
                  </a:lnTo>
                  <a:lnTo>
                    <a:pt x="278" y="113"/>
                  </a:lnTo>
                  <a:lnTo>
                    <a:pt x="275" y="113"/>
                  </a:lnTo>
                  <a:lnTo>
                    <a:pt x="275" y="113"/>
                  </a:lnTo>
                  <a:lnTo>
                    <a:pt x="273" y="110"/>
                  </a:lnTo>
                  <a:lnTo>
                    <a:pt x="273" y="107"/>
                  </a:lnTo>
                  <a:lnTo>
                    <a:pt x="276" y="103"/>
                  </a:lnTo>
                  <a:lnTo>
                    <a:pt x="276" y="103"/>
                  </a:lnTo>
                  <a:lnTo>
                    <a:pt x="273" y="98"/>
                  </a:lnTo>
                  <a:lnTo>
                    <a:pt x="272" y="95"/>
                  </a:lnTo>
                  <a:lnTo>
                    <a:pt x="272" y="91"/>
                  </a:lnTo>
                  <a:lnTo>
                    <a:pt x="272" y="91"/>
                  </a:lnTo>
                  <a:lnTo>
                    <a:pt x="272" y="90"/>
                  </a:lnTo>
                  <a:lnTo>
                    <a:pt x="272" y="88"/>
                  </a:lnTo>
                  <a:lnTo>
                    <a:pt x="268" y="90"/>
                  </a:lnTo>
                  <a:lnTo>
                    <a:pt x="268" y="90"/>
                  </a:lnTo>
                  <a:lnTo>
                    <a:pt x="266" y="91"/>
                  </a:lnTo>
                  <a:lnTo>
                    <a:pt x="266" y="92"/>
                  </a:lnTo>
                  <a:lnTo>
                    <a:pt x="266" y="98"/>
                  </a:lnTo>
                  <a:lnTo>
                    <a:pt x="266" y="98"/>
                  </a:lnTo>
                  <a:lnTo>
                    <a:pt x="266" y="101"/>
                  </a:lnTo>
                  <a:lnTo>
                    <a:pt x="265" y="103"/>
                  </a:lnTo>
                  <a:lnTo>
                    <a:pt x="263" y="104"/>
                  </a:lnTo>
                  <a:lnTo>
                    <a:pt x="263" y="105"/>
                  </a:lnTo>
                  <a:lnTo>
                    <a:pt x="263" y="105"/>
                  </a:lnTo>
                  <a:lnTo>
                    <a:pt x="262" y="111"/>
                  </a:lnTo>
                  <a:lnTo>
                    <a:pt x="262" y="114"/>
                  </a:lnTo>
                  <a:lnTo>
                    <a:pt x="259" y="116"/>
                  </a:lnTo>
                  <a:lnTo>
                    <a:pt x="259" y="116"/>
                  </a:lnTo>
                  <a:lnTo>
                    <a:pt x="256" y="116"/>
                  </a:lnTo>
                  <a:lnTo>
                    <a:pt x="252" y="114"/>
                  </a:lnTo>
                  <a:lnTo>
                    <a:pt x="249" y="111"/>
                  </a:lnTo>
                  <a:lnTo>
                    <a:pt x="245" y="107"/>
                  </a:lnTo>
                  <a:lnTo>
                    <a:pt x="245" y="107"/>
                  </a:lnTo>
                  <a:lnTo>
                    <a:pt x="237" y="97"/>
                  </a:lnTo>
                  <a:lnTo>
                    <a:pt x="234" y="92"/>
                  </a:lnTo>
                  <a:lnTo>
                    <a:pt x="231" y="87"/>
                  </a:lnTo>
                  <a:lnTo>
                    <a:pt x="231" y="87"/>
                  </a:lnTo>
                  <a:lnTo>
                    <a:pt x="230" y="79"/>
                  </a:lnTo>
                  <a:lnTo>
                    <a:pt x="227" y="74"/>
                  </a:lnTo>
                  <a:lnTo>
                    <a:pt x="220" y="63"/>
                  </a:lnTo>
                  <a:lnTo>
                    <a:pt x="220" y="63"/>
                  </a:lnTo>
                  <a:lnTo>
                    <a:pt x="214" y="58"/>
                  </a:lnTo>
                  <a:lnTo>
                    <a:pt x="211" y="56"/>
                  </a:lnTo>
                  <a:lnTo>
                    <a:pt x="211" y="58"/>
                  </a:lnTo>
                  <a:lnTo>
                    <a:pt x="211" y="58"/>
                  </a:lnTo>
                  <a:lnTo>
                    <a:pt x="210" y="61"/>
                  </a:lnTo>
                  <a:lnTo>
                    <a:pt x="210" y="63"/>
                  </a:lnTo>
                  <a:lnTo>
                    <a:pt x="210" y="65"/>
                  </a:lnTo>
                  <a:lnTo>
                    <a:pt x="210" y="65"/>
                  </a:lnTo>
                  <a:lnTo>
                    <a:pt x="213" y="71"/>
                  </a:lnTo>
                  <a:lnTo>
                    <a:pt x="214" y="74"/>
                  </a:lnTo>
                  <a:lnTo>
                    <a:pt x="216" y="75"/>
                  </a:lnTo>
                  <a:lnTo>
                    <a:pt x="216" y="75"/>
                  </a:lnTo>
                  <a:lnTo>
                    <a:pt x="220" y="79"/>
                  </a:lnTo>
                  <a:lnTo>
                    <a:pt x="221" y="81"/>
                  </a:lnTo>
                  <a:lnTo>
                    <a:pt x="220" y="82"/>
                  </a:lnTo>
                  <a:lnTo>
                    <a:pt x="220" y="82"/>
                  </a:lnTo>
                  <a:lnTo>
                    <a:pt x="217" y="82"/>
                  </a:lnTo>
                  <a:lnTo>
                    <a:pt x="216" y="84"/>
                  </a:lnTo>
                  <a:lnTo>
                    <a:pt x="214" y="85"/>
                  </a:lnTo>
                  <a:lnTo>
                    <a:pt x="214" y="85"/>
                  </a:lnTo>
                  <a:lnTo>
                    <a:pt x="213" y="90"/>
                  </a:lnTo>
                  <a:lnTo>
                    <a:pt x="210" y="92"/>
                  </a:lnTo>
                  <a:lnTo>
                    <a:pt x="210" y="92"/>
                  </a:lnTo>
                  <a:lnTo>
                    <a:pt x="208" y="95"/>
                  </a:lnTo>
                  <a:lnTo>
                    <a:pt x="207" y="100"/>
                  </a:lnTo>
                  <a:lnTo>
                    <a:pt x="207" y="103"/>
                  </a:lnTo>
                  <a:lnTo>
                    <a:pt x="205" y="104"/>
                  </a:lnTo>
                  <a:lnTo>
                    <a:pt x="205" y="104"/>
                  </a:lnTo>
                  <a:lnTo>
                    <a:pt x="203" y="104"/>
                  </a:lnTo>
                  <a:lnTo>
                    <a:pt x="201" y="101"/>
                  </a:lnTo>
                  <a:lnTo>
                    <a:pt x="198" y="98"/>
                  </a:lnTo>
                  <a:lnTo>
                    <a:pt x="195" y="98"/>
                  </a:lnTo>
                  <a:lnTo>
                    <a:pt x="195" y="98"/>
                  </a:lnTo>
                  <a:lnTo>
                    <a:pt x="189" y="103"/>
                  </a:lnTo>
                  <a:lnTo>
                    <a:pt x="188" y="103"/>
                  </a:lnTo>
                  <a:lnTo>
                    <a:pt x="187" y="103"/>
                  </a:lnTo>
                  <a:lnTo>
                    <a:pt x="187" y="101"/>
                  </a:lnTo>
                  <a:lnTo>
                    <a:pt x="187" y="101"/>
                  </a:lnTo>
                  <a:lnTo>
                    <a:pt x="187" y="94"/>
                  </a:lnTo>
                  <a:lnTo>
                    <a:pt x="187" y="90"/>
                  </a:lnTo>
                  <a:lnTo>
                    <a:pt x="185" y="87"/>
                  </a:lnTo>
                  <a:lnTo>
                    <a:pt x="185" y="87"/>
                  </a:lnTo>
                  <a:lnTo>
                    <a:pt x="179" y="81"/>
                  </a:lnTo>
                  <a:lnTo>
                    <a:pt x="178" y="81"/>
                  </a:lnTo>
                  <a:lnTo>
                    <a:pt x="175" y="82"/>
                  </a:lnTo>
                  <a:lnTo>
                    <a:pt x="175" y="82"/>
                  </a:lnTo>
                  <a:lnTo>
                    <a:pt x="172" y="87"/>
                  </a:lnTo>
                  <a:lnTo>
                    <a:pt x="168" y="91"/>
                  </a:lnTo>
                  <a:lnTo>
                    <a:pt x="161" y="97"/>
                  </a:lnTo>
                  <a:lnTo>
                    <a:pt x="161" y="97"/>
                  </a:lnTo>
                  <a:lnTo>
                    <a:pt x="156" y="108"/>
                  </a:lnTo>
                  <a:lnTo>
                    <a:pt x="152" y="117"/>
                  </a:lnTo>
                  <a:lnTo>
                    <a:pt x="150" y="120"/>
                  </a:lnTo>
                  <a:lnTo>
                    <a:pt x="150" y="120"/>
                  </a:lnTo>
                  <a:lnTo>
                    <a:pt x="145" y="124"/>
                  </a:lnTo>
                  <a:lnTo>
                    <a:pt x="143" y="126"/>
                  </a:lnTo>
                  <a:lnTo>
                    <a:pt x="143" y="124"/>
                  </a:lnTo>
                  <a:lnTo>
                    <a:pt x="143" y="124"/>
                  </a:lnTo>
                  <a:lnTo>
                    <a:pt x="149" y="114"/>
                  </a:lnTo>
                  <a:lnTo>
                    <a:pt x="150" y="108"/>
                  </a:lnTo>
                  <a:lnTo>
                    <a:pt x="150" y="104"/>
                  </a:lnTo>
                  <a:lnTo>
                    <a:pt x="150" y="104"/>
                  </a:lnTo>
                  <a:lnTo>
                    <a:pt x="149" y="101"/>
                  </a:lnTo>
                  <a:lnTo>
                    <a:pt x="147" y="100"/>
                  </a:lnTo>
                  <a:lnTo>
                    <a:pt x="146" y="100"/>
                  </a:lnTo>
                  <a:lnTo>
                    <a:pt x="146" y="100"/>
                  </a:lnTo>
                  <a:lnTo>
                    <a:pt x="139" y="108"/>
                  </a:lnTo>
                  <a:lnTo>
                    <a:pt x="134" y="114"/>
                  </a:lnTo>
                  <a:lnTo>
                    <a:pt x="130" y="118"/>
                  </a:lnTo>
                  <a:lnTo>
                    <a:pt x="130" y="118"/>
                  </a:lnTo>
                  <a:lnTo>
                    <a:pt x="111" y="133"/>
                  </a:lnTo>
                  <a:lnTo>
                    <a:pt x="111" y="133"/>
                  </a:lnTo>
                  <a:lnTo>
                    <a:pt x="110" y="136"/>
                  </a:lnTo>
                  <a:lnTo>
                    <a:pt x="110" y="140"/>
                  </a:lnTo>
                  <a:lnTo>
                    <a:pt x="108" y="143"/>
                  </a:lnTo>
                  <a:lnTo>
                    <a:pt x="108" y="143"/>
                  </a:lnTo>
                  <a:lnTo>
                    <a:pt x="107" y="143"/>
                  </a:lnTo>
                  <a:lnTo>
                    <a:pt x="107" y="143"/>
                  </a:lnTo>
                  <a:lnTo>
                    <a:pt x="105" y="139"/>
                  </a:lnTo>
                  <a:lnTo>
                    <a:pt x="104" y="136"/>
                  </a:lnTo>
                  <a:lnTo>
                    <a:pt x="101" y="137"/>
                  </a:lnTo>
                  <a:lnTo>
                    <a:pt x="101" y="137"/>
                  </a:lnTo>
                  <a:lnTo>
                    <a:pt x="101" y="139"/>
                  </a:lnTo>
                  <a:lnTo>
                    <a:pt x="100" y="142"/>
                  </a:lnTo>
                  <a:lnTo>
                    <a:pt x="100" y="143"/>
                  </a:lnTo>
                  <a:lnTo>
                    <a:pt x="98" y="145"/>
                  </a:lnTo>
                  <a:lnTo>
                    <a:pt x="98" y="145"/>
                  </a:lnTo>
                  <a:lnTo>
                    <a:pt x="92" y="142"/>
                  </a:lnTo>
                  <a:lnTo>
                    <a:pt x="90" y="142"/>
                  </a:lnTo>
                  <a:lnTo>
                    <a:pt x="88" y="143"/>
                  </a:lnTo>
                  <a:lnTo>
                    <a:pt x="88" y="143"/>
                  </a:lnTo>
                  <a:lnTo>
                    <a:pt x="87" y="146"/>
                  </a:lnTo>
                  <a:lnTo>
                    <a:pt x="85" y="147"/>
                  </a:lnTo>
                  <a:lnTo>
                    <a:pt x="82" y="146"/>
                  </a:lnTo>
                  <a:lnTo>
                    <a:pt x="82" y="146"/>
                  </a:lnTo>
                  <a:lnTo>
                    <a:pt x="77" y="142"/>
                  </a:lnTo>
                  <a:lnTo>
                    <a:pt x="74" y="140"/>
                  </a:lnTo>
                  <a:lnTo>
                    <a:pt x="74" y="142"/>
                  </a:lnTo>
                  <a:lnTo>
                    <a:pt x="74" y="142"/>
                  </a:lnTo>
                  <a:lnTo>
                    <a:pt x="72" y="143"/>
                  </a:lnTo>
                  <a:lnTo>
                    <a:pt x="72" y="145"/>
                  </a:lnTo>
                  <a:lnTo>
                    <a:pt x="69" y="146"/>
                  </a:lnTo>
                  <a:lnTo>
                    <a:pt x="68" y="146"/>
                  </a:lnTo>
                  <a:lnTo>
                    <a:pt x="68" y="146"/>
                  </a:lnTo>
                  <a:lnTo>
                    <a:pt x="58" y="139"/>
                  </a:lnTo>
                  <a:lnTo>
                    <a:pt x="50" y="132"/>
                  </a:lnTo>
                  <a:lnTo>
                    <a:pt x="50" y="132"/>
                  </a:lnTo>
                  <a:lnTo>
                    <a:pt x="48" y="127"/>
                  </a:lnTo>
                  <a:lnTo>
                    <a:pt x="45" y="123"/>
                  </a:lnTo>
                  <a:lnTo>
                    <a:pt x="45" y="123"/>
                  </a:lnTo>
                  <a:lnTo>
                    <a:pt x="42" y="120"/>
                  </a:lnTo>
                  <a:lnTo>
                    <a:pt x="39" y="116"/>
                  </a:lnTo>
                  <a:lnTo>
                    <a:pt x="36" y="111"/>
                  </a:lnTo>
                  <a:lnTo>
                    <a:pt x="33" y="108"/>
                  </a:lnTo>
                  <a:lnTo>
                    <a:pt x="33" y="108"/>
                  </a:lnTo>
                  <a:lnTo>
                    <a:pt x="27" y="108"/>
                  </a:lnTo>
                  <a:lnTo>
                    <a:pt x="19" y="108"/>
                  </a:lnTo>
                  <a:lnTo>
                    <a:pt x="19" y="108"/>
                  </a:lnTo>
                  <a:lnTo>
                    <a:pt x="10" y="107"/>
                  </a:lnTo>
                  <a:lnTo>
                    <a:pt x="0" y="107"/>
                  </a:lnTo>
                  <a:lnTo>
                    <a:pt x="0" y="466"/>
                  </a:lnTo>
                  <a:lnTo>
                    <a:pt x="0" y="466"/>
                  </a:lnTo>
                  <a:lnTo>
                    <a:pt x="6" y="465"/>
                  </a:lnTo>
                  <a:lnTo>
                    <a:pt x="11" y="463"/>
                  </a:lnTo>
                  <a:lnTo>
                    <a:pt x="23" y="460"/>
                  </a:lnTo>
                  <a:lnTo>
                    <a:pt x="23" y="460"/>
                  </a:lnTo>
                  <a:lnTo>
                    <a:pt x="26" y="460"/>
                  </a:lnTo>
                  <a:lnTo>
                    <a:pt x="27" y="462"/>
                  </a:lnTo>
                  <a:lnTo>
                    <a:pt x="29" y="465"/>
                  </a:lnTo>
                  <a:lnTo>
                    <a:pt x="30" y="470"/>
                  </a:lnTo>
                  <a:lnTo>
                    <a:pt x="32" y="476"/>
                  </a:lnTo>
                  <a:lnTo>
                    <a:pt x="32" y="476"/>
                  </a:lnTo>
                  <a:lnTo>
                    <a:pt x="50" y="502"/>
                  </a:lnTo>
                  <a:lnTo>
                    <a:pt x="50" y="502"/>
                  </a:lnTo>
                  <a:lnTo>
                    <a:pt x="53" y="505"/>
                  </a:lnTo>
                  <a:lnTo>
                    <a:pt x="55" y="507"/>
                  </a:lnTo>
                  <a:lnTo>
                    <a:pt x="62" y="505"/>
                  </a:lnTo>
                  <a:lnTo>
                    <a:pt x="62" y="505"/>
                  </a:lnTo>
                  <a:lnTo>
                    <a:pt x="63" y="504"/>
                  </a:lnTo>
                  <a:lnTo>
                    <a:pt x="66" y="501"/>
                  </a:lnTo>
                  <a:lnTo>
                    <a:pt x="74" y="492"/>
                  </a:lnTo>
                  <a:lnTo>
                    <a:pt x="79" y="485"/>
                  </a:lnTo>
                  <a:lnTo>
                    <a:pt x="82" y="482"/>
                  </a:lnTo>
                  <a:lnTo>
                    <a:pt x="85" y="481"/>
                  </a:lnTo>
                  <a:lnTo>
                    <a:pt x="85" y="481"/>
                  </a:lnTo>
                  <a:lnTo>
                    <a:pt x="87" y="482"/>
                  </a:lnTo>
                  <a:lnTo>
                    <a:pt x="88" y="484"/>
                  </a:lnTo>
                  <a:lnTo>
                    <a:pt x="92" y="489"/>
                  </a:lnTo>
                  <a:lnTo>
                    <a:pt x="98" y="504"/>
                  </a:lnTo>
                  <a:lnTo>
                    <a:pt x="98" y="504"/>
                  </a:lnTo>
                  <a:lnTo>
                    <a:pt x="100" y="507"/>
                  </a:lnTo>
                  <a:lnTo>
                    <a:pt x="101" y="510"/>
                  </a:lnTo>
                  <a:lnTo>
                    <a:pt x="107" y="515"/>
                  </a:lnTo>
                  <a:lnTo>
                    <a:pt x="113" y="520"/>
                  </a:lnTo>
                  <a:lnTo>
                    <a:pt x="117" y="524"/>
                  </a:lnTo>
                  <a:lnTo>
                    <a:pt x="117" y="524"/>
                  </a:lnTo>
                  <a:lnTo>
                    <a:pt x="123" y="533"/>
                  </a:lnTo>
                  <a:lnTo>
                    <a:pt x="126" y="539"/>
                  </a:lnTo>
                  <a:lnTo>
                    <a:pt x="133" y="544"/>
                  </a:lnTo>
                  <a:lnTo>
                    <a:pt x="133" y="544"/>
                  </a:lnTo>
                  <a:lnTo>
                    <a:pt x="139" y="553"/>
                  </a:lnTo>
                  <a:lnTo>
                    <a:pt x="145" y="560"/>
                  </a:lnTo>
                  <a:lnTo>
                    <a:pt x="149" y="569"/>
                  </a:lnTo>
                  <a:lnTo>
                    <a:pt x="153" y="575"/>
                  </a:lnTo>
                  <a:lnTo>
                    <a:pt x="153" y="575"/>
                  </a:lnTo>
                  <a:lnTo>
                    <a:pt x="161" y="582"/>
                  </a:lnTo>
                  <a:lnTo>
                    <a:pt x="169" y="589"/>
                  </a:lnTo>
                  <a:lnTo>
                    <a:pt x="176" y="595"/>
                  </a:lnTo>
                  <a:lnTo>
                    <a:pt x="178" y="598"/>
                  </a:lnTo>
                  <a:lnTo>
                    <a:pt x="179" y="601"/>
                  </a:lnTo>
                  <a:lnTo>
                    <a:pt x="179" y="623"/>
                  </a:lnTo>
                  <a:lnTo>
                    <a:pt x="179" y="624"/>
                  </a:lnTo>
                  <a:lnTo>
                    <a:pt x="179" y="624"/>
                  </a:lnTo>
                  <a:lnTo>
                    <a:pt x="178" y="625"/>
                  </a:lnTo>
                  <a:lnTo>
                    <a:pt x="176" y="630"/>
                  </a:lnTo>
                  <a:lnTo>
                    <a:pt x="175" y="633"/>
                  </a:lnTo>
                  <a:lnTo>
                    <a:pt x="174" y="637"/>
                  </a:lnTo>
                  <a:lnTo>
                    <a:pt x="174" y="637"/>
                  </a:lnTo>
                  <a:lnTo>
                    <a:pt x="175" y="641"/>
                  </a:lnTo>
                  <a:lnTo>
                    <a:pt x="176" y="644"/>
                  </a:lnTo>
                  <a:lnTo>
                    <a:pt x="181" y="649"/>
                  </a:lnTo>
                  <a:lnTo>
                    <a:pt x="181" y="649"/>
                  </a:lnTo>
                  <a:lnTo>
                    <a:pt x="182" y="653"/>
                  </a:lnTo>
                  <a:lnTo>
                    <a:pt x="182" y="654"/>
                  </a:lnTo>
                  <a:lnTo>
                    <a:pt x="179" y="656"/>
                  </a:lnTo>
                  <a:lnTo>
                    <a:pt x="179" y="656"/>
                  </a:lnTo>
                  <a:lnTo>
                    <a:pt x="176" y="659"/>
                  </a:lnTo>
                  <a:lnTo>
                    <a:pt x="176" y="660"/>
                  </a:lnTo>
                  <a:lnTo>
                    <a:pt x="179" y="663"/>
                  </a:lnTo>
                  <a:lnTo>
                    <a:pt x="182" y="665"/>
                  </a:lnTo>
                  <a:lnTo>
                    <a:pt x="182" y="665"/>
                  </a:lnTo>
                  <a:lnTo>
                    <a:pt x="188" y="665"/>
                  </a:lnTo>
                  <a:lnTo>
                    <a:pt x="191" y="665"/>
                  </a:lnTo>
                  <a:lnTo>
                    <a:pt x="191" y="663"/>
                  </a:lnTo>
                  <a:lnTo>
                    <a:pt x="191" y="663"/>
                  </a:lnTo>
                  <a:lnTo>
                    <a:pt x="194" y="657"/>
                  </a:lnTo>
                  <a:lnTo>
                    <a:pt x="195" y="654"/>
                  </a:lnTo>
                  <a:lnTo>
                    <a:pt x="197" y="654"/>
                  </a:lnTo>
                  <a:lnTo>
                    <a:pt x="198" y="654"/>
                  </a:lnTo>
                  <a:lnTo>
                    <a:pt x="198" y="654"/>
                  </a:lnTo>
                  <a:lnTo>
                    <a:pt x="203" y="660"/>
                  </a:lnTo>
                  <a:lnTo>
                    <a:pt x="204" y="663"/>
                  </a:lnTo>
                  <a:lnTo>
                    <a:pt x="204" y="665"/>
                  </a:lnTo>
                  <a:lnTo>
                    <a:pt x="204" y="665"/>
                  </a:lnTo>
                  <a:lnTo>
                    <a:pt x="200" y="666"/>
                  </a:lnTo>
                  <a:lnTo>
                    <a:pt x="197" y="669"/>
                  </a:lnTo>
                  <a:lnTo>
                    <a:pt x="197" y="669"/>
                  </a:lnTo>
                  <a:lnTo>
                    <a:pt x="198" y="670"/>
                  </a:lnTo>
                  <a:lnTo>
                    <a:pt x="200" y="673"/>
                  </a:lnTo>
                  <a:lnTo>
                    <a:pt x="204" y="678"/>
                  </a:lnTo>
                  <a:lnTo>
                    <a:pt x="204" y="678"/>
                  </a:lnTo>
                  <a:lnTo>
                    <a:pt x="210" y="686"/>
                  </a:lnTo>
                  <a:lnTo>
                    <a:pt x="213" y="691"/>
                  </a:lnTo>
                  <a:lnTo>
                    <a:pt x="214" y="692"/>
                  </a:lnTo>
                  <a:lnTo>
                    <a:pt x="216" y="691"/>
                  </a:lnTo>
                  <a:lnTo>
                    <a:pt x="216" y="691"/>
                  </a:lnTo>
                  <a:lnTo>
                    <a:pt x="223" y="688"/>
                  </a:lnTo>
                  <a:lnTo>
                    <a:pt x="227" y="686"/>
                  </a:lnTo>
                  <a:lnTo>
                    <a:pt x="227" y="686"/>
                  </a:lnTo>
                  <a:lnTo>
                    <a:pt x="226" y="694"/>
                  </a:lnTo>
                  <a:lnTo>
                    <a:pt x="223" y="698"/>
                  </a:lnTo>
                  <a:lnTo>
                    <a:pt x="221" y="701"/>
                  </a:lnTo>
                  <a:lnTo>
                    <a:pt x="221" y="701"/>
                  </a:lnTo>
                  <a:lnTo>
                    <a:pt x="217" y="709"/>
                  </a:lnTo>
                  <a:lnTo>
                    <a:pt x="214" y="718"/>
                  </a:lnTo>
                  <a:lnTo>
                    <a:pt x="214" y="718"/>
                  </a:lnTo>
                  <a:lnTo>
                    <a:pt x="213" y="721"/>
                  </a:lnTo>
                  <a:lnTo>
                    <a:pt x="214" y="723"/>
                  </a:lnTo>
                  <a:lnTo>
                    <a:pt x="216" y="725"/>
                  </a:lnTo>
                  <a:lnTo>
                    <a:pt x="216" y="725"/>
                  </a:lnTo>
                  <a:lnTo>
                    <a:pt x="220" y="728"/>
                  </a:lnTo>
                  <a:lnTo>
                    <a:pt x="223" y="730"/>
                  </a:lnTo>
                  <a:lnTo>
                    <a:pt x="226" y="731"/>
                  </a:lnTo>
                  <a:lnTo>
                    <a:pt x="226" y="731"/>
                  </a:lnTo>
                  <a:lnTo>
                    <a:pt x="229" y="731"/>
                  </a:lnTo>
                  <a:lnTo>
                    <a:pt x="230" y="734"/>
                  </a:lnTo>
                  <a:lnTo>
                    <a:pt x="230" y="734"/>
                  </a:lnTo>
                  <a:lnTo>
                    <a:pt x="230" y="736"/>
                  </a:lnTo>
                  <a:lnTo>
                    <a:pt x="230" y="737"/>
                  </a:lnTo>
                  <a:lnTo>
                    <a:pt x="233" y="738"/>
                  </a:lnTo>
                  <a:lnTo>
                    <a:pt x="237" y="740"/>
                  </a:lnTo>
                  <a:lnTo>
                    <a:pt x="237" y="740"/>
                  </a:lnTo>
                  <a:lnTo>
                    <a:pt x="247" y="738"/>
                  </a:lnTo>
                  <a:lnTo>
                    <a:pt x="252" y="738"/>
                  </a:lnTo>
                  <a:lnTo>
                    <a:pt x="253" y="740"/>
                  </a:lnTo>
                  <a:lnTo>
                    <a:pt x="253" y="740"/>
                  </a:lnTo>
                  <a:lnTo>
                    <a:pt x="255" y="741"/>
                  </a:lnTo>
                  <a:lnTo>
                    <a:pt x="255" y="741"/>
                  </a:lnTo>
                  <a:lnTo>
                    <a:pt x="256" y="741"/>
                  </a:lnTo>
                  <a:lnTo>
                    <a:pt x="256" y="741"/>
                  </a:lnTo>
                  <a:lnTo>
                    <a:pt x="260" y="741"/>
                  </a:lnTo>
                  <a:lnTo>
                    <a:pt x="262" y="740"/>
                  </a:lnTo>
                  <a:lnTo>
                    <a:pt x="263" y="738"/>
                  </a:lnTo>
                  <a:lnTo>
                    <a:pt x="263" y="741"/>
                  </a:lnTo>
                  <a:lnTo>
                    <a:pt x="263" y="741"/>
                  </a:lnTo>
                  <a:lnTo>
                    <a:pt x="260" y="747"/>
                  </a:lnTo>
                  <a:lnTo>
                    <a:pt x="260" y="750"/>
                  </a:lnTo>
                  <a:lnTo>
                    <a:pt x="262" y="753"/>
                  </a:lnTo>
                  <a:lnTo>
                    <a:pt x="262" y="753"/>
                  </a:lnTo>
                  <a:lnTo>
                    <a:pt x="265" y="754"/>
                  </a:lnTo>
                  <a:lnTo>
                    <a:pt x="266" y="754"/>
                  </a:lnTo>
                  <a:lnTo>
                    <a:pt x="268" y="754"/>
                  </a:lnTo>
                  <a:lnTo>
                    <a:pt x="268" y="757"/>
                  </a:lnTo>
                  <a:lnTo>
                    <a:pt x="268" y="757"/>
                  </a:lnTo>
                  <a:lnTo>
                    <a:pt x="271" y="763"/>
                  </a:lnTo>
                  <a:lnTo>
                    <a:pt x="273" y="766"/>
                  </a:lnTo>
                  <a:lnTo>
                    <a:pt x="276" y="766"/>
                  </a:lnTo>
                  <a:lnTo>
                    <a:pt x="276" y="766"/>
                  </a:lnTo>
                  <a:lnTo>
                    <a:pt x="278" y="765"/>
                  </a:lnTo>
                  <a:lnTo>
                    <a:pt x="279" y="765"/>
                  </a:lnTo>
                  <a:lnTo>
                    <a:pt x="284" y="770"/>
                  </a:lnTo>
                  <a:lnTo>
                    <a:pt x="284" y="770"/>
                  </a:lnTo>
                  <a:lnTo>
                    <a:pt x="288" y="775"/>
                  </a:lnTo>
                  <a:lnTo>
                    <a:pt x="291" y="778"/>
                  </a:lnTo>
                  <a:lnTo>
                    <a:pt x="733" y="778"/>
                  </a:lnTo>
                  <a:lnTo>
                    <a:pt x="733" y="778"/>
                  </a:lnTo>
                  <a:lnTo>
                    <a:pt x="737" y="779"/>
                  </a:lnTo>
                  <a:lnTo>
                    <a:pt x="743" y="780"/>
                  </a:lnTo>
                  <a:lnTo>
                    <a:pt x="753" y="785"/>
                  </a:lnTo>
                  <a:lnTo>
                    <a:pt x="762" y="791"/>
                  </a:lnTo>
                  <a:lnTo>
                    <a:pt x="769" y="792"/>
                  </a:lnTo>
                  <a:lnTo>
                    <a:pt x="769" y="792"/>
                  </a:lnTo>
                  <a:lnTo>
                    <a:pt x="775" y="793"/>
                  </a:lnTo>
                  <a:lnTo>
                    <a:pt x="782" y="795"/>
                  </a:lnTo>
                  <a:lnTo>
                    <a:pt x="793" y="801"/>
                  </a:lnTo>
                  <a:lnTo>
                    <a:pt x="793" y="801"/>
                  </a:lnTo>
                  <a:lnTo>
                    <a:pt x="796" y="801"/>
                  </a:lnTo>
                  <a:lnTo>
                    <a:pt x="799" y="801"/>
                  </a:lnTo>
                  <a:lnTo>
                    <a:pt x="804" y="799"/>
                  </a:lnTo>
                  <a:lnTo>
                    <a:pt x="806" y="796"/>
                  </a:lnTo>
                  <a:lnTo>
                    <a:pt x="812" y="795"/>
                  </a:lnTo>
                  <a:lnTo>
                    <a:pt x="812" y="795"/>
                  </a:lnTo>
                  <a:lnTo>
                    <a:pt x="815" y="795"/>
                  </a:lnTo>
                  <a:lnTo>
                    <a:pt x="818" y="796"/>
                  </a:lnTo>
                  <a:lnTo>
                    <a:pt x="821" y="798"/>
                  </a:lnTo>
                  <a:lnTo>
                    <a:pt x="824" y="799"/>
                  </a:lnTo>
                  <a:lnTo>
                    <a:pt x="824" y="799"/>
                  </a:lnTo>
                  <a:lnTo>
                    <a:pt x="831" y="799"/>
                  </a:lnTo>
                  <a:lnTo>
                    <a:pt x="837" y="798"/>
                  </a:lnTo>
                  <a:lnTo>
                    <a:pt x="837" y="798"/>
                  </a:lnTo>
                  <a:lnTo>
                    <a:pt x="844" y="788"/>
                  </a:lnTo>
                  <a:lnTo>
                    <a:pt x="844" y="788"/>
                  </a:lnTo>
                  <a:lnTo>
                    <a:pt x="848" y="783"/>
                  </a:lnTo>
                  <a:lnTo>
                    <a:pt x="850" y="782"/>
                  </a:lnTo>
                  <a:lnTo>
                    <a:pt x="851" y="782"/>
                  </a:lnTo>
                  <a:lnTo>
                    <a:pt x="851" y="782"/>
                  </a:lnTo>
                  <a:lnTo>
                    <a:pt x="856" y="783"/>
                  </a:lnTo>
                  <a:lnTo>
                    <a:pt x="859" y="785"/>
                  </a:lnTo>
                  <a:lnTo>
                    <a:pt x="863" y="785"/>
                  </a:lnTo>
                  <a:lnTo>
                    <a:pt x="863" y="785"/>
                  </a:lnTo>
                  <a:lnTo>
                    <a:pt x="867" y="785"/>
                  </a:lnTo>
                  <a:lnTo>
                    <a:pt x="872" y="786"/>
                  </a:lnTo>
                  <a:lnTo>
                    <a:pt x="876" y="788"/>
                  </a:lnTo>
                  <a:lnTo>
                    <a:pt x="879" y="791"/>
                  </a:lnTo>
                  <a:lnTo>
                    <a:pt x="879" y="791"/>
                  </a:lnTo>
                  <a:lnTo>
                    <a:pt x="880" y="793"/>
                  </a:lnTo>
                  <a:lnTo>
                    <a:pt x="882" y="798"/>
                  </a:lnTo>
                  <a:lnTo>
                    <a:pt x="883" y="802"/>
                  </a:lnTo>
                  <a:lnTo>
                    <a:pt x="885" y="804"/>
                  </a:lnTo>
                  <a:lnTo>
                    <a:pt x="886" y="804"/>
                  </a:lnTo>
                  <a:lnTo>
                    <a:pt x="886" y="804"/>
                  </a:lnTo>
                  <a:lnTo>
                    <a:pt x="890" y="804"/>
                  </a:lnTo>
                  <a:lnTo>
                    <a:pt x="893" y="804"/>
                  </a:lnTo>
                  <a:lnTo>
                    <a:pt x="896" y="804"/>
                  </a:lnTo>
                  <a:lnTo>
                    <a:pt x="898" y="807"/>
                  </a:lnTo>
                  <a:lnTo>
                    <a:pt x="898" y="807"/>
                  </a:lnTo>
                  <a:lnTo>
                    <a:pt x="901" y="815"/>
                  </a:lnTo>
                  <a:lnTo>
                    <a:pt x="905" y="820"/>
                  </a:lnTo>
                  <a:lnTo>
                    <a:pt x="905" y="820"/>
                  </a:lnTo>
                  <a:lnTo>
                    <a:pt x="906" y="824"/>
                  </a:lnTo>
                  <a:lnTo>
                    <a:pt x="908" y="828"/>
                  </a:lnTo>
                  <a:lnTo>
                    <a:pt x="908" y="828"/>
                  </a:lnTo>
                  <a:lnTo>
                    <a:pt x="908" y="834"/>
                  </a:lnTo>
                  <a:lnTo>
                    <a:pt x="906" y="835"/>
                  </a:lnTo>
                  <a:lnTo>
                    <a:pt x="908" y="837"/>
                  </a:lnTo>
                  <a:lnTo>
                    <a:pt x="908" y="837"/>
                  </a:lnTo>
                  <a:lnTo>
                    <a:pt x="914" y="840"/>
                  </a:lnTo>
                  <a:lnTo>
                    <a:pt x="914" y="840"/>
                  </a:lnTo>
                  <a:lnTo>
                    <a:pt x="925" y="843"/>
                  </a:lnTo>
                  <a:lnTo>
                    <a:pt x="925" y="843"/>
                  </a:lnTo>
                  <a:lnTo>
                    <a:pt x="938" y="844"/>
                  </a:lnTo>
                  <a:lnTo>
                    <a:pt x="948" y="847"/>
                  </a:lnTo>
                  <a:lnTo>
                    <a:pt x="956" y="849"/>
                  </a:lnTo>
                  <a:lnTo>
                    <a:pt x="956" y="849"/>
                  </a:lnTo>
                  <a:lnTo>
                    <a:pt x="972" y="857"/>
                  </a:lnTo>
                  <a:lnTo>
                    <a:pt x="977" y="862"/>
                  </a:lnTo>
                  <a:lnTo>
                    <a:pt x="979" y="864"/>
                  </a:lnTo>
                  <a:lnTo>
                    <a:pt x="979" y="866"/>
                  </a:lnTo>
                  <a:lnTo>
                    <a:pt x="979" y="866"/>
                  </a:lnTo>
                  <a:lnTo>
                    <a:pt x="979" y="877"/>
                  </a:lnTo>
                  <a:lnTo>
                    <a:pt x="979" y="883"/>
                  </a:lnTo>
                  <a:lnTo>
                    <a:pt x="979" y="886"/>
                  </a:lnTo>
                  <a:lnTo>
                    <a:pt x="979" y="886"/>
                  </a:lnTo>
                  <a:lnTo>
                    <a:pt x="973" y="885"/>
                  </a:lnTo>
                  <a:lnTo>
                    <a:pt x="969" y="882"/>
                  </a:lnTo>
                  <a:lnTo>
                    <a:pt x="969" y="882"/>
                  </a:lnTo>
                  <a:lnTo>
                    <a:pt x="966" y="882"/>
                  </a:lnTo>
                  <a:lnTo>
                    <a:pt x="964" y="882"/>
                  </a:lnTo>
                  <a:lnTo>
                    <a:pt x="964" y="882"/>
                  </a:lnTo>
                  <a:lnTo>
                    <a:pt x="961" y="876"/>
                  </a:lnTo>
                  <a:lnTo>
                    <a:pt x="960" y="873"/>
                  </a:lnTo>
                  <a:lnTo>
                    <a:pt x="959" y="872"/>
                  </a:lnTo>
                  <a:lnTo>
                    <a:pt x="959" y="872"/>
                  </a:lnTo>
                  <a:lnTo>
                    <a:pt x="957" y="873"/>
                  </a:lnTo>
                  <a:lnTo>
                    <a:pt x="959" y="875"/>
                  </a:lnTo>
                  <a:lnTo>
                    <a:pt x="959" y="880"/>
                  </a:lnTo>
                  <a:lnTo>
                    <a:pt x="959" y="880"/>
                  </a:lnTo>
                  <a:lnTo>
                    <a:pt x="959" y="888"/>
                  </a:lnTo>
                  <a:lnTo>
                    <a:pt x="957" y="891"/>
                  </a:lnTo>
                  <a:lnTo>
                    <a:pt x="956" y="892"/>
                  </a:lnTo>
                  <a:lnTo>
                    <a:pt x="956" y="892"/>
                  </a:lnTo>
                  <a:lnTo>
                    <a:pt x="954" y="895"/>
                  </a:lnTo>
                  <a:lnTo>
                    <a:pt x="953" y="901"/>
                  </a:lnTo>
                  <a:lnTo>
                    <a:pt x="951" y="911"/>
                  </a:lnTo>
                  <a:lnTo>
                    <a:pt x="951" y="911"/>
                  </a:lnTo>
                  <a:lnTo>
                    <a:pt x="948" y="917"/>
                  </a:lnTo>
                  <a:lnTo>
                    <a:pt x="947" y="918"/>
                  </a:lnTo>
                  <a:lnTo>
                    <a:pt x="945" y="918"/>
                  </a:lnTo>
                  <a:lnTo>
                    <a:pt x="944" y="917"/>
                  </a:lnTo>
                  <a:lnTo>
                    <a:pt x="944" y="917"/>
                  </a:lnTo>
                  <a:lnTo>
                    <a:pt x="943" y="919"/>
                  </a:lnTo>
                  <a:lnTo>
                    <a:pt x="943" y="919"/>
                  </a:lnTo>
                  <a:lnTo>
                    <a:pt x="940" y="925"/>
                  </a:lnTo>
                  <a:lnTo>
                    <a:pt x="938" y="931"/>
                  </a:lnTo>
                  <a:lnTo>
                    <a:pt x="938" y="931"/>
                  </a:lnTo>
                  <a:lnTo>
                    <a:pt x="943" y="934"/>
                  </a:lnTo>
                  <a:lnTo>
                    <a:pt x="945" y="935"/>
                  </a:lnTo>
                  <a:lnTo>
                    <a:pt x="947" y="937"/>
                  </a:lnTo>
                  <a:lnTo>
                    <a:pt x="947" y="937"/>
                  </a:lnTo>
                  <a:lnTo>
                    <a:pt x="951" y="935"/>
                  </a:lnTo>
                  <a:lnTo>
                    <a:pt x="954" y="933"/>
                  </a:lnTo>
                  <a:lnTo>
                    <a:pt x="960" y="925"/>
                  </a:lnTo>
                  <a:lnTo>
                    <a:pt x="960" y="925"/>
                  </a:lnTo>
                  <a:lnTo>
                    <a:pt x="963" y="925"/>
                  </a:lnTo>
                  <a:lnTo>
                    <a:pt x="966" y="925"/>
                  </a:lnTo>
                  <a:lnTo>
                    <a:pt x="973" y="927"/>
                  </a:lnTo>
                  <a:lnTo>
                    <a:pt x="973" y="927"/>
                  </a:lnTo>
                  <a:lnTo>
                    <a:pt x="980" y="924"/>
                  </a:lnTo>
                  <a:lnTo>
                    <a:pt x="987" y="922"/>
                  </a:lnTo>
                  <a:lnTo>
                    <a:pt x="987" y="922"/>
                  </a:lnTo>
                  <a:lnTo>
                    <a:pt x="990" y="922"/>
                  </a:lnTo>
                  <a:lnTo>
                    <a:pt x="990" y="922"/>
                  </a:lnTo>
                  <a:lnTo>
                    <a:pt x="1011" y="912"/>
                  </a:lnTo>
                  <a:lnTo>
                    <a:pt x="1011" y="912"/>
                  </a:lnTo>
                  <a:lnTo>
                    <a:pt x="1002" y="914"/>
                  </a:lnTo>
                  <a:lnTo>
                    <a:pt x="1002" y="914"/>
                  </a:lnTo>
                  <a:lnTo>
                    <a:pt x="992" y="915"/>
                  </a:lnTo>
                  <a:lnTo>
                    <a:pt x="989" y="914"/>
                  </a:lnTo>
                  <a:lnTo>
                    <a:pt x="987" y="912"/>
                  </a:lnTo>
                  <a:lnTo>
                    <a:pt x="987" y="912"/>
                  </a:lnTo>
                  <a:lnTo>
                    <a:pt x="989" y="909"/>
                  </a:lnTo>
                  <a:lnTo>
                    <a:pt x="993" y="905"/>
                  </a:lnTo>
                  <a:lnTo>
                    <a:pt x="999" y="902"/>
                  </a:lnTo>
                  <a:lnTo>
                    <a:pt x="1002" y="899"/>
                  </a:lnTo>
                  <a:lnTo>
                    <a:pt x="1002" y="899"/>
                  </a:lnTo>
                  <a:lnTo>
                    <a:pt x="1014" y="899"/>
                  </a:lnTo>
                  <a:lnTo>
                    <a:pt x="1019" y="899"/>
                  </a:lnTo>
                  <a:lnTo>
                    <a:pt x="1025" y="899"/>
                  </a:lnTo>
                  <a:lnTo>
                    <a:pt x="1025" y="899"/>
                  </a:lnTo>
                  <a:lnTo>
                    <a:pt x="1032" y="895"/>
                  </a:lnTo>
                  <a:lnTo>
                    <a:pt x="1037" y="893"/>
                  </a:lnTo>
                  <a:lnTo>
                    <a:pt x="1040" y="893"/>
                  </a:lnTo>
                  <a:lnTo>
                    <a:pt x="1040" y="893"/>
                  </a:lnTo>
                  <a:lnTo>
                    <a:pt x="1040" y="893"/>
                  </a:lnTo>
                  <a:lnTo>
                    <a:pt x="1058" y="882"/>
                  </a:lnTo>
                  <a:lnTo>
                    <a:pt x="1067" y="876"/>
                  </a:lnTo>
                  <a:lnTo>
                    <a:pt x="1074" y="875"/>
                  </a:lnTo>
                  <a:lnTo>
                    <a:pt x="1074" y="875"/>
                  </a:lnTo>
                  <a:lnTo>
                    <a:pt x="1096" y="875"/>
                  </a:lnTo>
                  <a:lnTo>
                    <a:pt x="1116" y="873"/>
                  </a:lnTo>
                  <a:lnTo>
                    <a:pt x="1116" y="873"/>
                  </a:lnTo>
                  <a:lnTo>
                    <a:pt x="1121" y="869"/>
                  </a:lnTo>
                  <a:lnTo>
                    <a:pt x="1128" y="860"/>
                  </a:lnTo>
                  <a:lnTo>
                    <a:pt x="1135" y="851"/>
                  </a:lnTo>
                  <a:lnTo>
                    <a:pt x="1138" y="844"/>
                  </a:lnTo>
                  <a:lnTo>
                    <a:pt x="1138" y="844"/>
                  </a:lnTo>
                  <a:lnTo>
                    <a:pt x="1140" y="838"/>
                  </a:lnTo>
                  <a:lnTo>
                    <a:pt x="1144" y="831"/>
                  </a:lnTo>
                  <a:lnTo>
                    <a:pt x="1150" y="825"/>
                  </a:lnTo>
                  <a:lnTo>
                    <a:pt x="1154" y="822"/>
                  </a:lnTo>
                  <a:lnTo>
                    <a:pt x="1154" y="822"/>
                  </a:lnTo>
                  <a:lnTo>
                    <a:pt x="1158" y="821"/>
                  </a:lnTo>
                  <a:lnTo>
                    <a:pt x="1164" y="820"/>
                  </a:lnTo>
                  <a:lnTo>
                    <a:pt x="1177" y="822"/>
                  </a:lnTo>
                  <a:lnTo>
                    <a:pt x="1177" y="822"/>
                  </a:lnTo>
                  <a:lnTo>
                    <a:pt x="1179" y="822"/>
                  </a:lnTo>
                  <a:lnTo>
                    <a:pt x="1180" y="825"/>
                  </a:lnTo>
                  <a:lnTo>
                    <a:pt x="1180" y="834"/>
                  </a:lnTo>
                  <a:lnTo>
                    <a:pt x="1182" y="843"/>
                  </a:lnTo>
                  <a:lnTo>
                    <a:pt x="1182" y="846"/>
                  </a:lnTo>
                  <a:lnTo>
                    <a:pt x="1183" y="849"/>
                  </a:lnTo>
                  <a:lnTo>
                    <a:pt x="1183" y="849"/>
                  </a:lnTo>
                  <a:lnTo>
                    <a:pt x="1186" y="853"/>
                  </a:lnTo>
                  <a:lnTo>
                    <a:pt x="1186" y="857"/>
                  </a:lnTo>
                  <a:lnTo>
                    <a:pt x="1184" y="863"/>
                  </a:lnTo>
                  <a:lnTo>
                    <a:pt x="1184" y="863"/>
                  </a:lnTo>
                  <a:lnTo>
                    <a:pt x="1186" y="867"/>
                  </a:lnTo>
                  <a:lnTo>
                    <a:pt x="1192" y="872"/>
                  </a:lnTo>
                  <a:lnTo>
                    <a:pt x="1192" y="872"/>
                  </a:lnTo>
                  <a:lnTo>
                    <a:pt x="1193" y="872"/>
                  </a:lnTo>
                  <a:lnTo>
                    <a:pt x="1193" y="872"/>
                  </a:lnTo>
                  <a:lnTo>
                    <a:pt x="1200" y="872"/>
                  </a:lnTo>
                  <a:lnTo>
                    <a:pt x="1205" y="870"/>
                  </a:lnTo>
                  <a:lnTo>
                    <a:pt x="1213" y="866"/>
                  </a:lnTo>
                  <a:lnTo>
                    <a:pt x="1213" y="866"/>
                  </a:lnTo>
                  <a:lnTo>
                    <a:pt x="1221" y="863"/>
                  </a:lnTo>
                  <a:lnTo>
                    <a:pt x="1222" y="862"/>
                  </a:lnTo>
                  <a:lnTo>
                    <a:pt x="1222" y="863"/>
                  </a:lnTo>
                  <a:lnTo>
                    <a:pt x="1222" y="863"/>
                  </a:lnTo>
                  <a:lnTo>
                    <a:pt x="1222" y="866"/>
                  </a:lnTo>
                  <a:lnTo>
                    <a:pt x="1222" y="866"/>
                  </a:lnTo>
                  <a:lnTo>
                    <a:pt x="1225" y="866"/>
                  </a:lnTo>
                  <a:lnTo>
                    <a:pt x="1225" y="866"/>
                  </a:lnTo>
                  <a:lnTo>
                    <a:pt x="1237" y="864"/>
                  </a:lnTo>
                  <a:lnTo>
                    <a:pt x="1241" y="864"/>
                  </a:lnTo>
                  <a:lnTo>
                    <a:pt x="1242" y="864"/>
                  </a:lnTo>
                  <a:lnTo>
                    <a:pt x="1242" y="864"/>
                  </a:lnTo>
                  <a:lnTo>
                    <a:pt x="1238" y="869"/>
                  </a:lnTo>
                  <a:lnTo>
                    <a:pt x="1237" y="872"/>
                  </a:lnTo>
                  <a:lnTo>
                    <a:pt x="1234" y="872"/>
                  </a:lnTo>
                  <a:lnTo>
                    <a:pt x="1234" y="872"/>
                  </a:lnTo>
                  <a:lnTo>
                    <a:pt x="1229" y="872"/>
                  </a:lnTo>
                  <a:lnTo>
                    <a:pt x="1228" y="872"/>
                  </a:lnTo>
                  <a:lnTo>
                    <a:pt x="1224" y="875"/>
                  </a:lnTo>
                  <a:lnTo>
                    <a:pt x="1224" y="875"/>
                  </a:lnTo>
                  <a:lnTo>
                    <a:pt x="1212" y="882"/>
                  </a:lnTo>
                  <a:lnTo>
                    <a:pt x="1208" y="885"/>
                  </a:lnTo>
                  <a:lnTo>
                    <a:pt x="1205" y="888"/>
                  </a:lnTo>
                  <a:lnTo>
                    <a:pt x="1205" y="888"/>
                  </a:lnTo>
                  <a:lnTo>
                    <a:pt x="1205" y="892"/>
                  </a:lnTo>
                  <a:lnTo>
                    <a:pt x="1206" y="899"/>
                  </a:lnTo>
                  <a:lnTo>
                    <a:pt x="1209" y="904"/>
                  </a:lnTo>
                  <a:lnTo>
                    <a:pt x="1211" y="905"/>
                  </a:lnTo>
                  <a:lnTo>
                    <a:pt x="1212" y="906"/>
                  </a:lnTo>
                  <a:lnTo>
                    <a:pt x="1212" y="906"/>
                  </a:lnTo>
                  <a:lnTo>
                    <a:pt x="1216" y="905"/>
                  </a:lnTo>
                  <a:lnTo>
                    <a:pt x="1222" y="901"/>
                  </a:lnTo>
                  <a:lnTo>
                    <a:pt x="1226" y="898"/>
                  </a:lnTo>
                  <a:lnTo>
                    <a:pt x="1228" y="895"/>
                  </a:lnTo>
                  <a:lnTo>
                    <a:pt x="1228" y="895"/>
                  </a:lnTo>
                  <a:lnTo>
                    <a:pt x="1231" y="886"/>
                  </a:lnTo>
                  <a:lnTo>
                    <a:pt x="1235" y="883"/>
                  </a:lnTo>
                  <a:lnTo>
                    <a:pt x="1237" y="882"/>
                  </a:lnTo>
                  <a:lnTo>
                    <a:pt x="1240" y="882"/>
                  </a:lnTo>
                  <a:lnTo>
                    <a:pt x="1240" y="882"/>
                  </a:lnTo>
                  <a:lnTo>
                    <a:pt x="1248" y="885"/>
                  </a:lnTo>
                  <a:lnTo>
                    <a:pt x="1251" y="885"/>
                  </a:lnTo>
                  <a:lnTo>
                    <a:pt x="1255" y="883"/>
                  </a:lnTo>
                  <a:lnTo>
                    <a:pt x="1255" y="883"/>
                  </a:lnTo>
                  <a:lnTo>
                    <a:pt x="1261" y="880"/>
                  </a:lnTo>
                  <a:lnTo>
                    <a:pt x="1267" y="876"/>
                  </a:lnTo>
                  <a:lnTo>
                    <a:pt x="1274" y="872"/>
                  </a:lnTo>
                  <a:lnTo>
                    <a:pt x="1279" y="870"/>
                  </a:lnTo>
                  <a:lnTo>
                    <a:pt x="1279" y="870"/>
                  </a:lnTo>
                  <a:lnTo>
                    <a:pt x="1284" y="867"/>
                  </a:lnTo>
                  <a:lnTo>
                    <a:pt x="1286" y="867"/>
                  </a:lnTo>
                  <a:lnTo>
                    <a:pt x="1286" y="864"/>
                  </a:lnTo>
                  <a:lnTo>
                    <a:pt x="1286" y="864"/>
                  </a:lnTo>
                  <a:lnTo>
                    <a:pt x="1283" y="862"/>
                  </a:lnTo>
                  <a:lnTo>
                    <a:pt x="1282" y="860"/>
                  </a:lnTo>
                  <a:lnTo>
                    <a:pt x="1277" y="859"/>
                  </a:lnTo>
                  <a:lnTo>
                    <a:pt x="1277" y="859"/>
                  </a:lnTo>
                  <a:lnTo>
                    <a:pt x="1273" y="857"/>
                  </a:lnTo>
                  <a:lnTo>
                    <a:pt x="1271" y="856"/>
                  </a:lnTo>
                  <a:lnTo>
                    <a:pt x="1270" y="854"/>
                  </a:lnTo>
                  <a:lnTo>
                    <a:pt x="1268" y="854"/>
                  </a:lnTo>
                  <a:lnTo>
                    <a:pt x="1268" y="854"/>
                  </a:lnTo>
                  <a:lnTo>
                    <a:pt x="1264" y="856"/>
                  </a:lnTo>
                  <a:lnTo>
                    <a:pt x="1257" y="856"/>
                  </a:lnTo>
                  <a:lnTo>
                    <a:pt x="1257" y="856"/>
                  </a:lnTo>
                  <a:lnTo>
                    <a:pt x="1248" y="853"/>
                  </a:lnTo>
                  <a:lnTo>
                    <a:pt x="1245" y="851"/>
                  </a:lnTo>
                  <a:lnTo>
                    <a:pt x="1244" y="849"/>
                  </a:lnTo>
                  <a:lnTo>
                    <a:pt x="1244" y="849"/>
                  </a:lnTo>
                  <a:lnTo>
                    <a:pt x="1241" y="847"/>
                  </a:lnTo>
                  <a:lnTo>
                    <a:pt x="1238" y="847"/>
                  </a:lnTo>
                  <a:lnTo>
                    <a:pt x="1232" y="847"/>
                  </a:lnTo>
                  <a:lnTo>
                    <a:pt x="1229" y="847"/>
                  </a:lnTo>
                  <a:lnTo>
                    <a:pt x="1229" y="847"/>
                  </a:lnTo>
                  <a:lnTo>
                    <a:pt x="1228" y="846"/>
                  </a:lnTo>
                  <a:lnTo>
                    <a:pt x="1226" y="843"/>
                  </a:lnTo>
                  <a:lnTo>
                    <a:pt x="1226" y="840"/>
                  </a:lnTo>
                  <a:lnTo>
                    <a:pt x="1225" y="837"/>
                  </a:lnTo>
                  <a:lnTo>
                    <a:pt x="1225" y="837"/>
                  </a:lnTo>
                  <a:lnTo>
                    <a:pt x="1219" y="831"/>
                  </a:lnTo>
                  <a:lnTo>
                    <a:pt x="1218" y="828"/>
                  </a:lnTo>
                  <a:lnTo>
                    <a:pt x="1219" y="827"/>
                  </a:lnTo>
                  <a:lnTo>
                    <a:pt x="1219" y="827"/>
                  </a:lnTo>
                  <a:lnTo>
                    <a:pt x="1221" y="824"/>
                  </a:lnTo>
                  <a:lnTo>
                    <a:pt x="1224" y="820"/>
                  </a:lnTo>
                  <a:lnTo>
                    <a:pt x="1224" y="815"/>
                  </a:lnTo>
                  <a:lnTo>
                    <a:pt x="1224" y="812"/>
                  </a:lnTo>
                  <a:lnTo>
                    <a:pt x="1222" y="812"/>
                  </a:lnTo>
                  <a:lnTo>
                    <a:pt x="1222" y="812"/>
                  </a:lnTo>
                  <a:lnTo>
                    <a:pt x="1216" y="812"/>
                  </a:lnTo>
                  <a:lnTo>
                    <a:pt x="1213" y="812"/>
                  </a:lnTo>
                  <a:lnTo>
                    <a:pt x="1211" y="809"/>
                  </a:lnTo>
                  <a:lnTo>
                    <a:pt x="1211" y="809"/>
                  </a:lnTo>
                  <a:lnTo>
                    <a:pt x="1208" y="808"/>
                  </a:lnTo>
                  <a:lnTo>
                    <a:pt x="1203" y="807"/>
                  </a:lnTo>
                  <a:lnTo>
                    <a:pt x="1200" y="805"/>
                  </a:lnTo>
                  <a:lnTo>
                    <a:pt x="1200" y="804"/>
                  </a:lnTo>
                  <a:lnTo>
                    <a:pt x="1200" y="804"/>
                  </a:lnTo>
                  <a:lnTo>
                    <a:pt x="1200" y="804"/>
                  </a:lnTo>
                  <a:lnTo>
                    <a:pt x="1202" y="802"/>
                  </a:lnTo>
                  <a:lnTo>
                    <a:pt x="1205" y="802"/>
                  </a:lnTo>
                  <a:lnTo>
                    <a:pt x="1212" y="804"/>
                  </a:lnTo>
                  <a:lnTo>
                    <a:pt x="1212" y="804"/>
                  </a:lnTo>
                  <a:lnTo>
                    <a:pt x="1219" y="804"/>
                  </a:lnTo>
                  <a:lnTo>
                    <a:pt x="1224" y="802"/>
                  </a:lnTo>
                  <a:lnTo>
                    <a:pt x="1228" y="799"/>
                  </a:lnTo>
                  <a:lnTo>
                    <a:pt x="1231" y="795"/>
                  </a:lnTo>
                  <a:lnTo>
                    <a:pt x="1231" y="795"/>
                  </a:lnTo>
                  <a:lnTo>
                    <a:pt x="1232" y="791"/>
                  </a:lnTo>
                  <a:lnTo>
                    <a:pt x="1232" y="786"/>
                  </a:lnTo>
                  <a:lnTo>
                    <a:pt x="1232" y="786"/>
                  </a:lnTo>
                  <a:lnTo>
                    <a:pt x="1232" y="780"/>
                  </a:lnTo>
                  <a:lnTo>
                    <a:pt x="1231" y="779"/>
                  </a:lnTo>
                  <a:lnTo>
                    <a:pt x="1226" y="776"/>
                  </a:lnTo>
                  <a:lnTo>
                    <a:pt x="1226" y="776"/>
                  </a:lnTo>
                  <a:lnTo>
                    <a:pt x="1221" y="775"/>
                  </a:lnTo>
                  <a:lnTo>
                    <a:pt x="1215" y="773"/>
                  </a:lnTo>
                  <a:lnTo>
                    <a:pt x="1211" y="773"/>
                  </a:lnTo>
                  <a:lnTo>
                    <a:pt x="1206" y="773"/>
                  </a:lnTo>
                  <a:lnTo>
                    <a:pt x="1206" y="773"/>
                  </a:lnTo>
                  <a:lnTo>
                    <a:pt x="1192" y="779"/>
                  </a:lnTo>
                  <a:lnTo>
                    <a:pt x="1176" y="788"/>
                  </a:lnTo>
                  <a:lnTo>
                    <a:pt x="1176" y="788"/>
                  </a:lnTo>
                  <a:lnTo>
                    <a:pt x="1166" y="792"/>
                  </a:lnTo>
                  <a:lnTo>
                    <a:pt x="1163" y="795"/>
                  </a:lnTo>
                  <a:lnTo>
                    <a:pt x="1157" y="798"/>
                  </a:lnTo>
                  <a:lnTo>
                    <a:pt x="1157" y="798"/>
                  </a:lnTo>
                  <a:lnTo>
                    <a:pt x="1151" y="805"/>
                  </a:lnTo>
                  <a:lnTo>
                    <a:pt x="1144" y="815"/>
                  </a:lnTo>
                  <a:lnTo>
                    <a:pt x="1137" y="824"/>
                  </a:lnTo>
                  <a:lnTo>
                    <a:pt x="1134" y="827"/>
                  </a:lnTo>
                  <a:lnTo>
                    <a:pt x="1131" y="828"/>
                  </a:lnTo>
                  <a:lnTo>
                    <a:pt x="1131" y="828"/>
                  </a:lnTo>
                  <a:lnTo>
                    <a:pt x="1129" y="828"/>
                  </a:lnTo>
                  <a:lnTo>
                    <a:pt x="1129" y="827"/>
                  </a:lnTo>
                  <a:lnTo>
                    <a:pt x="1131" y="825"/>
                  </a:lnTo>
                  <a:lnTo>
                    <a:pt x="1137" y="817"/>
                  </a:lnTo>
                  <a:lnTo>
                    <a:pt x="1137" y="817"/>
                  </a:lnTo>
                  <a:lnTo>
                    <a:pt x="1145" y="802"/>
                  </a:lnTo>
                  <a:lnTo>
                    <a:pt x="1154" y="789"/>
                  </a:lnTo>
                  <a:lnTo>
                    <a:pt x="1154" y="789"/>
                  </a:lnTo>
                  <a:lnTo>
                    <a:pt x="1163" y="780"/>
                  </a:lnTo>
                  <a:lnTo>
                    <a:pt x="1167" y="776"/>
                  </a:lnTo>
                  <a:lnTo>
                    <a:pt x="1171" y="775"/>
                  </a:lnTo>
                  <a:lnTo>
                    <a:pt x="1171" y="775"/>
                  </a:lnTo>
                  <a:lnTo>
                    <a:pt x="1179" y="770"/>
                  </a:lnTo>
                  <a:lnTo>
                    <a:pt x="1184" y="767"/>
                  </a:lnTo>
                  <a:lnTo>
                    <a:pt x="1184" y="767"/>
                  </a:lnTo>
                  <a:lnTo>
                    <a:pt x="1192" y="756"/>
                  </a:lnTo>
                  <a:lnTo>
                    <a:pt x="1198" y="749"/>
                  </a:lnTo>
                  <a:lnTo>
                    <a:pt x="1202" y="746"/>
                  </a:lnTo>
                  <a:lnTo>
                    <a:pt x="1202" y="746"/>
                  </a:lnTo>
                  <a:lnTo>
                    <a:pt x="1211" y="746"/>
                  </a:lnTo>
                  <a:lnTo>
                    <a:pt x="1222" y="746"/>
                  </a:lnTo>
                  <a:lnTo>
                    <a:pt x="1247" y="747"/>
                  </a:lnTo>
                  <a:lnTo>
                    <a:pt x="1247" y="747"/>
                  </a:lnTo>
                  <a:lnTo>
                    <a:pt x="1279" y="746"/>
                  </a:lnTo>
                  <a:lnTo>
                    <a:pt x="1297" y="746"/>
                  </a:lnTo>
                  <a:lnTo>
                    <a:pt x="1308" y="743"/>
                  </a:lnTo>
                  <a:lnTo>
                    <a:pt x="1308" y="743"/>
                  </a:lnTo>
                  <a:lnTo>
                    <a:pt x="1312" y="740"/>
                  </a:lnTo>
                  <a:lnTo>
                    <a:pt x="1315" y="736"/>
                  </a:lnTo>
                  <a:lnTo>
                    <a:pt x="1319" y="728"/>
                  </a:lnTo>
                  <a:lnTo>
                    <a:pt x="1319" y="728"/>
                  </a:lnTo>
                  <a:lnTo>
                    <a:pt x="1322" y="725"/>
                  </a:lnTo>
                  <a:lnTo>
                    <a:pt x="1325" y="723"/>
                  </a:lnTo>
                  <a:lnTo>
                    <a:pt x="1328" y="720"/>
                  </a:lnTo>
                  <a:lnTo>
                    <a:pt x="1331" y="720"/>
                  </a:lnTo>
                  <a:lnTo>
                    <a:pt x="1331" y="720"/>
                  </a:lnTo>
                  <a:lnTo>
                    <a:pt x="1338" y="718"/>
                  </a:lnTo>
                  <a:lnTo>
                    <a:pt x="1347" y="715"/>
                  </a:lnTo>
                  <a:lnTo>
                    <a:pt x="1347" y="715"/>
                  </a:lnTo>
                  <a:lnTo>
                    <a:pt x="1357" y="712"/>
                  </a:lnTo>
                  <a:lnTo>
                    <a:pt x="1363" y="709"/>
                  </a:lnTo>
                  <a:lnTo>
                    <a:pt x="1366" y="705"/>
                  </a:lnTo>
                  <a:lnTo>
                    <a:pt x="1366" y="705"/>
                  </a:lnTo>
                  <a:lnTo>
                    <a:pt x="1367" y="699"/>
                  </a:lnTo>
                  <a:lnTo>
                    <a:pt x="1367" y="698"/>
                  </a:lnTo>
                  <a:lnTo>
                    <a:pt x="1366" y="69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64" name="Freeform 1187"/>
            <p:cNvSpPr>
              <a:spLocks/>
            </p:cNvSpPr>
            <p:nvPr/>
          </p:nvSpPr>
          <p:spPr bwMode="auto">
            <a:xfrm>
              <a:off x="1101725" y="2422159"/>
              <a:ext cx="22225" cy="20638"/>
            </a:xfrm>
            <a:custGeom>
              <a:avLst/>
              <a:gdLst>
                <a:gd name="T0" fmla="*/ 14 w 14"/>
                <a:gd name="T1" fmla="*/ 8 h 13"/>
                <a:gd name="T2" fmla="*/ 14 w 14"/>
                <a:gd name="T3" fmla="*/ 8 h 13"/>
                <a:gd name="T4" fmla="*/ 13 w 14"/>
                <a:gd name="T5" fmla="*/ 10 h 13"/>
                <a:gd name="T6" fmla="*/ 10 w 14"/>
                <a:gd name="T7" fmla="*/ 12 h 13"/>
                <a:gd name="T8" fmla="*/ 7 w 14"/>
                <a:gd name="T9" fmla="*/ 13 h 13"/>
                <a:gd name="T10" fmla="*/ 7 w 14"/>
                <a:gd name="T11" fmla="*/ 13 h 13"/>
                <a:gd name="T12" fmla="*/ 1 w 14"/>
                <a:gd name="T13" fmla="*/ 10 h 13"/>
                <a:gd name="T14" fmla="*/ 0 w 14"/>
                <a:gd name="T15" fmla="*/ 9 h 13"/>
                <a:gd name="T16" fmla="*/ 1 w 14"/>
                <a:gd name="T17" fmla="*/ 6 h 13"/>
                <a:gd name="T18" fmla="*/ 1 w 14"/>
                <a:gd name="T19" fmla="*/ 6 h 13"/>
                <a:gd name="T20" fmla="*/ 7 w 14"/>
                <a:gd name="T21" fmla="*/ 2 h 13"/>
                <a:gd name="T22" fmla="*/ 10 w 14"/>
                <a:gd name="T23" fmla="*/ 0 h 13"/>
                <a:gd name="T24" fmla="*/ 11 w 14"/>
                <a:gd name="T25" fmla="*/ 0 h 13"/>
                <a:gd name="T26" fmla="*/ 11 w 14"/>
                <a:gd name="T27" fmla="*/ 0 h 13"/>
                <a:gd name="T28" fmla="*/ 13 w 14"/>
                <a:gd name="T29" fmla="*/ 5 h 13"/>
                <a:gd name="T30" fmla="*/ 14 w 14"/>
                <a:gd name="T31" fmla="*/ 6 h 13"/>
                <a:gd name="T32" fmla="*/ 14 w 14"/>
                <a:gd name="T33"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3">
                  <a:moveTo>
                    <a:pt x="14" y="8"/>
                  </a:moveTo>
                  <a:lnTo>
                    <a:pt x="14" y="8"/>
                  </a:lnTo>
                  <a:lnTo>
                    <a:pt x="13" y="10"/>
                  </a:lnTo>
                  <a:lnTo>
                    <a:pt x="10" y="12"/>
                  </a:lnTo>
                  <a:lnTo>
                    <a:pt x="7" y="13"/>
                  </a:lnTo>
                  <a:lnTo>
                    <a:pt x="7" y="13"/>
                  </a:lnTo>
                  <a:lnTo>
                    <a:pt x="1" y="10"/>
                  </a:lnTo>
                  <a:lnTo>
                    <a:pt x="0" y="9"/>
                  </a:lnTo>
                  <a:lnTo>
                    <a:pt x="1" y="6"/>
                  </a:lnTo>
                  <a:lnTo>
                    <a:pt x="1" y="6"/>
                  </a:lnTo>
                  <a:lnTo>
                    <a:pt x="7" y="2"/>
                  </a:lnTo>
                  <a:lnTo>
                    <a:pt x="10" y="0"/>
                  </a:lnTo>
                  <a:lnTo>
                    <a:pt x="11" y="0"/>
                  </a:lnTo>
                  <a:lnTo>
                    <a:pt x="11" y="0"/>
                  </a:lnTo>
                  <a:lnTo>
                    <a:pt x="13" y="5"/>
                  </a:lnTo>
                  <a:lnTo>
                    <a:pt x="14" y="6"/>
                  </a:lnTo>
                  <a:lnTo>
                    <a:pt x="14"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65" name="Freeform 1188"/>
            <p:cNvSpPr>
              <a:spLocks/>
            </p:cNvSpPr>
            <p:nvPr/>
          </p:nvSpPr>
          <p:spPr bwMode="auto">
            <a:xfrm>
              <a:off x="1147763" y="2415809"/>
              <a:ext cx="17463" cy="36513"/>
            </a:xfrm>
            <a:custGeom>
              <a:avLst/>
              <a:gdLst>
                <a:gd name="T0" fmla="*/ 0 w 11"/>
                <a:gd name="T1" fmla="*/ 7 h 23"/>
                <a:gd name="T2" fmla="*/ 0 w 11"/>
                <a:gd name="T3" fmla="*/ 7 h 23"/>
                <a:gd name="T4" fmla="*/ 1 w 11"/>
                <a:gd name="T5" fmla="*/ 0 h 23"/>
                <a:gd name="T6" fmla="*/ 3 w 11"/>
                <a:gd name="T7" fmla="*/ 0 h 23"/>
                <a:gd name="T8" fmla="*/ 6 w 11"/>
                <a:gd name="T9" fmla="*/ 1 h 23"/>
                <a:gd name="T10" fmla="*/ 6 w 11"/>
                <a:gd name="T11" fmla="*/ 1 h 23"/>
                <a:gd name="T12" fmla="*/ 8 w 11"/>
                <a:gd name="T13" fmla="*/ 4 h 23"/>
                <a:gd name="T14" fmla="*/ 10 w 11"/>
                <a:gd name="T15" fmla="*/ 9 h 23"/>
                <a:gd name="T16" fmla="*/ 11 w 11"/>
                <a:gd name="T17" fmla="*/ 13 h 23"/>
                <a:gd name="T18" fmla="*/ 11 w 11"/>
                <a:gd name="T19" fmla="*/ 16 h 23"/>
                <a:gd name="T20" fmla="*/ 11 w 11"/>
                <a:gd name="T21" fmla="*/ 16 h 23"/>
                <a:gd name="T22" fmla="*/ 10 w 11"/>
                <a:gd name="T23" fmla="*/ 20 h 23"/>
                <a:gd name="T24" fmla="*/ 10 w 11"/>
                <a:gd name="T25" fmla="*/ 22 h 23"/>
                <a:gd name="T26" fmla="*/ 7 w 11"/>
                <a:gd name="T27" fmla="*/ 23 h 23"/>
                <a:gd name="T28" fmla="*/ 7 w 11"/>
                <a:gd name="T29" fmla="*/ 23 h 23"/>
                <a:gd name="T30" fmla="*/ 4 w 11"/>
                <a:gd name="T31" fmla="*/ 22 h 23"/>
                <a:gd name="T32" fmla="*/ 1 w 11"/>
                <a:gd name="T33" fmla="*/ 17 h 23"/>
                <a:gd name="T34" fmla="*/ 0 w 11"/>
                <a:gd name="T35" fmla="*/ 12 h 23"/>
                <a:gd name="T36" fmla="*/ 0 w 11"/>
                <a:gd name="T3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23">
                  <a:moveTo>
                    <a:pt x="0" y="7"/>
                  </a:moveTo>
                  <a:lnTo>
                    <a:pt x="0" y="7"/>
                  </a:lnTo>
                  <a:lnTo>
                    <a:pt x="1" y="0"/>
                  </a:lnTo>
                  <a:lnTo>
                    <a:pt x="3" y="0"/>
                  </a:lnTo>
                  <a:lnTo>
                    <a:pt x="6" y="1"/>
                  </a:lnTo>
                  <a:lnTo>
                    <a:pt x="6" y="1"/>
                  </a:lnTo>
                  <a:lnTo>
                    <a:pt x="8" y="4"/>
                  </a:lnTo>
                  <a:lnTo>
                    <a:pt x="10" y="9"/>
                  </a:lnTo>
                  <a:lnTo>
                    <a:pt x="11" y="13"/>
                  </a:lnTo>
                  <a:lnTo>
                    <a:pt x="11" y="16"/>
                  </a:lnTo>
                  <a:lnTo>
                    <a:pt x="11" y="16"/>
                  </a:lnTo>
                  <a:lnTo>
                    <a:pt x="10" y="20"/>
                  </a:lnTo>
                  <a:lnTo>
                    <a:pt x="10" y="22"/>
                  </a:lnTo>
                  <a:lnTo>
                    <a:pt x="7" y="23"/>
                  </a:lnTo>
                  <a:lnTo>
                    <a:pt x="7" y="23"/>
                  </a:lnTo>
                  <a:lnTo>
                    <a:pt x="4" y="22"/>
                  </a:lnTo>
                  <a:lnTo>
                    <a:pt x="1" y="17"/>
                  </a:lnTo>
                  <a:lnTo>
                    <a:pt x="0" y="12"/>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66" name="Freeform 1189"/>
            <p:cNvSpPr>
              <a:spLocks/>
            </p:cNvSpPr>
            <p:nvPr/>
          </p:nvSpPr>
          <p:spPr bwMode="auto">
            <a:xfrm>
              <a:off x="1149350" y="2817446"/>
              <a:ext cx="30163" cy="17463"/>
            </a:xfrm>
            <a:custGeom>
              <a:avLst/>
              <a:gdLst>
                <a:gd name="T0" fmla="*/ 12 w 19"/>
                <a:gd name="T1" fmla="*/ 9 h 11"/>
                <a:gd name="T2" fmla="*/ 12 w 19"/>
                <a:gd name="T3" fmla="*/ 9 h 11"/>
                <a:gd name="T4" fmla="*/ 7 w 19"/>
                <a:gd name="T5" fmla="*/ 11 h 11"/>
                <a:gd name="T6" fmla="*/ 3 w 19"/>
                <a:gd name="T7" fmla="*/ 11 h 11"/>
                <a:gd name="T8" fmla="*/ 0 w 19"/>
                <a:gd name="T9" fmla="*/ 9 h 11"/>
                <a:gd name="T10" fmla="*/ 2 w 19"/>
                <a:gd name="T11" fmla="*/ 8 h 11"/>
                <a:gd name="T12" fmla="*/ 2 w 19"/>
                <a:gd name="T13" fmla="*/ 6 h 11"/>
                <a:gd name="T14" fmla="*/ 2 w 19"/>
                <a:gd name="T15" fmla="*/ 6 h 11"/>
                <a:gd name="T16" fmla="*/ 12 w 19"/>
                <a:gd name="T17" fmla="*/ 2 h 11"/>
                <a:gd name="T18" fmla="*/ 15 w 19"/>
                <a:gd name="T19" fmla="*/ 0 h 11"/>
                <a:gd name="T20" fmla="*/ 18 w 19"/>
                <a:gd name="T21" fmla="*/ 0 h 11"/>
                <a:gd name="T22" fmla="*/ 18 w 19"/>
                <a:gd name="T23" fmla="*/ 0 h 11"/>
                <a:gd name="T24" fmla="*/ 19 w 19"/>
                <a:gd name="T25" fmla="*/ 2 h 11"/>
                <a:gd name="T26" fmla="*/ 16 w 19"/>
                <a:gd name="T27" fmla="*/ 5 h 11"/>
                <a:gd name="T28" fmla="*/ 12 w 19"/>
                <a:gd name="T2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11">
                  <a:moveTo>
                    <a:pt x="12" y="9"/>
                  </a:moveTo>
                  <a:lnTo>
                    <a:pt x="12" y="9"/>
                  </a:lnTo>
                  <a:lnTo>
                    <a:pt x="7" y="11"/>
                  </a:lnTo>
                  <a:lnTo>
                    <a:pt x="3" y="11"/>
                  </a:lnTo>
                  <a:lnTo>
                    <a:pt x="0" y="9"/>
                  </a:lnTo>
                  <a:lnTo>
                    <a:pt x="2" y="8"/>
                  </a:lnTo>
                  <a:lnTo>
                    <a:pt x="2" y="6"/>
                  </a:lnTo>
                  <a:lnTo>
                    <a:pt x="2" y="6"/>
                  </a:lnTo>
                  <a:lnTo>
                    <a:pt x="12" y="2"/>
                  </a:lnTo>
                  <a:lnTo>
                    <a:pt x="15" y="0"/>
                  </a:lnTo>
                  <a:lnTo>
                    <a:pt x="18" y="0"/>
                  </a:lnTo>
                  <a:lnTo>
                    <a:pt x="18" y="0"/>
                  </a:lnTo>
                  <a:lnTo>
                    <a:pt x="19" y="2"/>
                  </a:lnTo>
                  <a:lnTo>
                    <a:pt x="16" y="5"/>
                  </a:lnTo>
                  <a:lnTo>
                    <a:pt x="12"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67" name="Freeform 1190"/>
            <p:cNvSpPr>
              <a:spLocks/>
            </p:cNvSpPr>
            <p:nvPr/>
          </p:nvSpPr>
          <p:spPr bwMode="auto">
            <a:xfrm>
              <a:off x="1219200" y="2680921"/>
              <a:ext cx="52388" cy="22225"/>
            </a:xfrm>
            <a:custGeom>
              <a:avLst/>
              <a:gdLst>
                <a:gd name="T0" fmla="*/ 27 w 33"/>
                <a:gd name="T1" fmla="*/ 13 h 14"/>
                <a:gd name="T2" fmla="*/ 27 w 33"/>
                <a:gd name="T3" fmla="*/ 13 h 14"/>
                <a:gd name="T4" fmla="*/ 23 w 33"/>
                <a:gd name="T5" fmla="*/ 14 h 14"/>
                <a:gd name="T6" fmla="*/ 18 w 33"/>
                <a:gd name="T7" fmla="*/ 14 h 14"/>
                <a:gd name="T8" fmla="*/ 10 w 33"/>
                <a:gd name="T9" fmla="*/ 13 h 14"/>
                <a:gd name="T10" fmla="*/ 1 w 33"/>
                <a:gd name="T11" fmla="*/ 10 h 14"/>
                <a:gd name="T12" fmla="*/ 0 w 33"/>
                <a:gd name="T13" fmla="*/ 8 h 14"/>
                <a:gd name="T14" fmla="*/ 0 w 33"/>
                <a:gd name="T15" fmla="*/ 5 h 14"/>
                <a:gd name="T16" fmla="*/ 0 w 33"/>
                <a:gd name="T17" fmla="*/ 5 h 14"/>
                <a:gd name="T18" fmla="*/ 1 w 33"/>
                <a:gd name="T19" fmla="*/ 2 h 14"/>
                <a:gd name="T20" fmla="*/ 4 w 33"/>
                <a:gd name="T21" fmla="*/ 0 h 14"/>
                <a:gd name="T22" fmla="*/ 7 w 33"/>
                <a:gd name="T23" fmla="*/ 0 h 14"/>
                <a:gd name="T24" fmla="*/ 11 w 33"/>
                <a:gd name="T25" fmla="*/ 1 h 14"/>
                <a:gd name="T26" fmla="*/ 11 w 33"/>
                <a:gd name="T27" fmla="*/ 1 h 14"/>
                <a:gd name="T28" fmla="*/ 17 w 33"/>
                <a:gd name="T29" fmla="*/ 4 h 14"/>
                <a:gd name="T30" fmla="*/ 23 w 33"/>
                <a:gd name="T31" fmla="*/ 4 h 14"/>
                <a:gd name="T32" fmla="*/ 23 w 33"/>
                <a:gd name="T33" fmla="*/ 4 h 14"/>
                <a:gd name="T34" fmla="*/ 29 w 33"/>
                <a:gd name="T35" fmla="*/ 2 h 14"/>
                <a:gd name="T36" fmla="*/ 31 w 33"/>
                <a:gd name="T37" fmla="*/ 2 h 14"/>
                <a:gd name="T38" fmla="*/ 33 w 33"/>
                <a:gd name="T39" fmla="*/ 4 h 14"/>
                <a:gd name="T40" fmla="*/ 33 w 33"/>
                <a:gd name="T41" fmla="*/ 4 h 14"/>
                <a:gd name="T42" fmla="*/ 33 w 33"/>
                <a:gd name="T43" fmla="*/ 7 h 14"/>
                <a:gd name="T44" fmla="*/ 31 w 33"/>
                <a:gd name="T45" fmla="*/ 8 h 14"/>
                <a:gd name="T46" fmla="*/ 27 w 33"/>
                <a:gd name="T47"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 h="14">
                  <a:moveTo>
                    <a:pt x="27" y="13"/>
                  </a:moveTo>
                  <a:lnTo>
                    <a:pt x="27" y="13"/>
                  </a:lnTo>
                  <a:lnTo>
                    <a:pt x="23" y="14"/>
                  </a:lnTo>
                  <a:lnTo>
                    <a:pt x="18" y="14"/>
                  </a:lnTo>
                  <a:lnTo>
                    <a:pt x="10" y="13"/>
                  </a:lnTo>
                  <a:lnTo>
                    <a:pt x="1" y="10"/>
                  </a:lnTo>
                  <a:lnTo>
                    <a:pt x="0" y="8"/>
                  </a:lnTo>
                  <a:lnTo>
                    <a:pt x="0" y="5"/>
                  </a:lnTo>
                  <a:lnTo>
                    <a:pt x="0" y="5"/>
                  </a:lnTo>
                  <a:lnTo>
                    <a:pt x="1" y="2"/>
                  </a:lnTo>
                  <a:lnTo>
                    <a:pt x="4" y="0"/>
                  </a:lnTo>
                  <a:lnTo>
                    <a:pt x="7" y="0"/>
                  </a:lnTo>
                  <a:lnTo>
                    <a:pt x="11" y="1"/>
                  </a:lnTo>
                  <a:lnTo>
                    <a:pt x="11" y="1"/>
                  </a:lnTo>
                  <a:lnTo>
                    <a:pt x="17" y="4"/>
                  </a:lnTo>
                  <a:lnTo>
                    <a:pt x="23" y="4"/>
                  </a:lnTo>
                  <a:lnTo>
                    <a:pt x="23" y="4"/>
                  </a:lnTo>
                  <a:lnTo>
                    <a:pt x="29" y="2"/>
                  </a:lnTo>
                  <a:lnTo>
                    <a:pt x="31" y="2"/>
                  </a:lnTo>
                  <a:lnTo>
                    <a:pt x="33" y="4"/>
                  </a:lnTo>
                  <a:lnTo>
                    <a:pt x="33" y="4"/>
                  </a:lnTo>
                  <a:lnTo>
                    <a:pt x="33" y="7"/>
                  </a:lnTo>
                  <a:lnTo>
                    <a:pt x="31" y="8"/>
                  </a:lnTo>
                  <a:lnTo>
                    <a:pt x="27"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68" name="Freeform 1191"/>
            <p:cNvSpPr>
              <a:spLocks/>
            </p:cNvSpPr>
            <p:nvPr/>
          </p:nvSpPr>
          <p:spPr bwMode="auto">
            <a:xfrm>
              <a:off x="1128713" y="2447559"/>
              <a:ext cx="165100" cy="133350"/>
            </a:xfrm>
            <a:custGeom>
              <a:avLst/>
              <a:gdLst>
                <a:gd name="T0" fmla="*/ 100 w 104"/>
                <a:gd name="T1" fmla="*/ 35 h 84"/>
                <a:gd name="T2" fmla="*/ 96 w 104"/>
                <a:gd name="T3" fmla="*/ 45 h 84"/>
                <a:gd name="T4" fmla="*/ 97 w 104"/>
                <a:gd name="T5" fmla="*/ 48 h 84"/>
                <a:gd name="T6" fmla="*/ 102 w 104"/>
                <a:gd name="T7" fmla="*/ 55 h 84"/>
                <a:gd name="T8" fmla="*/ 103 w 104"/>
                <a:gd name="T9" fmla="*/ 65 h 84"/>
                <a:gd name="T10" fmla="*/ 97 w 104"/>
                <a:gd name="T11" fmla="*/ 57 h 84"/>
                <a:gd name="T12" fmla="*/ 88 w 104"/>
                <a:gd name="T13" fmla="*/ 57 h 84"/>
                <a:gd name="T14" fmla="*/ 84 w 104"/>
                <a:gd name="T15" fmla="*/ 55 h 84"/>
                <a:gd name="T16" fmla="*/ 77 w 104"/>
                <a:gd name="T17" fmla="*/ 51 h 84"/>
                <a:gd name="T18" fmla="*/ 70 w 104"/>
                <a:gd name="T19" fmla="*/ 57 h 84"/>
                <a:gd name="T20" fmla="*/ 71 w 104"/>
                <a:gd name="T21" fmla="*/ 61 h 84"/>
                <a:gd name="T22" fmla="*/ 74 w 104"/>
                <a:gd name="T23" fmla="*/ 70 h 84"/>
                <a:gd name="T24" fmla="*/ 62 w 104"/>
                <a:gd name="T25" fmla="*/ 76 h 84"/>
                <a:gd name="T26" fmla="*/ 51 w 104"/>
                <a:gd name="T27" fmla="*/ 81 h 84"/>
                <a:gd name="T28" fmla="*/ 44 w 104"/>
                <a:gd name="T29" fmla="*/ 83 h 84"/>
                <a:gd name="T30" fmla="*/ 46 w 104"/>
                <a:gd name="T31" fmla="*/ 78 h 84"/>
                <a:gd name="T32" fmla="*/ 58 w 104"/>
                <a:gd name="T33" fmla="*/ 70 h 84"/>
                <a:gd name="T34" fmla="*/ 62 w 104"/>
                <a:gd name="T35" fmla="*/ 64 h 84"/>
                <a:gd name="T36" fmla="*/ 58 w 104"/>
                <a:gd name="T37" fmla="*/ 61 h 84"/>
                <a:gd name="T38" fmla="*/ 48 w 104"/>
                <a:gd name="T39" fmla="*/ 65 h 84"/>
                <a:gd name="T40" fmla="*/ 41 w 104"/>
                <a:gd name="T41" fmla="*/ 68 h 84"/>
                <a:gd name="T42" fmla="*/ 33 w 104"/>
                <a:gd name="T43" fmla="*/ 77 h 84"/>
                <a:gd name="T44" fmla="*/ 20 w 104"/>
                <a:gd name="T45" fmla="*/ 74 h 84"/>
                <a:gd name="T46" fmla="*/ 16 w 104"/>
                <a:gd name="T47" fmla="*/ 70 h 84"/>
                <a:gd name="T48" fmla="*/ 20 w 104"/>
                <a:gd name="T49" fmla="*/ 64 h 84"/>
                <a:gd name="T50" fmla="*/ 19 w 104"/>
                <a:gd name="T51" fmla="*/ 60 h 84"/>
                <a:gd name="T52" fmla="*/ 25 w 104"/>
                <a:gd name="T53" fmla="*/ 57 h 84"/>
                <a:gd name="T54" fmla="*/ 31 w 104"/>
                <a:gd name="T55" fmla="*/ 54 h 84"/>
                <a:gd name="T56" fmla="*/ 31 w 104"/>
                <a:gd name="T57" fmla="*/ 49 h 84"/>
                <a:gd name="T58" fmla="*/ 31 w 104"/>
                <a:gd name="T59" fmla="*/ 45 h 84"/>
                <a:gd name="T60" fmla="*/ 42 w 104"/>
                <a:gd name="T61" fmla="*/ 48 h 84"/>
                <a:gd name="T62" fmla="*/ 48 w 104"/>
                <a:gd name="T63" fmla="*/ 39 h 84"/>
                <a:gd name="T64" fmla="*/ 48 w 104"/>
                <a:gd name="T65" fmla="*/ 35 h 84"/>
                <a:gd name="T66" fmla="*/ 39 w 104"/>
                <a:gd name="T67" fmla="*/ 38 h 84"/>
                <a:gd name="T68" fmla="*/ 36 w 104"/>
                <a:gd name="T69" fmla="*/ 32 h 84"/>
                <a:gd name="T70" fmla="*/ 26 w 104"/>
                <a:gd name="T71" fmla="*/ 34 h 84"/>
                <a:gd name="T72" fmla="*/ 20 w 104"/>
                <a:gd name="T73" fmla="*/ 32 h 84"/>
                <a:gd name="T74" fmla="*/ 13 w 104"/>
                <a:gd name="T75" fmla="*/ 34 h 84"/>
                <a:gd name="T76" fmla="*/ 9 w 104"/>
                <a:gd name="T77" fmla="*/ 38 h 84"/>
                <a:gd name="T78" fmla="*/ 3 w 104"/>
                <a:gd name="T79" fmla="*/ 36 h 84"/>
                <a:gd name="T80" fmla="*/ 0 w 104"/>
                <a:gd name="T81" fmla="*/ 28 h 84"/>
                <a:gd name="T82" fmla="*/ 9 w 104"/>
                <a:gd name="T83" fmla="*/ 25 h 84"/>
                <a:gd name="T84" fmla="*/ 15 w 104"/>
                <a:gd name="T85" fmla="*/ 21 h 84"/>
                <a:gd name="T86" fmla="*/ 23 w 104"/>
                <a:gd name="T87" fmla="*/ 19 h 84"/>
                <a:gd name="T88" fmla="*/ 33 w 104"/>
                <a:gd name="T89" fmla="*/ 16 h 84"/>
                <a:gd name="T90" fmla="*/ 46 w 104"/>
                <a:gd name="T91" fmla="*/ 13 h 84"/>
                <a:gd name="T92" fmla="*/ 55 w 104"/>
                <a:gd name="T93" fmla="*/ 6 h 84"/>
                <a:gd name="T94" fmla="*/ 70 w 104"/>
                <a:gd name="T95" fmla="*/ 0 h 84"/>
                <a:gd name="T96" fmla="*/ 81 w 104"/>
                <a:gd name="T97" fmla="*/ 5 h 84"/>
                <a:gd name="T98" fmla="*/ 67 w 104"/>
                <a:gd name="T99" fmla="*/ 18 h 84"/>
                <a:gd name="T100" fmla="*/ 62 w 104"/>
                <a:gd name="T101" fmla="*/ 25 h 84"/>
                <a:gd name="T102" fmla="*/ 67 w 104"/>
                <a:gd name="T103" fmla="*/ 29 h 84"/>
                <a:gd name="T104" fmla="*/ 71 w 104"/>
                <a:gd name="T105" fmla="*/ 29 h 84"/>
                <a:gd name="T106" fmla="*/ 80 w 104"/>
                <a:gd name="T107" fmla="*/ 25 h 84"/>
                <a:gd name="T108" fmla="*/ 87 w 104"/>
                <a:gd name="T109" fmla="*/ 31 h 84"/>
                <a:gd name="T110" fmla="*/ 94 w 104"/>
                <a:gd name="T111" fmla="*/ 28 h 84"/>
                <a:gd name="T112" fmla="*/ 100 w 104"/>
                <a:gd name="T113" fmla="*/ 21 h 84"/>
                <a:gd name="T114" fmla="*/ 103 w 104"/>
                <a:gd name="T115" fmla="*/ 2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4" h="84">
                  <a:moveTo>
                    <a:pt x="103" y="26"/>
                  </a:moveTo>
                  <a:lnTo>
                    <a:pt x="103" y="26"/>
                  </a:lnTo>
                  <a:lnTo>
                    <a:pt x="100" y="35"/>
                  </a:lnTo>
                  <a:lnTo>
                    <a:pt x="97" y="42"/>
                  </a:lnTo>
                  <a:lnTo>
                    <a:pt x="97" y="42"/>
                  </a:lnTo>
                  <a:lnTo>
                    <a:pt x="96" y="45"/>
                  </a:lnTo>
                  <a:lnTo>
                    <a:pt x="94" y="47"/>
                  </a:lnTo>
                  <a:lnTo>
                    <a:pt x="97" y="48"/>
                  </a:lnTo>
                  <a:lnTo>
                    <a:pt x="97" y="48"/>
                  </a:lnTo>
                  <a:lnTo>
                    <a:pt x="100" y="51"/>
                  </a:lnTo>
                  <a:lnTo>
                    <a:pt x="102" y="55"/>
                  </a:lnTo>
                  <a:lnTo>
                    <a:pt x="102" y="55"/>
                  </a:lnTo>
                  <a:lnTo>
                    <a:pt x="103" y="64"/>
                  </a:lnTo>
                  <a:lnTo>
                    <a:pt x="103" y="65"/>
                  </a:lnTo>
                  <a:lnTo>
                    <a:pt x="103" y="65"/>
                  </a:lnTo>
                  <a:lnTo>
                    <a:pt x="103" y="65"/>
                  </a:lnTo>
                  <a:lnTo>
                    <a:pt x="100" y="60"/>
                  </a:lnTo>
                  <a:lnTo>
                    <a:pt x="97" y="57"/>
                  </a:lnTo>
                  <a:lnTo>
                    <a:pt x="96" y="57"/>
                  </a:lnTo>
                  <a:lnTo>
                    <a:pt x="96" y="57"/>
                  </a:lnTo>
                  <a:lnTo>
                    <a:pt x="88" y="57"/>
                  </a:lnTo>
                  <a:lnTo>
                    <a:pt x="86" y="57"/>
                  </a:lnTo>
                  <a:lnTo>
                    <a:pt x="84" y="55"/>
                  </a:lnTo>
                  <a:lnTo>
                    <a:pt x="84" y="55"/>
                  </a:lnTo>
                  <a:lnTo>
                    <a:pt x="83" y="52"/>
                  </a:lnTo>
                  <a:lnTo>
                    <a:pt x="80" y="52"/>
                  </a:lnTo>
                  <a:lnTo>
                    <a:pt x="77" y="51"/>
                  </a:lnTo>
                  <a:lnTo>
                    <a:pt x="74" y="52"/>
                  </a:lnTo>
                  <a:lnTo>
                    <a:pt x="74" y="52"/>
                  </a:lnTo>
                  <a:lnTo>
                    <a:pt x="70" y="57"/>
                  </a:lnTo>
                  <a:lnTo>
                    <a:pt x="70" y="60"/>
                  </a:lnTo>
                  <a:lnTo>
                    <a:pt x="71" y="61"/>
                  </a:lnTo>
                  <a:lnTo>
                    <a:pt x="71" y="61"/>
                  </a:lnTo>
                  <a:lnTo>
                    <a:pt x="74" y="65"/>
                  </a:lnTo>
                  <a:lnTo>
                    <a:pt x="75" y="68"/>
                  </a:lnTo>
                  <a:lnTo>
                    <a:pt x="74" y="70"/>
                  </a:lnTo>
                  <a:lnTo>
                    <a:pt x="74" y="70"/>
                  </a:lnTo>
                  <a:lnTo>
                    <a:pt x="70" y="74"/>
                  </a:lnTo>
                  <a:lnTo>
                    <a:pt x="62" y="76"/>
                  </a:lnTo>
                  <a:lnTo>
                    <a:pt x="62" y="76"/>
                  </a:lnTo>
                  <a:lnTo>
                    <a:pt x="57" y="78"/>
                  </a:lnTo>
                  <a:lnTo>
                    <a:pt x="51" y="81"/>
                  </a:lnTo>
                  <a:lnTo>
                    <a:pt x="45" y="84"/>
                  </a:lnTo>
                  <a:lnTo>
                    <a:pt x="44" y="84"/>
                  </a:lnTo>
                  <a:lnTo>
                    <a:pt x="44" y="83"/>
                  </a:lnTo>
                  <a:lnTo>
                    <a:pt x="44" y="83"/>
                  </a:lnTo>
                  <a:lnTo>
                    <a:pt x="44" y="81"/>
                  </a:lnTo>
                  <a:lnTo>
                    <a:pt x="46" y="78"/>
                  </a:lnTo>
                  <a:lnTo>
                    <a:pt x="52" y="74"/>
                  </a:lnTo>
                  <a:lnTo>
                    <a:pt x="52" y="74"/>
                  </a:lnTo>
                  <a:lnTo>
                    <a:pt x="58" y="70"/>
                  </a:lnTo>
                  <a:lnTo>
                    <a:pt x="61" y="67"/>
                  </a:lnTo>
                  <a:lnTo>
                    <a:pt x="62" y="64"/>
                  </a:lnTo>
                  <a:lnTo>
                    <a:pt x="62" y="64"/>
                  </a:lnTo>
                  <a:lnTo>
                    <a:pt x="62" y="63"/>
                  </a:lnTo>
                  <a:lnTo>
                    <a:pt x="61" y="61"/>
                  </a:lnTo>
                  <a:lnTo>
                    <a:pt x="58" y="61"/>
                  </a:lnTo>
                  <a:lnTo>
                    <a:pt x="55" y="63"/>
                  </a:lnTo>
                  <a:lnTo>
                    <a:pt x="55" y="63"/>
                  </a:lnTo>
                  <a:lnTo>
                    <a:pt x="48" y="65"/>
                  </a:lnTo>
                  <a:lnTo>
                    <a:pt x="42" y="67"/>
                  </a:lnTo>
                  <a:lnTo>
                    <a:pt x="42" y="67"/>
                  </a:lnTo>
                  <a:lnTo>
                    <a:pt x="41" y="68"/>
                  </a:lnTo>
                  <a:lnTo>
                    <a:pt x="38" y="71"/>
                  </a:lnTo>
                  <a:lnTo>
                    <a:pt x="33" y="77"/>
                  </a:lnTo>
                  <a:lnTo>
                    <a:pt x="33" y="77"/>
                  </a:lnTo>
                  <a:lnTo>
                    <a:pt x="31" y="78"/>
                  </a:lnTo>
                  <a:lnTo>
                    <a:pt x="28" y="78"/>
                  </a:lnTo>
                  <a:lnTo>
                    <a:pt x="20" y="74"/>
                  </a:lnTo>
                  <a:lnTo>
                    <a:pt x="20" y="74"/>
                  </a:lnTo>
                  <a:lnTo>
                    <a:pt x="16" y="71"/>
                  </a:lnTo>
                  <a:lnTo>
                    <a:pt x="16" y="70"/>
                  </a:lnTo>
                  <a:lnTo>
                    <a:pt x="18" y="68"/>
                  </a:lnTo>
                  <a:lnTo>
                    <a:pt x="18" y="68"/>
                  </a:lnTo>
                  <a:lnTo>
                    <a:pt x="20" y="64"/>
                  </a:lnTo>
                  <a:lnTo>
                    <a:pt x="20" y="63"/>
                  </a:lnTo>
                  <a:lnTo>
                    <a:pt x="19" y="60"/>
                  </a:lnTo>
                  <a:lnTo>
                    <a:pt x="19" y="60"/>
                  </a:lnTo>
                  <a:lnTo>
                    <a:pt x="19" y="58"/>
                  </a:lnTo>
                  <a:lnTo>
                    <a:pt x="19" y="58"/>
                  </a:lnTo>
                  <a:lnTo>
                    <a:pt x="25" y="57"/>
                  </a:lnTo>
                  <a:lnTo>
                    <a:pt x="25" y="57"/>
                  </a:lnTo>
                  <a:lnTo>
                    <a:pt x="28" y="55"/>
                  </a:lnTo>
                  <a:lnTo>
                    <a:pt x="31" y="54"/>
                  </a:lnTo>
                  <a:lnTo>
                    <a:pt x="31" y="51"/>
                  </a:lnTo>
                  <a:lnTo>
                    <a:pt x="31" y="49"/>
                  </a:lnTo>
                  <a:lnTo>
                    <a:pt x="31" y="49"/>
                  </a:lnTo>
                  <a:lnTo>
                    <a:pt x="28" y="45"/>
                  </a:lnTo>
                  <a:lnTo>
                    <a:pt x="28" y="44"/>
                  </a:lnTo>
                  <a:lnTo>
                    <a:pt x="31" y="45"/>
                  </a:lnTo>
                  <a:lnTo>
                    <a:pt x="31" y="45"/>
                  </a:lnTo>
                  <a:lnTo>
                    <a:pt x="39" y="48"/>
                  </a:lnTo>
                  <a:lnTo>
                    <a:pt x="42" y="48"/>
                  </a:lnTo>
                  <a:lnTo>
                    <a:pt x="45" y="45"/>
                  </a:lnTo>
                  <a:lnTo>
                    <a:pt x="45" y="45"/>
                  </a:lnTo>
                  <a:lnTo>
                    <a:pt x="48" y="39"/>
                  </a:lnTo>
                  <a:lnTo>
                    <a:pt x="48" y="36"/>
                  </a:lnTo>
                  <a:lnTo>
                    <a:pt x="48" y="35"/>
                  </a:lnTo>
                  <a:lnTo>
                    <a:pt x="48" y="35"/>
                  </a:lnTo>
                  <a:lnTo>
                    <a:pt x="42" y="38"/>
                  </a:lnTo>
                  <a:lnTo>
                    <a:pt x="41" y="38"/>
                  </a:lnTo>
                  <a:lnTo>
                    <a:pt x="39" y="38"/>
                  </a:lnTo>
                  <a:lnTo>
                    <a:pt x="39" y="38"/>
                  </a:lnTo>
                  <a:lnTo>
                    <a:pt x="38" y="34"/>
                  </a:lnTo>
                  <a:lnTo>
                    <a:pt x="36" y="32"/>
                  </a:lnTo>
                  <a:lnTo>
                    <a:pt x="32" y="32"/>
                  </a:lnTo>
                  <a:lnTo>
                    <a:pt x="32" y="32"/>
                  </a:lnTo>
                  <a:lnTo>
                    <a:pt x="26" y="34"/>
                  </a:lnTo>
                  <a:lnTo>
                    <a:pt x="23" y="34"/>
                  </a:lnTo>
                  <a:lnTo>
                    <a:pt x="20" y="32"/>
                  </a:lnTo>
                  <a:lnTo>
                    <a:pt x="20" y="32"/>
                  </a:lnTo>
                  <a:lnTo>
                    <a:pt x="16" y="31"/>
                  </a:lnTo>
                  <a:lnTo>
                    <a:pt x="15" y="32"/>
                  </a:lnTo>
                  <a:lnTo>
                    <a:pt x="13" y="34"/>
                  </a:lnTo>
                  <a:lnTo>
                    <a:pt x="13" y="34"/>
                  </a:lnTo>
                  <a:lnTo>
                    <a:pt x="12" y="38"/>
                  </a:lnTo>
                  <a:lnTo>
                    <a:pt x="9" y="38"/>
                  </a:lnTo>
                  <a:lnTo>
                    <a:pt x="6" y="38"/>
                  </a:lnTo>
                  <a:lnTo>
                    <a:pt x="6" y="38"/>
                  </a:lnTo>
                  <a:lnTo>
                    <a:pt x="3" y="36"/>
                  </a:lnTo>
                  <a:lnTo>
                    <a:pt x="2" y="34"/>
                  </a:lnTo>
                  <a:lnTo>
                    <a:pt x="0" y="31"/>
                  </a:lnTo>
                  <a:lnTo>
                    <a:pt x="0" y="28"/>
                  </a:lnTo>
                  <a:lnTo>
                    <a:pt x="0" y="28"/>
                  </a:lnTo>
                  <a:lnTo>
                    <a:pt x="4" y="26"/>
                  </a:lnTo>
                  <a:lnTo>
                    <a:pt x="9" y="25"/>
                  </a:lnTo>
                  <a:lnTo>
                    <a:pt x="13" y="23"/>
                  </a:lnTo>
                  <a:lnTo>
                    <a:pt x="15" y="21"/>
                  </a:lnTo>
                  <a:lnTo>
                    <a:pt x="15" y="21"/>
                  </a:lnTo>
                  <a:lnTo>
                    <a:pt x="18" y="19"/>
                  </a:lnTo>
                  <a:lnTo>
                    <a:pt x="20" y="19"/>
                  </a:lnTo>
                  <a:lnTo>
                    <a:pt x="23" y="19"/>
                  </a:lnTo>
                  <a:lnTo>
                    <a:pt x="28" y="18"/>
                  </a:lnTo>
                  <a:lnTo>
                    <a:pt x="28" y="18"/>
                  </a:lnTo>
                  <a:lnTo>
                    <a:pt x="33" y="16"/>
                  </a:lnTo>
                  <a:lnTo>
                    <a:pt x="42" y="15"/>
                  </a:lnTo>
                  <a:lnTo>
                    <a:pt x="42" y="15"/>
                  </a:lnTo>
                  <a:lnTo>
                    <a:pt x="46" y="13"/>
                  </a:lnTo>
                  <a:lnTo>
                    <a:pt x="49" y="12"/>
                  </a:lnTo>
                  <a:lnTo>
                    <a:pt x="55" y="6"/>
                  </a:lnTo>
                  <a:lnTo>
                    <a:pt x="55" y="6"/>
                  </a:lnTo>
                  <a:lnTo>
                    <a:pt x="61" y="2"/>
                  </a:lnTo>
                  <a:lnTo>
                    <a:pt x="65" y="0"/>
                  </a:lnTo>
                  <a:lnTo>
                    <a:pt x="70" y="0"/>
                  </a:lnTo>
                  <a:lnTo>
                    <a:pt x="70" y="0"/>
                  </a:lnTo>
                  <a:lnTo>
                    <a:pt x="80" y="3"/>
                  </a:lnTo>
                  <a:lnTo>
                    <a:pt x="81" y="5"/>
                  </a:lnTo>
                  <a:lnTo>
                    <a:pt x="81" y="6"/>
                  </a:lnTo>
                  <a:lnTo>
                    <a:pt x="81" y="6"/>
                  </a:lnTo>
                  <a:lnTo>
                    <a:pt x="67" y="18"/>
                  </a:lnTo>
                  <a:lnTo>
                    <a:pt x="67" y="18"/>
                  </a:lnTo>
                  <a:lnTo>
                    <a:pt x="64" y="22"/>
                  </a:lnTo>
                  <a:lnTo>
                    <a:pt x="62" y="25"/>
                  </a:lnTo>
                  <a:lnTo>
                    <a:pt x="64" y="25"/>
                  </a:lnTo>
                  <a:lnTo>
                    <a:pt x="64" y="25"/>
                  </a:lnTo>
                  <a:lnTo>
                    <a:pt x="67" y="29"/>
                  </a:lnTo>
                  <a:lnTo>
                    <a:pt x="68" y="29"/>
                  </a:lnTo>
                  <a:lnTo>
                    <a:pt x="71" y="29"/>
                  </a:lnTo>
                  <a:lnTo>
                    <a:pt x="71" y="29"/>
                  </a:lnTo>
                  <a:lnTo>
                    <a:pt x="75" y="26"/>
                  </a:lnTo>
                  <a:lnTo>
                    <a:pt x="77" y="25"/>
                  </a:lnTo>
                  <a:lnTo>
                    <a:pt x="80" y="25"/>
                  </a:lnTo>
                  <a:lnTo>
                    <a:pt x="80" y="25"/>
                  </a:lnTo>
                  <a:lnTo>
                    <a:pt x="84" y="29"/>
                  </a:lnTo>
                  <a:lnTo>
                    <a:pt x="87" y="31"/>
                  </a:lnTo>
                  <a:lnTo>
                    <a:pt x="91" y="29"/>
                  </a:lnTo>
                  <a:lnTo>
                    <a:pt x="91" y="29"/>
                  </a:lnTo>
                  <a:lnTo>
                    <a:pt x="94" y="28"/>
                  </a:lnTo>
                  <a:lnTo>
                    <a:pt x="96" y="25"/>
                  </a:lnTo>
                  <a:lnTo>
                    <a:pt x="97" y="22"/>
                  </a:lnTo>
                  <a:lnTo>
                    <a:pt x="100" y="21"/>
                  </a:lnTo>
                  <a:lnTo>
                    <a:pt x="100" y="21"/>
                  </a:lnTo>
                  <a:lnTo>
                    <a:pt x="102" y="21"/>
                  </a:lnTo>
                  <a:lnTo>
                    <a:pt x="103" y="22"/>
                  </a:lnTo>
                  <a:lnTo>
                    <a:pt x="104" y="23"/>
                  </a:lnTo>
                  <a:lnTo>
                    <a:pt x="103"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69" name="Freeform 1192"/>
            <p:cNvSpPr>
              <a:spLocks/>
            </p:cNvSpPr>
            <p:nvPr/>
          </p:nvSpPr>
          <p:spPr bwMode="auto">
            <a:xfrm>
              <a:off x="1409700" y="2611071"/>
              <a:ext cx="80963" cy="44450"/>
            </a:xfrm>
            <a:custGeom>
              <a:avLst/>
              <a:gdLst>
                <a:gd name="T0" fmla="*/ 7 w 51"/>
                <a:gd name="T1" fmla="*/ 17 h 28"/>
                <a:gd name="T2" fmla="*/ 7 w 51"/>
                <a:gd name="T3" fmla="*/ 17 h 28"/>
                <a:gd name="T4" fmla="*/ 13 w 51"/>
                <a:gd name="T5" fmla="*/ 16 h 28"/>
                <a:gd name="T6" fmla="*/ 14 w 51"/>
                <a:gd name="T7" fmla="*/ 13 h 28"/>
                <a:gd name="T8" fmla="*/ 16 w 51"/>
                <a:gd name="T9" fmla="*/ 10 h 28"/>
                <a:gd name="T10" fmla="*/ 19 w 51"/>
                <a:gd name="T11" fmla="*/ 9 h 28"/>
                <a:gd name="T12" fmla="*/ 19 w 51"/>
                <a:gd name="T13" fmla="*/ 9 h 28"/>
                <a:gd name="T14" fmla="*/ 27 w 51"/>
                <a:gd name="T15" fmla="*/ 6 h 28"/>
                <a:gd name="T16" fmla="*/ 33 w 51"/>
                <a:gd name="T17" fmla="*/ 2 h 28"/>
                <a:gd name="T18" fmla="*/ 33 w 51"/>
                <a:gd name="T19" fmla="*/ 2 h 28"/>
                <a:gd name="T20" fmla="*/ 35 w 51"/>
                <a:gd name="T21" fmla="*/ 2 h 28"/>
                <a:gd name="T22" fmla="*/ 39 w 51"/>
                <a:gd name="T23" fmla="*/ 0 h 28"/>
                <a:gd name="T24" fmla="*/ 42 w 51"/>
                <a:gd name="T25" fmla="*/ 0 h 28"/>
                <a:gd name="T26" fmla="*/ 42 w 51"/>
                <a:gd name="T27" fmla="*/ 2 h 28"/>
                <a:gd name="T28" fmla="*/ 42 w 51"/>
                <a:gd name="T29" fmla="*/ 2 h 28"/>
                <a:gd name="T30" fmla="*/ 42 w 51"/>
                <a:gd name="T31" fmla="*/ 3 h 28"/>
                <a:gd name="T32" fmla="*/ 45 w 51"/>
                <a:gd name="T33" fmla="*/ 3 h 28"/>
                <a:gd name="T34" fmla="*/ 48 w 51"/>
                <a:gd name="T35" fmla="*/ 2 h 28"/>
                <a:gd name="T36" fmla="*/ 48 w 51"/>
                <a:gd name="T37" fmla="*/ 2 h 28"/>
                <a:gd name="T38" fmla="*/ 51 w 51"/>
                <a:gd name="T39" fmla="*/ 7 h 28"/>
                <a:gd name="T40" fmla="*/ 51 w 51"/>
                <a:gd name="T41" fmla="*/ 10 h 28"/>
                <a:gd name="T42" fmla="*/ 49 w 51"/>
                <a:gd name="T43" fmla="*/ 13 h 28"/>
                <a:gd name="T44" fmla="*/ 49 w 51"/>
                <a:gd name="T45" fmla="*/ 13 h 28"/>
                <a:gd name="T46" fmla="*/ 45 w 51"/>
                <a:gd name="T47" fmla="*/ 17 h 28"/>
                <a:gd name="T48" fmla="*/ 42 w 51"/>
                <a:gd name="T49" fmla="*/ 19 h 28"/>
                <a:gd name="T50" fmla="*/ 42 w 51"/>
                <a:gd name="T51" fmla="*/ 17 h 28"/>
                <a:gd name="T52" fmla="*/ 42 w 51"/>
                <a:gd name="T53" fmla="*/ 17 h 28"/>
                <a:gd name="T54" fmla="*/ 43 w 51"/>
                <a:gd name="T55" fmla="*/ 10 h 28"/>
                <a:gd name="T56" fmla="*/ 43 w 51"/>
                <a:gd name="T57" fmla="*/ 7 h 28"/>
                <a:gd name="T58" fmla="*/ 43 w 51"/>
                <a:gd name="T59" fmla="*/ 6 h 28"/>
                <a:gd name="T60" fmla="*/ 42 w 51"/>
                <a:gd name="T61" fmla="*/ 6 h 28"/>
                <a:gd name="T62" fmla="*/ 42 w 51"/>
                <a:gd name="T63" fmla="*/ 6 h 28"/>
                <a:gd name="T64" fmla="*/ 37 w 51"/>
                <a:gd name="T65" fmla="*/ 7 h 28"/>
                <a:gd name="T66" fmla="*/ 33 w 51"/>
                <a:gd name="T67" fmla="*/ 12 h 28"/>
                <a:gd name="T68" fmla="*/ 33 w 51"/>
                <a:gd name="T69" fmla="*/ 12 h 28"/>
                <a:gd name="T70" fmla="*/ 27 w 51"/>
                <a:gd name="T71" fmla="*/ 15 h 28"/>
                <a:gd name="T72" fmla="*/ 19 w 51"/>
                <a:gd name="T73" fmla="*/ 19 h 28"/>
                <a:gd name="T74" fmla="*/ 19 w 51"/>
                <a:gd name="T75" fmla="*/ 19 h 28"/>
                <a:gd name="T76" fmla="*/ 13 w 51"/>
                <a:gd name="T77" fmla="*/ 20 h 28"/>
                <a:gd name="T78" fmla="*/ 10 w 51"/>
                <a:gd name="T79" fmla="*/ 22 h 28"/>
                <a:gd name="T80" fmla="*/ 10 w 51"/>
                <a:gd name="T81" fmla="*/ 22 h 28"/>
                <a:gd name="T82" fmla="*/ 7 w 51"/>
                <a:gd name="T83" fmla="*/ 26 h 28"/>
                <a:gd name="T84" fmla="*/ 6 w 51"/>
                <a:gd name="T85" fmla="*/ 28 h 28"/>
                <a:gd name="T86" fmla="*/ 4 w 51"/>
                <a:gd name="T87" fmla="*/ 28 h 28"/>
                <a:gd name="T88" fmla="*/ 4 w 51"/>
                <a:gd name="T89" fmla="*/ 28 h 28"/>
                <a:gd name="T90" fmla="*/ 1 w 51"/>
                <a:gd name="T91" fmla="*/ 25 h 28"/>
                <a:gd name="T92" fmla="*/ 0 w 51"/>
                <a:gd name="T93" fmla="*/ 23 h 28"/>
                <a:gd name="T94" fmla="*/ 1 w 51"/>
                <a:gd name="T95" fmla="*/ 20 h 28"/>
                <a:gd name="T96" fmla="*/ 7 w 51"/>
                <a:gd name="T97"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 h="28">
                  <a:moveTo>
                    <a:pt x="7" y="17"/>
                  </a:moveTo>
                  <a:lnTo>
                    <a:pt x="7" y="17"/>
                  </a:lnTo>
                  <a:lnTo>
                    <a:pt x="13" y="16"/>
                  </a:lnTo>
                  <a:lnTo>
                    <a:pt x="14" y="13"/>
                  </a:lnTo>
                  <a:lnTo>
                    <a:pt x="16" y="10"/>
                  </a:lnTo>
                  <a:lnTo>
                    <a:pt x="19" y="9"/>
                  </a:lnTo>
                  <a:lnTo>
                    <a:pt x="19" y="9"/>
                  </a:lnTo>
                  <a:lnTo>
                    <a:pt x="27" y="6"/>
                  </a:lnTo>
                  <a:lnTo>
                    <a:pt x="33" y="2"/>
                  </a:lnTo>
                  <a:lnTo>
                    <a:pt x="33" y="2"/>
                  </a:lnTo>
                  <a:lnTo>
                    <a:pt x="35" y="2"/>
                  </a:lnTo>
                  <a:lnTo>
                    <a:pt x="39" y="0"/>
                  </a:lnTo>
                  <a:lnTo>
                    <a:pt x="42" y="0"/>
                  </a:lnTo>
                  <a:lnTo>
                    <a:pt x="42" y="2"/>
                  </a:lnTo>
                  <a:lnTo>
                    <a:pt x="42" y="2"/>
                  </a:lnTo>
                  <a:lnTo>
                    <a:pt x="42" y="3"/>
                  </a:lnTo>
                  <a:lnTo>
                    <a:pt x="45" y="3"/>
                  </a:lnTo>
                  <a:lnTo>
                    <a:pt x="48" y="2"/>
                  </a:lnTo>
                  <a:lnTo>
                    <a:pt x="48" y="2"/>
                  </a:lnTo>
                  <a:lnTo>
                    <a:pt x="51" y="7"/>
                  </a:lnTo>
                  <a:lnTo>
                    <a:pt x="51" y="10"/>
                  </a:lnTo>
                  <a:lnTo>
                    <a:pt x="49" y="13"/>
                  </a:lnTo>
                  <a:lnTo>
                    <a:pt x="49" y="13"/>
                  </a:lnTo>
                  <a:lnTo>
                    <a:pt x="45" y="17"/>
                  </a:lnTo>
                  <a:lnTo>
                    <a:pt x="42" y="19"/>
                  </a:lnTo>
                  <a:lnTo>
                    <a:pt x="42" y="17"/>
                  </a:lnTo>
                  <a:lnTo>
                    <a:pt x="42" y="17"/>
                  </a:lnTo>
                  <a:lnTo>
                    <a:pt x="43" y="10"/>
                  </a:lnTo>
                  <a:lnTo>
                    <a:pt x="43" y="7"/>
                  </a:lnTo>
                  <a:lnTo>
                    <a:pt x="43" y="6"/>
                  </a:lnTo>
                  <a:lnTo>
                    <a:pt x="42" y="6"/>
                  </a:lnTo>
                  <a:lnTo>
                    <a:pt x="42" y="6"/>
                  </a:lnTo>
                  <a:lnTo>
                    <a:pt x="37" y="7"/>
                  </a:lnTo>
                  <a:lnTo>
                    <a:pt x="33" y="12"/>
                  </a:lnTo>
                  <a:lnTo>
                    <a:pt x="33" y="12"/>
                  </a:lnTo>
                  <a:lnTo>
                    <a:pt x="27" y="15"/>
                  </a:lnTo>
                  <a:lnTo>
                    <a:pt x="19" y="19"/>
                  </a:lnTo>
                  <a:lnTo>
                    <a:pt x="19" y="19"/>
                  </a:lnTo>
                  <a:lnTo>
                    <a:pt x="13" y="20"/>
                  </a:lnTo>
                  <a:lnTo>
                    <a:pt x="10" y="22"/>
                  </a:lnTo>
                  <a:lnTo>
                    <a:pt x="10" y="22"/>
                  </a:lnTo>
                  <a:lnTo>
                    <a:pt x="7" y="26"/>
                  </a:lnTo>
                  <a:lnTo>
                    <a:pt x="6" y="28"/>
                  </a:lnTo>
                  <a:lnTo>
                    <a:pt x="4" y="28"/>
                  </a:lnTo>
                  <a:lnTo>
                    <a:pt x="4" y="28"/>
                  </a:lnTo>
                  <a:lnTo>
                    <a:pt x="1" y="25"/>
                  </a:lnTo>
                  <a:lnTo>
                    <a:pt x="0" y="23"/>
                  </a:lnTo>
                  <a:lnTo>
                    <a:pt x="1" y="20"/>
                  </a:lnTo>
                  <a:lnTo>
                    <a:pt x="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70" name="Freeform 1193"/>
            <p:cNvSpPr>
              <a:spLocks/>
            </p:cNvSpPr>
            <p:nvPr/>
          </p:nvSpPr>
          <p:spPr bwMode="auto">
            <a:xfrm>
              <a:off x="1306513" y="2698384"/>
              <a:ext cx="200025" cy="111125"/>
            </a:xfrm>
            <a:custGeom>
              <a:avLst/>
              <a:gdLst>
                <a:gd name="T0" fmla="*/ 60 w 126"/>
                <a:gd name="T1" fmla="*/ 49 h 70"/>
                <a:gd name="T2" fmla="*/ 53 w 126"/>
                <a:gd name="T3" fmla="*/ 52 h 70"/>
                <a:gd name="T4" fmla="*/ 52 w 126"/>
                <a:gd name="T5" fmla="*/ 52 h 70"/>
                <a:gd name="T6" fmla="*/ 53 w 126"/>
                <a:gd name="T7" fmla="*/ 60 h 70"/>
                <a:gd name="T8" fmla="*/ 50 w 126"/>
                <a:gd name="T9" fmla="*/ 61 h 70"/>
                <a:gd name="T10" fmla="*/ 29 w 126"/>
                <a:gd name="T11" fmla="*/ 70 h 70"/>
                <a:gd name="T12" fmla="*/ 21 w 126"/>
                <a:gd name="T13" fmla="*/ 70 h 70"/>
                <a:gd name="T14" fmla="*/ 4 w 126"/>
                <a:gd name="T15" fmla="*/ 61 h 70"/>
                <a:gd name="T16" fmla="*/ 1 w 126"/>
                <a:gd name="T17" fmla="*/ 58 h 70"/>
                <a:gd name="T18" fmla="*/ 0 w 126"/>
                <a:gd name="T19" fmla="*/ 54 h 70"/>
                <a:gd name="T20" fmla="*/ 1 w 126"/>
                <a:gd name="T21" fmla="*/ 52 h 70"/>
                <a:gd name="T22" fmla="*/ 7 w 126"/>
                <a:gd name="T23" fmla="*/ 54 h 70"/>
                <a:gd name="T24" fmla="*/ 10 w 126"/>
                <a:gd name="T25" fmla="*/ 54 h 70"/>
                <a:gd name="T26" fmla="*/ 8 w 126"/>
                <a:gd name="T27" fmla="*/ 51 h 70"/>
                <a:gd name="T28" fmla="*/ 11 w 126"/>
                <a:gd name="T29" fmla="*/ 49 h 70"/>
                <a:gd name="T30" fmla="*/ 17 w 126"/>
                <a:gd name="T31" fmla="*/ 48 h 70"/>
                <a:gd name="T32" fmla="*/ 18 w 126"/>
                <a:gd name="T33" fmla="*/ 45 h 70"/>
                <a:gd name="T34" fmla="*/ 18 w 126"/>
                <a:gd name="T35" fmla="*/ 41 h 70"/>
                <a:gd name="T36" fmla="*/ 18 w 126"/>
                <a:gd name="T37" fmla="*/ 36 h 70"/>
                <a:gd name="T38" fmla="*/ 23 w 126"/>
                <a:gd name="T39" fmla="*/ 35 h 70"/>
                <a:gd name="T40" fmla="*/ 26 w 126"/>
                <a:gd name="T41" fmla="*/ 33 h 70"/>
                <a:gd name="T42" fmla="*/ 30 w 126"/>
                <a:gd name="T43" fmla="*/ 33 h 70"/>
                <a:gd name="T44" fmla="*/ 32 w 126"/>
                <a:gd name="T45" fmla="*/ 31 h 70"/>
                <a:gd name="T46" fmla="*/ 30 w 126"/>
                <a:gd name="T47" fmla="*/ 25 h 70"/>
                <a:gd name="T48" fmla="*/ 26 w 126"/>
                <a:gd name="T49" fmla="*/ 13 h 70"/>
                <a:gd name="T50" fmla="*/ 16 w 126"/>
                <a:gd name="T51" fmla="*/ 2 h 70"/>
                <a:gd name="T52" fmla="*/ 17 w 126"/>
                <a:gd name="T53" fmla="*/ 0 h 70"/>
                <a:gd name="T54" fmla="*/ 24 w 126"/>
                <a:gd name="T55" fmla="*/ 3 h 70"/>
                <a:gd name="T56" fmla="*/ 32 w 126"/>
                <a:gd name="T57" fmla="*/ 9 h 70"/>
                <a:gd name="T58" fmla="*/ 34 w 126"/>
                <a:gd name="T59" fmla="*/ 16 h 70"/>
                <a:gd name="T60" fmla="*/ 39 w 126"/>
                <a:gd name="T61" fmla="*/ 19 h 70"/>
                <a:gd name="T62" fmla="*/ 40 w 126"/>
                <a:gd name="T63" fmla="*/ 20 h 70"/>
                <a:gd name="T64" fmla="*/ 43 w 126"/>
                <a:gd name="T65" fmla="*/ 25 h 70"/>
                <a:gd name="T66" fmla="*/ 47 w 126"/>
                <a:gd name="T67" fmla="*/ 26 h 70"/>
                <a:gd name="T68" fmla="*/ 59 w 126"/>
                <a:gd name="T69" fmla="*/ 26 h 70"/>
                <a:gd name="T70" fmla="*/ 60 w 126"/>
                <a:gd name="T71" fmla="*/ 25 h 70"/>
                <a:gd name="T72" fmla="*/ 66 w 126"/>
                <a:gd name="T73" fmla="*/ 17 h 70"/>
                <a:gd name="T74" fmla="*/ 76 w 126"/>
                <a:gd name="T75" fmla="*/ 13 h 70"/>
                <a:gd name="T76" fmla="*/ 85 w 126"/>
                <a:gd name="T77" fmla="*/ 7 h 70"/>
                <a:gd name="T78" fmla="*/ 95 w 126"/>
                <a:gd name="T79" fmla="*/ 2 h 70"/>
                <a:gd name="T80" fmla="*/ 107 w 126"/>
                <a:gd name="T81" fmla="*/ 0 h 70"/>
                <a:gd name="T82" fmla="*/ 123 w 126"/>
                <a:gd name="T83" fmla="*/ 2 h 70"/>
                <a:gd name="T84" fmla="*/ 126 w 126"/>
                <a:gd name="T85" fmla="*/ 4 h 70"/>
                <a:gd name="T86" fmla="*/ 126 w 126"/>
                <a:gd name="T87" fmla="*/ 9 h 70"/>
                <a:gd name="T88" fmla="*/ 124 w 126"/>
                <a:gd name="T89" fmla="*/ 10 h 70"/>
                <a:gd name="T90" fmla="*/ 121 w 126"/>
                <a:gd name="T91" fmla="*/ 7 h 70"/>
                <a:gd name="T92" fmla="*/ 117 w 126"/>
                <a:gd name="T93" fmla="*/ 7 h 70"/>
                <a:gd name="T94" fmla="*/ 114 w 126"/>
                <a:gd name="T95" fmla="*/ 12 h 70"/>
                <a:gd name="T96" fmla="*/ 111 w 126"/>
                <a:gd name="T97" fmla="*/ 17 h 70"/>
                <a:gd name="T98" fmla="*/ 108 w 126"/>
                <a:gd name="T99" fmla="*/ 23 h 70"/>
                <a:gd name="T100" fmla="*/ 105 w 126"/>
                <a:gd name="T101" fmla="*/ 23 h 70"/>
                <a:gd name="T102" fmla="*/ 89 w 126"/>
                <a:gd name="T103" fmla="*/ 17 h 70"/>
                <a:gd name="T104" fmla="*/ 85 w 126"/>
                <a:gd name="T105" fmla="*/ 17 h 70"/>
                <a:gd name="T106" fmla="*/ 82 w 126"/>
                <a:gd name="T107" fmla="*/ 22 h 70"/>
                <a:gd name="T108" fmla="*/ 79 w 126"/>
                <a:gd name="T109" fmla="*/ 35 h 70"/>
                <a:gd name="T110" fmla="*/ 76 w 126"/>
                <a:gd name="T111" fmla="*/ 41 h 70"/>
                <a:gd name="T112" fmla="*/ 72 w 126"/>
                <a:gd name="T113" fmla="*/ 44 h 70"/>
                <a:gd name="T114" fmla="*/ 63 w 126"/>
                <a:gd name="T115" fmla="*/ 42 h 70"/>
                <a:gd name="T116" fmla="*/ 58 w 126"/>
                <a:gd name="T117" fmla="*/ 44 h 70"/>
                <a:gd name="T118" fmla="*/ 60 w 126"/>
                <a:gd name="T119" fmla="*/ 48 h 70"/>
                <a:gd name="T120" fmla="*/ 60 w 126"/>
                <a:gd name="T121" fmla="*/ 4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 h="70">
                  <a:moveTo>
                    <a:pt x="60" y="49"/>
                  </a:moveTo>
                  <a:lnTo>
                    <a:pt x="60" y="49"/>
                  </a:lnTo>
                  <a:lnTo>
                    <a:pt x="55" y="51"/>
                  </a:lnTo>
                  <a:lnTo>
                    <a:pt x="53" y="52"/>
                  </a:lnTo>
                  <a:lnTo>
                    <a:pt x="52" y="52"/>
                  </a:lnTo>
                  <a:lnTo>
                    <a:pt x="52" y="52"/>
                  </a:lnTo>
                  <a:lnTo>
                    <a:pt x="53" y="58"/>
                  </a:lnTo>
                  <a:lnTo>
                    <a:pt x="53" y="60"/>
                  </a:lnTo>
                  <a:lnTo>
                    <a:pt x="50" y="61"/>
                  </a:lnTo>
                  <a:lnTo>
                    <a:pt x="50" y="61"/>
                  </a:lnTo>
                  <a:lnTo>
                    <a:pt x="37" y="67"/>
                  </a:lnTo>
                  <a:lnTo>
                    <a:pt x="29" y="70"/>
                  </a:lnTo>
                  <a:lnTo>
                    <a:pt x="21" y="70"/>
                  </a:lnTo>
                  <a:lnTo>
                    <a:pt x="21" y="70"/>
                  </a:lnTo>
                  <a:lnTo>
                    <a:pt x="13" y="67"/>
                  </a:lnTo>
                  <a:lnTo>
                    <a:pt x="4" y="61"/>
                  </a:lnTo>
                  <a:lnTo>
                    <a:pt x="4" y="61"/>
                  </a:lnTo>
                  <a:lnTo>
                    <a:pt x="1" y="58"/>
                  </a:lnTo>
                  <a:lnTo>
                    <a:pt x="0" y="55"/>
                  </a:lnTo>
                  <a:lnTo>
                    <a:pt x="0" y="54"/>
                  </a:lnTo>
                  <a:lnTo>
                    <a:pt x="1" y="52"/>
                  </a:lnTo>
                  <a:lnTo>
                    <a:pt x="1" y="52"/>
                  </a:lnTo>
                  <a:lnTo>
                    <a:pt x="4" y="54"/>
                  </a:lnTo>
                  <a:lnTo>
                    <a:pt x="7" y="54"/>
                  </a:lnTo>
                  <a:lnTo>
                    <a:pt x="8" y="55"/>
                  </a:lnTo>
                  <a:lnTo>
                    <a:pt x="10" y="54"/>
                  </a:lnTo>
                  <a:lnTo>
                    <a:pt x="10" y="54"/>
                  </a:lnTo>
                  <a:lnTo>
                    <a:pt x="8" y="51"/>
                  </a:lnTo>
                  <a:lnTo>
                    <a:pt x="10" y="49"/>
                  </a:lnTo>
                  <a:lnTo>
                    <a:pt x="11" y="49"/>
                  </a:lnTo>
                  <a:lnTo>
                    <a:pt x="11" y="49"/>
                  </a:lnTo>
                  <a:lnTo>
                    <a:pt x="17" y="48"/>
                  </a:lnTo>
                  <a:lnTo>
                    <a:pt x="18" y="46"/>
                  </a:lnTo>
                  <a:lnTo>
                    <a:pt x="18" y="45"/>
                  </a:lnTo>
                  <a:lnTo>
                    <a:pt x="18" y="45"/>
                  </a:lnTo>
                  <a:lnTo>
                    <a:pt x="18" y="41"/>
                  </a:lnTo>
                  <a:lnTo>
                    <a:pt x="18" y="38"/>
                  </a:lnTo>
                  <a:lnTo>
                    <a:pt x="18" y="36"/>
                  </a:lnTo>
                  <a:lnTo>
                    <a:pt x="18" y="36"/>
                  </a:lnTo>
                  <a:lnTo>
                    <a:pt x="23" y="35"/>
                  </a:lnTo>
                  <a:lnTo>
                    <a:pt x="24" y="33"/>
                  </a:lnTo>
                  <a:lnTo>
                    <a:pt x="26" y="33"/>
                  </a:lnTo>
                  <a:lnTo>
                    <a:pt x="26" y="33"/>
                  </a:lnTo>
                  <a:lnTo>
                    <a:pt x="30" y="33"/>
                  </a:lnTo>
                  <a:lnTo>
                    <a:pt x="32" y="32"/>
                  </a:lnTo>
                  <a:lnTo>
                    <a:pt x="32" y="31"/>
                  </a:lnTo>
                  <a:lnTo>
                    <a:pt x="32" y="31"/>
                  </a:lnTo>
                  <a:lnTo>
                    <a:pt x="30" y="25"/>
                  </a:lnTo>
                  <a:lnTo>
                    <a:pt x="26" y="13"/>
                  </a:lnTo>
                  <a:lnTo>
                    <a:pt x="26" y="13"/>
                  </a:lnTo>
                  <a:lnTo>
                    <a:pt x="17" y="4"/>
                  </a:lnTo>
                  <a:lnTo>
                    <a:pt x="16" y="2"/>
                  </a:lnTo>
                  <a:lnTo>
                    <a:pt x="16" y="2"/>
                  </a:lnTo>
                  <a:lnTo>
                    <a:pt x="17" y="0"/>
                  </a:lnTo>
                  <a:lnTo>
                    <a:pt x="17" y="0"/>
                  </a:lnTo>
                  <a:lnTo>
                    <a:pt x="24" y="3"/>
                  </a:lnTo>
                  <a:lnTo>
                    <a:pt x="29" y="6"/>
                  </a:lnTo>
                  <a:lnTo>
                    <a:pt x="32" y="9"/>
                  </a:lnTo>
                  <a:lnTo>
                    <a:pt x="32" y="9"/>
                  </a:lnTo>
                  <a:lnTo>
                    <a:pt x="34" y="16"/>
                  </a:lnTo>
                  <a:lnTo>
                    <a:pt x="36" y="17"/>
                  </a:lnTo>
                  <a:lnTo>
                    <a:pt x="39" y="19"/>
                  </a:lnTo>
                  <a:lnTo>
                    <a:pt x="39" y="19"/>
                  </a:lnTo>
                  <a:lnTo>
                    <a:pt x="40" y="20"/>
                  </a:lnTo>
                  <a:lnTo>
                    <a:pt x="42" y="22"/>
                  </a:lnTo>
                  <a:lnTo>
                    <a:pt x="43" y="25"/>
                  </a:lnTo>
                  <a:lnTo>
                    <a:pt x="47" y="26"/>
                  </a:lnTo>
                  <a:lnTo>
                    <a:pt x="47" y="26"/>
                  </a:lnTo>
                  <a:lnTo>
                    <a:pt x="56" y="26"/>
                  </a:lnTo>
                  <a:lnTo>
                    <a:pt x="59" y="26"/>
                  </a:lnTo>
                  <a:lnTo>
                    <a:pt x="60" y="25"/>
                  </a:lnTo>
                  <a:lnTo>
                    <a:pt x="60" y="25"/>
                  </a:lnTo>
                  <a:lnTo>
                    <a:pt x="63" y="20"/>
                  </a:lnTo>
                  <a:lnTo>
                    <a:pt x="66" y="17"/>
                  </a:lnTo>
                  <a:lnTo>
                    <a:pt x="66" y="17"/>
                  </a:lnTo>
                  <a:lnTo>
                    <a:pt x="76" y="13"/>
                  </a:lnTo>
                  <a:lnTo>
                    <a:pt x="85" y="7"/>
                  </a:lnTo>
                  <a:lnTo>
                    <a:pt x="85" y="7"/>
                  </a:lnTo>
                  <a:lnTo>
                    <a:pt x="89" y="4"/>
                  </a:lnTo>
                  <a:lnTo>
                    <a:pt x="95" y="2"/>
                  </a:lnTo>
                  <a:lnTo>
                    <a:pt x="107" y="0"/>
                  </a:lnTo>
                  <a:lnTo>
                    <a:pt x="107" y="0"/>
                  </a:lnTo>
                  <a:lnTo>
                    <a:pt x="118" y="0"/>
                  </a:lnTo>
                  <a:lnTo>
                    <a:pt x="123" y="2"/>
                  </a:lnTo>
                  <a:lnTo>
                    <a:pt x="126" y="3"/>
                  </a:lnTo>
                  <a:lnTo>
                    <a:pt x="126" y="4"/>
                  </a:lnTo>
                  <a:lnTo>
                    <a:pt x="126" y="4"/>
                  </a:lnTo>
                  <a:lnTo>
                    <a:pt x="126" y="9"/>
                  </a:lnTo>
                  <a:lnTo>
                    <a:pt x="126" y="10"/>
                  </a:lnTo>
                  <a:lnTo>
                    <a:pt x="124" y="10"/>
                  </a:lnTo>
                  <a:lnTo>
                    <a:pt x="124" y="10"/>
                  </a:lnTo>
                  <a:lnTo>
                    <a:pt x="121" y="7"/>
                  </a:lnTo>
                  <a:lnTo>
                    <a:pt x="118" y="6"/>
                  </a:lnTo>
                  <a:lnTo>
                    <a:pt x="117" y="7"/>
                  </a:lnTo>
                  <a:lnTo>
                    <a:pt x="117" y="7"/>
                  </a:lnTo>
                  <a:lnTo>
                    <a:pt x="114" y="12"/>
                  </a:lnTo>
                  <a:lnTo>
                    <a:pt x="111" y="17"/>
                  </a:lnTo>
                  <a:lnTo>
                    <a:pt x="111" y="17"/>
                  </a:lnTo>
                  <a:lnTo>
                    <a:pt x="110" y="22"/>
                  </a:lnTo>
                  <a:lnTo>
                    <a:pt x="108" y="23"/>
                  </a:lnTo>
                  <a:lnTo>
                    <a:pt x="105" y="23"/>
                  </a:lnTo>
                  <a:lnTo>
                    <a:pt x="105" y="23"/>
                  </a:lnTo>
                  <a:lnTo>
                    <a:pt x="94" y="19"/>
                  </a:lnTo>
                  <a:lnTo>
                    <a:pt x="89" y="17"/>
                  </a:lnTo>
                  <a:lnTo>
                    <a:pt x="87" y="17"/>
                  </a:lnTo>
                  <a:lnTo>
                    <a:pt x="85" y="17"/>
                  </a:lnTo>
                  <a:lnTo>
                    <a:pt x="85" y="17"/>
                  </a:lnTo>
                  <a:lnTo>
                    <a:pt x="82" y="22"/>
                  </a:lnTo>
                  <a:lnTo>
                    <a:pt x="81" y="26"/>
                  </a:lnTo>
                  <a:lnTo>
                    <a:pt x="79" y="35"/>
                  </a:lnTo>
                  <a:lnTo>
                    <a:pt x="79" y="35"/>
                  </a:lnTo>
                  <a:lnTo>
                    <a:pt x="76" y="41"/>
                  </a:lnTo>
                  <a:lnTo>
                    <a:pt x="75" y="42"/>
                  </a:lnTo>
                  <a:lnTo>
                    <a:pt x="72" y="44"/>
                  </a:lnTo>
                  <a:lnTo>
                    <a:pt x="72" y="44"/>
                  </a:lnTo>
                  <a:lnTo>
                    <a:pt x="63" y="42"/>
                  </a:lnTo>
                  <a:lnTo>
                    <a:pt x="59" y="42"/>
                  </a:lnTo>
                  <a:lnTo>
                    <a:pt x="58" y="44"/>
                  </a:lnTo>
                  <a:lnTo>
                    <a:pt x="58" y="44"/>
                  </a:lnTo>
                  <a:lnTo>
                    <a:pt x="60" y="48"/>
                  </a:lnTo>
                  <a:lnTo>
                    <a:pt x="60" y="49"/>
                  </a:lnTo>
                  <a:lnTo>
                    <a:pt x="60" y="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71" name="Freeform 1194"/>
            <p:cNvSpPr>
              <a:spLocks/>
            </p:cNvSpPr>
            <p:nvPr/>
          </p:nvSpPr>
          <p:spPr bwMode="auto">
            <a:xfrm>
              <a:off x="1420813" y="2873009"/>
              <a:ext cx="122238" cy="50800"/>
            </a:xfrm>
            <a:custGeom>
              <a:avLst/>
              <a:gdLst>
                <a:gd name="T0" fmla="*/ 68 w 77"/>
                <a:gd name="T1" fmla="*/ 10 h 32"/>
                <a:gd name="T2" fmla="*/ 68 w 77"/>
                <a:gd name="T3" fmla="*/ 10 h 32"/>
                <a:gd name="T4" fmla="*/ 62 w 77"/>
                <a:gd name="T5" fmla="*/ 12 h 32"/>
                <a:gd name="T6" fmla="*/ 58 w 77"/>
                <a:gd name="T7" fmla="*/ 13 h 32"/>
                <a:gd name="T8" fmla="*/ 55 w 77"/>
                <a:gd name="T9" fmla="*/ 15 h 32"/>
                <a:gd name="T10" fmla="*/ 55 w 77"/>
                <a:gd name="T11" fmla="*/ 15 h 32"/>
                <a:gd name="T12" fmla="*/ 45 w 77"/>
                <a:gd name="T13" fmla="*/ 13 h 32"/>
                <a:gd name="T14" fmla="*/ 41 w 77"/>
                <a:gd name="T15" fmla="*/ 13 h 32"/>
                <a:gd name="T16" fmla="*/ 36 w 77"/>
                <a:gd name="T17" fmla="*/ 16 h 32"/>
                <a:gd name="T18" fmla="*/ 36 w 77"/>
                <a:gd name="T19" fmla="*/ 16 h 32"/>
                <a:gd name="T20" fmla="*/ 32 w 77"/>
                <a:gd name="T21" fmla="*/ 22 h 32"/>
                <a:gd name="T22" fmla="*/ 30 w 77"/>
                <a:gd name="T23" fmla="*/ 25 h 32"/>
                <a:gd name="T24" fmla="*/ 28 w 77"/>
                <a:gd name="T25" fmla="*/ 26 h 32"/>
                <a:gd name="T26" fmla="*/ 28 w 77"/>
                <a:gd name="T27" fmla="*/ 26 h 32"/>
                <a:gd name="T28" fmla="*/ 20 w 77"/>
                <a:gd name="T29" fmla="*/ 26 h 32"/>
                <a:gd name="T30" fmla="*/ 17 w 77"/>
                <a:gd name="T31" fmla="*/ 26 h 32"/>
                <a:gd name="T32" fmla="*/ 16 w 77"/>
                <a:gd name="T33" fmla="*/ 26 h 32"/>
                <a:gd name="T34" fmla="*/ 16 w 77"/>
                <a:gd name="T35" fmla="*/ 26 h 32"/>
                <a:gd name="T36" fmla="*/ 12 w 77"/>
                <a:gd name="T37" fmla="*/ 31 h 32"/>
                <a:gd name="T38" fmla="*/ 9 w 77"/>
                <a:gd name="T39" fmla="*/ 32 h 32"/>
                <a:gd name="T40" fmla="*/ 6 w 77"/>
                <a:gd name="T41" fmla="*/ 32 h 32"/>
                <a:gd name="T42" fmla="*/ 6 w 77"/>
                <a:gd name="T43" fmla="*/ 32 h 32"/>
                <a:gd name="T44" fmla="*/ 2 w 77"/>
                <a:gd name="T45" fmla="*/ 29 h 32"/>
                <a:gd name="T46" fmla="*/ 0 w 77"/>
                <a:gd name="T47" fmla="*/ 26 h 32"/>
                <a:gd name="T48" fmla="*/ 2 w 77"/>
                <a:gd name="T49" fmla="*/ 26 h 32"/>
                <a:gd name="T50" fmla="*/ 2 w 77"/>
                <a:gd name="T51" fmla="*/ 26 h 32"/>
                <a:gd name="T52" fmla="*/ 7 w 77"/>
                <a:gd name="T53" fmla="*/ 25 h 32"/>
                <a:gd name="T54" fmla="*/ 10 w 77"/>
                <a:gd name="T55" fmla="*/ 25 h 32"/>
                <a:gd name="T56" fmla="*/ 12 w 77"/>
                <a:gd name="T57" fmla="*/ 22 h 32"/>
                <a:gd name="T58" fmla="*/ 12 w 77"/>
                <a:gd name="T59" fmla="*/ 22 h 32"/>
                <a:gd name="T60" fmla="*/ 13 w 77"/>
                <a:gd name="T61" fmla="*/ 20 h 32"/>
                <a:gd name="T62" fmla="*/ 15 w 77"/>
                <a:gd name="T63" fmla="*/ 20 h 32"/>
                <a:gd name="T64" fmla="*/ 16 w 77"/>
                <a:gd name="T65" fmla="*/ 20 h 32"/>
                <a:gd name="T66" fmla="*/ 19 w 77"/>
                <a:gd name="T67" fmla="*/ 20 h 32"/>
                <a:gd name="T68" fmla="*/ 19 w 77"/>
                <a:gd name="T69" fmla="*/ 20 h 32"/>
                <a:gd name="T70" fmla="*/ 32 w 77"/>
                <a:gd name="T71" fmla="*/ 9 h 32"/>
                <a:gd name="T72" fmla="*/ 39 w 77"/>
                <a:gd name="T73" fmla="*/ 3 h 32"/>
                <a:gd name="T74" fmla="*/ 42 w 77"/>
                <a:gd name="T75" fmla="*/ 0 h 32"/>
                <a:gd name="T76" fmla="*/ 45 w 77"/>
                <a:gd name="T77" fmla="*/ 0 h 32"/>
                <a:gd name="T78" fmla="*/ 45 w 77"/>
                <a:gd name="T79" fmla="*/ 0 h 32"/>
                <a:gd name="T80" fmla="*/ 48 w 77"/>
                <a:gd name="T81" fmla="*/ 2 h 32"/>
                <a:gd name="T82" fmla="*/ 51 w 77"/>
                <a:gd name="T83" fmla="*/ 3 h 32"/>
                <a:gd name="T84" fmla="*/ 54 w 77"/>
                <a:gd name="T85" fmla="*/ 5 h 32"/>
                <a:gd name="T86" fmla="*/ 57 w 77"/>
                <a:gd name="T87" fmla="*/ 6 h 32"/>
                <a:gd name="T88" fmla="*/ 57 w 77"/>
                <a:gd name="T89" fmla="*/ 6 h 32"/>
                <a:gd name="T90" fmla="*/ 67 w 77"/>
                <a:gd name="T91" fmla="*/ 5 h 32"/>
                <a:gd name="T92" fmla="*/ 72 w 77"/>
                <a:gd name="T93" fmla="*/ 5 h 32"/>
                <a:gd name="T94" fmla="*/ 75 w 77"/>
                <a:gd name="T95" fmla="*/ 6 h 32"/>
                <a:gd name="T96" fmla="*/ 75 w 77"/>
                <a:gd name="T97" fmla="*/ 6 h 32"/>
                <a:gd name="T98" fmla="*/ 77 w 77"/>
                <a:gd name="T99" fmla="*/ 9 h 32"/>
                <a:gd name="T100" fmla="*/ 75 w 77"/>
                <a:gd name="T101" fmla="*/ 9 h 32"/>
                <a:gd name="T102" fmla="*/ 68 w 77"/>
                <a:gd name="T103"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7" h="32">
                  <a:moveTo>
                    <a:pt x="68" y="10"/>
                  </a:moveTo>
                  <a:lnTo>
                    <a:pt x="68" y="10"/>
                  </a:lnTo>
                  <a:lnTo>
                    <a:pt x="62" y="12"/>
                  </a:lnTo>
                  <a:lnTo>
                    <a:pt x="58" y="13"/>
                  </a:lnTo>
                  <a:lnTo>
                    <a:pt x="55" y="15"/>
                  </a:lnTo>
                  <a:lnTo>
                    <a:pt x="55" y="15"/>
                  </a:lnTo>
                  <a:lnTo>
                    <a:pt x="45" y="13"/>
                  </a:lnTo>
                  <a:lnTo>
                    <a:pt x="41" y="13"/>
                  </a:lnTo>
                  <a:lnTo>
                    <a:pt x="36" y="16"/>
                  </a:lnTo>
                  <a:lnTo>
                    <a:pt x="36" y="16"/>
                  </a:lnTo>
                  <a:lnTo>
                    <a:pt x="32" y="22"/>
                  </a:lnTo>
                  <a:lnTo>
                    <a:pt x="30" y="25"/>
                  </a:lnTo>
                  <a:lnTo>
                    <a:pt x="28" y="26"/>
                  </a:lnTo>
                  <a:lnTo>
                    <a:pt x="28" y="26"/>
                  </a:lnTo>
                  <a:lnTo>
                    <a:pt x="20" y="26"/>
                  </a:lnTo>
                  <a:lnTo>
                    <a:pt x="17" y="26"/>
                  </a:lnTo>
                  <a:lnTo>
                    <a:pt x="16" y="26"/>
                  </a:lnTo>
                  <a:lnTo>
                    <a:pt x="16" y="26"/>
                  </a:lnTo>
                  <a:lnTo>
                    <a:pt x="12" y="31"/>
                  </a:lnTo>
                  <a:lnTo>
                    <a:pt x="9" y="32"/>
                  </a:lnTo>
                  <a:lnTo>
                    <a:pt x="6" y="32"/>
                  </a:lnTo>
                  <a:lnTo>
                    <a:pt x="6" y="32"/>
                  </a:lnTo>
                  <a:lnTo>
                    <a:pt x="2" y="29"/>
                  </a:lnTo>
                  <a:lnTo>
                    <a:pt x="0" y="26"/>
                  </a:lnTo>
                  <a:lnTo>
                    <a:pt x="2" y="26"/>
                  </a:lnTo>
                  <a:lnTo>
                    <a:pt x="2" y="26"/>
                  </a:lnTo>
                  <a:lnTo>
                    <a:pt x="7" y="25"/>
                  </a:lnTo>
                  <a:lnTo>
                    <a:pt x="10" y="25"/>
                  </a:lnTo>
                  <a:lnTo>
                    <a:pt x="12" y="22"/>
                  </a:lnTo>
                  <a:lnTo>
                    <a:pt x="12" y="22"/>
                  </a:lnTo>
                  <a:lnTo>
                    <a:pt x="13" y="20"/>
                  </a:lnTo>
                  <a:lnTo>
                    <a:pt x="15" y="20"/>
                  </a:lnTo>
                  <a:lnTo>
                    <a:pt x="16" y="20"/>
                  </a:lnTo>
                  <a:lnTo>
                    <a:pt x="19" y="20"/>
                  </a:lnTo>
                  <a:lnTo>
                    <a:pt x="19" y="20"/>
                  </a:lnTo>
                  <a:lnTo>
                    <a:pt x="32" y="9"/>
                  </a:lnTo>
                  <a:lnTo>
                    <a:pt x="39" y="3"/>
                  </a:lnTo>
                  <a:lnTo>
                    <a:pt x="42" y="0"/>
                  </a:lnTo>
                  <a:lnTo>
                    <a:pt x="45" y="0"/>
                  </a:lnTo>
                  <a:lnTo>
                    <a:pt x="45" y="0"/>
                  </a:lnTo>
                  <a:lnTo>
                    <a:pt x="48" y="2"/>
                  </a:lnTo>
                  <a:lnTo>
                    <a:pt x="51" y="3"/>
                  </a:lnTo>
                  <a:lnTo>
                    <a:pt x="54" y="5"/>
                  </a:lnTo>
                  <a:lnTo>
                    <a:pt x="57" y="6"/>
                  </a:lnTo>
                  <a:lnTo>
                    <a:pt x="57" y="6"/>
                  </a:lnTo>
                  <a:lnTo>
                    <a:pt x="67" y="5"/>
                  </a:lnTo>
                  <a:lnTo>
                    <a:pt x="72" y="5"/>
                  </a:lnTo>
                  <a:lnTo>
                    <a:pt x="75" y="6"/>
                  </a:lnTo>
                  <a:lnTo>
                    <a:pt x="75" y="6"/>
                  </a:lnTo>
                  <a:lnTo>
                    <a:pt x="77" y="9"/>
                  </a:lnTo>
                  <a:lnTo>
                    <a:pt x="75" y="9"/>
                  </a:lnTo>
                  <a:lnTo>
                    <a:pt x="68"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72" name="Freeform 1195"/>
            <p:cNvSpPr>
              <a:spLocks/>
            </p:cNvSpPr>
            <p:nvPr/>
          </p:nvSpPr>
          <p:spPr bwMode="auto">
            <a:xfrm>
              <a:off x="1508125" y="2658696"/>
              <a:ext cx="20638" cy="14288"/>
            </a:xfrm>
            <a:custGeom>
              <a:avLst/>
              <a:gdLst>
                <a:gd name="T0" fmla="*/ 0 w 13"/>
                <a:gd name="T1" fmla="*/ 2 h 9"/>
                <a:gd name="T2" fmla="*/ 0 w 13"/>
                <a:gd name="T3" fmla="*/ 2 h 9"/>
                <a:gd name="T4" fmla="*/ 0 w 13"/>
                <a:gd name="T5" fmla="*/ 0 h 9"/>
                <a:gd name="T6" fmla="*/ 2 w 13"/>
                <a:gd name="T7" fmla="*/ 0 h 9"/>
                <a:gd name="T8" fmla="*/ 4 w 13"/>
                <a:gd name="T9" fmla="*/ 0 h 9"/>
                <a:gd name="T10" fmla="*/ 7 w 13"/>
                <a:gd name="T11" fmla="*/ 2 h 9"/>
                <a:gd name="T12" fmla="*/ 12 w 13"/>
                <a:gd name="T13" fmla="*/ 3 h 9"/>
                <a:gd name="T14" fmla="*/ 12 w 13"/>
                <a:gd name="T15" fmla="*/ 3 h 9"/>
                <a:gd name="T16" fmla="*/ 13 w 13"/>
                <a:gd name="T17" fmla="*/ 3 h 9"/>
                <a:gd name="T18" fmla="*/ 13 w 13"/>
                <a:gd name="T19" fmla="*/ 3 h 9"/>
                <a:gd name="T20" fmla="*/ 10 w 13"/>
                <a:gd name="T21" fmla="*/ 6 h 9"/>
                <a:gd name="T22" fmla="*/ 7 w 13"/>
                <a:gd name="T23" fmla="*/ 9 h 9"/>
                <a:gd name="T24" fmla="*/ 3 w 13"/>
                <a:gd name="T25" fmla="*/ 9 h 9"/>
                <a:gd name="T26" fmla="*/ 3 w 13"/>
                <a:gd name="T27" fmla="*/ 9 h 9"/>
                <a:gd name="T28" fmla="*/ 2 w 13"/>
                <a:gd name="T29" fmla="*/ 9 h 9"/>
                <a:gd name="T30" fmla="*/ 0 w 13"/>
                <a:gd name="T31" fmla="*/ 6 h 9"/>
                <a:gd name="T32" fmla="*/ 2 w 13"/>
                <a:gd name="T33" fmla="*/ 5 h 9"/>
                <a:gd name="T34" fmla="*/ 0 w 13"/>
                <a:gd name="T35"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9">
                  <a:moveTo>
                    <a:pt x="0" y="2"/>
                  </a:moveTo>
                  <a:lnTo>
                    <a:pt x="0" y="2"/>
                  </a:lnTo>
                  <a:lnTo>
                    <a:pt x="0" y="0"/>
                  </a:lnTo>
                  <a:lnTo>
                    <a:pt x="2" y="0"/>
                  </a:lnTo>
                  <a:lnTo>
                    <a:pt x="4" y="0"/>
                  </a:lnTo>
                  <a:lnTo>
                    <a:pt x="7" y="2"/>
                  </a:lnTo>
                  <a:lnTo>
                    <a:pt x="12" y="3"/>
                  </a:lnTo>
                  <a:lnTo>
                    <a:pt x="12" y="3"/>
                  </a:lnTo>
                  <a:lnTo>
                    <a:pt x="13" y="3"/>
                  </a:lnTo>
                  <a:lnTo>
                    <a:pt x="13" y="3"/>
                  </a:lnTo>
                  <a:lnTo>
                    <a:pt x="10" y="6"/>
                  </a:lnTo>
                  <a:lnTo>
                    <a:pt x="7" y="9"/>
                  </a:lnTo>
                  <a:lnTo>
                    <a:pt x="3" y="9"/>
                  </a:lnTo>
                  <a:lnTo>
                    <a:pt x="3" y="9"/>
                  </a:lnTo>
                  <a:lnTo>
                    <a:pt x="2" y="9"/>
                  </a:lnTo>
                  <a:lnTo>
                    <a:pt x="0" y="6"/>
                  </a:lnTo>
                  <a:lnTo>
                    <a:pt x="2" y="5"/>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73" name="Freeform 1196"/>
            <p:cNvSpPr>
              <a:spLocks/>
            </p:cNvSpPr>
            <p:nvPr/>
          </p:nvSpPr>
          <p:spPr bwMode="auto">
            <a:xfrm>
              <a:off x="1527175" y="2671396"/>
              <a:ext cx="20638" cy="25400"/>
            </a:xfrm>
            <a:custGeom>
              <a:avLst/>
              <a:gdLst>
                <a:gd name="T0" fmla="*/ 1 w 13"/>
                <a:gd name="T1" fmla="*/ 16 h 16"/>
                <a:gd name="T2" fmla="*/ 1 w 13"/>
                <a:gd name="T3" fmla="*/ 16 h 16"/>
                <a:gd name="T4" fmla="*/ 0 w 13"/>
                <a:gd name="T5" fmla="*/ 16 h 16"/>
                <a:gd name="T6" fmla="*/ 0 w 13"/>
                <a:gd name="T7" fmla="*/ 16 h 16"/>
                <a:gd name="T8" fmla="*/ 3 w 13"/>
                <a:gd name="T9" fmla="*/ 13 h 16"/>
                <a:gd name="T10" fmla="*/ 5 w 13"/>
                <a:gd name="T11" fmla="*/ 8 h 16"/>
                <a:gd name="T12" fmla="*/ 7 w 13"/>
                <a:gd name="T13" fmla="*/ 6 h 16"/>
                <a:gd name="T14" fmla="*/ 7 w 13"/>
                <a:gd name="T15" fmla="*/ 6 h 16"/>
                <a:gd name="T16" fmla="*/ 8 w 13"/>
                <a:gd name="T17" fmla="*/ 1 h 16"/>
                <a:gd name="T18" fmla="*/ 11 w 13"/>
                <a:gd name="T19" fmla="*/ 0 h 16"/>
                <a:gd name="T20" fmla="*/ 11 w 13"/>
                <a:gd name="T21" fmla="*/ 0 h 16"/>
                <a:gd name="T22" fmla="*/ 13 w 13"/>
                <a:gd name="T23" fmla="*/ 1 h 16"/>
                <a:gd name="T24" fmla="*/ 13 w 13"/>
                <a:gd name="T25" fmla="*/ 3 h 16"/>
                <a:gd name="T26" fmla="*/ 10 w 13"/>
                <a:gd name="T27" fmla="*/ 7 h 16"/>
                <a:gd name="T28" fmla="*/ 5 w 13"/>
                <a:gd name="T29" fmla="*/ 13 h 16"/>
                <a:gd name="T30" fmla="*/ 1 w 13"/>
                <a:gd name="T3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6">
                  <a:moveTo>
                    <a:pt x="1" y="16"/>
                  </a:moveTo>
                  <a:lnTo>
                    <a:pt x="1" y="16"/>
                  </a:lnTo>
                  <a:lnTo>
                    <a:pt x="0" y="16"/>
                  </a:lnTo>
                  <a:lnTo>
                    <a:pt x="0" y="16"/>
                  </a:lnTo>
                  <a:lnTo>
                    <a:pt x="3" y="13"/>
                  </a:lnTo>
                  <a:lnTo>
                    <a:pt x="5" y="8"/>
                  </a:lnTo>
                  <a:lnTo>
                    <a:pt x="7" y="6"/>
                  </a:lnTo>
                  <a:lnTo>
                    <a:pt x="7" y="6"/>
                  </a:lnTo>
                  <a:lnTo>
                    <a:pt x="8" y="1"/>
                  </a:lnTo>
                  <a:lnTo>
                    <a:pt x="11" y="0"/>
                  </a:lnTo>
                  <a:lnTo>
                    <a:pt x="11" y="0"/>
                  </a:lnTo>
                  <a:lnTo>
                    <a:pt x="13" y="1"/>
                  </a:lnTo>
                  <a:lnTo>
                    <a:pt x="13" y="3"/>
                  </a:lnTo>
                  <a:lnTo>
                    <a:pt x="10" y="7"/>
                  </a:lnTo>
                  <a:lnTo>
                    <a:pt x="5" y="13"/>
                  </a:lnTo>
                  <a:lnTo>
                    <a:pt x="1"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74" name="Freeform 1197"/>
            <p:cNvSpPr>
              <a:spLocks/>
            </p:cNvSpPr>
            <p:nvPr/>
          </p:nvSpPr>
          <p:spPr bwMode="auto">
            <a:xfrm>
              <a:off x="1497013" y="2609484"/>
              <a:ext cx="76200" cy="49213"/>
            </a:xfrm>
            <a:custGeom>
              <a:avLst/>
              <a:gdLst>
                <a:gd name="T0" fmla="*/ 48 w 48"/>
                <a:gd name="T1" fmla="*/ 11 h 31"/>
                <a:gd name="T2" fmla="*/ 40 w 48"/>
                <a:gd name="T3" fmla="*/ 16 h 31"/>
                <a:gd name="T4" fmla="*/ 40 w 48"/>
                <a:gd name="T5" fmla="*/ 18 h 31"/>
                <a:gd name="T6" fmla="*/ 39 w 48"/>
                <a:gd name="T7" fmla="*/ 27 h 31"/>
                <a:gd name="T8" fmla="*/ 39 w 48"/>
                <a:gd name="T9" fmla="*/ 29 h 31"/>
                <a:gd name="T10" fmla="*/ 35 w 48"/>
                <a:gd name="T11" fmla="*/ 31 h 31"/>
                <a:gd name="T12" fmla="*/ 35 w 48"/>
                <a:gd name="T13" fmla="*/ 29 h 31"/>
                <a:gd name="T14" fmla="*/ 33 w 48"/>
                <a:gd name="T15" fmla="*/ 26 h 31"/>
                <a:gd name="T16" fmla="*/ 33 w 48"/>
                <a:gd name="T17" fmla="*/ 21 h 31"/>
                <a:gd name="T18" fmla="*/ 35 w 48"/>
                <a:gd name="T19" fmla="*/ 16 h 31"/>
                <a:gd name="T20" fmla="*/ 33 w 48"/>
                <a:gd name="T21" fmla="*/ 14 h 31"/>
                <a:gd name="T22" fmla="*/ 27 w 48"/>
                <a:gd name="T23" fmla="*/ 18 h 31"/>
                <a:gd name="T24" fmla="*/ 22 w 48"/>
                <a:gd name="T25" fmla="*/ 20 h 31"/>
                <a:gd name="T26" fmla="*/ 19 w 48"/>
                <a:gd name="T27" fmla="*/ 14 h 31"/>
                <a:gd name="T28" fmla="*/ 17 w 48"/>
                <a:gd name="T29" fmla="*/ 11 h 31"/>
                <a:gd name="T30" fmla="*/ 13 w 48"/>
                <a:gd name="T31" fmla="*/ 13 h 31"/>
                <a:gd name="T32" fmla="*/ 9 w 48"/>
                <a:gd name="T33" fmla="*/ 13 h 31"/>
                <a:gd name="T34" fmla="*/ 3 w 48"/>
                <a:gd name="T35" fmla="*/ 8 h 31"/>
                <a:gd name="T36" fmla="*/ 0 w 48"/>
                <a:gd name="T37" fmla="*/ 1 h 31"/>
                <a:gd name="T38" fmla="*/ 3 w 48"/>
                <a:gd name="T39" fmla="*/ 1 h 31"/>
                <a:gd name="T40" fmla="*/ 13 w 48"/>
                <a:gd name="T41" fmla="*/ 0 h 31"/>
                <a:gd name="T42" fmla="*/ 16 w 48"/>
                <a:gd name="T43" fmla="*/ 1 h 31"/>
                <a:gd name="T44" fmla="*/ 19 w 48"/>
                <a:gd name="T45" fmla="*/ 7 h 31"/>
                <a:gd name="T46" fmla="*/ 20 w 48"/>
                <a:gd name="T47" fmla="*/ 8 h 31"/>
                <a:gd name="T48" fmla="*/ 22 w 48"/>
                <a:gd name="T49" fmla="*/ 10 h 31"/>
                <a:gd name="T50" fmla="*/ 23 w 48"/>
                <a:gd name="T51" fmla="*/ 11 h 31"/>
                <a:gd name="T52" fmla="*/ 24 w 48"/>
                <a:gd name="T53" fmla="*/ 11 h 31"/>
                <a:gd name="T54" fmla="*/ 27 w 48"/>
                <a:gd name="T55" fmla="*/ 7 h 31"/>
                <a:gd name="T56" fmla="*/ 29 w 48"/>
                <a:gd name="T57" fmla="*/ 5 h 31"/>
                <a:gd name="T58" fmla="*/ 33 w 48"/>
                <a:gd name="T59" fmla="*/ 7 h 31"/>
                <a:gd name="T60" fmla="*/ 38 w 48"/>
                <a:gd name="T61" fmla="*/ 10 h 31"/>
                <a:gd name="T62" fmla="*/ 45 w 48"/>
                <a:gd name="T63" fmla="*/ 10 h 31"/>
                <a:gd name="T64" fmla="*/ 48 w 48"/>
                <a:gd name="T65" fmla="*/ 1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 h="31">
                  <a:moveTo>
                    <a:pt x="48" y="11"/>
                  </a:moveTo>
                  <a:lnTo>
                    <a:pt x="48" y="11"/>
                  </a:lnTo>
                  <a:lnTo>
                    <a:pt x="43" y="14"/>
                  </a:lnTo>
                  <a:lnTo>
                    <a:pt x="40" y="16"/>
                  </a:lnTo>
                  <a:lnTo>
                    <a:pt x="40" y="18"/>
                  </a:lnTo>
                  <a:lnTo>
                    <a:pt x="40" y="18"/>
                  </a:lnTo>
                  <a:lnTo>
                    <a:pt x="39" y="24"/>
                  </a:lnTo>
                  <a:lnTo>
                    <a:pt x="39" y="27"/>
                  </a:lnTo>
                  <a:lnTo>
                    <a:pt x="39" y="29"/>
                  </a:lnTo>
                  <a:lnTo>
                    <a:pt x="39" y="29"/>
                  </a:lnTo>
                  <a:lnTo>
                    <a:pt x="36" y="31"/>
                  </a:lnTo>
                  <a:lnTo>
                    <a:pt x="35" y="31"/>
                  </a:lnTo>
                  <a:lnTo>
                    <a:pt x="35" y="29"/>
                  </a:lnTo>
                  <a:lnTo>
                    <a:pt x="35" y="29"/>
                  </a:lnTo>
                  <a:lnTo>
                    <a:pt x="33" y="27"/>
                  </a:lnTo>
                  <a:lnTo>
                    <a:pt x="33" y="26"/>
                  </a:lnTo>
                  <a:lnTo>
                    <a:pt x="33" y="23"/>
                  </a:lnTo>
                  <a:lnTo>
                    <a:pt x="33" y="21"/>
                  </a:lnTo>
                  <a:lnTo>
                    <a:pt x="33" y="21"/>
                  </a:lnTo>
                  <a:lnTo>
                    <a:pt x="35" y="16"/>
                  </a:lnTo>
                  <a:lnTo>
                    <a:pt x="35" y="14"/>
                  </a:lnTo>
                  <a:lnTo>
                    <a:pt x="33" y="14"/>
                  </a:lnTo>
                  <a:lnTo>
                    <a:pt x="33" y="14"/>
                  </a:lnTo>
                  <a:lnTo>
                    <a:pt x="27" y="18"/>
                  </a:lnTo>
                  <a:lnTo>
                    <a:pt x="24" y="20"/>
                  </a:lnTo>
                  <a:lnTo>
                    <a:pt x="22" y="20"/>
                  </a:lnTo>
                  <a:lnTo>
                    <a:pt x="22" y="20"/>
                  </a:lnTo>
                  <a:lnTo>
                    <a:pt x="19" y="14"/>
                  </a:lnTo>
                  <a:lnTo>
                    <a:pt x="19" y="13"/>
                  </a:lnTo>
                  <a:lnTo>
                    <a:pt x="17" y="11"/>
                  </a:lnTo>
                  <a:lnTo>
                    <a:pt x="17" y="11"/>
                  </a:lnTo>
                  <a:lnTo>
                    <a:pt x="13" y="13"/>
                  </a:lnTo>
                  <a:lnTo>
                    <a:pt x="9" y="13"/>
                  </a:lnTo>
                  <a:lnTo>
                    <a:pt x="9" y="13"/>
                  </a:lnTo>
                  <a:lnTo>
                    <a:pt x="6" y="11"/>
                  </a:lnTo>
                  <a:lnTo>
                    <a:pt x="3" y="8"/>
                  </a:lnTo>
                  <a:lnTo>
                    <a:pt x="0" y="4"/>
                  </a:lnTo>
                  <a:lnTo>
                    <a:pt x="0" y="1"/>
                  </a:lnTo>
                  <a:lnTo>
                    <a:pt x="0" y="1"/>
                  </a:lnTo>
                  <a:lnTo>
                    <a:pt x="3" y="1"/>
                  </a:lnTo>
                  <a:lnTo>
                    <a:pt x="7" y="0"/>
                  </a:lnTo>
                  <a:lnTo>
                    <a:pt x="13" y="0"/>
                  </a:lnTo>
                  <a:lnTo>
                    <a:pt x="13" y="0"/>
                  </a:lnTo>
                  <a:lnTo>
                    <a:pt x="16" y="1"/>
                  </a:lnTo>
                  <a:lnTo>
                    <a:pt x="17" y="4"/>
                  </a:lnTo>
                  <a:lnTo>
                    <a:pt x="19" y="7"/>
                  </a:lnTo>
                  <a:lnTo>
                    <a:pt x="20" y="8"/>
                  </a:lnTo>
                  <a:lnTo>
                    <a:pt x="20" y="8"/>
                  </a:lnTo>
                  <a:lnTo>
                    <a:pt x="22" y="10"/>
                  </a:lnTo>
                  <a:lnTo>
                    <a:pt x="22" y="10"/>
                  </a:lnTo>
                  <a:lnTo>
                    <a:pt x="22" y="11"/>
                  </a:lnTo>
                  <a:lnTo>
                    <a:pt x="23" y="11"/>
                  </a:lnTo>
                  <a:lnTo>
                    <a:pt x="23" y="11"/>
                  </a:lnTo>
                  <a:lnTo>
                    <a:pt x="24" y="11"/>
                  </a:lnTo>
                  <a:lnTo>
                    <a:pt x="26" y="8"/>
                  </a:lnTo>
                  <a:lnTo>
                    <a:pt x="27" y="7"/>
                  </a:lnTo>
                  <a:lnTo>
                    <a:pt x="29" y="5"/>
                  </a:lnTo>
                  <a:lnTo>
                    <a:pt x="29" y="5"/>
                  </a:lnTo>
                  <a:lnTo>
                    <a:pt x="32" y="5"/>
                  </a:lnTo>
                  <a:lnTo>
                    <a:pt x="33" y="7"/>
                  </a:lnTo>
                  <a:lnTo>
                    <a:pt x="35" y="8"/>
                  </a:lnTo>
                  <a:lnTo>
                    <a:pt x="38" y="10"/>
                  </a:lnTo>
                  <a:lnTo>
                    <a:pt x="38" y="10"/>
                  </a:lnTo>
                  <a:lnTo>
                    <a:pt x="45" y="10"/>
                  </a:lnTo>
                  <a:lnTo>
                    <a:pt x="48" y="11"/>
                  </a:lnTo>
                  <a:lnTo>
                    <a:pt x="48" y="11"/>
                  </a:lnTo>
                  <a:lnTo>
                    <a:pt x="48"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75" name="Freeform 1198"/>
            <p:cNvSpPr>
              <a:spLocks/>
            </p:cNvSpPr>
            <p:nvPr/>
          </p:nvSpPr>
          <p:spPr bwMode="auto">
            <a:xfrm>
              <a:off x="1814513" y="2938096"/>
              <a:ext cx="17463" cy="12700"/>
            </a:xfrm>
            <a:custGeom>
              <a:avLst/>
              <a:gdLst>
                <a:gd name="T0" fmla="*/ 10 w 11"/>
                <a:gd name="T1" fmla="*/ 1 h 8"/>
                <a:gd name="T2" fmla="*/ 10 w 11"/>
                <a:gd name="T3" fmla="*/ 1 h 8"/>
                <a:gd name="T4" fmla="*/ 11 w 11"/>
                <a:gd name="T5" fmla="*/ 1 h 8"/>
                <a:gd name="T6" fmla="*/ 11 w 11"/>
                <a:gd name="T7" fmla="*/ 3 h 8"/>
                <a:gd name="T8" fmla="*/ 7 w 11"/>
                <a:gd name="T9" fmla="*/ 6 h 8"/>
                <a:gd name="T10" fmla="*/ 7 w 11"/>
                <a:gd name="T11" fmla="*/ 6 h 8"/>
                <a:gd name="T12" fmla="*/ 7 w 11"/>
                <a:gd name="T13" fmla="*/ 7 h 8"/>
                <a:gd name="T14" fmla="*/ 7 w 11"/>
                <a:gd name="T15" fmla="*/ 8 h 8"/>
                <a:gd name="T16" fmla="*/ 6 w 11"/>
                <a:gd name="T17" fmla="*/ 8 h 8"/>
                <a:gd name="T18" fmla="*/ 4 w 11"/>
                <a:gd name="T19" fmla="*/ 8 h 8"/>
                <a:gd name="T20" fmla="*/ 4 w 11"/>
                <a:gd name="T21" fmla="*/ 8 h 8"/>
                <a:gd name="T22" fmla="*/ 1 w 11"/>
                <a:gd name="T23" fmla="*/ 8 h 8"/>
                <a:gd name="T24" fmla="*/ 0 w 11"/>
                <a:gd name="T25" fmla="*/ 7 h 8"/>
                <a:gd name="T26" fmla="*/ 1 w 11"/>
                <a:gd name="T27" fmla="*/ 6 h 8"/>
                <a:gd name="T28" fmla="*/ 1 w 11"/>
                <a:gd name="T29" fmla="*/ 6 h 8"/>
                <a:gd name="T30" fmla="*/ 3 w 11"/>
                <a:gd name="T31" fmla="*/ 6 h 8"/>
                <a:gd name="T32" fmla="*/ 1 w 11"/>
                <a:gd name="T33" fmla="*/ 4 h 8"/>
                <a:gd name="T34" fmla="*/ 0 w 11"/>
                <a:gd name="T35" fmla="*/ 1 h 8"/>
                <a:gd name="T36" fmla="*/ 0 w 11"/>
                <a:gd name="T37" fmla="*/ 1 h 8"/>
                <a:gd name="T38" fmla="*/ 0 w 11"/>
                <a:gd name="T39" fmla="*/ 0 h 8"/>
                <a:gd name="T40" fmla="*/ 3 w 11"/>
                <a:gd name="T41" fmla="*/ 1 h 8"/>
                <a:gd name="T42" fmla="*/ 6 w 11"/>
                <a:gd name="T43" fmla="*/ 1 h 8"/>
                <a:gd name="T44" fmla="*/ 10 w 11"/>
                <a:gd name="T4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 h="8">
                  <a:moveTo>
                    <a:pt x="10" y="1"/>
                  </a:moveTo>
                  <a:lnTo>
                    <a:pt x="10" y="1"/>
                  </a:lnTo>
                  <a:lnTo>
                    <a:pt x="11" y="1"/>
                  </a:lnTo>
                  <a:lnTo>
                    <a:pt x="11" y="3"/>
                  </a:lnTo>
                  <a:lnTo>
                    <a:pt x="7" y="6"/>
                  </a:lnTo>
                  <a:lnTo>
                    <a:pt x="7" y="6"/>
                  </a:lnTo>
                  <a:lnTo>
                    <a:pt x="7" y="7"/>
                  </a:lnTo>
                  <a:lnTo>
                    <a:pt x="7" y="8"/>
                  </a:lnTo>
                  <a:lnTo>
                    <a:pt x="6" y="8"/>
                  </a:lnTo>
                  <a:lnTo>
                    <a:pt x="4" y="8"/>
                  </a:lnTo>
                  <a:lnTo>
                    <a:pt x="4" y="8"/>
                  </a:lnTo>
                  <a:lnTo>
                    <a:pt x="1" y="8"/>
                  </a:lnTo>
                  <a:lnTo>
                    <a:pt x="0" y="7"/>
                  </a:lnTo>
                  <a:lnTo>
                    <a:pt x="1" y="6"/>
                  </a:lnTo>
                  <a:lnTo>
                    <a:pt x="1" y="6"/>
                  </a:lnTo>
                  <a:lnTo>
                    <a:pt x="3" y="6"/>
                  </a:lnTo>
                  <a:lnTo>
                    <a:pt x="1" y="4"/>
                  </a:lnTo>
                  <a:lnTo>
                    <a:pt x="0" y="1"/>
                  </a:lnTo>
                  <a:lnTo>
                    <a:pt x="0" y="1"/>
                  </a:lnTo>
                  <a:lnTo>
                    <a:pt x="0" y="0"/>
                  </a:lnTo>
                  <a:lnTo>
                    <a:pt x="3" y="1"/>
                  </a:lnTo>
                  <a:lnTo>
                    <a:pt x="6" y="1"/>
                  </a:lnTo>
                  <a:lnTo>
                    <a:pt x="1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76" name="Freeform 1199"/>
            <p:cNvSpPr>
              <a:spLocks/>
            </p:cNvSpPr>
            <p:nvPr/>
          </p:nvSpPr>
          <p:spPr bwMode="auto">
            <a:xfrm>
              <a:off x="1804988" y="2744421"/>
              <a:ext cx="11113" cy="20638"/>
            </a:xfrm>
            <a:custGeom>
              <a:avLst/>
              <a:gdLst>
                <a:gd name="T0" fmla="*/ 7 w 7"/>
                <a:gd name="T1" fmla="*/ 4 h 13"/>
                <a:gd name="T2" fmla="*/ 7 w 7"/>
                <a:gd name="T3" fmla="*/ 4 h 13"/>
                <a:gd name="T4" fmla="*/ 7 w 7"/>
                <a:gd name="T5" fmla="*/ 6 h 13"/>
                <a:gd name="T6" fmla="*/ 7 w 7"/>
                <a:gd name="T7" fmla="*/ 7 h 13"/>
                <a:gd name="T8" fmla="*/ 6 w 7"/>
                <a:gd name="T9" fmla="*/ 10 h 13"/>
                <a:gd name="T10" fmla="*/ 3 w 7"/>
                <a:gd name="T11" fmla="*/ 13 h 13"/>
                <a:gd name="T12" fmla="*/ 3 w 7"/>
                <a:gd name="T13" fmla="*/ 13 h 13"/>
                <a:gd name="T14" fmla="*/ 1 w 7"/>
                <a:gd name="T15" fmla="*/ 12 h 13"/>
                <a:gd name="T16" fmla="*/ 1 w 7"/>
                <a:gd name="T17" fmla="*/ 12 h 13"/>
                <a:gd name="T18" fmla="*/ 0 w 7"/>
                <a:gd name="T19" fmla="*/ 7 h 13"/>
                <a:gd name="T20" fmla="*/ 0 w 7"/>
                <a:gd name="T21" fmla="*/ 2 h 13"/>
                <a:gd name="T22" fmla="*/ 0 w 7"/>
                <a:gd name="T23" fmla="*/ 2 h 13"/>
                <a:gd name="T24" fmla="*/ 0 w 7"/>
                <a:gd name="T25" fmla="*/ 0 h 13"/>
                <a:gd name="T26" fmla="*/ 3 w 7"/>
                <a:gd name="T27" fmla="*/ 0 h 13"/>
                <a:gd name="T28" fmla="*/ 7 w 7"/>
                <a:gd name="T29"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4"/>
                  </a:moveTo>
                  <a:lnTo>
                    <a:pt x="7" y="4"/>
                  </a:lnTo>
                  <a:lnTo>
                    <a:pt x="7" y="6"/>
                  </a:lnTo>
                  <a:lnTo>
                    <a:pt x="7" y="7"/>
                  </a:lnTo>
                  <a:lnTo>
                    <a:pt x="6" y="10"/>
                  </a:lnTo>
                  <a:lnTo>
                    <a:pt x="3" y="13"/>
                  </a:lnTo>
                  <a:lnTo>
                    <a:pt x="3" y="13"/>
                  </a:lnTo>
                  <a:lnTo>
                    <a:pt x="1" y="12"/>
                  </a:lnTo>
                  <a:lnTo>
                    <a:pt x="1" y="12"/>
                  </a:lnTo>
                  <a:lnTo>
                    <a:pt x="0" y="7"/>
                  </a:lnTo>
                  <a:lnTo>
                    <a:pt x="0" y="2"/>
                  </a:lnTo>
                  <a:lnTo>
                    <a:pt x="0" y="2"/>
                  </a:lnTo>
                  <a:lnTo>
                    <a:pt x="0" y="0"/>
                  </a:lnTo>
                  <a:lnTo>
                    <a:pt x="3" y="0"/>
                  </a:lnTo>
                  <a:lnTo>
                    <a:pt x="7"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77" name="Freeform 1200"/>
            <p:cNvSpPr>
              <a:spLocks/>
            </p:cNvSpPr>
            <p:nvPr/>
          </p:nvSpPr>
          <p:spPr bwMode="auto">
            <a:xfrm>
              <a:off x="1785938" y="2698384"/>
              <a:ext cx="28575" cy="25400"/>
            </a:xfrm>
            <a:custGeom>
              <a:avLst/>
              <a:gdLst>
                <a:gd name="T0" fmla="*/ 10 w 18"/>
                <a:gd name="T1" fmla="*/ 2 h 16"/>
                <a:gd name="T2" fmla="*/ 10 w 18"/>
                <a:gd name="T3" fmla="*/ 2 h 16"/>
                <a:gd name="T4" fmla="*/ 13 w 18"/>
                <a:gd name="T5" fmla="*/ 4 h 16"/>
                <a:gd name="T6" fmla="*/ 16 w 18"/>
                <a:gd name="T7" fmla="*/ 4 h 16"/>
                <a:gd name="T8" fmla="*/ 18 w 18"/>
                <a:gd name="T9" fmla="*/ 6 h 16"/>
                <a:gd name="T10" fmla="*/ 18 w 18"/>
                <a:gd name="T11" fmla="*/ 7 h 16"/>
                <a:gd name="T12" fmla="*/ 18 w 18"/>
                <a:gd name="T13" fmla="*/ 7 h 16"/>
                <a:gd name="T14" fmla="*/ 16 w 18"/>
                <a:gd name="T15" fmla="*/ 13 h 16"/>
                <a:gd name="T16" fmla="*/ 15 w 18"/>
                <a:gd name="T17" fmla="*/ 16 h 16"/>
                <a:gd name="T18" fmla="*/ 12 w 18"/>
                <a:gd name="T19" fmla="*/ 16 h 16"/>
                <a:gd name="T20" fmla="*/ 12 w 18"/>
                <a:gd name="T21" fmla="*/ 16 h 16"/>
                <a:gd name="T22" fmla="*/ 8 w 18"/>
                <a:gd name="T23" fmla="*/ 15 h 16"/>
                <a:gd name="T24" fmla="*/ 3 w 18"/>
                <a:gd name="T25" fmla="*/ 12 h 16"/>
                <a:gd name="T26" fmla="*/ 0 w 18"/>
                <a:gd name="T27" fmla="*/ 9 h 16"/>
                <a:gd name="T28" fmla="*/ 0 w 18"/>
                <a:gd name="T29" fmla="*/ 7 h 16"/>
                <a:gd name="T30" fmla="*/ 0 w 18"/>
                <a:gd name="T31" fmla="*/ 6 h 16"/>
                <a:gd name="T32" fmla="*/ 0 w 18"/>
                <a:gd name="T33" fmla="*/ 6 h 16"/>
                <a:gd name="T34" fmla="*/ 5 w 18"/>
                <a:gd name="T35" fmla="*/ 2 h 16"/>
                <a:gd name="T36" fmla="*/ 8 w 18"/>
                <a:gd name="T37" fmla="*/ 0 h 16"/>
                <a:gd name="T38" fmla="*/ 10 w 18"/>
                <a:gd name="T39"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16">
                  <a:moveTo>
                    <a:pt x="10" y="2"/>
                  </a:moveTo>
                  <a:lnTo>
                    <a:pt x="10" y="2"/>
                  </a:lnTo>
                  <a:lnTo>
                    <a:pt x="13" y="4"/>
                  </a:lnTo>
                  <a:lnTo>
                    <a:pt x="16" y="4"/>
                  </a:lnTo>
                  <a:lnTo>
                    <a:pt x="18" y="6"/>
                  </a:lnTo>
                  <a:lnTo>
                    <a:pt x="18" y="7"/>
                  </a:lnTo>
                  <a:lnTo>
                    <a:pt x="18" y="7"/>
                  </a:lnTo>
                  <a:lnTo>
                    <a:pt x="16" y="13"/>
                  </a:lnTo>
                  <a:lnTo>
                    <a:pt x="15" y="16"/>
                  </a:lnTo>
                  <a:lnTo>
                    <a:pt x="12" y="16"/>
                  </a:lnTo>
                  <a:lnTo>
                    <a:pt x="12" y="16"/>
                  </a:lnTo>
                  <a:lnTo>
                    <a:pt x="8" y="15"/>
                  </a:lnTo>
                  <a:lnTo>
                    <a:pt x="3" y="12"/>
                  </a:lnTo>
                  <a:lnTo>
                    <a:pt x="0" y="9"/>
                  </a:lnTo>
                  <a:lnTo>
                    <a:pt x="0" y="7"/>
                  </a:lnTo>
                  <a:lnTo>
                    <a:pt x="0" y="6"/>
                  </a:lnTo>
                  <a:lnTo>
                    <a:pt x="0" y="6"/>
                  </a:lnTo>
                  <a:lnTo>
                    <a:pt x="5" y="2"/>
                  </a:lnTo>
                  <a:lnTo>
                    <a:pt x="8" y="0"/>
                  </a:lnTo>
                  <a:lnTo>
                    <a:pt x="1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78" name="Freeform 1201"/>
            <p:cNvSpPr>
              <a:spLocks/>
            </p:cNvSpPr>
            <p:nvPr/>
          </p:nvSpPr>
          <p:spPr bwMode="auto">
            <a:xfrm>
              <a:off x="1692275" y="2496771"/>
              <a:ext cx="107950" cy="38100"/>
            </a:xfrm>
            <a:custGeom>
              <a:avLst/>
              <a:gdLst>
                <a:gd name="T0" fmla="*/ 0 w 68"/>
                <a:gd name="T1" fmla="*/ 10 h 24"/>
                <a:gd name="T2" fmla="*/ 7 w 68"/>
                <a:gd name="T3" fmla="*/ 7 h 24"/>
                <a:gd name="T4" fmla="*/ 10 w 68"/>
                <a:gd name="T5" fmla="*/ 8 h 24"/>
                <a:gd name="T6" fmla="*/ 16 w 68"/>
                <a:gd name="T7" fmla="*/ 14 h 24"/>
                <a:gd name="T8" fmla="*/ 23 w 68"/>
                <a:gd name="T9" fmla="*/ 16 h 24"/>
                <a:gd name="T10" fmla="*/ 25 w 68"/>
                <a:gd name="T11" fmla="*/ 10 h 24"/>
                <a:gd name="T12" fmla="*/ 29 w 68"/>
                <a:gd name="T13" fmla="*/ 4 h 24"/>
                <a:gd name="T14" fmla="*/ 35 w 68"/>
                <a:gd name="T15" fmla="*/ 0 h 24"/>
                <a:gd name="T16" fmla="*/ 35 w 68"/>
                <a:gd name="T17" fmla="*/ 1 h 24"/>
                <a:gd name="T18" fmla="*/ 35 w 68"/>
                <a:gd name="T19" fmla="*/ 8 h 24"/>
                <a:gd name="T20" fmla="*/ 36 w 68"/>
                <a:gd name="T21" fmla="*/ 8 h 24"/>
                <a:gd name="T22" fmla="*/ 41 w 68"/>
                <a:gd name="T23" fmla="*/ 7 h 24"/>
                <a:gd name="T24" fmla="*/ 41 w 68"/>
                <a:gd name="T25" fmla="*/ 8 h 24"/>
                <a:gd name="T26" fmla="*/ 41 w 68"/>
                <a:gd name="T27" fmla="*/ 13 h 24"/>
                <a:gd name="T28" fmla="*/ 42 w 68"/>
                <a:gd name="T29" fmla="*/ 13 h 24"/>
                <a:gd name="T30" fmla="*/ 51 w 68"/>
                <a:gd name="T31" fmla="*/ 10 h 24"/>
                <a:gd name="T32" fmla="*/ 54 w 68"/>
                <a:gd name="T33" fmla="*/ 4 h 24"/>
                <a:gd name="T34" fmla="*/ 55 w 68"/>
                <a:gd name="T35" fmla="*/ 0 h 24"/>
                <a:gd name="T36" fmla="*/ 56 w 68"/>
                <a:gd name="T37" fmla="*/ 0 h 24"/>
                <a:gd name="T38" fmla="*/ 64 w 68"/>
                <a:gd name="T39" fmla="*/ 4 h 24"/>
                <a:gd name="T40" fmla="*/ 64 w 68"/>
                <a:gd name="T41" fmla="*/ 7 h 24"/>
                <a:gd name="T42" fmla="*/ 67 w 68"/>
                <a:gd name="T43" fmla="*/ 11 h 24"/>
                <a:gd name="T44" fmla="*/ 68 w 68"/>
                <a:gd name="T45" fmla="*/ 14 h 24"/>
                <a:gd name="T46" fmla="*/ 67 w 68"/>
                <a:gd name="T47" fmla="*/ 18 h 24"/>
                <a:gd name="T48" fmla="*/ 64 w 68"/>
                <a:gd name="T49" fmla="*/ 18 h 24"/>
                <a:gd name="T50" fmla="*/ 61 w 68"/>
                <a:gd name="T51" fmla="*/ 11 h 24"/>
                <a:gd name="T52" fmla="*/ 58 w 68"/>
                <a:gd name="T53" fmla="*/ 8 h 24"/>
                <a:gd name="T54" fmla="*/ 56 w 68"/>
                <a:gd name="T55" fmla="*/ 13 h 24"/>
                <a:gd name="T56" fmla="*/ 54 w 68"/>
                <a:gd name="T57" fmla="*/ 17 h 24"/>
                <a:gd name="T58" fmla="*/ 48 w 68"/>
                <a:gd name="T59" fmla="*/ 20 h 24"/>
                <a:gd name="T60" fmla="*/ 45 w 68"/>
                <a:gd name="T61" fmla="*/ 18 h 24"/>
                <a:gd name="T62" fmla="*/ 41 w 68"/>
                <a:gd name="T63" fmla="*/ 18 h 24"/>
                <a:gd name="T64" fmla="*/ 38 w 68"/>
                <a:gd name="T65" fmla="*/ 20 h 24"/>
                <a:gd name="T66" fmla="*/ 33 w 68"/>
                <a:gd name="T67" fmla="*/ 21 h 24"/>
                <a:gd name="T68" fmla="*/ 32 w 68"/>
                <a:gd name="T69" fmla="*/ 18 h 24"/>
                <a:gd name="T70" fmla="*/ 30 w 68"/>
                <a:gd name="T71" fmla="*/ 16 h 24"/>
                <a:gd name="T72" fmla="*/ 29 w 68"/>
                <a:gd name="T73" fmla="*/ 16 h 24"/>
                <a:gd name="T74" fmla="*/ 20 w 68"/>
                <a:gd name="T75" fmla="*/ 21 h 24"/>
                <a:gd name="T76" fmla="*/ 19 w 68"/>
                <a:gd name="T77" fmla="*/ 23 h 24"/>
                <a:gd name="T78" fmla="*/ 14 w 68"/>
                <a:gd name="T79" fmla="*/ 24 h 24"/>
                <a:gd name="T80" fmla="*/ 13 w 68"/>
                <a:gd name="T81" fmla="*/ 23 h 24"/>
                <a:gd name="T82" fmla="*/ 12 w 68"/>
                <a:gd name="T83" fmla="*/ 18 h 24"/>
                <a:gd name="T84" fmla="*/ 10 w 68"/>
                <a:gd name="T85" fmla="*/ 17 h 24"/>
                <a:gd name="T86" fmla="*/ 0 w 68"/>
                <a:gd name="T87" fmla="*/ 1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 h="24">
                  <a:moveTo>
                    <a:pt x="0" y="10"/>
                  </a:moveTo>
                  <a:lnTo>
                    <a:pt x="0" y="10"/>
                  </a:lnTo>
                  <a:lnTo>
                    <a:pt x="6" y="7"/>
                  </a:lnTo>
                  <a:lnTo>
                    <a:pt x="7" y="7"/>
                  </a:lnTo>
                  <a:lnTo>
                    <a:pt x="10" y="8"/>
                  </a:lnTo>
                  <a:lnTo>
                    <a:pt x="10" y="8"/>
                  </a:lnTo>
                  <a:lnTo>
                    <a:pt x="13" y="11"/>
                  </a:lnTo>
                  <a:lnTo>
                    <a:pt x="16" y="14"/>
                  </a:lnTo>
                  <a:lnTo>
                    <a:pt x="20" y="16"/>
                  </a:lnTo>
                  <a:lnTo>
                    <a:pt x="23" y="16"/>
                  </a:lnTo>
                  <a:lnTo>
                    <a:pt x="23" y="16"/>
                  </a:lnTo>
                  <a:lnTo>
                    <a:pt x="25" y="10"/>
                  </a:lnTo>
                  <a:lnTo>
                    <a:pt x="29" y="4"/>
                  </a:lnTo>
                  <a:lnTo>
                    <a:pt x="29" y="4"/>
                  </a:lnTo>
                  <a:lnTo>
                    <a:pt x="33" y="0"/>
                  </a:lnTo>
                  <a:lnTo>
                    <a:pt x="35" y="0"/>
                  </a:lnTo>
                  <a:lnTo>
                    <a:pt x="35" y="1"/>
                  </a:lnTo>
                  <a:lnTo>
                    <a:pt x="35" y="1"/>
                  </a:lnTo>
                  <a:lnTo>
                    <a:pt x="35" y="7"/>
                  </a:lnTo>
                  <a:lnTo>
                    <a:pt x="35" y="8"/>
                  </a:lnTo>
                  <a:lnTo>
                    <a:pt x="36" y="8"/>
                  </a:lnTo>
                  <a:lnTo>
                    <a:pt x="36" y="8"/>
                  </a:lnTo>
                  <a:lnTo>
                    <a:pt x="39" y="7"/>
                  </a:lnTo>
                  <a:lnTo>
                    <a:pt x="41" y="7"/>
                  </a:lnTo>
                  <a:lnTo>
                    <a:pt x="41" y="8"/>
                  </a:lnTo>
                  <a:lnTo>
                    <a:pt x="41" y="8"/>
                  </a:lnTo>
                  <a:lnTo>
                    <a:pt x="41" y="11"/>
                  </a:lnTo>
                  <a:lnTo>
                    <a:pt x="41" y="13"/>
                  </a:lnTo>
                  <a:lnTo>
                    <a:pt x="42" y="13"/>
                  </a:lnTo>
                  <a:lnTo>
                    <a:pt x="42" y="13"/>
                  </a:lnTo>
                  <a:lnTo>
                    <a:pt x="48" y="11"/>
                  </a:lnTo>
                  <a:lnTo>
                    <a:pt x="51" y="10"/>
                  </a:lnTo>
                  <a:lnTo>
                    <a:pt x="51" y="10"/>
                  </a:lnTo>
                  <a:lnTo>
                    <a:pt x="54" y="4"/>
                  </a:lnTo>
                  <a:lnTo>
                    <a:pt x="55" y="1"/>
                  </a:lnTo>
                  <a:lnTo>
                    <a:pt x="55" y="0"/>
                  </a:lnTo>
                  <a:lnTo>
                    <a:pt x="56" y="0"/>
                  </a:lnTo>
                  <a:lnTo>
                    <a:pt x="56" y="0"/>
                  </a:lnTo>
                  <a:lnTo>
                    <a:pt x="61" y="3"/>
                  </a:lnTo>
                  <a:lnTo>
                    <a:pt x="64" y="4"/>
                  </a:lnTo>
                  <a:lnTo>
                    <a:pt x="64" y="7"/>
                  </a:lnTo>
                  <a:lnTo>
                    <a:pt x="64" y="7"/>
                  </a:lnTo>
                  <a:lnTo>
                    <a:pt x="64" y="10"/>
                  </a:lnTo>
                  <a:lnTo>
                    <a:pt x="67" y="11"/>
                  </a:lnTo>
                  <a:lnTo>
                    <a:pt x="68" y="13"/>
                  </a:lnTo>
                  <a:lnTo>
                    <a:pt x="68" y="14"/>
                  </a:lnTo>
                  <a:lnTo>
                    <a:pt x="68" y="14"/>
                  </a:lnTo>
                  <a:lnTo>
                    <a:pt x="67" y="18"/>
                  </a:lnTo>
                  <a:lnTo>
                    <a:pt x="65" y="20"/>
                  </a:lnTo>
                  <a:lnTo>
                    <a:pt x="64" y="18"/>
                  </a:lnTo>
                  <a:lnTo>
                    <a:pt x="64" y="18"/>
                  </a:lnTo>
                  <a:lnTo>
                    <a:pt x="61" y="11"/>
                  </a:lnTo>
                  <a:lnTo>
                    <a:pt x="59" y="10"/>
                  </a:lnTo>
                  <a:lnTo>
                    <a:pt x="58" y="8"/>
                  </a:lnTo>
                  <a:lnTo>
                    <a:pt x="58" y="8"/>
                  </a:lnTo>
                  <a:lnTo>
                    <a:pt x="56" y="13"/>
                  </a:lnTo>
                  <a:lnTo>
                    <a:pt x="54" y="17"/>
                  </a:lnTo>
                  <a:lnTo>
                    <a:pt x="54" y="17"/>
                  </a:lnTo>
                  <a:lnTo>
                    <a:pt x="51" y="20"/>
                  </a:lnTo>
                  <a:lnTo>
                    <a:pt x="48" y="20"/>
                  </a:lnTo>
                  <a:lnTo>
                    <a:pt x="48" y="20"/>
                  </a:lnTo>
                  <a:lnTo>
                    <a:pt x="45" y="18"/>
                  </a:lnTo>
                  <a:lnTo>
                    <a:pt x="43" y="18"/>
                  </a:lnTo>
                  <a:lnTo>
                    <a:pt x="41" y="18"/>
                  </a:lnTo>
                  <a:lnTo>
                    <a:pt x="41" y="18"/>
                  </a:lnTo>
                  <a:lnTo>
                    <a:pt x="38" y="20"/>
                  </a:lnTo>
                  <a:lnTo>
                    <a:pt x="35" y="21"/>
                  </a:lnTo>
                  <a:lnTo>
                    <a:pt x="33" y="21"/>
                  </a:lnTo>
                  <a:lnTo>
                    <a:pt x="33" y="21"/>
                  </a:lnTo>
                  <a:lnTo>
                    <a:pt x="32" y="18"/>
                  </a:lnTo>
                  <a:lnTo>
                    <a:pt x="30" y="17"/>
                  </a:lnTo>
                  <a:lnTo>
                    <a:pt x="30" y="16"/>
                  </a:lnTo>
                  <a:lnTo>
                    <a:pt x="29" y="16"/>
                  </a:lnTo>
                  <a:lnTo>
                    <a:pt x="29" y="16"/>
                  </a:lnTo>
                  <a:lnTo>
                    <a:pt x="25" y="20"/>
                  </a:lnTo>
                  <a:lnTo>
                    <a:pt x="20" y="21"/>
                  </a:lnTo>
                  <a:lnTo>
                    <a:pt x="20" y="21"/>
                  </a:lnTo>
                  <a:lnTo>
                    <a:pt x="19" y="23"/>
                  </a:lnTo>
                  <a:lnTo>
                    <a:pt x="16" y="24"/>
                  </a:lnTo>
                  <a:lnTo>
                    <a:pt x="14" y="24"/>
                  </a:lnTo>
                  <a:lnTo>
                    <a:pt x="14" y="24"/>
                  </a:lnTo>
                  <a:lnTo>
                    <a:pt x="13" y="23"/>
                  </a:lnTo>
                  <a:lnTo>
                    <a:pt x="13" y="20"/>
                  </a:lnTo>
                  <a:lnTo>
                    <a:pt x="12" y="18"/>
                  </a:lnTo>
                  <a:lnTo>
                    <a:pt x="10" y="17"/>
                  </a:lnTo>
                  <a:lnTo>
                    <a:pt x="10" y="17"/>
                  </a:lnTo>
                  <a:lnTo>
                    <a:pt x="1" y="13"/>
                  </a:lnTo>
                  <a:lnTo>
                    <a:pt x="0" y="11"/>
                  </a:lnTo>
                  <a:lnTo>
                    <a:pt x="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79" name="Freeform 1202"/>
            <p:cNvSpPr>
              <a:spLocks/>
            </p:cNvSpPr>
            <p:nvPr/>
          </p:nvSpPr>
          <p:spPr bwMode="auto">
            <a:xfrm>
              <a:off x="1682750" y="2658696"/>
              <a:ext cx="34925" cy="53975"/>
            </a:xfrm>
            <a:custGeom>
              <a:avLst/>
              <a:gdLst>
                <a:gd name="T0" fmla="*/ 13 w 22"/>
                <a:gd name="T1" fmla="*/ 31 h 34"/>
                <a:gd name="T2" fmla="*/ 13 w 22"/>
                <a:gd name="T3" fmla="*/ 31 h 34"/>
                <a:gd name="T4" fmla="*/ 10 w 22"/>
                <a:gd name="T5" fmla="*/ 32 h 34"/>
                <a:gd name="T6" fmla="*/ 7 w 22"/>
                <a:gd name="T7" fmla="*/ 34 h 34"/>
                <a:gd name="T8" fmla="*/ 6 w 22"/>
                <a:gd name="T9" fmla="*/ 32 h 34"/>
                <a:gd name="T10" fmla="*/ 6 w 22"/>
                <a:gd name="T11" fmla="*/ 32 h 34"/>
                <a:gd name="T12" fmla="*/ 6 w 22"/>
                <a:gd name="T13" fmla="*/ 31 h 34"/>
                <a:gd name="T14" fmla="*/ 6 w 22"/>
                <a:gd name="T15" fmla="*/ 29 h 34"/>
                <a:gd name="T16" fmla="*/ 6 w 22"/>
                <a:gd name="T17" fmla="*/ 27 h 34"/>
                <a:gd name="T18" fmla="*/ 5 w 22"/>
                <a:gd name="T19" fmla="*/ 24 h 34"/>
                <a:gd name="T20" fmla="*/ 5 w 22"/>
                <a:gd name="T21" fmla="*/ 24 h 34"/>
                <a:gd name="T22" fmla="*/ 0 w 22"/>
                <a:gd name="T23" fmla="*/ 16 h 34"/>
                <a:gd name="T24" fmla="*/ 0 w 22"/>
                <a:gd name="T25" fmla="*/ 14 h 34"/>
                <a:gd name="T26" fmla="*/ 0 w 22"/>
                <a:gd name="T27" fmla="*/ 12 h 34"/>
                <a:gd name="T28" fmla="*/ 0 w 22"/>
                <a:gd name="T29" fmla="*/ 12 h 34"/>
                <a:gd name="T30" fmla="*/ 5 w 22"/>
                <a:gd name="T31" fmla="*/ 9 h 34"/>
                <a:gd name="T32" fmla="*/ 9 w 22"/>
                <a:gd name="T33" fmla="*/ 6 h 34"/>
                <a:gd name="T34" fmla="*/ 9 w 22"/>
                <a:gd name="T35" fmla="*/ 6 h 34"/>
                <a:gd name="T36" fmla="*/ 16 w 22"/>
                <a:gd name="T37" fmla="*/ 2 h 34"/>
                <a:gd name="T38" fmla="*/ 20 w 22"/>
                <a:gd name="T39" fmla="*/ 0 h 34"/>
                <a:gd name="T40" fmla="*/ 22 w 22"/>
                <a:gd name="T41" fmla="*/ 0 h 34"/>
                <a:gd name="T42" fmla="*/ 22 w 22"/>
                <a:gd name="T43" fmla="*/ 0 h 34"/>
                <a:gd name="T44" fmla="*/ 18 w 22"/>
                <a:gd name="T45" fmla="*/ 6 h 34"/>
                <a:gd name="T46" fmla="*/ 18 w 22"/>
                <a:gd name="T47" fmla="*/ 11 h 34"/>
                <a:gd name="T48" fmla="*/ 18 w 22"/>
                <a:gd name="T49" fmla="*/ 12 h 34"/>
                <a:gd name="T50" fmla="*/ 18 w 22"/>
                <a:gd name="T51" fmla="*/ 12 h 34"/>
                <a:gd name="T52" fmla="*/ 22 w 22"/>
                <a:gd name="T53" fmla="*/ 14 h 34"/>
                <a:gd name="T54" fmla="*/ 22 w 22"/>
                <a:gd name="T55" fmla="*/ 14 h 34"/>
                <a:gd name="T56" fmla="*/ 22 w 22"/>
                <a:gd name="T57" fmla="*/ 16 h 34"/>
                <a:gd name="T58" fmla="*/ 22 w 22"/>
                <a:gd name="T59" fmla="*/ 16 h 34"/>
                <a:gd name="T60" fmla="*/ 18 w 22"/>
                <a:gd name="T61" fmla="*/ 24 h 34"/>
                <a:gd name="T62" fmla="*/ 13 w 22"/>
                <a:gd name="T63" fmla="*/ 3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 h="34">
                  <a:moveTo>
                    <a:pt x="13" y="31"/>
                  </a:moveTo>
                  <a:lnTo>
                    <a:pt x="13" y="31"/>
                  </a:lnTo>
                  <a:lnTo>
                    <a:pt x="10" y="32"/>
                  </a:lnTo>
                  <a:lnTo>
                    <a:pt x="7" y="34"/>
                  </a:lnTo>
                  <a:lnTo>
                    <a:pt x="6" y="32"/>
                  </a:lnTo>
                  <a:lnTo>
                    <a:pt x="6" y="32"/>
                  </a:lnTo>
                  <a:lnTo>
                    <a:pt x="6" y="31"/>
                  </a:lnTo>
                  <a:lnTo>
                    <a:pt x="6" y="29"/>
                  </a:lnTo>
                  <a:lnTo>
                    <a:pt x="6" y="27"/>
                  </a:lnTo>
                  <a:lnTo>
                    <a:pt x="5" y="24"/>
                  </a:lnTo>
                  <a:lnTo>
                    <a:pt x="5" y="24"/>
                  </a:lnTo>
                  <a:lnTo>
                    <a:pt x="0" y="16"/>
                  </a:lnTo>
                  <a:lnTo>
                    <a:pt x="0" y="14"/>
                  </a:lnTo>
                  <a:lnTo>
                    <a:pt x="0" y="12"/>
                  </a:lnTo>
                  <a:lnTo>
                    <a:pt x="0" y="12"/>
                  </a:lnTo>
                  <a:lnTo>
                    <a:pt x="5" y="9"/>
                  </a:lnTo>
                  <a:lnTo>
                    <a:pt x="9" y="6"/>
                  </a:lnTo>
                  <a:lnTo>
                    <a:pt x="9" y="6"/>
                  </a:lnTo>
                  <a:lnTo>
                    <a:pt x="16" y="2"/>
                  </a:lnTo>
                  <a:lnTo>
                    <a:pt x="20" y="0"/>
                  </a:lnTo>
                  <a:lnTo>
                    <a:pt x="22" y="0"/>
                  </a:lnTo>
                  <a:lnTo>
                    <a:pt x="22" y="0"/>
                  </a:lnTo>
                  <a:lnTo>
                    <a:pt x="18" y="6"/>
                  </a:lnTo>
                  <a:lnTo>
                    <a:pt x="18" y="11"/>
                  </a:lnTo>
                  <a:lnTo>
                    <a:pt x="18" y="12"/>
                  </a:lnTo>
                  <a:lnTo>
                    <a:pt x="18" y="12"/>
                  </a:lnTo>
                  <a:lnTo>
                    <a:pt x="22" y="14"/>
                  </a:lnTo>
                  <a:lnTo>
                    <a:pt x="22" y="14"/>
                  </a:lnTo>
                  <a:lnTo>
                    <a:pt x="22" y="16"/>
                  </a:lnTo>
                  <a:lnTo>
                    <a:pt x="22" y="16"/>
                  </a:lnTo>
                  <a:lnTo>
                    <a:pt x="18" y="24"/>
                  </a:lnTo>
                  <a:lnTo>
                    <a:pt x="13" y="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80" name="Freeform 1203"/>
            <p:cNvSpPr>
              <a:spLocks/>
            </p:cNvSpPr>
            <p:nvPr/>
          </p:nvSpPr>
          <p:spPr bwMode="auto">
            <a:xfrm>
              <a:off x="1717675" y="2968259"/>
              <a:ext cx="60325" cy="73025"/>
            </a:xfrm>
            <a:custGeom>
              <a:avLst/>
              <a:gdLst>
                <a:gd name="T0" fmla="*/ 9 w 38"/>
                <a:gd name="T1" fmla="*/ 46 h 46"/>
                <a:gd name="T2" fmla="*/ 9 w 38"/>
                <a:gd name="T3" fmla="*/ 46 h 46"/>
                <a:gd name="T4" fmla="*/ 7 w 38"/>
                <a:gd name="T5" fmla="*/ 44 h 46"/>
                <a:gd name="T6" fmla="*/ 6 w 38"/>
                <a:gd name="T7" fmla="*/ 43 h 46"/>
                <a:gd name="T8" fmla="*/ 6 w 38"/>
                <a:gd name="T9" fmla="*/ 42 h 46"/>
                <a:gd name="T10" fmla="*/ 3 w 38"/>
                <a:gd name="T11" fmla="*/ 40 h 46"/>
                <a:gd name="T12" fmla="*/ 3 w 38"/>
                <a:gd name="T13" fmla="*/ 40 h 46"/>
                <a:gd name="T14" fmla="*/ 1 w 38"/>
                <a:gd name="T15" fmla="*/ 39 h 46"/>
                <a:gd name="T16" fmla="*/ 0 w 38"/>
                <a:gd name="T17" fmla="*/ 37 h 46"/>
                <a:gd name="T18" fmla="*/ 0 w 38"/>
                <a:gd name="T19" fmla="*/ 34 h 46"/>
                <a:gd name="T20" fmla="*/ 3 w 38"/>
                <a:gd name="T21" fmla="*/ 33 h 46"/>
                <a:gd name="T22" fmla="*/ 3 w 38"/>
                <a:gd name="T23" fmla="*/ 33 h 46"/>
                <a:gd name="T24" fmla="*/ 9 w 38"/>
                <a:gd name="T25" fmla="*/ 31 h 46"/>
                <a:gd name="T26" fmla="*/ 13 w 38"/>
                <a:gd name="T27" fmla="*/ 30 h 46"/>
                <a:gd name="T28" fmla="*/ 16 w 38"/>
                <a:gd name="T29" fmla="*/ 26 h 46"/>
                <a:gd name="T30" fmla="*/ 16 w 38"/>
                <a:gd name="T31" fmla="*/ 26 h 46"/>
                <a:gd name="T32" fmla="*/ 22 w 38"/>
                <a:gd name="T33" fmla="*/ 14 h 46"/>
                <a:gd name="T34" fmla="*/ 25 w 38"/>
                <a:gd name="T35" fmla="*/ 7 h 46"/>
                <a:gd name="T36" fmla="*/ 25 w 38"/>
                <a:gd name="T37" fmla="*/ 7 h 46"/>
                <a:gd name="T38" fmla="*/ 27 w 38"/>
                <a:gd name="T39" fmla="*/ 1 h 46"/>
                <a:gd name="T40" fmla="*/ 29 w 38"/>
                <a:gd name="T41" fmla="*/ 0 h 46"/>
                <a:gd name="T42" fmla="*/ 30 w 38"/>
                <a:gd name="T43" fmla="*/ 1 h 46"/>
                <a:gd name="T44" fmla="*/ 30 w 38"/>
                <a:gd name="T45" fmla="*/ 1 h 46"/>
                <a:gd name="T46" fmla="*/ 33 w 38"/>
                <a:gd name="T47" fmla="*/ 8 h 46"/>
                <a:gd name="T48" fmla="*/ 33 w 38"/>
                <a:gd name="T49" fmla="*/ 10 h 46"/>
                <a:gd name="T50" fmla="*/ 35 w 38"/>
                <a:gd name="T51" fmla="*/ 10 h 46"/>
                <a:gd name="T52" fmla="*/ 35 w 38"/>
                <a:gd name="T53" fmla="*/ 10 h 46"/>
                <a:gd name="T54" fmla="*/ 38 w 38"/>
                <a:gd name="T55" fmla="*/ 11 h 46"/>
                <a:gd name="T56" fmla="*/ 38 w 38"/>
                <a:gd name="T57" fmla="*/ 14 h 46"/>
                <a:gd name="T58" fmla="*/ 36 w 38"/>
                <a:gd name="T59" fmla="*/ 17 h 46"/>
                <a:gd name="T60" fmla="*/ 35 w 38"/>
                <a:gd name="T61" fmla="*/ 20 h 46"/>
                <a:gd name="T62" fmla="*/ 35 w 38"/>
                <a:gd name="T63" fmla="*/ 20 h 46"/>
                <a:gd name="T64" fmla="*/ 32 w 38"/>
                <a:gd name="T65" fmla="*/ 21 h 46"/>
                <a:gd name="T66" fmla="*/ 29 w 38"/>
                <a:gd name="T67" fmla="*/ 21 h 46"/>
                <a:gd name="T68" fmla="*/ 26 w 38"/>
                <a:gd name="T69" fmla="*/ 21 h 46"/>
                <a:gd name="T70" fmla="*/ 23 w 38"/>
                <a:gd name="T71" fmla="*/ 23 h 46"/>
                <a:gd name="T72" fmla="*/ 23 w 38"/>
                <a:gd name="T73" fmla="*/ 23 h 46"/>
                <a:gd name="T74" fmla="*/ 14 w 38"/>
                <a:gd name="T75" fmla="*/ 33 h 46"/>
                <a:gd name="T76" fmla="*/ 11 w 38"/>
                <a:gd name="T77" fmla="*/ 37 h 46"/>
                <a:gd name="T78" fmla="*/ 10 w 38"/>
                <a:gd name="T79" fmla="*/ 40 h 46"/>
                <a:gd name="T80" fmla="*/ 10 w 38"/>
                <a:gd name="T81" fmla="*/ 40 h 46"/>
                <a:gd name="T82" fmla="*/ 10 w 38"/>
                <a:gd name="T83" fmla="*/ 44 h 46"/>
                <a:gd name="T84" fmla="*/ 10 w 38"/>
                <a:gd name="T85" fmla="*/ 46 h 46"/>
                <a:gd name="T86" fmla="*/ 9 w 38"/>
                <a:gd name="T8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 h="46">
                  <a:moveTo>
                    <a:pt x="9" y="46"/>
                  </a:moveTo>
                  <a:lnTo>
                    <a:pt x="9" y="46"/>
                  </a:lnTo>
                  <a:lnTo>
                    <a:pt x="7" y="44"/>
                  </a:lnTo>
                  <a:lnTo>
                    <a:pt x="6" y="43"/>
                  </a:lnTo>
                  <a:lnTo>
                    <a:pt x="6" y="42"/>
                  </a:lnTo>
                  <a:lnTo>
                    <a:pt x="3" y="40"/>
                  </a:lnTo>
                  <a:lnTo>
                    <a:pt x="3" y="40"/>
                  </a:lnTo>
                  <a:lnTo>
                    <a:pt x="1" y="39"/>
                  </a:lnTo>
                  <a:lnTo>
                    <a:pt x="0" y="37"/>
                  </a:lnTo>
                  <a:lnTo>
                    <a:pt x="0" y="34"/>
                  </a:lnTo>
                  <a:lnTo>
                    <a:pt x="3" y="33"/>
                  </a:lnTo>
                  <a:lnTo>
                    <a:pt x="3" y="33"/>
                  </a:lnTo>
                  <a:lnTo>
                    <a:pt x="9" y="31"/>
                  </a:lnTo>
                  <a:lnTo>
                    <a:pt x="13" y="30"/>
                  </a:lnTo>
                  <a:lnTo>
                    <a:pt x="16" y="26"/>
                  </a:lnTo>
                  <a:lnTo>
                    <a:pt x="16" y="26"/>
                  </a:lnTo>
                  <a:lnTo>
                    <a:pt x="22" y="14"/>
                  </a:lnTo>
                  <a:lnTo>
                    <a:pt x="25" y="7"/>
                  </a:lnTo>
                  <a:lnTo>
                    <a:pt x="25" y="7"/>
                  </a:lnTo>
                  <a:lnTo>
                    <a:pt x="27" y="1"/>
                  </a:lnTo>
                  <a:lnTo>
                    <a:pt x="29" y="0"/>
                  </a:lnTo>
                  <a:lnTo>
                    <a:pt x="30" y="1"/>
                  </a:lnTo>
                  <a:lnTo>
                    <a:pt x="30" y="1"/>
                  </a:lnTo>
                  <a:lnTo>
                    <a:pt x="33" y="8"/>
                  </a:lnTo>
                  <a:lnTo>
                    <a:pt x="33" y="10"/>
                  </a:lnTo>
                  <a:lnTo>
                    <a:pt x="35" y="10"/>
                  </a:lnTo>
                  <a:lnTo>
                    <a:pt x="35" y="10"/>
                  </a:lnTo>
                  <a:lnTo>
                    <a:pt x="38" y="11"/>
                  </a:lnTo>
                  <a:lnTo>
                    <a:pt x="38" y="14"/>
                  </a:lnTo>
                  <a:lnTo>
                    <a:pt x="36" y="17"/>
                  </a:lnTo>
                  <a:lnTo>
                    <a:pt x="35" y="20"/>
                  </a:lnTo>
                  <a:lnTo>
                    <a:pt x="35" y="20"/>
                  </a:lnTo>
                  <a:lnTo>
                    <a:pt x="32" y="21"/>
                  </a:lnTo>
                  <a:lnTo>
                    <a:pt x="29" y="21"/>
                  </a:lnTo>
                  <a:lnTo>
                    <a:pt x="26" y="21"/>
                  </a:lnTo>
                  <a:lnTo>
                    <a:pt x="23" y="23"/>
                  </a:lnTo>
                  <a:lnTo>
                    <a:pt x="23" y="23"/>
                  </a:lnTo>
                  <a:lnTo>
                    <a:pt x="14" y="33"/>
                  </a:lnTo>
                  <a:lnTo>
                    <a:pt x="11" y="37"/>
                  </a:lnTo>
                  <a:lnTo>
                    <a:pt x="10" y="40"/>
                  </a:lnTo>
                  <a:lnTo>
                    <a:pt x="10" y="40"/>
                  </a:lnTo>
                  <a:lnTo>
                    <a:pt x="10" y="44"/>
                  </a:lnTo>
                  <a:lnTo>
                    <a:pt x="10" y="46"/>
                  </a:lnTo>
                  <a:lnTo>
                    <a:pt x="9" y="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81" name="Freeform 1204"/>
            <p:cNvSpPr>
              <a:spLocks/>
            </p:cNvSpPr>
            <p:nvPr/>
          </p:nvSpPr>
          <p:spPr bwMode="auto">
            <a:xfrm>
              <a:off x="1774825" y="3260359"/>
              <a:ext cx="15875" cy="20638"/>
            </a:xfrm>
            <a:custGeom>
              <a:avLst/>
              <a:gdLst>
                <a:gd name="T0" fmla="*/ 4 w 10"/>
                <a:gd name="T1" fmla="*/ 13 h 13"/>
                <a:gd name="T2" fmla="*/ 4 w 10"/>
                <a:gd name="T3" fmla="*/ 13 h 13"/>
                <a:gd name="T4" fmla="*/ 3 w 10"/>
                <a:gd name="T5" fmla="*/ 11 h 13"/>
                <a:gd name="T6" fmla="*/ 2 w 10"/>
                <a:gd name="T7" fmla="*/ 7 h 13"/>
                <a:gd name="T8" fmla="*/ 0 w 10"/>
                <a:gd name="T9" fmla="*/ 1 h 13"/>
                <a:gd name="T10" fmla="*/ 0 w 10"/>
                <a:gd name="T11" fmla="*/ 0 h 13"/>
                <a:gd name="T12" fmla="*/ 0 w 10"/>
                <a:gd name="T13" fmla="*/ 0 h 13"/>
                <a:gd name="T14" fmla="*/ 3 w 10"/>
                <a:gd name="T15" fmla="*/ 0 h 13"/>
                <a:gd name="T16" fmla="*/ 6 w 10"/>
                <a:gd name="T17" fmla="*/ 0 h 13"/>
                <a:gd name="T18" fmla="*/ 9 w 10"/>
                <a:gd name="T19" fmla="*/ 2 h 13"/>
                <a:gd name="T20" fmla="*/ 10 w 10"/>
                <a:gd name="T21" fmla="*/ 4 h 13"/>
                <a:gd name="T22" fmla="*/ 10 w 10"/>
                <a:gd name="T23" fmla="*/ 4 h 13"/>
                <a:gd name="T24" fmla="*/ 10 w 10"/>
                <a:gd name="T25" fmla="*/ 10 h 13"/>
                <a:gd name="T26" fmla="*/ 9 w 10"/>
                <a:gd name="T27" fmla="*/ 11 h 13"/>
                <a:gd name="T28" fmla="*/ 4 w 10"/>
                <a:gd name="T2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3">
                  <a:moveTo>
                    <a:pt x="4" y="13"/>
                  </a:moveTo>
                  <a:lnTo>
                    <a:pt x="4" y="13"/>
                  </a:lnTo>
                  <a:lnTo>
                    <a:pt x="3" y="11"/>
                  </a:lnTo>
                  <a:lnTo>
                    <a:pt x="2" y="7"/>
                  </a:lnTo>
                  <a:lnTo>
                    <a:pt x="0" y="1"/>
                  </a:lnTo>
                  <a:lnTo>
                    <a:pt x="0" y="0"/>
                  </a:lnTo>
                  <a:lnTo>
                    <a:pt x="0" y="0"/>
                  </a:lnTo>
                  <a:lnTo>
                    <a:pt x="3" y="0"/>
                  </a:lnTo>
                  <a:lnTo>
                    <a:pt x="6" y="0"/>
                  </a:lnTo>
                  <a:lnTo>
                    <a:pt x="9" y="2"/>
                  </a:lnTo>
                  <a:lnTo>
                    <a:pt x="10" y="4"/>
                  </a:lnTo>
                  <a:lnTo>
                    <a:pt x="10" y="4"/>
                  </a:lnTo>
                  <a:lnTo>
                    <a:pt x="10" y="10"/>
                  </a:lnTo>
                  <a:lnTo>
                    <a:pt x="9" y="11"/>
                  </a:lnTo>
                  <a:lnTo>
                    <a:pt x="4"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82" name="Freeform 1205"/>
            <p:cNvSpPr>
              <a:spLocks/>
            </p:cNvSpPr>
            <p:nvPr/>
          </p:nvSpPr>
          <p:spPr bwMode="auto">
            <a:xfrm>
              <a:off x="1754188" y="3134946"/>
              <a:ext cx="80963" cy="142875"/>
            </a:xfrm>
            <a:custGeom>
              <a:avLst/>
              <a:gdLst>
                <a:gd name="T0" fmla="*/ 51 w 51"/>
                <a:gd name="T1" fmla="*/ 83 h 90"/>
                <a:gd name="T2" fmla="*/ 48 w 51"/>
                <a:gd name="T3" fmla="*/ 90 h 90"/>
                <a:gd name="T4" fmla="*/ 45 w 51"/>
                <a:gd name="T5" fmla="*/ 90 h 90"/>
                <a:gd name="T6" fmla="*/ 42 w 51"/>
                <a:gd name="T7" fmla="*/ 87 h 90"/>
                <a:gd name="T8" fmla="*/ 44 w 51"/>
                <a:gd name="T9" fmla="*/ 77 h 90"/>
                <a:gd name="T10" fmla="*/ 44 w 51"/>
                <a:gd name="T11" fmla="*/ 73 h 90"/>
                <a:gd name="T12" fmla="*/ 46 w 51"/>
                <a:gd name="T13" fmla="*/ 70 h 90"/>
                <a:gd name="T14" fmla="*/ 45 w 51"/>
                <a:gd name="T15" fmla="*/ 68 h 90"/>
                <a:gd name="T16" fmla="*/ 44 w 51"/>
                <a:gd name="T17" fmla="*/ 67 h 90"/>
                <a:gd name="T18" fmla="*/ 44 w 51"/>
                <a:gd name="T19" fmla="*/ 60 h 90"/>
                <a:gd name="T20" fmla="*/ 42 w 51"/>
                <a:gd name="T21" fmla="*/ 60 h 90"/>
                <a:gd name="T22" fmla="*/ 36 w 51"/>
                <a:gd name="T23" fmla="*/ 64 h 90"/>
                <a:gd name="T24" fmla="*/ 35 w 51"/>
                <a:gd name="T25" fmla="*/ 63 h 90"/>
                <a:gd name="T26" fmla="*/ 38 w 51"/>
                <a:gd name="T27" fmla="*/ 51 h 90"/>
                <a:gd name="T28" fmla="*/ 36 w 51"/>
                <a:gd name="T29" fmla="*/ 50 h 90"/>
                <a:gd name="T30" fmla="*/ 32 w 51"/>
                <a:gd name="T31" fmla="*/ 50 h 90"/>
                <a:gd name="T32" fmla="*/ 25 w 51"/>
                <a:gd name="T33" fmla="*/ 51 h 90"/>
                <a:gd name="T34" fmla="*/ 22 w 51"/>
                <a:gd name="T35" fmla="*/ 48 h 90"/>
                <a:gd name="T36" fmla="*/ 12 w 51"/>
                <a:gd name="T37" fmla="*/ 31 h 90"/>
                <a:gd name="T38" fmla="*/ 10 w 51"/>
                <a:gd name="T39" fmla="*/ 28 h 90"/>
                <a:gd name="T40" fmla="*/ 12 w 51"/>
                <a:gd name="T41" fmla="*/ 23 h 90"/>
                <a:gd name="T42" fmla="*/ 10 w 51"/>
                <a:gd name="T43" fmla="*/ 22 h 90"/>
                <a:gd name="T44" fmla="*/ 3 w 51"/>
                <a:gd name="T45" fmla="*/ 21 h 90"/>
                <a:gd name="T46" fmla="*/ 0 w 51"/>
                <a:gd name="T47" fmla="*/ 18 h 90"/>
                <a:gd name="T48" fmla="*/ 3 w 51"/>
                <a:gd name="T49" fmla="*/ 6 h 90"/>
                <a:gd name="T50" fmla="*/ 6 w 51"/>
                <a:gd name="T51" fmla="*/ 0 h 90"/>
                <a:gd name="T52" fmla="*/ 7 w 51"/>
                <a:gd name="T53" fmla="*/ 0 h 90"/>
                <a:gd name="T54" fmla="*/ 19 w 51"/>
                <a:gd name="T55" fmla="*/ 0 h 90"/>
                <a:gd name="T56" fmla="*/ 22 w 51"/>
                <a:gd name="T57" fmla="*/ 2 h 90"/>
                <a:gd name="T58" fmla="*/ 26 w 51"/>
                <a:gd name="T59" fmla="*/ 8 h 90"/>
                <a:gd name="T60" fmla="*/ 28 w 51"/>
                <a:gd name="T61" fmla="*/ 12 h 90"/>
                <a:gd name="T62" fmla="*/ 35 w 51"/>
                <a:gd name="T63" fmla="*/ 31 h 90"/>
                <a:gd name="T64" fmla="*/ 36 w 51"/>
                <a:gd name="T65" fmla="*/ 38 h 90"/>
                <a:gd name="T66" fmla="*/ 39 w 51"/>
                <a:gd name="T67" fmla="*/ 47 h 90"/>
                <a:gd name="T68" fmla="*/ 44 w 51"/>
                <a:gd name="T69" fmla="*/ 51 h 90"/>
                <a:gd name="T70" fmla="*/ 45 w 51"/>
                <a:gd name="T71" fmla="*/ 57 h 90"/>
                <a:gd name="T72" fmla="*/ 48 w 51"/>
                <a:gd name="T73" fmla="*/ 61 h 90"/>
                <a:gd name="T74" fmla="*/ 51 w 51"/>
                <a:gd name="T75" fmla="*/ 67 h 90"/>
                <a:gd name="T76" fmla="*/ 51 w 51"/>
                <a:gd name="T77" fmla="*/ 68 h 90"/>
                <a:gd name="T78" fmla="*/ 49 w 51"/>
                <a:gd name="T79" fmla="*/ 68 h 90"/>
                <a:gd name="T80" fmla="*/ 51 w 51"/>
                <a:gd name="T81" fmla="*/ 7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 h="90">
                  <a:moveTo>
                    <a:pt x="51" y="83"/>
                  </a:moveTo>
                  <a:lnTo>
                    <a:pt x="51" y="83"/>
                  </a:lnTo>
                  <a:lnTo>
                    <a:pt x="49" y="89"/>
                  </a:lnTo>
                  <a:lnTo>
                    <a:pt x="48" y="90"/>
                  </a:lnTo>
                  <a:lnTo>
                    <a:pt x="45" y="90"/>
                  </a:lnTo>
                  <a:lnTo>
                    <a:pt x="45" y="90"/>
                  </a:lnTo>
                  <a:lnTo>
                    <a:pt x="44" y="89"/>
                  </a:lnTo>
                  <a:lnTo>
                    <a:pt x="42" y="87"/>
                  </a:lnTo>
                  <a:lnTo>
                    <a:pt x="42" y="81"/>
                  </a:lnTo>
                  <a:lnTo>
                    <a:pt x="44" y="77"/>
                  </a:lnTo>
                  <a:lnTo>
                    <a:pt x="44" y="73"/>
                  </a:lnTo>
                  <a:lnTo>
                    <a:pt x="44" y="73"/>
                  </a:lnTo>
                  <a:lnTo>
                    <a:pt x="45" y="71"/>
                  </a:lnTo>
                  <a:lnTo>
                    <a:pt x="46" y="70"/>
                  </a:lnTo>
                  <a:lnTo>
                    <a:pt x="46" y="70"/>
                  </a:lnTo>
                  <a:lnTo>
                    <a:pt x="45" y="68"/>
                  </a:lnTo>
                  <a:lnTo>
                    <a:pt x="44" y="67"/>
                  </a:lnTo>
                  <a:lnTo>
                    <a:pt x="44" y="67"/>
                  </a:lnTo>
                  <a:lnTo>
                    <a:pt x="44" y="61"/>
                  </a:lnTo>
                  <a:lnTo>
                    <a:pt x="44" y="60"/>
                  </a:lnTo>
                  <a:lnTo>
                    <a:pt x="42" y="60"/>
                  </a:lnTo>
                  <a:lnTo>
                    <a:pt x="42" y="60"/>
                  </a:lnTo>
                  <a:lnTo>
                    <a:pt x="38" y="64"/>
                  </a:lnTo>
                  <a:lnTo>
                    <a:pt x="36" y="64"/>
                  </a:lnTo>
                  <a:lnTo>
                    <a:pt x="35" y="63"/>
                  </a:lnTo>
                  <a:lnTo>
                    <a:pt x="35" y="63"/>
                  </a:lnTo>
                  <a:lnTo>
                    <a:pt x="38" y="55"/>
                  </a:lnTo>
                  <a:lnTo>
                    <a:pt x="38" y="51"/>
                  </a:lnTo>
                  <a:lnTo>
                    <a:pt x="36" y="51"/>
                  </a:lnTo>
                  <a:lnTo>
                    <a:pt x="36" y="50"/>
                  </a:lnTo>
                  <a:lnTo>
                    <a:pt x="36" y="50"/>
                  </a:lnTo>
                  <a:lnTo>
                    <a:pt x="32" y="50"/>
                  </a:lnTo>
                  <a:lnTo>
                    <a:pt x="29" y="51"/>
                  </a:lnTo>
                  <a:lnTo>
                    <a:pt x="25" y="51"/>
                  </a:lnTo>
                  <a:lnTo>
                    <a:pt x="22" y="48"/>
                  </a:lnTo>
                  <a:lnTo>
                    <a:pt x="22" y="48"/>
                  </a:lnTo>
                  <a:lnTo>
                    <a:pt x="15" y="38"/>
                  </a:lnTo>
                  <a:lnTo>
                    <a:pt x="12" y="31"/>
                  </a:lnTo>
                  <a:lnTo>
                    <a:pt x="10" y="28"/>
                  </a:lnTo>
                  <a:lnTo>
                    <a:pt x="10" y="28"/>
                  </a:lnTo>
                  <a:lnTo>
                    <a:pt x="10" y="25"/>
                  </a:lnTo>
                  <a:lnTo>
                    <a:pt x="12" y="23"/>
                  </a:lnTo>
                  <a:lnTo>
                    <a:pt x="13" y="22"/>
                  </a:lnTo>
                  <a:lnTo>
                    <a:pt x="10" y="22"/>
                  </a:lnTo>
                  <a:lnTo>
                    <a:pt x="10" y="22"/>
                  </a:lnTo>
                  <a:lnTo>
                    <a:pt x="3" y="21"/>
                  </a:lnTo>
                  <a:lnTo>
                    <a:pt x="0" y="19"/>
                  </a:lnTo>
                  <a:lnTo>
                    <a:pt x="0" y="18"/>
                  </a:lnTo>
                  <a:lnTo>
                    <a:pt x="0" y="18"/>
                  </a:lnTo>
                  <a:lnTo>
                    <a:pt x="3" y="6"/>
                  </a:lnTo>
                  <a:lnTo>
                    <a:pt x="6" y="2"/>
                  </a:lnTo>
                  <a:lnTo>
                    <a:pt x="6" y="0"/>
                  </a:lnTo>
                  <a:lnTo>
                    <a:pt x="7" y="0"/>
                  </a:lnTo>
                  <a:lnTo>
                    <a:pt x="7" y="0"/>
                  </a:lnTo>
                  <a:lnTo>
                    <a:pt x="13" y="0"/>
                  </a:lnTo>
                  <a:lnTo>
                    <a:pt x="19" y="0"/>
                  </a:lnTo>
                  <a:lnTo>
                    <a:pt x="19" y="0"/>
                  </a:lnTo>
                  <a:lnTo>
                    <a:pt x="22" y="2"/>
                  </a:lnTo>
                  <a:lnTo>
                    <a:pt x="25" y="5"/>
                  </a:lnTo>
                  <a:lnTo>
                    <a:pt x="26" y="8"/>
                  </a:lnTo>
                  <a:lnTo>
                    <a:pt x="28" y="12"/>
                  </a:lnTo>
                  <a:lnTo>
                    <a:pt x="28" y="12"/>
                  </a:lnTo>
                  <a:lnTo>
                    <a:pt x="30" y="22"/>
                  </a:lnTo>
                  <a:lnTo>
                    <a:pt x="35" y="31"/>
                  </a:lnTo>
                  <a:lnTo>
                    <a:pt x="35" y="31"/>
                  </a:lnTo>
                  <a:lnTo>
                    <a:pt x="36" y="38"/>
                  </a:lnTo>
                  <a:lnTo>
                    <a:pt x="36" y="42"/>
                  </a:lnTo>
                  <a:lnTo>
                    <a:pt x="39" y="47"/>
                  </a:lnTo>
                  <a:lnTo>
                    <a:pt x="39" y="47"/>
                  </a:lnTo>
                  <a:lnTo>
                    <a:pt x="44" y="51"/>
                  </a:lnTo>
                  <a:lnTo>
                    <a:pt x="45" y="54"/>
                  </a:lnTo>
                  <a:lnTo>
                    <a:pt x="45" y="57"/>
                  </a:lnTo>
                  <a:lnTo>
                    <a:pt x="45" y="57"/>
                  </a:lnTo>
                  <a:lnTo>
                    <a:pt x="48" y="61"/>
                  </a:lnTo>
                  <a:lnTo>
                    <a:pt x="51" y="67"/>
                  </a:lnTo>
                  <a:lnTo>
                    <a:pt x="51" y="67"/>
                  </a:lnTo>
                  <a:lnTo>
                    <a:pt x="51" y="67"/>
                  </a:lnTo>
                  <a:lnTo>
                    <a:pt x="51" y="68"/>
                  </a:lnTo>
                  <a:lnTo>
                    <a:pt x="49" y="68"/>
                  </a:lnTo>
                  <a:lnTo>
                    <a:pt x="49" y="68"/>
                  </a:lnTo>
                  <a:lnTo>
                    <a:pt x="49" y="68"/>
                  </a:lnTo>
                  <a:lnTo>
                    <a:pt x="51" y="76"/>
                  </a:lnTo>
                  <a:lnTo>
                    <a:pt x="51"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83" name="Freeform 1206"/>
            <p:cNvSpPr>
              <a:spLocks/>
            </p:cNvSpPr>
            <p:nvPr/>
          </p:nvSpPr>
          <p:spPr bwMode="auto">
            <a:xfrm>
              <a:off x="1841500" y="2609484"/>
              <a:ext cx="50800" cy="17463"/>
            </a:xfrm>
            <a:custGeom>
              <a:avLst/>
              <a:gdLst>
                <a:gd name="T0" fmla="*/ 7 w 32"/>
                <a:gd name="T1" fmla="*/ 10 h 11"/>
                <a:gd name="T2" fmla="*/ 7 w 32"/>
                <a:gd name="T3" fmla="*/ 10 h 11"/>
                <a:gd name="T4" fmla="*/ 4 w 32"/>
                <a:gd name="T5" fmla="*/ 10 h 11"/>
                <a:gd name="T6" fmla="*/ 2 w 32"/>
                <a:gd name="T7" fmla="*/ 7 h 11"/>
                <a:gd name="T8" fmla="*/ 0 w 32"/>
                <a:gd name="T9" fmla="*/ 4 h 11"/>
                <a:gd name="T10" fmla="*/ 0 w 32"/>
                <a:gd name="T11" fmla="*/ 3 h 11"/>
                <a:gd name="T12" fmla="*/ 0 w 32"/>
                <a:gd name="T13" fmla="*/ 3 h 11"/>
                <a:gd name="T14" fmla="*/ 6 w 32"/>
                <a:gd name="T15" fmla="*/ 0 h 11"/>
                <a:gd name="T16" fmla="*/ 13 w 32"/>
                <a:gd name="T17" fmla="*/ 0 h 11"/>
                <a:gd name="T18" fmla="*/ 13 w 32"/>
                <a:gd name="T19" fmla="*/ 0 h 11"/>
                <a:gd name="T20" fmla="*/ 19 w 32"/>
                <a:gd name="T21" fmla="*/ 3 h 11"/>
                <a:gd name="T22" fmla="*/ 26 w 32"/>
                <a:gd name="T23" fmla="*/ 5 h 11"/>
                <a:gd name="T24" fmla="*/ 31 w 32"/>
                <a:gd name="T25" fmla="*/ 10 h 11"/>
                <a:gd name="T26" fmla="*/ 32 w 32"/>
                <a:gd name="T27" fmla="*/ 10 h 11"/>
                <a:gd name="T28" fmla="*/ 32 w 32"/>
                <a:gd name="T29" fmla="*/ 11 h 11"/>
                <a:gd name="T30" fmla="*/ 32 w 32"/>
                <a:gd name="T31" fmla="*/ 11 h 11"/>
                <a:gd name="T32" fmla="*/ 19 w 32"/>
                <a:gd name="T33" fmla="*/ 8 h 11"/>
                <a:gd name="T34" fmla="*/ 19 w 32"/>
                <a:gd name="T35" fmla="*/ 8 h 11"/>
                <a:gd name="T36" fmla="*/ 7 w 32"/>
                <a:gd name="T3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11">
                  <a:moveTo>
                    <a:pt x="7" y="10"/>
                  </a:moveTo>
                  <a:lnTo>
                    <a:pt x="7" y="10"/>
                  </a:lnTo>
                  <a:lnTo>
                    <a:pt x="4" y="10"/>
                  </a:lnTo>
                  <a:lnTo>
                    <a:pt x="2" y="7"/>
                  </a:lnTo>
                  <a:lnTo>
                    <a:pt x="0" y="4"/>
                  </a:lnTo>
                  <a:lnTo>
                    <a:pt x="0" y="3"/>
                  </a:lnTo>
                  <a:lnTo>
                    <a:pt x="0" y="3"/>
                  </a:lnTo>
                  <a:lnTo>
                    <a:pt x="6" y="0"/>
                  </a:lnTo>
                  <a:lnTo>
                    <a:pt x="13" y="0"/>
                  </a:lnTo>
                  <a:lnTo>
                    <a:pt x="13" y="0"/>
                  </a:lnTo>
                  <a:lnTo>
                    <a:pt x="19" y="3"/>
                  </a:lnTo>
                  <a:lnTo>
                    <a:pt x="26" y="5"/>
                  </a:lnTo>
                  <a:lnTo>
                    <a:pt x="31" y="10"/>
                  </a:lnTo>
                  <a:lnTo>
                    <a:pt x="32" y="10"/>
                  </a:lnTo>
                  <a:lnTo>
                    <a:pt x="32" y="11"/>
                  </a:lnTo>
                  <a:lnTo>
                    <a:pt x="32" y="11"/>
                  </a:lnTo>
                  <a:lnTo>
                    <a:pt x="19" y="8"/>
                  </a:lnTo>
                  <a:lnTo>
                    <a:pt x="19" y="8"/>
                  </a:lnTo>
                  <a:lnTo>
                    <a:pt x="7"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84" name="Freeform 1207"/>
            <p:cNvSpPr>
              <a:spLocks/>
            </p:cNvSpPr>
            <p:nvPr/>
          </p:nvSpPr>
          <p:spPr bwMode="auto">
            <a:xfrm>
              <a:off x="1952625" y="3134946"/>
              <a:ext cx="22225" cy="14288"/>
            </a:xfrm>
            <a:custGeom>
              <a:avLst/>
              <a:gdLst>
                <a:gd name="T0" fmla="*/ 7 w 14"/>
                <a:gd name="T1" fmla="*/ 9 h 9"/>
                <a:gd name="T2" fmla="*/ 7 w 14"/>
                <a:gd name="T3" fmla="*/ 9 h 9"/>
                <a:gd name="T4" fmla="*/ 4 w 14"/>
                <a:gd name="T5" fmla="*/ 8 h 9"/>
                <a:gd name="T6" fmla="*/ 0 w 14"/>
                <a:gd name="T7" fmla="*/ 5 h 9"/>
                <a:gd name="T8" fmla="*/ 0 w 14"/>
                <a:gd name="T9" fmla="*/ 2 h 9"/>
                <a:gd name="T10" fmla="*/ 0 w 14"/>
                <a:gd name="T11" fmla="*/ 0 h 9"/>
                <a:gd name="T12" fmla="*/ 3 w 14"/>
                <a:gd name="T13" fmla="*/ 0 h 9"/>
                <a:gd name="T14" fmla="*/ 3 w 14"/>
                <a:gd name="T15" fmla="*/ 0 h 9"/>
                <a:gd name="T16" fmla="*/ 7 w 14"/>
                <a:gd name="T17" fmla="*/ 2 h 9"/>
                <a:gd name="T18" fmla="*/ 11 w 14"/>
                <a:gd name="T19" fmla="*/ 3 h 9"/>
                <a:gd name="T20" fmla="*/ 14 w 14"/>
                <a:gd name="T21" fmla="*/ 6 h 9"/>
                <a:gd name="T22" fmla="*/ 14 w 14"/>
                <a:gd name="T23" fmla="*/ 6 h 9"/>
                <a:gd name="T24" fmla="*/ 13 w 14"/>
                <a:gd name="T25" fmla="*/ 8 h 9"/>
                <a:gd name="T26" fmla="*/ 7 w 14"/>
                <a:gd name="T2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9">
                  <a:moveTo>
                    <a:pt x="7" y="9"/>
                  </a:moveTo>
                  <a:lnTo>
                    <a:pt x="7" y="9"/>
                  </a:lnTo>
                  <a:lnTo>
                    <a:pt x="4" y="8"/>
                  </a:lnTo>
                  <a:lnTo>
                    <a:pt x="0" y="5"/>
                  </a:lnTo>
                  <a:lnTo>
                    <a:pt x="0" y="2"/>
                  </a:lnTo>
                  <a:lnTo>
                    <a:pt x="0" y="0"/>
                  </a:lnTo>
                  <a:lnTo>
                    <a:pt x="3" y="0"/>
                  </a:lnTo>
                  <a:lnTo>
                    <a:pt x="3" y="0"/>
                  </a:lnTo>
                  <a:lnTo>
                    <a:pt x="7" y="2"/>
                  </a:lnTo>
                  <a:lnTo>
                    <a:pt x="11" y="3"/>
                  </a:lnTo>
                  <a:lnTo>
                    <a:pt x="14" y="6"/>
                  </a:lnTo>
                  <a:lnTo>
                    <a:pt x="14" y="6"/>
                  </a:lnTo>
                  <a:lnTo>
                    <a:pt x="13" y="8"/>
                  </a:lnTo>
                  <a:lnTo>
                    <a:pt x="7"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85" name="Freeform 1208"/>
            <p:cNvSpPr>
              <a:spLocks/>
            </p:cNvSpPr>
            <p:nvPr/>
          </p:nvSpPr>
          <p:spPr bwMode="auto">
            <a:xfrm>
              <a:off x="2030413" y="3287346"/>
              <a:ext cx="20638" cy="26988"/>
            </a:xfrm>
            <a:custGeom>
              <a:avLst/>
              <a:gdLst>
                <a:gd name="T0" fmla="*/ 9 w 13"/>
                <a:gd name="T1" fmla="*/ 17 h 17"/>
                <a:gd name="T2" fmla="*/ 9 w 13"/>
                <a:gd name="T3" fmla="*/ 17 h 17"/>
                <a:gd name="T4" fmla="*/ 6 w 13"/>
                <a:gd name="T5" fmla="*/ 17 h 17"/>
                <a:gd name="T6" fmla="*/ 4 w 13"/>
                <a:gd name="T7" fmla="*/ 14 h 17"/>
                <a:gd name="T8" fmla="*/ 1 w 13"/>
                <a:gd name="T9" fmla="*/ 10 h 17"/>
                <a:gd name="T10" fmla="*/ 0 w 13"/>
                <a:gd name="T11" fmla="*/ 3 h 17"/>
                <a:gd name="T12" fmla="*/ 0 w 13"/>
                <a:gd name="T13" fmla="*/ 1 h 17"/>
                <a:gd name="T14" fmla="*/ 1 w 13"/>
                <a:gd name="T15" fmla="*/ 0 h 17"/>
                <a:gd name="T16" fmla="*/ 1 w 13"/>
                <a:gd name="T17" fmla="*/ 0 h 17"/>
                <a:gd name="T18" fmla="*/ 3 w 13"/>
                <a:gd name="T19" fmla="*/ 0 h 17"/>
                <a:gd name="T20" fmla="*/ 6 w 13"/>
                <a:gd name="T21" fmla="*/ 1 h 17"/>
                <a:gd name="T22" fmla="*/ 9 w 13"/>
                <a:gd name="T23" fmla="*/ 4 h 17"/>
                <a:gd name="T24" fmla="*/ 11 w 13"/>
                <a:gd name="T25" fmla="*/ 7 h 17"/>
                <a:gd name="T26" fmla="*/ 11 w 13"/>
                <a:gd name="T27" fmla="*/ 7 h 17"/>
                <a:gd name="T28" fmla="*/ 13 w 13"/>
                <a:gd name="T29" fmla="*/ 10 h 17"/>
                <a:gd name="T30" fmla="*/ 13 w 13"/>
                <a:gd name="T31" fmla="*/ 13 h 17"/>
                <a:gd name="T32" fmla="*/ 11 w 13"/>
                <a:gd name="T33" fmla="*/ 16 h 17"/>
                <a:gd name="T34" fmla="*/ 9 w 13"/>
                <a:gd name="T35"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17">
                  <a:moveTo>
                    <a:pt x="9" y="17"/>
                  </a:moveTo>
                  <a:lnTo>
                    <a:pt x="9" y="17"/>
                  </a:lnTo>
                  <a:lnTo>
                    <a:pt x="6" y="17"/>
                  </a:lnTo>
                  <a:lnTo>
                    <a:pt x="4" y="14"/>
                  </a:lnTo>
                  <a:lnTo>
                    <a:pt x="1" y="10"/>
                  </a:lnTo>
                  <a:lnTo>
                    <a:pt x="0" y="3"/>
                  </a:lnTo>
                  <a:lnTo>
                    <a:pt x="0" y="1"/>
                  </a:lnTo>
                  <a:lnTo>
                    <a:pt x="1" y="0"/>
                  </a:lnTo>
                  <a:lnTo>
                    <a:pt x="1" y="0"/>
                  </a:lnTo>
                  <a:lnTo>
                    <a:pt x="3" y="0"/>
                  </a:lnTo>
                  <a:lnTo>
                    <a:pt x="6" y="1"/>
                  </a:lnTo>
                  <a:lnTo>
                    <a:pt x="9" y="4"/>
                  </a:lnTo>
                  <a:lnTo>
                    <a:pt x="11" y="7"/>
                  </a:lnTo>
                  <a:lnTo>
                    <a:pt x="11" y="7"/>
                  </a:lnTo>
                  <a:lnTo>
                    <a:pt x="13" y="10"/>
                  </a:lnTo>
                  <a:lnTo>
                    <a:pt x="13" y="13"/>
                  </a:lnTo>
                  <a:lnTo>
                    <a:pt x="11" y="16"/>
                  </a:lnTo>
                  <a:lnTo>
                    <a:pt x="9"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86" name="Freeform 1209"/>
            <p:cNvSpPr>
              <a:spLocks/>
            </p:cNvSpPr>
            <p:nvPr/>
          </p:nvSpPr>
          <p:spPr bwMode="auto">
            <a:xfrm>
              <a:off x="2590800" y="3101609"/>
              <a:ext cx="60325" cy="36513"/>
            </a:xfrm>
            <a:custGeom>
              <a:avLst/>
              <a:gdLst>
                <a:gd name="T0" fmla="*/ 29 w 38"/>
                <a:gd name="T1" fmla="*/ 23 h 23"/>
                <a:gd name="T2" fmla="*/ 29 w 38"/>
                <a:gd name="T3" fmla="*/ 23 h 23"/>
                <a:gd name="T4" fmla="*/ 28 w 38"/>
                <a:gd name="T5" fmla="*/ 20 h 23"/>
                <a:gd name="T6" fmla="*/ 26 w 38"/>
                <a:gd name="T7" fmla="*/ 18 h 23"/>
                <a:gd name="T8" fmla="*/ 26 w 38"/>
                <a:gd name="T9" fmla="*/ 17 h 23"/>
                <a:gd name="T10" fmla="*/ 22 w 38"/>
                <a:gd name="T11" fmla="*/ 16 h 23"/>
                <a:gd name="T12" fmla="*/ 22 w 38"/>
                <a:gd name="T13" fmla="*/ 16 h 23"/>
                <a:gd name="T14" fmla="*/ 8 w 38"/>
                <a:gd name="T15" fmla="*/ 8 h 23"/>
                <a:gd name="T16" fmla="*/ 2 w 38"/>
                <a:gd name="T17" fmla="*/ 4 h 23"/>
                <a:gd name="T18" fmla="*/ 0 w 38"/>
                <a:gd name="T19" fmla="*/ 2 h 23"/>
                <a:gd name="T20" fmla="*/ 0 w 38"/>
                <a:gd name="T21" fmla="*/ 1 h 23"/>
                <a:gd name="T22" fmla="*/ 0 w 38"/>
                <a:gd name="T23" fmla="*/ 1 h 23"/>
                <a:gd name="T24" fmla="*/ 5 w 38"/>
                <a:gd name="T25" fmla="*/ 0 h 23"/>
                <a:gd name="T26" fmla="*/ 9 w 38"/>
                <a:gd name="T27" fmla="*/ 0 h 23"/>
                <a:gd name="T28" fmla="*/ 18 w 38"/>
                <a:gd name="T29" fmla="*/ 2 h 23"/>
                <a:gd name="T30" fmla="*/ 18 w 38"/>
                <a:gd name="T31" fmla="*/ 2 h 23"/>
                <a:gd name="T32" fmla="*/ 28 w 38"/>
                <a:gd name="T33" fmla="*/ 7 h 23"/>
                <a:gd name="T34" fmla="*/ 35 w 38"/>
                <a:gd name="T35" fmla="*/ 11 h 23"/>
                <a:gd name="T36" fmla="*/ 38 w 38"/>
                <a:gd name="T37" fmla="*/ 14 h 23"/>
                <a:gd name="T38" fmla="*/ 38 w 38"/>
                <a:gd name="T39" fmla="*/ 14 h 23"/>
                <a:gd name="T40" fmla="*/ 38 w 38"/>
                <a:gd name="T41" fmla="*/ 17 h 23"/>
                <a:gd name="T42" fmla="*/ 36 w 38"/>
                <a:gd name="T43" fmla="*/ 21 h 23"/>
                <a:gd name="T44" fmla="*/ 32 w 38"/>
                <a:gd name="T45" fmla="*/ 23 h 23"/>
                <a:gd name="T46" fmla="*/ 29 w 38"/>
                <a:gd name="T4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 h="23">
                  <a:moveTo>
                    <a:pt x="29" y="23"/>
                  </a:moveTo>
                  <a:lnTo>
                    <a:pt x="29" y="23"/>
                  </a:lnTo>
                  <a:lnTo>
                    <a:pt x="28" y="20"/>
                  </a:lnTo>
                  <a:lnTo>
                    <a:pt x="26" y="18"/>
                  </a:lnTo>
                  <a:lnTo>
                    <a:pt x="26" y="17"/>
                  </a:lnTo>
                  <a:lnTo>
                    <a:pt x="22" y="16"/>
                  </a:lnTo>
                  <a:lnTo>
                    <a:pt x="22" y="16"/>
                  </a:lnTo>
                  <a:lnTo>
                    <a:pt x="8" y="8"/>
                  </a:lnTo>
                  <a:lnTo>
                    <a:pt x="2" y="4"/>
                  </a:lnTo>
                  <a:lnTo>
                    <a:pt x="0" y="2"/>
                  </a:lnTo>
                  <a:lnTo>
                    <a:pt x="0" y="1"/>
                  </a:lnTo>
                  <a:lnTo>
                    <a:pt x="0" y="1"/>
                  </a:lnTo>
                  <a:lnTo>
                    <a:pt x="5" y="0"/>
                  </a:lnTo>
                  <a:lnTo>
                    <a:pt x="9" y="0"/>
                  </a:lnTo>
                  <a:lnTo>
                    <a:pt x="18" y="2"/>
                  </a:lnTo>
                  <a:lnTo>
                    <a:pt x="18" y="2"/>
                  </a:lnTo>
                  <a:lnTo>
                    <a:pt x="28" y="7"/>
                  </a:lnTo>
                  <a:lnTo>
                    <a:pt x="35" y="11"/>
                  </a:lnTo>
                  <a:lnTo>
                    <a:pt x="38" y="14"/>
                  </a:lnTo>
                  <a:lnTo>
                    <a:pt x="38" y="14"/>
                  </a:lnTo>
                  <a:lnTo>
                    <a:pt x="38" y="17"/>
                  </a:lnTo>
                  <a:lnTo>
                    <a:pt x="36" y="21"/>
                  </a:lnTo>
                  <a:lnTo>
                    <a:pt x="32" y="23"/>
                  </a:lnTo>
                  <a:lnTo>
                    <a:pt x="29"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87" name="Freeform 1211"/>
            <p:cNvSpPr>
              <a:spLocks/>
            </p:cNvSpPr>
            <p:nvPr/>
          </p:nvSpPr>
          <p:spPr bwMode="auto">
            <a:xfrm>
              <a:off x="2630488" y="3080179"/>
              <a:ext cx="68263" cy="42863"/>
            </a:xfrm>
            <a:custGeom>
              <a:avLst/>
              <a:gdLst>
                <a:gd name="T0" fmla="*/ 43 w 43"/>
                <a:gd name="T1" fmla="*/ 18 h 27"/>
                <a:gd name="T2" fmla="*/ 43 w 43"/>
                <a:gd name="T3" fmla="*/ 18 h 27"/>
                <a:gd name="T4" fmla="*/ 40 w 43"/>
                <a:gd name="T5" fmla="*/ 21 h 27"/>
                <a:gd name="T6" fmla="*/ 38 w 43"/>
                <a:gd name="T7" fmla="*/ 21 h 27"/>
                <a:gd name="T8" fmla="*/ 36 w 43"/>
                <a:gd name="T9" fmla="*/ 21 h 27"/>
                <a:gd name="T10" fmla="*/ 36 w 43"/>
                <a:gd name="T11" fmla="*/ 21 h 27"/>
                <a:gd name="T12" fmla="*/ 30 w 43"/>
                <a:gd name="T13" fmla="*/ 23 h 27"/>
                <a:gd name="T14" fmla="*/ 27 w 43"/>
                <a:gd name="T15" fmla="*/ 24 h 27"/>
                <a:gd name="T16" fmla="*/ 27 w 43"/>
                <a:gd name="T17" fmla="*/ 24 h 27"/>
                <a:gd name="T18" fmla="*/ 25 w 43"/>
                <a:gd name="T19" fmla="*/ 26 h 27"/>
                <a:gd name="T20" fmla="*/ 22 w 43"/>
                <a:gd name="T21" fmla="*/ 27 h 27"/>
                <a:gd name="T22" fmla="*/ 22 w 43"/>
                <a:gd name="T23" fmla="*/ 24 h 27"/>
                <a:gd name="T24" fmla="*/ 22 w 43"/>
                <a:gd name="T25" fmla="*/ 24 h 27"/>
                <a:gd name="T26" fmla="*/ 22 w 43"/>
                <a:gd name="T27" fmla="*/ 20 h 27"/>
                <a:gd name="T28" fmla="*/ 20 w 43"/>
                <a:gd name="T29" fmla="*/ 17 h 27"/>
                <a:gd name="T30" fmla="*/ 20 w 43"/>
                <a:gd name="T31" fmla="*/ 17 h 27"/>
                <a:gd name="T32" fmla="*/ 14 w 43"/>
                <a:gd name="T33" fmla="*/ 15 h 27"/>
                <a:gd name="T34" fmla="*/ 9 w 43"/>
                <a:gd name="T35" fmla="*/ 15 h 27"/>
                <a:gd name="T36" fmla="*/ 9 w 43"/>
                <a:gd name="T37" fmla="*/ 15 h 27"/>
                <a:gd name="T38" fmla="*/ 3 w 43"/>
                <a:gd name="T39" fmla="*/ 14 h 27"/>
                <a:gd name="T40" fmla="*/ 1 w 43"/>
                <a:gd name="T41" fmla="*/ 13 h 27"/>
                <a:gd name="T42" fmla="*/ 0 w 43"/>
                <a:gd name="T43" fmla="*/ 10 h 27"/>
                <a:gd name="T44" fmla="*/ 0 w 43"/>
                <a:gd name="T45" fmla="*/ 10 h 27"/>
                <a:gd name="T46" fmla="*/ 0 w 43"/>
                <a:gd name="T47" fmla="*/ 7 h 27"/>
                <a:gd name="T48" fmla="*/ 1 w 43"/>
                <a:gd name="T49" fmla="*/ 5 h 27"/>
                <a:gd name="T50" fmla="*/ 3 w 43"/>
                <a:gd name="T51" fmla="*/ 7 h 27"/>
                <a:gd name="T52" fmla="*/ 3 w 43"/>
                <a:gd name="T53" fmla="*/ 7 h 27"/>
                <a:gd name="T54" fmla="*/ 10 w 43"/>
                <a:gd name="T55" fmla="*/ 8 h 27"/>
                <a:gd name="T56" fmla="*/ 14 w 43"/>
                <a:gd name="T57" fmla="*/ 10 h 27"/>
                <a:gd name="T58" fmla="*/ 16 w 43"/>
                <a:gd name="T59" fmla="*/ 8 h 27"/>
                <a:gd name="T60" fmla="*/ 16 w 43"/>
                <a:gd name="T61" fmla="*/ 8 h 27"/>
                <a:gd name="T62" fmla="*/ 16 w 43"/>
                <a:gd name="T63" fmla="*/ 7 h 27"/>
                <a:gd name="T64" fmla="*/ 14 w 43"/>
                <a:gd name="T65" fmla="*/ 4 h 27"/>
                <a:gd name="T66" fmla="*/ 14 w 43"/>
                <a:gd name="T67" fmla="*/ 1 h 27"/>
                <a:gd name="T68" fmla="*/ 16 w 43"/>
                <a:gd name="T69" fmla="*/ 0 h 27"/>
                <a:gd name="T70" fmla="*/ 16 w 43"/>
                <a:gd name="T71" fmla="*/ 0 h 27"/>
                <a:gd name="T72" fmla="*/ 20 w 43"/>
                <a:gd name="T73" fmla="*/ 2 h 27"/>
                <a:gd name="T74" fmla="*/ 25 w 43"/>
                <a:gd name="T75" fmla="*/ 5 h 27"/>
                <a:gd name="T76" fmla="*/ 27 w 43"/>
                <a:gd name="T77" fmla="*/ 8 h 27"/>
                <a:gd name="T78" fmla="*/ 30 w 43"/>
                <a:gd name="T79" fmla="*/ 11 h 27"/>
                <a:gd name="T80" fmla="*/ 30 w 43"/>
                <a:gd name="T81" fmla="*/ 11 h 27"/>
                <a:gd name="T82" fmla="*/ 35 w 43"/>
                <a:gd name="T83" fmla="*/ 11 h 27"/>
                <a:gd name="T84" fmla="*/ 39 w 43"/>
                <a:gd name="T85" fmla="*/ 11 h 27"/>
                <a:gd name="T86" fmla="*/ 42 w 43"/>
                <a:gd name="T87" fmla="*/ 11 h 27"/>
                <a:gd name="T88" fmla="*/ 43 w 43"/>
                <a:gd name="T89" fmla="*/ 13 h 27"/>
                <a:gd name="T90" fmla="*/ 43 w 43"/>
                <a:gd name="T91" fmla="*/ 14 h 27"/>
                <a:gd name="T92" fmla="*/ 43 w 43"/>
                <a:gd name="T93" fmla="*/ 1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27">
                  <a:moveTo>
                    <a:pt x="43" y="18"/>
                  </a:moveTo>
                  <a:lnTo>
                    <a:pt x="43" y="18"/>
                  </a:lnTo>
                  <a:lnTo>
                    <a:pt x="40" y="21"/>
                  </a:lnTo>
                  <a:lnTo>
                    <a:pt x="38" y="21"/>
                  </a:lnTo>
                  <a:lnTo>
                    <a:pt x="36" y="21"/>
                  </a:lnTo>
                  <a:lnTo>
                    <a:pt x="36" y="21"/>
                  </a:lnTo>
                  <a:lnTo>
                    <a:pt x="30" y="23"/>
                  </a:lnTo>
                  <a:lnTo>
                    <a:pt x="27" y="24"/>
                  </a:lnTo>
                  <a:lnTo>
                    <a:pt x="27" y="24"/>
                  </a:lnTo>
                  <a:lnTo>
                    <a:pt x="25" y="26"/>
                  </a:lnTo>
                  <a:lnTo>
                    <a:pt x="22" y="27"/>
                  </a:lnTo>
                  <a:lnTo>
                    <a:pt x="22" y="24"/>
                  </a:lnTo>
                  <a:lnTo>
                    <a:pt x="22" y="24"/>
                  </a:lnTo>
                  <a:lnTo>
                    <a:pt x="22" y="20"/>
                  </a:lnTo>
                  <a:lnTo>
                    <a:pt x="20" y="17"/>
                  </a:lnTo>
                  <a:lnTo>
                    <a:pt x="20" y="17"/>
                  </a:lnTo>
                  <a:lnTo>
                    <a:pt x="14" y="15"/>
                  </a:lnTo>
                  <a:lnTo>
                    <a:pt x="9" y="15"/>
                  </a:lnTo>
                  <a:lnTo>
                    <a:pt x="9" y="15"/>
                  </a:lnTo>
                  <a:lnTo>
                    <a:pt x="3" y="14"/>
                  </a:lnTo>
                  <a:lnTo>
                    <a:pt x="1" y="13"/>
                  </a:lnTo>
                  <a:lnTo>
                    <a:pt x="0" y="10"/>
                  </a:lnTo>
                  <a:lnTo>
                    <a:pt x="0" y="10"/>
                  </a:lnTo>
                  <a:lnTo>
                    <a:pt x="0" y="7"/>
                  </a:lnTo>
                  <a:lnTo>
                    <a:pt x="1" y="5"/>
                  </a:lnTo>
                  <a:lnTo>
                    <a:pt x="3" y="7"/>
                  </a:lnTo>
                  <a:lnTo>
                    <a:pt x="3" y="7"/>
                  </a:lnTo>
                  <a:lnTo>
                    <a:pt x="10" y="8"/>
                  </a:lnTo>
                  <a:lnTo>
                    <a:pt x="14" y="10"/>
                  </a:lnTo>
                  <a:lnTo>
                    <a:pt x="16" y="8"/>
                  </a:lnTo>
                  <a:lnTo>
                    <a:pt x="16" y="8"/>
                  </a:lnTo>
                  <a:lnTo>
                    <a:pt x="16" y="7"/>
                  </a:lnTo>
                  <a:lnTo>
                    <a:pt x="14" y="4"/>
                  </a:lnTo>
                  <a:lnTo>
                    <a:pt x="14" y="1"/>
                  </a:lnTo>
                  <a:lnTo>
                    <a:pt x="16" y="0"/>
                  </a:lnTo>
                  <a:lnTo>
                    <a:pt x="16" y="0"/>
                  </a:lnTo>
                  <a:lnTo>
                    <a:pt x="20" y="2"/>
                  </a:lnTo>
                  <a:lnTo>
                    <a:pt x="25" y="5"/>
                  </a:lnTo>
                  <a:lnTo>
                    <a:pt x="27" y="8"/>
                  </a:lnTo>
                  <a:lnTo>
                    <a:pt x="30" y="11"/>
                  </a:lnTo>
                  <a:lnTo>
                    <a:pt x="30" y="11"/>
                  </a:lnTo>
                  <a:lnTo>
                    <a:pt x="35" y="11"/>
                  </a:lnTo>
                  <a:lnTo>
                    <a:pt x="39" y="11"/>
                  </a:lnTo>
                  <a:lnTo>
                    <a:pt x="42" y="11"/>
                  </a:lnTo>
                  <a:lnTo>
                    <a:pt x="43" y="13"/>
                  </a:lnTo>
                  <a:lnTo>
                    <a:pt x="43" y="14"/>
                  </a:lnTo>
                  <a:lnTo>
                    <a:pt x="43"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88" name="Freeform 1218"/>
            <p:cNvSpPr>
              <a:spLocks/>
            </p:cNvSpPr>
            <p:nvPr/>
          </p:nvSpPr>
          <p:spPr bwMode="auto">
            <a:xfrm>
              <a:off x="2763838" y="4497816"/>
              <a:ext cx="14288" cy="14288"/>
            </a:xfrm>
            <a:custGeom>
              <a:avLst/>
              <a:gdLst>
                <a:gd name="T0" fmla="*/ 9 w 9"/>
                <a:gd name="T1" fmla="*/ 6 h 9"/>
                <a:gd name="T2" fmla="*/ 9 w 9"/>
                <a:gd name="T3" fmla="*/ 6 h 9"/>
                <a:gd name="T4" fmla="*/ 7 w 9"/>
                <a:gd name="T5" fmla="*/ 9 h 9"/>
                <a:gd name="T6" fmla="*/ 3 w 9"/>
                <a:gd name="T7" fmla="*/ 9 h 9"/>
                <a:gd name="T8" fmla="*/ 1 w 9"/>
                <a:gd name="T9" fmla="*/ 8 h 9"/>
                <a:gd name="T10" fmla="*/ 0 w 9"/>
                <a:gd name="T11" fmla="*/ 5 h 9"/>
                <a:gd name="T12" fmla="*/ 0 w 9"/>
                <a:gd name="T13" fmla="*/ 5 h 9"/>
                <a:gd name="T14" fmla="*/ 1 w 9"/>
                <a:gd name="T15" fmla="*/ 2 h 9"/>
                <a:gd name="T16" fmla="*/ 3 w 9"/>
                <a:gd name="T17" fmla="*/ 0 h 9"/>
                <a:gd name="T18" fmla="*/ 6 w 9"/>
                <a:gd name="T19" fmla="*/ 0 h 9"/>
                <a:gd name="T20" fmla="*/ 9 w 9"/>
                <a:gd name="T21" fmla="*/ 2 h 9"/>
                <a:gd name="T22" fmla="*/ 9 w 9"/>
                <a:gd name="T23" fmla="*/ 3 h 9"/>
                <a:gd name="T24" fmla="*/ 9 w 9"/>
                <a:gd name="T25"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9">
                  <a:moveTo>
                    <a:pt x="9" y="6"/>
                  </a:moveTo>
                  <a:lnTo>
                    <a:pt x="9" y="6"/>
                  </a:lnTo>
                  <a:lnTo>
                    <a:pt x="7" y="9"/>
                  </a:lnTo>
                  <a:lnTo>
                    <a:pt x="3" y="9"/>
                  </a:lnTo>
                  <a:lnTo>
                    <a:pt x="1" y="8"/>
                  </a:lnTo>
                  <a:lnTo>
                    <a:pt x="0" y="5"/>
                  </a:lnTo>
                  <a:lnTo>
                    <a:pt x="0" y="5"/>
                  </a:lnTo>
                  <a:lnTo>
                    <a:pt x="1" y="2"/>
                  </a:lnTo>
                  <a:lnTo>
                    <a:pt x="3" y="0"/>
                  </a:lnTo>
                  <a:lnTo>
                    <a:pt x="6" y="0"/>
                  </a:lnTo>
                  <a:lnTo>
                    <a:pt x="9" y="2"/>
                  </a:lnTo>
                  <a:lnTo>
                    <a:pt x="9" y="3"/>
                  </a:lnTo>
                  <a:lnTo>
                    <a:pt x="9" y="6"/>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89" name="Freeform 1219"/>
            <p:cNvSpPr>
              <a:spLocks/>
            </p:cNvSpPr>
            <p:nvPr/>
          </p:nvSpPr>
          <p:spPr bwMode="auto">
            <a:xfrm>
              <a:off x="2763838" y="4497816"/>
              <a:ext cx="14288" cy="14288"/>
            </a:xfrm>
            <a:custGeom>
              <a:avLst/>
              <a:gdLst>
                <a:gd name="T0" fmla="*/ 9 w 9"/>
                <a:gd name="T1" fmla="*/ 6 h 9"/>
                <a:gd name="T2" fmla="*/ 9 w 9"/>
                <a:gd name="T3" fmla="*/ 6 h 9"/>
                <a:gd name="T4" fmla="*/ 7 w 9"/>
                <a:gd name="T5" fmla="*/ 9 h 9"/>
                <a:gd name="T6" fmla="*/ 3 w 9"/>
                <a:gd name="T7" fmla="*/ 9 h 9"/>
                <a:gd name="T8" fmla="*/ 1 w 9"/>
                <a:gd name="T9" fmla="*/ 8 h 9"/>
                <a:gd name="T10" fmla="*/ 0 w 9"/>
                <a:gd name="T11" fmla="*/ 5 h 9"/>
                <a:gd name="T12" fmla="*/ 0 w 9"/>
                <a:gd name="T13" fmla="*/ 5 h 9"/>
                <a:gd name="T14" fmla="*/ 1 w 9"/>
                <a:gd name="T15" fmla="*/ 2 h 9"/>
                <a:gd name="T16" fmla="*/ 3 w 9"/>
                <a:gd name="T17" fmla="*/ 0 h 9"/>
                <a:gd name="T18" fmla="*/ 6 w 9"/>
                <a:gd name="T19" fmla="*/ 0 h 9"/>
                <a:gd name="T20" fmla="*/ 9 w 9"/>
                <a:gd name="T21" fmla="*/ 2 h 9"/>
                <a:gd name="T22" fmla="*/ 9 w 9"/>
                <a:gd name="T23" fmla="*/ 3 h 9"/>
                <a:gd name="T24" fmla="*/ 9 w 9"/>
                <a:gd name="T25"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9">
                  <a:moveTo>
                    <a:pt x="9" y="6"/>
                  </a:moveTo>
                  <a:lnTo>
                    <a:pt x="9" y="6"/>
                  </a:lnTo>
                  <a:lnTo>
                    <a:pt x="7" y="9"/>
                  </a:lnTo>
                  <a:lnTo>
                    <a:pt x="3" y="9"/>
                  </a:lnTo>
                  <a:lnTo>
                    <a:pt x="1" y="8"/>
                  </a:lnTo>
                  <a:lnTo>
                    <a:pt x="0" y="5"/>
                  </a:lnTo>
                  <a:lnTo>
                    <a:pt x="0" y="5"/>
                  </a:lnTo>
                  <a:lnTo>
                    <a:pt x="1" y="2"/>
                  </a:lnTo>
                  <a:lnTo>
                    <a:pt x="3" y="0"/>
                  </a:lnTo>
                  <a:lnTo>
                    <a:pt x="6" y="0"/>
                  </a:lnTo>
                  <a:lnTo>
                    <a:pt x="9" y="2"/>
                  </a:lnTo>
                  <a:lnTo>
                    <a:pt x="9" y="3"/>
                  </a:lnTo>
                  <a:lnTo>
                    <a:pt x="9"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90" name="Freeform 1335"/>
            <p:cNvSpPr>
              <a:spLocks/>
            </p:cNvSpPr>
            <p:nvPr/>
          </p:nvSpPr>
          <p:spPr bwMode="auto">
            <a:xfrm>
              <a:off x="363538" y="4234291"/>
              <a:ext cx="31750" cy="38100"/>
            </a:xfrm>
            <a:custGeom>
              <a:avLst/>
              <a:gdLst>
                <a:gd name="T0" fmla="*/ 6 w 20"/>
                <a:gd name="T1" fmla="*/ 20 h 24"/>
                <a:gd name="T2" fmla="*/ 6 w 20"/>
                <a:gd name="T3" fmla="*/ 19 h 24"/>
                <a:gd name="T4" fmla="*/ 6 w 20"/>
                <a:gd name="T5" fmla="*/ 19 h 24"/>
                <a:gd name="T6" fmla="*/ 6 w 20"/>
                <a:gd name="T7" fmla="*/ 13 h 24"/>
                <a:gd name="T8" fmla="*/ 6 w 20"/>
                <a:gd name="T9" fmla="*/ 10 h 24"/>
                <a:gd name="T10" fmla="*/ 4 w 20"/>
                <a:gd name="T11" fmla="*/ 5 h 24"/>
                <a:gd name="T12" fmla="*/ 4 w 20"/>
                <a:gd name="T13" fmla="*/ 4 h 24"/>
                <a:gd name="T14" fmla="*/ 6 w 20"/>
                <a:gd name="T15" fmla="*/ 5 h 24"/>
                <a:gd name="T16" fmla="*/ 4 w 20"/>
                <a:gd name="T17" fmla="*/ 5 h 24"/>
                <a:gd name="T18" fmla="*/ 4 w 20"/>
                <a:gd name="T19" fmla="*/ 5 h 24"/>
                <a:gd name="T20" fmla="*/ 4 w 20"/>
                <a:gd name="T21" fmla="*/ 4 h 24"/>
                <a:gd name="T22" fmla="*/ 6 w 20"/>
                <a:gd name="T23" fmla="*/ 5 h 24"/>
                <a:gd name="T24" fmla="*/ 6 w 20"/>
                <a:gd name="T25" fmla="*/ 5 h 24"/>
                <a:gd name="T26" fmla="*/ 13 w 20"/>
                <a:gd name="T27" fmla="*/ 8 h 24"/>
                <a:gd name="T28" fmla="*/ 14 w 20"/>
                <a:gd name="T29" fmla="*/ 11 h 24"/>
                <a:gd name="T30" fmla="*/ 16 w 20"/>
                <a:gd name="T31" fmla="*/ 11 h 24"/>
                <a:gd name="T32" fmla="*/ 16 w 20"/>
                <a:gd name="T33" fmla="*/ 11 h 24"/>
                <a:gd name="T34" fmla="*/ 16 w 20"/>
                <a:gd name="T35" fmla="*/ 11 h 24"/>
                <a:gd name="T36" fmla="*/ 16 w 20"/>
                <a:gd name="T37" fmla="*/ 11 h 24"/>
                <a:gd name="T38" fmla="*/ 16 w 20"/>
                <a:gd name="T39" fmla="*/ 11 h 24"/>
                <a:gd name="T40" fmla="*/ 16 w 20"/>
                <a:gd name="T41" fmla="*/ 11 h 24"/>
                <a:gd name="T42" fmla="*/ 16 w 20"/>
                <a:gd name="T43" fmla="*/ 11 h 24"/>
                <a:gd name="T44" fmla="*/ 10 w 20"/>
                <a:gd name="T45" fmla="*/ 17 h 24"/>
                <a:gd name="T46" fmla="*/ 6 w 20"/>
                <a:gd name="T47" fmla="*/ 20 h 24"/>
                <a:gd name="T48" fmla="*/ 6 w 20"/>
                <a:gd name="T49" fmla="*/ 20 h 24"/>
                <a:gd name="T50" fmla="*/ 6 w 20"/>
                <a:gd name="T51" fmla="*/ 20 h 24"/>
                <a:gd name="T52" fmla="*/ 6 w 20"/>
                <a:gd name="T53" fmla="*/ 20 h 24"/>
                <a:gd name="T54" fmla="*/ 3 w 20"/>
                <a:gd name="T55" fmla="*/ 24 h 24"/>
                <a:gd name="T56" fmla="*/ 6 w 20"/>
                <a:gd name="T57" fmla="*/ 24 h 24"/>
                <a:gd name="T58" fmla="*/ 10 w 20"/>
                <a:gd name="T59" fmla="*/ 23 h 24"/>
                <a:gd name="T60" fmla="*/ 16 w 20"/>
                <a:gd name="T61" fmla="*/ 19 h 24"/>
                <a:gd name="T62" fmla="*/ 19 w 20"/>
                <a:gd name="T63" fmla="*/ 16 h 24"/>
                <a:gd name="T64" fmla="*/ 20 w 20"/>
                <a:gd name="T65" fmla="*/ 11 h 24"/>
                <a:gd name="T66" fmla="*/ 19 w 20"/>
                <a:gd name="T67" fmla="*/ 8 h 24"/>
                <a:gd name="T68" fmla="*/ 14 w 20"/>
                <a:gd name="T69" fmla="*/ 3 h 24"/>
                <a:gd name="T70" fmla="*/ 7 w 20"/>
                <a:gd name="T71" fmla="*/ 0 h 24"/>
                <a:gd name="T72" fmla="*/ 7 w 20"/>
                <a:gd name="T73" fmla="*/ 0 h 24"/>
                <a:gd name="T74" fmla="*/ 6 w 20"/>
                <a:gd name="T75" fmla="*/ 0 h 24"/>
                <a:gd name="T76" fmla="*/ 1 w 20"/>
                <a:gd name="T77" fmla="*/ 3 h 24"/>
                <a:gd name="T78" fmla="*/ 0 w 20"/>
                <a:gd name="T79" fmla="*/ 5 h 24"/>
                <a:gd name="T80" fmla="*/ 0 w 20"/>
                <a:gd name="T81" fmla="*/ 11 h 24"/>
                <a:gd name="T82" fmla="*/ 1 w 20"/>
                <a:gd name="T83" fmla="*/ 13 h 24"/>
                <a:gd name="T84" fmla="*/ 0 w 20"/>
                <a:gd name="T85" fmla="*/ 19 h 24"/>
                <a:gd name="T86" fmla="*/ 1 w 20"/>
                <a:gd name="T87" fmla="*/ 21 h 24"/>
                <a:gd name="T88" fmla="*/ 3 w 20"/>
                <a:gd name="T89" fmla="*/ 24 h 24"/>
                <a:gd name="T90" fmla="*/ 4 w 20"/>
                <a:gd name="T91"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 h="24">
                  <a:moveTo>
                    <a:pt x="4" y="21"/>
                  </a:moveTo>
                  <a:lnTo>
                    <a:pt x="6" y="20"/>
                  </a:lnTo>
                  <a:lnTo>
                    <a:pt x="6" y="19"/>
                  </a:lnTo>
                  <a:lnTo>
                    <a:pt x="6" y="19"/>
                  </a:lnTo>
                  <a:lnTo>
                    <a:pt x="6" y="19"/>
                  </a:lnTo>
                  <a:lnTo>
                    <a:pt x="6" y="19"/>
                  </a:lnTo>
                  <a:lnTo>
                    <a:pt x="6" y="13"/>
                  </a:lnTo>
                  <a:lnTo>
                    <a:pt x="6" y="13"/>
                  </a:lnTo>
                  <a:lnTo>
                    <a:pt x="6" y="10"/>
                  </a:lnTo>
                  <a:lnTo>
                    <a:pt x="6" y="10"/>
                  </a:lnTo>
                  <a:lnTo>
                    <a:pt x="4" y="5"/>
                  </a:lnTo>
                  <a:lnTo>
                    <a:pt x="4" y="5"/>
                  </a:lnTo>
                  <a:lnTo>
                    <a:pt x="6" y="5"/>
                  </a:lnTo>
                  <a:lnTo>
                    <a:pt x="4" y="4"/>
                  </a:lnTo>
                  <a:lnTo>
                    <a:pt x="4" y="5"/>
                  </a:lnTo>
                  <a:lnTo>
                    <a:pt x="6" y="5"/>
                  </a:lnTo>
                  <a:lnTo>
                    <a:pt x="4" y="4"/>
                  </a:lnTo>
                  <a:lnTo>
                    <a:pt x="4" y="5"/>
                  </a:lnTo>
                  <a:lnTo>
                    <a:pt x="4" y="4"/>
                  </a:lnTo>
                  <a:lnTo>
                    <a:pt x="4" y="5"/>
                  </a:lnTo>
                  <a:lnTo>
                    <a:pt x="4" y="5"/>
                  </a:lnTo>
                  <a:lnTo>
                    <a:pt x="4" y="4"/>
                  </a:lnTo>
                  <a:lnTo>
                    <a:pt x="4" y="5"/>
                  </a:lnTo>
                  <a:lnTo>
                    <a:pt x="6" y="5"/>
                  </a:lnTo>
                  <a:lnTo>
                    <a:pt x="6" y="5"/>
                  </a:lnTo>
                  <a:lnTo>
                    <a:pt x="6" y="5"/>
                  </a:lnTo>
                  <a:lnTo>
                    <a:pt x="6" y="5"/>
                  </a:lnTo>
                  <a:lnTo>
                    <a:pt x="13" y="8"/>
                  </a:lnTo>
                  <a:lnTo>
                    <a:pt x="13" y="8"/>
                  </a:lnTo>
                  <a:lnTo>
                    <a:pt x="14" y="11"/>
                  </a:lnTo>
                  <a:lnTo>
                    <a:pt x="16" y="11"/>
                  </a:lnTo>
                  <a:lnTo>
                    <a:pt x="16" y="11"/>
                  </a:lnTo>
                  <a:lnTo>
                    <a:pt x="16" y="11"/>
                  </a:lnTo>
                  <a:lnTo>
                    <a:pt x="16" y="11"/>
                  </a:lnTo>
                  <a:lnTo>
                    <a:pt x="16" y="11"/>
                  </a:lnTo>
                  <a:lnTo>
                    <a:pt x="16" y="11"/>
                  </a:lnTo>
                  <a:lnTo>
                    <a:pt x="16" y="11"/>
                  </a:lnTo>
                  <a:lnTo>
                    <a:pt x="16" y="11"/>
                  </a:lnTo>
                  <a:lnTo>
                    <a:pt x="16" y="11"/>
                  </a:lnTo>
                  <a:lnTo>
                    <a:pt x="16" y="11"/>
                  </a:lnTo>
                  <a:lnTo>
                    <a:pt x="16" y="11"/>
                  </a:lnTo>
                  <a:lnTo>
                    <a:pt x="16" y="11"/>
                  </a:lnTo>
                  <a:lnTo>
                    <a:pt x="16" y="11"/>
                  </a:lnTo>
                  <a:lnTo>
                    <a:pt x="16" y="11"/>
                  </a:lnTo>
                  <a:lnTo>
                    <a:pt x="10" y="17"/>
                  </a:lnTo>
                  <a:lnTo>
                    <a:pt x="10" y="17"/>
                  </a:lnTo>
                  <a:lnTo>
                    <a:pt x="7" y="19"/>
                  </a:lnTo>
                  <a:lnTo>
                    <a:pt x="6" y="20"/>
                  </a:lnTo>
                  <a:lnTo>
                    <a:pt x="6" y="20"/>
                  </a:lnTo>
                  <a:lnTo>
                    <a:pt x="6" y="20"/>
                  </a:lnTo>
                  <a:lnTo>
                    <a:pt x="6" y="20"/>
                  </a:lnTo>
                  <a:lnTo>
                    <a:pt x="6" y="20"/>
                  </a:lnTo>
                  <a:lnTo>
                    <a:pt x="6" y="20"/>
                  </a:lnTo>
                  <a:lnTo>
                    <a:pt x="6" y="20"/>
                  </a:lnTo>
                  <a:lnTo>
                    <a:pt x="4" y="21"/>
                  </a:lnTo>
                  <a:lnTo>
                    <a:pt x="3" y="24"/>
                  </a:lnTo>
                  <a:lnTo>
                    <a:pt x="3" y="24"/>
                  </a:lnTo>
                  <a:lnTo>
                    <a:pt x="6" y="24"/>
                  </a:lnTo>
                  <a:lnTo>
                    <a:pt x="6" y="24"/>
                  </a:lnTo>
                  <a:lnTo>
                    <a:pt x="10" y="23"/>
                  </a:lnTo>
                  <a:lnTo>
                    <a:pt x="10" y="23"/>
                  </a:lnTo>
                  <a:lnTo>
                    <a:pt x="16" y="19"/>
                  </a:lnTo>
                  <a:lnTo>
                    <a:pt x="16" y="19"/>
                  </a:lnTo>
                  <a:lnTo>
                    <a:pt x="19" y="16"/>
                  </a:lnTo>
                  <a:lnTo>
                    <a:pt x="19" y="16"/>
                  </a:lnTo>
                  <a:lnTo>
                    <a:pt x="20" y="11"/>
                  </a:lnTo>
                  <a:lnTo>
                    <a:pt x="20" y="11"/>
                  </a:lnTo>
                  <a:lnTo>
                    <a:pt x="19" y="8"/>
                  </a:lnTo>
                  <a:lnTo>
                    <a:pt x="19" y="8"/>
                  </a:lnTo>
                  <a:lnTo>
                    <a:pt x="14" y="3"/>
                  </a:lnTo>
                  <a:lnTo>
                    <a:pt x="7" y="0"/>
                  </a:lnTo>
                  <a:lnTo>
                    <a:pt x="7" y="0"/>
                  </a:lnTo>
                  <a:lnTo>
                    <a:pt x="7" y="0"/>
                  </a:lnTo>
                  <a:lnTo>
                    <a:pt x="7" y="0"/>
                  </a:lnTo>
                  <a:lnTo>
                    <a:pt x="6" y="0"/>
                  </a:lnTo>
                  <a:lnTo>
                    <a:pt x="6" y="0"/>
                  </a:lnTo>
                  <a:lnTo>
                    <a:pt x="3" y="0"/>
                  </a:lnTo>
                  <a:lnTo>
                    <a:pt x="1" y="3"/>
                  </a:lnTo>
                  <a:lnTo>
                    <a:pt x="1" y="3"/>
                  </a:lnTo>
                  <a:lnTo>
                    <a:pt x="0" y="5"/>
                  </a:lnTo>
                  <a:lnTo>
                    <a:pt x="0" y="5"/>
                  </a:lnTo>
                  <a:lnTo>
                    <a:pt x="0" y="11"/>
                  </a:lnTo>
                  <a:lnTo>
                    <a:pt x="0" y="11"/>
                  </a:lnTo>
                  <a:lnTo>
                    <a:pt x="1" y="13"/>
                  </a:lnTo>
                  <a:lnTo>
                    <a:pt x="1" y="13"/>
                  </a:lnTo>
                  <a:lnTo>
                    <a:pt x="0" y="19"/>
                  </a:lnTo>
                  <a:lnTo>
                    <a:pt x="0" y="19"/>
                  </a:lnTo>
                  <a:lnTo>
                    <a:pt x="1" y="21"/>
                  </a:lnTo>
                  <a:lnTo>
                    <a:pt x="1" y="21"/>
                  </a:lnTo>
                  <a:lnTo>
                    <a:pt x="3" y="24"/>
                  </a:lnTo>
                  <a:lnTo>
                    <a:pt x="3" y="24"/>
                  </a:lnTo>
                  <a:lnTo>
                    <a:pt x="4"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91" name="Freeform 1336"/>
            <p:cNvSpPr>
              <a:spLocks/>
            </p:cNvSpPr>
            <p:nvPr/>
          </p:nvSpPr>
          <p:spPr bwMode="auto">
            <a:xfrm>
              <a:off x="2493963" y="6323441"/>
              <a:ext cx="146050" cy="111125"/>
            </a:xfrm>
            <a:custGeom>
              <a:avLst/>
              <a:gdLst>
                <a:gd name="T0" fmla="*/ 90 w 92"/>
                <a:gd name="T1" fmla="*/ 63 h 70"/>
                <a:gd name="T2" fmla="*/ 69 w 92"/>
                <a:gd name="T3" fmla="*/ 51 h 70"/>
                <a:gd name="T4" fmla="*/ 64 w 92"/>
                <a:gd name="T5" fmla="*/ 48 h 70"/>
                <a:gd name="T6" fmla="*/ 55 w 92"/>
                <a:gd name="T7" fmla="*/ 38 h 70"/>
                <a:gd name="T8" fmla="*/ 47 w 92"/>
                <a:gd name="T9" fmla="*/ 28 h 70"/>
                <a:gd name="T10" fmla="*/ 45 w 92"/>
                <a:gd name="T11" fmla="*/ 25 h 70"/>
                <a:gd name="T12" fmla="*/ 41 w 92"/>
                <a:gd name="T13" fmla="*/ 22 h 70"/>
                <a:gd name="T14" fmla="*/ 41 w 92"/>
                <a:gd name="T15" fmla="*/ 19 h 70"/>
                <a:gd name="T16" fmla="*/ 44 w 92"/>
                <a:gd name="T17" fmla="*/ 15 h 70"/>
                <a:gd name="T18" fmla="*/ 42 w 92"/>
                <a:gd name="T19" fmla="*/ 8 h 70"/>
                <a:gd name="T20" fmla="*/ 38 w 92"/>
                <a:gd name="T21" fmla="*/ 3 h 70"/>
                <a:gd name="T22" fmla="*/ 34 w 92"/>
                <a:gd name="T23" fmla="*/ 0 h 70"/>
                <a:gd name="T24" fmla="*/ 32 w 92"/>
                <a:gd name="T25" fmla="*/ 2 h 70"/>
                <a:gd name="T26" fmla="*/ 29 w 92"/>
                <a:gd name="T27" fmla="*/ 8 h 70"/>
                <a:gd name="T28" fmla="*/ 28 w 92"/>
                <a:gd name="T29" fmla="*/ 8 h 70"/>
                <a:gd name="T30" fmla="*/ 25 w 92"/>
                <a:gd name="T31" fmla="*/ 3 h 70"/>
                <a:gd name="T32" fmla="*/ 24 w 92"/>
                <a:gd name="T33" fmla="*/ 2 h 70"/>
                <a:gd name="T34" fmla="*/ 21 w 92"/>
                <a:gd name="T35" fmla="*/ 6 h 70"/>
                <a:gd name="T36" fmla="*/ 16 w 92"/>
                <a:gd name="T37" fmla="*/ 9 h 70"/>
                <a:gd name="T38" fmla="*/ 15 w 92"/>
                <a:gd name="T39" fmla="*/ 10 h 70"/>
                <a:gd name="T40" fmla="*/ 15 w 92"/>
                <a:gd name="T41" fmla="*/ 15 h 70"/>
                <a:gd name="T42" fmla="*/ 19 w 92"/>
                <a:gd name="T43" fmla="*/ 16 h 70"/>
                <a:gd name="T44" fmla="*/ 24 w 92"/>
                <a:gd name="T45" fmla="*/ 19 h 70"/>
                <a:gd name="T46" fmla="*/ 28 w 92"/>
                <a:gd name="T47" fmla="*/ 25 h 70"/>
                <a:gd name="T48" fmla="*/ 27 w 92"/>
                <a:gd name="T49" fmla="*/ 26 h 70"/>
                <a:gd name="T50" fmla="*/ 15 w 92"/>
                <a:gd name="T51" fmla="*/ 35 h 70"/>
                <a:gd name="T52" fmla="*/ 13 w 92"/>
                <a:gd name="T53" fmla="*/ 35 h 70"/>
                <a:gd name="T54" fmla="*/ 13 w 92"/>
                <a:gd name="T55" fmla="*/ 39 h 70"/>
                <a:gd name="T56" fmla="*/ 16 w 92"/>
                <a:gd name="T57" fmla="*/ 42 h 70"/>
                <a:gd name="T58" fmla="*/ 28 w 92"/>
                <a:gd name="T59" fmla="*/ 51 h 70"/>
                <a:gd name="T60" fmla="*/ 27 w 92"/>
                <a:gd name="T61" fmla="*/ 52 h 70"/>
                <a:gd name="T62" fmla="*/ 16 w 92"/>
                <a:gd name="T63" fmla="*/ 50 h 70"/>
                <a:gd name="T64" fmla="*/ 15 w 92"/>
                <a:gd name="T65" fmla="*/ 51 h 70"/>
                <a:gd name="T66" fmla="*/ 13 w 92"/>
                <a:gd name="T67" fmla="*/ 54 h 70"/>
                <a:gd name="T68" fmla="*/ 12 w 92"/>
                <a:gd name="T69" fmla="*/ 54 h 70"/>
                <a:gd name="T70" fmla="*/ 3 w 92"/>
                <a:gd name="T71" fmla="*/ 51 h 70"/>
                <a:gd name="T72" fmla="*/ 2 w 92"/>
                <a:gd name="T73" fmla="*/ 52 h 70"/>
                <a:gd name="T74" fmla="*/ 0 w 92"/>
                <a:gd name="T75" fmla="*/ 58 h 70"/>
                <a:gd name="T76" fmla="*/ 2 w 92"/>
                <a:gd name="T77" fmla="*/ 63 h 70"/>
                <a:gd name="T78" fmla="*/ 6 w 92"/>
                <a:gd name="T79" fmla="*/ 63 h 70"/>
                <a:gd name="T80" fmla="*/ 13 w 92"/>
                <a:gd name="T81" fmla="*/ 63 h 70"/>
                <a:gd name="T82" fmla="*/ 16 w 92"/>
                <a:gd name="T83" fmla="*/ 64 h 70"/>
                <a:gd name="T84" fmla="*/ 25 w 92"/>
                <a:gd name="T85" fmla="*/ 66 h 70"/>
                <a:gd name="T86" fmla="*/ 34 w 92"/>
                <a:gd name="T87" fmla="*/ 66 h 70"/>
                <a:gd name="T88" fmla="*/ 54 w 92"/>
                <a:gd name="T89" fmla="*/ 66 h 70"/>
                <a:gd name="T90" fmla="*/ 60 w 92"/>
                <a:gd name="T91" fmla="*/ 66 h 70"/>
                <a:gd name="T92" fmla="*/ 74 w 92"/>
                <a:gd name="T93" fmla="*/ 70 h 70"/>
                <a:gd name="T94" fmla="*/ 79 w 92"/>
                <a:gd name="T95" fmla="*/ 67 h 70"/>
                <a:gd name="T96" fmla="*/ 84 w 92"/>
                <a:gd name="T97" fmla="*/ 66 h 70"/>
                <a:gd name="T98" fmla="*/ 90 w 92"/>
                <a:gd name="T99" fmla="*/ 66 h 70"/>
                <a:gd name="T100" fmla="*/ 90 w 92"/>
                <a:gd name="T101" fmla="*/ 6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 h="70">
                  <a:moveTo>
                    <a:pt x="90" y="63"/>
                  </a:moveTo>
                  <a:lnTo>
                    <a:pt x="90" y="63"/>
                  </a:lnTo>
                  <a:lnTo>
                    <a:pt x="76" y="55"/>
                  </a:lnTo>
                  <a:lnTo>
                    <a:pt x="69" y="51"/>
                  </a:lnTo>
                  <a:lnTo>
                    <a:pt x="64" y="48"/>
                  </a:lnTo>
                  <a:lnTo>
                    <a:pt x="64" y="48"/>
                  </a:lnTo>
                  <a:lnTo>
                    <a:pt x="60" y="42"/>
                  </a:lnTo>
                  <a:lnTo>
                    <a:pt x="55" y="38"/>
                  </a:lnTo>
                  <a:lnTo>
                    <a:pt x="50" y="32"/>
                  </a:lnTo>
                  <a:lnTo>
                    <a:pt x="47" y="28"/>
                  </a:lnTo>
                  <a:lnTo>
                    <a:pt x="47" y="28"/>
                  </a:lnTo>
                  <a:lnTo>
                    <a:pt x="45" y="25"/>
                  </a:lnTo>
                  <a:lnTo>
                    <a:pt x="42" y="24"/>
                  </a:lnTo>
                  <a:lnTo>
                    <a:pt x="41" y="22"/>
                  </a:lnTo>
                  <a:lnTo>
                    <a:pt x="41" y="19"/>
                  </a:lnTo>
                  <a:lnTo>
                    <a:pt x="41" y="19"/>
                  </a:lnTo>
                  <a:lnTo>
                    <a:pt x="42" y="16"/>
                  </a:lnTo>
                  <a:lnTo>
                    <a:pt x="44" y="15"/>
                  </a:lnTo>
                  <a:lnTo>
                    <a:pt x="44" y="12"/>
                  </a:lnTo>
                  <a:lnTo>
                    <a:pt x="42" y="8"/>
                  </a:lnTo>
                  <a:lnTo>
                    <a:pt x="42" y="8"/>
                  </a:lnTo>
                  <a:lnTo>
                    <a:pt x="38" y="3"/>
                  </a:lnTo>
                  <a:lnTo>
                    <a:pt x="37" y="0"/>
                  </a:lnTo>
                  <a:lnTo>
                    <a:pt x="34" y="0"/>
                  </a:lnTo>
                  <a:lnTo>
                    <a:pt x="32" y="2"/>
                  </a:lnTo>
                  <a:lnTo>
                    <a:pt x="32" y="2"/>
                  </a:lnTo>
                  <a:lnTo>
                    <a:pt x="31" y="6"/>
                  </a:lnTo>
                  <a:lnTo>
                    <a:pt x="29" y="8"/>
                  </a:lnTo>
                  <a:lnTo>
                    <a:pt x="28" y="8"/>
                  </a:lnTo>
                  <a:lnTo>
                    <a:pt x="28" y="8"/>
                  </a:lnTo>
                  <a:lnTo>
                    <a:pt x="27" y="5"/>
                  </a:lnTo>
                  <a:lnTo>
                    <a:pt x="25" y="3"/>
                  </a:lnTo>
                  <a:lnTo>
                    <a:pt x="25" y="2"/>
                  </a:lnTo>
                  <a:lnTo>
                    <a:pt x="24" y="2"/>
                  </a:lnTo>
                  <a:lnTo>
                    <a:pt x="24" y="2"/>
                  </a:lnTo>
                  <a:lnTo>
                    <a:pt x="21" y="6"/>
                  </a:lnTo>
                  <a:lnTo>
                    <a:pt x="16" y="9"/>
                  </a:lnTo>
                  <a:lnTo>
                    <a:pt x="16" y="9"/>
                  </a:lnTo>
                  <a:lnTo>
                    <a:pt x="15" y="9"/>
                  </a:lnTo>
                  <a:lnTo>
                    <a:pt x="15" y="10"/>
                  </a:lnTo>
                  <a:lnTo>
                    <a:pt x="15" y="12"/>
                  </a:lnTo>
                  <a:lnTo>
                    <a:pt x="15" y="15"/>
                  </a:lnTo>
                  <a:lnTo>
                    <a:pt x="15" y="15"/>
                  </a:lnTo>
                  <a:lnTo>
                    <a:pt x="19" y="16"/>
                  </a:lnTo>
                  <a:lnTo>
                    <a:pt x="24" y="19"/>
                  </a:lnTo>
                  <a:lnTo>
                    <a:pt x="24" y="19"/>
                  </a:lnTo>
                  <a:lnTo>
                    <a:pt x="28" y="22"/>
                  </a:lnTo>
                  <a:lnTo>
                    <a:pt x="28" y="25"/>
                  </a:lnTo>
                  <a:lnTo>
                    <a:pt x="27" y="26"/>
                  </a:lnTo>
                  <a:lnTo>
                    <a:pt x="27" y="26"/>
                  </a:lnTo>
                  <a:lnTo>
                    <a:pt x="21" y="32"/>
                  </a:lnTo>
                  <a:lnTo>
                    <a:pt x="15" y="35"/>
                  </a:lnTo>
                  <a:lnTo>
                    <a:pt x="15" y="35"/>
                  </a:lnTo>
                  <a:lnTo>
                    <a:pt x="13" y="35"/>
                  </a:lnTo>
                  <a:lnTo>
                    <a:pt x="13" y="38"/>
                  </a:lnTo>
                  <a:lnTo>
                    <a:pt x="13" y="39"/>
                  </a:lnTo>
                  <a:lnTo>
                    <a:pt x="16" y="42"/>
                  </a:lnTo>
                  <a:lnTo>
                    <a:pt x="16" y="42"/>
                  </a:lnTo>
                  <a:lnTo>
                    <a:pt x="25" y="50"/>
                  </a:lnTo>
                  <a:lnTo>
                    <a:pt x="28" y="51"/>
                  </a:lnTo>
                  <a:lnTo>
                    <a:pt x="27" y="52"/>
                  </a:lnTo>
                  <a:lnTo>
                    <a:pt x="27" y="52"/>
                  </a:lnTo>
                  <a:lnTo>
                    <a:pt x="21" y="51"/>
                  </a:lnTo>
                  <a:lnTo>
                    <a:pt x="16" y="50"/>
                  </a:lnTo>
                  <a:lnTo>
                    <a:pt x="15" y="51"/>
                  </a:lnTo>
                  <a:lnTo>
                    <a:pt x="15" y="51"/>
                  </a:lnTo>
                  <a:lnTo>
                    <a:pt x="13" y="54"/>
                  </a:lnTo>
                  <a:lnTo>
                    <a:pt x="13" y="54"/>
                  </a:lnTo>
                  <a:lnTo>
                    <a:pt x="12" y="54"/>
                  </a:lnTo>
                  <a:lnTo>
                    <a:pt x="12" y="54"/>
                  </a:lnTo>
                  <a:lnTo>
                    <a:pt x="6" y="52"/>
                  </a:lnTo>
                  <a:lnTo>
                    <a:pt x="3" y="51"/>
                  </a:lnTo>
                  <a:lnTo>
                    <a:pt x="2" y="52"/>
                  </a:lnTo>
                  <a:lnTo>
                    <a:pt x="2" y="52"/>
                  </a:lnTo>
                  <a:lnTo>
                    <a:pt x="0" y="54"/>
                  </a:lnTo>
                  <a:lnTo>
                    <a:pt x="0" y="58"/>
                  </a:lnTo>
                  <a:lnTo>
                    <a:pt x="0" y="61"/>
                  </a:lnTo>
                  <a:lnTo>
                    <a:pt x="2" y="63"/>
                  </a:lnTo>
                  <a:lnTo>
                    <a:pt x="2" y="63"/>
                  </a:lnTo>
                  <a:lnTo>
                    <a:pt x="6" y="63"/>
                  </a:lnTo>
                  <a:lnTo>
                    <a:pt x="9" y="63"/>
                  </a:lnTo>
                  <a:lnTo>
                    <a:pt x="13" y="63"/>
                  </a:lnTo>
                  <a:lnTo>
                    <a:pt x="16" y="64"/>
                  </a:lnTo>
                  <a:lnTo>
                    <a:pt x="16" y="64"/>
                  </a:lnTo>
                  <a:lnTo>
                    <a:pt x="21" y="66"/>
                  </a:lnTo>
                  <a:lnTo>
                    <a:pt x="25" y="66"/>
                  </a:lnTo>
                  <a:lnTo>
                    <a:pt x="34" y="66"/>
                  </a:lnTo>
                  <a:lnTo>
                    <a:pt x="34" y="66"/>
                  </a:lnTo>
                  <a:lnTo>
                    <a:pt x="47" y="66"/>
                  </a:lnTo>
                  <a:lnTo>
                    <a:pt x="54" y="66"/>
                  </a:lnTo>
                  <a:lnTo>
                    <a:pt x="60" y="66"/>
                  </a:lnTo>
                  <a:lnTo>
                    <a:pt x="60" y="66"/>
                  </a:lnTo>
                  <a:lnTo>
                    <a:pt x="67" y="68"/>
                  </a:lnTo>
                  <a:lnTo>
                    <a:pt x="74" y="70"/>
                  </a:lnTo>
                  <a:lnTo>
                    <a:pt x="74" y="70"/>
                  </a:lnTo>
                  <a:lnTo>
                    <a:pt x="79" y="67"/>
                  </a:lnTo>
                  <a:lnTo>
                    <a:pt x="82" y="67"/>
                  </a:lnTo>
                  <a:lnTo>
                    <a:pt x="84" y="66"/>
                  </a:lnTo>
                  <a:lnTo>
                    <a:pt x="84" y="66"/>
                  </a:lnTo>
                  <a:lnTo>
                    <a:pt x="90" y="66"/>
                  </a:lnTo>
                  <a:lnTo>
                    <a:pt x="92" y="64"/>
                  </a:lnTo>
                  <a:lnTo>
                    <a:pt x="90" y="63"/>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92" name="Freeform 1337"/>
            <p:cNvSpPr>
              <a:spLocks/>
            </p:cNvSpPr>
            <p:nvPr/>
          </p:nvSpPr>
          <p:spPr bwMode="auto">
            <a:xfrm>
              <a:off x="2493963" y="6323441"/>
              <a:ext cx="146050" cy="111125"/>
            </a:xfrm>
            <a:custGeom>
              <a:avLst/>
              <a:gdLst>
                <a:gd name="T0" fmla="*/ 90 w 92"/>
                <a:gd name="T1" fmla="*/ 63 h 70"/>
                <a:gd name="T2" fmla="*/ 69 w 92"/>
                <a:gd name="T3" fmla="*/ 51 h 70"/>
                <a:gd name="T4" fmla="*/ 64 w 92"/>
                <a:gd name="T5" fmla="*/ 48 h 70"/>
                <a:gd name="T6" fmla="*/ 55 w 92"/>
                <a:gd name="T7" fmla="*/ 38 h 70"/>
                <a:gd name="T8" fmla="*/ 47 w 92"/>
                <a:gd name="T9" fmla="*/ 28 h 70"/>
                <a:gd name="T10" fmla="*/ 45 w 92"/>
                <a:gd name="T11" fmla="*/ 25 h 70"/>
                <a:gd name="T12" fmla="*/ 41 w 92"/>
                <a:gd name="T13" fmla="*/ 22 h 70"/>
                <a:gd name="T14" fmla="*/ 41 w 92"/>
                <a:gd name="T15" fmla="*/ 19 h 70"/>
                <a:gd name="T16" fmla="*/ 44 w 92"/>
                <a:gd name="T17" fmla="*/ 15 h 70"/>
                <a:gd name="T18" fmla="*/ 42 w 92"/>
                <a:gd name="T19" fmla="*/ 8 h 70"/>
                <a:gd name="T20" fmla="*/ 38 w 92"/>
                <a:gd name="T21" fmla="*/ 3 h 70"/>
                <a:gd name="T22" fmla="*/ 34 w 92"/>
                <a:gd name="T23" fmla="*/ 0 h 70"/>
                <a:gd name="T24" fmla="*/ 32 w 92"/>
                <a:gd name="T25" fmla="*/ 2 h 70"/>
                <a:gd name="T26" fmla="*/ 29 w 92"/>
                <a:gd name="T27" fmla="*/ 8 h 70"/>
                <a:gd name="T28" fmla="*/ 28 w 92"/>
                <a:gd name="T29" fmla="*/ 8 h 70"/>
                <a:gd name="T30" fmla="*/ 25 w 92"/>
                <a:gd name="T31" fmla="*/ 3 h 70"/>
                <a:gd name="T32" fmla="*/ 24 w 92"/>
                <a:gd name="T33" fmla="*/ 2 h 70"/>
                <a:gd name="T34" fmla="*/ 21 w 92"/>
                <a:gd name="T35" fmla="*/ 6 h 70"/>
                <a:gd name="T36" fmla="*/ 16 w 92"/>
                <a:gd name="T37" fmla="*/ 9 h 70"/>
                <a:gd name="T38" fmla="*/ 15 w 92"/>
                <a:gd name="T39" fmla="*/ 10 h 70"/>
                <a:gd name="T40" fmla="*/ 15 w 92"/>
                <a:gd name="T41" fmla="*/ 15 h 70"/>
                <a:gd name="T42" fmla="*/ 19 w 92"/>
                <a:gd name="T43" fmla="*/ 16 h 70"/>
                <a:gd name="T44" fmla="*/ 24 w 92"/>
                <a:gd name="T45" fmla="*/ 19 h 70"/>
                <a:gd name="T46" fmla="*/ 28 w 92"/>
                <a:gd name="T47" fmla="*/ 25 h 70"/>
                <a:gd name="T48" fmla="*/ 27 w 92"/>
                <a:gd name="T49" fmla="*/ 26 h 70"/>
                <a:gd name="T50" fmla="*/ 15 w 92"/>
                <a:gd name="T51" fmla="*/ 35 h 70"/>
                <a:gd name="T52" fmla="*/ 13 w 92"/>
                <a:gd name="T53" fmla="*/ 35 h 70"/>
                <a:gd name="T54" fmla="*/ 13 w 92"/>
                <a:gd name="T55" fmla="*/ 39 h 70"/>
                <a:gd name="T56" fmla="*/ 16 w 92"/>
                <a:gd name="T57" fmla="*/ 42 h 70"/>
                <a:gd name="T58" fmla="*/ 28 w 92"/>
                <a:gd name="T59" fmla="*/ 51 h 70"/>
                <a:gd name="T60" fmla="*/ 27 w 92"/>
                <a:gd name="T61" fmla="*/ 52 h 70"/>
                <a:gd name="T62" fmla="*/ 16 w 92"/>
                <a:gd name="T63" fmla="*/ 50 h 70"/>
                <a:gd name="T64" fmla="*/ 15 w 92"/>
                <a:gd name="T65" fmla="*/ 51 h 70"/>
                <a:gd name="T66" fmla="*/ 13 w 92"/>
                <a:gd name="T67" fmla="*/ 54 h 70"/>
                <a:gd name="T68" fmla="*/ 12 w 92"/>
                <a:gd name="T69" fmla="*/ 54 h 70"/>
                <a:gd name="T70" fmla="*/ 3 w 92"/>
                <a:gd name="T71" fmla="*/ 51 h 70"/>
                <a:gd name="T72" fmla="*/ 2 w 92"/>
                <a:gd name="T73" fmla="*/ 52 h 70"/>
                <a:gd name="T74" fmla="*/ 0 w 92"/>
                <a:gd name="T75" fmla="*/ 58 h 70"/>
                <a:gd name="T76" fmla="*/ 2 w 92"/>
                <a:gd name="T77" fmla="*/ 63 h 70"/>
                <a:gd name="T78" fmla="*/ 6 w 92"/>
                <a:gd name="T79" fmla="*/ 63 h 70"/>
                <a:gd name="T80" fmla="*/ 13 w 92"/>
                <a:gd name="T81" fmla="*/ 63 h 70"/>
                <a:gd name="T82" fmla="*/ 16 w 92"/>
                <a:gd name="T83" fmla="*/ 64 h 70"/>
                <a:gd name="T84" fmla="*/ 25 w 92"/>
                <a:gd name="T85" fmla="*/ 66 h 70"/>
                <a:gd name="T86" fmla="*/ 34 w 92"/>
                <a:gd name="T87" fmla="*/ 66 h 70"/>
                <a:gd name="T88" fmla="*/ 54 w 92"/>
                <a:gd name="T89" fmla="*/ 66 h 70"/>
                <a:gd name="T90" fmla="*/ 60 w 92"/>
                <a:gd name="T91" fmla="*/ 66 h 70"/>
                <a:gd name="T92" fmla="*/ 74 w 92"/>
                <a:gd name="T93" fmla="*/ 70 h 70"/>
                <a:gd name="T94" fmla="*/ 79 w 92"/>
                <a:gd name="T95" fmla="*/ 67 h 70"/>
                <a:gd name="T96" fmla="*/ 84 w 92"/>
                <a:gd name="T97" fmla="*/ 66 h 70"/>
                <a:gd name="T98" fmla="*/ 90 w 92"/>
                <a:gd name="T99" fmla="*/ 66 h 70"/>
                <a:gd name="T100" fmla="*/ 90 w 92"/>
                <a:gd name="T101" fmla="*/ 6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 h="70">
                  <a:moveTo>
                    <a:pt x="90" y="63"/>
                  </a:moveTo>
                  <a:lnTo>
                    <a:pt x="90" y="63"/>
                  </a:lnTo>
                  <a:lnTo>
                    <a:pt x="76" y="55"/>
                  </a:lnTo>
                  <a:lnTo>
                    <a:pt x="69" y="51"/>
                  </a:lnTo>
                  <a:lnTo>
                    <a:pt x="64" y="48"/>
                  </a:lnTo>
                  <a:lnTo>
                    <a:pt x="64" y="48"/>
                  </a:lnTo>
                  <a:lnTo>
                    <a:pt x="60" y="42"/>
                  </a:lnTo>
                  <a:lnTo>
                    <a:pt x="55" y="38"/>
                  </a:lnTo>
                  <a:lnTo>
                    <a:pt x="50" y="32"/>
                  </a:lnTo>
                  <a:lnTo>
                    <a:pt x="47" y="28"/>
                  </a:lnTo>
                  <a:lnTo>
                    <a:pt x="47" y="28"/>
                  </a:lnTo>
                  <a:lnTo>
                    <a:pt x="45" y="25"/>
                  </a:lnTo>
                  <a:lnTo>
                    <a:pt x="42" y="24"/>
                  </a:lnTo>
                  <a:lnTo>
                    <a:pt x="41" y="22"/>
                  </a:lnTo>
                  <a:lnTo>
                    <a:pt x="41" y="19"/>
                  </a:lnTo>
                  <a:lnTo>
                    <a:pt x="41" y="19"/>
                  </a:lnTo>
                  <a:lnTo>
                    <a:pt x="42" y="16"/>
                  </a:lnTo>
                  <a:lnTo>
                    <a:pt x="44" y="15"/>
                  </a:lnTo>
                  <a:lnTo>
                    <a:pt x="44" y="12"/>
                  </a:lnTo>
                  <a:lnTo>
                    <a:pt x="42" y="8"/>
                  </a:lnTo>
                  <a:lnTo>
                    <a:pt x="42" y="8"/>
                  </a:lnTo>
                  <a:lnTo>
                    <a:pt x="38" y="3"/>
                  </a:lnTo>
                  <a:lnTo>
                    <a:pt x="37" y="0"/>
                  </a:lnTo>
                  <a:lnTo>
                    <a:pt x="34" y="0"/>
                  </a:lnTo>
                  <a:lnTo>
                    <a:pt x="32" y="2"/>
                  </a:lnTo>
                  <a:lnTo>
                    <a:pt x="32" y="2"/>
                  </a:lnTo>
                  <a:lnTo>
                    <a:pt x="31" y="6"/>
                  </a:lnTo>
                  <a:lnTo>
                    <a:pt x="29" y="8"/>
                  </a:lnTo>
                  <a:lnTo>
                    <a:pt x="28" y="8"/>
                  </a:lnTo>
                  <a:lnTo>
                    <a:pt x="28" y="8"/>
                  </a:lnTo>
                  <a:lnTo>
                    <a:pt x="27" y="5"/>
                  </a:lnTo>
                  <a:lnTo>
                    <a:pt x="25" y="3"/>
                  </a:lnTo>
                  <a:lnTo>
                    <a:pt x="25" y="2"/>
                  </a:lnTo>
                  <a:lnTo>
                    <a:pt x="24" y="2"/>
                  </a:lnTo>
                  <a:lnTo>
                    <a:pt x="24" y="2"/>
                  </a:lnTo>
                  <a:lnTo>
                    <a:pt x="21" y="6"/>
                  </a:lnTo>
                  <a:lnTo>
                    <a:pt x="16" y="9"/>
                  </a:lnTo>
                  <a:lnTo>
                    <a:pt x="16" y="9"/>
                  </a:lnTo>
                  <a:lnTo>
                    <a:pt x="15" y="9"/>
                  </a:lnTo>
                  <a:lnTo>
                    <a:pt x="15" y="10"/>
                  </a:lnTo>
                  <a:lnTo>
                    <a:pt x="15" y="12"/>
                  </a:lnTo>
                  <a:lnTo>
                    <a:pt x="15" y="15"/>
                  </a:lnTo>
                  <a:lnTo>
                    <a:pt x="15" y="15"/>
                  </a:lnTo>
                  <a:lnTo>
                    <a:pt x="19" y="16"/>
                  </a:lnTo>
                  <a:lnTo>
                    <a:pt x="24" y="19"/>
                  </a:lnTo>
                  <a:lnTo>
                    <a:pt x="24" y="19"/>
                  </a:lnTo>
                  <a:lnTo>
                    <a:pt x="28" y="22"/>
                  </a:lnTo>
                  <a:lnTo>
                    <a:pt x="28" y="25"/>
                  </a:lnTo>
                  <a:lnTo>
                    <a:pt x="27" y="26"/>
                  </a:lnTo>
                  <a:lnTo>
                    <a:pt x="27" y="26"/>
                  </a:lnTo>
                  <a:lnTo>
                    <a:pt x="21" y="32"/>
                  </a:lnTo>
                  <a:lnTo>
                    <a:pt x="15" y="35"/>
                  </a:lnTo>
                  <a:lnTo>
                    <a:pt x="15" y="35"/>
                  </a:lnTo>
                  <a:lnTo>
                    <a:pt x="13" y="35"/>
                  </a:lnTo>
                  <a:lnTo>
                    <a:pt x="13" y="38"/>
                  </a:lnTo>
                  <a:lnTo>
                    <a:pt x="13" y="39"/>
                  </a:lnTo>
                  <a:lnTo>
                    <a:pt x="16" y="42"/>
                  </a:lnTo>
                  <a:lnTo>
                    <a:pt x="16" y="42"/>
                  </a:lnTo>
                  <a:lnTo>
                    <a:pt x="25" y="50"/>
                  </a:lnTo>
                  <a:lnTo>
                    <a:pt x="28" y="51"/>
                  </a:lnTo>
                  <a:lnTo>
                    <a:pt x="27" y="52"/>
                  </a:lnTo>
                  <a:lnTo>
                    <a:pt x="27" y="52"/>
                  </a:lnTo>
                  <a:lnTo>
                    <a:pt x="21" y="51"/>
                  </a:lnTo>
                  <a:lnTo>
                    <a:pt x="16" y="50"/>
                  </a:lnTo>
                  <a:lnTo>
                    <a:pt x="15" y="51"/>
                  </a:lnTo>
                  <a:lnTo>
                    <a:pt x="15" y="51"/>
                  </a:lnTo>
                  <a:lnTo>
                    <a:pt x="13" y="54"/>
                  </a:lnTo>
                  <a:lnTo>
                    <a:pt x="13" y="54"/>
                  </a:lnTo>
                  <a:lnTo>
                    <a:pt x="12" y="54"/>
                  </a:lnTo>
                  <a:lnTo>
                    <a:pt x="12" y="54"/>
                  </a:lnTo>
                  <a:lnTo>
                    <a:pt x="6" y="52"/>
                  </a:lnTo>
                  <a:lnTo>
                    <a:pt x="3" y="51"/>
                  </a:lnTo>
                  <a:lnTo>
                    <a:pt x="2" y="52"/>
                  </a:lnTo>
                  <a:lnTo>
                    <a:pt x="2" y="52"/>
                  </a:lnTo>
                  <a:lnTo>
                    <a:pt x="0" y="54"/>
                  </a:lnTo>
                  <a:lnTo>
                    <a:pt x="0" y="58"/>
                  </a:lnTo>
                  <a:lnTo>
                    <a:pt x="0" y="61"/>
                  </a:lnTo>
                  <a:lnTo>
                    <a:pt x="2" y="63"/>
                  </a:lnTo>
                  <a:lnTo>
                    <a:pt x="2" y="63"/>
                  </a:lnTo>
                  <a:lnTo>
                    <a:pt x="6" y="63"/>
                  </a:lnTo>
                  <a:lnTo>
                    <a:pt x="9" y="63"/>
                  </a:lnTo>
                  <a:lnTo>
                    <a:pt x="13" y="63"/>
                  </a:lnTo>
                  <a:lnTo>
                    <a:pt x="16" y="64"/>
                  </a:lnTo>
                  <a:lnTo>
                    <a:pt x="16" y="64"/>
                  </a:lnTo>
                  <a:lnTo>
                    <a:pt x="21" y="66"/>
                  </a:lnTo>
                  <a:lnTo>
                    <a:pt x="25" y="66"/>
                  </a:lnTo>
                  <a:lnTo>
                    <a:pt x="34" y="66"/>
                  </a:lnTo>
                  <a:lnTo>
                    <a:pt x="34" y="66"/>
                  </a:lnTo>
                  <a:lnTo>
                    <a:pt x="47" y="66"/>
                  </a:lnTo>
                  <a:lnTo>
                    <a:pt x="54" y="66"/>
                  </a:lnTo>
                  <a:lnTo>
                    <a:pt x="60" y="66"/>
                  </a:lnTo>
                  <a:lnTo>
                    <a:pt x="60" y="66"/>
                  </a:lnTo>
                  <a:lnTo>
                    <a:pt x="67" y="68"/>
                  </a:lnTo>
                  <a:lnTo>
                    <a:pt x="74" y="70"/>
                  </a:lnTo>
                  <a:lnTo>
                    <a:pt x="74" y="70"/>
                  </a:lnTo>
                  <a:lnTo>
                    <a:pt x="79" y="67"/>
                  </a:lnTo>
                  <a:lnTo>
                    <a:pt x="82" y="67"/>
                  </a:lnTo>
                  <a:lnTo>
                    <a:pt x="84" y="66"/>
                  </a:lnTo>
                  <a:lnTo>
                    <a:pt x="84" y="66"/>
                  </a:lnTo>
                  <a:lnTo>
                    <a:pt x="90" y="66"/>
                  </a:lnTo>
                  <a:lnTo>
                    <a:pt x="92" y="64"/>
                  </a:lnTo>
                  <a:lnTo>
                    <a:pt x="90" y="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93" name="Freeform 1338"/>
            <p:cNvSpPr>
              <a:spLocks/>
            </p:cNvSpPr>
            <p:nvPr/>
          </p:nvSpPr>
          <p:spPr bwMode="auto">
            <a:xfrm>
              <a:off x="2570163" y="6436154"/>
              <a:ext cx="23813" cy="9525"/>
            </a:xfrm>
            <a:custGeom>
              <a:avLst/>
              <a:gdLst>
                <a:gd name="T0" fmla="*/ 13 w 15"/>
                <a:gd name="T1" fmla="*/ 6 h 6"/>
                <a:gd name="T2" fmla="*/ 13 w 15"/>
                <a:gd name="T3" fmla="*/ 6 h 6"/>
                <a:gd name="T4" fmla="*/ 10 w 15"/>
                <a:gd name="T5" fmla="*/ 6 h 6"/>
                <a:gd name="T6" fmla="*/ 5 w 15"/>
                <a:gd name="T7" fmla="*/ 5 h 6"/>
                <a:gd name="T8" fmla="*/ 2 w 15"/>
                <a:gd name="T9" fmla="*/ 3 h 6"/>
                <a:gd name="T10" fmla="*/ 0 w 15"/>
                <a:gd name="T11" fmla="*/ 2 h 6"/>
                <a:gd name="T12" fmla="*/ 2 w 15"/>
                <a:gd name="T13" fmla="*/ 0 h 6"/>
                <a:gd name="T14" fmla="*/ 2 w 15"/>
                <a:gd name="T15" fmla="*/ 0 h 6"/>
                <a:gd name="T16" fmla="*/ 6 w 15"/>
                <a:gd name="T17" fmla="*/ 0 h 6"/>
                <a:gd name="T18" fmla="*/ 10 w 15"/>
                <a:gd name="T19" fmla="*/ 0 h 6"/>
                <a:gd name="T20" fmla="*/ 15 w 15"/>
                <a:gd name="T21" fmla="*/ 3 h 6"/>
                <a:gd name="T22" fmla="*/ 15 w 15"/>
                <a:gd name="T23" fmla="*/ 5 h 6"/>
                <a:gd name="T24" fmla="*/ 13 w 15"/>
                <a:gd name="T2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6">
                  <a:moveTo>
                    <a:pt x="13" y="6"/>
                  </a:moveTo>
                  <a:lnTo>
                    <a:pt x="13" y="6"/>
                  </a:lnTo>
                  <a:lnTo>
                    <a:pt x="10" y="6"/>
                  </a:lnTo>
                  <a:lnTo>
                    <a:pt x="5" y="5"/>
                  </a:lnTo>
                  <a:lnTo>
                    <a:pt x="2" y="3"/>
                  </a:lnTo>
                  <a:lnTo>
                    <a:pt x="0" y="2"/>
                  </a:lnTo>
                  <a:lnTo>
                    <a:pt x="2" y="0"/>
                  </a:lnTo>
                  <a:lnTo>
                    <a:pt x="2" y="0"/>
                  </a:lnTo>
                  <a:lnTo>
                    <a:pt x="6" y="0"/>
                  </a:lnTo>
                  <a:lnTo>
                    <a:pt x="10" y="0"/>
                  </a:lnTo>
                  <a:lnTo>
                    <a:pt x="15" y="3"/>
                  </a:lnTo>
                  <a:lnTo>
                    <a:pt x="15" y="5"/>
                  </a:lnTo>
                  <a:lnTo>
                    <a:pt x="13" y="6"/>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94" name="Freeform 1339"/>
            <p:cNvSpPr>
              <a:spLocks/>
            </p:cNvSpPr>
            <p:nvPr/>
          </p:nvSpPr>
          <p:spPr bwMode="auto">
            <a:xfrm>
              <a:off x="2570163" y="6436154"/>
              <a:ext cx="23813" cy="9525"/>
            </a:xfrm>
            <a:custGeom>
              <a:avLst/>
              <a:gdLst>
                <a:gd name="T0" fmla="*/ 13 w 15"/>
                <a:gd name="T1" fmla="*/ 6 h 6"/>
                <a:gd name="T2" fmla="*/ 13 w 15"/>
                <a:gd name="T3" fmla="*/ 6 h 6"/>
                <a:gd name="T4" fmla="*/ 10 w 15"/>
                <a:gd name="T5" fmla="*/ 6 h 6"/>
                <a:gd name="T6" fmla="*/ 5 w 15"/>
                <a:gd name="T7" fmla="*/ 5 h 6"/>
                <a:gd name="T8" fmla="*/ 2 w 15"/>
                <a:gd name="T9" fmla="*/ 3 h 6"/>
                <a:gd name="T10" fmla="*/ 0 w 15"/>
                <a:gd name="T11" fmla="*/ 2 h 6"/>
                <a:gd name="T12" fmla="*/ 2 w 15"/>
                <a:gd name="T13" fmla="*/ 0 h 6"/>
                <a:gd name="T14" fmla="*/ 2 w 15"/>
                <a:gd name="T15" fmla="*/ 0 h 6"/>
                <a:gd name="T16" fmla="*/ 6 w 15"/>
                <a:gd name="T17" fmla="*/ 0 h 6"/>
                <a:gd name="T18" fmla="*/ 10 w 15"/>
                <a:gd name="T19" fmla="*/ 0 h 6"/>
                <a:gd name="T20" fmla="*/ 15 w 15"/>
                <a:gd name="T21" fmla="*/ 3 h 6"/>
                <a:gd name="T22" fmla="*/ 15 w 15"/>
                <a:gd name="T23" fmla="*/ 5 h 6"/>
                <a:gd name="T24" fmla="*/ 13 w 15"/>
                <a:gd name="T2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6">
                  <a:moveTo>
                    <a:pt x="13" y="6"/>
                  </a:moveTo>
                  <a:lnTo>
                    <a:pt x="13" y="6"/>
                  </a:lnTo>
                  <a:lnTo>
                    <a:pt x="10" y="6"/>
                  </a:lnTo>
                  <a:lnTo>
                    <a:pt x="5" y="5"/>
                  </a:lnTo>
                  <a:lnTo>
                    <a:pt x="2" y="3"/>
                  </a:lnTo>
                  <a:lnTo>
                    <a:pt x="0" y="2"/>
                  </a:lnTo>
                  <a:lnTo>
                    <a:pt x="2" y="0"/>
                  </a:lnTo>
                  <a:lnTo>
                    <a:pt x="2" y="0"/>
                  </a:lnTo>
                  <a:lnTo>
                    <a:pt x="6" y="0"/>
                  </a:lnTo>
                  <a:lnTo>
                    <a:pt x="10" y="0"/>
                  </a:lnTo>
                  <a:lnTo>
                    <a:pt x="15" y="3"/>
                  </a:lnTo>
                  <a:lnTo>
                    <a:pt x="15" y="5"/>
                  </a:lnTo>
                  <a:lnTo>
                    <a:pt x="13"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95" name="Freeform 1340"/>
            <p:cNvSpPr>
              <a:spLocks/>
            </p:cNvSpPr>
            <p:nvPr/>
          </p:nvSpPr>
          <p:spPr bwMode="auto">
            <a:xfrm>
              <a:off x="2519363" y="6439329"/>
              <a:ext cx="30163" cy="11113"/>
            </a:xfrm>
            <a:custGeom>
              <a:avLst/>
              <a:gdLst>
                <a:gd name="T0" fmla="*/ 19 w 19"/>
                <a:gd name="T1" fmla="*/ 1 h 7"/>
                <a:gd name="T2" fmla="*/ 19 w 19"/>
                <a:gd name="T3" fmla="*/ 1 h 7"/>
                <a:gd name="T4" fmla="*/ 13 w 19"/>
                <a:gd name="T5" fmla="*/ 6 h 7"/>
                <a:gd name="T6" fmla="*/ 12 w 19"/>
                <a:gd name="T7" fmla="*/ 7 h 7"/>
                <a:gd name="T8" fmla="*/ 9 w 19"/>
                <a:gd name="T9" fmla="*/ 7 h 7"/>
                <a:gd name="T10" fmla="*/ 9 w 19"/>
                <a:gd name="T11" fmla="*/ 7 h 7"/>
                <a:gd name="T12" fmla="*/ 3 w 19"/>
                <a:gd name="T13" fmla="*/ 4 h 7"/>
                <a:gd name="T14" fmla="*/ 0 w 19"/>
                <a:gd name="T15" fmla="*/ 3 h 7"/>
                <a:gd name="T16" fmla="*/ 2 w 19"/>
                <a:gd name="T17" fmla="*/ 1 h 7"/>
                <a:gd name="T18" fmla="*/ 2 w 19"/>
                <a:gd name="T19" fmla="*/ 1 h 7"/>
                <a:gd name="T20" fmla="*/ 6 w 19"/>
                <a:gd name="T21" fmla="*/ 0 h 7"/>
                <a:gd name="T22" fmla="*/ 12 w 19"/>
                <a:gd name="T23" fmla="*/ 0 h 7"/>
                <a:gd name="T24" fmla="*/ 18 w 19"/>
                <a:gd name="T25" fmla="*/ 0 h 7"/>
                <a:gd name="T26" fmla="*/ 19 w 19"/>
                <a:gd name="T27" fmla="*/ 0 h 7"/>
                <a:gd name="T28" fmla="*/ 19 w 19"/>
                <a:gd name="T2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7">
                  <a:moveTo>
                    <a:pt x="19" y="1"/>
                  </a:moveTo>
                  <a:lnTo>
                    <a:pt x="19" y="1"/>
                  </a:lnTo>
                  <a:lnTo>
                    <a:pt x="13" y="6"/>
                  </a:lnTo>
                  <a:lnTo>
                    <a:pt x="12" y="7"/>
                  </a:lnTo>
                  <a:lnTo>
                    <a:pt x="9" y="7"/>
                  </a:lnTo>
                  <a:lnTo>
                    <a:pt x="9" y="7"/>
                  </a:lnTo>
                  <a:lnTo>
                    <a:pt x="3" y="4"/>
                  </a:lnTo>
                  <a:lnTo>
                    <a:pt x="0" y="3"/>
                  </a:lnTo>
                  <a:lnTo>
                    <a:pt x="2" y="1"/>
                  </a:lnTo>
                  <a:lnTo>
                    <a:pt x="2" y="1"/>
                  </a:lnTo>
                  <a:lnTo>
                    <a:pt x="6" y="0"/>
                  </a:lnTo>
                  <a:lnTo>
                    <a:pt x="12" y="0"/>
                  </a:lnTo>
                  <a:lnTo>
                    <a:pt x="18" y="0"/>
                  </a:lnTo>
                  <a:lnTo>
                    <a:pt x="19" y="0"/>
                  </a:lnTo>
                  <a:lnTo>
                    <a:pt x="19" y="1"/>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96" name="Freeform 1341"/>
            <p:cNvSpPr>
              <a:spLocks/>
            </p:cNvSpPr>
            <p:nvPr/>
          </p:nvSpPr>
          <p:spPr bwMode="auto">
            <a:xfrm>
              <a:off x="2519363" y="6439329"/>
              <a:ext cx="30163" cy="11113"/>
            </a:xfrm>
            <a:custGeom>
              <a:avLst/>
              <a:gdLst>
                <a:gd name="T0" fmla="*/ 19 w 19"/>
                <a:gd name="T1" fmla="*/ 1 h 7"/>
                <a:gd name="T2" fmla="*/ 19 w 19"/>
                <a:gd name="T3" fmla="*/ 1 h 7"/>
                <a:gd name="T4" fmla="*/ 13 w 19"/>
                <a:gd name="T5" fmla="*/ 6 h 7"/>
                <a:gd name="T6" fmla="*/ 12 w 19"/>
                <a:gd name="T7" fmla="*/ 7 h 7"/>
                <a:gd name="T8" fmla="*/ 9 w 19"/>
                <a:gd name="T9" fmla="*/ 7 h 7"/>
                <a:gd name="T10" fmla="*/ 9 w 19"/>
                <a:gd name="T11" fmla="*/ 7 h 7"/>
                <a:gd name="T12" fmla="*/ 3 w 19"/>
                <a:gd name="T13" fmla="*/ 4 h 7"/>
                <a:gd name="T14" fmla="*/ 0 w 19"/>
                <a:gd name="T15" fmla="*/ 3 h 7"/>
                <a:gd name="T16" fmla="*/ 2 w 19"/>
                <a:gd name="T17" fmla="*/ 1 h 7"/>
                <a:gd name="T18" fmla="*/ 2 w 19"/>
                <a:gd name="T19" fmla="*/ 1 h 7"/>
                <a:gd name="T20" fmla="*/ 6 w 19"/>
                <a:gd name="T21" fmla="*/ 0 h 7"/>
                <a:gd name="T22" fmla="*/ 12 w 19"/>
                <a:gd name="T23" fmla="*/ 0 h 7"/>
                <a:gd name="T24" fmla="*/ 18 w 19"/>
                <a:gd name="T25" fmla="*/ 0 h 7"/>
                <a:gd name="T26" fmla="*/ 19 w 19"/>
                <a:gd name="T27" fmla="*/ 0 h 7"/>
                <a:gd name="T28" fmla="*/ 19 w 19"/>
                <a:gd name="T2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7">
                  <a:moveTo>
                    <a:pt x="19" y="1"/>
                  </a:moveTo>
                  <a:lnTo>
                    <a:pt x="19" y="1"/>
                  </a:lnTo>
                  <a:lnTo>
                    <a:pt x="13" y="6"/>
                  </a:lnTo>
                  <a:lnTo>
                    <a:pt x="12" y="7"/>
                  </a:lnTo>
                  <a:lnTo>
                    <a:pt x="9" y="7"/>
                  </a:lnTo>
                  <a:lnTo>
                    <a:pt x="9" y="7"/>
                  </a:lnTo>
                  <a:lnTo>
                    <a:pt x="3" y="4"/>
                  </a:lnTo>
                  <a:lnTo>
                    <a:pt x="0" y="3"/>
                  </a:lnTo>
                  <a:lnTo>
                    <a:pt x="2" y="1"/>
                  </a:lnTo>
                  <a:lnTo>
                    <a:pt x="2" y="1"/>
                  </a:lnTo>
                  <a:lnTo>
                    <a:pt x="6" y="0"/>
                  </a:lnTo>
                  <a:lnTo>
                    <a:pt x="12" y="0"/>
                  </a:lnTo>
                  <a:lnTo>
                    <a:pt x="18" y="0"/>
                  </a:lnTo>
                  <a:lnTo>
                    <a:pt x="19" y="0"/>
                  </a:lnTo>
                  <a:lnTo>
                    <a:pt x="19"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97" name="Freeform 1342"/>
            <p:cNvSpPr>
              <a:spLocks/>
            </p:cNvSpPr>
            <p:nvPr/>
          </p:nvSpPr>
          <p:spPr bwMode="auto">
            <a:xfrm>
              <a:off x="2393951" y="6339316"/>
              <a:ext cx="63500" cy="55563"/>
            </a:xfrm>
            <a:custGeom>
              <a:avLst/>
              <a:gdLst>
                <a:gd name="T0" fmla="*/ 34 w 40"/>
                <a:gd name="T1" fmla="*/ 35 h 35"/>
                <a:gd name="T2" fmla="*/ 34 w 40"/>
                <a:gd name="T3" fmla="*/ 35 h 35"/>
                <a:gd name="T4" fmla="*/ 27 w 40"/>
                <a:gd name="T5" fmla="*/ 31 h 35"/>
                <a:gd name="T6" fmla="*/ 21 w 40"/>
                <a:gd name="T7" fmla="*/ 27 h 35"/>
                <a:gd name="T8" fmla="*/ 21 w 40"/>
                <a:gd name="T9" fmla="*/ 27 h 35"/>
                <a:gd name="T10" fmla="*/ 17 w 40"/>
                <a:gd name="T11" fmla="*/ 21 h 35"/>
                <a:gd name="T12" fmla="*/ 17 w 40"/>
                <a:gd name="T13" fmla="*/ 18 h 35"/>
                <a:gd name="T14" fmla="*/ 17 w 40"/>
                <a:gd name="T15" fmla="*/ 18 h 35"/>
                <a:gd name="T16" fmla="*/ 17 w 40"/>
                <a:gd name="T17" fmla="*/ 16 h 35"/>
                <a:gd name="T18" fmla="*/ 16 w 40"/>
                <a:gd name="T19" fmla="*/ 15 h 35"/>
                <a:gd name="T20" fmla="*/ 13 w 40"/>
                <a:gd name="T21" fmla="*/ 12 h 35"/>
                <a:gd name="T22" fmla="*/ 13 w 40"/>
                <a:gd name="T23" fmla="*/ 12 h 35"/>
                <a:gd name="T24" fmla="*/ 10 w 40"/>
                <a:gd name="T25" fmla="*/ 12 h 35"/>
                <a:gd name="T26" fmla="*/ 6 w 40"/>
                <a:gd name="T27" fmla="*/ 8 h 35"/>
                <a:gd name="T28" fmla="*/ 6 w 40"/>
                <a:gd name="T29" fmla="*/ 8 h 35"/>
                <a:gd name="T30" fmla="*/ 1 w 40"/>
                <a:gd name="T31" fmla="*/ 3 h 35"/>
                <a:gd name="T32" fmla="*/ 0 w 40"/>
                <a:gd name="T33" fmla="*/ 0 h 35"/>
                <a:gd name="T34" fmla="*/ 1 w 40"/>
                <a:gd name="T35" fmla="*/ 0 h 35"/>
                <a:gd name="T36" fmla="*/ 1 w 40"/>
                <a:gd name="T37" fmla="*/ 0 h 35"/>
                <a:gd name="T38" fmla="*/ 11 w 40"/>
                <a:gd name="T39" fmla="*/ 5 h 35"/>
                <a:gd name="T40" fmla="*/ 21 w 40"/>
                <a:gd name="T41" fmla="*/ 12 h 35"/>
                <a:gd name="T42" fmla="*/ 21 w 40"/>
                <a:gd name="T43" fmla="*/ 12 h 35"/>
                <a:gd name="T44" fmla="*/ 33 w 40"/>
                <a:gd name="T45" fmla="*/ 21 h 35"/>
                <a:gd name="T46" fmla="*/ 39 w 40"/>
                <a:gd name="T47" fmla="*/ 24 h 35"/>
                <a:gd name="T48" fmla="*/ 40 w 40"/>
                <a:gd name="T49" fmla="*/ 27 h 35"/>
                <a:gd name="T50" fmla="*/ 40 w 40"/>
                <a:gd name="T51" fmla="*/ 27 h 35"/>
                <a:gd name="T52" fmla="*/ 39 w 40"/>
                <a:gd name="T53" fmla="*/ 32 h 35"/>
                <a:gd name="T54" fmla="*/ 36 w 40"/>
                <a:gd name="T55" fmla="*/ 34 h 35"/>
                <a:gd name="T56" fmla="*/ 34 w 40"/>
                <a:gd name="T5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 h="35">
                  <a:moveTo>
                    <a:pt x="34" y="35"/>
                  </a:moveTo>
                  <a:lnTo>
                    <a:pt x="34" y="35"/>
                  </a:lnTo>
                  <a:lnTo>
                    <a:pt x="27" y="31"/>
                  </a:lnTo>
                  <a:lnTo>
                    <a:pt x="21" y="27"/>
                  </a:lnTo>
                  <a:lnTo>
                    <a:pt x="21" y="27"/>
                  </a:lnTo>
                  <a:lnTo>
                    <a:pt x="17" y="21"/>
                  </a:lnTo>
                  <a:lnTo>
                    <a:pt x="17" y="18"/>
                  </a:lnTo>
                  <a:lnTo>
                    <a:pt x="17" y="18"/>
                  </a:lnTo>
                  <a:lnTo>
                    <a:pt x="17" y="16"/>
                  </a:lnTo>
                  <a:lnTo>
                    <a:pt x="16" y="15"/>
                  </a:lnTo>
                  <a:lnTo>
                    <a:pt x="13" y="12"/>
                  </a:lnTo>
                  <a:lnTo>
                    <a:pt x="13" y="12"/>
                  </a:lnTo>
                  <a:lnTo>
                    <a:pt x="10" y="12"/>
                  </a:lnTo>
                  <a:lnTo>
                    <a:pt x="6" y="8"/>
                  </a:lnTo>
                  <a:lnTo>
                    <a:pt x="6" y="8"/>
                  </a:lnTo>
                  <a:lnTo>
                    <a:pt x="1" y="3"/>
                  </a:lnTo>
                  <a:lnTo>
                    <a:pt x="0" y="0"/>
                  </a:lnTo>
                  <a:lnTo>
                    <a:pt x="1" y="0"/>
                  </a:lnTo>
                  <a:lnTo>
                    <a:pt x="1" y="0"/>
                  </a:lnTo>
                  <a:lnTo>
                    <a:pt x="11" y="5"/>
                  </a:lnTo>
                  <a:lnTo>
                    <a:pt x="21" y="12"/>
                  </a:lnTo>
                  <a:lnTo>
                    <a:pt x="21" y="12"/>
                  </a:lnTo>
                  <a:lnTo>
                    <a:pt x="33" y="21"/>
                  </a:lnTo>
                  <a:lnTo>
                    <a:pt x="39" y="24"/>
                  </a:lnTo>
                  <a:lnTo>
                    <a:pt x="40" y="27"/>
                  </a:lnTo>
                  <a:lnTo>
                    <a:pt x="40" y="27"/>
                  </a:lnTo>
                  <a:lnTo>
                    <a:pt x="39" y="32"/>
                  </a:lnTo>
                  <a:lnTo>
                    <a:pt x="36" y="34"/>
                  </a:lnTo>
                  <a:lnTo>
                    <a:pt x="34" y="35"/>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98" name="Freeform 1343"/>
            <p:cNvSpPr>
              <a:spLocks/>
            </p:cNvSpPr>
            <p:nvPr/>
          </p:nvSpPr>
          <p:spPr bwMode="auto">
            <a:xfrm>
              <a:off x="2393951" y="6339316"/>
              <a:ext cx="63500" cy="55563"/>
            </a:xfrm>
            <a:custGeom>
              <a:avLst/>
              <a:gdLst>
                <a:gd name="T0" fmla="*/ 34 w 40"/>
                <a:gd name="T1" fmla="*/ 35 h 35"/>
                <a:gd name="T2" fmla="*/ 34 w 40"/>
                <a:gd name="T3" fmla="*/ 35 h 35"/>
                <a:gd name="T4" fmla="*/ 27 w 40"/>
                <a:gd name="T5" fmla="*/ 31 h 35"/>
                <a:gd name="T6" fmla="*/ 21 w 40"/>
                <a:gd name="T7" fmla="*/ 27 h 35"/>
                <a:gd name="T8" fmla="*/ 21 w 40"/>
                <a:gd name="T9" fmla="*/ 27 h 35"/>
                <a:gd name="T10" fmla="*/ 17 w 40"/>
                <a:gd name="T11" fmla="*/ 21 h 35"/>
                <a:gd name="T12" fmla="*/ 17 w 40"/>
                <a:gd name="T13" fmla="*/ 18 h 35"/>
                <a:gd name="T14" fmla="*/ 17 w 40"/>
                <a:gd name="T15" fmla="*/ 18 h 35"/>
                <a:gd name="T16" fmla="*/ 17 w 40"/>
                <a:gd name="T17" fmla="*/ 16 h 35"/>
                <a:gd name="T18" fmla="*/ 16 w 40"/>
                <a:gd name="T19" fmla="*/ 15 h 35"/>
                <a:gd name="T20" fmla="*/ 13 w 40"/>
                <a:gd name="T21" fmla="*/ 12 h 35"/>
                <a:gd name="T22" fmla="*/ 13 w 40"/>
                <a:gd name="T23" fmla="*/ 12 h 35"/>
                <a:gd name="T24" fmla="*/ 10 w 40"/>
                <a:gd name="T25" fmla="*/ 12 h 35"/>
                <a:gd name="T26" fmla="*/ 6 w 40"/>
                <a:gd name="T27" fmla="*/ 8 h 35"/>
                <a:gd name="T28" fmla="*/ 6 w 40"/>
                <a:gd name="T29" fmla="*/ 8 h 35"/>
                <a:gd name="T30" fmla="*/ 1 w 40"/>
                <a:gd name="T31" fmla="*/ 3 h 35"/>
                <a:gd name="T32" fmla="*/ 0 w 40"/>
                <a:gd name="T33" fmla="*/ 0 h 35"/>
                <a:gd name="T34" fmla="*/ 1 w 40"/>
                <a:gd name="T35" fmla="*/ 0 h 35"/>
                <a:gd name="T36" fmla="*/ 1 w 40"/>
                <a:gd name="T37" fmla="*/ 0 h 35"/>
                <a:gd name="T38" fmla="*/ 11 w 40"/>
                <a:gd name="T39" fmla="*/ 5 h 35"/>
                <a:gd name="T40" fmla="*/ 21 w 40"/>
                <a:gd name="T41" fmla="*/ 12 h 35"/>
                <a:gd name="T42" fmla="*/ 21 w 40"/>
                <a:gd name="T43" fmla="*/ 12 h 35"/>
                <a:gd name="T44" fmla="*/ 33 w 40"/>
                <a:gd name="T45" fmla="*/ 21 h 35"/>
                <a:gd name="T46" fmla="*/ 39 w 40"/>
                <a:gd name="T47" fmla="*/ 24 h 35"/>
                <a:gd name="T48" fmla="*/ 40 w 40"/>
                <a:gd name="T49" fmla="*/ 27 h 35"/>
                <a:gd name="T50" fmla="*/ 40 w 40"/>
                <a:gd name="T51" fmla="*/ 27 h 35"/>
                <a:gd name="T52" fmla="*/ 39 w 40"/>
                <a:gd name="T53" fmla="*/ 32 h 35"/>
                <a:gd name="T54" fmla="*/ 36 w 40"/>
                <a:gd name="T55" fmla="*/ 34 h 35"/>
                <a:gd name="T56" fmla="*/ 34 w 40"/>
                <a:gd name="T5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 h="35">
                  <a:moveTo>
                    <a:pt x="34" y="35"/>
                  </a:moveTo>
                  <a:lnTo>
                    <a:pt x="34" y="35"/>
                  </a:lnTo>
                  <a:lnTo>
                    <a:pt x="27" y="31"/>
                  </a:lnTo>
                  <a:lnTo>
                    <a:pt x="21" y="27"/>
                  </a:lnTo>
                  <a:lnTo>
                    <a:pt x="21" y="27"/>
                  </a:lnTo>
                  <a:lnTo>
                    <a:pt x="17" y="21"/>
                  </a:lnTo>
                  <a:lnTo>
                    <a:pt x="17" y="18"/>
                  </a:lnTo>
                  <a:lnTo>
                    <a:pt x="17" y="18"/>
                  </a:lnTo>
                  <a:lnTo>
                    <a:pt x="17" y="16"/>
                  </a:lnTo>
                  <a:lnTo>
                    <a:pt x="16" y="15"/>
                  </a:lnTo>
                  <a:lnTo>
                    <a:pt x="13" y="12"/>
                  </a:lnTo>
                  <a:lnTo>
                    <a:pt x="13" y="12"/>
                  </a:lnTo>
                  <a:lnTo>
                    <a:pt x="10" y="12"/>
                  </a:lnTo>
                  <a:lnTo>
                    <a:pt x="6" y="8"/>
                  </a:lnTo>
                  <a:lnTo>
                    <a:pt x="6" y="8"/>
                  </a:lnTo>
                  <a:lnTo>
                    <a:pt x="1" y="3"/>
                  </a:lnTo>
                  <a:lnTo>
                    <a:pt x="0" y="0"/>
                  </a:lnTo>
                  <a:lnTo>
                    <a:pt x="1" y="0"/>
                  </a:lnTo>
                  <a:lnTo>
                    <a:pt x="1" y="0"/>
                  </a:lnTo>
                  <a:lnTo>
                    <a:pt x="11" y="5"/>
                  </a:lnTo>
                  <a:lnTo>
                    <a:pt x="21" y="12"/>
                  </a:lnTo>
                  <a:lnTo>
                    <a:pt x="21" y="12"/>
                  </a:lnTo>
                  <a:lnTo>
                    <a:pt x="33" y="21"/>
                  </a:lnTo>
                  <a:lnTo>
                    <a:pt x="39" y="24"/>
                  </a:lnTo>
                  <a:lnTo>
                    <a:pt x="40" y="27"/>
                  </a:lnTo>
                  <a:lnTo>
                    <a:pt x="40" y="27"/>
                  </a:lnTo>
                  <a:lnTo>
                    <a:pt x="39" y="32"/>
                  </a:lnTo>
                  <a:lnTo>
                    <a:pt x="36" y="34"/>
                  </a:lnTo>
                  <a:lnTo>
                    <a:pt x="34"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399" name="Freeform 1344"/>
            <p:cNvSpPr>
              <a:spLocks/>
            </p:cNvSpPr>
            <p:nvPr/>
          </p:nvSpPr>
          <p:spPr bwMode="auto">
            <a:xfrm>
              <a:off x="2759076" y="6272641"/>
              <a:ext cx="36513" cy="34925"/>
            </a:xfrm>
            <a:custGeom>
              <a:avLst/>
              <a:gdLst>
                <a:gd name="T0" fmla="*/ 13 w 23"/>
                <a:gd name="T1" fmla="*/ 19 h 22"/>
                <a:gd name="T2" fmla="*/ 13 w 23"/>
                <a:gd name="T3" fmla="*/ 19 h 22"/>
                <a:gd name="T4" fmla="*/ 7 w 23"/>
                <a:gd name="T5" fmla="*/ 21 h 22"/>
                <a:gd name="T6" fmla="*/ 3 w 23"/>
                <a:gd name="T7" fmla="*/ 22 h 22"/>
                <a:gd name="T8" fmla="*/ 0 w 23"/>
                <a:gd name="T9" fmla="*/ 22 h 22"/>
                <a:gd name="T10" fmla="*/ 0 w 23"/>
                <a:gd name="T11" fmla="*/ 22 h 22"/>
                <a:gd name="T12" fmla="*/ 0 w 23"/>
                <a:gd name="T13" fmla="*/ 19 h 22"/>
                <a:gd name="T14" fmla="*/ 1 w 23"/>
                <a:gd name="T15" fmla="*/ 18 h 22"/>
                <a:gd name="T16" fmla="*/ 6 w 23"/>
                <a:gd name="T17" fmla="*/ 12 h 22"/>
                <a:gd name="T18" fmla="*/ 6 w 23"/>
                <a:gd name="T19" fmla="*/ 12 h 22"/>
                <a:gd name="T20" fmla="*/ 4 w 23"/>
                <a:gd name="T21" fmla="*/ 11 h 22"/>
                <a:gd name="T22" fmla="*/ 3 w 23"/>
                <a:gd name="T23" fmla="*/ 8 h 22"/>
                <a:gd name="T24" fmla="*/ 1 w 23"/>
                <a:gd name="T25" fmla="*/ 5 h 22"/>
                <a:gd name="T26" fmla="*/ 1 w 23"/>
                <a:gd name="T27" fmla="*/ 3 h 22"/>
                <a:gd name="T28" fmla="*/ 1 w 23"/>
                <a:gd name="T29" fmla="*/ 3 h 22"/>
                <a:gd name="T30" fmla="*/ 3 w 23"/>
                <a:gd name="T31" fmla="*/ 2 h 22"/>
                <a:gd name="T32" fmla="*/ 4 w 23"/>
                <a:gd name="T33" fmla="*/ 0 h 22"/>
                <a:gd name="T34" fmla="*/ 7 w 23"/>
                <a:gd name="T35" fmla="*/ 0 h 22"/>
                <a:gd name="T36" fmla="*/ 10 w 23"/>
                <a:gd name="T37" fmla="*/ 2 h 22"/>
                <a:gd name="T38" fmla="*/ 10 w 23"/>
                <a:gd name="T39" fmla="*/ 2 h 22"/>
                <a:gd name="T40" fmla="*/ 13 w 23"/>
                <a:gd name="T41" fmla="*/ 3 h 22"/>
                <a:gd name="T42" fmla="*/ 14 w 23"/>
                <a:gd name="T43" fmla="*/ 5 h 22"/>
                <a:gd name="T44" fmla="*/ 16 w 23"/>
                <a:gd name="T45" fmla="*/ 3 h 22"/>
                <a:gd name="T46" fmla="*/ 16 w 23"/>
                <a:gd name="T47" fmla="*/ 3 h 22"/>
                <a:gd name="T48" fmla="*/ 20 w 23"/>
                <a:gd name="T49" fmla="*/ 0 h 22"/>
                <a:gd name="T50" fmla="*/ 22 w 23"/>
                <a:gd name="T51" fmla="*/ 0 h 22"/>
                <a:gd name="T52" fmla="*/ 23 w 23"/>
                <a:gd name="T53" fmla="*/ 2 h 22"/>
                <a:gd name="T54" fmla="*/ 23 w 23"/>
                <a:gd name="T55" fmla="*/ 2 h 22"/>
                <a:gd name="T56" fmla="*/ 23 w 23"/>
                <a:gd name="T57" fmla="*/ 3 h 22"/>
                <a:gd name="T58" fmla="*/ 22 w 23"/>
                <a:gd name="T59" fmla="*/ 6 h 22"/>
                <a:gd name="T60" fmla="*/ 19 w 23"/>
                <a:gd name="T61" fmla="*/ 11 h 22"/>
                <a:gd name="T62" fmla="*/ 19 w 23"/>
                <a:gd name="T63" fmla="*/ 11 h 22"/>
                <a:gd name="T64" fmla="*/ 16 w 23"/>
                <a:gd name="T65" fmla="*/ 15 h 22"/>
                <a:gd name="T66" fmla="*/ 13 w 23"/>
                <a:gd name="T67"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22">
                  <a:moveTo>
                    <a:pt x="13" y="19"/>
                  </a:moveTo>
                  <a:lnTo>
                    <a:pt x="13" y="19"/>
                  </a:lnTo>
                  <a:lnTo>
                    <a:pt x="7" y="21"/>
                  </a:lnTo>
                  <a:lnTo>
                    <a:pt x="3" y="22"/>
                  </a:lnTo>
                  <a:lnTo>
                    <a:pt x="0" y="22"/>
                  </a:lnTo>
                  <a:lnTo>
                    <a:pt x="0" y="22"/>
                  </a:lnTo>
                  <a:lnTo>
                    <a:pt x="0" y="19"/>
                  </a:lnTo>
                  <a:lnTo>
                    <a:pt x="1" y="18"/>
                  </a:lnTo>
                  <a:lnTo>
                    <a:pt x="6" y="12"/>
                  </a:lnTo>
                  <a:lnTo>
                    <a:pt x="6" y="12"/>
                  </a:lnTo>
                  <a:lnTo>
                    <a:pt x="4" y="11"/>
                  </a:lnTo>
                  <a:lnTo>
                    <a:pt x="3" y="8"/>
                  </a:lnTo>
                  <a:lnTo>
                    <a:pt x="1" y="5"/>
                  </a:lnTo>
                  <a:lnTo>
                    <a:pt x="1" y="3"/>
                  </a:lnTo>
                  <a:lnTo>
                    <a:pt x="1" y="3"/>
                  </a:lnTo>
                  <a:lnTo>
                    <a:pt x="3" y="2"/>
                  </a:lnTo>
                  <a:lnTo>
                    <a:pt x="4" y="0"/>
                  </a:lnTo>
                  <a:lnTo>
                    <a:pt x="7" y="0"/>
                  </a:lnTo>
                  <a:lnTo>
                    <a:pt x="10" y="2"/>
                  </a:lnTo>
                  <a:lnTo>
                    <a:pt x="10" y="2"/>
                  </a:lnTo>
                  <a:lnTo>
                    <a:pt x="13" y="3"/>
                  </a:lnTo>
                  <a:lnTo>
                    <a:pt x="14" y="5"/>
                  </a:lnTo>
                  <a:lnTo>
                    <a:pt x="16" y="3"/>
                  </a:lnTo>
                  <a:lnTo>
                    <a:pt x="16" y="3"/>
                  </a:lnTo>
                  <a:lnTo>
                    <a:pt x="20" y="0"/>
                  </a:lnTo>
                  <a:lnTo>
                    <a:pt x="22" y="0"/>
                  </a:lnTo>
                  <a:lnTo>
                    <a:pt x="23" y="2"/>
                  </a:lnTo>
                  <a:lnTo>
                    <a:pt x="23" y="2"/>
                  </a:lnTo>
                  <a:lnTo>
                    <a:pt x="23" y="3"/>
                  </a:lnTo>
                  <a:lnTo>
                    <a:pt x="22" y="6"/>
                  </a:lnTo>
                  <a:lnTo>
                    <a:pt x="19" y="11"/>
                  </a:lnTo>
                  <a:lnTo>
                    <a:pt x="19" y="11"/>
                  </a:lnTo>
                  <a:lnTo>
                    <a:pt x="16" y="15"/>
                  </a:lnTo>
                  <a:lnTo>
                    <a:pt x="13" y="19"/>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00" name="Freeform 1345"/>
            <p:cNvSpPr>
              <a:spLocks/>
            </p:cNvSpPr>
            <p:nvPr/>
          </p:nvSpPr>
          <p:spPr bwMode="auto">
            <a:xfrm>
              <a:off x="2759076" y="6272641"/>
              <a:ext cx="36513" cy="34925"/>
            </a:xfrm>
            <a:custGeom>
              <a:avLst/>
              <a:gdLst>
                <a:gd name="T0" fmla="*/ 13 w 23"/>
                <a:gd name="T1" fmla="*/ 19 h 22"/>
                <a:gd name="T2" fmla="*/ 13 w 23"/>
                <a:gd name="T3" fmla="*/ 19 h 22"/>
                <a:gd name="T4" fmla="*/ 7 w 23"/>
                <a:gd name="T5" fmla="*/ 21 h 22"/>
                <a:gd name="T6" fmla="*/ 3 w 23"/>
                <a:gd name="T7" fmla="*/ 22 h 22"/>
                <a:gd name="T8" fmla="*/ 0 w 23"/>
                <a:gd name="T9" fmla="*/ 22 h 22"/>
                <a:gd name="T10" fmla="*/ 0 w 23"/>
                <a:gd name="T11" fmla="*/ 22 h 22"/>
                <a:gd name="T12" fmla="*/ 0 w 23"/>
                <a:gd name="T13" fmla="*/ 19 h 22"/>
                <a:gd name="T14" fmla="*/ 1 w 23"/>
                <a:gd name="T15" fmla="*/ 18 h 22"/>
                <a:gd name="T16" fmla="*/ 6 w 23"/>
                <a:gd name="T17" fmla="*/ 12 h 22"/>
                <a:gd name="T18" fmla="*/ 6 w 23"/>
                <a:gd name="T19" fmla="*/ 12 h 22"/>
                <a:gd name="T20" fmla="*/ 4 w 23"/>
                <a:gd name="T21" fmla="*/ 11 h 22"/>
                <a:gd name="T22" fmla="*/ 3 w 23"/>
                <a:gd name="T23" fmla="*/ 8 h 22"/>
                <a:gd name="T24" fmla="*/ 1 w 23"/>
                <a:gd name="T25" fmla="*/ 5 h 22"/>
                <a:gd name="T26" fmla="*/ 1 w 23"/>
                <a:gd name="T27" fmla="*/ 3 h 22"/>
                <a:gd name="T28" fmla="*/ 1 w 23"/>
                <a:gd name="T29" fmla="*/ 3 h 22"/>
                <a:gd name="T30" fmla="*/ 3 w 23"/>
                <a:gd name="T31" fmla="*/ 2 h 22"/>
                <a:gd name="T32" fmla="*/ 4 w 23"/>
                <a:gd name="T33" fmla="*/ 0 h 22"/>
                <a:gd name="T34" fmla="*/ 7 w 23"/>
                <a:gd name="T35" fmla="*/ 0 h 22"/>
                <a:gd name="T36" fmla="*/ 10 w 23"/>
                <a:gd name="T37" fmla="*/ 2 h 22"/>
                <a:gd name="T38" fmla="*/ 10 w 23"/>
                <a:gd name="T39" fmla="*/ 2 h 22"/>
                <a:gd name="T40" fmla="*/ 13 w 23"/>
                <a:gd name="T41" fmla="*/ 3 h 22"/>
                <a:gd name="T42" fmla="*/ 14 w 23"/>
                <a:gd name="T43" fmla="*/ 5 h 22"/>
                <a:gd name="T44" fmla="*/ 16 w 23"/>
                <a:gd name="T45" fmla="*/ 3 h 22"/>
                <a:gd name="T46" fmla="*/ 16 w 23"/>
                <a:gd name="T47" fmla="*/ 3 h 22"/>
                <a:gd name="T48" fmla="*/ 20 w 23"/>
                <a:gd name="T49" fmla="*/ 0 h 22"/>
                <a:gd name="T50" fmla="*/ 22 w 23"/>
                <a:gd name="T51" fmla="*/ 0 h 22"/>
                <a:gd name="T52" fmla="*/ 23 w 23"/>
                <a:gd name="T53" fmla="*/ 2 h 22"/>
                <a:gd name="T54" fmla="*/ 23 w 23"/>
                <a:gd name="T55" fmla="*/ 2 h 22"/>
                <a:gd name="T56" fmla="*/ 23 w 23"/>
                <a:gd name="T57" fmla="*/ 3 h 22"/>
                <a:gd name="T58" fmla="*/ 22 w 23"/>
                <a:gd name="T59" fmla="*/ 6 h 22"/>
                <a:gd name="T60" fmla="*/ 19 w 23"/>
                <a:gd name="T61" fmla="*/ 11 h 22"/>
                <a:gd name="T62" fmla="*/ 19 w 23"/>
                <a:gd name="T63" fmla="*/ 11 h 22"/>
                <a:gd name="T64" fmla="*/ 16 w 23"/>
                <a:gd name="T65" fmla="*/ 15 h 22"/>
                <a:gd name="T66" fmla="*/ 13 w 23"/>
                <a:gd name="T67"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22">
                  <a:moveTo>
                    <a:pt x="13" y="19"/>
                  </a:moveTo>
                  <a:lnTo>
                    <a:pt x="13" y="19"/>
                  </a:lnTo>
                  <a:lnTo>
                    <a:pt x="7" y="21"/>
                  </a:lnTo>
                  <a:lnTo>
                    <a:pt x="3" y="22"/>
                  </a:lnTo>
                  <a:lnTo>
                    <a:pt x="0" y="22"/>
                  </a:lnTo>
                  <a:lnTo>
                    <a:pt x="0" y="22"/>
                  </a:lnTo>
                  <a:lnTo>
                    <a:pt x="0" y="19"/>
                  </a:lnTo>
                  <a:lnTo>
                    <a:pt x="1" y="18"/>
                  </a:lnTo>
                  <a:lnTo>
                    <a:pt x="6" y="12"/>
                  </a:lnTo>
                  <a:lnTo>
                    <a:pt x="6" y="12"/>
                  </a:lnTo>
                  <a:lnTo>
                    <a:pt x="4" y="11"/>
                  </a:lnTo>
                  <a:lnTo>
                    <a:pt x="3" y="8"/>
                  </a:lnTo>
                  <a:lnTo>
                    <a:pt x="1" y="5"/>
                  </a:lnTo>
                  <a:lnTo>
                    <a:pt x="1" y="3"/>
                  </a:lnTo>
                  <a:lnTo>
                    <a:pt x="1" y="3"/>
                  </a:lnTo>
                  <a:lnTo>
                    <a:pt x="3" y="2"/>
                  </a:lnTo>
                  <a:lnTo>
                    <a:pt x="4" y="0"/>
                  </a:lnTo>
                  <a:lnTo>
                    <a:pt x="7" y="0"/>
                  </a:lnTo>
                  <a:lnTo>
                    <a:pt x="10" y="2"/>
                  </a:lnTo>
                  <a:lnTo>
                    <a:pt x="10" y="2"/>
                  </a:lnTo>
                  <a:lnTo>
                    <a:pt x="13" y="3"/>
                  </a:lnTo>
                  <a:lnTo>
                    <a:pt x="14" y="5"/>
                  </a:lnTo>
                  <a:lnTo>
                    <a:pt x="16" y="3"/>
                  </a:lnTo>
                  <a:lnTo>
                    <a:pt x="16" y="3"/>
                  </a:lnTo>
                  <a:lnTo>
                    <a:pt x="20" y="0"/>
                  </a:lnTo>
                  <a:lnTo>
                    <a:pt x="22" y="0"/>
                  </a:lnTo>
                  <a:lnTo>
                    <a:pt x="23" y="2"/>
                  </a:lnTo>
                  <a:lnTo>
                    <a:pt x="23" y="2"/>
                  </a:lnTo>
                  <a:lnTo>
                    <a:pt x="23" y="3"/>
                  </a:lnTo>
                  <a:lnTo>
                    <a:pt x="22" y="6"/>
                  </a:lnTo>
                  <a:lnTo>
                    <a:pt x="19" y="11"/>
                  </a:lnTo>
                  <a:lnTo>
                    <a:pt x="19" y="11"/>
                  </a:lnTo>
                  <a:lnTo>
                    <a:pt x="16" y="15"/>
                  </a:lnTo>
                  <a:lnTo>
                    <a:pt x="13" y="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01" name="Freeform 1346"/>
            <p:cNvSpPr>
              <a:spLocks/>
            </p:cNvSpPr>
            <p:nvPr/>
          </p:nvSpPr>
          <p:spPr bwMode="auto">
            <a:xfrm>
              <a:off x="2789238" y="6277404"/>
              <a:ext cx="36513" cy="38100"/>
            </a:xfrm>
            <a:custGeom>
              <a:avLst/>
              <a:gdLst>
                <a:gd name="T0" fmla="*/ 6 w 23"/>
                <a:gd name="T1" fmla="*/ 24 h 24"/>
                <a:gd name="T2" fmla="*/ 6 w 23"/>
                <a:gd name="T3" fmla="*/ 24 h 24"/>
                <a:gd name="T4" fmla="*/ 3 w 23"/>
                <a:gd name="T5" fmla="*/ 24 h 24"/>
                <a:gd name="T6" fmla="*/ 1 w 23"/>
                <a:gd name="T7" fmla="*/ 22 h 24"/>
                <a:gd name="T8" fmla="*/ 0 w 23"/>
                <a:gd name="T9" fmla="*/ 19 h 24"/>
                <a:gd name="T10" fmla="*/ 1 w 23"/>
                <a:gd name="T11" fmla="*/ 16 h 24"/>
                <a:gd name="T12" fmla="*/ 1 w 23"/>
                <a:gd name="T13" fmla="*/ 16 h 24"/>
                <a:gd name="T14" fmla="*/ 4 w 23"/>
                <a:gd name="T15" fmla="*/ 15 h 24"/>
                <a:gd name="T16" fmla="*/ 7 w 23"/>
                <a:gd name="T17" fmla="*/ 13 h 24"/>
                <a:gd name="T18" fmla="*/ 9 w 23"/>
                <a:gd name="T19" fmla="*/ 12 h 24"/>
                <a:gd name="T20" fmla="*/ 10 w 23"/>
                <a:gd name="T21" fmla="*/ 9 h 24"/>
                <a:gd name="T22" fmla="*/ 10 w 23"/>
                <a:gd name="T23" fmla="*/ 9 h 24"/>
                <a:gd name="T24" fmla="*/ 10 w 23"/>
                <a:gd name="T25" fmla="*/ 3 h 24"/>
                <a:gd name="T26" fmla="*/ 11 w 23"/>
                <a:gd name="T27" fmla="*/ 2 h 24"/>
                <a:gd name="T28" fmla="*/ 13 w 23"/>
                <a:gd name="T29" fmla="*/ 0 h 24"/>
                <a:gd name="T30" fmla="*/ 13 w 23"/>
                <a:gd name="T31" fmla="*/ 0 h 24"/>
                <a:gd name="T32" fmla="*/ 16 w 23"/>
                <a:gd name="T33" fmla="*/ 0 h 24"/>
                <a:gd name="T34" fmla="*/ 19 w 23"/>
                <a:gd name="T35" fmla="*/ 2 h 24"/>
                <a:gd name="T36" fmla="*/ 22 w 23"/>
                <a:gd name="T37" fmla="*/ 3 h 24"/>
                <a:gd name="T38" fmla="*/ 23 w 23"/>
                <a:gd name="T39" fmla="*/ 6 h 24"/>
                <a:gd name="T40" fmla="*/ 23 w 23"/>
                <a:gd name="T41" fmla="*/ 6 h 24"/>
                <a:gd name="T42" fmla="*/ 19 w 23"/>
                <a:gd name="T43" fmla="*/ 11 h 24"/>
                <a:gd name="T44" fmla="*/ 16 w 23"/>
                <a:gd name="T45" fmla="*/ 13 h 24"/>
                <a:gd name="T46" fmla="*/ 16 w 23"/>
                <a:gd name="T47" fmla="*/ 13 h 24"/>
                <a:gd name="T48" fmla="*/ 13 w 23"/>
                <a:gd name="T49" fmla="*/ 19 h 24"/>
                <a:gd name="T50" fmla="*/ 10 w 23"/>
                <a:gd name="T51" fmla="*/ 22 h 24"/>
                <a:gd name="T52" fmla="*/ 6 w 23"/>
                <a:gd name="T5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4">
                  <a:moveTo>
                    <a:pt x="6" y="24"/>
                  </a:moveTo>
                  <a:lnTo>
                    <a:pt x="6" y="24"/>
                  </a:lnTo>
                  <a:lnTo>
                    <a:pt x="3" y="24"/>
                  </a:lnTo>
                  <a:lnTo>
                    <a:pt x="1" y="22"/>
                  </a:lnTo>
                  <a:lnTo>
                    <a:pt x="0" y="19"/>
                  </a:lnTo>
                  <a:lnTo>
                    <a:pt x="1" y="16"/>
                  </a:lnTo>
                  <a:lnTo>
                    <a:pt x="1" y="16"/>
                  </a:lnTo>
                  <a:lnTo>
                    <a:pt x="4" y="15"/>
                  </a:lnTo>
                  <a:lnTo>
                    <a:pt x="7" y="13"/>
                  </a:lnTo>
                  <a:lnTo>
                    <a:pt x="9" y="12"/>
                  </a:lnTo>
                  <a:lnTo>
                    <a:pt x="10" y="9"/>
                  </a:lnTo>
                  <a:lnTo>
                    <a:pt x="10" y="9"/>
                  </a:lnTo>
                  <a:lnTo>
                    <a:pt x="10" y="3"/>
                  </a:lnTo>
                  <a:lnTo>
                    <a:pt x="11" y="2"/>
                  </a:lnTo>
                  <a:lnTo>
                    <a:pt x="13" y="0"/>
                  </a:lnTo>
                  <a:lnTo>
                    <a:pt x="13" y="0"/>
                  </a:lnTo>
                  <a:lnTo>
                    <a:pt x="16" y="0"/>
                  </a:lnTo>
                  <a:lnTo>
                    <a:pt x="19" y="2"/>
                  </a:lnTo>
                  <a:lnTo>
                    <a:pt x="22" y="3"/>
                  </a:lnTo>
                  <a:lnTo>
                    <a:pt x="23" y="6"/>
                  </a:lnTo>
                  <a:lnTo>
                    <a:pt x="23" y="6"/>
                  </a:lnTo>
                  <a:lnTo>
                    <a:pt x="19" y="11"/>
                  </a:lnTo>
                  <a:lnTo>
                    <a:pt x="16" y="13"/>
                  </a:lnTo>
                  <a:lnTo>
                    <a:pt x="16" y="13"/>
                  </a:lnTo>
                  <a:lnTo>
                    <a:pt x="13" y="19"/>
                  </a:lnTo>
                  <a:lnTo>
                    <a:pt x="10" y="22"/>
                  </a:lnTo>
                  <a:lnTo>
                    <a:pt x="6" y="24"/>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02" name="Freeform 1347"/>
            <p:cNvSpPr>
              <a:spLocks/>
            </p:cNvSpPr>
            <p:nvPr/>
          </p:nvSpPr>
          <p:spPr bwMode="auto">
            <a:xfrm>
              <a:off x="2789238" y="6277404"/>
              <a:ext cx="36513" cy="38100"/>
            </a:xfrm>
            <a:custGeom>
              <a:avLst/>
              <a:gdLst>
                <a:gd name="T0" fmla="*/ 6 w 23"/>
                <a:gd name="T1" fmla="*/ 24 h 24"/>
                <a:gd name="T2" fmla="*/ 6 w 23"/>
                <a:gd name="T3" fmla="*/ 24 h 24"/>
                <a:gd name="T4" fmla="*/ 3 w 23"/>
                <a:gd name="T5" fmla="*/ 24 h 24"/>
                <a:gd name="T6" fmla="*/ 1 w 23"/>
                <a:gd name="T7" fmla="*/ 22 h 24"/>
                <a:gd name="T8" fmla="*/ 0 w 23"/>
                <a:gd name="T9" fmla="*/ 19 h 24"/>
                <a:gd name="T10" fmla="*/ 1 w 23"/>
                <a:gd name="T11" fmla="*/ 16 h 24"/>
                <a:gd name="T12" fmla="*/ 1 w 23"/>
                <a:gd name="T13" fmla="*/ 16 h 24"/>
                <a:gd name="T14" fmla="*/ 4 w 23"/>
                <a:gd name="T15" fmla="*/ 15 h 24"/>
                <a:gd name="T16" fmla="*/ 7 w 23"/>
                <a:gd name="T17" fmla="*/ 13 h 24"/>
                <a:gd name="T18" fmla="*/ 9 w 23"/>
                <a:gd name="T19" fmla="*/ 12 h 24"/>
                <a:gd name="T20" fmla="*/ 10 w 23"/>
                <a:gd name="T21" fmla="*/ 9 h 24"/>
                <a:gd name="T22" fmla="*/ 10 w 23"/>
                <a:gd name="T23" fmla="*/ 9 h 24"/>
                <a:gd name="T24" fmla="*/ 10 w 23"/>
                <a:gd name="T25" fmla="*/ 3 h 24"/>
                <a:gd name="T26" fmla="*/ 11 w 23"/>
                <a:gd name="T27" fmla="*/ 2 h 24"/>
                <a:gd name="T28" fmla="*/ 13 w 23"/>
                <a:gd name="T29" fmla="*/ 0 h 24"/>
                <a:gd name="T30" fmla="*/ 13 w 23"/>
                <a:gd name="T31" fmla="*/ 0 h 24"/>
                <a:gd name="T32" fmla="*/ 16 w 23"/>
                <a:gd name="T33" fmla="*/ 0 h 24"/>
                <a:gd name="T34" fmla="*/ 19 w 23"/>
                <a:gd name="T35" fmla="*/ 2 h 24"/>
                <a:gd name="T36" fmla="*/ 22 w 23"/>
                <a:gd name="T37" fmla="*/ 3 h 24"/>
                <a:gd name="T38" fmla="*/ 23 w 23"/>
                <a:gd name="T39" fmla="*/ 6 h 24"/>
                <a:gd name="T40" fmla="*/ 23 w 23"/>
                <a:gd name="T41" fmla="*/ 6 h 24"/>
                <a:gd name="T42" fmla="*/ 19 w 23"/>
                <a:gd name="T43" fmla="*/ 11 h 24"/>
                <a:gd name="T44" fmla="*/ 16 w 23"/>
                <a:gd name="T45" fmla="*/ 13 h 24"/>
                <a:gd name="T46" fmla="*/ 16 w 23"/>
                <a:gd name="T47" fmla="*/ 13 h 24"/>
                <a:gd name="T48" fmla="*/ 13 w 23"/>
                <a:gd name="T49" fmla="*/ 19 h 24"/>
                <a:gd name="T50" fmla="*/ 10 w 23"/>
                <a:gd name="T51" fmla="*/ 22 h 24"/>
                <a:gd name="T52" fmla="*/ 6 w 23"/>
                <a:gd name="T5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4">
                  <a:moveTo>
                    <a:pt x="6" y="24"/>
                  </a:moveTo>
                  <a:lnTo>
                    <a:pt x="6" y="24"/>
                  </a:lnTo>
                  <a:lnTo>
                    <a:pt x="3" y="24"/>
                  </a:lnTo>
                  <a:lnTo>
                    <a:pt x="1" y="22"/>
                  </a:lnTo>
                  <a:lnTo>
                    <a:pt x="0" y="19"/>
                  </a:lnTo>
                  <a:lnTo>
                    <a:pt x="1" y="16"/>
                  </a:lnTo>
                  <a:lnTo>
                    <a:pt x="1" y="16"/>
                  </a:lnTo>
                  <a:lnTo>
                    <a:pt x="4" y="15"/>
                  </a:lnTo>
                  <a:lnTo>
                    <a:pt x="7" y="13"/>
                  </a:lnTo>
                  <a:lnTo>
                    <a:pt x="9" y="12"/>
                  </a:lnTo>
                  <a:lnTo>
                    <a:pt x="10" y="9"/>
                  </a:lnTo>
                  <a:lnTo>
                    <a:pt x="10" y="9"/>
                  </a:lnTo>
                  <a:lnTo>
                    <a:pt x="10" y="3"/>
                  </a:lnTo>
                  <a:lnTo>
                    <a:pt x="11" y="2"/>
                  </a:lnTo>
                  <a:lnTo>
                    <a:pt x="13" y="0"/>
                  </a:lnTo>
                  <a:lnTo>
                    <a:pt x="13" y="0"/>
                  </a:lnTo>
                  <a:lnTo>
                    <a:pt x="16" y="0"/>
                  </a:lnTo>
                  <a:lnTo>
                    <a:pt x="19" y="2"/>
                  </a:lnTo>
                  <a:lnTo>
                    <a:pt x="22" y="3"/>
                  </a:lnTo>
                  <a:lnTo>
                    <a:pt x="23" y="6"/>
                  </a:lnTo>
                  <a:lnTo>
                    <a:pt x="23" y="6"/>
                  </a:lnTo>
                  <a:lnTo>
                    <a:pt x="19" y="11"/>
                  </a:lnTo>
                  <a:lnTo>
                    <a:pt x="16" y="13"/>
                  </a:lnTo>
                  <a:lnTo>
                    <a:pt x="16" y="13"/>
                  </a:lnTo>
                  <a:lnTo>
                    <a:pt x="13" y="19"/>
                  </a:lnTo>
                  <a:lnTo>
                    <a:pt x="10" y="22"/>
                  </a:lnTo>
                  <a:lnTo>
                    <a:pt x="6"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03" name="Freeform 1348"/>
            <p:cNvSpPr>
              <a:spLocks/>
            </p:cNvSpPr>
            <p:nvPr/>
          </p:nvSpPr>
          <p:spPr bwMode="auto">
            <a:xfrm>
              <a:off x="2416176" y="4286679"/>
              <a:ext cx="39688" cy="9525"/>
            </a:xfrm>
            <a:custGeom>
              <a:avLst/>
              <a:gdLst>
                <a:gd name="T0" fmla="*/ 23 w 25"/>
                <a:gd name="T1" fmla="*/ 6 h 6"/>
                <a:gd name="T2" fmla="*/ 23 w 25"/>
                <a:gd name="T3" fmla="*/ 6 h 6"/>
                <a:gd name="T4" fmla="*/ 20 w 25"/>
                <a:gd name="T5" fmla="*/ 6 h 6"/>
                <a:gd name="T6" fmla="*/ 15 w 25"/>
                <a:gd name="T7" fmla="*/ 6 h 6"/>
                <a:gd name="T8" fmla="*/ 2 w 25"/>
                <a:gd name="T9" fmla="*/ 3 h 6"/>
                <a:gd name="T10" fmla="*/ 2 w 25"/>
                <a:gd name="T11" fmla="*/ 3 h 6"/>
                <a:gd name="T12" fmla="*/ 0 w 25"/>
                <a:gd name="T13" fmla="*/ 1 h 6"/>
                <a:gd name="T14" fmla="*/ 2 w 25"/>
                <a:gd name="T15" fmla="*/ 0 h 6"/>
                <a:gd name="T16" fmla="*/ 10 w 25"/>
                <a:gd name="T17" fmla="*/ 0 h 6"/>
                <a:gd name="T18" fmla="*/ 10 w 25"/>
                <a:gd name="T19" fmla="*/ 0 h 6"/>
                <a:gd name="T20" fmla="*/ 16 w 25"/>
                <a:gd name="T21" fmla="*/ 0 h 6"/>
                <a:gd name="T22" fmla="*/ 22 w 25"/>
                <a:gd name="T23" fmla="*/ 1 h 6"/>
                <a:gd name="T24" fmla="*/ 25 w 25"/>
                <a:gd name="T25" fmla="*/ 3 h 6"/>
                <a:gd name="T26" fmla="*/ 25 w 25"/>
                <a:gd name="T27" fmla="*/ 4 h 6"/>
                <a:gd name="T28" fmla="*/ 23 w 25"/>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6">
                  <a:moveTo>
                    <a:pt x="23" y="6"/>
                  </a:moveTo>
                  <a:lnTo>
                    <a:pt x="23" y="6"/>
                  </a:lnTo>
                  <a:lnTo>
                    <a:pt x="20" y="6"/>
                  </a:lnTo>
                  <a:lnTo>
                    <a:pt x="15" y="6"/>
                  </a:lnTo>
                  <a:lnTo>
                    <a:pt x="2" y="3"/>
                  </a:lnTo>
                  <a:lnTo>
                    <a:pt x="2" y="3"/>
                  </a:lnTo>
                  <a:lnTo>
                    <a:pt x="0" y="1"/>
                  </a:lnTo>
                  <a:lnTo>
                    <a:pt x="2" y="0"/>
                  </a:lnTo>
                  <a:lnTo>
                    <a:pt x="10" y="0"/>
                  </a:lnTo>
                  <a:lnTo>
                    <a:pt x="10" y="0"/>
                  </a:lnTo>
                  <a:lnTo>
                    <a:pt x="16" y="0"/>
                  </a:lnTo>
                  <a:lnTo>
                    <a:pt x="22" y="1"/>
                  </a:lnTo>
                  <a:lnTo>
                    <a:pt x="25" y="3"/>
                  </a:lnTo>
                  <a:lnTo>
                    <a:pt x="25" y="4"/>
                  </a:lnTo>
                  <a:lnTo>
                    <a:pt x="23" y="6"/>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04" name="Freeform 1349"/>
            <p:cNvSpPr>
              <a:spLocks/>
            </p:cNvSpPr>
            <p:nvPr/>
          </p:nvSpPr>
          <p:spPr bwMode="auto">
            <a:xfrm>
              <a:off x="2416176" y="4286679"/>
              <a:ext cx="39688" cy="9525"/>
            </a:xfrm>
            <a:custGeom>
              <a:avLst/>
              <a:gdLst>
                <a:gd name="T0" fmla="*/ 23 w 25"/>
                <a:gd name="T1" fmla="*/ 6 h 6"/>
                <a:gd name="T2" fmla="*/ 23 w 25"/>
                <a:gd name="T3" fmla="*/ 6 h 6"/>
                <a:gd name="T4" fmla="*/ 20 w 25"/>
                <a:gd name="T5" fmla="*/ 6 h 6"/>
                <a:gd name="T6" fmla="*/ 15 w 25"/>
                <a:gd name="T7" fmla="*/ 6 h 6"/>
                <a:gd name="T8" fmla="*/ 2 w 25"/>
                <a:gd name="T9" fmla="*/ 3 h 6"/>
                <a:gd name="T10" fmla="*/ 2 w 25"/>
                <a:gd name="T11" fmla="*/ 3 h 6"/>
                <a:gd name="T12" fmla="*/ 0 w 25"/>
                <a:gd name="T13" fmla="*/ 1 h 6"/>
                <a:gd name="T14" fmla="*/ 2 w 25"/>
                <a:gd name="T15" fmla="*/ 0 h 6"/>
                <a:gd name="T16" fmla="*/ 10 w 25"/>
                <a:gd name="T17" fmla="*/ 0 h 6"/>
                <a:gd name="T18" fmla="*/ 10 w 25"/>
                <a:gd name="T19" fmla="*/ 0 h 6"/>
                <a:gd name="T20" fmla="*/ 16 w 25"/>
                <a:gd name="T21" fmla="*/ 0 h 6"/>
                <a:gd name="T22" fmla="*/ 22 w 25"/>
                <a:gd name="T23" fmla="*/ 1 h 6"/>
                <a:gd name="T24" fmla="*/ 25 w 25"/>
                <a:gd name="T25" fmla="*/ 3 h 6"/>
                <a:gd name="T26" fmla="*/ 25 w 25"/>
                <a:gd name="T27" fmla="*/ 4 h 6"/>
                <a:gd name="T28" fmla="*/ 23 w 25"/>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6">
                  <a:moveTo>
                    <a:pt x="23" y="6"/>
                  </a:moveTo>
                  <a:lnTo>
                    <a:pt x="23" y="6"/>
                  </a:lnTo>
                  <a:lnTo>
                    <a:pt x="20" y="6"/>
                  </a:lnTo>
                  <a:lnTo>
                    <a:pt x="15" y="6"/>
                  </a:lnTo>
                  <a:lnTo>
                    <a:pt x="2" y="3"/>
                  </a:lnTo>
                  <a:lnTo>
                    <a:pt x="2" y="3"/>
                  </a:lnTo>
                  <a:lnTo>
                    <a:pt x="0" y="1"/>
                  </a:lnTo>
                  <a:lnTo>
                    <a:pt x="2" y="0"/>
                  </a:lnTo>
                  <a:lnTo>
                    <a:pt x="10" y="0"/>
                  </a:lnTo>
                  <a:lnTo>
                    <a:pt x="10" y="0"/>
                  </a:lnTo>
                  <a:lnTo>
                    <a:pt x="16" y="0"/>
                  </a:lnTo>
                  <a:lnTo>
                    <a:pt x="22" y="1"/>
                  </a:lnTo>
                  <a:lnTo>
                    <a:pt x="25" y="3"/>
                  </a:lnTo>
                  <a:lnTo>
                    <a:pt x="25" y="4"/>
                  </a:lnTo>
                  <a:lnTo>
                    <a:pt x="23"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05" name="Freeform 1350"/>
            <p:cNvSpPr>
              <a:spLocks/>
            </p:cNvSpPr>
            <p:nvPr/>
          </p:nvSpPr>
          <p:spPr bwMode="auto">
            <a:xfrm>
              <a:off x="2593976" y="4288266"/>
              <a:ext cx="36513" cy="17463"/>
            </a:xfrm>
            <a:custGeom>
              <a:avLst/>
              <a:gdLst>
                <a:gd name="T0" fmla="*/ 14 w 23"/>
                <a:gd name="T1" fmla="*/ 9 h 11"/>
                <a:gd name="T2" fmla="*/ 14 w 23"/>
                <a:gd name="T3" fmla="*/ 9 h 11"/>
                <a:gd name="T4" fmla="*/ 8 w 23"/>
                <a:gd name="T5" fmla="*/ 11 h 11"/>
                <a:gd name="T6" fmla="*/ 4 w 23"/>
                <a:gd name="T7" fmla="*/ 11 h 11"/>
                <a:gd name="T8" fmla="*/ 1 w 23"/>
                <a:gd name="T9" fmla="*/ 9 h 11"/>
                <a:gd name="T10" fmla="*/ 0 w 23"/>
                <a:gd name="T11" fmla="*/ 6 h 11"/>
                <a:gd name="T12" fmla="*/ 0 w 23"/>
                <a:gd name="T13" fmla="*/ 6 h 11"/>
                <a:gd name="T14" fmla="*/ 0 w 23"/>
                <a:gd name="T15" fmla="*/ 3 h 11"/>
                <a:gd name="T16" fmla="*/ 1 w 23"/>
                <a:gd name="T17" fmla="*/ 2 h 11"/>
                <a:gd name="T18" fmla="*/ 4 w 23"/>
                <a:gd name="T19" fmla="*/ 2 h 11"/>
                <a:gd name="T20" fmla="*/ 10 w 23"/>
                <a:gd name="T21" fmla="*/ 0 h 11"/>
                <a:gd name="T22" fmla="*/ 10 w 23"/>
                <a:gd name="T23" fmla="*/ 0 h 11"/>
                <a:gd name="T24" fmla="*/ 17 w 23"/>
                <a:gd name="T25" fmla="*/ 0 h 11"/>
                <a:gd name="T26" fmla="*/ 23 w 23"/>
                <a:gd name="T27" fmla="*/ 2 h 11"/>
                <a:gd name="T28" fmla="*/ 23 w 23"/>
                <a:gd name="T29" fmla="*/ 2 h 11"/>
                <a:gd name="T30" fmla="*/ 23 w 23"/>
                <a:gd name="T31" fmla="*/ 3 h 11"/>
                <a:gd name="T32" fmla="*/ 14 w 23"/>
                <a:gd name="T33"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11">
                  <a:moveTo>
                    <a:pt x="14" y="9"/>
                  </a:moveTo>
                  <a:lnTo>
                    <a:pt x="14" y="9"/>
                  </a:lnTo>
                  <a:lnTo>
                    <a:pt x="8" y="11"/>
                  </a:lnTo>
                  <a:lnTo>
                    <a:pt x="4" y="11"/>
                  </a:lnTo>
                  <a:lnTo>
                    <a:pt x="1" y="9"/>
                  </a:lnTo>
                  <a:lnTo>
                    <a:pt x="0" y="6"/>
                  </a:lnTo>
                  <a:lnTo>
                    <a:pt x="0" y="6"/>
                  </a:lnTo>
                  <a:lnTo>
                    <a:pt x="0" y="3"/>
                  </a:lnTo>
                  <a:lnTo>
                    <a:pt x="1" y="2"/>
                  </a:lnTo>
                  <a:lnTo>
                    <a:pt x="4" y="2"/>
                  </a:lnTo>
                  <a:lnTo>
                    <a:pt x="10" y="0"/>
                  </a:lnTo>
                  <a:lnTo>
                    <a:pt x="10" y="0"/>
                  </a:lnTo>
                  <a:lnTo>
                    <a:pt x="17" y="0"/>
                  </a:lnTo>
                  <a:lnTo>
                    <a:pt x="23" y="2"/>
                  </a:lnTo>
                  <a:lnTo>
                    <a:pt x="23" y="2"/>
                  </a:lnTo>
                  <a:lnTo>
                    <a:pt x="23" y="3"/>
                  </a:lnTo>
                  <a:lnTo>
                    <a:pt x="14" y="9"/>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06" name="Freeform 1351"/>
            <p:cNvSpPr>
              <a:spLocks/>
            </p:cNvSpPr>
            <p:nvPr/>
          </p:nvSpPr>
          <p:spPr bwMode="auto">
            <a:xfrm>
              <a:off x="2593976" y="4288266"/>
              <a:ext cx="36513" cy="17463"/>
            </a:xfrm>
            <a:custGeom>
              <a:avLst/>
              <a:gdLst>
                <a:gd name="T0" fmla="*/ 14 w 23"/>
                <a:gd name="T1" fmla="*/ 9 h 11"/>
                <a:gd name="T2" fmla="*/ 14 w 23"/>
                <a:gd name="T3" fmla="*/ 9 h 11"/>
                <a:gd name="T4" fmla="*/ 8 w 23"/>
                <a:gd name="T5" fmla="*/ 11 h 11"/>
                <a:gd name="T6" fmla="*/ 4 w 23"/>
                <a:gd name="T7" fmla="*/ 11 h 11"/>
                <a:gd name="T8" fmla="*/ 1 w 23"/>
                <a:gd name="T9" fmla="*/ 9 h 11"/>
                <a:gd name="T10" fmla="*/ 0 w 23"/>
                <a:gd name="T11" fmla="*/ 6 h 11"/>
                <a:gd name="T12" fmla="*/ 0 w 23"/>
                <a:gd name="T13" fmla="*/ 6 h 11"/>
                <a:gd name="T14" fmla="*/ 0 w 23"/>
                <a:gd name="T15" fmla="*/ 3 h 11"/>
                <a:gd name="T16" fmla="*/ 1 w 23"/>
                <a:gd name="T17" fmla="*/ 2 h 11"/>
                <a:gd name="T18" fmla="*/ 4 w 23"/>
                <a:gd name="T19" fmla="*/ 2 h 11"/>
                <a:gd name="T20" fmla="*/ 10 w 23"/>
                <a:gd name="T21" fmla="*/ 0 h 11"/>
                <a:gd name="T22" fmla="*/ 10 w 23"/>
                <a:gd name="T23" fmla="*/ 0 h 11"/>
                <a:gd name="T24" fmla="*/ 17 w 23"/>
                <a:gd name="T25" fmla="*/ 0 h 11"/>
                <a:gd name="T26" fmla="*/ 23 w 23"/>
                <a:gd name="T27" fmla="*/ 2 h 11"/>
                <a:gd name="T28" fmla="*/ 23 w 23"/>
                <a:gd name="T29" fmla="*/ 2 h 11"/>
                <a:gd name="T30" fmla="*/ 23 w 23"/>
                <a:gd name="T31" fmla="*/ 3 h 11"/>
                <a:gd name="T32" fmla="*/ 14 w 23"/>
                <a:gd name="T33"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11">
                  <a:moveTo>
                    <a:pt x="14" y="9"/>
                  </a:moveTo>
                  <a:lnTo>
                    <a:pt x="14" y="9"/>
                  </a:lnTo>
                  <a:lnTo>
                    <a:pt x="8" y="11"/>
                  </a:lnTo>
                  <a:lnTo>
                    <a:pt x="4" y="11"/>
                  </a:lnTo>
                  <a:lnTo>
                    <a:pt x="1" y="9"/>
                  </a:lnTo>
                  <a:lnTo>
                    <a:pt x="0" y="6"/>
                  </a:lnTo>
                  <a:lnTo>
                    <a:pt x="0" y="6"/>
                  </a:lnTo>
                  <a:lnTo>
                    <a:pt x="0" y="3"/>
                  </a:lnTo>
                  <a:lnTo>
                    <a:pt x="1" y="2"/>
                  </a:lnTo>
                  <a:lnTo>
                    <a:pt x="4" y="2"/>
                  </a:lnTo>
                  <a:lnTo>
                    <a:pt x="10" y="0"/>
                  </a:lnTo>
                  <a:lnTo>
                    <a:pt x="10" y="0"/>
                  </a:lnTo>
                  <a:lnTo>
                    <a:pt x="17" y="0"/>
                  </a:lnTo>
                  <a:lnTo>
                    <a:pt x="23" y="2"/>
                  </a:lnTo>
                  <a:lnTo>
                    <a:pt x="23" y="2"/>
                  </a:lnTo>
                  <a:lnTo>
                    <a:pt x="23" y="3"/>
                  </a:lnTo>
                  <a:lnTo>
                    <a:pt x="14"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07" name="Freeform 1352"/>
            <p:cNvSpPr>
              <a:spLocks/>
            </p:cNvSpPr>
            <p:nvPr/>
          </p:nvSpPr>
          <p:spPr bwMode="auto">
            <a:xfrm>
              <a:off x="2697163" y="4307316"/>
              <a:ext cx="6350" cy="9525"/>
            </a:xfrm>
            <a:custGeom>
              <a:avLst/>
              <a:gdLst>
                <a:gd name="T0" fmla="*/ 4 w 4"/>
                <a:gd name="T1" fmla="*/ 4 h 6"/>
                <a:gd name="T2" fmla="*/ 4 w 4"/>
                <a:gd name="T3" fmla="*/ 4 h 6"/>
                <a:gd name="T4" fmla="*/ 3 w 4"/>
                <a:gd name="T5" fmla="*/ 6 h 6"/>
                <a:gd name="T6" fmla="*/ 1 w 4"/>
                <a:gd name="T7" fmla="*/ 4 h 6"/>
                <a:gd name="T8" fmla="*/ 0 w 4"/>
                <a:gd name="T9" fmla="*/ 3 h 6"/>
                <a:gd name="T10" fmla="*/ 1 w 4"/>
                <a:gd name="T11" fmla="*/ 0 h 6"/>
                <a:gd name="T12" fmla="*/ 1 w 4"/>
                <a:gd name="T13" fmla="*/ 0 h 6"/>
                <a:gd name="T14" fmla="*/ 3 w 4"/>
                <a:gd name="T15" fmla="*/ 0 h 6"/>
                <a:gd name="T16" fmla="*/ 4 w 4"/>
                <a:gd name="T17" fmla="*/ 1 h 6"/>
                <a:gd name="T18" fmla="*/ 4 w 4"/>
                <a:gd name="T19" fmla="*/ 3 h 6"/>
                <a:gd name="T20" fmla="*/ 4 w 4"/>
                <a:gd name="T2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6">
                  <a:moveTo>
                    <a:pt x="4" y="4"/>
                  </a:moveTo>
                  <a:lnTo>
                    <a:pt x="4" y="4"/>
                  </a:lnTo>
                  <a:lnTo>
                    <a:pt x="3" y="6"/>
                  </a:lnTo>
                  <a:lnTo>
                    <a:pt x="1" y="4"/>
                  </a:lnTo>
                  <a:lnTo>
                    <a:pt x="0" y="3"/>
                  </a:lnTo>
                  <a:lnTo>
                    <a:pt x="1" y="0"/>
                  </a:lnTo>
                  <a:lnTo>
                    <a:pt x="1" y="0"/>
                  </a:lnTo>
                  <a:lnTo>
                    <a:pt x="3" y="0"/>
                  </a:lnTo>
                  <a:lnTo>
                    <a:pt x="4" y="1"/>
                  </a:lnTo>
                  <a:lnTo>
                    <a:pt x="4" y="3"/>
                  </a:lnTo>
                  <a:lnTo>
                    <a:pt x="4" y="4"/>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08" name="Freeform 1353"/>
            <p:cNvSpPr>
              <a:spLocks/>
            </p:cNvSpPr>
            <p:nvPr/>
          </p:nvSpPr>
          <p:spPr bwMode="auto">
            <a:xfrm>
              <a:off x="2697163" y="4307316"/>
              <a:ext cx="6350" cy="9525"/>
            </a:xfrm>
            <a:custGeom>
              <a:avLst/>
              <a:gdLst>
                <a:gd name="T0" fmla="*/ 4 w 4"/>
                <a:gd name="T1" fmla="*/ 4 h 6"/>
                <a:gd name="T2" fmla="*/ 4 w 4"/>
                <a:gd name="T3" fmla="*/ 4 h 6"/>
                <a:gd name="T4" fmla="*/ 3 w 4"/>
                <a:gd name="T5" fmla="*/ 6 h 6"/>
                <a:gd name="T6" fmla="*/ 1 w 4"/>
                <a:gd name="T7" fmla="*/ 4 h 6"/>
                <a:gd name="T8" fmla="*/ 0 w 4"/>
                <a:gd name="T9" fmla="*/ 3 h 6"/>
                <a:gd name="T10" fmla="*/ 1 w 4"/>
                <a:gd name="T11" fmla="*/ 0 h 6"/>
                <a:gd name="T12" fmla="*/ 1 w 4"/>
                <a:gd name="T13" fmla="*/ 0 h 6"/>
                <a:gd name="T14" fmla="*/ 3 w 4"/>
                <a:gd name="T15" fmla="*/ 0 h 6"/>
                <a:gd name="T16" fmla="*/ 4 w 4"/>
                <a:gd name="T17" fmla="*/ 1 h 6"/>
                <a:gd name="T18" fmla="*/ 4 w 4"/>
                <a:gd name="T19" fmla="*/ 3 h 6"/>
                <a:gd name="T20" fmla="*/ 4 w 4"/>
                <a:gd name="T2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6">
                  <a:moveTo>
                    <a:pt x="4" y="4"/>
                  </a:moveTo>
                  <a:lnTo>
                    <a:pt x="4" y="4"/>
                  </a:lnTo>
                  <a:lnTo>
                    <a:pt x="3" y="6"/>
                  </a:lnTo>
                  <a:lnTo>
                    <a:pt x="1" y="4"/>
                  </a:lnTo>
                  <a:lnTo>
                    <a:pt x="0" y="3"/>
                  </a:lnTo>
                  <a:lnTo>
                    <a:pt x="1" y="0"/>
                  </a:lnTo>
                  <a:lnTo>
                    <a:pt x="1" y="0"/>
                  </a:lnTo>
                  <a:lnTo>
                    <a:pt x="3" y="0"/>
                  </a:lnTo>
                  <a:lnTo>
                    <a:pt x="4" y="1"/>
                  </a:lnTo>
                  <a:lnTo>
                    <a:pt x="4" y="3"/>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09" name="Freeform 1354"/>
            <p:cNvSpPr>
              <a:spLocks/>
            </p:cNvSpPr>
            <p:nvPr/>
          </p:nvSpPr>
          <p:spPr bwMode="auto">
            <a:xfrm>
              <a:off x="2724151" y="4321604"/>
              <a:ext cx="9525" cy="6350"/>
            </a:xfrm>
            <a:custGeom>
              <a:avLst/>
              <a:gdLst>
                <a:gd name="T0" fmla="*/ 2 w 6"/>
                <a:gd name="T1" fmla="*/ 4 h 4"/>
                <a:gd name="T2" fmla="*/ 2 w 6"/>
                <a:gd name="T3" fmla="*/ 4 h 4"/>
                <a:gd name="T4" fmla="*/ 0 w 6"/>
                <a:gd name="T5" fmla="*/ 3 h 4"/>
                <a:gd name="T6" fmla="*/ 0 w 6"/>
                <a:gd name="T7" fmla="*/ 1 h 4"/>
                <a:gd name="T8" fmla="*/ 3 w 6"/>
                <a:gd name="T9" fmla="*/ 0 h 4"/>
                <a:gd name="T10" fmla="*/ 6 w 6"/>
                <a:gd name="T11" fmla="*/ 0 h 4"/>
                <a:gd name="T12" fmla="*/ 6 w 6"/>
                <a:gd name="T13" fmla="*/ 0 h 4"/>
                <a:gd name="T14" fmla="*/ 6 w 6"/>
                <a:gd name="T15" fmla="*/ 1 h 4"/>
                <a:gd name="T16" fmla="*/ 5 w 6"/>
                <a:gd name="T17" fmla="*/ 3 h 4"/>
                <a:gd name="T18" fmla="*/ 2 w 6"/>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2" y="4"/>
                  </a:moveTo>
                  <a:lnTo>
                    <a:pt x="2" y="4"/>
                  </a:lnTo>
                  <a:lnTo>
                    <a:pt x="0" y="3"/>
                  </a:lnTo>
                  <a:lnTo>
                    <a:pt x="0" y="1"/>
                  </a:lnTo>
                  <a:lnTo>
                    <a:pt x="3" y="0"/>
                  </a:lnTo>
                  <a:lnTo>
                    <a:pt x="6" y="0"/>
                  </a:lnTo>
                  <a:lnTo>
                    <a:pt x="6" y="0"/>
                  </a:lnTo>
                  <a:lnTo>
                    <a:pt x="6" y="1"/>
                  </a:lnTo>
                  <a:lnTo>
                    <a:pt x="5" y="3"/>
                  </a:lnTo>
                  <a:lnTo>
                    <a:pt x="2" y="4"/>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10" name="Freeform 1355"/>
            <p:cNvSpPr>
              <a:spLocks/>
            </p:cNvSpPr>
            <p:nvPr/>
          </p:nvSpPr>
          <p:spPr bwMode="auto">
            <a:xfrm>
              <a:off x="2724151" y="4321604"/>
              <a:ext cx="9525" cy="6350"/>
            </a:xfrm>
            <a:custGeom>
              <a:avLst/>
              <a:gdLst>
                <a:gd name="T0" fmla="*/ 2 w 6"/>
                <a:gd name="T1" fmla="*/ 4 h 4"/>
                <a:gd name="T2" fmla="*/ 2 w 6"/>
                <a:gd name="T3" fmla="*/ 4 h 4"/>
                <a:gd name="T4" fmla="*/ 0 w 6"/>
                <a:gd name="T5" fmla="*/ 3 h 4"/>
                <a:gd name="T6" fmla="*/ 0 w 6"/>
                <a:gd name="T7" fmla="*/ 1 h 4"/>
                <a:gd name="T8" fmla="*/ 3 w 6"/>
                <a:gd name="T9" fmla="*/ 0 h 4"/>
                <a:gd name="T10" fmla="*/ 6 w 6"/>
                <a:gd name="T11" fmla="*/ 0 h 4"/>
                <a:gd name="T12" fmla="*/ 6 w 6"/>
                <a:gd name="T13" fmla="*/ 0 h 4"/>
                <a:gd name="T14" fmla="*/ 6 w 6"/>
                <a:gd name="T15" fmla="*/ 1 h 4"/>
                <a:gd name="T16" fmla="*/ 5 w 6"/>
                <a:gd name="T17" fmla="*/ 3 h 4"/>
                <a:gd name="T18" fmla="*/ 2 w 6"/>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2" y="4"/>
                  </a:moveTo>
                  <a:lnTo>
                    <a:pt x="2" y="4"/>
                  </a:lnTo>
                  <a:lnTo>
                    <a:pt x="0" y="3"/>
                  </a:lnTo>
                  <a:lnTo>
                    <a:pt x="0" y="1"/>
                  </a:lnTo>
                  <a:lnTo>
                    <a:pt x="3" y="0"/>
                  </a:lnTo>
                  <a:lnTo>
                    <a:pt x="6" y="0"/>
                  </a:lnTo>
                  <a:lnTo>
                    <a:pt x="6" y="0"/>
                  </a:lnTo>
                  <a:lnTo>
                    <a:pt x="6" y="1"/>
                  </a:lnTo>
                  <a:lnTo>
                    <a:pt x="5" y="3"/>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11" name="Freeform 1356"/>
            <p:cNvSpPr>
              <a:spLocks/>
            </p:cNvSpPr>
            <p:nvPr/>
          </p:nvSpPr>
          <p:spPr bwMode="auto">
            <a:xfrm>
              <a:off x="2738438" y="4367641"/>
              <a:ext cx="4763" cy="6350"/>
            </a:xfrm>
            <a:custGeom>
              <a:avLst/>
              <a:gdLst>
                <a:gd name="T0" fmla="*/ 3 w 3"/>
                <a:gd name="T1" fmla="*/ 4 h 4"/>
                <a:gd name="T2" fmla="*/ 3 w 3"/>
                <a:gd name="T3" fmla="*/ 4 h 4"/>
                <a:gd name="T4" fmla="*/ 1 w 3"/>
                <a:gd name="T5" fmla="*/ 4 h 4"/>
                <a:gd name="T6" fmla="*/ 0 w 3"/>
                <a:gd name="T7" fmla="*/ 3 h 4"/>
                <a:gd name="T8" fmla="*/ 1 w 3"/>
                <a:gd name="T9" fmla="*/ 1 h 4"/>
                <a:gd name="T10" fmla="*/ 1 w 3"/>
                <a:gd name="T11" fmla="*/ 0 h 4"/>
                <a:gd name="T12" fmla="*/ 1 w 3"/>
                <a:gd name="T13" fmla="*/ 0 h 4"/>
                <a:gd name="T14" fmla="*/ 3 w 3"/>
                <a:gd name="T15" fmla="*/ 0 h 4"/>
                <a:gd name="T16" fmla="*/ 3 w 3"/>
                <a:gd name="T17" fmla="*/ 0 h 4"/>
                <a:gd name="T18" fmla="*/ 3 w 3"/>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3" y="4"/>
                  </a:moveTo>
                  <a:lnTo>
                    <a:pt x="3" y="4"/>
                  </a:lnTo>
                  <a:lnTo>
                    <a:pt x="1" y="4"/>
                  </a:lnTo>
                  <a:lnTo>
                    <a:pt x="0" y="3"/>
                  </a:lnTo>
                  <a:lnTo>
                    <a:pt x="1" y="1"/>
                  </a:lnTo>
                  <a:lnTo>
                    <a:pt x="1" y="0"/>
                  </a:lnTo>
                  <a:lnTo>
                    <a:pt x="1" y="0"/>
                  </a:lnTo>
                  <a:lnTo>
                    <a:pt x="3" y="0"/>
                  </a:lnTo>
                  <a:lnTo>
                    <a:pt x="3" y="0"/>
                  </a:lnTo>
                  <a:lnTo>
                    <a:pt x="3" y="4"/>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12" name="Freeform 1357"/>
            <p:cNvSpPr>
              <a:spLocks/>
            </p:cNvSpPr>
            <p:nvPr/>
          </p:nvSpPr>
          <p:spPr bwMode="auto">
            <a:xfrm>
              <a:off x="2738438" y="4367641"/>
              <a:ext cx="4763" cy="6350"/>
            </a:xfrm>
            <a:custGeom>
              <a:avLst/>
              <a:gdLst>
                <a:gd name="T0" fmla="*/ 3 w 3"/>
                <a:gd name="T1" fmla="*/ 4 h 4"/>
                <a:gd name="T2" fmla="*/ 3 w 3"/>
                <a:gd name="T3" fmla="*/ 4 h 4"/>
                <a:gd name="T4" fmla="*/ 1 w 3"/>
                <a:gd name="T5" fmla="*/ 4 h 4"/>
                <a:gd name="T6" fmla="*/ 0 w 3"/>
                <a:gd name="T7" fmla="*/ 3 h 4"/>
                <a:gd name="T8" fmla="*/ 1 w 3"/>
                <a:gd name="T9" fmla="*/ 1 h 4"/>
                <a:gd name="T10" fmla="*/ 1 w 3"/>
                <a:gd name="T11" fmla="*/ 0 h 4"/>
                <a:gd name="T12" fmla="*/ 1 w 3"/>
                <a:gd name="T13" fmla="*/ 0 h 4"/>
                <a:gd name="T14" fmla="*/ 3 w 3"/>
                <a:gd name="T15" fmla="*/ 0 h 4"/>
                <a:gd name="T16" fmla="*/ 3 w 3"/>
                <a:gd name="T17" fmla="*/ 0 h 4"/>
                <a:gd name="T18" fmla="*/ 3 w 3"/>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3" y="4"/>
                  </a:moveTo>
                  <a:lnTo>
                    <a:pt x="3" y="4"/>
                  </a:lnTo>
                  <a:lnTo>
                    <a:pt x="1" y="4"/>
                  </a:lnTo>
                  <a:lnTo>
                    <a:pt x="0" y="3"/>
                  </a:lnTo>
                  <a:lnTo>
                    <a:pt x="1" y="1"/>
                  </a:lnTo>
                  <a:lnTo>
                    <a:pt x="1" y="0"/>
                  </a:lnTo>
                  <a:lnTo>
                    <a:pt x="1" y="0"/>
                  </a:lnTo>
                  <a:lnTo>
                    <a:pt x="3" y="0"/>
                  </a:lnTo>
                  <a:lnTo>
                    <a:pt x="3" y="0"/>
                  </a:lnTo>
                  <a:lnTo>
                    <a:pt x="3"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13" name="Freeform 1358"/>
            <p:cNvSpPr>
              <a:spLocks/>
            </p:cNvSpPr>
            <p:nvPr/>
          </p:nvSpPr>
          <p:spPr bwMode="auto">
            <a:xfrm>
              <a:off x="2740026" y="4421616"/>
              <a:ext cx="9525" cy="7938"/>
            </a:xfrm>
            <a:custGeom>
              <a:avLst/>
              <a:gdLst>
                <a:gd name="T0" fmla="*/ 3 w 6"/>
                <a:gd name="T1" fmla="*/ 5 h 5"/>
                <a:gd name="T2" fmla="*/ 3 w 6"/>
                <a:gd name="T3" fmla="*/ 5 h 5"/>
                <a:gd name="T4" fmla="*/ 2 w 6"/>
                <a:gd name="T5" fmla="*/ 5 h 5"/>
                <a:gd name="T6" fmla="*/ 0 w 6"/>
                <a:gd name="T7" fmla="*/ 3 h 5"/>
                <a:gd name="T8" fmla="*/ 0 w 6"/>
                <a:gd name="T9" fmla="*/ 2 h 5"/>
                <a:gd name="T10" fmla="*/ 2 w 6"/>
                <a:gd name="T11" fmla="*/ 0 h 5"/>
                <a:gd name="T12" fmla="*/ 2 w 6"/>
                <a:gd name="T13" fmla="*/ 0 h 5"/>
                <a:gd name="T14" fmla="*/ 5 w 6"/>
                <a:gd name="T15" fmla="*/ 0 h 5"/>
                <a:gd name="T16" fmla="*/ 6 w 6"/>
                <a:gd name="T17" fmla="*/ 2 h 5"/>
                <a:gd name="T18" fmla="*/ 6 w 6"/>
                <a:gd name="T19" fmla="*/ 3 h 5"/>
                <a:gd name="T20" fmla="*/ 3 w 6"/>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5">
                  <a:moveTo>
                    <a:pt x="3" y="5"/>
                  </a:moveTo>
                  <a:lnTo>
                    <a:pt x="3" y="5"/>
                  </a:lnTo>
                  <a:lnTo>
                    <a:pt x="2" y="5"/>
                  </a:lnTo>
                  <a:lnTo>
                    <a:pt x="0" y="3"/>
                  </a:lnTo>
                  <a:lnTo>
                    <a:pt x="0" y="2"/>
                  </a:lnTo>
                  <a:lnTo>
                    <a:pt x="2" y="0"/>
                  </a:lnTo>
                  <a:lnTo>
                    <a:pt x="2" y="0"/>
                  </a:lnTo>
                  <a:lnTo>
                    <a:pt x="5" y="0"/>
                  </a:lnTo>
                  <a:lnTo>
                    <a:pt x="6" y="2"/>
                  </a:lnTo>
                  <a:lnTo>
                    <a:pt x="6" y="3"/>
                  </a:lnTo>
                  <a:lnTo>
                    <a:pt x="3" y="5"/>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14" name="Freeform 1359"/>
            <p:cNvSpPr>
              <a:spLocks/>
            </p:cNvSpPr>
            <p:nvPr/>
          </p:nvSpPr>
          <p:spPr bwMode="auto">
            <a:xfrm>
              <a:off x="2740026" y="4421616"/>
              <a:ext cx="9525" cy="7938"/>
            </a:xfrm>
            <a:custGeom>
              <a:avLst/>
              <a:gdLst>
                <a:gd name="T0" fmla="*/ 3 w 6"/>
                <a:gd name="T1" fmla="*/ 5 h 5"/>
                <a:gd name="T2" fmla="*/ 3 w 6"/>
                <a:gd name="T3" fmla="*/ 5 h 5"/>
                <a:gd name="T4" fmla="*/ 2 w 6"/>
                <a:gd name="T5" fmla="*/ 5 h 5"/>
                <a:gd name="T6" fmla="*/ 0 w 6"/>
                <a:gd name="T7" fmla="*/ 3 h 5"/>
                <a:gd name="T8" fmla="*/ 0 w 6"/>
                <a:gd name="T9" fmla="*/ 2 h 5"/>
                <a:gd name="T10" fmla="*/ 2 w 6"/>
                <a:gd name="T11" fmla="*/ 0 h 5"/>
                <a:gd name="T12" fmla="*/ 2 w 6"/>
                <a:gd name="T13" fmla="*/ 0 h 5"/>
                <a:gd name="T14" fmla="*/ 5 w 6"/>
                <a:gd name="T15" fmla="*/ 0 h 5"/>
                <a:gd name="T16" fmla="*/ 6 w 6"/>
                <a:gd name="T17" fmla="*/ 2 h 5"/>
                <a:gd name="T18" fmla="*/ 6 w 6"/>
                <a:gd name="T19" fmla="*/ 3 h 5"/>
                <a:gd name="T20" fmla="*/ 3 w 6"/>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5">
                  <a:moveTo>
                    <a:pt x="3" y="5"/>
                  </a:moveTo>
                  <a:lnTo>
                    <a:pt x="3" y="5"/>
                  </a:lnTo>
                  <a:lnTo>
                    <a:pt x="2" y="5"/>
                  </a:lnTo>
                  <a:lnTo>
                    <a:pt x="0" y="3"/>
                  </a:lnTo>
                  <a:lnTo>
                    <a:pt x="0" y="2"/>
                  </a:lnTo>
                  <a:lnTo>
                    <a:pt x="2" y="0"/>
                  </a:lnTo>
                  <a:lnTo>
                    <a:pt x="2" y="0"/>
                  </a:lnTo>
                  <a:lnTo>
                    <a:pt x="5" y="0"/>
                  </a:lnTo>
                  <a:lnTo>
                    <a:pt x="6" y="2"/>
                  </a:lnTo>
                  <a:lnTo>
                    <a:pt x="6" y="3"/>
                  </a:lnTo>
                  <a:lnTo>
                    <a:pt x="3"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15" name="Freeform 1360"/>
            <p:cNvSpPr>
              <a:spLocks/>
            </p:cNvSpPr>
            <p:nvPr/>
          </p:nvSpPr>
          <p:spPr bwMode="auto">
            <a:xfrm>
              <a:off x="2740026" y="4404154"/>
              <a:ext cx="7938" cy="6350"/>
            </a:xfrm>
            <a:custGeom>
              <a:avLst/>
              <a:gdLst>
                <a:gd name="T0" fmla="*/ 2 w 5"/>
                <a:gd name="T1" fmla="*/ 4 h 4"/>
                <a:gd name="T2" fmla="*/ 2 w 5"/>
                <a:gd name="T3" fmla="*/ 4 h 4"/>
                <a:gd name="T4" fmla="*/ 0 w 5"/>
                <a:gd name="T5" fmla="*/ 4 h 4"/>
                <a:gd name="T6" fmla="*/ 0 w 5"/>
                <a:gd name="T7" fmla="*/ 3 h 4"/>
                <a:gd name="T8" fmla="*/ 0 w 5"/>
                <a:gd name="T9" fmla="*/ 1 h 4"/>
                <a:gd name="T10" fmla="*/ 2 w 5"/>
                <a:gd name="T11" fmla="*/ 0 h 4"/>
                <a:gd name="T12" fmla="*/ 2 w 5"/>
                <a:gd name="T13" fmla="*/ 0 h 4"/>
                <a:gd name="T14" fmla="*/ 5 w 5"/>
                <a:gd name="T15" fmla="*/ 1 h 4"/>
                <a:gd name="T16" fmla="*/ 5 w 5"/>
                <a:gd name="T17" fmla="*/ 3 h 4"/>
                <a:gd name="T18" fmla="*/ 5 w 5"/>
                <a:gd name="T19" fmla="*/ 4 h 4"/>
                <a:gd name="T20" fmla="*/ 2 w 5"/>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4">
                  <a:moveTo>
                    <a:pt x="2" y="4"/>
                  </a:moveTo>
                  <a:lnTo>
                    <a:pt x="2" y="4"/>
                  </a:lnTo>
                  <a:lnTo>
                    <a:pt x="0" y="4"/>
                  </a:lnTo>
                  <a:lnTo>
                    <a:pt x="0" y="3"/>
                  </a:lnTo>
                  <a:lnTo>
                    <a:pt x="0" y="1"/>
                  </a:lnTo>
                  <a:lnTo>
                    <a:pt x="2" y="0"/>
                  </a:lnTo>
                  <a:lnTo>
                    <a:pt x="2" y="0"/>
                  </a:lnTo>
                  <a:lnTo>
                    <a:pt x="5" y="1"/>
                  </a:lnTo>
                  <a:lnTo>
                    <a:pt x="5" y="3"/>
                  </a:lnTo>
                  <a:lnTo>
                    <a:pt x="5" y="4"/>
                  </a:lnTo>
                  <a:lnTo>
                    <a:pt x="2" y="4"/>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16" name="Freeform 1361"/>
            <p:cNvSpPr>
              <a:spLocks/>
            </p:cNvSpPr>
            <p:nvPr/>
          </p:nvSpPr>
          <p:spPr bwMode="auto">
            <a:xfrm>
              <a:off x="2740026" y="4404154"/>
              <a:ext cx="7938" cy="6350"/>
            </a:xfrm>
            <a:custGeom>
              <a:avLst/>
              <a:gdLst>
                <a:gd name="T0" fmla="*/ 2 w 5"/>
                <a:gd name="T1" fmla="*/ 4 h 4"/>
                <a:gd name="T2" fmla="*/ 2 w 5"/>
                <a:gd name="T3" fmla="*/ 4 h 4"/>
                <a:gd name="T4" fmla="*/ 0 w 5"/>
                <a:gd name="T5" fmla="*/ 4 h 4"/>
                <a:gd name="T6" fmla="*/ 0 w 5"/>
                <a:gd name="T7" fmla="*/ 3 h 4"/>
                <a:gd name="T8" fmla="*/ 0 w 5"/>
                <a:gd name="T9" fmla="*/ 1 h 4"/>
                <a:gd name="T10" fmla="*/ 2 w 5"/>
                <a:gd name="T11" fmla="*/ 0 h 4"/>
                <a:gd name="T12" fmla="*/ 2 w 5"/>
                <a:gd name="T13" fmla="*/ 0 h 4"/>
                <a:gd name="T14" fmla="*/ 5 w 5"/>
                <a:gd name="T15" fmla="*/ 1 h 4"/>
                <a:gd name="T16" fmla="*/ 5 w 5"/>
                <a:gd name="T17" fmla="*/ 3 h 4"/>
                <a:gd name="T18" fmla="*/ 5 w 5"/>
                <a:gd name="T19" fmla="*/ 4 h 4"/>
                <a:gd name="T20" fmla="*/ 2 w 5"/>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4">
                  <a:moveTo>
                    <a:pt x="2" y="4"/>
                  </a:moveTo>
                  <a:lnTo>
                    <a:pt x="2" y="4"/>
                  </a:lnTo>
                  <a:lnTo>
                    <a:pt x="0" y="4"/>
                  </a:lnTo>
                  <a:lnTo>
                    <a:pt x="0" y="3"/>
                  </a:lnTo>
                  <a:lnTo>
                    <a:pt x="0" y="1"/>
                  </a:lnTo>
                  <a:lnTo>
                    <a:pt x="2" y="0"/>
                  </a:lnTo>
                  <a:lnTo>
                    <a:pt x="2" y="0"/>
                  </a:lnTo>
                  <a:lnTo>
                    <a:pt x="5" y="1"/>
                  </a:lnTo>
                  <a:lnTo>
                    <a:pt x="5" y="3"/>
                  </a:lnTo>
                  <a:lnTo>
                    <a:pt x="5"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17" name="Freeform 1362"/>
            <p:cNvSpPr>
              <a:spLocks/>
            </p:cNvSpPr>
            <p:nvPr/>
          </p:nvSpPr>
          <p:spPr bwMode="auto">
            <a:xfrm>
              <a:off x="2727326" y="4451779"/>
              <a:ext cx="9525" cy="9525"/>
            </a:xfrm>
            <a:custGeom>
              <a:avLst/>
              <a:gdLst>
                <a:gd name="T0" fmla="*/ 4 w 6"/>
                <a:gd name="T1" fmla="*/ 5 h 6"/>
                <a:gd name="T2" fmla="*/ 4 w 6"/>
                <a:gd name="T3" fmla="*/ 5 h 6"/>
                <a:gd name="T4" fmla="*/ 3 w 6"/>
                <a:gd name="T5" fmla="*/ 6 h 6"/>
                <a:gd name="T6" fmla="*/ 1 w 6"/>
                <a:gd name="T7" fmla="*/ 5 h 6"/>
                <a:gd name="T8" fmla="*/ 0 w 6"/>
                <a:gd name="T9" fmla="*/ 3 h 6"/>
                <a:gd name="T10" fmla="*/ 0 w 6"/>
                <a:gd name="T11" fmla="*/ 2 h 6"/>
                <a:gd name="T12" fmla="*/ 0 w 6"/>
                <a:gd name="T13" fmla="*/ 2 h 6"/>
                <a:gd name="T14" fmla="*/ 3 w 6"/>
                <a:gd name="T15" fmla="*/ 0 h 6"/>
                <a:gd name="T16" fmla="*/ 4 w 6"/>
                <a:gd name="T17" fmla="*/ 0 h 6"/>
                <a:gd name="T18" fmla="*/ 6 w 6"/>
                <a:gd name="T19" fmla="*/ 2 h 6"/>
                <a:gd name="T20" fmla="*/ 4 w 6"/>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4" y="5"/>
                  </a:moveTo>
                  <a:lnTo>
                    <a:pt x="4" y="5"/>
                  </a:lnTo>
                  <a:lnTo>
                    <a:pt x="3" y="6"/>
                  </a:lnTo>
                  <a:lnTo>
                    <a:pt x="1" y="5"/>
                  </a:lnTo>
                  <a:lnTo>
                    <a:pt x="0" y="3"/>
                  </a:lnTo>
                  <a:lnTo>
                    <a:pt x="0" y="2"/>
                  </a:lnTo>
                  <a:lnTo>
                    <a:pt x="0" y="2"/>
                  </a:lnTo>
                  <a:lnTo>
                    <a:pt x="3" y="0"/>
                  </a:lnTo>
                  <a:lnTo>
                    <a:pt x="4" y="0"/>
                  </a:lnTo>
                  <a:lnTo>
                    <a:pt x="6" y="2"/>
                  </a:lnTo>
                  <a:lnTo>
                    <a:pt x="4" y="5"/>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18" name="Freeform 1363"/>
            <p:cNvSpPr>
              <a:spLocks/>
            </p:cNvSpPr>
            <p:nvPr/>
          </p:nvSpPr>
          <p:spPr bwMode="auto">
            <a:xfrm>
              <a:off x="2727326" y="4451779"/>
              <a:ext cx="9525" cy="9525"/>
            </a:xfrm>
            <a:custGeom>
              <a:avLst/>
              <a:gdLst>
                <a:gd name="T0" fmla="*/ 4 w 6"/>
                <a:gd name="T1" fmla="*/ 5 h 6"/>
                <a:gd name="T2" fmla="*/ 4 w 6"/>
                <a:gd name="T3" fmla="*/ 5 h 6"/>
                <a:gd name="T4" fmla="*/ 3 w 6"/>
                <a:gd name="T5" fmla="*/ 6 h 6"/>
                <a:gd name="T6" fmla="*/ 1 w 6"/>
                <a:gd name="T7" fmla="*/ 5 h 6"/>
                <a:gd name="T8" fmla="*/ 0 w 6"/>
                <a:gd name="T9" fmla="*/ 3 h 6"/>
                <a:gd name="T10" fmla="*/ 0 w 6"/>
                <a:gd name="T11" fmla="*/ 2 h 6"/>
                <a:gd name="T12" fmla="*/ 0 w 6"/>
                <a:gd name="T13" fmla="*/ 2 h 6"/>
                <a:gd name="T14" fmla="*/ 3 w 6"/>
                <a:gd name="T15" fmla="*/ 0 h 6"/>
                <a:gd name="T16" fmla="*/ 4 w 6"/>
                <a:gd name="T17" fmla="*/ 0 h 6"/>
                <a:gd name="T18" fmla="*/ 6 w 6"/>
                <a:gd name="T19" fmla="*/ 2 h 6"/>
                <a:gd name="T20" fmla="*/ 4 w 6"/>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4" y="5"/>
                  </a:moveTo>
                  <a:lnTo>
                    <a:pt x="4" y="5"/>
                  </a:lnTo>
                  <a:lnTo>
                    <a:pt x="3" y="6"/>
                  </a:lnTo>
                  <a:lnTo>
                    <a:pt x="1" y="5"/>
                  </a:lnTo>
                  <a:lnTo>
                    <a:pt x="0" y="3"/>
                  </a:lnTo>
                  <a:lnTo>
                    <a:pt x="0" y="2"/>
                  </a:lnTo>
                  <a:lnTo>
                    <a:pt x="0" y="2"/>
                  </a:lnTo>
                  <a:lnTo>
                    <a:pt x="3" y="0"/>
                  </a:lnTo>
                  <a:lnTo>
                    <a:pt x="4" y="0"/>
                  </a:lnTo>
                  <a:lnTo>
                    <a:pt x="6" y="2"/>
                  </a:lnTo>
                  <a:lnTo>
                    <a:pt x="4"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19" name="Freeform 1364"/>
            <p:cNvSpPr>
              <a:spLocks/>
            </p:cNvSpPr>
            <p:nvPr/>
          </p:nvSpPr>
          <p:spPr bwMode="auto">
            <a:xfrm>
              <a:off x="2781301" y="4420029"/>
              <a:ext cx="12700" cy="11113"/>
            </a:xfrm>
            <a:custGeom>
              <a:avLst/>
              <a:gdLst>
                <a:gd name="T0" fmla="*/ 6 w 8"/>
                <a:gd name="T1" fmla="*/ 6 h 7"/>
                <a:gd name="T2" fmla="*/ 6 w 8"/>
                <a:gd name="T3" fmla="*/ 6 h 7"/>
                <a:gd name="T4" fmla="*/ 5 w 8"/>
                <a:gd name="T5" fmla="*/ 7 h 7"/>
                <a:gd name="T6" fmla="*/ 2 w 8"/>
                <a:gd name="T7" fmla="*/ 6 h 7"/>
                <a:gd name="T8" fmla="*/ 0 w 8"/>
                <a:gd name="T9" fmla="*/ 4 h 7"/>
                <a:gd name="T10" fmla="*/ 2 w 8"/>
                <a:gd name="T11" fmla="*/ 1 h 7"/>
                <a:gd name="T12" fmla="*/ 2 w 8"/>
                <a:gd name="T13" fmla="*/ 1 h 7"/>
                <a:gd name="T14" fmla="*/ 5 w 8"/>
                <a:gd name="T15" fmla="*/ 0 h 7"/>
                <a:gd name="T16" fmla="*/ 8 w 8"/>
                <a:gd name="T17" fmla="*/ 0 h 7"/>
                <a:gd name="T18" fmla="*/ 8 w 8"/>
                <a:gd name="T19" fmla="*/ 1 h 7"/>
                <a:gd name="T20" fmla="*/ 6 w 8"/>
                <a:gd name="T21"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7">
                  <a:moveTo>
                    <a:pt x="6" y="6"/>
                  </a:moveTo>
                  <a:lnTo>
                    <a:pt x="6" y="6"/>
                  </a:lnTo>
                  <a:lnTo>
                    <a:pt x="5" y="7"/>
                  </a:lnTo>
                  <a:lnTo>
                    <a:pt x="2" y="6"/>
                  </a:lnTo>
                  <a:lnTo>
                    <a:pt x="0" y="4"/>
                  </a:lnTo>
                  <a:lnTo>
                    <a:pt x="2" y="1"/>
                  </a:lnTo>
                  <a:lnTo>
                    <a:pt x="2" y="1"/>
                  </a:lnTo>
                  <a:lnTo>
                    <a:pt x="5" y="0"/>
                  </a:lnTo>
                  <a:lnTo>
                    <a:pt x="8" y="0"/>
                  </a:lnTo>
                  <a:lnTo>
                    <a:pt x="8" y="1"/>
                  </a:lnTo>
                  <a:lnTo>
                    <a:pt x="6" y="6"/>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20" name="Freeform 1365"/>
            <p:cNvSpPr>
              <a:spLocks/>
            </p:cNvSpPr>
            <p:nvPr/>
          </p:nvSpPr>
          <p:spPr bwMode="auto">
            <a:xfrm>
              <a:off x="2781301" y="4420029"/>
              <a:ext cx="12700" cy="11113"/>
            </a:xfrm>
            <a:custGeom>
              <a:avLst/>
              <a:gdLst>
                <a:gd name="T0" fmla="*/ 6 w 8"/>
                <a:gd name="T1" fmla="*/ 6 h 7"/>
                <a:gd name="T2" fmla="*/ 6 w 8"/>
                <a:gd name="T3" fmla="*/ 6 h 7"/>
                <a:gd name="T4" fmla="*/ 5 w 8"/>
                <a:gd name="T5" fmla="*/ 7 h 7"/>
                <a:gd name="T6" fmla="*/ 2 w 8"/>
                <a:gd name="T7" fmla="*/ 6 h 7"/>
                <a:gd name="T8" fmla="*/ 0 w 8"/>
                <a:gd name="T9" fmla="*/ 4 h 7"/>
                <a:gd name="T10" fmla="*/ 2 w 8"/>
                <a:gd name="T11" fmla="*/ 1 h 7"/>
                <a:gd name="T12" fmla="*/ 2 w 8"/>
                <a:gd name="T13" fmla="*/ 1 h 7"/>
                <a:gd name="T14" fmla="*/ 5 w 8"/>
                <a:gd name="T15" fmla="*/ 0 h 7"/>
                <a:gd name="T16" fmla="*/ 8 w 8"/>
                <a:gd name="T17" fmla="*/ 0 h 7"/>
                <a:gd name="T18" fmla="*/ 8 w 8"/>
                <a:gd name="T19" fmla="*/ 1 h 7"/>
                <a:gd name="T20" fmla="*/ 6 w 8"/>
                <a:gd name="T21"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7">
                  <a:moveTo>
                    <a:pt x="6" y="6"/>
                  </a:moveTo>
                  <a:lnTo>
                    <a:pt x="6" y="6"/>
                  </a:lnTo>
                  <a:lnTo>
                    <a:pt x="5" y="7"/>
                  </a:lnTo>
                  <a:lnTo>
                    <a:pt x="2" y="6"/>
                  </a:lnTo>
                  <a:lnTo>
                    <a:pt x="0" y="4"/>
                  </a:lnTo>
                  <a:lnTo>
                    <a:pt x="2" y="1"/>
                  </a:lnTo>
                  <a:lnTo>
                    <a:pt x="2" y="1"/>
                  </a:lnTo>
                  <a:lnTo>
                    <a:pt x="5" y="0"/>
                  </a:lnTo>
                  <a:lnTo>
                    <a:pt x="8" y="0"/>
                  </a:lnTo>
                  <a:lnTo>
                    <a:pt x="8" y="1"/>
                  </a:lnTo>
                  <a:lnTo>
                    <a:pt x="6"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21" name="Freeform 1366"/>
            <p:cNvSpPr>
              <a:spLocks/>
            </p:cNvSpPr>
            <p:nvPr/>
          </p:nvSpPr>
          <p:spPr bwMode="auto">
            <a:xfrm>
              <a:off x="2308226" y="4108879"/>
              <a:ext cx="11113" cy="17463"/>
            </a:xfrm>
            <a:custGeom>
              <a:avLst/>
              <a:gdLst>
                <a:gd name="T0" fmla="*/ 7 w 7"/>
                <a:gd name="T1" fmla="*/ 9 h 11"/>
                <a:gd name="T2" fmla="*/ 7 w 7"/>
                <a:gd name="T3" fmla="*/ 9 h 11"/>
                <a:gd name="T4" fmla="*/ 4 w 7"/>
                <a:gd name="T5" fmla="*/ 11 h 11"/>
                <a:gd name="T6" fmla="*/ 3 w 7"/>
                <a:gd name="T7" fmla="*/ 9 h 11"/>
                <a:gd name="T8" fmla="*/ 2 w 7"/>
                <a:gd name="T9" fmla="*/ 8 h 11"/>
                <a:gd name="T10" fmla="*/ 0 w 7"/>
                <a:gd name="T11" fmla="*/ 6 h 11"/>
                <a:gd name="T12" fmla="*/ 0 w 7"/>
                <a:gd name="T13" fmla="*/ 6 h 11"/>
                <a:gd name="T14" fmla="*/ 0 w 7"/>
                <a:gd name="T15" fmla="*/ 2 h 11"/>
                <a:gd name="T16" fmla="*/ 0 w 7"/>
                <a:gd name="T17" fmla="*/ 0 h 11"/>
                <a:gd name="T18" fmla="*/ 3 w 7"/>
                <a:gd name="T19" fmla="*/ 0 h 11"/>
                <a:gd name="T20" fmla="*/ 3 w 7"/>
                <a:gd name="T21" fmla="*/ 0 h 11"/>
                <a:gd name="T22" fmla="*/ 6 w 7"/>
                <a:gd name="T23" fmla="*/ 2 h 11"/>
                <a:gd name="T24" fmla="*/ 7 w 7"/>
                <a:gd name="T25" fmla="*/ 5 h 11"/>
                <a:gd name="T26" fmla="*/ 7 w 7"/>
                <a:gd name="T27" fmla="*/ 8 h 11"/>
                <a:gd name="T28" fmla="*/ 7 w 7"/>
                <a:gd name="T2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1">
                  <a:moveTo>
                    <a:pt x="7" y="9"/>
                  </a:moveTo>
                  <a:lnTo>
                    <a:pt x="7" y="9"/>
                  </a:lnTo>
                  <a:lnTo>
                    <a:pt x="4" y="11"/>
                  </a:lnTo>
                  <a:lnTo>
                    <a:pt x="3" y="9"/>
                  </a:lnTo>
                  <a:lnTo>
                    <a:pt x="2" y="8"/>
                  </a:lnTo>
                  <a:lnTo>
                    <a:pt x="0" y="6"/>
                  </a:lnTo>
                  <a:lnTo>
                    <a:pt x="0" y="6"/>
                  </a:lnTo>
                  <a:lnTo>
                    <a:pt x="0" y="2"/>
                  </a:lnTo>
                  <a:lnTo>
                    <a:pt x="0" y="0"/>
                  </a:lnTo>
                  <a:lnTo>
                    <a:pt x="3" y="0"/>
                  </a:lnTo>
                  <a:lnTo>
                    <a:pt x="3" y="0"/>
                  </a:lnTo>
                  <a:lnTo>
                    <a:pt x="6" y="2"/>
                  </a:lnTo>
                  <a:lnTo>
                    <a:pt x="7" y="5"/>
                  </a:lnTo>
                  <a:lnTo>
                    <a:pt x="7" y="8"/>
                  </a:lnTo>
                  <a:lnTo>
                    <a:pt x="7" y="9"/>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22" name="Freeform 1367"/>
            <p:cNvSpPr>
              <a:spLocks/>
            </p:cNvSpPr>
            <p:nvPr/>
          </p:nvSpPr>
          <p:spPr bwMode="auto">
            <a:xfrm>
              <a:off x="2308226" y="4108879"/>
              <a:ext cx="11113" cy="17463"/>
            </a:xfrm>
            <a:custGeom>
              <a:avLst/>
              <a:gdLst>
                <a:gd name="T0" fmla="*/ 7 w 7"/>
                <a:gd name="T1" fmla="*/ 9 h 11"/>
                <a:gd name="T2" fmla="*/ 7 w 7"/>
                <a:gd name="T3" fmla="*/ 9 h 11"/>
                <a:gd name="T4" fmla="*/ 4 w 7"/>
                <a:gd name="T5" fmla="*/ 11 h 11"/>
                <a:gd name="T6" fmla="*/ 3 w 7"/>
                <a:gd name="T7" fmla="*/ 9 h 11"/>
                <a:gd name="T8" fmla="*/ 2 w 7"/>
                <a:gd name="T9" fmla="*/ 8 h 11"/>
                <a:gd name="T10" fmla="*/ 0 w 7"/>
                <a:gd name="T11" fmla="*/ 6 h 11"/>
                <a:gd name="T12" fmla="*/ 0 w 7"/>
                <a:gd name="T13" fmla="*/ 6 h 11"/>
                <a:gd name="T14" fmla="*/ 0 w 7"/>
                <a:gd name="T15" fmla="*/ 2 h 11"/>
                <a:gd name="T16" fmla="*/ 0 w 7"/>
                <a:gd name="T17" fmla="*/ 0 h 11"/>
                <a:gd name="T18" fmla="*/ 3 w 7"/>
                <a:gd name="T19" fmla="*/ 0 h 11"/>
                <a:gd name="T20" fmla="*/ 3 w 7"/>
                <a:gd name="T21" fmla="*/ 0 h 11"/>
                <a:gd name="T22" fmla="*/ 6 w 7"/>
                <a:gd name="T23" fmla="*/ 2 h 11"/>
                <a:gd name="T24" fmla="*/ 7 w 7"/>
                <a:gd name="T25" fmla="*/ 5 h 11"/>
                <a:gd name="T26" fmla="*/ 7 w 7"/>
                <a:gd name="T27" fmla="*/ 8 h 11"/>
                <a:gd name="T28" fmla="*/ 7 w 7"/>
                <a:gd name="T2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1">
                  <a:moveTo>
                    <a:pt x="7" y="9"/>
                  </a:moveTo>
                  <a:lnTo>
                    <a:pt x="7" y="9"/>
                  </a:lnTo>
                  <a:lnTo>
                    <a:pt x="4" y="11"/>
                  </a:lnTo>
                  <a:lnTo>
                    <a:pt x="3" y="9"/>
                  </a:lnTo>
                  <a:lnTo>
                    <a:pt x="2" y="8"/>
                  </a:lnTo>
                  <a:lnTo>
                    <a:pt x="0" y="6"/>
                  </a:lnTo>
                  <a:lnTo>
                    <a:pt x="0" y="6"/>
                  </a:lnTo>
                  <a:lnTo>
                    <a:pt x="0" y="2"/>
                  </a:lnTo>
                  <a:lnTo>
                    <a:pt x="0" y="0"/>
                  </a:lnTo>
                  <a:lnTo>
                    <a:pt x="3" y="0"/>
                  </a:lnTo>
                  <a:lnTo>
                    <a:pt x="3" y="0"/>
                  </a:lnTo>
                  <a:lnTo>
                    <a:pt x="6" y="2"/>
                  </a:lnTo>
                  <a:lnTo>
                    <a:pt x="7" y="5"/>
                  </a:lnTo>
                  <a:lnTo>
                    <a:pt x="7" y="8"/>
                  </a:lnTo>
                  <a:lnTo>
                    <a:pt x="7"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23" name="Freeform 1368"/>
            <p:cNvSpPr>
              <a:spLocks/>
            </p:cNvSpPr>
            <p:nvPr/>
          </p:nvSpPr>
          <p:spPr bwMode="auto">
            <a:xfrm>
              <a:off x="2317751" y="4132691"/>
              <a:ext cx="6350" cy="6350"/>
            </a:xfrm>
            <a:custGeom>
              <a:avLst/>
              <a:gdLst>
                <a:gd name="T0" fmla="*/ 1 w 4"/>
                <a:gd name="T1" fmla="*/ 4 h 4"/>
                <a:gd name="T2" fmla="*/ 1 w 4"/>
                <a:gd name="T3" fmla="*/ 4 h 4"/>
                <a:gd name="T4" fmla="*/ 0 w 4"/>
                <a:gd name="T5" fmla="*/ 4 h 4"/>
                <a:gd name="T6" fmla="*/ 0 w 4"/>
                <a:gd name="T7" fmla="*/ 3 h 4"/>
                <a:gd name="T8" fmla="*/ 0 w 4"/>
                <a:gd name="T9" fmla="*/ 0 h 4"/>
                <a:gd name="T10" fmla="*/ 3 w 4"/>
                <a:gd name="T11" fmla="*/ 0 h 4"/>
                <a:gd name="T12" fmla="*/ 3 w 4"/>
                <a:gd name="T13" fmla="*/ 0 h 4"/>
                <a:gd name="T14" fmla="*/ 3 w 4"/>
                <a:gd name="T15" fmla="*/ 0 h 4"/>
                <a:gd name="T16" fmla="*/ 4 w 4"/>
                <a:gd name="T17" fmla="*/ 1 h 4"/>
                <a:gd name="T18" fmla="*/ 3 w 4"/>
                <a:gd name="T19" fmla="*/ 3 h 4"/>
                <a:gd name="T20" fmla="*/ 1 w 4"/>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1" y="4"/>
                  </a:moveTo>
                  <a:lnTo>
                    <a:pt x="1" y="4"/>
                  </a:lnTo>
                  <a:lnTo>
                    <a:pt x="0" y="4"/>
                  </a:lnTo>
                  <a:lnTo>
                    <a:pt x="0" y="3"/>
                  </a:lnTo>
                  <a:lnTo>
                    <a:pt x="0" y="0"/>
                  </a:lnTo>
                  <a:lnTo>
                    <a:pt x="3" y="0"/>
                  </a:lnTo>
                  <a:lnTo>
                    <a:pt x="3" y="0"/>
                  </a:lnTo>
                  <a:lnTo>
                    <a:pt x="3" y="0"/>
                  </a:lnTo>
                  <a:lnTo>
                    <a:pt x="4" y="1"/>
                  </a:lnTo>
                  <a:lnTo>
                    <a:pt x="3" y="3"/>
                  </a:lnTo>
                  <a:lnTo>
                    <a:pt x="1" y="4"/>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24" name="Freeform 1369"/>
            <p:cNvSpPr>
              <a:spLocks/>
            </p:cNvSpPr>
            <p:nvPr/>
          </p:nvSpPr>
          <p:spPr bwMode="auto">
            <a:xfrm>
              <a:off x="2317751" y="4132691"/>
              <a:ext cx="6350" cy="6350"/>
            </a:xfrm>
            <a:custGeom>
              <a:avLst/>
              <a:gdLst>
                <a:gd name="T0" fmla="*/ 1 w 4"/>
                <a:gd name="T1" fmla="*/ 4 h 4"/>
                <a:gd name="T2" fmla="*/ 1 w 4"/>
                <a:gd name="T3" fmla="*/ 4 h 4"/>
                <a:gd name="T4" fmla="*/ 0 w 4"/>
                <a:gd name="T5" fmla="*/ 4 h 4"/>
                <a:gd name="T6" fmla="*/ 0 w 4"/>
                <a:gd name="T7" fmla="*/ 3 h 4"/>
                <a:gd name="T8" fmla="*/ 0 w 4"/>
                <a:gd name="T9" fmla="*/ 0 h 4"/>
                <a:gd name="T10" fmla="*/ 3 w 4"/>
                <a:gd name="T11" fmla="*/ 0 h 4"/>
                <a:gd name="T12" fmla="*/ 3 w 4"/>
                <a:gd name="T13" fmla="*/ 0 h 4"/>
                <a:gd name="T14" fmla="*/ 3 w 4"/>
                <a:gd name="T15" fmla="*/ 0 h 4"/>
                <a:gd name="T16" fmla="*/ 4 w 4"/>
                <a:gd name="T17" fmla="*/ 1 h 4"/>
                <a:gd name="T18" fmla="*/ 3 w 4"/>
                <a:gd name="T19" fmla="*/ 3 h 4"/>
                <a:gd name="T20" fmla="*/ 1 w 4"/>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1" y="4"/>
                  </a:moveTo>
                  <a:lnTo>
                    <a:pt x="1" y="4"/>
                  </a:lnTo>
                  <a:lnTo>
                    <a:pt x="0" y="4"/>
                  </a:lnTo>
                  <a:lnTo>
                    <a:pt x="0" y="3"/>
                  </a:lnTo>
                  <a:lnTo>
                    <a:pt x="0" y="0"/>
                  </a:lnTo>
                  <a:lnTo>
                    <a:pt x="3" y="0"/>
                  </a:lnTo>
                  <a:lnTo>
                    <a:pt x="3" y="0"/>
                  </a:lnTo>
                  <a:lnTo>
                    <a:pt x="3" y="0"/>
                  </a:lnTo>
                  <a:lnTo>
                    <a:pt x="4" y="1"/>
                  </a:lnTo>
                  <a:lnTo>
                    <a:pt x="3" y="3"/>
                  </a:lnTo>
                  <a:lnTo>
                    <a:pt x="1"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25" name="Freeform 1370"/>
            <p:cNvSpPr>
              <a:spLocks/>
            </p:cNvSpPr>
            <p:nvPr/>
          </p:nvSpPr>
          <p:spPr bwMode="auto">
            <a:xfrm>
              <a:off x="2641601" y="3897741"/>
              <a:ext cx="9525" cy="11113"/>
            </a:xfrm>
            <a:custGeom>
              <a:avLst/>
              <a:gdLst>
                <a:gd name="T0" fmla="*/ 2 w 6"/>
                <a:gd name="T1" fmla="*/ 7 h 7"/>
                <a:gd name="T2" fmla="*/ 2 w 6"/>
                <a:gd name="T3" fmla="*/ 7 h 7"/>
                <a:gd name="T4" fmla="*/ 0 w 6"/>
                <a:gd name="T5" fmla="*/ 7 h 7"/>
                <a:gd name="T6" fmla="*/ 0 w 6"/>
                <a:gd name="T7" fmla="*/ 5 h 7"/>
                <a:gd name="T8" fmla="*/ 2 w 6"/>
                <a:gd name="T9" fmla="*/ 3 h 7"/>
                <a:gd name="T10" fmla="*/ 3 w 6"/>
                <a:gd name="T11" fmla="*/ 0 h 7"/>
                <a:gd name="T12" fmla="*/ 3 w 6"/>
                <a:gd name="T13" fmla="*/ 0 h 7"/>
                <a:gd name="T14" fmla="*/ 6 w 6"/>
                <a:gd name="T15" fmla="*/ 0 h 7"/>
                <a:gd name="T16" fmla="*/ 6 w 6"/>
                <a:gd name="T17" fmla="*/ 3 h 7"/>
                <a:gd name="T18" fmla="*/ 4 w 6"/>
                <a:gd name="T19" fmla="*/ 5 h 7"/>
                <a:gd name="T20" fmla="*/ 2 w 6"/>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7">
                  <a:moveTo>
                    <a:pt x="2" y="7"/>
                  </a:moveTo>
                  <a:lnTo>
                    <a:pt x="2" y="7"/>
                  </a:lnTo>
                  <a:lnTo>
                    <a:pt x="0" y="7"/>
                  </a:lnTo>
                  <a:lnTo>
                    <a:pt x="0" y="5"/>
                  </a:lnTo>
                  <a:lnTo>
                    <a:pt x="2" y="3"/>
                  </a:lnTo>
                  <a:lnTo>
                    <a:pt x="3" y="0"/>
                  </a:lnTo>
                  <a:lnTo>
                    <a:pt x="3" y="0"/>
                  </a:lnTo>
                  <a:lnTo>
                    <a:pt x="6" y="0"/>
                  </a:lnTo>
                  <a:lnTo>
                    <a:pt x="6" y="3"/>
                  </a:lnTo>
                  <a:lnTo>
                    <a:pt x="4" y="5"/>
                  </a:lnTo>
                  <a:lnTo>
                    <a:pt x="2" y="7"/>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26" name="Freeform 1371"/>
            <p:cNvSpPr>
              <a:spLocks/>
            </p:cNvSpPr>
            <p:nvPr/>
          </p:nvSpPr>
          <p:spPr bwMode="auto">
            <a:xfrm>
              <a:off x="2641601" y="3897741"/>
              <a:ext cx="9525" cy="11113"/>
            </a:xfrm>
            <a:custGeom>
              <a:avLst/>
              <a:gdLst>
                <a:gd name="T0" fmla="*/ 2 w 6"/>
                <a:gd name="T1" fmla="*/ 7 h 7"/>
                <a:gd name="T2" fmla="*/ 2 w 6"/>
                <a:gd name="T3" fmla="*/ 7 h 7"/>
                <a:gd name="T4" fmla="*/ 0 w 6"/>
                <a:gd name="T5" fmla="*/ 7 h 7"/>
                <a:gd name="T6" fmla="*/ 0 w 6"/>
                <a:gd name="T7" fmla="*/ 5 h 7"/>
                <a:gd name="T8" fmla="*/ 2 w 6"/>
                <a:gd name="T9" fmla="*/ 3 h 7"/>
                <a:gd name="T10" fmla="*/ 3 w 6"/>
                <a:gd name="T11" fmla="*/ 0 h 7"/>
                <a:gd name="T12" fmla="*/ 3 w 6"/>
                <a:gd name="T13" fmla="*/ 0 h 7"/>
                <a:gd name="T14" fmla="*/ 6 w 6"/>
                <a:gd name="T15" fmla="*/ 0 h 7"/>
                <a:gd name="T16" fmla="*/ 6 w 6"/>
                <a:gd name="T17" fmla="*/ 3 h 7"/>
                <a:gd name="T18" fmla="*/ 4 w 6"/>
                <a:gd name="T19" fmla="*/ 5 h 7"/>
                <a:gd name="T20" fmla="*/ 2 w 6"/>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7">
                  <a:moveTo>
                    <a:pt x="2" y="7"/>
                  </a:moveTo>
                  <a:lnTo>
                    <a:pt x="2" y="7"/>
                  </a:lnTo>
                  <a:lnTo>
                    <a:pt x="0" y="7"/>
                  </a:lnTo>
                  <a:lnTo>
                    <a:pt x="0" y="5"/>
                  </a:lnTo>
                  <a:lnTo>
                    <a:pt x="2" y="3"/>
                  </a:lnTo>
                  <a:lnTo>
                    <a:pt x="3" y="0"/>
                  </a:lnTo>
                  <a:lnTo>
                    <a:pt x="3" y="0"/>
                  </a:lnTo>
                  <a:lnTo>
                    <a:pt x="6" y="0"/>
                  </a:lnTo>
                  <a:lnTo>
                    <a:pt x="6" y="3"/>
                  </a:lnTo>
                  <a:lnTo>
                    <a:pt x="4" y="5"/>
                  </a:lnTo>
                  <a:lnTo>
                    <a:pt x="2"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27" name="Freeform 1372"/>
            <p:cNvSpPr>
              <a:spLocks/>
            </p:cNvSpPr>
            <p:nvPr/>
          </p:nvSpPr>
          <p:spPr bwMode="auto">
            <a:xfrm>
              <a:off x="2662238" y="3300841"/>
              <a:ext cx="61913" cy="26988"/>
            </a:xfrm>
            <a:custGeom>
              <a:avLst/>
              <a:gdLst>
                <a:gd name="T0" fmla="*/ 39 w 39"/>
                <a:gd name="T1" fmla="*/ 16 h 17"/>
                <a:gd name="T2" fmla="*/ 39 w 39"/>
                <a:gd name="T3" fmla="*/ 16 h 17"/>
                <a:gd name="T4" fmla="*/ 35 w 39"/>
                <a:gd name="T5" fmla="*/ 17 h 17"/>
                <a:gd name="T6" fmla="*/ 29 w 39"/>
                <a:gd name="T7" fmla="*/ 16 h 17"/>
                <a:gd name="T8" fmla="*/ 19 w 39"/>
                <a:gd name="T9" fmla="*/ 11 h 17"/>
                <a:gd name="T10" fmla="*/ 2 w 39"/>
                <a:gd name="T11" fmla="*/ 1 h 17"/>
                <a:gd name="T12" fmla="*/ 2 w 39"/>
                <a:gd name="T13" fmla="*/ 1 h 17"/>
                <a:gd name="T14" fmla="*/ 0 w 39"/>
                <a:gd name="T15" fmla="*/ 1 h 17"/>
                <a:gd name="T16" fmla="*/ 0 w 39"/>
                <a:gd name="T17" fmla="*/ 0 h 17"/>
                <a:gd name="T18" fmla="*/ 5 w 39"/>
                <a:gd name="T19" fmla="*/ 0 h 17"/>
                <a:gd name="T20" fmla="*/ 13 w 39"/>
                <a:gd name="T21" fmla="*/ 0 h 17"/>
                <a:gd name="T22" fmla="*/ 23 w 39"/>
                <a:gd name="T23" fmla="*/ 3 h 17"/>
                <a:gd name="T24" fmla="*/ 23 w 39"/>
                <a:gd name="T25" fmla="*/ 3 h 17"/>
                <a:gd name="T26" fmla="*/ 31 w 39"/>
                <a:gd name="T27" fmla="*/ 7 h 17"/>
                <a:gd name="T28" fmla="*/ 36 w 39"/>
                <a:gd name="T29" fmla="*/ 11 h 17"/>
                <a:gd name="T30" fmla="*/ 39 w 39"/>
                <a:gd name="T31" fmla="*/ 14 h 17"/>
                <a:gd name="T32" fmla="*/ 39 w 39"/>
                <a:gd name="T33" fmla="*/ 16 h 17"/>
                <a:gd name="T34" fmla="*/ 39 w 39"/>
                <a:gd name="T35"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17">
                  <a:moveTo>
                    <a:pt x="39" y="16"/>
                  </a:moveTo>
                  <a:lnTo>
                    <a:pt x="39" y="16"/>
                  </a:lnTo>
                  <a:lnTo>
                    <a:pt x="35" y="17"/>
                  </a:lnTo>
                  <a:lnTo>
                    <a:pt x="29" y="16"/>
                  </a:lnTo>
                  <a:lnTo>
                    <a:pt x="19" y="11"/>
                  </a:lnTo>
                  <a:lnTo>
                    <a:pt x="2" y="1"/>
                  </a:lnTo>
                  <a:lnTo>
                    <a:pt x="2" y="1"/>
                  </a:lnTo>
                  <a:lnTo>
                    <a:pt x="0" y="1"/>
                  </a:lnTo>
                  <a:lnTo>
                    <a:pt x="0" y="0"/>
                  </a:lnTo>
                  <a:lnTo>
                    <a:pt x="5" y="0"/>
                  </a:lnTo>
                  <a:lnTo>
                    <a:pt x="13" y="0"/>
                  </a:lnTo>
                  <a:lnTo>
                    <a:pt x="23" y="3"/>
                  </a:lnTo>
                  <a:lnTo>
                    <a:pt x="23" y="3"/>
                  </a:lnTo>
                  <a:lnTo>
                    <a:pt x="31" y="7"/>
                  </a:lnTo>
                  <a:lnTo>
                    <a:pt x="36" y="11"/>
                  </a:lnTo>
                  <a:lnTo>
                    <a:pt x="39" y="14"/>
                  </a:lnTo>
                  <a:lnTo>
                    <a:pt x="39" y="16"/>
                  </a:lnTo>
                  <a:lnTo>
                    <a:pt x="39" y="16"/>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28" name="Freeform 1373"/>
            <p:cNvSpPr>
              <a:spLocks/>
            </p:cNvSpPr>
            <p:nvPr/>
          </p:nvSpPr>
          <p:spPr bwMode="auto">
            <a:xfrm>
              <a:off x="2662238" y="3300841"/>
              <a:ext cx="61913" cy="26988"/>
            </a:xfrm>
            <a:custGeom>
              <a:avLst/>
              <a:gdLst>
                <a:gd name="T0" fmla="*/ 39 w 39"/>
                <a:gd name="T1" fmla="*/ 16 h 17"/>
                <a:gd name="T2" fmla="*/ 39 w 39"/>
                <a:gd name="T3" fmla="*/ 16 h 17"/>
                <a:gd name="T4" fmla="*/ 35 w 39"/>
                <a:gd name="T5" fmla="*/ 17 h 17"/>
                <a:gd name="T6" fmla="*/ 29 w 39"/>
                <a:gd name="T7" fmla="*/ 16 h 17"/>
                <a:gd name="T8" fmla="*/ 19 w 39"/>
                <a:gd name="T9" fmla="*/ 11 h 17"/>
                <a:gd name="T10" fmla="*/ 2 w 39"/>
                <a:gd name="T11" fmla="*/ 1 h 17"/>
                <a:gd name="T12" fmla="*/ 2 w 39"/>
                <a:gd name="T13" fmla="*/ 1 h 17"/>
                <a:gd name="T14" fmla="*/ 0 w 39"/>
                <a:gd name="T15" fmla="*/ 1 h 17"/>
                <a:gd name="T16" fmla="*/ 0 w 39"/>
                <a:gd name="T17" fmla="*/ 0 h 17"/>
                <a:gd name="T18" fmla="*/ 5 w 39"/>
                <a:gd name="T19" fmla="*/ 0 h 17"/>
                <a:gd name="T20" fmla="*/ 13 w 39"/>
                <a:gd name="T21" fmla="*/ 0 h 17"/>
                <a:gd name="T22" fmla="*/ 23 w 39"/>
                <a:gd name="T23" fmla="*/ 3 h 17"/>
                <a:gd name="T24" fmla="*/ 23 w 39"/>
                <a:gd name="T25" fmla="*/ 3 h 17"/>
                <a:gd name="T26" fmla="*/ 31 w 39"/>
                <a:gd name="T27" fmla="*/ 7 h 17"/>
                <a:gd name="T28" fmla="*/ 36 w 39"/>
                <a:gd name="T29" fmla="*/ 11 h 17"/>
                <a:gd name="T30" fmla="*/ 39 w 39"/>
                <a:gd name="T31" fmla="*/ 14 h 17"/>
                <a:gd name="T32" fmla="*/ 39 w 39"/>
                <a:gd name="T33" fmla="*/ 16 h 17"/>
                <a:gd name="T34" fmla="*/ 39 w 39"/>
                <a:gd name="T35"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17">
                  <a:moveTo>
                    <a:pt x="39" y="16"/>
                  </a:moveTo>
                  <a:lnTo>
                    <a:pt x="39" y="16"/>
                  </a:lnTo>
                  <a:lnTo>
                    <a:pt x="35" y="17"/>
                  </a:lnTo>
                  <a:lnTo>
                    <a:pt x="29" y="16"/>
                  </a:lnTo>
                  <a:lnTo>
                    <a:pt x="19" y="11"/>
                  </a:lnTo>
                  <a:lnTo>
                    <a:pt x="2" y="1"/>
                  </a:lnTo>
                  <a:lnTo>
                    <a:pt x="2" y="1"/>
                  </a:lnTo>
                  <a:lnTo>
                    <a:pt x="0" y="1"/>
                  </a:lnTo>
                  <a:lnTo>
                    <a:pt x="0" y="0"/>
                  </a:lnTo>
                  <a:lnTo>
                    <a:pt x="5" y="0"/>
                  </a:lnTo>
                  <a:lnTo>
                    <a:pt x="13" y="0"/>
                  </a:lnTo>
                  <a:lnTo>
                    <a:pt x="23" y="3"/>
                  </a:lnTo>
                  <a:lnTo>
                    <a:pt x="23" y="3"/>
                  </a:lnTo>
                  <a:lnTo>
                    <a:pt x="31" y="7"/>
                  </a:lnTo>
                  <a:lnTo>
                    <a:pt x="36" y="11"/>
                  </a:lnTo>
                  <a:lnTo>
                    <a:pt x="39" y="14"/>
                  </a:lnTo>
                  <a:lnTo>
                    <a:pt x="39" y="16"/>
                  </a:lnTo>
                  <a:lnTo>
                    <a:pt x="39"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29" name="Freeform 1374"/>
            <p:cNvSpPr>
              <a:spLocks/>
            </p:cNvSpPr>
            <p:nvPr/>
          </p:nvSpPr>
          <p:spPr bwMode="auto">
            <a:xfrm>
              <a:off x="2736851" y="3410379"/>
              <a:ext cx="22225" cy="36513"/>
            </a:xfrm>
            <a:custGeom>
              <a:avLst/>
              <a:gdLst>
                <a:gd name="T0" fmla="*/ 2 w 14"/>
                <a:gd name="T1" fmla="*/ 23 h 23"/>
                <a:gd name="T2" fmla="*/ 2 w 14"/>
                <a:gd name="T3" fmla="*/ 23 h 23"/>
                <a:gd name="T4" fmla="*/ 1 w 14"/>
                <a:gd name="T5" fmla="*/ 23 h 23"/>
                <a:gd name="T6" fmla="*/ 0 w 14"/>
                <a:gd name="T7" fmla="*/ 20 h 23"/>
                <a:gd name="T8" fmla="*/ 0 w 14"/>
                <a:gd name="T9" fmla="*/ 18 h 23"/>
                <a:gd name="T10" fmla="*/ 2 w 14"/>
                <a:gd name="T11" fmla="*/ 13 h 23"/>
                <a:gd name="T12" fmla="*/ 2 w 14"/>
                <a:gd name="T13" fmla="*/ 13 h 23"/>
                <a:gd name="T14" fmla="*/ 7 w 14"/>
                <a:gd name="T15" fmla="*/ 3 h 23"/>
                <a:gd name="T16" fmla="*/ 10 w 14"/>
                <a:gd name="T17" fmla="*/ 0 h 23"/>
                <a:gd name="T18" fmla="*/ 10 w 14"/>
                <a:gd name="T19" fmla="*/ 0 h 23"/>
                <a:gd name="T20" fmla="*/ 11 w 14"/>
                <a:gd name="T21" fmla="*/ 2 h 23"/>
                <a:gd name="T22" fmla="*/ 11 w 14"/>
                <a:gd name="T23" fmla="*/ 2 h 23"/>
                <a:gd name="T24" fmla="*/ 11 w 14"/>
                <a:gd name="T25" fmla="*/ 9 h 23"/>
                <a:gd name="T26" fmla="*/ 13 w 14"/>
                <a:gd name="T27" fmla="*/ 12 h 23"/>
                <a:gd name="T28" fmla="*/ 14 w 14"/>
                <a:gd name="T29" fmla="*/ 13 h 23"/>
                <a:gd name="T30" fmla="*/ 14 w 14"/>
                <a:gd name="T31" fmla="*/ 13 h 23"/>
                <a:gd name="T32" fmla="*/ 14 w 14"/>
                <a:gd name="T33" fmla="*/ 15 h 23"/>
                <a:gd name="T34" fmla="*/ 14 w 14"/>
                <a:gd name="T35" fmla="*/ 16 h 23"/>
                <a:gd name="T36" fmla="*/ 10 w 14"/>
                <a:gd name="T37" fmla="*/ 19 h 23"/>
                <a:gd name="T38" fmla="*/ 2 w 14"/>
                <a:gd name="T3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23">
                  <a:moveTo>
                    <a:pt x="2" y="23"/>
                  </a:moveTo>
                  <a:lnTo>
                    <a:pt x="2" y="23"/>
                  </a:lnTo>
                  <a:lnTo>
                    <a:pt x="1" y="23"/>
                  </a:lnTo>
                  <a:lnTo>
                    <a:pt x="0" y="20"/>
                  </a:lnTo>
                  <a:lnTo>
                    <a:pt x="0" y="18"/>
                  </a:lnTo>
                  <a:lnTo>
                    <a:pt x="2" y="13"/>
                  </a:lnTo>
                  <a:lnTo>
                    <a:pt x="2" y="13"/>
                  </a:lnTo>
                  <a:lnTo>
                    <a:pt x="7" y="3"/>
                  </a:lnTo>
                  <a:lnTo>
                    <a:pt x="10" y="0"/>
                  </a:lnTo>
                  <a:lnTo>
                    <a:pt x="10" y="0"/>
                  </a:lnTo>
                  <a:lnTo>
                    <a:pt x="11" y="2"/>
                  </a:lnTo>
                  <a:lnTo>
                    <a:pt x="11" y="2"/>
                  </a:lnTo>
                  <a:lnTo>
                    <a:pt x="11" y="9"/>
                  </a:lnTo>
                  <a:lnTo>
                    <a:pt x="13" y="12"/>
                  </a:lnTo>
                  <a:lnTo>
                    <a:pt x="14" y="13"/>
                  </a:lnTo>
                  <a:lnTo>
                    <a:pt x="14" y="13"/>
                  </a:lnTo>
                  <a:lnTo>
                    <a:pt x="14" y="15"/>
                  </a:lnTo>
                  <a:lnTo>
                    <a:pt x="14" y="16"/>
                  </a:lnTo>
                  <a:lnTo>
                    <a:pt x="10" y="19"/>
                  </a:lnTo>
                  <a:lnTo>
                    <a:pt x="2" y="23"/>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30" name="Freeform 1375"/>
            <p:cNvSpPr>
              <a:spLocks/>
            </p:cNvSpPr>
            <p:nvPr/>
          </p:nvSpPr>
          <p:spPr bwMode="auto">
            <a:xfrm>
              <a:off x="2736851" y="3410379"/>
              <a:ext cx="22225" cy="36513"/>
            </a:xfrm>
            <a:custGeom>
              <a:avLst/>
              <a:gdLst>
                <a:gd name="T0" fmla="*/ 2 w 14"/>
                <a:gd name="T1" fmla="*/ 23 h 23"/>
                <a:gd name="T2" fmla="*/ 2 w 14"/>
                <a:gd name="T3" fmla="*/ 23 h 23"/>
                <a:gd name="T4" fmla="*/ 1 w 14"/>
                <a:gd name="T5" fmla="*/ 23 h 23"/>
                <a:gd name="T6" fmla="*/ 0 w 14"/>
                <a:gd name="T7" fmla="*/ 20 h 23"/>
                <a:gd name="T8" fmla="*/ 0 w 14"/>
                <a:gd name="T9" fmla="*/ 18 h 23"/>
                <a:gd name="T10" fmla="*/ 2 w 14"/>
                <a:gd name="T11" fmla="*/ 13 h 23"/>
                <a:gd name="T12" fmla="*/ 2 w 14"/>
                <a:gd name="T13" fmla="*/ 13 h 23"/>
                <a:gd name="T14" fmla="*/ 7 w 14"/>
                <a:gd name="T15" fmla="*/ 3 h 23"/>
                <a:gd name="T16" fmla="*/ 10 w 14"/>
                <a:gd name="T17" fmla="*/ 0 h 23"/>
                <a:gd name="T18" fmla="*/ 10 w 14"/>
                <a:gd name="T19" fmla="*/ 0 h 23"/>
                <a:gd name="T20" fmla="*/ 11 w 14"/>
                <a:gd name="T21" fmla="*/ 2 h 23"/>
                <a:gd name="T22" fmla="*/ 11 w 14"/>
                <a:gd name="T23" fmla="*/ 2 h 23"/>
                <a:gd name="T24" fmla="*/ 11 w 14"/>
                <a:gd name="T25" fmla="*/ 9 h 23"/>
                <a:gd name="T26" fmla="*/ 13 w 14"/>
                <a:gd name="T27" fmla="*/ 12 h 23"/>
                <a:gd name="T28" fmla="*/ 14 w 14"/>
                <a:gd name="T29" fmla="*/ 13 h 23"/>
                <a:gd name="T30" fmla="*/ 14 w 14"/>
                <a:gd name="T31" fmla="*/ 13 h 23"/>
                <a:gd name="T32" fmla="*/ 14 w 14"/>
                <a:gd name="T33" fmla="*/ 15 h 23"/>
                <a:gd name="T34" fmla="*/ 14 w 14"/>
                <a:gd name="T35" fmla="*/ 16 h 23"/>
                <a:gd name="T36" fmla="*/ 10 w 14"/>
                <a:gd name="T37" fmla="*/ 19 h 23"/>
                <a:gd name="T38" fmla="*/ 2 w 14"/>
                <a:gd name="T3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23">
                  <a:moveTo>
                    <a:pt x="2" y="23"/>
                  </a:moveTo>
                  <a:lnTo>
                    <a:pt x="2" y="23"/>
                  </a:lnTo>
                  <a:lnTo>
                    <a:pt x="1" y="23"/>
                  </a:lnTo>
                  <a:lnTo>
                    <a:pt x="0" y="20"/>
                  </a:lnTo>
                  <a:lnTo>
                    <a:pt x="0" y="18"/>
                  </a:lnTo>
                  <a:lnTo>
                    <a:pt x="2" y="13"/>
                  </a:lnTo>
                  <a:lnTo>
                    <a:pt x="2" y="13"/>
                  </a:lnTo>
                  <a:lnTo>
                    <a:pt x="7" y="3"/>
                  </a:lnTo>
                  <a:lnTo>
                    <a:pt x="10" y="0"/>
                  </a:lnTo>
                  <a:lnTo>
                    <a:pt x="10" y="0"/>
                  </a:lnTo>
                  <a:lnTo>
                    <a:pt x="11" y="2"/>
                  </a:lnTo>
                  <a:lnTo>
                    <a:pt x="11" y="2"/>
                  </a:lnTo>
                  <a:lnTo>
                    <a:pt x="11" y="9"/>
                  </a:lnTo>
                  <a:lnTo>
                    <a:pt x="13" y="12"/>
                  </a:lnTo>
                  <a:lnTo>
                    <a:pt x="14" y="13"/>
                  </a:lnTo>
                  <a:lnTo>
                    <a:pt x="14" y="13"/>
                  </a:lnTo>
                  <a:lnTo>
                    <a:pt x="14" y="15"/>
                  </a:lnTo>
                  <a:lnTo>
                    <a:pt x="14" y="16"/>
                  </a:lnTo>
                  <a:lnTo>
                    <a:pt x="10" y="19"/>
                  </a:lnTo>
                  <a:lnTo>
                    <a:pt x="2"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31" name="Freeform 1376"/>
            <p:cNvSpPr>
              <a:spLocks/>
            </p:cNvSpPr>
            <p:nvPr/>
          </p:nvSpPr>
          <p:spPr bwMode="auto">
            <a:xfrm>
              <a:off x="2789238" y="3221466"/>
              <a:ext cx="165100" cy="198438"/>
            </a:xfrm>
            <a:custGeom>
              <a:avLst/>
              <a:gdLst>
                <a:gd name="T0" fmla="*/ 46 w 104"/>
                <a:gd name="T1" fmla="*/ 110 h 125"/>
                <a:gd name="T2" fmla="*/ 49 w 104"/>
                <a:gd name="T3" fmla="*/ 106 h 125"/>
                <a:gd name="T4" fmla="*/ 46 w 104"/>
                <a:gd name="T5" fmla="*/ 100 h 125"/>
                <a:gd name="T6" fmla="*/ 11 w 104"/>
                <a:gd name="T7" fmla="*/ 102 h 125"/>
                <a:gd name="T8" fmla="*/ 0 w 104"/>
                <a:gd name="T9" fmla="*/ 99 h 125"/>
                <a:gd name="T10" fmla="*/ 0 w 104"/>
                <a:gd name="T11" fmla="*/ 96 h 125"/>
                <a:gd name="T12" fmla="*/ 7 w 104"/>
                <a:gd name="T13" fmla="*/ 83 h 125"/>
                <a:gd name="T14" fmla="*/ 1 w 104"/>
                <a:gd name="T15" fmla="*/ 83 h 125"/>
                <a:gd name="T16" fmla="*/ 0 w 104"/>
                <a:gd name="T17" fmla="*/ 79 h 125"/>
                <a:gd name="T18" fmla="*/ 11 w 104"/>
                <a:gd name="T19" fmla="*/ 67 h 125"/>
                <a:gd name="T20" fmla="*/ 19 w 104"/>
                <a:gd name="T21" fmla="*/ 64 h 125"/>
                <a:gd name="T22" fmla="*/ 16 w 104"/>
                <a:gd name="T23" fmla="*/ 54 h 125"/>
                <a:gd name="T24" fmla="*/ 23 w 104"/>
                <a:gd name="T25" fmla="*/ 35 h 125"/>
                <a:gd name="T26" fmla="*/ 39 w 104"/>
                <a:gd name="T27" fmla="*/ 9 h 125"/>
                <a:gd name="T28" fmla="*/ 48 w 104"/>
                <a:gd name="T29" fmla="*/ 3 h 125"/>
                <a:gd name="T30" fmla="*/ 56 w 104"/>
                <a:gd name="T31" fmla="*/ 0 h 125"/>
                <a:gd name="T32" fmla="*/ 51 w 104"/>
                <a:gd name="T33" fmla="*/ 9 h 125"/>
                <a:gd name="T34" fmla="*/ 51 w 104"/>
                <a:gd name="T35" fmla="*/ 16 h 125"/>
                <a:gd name="T36" fmla="*/ 42 w 104"/>
                <a:gd name="T37" fmla="*/ 32 h 125"/>
                <a:gd name="T38" fmla="*/ 39 w 104"/>
                <a:gd name="T39" fmla="*/ 51 h 125"/>
                <a:gd name="T40" fmla="*/ 48 w 104"/>
                <a:gd name="T41" fmla="*/ 42 h 125"/>
                <a:gd name="T42" fmla="*/ 52 w 104"/>
                <a:gd name="T43" fmla="*/ 42 h 125"/>
                <a:gd name="T44" fmla="*/ 55 w 104"/>
                <a:gd name="T45" fmla="*/ 48 h 125"/>
                <a:gd name="T46" fmla="*/ 61 w 104"/>
                <a:gd name="T47" fmla="*/ 57 h 125"/>
                <a:gd name="T48" fmla="*/ 68 w 104"/>
                <a:gd name="T49" fmla="*/ 57 h 125"/>
                <a:gd name="T50" fmla="*/ 84 w 104"/>
                <a:gd name="T51" fmla="*/ 58 h 125"/>
                <a:gd name="T52" fmla="*/ 91 w 104"/>
                <a:gd name="T53" fmla="*/ 61 h 125"/>
                <a:gd name="T54" fmla="*/ 90 w 104"/>
                <a:gd name="T55" fmla="*/ 73 h 125"/>
                <a:gd name="T56" fmla="*/ 91 w 104"/>
                <a:gd name="T57" fmla="*/ 80 h 125"/>
                <a:gd name="T58" fmla="*/ 93 w 104"/>
                <a:gd name="T59" fmla="*/ 83 h 125"/>
                <a:gd name="T60" fmla="*/ 95 w 104"/>
                <a:gd name="T61" fmla="*/ 83 h 125"/>
                <a:gd name="T62" fmla="*/ 90 w 104"/>
                <a:gd name="T63" fmla="*/ 96 h 125"/>
                <a:gd name="T64" fmla="*/ 98 w 104"/>
                <a:gd name="T65" fmla="*/ 92 h 125"/>
                <a:gd name="T66" fmla="*/ 100 w 104"/>
                <a:gd name="T67" fmla="*/ 92 h 125"/>
                <a:gd name="T68" fmla="*/ 97 w 104"/>
                <a:gd name="T69" fmla="*/ 102 h 125"/>
                <a:gd name="T70" fmla="*/ 103 w 104"/>
                <a:gd name="T71" fmla="*/ 100 h 125"/>
                <a:gd name="T72" fmla="*/ 103 w 104"/>
                <a:gd name="T73" fmla="*/ 116 h 125"/>
                <a:gd name="T74" fmla="*/ 97 w 104"/>
                <a:gd name="T75" fmla="*/ 125 h 125"/>
                <a:gd name="T76" fmla="*/ 93 w 104"/>
                <a:gd name="T77" fmla="*/ 118 h 125"/>
                <a:gd name="T78" fmla="*/ 90 w 104"/>
                <a:gd name="T79" fmla="*/ 113 h 125"/>
                <a:gd name="T80" fmla="*/ 82 w 104"/>
                <a:gd name="T81" fmla="*/ 118 h 125"/>
                <a:gd name="T82" fmla="*/ 81 w 104"/>
                <a:gd name="T83" fmla="*/ 118 h 125"/>
                <a:gd name="T84" fmla="*/ 84 w 104"/>
                <a:gd name="T85" fmla="*/ 105 h 125"/>
                <a:gd name="T86" fmla="*/ 81 w 104"/>
                <a:gd name="T87" fmla="*/ 96 h 125"/>
                <a:gd name="T88" fmla="*/ 77 w 104"/>
                <a:gd name="T89" fmla="*/ 102 h 125"/>
                <a:gd name="T90" fmla="*/ 72 w 104"/>
                <a:gd name="T91" fmla="*/ 106 h 125"/>
                <a:gd name="T92" fmla="*/ 68 w 104"/>
                <a:gd name="T93" fmla="*/ 110 h 125"/>
                <a:gd name="T94" fmla="*/ 61 w 104"/>
                <a:gd name="T95" fmla="*/ 121 h 125"/>
                <a:gd name="T96" fmla="*/ 52 w 104"/>
                <a:gd name="T97" fmla="*/ 12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 h="125">
                  <a:moveTo>
                    <a:pt x="49" y="118"/>
                  </a:moveTo>
                  <a:lnTo>
                    <a:pt x="49" y="118"/>
                  </a:lnTo>
                  <a:lnTo>
                    <a:pt x="46" y="110"/>
                  </a:lnTo>
                  <a:lnTo>
                    <a:pt x="46" y="109"/>
                  </a:lnTo>
                  <a:lnTo>
                    <a:pt x="49" y="106"/>
                  </a:lnTo>
                  <a:lnTo>
                    <a:pt x="49" y="106"/>
                  </a:lnTo>
                  <a:lnTo>
                    <a:pt x="51" y="105"/>
                  </a:lnTo>
                  <a:lnTo>
                    <a:pt x="49" y="102"/>
                  </a:lnTo>
                  <a:lnTo>
                    <a:pt x="46" y="100"/>
                  </a:lnTo>
                  <a:lnTo>
                    <a:pt x="43" y="99"/>
                  </a:lnTo>
                  <a:lnTo>
                    <a:pt x="43" y="99"/>
                  </a:lnTo>
                  <a:lnTo>
                    <a:pt x="11" y="102"/>
                  </a:lnTo>
                  <a:lnTo>
                    <a:pt x="11" y="102"/>
                  </a:lnTo>
                  <a:lnTo>
                    <a:pt x="3" y="100"/>
                  </a:lnTo>
                  <a:lnTo>
                    <a:pt x="0" y="99"/>
                  </a:lnTo>
                  <a:lnTo>
                    <a:pt x="0" y="97"/>
                  </a:lnTo>
                  <a:lnTo>
                    <a:pt x="0" y="96"/>
                  </a:lnTo>
                  <a:lnTo>
                    <a:pt x="0" y="96"/>
                  </a:lnTo>
                  <a:lnTo>
                    <a:pt x="6" y="87"/>
                  </a:lnTo>
                  <a:lnTo>
                    <a:pt x="7" y="84"/>
                  </a:lnTo>
                  <a:lnTo>
                    <a:pt x="7" y="83"/>
                  </a:lnTo>
                  <a:lnTo>
                    <a:pt x="7" y="83"/>
                  </a:lnTo>
                  <a:lnTo>
                    <a:pt x="7" y="83"/>
                  </a:lnTo>
                  <a:lnTo>
                    <a:pt x="1" y="83"/>
                  </a:lnTo>
                  <a:lnTo>
                    <a:pt x="0" y="81"/>
                  </a:lnTo>
                  <a:lnTo>
                    <a:pt x="0" y="79"/>
                  </a:lnTo>
                  <a:lnTo>
                    <a:pt x="0" y="79"/>
                  </a:lnTo>
                  <a:lnTo>
                    <a:pt x="7" y="71"/>
                  </a:lnTo>
                  <a:lnTo>
                    <a:pt x="11" y="67"/>
                  </a:lnTo>
                  <a:lnTo>
                    <a:pt x="11" y="67"/>
                  </a:lnTo>
                  <a:lnTo>
                    <a:pt x="17" y="67"/>
                  </a:lnTo>
                  <a:lnTo>
                    <a:pt x="19" y="66"/>
                  </a:lnTo>
                  <a:lnTo>
                    <a:pt x="19" y="64"/>
                  </a:lnTo>
                  <a:lnTo>
                    <a:pt x="19" y="64"/>
                  </a:lnTo>
                  <a:lnTo>
                    <a:pt x="16" y="58"/>
                  </a:lnTo>
                  <a:lnTo>
                    <a:pt x="16" y="54"/>
                  </a:lnTo>
                  <a:lnTo>
                    <a:pt x="16" y="54"/>
                  </a:lnTo>
                  <a:lnTo>
                    <a:pt x="20" y="42"/>
                  </a:lnTo>
                  <a:lnTo>
                    <a:pt x="23" y="35"/>
                  </a:lnTo>
                  <a:lnTo>
                    <a:pt x="26" y="28"/>
                  </a:lnTo>
                  <a:lnTo>
                    <a:pt x="26" y="28"/>
                  </a:lnTo>
                  <a:lnTo>
                    <a:pt x="39" y="9"/>
                  </a:lnTo>
                  <a:lnTo>
                    <a:pt x="39" y="9"/>
                  </a:lnTo>
                  <a:lnTo>
                    <a:pt x="42" y="6"/>
                  </a:lnTo>
                  <a:lnTo>
                    <a:pt x="48" y="3"/>
                  </a:lnTo>
                  <a:lnTo>
                    <a:pt x="53" y="0"/>
                  </a:lnTo>
                  <a:lnTo>
                    <a:pt x="56" y="0"/>
                  </a:lnTo>
                  <a:lnTo>
                    <a:pt x="56" y="0"/>
                  </a:lnTo>
                  <a:lnTo>
                    <a:pt x="53" y="5"/>
                  </a:lnTo>
                  <a:lnTo>
                    <a:pt x="51" y="9"/>
                  </a:lnTo>
                  <a:lnTo>
                    <a:pt x="51" y="9"/>
                  </a:lnTo>
                  <a:lnTo>
                    <a:pt x="51" y="12"/>
                  </a:lnTo>
                  <a:lnTo>
                    <a:pt x="52" y="15"/>
                  </a:lnTo>
                  <a:lnTo>
                    <a:pt x="51" y="16"/>
                  </a:lnTo>
                  <a:lnTo>
                    <a:pt x="51" y="16"/>
                  </a:lnTo>
                  <a:lnTo>
                    <a:pt x="46" y="24"/>
                  </a:lnTo>
                  <a:lnTo>
                    <a:pt x="42" y="32"/>
                  </a:lnTo>
                  <a:lnTo>
                    <a:pt x="42" y="32"/>
                  </a:lnTo>
                  <a:lnTo>
                    <a:pt x="40" y="42"/>
                  </a:lnTo>
                  <a:lnTo>
                    <a:pt x="39" y="51"/>
                  </a:lnTo>
                  <a:lnTo>
                    <a:pt x="39" y="51"/>
                  </a:lnTo>
                  <a:lnTo>
                    <a:pt x="43" y="44"/>
                  </a:lnTo>
                  <a:lnTo>
                    <a:pt x="48" y="42"/>
                  </a:lnTo>
                  <a:lnTo>
                    <a:pt x="51" y="41"/>
                  </a:lnTo>
                  <a:lnTo>
                    <a:pt x="51" y="41"/>
                  </a:lnTo>
                  <a:lnTo>
                    <a:pt x="52" y="42"/>
                  </a:lnTo>
                  <a:lnTo>
                    <a:pt x="53" y="44"/>
                  </a:lnTo>
                  <a:lnTo>
                    <a:pt x="55" y="48"/>
                  </a:lnTo>
                  <a:lnTo>
                    <a:pt x="55" y="48"/>
                  </a:lnTo>
                  <a:lnTo>
                    <a:pt x="55" y="51"/>
                  </a:lnTo>
                  <a:lnTo>
                    <a:pt x="58" y="55"/>
                  </a:lnTo>
                  <a:lnTo>
                    <a:pt x="61" y="57"/>
                  </a:lnTo>
                  <a:lnTo>
                    <a:pt x="64" y="58"/>
                  </a:lnTo>
                  <a:lnTo>
                    <a:pt x="64" y="58"/>
                  </a:lnTo>
                  <a:lnTo>
                    <a:pt x="68" y="57"/>
                  </a:lnTo>
                  <a:lnTo>
                    <a:pt x="72" y="57"/>
                  </a:lnTo>
                  <a:lnTo>
                    <a:pt x="72" y="57"/>
                  </a:lnTo>
                  <a:lnTo>
                    <a:pt x="84" y="58"/>
                  </a:lnTo>
                  <a:lnTo>
                    <a:pt x="90" y="60"/>
                  </a:lnTo>
                  <a:lnTo>
                    <a:pt x="91" y="61"/>
                  </a:lnTo>
                  <a:lnTo>
                    <a:pt x="91" y="61"/>
                  </a:lnTo>
                  <a:lnTo>
                    <a:pt x="88" y="66"/>
                  </a:lnTo>
                  <a:lnTo>
                    <a:pt x="88" y="68"/>
                  </a:lnTo>
                  <a:lnTo>
                    <a:pt x="90" y="73"/>
                  </a:lnTo>
                  <a:lnTo>
                    <a:pt x="90" y="73"/>
                  </a:lnTo>
                  <a:lnTo>
                    <a:pt x="91" y="77"/>
                  </a:lnTo>
                  <a:lnTo>
                    <a:pt x="91" y="80"/>
                  </a:lnTo>
                  <a:lnTo>
                    <a:pt x="93" y="83"/>
                  </a:lnTo>
                  <a:lnTo>
                    <a:pt x="93" y="83"/>
                  </a:lnTo>
                  <a:lnTo>
                    <a:pt x="93" y="83"/>
                  </a:lnTo>
                  <a:lnTo>
                    <a:pt x="95" y="81"/>
                  </a:lnTo>
                  <a:lnTo>
                    <a:pt x="95" y="81"/>
                  </a:lnTo>
                  <a:lnTo>
                    <a:pt x="95" y="83"/>
                  </a:lnTo>
                  <a:lnTo>
                    <a:pt x="95" y="83"/>
                  </a:lnTo>
                  <a:lnTo>
                    <a:pt x="90" y="96"/>
                  </a:lnTo>
                  <a:lnTo>
                    <a:pt x="90" y="96"/>
                  </a:lnTo>
                  <a:lnTo>
                    <a:pt x="91" y="96"/>
                  </a:lnTo>
                  <a:lnTo>
                    <a:pt x="94" y="93"/>
                  </a:lnTo>
                  <a:lnTo>
                    <a:pt x="98" y="92"/>
                  </a:lnTo>
                  <a:lnTo>
                    <a:pt x="98" y="92"/>
                  </a:lnTo>
                  <a:lnTo>
                    <a:pt x="100" y="92"/>
                  </a:lnTo>
                  <a:lnTo>
                    <a:pt x="100" y="92"/>
                  </a:lnTo>
                  <a:lnTo>
                    <a:pt x="97" y="99"/>
                  </a:lnTo>
                  <a:lnTo>
                    <a:pt x="97" y="102"/>
                  </a:lnTo>
                  <a:lnTo>
                    <a:pt x="97" y="102"/>
                  </a:lnTo>
                  <a:lnTo>
                    <a:pt x="97" y="102"/>
                  </a:lnTo>
                  <a:lnTo>
                    <a:pt x="101" y="100"/>
                  </a:lnTo>
                  <a:lnTo>
                    <a:pt x="103" y="100"/>
                  </a:lnTo>
                  <a:lnTo>
                    <a:pt x="104" y="102"/>
                  </a:lnTo>
                  <a:lnTo>
                    <a:pt x="104" y="102"/>
                  </a:lnTo>
                  <a:lnTo>
                    <a:pt x="103" y="116"/>
                  </a:lnTo>
                  <a:lnTo>
                    <a:pt x="100" y="122"/>
                  </a:lnTo>
                  <a:lnTo>
                    <a:pt x="98" y="125"/>
                  </a:lnTo>
                  <a:lnTo>
                    <a:pt x="97" y="125"/>
                  </a:lnTo>
                  <a:lnTo>
                    <a:pt x="97" y="125"/>
                  </a:lnTo>
                  <a:lnTo>
                    <a:pt x="94" y="121"/>
                  </a:lnTo>
                  <a:lnTo>
                    <a:pt x="93" y="118"/>
                  </a:lnTo>
                  <a:lnTo>
                    <a:pt x="93" y="115"/>
                  </a:lnTo>
                  <a:lnTo>
                    <a:pt x="90" y="113"/>
                  </a:lnTo>
                  <a:lnTo>
                    <a:pt x="90" y="113"/>
                  </a:lnTo>
                  <a:lnTo>
                    <a:pt x="88" y="115"/>
                  </a:lnTo>
                  <a:lnTo>
                    <a:pt x="85" y="116"/>
                  </a:lnTo>
                  <a:lnTo>
                    <a:pt x="82" y="118"/>
                  </a:lnTo>
                  <a:lnTo>
                    <a:pt x="82" y="118"/>
                  </a:lnTo>
                  <a:lnTo>
                    <a:pt x="81" y="118"/>
                  </a:lnTo>
                  <a:lnTo>
                    <a:pt x="81" y="118"/>
                  </a:lnTo>
                  <a:lnTo>
                    <a:pt x="84" y="110"/>
                  </a:lnTo>
                  <a:lnTo>
                    <a:pt x="84" y="108"/>
                  </a:lnTo>
                  <a:lnTo>
                    <a:pt x="84" y="105"/>
                  </a:lnTo>
                  <a:lnTo>
                    <a:pt x="84" y="105"/>
                  </a:lnTo>
                  <a:lnTo>
                    <a:pt x="81" y="99"/>
                  </a:lnTo>
                  <a:lnTo>
                    <a:pt x="81" y="96"/>
                  </a:lnTo>
                  <a:lnTo>
                    <a:pt x="79" y="96"/>
                  </a:lnTo>
                  <a:lnTo>
                    <a:pt x="79" y="96"/>
                  </a:lnTo>
                  <a:lnTo>
                    <a:pt x="77" y="102"/>
                  </a:lnTo>
                  <a:lnTo>
                    <a:pt x="75" y="105"/>
                  </a:lnTo>
                  <a:lnTo>
                    <a:pt x="72" y="106"/>
                  </a:lnTo>
                  <a:lnTo>
                    <a:pt x="72" y="106"/>
                  </a:lnTo>
                  <a:lnTo>
                    <a:pt x="69" y="106"/>
                  </a:lnTo>
                  <a:lnTo>
                    <a:pt x="68" y="110"/>
                  </a:lnTo>
                  <a:lnTo>
                    <a:pt x="68" y="110"/>
                  </a:lnTo>
                  <a:lnTo>
                    <a:pt x="65" y="116"/>
                  </a:lnTo>
                  <a:lnTo>
                    <a:pt x="62" y="119"/>
                  </a:lnTo>
                  <a:lnTo>
                    <a:pt x="61" y="121"/>
                  </a:lnTo>
                  <a:lnTo>
                    <a:pt x="61" y="121"/>
                  </a:lnTo>
                  <a:lnTo>
                    <a:pt x="55" y="122"/>
                  </a:lnTo>
                  <a:lnTo>
                    <a:pt x="52" y="121"/>
                  </a:lnTo>
                  <a:lnTo>
                    <a:pt x="49" y="118"/>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32" name="Freeform 1377"/>
            <p:cNvSpPr>
              <a:spLocks/>
            </p:cNvSpPr>
            <p:nvPr/>
          </p:nvSpPr>
          <p:spPr bwMode="auto">
            <a:xfrm>
              <a:off x="2789238" y="3221466"/>
              <a:ext cx="165100" cy="198438"/>
            </a:xfrm>
            <a:custGeom>
              <a:avLst/>
              <a:gdLst>
                <a:gd name="T0" fmla="*/ 46 w 104"/>
                <a:gd name="T1" fmla="*/ 110 h 125"/>
                <a:gd name="T2" fmla="*/ 49 w 104"/>
                <a:gd name="T3" fmla="*/ 106 h 125"/>
                <a:gd name="T4" fmla="*/ 46 w 104"/>
                <a:gd name="T5" fmla="*/ 100 h 125"/>
                <a:gd name="T6" fmla="*/ 11 w 104"/>
                <a:gd name="T7" fmla="*/ 102 h 125"/>
                <a:gd name="T8" fmla="*/ 0 w 104"/>
                <a:gd name="T9" fmla="*/ 99 h 125"/>
                <a:gd name="T10" fmla="*/ 0 w 104"/>
                <a:gd name="T11" fmla="*/ 96 h 125"/>
                <a:gd name="T12" fmla="*/ 7 w 104"/>
                <a:gd name="T13" fmla="*/ 83 h 125"/>
                <a:gd name="T14" fmla="*/ 1 w 104"/>
                <a:gd name="T15" fmla="*/ 83 h 125"/>
                <a:gd name="T16" fmla="*/ 0 w 104"/>
                <a:gd name="T17" fmla="*/ 79 h 125"/>
                <a:gd name="T18" fmla="*/ 11 w 104"/>
                <a:gd name="T19" fmla="*/ 67 h 125"/>
                <a:gd name="T20" fmla="*/ 19 w 104"/>
                <a:gd name="T21" fmla="*/ 64 h 125"/>
                <a:gd name="T22" fmla="*/ 16 w 104"/>
                <a:gd name="T23" fmla="*/ 54 h 125"/>
                <a:gd name="T24" fmla="*/ 23 w 104"/>
                <a:gd name="T25" fmla="*/ 35 h 125"/>
                <a:gd name="T26" fmla="*/ 39 w 104"/>
                <a:gd name="T27" fmla="*/ 9 h 125"/>
                <a:gd name="T28" fmla="*/ 48 w 104"/>
                <a:gd name="T29" fmla="*/ 3 h 125"/>
                <a:gd name="T30" fmla="*/ 56 w 104"/>
                <a:gd name="T31" fmla="*/ 0 h 125"/>
                <a:gd name="T32" fmla="*/ 51 w 104"/>
                <a:gd name="T33" fmla="*/ 9 h 125"/>
                <a:gd name="T34" fmla="*/ 51 w 104"/>
                <a:gd name="T35" fmla="*/ 16 h 125"/>
                <a:gd name="T36" fmla="*/ 42 w 104"/>
                <a:gd name="T37" fmla="*/ 32 h 125"/>
                <a:gd name="T38" fmla="*/ 39 w 104"/>
                <a:gd name="T39" fmla="*/ 51 h 125"/>
                <a:gd name="T40" fmla="*/ 48 w 104"/>
                <a:gd name="T41" fmla="*/ 42 h 125"/>
                <a:gd name="T42" fmla="*/ 52 w 104"/>
                <a:gd name="T43" fmla="*/ 42 h 125"/>
                <a:gd name="T44" fmla="*/ 55 w 104"/>
                <a:gd name="T45" fmla="*/ 48 h 125"/>
                <a:gd name="T46" fmla="*/ 61 w 104"/>
                <a:gd name="T47" fmla="*/ 57 h 125"/>
                <a:gd name="T48" fmla="*/ 68 w 104"/>
                <a:gd name="T49" fmla="*/ 57 h 125"/>
                <a:gd name="T50" fmla="*/ 84 w 104"/>
                <a:gd name="T51" fmla="*/ 58 h 125"/>
                <a:gd name="T52" fmla="*/ 91 w 104"/>
                <a:gd name="T53" fmla="*/ 61 h 125"/>
                <a:gd name="T54" fmla="*/ 90 w 104"/>
                <a:gd name="T55" fmla="*/ 73 h 125"/>
                <a:gd name="T56" fmla="*/ 91 w 104"/>
                <a:gd name="T57" fmla="*/ 80 h 125"/>
                <a:gd name="T58" fmla="*/ 93 w 104"/>
                <a:gd name="T59" fmla="*/ 83 h 125"/>
                <a:gd name="T60" fmla="*/ 95 w 104"/>
                <a:gd name="T61" fmla="*/ 83 h 125"/>
                <a:gd name="T62" fmla="*/ 90 w 104"/>
                <a:gd name="T63" fmla="*/ 96 h 125"/>
                <a:gd name="T64" fmla="*/ 98 w 104"/>
                <a:gd name="T65" fmla="*/ 92 h 125"/>
                <a:gd name="T66" fmla="*/ 100 w 104"/>
                <a:gd name="T67" fmla="*/ 92 h 125"/>
                <a:gd name="T68" fmla="*/ 97 w 104"/>
                <a:gd name="T69" fmla="*/ 102 h 125"/>
                <a:gd name="T70" fmla="*/ 103 w 104"/>
                <a:gd name="T71" fmla="*/ 100 h 125"/>
                <a:gd name="T72" fmla="*/ 103 w 104"/>
                <a:gd name="T73" fmla="*/ 116 h 125"/>
                <a:gd name="T74" fmla="*/ 97 w 104"/>
                <a:gd name="T75" fmla="*/ 125 h 125"/>
                <a:gd name="T76" fmla="*/ 93 w 104"/>
                <a:gd name="T77" fmla="*/ 118 h 125"/>
                <a:gd name="T78" fmla="*/ 90 w 104"/>
                <a:gd name="T79" fmla="*/ 113 h 125"/>
                <a:gd name="T80" fmla="*/ 82 w 104"/>
                <a:gd name="T81" fmla="*/ 118 h 125"/>
                <a:gd name="T82" fmla="*/ 81 w 104"/>
                <a:gd name="T83" fmla="*/ 118 h 125"/>
                <a:gd name="T84" fmla="*/ 84 w 104"/>
                <a:gd name="T85" fmla="*/ 105 h 125"/>
                <a:gd name="T86" fmla="*/ 81 w 104"/>
                <a:gd name="T87" fmla="*/ 96 h 125"/>
                <a:gd name="T88" fmla="*/ 77 w 104"/>
                <a:gd name="T89" fmla="*/ 102 h 125"/>
                <a:gd name="T90" fmla="*/ 72 w 104"/>
                <a:gd name="T91" fmla="*/ 106 h 125"/>
                <a:gd name="T92" fmla="*/ 68 w 104"/>
                <a:gd name="T93" fmla="*/ 110 h 125"/>
                <a:gd name="T94" fmla="*/ 61 w 104"/>
                <a:gd name="T95" fmla="*/ 121 h 125"/>
                <a:gd name="T96" fmla="*/ 52 w 104"/>
                <a:gd name="T97" fmla="*/ 12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 h="125">
                  <a:moveTo>
                    <a:pt x="49" y="118"/>
                  </a:moveTo>
                  <a:lnTo>
                    <a:pt x="49" y="118"/>
                  </a:lnTo>
                  <a:lnTo>
                    <a:pt x="46" y="110"/>
                  </a:lnTo>
                  <a:lnTo>
                    <a:pt x="46" y="109"/>
                  </a:lnTo>
                  <a:lnTo>
                    <a:pt x="49" y="106"/>
                  </a:lnTo>
                  <a:lnTo>
                    <a:pt x="49" y="106"/>
                  </a:lnTo>
                  <a:lnTo>
                    <a:pt x="51" y="105"/>
                  </a:lnTo>
                  <a:lnTo>
                    <a:pt x="49" y="102"/>
                  </a:lnTo>
                  <a:lnTo>
                    <a:pt x="46" y="100"/>
                  </a:lnTo>
                  <a:lnTo>
                    <a:pt x="43" y="99"/>
                  </a:lnTo>
                  <a:lnTo>
                    <a:pt x="43" y="99"/>
                  </a:lnTo>
                  <a:lnTo>
                    <a:pt x="11" y="102"/>
                  </a:lnTo>
                  <a:lnTo>
                    <a:pt x="11" y="102"/>
                  </a:lnTo>
                  <a:lnTo>
                    <a:pt x="3" y="100"/>
                  </a:lnTo>
                  <a:lnTo>
                    <a:pt x="0" y="99"/>
                  </a:lnTo>
                  <a:lnTo>
                    <a:pt x="0" y="97"/>
                  </a:lnTo>
                  <a:lnTo>
                    <a:pt x="0" y="96"/>
                  </a:lnTo>
                  <a:lnTo>
                    <a:pt x="0" y="96"/>
                  </a:lnTo>
                  <a:lnTo>
                    <a:pt x="6" y="87"/>
                  </a:lnTo>
                  <a:lnTo>
                    <a:pt x="7" y="84"/>
                  </a:lnTo>
                  <a:lnTo>
                    <a:pt x="7" y="83"/>
                  </a:lnTo>
                  <a:lnTo>
                    <a:pt x="7" y="83"/>
                  </a:lnTo>
                  <a:lnTo>
                    <a:pt x="7" y="83"/>
                  </a:lnTo>
                  <a:lnTo>
                    <a:pt x="1" y="83"/>
                  </a:lnTo>
                  <a:lnTo>
                    <a:pt x="0" y="81"/>
                  </a:lnTo>
                  <a:lnTo>
                    <a:pt x="0" y="79"/>
                  </a:lnTo>
                  <a:lnTo>
                    <a:pt x="0" y="79"/>
                  </a:lnTo>
                  <a:lnTo>
                    <a:pt x="7" y="71"/>
                  </a:lnTo>
                  <a:lnTo>
                    <a:pt x="11" y="67"/>
                  </a:lnTo>
                  <a:lnTo>
                    <a:pt x="11" y="67"/>
                  </a:lnTo>
                  <a:lnTo>
                    <a:pt x="17" y="67"/>
                  </a:lnTo>
                  <a:lnTo>
                    <a:pt x="19" y="66"/>
                  </a:lnTo>
                  <a:lnTo>
                    <a:pt x="19" y="64"/>
                  </a:lnTo>
                  <a:lnTo>
                    <a:pt x="19" y="64"/>
                  </a:lnTo>
                  <a:lnTo>
                    <a:pt x="16" y="58"/>
                  </a:lnTo>
                  <a:lnTo>
                    <a:pt x="16" y="54"/>
                  </a:lnTo>
                  <a:lnTo>
                    <a:pt x="16" y="54"/>
                  </a:lnTo>
                  <a:lnTo>
                    <a:pt x="20" y="42"/>
                  </a:lnTo>
                  <a:lnTo>
                    <a:pt x="23" y="35"/>
                  </a:lnTo>
                  <a:lnTo>
                    <a:pt x="26" y="28"/>
                  </a:lnTo>
                  <a:lnTo>
                    <a:pt x="26" y="28"/>
                  </a:lnTo>
                  <a:lnTo>
                    <a:pt x="39" y="9"/>
                  </a:lnTo>
                  <a:lnTo>
                    <a:pt x="39" y="9"/>
                  </a:lnTo>
                  <a:lnTo>
                    <a:pt x="42" y="6"/>
                  </a:lnTo>
                  <a:lnTo>
                    <a:pt x="48" y="3"/>
                  </a:lnTo>
                  <a:lnTo>
                    <a:pt x="53" y="0"/>
                  </a:lnTo>
                  <a:lnTo>
                    <a:pt x="56" y="0"/>
                  </a:lnTo>
                  <a:lnTo>
                    <a:pt x="56" y="0"/>
                  </a:lnTo>
                  <a:lnTo>
                    <a:pt x="53" y="5"/>
                  </a:lnTo>
                  <a:lnTo>
                    <a:pt x="51" y="9"/>
                  </a:lnTo>
                  <a:lnTo>
                    <a:pt x="51" y="9"/>
                  </a:lnTo>
                  <a:lnTo>
                    <a:pt x="51" y="12"/>
                  </a:lnTo>
                  <a:lnTo>
                    <a:pt x="52" y="15"/>
                  </a:lnTo>
                  <a:lnTo>
                    <a:pt x="51" y="16"/>
                  </a:lnTo>
                  <a:lnTo>
                    <a:pt x="51" y="16"/>
                  </a:lnTo>
                  <a:lnTo>
                    <a:pt x="46" y="24"/>
                  </a:lnTo>
                  <a:lnTo>
                    <a:pt x="42" y="32"/>
                  </a:lnTo>
                  <a:lnTo>
                    <a:pt x="42" y="32"/>
                  </a:lnTo>
                  <a:lnTo>
                    <a:pt x="40" y="42"/>
                  </a:lnTo>
                  <a:lnTo>
                    <a:pt x="39" y="51"/>
                  </a:lnTo>
                  <a:lnTo>
                    <a:pt x="39" y="51"/>
                  </a:lnTo>
                  <a:lnTo>
                    <a:pt x="43" y="44"/>
                  </a:lnTo>
                  <a:lnTo>
                    <a:pt x="48" y="42"/>
                  </a:lnTo>
                  <a:lnTo>
                    <a:pt x="51" y="41"/>
                  </a:lnTo>
                  <a:lnTo>
                    <a:pt x="51" y="41"/>
                  </a:lnTo>
                  <a:lnTo>
                    <a:pt x="52" y="42"/>
                  </a:lnTo>
                  <a:lnTo>
                    <a:pt x="53" y="44"/>
                  </a:lnTo>
                  <a:lnTo>
                    <a:pt x="55" y="48"/>
                  </a:lnTo>
                  <a:lnTo>
                    <a:pt x="55" y="48"/>
                  </a:lnTo>
                  <a:lnTo>
                    <a:pt x="55" y="51"/>
                  </a:lnTo>
                  <a:lnTo>
                    <a:pt x="58" y="55"/>
                  </a:lnTo>
                  <a:lnTo>
                    <a:pt x="61" y="57"/>
                  </a:lnTo>
                  <a:lnTo>
                    <a:pt x="64" y="58"/>
                  </a:lnTo>
                  <a:lnTo>
                    <a:pt x="64" y="58"/>
                  </a:lnTo>
                  <a:lnTo>
                    <a:pt x="68" y="57"/>
                  </a:lnTo>
                  <a:lnTo>
                    <a:pt x="72" y="57"/>
                  </a:lnTo>
                  <a:lnTo>
                    <a:pt x="72" y="57"/>
                  </a:lnTo>
                  <a:lnTo>
                    <a:pt x="84" y="58"/>
                  </a:lnTo>
                  <a:lnTo>
                    <a:pt x="90" y="60"/>
                  </a:lnTo>
                  <a:lnTo>
                    <a:pt x="91" y="61"/>
                  </a:lnTo>
                  <a:lnTo>
                    <a:pt x="91" y="61"/>
                  </a:lnTo>
                  <a:lnTo>
                    <a:pt x="88" y="66"/>
                  </a:lnTo>
                  <a:lnTo>
                    <a:pt x="88" y="68"/>
                  </a:lnTo>
                  <a:lnTo>
                    <a:pt x="90" y="73"/>
                  </a:lnTo>
                  <a:lnTo>
                    <a:pt x="90" y="73"/>
                  </a:lnTo>
                  <a:lnTo>
                    <a:pt x="91" y="77"/>
                  </a:lnTo>
                  <a:lnTo>
                    <a:pt x="91" y="80"/>
                  </a:lnTo>
                  <a:lnTo>
                    <a:pt x="93" y="83"/>
                  </a:lnTo>
                  <a:lnTo>
                    <a:pt x="93" y="83"/>
                  </a:lnTo>
                  <a:lnTo>
                    <a:pt x="93" y="83"/>
                  </a:lnTo>
                  <a:lnTo>
                    <a:pt x="95" y="81"/>
                  </a:lnTo>
                  <a:lnTo>
                    <a:pt x="95" y="81"/>
                  </a:lnTo>
                  <a:lnTo>
                    <a:pt x="95" y="83"/>
                  </a:lnTo>
                  <a:lnTo>
                    <a:pt x="95" y="83"/>
                  </a:lnTo>
                  <a:lnTo>
                    <a:pt x="90" y="96"/>
                  </a:lnTo>
                  <a:lnTo>
                    <a:pt x="90" y="96"/>
                  </a:lnTo>
                  <a:lnTo>
                    <a:pt x="91" y="96"/>
                  </a:lnTo>
                  <a:lnTo>
                    <a:pt x="94" y="93"/>
                  </a:lnTo>
                  <a:lnTo>
                    <a:pt x="98" y="92"/>
                  </a:lnTo>
                  <a:lnTo>
                    <a:pt x="98" y="92"/>
                  </a:lnTo>
                  <a:lnTo>
                    <a:pt x="100" y="92"/>
                  </a:lnTo>
                  <a:lnTo>
                    <a:pt x="100" y="92"/>
                  </a:lnTo>
                  <a:lnTo>
                    <a:pt x="97" y="99"/>
                  </a:lnTo>
                  <a:lnTo>
                    <a:pt x="97" y="102"/>
                  </a:lnTo>
                  <a:lnTo>
                    <a:pt x="97" y="102"/>
                  </a:lnTo>
                  <a:lnTo>
                    <a:pt x="97" y="102"/>
                  </a:lnTo>
                  <a:lnTo>
                    <a:pt x="101" y="100"/>
                  </a:lnTo>
                  <a:lnTo>
                    <a:pt x="103" y="100"/>
                  </a:lnTo>
                  <a:lnTo>
                    <a:pt x="104" y="102"/>
                  </a:lnTo>
                  <a:lnTo>
                    <a:pt x="104" y="102"/>
                  </a:lnTo>
                  <a:lnTo>
                    <a:pt x="103" y="116"/>
                  </a:lnTo>
                  <a:lnTo>
                    <a:pt x="100" y="122"/>
                  </a:lnTo>
                  <a:lnTo>
                    <a:pt x="98" y="125"/>
                  </a:lnTo>
                  <a:lnTo>
                    <a:pt x="97" y="125"/>
                  </a:lnTo>
                  <a:lnTo>
                    <a:pt x="97" y="125"/>
                  </a:lnTo>
                  <a:lnTo>
                    <a:pt x="94" y="121"/>
                  </a:lnTo>
                  <a:lnTo>
                    <a:pt x="93" y="118"/>
                  </a:lnTo>
                  <a:lnTo>
                    <a:pt x="93" y="115"/>
                  </a:lnTo>
                  <a:lnTo>
                    <a:pt x="90" y="113"/>
                  </a:lnTo>
                  <a:lnTo>
                    <a:pt x="90" y="113"/>
                  </a:lnTo>
                  <a:lnTo>
                    <a:pt x="88" y="115"/>
                  </a:lnTo>
                  <a:lnTo>
                    <a:pt x="85" y="116"/>
                  </a:lnTo>
                  <a:lnTo>
                    <a:pt x="82" y="118"/>
                  </a:lnTo>
                  <a:lnTo>
                    <a:pt x="82" y="118"/>
                  </a:lnTo>
                  <a:lnTo>
                    <a:pt x="81" y="118"/>
                  </a:lnTo>
                  <a:lnTo>
                    <a:pt x="81" y="118"/>
                  </a:lnTo>
                  <a:lnTo>
                    <a:pt x="84" y="110"/>
                  </a:lnTo>
                  <a:lnTo>
                    <a:pt x="84" y="108"/>
                  </a:lnTo>
                  <a:lnTo>
                    <a:pt x="84" y="105"/>
                  </a:lnTo>
                  <a:lnTo>
                    <a:pt x="84" y="105"/>
                  </a:lnTo>
                  <a:lnTo>
                    <a:pt x="81" y="99"/>
                  </a:lnTo>
                  <a:lnTo>
                    <a:pt x="81" y="96"/>
                  </a:lnTo>
                  <a:lnTo>
                    <a:pt x="79" y="96"/>
                  </a:lnTo>
                  <a:lnTo>
                    <a:pt x="79" y="96"/>
                  </a:lnTo>
                  <a:lnTo>
                    <a:pt x="77" y="102"/>
                  </a:lnTo>
                  <a:lnTo>
                    <a:pt x="75" y="105"/>
                  </a:lnTo>
                  <a:lnTo>
                    <a:pt x="72" y="106"/>
                  </a:lnTo>
                  <a:lnTo>
                    <a:pt x="72" y="106"/>
                  </a:lnTo>
                  <a:lnTo>
                    <a:pt x="69" y="106"/>
                  </a:lnTo>
                  <a:lnTo>
                    <a:pt x="68" y="110"/>
                  </a:lnTo>
                  <a:lnTo>
                    <a:pt x="68" y="110"/>
                  </a:lnTo>
                  <a:lnTo>
                    <a:pt x="65" y="116"/>
                  </a:lnTo>
                  <a:lnTo>
                    <a:pt x="62" y="119"/>
                  </a:lnTo>
                  <a:lnTo>
                    <a:pt x="61" y="121"/>
                  </a:lnTo>
                  <a:lnTo>
                    <a:pt x="61" y="121"/>
                  </a:lnTo>
                  <a:lnTo>
                    <a:pt x="55" y="122"/>
                  </a:lnTo>
                  <a:lnTo>
                    <a:pt x="52" y="121"/>
                  </a:lnTo>
                  <a:lnTo>
                    <a:pt x="49" y="1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33" name="Freeform 1378"/>
            <p:cNvSpPr>
              <a:spLocks/>
            </p:cNvSpPr>
            <p:nvPr/>
          </p:nvSpPr>
          <p:spPr bwMode="auto">
            <a:xfrm>
              <a:off x="2246313" y="2711879"/>
              <a:ext cx="20638" cy="46038"/>
            </a:xfrm>
            <a:custGeom>
              <a:avLst/>
              <a:gdLst>
                <a:gd name="T0" fmla="*/ 4 w 13"/>
                <a:gd name="T1" fmla="*/ 29 h 29"/>
                <a:gd name="T2" fmla="*/ 4 w 13"/>
                <a:gd name="T3" fmla="*/ 29 h 29"/>
                <a:gd name="T4" fmla="*/ 1 w 13"/>
                <a:gd name="T5" fmla="*/ 27 h 29"/>
                <a:gd name="T6" fmla="*/ 0 w 13"/>
                <a:gd name="T7" fmla="*/ 24 h 29"/>
                <a:gd name="T8" fmla="*/ 0 w 13"/>
                <a:gd name="T9" fmla="*/ 14 h 29"/>
                <a:gd name="T10" fmla="*/ 1 w 13"/>
                <a:gd name="T11" fmla="*/ 4 h 29"/>
                <a:gd name="T12" fmla="*/ 3 w 13"/>
                <a:gd name="T13" fmla="*/ 1 h 29"/>
                <a:gd name="T14" fmla="*/ 4 w 13"/>
                <a:gd name="T15" fmla="*/ 0 h 29"/>
                <a:gd name="T16" fmla="*/ 4 w 13"/>
                <a:gd name="T17" fmla="*/ 0 h 29"/>
                <a:gd name="T18" fmla="*/ 9 w 13"/>
                <a:gd name="T19" fmla="*/ 0 h 29"/>
                <a:gd name="T20" fmla="*/ 12 w 13"/>
                <a:gd name="T21" fmla="*/ 3 h 29"/>
                <a:gd name="T22" fmla="*/ 13 w 13"/>
                <a:gd name="T23" fmla="*/ 7 h 29"/>
                <a:gd name="T24" fmla="*/ 13 w 13"/>
                <a:gd name="T25" fmla="*/ 10 h 29"/>
                <a:gd name="T26" fmla="*/ 13 w 13"/>
                <a:gd name="T27" fmla="*/ 10 h 29"/>
                <a:gd name="T28" fmla="*/ 13 w 13"/>
                <a:gd name="T29" fmla="*/ 14 h 29"/>
                <a:gd name="T30" fmla="*/ 10 w 13"/>
                <a:gd name="T31" fmla="*/ 22 h 29"/>
                <a:gd name="T32" fmla="*/ 7 w 13"/>
                <a:gd name="T33" fmla="*/ 27 h 29"/>
                <a:gd name="T34" fmla="*/ 6 w 13"/>
                <a:gd name="T35" fmla="*/ 29 h 29"/>
                <a:gd name="T36" fmla="*/ 4 w 13"/>
                <a:gd name="T3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29">
                  <a:moveTo>
                    <a:pt x="4" y="29"/>
                  </a:moveTo>
                  <a:lnTo>
                    <a:pt x="4" y="29"/>
                  </a:lnTo>
                  <a:lnTo>
                    <a:pt x="1" y="27"/>
                  </a:lnTo>
                  <a:lnTo>
                    <a:pt x="0" y="24"/>
                  </a:lnTo>
                  <a:lnTo>
                    <a:pt x="0" y="14"/>
                  </a:lnTo>
                  <a:lnTo>
                    <a:pt x="1" y="4"/>
                  </a:lnTo>
                  <a:lnTo>
                    <a:pt x="3" y="1"/>
                  </a:lnTo>
                  <a:lnTo>
                    <a:pt x="4" y="0"/>
                  </a:lnTo>
                  <a:lnTo>
                    <a:pt x="4" y="0"/>
                  </a:lnTo>
                  <a:lnTo>
                    <a:pt x="9" y="0"/>
                  </a:lnTo>
                  <a:lnTo>
                    <a:pt x="12" y="3"/>
                  </a:lnTo>
                  <a:lnTo>
                    <a:pt x="13" y="7"/>
                  </a:lnTo>
                  <a:lnTo>
                    <a:pt x="13" y="10"/>
                  </a:lnTo>
                  <a:lnTo>
                    <a:pt x="13" y="10"/>
                  </a:lnTo>
                  <a:lnTo>
                    <a:pt x="13" y="14"/>
                  </a:lnTo>
                  <a:lnTo>
                    <a:pt x="10" y="22"/>
                  </a:lnTo>
                  <a:lnTo>
                    <a:pt x="7" y="27"/>
                  </a:lnTo>
                  <a:lnTo>
                    <a:pt x="6" y="29"/>
                  </a:lnTo>
                  <a:lnTo>
                    <a:pt x="4" y="29"/>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34" name="Freeform 1379"/>
            <p:cNvSpPr>
              <a:spLocks/>
            </p:cNvSpPr>
            <p:nvPr/>
          </p:nvSpPr>
          <p:spPr bwMode="auto">
            <a:xfrm>
              <a:off x="2246313" y="2711879"/>
              <a:ext cx="20638" cy="46038"/>
            </a:xfrm>
            <a:custGeom>
              <a:avLst/>
              <a:gdLst>
                <a:gd name="T0" fmla="*/ 4 w 13"/>
                <a:gd name="T1" fmla="*/ 29 h 29"/>
                <a:gd name="T2" fmla="*/ 4 w 13"/>
                <a:gd name="T3" fmla="*/ 29 h 29"/>
                <a:gd name="T4" fmla="*/ 1 w 13"/>
                <a:gd name="T5" fmla="*/ 27 h 29"/>
                <a:gd name="T6" fmla="*/ 0 w 13"/>
                <a:gd name="T7" fmla="*/ 24 h 29"/>
                <a:gd name="T8" fmla="*/ 0 w 13"/>
                <a:gd name="T9" fmla="*/ 14 h 29"/>
                <a:gd name="T10" fmla="*/ 1 w 13"/>
                <a:gd name="T11" fmla="*/ 4 h 29"/>
                <a:gd name="T12" fmla="*/ 3 w 13"/>
                <a:gd name="T13" fmla="*/ 1 h 29"/>
                <a:gd name="T14" fmla="*/ 4 w 13"/>
                <a:gd name="T15" fmla="*/ 0 h 29"/>
                <a:gd name="T16" fmla="*/ 4 w 13"/>
                <a:gd name="T17" fmla="*/ 0 h 29"/>
                <a:gd name="T18" fmla="*/ 9 w 13"/>
                <a:gd name="T19" fmla="*/ 0 h 29"/>
                <a:gd name="T20" fmla="*/ 12 w 13"/>
                <a:gd name="T21" fmla="*/ 3 h 29"/>
                <a:gd name="T22" fmla="*/ 13 w 13"/>
                <a:gd name="T23" fmla="*/ 7 h 29"/>
                <a:gd name="T24" fmla="*/ 13 w 13"/>
                <a:gd name="T25" fmla="*/ 10 h 29"/>
                <a:gd name="T26" fmla="*/ 13 w 13"/>
                <a:gd name="T27" fmla="*/ 10 h 29"/>
                <a:gd name="T28" fmla="*/ 13 w 13"/>
                <a:gd name="T29" fmla="*/ 14 h 29"/>
                <a:gd name="T30" fmla="*/ 10 w 13"/>
                <a:gd name="T31" fmla="*/ 22 h 29"/>
                <a:gd name="T32" fmla="*/ 7 w 13"/>
                <a:gd name="T33" fmla="*/ 27 h 29"/>
                <a:gd name="T34" fmla="*/ 6 w 13"/>
                <a:gd name="T35" fmla="*/ 29 h 29"/>
                <a:gd name="T36" fmla="*/ 4 w 13"/>
                <a:gd name="T3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29">
                  <a:moveTo>
                    <a:pt x="4" y="29"/>
                  </a:moveTo>
                  <a:lnTo>
                    <a:pt x="4" y="29"/>
                  </a:lnTo>
                  <a:lnTo>
                    <a:pt x="1" y="27"/>
                  </a:lnTo>
                  <a:lnTo>
                    <a:pt x="0" y="24"/>
                  </a:lnTo>
                  <a:lnTo>
                    <a:pt x="0" y="14"/>
                  </a:lnTo>
                  <a:lnTo>
                    <a:pt x="1" y="4"/>
                  </a:lnTo>
                  <a:lnTo>
                    <a:pt x="3" y="1"/>
                  </a:lnTo>
                  <a:lnTo>
                    <a:pt x="4" y="0"/>
                  </a:lnTo>
                  <a:lnTo>
                    <a:pt x="4" y="0"/>
                  </a:lnTo>
                  <a:lnTo>
                    <a:pt x="9" y="0"/>
                  </a:lnTo>
                  <a:lnTo>
                    <a:pt x="12" y="3"/>
                  </a:lnTo>
                  <a:lnTo>
                    <a:pt x="13" y="7"/>
                  </a:lnTo>
                  <a:lnTo>
                    <a:pt x="13" y="10"/>
                  </a:lnTo>
                  <a:lnTo>
                    <a:pt x="13" y="10"/>
                  </a:lnTo>
                  <a:lnTo>
                    <a:pt x="13" y="14"/>
                  </a:lnTo>
                  <a:lnTo>
                    <a:pt x="10" y="22"/>
                  </a:lnTo>
                  <a:lnTo>
                    <a:pt x="7" y="27"/>
                  </a:lnTo>
                  <a:lnTo>
                    <a:pt x="6" y="29"/>
                  </a:lnTo>
                  <a:lnTo>
                    <a:pt x="4" y="2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35" name="Freeform 1380"/>
            <p:cNvSpPr>
              <a:spLocks/>
            </p:cNvSpPr>
            <p:nvPr/>
          </p:nvSpPr>
          <p:spPr bwMode="auto">
            <a:xfrm>
              <a:off x="2068513" y="2518204"/>
              <a:ext cx="171450" cy="169863"/>
            </a:xfrm>
            <a:custGeom>
              <a:avLst/>
              <a:gdLst>
                <a:gd name="T0" fmla="*/ 24 w 108"/>
                <a:gd name="T1" fmla="*/ 107 h 107"/>
                <a:gd name="T2" fmla="*/ 21 w 108"/>
                <a:gd name="T3" fmla="*/ 104 h 107"/>
                <a:gd name="T4" fmla="*/ 22 w 108"/>
                <a:gd name="T5" fmla="*/ 91 h 107"/>
                <a:gd name="T6" fmla="*/ 21 w 108"/>
                <a:gd name="T7" fmla="*/ 88 h 107"/>
                <a:gd name="T8" fmla="*/ 11 w 108"/>
                <a:gd name="T9" fmla="*/ 87 h 107"/>
                <a:gd name="T10" fmla="*/ 2 w 108"/>
                <a:gd name="T11" fmla="*/ 86 h 107"/>
                <a:gd name="T12" fmla="*/ 0 w 108"/>
                <a:gd name="T13" fmla="*/ 84 h 107"/>
                <a:gd name="T14" fmla="*/ 0 w 108"/>
                <a:gd name="T15" fmla="*/ 77 h 107"/>
                <a:gd name="T16" fmla="*/ 8 w 108"/>
                <a:gd name="T17" fmla="*/ 71 h 107"/>
                <a:gd name="T18" fmla="*/ 18 w 108"/>
                <a:gd name="T19" fmla="*/ 65 h 107"/>
                <a:gd name="T20" fmla="*/ 22 w 108"/>
                <a:gd name="T21" fmla="*/ 60 h 107"/>
                <a:gd name="T22" fmla="*/ 22 w 108"/>
                <a:gd name="T23" fmla="*/ 35 h 107"/>
                <a:gd name="T24" fmla="*/ 24 w 108"/>
                <a:gd name="T25" fmla="*/ 13 h 107"/>
                <a:gd name="T26" fmla="*/ 27 w 108"/>
                <a:gd name="T27" fmla="*/ 2 h 107"/>
                <a:gd name="T28" fmla="*/ 29 w 108"/>
                <a:gd name="T29" fmla="*/ 0 h 107"/>
                <a:gd name="T30" fmla="*/ 35 w 108"/>
                <a:gd name="T31" fmla="*/ 3 h 107"/>
                <a:gd name="T32" fmla="*/ 38 w 108"/>
                <a:gd name="T33" fmla="*/ 10 h 107"/>
                <a:gd name="T34" fmla="*/ 37 w 108"/>
                <a:gd name="T35" fmla="*/ 19 h 107"/>
                <a:gd name="T36" fmla="*/ 38 w 108"/>
                <a:gd name="T37" fmla="*/ 25 h 107"/>
                <a:gd name="T38" fmla="*/ 38 w 108"/>
                <a:gd name="T39" fmla="*/ 25 h 107"/>
                <a:gd name="T40" fmla="*/ 41 w 108"/>
                <a:gd name="T41" fmla="*/ 23 h 107"/>
                <a:gd name="T42" fmla="*/ 42 w 108"/>
                <a:gd name="T43" fmla="*/ 16 h 107"/>
                <a:gd name="T44" fmla="*/ 44 w 108"/>
                <a:gd name="T45" fmla="*/ 16 h 107"/>
                <a:gd name="T46" fmla="*/ 47 w 108"/>
                <a:gd name="T47" fmla="*/ 18 h 107"/>
                <a:gd name="T48" fmla="*/ 53 w 108"/>
                <a:gd name="T49" fmla="*/ 25 h 107"/>
                <a:gd name="T50" fmla="*/ 56 w 108"/>
                <a:gd name="T51" fmla="*/ 26 h 107"/>
                <a:gd name="T52" fmla="*/ 61 w 108"/>
                <a:gd name="T53" fmla="*/ 31 h 107"/>
                <a:gd name="T54" fmla="*/ 63 w 108"/>
                <a:gd name="T55" fmla="*/ 38 h 107"/>
                <a:gd name="T56" fmla="*/ 70 w 108"/>
                <a:gd name="T57" fmla="*/ 44 h 107"/>
                <a:gd name="T58" fmla="*/ 80 w 108"/>
                <a:gd name="T59" fmla="*/ 46 h 107"/>
                <a:gd name="T60" fmla="*/ 83 w 108"/>
                <a:gd name="T61" fmla="*/ 52 h 107"/>
                <a:gd name="T62" fmla="*/ 86 w 108"/>
                <a:gd name="T63" fmla="*/ 71 h 107"/>
                <a:gd name="T64" fmla="*/ 87 w 108"/>
                <a:gd name="T65" fmla="*/ 74 h 107"/>
                <a:gd name="T66" fmla="*/ 89 w 108"/>
                <a:gd name="T67" fmla="*/ 73 h 107"/>
                <a:gd name="T68" fmla="*/ 92 w 108"/>
                <a:gd name="T69" fmla="*/ 68 h 107"/>
                <a:gd name="T70" fmla="*/ 95 w 108"/>
                <a:gd name="T71" fmla="*/ 68 h 107"/>
                <a:gd name="T72" fmla="*/ 106 w 108"/>
                <a:gd name="T73" fmla="*/ 74 h 107"/>
                <a:gd name="T74" fmla="*/ 108 w 108"/>
                <a:gd name="T75" fmla="*/ 75 h 107"/>
                <a:gd name="T76" fmla="*/ 105 w 108"/>
                <a:gd name="T77" fmla="*/ 84 h 107"/>
                <a:gd name="T78" fmla="*/ 96 w 108"/>
                <a:gd name="T79" fmla="*/ 90 h 107"/>
                <a:gd name="T80" fmla="*/ 90 w 108"/>
                <a:gd name="T81" fmla="*/ 88 h 107"/>
                <a:gd name="T82" fmla="*/ 82 w 108"/>
                <a:gd name="T83" fmla="*/ 84 h 107"/>
                <a:gd name="T84" fmla="*/ 76 w 108"/>
                <a:gd name="T85" fmla="*/ 81 h 107"/>
                <a:gd name="T86" fmla="*/ 69 w 108"/>
                <a:gd name="T87" fmla="*/ 78 h 107"/>
                <a:gd name="T88" fmla="*/ 69 w 108"/>
                <a:gd name="T89" fmla="*/ 74 h 107"/>
                <a:gd name="T90" fmla="*/ 69 w 108"/>
                <a:gd name="T91" fmla="*/ 71 h 107"/>
                <a:gd name="T92" fmla="*/ 67 w 108"/>
                <a:gd name="T93" fmla="*/ 64 h 107"/>
                <a:gd name="T94" fmla="*/ 66 w 108"/>
                <a:gd name="T95" fmla="*/ 64 h 107"/>
                <a:gd name="T96" fmla="*/ 58 w 108"/>
                <a:gd name="T97" fmla="*/ 70 h 107"/>
                <a:gd name="T98" fmla="*/ 54 w 108"/>
                <a:gd name="T99" fmla="*/ 75 h 107"/>
                <a:gd name="T100" fmla="*/ 56 w 108"/>
                <a:gd name="T101" fmla="*/ 83 h 107"/>
                <a:gd name="T102" fmla="*/ 54 w 108"/>
                <a:gd name="T103" fmla="*/ 84 h 107"/>
                <a:gd name="T104" fmla="*/ 48 w 108"/>
                <a:gd name="T105" fmla="*/ 94 h 107"/>
                <a:gd name="T106" fmla="*/ 45 w 108"/>
                <a:gd name="T107" fmla="*/ 103 h 107"/>
                <a:gd name="T108" fmla="*/ 29 w 108"/>
                <a:gd name="T109"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 h="107">
                  <a:moveTo>
                    <a:pt x="24" y="107"/>
                  </a:moveTo>
                  <a:lnTo>
                    <a:pt x="24" y="107"/>
                  </a:lnTo>
                  <a:lnTo>
                    <a:pt x="22" y="107"/>
                  </a:lnTo>
                  <a:lnTo>
                    <a:pt x="21" y="104"/>
                  </a:lnTo>
                  <a:lnTo>
                    <a:pt x="21" y="99"/>
                  </a:lnTo>
                  <a:lnTo>
                    <a:pt x="22" y="91"/>
                  </a:lnTo>
                  <a:lnTo>
                    <a:pt x="22" y="88"/>
                  </a:lnTo>
                  <a:lnTo>
                    <a:pt x="21" y="88"/>
                  </a:lnTo>
                  <a:lnTo>
                    <a:pt x="21" y="88"/>
                  </a:lnTo>
                  <a:lnTo>
                    <a:pt x="11" y="87"/>
                  </a:lnTo>
                  <a:lnTo>
                    <a:pt x="5" y="87"/>
                  </a:lnTo>
                  <a:lnTo>
                    <a:pt x="2" y="86"/>
                  </a:lnTo>
                  <a:lnTo>
                    <a:pt x="0" y="84"/>
                  </a:lnTo>
                  <a:lnTo>
                    <a:pt x="0" y="84"/>
                  </a:lnTo>
                  <a:lnTo>
                    <a:pt x="0" y="80"/>
                  </a:lnTo>
                  <a:lnTo>
                    <a:pt x="0" y="77"/>
                  </a:lnTo>
                  <a:lnTo>
                    <a:pt x="2" y="74"/>
                  </a:lnTo>
                  <a:lnTo>
                    <a:pt x="8" y="71"/>
                  </a:lnTo>
                  <a:lnTo>
                    <a:pt x="8" y="71"/>
                  </a:lnTo>
                  <a:lnTo>
                    <a:pt x="18" y="65"/>
                  </a:lnTo>
                  <a:lnTo>
                    <a:pt x="21" y="64"/>
                  </a:lnTo>
                  <a:lnTo>
                    <a:pt x="22" y="60"/>
                  </a:lnTo>
                  <a:lnTo>
                    <a:pt x="22" y="60"/>
                  </a:lnTo>
                  <a:lnTo>
                    <a:pt x="22" y="35"/>
                  </a:lnTo>
                  <a:lnTo>
                    <a:pt x="24" y="13"/>
                  </a:lnTo>
                  <a:lnTo>
                    <a:pt x="24" y="13"/>
                  </a:lnTo>
                  <a:lnTo>
                    <a:pt x="27" y="4"/>
                  </a:lnTo>
                  <a:lnTo>
                    <a:pt x="27" y="2"/>
                  </a:lnTo>
                  <a:lnTo>
                    <a:pt x="29" y="0"/>
                  </a:lnTo>
                  <a:lnTo>
                    <a:pt x="29" y="0"/>
                  </a:lnTo>
                  <a:lnTo>
                    <a:pt x="32" y="2"/>
                  </a:lnTo>
                  <a:lnTo>
                    <a:pt x="35" y="3"/>
                  </a:lnTo>
                  <a:lnTo>
                    <a:pt x="37" y="7"/>
                  </a:lnTo>
                  <a:lnTo>
                    <a:pt x="38" y="10"/>
                  </a:lnTo>
                  <a:lnTo>
                    <a:pt x="38" y="10"/>
                  </a:lnTo>
                  <a:lnTo>
                    <a:pt x="37" y="19"/>
                  </a:lnTo>
                  <a:lnTo>
                    <a:pt x="37" y="23"/>
                  </a:lnTo>
                  <a:lnTo>
                    <a:pt x="38" y="25"/>
                  </a:lnTo>
                  <a:lnTo>
                    <a:pt x="38" y="25"/>
                  </a:lnTo>
                  <a:lnTo>
                    <a:pt x="38" y="25"/>
                  </a:lnTo>
                  <a:lnTo>
                    <a:pt x="40" y="25"/>
                  </a:lnTo>
                  <a:lnTo>
                    <a:pt x="41" y="23"/>
                  </a:lnTo>
                  <a:lnTo>
                    <a:pt x="41" y="19"/>
                  </a:lnTo>
                  <a:lnTo>
                    <a:pt x="42" y="16"/>
                  </a:lnTo>
                  <a:lnTo>
                    <a:pt x="44" y="15"/>
                  </a:lnTo>
                  <a:lnTo>
                    <a:pt x="44" y="16"/>
                  </a:lnTo>
                  <a:lnTo>
                    <a:pt x="44" y="16"/>
                  </a:lnTo>
                  <a:lnTo>
                    <a:pt x="47" y="18"/>
                  </a:lnTo>
                  <a:lnTo>
                    <a:pt x="50" y="20"/>
                  </a:lnTo>
                  <a:lnTo>
                    <a:pt x="53" y="25"/>
                  </a:lnTo>
                  <a:lnTo>
                    <a:pt x="56" y="26"/>
                  </a:lnTo>
                  <a:lnTo>
                    <a:pt x="56" y="26"/>
                  </a:lnTo>
                  <a:lnTo>
                    <a:pt x="58" y="28"/>
                  </a:lnTo>
                  <a:lnTo>
                    <a:pt x="61" y="31"/>
                  </a:lnTo>
                  <a:lnTo>
                    <a:pt x="63" y="38"/>
                  </a:lnTo>
                  <a:lnTo>
                    <a:pt x="63" y="38"/>
                  </a:lnTo>
                  <a:lnTo>
                    <a:pt x="66" y="42"/>
                  </a:lnTo>
                  <a:lnTo>
                    <a:pt x="70" y="44"/>
                  </a:lnTo>
                  <a:lnTo>
                    <a:pt x="80" y="46"/>
                  </a:lnTo>
                  <a:lnTo>
                    <a:pt x="80" y="46"/>
                  </a:lnTo>
                  <a:lnTo>
                    <a:pt x="82" y="48"/>
                  </a:lnTo>
                  <a:lnTo>
                    <a:pt x="83" y="52"/>
                  </a:lnTo>
                  <a:lnTo>
                    <a:pt x="84" y="62"/>
                  </a:lnTo>
                  <a:lnTo>
                    <a:pt x="86" y="71"/>
                  </a:lnTo>
                  <a:lnTo>
                    <a:pt x="86" y="74"/>
                  </a:lnTo>
                  <a:lnTo>
                    <a:pt x="87" y="74"/>
                  </a:lnTo>
                  <a:lnTo>
                    <a:pt x="87" y="74"/>
                  </a:lnTo>
                  <a:lnTo>
                    <a:pt x="89" y="73"/>
                  </a:lnTo>
                  <a:lnTo>
                    <a:pt x="90" y="70"/>
                  </a:lnTo>
                  <a:lnTo>
                    <a:pt x="92" y="68"/>
                  </a:lnTo>
                  <a:lnTo>
                    <a:pt x="95" y="68"/>
                  </a:lnTo>
                  <a:lnTo>
                    <a:pt x="95" y="68"/>
                  </a:lnTo>
                  <a:lnTo>
                    <a:pt x="103" y="73"/>
                  </a:lnTo>
                  <a:lnTo>
                    <a:pt x="106" y="74"/>
                  </a:lnTo>
                  <a:lnTo>
                    <a:pt x="108" y="75"/>
                  </a:lnTo>
                  <a:lnTo>
                    <a:pt x="108" y="75"/>
                  </a:lnTo>
                  <a:lnTo>
                    <a:pt x="108" y="80"/>
                  </a:lnTo>
                  <a:lnTo>
                    <a:pt x="105" y="84"/>
                  </a:lnTo>
                  <a:lnTo>
                    <a:pt x="100" y="88"/>
                  </a:lnTo>
                  <a:lnTo>
                    <a:pt x="96" y="90"/>
                  </a:lnTo>
                  <a:lnTo>
                    <a:pt x="96" y="90"/>
                  </a:lnTo>
                  <a:lnTo>
                    <a:pt x="90" y="88"/>
                  </a:lnTo>
                  <a:lnTo>
                    <a:pt x="86" y="86"/>
                  </a:lnTo>
                  <a:lnTo>
                    <a:pt x="82" y="84"/>
                  </a:lnTo>
                  <a:lnTo>
                    <a:pt x="76" y="81"/>
                  </a:lnTo>
                  <a:lnTo>
                    <a:pt x="76" y="81"/>
                  </a:lnTo>
                  <a:lnTo>
                    <a:pt x="71" y="80"/>
                  </a:lnTo>
                  <a:lnTo>
                    <a:pt x="69" y="78"/>
                  </a:lnTo>
                  <a:lnTo>
                    <a:pt x="67" y="75"/>
                  </a:lnTo>
                  <a:lnTo>
                    <a:pt x="69" y="74"/>
                  </a:lnTo>
                  <a:lnTo>
                    <a:pt x="69" y="74"/>
                  </a:lnTo>
                  <a:lnTo>
                    <a:pt x="69" y="71"/>
                  </a:lnTo>
                  <a:lnTo>
                    <a:pt x="69" y="67"/>
                  </a:lnTo>
                  <a:lnTo>
                    <a:pt x="67" y="64"/>
                  </a:lnTo>
                  <a:lnTo>
                    <a:pt x="66" y="64"/>
                  </a:lnTo>
                  <a:lnTo>
                    <a:pt x="66" y="64"/>
                  </a:lnTo>
                  <a:lnTo>
                    <a:pt x="63" y="65"/>
                  </a:lnTo>
                  <a:lnTo>
                    <a:pt x="58" y="70"/>
                  </a:lnTo>
                  <a:lnTo>
                    <a:pt x="54" y="75"/>
                  </a:lnTo>
                  <a:lnTo>
                    <a:pt x="54" y="75"/>
                  </a:lnTo>
                  <a:lnTo>
                    <a:pt x="56" y="80"/>
                  </a:lnTo>
                  <a:lnTo>
                    <a:pt x="56" y="83"/>
                  </a:lnTo>
                  <a:lnTo>
                    <a:pt x="54" y="84"/>
                  </a:lnTo>
                  <a:lnTo>
                    <a:pt x="54" y="84"/>
                  </a:lnTo>
                  <a:lnTo>
                    <a:pt x="51" y="88"/>
                  </a:lnTo>
                  <a:lnTo>
                    <a:pt x="48" y="94"/>
                  </a:lnTo>
                  <a:lnTo>
                    <a:pt x="45" y="103"/>
                  </a:lnTo>
                  <a:lnTo>
                    <a:pt x="45" y="103"/>
                  </a:lnTo>
                  <a:lnTo>
                    <a:pt x="37" y="106"/>
                  </a:lnTo>
                  <a:lnTo>
                    <a:pt x="29" y="107"/>
                  </a:lnTo>
                  <a:lnTo>
                    <a:pt x="24" y="107"/>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36" name="Freeform 1381"/>
            <p:cNvSpPr>
              <a:spLocks/>
            </p:cNvSpPr>
            <p:nvPr/>
          </p:nvSpPr>
          <p:spPr bwMode="auto">
            <a:xfrm>
              <a:off x="2068513" y="2518204"/>
              <a:ext cx="171450" cy="169863"/>
            </a:xfrm>
            <a:custGeom>
              <a:avLst/>
              <a:gdLst>
                <a:gd name="T0" fmla="*/ 24 w 108"/>
                <a:gd name="T1" fmla="*/ 107 h 107"/>
                <a:gd name="T2" fmla="*/ 21 w 108"/>
                <a:gd name="T3" fmla="*/ 104 h 107"/>
                <a:gd name="T4" fmla="*/ 22 w 108"/>
                <a:gd name="T5" fmla="*/ 91 h 107"/>
                <a:gd name="T6" fmla="*/ 21 w 108"/>
                <a:gd name="T7" fmla="*/ 88 h 107"/>
                <a:gd name="T8" fmla="*/ 11 w 108"/>
                <a:gd name="T9" fmla="*/ 87 h 107"/>
                <a:gd name="T10" fmla="*/ 2 w 108"/>
                <a:gd name="T11" fmla="*/ 86 h 107"/>
                <a:gd name="T12" fmla="*/ 0 w 108"/>
                <a:gd name="T13" fmla="*/ 84 h 107"/>
                <a:gd name="T14" fmla="*/ 0 w 108"/>
                <a:gd name="T15" fmla="*/ 77 h 107"/>
                <a:gd name="T16" fmla="*/ 8 w 108"/>
                <a:gd name="T17" fmla="*/ 71 h 107"/>
                <a:gd name="T18" fmla="*/ 18 w 108"/>
                <a:gd name="T19" fmla="*/ 65 h 107"/>
                <a:gd name="T20" fmla="*/ 22 w 108"/>
                <a:gd name="T21" fmla="*/ 60 h 107"/>
                <a:gd name="T22" fmla="*/ 22 w 108"/>
                <a:gd name="T23" fmla="*/ 35 h 107"/>
                <a:gd name="T24" fmla="*/ 24 w 108"/>
                <a:gd name="T25" fmla="*/ 13 h 107"/>
                <a:gd name="T26" fmla="*/ 27 w 108"/>
                <a:gd name="T27" fmla="*/ 2 h 107"/>
                <a:gd name="T28" fmla="*/ 29 w 108"/>
                <a:gd name="T29" fmla="*/ 0 h 107"/>
                <a:gd name="T30" fmla="*/ 35 w 108"/>
                <a:gd name="T31" fmla="*/ 3 h 107"/>
                <a:gd name="T32" fmla="*/ 38 w 108"/>
                <a:gd name="T33" fmla="*/ 10 h 107"/>
                <a:gd name="T34" fmla="*/ 37 w 108"/>
                <a:gd name="T35" fmla="*/ 19 h 107"/>
                <a:gd name="T36" fmla="*/ 38 w 108"/>
                <a:gd name="T37" fmla="*/ 25 h 107"/>
                <a:gd name="T38" fmla="*/ 38 w 108"/>
                <a:gd name="T39" fmla="*/ 25 h 107"/>
                <a:gd name="T40" fmla="*/ 41 w 108"/>
                <a:gd name="T41" fmla="*/ 23 h 107"/>
                <a:gd name="T42" fmla="*/ 42 w 108"/>
                <a:gd name="T43" fmla="*/ 16 h 107"/>
                <a:gd name="T44" fmla="*/ 44 w 108"/>
                <a:gd name="T45" fmla="*/ 16 h 107"/>
                <a:gd name="T46" fmla="*/ 47 w 108"/>
                <a:gd name="T47" fmla="*/ 18 h 107"/>
                <a:gd name="T48" fmla="*/ 53 w 108"/>
                <a:gd name="T49" fmla="*/ 25 h 107"/>
                <a:gd name="T50" fmla="*/ 56 w 108"/>
                <a:gd name="T51" fmla="*/ 26 h 107"/>
                <a:gd name="T52" fmla="*/ 61 w 108"/>
                <a:gd name="T53" fmla="*/ 31 h 107"/>
                <a:gd name="T54" fmla="*/ 63 w 108"/>
                <a:gd name="T55" fmla="*/ 38 h 107"/>
                <a:gd name="T56" fmla="*/ 70 w 108"/>
                <a:gd name="T57" fmla="*/ 44 h 107"/>
                <a:gd name="T58" fmla="*/ 80 w 108"/>
                <a:gd name="T59" fmla="*/ 46 h 107"/>
                <a:gd name="T60" fmla="*/ 83 w 108"/>
                <a:gd name="T61" fmla="*/ 52 h 107"/>
                <a:gd name="T62" fmla="*/ 86 w 108"/>
                <a:gd name="T63" fmla="*/ 71 h 107"/>
                <a:gd name="T64" fmla="*/ 87 w 108"/>
                <a:gd name="T65" fmla="*/ 74 h 107"/>
                <a:gd name="T66" fmla="*/ 89 w 108"/>
                <a:gd name="T67" fmla="*/ 73 h 107"/>
                <a:gd name="T68" fmla="*/ 92 w 108"/>
                <a:gd name="T69" fmla="*/ 68 h 107"/>
                <a:gd name="T70" fmla="*/ 95 w 108"/>
                <a:gd name="T71" fmla="*/ 68 h 107"/>
                <a:gd name="T72" fmla="*/ 106 w 108"/>
                <a:gd name="T73" fmla="*/ 74 h 107"/>
                <a:gd name="T74" fmla="*/ 108 w 108"/>
                <a:gd name="T75" fmla="*/ 75 h 107"/>
                <a:gd name="T76" fmla="*/ 105 w 108"/>
                <a:gd name="T77" fmla="*/ 84 h 107"/>
                <a:gd name="T78" fmla="*/ 96 w 108"/>
                <a:gd name="T79" fmla="*/ 90 h 107"/>
                <a:gd name="T80" fmla="*/ 90 w 108"/>
                <a:gd name="T81" fmla="*/ 88 h 107"/>
                <a:gd name="T82" fmla="*/ 82 w 108"/>
                <a:gd name="T83" fmla="*/ 84 h 107"/>
                <a:gd name="T84" fmla="*/ 76 w 108"/>
                <a:gd name="T85" fmla="*/ 81 h 107"/>
                <a:gd name="T86" fmla="*/ 69 w 108"/>
                <a:gd name="T87" fmla="*/ 78 h 107"/>
                <a:gd name="T88" fmla="*/ 69 w 108"/>
                <a:gd name="T89" fmla="*/ 74 h 107"/>
                <a:gd name="T90" fmla="*/ 69 w 108"/>
                <a:gd name="T91" fmla="*/ 71 h 107"/>
                <a:gd name="T92" fmla="*/ 67 w 108"/>
                <a:gd name="T93" fmla="*/ 64 h 107"/>
                <a:gd name="T94" fmla="*/ 66 w 108"/>
                <a:gd name="T95" fmla="*/ 64 h 107"/>
                <a:gd name="T96" fmla="*/ 58 w 108"/>
                <a:gd name="T97" fmla="*/ 70 h 107"/>
                <a:gd name="T98" fmla="*/ 54 w 108"/>
                <a:gd name="T99" fmla="*/ 75 h 107"/>
                <a:gd name="T100" fmla="*/ 56 w 108"/>
                <a:gd name="T101" fmla="*/ 83 h 107"/>
                <a:gd name="T102" fmla="*/ 54 w 108"/>
                <a:gd name="T103" fmla="*/ 84 h 107"/>
                <a:gd name="T104" fmla="*/ 48 w 108"/>
                <a:gd name="T105" fmla="*/ 94 h 107"/>
                <a:gd name="T106" fmla="*/ 45 w 108"/>
                <a:gd name="T107" fmla="*/ 103 h 107"/>
                <a:gd name="T108" fmla="*/ 29 w 108"/>
                <a:gd name="T109"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 h="107">
                  <a:moveTo>
                    <a:pt x="24" y="107"/>
                  </a:moveTo>
                  <a:lnTo>
                    <a:pt x="24" y="107"/>
                  </a:lnTo>
                  <a:lnTo>
                    <a:pt x="22" y="107"/>
                  </a:lnTo>
                  <a:lnTo>
                    <a:pt x="21" y="104"/>
                  </a:lnTo>
                  <a:lnTo>
                    <a:pt x="21" y="99"/>
                  </a:lnTo>
                  <a:lnTo>
                    <a:pt x="22" y="91"/>
                  </a:lnTo>
                  <a:lnTo>
                    <a:pt x="22" y="88"/>
                  </a:lnTo>
                  <a:lnTo>
                    <a:pt x="21" y="88"/>
                  </a:lnTo>
                  <a:lnTo>
                    <a:pt x="21" y="88"/>
                  </a:lnTo>
                  <a:lnTo>
                    <a:pt x="11" y="87"/>
                  </a:lnTo>
                  <a:lnTo>
                    <a:pt x="5" y="87"/>
                  </a:lnTo>
                  <a:lnTo>
                    <a:pt x="2" y="86"/>
                  </a:lnTo>
                  <a:lnTo>
                    <a:pt x="0" y="84"/>
                  </a:lnTo>
                  <a:lnTo>
                    <a:pt x="0" y="84"/>
                  </a:lnTo>
                  <a:lnTo>
                    <a:pt x="0" y="80"/>
                  </a:lnTo>
                  <a:lnTo>
                    <a:pt x="0" y="77"/>
                  </a:lnTo>
                  <a:lnTo>
                    <a:pt x="2" y="74"/>
                  </a:lnTo>
                  <a:lnTo>
                    <a:pt x="8" y="71"/>
                  </a:lnTo>
                  <a:lnTo>
                    <a:pt x="8" y="71"/>
                  </a:lnTo>
                  <a:lnTo>
                    <a:pt x="18" y="65"/>
                  </a:lnTo>
                  <a:lnTo>
                    <a:pt x="21" y="64"/>
                  </a:lnTo>
                  <a:lnTo>
                    <a:pt x="22" y="60"/>
                  </a:lnTo>
                  <a:lnTo>
                    <a:pt x="22" y="60"/>
                  </a:lnTo>
                  <a:lnTo>
                    <a:pt x="22" y="35"/>
                  </a:lnTo>
                  <a:lnTo>
                    <a:pt x="24" y="13"/>
                  </a:lnTo>
                  <a:lnTo>
                    <a:pt x="24" y="13"/>
                  </a:lnTo>
                  <a:lnTo>
                    <a:pt x="27" y="4"/>
                  </a:lnTo>
                  <a:lnTo>
                    <a:pt x="27" y="2"/>
                  </a:lnTo>
                  <a:lnTo>
                    <a:pt x="29" y="0"/>
                  </a:lnTo>
                  <a:lnTo>
                    <a:pt x="29" y="0"/>
                  </a:lnTo>
                  <a:lnTo>
                    <a:pt x="32" y="2"/>
                  </a:lnTo>
                  <a:lnTo>
                    <a:pt x="35" y="3"/>
                  </a:lnTo>
                  <a:lnTo>
                    <a:pt x="37" y="7"/>
                  </a:lnTo>
                  <a:lnTo>
                    <a:pt x="38" y="10"/>
                  </a:lnTo>
                  <a:lnTo>
                    <a:pt x="38" y="10"/>
                  </a:lnTo>
                  <a:lnTo>
                    <a:pt x="37" y="19"/>
                  </a:lnTo>
                  <a:lnTo>
                    <a:pt x="37" y="23"/>
                  </a:lnTo>
                  <a:lnTo>
                    <a:pt x="38" y="25"/>
                  </a:lnTo>
                  <a:lnTo>
                    <a:pt x="38" y="25"/>
                  </a:lnTo>
                  <a:lnTo>
                    <a:pt x="38" y="25"/>
                  </a:lnTo>
                  <a:lnTo>
                    <a:pt x="40" y="25"/>
                  </a:lnTo>
                  <a:lnTo>
                    <a:pt x="41" y="23"/>
                  </a:lnTo>
                  <a:lnTo>
                    <a:pt x="41" y="19"/>
                  </a:lnTo>
                  <a:lnTo>
                    <a:pt x="42" y="16"/>
                  </a:lnTo>
                  <a:lnTo>
                    <a:pt x="44" y="15"/>
                  </a:lnTo>
                  <a:lnTo>
                    <a:pt x="44" y="16"/>
                  </a:lnTo>
                  <a:lnTo>
                    <a:pt x="44" y="16"/>
                  </a:lnTo>
                  <a:lnTo>
                    <a:pt x="47" y="18"/>
                  </a:lnTo>
                  <a:lnTo>
                    <a:pt x="50" y="20"/>
                  </a:lnTo>
                  <a:lnTo>
                    <a:pt x="53" y="25"/>
                  </a:lnTo>
                  <a:lnTo>
                    <a:pt x="56" y="26"/>
                  </a:lnTo>
                  <a:lnTo>
                    <a:pt x="56" y="26"/>
                  </a:lnTo>
                  <a:lnTo>
                    <a:pt x="58" y="28"/>
                  </a:lnTo>
                  <a:lnTo>
                    <a:pt x="61" y="31"/>
                  </a:lnTo>
                  <a:lnTo>
                    <a:pt x="63" y="38"/>
                  </a:lnTo>
                  <a:lnTo>
                    <a:pt x="63" y="38"/>
                  </a:lnTo>
                  <a:lnTo>
                    <a:pt x="66" y="42"/>
                  </a:lnTo>
                  <a:lnTo>
                    <a:pt x="70" y="44"/>
                  </a:lnTo>
                  <a:lnTo>
                    <a:pt x="80" y="46"/>
                  </a:lnTo>
                  <a:lnTo>
                    <a:pt x="80" y="46"/>
                  </a:lnTo>
                  <a:lnTo>
                    <a:pt x="82" y="48"/>
                  </a:lnTo>
                  <a:lnTo>
                    <a:pt x="83" y="52"/>
                  </a:lnTo>
                  <a:lnTo>
                    <a:pt x="84" y="62"/>
                  </a:lnTo>
                  <a:lnTo>
                    <a:pt x="86" y="71"/>
                  </a:lnTo>
                  <a:lnTo>
                    <a:pt x="86" y="74"/>
                  </a:lnTo>
                  <a:lnTo>
                    <a:pt x="87" y="74"/>
                  </a:lnTo>
                  <a:lnTo>
                    <a:pt x="87" y="74"/>
                  </a:lnTo>
                  <a:lnTo>
                    <a:pt x="89" y="73"/>
                  </a:lnTo>
                  <a:lnTo>
                    <a:pt x="90" y="70"/>
                  </a:lnTo>
                  <a:lnTo>
                    <a:pt x="92" y="68"/>
                  </a:lnTo>
                  <a:lnTo>
                    <a:pt x="95" y="68"/>
                  </a:lnTo>
                  <a:lnTo>
                    <a:pt x="95" y="68"/>
                  </a:lnTo>
                  <a:lnTo>
                    <a:pt x="103" y="73"/>
                  </a:lnTo>
                  <a:lnTo>
                    <a:pt x="106" y="74"/>
                  </a:lnTo>
                  <a:lnTo>
                    <a:pt x="108" y="75"/>
                  </a:lnTo>
                  <a:lnTo>
                    <a:pt x="108" y="75"/>
                  </a:lnTo>
                  <a:lnTo>
                    <a:pt x="108" y="80"/>
                  </a:lnTo>
                  <a:lnTo>
                    <a:pt x="105" y="84"/>
                  </a:lnTo>
                  <a:lnTo>
                    <a:pt x="100" y="88"/>
                  </a:lnTo>
                  <a:lnTo>
                    <a:pt x="96" y="90"/>
                  </a:lnTo>
                  <a:lnTo>
                    <a:pt x="96" y="90"/>
                  </a:lnTo>
                  <a:lnTo>
                    <a:pt x="90" y="88"/>
                  </a:lnTo>
                  <a:lnTo>
                    <a:pt x="86" y="86"/>
                  </a:lnTo>
                  <a:lnTo>
                    <a:pt x="82" y="84"/>
                  </a:lnTo>
                  <a:lnTo>
                    <a:pt x="76" y="81"/>
                  </a:lnTo>
                  <a:lnTo>
                    <a:pt x="76" y="81"/>
                  </a:lnTo>
                  <a:lnTo>
                    <a:pt x="71" y="80"/>
                  </a:lnTo>
                  <a:lnTo>
                    <a:pt x="69" y="78"/>
                  </a:lnTo>
                  <a:lnTo>
                    <a:pt x="67" y="75"/>
                  </a:lnTo>
                  <a:lnTo>
                    <a:pt x="69" y="74"/>
                  </a:lnTo>
                  <a:lnTo>
                    <a:pt x="69" y="74"/>
                  </a:lnTo>
                  <a:lnTo>
                    <a:pt x="69" y="71"/>
                  </a:lnTo>
                  <a:lnTo>
                    <a:pt x="69" y="67"/>
                  </a:lnTo>
                  <a:lnTo>
                    <a:pt x="67" y="64"/>
                  </a:lnTo>
                  <a:lnTo>
                    <a:pt x="66" y="64"/>
                  </a:lnTo>
                  <a:lnTo>
                    <a:pt x="66" y="64"/>
                  </a:lnTo>
                  <a:lnTo>
                    <a:pt x="63" y="65"/>
                  </a:lnTo>
                  <a:lnTo>
                    <a:pt x="58" y="70"/>
                  </a:lnTo>
                  <a:lnTo>
                    <a:pt x="54" y="75"/>
                  </a:lnTo>
                  <a:lnTo>
                    <a:pt x="54" y="75"/>
                  </a:lnTo>
                  <a:lnTo>
                    <a:pt x="56" y="80"/>
                  </a:lnTo>
                  <a:lnTo>
                    <a:pt x="56" y="83"/>
                  </a:lnTo>
                  <a:lnTo>
                    <a:pt x="54" y="84"/>
                  </a:lnTo>
                  <a:lnTo>
                    <a:pt x="54" y="84"/>
                  </a:lnTo>
                  <a:lnTo>
                    <a:pt x="51" y="88"/>
                  </a:lnTo>
                  <a:lnTo>
                    <a:pt x="48" y="94"/>
                  </a:lnTo>
                  <a:lnTo>
                    <a:pt x="45" y="103"/>
                  </a:lnTo>
                  <a:lnTo>
                    <a:pt x="45" y="103"/>
                  </a:lnTo>
                  <a:lnTo>
                    <a:pt x="37" y="106"/>
                  </a:lnTo>
                  <a:lnTo>
                    <a:pt x="29" y="107"/>
                  </a:lnTo>
                  <a:lnTo>
                    <a:pt x="24" y="10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37" name="Freeform 1382"/>
            <p:cNvSpPr>
              <a:spLocks/>
            </p:cNvSpPr>
            <p:nvPr/>
          </p:nvSpPr>
          <p:spPr bwMode="auto">
            <a:xfrm>
              <a:off x="2293938" y="2657904"/>
              <a:ext cx="28575" cy="25400"/>
            </a:xfrm>
            <a:custGeom>
              <a:avLst/>
              <a:gdLst>
                <a:gd name="T0" fmla="*/ 6 w 18"/>
                <a:gd name="T1" fmla="*/ 15 h 16"/>
                <a:gd name="T2" fmla="*/ 6 w 18"/>
                <a:gd name="T3" fmla="*/ 15 h 16"/>
                <a:gd name="T4" fmla="*/ 3 w 18"/>
                <a:gd name="T5" fmla="*/ 12 h 16"/>
                <a:gd name="T6" fmla="*/ 0 w 18"/>
                <a:gd name="T7" fmla="*/ 8 h 16"/>
                <a:gd name="T8" fmla="*/ 0 w 18"/>
                <a:gd name="T9" fmla="*/ 3 h 16"/>
                <a:gd name="T10" fmla="*/ 2 w 18"/>
                <a:gd name="T11" fmla="*/ 0 h 16"/>
                <a:gd name="T12" fmla="*/ 2 w 18"/>
                <a:gd name="T13" fmla="*/ 0 h 16"/>
                <a:gd name="T14" fmla="*/ 5 w 18"/>
                <a:gd name="T15" fmla="*/ 2 h 16"/>
                <a:gd name="T16" fmla="*/ 8 w 18"/>
                <a:gd name="T17" fmla="*/ 3 h 16"/>
                <a:gd name="T18" fmla="*/ 11 w 18"/>
                <a:gd name="T19" fmla="*/ 8 h 16"/>
                <a:gd name="T20" fmla="*/ 11 w 18"/>
                <a:gd name="T21" fmla="*/ 8 h 16"/>
                <a:gd name="T22" fmla="*/ 15 w 18"/>
                <a:gd name="T23" fmla="*/ 9 h 16"/>
                <a:gd name="T24" fmla="*/ 18 w 18"/>
                <a:gd name="T25" fmla="*/ 11 h 16"/>
                <a:gd name="T26" fmla="*/ 18 w 18"/>
                <a:gd name="T27" fmla="*/ 11 h 16"/>
                <a:gd name="T28" fmla="*/ 18 w 18"/>
                <a:gd name="T29" fmla="*/ 11 h 16"/>
                <a:gd name="T30" fmla="*/ 18 w 18"/>
                <a:gd name="T31" fmla="*/ 11 h 16"/>
                <a:gd name="T32" fmla="*/ 11 w 18"/>
                <a:gd name="T33" fmla="*/ 15 h 16"/>
                <a:gd name="T34" fmla="*/ 8 w 18"/>
                <a:gd name="T35" fmla="*/ 16 h 16"/>
                <a:gd name="T36" fmla="*/ 6 w 18"/>
                <a:gd name="T37"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16">
                  <a:moveTo>
                    <a:pt x="6" y="15"/>
                  </a:moveTo>
                  <a:lnTo>
                    <a:pt x="6" y="15"/>
                  </a:lnTo>
                  <a:lnTo>
                    <a:pt x="3" y="12"/>
                  </a:lnTo>
                  <a:lnTo>
                    <a:pt x="0" y="8"/>
                  </a:lnTo>
                  <a:lnTo>
                    <a:pt x="0" y="3"/>
                  </a:lnTo>
                  <a:lnTo>
                    <a:pt x="2" y="0"/>
                  </a:lnTo>
                  <a:lnTo>
                    <a:pt x="2" y="0"/>
                  </a:lnTo>
                  <a:lnTo>
                    <a:pt x="5" y="2"/>
                  </a:lnTo>
                  <a:lnTo>
                    <a:pt x="8" y="3"/>
                  </a:lnTo>
                  <a:lnTo>
                    <a:pt x="11" y="8"/>
                  </a:lnTo>
                  <a:lnTo>
                    <a:pt x="11" y="8"/>
                  </a:lnTo>
                  <a:lnTo>
                    <a:pt x="15" y="9"/>
                  </a:lnTo>
                  <a:lnTo>
                    <a:pt x="18" y="11"/>
                  </a:lnTo>
                  <a:lnTo>
                    <a:pt x="18" y="11"/>
                  </a:lnTo>
                  <a:lnTo>
                    <a:pt x="18" y="11"/>
                  </a:lnTo>
                  <a:lnTo>
                    <a:pt x="18" y="11"/>
                  </a:lnTo>
                  <a:lnTo>
                    <a:pt x="11" y="15"/>
                  </a:lnTo>
                  <a:lnTo>
                    <a:pt x="8" y="16"/>
                  </a:lnTo>
                  <a:lnTo>
                    <a:pt x="6" y="15"/>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38" name="Freeform 1383"/>
            <p:cNvSpPr>
              <a:spLocks/>
            </p:cNvSpPr>
            <p:nvPr/>
          </p:nvSpPr>
          <p:spPr bwMode="auto">
            <a:xfrm>
              <a:off x="2293938" y="2657904"/>
              <a:ext cx="28575" cy="25400"/>
            </a:xfrm>
            <a:custGeom>
              <a:avLst/>
              <a:gdLst>
                <a:gd name="T0" fmla="*/ 6 w 18"/>
                <a:gd name="T1" fmla="*/ 15 h 16"/>
                <a:gd name="T2" fmla="*/ 6 w 18"/>
                <a:gd name="T3" fmla="*/ 15 h 16"/>
                <a:gd name="T4" fmla="*/ 3 w 18"/>
                <a:gd name="T5" fmla="*/ 12 h 16"/>
                <a:gd name="T6" fmla="*/ 0 w 18"/>
                <a:gd name="T7" fmla="*/ 8 h 16"/>
                <a:gd name="T8" fmla="*/ 0 w 18"/>
                <a:gd name="T9" fmla="*/ 3 h 16"/>
                <a:gd name="T10" fmla="*/ 2 w 18"/>
                <a:gd name="T11" fmla="*/ 0 h 16"/>
                <a:gd name="T12" fmla="*/ 2 w 18"/>
                <a:gd name="T13" fmla="*/ 0 h 16"/>
                <a:gd name="T14" fmla="*/ 5 w 18"/>
                <a:gd name="T15" fmla="*/ 2 h 16"/>
                <a:gd name="T16" fmla="*/ 8 w 18"/>
                <a:gd name="T17" fmla="*/ 3 h 16"/>
                <a:gd name="T18" fmla="*/ 11 w 18"/>
                <a:gd name="T19" fmla="*/ 8 h 16"/>
                <a:gd name="T20" fmla="*/ 11 w 18"/>
                <a:gd name="T21" fmla="*/ 8 h 16"/>
                <a:gd name="T22" fmla="*/ 15 w 18"/>
                <a:gd name="T23" fmla="*/ 9 h 16"/>
                <a:gd name="T24" fmla="*/ 18 w 18"/>
                <a:gd name="T25" fmla="*/ 11 h 16"/>
                <a:gd name="T26" fmla="*/ 18 w 18"/>
                <a:gd name="T27" fmla="*/ 11 h 16"/>
                <a:gd name="T28" fmla="*/ 18 w 18"/>
                <a:gd name="T29" fmla="*/ 11 h 16"/>
                <a:gd name="T30" fmla="*/ 18 w 18"/>
                <a:gd name="T31" fmla="*/ 11 h 16"/>
                <a:gd name="T32" fmla="*/ 11 w 18"/>
                <a:gd name="T33" fmla="*/ 15 h 16"/>
                <a:gd name="T34" fmla="*/ 8 w 18"/>
                <a:gd name="T35" fmla="*/ 16 h 16"/>
                <a:gd name="T36" fmla="*/ 6 w 18"/>
                <a:gd name="T37"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16">
                  <a:moveTo>
                    <a:pt x="6" y="15"/>
                  </a:moveTo>
                  <a:lnTo>
                    <a:pt x="6" y="15"/>
                  </a:lnTo>
                  <a:lnTo>
                    <a:pt x="3" y="12"/>
                  </a:lnTo>
                  <a:lnTo>
                    <a:pt x="0" y="8"/>
                  </a:lnTo>
                  <a:lnTo>
                    <a:pt x="0" y="3"/>
                  </a:lnTo>
                  <a:lnTo>
                    <a:pt x="2" y="0"/>
                  </a:lnTo>
                  <a:lnTo>
                    <a:pt x="2" y="0"/>
                  </a:lnTo>
                  <a:lnTo>
                    <a:pt x="5" y="2"/>
                  </a:lnTo>
                  <a:lnTo>
                    <a:pt x="8" y="3"/>
                  </a:lnTo>
                  <a:lnTo>
                    <a:pt x="11" y="8"/>
                  </a:lnTo>
                  <a:lnTo>
                    <a:pt x="11" y="8"/>
                  </a:lnTo>
                  <a:lnTo>
                    <a:pt x="15" y="9"/>
                  </a:lnTo>
                  <a:lnTo>
                    <a:pt x="18" y="11"/>
                  </a:lnTo>
                  <a:lnTo>
                    <a:pt x="18" y="11"/>
                  </a:lnTo>
                  <a:lnTo>
                    <a:pt x="18" y="11"/>
                  </a:lnTo>
                  <a:lnTo>
                    <a:pt x="18" y="11"/>
                  </a:lnTo>
                  <a:lnTo>
                    <a:pt x="11" y="15"/>
                  </a:lnTo>
                  <a:lnTo>
                    <a:pt x="8" y="16"/>
                  </a:lnTo>
                  <a:lnTo>
                    <a:pt x="6"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39" name="Freeform 1384"/>
            <p:cNvSpPr>
              <a:spLocks/>
            </p:cNvSpPr>
            <p:nvPr/>
          </p:nvSpPr>
          <p:spPr bwMode="auto">
            <a:xfrm>
              <a:off x="2319338" y="2646791"/>
              <a:ext cx="23813" cy="19050"/>
            </a:xfrm>
            <a:custGeom>
              <a:avLst/>
              <a:gdLst>
                <a:gd name="T0" fmla="*/ 13 w 15"/>
                <a:gd name="T1" fmla="*/ 12 h 12"/>
                <a:gd name="T2" fmla="*/ 13 w 15"/>
                <a:gd name="T3" fmla="*/ 12 h 12"/>
                <a:gd name="T4" fmla="*/ 8 w 15"/>
                <a:gd name="T5" fmla="*/ 12 h 12"/>
                <a:gd name="T6" fmla="*/ 3 w 15"/>
                <a:gd name="T7" fmla="*/ 9 h 12"/>
                <a:gd name="T8" fmla="*/ 0 w 15"/>
                <a:gd name="T9" fmla="*/ 6 h 12"/>
                <a:gd name="T10" fmla="*/ 0 w 15"/>
                <a:gd name="T11" fmla="*/ 3 h 12"/>
                <a:gd name="T12" fmla="*/ 0 w 15"/>
                <a:gd name="T13" fmla="*/ 3 h 12"/>
                <a:gd name="T14" fmla="*/ 2 w 15"/>
                <a:gd name="T15" fmla="*/ 2 h 12"/>
                <a:gd name="T16" fmla="*/ 3 w 15"/>
                <a:gd name="T17" fmla="*/ 0 h 12"/>
                <a:gd name="T18" fmla="*/ 6 w 15"/>
                <a:gd name="T19" fmla="*/ 2 h 12"/>
                <a:gd name="T20" fmla="*/ 8 w 15"/>
                <a:gd name="T21" fmla="*/ 3 h 12"/>
                <a:gd name="T22" fmla="*/ 8 w 15"/>
                <a:gd name="T23" fmla="*/ 3 h 12"/>
                <a:gd name="T24" fmla="*/ 13 w 15"/>
                <a:gd name="T25" fmla="*/ 9 h 12"/>
                <a:gd name="T26" fmla="*/ 15 w 15"/>
                <a:gd name="T27" fmla="*/ 12 h 12"/>
                <a:gd name="T28" fmla="*/ 13 w 15"/>
                <a:gd name="T2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2">
                  <a:moveTo>
                    <a:pt x="13" y="12"/>
                  </a:moveTo>
                  <a:lnTo>
                    <a:pt x="13" y="12"/>
                  </a:lnTo>
                  <a:lnTo>
                    <a:pt x="8" y="12"/>
                  </a:lnTo>
                  <a:lnTo>
                    <a:pt x="3" y="9"/>
                  </a:lnTo>
                  <a:lnTo>
                    <a:pt x="0" y="6"/>
                  </a:lnTo>
                  <a:lnTo>
                    <a:pt x="0" y="3"/>
                  </a:lnTo>
                  <a:lnTo>
                    <a:pt x="0" y="3"/>
                  </a:lnTo>
                  <a:lnTo>
                    <a:pt x="2" y="2"/>
                  </a:lnTo>
                  <a:lnTo>
                    <a:pt x="3" y="0"/>
                  </a:lnTo>
                  <a:lnTo>
                    <a:pt x="6" y="2"/>
                  </a:lnTo>
                  <a:lnTo>
                    <a:pt x="8" y="3"/>
                  </a:lnTo>
                  <a:lnTo>
                    <a:pt x="8" y="3"/>
                  </a:lnTo>
                  <a:lnTo>
                    <a:pt x="13" y="9"/>
                  </a:lnTo>
                  <a:lnTo>
                    <a:pt x="15" y="12"/>
                  </a:lnTo>
                  <a:lnTo>
                    <a:pt x="13" y="12"/>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40" name="Freeform 1385"/>
            <p:cNvSpPr>
              <a:spLocks/>
            </p:cNvSpPr>
            <p:nvPr/>
          </p:nvSpPr>
          <p:spPr bwMode="auto">
            <a:xfrm>
              <a:off x="2319338" y="2646791"/>
              <a:ext cx="23813" cy="19050"/>
            </a:xfrm>
            <a:custGeom>
              <a:avLst/>
              <a:gdLst>
                <a:gd name="T0" fmla="*/ 13 w 15"/>
                <a:gd name="T1" fmla="*/ 12 h 12"/>
                <a:gd name="T2" fmla="*/ 13 w 15"/>
                <a:gd name="T3" fmla="*/ 12 h 12"/>
                <a:gd name="T4" fmla="*/ 8 w 15"/>
                <a:gd name="T5" fmla="*/ 12 h 12"/>
                <a:gd name="T6" fmla="*/ 3 w 15"/>
                <a:gd name="T7" fmla="*/ 9 h 12"/>
                <a:gd name="T8" fmla="*/ 0 w 15"/>
                <a:gd name="T9" fmla="*/ 6 h 12"/>
                <a:gd name="T10" fmla="*/ 0 w 15"/>
                <a:gd name="T11" fmla="*/ 3 h 12"/>
                <a:gd name="T12" fmla="*/ 0 w 15"/>
                <a:gd name="T13" fmla="*/ 3 h 12"/>
                <a:gd name="T14" fmla="*/ 2 w 15"/>
                <a:gd name="T15" fmla="*/ 2 h 12"/>
                <a:gd name="T16" fmla="*/ 3 w 15"/>
                <a:gd name="T17" fmla="*/ 0 h 12"/>
                <a:gd name="T18" fmla="*/ 6 w 15"/>
                <a:gd name="T19" fmla="*/ 2 h 12"/>
                <a:gd name="T20" fmla="*/ 8 w 15"/>
                <a:gd name="T21" fmla="*/ 3 h 12"/>
                <a:gd name="T22" fmla="*/ 8 w 15"/>
                <a:gd name="T23" fmla="*/ 3 h 12"/>
                <a:gd name="T24" fmla="*/ 13 w 15"/>
                <a:gd name="T25" fmla="*/ 9 h 12"/>
                <a:gd name="T26" fmla="*/ 15 w 15"/>
                <a:gd name="T27" fmla="*/ 12 h 12"/>
                <a:gd name="T28" fmla="*/ 13 w 15"/>
                <a:gd name="T2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2">
                  <a:moveTo>
                    <a:pt x="13" y="12"/>
                  </a:moveTo>
                  <a:lnTo>
                    <a:pt x="13" y="12"/>
                  </a:lnTo>
                  <a:lnTo>
                    <a:pt x="8" y="12"/>
                  </a:lnTo>
                  <a:lnTo>
                    <a:pt x="3" y="9"/>
                  </a:lnTo>
                  <a:lnTo>
                    <a:pt x="0" y="6"/>
                  </a:lnTo>
                  <a:lnTo>
                    <a:pt x="0" y="3"/>
                  </a:lnTo>
                  <a:lnTo>
                    <a:pt x="0" y="3"/>
                  </a:lnTo>
                  <a:lnTo>
                    <a:pt x="2" y="2"/>
                  </a:lnTo>
                  <a:lnTo>
                    <a:pt x="3" y="0"/>
                  </a:lnTo>
                  <a:lnTo>
                    <a:pt x="6" y="2"/>
                  </a:lnTo>
                  <a:lnTo>
                    <a:pt x="8" y="3"/>
                  </a:lnTo>
                  <a:lnTo>
                    <a:pt x="8" y="3"/>
                  </a:lnTo>
                  <a:lnTo>
                    <a:pt x="13" y="9"/>
                  </a:lnTo>
                  <a:lnTo>
                    <a:pt x="15" y="12"/>
                  </a:lnTo>
                  <a:lnTo>
                    <a:pt x="13"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41" name="Freeform 1386"/>
            <p:cNvSpPr>
              <a:spLocks/>
            </p:cNvSpPr>
            <p:nvPr/>
          </p:nvSpPr>
          <p:spPr bwMode="auto">
            <a:xfrm>
              <a:off x="2359026" y="2373741"/>
              <a:ext cx="31750" cy="41275"/>
            </a:xfrm>
            <a:custGeom>
              <a:avLst/>
              <a:gdLst>
                <a:gd name="T0" fmla="*/ 10 w 20"/>
                <a:gd name="T1" fmla="*/ 26 h 26"/>
                <a:gd name="T2" fmla="*/ 10 w 20"/>
                <a:gd name="T3" fmla="*/ 26 h 26"/>
                <a:gd name="T4" fmla="*/ 7 w 20"/>
                <a:gd name="T5" fmla="*/ 25 h 26"/>
                <a:gd name="T6" fmla="*/ 6 w 20"/>
                <a:gd name="T7" fmla="*/ 25 h 26"/>
                <a:gd name="T8" fmla="*/ 1 w 20"/>
                <a:gd name="T9" fmla="*/ 20 h 26"/>
                <a:gd name="T10" fmla="*/ 0 w 20"/>
                <a:gd name="T11" fmla="*/ 14 h 26"/>
                <a:gd name="T12" fmla="*/ 0 w 20"/>
                <a:gd name="T13" fmla="*/ 10 h 26"/>
                <a:gd name="T14" fmla="*/ 0 w 20"/>
                <a:gd name="T15" fmla="*/ 10 h 26"/>
                <a:gd name="T16" fmla="*/ 0 w 20"/>
                <a:gd name="T17" fmla="*/ 7 h 26"/>
                <a:gd name="T18" fmla="*/ 3 w 20"/>
                <a:gd name="T19" fmla="*/ 3 h 26"/>
                <a:gd name="T20" fmla="*/ 7 w 20"/>
                <a:gd name="T21" fmla="*/ 0 h 26"/>
                <a:gd name="T22" fmla="*/ 13 w 20"/>
                <a:gd name="T23" fmla="*/ 0 h 26"/>
                <a:gd name="T24" fmla="*/ 13 w 20"/>
                <a:gd name="T25" fmla="*/ 0 h 26"/>
                <a:gd name="T26" fmla="*/ 16 w 20"/>
                <a:gd name="T27" fmla="*/ 0 h 26"/>
                <a:gd name="T28" fmla="*/ 17 w 20"/>
                <a:gd name="T29" fmla="*/ 1 h 26"/>
                <a:gd name="T30" fmla="*/ 20 w 20"/>
                <a:gd name="T31" fmla="*/ 7 h 26"/>
                <a:gd name="T32" fmla="*/ 20 w 20"/>
                <a:gd name="T33" fmla="*/ 13 h 26"/>
                <a:gd name="T34" fmla="*/ 20 w 20"/>
                <a:gd name="T35" fmla="*/ 17 h 26"/>
                <a:gd name="T36" fmla="*/ 20 w 20"/>
                <a:gd name="T37" fmla="*/ 17 h 26"/>
                <a:gd name="T38" fmla="*/ 19 w 20"/>
                <a:gd name="T39" fmla="*/ 22 h 26"/>
                <a:gd name="T40" fmla="*/ 17 w 20"/>
                <a:gd name="T41" fmla="*/ 23 h 26"/>
                <a:gd name="T42" fmla="*/ 14 w 20"/>
                <a:gd name="T43" fmla="*/ 25 h 26"/>
                <a:gd name="T44" fmla="*/ 10 w 20"/>
                <a:gd name="T4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26">
                  <a:moveTo>
                    <a:pt x="10" y="26"/>
                  </a:moveTo>
                  <a:lnTo>
                    <a:pt x="10" y="26"/>
                  </a:lnTo>
                  <a:lnTo>
                    <a:pt x="7" y="25"/>
                  </a:lnTo>
                  <a:lnTo>
                    <a:pt x="6" y="25"/>
                  </a:lnTo>
                  <a:lnTo>
                    <a:pt x="1" y="20"/>
                  </a:lnTo>
                  <a:lnTo>
                    <a:pt x="0" y="14"/>
                  </a:lnTo>
                  <a:lnTo>
                    <a:pt x="0" y="10"/>
                  </a:lnTo>
                  <a:lnTo>
                    <a:pt x="0" y="10"/>
                  </a:lnTo>
                  <a:lnTo>
                    <a:pt x="0" y="7"/>
                  </a:lnTo>
                  <a:lnTo>
                    <a:pt x="3" y="3"/>
                  </a:lnTo>
                  <a:lnTo>
                    <a:pt x="7" y="0"/>
                  </a:lnTo>
                  <a:lnTo>
                    <a:pt x="13" y="0"/>
                  </a:lnTo>
                  <a:lnTo>
                    <a:pt x="13" y="0"/>
                  </a:lnTo>
                  <a:lnTo>
                    <a:pt x="16" y="0"/>
                  </a:lnTo>
                  <a:lnTo>
                    <a:pt x="17" y="1"/>
                  </a:lnTo>
                  <a:lnTo>
                    <a:pt x="20" y="7"/>
                  </a:lnTo>
                  <a:lnTo>
                    <a:pt x="20" y="13"/>
                  </a:lnTo>
                  <a:lnTo>
                    <a:pt x="20" y="17"/>
                  </a:lnTo>
                  <a:lnTo>
                    <a:pt x="20" y="17"/>
                  </a:lnTo>
                  <a:lnTo>
                    <a:pt x="19" y="22"/>
                  </a:lnTo>
                  <a:lnTo>
                    <a:pt x="17" y="23"/>
                  </a:lnTo>
                  <a:lnTo>
                    <a:pt x="14" y="25"/>
                  </a:lnTo>
                  <a:lnTo>
                    <a:pt x="10" y="26"/>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42" name="Freeform 1387"/>
            <p:cNvSpPr>
              <a:spLocks/>
            </p:cNvSpPr>
            <p:nvPr/>
          </p:nvSpPr>
          <p:spPr bwMode="auto">
            <a:xfrm>
              <a:off x="2359026" y="2373741"/>
              <a:ext cx="31750" cy="41275"/>
            </a:xfrm>
            <a:custGeom>
              <a:avLst/>
              <a:gdLst>
                <a:gd name="T0" fmla="*/ 10 w 20"/>
                <a:gd name="T1" fmla="*/ 26 h 26"/>
                <a:gd name="T2" fmla="*/ 10 w 20"/>
                <a:gd name="T3" fmla="*/ 26 h 26"/>
                <a:gd name="T4" fmla="*/ 7 w 20"/>
                <a:gd name="T5" fmla="*/ 25 h 26"/>
                <a:gd name="T6" fmla="*/ 6 w 20"/>
                <a:gd name="T7" fmla="*/ 25 h 26"/>
                <a:gd name="T8" fmla="*/ 1 w 20"/>
                <a:gd name="T9" fmla="*/ 20 h 26"/>
                <a:gd name="T10" fmla="*/ 0 w 20"/>
                <a:gd name="T11" fmla="*/ 14 h 26"/>
                <a:gd name="T12" fmla="*/ 0 w 20"/>
                <a:gd name="T13" fmla="*/ 10 h 26"/>
                <a:gd name="T14" fmla="*/ 0 w 20"/>
                <a:gd name="T15" fmla="*/ 10 h 26"/>
                <a:gd name="T16" fmla="*/ 0 w 20"/>
                <a:gd name="T17" fmla="*/ 7 h 26"/>
                <a:gd name="T18" fmla="*/ 3 w 20"/>
                <a:gd name="T19" fmla="*/ 3 h 26"/>
                <a:gd name="T20" fmla="*/ 7 w 20"/>
                <a:gd name="T21" fmla="*/ 0 h 26"/>
                <a:gd name="T22" fmla="*/ 13 w 20"/>
                <a:gd name="T23" fmla="*/ 0 h 26"/>
                <a:gd name="T24" fmla="*/ 13 w 20"/>
                <a:gd name="T25" fmla="*/ 0 h 26"/>
                <a:gd name="T26" fmla="*/ 16 w 20"/>
                <a:gd name="T27" fmla="*/ 0 h 26"/>
                <a:gd name="T28" fmla="*/ 17 w 20"/>
                <a:gd name="T29" fmla="*/ 1 h 26"/>
                <a:gd name="T30" fmla="*/ 20 w 20"/>
                <a:gd name="T31" fmla="*/ 7 h 26"/>
                <a:gd name="T32" fmla="*/ 20 w 20"/>
                <a:gd name="T33" fmla="*/ 13 h 26"/>
                <a:gd name="T34" fmla="*/ 20 w 20"/>
                <a:gd name="T35" fmla="*/ 17 h 26"/>
                <a:gd name="T36" fmla="*/ 20 w 20"/>
                <a:gd name="T37" fmla="*/ 17 h 26"/>
                <a:gd name="T38" fmla="*/ 19 w 20"/>
                <a:gd name="T39" fmla="*/ 22 h 26"/>
                <a:gd name="T40" fmla="*/ 17 w 20"/>
                <a:gd name="T41" fmla="*/ 23 h 26"/>
                <a:gd name="T42" fmla="*/ 14 w 20"/>
                <a:gd name="T43" fmla="*/ 25 h 26"/>
                <a:gd name="T44" fmla="*/ 10 w 20"/>
                <a:gd name="T4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26">
                  <a:moveTo>
                    <a:pt x="10" y="26"/>
                  </a:moveTo>
                  <a:lnTo>
                    <a:pt x="10" y="26"/>
                  </a:lnTo>
                  <a:lnTo>
                    <a:pt x="7" y="25"/>
                  </a:lnTo>
                  <a:lnTo>
                    <a:pt x="6" y="25"/>
                  </a:lnTo>
                  <a:lnTo>
                    <a:pt x="1" y="20"/>
                  </a:lnTo>
                  <a:lnTo>
                    <a:pt x="0" y="14"/>
                  </a:lnTo>
                  <a:lnTo>
                    <a:pt x="0" y="10"/>
                  </a:lnTo>
                  <a:lnTo>
                    <a:pt x="0" y="10"/>
                  </a:lnTo>
                  <a:lnTo>
                    <a:pt x="0" y="7"/>
                  </a:lnTo>
                  <a:lnTo>
                    <a:pt x="3" y="3"/>
                  </a:lnTo>
                  <a:lnTo>
                    <a:pt x="7" y="0"/>
                  </a:lnTo>
                  <a:lnTo>
                    <a:pt x="13" y="0"/>
                  </a:lnTo>
                  <a:lnTo>
                    <a:pt x="13" y="0"/>
                  </a:lnTo>
                  <a:lnTo>
                    <a:pt x="16" y="0"/>
                  </a:lnTo>
                  <a:lnTo>
                    <a:pt x="17" y="1"/>
                  </a:lnTo>
                  <a:lnTo>
                    <a:pt x="20" y="7"/>
                  </a:lnTo>
                  <a:lnTo>
                    <a:pt x="20" y="13"/>
                  </a:lnTo>
                  <a:lnTo>
                    <a:pt x="20" y="17"/>
                  </a:lnTo>
                  <a:lnTo>
                    <a:pt x="20" y="17"/>
                  </a:lnTo>
                  <a:lnTo>
                    <a:pt x="19" y="22"/>
                  </a:lnTo>
                  <a:lnTo>
                    <a:pt x="17" y="23"/>
                  </a:lnTo>
                  <a:lnTo>
                    <a:pt x="14" y="25"/>
                  </a:lnTo>
                  <a:lnTo>
                    <a:pt x="1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43" name="Freeform 1388"/>
            <p:cNvSpPr>
              <a:spLocks/>
            </p:cNvSpPr>
            <p:nvPr/>
          </p:nvSpPr>
          <p:spPr bwMode="auto">
            <a:xfrm>
              <a:off x="2225676" y="2245154"/>
              <a:ext cx="42863" cy="25400"/>
            </a:xfrm>
            <a:custGeom>
              <a:avLst/>
              <a:gdLst>
                <a:gd name="T0" fmla="*/ 26 w 27"/>
                <a:gd name="T1" fmla="*/ 16 h 16"/>
                <a:gd name="T2" fmla="*/ 26 w 27"/>
                <a:gd name="T3" fmla="*/ 16 h 16"/>
                <a:gd name="T4" fmla="*/ 20 w 27"/>
                <a:gd name="T5" fmla="*/ 16 h 16"/>
                <a:gd name="T6" fmla="*/ 16 w 27"/>
                <a:gd name="T7" fmla="*/ 16 h 16"/>
                <a:gd name="T8" fmla="*/ 12 w 27"/>
                <a:gd name="T9" fmla="*/ 13 h 16"/>
                <a:gd name="T10" fmla="*/ 12 w 27"/>
                <a:gd name="T11" fmla="*/ 13 h 16"/>
                <a:gd name="T12" fmla="*/ 1 w 27"/>
                <a:gd name="T13" fmla="*/ 7 h 16"/>
                <a:gd name="T14" fmla="*/ 0 w 27"/>
                <a:gd name="T15" fmla="*/ 4 h 16"/>
                <a:gd name="T16" fmla="*/ 0 w 27"/>
                <a:gd name="T17" fmla="*/ 3 h 16"/>
                <a:gd name="T18" fmla="*/ 1 w 27"/>
                <a:gd name="T19" fmla="*/ 3 h 16"/>
                <a:gd name="T20" fmla="*/ 1 w 27"/>
                <a:gd name="T21" fmla="*/ 3 h 16"/>
                <a:gd name="T22" fmla="*/ 16 w 27"/>
                <a:gd name="T23" fmla="*/ 1 h 16"/>
                <a:gd name="T24" fmla="*/ 22 w 27"/>
                <a:gd name="T25" fmla="*/ 0 h 16"/>
                <a:gd name="T26" fmla="*/ 25 w 27"/>
                <a:gd name="T27" fmla="*/ 0 h 16"/>
                <a:gd name="T28" fmla="*/ 26 w 27"/>
                <a:gd name="T29" fmla="*/ 1 h 16"/>
                <a:gd name="T30" fmla="*/ 26 w 27"/>
                <a:gd name="T31" fmla="*/ 1 h 16"/>
                <a:gd name="T32" fmla="*/ 27 w 27"/>
                <a:gd name="T33" fmla="*/ 10 h 16"/>
                <a:gd name="T34" fmla="*/ 27 w 27"/>
                <a:gd name="T35" fmla="*/ 13 h 16"/>
                <a:gd name="T36" fmla="*/ 26 w 27"/>
                <a:gd name="T3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16">
                  <a:moveTo>
                    <a:pt x="26" y="16"/>
                  </a:moveTo>
                  <a:lnTo>
                    <a:pt x="26" y="16"/>
                  </a:lnTo>
                  <a:lnTo>
                    <a:pt x="20" y="16"/>
                  </a:lnTo>
                  <a:lnTo>
                    <a:pt x="16" y="16"/>
                  </a:lnTo>
                  <a:lnTo>
                    <a:pt x="12" y="13"/>
                  </a:lnTo>
                  <a:lnTo>
                    <a:pt x="12" y="13"/>
                  </a:lnTo>
                  <a:lnTo>
                    <a:pt x="1" y="7"/>
                  </a:lnTo>
                  <a:lnTo>
                    <a:pt x="0" y="4"/>
                  </a:lnTo>
                  <a:lnTo>
                    <a:pt x="0" y="3"/>
                  </a:lnTo>
                  <a:lnTo>
                    <a:pt x="1" y="3"/>
                  </a:lnTo>
                  <a:lnTo>
                    <a:pt x="1" y="3"/>
                  </a:lnTo>
                  <a:lnTo>
                    <a:pt x="16" y="1"/>
                  </a:lnTo>
                  <a:lnTo>
                    <a:pt x="22" y="0"/>
                  </a:lnTo>
                  <a:lnTo>
                    <a:pt x="25" y="0"/>
                  </a:lnTo>
                  <a:lnTo>
                    <a:pt x="26" y="1"/>
                  </a:lnTo>
                  <a:lnTo>
                    <a:pt x="26" y="1"/>
                  </a:lnTo>
                  <a:lnTo>
                    <a:pt x="27" y="10"/>
                  </a:lnTo>
                  <a:lnTo>
                    <a:pt x="27" y="13"/>
                  </a:lnTo>
                  <a:lnTo>
                    <a:pt x="26" y="16"/>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44" name="Freeform 1389"/>
            <p:cNvSpPr>
              <a:spLocks/>
            </p:cNvSpPr>
            <p:nvPr/>
          </p:nvSpPr>
          <p:spPr bwMode="auto">
            <a:xfrm>
              <a:off x="2225676" y="2245154"/>
              <a:ext cx="42863" cy="25400"/>
            </a:xfrm>
            <a:custGeom>
              <a:avLst/>
              <a:gdLst>
                <a:gd name="T0" fmla="*/ 26 w 27"/>
                <a:gd name="T1" fmla="*/ 16 h 16"/>
                <a:gd name="T2" fmla="*/ 26 w 27"/>
                <a:gd name="T3" fmla="*/ 16 h 16"/>
                <a:gd name="T4" fmla="*/ 20 w 27"/>
                <a:gd name="T5" fmla="*/ 16 h 16"/>
                <a:gd name="T6" fmla="*/ 16 w 27"/>
                <a:gd name="T7" fmla="*/ 16 h 16"/>
                <a:gd name="T8" fmla="*/ 12 w 27"/>
                <a:gd name="T9" fmla="*/ 13 h 16"/>
                <a:gd name="T10" fmla="*/ 12 w 27"/>
                <a:gd name="T11" fmla="*/ 13 h 16"/>
                <a:gd name="T12" fmla="*/ 1 w 27"/>
                <a:gd name="T13" fmla="*/ 7 h 16"/>
                <a:gd name="T14" fmla="*/ 0 w 27"/>
                <a:gd name="T15" fmla="*/ 4 h 16"/>
                <a:gd name="T16" fmla="*/ 0 w 27"/>
                <a:gd name="T17" fmla="*/ 3 h 16"/>
                <a:gd name="T18" fmla="*/ 1 w 27"/>
                <a:gd name="T19" fmla="*/ 3 h 16"/>
                <a:gd name="T20" fmla="*/ 1 w 27"/>
                <a:gd name="T21" fmla="*/ 3 h 16"/>
                <a:gd name="T22" fmla="*/ 16 w 27"/>
                <a:gd name="T23" fmla="*/ 1 h 16"/>
                <a:gd name="T24" fmla="*/ 22 w 27"/>
                <a:gd name="T25" fmla="*/ 0 h 16"/>
                <a:gd name="T26" fmla="*/ 25 w 27"/>
                <a:gd name="T27" fmla="*/ 0 h 16"/>
                <a:gd name="T28" fmla="*/ 26 w 27"/>
                <a:gd name="T29" fmla="*/ 1 h 16"/>
                <a:gd name="T30" fmla="*/ 26 w 27"/>
                <a:gd name="T31" fmla="*/ 1 h 16"/>
                <a:gd name="T32" fmla="*/ 27 w 27"/>
                <a:gd name="T33" fmla="*/ 10 h 16"/>
                <a:gd name="T34" fmla="*/ 27 w 27"/>
                <a:gd name="T35" fmla="*/ 13 h 16"/>
                <a:gd name="T36" fmla="*/ 26 w 27"/>
                <a:gd name="T3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16">
                  <a:moveTo>
                    <a:pt x="26" y="16"/>
                  </a:moveTo>
                  <a:lnTo>
                    <a:pt x="26" y="16"/>
                  </a:lnTo>
                  <a:lnTo>
                    <a:pt x="20" y="16"/>
                  </a:lnTo>
                  <a:lnTo>
                    <a:pt x="16" y="16"/>
                  </a:lnTo>
                  <a:lnTo>
                    <a:pt x="12" y="13"/>
                  </a:lnTo>
                  <a:lnTo>
                    <a:pt x="12" y="13"/>
                  </a:lnTo>
                  <a:lnTo>
                    <a:pt x="1" y="7"/>
                  </a:lnTo>
                  <a:lnTo>
                    <a:pt x="0" y="4"/>
                  </a:lnTo>
                  <a:lnTo>
                    <a:pt x="0" y="3"/>
                  </a:lnTo>
                  <a:lnTo>
                    <a:pt x="1" y="3"/>
                  </a:lnTo>
                  <a:lnTo>
                    <a:pt x="1" y="3"/>
                  </a:lnTo>
                  <a:lnTo>
                    <a:pt x="16" y="1"/>
                  </a:lnTo>
                  <a:lnTo>
                    <a:pt x="22" y="0"/>
                  </a:lnTo>
                  <a:lnTo>
                    <a:pt x="25" y="0"/>
                  </a:lnTo>
                  <a:lnTo>
                    <a:pt x="26" y="1"/>
                  </a:lnTo>
                  <a:lnTo>
                    <a:pt x="26" y="1"/>
                  </a:lnTo>
                  <a:lnTo>
                    <a:pt x="27" y="10"/>
                  </a:lnTo>
                  <a:lnTo>
                    <a:pt x="27" y="13"/>
                  </a:lnTo>
                  <a:lnTo>
                    <a:pt x="26"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45" name="Freeform 1390"/>
            <p:cNvSpPr>
              <a:spLocks/>
            </p:cNvSpPr>
            <p:nvPr/>
          </p:nvSpPr>
          <p:spPr bwMode="auto">
            <a:xfrm>
              <a:off x="2620963" y="2746804"/>
              <a:ext cx="31750" cy="28575"/>
            </a:xfrm>
            <a:custGeom>
              <a:avLst/>
              <a:gdLst>
                <a:gd name="T0" fmla="*/ 19 w 20"/>
                <a:gd name="T1" fmla="*/ 10 h 18"/>
                <a:gd name="T2" fmla="*/ 19 w 20"/>
                <a:gd name="T3" fmla="*/ 10 h 18"/>
                <a:gd name="T4" fmla="*/ 17 w 20"/>
                <a:gd name="T5" fmla="*/ 13 h 18"/>
                <a:gd name="T6" fmla="*/ 16 w 20"/>
                <a:gd name="T7" fmla="*/ 15 h 18"/>
                <a:gd name="T8" fmla="*/ 15 w 20"/>
                <a:gd name="T9" fmla="*/ 18 h 18"/>
                <a:gd name="T10" fmla="*/ 10 w 20"/>
                <a:gd name="T11" fmla="*/ 18 h 18"/>
                <a:gd name="T12" fmla="*/ 10 w 20"/>
                <a:gd name="T13" fmla="*/ 18 h 18"/>
                <a:gd name="T14" fmla="*/ 6 w 20"/>
                <a:gd name="T15" fmla="*/ 15 h 18"/>
                <a:gd name="T16" fmla="*/ 3 w 20"/>
                <a:gd name="T17" fmla="*/ 13 h 18"/>
                <a:gd name="T18" fmla="*/ 0 w 20"/>
                <a:gd name="T19" fmla="*/ 8 h 18"/>
                <a:gd name="T20" fmla="*/ 0 w 20"/>
                <a:gd name="T21" fmla="*/ 7 h 18"/>
                <a:gd name="T22" fmla="*/ 0 w 20"/>
                <a:gd name="T23" fmla="*/ 5 h 18"/>
                <a:gd name="T24" fmla="*/ 0 w 20"/>
                <a:gd name="T25" fmla="*/ 5 h 18"/>
                <a:gd name="T26" fmla="*/ 6 w 20"/>
                <a:gd name="T27" fmla="*/ 1 h 18"/>
                <a:gd name="T28" fmla="*/ 7 w 20"/>
                <a:gd name="T29" fmla="*/ 0 h 18"/>
                <a:gd name="T30" fmla="*/ 9 w 20"/>
                <a:gd name="T31" fmla="*/ 1 h 18"/>
                <a:gd name="T32" fmla="*/ 9 w 20"/>
                <a:gd name="T33" fmla="*/ 1 h 18"/>
                <a:gd name="T34" fmla="*/ 9 w 20"/>
                <a:gd name="T35" fmla="*/ 4 h 18"/>
                <a:gd name="T36" fmla="*/ 10 w 20"/>
                <a:gd name="T37" fmla="*/ 5 h 18"/>
                <a:gd name="T38" fmla="*/ 12 w 20"/>
                <a:gd name="T39" fmla="*/ 7 h 18"/>
                <a:gd name="T40" fmla="*/ 12 w 20"/>
                <a:gd name="T41" fmla="*/ 7 h 18"/>
                <a:gd name="T42" fmla="*/ 17 w 20"/>
                <a:gd name="T43" fmla="*/ 7 h 18"/>
                <a:gd name="T44" fmla="*/ 20 w 20"/>
                <a:gd name="T45" fmla="*/ 8 h 18"/>
                <a:gd name="T46" fmla="*/ 19 w 20"/>
                <a:gd name="T47"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18">
                  <a:moveTo>
                    <a:pt x="19" y="10"/>
                  </a:moveTo>
                  <a:lnTo>
                    <a:pt x="19" y="10"/>
                  </a:lnTo>
                  <a:lnTo>
                    <a:pt x="17" y="13"/>
                  </a:lnTo>
                  <a:lnTo>
                    <a:pt x="16" y="15"/>
                  </a:lnTo>
                  <a:lnTo>
                    <a:pt x="15" y="18"/>
                  </a:lnTo>
                  <a:lnTo>
                    <a:pt x="10" y="18"/>
                  </a:lnTo>
                  <a:lnTo>
                    <a:pt x="10" y="18"/>
                  </a:lnTo>
                  <a:lnTo>
                    <a:pt x="6" y="15"/>
                  </a:lnTo>
                  <a:lnTo>
                    <a:pt x="3" y="13"/>
                  </a:lnTo>
                  <a:lnTo>
                    <a:pt x="0" y="8"/>
                  </a:lnTo>
                  <a:lnTo>
                    <a:pt x="0" y="7"/>
                  </a:lnTo>
                  <a:lnTo>
                    <a:pt x="0" y="5"/>
                  </a:lnTo>
                  <a:lnTo>
                    <a:pt x="0" y="5"/>
                  </a:lnTo>
                  <a:lnTo>
                    <a:pt x="6" y="1"/>
                  </a:lnTo>
                  <a:lnTo>
                    <a:pt x="7" y="0"/>
                  </a:lnTo>
                  <a:lnTo>
                    <a:pt x="9" y="1"/>
                  </a:lnTo>
                  <a:lnTo>
                    <a:pt x="9" y="1"/>
                  </a:lnTo>
                  <a:lnTo>
                    <a:pt x="9" y="4"/>
                  </a:lnTo>
                  <a:lnTo>
                    <a:pt x="10" y="5"/>
                  </a:lnTo>
                  <a:lnTo>
                    <a:pt x="12" y="7"/>
                  </a:lnTo>
                  <a:lnTo>
                    <a:pt x="12" y="7"/>
                  </a:lnTo>
                  <a:lnTo>
                    <a:pt x="17" y="7"/>
                  </a:lnTo>
                  <a:lnTo>
                    <a:pt x="20" y="8"/>
                  </a:lnTo>
                  <a:lnTo>
                    <a:pt x="19" y="10"/>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46" name="Freeform 1391"/>
            <p:cNvSpPr>
              <a:spLocks/>
            </p:cNvSpPr>
            <p:nvPr/>
          </p:nvSpPr>
          <p:spPr bwMode="auto">
            <a:xfrm>
              <a:off x="2620963" y="2746804"/>
              <a:ext cx="31750" cy="28575"/>
            </a:xfrm>
            <a:custGeom>
              <a:avLst/>
              <a:gdLst>
                <a:gd name="T0" fmla="*/ 19 w 20"/>
                <a:gd name="T1" fmla="*/ 10 h 18"/>
                <a:gd name="T2" fmla="*/ 19 w 20"/>
                <a:gd name="T3" fmla="*/ 10 h 18"/>
                <a:gd name="T4" fmla="*/ 17 w 20"/>
                <a:gd name="T5" fmla="*/ 13 h 18"/>
                <a:gd name="T6" fmla="*/ 16 w 20"/>
                <a:gd name="T7" fmla="*/ 15 h 18"/>
                <a:gd name="T8" fmla="*/ 15 w 20"/>
                <a:gd name="T9" fmla="*/ 18 h 18"/>
                <a:gd name="T10" fmla="*/ 10 w 20"/>
                <a:gd name="T11" fmla="*/ 18 h 18"/>
                <a:gd name="T12" fmla="*/ 10 w 20"/>
                <a:gd name="T13" fmla="*/ 18 h 18"/>
                <a:gd name="T14" fmla="*/ 6 w 20"/>
                <a:gd name="T15" fmla="*/ 15 h 18"/>
                <a:gd name="T16" fmla="*/ 3 w 20"/>
                <a:gd name="T17" fmla="*/ 13 h 18"/>
                <a:gd name="T18" fmla="*/ 0 w 20"/>
                <a:gd name="T19" fmla="*/ 8 h 18"/>
                <a:gd name="T20" fmla="*/ 0 w 20"/>
                <a:gd name="T21" fmla="*/ 7 h 18"/>
                <a:gd name="T22" fmla="*/ 0 w 20"/>
                <a:gd name="T23" fmla="*/ 5 h 18"/>
                <a:gd name="T24" fmla="*/ 0 w 20"/>
                <a:gd name="T25" fmla="*/ 5 h 18"/>
                <a:gd name="T26" fmla="*/ 6 w 20"/>
                <a:gd name="T27" fmla="*/ 1 h 18"/>
                <a:gd name="T28" fmla="*/ 7 w 20"/>
                <a:gd name="T29" fmla="*/ 0 h 18"/>
                <a:gd name="T30" fmla="*/ 9 w 20"/>
                <a:gd name="T31" fmla="*/ 1 h 18"/>
                <a:gd name="T32" fmla="*/ 9 w 20"/>
                <a:gd name="T33" fmla="*/ 1 h 18"/>
                <a:gd name="T34" fmla="*/ 9 w 20"/>
                <a:gd name="T35" fmla="*/ 4 h 18"/>
                <a:gd name="T36" fmla="*/ 10 w 20"/>
                <a:gd name="T37" fmla="*/ 5 h 18"/>
                <a:gd name="T38" fmla="*/ 12 w 20"/>
                <a:gd name="T39" fmla="*/ 7 h 18"/>
                <a:gd name="T40" fmla="*/ 12 w 20"/>
                <a:gd name="T41" fmla="*/ 7 h 18"/>
                <a:gd name="T42" fmla="*/ 17 w 20"/>
                <a:gd name="T43" fmla="*/ 7 h 18"/>
                <a:gd name="T44" fmla="*/ 20 w 20"/>
                <a:gd name="T45" fmla="*/ 8 h 18"/>
                <a:gd name="T46" fmla="*/ 19 w 20"/>
                <a:gd name="T47"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18">
                  <a:moveTo>
                    <a:pt x="19" y="10"/>
                  </a:moveTo>
                  <a:lnTo>
                    <a:pt x="19" y="10"/>
                  </a:lnTo>
                  <a:lnTo>
                    <a:pt x="17" y="13"/>
                  </a:lnTo>
                  <a:lnTo>
                    <a:pt x="16" y="15"/>
                  </a:lnTo>
                  <a:lnTo>
                    <a:pt x="15" y="18"/>
                  </a:lnTo>
                  <a:lnTo>
                    <a:pt x="10" y="18"/>
                  </a:lnTo>
                  <a:lnTo>
                    <a:pt x="10" y="18"/>
                  </a:lnTo>
                  <a:lnTo>
                    <a:pt x="6" y="15"/>
                  </a:lnTo>
                  <a:lnTo>
                    <a:pt x="3" y="13"/>
                  </a:lnTo>
                  <a:lnTo>
                    <a:pt x="0" y="8"/>
                  </a:lnTo>
                  <a:lnTo>
                    <a:pt x="0" y="7"/>
                  </a:lnTo>
                  <a:lnTo>
                    <a:pt x="0" y="5"/>
                  </a:lnTo>
                  <a:lnTo>
                    <a:pt x="0" y="5"/>
                  </a:lnTo>
                  <a:lnTo>
                    <a:pt x="6" y="1"/>
                  </a:lnTo>
                  <a:lnTo>
                    <a:pt x="7" y="0"/>
                  </a:lnTo>
                  <a:lnTo>
                    <a:pt x="9" y="1"/>
                  </a:lnTo>
                  <a:lnTo>
                    <a:pt x="9" y="1"/>
                  </a:lnTo>
                  <a:lnTo>
                    <a:pt x="9" y="4"/>
                  </a:lnTo>
                  <a:lnTo>
                    <a:pt x="10" y="5"/>
                  </a:lnTo>
                  <a:lnTo>
                    <a:pt x="12" y="7"/>
                  </a:lnTo>
                  <a:lnTo>
                    <a:pt x="12" y="7"/>
                  </a:lnTo>
                  <a:lnTo>
                    <a:pt x="17" y="7"/>
                  </a:lnTo>
                  <a:lnTo>
                    <a:pt x="20" y="8"/>
                  </a:lnTo>
                  <a:lnTo>
                    <a:pt x="19"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47" name="Freeform 1392"/>
            <p:cNvSpPr>
              <a:spLocks/>
            </p:cNvSpPr>
            <p:nvPr/>
          </p:nvSpPr>
          <p:spPr bwMode="auto">
            <a:xfrm>
              <a:off x="1747838" y="2237216"/>
              <a:ext cx="112713" cy="106363"/>
            </a:xfrm>
            <a:custGeom>
              <a:avLst/>
              <a:gdLst>
                <a:gd name="T0" fmla="*/ 69 w 71"/>
                <a:gd name="T1" fmla="*/ 55 h 67"/>
                <a:gd name="T2" fmla="*/ 56 w 71"/>
                <a:gd name="T3" fmla="*/ 66 h 67"/>
                <a:gd name="T4" fmla="*/ 52 w 71"/>
                <a:gd name="T5" fmla="*/ 67 h 67"/>
                <a:gd name="T6" fmla="*/ 34 w 71"/>
                <a:gd name="T7" fmla="*/ 63 h 67"/>
                <a:gd name="T8" fmla="*/ 24 w 71"/>
                <a:gd name="T9" fmla="*/ 58 h 67"/>
                <a:gd name="T10" fmla="*/ 16 w 71"/>
                <a:gd name="T11" fmla="*/ 55 h 67"/>
                <a:gd name="T12" fmla="*/ 6 w 71"/>
                <a:gd name="T13" fmla="*/ 51 h 67"/>
                <a:gd name="T14" fmla="*/ 1 w 71"/>
                <a:gd name="T15" fmla="*/ 45 h 67"/>
                <a:gd name="T16" fmla="*/ 1 w 71"/>
                <a:gd name="T17" fmla="*/ 40 h 67"/>
                <a:gd name="T18" fmla="*/ 7 w 71"/>
                <a:gd name="T19" fmla="*/ 40 h 67"/>
                <a:gd name="T20" fmla="*/ 14 w 71"/>
                <a:gd name="T21" fmla="*/ 38 h 67"/>
                <a:gd name="T22" fmla="*/ 19 w 71"/>
                <a:gd name="T23" fmla="*/ 32 h 67"/>
                <a:gd name="T24" fmla="*/ 19 w 71"/>
                <a:gd name="T25" fmla="*/ 25 h 67"/>
                <a:gd name="T26" fmla="*/ 17 w 71"/>
                <a:gd name="T27" fmla="*/ 24 h 67"/>
                <a:gd name="T28" fmla="*/ 20 w 71"/>
                <a:gd name="T29" fmla="*/ 19 h 67"/>
                <a:gd name="T30" fmla="*/ 20 w 71"/>
                <a:gd name="T31" fmla="*/ 18 h 67"/>
                <a:gd name="T32" fmla="*/ 23 w 71"/>
                <a:gd name="T33" fmla="*/ 8 h 67"/>
                <a:gd name="T34" fmla="*/ 26 w 71"/>
                <a:gd name="T35" fmla="*/ 3 h 67"/>
                <a:gd name="T36" fmla="*/ 29 w 71"/>
                <a:gd name="T37" fmla="*/ 0 h 67"/>
                <a:gd name="T38" fmla="*/ 34 w 71"/>
                <a:gd name="T39" fmla="*/ 5 h 67"/>
                <a:gd name="T40" fmla="*/ 39 w 71"/>
                <a:gd name="T41" fmla="*/ 9 h 67"/>
                <a:gd name="T42" fmla="*/ 39 w 71"/>
                <a:gd name="T43" fmla="*/ 12 h 67"/>
                <a:gd name="T44" fmla="*/ 42 w 71"/>
                <a:gd name="T45" fmla="*/ 16 h 67"/>
                <a:gd name="T46" fmla="*/ 45 w 71"/>
                <a:gd name="T47" fmla="*/ 16 h 67"/>
                <a:gd name="T48" fmla="*/ 48 w 71"/>
                <a:gd name="T49" fmla="*/ 15 h 67"/>
                <a:gd name="T50" fmla="*/ 52 w 71"/>
                <a:gd name="T51" fmla="*/ 19 h 67"/>
                <a:gd name="T52" fmla="*/ 58 w 71"/>
                <a:gd name="T53" fmla="*/ 28 h 67"/>
                <a:gd name="T54" fmla="*/ 59 w 71"/>
                <a:gd name="T55" fmla="*/ 32 h 67"/>
                <a:gd name="T56" fmla="*/ 58 w 71"/>
                <a:gd name="T57" fmla="*/ 34 h 67"/>
                <a:gd name="T58" fmla="*/ 58 w 71"/>
                <a:gd name="T59" fmla="*/ 38 h 67"/>
                <a:gd name="T60" fmla="*/ 59 w 71"/>
                <a:gd name="T61" fmla="*/ 40 h 67"/>
                <a:gd name="T62" fmla="*/ 62 w 71"/>
                <a:gd name="T63" fmla="*/ 44 h 67"/>
                <a:gd name="T64" fmla="*/ 66 w 71"/>
                <a:gd name="T65" fmla="*/ 51 h 67"/>
                <a:gd name="T66" fmla="*/ 71 w 71"/>
                <a:gd name="T67" fmla="*/ 54 h 67"/>
                <a:gd name="T68" fmla="*/ 69 w 71"/>
                <a:gd name="T69" fmla="*/ 5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 h="67">
                  <a:moveTo>
                    <a:pt x="69" y="55"/>
                  </a:moveTo>
                  <a:lnTo>
                    <a:pt x="69" y="55"/>
                  </a:lnTo>
                  <a:lnTo>
                    <a:pt x="61" y="63"/>
                  </a:lnTo>
                  <a:lnTo>
                    <a:pt x="56" y="66"/>
                  </a:lnTo>
                  <a:lnTo>
                    <a:pt x="52" y="67"/>
                  </a:lnTo>
                  <a:lnTo>
                    <a:pt x="52" y="67"/>
                  </a:lnTo>
                  <a:lnTo>
                    <a:pt x="43" y="64"/>
                  </a:lnTo>
                  <a:lnTo>
                    <a:pt x="34" y="63"/>
                  </a:lnTo>
                  <a:lnTo>
                    <a:pt x="34" y="63"/>
                  </a:lnTo>
                  <a:lnTo>
                    <a:pt x="24" y="58"/>
                  </a:lnTo>
                  <a:lnTo>
                    <a:pt x="16" y="55"/>
                  </a:lnTo>
                  <a:lnTo>
                    <a:pt x="16" y="55"/>
                  </a:lnTo>
                  <a:lnTo>
                    <a:pt x="10" y="54"/>
                  </a:lnTo>
                  <a:lnTo>
                    <a:pt x="6" y="51"/>
                  </a:lnTo>
                  <a:lnTo>
                    <a:pt x="6" y="51"/>
                  </a:lnTo>
                  <a:lnTo>
                    <a:pt x="1" y="45"/>
                  </a:lnTo>
                  <a:lnTo>
                    <a:pt x="0" y="41"/>
                  </a:lnTo>
                  <a:lnTo>
                    <a:pt x="1" y="40"/>
                  </a:lnTo>
                  <a:lnTo>
                    <a:pt x="1" y="40"/>
                  </a:lnTo>
                  <a:lnTo>
                    <a:pt x="7" y="40"/>
                  </a:lnTo>
                  <a:lnTo>
                    <a:pt x="14" y="38"/>
                  </a:lnTo>
                  <a:lnTo>
                    <a:pt x="14" y="38"/>
                  </a:lnTo>
                  <a:lnTo>
                    <a:pt x="17" y="35"/>
                  </a:lnTo>
                  <a:lnTo>
                    <a:pt x="19" y="32"/>
                  </a:lnTo>
                  <a:lnTo>
                    <a:pt x="20" y="28"/>
                  </a:lnTo>
                  <a:lnTo>
                    <a:pt x="19" y="25"/>
                  </a:lnTo>
                  <a:lnTo>
                    <a:pt x="19" y="25"/>
                  </a:lnTo>
                  <a:lnTo>
                    <a:pt x="17" y="24"/>
                  </a:lnTo>
                  <a:lnTo>
                    <a:pt x="17" y="22"/>
                  </a:lnTo>
                  <a:lnTo>
                    <a:pt x="20" y="19"/>
                  </a:lnTo>
                  <a:lnTo>
                    <a:pt x="20" y="19"/>
                  </a:lnTo>
                  <a:lnTo>
                    <a:pt x="20" y="18"/>
                  </a:lnTo>
                  <a:lnTo>
                    <a:pt x="21" y="13"/>
                  </a:lnTo>
                  <a:lnTo>
                    <a:pt x="23" y="8"/>
                  </a:lnTo>
                  <a:lnTo>
                    <a:pt x="23" y="8"/>
                  </a:lnTo>
                  <a:lnTo>
                    <a:pt x="26" y="3"/>
                  </a:lnTo>
                  <a:lnTo>
                    <a:pt x="27" y="0"/>
                  </a:lnTo>
                  <a:lnTo>
                    <a:pt x="29" y="0"/>
                  </a:lnTo>
                  <a:lnTo>
                    <a:pt x="29" y="0"/>
                  </a:lnTo>
                  <a:lnTo>
                    <a:pt x="34" y="5"/>
                  </a:lnTo>
                  <a:lnTo>
                    <a:pt x="39" y="8"/>
                  </a:lnTo>
                  <a:lnTo>
                    <a:pt x="39" y="9"/>
                  </a:lnTo>
                  <a:lnTo>
                    <a:pt x="39" y="9"/>
                  </a:lnTo>
                  <a:lnTo>
                    <a:pt x="39" y="12"/>
                  </a:lnTo>
                  <a:lnTo>
                    <a:pt x="40" y="13"/>
                  </a:lnTo>
                  <a:lnTo>
                    <a:pt x="42" y="16"/>
                  </a:lnTo>
                  <a:lnTo>
                    <a:pt x="45" y="16"/>
                  </a:lnTo>
                  <a:lnTo>
                    <a:pt x="45" y="16"/>
                  </a:lnTo>
                  <a:lnTo>
                    <a:pt x="46" y="15"/>
                  </a:lnTo>
                  <a:lnTo>
                    <a:pt x="48" y="15"/>
                  </a:lnTo>
                  <a:lnTo>
                    <a:pt x="50" y="16"/>
                  </a:lnTo>
                  <a:lnTo>
                    <a:pt x="52" y="19"/>
                  </a:lnTo>
                  <a:lnTo>
                    <a:pt x="52" y="19"/>
                  </a:lnTo>
                  <a:lnTo>
                    <a:pt x="58" y="28"/>
                  </a:lnTo>
                  <a:lnTo>
                    <a:pt x="59" y="31"/>
                  </a:lnTo>
                  <a:lnTo>
                    <a:pt x="59" y="32"/>
                  </a:lnTo>
                  <a:lnTo>
                    <a:pt x="59" y="32"/>
                  </a:lnTo>
                  <a:lnTo>
                    <a:pt x="58" y="34"/>
                  </a:lnTo>
                  <a:lnTo>
                    <a:pt x="58" y="37"/>
                  </a:lnTo>
                  <a:lnTo>
                    <a:pt x="58" y="38"/>
                  </a:lnTo>
                  <a:lnTo>
                    <a:pt x="59" y="40"/>
                  </a:lnTo>
                  <a:lnTo>
                    <a:pt x="59" y="40"/>
                  </a:lnTo>
                  <a:lnTo>
                    <a:pt x="61" y="41"/>
                  </a:lnTo>
                  <a:lnTo>
                    <a:pt x="62" y="44"/>
                  </a:lnTo>
                  <a:lnTo>
                    <a:pt x="65" y="48"/>
                  </a:lnTo>
                  <a:lnTo>
                    <a:pt x="66" y="51"/>
                  </a:lnTo>
                  <a:lnTo>
                    <a:pt x="66" y="51"/>
                  </a:lnTo>
                  <a:lnTo>
                    <a:pt x="71" y="54"/>
                  </a:lnTo>
                  <a:lnTo>
                    <a:pt x="71" y="55"/>
                  </a:lnTo>
                  <a:lnTo>
                    <a:pt x="69" y="55"/>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48" name="Freeform 1393"/>
            <p:cNvSpPr>
              <a:spLocks/>
            </p:cNvSpPr>
            <p:nvPr/>
          </p:nvSpPr>
          <p:spPr bwMode="auto">
            <a:xfrm>
              <a:off x="1747838" y="2237216"/>
              <a:ext cx="112713" cy="106363"/>
            </a:xfrm>
            <a:custGeom>
              <a:avLst/>
              <a:gdLst>
                <a:gd name="T0" fmla="*/ 69 w 71"/>
                <a:gd name="T1" fmla="*/ 55 h 67"/>
                <a:gd name="T2" fmla="*/ 56 w 71"/>
                <a:gd name="T3" fmla="*/ 66 h 67"/>
                <a:gd name="T4" fmla="*/ 52 w 71"/>
                <a:gd name="T5" fmla="*/ 67 h 67"/>
                <a:gd name="T6" fmla="*/ 34 w 71"/>
                <a:gd name="T7" fmla="*/ 63 h 67"/>
                <a:gd name="T8" fmla="*/ 24 w 71"/>
                <a:gd name="T9" fmla="*/ 58 h 67"/>
                <a:gd name="T10" fmla="*/ 16 w 71"/>
                <a:gd name="T11" fmla="*/ 55 h 67"/>
                <a:gd name="T12" fmla="*/ 6 w 71"/>
                <a:gd name="T13" fmla="*/ 51 h 67"/>
                <a:gd name="T14" fmla="*/ 1 w 71"/>
                <a:gd name="T15" fmla="*/ 45 h 67"/>
                <a:gd name="T16" fmla="*/ 1 w 71"/>
                <a:gd name="T17" fmla="*/ 40 h 67"/>
                <a:gd name="T18" fmla="*/ 7 w 71"/>
                <a:gd name="T19" fmla="*/ 40 h 67"/>
                <a:gd name="T20" fmla="*/ 14 w 71"/>
                <a:gd name="T21" fmla="*/ 38 h 67"/>
                <a:gd name="T22" fmla="*/ 19 w 71"/>
                <a:gd name="T23" fmla="*/ 32 h 67"/>
                <a:gd name="T24" fmla="*/ 19 w 71"/>
                <a:gd name="T25" fmla="*/ 25 h 67"/>
                <a:gd name="T26" fmla="*/ 17 w 71"/>
                <a:gd name="T27" fmla="*/ 24 h 67"/>
                <a:gd name="T28" fmla="*/ 20 w 71"/>
                <a:gd name="T29" fmla="*/ 19 h 67"/>
                <a:gd name="T30" fmla="*/ 20 w 71"/>
                <a:gd name="T31" fmla="*/ 18 h 67"/>
                <a:gd name="T32" fmla="*/ 23 w 71"/>
                <a:gd name="T33" fmla="*/ 8 h 67"/>
                <a:gd name="T34" fmla="*/ 26 w 71"/>
                <a:gd name="T35" fmla="*/ 3 h 67"/>
                <a:gd name="T36" fmla="*/ 29 w 71"/>
                <a:gd name="T37" fmla="*/ 0 h 67"/>
                <a:gd name="T38" fmla="*/ 34 w 71"/>
                <a:gd name="T39" fmla="*/ 5 h 67"/>
                <a:gd name="T40" fmla="*/ 39 w 71"/>
                <a:gd name="T41" fmla="*/ 9 h 67"/>
                <a:gd name="T42" fmla="*/ 39 w 71"/>
                <a:gd name="T43" fmla="*/ 12 h 67"/>
                <a:gd name="T44" fmla="*/ 42 w 71"/>
                <a:gd name="T45" fmla="*/ 16 h 67"/>
                <a:gd name="T46" fmla="*/ 45 w 71"/>
                <a:gd name="T47" fmla="*/ 16 h 67"/>
                <a:gd name="T48" fmla="*/ 48 w 71"/>
                <a:gd name="T49" fmla="*/ 15 h 67"/>
                <a:gd name="T50" fmla="*/ 52 w 71"/>
                <a:gd name="T51" fmla="*/ 19 h 67"/>
                <a:gd name="T52" fmla="*/ 58 w 71"/>
                <a:gd name="T53" fmla="*/ 28 h 67"/>
                <a:gd name="T54" fmla="*/ 59 w 71"/>
                <a:gd name="T55" fmla="*/ 32 h 67"/>
                <a:gd name="T56" fmla="*/ 58 w 71"/>
                <a:gd name="T57" fmla="*/ 34 h 67"/>
                <a:gd name="T58" fmla="*/ 58 w 71"/>
                <a:gd name="T59" fmla="*/ 38 h 67"/>
                <a:gd name="T60" fmla="*/ 59 w 71"/>
                <a:gd name="T61" fmla="*/ 40 h 67"/>
                <a:gd name="T62" fmla="*/ 62 w 71"/>
                <a:gd name="T63" fmla="*/ 44 h 67"/>
                <a:gd name="T64" fmla="*/ 66 w 71"/>
                <a:gd name="T65" fmla="*/ 51 h 67"/>
                <a:gd name="T66" fmla="*/ 71 w 71"/>
                <a:gd name="T67" fmla="*/ 54 h 67"/>
                <a:gd name="T68" fmla="*/ 69 w 71"/>
                <a:gd name="T69" fmla="*/ 5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 h="67">
                  <a:moveTo>
                    <a:pt x="69" y="55"/>
                  </a:moveTo>
                  <a:lnTo>
                    <a:pt x="69" y="55"/>
                  </a:lnTo>
                  <a:lnTo>
                    <a:pt x="61" y="63"/>
                  </a:lnTo>
                  <a:lnTo>
                    <a:pt x="56" y="66"/>
                  </a:lnTo>
                  <a:lnTo>
                    <a:pt x="52" y="67"/>
                  </a:lnTo>
                  <a:lnTo>
                    <a:pt x="52" y="67"/>
                  </a:lnTo>
                  <a:lnTo>
                    <a:pt x="43" y="64"/>
                  </a:lnTo>
                  <a:lnTo>
                    <a:pt x="34" y="63"/>
                  </a:lnTo>
                  <a:lnTo>
                    <a:pt x="34" y="63"/>
                  </a:lnTo>
                  <a:lnTo>
                    <a:pt x="24" y="58"/>
                  </a:lnTo>
                  <a:lnTo>
                    <a:pt x="16" y="55"/>
                  </a:lnTo>
                  <a:lnTo>
                    <a:pt x="16" y="55"/>
                  </a:lnTo>
                  <a:lnTo>
                    <a:pt x="10" y="54"/>
                  </a:lnTo>
                  <a:lnTo>
                    <a:pt x="6" y="51"/>
                  </a:lnTo>
                  <a:lnTo>
                    <a:pt x="6" y="51"/>
                  </a:lnTo>
                  <a:lnTo>
                    <a:pt x="1" y="45"/>
                  </a:lnTo>
                  <a:lnTo>
                    <a:pt x="0" y="41"/>
                  </a:lnTo>
                  <a:lnTo>
                    <a:pt x="1" y="40"/>
                  </a:lnTo>
                  <a:lnTo>
                    <a:pt x="1" y="40"/>
                  </a:lnTo>
                  <a:lnTo>
                    <a:pt x="7" y="40"/>
                  </a:lnTo>
                  <a:lnTo>
                    <a:pt x="14" y="38"/>
                  </a:lnTo>
                  <a:lnTo>
                    <a:pt x="14" y="38"/>
                  </a:lnTo>
                  <a:lnTo>
                    <a:pt x="17" y="35"/>
                  </a:lnTo>
                  <a:lnTo>
                    <a:pt x="19" y="32"/>
                  </a:lnTo>
                  <a:lnTo>
                    <a:pt x="20" y="28"/>
                  </a:lnTo>
                  <a:lnTo>
                    <a:pt x="19" y="25"/>
                  </a:lnTo>
                  <a:lnTo>
                    <a:pt x="19" y="25"/>
                  </a:lnTo>
                  <a:lnTo>
                    <a:pt x="17" y="24"/>
                  </a:lnTo>
                  <a:lnTo>
                    <a:pt x="17" y="22"/>
                  </a:lnTo>
                  <a:lnTo>
                    <a:pt x="20" y="19"/>
                  </a:lnTo>
                  <a:lnTo>
                    <a:pt x="20" y="19"/>
                  </a:lnTo>
                  <a:lnTo>
                    <a:pt x="20" y="18"/>
                  </a:lnTo>
                  <a:lnTo>
                    <a:pt x="21" y="13"/>
                  </a:lnTo>
                  <a:lnTo>
                    <a:pt x="23" y="8"/>
                  </a:lnTo>
                  <a:lnTo>
                    <a:pt x="23" y="8"/>
                  </a:lnTo>
                  <a:lnTo>
                    <a:pt x="26" y="3"/>
                  </a:lnTo>
                  <a:lnTo>
                    <a:pt x="27" y="0"/>
                  </a:lnTo>
                  <a:lnTo>
                    <a:pt x="29" y="0"/>
                  </a:lnTo>
                  <a:lnTo>
                    <a:pt x="29" y="0"/>
                  </a:lnTo>
                  <a:lnTo>
                    <a:pt x="34" y="5"/>
                  </a:lnTo>
                  <a:lnTo>
                    <a:pt x="39" y="8"/>
                  </a:lnTo>
                  <a:lnTo>
                    <a:pt x="39" y="9"/>
                  </a:lnTo>
                  <a:lnTo>
                    <a:pt x="39" y="9"/>
                  </a:lnTo>
                  <a:lnTo>
                    <a:pt x="39" y="12"/>
                  </a:lnTo>
                  <a:lnTo>
                    <a:pt x="40" y="13"/>
                  </a:lnTo>
                  <a:lnTo>
                    <a:pt x="42" y="16"/>
                  </a:lnTo>
                  <a:lnTo>
                    <a:pt x="45" y="16"/>
                  </a:lnTo>
                  <a:lnTo>
                    <a:pt x="45" y="16"/>
                  </a:lnTo>
                  <a:lnTo>
                    <a:pt x="46" y="15"/>
                  </a:lnTo>
                  <a:lnTo>
                    <a:pt x="48" y="15"/>
                  </a:lnTo>
                  <a:lnTo>
                    <a:pt x="50" y="16"/>
                  </a:lnTo>
                  <a:lnTo>
                    <a:pt x="52" y="19"/>
                  </a:lnTo>
                  <a:lnTo>
                    <a:pt x="52" y="19"/>
                  </a:lnTo>
                  <a:lnTo>
                    <a:pt x="58" y="28"/>
                  </a:lnTo>
                  <a:lnTo>
                    <a:pt x="59" y="31"/>
                  </a:lnTo>
                  <a:lnTo>
                    <a:pt x="59" y="32"/>
                  </a:lnTo>
                  <a:lnTo>
                    <a:pt x="59" y="32"/>
                  </a:lnTo>
                  <a:lnTo>
                    <a:pt x="58" y="34"/>
                  </a:lnTo>
                  <a:lnTo>
                    <a:pt x="58" y="37"/>
                  </a:lnTo>
                  <a:lnTo>
                    <a:pt x="58" y="38"/>
                  </a:lnTo>
                  <a:lnTo>
                    <a:pt x="59" y="40"/>
                  </a:lnTo>
                  <a:lnTo>
                    <a:pt x="59" y="40"/>
                  </a:lnTo>
                  <a:lnTo>
                    <a:pt x="61" y="41"/>
                  </a:lnTo>
                  <a:lnTo>
                    <a:pt x="62" y="44"/>
                  </a:lnTo>
                  <a:lnTo>
                    <a:pt x="65" y="48"/>
                  </a:lnTo>
                  <a:lnTo>
                    <a:pt x="66" y="51"/>
                  </a:lnTo>
                  <a:lnTo>
                    <a:pt x="66" y="51"/>
                  </a:lnTo>
                  <a:lnTo>
                    <a:pt x="71" y="54"/>
                  </a:lnTo>
                  <a:lnTo>
                    <a:pt x="71" y="55"/>
                  </a:lnTo>
                  <a:lnTo>
                    <a:pt x="69" y="5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49" name="Freeform 1394"/>
            <p:cNvSpPr>
              <a:spLocks/>
            </p:cNvSpPr>
            <p:nvPr/>
          </p:nvSpPr>
          <p:spPr bwMode="auto">
            <a:xfrm>
              <a:off x="1255713" y="1954641"/>
              <a:ext cx="463550" cy="382588"/>
            </a:xfrm>
            <a:custGeom>
              <a:avLst/>
              <a:gdLst>
                <a:gd name="T0" fmla="*/ 56 w 292"/>
                <a:gd name="T1" fmla="*/ 15 h 241"/>
                <a:gd name="T2" fmla="*/ 29 w 292"/>
                <a:gd name="T3" fmla="*/ 35 h 241"/>
                <a:gd name="T4" fmla="*/ 8 w 292"/>
                <a:gd name="T5" fmla="*/ 47 h 241"/>
                <a:gd name="T6" fmla="*/ 17 w 292"/>
                <a:gd name="T7" fmla="*/ 61 h 241"/>
                <a:gd name="T8" fmla="*/ 3 w 292"/>
                <a:gd name="T9" fmla="*/ 73 h 241"/>
                <a:gd name="T10" fmla="*/ 4 w 292"/>
                <a:gd name="T11" fmla="*/ 94 h 241"/>
                <a:gd name="T12" fmla="*/ 17 w 292"/>
                <a:gd name="T13" fmla="*/ 100 h 241"/>
                <a:gd name="T14" fmla="*/ 30 w 292"/>
                <a:gd name="T15" fmla="*/ 107 h 241"/>
                <a:gd name="T16" fmla="*/ 50 w 292"/>
                <a:gd name="T17" fmla="*/ 105 h 241"/>
                <a:gd name="T18" fmla="*/ 45 w 292"/>
                <a:gd name="T19" fmla="*/ 110 h 241"/>
                <a:gd name="T20" fmla="*/ 17 w 292"/>
                <a:gd name="T21" fmla="*/ 122 h 241"/>
                <a:gd name="T22" fmla="*/ 29 w 292"/>
                <a:gd name="T23" fmla="*/ 147 h 241"/>
                <a:gd name="T24" fmla="*/ 45 w 292"/>
                <a:gd name="T25" fmla="*/ 148 h 241"/>
                <a:gd name="T26" fmla="*/ 78 w 292"/>
                <a:gd name="T27" fmla="*/ 142 h 241"/>
                <a:gd name="T28" fmla="*/ 104 w 292"/>
                <a:gd name="T29" fmla="*/ 147 h 241"/>
                <a:gd name="T30" fmla="*/ 111 w 292"/>
                <a:gd name="T31" fmla="*/ 157 h 241"/>
                <a:gd name="T32" fmla="*/ 113 w 292"/>
                <a:gd name="T33" fmla="*/ 165 h 241"/>
                <a:gd name="T34" fmla="*/ 90 w 292"/>
                <a:gd name="T35" fmla="*/ 168 h 241"/>
                <a:gd name="T36" fmla="*/ 50 w 292"/>
                <a:gd name="T37" fmla="*/ 170 h 241"/>
                <a:gd name="T38" fmla="*/ 36 w 292"/>
                <a:gd name="T39" fmla="*/ 178 h 241"/>
                <a:gd name="T40" fmla="*/ 45 w 292"/>
                <a:gd name="T41" fmla="*/ 200 h 241"/>
                <a:gd name="T42" fmla="*/ 62 w 292"/>
                <a:gd name="T43" fmla="*/ 213 h 241"/>
                <a:gd name="T44" fmla="*/ 90 w 292"/>
                <a:gd name="T45" fmla="*/ 223 h 241"/>
                <a:gd name="T46" fmla="*/ 98 w 292"/>
                <a:gd name="T47" fmla="*/ 239 h 241"/>
                <a:gd name="T48" fmla="*/ 130 w 292"/>
                <a:gd name="T49" fmla="*/ 235 h 241"/>
                <a:gd name="T50" fmla="*/ 161 w 292"/>
                <a:gd name="T51" fmla="*/ 228 h 241"/>
                <a:gd name="T52" fmla="*/ 192 w 292"/>
                <a:gd name="T53" fmla="*/ 218 h 241"/>
                <a:gd name="T54" fmla="*/ 223 w 292"/>
                <a:gd name="T55" fmla="*/ 220 h 241"/>
                <a:gd name="T56" fmla="*/ 224 w 292"/>
                <a:gd name="T57" fmla="*/ 229 h 241"/>
                <a:gd name="T58" fmla="*/ 255 w 292"/>
                <a:gd name="T59" fmla="*/ 232 h 241"/>
                <a:gd name="T60" fmla="*/ 281 w 292"/>
                <a:gd name="T61" fmla="*/ 215 h 241"/>
                <a:gd name="T62" fmla="*/ 274 w 292"/>
                <a:gd name="T63" fmla="*/ 204 h 241"/>
                <a:gd name="T64" fmla="*/ 259 w 292"/>
                <a:gd name="T65" fmla="*/ 206 h 241"/>
                <a:gd name="T66" fmla="*/ 246 w 292"/>
                <a:gd name="T67" fmla="*/ 207 h 241"/>
                <a:gd name="T68" fmla="*/ 246 w 292"/>
                <a:gd name="T69" fmla="*/ 197 h 241"/>
                <a:gd name="T70" fmla="*/ 247 w 292"/>
                <a:gd name="T71" fmla="*/ 186 h 241"/>
                <a:gd name="T72" fmla="*/ 265 w 292"/>
                <a:gd name="T73" fmla="*/ 193 h 241"/>
                <a:gd name="T74" fmla="*/ 269 w 292"/>
                <a:gd name="T75" fmla="*/ 186 h 241"/>
                <a:gd name="T76" fmla="*/ 282 w 292"/>
                <a:gd name="T77" fmla="*/ 187 h 241"/>
                <a:gd name="T78" fmla="*/ 291 w 292"/>
                <a:gd name="T79" fmla="*/ 183 h 241"/>
                <a:gd name="T80" fmla="*/ 291 w 292"/>
                <a:gd name="T81" fmla="*/ 174 h 241"/>
                <a:gd name="T82" fmla="*/ 276 w 292"/>
                <a:gd name="T83" fmla="*/ 171 h 241"/>
                <a:gd name="T84" fmla="*/ 256 w 292"/>
                <a:gd name="T85" fmla="*/ 149 h 241"/>
                <a:gd name="T86" fmla="*/ 232 w 292"/>
                <a:gd name="T87" fmla="*/ 120 h 241"/>
                <a:gd name="T88" fmla="*/ 226 w 292"/>
                <a:gd name="T89" fmla="*/ 41 h 241"/>
                <a:gd name="T90" fmla="*/ 197 w 292"/>
                <a:gd name="T91" fmla="*/ 5 h 241"/>
                <a:gd name="T92" fmla="*/ 179 w 292"/>
                <a:gd name="T93" fmla="*/ 6 h 241"/>
                <a:gd name="T94" fmla="*/ 181 w 292"/>
                <a:gd name="T95" fmla="*/ 15 h 241"/>
                <a:gd name="T96" fmla="*/ 185 w 292"/>
                <a:gd name="T97" fmla="*/ 41 h 241"/>
                <a:gd name="T98" fmla="*/ 190 w 292"/>
                <a:gd name="T99" fmla="*/ 94 h 241"/>
                <a:gd name="T100" fmla="*/ 168 w 292"/>
                <a:gd name="T101" fmla="*/ 45 h 241"/>
                <a:gd name="T102" fmla="*/ 150 w 292"/>
                <a:gd name="T103" fmla="*/ 21 h 241"/>
                <a:gd name="T104" fmla="*/ 133 w 292"/>
                <a:gd name="T105" fmla="*/ 16 h 241"/>
                <a:gd name="T106" fmla="*/ 148 w 292"/>
                <a:gd name="T107" fmla="*/ 32 h 241"/>
                <a:gd name="T108" fmla="*/ 142 w 292"/>
                <a:gd name="T109" fmla="*/ 44 h 241"/>
                <a:gd name="T110" fmla="*/ 117 w 292"/>
                <a:gd name="T111" fmla="*/ 51 h 241"/>
                <a:gd name="T112" fmla="*/ 129 w 292"/>
                <a:gd name="T113" fmla="*/ 34 h 241"/>
                <a:gd name="T114" fmla="*/ 117 w 292"/>
                <a:gd name="T115" fmla="*/ 19 h 241"/>
                <a:gd name="T116" fmla="*/ 103 w 292"/>
                <a:gd name="T117" fmla="*/ 18 h 241"/>
                <a:gd name="T118" fmla="*/ 98 w 292"/>
                <a:gd name="T119" fmla="*/ 44 h 241"/>
                <a:gd name="T120" fmla="*/ 77 w 292"/>
                <a:gd name="T121" fmla="*/ 42 h 241"/>
                <a:gd name="T122" fmla="*/ 87 w 292"/>
                <a:gd name="T123" fmla="*/ 2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41">
                  <a:moveTo>
                    <a:pt x="84" y="2"/>
                  </a:moveTo>
                  <a:lnTo>
                    <a:pt x="84" y="2"/>
                  </a:lnTo>
                  <a:lnTo>
                    <a:pt x="78" y="0"/>
                  </a:lnTo>
                  <a:lnTo>
                    <a:pt x="74" y="0"/>
                  </a:lnTo>
                  <a:lnTo>
                    <a:pt x="71" y="2"/>
                  </a:lnTo>
                  <a:lnTo>
                    <a:pt x="71" y="2"/>
                  </a:lnTo>
                  <a:lnTo>
                    <a:pt x="56" y="15"/>
                  </a:lnTo>
                  <a:lnTo>
                    <a:pt x="56" y="15"/>
                  </a:lnTo>
                  <a:lnTo>
                    <a:pt x="46" y="21"/>
                  </a:lnTo>
                  <a:lnTo>
                    <a:pt x="37" y="26"/>
                  </a:lnTo>
                  <a:lnTo>
                    <a:pt x="37" y="26"/>
                  </a:lnTo>
                  <a:lnTo>
                    <a:pt x="33" y="29"/>
                  </a:lnTo>
                  <a:lnTo>
                    <a:pt x="29" y="35"/>
                  </a:lnTo>
                  <a:lnTo>
                    <a:pt x="29" y="35"/>
                  </a:lnTo>
                  <a:lnTo>
                    <a:pt x="26" y="38"/>
                  </a:lnTo>
                  <a:lnTo>
                    <a:pt x="24" y="39"/>
                  </a:lnTo>
                  <a:lnTo>
                    <a:pt x="22" y="41"/>
                  </a:lnTo>
                  <a:lnTo>
                    <a:pt x="22" y="41"/>
                  </a:lnTo>
                  <a:lnTo>
                    <a:pt x="13" y="42"/>
                  </a:lnTo>
                  <a:lnTo>
                    <a:pt x="10" y="45"/>
                  </a:lnTo>
                  <a:lnTo>
                    <a:pt x="8" y="47"/>
                  </a:lnTo>
                  <a:lnTo>
                    <a:pt x="8" y="47"/>
                  </a:lnTo>
                  <a:lnTo>
                    <a:pt x="11" y="52"/>
                  </a:lnTo>
                  <a:lnTo>
                    <a:pt x="13" y="57"/>
                  </a:lnTo>
                  <a:lnTo>
                    <a:pt x="13" y="57"/>
                  </a:lnTo>
                  <a:lnTo>
                    <a:pt x="14" y="58"/>
                  </a:lnTo>
                  <a:lnTo>
                    <a:pt x="16" y="60"/>
                  </a:lnTo>
                  <a:lnTo>
                    <a:pt x="17" y="61"/>
                  </a:lnTo>
                  <a:lnTo>
                    <a:pt x="17" y="63"/>
                  </a:lnTo>
                  <a:lnTo>
                    <a:pt x="17" y="63"/>
                  </a:lnTo>
                  <a:lnTo>
                    <a:pt x="14" y="65"/>
                  </a:lnTo>
                  <a:lnTo>
                    <a:pt x="10" y="68"/>
                  </a:lnTo>
                  <a:lnTo>
                    <a:pt x="6" y="70"/>
                  </a:lnTo>
                  <a:lnTo>
                    <a:pt x="3" y="73"/>
                  </a:lnTo>
                  <a:lnTo>
                    <a:pt x="3" y="73"/>
                  </a:lnTo>
                  <a:lnTo>
                    <a:pt x="1" y="80"/>
                  </a:lnTo>
                  <a:lnTo>
                    <a:pt x="0" y="87"/>
                  </a:lnTo>
                  <a:lnTo>
                    <a:pt x="0" y="87"/>
                  </a:lnTo>
                  <a:lnTo>
                    <a:pt x="1" y="92"/>
                  </a:lnTo>
                  <a:lnTo>
                    <a:pt x="3" y="93"/>
                  </a:lnTo>
                  <a:lnTo>
                    <a:pt x="4" y="94"/>
                  </a:lnTo>
                  <a:lnTo>
                    <a:pt x="4" y="94"/>
                  </a:lnTo>
                  <a:lnTo>
                    <a:pt x="6" y="94"/>
                  </a:lnTo>
                  <a:lnTo>
                    <a:pt x="6" y="97"/>
                  </a:lnTo>
                  <a:lnTo>
                    <a:pt x="7" y="99"/>
                  </a:lnTo>
                  <a:lnTo>
                    <a:pt x="10" y="100"/>
                  </a:lnTo>
                  <a:lnTo>
                    <a:pt x="10" y="100"/>
                  </a:lnTo>
                  <a:lnTo>
                    <a:pt x="16" y="99"/>
                  </a:lnTo>
                  <a:lnTo>
                    <a:pt x="17" y="100"/>
                  </a:lnTo>
                  <a:lnTo>
                    <a:pt x="19" y="100"/>
                  </a:lnTo>
                  <a:lnTo>
                    <a:pt x="19" y="100"/>
                  </a:lnTo>
                  <a:lnTo>
                    <a:pt x="19" y="105"/>
                  </a:lnTo>
                  <a:lnTo>
                    <a:pt x="20" y="107"/>
                  </a:lnTo>
                  <a:lnTo>
                    <a:pt x="22" y="107"/>
                  </a:lnTo>
                  <a:lnTo>
                    <a:pt x="22" y="107"/>
                  </a:lnTo>
                  <a:lnTo>
                    <a:pt x="30" y="107"/>
                  </a:lnTo>
                  <a:lnTo>
                    <a:pt x="35" y="107"/>
                  </a:lnTo>
                  <a:lnTo>
                    <a:pt x="37" y="107"/>
                  </a:lnTo>
                  <a:lnTo>
                    <a:pt x="37" y="107"/>
                  </a:lnTo>
                  <a:lnTo>
                    <a:pt x="40" y="105"/>
                  </a:lnTo>
                  <a:lnTo>
                    <a:pt x="43" y="105"/>
                  </a:lnTo>
                  <a:lnTo>
                    <a:pt x="50" y="105"/>
                  </a:lnTo>
                  <a:lnTo>
                    <a:pt x="50" y="105"/>
                  </a:lnTo>
                  <a:lnTo>
                    <a:pt x="61" y="106"/>
                  </a:lnTo>
                  <a:lnTo>
                    <a:pt x="62" y="107"/>
                  </a:lnTo>
                  <a:lnTo>
                    <a:pt x="62" y="107"/>
                  </a:lnTo>
                  <a:lnTo>
                    <a:pt x="62" y="107"/>
                  </a:lnTo>
                  <a:lnTo>
                    <a:pt x="53" y="109"/>
                  </a:lnTo>
                  <a:lnTo>
                    <a:pt x="48" y="109"/>
                  </a:lnTo>
                  <a:lnTo>
                    <a:pt x="45" y="110"/>
                  </a:lnTo>
                  <a:lnTo>
                    <a:pt x="45" y="110"/>
                  </a:lnTo>
                  <a:lnTo>
                    <a:pt x="40" y="112"/>
                  </a:lnTo>
                  <a:lnTo>
                    <a:pt x="33" y="115"/>
                  </a:lnTo>
                  <a:lnTo>
                    <a:pt x="33" y="115"/>
                  </a:lnTo>
                  <a:lnTo>
                    <a:pt x="29" y="116"/>
                  </a:lnTo>
                  <a:lnTo>
                    <a:pt x="23" y="118"/>
                  </a:lnTo>
                  <a:lnTo>
                    <a:pt x="17" y="122"/>
                  </a:lnTo>
                  <a:lnTo>
                    <a:pt x="17" y="122"/>
                  </a:lnTo>
                  <a:lnTo>
                    <a:pt x="16" y="123"/>
                  </a:lnTo>
                  <a:lnTo>
                    <a:pt x="17" y="129"/>
                  </a:lnTo>
                  <a:lnTo>
                    <a:pt x="20" y="139"/>
                  </a:lnTo>
                  <a:lnTo>
                    <a:pt x="20" y="139"/>
                  </a:lnTo>
                  <a:lnTo>
                    <a:pt x="24" y="145"/>
                  </a:lnTo>
                  <a:lnTo>
                    <a:pt x="29" y="147"/>
                  </a:lnTo>
                  <a:lnTo>
                    <a:pt x="33" y="148"/>
                  </a:lnTo>
                  <a:lnTo>
                    <a:pt x="33" y="148"/>
                  </a:lnTo>
                  <a:lnTo>
                    <a:pt x="37" y="148"/>
                  </a:lnTo>
                  <a:lnTo>
                    <a:pt x="40" y="149"/>
                  </a:lnTo>
                  <a:lnTo>
                    <a:pt x="43" y="149"/>
                  </a:lnTo>
                  <a:lnTo>
                    <a:pt x="45" y="148"/>
                  </a:lnTo>
                  <a:lnTo>
                    <a:pt x="45" y="148"/>
                  </a:lnTo>
                  <a:lnTo>
                    <a:pt x="46" y="147"/>
                  </a:lnTo>
                  <a:lnTo>
                    <a:pt x="50" y="147"/>
                  </a:lnTo>
                  <a:lnTo>
                    <a:pt x="50" y="147"/>
                  </a:lnTo>
                  <a:lnTo>
                    <a:pt x="58" y="148"/>
                  </a:lnTo>
                  <a:lnTo>
                    <a:pt x="65" y="147"/>
                  </a:lnTo>
                  <a:lnTo>
                    <a:pt x="65" y="147"/>
                  </a:lnTo>
                  <a:lnTo>
                    <a:pt x="78" y="142"/>
                  </a:lnTo>
                  <a:lnTo>
                    <a:pt x="85" y="141"/>
                  </a:lnTo>
                  <a:lnTo>
                    <a:pt x="90" y="141"/>
                  </a:lnTo>
                  <a:lnTo>
                    <a:pt x="90" y="141"/>
                  </a:lnTo>
                  <a:lnTo>
                    <a:pt x="95" y="145"/>
                  </a:lnTo>
                  <a:lnTo>
                    <a:pt x="100" y="147"/>
                  </a:lnTo>
                  <a:lnTo>
                    <a:pt x="104" y="147"/>
                  </a:lnTo>
                  <a:lnTo>
                    <a:pt x="104" y="147"/>
                  </a:lnTo>
                  <a:lnTo>
                    <a:pt x="117" y="148"/>
                  </a:lnTo>
                  <a:lnTo>
                    <a:pt x="123" y="149"/>
                  </a:lnTo>
                  <a:lnTo>
                    <a:pt x="124" y="149"/>
                  </a:lnTo>
                  <a:lnTo>
                    <a:pt x="123" y="149"/>
                  </a:lnTo>
                  <a:lnTo>
                    <a:pt x="123" y="149"/>
                  </a:lnTo>
                  <a:lnTo>
                    <a:pt x="116" y="154"/>
                  </a:lnTo>
                  <a:lnTo>
                    <a:pt x="111" y="157"/>
                  </a:lnTo>
                  <a:lnTo>
                    <a:pt x="111" y="157"/>
                  </a:lnTo>
                  <a:lnTo>
                    <a:pt x="114" y="158"/>
                  </a:lnTo>
                  <a:lnTo>
                    <a:pt x="116" y="161"/>
                  </a:lnTo>
                  <a:lnTo>
                    <a:pt x="116" y="161"/>
                  </a:lnTo>
                  <a:lnTo>
                    <a:pt x="116" y="161"/>
                  </a:lnTo>
                  <a:lnTo>
                    <a:pt x="114" y="162"/>
                  </a:lnTo>
                  <a:lnTo>
                    <a:pt x="113" y="165"/>
                  </a:lnTo>
                  <a:lnTo>
                    <a:pt x="113" y="167"/>
                  </a:lnTo>
                  <a:lnTo>
                    <a:pt x="111" y="168"/>
                  </a:lnTo>
                  <a:lnTo>
                    <a:pt x="111" y="168"/>
                  </a:lnTo>
                  <a:lnTo>
                    <a:pt x="106" y="168"/>
                  </a:lnTo>
                  <a:lnTo>
                    <a:pt x="95" y="168"/>
                  </a:lnTo>
                  <a:lnTo>
                    <a:pt x="95" y="168"/>
                  </a:lnTo>
                  <a:lnTo>
                    <a:pt x="90" y="168"/>
                  </a:lnTo>
                  <a:lnTo>
                    <a:pt x="82" y="170"/>
                  </a:lnTo>
                  <a:lnTo>
                    <a:pt x="69" y="173"/>
                  </a:lnTo>
                  <a:lnTo>
                    <a:pt x="69" y="173"/>
                  </a:lnTo>
                  <a:lnTo>
                    <a:pt x="65" y="173"/>
                  </a:lnTo>
                  <a:lnTo>
                    <a:pt x="61" y="171"/>
                  </a:lnTo>
                  <a:lnTo>
                    <a:pt x="56" y="170"/>
                  </a:lnTo>
                  <a:lnTo>
                    <a:pt x="50" y="170"/>
                  </a:lnTo>
                  <a:lnTo>
                    <a:pt x="50" y="170"/>
                  </a:lnTo>
                  <a:lnTo>
                    <a:pt x="39" y="171"/>
                  </a:lnTo>
                  <a:lnTo>
                    <a:pt x="36" y="173"/>
                  </a:lnTo>
                  <a:lnTo>
                    <a:pt x="35" y="174"/>
                  </a:lnTo>
                  <a:lnTo>
                    <a:pt x="36" y="176"/>
                  </a:lnTo>
                  <a:lnTo>
                    <a:pt x="36" y="176"/>
                  </a:lnTo>
                  <a:lnTo>
                    <a:pt x="36" y="178"/>
                  </a:lnTo>
                  <a:lnTo>
                    <a:pt x="36" y="183"/>
                  </a:lnTo>
                  <a:lnTo>
                    <a:pt x="36" y="187"/>
                  </a:lnTo>
                  <a:lnTo>
                    <a:pt x="37" y="190"/>
                  </a:lnTo>
                  <a:lnTo>
                    <a:pt x="37" y="190"/>
                  </a:lnTo>
                  <a:lnTo>
                    <a:pt x="42" y="194"/>
                  </a:lnTo>
                  <a:lnTo>
                    <a:pt x="45" y="196"/>
                  </a:lnTo>
                  <a:lnTo>
                    <a:pt x="45" y="200"/>
                  </a:lnTo>
                  <a:lnTo>
                    <a:pt x="45" y="200"/>
                  </a:lnTo>
                  <a:lnTo>
                    <a:pt x="46" y="203"/>
                  </a:lnTo>
                  <a:lnTo>
                    <a:pt x="48" y="206"/>
                  </a:lnTo>
                  <a:lnTo>
                    <a:pt x="50" y="210"/>
                  </a:lnTo>
                  <a:lnTo>
                    <a:pt x="56" y="213"/>
                  </a:lnTo>
                  <a:lnTo>
                    <a:pt x="56" y="213"/>
                  </a:lnTo>
                  <a:lnTo>
                    <a:pt x="62" y="213"/>
                  </a:lnTo>
                  <a:lnTo>
                    <a:pt x="69" y="215"/>
                  </a:lnTo>
                  <a:lnTo>
                    <a:pt x="77" y="213"/>
                  </a:lnTo>
                  <a:lnTo>
                    <a:pt x="81" y="215"/>
                  </a:lnTo>
                  <a:lnTo>
                    <a:pt x="81" y="215"/>
                  </a:lnTo>
                  <a:lnTo>
                    <a:pt x="87" y="218"/>
                  </a:lnTo>
                  <a:lnTo>
                    <a:pt x="88" y="220"/>
                  </a:lnTo>
                  <a:lnTo>
                    <a:pt x="90" y="223"/>
                  </a:lnTo>
                  <a:lnTo>
                    <a:pt x="90" y="223"/>
                  </a:lnTo>
                  <a:lnTo>
                    <a:pt x="88" y="228"/>
                  </a:lnTo>
                  <a:lnTo>
                    <a:pt x="88" y="231"/>
                  </a:lnTo>
                  <a:lnTo>
                    <a:pt x="90" y="233"/>
                  </a:lnTo>
                  <a:lnTo>
                    <a:pt x="90" y="233"/>
                  </a:lnTo>
                  <a:lnTo>
                    <a:pt x="95" y="238"/>
                  </a:lnTo>
                  <a:lnTo>
                    <a:pt x="98" y="239"/>
                  </a:lnTo>
                  <a:lnTo>
                    <a:pt x="104" y="241"/>
                  </a:lnTo>
                  <a:lnTo>
                    <a:pt x="104" y="241"/>
                  </a:lnTo>
                  <a:lnTo>
                    <a:pt x="110" y="239"/>
                  </a:lnTo>
                  <a:lnTo>
                    <a:pt x="119" y="238"/>
                  </a:lnTo>
                  <a:lnTo>
                    <a:pt x="126" y="235"/>
                  </a:lnTo>
                  <a:lnTo>
                    <a:pt x="130" y="235"/>
                  </a:lnTo>
                  <a:lnTo>
                    <a:pt x="130" y="235"/>
                  </a:lnTo>
                  <a:lnTo>
                    <a:pt x="137" y="238"/>
                  </a:lnTo>
                  <a:lnTo>
                    <a:pt x="142" y="238"/>
                  </a:lnTo>
                  <a:lnTo>
                    <a:pt x="146" y="238"/>
                  </a:lnTo>
                  <a:lnTo>
                    <a:pt x="146" y="238"/>
                  </a:lnTo>
                  <a:lnTo>
                    <a:pt x="150" y="235"/>
                  </a:lnTo>
                  <a:lnTo>
                    <a:pt x="156" y="232"/>
                  </a:lnTo>
                  <a:lnTo>
                    <a:pt x="161" y="228"/>
                  </a:lnTo>
                  <a:lnTo>
                    <a:pt x="163" y="226"/>
                  </a:lnTo>
                  <a:lnTo>
                    <a:pt x="163" y="226"/>
                  </a:lnTo>
                  <a:lnTo>
                    <a:pt x="178" y="225"/>
                  </a:lnTo>
                  <a:lnTo>
                    <a:pt x="185" y="223"/>
                  </a:lnTo>
                  <a:lnTo>
                    <a:pt x="188" y="222"/>
                  </a:lnTo>
                  <a:lnTo>
                    <a:pt x="188" y="222"/>
                  </a:lnTo>
                  <a:lnTo>
                    <a:pt x="192" y="218"/>
                  </a:lnTo>
                  <a:lnTo>
                    <a:pt x="195" y="216"/>
                  </a:lnTo>
                  <a:lnTo>
                    <a:pt x="198" y="216"/>
                  </a:lnTo>
                  <a:lnTo>
                    <a:pt x="198" y="216"/>
                  </a:lnTo>
                  <a:lnTo>
                    <a:pt x="204" y="218"/>
                  </a:lnTo>
                  <a:lnTo>
                    <a:pt x="210" y="219"/>
                  </a:lnTo>
                  <a:lnTo>
                    <a:pt x="210" y="219"/>
                  </a:lnTo>
                  <a:lnTo>
                    <a:pt x="223" y="220"/>
                  </a:lnTo>
                  <a:lnTo>
                    <a:pt x="227" y="220"/>
                  </a:lnTo>
                  <a:lnTo>
                    <a:pt x="227" y="220"/>
                  </a:lnTo>
                  <a:lnTo>
                    <a:pt x="227" y="222"/>
                  </a:lnTo>
                  <a:lnTo>
                    <a:pt x="227" y="222"/>
                  </a:lnTo>
                  <a:lnTo>
                    <a:pt x="224" y="226"/>
                  </a:lnTo>
                  <a:lnTo>
                    <a:pt x="223" y="228"/>
                  </a:lnTo>
                  <a:lnTo>
                    <a:pt x="224" y="229"/>
                  </a:lnTo>
                  <a:lnTo>
                    <a:pt x="224" y="229"/>
                  </a:lnTo>
                  <a:lnTo>
                    <a:pt x="233" y="228"/>
                  </a:lnTo>
                  <a:lnTo>
                    <a:pt x="239" y="228"/>
                  </a:lnTo>
                  <a:lnTo>
                    <a:pt x="243" y="228"/>
                  </a:lnTo>
                  <a:lnTo>
                    <a:pt x="243" y="228"/>
                  </a:lnTo>
                  <a:lnTo>
                    <a:pt x="252" y="232"/>
                  </a:lnTo>
                  <a:lnTo>
                    <a:pt x="255" y="232"/>
                  </a:lnTo>
                  <a:lnTo>
                    <a:pt x="259" y="232"/>
                  </a:lnTo>
                  <a:lnTo>
                    <a:pt x="259" y="232"/>
                  </a:lnTo>
                  <a:lnTo>
                    <a:pt x="269" y="226"/>
                  </a:lnTo>
                  <a:lnTo>
                    <a:pt x="275" y="222"/>
                  </a:lnTo>
                  <a:lnTo>
                    <a:pt x="278" y="219"/>
                  </a:lnTo>
                  <a:lnTo>
                    <a:pt x="278" y="219"/>
                  </a:lnTo>
                  <a:lnTo>
                    <a:pt x="281" y="215"/>
                  </a:lnTo>
                  <a:lnTo>
                    <a:pt x="282" y="213"/>
                  </a:lnTo>
                  <a:lnTo>
                    <a:pt x="282" y="213"/>
                  </a:lnTo>
                  <a:lnTo>
                    <a:pt x="281" y="213"/>
                  </a:lnTo>
                  <a:lnTo>
                    <a:pt x="278" y="213"/>
                  </a:lnTo>
                  <a:lnTo>
                    <a:pt x="276" y="212"/>
                  </a:lnTo>
                  <a:lnTo>
                    <a:pt x="276" y="212"/>
                  </a:lnTo>
                  <a:lnTo>
                    <a:pt x="274" y="204"/>
                  </a:lnTo>
                  <a:lnTo>
                    <a:pt x="271" y="200"/>
                  </a:lnTo>
                  <a:lnTo>
                    <a:pt x="269" y="199"/>
                  </a:lnTo>
                  <a:lnTo>
                    <a:pt x="269" y="199"/>
                  </a:lnTo>
                  <a:lnTo>
                    <a:pt x="268" y="200"/>
                  </a:lnTo>
                  <a:lnTo>
                    <a:pt x="265" y="203"/>
                  </a:lnTo>
                  <a:lnTo>
                    <a:pt x="262" y="206"/>
                  </a:lnTo>
                  <a:lnTo>
                    <a:pt x="259" y="206"/>
                  </a:lnTo>
                  <a:lnTo>
                    <a:pt x="259" y="206"/>
                  </a:lnTo>
                  <a:lnTo>
                    <a:pt x="256" y="204"/>
                  </a:lnTo>
                  <a:lnTo>
                    <a:pt x="255" y="204"/>
                  </a:lnTo>
                  <a:lnTo>
                    <a:pt x="252" y="204"/>
                  </a:lnTo>
                  <a:lnTo>
                    <a:pt x="252" y="204"/>
                  </a:lnTo>
                  <a:lnTo>
                    <a:pt x="247" y="206"/>
                  </a:lnTo>
                  <a:lnTo>
                    <a:pt x="246" y="207"/>
                  </a:lnTo>
                  <a:lnTo>
                    <a:pt x="246" y="204"/>
                  </a:lnTo>
                  <a:lnTo>
                    <a:pt x="246" y="204"/>
                  </a:lnTo>
                  <a:lnTo>
                    <a:pt x="250" y="200"/>
                  </a:lnTo>
                  <a:lnTo>
                    <a:pt x="250" y="199"/>
                  </a:lnTo>
                  <a:lnTo>
                    <a:pt x="250" y="197"/>
                  </a:lnTo>
                  <a:lnTo>
                    <a:pt x="250" y="197"/>
                  </a:lnTo>
                  <a:lnTo>
                    <a:pt x="246" y="197"/>
                  </a:lnTo>
                  <a:lnTo>
                    <a:pt x="243" y="196"/>
                  </a:lnTo>
                  <a:lnTo>
                    <a:pt x="243" y="194"/>
                  </a:lnTo>
                  <a:lnTo>
                    <a:pt x="243" y="194"/>
                  </a:lnTo>
                  <a:lnTo>
                    <a:pt x="245" y="189"/>
                  </a:lnTo>
                  <a:lnTo>
                    <a:pt x="246" y="186"/>
                  </a:lnTo>
                  <a:lnTo>
                    <a:pt x="247" y="186"/>
                  </a:lnTo>
                  <a:lnTo>
                    <a:pt x="247" y="186"/>
                  </a:lnTo>
                  <a:lnTo>
                    <a:pt x="250" y="191"/>
                  </a:lnTo>
                  <a:lnTo>
                    <a:pt x="253" y="194"/>
                  </a:lnTo>
                  <a:lnTo>
                    <a:pt x="256" y="196"/>
                  </a:lnTo>
                  <a:lnTo>
                    <a:pt x="256" y="196"/>
                  </a:lnTo>
                  <a:lnTo>
                    <a:pt x="263" y="196"/>
                  </a:lnTo>
                  <a:lnTo>
                    <a:pt x="265" y="194"/>
                  </a:lnTo>
                  <a:lnTo>
                    <a:pt x="265" y="193"/>
                  </a:lnTo>
                  <a:lnTo>
                    <a:pt x="265" y="193"/>
                  </a:lnTo>
                  <a:lnTo>
                    <a:pt x="259" y="191"/>
                  </a:lnTo>
                  <a:lnTo>
                    <a:pt x="259" y="190"/>
                  </a:lnTo>
                  <a:lnTo>
                    <a:pt x="262" y="189"/>
                  </a:lnTo>
                  <a:lnTo>
                    <a:pt x="262" y="189"/>
                  </a:lnTo>
                  <a:lnTo>
                    <a:pt x="268" y="186"/>
                  </a:lnTo>
                  <a:lnTo>
                    <a:pt x="269" y="186"/>
                  </a:lnTo>
                  <a:lnTo>
                    <a:pt x="271" y="186"/>
                  </a:lnTo>
                  <a:lnTo>
                    <a:pt x="271" y="186"/>
                  </a:lnTo>
                  <a:lnTo>
                    <a:pt x="275" y="187"/>
                  </a:lnTo>
                  <a:lnTo>
                    <a:pt x="278" y="186"/>
                  </a:lnTo>
                  <a:lnTo>
                    <a:pt x="279" y="186"/>
                  </a:lnTo>
                  <a:lnTo>
                    <a:pt x="282" y="187"/>
                  </a:lnTo>
                  <a:lnTo>
                    <a:pt x="282" y="187"/>
                  </a:lnTo>
                  <a:lnTo>
                    <a:pt x="285" y="191"/>
                  </a:lnTo>
                  <a:lnTo>
                    <a:pt x="288" y="191"/>
                  </a:lnTo>
                  <a:lnTo>
                    <a:pt x="289" y="190"/>
                  </a:lnTo>
                  <a:lnTo>
                    <a:pt x="289" y="190"/>
                  </a:lnTo>
                  <a:lnTo>
                    <a:pt x="292" y="186"/>
                  </a:lnTo>
                  <a:lnTo>
                    <a:pt x="292" y="184"/>
                  </a:lnTo>
                  <a:lnTo>
                    <a:pt x="291" y="183"/>
                  </a:lnTo>
                  <a:lnTo>
                    <a:pt x="291" y="183"/>
                  </a:lnTo>
                  <a:lnTo>
                    <a:pt x="287" y="180"/>
                  </a:lnTo>
                  <a:lnTo>
                    <a:pt x="285" y="178"/>
                  </a:lnTo>
                  <a:lnTo>
                    <a:pt x="287" y="177"/>
                  </a:lnTo>
                  <a:lnTo>
                    <a:pt x="287" y="177"/>
                  </a:lnTo>
                  <a:lnTo>
                    <a:pt x="291" y="176"/>
                  </a:lnTo>
                  <a:lnTo>
                    <a:pt x="291" y="174"/>
                  </a:lnTo>
                  <a:lnTo>
                    <a:pt x="291" y="173"/>
                  </a:lnTo>
                  <a:lnTo>
                    <a:pt x="291" y="173"/>
                  </a:lnTo>
                  <a:lnTo>
                    <a:pt x="287" y="168"/>
                  </a:lnTo>
                  <a:lnTo>
                    <a:pt x="284" y="167"/>
                  </a:lnTo>
                  <a:lnTo>
                    <a:pt x="281" y="168"/>
                  </a:lnTo>
                  <a:lnTo>
                    <a:pt x="281" y="168"/>
                  </a:lnTo>
                  <a:lnTo>
                    <a:pt x="276" y="171"/>
                  </a:lnTo>
                  <a:lnTo>
                    <a:pt x="274" y="173"/>
                  </a:lnTo>
                  <a:lnTo>
                    <a:pt x="272" y="171"/>
                  </a:lnTo>
                  <a:lnTo>
                    <a:pt x="272" y="171"/>
                  </a:lnTo>
                  <a:lnTo>
                    <a:pt x="265" y="162"/>
                  </a:lnTo>
                  <a:lnTo>
                    <a:pt x="265" y="162"/>
                  </a:lnTo>
                  <a:lnTo>
                    <a:pt x="259" y="154"/>
                  </a:lnTo>
                  <a:lnTo>
                    <a:pt x="256" y="149"/>
                  </a:lnTo>
                  <a:lnTo>
                    <a:pt x="253" y="148"/>
                  </a:lnTo>
                  <a:lnTo>
                    <a:pt x="253" y="148"/>
                  </a:lnTo>
                  <a:lnTo>
                    <a:pt x="242" y="141"/>
                  </a:lnTo>
                  <a:lnTo>
                    <a:pt x="237" y="136"/>
                  </a:lnTo>
                  <a:lnTo>
                    <a:pt x="233" y="132"/>
                  </a:lnTo>
                  <a:lnTo>
                    <a:pt x="233" y="132"/>
                  </a:lnTo>
                  <a:lnTo>
                    <a:pt x="232" y="120"/>
                  </a:lnTo>
                  <a:lnTo>
                    <a:pt x="230" y="100"/>
                  </a:lnTo>
                  <a:lnTo>
                    <a:pt x="230" y="70"/>
                  </a:lnTo>
                  <a:lnTo>
                    <a:pt x="230" y="70"/>
                  </a:lnTo>
                  <a:lnTo>
                    <a:pt x="227" y="47"/>
                  </a:lnTo>
                  <a:lnTo>
                    <a:pt x="227" y="47"/>
                  </a:lnTo>
                  <a:lnTo>
                    <a:pt x="227" y="44"/>
                  </a:lnTo>
                  <a:lnTo>
                    <a:pt x="226" y="41"/>
                  </a:lnTo>
                  <a:lnTo>
                    <a:pt x="221" y="34"/>
                  </a:lnTo>
                  <a:lnTo>
                    <a:pt x="221" y="34"/>
                  </a:lnTo>
                  <a:lnTo>
                    <a:pt x="208" y="15"/>
                  </a:lnTo>
                  <a:lnTo>
                    <a:pt x="208" y="15"/>
                  </a:lnTo>
                  <a:lnTo>
                    <a:pt x="203" y="8"/>
                  </a:lnTo>
                  <a:lnTo>
                    <a:pt x="198" y="5"/>
                  </a:lnTo>
                  <a:lnTo>
                    <a:pt x="197" y="5"/>
                  </a:lnTo>
                  <a:lnTo>
                    <a:pt x="197" y="5"/>
                  </a:lnTo>
                  <a:lnTo>
                    <a:pt x="195" y="10"/>
                  </a:lnTo>
                  <a:lnTo>
                    <a:pt x="194" y="12"/>
                  </a:lnTo>
                  <a:lnTo>
                    <a:pt x="191" y="12"/>
                  </a:lnTo>
                  <a:lnTo>
                    <a:pt x="191" y="12"/>
                  </a:lnTo>
                  <a:lnTo>
                    <a:pt x="184" y="8"/>
                  </a:lnTo>
                  <a:lnTo>
                    <a:pt x="179" y="6"/>
                  </a:lnTo>
                  <a:lnTo>
                    <a:pt x="179" y="6"/>
                  </a:lnTo>
                  <a:lnTo>
                    <a:pt x="179" y="6"/>
                  </a:lnTo>
                  <a:lnTo>
                    <a:pt x="179" y="6"/>
                  </a:lnTo>
                  <a:lnTo>
                    <a:pt x="181" y="12"/>
                  </a:lnTo>
                  <a:lnTo>
                    <a:pt x="181" y="13"/>
                  </a:lnTo>
                  <a:lnTo>
                    <a:pt x="181" y="15"/>
                  </a:lnTo>
                  <a:lnTo>
                    <a:pt x="181" y="15"/>
                  </a:lnTo>
                  <a:lnTo>
                    <a:pt x="178" y="16"/>
                  </a:lnTo>
                  <a:lnTo>
                    <a:pt x="178" y="18"/>
                  </a:lnTo>
                  <a:lnTo>
                    <a:pt x="178" y="21"/>
                  </a:lnTo>
                  <a:lnTo>
                    <a:pt x="178" y="21"/>
                  </a:lnTo>
                  <a:lnTo>
                    <a:pt x="181" y="31"/>
                  </a:lnTo>
                  <a:lnTo>
                    <a:pt x="185" y="41"/>
                  </a:lnTo>
                  <a:lnTo>
                    <a:pt x="185" y="41"/>
                  </a:lnTo>
                  <a:lnTo>
                    <a:pt x="187" y="57"/>
                  </a:lnTo>
                  <a:lnTo>
                    <a:pt x="188" y="67"/>
                  </a:lnTo>
                  <a:lnTo>
                    <a:pt x="188" y="73"/>
                  </a:lnTo>
                  <a:lnTo>
                    <a:pt x="188" y="73"/>
                  </a:lnTo>
                  <a:lnTo>
                    <a:pt x="190" y="86"/>
                  </a:lnTo>
                  <a:lnTo>
                    <a:pt x="190" y="94"/>
                  </a:lnTo>
                  <a:lnTo>
                    <a:pt x="190" y="94"/>
                  </a:lnTo>
                  <a:lnTo>
                    <a:pt x="187" y="97"/>
                  </a:lnTo>
                  <a:lnTo>
                    <a:pt x="182" y="97"/>
                  </a:lnTo>
                  <a:lnTo>
                    <a:pt x="182" y="97"/>
                  </a:lnTo>
                  <a:lnTo>
                    <a:pt x="178" y="96"/>
                  </a:lnTo>
                  <a:lnTo>
                    <a:pt x="175" y="94"/>
                  </a:lnTo>
                  <a:lnTo>
                    <a:pt x="175" y="94"/>
                  </a:lnTo>
                  <a:lnTo>
                    <a:pt x="168" y="45"/>
                  </a:lnTo>
                  <a:lnTo>
                    <a:pt x="168" y="45"/>
                  </a:lnTo>
                  <a:lnTo>
                    <a:pt x="166" y="41"/>
                  </a:lnTo>
                  <a:lnTo>
                    <a:pt x="161" y="35"/>
                  </a:lnTo>
                  <a:lnTo>
                    <a:pt x="155" y="28"/>
                  </a:lnTo>
                  <a:lnTo>
                    <a:pt x="152" y="23"/>
                  </a:lnTo>
                  <a:lnTo>
                    <a:pt x="152" y="23"/>
                  </a:lnTo>
                  <a:lnTo>
                    <a:pt x="150" y="21"/>
                  </a:lnTo>
                  <a:lnTo>
                    <a:pt x="149" y="18"/>
                  </a:lnTo>
                  <a:lnTo>
                    <a:pt x="143" y="15"/>
                  </a:lnTo>
                  <a:lnTo>
                    <a:pt x="136" y="10"/>
                  </a:lnTo>
                  <a:lnTo>
                    <a:pt x="133" y="10"/>
                  </a:lnTo>
                  <a:lnTo>
                    <a:pt x="133" y="10"/>
                  </a:lnTo>
                  <a:lnTo>
                    <a:pt x="132" y="13"/>
                  </a:lnTo>
                  <a:lnTo>
                    <a:pt x="133" y="16"/>
                  </a:lnTo>
                  <a:lnTo>
                    <a:pt x="134" y="21"/>
                  </a:lnTo>
                  <a:lnTo>
                    <a:pt x="137" y="23"/>
                  </a:lnTo>
                  <a:lnTo>
                    <a:pt x="137" y="23"/>
                  </a:lnTo>
                  <a:lnTo>
                    <a:pt x="140" y="25"/>
                  </a:lnTo>
                  <a:lnTo>
                    <a:pt x="143" y="26"/>
                  </a:lnTo>
                  <a:lnTo>
                    <a:pt x="146" y="28"/>
                  </a:lnTo>
                  <a:lnTo>
                    <a:pt x="148" y="32"/>
                  </a:lnTo>
                  <a:lnTo>
                    <a:pt x="148" y="32"/>
                  </a:lnTo>
                  <a:lnTo>
                    <a:pt x="149" y="38"/>
                  </a:lnTo>
                  <a:lnTo>
                    <a:pt x="150" y="41"/>
                  </a:lnTo>
                  <a:lnTo>
                    <a:pt x="152" y="44"/>
                  </a:lnTo>
                  <a:lnTo>
                    <a:pt x="149" y="45"/>
                  </a:lnTo>
                  <a:lnTo>
                    <a:pt x="149" y="45"/>
                  </a:lnTo>
                  <a:lnTo>
                    <a:pt x="142" y="44"/>
                  </a:lnTo>
                  <a:lnTo>
                    <a:pt x="139" y="42"/>
                  </a:lnTo>
                  <a:lnTo>
                    <a:pt x="136" y="44"/>
                  </a:lnTo>
                  <a:lnTo>
                    <a:pt x="136" y="44"/>
                  </a:lnTo>
                  <a:lnTo>
                    <a:pt x="130" y="45"/>
                  </a:lnTo>
                  <a:lnTo>
                    <a:pt x="124" y="48"/>
                  </a:lnTo>
                  <a:lnTo>
                    <a:pt x="120" y="51"/>
                  </a:lnTo>
                  <a:lnTo>
                    <a:pt x="117" y="51"/>
                  </a:lnTo>
                  <a:lnTo>
                    <a:pt x="116" y="51"/>
                  </a:lnTo>
                  <a:lnTo>
                    <a:pt x="116" y="51"/>
                  </a:lnTo>
                  <a:lnTo>
                    <a:pt x="116" y="50"/>
                  </a:lnTo>
                  <a:lnTo>
                    <a:pt x="116" y="47"/>
                  </a:lnTo>
                  <a:lnTo>
                    <a:pt x="121" y="42"/>
                  </a:lnTo>
                  <a:lnTo>
                    <a:pt x="127" y="36"/>
                  </a:lnTo>
                  <a:lnTo>
                    <a:pt x="129" y="34"/>
                  </a:lnTo>
                  <a:lnTo>
                    <a:pt x="129" y="31"/>
                  </a:lnTo>
                  <a:lnTo>
                    <a:pt x="129" y="31"/>
                  </a:lnTo>
                  <a:lnTo>
                    <a:pt x="126" y="26"/>
                  </a:lnTo>
                  <a:lnTo>
                    <a:pt x="123" y="25"/>
                  </a:lnTo>
                  <a:lnTo>
                    <a:pt x="119" y="22"/>
                  </a:lnTo>
                  <a:lnTo>
                    <a:pt x="117" y="19"/>
                  </a:lnTo>
                  <a:lnTo>
                    <a:pt x="117" y="19"/>
                  </a:lnTo>
                  <a:lnTo>
                    <a:pt x="114" y="16"/>
                  </a:lnTo>
                  <a:lnTo>
                    <a:pt x="110" y="13"/>
                  </a:lnTo>
                  <a:lnTo>
                    <a:pt x="107" y="12"/>
                  </a:lnTo>
                  <a:lnTo>
                    <a:pt x="104" y="13"/>
                  </a:lnTo>
                  <a:lnTo>
                    <a:pt x="104" y="13"/>
                  </a:lnTo>
                  <a:lnTo>
                    <a:pt x="103" y="15"/>
                  </a:lnTo>
                  <a:lnTo>
                    <a:pt x="103" y="18"/>
                  </a:lnTo>
                  <a:lnTo>
                    <a:pt x="104" y="21"/>
                  </a:lnTo>
                  <a:lnTo>
                    <a:pt x="104" y="23"/>
                  </a:lnTo>
                  <a:lnTo>
                    <a:pt x="104" y="23"/>
                  </a:lnTo>
                  <a:lnTo>
                    <a:pt x="101" y="35"/>
                  </a:lnTo>
                  <a:lnTo>
                    <a:pt x="100" y="41"/>
                  </a:lnTo>
                  <a:lnTo>
                    <a:pt x="98" y="44"/>
                  </a:lnTo>
                  <a:lnTo>
                    <a:pt x="98" y="44"/>
                  </a:lnTo>
                  <a:lnTo>
                    <a:pt x="98" y="44"/>
                  </a:lnTo>
                  <a:lnTo>
                    <a:pt x="92" y="41"/>
                  </a:lnTo>
                  <a:lnTo>
                    <a:pt x="88" y="39"/>
                  </a:lnTo>
                  <a:lnTo>
                    <a:pt x="88" y="39"/>
                  </a:lnTo>
                  <a:lnTo>
                    <a:pt x="82" y="42"/>
                  </a:lnTo>
                  <a:lnTo>
                    <a:pt x="79" y="44"/>
                  </a:lnTo>
                  <a:lnTo>
                    <a:pt x="77" y="42"/>
                  </a:lnTo>
                  <a:lnTo>
                    <a:pt x="77" y="42"/>
                  </a:lnTo>
                  <a:lnTo>
                    <a:pt x="77" y="39"/>
                  </a:lnTo>
                  <a:lnTo>
                    <a:pt x="77" y="38"/>
                  </a:lnTo>
                  <a:lnTo>
                    <a:pt x="78" y="32"/>
                  </a:lnTo>
                  <a:lnTo>
                    <a:pt x="84" y="25"/>
                  </a:lnTo>
                  <a:lnTo>
                    <a:pt x="84" y="25"/>
                  </a:lnTo>
                  <a:lnTo>
                    <a:pt x="87" y="22"/>
                  </a:lnTo>
                  <a:lnTo>
                    <a:pt x="88" y="19"/>
                  </a:lnTo>
                  <a:lnTo>
                    <a:pt x="88" y="16"/>
                  </a:lnTo>
                  <a:lnTo>
                    <a:pt x="88" y="16"/>
                  </a:lnTo>
                  <a:lnTo>
                    <a:pt x="87" y="8"/>
                  </a:lnTo>
                  <a:lnTo>
                    <a:pt x="85" y="5"/>
                  </a:lnTo>
                  <a:lnTo>
                    <a:pt x="84" y="2"/>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50" name="Freeform 1395"/>
            <p:cNvSpPr>
              <a:spLocks/>
            </p:cNvSpPr>
            <p:nvPr/>
          </p:nvSpPr>
          <p:spPr bwMode="auto">
            <a:xfrm>
              <a:off x="1255713" y="1954641"/>
              <a:ext cx="463550" cy="382588"/>
            </a:xfrm>
            <a:custGeom>
              <a:avLst/>
              <a:gdLst>
                <a:gd name="T0" fmla="*/ 56 w 292"/>
                <a:gd name="T1" fmla="*/ 15 h 241"/>
                <a:gd name="T2" fmla="*/ 29 w 292"/>
                <a:gd name="T3" fmla="*/ 35 h 241"/>
                <a:gd name="T4" fmla="*/ 8 w 292"/>
                <a:gd name="T5" fmla="*/ 47 h 241"/>
                <a:gd name="T6" fmla="*/ 17 w 292"/>
                <a:gd name="T7" fmla="*/ 61 h 241"/>
                <a:gd name="T8" fmla="*/ 3 w 292"/>
                <a:gd name="T9" fmla="*/ 73 h 241"/>
                <a:gd name="T10" fmla="*/ 4 w 292"/>
                <a:gd name="T11" fmla="*/ 94 h 241"/>
                <a:gd name="T12" fmla="*/ 17 w 292"/>
                <a:gd name="T13" fmla="*/ 100 h 241"/>
                <a:gd name="T14" fmla="*/ 30 w 292"/>
                <a:gd name="T15" fmla="*/ 107 h 241"/>
                <a:gd name="T16" fmla="*/ 50 w 292"/>
                <a:gd name="T17" fmla="*/ 105 h 241"/>
                <a:gd name="T18" fmla="*/ 45 w 292"/>
                <a:gd name="T19" fmla="*/ 110 h 241"/>
                <a:gd name="T20" fmla="*/ 17 w 292"/>
                <a:gd name="T21" fmla="*/ 122 h 241"/>
                <a:gd name="T22" fmla="*/ 29 w 292"/>
                <a:gd name="T23" fmla="*/ 147 h 241"/>
                <a:gd name="T24" fmla="*/ 45 w 292"/>
                <a:gd name="T25" fmla="*/ 148 h 241"/>
                <a:gd name="T26" fmla="*/ 78 w 292"/>
                <a:gd name="T27" fmla="*/ 142 h 241"/>
                <a:gd name="T28" fmla="*/ 104 w 292"/>
                <a:gd name="T29" fmla="*/ 147 h 241"/>
                <a:gd name="T30" fmla="*/ 111 w 292"/>
                <a:gd name="T31" fmla="*/ 157 h 241"/>
                <a:gd name="T32" fmla="*/ 113 w 292"/>
                <a:gd name="T33" fmla="*/ 165 h 241"/>
                <a:gd name="T34" fmla="*/ 90 w 292"/>
                <a:gd name="T35" fmla="*/ 168 h 241"/>
                <a:gd name="T36" fmla="*/ 50 w 292"/>
                <a:gd name="T37" fmla="*/ 170 h 241"/>
                <a:gd name="T38" fmla="*/ 36 w 292"/>
                <a:gd name="T39" fmla="*/ 178 h 241"/>
                <a:gd name="T40" fmla="*/ 45 w 292"/>
                <a:gd name="T41" fmla="*/ 200 h 241"/>
                <a:gd name="T42" fmla="*/ 62 w 292"/>
                <a:gd name="T43" fmla="*/ 213 h 241"/>
                <a:gd name="T44" fmla="*/ 90 w 292"/>
                <a:gd name="T45" fmla="*/ 223 h 241"/>
                <a:gd name="T46" fmla="*/ 98 w 292"/>
                <a:gd name="T47" fmla="*/ 239 h 241"/>
                <a:gd name="T48" fmla="*/ 130 w 292"/>
                <a:gd name="T49" fmla="*/ 235 h 241"/>
                <a:gd name="T50" fmla="*/ 161 w 292"/>
                <a:gd name="T51" fmla="*/ 228 h 241"/>
                <a:gd name="T52" fmla="*/ 192 w 292"/>
                <a:gd name="T53" fmla="*/ 218 h 241"/>
                <a:gd name="T54" fmla="*/ 223 w 292"/>
                <a:gd name="T55" fmla="*/ 220 h 241"/>
                <a:gd name="T56" fmla="*/ 224 w 292"/>
                <a:gd name="T57" fmla="*/ 229 h 241"/>
                <a:gd name="T58" fmla="*/ 255 w 292"/>
                <a:gd name="T59" fmla="*/ 232 h 241"/>
                <a:gd name="T60" fmla="*/ 281 w 292"/>
                <a:gd name="T61" fmla="*/ 215 h 241"/>
                <a:gd name="T62" fmla="*/ 274 w 292"/>
                <a:gd name="T63" fmla="*/ 204 h 241"/>
                <a:gd name="T64" fmla="*/ 259 w 292"/>
                <a:gd name="T65" fmla="*/ 206 h 241"/>
                <a:gd name="T66" fmla="*/ 246 w 292"/>
                <a:gd name="T67" fmla="*/ 207 h 241"/>
                <a:gd name="T68" fmla="*/ 246 w 292"/>
                <a:gd name="T69" fmla="*/ 197 h 241"/>
                <a:gd name="T70" fmla="*/ 247 w 292"/>
                <a:gd name="T71" fmla="*/ 186 h 241"/>
                <a:gd name="T72" fmla="*/ 265 w 292"/>
                <a:gd name="T73" fmla="*/ 193 h 241"/>
                <a:gd name="T74" fmla="*/ 269 w 292"/>
                <a:gd name="T75" fmla="*/ 186 h 241"/>
                <a:gd name="T76" fmla="*/ 282 w 292"/>
                <a:gd name="T77" fmla="*/ 187 h 241"/>
                <a:gd name="T78" fmla="*/ 291 w 292"/>
                <a:gd name="T79" fmla="*/ 183 h 241"/>
                <a:gd name="T80" fmla="*/ 291 w 292"/>
                <a:gd name="T81" fmla="*/ 174 h 241"/>
                <a:gd name="T82" fmla="*/ 276 w 292"/>
                <a:gd name="T83" fmla="*/ 171 h 241"/>
                <a:gd name="T84" fmla="*/ 256 w 292"/>
                <a:gd name="T85" fmla="*/ 149 h 241"/>
                <a:gd name="T86" fmla="*/ 232 w 292"/>
                <a:gd name="T87" fmla="*/ 120 h 241"/>
                <a:gd name="T88" fmla="*/ 226 w 292"/>
                <a:gd name="T89" fmla="*/ 41 h 241"/>
                <a:gd name="T90" fmla="*/ 197 w 292"/>
                <a:gd name="T91" fmla="*/ 5 h 241"/>
                <a:gd name="T92" fmla="*/ 179 w 292"/>
                <a:gd name="T93" fmla="*/ 6 h 241"/>
                <a:gd name="T94" fmla="*/ 181 w 292"/>
                <a:gd name="T95" fmla="*/ 15 h 241"/>
                <a:gd name="T96" fmla="*/ 185 w 292"/>
                <a:gd name="T97" fmla="*/ 41 h 241"/>
                <a:gd name="T98" fmla="*/ 190 w 292"/>
                <a:gd name="T99" fmla="*/ 94 h 241"/>
                <a:gd name="T100" fmla="*/ 168 w 292"/>
                <a:gd name="T101" fmla="*/ 45 h 241"/>
                <a:gd name="T102" fmla="*/ 150 w 292"/>
                <a:gd name="T103" fmla="*/ 21 h 241"/>
                <a:gd name="T104" fmla="*/ 133 w 292"/>
                <a:gd name="T105" fmla="*/ 16 h 241"/>
                <a:gd name="T106" fmla="*/ 148 w 292"/>
                <a:gd name="T107" fmla="*/ 32 h 241"/>
                <a:gd name="T108" fmla="*/ 142 w 292"/>
                <a:gd name="T109" fmla="*/ 44 h 241"/>
                <a:gd name="T110" fmla="*/ 117 w 292"/>
                <a:gd name="T111" fmla="*/ 51 h 241"/>
                <a:gd name="T112" fmla="*/ 129 w 292"/>
                <a:gd name="T113" fmla="*/ 34 h 241"/>
                <a:gd name="T114" fmla="*/ 117 w 292"/>
                <a:gd name="T115" fmla="*/ 19 h 241"/>
                <a:gd name="T116" fmla="*/ 103 w 292"/>
                <a:gd name="T117" fmla="*/ 18 h 241"/>
                <a:gd name="T118" fmla="*/ 98 w 292"/>
                <a:gd name="T119" fmla="*/ 44 h 241"/>
                <a:gd name="T120" fmla="*/ 77 w 292"/>
                <a:gd name="T121" fmla="*/ 42 h 241"/>
                <a:gd name="T122" fmla="*/ 87 w 292"/>
                <a:gd name="T123" fmla="*/ 2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41">
                  <a:moveTo>
                    <a:pt x="84" y="2"/>
                  </a:moveTo>
                  <a:lnTo>
                    <a:pt x="84" y="2"/>
                  </a:lnTo>
                  <a:lnTo>
                    <a:pt x="78" y="0"/>
                  </a:lnTo>
                  <a:lnTo>
                    <a:pt x="74" y="0"/>
                  </a:lnTo>
                  <a:lnTo>
                    <a:pt x="71" y="2"/>
                  </a:lnTo>
                  <a:lnTo>
                    <a:pt x="71" y="2"/>
                  </a:lnTo>
                  <a:lnTo>
                    <a:pt x="56" y="15"/>
                  </a:lnTo>
                  <a:lnTo>
                    <a:pt x="56" y="15"/>
                  </a:lnTo>
                  <a:lnTo>
                    <a:pt x="46" y="21"/>
                  </a:lnTo>
                  <a:lnTo>
                    <a:pt x="37" y="26"/>
                  </a:lnTo>
                  <a:lnTo>
                    <a:pt x="37" y="26"/>
                  </a:lnTo>
                  <a:lnTo>
                    <a:pt x="33" y="29"/>
                  </a:lnTo>
                  <a:lnTo>
                    <a:pt x="29" y="35"/>
                  </a:lnTo>
                  <a:lnTo>
                    <a:pt x="29" y="35"/>
                  </a:lnTo>
                  <a:lnTo>
                    <a:pt x="26" y="38"/>
                  </a:lnTo>
                  <a:lnTo>
                    <a:pt x="24" y="39"/>
                  </a:lnTo>
                  <a:lnTo>
                    <a:pt x="22" y="41"/>
                  </a:lnTo>
                  <a:lnTo>
                    <a:pt x="22" y="41"/>
                  </a:lnTo>
                  <a:lnTo>
                    <a:pt x="13" y="42"/>
                  </a:lnTo>
                  <a:lnTo>
                    <a:pt x="10" y="45"/>
                  </a:lnTo>
                  <a:lnTo>
                    <a:pt x="8" y="47"/>
                  </a:lnTo>
                  <a:lnTo>
                    <a:pt x="8" y="47"/>
                  </a:lnTo>
                  <a:lnTo>
                    <a:pt x="11" y="52"/>
                  </a:lnTo>
                  <a:lnTo>
                    <a:pt x="13" y="57"/>
                  </a:lnTo>
                  <a:lnTo>
                    <a:pt x="13" y="57"/>
                  </a:lnTo>
                  <a:lnTo>
                    <a:pt x="14" y="58"/>
                  </a:lnTo>
                  <a:lnTo>
                    <a:pt x="16" y="60"/>
                  </a:lnTo>
                  <a:lnTo>
                    <a:pt x="17" y="61"/>
                  </a:lnTo>
                  <a:lnTo>
                    <a:pt x="17" y="63"/>
                  </a:lnTo>
                  <a:lnTo>
                    <a:pt x="17" y="63"/>
                  </a:lnTo>
                  <a:lnTo>
                    <a:pt x="14" y="65"/>
                  </a:lnTo>
                  <a:lnTo>
                    <a:pt x="10" y="68"/>
                  </a:lnTo>
                  <a:lnTo>
                    <a:pt x="6" y="70"/>
                  </a:lnTo>
                  <a:lnTo>
                    <a:pt x="3" y="73"/>
                  </a:lnTo>
                  <a:lnTo>
                    <a:pt x="3" y="73"/>
                  </a:lnTo>
                  <a:lnTo>
                    <a:pt x="1" y="80"/>
                  </a:lnTo>
                  <a:lnTo>
                    <a:pt x="0" y="87"/>
                  </a:lnTo>
                  <a:lnTo>
                    <a:pt x="0" y="87"/>
                  </a:lnTo>
                  <a:lnTo>
                    <a:pt x="1" y="92"/>
                  </a:lnTo>
                  <a:lnTo>
                    <a:pt x="3" y="93"/>
                  </a:lnTo>
                  <a:lnTo>
                    <a:pt x="4" y="94"/>
                  </a:lnTo>
                  <a:lnTo>
                    <a:pt x="4" y="94"/>
                  </a:lnTo>
                  <a:lnTo>
                    <a:pt x="6" y="94"/>
                  </a:lnTo>
                  <a:lnTo>
                    <a:pt x="6" y="97"/>
                  </a:lnTo>
                  <a:lnTo>
                    <a:pt x="7" y="99"/>
                  </a:lnTo>
                  <a:lnTo>
                    <a:pt x="10" y="100"/>
                  </a:lnTo>
                  <a:lnTo>
                    <a:pt x="10" y="100"/>
                  </a:lnTo>
                  <a:lnTo>
                    <a:pt x="16" y="99"/>
                  </a:lnTo>
                  <a:lnTo>
                    <a:pt x="17" y="100"/>
                  </a:lnTo>
                  <a:lnTo>
                    <a:pt x="19" y="100"/>
                  </a:lnTo>
                  <a:lnTo>
                    <a:pt x="19" y="100"/>
                  </a:lnTo>
                  <a:lnTo>
                    <a:pt x="19" y="105"/>
                  </a:lnTo>
                  <a:lnTo>
                    <a:pt x="20" y="107"/>
                  </a:lnTo>
                  <a:lnTo>
                    <a:pt x="22" y="107"/>
                  </a:lnTo>
                  <a:lnTo>
                    <a:pt x="22" y="107"/>
                  </a:lnTo>
                  <a:lnTo>
                    <a:pt x="30" y="107"/>
                  </a:lnTo>
                  <a:lnTo>
                    <a:pt x="35" y="107"/>
                  </a:lnTo>
                  <a:lnTo>
                    <a:pt x="37" y="107"/>
                  </a:lnTo>
                  <a:lnTo>
                    <a:pt x="37" y="107"/>
                  </a:lnTo>
                  <a:lnTo>
                    <a:pt x="40" y="105"/>
                  </a:lnTo>
                  <a:lnTo>
                    <a:pt x="43" y="105"/>
                  </a:lnTo>
                  <a:lnTo>
                    <a:pt x="50" y="105"/>
                  </a:lnTo>
                  <a:lnTo>
                    <a:pt x="50" y="105"/>
                  </a:lnTo>
                  <a:lnTo>
                    <a:pt x="61" y="106"/>
                  </a:lnTo>
                  <a:lnTo>
                    <a:pt x="62" y="107"/>
                  </a:lnTo>
                  <a:lnTo>
                    <a:pt x="62" y="107"/>
                  </a:lnTo>
                  <a:lnTo>
                    <a:pt x="62" y="107"/>
                  </a:lnTo>
                  <a:lnTo>
                    <a:pt x="53" y="109"/>
                  </a:lnTo>
                  <a:lnTo>
                    <a:pt x="48" y="109"/>
                  </a:lnTo>
                  <a:lnTo>
                    <a:pt x="45" y="110"/>
                  </a:lnTo>
                  <a:lnTo>
                    <a:pt x="45" y="110"/>
                  </a:lnTo>
                  <a:lnTo>
                    <a:pt x="40" y="112"/>
                  </a:lnTo>
                  <a:lnTo>
                    <a:pt x="33" y="115"/>
                  </a:lnTo>
                  <a:lnTo>
                    <a:pt x="33" y="115"/>
                  </a:lnTo>
                  <a:lnTo>
                    <a:pt x="29" y="116"/>
                  </a:lnTo>
                  <a:lnTo>
                    <a:pt x="23" y="118"/>
                  </a:lnTo>
                  <a:lnTo>
                    <a:pt x="17" y="122"/>
                  </a:lnTo>
                  <a:lnTo>
                    <a:pt x="17" y="122"/>
                  </a:lnTo>
                  <a:lnTo>
                    <a:pt x="16" y="123"/>
                  </a:lnTo>
                  <a:lnTo>
                    <a:pt x="17" y="129"/>
                  </a:lnTo>
                  <a:lnTo>
                    <a:pt x="20" y="139"/>
                  </a:lnTo>
                  <a:lnTo>
                    <a:pt x="20" y="139"/>
                  </a:lnTo>
                  <a:lnTo>
                    <a:pt x="24" y="145"/>
                  </a:lnTo>
                  <a:lnTo>
                    <a:pt x="29" y="147"/>
                  </a:lnTo>
                  <a:lnTo>
                    <a:pt x="33" y="148"/>
                  </a:lnTo>
                  <a:lnTo>
                    <a:pt x="33" y="148"/>
                  </a:lnTo>
                  <a:lnTo>
                    <a:pt x="37" y="148"/>
                  </a:lnTo>
                  <a:lnTo>
                    <a:pt x="40" y="149"/>
                  </a:lnTo>
                  <a:lnTo>
                    <a:pt x="43" y="149"/>
                  </a:lnTo>
                  <a:lnTo>
                    <a:pt x="45" y="148"/>
                  </a:lnTo>
                  <a:lnTo>
                    <a:pt x="45" y="148"/>
                  </a:lnTo>
                  <a:lnTo>
                    <a:pt x="46" y="147"/>
                  </a:lnTo>
                  <a:lnTo>
                    <a:pt x="50" y="147"/>
                  </a:lnTo>
                  <a:lnTo>
                    <a:pt x="50" y="147"/>
                  </a:lnTo>
                  <a:lnTo>
                    <a:pt x="58" y="148"/>
                  </a:lnTo>
                  <a:lnTo>
                    <a:pt x="65" y="147"/>
                  </a:lnTo>
                  <a:lnTo>
                    <a:pt x="65" y="147"/>
                  </a:lnTo>
                  <a:lnTo>
                    <a:pt x="78" y="142"/>
                  </a:lnTo>
                  <a:lnTo>
                    <a:pt x="85" y="141"/>
                  </a:lnTo>
                  <a:lnTo>
                    <a:pt x="90" y="141"/>
                  </a:lnTo>
                  <a:lnTo>
                    <a:pt x="90" y="141"/>
                  </a:lnTo>
                  <a:lnTo>
                    <a:pt x="95" y="145"/>
                  </a:lnTo>
                  <a:lnTo>
                    <a:pt x="100" y="147"/>
                  </a:lnTo>
                  <a:lnTo>
                    <a:pt x="104" y="147"/>
                  </a:lnTo>
                  <a:lnTo>
                    <a:pt x="104" y="147"/>
                  </a:lnTo>
                  <a:lnTo>
                    <a:pt x="117" y="148"/>
                  </a:lnTo>
                  <a:lnTo>
                    <a:pt x="123" y="149"/>
                  </a:lnTo>
                  <a:lnTo>
                    <a:pt x="124" y="149"/>
                  </a:lnTo>
                  <a:lnTo>
                    <a:pt x="123" y="149"/>
                  </a:lnTo>
                  <a:lnTo>
                    <a:pt x="123" y="149"/>
                  </a:lnTo>
                  <a:lnTo>
                    <a:pt x="116" y="154"/>
                  </a:lnTo>
                  <a:lnTo>
                    <a:pt x="111" y="157"/>
                  </a:lnTo>
                  <a:lnTo>
                    <a:pt x="111" y="157"/>
                  </a:lnTo>
                  <a:lnTo>
                    <a:pt x="114" y="158"/>
                  </a:lnTo>
                  <a:lnTo>
                    <a:pt x="116" y="161"/>
                  </a:lnTo>
                  <a:lnTo>
                    <a:pt x="116" y="161"/>
                  </a:lnTo>
                  <a:lnTo>
                    <a:pt x="116" y="161"/>
                  </a:lnTo>
                  <a:lnTo>
                    <a:pt x="114" y="162"/>
                  </a:lnTo>
                  <a:lnTo>
                    <a:pt x="113" y="165"/>
                  </a:lnTo>
                  <a:lnTo>
                    <a:pt x="113" y="167"/>
                  </a:lnTo>
                  <a:lnTo>
                    <a:pt x="111" y="168"/>
                  </a:lnTo>
                  <a:lnTo>
                    <a:pt x="111" y="168"/>
                  </a:lnTo>
                  <a:lnTo>
                    <a:pt x="106" y="168"/>
                  </a:lnTo>
                  <a:lnTo>
                    <a:pt x="95" y="168"/>
                  </a:lnTo>
                  <a:lnTo>
                    <a:pt x="95" y="168"/>
                  </a:lnTo>
                  <a:lnTo>
                    <a:pt x="90" y="168"/>
                  </a:lnTo>
                  <a:lnTo>
                    <a:pt x="82" y="170"/>
                  </a:lnTo>
                  <a:lnTo>
                    <a:pt x="69" y="173"/>
                  </a:lnTo>
                  <a:lnTo>
                    <a:pt x="69" y="173"/>
                  </a:lnTo>
                  <a:lnTo>
                    <a:pt x="65" y="173"/>
                  </a:lnTo>
                  <a:lnTo>
                    <a:pt x="61" y="171"/>
                  </a:lnTo>
                  <a:lnTo>
                    <a:pt x="56" y="170"/>
                  </a:lnTo>
                  <a:lnTo>
                    <a:pt x="50" y="170"/>
                  </a:lnTo>
                  <a:lnTo>
                    <a:pt x="50" y="170"/>
                  </a:lnTo>
                  <a:lnTo>
                    <a:pt x="39" y="171"/>
                  </a:lnTo>
                  <a:lnTo>
                    <a:pt x="36" y="173"/>
                  </a:lnTo>
                  <a:lnTo>
                    <a:pt x="35" y="174"/>
                  </a:lnTo>
                  <a:lnTo>
                    <a:pt x="36" y="176"/>
                  </a:lnTo>
                  <a:lnTo>
                    <a:pt x="36" y="176"/>
                  </a:lnTo>
                  <a:lnTo>
                    <a:pt x="36" y="178"/>
                  </a:lnTo>
                  <a:lnTo>
                    <a:pt x="36" y="183"/>
                  </a:lnTo>
                  <a:lnTo>
                    <a:pt x="36" y="187"/>
                  </a:lnTo>
                  <a:lnTo>
                    <a:pt x="37" y="190"/>
                  </a:lnTo>
                  <a:lnTo>
                    <a:pt x="37" y="190"/>
                  </a:lnTo>
                  <a:lnTo>
                    <a:pt x="42" y="194"/>
                  </a:lnTo>
                  <a:lnTo>
                    <a:pt x="45" y="196"/>
                  </a:lnTo>
                  <a:lnTo>
                    <a:pt x="45" y="200"/>
                  </a:lnTo>
                  <a:lnTo>
                    <a:pt x="45" y="200"/>
                  </a:lnTo>
                  <a:lnTo>
                    <a:pt x="46" y="203"/>
                  </a:lnTo>
                  <a:lnTo>
                    <a:pt x="48" y="206"/>
                  </a:lnTo>
                  <a:lnTo>
                    <a:pt x="50" y="210"/>
                  </a:lnTo>
                  <a:lnTo>
                    <a:pt x="56" y="213"/>
                  </a:lnTo>
                  <a:lnTo>
                    <a:pt x="56" y="213"/>
                  </a:lnTo>
                  <a:lnTo>
                    <a:pt x="62" y="213"/>
                  </a:lnTo>
                  <a:lnTo>
                    <a:pt x="69" y="215"/>
                  </a:lnTo>
                  <a:lnTo>
                    <a:pt x="77" y="213"/>
                  </a:lnTo>
                  <a:lnTo>
                    <a:pt x="81" y="215"/>
                  </a:lnTo>
                  <a:lnTo>
                    <a:pt x="81" y="215"/>
                  </a:lnTo>
                  <a:lnTo>
                    <a:pt x="87" y="218"/>
                  </a:lnTo>
                  <a:lnTo>
                    <a:pt x="88" y="220"/>
                  </a:lnTo>
                  <a:lnTo>
                    <a:pt x="90" y="223"/>
                  </a:lnTo>
                  <a:lnTo>
                    <a:pt x="90" y="223"/>
                  </a:lnTo>
                  <a:lnTo>
                    <a:pt x="88" y="228"/>
                  </a:lnTo>
                  <a:lnTo>
                    <a:pt x="88" y="231"/>
                  </a:lnTo>
                  <a:lnTo>
                    <a:pt x="90" y="233"/>
                  </a:lnTo>
                  <a:lnTo>
                    <a:pt x="90" y="233"/>
                  </a:lnTo>
                  <a:lnTo>
                    <a:pt x="95" y="238"/>
                  </a:lnTo>
                  <a:lnTo>
                    <a:pt x="98" y="239"/>
                  </a:lnTo>
                  <a:lnTo>
                    <a:pt x="104" y="241"/>
                  </a:lnTo>
                  <a:lnTo>
                    <a:pt x="104" y="241"/>
                  </a:lnTo>
                  <a:lnTo>
                    <a:pt x="110" y="239"/>
                  </a:lnTo>
                  <a:lnTo>
                    <a:pt x="119" y="238"/>
                  </a:lnTo>
                  <a:lnTo>
                    <a:pt x="126" y="235"/>
                  </a:lnTo>
                  <a:lnTo>
                    <a:pt x="130" y="235"/>
                  </a:lnTo>
                  <a:lnTo>
                    <a:pt x="130" y="235"/>
                  </a:lnTo>
                  <a:lnTo>
                    <a:pt x="137" y="238"/>
                  </a:lnTo>
                  <a:lnTo>
                    <a:pt x="142" y="238"/>
                  </a:lnTo>
                  <a:lnTo>
                    <a:pt x="146" y="238"/>
                  </a:lnTo>
                  <a:lnTo>
                    <a:pt x="146" y="238"/>
                  </a:lnTo>
                  <a:lnTo>
                    <a:pt x="150" y="235"/>
                  </a:lnTo>
                  <a:lnTo>
                    <a:pt x="156" y="232"/>
                  </a:lnTo>
                  <a:lnTo>
                    <a:pt x="161" y="228"/>
                  </a:lnTo>
                  <a:lnTo>
                    <a:pt x="163" y="226"/>
                  </a:lnTo>
                  <a:lnTo>
                    <a:pt x="163" y="226"/>
                  </a:lnTo>
                  <a:lnTo>
                    <a:pt x="178" y="225"/>
                  </a:lnTo>
                  <a:lnTo>
                    <a:pt x="185" y="223"/>
                  </a:lnTo>
                  <a:lnTo>
                    <a:pt x="188" y="222"/>
                  </a:lnTo>
                  <a:lnTo>
                    <a:pt x="188" y="222"/>
                  </a:lnTo>
                  <a:lnTo>
                    <a:pt x="192" y="218"/>
                  </a:lnTo>
                  <a:lnTo>
                    <a:pt x="195" y="216"/>
                  </a:lnTo>
                  <a:lnTo>
                    <a:pt x="198" y="216"/>
                  </a:lnTo>
                  <a:lnTo>
                    <a:pt x="198" y="216"/>
                  </a:lnTo>
                  <a:lnTo>
                    <a:pt x="204" y="218"/>
                  </a:lnTo>
                  <a:lnTo>
                    <a:pt x="210" y="219"/>
                  </a:lnTo>
                  <a:lnTo>
                    <a:pt x="210" y="219"/>
                  </a:lnTo>
                  <a:lnTo>
                    <a:pt x="223" y="220"/>
                  </a:lnTo>
                  <a:lnTo>
                    <a:pt x="227" y="220"/>
                  </a:lnTo>
                  <a:lnTo>
                    <a:pt x="227" y="220"/>
                  </a:lnTo>
                  <a:lnTo>
                    <a:pt x="227" y="222"/>
                  </a:lnTo>
                  <a:lnTo>
                    <a:pt x="227" y="222"/>
                  </a:lnTo>
                  <a:lnTo>
                    <a:pt x="224" y="226"/>
                  </a:lnTo>
                  <a:lnTo>
                    <a:pt x="223" y="228"/>
                  </a:lnTo>
                  <a:lnTo>
                    <a:pt x="224" y="229"/>
                  </a:lnTo>
                  <a:lnTo>
                    <a:pt x="224" y="229"/>
                  </a:lnTo>
                  <a:lnTo>
                    <a:pt x="233" y="228"/>
                  </a:lnTo>
                  <a:lnTo>
                    <a:pt x="239" y="228"/>
                  </a:lnTo>
                  <a:lnTo>
                    <a:pt x="243" y="228"/>
                  </a:lnTo>
                  <a:lnTo>
                    <a:pt x="243" y="228"/>
                  </a:lnTo>
                  <a:lnTo>
                    <a:pt x="252" y="232"/>
                  </a:lnTo>
                  <a:lnTo>
                    <a:pt x="255" y="232"/>
                  </a:lnTo>
                  <a:lnTo>
                    <a:pt x="259" y="232"/>
                  </a:lnTo>
                  <a:lnTo>
                    <a:pt x="259" y="232"/>
                  </a:lnTo>
                  <a:lnTo>
                    <a:pt x="269" y="226"/>
                  </a:lnTo>
                  <a:lnTo>
                    <a:pt x="275" y="222"/>
                  </a:lnTo>
                  <a:lnTo>
                    <a:pt x="278" y="219"/>
                  </a:lnTo>
                  <a:lnTo>
                    <a:pt x="278" y="219"/>
                  </a:lnTo>
                  <a:lnTo>
                    <a:pt x="281" y="215"/>
                  </a:lnTo>
                  <a:lnTo>
                    <a:pt x="282" y="213"/>
                  </a:lnTo>
                  <a:lnTo>
                    <a:pt x="282" y="213"/>
                  </a:lnTo>
                  <a:lnTo>
                    <a:pt x="281" y="213"/>
                  </a:lnTo>
                  <a:lnTo>
                    <a:pt x="278" y="213"/>
                  </a:lnTo>
                  <a:lnTo>
                    <a:pt x="276" y="212"/>
                  </a:lnTo>
                  <a:lnTo>
                    <a:pt x="276" y="212"/>
                  </a:lnTo>
                  <a:lnTo>
                    <a:pt x="274" y="204"/>
                  </a:lnTo>
                  <a:lnTo>
                    <a:pt x="271" y="200"/>
                  </a:lnTo>
                  <a:lnTo>
                    <a:pt x="269" y="199"/>
                  </a:lnTo>
                  <a:lnTo>
                    <a:pt x="269" y="199"/>
                  </a:lnTo>
                  <a:lnTo>
                    <a:pt x="268" y="200"/>
                  </a:lnTo>
                  <a:lnTo>
                    <a:pt x="265" y="203"/>
                  </a:lnTo>
                  <a:lnTo>
                    <a:pt x="262" y="206"/>
                  </a:lnTo>
                  <a:lnTo>
                    <a:pt x="259" y="206"/>
                  </a:lnTo>
                  <a:lnTo>
                    <a:pt x="259" y="206"/>
                  </a:lnTo>
                  <a:lnTo>
                    <a:pt x="256" y="204"/>
                  </a:lnTo>
                  <a:lnTo>
                    <a:pt x="255" y="204"/>
                  </a:lnTo>
                  <a:lnTo>
                    <a:pt x="252" y="204"/>
                  </a:lnTo>
                  <a:lnTo>
                    <a:pt x="252" y="204"/>
                  </a:lnTo>
                  <a:lnTo>
                    <a:pt x="247" y="206"/>
                  </a:lnTo>
                  <a:lnTo>
                    <a:pt x="246" y="207"/>
                  </a:lnTo>
                  <a:lnTo>
                    <a:pt x="246" y="204"/>
                  </a:lnTo>
                  <a:lnTo>
                    <a:pt x="246" y="204"/>
                  </a:lnTo>
                  <a:lnTo>
                    <a:pt x="250" y="200"/>
                  </a:lnTo>
                  <a:lnTo>
                    <a:pt x="250" y="199"/>
                  </a:lnTo>
                  <a:lnTo>
                    <a:pt x="250" y="197"/>
                  </a:lnTo>
                  <a:lnTo>
                    <a:pt x="250" y="197"/>
                  </a:lnTo>
                  <a:lnTo>
                    <a:pt x="246" y="197"/>
                  </a:lnTo>
                  <a:lnTo>
                    <a:pt x="243" y="196"/>
                  </a:lnTo>
                  <a:lnTo>
                    <a:pt x="243" y="194"/>
                  </a:lnTo>
                  <a:lnTo>
                    <a:pt x="243" y="194"/>
                  </a:lnTo>
                  <a:lnTo>
                    <a:pt x="245" y="189"/>
                  </a:lnTo>
                  <a:lnTo>
                    <a:pt x="246" y="186"/>
                  </a:lnTo>
                  <a:lnTo>
                    <a:pt x="247" y="186"/>
                  </a:lnTo>
                  <a:lnTo>
                    <a:pt x="247" y="186"/>
                  </a:lnTo>
                  <a:lnTo>
                    <a:pt x="250" y="191"/>
                  </a:lnTo>
                  <a:lnTo>
                    <a:pt x="253" y="194"/>
                  </a:lnTo>
                  <a:lnTo>
                    <a:pt x="256" y="196"/>
                  </a:lnTo>
                  <a:lnTo>
                    <a:pt x="256" y="196"/>
                  </a:lnTo>
                  <a:lnTo>
                    <a:pt x="263" y="196"/>
                  </a:lnTo>
                  <a:lnTo>
                    <a:pt x="265" y="194"/>
                  </a:lnTo>
                  <a:lnTo>
                    <a:pt x="265" y="193"/>
                  </a:lnTo>
                  <a:lnTo>
                    <a:pt x="265" y="193"/>
                  </a:lnTo>
                  <a:lnTo>
                    <a:pt x="259" y="191"/>
                  </a:lnTo>
                  <a:lnTo>
                    <a:pt x="259" y="190"/>
                  </a:lnTo>
                  <a:lnTo>
                    <a:pt x="262" y="189"/>
                  </a:lnTo>
                  <a:lnTo>
                    <a:pt x="262" y="189"/>
                  </a:lnTo>
                  <a:lnTo>
                    <a:pt x="268" y="186"/>
                  </a:lnTo>
                  <a:lnTo>
                    <a:pt x="269" y="186"/>
                  </a:lnTo>
                  <a:lnTo>
                    <a:pt x="271" y="186"/>
                  </a:lnTo>
                  <a:lnTo>
                    <a:pt x="271" y="186"/>
                  </a:lnTo>
                  <a:lnTo>
                    <a:pt x="275" y="187"/>
                  </a:lnTo>
                  <a:lnTo>
                    <a:pt x="278" y="186"/>
                  </a:lnTo>
                  <a:lnTo>
                    <a:pt x="279" y="186"/>
                  </a:lnTo>
                  <a:lnTo>
                    <a:pt x="282" y="187"/>
                  </a:lnTo>
                  <a:lnTo>
                    <a:pt x="282" y="187"/>
                  </a:lnTo>
                  <a:lnTo>
                    <a:pt x="285" y="191"/>
                  </a:lnTo>
                  <a:lnTo>
                    <a:pt x="288" y="191"/>
                  </a:lnTo>
                  <a:lnTo>
                    <a:pt x="289" y="190"/>
                  </a:lnTo>
                  <a:lnTo>
                    <a:pt x="289" y="190"/>
                  </a:lnTo>
                  <a:lnTo>
                    <a:pt x="292" y="186"/>
                  </a:lnTo>
                  <a:lnTo>
                    <a:pt x="292" y="184"/>
                  </a:lnTo>
                  <a:lnTo>
                    <a:pt x="291" y="183"/>
                  </a:lnTo>
                  <a:lnTo>
                    <a:pt x="291" y="183"/>
                  </a:lnTo>
                  <a:lnTo>
                    <a:pt x="287" y="180"/>
                  </a:lnTo>
                  <a:lnTo>
                    <a:pt x="285" y="178"/>
                  </a:lnTo>
                  <a:lnTo>
                    <a:pt x="287" y="177"/>
                  </a:lnTo>
                  <a:lnTo>
                    <a:pt x="287" y="177"/>
                  </a:lnTo>
                  <a:lnTo>
                    <a:pt x="291" y="176"/>
                  </a:lnTo>
                  <a:lnTo>
                    <a:pt x="291" y="174"/>
                  </a:lnTo>
                  <a:lnTo>
                    <a:pt x="291" y="173"/>
                  </a:lnTo>
                  <a:lnTo>
                    <a:pt x="291" y="173"/>
                  </a:lnTo>
                  <a:lnTo>
                    <a:pt x="287" y="168"/>
                  </a:lnTo>
                  <a:lnTo>
                    <a:pt x="284" y="167"/>
                  </a:lnTo>
                  <a:lnTo>
                    <a:pt x="281" y="168"/>
                  </a:lnTo>
                  <a:lnTo>
                    <a:pt x="281" y="168"/>
                  </a:lnTo>
                  <a:lnTo>
                    <a:pt x="276" y="171"/>
                  </a:lnTo>
                  <a:lnTo>
                    <a:pt x="274" y="173"/>
                  </a:lnTo>
                  <a:lnTo>
                    <a:pt x="272" y="171"/>
                  </a:lnTo>
                  <a:lnTo>
                    <a:pt x="272" y="171"/>
                  </a:lnTo>
                  <a:lnTo>
                    <a:pt x="265" y="162"/>
                  </a:lnTo>
                  <a:lnTo>
                    <a:pt x="265" y="162"/>
                  </a:lnTo>
                  <a:lnTo>
                    <a:pt x="259" y="154"/>
                  </a:lnTo>
                  <a:lnTo>
                    <a:pt x="256" y="149"/>
                  </a:lnTo>
                  <a:lnTo>
                    <a:pt x="253" y="148"/>
                  </a:lnTo>
                  <a:lnTo>
                    <a:pt x="253" y="148"/>
                  </a:lnTo>
                  <a:lnTo>
                    <a:pt x="242" y="141"/>
                  </a:lnTo>
                  <a:lnTo>
                    <a:pt x="237" y="136"/>
                  </a:lnTo>
                  <a:lnTo>
                    <a:pt x="233" y="132"/>
                  </a:lnTo>
                  <a:lnTo>
                    <a:pt x="233" y="132"/>
                  </a:lnTo>
                  <a:lnTo>
                    <a:pt x="232" y="120"/>
                  </a:lnTo>
                  <a:lnTo>
                    <a:pt x="230" y="100"/>
                  </a:lnTo>
                  <a:lnTo>
                    <a:pt x="230" y="70"/>
                  </a:lnTo>
                  <a:lnTo>
                    <a:pt x="230" y="70"/>
                  </a:lnTo>
                  <a:lnTo>
                    <a:pt x="227" y="47"/>
                  </a:lnTo>
                  <a:lnTo>
                    <a:pt x="227" y="47"/>
                  </a:lnTo>
                  <a:lnTo>
                    <a:pt x="227" y="44"/>
                  </a:lnTo>
                  <a:lnTo>
                    <a:pt x="226" y="41"/>
                  </a:lnTo>
                  <a:lnTo>
                    <a:pt x="221" y="34"/>
                  </a:lnTo>
                  <a:lnTo>
                    <a:pt x="221" y="34"/>
                  </a:lnTo>
                  <a:lnTo>
                    <a:pt x="208" y="15"/>
                  </a:lnTo>
                  <a:lnTo>
                    <a:pt x="208" y="15"/>
                  </a:lnTo>
                  <a:lnTo>
                    <a:pt x="203" y="8"/>
                  </a:lnTo>
                  <a:lnTo>
                    <a:pt x="198" y="5"/>
                  </a:lnTo>
                  <a:lnTo>
                    <a:pt x="197" y="5"/>
                  </a:lnTo>
                  <a:lnTo>
                    <a:pt x="197" y="5"/>
                  </a:lnTo>
                  <a:lnTo>
                    <a:pt x="195" y="10"/>
                  </a:lnTo>
                  <a:lnTo>
                    <a:pt x="194" y="12"/>
                  </a:lnTo>
                  <a:lnTo>
                    <a:pt x="191" y="12"/>
                  </a:lnTo>
                  <a:lnTo>
                    <a:pt x="191" y="12"/>
                  </a:lnTo>
                  <a:lnTo>
                    <a:pt x="184" y="8"/>
                  </a:lnTo>
                  <a:lnTo>
                    <a:pt x="179" y="6"/>
                  </a:lnTo>
                  <a:lnTo>
                    <a:pt x="179" y="6"/>
                  </a:lnTo>
                  <a:lnTo>
                    <a:pt x="179" y="6"/>
                  </a:lnTo>
                  <a:lnTo>
                    <a:pt x="179" y="6"/>
                  </a:lnTo>
                  <a:lnTo>
                    <a:pt x="181" y="12"/>
                  </a:lnTo>
                  <a:lnTo>
                    <a:pt x="181" y="13"/>
                  </a:lnTo>
                  <a:lnTo>
                    <a:pt x="181" y="15"/>
                  </a:lnTo>
                  <a:lnTo>
                    <a:pt x="181" y="15"/>
                  </a:lnTo>
                  <a:lnTo>
                    <a:pt x="178" y="16"/>
                  </a:lnTo>
                  <a:lnTo>
                    <a:pt x="178" y="18"/>
                  </a:lnTo>
                  <a:lnTo>
                    <a:pt x="178" y="21"/>
                  </a:lnTo>
                  <a:lnTo>
                    <a:pt x="178" y="21"/>
                  </a:lnTo>
                  <a:lnTo>
                    <a:pt x="181" y="31"/>
                  </a:lnTo>
                  <a:lnTo>
                    <a:pt x="185" y="41"/>
                  </a:lnTo>
                  <a:lnTo>
                    <a:pt x="185" y="41"/>
                  </a:lnTo>
                  <a:lnTo>
                    <a:pt x="187" y="57"/>
                  </a:lnTo>
                  <a:lnTo>
                    <a:pt x="188" y="67"/>
                  </a:lnTo>
                  <a:lnTo>
                    <a:pt x="188" y="73"/>
                  </a:lnTo>
                  <a:lnTo>
                    <a:pt x="188" y="73"/>
                  </a:lnTo>
                  <a:lnTo>
                    <a:pt x="190" y="86"/>
                  </a:lnTo>
                  <a:lnTo>
                    <a:pt x="190" y="94"/>
                  </a:lnTo>
                  <a:lnTo>
                    <a:pt x="190" y="94"/>
                  </a:lnTo>
                  <a:lnTo>
                    <a:pt x="187" y="97"/>
                  </a:lnTo>
                  <a:lnTo>
                    <a:pt x="182" y="97"/>
                  </a:lnTo>
                  <a:lnTo>
                    <a:pt x="182" y="97"/>
                  </a:lnTo>
                  <a:lnTo>
                    <a:pt x="178" y="96"/>
                  </a:lnTo>
                  <a:lnTo>
                    <a:pt x="175" y="94"/>
                  </a:lnTo>
                  <a:lnTo>
                    <a:pt x="175" y="94"/>
                  </a:lnTo>
                  <a:lnTo>
                    <a:pt x="168" y="45"/>
                  </a:lnTo>
                  <a:lnTo>
                    <a:pt x="168" y="45"/>
                  </a:lnTo>
                  <a:lnTo>
                    <a:pt x="166" y="41"/>
                  </a:lnTo>
                  <a:lnTo>
                    <a:pt x="161" y="35"/>
                  </a:lnTo>
                  <a:lnTo>
                    <a:pt x="155" y="28"/>
                  </a:lnTo>
                  <a:lnTo>
                    <a:pt x="152" y="23"/>
                  </a:lnTo>
                  <a:lnTo>
                    <a:pt x="152" y="23"/>
                  </a:lnTo>
                  <a:lnTo>
                    <a:pt x="150" y="21"/>
                  </a:lnTo>
                  <a:lnTo>
                    <a:pt x="149" y="18"/>
                  </a:lnTo>
                  <a:lnTo>
                    <a:pt x="143" y="15"/>
                  </a:lnTo>
                  <a:lnTo>
                    <a:pt x="136" y="10"/>
                  </a:lnTo>
                  <a:lnTo>
                    <a:pt x="133" y="10"/>
                  </a:lnTo>
                  <a:lnTo>
                    <a:pt x="133" y="10"/>
                  </a:lnTo>
                  <a:lnTo>
                    <a:pt x="132" y="13"/>
                  </a:lnTo>
                  <a:lnTo>
                    <a:pt x="133" y="16"/>
                  </a:lnTo>
                  <a:lnTo>
                    <a:pt x="134" y="21"/>
                  </a:lnTo>
                  <a:lnTo>
                    <a:pt x="137" y="23"/>
                  </a:lnTo>
                  <a:lnTo>
                    <a:pt x="137" y="23"/>
                  </a:lnTo>
                  <a:lnTo>
                    <a:pt x="140" y="25"/>
                  </a:lnTo>
                  <a:lnTo>
                    <a:pt x="143" y="26"/>
                  </a:lnTo>
                  <a:lnTo>
                    <a:pt x="146" y="28"/>
                  </a:lnTo>
                  <a:lnTo>
                    <a:pt x="148" y="32"/>
                  </a:lnTo>
                  <a:lnTo>
                    <a:pt x="148" y="32"/>
                  </a:lnTo>
                  <a:lnTo>
                    <a:pt x="149" y="38"/>
                  </a:lnTo>
                  <a:lnTo>
                    <a:pt x="150" y="41"/>
                  </a:lnTo>
                  <a:lnTo>
                    <a:pt x="152" y="44"/>
                  </a:lnTo>
                  <a:lnTo>
                    <a:pt x="149" y="45"/>
                  </a:lnTo>
                  <a:lnTo>
                    <a:pt x="149" y="45"/>
                  </a:lnTo>
                  <a:lnTo>
                    <a:pt x="142" y="44"/>
                  </a:lnTo>
                  <a:lnTo>
                    <a:pt x="139" y="42"/>
                  </a:lnTo>
                  <a:lnTo>
                    <a:pt x="136" y="44"/>
                  </a:lnTo>
                  <a:lnTo>
                    <a:pt x="136" y="44"/>
                  </a:lnTo>
                  <a:lnTo>
                    <a:pt x="130" y="45"/>
                  </a:lnTo>
                  <a:lnTo>
                    <a:pt x="124" y="48"/>
                  </a:lnTo>
                  <a:lnTo>
                    <a:pt x="120" y="51"/>
                  </a:lnTo>
                  <a:lnTo>
                    <a:pt x="117" y="51"/>
                  </a:lnTo>
                  <a:lnTo>
                    <a:pt x="116" y="51"/>
                  </a:lnTo>
                  <a:lnTo>
                    <a:pt x="116" y="51"/>
                  </a:lnTo>
                  <a:lnTo>
                    <a:pt x="116" y="50"/>
                  </a:lnTo>
                  <a:lnTo>
                    <a:pt x="116" y="47"/>
                  </a:lnTo>
                  <a:lnTo>
                    <a:pt x="121" y="42"/>
                  </a:lnTo>
                  <a:lnTo>
                    <a:pt x="127" y="36"/>
                  </a:lnTo>
                  <a:lnTo>
                    <a:pt x="129" y="34"/>
                  </a:lnTo>
                  <a:lnTo>
                    <a:pt x="129" y="31"/>
                  </a:lnTo>
                  <a:lnTo>
                    <a:pt x="129" y="31"/>
                  </a:lnTo>
                  <a:lnTo>
                    <a:pt x="126" y="26"/>
                  </a:lnTo>
                  <a:lnTo>
                    <a:pt x="123" y="25"/>
                  </a:lnTo>
                  <a:lnTo>
                    <a:pt x="119" y="22"/>
                  </a:lnTo>
                  <a:lnTo>
                    <a:pt x="117" y="19"/>
                  </a:lnTo>
                  <a:lnTo>
                    <a:pt x="117" y="19"/>
                  </a:lnTo>
                  <a:lnTo>
                    <a:pt x="114" y="16"/>
                  </a:lnTo>
                  <a:lnTo>
                    <a:pt x="110" y="13"/>
                  </a:lnTo>
                  <a:lnTo>
                    <a:pt x="107" y="12"/>
                  </a:lnTo>
                  <a:lnTo>
                    <a:pt x="104" y="13"/>
                  </a:lnTo>
                  <a:lnTo>
                    <a:pt x="104" y="13"/>
                  </a:lnTo>
                  <a:lnTo>
                    <a:pt x="103" y="15"/>
                  </a:lnTo>
                  <a:lnTo>
                    <a:pt x="103" y="18"/>
                  </a:lnTo>
                  <a:lnTo>
                    <a:pt x="104" y="21"/>
                  </a:lnTo>
                  <a:lnTo>
                    <a:pt x="104" y="23"/>
                  </a:lnTo>
                  <a:lnTo>
                    <a:pt x="104" y="23"/>
                  </a:lnTo>
                  <a:lnTo>
                    <a:pt x="101" y="35"/>
                  </a:lnTo>
                  <a:lnTo>
                    <a:pt x="100" y="41"/>
                  </a:lnTo>
                  <a:lnTo>
                    <a:pt x="98" y="44"/>
                  </a:lnTo>
                  <a:lnTo>
                    <a:pt x="98" y="44"/>
                  </a:lnTo>
                  <a:lnTo>
                    <a:pt x="98" y="44"/>
                  </a:lnTo>
                  <a:lnTo>
                    <a:pt x="92" y="41"/>
                  </a:lnTo>
                  <a:lnTo>
                    <a:pt x="88" y="39"/>
                  </a:lnTo>
                  <a:lnTo>
                    <a:pt x="88" y="39"/>
                  </a:lnTo>
                  <a:lnTo>
                    <a:pt x="82" y="42"/>
                  </a:lnTo>
                  <a:lnTo>
                    <a:pt x="79" y="44"/>
                  </a:lnTo>
                  <a:lnTo>
                    <a:pt x="77" y="42"/>
                  </a:lnTo>
                  <a:lnTo>
                    <a:pt x="77" y="42"/>
                  </a:lnTo>
                  <a:lnTo>
                    <a:pt x="77" y="39"/>
                  </a:lnTo>
                  <a:lnTo>
                    <a:pt x="77" y="38"/>
                  </a:lnTo>
                  <a:lnTo>
                    <a:pt x="78" y="32"/>
                  </a:lnTo>
                  <a:lnTo>
                    <a:pt x="84" y="25"/>
                  </a:lnTo>
                  <a:lnTo>
                    <a:pt x="84" y="25"/>
                  </a:lnTo>
                  <a:lnTo>
                    <a:pt x="87" y="22"/>
                  </a:lnTo>
                  <a:lnTo>
                    <a:pt x="88" y="19"/>
                  </a:lnTo>
                  <a:lnTo>
                    <a:pt x="88" y="16"/>
                  </a:lnTo>
                  <a:lnTo>
                    <a:pt x="88" y="16"/>
                  </a:lnTo>
                  <a:lnTo>
                    <a:pt x="87" y="8"/>
                  </a:lnTo>
                  <a:lnTo>
                    <a:pt x="85" y="5"/>
                  </a:lnTo>
                  <a:lnTo>
                    <a:pt x="84"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51" name="Freeform 1396"/>
            <p:cNvSpPr>
              <a:spLocks/>
            </p:cNvSpPr>
            <p:nvPr/>
          </p:nvSpPr>
          <p:spPr bwMode="auto">
            <a:xfrm>
              <a:off x="868363" y="2262616"/>
              <a:ext cx="19050" cy="28575"/>
            </a:xfrm>
            <a:custGeom>
              <a:avLst/>
              <a:gdLst>
                <a:gd name="T0" fmla="*/ 11 w 12"/>
                <a:gd name="T1" fmla="*/ 16 h 18"/>
                <a:gd name="T2" fmla="*/ 11 w 12"/>
                <a:gd name="T3" fmla="*/ 16 h 18"/>
                <a:gd name="T4" fmla="*/ 5 w 12"/>
                <a:gd name="T5" fmla="*/ 18 h 18"/>
                <a:gd name="T6" fmla="*/ 2 w 12"/>
                <a:gd name="T7" fmla="*/ 16 h 18"/>
                <a:gd name="T8" fmla="*/ 0 w 12"/>
                <a:gd name="T9" fmla="*/ 15 h 18"/>
                <a:gd name="T10" fmla="*/ 0 w 12"/>
                <a:gd name="T11" fmla="*/ 15 h 18"/>
                <a:gd name="T12" fmla="*/ 2 w 12"/>
                <a:gd name="T13" fmla="*/ 6 h 18"/>
                <a:gd name="T14" fmla="*/ 2 w 12"/>
                <a:gd name="T15" fmla="*/ 2 h 18"/>
                <a:gd name="T16" fmla="*/ 3 w 12"/>
                <a:gd name="T17" fmla="*/ 0 h 18"/>
                <a:gd name="T18" fmla="*/ 3 w 12"/>
                <a:gd name="T19" fmla="*/ 0 h 18"/>
                <a:gd name="T20" fmla="*/ 6 w 12"/>
                <a:gd name="T21" fmla="*/ 3 h 18"/>
                <a:gd name="T22" fmla="*/ 9 w 12"/>
                <a:gd name="T23" fmla="*/ 8 h 18"/>
                <a:gd name="T24" fmla="*/ 12 w 12"/>
                <a:gd name="T25" fmla="*/ 13 h 18"/>
                <a:gd name="T26" fmla="*/ 12 w 12"/>
                <a:gd name="T27" fmla="*/ 15 h 18"/>
                <a:gd name="T28" fmla="*/ 11 w 12"/>
                <a:gd name="T29"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8">
                  <a:moveTo>
                    <a:pt x="11" y="16"/>
                  </a:moveTo>
                  <a:lnTo>
                    <a:pt x="11" y="16"/>
                  </a:lnTo>
                  <a:lnTo>
                    <a:pt x="5" y="18"/>
                  </a:lnTo>
                  <a:lnTo>
                    <a:pt x="2" y="16"/>
                  </a:lnTo>
                  <a:lnTo>
                    <a:pt x="0" y="15"/>
                  </a:lnTo>
                  <a:lnTo>
                    <a:pt x="0" y="15"/>
                  </a:lnTo>
                  <a:lnTo>
                    <a:pt x="2" y="6"/>
                  </a:lnTo>
                  <a:lnTo>
                    <a:pt x="2" y="2"/>
                  </a:lnTo>
                  <a:lnTo>
                    <a:pt x="3" y="0"/>
                  </a:lnTo>
                  <a:lnTo>
                    <a:pt x="3" y="0"/>
                  </a:lnTo>
                  <a:lnTo>
                    <a:pt x="6" y="3"/>
                  </a:lnTo>
                  <a:lnTo>
                    <a:pt x="9" y="8"/>
                  </a:lnTo>
                  <a:lnTo>
                    <a:pt x="12" y="13"/>
                  </a:lnTo>
                  <a:lnTo>
                    <a:pt x="12" y="15"/>
                  </a:lnTo>
                  <a:lnTo>
                    <a:pt x="11" y="16"/>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52" name="Freeform 1397"/>
            <p:cNvSpPr>
              <a:spLocks/>
            </p:cNvSpPr>
            <p:nvPr/>
          </p:nvSpPr>
          <p:spPr bwMode="auto">
            <a:xfrm>
              <a:off x="868363" y="2262616"/>
              <a:ext cx="19050" cy="28575"/>
            </a:xfrm>
            <a:custGeom>
              <a:avLst/>
              <a:gdLst>
                <a:gd name="T0" fmla="*/ 11 w 12"/>
                <a:gd name="T1" fmla="*/ 16 h 18"/>
                <a:gd name="T2" fmla="*/ 11 w 12"/>
                <a:gd name="T3" fmla="*/ 16 h 18"/>
                <a:gd name="T4" fmla="*/ 5 w 12"/>
                <a:gd name="T5" fmla="*/ 18 h 18"/>
                <a:gd name="T6" fmla="*/ 2 w 12"/>
                <a:gd name="T7" fmla="*/ 16 h 18"/>
                <a:gd name="T8" fmla="*/ 0 w 12"/>
                <a:gd name="T9" fmla="*/ 15 h 18"/>
                <a:gd name="T10" fmla="*/ 0 w 12"/>
                <a:gd name="T11" fmla="*/ 15 h 18"/>
                <a:gd name="T12" fmla="*/ 2 w 12"/>
                <a:gd name="T13" fmla="*/ 6 h 18"/>
                <a:gd name="T14" fmla="*/ 2 w 12"/>
                <a:gd name="T15" fmla="*/ 2 h 18"/>
                <a:gd name="T16" fmla="*/ 3 w 12"/>
                <a:gd name="T17" fmla="*/ 0 h 18"/>
                <a:gd name="T18" fmla="*/ 3 w 12"/>
                <a:gd name="T19" fmla="*/ 0 h 18"/>
                <a:gd name="T20" fmla="*/ 6 w 12"/>
                <a:gd name="T21" fmla="*/ 3 h 18"/>
                <a:gd name="T22" fmla="*/ 9 w 12"/>
                <a:gd name="T23" fmla="*/ 8 h 18"/>
                <a:gd name="T24" fmla="*/ 12 w 12"/>
                <a:gd name="T25" fmla="*/ 13 h 18"/>
                <a:gd name="T26" fmla="*/ 12 w 12"/>
                <a:gd name="T27" fmla="*/ 15 h 18"/>
                <a:gd name="T28" fmla="*/ 11 w 12"/>
                <a:gd name="T29"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8">
                  <a:moveTo>
                    <a:pt x="11" y="16"/>
                  </a:moveTo>
                  <a:lnTo>
                    <a:pt x="11" y="16"/>
                  </a:lnTo>
                  <a:lnTo>
                    <a:pt x="5" y="18"/>
                  </a:lnTo>
                  <a:lnTo>
                    <a:pt x="2" y="16"/>
                  </a:lnTo>
                  <a:lnTo>
                    <a:pt x="0" y="15"/>
                  </a:lnTo>
                  <a:lnTo>
                    <a:pt x="0" y="15"/>
                  </a:lnTo>
                  <a:lnTo>
                    <a:pt x="2" y="6"/>
                  </a:lnTo>
                  <a:lnTo>
                    <a:pt x="2" y="2"/>
                  </a:lnTo>
                  <a:lnTo>
                    <a:pt x="3" y="0"/>
                  </a:lnTo>
                  <a:lnTo>
                    <a:pt x="3" y="0"/>
                  </a:lnTo>
                  <a:lnTo>
                    <a:pt x="6" y="3"/>
                  </a:lnTo>
                  <a:lnTo>
                    <a:pt x="9" y="8"/>
                  </a:lnTo>
                  <a:lnTo>
                    <a:pt x="12" y="13"/>
                  </a:lnTo>
                  <a:lnTo>
                    <a:pt x="12" y="15"/>
                  </a:lnTo>
                  <a:lnTo>
                    <a:pt x="11"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53" name="Freeform 1398"/>
            <p:cNvSpPr>
              <a:spLocks/>
            </p:cNvSpPr>
            <p:nvPr/>
          </p:nvSpPr>
          <p:spPr bwMode="auto">
            <a:xfrm>
              <a:off x="1846263" y="1886379"/>
              <a:ext cx="142875" cy="195263"/>
            </a:xfrm>
            <a:custGeom>
              <a:avLst/>
              <a:gdLst>
                <a:gd name="T0" fmla="*/ 23 w 90"/>
                <a:gd name="T1" fmla="*/ 123 h 123"/>
                <a:gd name="T2" fmla="*/ 17 w 90"/>
                <a:gd name="T3" fmla="*/ 121 h 123"/>
                <a:gd name="T4" fmla="*/ 22 w 90"/>
                <a:gd name="T5" fmla="*/ 119 h 123"/>
                <a:gd name="T6" fmla="*/ 14 w 90"/>
                <a:gd name="T7" fmla="*/ 116 h 123"/>
                <a:gd name="T8" fmla="*/ 13 w 90"/>
                <a:gd name="T9" fmla="*/ 111 h 123"/>
                <a:gd name="T10" fmla="*/ 14 w 90"/>
                <a:gd name="T11" fmla="*/ 95 h 123"/>
                <a:gd name="T12" fmla="*/ 9 w 90"/>
                <a:gd name="T13" fmla="*/ 90 h 123"/>
                <a:gd name="T14" fmla="*/ 1 w 90"/>
                <a:gd name="T15" fmla="*/ 85 h 123"/>
                <a:gd name="T16" fmla="*/ 1 w 90"/>
                <a:gd name="T17" fmla="*/ 84 h 123"/>
                <a:gd name="T18" fmla="*/ 6 w 90"/>
                <a:gd name="T19" fmla="*/ 79 h 123"/>
                <a:gd name="T20" fmla="*/ 1 w 90"/>
                <a:gd name="T21" fmla="*/ 71 h 123"/>
                <a:gd name="T22" fmla="*/ 0 w 90"/>
                <a:gd name="T23" fmla="*/ 62 h 123"/>
                <a:gd name="T24" fmla="*/ 4 w 90"/>
                <a:gd name="T25" fmla="*/ 56 h 123"/>
                <a:gd name="T26" fmla="*/ 3 w 90"/>
                <a:gd name="T27" fmla="*/ 37 h 123"/>
                <a:gd name="T28" fmla="*/ 3 w 90"/>
                <a:gd name="T29" fmla="*/ 23 h 123"/>
                <a:gd name="T30" fmla="*/ 4 w 90"/>
                <a:gd name="T31" fmla="*/ 23 h 123"/>
                <a:gd name="T32" fmla="*/ 7 w 90"/>
                <a:gd name="T33" fmla="*/ 27 h 123"/>
                <a:gd name="T34" fmla="*/ 12 w 90"/>
                <a:gd name="T35" fmla="*/ 24 h 123"/>
                <a:gd name="T36" fmla="*/ 13 w 90"/>
                <a:gd name="T37" fmla="*/ 16 h 123"/>
                <a:gd name="T38" fmla="*/ 10 w 90"/>
                <a:gd name="T39" fmla="*/ 9 h 123"/>
                <a:gd name="T40" fmla="*/ 13 w 90"/>
                <a:gd name="T41" fmla="*/ 4 h 123"/>
                <a:gd name="T42" fmla="*/ 29 w 90"/>
                <a:gd name="T43" fmla="*/ 7 h 123"/>
                <a:gd name="T44" fmla="*/ 30 w 90"/>
                <a:gd name="T45" fmla="*/ 6 h 123"/>
                <a:gd name="T46" fmla="*/ 33 w 90"/>
                <a:gd name="T47" fmla="*/ 0 h 123"/>
                <a:gd name="T48" fmla="*/ 49 w 90"/>
                <a:gd name="T49" fmla="*/ 0 h 123"/>
                <a:gd name="T50" fmla="*/ 56 w 90"/>
                <a:gd name="T51" fmla="*/ 9 h 123"/>
                <a:gd name="T52" fmla="*/ 61 w 90"/>
                <a:gd name="T53" fmla="*/ 11 h 123"/>
                <a:gd name="T54" fmla="*/ 61 w 90"/>
                <a:gd name="T55" fmla="*/ 9 h 123"/>
                <a:gd name="T56" fmla="*/ 65 w 90"/>
                <a:gd name="T57" fmla="*/ 7 h 123"/>
                <a:gd name="T58" fmla="*/ 72 w 90"/>
                <a:gd name="T59" fmla="*/ 6 h 123"/>
                <a:gd name="T60" fmla="*/ 78 w 90"/>
                <a:gd name="T61" fmla="*/ 6 h 123"/>
                <a:gd name="T62" fmla="*/ 88 w 90"/>
                <a:gd name="T63" fmla="*/ 10 h 123"/>
                <a:gd name="T64" fmla="*/ 90 w 90"/>
                <a:gd name="T65" fmla="*/ 16 h 123"/>
                <a:gd name="T66" fmla="*/ 83 w 90"/>
                <a:gd name="T67" fmla="*/ 33 h 123"/>
                <a:gd name="T68" fmla="*/ 77 w 90"/>
                <a:gd name="T69" fmla="*/ 42 h 123"/>
                <a:gd name="T70" fmla="*/ 72 w 90"/>
                <a:gd name="T71" fmla="*/ 49 h 123"/>
                <a:gd name="T72" fmla="*/ 72 w 90"/>
                <a:gd name="T73" fmla="*/ 62 h 123"/>
                <a:gd name="T74" fmla="*/ 61 w 90"/>
                <a:gd name="T75" fmla="*/ 77 h 123"/>
                <a:gd name="T76" fmla="*/ 46 w 90"/>
                <a:gd name="T77" fmla="*/ 79 h 123"/>
                <a:gd name="T78" fmla="*/ 42 w 90"/>
                <a:gd name="T79" fmla="*/ 78 h 123"/>
                <a:gd name="T80" fmla="*/ 35 w 90"/>
                <a:gd name="T81" fmla="*/ 84 h 123"/>
                <a:gd name="T82" fmla="*/ 28 w 90"/>
                <a:gd name="T83" fmla="*/ 87 h 123"/>
                <a:gd name="T84" fmla="*/ 30 w 90"/>
                <a:gd name="T85" fmla="*/ 95 h 123"/>
                <a:gd name="T86" fmla="*/ 38 w 90"/>
                <a:gd name="T87" fmla="*/ 110 h 123"/>
                <a:gd name="T88" fmla="*/ 32 w 90"/>
                <a:gd name="T89"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 h="123">
                  <a:moveTo>
                    <a:pt x="32" y="123"/>
                  </a:moveTo>
                  <a:lnTo>
                    <a:pt x="32" y="123"/>
                  </a:lnTo>
                  <a:lnTo>
                    <a:pt x="23" y="123"/>
                  </a:lnTo>
                  <a:lnTo>
                    <a:pt x="19" y="123"/>
                  </a:lnTo>
                  <a:lnTo>
                    <a:pt x="17" y="121"/>
                  </a:lnTo>
                  <a:lnTo>
                    <a:pt x="17" y="121"/>
                  </a:lnTo>
                  <a:lnTo>
                    <a:pt x="17" y="121"/>
                  </a:lnTo>
                  <a:lnTo>
                    <a:pt x="20" y="119"/>
                  </a:lnTo>
                  <a:lnTo>
                    <a:pt x="22" y="119"/>
                  </a:lnTo>
                  <a:lnTo>
                    <a:pt x="20" y="117"/>
                  </a:lnTo>
                  <a:lnTo>
                    <a:pt x="20" y="117"/>
                  </a:lnTo>
                  <a:lnTo>
                    <a:pt x="14" y="116"/>
                  </a:lnTo>
                  <a:lnTo>
                    <a:pt x="14" y="113"/>
                  </a:lnTo>
                  <a:lnTo>
                    <a:pt x="13" y="111"/>
                  </a:lnTo>
                  <a:lnTo>
                    <a:pt x="13" y="111"/>
                  </a:lnTo>
                  <a:lnTo>
                    <a:pt x="14" y="104"/>
                  </a:lnTo>
                  <a:lnTo>
                    <a:pt x="16" y="100"/>
                  </a:lnTo>
                  <a:lnTo>
                    <a:pt x="14" y="95"/>
                  </a:lnTo>
                  <a:lnTo>
                    <a:pt x="14" y="95"/>
                  </a:lnTo>
                  <a:lnTo>
                    <a:pt x="10" y="91"/>
                  </a:lnTo>
                  <a:lnTo>
                    <a:pt x="9" y="90"/>
                  </a:lnTo>
                  <a:lnTo>
                    <a:pt x="7" y="88"/>
                  </a:lnTo>
                  <a:lnTo>
                    <a:pt x="7" y="88"/>
                  </a:lnTo>
                  <a:lnTo>
                    <a:pt x="1" y="85"/>
                  </a:lnTo>
                  <a:lnTo>
                    <a:pt x="0" y="84"/>
                  </a:lnTo>
                  <a:lnTo>
                    <a:pt x="1" y="84"/>
                  </a:lnTo>
                  <a:lnTo>
                    <a:pt x="1" y="84"/>
                  </a:lnTo>
                  <a:lnTo>
                    <a:pt x="4" y="82"/>
                  </a:lnTo>
                  <a:lnTo>
                    <a:pt x="4" y="81"/>
                  </a:lnTo>
                  <a:lnTo>
                    <a:pt x="6" y="79"/>
                  </a:lnTo>
                  <a:lnTo>
                    <a:pt x="6" y="79"/>
                  </a:lnTo>
                  <a:lnTo>
                    <a:pt x="4" y="75"/>
                  </a:lnTo>
                  <a:lnTo>
                    <a:pt x="1" y="71"/>
                  </a:lnTo>
                  <a:lnTo>
                    <a:pt x="0" y="65"/>
                  </a:lnTo>
                  <a:lnTo>
                    <a:pt x="0" y="62"/>
                  </a:lnTo>
                  <a:lnTo>
                    <a:pt x="0" y="62"/>
                  </a:lnTo>
                  <a:lnTo>
                    <a:pt x="3" y="59"/>
                  </a:lnTo>
                  <a:lnTo>
                    <a:pt x="4" y="59"/>
                  </a:lnTo>
                  <a:lnTo>
                    <a:pt x="4" y="56"/>
                  </a:lnTo>
                  <a:lnTo>
                    <a:pt x="4" y="56"/>
                  </a:lnTo>
                  <a:lnTo>
                    <a:pt x="3" y="46"/>
                  </a:lnTo>
                  <a:lnTo>
                    <a:pt x="3" y="37"/>
                  </a:lnTo>
                  <a:lnTo>
                    <a:pt x="3" y="37"/>
                  </a:lnTo>
                  <a:lnTo>
                    <a:pt x="3" y="27"/>
                  </a:lnTo>
                  <a:lnTo>
                    <a:pt x="3" y="23"/>
                  </a:lnTo>
                  <a:lnTo>
                    <a:pt x="3" y="23"/>
                  </a:lnTo>
                  <a:lnTo>
                    <a:pt x="4" y="23"/>
                  </a:lnTo>
                  <a:lnTo>
                    <a:pt x="4" y="23"/>
                  </a:lnTo>
                  <a:lnTo>
                    <a:pt x="6" y="24"/>
                  </a:lnTo>
                  <a:lnTo>
                    <a:pt x="7" y="26"/>
                  </a:lnTo>
                  <a:lnTo>
                    <a:pt x="7" y="27"/>
                  </a:lnTo>
                  <a:lnTo>
                    <a:pt x="9" y="26"/>
                  </a:lnTo>
                  <a:lnTo>
                    <a:pt x="9" y="26"/>
                  </a:lnTo>
                  <a:lnTo>
                    <a:pt x="12" y="24"/>
                  </a:lnTo>
                  <a:lnTo>
                    <a:pt x="13" y="22"/>
                  </a:lnTo>
                  <a:lnTo>
                    <a:pt x="14" y="19"/>
                  </a:lnTo>
                  <a:lnTo>
                    <a:pt x="13" y="16"/>
                  </a:lnTo>
                  <a:lnTo>
                    <a:pt x="13" y="16"/>
                  </a:lnTo>
                  <a:lnTo>
                    <a:pt x="10" y="13"/>
                  </a:lnTo>
                  <a:lnTo>
                    <a:pt x="10" y="9"/>
                  </a:lnTo>
                  <a:lnTo>
                    <a:pt x="10" y="6"/>
                  </a:lnTo>
                  <a:lnTo>
                    <a:pt x="13" y="4"/>
                  </a:lnTo>
                  <a:lnTo>
                    <a:pt x="13" y="4"/>
                  </a:lnTo>
                  <a:lnTo>
                    <a:pt x="17" y="6"/>
                  </a:lnTo>
                  <a:lnTo>
                    <a:pt x="23" y="7"/>
                  </a:lnTo>
                  <a:lnTo>
                    <a:pt x="29" y="7"/>
                  </a:lnTo>
                  <a:lnTo>
                    <a:pt x="30" y="7"/>
                  </a:lnTo>
                  <a:lnTo>
                    <a:pt x="30" y="6"/>
                  </a:lnTo>
                  <a:lnTo>
                    <a:pt x="30" y="6"/>
                  </a:lnTo>
                  <a:lnTo>
                    <a:pt x="29" y="1"/>
                  </a:lnTo>
                  <a:lnTo>
                    <a:pt x="30" y="0"/>
                  </a:lnTo>
                  <a:lnTo>
                    <a:pt x="33" y="0"/>
                  </a:lnTo>
                  <a:lnTo>
                    <a:pt x="33" y="0"/>
                  </a:lnTo>
                  <a:lnTo>
                    <a:pt x="45" y="0"/>
                  </a:lnTo>
                  <a:lnTo>
                    <a:pt x="49" y="0"/>
                  </a:lnTo>
                  <a:lnTo>
                    <a:pt x="52" y="3"/>
                  </a:lnTo>
                  <a:lnTo>
                    <a:pt x="52" y="3"/>
                  </a:lnTo>
                  <a:lnTo>
                    <a:pt x="56" y="9"/>
                  </a:lnTo>
                  <a:lnTo>
                    <a:pt x="58" y="11"/>
                  </a:lnTo>
                  <a:lnTo>
                    <a:pt x="61" y="11"/>
                  </a:lnTo>
                  <a:lnTo>
                    <a:pt x="61" y="11"/>
                  </a:lnTo>
                  <a:lnTo>
                    <a:pt x="61" y="11"/>
                  </a:lnTo>
                  <a:lnTo>
                    <a:pt x="61" y="11"/>
                  </a:lnTo>
                  <a:lnTo>
                    <a:pt x="61" y="9"/>
                  </a:lnTo>
                  <a:lnTo>
                    <a:pt x="61" y="7"/>
                  </a:lnTo>
                  <a:lnTo>
                    <a:pt x="65" y="7"/>
                  </a:lnTo>
                  <a:lnTo>
                    <a:pt x="65" y="7"/>
                  </a:lnTo>
                  <a:lnTo>
                    <a:pt x="70" y="7"/>
                  </a:lnTo>
                  <a:lnTo>
                    <a:pt x="72" y="7"/>
                  </a:lnTo>
                  <a:lnTo>
                    <a:pt x="72" y="6"/>
                  </a:lnTo>
                  <a:lnTo>
                    <a:pt x="74" y="4"/>
                  </a:lnTo>
                  <a:lnTo>
                    <a:pt x="74" y="4"/>
                  </a:lnTo>
                  <a:lnTo>
                    <a:pt x="78" y="6"/>
                  </a:lnTo>
                  <a:lnTo>
                    <a:pt x="84" y="9"/>
                  </a:lnTo>
                  <a:lnTo>
                    <a:pt x="84" y="9"/>
                  </a:lnTo>
                  <a:lnTo>
                    <a:pt x="88" y="10"/>
                  </a:lnTo>
                  <a:lnTo>
                    <a:pt x="90" y="11"/>
                  </a:lnTo>
                  <a:lnTo>
                    <a:pt x="90" y="14"/>
                  </a:lnTo>
                  <a:lnTo>
                    <a:pt x="90" y="16"/>
                  </a:lnTo>
                  <a:lnTo>
                    <a:pt x="90" y="16"/>
                  </a:lnTo>
                  <a:lnTo>
                    <a:pt x="85" y="23"/>
                  </a:lnTo>
                  <a:lnTo>
                    <a:pt x="83" y="33"/>
                  </a:lnTo>
                  <a:lnTo>
                    <a:pt x="83" y="33"/>
                  </a:lnTo>
                  <a:lnTo>
                    <a:pt x="80" y="37"/>
                  </a:lnTo>
                  <a:lnTo>
                    <a:pt x="77" y="42"/>
                  </a:lnTo>
                  <a:lnTo>
                    <a:pt x="74" y="46"/>
                  </a:lnTo>
                  <a:lnTo>
                    <a:pt x="72" y="49"/>
                  </a:lnTo>
                  <a:lnTo>
                    <a:pt x="72" y="49"/>
                  </a:lnTo>
                  <a:lnTo>
                    <a:pt x="72" y="56"/>
                  </a:lnTo>
                  <a:lnTo>
                    <a:pt x="72" y="62"/>
                  </a:lnTo>
                  <a:lnTo>
                    <a:pt x="72" y="62"/>
                  </a:lnTo>
                  <a:lnTo>
                    <a:pt x="67" y="71"/>
                  </a:lnTo>
                  <a:lnTo>
                    <a:pt x="64" y="75"/>
                  </a:lnTo>
                  <a:lnTo>
                    <a:pt x="61" y="77"/>
                  </a:lnTo>
                  <a:lnTo>
                    <a:pt x="61" y="77"/>
                  </a:lnTo>
                  <a:lnTo>
                    <a:pt x="54" y="79"/>
                  </a:lnTo>
                  <a:lnTo>
                    <a:pt x="46" y="79"/>
                  </a:lnTo>
                  <a:lnTo>
                    <a:pt x="46" y="79"/>
                  </a:lnTo>
                  <a:lnTo>
                    <a:pt x="43" y="79"/>
                  </a:lnTo>
                  <a:lnTo>
                    <a:pt x="42" y="78"/>
                  </a:lnTo>
                  <a:lnTo>
                    <a:pt x="41" y="79"/>
                  </a:lnTo>
                  <a:lnTo>
                    <a:pt x="41" y="79"/>
                  </a:lnTo>
                  <a:lnTo>
                    <a:pt x="35" y="84"/>
                  </a:lnTo>
                  <a:lnTo>
                    <a:pt x="29" y="87"/>
                  </a:lnTo>
                  <a:lnTo>
                    <a:pt x="29" y="87"/>
                  </a:lnTo>
                  <a:lnTo>
                    <a:pt x="28" y="87"/>
                  </a:lnTo>
                  <a:lnTo>
                    <a:pt x="28" y="90"/>
                  </a:lnTo>
                  <a:lnTo>
                    <a:pt x="30" y="95"/>
                  </a:lnTo>
                  <a:lnTo>
                    <a:pt x="30" y="95"/>
                  </a:lnTo>
                  <a:lnTo>
                    <a:pt x="35" y="104"/>
                  </a:lnTo>
                  <a:lnTo>
                    <a:pt x="38" y="110"/>
                  </a:lnTo>
                  <a:lnTo>
                    <a:pt x="38" y="110"/>
                  </a:lnTo>
                  <a:lnTo>
                    <a:pt x="38" y="117"/>
                  </a:lnTo>
                  <a:lnTo>
                    <a:pt x="35" y="120"/>
                  </a:lnTo>
                  <a:lnTo>
                    <a:pt x="32" y="123"/>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54" name="Freeform 1399"/>
            <p:cNvSpPr>
              <a:spLocks/>
            </p:cNvSpPr>
            <p:nvPr/>
          </p:nvSpPr>
          <p:spPr bwMode="auto">
            <a:xfrm>
              <a:off x="1846263" y="1886379"/>
              <a:ext cx="142875" cy="195263"/>
            </a:xfrm>
            <a:custGeom>
              <a:avLst/>
              <a:gdLst>
                <a:gd name="T0" fmla="*/ 23 w 90"/>
                <a:gd name="T1" fmla="*/ 123 h 123"/>
                <a:gd name="T2" fmla="*/ 17 w 90"/>
                <a:gd name="T3" fmla="*/ 121 h 123"/>
                <a:gd name="T4" fmla="*/ 22 w 90"/>
                <a:gd name="T5" fmla="*/ 119 h 123"/>
                <a:gd name="T6" fmla="*/ 14 w 90"/>
                <a:gd name="T7" fmla="*/ 116 h 123"/>
                <a:gd name="T8" fmla="*/ 13 w 90"/>
                <a:gd name="T9" fmla="*/ 111 h 123"/>
                <a:gd name="T10" fmla="*/ 14 w 90"/>
                <a:gd name="T11" fmla="*/ 95 h 123"/>
                <a:gd name="T12" fmla="*/ 9 w 90"/>
                <a:gd name="T13" fmla="*/ 90 h 123"/>
                <a:gd name="T14" fmla="*/ 1 w 90"/>
                <a:gd name="T15" fmla="*/ 85 h 123"/>
                <a:gd name="T16" fmla="*/ 1 w 90"/>
                <a:gd name="T17" fmla="*/ 84 h 123"/>
                <a:gd name="T18" fmla="*/ 6 w 90"/>
                <a:gd name="T19" fmla="*/ 79 h 123"/>
                <a:gd name="T20" fmla="*/ 1 w 90"/>
                <a:gd name="T21" fmla="*/ 71 h 123"/>
                <a:gd name="T22" fmla="*/ 0 w 90"/>
                <a:gd name="T23" fmla="*/ 62 h 123"/>
                <a:gd name="T24" fmla="*/ 4 w 90"/>
                <a:gd name="T25" fmla="*/ 56 h 123"/>
                <a:gd name="T26" fmla="*/ 3 w 90"/>
                <a:gd name="T27" fmla="*/ 37 h 123"/>
                <a:gd name="T28" fmla="*/ 3 w 90"/>
                <a:gd name="T29" fmla="*/ 23 h 123"/>
                <a:gd name="T30" fmla="*/ 4 w 90"/>
                <a:gd name="T31" fmla="*/ 23 h 123"/>
                <a:gd name="T32" fmla="*/ 7 w 90"/>
                <a:gd name="T33" fmla="*/ 27 h 123"/>
                <a:gd name="T34" fmla="*/ 12 w 90"/>
                <a:gd name="T35" fmla="*/ 24 h 123"/>
                <a:gd name="T36" fmla="*/ 13 w 90"/>
                <a:gd name="T37" fmla="*/ 16 h 123"/>
                <a:gd name="T38" fmla="*/ 10 w 90"/>
                <a:gd name="T39" fmla="*/ 9 h 123"/>
                <a:gd name="T40" fmla="*/ 13 w 90"/>
                <a:gd name="T41" fmla="*/ 4 h 123"/>
                <a:gd name="T42" fmla="*/ 29 w 90"/>
                <a:gd name="T43" fmla="*/ 7 h 123"/>
                <a:gd name="T44" fmla="*/ 30 w 90"/>
                <a:gd name="T45" fmla="*/ 6 h 123"/>
                <a:gd name="T46" fmla="*/ 33 w 90"/>
                <a:gd name="T47" fmla="*/ 0 h 123"/>
                <a:gd name="T48" fmla="*/ 49 w 90"/>
                <a:gd name="T49" fmla="*/ 0 h 123"/>
                <a:gd name="T50" fmla="*/ 56 w 90"/>
                <a:gd name="T51" fmla="*/ 9 h 123"/>
                <a:gd name="T52" fmla="*/ 61 w 90"/>
                <a:gd name="T53" fmla="*/ 11 h 123"/>
                <a:gd name="T54" fmla="*/ 61 w 90"/>
                <a:gd name="T55" fmla="*/ 9 h 123"/>
                <a:gd name="T56" fmla="*/ 65 w 90"/>
                <a:gd name="T57" fmla="*/ 7 h 123"/>
                <a:gd name="T58" fmla="*/ 72 w 90"/>
                <a:gd name="T59" fmla="*/ 6 h 123"/>
                <a:gd name="T60" fmla="*/ 78 w 90"/>
                <a:gd name="T61" fmla="*/ 6 h 123"/>
                <a:gd name="T62" fmla="*/ 88 w 90"/>
                <a:gd name="T63" fmla="*/ 10 h 123"/>
                <a:gd name="T64" fmla="*/ 90 w 90"/>
                <a:gd name="T65" fmla="*/ 16 h 123"/>
                <a:gd name="T66" fmla="*/ 83 w 90"/>
                <a:gd name="T67" fmla="*/ 33 h 123"/>
                <a:gd name="T68" fmla="*/ 77 w 90"/>
                <a:gd name="T69" fmla="*/ 42 h 123"/>
                <a:gd name="T70" fmla="*/ 72 w 90"/>
                <a:gd name="T71" fmla="*/ 49 h 123"/>
                <a:gd name="T72" fmla="*/ 72 w 90"/>
                <a:gd name="T73" fmla="*/ 62 h 123"/>
                <a:gd name="T74" fmla="*/ 61 w 90"/>
                <a:gd name="T75" fmla="*/ 77 h 123"/>
                <a:gd name="T76" fmla="*/ 46 w 90"/>
                <a:gd name="T77" fmla="*/ 79 h 123"/>
                <a:gd name="T78" fmla="*/ 42 w 90"/>
                <a:gd name="T79" fmla="*/ 78 h 123"/>
                <a:gd name="T80" fmla="*/ 35 w 90"/>
                <a:gd name="T81" fmla="*/ 84 h 123"/>
                <a:gd name="T82" fmla="*/ 28 w 90"/>
                <a:gd name="T83" fmla="*/ 87 h 123"/>
                <a:gd name="T84" fmla="*/ 30 w 90"/>
                <a:gd name="T85" fmla="*/ 95 h 123"/>
                <a:gd name="T86" fmla="*/ 38 w 90"/>
                <a:gd name="T87" fmla="*/ 110 h 123"/>
                <a:gd name="T88" fmla="*/ 32 w 90"/>
                <a:gd name="T89"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 h="123">
                  <a:moveTo>
                    <a:pt x="32" y="123"/>
                  </a:moveTo>
                  <a:lnTo>
                    <a:pt x="32" y="123"/>
                  </a:lnTo>
                  <a:lnTo>
                    <a:pt x="23" y="123"/>
                  </a:lnTo>
                  <a:lnTo>
                    <a:pt x="19" y="123"/>
                  </a:lnTo>
                  <a:lnTo>
                    <a:pt x="17" y="121"/>
                  </a:lnTo>
                  <a:lnTo>
                    <a:pt x="17" y="121"/>
                  </a:lnTo>
                  <a:lnTo>
                    <a:pt x="17" y="121"/>
                  </a:lnTo>
                  <a:lnTo>
                    <a:pt x="20" y="119"/>
                  </a:lnTo>
                  <a:lnTo>
                    <a:pt x="22" y="119"/>
                  </a:lnTo>
                  <a:lnTo>
                    <a:pt x="20" y="117"/>
                  </a:lnTo>
                  <a:lnTo>
                    <a:pt x="20" y="117"/>
                  </a:lnTo>
                  <a:lnTo>
                    <a:pt x="14" y="116"/>
                  </a:lnTo>
                  <a:lnTo>
                    <a:pt x="14" y="113"/>
                  </a:lnTo>
                  <a:lnTo>
                    <a:pt x="13" y="111"/>
                  </a:lnTo>
                  <a:lnTo>
                    <a:pt x="13" y="111"/>
                  </a:lnTo>
                  <a:lnTo>
                    <a:pt x="14" y="104"/>
                  </a:lnTo>
                  <a:lnTo>
                    <a:pt x="16" y="100"/>
                  </a:lnTo>
                  <a:lnTo>
                    <a:pt x="14" y="95"/>
                  </a:lnTo>
                  <a:lnTo>
                    <a:pt x="14" y="95"/>
                  </a:lnTo>
                  <a:lnTo>
                    <a:pt x="10" y="91"/>
                  </a:lnTo>
                  <a:lnTo>
                    <a:pt x="9" y="90"/>
                  </a:lnTo>
                  <a:lnTo>
                    <a:pt x="7" y="88"/>
                  </a:lnTo>
                  <a:lnTo>
                    <a:pt x="7" y="88"/>
                  </a:lnTo>
                  <a:lnTo>
                    <a:pt x="1" y="85"/>
                  </a:lnTo>
                  <a:lnTo>
                    <a:pt x="0" y="84"/>
                  </a:lnTo>
                  <a:lnTo>
                    <a:pt x="1" y="84"/>
                  </a:lnTo>
                  <a:lnTo>
                    <a:pt x="1" y="84"/>
                  </a:lnTo>
                  <a:lnTo>
                    <a:pt x="4" y="82"/>
                  </a:lnTo>
                  <a:lnTo>
                    <a:pt x="4" y="81"/>
                  </a:lnTo>
                  <a:lnTo>
                    <a:pt x="6" y="79"/>
                  </a:lnTo>
                  <a:lnTo>
                    <a:pt x="6" y="79"/>
                  </a:lnTo>
                  <a:lnTo>
                    <a:pt x="4" y="75"/>
                  </a:lnTo>
                  <a:lnTo>
                    <a:pt x="1" y="71"/>
                  </a:lnTo>
                  <a:lnTo>
                    <a:pt x="0" y="65"/>
                  </a:lnTo>
                  <a:lnTo>
                    <a:pt x="0" y="62"/>
                  </a:lnTo>
                  <a:lnTo>
                    <a:pt x="0" y="62"/>
                  </a:lnTo>
                  <a:lnTo>
                    <a:pt x="3" y="59"/>
                  </a:lnTo>
                  <a:lnTo>
                    <a:pt x="4" y="59"/>
                  </a:lnTo>
                  <a:lnTo>
                    <a:pt x="4" y="56"/>
                  </a:lnTo>
                  <a:lnTo>
                    <a:pt x="4" y="56"/>
                  </a:lnTo>
                  <a:lnTo>
                    <a:pt x="3" y="46"/>
                  </a:lnTo>
                  <a:lnTo>
                    <a:pt x="3" y="37"/>
                  </a:lnTo>
                  <a:lnTo>
                    <a:pt x="3" y="37"/>
                  </a:lnTo>
                  <a:lnTo>
                    <a:pt x="3" y="27"/>
                  </a:lnTo>
                  <a:lnTo>
                    <a:pt x="3" y="23"/>
                  </a:lnTo>
                  <a:lnTo>
                    <a:pt x="3" y="23"/>
                  </a:lnTo>
                  <a:lnTo>
                    <a:pt x="4" y="23"/>
                  </a:lnTo>
                  <a:lnTo>
                    <a:pt x="4" y="23"/>
                  </a:lnTo>
                  <a:lnTo>
                    <a:pt x="6" y="24"/>
                  </a:lnTo>
                  <a:lnTo>
                    <a:pt x="7" y="26"/>
                  </a:lnTo>
                  <a:lnTo>
                    <a:pt x="7" y="27"/>
                  </a:lnTo>
                  <a:lnTo>
                    <a:pt x="9" y="26"/>
                  </a:lnTo>
                  <a:lnTo>
                    <a:pt x="9" y="26"/>
                  </a:lnTo>
                  <a:lnTo>
                    <a:pt x="12" y="24"/>
                  </a:lnTo>
                  <a:lnTo>
                    <a:pt x="13" y="22"/>
                  </a:lnTo>
                  <a:lnTo>
                    <a:pt x="14" y="19"/>
                  </a:lnTo>
                  <a:lnTo>
                    <a:pt x="13" y="16"/>
                  </a:lnTo>
                  <a:lnTo>
                    <a:pt x="13" y="16"/>
                  </a:lnTo>
                  <a:lnTo>
                    <a:pt x="10" y="13"/>
                  </a:lnTo>
                  <a:lnTo>
                    <a:pt x="10" y="9"/>
                  </a:lnTo>
                  <a:lnTo>
                    <a:pt x="10" y="6"/>
                  </a:lnTo>
                  <a:lnTo>
                    <a:pt x="13" y="4"/>
                  </a:lnTo>
                  <a:lnTo>
                    <a:pt x="13" y="4"/>
                  </a:lnTo>
                  <a:lnTo>
                    <a:pt x="17" y="6"/>
                  </a:lnTo>
                  <a:lnTo>
                    <a:pt x="23" y="7"/>
                  </a:lnTo>
                  <a:lnTo>
                    <a:pt x="29" y="7"/>
                  </a:lnTo>
                  <a:lnTo>
                    <a:pt x="30" y="7"/>
                  </a:lnTo>
                  <a:lnTo>
                    <a:pt x="30" y="6"/>
                  </a:lnTo>
                  <a:lnTo>
                    <a:pt x="30" y="6"/>
                  </a:lnTo>
                  <a:lnTo>
                    <a:pt x="29" y="1"/>
                  </a:lnTo>
                  <a:lnTo>
                    <a:pt x="30" y="0"/>
                  </a:lnTo>
                  <a:lnTo>
                    <a:pt x="33" y="0"/>
                  </a:lnTo>
                  <a:lnTo>
                    <a:pt x="33" y="0"/>
                  </a:lnTo>
                  <a:lnTo>
                    <a:pt x="45" y="0"/>
                  </a:lnTo>
                  <a:lnTo>
                    <a:pt x="49" y="0"/>
                  </a:lnTo>
                  <a:lnTo>
                    <a:pt x="52" y="3"/>
                  </a:lnTo>
                  <a:lnTo>
                    <a:pt x="52" y="3"/>
                  </a:lnTo>
                  <a:lnTo>
                    <a:pt x="56" y="9"/>
                  </a:lnTo>
                  <a:lnTo>
                    <a:pt x="58" y="11"/>
                  </a:lnTo>
                  <a:lnTo>
                    <a:pt x="61" y="11"/>
                  </a:lnTo>
                  <a:lnTo>
                    <a:pt x="61" y="11"/>
                  </a:lnTo>
                  <a:lnTo>
                    <a:pt x="61" y="11"/>
                  </a:lnTo>
                  <a:lnTo>
                    <a:pt x="61" y="11"/>
                  </a:lnTo>
                  <a:lnTo>
                    <a:pt x="61" y="9"/>
                  </a:lnTo>
                  <a:lnTo>
                    <a:pt x="61" y="7"/>
                  </a:lnTo>
                  <a:lnTo>
                    <a:pt x="65" y="7"/>
                  </a:lnTo>
                  <a:lnTo>
                    <a:pt x="65" y="7"/>
                  </a:lnTo>
                  <a:lnTo>
                    <a:pt x="70" y="7"/>
                  </a:lnTo>
                  <a:lnTo>
                    <a:pt x="72" y="7"/>
                  </a:lnTo>
                  <a:lnTo>
                    <a:pt x="72" y="6"/>
                  </a:lnTo>
                  <a:lnTo>
                    <a:pt x="74" y="4"/>
                  </a:lnTo>
                  <a:lnTo>
                    <a:pt x="74" y="4"/>
                  </a:lnTo>
                  <a:lnTo>
                    <a:pt x="78" y="6"/>
                  </a:lnTo>
                  <a:lnTo>
                    <a:pt x="84" y="9"/>
                  </a:lnTo>
                  <a:lnTo>
                    <a:pt x="84" y="9"/>
                  </a:lnTo>
                  <a:lnTo>
                    <a:pt x="88" y="10"/>
                  </a:lnTo>
                  <a:lnTo>
                    <a:pt x="90" y="11"/>
                  </a:lnTo>
                  <a:lnTo>
                    <a:pt x="90" y="14"/>
                  </a:lnTo>
                  <a:lnTo>
                    <a:pt x="90" y="16"/>
                  </a:lnTo>
                  <a:lnTo>
                    <a:pt x="90" y="16"/>
                  </a:lnTo>
                  <a:lnTo>
                    <a:pt x="85" y="23"/>
                  </a:lnTo>
                  <a:lnTo>
                    <a:pt x="83" y="33"/>
                  </a:lnTo>
                  <a:lnTo>
                    <a:pt x="83" y="33"/>
                  </a:lnTo>
                  <a:lnTo>
                    <a:pt x="80" y="37"/>
                  </a:lnTo>
                  <a:lnTo>
                    <a:pt x="77" y="42"/>
                  </a:lnTo>
                  <a:lnTo>
                    <a:pt x="74" y="46"/>
                  </a:lnTo>
                  <a:lnTo>
                    <a:pt x="72" y="49"/>
                  </a:lnTo>
                  <a:lnTo>
                    <a:pt x="72" y="49"/>
                  </a:lnTo>
                  <a:lnTo>
                    <a:pt x="72" y="56"/>
                  </a:lnTo>
                  <a:lnTo>
                    <a:pt x="72" y="62"/>
                  </a:lnTo>
                  <a:lnTo>
                    <a:pt x="72" y="62"/>
                  </a:lnTo>
                  <a:lnTo>
                    <a:pt x="67" y="71"/>
                  </a:lnTo>
                  <a:lnTo>
                    <a:pt x="64" y="75"/>
                  </a:lnTo>
                  <a:lnTo>
                    <a:pt x="61" y="77"/>
                  </a:lnTo>
                  <a:lnTo>
                    <a:pt x="61" y="77"/>
                  </a:lnTo>
                  <a:lnTo>
                    <a:pt x="54" y="79"/>
                  </a:lnTo>
                  <a:lnTo>
                    <a:pt x="46" y="79"/>
                  </a:lnTo>
                  <a:lnTo>
                    <a:pt x="46" y="79"/>
                  </a:lnTo>
                  <a:lnTo>
                    <a:pt x="43" y="79"/>
                  </a:lnTo>
                  <a:lnTo>
                    <a:pt x="42" y="78"/>
                  </a:lnTo>
                  <a:lnTo>
                    <a:pt x="41" y="79"/>
                  </a:lnTo>
                  <a:lnTo>
                    <a:pt x="41" y="79"/>
                  </a:lnTo>
                  <a:lnTo>
                    <a:pt x="35" y="84"/>
                  </a:lnTo>
                  <a:lnTo>
                    <a:pt x="29" y="87"/>
                  </a:lnTo>
                  <a:lnTo>
                    <a:pt x="29" y="87"/>
                  </a:lnTo>
                  <a:lnTo>
                    <a:pt x="28" y="87"/>
                  </a:lnTo>
                  <a:lnTo>
                    <a:pt x="28" y="90"/>
                  </a:lnTo>
                  <a:lnTo>
                    <a:pt x="30" y="95"/>
                  </a:lnTo>
                  <a:lnTo>
                    <a:pt x="30" y="95"/>
                  </a:lnTo>
                  <a:lnTo>
                    <a:pt x="35" y="104"/>
                  </a:lnTo>
                  <a:lnTo>
                    <a:pt x="38" y="110"/>
                  </a:lnTo>
                  <a:lnTo>
                    <a:pt x="38" y="110"/>
                  </a:lnTo>
                  <a:lnTo>
                    <a:pt x="38" y="117"/>
                  </a:lnTo>
                  <a:lnTo>
                    <a:pt x="35" y="120"/>
                  </a:lnTo>
                  <a:lnTo>
                    <a:pt x="32" y="1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55" name="Freeform 1400"/>
            <p:cNvSpPr>
              <a:spLocks/>
            </p:cNvSpPr>
            <p:nvPr/>
          </p:nvSpPr>
          <p:spPr bwMode="auto">
            <a:xfrm>
              <a:off x="1671638" y="1897491"/>
              <a:ext cx="168275" cy="239713"/>
            </a:xfrm>
            <a:custGeom>
              <a:avLst/>
              <a:gdLst>
                <a:gd name="T0" fmla="*/ 91 w 106"/>
                <a:gd name="T1" fmla="*/ 126 h 151"/>
                <a:gd name="T2" fmla="*/ 88 w 106"/>
                <a:gd name="T3" fmla="*/ 128 h 151"/>
                <a:gd name="T4" fmla="*/ 82 w 106"/>
                <a:gd name="T5" fmla="*/ 133 h 151"/>
                <a:gd name="T6" fmla="*/ 74 w 106"/>
                <a:gd name="T7" fmla="*/ 138 h 151"/>
                <a:gd name="T8" fmla="*/ 68 w 106"/>
                <a:gd name="T9" fmla="*/ 145 h 151"/>
                <a:gd name="T10" fmla="*/ 59 w 106"/>
                <a:gd name="T11" fmla="*/ 149 h 151"/>
                <a:gd name="T12" fmla="*/ 55 w 106"/>
                <a:gd name="T13" fmla="*/ 149 h 151"/>
                <a:gd name="T14" fmla="*/ 49 w 106"/>
                <a:gd name="T15" fmla="*/ 133 h 151"/>
                <a:gd name="T16" fmla="*/ 39 w 106"/>
                <a:gd name="T17" fmla="*/ 119 h 151"/>
                <a:gd name="T18" fmla="*/ 35 w 106"/>
                <a:gd name="T19" fmla="*/ 120 h 151"/>
                <a:gd name="T20" fmla="*/ 30 w 106"/>
                <a:gd name="T21" fmla="*/ 113 h 151"/>
                <a:gd name="T22" fmla="*/ 26 w 106"/>
                <a:gd name="T23" fmla="*/ 109 h 151"/>
                <a:gd name="T24" fmla="*/ 19 w 106"/>
                <a:gd name="T25" fmla="*/ 110 h 151"/>
                <a:gd name="T26" fmla="*/ 7 w 106"/>
                <a:gd name="T27" fmla="*/ 96 h 151"/>
                <a:gd name="T28" fmla="*/ 6 w 106"/>
                <a:gd name="T29" fmla="*/ 87 h 151"/>
                <a:gd name="T30" fmla="*/ 4 w 106"/>
                <a:gd name="T31" fmla="*/ 83 h 151"/>
                <a:gd name="T32" fmla="*/ 0 w 106"/>
                <a:gd name="T33" fmla="*/ 62 h 151"/>
                <a:gd name="T34" fmla="*/ 1 w 106"/>
                <a:gd name="T35" fmla="*/ 54 h 151"/>
                <a:gd name="T36" fmla="*/ 4 w 106"/>
                <a:gd name="T37" fmla="*/ 48 h 151"/>
                <a:gd name="T38" fmla="*/ 10 w 106"/>
                <a:gd name="T39" fmla="*/ 45 h 151"/>
                <a:gd name="T40" fmla="*/ 17 w 106"/>
                <a:gd name="T41" fmla="*/ 54 h 151"/>
                <a:gd name="T42" fmla="*/ 14 w 106"/>
                <a:gd name="T43" fmla="*/ 61 h 151"/>
                <a:gd name="T44" fmla="*/ 19 w 106"/>
                <a:gd name="T45" fmla="*/ 65 h 151"/>
                <a:gd name="T46" fmla="*/ 29 w 106"/>
                <a:gd name="T47" fmla="*/ 71 h 151"/>
                <a:gd name="T48" fmla="*/ 33 w 106"/>
                <a:gd name="T49" fmla="*/ 72 h 151"/>
                <a:gd name="T50" fmla="*/ 40 w 106"/>
                <a:gd name="T51" fmla="*/ 65 h 151"/>
                <a:gd name="T52" fmla="*/ 36 w 106"/>
                <a:gd name="T53" fmla="*/ 59 h 151"/>
                <a:gd name="T54" fmla="*/ 36 w 106"/>
                <a:gd name="T55" fmla="*/ 49 h 151"/>
                <a:gd name="T56" fmla="*/ 33 w 106"/>
                <a:gd name="T57" fmla="*/ 41 h 151"/>
                <a:gd name="T58" fmla="*/ 22 w 106"/>
                <a:gd name="T59" fmla="*/ 35 h 151"/>
                <a:gd name="T60" fmla="*/ 17 w 106"/>
                <a:gd name="T61" fmla="*/ 25 h 151"/>
                <a:gd name="T62" fmla="*/ 17 w 106"/>
                <a:gd name="T63" fmla="*/ 13 h 151"/>
                <a:gd name="T64" fmla="*/ 23 w 106"/>
                <a:gd name="T65" fmla="*/ 2 h 151"/>
                <a:gd name="T66" fmla="*/ 29 w 106"/>
                <a:gd name="T67" fmla="*/ 2 h 151"/>
                <a:gd name="T68" fmla="*/ 33 w 106"/>
                <a:gd name="T69" fmla="*/ 3 h 151"/>
                <a:gd name="T70" fmla="*/ 46 w 106"/>
                <a:gd name="T71" fmla="*/ 0 h 151"/>
                <a:gd name="T72" fmla="*/ 43 w 106"/>
                <a:gd name="T73" fmla="*/ 4 h 151"/>
                <a:gd name="T74" fmla="*/ 43 w 106"/>
                <a:gd name="T75" fmla="*/ 7 h 151"/>
                <a:gd name="T76" fmla="*/ 56 w 106"/>
                <a:gd name="T77" fmla="*/ 15 h 151"/>
                <a:gd name="T78" fmla="*/ 71 w 106"/>
                <a:gd name="T79" fmla="*/ 9 h 151"/>
                <a:gd name="T80" fmla="*/ 77 w 106"/>
                <a:gd name="T81" fmla="*/ 4 h 151"/>
                <a:gd name="T82" fmla="*/ 84 w 106"/>
                <a:gd name="T83" fmla="*/ 12 h 151"/>
                <a:gd name="T84" fmla="*/ 87 w 106"/>
                <a:gd name="T85" fmla="*/ 17 h 151"/>
                <a:gd name="T86" fmla="*/ 80 w 106"/>
                <a:gd name="T87" fmla="*/ 22 h 151"/>
                <a:gd name="T88" fmla="*/ 82 w 106"/>
                <a:gd name="T89" fmla="*/ 26 h 151"/>
                <a:gd name="T90" fmla="*/ 87 w 106"/>
                <a:gd name="T91" fmla="*/ 35 h 151"/>
                <a:gd name="T92" fmla="*/ 82 w 106"/>
                <a:gd name="T93" fmla="*/ 38 h 151"/>
                <a:gd name="T94" fmla="*/ 77 w 106"/>
                <a:gd name="T95" fmla="*/ 36 h 151"/>
                <a:gd name="T96" fmla="*/ 74 w 106"/>
                <a:gd name="T97" fmla="*/ 46 h 151"/>
                <a:gd name="T98" fmla="*/ 72 w 106"/>
                <a:gd name="T99" fmla="*/ 52 h 151"/>
                <a:gd name="T100" fmla="*/ 71 w 106"/>
                <a:gd name="T101" fmla="*/ 57 h 151"/>
                <a:gd name="T102" fmla="*/ 80 w 106"/>
                <a:gd name="T103" fmla="*/ 68 h 151"/>
                <a:gd name="T104" fmla="*/ 81 w 106"/>
                <a:gd name="T105" fmla="*/ 68 h 151"/>
                <a:gd name="T106" fmla="*/ 81 w 106"/>
                <a:gd name="T107" fmla="*/ 57 h 151"/>
                <a:gd name="T108" fmla="*/ 84 w 106"/>
                <a:gd name="T109" fmla="*/ 57 h 151"/>
                <a:gd name="T110" fmla="*/ 88 w 106"/>
                <a:gd name="T111" fmla="*/ 67 h 151"/>
                <a:gd name="T112" fmla="*/ 94 w 106"/>
                <a:gd name="T113" fmla="*/ 71 h 151"/>
                <a:gd name="T114" fmla="*/ 100 w 106"/>
                <a:gd name="T115" fmla="*/ 75 h 151"/>
                <a:gd name="T116" fmla="*/ 106 w 106"/>
                <a:gd name="T117" fmla="*/ 90 h 151"/>
                <a:gd name="T118" fmla="*/ 100 w 106"/>
                <a:gd name="T119" fmla="*/ 99 h 151"/>
                <a:gd name="T120" fmla="*/ 97 w 106"/>
                <a:gd name="T121" fmla="*/ 104 h 151"/>
                <a:gd name="T122" fmla="*/ 103 w 106"/>
                <a:gd name="T123" fmla="*/ 114 h 151"/>
                <a:gd name="T124" fmla="*/ 101 w 106"/>
                <a:gd name="T125" fmla="*/ 12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 h="151">
                  <a:moveTo>
                    <a:pt x="97" y="125"/>
                  </a:moveTo>
                  <a:lnTo>
                    <a:pt x="97" y="125"/>
                  </a:lnTo>
                  <a:lnTo>
                    <a:pt x="91" y="126"/>
                  </a:lnTo>
                  <a:lnTo>
                    <a:pt x="90" y="126"/>
                  </a:lnTo>
                  <a:lnTo>
                    <a:pt x="88" y="128"/>
                  </a:lnTo>
                  <a:lnTo>
                    <a:pt x="88" y="128"/>
                  </a:lnTo>
                  <a:lnTo>
                    <a:pt x="85" y="130"/>
                  </a:lnTo>
                  <a:lnTo>
                    <a:pt x="82" y="133"/>
                  </a:lnTo>
                  <a:lnTo>
                    <a:pt x="82" y="133"/>
                  </a:lnTo>
                  <a:lnTo>
                    <a:pt x="80" y="136"/>
                  </a:lnTo>
                  <a:lnTo>
                    <a:pt x="77" y="138"/>
                  </a:lnTo>
                  <a:lnTo>
                    <a:pt x="74" y="138"/>
                  </a:lnTo>
                  <a:lnTo>
                    <a:pt x="72" y="141"/>
                  </a:lnTo>
                  <a:lnTo>
                    <a:pt x="72" y="141"/>
                  </a:lnTo>
                  <a:lnTo>
                    <a:pt x="68" y="145"/>
                  </a:lnTo>
                  <a:lnTo>
                    <a:pt x="64" y="148"/>
                  </a:lnTo>
                  <a:lnTo>
                    <a:pt x="64" y="148"/>
                  </a:lnTo>
                  <a:lnTo>
                    <a:pt x="59" y="149"/>
                  </a:lnTo>
                  <a:lnTo>
                    <a:pt x="56" y="151"/>
                  </a:lnTo>
                  <a:lnTo>
                    <a:pt x="55" y="149"/>
                  </a:lnTo>
                  <a:lnTo>
                    <a:pt x="55" y="149"/>
                  </a:lnTo>
                  <a:lnTo>
                    <a:pt x="52" y="142"/>
                  </a:lnTo>
                  <a:lnTo>
                    <a:pt x="49" y="133"/>
                  </a:lnTo>
                  <a:lnTo>
                    <a:pt x="49" y="133"/>
                  </a:lnTo>
                  <a:lnTo>
                    <a:pt x="43" y="125"/>
                  </a:lnTo>
                  <a:lnTo>
                    <a:pt x="40" y="120"/>
                  </a:lnTo>
                  <a:lnTo>
                    <a:pt x="39" y="119"/>
                  </a:lnTo>
                  <a:lnTo>
                    <a:pt x="39" y="119"/>
                  </a:lnTo>
                  <a:lnTo>
                    <a:pt x="36" y="120"/>
                  </a:lnTo>
                  <a:lnTo>
                    <a:pt x="35" y="120"/>
                  </a:lnTo>
                  <a:lnTo>
                    <a:pt x="33" y="119"/>
                  </a:lnTo>
                  <a:lnTo>
                    <a:pt x="33" y="119"/>
                  </a:lnTo>
                  <a:lnTo>
                    <a:pt x="30" y="113"/>
                  </a:lnTo>
                  <a:lnTo>
                    <a:pt x="29" y="110"/>
                  </a:lnTo>
                  <a:lnTo>
                    <a:pt x="26" y="109"/>
                  </a:lnTo>
                  <a:lnTo>
                    <a:pt x="26" y="109"/>
                  </a:lnTo>
                  <a:lnTo>
                    <a:pt x="23" y="110"/>
                  </a:lnTo>
                  <a:lnTo>
                    <a:pt x="20" y="110"/>
                  </a:lnTo>
                  <a:lnTo>
                    <a:pt x="19" y="110"/>
                  </a:lnTo>
                  <a:lnTo>
                    <a:pt x="19" y="110"/>
                  </a:lnTo>
                  <a:lnTo>
                    <a:pt x="12" y="101"/>
                  </a:lnTo>
                  <a:lnTo>
                    <a:pt x="7" y="96"/>
                  </a:lnTo>
                  <a:lnTo>
                    <a:pt x="6" y="91"/>
                  </a:lnTo>
                  <a:lnTo>
                    <a:pt x="6" y="91"/>
                  </a:lnTo>
                  <a:lnTo>
                    <a:pt x="6" y="87"/>
                  </a:lnTo>
                  <a:lnTo>
                    <a:pt x="6" y="86"/>
                  </a:lnTo>
                  <a:lnTo>
                    <a:pt x="4" y="83"/>
                  </a:lnTo>
                  <a:lnTo>
                    <a:pt x="4" y="83"/>
                  </a:lnTo>
                  <a:lnTo>
                    <a:pt x="3" y="78"/>
                  </a:lnTo>
                  <a:lnTo>
                    <a:pt x="1" y="72"/>
                  </a:lnTo>
                  <a:lnTo>
                    <a:pt x="0" y="62"/>
                  </a:lnTo>
                  <a:lnTo>
                    <a:pt x="0" y="62"/>
                  </a:lnTo>
                  <a:lnTo>
                    <a:pt x="0" y="58"/>
                  </a:lnTo>
                  <a:lnTo>
                    <a:pt x="1" y="54"/>
                  </a:lnTo>
                  <a:lnTo>
                    <a:pt x="1" y="54"/>
                  </a:lnTo>
                  <a:lnTo>
                    <a:pt x="1" y="51"/>
                  </a:lnTo>
                  <a:lnTo>
                    <a:pt x="4" y="48"/>
                  </a:lnTo>
                  <a:lnTo>
                    <a:pt x="7" y="45"/>
                  </a:lnTo>
                  <a:lnTo>
                    <a:pt x="10" y="45"/>
                  </a:lnTo>
                  <a:lnTo>
                    <a:pt x="10" y="45"/>
                  </a:lnTo>
                  <a:lnTo>
                    <a:pt x="16" y="49"/>
                  </a:lnTo>
                  <a:lnTo>
                    <a:pt x="17" y="52"/>
                  </a:lnTo>
                  <a:lnTo>
                    <a:pt x="17" y="54"/>
                  </a:lnTo>
                  <a:lnTo>
                    <a:pt x="17" y="54"/>
                  </a:lnTo>
                  <a:lnTo>
                    <a:pt x="16" y="57"/>
                  </a:lnTo>
                  <a:lnTo>
                    <a:pt x="14" y="61"/>
                  </a:lnTo>
                  <a:lnTo>
                    <a:pt x="14" y="61"/>
                  </a:lnTo>
                  <a:lnTo>
                    <a:pt x="16" y="64"/>
                  </a:lnTo>
                  <a:lnTo>
                    <a:pt x="19" y="65"/>
                  </a:lnTo>
                  <a:lnTo>
                    <a:pt x="25" y="70"/>
                  </a:lnTo>
                  <a:lnTo>
                    <a:pt x="25" y="70"/>
                  </a:lnTo>
                  <a:lnTo>
                    <a:pt x="29" y="71"/>
                  </a:lnTo>
                  <a:lnTo>
                    <a:pt x="32" y="72"/>
                  </a:lnTo>
                  <a:lnTo>
                    <a:pt x="33" y="72"/>
                  </a:lnTo>
                  <a:lnTo>
                    <a:pt x="33" y="72"/>
                  </a:lnTo>
                  <a:lnTo>
                    <a:pt x="38" y="68"/>
                  </a:lnTo>
                  <a:lnTo>
                    <a:pt x="40" y="65"/>
                  </a:lnTo>
                  <a:lnTo>
                    <a:pt x="40" y="65"/>
                  </a:lnTo>
                  <a:lnTo>
                    <a:pt x="40" y="64"/>
                  </a:lnTo>
                  <a:lnTo>
                    <a:pt x="39" y="61"/>
                  </a:lnTo>
                  <a:lnTo>
                    <a:pt x="36" y="59"/>
                  </a:lnTo>
                  <a:lnTo>
                    <a:pt x="36" y="57"/>
                  </a:lnTo>
                  <a:lnTo>
                    <a:pt x="36" y="57"/>
                  </a:lnTo>
                  <a:lnTo>
                    <a:pt x="36" y="49"/>
                  </a:lnTo>
                  <a:lnTo>
                    <a:pt x="35" y="44"/>
                  </a:lnTo>
                  <a:lnTo>
                    <a:pt x="33" y="41"/>
                  </a:lnTo>
                  <a:lnTo>
                    <a:pt x="33" y="41"/>
                  </a:lnTo>
                  <a:lnTo>
                    <a:pt x="26" y="39"/>
                  </a:lnTo>
                  <a:lnTo>
                    <a:pt x="23" y="38"/>
                  </a:lnTo>
                  <a:lnTo>
                    <a:pt x="22" y="35"/>
                  </a:lnTo>
                  <a:lnTo>
                    <a:pt x="22" y="35"/>
                  </a:lnTo>
                  <a:lnTo>
                    <a:pt x="20" y="29"/>
                  </a:lnTo>
                  <a:lnTo>
                    <a:pt x="17" y="25"/>
                  </a:lnTo>
                  <a:lnTo>
                    <a:pt x="17" y="25"/>
                  </a:lnTo>
                  <a:lnTo>
                    <a:pt x="17" y="20"/>
                  </a:lnTo>
                  <a:lnTo>
                    <a:pt x="17" y="13"/>
                  </a:lnTo>
                  <a:lnTo>
                    <a:pt x="20" y="6"/>
                  </a:lnTo>
                  <a:lnTo>
                    <a:pt x="22" y="3"/>
                  </a:lnTo>
                  <a:lnTo>
                    <a:pt x="23" y="2"/>
                  </a:lnTo>
                  <a:lnTo>
                    <a:pt x="23" y="2"/>
                  </a:lnTo>
                  <a:lnTo>
                    <a:pt x="26" y="2"/>
                  </a:lnTo>
                  <a:lnTo>
                    <a:pt x="29" y="2"/>
                  </a:lnTo>
                  <a:lnTo>
                    <a:pt x="30" y="3"/>
                  </a:lnTo>
                  <a:lnTo>
                    <a:pt x="33" y="3"/>
                  </a:lnTo>
                  <a:lnTo>
                    <a:pt x="33" y="3"/>
                  </a:lnTo>
                  <a:lnTo>
                    <a:pt x="42" y="0"/>
                  </a:lnTo>
                  <a:lnTo>
                    <a:pt x="45" y="0"/>
                  </a:lnTo>
                  <a:lnTo>
                    <a:pt x="46" y="0"/>
                  </a:lnTo>
                  <a:lnTo>
                    <a:pt x="46" y="2"/>
                  </a:lnTo>
                  <a:lnTo>
                    <a:pt x="46" y="2"/>
                  </a:lnTo>
                  <a:lnTo>
                    <a:pt x="43" y="4"/>
                  </a:lnTo>
                  <a:lnTo>
                    <a:pt x="42" y="6"/>
                  </a:lnTo>
                  <a:lnTo>
                    <a:pt x="43" y="7"/>
                  </a:lnTo>
                  <a:lnTo>
                    <a:pt x="43" y="7"/>
                  </a:lnTo>
                  <a:lnTo>
                    <a:pt x="51" y="13"/>
                  </a:lnTo>
                  <a:lnTo>
                    <a:pt x="54" y="15"/>
                  </a:lnTo>
                  <a:lnTo>
                    <a:pt x="56" y="15"/>
                  </a:lnTo>
                  <a:lnTo>
                    <a:pt x="56" y="15"/>
                  </a:lnTo>
                  <a:lnTo>
                    <a:pt x="65" y="12"/>
                  </a:lnTo>
                  <a:lnTo>
                    <a:pt x="71" y="9"/>
                  </a:lnTo>
                  <a:lnTo>
                    <a:pt x="71" y="9"/>
                  </a:lnTo>
                  <a:lnTo>
                    <a:pt x="74" y="4"/>
                  </a:lnTo>
                  <a:lnTo>
                    <a:pt x="77" y="4"/>
                  </a:lnTo>
                  <a:lnTo>
                    <a:pt x="78" y="4"/>
                  </a:lnTo>
                  <a:lnTo>
                    <a:pt x="78" y="4"/>
                  </a:lnTo>
                  <a:lnTo>
                    <a:pt x="84" y="12"/>
                  </a:lnTo>
                  <a:lnTo>
                    <a:pt x="87" y="16"/>
                  </a:lnTo>
                  <a:lnTo>
                    <a:pt x="87" y="17"/>
                  </a:lnTo>
                  <a:lnTo>
                    <a:pt x="87" y="17"/>
                  </a:lnTo>
                  <a:lnTo>
                    <a:pt x="82" y="19"/>
                  </a:lnTo>
                  <a:lnTo>
                    <a:pt x="81" y="19"/>
                  </a:lnTo>
                  <a:lnTo>
                    <a:pt x="80" y="22"/>
                  </a:lnTo>
                  <a:lnTo>
                    <a:pt x="80" y="22"/>
                  </a:lnTo>
                  <a:lnTo>
                    <a:pt x="81" y="23"/>
                  </a:lnTo>
                  <a:lnTo>
                    <a:pt x="82" y="26"/>
                  </a:lnTo>
                  <a:lnTo>
                    <a:pt x="87" y="32"/>
                  </a:lnTo>
                  <a:lnTo>
                    <a:pt x="87" y="32"/>
                  </a:lnTo>
                  <a:lnTo>
                    <a:pt x="87" y="35"/>
                  </a:lnTo>
                  <a:lnTo>
                    <a:pt x="87" y="36"/>
                  </a:lnTo>
                  <a:lnTo>
                    <a:pt x="85" y="38"/>
                  </a:lnTo>
                  <a:lnTo>
                    <a:pt x="82" y="38"/>
                  </a:lnTo>
                  <a:lnTo>
                    <a:pt x="82" y="38"/>
                  </a:lnTo>
                  <a:lnTo>
                    <a:pt x="78" y="36"/>
                  </a:lnTo>
                  <a:lnTo>
                    <a:pt x="77" y="36"/>
                  </a:lnTo>
                  <a:lnTo>
                    <a:pt x="75" y="38"/>
                  </a:lnTo>
                  <a:lnTo>
                    <a:pt x="75" y="38"/>
                  </a:lnTo>
                  <a:lnTo>
                    <a:pt x="74" y="46"/>
                  </a:lnTo>
                  <a:lnTo>
                    <a:pt x="74" y="49"/>
                  </a:lnTo>
                  <a:lnTo>
                    <a:pt x="72" y="52"/>
                  </a:lnTo>
                  <a:lnTo>
                    <a:pt x="72" y="52"/>
                  </a:lnTo>
                  <a:lnTo>
                    <a:pt x="69" y="54"/>
                  </a:lnTo>
                  <a:lnTo>
                    <a:pt x="69" y="55"/>
                  </a:lnTo>
                  <a:lnTo>
                    <a:pt x="71" y="57"/>
                  </a:lnTo>
                  <a:lnTo>
                    <a:pt x="71" y="57"/>
                  </a:lnTo>
                  <a:lnTo>
                    <a:pt x="77" y="65"/>
                  </a:lnTo>
                  <a:lnTo>
                    <a:pt x="80" y="68"/>
                  </a:lnTo>
                  <a:lnTo>
                    <a:pt x="81" y="70"/>
                  </a:lnTo>
                  <a:lnTo>
                    <a:pt x="81" y="68"/>
                  </a:lnTo>
                  <a:lnTo>
                    <a:pt x="81" y="68"/>
                  </a:lnTo>
                  <a:lnTo>
                    <a:pt x="81" y="64"/>
                  </a:lnTo>
                  <a:lnTo>
                    <a:pt x="81" y="59"/>
                  </a:lnTo>
                  <a:lnTo>
                    <a:pt x="81" y="57"/>
                  </a:lnTo>
                  <a:lnTo>
                    <a:pt x="82" y="57"/>
                  </a:lnTo>
                  <a:lnTo>
                    <a:pt x="84" y="57"/>
                  </a:lnTo>
                  <a:lnTo>
                    <a:pt x="84" y="57"/>
                  </a:lnTo>
                  <a:lnTo>
                    <a:pt x="87" y="59"/>
                  </a:lnTo>
                  <a:lnTo>
                    <a:pt x="87" y="64"/>
                  </a:lnTo>
                  <a:lnTo>
                    <a:pt x="88" y="67"/>
                  </a:lnTo>
                  <a:lnTo>
                    <a:pt x="90" y="70"/>
                  </a:lnTo>
                  <a:lnTo>
                    <a:pt x="90" y="70"/>
                  </a:lnTo>
                  <a:lnTo>
                    <a:pt x="94" y="71"/>
                  </a:lnTo>
                  <a:lnTo>
                    <a:pt x="97" y="72"/>
                  </a:lnTo>
                  <a:lnTo>
                    <a:pt x="100" y="75"/>
                  </a:lnTo>
                  <a:lnTo>
                    <a:pt x="100" y="75"/>
                  </a:lnTo>
                  <a:lnTo>
                    <a:pt x="103" y="80"/>
                  </a:lnTo>
                  <a:lnTo>
                    <a:pt x="106" y="86"/>
                  </a:lnTo>
                  <a:lnTo>
                    <a:pt x="106" y="90"/>
                  </a:lnTo>
                  <a:lnTo>
                    <a:pt x="106" y="94"/>
                  </a:lnTo>
                  <a:lnTo>
                    <a:pt x="106" y="94"/>
                  </a:lnTo>
                  <a:lnTo>
                    <a:pt x="100" y="99"/>
                  </a:lnTo>
                  <a:lnTo>
                    <a:pt x="98" y="100"/>
                  </a:lnTo>
                  <a:lnTo>
                    <a:pt x="97" y="104"/>
                  </a:lnTo>
                  <a:lnTo>
                    <a:pt x="97" y="104"/>
                  </a:lnTo>
                  <a:lnTo>
                    <a:pt x="98" y="107"/>
                  </a:lnTo>
                  <a:lnTo>
                    <a:pt x="101" y="112"/>
                  </a:lnTo>
                  <a:lnTo>
                    <a:pt x="103" y="114"/>
                  </a:lnTo>
                  <a:lnTo>
                    <a:pt x="103" y="117"/>
                  </a:lnTo>
                  <a:lnTo>
                    <a:pt x="103" y="117"/>
                  </a:lnTo>
                  <a:lnTo>
                    <a:pt x="101" y="122"/>
                  </a:lnTo>
                  <a:lnTo>
                    <a:pt x="98" y="125"/>
                  </a:lnTo>
                  <a:lnTo>
                    <a:pt x="97" y="125"/>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56" name="Freeform 1401"/>
            <p:cNvSpPr>
              <a:spLocks/>
            </p:cNvSpPr>
            <p:nvPr/>
          </p:nvSpPr>
          <p:spPr bwMode="auto">
            <a:xfrm>
              <a:off x="1671638" y="1897491"/>
              <a:ext cx="168275" cy="239713"/>
            </a:xfrm>
            <a:custGeom>
              <a:avLst/>
              <a:gdLst>
                <a:gd name="T0" fmla="*/ 91 w 106"/>
                <a:gd name="T1" fmla="*/ 126 h 151"/>
                <a:gd name="T2" fmla="*/ 88 w 106"/>
                <a:gd name="T3" fmla="*/ 128 h 151"/>
                <a:gd name="T4" fmla="*/ 82 w 106"/>
                <a:gd name="T5" fmla="*/ 133 h 151"/>
                <a:gd name="T6" fmla="*/ 74 w 106"/>
                <a:gd name="T7" fmla="*/ 138 h 151"/>
                <a:gd name="T8" fmla="*/ 68 w 106"/>
                <a:gd name="T9" fmla="*/ 145 h 151"/>
                <a:gd name="T10" fmla="*/ 59 w 106"/>
                <a:gd name="T11" fmla="*/ 149 h 151"/>
                <a:gd name="T12" fmla="*/ 55 w 106"/>
                <a:gd name="T13" fmla="*/ 149 h 151"/>
                <a:gd name="T14" fmla="*/ 49 w 106"/>
                <a:gd name="T15" fmla="*/ 133 h 151"/>
                <a:gd name="T16" fmla="*/ 39 w 106"/>
                <a:gd name="T17" fmla="*/ 119 h 151"/>
                <a:gd name="T18" fmla="*/ 35 w 106"/>
                <a:gd name="T19" fmla="*/ 120 h 151"/>
                <a:gd name="T20" fmla="*/ 30 w 106"/>
                <a:gd name="T21" fmla="*/ 113 h 151"/>
                <a:gd name="T22" fmla="*/ 26 w 106"/>
                <a:gd name="T23" fmla="*/ 109 h 151"/>
                <a:gd name="T24" fmla="*/ 19 w 106"/>
                <a:gd name="T25" fmla="*/ 110 h 151"/>
                <a:gd name="T26" fmla="*/ 7 w 106"/>
                <a:gd name="T27" fmla="*/ 96 h 151"/>
                <a:gd name="T28" fmla="*/ 6 w 106"/>
                <a:gd name="T29" fmla="*/ 87 h 151"/>
                <a:gd name="T30" fmla="*/ 4 w 106"/>
                <a:gd name="T31" fmla="*/ 83 h 151"/>
                <a:gd name="T32" fmla="*/ 0 w 106"/>
                <a:gd name="T33" fmla="*/ 62 h 151"/>
                <a:gd name="T34" fmla="*/ 1 w 106"/>
                <a:gd name="T35" fmla="*/ 54 h 151"/>
                <a:gd name="T36" fmla="*/ 4 w 106"/>
                <a:gd name="T37" fmla="*/ 48 h 151"/>
                <a:gd name="T38" fmla="*/ 10 w 106"/>
                <a:gd name="T39" fmla="*/ 45 h 151"/>
                <a:gd name="T40" fmla="*/ 17 w 106"/>
                <a:gd name="T41" fmla="*/ 54 h 151"/>
                <a:gd name="T42" fmla="*/ 14 w 106"/>
                <a:gd name="T43" fmla="*/ 61 h 151"/>
                <a:gd name="T44" fmla="*/ 19 w 106"/>
                <a:gd name="T45" fmla="*/ 65 h 151"/>
                <a:gd name="T46" fmla="*/ 29 w 106"/>
                <a:gd name="T47" fmla="*/ 71 h 151"/>
                <a:gd name="T48" fmla="*/ 33 w 106"/>
                <a:gd name="T49" fmla="*/ 72 h 151"/>
                <a:gd name="T50" fmla="*/ 40 w 106"/>
                <a:gd name="T51" fmla="*/ 65 h 151"/>
                <a:gd name="T52" fmla="*/ 36 w 106"/>
                <a:gd name="T53" fmla="*/ 59 h 151"/>
                <a:gd name="T54" fmla="*/ 36 w 106"/>
                <a:gd name="T55" fmla="*/ 49 h 151"/>
                <a:gd name="T56" fmla="*/ 33 w 106"/>
                <a:gd name="T57" fmla="*/ 41 h 151"/>
                <a:gd name="T58" fmla="*/ 22 w 106"/>
                <a:gd name="T59" fmla="*/ 35 h 151"/>
                <a:gd name="T60" fmla="*/ 17 w 106"/>
                <a:gd name="T61" fmla="*/ 25 h 151"/>
                <a:gd name="T62" fmla="*/ 17 w 106"/>
                <a:gd name="T63" fmla="*/ 13 h 151"/>
                <a:gd name="T64" fmla="*/ 23 w 106"/>
                <a:gd name="T65" fmla="*/ 2 h 151"/>
                <a:gd name="T66" fmla="*/ 29 w 106"/>
                <a:gd name="T67" fmla="*/ 2 h 151"/>
                <a:gd name="T68" fmla="*/ 33 w 106"/>
                <a:gd name="T69" fmla="*/ 3 h 151"/>
                <a:gd name="T70" fmla="*/ 46 w 106"/>
                <a:gd name="T71" fmla="*/ 0 h 151"/>
                <a:gd name="T72" fmla="*/ 43 w 106"/>
                <a:gd name="T73" fmla="*/ 4 h 151"/>
                <a:gd name="T74" fmla="*/ 43 w 106"/>
                <a:gd name="T75" fmla="*/ 7 h 151"/>
                <a:gd name="T76" fmla="*/ 56 w 106"/>
                <a:gd name="T77" fmla="*/ 15 h 151"/>
                <a:gd name="T78" fmla="*/ 71 w 106"/>
                <a:gd name="T79" fmla="*/ 9 h 151"/>
                <a:gd name="T80" fmla="*/ 77 w 106"/>
                <a:gd name="T81" fmla="*/ 4 h 151"/>
                <a:gd name="T82" fmla="*/ 84 w 106"/>
                <a:gd name="T83" fmla="*/ 12 h 151"/>
                <a:gd name="T84" fmla="*/ 87 w 106"/>
                <a:gd name="T85" fmla="*/ 17 h 151"/>
                <a:gd name="T86" fmla="*/ 80 w 106"/>
                <a:gd name="T87" fmla="*/ 22 h 151"/>
                <a:gd name="T88" fmla="*/ 82 w 106"/>
                <a:gd name="T89" fmla="*/ 26 h 151"/>
                <a:gd name="T90" fmla="*/ 87 w 106"/>
                <a:gd name="T91" fmla="*/ 35 h 151"/>
                <a:gd name="T92" fmla="*/ 82 w 106"/>
                <a:gd name="T93" fmla="*/ 38 h 151"/>
                <a:gd name="T94" fmla="*/ 77 w 106"/>
                <a:gd name="T95" fmla="*/ 36 h 151"/>
                <a:gd name="T96" fmla="*/ 74 w 106"/>
                <a:gd name="T97" fmla="*/ 46 h 151"/>
                <a:gd name="T98" fmla="*/ 72 w 106"/>
                <a:gd name="T99" fmla="*/ 52 h 151"/>
                <a:gd name="T100" fmla="*/ 71 w 106"/>
                <a:gd name="T101" fmla="*/ 57 h 151"/>
                <a:gd name="T102" fmla="*/ 80 w 106"/>
                <a:gd name="T103" fmla="*/ 68 h 151"/>
                <a:gd name="T104" fmla="*/ 81 w 106"/>
                <a:gd name="T105" fmla="*/ 68 h 151"/>
                <a:gd name="T106" fmla="*/ 81 w 106"/>
                <a:gd name="T107" fmla="*/ 57 h 151"/>
                <a:gd name="T108" fmla="*/ 84 w 106"/>
                <a:gd name="T109" fmla="*/ 57 h 151"/>
                <a:gd name="T110" fmla="*/ 88 w 106"/>
                <a:gd name="T111" fmla="*/ 67 h 151"/>
                <a:gd name="T112" fmla="*/ 94 w 106"/>
                <a:gd name="T113" fmla="*/ 71 h 151"/>
                <a:gd name="T114" fmla="*/ 100 w 106"/>
                <a:gd name="T115" fmla="*/ 75 h 151"/>
                <a:gd name="T116" fmla="*/ 106 w 106"/>
                <a:gd name="T117" fmla="*/ 90 h 151"/>
                <a:gd name="T118" fmla="*/ 100 w 106"/>
                <a:gd name="T119" fmla="*/ 99 h 151"/>
                <a:gd name="T120" fmla="*/ 97 w 106"/>
                <a:gd name="T121" fmla="*/ 104 h 151"/>
                <a:gd name="T122" fmla="*/ 103 w 106"/>
                <a:gd name="T123" fmla="*/ 114 h 151"/>
                <a:gd name="T124" fmla="*/ 101 w 106"/>
                <a:gd name="T125" fmla="*/ 12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 h="151">
                  <a:moveTo>
                    <a:pt x="97" y="125"/>
                  </a:moveTo>
                  <a:lnTo>
                    <a:pt x="97" y="125"/>
                  </a:lnTo>
                  <a:lnTo>
                    <a:pt x="91" y="126"/>
                  </a:lnTo>
                  <a:lnTo>
                    <a:pt x="90" y="126"/>
                  </a:lnTo>
                  <a:lnTo>
                    <a:pt x="88" y="128"/>
                  </a:lnTo>
                  <a:lnTo>
                    <a:pt x="88" y="128"/>
                  </a:lnTo>
                  <a:lnTo>
                    <a:pt x="85" y="130"/>
                  </a:lnTo>
                  <a:lnTo>
                    <a:pt x="82" y="133"/>
                  </a:lnTo>
                  <a:lnTo>
                    <a:pt x="82" y="133"/>
                  </a:lnTo>
                  <a:lnTo>
                    <a:pt x="80" y="136"/>
                  </a:lnTo>
                  <a:lnTo>
                    <a:pt x="77" y="138"/>
                  </a:lnTo>
                  <a:lnTo>
                    <a:pt x="74" y="138"/>
                  </a:lnTo>
                  <a:lnTo>
                    <a:pt x="72" y="141"/>
                  </a:lnTo>
                  <a:lnTo>
                    <a:pt x="72" y="141"/>
                  </a:lnTo>
                  <a:lnTo>
                    <a:pt x="68" y="145"/>
                  </a:lnTo>
                  <a:lnTo>
                    <a:pt x="64" y="148"/>
                  </a:lnTo>
                  <a:lnTo>
                    <a:pt x="64" y="148"/>
                  </a:lnTo>
                  <a:lnTo>
                    <a:pt x="59" y="149"/>
                  </a:lnTo>
                  <a:lnTo>
                    <a:pt x="56" y="151"/>
                  </a:lnTo>
                  <a:lnTo>
                    <a:pt x="55" y="149"/>
                  </a:lnTo>
                  <a:lnTo>
                    <a:pt x="55" y="149"/>
                  </a:lnTo>
                  <a:lnTo>
                    <a:pt x="52" y="142"/>
                  </a:lnTo>
                  <a:lnTo>
                    <a:pt x="49" y="133"/>
                  </a:lnTo>
                  <a:lnTo>
                    <a:pt x="49" y="133"/>
                  </a:lnTo>
                  <a:lnTo>
                    <a:pt x="43" y="125"/>
                  </a:lnTo>
                  <a:lnTo>
                    <a:pt x="40" y="120"/>
                  </a:lnTo>
                  <a:lnTo>
                    <a:pt x="39" y="119"/>
                  </a:lnTo>
                  <a:lnTo>
                    <a:pt x="39" y="119"/>
                  </a:lnTo>
                  <a:lnTo>
                    <a:pt x="36" y="120"/>
                  </a:lnTo>
                  <a:lnTo>
                    <a:pt x="35" y="120"/>
                  </a:lnTo>
                  <a:lnTo>
                    <a:pt x="33" y="119"/>
                  </a:lnTo>
                  <a:lnTo>
                    <a:pt x="33" y="119"/>
                  </a:lnTo>
                  <a:lnTo>
                    <a:pt x="30" y="113"/>
                  </a:lnTo>
                  <a:lnTo>
                    <a:pt x="29" y="110"/>
                  </a:lnTo>
                  <a:lnTo>
                    <a:pt x="26" y="109"/>
                  </a:lnTo>
                  <a:lnTo>
                    <a:pt x="26" y="109"/>
                  </a:lnTo>
                  <a:lnTo>
                    <a:pt x="23" y="110"/>
                  </a:lnTo>
                  <a:lnTo>
                    <a:pt x="20" y="110"/>
                  </a:lnTo>
                  <a:lnTo>
                    <a:pt x="19" y="110"/>
                  </a:lnTo>
                  <a:lnTo>
                    <a:pt x="19" y="110"/>
                  </a:lnTo>
                  <a:lnTo>
                    <a:pt x="12" y="101"/>
                  </a:lnTo>
                  <a:lnTo>
                    <a:pt x="7" y="96"/>
                  </a:lnTo>
                  <a:lnTo>
                    <a:pt x="6" y="91"/>
                  </a:lnTo>
                  <a:lnTo>
                    <a:pt x="6" y="91"/>
                  </a:lnTo>
                  <a:lnTo>
                    <a:pt x="6" y="87"/>
                  </a:lnTo>
                  <a:lnTo>
                    <a:pt x="6" y="86"/>
                  </a:lnTo>
                  <a:lnTo>
                    <a:pt x="4" y="83"/>
                  </a:lnTo>
                  <a:lnTo>
                    <a:pt x="4" y="83"/>
                  </a:lnTo>
                  <a:lnTo>
                    <a:pt x="3" y="78"/>
                  </a:lnTo>
                  <a:lnTo>
                    <a:pt x="1" y="72"/>
                  </a:lnTo>
                  <a:lnTo>
                    <a:pt x="0" y="62"/>
                  </a:lnTo>
                  <a:lnTo>
                    <a:pt x="0" y="62"/>
                  </a:lnTo>
                  <a:lnTo>
                    <a:pt x="0" y="58"/>
                  </a:lnTo>
                  <a:lnTo>
                    <a:pt x="1" y="54"/>
                  </a:lnTo>
                  <a:lnTo>
                    <a:pt x="1" y="54"/>
                  </a:lnTo>
                  <a:lnTo>
                    <a:pt x="1" y="51"/>
                  </a:lnTo>
                  <a:lnTo>
                    <a:pt x="4" y="48"/>
                  </a:lnTo>
                  <a:lnTo>
                    <a:pt x="7" y="45"/>
                  </a:lnTo>
                  <a:lnTo>
                    <a:pt x="10" y="45"/>
                  </a:lnTo>
                  <a:lnTo>
                    <a:pt x="10" y="45"/>
                  </a:lnTo>
                  <a:lnTo>
                    <a:pt x="16" y="49"/>
                  </a:lnTo>
                  <a:lnTo>
                    <a:pt x="17" y="52"/>
                  </a:lnTo>
                  <a:lnTo>
                    <a:pt x="17" y="54"/>
                  </a:lnTo>
                  <a:lnTo>
                    <a:pt x="17" y="54"/>
                  </a:lnTo>
                  <a:lnTo>
                    <a:pt x="16" y="57"/>
                  </a:lnTo>
                  <a:lnTo>
                    <a:pt x="14" y="61"/>
                  </a:lnTo>
                  <a:lnTo>
                    <a:pt x="14" y="61"/>
                  </a:lnTo>
                  <a:lnTo>
                    <a:pt x="16" y="64"/>
                  </a:lnTo>
                  <a:lnTo>
                    <a:pt x="19" y="65"/>
                  </a:lnTo>
                  <a:lnTo>
                    <a:pt x="25" y="70"/>
                  </a:lnTo>
                  <a:lnTo>
                    <a:pt x="25" y="70"/>
                  </a:lnTo>
                  <a:lnTo>
                    <a:pt x="29" y="71"/>
                  </a:lnTo>
                  <a:lnTo>
                    <a:pt x="32" y="72"/>
                  </a:lnTo>
                  <a:lnTo>
                    <a:pt x="33" y="72"/>
                  </a:lnTo>
                  <a:lnTo>
                    <a:pt x="33" y="72"/>
                  </a:lnTo>
                  <a:lnTo>
                    <a:pt x="38" y="68"/>
                  </a:lnTo>
                  <a:lnTo>
                    <a:pt x="40" y="65"/>
                  </a:lnTo>
                  <a:lnTo>
                    <a:pt x="40" y="65"/>
                  </a:lnTo>
                  <a:lnTo>
                    <a:pt x="40" y="64"/>
                  </a:lnTo>
                  <a:lnTo>
                    <a:pt x="39" y="61"/>
                  </a:lnTo>
                  <a:lnTo>
                    <a:pt x="36" y="59"/>
                  </a:lnTo>
                  <a:lnTo>
                    <a:pt x="36" y="57"/>
                  </a:lnTo>
                  <a:lnTo>
                    <a:pt x="36" y="57"/>
                  </a:lnTo>
                  <a:lnTo>
                    <a:pt x="36" y="49"/>
                  </a:lnTo>
                  <a:lnTo>
                    <a:pt x="35" y="44"/>
                  </a:lnTo>
                  <a:lnTo>
                    <a:pt x="33" y="41"/>
                  </a:lnTo>
                  <a:lnTo>
                    <a:pt x="33" y="41"/>
                  </a:lnTo>
                  <a:lnTo>
                    <a:pt x="26" y="39"/>
                  </a:lnTo>
                  <a:lnTo>
                    <a:pt x="23" y="38"/>
                  </a:lnTo>
                  <a:lnTo>
                    <a:pt x="22" y="35"/>
                  </a:lnTo>
                  <a:lnTo>
                    <a:pt x="22" y="35"/>
                  </a:lnTo>
                  <a:lnTo>
                    <a:pt x="20" y="29"/>
                  </a:lnTo>
                  <a:lnTo>
                    <a:pt x="17" y="25"/>
                  </a:lnTo>
                  <a:lnTo>
                    <a:pt x="17" y="25"/>
                  </a:lnTo>
                  <a:lnTo>
                    <a:pt x="17" y="20"/>
                  </a:lnTo>
                  <a:lnTo>
                    <a:pt x="17" y="13"/>
                  </a:lnTo>
                  <a:lnTo>
                    <a:pt x="20" y="6"/>
                  </a:lnTo>
                  <a:lnTo>
                    <a:pt x="22" y="3"/>
                  </a:lnTo>
                  <a:lnTo>
                    <a:pt x="23" y="2"/>
                  </a:lnTo>
                  <a:lnTo>
                    <a:pt x="23" y="2"/>
                  </a:lnTo>
                  <a:lnTo>
                    <a:pt x="26" y="2"/>
                  </a:lnTo>
                  <a:lnTo>
                    <a:pt x="29" y="2"/>
                  </a:lnTo>
                  <a:lnTo>
                    <a:pt x="30" y="3"/>
                  </a:lnTo>
                  <a:lnTo>
                    <a:pt x="33" y="3"/>
                  </a:lnTo>
                  <a:lnTo>
                    <a:pt x="33" y="3"/>
                  </a:lnTo>
                  <a:lnTo>
                    <a:pt x="42" y="0"/>
                  </a:lnTo>
                  <a:lnTo>
                    <a:pt x="45" y="0"/>
                  </a:lnTo>
                  <a:lnTo>
                    <a:pt x="46" y="0"/>
                  </a:lnTo>
                  <a:lnTo>
                    <a:pt x="46" y="2"/>
                  </a:lnTo>
                  <a:lnTo>
                    <a:pt x="46" y="2"/>
                  </a:lnTo>
                  <a:lnTo>
                    <a:pt x="43" y="4"/>
                  </a:lnTo>
                  <a:lnTo>
                    <a:pt x="42" y="6"/>
                  </a:lnTo>
                  <a:lnTo>
                    <a:pt x="43" y="7"/>
                  </a:lnTo>
                  <a:lnTo>
                    <a:pt x="43" y="7"/>
                  </a:lnTo>
                  <a:lnTo>
                    <a:pt x="51" y="13"/>
                  </a:lnTo>
                  <a:lnTo>
                    <a:pt x="54" y="15"/>
                  </a:lnTo>
                  <a:lnTo>
                    <a:pt x="56" y="15"/>
                  </a:lnTo>
                  <a:lnTo>
                    <a:pt x="56" y="15"/>
                  </a:lnTo>
                  <a:lnTo>
                    <a:pt x="65" y="12"/>
                  </a:lnTo>
                  <a:lnTo>
                    <a:pt x="71" y="9"/>
                  </a:lnTo>
                  <a:lnTo>
                    <a:pt x="71" y="9"/>
                  </a:lnTo>
                  <a:lnTo>
                    <a:pt x="74" y="4"/>
                  </a:lnTo>
                  <a:lnTo>
                    <a:pt x="77" y="4"/>
                  </a:lnTo>
                  <a:lnTo>
                    <a:pt x="78" y="4"/>
                  </a:lnTo>
                  <a:lnTo>
                    <a:pt x="78" y="4"/>
                  </a:lnTo>
                  <a:lnTo>
                    <a:pt x="84" y="12"/>
                  </a:lnTo>
                  <a:lnTo>
                    <a:pt x="87" y="16"/>
                  </a:lnTo>
                  <a:lnTo>
                    <a:pt x="87" y="17"/>
                  </a:lnTo>
                  <a:lnTo>
                    <a:pt x="87" y="17"/>
                  </a:lnTo>
                  <a:lnTo>
                    <a:pt x="82" y="19"/>
                  </a:lnTo>
                  <a:lnTo>
                    <a:pt x="81" y="19"/>
                  </a:lnTo>
                  <a:lnTo>
                    <a:pt x="80" y="22"/>
                  </a:lnTo>
                  <a:lnTo>
                    <a:pt x="80" y="22"/>
                  </a:lnTo>
                  <a:lnTo>
                    <a:pt x="81" y="23"/>
                  </a:lnTo>
                  <a:lnTo>
                    <a:pt x="82" y="26"/>
                  </a:lnTo>
                  <a:lnTo>
                    <a:pt x="87" y="32"/>
                  </a:lnTo>
                  <a:lnTo>
                    <a:pt x="87" y="32"/>
                  </a:lnTo>
                  <a:lnTo>
                    <a:pt x="87" y="35"/>
                  </a:lnTo>
                  <a:lnTo>
                    <a:pt x="87" y="36"/>
                  </a:lnTo>
                  <a:lnTo>
                    <a:pt x="85" y="38"/>
                  </a:lnTo>
                  <a:lnTo>
                    <a:pt x="82" y="38"/>
                  </a:lnTo>
                  <a:lnTo>
                    <a:pt x="82" y="38"/>
                  </a:lnTo>
                  <a:lnTo>
                    <a:pt x="78" y="36"/>
                  </a:lnTo>
                  <a:lnTo>
                    <a:pt x="77" y="36"/>
                  </a:lnTo>
                  <a:lnTo>
                    <a:pt x="75" y="38"/>
                  </a:lnTo>
                  <a:lnTo>
                    <a:pt x="75" y="38"/>
                  </a:lnTo>
                  <a:lnTo>
                    <a:pt x="74" y="46"/>
                  </a:lnTo>
                  <a:lnTo>
                    <a:pt x="74" y="49"/>
                  </a:lnTo>
                  <a:lnTo>
                    <a:pt x="72" y="52"/>
                  </a:lnTo>
                  <a:lnTo>
                    <a:pt x="72" y="52"/>
                  </a:lnTo>
                  <a:lnTo>
                    <a:pt x="69" y="54"/>
                  </a:lnTo>
                  <a:lnTo>
                    <a:pt x="69" y="55"/>
                  </a:lnTo>
                  <a:lnTo>
                    <a:pt x="71" y="57"/>
                  </a:lnTo>
                  <a:lnTo>
                    <a:pt x="71" y="57"/>
                  </a:lnTo>
                  <a:lnTo>
                    <a:pt x="77" y="65"/>
                  </a:lnTo>
                  <a:lnTo>
                    <a:pt x="80" y="68"/>
                  </a:lnTo>
                  <a:lnTo>
                    <a:pt x="81" y="70"/>
                  </a:lnTo>
                  <a:lnTo>
                    <a:pt x="81" y="68"/>
                  </a:lnTo>
                  <a:lnTo>
                    <a:pt x="81" y="68"/>
                  </a:lnTo>
                  <a:lnTo>
                    <a:pt x="81" y="64"/>
                  </a:lnTo>
                  <a:lnTo>
                    <a:pt x="81" y="59"/>
                  </a:lnTo>
                  <a:lnTo>
                    <a:pt x="81" y="57"/>
                  </a:lnTo>
                  <a:lnTo>
                    <a:pt x="82" y="57"/>
                  </a:lnTo>
                  <a:lnTo>
                    <a:pt x="84" y="57"/>
                  </a:lnTo>
                  <a:lnTo>
                    <a:pt x="84" y="57"/>
                  </a:lnTo>
                  <a:lnTo>
                    <a:pt x="87" y="59"/>
                  </a:lnTo>
                  <a:lnTo>
                    <a:pt x="87" y="64"/>
                  </a:lnTo>
                  <a:lnTo>
                    <a:pt x="88" y="67"/>
                  </a:lnTo>
                  <a:lnTo>
                    <a:pt x="90" y="70"/>
                  </a:lnTo>
                  <a:lnTo>
                    <a:pt x="90" y="70"/>
                  </a:lnTo>
                  <a:lnTo>
                    <a:pt x="94" y="71"/>
                  </a:lnTo>
                  <a:lnTo>
                    <a:pt x="97" y="72"/>
                  </a:lnTo>
                  <a:lnTo>
                    <a:pt x="100" y="75"/>
                  </a:lnTo>
                  <a:lnTo>
                    <a:pt x="100" y="75"/>
                  </a:lnTo>
                  <a:lnTo>
                    <a:pt x="103" y="80"/>
                  </a:lnTo>
                  <a:lnTo>
                    <a:pt x="106" y="86"/>
                  </a:lnTo>
                  <a:lnTo>
                    <a:pt x="106" y="90"/>
                  </a:lnTo>
                  <a:lnTo>
                    <a:pt x="106" y="94"/>
                  </a:lnTo>
                  <a:lnTo>
                    <a:pt x="106" y="94"/>
                  </a:lnTo>
                  <a:lnTo>
                    <a:pt x="100" y="99"/>
                  </a:lnTo>
                  <a:lnTo>
                    <a:pt x="98" y="100"/>
                  </a:lnTo>
                  <a:lnTo>
                    <a:pt x="97" y="104"/>
                  </a:lnTo>
                  <a:lnTo>
                    <a:pt x="97" y="104"/>
                  </a:lnTo>
                  <a:lnTo>
                    <a:pt x="98" y="107"/>
                  </a:lnTo>
                  <a:lnTo>
                    <a:pt x="101" y="112"/>
                  </a:lnTo>
                  <a:lnTo>
                    <a:pt x="103" y="114"/>
                  </a:lnTo>
                  <a:lnTo>
                    <a:pt x="103" y="117"/>
                  </a:lnTo>
                  <a:lnTo>
                    <a:pt x="103" y="117"/>
                  </a:lnTo>
                  <a:lnTo>
                    <a:pt x="101" y="122"/>
                  </a:lnTo>
                  <a:lnTo>
                    <a:pt x="98" y="125"/>
                  </a:lnTo>
                  <a:lnTo>
                    <a:pt x="97" y="12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57" name="Freeform 1402"/>
            <p:cNvSpPr>
              <a:spLocks/>
            </p:cNvSpPr>
            <p:nvPr/>
          </p:nvSpPr>
          <p:spPr bwMode="auto">
            <a:xfrm>
              <a:off x="1287463" y="1630791"/>
              <a:ext cx="301625" cy="231775"/>
            </a:xfrm>
            <a:custGeom>
              <a:avLst/>
              <a:gdLst>
                <a:gd name="T0" fmla="*/ 162 w 190"/>
                <a:gd name="T1" fmla="*/ 116 h 146"/>
                <a:gd name="T2" fmla="*/ 156 w 190"/>
                <a:gd name="T3" fmla="*/ 107 h 146"/>
                <a:gd name="T4" fmla="*/ 152 w 190"/>
                <a:gd name="T5" fmla="*/ 116 h 146"/>
                <a:gd name="T6" fmla="*/ 142 w 190"/>
                <a:gd name="T7" fmla="*/ 114 h 146"/>
                <a:gd name="T8" fmla="*/ 139 w 190"/>
                <a:gd name="T9" fmla="*/ 106 h 146"/>
                <a:gd name="T10" fmla="*/ 128 w 190"/>
                <a:gd name="T11" fmla="*/ 117 h 146"/>
                <a:gd name="T12" fmla="*/ 112 w 190"/>
                <a:gd name="T13" fmla="*/ 126 h 146"/>
                <a:gd name="T14" fmla="*/ 100 w 190"/>
                <a:gd name="T15" fmla="*/ 139 h 146"/>
                <a:gd name="T16" fmla="*/ 81 w 190"/>
                <a:gd name="T17" fmla="*/ 146 h 146"/>
                <a:gd name="T18" fmla="*/ 59 w 190"/>
                <a:gd name="T19" fmla="*/ 138 h 146"/>
                <a:gd name="T20" fmla="*/ 54 w 190"/>
                <a:gd name="T21" fmla="*/ 125 h 146"/>
                <a:gd name="T22" fmla="*/ 68 w 190"/>
                <a:gd name="T23" fmla="*/ 113 h 146"/>
                <a:gd name="T24" fmla="*/ 86 w 190"/>
                <a:gd name="T25" fmla="*/ 114 h 146"/>
                <a:gd name="T26" fmla="*/ 100 w 190"/>
                <a:gd name="T27" fmla="*/ 103 h 146"/>
                <a:gd name="T28" fmla="*/ 99 w 190"/>
                <a:gd name="T29" fmla="*/ 96 h 146"/>
                <a:gd name="T30" fmla="*/ 86 w 190"/>
                <a:gd name="T31" fmla="*/ 103 h 146"/>
                <a:gd name="T32" fmla="*/ 77 w 190"/>
                <a:gd name="T33" fmla="*/ 101 h 146"/>
                <a:gd name="T34" fmla="*/ 61 w 190"/>
                <a:gd name="T35" fmla="*/ 107 h 146"/>
                <a:gd name="T36" fmla="*/ 64 w 190"/>
                <a:gd name="T37" fmla="*/ 85 h 146"/>
                <a:gd name="T38" fmla="*/ 54 w 190"/>
                <a:gd name="T39" fmla="*/ 81 h 146"/>
                <a:gd name="T40" fmla="*/ 54 w 190"/>
                <a:gd name="T41" fmla="*/ 93 h 146"/>
                <a:gd name="T42" fmla="*/ 51 w 190"/>
                <a:gd name="T43" fmla="*/ 101 h 146"/>
                <a:gd name="T44" fmla="*/ 46 w 190"/>
                <a:gd name="T45" fmla="*/ 110 h 146"/>
                <a:gd name="T46" fmla="*/ 36 w 190"/>
                <a:gd name="T47" fmla="*/ 107 h 146"/>
                <a:gd name="T48" fmla="*/ 25 w 190"/>
                <a:gd name="T49" fmla="*/ 107 h 146"/>
                <a:gd name="T50" fmla="*/ 6 w 190"/>
                <a:gd name="T51" fmla="*/ 99 h 146"/>
                <a:gd name="T52" fmla="*/ 0 w 190"/>
                <a:gd name="T53" fmla="*/ 94 h 146"/>
                <a:gd name="T54" fmla="*/ 7 w 190"/>
                <a:gd name="T55" fmla="*/ 80 h 146"/>
                <a:gd name="T56" fmla="*/ 16 w 190"/>
                <a:gd name="T57" fmla="*/ 77 h 146"/>
                <a:gd name="T58" fmla="*/ 10 w 190"/>
                <a:gd name="T59" fmla="*/ 64 h 146"/>
                <a:gd name="T60" fmla="*/ 16 w 190"/>
                <a:gd name="T61" fmla="*/ 58 h 146"/>
                <a:gd name="T62" fmla="*/ 17 w 190"/>
                <a:gd name="T63" fmla="*/ 52 h 146"/>
                <a:gd name="T64" fmla="*/ 15 w 190"/>
                <a:gd name="T65" fmla="*/ 45 h 146"/>
                <a:gd name="T66" fmla="*/ 23 w 190"/>
                <a:gd name="T67" fmla="*/ 28 h 146"/>
                <a:gd name="T68" fmla="*/ 30 w 190"/>
                <a:gd name="T69" fmla="*/ 16 h 146"/>
                <a:gd name="T70" fmla="*/ 57 w 190"/>
                <a:gd name="T71" fmla="*/ 19 h 146"/>
                <a:gd name="T72" fmla="*/ 58 w 190"/>
                <a:gd name="T73" fmla="*/ 35 h 146"/>
                <a:gd name="T74" fmla="*/ 71 w 190"/>
                <a:gd name="T75" fmla="*/ 35 h 146"/>
                <a:gd name="T76" fmla="*/ 78 w 190"/>
                <a:gd name="T77" fmla="*/ 45 h 146"/>
                <a:gd name="T78" fmla="*/ 90 w 190"/>
                <a:gd name="T79" fmla="*/ 52 h 146"/>
                <a:gd name="T80" fmla="*/ 84 w 190"/>
                <a:gd name="T81" fmla="*/ 58 h 146"/>
                <a:gd name="T82" fmla="*/ 94 w 190"/>
                <a:gd name="T83" fmla="*/ 62 h 146"/>
                <a:gd name="T84" fmla="*/ 97 w 190"/>
                <a:gd name="T85" fmla="*/ 74 h 146"/>
                <a:gd name="T86" fmla="*/ 116 w 190"/>
                <a:gd name="T87" fmla="*/ 74 h 146"/>
                <a:gd name="T88" fmla="*/ 132 w 190"/>
                <a:gd name="T89" fmla="*/ 74 h 146"/>
                <a:gd name="T90" fmla="*/ 120 w 190"/>
                <a:gd name="T91" fmla="*/ 54 h 146"/>
                <a:gd name="T92" fmla="*/ 132 w 190"/>
                <a:gd name="T93" fmla="*/ 41 h 146"/>
                <a:gd name="T94" fmla="*/ 114 w 190"/>
                <a:gd name="T95" fmla="*/ 28 h 146"/>
                <a:gd name="T96" fmla="*/ 116 w 190"/>
                <a:gd name="T97" fmla="*/ 19 h 146"/>
                <a:gd name="T98" fmla="*/ 119 w 190"/>
                <a:gd name="T99" fmla="*/ 9 h 146"/>
                <a:gd name="T100" fmla="*/ 133 w 190"/>
                <a:gd name="T101" fmla="*/ 0 h 146"/>
                <a:gd name="T102" fmla="*/ 146 w 190"/>
                <a:gd name="T103" fmla="*/ 16 h 146"/>
                <a:gd name="T104" fmla="*/ 152 w 190"/>
                <a:gd name="T105" fmla="*/ 26 h 146"/>
                <a:gd name="T106" fmla="*/ 151 w 190"/>
                <a:gd name="T107" fmla="*/ 36 h 146"/>
                <a:gd name="T108" fmla="*/ 161 w 190"/>
                <a:gd name="T109" fmla="*/ 48 h 146"/>
                <a:gd name="T110" fmla="*/ 180 w 190"/>
                <a:gd name="T111" fmla="*/ 42 h 146"/>
                <a:gd name="T112" fmla="*/ 190 w 190"/>
                <a:gd name="T113" fmla="*/ 54 h 146"/>
                <a:gd name="T114" fmla="*/ 190 w 190"/>
                <a:gd name="T115" fmla="*/ 81 h 146"/>
                <a:gd name="T116" fmla="*/ 184 w 190"/>
                <a:gd name="T117" fmla="*/ 96 h 146"/>
                <a:gd name="T118" fmla="*/ 183 w 190"/>
                <a:gd name="T119" fmla="*/ 11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 h="146">
                  <a:moveTo>
                    <a:pt x="180" y="113"/>
                  </a:moveTo>
                  <a:lnTo>
                    <a:pt x="180" y="113"/>
                  </a:lnTo>
                  <a:lnTo>
                    <a:pt x="171" y="116"/>
                  </a:lnTo>
                  <a:lnTo>
                    <a:pt x="165" y="116"/>
                  </a:lnTo>
                  <a:lnTo>
                    <a:pt x="162" y="116"/>
                  </a:lnTo>
                  <a:lnTo>
                    <a:pt x="162" y="116"/>
                  </a:lnTo>
                  <a:lnTo>
                    <a:pt x="159" y="110"/>
                  </a:lnTo>
                  <a:lnTo>
                    <a:pt x="158" y="107"/>
                  </a:lnTo>
                  <a:lnTo>
                    <a:pt x="156" y="107"/>
                  </a:lnTo>
                  <a:lnTo>
                    <a:pt x="156" y="107"/>
                  </a:lnTo>
                  <a:lnTo>
                    <a:pt x="156" y="107"/>
                  </a:lnTo>
                  <a:lnTo>
                    <a:pt x="155" y="110"/>
                  </a:lnTo>
                  <a:lnTo>
                    <a:pt x="154" y="113"/>
                  </a:lnTo>
                  <a:lnTo>
                    <a:pt x="154" y="116"/>
                  </a:lnTo>
                  <a:lnTo>
                    <a:pt x="152" y="116"/>
                  </a:lnTo>
                  <a:lnTo>
                    <a:pt x="152" y="116"/>
                  </a:lnTo>
                  <a:lnTo>
                    <a:pt x="146" y="117"/>
                  </a:lnTo>
                  <a:lnTo>
                    <a:pt x="143" y="117"/>
                  </a:lnTo>
                  <a:lnTo>
                    <a:pt x="142" y="114"/>
                  </a:lnTo>
                  <a:lnTo>
                    <a:pt x="142" y="114"/>
                  </a:lnTo>
                  <a:lnTo>
                    <a:pt x="141" y="112"/>
                  </a:lnTo>
                  <a:lnTo>
                    <a:pt x="141" y="109"/>
                  </a:lnTo>
                  <a:lnTo>
                    <a:pt x="139" y="106"/>
                  </a:lnTo>
                  <a:lnTo>
                    <a:pt x="139" y="106"/>
                  </a:lnTo>
                  <a:lnTo>
                    <a:pt x="139" y="106"/>
                  </a:lnTo>
                  <a:lnTo>
                    <a:pt x="136" y="110"/>
                  </a:lnTo>
                  <a:lnTo>
                    <a:pt x="136" y="113"/>
                  </a:lnTo>
                  <a:lnTo>
                    <a:pt x="133" y="114"/>
                  </a:lnTo>
                  <a:lnTo>
                    <a:pt x="133" y="114"/>
                  </a:lnTo>
                  <a:lnTo>
                    <a:pt x="128" y="117"/>
                  </a:lnTo>
                  <a:lnTo>
                    <a:pt x="122" y="122"/>
                  </a:lnTo>
                  <a:lnTo>
                    <a:pt x="122" y="122"/>
                  </a:lnTo>
                  <a:lnTo>
                    <a:pt x="116" y="122"/>
                  </a:lnTo>
                  <a:lnTo>
                    <a:pt x="113" y="123"/>
                  </a:lnTo>
                  <a:lnTo>
                    <a:pt x="112" y="126"/>
                  </a:lnTo>
                  <a:lnTo>
                    <a:pt x="112" y="126"/>
                  </a:lnTo>
                  <a:lnTo>
                    <a:pt x="109" y="132"/>
                  </a:lnTo>
                  <a:lnTo>
                    <a:pt x="104" y="136"/>
                  </a:lnTo>
                  <a:lnTo>
                    <a:pt x="104" y="136"/>
                  </a:lnTo>
                  <a:lnTo>
                    <a:pt x="100" y="139"/>
                  </a:lnTo>
                  <a:lnTo>
                    <a:pt x="96" y="141"/>
                  </a:lnTo>
                  <a:lnTo>
                    <a:pt x="88" y="143"/>
                  </a:lnTo>
                  <a:lnTo>
                    <a:pt x="88" y="143"/>
                  </a:lnTo>
                  <a:lnTo>
                    <a:pt x="84" y="145"/>
                  </a:lnTo>
                  <a:lnTo>
                    <a:pt x="81" y="146"/>
                  </a:lnTo>
                  <a:lnTo>
                    <a:pt x="77" y="145"/>
                  </a:lnTo>
                  <a:lnTo>
                    <a:pt x="77" y="145"/>
                  </a:lnTo>
                  <a:lnTo>
                    <a:pt x="67" y="142"/>
                  </a:lnTo>
                  <a:lnTo>
                    <a:pt x="59" y="138"/>
                  </a:lnTo>
                  <a:lnTo>
                    <a:pt x="59" y="138"/>
                  </a:lnTo>
                  <a:lnTo>
                    <a:pt x="57" y="133"/>
                  </a:lnTo>
                  <a:lnTo>
                    <a:pt x="54" y="130"/>
                  </a:lnTo>
                  <a:lnTo>
                    <a:pt x="54" y="127"/>
                  </a:lnTo>
                  <a:lnTo>
                    <a:pt x="54" y="125"/>
                  </a:lnTo>
                  <a:lnTo>
                    <a:pt x="54" y="125"/>
                  </a:lnTo>
                  <a:lnTo>
                    <a:pt x="64" y="122"/>
                  </a:lnTo>
                  <a:lnTo>
                    <a:pt x="67" y="119"/>
                  </a:lnTo>
                  <a:lnTo>
                    <a:pt x="68" y="117"/>
                  </a:lnTo>
                  <a:lnTo>
                    <a:pt x="68" y="117"/>
                  </a:lnTo>
                  <a:lnTo>
                    <a:pt x="68" y="113"/>
                  </a:lnTo>
                  <a:lnTo>
                    <a:pt x="68" y="112"/>
                  </a:lnTo>
                  <a:lnTo>
                    <a:pt x="71" y="112"/>
                  </a:lnTo>
                  <a:lnTo>
                    <a:pt x="71" y="112"/>
                  </a:lnTo>
                  <a:lnTo>
                    <a:pt x="80" y="114"/>
                  </a:lnTo>
                  <a:lnTo>
                    <a:pt x="86" y="114"/>
                  </a:lnTo>
                  <a:lnTo>
                    <a:pt x="91" y="114"/>
                  </a:lnTo>
                  <a:lnTo>
                    <a:pt x="91" y="114"/>
                  </a:lnTo>
                  <a:lnTo>
                    <a:pt x="96" y="112"/>
                  </a:lnTo>
                  <a:lnTo>
                    <a:pt x="97" y="109"/>
                  </a:lnTo>
                  <a:lnTo>
                    <a:pt x="100" y="103"/>
                  </a:lnTo>
                  <a:lnTo>
                    <a:pt x="100" y="103"/>
                  </a:lnTo>
                  <a:lnTo>
                    <a:pt x="101" y="101"/>
                  </a:lnTo>
                  <a:lnTo>
                    <a:pt x="101" y="99"/>
                  </a:lnTo>
                  <a:lnTo>
                    <a:pt x="100" y="96"/>
                  </a:lnTo>
                  <a:lnTo>
                    <a:pt x="99" y="96"/>
                  </a:lnTo>
                  <a:lnTo>
                    <a:pt x="99" y="96"/>
                  </a:lnTo>
                  <a:lnTo>
                    <a:pt x="96" y="96"/>
                  </a:lnTo>
                  <a:lnTo>
                    <a:pt x="93" y="99"/>
                  </a:lnTo>
                  <a:lnTo>
                    <a:pt x="86" y="103"/>
                  </a:lnTo>
                  <a:lnTo>
                    <a:pt x="86" y="103"/>
                  </a:lnTo>
                  <a:lnTo>
                    <a:pt x="83" y="103"/>
                  </a:lnTo>
                  <a:lnTo>
                    <a:pt x="81" y="103"/>
                  </a:lnTo>
                  <a:lnTo>
                    <a:pt x="80" y="101"/>
                  </a:lnTo>
                  <a:lnTo>
                    <a:pt x="77" y="101"/>
                  </a:lnTo>
                  <a:lnTo>
                    <a:pt x="77" y="101"/>
                  </a:lnTo>
                  <a:lnTo>
                    <a:pt x="67" y="107"/>
                  </a:lnTo>
                  <a:lnTo>
                    <a:pt x="64" y="109"/>
                  </a:lnTo>
                  <a:lnTo>
                    <a:pt x="62" y="109"/>
                  </a:lnTo>
                  <a:lnTo>
                    <a:pt x="61" y="107"/>
                  </a:lnTo>
                  <a:lnTo>
                    <a:pt x="61" y="107"/>
                  </a:lnTo>
                  <a:lnTo>
                    <a:pt x="61" y="99"/>
                  </a:lnTo>
                  <a:lnTo>
                    <a:pt x="61" y="93"/>
                  </a:lnTo>
                  <a:lnTo>
                    <a:pt x="61" y="90"/>
                  </a:lnTo>
                  <a:lnTo>
                    <a:pt x="61" y="90"/>
                  </a:lnTo>
                  <a:lnTo>
                    <a:pt x="64" y="85"/>
                  </a:lnTo>
                  <a:lnTo>
                    <a:pt x="62" y="83"/>
                  </a:lnTo>
                  <a:lnTo>
                    <a:pt x="61" y="83"/>
                  </a:lnTo>
                  <a:lnTo>
                    <a:pt x="61" y="83"/>
                  </a:lnTo>
                  <a:lnTo>
                    <a:pt x="55" y="81"/>
                  </a:lnTo>
                  <a:lnTo>
                    <a:pt x="54" y="81"/>
                  </a:lnTo>
                  <a:lnTo>
                    <a:pt x="54" y="83"/>
                  </a:lnTo>
                  <a:lnTo>
                    <a:pt x="54" y="83"/>
                  </a:lnTo>
                  <a:lnTo>
                    <a:pt x="55" y="87"/>
                  </a:lnTo>
                  <a:lnTo>
                    <a:pt x="55" y="90"/>
                  </a:lnTo>
                  <a:lnTo>
                    <a:pt x="54" y="93"/>
                  </a:lnTo>
                  <a:lnTo>
                    <a:pt x="54" y="93"/>
                  </a:lnTo>
                  <a:lnTo>
                    <a:pt x="51" y="96"/>
                  </a:lnTo>
                  <a:lnTo>
                    <a:pt x="49" y="97"/>
                  </a:lnTo>
                  <a:lnTo>
                    <a:pt x="49" y="97"/>
                  </a:lnTo>
                  <a:lnTo>
                    <a:pt x="51" y="101"/>
                  </a:lnTo>
                  <a:lnTo>
                    <a:pt x="51" y="103"/>
                  </a:lnTo>
                  <a:lnTo>
                    <a:pt x="51" y="106"/>
                  </a:lnTo>
                  <a:lnTo>
                    <a:pt x="51" y="106"/>
                  </a:lnTo>
                  <a:lnTo>
                    <a:pt x="49" y="109"/>
                  </a:lnTo>
                  <a:lnTo>
                    <a:pt x="46" y="110"/>
                  </a:lnTo>
                  <a:lnTo>
                    <a:pt x="44" y="110"/>
                  </a:lnTo>
                  <a:lnTo>
                    <a:pt x="44" y="110"/>
                  </a:lnTo>
                  <a:lnTo>
                    <a:pt x="38" y="107"/>
                  </a:lnTo>
                  <a:lnTo>
                    <a:pt x="36" y="107"/>
                  </a:lnTo>
                  <a:lnTo>
                    <a:pt x="36" y="107"/>
                  </a:lnTo>
                  <a:lnTo>
                    <a:pt x="35" y="109"/>
                  </a:lnTo>
                  <a:lnTo>
                    <a:pt x="33" y="109"/>
                  </a:lnTo>
                  <a:lnTo>
                    <a:pt x="30" y="109"/>
                  </a:lnTo>
                  <a:lnTo>
                    <a:pt x="30" y="109"/>
                  </a:lnTo>
                  <a:lnTo>
                    <a:pt x="25" y="107"/>
                  </a:lnTo>
                  <a:lnTo>
                    <a:pt x="19" y="104"/>
                  </a:lnTo>
                  <a:lnTo>
                    <a:pt x="19" y="104"/>
                  </a:lnTo>
                  <a:lnTo>
                    <a:pt x="12" y="100"/>
                  </a:lnTo>
                  <a:lnTo>
                    <a:pt x="7" y="99"/>
                  </a:lnTo>
                  <a:lnTo>
                    <a:pt x="6" y="99"/>
                  </a:lnTo>
                  <a:lnTo>
                    <a:pt x="6" y="99"/>
                  </a:lnTo>
                  <a:lnTo>
                    <a:pt x="3" y="99"/>
                  </a:lnTo>
                  <a:lnTo>
                    <a:pt x="2" y="99"/>
                  </a:lnTo>
                  <a:lnTo>
                    <a:pt x="0" y="97"/>
                  </a:lnTo>
                  <a:lnTo>
                    <a:pt x="0" y="94"/>
                  </a:lnTo>
                  <a:lnTo>
                    <a:pt x="0" y="94"/>
                  </a:lnTo>
                  <a:lnTo>
                    <a:pt x="2" y="85"/>
                  </a:lnTo>
                  <a:lnTo>
                    <a:pt x="4" y="81"/>
                  </a:lnTo>
                  <a:lnTo>
                    <a:pt x="7" y="80"/>
                  </a:lnTo>
                  <a:lnTo>
                    <a:pt x="7" y="80"/>
                  </a:lnTo>
                  <a:lnTo>
                    <a:pt x="13" y="80"/>
                  </a:lnTo>
                  <a:lnTo>
                    <a:pt x="16" y="78"/>
                  </a:lnTo>
                  <a:lnTo>
                    <a:pt x="17" y="77"/>
                  </a:lnTo>
                  <a:lnTo>
                    <a:pt x="17" y="77"/>
                  </a:lnTo>
                  <a:lnTo>
                    <a:pt x="16" y="77"/>
                  </a:lnTo>
                  <a:lnTo>
                    <a:pt x="13" y="75"/>
                  </a:lnTo>
                  <a:lnTo>
                    <a:pt x="10" y="74"/>
                  </a:lnTo>
                  <a:lnTo>
                    <a:pt x="10" y="72"/>
                  </a:lnTo>
                  <a:lnTo>
                    <a:pt x="10" y="72"/>
                  </a:lnTo>
                  <a:lnTo>
                    <a:pt x="10" y="64"/>
                  </a:lnTo>
                  <a:lnTo>
                    <a:pt x="12" y="59"/>
                  </a:lnTo>
                  <a:lnTo>
                    <a:pt x="12" y="58"/>
                  </a:lnTo>
                  <a:lnTo>
                    <a:pt x="13" y="58"/>
                  </a:lnTo>
                  <a:lnTo>
                    <a:pt x="13" y="58"/>
                  </a:lnTo>
                  <a:lnTo>
                    <a:pt x="16" y="58"/>
                  </a:lnTo>
                  <a:lnTo>
                    <a:pt x="19" y="57"/>
                  </a:lnTo>
                  <a:lnTo>
                    <a:pt x="19" y="54"/>
                  </a:lnTo>
                  <a:lnTo>
                    <a:pt x="19" y="54"/>
                  </a:lnTo>
                  <a:lnTo>
                    <a:pt x="19" y="54"/>
                  </a:lnTo>
                  <a:lnTo>
                    <a:pt x="17" y="52"/>
                  </a:lnTo>
                  <a:lnTo>
                    <a:pt x="16" y="51"/>
                  </a:lnTo>
                  <a:lnTo>
                    <a:pt x="17" y="49"/>
                  </a:lnTo>
                  <a:lnTo>
                    <a:pt x="17" y="49"/>
                  </a:lnTo>
                  <a:lnTo>
                    <a:pt x="16" y="48"/>
                  </a:lnTo>
                  <a:lnTo>
                    <a:pt x="15" y="45"/>
                  </a:lnTo>
                  <a:lnTo>
                    <a:pt x="13" y="43"/>
                  </a:lnTo>
                  <a:lnTo>
                    <a:pt x="13" y="41"/>
                  </a:lnTo>
                  <a:lnTo>
                    <a:pt x="13" y="41"/>
                  </a:lnTo>
                  <a:lnTo>
                    <a:pt x="19" y="35"/>
                  </a:lnTo>
                  <a:lnTo>
                    <a:pt x="23" y="28"/>
                  </a:lnTo>
                  <a:lnTo>
                    <a:pt x="23" y="28"/>
                  </a:lnTo>
                  <a:lnTo>
                    <a:pt x="26" y="20"/>
                  </a:lnTo>
                  <a:lnTo>
                    <a:pt x="29" y="17"/>
                  </a:lnTo>
                  <a:lnTo>
                    <a:pt x="30" y="16"/>
                  </a:lnTo>
                  <a:lnTo>
                    <a:pt x="30" y="16"/>
                  </a:lnTo>
                  <a:lnTo>
                    <a:pt x="44" y="16"/>
                  </a:lnTo>
                  <a:lnTo>
                    <a:pt x="44" y="16"/>
                  </a:lnTo>
                  <a:lnTo>
                    <a:pt x="52" y="17"/>
                  </a:lnTo>
                  <a:lnTo>
                    <a:pt x="57" y="19"/>
                  </a:lnTo>
                  <a:lnTo>
                    <a:pt x="57" y="19"/>
                  </a:lnTo>
                  <a:lnTo>
                    <a:pt x="57" y="20"/>
                  </a:lnTo>
                  <a:lnTo>
                    <a:pt x="57" y="20"/>
                  </a:lnTo>
                  <a:lnTo>
                    <a:pt x="57" y="23"/>
                  </a:lnTo>
                  <a:lnTo>
                    <a:pt x="57" y="29"/>
                  </a:lnTo>
                  <a:lnTo>
                    <a:pt x="58" y="35"/>
                  </a:lnTo>
                  <a:lnTo>
                    <a:pt x="58" y="38"/>
                  </a:lnTo>
                  <a:lnTo>
                    <a:pt x="59" y="38"/>
                  </a:lnTo>
                  <a:lnTo>
                    <a:pt x="59" y="38"/>
                  </a:lnTo>
                  <a:lnTo>
                    <a:pt x="67" y="36"/>
                  </a:lnTo>
                  <a:lnTo>
                    <a:pt x="71" y="35"/>
                  </a:lnTo>
                  <a:lnTo>
                    <a:pt x="74" y="36"/>
                  </a:lnTo>
                  <a:lnTo>
                    <a:pt x="74" y="36"/>
                  </a:lnTo>
                  <a:lnTo>
                    <a:pt x="74" y="38"/>
                  </a:lnTo>
                  <a:lnTo>
                    <a:pt x="75" y="39"/>
                  </a:lnTo>
                  <a:lnTo>
                    <a:pt x="78" y="45"/>
                  </a:lnTo>
                  <a:lnTo>
                    <a:pt x="78" y="45"/>
                  </a:lnTo>
                  <a:lnTo>
                    <a:pt x="80" y="48"/>
                  </a:lnTo>
                  <a:lnTo>
                    <a:pt x="84" y="49"/>
                  </a:lnTo>
                  <a:lnTo>
                    <a:pt x="88" y="51"/>
                  </a:lnTo>
                  <a:lnTo>
                    <a:pt x="90" y="52"/>
                  </a:lnTo>
                  <a:lnTo>
                    <a:pt x="90" y="52"/>
                  </a:lnTo>
                  <a:lnTo>
                    <a:pt x="90" y="54"/>
                  </a:lnTo>
                  <a:lnTo>
                    <a:pt x="86" y="55"/>
                  </a:lnTo>
                  <a:lnTo>
                    <a:pt x="84" y="57"/>
                  </a:lnTo>
                  <a:lnTo>
                    <a:pt x="84" y="58"/>
                  </a:lnTo>
                  <a:lnTo>
                    <a:pt x="84" y="58"/>
                  </a:lnTo>
                  <a:lnTo>
                    <a:pt x="84" y="58"/>
                  </a:lnTo>
                  <a:lnTo>
                    <a:pt x="90" y="61"/>
                  </a:lnTo>
                  <a:lnTo>
                    <a:pt x="94" y="62"/>
                  </a:lnTo>
                  <a:lnTo>
                    <a:pt x="94" y="62"/>
                  </a:lnTo>
                  <a:lnTo>
                    <a:pt x="97" y="67"/>
                  </a:lnTo>
                  <a:lnTo>
                    <a:pt x="97" y="71"/>
                  </a:lnTo>
                  <a:lnTo>
                    <a:pt x="97" y="71"/>
                  </a:lnTo>
                  <a:lnTo>
                    <a:pt x="97" y="74"/>
                  </a:lnTo>
                  <a:lnTo>
                    <a:pt x="97" y="74"/>
                  </a:lnTo>
                  <a:lnTo>
                    <a:pt x="100" y="74"/>
                  </a:lnTo>
                  <a:lnTo>
                    <a:pt x="100" y="74"/>
                  </a:lnTo>
                  <a:lnTo>
                    <a:pt x="109" y="74"/>
                  </a:lnTo>
                  <a:lnTo>
                    <a:pt x="116" y="74"/>
                  </a:lnTo>
                  <a:lnTo>
                    <a:pt x="116" y="74"/>
                  </a:lnTo>
                  <a:lnTo>
                    <a:pt x="125" y="75"/>
                  </a:lnTo>
                  <a:lnTo>
                    <a:pt x="129" y="75"/>
                  </a:lnTo>
                  <a:lnTo>
                    <a:pt x="130" y="75"/>
                  </a:lnTo>
                  <a:lnTo>
                    <a:pt x="132" y="74"/>
                  </a:lnTo>
                  <a:lnTo>
                    <a:pt x="132" y="74"/>
                  </a:lnTo>
                  <a:lnTo>
                    <a:pt x="129" y="70"/>
                  </a:lnTo>
                  <a:lnTo>
                    <a:pt x="125" y="64"/>
                  </a:lnTo>
                  <a:lnTo>
                    <a:pt x="120" y="58"/>
                  </a:lnTo>
                  <a:lnTo>
                    <a:pt x="120" y="55"/>
                  </a:lnTo>
                  <a:lnTo>
                    <a:pt x="120" y="54"/>
                  </a:lnTo>
                  <a:lnTo>
                    <a:pt x="120" y="54"/>
                  </a:lnTo>
                  <a:lnTo>
                    <a:pt x="130" y="48"/>
                  </a:lnTo>
                  <a:lnTo>
                    <a:pt x="133" y="45"/>
                  </a:lnTo>
                  <a:lnTo>
                    <a:pt x="133" y="42"/>
                  </a:lnTo>
                  <a:lnTo>
                    <a:pt x="132" y="41"/>
                  </a:lnTo>
                  <a:lnTo>
                    <a:pt x="132" y="41"/>
                  </a:lnTo>
                  <a:lnTo>
                    <a:pt x="122" y="35"/>
                  </a:lnTo>
                  <a:lnTo>
                    <a:pt x="117" y="30"/>
                  </a:lnTo>
                  <a:lnTo>
                    <a:pt x="114" y="28"/>
                  </a:lnTo>
                  <a:lnTo>
                    <a:pt x="114" y="28"/>
                  </a:lnTo>
                  <a:lnTo>
                    <a:pt x="113" y="25"/>
                  </a:lnTo>
                  <a:lnTo>
                    <a:pt x="113" y="23"/>
                  </a:lnTo>
                  <a:lnTo>
                    <a:pt x="114" y="20"/>
                  </a:lnTo>
                  <a:lnTo>
                    <a:pt x="116" y="19"/>
                  </a:lnTo>
                  <a:lnTo>
                    <a:pt x="116" y="19"/>
                  </a:lnTo>
                  <a:lnTo>
                    <a:pt x="117" y="16"/>
                  </a:lnTo>
                  <a:lnTo>
                    <a:pt x="117" y="13"/>
                  </a:lnTo>
                  <a:lnTo>
                    <a:pt x="117" y="12"/>
                  </a:lnTo>
                  <a:lnTo>
                    <a:pt x="119" y="9"/>
                  </a:lnTo>
                  <a:lnTo>
                    <a:pt x="119" y="9"/>
                  </a:lnTo>
                  <a:lnTo>
                    <a:pt x="125" y="4"/>
                  </a:lnTo>
                  <a:lnTo>
                    <a:pt x="128" y="3"/>
                  </a:lnTo>
                  <a:lnTo>
                    <a:pt x="130" y="0"/>
                  </a:lnTo>
                  <a:lnTo>
                    <a:pt x="130" y="0"/>
                  </a:lnTo>
                  <a:lnTo>
                    <a:pt x="133" y="0"/>
                  </a:lnTo>
                  <a:lnTo>
                    <a:pt x="135" y="3"/>
                  </a:lnTo>
                  <a:lnTo>
                    <a:pt x="136" y="6"/>
                  </a:lnTo>
                  <a:lnTo>
                    <a:pt x="139" y="9"/>
                  </a:lnTo>
                  <a:lnTo>
                    <a:pt x="139" y="9"/>
                  </a:lnTo>
                  <a:lnTo>
                    <a:pt x="146" y="16"/>
                  </a:lnTo>
                  <a:lnTo>
                    <a:pt x="149" y="19"/>
                  </a:lnTo>
                  <a:lnTo>
                    <a:pt x="151" y="20"/>
                  </a:lnTo>
                  <a:lnTo>
                    <a:pt x="151" y="20"/>
                  </a:lnTo>
                  <a:lnTo>
                    <a:pt x="152" y="22"/>
                  </a:lnTo>
                  <a:lnTo>
                    <a:pt x="152" y="26"/>
                  </a:lnTo>
                  <a:lnTo>
                    <a:pt x="152" y="29"/>
                  </a:lnTo>
                  <a:lnTo>
                    <a:pt x="151" y="32"/>
                  </a:lnTo>
                  <a:lnTo>
                    <a:pt x="151" y="32"/>
                  </a:lnTo>
                  <a:lnTo>
                    <a:pt x="149" y="35"/>
                  </a:lnTo>
                  <a:lnTo>
                    <a:pt x="151" y="36"/>
                  </a:lnTo>
                  <a:lnTo>
                    <a:pt x="154" y="41"/>
                  </a:lnTo>
                  <a:lnTo>
                    <a:pt x="154" y="41"/>
                  </a:lnTo>
                  <a:lnTo>
                    <a:pt x="156" y="45"/>
                  </a:lnTo>
                  <a:lnTo>
                    <a:pt x="159" y="46"/>
                  </a:lnTo>
                  <a:lnTo>
                    <a:pt x="161" y="48"/>
                  </a:lnTo>
                  <a:lnTo>
                    <a:pt x="161" y="48"/>
                  </a:lnTo>
                  <a:lnTo>
                    <a:pt x="170" y="43"/>
                  </a:lnTo>
                  <a:lnTo>
                    <a:pt x="175" y="42"/>
                  </a:lnTo>
                  <a:lnTo>
                    <a:pt x="180" y="42"/>
                  </a:lnTo>
                  <a:lnTo>
                    <a:pt x="180" y="42"/>
                  </a:lnTo>
                  <a:lnTo>
                    <a:pt x="184" y="43"/>
                  </a:lnTo>
                  <a:lnTo>
                    <a:pt x="188" y="45"/>
                  </a:lnTo>
                  <a:lnTo>
                    <a:pt x="190" y="48"/>
                  </a:lnTo>
                  <a:lnTo>
                    <a:pt x="190" y="54"/>
                  </a:lnTo>
                  <a:lnTo>
                    <a:pt x="190" y="54"/>
                  </a:lnTo>
                  <a:lnTo>
                    <a:pt x="188" y="59"/>
                  </a:lnTo>
                  <a:lnTo>
                    <a:pt x="188" y="67"/>
                  </a:lnTo>
                  <a:lnTo>
                    <a:pt x="190" y="74"/>
                  </a:lnTo>
                  <a:lnTo>
                    <a:pt x="190" y="81"/>
                  </a:lnTo>
                  <a:lnTo>
                    <a:pt x="190" y="81"/>
                  </a:lnTo>
                  <a:lnTo>
                    <a:pt x="187" y="87"/>
                  </a:lnTo>
                  <a:lnTo>
                    <a:pt x="185" y="91"/>
                  </a:lnTo>
                  <a:lnTo>
                    <a:pt x="184" y="93"/>
                  </a:lnTo>
                  <a:lnTo>
                    <a:pt x="184" y="96"/>
                  </a:lnTo>
                  <a:lnTo>
                    <a:pt x="184" y="96"/>
                  </a:lnTo>
                  <a:lnTo>
                    <a:pt x="187" y="100"/>
                  </a:lnTo>
                  <a:lnTo>
                    <a:pt x="188" y="103"/>
                  </a:lnTo>
                  <a:lnTo>
                    <a:pt x="188" y="103"/>
                  </a:lnTo>
                  <a:lnTo>
                    <a:pt x="185" y="109"/>
                  </a:lnTo>
                  <a:lnTo>
                    <a:pt x="183" y="112"/>
                  </a:lnTo>
                  <a:lnTo>
                    <a:pt x="180" y="113"/>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58" name="Freeform 1403"/>
            <p:cNvSpPr>
              <a:spLocks/>
            </p:cNvSpPr>
            <p:nvPr/>
          </p:nvSpPr>
          <p:spPr bwMode="auto">
            <a:xfrm>
              <a:off x="1287463" y="1630791"/>
              <a:ext cx="301625" cy="231775"/>
            </a:xfrm>
            <a:custGeom>
              <a:avLst/>
              <a:gdLst>
                <a:gd name="T0" fmla="*/ 162 w 190"/>
                <a:gd name="T1" fmla="*/ 116 h 146"/>
                <a:gd name="T2" fmla="*/ 156 w 190"/>
                <a:gd name="T3" fmla="*/ 107 h 146"/>
                <a:gd name="T4" fmla="*/ 152 w 190"/>
                <a:gd name="T5" fmla="*/ 116 h 146"/>
                <a:gd name="T6" fmla="*/ 142 w 190"/>
                <a:gd name="T7" fmla="*/ 114 h 146"/>
                <a:gd name="T8" fmla="*/ 139 w 190"/>
                <a:gd name="T9" fmla="*/ 106 h 146"/>
                <a:gd name="T10" fmla="*/ 128 w 190"/>
                <a:gd name="T11" fmla="*/ 117 h 146"/>
                <a:gd name="T12" fmla="*/ 112 w 190"/>
                <a:gd name="T13" fmla="*/ 126 h 146"/>
                <a:gd name="T14" fmla="*/ 100 w 190"/>
                <a:gd name="T15" fmla="*/ 139 h 146"/>
                <a:gd name="T16" fmla="*/ 81 w 190"/>
                <a:gd name="T17" fmla="*/ 146 h 146"/>
                <a:gd name="T18" fmla="*/ 59 w 190"/>
                <a:gd name="T19" fmla="*/ 138 h 146"/>
                <a:gd name="T20" fmla="*/ 54 w 190"/>
                <a:gd name="T21" fmla="*/ 125 h 146"/>
                <a:gd name="T22" fmla="*/ 68 w 190"/>
                <a:gd name="T23" fmla="*/ 113 h 146"/>
                <a:gd name="T24" fmla="*/ 86 w 190"/>
                <a:gd name="T25" fmla="*/ 114 h 146"/>
                <a:gd name="T26" fmla="*/ 100 w 190"/>
                <a:gd name="T27" fmla="*/ 103 h 146"/>
                <a:gd name="T28" fmla="*/ 99 w 190"/>
                <a:gd name="T29" fmla="*/ 96 h 146"/>
                <a:gd name="T30" fmla="*/ 86 w 190"/>
                <a:gd name="T31" fmla="*/ 103 h 146"/>
                <a:gd name="T32" fmla="*/ 77 w 190"/>
                <a:gd name="T33" fmla="*/ 101 h 146"/>
                <a:gd name="T34" fmla="*/ 61 w 190"/>
                <a:gd name="T35" fmla="*/ 107 h 146"/>
                <a:gd name="T36" fmla="*/ 64 w 190"/>
                <a:gd name="T37" fmla="*/ 85 h 146"/>
                <a:gd name="T38" fmla="*/ 54 w 190"/>
                <a:gd name="T39" fmla="*/ 81 h 146"/>
                <a:gd name="T40" fmla="*/ 54 w 190"/>
                <a:gd name="T41" fmla="*/ 93 h 146"/>
                <a:gd name="T42" fmla="*/ 51 w 190"/>
                <a:gd name="T43" fmla="*/ 101 h 146"/>
                <a:gd name="T44" fmla="*/ 46 w 190"/>
                <a:gd name="T45" fmla="*/ 110 h 146"/>
                <a:gd name="T46" fmla="*/ 36 w 190"/>
                <a:gd name="T47" fmla="*/ 107 h 146"/>
                <a:gd name="T48" fmla="*/ 25 w 190"/>
                <a:gd name="T49" fmla="*/ 107 h 146"/>
                <a:gd name="T50" fmla="*/ 6 w 190"/>
                <a:gd name="T51" fmla="*/ 99 h 146"/>
                <a:gd name="T52" fmla="*/ 0 w 190"/>
                <a:gd name="T53" fmla="*/ 94 h 146"/>
                <a:gd name="T54" fmla="*/ 7 w 190"/>
                <a:gd name="T55" fmla="*/ 80 h 146"/>
                <a:gd name="T56" fmla="*/ 16 w 190"/>
                <a:gd name="T57" fmla="*/ 77 h 146"/>
                <a:gd name="T58" fmla="*/ 10 w 190"/>
                <a:gd name="T59" fmla="*/ 64 h 146"/>
                <a:gd name="T60" fmla="*/ 16 w 190"/>
                <a:gd name="T61" fmla="*/ 58 h 146"/>
                <a:gd name="T62" fmla="*/ 17 w 190"/>
                <a:gd name="T63" fmla="*/ 52 h 146"/>
                <a:gd name="T64" fmla="*/ 15 w 190"/>
                <a:gd name="T65" fmla="*/ 45 h 146"/>
                <a:gd name="T66" fmla="*/ 23 w 190"/>
                <a:gd name="T67" fmla="*/ 28 h 146"/>
                <a:gd name="T68" fmla="*/ 30 w 190"/>
                <a:gd name="T69" fmla="*/ 16 h 146"/>
                <a:gd name="T70" fmla="*/ 57 w 190"/>
                <a:gd name="T71" fmla="*/ 19 h 146"/>
                <a:gd name="T72" fmla="*/ 58 w 190"/>
                <a:gd name="T73" fmla="*/ 35 h 146"/>
                <a:gd name="T74" fmla="*/ 71 w 190"/>
                <a:gd name="T75" fmla="*/ 35 h 146"/>
                <a:gd name="T76" fmla="*/ 78 w 190"/>
                <a:gd name="T77" fmla="*/ 45 h 146"/>
                <a:gd name="T78" fmla="*/ 90 w 190"/>
                <a:gd name="T79" fmla="*/ 52 h 146"/>
                <a:gd name="T80" fmla="*/ 84 w 190"/>
                <a:gd name="T81" fmla="*/ 58 h 146"/>
                <a:gd name="T82" fmla="*/ 94 w 190"/>
                <a:gd name="T83" fmla="*/ 62 h 146"/>
                <a:gd name="T84" fmla="*/ 97 w 190"/>
                <a:gd name="T85" fmla="*/ 74 h 146"/>
                <a:gd name="T86" fmla="*/ 116 w 190"/>
                <a:gd name="T87" fmla="*/ 74 h 146"/>
                <a:gd name="T88" fmla="*/ 132 w 190"/>
                <a:gd name="T89" fmla="*/ 74 h 146"/>
                <a:gd name="T90" fmla="*/ 120 w 190"/>
                <a:gd name="T91" fmla="*/ 54 h 146"/>
                <a:gd name="T92" fmla="*/ 132 w 190"/>
                <a:gd name="T93" fmla="*/ 41 h 146"/>
                <a:gd name="T94" fmla="*/ 114 w 190"/>
                <a:gd name="T95" fmla="*/ 28 h 146"/>
                <a:gd name="T96" fmla="*/ 116 w 190"/>
                <a:gd name="T97" fmla="*/ 19 h 146"/>
                <a:gd name="T98" fmla="*/ 119 w 190"/>
                <a:gd name="T99" fmla="*/ 9 h 146"/>
                <a:gd name="T100" fmla="*/ 133 w 190"/>
                <a:gd name="T101" fmla="*/ 0 h 146"/>
                <a:gd name="T102" fmla="*/ 146 w 190"/>
                <a:gd name="T103" fmla="*/ 16 h 146"/>
                <a:gd name="T104" fmla="*/ 152 w 190"/>
                <a:gd name="T105" fmla="*/ 26 h 146"/>
                <a:gd name="T106" fmla="*/ 151 w 190"/>
                <a:gd name="T107" fmla="*/ 36 h 146"/>
                <a:gd name="T108" fmla="*/ 161 w 190"/>
                <a:gd name="T109" fmla="*/ 48 h 146"/>
                <a:gd name="T110" fmla="*/ 180 w 190"/>
                <a:gd name="T111" fmla="*/ 42 h 146"/>
                <a:gd name="T112" fmla="*/ 190 w 190"/>
                <a:gd name="T113" fmla="*/ 54 h 146"/>
                <a:gd name="T114" fmla="*/ 190 w 190"/>
                <a:gd name="T115" fmla="*/ 81 h 146"/>
                <a:gd name="T116" fmla="*/ 184 w 190"/>
                <a:gd name="T117" fmla="*/ 96 h 146"/>
                <a:gd name="T118" fmla="*/ 183 w 190"/>
                <a:gd name="T119" fmla="*/ 11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 h="146">
                  <a:moveTo>
                    <a:pt x="180" y="113"/>
                  </a:moveTo>
                  <a:lnTo>
                    <a:pt x="180" y="113"/>
                  </a:lnTo>
                  <a:lnTo>
                    <a:pt x="171" y="116"/>
                  </a:lnTo>
                  <a:lnTo>
                    <a:pt x="165" y="116"/>
                  </a:lnTo>
                  <a:lnTo>
                    <a:pt x="162" y="116"/>
                  </a:lnTo>
                  <a:lnTo>
                    <a:pt x="162" y="116"/>
                  </a:lnTo>
                  <a:lnTo>
                    <a:pt x="159" y="110"/>
                  </a:lnTo>
                  <a:lnTo>
                    <a:pt x="158" y="107"/>
                  </a:lnTo>
                  <a:lnTo>
                    <a:pt x="156" y="107"/>
                  </a:lnTo>
                  <a:lnTo>
                    <a:pt x="156" y="107"/>
                  </a:lnTo>
                  <a:lnTo>
                    <a:pt x="156" y="107"/>
                  </a:lnTo>
                  <a:lnTo>
                    <a:pt x="155" y="110"/>
                  </a:lnTo>
                  <a:lnTo>
                    <a:pt x="154" y="113"/>
                  </a:lnTo>
                  <a:lnTo>
                    <a:pt x="154" y="116"/>
                  </a:lnTo>
                  <a:lnTo>
                    <a:pt x="152" y="116"/>
                  </a:lnTo>
                  <a:lnTo>
                    <a:pt x="152" y="116"/>
                  </a:lnTo>
                  <a:lnTo>
                    <a:pt x="146" y="117"/>
                  </a:lnTo>
                  <a:lnTo>
                    <a:pt x="143" y="117"/>
                  </a:lnTo>
                  <a:lnTo>
                    <a:pt x="142" y="114"/>
                  </a:lnTo>
                  <a:lnTo>
                    <a:pt x="142" y="114"/>
                  </a:lnTo>
                  <a:lnTo>
                    <a:pt x="141" y="112"/>
                  </a:lnTo>
                  <a:lnTo>
                    <a:pt x="141" y="109"/>
                  </a:lnTo>
                  <a:lnTo>
                    <a:pt x="139" y="106"/>
                  </a:lnTo>
                  <a:lnTo>
                    <a:pt x="139" y="106"/>
                  </a:lnTo>
                  <a:lnTo>
                    <a:pt x="139" y="106"/>
                  </a:lnTo>
                  <a:lnTo>
                    <a:pt x="136" y="110"/>
                  </a:lnTo>
                  <a:lnTo>
                    <a:pt x="136" y="113"/>
                  </a:lnTo>
                  <a:lnTo>
                    <a:pt x="133" y="114"/>
                  </a:lnTo>
                  <a:lnTo>
                    <a:pt x="133" y="114"/>
                  </a:lnTo>
                  <a:lnTo>
                    <a:pt x="128" y="117"/>
                  </a:lnTo>
                  <a:lnTo>
                    <a:pt x="122" y="122"/>
                  </a:lnTo>
                  <a:lnTo>
                    <a:pt x="122" y="122"/>
                  </a:lnTo>
                  <a:lnTo>
                    <a:pt x="116" y="122"/>
                  </a:lnTo>
                  <a:lnTo>
                    <a:pt x="113" y="123"/>
                  </a:lnTo>
                  <a:lnTo>
                    <a:pt x="112" y="126"/>
                  </a:lnTo>
                  <a:lnTo>
                    <a:pt x="112" y="126"/>
                  </a:lnTo>
                  <a:lnTo>
                    <a:pt x="109" y="132"/>
                  </a:lnTo>
                  <a:lnTo>
                    <a:pt x="104" y="136"/>
                  </a:lnTo>
                  <a:lnTo>
                    <a:pt x="104" y="136"/>
                  </a:lnTo>
                  <a:lnTo>
                    <a:pt x="100" y="139"/>
                  </a:lnTo>
                  <a:lnTo>
                    <a:pt x="96" y="141"/>
                  </a:lnTo>
                  <a:lnTo>
                    <a:pt x="88" y="143"/>
                  </a:lnTo>
                  <a:lnTo>
                    <a:pt x="88" y="143"/>
                  </a:lnTo>
                  <a:lnTo>
                    <a:pt x="84" y="145"/>
                  </a:lnTo>
                  <a:lnTo>
                    <a:pt x="81" y="146"/>
                  </a:lnTo>
                  <a:lnTo>
                    <a:pt x="77" y="145"/>
                  </a:lnTo>
                  <a:lnTo>
                    <a:pt x="77" y="145"/>
                  </a:lnTo>
                  <a:lnTo>
                    <a:pt x="67" y="142"/>
                  </a:lnTo>
                  <a:lnTo>
                    <a:pt x="59" y="138"/>
                  </a:lnTo>
                  <a:lnTo>
                    <a:pt x="59" y="138"/>
                  </a:lnTo>
                  <a:lnTo>
                    <a:pt x="57" y="133"/>
                  </a:lnTo>
                  <a:lnTo>
                    <a:pt x="54" y="130"/>
                  </a:lnTo>
                  <a:lnTo>
                    <a:pt x="54" y="127"/>
                  </a:lnTo>
                  <a:lnTo>
                    <a:pt x="54" y="125"/>
                  </a:lnTo>
                  <a:lnTo>
                    <a:pt x="54" y="125"/>
                  </a:lnTo>
                  <a:lnTo>
                    <a:pt x="64" y="122"/>
                  </a:lnTo>
                  <a:lnTo>
                    <a:pt x="67" y="119"/>
                  </a:lnTo>
                  <a:lnTo>
                    <a:pt x="68" y="117"/>
                  </a:lnTo>
                  <a:lnTo>
                    <a:pt x="68" y="117"/>
                  </a:lnTo>
                  <a:lnTo>
                    <a:pt x="68" y="113"/>
                  </a:lnTo>
                  <a:lnTo>
                    <a:pt x="68" y="112"/>
                  </a:lnTo>
                  <a:lnTo>
                    <a:pt x="71" y="112"/>
                  </a:lnTo>
                  <a:lnTo>
                    <a:pt x="71" y="112"/>
                  </a:lnTo>
                  <a:lnTo>
                    <a:pt x="80" y="114"/>
                  </a:lnTo>
                  <a:lnTo>
                    <a:pt x="86" y="114"/>
                  </a:lnTo>
                  <a:lnTo>
                    <a:pt x="91" y="114"/>
                  </a:lnTo>
                  <a:lnTo>
                    <a:pt x="91" y="114"/>
                  </a:lnTo>
                  <a:lnTo>
                    <a:pt x="96" y="112"/>
                  </a:lnTo>
                  <a:lnTo>
                    <a:pt x="97" y="109"/>
                  </a:lnTo>
                  <a:lnTo>
                    <a:pt x="100" y="103"/>
                  </a:lnTo>
                  <a:lnTo>
                    <a:pt x="100" y="103"/>
                  </a:lnTo>
                  <a:lnTo>
                    <a:pt x="101" y="101"/>
                  </a:lnTo>
                  <a:lnTo>
                    <a:pt x="101" y="99"/>
                  </a:lnTo>
                  <a:lnTo>
                    <a:pt x="100" y="96"/>
                  </a:lnTo>
                  <a:lnTo>
                    <a:pt x="99" y="96"/>
                  </a:lnTo>
                  <a:lnTo>
                    <a:pt x="99" y="96"/>
                  </a:lnTo>
                  <a:lnTo>
                    <a:pt x="96" y="96"/>
                  </a:lnTo>
                  <a:lnTo>
                    <a:pt x="93" y="99"/>
                  </a:lnTo>
                  <a:lnTo>
                    <a:pt x="86" y="103"/>
                  </a:lnTo>
                  <a:lnTo>
                    <a:pt x="86" y="103"/>
                  </a:lnTo>
                  <a:lnTo>
                    <a:pt x="83" y="103"/>
                  </a:lnTo>
                  <a:lnTo>
                    <a:pt x="81" y="103"/>
                  </a:lnTo>
                  <a:lnTo>
                    <a:pt x="80" y="101"/>
                  </a:lnTo>
                  <a:lnTo>
                    <a:pt x="77" y="101"/>
                  </a:lnTo>
                  <a:lnTo>
                    <a:pt x="77" y="101"/>
                  </a:lnTo>
                  <a:lnTo>
                    <a:pt x="67" y="107"/>
                  </a:lnTo>
                  <a:lnTo>
                    <a:pt x="64" y="109"/>
                  </a:lnTo>
                  <a:lnTo>
                    <a:pt x="62" y="109"/>
                  </a:lnTo>
                  <a:lnTo>
                    <a:pt x="61" y="107"/>
                  </a:lnTo>
                  <a:lnTo>
                    <a:pt x="61" y="107"/>
                  </a:lnTo>
                  <a:lnTo>
                    <a:pt x="61" y="99"/>
                  </a:lnTo>
                  <a:lnTo>
                    <a:pt x="61" y="93"/>
                  </a:lnTo>
                  <a:lnTo>
                    <a:pt x="61" y="90"/>
                  </a:lnTo>
                  <a:lnTo>
                    <a:pt x="61" y="90"/>
                  </a:lnTo>
                  <a:lnTo>
                    <a:pt x="64" y="85"/>
                  </a:lnTo>
                  <a:lnTo>
                    <a:pt x="62" y="83"/>
                  </a:lnTo>
                  <a:lnTo>
                    <a:pt x="61" y="83"/>
                  </a:lnTo>
                  <a:lnTo>
                    <a:pt x="61" y="83"/>
                  </a:lnTo>
                  <a:lnTo>
                    <a:pt x="55" y="81"/>
                  </a:lnTo>
                  <a:lnTo>
                    <a:pt x="54" y="81"/>
                  </a:lnTo>
                  <a:lnTo>
                    <a:pt x="54" y="83"/>
                  </a:lnTo>
                  <a:lnTo>
                    <a:pt x="54" y="83"/>
                  </a:lnTo>
                  <a:lnTo>
                    <a:pt x="55" y="87"/>
                  </a:lnTo>
                  <a:lnTo>
                    <a:pt x="55" y="90"/>
                  </a:lnTo>
                  <a:lnTo>
                    <a:pt x="54" y="93"/>
                  </a:lnTo>
                  <a:lnTo>
                    <a:pt x="54" y="93"/>
                  </a:lnTo>
                  <a:lnTo>
                    <a:pt x="51" y="96"/>
                  </a:lnTo>
                  <a:lnTo>
                    <a:pt x="49" y="97"/>
                  </a:lnTo>
                  <a:lnTo>
                    <a:pt x="49" y="97"/>
                  </a:lnTo>
                  <a:lnTo>
                    <a:pt x="51" y="101"/>
                  </a:lnTo>
                  <a:lnTo>
                    <a:pt x="51" y="103"/>
                  </a:lnTo>
                  <a:lnTo>
                    <a:pt x="51" y="106"/>
                  </a:lnTo>
                  <a:lnTo>
                    <a:pt x="51" y="106"/>
                  </a:lnTo>
                  <a:lnTo>
                    <a:pt x="49" y="109"/>
                  </a:lnTo>
                  <a:lnTo>
                    <a:pt x="46" y="110"/>
                  </a:lnTo>
                  <a:lnTo>
                    <a:pt x="44" y="110"/>
                  </a:lnTo>
                  <a:lnTo>
                    <a:pt x="44" y="110"/>
                  </a:lnTo>
                  <a:lnTo>
                    <a:pt x="38" y="107"/>
                  </a:lnTo>
                  <a:lnTo>
                    <a:pt x="36" y="107"/>
                  </a:lnTo>
                  <a:lnTo>
                    <a:pt x="36" y="107"/>
                  </a:lnTo>
                  <a:lnTo>
                    <a:pt x="35" y="109"/>
                  </a:lnTo>
                  <a:lnTo>
                    <a:pt x="33" y="109"/>
                  </a:lnTo>
                  <a:lnTo>
                    <a:pt x="30" y="109"/>
                  </a:lnTo>
                  <a:lnTo>
                    <a:pt x="30" y="109"/>
                  </a:lnTo>
                  <a:lnTo>
                    <a:pt x="25" y="107"/>
                  </a:lnTo>
                  <a:lnTo>
                    <a:pt x="19" y="104"/>
                  </a:lnTo>
                  <a:lnTo>
                    <a:pt x="19" y="104"/>
                  </a:lnTo>
                  <a:lnTo>
                    <a:pt x="12" y="100"/>
                  </a:lnTo>
                  <a:lnTo>
                    <a:pt x="7" y="99"/>
                  </a:lnTo>
                  <a:lnTo>
                    <a:pt x="6" y="99"/>
                  </a:lnTo>
                  <a:lnTo>
                    <a:pt x="6" y="99"/>
                  </a:lnTo>
                  <a:lnTo>
                    <a:pt x="3" y="99"/>
                  </a:lnTo>
                  <a:lnTo>
                    <a:pt x="2" y="99"/>
                  </a:lnTo>
                  <a:lnTo>
                    <a:pt x="0" y="97"/>
                  </a:lnTo>
                  <a:lnTo>
                    <a:pt x="0" y="94"/>
                  </a:lnTo>
                  <a:lnTo>
                    <a:pt x="0" y="94"/>
                  </a:lnTo>
                  <a:lnTo>
                    <a:pt x="2" y="85"/>
                  </a:lnTo>
                  <a:lnTo>
                    <a:pt x="4" y="81"/>
                  </a:lnTo>
                  <a:lnTo>
                    <a:pt x="7" y="80"/>
                  </a:lnTo>
                  <a:lnTo>
                    <a:pt x="7" y="80"/>
                  </a:lnTo>
                  <a:lnTo>
                    <a:pt x="13" y="80"/>
                  </a:lnTo>
                  <a:lnTo>
                    <a:pt x="16" y="78"/>
                  </a:lnTo>
                  <a:lnTo>
                    <a:pt x="17" y="77"/>
                  </a:lnTo>
                  <a:lnTo>
                    <a:pt x="17" y="77"/>
                  </a:lnTo>
                  <a:lnTo>
                    <a:pt x="16" y="77"/>
                  </a:lnTo>
                  <a:lnTo>
                    <a:pt x="13" y="75"/>
                  </a:lnTo>
                  <a:lnTo>
                    <a:pt x="10" y="74"/>
                  </a:lnTo>
                  <a:lnTo>
                    <a:pt x="10" y="72"/>
                  </a:lnTo>
                  <a:lnTo>
                    <a:pt x="10" y="72"/>
                  </a:lnTo>
                  <a:lnTo>
                    <a:pt x="10" y="64"/>
                  </a:lnTo>
                  <a:lnTo>
                    <a:pt x="12" y="59"/>
                  </a:lnTo>
                  <a:lnTo>
                    <a:pt x="12" y="58"/>
                  </a:lnTo>
                  <a:lnTo>
                    <a:pt x="13" y="58"/>
                  </a:lnTo>
                  <a:lnTo>
                    <a:pt x="13" y="58"/>
                  </a:lnTo>
                  <a:lnTo>
                    <a:pt x="16" y="58"/>
                  </a:lnTo>
                  <a:lnTo>
                    <a:pt x="19" y="57"/>
                  </a:lnTo>
                  <a:lnTo>
                    <a:pt x="19" y="54"/>
                  </a:lnTo>
                  <a:lnTo>
                    <a:pt x="19" y="54"/>
                  </a:lnTo>
                  <a:lnTo>
                    <a:pt x="19" y="54"/>
                  </a:lnTo>
                  <a:lnTo>
                    <a:pt x="17" y="52"/>
                  </a:lnTo>
                  <a:lnTo>
                    <a:pt x="16" y="51"/>
                  </a:lnTo>
                  <a:lnTo>
                    <a:pt x="17" y="49"/>
                  </a:lnTo>
                  <a:lnTo>
                    <a:pt x="17" y="49"/>
                  </a:lnTo>
                  <a:lnTo>
                    <a:pt x="16" y="48"/>
                  </a:lnTo>
                  <a:lnTo>
                    <a:pt x="15" y="45"/>
                  </a:lnTo>
                  <a:lnTo>
                    <a:pt x="13" y="43"/>
                  </a:lnTo>
                  <a:lnTo>
                    <a:pt x="13" y="41"/>
                  </a:lnTo>
                  <a:lnTo>
                    <a:pt x="13" y="41"/>
                  </a:lnTo>
                  <a:lnTo>
                    <a:pt x="19" y="35"/>
                  </a:lnTo>
                  <a:lnTo>
                    <a:pt x="23" y="28"/>
                  </a:lnTo>
                  <a:lnTo>
                    <a:pt x="23" y="28"/>
                  </a:lnTo>
                  <a:lnTo>
                    <a:pt x="26" y="20"/>
                  </a:lnTo>
                  <a:lnTo>
                    <a:pt x="29" y="17"/>
                  </a:lnTo>
                  <a:lnTo>
                    <a:pt x="30" y="16"/>
                  </a:lnTo>
                  <a:lnTo>
                    <a:pt x="30" y="16"/>
                  </a:lnTo>
                  <a:lnTo>
                    <a:pt x="44" y="16"/>
                  </a:lnTo>
                  <a:lnTo>
                    <a:pt x="44" y="16"/>
                  </a:lnTo>
                  <a:lnTo>
                    <a:pt x="52" y="17"/>
                  </a:lnTo>
                  <a:lnTo>
                    <a:pt x="57" y="19"/>
                  </a:lnTo>
                  <a:lnTo>
                    <a:pt x="57" y="19"/>
                  </a:lnTo>
                  <a:lnTo>
                    <a:pt x="57" y="20"/>
                  </a:lnTo>
                  <a:lnTo>
                    <a:pt x="57" y="20"/>
                  </a:lnTo>
                  <a:lnTo>
                    <a:pt x="57" y="23"/>
                  </a:lnTo>
                  <a:lnTo>
                    <a:pt x="57" y="29"/>
                  </a:lnTo>
                  <a:lnTo>
                    <a:pt x="58" y="35"/>
                  </a:lnTo>
                  <a:lnTo>
                    <a:pt x="58" y="38"/>
                  </a:lnTo>
                  <a:lnTo>
                    <a:pt x="59" y="38"/>
                  </a:lnTo>
                  <a:lnTo>
                    <a:pt x="59" y="38"/>
                  </a:lnTo>
                  <a:lnTo>
                    <a:pt x="67" y="36"/>
                  </a:lnTo>
                  <a:lnTo>
                    <a:pt x="71" y="35"/>
                  </a:lnTo>
                  <a:lnTo>
                    <a:pt x="74" y="36"/>
                  </a:lnTo>
                  <a:lnTo>
                    <a:pt x="74" y="36"/>
                  </a:lnTo>
                  <a:lnTo>
                    <a:pt x="74" y="38"/>
                  </a:lnTo>
                  <a:lnTo>
                    <a:pt x="75" y="39"/>
                  </a:lnTo>
                  <a:lnTo>
                    <a:pt x="78" y="45"/>
                  </a:lnTo>
                  <a:lnTo>
                    <a:pt x="78" y="45"/>
                  </a:lnTo>
                  <a:lnTo>
                    <a:pt x="80" y="48"/>
                  </a:lnTo>
                  <a:lnTo>
                    <a:pt x="84" y="49"/>
                  </a:lnTo>
                  <a:lnTo>
                    <a:pt x="88" y="51"/>
                  </a:lnTo>
                  <a:lnTo>
                    <a:pt x="90" y="52"/>
                  </a:lnTo>
                  <a:lnTo>
                    <a:pt x="90" y="52"/>
                  </a:lnTo>
                  <a:lnTo>
                    <a:pt x="90" y="54"/>
                  </a:lnTo>
                  <a:lnTo>
                    <a:pt x="86" y="55"/>
                  </a:lnTo>
                  <a:lnTo>
                    <a:pt x="84" y="57"/>
                  </a:lnTo>
                  <a:lnTo>
                    <a:pt x="84" y="58"/>
                  </a:lnTo>
                  <a:lnTo>
                    <a:pt x="84" y="58"/>
                  </a:lnTo>
                  <a:lnTo>
                    <a:pt x="84" y="58"/>
                  </a:lnTo>
                  <a:lnTo>
                    <a:pt x="90" y="61"/>
                  </a:lnTo>
                  <a:lnTo>
                    <a:pt x="94" y="62"/>
                  </a:lnTo>
                  <a:lnTo>
                    <a:pt x="94" y="62"/>
                  </a:lnTo>
                  <a:lnTo>
                    <a:pt x="97" y="67"/>
                  </a:lnTo>
                  <a:lnTo>
                    <a:pt x="97" y="71"/>
                  </a:lnTo>
                  <a:lnTo>
                    <a:pt x="97" y="71"/>
                  </a:lnTo>
                  <a:lnTo>
                    <a:pt x="97" y="74"/>
                  </a:lnTo>
                  <a:lnTo>
                    <a:pt x="97" y="74"/>
                  </a:lnTo>
                  <a:lnTo>
                    <a:pt x="100" y="74"/>
                  </a:lnTo>
                  <a:lnTo>
                    <a:pt x="100" y="74"/>
                  </a:lnTo>
                  <a:lnTo>
                    <a:pt x="109" y="74"/>
                  </a:lnTo>
                  <a:lnTo>
                    <a:pt x="116" y="74"/>
                  </a:lnTo>
                  <a:lnTo>
                    <a:pt x="116" y="74"/>
                  </a:lnTo>
                  <a:lnTo>
                    <a:pt x="125" y="75"/>
                  </a:lnTo>
                  <a:lnTo>
                    <a:pt x="129" y="75"/>
                  </a:lnTo>
                  <a:lnTo>
                    <a:pt x="130" y="75"/>
                  </a:lnTo>
                  <a:lnTo>
                    <a:pt x="132" y="74"/>
                  </a:lnTo>
                  <a:lnTo>
                    <a:pt x="132" y="74"/>
                  </a:lnTo>
                  <a:lnTo>
                    <a:pt x="129" y="70"/>
                  </a:lnTo>
                  <a:lnTo>
                    <a:pt x="125" y="64"/>
                  </a:lnTo>
                  <a:lnTo>
                    <a:pt x="120" y="58"/>
                  </a:lnTo>
                  <a:lnTo>
                    <a:pt x="120" y="55"/>
                  </a:lnTo>
                  <a:lnTo>
                    <a:pt x="120" y="54"/>
                  </a:lnTo>
                  <a:lnTo>
                    <a:pt x="120" y="54"/>
                  </a:lnTo>
                  <a:lnTo>
                    <a:pt x="130" y="48"/>
                  </a:lnTo>
                  <a:lnTo>
                    <a:pt x="133" y="45"/>
                  </a:lnTo>
                  <a:lnTo>
                    <a:pt x="133" y="42"/>
                  </a:lnTo>
                  <a:lnTo>
                    <a:pt x="132" y="41"/>
                  </a:lnTo>
                  <a:lnTo>
                    <a:pt x="132" y="41"/>
                  </a:lnTo>
                  <a:lnTo>
                    <a:pt x="122" y="35"/>
                  </a:lnTo>
                  <a:lnTo>
                    <a:pt x="117" y="30"/>
                  </a:lnTo>
                  <a:lnTo>
                    <a:pt x="114" y="28"/>
                  </a:lnTo>
                  <a:lnTo>
                    <a:pt x="114" y="28"/>
                  </a:lnTo>
                  <a:lnTo>
                    <a:pt x="113" y="25"/>
                  </a:lnTo>
                  <a:lnTo>
                    <a:pt x="113" y="23"/>
                  </a:lnTo>
                  <a:lnTo>
                    <a:pt x="114" y="20"/>
                  </a:lnTo>
                  <a:lnTo>
                    <a:pt x="116" y="19"/>
                  </a:lnTo>
                  <a:lnTo>
                    <a:pt x="116" y="19"/>
                  </a:lnTo>
                  <a:lnTo>
                    <a:pt x="117" y="16"/>
                  </a:lnTo>
                  <a:lnTo>
                    <a:pt x="117" y="13"/>
                  </a:lnTo>
                  <a:lnTo>
                    <a:pt x="117" y="12"/>
                  </a:lnTo>
                  <a:lnTo>
                    <a:pt x="119" y="9"/>
                  </a:lnTo>
                  <a:lnTo>
                    <a:pt x="119" y="9"/>
                  </a:lnTo>
                  <a:lnTo>
                    <a:pt x="125" y="4"/>
                  </a:lnTo>
                  <a:lnTo>
                    <a:pt x="128" y="3"/>
                  </a:lnTo>
                  <a:lnTo>
                    <a:pt x="130" y="0"/>
                  </a:lnTo>
                  <a:lnTo>
                    <a:pt x="130" y="0"/>
                  </a:lnTo>
                  <a:lnTo>
                    <a:pt x="133" y="0"/>
                  </a:lnTo>
                  <a:lnTo>
                    <a:pt x="135" y="3"/>
                  </a:lnTo>
                  <a:lnTo>
                    <a:pt x="136" y="6"/>
                  </a:lnTo>
                  <a:lnTo>
                    <a:pt x="139" y="9"/>
                  </a:lnTo>
                  <a:lnTo>
                    <a:pt x="139" y="9"/>
                  </a:lnTo>
                  <a:lnTo>
                    <a:pt x="146" y="16"/>
                  </a:lnTo>
                  <a:lnTo>
                    <a:pt x="149" y="19"/>
                  </a:lnTo>
                  <a:lnTo>
                    <a:pt x="151" y="20"/>
                  </a:lnTo>
                  <a:lnTo>
                    <a:pt x="151" y="20"/>
                  </a:lnTo>
                  <a:lnTo>
                    <a:pt x="152" y="22"/>
                  </a:lnTo>
                  <a:lnTo>
                    <a:pt x="152" y="26"/>
                  </a:lnTo>
                  <a:lnTo>
                    <a:pt x="152" y="29"/>
                  </a:lnTo>
                  <a:lnTo>
                    <a:pt x="151" y="32"/>
                  </a:lnTo>
                  <a:lnTo>
                    <a:pt x="151" y="32"/>
                  </a:lnTo>
                  <a:lnTo>
                    <a:pt x="149" y="35"/>
                  </a:lnTo>
                  <a:lnTo>
                    <a:pt x="151" y="36"/>
                  </a:lnTo>
                  <a:lnTo>
                    <a:pt x="154" y="41"/>
                  </a:lnTo>
                  <a:lnTo>
                    <a:pt x="154" y="41"/>
                  </a:lnTo>
                  <a:lnTo>
                    <a:pt x="156" y="45"/>
                  </a:lnTo>
                  <a:lnTo>
                    <a:pt x="159" y="46"/>
                  </a:lnTo>
                  <a:lnTo>
                    <a:pt x="161" y="48"/>
                  </a:lnTo>
                  <a:lnTo>
                    <a:pt x="161" y="48"/>
                  </a:lnTo>
                  <a:lnTo>
                    <a:pt x="170" y="43"/>
                  </a:lnTo>
                  <a:lnTo>
                    <a:pt x="175" y="42"/>
                  </a:lnTo>
                  <a:lnTo>
                    <a:pt x="180" y="42"/>
                  </a:lnTo>
                  <a:lnTo>
                    <a:pt x="180" y="42"/>
                  </a:lnTo>
                  <a:lnTo>
                    <a:pt x="184" y="43"/>
                  </a:lnTo>
                  <a:lnTo>
                    <a:pt x="188" y="45"/>
                  </a:lnTo>
                  <a:lnTo>
                    <a:pt x="190" y="48"/>
                  </a:lnTo>
                  <a:lnTo>
                    <a:pt x="190" y="54"/>
                  </a:lnTo>
                  <a:lnTo>
                    <a:pt x="190" y="54"/>
                  </a:lnTo>
                  <a:lnTo>
                    <a:pt x="188" y="59"/>
                  </a:lnTo>
                  <a:lnTo>
                    <a:pt x="188" y="67"/>
                  </a:lnTo>
                  <a:lnTo>
                    <a:pt x="190" y="74"/>
                  </a:lnTo>
                  <a:lnTo>
                    <a:pt x="190" y="81"/>
                  </a:lnTo>
                  <a:lnTo>
                    <a:pt x="190" y="81"/>
                  </a:lnTo>
                  <a:lnTo>
                    <a:pt x="187" y="87"/>
                  </a:lnTo>
                  <a:lnTo>
                    <a:pt x="185" y="91"/>
                  </a:lnTo>
                  <a:lnTo>
                    <a:pt x="184" y="93"/>
                  </a:lnTo>
                  <a:lnTo>
                    <a:pt x="184" y="96"/>
                  </a:lnTo>
                  <a:lnTo>
                    <a:pt x="184" y="96"/>
                  </a:lnTo>
                  <a:lnTo>
                    <a:pt x="187" y="100"/>
                  </a:lnTo>
                  <a:lnTo>
                    <a:pt x="188" y="103"/>
                  </a:lnTo>
                  <a:lnTo>
                    <a:pt x="188" y="103"/>
                  </a:lnTo>
                  <a:lnTo>
                    <a:pt x="185" y="109"/>
                  </a:lnTo>
                  <a:lnTo>
                    <a:pt x="183" y="112"/>
                  </a:lnTo>
                  <a:lnTo>
                    <a:pt x="180" y="1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59" name="Freeform 1404"/>
            <p:cNvSpPr>
              <a:spLocks/>
            </p:cNvSpPr>
            <p:nvPr/>
          </p:nvSpPr>
          <p:spPr bwMode="auto">
            <a:xfrm>
              <a:off x="1244601" y="1702229"/>
              <a:ext cx="38100" cy="57150"/>
            </a:xfrm>
            <a:custGeom>
              <a:avLst/>
              <a:gdLst>
                <a:gd name="T0" fmla="*/ 13 w 24"/>
                <a:gd name="T1" fmla="*/ 36 h 36"/>
                <a:gd name="T2" fmla="*/ 13 w 24"/>
                <a:gd name="T3" fmla="*/ 36 h 36"/>
                <a:gd name="T4" fmla="*/ 4 w 24"/>
                <a:gd name="T5" fmla="*/ 35 h 36"/>
                <a:gd name="T6" fmla="*/ 0 w 24"/>
                <a:gd name="T7" fmla="*/ 33 h 36"/>
                <a:gd name="T8" fmla="*/ 0 w 24"/>
                <a:gd name="T9" fmla="*/ 32 h 36"/>
                <a:gd name="T10" fmla="*/ 0 w 24"/>
                <a:gd name="T11" fmla="*/ 30 h 36"/>
                <a:gd name="T12" fmla="*/ 0 w 24"/>
                <a:gd name="T13" fmla="*/ 30 h 36"/>
                <a:gd name="T14" fmla="*/ 2 w 24"/>
                <a:gd name="T15" fmla="*/ 22 h 36"/>
                <a:gd name="T16" fmla="*/ 5 w 24"/>
                <a:gd name="T17" fmla="*/ 16 h 36"/>
                <a:gd name="T18" fmla="*/ 8 w 24"/>
                <a:gd name="T19" fmla="*/ 13 h 36"/>
                <a:gd name="T20" fmla="*/ 8 w 24"/>
                <a:gd name="T21" fmla="*/ 13 h 36"/>
                <a:gd name="T22" fmla="*/ 15 w 24"/>
                <a:gd name="T23" fmla="*/ 10 h 36"/>
                <a:gd name="T24" fmla="*/ 18 w 24"/>
                <a:gd name="T25" fmla="*/ 9 h 36"/>
                <a:gd name="T26" fmla="*/ 20 w 24"/>
                <a:gd name="T27" fmla="*/ 7 h 36"/>
                <a:gd name="T28" fmla="*/ 20 w 24"/>
                <a:gd name="T29" fmla="*/ 7 h 36"/>
                <a:gd name="T30" fmla="*/ 23 w 24"/>
                <a:gd name="T31" fmla="*/ 1 h 36"/>
                <a:gd name="T32" fmla="*/ 24 w 24"/>
                <a:gd name="T33" fmla="*/ 0 h 36"/>
                <a:gd name="T34" fmla="*/ 24 w 24"/>
                <a:gd name="T35" fmla="*/ 0 h 36"/>
                <a:gd name="T36" fmla="*/ 24 w 24"/>
                <a:gd name="T37" fmla="*/ 0 h 36"/>
                <a:gd name="T38" fmla="*/ 24 w 24"/>
                <a:gd name="T39" fmla="*/ 12 h 36"/>
                <a:gd name="T40" fmla="*/ 24 w 24"/>
                <a:gd name="T41" fmla="*/ 23 h 36"/>
                <a:gd name="T42" fmla="*/ 24 w 24"/>
                <a:gd name="T43" fmla="*/ 23 h 36"/>
                <a:gd name="T44" fmla="*/ 20 w 24"/>
                <a:gd name="T45" fmla="*/ 26 h 36"/>
                <a:gd name="T46" fmla="*/ 18 w 24"/>
                <a:gd name="T47" fmla="*/ 27 h 36"/>
                <a:gd name="T48" fmla="*/ 17 w 24"/>
                <a:gd name="T49" fmla="*/ 29 h 36"/>
                <a:gd name="T50" fmla="*/ 17 w 24"/>
                <a:gd name="T51" fmla="*/ 29 h 36"/>
                <a:gd name="T52" fmla="*/ 15 w 24"/>
                <a:gd name="T53" fmla="*/ 35 h 36"/>
                <a:gd name="T54" fmla="*/ 14 w 24"/>
                <a:gd name="T55" fmla="*/ 36 h 36"/>
                <a:gd name="T56" fmla="*/ 13 w 24"/>
                <a:gd name="T5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6">
                  <a:moveTo>
                    <a:pt x="13" y="36"/>
                  </a:moveTo>
                  <a:lnTo>
                    <a:pt x="13" y="36"/>
                  </a:lnTo>
                  <a:lnTo>
                    <a:pt x="4" y="35"/>
                  </a:lnTo>
                  <a:lnTo>
                    <a:pt x="0" y="33"/>
                  </a:lnTo>
                  <a:lnTo>
                    <a:pt x="0" y="32"/>
                  </a:lnTo>
                  <a:lnTo>
                    <a:pt x="0" y="30"/>
                  </a:lnTo>
                  <a:lnTo>
                    <a:pt x="0" y="30"/>
                  </a:lnTo>
                  <a:lnTo>
                    <a:pt x="2" y="22"/>
                  </a:lnTo>
                  <a:lnTo>
                    <a:pt x="5" y="16"/>
                  </a:lnTo>
                  <a:lnTo>
                    <a:pt x="8" y="13"/>
                  </a:lnTo>
                  <a:lnTo>
                    <a:pt x="8" y="13"/>
                  </a:lnTo>
                  <a:lnTo>
                    <a:pt x="15" y="10"/>
                  </a:lnTo>
                  <a:lnTo>
                    <a:pt x="18" y="9"/>
                  </a:lnTo>
                  <a:lnTo>
                    <a:pt x="20" y="7"/>
                  </a:lnTo>
                  <a:lnTo>
                    <a:pt x="20" y="7"/>
                  </a:lnTo>
                  <a:lnTo>
                    <a:pt x="23" y="1"/>
                  </a:lnTo>
                  <a:lnTo>
                    <a:pt x="24" y="0"/>
                  </a:lnTo>
                  <a:lnTo>
                    <a:pt x="24" y="0"/>
                  </a:lnTo>
                  <a:lnTo>
                    <a:pt x="24" y="0"/>
                  </a:lnTo>
                  <a:lnTo>
                    <a:pt x="24" y="12"/>
                  </a:lnTo>
                  <a:lnTo>
                    <a:pt x="24" y="23"/>
                  </a:lnTo>
                  <a:lnTo>
                    <a:pt x="24" y="23"/>
                  </a:lnTo>
                  <a:lnTo>
                    <a:pt x="20" y="26"/>
                  </a:lnTo>
                  <a:lnTo>
                    <a:pt x="18" y="27"/>
                  </a:lnTo>
                  <a:lnTo>
                    <a:pt x="17" y="29"/>
                  </a:lnTo>
                  <a:lnTo>
                    <a:pt x="17" y="29"/>
                  </a:lnTo>
                  <a:lnTo>
                    <a:pt x="15" y="35"/>
                  </a:lnTo>
                  <a:lnTo>
                    <a:pt x="14" y="36"/>
                  </a:lnTo>
                  <a:lnTo>
                    <a:pt x="13" y="36"/>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60" name="Freeform 1405"/>
            <p:cNvSpPr>
              <a:spLocks/>
            </p:cNvSpPr>
            <p:nvPr/>
          </p:nvSpPr>
          <p:spPr bwMode="auto">
            <a:xfrm>
              <a:off x="1244601" y="1702229"/>
              <a:ext cx="38100" cy="57150"/>
            </a:xfrm>
            <a:custGeom>
              <a:avLst/>
              <a:gdLst>
                <a:gd name="T0" fmla="*/ 13 w 24"/>
                <a:gd name="T1" fmla="*/ 36 h 36"/>
                <a:gd name="T2" fmla="*/ 13 w 24"/>
                <a:gd name="T3" fmla="*/ 36 h 36"/>
                <a:gd name="T4" fmla="*/ 4 w 24"/>
                <a:gd name="T5" fmla="*/ 35 h 36"/>
                <a:gd name="T6" fmla="*/ 0 w 24"/>
                <a:gd name="T7" fmla="*/ 33 h 36"/>
                <a:gd name="T8" fmla="*/ 0 w 24"/>
                <a:gd name="T9" fmla="*/ 32 h 36"/>
                <a:gd name="T10" fmla="*/ 0 w 24"/>
                <a:gd name="T11" fmla="*/ 30 h 36"/>
                <a:gd name="T12" fmla="*/ 0 w 24"/>
                <a:gd name="T13" fmla="*/ 30 h 36"/>
                <a:gd name="T14" fmla="*/ 2 w 24"/>
                <a:gd name="T15" fmla="*/ 22 h 36"/>
                <a:gd name="T16" fmla="*/ 5 w 24"/>
                <a:gd name="T17" fmla="*/ 16 h 36"/>
                <a:gd name="T18" fmla="*/ 8 w 24"/>
                <a:gd name="T19" fmla="*/ 13 h 36"/>
                <a:gd name="T20" fmla="*/ 8 w 24"/>
                <a:gd name="T21" fmla="*/ 13 h 36"/>
                <a:gd name="T22" fmla="*/ 15 w 24"/>
                <a:gd name="T23" fmla="*/ 10 h 36"/>
                <a:gd name="T24" fmla="*/ 18 w 24"/>
                <a:gd name="T25" fmla="*/ 9 h 36"/>
                <a:gd name="T26" fmla="*/ 20 w 24"/>
                <a:gd name="T27" fmla="*/ 7 h 36"/>
                <a:gd name="T28" fmla="*/ 20 w 24"/>
                <a:gd name="T29" fmla="*/ 7 h 36"/>
                <a:gd name="T30" fmla="*/ 23 w 24"/>
                <a:gd name="T31" fmla="*/ 1 h 36"/>
                <a:gd name="T32" fmla="*/ 24 w 24"/>
                <a:gd name="T33" fmla="*/ 0 h 36"/>
                <a:gd name="T34" fmla="*/ 24 w 24"/>
                <a:gd name="T35" fmla="*/ 0 h 36"/>
                <a:gd name="T36" fmla="*/ 24 w 24"/>
                <a:gd name="T37" fmla="*/ 0 h 36"/>
                <a:gd name="T38" fmla="*/ 24 w 24"/>
                <a:gd name="T39" fmla="*/ 12 h 36"/>
                <a:gd name="T40" fmla="*/ 24 w 24"/>
                <a:gd name="T41" fmla="*/ 23 h 36"/>
                <a:gd name="T42" fmla="*/ 24 w 24"/>
                <a:gd name="T43" fmla="*/ 23 h 36"/>
                <a:gd name="T44" fmla="*/ 20 w 24"/>
                <a:gd name="T45" fmla="*/ 26 h 36"/>
                <a:gd name="T46" fmla="*/ 18 w 24"/>
                <a:gd name="T47" fmla="*/ 27 h 36"/>
                <a:gd name="T48" fmla="*/ 17 w 24"/>
                <a:gd name="T49" fmla="*/ 29 h 36"/>
                <a:gd name="T50" fmla="*/ 17 w 24"/>
                <a:gd name="T51" fmla="*/ 29 h 36"/>
                <a:gd name="T52" fmla="*/ 15 w 24"/>
                <a:gd name="T53" fmla="*/ 35 h 36"/>
                <a:gd name="T54" fmla="*/ 14 w 24"/>
                <a:gd name="T55" fmla="*/ 36 h 36"/>
                <a:gd name="T56" fmla="*/ 13 w 24"/>
                <a:gd name="T5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6">
                  <a:moveTo>
                    <a:pt x="13" y="36"/>
                  </a:moveTo>
                  <a:lnTo>
                    <a:pt x="13" y="36"/>
                  </a:lnTo>
                  <a:lnTo>
                    <a:pt x="4" y="35"/>
                  </a:lnTo>
                  <a:lnTo>
                    <a:pt x="0" y="33"/>
                  </a:lnTo>
                  <a:lnTo>
                    <a:pt x="0" y="32"/>
                  </a:lnTo>
                  <a:lnTo>
                    <a:pt x="0" y="30"/>
                  </a:lnTo>
                  <a:lnTo>
                    <a:pt x="0" y="30"/>
                  </a:lnTo>
                  <a:lnTo>
                    <a:pt x="2" y="22"/>
                  </a:lnTo>
                  <a:lnTo>
                    <a:pt x="5" y="16"/>
                  </a:lnTo>
                  <a:lnTo>
                    <a:pt x="8" y="13"/>
                  </a:lnTo>
                  <a:lnTo>
                    <a:pt x="8" y="13"/>
                  </a:lnTo>
                  <a:lnTo>
                    <a:pt x="15" y="10"/>
                  </a:lnTo>
                  <a:lnTo>
                    <a:pt x="18" y="9"/>
                  </a:lnTo>
                  <a:lnTo>
                    <a:pt x="20" y="7"/>
                  </a:lnTo>
                  <a:lnTo>
                    <a:pt x="20" y="7"/>
                  </a:lnTo>
                  <a:lnTo>
                    <a:pt x="23" y="1"/>
                  </a:lnTo>
                  <a:lnTo>
                    <a:pt x="24" y="0"/>
                  </a:lnTo>
                  <a:lnTo>
                    <a:pt x="24" y="0"/>
                  </a:lnTo>
                  <a:lnTo>
                    <a:pt x="24" y="0"/>
                  </a:lnTo>
                  <a:lnTo>
                    <a:pt x="24" y="12"/>
                  </a:lnTo>
                  <a:lnTo>
                    <a:pt x="24" y="23"/>
                  </a:lnTo>
                  <a:lnTo>
                    <a:pt x="24" y="23"/>
                  </a:lnTo>
                  <a:lnTo>
                    <a:pt x="20" y="26"/>
                  </a:lnTo>
                  <a:lnTo>
                    <a:pt x="18" y="27"/>
                  </a:lnTo>
                  <a:lnTo>
                    <a:pt x="17" y="29"/>
                  </a:lnTo>
                  <a:lnTo>
                    <a:pt x="17" y="29"/>
                  </a:lnTo>
                  <a:lnTo>
                    <a:pt x="15" y="35"/>
                  </a:lnTo>
                  <a:lnTo>
                    <a:pt x="14" y="36"/>
                  </a:lnTo>
                  <a:lnTo>
                    <a:pt x="13" y="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61" name="Freeform 1406"/>
            <p:cNvSpPr>
              <a:spLocks/>
            </p:cNvSpPr>
            <p:nvPr/>
          </p:nvSpPr>
          <p:spPr bwMode="auto">
            <a:xfrm>
              <a:off x="1152526" y="1545066"/>
              <a:ext cx="190500" cy="179388"/>
            </a:xfrm>
            <a:custGeom>
              <a:avLst/>
              <a:gdLst>
                <a:gd name="T0" fmla="*/ 43 w 120"/>
                <a:gd name="T1" fmla="*/ 113 h 113"/>
                <a:gd name="T2" fmla="*/ 40 w 120"/>
                <a:gd name="T3" fmla="*/ 106 h 113"/>
                <a:gd name="T4" fmla="*/ 34 w 120"/>
                <a:gd name="T5" fmla="*/ 102 h 113"/>
                <a:gd name="T6" fmla="*/ 36 w 120"/>
                <a:gd name="T7" fmla="*/ 97 h 113"/>
                <a:gd name="T8" fmla="*/ 34 w 120"/>
                <a:gd name="T9" fmla="*/ 92 h 113"/>
                <a:gd name="T10" fmla="*/ 30 w 120"/>
                <a:gd name="T11" fmla="*/ 96 h 113"/>
                <a:gd name="T12" fmla="*/ 29 w 120"/>
                <a:gd name="T13" fmla="*/ 105 h 113"/>
                <a:gd name="T14" fmla="*/ 26 w 120"/>
                <a:gd name="T15" fmla="*/ 108 h 113"/>
                <a:gd name="T16" fmla="*/ 20 w 120"/>
                <a:gd name="T17" fmla="*/ 102 h 113"/>
                <a:gd name="T18" fmla="*/ 13 w 120"/>
                <a:gd name="T19" fmla="*/ 111 h 113"/>
                <a:gd name="T20" fmla="*/ 10 w 120"/>
                <a:gd name="T21" fmla="*/ 111 h 113"/>
                <a:gd name="T22" fmla="*/ 7 w 120"/>
                <a:gd name="T23" fmla="*/ 106 h 113"/>
                <a:gd name="T24" fmla="*/ 4 w 120"/>
                <a:gd name="T25" fmla="*/ 105 h 113"/>
                <a:gd name="T26" fmla="*/ 7 w 120"/>
                <a:gd name="T27" fmla="*/ 100 h 113"/>
                <a:gd name="T28" fmla="*/ 11 w 120"/>
                <a:gd name="T29" fmla="*/ 93 h 113"/>
                <a:gd name="T30" fmla="*/ 4 w 120"/>
                <a:gd name="T31" fmla="*/ 97 h 113"/>
                <a:gd name="T32" fmla="*/ 0 w 120"/>
                <a:gd name="T33" fmla="*/ 96 h 113"/>
                <a:gd name="T34" fmla="*/ 5 w 120"/>
                <a:gd name="T35" fmla="*/ 86 h 113"/>
                <a:gd name="T36" fmla="*/ 13 w 120"/>
                <a:gd name="T37" fmla="*/ 79 h 113"/>
                <a:gd name="T38" fmla="*/ 21 w 120"/>
                <a:gd name="T39" fmla="*/ 79 h 113"/>
                <a:gd name="T40" fmla="*/ 30 w 120"/>
                <a:gd name="T41" fmla="*/ 63 h 113"/>
                <a:gd name="T42" fmla="*/ 37 w 120"/>
                <a:gd name="T43" fmla="*/ 55 h 113"/>
                <a:gd name="T44" fmla="*/ 40 w 120"/>
                <a:gd name="T45" fmla="*/ 50 h 113"/>
                <a:gd name="T46" fmla="*/ 56 w 120"/>
                <a:gd name="T47" fmla="*/ 24 h 113"/>
                <a:gd name="T48" fmla="*/ 66 w 120"/>
                <a:gd name="T49" fmla="*/ 16 h 113"/>
                <a:gd name="T50" fmla="*/ 76 w 120"/>
                <a:gd name="T51" fmla="*/ 15 h 113"/>
                <a:gd name="T52" fmla="*/ 88 w 120"/>
                <a:gd name="T53" fmla="*/ 15 h 113"/>
                <a:gd name="T54" fmla="*/ 98 w 120"/>
                <a:gd name="T55" fmla="*/ 16 h 113"/>
                <a:gd name="T56" fmla="*/ 92 w 120"/>
                <a:gd name="T57" fmla="*/ 11 h 113"/>
                <a:gd name="T58" fmla="*/ 98 w 120"/>
                <a:gd name="T59" fmla="*/ 2 h 113"/>
                <a:gd name="T60" fmla="*/ 104 w 120"/>
                <a:gd name="T61" fmla="*/ 0 h 113"/>
                <a:gd name="T62" fmla="*/ 120 w 120"/>
                <a:gd name="T63" fmla="*/ 16 h 113"/>
                <a:gd name="T64" fmla="*/ 110 w 120"/>
                <a:gd name="T65" fmla="*/ 25 h 113"/>
                <a:gd name="T66" fmla="*/ 102 w 120"/>
                <a:gd name="T67" fmla="*/ 32 h 113"/>
                <a:gd name="T68" fmla="*/ 111 w 120"/>
                <a:gd name="T69" fmla="*/ 41 h 113"/>
                <a:gd name="T70" fmla="*/ 108 w 120"/>
                <a:gd name="T71" fmla="*/ 44 h 113"/>
                <a:gd name="T72" fmla="*/ 107 w 120"/>
                <a:gd name="T73" fmla="*/ 47 h 113"/>
                <a:gd name="T74" fmla="*/ 105 w 120"/>
                <a:gd name="T75" fmla="*/ 63 h 113"/>
                <a:gd name="T76" fmla="*/ 100 w 120"/>
                <a:gd name="T77" fmla="*/ 67 h 113"/>
                <a:gd name="T78" fmla="*/ 94 w 120"/>
                <a:gd name="T79" fmla="*/ 79 h 113"/>
                <a:gd name="T80" fmla="*/ 92 w 120"/>
                <a:gd name="T81" fmla="*/ 89 h 113"/>
                <a:gd name="T82" fmla="*/ 87 w 120"/>
                <a:gd name="T83" fmla="*/ 87 h 113"/>
                <a:gd name="T84" fmla="*/ 79 w 120"/>
                <a:gd name="T85" fmla="*/ 70 h 113"/>
                <a:gd name="T86" fmla="*/ 84 w 120"/>
                <a:gd name="T87" fmla="*/ 58 h 113"/>
                <a:gd name="T88" fmla="*/ 85 w 120"/>
                <a:gd name="T89" fmla="*/ 54 h 113"/>
                <a:gd name="T90" fmla="*/ 73 w 120"/>
                <a:gd name="T91" fmla="*/ 57 h 113"/>
                <a:gd name="T92" fmla="*/ 73 w 120"/>
                <a:gd name="T93" fmla="*/ 61 h 113"/>
                <a:gd name="T94" fmla="*/ 72 w 120"/>
                <a:gd name="T95" fmla="*/ 69 h 113"/>
                <a:gd name="T96" fmla="*/ 66 w 120"/>
                <a:gd name="T97" fmla="*/ 71 h 113"/>
                <a:gd name="T98" fmla="*/ 68 w 120"/>
                <a:gd name="T99" fmla="*/ 74 h 113"/>
                <a:gd name="T100" fmla="*/ 71 w 120"/>
                <a:gd name="T101" fmla="*/ 79 h 113"/>
                <a:gd name="T102" fmla="*/ 65 w 120"/>
                <a:gd name="T103" fmla="*/ 90 h 113"/>
                <a:gd name="T104" fmla="*/ 62 w 120"/>
                <a:gd name="T105" fmla="*/ 100 h 113"/>
                <a:gd name="T106" fmla="*/ 60 w 120"/>
                <a:gd name="T107" fmla="*/ 100 h 113"/>
                <a:gd name="T108" fmla="*/ 55 w 120"/>
                <a:gd name="T109" fmla="*/ 89 h 113"/>
                <a:gd name="T110" fmla="*/ 53 w 120"/>
                <a:gd name="T111" fmla="*/ 95 h 113"/>
                <a:gd name="T112" fmla="*/ 52 w 120"/>
                <a:gd name="T113" fmla="*/ 97 h 113"/>
                <a:gd name="T114" fmla="*/ 55 w 120"/>
                <a:gd name="T115" fmla="*/ 106 h 113"/>
                <a:gd name="T116" fmla="*/ 49 w 120"/>
                <a:gd name="T117" fmla="*/ 111 h 113"/>
                <a:gd name="T118" fmla="*/ 45 w 120"/>
                <a:gd name="T119" fmla="*/ 11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13">
                  <a:moveTo>
                    <a:pt x="43" y="113"/>
                  </a:moveTo>
                  <a:lnTo>
                    <a:pt x="43" y="113"/>
                  </a:lnTo>
                  <a:lnTo>
                    <a:pt x="43" y="113"/>
                  </a:lnTo>
                  <a:lnTo>
                    <a:pt x="43" y="111"/>
                  </a:lnTo>
                  <a:lnTo>
                    <a:pt x="42" y="109"/>
                  </a:lnTo>
                  <a:lnTo>
                    <a:pt x="40" y="106"/>
                  </a:lnTo>
                  <a:lnTo>
                    <a:pt x="40" y="106"/>
                  </a:lnTo>
                  <a:lnTo>
                    <a:pt x="34" y="103"/>
                  </a:lnTo>
                  <a:lnTo>
                    <a:pt x="34" y="102"/>
                  </a:lnTo>
                  <a:lnTo>
                    <a:pt x="34" y="99"/>
                  </a:lnTo>
                  <a:lnTo>
                    <a:pt x="34" y="99"/>
                  </a:lnTo>
                  <a:lnTo>
                    <a:pt x="36" y="97"/>
                  </a:lnTo>
                  <a:lnTo>
                    <a:pt x="36" y="95"/>
                  </a:lnTo>
                  <a:lnTo>
                    <a:pt x="36" y="93"/>
                  </a:lnTo>
                  <a:lnTo>
                    <a:pt x="34" y="92"/>
                  </a:lnTo>
                  <a:lnTo>
                    <a:pt x="34" y="92"/>
                  </a:lnTo>
                  <a:lnTo>
                    <a:pt x="30" y="95"/>
                  </a:lnTo>
                  <a:lnTo>
                    <a:pt x="30" y="96"/>
                  </a:lnTo>
                  <a:lnTo>
                    <a:pt x="29" y="97"/>
                  </a:lnTo>
                  <a:lnTo>
                    <a:pt x="29" y="97"/>
                  </a:lnTo>
                  <a:lnTo>
                    <a:pt x="29" y="105"/>
                  </a:lnTo>
                  <a:lnTo>
                    <a:pt x="27" y="106"/>
                  </a:lnTo>
                  <a:lnTo>
                    <a:pt x="26" y="108"/>
                  </a:lnTo>
                  <a:lnTo>
                    <a:pt x="26" y="108"/>
                  </a:lnTo>
                  <a:lnTo>
                    <a:pt x="23" y="103"/>
                  </a:lnTo>
                  <a:lnTo>
                    <a:pt x="21" y="102"/>
                  </a:lnTo>
                  <a:lnTo>
                    <a:pt x="20" y="102"/>
                  </a:lnTo>
                  <a:lnTo>
                    <a:pt x="20" y="102"/>
                  </a:lnTo>
                  <a:lnTo>
                    <a:pt x="16" y="109"/>
                  </a:lnTo>
                  <a:lnTo>
                    <a:pt x="13" y="111"/>
                  </a:lnTo>
                  <a:lnTo>
                    <a:pt x="11" y="112"/>
                  </a:lnTo>
                  <a:lnTo>
                    <a:pt x="10" y="111"/>
                  </a:lnTo>
                  <a:lnTo>
                    <a:pt x="10" y="111"/>
                  </a:lnTo>
                  <a:lnTo>
                    <a:pt x="8" y="109"/>
                  </a:lnTo>
                  <a:lnTo>
                    <a:pt x="7" y="106"/>
                  </a:lnTo>
                  <a:lnTo>
                    <a:pt x="7" y="106"/>
                  </a:lnTo>
                  <a:lnTo>
                    <a:pt x="5" y="105"/>
                  </a:lnTo>
                  <a:lnTo>
                    <a:pt x="5" y="105"/>
                  </a:lnTo>
                  <a:lnTo>
                    <a:pt x="4" y="105"/>
                  </a:lnTo>
                  <a:lnTo>
                    <a:pt x="4" y="103"/>
                  </a:lnTo>
                  <a:lnTo>
                    <a:pt x="7" y="100"/>
                  </a:lnTo>
                  <a:lnTo>
                    <a:pt x="7" y="100"/>
                  </a:lnTo>
                  <a:lnTo>
                    <a:pt x="10" y="97"/>
                  </a:lnTo>
                  <a:lnTo>
                    <a:pt x="11" y="95"/>
                  </a:lnTo>
                  <a:lnTo>
                    <a:pt x="11" y="93"/>
                  </a:lnTo>
                  <a:lnTo>
                    <a:pt x="10" y="93"/>
                  </a:lnTo>
                  <a:lnTo>
                    <a:pt x="10" y="93"/>
                  </a:lnTo>
                  <a:lnTo>
                    <a:pt x="4" y="97"/>
                  </a:lnTo>
                  <a:lnTo>
                    <a:pt x="1" y="97"/>
                  </a:lnTo>
                  <a:lnTo>
                    <a:pt x="0" y="97"/>
                  </a:lnTo>
                  <a:lnTo>
                    <a:pt x="0" y="96"/>
                  </a:lnTo>
                  <a:lnTo>
                    <a:pt x="0" y="96"/>
                  </a:lnTo>
                  <a:lnTo>
                    <a:pt x="3" y="92"/>
                  </a:lnTo>
                  <a:lnTo>
                    <a:pt x="5" y="86"/>
                  </a:lnTo>
                  <a:lnTo>
                    <a:pt x="10" y="80"/>
                  </a:lnTo>
                  <a:lnTo>
                    <a:pt x="10" y="80"/>
                  </a:lnTo>
                  <a:lnTo>
                    <a:pt x="13" y="79"/>
                  </a:lnTo>
                  <a:lnTo>
                    <a:pt x="16" y="79"/>
                  </a:lnTo>
                  <a:lnTo>
                    <a:pt x="18" y="80"/>
                  </a:lnTo>
                  <a:lnTo>
                    <a:pt x="21" y="79"/>
                  </a:lnTo>
                  <a:lnTo>
                    <a:pt x="21" y="79"/>
                  </a:lnTo>
                  <a:lnTo>
                    <a:pt x="27" y="69"/>
                  </a:lnTo>
                  <a:lnTo>
                    <a:pt x="30" y="63"/>
                  </a:lnTo>
                  <a:lnTo>
                    <a:pt x="33" y="60"/>
                  </a:lnTo>
                  <a:lnTo>
                    <a:pt x="33" y="60"/>
                  </a:lnTo>
                  <a:lnTo>
                    <a:pt x="37" y="55"/>
                  </a:lnTo>
                  <a:lnTo>
                    <a:pt x="40" y="53"/>
                  </a:lnTo>
                  <a:lnTo>
                    <a:pt x="40" y="50"/>
                  </a:lnTo>
                  <a:lnTo>
                    <a:pt x="40" y="50"/>
                  </a:lnTo>
                  <a:lnTo>
                    <a:pt x="43" y="44"/>
                  </a:lnTo>
                  <a:lnTo>
                    <a:pt x="50" y="34"/>
                  </a:lnTo>
                  <a:lnTo>
                    <a:pt x="56" y="24"/>
                  </a:lnTo>
                  <a:lnTo>
                    <a:pt x="62" y="18"/>
                  </a:lnTo>
                  <a:lnTo>
                    <a:pt x="62" y="18"/>
                  </a:lnTo>
                  <a:lnTo>
                    <a:pt x="66" y="16"/>
                  </a:lnTo>
                  <a:lnTo>
                    <a:pt x="69" y="16"/>
                  </a:lnTo>
                  <a:lnTo>
                    <a:pt x="73" y="16"/>
                  </a:lnTo>
                  <a:lnTo>
                    <a:pt x="76" y="15"/>
                  </a:lnTo>
                  <a:lnTo>
                    <a:pt x="76" y="15"/>
                  </a:lnTo>
                  <a:lnTo>
                    <a:pt x="81" y="15"/>
                  </a:lnTo>
                  <a:lnTo>
                    <a:pt x="88" y="15"/>
                  </a:lnTo>
                  <a:lnTo>
                    <a:pt x="94" y="16"/>
                  </a:lnTo>
                  <a:lnTo>
                    <a:pt x="98" y="16"/>
                  </a:lnTo>
                  <a:lnTo>
                    <a:pt x="98" y="16"/>
                  </a:lnTo>
                  <a:lnTo>
                    <a:pt x="97" y="15"/>
                  </a:lnTo>
                  <a:lnTo>
                    <a:pt x="95" y="13"/>
                  </a:lnTo>
                  <a:lnTo>
                    <a:pt x="92" y="11"/>
                  </a:lnTo>
                  <a:lnTo>
                    <a:pt x="92" y="9"/>
                  </a:lnTo>
                  <a:lnTo>
                    <a:pt x="92" y="9"/>
                  </a:lnTo>
                  <a:lnTo>
                    <a:pt x="98" y="2"/>
                  </a:lnTo>
                  <a:lnTo>
                    <a:pt x="101" y="0"/>
                  </a:lnTo>
                  <a:lnTo>
                    <a:pt x="104" y="0"/>
                  </a:lnTo>
                  <a:lnTo>
                    <a:pt x="104" y="0"/>
                  </a:lnTo>
                  <a:lnTo>
                    <a:pt x="114" y="9"/>
                  </a:lnTo>
                  <a:lnTo>
                    <a:pt x="118" y="13"/>
                  </a:lnTo>
                  <a:lnTo>
                    <a:pt x="120" y="16"/>
                  </a:lnTo>
                  <a:lnTo>
                    <a:pt x="120" y="18"/>
                  </a:lnTo>
                  <a:lnTo>
                    <a:pt x="120" y="18"/>
                  </a:lnTo>
                  <a:lnTo>
                    <a:pt x="110" y="25"/>
                  </a:lnTo>
                  <a:lnTo>
                    <a:pt x="104" y="29"/>
                  </a:lnTo>
                  <a:lnTo>
                    <a:pt x="102" y="31"/>
                  </a:lnTo>
                  <a:lnTo>
                    <a:pt x="102" y="32"/>
                  </a:lnTo>
                  <a:lnTo>
                    <a:pt x="102" y="32"/>
                  </a:lnTo>
                  <a:lnTo>
                    <a:pt x="108" y="38"/>
                  </a:lnTo>
                  <a:lnTo>
                    <a:pt x="111" y="41"/>
                  </a:lnTo>
                  <a:lnTo>
                    <a:pt x="111" y="42"/>
                  </a:lnTo>
                  <a:lnTo>
                    <a:pt x="111" y="42"/>
                  </a:lnTo>
                  <a:lnTo>
                    <a:pt x="108" y="44"/>
                  </a:lnTo>
                  <a:lnTo>
                    <a:pt x="107" y="45"/>
                  </a:lnTo>
                  <a:lnTo>
                    <a:pt x="107" y="47"/>
                  </a:lnTo>
                  <a:lnTo>
                    <a:pt x="107" y="47"/>
                  </a:lnTo>
                  <a:lnTo>
                    <a:pt x="108" y="57"/>
                  </a:lnTo>
                  <a:lnTo>
                    <a:pt x="108" y="57"/>
                  </a:lnTo>
                  <a:lnTo>
                    <a:pt x="105" y="63"/>
                  </a:lnTo>
                  <a:lnTo>
                    <a:pt x="104" y="64"/>
                  </a:lnTo>
                  <a:lnTo>
                    <a:pt x="100" y="67"/>
                  </a:lnTo>
                  <a:lnTo>
                    <a:pt x="100" y="67"/>
                  </a:lnTo>
                  <a:lnTo>
                    <a:pt x="97" y="69"/>
                  </a:lnTo>
                  <a:lnTo>
                    <a:pt x="95" y="71"/>
                  </a:lnTo>
                  <a:lnTo>
                    <a:pt x="94" y="79"/>
                  </a:lnTo>
                  <a:lnTo>
                    <a:pt x="94" y="79"/>
                  </a:lnTo>
                  <a:lnTo>
                    <a:pt x="94" y="86"/>
                  </a:lnTo>
                  <a:lnTo>
                    <a:pt x="92" y="89"/>
                  </a:lnTo>
                  <a:lnTo>
                    <a:pt x="88" y="89"/>
                  </a:lnTo>
                  <a:lnTo>
                    <a:pt x="88" y="89"/>
                  </a:lnTo>
                  <a:lnTo>
                    <a:pt x="87" y="87"/>
                  </a:lnTo>
                  <a:lnTo>
                    <a:pt x="85" y="84"/>
                  </a:lnTo>
                  <a:lnTo>
                    <a:pt x="81" y="77"/>
                  </a:lnTo>
                  <a:lnTo>
                    <a:pt x="79" y="70"/>
                  </a:lnTo>
                  <a:lnTo>
                    <a:pt x="79" y="66"/>
                  </a:lnTo>
                  <a:lnTo>
                    <a:pt x="79" y="66"/>
                  </a:lnTo>
                  <a:lnTo>
                    <a:pt x="84" y="58"/>
                  </a:lnTo>
                  <a:lnTo>
                    <a:pt x="85" y="55"/>
                  </a:lnTo>
                  <a:lnTo>
                    <a:pt x="85" y="54"/>
                  </a:lnTo>
                  <a:lnTo>
                    <a:pt x="85" y="54"/>
                  </a:lnTo>
                  <a:lnTo>
                    <a:pt x="79" y="54"/>
                  </a:lnTo>
                  <a:lnTo>
                    <a:pt x="75" y="55"/>
                  </a:lnTo>
                  <a:lnTo>
                    <a:pt x="73" y="57"/>
                  </a:lnTo>
                  <a:lnTo>
                    <a:pt x="73" y="57"/>
                  </a:lnTo>
                  <a:lnTo>
                    <a:pt x="73" y="58"/>
                  </a:lnTo>
                  <a:lnTo>
                    <a:pt x="73" y="61"/>
                  </a:lnTo>
                  <a:lnTo>
                    <a:pt x="73" y="67"/>
                  </a:lnTo>
                  <a:lnTo>
                    <a:pt x="73" y="67"/>
                  </a:lnTo>
                  <a:lnTo>
                    <a:pt x="72" y="69"/>
                  </a:lnTo>
                  <a:lnTo>
                    <a:pt x="69" y="70"/>
                  </a:lnTo>
                  <a:lnTo>
                    <a:pt x="68" y="70"/>
                  </a:lnTo>
                  <a:lnTo>
                    <a:pt x="66" y="71"/>
                  </a:lnTo>
                  <a:lnTo>
                    <a:pt x="66" y="71"/>
                  </a:lnTo>
                  <a:lnTo>
                    <a:pt x="66" y="73"/>
                  </a:lnTo>
                  <a:lnTo>
                    <a:pt x="68" y="74"/>
                  </a:lnTo>
                  <a:lnTo>
                    <a:pt x="69" y="77"/>
                  </a:lnTo>
                  <a:lnTo>
                    <a:pt x="71" y="79"/>
                  </a:lnTo>
                  <a:lnTo>
                    <a:pt x="71" y="79"/>
                  </a:lnTo>
                  <a:lnTo>
                    <a:pt x="69" y="82"/>
                  </a:lnTo>
                  <a:lnTo>
                    <a:pt x="68" y="86"/>
                  </a:lnTo>
                  <a:lnTo>
                    <a:pt x="65" y="90"/>
                  </a:lnTo>
                  <a:lnTo>
                    <a:pt x="65" y="90"/>
                  </a:lnTo>
                  <a:lnTo>
                    <a:pt x="63" y="97"/>
                  </a:lnTo>
                  <a:lnTo>
                    <a:pt x="62" y="100"/>
                  </a:lnTo>
                  <a:lnTo>
                    <a:pt x="62" y="100"/>
                  </a:lnTo>
                  <a:lnTo>
                    <a:pt x="60" y="100"/>
                  </a:lnTo>
                  <a:lnTo>
                    <a:pt x="60" y="100"/>
                  </a:lnTo>
                  <a:lnTo>
                    <a:pt x="56" y="92"/>
                  </a:lnTo>
                  <a:lnTo>
                    <a:pt x="55" y="89"/>
                  </a:lnTo>
                  <a:lnTo>
                    <a:pt x="55" y="89"/>
                  </a:lnTo>
                  <a:lnTo>
                    <a:pt x="55" y="89"/>
                  </a:lnTo>
                  <a:lnTo>
                    <a:pt x="55" y="89"/>
                  </a:lnTo>
                  <a:lnTo>
                    <a:pt x="53" y="95"/>
                  </a:lnTo>
                  <a:lnTo>
                    <a:pt x="52" y="96"/>
                  </a:lnTo>
                  <a:lnTo>
                    <a:pt x="52" y="97"/>
                  </a:lnTo>
                  <a:lnTo>
                    <a:pt x="52" y="97"/>
                  </a:lnTo>
                  <a:lnTo>
                    <a:pt x="55" y="102"/>
                  </a:lnTo>
                  <a:lnTo>
                    <a:pt x="55" y="103"/>
                  </a:lnTo>
                  <a:lnTo>
                    <a:pt x="55" y="106"/>
                  </a:lnTo>
                  <a:lnTo>
                    <a:pt x="55" y="106"/>
                  </a:lnTo>
                  <a:lnTo>
                    <a:pt x="52" y="109"/>
                  </a:lnTo>
                  <a:lnTo>
                    <a:pt x="49" y="111"/>
                  </a:lnTo>
                  <a:lnTo>
                    <a:pt x="49" y="111"/>
                  </a:lnTo>
                  <a:lnTo>
                    <a:pt x="46" y="111"/>
                  </a:lnTo>
                  <a:lnTo>
                    <a:pt x="45" y="111"/>
                  </a:lnTo>
                  <a:lnTo>
                    <a:pt x="43" y="113"/>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62" name="Freeform 1407"/>
            <p:cNvSpPr>
              <a:spLocks/>
            </p:cNvSpPr>
            <p:nvPr/>
          </p:nvSpPr>
          <p:spPr bwMode="auto">
            <a:xfrm>
              <a:off x="1152526" y="1545066"/>
              <a:ext cx="190500" cy="179388"/>
            </a:xfrm>
            <a:custGeom>
              <a:avLst/>
              <a:gdLst>
                <a:gd name="T0" fmla="*/ 43 w 120"/>
                <a:gd name="T1" fmla="*/ 113 h 113"/>
                <a:gd name="T2" fmla="*/ 40 w 120"/>
                <a:gd name="T3" fmla="*/ 106 h 113"/>
                <a:gd name="T4" fmla="*/ 34 w 120"/>
                <a:gd name="T5" fmla="*/ 102 h 113"/>
                <a:gd name="T6" fmla="*/ 36 w 120"/>
                <a:gd name="T7" fmla="*/ 97 h 113"/>
                <a:gd name="T8" fmla="*/ 34 w 120"/>
                <a:gd name="T9" fmla="*/ 92 h 113"/>
                <a:gd name="T10" fmla="*/ 30 w 120"/>
                <a:gd name="T11" fmla="*/ 96 h 113"/>
                <a:gd name="T12" fmla="*/ 29 w 120"/>
                <a:gd name="T13" fmla="*/ 105 h 113"/>
                <a:gd name="T14" fmla="*/ 26 w 120"/>
                <a:gd name="T15" fmla="*/ 108 h 113"/>
                <a:gd name="T16" fmla="*/ 20 w 120"/>
                <a:gd name="T17" fmla="*/ 102 h 113"/>
                <a:gd name="T18" fmla="*/ 13 w 120"/>
                <a:gd name="T19" fmla="*/ 111 h 113"/>
                <a:gd name="T20" fmla="*/ 10 w 120"/>
                <a:gd name="T21" fmla="*/ 111 h 113"/>
                <a:gd name="T22" fmla="*/ 7 w 120"/>
                <a:gd name="T23" fmla="*/ 106 h 113"/>
                <a:gd name="T24" fmla="*/ 4 w 120"/>
                <a:gd name="T25" fmla="*/ 105 h 113"/>
                <a:gd name="T26" fmla="*/ 7 w 120"/>
                <a:gd name="T27" fmla="*/ 100 h 113"/>
                <a:gd name="T28" fmla="*/ 11 w 120"/>
                <a:gd name="T29" fmla="*/ 93 h 113"/>
                <a:gd name="T30" fmla="*/ 4 w 120"/>
                <a:gd name="T31" fmla="*/ 97 h 113"/>
                <a:gd name="T32" fmla="*/ 0 w 120"/>
                <a:gd name="T33" fmla="*/ 96 h 113"/>
                <a:gd name="T34" fmla="*/ 5 w 120"/>
                <a:gd name="T35" fmla="*/ 86 h 113"/>
                <a:gd name="T36" fmla="*/ 13 w 120"/>
                <a:gd name="T37" fmla="*/ 79 h 113"/>
                <a:gd name="T38" fmla="*/ 21 w 120"/>
                <a:gd name="T39" fmla="*/ 79 h 113"/>
                <a:gd name="T40" fmla="*/ 30 w 120"/>
                <a:gd name="T41" fmla="*/ 63 h 113"/>
                <a:gd name="T42" fmla="*/ 37 w 120"/>
                <a:gd name="T43" fmla="*/ 55 h 113"/>
                <a:gd name="T44" fmla="*/ 40 w 120"/>
                <a:gd name="T45" fmla="*/ 50 h 113"/>
                <a:gd name="T46" fmla="*/ 56 w 120"/>
                <a:gd name="T47" fmla="*/ 24 h 113"/>
                <a:gd name="T48" fmla="*/ 66 w 120"/>
                <a:gd name="T49" fmla="*/ 16 h 113"/>
                <a:gd name="T50" fmla="*/ 76 w 120"/>
                <a:gd name="T51" fmla="*/ 15 h 113"/>
                <a:gd name="T52" fmla="*/ 88 w 120"/>
                <a:gd name="T53" fmla="*/ 15 h 113"/>
                <a:gd name="T54" fmla="*/ 98 w 120"/>
                <a:gd name="T55" fmla="*/ 16 h 113"/>
                <a:gd name="T56" fmla="*/ 92 w 120"/>
                <a:gd name="T57" fmla="*/ 11 h 113"/>
                <a:gd name="T58" fmla="*/ 98 w 120"/>
                <a:gd name="T59" fmla="*/ 2 h 113"/>
                <a:gd name="T60" fmla="*/ 104 w 120"/>
                <a:gd name="T61" fmla="*/ 0 h 113"/>
                <a:gd name="T62" fmla="*/ 120 w 120"/>
                <a:gd name="T63" fmla="*/ 16 h 113"/>
                <a:gd name="T64" fmla="*/ 110 w 120"/>
                <a:gd name="T65" fmla="*/ 25 h 113"/>
                <a:gd name="T66" fmla="*/ 102 w 120"/>
                <a:gd name="T67" fmla="*/ 32 h 113"/>
                <a:gd name="T68" fmla="*/ 111 w 120"/>
                <a:gd name="T69" fmla="*/ 41 h 113"/>
                <a:gd name="T70" fmla="*/ 108 w 120"/>
                <a:gd name="T71" fmla="*/ 44 h 113"/>
                <a:gd name="T72" fmla="*/ 107 w 120"/>
                <a:gd name="T73" fmla="*/ 47 h 113"/>
                <a:gd name="T74" fmla="*/ 105 w 120"/>
                <a:gd name="T75" fmla="*/ 63 h 113"/>
                <a:gd name="T76" fmla="*/ 100 w 120"/>
                <a:gd name="T77" fmla="*/ 67 h 113"/>
                <a:gd name="T78" fmla="*/ 94 w 120"/>
                <a:gd name="T79" fmla="*/ 79 h 113"/>
                <a:gd name="T80" fmla="*/ 92 w 120"/>
                <a:gd name="T81" fmla="*/ 89 h 113"/>
                <a:gd name="T82" fmla="*/ 87 w 120"/>
                <a:gd name="T83" fmla="*/ 87 h 113"/>
                <a:gd name="T84" fmla="*/ 79 w 120"/>
                <a:gd name="T85" fmla="*/ 70 h 113"/>
                <a:gd name="T86" fmla="*/ 84 w 120"/>
                <a:gd name="T87" fmla="*/ 58 h 113"/>
                <a:gd name="T88" fmla="*/ 85 w 120"/>
                <a:gd name="T89" fmla="*/ 54 h 113"/>
                <a:gd name="T90" fmla="*/ 73 w 120"/>
                <a:gd name="T91" fmla="*/ 57 h 113"/>
                <a:gd name="T92" fmla="*/ 73 w 120"/>
                <a:gd name="T93" fmla="*/ 61 h 113"/>
                <a:gd name="T94" fmla="*/ 72 w 120"/>
                <a:gd name="T95" fmla="*/ 69 h 113"/>
                <a:gd name="T96" fmla="*/ 66 w 120"/>
                <a:gd name="T97" fmla="*/ 71 h 113"/>
                <a:gd name="T98" fmla="*/ 68 w 120"/>
                <a:gd name="T99" fmla="*/ 74 h 113"/>
                <a:gd name="T100" fmla="*/ 71 w 120"/>
                <a:gd name="T101" fmla="*/ 79 h 113"/>
                <a:gd name="T102" fmla="*/ 65 w 120"/>
                <a:gd name="T103" fmla="*/ 90 h 113"/>
                <a:gd name="T104" fmla="*/ 62 w 120"/>
                <a:gd name="T105" fmla="*/ 100 h 113"/>
                <a:gd name="T106" fmla="*/ 60 w 120"/>
                <a:gd name="T107" fmla="*/ 100 h 113"/>
                <a:gd name="T108" fmla="*/ 55 w 120"/>
                <a:gd name="T109" fmla="*/ 89 h 113"/>
                <a:gd name="T110" fmla="*/ 53 w 120"/>
                <a:gd name="T111" fmla="*/ 95 h 113"/>
                <a:gd name="T112" fmla="*/ 52 w 120"/>
                <a:gd name="T113" fmla="*/ 97 h 113"/>
                <a:gd name="T114" fmla="*/ 55 w 120"/>
                <a:gd name="T115" fmla="*/ 106 h 113"/>
                <a:gd name="T116" fmla="*/ 49 w 120"/>
                <a:gd name="T117" fmla="*/ 111 h 113"/>
                <a:gd name="T118" fmla="*/ 45 w 120"/>
                <a:gd name="T119" fmla="*/ 11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13">
                  <a:moveTo>
                    <a:pt x="43" y="113"/>
                  </a:moveTo>
                  <a:lnTo>
                    <a:pt x="43" y="113"/>
                  </a:lnTo>
                  <a:lnTo>
                    <a:pt x="43" y="113"/>
                  </a:lnTo>
                  <a:lnTo>
                    <a:pt x="43" y="111"/>
                  </a:lnTo>
                  <a:lnTo>
                    <a:pt x="42" y="109"/>
                  </a:lnTo>
                  <a:lnTo>
                    <a:pt x="40" y="106"/>
                  </a:lnTo>
                  <a:lnTo>
                    <a:pt x="40" y="106"/>
                  </a:lnTo>
                  <a:lnTo>
                    <a:pt x="34" y="103"/>
                  </a:lnTo>
                  <a:lnTo>
                    <a:pt x="34" y="102"/>
                  </a:lnTo>
                  <a:lnTo>
                    <a:pt x="34" y="99"/>
                  </a:lnTo>
                  <a:lnTo>
                    <a:pt x="34" y="99"/>
                  </a:lnTo>
                  <a:lnTo>
                    <a:pt x="36" y="97"/>
                  </a:lnTo>
                  <a:lnTo>
                    <a:pt x="36" y="95"/>
                  </a:lnTo>
                  <a:lnTo>
                    <a:pt x="36" y="93"/>
                  </a:lnTo>
                  <a:lnTo>
                    <a:pt x="34" y="92"/>
                  </a:lnTo>
                  <a:lnTo>
                    <a:pt x="34" y="92"/>
                  </a:lnTo>
                  <a:lnTo>
                    <a:pt x="30" y="95"/>
                  </a:lnTo>
                  <a:lnTo>
                    <a:pt x="30" y="96"/>
                  </a:lnTo>
                  <a:lnTo>
                    <a:pt x="29" y="97"/>
                  </a:lnTo>
                  <a:lnTo>
                    <a:pt x="29" y="97"/>
                  </a:lnTo>
                  <a:lnTo>
                    <a:pt x="29" y="105"/>
                  </a:lnTo>
                  <a:lnTo>
                    <a:pt x="27" y="106"/>
                  </a:lnTo>
                  <a:lnTo>
                    <a:pt x="26" y="108"/>
                  </a:lnTo>
                  <a:lnTo>
                    <a:pt x="26" y="108"/>
                  </a:lnTo>
                  <a:lnTo>
                    <a:pt x="23" y="103"/>
                  </a:lnTo>
                  <a:lnTo>
                    <a:pt x="21" y="102"/>
                  </a:lnTo>
                  <a:lnTo>
                    <a:pt x="20" y="102"/>
                  </a:lnTo>
                  <a:lnTo>
                    <a:pt x="20" y="102"/>
                  </a:lnTo>
                  <a:lnTo>
                    <a:pt x="16" y="109"/>
                  </a:lnTo>
                  <a:lnTo>
                    <a:pt x="13" y="111"/>
                  </a:lnTo>
                  <a:lnTo>
                    <a:pt x="11" y="112"/>
                  </a:lnTo>
                  <a:lnTo>
                    <a:pt x="10" y="111"/>
                  </a:lnTo>
                  <a:lnTo>
                    <a:pt x="10" y="111"/>
                  </a:lnTo>
                  <a:lnTo>
                    <a:pt x="8" y="109"/>
                  </a:lnTo>
                  <a:lnTo>
                    <a:pt x="7" y="106"/>
                  </a:lnTo>
                  <a:lnTo>
                    <a:pt x="7" y="106"/>
                  </a:lnTo>
                  <a:lnTo>
                    <a:pt x="5" y="105"/>
                  </a:lnTo>
                  <a:lnTo>
                    <a:pt x="5" y="105"/>
                  </a:lnTo>
                  <a:lnTo>
                    <a:pt x="4" y="105"/>
                  </a:lnTo>
                  <a:lnTo>
                    <a:pt x="4" y="103"/>
                  </a:lnTo>
                  <a:lnTo>
                    <a:pt x="7" y="100"/>
                  </a:lnTo>
                  <a:lnTo>
                    <a:pt x="7" y="100"/>
                  </a:lnTo>
                  <a:lnTo>
                    <a:pt x="10" y="97"/>
                  </a:lnTo>
                  <a:lnTo>
                    <a:pt x="11" y="95"/>
                  </a:lnTo>
                  <a:lnTo>
                    <a:pt x="11" y="93"/>
                  </a:lnTo>
                  <a:lnTo>
                    <a:pt x="10" y="93"/>
                  </a:lnTo>
                  <a:lnTo>
                    <a:pt x="10" y="93"/>
                  </a:lnTo>
                  <a:lnTo>
                    <a:pt x="4" y="97"/>
                  </a:lnTo>
                  <a:lnTo>
                    <a:pt x="1" y="97"/>
                  </a:lnTo>
                  <a:lnTo>
                    <a:pt x="0" y="97"/>
                  </a:lnTo>
                  <a:lnTo>
                    <a:pt x="0" y="96"/>
                  </a:lnTo>
                  <a:lnTo>
                    <a:pt x="0" y="96"/>
                  </a:lnTo>
                  <a:lnTo>
                    <a:pt x="3" y="92"/>
                  </a:lnTo>
                  <a:lnTo>
                    <a:pt x="5" y="86"/>
                  </a:lnTo>
                  <a:lnTo>
                    <a:pt x="10" y="80"/>
                  </a:lnTo>
                  <a:lnTo>
                    <a:pt x="10" y="80"/>
                  </a:lnTo>
                  <a:lnTo>
                    <a:pt x="13" y="79"/>
                  </a:lnTo>
                  <a:lnTo>
                    <a:pt x="16" y="79"/>
                  </a:lnTo>
                  <a:lnTo>
                    <a:pt x="18" y="80"/>
                  </a:lnTo>
                  <a:lnTo>
                    <a:pt x="21" y="79"/>
                  </a:lnTo>
                  <a:lnTo>
                    <a:pt x="21" y="79"/>
                  </a:lnTo>
                  <a:lnTo>
                    <a:pt x="27" y="69"/>
                  </a:lnTo>
                  <a:lnTo>
                    <a:pt x="30" y="63"/>
                  </a:lnTo>
                  <a:lnTo>
                    <a:pt x="33" y="60"/>
                  </a:lnTo>
                  <a:lnTo>
                    <a:pt x="33" y="60"/>
                  </a:lnTo>
                  <a:lnTo>
                    <a:pt x="37" y="55"/>
                  </a:lnTo>
                  <a:lnTo>
                    <a:pt x="40" y="53"/>
                  </a:lnTo>
                  <a:lnTo>
                    <a:pt x="40" y="50"/>
                  </a:lnTo>
                  <a:lnTo>
                    <a:pt x="40" y="50"/>
                  </a:lnTo>
                  <a:lnTo>
                    <a:pt x="43" y="44"/>
                  </a:lnTo>
                  <a:lnTo>
                    <a:pt x="50" y="34"/>
                  </a:lnTo>
                  <a:lnTo>
                    <a:pt x="56" y="24"/>
                  </a:lnTo>
                  <a:lnTo>
                    <a:pt x="62" y="18"/>
                  </a:lnTo>
                  <a:lnTo>
                    <a:pt x="62" y="18"/>
                  </a:lnTo>
                  <a:lnTo>
                    <a:pt x="66" y="16"/>
                  </a:lnTo>
                  <a:lnTo>
                    <a:pt x="69" y="16"/>
                  </a:lnTo>
                  <a:lnTo>
                    <a:pt x="73" y="16"/>
                  </a:lnTo>
                  <a:lnTo>
                    <a:pt x="76" y="15"/>
                  </a:lnTo>
                  <a:lnTo>
                    <a:pt x="76" y="15"/>
                  </a:lnTo>
                  <a:lnTo>
                    <a:pt x="81" y="15"/>
                  </a:lnTo>
                  <a:lnTo>
                    <a:pt x="88" y="15"/>
                  </a:lnTo>
                  <a:lnTo>
                    <a:pt x="94" y="16"/>
                  </a:lnTo>
                  <a:lnTo>
                    <a:pt x="98" y="16"/>
                  </a:lnTo>
                  <a:lnTo>
                    <a:pt x="98" y="16"/>
                  </a:lnTo>
                  <a:lnTo>
                    <a:pt x="97" y="15"/>
                  </a:lnTo>
                  <a:lnTo>
                    <a:pt x="95" y="13"/>
                  </a:lnTo>
                  <a:lnTo>
                    <a:pt x="92" y="11"/>
                  </a:lnTo>
                  <a:lnTo>
                    <a:pt x="92" y="9"/>
                  </a:lnTo>
                  <a:lnTo>
                    <a:pt x="92" y="9"/>
                  </a:lnTo>
                  <a:lnTo>
                    <a:pt x="98" y="2"/>
                  </a:lnTo>
                  <a:lnTo>
                    <a:pt x="101" y="0"/>
                  </a:lnTo>
                  <a:lnTo>
                    <a:pt x="104" y="0"/>
                  </a:lnTo>
                  <a:lnTo>
                    <a:pt x="104" y="0"/>
                  </a:lnTo>
                  <a:lnTo>
                    <a:pt x="114" y="9"/>
                  </a:lnTo>
                  <a:lnTo>
                    <a:pt x="118" y="13"/>
                  </a:lnTo>
                  <a:lnTo>
                    <a:pt x="120" y="16"/>
                  </a:lnTo>
                  <a:lnTo>
                    <a:pt x="120" y="18"/>
                  </a:lnTo>
                  <a:lnTo>
                    <a:pt x="120" y="18"/>
                  </a:lnTo>
                  <a:lnTo>
                    <a:pt x="110" y="25"/>
                  </a:lnTo>
                  <a:lnTo>
                    <a:pt x="104" y="29"/>
                  </a:lnTo>
                  <a:lnTo>
                    <a:pt x="102" y="31"/>
                  </a:lnTo>
                  <a:lnTo>
                    <a:pt x="102" y="32"/>
                  </a:lnTo>
                  <a:lnTo>
                    <a:pt x="102" y="32"/>
                  </a:lnTo>
                  <a:lnTo>
                    <a:pt x="108" y="38"/>
                  </a:lnTo>
                  <a:lnTo>
                    <a:pt x="111" y="41"/>
                  </a:lnTo>
                  <a:lnTo>
                    <a:pt x="111" y="42"/>
                  </a:lnTo>
                  <a:lnTo>
                    <a:pt x="111" y="42"/>
                  </a:lnTo>
                  <a:lnTo>
                    <a:pt x="108" y="44"/>
                  </a:lnTo>
                  <a:lnTo>
                    <a:pt x="107" y="45"/>
                  </a:lnTo>
                  <a:lnTo>
                    <a:pt x="107" y="47"/>
                  </a:lnTo>
                  <a:lnTo>
                    <a:pt x="107" y="47"/>
                  </a:lnTo>
                  <a:lnTo>
                    <a:pt x="108" y="57"/>
                  </a:lnTo>
                  <a:lnTo>
                    <a:pt x="108" y="57"/>
                  </a:lnTo>
                  <a:lnTo>
                    <a:pt x="105" y="63"/>
                  </a:lnTo>
                  <a:lnTo>
                    <a:pt x="104" y="64"/>
                  </a:lnTo>
                  <a:lnTo>
                    <a:pt x="100" y="67"/>
                  </a:lnTo>
                  <a:lnTo>
                    <a:pt x="100" y="67"/>
                  </a:lnTo>
                  <a:lnTo>
                    <a:pt x="97" y="69"/>
                  </a:lnTo>
                  <a:lnTo>
                    <a:pt x="95" y="71"/>
                  </a:lnTo>
                  <a:lnTo>
                    <a:pt x="94" y="79"/>
                  </a:lnTo>
                  <a:lnTo>
                    <a:pt x="94" y="79"/>
                  </a:lnTo>
                  <a:lnTo>
                    <a:pt x="94" y="86"/>
                  </a:lnTo>
                  <a:lnTo>
                    <a:pt x="92" y="89"/>
                  </a:lnTo>
                  <a:lnTo>
                    <a:pt x="88" y="89"/>
                  </a:lnTo>
                  <a:lnTo>
                    <a:pt x="88" y="89"/>
                  </a:lnTo>
                  <a:lnTo>
                    <a:pt x="87" y="87"/>
                  </a:lnTo>
                  <a:lnTo>
                    <a:pt x="85" y="84"/>
                  </a:lnTo>
                  <a:lnTo>
                    <a:pt x="81" y="77"/>
                  </a:lnTo>
                  <a:lnTo>
                    <a:pt x="79" y="70"/>
                  </a:lnTo>
                  <a:lnTo>
                    <a:pt x="79" y="66"/>
                  </a:lnTo>
                  <a:lnTo>
                    <a:pt x="79" y="66"/>
                  </a:lnTo>
                  <a:lnTo>
                    <a:pt x="84" y="58"/>
                  </a:lnTo>
                  <a:lnTo>
                    <a:pt x="85" y="55"/>
                  </a:lnTo>
                  <a:lnTo>
                    <a:pt x="85" y="54"/>
                  </a:lnTo>
                  <a:lnTo>
                    <a:pt x="85" y="54"/>
                  </a:lnTo>
                  <a:lnTo>
                    <a:pt x="79" y="54"/>
                  </a:lnTo>
                  <a:lnTo>
                    <a:pt x="75" y="55"/>
                  </a:lnTo>
                  <a:lnTo>
                    <a:pt x="73" y="57"/>
                  </a:lnTo>
                  <a:lnTo>
                    <a:pt x="73" y="57"/>
                  </a:lnTo>
                  <a:lnTo>
                    <a:pt x="73" y="58"/>
                  </a:lnTo>
                  <a:lnTo>
                    <a:pt x="73" y="61"/>
                  </a:lnTo>
                  <a:lnTo>
                    <a:pt x="73" y="67"/>
                  </a:lnTo>
                  <a:lnTo>
                    <a:pt x="73" y="67"/>
                  </a:lnTo>
                  <a:lnTo>
                    <a:pt x="72" y="69"/>
                  </a:lnTo>
                  <a:lnTo>
                    <a:pt x="69" y="70"/>
                  </a:lnTo>
                  <a:lnTo>
                    <a:pt x="68" y="70"/>
                  </a:lnTo>
                  <a:lnTo>
                    <a:pt x="66" y="71"/>
                  </a:lnTo>
                  <a:lnTo>
                    <a:pt x="66" y="71"/>
                  </a:lnTo>
                  <a:lnTo>
                    <a:pt x="66" y="73"/>
                  </a:lnTo>
                  <a:lnTo>
                    <a:pt x="68" y="74"/>
                  </a:lnTo>
                  <a:lnTo>
                    <a:pt x="69" y="77"/>
                  </a:lnTo>
                  <a:lnTo>
                    <a:pt x="71" y="79"/>
                  </a:lnTo>
                  <a:lnTo>
                    <a:pt x="71" y="79"/>
                  </a:lnTo>
                  <a:lnTo>
                    <a:pt x="69" y="82"/>
                  </a:lnTo>
                  <a:lnTo>
                    <a:pt x="68" y="86"/>
                  </a:lnTo>
                  <a:lnTo>
                    <a:pt x="65" y="90"/>
                  </a:lnTo>
                  <a:lnTo>
                    <a:pt x="65" y="90"/>
                  </a:lnTo>
                  <a:lnTo>
                    <a:pt x="63" y="97"/>
                  </a:lnTo>
                  <a:lnTo>
                    <a:pt x="62" y="100"/>
                  </a:lnTo>
                  <a:lnTo>
                    <a:pt x="62" y="100"/>
                  </a:lnTo>
                  <a:lnTo>
                    <a:pt x="60" y="100"/>
                  </a:lnTo>
                  <a:lnTo>
                    <a:pt x="60" y="100"/>
                  </a:lnTo>
                  <a:lnTo>
                    <a:pt x="56" y="92"/>
                  </a:lnTo>
                  <a:lnTo>
                    <a:pt x="55" y="89"/>
                  </a:lnTo>
                  <a:lnTo>
                    <a:pt x="55" y="89"/>
                  </a:lnTo>
                  <a:lnTo>
                    <a:pt x="55" y="89"/>
                  </a:lnTo>
                  <a:lnTo>
                    <a:pt x="55" y="89"/>
                  </a:lnTo>
                  <a:lnTo>
                    <a:pt x="53" y="95"/>
                  </a:lnTo>
                  <a:lnTo>
                    <a:pt x="52" y="96"/>
                  </a:lnTo>
                  <a:lnTo>
                    <a:pt x="52" y="97"/>
                  </a:lnTo>
                  <a:lnTo>
                    <a:pt x="52" y="97"/>
                  </a:lnTo>
                  <a:lnTo>
                    <a:pt x="55" y="102"/>
                  </a:lnTo>
                  <a:lnTo>
                    <a:pt x="55" y="103"/>
                  </a:lnTo>
                  <a:lnTo>
                    <a:pt x="55" y="106"/>
                  </a:lnTo>
                  <a:lnTo>
                    <a:pt x="55" y="106"/>
                  </a:lnTo>
                  <a:lnTo>
                    <a:pt x="52" y="109"/>
                  </a:lnTo>
                  <a:lnTo>
                    <a:pt x="49" y="111"/>
                  </a:lnTo>
                  <a:lnTo>
                    <a:pt x="49" y="111"/>
                  </a:lnTo>
                  <a:lnTo>
                    <a:pt x="46" y="111"/>
                  </a:lnTo>
                  <a:lnTo>
                    <a:pt x="45" y="111"/>
                  </a:lnTo>
                  <a:lnTo>
                    <a:pt x="43" y="1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63" name="Freeform 1408"/>
            <p:cNvSpPr>
              <a:spLocks/>
            </p:cNvSpPr>
            <p:nvPr/>
          </p:nvSpPr>
          <p:spPr bwMode="auto">
            <a:xfrm>
              <a:off x="1820863" y="1605391"/>
              <a:ext cx="452438" cy="257175"/>
            </a:xfrm>
            <a:custGeom>
              <a:avLst/>
              <a:gdLst>
                <a:gd name="T0" fmla="*/ 272 w 285"/>
                <a:gd name="T1" fmla="*/ 135 h 162"/>
                <a:gd name="T2" fmla="*/ 255 w 285"/>
                <a:gd name="T3" fmla="*/ 125 h 162"/>
                <a:gd name="T4" fmla="*/ 264 w 285"/>
                <a:gd name="T5" fmla="*/ 139 h 162"/>
                <a:gd name="T6" fmla="*/ 240 w 285"/>
                <a:gd name="T7" fmla="*/ 152 h 162"/>
                <a:gd name="T8" fmla="*/ 226 w 285"/>
                <a:gd name="T9" fmla="*/ 148 h 162"/>
                <a:gd name="T10" fmla="*/ 216 w 285"/>
                <a:gd name="T11" fmla="*/ 143 h 162"/>
                <a:gd name="T12" fmla="*/ 200 w 285"/>
                <a:gd name="T13" fmla="*/ 158 h 162"/>
                <a:gd name="T14" fmla="*/ 158 w 285"/>
                <a:gd name="T15" fmla="*/ 161 h 162"/>
                <a:gd name="T16" fmla="*/ 136 w 285"/>
                <a:gd name="T17" fmla="*/ 152 h 162"/>
                <a:gd name="T18" fmla="*/ 128 w 285"/>
                <a:gd name="T19" fmla="*/ 143 h 162"/>
                <a:gd name="T20" fmla="*/ 122 w 285"/>
                <a:gd name="T21" fmla="*/ 143 h 162"/>
                <a:gd name="T22" fmla="*/ 107 w 285"/>
                <a:gd name="T23" fmla="*/ 151 h 162"/>
                <a:gd name="T24" fmla="*/ 94 w 285"/>
                <a:gd name="T25" fmla="*/ 139 h 162"/>
                <a:gd name="T26" fmla="*/ 87 w 285"/>
                <a:gd name="T27" fmla="*/ 145 h 162"/>
                <a:gd name="T28" fmla="*/ 75 w 285"/>
                <a:gd name="T29" fmla="*/ 135 h 162"/>
                <a:gd name="T30" fmla="*/ 74 w 285"/>
                <a:gd name="T31" fmla="*/ 117 h 162"/>
                <a:gd name="T32" fmla="*/ 78 w 285"/>
                <a:gd name="T33" fmla="*/ 109 h 162"/>
                <a:gd name="T34" fmla="*/ 77 w 285"/>
                <a:gd name="T35" fmla="*/ 99 h 162"/>
                <a:gd name="T36" fmla="*/ 78 w 285"/>
                <a:gd name="T37" fmla="*/ 77 h 162"/>
                <a:gd name="T38" fmla="*/ 80 w 285"/>
                <a:gd name="T39" fmla="*/ 62 h 162"/>
                <a:gd name="T40" fmla="*/ 68 w 285"/>
                <a:gd name="T41" fmla="*/ 51 h 162"/>
                <a:gd name="T42" fmla="*/ 64 w 285"/>
                <a:gd name="T43" fmla="*/ 45 h 162"/>
                <a:gd name="T44" fmla="*/ 46 w 285"/>
                <a:gd name="T45" fmla="*/ 51 h 162"/>
                <a:gd name="T46" fmla="*/ 33 w 285"/>
                <a:gd name="T47" fmla="*/ 51 h 162"/>
                <a:gd name="T48" fmla="*/ 13 w 285"/>
                <a:gd name="T49" fmla="*/ 25 h 162"/>
                <a:gd name="T50" fmla="*/ 2 w 285"/>
                <a:gd name="T51" fmla="*/ 12 h 162"/>
                <a:gd name="T52" fmla="*/ 3 w 285"/>
                <a:gd name="T53" fmla="*/ 6 h 162"/>
                <a:gd name="T54" fmla="*/ 9 w 285"/>
                <a:gd name="T55" fmla="*/ 2 h 162"/>
                <a:gd name="T56" fmla="*/ 30 w 285"/>
                <a:gd name="T57" fmla="*/ 2 h 162"/>
                <a:gd name="T58" fmla="*/ 41 w 285"/>
                <a:gd name="T59" fmla="*/ 7 h 162"/>
                <a:gd name="T60" fmla="*/ 49 w 285"/>
                <a:gd name="T61" fmla="*/ 9 h 162"/>
                <a:gd name="T62" fmla="*/ 57 w 285"/>
                <a:gd name="T63" fmla="*/ 26 h 162"/>
                <a:gd name="T64" fmla="*/ 61 w 285"/>
                <a:gd name="T65" fmla="*/ 28 h 162"/>
                <a:gd name="T66" fmla="*/ 86 w 285"/>
                <a:gd name="T67" fmla="*/ 25 h 162"/>
                <a:gd name="T68" fmla="*/ 97 w 285"/>
                <a:gd name="T69" fmla="*/ 33 h 162"/>
                <a:gd name="T70" fmla="*/ 86 w 285"/>
                <a:gd name="T71" fmla="*/ 33 h 162"/>
                <a:gd name="T72" fmla="*/ 99 w 285"/>
                <a:gd name="T73" fmla="*/ 41 h 162"/>
                <a:gd name="T74" fmla="*/ 123 w 285"/>
                <a:gd name="T75" fmla="*/ 52 h 162"/>
                <a:gd name="T76" fmla="*/ 104 w 285"/>
                <a:gd name="T77" fmla="*/ 58 h 162"/>
                <a:gd name="T78" fmla="*/ 96 w 285"/>
                <a:gd name="T79" fmla="*/ 58 h 162"/>
                <a:gd name="T80" fmla="*/ 103 w 285"/>
                <a:gd name="T81" fmla="*/ 62 h 162"/>
                <a:gd name="T82" fmla="*/ 97 w 285"/>
                <a:gd name="T83" fmla="*/ 68 h 162"/>
                <a:gd name="T84" fmla="*/ 100 w 285"/>
                <a:gd name="T85" fmla="*/ 73 h 162"/>
                <a:gd name="T86" fmla="*/ 114 w 285"/>
                <a:gd name="T87" fmla="*/ 73 h 162"/>
                <a:gd name="T88" fmla="*/ 125 w 285"/>
                <a:gd name="T89" fmla="*/ 84 h 162"/>
                <a:gd name="T90" fmla="*/ 133 w 285"/>
                <a:gd name="T91" fmla="*/ 84 h 162"/>
                <a:gd name="T92" fmla="*/ 148 w 285"/>
                <a:gd name="T93" fmla="*/ 90 h 162"/>
                <a:gd name="T94" fmla="*/ 161 w 285"/>
                <a:gd name="T95" fmla="*/ 93 h 162"/>
                <a:gd name="T96" fmla="*/ 196 w 285"/>
                <a:gd name="T97" fmla="*/ 81 h 162"/>
                <a:gd name="T98" fmla="*/ 204 w 285"/>
                <a:gd name="T99" fmla="*/ 83 h 162"/>
                <a:gd name="T100" fmla="*/ 227 w 285"/>
                <a:gd name="T101" fmla="*/ 84 h 162"/>
                <a:gd name="T102" fmla="*/ 243 w 285"/>
                <a:gd name="T103" fmla="*/ 90 h 162"/>
                <a:gd name="T104" fmla="*/ 259 w 285"/>
                <a:gd name="T105" fmla="*/ 91 h 162"/>
                <a:gd name="T106" fmla="*/ 274 w 285"/>
                <a:gd name="T107" fmla="*/ 107 h 162"/>
                <a:gd name="T108" fmla="*/ 272 w 285"/>
                <a:gd name="T109" fmla="*/ 117 h 162"/>
                <a:gd name="T110" fmla="*/ 275 w 285"/>
                <a:gd name="T11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5" h="162">
                  <a:moveTo>
                    <a:pt x="285" y="125"/>
                  </a:moveTo>
                  <a:lnTo>
                    <a:pt x="285" y="125"/>
                  </a:lnTo>
                  <a:lnTo>
                    <a:pt x="278" y="133"/>
                  </a:lnTo>
                  <a:lnTo>
                    <a:pt x="275" y="135"/>
                  </a:lnTo>
                  <a:lnTo>
                    <a:pt x="272" y="135"/>
                  </a:lnTo>
                  <a:lnTo>
                    <a:pt x="272" y="135"/>
                  </a:lnTo>
                  <a:lnTo>
                    <a:pt x="261" y="128"/>
                  </a:lnTo>
                  <a:lnTo>
                    <a:pt x="256" y="125"/>
                  </a:lnTo>
                  <a:lnTo>
                    <a:pt x="255" y="125"/>
                  </a:lnTo>
                  <a:lnTo>
                    <a:pt x="255" y="125"/>
                  </a:lnTo>
                  <a:lnTo>
                    <a:pt x="255" y="125"/>
                  </a:lnTo>
                  <a:lnTo>
                    <a:pt x="256" y="129"/>
                  </a:lnTo>
                  <a:lnTo>
                    <a:pt x="261" y="133"/>
                  </a:lnTo>
                  <a:lnTo>
                    <a:pt x="264" y="136"/>
                  </a:lnTo>
                  <a:lnTo>
                    <a:pt x="264" y="139"/>
                  </a:lnTo>
                  <a:lnTo>
                    <a:pt x="262" y="141"/>
                  </a:lnTo>
                  <a:lnTo>
                    <a:pt x="262" y="141"/>
                  </a:lnTo>
                  <a:lnTo>
                    <a:pt x="252" y="146"/>
                  </a:lnTo>
                  <a:lnTo>
                    <a:pt x="245" y="151"/>
                  </a:lnTo>
                  <a:lnTo>
                    <a:pt x="240" y="152"/>
                  </a:lnTo>
                  <a:lnTo>
                    <a:pt x="240" y="152"/>
                  </a:lnTo>
                  <a:lnTo>
                    <a:pt x="236" y="151"/>
                  </a:lnTo>
                  <a:lnTo>
                    <a:pt x="233" y="149"/>
                  </a:lnTo>
                  <a:lnTo>
                    <a:pt x="230" y="148"/>
                  </a:lnTo>
                  <a:lnTo>
                    <a:pt x="226" y="148"/>
                  </a:lnTo>
                  <a:lnTo>
                    <a:pt x="226" y="148"/>
                  </a:lnTo>
                  <a:lnTo>
                    <a:pt x="223" y="146"/>
                  </a:lnTo>
                  <a:lnTo>
                    <a:pt x="222" y="143"/>
                  </a:lnTo>
                  <a:lnTo>
                    <a:pt x="220" y="143"/>
                  </a:lnTo>
                  <a:lnTo>
                    <a:pt x="216" y="143"/>
                  </a:lnTo>
                  <a:lnTo>
                    <a:pt x="216" y="143"/>
                  </a:lnTo>
                  <a:lnTo>
                    <a:pt x="212" y="146"/>
                  </a:lnTo>
                  <a:lnTo>
                    <a:pt x="209" y="152"/>
                  </a:lnTo>
                  <a:lnTo>
                    <a:pt x="204" y="157"/>
                  </a:lnTo>
                  <a:lnTo>
                    <a:pt x="200" y="158"/>
                  </a:lnTo>
                  <a:lnTo>
                    <a:pt x="200" y="158"/>
                  </a:lnTo>
                  <a:lnTo>
                    <a:pt x="170" y="162"/>
                  </a:lnTo>
                  <a:lnTo>
                    <a:pt x="170" y="162"/>
                  </a:lnTo>
                  <a:lnTo>
                    <a:pt x="164" y="162"/>
                  </a:lnTo>
                  <a:lnTo>
                    <a:pt x="158" y="161"/>
                  </a:lnTo>
                  <a:lnTo>
                    <a:pt x="146" y="158"/>
                  </a:lnTo>
                  <a:lnTo>
                    <a:pt x="146" y="158"/>
                  </a:lnTo>
                  <a:lnTo>
                    <a:pt x="142" y="155"/>
                  </a:lnTo>
                  <a:lnTo>
                    <a:pt x="136" y="152"/>
                  </a:lnTo>
                  <a:lnTo>
                    <a:pt x="136" y="152"/>
                  </a:lnTo>
                  <a:lnTo>
                    <a:pt x="130" y="152"/>
                  </a:lnTo>
                  <a:lnTo>
                    <a:pt x="129" y="151"/>
                  </a:lnTo>
                  <a:lnTo>
                    <a:pt x="129" y="148"/>
                  </a:lnTo>
                  <a:lnTo>
                    <a:pt x="129" y="148"/>
                  </a:lnTo>
                  <a:lnTo>
                    <a:pt x="128" y="143"/>
                  </a:lnTo>
                  <a:lnTo>
                    <a:pt x="126" y="142"/>
                  </a:lnTo>
                  <a:lnTo>
                    <a:pt x="125" y="141"/>
                  </a:lnTo>
                  <a:lnTo>
                    <a:pt x="125" y="141"/>
                  </a:lnTo>
                  <a:lnTo>
                    <a:pt x="123" y="142"/>
                  </a:lnTo>
                  <a:lnTo>
                    <a:pt x="122" y="143"/>
                  </a:lnTo>
                  <a:lnTo>
                    <a:pt x="120" y="148"/>
                  </a:lnTo>
                  <a:lnTo>
                    <a:pt x="120" y="148"/>
                  </a:lnTo>
                  <a:lnTo>
                    <a:pt x="114" y="151"/>
                  </a:lnTo>
                  <a:lnTo>
                    <a:pt x="107" y="151"/>
                  </a:lnTo>
                  <a:lnTo>
                    <a:pt x="107" y="151"/>
                  </a:lnTo>
                  <a:lnTo>
                    <a:pt x="103" y="149"/>
                  </a:lnTo>
                  <a:lnTo>
                    <a:pt x="99" y="146"/>
                  </a:lnTo>
                  <a:lnTo>
                    <a:pt x="99" y="146"/>
                  </a:lnTo>
                  <a:lnTo>
                    <a:pt x="94" y="141"/>
                  </a:lnTo>
                  <a:lnTo>
                    <a:pt x="94" y="139"/>
                  </a:lnTo>
                  <a:lnTo>
                    <a:pt x="93" y="141"/>
                  </a:lnTo>
                  <a:lnTo>
                    <a:pt x="93" y="141"/>
                  </a:lnTo>
                  <a:lnTo>
                    <a:pt x="91" y="143"/>
                  </a:lnTo>
                  <a:lnTo>
                    <a:pt x="90" y="143"/>
                  </a:lnTo>
                  <a:lnTo>
                    <a:pt x="87" y="145"/>
                  </a:lnTo>
                  <a:lnTo>
                    <a:pt x="87" y="145"/>
                  </a:lnTo>
                  <a:lnTo>
                    <a:pt x="83" y="143"/>
                  </a:lnTo>
                  <a:lnTo>
                    <a:pt x="80" y="141"/>
                  </a:lnTo>
                  <a:lnTo>
                    <a:pt x="77" y="139"/>
                  </a:lnTo>
                  <a:lnTo>
                    <a:pt x="75" y="135"/>
                  </a:lnTo>
                  <a:lnTo>
                    <a:pt x="75" y="135"/>
                  </a:lnTo>
                  <a:lnTo>
                    <a:pt x="77" y="129"/>
                  </a:lnTo>
                  <a:lnTo>
                    <a:pt x="75" y="125"/>
                  </a:lnTo>
                  <a:lnTo>
                    <a:pt x="75" y="125"/>
                  </a:lnTo>
                  <a:lnTo>
                    <a:pt x="74" y="117"/>
                  </a:lnTo>
                  <a:lnTo>
                    <a:pt x="77" y="113"/>
                  </a:lnTo>
                  <a:lnTo>
                    <a:pt x="77" y="113"/>
                  </a:lnTo>
                  <a:lnTo>
                    <a:pt x="78" y="112"/>
                  </a:lnTo>
                  <a:lnTo>
                    <a:pt x="80" y="110"/>
                  </a:lnTo>
                  <a:lnTo>
                    <a:pt x="78" y="109"/>
                  </a:lnTo>
                  <a:lnTo>
                    <a:pt x="78" y="109"/>
                  </a:lnTo>
                  <a:lnTo>
                    <a:pt x="77" y="104"/>
                  </a:lnTo>
                  <a:lnTo>
                    <a:pt x="77" y="101"/>
                  </a:lnTo>
                  <a:lnTo>
                    <a:pt x="77" y="99"/>
                  </a:lnTo>
                  <a:lnTo>
                    <a:pt x="77" y="99"/>
                  </a:lnTo>
                  <a:lnTo>
                    <a:pt x="80" y="88"/>
                  </a:lnTo>
                  <a:lnTo>
                    <a:pt x="81" y="84"/>
                  </a:lnTo>
                  <a:lnTo>
                    <a:pt x="81" y="81"/>
                  </a:lnTo>
                  <a:lnTo>
                    <a:pt x="81" y="81"/>
                  </a:lnTo>
                  <a:lnTo>
                    <a:pt x="78" y="77"/>
                  </a:lnTo>
                  <a:lnTo>
                    <a:pt x="77" y="74"/>
                  </a:lnTo>
                  <a:lnTo>
                    <a:pt x="78" y="71"/>
                  </a:lnTo>
                  <a:lnTo>
                    <a:pt x="78" y="71"/>
                  </a:lnTo>
                  <a:lnTo>
                    <a:pt x="80" y="65"/>
                  </a:lnTo>
                  <a:lnTo>
                    <a:pt x="80" y="62"/>
                  </a:lnTo>
                  <a:lnTo>
                    <a:pt x="80" y="59"/>
                  </a:lnTo>
                  <a:lnTo>
                    <a:pt x="80" y="59"/>
                  </a:lnTo>
                  <a:lnTo>
                    <a:pt x="74" y="55"/>
                  </a:lnTo>
                  <a:lnTo>
                    <a:pt x="68" y="51"/>
                  </a:lnTo>
                  <a:lnTo>
                    <a:pt x="68" y="51"/>
                  </a:lnTo>
                  <a:lnTo>
                    <a:pt x="67" y="49"/>
                  </a:lnTo>
                  <a:lnTo>
                    <a:pt x="65" y="46"/>
                  </a:lnTo>
                  <a:lnTo>
                    <a:pt x="65" y="45"/>
                  </a:lnTo>
                  <a:lnTo>
                    <a:pt x="64" y="45"/>
                  </a:lnTo>
                  <a:lnTo>
                    <a:pt x="64" y="45"/>
                  </a:lnTo>
                  <a:lnTo>
                    <a:pt x="57" y="48"/>
                  </a:lnTo>
                  <a:lnTo>
                    <a:pt x="52" y="51"/>
                  </a:lnTo>
                  <a:lnTo>
                    <a:pt x="49" y="51"/>
                  </a:lnTo>
                  <a:lnTo>
                    <a:pt x="49" y="51"/>
                  </a:lnTo>
                  <a:lnTo>
                    <a:pt x="46" y="51"/>
                  </a:lnTo>
                  <a:lnTo>
                    <a:pt x="42" y="49"/>
                  </a:lnTo>
                  <a:lnTo>
                    <a:pt x="39" y="48"/>
                  </a:lnTo>
                  <a:lnTo>
                    <a:pt x="38" y="48"/>
                  </a:lnTo>
                  <a:lnTo>
                    <a:pt x="38" y="48"/>
                  </a:lnTo>
                  <a:lnTo>
                    <a:pt x="33" y="51"/>
                  </a:lnTo>
                  <a:lnTo>
                    <a:pt x="32" y="52"/>
                  </a:lnTo>
                  <a:lnTo>
                    <a:pt x="30" y="52"/>
                  </a:lnTo>
                  <a:lnTo>
                    <a:pt x="30" y="52"/>
                  </a:lnTo>
                  <a:lnTo>
                    <a:pt x="22" y="41"/>
                  </a:lnTo>
                  <a:lnTo>
                    <a:pt x="13" y="25"/>
                  </a:lnTo>
                  <a:lnTo>
                    <a:pt x="13" y="25"/>
                  </a:lnTo>
                  <a:lnTo>
                    <a:pt x="12" y="22"/>
                  </a:lnTo>
                  <a:lnTo>
                    <a:pt x="9" y="19"/>
                  </a:lnTo>
                  <a:lnTo>
                    <a:pt x="4" y="16"/>
                  </a:lnTo>
                  <a:lnTo>
                    <a:pt x="2" y="12"/>
                  </a:lnTo>
                  <a:lnTo>
                    <a:pt x="2" y="12"/>
                  </a:lnTo>
                  <a:lnTo>
                    <a:pt x="0" y="9"/>
                  </a:lnTo>
                  <a:lnTo>
                    <a:pt x="0" y="7"/>
                  </a:lnTo>
                  <a:lnTo>
                    <a:pt x="0" y="6"/>
                  </a:lnTo>
                  <a:lnTo>
                    <a:pt x="3" y="6"/>
                  </a:lnTo>
                  <a:lnTo>
                    <a:pt x="3" y="6"/>
                  </a:lnTo>
                  <a:lnTo>
                    <a:pt x="4" y="4"/>
                  </a:lnTo>
                  <a:lnTo>
                    <a:pt x="4" y="4"/>
                  </a:lnTo>
                  <a:lnTo>
                    <a:pt x="6" y="3"/>
                  </a:lnTo>
                  <a:lnTo>
                    <a:pt x="9" y="2"/>
                  </a:lnTo>
                  <a:lnTo>
                    <a:pt x="9" y="2"/>
                  </a:lnTo>
                  <a:lnTo>
                    <a:pt x="15" y="0"/>
                  </a:lnTo>
                  <a:lnTo>
                    <a:pt x="20" y="0"/>
                  </a:lnTo>
                  <a:lnTo>
                    <a:pt x="30" y="2"/>
                  </a:lnTo>
                  <a:lnTo>
                    <a:pt x="30" y="2"/>
                  </a:lnTo>
                  <a:lnTo>
                    <a:pt x="35" y="2"/>
                  </a:lnTo>
                  <a:lnTo>
                    <a:pt x="38" y="4"/>
                  </a:lnTo>
                  <a:lnTo>
                    <a:pt x="38" y="4"/>
                  </a:lnTo>
                  <a:lnTo>
                    <a:pt x="39" y="7"/>
                  </a:lnTo>
                  <a:lnTo>
                    <a:pt x="41" y="7"/>
                  </a:lnTo>
                  <a:lnTo>
                    <a:pt x="42" y="7"/>
                  </a:lnTo>
                  <a:lnTo>
                    <a:pt x="42" y="7"/>
                  </a:lnTo>
                  <a:lnTo>
                    <a:pt x="46" y="6"/>
                  </a:lnTo>
                  <a:lnTo>
                    <a:pt x="49" y="9"/>
                  </a:lnTo>
                  <a:lnTo>
                    <a:pt x="49" y="9"/>
                  </a:lnTo>
                  <a:lnTo>
                    <a:pt x="55" y="13"/>
                  </a:lnTo>
                  <a:lnTo>
                    <a:pt x="57" y="16"/>
                  </a:lnTo>
                  <a:lnTo>
                    <a:pt x="58" y="19"/>
                  </a:lnTo>
                  <a:lnTo>
                    <a:pt x="58" y="19"/>
                  </a:lnTo>
                  <a:lnTo>
                    <a:pt x="57" y="26"/>
                  </a:lnTo>
                  <a:lnTo>
                    <a:pt x="57" y="29"/>
                  </a:lnTo>
                  <a:lnTo>
                    <a:pt x="57" y="31"/>
                  </a:lnTo>
                  <a:lnTo>
                    <a:pt x="58" y="29"/>
                  </a:lnTo>
                  <a:lnTo>
                    <a:pt x="58" y="29"/>
                  </a:lnTo>
                  <a:lnTo>
                    <a:pt x="61" y="28"/>
                  </a:lnTo>
                  <a:lnTo>
                    <a:pt x="64" y="28"/>
                  </a:lnTo>
                  <a:lnTo>
                    <a:pt x="71" y="25"/>
                  </a:lnTo>
                  <a:lnTo>
                    <a:pt x="71" y="25"/>
                  </a:lnTo>
                  <a:lnTo>
                    <a:pt x="80" y="25"/>
                  </a:lnTo>
                  <a:lnTo>
                    <a:pt x="86" y="25"/>
                  </a:lnTo>
                  <a:lnTo>
                    <a:pt x="90" y="26"/>
                  </a:lnTo>
                  <a:lnTo>
                    <a:pt x="90" y="26"/>
                  </a:lnTo>
                  <a:lnTo>
                    <a:pt x="93" y="29"/>
                  </a:lnTo>
                  <a:lnTo>
                    <a:pt x="96" y="32"/>
                  </a:lnTo>
                  <a:lnTo>
                    <a:pt x="97" y="33"/>
                  </a:lnTo>
                  <a:lnTo>
                    <a:pt x="97" y="35"/>
                  </a:lnTo>
                  <a:lnTo>
                    <a:pt x="96" y="35"/>
                  </a:lnTo>
                  <a:lnTo>
                    <a:pt x="96" y="35"/>
                  </a:lnTo>
                  <a:lnTo>
                    <a:pt x="88" y="33"/>
                  </a:lnTo>
                  <a:lnTo>
                    <a:pt x="86" y="33"/>
                  </a:lnTo>
                  <a:lnTo>
                    <a:pt x="86" y="33"/>
                  </a:lnTo>
                  <a:lnTo>
                    <a:pt x="90" y="38"/>
                  </a:lnTo>
                  <a:lnTo>
                    <a:pt x="94" y="39"/>
                  </a:lnTo>
                  <a:lnTo>
                    <a:pt x="99" y="41"/>
                  </a:lnTo>
                  <a:lnTo>
                    <a:pt x="99" y="41"/>
                  </a:lnTo>
                  <a:lnTo>
                    <a:pt x="110" y="44"/>
                  </a:lnTo>
                  <a:lnTo>
                    <a:pt x="119" y="48"/>
                  </a:lnTo>
                  <a:lnTo>
                    <a:pt x="119" y="48"/>
                  </a:lnTo>
                  <a:lnTo>
                    <a:pt x="122" y="49"/>
                  </a:lnTo>
                  <a:lnTo>
                    <a:pt x="123" y="52"/>
                  </a:lnTo>
                  <a:lnTo>
                    <a:pt x="122" y="52"/>
                  </a:lnTo>
                  <a:lnTo>
                    <a:pt x="119" y="54"/>
                  </a:lnTo>
                  <a:lnTo>
                    <a:pt x="119" y="54"/>
                  </a:lnTo>
                  <a:lnTo>
                    <a:pt x="112" y="57"/>
                  </a:lnTo>
                  <a:lnTo>
                    <a:pt x="104" y="58"/>
                  </a:lnTo>
                  <a:lnTo>
                    <a:pt x="104" y="58"/>
                  </a:lnTo>
                  <a:lnTo>
                    <a:pt x="99" y="58"/>
                  </a:lnTo>
                  <a:lnTo>
                    <a:pt x="96" y="58"/>
                  </a:lnTo>
                  <a:lnTo>
                    <a:pt x="96" y="58"/>
                  </a:lnTo>
                  <a:lnTo>
                    <a:pt x="96" y="58"/>
                  </a:lnTo>
                  <a:lnTo>
                    <a:pt x="94" y="61"/>
                  </a:lnTo>
                  <a:lnTo>
                    <a:pt x="94" y="62"/>
                  </a:lnTo>
                  <a:lnTo>
                    <a:pt x="96" y="62"/>
                  </a:lnTo>
                  <a:lnTo>
                    <a:pt x="96" y="62"/>
                  </a:lnTo>
                  <a:lnTo>
                    <a:pt x="103" y="62"/>
                  </a:lnTo>
                  <a:lnTo>
                    <a:pt x="104" y="64"/>
                  </a:lnTo>
                  <a:lnTo>
                    <a:pt x="104" y="65"/>
                  </a:lnTo>
                  <a:lnTo>
                    <a:pt x="104" y="65"/>
                  </a:lnTo>
                  <a:lnTo>
                    <a:pt x="100" y="67"/>
                  </a:lnTo>
                  <a:lnTo>
                    <a:pt x="97" y="68"/>
                  </a:lnTo>
                  <a:lnTo>
                    <a:pt x="96" y="70"/>
                  </a:lnTo>
                  <a:lnTo>
                    <a:pt x="96" y="70"/>
                  </a:lnTo>
                  <a:lnTo>
                    <a:pt x="96" y="74"/>
                  </a:lnTo>
                  <a:lnTo>
                    <a:pt x="97" y="74"/>
                  </a:lnTo>
                  <a:lnTo>
                    <a:pt x="100" y="73"/>
                  </a:lnTo>
                  <a:lnTo>
                    <a:pt x="100" y="73"/>
                  </a:lnTo>
                  <a:lnTo>
                    <a:pt x="104" y="71"/>
                  </a:lnTo>
                  <a:lnTo>
                    <a:pt x="109" y="71"/>
                  </a:lnTo>
                  <a:lnTo>
                    <a:pt x="114" y="73"/>
                  </a:lnTo>
                  <a:lnTo>
                    <a:pt x="114" y="73"/>
                  </a:lnTo>
                  <a:lnTo>
                    <a:pt x="117" y="75"/>
                  </a:lnTo>
                  <a:lnTo>
                    <a:pt x="119" y="78"/>
                  </a:lnTo>
                  <a:lnTo>
                    <a:pt x="119" y="78"/>
                  </a:lnTo>
                  <a:lnTo>
                    <a:pt x="123" y="83"/>
                  </a:lnTo>
                  <a:lnTo>
                    <a:pt x="125" y="84"/>
                  </a:lnTo>
                  <a:lnTo>
                    <a:pt x="126" y="86"/>
                  </a:lnTo>
                  <a:lnTo>
                    <a:pt x="126" y="86"/>
                  </a:lnTo>
                  <a:lnTo>
                    <a:pt x="129" y="84"/>
                  </a:lnTo>
                  <a:lnTo>
                    <a:pt x="132" y="84"/>
                  </a:lnTo>
                  <a:lnTo>
                    <a:pt x="133" y="84"/>
                  </a:lnTo>
                  <a:lnTo>
                    <a:pt x="133" y="84"/>
                  </a:lnTo>
                  <a:lnTo>
                    <a:pt x="139" y="90"/>
                  </a:lnTo>
                  <a:lnTo>
                    <a:pt x="143" y="91"/>
                  </a:lnTo>
                  <a:lnTo>
                    <a:pt x="148" y="90"/>
                  </a:lnTo>
                  <a:lnTo>
                    <a:pt x="148" y="90"/>
                  </a:lnTo>
                  <a:lnTo>
                    <a:pt x="151" y="90"/>
                  </a:lnTo>
                  <a:lnTo>
                    <a:pt x="154" y="90"/>
                  </a:lnTo>
                  <a:lnTo>
                    <a:pt x="156" y="91"/>
                  </a:lnTo>
                  <a:lnTo>
                    <a:pt x="161" y="93"/>
                  </a:lnTo>
                  <a:lnTo>
                    <a:pt x="161" y="93"/>
                  </a:lnTo>
                  <a:lnTo>
                    <a:pt x="170" y="93"/>
                  </a:lnTo>
                  <a:lnTo>
                    <a:pt x="175" y="91"/>
                  </a:lnTo>
                  <a:lnTo>
                    <a:pt x="175" y="91"/>
                  </a:lnTo>
                  <a:lnTo>
                    <a:pt x="196" y="81"/>
                  </a:lnTo>
                  <a:lnTo>
                    <a:pt x="196" y="81"/>
                  </a:lnTo>
                  <a:lnTo>
                    <a:pt x="201" y="78"/>
                  </a:lnTo>
                  <a:lnTo>
                    <a:pt x="204" y="78"/>
                  </a:lnTo>
                  <a:lnTo>
                    <a:pt x="206" y="78"/>
                  </a:lnTo>
                  <a:lnTo>
                    <a:pt x="206" y="78"/>
                  </a:lnTo>
                  <a:lnTo>
                    <a:pt x="204" y="83"/>
                  </a:lnTo>
                  <a:lnTo>
                    <a:pt x="204" y="84"/>
                  </a:lnTo>
                  <a:lnTo>
                    <a:pt x="207" y="84"/>
                  </a:lnTo>
                  <a:lnTo>
                    <a:pt x="207" y="84"/>
                  </a:lnTo>
                  <a:lnTo>
                    <a:pt x="216" y="84"/>
                  </a:lnTo>
                  <a:lnTo>
                    <a:pt x="227" y="84"/>
                  </a:lnTo>
                  <a:lnTo>
                    <a:pt x="227" y="84"/>
                  </a:lnTo>
                  <a:lnTo>
                    <a:pt x="235" y="86"/>
                  </a:lnTo>
                  <a:lnTo>
                    <a:pt x="239" y="87"/>
                  </a:lnTo>
                  <a:lnTo>
                    <a:pt x="239" y="87"/>
                  </a:lnTo>
                  <a:lnTo>
                    <a:pt x="243" y="90"/>
                  </a:lnTo>
                  <a:lnTo>
                    <a:pt x="246" y="91"/>
                  </a:lnTo>
                  <a:lnTo>
                    <a:pt x="251" y="91"/>
                  </a:lnTo>
                  <a:lnTo>
                    <a:pt x="251" y="91"/>
                  </a:lnTo>
                  <a:lnTo>
                    <a:pt x="256" y="91"/>
                  </a:lnTo>
                  <a:lnTo>
                    <a:pt x="259" y="91"/>
                  </a:lnTo>
                  <a:lnTo>
                    <a:pt x="262" y="93"/>
                  </a:lnTo>
                  <a:lnTo>
                    <a:pt x="262" y="93"/>
                  </a:lnTo>
                  <a:lnTo>
                    <a:pt x="269" y="99"/>
                  </a:lnTo>
                  <a:lnTo>
                    <a:pt x="272" y="103"/>
                  </a:lnTo>
                  <a:lnTo>
                    <a:pt x="274" y="107"/>
                  </a:lnTo>
                  <a:lnTo>
                    <a:pt x="274" y="107"/>
                  </a:lnTo>
                  <a:lnTo>
                    <a:pt x="274" y="113"/>
                  </a:lnTo>
                  <a:lnTo>
                    <a:pt x="272" y="116"/>
                  </a:lnTo>
                  <a:lnTo>
                    <a:pt x="272" y="117"/>
                  </a:lnTo>
                  <a:lnTo>
                    <a:pt x="272" y="117"/>
                  </a:lnTo>
                  <a:lnTo>
                    <a:pt x="271" y="119"/>
                  </a:lnTo>
                  <a:lnTo>
                    <a:pt x="271" y="120"/>
                  </a:lnTo>
                  <a:lnTo>
                    <a:pt x="272" y="122"/>
                  </a:lnTo>
                  <a:lnTo>
                    <a:pt x="275" y="123"/>
                  </a:lnTo>
                  <a:lnTo>
                    <a:pt x="275" y="123"/>
                  </a:lnTo>
                  <a:lnTo>
                    <a:pt x="282" y="123"/>
                  </a:lnTo>
                  <a:lnTo>
                    <a:pt x="285" y="125"/>
                  </a:lnTo>
                  <a:lnTo>
                    <a:pt x="285" y="125"/>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64" name="Freeform 1409"/>
            <p:cNvSpPr>
              <a:spLocks/>
            </p:cNvSpPr>
            <p:nvPr/>
          </p:nvSpPr>
          <p:spPr bwMode="auto">
            <a:xfrm>
              <a:off x="1820863" y="1605391"/>
              <a:ext cx="452438" cy="257175"/>
            </a:xfrm>
            <a:custGeom>
              <a:avLst/>
              <a:gdLst>
                <a:gd name="T0" fmla="*/ 272 w 285"/>
                <a:gd name="T1" fmla="*/ 135 h 162"/>
                <a:gd name="T2" fmla="*/ 255 w 285"/>
                <a:gd name="T3" fmla="*/ 125 h 162"/>
                <a:gd name="T4" fmla="*/ 264 w 285"/>
                <a:gd name="T5" fmla="*/ 139 h 162"/>
                <a:gd name="T6" fmla="*/ 240 w 285"/>
                <a:gd name="T7" fmla="*/ 152 h 162"/>
                <a:gd name="T8" fmla="*/ 226 w 285"/>
                <a:gd name="T9" fmla="*/ 148 h 162"/>
                <a:gd name="T10" fmla="*/ 216 w 285"/>
                <a:gd name="T11" fmla="*/ 143 h 162"/>
                <a:gd name="T12" fmla="*/ 200 w 285"/>
                <a:gd name="T13" fmla="*/ 158 h 162"/>
                <a:gd name="T14" fmla="*/ 158 w 285"/>
                <a:gd name="T15" fmla="*/ 161 h 162"/>
                <a:gd name="T16" fmla="*/ 136 w 285"/>
                <a:gd name="T17" fmla="*/ 152 h 162"/>
                <a:gd name="T18" fmla="*/ 128 w 285"/>
                <a:gd name="T19" fmla="*/ 143 h 162"/>
                <a:gd name="T20" fmla="*/ 122 w 285"/>
                <a:gd name="T21" fmla="*/ 143 h 162"/>
                <a:gd name="T22" fmla="*/ 107 w 285"/>
                <a:gd name="T23" fmla="*/ 151 h 162"/>
                <a:gd name="T24" fmla="*/ 94 w 285"/>
                <a:gd name="T25" fmla="*/ 139 h 162"/>
                <a:gd name="T26" fmla="*/ 87 w 285"/>
                <a:gd name="T27" fmla="*/ 145 h 162"/>
                <a:gd name="T28" fmla="*/ 75 w 285"/>
                <a:gd name="T29" fmla="*/ 135 h 162"/>
                <a:gd name="T30" fmla="*/ 74 w 285"/>
                <a:gd name="T31" fmla="*/ 117 h 162"/>
                <a:gd name="T32" fmla="*/ 78 w 285"/>
                <a:gd name="T33" fmla="*/ 109 h 162"/>
                <a:gd name="T34" fmla="*/ 77 w 285"/>
                <a:gd name="T35" fmla="*/ 99 h 162"/>
                <a:gd name="T36" fmla="*/ 78 w 285"/>
                <a:gd name="T37" fmla="*/ 77 h 162"/>
                <a:gd name="T38" fmla="*/ 80 w 285"/>
                <a:gd name="T39" fmla="*/ 62 h 162"/>
                <a:gd name="T40" fmla="*/ 68 w 285"/>
                <a:gd name="T41" fmla="*/ 51 h 162"/>
                <a:gd name="T42" fmla="*/ 64 w 285"/>
                <a:gd name="T43" fmla="*/ 45 h 162"/>
                <a:gd name="T44" fmla="*/ 46 w 285"/>
                <a:gd name="T45" fmla="*/ 51 h 162"/>
                <a:gd name="T46" fmla="*/ 33 w 285"/>
                <a:gd name="T47" fmla="*/ 51 h 162"/>
                <a:gd name="T48" fmla="*/ 13 w 285"/>
                <a:gd name="T49" fmla="*/ 25 h 162"/>
                <a:gd name="T50" fmla="*/ 2 w 285"/>
                <a:gd name="T51" fmla="*/ 12 h 162"/>
                <a:gd name="T52" fmla="*/ 3 w 285"/>
                <a:gd name="T53" fmla="*/ 6 h 162"/>
                <a:gd name="T54" fmla="*/ 9 w 285"/>
                <a:gd name="T55" fmla="*/ 2 h 162"/>
                <a:gd name="T56" fmla="*/ 30 w 285"/>
                <a:gd name="T57" fmla="*/ 2 h 162"/>
                <a:gd name="T58" fmla="*/ 41 w 285"/>
                <a:gd name="T59" fmla="*/ 7 h 162"/>
                <a:gd name="T60" fmla="*/ 49 w 285"/>
                <a:gd name="T61" fmla="*/ 9 h 162"/>
                <a:gd name="T62" fmla="*/ 57 w 285"/>
                <a:gd name="T63" fmla="*/ 26 h 162"/>
                <a:gd name="T64" fmla="*/ 61 w 285"/>
                <a:gd name="T65" fmla="*/ 28 h 162"/>
                <a:gd name="T66" fmla="*/ 86 w 285"/>
                <a:gd name="T67" fmla="*/ 25 h 162"/>
                <a:gd name="T68" fmla="*/ 97 w 285"/>
                <a:gd name="T69" fmla="*/ 33 h 162"/>
                <a:gd name="T70" fmla="*/ 86 w 285"/>
                <a:gd name="T71" fmla="*/ 33 h 162"/>
                <a:gd name="T72" fmla="*/ 99 w 285"/>
                <a:gd name="T73" fmla="*/ 41 h 162"/>
                <a:gd name="T74" fmla="*/ 123 w 285"/>
                <a:gd name="T75" fmla="*/ 52 h 162"/>
                <a:gd name="T76" fmla="*/ 104 w 285"/>
                <a:gd name="T77" fmla="*/ 58 h 162"/>
                <a:gd name="T78" fmla="*/ 96 w 285"/>
                <a:gd name="T79" fmla="*/ 58 h 162"/>
                <a:gd name="T80" fmla="*/ 103 w 285"/>
                <a:gd name="T81" fmla="*/ 62 h 162"/>
                <a:gd name="T82" fmla="*/ 97 w 285"/>
                <a:gd name="T83" fmla="*/ 68 h 162"/>
                <a:gd name="T84" fmla="*/ 100 w 285"/>
                <a:gd name="T85" fmla="*/ 73 h 162"/>
                <a:gd name="T86" fmla="*/ 114 w 285"/>
                <a:gd name="T87" fmla="*/ 73 h 162"/>
                <a:gd name="T88" fmla="*/ 125 w 285"/>
                <a:gd name="T89" fmla="*/ 84 h 162"/>
                <a:gd name="T90" fmla="*/ 133 w 285"/>
                <a:gd name="T91" fmla="*/ 84 h 162"/>
                <a:gd name="T92" fmla="*/ 148 w 285"/>
                <a:gd name="T93" fmla="*/ 90 h 162"/>
                <a:gd name="T94" fmla="*/ 161 w 285"/>
                <a:gd name="T95" fmla="*/ 93 h 162"/>
                <a:gd name="T96" fmla="*/ 196 w 285"/>
                <a:gd name="T97" fmla="*/ 81 h 162"/>
                <a:gd name="T98" fmla="*/ 204 w 285"/>
                <a:gd name="T99" fmla="*/ 83 h 162"/>
                <a:gd name="T100" fmla="*/ 227 w 285"/>
                <a:gd name="T101" fmla="*/ 84 h 162"/>
                <a:gd name="T102" fmla="*/ 243 w 285"/>
                <a:gd name="T103" fmla="*/ 90 h 162"/>
                <a:gd name="T104" fmla="*/ 259 w 285"/>
                <a:gd name="T105" fmla="*/ 91 h 162"/>
                <a:gd name="T106" fmla="*/ 274 w 285"/>
                <a:gd name="T107" fmla="*/ 107 h 162"/>
                <a:gd name="T108" fmla="*/ 272 w 285"/>
                <a:gd name="T109" fmla="*/ 117 h 162"/>
                <a:gd name="T110" fmla="*/ 275 w 285"/>
                <a:gd name="T11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5" h="162">
                  <a:moveTo>
                    <a:pt x="285" y="125"/>
                  </a:moveTo>
                  <a:lnTo>
                    <a:pt x="285" y="125"/>
                  </a:lnTo>
                  <a:lnTo>
                    <a:pt x="278" y="133"/>
                  </a:lnTo>
                  <a:lnTo>
                    <a:pt x="275" y="135"/>
                  </a:lnTo>
                  <a:lnTo>
                    <a:pt x="272" y="135"/>
                  </a:lnTo>
                  <a:lnTo>
                    <a:pt x="272" y="135"/>
                  </a:lnTo>
                  <a:lnTo>
                    <a:pt x="261" y="128"/>
                  </a:lnTo>
                  <a:lnTo>
                    <a:pt x="256" y="125"/>
                  </a:lnTo>
                  <a:lnTo>
                    <a:pt x="255" y="125"/>
                  </a:lnTo>
                  <a:lnTo>
                    <a:pt x="255" y="125"/>
                  </a:lnTo>
                  <a:lnTo>
                    <a:pt x="255" y="125"/>
                  </a:lnTo>
                  <a:lnTo>
                    <a:pt x="256" y="129"/>
                  </a:lnTo>
                  <a:lnTo>
                    <a:pt x="261" y="133"/>
                  </a:lnTo>
                  <a:lnTo>
                    <a:pt x="264" y="136"/>
                  </a:lnTo>
                  <a:lnTo>
                    <a:pt x="264" y="139"/>
                  </a:lnTo>
                  <a:lnTo>
                    <a:pt x="262" y="141"/>
                  </a:lnTo>
                  <a:lnTo>
                    <a:pt x="262" y="141"/>
                  </a:lnTo>
                  <a:lnTo>
                    <a:pt x="252" y="146"/>
                  </a:lnTo>
                  <a:lnTo>
                    <a:pt x="245" y="151"/>
                  </a:lnTo>
                  <a:lnTo>
                    <a:pt x="240" y="152"/>
                  </a:lnTo>
                  <a:lnTo>
                    <a:pt x="240" y="152"/>
                  </a:lnTo>
                  <a:lnTo>
                    <a:pt x="236" y="151"/>
                  </a:lnTo>
                  <a:lnTo>
                    <a:pt x="233" y="149"/>
                  </a:lnTo>
                  <a:lnTo>
                    <a:pt x="230" y="148"/>
                  </a:lnTo>
                  <a:lnTo>
                    <a:pt x="226" y="148"/>
                  </a:lnTo>
                  <a:lnTo>
                    <a:pt x="226" y="148"/>
                  </a:lnTo>
                  <a:lnTo>
                    <a:pt x="223" y="146"/>
                  </a:lnTo>
                  <a:lnTo>
                    <a:pt x="222" y="143"/>
                  </a:lnTo>
                  <a:lnTo>
                    <a:pt x="220" y="143"/>
                  </a:lnTo>
                  <a:lnTo>
                    <a:pt x="216" y="143"/>
                  </a:lnTo>
                  <a:lnTo>
                    <a:pt x="216" y="143"/>
                  </a:lnTo>
                  <a:lnTo>
                    <a:pt x="212" y="146"/>
                  </a:lnTo>
                  <a:lnTo>
                    <a:pt x="209" y="152"/>
                  </a:lnTo>
                  <a:lnTo>
                    <a:pt x="204" y="157"/>
                  </a:lnTo>
                  <a:lnTo>
                    <a:pt x="200" y="158"/>
                  </a:lnTo>
                  <a:lnTo>
                    <a:pt x="200" y="158"/>
                  </a:lnTo>
                  <a:lnTo>
                    <a:pt x="170" y="162"/>
                  </a:lnTo>
                  <a:lnTo>
                    <a:pt x="170" y="162"/>
                  </a:lnTo>
                  <a:lnTo>
                    <a:pt x="164" y="162"/>
                  </a:lnTo>
                  <a:lnTo>
                    <a:pt x="158" y="161"/>
                  </a:lnTo>
                  <a:lnTo>
                    <a:pt x="146" y="158"/>
                  </a:lnTo>
                  <a:lnTo>
                    <a:pt x="146" y="158"/>
                  </a:lnTo>
                  <a:lnTo>
                    <a:pt x="142" y="155"/>
                  </a:lnTo>
                  <a:lnTo>
                    <a:pt x="136" y="152"/>
                  </a:lnTo>
                  <a:lnTo>
                    <a:pt x="136" y="152"/>
                  </a:lnTo>
                  <a:lnTo>
                    <a:pt x="130" y="152"/>
                  </a:lnTo>
                  <a:lnTo>
                    <a:pt x="129" y="151"/>
                  </a:lnTo>
                  <a:lnTo>
                    <a:pt x="129" y="148"/>
                  </a:lnTo>
                  <a:lnTo>
                    <a:pt x="129" y="148"/>
                  </a:lnTo>
                  <a:lnTo>
                    <a:pt x="128" y="143"/>
                  </a:lnTo>
                  <a:lnTo>
                    <a:pt x="126" y="142"/>
                  </a:lnTo>
                  <a:lnTo>
                    <a:pt x="125" y="141"/>
                  </a:lnTo>
                  <a:lnTo>
                    <a:pt x="125" y="141"/>
                  </a:lnTo>
                  <a:lnTo>
                    <a:pt x="123" y="142"/>
                  </a:lnTo>
                  <a:lnTo>
                    <a:pt x="122" y="143"/>
                  </a:lnTo>
                  <a:lnTo>
                    <a:pt x="120" y="148"/>
                  </a:lnTo>
                  <a:lnTo>
                    <a:pt x="120" y="148"/>
                  </a:lnTo>
                  <a:lnTo>
                    <a:pt x="114" y="151"/>
                  </a:lnTo>
                  <a:lnTo>
                    <a:pt x="107" y="151"/>
                  </a:lnTo>
                  <a:lnTo>
                    <a:pt x="107" y="151"/>
                  </a:lnTo>
                  <a:lnTo>
                    <a:pt x="103" y="149"/>
                  </a:lnTo>
                  <a:lnTo>
                    <a:pt x="99" y="146"/>
                  </a:lnTo>
                  <a:lnTo>
                    <a:pt x="99" y="146"/>
                  </a:lnTo>
                  <a:lnTo>
                    <a:pt x="94" y="141"/>
                  </a:lnTo>
                  <a:lnTo>
                    <a:pt x="94" y="139"/>
                  </a:lnTo>
                  <a:lnTo>
                    <a:pt x="93" y="141"/>
                  </a:lnTo>
                  <a:lnTo>
                    <a:pt x="93" y="141"/>
                  </a:lnTo>
                  <a:lnTo>
                    <a:pt x="91" y="143"/>
                  </a:lnTo>
                  <a:lnTo>
                    <a:pt x="90" y="143"/>
                  </a:lnTo>
                  <a:lnTo>
                    <a:pt x="87" y="145"/>
                  </a:lnTo>
                  <a:lnTo>
                    <a:pt x="87" y="145"/>
                  </a:lnTo>
                  <a:lnTo>
                    <a:pt x="83" y="143"/>
                  </a:lnTo>
                  <a:lnTo>
                    <a:pt x="80" y="141"/>
                  </a:lnTo>
                  <a:lnTo>
                    <a:pt x="77" y="139"/>
                  </a:lnTo>
                  <a:lnTo>
                    <a:pt x="75" y="135"/>
                  </a:lnTo>
                  <a:lnTo>
                    <a:pt x="75" y="135"/>
                  </a:lnTo>
                  <a:lnTo>
                    <a:pt x="77" y="129"/>
                  </a:lnTo>
                  <a:lnTo>
                    <a:pt x="75" y="125"/>
                  </a:lnTo>
                  <a:lnTo>
                    <a:pt x="75" y="125"/>
                  </a:lnTo>
                  <a:lnTo>
                    <a:pt x="74" y="117"/>
                  </a:lnTo>
                  <a:lnTo>
                    <a:pt x="77" y="113"/>
                  </a:lnTo>
                  <a:lnTo>
                    <a:pt x="77" y="113"/>
                  </a:lnTo>
                  <a:lnTo>
                    <a:pt x="78" y="112"/>
                  </a:lnTo>
                  <a:lnTo>
                    <a:pt x="80" y="110"/>
                  </a:lnTo>
                  <a:lnTo>
                    <a:pt x="78" y="109"/>
                  </a:lnTo>
                  <a:lnTo>
                    <a:pt x="78" y="109"/>
                  </a:lnTo>
                  <a:lnTo>
                    <a:pt x="77" y="104"/>
                  </a:lnTo>
                  <a:lnTo>
                    <a:pt x="77" y="101"/>
                  </a:lnTo>
                  <a:lnTo>
                    <a:pt x="77" y="99"/>
                  </a:lnTo>
                  <a:lnTo>
                    <a:pt x="77" y="99"/>
                  </a:lnTo>
                  <a:lnTo>
                    <a:pt x="80" y="88"/>
                  </a:lnTo>
                  <a:lnTo>
                    <a:pt x="81" y="84"/>
                  </a:lnTo>
                  <a:lnTo>
                    <a:pt x="81" y="81"/>
                  </a:lnTo>
                  <a:lnTo>
                    <a:pt x="81" y="81"/>
                  </a:lnTo>
                  <a:lnTo>
                    <a:pt x="78" y="77"/>
                  </a:lnTo>
                  <a:lnTo>
                    <a:pt x="77" y="74"/>
                  </a:lnTo>
                  <a:lnTo>
                    <a:pt x="78" y="71"/>
                  </a:lnTo>
                  <a:lnTo>
                    <a:pt x="78" y="71"/>
                  </a:lnTo>
                  <a:lnTo>
                    <a:pt x="80" y="65"/>
                  </a:lnTo>
                  <a:lnTo>
                    <a:pt x="80" y="62"/>
                  </a:lnTo>
                  <a:lnTo>
                    <a:pt x="80" y="59"/>
                  </a:lnTo>
                  <a:lnTo>
                    <a:pt x="80" y="59"/>
                  </a:lnTo>
                  <a:lnTo>
                    <a:pt x="74" y="55"/>
                  </a:lnTo>
                  <a:lnTo>
                    <a:pt x="68" y="51"/>
                  </a:lnTo>
                  <a:lnTo>
                    <a:pt x="68" y="51"/>
                  </a:lnTo>
                  <a:lnTo>
                    <a:pt x="67" y="49"/>
                  </a:lnTo>
                  <a:lnTo>
                    <a:pt x="65" y="46"/>
                  </a:lnTo>
                  <a:lnTo>
                    <a:pt x="65" y="45"/>
                  </a:lnTo>
                  <a:lnTo>
                    <a:pt x="64" y="45"/>
                  </a:lnTo>
                  <a:lnTo>
                    <a:pt x="64" y="45"/>
                  </a:lnTo>
                  <a:lnTo>
                    <a:pt x="57" y="48"/>
                  </a:lnTo>
                  <a:lnTo>
                    <a:pt x="52" y="51"/>
                  </a:lnTo>
                  <a:lnTo>
                    <a:pt x="49" y="51"/>
                  </a:lnTo>
                  <a:lnTo>
                    <a:pt x="49" y="51"/>
                  </a:lnTo>
                  <a:lnTo>
                    <a:pt x="46" y="51"/>
                  </a:lnTo>
                  <a:lnTo>
                    <a:pt x="42" y="49"/>
                  </a:lnTo>
                  <a:lnTo>
                    <a:pt x="39" y="48"/>
                  </a:lnTo>
                  <a:lnTo>
                    <a:pt x="38" y="48"/>
                  </a:lnTo>
                  <a:lnTo>
                    <a:pt x="38" y="48"/>
                  </a:lnTo>
                  <a:lnTo>
                    <a:pt x="33" y="51"/>
                  </a:lnTo>
                  <a:lnTo>
                    <a:pt x="32" y="52"/>
                  </a:lnTo>
                  <a:lnTo>
                    <a:pt x="30" y="52"/>
                  </a:lnTo>
                  <a:lnTo>
                    <a:pt x="30" y="52"/>
                  </a:lnTo>
                  <a:lnTo>
                    <a:pt x="22" y="41"/>
                  </a:lnTo>
                  <a:lnTo>
                    <a:pt x="13" y="25"/>
                  </a:lnTo>
                  <a:lnTo>
                    <a:pt x="13" y="25"/>
                  </a:lnTo>
                  <a:lnTo>
                    <a:pt x="12" y="22"/>
                  </a:lnTo>
                  <a:lnTo>
                    <a:pt x="9" y="19"/>
                  </a:lnTo>
                  <a:lnTo>
                    <a:pt x="4" y="16"/>
                  </a:lnTo>
                  <a:lnTo>
                    <a:pt x="2" y="12"/>
                  </a:lnTo>
                  <a:lnTo>
                    <a:pt x="2" y="12"/>
                  </a:lnTo>
                  <a:lnTo>
                    <a:pt x="0" y="9"/>
                  </a:lnTo>
                  <a:lnTo>
                    <a:pt x="0" y="7"/>
                  </a:lnTo>
                  <a:lnTo>
                    <a:pt x="0" y="6"/>
                  </a:lnTo>
                  <a:lnTo>
                    <a:pt x="3" y="6"/>
                  </a:lnTo>
                  <a:lnTo>
                    <a:pt x="3" y="6"/>
                  </a:lnTo>
                  <a:lnTo>
                    <a:pt x="4" y="4"/>
                  </a:lnTo>
                  <a:lnTo>
                    <a:pt x="4" y="4"/>
                  </a:lnTo>
                  <a:lnTo>
                    <a:pt x="6" y="3"/>
                  </a:lnTo>
                  <a:lnTo>
                    <a:pt x="9" y="2"/>
                  </a:lnTo>
                  <a:lnTo>
                    <a:pt x="9" y="2"/>
                  </a:lnTo>
                  <a:lnTo>
                    <a:pt x="15" y="0"/>
                  </a:lnTo>
                  <a:lnTo>
                    <a:pt x="20" y="0"/>
                  </a:lnTo>
                  <a:lnTo>
                    <a:pt x="30" y="2"/>
                  </a:lnTo>
                  <a:lnTo>
                    <a:pt x="30" y="2"/>
                  </a:lnTo>
                  <a:lnTo>
                    <a:pt x="35" y="2"/>
                  </a:lnTo>
                  <a:lnTo>
                    <a:pt x="38" y="4"/>
                  </a:lnTo>
                  <a:lnTo>
                    <a:pt x="38" y="4"/>
                  </a:lnTo>
                  <a:lnTo>
                    <a:pt x="39" y="7"/>
                  </a:lnTo>
                  <a:lnTo>
                    <a:pt x="41" y="7"/>
                  </a:lnTo>
                  <a:lnTo>
                    <a:pt x="42" y="7"/>
                  </a:lnTo>
                  <a:lnTo>
                    <a:pt x="42" y="7"/>
                  </a:lnTo>
                  <a:lnTo>
                    <a:pt x="46" y="6"/>
                  </a:lnTo>
                  <a:lnTo>
                    <a:pt x="49" y="9"/>
                  </a:lnTo>
                  <a:lnTo>
                    <a:pt x="49" y="9"/>
                  </a:lnTo>
                  <a:lnTo>
                    <a:pt x="55" y="13"/>
                  </a:lnTo>
                  <a:lnTo>
                    <a:pt x="57" y="16"/>
                  </a:lnTo>
                  <a:lnTo>
                    <a:pt x="58" y="19"/>
                  </a:lnTo>
                  <a:lnTo>
                    <a:pt x="58" y="19"/>
                  </a:lnTo>
                  <a:lnTo>
                    <a:pt x="57" y="26"/>
                  </a:lnTo>
                  <a:lnTo>
                    <a:pt x="57" y="29"/>
                  </a:lnTo>
                  <a:lnTo>
                    <a:pt x="57" y="31"/>
                  </a:lnTo>
                  <a:lnTo>
                    <a:pt x="58" y="29"/>
                  </a:lnTo>
                  <a:lnTo>
                    <a:pt x="58" y="29"/>
                  </a:lnTo>
                  <a:lnTo>
                    <a:pt x="61" y="28"/>
                  </a:lnTo>
                  <a:lnTo>
                    <a:pt x="64" y="28"/>
                  </a:lnTo>
                  <a:lnTo>
                    <a:pt x="71" y="25"/>
                  </a:lnTo>
                  <a:lnTo>
                    <a:pt x="71" y="25"/>
                  </a:lnTo>
                  <a:lnTo>
                    <a:pt x="80" y="25"/>
                  </a:lnTo>
                  <a:lnTo>
                    <a:pt x="86" y="25"/>
                  </a:lnTo>
                  <a:lnTo>
                    <a:pt x="90" y="26"/>
                  </a:lnTo>
                  <a:lnTo>
                    <a:pt x="90" y="26"/>
                  </a:lnTo>
                  <a:lnTo>
                    <a:pt x="93" y="29"/>
                  </a:lnTo>
                  <a:lnTo>
                    <a:pt x="96" y="32"/>
                  </a:lnTo>
                  <a:lnTo>
                    <a:pt x="97" y="33"/>
                  </a:lnTo>
                  <a:lnTo>
                    <a:pt x="97" y="35"/>
                  </a:lnTo>
                  <a:lnTo>
                    <a:pt x="96" y="35"/>
                  </a:lnTo>
                  <a:lnTo>
                    <a:pt x="96" y="35"/>
                  </a:lnTo>
                  <a:lnTo>
                    <a:pt x="88" y="33"/>
                  </a:lnTo>
                  <a:lnTo>
                    <a:pt x="86" y="33"/>
                  </a:lnTo>
                  <a:lnTo>
                    <a:pt x="86" y="33"/>
                  </a:lnTo>
                  <a:lnTo>
                    <a:pt x="90" y="38"/>
                  </a:lnTo>
                  <a:lnTo>
                    <a:pt x="94" y="39"/>
                  </a:lnTo>
                  <a:lnTo>
                    <a:pt x="99" y="41"/>
                  </a:lnTo>
                  <a:lnTo>
                    <a:pt x="99" y="41"/>
                  </a:lnTo>
                  <a:lnTo>
                    <a:pt x="110" y="44"/>
                  </a:lnTo>
                  <a:lnTo>
                    <a:pt x="119" y="48"/>
                  </a:lnTo>
                  <a:lnTo>
                    <a:pt x="119" y="48"/>
                  </a:lnTo>
                  <a:lnTo>
                    <a:pt x="122" y="49"/>
                  </a:lnTo>
                  <a:lnTo>
                    <a:pt x="123" y="52"/>
                  </a:lnTo>
                  <a:lnTo>
                    <a:pt x="122" y="52"/>
                  </a:lnTo>
                  <a:lnTo>
                    <a:pt x="119" y="54"/>
                  </a:lnTo>
                  <a:lnTo>
                    <a:pt x="119" y="54"/>
                  </a:lnTo>
                  <a:lnTo>
                    <a:pt x="112" y="57"/>
                  </a:lnTo>
                  <a:lnTo>
                    <a:pt x="104" y="58"/>
                  </a:lnTo>
                  <a:lnTo>
                    <a:pt x="104" y="58"/>
                  </a:lnTo>
                  <a:lnTo>
                    <a:pt x="99" y="58"/>
                  </a:lnTo>
                  <a:lnTo>
                    <a:pt x="96" y="58"/>
                  </a:lnTo>
                  <a:lnTo>
                    <a:pt x="96" y="58"/>
                  </a:lnTo>
                  <a:lnTo>
                    <a:pt x="96" y="58"/>
                  </a:lnTo>
                  <a:lnTo>
                    <a:pt x="94" y="61"/>
                  </a:lnTo>
                  <a:lnTo>
                    <a:pt x="94" y="62"/>
                  </a:lnTo>
                  <a:lnTo>
                    <a:pt x="96" y="62"/>
                  </a:lnTo>
                  <a:lnTo>
                    <a:pt x="96" y="62"/>
                  </a:lnTo>
                  <a:lnTo>
                    <a:pt x="103" y="62"/>
                  </a:lnTo>
                  <a:lnTo>
                    <a:pt x="104" y="64"/>
                  </a:lnTo>
                  <a:lnTo>
                    <a:pt x="104" y="65"/>
                  </a:lnTo>
                  <a:lnTo>
                    <a:pt x="104" y="65"/>
                  </a:lnTo>
                  <a:lnTo>
                    <a:pt x="100" y="67"/>
                  </a:lnTo>
                  <a:lnTo>
                    <a:pt x="97" y="68"/>
                  </a:lnTo>
                  <a:lnTo>
                    <a:pt x="96" y="70"/>
                  </a:lnTo>
                  <a:lnTo>
                    <a:pt x="96" y="70"/>
                  </a:lnTo>
                  <a:lnTo>
                    <a:pt x="96" y="74"/>
                  </a:lnTo>
                  <a:lnTo>
                    <a:pt x="97" y="74"/>
                  </a:lnTo>
                  <a:lnTo>
                    <a:pt x="100" y="73"/>
                  </a:lnTo>
                  <a:lnTo>
                    <a:pt x="100" y="73"/>
                  </a:lnTo>
                  <a:lnTo>
                    <a:pt x="104" y="71"/>
                  </a:lnTo>
                  <a:lnTo>
                    <a:pt x="109" y="71"/>
                  </a:lnTo>
                  <a:lnTo>
                    <a:pt x="114" y="73"/>
                  </a:lnTo>
                  <a:lnTo>
                    <a:pt x="114" y="73"/>
                  </a:lnTo>
                  <a:lnTo>
                    <a:pt x="117" y="75"/>
                  </a:lnTo>
                  <a:lnTo>
                    <a:pt x="119" y="78"/>
                  </a:lnTo>
                  <a:lnTo>
                    <a:pt x="119" y="78"/>
                  </a:lnTo>
                  <a:lnTo>
                    <a:pt x="123" y="83"/>
                  </a:lnTo>
                  <a:lnTo>
                    <a:pt x="125" y="84"/>
                  </a:lnTo>
                  <a:lnTo>
                    <a:pt x="126" y="86"/>
                  </a:lnTo>
                  <a:lnTo>
                    <a:pt x="126" y="86"/>
                  </a:lnTo>
                  <a:lnTo>
                    <a:pt x="129" y="84"/>
                  </a:lnTo>
                  <a:lnTo>
                    <a:pt x="132" y="84"/>
                  </a:lnTo>
                  <a:lnTo>
                    <a:pt x="133" y="84"/>
                  </a:lnTo>
                  <a:lnTo>
                    <a:pt x="133" y="84"/>
                  </a:lnTo>
                  <a:lnTo>
                    <a:pt x="139" y="90"/>
                  </a:lnTo>
                  <a:lnTo>
                    <a:pt x="143" y="91"/>
                  </a:lnTo>
                  <a:lnTo>
                    <a:pt x="148" y="90"/>
                  </a:lnTo>
                  <a:lnTo>
                    <a:pt x="148" y="90"/>
                  </a:lnTo>
                  <a:lnTo>
                    <a:pt x="151" y="90"/>
                  </a:lnTo>
                  <a:lnTo>
                    <a:pt x="154" y="90"/>
                  </a:lnTo>
                  <a:lnTo>
                    <a:pt x="156" y="91"/>
                  </a:lnTo>
                  <a:lnTo>
                    <a:pt x="161" y="93"/>
                  </a:lnTo>
                  <a:lnTo>
                    <a:pt x="161" y="93"/>
                  </a:lnTo>
                  <a:lnTo>
                    <a:pt x="170" y="93"/>
                  </a:lnTo>
                  <a:lnTo>
                    <a:pt x="175" y="91"/>
                  </a:lnTo>
                  <a:lnTo>
                    <a:pt x="175" y="91"/>
                  </a:lnTo>
                  <a:lnTo>
                    <a:pt x="196" y="81"/>
                  </a:lnTo>
                  <a:lnTo>
                    <a:pt x="196" y="81"/>
                  </a:lnTo>
                  <a:lnTo>
                    <a:pt x="201" y="78"/>
                  </a:lnTo>
                  <a:lnTo>
                    <a:pt x="204" y="78"/>
                  </a:lnTo>
                  <a:lnTo>
                    <a:pt x="206" y="78"/>
                  </a:lnTo>
                  <a:lnTo>
                    <a:pt x="206" y="78"/>
                  </a:lnTo>
                  <a:lnTo>
                    <a:pt x="204" y="83"/>
                  </a:lnTo>
                  <a:lnTo>
                    <a:pt x="204" y="84"/>
                  </a:lnTo>
                  <a:lnTo>
                    <a:pt x="207" y="84"/>
                  </a:lnTo>
                  <a:lnTo>
                    <a:pt x="207" y="84"/>
                  </a:lnTo>
                  <a:lnTo>
                    <a:pt x="216" y="84"/>
                  </a:lnTo>
                  <a:lnTo>
                    <a:pt x="227" y="84"/>
                  </a:lnTo>
                  <a:lnTo>
                    <a:pt x="227" y="84"/>
                  </a:lnTo>
                  <a:lnTo>
                    <a:pt x="235" y="86"/>
                  </a:lnTo>
                  <a:lnTo>
                    <a:pt x="239" y="87"/>
                  </a:lnTo>
                  <a:lnTo>
                    <a:pt x="239" y="87"/>
                  </a:lnTo>
                  <a:lnTo>
                    <a:pt x="243" y="90"/>
                  </a:lnTo>
                  <a:lnTo>
                    <a:pt x="246" y="91"/>
                  </a:lnTo>
                  <a:lnTo>
                    <a:pt x="251" y="91"/>
                  </a:lnTo>
                  <a:lnTo>
                    <a:pt x="251" y="91"/>
                  </a:lnTo>
                  <a:lnTo>
                    <a:pt x="256" y="91"/>
                  </a:lnTo>
                  <a:lnTo>
                    <a:pt x="259" y="91"/>
                  </a:lnTo>
                  <a:lnTo>
                    <a:pt x="262" y="93"/>
                  </a:lnTo>
                  <a:lnTo>
                    <a:pt x="262" y="93"/>
                  </a:lnTo>
                  <a:lnTo>
                    <a:pt x="269" y="99"/>
                  </a:lnTo>
                  <a:lnTo>
                    <a:pt x="272" y="103"/>
                  </a:lnTo>
                  <a:lnTo>
                    <a:pt x="274" y="107"/>
                  </a:lnTo>
                  <a:lnTo>
                    <a:pt x="274" y="107"/>
                  </a:lnTo>
                  <a:lnTo>
                    <a:pt x="274" y="113"/>
                  </a:lnTo>
                  <a:lnTo>
                    <a:pt x="272" y="116"/>
                  </a:lnTo>
                  <a:lnTo>
                    <a:pt x="272" y="117"/>
                  </a:lnTo>
                  <a:lnTo>
                    <a:pt x="272" y="117"/>
                  </a:lnTo>
                  <a:lnTo>
                    <a:pt x="271" y="119"/>
                  </a:lnTo>
                  <a:lnTo>
                    <a:pt x="271" y="120"/>
                  </a:lnTo>
                  <a:lnTo>
                    <a:pt x="272" y="122"/>
                  </a:lnTo>
                  <a:lnTo>
                    <a:pt x="275" y="123"/>
                  </a:lnTo>
                  <a:lnTo>
                    <a:pt x="275" y="123"/>
                  </a:lnTo>
                  <a:lnTo>
                    <a:pt x="282" y="123"/>
                  </a:lnTo>
                  <a:lnTo>
                    <a:pt x="285" y="125"/>
                  </a:lnTo>
                  <a:lnTo>
                    <a:pt x="285" y="12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65" name="Freeform 1410"/>
            <p:cNvSpPr>
              <a:spLocks/>
            </p:cNvSpPr>
            <p:nvPr/>
          </p:nvSpPr>
          <p:spPr bwMode="auto">
            <a:xfrm>
              <a:off x="2262188" y="1721279"/>
              <a:ext cx="11113" cy="17463"/>
            </a:xfrm>
            <a:custGeom>
              <a:avLst/>
              <a:gdLst>
                <a:gd name="T0" fmla="*/ 6 w 7"/>
                <a:gd name="T1" fmla="*/ 10 h 11"/>
                <a:gd name="T2" fmla="*/ 6 w 7"/>
                <a:gd name="T3" fmla="*/ 10 h 11"/>
                <a:gd name="T4" fmla="*/ 4 w 7"/>
                <a:gd name="T5" fmla="*/ 11 h 11"/>
                <a:gd name="T6" fmla="*/ 3 w 7"/>
                <a:gd name="T7" fmla="*/ 10 h 11"/>
                <a:gd name="T8" fmla="*/ 0 w 7"/>
                <a:gd name="T9" fmla="*/ 8 h 11"/>
                <a:gd name="T10" fmla="*/ 0 w 7"/>
                <a:gd name="T11" fmla="*/ 5 h 11"/>
                <a:gd name="T12" fmla="*/ 0 w 7"/>
                <a:gd name="T13" fmla="*/ 5 h 11"/>
                <a:gd name="T14" fmla="*/ 0 w 7"/>
                <a:gd name="T15" fmla="*/ 1 h 11"/>
                <a:gd name="T16" fmla="*/ 2 w 7"/>
                <a:gd name="T17" fmla="*/ 0 h 11"/>
                <a:gd name="T18" fmla="*/ 4 w 7"/>
                <a:gd name="T19" fmla="*/ 0 h 11"/>
                <a:gd name="T20" fmla="*/ 4 w 7"/>
                <a:gd name="T21" fmla="*/ 0 h 11"/>
                <a:gd name="T22" fmla="*/ 6 w 7"/>
                <a:gd name="T23" fmla="*/ 1 h 11"/>
                <a:gd name="T24" fmla="*/ 7 w 7"/>
                <a:gd name="T25" fmla="*/ 4 h 11"/>
                <a:gd name="T26" fmla="*/ 6 w 7"/>
                <a:gd name="T2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1">
                  <a:moveTo>
                    <a:pt x="6" y="10"/>
                  </a:moveTo>
                  <a:lnTo>
                    <a:pt x="6" y="10"/>
                  </a:lnTo>
                  <a:lnTo>
                    <a:pt x="4" y="11"/>
                  </a:lnTo>
                  <a:lnTo>
                    <a:pt x="3" y="10"/>
                  </a:lnTo>
                  <a:lnTo>
                    <a:pt x="0" y="8"/>
                  </a:lnTo>
                  <a:lnTo>
                    <a:pt x="0" y="5"/>
                  </a:lnTo>
                  <a:lnTo>
                    <a:pt x="0" y="5"/>
                  </a:lnTo>
                  <a:lnTo>
                    <a:pt x="0" y="1"/>
                  </a:lnTo>
                  <a:lnTo>
                    <a:pt x="2" y="0"/>
                  </a:lnTo>
                  <a:lnTo>
                    <a:pt x="4" y="0"/>
                  </a:lnTo>
                  <a:lnTo>
                    <a:pt x="4" y="0"/>
                  </a:lnTo>
                  <a:lnTo>
                    <a:pt x="6" y="1"/>
                  </a:lnTo>
                  <a:lnTo>
                    <a:pt x="7" y="4"/>
                  </a:lnTo>
                  <a:lnTo>
                    <a:pt x="6" y="10"/>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66" name="Freeform 1630"/>
            <p:cNvSpPr>
              <a:spLocks/>
            </p:cNvSpPr>
            <p:nvPr/>
          </p:nvSpPr>
          <p:spPr bwMode="auto">
            <a:xfrm>
              <a:off x="2425700" y="5210604"/>
              <a:ext cx="163513" cy="1096963"/>
            </a:xfrm>
            <a:custGeom>
              <a:avLst/>
              <a:gdLst>
                <a:gd name="T0" fmla="*/ 61 w 103"/>
                <a:gd name="T1" fmla="*/ 690 h 691"/>
                <a:gd name="T2" fmla="*/ 35 w 103"/>
                <a:gd name="T3" fmla="*/ 688 h 691"/>
                <a:gd name="T4" fmla="*/ 23 w 103"/>
                <a:gd name="T5" fmla="*/ 684 h 691"/>
                <a:gd name="T6" fmla="*/ 20 w 103"/>
                <a:gd name="T7" fmla="*/ 669 h 691"/>
                <a:gd name="T8" fmla="*/ 20 w 103"/>
                <a:gd name="T9" fmla="*/ 652 h 691"/>
                <a:gd name="T10" fmla="*/ 14 w 103"/>
                <a:gd name="T11" fmla="*/ 652 h 691"/>
                <a:gd name="T12" fmla="*/ 6 w 103"/>
                <a:gd name="T13" fmla="*/ 656 h 691"/>
                <a:gd name="T14" fmla="*/ 1 w 103"/>
                <a:gd name="T15" fmla="*/ 651 h 691"/>
                <a:gd name="T16" fmla="*/ 1 w 103"/>
                <a:gd name="T17" fmla="*/ 629 h 691"/>
                <a:gd name="T18" fmla="*/ 14 w 103"/>
                <a:gd name="T19" fmla="*/ 610 h 691"/>
                <a:gd name="T20" fmla="*/ 19 w 103"/>
                <a:gd name="T21" fmla="*/ 598 h 691"/>
                <a:gd name="T22" fmla="*/ 26 w 103"/>
                <a:gd name="T23" fmla="*/ 571 h 691"/>
                <a:gd name="T24" fmla="*/ 28 w 103"/>
                <a:gd name="T25" fmla="*/ 564 h 691"/>
                <a:gd name="T26" fmla="*/ 28 w 103"/>
                <a:gd name="T27" fmla="*/ 535 h 691"/>
                <a:gd name="T28" fmla="*/ 28 w 103"/>
                <a:gd name="T29" fmla="*/ 529 h 691"/>
                <a:gd name="T30" fmla="*/ 35 w 103"/>
                <a:gd name="T31" fmla="*/ 520 h 691"/>
                <a:gd name="T32" fmla="*/ 28 w 103"/>
                <a:gd name="T33" fmla="*/ 513 h 691"/>
                <a:gd name="T34" fmla="*/ 28 w 103"/>
                <a:gd name="T35" fmla="*/ 512 h 691"/>
                <a:gd name="T36" fmla="*/ 38 w 103"/>
                <a:gd name="T37" fmla="*/ 509 h 691"/>
                <a:gd name="T38" fmla="*/ 32 w 103"/>
                <a:gd name="T39" fmla="*/ 503 h 691"/>
                <a:gd name="T40" fmla="*/ 23 w 103"/>
                <a:gd name="T41" fmla="*/ 494 h 691"/>
                <a:gd name="T42" fmla="*/ 26 w 103"/>
                <a:gd name="T43" fmla="*/ 487 h 691"/>
                <a:gd name="T44" fmla="*/ 29 w 103"/>
                <a:gd name="T45" fmla="*/ 478 h 691"/>
                <a:gd name="T46" fmla="*/ 23 w 103"/>
                <a:gd name="T47" fmla="*/ 461 h 691"/>
                <a:gd name="T48" fmla="*/ 26 w 103"/>
                <a:gd name="T49" fmla="*/ 441 h 691"/>
                <a:gd name="T50" fmla="*/ 29 w 103"/>
                <a:gd name="T51" fmla="*/ 415 h 691"/>
                <a:gd name="T52" fmla="*/ 32 w 103"/>
                <a:gd name="T53" fmla="*/ 403 h 691"/>
                <a:gd name="T54" fmla="*/ 36 w 103"/>
                <a:gd name="T55" fmla="*/ 390 h 691"/>
                <a:gd name="T56" fmla="*/ 36 w 103"/>
                <a:gd name="T57" fmla="*/ 357 h 691"/>
                <a:gd name="T58" fmla="*/ 41 w 103"/>
                <a:gd name="T59" fmla="*/ 341 h 691"/>
                <a:gd name="T60" fmla="*/ 48 w 103"/>
                <a:gd name="T61" fmla="*/ 331 h 691"/>
                <a:gd name="T62" fmla="*/ 51 w 103"/>
                <a:gd name="T63" fmla="*/ 315 h 691"/>
                <a:gd name="T64" fmla="*/ 54 w 103"/>
                <a:gd name="T65" fmla="*/ 300 h 691"/>
                <a:gd name="T66" fmla="*/ 54 w 103"/>
                <a:gd name="T67" fmla="*/ 280 h 691"/>
                <a:gd name="T68" fmla="*/ 51 w 103"/>
                <a:gd name="T69" fmla="*/ 242 h 691"/>
                <a:gd name="T70" fmla="*/ 51 w 103"/>
                <a:gd name="T71" fmla="*/ 225 h 691"/>
                <a:gd name="T72" fmla="*/ 72 w 103"/>
                <a:gd name="T73" fmla="*/ 152 h 691"/>
                <a:gd name="T74" fmla="*/ 75 w 103"/>
                <a:gd name="T75" fmla="*/ 128 h 691"/>
                <a:gd name="T76" fmla="*/ 80 w 103"/>
                <a:gd name="T77" fmla="*/ 121 h 691"/>
                <a:gd name="T78" fmla="*/ 101 w 103"/>
                <a:gd name="T79" fmla="*/ 96 h 691"/>
                <a:gd name="T80" fmla="*/ 103 w 103"/>
                <a:gd name="T81" fmla="*/ 90 h 691"/>
                <a:gd name="T82" fmla="*/ 91 w 103"/>
                <a:gd name="T83" fmla="*/ 87 h 691"/>
                <a:gd name="T84" fmla="*/ 90 w 103"/>
                <a:gd name="T85" fmla="*/ 81 h 691"/>
                <a:gd name="T86" fmla="*/ 80 w 103"/>
                <a:gd name="T87" fmla="*/ 47 h 691"/>
                <a:gd name="T88" fmla="*/ 80 w 103"/>
                <a:gd name="T89" fmla="*/ 35 h 691"/>
                <a:gd name="T90" fmla="*/ 70 w 103"/>
                <a:gd name="T91" fmla="*/ 21 h 691"/>
                <a:gd name="T92" fmla="*/ 68 w 103"/>
                <a:gd name="T93" fmla="*/ 10 h 691"/>
                <a:gd name="T94" fmla="*/ 65 w 103"/>
                <a:gd name="T95" fmla="*/ 0 h 691"/>
                <a:gd name="T96" fmla="*/ 46 w 103"/>
                <a:gd name="T97" fmla="*/ 12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 h="691">
                  <a:moveTo>
                    <a:pt x="70" y="691"/>
                  </a:moveTo>
                  <a:lnTo>
                    <a:pt x="70" y="691"/>
                  </a:lnTo>
                  <a:lnTo>
                    <a:pt x="61" y="690"/>
                  </a:lnTo>
                  <a:lnTo>
                    <a:pt x="51" y="688"/>
                  </a:lnTo>
                  <a:lnTo>
                    <a:pt x="51" y="688"/>
                  </a:lnTo>
                  <a:lnTo>
                    <a:pt x="35" y="688"/>
                  </a:lnTo>
                  <a:lnTo>
                    <a:pt x="28" y="687"/>
                  </a:lnTo>
                  <a:lnTo>
                    <a:pt x="25" y="685"/>
                  </a:lnTo>
                  <a:lnTo>
                    <a:pt x="23" y="684"/>
                  </a:lnTo>
                  <a:lnTo>
                    <a:pt x="23" y="684"/>
                  </a:lnTo>
                  <a:lnTo>
                    <a:pt x="20" y="677"/>
                  </a:lnTo>
                  <a:lnTo>
                    <a:pt x="20" y="669"/>
                  </a:lnTo>
                  <a:lnTo>
                    <a:pt x="20" y="656"/>
                  </a:lnTo>
                  <a:lnTo>
                    <a:pt x="20" y="656"/>
                  </a:lnTo>
                  <a:lnTo>
                    <a:pt x="20" y="652"/>
                  </a:lnTo>
                  <a:lnTo>
                    <a:pt x="19" y="651"/>
                  </a:lnTo>
                  <a:lnTo>
                    <a:pt x="17" y="651"/>
                  </a:lnTo>
                  <a:lnTo>
                    <a:pt x="14" y="652"/>
                  </a:lnTo>
                  <a:lnTo>
                    <a:pt x="14" y="652"/>
                  </a:lnTo>
                  <a:lnTo>
                    <a:pt x="9" y="656"/>
                  </a:lnTo>
                  <a:lnTo>
                    <a:pt x="6" y="656"/>
                  </a:lnTo>
                  <a:lnTo>
                    <a:pt x="3" y="655"/>
                  </a:lnTo>
                  <a:lnTo>
                    <a:pt x="3" y="655"/>
                  </a:lnTo>
                  <a:lnTo>
                    <a:pt x="1" y="651"/>
                  </a:lnTo>
                  <a:lnTo>
                    <a:pt x="0" y="642"/>
                  </a:lnTo>
                  <a:lnTo>
                    <a:pt x="0" y="633"/>
                  </a:lnTo>
                  <a:lnTo>
                    <a:pt x="1" y="629"/>
                  </a:lnTo>
                  <a:lnTo>
                    <a:pt x="4" y="625"/>
                  </a:lnTo>
                  <a:lnTo>
                    <a:pt x="4" y="625"/>
                  </a:lnTo>
                  <a:lnTo>
                    <a:pt x="14" y="610"/>
                  </a:lnTo>
                  <a:lnTo>
                    <a:pt x="17" y="604"/>
                  </a:lnTo>
                  <a:lnTo>
                    <a:pt x="19" y="598"/>
                  </a:lnTo>
                  <a:lnTo>
                    <a:pt x="19" y="598"/>
                  </a:lnTo>
                  <a:lnTo>
                    <a:pt x="20" y="585"/>
                  </a:lnTo>
                  <a:lnTo>
                    <a:pt x="22" y="578"/>
                  </a:lnTo>
                  <a:lnTo>
                    <a:pt x="26" y="571"/>
                  </a:lnTo>
                  <a:lnTo>
                    <a:pt x="26" y="571"/>
                  </a:lnTo>
                  <a:lnTo>
                    <a:pt x="28" y="568"/>
                  </a:lnTo>
                  <a:lnTo>
                    <a:pt x="28" y="564"/>
                  </a:lnTo>
                  <a:lnTo>
                    <a:pt x="29" y="552"/>
                  </a:lnTo>
                  <a:lnTo>
                    <a:pt x="28" y="542"/>
                  </a:lnTo>
                  <a:lnTo>
                    <a:pt x="28" y="535"/>
                  </a:lnTo>
                  <a:lnTo>
                    <a:pt x="28" y="535"/>
                  </a:lnTo>
                  <a:lnTo>
                    <a:pt x="26" y="532"/>
                  </a:lnTo>
                  <a:lnTo>
                    <a:pt x="28" y="529"/>
                  </a:lnTo>
                  <a:lnTo>
                    <a:pt x="30" y="526"/>
                  </a:lnTo>
                  <a:lnTo>
                    <a:pt x="33" y="522"/>
                  </a:lnTo>
                  <a:lnTo>
                    <a:pt x="35" y="520"/>
                  </a:lnTo>
                  <a:lnTo>
                    <a:pt x="33" y="519"/>
                  </a:lnTo>
                  <a:lnTo>
                    <a:pt x="33" y="519"/>
                  </a:lnTo>
                  <a:lnTo>
                    <a:pt x="28" y="513"/>
                  </a:lnTo>
                  <a:lnTo>
                    <a:pt x="26" y="513"/>
                  </a:lnTo>
                  <a:lnTo>
                    <a:pt x="28" y="512"/>
                  </a:lnTo>
                  <a:lnTo>
                    <a:pt x="28" y="512"/>
                  </a:lnTo>
                  <a:lnTo>
                    <a:pt x="33" y="510"/>
                  </a:lnTo>
                  <a:lnTo>
                    <a:pt x="38" y="509"/>
                  </a:lnTo>
                  <a:lnTo>
                    <a:pt x="38" y="509"/>
                  </a:lnTo>
                  <a:lnTo>
                    <a:pt x="36" y="506"/>
                  </a:lnTo>
                  <a:lnTo>
                    <a:pt x="36" y="506"/>
                  </a:lnTo>
                  <a:lnTo>
                    <a:pt x="32" y="503"/>
                  </a:lnTo>
                  <a:lnTo>
                    <a:pt x="28" y="500"/>
                  </a:lnTo>
                  <a:lnTo>
                    <a:pt x="25" y="496"/>
                  </a:lnTo>
                  <a:lnTo>
                    <a:pt x="23" y="494"/>
                  </a:lnTo>
                  <a:lnTo>
                    <a:pt x="25" y="491"/>
                  </a:lnTo>
                  <a:lnTo>
                    <a:pt x="25" y="491"/>
                  </a:lnTo>
                  <a:lnTo>
                    <a:pt x="26" y="487"/>
                  </a:lnTo>
                  <a:lnTo>
                    <a:pt x="29" y="486"/>
                  </a:lnTo>
                  <a:lnTo>
                    <a:pt x="30" y="483"/>
                  </a:lnTo>
                  <a:lnTo>
                    <a:pt x="29" y="478"/>
                  </a:lnTo>
                  <a:lnTo>
                    <a:pt x="29" y="478"/>
                  </a:lnTo>
                  <a:lnTo>
                    <a:pt x="25" y="467"/>
                  </a:lnTo>
                  <a:lnTo>
                    <a:pt x="23" y="461"/>
                  </a:lnTo>
                  <a:lnTo>
                    <a:pt x="23" y="455"/>
                  </a:lnTo>
                  <a:lnTo>
                    <a:pt x="23" y="455"/>
                  </a:lnTo>
                  <a:lnTo>
                    <a:pt x="26" y="441"/>
                  </a:lnTo>
                  <a:lnTo>
                    <a:pt x="28" y="423"/>
                  </a:lnTo>
                  <a:lnTo>
                    <a:pt x="28" y="423"/>
                  </a:lnTo>
                  <a:lnTo>
                    <a:pt x="29" y="415"/>
                  </a:lnTo>
                  <a:lnTo>
                    <a:pt x="30" y="407"/>
                  </a:lnTo>
                  <a:lnTo>
                    <a:pt x="30" y="407"/>
                  </a:lnTo>
                  <a:lnTo>
                    <a:pt x="32" y="403"/>
                  </a:lnTo>
                  <a:lnTo>
                    <a:pt x="33" y="397"/>
                  </a:lnTo>
                  <a:lnTo>
                    <a:pt x="36" y="390"/>
                  </a:lnTo>
                  <a:lnTo>
                    <a:pt x="36" y="390"/>
                  </a:lnTo>
                  <a:lnTo>
                    <a:pt x="38" y="386"/>
                  </a:lnTo>
                  <a:lnTo>
                    <a:pt x="38" y="377"/>
                  </a:lnTo>
                  <a:lnTo>
                    <a:pt x="36" y="357"/>
                  </a:lnTo>
                  <a:lnTo>
                    <a:pt x="36" y="357"/>
                  </a:lnTo>
                  <a:lnTo>
                    <a:pt x="38" y="348"/>
                  </a:lnTo>
                  <a:lnTo>
                    <a:pt x="41" y="341"/>
                  </a:lnTo>
                  <a:lnTo>
                    <a:pt x="43" y="335"/>
                  </a:lnTo>
                  <a:lnTo>
                    <a:pt x="48" y="331"/>
                  </a:lnTo>
                  <a:lnTo>
                    <a:pt x="48" y="331"/>
                  </a:lnTo>
                  <a:lnTo>
                    <a:pt x="49" y="328"/>
                  </a:lnTo>
                  <a:lnTo>
                    <a:pt x="51" y="323"/>
                  </a:lnTo>
                  <a:lnTo>
                    <a:pt x="51" y="315"/>
                  </a:lnTo>
                  <a:lnTo>
                    <a:pt x="52" y="307"/>
                  </a:lnTo>
                  <a:lnTo>
                    <a:pt x="54" y="300"/>
                  </a:lnTo>
                  <a:lnTo>
                    <a:pt x="54" y="300"/>
                  </a:lnTo>
                  <a:lnTo>
                    <a:pt x="54" y="297"/>
                  </a:lnTo>
                  <a:lnTo>
                    <a:pt x="55" y="293"/>
                  </a:lnTo>
                  <a:lnTo>
                    <a:pt x="54" y="280"/>
                  </a:lnTo>
                  <a:lnTo>
                    <a:pt x="52" y="258"/>
                  </a:lnTo>
                  <a:lnTo>
                    <a:pt x="52" y="258"/>
                  </a:lnTo>
                  <a:lnTo>
                    <a:pt x="51" y="242"/>
                  </a:lnTo>
                  <a:lnTo>
                    <a:pt x="49" y="233"/>
                  </a:lnTo>
                  <a:lnTo>
                    <a:pt x="51" y="225"/>
                  </a:lnTo>
                  <a:lnTo>
                    <a:pt x="51" y="225"/>
                  </a:lnTo>
                  <a:lnTo>
                    <a:pt x="62" y="189"/>
                  </a:lnTo>
                  <a:lnTo>
                    <a:pt x="72" y="152"/>
                  </a:lnTo>
                  <a:lnTo>
                    <a:pt x="72" y="152"/>
                  </a:lnTo>
                  <a:lnTo>
                    <a:pt x="72" y="145"/>
                  </a:lnTo>
                  <a:lnTo>
                    <a:pt x="74" y="136"/>
                  </a:lnTo>
                  <a:lnTo>
                    <a:pt x="75" y="128"/>
                  </a:lnTo>
                  <a:lnTo>
                    <a:pt x="78" y="123"/>
                  </a:lnTo>
                  <a:lnTo>
                    <a:pt x="80" y="121"/>
                  </a:lnTo>
                  <a:lnTo>
                    <a:pt x="80" y="121"/>
                  </a:lnTo>
                  <a:lnTo>
                    <a:pt x="87" y="113"/>
                  </a:lnTo>
                  <a:lnTo>
                    <a:pt x="96" y="105"/>
                  </a:lnTo>
                  <a:lnTo>
                    <a:pt x="101" y="96"/>
                  </a:lnTo>
                  <a:lnTo>
                    <a:pt x="103" y="93"/>
                  </a:lnTo>
                  <a:lnTo>
                    <a:pt x="103" y="90"/>
                  </a:lnTo>
                  <a:lnTo>
                    <a:pt x="103" y="90"/>
                  </a:lnTo>
                  <a:lnTo>
                    <a:pt x="98" y="89"/>
                  </a:lnTo>
                  <a:lnTo>
                    <a:pt x="96" y="89"/>
                  </a:lnTo>
                  <a:lnTo>
                    <a:pt x="91" y="87"/>
                  </a:lnTo>
                  <a:lnTo>
                    <a:pt x="91" y="84"/>
                  </a:lnTo>
                  <a:lnTo>
                    <a:pt x="90" y="81"/>
                  </a:lnTo>
                  <a:lnTo>
                    <a:pt x="90" y="81"/>
                  </a:lnTo>
                  <a:lnTo>
                    <a:pt x="85" y="63"/>
                  </a:lnTo>
                  <a:lnTo>
                    <a:pt x="80" y="47"/>
                  </a:lnTo>
                  <a:lnTo>
                    <a:pt x="80" y="47"/>
                  </a:lnTo>
                  <a:lnTo>
                    <a:pt x="78" y="41"/>
                  </a:lnTo>
                  <a:lnTo>
                    <a:pt x="78" y="38"/>
                  </a:lnTo>
                  <a:lnTo>
                    <a:pt x="80" y="35"/>
                  </a:lnTo>
                  <a:lnTo>
                    <a:pt x="77" y="31"/>
                  </a:lnTo>
                  <a:lnTo>
                    <a:pt x="77" y="31"/>
                  </a:lnTo>
                  <a:lnTo>
                    <a:pt x="70" y="21"/>
                  </a:lnTo>
                  <a:lnTo>
                    <a:pt x="68" y="16"/>
                  </a:lnTo>
                  <a:lnTo>
                    <a:pt x="68" y="10"/>
                  </a:lnTo>
                  <a:lnTo>
                    <a:pt x="68" y="10"/>
                  </a:lnTo>
                  <a:lnTo>
                    <a:pt x="70" y="3"/>
                  </a:lnTo>
                  <a:lnTo>
                    <a:pt x="68" y="0"/>
                  </a:lnTo>
                  <a:lnTo>
                    <a:pt x="65" y="0"/>
                  </a:lnTo>
                  <a:lnTo>
                    <a:pt x="65" y="0"/>
                  </a:lnTo>
                  <a:lnTo>
                    <a:pt x="58" y="3"/>
                  </a:lnTo>
                  <a:lnTo>
                    <a:pt x="46" y="12"/>
                  </a:lnTo>
                  <a:lnTo>
                    <a:pt x="70" y="691"/>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67" name="Freeform 1631"/>
            <p:cNvSpPr>
              <a:spLocks/>
            </p:cNvSpPr>
            <p:nvPr/>
          </p:nvSpPr>
          <p:spPr bwMode="auto">
            <a:xfrm>
              <a:off x="2425700" y="5210604"/>
              <a:ext cx="163513" cy="1096963"/>
            </a:xfrm>
            <a:custGeom>
              <a:avLst/>
              <a:gdLst>
                <a:gd name="T0" fmla="*/ 61 w 103"/>
                <a:gd name="T1" fmla="*/ 690 h 691"/>
                <a:gd name="T2" fmla="*/ 35 w 103"/>
                <a:gd name="T3" fmla="*/ 688 h 691"/>
                <a:gd name="T4" fmla="*/ 23 w 103"/>
                <a:gd name="T5" fmla="*/ 684 h 691"/>
                <a:gd name="T6" fmla="*/ 20 w 103"/>
                <a:gd name="T7" fmla="*/ 669 h 691"/>
                <a:gd name="T8" fmla="*/ 20 w 103"/>
                <a:gd name="T9" fmla="*/ 652 h 691"/>
                <a:gd name="T10" fmla="*/ 14 w 103"/>
                <a:gd name="T11" fmla="*/ 652 h 691"/>
                <a:gd name="T12" fmla="*/ 6 w 103"/>
                <a:gd name="T13" fmla="*/ 656 h 691"/>
                <a:gd name="T14" fmla="*/ 1 w 103"/>
                <a:gd name="T15" fmla="*/ 651 h 691"/>
                <a:gd name="T16" fmla="*/ 1 w 103"/>
                <a:gd name="T17" fmla="*/ 629 h 691"/>
                <a:gd name="T18" fmla="*/ 14 w 103"/>
                <a:gd name="T19" fmla="*/ 610 h 691"/>
                <a:gd name="T20" fmla="*/ 19 w 103"/>
                <a:gd name="T21" fmla="*/ 598 h 691"/>
                <a:gd name="T22" fmla="*/ 26 w 103"/>
                <a:gd name="T23" fmla="*/ 571 h 691"/>
                <a:gd name="T24" fmla="*/ 28 w 103"/>
                <a:gd name="T25" fmla="*/ 564 h 691"/>
                <a:gd name="T26" fmla="*/ 28 w 103"/>
                <a:gd name="T27" fmla="*/ 535 h 691"/>
                <a:gd name="T28" fmla="*/ 28 w 103"/>
                <a:gd name="T29" fmla="*/ 529 h 691"/>
                <a:gd name="T30" fmla="*/ 35 w 103"/>
                <a:gd name="T31" fmla="*/ 520 h 691"/>
                <a:gd name="T32" fmla="*/ 28 w 103"/>
                <a:gd name="T33" fmla="*/ 513 h 691"/>
                <a:gd name="T34" fmla="*/ 28 w 103"/>
                <a:gd name="T35" fmla="*/ 512 h 691"/>
                <a:gd name="T36" fmla="*/ 38 w 103"/>
                <a:gd name="T37" fmla="*/ 509 h 691"/>
                <a:gd name="T38" fmla="*/ 32 w 103"/>
                <a:gd name="T39" fmla="*/ 503 h 691"/>
                <a:gd name="T40" fmla="*/ 23 w 103"/>
                <a:gd name="T41" fmla="*/ 494 h 691"/>
                <a:gd name="T42" fmla="*/ 26 w 103"/>
                <a:gd name="T43" fmla="*/ 487 h 691"/>
                <a:gd name="T44" fmla="*/ 29 w 103"/>
                <a:gd name="T45" fmla="*/ 478 h 691"/>
                <a:gd name="T46" fmla="*/ 23 w 103"/>
                <a:gd name="T47" fmla="*/ 461 h 691"/>
                <a:gd name="T48" fmla="*/ 26 w 103"/>
                <a:gd name="T49" fmla="*/ 441 h 691"/>
                <a:gd name="T50" fmla="*/ 29 w 103"/>
                <a:gd name="T51" fmla="*/ 415 h 691"/>
                <a:gd name="T52" fmla="*/ 32 w 103"/>
                <a:gd name="T53" fmla="*/ 403 h 691"/>
                <a:gd name="T54" fmla="*/ 36 w 103"/>
                <a:gd name="T55" fmla="*/ 390 h 691"/>
                <a:gd name="T56" fmla="*/ 36 w 103"/>
                <a:gd name="T57" fmla="*/ 357 h 691"/>
                <a:gd name="T58" fmla="*/ 41 w 103"/>
                <a:gd name="T59" fmla="*/ 341 h 691"/>
                <a:gd name="T60" fmla="*/ 48 w 103"/>
                <a:gd name="T61" fmla="*/ 331 h 691"/>
                <a:gd name="T62" fmla="*/ 51 w 103"/>
                <a:gd name="T63" fmla="*/ 315 h 691"/>
                <a:gd name="T64" fmla="*/ 54 w 103"/>
                <a:gd name="T65" fmla="*/ 300 h 691"/>
                <a:gd name="T66" fmla="*/ 54 w 103"/>
                <a:gd name="T67" fmla="*/ 280 h 691"/>
                <a:gd name="T68" fmla="*/ 51 w 103"/>
                <a:gd name="T69" fmla="*/ 242 h 691"/>
                <a:gd name="T70" fmla="*/ 51 w 103"/>
                <a:gd name="T71" fmla="*/ 225 h 691"/>
                <a:gd name="T72" fmla="*/ 72 w 103"/>
                <a:gd name="T73" fmla="*/ 152 h 691"/>
                <a:gd name="T74" fmla="*/ 75 w 103"/>
                <a:gd name="T75" fmla="*/ 128 h 691"/>
                <a:gd name="T76" fmla="*/ 80 w 103"/>
                <a:gd name="T77" fmla="*/ 121 h 691"/>
                <a:gd name="T78" fmla="*/ 101 w 103"/>
                <a:gd name="T79" fmla="*/ 96 h 691"/>
                <a:gd name="T80" fmla="*/ 103 w 103"/>
                <a:gd name="T81" fmla="*/ 90 h 691"/>
                <a:gd name="T82" fmla="*/ 91 w 103"/>
                <a:gd name="T83" fmla="*/ 87 h 691"/>
                <a:gd name="T84" fmla="*/ 90 w 103"/>
                <a:gd name="T85" fmla="*/ 81 h 691"/>
                <a:gd name="T86" fmla="*/ 80 w 103"/>
                <a:gd name="T87" fmla="*/ 47 h 691"/>
                <a:gd name="T88" fmla="*/ 80 w 103"/>
                <a:gd name="T89" fmla="*/ 35 h 691"/>
                <a:gd name="T90" fmla="*/ 70 w 103"/>
                <a:gd name="T91" fmla="*/ 21 h 691"/>
                <a:gd name="T92" fmla="*/ 68 w 103"/>
                <a:gd name="T93" fmla="*/ 10 h 691"/>
                <a:gd name="T94" fmla="*/ 65 w 103"/>
                <a:gd name="T95" fmla="*/ 0 h 691"/>
                <a:gd name="T96" fmla="*/ 46 w 103"/>
                <a:gd name="T97" fmla="*/ 12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 h="691">
                  <a:moveTo>
                    <a:pt x="70" y="691"/>
                  </a:moveTo>
                  <a:lnTo>
                    <a:pt x="70" y="691"/>
                  </a:lnTo>
                  <a:lnTo>
                    <a:pt x="61" y="690"/>
                  </a:lnTo>
                  <a:lnTo>
                    <a:pt x="51" y="688"/>
                  </a:lnTo>
                  <a:lnTo>
                    <a:pt x="51" y="688"/>
                  </a:lnTo>
                  <a:lnTo>
                    <a:pt x="35" y="688"/>
                  </a:lnTo>
                  <a:lnTo>
                    <a:pt x="28" y="687"/>
                  </a:lnTo>
                  <a:lnTo>
                    <a:pt x="25" y="685"/>
                  </a:lnTo>
                  <a:lnTo>
                    <a:pt x="23" y="684"/>
                  </a:lnTo>
                  <a:lnTo>
                    <a:pt x="23" y="684"/>
                  </a:lnTo>
                  <a:lnTo>
                    <a:pt x="20" y="677"/>
                  </a:lnTo>
                  <a:lnTo>
                    <a:pt x="20" y="669"/>
                  </a:lnTo>
                  <a:lnTo>
                    <a:pt x="20" y="656"/>
                  </a:lnTo>
                  <a:lnTo>
                    <a:pt x="20" y="656"/>
                  </a:lnTo>
                  <a:lnTo>
                    <a:pt x="20" y="652"/>
                  </a:lnTo>
                  <a:lnTo>
                    <a:pt x="19" y="651"/>
                  </a:lnTo>
                  <a:lnTo>
                    <a:pt x="17" y="651"/>
                  </a:lnTo>
                  <a:lnTo>
                    <a:pt x="14" y="652"/>
                  </a:lnTo>
                  <a:lnTo>
                    <a:pt x="14" y="652"/>
                  </a:lnTo>
                  <a:lnTo>
                    <a:pt x="9" y="656"/>
                  </a:lnTo>
                  <a:lnTo>
                    <a:pt x="6" y="656"/>
                  </a:lnTo>
                  <a:lnTo>
                    <a:pt x="3" y="655"/>
                  </a:lnTo>
                  <a:lnTo>
                    <a:pt x="3" y="655"/>
                  </a:lnTo>
                  <a:lnTo>
                    <a:pt x="1" y="651"/>
                  </a:lnTo>
                  <a:lnTo>
                    <a:pt x="0" y="642"/>
                  </a:lnTo>
                  <a:lnTo>
                    <a:pt x="0" y="633"/>
                  </a:lnTo>
                  <a:lnTo>
                    <a:pt x="1" y="629"/>
                  </a:lnTo>
                  <a:lnTo>
                    <a:pt x="4" y="625"/>
                  </a:lnTo>
                  <a:lnTo>
                    <a:pt x="4" y="625"/>
                  </a:lnTo>
                  <a:lnTo>
                    <a:pt x="14" y="610"/>
                  </a:lnTo>
                  <a:lnTo>
                    <a:pt x="17" y="604"/>
                  </a:lnTo>
                  <a:lnTo>
                    <a:pt x="19" y="598"/>
                  </a:lnTo>
                  <a:lnTo>
                    <a:pt x="19" y="598"/>
                  </a:lnTo>
                  <a:lnTo>
                    <a:pt x="20" y="585"/>
                  </a:lnTo>
                  <a:lnTo>
                    <a:pt x="22" y="578"/>
                  </a:lnTo>
                  <a:lnTo>
                    <a:pt x="26" y="571"/>
                  </a:lnTo>
                  <a:lnTo>
                    <a:pt x="26" y="571"/>
                  </a:lnTo>
                  <a:lnTo>
                    <a:pt x="28" y="568"/>
                  </a:lnTo>
                  <a:lnTo>
                    <a:pt x="28" y="564"/>
                  </a:lnTo>
                  <a:lnTo>
                    <a:pt x="29" y="552"/>
                  </a:lnTo>
                  <a:lnTo>
                    <a:pt x="28" y="542"/>
                  </a:lnTo>
                  <a:lnTo>
                    <a:pt x="28" y="535"/>
                  </a:lnTo>
                  <a:lnTo>
                    <a:pt x="28" y="535"/>
                  </a:lnTo>
                  <a:lnTo>
                    <a:pt x="26" y="532"/>
                  </a:lnTo>
                  <a:lnTo>
                    <a:pt x="28" y="529"/>
                  </a:lnTo>
                  <a:lnTo>
                    <a:pt x="30" y="526"/>
                  </a:lnTo>
                  <a:lnTo>
                    <a:pt x="33" y="522"/>
                  </a:lnTo>
                  <a:lnTo>
                    <a:pt x="35" y="520"/>
                  </a:lnTo>
                  <a:lnTo>
                    <a:pt x="33" y="519"/>
                  </a:lnTo>
                  <a:lnTo>
                    <a:pt x="33" y="519"/>
                  </a:lnTo>
                  <a:lnTo>
                    <a:pt x="28" y="513"/>
                  </a:lnTo>
                  <a:lnTo>
                    <a:pt x="26" y="513"/>
                  </a:lnTo>
                  <a:lnTo>
                    <a:pt x="28" y="512"/>
                  </a:lnTo>
                  <a:lnTo>
                    <a:pt x="28" y="512"/>
                  </a:lnTo>
                  <a:lnTo>
                    <a:pt x="33" y="510"/>
                  </a:lnTo>
                  <a:lnTo>
                    <a:pt x="38" y="509"/>
                  </a:lnTo>
                  <a:lnTo>
                    <a:pt x="38" y="509"/>
                  </a:lnTo>
                  <a:lnTo>
                    <a:pt x="36" y="506"/>
                  </a:lnTo>
                  <a:lnTo>
                    <a:pt x="36" y="506"/>
                  </a:lnTo>
                  <a:lnTo>
                    <a:pt x="32" y="503"/>
                  </a:lnTo>
                  <a:lnTo>
                    <a:pt x="28" y="500"/>
                  </a:lnTo>
                  <a:lnTo>
                    <a:pt x="25" y="496"/>
                  </a:lnTo>
                  <a:lnTo>
                    <a:pt x="23" y="494"/>
                  </a:lnTo>
                  <a:lnTo>
                    <a:pt x="25" y="491"/>
                  </a:lnTo>
                  <a:lnTo>
                    <a:pt x="25" y="491"/>
                  </a:lnTo>
                  <a:lnTo>
                    <a:pt x="26" y="487"/>
                  </a:lnTo>
                  <a:lnTo>
                    <a:pt x="29" y="486"/>
                  </a:lnTo>
                  <a:lnTo>
                    <a:pt x="30" y="483"/>
                  </a:lnTo>
                  <a:lnTo>
                    <a:pt x="29" y="478"/>
                  </a:lnTo>
                  <a:lnTo>
                    <a:pt x="29" y="478"/>
                  </a:lnTo>
                  <a:lnTo>
                    <a:pt x="25" y="467"/>
                  </a:lnTo>
                  <a:lnTo>
                    <a:pt x="23" y="461"/>
                  </a:lnTo>
                  <a:lnTo>
                    <a:pt x="23" y="455"/>
                  </a:lnTo>
                  <a:lnTo>
                    <a:pt x="23" y="455"/>
                  </a:lnTo>
                  <a:lnTo>
                    <a:pt x="26" y="441"/>
                  </a:lnTo>
                  <a:lnTo>
                    <a:pt x="28" y="423"/>
                  </a:lnTo>
                  <a:lnTo>
                    <a:pt x="28" y="423"/>
                  </a:lnTo>
                  <a:lnTo>
                    <a:pt x="29" y="415"/>
                  </a:lnTo>
                  <a:lnTo>
                    <a:pt x="30" y="407"/>
                  </a:lnTo>
                  <a:lnTo>
                    <a:pt x="30" y="407"/>
                  </a:lnTo>
                  <a:lnTo>
                    <a:pt x="32" y="403"/>
                  </a:lnTo>
                  <a:lnTo>
                    <a:pt x="33" y="397"/>
                  </a:lnTo>
                  <a:lnTo>
                    <a:pt x="36" y="390"/>
                  </a:lnTo>
                  <a:lnTo>
                    <a:pt x="36" y="390"/>
                  </a:lnTo>
                  <a:lnTo>
                    <a:pt x="38" y="386"/>
                  </a:lnTo>
                  <a:lnTo>
                    <a:pt x="38" y="377"/>
                  </a:lnTo>
                  <a:lnTo>
                    <a:pt x="36" y="357"/>
                  </a:lnTo>
                  <a:lnTo>
                    <a:pt x="36" y="357"/>
                  </a:lnTo>
                  <a:lnTo>
                    <a:pt x="38" y="348"/>
                  </a:lnTo>
                  <a:lnTo>
                    <a:pt x="41" y="341"/>
                  </a:lnTo>
                  <a:lnTo>
                    <a:pt x="43" y="335"/>
                  </a:lnTo>
                  <a:lnTo>
                    <a:pt x="48" y="331"/>
                  </a:lnTo>
                  <a:lnTo>
                    <a:pt x="48" y="331"/>
                  </a:lnTo>
                  <a:lnTo>
                    <a:pt x="49" y="328"/>
                  </a:lnTo>
                  <a:lnTo>
                    <a:pt x="51" y="323"/>
                  </a:lnTo>
                  <a:lnTo>
                    <a:pt x="51" y="315"/>
                  </a:lnTo>
                  <a:lnTo>
                    <a:pt x="52" y="307"/>
                  </a:lnTo>
                  <a:lnTo>
                    <a:pt x="54" y="300"/>
                  </a:lnTo>
                  <a:lnTo>
                    <a:pt x="54" y="300"/>
                  </a:lnTo>
                  <a:lnTo>
                    <a:pt x="54" y="297"/>
                  </a:lnTo>
                  <a:lnTo>
                    <a:pt x="55" y="293"/>
                  </a:lnTo>
                  <a:lnTo>
                    <a:pt x="54" y="280"/>
                  </a:lnTo>
                  <a:lnTo>
                    <a:pt x="52" y="258"/>
                  </a:lnTo>
                  <a:lnTo>
                    <a:pt x="52" y="258"/>
                  </a:lnTo>
                  <a:lnTo>
                    <a:pt x="51" y="242"/>
                  </a:lnTo>
                  <a:lnTo>
                    <a:pt x="49" y="233"/>
                  </a:lnTo>
                  <a:lnTo>
                    <a:pt x="51" y="225"/>
                  </a:lnTo>
                  <a:lnTo>
                    <a:pt x="51" y="225"/>
                  </a:lnTo>
                  <a:lnTo>
                    <a:pt x="62" y="189"/>
                  </a:lnTo>
                  <a:lnTo>
                    <a:pt x="72" y="152"/>
                  </a:lnTo>
                  <a:lnTo>
                    <a:pt x="72" y="152"/>
                  </a:lnTo>
                  <a:lnTo>
                    <a:pt x="72" y="145"/>
                  </a:lnTo>
                  <a:lnTo>
                    <a:pt x="74" y="136"/>
                  </a:lnTo>
                  <a:lnTo>
                    <a:pt x="75" y="128"/>
                  </a:lnTo>
                  <a:lnTo>
                    <a:pt x="78" y="123"/>
                  </a:lnTo>
                  <a:lnTo>
                    <a:pt x="80" y="121"/>
                  </a:lnTo>
                  <a:lnTo>
                    <a:pt x="80" y="121"/>
                  </a:lnTo>
                  <a:lnTo>
                    <a:pt x="87" y="113"/>
                  </a:lnTo>
                  <a:lnTo>
                    <a:pt x="96" y="105"/>
                  </a:lnTo>
                  <a:lnTo>
                    <a:pt x="101" y="96"/>
                  </a:lnTo>
                  <a:lnTo>
                    <a:pt x="103" y="93"/>
                  </a:lnTo>
                  <a:lnTo>
                    <a:pt x="103" y="90"/>
                  </a:lnTo>
                  <a:lnTo>
                    <a:pt x="103" y="90"/>
                  </a:lnTo>
                  <a:lnTo>
                    <a:pt x="98" y="89"/>
                  </a:lnTo>
                  <a:lnTo>
                    <a:pt x="96" y="89"/>
                  </a:lnTo>
                  <a:lnTo>
                    <a:pt x="91" y="87"/>
                  </a:lnTo>
                  <a:lnTo>
                    <a:pt x="91" y="84"/>
                  </a:lnTo>
                  <a:lnTo>
                    <a:pt x="90" y="81"/>
                  </a:lnTo>
                  <a:lnTo>
                    <a:pt x="90" y="81"/>
                  </a:lnTo>
                  <a:lnTo>
                    <a:pt x="85" y="63"/>
                  </a:lnTo>
                  <a:lnTo>
                    <a:pt x="80" y="47"/>
                  </a:lnTo>
                  <a:lnTo>
                    <a:pt x="80" y="47"/>
                  </a:lnTo>
                  <a:lnTo>
                    <a:pt x="78" y="41"/>
                  </a:lnTo>
                  <a:lnTo>
                    <a:pt x="78" y="38"/>
                  </a:lnTo>
                  <a:lnTo>
                    <a:pt x="80" y="35"/>
                  </a:lnTo>
                  <a:lnTo>
                    <a:pt x="77" y="31"/>
                  </a:lnTo>
                  <a:lnTo>
                    <a:pt x="77" y="31"/>
                  </a:lnTo>
                  <a:lnTo>
                    <a:pt x="70" y="21"/>
                  </a:lnTo>
                  <a:lnTo>
                    <a:pt x="68" y="16"/>
                  </a:lnTo>
                  <a:lnTo>
                    <a:pt x="68" y="10"/>
                  </a:lnTo>
                  <a:lnTo>
                    <a:pt x="68" y="10"/>
                  </a:lnTo>
                  <a:lnTo>
                    <a:pt x="70" y="3"/>
                  </a:lnTo>
                  <a:lnTo>
                    <a:pt x="68" y="0"/>
                  </a:lnTo>
                  <a:lnTo>
                    <a:pt x="65" y="0"/>
                  </a:lnTo>
                  <a:lnTo>
                    <a:pt x="65" y="0"/>
                  </a:lnTo>
                  <a:lnTo>
                    <a:pt x="58" y="3"/>
                  </a:lnTo>
                  <a:lnTo>
                    <a:pt x="46"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68" name="Freeform 1632"/>
            <p:cNvSpPr>
              <a:spLocks noEditPoints="1"/>
            </p:cNvSpPr>
            <p:nvPr/>
          </p:nvSpPr>
          <p:spPr bwMode="auto">
            <a:xfrm>
              <a:off x="2424113" y="5209016"/>
              <a:ext cx="166688" cy="1101725"/>
            </a:xfrm>
            <a:custGeom>
              <a:avLst/>
              <a:gdLst>
                <a:gd name="T0" fmla="*/ 68 w 105"/>
                <a:gd name="T1" fmla="*/ 0 h 694"/>
                <a:gd name="T2" fmla="*/ 68 w 105"/>
                <a:gd name="T3" fmla="*/ 1 h 694"/>
                <a:gd name="T4" fmla="*/ 69 w 105"/>
                <a:gd name="T5" fmla="*/ 4 h 694"/>
                <a:gd name="T6" fmla="*/ 69 w 105"/>
                <a:gd name="T7" fmla="*/ 20 h 694"/>
                <a:gd name="T8" fmla="*/ 81 w 105"/>
                <a:gd name="T9" fmla="*/ 36 h 694"/>
                <a:gd name="T10" fmla="*/ 78 w 105"/>
                <a:gd name="T11" fmla="*/ 42 h 694"/>
                <a:gd name="T12" fmla="*/ 82 w 105"/>
                <a:gd name="T13" fmla="*/ 56 h 694"/>
                <a:gd name="T14" fmla="*/ 92 w 105"/>
                <a:gd name="T15" fmla="*/ 85 h 694"/>
                <a:gd name="T16" fmla="*/ 91 w 105"/>
                <a:gd name="T17" fmla="*/ 85 h 694"/>
                <a:gd name="T18" fmla="*/ 94 w 105"/>
                <a:gd name="T19" fmla="*/ 90 h 694"/>
                <a:gd name="T20" fmla="*/ 104 w 105"/>
                <a:gd name="T21" fmla="*/ 97 h 694"/>
                <a:gd name="T22" fmla="*/ 92 w 105"/>
                <a:gd name="T23" fmla="*/ 108 h 694"/>
                <a:gd name="T24" fmla="*/ 82 w 105"/>
                <a:gd name="T25" fmla="*/ 119 h 694"/>
                <a:gd name="T26" fmla="*/ 76 w 105"/>
                <a:gd name="T27" fmla="*/ 133 h 694"/>
                <a:gd name="T28" fmla="*/ 75 w 105"/>
                <a:gd name="T29" fmla="*/ 149 h 694"/>
                <a:gd name="T30" fmla="*/ 72 w 105"/>
                <a:gd name="T31" fmla="*/ 164 h 694"/>
                <a:gd name="T32" fmla="*/ 65 w 105"/>
                <a:gd name="T33" fmla="*/ 178 h 694"/>
                <a:gd name="T34" fmla="*/ 60 w 105"/>
                <a:gd name="T35" fmla="*/ 203 h 694"/>
                <a:gd name="T36" fmla="*/ 52 w 105"/>
                <a:gd name="T37" fmla="*/ 232 h 694"/>
                <a:gd name="T38" fmla="*/ 52 w 105"/>
                <a:gd name="T39" fmla="*/ 232 h 694"/>
                <a:gd name="T40" fmla="*/ 55 w 105"/>
                <a:gd name="T41" fmla="*/ 262 h 694"/>
                <a:gd name="T42" fmla="*/ 55 w 105"/>
                <a:gd name="T43" fmla="*/ 262 h 694"/>
                <a:gd name="T44" fmla="*/ 56 w 105"/>
                <a:gd name="T45" fmla="*/ 292 h 694"/>
                <a:gd name="T46" fmla="*/ 56 w 105"/>
                <a:gd name="T47" fmla="*/ 303 h 694"/>
                <a:gd name="T48" fmla="*/ 53 w 105"/>
                <a:gd name="T49" fmla="*/ 323 h 694"/>
                <a:gd name="T50" fmla="*/ 50 w 105"/>
                <a:gd name="T51" fmla="*/ 332 h 694"/>
                <a:gd name="T52" fmla="*/ 40 w 105"/>
                <a:gd name="T53" fmla="*/ 349 h 694"/>
                <a:gd name="T54" fmla="*/ 39 w 105"/>
                <a:gd name="T55" fmla="*/ 358 h 694"/>
                <a:gd name="T56" fmla="*/ 39 w 105"/>
                <a:gd name="T57" fmla="*/ 379 h 694"/>
                <a:gd name="T58" fmla="*/ 39 w 105"/>
                <a:gd name="T59" fmla="*/ 391 h 694"/>
                <a:gd name="T60" fmla="*/ 36 w 105"/>
                <a:gd name="T61" fmla="*/ 389 h 694"/>
                <a:gd name="T62" fmla="*/ 36 w 105"/>
                <a:gd name="T63" fmla="*/ 395 h 694"/>
                <a:gd name="T64" fmla="*/ 30 w 105"/>
                <a:gd name="T65" fmla="*/ 424 h 694"/>
                <a:gd name="T66" fmla="*/ 27 w 105"/>
                <a:gd name="T67" fmla="*/ 429 h 694"/>
                <a:gd name="T68" fmla="*/ 23 w 105"/>
                <a:gd name="T69" fmla="*/ 453 h 694"/>
                <a:gd name="T70" fmla="*/ 23 w 105"/>
                <a:gd name="T71" fmla="*/ 459 h 694"/>
                <a:gd name="T72" fmla="*/ 29 w 105"/>
                <a:gd name="T73" fmla="*/ 473 h 694"/>
                <a:gd name="T74" fmla="*/ 26 w 105"/>
                <a:gd name="T75" fmla="*/ 495 h 694"/>
                <a:gd name="T76" fmla="*/ 24 w 105"/>
                <a:gd name="T77" fmla="*/ 492 h 694"/>
                <a:gd name="T78" fmla="*/ 27 w 105"/>
                <a:gd name="T79" fmla="*/ 501 h 694"/>
                <a:gd name="T80" fmla="*/ 34 w 105"/>
                <a:gd name="T81" fmla="*/ 513 h 694"/>
                <a:gd name="T82" fmla="*/ 27 w 105"/>
                <a:gd name="T83" fmla="*/ 511 h 694"/>
                <a:gd name="T84" fmla="*/ 29 w 105"/>
                <a:gd name="T85" fmla="*/ 517 h 694"/>
                <a:gd name="T86" fmla="*/ 29 w 105"/>
                <a:gd name="T87" fmla="*/ 534 h 694"/>
                <a:gd name="T88" fmla="*/ 26 w 105"/>
                <a:gd name="T89" fmla="*/ 533 h 694"/>
                <a:gd name="T90" fmla="*/ 27 w 105"/>
                <a:gd name="T91" fmla="*/ 542 h 694"/>
                <a:gd name="T92" fmla="*/ 30 w 105"/>
                <a:gd name="T93" fmla="*/ 568 h 694"/>
                <a:gd name="T94" fmla="*/ 24 w 105"/>
                <a:gd name="T95" fmla="*/ 581 h 694"/>
                <a:gd name="T96" fmla="*/ 17 w 105"/>
                <a:gd name="T97" fmla="*/ 611 h 694"/>
                <a:gd name="T98" fmla="*/ 8 w 105"/>
                <a:gd name="T99" fmla="*/ 623 h 694"/>
                <a:gd name="T100" fmla="*/ 5 w 105"/>
                <a:gd name="T101" fmla="*/ 627 h 694"/>
                <a:gd name="T102" fmla="*/ 2 w 105"/>
                <a:gd name="T103" fmla="*/ 641 h 694"/>
                <a:gd name="T104" fmla="*/ 8 w 105"/>
                <a:gd name="T105" fmla="*/ 656 h 694"/>
                <a:gd name="T106" fmla="*/ 7 w 105"/>
                <a:gd name="T107" fmla="*/ 659 h 694"/>
                <a:gd name="T108" fmla="*/ 21 w 105"/>
                <a:gd name="T109" fmla="*/ 652 h 694"/>
                <a:gd name="T110" fmla="*/ 20 w 105"/>
                <a:gd name="T111" fmla="*/ 653 h 694"/>
                <a:gd name="T112" fmla="*/ 20 w 105"/>
                <a:gd name="T113" fmla="*/ 652 h 694"/>
                <a:gd name="T114" fmla="*/ 20 w 105"/>
                <a:gd name="T115" fmla="*/ 657 h 694"/>
                <a:gd name="T116" fmla="*/ 20 w 105"/>
                <a:gd name="T117" fmla="*/ 663 h 694"/>
                <a:gd name="T118" fmla="*/ 23 w 105"/>
                <a:gd name="T119" fmla="*/ 678 h 694"/>
                <a:gd name="T120" fmla="*/ 31 w 105"/>
                <a:gd name="T121" fmla="*/ 688 h 694"/>
                <a:gd name="T122" fmla="*/ 46 w 105"/>
                <a:gd name="T123" fmla="*/ 688 h 694"/>
                <a:gd name="T124" fmla="*/ 62 w 105"/>
                <a:gd name="T125" fmla="*/ 689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 h="694">
                  <a:moveTo>
                    <a:pt x="53" y="7"/>
                  </a:moveTo>
                  <a:lnTo>
                    <a:pt x="53" y="7"/>
                  </a:lnTo>
                  <a:lnTo>
                    <a:pt x="47" y="11"/>
                  </a:lnTo>
                  <a:lnTo>
                    <a:pt x="49" y="14"/>
                  </a:lnTo>
                  <a:lnTo>
                    <a:pt x="49" y="14"/>
                  </a:lnTo>
                  <a:lnTo>
                    <a:pt x="55" y="9"/>
                  </a:lnTo>
                  <a:lnTo>
                    <a:pt x="53" y="7"/>
                  </a:lnTo>
                  <a:close/>
                  <a:moveTo>
                    <a:pt x="68" y="0"/>
                  </a:moveTo>
                  <a:lnTo>
                    <a:pt x="68" y="0"/>
                  </a:lnTo>
                  <a:lnTo>
                    <a:pt x="68" y="0"/>
                  </a:lnTo>
                  <a:lnTo>
                    <a:pt x="66" y="0"/>
                  </a:lnTo>
                  <a:lnTo>
                    <a:pt x="66" y="0"/>
                  </a:lnTo>
                  <a:lnTo>
                    <a:pt x="57" y="4"/>
                  </a:lnTo>
                  <a:lnTo>
                    <a:pt x="59" y="6"/>
                  </a:lnTo>
                  <a:lnTo>
                    <a:pt x="59" y="6"/>
                  </a:lnTo>
                  <a:lnTo>
                    <a:pt x="66" y="1"/>
                  </a:lnTo>
                  <a:lnTo>
                    <a:pt x="66" y="1"/>
                  </a:lnTo>
                  <a:lnTo>
                    <a:pt x="68" y="1"/>
                  </a:lnTo>
                  <a:lnTo>
                    <a:pt x="68" y="1"/>
                  </a:lnTo>
                  <a:lnTo>
                    <a:pt x="68" y="0"/>
                  </a:lnTo>
                  <a:close/>
                  <a:moveTo>
                    <a:pt x="71" y="14"/>
                  </a:moveTo>
                  <a:lnTo>
                    <a:pt x="71" y="13"/>
                  </a:lnTo>
                  <a:lnTo>
                    <a:pt x="71" y="13"/>
                  </a:lnTo>
                  <a:lnTo>
                    <a:pt x="71" y="13"/>
                  </a:lnTo>
                  <a:lnTo>
                    <a:pt x="72" y="4"/>
                  </a:lnTo>
                  <a:lnTo>
                    <a:pt x="69" y="4"/>
                  </a:lnTo>
                  <a:lnTo>
                    <a:pt x="69" y="4"/>
                  </a:lnTo>
                  <a:lnTo>
                    <a:pt x="68" y="11"/>
                  </a:lnTo>
                  <a:lnTo>
                    <a:pt x="68" y="11"/>
                  </a:lnTo>
                  <a:lnTo>
                    <a:pt x="68" y="13"/>
                  </a:lnTo>
                  <a:lnTo>
                    <a:pt x="68" y="14"/>
                  </a:lnTo>
                  <a:lnTo>
                    <a:pt x="71" y="14"/>
                  </a:lnTo>
                  <a:close/>
                  <a:moveTo>
                    <a:pt x="76" y="27"/>
                  </a:moveTo>
                  <a:lnTo>
                    <a:pt x="76" y="27"/>
                  </a:lnTo>
                  <a:lnTo>
                    <a:pt x="71" y="19"/>
                  </a:lnTo>
                  <a:lnTo>
                    <a:pt x="69" y="20"/>
                  </a:lnTo>
                  <a:lnTo>
                    <a:pt x="69" y="20"/>
                  </a:lnTo>
                  <a:lnTo>
                    <a:pt x="73" y="29"/>
                  </a:lnTo>
                  <a:lnTo>
                    <a:pt x="76" y="27"/>
                  </a:lnTo>
                  <a:close/>
                  <a:moveTo>
                    <a:pt x="81" y="42"/>
                  </a:moveTo>
                  <a:lnTo>
                    <a:pt x="81" y="42"/>
                  </a:lnTo>
                  <a:lnTo>
                    <a:pt x="81" y="39"/>
                  </a:lnTo>
                  <a:lnTo>
                    <a:pt x="81" y="39"/>
                  </a:lnTo>
                  <a:lnTo>
                    <a:pt x="81" y="36"/>
                  </a:lnTo>
                  <a:lnTo>
                    <a:pt x="81" y="36"/>
                  </a:lnTo>
                  <a:lnTo>
                    <a:pt x="81" y="35"/>
                  </a:lnTo>
                  <a:lnTo>
                    <a:pt x="79" y="32"/>
                  </a:lnTo>
                  <a:lnTo>
                    <a:pt x="76" y="33"/>
                  </a:lnTo>
                  <a:lnTo>
                    <a:pt x="76" y="33"/>
                  </a:lnTo>
                  <a:lnTo>
                    <a:pt x="79" y="36"/>
                  </a:lnTo>
                  <a:lnTo>
                    <a:pt x="79" y="36"/>
                  </a:lnTo>
                  <a:lnTo>
                    <a:pt x="78" y="39"/>
                  </a:lnTo>
                  <a:lnTo>
                    <a:pt x="78" y="39"/>
                  </a:lnTo>
                  <a:lnTo>
                    <a:pt x="78" y="42"/>
                  </a:lnTo>
                  <a:lnTo>
                    <a:pt x="81" y="42"/>
                  </a:lnTo>
                  <a:close/>
                  <a:moveTo>
                    <a:pt x="85" y="55"/>
                  </a:moveTo>
                  <a:lnTo>
                    <a:pt x="85" y="55"/>
                  </a:lnTo>
                  <a:lnTo>
                    <a:pt x="82" y="46"/>
                  </a:lnTo>
                  <a:lnTo>
                    <a:pt x="81" y="46"/>
                  </a:lnTo>
                  <a:lnTo>
                    <a:pt x="79" y="46"/>
                  </a:lnTo>
                  <a:lnTo>
                    <a:pt x="79" y="48"/>
                  </a:lnTo>
                  <a:lnTo>
                    <a:pt x="79" y="48"/>
                  </a:lnTo>
                  <a:lnTo>
                    <a:pt x="82" y="56"/>
                  </a:lnTo>
                  <a:lnTo>
                    <a:pt x="85" y="55"/>
                  </a:lnTo>
                  <a:close/>
                  <a:moveTo>
                    <a:pt x="89" y="69"/>
                  </a:moveTo>
                  <a:lnTo>
                    <a:pt x="89" y="69"/>
                  </a:lnTo>
                  <a:lnTo>
                    <a:pt x="86" y="61"/>
                  </a:lnTo>
                  <a:lnTo>
                    <a:pt x="84" y="61"/>
                  </a:lnTo>
                  <a:lnTo>
                    <a:pt x="84" y="61"/>
                  </a:lnTo>
                  <a:lnTo>
                    <a:pt x="86" y="71"/>
                  </a:lnTo>
                  <a:lnTo>
                    <a:pt x="89" y="69"/>
                  </a:lnTo>
                  <a:close/>
                  <a:moveTo>
                    <a:pt x="92" y="85"/>
                  </a:moveTo>
                  <a:lnTo>
                    <a:pt x="92" y="85"/>
                  </a:lnTo>
                  <a:lnTo>
                    <a:pt x="92" y="82"/>
                  </a:lnTo>
                  <a:lnTo>
                    <a:pt x="92" y="82"/>
                  </a:lnTo>
                  <a:lnTo>
                    <a:pt x="91" y="75"/>
                  </a:lnTo>
                  <a:lnTo>
                    <a:pt x="88" y="75"/>
                  </a:lnTo>
                  <a:lnTo>
                    <a:pt x="88" y="75"/>
                  </a:lnTo>
                  <a:lnTo>
                    <a:pt x="89" y="82"/>
                  </a:lnTo>
                  <a:lnTo>
                    <a:pt x="89" y="82"/>
                  </a:lnTo>
                  <a:lnTo>
                    <a:pt x="91" y="85"/>
                  </a:lnTo>
                  <a:lnTo>
                    <a:pt x="92" y="85"/>
                  </a:lnTo>
                  <a:close/>
                  <a:moveTo>
                    <a:pt x="105" y="91"/>
                  </a:moveTo>
                  <a:lnTo>
                    <a:pt x="104" y="91"/>
                  </a:lnTo>
                  <a:lnTo>
                    <a:pt x="104" y="91"/>
                  </a:lnTo>
                  <a:lnTo>
                    <a:pt x="102" y="88"/>
                  </a:lnTo>
                  <a:lnTo>
                    <a:pt x="99" y="88"/>
                  </a:lnTo>
                  <a:lnTo>
                    <a:pt x="99" y="88"/>
                  </a:lnTo>
                  <a:lnTo>
                    <a:pt x="95" y="88"/>
                  </a:lnTo>
                  <a:lnTo>
                    <a:pt x="94" y="90"/>
                  </a:lnTo>
                  <a:lnTo>
                    <a:pt x="94" y="90"/>
                  </a:lnTo>
                  <a:lnTo>
                    <a:pt x="99" y="91"/>
                  </a:lnTo>
                  <a:lnTo>
                    <a:pt x="99" y="91"/>
                  </a:lnTo>
                  <a:lnTo>
                    <a:pt x="102" y="93"/>
                  </a:lnTo>
                  <a:lnTo>
                    <a:pt x="102" y="93"/>
                  </a:lnTo>
                  <a:lnTo>
                    <a:pt x="105" y="91"/>
                  </a:lnTo>
                  <a:close/>
                  <a:moveTo>
                    <a:pt x="98" y="106"/>
                  </a:moveTo>
                  <a:lnTo>
                    <a:pt x="98" y="106"/>
                  </a:lnTo>
                  <a:lnTo>
                    <a:pt x="104" y="97"/>
                  </a:lnTo>
                  <a:lnTo>
                    <a:pt x="101" y="97"/>
                  </a:lnTo>
                  <a:lnTo>
                    <a:pt x="101" y="97"/>
                  </a:lnTo>
                  <a:lnTo>
                    <a:pt x="95" y="104"/>
                  </a:lnTo>
                  <a:lnTo>
                    <a:pt x="98" y="106"/>
                  </a:lnTo>
                  <a:close/>
                  <a:moveTo>
                    <a:pt x="88" y="117"/>
                  </a:moveTo>
                  <a:lnTo>
                    <a:pt x="88" y="117"/>
                  </a:lnTo>
                  <a:lnTo>
                    <a:pt x="94" y="110"/>
                  </a:lnTo>
                  <a:lnTo>
                    <a:pt x="92" y="108"/>
                  </a:lnTo>
                  <a:lnTo>
                    <a:pt x="92" y="108"/>
                  </a:lnTo>
                  <a:lnTo>
                    <a:pt x="85" y="116"/>
                  </a:lnTo>
                  <a:lnTo>
                    <a:pt x="88" y="117"/>
                  </a:lnTo>
                  <a:close/>
                  <a:moveTo>
                    <a:pt x="78" y="129"/>
                  </a:moveTo>
                  <a:lnTo>
                    <a:pt x="78" y="129"/>
                  </a:lnTo>
                  <a:lnTo>
                    <a:pt x="79" y="126"/>
                  </a:lnTo>
                  <a:lnTo>
                    <a:pt x="82" y="123"/>
                  </a:lnTo>
                  <a:lnTo>
                    <a:pt x="82" y="123"/>
                  </a:lnTo>
                  <a:lnTo>
                    <a:pt x="84" y="122"/>
                  </a:lnTo>
                  <a:lnTo>
                    <a:pt x="82" y="119"/>
                  </a:lnTo>
                  <a:lnTo>
                    <a:pt x="82" y="119"/>
                  </a:lnTo>
                  <a:lnTo>
                    <a:pt x="81" y="120"/>
                  </a:lnTo>
                  <a:lnTo>
                    <a:pt x="81" y="120"/>
                  </a:lnTo>
                  <a:lnTo>
                    <a:pt x="78" y="124"/>
                  </a:lnTo>
                  <a:lnTo>
                    <a:pt x="76" y="127"/>
                  </a:lnTo>
                  <a:lnTo>
                    <a:pt x="78" y="129"/>
                  </a:lnTo>
                  <a:close/>
                  <a:moveTo>
                    <a:pt x="76" y="143"/>
                  </a:moveTo>
                  <a:lnTo>
                    <a:pt x="76" y="143"/>
                  </a:lnTo>
                  <a:lnTo>
                    <a:pt x="76" y="133"/>
                  </a:lnTo>
                  <a:lnTo>
                    <a:pt x="75" y="133"/>
                  </a:lnTo>
                  <a:lnTo>
                    <a:pt x="75" y="133"/>
                  </a:lnTo>
                  <a:lnTo>
                    <a:pt x="73" y="143"/>
                  </a:lnTo>
                  <a:lnTo>
                    <a:pt x="76" y="143"/>
                  </a:lnTo>
                  <a:close/>
                  <a:moveTo>
                    <a:pt x="72" y="159"/>
                  </a:moveTo>
                  <a:lnTo>
                    <a:pt x="72" y="159"/>
                  </a:lnTo>
                  <a:lnTo>
                    <a:pt x="73" y="153"/>
                  </a:lnTo>
                  <a:lnTo>
                    <a:pt x="73" y="153"/>
                  </a:lnTo>
                  <a:lnTo>
                    <a:pt x="75" y="149"/>
                  </a:lnTo>
                  <a:lnTo>
                    <a:pt x="72" y="148"/>
                  </a:lnTo>
                  <a:lnTo>
                    <a:pt x="72" y="148"/>
                  </a:lnTo>
                  <a:lnTo>
                    <a:pt x="72" y="153"/>
                  </a:lnTo>
                  <a:lnTo>
                    <a:pt x="72" y="153"/>
                  </a:lnTo>
                  <a:lnTo>
                    <a:pt x="71" y="158"/>
                  </a:lnTo>
                  <a:lnTo>
                    <a:pt x="72" y="159"/>
                  </a:lnTo>
                  <a:close/>
                  <a:moveTo>
                    <a:pt x="69" y="174"/>
                  </a:moveTo>
                  <a:lnTo>
                    <a:pt x="69" y="174"/>
                  </a:lnTo>
                  <a:lnTo>
                    <a:pt x="72" y="164"/>
                  </a:lnTo>
                  <a:lnTo>
                    <a:pt x="69" y="162"/>
                  </a:lnTo>
                  <a:lnTo>
                    <a:pt x="69" y="162"/>
                  </a:lnTo>
                  <a:lnTo>
                    <a:pt x="66" y="172"/>
                  </a:lnTo>
                  <a:lnTo>
                    <a:pt x="69" y="174"/>
                  </a:lnTo>
                  <a:close/>
                  <a:moveTo>
                    <a:pt x="65" y="188"/>
                  </a:moveTo>
                  <a:lnTo>
                    <a:pt x="65" y="188"/>
                  </a:lnTo>
                  <a:lnTo>
                    <a:pt x="68" y="178"/>
                  </a:lnTo>
                  <a:lnTo>
                    <a:pt x="65" y="178"/>
                  </a:lnTo>
                  <a:lnTo>
                    <a:pt x="65" y="178"/>
                  </a:lnTo>
                  <a:lnTo>
                    <a:pt x="62" y="187"/>
                  </a:lnTo>
                  <a:lnTo>
                    <a:pt x="65" y="188"/>
                  </a:lnTo>
                  <a:close/>
                  <a:moveTo>
                    <a:pt x="60" y="203"/>
                  </a:moveTo>
                  <a:lnTo>
                    <a:pt x="60" y="203"/>
                  </a:lnTo>
                  <a:lnTo>
                    <a:pt x="63" y="192"/>
                  </a:lnTo>
                  <a:lnTo>
                    <a:pt x="60" y="192"/>
                  </a:lnTo>
                  <a:lnTo>
                    <a:pt x="60" y="192"/>
                  </a:lnTo>
                  <a:lnTo>
                    <a:pt x="57" y="201"/>
                  </a:lnTo>
                  <a:lnTo>
                    <a:pt x="60" y="203"/>
                  </a:lnTo>
                  <a:close/>
                  <a:moveTo>
                    <a:pt x="56" y="217"/>
                  </a:moveTo>
                  <a:lnTo>
                    <a:pt x="56" y="217"/>
                  </a:lnTo>
                  <a:lnTo>
                    <a:pt x="59" y="207"/>
                  </a:lnTo>
                  <a:lnTo>
                    <a:pt x="56" y="207"/>
                  </a:lnTo>
                  <a:lnTo>
                    <a:pt x="56" y="207"/>
                  </a:lnTo>
                  <a:lnTo>
                    <a:pt x="53" y="217"/>
                  </a:lnTo>
                  <a:lnTo>
                    <a:pt x="56" y="217"/>
                  </a:lnTo>
                  <a:close/>
                  <a:moveTo>
                    <a:pt x="52" y="232"/>
                  </a:moveTo>
                  <a:lnTo>
                    <a:pt x="52" y="232"/>
                  </a:lnTo>
                  <a:lnTo>
                    <a:pt x="53" y="227"/>
                  </a:lnTo>
                  <a:lnTo>
                    <a:pt x="53" y="227"/>
                  </a:lnTo>
                  <a:lnTo>
                    <a:pt x="55" y="221"/>
                  </a:lnTo>
                  <a:lnTo>
                    <a:pt x="52" y="221"/>
                  </a:lnTo>
                  <a:lnTo>
                    <a:pt x="52" y="221"/>
                  </a:lnTo>
                  <a:lnTo>
                    <a:pt x="50" y="226"/>
                  </a:lnTo>
                  <a:lnTo>
                    <a:pt x="50" y="226"/>
                  </a:lnTo>
                  <a:lnTo>
                    <a:pt x="50" y="232"/>
                  </a:lnTo>
                  <a:lnTo>
                    <a:pt x="52" y="232"/>
                  </a:lnTo>
                  <a:close/>
                  <a:moveTo>
                    <a:pt x="53" y="246"/>
                  </a:moveTo>
                  <a:lnTo>
                    <a:pt x="53" y="246"/>
                  </a:lnTo>
                  <a:lnTo>
                    <a:pt x="52" y="236"/>
                  </a:lnTo>
                  <a:lnTo>
                    <a:pt x="49" y="236"/>
                  </a:lnTo>
                  <a:lnTo>
                    <a:pt x="49" y="236"/>
                  </a:lnTo>
                  <a:lnTo>
                    <a:pt x="50" y="248"/>
                  </a:lnTo>
                  <a:lnTo>
                    <a:pt x="53" y="246"/>
                  </a:lnTo>
                  <a:close/>
                  <a:moveTo>
                    <a:pt x="55" y="262"/>
                  </a:moveTo>
                  <a:lnTo>
                    <a:pt x="55" y="262"/>
                  </a:lnTo>
                  <a:lnTo>
                    <a:pt x="53" y="259"/>
                  </a:lnTo>
                  <a:lnTo>
                    <a:pt x="53" y="259"/>
                  </a:lnTo>
                  <a:lnTo>
                    <a:pt x="53" y="252"/>
                  </a:lnTo>
                  <a:lnTo>
                    <a:pt x="50" y="252"/>
                  </a:lnTo>
                  <a:lnTo>
                    <a:pt x="50" y="252"/>
                  </a:lnTo>
                  <a:lnTo>
                    <a:pt x="52" y="259"/>
                  </a:lnTo>
                  <a:lnTo>
                    <a:pt x="52" y="259"/>
                  </a:lnTo>
                  <a:lnTo>
                    <a:pt x="52" y="262"/>
                  </a:lnTo>
                  <a:lnTo>
                    <a:pt x="55" y="262"/>
                  </a:lnTo>
                  <a:close/>
                  <a:moveTo>
                    <a:pt x="56" y="276"/>
                  </a:moveTo>
                  <a:lnTo>
                    <a:pt x="56" y="276"/>
                  </a:lnTo>
                  <a:lnTo>
                    <a:pt x="55" y="266"/>
                  </a:lnTo>
                  <a:lnTo>
                    <a:pt x="52" y="266"/>
                  </a:lnTo>
                  <a:lnTo>
                    <a:pt x="52" y="266"/>
                  </a:lnTo>
                  <a:lnTo>
                    <a:pt x="53" y="276"/>
                  </a:lnTo>
                  <a:lnTo>
                    <a:pt x="56" y="276"/>
                  </a:lnTo>
                  <a:close/>
                  <a:moveTo>
                    <a:pt x="56" y="292"/>
                  </a:moveTo>
                  <a:lnTo>
                    <a:pt x="56" y="292"/>
                  </a:lnTo>
                  <a:lnTo>
                    <a:pt x="56" y="282"/>
                  </a:lnTo>
                  <a:lnTo>
                    <a:pt x="53" y="282"/>
                  </a:lnTo>
                  <a:lnTo>
                    <a:pt x="53" y="282"/>
                  </a:lnTo>
                  <a:lnTo>
                    <a:pt x="55" y="292"/>
                  </a:lnTo>
                  <a:lnTo>
                    <a:pt x="56" y="292"/>
                  </a:lnTo>
                  <a:close/>
                  <a:moveTo>
                    <a:pt x="55" y="307"/>
                  </a:moveTo>
                  <a:lnTo>
                    <a:pt x="55" y="307"/>
                  </a:lnTo>
                  <a:lnTo>
                    <a:pt x="56" y="303"/>
                  </a:lnTo>
                  <a:lnTo>
                    <a:pt x="56" y="303"/>
                  </a:lnTo>
                  <a:lnTo>
                    <a:pt x="56" y="297"/>
                  </a:lnTo>
                  <a:lnTo>
                    <a:pt x="55" y="297"/>
                  </a:lnTo>
                  <a:lnTo>
                    <a:pt x="55" y="297"/>
                  </a:lnTo>
                  <a:lnTo>
                    <a:pt x="53" y="301"/>
                  </a:lnTo>
                  <a:lnTo>
                    <a:pt x="53" y="301"/>
                  </a:lnTo>
                  <a:lnTo>
                    <a:pt x="52" y="307"/>
                  </a:lnTo>
                  <a:lnTo>
                    <a:pt x="55" y="307"/>
                  </a:lnTo>
                  <a:close/>
                  <a:moveTo>
                    <a:pt x="53" y="323"/>
                  </a:moveTo>
                  <a:lnTo>
                    <a:pt x="53" y="323"/>
                  </a:lnTo>
                  <a:lnTo>
                    <a:pt x="53" y="313"/>
                  </a:lnTo>
                  <a:lnTo>
                    <a:pt x="52" y="313"/>
                  </a:lnTo>
                  <a:lnTo>
                    <a:pt x="52" y="313"/>
                  </a:lnTo>
                  <a:lnTo>
                    <a:pt x="50" y="321"/>
                  </a:lnTo>
                  <a:lnTo>
                    <a:pt x="53" y="323"/>
                  </a:lnTo>
                  <a:close/>
                  <a:moveTo>
                    <a:pt x="46" y="336"/>
                  </a:moveTo>
                  <a:lnTo>
                    <a:pt x="46" y="336"/>
                  </a:lnTo>
                  <a:lnTo>
                    <a:pt x="50" y="332"/>
                  </a:lnTo>
                  <a:lnTo>
                    <a:pt x="50" y="332"/>
                  </a:lnTo>
                  <a:lnTo>
                    <a:pt x="52" y="327"/>
                  </a:lnTo>
                  <a:lnTo>
                    <a:pt x="49" y="327"/>
                  </a:lnTo>
                  <a:lnTo>
                    <a:pt x="49" y="327"/>
                  </a:lnTo>
                  <a:lnTo>
                    <a:pt x="47" y="330"/>
                  </a:lnTo>
                  <a:lnTo>
                    <a:pt x="47" y="330"/>
                  </a:lnTo>
                  <a:lnTo>
                    <a:pt x="44" y="334"/>
                  </a:lnTo>
                  <a:lnTo>
                    <a:pt x="46" y="336"/>
                  </a:lnTo>
                  <a:close/>
                  <a:moveTo>
                    <a:pt x="40" y="349"/>
                  </a:moveTo>
                  <a:lnTo>
                    <a:pt x="40" y="349"/>
                  </a:lnTo>
                  <a:lnTo>
                    <a:pt x="43" y="340"/>
                  </a:lnTo>
                  <a:lnTo>
                    <a:pt x="42" y="339"/>
                  </a:lnTo>
                  <a:lnTo>
                    <a:pt x="42" y="339"/>
                  </a:lnTo>
                  <a:lnTo>
                    <a:pt x="37" y="349"/>
                  </a:lnTo>
                  <a:lnTo>
                    <a:pt x="40" y="349"/>
                  </a:lnTo>
                  <a:close/>
                  <a:moveTo>
                    <a:pt x="39" y="365"/>
                  </a:moveTo>
                  <a:lnTo>
                    <a:pt x="39" y="365"/>
                  </a:lnTo>
                  <a:lnTo>
                    <a:pt x="39" y="358"/>
                  </a:lnTo>
                  <a:lnTo>
                    <a:pt x="39" y="358"/>
                  </a:lnTo>
                  <a:lnTo>
                    <a:pt x="39" y="355"/>
                  </a:lnTo>
                  <a:lnTo>
                    <a:pt x="36" y="355"/>
                  </a:lnTo>
                  <a:lnTo>
                    <a:pt x="36" y="355"/>
                  </a:lnTo>
                  <a:lnTo>
                    <a:pt x="36" y="358"/>
                  </a:lnTo>
                  <a:lnTo>
                    <a:pt x="36" y="358"/>
                  </a:lnTo>
                  <a:lnTo>
                    <a:pt x="36" y="365"/>
                  </a:lnTo>
                  <a:lnTo>
                    <a:pt x="39" y="365"/>
                  </a:lnTo>
                  <a:close/>
                  <a:moveTo>
                    <a:pt x="39" y="379"/>
                  </a:moveTo>
                  <a:lnTo>
                    <a:pt x="39" y="379"/>
                  </a:lnTo>
                  <a:lnTo>
                    <a:pt x="39" y="369"/>
                  </a:lnTo>
                  <a:lnTo>
                    <a:pt x="36" y="369"/>
                  </a:lnTo>
                  <a:lnTo>
                    <a:pt x="36" y="369"/>
                  </a:lnTo>
                  <a:lnTo>
                    <a:pt x="37" y="379"/>
                  </a:lnTo>
                  <a:lnTo>
                    <a:pt x="39" y="379"/>
                  </a:lnTo>
                  <a:close/>
                  <a:moveTo>
                    <a:pt x="36" y="395"/>
                  </a:moveTo>
                  <a:lnTo>
                    <a:pt x="36" y="395"/>
                  </a:lnTo>
                  <a:lnTo>
                    <a:pt x="39" y="391"/>
                  </a:lnTo>
                  <a:lnTo>
                    <a:pt x="39" y="391"/>
                  </a:lnTo>
                  <a:lnTo>
                    <a:pt x="39" y="388"/>
                  </a:lnTo>
                  <a:lnTo>
                    <a:pt x="39" y="388"/>
                  </a:lnTo>
                  <a:lnTo>
                    <a:pt x="40" y="385"/>
                  </a:lnTo>
                  <a:lnTo>
                    <a:pt x="37" y="385"/>
                  </a:lnTo>
                  <a:lnTo>
                    <a:pt x="37" y="385"/>
                  </a:lnTo>
                  <a:lnTo>
                    <a:pt x="37" y="388"/>
                  </a:lnTo>
                  <a:lnTo>
                    <a:pt x="37" y="388"/>
                  </a:lnTo>
                  <a:lnTo>
                    <a:pt x="36" y="389"/>
                  </a:lnTo>
                  <a:lnTo>
                    <a:pt x="36" y="389"/>
                  </a:lnTo>
                  <a:lnTo>
                    <a:pt x="36" y="389"/>
                  </a:lnTo>
                  <a:lnTo>
                    <a:pt x="37" y="389"/>
                  </a:lnTo>
                  <a:lnTo>
                    <a:pt x="36" y="389"/>
                  </a:lnTo>
                  <a:lnTo>
                    <a:pt x="36" y="389"/>
                  </a:lnTo>
                  <a:lnTo>
                    <a:pt x="37" y="389"/>
                  </a:lnTo>
                  <a:lnTo>
                    <a:pt x="36" y="389"/>
                  </a:lnTo>
                  <a:lnTo>
                    <a:pt x="36" y="389"/>
                  </a:lnTo>
                  <a:lnTo>
                    <a:pt x="34" y="394"/>
                  </a:lnTo>
                  <a:lnTo>
                    <a:pt x="36" y="395"/>
                  </a:lnTo>
                  <a:close/>
                  <a:moveTo>
                    <a:pt x="33" y="408"/>
                  </a:moveTo>
                  <a:lnTo>
                    <a:pt x="33" y="408"/>
                  </a:lnTo>
                  <a:lnTo>
                    <a:pt x="34" y="400"/>
                  </a:lnTo>
                  <a:lnTo>
                    <a:pt x="33" y="398"/>
                  </a:lnTo>
                  <a:lnTo>
                    <a:pt x="33" y="398"/>
                  </a:lnTo>
                  <a:lnTo>
                    <a:pt x="30" y="408"/>
                  </a:lnTo>
                  <a:lnTo>
                    <a:pt x="33" y="408"/>
                  </a:lnTo>
                  <a:close/>
                  <a:moveTo>
                    <a:pt x="30" y="424"/>
                  </a:moveTo>
                  <a:lnTo>
                    <a:pt x="30" y="424"/>
                  </a:lnTo>
                  <a:lnTo>
                    <a:pt x="33" y="414"/>
                  </a:lnTo>
                  <a:lnTo>
                    <a:pt x="30" y="414"/>
                  </a:lnTo>
                  <a:lnTo>
                    <a:pt x="30" y="414"/>
                  </a:lnTo>
                  <a:lnTo>
                    <a:pt x="29" y="424"/>
                  </a:lnTo>
                  <a:lnTo>
                    <a:pt x="30" y="424"/>
                  </a:lnTo>
                  <a:close/>
                  <a:moveTo>
                    <a:pt x="29" y="439"/>
                  </a:moveTo>
                  <a:lnTo>
                    <a:pt x="29" y="439"/>
                  </a:lnTo>
                  <a:lnTo>
                    <a:pt x="30" y="429"/>
                  </a:lnTo>
                  <a:lnTo>
                    <a:pt x="27" y="429"/>
                  </a:lnTo>
                  <a:lnTo>
                    <a:pt x="27" y="429"/>
                  </a:lnTo>
                  <a:lnTo>
                    <a:pt x="26" y="439"/>
                  </a:lnTo>
                  <a:lnTo>
                    <a:pt x="29" y="439"/>
                  </a:lnTo>
                  <a:close/>
                  <a:moveTo>
                    <a:pt x="26" y="455"/>
                  </a:moveTo>
                  <a:lnTo>
                    <a:pt x="26" y="455"/>
                  </a:lnTo>
                  <a:lnTo>
                    <a:pt x="27" y="445"/>
                  </a:lnTo>
                  <a:lnTo>
                    <a:pt x="26" y="443"/>
                  </a:lnTo>
                  <a:lnTo>
                    <a:pt x="26" y="443"/>
                  </a:lnTo>
                  <a:lnTo>
                    <a:pt x="23" y="453"/>
                  </a:lnTo>
                  <a:lnTo>
                    <a:pt x="26" y="455"/>
                  </a:lnTo>
                  <a:close/>
                  <a:moveTo>
                    <a:pt x="27" y="468"/>
                  </a:moveTo>
                  <a:lnTo>
                    <a:pt x="27" y="468"/>
                  </a:lnTo>
                  <a:lnTo>
                    <a:pt x="26" y="463"/>
                  </a:lnTo>
                  <a:lnTo>
                    <a:pt x="26" y="459"/>
                  </a:lnTo>
                  <a:lnTo>
                    <a:pt x="26" y="459"/>
                  </a:lnTo>
                  <a:lnTo>
                    <a:pt x="23" y="459"/>
                  </a:lnTo>
                  <a:lnTo>
                    <a:pt x="23" y="459"/>
                  </a:lnTo>
                  <a:lnTo>
                    <a:pt x="23" y="459"/>
                  </a:lnTo>
                  <a:lnTo>
                    <a:pt x="23" y="463"/>
                  </a:lnTo>
                  <a:lnTo>
                    <a:pt x="24" y="469"/>
                  </a:lnTo>
                  <a:lnTo>
                    <a:pt x="27" y="468"/>
                  </a:lnTo>
                  <a:close/>
                  <a:moveTo>
                    <a:pt x="33" y="484"/>
                  </a:moveTo>
                  <a:lnTo>
                    <a:pt x="33" y="482"/>
                  </a:lnTo>
                  <a:lnTo>
                    <a:pt x="33" y="482"/>
                  </a:lnTo>
                  <a:lnTo>
                    <a:pt x="31" y="478"/>
                  </a:lnTo>
                  <a:lnTo>
                    <a:pt x="31" y="478"/>
                  </a:lnTo>
                  <a:lnTo>
                    <a:pt x="29" y="473"/>
                  </a:lnTo>
                  <a:lnTo>
                    <a:pt x="27" y="473"/>
                  </a:lnTo>
                  <a:lnTo>
                    <a:pt x="27" y="473"/>
                  </a:lnTo>
                  <a:lnTo>
                    <a:pt x="29" y="479"/>
                  </a:lnTo>
                  <a:lnTo>
                    <a:pt x="29" y="479"/>
                  </a:lnTo>
                  <a:lnTo>
                    <a:pt x="30" y="482"/>
                  </a:lnTo>
                  <a:lnTo>
                    <a:pt x="30" y="482"/>
                  </a:lnTo>
                  <a:lnTo>
                    <a:pt x="33" y="484"/>
                  </a:lnTo>
                  <a:close/>
                  <a:moveTo>
                    <a:pt x="26" y="495"/>
                  </a:moveTo>
                  <a:lnTo>
                    <a:pt x="26" y="495"/>
                  </a:lnTo>
                  <a:lnTo>
                    <a:pt x="26" y="495"/>
                  </a:lnTo>
                  <a:lnTo>
                    <a:pt x="27" y="494"/>
                  </a:lnTo>
                  <a:lnTo>
                    <a:pt x="27" y="494"/>
                  </a:lnTo>
                  <a:lnTo>
                    <a:pt x="29" y="491"/>
                  </a:lnTo>
                  <a:lnTo>
                    <a:pt x="30" y="488"/>
                  </a:lnTo>
                  <a:lnTo>
                    <a:pt x="29" y="487"/>
                  </a:lnTo>
                  <a:lnTo>
                    <a:pt x="29" y="487"/>
                  </a:lnTo>
                  <a:lnTo>
                    <a:pt x="26" y="489"/>
                  </a:lnTo>
                  <a:lnTo>
                    <a:pt x="24" y="492"/>
                  </a:lnTo>
                  <a:lnTo>
                    <a:pt x="24" y="492"/>
                  </a:lnTo>
                  <a:lnTo>
                    <a:pt x="24" y="495"/>
                  </a:lnTo>
                  <a:lnTo>
                    <a:pt x="24" y="495"/>
                  </a:lnTo>
                  <a:lnTo>
                    <a:pt x="24" y="497"/>
                  </a:lnTo>
                  <a:lnTo>
                    <a:pt x="26" y="495"/>
                  </a:lnTo>
                  <a:close/>
                  <a:moveTo>
                    <a:pt x="37" y="505"/>
                  </a:moveTo>
                  <a:lnTo>
                    <a:pt x="37" y="505"/>
                  </a:lnTo>
                  <a:lnTo>
                    <a:pt x="29" y="500"/>
                  </a:lnTo>
                  <a:lnTo>
                    <a:pt x="27" y="501"/>
                  </a:lnTo>
                  <a:lnTo>
                    <a:pt x="27" y="501"/>
                  </a:lnTo>
                  <a:lnTo>
                    <a:pt x="36" y="507"/>
                  </a:lnTo>
                  <a:lnTo>
                    <a:pt x="37" y="505"/>
                  </a:lnTo>
                  <a:close/>
                  <a:moveTo>
                    <a:pt x="29" y="514"/>
                  </a:moveTo>
                  <a:lnTo>
                    <a:pt x="29" y="514"/>
                  </a:lnTo>
                  <a:lnTo>
                    <a:pt x="30" y="513"/>
                  </a:lnTo>
                  <a:lnTo>
                    <a:pt x="30" y="513"/>
                  </a:lnTo>
                  <a:lnTo>
                    <a:pt x="34" y="513"/>
                  </a:lnTo>
                  <a:lnTo>
                    <a:pt x="34" y="513"/>
                  </a:lnTo>
                  <a:lnTo>
                    <a:pt x="37" y="513"/>
                  </a:lnTo>
                  <a:lnTo>
                    <a:pt x="39" y="511"/>
                  </a:lnTo>
                  <a:lnTo>
                    <a:pt x="37" y="510"/>
                  </a:lnTo>
                  <a:lnTo>
                    <a:pt x="37" y="510"/>
                  </a:lnTo>
                  <a:lnTo>
                    <a:pt x="36" y="510"/>
                  </a:lnTo>
                  <a:lnTo>
                    <a:pt x="36" y="510"/>
                  </a:lnTo>
                  <a:lnTo>
                    <a:pt x="31" y="511"/>
                  </a:lnTo>
                  <a:lnTo>
                    <a:pt x="31" y="511"/>
                  </a:lnTo>
                  <a:lnTo>
                    <a:pt x="27" y="511"/>
                  </a:lnTo>
                  <a:lnTo>
                    <a:pt x="29" y="514"/>
                  </a:lnTo>
                  <a:close/>
                  <a:moveTo>
                    <a:pt x="36" y="524"/>
                  </a:moveTo>
                  <a:lnTo>
                    <a:pt x="36" y="524"/>
                  </a:lnTo>
                  <a:lnTo>
                    <a:pt x="36" y="523"/>
                  </a:lnTo>
                  <a:lnTo>
                    <a:pt x="36" y="523"/>
                  </a:lnTo>
                  <a:lnTo>
                    <a:pt x="36" y="520"/>
                  </a:lnTo>
                  <a:lnTo>
                    <a:pt x="36" y="520"/>
                  </a:lnTo>
                  <a:lnTo>
                    <a:pt x="31" y="515"/>
                  </a:lnTo>
                  <a:lnTo>
                    <a:pt x="29" y="517"/>
                  </a:lnTo>
                  <a:lnTo>
                    <a:pt x="29" y="517"/>
                  </a:lnTo>
                  <a:lnTo>
                    <a:pt x="33" y="521"/>
                  </a:lnTo>
                  <a:lnTo>
                    <a:pt x="33" y="521"/>
                  </a:lnTo>
                  <a:lnTo>
                    <a:pt x="34" y="523"/>
                  </a:lnTo>
                  <a:lnTo>
                    <a:pt x="33" y="523"/>
                  </a:lnTo>
                  <a:lnTo>
                    <a:pt x="36" y="524"/>
                  </a:lnTo>
                  <a:close/>
                  <a:moveTo>
                    <a:pt x="30" y="536"/>
                  </a:moveTo>
                  <a:lnTo>
                    <a:pt x="30" y="536"/>
                  </a:lnTo>
                  <a:lnTo>
                    <a:pt x="29" y="534"/>
                  </a:lnTo>
                  <a:lnTo>
                    <a:pt x="29" y="534"/>
                  </a:lnTo>
                  <a:lnTo>
                    <a:pt x="29" y="533"/>
                  </a:lnTo>
                  <a:lnTo>
                    <a:pt x="29" y="533"/>
                  </a:lnTo>
                  <a:lnTo>
                    <a:pt x="30" y="531"/>
                  </a:lnTo>
                  <a:lnTo>
                    <a:pt x="31" y="529"/>
                  </a:lnTo>
                  <a:lnTo>
                    <a:pt x="30" y="527"/>
                  </a:lnTo>
                  <a:lnTo>
                    <a:pt x="30" y="527"/>
                  </a:lnTo>
                  <a:lnTo>
                    <a:pt x="27" y="530"/>
                  </a:lnTo>
                  <a:lnTo>
                    <a:pt x="26" y="533"/>
                  </a:lnTo>
                  <a:lnTo>
                    <a:pt x="26" y="533"/>
                  </a:lnTo>
                  <a:lnTo>
                    <a:pt x="27" y="536"/>
                  </a:lnTo>
                  <a:lnTo>
                    <a:pt x="27" y="537"/>
                  </a:lnTo>
                  <a:lnTo>
                    <a:pt x="30" y="536"/>
                  </a:lnTo>
                  <a:close/>
                  <a:moveTo>
                    <a:pt x="31" y="552"/>
                  </a:moveTo>
                  <a:lnTo>
                    <a:pt x="31" y="552"/>
                  </a:lnTo>
                  <a:lnTo>
                    <a:pt x="30" y="542"/>
                  </a:lnTo>
                  <a:lnTo>
                    <a:pt x="27" y="542"/>
                  </a:lnTo>
                  <a:lnTo>
                    <a:pt x="27" y="542"/>
                  </a:lnTo>
                  <a:lnTo>
                    <a:pt x="29" y="552"/>
                  </a:lnTo>
                  <a:lnTo>
                    <a:pt x="31" y="552"/>
                  </a:lnTo>
                  <a:close/>
                  <a:moveTo>
                    <a:pt x="30" y="568"/>
                  </a:moveTo>
                  <a:lnTo>
                    <a:pt x="30" y="568"/>
                  </a:lnTo>
                  <a:lnTo>
                    <a:pt x="31" y="556"/>
                  </a:lnTo>
                  <a:lnTo>
                    <a:pt x="29" y="556"/>
                  </a:lnTo>
                  <a:lnTo>
                    <a:pt x="29" y="556"/>
                  </a:lnTo>
                  <a:lnTo>
                    <a:pt x="27" y="566"/>
                  </a:lnTo>
                  <a:lnTo>
                    <a:pt x="30" y="568"/>
                  </a:lnTo>
                  <a:close/>
                  <a:moveTo>
                    <a:pt x="24" y="581"/>
                  </a:moveTo>
                  <a:lnTo>
                    <a:pt x="24" y="581"/>
                  </a:lnTo>
                  <a:lnTo>
                    <a:pt x="27" y="572"/>
                  </a:lnTo>
                  <a:lnTo>
                    <a:pt x="29" y="572"/>
                  </a:lnTo>
                  <a:lnTo>
                    <a:pt x="26" y="571"/>
                  </a:lnTo>
                  <a:lnTo>
                    <a:pt x="26" y="571"/>
                  </a:lnTo>
                  <a:lnTo>
                    <a:pt x="26" y="571"/>
                  </a:lnTo>
                  <a:lnTo>
                    <a:pt x="21" y="581"/>
                  </a:lnTo>
                  <a:lnTo>
                    <a:pt x="24" y="581"/>
                  </a:lnTo>
                  <a:close/>
                  <a:moveTo>
                    <a:pt x="21" y="595"/>
                  </a:moveTo>
                  <a:lnTo>
                    <a:pt x="21" y="595"/>
                  </a:lnTo>
                  <a:lnTo>
                    <a:pt x="23" y="586"/>
                  </a:lnTo>
                  <a:lnTo>
                    <a:pt x="20" y="585"/>
                  </a:lnTo>
                  <a:lnTo>
                    <a:pt x="20" y="585"/>
                  </a:lnTo>
                  <a:lnTo>
                    <a:pt x="18" y="595"/>
                  </a:lnTo>
                  <a:lnTo>
                    <a:pt x="21" y="595"/>
                  </a:lnTo>
                  <a:close/>
                  <a:moveTo>
                    <a:pt x="17" y="611"/>
                  </a:moveTo>
                  <a:lnTo>
                    <a:pt x="17" y="611"/>
                  </a:lnTo>
                  <a:lnTo>
                    <a:pt x="20" y="605"/>
                  </a:lnTo>
                  <a:lnTo>
                    <a:pt x="21" y="601"/>
                  </a:lnTo>
                  <a:lnTo>
                    <a:pt x="18" y="601"/>
                  </a:lnTo>
                  <a:lnTo>
                    <a:pt x="18" y="601"/>
                  </a:lnTo>
                  <a:lnTo>
                    <a:pt x="17" y="605"/>
                  </a:lnTo>
                  <a:lnTo>
                    <a:pt x="14" y="610"/>
                  </a:lnTo>
                  <a:lnTo>
                    <a:pt x="17" y="611"/>
                  </a:lnTo>
                  <a:close/>
                  <a:moveTo>
                    <a:pt x="8" y="623"/>
                  </a:moveTo>
                  <a:lnTo>
                    <a:pt x="8" y="623"/>
                  </a:lnTo>
                  <a:lnTo>
                    <a:pt x="14" y="615"/>
                  </a:lnTo>
                  <a:lnTo>
                    <a:pt x="13" y="614"/>
                  </a:lnTo>
                  <a:lnTo>
                    <a:pt x="13" y="614"/>
                  </a:lnTo>
                  <a:lnTo>
                    <a:pt x="5" y="621"/>
                  </a:lnTo>
                  <a:lnTo>
                    <a:pt x="8" y="623"/>
                  </a:lnTo>
                  <a:close/>
                  <a:moveTo>
                    <a:pt x="2" y="636"/>
                  </a:moveTo>
                  <a:lnTo>
                    <a:pt x="2" y="636"/>
                  </a:lnTo>
                  <a:lnTo>
                    <a:pt x="4" y="631"/>
                  </a:lnTo>
                  <a:lnTo>
                    <a:pt x="5" y="627"/>
                  </a:lnTo>
                  <a:lnTo>
                    <a:pt x="2" y="626"/>
                  </a:lnTo>
                  <a:lnTo>
                    <a:pt x="2" y="626"/>
                  </a:lnTo>
                  <a:lnTo>
                    <a:pt x="1" y="631"/>
                  </a:lnTo>
                  <a:lnTo>
                    <a:pt x="0" y="636"/>
                  </a:lnTo>
                  <a:lnTo>
                    <a:pt x="2" y="636"/>
                  </a:lnTo>
                  <a:close/>
                  <a:moveTo>
                    <a:pt x="2" y="650"/>
                  </a:moveTo>
                  <a:lnTo>
                    <a:pt x="2" y="650"/>
                  </a:lnTo>
                  <a:lnTo>
                    <a:pt x="2" y="641"/>
                  </a:lnTo>
                  <a:lnTo>
                    <a:pt x="2" y="641"/>
                  </a:lnTo>
                  <a:lnTo>
                    <a:pt x="0" y="641"/>
                  </a:lnTo>
                  <a:lnTo>
                    <a:pt x="0" y="641"/>
                  </a:lnTo>
                  <a:lnTo>
                    <a:pt x="0" y="641"/>
                  </a:lnTo>
                  <a:lnTo>
                    <a:pt x="1" y="652"/>
                  </a:lnTo>
                  <a:lnTo>
                    <a:pt x="2" y="650"/>
                  </a:lnTo>
                  <a:close/>
                  <a:moveTo>
                    <a:pt x="11" y="655"/>
                  </a:moveTo>
                  <a:lnTo>
                    <a:pt x="11" y="655"/>
                  </a:lnTo>
                  <a:lnTo>
                    <a:pt x="8" y="656"/>
                  </a:lnTo>
                  <a:lnTo>
                    <a:pt x="8" y="656"/>
                  </a:lnTo>
                  <a:lnTo>
                    <a:pt x="7" y="657"/>
                  </a:lnTo>
                  <a:lnTo>
                    <a:pt x="7" y="657"/>
                  </a:lnTo>
                  <a:lnTo>
                    <a:pt x="5" y="656"/>
                  </a:lnTo>
                  <a:lnTo>
                    <a:pt x="5" y="655"/>
                  </a:lnTo>
                  <a:lnTo>
                    <a:pt x="2" y="656"/>
                  </a:lnTo>
                  <a:lnTo>
                    <a:pt x="4" y="657"/>
                  </a:lnTo>
                  <a:lnTo>
                    <a:pt x="4" y="657"/>
                  </a:lnTo>
                  <a:lnTo>
                    <a:pt x="5" y="659"/>
                  </a:lnTo>
                  <a:lnTo>
                    <a:pt x="7" y="659"/>
                  </a:lnTo>
                  <a:lnTo>
                    <a:pt x="7" y="659"/>
                  </a:lnTo>
                  <a:lnTo>
                    <a:pt x="10" y="657"/>
                  </a:lnTo>
                  <a:lnTo>
                    <a:pt x="10" y="657"/>
                  </a:lnTo>
                  <a:lnTo>
                    <a:pt x="13" y="656"/>
                  </a:lnTo>
                  <a:lnTo>
                    <a:pt x="11" y="655"/>
                  </a:lnTo>
                  <a:close/>
                  <a:moveTo>
                    <a:pt x="23" y="657"/>
                  </a:moveTo>
                  <a:lnTo>
                    <a:pt x="23" y="657"/>
                  </a:lnTo>
                  <a:lnTo>
                    <a:pt x="23" y="657"/>
                  </a:lnTo>
                  <a:lnTo>
                    <a:pt x="21" y="652"/>
                  </a:lnTo>
                  <a:lnTo>
                    <a:pt x="21" y="652"/>
                  </a:lnTo>
                  <a:lnTo>
                    <a:pt x="21" y="650"/>
                  </a:lnTo>
                  <a:lnTo>
                    <a:pt x="21" y="650"/>
                  </a:lnTo>
                  <a:lnTo>
                    <a:pt x="20" y="650"/>
                  </a:lnTo>
                  <a:lnTo>
                    <a:pt x="20" y="650"/>
                  </a:lnTo>
                  <a:lnTo>
                    <a:pt x="15" y="652"/>
                  </a:lnTo>
                  <a:lnTo>
                    <a:pt x="17" y="653"/>
                  </a:lnTo>
                  <a:lnTo>
                    <a:pt x="17" y="653"/>
                  </a:lnTo>
                  <a:lnTo>
                    <a:pt x="20" y="653"/>
                  </a:lnTo>
                  <a:lnTo>
                    <a:pt x="20" y="653"/>
                  </a:lnTo>
                  <a:lnTo>
                    <a:pt x="20" y="653"/>
                  </a:lnTo>
                  <a:lnTo>
                    <a:pt x="20" y="653"/>
                  </a:lnTo>
                  <a:lnTo>
                    <a:pt x="20" y="653"/>
                  </a:lnTo>
                  <a:lnTo>
                    <a:pt x="20" y="653"/>
                  </a:lnTo>
                  <a:lnTo>
                    <a:pt x="20" y="652"/>
                  </a:lnTo>
                  <a:lnTo>
                    <a:pt x="20" y="653"/>
                  </a:lnTo>
                  <a:lnTo>
                    <a:pt x="20" y="653"/>
                  </a:lnTo>
                  <a:lnTo>
                    <a:pt x="20" y="652"/>
                  </a:lnTo>
                  <a:lnTo>
                    <a:pt x="20" y="653"/>
                  </a:lnTo>
                  <a:lnTo>
                    <a:pt x="20" y="653"/>
                  </a:lnTo>
                  <a:lnTo>
                    <a:pt x="20" y="653"/>
                  </a:lnTo>
                  <a:lnTo>
                    <a:pt x="20" y="653"/>
                  </a:lnTo>
                  <a:lnTo>
                    <a:pt x="20" y="653"/>
                  </a:lnTo>
                  <a:lnTo>
                    <a:pt x="20" y="653"/>
                  </a:lnTo>
                  <a:lnTo>
                    <a:pt x="20" y="653"/>
                  </a:lnTo>
                  <a:lnTo>
                    <a:pt x="20" y="653"/>
                  </a:lnTo>
                  <a:lnTo>
                    <a:pt x="20" y="657"/>
                  </a:lnTo>
                  <a:lnTo>
                    <a:pt x="20" y="657"/>
                  </a:lnTo>
                  <a:lnTo>
                    <a:pt x="23" y="657"/>
                  </a:lnTo>
                  <a:close/>
                  <a:moveTo>
                    <a:pt x="23" y="673"/>
                  </a:moveTo>
                  <a:lnTo>
                    <a:pt x="23" y="673"/>
                  </a:lnTo>
                  <a:lnTo>
                    <a:pt x="21" y="668"/>
                  </a:lnTo>
                  <a:lnTo>
                    <a:pt x="21" y="668"/>
                  </a:lnTo>
                  <a:lnTo>
                    <a:pt x="21" y="663"/>
                  </a:lnTo>
                  <a:lnTo>
                    <a:pt x="20" y="663"/>
                  </a:lnTo>
                  <a:lnTo>
                    <a:pt x="20" y="663"/>
                  </a:lnTo>
                  <a:lnTo>
                    <a:pt x="20" y="668"/>
                  </a:lnTo>
                  <a:lnTo>
                    <a:pt x="20" y="668"/>
                  </a:lnTo>
                  <a:lnTo>
                    <a:pt x="20" y="673"/>
                  </a:lnTo>
                  <a:lnTo>
                    <a:pt x="23" y="673"/>
                  </a:lnTo>
                  <a:close/>
                  <a:moveTo>
                    <a:pt x="27" y="686"/>
                  </a:moveTo>
                  <a:lnTo>
                    <a:pt x="27" y="686"/>
                  </a:lnTo>
                  <a:lnTo>
                    <a:pt x="24" y="684"/>
                  </a:lnTo>
                  <a:lnTo>
                    <a:pt x="24" y="684"/>
                  </a:lnTo>
                  <a:lnTo>
                    <a:pt x="23" y="678"/>
                  </a:lnTo>
                  <a:lnTo>
                    <a:pt x="20" y="678"/>
                  </a:lnTo>
                  <a:lnTo>
                    <a:pt x="20" y="678"/>
                  </a:lnTo>
                  <a:lnTo>
                    <a:pt x="23" y="685"/>
                  </a:lnTo>
                  <a:lnTo>
                    <a:pt x="23" y="685"/>
                  </a:lnTo>
                  <a:lnTo>
                    <a:pt x="26" y="688"/>
                  </a:lnTo>
                  <a:lnTo>
                    <a:pt x="27" y="686"/>
                  </a:lnTo>
                  <a:close/>
                  <a:moveTo>
                    <a:pt x="42" y="688"/>
                  </a:moveTo>
                  <a:lnTo>
                    <a:pt x="42" y="688"/>
                  </a:lnTo>
                  <a:lnTo>
                    <a:pt x="31" y="688"/>
                  </a:lnTo>
                  <a:lnTo>
                    <a:pt x="30" y="689"/>
                  </a:lnTo>
                  <a:lnTo>
                    <a:pt x="30" y="689"/>
                  </a:lnTo>
                  <a:lnTo>
                    <a:pt x="42" y="691"/>
                  </a:lnTo>
                  <a:lnTo>
                    <a:pt x="42" y="688"/>
                  </a:lnTo>
                  <a:close/>
                  <a:moveTo>
                    <a:pt x="56" y="689"/>
                  </a:moveTo>
                  <a:lnTo>
                    <a:pt x="56" y="689"/>
                  </a:lnTo>
                  <a:lnTo>
                    <a:pt x="52" y="688"/>
                  </a:lnTo>
                  <a:lnTo>
                    <a:pt x="52" y="688"/>
                  </a:lnTo>
                  <a:lnTo>
                    <a:pt x="46" y="688"/>
                  </a:lnTo>
                  <a:lnTo>
                    <a:pt x="46" y="691"/>
                  </a:lnTo>
                  <a:lnTo>
                    <a:pt x="46" y="691"/>
                  </a:lnTo>
                  <a:lnTo>
                    <a:pt x="52" y="691"/>
                  </a:lnTo>
                  <a:lnTo>
                    <a:pt x="52" y="691"/>
                  </a:lnTo>
                  <a:lnTo>
                    <a:pt x="56" y="691"/>
                  </a:lnTo>
                  <a:lnTo>
                    <a:pt x="56" y="689"/>
                  </a:lnTo>
                  <a:close/>
                  <a:moveTo>
                    <a:pt x="72" y="692"/>
                  </a:moveTo>
                  <a:lnTo>
                    <a:pt x="72" y="692"/>
                  </a:lnTo>
                  <a:lnTo>
                    <a:pt x="62" y="689"/>
                  </a:lnTo>
                  <a:lnTo>
                    <a:pt x="60" y="692"/>
                  </a:lnTo>
                  <a:lnTo>
                    <a:pt x="60" y="692"/>
                  </a:lnTo>
                  <a:lnTo>
                    <a:pt x="71" y="694"/>
                  </a:lnTo>
                  <a:lnTo>
                    <a:pt x="72" y="6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69" name="Freeform 1633"/>
            <p:cNvSpPr>
              <a:spLocks noEditPoints="1"/>
            </p:cNvSpPr>
            <p:nvPr/>
          </p:nvSpPr>
          <p:spPr bwMode="auto">
            <a:xfrm>
              <a:off x="2549525" y="6323441"/>
              <a:ext cx="4763" cy="104775"/>
            </a:xfrm>
            <a:custGeom>
              <a:avLst/>
              <a:gdLst>
                <a:gd name="T0" fmla="*/ 3 w 3"/>
                <a:gd name="T1" fmla="*/ 0 h 66"/>
                <a:gd name="T2" fmla="*/ 0 w 3"/>
                <a:gd name="T3" fmla="*/ 0 h 66"/>
                <a:gd name="T4" fmla="*/ 0 w 3"/>
                <a:gd name="T5" fmla="*/ 5 h 66"/>
                <a:gd name="T6" fmla="*/ 3 w 3"/>
                <a:gd name="T7" fmla="*/ 5 h 66"/>
                <a:gd name="T8" fmla="*/ 3 w 3"/>
                <a:gd name="T9" fmla="*/ 0 h 66"/>
                <a:gd name="T10" fmla="*/ 3 w 3"/>
                <a:gd name="T11" fmla="*/ 10 h 66"/>
                <a:gd name="T12" fmla="*/ 0 w 3"/>
                <a:gd name="T13" fmla="*/ 10 h 66"/>
                <a:gd name="T14" fmla="*/ 0 w 3"/>
                <a:gd name="T15" fmla="*/ 21 h 66"/>
                <a:gd name="T16" fmla="*/ 3 w 3"/>
                <a:gd name="T17" fmla="*/ 21 h 66"/>
                <a:gd name="T18" fmla="*/ 3 w 3"/>
                <a:gd name="T19" fmla="*/ 10 h 66"/>
                <a:gd name="T20" fmla="*/ 3 w 3"/>
                <a:gd name="T21" fmla="*/ 25 h 66"/>
                <a:gd name="T22" fmla="*/ 0 w 3"/>
                <a:gd name="T23" fmla="*/ 25 h 66"/>
                <a:gd name="T24" fmla="*/ 0 w 3"/>
                <a:gd name="T25" fmla="*/ 35 h 66"/>
                <a:gd name="T26" fmla="*/ 3 w 3"/>
                <a:gd name="T27" fmla="*/ 35 h 66"/>
                <a:gd name="T28" fmla="*/ 3 w 3"/>
                <a:gd name="T29" fmla="*/ 25 h 66"/>
                <a:gd name="T30" fmla="*/ 3 w 3"/>
                <a:gd name="T31" fmla="*/ 41 h 66"/>
                <a:gd name="T32" fmla="*/ 0 w 3"/>
                <a:gd name="T33" fmla="*/ 41 h 66"/>
                <a:gd name="T34" fmla="*/ 0 w 3"/>
                <a:gd name="T35" fmla="*/ 51 h 66"/>
                <a:gd name="T36" fmla="*/ 3 w 3"/>
                <a:gd name="T37" fmla="*/ 51 h 66"/>
                <a:gd name="T38" fmla="*/ 3 w 3"/>
                <a:gd name="T39" fmla="*/ 41 h 66"/>
                <a:gd name="T40" fmla="*/ 3 w 3"/>
                <a:gd name="T41" fmla="*/ 55 h 66"/>
                <a:gd name="T42" fmla="*/ 0 w 3"/>
                <a:gd name="T43" fmla="*/ 55 h 66"/>
                <a:gd name="T44" fmla="*/ 0 w 3"/>
                <a:gd name="T45" fmla="*/ 66 h 66"/>
                <a:gd name="T46" fmla="*/ 3 w 3"/>
                <a:gd name="T47" fmla="*/ 66 h 66"/>
                <a:gd name="T48" fmla="*/ 3 w 3"/>
                <a:gd name="T49" fmla="*/ 5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 h="66">
                  <a:moveTo>
                    <a:pt x="3" y="0"/>
                  </a:moveTo>
                  <a:lnTo>
                    <a:pt x="0" y="0"/>
                  </a:lnTo>
                  <a:lnTo>
                    <a:pt x="0" y="5"/>
                  </a:lnTo>
                  <a:lnTo>
                    <a:pt x="3" y="5"/>
                  </a:lnTo>
                  <a:lnTo>
                    <a:pt x="3" y="0"/>
                  </a:lnTo>
                  <a:close/>
                  <a:moveTo>
                    <a:pt x="3" y="10"/>
                  </a:moveTo>
                  <a:lnTo>
                    <a:pt x="0" y="10"/>
                  </a:lnTo>
                  <a:lnTo>
                    <a:pt x="0" y="21"/>
                  </a:lnTo>
                  <a:lnTo>
                    <a:pt x="3" y="21"/>
                  </a:lnTo>
                  <a:lnTo>
                    <a:pt x="3" y="10"/>
                  </a:lnTo>
                  <a:close/>
                  <a:moveTo>
                    <a:pt x="3" y="25"/>
                  </a:moveTo>
                  <a:lnTo>
                    <a:pt x="0" y="25"/>
                  </a:lnTo>
                  <a:lnTo>
                    <a:pt x="0" y="35"/>
                  </a:lnTo>
                  <a:lnTo>
                    <a:pt x="3" y="35"/>
                  </a:lnTo>
                  <a:lnTo>
                    <a:pt x="3" y="25"/>
                  </a:lnTo>
                  <a:close/>
                  <a:moveTo>
                    <a:pt x="3" y="41"/>
                  </a:moveTo>
                  <a:lnTo>
                    <a:pt x="0" y="41"/>
                  </a:lnTo>
                  <a:lnTo>
                    <a:pt x="0" y="51"/>
                  </a:lnTo>
                  <a:lnTo>
                    <a:pt x="3" y="51"/>
                  </a:lnTo>
                  <a:lnTo>
                    <a:pt x="3" y="41"/>
                  </a:lnTo>
                  <a:close/>
                  <a:moveTo>
                    <a:pt x="3" y="55"/>
                  </a:moveTo>
                  <a:lnTo>
                    <a:pt x="0" y="55"/>
                  </a:lnTo>
                  <a:lnTo>
                    <a:pt x="0" y="66"/>
                  </a:lnTo>
                  <a:lnTo>
                    <a:pt x="3" y="66"/>
                  </a:lnTo>
                  <a:lnTo>
                    <a:pt x="3" y="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70" name="Freeform 1634"/>
            <p:cNvSpPr>
              <a:spLocks noEditPoints="1"/>
            </p:cNvSpPr>
            <p:nvPr/>
          </p:nvSpPr>
          <p:spPr bwMode="auto">
            <a:xfrm>
              <a:off x="2292350" y="4728004"/>
              <a:ext cx="639763" cy="942975"/>
            </a:xfrm>
            <a:custGeom>
              <a:avLst/>
              <a:gdLst>
                <a:gd name="T0" fmla="*/ 7 w 403"/>
                <a:gd name="T1" fmla="*/ 4 h 594"/>
                <a:gd name="T2" fmla="*/ 38 w 403"/>
                <a:gd name="T3" fmla="*/ 16 h 594"/>
                <a:gd name="T4" fmla="*/ 49 w 403"/>
                <a:gd name="T5" fmla="*/ 23 h 594"/>
                <a:gd name="T6" fmla="*/ 74 w 403"/>
                <a:gd name="T7" fmla="*/ 29 h 594"/>
                <a:gd name="T8" fmla="*/ 87 w 403"/>
                <a:gd name="T9" fmla="*/ 44 h 594"/>
                <a:gd name="T10" fmla="*/ 123 w 403"/>
                <a:gd name="T11" fmla="*/ 59 h 594"/>
                <a:gd name="T12" fmla="*/ 136 w 403"/>
                <a:gd name="T13" fmla="*/ 62 h 594"/>
                <a:gd name="T14" fmla="*/ 133 w 403"/>
                <a:gd name="T15" fmla="*/ 61 h 594"/>
                <a:gd name="T16" fmla="*/ 132 w 403"/>
                <a:gd name="T17" fmla="*/ 74 h 594"/>
                <a:gd name="T18" fmla="*/ 138 w 403"/>
                <a:gd name="T19" fmla="*/ 87 h 594"/>
                <a:gd name="T20" fmla="*/ 120 w 403"/>
                <a:gd name="T21" fmla="*/ 93 h 594"/>
                <a:gd name="T22" fmla="*/ 120 w 403"/>
                <a:gd name="T23" fmla="*/ 90 h 594"/>
                <a:gd name="T24" fmla="*/ 107 w 403"/>
                <a:gd name="T25" fmla="*/ 91 h 594"/>
                <a:gd name="T26" fmla="*/ 94 w 403"/>
                <a:gd name="T27" fmla="*/ 103 h 594"/>
                <a:gd name="T28" fmla="*/ 90 w 403"/>
                <a:gd name="T29" fmla="*/ 109 h 594"/>
                <a:gd name="T30" fmla="*/ 75 w 403"/>
                <a:gd name="T31" fmla="*/ 119 h 594"/>
                <a:gd name="T32" fmla="*/ 81 w 403"/>
                <a:gd name="T33" fmla="*/ 152 h 594"/>
                <a:gd name="T34" fmla="*/ 84 w 403"/>
                <a:gd name="T35" fmla="*/ 161 h 594"/>
                <a:gd name="T36" fmla="*/ 112 w 403"/>
                <a:gd name="T37" fmla="*/ 167 h 594"/>
                <a:gd name="T38" fmla="*/ 132 w 403"/>
                <a:gd name="T39" fmla="*/ 162 h 594"/>
                <a:gd name="T40" fmla="*/ 129 w 403"/>
                <a:gd name="T41" fmla="*/ 162 h 594"/>
                <a:gd name="T42" fmla="*/ 130 w 403"/>
                <a:gd name="T43" fmla="*/ 161 h 594"/>
                <a:gd name="T44" fmla="*/ 130 w 403"/>
                <a:gd name="T45" fmla="*/ 168 h 594"/>
                <a:gd name="T46" fmla="*/ 132 w 403"/>
                <a:gd name="T47" fmla="*/ 186 h 594"/>
                <a:gd name="T48" fmla="*/ 155 w 403"/>
                <a:gd name="T49" fmla="*/ 187 h 594"/>
                <a:gd name="T50" fmla="*/ 182 w 403"/>
                <a:gd name="T51" fmla="*/ 175 h 594"/>
                <a:gd name="T52" fmla="*/ 198 w 403"/>
                <a:gd name="T53" fmla="*/ 171 h 594"/>
                <a:gd name="T54" fmla="*/ 210 w 403"/>
                <a:gd name="T55" fmla="*/ 167 h 594"/>
                <a:gd name="T56" fmla="*/ 213 w 403"/>
                <a:gd name="T57" fmla="*/ 180 h 594"/>
                <a:gd name="T58" fmla="*/ 211 w 403"/>
                <a:gd name="T59" fmla="*/ 191 h 594"/>
                <a:gd name="T60" fmla="*/ 239 w 403"/>
                <a:gd name="T61" fmla="*/ 212 h 594"/>
                <a:gd name="T62" fmla="*/ 243 w 403"/>
                <a:gd name="T63" fmla="*/ 213 h 594"/>
                <a:gd name="T64" fmla="*/ 266 w 403"/>
                <a:gd name="T65" fmla="*/ 223 h 594"/>
                <a:gd name="T66" fmla="*/ 294 w 403"/>
                <a:gd name="T67" fmla="*/ 233 h 594"/>
                <a:gd name="T68" fmla="*/ 297 w 403"/>
                <a:gd name="T69" fmla="*/ 248 h 594"/>
                <a:gd name="T70" fmla="*/ 298 w 403"/>
                <a:gd name="T71" fmla="*/ 248 h 594"/>
                <a:gd name="T72" fmla="*/ 310 w 403"/>
                <a:gd name="T73" fmla="*/ 270 h 594"/>
                <a:gd name="T74" fmla="*/ 327 w 403"/>
                <a:gd name="T75" fmla="*/ 270 h 594"/>
                <a:gd name="T76" fmla="*/ 332 w 403"/>
                <a:gd name="T77" fmla="*/ 280 h 594"/>
                <a:gd name="T78" fmla="*/ 333 w 403"/>
                <a:gd name="T79" fmla="*/ 290 h 594"/>
                <a:gd name="T80" fmla="*/ 342 w 403"/>
                <a:gd name="T81" fmla="*/ 301 h 594"/>
                <a:gd name="T82" fmla="*/ 342 w 403"/>
                <a:gd name="T83" fmla="*/ 316 h 594"/>
                <a:gd name="T84" fmla="*/ 335 w 403"/>
                <a:gd name="T85" fmla="*/ 332 h 594"/>
                <a:gd name="T86" fmla="*/ 343 w 403"/>
                <a:gd name="T87" fmla="*/ 368 h 594"/>
                <a:gd name="T88" fmla="*/ 348 w 403"/>
                <a:gd name="T89" fmla="*/ 371 h 594"/>
                <a:gd name="T90" fmla="*/ 381 w 403"/>
                <a:gd name="T91" fmla="*/ 387 h 594"/>
                <a:gd name="T92" fmla="*/ 379 w 403"/>
                <a:gd name="T93" fmla="*/ 393 h 594"/>
                <a:gd name="T94" fmla="*/ 388 w 403"/>
                <a:gd name="T95" fmla="*/ 410 h 594"/>
                <a:gd name="T96" fmla="*/ 387 w 403"/>
                <a:gd name="T97" fmla="*/ 426 h 594"/>
                <a:gd name="T98" fmla="*/ 395 w 403"/>
                <a:gd name="T99" fmla="*/ 436 h 594"/>
                <a:gd name="T100" fmla="*/ 398 w 403"/>
                <a:gd name="T101" fmla="*/ 467 h 594"/>
                <a:gd name="T102" fmla="*/ 395 w 403"/>
                <a:gd name="T103" fmla="*/ 465 h 594"/>
                <a:gd name="T104" fmla="*/ 379 w 403"/>
                <a:gd name="T105" fmla="*/ 477 h 594"/>
                <a:gd name="T106" fmla="*/ 365 w 403"/>
                <a:gd name="T107" fmla="*/ 488 h 594"/>
                <a:gd name="T108" fmla="*/ 349 w 403"/>
                <a:gd name="T109" fmla="*/ 519 h 594"/>
                <a:gd name="T110" fmla="*/ 340 w 403"/>
                <a:gd name="T111" fmla="*/ 533 h 594"/>
                <a:gd name="T112" fmla="*/ 340 w 403"/>
                <a:gd name="T113" fmla="*/ 549 h 594"/>
                <a:gd name="T114" fmla="*/ 339 w 403"/>
                <a:gd name="T115" fmla="*/ 564 h 594"/>
                <a:gd name="T116" fmla="*/ 335 w 403"/>
                <a:gd name="T117" fmla="*/ 584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3" h="594">
                  <a:moveTo>
                    <a:pt x="3" y="0"/>
                  </a:moveTo>
                  <a:lnTo>
                    <a:pt x="3" y="0"/>
                  </a:lnTo>
                  <a:lnTo>
                    <a:pt x="0" y="0"/>
                  </a:lnTo>
                  <a:lnTo>
                    <a:pt x="0" y="2"/>
                  </a:lnTo>
                  <a:lnTo>
                    <a:pt x="0" y="2"/>
                  </a:lnTo>
                  <a:lnTo>
                    <a:pt x="3" y="3"/>
                  </a:lnTo>
                  <a:lnTo>
                    <a:pt x="3" y="0"/>
                  </a:lnTo>
                  <a:close/>
                  <a:moveTo>
                    <a:pt x="17" y="6"/>
                  </a:moveTo>
                  <a:lnTo>
                    <a:pt x="17" y="6"/>
                  </a:lnTo>
                  <a:lnTo>
                    <a:pt x="9" y="3"/>
                  </a:lnTo>
                  <a:lnTo>
                    <a:pt x="7" y="4"/>
                  </a:lnTo>
                  <a:lnTo>
                    <a:pt x="7" y="4"/>
                  </a:lnTo>
                  <a:lnTo>
                    <a:pt x="16" y="9"/>
                  </a:lnTo>
                  <a:lnTo>
                    <a:pt x="17" y="6"/>
                  </a:lnTo>
                  <a:close/>
                  <a:moveTo>
                    <a:pt x="32" y="13"/>
                  </a:moveTo>
                  <a:lnTo>
                    <a:pt x="32" y="13"/>
                  </a:lnTo>
                  <a:lnTo>
                    <a:pt x="22" y="9"/>
                  </a:lnTo>
                  <a:lnTo>
                    <a:pt x="22" y="10"/>
                  </a:lnTo>
                  <a:lnTo>
                    <a:pt x="22" y="10"/>
                  </a:lnTo>
                  <a:lnTo>
                    <a:pt x="30" y="15"/>
                  </a:lnTo>
                  <a:lnTo>
                    <a:pt x="32" y="13"/>
                  </a:lnTo>
                  <a:close/>
                  <a:moveTo>
                    <a:pt x="45" y="20"/>
                  </a:moveTo>
                  <a:lnTo>
                    <a:pt x="45" y="20"/>
                  </a:lnTo>
                  <a:lnTo>
                    <a:pt x="38" y="16"/>
                  </a:lnTo>
                  <a:lnTo>
                    <a:pt x="38" y="16"/>
                  </a:lnTo>
                  <a:lnTo>
                    <a:pt x="36" y="16"/>
                  </a:lnTo>
                  <a:lnTo>
                    <a:pt x="35" y="17"/>
                  </a:lnTo>
                  <a:lnTo>
                    <a:pt x="35" y="17"/>
                  </a:lnTo>
                  <a:lnTo>
                    <a:pt x="36" y="19"/>
                  </a:lnTo>
                  <a:lnTo>
                    <a:pt x="36" y="19"/>
                  </a:lnTo>
                  <a:lnTo>
                    <a:pt x="43" y="22"/>
                  </a:lnTo>
                  <a:lnTo>
                    <a:pt x="45" y="20"/>
                  </a:lnTo>
                  <a:close/>
                  <a:moveTo>
                    <a:pt x="59" y="23"/>
                  </a:moveTo>
                  <a:lnTo>
                    <a:pt x="59" y="23"/>
                  </a:lnTo>
                  <a:lnTo>
                    <a:pt x="49" y="22"/>
                  </a:lnTo>
                  <a:lnTo>
                    <a:pt x="49" y="23"/>
                  </a:lnTo>
                  <a:lnTo>
                    <a:pt x="49" y="23"/>
                  </a:lnTo>
                  <a:lnTo>
                    <a:pt x="59" y="26"/>
                  </a:lnTo>
                  <a:lnTo>
                    <a:pt x="59" y="23"/>
                  </a:lnTo>
                  <a:close/>
                  <a:moveTo>
                    <a:pt x="74" y="29"/>
                  </a:moveTo>
                  <a:lnTo>
                    <a:pt x="74" y="29"/>
                  </a:lnTo>
                  <a:lnTo>
                    <a:pt x="70" y="26"/>
                  </a:lnTo>
                  <a:lnTo>
                    <a:pt x="64" y="25"/>
                  </a:lnTo>
                  <a:lnTo>
                    <a:pt x="64" y="26"/>
                  </a:lnTo>
                  <a:lnTo>
                    <a:pt x="64" y="26"/>
                  </a:lnTo>
                  <a:lnTo>
                    <a:pt x="68" y="28"/>
                  </a:lnTo>
                  <a:lnTo>
                    <a:pt x="71" y="31"/>
                  </a:lnTo>
                  <a:lnTo>
                    <a:pt x="74" y="29"/>
                  </a:lnTo>
                  <a:close/>
                  <a:moveTo>
                    <a:pt x="83" y="41"/>
                  </a:moveTo>
                  <a:lnTo>
                    <a:pt x="83" y="41"/>
                  </a:lnTo>
                  <a:lnTo>
                    <a:pt x="83" y="41"/>
                  </a:lnTo>
                  <a:lnTo>
                    <a:pt x="77" y="33"/>
                  </a:lnTo>
                  <a:lnTo>
                    <a:pt x="75" y="35"/>
                  </a:lnTo>
                  <a:lnTo>
                    <a:pt x="75" y="35"/>
                  </a:lnTo>
                  <a:lnTo>
                    <a:pt x="81" y="42"/>
                  </a:lnTo>
                  <a:lnTo>
                    <a:pt x="81" y="42"/>
                  </a:lnTo>
                  <a:lnTo>
                    <a:pt x="83" y="41"/>
                  </a:lnTo>
                  <a:close/>
                  <a:moveTo>
                    <a:pt x="96" y="49"/>
                  </a:moveTo>
                  <a:lnTo>
                    <a:pt x="96" y="49"/>
                  </a:lnTo>
                  <a:lnTo>
                    <a:pt x="87" y="44"/>
                  </a:lnTo>
                  <a:lnTo>
                    <a:pt x="85" y="46"/>
                  </a:lnTo>
                  <a:lnTo>
                    <a:pt x="85" y="46"/>
                  </a:lnTo>
                  <a:lnTo>
                    <a:pt x="94" y="51"/>
                  </a:lnTo>
                  <a:lnTo>
                    <a:pt x="96" y="49"/>
                  </a:lnTo>
                  <a:close/>
                  <a:moveTo>
                    <a:pt x="110" y="55"/>
                  </a:moveTo>
                  <a:lnTo>
                    <a:pt x="110" y="55"/>
                  </a:lnTo>
                  <a:lnTo>
                    <a:pt x="100" y="51"/>
                  </a:lnTo>
                  <a:lnTo>
                    <a:pt x="98" y="54"/>
                  </a:lnTo>
                  <a:lnTo>
                    <a:pt x="98" y="54"/>
                  </a:lnTo>
                  <a:lnTo>
                    <a:pt x="109" y="57"/>
                  </a:lnTo>
                  <a:lnTo>
                    <a:pt x="110" y="55"/>
                  </a:lnTo>
                  <a:close/>
                  <a:moveTo>
                    <a:pt x="123" y="59"/>
                  </a:moveTo>
                  <a:lnTo>
                    <a:pt x="123" y="59"/>
                  </a:lnTo>
                  <a:lnTo>
                    <a:pt x="119" y="59"/>
                  </a:lnTo>
                  <a:lnTo>
                    <a:pt x="114" y="57"/>
                  </a:lnTo>
                  <a:lnTo>
                    <a:pt x="114" y="57"/>
                  </a:lnTo>
                  <a:lnTo>
                    <a:pt x="113" y="59"/>
                  </a:lnTo>
                  <a:lnTo>
                    <a:pt x="113" y="59"/>
                  </a:lnTo>
                  <a:lnTo>
                    <a:pt x="113" y="59"/>
                  </a:lnTo>
                  <a:lnTo>
                    <a:pt x="119" y="61"/>
                  </a:lnTo>
                  <a:lnTo>
                    <a:pt x="123" y="62"/>
                  </a:lnTo>
                  <a:lnTo>
                    <a:pt x="123" y="59"/>
                  </a:lnTo>
                  <a:close/>
                  <a:moveTo>
                    <a:pt x="136" y="62"/>
                  </a:moveTo>
                  <a:lnTo>
                    <a:pt x="136" y="62"/>
                  </a:lnTo>
                  <a:lnTo>
                    <a:pt x="136" y="59"/>
                  </a:lnTo>
                  <a:lnTo>
                    <a:pt x="136" y="59"/>
                  </a:lnTo>
                  <a:lnTo>
                    <a:pt x="135" y="58"/>
                  </a:lnTo>
                  <a:lnTo>
                    <a:pt x="133" y="58"/>
                  </a:lnTo>
                  <a:lnTo>
                    <a:pt x="133" y="58"/>
                  </a:lnTo>
                  <a:lnTo>
                    <a:pt x="133" y="58"/>
                  </a:lnTo>
                  <a:lnTo>
                    <a:pt x="127" y="59"/>
                  </a:lnTo>
                  <a:lnTo>
                    <a:pt x="129" y="61"/>
                  </a:lnTo>
                  <a:lnTo>
                    <a:pt x="129" y="61"/>
                  </a:lnTo>
                  <a:lnTo>
                    <a:pt x="133" y="59"/>
                  </a:lnTo>
                  <a:lnTo>
                    <a:pt x="133" y="59"/>
                  </a:lnTo>
                  <a:lnTo>
                    <a:pt x="133" y="61"/>
                  </a:lnTo>
                  <a:lnTo>
                    <a:pt x="133" y="61"/>
                  </a:lnTo>
                  <a:lnTo>
                    <a:pt x="135" y="62"/>
                  </a:lnTo>
                  <a:lnTo>
                    <a:pt x="136" y="62"/>
                  </a:lnTo>
                  <a:close/>
                  <a:moveTo>
                    <a:pt x="135" y="77"/>
                  </a:moveTo>
                  <a:lnTo>
                    <a:pt x="135" y="77"/>
                  </a:lnTo>
                  <a:lnTo>
                    <a:pt x="133" y="75"/>
                  </a:lnTo>
                  <a:lnTo>
                    <a:pt x="135" y="74"/>
                  </a:lnTo>
                  <a:lnTo>
                    <a:pt x="135" y="74"/>
                  </a:lnTo>
                  <a:lnTo>
                    <a:pt x="136" y="68"/>
                  </a:lnTo>
                  <a:lnTo>
                    <a:pt x="133" y="67"/>
                  </a:lnTo>
                  <a:lnTo>
                    <a:pt x="133" y="67"/>
                  </a:lnTo>
                  <a:lnTo>
                    <a:pt x="132" y="74"/>
                  </a:lnTo>
                  <a:lnTo>
                    <a:pt x="132" y="74"/>
                  </a:lnTo>
                  <a:lnTo>
                    <a:pt x="132" y="75"/>
                  </a:lnTo>
                  <a:lnTo>
                    <a:pt x="132" y="75"/>
                  </a:lnTo>
                  <a:lnTo>
                    <a:pt x="132" y="78"/>
                  </a:lnTo>
                  <a:lnTo>
                    <a:pt x="135" y="77"/>
                  </a:lnTo>
                  <a:close/>
                  <a:moveTo>
                    <a:pt x="135" y="91"/>
                  </a:moveTo>
                  <a:lnTo>
                    <a:pt x="135" y="91"/>
                  </a:lnTo>
                  <a:lnTo>
                    <a:pt x="136" y="90"/>
                  </a:lnTo>
                  <a:lnTo>
                    <a:pt x="136" y="90"/>
                  </a:lnTo>
                  <a:lnTo>
                    <a:pt x="138" y="88"/>
                  </a:lnTo>
                  <a:lnTo>
                    <a:pt x="138" y="88"/>
                  </a:lnTo>
                  <a:lnTo>
                    <a:pt x="138" y="87"/>
                  </a:lnTo>
                  <a:lnTo>
                    <a:pt x="138" y="87"/>
                  </a:lnTo>
                  <a:lnTo>
                    <a:pt x="138" y="84"/>
                  </a:lnTo>
                  <a:lnTo>
                    <a:pt x="136" y="81"/>
                  </a:lnTo>
                  <a:lnTo>
                    <a:pt x="135" y="83"/>
                  </a:lnTo>
                  <a:lnTo>
                    <a:pt x="135" y="83"/>
                  </a:lnTo>
                  <a:lnTo>
                    <a:pt x="136" y="87"/>
                  </a:lnTo>
                  <a:lnTo>
                    <a:pt x="136" y="87"/>
                  </a:lnTo>
                  <a:lnTo>
                    <a:pt x="135" y="88"/>
                  </a:lnTo>
                  <a:lnTo>
                    <a:pt x="135" y="88"/>
                  </a:lnTo>
                  <a:lnTo>
                    <a:pt x="133" y="88"/>
                  </a:lnTo>
                  <a:lnTo>
                    <a:pt x="135" y="91"/>
                  </a:lnTo>
                  <a:close/>
                  <a:moveTo>
                    <a:pt x="120" y="93"/>
                  </a:moveTo>
                  <a:lnTo>
                    <a:pt x="120" y="93"/>
                  </a:lnTo>
                  <a:lnTo>
                    <a:pt x="120" y="93"/>
                  </a:lnTo>
                  <a:lnTo>
                    <a:pt x="120" y="93"/>
                  </a:lnTo>
                  <a:lnTo>
                    <a:pt x="126" y="91"/>
                  </a:lnTo>
                  <a:lnTo>
                    <a:pt x="126" y="91"/>
                  </a:lnTo>
                  <a:lnTo>
                    <a:pt x="129" y="91"/>
                  </a:lnTo>
                  <a:lnTo>
                    <a:pt x="129" y="88"/>
                  </a:lnTo>
                  <a:lnTo>
                    <a:pt x="129" y="88"/>
                  </a:lnTo>
                  <a:lnTo>
                    <a:pt x="126" y="88"/>
                  </a:lnTo>
                  <a:lnTo>
                    <a:pt x="126" y="88"/>
                  </a:lnTo>
                  <a:lnTo>
                    <a:pt x="123" y="88"/>
                  </a:lnTo>
                  <a:lnTo>
                    <a:pt x="120" y="90"/>
                  </a:lnTo>
                  <a:lnTo>
                    <a:pt x="119" y="91"/>
                  </a:lnTo>
                  <a:lnTo>
                    <a:pt x="120" y="93"/>
                  </a:lnTo>
                  <a:close/>
                  <a:moveTo>
                    <a:pt x="104" y="94"/>
                  </a:moveTo>
                  <a:lnTo>
                    <a:pt x="104" y="94"/>
                  </a:lnTo>
                  <a:lnTo>
                    <a:pt x="107" y="94"/>
                  </a:lnTo>
                  <a:lnTo>
                    <a:pt x="107" y="94"/>
                  </a:lnTo>
                  <a:lnTo>
                    <a:pt x="114" y="94"/>
                  </a:lnTo>
                  <a:lnTo>
                    <a:pt x="114" y="94"/>
                  </a:lnTo>
                  <a:lnTo>
                    <a:pt x="114" y="91"/>
                  </a:lnTo>
                  <a:lnTo>
                    <a:pt x="114" y="91"/>
                  </a:lnTo>
                  <a:lnTo>
                    <a:pt x="114" y="91"/>
                  </a:lnTo>
                  <a:lnTo>
                    <a:pt x="107" y="91"/>
                  </a:lnTo>
                  <a:lnTo>
                    <a:pt x="107" y="91"/>
                  </a:lnTo>
                  <a:lnTo>
                    <a:pt x="104" y="91"/>
                  </a:lnTo>
                  <a:lnTo>
                    <a:pt x="104" y="94"/>
                  </a:lnTo>
                  <a:close/>
                  <a:moveTo>
                    <a:pt x="94" y="103"/>
                  </a:moveTo>
                  <a:lnTo>
                    <a:pt x="94" y="103"/>
                  </a:lnTo>
                  <a:lnTo>
                    <a:pt x="97" y="99"/>
                  </a:lnTo>
                  <a:lnTo>
                    <a:pt x="100" y="96"/>
                  </a:lnTo>
                  <a:lnTo>
                    <a:pt x="98" y="94"/>
                  </a:lnTo>
                  <a:lnTo>
                    <a:pt x="98" y="94"/>
                  </a:lnTo>
                  <a:lnTo>
                    <a:pt x="94" y="97"/>
                  </a:lnTo>
                  <a:lnTo>
                    <a:pt x="93" y="101"/>
                  </a:lnTo>
                  <a:lnTo>
                    <a:pt x="94" y="103"/>
                  </a:lnTo>
                  <a:close/>
                  <a:moveTo>
                    <a:pt x="85" y="116"/>
                  </a:moveTo>
                  <a:lnTo>
                    <a:pt x="85" y="116"/>
                  </a:lnTo>
                  <a:lnTo>
                    <a:pt x="91" y="112"/>
                  </a:lnTo>
                  <a:lnTo>
                    <a:pt x="91" y="112"/>
                  </a:lnTo>
                  <a:lnTo>
                    <a:pt x="93" y="110"/>
                  </a:lnTo>
                  <a:lnTo>
                    <a:pt x="93" y="110"/>
                  </a:lnTo>
                  <a:lnTo>
                    <a:pt x="93" y="109"/>
                  </a:lnTo>
                  <a:lnTo>
                    <a:pt x="93" y="107"/>
                  </a:lnTo>
                  <a:lnTo>
                    <a:pt x="91" y="107"/>
                  </a:lnTo>
                  <a:lnTo>
                    <a:pt x="90" y="109"/>
                  </a:lnTo>
                  <a:lnTo>
                    <a:pt x="90" y="109"/>
                  </a:lnTo>
                  <a:lnTo>
                    <a:pt x="90" y="109"/>
                  </a:lnTo>
                  <a:lnTo>
                    <a:pt x="88" y="110"/>
                  </a:lnTo>
                  <a:lnTo>
                    <a:pt x="88" y="110"/>
                  </a:lnTo>
                  <a:lnTo>
                    <a:pt x="84" y="113"/>
                  </a:lnTo>
                  <a:lnTo>
                    <a:pt x="85" y="116"/>
                  </a:lnTo>
                  <a:close/>
                  <a:moveTo>
                    <a:pt x="74" y="123"/>
                  </a:moveTo>
                  <a:lnTo>
                    <a:pt x="74" y="123"/>
                  </a:lnTo>
                  <a:lnTo>
                    <a:pt x="75" y="122"/>
                  </a:lnTo>
                  <a:lnTo>
                    <a:pt x="75" y="122"/>
                  </a:lnTo>
                  <a:lnTo>
                    <a:pt x="81" y="119"/>
                  </a:lnTo>
                  <a:lnTo>
                    <a:pt x="80" y="116"/>
                  </a:lnTo>
                  <a:lnTo>
                    <a:pt x="80" y="116"/>
                  </a:lnTo>
                  <a:lnTo>
                    <a:pt x="75" y="119"/>
                  </a:lnTo>
                  <a:lnTo>
                    <a:pt x="75" y="119"/>
                  </a:lnTo>
                  <a:lnTo>
                    <a:pt x="71" y="122"/>
                  </a:lnTo>
                  <a:lnTo>
                    <a:pt x="74" y="123"/>
                  </a:lnTo>
                  <a:close/>
                  <a:moveTo>
                    <a:pt x="77" y="138"/>
                  </a:moveTo>
                  <a:lnTo>
                    <a:pt x="77" y="138"/>
                  </a:lnTo>
                  <a:lnTo>
                    <a:pt x="74" y="128"/>
                  </a:lnTo>
                  <a:lnTo>
                    <a:pt x="71" y="128"/>
                  </a:lnTo>
                  <a:lnTo>
                    <a:pt x="71" y="128"/>
                  </a:lnTo>
                  <a:lnTo>
                    <a:pt x="74" y="138"/>
                  </a:lnTo>
                  <a:lnTo>
                    <a:pt x="77" y="138"/>
                  </a:lnTo>
                  <a:close/>
                  <a:moveTo>
                    <a:pt x="81" y="152"/>
                  </a:moveTo>
                  <a:lnTo>
                    <a:pt x="81" y="152"/>
                  </a:lnTo>
                  <a:lnTo>
                    <a:pt x="78" y="142"/>
                  </a:lnTo>
                  <a:lnTo>
                    <a:pt x="75" y="142"/>
                  </a:lnTo>
                  <a:lnTo>
                    <a:pt x="75" y="142"/>
                  </a:lnTo>
                  <a:lnTo>
                    <a:pt x="78" y="152"/>
                  </a:lnTo>
                  <a:lnTo>
                    <a:pt x="81" y="152"/>
                  </a:lnTo>
                  <a:close/>
                  <a:moveTo>
                    <a:pt x="90" y="161"/>
                  </a:moveTo>
                  <a:lnTo>
                    <a:pt x="90" y="161"/>
                  </a:lnTo>
                  <a:lnTo>
                    <a:pt x="85" y="159"/>
                  </a:lnTo>
                  <a:lnTo>
                    <a:pt x="83" y="157"/>
                  </a:lnTo>
                  <a:lnTo>
                    <a:pt x="81" y="158"/>
                  </a:lnTo>
                  <a:lnTo>
                    <a:pt x="81" y="158"/>
                  </a:lnTo>
                  <a:lnTo>
                    <a:pt x="84" y="161"/>
                  </a:lnTo>
                  <a:lnTo>
                    <a:pt x="90" y="164"/>
                  </a:lnTo>
                  <a:lnTo>
                    <a:pt x="90" y="161"/>
                  </a:lnTo>
                  <a:close/>
                  <a:moveTo>
                    <a:pt x="104" y="165"/>
                  </a:moveTo>
                  <a:lnTo>
                    <a:pt x="104" y="165"/>
                  </a:lnTo>
                  <a:lnTo>
                    <a:pt x="96" y="162"/>
                  </a:lnTo>
                  <a:lnTo>
                    <a:pt x="94" y="165"/>
                  </a:lnTo>
                  <a:lnTo>
                    <a:pt x="94" y="165"/>
                  </a:lnTo>
                  <a:lnTo>
                    <a:pt x="104" y="168"/>
                  </a:lnTo>
                  <a:lnTo>
                    <a:pt x="104" y="165"/>
                  </a:lnTo>
                  <a:close/>
                  <a:moveTo>
                    <a:pt x="119" y="165"/>
                  </a:moveTo>
                  <a:lnTo>
                    <a:pt x="119" y="165"/>
                  </a:lnTo>
                  <a:lnTo>
                    <a:pt x="112" y="167"/>
                  </a:lnTo>
                  <a:lnTo>
                    <a:pt x="110" y="167"/>
                  </a:lnTo>
                  <a:lnTo>
                    <a:pt x="110" y="167"/>
                  </a:lnTo>
                  <a:lnTo>
                    <a:pt x="109" y="170"/>
                  </a:lnTo>
                  <a:lnTo>
                    <a:pt x="110" y="170"/>
                  </a:lnTo>
                  <a:lnTo>
                    <a:pt x="110" y="170"/>
                  </a:lnTo>
                  <a:lnTo>
                    <a:pt x="112" y="170"/>
                  </a:lnTo>
                  <a:lnTo>
                    <a:pt x="112" y="170"/>
                  </a:lnTo>
                  <a:lnTo>
                    <a:pt x="116" y="168"/>
                  </a:lnTo>
                  <a:lnTo>
                    <a:pt x="120" y="167"/>
                  </a:lnTo>
                  <a:lnTo>
                    <a:pt x="119" y="165"/>
                  </a:lnTo>
                  <a:close/>
                  <a:moveTo>
                    <a:pt x="132" y="162"/>
                  </a:moveTo>
                  <a:lnTo>
                    <a:pt x="132" y="162"/>
                  </a:lnTo>
                  <a:lnTo>
                    <a:pt x="132" y="161"/>
                  </a:lnTo>
                  <a:lnTo>
                    <a:pt x="132" y="159"/>
                  </a:lnTo>
                  <a:lnTo>
                    <a:pt x="132" y="159"/>
                  </a:lnTo>
                  <a:lnTo>
                    <a:pt x="130" y="159"/>
                  </a:lnTo>
                  <a:lnTo>
                    <a:pt x="130" y="159"/>
                  </a:lnTo>
                  <a:lnTo>
                    <a:pt x="130" y="159"/>
                  </a:lnTo>
                  <a:lnTo>
                    <a:pt x="127" y="159"/>
                  </a:lnTo>
                  <a:lnTo>
                    <a:pt x="127" y="159"/>
                  </a:lnTo>
                  <a:lnTo>
                    <a:pt x="123" y="162"/>
                  </a:lnTo>
                  <a:lnTo>
                    <a:pt x="125" y="165"/>
                  </a:lnTo>
                  <a:lnTo>
                    <a:pt x="125" y="165"/>
                  </a:lnTo>
                  <a:lnTo>
                    <a:pt x="129" y="162"/>
                  </a:lnTo>
                  <a:lnTo>
                    <a:pt x="129" y="162"/>
                  </a:lnTo>
                  <a:lnTo>
                    <a:pt x="130" y="162"/>
                  </a:lnTo>
                  <a:lnTo>
                    <a:pt x="130" y="161"/>
                  </a:lnTo>
                  <a:lnTo>
                    <a:pt x="130" y="161"/>
                  </a:lnTo>
                  <a:lnTo>
                    <a:pt x="130" y="161"/>
                  </a:lnTo>
                  <a:lnTo>
                    <a:pt x="130" y="161"/>
                  </a:lnTo>
                  <a:lnTo>
                    <a:pt x="130" y="161"/>
                  </a:lnTo>
                  <a:lnTo>
                    <a:pt x="130" y="161"/>
                  </a:lnTo>
                  <a:lnTo>
                    <a:pt x="130" y="161"/>
                  </a:lnTo>
                  <a:lnTo>
                    <a:pt x="130" y="161"/>
                  </a:lnTo>
                  <a:lnTo>
                    <a:pt x="130" y="161"/>
                  </a:lnTo>
                  <a:lnTo>
                    <a:pt x="130" y="161"/>
                  </a:lnTo>
                  <a:lnTo>
                    <a:pt x="130" y="161"/>
                  </a:lnTo>
                  <a:lnTo>
                    <a:pt x="130" y="161"/>
                  </a:lnTo>
                  <a:lnTo>
                    <a:pt x="130" y="161"/>
                  </a:lnTo>
                  <a:lnTo>
                    <a:pt x="130" y="161"/>
                  </a:lnTo>
                  <a:lnTo>
                    <a:pt x="130" y="161"/>
                  </a:lnTo>
                  <a:lnTo>
                    <a:pt x="130" y="162"/>
                  </a:lnTo>
                  <a:lnTo>
                    <a:pt x="132" y="162"/>
                  </a:lnTo>
                  <a:close/>
                  <a:moveTo>
                    <a:pt x="133" y="178"/>
                  </a:moveTo>
                  <a:lnTo>
                    <a:pt x="133" y="178"/>
                  </a:lnTo>
                  <a:lnTo>
                    <a:pt x="133" y="168"/>
                  </a:lnTo>
                  <a:lnTo>
                    <a:pt x="130" y="168"/>
                  </a:lnTo>
                  <a:lnTo>
                    <a:pt x="130" y="168"/>
                  </a:lnTo>
                  <a:lnTo>
                    <a:pt x="130" y="178"/>
                  </a:lnTo>
                  <a:lnTo>
                    <a:pt x="133" y="178"/>
                  </a:lnTo>
                  <a:close/>
                  <a:moveTo>
                    <a:pt x="140" y="187"/>
                  </a:moveTo>
                  <a:lnTo>
                    <a:pt x="140" y="187"/>
                  </a:lnTo>
                  <a:lnTo>
                    <a:pt x="136" y="186"/>
                  </a:lnTo>
                  <a:lnTo>
                    <a:pt x="136" y="186"/>
                  </a:lnTo>
                  <a:lnTo>
                    <a:pt x="135" y="184"/>
                  </a:lnTo>
                  <a:lnTo>
                    <a:pt x="135" y="184"/>
                  </a:lnTo>
                  <a:lnTo>
                    <a:pt x="133" y="183"/>
                  </a:lnTo>
                  <a:lnTo>
                    <a:pt x="132" y="184"/>
                  </a:lnTo>
                  <a:lnTo>
                    <a:pt x="132" y="184"/>
                  </a:lnTo>
                  <a:lnTo>
                    <a:pt x="132" y="186"/>
                  </a:lnTo>
                  <a:lnTo>
                    <a:pt x="132" y="186"/>
                  </a:lnTo>
                  <a:lnTo>
                    <a:pt x="133" y="187"/>
                  </a:lnTo>
                  <a:lnTo>
                    <a:pt x="135" y="188"/>
                  </a:lnTo>
                  <a:lnTo>
                    <a:pt x="135" y="188"/>
                  </a:lnTo>
                  <a:lnTo>
                    <a:pt x="140" y="188"/>
                  </a:lnTo>
                  <a:lnTo>
                    <a:pt x="140" y="187"/>
                  </a:lnTo>
                  <a:close/>
                  <a:moveTo>
                    <a:pt x="155" y="186"/>
                  </a:moveTo>
                  <a:lnTo>
                    <a:pt x="155" y="186"/>
                  </a:lnTo>
                  <a:lnTo>
                    <a:pt x="145" y="186"/>
                  </a:lnTo>
                  <a:lnTo>
                    <a:pt x="145" y="188"/>
                  </a:lnTo>
                  <a:lnTo>
                    <a:pt x="145" y="188"/>
                  </a:lnTo>
                  <a:lnTo>
                    <a:pt x="155" y="187"/>
                  </a:lnTo>
                  <a:lnTo>
                    <a:pt x="155" y="186"/>
                  </a:lnTo>
                  <a:close/>
                  <a:moveTo>
                    <a:pt x="169" y="183"/>
                  </a:moveTo>
                  <a:lnTo>
                    <a:pt x="169" y="183"/>
                  </a:lnTo>
                  <a:lnTo>
                    <a:pt x="161" y="184"/>
                  </a:lnTo>
                  <a:lnTo>
                    <a:pt x="161" y="184"/>
                  </a:lnTo>
                  <a:lnTo>
                    <a:pt x="161" y="187"/>
                  </a:lnTo>
                  <a:lnTo>
                    <a:pt x="162" y="187"/>
                  </a:lnTo>
                  <a:lnTo>
                    <a:pt x="162" y="187"/>
                  </a:lnTo>
                  <a:lnTo>
                    <a:pt x="167" y="186"/>
                  </a:lnTo>
                  <a:lnTo>
                    <a:pt x="171" y="184"/>
                  </a:lnTo>
                  <a:lnTo>
                    <a:pt x="169" y="183"/>
                  </a:lnTo>
                  <a:close/>
                  <a:moveTo>
                    <a:pt x="182" y="175"/>
                  </a:moveTo>
                  <a:lnTo>
                    <a:pt x="182" y="175"/>
                  </a:lnTo>
                  <a:lnTo>
                    <a:pt x="174" y="180"/>
                  </a:lnTo>
                  <a:lnTo>
                    <a:pt x="175" y="183"/>
                  </a:lnTo>
                  <a:lnTo>
                    <a:pt x="175" y="183"/>
                  </a:lnTo>
                  <a:lnTo>
                    <a:pt x="184" y="177"/>
                  </a:lnTo>
                  <a:lnTo>
                    <a:pt x="182" y="175"/>
                  </a:lnTo>
                  <a:close/>
                  <a:moveTo>
                    <a:pt x="197" y="168"/>
                  </a:moveTo>
                  <a:lnTo>
                    <a:pt x="197" y="168"/>
                  </a:lnTo>
                  <a:lnTo>
                    <a:pt x="188" y="172"/>
                  </a:lnTo>
                  <a:lnTo>
                    <a:pt x="188" y="175"/>
                  </a:lnTo>
                  <a:lnTo>
                    <a:pt x="188" y="175"/>
                  </a:lnTo>
                  <a:lnTo>
                    <a:pt x="198" y="171"/>
                  </a:lnTo>
                  <a:lnTo>
                    <a:pt x="197" y="168"/>
                  </a:lnTo>
                  <a:close/>
                  <a:moveTo>
                    <a:pt x="213" y="165"/>
                  </a:moveTo>
                  <a:lnTo>
                    <a:pt x="213" y="165"/>
                  </a:lnTo>
                  <a:lnTo>
                    <a:pt x="210" y="164"/>
                  </a:lnTo>
                  <a:lnTo>
                    <a:pt x="210" y="164"/>
                  </a:lnTo>
                  <a:lnTo>
                    <a:pt x="206" y="165"/>
                  </a:lnTo>
                  <a:lnTo>
                    <a:pt x="201" y="167"/>
                  </a:lnTo>
                  <a:lnTo>
                    <a:pt x="203" y="168"/>
                  </a:lnTo>
                  <a:lnTo>
                    <a:pt x="203" y="168"/>
                  </a:lnTo>
                  <a:lnTo>
                    <a:pt x="206" y="167"/>
                  </a:lnTo>
                  <a:lnTo>
                    <a:pt x="210" y="167"/>
                  </a:lnTo>
                  <a:lnTo>
                    <a:pt x="210" y="167"/>
                  </a:lnTo>
                  <a:lnTo>
                    <a:pt x="211" y="167"/>
                  </a:lnTo>
                  <a:lnTo>
                    <a:pt x="213" y="165"/>
                  </a:lnTo>
                  <a:close/>
                  <a:moveTo>
                    <a:pt x="214" y="181"/>
                  </a:moveTo>
                  <a:lnTo>
                    <a:pt x="214" y="181"/>
                  </a:lnTo>
                  <a:lnTo>
                    <a:pt x="216" y="174"/>
                  </a:lnTo>
                  <a:lnTo>
                    <a:pt x="216" y="174"/>
                  </a:lnTo>
                  <a:lnTo>
                    <a:pt x="214" y="170"/>
                  </a:lnTo>
                  <a:lnTo>
                    <a:pt x="213" y="171"/>
                  </a:lnTo>
                  <a:lnTo>
                    <a:pt x="213" y="171"/>
                  </a:lnTo>
                  <a:lnTo>
                    <a:pt x="213" y="174"/>
                  </a:lnTo>
                  <a:lnTo>
                    <a:pt x="213" y="174"/>
                  </a:lnTo>
                  <a:lnTo>
                    <a:pt x="213" y="180"/>
                  </a:lnTo>
                  <a:lnTo>
                    <a:pt x="214" y="181"/>
                  </a:lnTo>
                  <a:close/>
                  <a:moveTo>
                    <a:pt x="214" y="194"/>
                  </a:moveTo>
                  <a:lnTo>
                    <a:pt x="214" y="194"/>
                  </a:lnTo>
                  <a:lnTo>
                    <a:pt x="214" y="193"/>
                  </a:lnTo>
                  <a:lnTo>
                    <a:pt x="214" y="193"/>
                  </a:lnTo>
                  <a:lnTo>
                    <a:pt x="214" y="191"/>
                  </a:lnTo>
                  <a:lnTo>
                    <a:pt x="214" y="191"/>
                  </a:lnTo>
                  <a:lnTo>
                    <a:pt x="214" y="186"/>
                  </a:lnTo>
                  <a:lnTo>
                    <a:pt x="211" y="186"/>
                  </a:lnTo>
                  <a:lnTo>
                    <a:pt x="211" y="186"/>
                  </a:lnTo>
                  <a:lnTo>
                    <a:pt x="211" y="191"/>
                  </a:lnTo>
                  <a:lnTo>
                    <a:pt x="211" y="191"/>
                  </a:lnTo>
                  <a:lnTo>
                    <a:pt x="211" y="194"/>
                  </a:lnTo>
                  <a:lnTo>
                    <a:pt x="211" y="194"/>
                  </a:lnTo>
                  <a:lnTo>
                    <a:pt x="213" y="196"/>
                  </a:lnTo>
                  <a:lnTo>
                    <a:pt x="214" y="194"/>
                  </a:lnTo>
                  <a:close/>
                  <a:moveTo>
                    <a:pt x="226" y="204"/>
                  </a:moveTo>
                  <a:lnTo>
                    <a:pt x="226" y="204"/>
                  </a:lnTo>
                  <a:lnTo>
                    <a:pt x="219" y="199"/>
                  </a:lnTo>
                  <a:lnTo>
                    <a:pt x="217" y="200"/>
                  </a:lnTo>
                  <a:lnTo>
                    <a:pt x="217" y="200"/>
                  </a:lnTo>
                  <a:lnTo>
                    <a:pt x="224" y="207"/>
                  </a:lnTo>
                  <a:lnTo>
                    <a:pt x="226" y="204"/>
                  </a:lnTo>
                  <a:close/>
                  <a:moveTo>
                    <a:pt x="239" y="212"/>
                  </a:moveTo>
                  <a:lnTo>
                    <a:pt x="239" y="212"/>
                  </a:lnTo>
                  <a:lnTo>
                    <a:pt x="233" y="210"/>
                  </a:lnTo>
                  <a:lnTo>
                    <a:pt x="230" y="207"/>
                  </a:lnTo>
                  <a:lnTo>
                    <a:pt x="229" y="210"/>
                  </a:lnTo>
                  <a:lnTo>
                    <a:pt x="229" y="210"/>
                  </a:lnTo>
                  <a:lnTo>
                    <a:pt x="233" y="213"/>
                  </a:lnTo>
                  <a:lnTo>
                    <a:pt x="238" y="214"/>
                  </a:lnTo>
                  <a:lnTo>
                    <a:pt x="239" y="212"/>
                  </a:lnTo>
                  <a:close/>
                  <a:moveTo>
                    <a:pt x="253" y="214"/>
                  </a:moveTo>
                  <a:lnTo>
                    <a:pt x="253" y="214"/>
                  </a:lnTo>
                  <a:lnTo>
                    <a:pt x="253" y="214"/>
                  </a:lnTo>
                  <a:lnTo>
                    <a:pt x="243" y="213"/>
                  </a:lnTo>
                  <a:lnTo>
                    <a:pt x="243" y="214"/>
                  </a:lnTo>
                  <a:lnTo>
                    <a:pt x="243" y="214"/>
                  </a:lnTo>
                  <a:lnTo>
                    <a:pt x="252" y="217"/>
                  </a:lnTo>
                  <a:lnTo>
                    <a:pt x="253" y="217"/>
                  </a:lnTo>
                  <a:lnTo>
                    <a:pt x="253" y="214"/>
                  </a:lnTo>
                  <a:close/>
                  <a:moveTo>
                    <a:pt x="266" y="223"/>
                  </a:moveTo>
                  <a:lnTo>
                    <a:pt x="266" y="223"/>
                  </a:lnTo>
                  <a:lnTo>
                    <a:pt x="258" y="217"/>
                  </a:lnTo>
                  <a:lnTo>
                    <a:pt x="258" y="219"/>
                  </a:lnTo>
                  <a:lnTo>
                    <a:pt x="258" y="219"/>
                  </a:lnTo>
                  <a:lnTo>
                    <a:pt x="265" y="225"/>
                  </a:lnTo>
                  <a:lnTo>
                    <a:pt x="266" y="223"/>
                  </a:lnTo>
                  <a:close/>
                  <a:moveTo>
                    <a:pt x="280" y="229"/>
                  </a:moveTo>
                  <a:lnTo>
                    <a:pt x="280" y="229"/>
                  </a:lnTo>
                  <a:lnTo>
                    <a:pt x="275" y="229"/>
                  </a:lnTo>
                  <a:lnTo>
                    <a:pt x="271" y="228"/>
                  </a:lnTo>
                  <a:lnTo>
                    <a:pt x="271" y="226"/>
                  </a:lnTo>
                  <a:lnTo>
                    <a:pt x="269" y="229"/>
                  </a:lnTo>
                  <a:lnTo>
                    <a:pt x="269" y="229"/>
                  </a:lnTo>
                  <a:lnTo>
                    <a:pt x="269" y="229"/>
                  </a:lnTo>
                  <a:lnTo>
                    <a:pt x="274" y="232"/>
                  </a:lnTo>
                  <a:lnTo>
                    <a:pt x="280" y="232"/>
                  </a:lnTo>
                  <a:lnTo>
                    <a:pt x="280" y="229"/>
                  </a:lnTo>
                  <a:close/>
                  <a:moveTo>
                    <a:pt x="294" y="233"/>
                  </a:moveTo>
                  <a:lnTo>
                    <a:pt x="294" y="233"/>
                  </a:lnTo>
                  <a:lnTo>
                    <a:pt x="290" y="230"/>
                  </a:lnTo>
                  <a:lnTo>
                    <a:pt x="290" y="230"/>
                  </a:lnTo>
                  <a:lnTo>
                    <a:pt x="284" y="230"/>
                  </a:lnTo>
                  <a:lnTo>
                    <a:pt x="284" y="232"/>
                  </a:lnTo>
                  <a:lnTo>
                    <a:pt x="284" y="232"/>
                  </a:lnTo>
                  <a:lnTo>
                    <a:pt x="290" y="233"/>
                  </a:lnTo>
                  <a:lnTo>
                    <a:pt x="290" y="233"/>
                  </a:lnTo>
                  <a:lnTo>
                    <a:pt x="293" y="235"/>
                  </a:lnTo>
                  <a:lnTo>
                    <a:pt x="294" y="233"/>
                  </a:lnTo>
                  <a:close/>
                  <a:moveTo>
                    <a:pt x="298" y="248"/>
                  </a:moveTo>
                  <a:lnTo>
                    <a:pt x="297" y="248"/>
                  </a:lnTo>
                  <a:lnTo>
                    <a:pt x="297" y="248"/>
                  </a:lnTo>
                  <a:lnTo>
                    <a:pt x="295" y="243"/>
                  </a:lnTo>
                  <a:lnTo>
                    <a:pt x="295" y="243"/>
                  </a:lnTo>
                  <a:lnTo>
                    <a:pt x="297" y="239"/>
                  </a:lnTo>
                  <a:lnTo>
                    <a:pt x="294" y="239"/>
                  </a:lnTo>
                  <a:lnTo>
                    <a:pt x="294" y="239"/>
                  </a:lnTo>
                  <a:lnTo>
                    <a:pt x="294" y="243"/>
                  </a:lnTo>
                  <a:lnTo>
                    <a:pt x="294" y="243"/>
                  </a:lnTo>
                  <a:lnTo>
                    <a:pt x="294" y="246"/>
                  </a:lnTo>
                  <a:lnTo>
                    <a:pt x="295" y="249"/>
                  </a:lnTo>
                  <a:lnTo>
                    <a:pt x="295" y="249"/>
                  </a:lnTo>
                  <a:lnTo>
                    <a:pt x="298" y="248"/>
                  </a:lnTo>
                  <a:close/>
                  <a:moveTo>
                    <a:pt x="304" y="261"/>
                  </a:moveTo>
                  <a:lnTo>
                    <a:pt x="304" y="261"/>
                  </a:lnTo>
                  <a:lnTo>
                    <a:pt x="300" y="252"/>
                  </a:lnTo>
                  <a:lnTo>
                    <a:pt x="298" y="254"/>
                  </a:lnTo>
                  <a:lnTo>
                    <a:pt x="298" y="254"/>
                  </a:lnTo>
                  <a:lnTo>
                    <a:pt x="303" y="262"/>
                  </a:lnTo>
                  <a:lnTo>
                    <a:pt x="304" y="261"/>
                  </a:lnTo>
                  <a:close/>
                  <a:moveTo>
                    <a:pt x="314" y="271"/>
                  </a:moveTo>
                  <a:lnTo>
                    <a:pt x="314" y="271"/>
                  </a:lnTo>
                  <a:lnTo>
                    <a:pt x="311" y="271"/>
                  </a:lnTo>
                  <a:lnTo>
                    <a:pt x="310" y="270"/>
                  </a:lnTo>
                  <a:lnTo>
                    <a:pt x="310" y="270"/>
                  </a:lnTo>
                  <a:lnTo>
                    <a:pt x="307" y="265"/>
                  </a:lnTo>
                  <a:lnTo>
                    <a:pt x="306" y="267"/>
                  </a:lnTo>
                  <a:lnTo>
                    <a:pt x="306" y="267"/>
                  </a:lnTo>
                  <a:lnTo>
                    <a:pt x="307" y="271"/>
                  </a:lnTo>
                  <a:lnTo>
                    <a:pt x="307" y="271"/>
                  </a:lnTo>
                  <a:lnTo>
                    <a:pt x="310" y="272"/>
                  </a:lnTo>
                  <a:lnTo>
                    <a:pt x="314" y="274"/>
                  </a:lnTo>
                  <a:lnTo>
                    <a:pt x="314" y="271"/>
                  </a:lnTo>
                  <a:close/>
                  <a:moveTo>
                    <a:pt x="330" y="271"/>
                  </a:moveTo>
                  <a:lnTo>
                    <a:pt x="330" y="271"/>
                  </a:lnTo>
                  <a:lnTo>
                    <a:pt x="327" y="270"/>
                  </a:lnTo>
                  <a:lnTo>
                    <a:pt x="327" y="270"/>
                  </a:lnTo>
                  <a:lnTo>
                    <a:pt x="326" y="270"/>
                  </a:lnTo>
                  <a:lnTo>
                    <a:pt x="326" y="270"/>
                  </a:lnTo>
                  <a:lnTo>
                    <a:pt x="319" y="271"/>
                  </a:lnTo>
                  <a:lnTo>
                    <a:pt x="319" y="274"/>
                  </a:lnTo>
                  <a:lnTo>
                    <a:pt x="319" y="274"/>
                  </a:lnTo>
                  <a:lnTo>
                    <a:pt x="326" y="272"/>
                  </a:lnTo>
                  <a:lnTo>
                    <a:pt x="327" y="272"/>
                  </a:lnTo>
                  <a:lnTo>
                    <a:pt x="329" y="272"/>
                  </a:lnTo>
                  <a:lnTo>
                    <a:pt x="330" y="271"/>
                  </a:lnTo>
                  <a:close/>
                  <a:moveTo>
                    <a:pt x="332" y="287"/>
                  </a:moveTo>
                  <a:lnTo>
                    <a:pt x="332" y="287"/>
                  </a:lnTo>
                  <a:lnTo>
                    <a:pt x="332" y="280"/>
                  </a:lnTo>
                  <a:lnTo>
                    <a:pt x="332" y="280"/>
                  </a:lnTo>
                  <a:lnTo>
                    <a:pt x="332" y="277"/>
                  </a:lnTo>
                  <a:lnTo>
                    <a:pt x="330" y="277"/>
                  </a:lnTo>
                  <a:lnTo>
                    <a:pt x="330" y="277"/>
                  </a:lnTo>
                  <a:lnTo>
                    <a:pt x="330" y="280"/>
                  </a:lnTo>
                  <a:lnTo>
                    <a:pt x="330" y="280"/>
                  </a:lnTo>
                  <a:lnTo>
                    <a:pt x="330" y="287"/>
                  </a:lnTo>
                  <a:lnTo>
                    <a:pt x="332" y="287"/>
                  </a:lnTo>
                  <a:close/>
                  <a:moveTo>
                    <a:pt x="342" y="296"/>
                  </a:moveTo>
                  <a:lnTo>
                    <a:pt x="342" y="296"/>
                  </a:lnTo>
                  <a:lnTo>
                    <a:pt x="337" y="293"/>
                  </a:lnTo>
                  <a:lnTo>
                    <a:pt x="333" y="290"/>
                  </a:lnTo>
                  <a:lnTo>
                    <a:pt x="332" y="293"/>
                  </a:lnTo>
                  <a:lnTo>
                    <a:pt x="332" y="293"/>
                  </a:lnTo>
                  <a:lnTo>
                    <a:pt x="336" y="294"/>
                  </a:lnTo>
                  <a:lnTo>
                    <a:pt x="340" y="297"/>
                  </a:lnTo>
                  <a:lnTo>
                    <a:pt x="342" y="296"/>
                  </a:lnTo>
                  <a:close/>
                  <a:moveTo>
                    <a:pt x="345" y="312"/>
                  </a:moveTo>
                  <a:lnTo>
                    <a:pt x="345" y="312"/>
                  </a:lnTo>
                  <a:lnTo>
                    <a:pt x="345" y="306"/>
                  </a:lnTo>
                  <a:lnTo>
                    <a:pt x="345" y="306"/>
                  </a:lnTo>
                  <a:lnTo>
                    <a:pt x="345" y="300"/>
                  </a:lnTo>
                  <a:lnTo>
                    <a:pt x="342" y="301"/>
                  </a:lnTo>
                  <a:lnTo>
                    <a:pt x="342" y="301"/>
                  </a:lnTo>
                  <a:lnTo>
                    <a:pt x="343" y="306"/>
                  </a:lnTo>
                  <a:lnTo>
                    <a:pt x="343" y="306"/>
                  </a:lnTo>
                  <a:lnTo>
                    <a:pt x="342" y="310"/>
                  </a:lnTo>
                  <a:lnTo>
                    <a:pt x="345" y="312"/>
                  </a:lnTo>
                  <a:close/>
                  <a:moveTo>
                    <a:pt x="339" y="326"/>
                  </a:moveTo>
                  <a:lnTo>
                    <a:pt x="339" y="326"/>
                  </a:lnTo>
                  <a:lnTo>
                    <a:pt x="340" y="325"/>
                  </a:lnTo>
                  <a:lnTo>
                    <a:pt x="340" y="325"/>
                  </a:lnTo>
                  <a:lnTo>
                    <a:pt x="342" y="320"/>
                  </a:lnTo>
                  <a:lnTo>
                    <a:pt x="343" y="316"/>
                  </a:lnTo>
                  <a:lnTo>
                    <a:pt x="342" y="316"/>
                  </a:lnTo>
                  <a:lnTo>
                    <a:pt x="342" y="316"/>
                  </a:lnTo>
                  <a:lnTo>
                    <a:pt x="337" y="323"/>
                  </a:lnTo>
                  <a:lnTo>
                    <a:pt x="337" y="323"/>
                  </a:lnTo>
                  <a:lnTo>
                    <a:pt x="337" y="325"/>
                  </a:lnTo>
                  <a:lnTo>
                    <a:pt x="339" y="326"/>
                  </a:lnTo>
                  <a:close/>
                  <a:moveTo>
                    <a:pt x="339" y="339"/>
                  </a:moveTo>
                  <a:lnTo>
                    <a:pt x="339" y="339"/>
                  </a:lnTo>
                  <a:lnTo>
                    <a:pt x="337" y="332"/>
                  </a:lnTo>
                  <a:lnTo>
                    <a:pt x="337" y="332"/>
                  </a:lnTo>
                  <a:lnTo>
                    <a:pt x="337" y="330"/>
                  </a:lnTo>
                  <a:lnTo>
                    <a:pt x="335" y="329"/>
                  </a:lnTo>
                  <a:lnTo>
                    <a:pt x="335" y="329"/>
                  </a:lnTo>
                  <a:lnTo>
                    <a:pt x="335" y="332"/>
                  </a:lnTo>
                  <a:lnTo>
                    <a:pt x="335" y="332"/>
                  </a:lnTo>
                  <a:lnTo>
                    <a:pt x="336" y="340"/>
                  </a:lnTo>
                  <a:lnTo>
                    <a:pt x="339" y="339"/>
                  </a:lnTo>
                  <a:close/>
                  <a:moveTo>
                    <a:pt x="342" y="354"/>
                  </a:moveTo>
                  <a:lnTo>
                    <a:pt x="342" y="354"/>
                  </a:lnTo>
                  <a:lnTo>
                    <a:pt x="340" y="343"/>
                  </a:lnTo>
                  <a:lnTo>
                    <a:pt x="337" y="345"/>
                  </a:lnTo>
                  <a:lnTo>
                    <a:pt x="337" y="345"/>
                  </a:lnTo>
                  <a:lnTo>
                    <a:pt x="339" y="355"/>
                  </a:lnTo>
                  <a:lnTo>
                    <a:pt x="342" y="354"/>
                  </a:lnTo>
                  <a:close/>
                  <a:moveTo>
                    <a:pt x="343" y="368"/>
                  </a:moveTo>
                  <a:lnTo>
                    <a:pt x="343" y="368"/>
                  </a:lnTo>
                  <a:lnTo>
                    <a:pt x="343" y="367"/>
                  </a:lnTo>
                  <a:lnTo>
                    <a:pt x="343" y="367"/>
                  </a:lnTo>
                  <a:lnTo>
                    <a:pt x="342" y="359"/>
                  </a:lnTo>
                  <a:lnTo>
                    <a:pt x="339" y="359"/>
                  </a:lnTo>
                  <a:lnTo>
                    <a:pt x="339" y="359"/>
                  </a:lnTo>
                  <a:lnTo>
                    <a:pt x="340" y="367"/>
                  </a:lnTo>
                  <a:lnTo>
                    <a:pt x="340" y="367"/>
                  </a:lnTo>
                  <a:lnTo>
                    <a:pt x="342" y="369"/>
                  </a:lnTo>
                  <a:lnTo>
                    <a:pt x="343" y="368"/>
                  </a:lnTo>
                  <a:close/>
                  <a:moveTo>
                    <a:pt x="358" y="372"/>
                  </a:moveTo>
                  <a:lnTo>
                    <a:pt x="358" y="372"/>
                  </a:lnTo>
                  <a:lnTo>
                    <a:pt x="348" y="371"/>
                  </a:lnTo>
                  <a:lnTo>
                    <a:pt x="346" y="372"/>
                  </a:lnTo>
                  <a:lnTo>
                    <a:pt x="346" y="372"/>
                  </a:lnTo>
                  <a:lnTo>
                    <a:pt x="358" y="375"/>
                  </a:lnTo>
                  <a:lnTo>
                    <a:pt x="358" y="372"/>
                  </a:lnTo>
                  <a:close/>
                  <a:moveTo>
                    <a:pt x="372" y="374"/>
                  </a:moveTo>
                  <a:lnTo>
                    <a:pt x="372" y="374"/>
                  </a:lnTo>
                  <a:lnTo>
                    <a:pt x="362" y="372"/>
                  </a:lnTo>
                  <a:lnTo>
                    <a:pt x="362" y="375"/>
                  </a:lnTo>
                  <a:lnTo>
                    <a:pt x="362" y="375"/>
                  </a:lnTo>
                  <a:lnTo>
                    <a:pt x="372" y="377"/>
                  </a:lnTo>
                  <a:lnTo>
                    <a:pt x="372" y="374"/>
                  </a:lnTo>
                  <a:close/>
                  <a:moveTo>
                    <a:pt x="381" y="387"/>
                  </a:moveTo>
                  <a:lnTo>
                    <a:pt x="381" y="387"/>
                  </a:lnTo>
                  <a:lnTo>
                    <a:pt x="377" y="377"/>
                  </a:lnTo>
                  <a:lnTo>
                    <a:pt x="375" y="378"/>
                  </a:lnTo>
                  <a:lnTo>
                    <a:pt x="375" y="378"/>
                  </a:lnTo>
                  <a:lnTo>
                    <a:pt x="379" y="387"/>
                  </a:lnTo>
                  <a:lnTo>
                    <a:pt x="381" y="387"/>
                  </a:lnTo>
                  <a:close/>
                  <a:moveTo>
                    <a:pt x="385" y="400"/>
                  </a:moveTo>
                  <a:lnTo>
                    <a:pt x="385" y="400"/>
                  </a:lnTo>
                  <a:lnTo>
                    <a:pt x="384" y="397"/>
                  </a:lnTo>
                  <a:lnTo>
                    <a:pt x="382" y="393"/>
                  </a:lnTo>
                  <a:lnTo>
                    <a:pt x="382" y="393"/>
                  </a:lnTo>
                  <a:lnTo>
                    <a:pt x="379" y="393"/>
                  </a:lnTo>
                  <a:lnTo>
                    <a:pt x="379" y="393"/>
                  </a:lnTo>
                  <a:lnTo>
                    <a:pt x="379" y="393"/>
                  </a:lnTo>
                  <a:lnTo>
                    <a:pt x="381" y="398"/>
                  </a:lnTo>
                  <a:lnTo>
                    <a:pt x="384" y="403"/>
                  </a:lnTo>
                  <a:lnTo>
                    <a:pt x="385" y="400"/>
                  </a:lnTo>
                  <a:close/>
                  <a:moveTo>
                    <a:pt x="391" y="414"/>
                  </a:moveTo>
                  <a:lnTo>
                    <a:pt x="391" y="414"/>
                  </a:lnTo>
                  <a:lnTo>
                    <a:pt x="391" y="409"/>
                  </a:lnTo>
                  <a:lnTo>
                    <a:pt x="390" y="404"/>
                  </a:lnTo>
                  <a:lnTo>
                    <a:pt x="387" y="406"/>
                  </a:lnTo>
                  <a:lnTo>
                    <a:pt x="387" y="406"/>
                  </a:lnTo>
                  <a:lnTo>
                    <a:pt x="388" y="410"/>
                  </a:lnTo>
                  <a:lnTo>
                    <a:pt x="390" y="414"/>
                  </a:lnTo>
                  <a:lnTo>
                    <a:pt x="391" y="414"/>
                  </a:lnTo>
                  <a:close/>
                  <a:moveTo>
                    <a:pt x="388" y="429"/>
                  </a:moveTo>
                  <a:lnTo>
                    <a:pt x="388" y="429"/>
                  </a:lnTo>
                  <a:lnTo>
                    <a:pt x="388" y="429"/>
                  </a:lnTo>
                  <a:lnTo>
                    <a:pt x="390" y="427"/>
                  </a:lnTo>
                  <a:lnTo>
                    <a:pt x="390" y="427"/>
                  </a:lnTo>
                  <a:lnTo>
                    <a:pt x="391" y="423"/>
                  </a:lnTo>
                  <a:lnTo>
                    <a:pt x="391" y="420"/>
                  </a:lnTo>
                  <a:lnTo>
                    <a:pt x="390" y="420"/>
                  </a:lnTo>
                  <a:lnTo>
                    <a:pt x="390" y="420"/>
                  </a:lnTo>
                  <a:lnTo>
                    <a:pt x="387" y="426"/>
                  </a:lnTo>
                  <a:lnTo>
                    <a:pt x="387" y="426"/>
                  </a:lnTo>
                  <a:lnTo>
                    <a:pt x="385" y="429"/>
                  </a:lnTo>
                  <a:lnTo>
                    <a:pt x="385" y="429"/>
                  </a:lnTo>
                  <a:lnTo>
                    <a:pt x="388" y="429"/>
                  </a:lnTo>
                  <a:close/>
                  <a:moveTo>
                    <a:pt x="400" y="438"/>
                  </a:moveTo>
                  <a:lnTo>
                    <a:pt x="400" y="438"/>
                  </a:lnTo>
                  <a:lnTo>
                    <a:pt x="395" y="435"/>
                  </a:lnTo>
                  <a:lnTo>
                    <a:pt x="395" y="435"/>
                  </a:lnTo>
                  <a:lnTo>
                    <a:pt x="391" y="432"/>
                  </a:lnTo>
                  <a:lnTo>
                    <a:pt x="390" y="435"/>
                  </a:lnTo>
                  <a:lnTo>
                    <a:pt x="390" y="435"/>
                  </a:lnTo>
                  <a:lnTo>
                    <a:pt x="395" y="436"/>
                  </a:lnTo>
                  <a:lnTo>
                    <a:pt x="395" y="436"/>
                  </a:lnTo>
                  <a:lnTo>
                    <a:pt x="397" y="439"/>
                  </a:lnTo>
                  <a:lnTo>
                    <a:pt x="400" y="438"/>
                  </a:lnTo>
                  <a:close/>
                  <a:moveTo>
                    <a:pt x="403" y="452"/>
                  </a:moveTo>
                  <a:lnTo>
                    <a:pt x="403" y="452"/>
                  </a:lnTo>
                  <a:lnTo>
                    <a:pt x="401" y="442"/>
                  </a:lnTo>
                  <a:lnTo>
                    <a:pt x="398" y="443"/>
                  </a:lnTo>
                  <a:lnTo>
                    <a:pt x="398" y="443"/>
                  </a:lnTo>
                  <a:lnTo>
                    <a:pt x="401" y="453"/>
                  </a:lnTo>
                  <a:lnTo>
                    <a:pt x="403" y="452"/>
                  </a:lnTo>
                  <a:close/>
                  <a:moveTo>
                    <a:pt x="398" y="467"/>
                  </a:moveTo>
                  <a:lnTo>
                    <a:pt x="398" y="467"/>
                  </a:lnTo>
                  <a:lnTo>
                    <a:pt x="401" y="464"/>
                  </a:lnTo>
                  <a:lnTo>
                    <a:pt x="401" y="464"/>
                  </a:lnTo>
                  <a:lnTo>
                    <a:pt x="403" y="461"/>
                  </a:lnTo>
                  <a:lnTo>
                    <a:pt x="403" y="461"/>
                  </a:lnTo>
                  <a:lnTo>
                    <a:pt x="403" y="458"/>
                  </a:lnTo>
                  <a:lnTo>
                    <a:pt x="401" y="458"/>
                  </a:lnTo>
                  <a:lnTo>
                    <a:pt x="401" y="458"/>
                  </a:lnTo>
                  <a:lnTo>
                    <a:pt x="401" y="461"/>
                  </a:lnTo>
                  <a:lnTo>
                    <a:pt x="401" y="461"/>
                  </a:lnTo>
                  <a:lnTo>
                    <a:pt x="400" y="462"/>
                  </a:lnTo>
                  <a:lnTo>
                    <a:pt x="400" y="462"/>
                  </a:lnTo>
                  <a:lnTo>
                    <a:pt x="395" y="465"/>
                  </a:lnTo>
                  <a:lnTo>
                    <a:pt x="398" y="467"/>
                  </a:lnTo>
                  <a:close/>
                  <a:moveTo>
                    <a:pt x="385" y="477"/>
                  </a:moveTo>
                  <a:lnTo>
                    <a:pt x="385" y="477"/>
                  </a:lnTo>
                  <a:lnTo>
                    <a:pt x="394" y="471"/>
                  </a:lnTo>
                  <a:lnTo>
                    <a:pt x="392" y="468"/>
                  </a:lnTo>
                  <a:lnTo>
                    <a:pt x="392" y="468"/>
                  </a:lnTo>
                  <a:lnTo>
                    <a:pt x="384" y="474"/>
                  </a:lnTo>
                  <a:lnTo>
                    <a:pt x="385" y="477"/>
                  </a:lnTo>
                  <a:close/>
                  <a:moveTo>
                    <a:pt x="374" y="485"/>
                  </a:moveTo>
                  <a:lnTo>
                    <a:pt x="374" y="485"/>
                  </a:lnTo>
                  <a:lnTo>
                    <a:pt x="381" y="480"/>
                  </a:lnTo>
                  <a:lnTo>
                    <a:pt x="379" y="477"/>
                  </a:lnTo>
                  <a:lnTo>
                    <a:pt x="379" y="477"/>
                  </a:lnTo>
                  <a:lnTo>
                    <a:pt x="372" y="484"/>
                  </a:lnTo>
                  <a:lnTo>
                    <a:pt x="374" y="485"/>
                  </a:lnTo>
                  <a:close/>
                  <a:moveTo>
                    <a:pt x="362" y="495"/>
                  </a:moveTo>
                  <a:lnTo>
                    <a:pt x="362" y="495"/>
                  </a:lnTo>
                  <a:lnTo>
                    <a:pt x="366" y="490"/>
                  </a:lnTo>
                  <a:lnTo>
                    <a:pt x="366" y="490"/>
                  </a:lnTo>
                  <a:lnTo>
                    <a:pt x="369" y="488"/>
                  </a:lnTo>
                  <a:lnTo>
                    <a:pt x="368" y="487"/>
                  </a:lnTo>
                  <a:lnTo>
                    <a:pt x="368" y="487"/>
                  </a:lnTo>
                  <a:lnTo>
                    <a:pt x="365" y="488"/>
                  </a:lnTo>
                  <a:lnTo>
                    <a:pt x="365" y="488"/>
                  </a:lnTo>
                  <a:lnTo>
                    <a:pt x="359" y="494"/>
                  </a:lnTo>
                  <a:lnTo>
                    <a:pt x="362" y="495"/>
                  </a:lnTo>
                  <a:close/>
                  <a:moveTo>
                    <a:pt x="353" y="507"/>
                  </a:moveTo>
                  <a:lnTo>
                    <a:pt x="353" y="507"/>
                  </a:lnTo>
                  <a:lnTo>
                    <a:pt x="359" y="498"/>
                  </a:lnTo>
                  <a:lnTo>
                    <a:pt x="356" y="497"/>
                  </a:lnTo>
                  <a:lnTo>
                    <a:pt x="356" y="497"/>
                  </a:lnTo>
                  <a:lnTo>
                    <a:pt x="350" y="506"/>
                  </a:lnTo>
                  <a:lnTo>
                    <a:pt x="353" y="507"/>
                  </a:lnTo>
                  <a:close/>
                  <a:moveTo>
                    <a:pt x="346" y="522"/>
                  </a:moveTo>
                  <a:lnTo>
                    <a:pt x="346" y="522"/>
                  </a:lnTo>
                  <a:lnTo>
                    <a:pt x="349" y="519"/>
                  </a:lnTo>
                  <a:lnTo>
                    <a:pt x="350" y="514"/>
                  </a:lnTo>
                  <a:lnTo>
                    <a:pt x="350" y="514"/>
                  </a:lnTo>
                  <a:lnTo>
                    <a:pt x="352" y="511"/>
                  </a:lnTo>
                  <a:lnTo>
                    <a:pt x="349" y="511"/>
                  </a:lnTo>
                  <a:lnTo>
                    <a:pt x="349" y="511"/>
                  </a:lnTo>
                  <a:lnTo>
                    <a:pt x="348" y="514"/>
                  </a:lnTo>
                  <a:lnTo>
                    <a:pt x="348" y="514"/>
                  </a:lnTo>
                  <a:lnTo>
                    <a:pt x="346" y="517"/>
                  </a:lnTo>
                  <a:lnTo>
                    <a:pt x="345" y="519"/>
                  </a:lnTo>
                  <a:lnTo>
                    <a:pt x="346" y="522"/>
                  </a:lnTo>
                  <a:close/>
                  <a:moveTo>
                    <a:pt x="340" y="533"/>
                  </a:moveTo>
                  <a:lnTo>
                    <a:pt x="340" y="533"/>
                  </a:lnTo>
                  <a:lnTo>
                    <a:pt x="340" y="527"/>
                  </a:lnTo>
                  <a:lnTo>
                    <a:pt x="340" y="527"/>
                  </a:lnTo>
                  <a:lnTo>
                    <a:pt x="343" y="524"/>
                  </a:lnTo>
                  <a:lnTo>
                    <a:pt x="340" y="523"/>
                  </a:lnTo>
                  <a:lnTo>
                    <a:pt x="340" y="523"/>
                  </a:lnTo>
                  <a:lnTo>
                    <a:pt x="339" y="524"/>
                  </a:lnTo>
                  <a:lnTo>
                    <a:pt x="339" y="527"/>
                  </a:lnTo>
                  <a:lnTo>
                    <a:pt x="339" y="527"/>
                  </a:lnTo>
                  <a:lnTo>
                    <a:pt x="339" y="533"/>
                  </a:lnTo>
                  <a:lnTo>
                    <a:pt x="340" y="533"/>
                  </a:lnTo>
                  <a:close/>
                  <a:moveTo>
                    <a:pt x="340" y="549"/>
                  </a:moveTo>
                  <a:lnTo>
                    <a:pt x="340" y="549"/>
                  </a:lnTo>
                  <a:lnTo>
                    <a:pt x="340" y="539"/>
                  </a:lnTo>
                  <a:lnTo>
                    <a:pt x="337" y="537"/>
                  </a:lnTo>
                  <a:lnTo>
                    <a:pt x="337" y="537"/>
                  </a:lnTo>
                  <a:lnTo>
                    <a:pt x="337" y="548"/>
                  </a:lnTo>
                  <a:lnTo>
                    <a:pt x="340" y="549"/>
                  </a:lnTo>
                  <a:close/>
                  <a:moveTo>
                    <a:pt x="339" y="564"/>
                  </a:moveTo>
                  <a:lnTo>
                    <a:pt x="339" y="564"/>
                  </a:lnTo>
                  <a:lnTo>
                    <a:pt x="340" y="553"/>
                  </a:lnTo>
                  <a:lnTo>
                    <a:pt x="337" y="553"/>
                  </a:lnTo>
                  <a:lnTo>
                    <a:pt x="337" y="553"/>
                  </a:lnTo>
                  <a:lnTo>
                    <a:pt x="336" y="564"/>
                  </a:lnTo>
                  <a:lnTo>
                    <a:pt x="339" y="564"/>
                  </a:lnTo>
                  <a:close/>
                  <a:moveTo>
                    <a:pt x="335" y="578"/>
                  </a:moveTo>
                  <a:lnTo>
                    <a:pt x="335" y="578"/>
                  </a:lnTo>
                  <a:lnTo>
                    <a:pt x="337" y="569"/>
                  </a:lnTo>
                  <a:lnTo>
                    <a:pt x="337" y="569"/>
                  </a:lnTo>
                  <a:lnTo>
                    <a:pt x="335" y="568"/>
                  </a:lnTo>
                  <a:lnTo>
                    <a:pt x="335" y="568"/>
                  </a:lnTo>
                  <a:lnTo>
                    <a:pt x="335" y="568"/>
                  </a:lnTo>
                  <a:lnTo>
                    <a:pt x="333" y="578"/>
                  </a:lnTo>
                  <a:lnTo>
                    <a:pt x="335" y="578"/>
                  </a:lnTo>
                  <a:close/>
                  <a:moveTo>
                    <a:pt x="333" y="594"/>
                  </a:moveTo>
                  <a:lnTo>
                    <a:pt x="333" y="594"/>
                  </a:lnTo>
                  <a:lnTo>
                    <a:pt x="335" y="584"/>
                  </a:lnTo>
                  <a:lnTo>
                    <a:pt x="332" y="584"/>
                  </a:lnTo>
                  <a:lnTo>
                    <a:pt x="332" y="584"/>
                  </a:lnTo>
                  <a:lnTo>
                    <a:pt x="330" y="594"/>
                  </a:lnTo>
                  <a:lnTo>
                    <a:pt x="333" y="59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71" name="Freeform 1635"/>
            <p:cNvSpPr>
              <a:spLocks noEditPoints="1"/>
            </p:cNvSpPr>
            <p:nvPr/>
          </p:nvSpPr>
          <p:spPr bwMode="auto">
            <a:xfrm>
              <a:off x="2239963" y="4767691"/>
              <a:ext cx="150813" cy="109538"/>
            </a:xfrm>
            <a:custGeom>
              <a:avLst/>
              <a:gdLst>
                <a:gd name="T0" fmla="*/ 92 w 95"/>
                <a:gd name="T1" fmla="*/ 0 h 69"/>
                <a:gd name="T2" fmla="*/ 95 w 95"/>
                <a:gd name="T3" fmla="*/ 16 h 69"/>
                <a:gd name="T4" fmla="*/ 95 w 95"/>
                <a:gd name="T5" fmla="*/ 11 h 69"/>
                <a:gd name="T6" fmla="*/ 94 w 95"/>
                <a:gd name="T7" fmla="*/ 6 h 69"/>
                <a:gd name="T8" fmla="*/ 94 w 95"/>
                <a:gd name="T9" fmla="*/ 16 h 69"/>
                <a:gd name="T10" fmla="*/ 85 w 95"/>
                <a:gd name="T11" fmla="*/ 27 h 69"/>
                <a:gd name="T12" fmla="*/ 91 w 95"/>
                <a:gd name="T13" fmla="*/ 19 h 69"/>
                <a:gd name="T14" fmla="*/ 75 w 95"/>
                <a:gd name="T15" fmla="*/ 39 h 69"/>
                <a:gd name="T16" fmla="*/ 78 w 95"/>
                <a:gd name="T17" fmla="*/ 34 h 69"/>
                <a:gd name="T18" fmla="*/ 81 w 95"/>
                <a:gd name="T19" fmla="*/ 29 h 69"/>
                <a:gd name="T20" fmla="*/ 76 w 95"/>
                <a:gd name="T21" fmla="*/ 34 h 69"/>
                <a:gd name="T22" fmla="*/ 61 w 95"/>
                <a:gd name="T23" fmla="*/ 43 h 69"/>
                <a:gd name="T24" fmla="*/ 69 w 95"/>
                <a:gd name="T25" fmla="*/ 37 h 69"/>
                <a:gd name="T26" fmla="*/ 61 w 95"/>
                <a:gd name="T27" fmla="*/ 43 h 69"/>
                <a:gd name="T28" fmla="*/ 46 w 95"/>
                <a:gd name="T29" fmla="*/ 48 h 69"/>
                <a:gd name="T30" fmla="*/ 55 w 95"/>
                <a:gd name="T31" fmla="*/ 43 h 69"/>
                <a:gd name="T32" fmla="*/ 46 w 95"/>
                <a:gd name="T33" fmla="*/ 48 h 69"/>
                <a:gd name="T34" fmla="*/ 42 w 95"/>
                <a:gd name="T35" fmla="*/ 50 h 69"/>
                <a:gd name="T36" fmla="*/ 34 w 95"/>
                <a:gd name="T37" fmla="*/ 58 h 69"/>
                <a:gd name="T38" fmla="*/ 26 w 95"/>
                <a:gd name="T39" fmla="*/ 69 h 69"/>
                <a:gd name="T40" fmla="*/ 32 w 95"/>
                <a:gd name="T41" fmla="*/ 69 h 69"/>
                <a:gd name="T42" fmla="*/ 33 w 95"/>
                <a:gd name="T43" fmla="*/ 68 h 69"/>
                <a:gd name="T44" fmla="*/ 33 w 95"/>
                <a:gd name="T45" fmla="*/ 63 h 69"/>
                <a:gd name="T46" fmla="*/ 30 w 95"/>
                <a:gd name="T47" fmla="*/ 66 h 69"/>
                <a:gd name="T48" fmla="*/ 29 w 95"/>
                <a:gd name="T49" fmla="*/ 68 h 69"/>
                <a:gd name="T50" fmla="*/ 11 w 95"/>
                <a:gd name="T51" fmla="*/ 63 h 69"/>
                <a:gd name="T52" fmla="*/ 16 w 95"/>
                <a:gd name="T53" fmla="*/ 66 h 69"/>
                <a:gd name="T54" fmla="*/ 21 w 95"/>
                <a:gd name="T55" fmla="*/ 66 h 69"/>
                <a:gd name="T56" fmla="*/ 13 w 95"/>
                <a:gd name="T57" fmla="*/ 62 h 69"/>
                <a:gd name="T58" fmla="*/ 1 w 95"/>
                <a:gd name="T59" fmla="*/ 59 h 69"/>
                <a:gd name="T60" fmla="*/ 1 w 95"/>
                <a:gd name="T61" fmla="*/ 63 h 69"/>
                <a:gd name="T62" fmla="*/ 8 w 95"/>
                <a:gd name="T63" fmla="*/ 62 h 69"/>
                <a:gd name="T64" fmla="*/ 1 w 95"/>
                <a:gd name="T65" fmla="*/ 61 h 69"/>
                <a:gd name="T66" fmla="*/ 3 w 95"/>
                <a:gd name="T67" fmla="*/ 63 h 69"/>
                <a:gd name="T68" fmla="*/ 3 w 95"/>
                <a:gd name="T69" fmla="*/ 48 h 69"/>
                <a:gd name="T70" fmla="*/ 5 w 95"/>
                <a:gd name="T71" fmla="*/ 50 h 69"/>
                <a:gd name="T72" fmla="*/ 5 w 95"/>
                <a:gd name="T73" fmla="*/ 50 h 69"/>
                <a:gd name="T74" fmla="*/ 5 w 95"/>
                <a:gd name="T75" fmla="*/ 50 h 69"/>
                <a:gd name="T76" fmla="*/ 5 w 95"/>
                <a:gd name="T77" fmla="*/ 50 h 69"/>
                <a:gd name="T78" fmla="*/ 5 w 95"/>
                <a:gd name="T79" fmla="*/ 50 h 69"/>
                <a:gd name="T80" fmla="*/ 4 w 95"/>
                <a:gd name="T81" fmla="*/ 52 h 69"/>
                <a:gd name="T82" fmla="*/ 5 w 95"/>
                <a:gd name="T83" fmla="*/ 55 h 69"/>
                <a:gd name="T84" fmla="*/ 7 w 95"/>
                <a:gd name="T85" fmla="*/ 52 h 69"/>
                <a:gd name="T86" fmla="*/ 8 w 95"/>
                <a:gd name="T87" fmla="*/ 50 h 69"/>
                <a:gd name="T88" fmla="*/ 4 w 95"/>
                <a:gd name="T89" fmla="*/ 4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5" h="69">
                  <a:moveTo>
                    <a:pt x="95" y="0"/>
                  </a:moveTo>
                  <a:lnTo>
                    <a:pt x="95" y="0"/>
                  </a:lnTo>
                  <a:lnTo>
                    <a:pt x="92" y="0"/>
                  </a:lnTo>
                  <a:lnTo>
                    <a:pt x="92" y="0"/>
                  </a:lnTo>
                  <a:lnTo>
                    <a:pt x="95" y="0"/>
                  </a:lnTo>
                  <a:close/>
                  <a:moveTo>
                    <a:pt x="95" y="16"/>
                  </a:moveTo>
                  <a:lnTo>
                    <a:pt x="95" y="16"/>
                  </a:lnTo>
                  <a:lnTo>
                    <a:pt x="95" y="11"/>
                  </a:lnTo>
                  <a:lnTo>
                    <a:pt x="95" y="11"/>
                  </a:lnTo>
                  <a:lnTo>
                    <a:pt x="95" y="6"/>
                  </a:lnTo>
                  <a:lnTo>
                    <a:pt x="94" y="6"/>
                  </a:lnTo>
                  <a:lnTo>
                    <a:pt x="94" y="6"/>
                  </a:lnTo>
                  <a:lnTo>
                    <a:pt x="94" y="11"/>
                  </a:lnTo>
                  <a:lnTo>
                    <a:pt x="94" y="11"/>
                  </a:lnTo>
                  <a:lnTo>
                    <a:pt x="94" y="16"/>
                  </a:lnTo>
                  <a:lnTo>
                    <a:pt x="95" y="16"/>
                  </a:lnTo>
                  <a:close/>
                  <a:moveTo>
                    <a:pt x="85" y="27"/>
                  </a:moveTo>
                  <a:lnTo>
                    <a:pt x="85" y="27"/>
                  </a:lnTo>
                  <a:lnTo>
                    <a:pt x="94" y="20"/>
                  </a:lnTo>
                  <a:lnTo>
                    <a:pt x="91" y="19"/>
                  </a:lnTo>
                  <a:lnTo>
                    <a:pt x="91" y="19"/>
                  </a:lnTo>
                  <a:lnTo>
                    <a:pt x="84" y="26"/>
                  </a:lnTo>
                  <a:lnTo>
                    <a:pt x="85" y="27"/>
                  </a:lnTo>
                  <a:close/>
                  <a:moveTo>
                    <a:pt x="75" y="39"/>
                  </a:moveTo>
                  <a:lnTo>
                    <a:pt x="75" y="39"/>
                  </a:lnTo>
                  <a:lnTo>
                    <a:pt x="76" y="37"/>
                  </a:lnTo>
                  <a:lnTo>
                    <a:pt x="78" y="34"/>
                  </a:lnTo>
                  <a:lnTo>
                    <a:pt x="78" y="34"/>
                  </a:lnTo>
                  <a:lnTo>
                    <a:pt x="82" y="32"/>
                  </a:lnTo>
                  <a:lnTo>
                    <a:pt x="81" y="29"/>
                  </a:lnTo>
                  <a:lnTo>
                    <a:pt x="81" y="29"/>
                  </a:lnTo>
                  <a:lnTo>
                    <a:pt x="76" y="34"/>
                  </a:lnTo>
                  <a:lnTo>
                    <a:pt x="76" y="34"/>
                  </a:lnTo>
                  <a:lnTo>
                    <a:pt x="74" y="36"/>
                  </a:lnTo>
                  <a:lnTo>
                    <a:pt x="75" y="39"/>
                  </a:lnTo>
                  <a:close/>
                  <a:moveTo>
                    <a:pt x="61" y="43"/>
                  </a:moveTo>
                  <a:lnTo>
                    <a:pt x="61" y="43"/>
                  </a:lnTo>
                  <a:lnTo>
                    <a:pt x="69" y="40"/>
                  </a:lnTo>
                  <a:lnTo>
                    <a:pt x="69" y="37"/>
                  </a:lnTo>
                  <a:lnTo>
                    <a:pt x="69" y="37"/>
                  </a:lnTo>
                  <a:lnTo>
                    <a:pt x="59" y="42"/>
                  </a:lnTo>
                  <a:lnTo>
                    <a:pt x="61" y="43"/>
                  </a:lnTo>
                  <a:close/>
                  <a:moveTo>
                    <a:pt x="46" y="48"/>
                  </a:moveTo>
                  <a:lnTo>
                    <a:pt x="46" y="48"/>
                  </a:lnTo>
                  <a:lnTo>
                    <a:pt x="46" y="48"/>
                  </a:lnTo>
                  <a:lnTo>
                    <a:pt x="55" y="45"/>
                  </a:lnTo>
                  <a:lnTo>
                    <a:pt x="55" y="43"/>
                  </a:lnTo>
                  <a:lnTo>
                    <a:pt x="55" y="43"/>
                  </a:lnTo>
                  <a:lnTo>
                    <a:pt x="45" y="45"/>
                  </a:lnTo>
                  <a:lnTo>
                    <a:pt x="45" y="46"/>
                  </a:lnTo>
                  <a:lnTo>
                    <a:pt x="46" y="48"/>
                  </a:lnTo>
                  <a:close/>
                  <a:moveTo>
                    <a:pt x="37" y="59"/>
                  </a:moveTo>
                  <a:lnTo>
                    <a:pt x="37" y="59"/>
                  </a:lnTo>
                  <a:lnTo>
                    <a:pt x="42" y="50"/>
                  </a:lnTo>
                  <a:lnTo>
                    <a:pt x="40" y="49"/>
                  </a:lnTo>
                  <a:lnTo>
                    <a:pt x="40" y="49"/>
                  </a:lnTo>
                  <a:lnTo>
                    <a:pt x="34" y="58"/>
                  </a:lnTo>
                  <a:lnTo>
                    <a:pt x="37" y="59"/>
                  </a:lnTo>
                  <a:close/>
                  <a:moveTo>
                    <a:pt x="26" y="69"/>
                  </a:moveTo>
                  <a:lnTo>
                    <a:pt x="26" y="69"/>
                  </a:lnTo>
                  <a:lnTo>
                    <a:pt x="29" y="69"/>
                  </a:lnTo>
                  <a:lnTo>
                    <a:pt x="29" y="69"/>
                  </a:lnTo>
                  <a:lnTo>
                    <a:pt x="32" y="69"/>
                  </a:lnTo>
                  <a:lnTo>
                    <a:pt x="32" y="69"/>
                  </a:lnTo>
                  <a:lnTo>
                    <a:pt x="33" y="68"/>
                  </a:lnTo>
                  <a:lnTo>
                    <a:pt x="33" y="68"/>
                  </a:lnTo>
                  <a:lnTo>
                    <a:pt x="36" y="63"/>
                  </a:lnTo>
                  <a:lnTo>
                    <a:pt x="33" y="63"/>
                  </a:lnTo>
                  <a:lnTo>
                    <a:pt x="33" y="63"/>
                  </a:lnTo>
                  <a:lnTo>
                    <a:pt x="32" y="66"/>
                  </a:lnTo>
                  <a:lnTo>
                    <a:pt x="30" y="66"/>
                  </a:lnTo>
                  <a:lnTo>
                    <a:pt x="30" y="66"/>
                  </a:lnTo>
                  <a:lnTo>
                    <a:pt x="30" y="66"/>
                  </a:lnTo>
                  <a:lnTo>
                    <a:pt x="29" y="68"/>
                  </a:lnTo>
                  <a:lnTo>
                    <a:pt x="29" y="68"/>
                  </a:lnTo>
                  <a:lnTo>
                    <a:pt x="27" y="66"/>
                  </a:lnTo>
                  <a:lnTo>
                    <a:pt x="26" y="69"/>
                  </a:lnTo>
                  <a:close/>
                  <a:moveTo>
                    <a:pt x="11" y="63"/>
                  </a:moveTo>
                  <a:lnTo>
                    <a:pt x="13" y="63"/>
                  </a:lnTo>
                  <a:lnTo>
                    <a:pt x="13" y="63"/>
                  </a:lnTo>
                  <a:lnTo>
                    <a:pt x="16" y="66"/>
                  </a:lnTo>
                  <a:lnTo>
                    <a:pt x="21" y="68"/>
                  </a:lnTo>
                  <a:lnTo>
                    <a:pt x="21" y="66"/>
                  </a:lnTo>
                  <a:lnTo>
                    <a:pt x="21" y="66"/>
                  </a:lnTo>
                  <a:lnTo>
                    <a:pt x="17" y="63"/>
                  </a:lnTo>
                  <a:lnTo>
                    <a:pt x="14" y="62"/>
                  </a:lnTo>
                  <a:lnTo>
                    <a:pt x="13" y="62"/>
                  </a:lnTo>
                  <a:lnTo>
                    <a:pt x="11" y="63"/>
                  </a:lnTo>
                  <a:close/>
                  <a:moveTo>
                    <a:pt x="1" y="59"/>
                  </a:moveTo>
                  <a:lnTo>
                    <a:pt x="1" y="59"/>
                  </a:lnTo>
                  <a:lnTo>
                    <a:pt x="0" y="62"/>
                  </a:lnTo>
                  <a:lnTo>
                    <a:pt x="0" y="65"/>
                  </a:lnTo>
                  <a:lnTo>
                    <a:pt x="1" y="63"/>
                  </a:lnTo>
                  <a:lnTo>
                    <a:pt x="3" y="63"/>
                  </a:lnTo>
                  <a:lnTo>
                    <a:pt x="3" y="63"/>
                  </a:lnTo>
                  <a:lnTo>
                    <a:pt x="8" y="62"/>
                  </a:lnTo>
                  <a:lnTo>
                    <a:pt x="8" y="61"/>
                  </a:lnTo>
                  <a:lnTo>
                    <a:pt x="8" y="61"/>
                  </a:lnTo>
                  <a:lnTo>
                    <a:pt x="1" y="61"/>
                  </a:lnTo>
                  <a:lnTo>
                    <a:pt x="1" y="62"/>
                  </a:lnTo>
                  <a:lnTo>
                    <a:pt x="3" y="63"/>
                  </a:lnTo>
                  <a:lnTo>
                    <a:pt x="3" y="63"/>
                  </a:lnTo>
                  <a:lnTo>
                    <a:pt x="4" y="59"/>
                  </a:lnTo>
                  <a:lnTo>
                    <a:pt x="1" y="59"/>
                  </a:lnTo>
                  <a:close/>
                  <a:moveTo>
                    <a:pt x="3" y="48"/>
                  </a:moveTo>
                  <a:lnTo>
                    <a:pt x="3" y="48"/>
                  </a:lnTo>
                  <a:lnTo>
                    <a:pt x="4" y="49"/>
                  </a:lnTo>
                  <a:lnTo>
                    <a:pt x="5" y="50"/>
                  </a:lnTo>
                  <a:lnTo>
                    <a:pt x="5" y="50"/>
                  </a:lnTo>
                  <a:lnTo>
                    <a:pt x="5" y="50"/>
                  </a:lnTo>
                  <a:lnTo>
                    <a:pt x="5" y="50"/>
                  </a:lnTo>
                  <a:lnTo>
                    <a:pt x="5" y="50"/>
                  </a:lnTo>
                  <a:lnTo>
                    <a:pt x="5" y="50"/>
                  </a:lnTo>
                  <a:lnTo>
                    <a:pt x="5" y="50"/>
                  </a:lnTo>
                  <a:lnTo>
                    <a:pt x="5" y="50"/>
                  </a:lnTo>
                  <a:lnTo>
                    <a:pt x="5" y="50"/>
                  </a:lnTo>
                  <a:lnTo>
                    <a:pt x="5" y="50"/>
                  </a:lnTo>
                  <a:lnTo>
                    <a:pt x="5" y="50"/>
                  </a:lnTo>
                  <a:lnTo>
                    <a:pt x="5" y="50"/>
                  </a:lnTo>
                  <a:lnTo>
                    <a:pt x="5" y="50"/>
                  </a:lnTo>
                  <a:lnTo>
                    <a:pt x="5" y="50"/>
                  </a:lnTo>
                  <a:lnTo>
                    <a:pt x="4" y="52"/>
                  </a:lnTo>
                  <a:lnTo>
                    <a:pt x="4" y="52"/>
                  </a:lnTo>
                  <a:lnTo>
                    <a:pt x="3" y="53"/>
                  </a:lnTo>
                  <a:lnTo>
                    <a:pt x="5" y="55"/>
                  </a:lnTo>
                  <a:lnTo>
                    <a:pt x="5" y="55"/>
                  </a:lnTo>
                  <a:lnTo>
                    <a:pt x="7" y="53"/>
                  </a:lnTo>
                  <a:lnTo>
                    <a:pt x="7" y="53"/>
                  </a:lnTo>
                  <a:lnTo>
                    <a:pt x="7" y="52"/>
                  </a:lnTo>
                  <a:lnTo>
                    <a:pt x="7" y="52"/>
                  </a:lnTo>
                  <a:lnTo>
                    <a:pt x="8" y="50"/>
                  </a:lnTo>
                  <a:lnTo>
                    <a:pt x="8" y="50"/>
                  </a:lnTo>
                  <a:lnTo>
                    <a:pt x="7" y="48"/>
                  </a:lnTo>
                  <a:lnTo>
                    <a:pt x="7" y="48"/>
                  </a:lnTo>
                  <a:lnTo>
                    <a:pt x="4" y="45"/>
                  </a:lnTo>
                  <a:lnTo>
                    <a:pt x="3"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72" name="Freeform 1636"/>
            <p:cNvSpPr>
              <a:spLocks noEditPoints="1"/>
            </p:cNvSpPr>
            <p:nvPr/>
          </p:nvSpPr>
          <p:spPr bwMode="auto">
            <a:xfrm>
              <a:off x="2519363" y="5024866"/>
              <a:ext cx="14288" cy="123825"/>
            </a:xfrm>
            <a:custGeom>
              <a:avLst/>
              <a:gdLst>
                <a:gd name="T0" fmla="*/ 6 w 9"/>
                <a:gd name="T1" fmla="*/ 3 h 78"/>
                <a:gd name="T2" fmla="*/ 6 w 9"/>
                <a:gd name="T3" fmla="*/ 3 h 78"/>
                <a:gd name="T4" fmla="*/ 6 w 9"/>
                <a:gd name="T5" fmla="*/ 0 h 78"/>
                <a:gd name="T6" fmla="*/ 3 w 9"/>
                <a:gd name="T7" fmla="*/ 0 h 78"/>
                <a:gd name="T8" fmla="*/ 3 w 9"/>
                <a:gd name="T9" fmla="*/ 0 h 78"/>
                <a:gd name="T10" fmla="*/ 3 w 9"/>
                <a:gd name="T11" fmla="*/ 3 h 78"/>
                <a:gd name="T12" fmla="*/ 6 w 9"/>
                <a:gd name="T13" fmla="*/ 3 h 78"/>
                <a:gd name="T14" fmla="*/ 8 w 9"/>
                <a:gd name="T15" fmla="*/ 17 h 78"/>
                <a:gd name="T16" fmla="*/ 8 w 9"/>
                <a:gd name="T17" fmla="*/ 17 h 78"/>
                <a:gd name="T18" fmla="*/ 6 w 9"/>
                <a:gd name="T19" fmla="*/ 7 h 78"/>
                <a:gd name="T20" fmla="*/ 5 w 9"/>
                <a:gd name="T21" fmla="*/ 9 h 78"/>
                <a:gd name="T22" fmla="*/ 5 w 9"/>
                <a:gd name="T23" fmla="*/ 9 h 78"/>
                <a:gd name="T24" fmla="*/ 6 w 9"/>
                <a:gd name="T25" fmla="*/ 17 h 78"/>
                <a:gd name="T26" fmla="*/ 8 w 9"/>
                <a:gd name="T27" fmla="*/ 17 h 78"/>
                <a:gd name="T28" fmla="*/ 8 w 9"/>
                <a:gd name="T29" fmla="*/ 33 h 78"/>
                <a:gd name="T30" fmla="*/ 8 w 9"/>
                <a:gd name="T31" fmla="*/ 33 h 78"/>
                <a:gd name="T32" fmla="*/ 8 w 9"/>
                <a:gd name="T33" fmla="*/ 29 h 78"/>
                <a:gd name="T34" fmla="*/ 8 w 9"/>
                <a:gd name="T35" fmla="*/ 29 h 78"/>
                <a:gd name="T36" fmla="*/ 9 w 9"/>
                <a:gd name="T37" fmla="*/ 25 h 78"/>
                <a:gd name="T38" fmla="*/ 9 w 9"/>
                <a:gd name="T39" fmla="*/ 25 h 78"/>
                <a:gd name="T40" fmla="*/ 9 w 9"/>
                <a:gd name="T41" fmla="*/ 23 h 78"/>
                <a:gd name="T42" fmla="*/ 6 w 9"/>
                <a:gd name="T43" fmla="*/ 23 h 78"/>
                <a:gd name="T44" fmla="*/ 6 w 9"/>
                <a:gd name="T45" fmla="*/ 23 h 78"/>
                <a:gd name="T46" fmla="*/ 6 w 9"/>
                <a:gd name="T47" fmla="*/ 25 h 78"/>
                <a:gd name="T48" fmla="*/ 6 w 9"/>
                <a:gd name="T49" fmla="*/ 25 h 78"/>
                <a:gd name="T50" fmla="*/ 6 w 9"/>
                <a:gd name="T51" fmla="*/ 29 h 78"/>
                <a:gd name="T52" fmla="*/ 6 w 9"/>
                <a:gd name="T53" fmla="*/ 29 h 78"/>
                <a:gd name="T54" fmla="*/ 5 w 9"/>
                <a:gd name="T55" fmla="*/ 33 h 78"/>
                <a:gd name="T56" fmla="*/ 8 w 9"/>
                <a:gd name="T57" fmla="*/ 33 h 78"/>
                <a:gd name="T58" fmla="*/ 6 w 9"/>
                <a:gd name="T59" fmla="*/ 48 h 78"/>
                <a:gd name="T60" fmla="*/ 6 w 9"/>
                <a:gd name="T61" fmla="*/ 48 h 78"/>
                <a:gd name="T62" fmla="*/ 6 w 9"/>
                <a:gd name="T63" fmla="*/ 38 h 78"/>
                <a:gd name="T64" fmla="*/ 5 w 9"/>
                <a:gd name="T65" fmla="*/ 38 h 78"/>
                <a:gd name="T66" fmla="*/ 5 w 9"/>
                <a:gd name="T67" fmla="*/ 38 h 78"/>
                <a:gd name="T68" fmla="*/ 3 w 9"/>
                <a:gd name="T69" fmla="*/ 48 h 78"/>
                <a:gd name="T70" fmla="*/ 6 w 9"/>
                <a:gd name="T71" fmla="*/ 48 h 78"/>
                <a:gd name="T72" fmla="*/ 5 w 9"/>
                <a:gd name="T73" fmla="*/ 64 h 78"/>
                <a:gd name="T74" fmla="*/ 5 w 9"/>
                <a:gd name="T75" fmla="*/ 64 h 78"/>
                <a:gd name="T76" fmla="*/ 6 w 9"/>
                <a:gd name="T77" fmla="*/ 54 h 78"/>
                <a:gd name="T78" fmla="*/ 3 w 9"/>
                <a:gd name="T79" fmla="*/ 54 h 78"/>
                <a:gd name="T80" fmla="*/ 3 w 9"/>
                <a:gd name="T81" fmla="*/ 54 h 78"/>
                <a:gd name="T82" fmla="*/ 2 w 9"/>
                <a:gd name="T83" fmla="*/ 62 h 78"/>
                <a:gd name="T84" fmla="*/ 5 w 9"/>
                <a:gd name="T85" fmla="*/ 64 h 78"/>
                <a:gd name="T86" fmla="*/ 5 w 9"/>
                <a:gd name="T87" fmla="*/ 77 h 78"/>
                <a:gd name="T88" fmla="*/ 5 w 9"/>
                <a:gd name="T89" fmla="*/ 77 h 78"/>
                <a:gd name="T90" fmla="*/ 3 w 9"/>
                <a:gd name="T91" fmla="*/ 74 h 78"/>
                <a:gd name="T92" fmla="*/ 2 w 9"/>
                <a:gd name="T93" fmla="*/ 69 h 78"/>
                <a:gd name="T94" fmla="*/ 2 w 9"/>
                <a:gd name="T95" fmla="*/ 69 h 78"/>
                <a:gd name="T96" fmla="*/ 2 w 9"/>
                <a:gd name="T97" fmla="*/ 68 h 78"/>
                <a:gd name="T98" fmla="*/ 0 w 9"/>
                <a:gd name="T99" fmla="*/ 68 h 78"/>
                <a:gd name="T100" fmla="*/ 0 w 9"/>
                <a:gd name="T101" fmla="*/ 68 h 78"/>
                <a:gd name="T102" fmla="*/ 0 w 9"/>
                <a:gd name="T103" fmla="*/ 69 h 78"/>
                <a:gd name="T104" fmla="*/ 0 w 9"/>
                <a:gd name="T105" fmla="*/ 69 h 78"/>
                <a:gd name="T106" fmla="*/ 0 w 9"/>
                <a:gd name="T107" fmla="*/ 74 h 78"/>
                <a:gd name="T108" fmla="*/ 2 w 9"/>
                <a:gd name="T109" fmla="*/ 78 h 78"/>
                <a:gd name="T110" fmla="*/ 5 w 9"/>
                <a:gd name="T111" fmla="*/ 7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 h="78">
                  <a:moveTo>
                    <a:pt x="6" y="3"/>
                  </a:moveTo>
                  <a:lnTo>
                    <a:pt x="6" y="3"/>
                  </a:lnTo>
                  <a:lnTo>
                    <a:pt x="6" y="0"/>
                  </a:lnTo>
                  <a:lnTo>
                    <a:pt x="3" y="0"/>
                  </a:lnTo>
                  <a:lnTo>
                    <a:pt x="3" y="0"/>
                  </a:lnTo>
                  <a:lnTo>
                    <a:pt x="3" y="3"/>
                  </a:lnTo>
                  <a:lnTo>
                    <a:pt x="6" y="3"/>
                  </a:lnTo>
                  <a:close/>
                  <a:moveTo>
                    <a:pt x="8" y="17"/>
                  </a:moveTo>
                  <a:lnTo>
                    <a:pt x="8" y="17"/>
                  </a:lnTo>
                  <a:lnTo>
                    <a:pt x="6" y="7"/>
                  </a:lnTo>
                  <a:lnTo>
                    <a:pt x="5" y="9"/>
                  </a:lnTo>
                  <a:lnTo>
                    <a:pt x="5" y="9"/>
                  </a:lnTo>
                  <a:lnTo>
                    <a:pt x="6" y="17"/>
                  </a:lnTo>
                  <a:lnTo>
                    <a:pt x="8" y="17"/>
                  </a:lnTo>
                  <a:close/>
                  <a:moveTo>
                    <a:pt x="8" y="33"/>
                  </a:moveTo>
                  <a:lnTo>
                    <a:pt x="8" y="33"/>
                  </a:lnTo>
                  <a:lnTo>
                    <a:pt x="8" y="29"/>
                  </a:lnTo>
                  <a:lnTo>
                    <a:pt x="8" y="29"/>
                  </a:lnTo>
                  <a:lnTo>
                    <a:pt x="9" y="25"/>
                  </a:lnTo>
                  <a:lnTo>
                    <a:pt x="9" y="25"/>
                  </a:lnTo>
                  <a:lnTo>
                    <a:pt x="9" y="23"/>
                  </a:lnTo>
                  <a:lnTo>
                    <a:pt x="6" y="23"/>
                  </a:lnTo>
                  <a:lnTo>
                    <a:pt x="6" y="23"/>
                  </a:lnTo>
                  <a:lnTo>
                    <a:pt x="6" y="25"/>
                  </a:lnTo>
                  <a:lnTo>
                    <a:pt x="6" y="25"/>
                  </a:lnTo>
                  <a:lnTo>
                    <a:pt x="6" y="29"/>
                  </a:lnTo>
                  <a:lnTo>
                    <a:pt x="6" y="29"/>
                  </a:lnTo>
                  <a:lnTo>
                    <a:pt x="5" y="33"/>
                  </a:lnTo>
                  <a:lnTo>
                    <a:pt x="8" y="33"/>
                  </a:lnTo>
                  <a:close/>
                  <a:moveTo>
                    <a:pt x="6" y="48"/>
                  </a:moveTo>
                  <a:lnTo>
                    <a:pt x="6" y="48"/>
                  </a:lnTo>
                  <a:lnTo>
                    <a:pt x="6" y="38"/>
                  </a:lnTo>
                  <a:lnTo>
                    <a:pt x="5" y="38"/>
                  </a:lnTo>
                  <a:lnTo>
                    <a:pt x="5" y="38"/>
                  </a:lnTo>
                  <a:lnTo>
                    <a:pt x="3" y="48"/>
                  </a:lnTo>
                  <a:lnTo>
                    <a:pt x="6" y="48"/>
                  </a:lnTo>
                  <a:close/>
                  <a:moveTo>
                    <a:pt x="5" y="64"/>
                  </a:moveTo>
                  <a:lnTo>
                    <a:pt x="5" y="64"/>
                  </a:lnTo>
                  <a:lnTo>
                    <a:pt x="6" y="54"/>
                  </a:lnTo>
                  <a:lnTo>
                    <a:pt x="3" y="54"/>
                  </a:lnTo>
                  <a:lnTo>
                    <a:pt x="3" y="54"/>
                  </a:lnTo>
                  <a:lnTo>
                    <a:pt x="2" y="62"/>
                  </a:lnTo>
                  <a:lnTo>
                    <a:pt x="5" y="64"/>
                  </a:lnTo>
                  <a:close/>
                  <a:moveTo>
                    <a:pt x="5" y="77"/>
                  </a:moveTo>
                  <a:lnTo>
                    <a:pt x="5" y="77"/>
                  </a:lnTo>
                  <a:lnTo>
                    <a:pt x="3" y="74"/>
                  </a:lnTo>
                  <a:lnTo>
                    <a:pt x="2" y="69"/>
                  </a:lnTo>
                  <a:lnTo>
                    <a:pt x="2" y="69"/>
                  </a:lnTo>
                  <a:lnTo>
                    <a:pt x="2" y="68"/>
                  </a:lnTo>
                  <a:lnTo>
                    <a:pt x="0" y="68"/>
                  </a:lnTo>
                  <a:lnTo>
                    <a:pt x="0" y="68"/>
                  </a:lnTo>
                  <a:lnTo>
                    <a:pt x="0" y="69"/>
                  </a:lnTo>
                  <a:lnTo>
                    <a:pt x="0" y="69"/>
                  </a:lnTo>
                  <a:lnTo>
                    <a:pt x="0" y="74"/>
                  </a:lnTo>
                  <a:lnTo>
                    <a:pt x="2" y="78"/>
                  </a:lnTo>
                  <a:lnTo>
                    <a:pt x="5" y="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73" name="Freeform 1637"/>
            <p:cNvSpPr>
              <a:spLocks noEditPoints="1"/>
            </p:cNvSpPr>
            <p:nvPr/>
          </p:nvSpPr>
          <p:spPr bwMode="auto">
            <a:xfrm>
              <a:off x="2527300" y="5178854"/>
              <a:ext cx="26988" cy="31750"/>
            </a:xfrm>
            <a:custGeom>
              <a:avLst/>
              <a:gdLst>
                <a:gd name="T0" fmla="*/ 13 w 17"/>
                <a:gd name="T1" fmla="*/ 10 h 20"/>
                <a:gd name="T2" fmla="*/ 13 w 17"/>
                <a:gd name="T3" fmla="*/ 10 h 20"/>
                <a:gd name="T4" fmla="*/ 16 w 17"/>
                <a:gd name="T5" fmla="*/ 6 h 20"/>
                <a:gd name="T6" fmla="*/ 17 w 17"/>
                <a:gd name="T7" fmla="*/ 1 h 20"/>
                <a:gd name="T8" fmla="*/ 17 w 17"/>
                <a:gd name="T9" fmla="*/ 1 h 20"/>
                <a:gd name="T10" fmla="*/ 17 w 17"/>
                <a:gd name="T11" fmla="*/ 0 h 20"/>
                <a:gd name="T12" fmla="*/ 14 w 17"/>
                <a:gd name="T13" fmla="*/ 0 h 20"/>
                <a:gd name="T14" fmla="*/ 14 w 17"/>
                <a:gd name="T15" fmla="*/ 1 h 20"/>
                <a:gd name="T16" fmla="*/ 14 w 17"/>
                <a:gd name="T17" fmla="*/ 1 h 20"/>
                <a:gd name="T18" fmla="*/ 13 w 17"/>
                <a:gd name="T19" fmla="*/ 4 h 20"/>
                <a:gd name="T20" fmla="*/ 10 w 17"/>
                <a:gd name="T21" fmla="*/ 9 h 20"/>
                <a:gd name="T22" fmla="*/ 13 w 17"/>
                <a:gd name="T23" fmla="*/ 10 h 20"/>
                <a:gd name="T24" fmla="*/ 1 w 17"/>
                <a:gd name="T25" fmla="*/ 20 h 20"/>
                <a:gd name="T26" fmla="*/ 1 w 17"/>
                <a:gd name="T27" fmla="*/ 20 h 20"/>
                <a:gd name="T28" fmla="*/ 10 w 17"/>
                <a:gd name="T29" fmla="*/ 13 h 20"/>
                <a:gd name="T30" fmla="*/ 7 w 17"/>
                <a:gd name="T31" fmla="*/ 12 h 20"/>
                <a:gd name="T32" fmla="*/ 7 w 17"/>
                <a:gd name="T33" fmla="*/ 12 h 20"/>
                <a:gd name="T34" fmla="*/ 3 w 17"/>
                <a:gd name="T35" fmla="*/ 17 h 20"/>
                <a:gd name="T36" fmla="*/ 3 w 17"/>
                <a:gd name="T37" fmla="*/ 17 h 20"/>
                <a:gd name="T38" fmla="*/ 0 w 17"/>
                <a:gd name="T39" fmla="*/ 19 h 20"/>
                <a:gd name="T40" fmla="*/ 1 w 17"/>
                <a:gd name="T4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20">
                  <a:moveTo>
                    <a:pt x="13" y="10"/>
                  </a:moveTo>
                  <a:lnTo>
                    <a:pt x="13" y="10"/>
                  </a:lnTo>
                  <a:lnTo>
                    <a:pt x="16" y="6"/>
                  </a:lnTo>
                  <a:lnTo>
                    <a:pt x="17" y="1"/>
                  </a:lnTo>
                  <a:lnTo>
                    <a:pt x="17" y="1"/>
                  </a:lnTo>
                  <a:lnTo>
                    <a:pt x="17" y="0"/>
                  </a:lnTo>
                  <a:lnTo>
                    <a:pt x="14" y="0"/>
                  </a:lnTo>
                  <a:lnTo>
                    <a:pt x="14" y="1"/>
                  </a:lnTo>
                  <a:lnTo>
                    <a:pt x="14" y="1"/>
                  </a:lnTo>
                  <a:lnTo>
                    <a:pt x="13" y="4"/>
                  </a:lnTo>
                  <a:lnTo>
                    <a:pt x="10" y="9"/>
                  </a:lnTo>
                  <a:lnTo>
                    <a:pt x="13" y="10"/>
                  </a:lnTo>
                  <a:close/>
                  <a:moveTo>
                    <a:pt x="1" y="20"/>
                  </a:moveTo>
                  <a:lnTo>
                    <a:pt x="1" y="20"/>
                  </a:lnTo>
                  <a:lnTo>
                    <a:pt x="10" y="13"/>
                  </a:lnTo>
                  <a:lnTo>
                    <a:pt x="7" y="12"/>
                  </a:lnTo>
                  <a:lnTo>
                    <a:pt x="7" y="12"/>
                  </a:lnTo>
                  <a:lnTo>
                    <a:pt x="3" y="17"/>
                  </a:lnTo>
                  <a:lnTo>
                    <a:pt x="3" y="17"/>
                  </a:lnTo>
                  <a:lnTo>
                    <a:pt x="0" y="19"/>
                  </a:lnTo>
                  <a:lnTo>
                    <a:pt x="1"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74" name="Freeform 1638"/>
            <p:cNvSpPr>
              <a:spLocks noEditPoints="1"/>
            </p:cNvSpPr>
            <p:nvPr/>
          </p:nvSpPr>
          <p:spPr bwMode="auto">
            <a:xfrm>
              <a:off x="2844800" y="5548741"/>
              <a:ext cx="119063" cy="85725"/>
            </a:xfrm>
            <a:custGeom>
              <a:avLst/>
              <a:gdLst>
                <a:gd name="T0" fmla="*/ 1 w 75"/>
                <a:gd name="T1" fmla="*/ 0 h 54"/>
                <a:gd name="T2" fmla="*/ 0 w 75"/>
                <a:gd name="T3" fmla="*/ 0 h 54"/>
                <a:gd name="T4" fmla="*/ 0 w 75"/>
                <a:gd name="T5" fmla="*/ 2 h 54"/>
                <a:gd name="T6" fmla="*/ 0 w 75"/>
                <a:gd name="T7" fmla="*/ 3 h 54"/>
                <a:gd name="T8" fmla="*/ 1 w 75"/>
                <a:gd name="T9" fmla="*/ 0 h 54"/>
                <a:gd name="T10" fmla="*/ 16 w 75"/>
                <a:gd name="T11" fmla="*/ 6 h 54"/>
                <a:gd name="T12" fmla="*/ 16 w 75"/>
                <a:gd name="T13" fmla="*/ 6 h 54"/>
                <a:gd name="T14" fmla="*/ 14 w 75"/>
                <a:gd name="T15" fmla="*/ 5 h 54"/>
                <a:gd name="T16" fmla="*/ 14 w 75"/>
                <a:gd name="T17" fmla="*/ 5 h 54"/>
                <a:gd name="T18" fmla="*/ 5 w 75"/>
                <a:gd name="T19" fmla="*/ 2 h 54"/>
                <a:gd name="T20" fmla="*/ 5 w 75"/>
                <a:gd name="T21" fmla="*/ 5 h 54"/>
                <a:gd name="T22" fmla="*/ 5 w 75"/>
                <a:gd name="T23" fmla="*/ 5 h 54"/>
                <a:gd name="T24" fmla="*/ 11 w 75"/>
                <a:gd name="T25" fmla="*/ 7 h 54"/>
                <a:gd name="T26" fmla="*/ 11 w 75"/>
                <a:gd name="T27" fmla="*/ 7 h 54"/>
                <a:gd name="T28" fmla="*/ 14 w 75"/>
                <a:gd name="T29" fmla="*/ 9 h 54"/>
                <a:gd name="T30" fmla="*/ 16 w 75"/>
                <a:gd name="T31" fmla="*/ 6 h 54"/>
                <a:gd name="T32" fmla="*/ 27 w 75"/>
                <a:gd name="T33" fmla="*/ 15 h 54"/>
                <a:gd name="T34" fmla="*/ 27 w 75"/>
                <a:gd name="T35" fmla="*/ 15 h 54"/>
                <a:gd name="T36" fmla="*/ 20 w 75"/>
                <a:gd name="T37" fmla="*/ 9 h 54"/>
                <a:gd name="T38" fmla="*/ 18 w 75"/>
                <a:gd name="T39" fmla="*/ 12 h 54"/>
                <a:gd name="T40" fmla="*/ 18 w 75"/>
                <a:gd name="T41" fmla="*/ 12 h 54"/>
                <a:gd name="T42" fmla="*/ 27 w 75"/>
                <a:gd name="T43" fmla="*/ 16 h 54"/>
                <a:gd name="T44" fmla="*/ 27 w 75"/>
                <a:gd name="T45" fmla="*/ 15 h 54"/>
                <a:gd name="T46" fmla="*/ 42 w 75"/>
                <a:gd name="T47" fmla="*/ 22 h 54"/>
                <a:gd name="T48" fmla="*/ 42 w 75"/>
                <a:gd name="T49" fmla="*/ 22 h 54"/>
                <a:gd name="T50" fmla="*/ 31 w 75"/>
                <a:gd name="T51" fmla="*/ 18 h 54"/>
                <a:gd name="T52" fmla="*/ 31 w 75"/>
                <a:gd name="T53" fmla="*/ 19 h 54"/>
                <a:gd name="T54" fmla="*/ 31 w 75"/>
                <a:gd name="T55" fmla="*/ 19 h 54"/>
                <a:gd name="T56" fmla="*/ 40 w 75"/>
                <a:gd name="T57" fmla="*/ 25 h 54"/>
                <a:gd name="T58" fmla="*/ 42 w 75"/>
                <a:gd name="T59" fmla="*/ 22 h 54"/>
                <a:gd name="T60" fmla="*/ 53 w 75"/>
                <a:gd name="T61" fmla="*/ 32 h 54"/>
                <a:gd name="T62" fmla="*/ 53 w 75"/>
                <a:gd name="T63" fmla="*/ 32 h 54"/>
                <a:gd name="T64" fmla="*/ 50 w 75"/>
                <a:gd name="T65" fmla="*/ 28 h 54"/>
                <a:gd name="T66" fmla="*/ 46 w 75"/>
                <a:gd name="T67" fmla="*/ 25 h 54"/>
                <a:gd name="T68" fmla="*/ 44 w 75"/>
                <a:gd name="T69" fmla="*/ 26 h 54"/>
                <a:gd name="T70" fmla="*/ 44 w 75"/>
                <a:gd name="T71" fmla="*/ 26 h 54"/>
                <a:gd name="T72" fmla="*/ 49 w 75"/>
                <a:gd name="T73" fmla="*/ 29 h 54"/>
                <a:gd name="T74" fmla="*/ 52 w 75"/>
                <a:gd name="T75" fmla="*/ 34 h 54"/>
                <a:gd name="T76" fmla="*/ 53 w 75"/>
                <a:gd name="T77" fmla="*/ 32 h 54"/>
                <a:gd name="T78" fmla="*/ 63 w 75"/>
                <a:gd name="T79" fmla="*/ 42 h 54"/>
                <a:gd name="T80" fmla="*/ 63 w 75"/>
                <a:gd name="T81" fmla="*/ 42 h 54"/>
                <a:gd name="T82" fmla="*/ 59 w 75"/>
                <a:gd name="T83" fmla="*/ 39 h 54"/>
                <a:gd name="T84" fmla="*/ 59 w 75"/>
                <a:gd name="T85" fmla="*/ 39 h 54"/>
                <a:gd name="T86" fmla="*/ 56 w 75"/>
                <a:gd name="T87" fmla="*/ 36 h 54"/>
                <a:gd name="T88" fmla="*/ 55 w 75"/>
                <a:gd name="T89" fmla="*/ 38 h 54"/>
                <a:gd name="T90" fmla="*/ 55 w 75"/>
                <a:gd name="T91" fmla="*/ 38 h 54"/>
                <a:gd name="T92" fmla="*/ 58 w 75"/>
                <a:gd name="T93" fmla="*/ 41 h 54"/>
                <a:gd name="T94" fmla="*/ 58 w 75"/>
                <a:gd name="T95" fmla="*/ 41 h 54"/>
                <a:gd name="T96" fmla="*/ 60 w 75"/>
                <a:gd name="T97" fmla="*/ 45 h 54"/>
                <a:gd name="T98" fmla="*/ 63 w 75"/>
                <a:gd name="T99" fmla="*/ 42 h 54"/>
                <a:gd name="T100" fmla="*/ 75 w 75"/>
                <a:gd name="T101" fmla="*/ 52 h 54"/>
                <a:gd name="T102" fmla="*/ 75 w 75"/>
                <a:gd name="T103" fmla="*/ 52 h 54"/>
                <a:gd name="T104" fmla="*/ 66 w 75"/>
                <a:gd name="T105" fmla="*/ 47 h 54"/>
                <a:gd name="T106" fmla="*/ 65 w 75"/>
                <a:gd name="T107" fmla="*/ 48 h 54"/>
                <a:gd name="T108" fmla="*/ 65 w 75"/>
                <a:gd name="T109" fmla="*/ 48 h 54"/>
                <a:gd name="T110" fmla="*/ 73 w 75"/>
                <a:gd name="T111" fmla="*/ 54 h 54"/>
                <a:gd name="T112" fmla="*/ 75 w 75"/>
                <a:gd name="T113"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5" h="54">
                  <a:moveTo>
                    <a:pt x="1" y="0"/>
                  </a:moveTo>
                  <a:lnTo>
                    <a:pt x="0" y="0"/>
                  </a:lnTo>
                  <a:lnTo>
                    <a:pt x="0" y="2"/>
                  </a:lnTo>
                  <a:lnTo>
                    <a:pt x="0" y="3"/>
                  </a:lnTo>
                  <a:lnTo>
                    <a:pt x="1" y="0"/>
                  </a:lnTo>
                  <a:close/>
                  <a:moveTo>
                    <a:pt x="16" y="6"/>
                  </a:moveTo>
                  <a:lnTo>
                    <a:pt x="16" y="6"/>
                  </a:lnTo>
                  <a:lnTo>
                    <a:pt x="14" y="5"/>
                  </a:lnTo>
                  <a:lnTo>
                    <a:pt x="14" y="5"/>
                  </a:lnTo>
                  <a:lnTo>
                    <a:pt x="5" y="2"/>
                  </a:lnTo>
                  <a:lnTo>
                    <a:pt x="5" y="5"/>
                  </a:lnTo>
                  <a:lnTo>
                    <a:pt x="5" y="5"/>
                  </a:lnTo>
                  <a:lnTo>
                    <a:pt x="11" y="7"/>
                  </a:lnTo>
                  <a:lnTo>
                    <a:pt x="11" y="7"/>
                  </a:lnTo>
                  <a:lnTo>
                    <a:pt x="14" y="9"/>
                  </a:lnTo>
                  <a:lnTo>
                    <a:pt x="16" y="6"/>
                  </a:lnTo>
                  <a:close/>
                  <a:moveTo>
                    <a:pt x="27" y="15"/>
                  </a:moveTo>
                  <a:lnTo>
                    <a:pt x="27" y="15"/>
                  </a:lnTo>
                  <a:lnTo>
                    <a:pt x="20" y="9"/>
                  </a:lnTo>
                  <a:lnTo>
                    <a:pt x="18" y="12"/>
                  </a:lnTo>
                  <a:lnTo>
                    <a:pt x="18" y="12"/>
                  </a:lnTo>
                  <a:lnTo>
                    <a:pt x="27" y="16"/>
                  </a:lnTo>
                  <a:lnTo>
                    <a:pt x="27" y="15"/>
                  </a:lnTo>
                  <a:close/>
                  <a:moveTo>
                    <a:pt x="42" y="22"/>
                  </a:moveTo>
                  <a:lnTo>
                    <a:pt x="42" y="22"/>
                  </a:lnTo>
                  <a:lnTo>
                    <a:pt x="31" y="18"/>
                  </a:lnTo>
                  <a:lnTo>
                    <a:pt x="31" y="19"/>
                  </a:lnTo>
                  <a:lnTo>
                    <a:pt x="31" y="19"/>
                  </a:lnTo>
                  <a:lnTo>
                    <a:pt x="40" y="25"/>
                  </a:lnTo>
                  <a:lnTo>
                    <a:pt x="42" y="22"/>
                  </a:lnTo>
                  <a:close/>
                  <a:moveTo>
                    <a:pt x="53" y="32"/>
                  </a:moveTo>
                  <a:lnTo>
                    <a:pt x="53" y="32"/>
                  </a:lnTo>
                  <a:lnTo>
                    <a:pt x="50" y="28"/>
                  </a:lnTo>
                  <a:lnTo>
                    <a:pt x="46" y="25"/>
                  </a:lnTo>
                  <a:lnTo>
                    <a:pt x="44" y="26"/>
                  </a:lnTo>
                  <a:lnTo>
                    <a:pt x="44" y="26"/>
                  </a:lnTo>
                  <a:lnTo>
                    <a:pt x="49" y="29"/>
                  </a:lnTo>
                  <a:lnTo>
                    <a:pt x="52" y="34"/>
                  </a:lnTo>
                  <a:lnTo>
                    <a:pt x="53" y="32"/>
                  </a:lnTo>
                  <a:close/>
                  <a:moveTo>
                    <a:pt x="63" y="42"/>
                  </a:moveTo>
                  <a:lnTo>
                    <a:pt x="63" y="42"/>
                  </a:lnTo>
                  <a:lnTo>
                    <a:pt x="59" y="39"/>
                  </a:lnTo>
                  <a:lnTo>
                    <a:pt x="59" y="39"/>
                  </a:lnTo>
                  <a:lnTo>
                    <a:pt x="56" y="36"/>
                  </a:lnTo>
                  <a:lnTo>
                    <a:pt x="55" y="38"/>
                  </a:lnTo>
                  <a:lnTo>
                    <a:pt x="55" y="38"/>
                  </a:lnTo>
                  <a:lnTo>
                    <a:pt x="58" y="41"/>
                  </a:lnTo>
                  <a:lnTo>
                    <a:pt x="58" y="41"/>
                  </a:lnTo>
                  <a:lnTo>
                    <a:pt x="60" y="45"/>
                  </a:lnTo>
                  <a:lnTo>
                    <a:pt x="63" y="42"/>
                  </a:lnTo>
                  <a:close/>
                  <a:moveTo>
                    <a:pt x="75" y="52"/>
                  </a:moveTo>
                  <a:lnTo>
                    <a:pt x="75" y="52"/>
                  </a:lnTo>
                  <a:lnTo>
                    <a:pt x="66" y="47"/>
                  </a:lnTo>
                  <a:lnTo>
                    <a:pt x="65" y="48"/>
                  </a:lnTo>
                  <a:lnTo>
                    <a:pt x="65" y="48"/>
                  </a:lnTo>
                  <a:lnTo>
                    <a:pt x="73" y="54"/>
                  </a:lnTo>
                  <a:lnTo>
                    <a:pt x="75"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75" name="Freeform 1639"/>
            <p:cNvSpPr>
              <a:spLocks noEditPoints="1"/>
            </p:cNvSpPr>
            <p:nvPr/>
          </p:nvSpPr>
          <p:spPr bwMode="auto">
            <a:xfrm>
              <a:off x="2578100" y="5313791"/>
              <a:ext cx="333375" cy="158750"/>
            </a:xfrm>
            <a:custGeom>
              <a:avLst/>
              <a:gdLst>
                <a:gd name="T0" fmla="*/ 1 w 210"/>
                <a:gd name="T1" fmla="*/ 25 h 100"/>
                <a:gd name="T2" fmla="*/ 21 w 210"/>
                <a:gd name="T3" fmla="*/ 9 h 100"/>
                <a:gd name="T4" fmla="*/ 11 w 210"/>
                <a:gd name="T5" fmla="*/ 13 h 100"/>
                <a:gd name="T6" fmla="*/ 21 w 210"/>
                <a:gd name="T7" fmla="*/ 11 h 100"/>
                <a:gd name="T8" fmla="*/ 26 w 210"/>
                <a:gd name="T9" fmla="*/ 9 h 100"/>
                <a:gd name="T10" fmla="*/ 36 w 210"/>
                <a:gd name="T11" fmla="*/ 11 h 100"/>
                <a:gd name="T12" fmla="*/ 42 w 210"/>
                <a:gd name="T13" fmla="*/ 12 h 100"/>
                <a:gd name="T14" fmla="*/ 50 w 210"/>
                <a:gd name="T15" fmla="*/ 16 h 100"/>
                <a:gd name="T16" fmla="*/ 58 w 210"/>
                <a:gd name="T17" fmla="*/ 3 h 100"/>
                <a:gd name="T18" fmla="*/ 56 w 210"/>
                <a:gd name="T19" fmla="*/ 12 h 100"/>
                <a:gd name="T20" fmla="*/ 60 w 210"/>
                <a:gd name="T21" fmla="*/ 5 h 100"/>
                <a:gd name="T22" fmla="*/ 68 w 210"/>
                <a:gd name="T23" fmla="*/ 0 h 100"/>
                <a:gd name="T24" fmla="*/ 65 w 210"/>
                <a:gd name="T25" fmla="*/ 3 h 100"/>
                <a:gd name="T26" fmla="*/ 75 w 210"/>
                <a:gd name="T27" fmla="*/ 0 h 100"/>
                <a:gd name="T28" fmla="*/ 79 w 210"/>
                <a:gd name="T29" fmla="*/ 5 h 100"/>
                <a:gd name="T30" fmla="*/ 100 w 210"/>
                <a:gd name="T31" fmla="*/ 18 h 100"/>
                <a:gd name="T32" fmla="*/ 94 w 210"/>
                <a:gd name="T33" fmla="*/ 11 h 100"/>
                <a:gd name="T34" fmla="*/ 97 w 210"/>
                <a:gd name="T35" fmla="*/ 18 h 100"/>
                <a:gd name="T36" fmla="*/ 114 w 210"/>
                <a:gd name="T37" fmla="*/ 19 h 100"/>
                <a:gd name="T38" fmla="*/ 107 w 210"/>
                <a:gd name="T39" fmla="*/ 15 h 100"/>
                <a:gd name="T40" fmla="*/ 104 w 210"/>
                <a:gd name="T41" fmla="*/ 18 h 100"/>
                <a:gd name="T42" fmla="*/ 107 w 210"/>
                <a:gd name="T43" fmla="*/ 18 h 100"/>
                <a:gd name="T44" fmla="*/ 111 w 210"/>
                <a:gd name="T45" fmla="*/ 21 h 100"/>
                <a:gd name="T46" fmla="*/ 117 w 210"/>
                <a:gd name="T47" fmla="*/ 24 h 100"/>
                <a:gd name="T48" fmla="*/ 123 w 210"/>
                <a:gd name="T49" fmla="*/ 32 h 100"/>
                <a:gd name="T50" fmla="*/ 130 w 210"/>
                <a:gd name="T51" fmla="*/ 40 h 100"/>
                <a:gd name="T52" fmla="*/ 128 w 210"/>
                <a:gd name="T53" fmla="*/ 41 h 100"/>
                <a:gd name="T54" fmla="*/ 146 w 210"/>
                <a:gd name="T55" fmla="*/ 50 h 100"/>
                <a:gd name="T56" fmla="*/ 136 w 210"/>
                <a:gd name="T57" fmla="*/ 47 h 100"/>
                <a:gd name="T58" fmla="*/ 159 w 210"/>
                <a:gd name="T59" fmla="*/ 58 h 100"/>
                <a:gd name="T60" fmla="*/ 157 w 210"/>
                <a:gd name="T61" fmla="*/ 60 h 100"/>
                <a:gd name="T62" fmla="*/ 160 w 210"/>
                <a:gd name="T63" fmla="*/ 64 h 100"/>
                <a:gd name="T64" fmla="*/ 156 w 210"/>
                <a:gd name="T65" fmla="*/ 74 h 100"/>
                <a:gd name="T66" fmla="*/ 152 w 210"/>
                <a:gd name="T67" fmla="*/ 77 h 100"/>
                <a:gd name="T68" fmla="*/ 157 w 210"/>
                <a:gd name="T69" fmla="*/ 95 h 100"/>
                <a:gd name="T70" fmla="*/ 150 w 210"/>
                <a:gd name="T71" fmla="*/ 92 h 100"/>
                <a:gd name="T72" fmla="*/ 152 w 210"/>
                <a:gd name="T73" fmla="*/ 96 h 100"/>
                <a:gd name="T74" fmla="*/ 173 w 210"/>
                <a:gd name="T75" fmla="*/ 95 h 100"/>
                <a:gd name="T76" fmla="*/ 163 w 210"/>
                <a:gd name="T77" fmla="*/ 95 h 100"/>
                <a:gd name="T78" fmla="*/ 165 w 210"/>
                <a:gd name="T79" fmla="*/ 98 h 100"/>
                <a:gd name="T80" fmla="*/ 188 w 210"/>
                <a:gd name="T81" fmla="*/ 96 h 100"/>
                <a:gd name="T82" fmla="*/ 185 w 210"/>
                <a:gd name="T83" fmla="*/ 93 h 100"/>
                <a:gd name="T84" fmla="*/ 178 w 210"/>
                <a:gd name="T85" fmla="*/ 95 h 100"/>
                <a:gd name="T86" fmla="*/ 182 w 210"/>
                <a:gd name="T87" fmla="*/ 95 h 100"/>
                <a:gd name="T88" fmla="*/ 185 w 210"/>
                <a:gd name="T89" fmla="*/ 98 h 100"/>
                <a:gd name="T90" fmla="*/ 192 w 210"/>
                <a:gd name="T91" fmla="*/ 95 h 100"/>
                <a:gd name="T92" fmla="*/ 191 w 210"/>
                <a:gd name="T93" fmla="*/ 100 h 100"/>
                <a:gd name="T94" fmla="*/ 197 w 210"/>
                <a:gd name="T95" fmla="*/ 90 h 100"/>
                <a:gd name="T96" fmla="*/ 195 w 210"/>
                <a:gd name="T97" fmla="*/ 84 h 100"/>
                <a:gd name="T98" fmla="*/ 199 w 210"/>
                <a:gd name="T99" fmla="*/ 76 h 100"/>
                <a:gd name="T100" fmla="*/ 204 w 210"/>
                <a:gd name="T101" fmla="*/ 7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0" h="100">
                  <a:moveTo>
                    <a:pt x="7" y="16"/>
                  </a:moveTo>
                  <a:lnTo>
                    <a:pt x="7" y="16"/>
                  </a:lnTo>
                  <a:lnTo>
                    <a:pt x="0" y="22"/>
                  </a:lnTo>
                  <a:lnTo>
                    <a:pt x="1" y="25"/>
                  </a:lnTo>
                  <a:lnTo>
                    <a:pt x="1" y="25"/>
                  </a:lnTo>
                  <a:lnTo>
                    <a:pt x="8" y="19"/>
                  </a:lnTo>
                  <a:lnTo>
                    <a:pt x="7" y="16"/>
                  </a:lnTo>
                  <a:close/>
                  <a:moveTo>
                    <a:pt x="21" y="9"/>
                  </a:moveTo>
                  <a:lnTo>
                    <a:pt x="21" y="9"/>
                  </a:lnTo>
                  <a:lnTo>
                    <a:pt x="18" y="9"/>
                  </a:lnTo>
                  <a:lnTo>
                    <a:pt x="18" y="9"/>
                  </a:lnTo>
                  <a:lnTo>
                    <a:pt x="11" y="13"/>
                  </a:lnTo>
                  <a:lnTo>
                    <a:pt x="13" y="16"/>
                  </a:lnTo>
                  <a:lnTo>
                    <a:pt x="13" y="16"/>
                  </a:lnTo>
                  <a:lnTo>
                    <a:pt x="20" y="11"/>
                  </a:lnTo>
                  <a:lnTo>
                    <a:pt x="21" y="11"/>
                  </a:lnTo>
                  <a:lnTo>
                    <a:pt x="21" y="9"/>
                  </a:lnTo>
                  <a:close/>
                  <a:moveTo>
                    <a:pt x="36" y="11"/>
                  </a:moveTo>
                  <a:lnTo>
                    <a:pt x="36" y="11"/>
                  </a:lnTo>
                  <a:lnTo>
                    <a:pt x="26" y="9"/>
                  </a:lnTo>
                  <a:lnTo>
                    <a:pt x="26" y="11"/>
                  </a:lnTo>
                  <a:lnTo>
                    <a:pt x="26" y="11"/>
                  </a:lnTo>
                  <a:lnTo>
                    <a:pt x="36" y="13"/>
                  </a:lnTo>
                  <a:lnTo>
                    <a:pt x="36" y="11"/>
                  </a:lnTo>
                  <a:close/>
                  <a:moveTo>
                    <a:pt x="50" y="13"/>
                  </a:moveTo>
                  <a:lnTo>
                    <a:pt x="50" y="13"/>
                  </a:lnTo>
                  <a:lnTo>
                    <a:pt x="50" y="13"/>
                  </a:lnTo>
                  <a:lnTo>
                    <a:pt x="42" y="12"/>
                  </a:lnTo>
                  <a:lnTo>
                    <a:pt x="40" y="13"/>
                  </a:lnTo>
                  <a:lnTo>
                    <a:pt x="40" y="13"/>
                  </a:lnTo>
                  <a:lnTo>
                    <a:pt x="50" y="16"/>
                  </a:lnTo>
                  <a:lnTo>
                    <a:pt x="50" y="16"/>
                  </a:lnTo>
                  <a:lnTo>
                    <a:pt x="50" y="13"/>
                  </a:lnTo>
                  <a:close/>
                  <a:moveTo>
                    <a:pt x="59" y="2"/>
                  </a:moveTo>
                  <a:lnTo>
                    <a:pt x="59" y="2"/>
                  </a:lnTo>
                  <a:lnTo>
                    <a:pt x="58" y="3"/>
                  </a:lnTo>
                  <a:lnTo>
                    <a:pt x="58" y="3"/>
                  </a:lnTo>
                  <a:lnTo>
                    <a:pt x="55" y="8"/>
                  </a:lnTo>
                  <a:lnTo>
                    <a:pt x="53" y="12"/>
                  </a:lnTo>
                  <a:lnTo>
                    <a:pt x="56" y="12"/>
                  </a:lnTo>
                  <a:lnTo>
                    <a:pt x="56" y="12"/>
                  </a:lnTo>
                  <a:lnTo>
                    <a:pt x="58" y="9"/>
                  </a:lnTo>
                  <a:lnTo>
                    <a:pt x="59" y="5"/>
                  </a:lnTo>
                  <a:lnTo>
                    <a:pt x="60" y="5"/>
                  </a:lnTo>
                  <a:lnTo>
                    <a:pt x="59" y="2"/>
                  </a:lnTo>
                  <a:close/>
                  <a:moveTo>
                    <a:pt x="75" y="0"/>
                  </a:moveTo>
                  <a:lnTo>
                    <a:pt x="75" y="0"/>
                  </a:lnTo>
                  <a:lnTo>
                    <a:pt x="68" y="0"/>
                  </a:lnTo>
                  <a:lnTo>
                    <a:pt x="68" y="0"/>
                  </a:lnTo>
                  <a:lnTo>
                    <a:pt x="65" y="0"/>
                  </a:lnTo>
                  <a:lnTo>
                    <a:pt x="65" y="3"/>
                  </a:lnTo>
                  <a:lnTo>
                    <a:pt x="65" y="3"/>
                  </a:lnTo>
                  <a:lnTo>
                    <a:pt x="68" y="3"/>
                  </a:lnTo>
                  <a:lnTo>
                    <a:pt x="68" y="3"/>
                  </a:lnTo>
                  <a:lnTo>
                    <a:pt x="75" y="3"/>
                  </a:lnTo>
                  <a:lnTo>
                    <a:pt x="75" y="0"/>
                  </a:lnTo>
                  <a:close/>
                  <a:moveTo>
                    <a:pt x="89" y="6"/>
                  </a:moveTo>
                  <a:lnTo>
                    <a:pt x="89" y="6"/>
                  </a:lnTo>
                  <a:lnTo>
                    <a:pt x="79" y="2"/>
                  </a:lnTo>
                  <a:lnTo>
                    <a:pt x="79" y="5"/>
                  </a:lnTo>
                  <a:lnTo>
                    <a:pt x="79" y="5"/>
                  </a:lnTo>
                  <a:lnTo>
                    <a:pt x="88" y="9"/>
                  </a:lnTo>
                  <a:lnTo>
                    <a:pt x="89" y="6"/>
                  </a:lnTo>
                  <a:close/>
                  <a:moveTo>
                    <a:pt x="100" y="18"/>
                  </a:moveTo>
                  <a:lnTo>
                    <a:pt x="100" y="18"/>
                  </a:lnTo>
                  <a:lnTo>
                    <a:pt x="98" y="15"/>
                  </a:lnTo>
                  <a:lnTo>
                    <a:pt x="98" y="15"/>
                  </a:lnTo>
                  <a:lnTo>
                    <a:pt x="94" y="11"/>
                  </a:lnTo>
                  <a:lnTo>
                    <a:pt x="92" y="12"/>
                  </a:lnTo>
                  <a:lnTo>
                    <a:pt x="92" y="12"/>
                  </a:lnTo>
                  <a:lnTo>
                    <a:pt x="97" y="18"/>
                  </a:lnTo>
                  <a:lnTo>
                    <a:pt x="97" y="18"/>
                  </a:lnTo>
                  <a:lnTo>
                    <a:pt x="98" y="19"/>
                  </a:lnTo>
                  <a:lnTo>
                    <a:pt x="100" y="18"/>
                  </a:lnTo>
                  <a:close/>
                  <a:moveTo>
                    <a:pt x="114" y="19"/>
                  </a:moveTo>
                  <a:lnTo>
                    <a:pt x="114" y="19"/>
                  </a:lnTo>
                  <a:lnTo>
                    <a:pt x="111" y="16"/>
                  </a:lnTo>
                  <a:lnTo>
                    <a:pt x="111" y="16"/>
                  </a:lnTo>
                  <a:lnTo>
                    <a:pt x="107" y="15"/>
                  </a:lnTo>
                  <a:lnTo>
                    <a:pt x="107" y="15"/>
                  </a:lnTo>
                  <a:lnTo>
                    <a:pt x="107" y="15"/>
                  </a:lnTo>
                  <a:lnTo>
                    <a:pt x="104" y="16"/>
                  </a:lnTo>
                  <a:lnTo>
                    <a:pt x="104" y="18"/>
                  </a:lnTo>
                  <a:lnTo>
                    <a:pt x="104" y="18"/>
                  </a:lnTo>
                  <a:lnTo>
                    <a:pt x="107" y="18"/>
                  </a:lnTo>
                  <a:lnTo>
                    <a:pt x="107" y="18"/>
                  </a:lnTo>
                  <a:lnTo>
                    <a:pt x="107" y="18"/>
                  </a:lnTo>
                  <a:lnTo>
                    <a:pt x="107" y="18"/>
                  </a:lnTo>
                  <a:lnTo>
                    <a:pt x="107" y="18"/>
                  </a:lnTo>
                  <a:lnTo>
                    <a:pt x="110" y="18"/>
                  </a:lnTo>
                  <a:lnTo>
                    <a:pt x="110" y="18"/>
                  </a:lnTo>
                  <a:lnTo>
                    <a:pt x="111" y="21"/>
                  </a:lnTo>
                  <a:lnTo>
                    <a:pt x="114" y="19"/>
                  </a:lnTo>
                  <a:close/>
                  <a:moveTo>
                    <a:pt x="123" y="32"/>
                  </a:moveTo>
                  <a:lnTo>
                    <a:pt x="123" y="32"/>
                  </a:lnTo>
                  <a:lnTo>
                    <a:pt x="117" y="24"/>
                  </a:lnTo>
                  <a:lnTo>
                    <a:pt x="114" y="25"/>
                  </a:lnTo>
                  <a:lnTo>
                    <a:pt x="114" y="25"/>
                  </a:lnTo>
                  <a:lnTo>
                    <a:pt x="121" y="34"/>
                  </a:lnTo>
                  <a:lnTo>
                    <a:pt x="123" y="32"/>
                  </a:lnTo>
                  <a:close/>
                  <a:moveTo>
                    <a:pt x="133" y="42"/>
                  </a:moveTo>
                  <a:lnTo>
                    <a:pt x="133" y="42"/>
                  </a:lnTo>
                  <a:lnTo>
                    <a:pt x="130" y="40"/>
                  </a:lnTo>
                  <a:lnTo>
                    <a:pt x="130" y="40"/>
                  </a:lnTo>
                  <a:lnTo>
                    <a:pt x="126" y="35"/>
                  </a:lnTo>
                  <a:lnTo>
                    <a:pt x="124" y="37"/>
                  </a:lnTo>
                  <a:lnTo>
                    <a:pt x="124" y="37"/>
                  </a:lnTo>
                  <a:lnTo>
                    <a:pt x="128" y="41"/>
                  </a:lnTo>
                  <a:lnTo>
                    <a:pt x="128" y="41"/>
                  </a:lnTo>
                  <a:lnTo>
                    <a:pt x="131" y="44"/>
                  </a:lnTo>
                  <a:lnTo>
                    <a:pt x="133" y="42"/>
                  </a:lnTo>
                  <a:close/>
                  <a:moveTo>
                    <a:pt x="146" y="50"/>
                  </a:moveTo>
                  <a:lnTo>
                    <a:pt x="146" y="50"/>
                  </a:lnTo>
                  <a:lnTo>
                    <a:pt x="137" y="45"/>
                  </a:lnTo>
                  <a:lnTo>
                    <a:pt x="136" y="47"/>
                  </a:lnTo>
                  <a:lnTo>
                    <a:pt x="136" y="47"/>
                  </a:lnTo>
                  <a:lnTo>
                    <a:pt x="144" y="53"/>
                  </a:lnTo>
                  <a:lnTo>
                    <a:pt x="146" y="50"/>
                  </a:lnTo>
                  <a:close/>
                  <a:moveTo>
                    <a:pt x="159" y="58"/>
                  </a:moveTo>
                  <a:lnTo>
                    <a:pt x="159" y="58"/>
                  </a:lnTo>
                  <a:lnTo>
                    <a:pt x="150" y="53"/>
                  </a:lnTo>
                  <a:lnTo>
                    <a:pt x="149" y="54"/>
                  </a:lnTo>
                  <a:lnTo>
                    <a:pt x="149" y="54"/>
                  </a:lnTo>
                  <a:lnTo>
                    <a:pt x="157" y="60"/>
                  </a:lnTo>
                  <a:lnTo>
                    <a:pt x="159" y="58"/>
                  </a:lnTo>
                  <a:close/>
                  <a:moveTo>
                    <a:pt x="156" y="74"/>
                  </a:moveTo>
                  <a:lnTo>
                    <a:pt x="156" y="74"/>
                  </a:lnTo>
                  <a:lnTo>
                    <a:pt x="160" y="64"/>
                  </a:lnTo>
                  <a:lnTo>
                    <a:pt x="157" y="64"/>
                  </a:lnTo>
                  <a:lnTo>
                    <a:pt x="157" y="64"/>
                  </a:lnTo>
                  <a:lnTo>
                    <a:pt x="155" y="73"/>
                  </a:lnTo>
                  <a:lnTo>
                    <a:pt x="156" y="74"/>
                  </a:lnTo>
                  <a:close/>
                  <a:moveTo>
                    <a:pt x="150" y="87"/>
                  </a:moveTo>
                  <a:lnTo>
                    <a:pt x="150" y="87"/>
                  </a:lnTo>
                  <a:lnTo>
                    <a:pt x="155" y="79"/>
                  </a:lnTo>
                  <a:lnTo>
                    <a:pt x="152" y="77"/>
                  </a:lnTo>
                  <a:lnTo>
                    <a:pt x="152" y="77"/>
                  </a:lnTo>
                  <a:lnTo>
                    <a:pt x="147" y="87"/>
                  </a:lnTo>
                  <a:lnTo>
                    <a:pt x="150" y="87"/>
                  </a:lnTo>
                  <a:close/>
                  <a:moveTo>
                    <a:pt x="157" y="95"/>
                  </a:moveTo>
                  <a:lnTo>
                    <a:pt x="157" y="95"/>
                  </a:lnTo>
                  <a:lnTo>
                    <a:pt x="153" y="93"/>
                  </a:lnTo>
                  <a:lnTo>
                    <a:pt x="153" y="93"/>
                  </a:lnTo>
                  <a:lnTo>
                    <a:pt x="150" y="92"/>
                  </a:lnTo>
                  <a:lnTo>
                    <a:pt x="147" y="93"/>
                  </a:lnTo>
                  <a:lnTo>
                    <a:pt x="147" y="93"/>
                  </a:lnTo>
                  <a:lnTo>
                    <a:pt x="149" y="95"/>
                  </a:lnTo>
                  <a:lnTo>
                    <a:pt x="152" y="96"/>
                  </a:lnTo>
                  <a:lnTo>
                    <a:pt x="152" y="96"/>
                  </a:lnTo>
                  <a:lnTo>
                    <a:pt x="157" y="98"/>
                  </a:lnTo>
                  <a:lnTo>
                    <a:pt x="157" y="95"/>
                  </a:lnTo>
                  <a:close/>
                  <a:moveTo>
                    <a:pt x="173" y="95"/>
                  </a:moveTo>
                  <a:lnTo>
                    <a:pt x="173" y="95"/>
                  </a:lnTo>
                  <a:lnTo>
                    <a:pt x="165" y="95"/>
                  </a:lnTo>
                  <a:lnTo>
                    <a:pt x="165" y="95"/>
                  </a:lnTo>
                  <a:lnTo>
                    <a:pt x="163" y="95"/>
                  </a:lnTo>
                  <a:lnTo>
                    <a:pt x="163" y="98"/>
                  </a:lnTo>
                  <a:lnTo>
                    <a:pt x="163" y="98"/>
                  </a:lnTo>
                  <a:lnTo>
                    <a:pt x="165" y="98"/>
                  </a:lnTo>
                  <a:lnTo>
                    <a:pt x="165" y="98"/>
                  </a:lnTo>
                  <a:lnTo>
                    <a:pt x="173" y="98"/>
                  </a:lnTo>
                  <a:lnTo>
                    <a:pt x="173" y="95"/>
                  </a:lnTo>
                  <a:lnTo>
                    <a:pt x="173" y="95"/>
                  </a:lnTo>
                  <a:close/>
                  <a:moveTo>
                    <a:pt x="188" y="96"/>
                  </a:moveTo>
                  <a:lnTo>
                    <a:pt x="188" y="96"/>
                  </a:lnTo>
                  <a:lnTo>
                    <a:pt x="188" y="96"/>
                  </a:lnTo>
                  <a:lnTo>
                    <a:pt x="185" y="93"/>
                  </a:lnTo>
                  <a:lnTo>
                    <a:pt x="185" y="93"/>
                  </a:lnTo>
                  <a:lnTo>
                    <a:pt x="182" y="92"/>
                  </a:lnTo>
                  <a:lnTo>
                    <a:pt x="182" y="92"/>
                  </a:lnTo>
                  <a:lnTo>
                    <a:pt x="179" y="93"/>
                  </a:lnTo>
                  <a:lnTo>
                    <a:pt x="178" y="95"/>
                  </a:lnTo>
                  <a:lnTo>
                    <a:pt x="178" y="96"/>
                  </a:lnTo>
                  <a:lnTo>
                    <a:pt x="178" y="96"/>
                  </a:lnTo>
                  <a:lnTo>
                    <a:pt x="182" y="95"/>
                  </a:lnTo>
                  <a:lnTo>
                    <a:pt x="182" y="95"/>
                  </a:lnTo>
                  <a:lnTo>
                    <a:pt x="184" y="96"/>
                  </a:lnTo>
                  <a:lnTo>
                    <a:pt x="184" y="96"/>
                  </a:lnTo>
                  <a:lnTo>
                    <a:pt x="185" y="98"/>
                  </a:lnTo>
                  <a:lnTo>
                    <a:pt x="185" y="98"/>
                  </a:lnTo>
                  <a:lnTo>
                    <a:pt x="188" y="96"/>
                  </a:lnTo>
                  <a:close/>
                  <a:moveTo>
                    <a:pt x="194" y="90"/>
                  </a:moveTo>
                  <a:lnTo>
                    <a:pt x="194" y="90"/>
                  </a:lnTo>
                  <a:lnTo>
                    <a:pt x="192" y="95"/>
                  </a:lnTo>
                  <a:lnTo>
                    <a:pt x="192" y="95"/>
                  </a:lnTo>
                  <a:lnTo>
                    <a:pt x="189" y="98"/>
                  </a:lnTo>
                  <a:lnTo>
                    <a:pt x="191" y="100"/>
                  </a:lnTo>
                  <a:lnTo>
                    <a:pt x="191" y="100"/>
                  </a:lnTo>
                  <a:lnTo>
                    <a:pt x="194" y="99"/>
                  </a:lnTo>
                  <a:lnTo>
                    <a:pt x="195" y="96"/>
                  </a:lnTo>
                  <a:lnTo>
                    <a:pt x="195" y="96"/>
                  </a:lnTo>
                  <a:lnTo>
                    <a:pt x="197" y="90"/>
                  </a:lnTo>
                  <a:lnTo>
                    <a:pt x="194" y="90"/>
                  </a:lnTo>
                  <a:close/>
                  <a:moveTo>
                    <a:pt x="199" y="76"/>
                  </a:moveTo>
                  <a:lnTo>
                    <a:pt x="199" y="76"/>
                  </a:lnTo>
                  <a:lnTo>
                    <a:pt x="195" y="84"/>
                  </a:lnTo>
                  <a:lnTo>
                    <a:pt x="198" y="86"/>
                  </a:lnTo>
                  <a:lnTo>
                    <a:pt x="198" y="86"/>
                  </a:lnTo>
                  <a:lnTo>
                    <a:pt x="202" y="77"/>
                  </a:lnTo>
                  <a:lnTo>
                    <a:pt x="199" y="76"/>
                  </a:lnTo>
                  <a:close/>
                  <a:moveTo>
                    <a:pt x="207" y="63"/>
                  </a:moveTo>
                  <a:lnTo>
                    <a:pt x="207" y="63"/>
                  </a:lnTo>
                  <a:lnTo>
                    <a:pt x="202" y="71"/>
                  </a:lnTo>
                  <a:lnTo>
                    <a:pt x="204" y="73"/>
                  </a:lnTo>
                  <a:lnTo>
                    <a:pt x="204" y="73"/>
                  </a:lnTo>
                  <a:lnTo>
                    <a:pt x="210" y="63"/>
                  </a:lnTo>
                  <a:lnTo>
                    <a:pt x="207" y="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76" name="Freeform 1640"/>
            <p:cNvSpPr>
              <a:spLocks noEditPoints="1"/>
            </p:cNvSpPr>
            <p:nvPr/>
          </p:nvSpPr>
          <p:spPr bwMode="auto">
            <a:xfrm>
              <a:off x="2713038" y="5231241"/>
              <a:ext cx="112713" cy="92075"/>
            </a:xfrm>
            <a:custGeom>
              <a:avLst/>
              <a:gdLst>
                <a:gd name="T0" fmla="*/ 68 w 71"/>
                <a:gd name="T1" fmla="*/ 9 h 58"/>
                <a:gd name="T2" fmla="*/ 71 w 71"/>
                <a:gd name="T3" fmla="*/ 9 h 58"/>
                <a:gd name="T4" fmla="*/ 70 w 71"/>
                <a:gd name="T5" fmla="*/ 8 h 58"/>
                <a:gd name="T6" fmla="*/ 55 w 71"/>
                <a:gd name="T7" fmla="*/ 2 h 58"/>
                <a:gd name="T8" fmla="*/ 57 w 71"/>
                <a:gd name="T9" fmla="*/ 2 h 58"/>
                <a:gd name="T10" fmla="*/ 59 w 71"/>
                <a:gd name="T11" fmla="*/ 3 h 58"/>
                <a:gd name="T12" fmla="*/ 64 w 71"/>
                <a:gd name="T13" fmla="*/ 6 h 58"/>
                <a:gd name="T14" fmla="*/ 65 w 71"/>
                <a:gd name="T15" fmla="*/ 5 h 58"/>
                <a:gd name="T16" fmla="*/ 61 w 71"/>
                <a:gd name="T17" fmla="*/ 2 h 58"/>
                <a:gd name="T18" fmla="*/ 58 w 71"/>
                <a:gd name="T19" fmla="*/ 0 h 58"/>
                <a:gd name="T20" fmla="*/ 55 w 71"/>
                <a:gd name="T21" fmla="*/ 2 h 58"/>
                <a:gd name="T22" fmla="*/ 41 w 71"/>
                <a:gd name="T23" fmla="*/ 6 h 58"/>
                <a:gd name="T24" fmla="*/ 51 w 71"/>
                <a:gd name="T25" fmla="*/ 0 h 58"/>
                <a:gd name="T26" fmla="*/ 41 w 71"/>
                <a:gd name="T27" fmla="*/ 3 h 58"/>
                <a:gd name="T28" fmla="*/ 26 w 71"/>
                <a:gd name="T29" fmla="*/ 9 h 58"/>
                <a:gd name="T30" fmla="*/ 30 w 71"/>
                <a:gd name="T31" fmla="*/ 9 h 58"/>
                <a:gd name="T32" fmla="*/ 35 w 71"/>
                <a:gd name="T33" fmla="*/ 8 h 58"/>
                <a:gd name="T34" fmla="*/ 35 w 71"/>
                <a:gd name="T35" fmla="*/ 5 h 58"/>
                <a:gd name="T36" fmla="*/ 35 w 71"/>
                <a:gd name="T37" fmla="*/ 6 h 58"/>
                <a:gd name="T38" fmla="*/ 30 w 71"/>
                <a:gd name="T39" fmla="*/ 6 h 58"/>
                <a:gd name="T40" fmla="*/ 26 w 71"/>
                <a:gd name="T41" fmla="*/ 9 h 58"/>
                <a:gd name="T42" fmla="*/ 12 w 71"/>
                <a:gd name="T43" fmla="*/ 5 h 58"/>
                <a:gd name="T44" fmla="*/ 20 w 71"/>
                <a:gd name="T45" fmla="*/ 8 h 58"/>
                <a:gd name="T46" fmla="*/ 22 w 71"/>
                <a:gd name="T47" fmla="*/ 5 h 58"/>
                <a:gd name="T48" fmla="*/ 12 w 71"/>
                <a:gd name="T49" fmla="*/ 2 h 58"/>
                <a:gd name="T50" fmla="*/ 3 w 71"/>
                <a:gd name="T51" fmla="*/ 13 h 58"/>
                <a:gd name="T52" fmla="*/ 4 w 71"/>
                <a:gd name="T53" fmla="*/ 8 h 58"/>
                <a:gd name="T54" fmla="*/ 6 w 71"/>
                <a:gd name="T55" fmla="*/ 3 h 58"/>
                <a:gd name="T56" fmla="*/ 3 w 71"/>
                <a:gd name="T57" fmla="*/ 8 h 58"/>
                <a:gd name="T58" fmla="*/ 3 w 71"/>
                <a:gd name="T59" fmla="*/ 13 h 58"/>
                <a:gd name="T60" fmla="*/ 3 w 71"/>
                <a:gd name="T61" fmla="*/ 28 h 58"/>
                <a:gd name="T62" fmla="*/ 3 w 71"/>
                <a:gd name="T63" fmla="*/ 22 h 58"/>
                <a:gd name="T64" fmla="*/ 0 w 71"/>
                <a:gd name="T65" fmla="*/ 18 h 58"/>
                <a:gd name="T66" fmla="*/ 0 w 71"/>
                <a:gd name="T67" fmla="*/ 22 h 58"/>
                <a:gd name="T68" fmla="*/ 0 w 71"/>
                <a:gd name="T69" fmla="*/ 28 h 58"/>
                <a:gd name="T70" fmla="*/ 3 w 71"/>
                <a:gd name="T71" fmla="*/ 44 h 58"/>
                <a:gd name="T72" fmla="*/ 3 w 71"/>
                <a:gd name="T73" fmla="*/ 34 h 58"/>
                <a:gd name="T74" fmla="*/ 0 w 71"/>
                <a:gd name="T75" fmla="*/ 34 h 58"/>
                <a:gd name="T76" fmla="*/ 3 w 71"/>
                <a:gd name="T77" fmla="*/ 44 h 58"/>
                <a:gd name="T78" fmla="*/ 3 w 71"/>
                <a:gd name="T79" fmla="*/ 58 h 58"/>
                <a:gd name="T80" fmla="*/ 0 w 71"/>
                <a:gd name="T81" fmla="*/ 48 h 58"/>
                <a:gd name="T82" fmla="*/ 0 w 71"/>
                <a:gd name="T83"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1" h="58">
                  <a:moveTo>
                    <a:pt x="68" y="9"/>
                  </a:moveTo>
                  <a:lnTo>
                    <a:pt x="68" y="9"/>
                  </a:lnTo>
                  <a:lnTo>
                    <a:pt x="70" y="10"/>
                  </a:lnTo>
                  <a:lnTo>
                    <a:pt x="71" y="9"/>
                  </a:lnTo>
                  <a:lnTo>
                    <a:pt x="71" y="9"/>
                  </a:lnTo>
                  <a:lnTo>
                    <a:pt x="70" y="8"/>
                  </a:lnTo>
                  <a:lnTo>
                    <a:pt x="68" y="9"/>
                  </a:lnTo>
                  <a:close/>
                  <a:moveTo>
                    <a:pt x="55" y="2"/>
                  </a:moveTo>
                  <a:lnTo>
                    <a:pt x="55" y="2"/>
                  </a:lnTo>
                  <a:lnTo>
                    <a:pt x="57" y="2"/>
                  </a:lnTo>
                  <a:lnTo>
                    <a:pt x="57" y="2"/>
                  </a:lnTo>
                  <a:lnTo>
                    <a:pt x="59" y="3"/>
                  </a:lnTo>
                  <a:lnTo>
                    <a:pt x="59" y="3"/>
                  </a:lnTo>
                  <a:lnTo>
                    <a:pt x="64" y="6"/>
                  </a:lnTo>
                  <a:lnTo>
                    <a:pt x="65" y="5"/>
                  </a:lnTo>
                  <a:lnTo>
                    <a:pt x="65" y="5"/>
                  </a:lnTo>
                  <a:lnTo>
                    <a:pt x="61" y="2"/>
                  </a:lnTo>
                  <a:lnTo>
                    <a:pt x="61" y="2"/>
                  </a:lnTo>
                  <a:lnTo>
                    <a:pt x="58" y="0"/>
                  </a:lnTo>
                  <a:lnTo>
                    <a:pt x="58" y="0"/>
                  </a:lnTo>
                  <a:lnTo>
                    <a:pt x="55" y="0"/>
                  </a:lnTo>
                  <a:lnTo>
                    <a:pt x="55" y="2"/>
                  </a:lnTo>
                  <a:close/>
                  <a:moveTo>
                    <a:pt x="41" y="6"/>
                  </a:moveTo>
                  <a:lnTo>
                    <a:pt x="41" y="6"/>
                  </a:lnTo>
                  <a:lnTo>
                    <a:pt x="51" y="3"/>
                  </a:lnTo>
                  <a:lnTo>
                    <a:pt x="51" y="0"/>
                  </a:lnTo>
                  <a:lnTo>
                    <a:pt x="51" y="0"/>
                  </a:lnTo>
                  <a:lnTo>
                    <a:pt x="41" y="3"/>
                  </a:lnTo>
                  <a:lnTo>
                    <a:pt x="41" y="6"/>
                  </a:lnTo>
                  <a:close/>
                  <a:moveTo>
                    <a:pt x="26" y="9"/>
                  </a:moveTo>
                  <a:lnTo>
                    <a:pt x="26" y="9"/>
                  </a:lnTo>
                  <a:lnTo>
                    <a:pt x="30" y="9"/>
                  </a:lnTo>
                  <a:lnTo>
                    <a:pt x="30" y="9"/>
                  </a:lnTo>
                  <a:lnTo>
                    <a:pt x="35" y="8"/>
                  </a:lnTo>
                  <a:lnTo>
                    <a:pt x="36" y="8"/>
                  </a:lnTo>
                  <a:lnTo>
                    <a:pt x="35" y="5"/>
                  </a:lnTo>
                  <a:lnTo>
                    <a:pt x="35" y="6"/>
                  </a:lnTo>
                  <a:lnTo>
                    <a:pt x="35" y="6"/>
                  </a:lnTo>
                  <a:lnTo>
                    <a:pt x="30" y="6"/>
                  </a:lnTo>
                  <a:lnTo>
                    <a:pt x="30" y="6"/>
                  </a:lnTo>
                  <a:lnTo>
                    <a:pt x="26" y="6"/>
                  </a:lnTo>
                  <a:lnTo>
                    <a:pt x="26" y="9"/>
                  </a:lnTo>
                  <a:close/>
                  <a:moveTo>
                    <a:pt x="12" y="5"/>
                  </a:moveTo>
                  <a:lnTo>
                    <a:pt x="12" y="5"/>
                  </a:lnTo>
                  <a:lnTo>
                    <a:pt x="12" y="5"/>
                  </a:lnTo>
                  <a:lnTo>
                    <a:pt x="20" y="8"/>
                  </a:lnTo>
                  <a:lnTo>
                    <a:pt x="22" y="5"/>
                  </a:lnTo>
                  <a:lnTo>
                    <a:pt x="22" y="5"/>
                  </a:lnTo>
                  <a:lnTo>
                    <a:pt x="12" y="2"/>
                  </a:lnTo>
                  <a:lnTo>
                    <a:pt x="12" y="2"/>
                  </a:lnTo>
                  <a:lnTo>
                    <a:pt x="12" y="5"/>
                  </a:lnTo>
                  <a:close/>
                  <a:moveTo>
                    <a:pt x="3" y="13"/>
                  </a:moveTo>
                  <a:lnTo>
                    <a:pt x="3" y="13"/>
                  </a:lnTo>
                  <a:lnTo>
                    <a:pt x="4" y="8"/>
                  </a:lnTo>
                  <a:lnTo>
                    <a:pt x="7" y="5"/>
                  </a:lnTo>
                  <a:lnTo>
                    <a:pt x="6" y="3"/>
                  </a:lnTo>
                  <a:lnTo>
                    <a:pt x="6" y="3"/>
                  </a:lnTo>
                  <a:lnTo>
                    <a:pt x="3" y="8"/>
                  </a:lnTo>
                  <a:lnTo>
                    <a:pt x="1" y="13"/>
                  </a:lnTo>
                  <a:lnTo>
                    <a:pt x="3" y="13"/>
                  </a:lnTo>
                  <a:close/>
                  <a:moveTo>
                    <a:pt x="3" y="28"/>
                  </a:moveTo>
                  <a:lnTo>
                    <a:pt x="3" y="28"/>
                  </a:lnTo>
                  <a:lnTo>
                    <a:pt x="3" y="22"/>
                  </a:lnTo>
                  <a:lnTo>
                    <a:pt x="3" y="22"/>
                  </a:lnTo>
                  <a:lnTo>
                    <a:pt x="3" y="18"/>
                  </a:lnTo>
                  <a:lnTo>
                    <a:pt x="0" y="18"/>
                  </a:lnTo>
                  <a:lnTo>
                    <a:pt x="0" y="18"/>
                  </a:lnTo>
                  <a:lnTo>
                    <a:pt x="0" y="22"/>
                  </a:lnTo>
                  <a:lnTo>
                    <a:pt x="0" y="22"/>
                  </a:lnTo>
                  <a:lnTo>
                    <a:pt x="0" y="28"/>
                  </a:lnTo>
                  <a:lnTo>
                    <a:pt x="3" y="28"/>
                  </a:lnTo>
                  <a:close/>
                  <a:moveTo>
                    <a:pt x="3" y="44"/>
                  </a:moveTo>
                  <a:lnTo>
                    <a:pt x="3" y="44"/>
                  </a:lnTo>
                  <a:lnTo>
                    <a:pt x="3" y="34"/>
                  </a:lnTo>
                  <a:lnTo>
                    <a:pt x="0" y="34"/>
                  </a:lnTo>
                  <a:lnTo>
                    <a:pt x="0" y="34"/>
                  </a:lnTo>
                  <a:lnTo>
                    <a:pt x="0" y="44"/>
                  </a:lnTo>
                  <a:lnTo>
                    <a:pt x="3" y="44"/>
                  </a:lnTo>
                  <a:close/>
                  <a:moveTo>
                    <a:pt x="3" y="58"/>
                  </a:moveTo>
                  <a:lnTo>
                    <a:pt x="3" y="58"/>
                  </a:lnTo>
                  <a:lnTo>
                    <a:pt x="3" y="48"/>
                  </a:lnTo>
                  <a:lnTo>
                    <a:pt x="0" y="48"/>
                  </a:lnTo>
                  <a:lnTo>
                    <a:pt x="0" y="48"/>
                  </a:lnTo>
                  <a:lnTo>
                    <a:pt x="0" y="58"/>
                  </a:lnTo>
                  <a:lnTo>
                    <a:pt x="3"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77" name="Freeform 1641"/>
            <p:cNvSpPr>
              <a:spLocks noEditPoints="1"/>
            </p:cNvSpPr>
            <p:nvPr/>
          </p:nvSpPr>
          <p:spPr bwMode="auto">
            <a:xfrm>
              <a:off x="2506663" y="4629579"/>
              <a:ext cx="487363" cy="241300"/>
            </a:xfrm>
            <a:custGeom>
              <a:avLst/>
              <a:gdLst>
                <a:gd name="T0" fmla="*/ 299 w 307"/>
                <a:gd name="T1" fmla="*/ 26 h 152"/>
                <a:gd name="T2" fmla="*/ 297 w 307"/>
                <a:gd name="T3" fmla="*/ 30 h 152"/>
                <a:gd name="T4" fmla="*/ 281 w 307"/>
                <a:gd name="T5" fmla="*/ 49 h 152"/>
                <a:gd name="T6" fmla="*/ 265 w 307"/>
                <a:gd name="T7" fmla="*/ 53 h 152"/>
                <a:gd name="T8" fmla="*/ 275 w 307"/>
                <a:gd name="T9" fmla="*/ 49 h 152"/>
                <a:gd name="T10" fmla="*/ 265 w 307"/>
                <a:gd name="T11" fmla="*/ 53 h 152"/>
                <a:gd name="T12" fmla="*/ 250 w 307"/>
                <a:gd name="T13" fmla="*/ 48 h 152"/>
                <a:gd name="T14" fmla="*/ 237 w 307"/>
                <a:gd name="T15" fmla="*/ 49 h 152"/>
                <a:gd name="T16" fmla="*/ 242 w 307"/>
                <a:gd name="T17" fmla="*/ 46 h 152"/>
                <a:gd name="T18" fmla="*/ 221 w 307"/>
                <a:gd name="T19" fmla="*/ 55 h 152"/>
                <a:gd name="T20" fmla="*/ 221 w 307"/>
                <a:gd name="T21" fmla="*/ 55 h 152"/>
                <a:gd name="T22" fmla="*/ 207 w 307"/>
                <a:gd name="T23" fmla="*/ 56 h 152"/>
                <a:gd name="T24" fmla="*/ 201 w 307"/>
                <a:gd name="T25" fmla="*/ 58 h 152"/>
                <a:gd name="T26" fmla="*/ 179 w 307"/>
                <a:gd name="T27" fmla="*/ 64 h 152"/>
                <a:gd name="T28" fmla="*/ 189 w 307"/>
                <a:gd name="T29" fmla="*/ 66 h 152"/>
                <a:gd name="T30" fmla="*/ 179 w 307"/>
                <a:gd name="T31" fmla="*/ 64 h 152"/>
                <a:gd name="T32" fmla="*/ 175 w 307"/>
                <a:gd name="T33" fmla="*/ 49 h 152"/>
                <a:gd name="T34" fmla="*/ 172 w 307"/>
                <a:gd name="T35" fmla="*/ 45 h 152"/>
                <a:gd name="T36" fmla="*/ 172 w 307"/>
                <a:gd name="T37" fmla="*/ 35 h 152"/>
                <a:gd name="T38" fmla="*/ 175 w 307"/>
                <a:gd name="T39" fmla="*/ 30 h 152"/>
                <a:gd name="T40" fmla="*/ 168 w 307"/>
                <a:gd name="T41" fmla="*/ 6 h 152"/>
                <a:gd name="T42" fmla="*/ 169 w 307"/>
                <a:gd name="T43" fmla="*/ 4 h 152"/>
                <a:gd name="T44" fmla="*/ 162 w 307"/>
                <a:gd name="T45" fmla="*/ 3 h 152"/>
                <a:gd name="T46" fmla="*/ 163 w 307"/>
                <a:gd name="T47" fmla="*/ 0 h 152"/>
                <a:gd name="T48" fmla="*/ 156 w 307"/>
                <a:gd name="T49" fmla="*/ 6 h 152"/>
                <a:gd name="T50" fmla="*/ 156 w 307"/>
                <a:gd name="T51" fmla="*/ 11 h 152"/>
                <a:gd name="T52" fmla="*/ 149 w 307"/>
                <a:gd name="T53" fmla="*/ 19 h 152"/>
                <a:gd name="T54" fmla="*/ 133 w 307"/>
                <a:gd name="T55" fmla="*/ 20 h 152"/>
                <a:gd name="T56" fmla="*/ 127 w 307"/>
                <a:gd name="T57" fmla="*/ 20 h 152"/>
                <a:gd name="T58" fmla="*/ 107 w 307"/>
                <a:gd name="T59" fmla="*/ 23 h 152"/>
                <a:gd name="T60" fmla="*/ 104 w 307"/>
                <a:gd name="T61" fmla="*/ 20 h 152"/>
                <a:gd name="T62" fmla="*/ 95 w 307"/>
                <a:gd name="T63" fmla="*/ 17 h 152"/>
                <a:gd name="T64" fmla="*/ 95 w 307"/>
                <a:gd name="T65" fmla="*/ 14 h 152"/>
                <a:gd name="T66" fmla="*/ 95 w 307"/>
                <a:gd name="T67" fmla="*/ 32 h 152"/>
                <a:gd name="T68" fmla="*/ 95 w 307"/>
                <a:gd name="T69" fmla="*/ 32 h 152"/>
                <a:gd name="T70" fmla="*/ 101 w 307"/>
                <a:gd name="T71" fmla="*/ 46 h 152"/>
                <a:gd name="T72" fmla="*/ 105 w 307"/>
                <a:gd name="T73" fmla="*/ 51 h 152"/>
                <a:gd name="T74" fmla="*/ 100 w 307"/>
                <a:gd name="T75" fmla="*/ 59 h 152"/>
                <a:gd name="T76" fmla="*/ 95 w 307"/>
                <a:gd name="T77" fmla="*/ 61 h 152"/>
                <a:gd name="T78" fmla="*/ 72 w 307"/>
                <a:gd name="T79" fmla="*/ 72 h 152"/>
                <a:gd name="T80" fmla="*/ 74 w 307"/>
                <a:gd name="T81" fmla="*/ 69 h 152"/>
                <a:gd name="T82" fmla="*/ 68 w 307"/>
                <a:gd name="T83" fmla="*/ 68 h 152"/>
                <a:gd name="T84" fmla="*/ 52 w 307"/>
                <a:gd name="T85" fmla="*/ 55 h 152"/>
                <a:gd name="T86" fmla="*/ 55 w 307"/>
                <a:gd name="T87" fmla="*/ 59 h 152"/>
                <a:gd name="T88" fmla="*/ 55 w 307"/>
                <a:gd name="T89" fmla="*/ 53 h 152"/>
                <a:gd name="T90" fmla="*/ 40 w 307"/>
                <a:gd name="T91" fmla="*/ 59 h 152"/>
                <a:gd name="T92" fmla="*/ 45 w 307"/>
                <a:gd name="T93" fmla="*/ 56 h 152"/>
                <a:gd name="T94" fmla="*/ 39 w 307"/>
                <a:gd name="T95" fmla="*/ 53 h 152"/>
                <a:gd name="T96" fmla="*/ 32 w 307"/>
                <a:gd name="T97" fmla="*/ 68 h 152"/>
                <a:gd name="T98" fmla="*/ 40 w 307"/>
                <a:gd name="T99" fmla="*/ 66 h 152"/>
                <a:gd name="T100" fmla="*/ 33 w 307"/>
                <a:gd name="T101" fmla="*/ 66 h 152"/>
                <a:gd name="T102" fmla="*/ 23 w 307"/>
                <a:gd name="T103" fmla="*/ 68 h 152"/>
                <a:gd name="T104" fmla="*/ 23 w 307"/>
                <a:gd name="T105" fmla="*/ 65 h 152"/>
                <a:gd name="T106" fmla="*/ 11 w 307"/>
                <a:gd name="T107" fmla="*/ 81 h 152"/>
                <a:gd name="T108" fmla="*/ 13 w 307"/>
                <a:gd name="T109" fmla="*/ 72 h 152"/>
                <a:gd name="T110" fmla="*/ 8 w 307"/>
                <a:gd name="T111" fmla="*/ 82 h 152"/>
                <a:gd name="T112" fmla="*/ 11 w 307"/>
                <a:gd name="T113" fmla="*/ 87 h 152"/>
                <a:gd name="T114" fmla="*/ 20 w 307"/>
                <a:gd name="T115" fmla="*/ 108 h 152"/>
                <a:gd name="T116" fmla="*/ 17 w 307"/>
                <a:gd name="T117" fmla="*/ 108 h 152"/>
                <a:gd name="T118" fmla="*/ 16 w 307"/>
                <a:gd name="T119" fmla="*/ 113 h 152"/>
                <a:gd name="T120" fmla="*/ 10 w 307"/>
                <a:gd name="T121" fmla="*/ 127 h 152"/>
                <a:gd name="T122" fmla="*/ 5 w 307"/>
                <a:gd name="T123" fmla="*/ 14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7" h="152">
                  <a:moveTo>
                    <a:pt x="302" y="27"/>
                  </a:moveTo>
                  <a:lnTo>
                    <a:pt x="302" y="27"/>
                  </a:lnTo>
                  <a:lnTo>
                    <a:pt x="307" y="19"/>
                  </a:lnTo>
                  <a:lnTo>
                    <a:pt x="304" y="17"/>
                  </a:lnTo>
                  <a:lnTo>
                    <a:pt x="304" y="17"/>
                  </a:lnTo>
                  <a:lnTo>
                    <a:pt x="299" y="26"/>
                  </a:lnTo>
                  <a:lnTo>
                    <a:pt x="302" y="27"/>
                  </a:lnTo>
                  <a:close/>
                  <a:moveTo>
                    <a:pt x="294" y="40"/>
                  </a:moveTo>
                  <a:lnTo>
                    <a:pt x="294" y="40"/>
                  </a:lnTo>
                  <a:lnTo>
                    <a:pt x="294" y="40"/>
                  </a:lnTo>
                  <a:lnTo>
                    <a:pt x="299" y="32"/>
                  </a:lnTo>
                  <a:lnTo>
                    <a:pt x="297" y="30"/>
                  </a:lnTo>
                  <a:lnTo>
                    <a:pt x="297" y="30"/>
                  </a:lnTo>
                  <a:lnTo>
                    <a:pt x="292" y="37"/>
                  </a:lnTo>
                  <a:lnTo>
                    <a:pt x="291" y="39"/>
                  </a:lnTo>
                  <a:lnTo>
                    <a:pt x="294" y="40"/>
                  </a:lnTo>
                  <a:close/>
                  <a:moveTo>
                    <a:pt x="281" y="49"/>
                  </a:moveTo>
                  <a:lnTo>
                    <a:pt x="281" y="49"/>
                  </a:lnTo>
                  <a:lnTo>
                    <a:pt x="289" y="45"/>
                  </a:lnTo>
                  <a:lnTo>
                    <a:pt x="288" y="42"/>
                  </a:lnTo>
                  <a:lnTo>
                    <a:pt x="288" y="42"/>
                  </a:lnTo>
                  <a:lnTo>
                    <a:pt x="279" y="48"/>
                  </a:lnTo>
                  <a:lnTo>
                    <a:pt x="281" y="49"/>
                  </a:lnTo>
                  <a:close/>
                  <a:moveTo>
                    <a:pt x="265" y="53"/>
                  </a:moveTo>
                  <a:lnTo>
                    <a:pt x="265" y="53"/>
                  </a:lnTo>
                  <a:lnTo>
                    <a:pt x="269" y="53"/>
                  </a:lnTo>
                  <a:lnTo>
                    <a:pt x="269" y="53"/>
                  </a:lnTo>
                  <a:lnTo>
                    <a:pt x="269" y="53"/>
                  </a:lnTo>
                  <a:lnTo>
                    <a:pt x="275" y="52"/>
                  </a:lnTo>
                  <a:lnTo>
                    <a:pt x="275" y="49"/>
                  </a:lnTo>
                  <a:lnTo>
                    <a:pt x="275" y="49"/>
                  </a:lnTo>
                  <a:lnTo>
                    <a:pt x="269" y="51"/>
                  </a:lnTo>
                  <a:lnTo>
                    <a:pt x="269" y="51"/>
                  </a:lnTo>
                  <a:lnTo>
                    <a:pt x="269" y="51"/>
                  </a:lnTo>
                  <a:lnTo>
                    <a:pt x="266" y="51"/>
                  </a:lnTo>
                  <a:lnTo>
                    <a:pt x="265" y="53"/>
                  </a:lnTo>
                  <a:close/>
                  <a:moveTo>
                    <a:pt x="250" y="49"/>
                  </a:moveTo>
                  <a:lnTo>
                    <a:pt x="250" y="49"/>
                  </a:lnTo>
                  <a:lnTo>
                    <a:pt x="260" y="52"/>
                  </a:lnTo>
                  <a:lnTo>
                    <a:pt x="260" y="49"/>
                  </a:lnTo>
                  <a:lnTo>
                    <a:pt x="260" y="49"/>
                  </a:lnTo>
                  <a:lnTo>
                    <a:pt x="250" y="48"/>
                  </a:lnTo>
                  <a:lnTo>
                    <a:pt x="250" y="49"/>
                  </a:lnTo>
                  <a:lnTo>
                    <a:pt x="250" y="49"/>
                  </a:lnTo>
                  <a:close/>
                  <a:moveTo>
                    <a:pt x="236" y="49"/>
                  </a:moveTo>
                  <a:lnTo>
                    <a:pt x="236" y="49"/>
                  </a:lnTo>
                  <a:lnTo>
                    <a:pt x="237" y="49"/>
                  </a:lnTo>
                  <a:lnTo>
                    <a:pt x="237" y="49"/>
                  </a:lnTo>
                  <a:lnTo>
                    <a:pt x="242" y="49"/>
                  </a:lnTo>
                  <a:lnTo>
                    <a:pt x="242" y="49"/>
                  </a:lnTo>
                  <a:lnTo>
                    <a:pt x="246" y="49"/>
                  </a:lnTo>
                  <a:lnTo>
                    <a:pt x="246" y="46"/>
                  </a:lnTo>
                  <a:lnTo>
                    <a:pt x="246" y="46"/>
                  </a:lnTo>
                  <a:lnTo>
                    <a:pt x="242" y="46"/>
                  </a:lnTo>
                  <a:lnTo>
                    <a:pt x="242" y="46"/>
                  </a:lnTo>
                  <a:lnTo>
                    <a:pt x="237" y="46"/>
                  </a:lnTo>
                  <a:lnTo>
                    <a:pt x="237" y="46"/>
                  </a:lnTo>
                  <a:lnTo>
                    <a:pt x="236" y="48"/>
                  </a:lnTo>
                  <a:lnTo>
                    <a:pt x="236" y="49"/>
                  </a:lnTo>
                  <a:close/>
                  <a:moveTo>
                    <a:pt x="221" y="55"/>
                  </a:moveTo>
                  <a:lnTo>
                    <a:pt x="221" y="55"/>
                  </a:lnTo>
                  <a:lnTo>
                    <a:pt x="231" y="51"/>
                  </a:lnTo>
                  <a:lnTo>
                    <a:pt x="230" y="49"/>
                  </a:lnTo>
                  <a:lnTo>
                    <a:pt x="230" y="49"/>
                  </a:lnTo>
                  <a:lnTo>
                    <a:pt x="220" y="52"/>
                  </a:lnTo>
                  <a:lnTo>
                    <a:pt x="221" y="55"/>
                  </a:lnTo>
                  <a:close/>
                  <a:moveTo>
                    <a:pt x="207" y="59"/>
                  </a:moveTo>
                  <a:lnTo>
                    <a:pt x="207" y="59"/>
                  </a:lnTo>
                  <a:lnTo>
                    <a:pt x="217" y="56"/>
                  </a:lnTo>
                  <a:lnTo>
                    <a:pt x="215" y="53"/>
                  </a:lnTo>
                  <a:lnTo>
                    <a:pt x="215" y="53"/>
                  </a:lnTo>
                  <a:lnTo>
                    <a:pt x="207" y="56"/>
                  </a:lnTo>
                  <a:lnTo>
                    <a:pt x="207" y="59"/>
                  </a:lnTo>
                  <a:close/>
                  <a:moveTo>
                    <a:pt x="195" y="66"/>
                  </a:moveTo>
                  <a:lnTo>
                    <a:pt x="195" y="66"/>
                  </a:lnTo>
                  <a:lnTo>
                    <a:pt x="198" y="62"/>
                  </a:lnTo>
                  <a:lnTo>
                    <a:pt x="202" y="61"/>
                  </a:lnTo>
                  <a:lnTo>
                    <a:pt x="201" y="58"/>
                  </a:lnTo>
                  <a:lnTo>
                    <a:pt x="201" y="58"/>
                  </a:lnTo>
                  <a:lnTo>
                    <a:pt x="198" y="59"/>
                  </a:lnTo>
                  <a:lnTo>
                    <a:pt x="197" y="61"/>
                  </a:lnTo>
                  <a:lnTo>
                    <a:pt x="192" y="64"/>
                  </a:lnTo>
                  <a:lnTo>
                    <a:pt x="195" y="66"/>
                  </a:lnTo>
                  <a:close/>
                  <a:moveTo>
                    <a:pt x="179" y="64"/>
                  </a:moveTo>
                  <a:lnTo>
                    <a:pt x="179" y="64"/>
                  </a:lnTo>
                  <a:lnTo>
                    <a:pt x="184" y="68"/>
                  </a:lnTo>
                  <a:lnTo>
                    <a:pt x="188" y="69"/>
                  </a:lnTo>
                  <a:lnTo>
                    <a:pt x="188" y="69"/>
                  </a:lnTo>
                  <a:lnTo>
                    <a:pt x="189" y="69"/>
                  </a:lnTo>
                  <a:lnTo>
                    <a:pt x="189" y="66"/>
                  </a:lnTo>
                  <a:lnTo>
                    <a:pt x="189" y="66"/>
                  </a:lnTo>
                  <a:lnTo>
                    <a:pt x="188" y="66"/>
                  </a:lnTo>
                  <a:lnTo>
                    <a:pt x="188" y="66"/>
                  </a:lnTo>
                  <a:lnTo>
                    <a:pt x="185" y="65"/>
                  </a:lnTo>
                  <a:lnTo>
                    <a:pt x="182" y="62"/>
                  </a:lnTo>
                  <a:lnTo>
                    <a:pt x="179" y="64"/>
                  </a:lnTo>
                  <a:close/>
                  <a:moveTo>
                    <a:pt x="173" y="51"/>
                  </a:moveTo>
                  <a:lnTo>
                    <a:pt x="173" y="51"/>
                  </a:lnTo>
                  <a:lnTo>
                    <a:pt x="176" y="59"/>
                  </a:lnTo>
                  <a:lnTo>
                    <a:pt x="179" y="59"/>
                  </a:lnTo>
                  <a:lnTo>
                    <a:pt x="179" y="59"/>
                  </a:lnTo>
                  <a:lnTo>
                    <a:pt x="175" y="49"/>
                  </a:lnTo>
                  <a:lnTo>
                    <a:pt x="173" y="51"/>
                  </a:lnTo>
                  <a:close/>
                  <a:moveTo>
                    <a:pt x="172" y="35"/>
                  </a:moveTo>
                  <a:lnTo>
                    <a:pt x="172" y="35"/>
                  </a:lnTo>
                  <a:lnTo>
                    <a:pt x="172" y="37"/>
                  </a:lnTo>
                  <a:lnTo>
                    <a:pt x="172" y="37"/>
                  </a:lnTo>
                  <a:lnTo>
                    <a:pt x="172" y="45"/>
                  </a:lnTo>
                  <a:lnTo>
                    <a:pt x="175" y="45"/>
                  </a:lnTo>
                  <a:lnTo>
                    <a:pt x="175" y="45"/>
                  </a:lnTo>
                  <a:lnTo>
                    <a:pt x="175" y="37"/>
                  </a:lnTo>
                  <a:lnTo>
                    <a:pt x="175" y="37"/>
                  </a:lnTo>
                  <a:lnTo>
                    <a:pt x="175" y="35"/>
                  </a:lnTo>
                  <a:lnTo>
                    <a:pt x="172" y="35"/>
                  </a:lnTo>
                  <a:close/>
                  <a:moveTo>
                    <a:pt x="172" y="20"/>
                  </a:moveTo>
                  <a:lnTo>
                    <a:pt x="172" y="20"/>
                  </a:lnTo>
                  <a:lnTo>
                    <a:pt x="172" y="22"/>
                  </a:lnTo>
                  <a:lnTo>
                    <a:pt x="172" y="22"/>
                  </a:lnTo>
                  <a:lnTo>
                    <a:pt x="172" y="29"/>
                  </a:lnTo>
                  <a:lnTo>
                    <a:pt x="175" y="30"/>
                  </a:lnTo>
                  <a:lnTo>
                    <a:pt x="175" y="30"/>
                  </a:lnTo>
                  <a:lnTo>
                    <a:pt x="175" y="22"/>
                  </a:lnTo>
                  <a:lnTo>
                    <a:pt x="175" y="22"/>
                  </a:lnTo>
                  <a:lnTo>
                    <a:pt x="175" y="19"/>
                  </a:lnTo>
                  <a:lnTo>
                    <a:pt x="172" y="20"/>
                  </a:lnTo>
                  <a:close/>
                  <a:moveTo>
                    <a:pt x="168" y="6"/>
                  </a:moveTo>
                  <a:lnTo>
                    <a:pt x="168" y="6"/>
                  </a:lnTo>
                  <a:lnTo>
                    <a:pt x="172" y="14"/>
                  </a:lnTo>
                  <a:lnTo>
                    <a:pt x="173" y="14"/>
                  </a:lnTo>
                  <a:lnTo>
                    <a:pt x="173" y="14"/>
                  </a:lnTo>
                  <a:lnTo>
                    <a:pt x="172" y="9"/>
                  </a:lnTo>
                  <a:lnTo>
                    <a:pt x="169" y="4"/>
                  </a:lnTo>
                  <a:lnTo>
                    <a:pt x="168" y="6"/>
                  </a:lnTo>
                  <a:close/>
                  <a:moveTo>
                    <a:pt x="158" y="7"/>
                  </a:moveTo>
                  <a:lnTo>
                    <a:pt x="158" y="7"/>
                  </a:lnTo>
                  <a:lnTo>
                    <a:pt x="160" y="3"/>
                  </a:lnTo>
                  <a:lnTo>
                    <a:pt x="160" y="3"/>
                  </a:lnTo>
                  <a:lnTo>
                    <a:pt x="162" y="3"/>
                  </a:lnTo>
                  <a:lnTo>
                    <a:pt x="162" y="3"/>
                  </a:lnTo>
                  <a:lnTo>
                    <a:pt x="162" y="3"/>
                  </a:lnTo>
                  <a:lnTo>
                    <a:pt x="163" y="3"/>
                  </a:lnTo>
                  <a:lnTo>
                    <a:pt x="165" y="1"/>
                  </a:lnTo>
                  <a:lnTo>
                    <a:pt x="165" y="1"/>
                  </a:lnTo>
                  <a:lnTo>
                    <a:pt x="163" y="0"/>
                  </a:lnTo>
                  <a:lnTo>
                    <a:pt x="162" y="0"/>
                  </a:lnTo>
                  <a:lnTo>
                    <a:pt x="162" y="0"/>
                  </a:lnTo>
                  <a:lnTo>
                    <a:pt x="159" y="0"/>
                  </a:lnTo>
                  <a:lnTo>
                    <a:pt x="158" y="1"/>
                  </a:lnTo>
                  <a:lnTo>
                    <a:pt x="158" y="1"/>
                  </a:lnTo>
                  <a:lnTo>
                    <a:pt x="156" y="6"/>
                  </a:lnTo>
                  <a:lnTo>
                    <a:pt x="158" y="7"/>
                  </a:lnTo>
                  <a:close/>
                  <a:moveTo>
                    <a:pt x="149" y="19"/>
                  </a:moveTo>
                  <a:lnTo>
                    <a:pt x="149" y="19"/>
                  </a:lnTo>
                  <a:lnTo>
                    <a:pt x="149" y="19"/>
                  </a:lnTo>
                  <a:lnTo>
                    <a:pt x="153" y="16"/>
                  </a:lnTo>
                  <a:lnTo>
                    <a:pt x="156" y="11"/>
                  </a:lnTo>
                  <a:lnTo>
                    <a:pt x="153" y="10"/>
                  </a:lnTo>
                  <a:lnTo>
                    <a:pt x="153" y="10"/>
                  </a:lnTo>
                  <a:lnTo>
                    <a:pt x="150" y="13"/>
                  </a:lnTo>
                  <a:lnTo>
                    <a:pt x="147" y="16"/>
                  </a:lnTo>
                  <a:lnTo>
                    <a:pt x="147" y="17"/>
                  </a:lnTo>
                  <a:lnTo>
                    <a:pt x="149" y="19"/>
                  </a:lnTo>
                  <a:close/>
                  <a:moveTo>
                    <a:pt x="133" y="22"/>
                  </a:moveTo>
                  <a:lnTo>
                    <a:pt x="133" y="22"/>
                  </a:lnTo>
                  <a:lnTo>
                    <a:pt x="143" y="20"/>
                  </a:lnTo>
                  <a:lnTo>
                    <a:pt x="143" y="19"/>
                  </a:lnTo>
                  <a:lnTo>
                    <a:pt x="143" y="19"/>
                  </a:lnTo>
                  <a:lnTo>
                    <a:pt x="133" y="20"/>
                  </a:lnTo>
                  <a:lnTo>
                    <a:pt x="133" y="22"/>
                  </a:lnTo>
                  <a:close/>
                  <a:moveTo>
                    <a:pt x="118" y="23"/>
                  </a:moveTo>
                  <a:lnTo>
                    <a:pt x="118" y="23"/>
                  </a:lnTo>
                  <a:lnTo>
                    <a:pt x="129" y="23"/>
                  </a:lnTo>
                  <a:lnTo>
                    <a:pt x="127" y="20"/>
                  </a:lnTo>
                  <a:lnTo>
                    <a:pt x="127" y="20"/>
                  </a:lnTo>
                  <a:lnTo>
                    <a:pt x="117" y="20"/>
                  </a:lnTo>
                  <a:lnTo>
                    <a:pt x="118" y="23"/>
                  </a:lnTo>
                  <a:close/>
                  <a:moveTo>
                    <a:pt x="103" y="22"/>
                  </a:moveTo>
                  <a:lnTo>
                    <a:pt x="103" y="22"/>
                  </a:lnTo>
                  <a:lnTo>
                    <a:pt x="107" y="23"/>
                  </a:lnTo>
                  <a:lnTo>
                    <a:pt x="107" y="23"/>
                  </a:lnTo>
                  <a:lnTo>
                    <a:pt x="113" y="23"/>
                  </a:lnTo>
                  <a:lnTo>
                    <a:pt x="113" y="20"/>
                  </a:lnTo>
                  <a:lnTo>
                    <a:pt x="113" y="20"/>
                  </a:lnTo>
                  <a:lnTo>
                    <a:pt x="107" y="20"/>
                  </a:lnTo>
                  <a:lnTo>
                    <a:pt x="107" y="20"/>
                  </a:lnTo>
                  <a:lnTo>
                    <a:pt x="104" y="20"/>
                  </a:lnTo>
                  <a:lnTo>
                    <a:pt x="103" y="22"/>
                  </a:lnTo>
                  <a:close/>
                  <a:moveTo>
                    <a:pt x="91" y="19"/>
                  </a:moveTo>
                  <a:lnTo>
                    <a:pt x="92" y="17"/>
                  </a:lnTo>
                  <a:lnTo>
                    <a:pt x="92" y="17"/>
                  </a:lnTo>
                  <a:lnTo>
                    <a:pt x="95" y="17"/>
                  </a:lnTo>
                  <a:lnTo>
                    <a:pt x="95" y="17"/>
                  </a:lnTo>
                  <a:lnTo>
                    <a:pt x="98" y="19"/>
                  </a:lnTo>
                  <a:lnTo>
                    <a:pt x="100" y="16"/>
                  </a:lnTo>
                  <a:lnTo>
                    <a:pt x="100" y="16"/>
                  </a:lnTo>
                  <a:lnTo>
                    <a:pt x="98" y="14"/>
                  </a:lnTo>
                  <a:lnTo>
                    <a:pt x="95" y="14"/>
                  </a:lnTo>
                  <a:lnTo>
                    <a:pt x="95" y="14"/>
                  </a:lnTo>
                  <a:lnTo>
                    <a:pt x="91" y="16"/>
                  </a:lnTo>
                  <a:lnTo>
                    <a:pt x="91" y="16"/>
                  </a:lnTo>
                  <a:lnTo>
                    <a:pt x="89" y="17"/>
                  </a:lnTo>
                  <a:lnTo>
                    <a:pt x="91" y="19"/>
                  </a:lnTo>
                  <a:close/>
                  <a:moveTo>
                    <a:pt x="95" y="32"/>
                  </a:moveTo>
                  <a:lnTo>
                    <a:pt x="95" y="32"/>
                  </a:lnTo>
                  <a:lnTo>
                    <a:pt x="91" y="23"/>
                  </a:lnTo>
                  <a:lnTo>
                    <a:pt x="89" y="23"/>
                  </a:lnTo>
                  <a:lnTo>
                    <a:pt x="89" y="23"/>
                  </a:lnTo>
                  <a:lnTo>
                    <a:pt x="91" y="27"/>
                  </a:lnTo>
                  <a:lnTo>
                    <a:pt x="92" y="33"/>
                  </a:lnTo>
                  <a:lnTo>
                    <a:pt x="95" y="32"/>
                  </a:lnTo>
                  <a:close/>
                  <a:moveTo>
                    <a:pt x="103" y="45"/>
                  </a:moveTo>
                  <a:lnTo>
                    <a:pt x="103" y="45"/>
                  </a:lnTo>
                  <a:lnTo>
                    <a:pt x="98" y="36"/>
                  </a:lnTo>
                  <a:lnTo>
                    <a:pt x="95" y="37"/>
                  </a:lnTo>
                  <a:lnTo>
                    <a:pt x="95" y="37"/>
                  </a:lnTo>
                  <a:lnTo>
                    <a:pt x="101" y="46"/>
                  </a:lnTo>
                  <a:lnTo>
                    <a:pt x="103" y="45"/>
                  </a:lnTo>
                  <a:close/>
                  <a:moveTo>
                    <a:pt x="100" y="59"/>
                  </a:moveTo>
                  <a:lnTo>
                    <a:pt x="100" y="59"/>
                  </a:lnTo>
                  <a:lnTo>
                    <a:pt x="104" y="56"/>
                  </a:lnTo>
                  <a:lnTo>
                    <a:pt x="105" y="52"/>
                  </a:lnTo>
                  <a:lnTo>
                    <a:pt x="105" y="51"/>
                  </a:lnTo>
                  <a:lnTo>
                    <a:pt x="103" y="51"/>
                  </a:lnTo>
                  <a:lnTo>
                    <a:pt x="103" y="52"/>
                  </a:lnTo>
                  <a:lnTo>
                    <a:pt x="103" y="52"/>
                  </a:lnTo>
                  <a:lnTo>
                    <a:pt x="101" y="55"/>
                  </a:lnTo>
                  <a:lnTo>
                    <a:pt x="98" y="58"/>
                  </a:lnTo>
                  <a:lnTo>
                    <a:pt x="100" y="59"/>
                  </a:lnTo>
                  <a:close/>
                  <a:moveTo>
                    <a:pt x="87" y="68"/>
                  </a:moveTo>
                  <a:lnTo>
                    <a:pt x="87" y="68"/>
                  </a:lnTo>
                  <a:lnTo>
                    <a:pt x="92" y="65"/>
                  </a:lnTo>
                  <a:lnTo>
                    <a:pt x="92" y="65"/>
                  </a:lnTo>
                  <a:lnTo>
                    <a:pt x="97" y="64"/>
                  </a:lnTo>
                  <a:lnTo>
                    <a:pt x="95" y="61"/>
                  </a:lnTo>
                  <a:lnTo>
                    <a:pt x="95" y="61"/>
                  </a:lnTo>
                  <a:lnTo>
                    <a:pt x="91" y="64"/>
                  </a:lnTo>
                  <a:lnTo>
                    <a:pt x="91" y="64"/>
                  </a:lnTo>
                  <a:lnTo>
                    <a:pt x="87" y="66"/>
                  </a:lnTo>
                  <a:lnTo>
                    <a:pt x="87" y="68"/>
                  </a:lnTo>
                  <a:close/>
                  <a:moveTo>
                    <a:pt x="72" y="72"/>
                  </a:moveTo>
                  <a:lnTo>
                    <a:pt x="74" y="72"/>
                  </a:lnTo>
                  <a:lnTo>
                    <a:pt x="74" y="72"/>
                  </a:lnTo>
                  <a:lnTo>
                    <a:pt x="82" y="71"/>
                  </a:lnTo>
                  <a:lnTo>
                    <a:pt x="82" y="68"/>
                  </a:lnTo>
                  <a:lnTo>
                    <a:pt x="82" y="68"/>
                  </a:lnTo>
                  <a:lnTo>
                    <a:pt x="74" y="69"/>
                  </a:lnTo>
                  <a:lnTo>
                    <a:pt x="72" y="69"/>
                  </a:lnTo>
                  <a:lnTo>
                    <a:pt x="72" y="72"/>
                  </a:lnTo>
                  <a:close/>
                  <a:moveTo>
                    <a:pt x="59" y="64"/>
                  </a:moveTo>
                  <a:lnTo>
                    <a:pt x="59" y="64"/>
                  </a:lnTo>
                  <a:lnTo>
                    <a:pt x="66" y="69"/>
                  </a:lnTo>
                  <a:lnTo>
                    <a:pt x="68" y="68"/>
                  </a:lnTo>
                  <a:lnTo>
                    <a:pt x="68" y="68"/>
                  </a:lnTo>
                  <a:lnTo>
                    <a:pt x="61" y="62"/>
                  </a:lnTo>
                  <a:lnTo>
                    <a:pt x="59" y="64"/>
                  </a:lnTo>
                  <a:close/>
                  <a:moveTo>
                    <a:pt x="49" y="55"/>
                  </a:moveTo>
                  <a:lnTo>
                    <a:pt x="49" y="55"/>
                  </a:lnTo>
                  <a:lnTo>
                    <a:pt x="52" y="55"/>
                  </a:lnTo>
                  <a:lnTo>
                    <a:pt x="52" y="55"/>
                  </a:lnTo>
                  <a:lnTo>
                    <a:pt x="53" y="55"/>
                  </a:lnTo>
                  <a:lnTo>
                    <a:pt x="53" y="55"/>
                  </a:lnTo>
                  <a:lnTo>
                    <a:pt x="53" y="56"/>
                  </a:lnTo>
                  <a:lnTo>
                    <a:pt x="53" y="56"/>
                  </a:lnTo>
                  <a:lnTo>
                    <a:pt x="55" y="59"/>
                  </a:lnTo>
                  <a:lnTo>
                    <a:pt x="58" y="58"/>
                  </a:lnTo>
                  <a:lnTo>
                    <a:pt x="58" y="58"/>
                  </a:lnTo>
                  <a:lnTo>
                    <a:pt x="56" y="56"/>
                  </a:lnTo>
                  <a:lnTo>
                    <a:pt x="56" y="56"/>
                  </a:lnTo>
                  <a:lnTo>
                    <a:pt x="55" y="53"/>
                  </a:lnTo>
                  <a:lnTo>
                    <a:pt x="55" y="53"/>
                  </a:lnTo>
                  <a:lnTo>
                    <a:pt x="52" y="52"/>
                  </a:lnTo>
                  <a:lnTo>
                    <a:pt x="52" y="52"/>
                  </a:lnTo>
                  <a:lnTo>
                    <a:pt x="49" y="52"/>
                  </a:lnTo>
                  <a:lnTo>
                    <a:pt x="49" y="55"/>
                  </a:lnTo>
                  <a:close/>
                  <a:moveTo>
                    <a:pt x="40" y="59"/>
                  </a:moveTo>
                  <a:lnTo>
                    <a:pt x="40" y="59"/>
                  </a:lnTo>
                  <a:lnTo>
                    <a:pt x="40" y="56"/>
                  </a:lnTo>
                  <a:lnTo>
                    <a:pt x="40" y="56"/>
                  </a:lnTo>
                  <a:lnTo>
                    <a:pt x="40" y="56"/>
                  </a:lnTo>
                  <a:lnTo>
                    <a:pt x="42" y="56"/>
                  </a:lnTo>
                  <a:lnTo>
                    <a:pt x="42" y="56"/>
                  </a:lnTo>
                  <a:lnTo>
                    <a:pt x="45" y="56"/>
                  </a:lnTo>
                  <a:lnTo>
                    <a:pt x="45" y="53"/>
                  </a:lnTo>
                  <a:lnTo>
                    <a:pt x="45" y="53"/>
                  </a:lnTo>
                  <a:lnTo>
                    <a:pt x="42" y="53"/>
                  </a:lnTo>
                  <a:lnTo>
                    <a:pt x="42" y="53"/>
                  </a:lnTo>
                  <a:lnTo>
                    <a:pt x="39" y="53"/>
                  </a:lnTo>
                  <a:lnTo>
                    <a:pt x="39" y="53"/>
                  </a:lnTo>
                  <a:lnTo>
                    <a:pt x="37" y="56"/>
                  </a:lnTo>
                  <a:lnTo>
                    <a:pt x="37" y="56"/>
                  </a:lnTo>
                  <a:lnTo>
                    <a:pt x="37" y="61"/>
                  </a:lnTo>
                  <a:lnTo>
                    <a:pt x="40" y="59"/>
                  </a:lnTo>
                  <a:close/>
                  <a:moveTo>
                    <a:pt x="32" y="68"/>
                  </a:moveTo>
                  <a:lnTo>
                    <a:pt x="32" y="68"/>
                  </a:lnTo>
                  <a:lnTo>
                    <a:pt x="33" y="68"/>
                  </a:lnTo>
                  <a:lnTo>
                    <a:pt x="33" y="68"/>
                  </a:lnTo>
                  <a:lnTo>
                    <a:pt x="39" y="68"/>
                  </a:lnTo>
                  <a:lnTo>
                    <a:pt x="39" y="68"/>
                  </a:lnTo>
                  <a:lnTo>
                    <a:pt x="40" y="66"/>
                  </a:lnTo>
                  <a:lnTo>
                    <a:pt x="40" y="66"/>
                  </a:lnTo>
                  <a:lnTo>
                    <a:pt x="42" y="65"/>
                  </a:lnTo>
                  <a:lnTo>
                    <a:pt x="39" y="65"/>
                  </a:lnTo>
                  <a:lnTo>
                    <a:pt x="39" y="65"/>
                  </a:lnTo>
                  <a:lnTo>
                    <a:pt x="39" y="65"/>
                  </a:lnTo>
                  <a:lnTo>
                    <a:pt x="33" y="66"/>
                  </a:lnTo>
                  <a:lnTo>
                    <a:pt x="33" y="66"/>
                  </a:lnTo>
                  <a:lnTo>
                    <a:pt x="32" y="66"/>
                  </a:lnTo>
                  <a:lnTo>
                    <a:pt x="32" y="68"/>
                  </a:lnTo>
                  <a:close/>
                  <a:moveTo>
                    <a:pt x="19" y="71"/>
                  </a:moveTo>
                  <a:lnTo>
                    <a:pt x="19" y="71"/>
                  </a:lnTo>
                  <a:lnTo>
                    <a:pt x="20" y="68"/>
                  </a:lnTo>
                  <a:lnTo>
                    <a:pt x="23" y="68"/>
                  </a:lnTo>
                  <a:lnTo>
                    <a:pt x="24" y="68"/>
                  </a:lnTo>
                  <a:lnTo>
                    <a:pt x="26" y="68"/>
                  </a:lnTo>
                  <a:lnTo>
                    <a:pt x="26" y="65"/>
                  </a:lnTo>
                  <a:lnTo>
                    <a:pt x="26" y="65"/>
                  </a:lnTo>
                  <a:lnTo>
                    <a:pt x="26" y="65"/>
                  </a:lnTo>
                  <a:lnTo>
                    <a:pt x="23" y="65"/>
                  </a:lnTo>
                  <a:lnTo>
                    <a:pt x="23" y="65"/>
                  </a:lnTo>
                  <a:lnTo>
                    <a:pt x="20" y="66"/>
                  </a:lnTo>
                  <a:lnTo>
                    <a:pt x="16" y="68"/>
                  </a:lnTo>
                  <a:lnTo>
                    <a:pt x="19" y="71"/>
                  </a:lnTo>
                  <a:close/>
                  <a:moveTo>
                    <a:pt x="11" y="81"/>
                  </a:moveTo>
                  <a:lnTo>
                    <a:pt x="11" y="81"/>
                  </a:lnTo>
                  <a:lnTo>
                    <a:pt x="10" y="79"/>
                  </a:lnTo>
                  <a:lnTo>
                    <a:pt x="10" y="79"/>
                  </a:lnTo>
                  <a:lnTo>
                    <a:pt x="11" y="78"/>
                  </a:lnTo>
                  <a:lnTo>
                    <a:pt x="11" y="78"/>
                  </a:lnTo>
                  <a:lnTo>
                    <a:pt x="14" y="74"/>
                  </a:lnTo>
                  <a:lnTo>
                    <a:pt x="13" y="72"/>
                  </a:lnTo>
                  <a:lnTo>
                    <a:pt x="13" y="72"/>
                  </a:lnTo>
                  <a:lnTo>
                    <a:pt x="8" y="77"/>
                  </a:lnTo>
                  <a:lnTo>
                    <a:pt x="8" y="77"/>
                  </a:lnTo>
                  <a:lnTo>
                    <a:pt x="8" y="79"/>
                  </a:lnTo>
                  <a:lnTo>
                    <a:pt x="8" y="79"/>
                  </a:lnTo>
                  <a:lnTo>
                    <a:pt x="8" y="82"/>
                  </a:lnTo>
                  <a:lnTo>
                    <a:pt x="11" y="81"/>
                  </a:lnTo>
                  <a:close/>
                  <a:moveTo>
                    <a:pt x="20" y="93"/>
                  </a:moveTo>
                  <a:lnTo>
                    <a:pt x="20" y="93"/>
                  </a:lnTo>
                  <a:lnTo>
                    <a:pt x="17" y="88"/>
                  </a:lnTo>
                  <a:lnTo>
                    <a:pt x="14" y="85"/>
                  </a:lnTo>
                  <a:lnTo>
                    <a:pt x="11" y="87"/>
                  </a:lnTo>
                  <a:lnTo>
                    <a:pt x="11" y="87"/>
                  </a:lnTo>
                  <a:lnTo>
                    <a:pt x="16" y="90"/>
                  </a:lnTo>
                  <a:lnTo>
                    <a:pt x="17" y="94"/>
                  </a:lnTo>
                  <a:lnTo>
                    <a:pt x="20" y="93"/>
                  </a:lnTo>
                  <a:close/>
                  <a:moveTo>
                    <a:pt x="20" y="108"/>
                  </a:moveTo>
                  <a:lnTo>
                    <a:pt x="20" y="108"/>
                  </a:lnTo>
                  <a:lnTo>
                    <a:pt x="21" y="98"/>
                  </a:lnTo>
                  <a:lnTo>
                    <a:pt x="21" y="98"/>
                  </a:lnTo>
                  <a:lnTo>
                    <a:pt x="19" y="98"/>
                  </a:lnTo>
                  <a:lnTo>
                    <a:pt x="19" y="98"/>
                  </a:lnTo>
                  <a:lnTo>
                    <a:pt x="19" y="98"/>
                  </a:lnTo>
                  <a:lnTo>
                    <a:pt x="17" y="108"/>
                  </a:lnTo>
                  <a:lnTo>
                    <a:pt x="20" y="108"/>
                  </a:lnTo>
                  <a:close/>
                  <a:moveTo>
                    <a:pt x="14" y="123"/>
                  </a:moveTo>
                  <a:lnTo>
                    <a:pt x="14" y="123"/>
                  </a:lnTo>
                  <a:lnTo>
                    <a:pt x="19" y="114"/>
                  </a:lnTo>
                  <a:lnTo>
                    <a:pt x="16" y="113"/>
                  </a:lnTo>
                  <a:lnTo>
                    <a:pt x="16" y="113"/>
                  </a:lnTo>
                  <a:lnTo>
                    <a:pt x="11" y="121"/>
                  </a:lnTo>
                  <a:lnTo>
                    <a:pt x="14" y="123"/>
                  </a:lnTo>
                  <a:close/>
                  <a:moveTo>
                    <a:pt x="7" y="137"/>
                  </a:moveTo>
                  <a:lnTo>
                    <a:pt x="7" y="137"/>
                  </a:lnTo>
                  <a:lnTo>
                    <a:pt x="11" y="127"/>
                  </a:lnTo>
                  <a:lnTo>
                    <a:pt x="10" y="127"/>
                  </a:lnTo>
                  <a:lnTo>
                    <a:pt x="10" y="127"/>
                  </a:lnTo>
                  <a:lnTo>
                    <a:pt x="5" y="136"/>
                  </a:lnTo>
                  <a:lnTo>
                    <a:pt x="7" y="137"/>
                  </a:lnTo>
                  <a:close/>
                  <a:moveTo>
                    <a:pt x="3" y="152"/>
                  </a:moveTo>
                  <a:lnTo>
                    <a:pt x="3" y="152"/>
                  </a:lnTo>
                  <a:lnTo>
                    <a:pt x="5" y="142"/>
                  </a:lnTo>
                  <a:lnTo>
                    <a:pt x="4" y="140"/>
                  </a:lnTo>
                  <a:lnTo>
                    <a:pt x="4" y="140"/>
                  </a:lnTo>
                  <a:lnTo>
                    <a:pt x="0" y="150"/>
                  </a:lnTo>
                  <a:lnTo>
                    <a:pt x="3" y="1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78" name="Freeform 1642"/>
            <p:cNvSpPr>
              <a:spLocks noEditPoints="1"/>
            </p:cNvSpPr>
            <p:nvPr/>
          </p:nvSpPr>
          <p:spPr bwMode="auto">
            <a:xfrm>
              <a:off x="2908300" y="4613704"/>
              <a:ext cx="23813" cy="96838"/>
            </a:xfrm>
            <a:custGeom>
              <a:avLst/>
              <a:gdLst>
                <a:gd name="T0" fmla="*/ 7 w 15"/>
                <a:gd name="T1" fmla="*/ 5 h 61"/>
                <a:gd name="T2" fmla="*/ 7 w 15"/>
                <a:gd name="T3" fmla="*/ 5 h 61"/>
                <a:gd name="T4" fmla="*/ 10 w 15"/>
                <a:gd name="T5" fmla="*/ 1 h 61"/>
                <a:gd name="T6" fmla="*/ 7 w 15"/>
                <a:gd name="T7" fmla="*/ 0 h 61"/>
                <a:gd name="T8" fmla="*/ 7 w 15"/>
                <a:gd name="T9" fmla="*/ 0 h 61"/>
                <a:gd name="T10" fmla="*/ 6 w 15"/>
                <a:gd name="T11" fmla="*/ 4 h 61"/>
                <a:gd name="T12" fmla="*/ 7 w 15"/>
                <a:gd name="T13" fmla="*/ 5 h 61"/>
                <a:gd name="T14" fmla="*/ 4 w 15"/>
                <a:gd name="T15" fmla="*/ 19 h 61"/>
                <a:gd name="T16" fmla="*/ 4 w 15"/>
                <a:gd name="T17" fmla="*/ 19 h 61"/>
                <a:gd name="T18" fmla="*/ 4 w 15"/>
                <a:gd name="T19" fmla="*/ 16 h 61"/>
                <a:gd name="T20" fmla="*/ 4 w 15"/>
                <a:gd name="T21" fmla="*/ 14 h 61"/>
                <a:gd name="T22" fmla="*/ 4 w 15"/>
                <a:gd name="T23" fmla="*/ 14 h 61"/>
                <a:gd name="T24" fmla="*/ 6 w 15"/>
                <a:gd name="T25" fmla="*/ 10 h 61"/>
                <a:gd name="T26" fmla="*/ 3 w 15"/>
                <a:gd name="T27" fmla="*/ 10 h 61"/>
                <a:gd name="T28" fmla="*/ 3 w 15"/>
                <a:gd name="T29" fmla="*/ 10 h 61"/>
                <a:gd name="T30" fmla="*/ 2 w 15"/>
                <a:gd name="T31" fmla="*/ 14 h 61"/>
                <a:gd name="T32" fmla="*/ 2 w 15"/>
                <a:gd name="T33" fmla="*/ 14 h 61"/>
                <a:gd name="T34" fmla="*/ 2 w 15"/>
                <a:gd name="T35" fmla="*/ 16 h 61"/>
                <a:gd name="T36" fmla="*/ 2 w 15"/>
                <a:gd name="T37" fmla="*/ 16 h 61"/>
                <a:gd name="T38" fmla="*/ 3 w 15"/>
                <a:gd name="T39" fmla="*/ 20 h 61"/>
                <a:gd name="T40" fmla="*/ 4 w 15"/>
                <a:gd name="T41" fmla="*/ 19 h 61"/>
                <a:gd name="T42" fmla="*/ 13 w 15"/>
                <a:gd name="T43" fmla="*/ 32 h 61"/>
                <a:gd name="T44" fmla="*/ 13 w 15"/>
                <a:gd name="T45" fmla="*/ 32 h 61"/>
                <a:gd name="T46" fmla="*/ 7 w 15"/>
                <a:gd name="T47" fmla="*/ 23 h 61"/>
                <a:gd name="T48" fmla="*/ 6 w 15"/>
                <a:gd name="T49" fmla="*/ 24 h 61"/>
                <a:gd name="T50" fmla="*/ 6 w 15"/>
                <a:gd name="T51" fmla="*/ 24 h 61"/>
                <a:gd name="T52" fmla="*/ 10 w 15"/>
                <a:gd name="T53" fmla="*/ 33 h 61"/>
                <a:gd name="T54" fmla="*/ 13 w 15"/>
                <a:gd name="T55" fmla="*/ 32 h 61"/>
                <a:gd name="T56" fmla="*/ 12 w 15"/>
                <a:gd name="T57" fmla="*/ 47 h 61"/>
                <a:gd name="T58" fmla="*/ 12 w 15"/>
                <a:gd name="T59" fmla="*/ 47 h 61"/>
                <a:gd name="T60" fmla="*/ 13 w 15"/>
                <a:gd name="T61" fmla="*/ 42 h 61"/>
                <a:gd name="T62" fmla="*/ 15 w 15"/>
                <a:gd name="T63" fmla="*/ 37 h 61"/>
                <a:gd name="T64" fmla="*/ 15 w 15"/>
                <a:gd name="T65" fmla="*/ 37 h 61"/>
                <a:gd name="T66" fmla="*/ 12 w 15"/>
                <a:gd name="T67" fmla="*/ 37 h 61"/>
                <a:gd name="T68" fmla="*/ 12 w 15"/>
                <a:gd name="T69" fmla="*/ 37 h 61"/>
                <a:gd name="T70" fmla="*/ 12 w 15"/>
                <a:gd name="T71" fmla="*/ 37 h 61"/>
                <a:gd name="T72" fmla="*/ 12 w 15"/>
                <a:gd name="T73" fmla="*/ 42 h 61"/>
                <a:gd name="T74" fmla="*/ 9 w 15"/>
                <a:gd name="T75" fmla="*/ 46 h 61"/>
                <a:gd name="T76" fmla="*/ 12 w 15"/>
                <a:gd name="T77" fmla="*/ 47 h 61"/>
                <a:gd name="T78" fmla="*/ 3 w 15"/>
                <a:gd name="T79" fmla="*/ 61 h 61"/>
                <a:gd name="T80" fmla="*/ 3 w 15"/>
                <a:gd name="T81" fmla="*/ 61 h 61"/>
                <a:gd name="T82" fmla="*/ 9 w 15"/>
                <a:gd name="T83" fmla="*/ 52 h 61"/>
                <a:gd name="T84" fmla="*/ 6 w 15"/>
                <a:gd name="T85" fmla="*/ 50 h 61"/>
                <a:gd name="T86" fmla="*/ 6 w 15"/>
                <a:gd name="T87" fmla="*/ 50 h 61"/>
                <a:gd name="T88" fmla="*/ 0 w 15"/>
                <a:gd name="T89" fmla="*/ 59 h 61"/>
                <a:gd name="T90" fmla="*/ 3 w 15"/>
                <a:gd name="T9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 h="61">
                  <a:moveTo>
                    <a:pt x="7" y="5"/>
                  </a:moveTo>
                  <a:lnTo>
                    <a:pt x="7" y="5"/>
                  </a:lnTo>
                  <a:lnTo>
                    <a:pt x="10" y="1"/>
                  </a:lnTo>
                  <a:lnTo>
                    <a:pt x="7" y="0"/>
                  </a:lnTo>
                  <a:lnTo>
                    <a:pt x="7" y="0"/>
                  </a:lnTo>
                  <a:lnTo>
                    <a:pt x="6" y="4"/>
                  </a:lnTo>
                  <a:lnTo>
                    <a:pt x="7" y="5"/>
                  </a:lnTo>
                  <a:close/>
                  <a:moveTo>
                    <a:pt x="4" y="19"/>
                  </a:moveTo>
                  <a:lnTo>
                    <a:pt x="4" y="19"/>
                  </a:lnTo>
                  <a:lnTo>
                    <a:pt x="4" y="16"/>
                  </a:lnTo>
                  <a:lnTo>
                    <a:pt x="4" y="14"/>
                  </a:lnTo>
                  <a:lnTo>
                    <a:pt x="4" y="14"/>
                  </a:lnTo>
                  <a:lnTo>
                    <a:pt x="6" y="10"/>
                  </a:lnTo>
                  <a:lnTo>
                    <a:pt x="3" y="10"/>
                  </a:lnTo>
                  <a:lnTo>
                    <a:pt x="3" y="10"/>
                  </a:lnTo>
                  <a:lnTo>
                    <a:pt x="2" y="14"/>
                  </a:lnTo>
                  <a:lnTo>
                    <a:pt x="2" y="14"/>
                  </a:lnTo>
                  <a:lnTo>
                    <a:pt x="2" y="16"/>
                  </a:lnTo>
                  <a:lnTo>
                    <a:pt x="2" y="16"/>
                  </a:lnTo>
                  <a:lnTo>
                    <a:pt x="3" y="20"/>
                  </a:lnTo>
                  <a:lnTo>
                    <a:pt x="4" y="19"/>
                  </a:lnTo>
                  <a:close/>
                  <a:moveTo>
                    <a:pt x="13" y="32"/>
                  </a:moveTo>
                  <a:lnTo>
                    <a:pt x="13" y="32"/>
                  </a:lnTo>
                  <a:lnTo>
                    <a:pt x="7" y="23"/>
                  </a:lnTo>
                  <a:lnTo>
                    <a:pt x="6" y="24"/>
                  </a:lnTo>
                  <a:lnTo>
                    <a:pt x="6" y="24"/>
                  </a:lnTo>
                  <a:lnTo>
                    <a:pt x="10" y="33"/>
                  </a:lnTo>
                  <a:lnTo>
                    <a:pt x="13" y="32"/>
                  </a:lnTo>
                  <a:close/>
                  <a:moveTo>
                    <a:pt x="12" y="47"/>
                  </a:moveTo>
                  <a:lnTo>
                    <a:pt x="12" y="47"/>
                  </a:lnTo>
                  <a:lnTo>
                    <a:pt x="13" y="42"/>
                  </a:lnTo>
                  <a:lnTo>
                    <a:pt x="15" y="37"/>
                  </a:lnTo>
                  <a:lnTo>
                    <a:pt x="15" y="37"/>
                  </a:lnTo>
                  <a:lnTo>
                    <a:pt x="12" y="37"/>
                  </a:lnTo>
                  <a:lnTo>
                    <a:pt x="12" y="37"/>
                  </a:lnTo>
                  <a:lnTo>
                    <a:pt x="12" y="37"/>
                  </a:lnTo>
                  <a:lnTo>
                    <a:pt x="12" y="42"/>
                  </a:lnTo>
                  <a:lnTo>
                    <a:pt x="9" y="46"/>
                  </a:lnTo>
                  <a:lnTo>
                    <a:pt x="12" y="47"/>
                  </a:lnTo>
                  <a:close/>
                  <a:moveTo>
                    <a:pt x="3" y="61"/>
                  </a:moveTo>
                  <a:lnTo>
                    <a:pt x="3" y="61"/>
                  </a:lnTo>
                  <a:lnTo>
                    <a:pt x="9" y="52"/>
                  </a:lnTo>
                  <a:lnTo>
                    <a:pt x="6" y="50"/>
                  </a:lnTo>
                  <a:lnTo>
                    <a:pt x="6" y="50"/>
                  </a:lnTo>
                  <a:lnTo>
                    <a:pt x="0" y="59"/>
                  </a:lnTo>
                  <a:lnTo>
                    <a:pt x="3"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79" name="Freeform 1643"/>
            <p:cNvSpPr>
              <a:spLocks noEditPoints="1"/>
            </p:cNvSpPr>
            <p:nvPr/>
          </p:nvSpPr>
          <p:spPr bwMode="auto">
            <a:xfrm>
              <a:off x="2835275" y="4605766"/>
              <a:ext cx="47625" cy="101600"/>
            </a:xfrm>
            <a:custGeom>
              <a:avLst/>
              <a:gdLst>
                <a:gd name="T0" fmla="*/ 11 w 30"/>
                <a:gd name="T1" fmla="*/ 0 h 64"/>
                <a:gd name="T2" fmla="*/ 8 w 30"/>
                <a:gd name="T3" fmla="*/ 0 h 64"/>
                <a:gd name="T4" fmla="*/ 8 w 30"/>
                <a:gd name="T5" fmla="*/ 2 h 64"/>
                <a:gd name="T6" fmla="*/ 11 w 30"/>
                <a:gd name="T7" fmla="*/ 2 h 64"/>
                <a:gd name="T8" fmla="*/ 11 w 30"/>
                <a:gd name="T9" fmla="*/ 0 h 64"/>
                <a:gd name="T10" fmla="*/ 10 w 30"/>
                <a:gd name="T11" fmla="*/ 18 h 64"/>
                <a:gd name="T12" fmla="*/ 10 w 30"/>
                <a:gd name="T13" fmla="*/ 18 h 64"/>
                <a:gd name="T14" fmla="*/ 11 w 30"/>
                <a:gd name="T15" fmla="*/ 12 h 64"/>
                <a:gd name="T16" fmla="*/ 11 w 30"/>
                <a:gd name="T17" fmla="*/ 6 h 64"/>
                <a:gd name="T18" fmla="*/ 8 w 30"/>
                <a:gd name="T19" fmla="*/ 6 h 64"/>
                <a:gd name="T20" fmla="*/ 8 w 30"/>
                <a:gd name="T21" fmla="*/ 12 h 64"/>
                <a:gd name="T22" fmla="*/ 8 w 30"/>
                <a:gd name="T23" fmla="*/ 12 h 64"/>
                <a:gd name="T24" fmla="*/ 8 w 30"/>
                <a:gd name="T25" fmla="*/ 16 h 64"/>
                <a:gd name="T26" fmla="*/ 10 w 30"/>
                <a:gd name="T27" fmla="*/ 18 h 64"/>
                <a:gd name="T28" fmla="*/ 3 w 30"/>
                <a:gd name="T29" fmla="*/ 31 h 64"/>
                <a:gd name="T30" fmla="*/ 3 w 30"/>
                <a:gd name="T31" fmla="*/ 31 h 64"/>
                <a:gd name="T32" fmla="*/ 8 w 30"/>
                <a:gd name="T33" fmla="*/ 22 h 64"/>
                <a:gd name="T34" fmla="*/ 6 w 30"/>
                <a:gd name="T35" fmla="*/ 21 h 64"/>
                <a:gd name="T36" fmla="*/ 6 w 30"/>
                <a:gd name="T37" fmla="*/ 21 h 64"/>
                <a:gd name="T38" fmla="*/ 1 w 30"/>
                <a:gd name="T39" fmla="*/ 29 h 64"/>
                <a:gd name="T40" fmla="*/ 3 w 30"/>
                <a:gd name="T41" fmla="*/ 31 h 64"/>
                <a:gd name="T42" fmla="*/ 7 w 30"/>
                <a:gd name="T43" fmla="*/ 42 h 64"/>
                <a:gd name="T44" fmla="*/ 7 w 30"/>
                <a:gd name="T45" fmla="*/ 42 h 64"/>
                <a:gd name="T46" fmla="*/ 4 w 30"/>
                <a:gd name="T47" fmla="*/ 38 h 64"/>
                <a:gd name="T48" fmla="*/ 3 w 30"/>
                <a:gd name="T49" fmla="*/ 34 h 64"/>
                <a:gd name="T50" fmla="*/ 0 w 30"/>
                <a:gd name="T51" fmla="*/ 35 h 64"/>
                <a:gd name="T52" fmla="*/ 0 w 30"/>
                <a:gd name="T53" fmla="*/ 35 h 64"/>
                <a:gd name="T54" fmla="*/ 1 w 30"/>
                <a:gd name="T55" fmla="*/ 39 h 64"/>
                <a:gd name="T56" fmla="*/ 6 w 30"/>
                <a:gd name="T57" fmla="*/ 44 h 64"/>
                <a:gd name="T58" fmla="*/ 7 w 30"/>
                <a:gd name="T59" fmla="*/ 42 h 64"/>
                <a:gd name="T60" fmla="*/ 19 w 30"/>
                <a:gd name="T61" fmla="*/ 52 h 64"/>
                <a:gd name="T62" fmla="*/ 19 w 30"/>
                <a:gd name="T63" fmla="*/ 52 h 64"/>
                <a:gd name="T64" fmla="*/ 11 w 30"/>
                <a:gd name="T65" fmla="*/ 45 h 64"/>
                <a:gd name="T66" fmla="*/ 8 w 30"/>
                <a:gd name="T67" fmla="*/ 48 h 64"/>
                <a:gd name="T68" fmla="*/ 8 w 30"/>
                <a:gd name="T69" fmla="*/ 48 h 64"/>
                <a:gd name="T70" fmla="*/ 17 w 30"/>
                <a:gd name="T71" fmla="*/ 55 h 64"/>
                <a:gd name="T72" fmla="*/ 19 w 30"/>
                <a:gd name="T73" fmla="*/ 52 h 64"/>
                <a:gd name="T74" fmla="*/ 30 w 30"/>
                <a:gd name="T75" fmla="*/ 63 h 64"/>
                <a:gd name="T76" fmla="*/ 30 w 30"/>
                <a:gd name="T77" fmla="*/ 63 h 64"/>
                <a:gd name="T78" fmla="*/ 22 w 30"/>
                <a:gd name="T79" fmla="*/ 55 h 64"/>
                <a:gd name="T80" fmla="*/ 20 w 30"/>
                <a:gd name="T81" fmla="*/ 58 h 64"/>
                <a:gd name="T82" fmla="*/ 20 w 30"/>
                <a:gd name="T83" fmla="*/ 58 h 64"/>
                <a:gd name="T84" fmla="*/ 29 w 30"/>
                <a:gd name="T85" fmla="*/ 64 h 64"/>
                <a:gd name="T86" fmla="*/ 30 w 30"/>
                <a:gd name="T87" fmla="*/ 6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 h="64">
                  <a:moveTo>
                    <a:pt x="11" y="0"/>
                  </a:moveTo>
                  <a:lnTo>
                    <a:pt x="8" y="0"/>
                  </a:lnTo>
                  <a:lnTo>
                    <a:pt x="8" y="2"/>
                  </a:lnTo>
                  <a:lnTo>
                    <a:pt x="11" y="2"/>
                  </a:lnTo>
                  <a:lnTo>
                    <a:pt x="11" y="0"/>
                  </a:lnTo>
                  <a:close/>
                  <a:moveTo>
                    <a:pt x="10" y="18"/>
                  </a:moveTo>
                  <a:lnTo>
                    <a:pt x="10" y="18"/>
                  </a:lnTo>
                  <a:lnTo>
                    <a:pt x="11" y="12"/>
                  </a:lnTo>
                  <a:lnTo>
                    <a:pt x="11" y="6"/>
                  </a:lnTo>
                  <a:lnTo>
                    <a:pt x="8" y="6"/>
                  </a:lnTo>
                  <a:lnTo>
                    <a:pt x="8" y="12"/>
                  </a:lnTo>
                  <a:lnTo>
                    <a:pt x="8" y="12"/>
                  </a:lnTo>
                  <a:lnTo>
                    <a:pt x="8" y="16"/>
                  </a:lnTo>
                  <a:lnTo>
                    <a:pt x="10" y="18"/>
                  </a:lnTo>
                  <a:close/>
                  <a:moveTo>
                    <a:pt x="3" y="31"/>
                  </a:moveTo>
                  <a:lnTo>
                    <a:pt x="3" y="31"/>
                  </a:lnTo>
                  <a:lnTo>
                    <a:pt x="8" y="22"/>
                  </a:lnTo>
                  <a:lnTo>
                    <a:pt x="6" y="21"/>
                  </a:lnTo>
                  <a:lnTo>
                    <a:pt x="6" y="21"/>
                  </a:lnTo>
                  <a:lnTo>
                    <a:pt x="1" y="29"/>
                  </a:lnTo>
                  <a:lnTo>
                    <a:pt x="3" y="31"/>
                  </a:lnTo>
                  <a:close/>
                  <a:moveTo>
                    <a:pt x="7" y="42"/>
                  </a:moveTo>
                  <a:lnTo>
                    <a:pt x="7" y="42"/>
                  </a:lnTo>
                  <a:lnTo>
                    <a:pt x="4" y="38"/>
                  </a:lnTo>
                  <a:lnTo>
                    <a:pt x="3" y="34"/>
                  </a:lnTo>
                  <a:lnTo>
                    <a:pt x="0" y="35"/>
                  </a:lnTo>
                  <a:lnTo>
                    <a:pt x="0" y="35"/>
                  </a:lnTo>
                  <a:lnTo>
                    <a:pt x="1" y="39"/>
                  </a:lnTo>
                  <a:lnTo>
                    <a:pt x="6" y="44"/>
                  </a:lnTo>
                  <a:lnTo>
                    <a:pt x="7" y="42"/>
                  </a:lnTo>
                  <a:close/>
                  <a:moveTo>
                    <a:pt x="19" y="52"/>
                  </a:moveTo>
                  <a:lnTo>
                    <a:pt x="19" y="52"/>
                  </a:lnTo>
                  <a:lnTo>
                    <a:pt x="11" y="45"/>
                  </a:lnTo>
                  <a:lnTo>
                    <a:pt x="8" y="48"/>
                  </a:lnTo>
                  <a:lnTo>
                    <a:pt x="8" y="48"/>
                  </a:lnTo>
                  <a:lnTo>
                    <a:pt x="17" y="55"/>
                  </a:lnTo>
                  <a:lnTo>
                    <a:pt x="19" y="52"/>
                  </a:lnTo>
                  <a:close/>
                  <a:moveTo>
                    <a:pt x="30" y="63"/>
                  </a:moveTo>
                  <a:lnTo>
                    <a:pt x="30" y="63"/>
                  </a:lnTo>
                  <a:lnTo>
                    <a:pt x="22" y="55"/>
                  </a:lnTo>
                  <a:lnTo>
                    <a:pt x="20" y="58"/>
                  </a:lnTo>
                  <a:lnTo>
                    <a:pt x="20" y="58"/>
                  </a:lnTo>
                  <a:lnTo>
                    <a:pt x="29" y="64"/>
                  </a:lnTo>
                  <a:lnTo>
                    <a:pt x="30" y="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80" name="Freeform 1644"/>
            <p:cNvSpPr>
              <a:spLocks noEditPoints="1"/>
            </p:cNvSpPr>
            <p:nvPr/>
          </p:nvSpPr>
          <p:spPr bwMode="auto">
            <a:xfrm>
              <a:off x="2738438" y="4548616"/>
              <a:ext cx="39688" cy="82550"/>
            </a:xfrm>
            <a:custGeom>
              <a:avLst/>
              <a:gdLst>
                <a:gd name="T0" fmla="*/ 22 w 25"/>
                <a:gd name="T1" fmla="*/ 3 h 52"/>
                <a:gd name="T2" fmla="*/ 23 w 25"/>
                <a:gd name="T3" fmla="*/ 0 h 52"/>
                <a:gd name="T4" fmla="*/ 20 w 25"/>
                <a:gd name="T5" fmla="*/ 2 h 52"/>
                <a:gd name="T6" fmla="*/ 10 w 25"/>
                <a:gd name="T7" fmla="*/ 12 h 52"/>
                <a:gd name="T8" fmla="*/ 10 w 25"/>
                <a:gd name="T9" fmla="*/ 12 h 52"/>
                <a:gd name="T10" fmla="*/ 12 w 25"/>
                <a:gd name="T11" fmla="*/ 9 h 52"/>
                <a:gd name="T12" fmla="*/ 16 w 25"/>
                <a:gd name="T13" fmla="*/ 4 h 52"/>
                <a:gd name="T14" fmla="*/ 10 w 25"/>
                <a:gd name="T15" fmla="*/ 7 h 52"/>
                <a:gd name="T16" fmla="*/ 9 w 25"/>
                <a:gd name="T17" fmla="*/ 9 h 52"/>
                <a:gd name="T18" fmla="*/ 10 w 25"/>
                <a:gd name="T19" fmla="*/ 12 h 52"/>
                <a:gd name="T20" fmla="*/ 22 w 25"/>
                <a:gd name="T21" fmla="*/ 19 h 52"/>
                <a:gd name="T22" fmla="*/ 20 w 25"/>
                <a:gd name="T23" fmla="*/ 18 h 52"/>
                <a:gd name="T24" fmla="*/ 17 w 25"/>
                <a:gd name="T25" fmla="*/ 15 h 52"/>
                <a:gd name="T26" fmla="*/ 12 w 25"/>
                <a:gd name="T27" fmla="*/ 15 h 52"/>
                <a:gd name="T28" fmla="*/ 16 w 25"/>
                <a:gd name="T29" fmla="*/ 16 h 52"/>
                <a:gd name="T30" fmla="*/ 19 w 25"/>
                <a:gd name="T31" fmla="*/ 19 h 52"/>
                <a:gd name="T32" fmla="*/ 22 w 25"/>
                <a:gd name="T33" fmla="*/ 19 h 52"/>
                <a:gd name="T34" fmla="*/ 12 w 25"/>
                <a:gd name="T35" fmla="*/ 31 h 52"/>
                <a:gd name="T36" fmla="*/ 17 w 25"/>
                <a:gd name="T37" fmla="*/ 23 h 52"/>
                <a:gd name="T38" fmla="*/ 10 w 25"/>
                <a:gd name="T39" fmla="*/ 29 h 52"/>
                <a:gd name="T40" fmla="*/ 3 w 25"/>
                <a:gd name="T41" fmla="*/ 42 h 52"/>
                <a:gd name="T42" fmla="*/ 3 w 25"/>
                <a:gd name="T43" fmla="*/ 42 h 52"/>
                <a:gd name="T44" fmla="*/ 4 w 25"/>
                <a:gd name="T45" fmla="*/ 38 h 52"/>
                <a:gd name="T46" fmla="*/ 7 w 25"/>
                <a:gd name="T47" fmla="*/ 35 h 52"/>
                <a:gd name="T48" fmla="*/ 6 w 25"/>
                <a:gd name="T49" fmla="*/ 32 h 52"/>
                <a:gd name="T50" fmla="*/ 3 w 25"/>
                <a:gd name="T51" fmla="*/ 36 h 52"/>
                <a:gd name="T52" fmla="*/ 0 w 25"/>
                <a:gd name="T53" fmla="*/ 42 h 52"/>
                <a:gd name="T54" fmla="*/ 3 w 25"/>
                <a:gd name="T55" fmla="*/ 42 h 52"/>
                <a:gd name="T56" fmla="*/ 13 w 25"/>
                <a:gd name="T57" fmla="*/ 52 h 52"/>
                <a:gd name="T58" fmla="*/ 13 w 25"/>
                <a:gd name="T59" fmla="*/ 51 h 52"/>
                <a:gd name="T60" fmla="*/ 12 w 25"/>
                <a:gd name="T61" fmla="*/ 49 h 52"/>
                <a:gd name="T62" fmla="*/ 3 w 25"/>
                <a:gd name="T63" fmla="*/ 48 h 52"/>
                <a:gd name="T64" fmla="*/ 9 w 25"/>
                <a:gd name="T65" fmla="*/ 51 h 52"/>
                <a:gd name="T66" fmla="*/ 10 w 25"/>
                <a:gd name="T67" fmla="*/ 52 h 52"/>
                <a:gd name="T68" fmla="*/ 12 w 25"/>
                <a:gd name="T69" fmla="*/ 52 h 52"/>
                <a:gd name="T70" fmla="*/ 12 w 25"/>
                <a:gd name="T71" fmla="*/ 52 h 52"/>
                <a:gd name="T72" fmla="*/ 12 w 25"/>
                <a:gd name="T73" fmla="*/ 52 h 52"/>
                <a:gd name="T74" fmla="*/ 13 w 25"/>
                <a:gd name="T7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 h="52">
                  <a:moveTo>
                    <a:pt x="22" y="3"/>
                  </a:moveTo>
                  <a:lnTo>
                    <a:pt x="22" y="3"/>
                  </a:lnTo>
                  <a:lnTo>
                    <a:pt x="25" y="2"/>
                  </a:lnTo>
                  <a:lnTo>
                    <a:pt x="23" y="0"/>
                  </a:lnTo>
                  <a:lnTo>
                    <a:pt x="23" y="0"/>
                  </a:lnTo>
                  <a:lnTo>
                    <a:pt x="20" y="2"/>
                  </a:lnTo>
                  <a:lnTo>
                    <a:pt x="22" y="3"/>
                  </a:lnTo>
                  <a:close/>
                  <a:moveTo>
                    <a:pt x="10" y="12"/>
                  </a:moveTo>
                  <a:lnTo>
                    <a:pt x="10" y="12"/>
                  </a:lnTo>
                  <a:lnTo>
                    <a:pt x="10" y="12"/>
                  </a:lnTo>
                  <a:lnTo>
                    <a:pt x="12" y="9"/>
                  </a:lnTo>
                  <a:lnTo>
                    <a:pt x="12" y="9"/>
                  </a:lnTo>
                  <a:lnTo>
                    <a:pt x="17" y="6"/>
                  </a:lnTo>
                  <a:lnTo>
                    <a:pt x="16" y="4"/>
                  </a:lnTo>
                  <a:lnTo>
                    <a:pt x="16" y="4"/>
                  </a:lnTo>
                  <a:lnTo>
                    <a:pt x="10" y="7"/>
                  </a:lnTo>
                  <a:lnTo>
                    <a:pt x="10" y="7"/>
                  </a:lnTo>
                  <a:lnTo>
                    <a:pt x="9" y="9"/>
                  </a:lnTo>
                  <a:lnTo>
                    <a:pt x="7" y="10"/>
                  </a:lnTo>
                  <a:lnTo>
                    <a:pt x="10" y="12"/>
                  </a:lnTo>
                  <a:lnTo>
                    <a:pt x="10" y="12"/>
                  </a:lnTo>
                  <a:close/>
                  <a:moveTo>
                    <a:pt x="22" y="19"/>
                  </a:moveTo>
                  <a:lnTo>
                    <a:pt x="22" y="19"/>
                  </a:lnTo>
                  <a:lnTo>
                    <a:pt x="20" y="18"/>
                  </a:lnTo>
                  <a:lnTo>
                    <a:pt x="20" y="18"/>
                  </a:lnTo>
                  <a:lnTo>
                    <a:pt x="17" y="15"/>
                  </a:lnTo>
                  <a:lnTo>
                    <a:pt x="13" y="13"/>
                  </a:lnTo>
                  <a:lnTo>
                    <a:pt x="12" y="15"/>
                  </a:lnTo>
                  <a:lnTo>
                    <a:pt x="12" y="15"/>
                  </a:lnTo>
                  <a:lnTo>
                    <a:pt x="16" y="16"/>
                  </a:lnTo>
                  <a:lnTo>
                    <a:pt x="19" y="19"/>
                  </a:lnTo>
                  <a:lnTo>
                    <a:pt x="19" y="19"/>
                  </a:lnTo>
                  <a:lnTo>
                    <a:pt x="19" y="20"/>
                  </a:lnTo>
                  <a:lnTo>
                    <a:pt x="22" y="19"/>
                  </a:lnTo>
                  <a:close/>
                  <a:moveTo>
                    <a:pt x="12" y="31"/>
                  </a:moveTo>
                  <a:lnTo>
                    <a:pt x="12" y="31"/>
                  </a:lnTo>
                  <a:lnTo>
                    <a:pt x="20" y="25"/>
                  </a:lnTo>
                  <a:lnTo>
                    <a:pt x="17" y="23"/>
                  </a:lnTo>
                  <a:lnTo>
                    <a:pt x="17" y="23"/>
                  </a:lnTo>
                  <a:lnTo>
                    <a:pt x="10" y="29"/>
                  </a:lnTo>
                  <a:lnTo>
                    <a:pt x="12" y="31"/>
                  </a:lnTo>
                  <a:close/>
                  <a:moveTo>
                    <a:pt x="3" y="42"/>
                  </a:moveTo>
                  <a:lnTo>
                    <a:pt x="3" y="42"/>
                  </a:lnTo>
                  <a:lnTo>
                    <a:pt x="3" y="42"/>
                  </a:lnTo>
                  <a:lnTo>
                    <a:pt x="3" y="41"/>
                  </a:lnTo>
                  <a:lnTo>
                    <a:pt x="4" y="38"/>
                  </a:lnTo>
                  <a:lnTo>
                    <a:pt x="4" y="38"/>
                  </a:lnTo>
                  <a:lnTo>
                    <a:pt x="7" y="35"/>
                  </a:lnTo>
                  <a:lnTo>
                    <a:pt x="6" y="32"/>
                  </a:lnTo>
                  <a:lnTo>
                    <a:pt x="6" y="32"/>
                  </a:lnTo>
                  <a:lnTo>
                    <a:pt x="3" y="36"/>
                  </a:lnTo>
                  <a:lnTo>
                    <a:pt x="3" y="36"/>
                  </a:lnTo>
                  <a:lnTo>
                    <a:pt x="1" y="39"/>
                  </a:lnTo>
                  <a:lnTo>
                    <a:pt x="0" y="42"/>
                  </a:lnTo>
                  <a:lnTo>
                    <a:pt x="0" y="42"/>
                  </a:lnTo>
                  <a:lnTo>
                    <a:pt x="3" y="42"/>
                  </a:lnTo>
                  <a:close/>
                  <a:moveTo>
                    <a:pt x="13" y="52"/>
                  </a:moveTo>
                  <a:lnTo>
                    <a:pt x="13" y="52"/>
                  </a:lnTo>
                  <a:lnTo>
                    <a:pt x="13" y="51"/>
                  </a:lnTo>
                  <a:lnTo>
                    <a:pt x="13" y="51"/>
                  </a:lnTo>
                  <a:lnTo>
                    <a:pt x="12" y="49"/>
                  </a:lnTo>
                  <a:lnTo>
                    <a:pt x="12" y="49"/>
                  </a:lnTo>
                  <a:lnTo>
                    <a:pt x="4" y="45"/>
                  </a:lnTo>
                  <a:lnTo>
                    <a:pt x="3" y="48"/>
                  </a:lnTo>
                  <a:lnTo>
                    <a:pt x="3" y="48"/>
                  </a:lnTo>
                  <a:lnTo>
                    <a:pt x="9" y="51"/>
                  </a:lnTo>
                  <a:lnTo>
                    <a:pt x="9" y="51"/>
                  </a:lnTo>
                  <a:lnTo>
                    <a:pt x="10" y="52"/>
                  </a:lnTo>
                  <a:lnTo>
                    <a:pt x="12" y="52"/>
                  </a:lnTo>
                  <a:lnTo>
                    <a:pt x="12" y="52"/>
                  </a:lnTo>
                  <a:lnTo>
                    <a:pt x="12" y="52"/>
                  </a:lnTo>
                  <a:lnTo>
                    <a:pt x="12" y="52"/>
                  </a:lnTo>
                  <a:lnTo>
                    <a:pt x="12" y="52"/>
                  </a:lnTo>
                  <a:lnTo>
                    <a:pt x="12" y="52"/>
                  </a:lnTo>
                  <a:lnTo>
                    <a:pt x="12" y="52"/>
                  </a:lnTo>
                  <a:lnTo>
                    <a:pt x="13"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81" name="Freeform 1645"/>
            <p:cNvSpPr>
              <a:spLocks noEditPoints="1"/>
            </p:cNvSpPr>
            <p:nvPr/>
          </p:nvSpPr>
          <p:spPr bwMode="auto">
            <a:xfrm>
              <a:off x="2436813" y="4470829"/>
              <a:ext cx="157163" cy="242888"/>
            </a:xfrm>
            <a:custGeom>
              <a:avLst/>
              <a:gdLst>
                <a:gd name="T0" fmla="*/ 18 w 99"/>
                <a:gd name="T1" fmla="*/ 4 h 153"/>
                <a:gd name="T2" fmla="*/ 22 w 99"/>
                <a:gd name="T3" fmla="*/ 0 h 153"/>
                <a:gd name="T4" fmla="*/ 16 w 99"/>
                <a:gd name="T5" fmla="*/ 1 h 153"/>
                <a:gd name="T6" fmla="*/ 6 w 99"/>
                <a:gd name="T7" fmla="*/ 19 h 153"/>
                <a:gd name="T8" fmla="*/ 9 w 99"/>
                <a:gd name="T9" fmla="*/ 9 h 153"/>
                <a:gd name="T10" fmla="*/ 5 w 99"/>
                <a:gd name="T11" fmla="*/ 17 h 153"/>
                <a:gd name="T12" fmla="*/ 3 w 99"/>
                <a:gd name="T13" fmla="*/ 33 h 153"/>
                <a:gd name="T14" fmla="*/ 3 w 99"/>
                <a:gd name="T15" fmla="*/ 23 h 153"/>
                <a:gd name="T16" fmla="*/ 9 w 99"/>
                <a:gd name="T17" fmla="*/ 46 h 153"/>
                <a:gd name="T18" fmla="*/ 5 w 99"/>
                <a:gd name="T19" fmla="*/ 38 h 153"/>
                <a:gd name="T20" fmla="*/ 2 w 99"/>
                <a:gd name="T21" fmla="*/ 39 h 153"/>
                <a:gd name="T22" fmla="*/ 5 w 99"/>
                <a:gd name="T23" fmla="*/ 42 h 153"/>
                <a:gd name="T24" fmla="*/ 10 w 99"/>
                <a:gd name="T25" fmla="*/ 61 h 153"/>
                <a:gd name="T26" fmla="*/ 9 w 99"/>
                <a:gd name="T27" fmla="*/ 58 h 153"/>
                <a:gd name="T28" fmla="*/ 6 w 99"/>
                <a:gd name="T29" fmla="*/ 51 h 153"/>
                <a:gd name="T30" fmla="*/ 7 w 99"/>
                <a:gd name="T31" fmla="*/ 62 h 153"/>
                <a:gd name="T32" fmla="*/ 19 w 99"/>
                <a:gd name="T33" fmla="*/ 71 h 153"/>
                <a:gd name="T34" fmla="*/ 10 w 99"/>
                <a:gd name="T35" fmla="*/ 67 h 153"/>
                <a:gd name="T36" fmla="*/ 19 w 99"/>
                <a:gd name="T37" fmla="*/ 74 h 153"/>
                <a:gd name="T38" fmla="*/ 34 w 99"/>
                <a:gd name="T39" fmla="*/ 74 h 153"/>
                <a:gd name="T40" fmla="*/ 23 w 99"/>
                <a:gd name="T41" fmla="*/ 75 h 153"/>
                <a:gd name="T42" fmla="*/ 25 w 99"/>
                <a:gd name="T43" fmla="*/ 75 h 153"/>
                <a:gd name="T44" fmla="*/ 49 w 99"/>
                <a:gd name="T45" fmla="*/ 77 h 153"/>
                <a:gd name="T46" fmla="*/ 38 w 99"/>
                <a:gd name="T47" fmla="*/ 77 h 153"/>
                <a:gd name="T48" fmla="*/ 49 w 99"/>
                <a:gd name="T49" fmla="*/ 77 h 153"/>
                <a:gd name="T50" fmla="*/ 54 w 99"/>
                <a:gd name="T51" fmla="*/ 78 h 153"/>
                <a:gd name="T52" fmla="*/ 63 w 99"/>
                <a:gd name="T53" fmla="*/ 84 h 153"/>
                <a:gd name="T54" fmla="*/ 77 w 99"/>
                <a:gd name="T55" fmla="*/ 84 h 153"/>
                <a:gd name="T56" fmla="*/ 73 w 99"/>
                <a:gd name="T57" fmla="*/ 84 h 153"/>
                <a:gd name="T58" fmla="*/ 68 w 99"/>
                <a:gd name="T59" fmla="*/ 85 h 153"/>
                <a:gd name="T60" fmla="*/ 77 w 99"/>
                <a:gd name="T61" fmla="*/ 87 h 153"/>
                <a:gd name="T62" fmla="*/ 78 w 99"/>
                <a:gd name="T63" fmla="*/ 84 h 153"/>
                <a:gd name="T64" fmla="*/ 93 w 99"/>
                <a:gd name="T65" fmla="*/ 84 h 153"/>
                <a:gd name="T66" fmla="*/ 91 w 99"/>
                <a:gd name="T67" fmla="*/ 82 h 153"/>
                <a:gd name="T68" fmla="*/ 83 w 99"/>
                <a:gd name="T69" fmla="*/ 84 h 153"/>
                <a:gd name="T70" fmla="*/ 90 w 99"/>
                <a:gd name="T71" fmla="*/ 84 h 153"/>
                <a:gd name="T72" fmla="*/ 90 w 99"/>
                <a:gd name="T73" fmla="*/ 84 h 153"/>
                <a:gd name="T74" fmla="*/ 90 w 99"/>
                <a:gd name="T75" fmla="*/ 84 h 153"/>
                <a:gd name="T76" fmla="*/ 90 w 99"/>
                <a:gd name="T77" fmla="*/ 84 h 153"/>
                <a:gd name="T78" fmla="*/ 90 w 99"/>
                <a:gd name="T79" fmla="*/ 84 h 153"/>
                <a:gd name="T80" fmla="*/ 90 w 99"/>
                <a:gd name="T81" fmla="*/ 84 h 153"/>
                <a:gd name="T82" fmla="*/ 90 w 99"/>
                <a:gd name="T83" fmla="*/ 84 h 153"/>
                <a:gd name="T84" fmla="*/ 86 w 99"/>
                <a:gd name="T85" fmla="*/ 98 h 153"/>
                <a:gd name="T86" fmla="*/ 89 w 99"/>
                <a:gd name="T87" fmla="*/ 88 h 153"/>
                <a:gd name="T88" fmla="*/ 81 w 99"/>
                <a:gd name="T89" fmla="*/ 111 h 153"/>
                <a:gd name="T90" fmla="*/ 81 w 99"/>
                <a:gd name="T91" fmla="*/ 107 h 153"/>
                <a:gd name="T92" fmla="*/ 80 w 99"/>
                <a:gd name="T93" fmla="*/ 101 h 153"/>
                <a:gd name="T94" fmla="*/ 78 w 99"/>
                <a:gd name="T95" fmla="*/ 107 h 153"/>
                <a:gd name="T96" fmla="*/ 81 w 99"/>
                <a:gd name="T97" fmla="*/ 111 h 153"/>
                <a:gd name="T98" fmla="*/ 86 w 99"/>
                <a:gd name="T99" fmla="*/ 122 h 153"/>
                <a:gd name="T100" fmla="*/ 81 w 99"/>
                <a:gd name="T101" fmla="*/ 117 h 153"/>
                <a:gd name="T102" fmla="*/ 83 w 99"/>
                <a:gd name="T103" fmla="*/ 123 h 153"/>
                <a:gd name="T104" fmla="*/ 91 w 99"/>
                <a:gd name="T105" fmla="*/ 140 h 153"/>
                <a:gd name="T106" fmla="*/ 89 w 99"/>
                <a:gd name="T107" fmla="*/ 130 h 153"/>
                <a:gd name="T108" fmla="*/ 87 w 99"/>
                <a:gd name="T109" fmla="*/ 136 h 153"/>
                <a:gd name="T110" fmla="*/ 99 w 99"/>
                <a:gd name="T111" fmla="*/ 153 h 153"/>
                <a:gd name="T112" fmla="*/ 94 w 99"/>
                <a:gd name="T113" fmla="*/ 143 h 153"/>
                <a:gd name="T114" fmla="*/ 96 w 99"/>
                <a:gd name="T115" fmla="*/ 1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9" h="153">
                  <a:moveTo>
                    <a:pt x="13" y="6"/>
                  </a:moveTo>
                  <a:lnTo>
                    <a:pt x="13" y="6"/>
                  </a:lnTo>
                  <a:lnTo>
                    <a:pt x="18" y="4"/>
                  </a:lnTo>
                  <a:lnTo>
                    <a:pt x="22" y="3"/>
                  </a:lnTo>
                  <a:lnTo>
                    <a:pt x="22" y="3"/>
                  </a:lnTo>
                  <a:lnTo>
                    <a:pt x="22" y="0"/>
                  </a:lnTo>
                  <a:lnTo>
                    <a:pt x="22" y="0"/>
                  </a:lnTo>
                  <a:lnTo>
                    <a:pt x="22" y="0"/>
                  </a:lnTo>
                  <a:lnTo>
                    <a:pt x="16" y="1"/>
                  </a:lnTo>
                  <a:lnTo>
                    <a:pt x="12" y="4"/>
                  </a:lnTo>
                  <a:lnTo>
                    <a:pt x="13" y="6"/>
                  </a:lnTo>
                  <a:close/>
                  <a:moveTo>
                    <a:pt x="6" y="19"/>
                  </a:moveTo>
                  <a:lnTo>
                    <a:pt x="6" y="19"/>
                  </a:lnTo>
                  <a:lnTo>
                    <a:pt x="10" y="10"/>
                  </a:lnTo>
                  <a:lnTo>
                    <a:pt x="9" y="9"/>
                  </a:lnTo>
                  <a:lnTo>
                    <a:pt x="9" y="9"/>
                  </a:lnTo>
                  <a:lnTo>
                    <a:pt x="6" y="13"/>
                  </a:lnTo>
                  <a:lnTo>
                    <a:pt x="5" y="17"/>
                  </a:lnTo>
                  <a:lnTo>
                    <a:pt x="6" y="19"/>
                  </a:lnTo>
                  <a:close/>
                  <a:moveTo>
                    <a:pt x="3" y="33"/>
                  </a:moveTo>
                  <a:lnTo>
                    <a:pt x="3" y="33"/>
                  </a:lnTo>
                  <a:lnTo>
                    <a:pt x="5" y="23"/>
                  </a:lnTo>
                  <a:lnTo>
                    <a:pt x="3" y="23"/>
                  </a:lnTo>
                  <a:lnTo>
                    <a:pt x="3" y="23"/>
                  </a:lnTo>
                  <a:lnTo>
                    <a:pt x="0" y="33"/>
                  </a:lnTo>
                  <a:lnTo>
                    <a:pt x="3" y="33"/>
                  </a:lnTo>
                  <a:close/>
                  <a:moveTo>
                    <a:pt x="9" y="46"/>
                  </a:moveTo>
                  <a:lnTo>
                    <a:pt x="9" y="46"/>
                  </a:lnTo>
                  <a:lnTo>
                    <a:pt x="7" y="40"/>
                  </a:lnTo>
                  <a:lnTo>
                    <a:pt x="5" y="38"/>
                  </a:lnTo>
                  <a:lnTo>
                    <a:pt x="3" y="38"/>
                  </a:lnTo>
                  <a:lnTo>
                    <a:pt x="2" y="39"/>
                  </a:lnTo>
                  <a:lnTo>
                    <a:pt x="2" y="39"/>
                  </a:lnTo>
                  <a:lnTo>
                    <a:pt x="3" y="40"/>
                  </a:lnTo>
                  <a:lnTo>
                    <a:pt x="3" y="40"/>
                  </a:lnTo>
                  <a:lnTo>
                    <a:pt x="5" y="42"/>
                  </a:lnTo>
                  <a:lnTo>
                    <a:pt x="6" y="46"/>
                  </a:lnTo>
                  <a:lnTo>
                    <a:pt x="9" y="46"/>
                  </a:lnTo>
                  <a:close/>
                  <a:moveTo>
                    <a:pt x="10" y="61"/>
                  </a:moveTo>
                  <a:lnTo>
                    <a:pt x="10" y="61"/>
                  </a:lnTo>
                  <a:lnTo>
                    <a:pt x="9" y="58"/>
                  </a:lnTo>
                  <a:lnTo>
                    <a:pt x="9" y="58"/>
                  </a:lnTo>
                  <a:lnTo>
                    <a:pt x="9" y="51"/>
                  </a:lnTo>
                  <a:lnTo>
                    <a:pt x="6" y="51"/>
                  </a:lnTo>
                  <a:lnTo>
                    <a:pt x="6" y="51"/>
                  </a:lnTo>
                  <a:lnTo>
                    <a:pt x="7" y="58"/>
                  </a:lnTo>
                  <a:lnTo>
                    <a:pt x="7" y="58"/>
                  </a:lnTo>
                  <a:lnTo>
                    <a:pt x="7" y="62"/>
                  </a:lnTo>
                  <a:lnTo>
                    <a:pt x="10" y="61"/>
                  </a:lnTo>
                  <a:close/>
                  <a:moveTo>
                    <a:pt x="19" y="71"/>
                  </a:moveTo>
                  <a:lnTo>
                    <a:pt x="19" y="71"/>
                  </a:lnTo>
                  <a:lnTo>
                    <a:pt x="16" y="68"/>
                  </a:lnTo>
                  <a:lnTo>
                    <a:pt x="12" y="65"/>
                  </a:lnTo>
                  <a:lnTo>
                    <a:pt x="10" y="67"/>
                  </a:lnTo>
                  <a:lnTo>
                    <a:pt x="10" y="67"/>
                  </a:lnTo>
                  <a:lnTo>
                    <a:pt x="15" y="69"/>
                  </a:lnTo>
                  <a:lnTo>
                    <a:pt x="19" y="74"/>
                  </a:lnTo>
                  <a:lnTo>
                    <a:pt x="19" y="71"/>
                  </a:lnTo>
                  <a:close/>
                  <a:moveTo>
                    <a:pt x="34" y="74"/>
                  </a:moveTo>
                  <a:lnTo>
                    <a:pt x="34" y="74"/>
                  </a:lnTo>
                  <a:lnTo>
                    <a:pt x="25" y="72"/>
                  </a:lnTo>
                  <a:lnTo>
                    <a:pt x="23" y="72"/>
                  </a:lnTo>
                  <a:lnTo>
                    <a:pt x="23" y="75"/>
                  </a:lnTo>
                  <a:lnTo>
                    <a:pt x="23" y="75"/>
                  </a:lnTo>
                  <a:lnTo>
                    <a:pt x="25" y="75"/>
                  </a:lnTo>
                  <a:lnTo>
                    <a:pt x="25" y="75"/>
                  </a:lnTo>
                  <a:lnTo>
                    <a:pt x="34" y="77"/>
                  </a:lnTo>
                  <a:lnTo>
                    <a:pt x="34" y="74"/>
                  </a:lnTo>
                  <a:close/>
                  <a:moveTo>
                    <a:pt x="49" y="77"/>
                  </a:moveTo>
                  <a:lnTo>
                    <a:pt x="49" y="77"/>
                  </a:lnTo>
                  <a:lnTo>
                    <a:pt x="39" y="75"/>
                  </a:lnTo>
                  <a:lnTo>
                    <a:pt x="38" y="77"/>
                  </a:lnTo>
                  <a:lnTo>
                    <a:pt x="38" y="77"/>
                  </a:lnTo>
                  <a:lnTo>
                    <a:pt x="48" y="80"/>
                  </a:lnTo>
                  <a:lnTo>
                    <a:pt x="49" y="77"/>
                  </a:lnTo>
                  <a:close/>
                  <a:moveTo>
                    <a:pt x="64" y="81"/>
                  </a:moveTo>
                  <a:lnTo>
                    <a:pt x="64" y="81"/>
                  </a:lnTo>
                  <a:lnTo>
                    <a:pt x="54" y="78"/>
                  </a:lnTo>
                  <a:lnTo>
                    <a:pt x="54" y="81"/>
                  </a:lnTo>
                  <a:lnTo>
                    <a:pt x="54" y="81"/>
                  </a:lnTo>
                  <a:lnTo>
                    <a:pt x="63" y="84"/>
                  </a:lnTo>
                  <a:lnTo>
                    <a:pt x="64" y="81"/>
                  </a:lnTo>
                  <a:close/>
                  <a:moveTo>
                    <a:pt x="78" y="84"/>
                  </a:moveTo>
                  <a:lnTo>
                    <a:pt x="77" y="84"/>
                  </a:lnTo>
                  <a:lnTo>
                    <a:pt x="77" y="84"/>
                  </a:lnTo>
                  <a:lnTo>
                    <a:pt x="73" y="84"/>
                  </a:lnTo>
                  <a:lnTo>
                    <a:pt x="73" y="84"/>
                  </a:lnTo>
                  <a:lnTo>
                    <a:pt x="68" y="82"/>
                  </a:lnTo>
                  <a:lnTo>
                    <a:pt x="68" y="85"/>
                  </a:lnTo>
                  <a:lnTo>
                    <a:pt x="68" y="85"/>
                  </a:lnTo>
                  <a:lnTo>
                    <a:pt x="73" y="87"/>
                  </a:lnTo>
                  <a:lnTo>
                    <a:pt x="73" y="87"/>
                  </a:lnTo>
                  <a:lnTo>
                    <a:pt x="77" y="87"/>
                  </a:lnTo>
                  <a:lnTo>
                    <a:pt x="77" y="87"/>
                  </a:lnTo>
                  <a:lnTo>
                    <a:pt x="78" y="87"/>
                  </a:lnTo>
                  <a:lnTo>
                    <a:pt x="78" y="84"/>
                  </a:lnTo>
                  <a:close/>
                  <a:moveTo>
                    <a:pt x="93" y="85"/>
                  </a:moveTo>
                  <a:lnTo>
                    <a:pt x="93" y="85"/>
                  </a:lnTo>
                  <a:lnTo>
                    <a:pt x="93" y="84"/>
                  </a:lnTo>
                  <a:lnTo>
                    <a:pt x="93" y="84"/>
                  </a:lnTo>
                  <a:lnTo>
                    <a:pt x="91" y="82"/>
                  </a:lnTo>
                  <a:lnTo>
                    <a:pt x="91" y="82"/>
                  </a:lnTo>
                  <a:lnTo>
                    <a:pt x="90" y="81"/>
                  </a:lnTo>
                  <a:lnTo>
                    <a:pt x="90" y="81"/>
                  </a:lnTo>
                  <a:lnTo>
                    <a:pt x="83" y="84"/>
                  </a:lnTo>
                  <a:lnTo>
                    <a:pt x="84" y="85"/>
                  </a:lnTo>
                  <a:lnTo>
                    <a:pt x="84" y="85"/>
                  </a:lnTo>
                  <a:lnTo>
                    <a:pt x="90" y="84"/>
                  </a:lnTo>
                  <a:lnTo>
                    <a:pt x="90" y="84"/>
                  </a:lnTo>
                  <a:lnTo>
                    <a:pt x="90" y="84"/>
                  </a:lnTo>
                  <a:lnTo>
                    <a:pt x="90" y="84"/>
                  </a:lnTo>
                  <a:lnTo>
                    <a:pt x="90" y="84"/>
                  </a:lnTo>
                  <a:lnTo>
                    <a:pt x="90" y="84"/>
                  </a:lnTo>
                  <a:lnTo>
                    <a:pt x="90" y="84"/>
                  </a:lnTo>
                  <a:lnTo>
                    <a:pt x="90" y="84"/>
                  </a:lnTo>
                  <a:lnTo>
                    <a:pt x="90" y="84"/>
                  </a:lnTo>
                  <a:lnTo>
                    <a:pt x="90" y="84"/>
                  </a:lnTo>
                  <a:lnTo>
                    <a:pt x="90" y="84"/>
                  </a:lnTo>
                  <a:lnTo>
                    <a:pt x="90" y="84"/>
                  </a:lnTo>
                  <a:lnTo>
                    <a:pt x="90" y="84"/>
                  </a:lnTo>
                  <a:lnTo>
                    <a:pt x="90" y="84"/>
                  </a:lnTo>
                  <a:lnTo>
                    <a:pt x="90" y="84"/>
                  </a:lnTo>
                  <a:lnTo>
                    <a:pt x="90" y="84"/>
                  </a:lnTo>
                  <a:lnTo>
                    <a:pt x="90" y="84"/>
                  </a:lnTo>
                  <a:lnTo>
                    <a:pt x="90" y="84"/>
                  </a:lnTo>
                  <a:lnTo>
                    <a:pt x="90" y="84"/>
                  </a:lnTo>
                  <a:lnTo>
                    <a:pt x="93" y="85"/>
                  </a:lnTo>
                  <a:close/>
                  <a:moveTo>
                    <a:pt x="86" y="98"/>
                  </a:moveTo>
                  <a:lnTo>
                    <a:pt x="86" y="98"/>
                  </a:lnTo>
                  <a:lnTo>
                    <a:pt x="90" y="90"/>
                  </a:lnTo>
                  <a:lnTo>
                    <a:pt x="89" y="88"/>
                  </a:lnTo>
                  <a:lnTo>
                    <a:pt x="89" y="88"/>
                  </a:lnTo>
                  <a:lnTo>
                    <a:pt x="83" y="97"/>
                  </a:lnTo>
                  <a:lnTo>
                    <a:pt x="86" y="98"/>
                  </a:lnTo>
                  <a:close/>
                  <a:moveTo>
                    <a:pt x="81" y="111"/>
                  </a:moveTo>
                  <a:lnTo>
                    <a:pt x="81" y="111"/>
                  </a:lnTo>
                  <a:lnTo>
                    <a:pt x="81" y="107"/>
                  </a:lnTo>
                  <a:lnTo>
                    <a:pt x="81" y="107"/>
                  </a:lnTo>
                  <a:lnTo>
                    <a:pt x="81" y="104"/>
                  </a:lnTo>
                  <a:lnTo>
                    <a:pt x="83" y="103"/>
                  </a:lnTo>
                  <a:lnTo>
                    <a:pt x="80" y="101"/>
                  </a:lnTo>
                  <a:lnTo>
                    <a:pt x="80" y="103"/>
                  </a:lnTo>
                  <a:lnTo>
                    <a:pt x="80" y="103"/>
                  </a:lnTo>
                  <a:lnTo>
                    <a:pt x="78" y="107"/>
                  </a:lnTo>
                  <a:lnTo>
                    <a:pt x="78" y="107"/>
                  </a:lnTo>
                  <a:lnTo>
                    <a:pt x="80" y="113"/>
                  </a:lnTo>
                  <a:lnTo>
                    <a:pt x="81" y="111"/>
                  </a:lnTo>
                  <a:close/>
                  <a:moveTo>
                    <a:pt x="87" y="126"/>
                  </a:moveTo>
                  <a:lnTo>
                    <a:pt x="87" y="126"/>
                  </a:lnTo>
                  <a:lnTo>
                    <a:pt x="86" y="122"/>
                  </a:lnTo>
                  <a:lnTo>
                    <a:pt x="86" y="122"/>
                  </a:lnTo>
                  <a:lnTo>
                    <a:pt x="83" y="116"/>
                  </a:lnTo>
                  <a:lnTo>
                    <a:pt x="81" y="117"/>
                  </a:lnTo>
                  <a:lnTo>
                    <a:pt x="81" y="117"/>
                  </a:lnTo>
                  <a:lnTo>
                    <a:pt x="83" y="123"/>
                  </a:lnTo>
                  <a:lnTo>
                    <a:pt x="83" y="123"/>
                  </a:lnTo>
                  <a:lnTo>
                    <a:pt x="84" y="127"/>
                  </a:lnTo>
                  <a:lnTo>
                    <a:pt x="87" y="126"/>
                  </a:lnTo>
                  <a:close/>
                  <a:moveTo>
                    <a:pt x="91" y="140"/>
                  </a:moveTo>
                  <a:lnTo>
                    <a:pt x="91" y="140"/>
                  </a:lnTo>
                  <a:lnTo>
                    <a:pt x="90" y="136"/>
                  </a:lnTo>
                  <a:lnTo>
                    <a:pt x="89" y="130"/>
                  </a:lnTo>
                  <a:lnTo>
                    <a:pt x="86" y="132"/>
                  </a:lnTo>
                  <a:lnTo>
                    <a:pt x="86" y="132"/>
                  </a:lnTo>
                  <a:lnTo>
                    <a:pt x="87" y="136"/>
                  </a:lnTo>
                  <a:lnTo>
                    <a:pt x="90" y="142"/>
                  </a:lnTo>
                  <a:lnTo>
                    <a:pt x="91" y="140"/>
                  </a:lnTo>
                  <a:close/>
                  <a:moveTo>
                    <a:pt x="99" y="153"/>
                  </a:moveTo>
                  <a:lnTo>
                    <a:pt x="99" y="153"/>
                  </a:lnTo>
                  <a:lnTo>
                    <a:pt x="97" y="149"/>
                  </a:lnTo>
                  <a:lnTo>
                    <a:pt x="94" y="143"/>
                  </a:lnTo>
                  <a:lnTo>
                    <a:pt x="93" y="146"/>
                  </a:lnTo>
                  <a:lnTo>
                    <a:pt x="93" y="146"/>
                  </a:lnTo>
                  <a:lnTo>
                    <a:pt x="96" y="151"/>
                  </a:lnTo>
                  <a:lnTo>
                    <a:pt x="96" y="153"/>
                  </a:lnTo>
                  <a:lnTo>
                    <a:pt x="99" y="1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82" name="Freeform 1646"/>
            <p:cNvSpPr>
              <a:spLocks noEditPoints="1"/>
            </p:cNvSpPr>
            <p:nvPr/>
          </p:nvSpPr>
          <p:spPr bwMode="auto">
            <a:xfrm>
              <a:off x="2328863" y="4539091"/>
              <a:ext cx="11113" cy="41275"/>
            </a:xfrm>
            <a:custGeom>
              <a:avLst/>
              <a:gdLst>
                <a:gd name="T0" fmla="*/ 2 w 7"/>
                <a:gd name="T1" fmla="*/ 15 h 26"/>
                <a:gd name="T2" fmla="*/ 2 w 7"/>
                <a:gd name="T3" fmla="*/ 15 h 26"/>
                <a:gd name="T4" fmla="*/ 0 w 7"/>
                <a:gd name="T5" fmla="*/ 25 h 26"/>
                <a:gd name="T6" fmla="*/ 2 w 7"/>
                <a:gd name="T7" fmla="*/ 26 h 26"/>
                <a:gd name="T8" fmla="*/ 2 w 7"/>
                <a:gd name="T9" fmla="*/ 26 h 26"/>
                <a:gd name="T10" fmla="*/ 5 w 7"/>
                <a:gd name="T11" fmla="*/ 16 h 26"/>
                <a:gd name="T12" fmla="*/ 2 w 7"/>
                <a:gd name="T13" fmla="*/ 15 h 26"/>
                <a:gd name="T14" fmla="*/ 5 w 7"/>
                <a:gd name="T15" fmla="*/ 0 h 26"/>
                <a:gd name="T16" fmla="*/ 5 w 7"/>
                <a:gd name="T17" fmla="*/ 0 h 26"/>
                <a:gd name="T18" fmla="*/ 3 w 7"/>
                <a:gd name="T19" fmla="*/ 10 h 26"/>
                <a:gd name="T20" fmla="*/ 6 w 7"/>
                <a:gd name="T21" fmla="*/ 10 h 26"/>
                <a:gd name="T22" fmla="*/ 6 w 7"/>
                <a:gd name="T23" fmla="*/ 10 h 26"/>
                <a:gd name="T24" fmla="*/ 7 w 7"/>
                <a:gd name="T25" fmla="*/ 0 h 26"/>
                <a:gd name="T26" fmla="*/ 5 w 7"/>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6">
                  <a:moveTo>
                    <a:pt x="2" y="15"/>
                  </a:moveTo>
                  <a:lnTo>
                    <a:pt x="2" y="15"/>
                  </a:lnTo>
                  <a:lnTo>
                    <a:pt x="0" y="25"/>
                  </a:lnTo>
                  <a:lnTo>
                    <a:pt x="2" y="26"/>
                  </a:lnTo>
                  <a:lnTo>
                    <a:pt x="2" y="26"/>
                  </a:lnTo>
                  <a:lnTo>
                    <a:pt x="5" y="16"/>
                  </a:lnTo>
                  <a:lnTo>
                    <a:pt x="2" y="15"/>
                  </a:lnTo>
                  <a:close/>
                  <a:moveTo>
                    <a:pt x="5" y="0"/>
                  </a:moveTo>
                  <a:lnTo>
                    <a:pt x="5" y="0"/>
                  </a:lnTo>
                  <a:lnTo>
                    <a:pt x="3" y="10"/>
                  </a:lnTo>
                  <a:lnTo>
                    <a:pt x="6" y="10"/>
                  </a:lnTo>
                  <a:lnTo>
                    <a:pt x="6" y="10"/>
                  </a:lnTo>
                  <a:lnTo>
                    <a:pt x="7" y="0"/>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83" name="Freeform 1647"/>
            <p:cNvSpPr>
              <a:spLocks noEditPoints="1"/>
            </p:cNvSpPr>
            <p:nvPr/>
          </p:nvSpPr>
          <p:spPr bwMode="auto">
            <a:xfrm>
              <a:off x="2181225" y="4507341"/>
              <a:ext cx="12700" cy="39688"/>
            </a:xfrm>
            <a:custGeom>
              <a:avLst/>
              <a:gdLst>
                <a:gd name="T0" fmla="*/ 3 w 8"/>
                <a:gd name="T1" fmla="*/ 10 h 25"/>
                <a:gd name="T2" fmla="*/ 3 w 8"/>
                <a:gd name="T3" fmla="*/ 10 h 25"/>
                <a:gd name="T4" fmla="*/ 5 w 8"/>
                <a:gd name="T5" fmla="*/ 6 h 25"/>
                <a:gd name="T6" fmla="*/ 8 w 8"/>
                <a:gd name="T7" fmla="*/ 2 h 25"/>
                <a:gd name="T8" fmla="*/ 6 w 8"/>
                <a:gd name="T9" fmla="*/ 0 h 25"/>
                <a:gd name="T10" fmla="*/ 6 w 8"/>
                <a:gd name="T11" fmla="*/ 0 h 25"/>
                <a:gd name="T12" fmla="*/ 2 w 8"/>
                <a:gd name="T13" fmla="*/ 4 h 25"/>
                <a:gd name="T14" fmla="*/ 0 w 8"/>
                <a:gd name="T15" fmla="*/ 10 h 25"/>
                <a:gd name="T16" fmla="*/ 3 w 8"/>
                <a:gd name="T17" fmla="*/ 10 h 25"/>
                <a:gd name="T18" fmla="*/ 5 w 8"/>
                <a:gd name="T19" fmla="*/ 25 h 25"/>
                <a:gd name="T20" fmla="*/ 5 w 8"/>
                <a:gd name="T21" fmla="*/ 25 h 25"/>
                <a:gd name="T22" fmla="*/ 3 w 8"/>
                <a:gd name="T23" fmla="*/ 15 h 25"/>
                <a:gd name="T24" fmla="*/ 0 w 8"/>
                <a:gd name="T25" fmla="*/ 15 h 25"/>
                <a:gd name="T26" fmla="*/ 0 w 8"/>
                <a:gd name="T27" fmla="*/ 15 h 25"/>
                <a:gd name="T28" fmla="*/ 2 w 8"/>
                <a:gd name="T29" fmla="*/ 25 h 25"/>
                <a:gd name="T30" fmla="*/ 5 w 8"/>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25">
                  <a:moveTo>
                    <a:pt x="3" y="10"/>
                  </a:moveTo>
                  <a:lnTo>
                    <a:pt x="3" y="10"/>
                  </a:lnTo>
                  <a:lnTo>
                    <a:pt x="5" y="6"/>
                  </a:lnTo>
                  <a:lnTo>
                    <a:pt x="8" y="2"/>
                  </a:lnTo>
                  <a:lnTo>
                    <a:pt x="6" y="0"/>
                  </a:lnTo>
                  <a:lnTo>
                    <a:pt x="6" y="0"/>
                  </a:lnTo>
                  <a:lnTo>
                    <a:pt x="2" y="4"/>
                  </a:lnTo>
                  <a:lnTo>
                    <a:pt x="0" y="10"/>
                  </a:lnTo>
                  <a:lnTo>
                    <a:pt x="3" y="10"/>
                  </a:lnTo>
                  <a:close/>
                  <a:moveTo>
                    <a:pt x="5" y="25"/>
                  </a:moveTo>
                  <a:lnTo>
                    <a:pt x="5" y="25"/>
                  </a:lnTo>
                  <a:lnTo>
                    <a:pt x="3" y="15"/>
                  </a:lnTo>
                  <a:lnTo>
                    <a:pt x="0" y="15"/>
                  </a:lnTo>
                  <a:lnTo>
                    <a:pt x="0" y="15"/>
                  </a:lnTo>
                  <a:lnTo>
                    <a:pt x="2" y="25"/>
                  </a:lnTo>
                  <a:lnTo>
                    <a:pt x="5"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84" name="Freeform 1648"/>
            <p:cNvSpPr>
              <a:spLocks noEditPoints="1"/>
            </p:cNvSpPr>
            <p:nvPr/>
          </p:nvSpPr>
          <p:spPr bwMode="auto">
            <a:xfrm>
              <a:off x="2114550" y="4477179"/>
              <a:ext cx="53975" cy="7938"/>
            </a:xfrm>
            <a:custGeom>
              <a:avLst/>
              <a:gdLst>
                <a:gd name="T0" fmla="*/ 3 w 34"/>
                <a:gd name="T1" fmla="*/ 0 h 5"/>
                <a:gd name="T2" fmla="*/ 3 w 34"/>
                <a:gd name="T3" fmla="*/ 0 h 5"/>
                <a:gd name="T4" fmla="*/ 0 w 34"/>
                <a:gd name="T5" fmla="*/ 0 h 5"/>
                <a:gd name="T6" fmla="*/ 0 w 34"/>
                <a:gd name="T7" fmla="*/ 3 h 5"/>
                <a:gd name="T8" fmla="*/ 0 w 34"/>
                <a:gd name="T9" fmla="*/ 3 h 5"/>
                <a:gd name="T10" fmla="*/ 3 w 34"/>
                <a:gd name="T11" fmla="*/ 3 h 5"/>
                <a:gd name="T12" fmla="*/ 3 w 34"/>
                <a:gd name="T13" fmla="*/ 0 h 5"/>
                <a:gd name="T14" fmla="*/ 19 w 34"/>
                <a:gd name="T15" fmla="*/ 2 h 5"/>
                <a:gd name="T16" fmla="*/ 19 w 34"/>
                <a:gd name="T17" fmla="*/ 2 h 5"/>
                <a:gd name="T18" fmla="*/ 9 w 34"/>
                <a:gd name="T19" fmla="*/ 0 h 5"/>
                <a:gd name="T20" fmla="*/ 8 w 34"/>
                <a:gd name="T21" fmla="*/ 3 h 5"/>
                <a:gd name="T22" fmla="*/ 8 w 34"/>
                <a:gd name="T23" fmla="*/ 3 h 5"/>
                <a:gd name="T24" fmla="*/ 18 w 34"/>
                <a:gd name="T25" fmla="*/ 3 h 5"/>
                <a:gd name="T26" fmla="*/ 19 w 34"/>
                <a:gd name="T27" fmla="*/ 2 h 5"/>
                <a:gd name="T28" fmla="*/ 34 w 34"/>
                <a:gd name="T29" fmla="*/ 2 h 5"/>
                <a:gd name="T30" fmla="*/ 34 w 34"/>
                <a:gd name="T31" fmla="*/ 2 h 5"/>
                <a:gd name="T32" fmla="*/ 24 w 34"/>
                <a:gd name="T33" fmla="*/ 2 h 5"/>
                <a:gd name="T34" fmla="*/ 24 w 34"/>
                <a:gd name="T35" fmla="*/ 5 h 5"/>
                <a:gd name="T36" fmla="*/ 24 w 34"/>
                <a:gd name="T37" fmla="*/ 5 h 5"/>
                <a:gd name="T38" fmla="*/ 34 w 34"/>
                <a:gd name="T39" fmla="*/ 5 h 5"/>
                <a:gd name="T40" fmla="*/ 34 w 34"/>
                <a:gd name="T4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5">
                  <a:moveTo>
                    <a:pt x="3" y="0"/>
                  </a:moveTo>
                  <a:lnTo>
                    <a:pt x="3" y="0"/>
                  </a:lnTo>
                  <a:lnTo>
                    <a:pt x="0" y="0"/>
                  </a:lnTo>
                  <a:lnTo>
                    <a:pt x="0" y="3"/>
                  </a:lnTo>
                  <a:lnTo>
                    <a:pt x="0" y="3"/>
                  </a:lnTo>
                  <a:lnTo>
                    <a:pt x="3" y="3"/>
                  </a:lnTo>
                  <a:lnTo>
                    <a:pt x="3" y="0"/>
                  </a:lnTo>
                  <a:close/>
                  <a:moveTo>
                    <a:pt x="19" y="2"/>
                  </a:moveTo>
                  <a:lnTo>
                    <a:pt x="19" y="2"/>
                  </a:lnTo>
                  <a:lnTo>
                    <a:pt x="9" y="0"/>
                  </a:lnTo>
                  <a:lnTo>
                    <a:pt x="8" y="3"/>
                  </a:lnTo>
                  <a:lnTo>
                    <a:pt x="8" y="3"/>
                  </a:lnTo>
                  <a:lnTo>
                    <a:pt x="18" y="3"/>
                  </a:lnTo>
                  <a:lnTo>
                    <a:pt x="19" y="2"/>
                  </a:lnTo>
                  <a:close/>
                  <a:moveTo>
                    <a:pt x="34" y="2"/>
                  </a:moveTo>
                  <a:lnTo>
                    <a:pt x="34" y="2"/>
                  </a:lnTo>
                  <a:lnTo>
                    <a:pt x="24" y="2"/>
                  </a:lnTo>
                  <a:lnTo>
                    <a:pt x="24" y="5"/>
                  </a:lnTo>
                  <a:lnTo>
                    <a:pt x="24" y="5"/>
                  </a:lnTo>
                  <a:lnTo>
                    <a:pt x="34" y="5"/>
                  </a:lnTo>
                  <a:lnTo>
                    <a:pt x="34"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85" name="Freeform 1649"/>
            <p:cNvSpPr>
              <a:spLocks noEditPoints="1"/>
            </p:cNvSpPr>
            <p:nvPr/>
          </p:nvSpPr>
          <p:spPr bwMode="auto">
            <a:xfrm>
              <a:off x="2065338" y="4373991"/>
              <a:ext cx="109538" cy="60325"/>
            </a:xfrm>
            <a:custGeom>
              <a:avLst/>
              <a:gdLst>
                <a:gd name="T0" fmla="*/ 68 w 69"/>
                <a:gd name="T1" fmla="*/ 3 h 38"/>
                <a:gd name="T2" fmla="*/ 69 w 69"/>
                <a:gd name="T3" fmla="*/ 3 h 38"/>
                <a:gd name="T4" fmla="*/ 68 w 69"/>
                <a:gd name="T5" fmla="*/ 0 h 38"/>
                <a:gd name="T6" fmla="*/ 68 w 69"/>
                <a:gd name="T7" fmla="*/ 1 h 38"/>
                <a:gd name="T8" fmla="*/ 68 w 69"/>
                <a:gd name="T9" fmla="*/ 3 h 38"/>
                <a:gd name="T10" fmla="*/ 53 w 69"/>
                <a:gd name="T11" fmla="*/ 9 h 38"/>
                <a:gd name="T12" fmla="*/ 53 w 69"/>
                <a:gd name="T13" fmla="*/ 9 h 38"/>
                <a:gd name="T14" fmla="*/ 63 w 69"/>
                <a:gd name="T15" fmla="*/ 4 h 38"/>
                <a:gd name="T16" fmla="*/ 62 w 69"/>
                <a:gd name="T17" fmla="*/ 3 h 38"/>
                <a:gd name="T18" fmla="*/ 62 w 69"/>
                <a:gd name="T19" fmla="*/ 3 h 38"/>
                <a:gd name="T20" fmla="*/ 53 w 69"/>
                <a:gd name="T21" fmla="*/ 6 h 38"/>
                <a:gd name="T22" fmla="*/ 53 w 69"/>
                <a:gd name="T23" fmla="*/ 9 h 38"/>
                <a:gd name="T24" fmla="*/ 40 w 69"/>
                <a:gd name="T25" fmla="*/ 15 h 38"/>
                <a:gd name="T26" fmla="*/ 40 w 69"/>
                <a:gd name="T27" fmla="*/ 15 h 38"/>
                <a:gd name="T28" fmla="*/ 46 w 69"/>
                <a:gd name="T29" fmla="*/ 12 h 38"/>
                <a:gd name="T30" fmla="*/ 46 w 69"/>
                <a:gd name="T31" fmla="*/ 12 h 38"/>
                <a:gd name="T32" fmla="*/ 49 w 69"/>
                <a:gd name="T33" fmla="*/ 10 h 38"/>
                <a:gd name="T34" fmla="*/ 49 w 69"/>
                <a:gd name="T35" fmla="*/ 9 h 38"/>
                <a:gd name="T36" fmla="*/ 49 w 69"/>
                <a:gd name="T37" fmla="*/ 9 h 38"/>
                <a:gd name="T38" fmla="*/ 44 w 69"/>
                <a:gd name="T39" fmla="*/ 10 h 38"/>
                <a:gd name="T40" fmla="*/ 44 w 69"/>
                <a:gd name="T41" fmla="*/ 10 h 38"/>
                <a:gd name="T42" fmla="*/ 39 w 69"/>
                <a:gd name="T43" fmla="*/ 13 h 38"/>
                <a:gd name="T44" fmla="*/ 40 w 69"/>
                <a:gd name="T45" fmla="*/ 15 h 38"/>
                <a:gd name="T46" fmla="*/ 27 w 69"/>
                <a:gd name="T47" fmla="*/ 22 h 38"/>
                <a:gd name="T48" fmla="*/ 27 w 69"/>
                <a:gd name="T49" fmla="*/ 22 h 38"/>
                <a:gd name="T50" fmla="*/ 36 w 69"/>
                <a:gd name="T51" fmla="*/ 17 h 38"/>
                <a:gd name="T52" fmla="*/ 34 w 69"/>
                <a:gd name="T53" fmla="*/ 15 h 38"/>
                <a:gd name="T54" fmla="*/ 34 w 69"/>
                <a:gd name="T55" fmla="*/ 15 h 38"/>
                <a:gd name="T56" fmla="*/ 26 w 69"/>
                <a:gd name="T57" fmla="*/ 20 h 38"/>
                <a:gd name="T58" fmla="*/ 27 w 69"/>
                <a:gd name="T59" fmla="*/ 22 h 38"/>
                <a:gd name="T60" fmla="*/ 14 w 69"/>
                <a:gd name="T61" fmla="*/ 30 h 38"/>
                <a:gd name="T62" fmla="*/ 14 w 69"/>
                <a:gd name="T63" fmla="*/ 30 h 38"/>
                <a:gd name="T64" fmla="*/ 23 w 69"/>
                <a:gd name="T65" fmla="*/ 25 h 38"/>
                <a:gd name="T66" fmla="*/ 21 w 69"/>
                <a:gd name="T67" fmla="*/ 23 h 38"/>
                <a:gd name="T68" fmla="*/ 21 w 69"/>
                <a:gd name="T69" fmla="*/ 23 h 38"/>
                <a:gd name="T70" fmla="*/ 13 w 69"/>
                <a:gd name="T71" fmla="*/ 28 h 38"/>
                <a:gd name="T72" fmla="*/ 14 w 69"/>
                <a:gd name="T73" fmla="*/ 30 h 38"/>
                <a:gd name="T74" fmla="*/ 1 w 69"/>
                <a:gd name="T75" fmla="*/ 38 h 38"/>
                <a:gd name="T76" fmla="*/ 1 w 69"/>
                <a:gd name="T77" fmla="*/ 38 h 38"/>
                <a:gd name="T78" fmla="*/ 10 w 69"/>
                <a:gd name="T79" fmla="*/ 33 h 38"/>
                <a:gd name="T80" fmla="*/ 8 w 69"/>
                <a:gd name="T81" fmla="*/ 30 h 38"/>
                <a:gd name="T82" fmla="*/ 8 w 69"/>
                <a:gd name="T83" fmla="*/ 30 h 38"/>
                <a:gd name="T84" fmla="*/ 0 w 69"/>
                <a:gd name="T85" fmla="*/ 36 h 38"/>
                <a:gd name="T86" fmla="*/ 1 w 69"/>
                <a:gd name="T8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9" h="38">
                  <a:moveTo>
                    <a:pt x="68" y="3"/>
                  </a:moveTo>
                  <a:lnTo>
                    <a:pt x="69" y="3"/>
                  </a:lnTo>
                  <a:lnTo>
                    <a:pt x="68" y="0"/>
                  </a:lnTo>
                  <a:lnTo>
                    <a:pt x="68" y="1"/>
                  </a:lnTo>
                  <a:lnTo>
                    <a:pt x="68" y="3"/>
                  </a:lnTo>
                  <a:close/>
                  <a:moveTo>
                    <a:pt x="53" y="9"/>
                  </a:moveTo>
                  <a:lnTo>
                    <a:pt x="53" y="9"/>
                  </a:lnTo>
                  <a:lnTo>
                    <a:pt x="63" y="4"/>
                  </a:lnTo>
                  <a:lnTo>
                    <a:pt x="62" y="3"/>
                  </a:lnTo>
                  <a:lnTo>
                    <a:pt x="62" y="3"/>
                  </a:lnTo>
                  <a:lnTo>
                    <a:pt x="53" y="6"/>
                  </a:lnTo>
                  <a:lnTo>
                    <a:pt x="53" y="9"/>
                  </a:lnTo>
                  <a:close/>
                  <a:moveTo>
                    <a:pt x="40" y="15"/>
                  </a:moveTo>
                  <a:lnTo>
                    <a:pt x="40" y="15"/>
                  </a:lnTo>
                  <a:lnTo>
                    <a:pt x="46" y="12"/>
                  </a:lnTo>
                  <a:lnTo>
                    <a:pt x="46" y="12"/>
                  </a:lnTo>
                  <a:lnTo>
                    <a:pt x="49" y="10"/>
                  </a:lnTo>
                  <a:lnTo>
                    <a:pt x="49" y="9"/>
                  </a:lnTo>
                  <a:lnTo>
                    <a:pt x="49" y="9"/>
                  </a:lnTo>
                  <a:lnTo>
                    <a:pt x="44" y="10"/>
                  </a:lnTo>
                  <a:lnTo>
                    <a:pt x="44" y="10"/>
                  </a:lnTo>
                  <a:lnTo>
                    <a:pt x="39" y="13"/>
                  </a:lnTo>
                  <a:lnTo>
                    <a:pt x="40" y="15"/>
                  </a:lnTo>
                  <a:close/>
                  <a:moveTo>
                    <a:pt x="27" y="22"/>
                  </a:moveTo>
                  <a:lnTo>
                    <a:pt x="27" y="22"/>
                  </a:lnTo>
                  <a:lnTo>
                    <a:pt x="36" y="17"/>
                  </a:lnTo>
                  <a:lnTo>
                    <a:pt x="34" y="15"/>
                  </a:lnTo>
                  <a:lnTo>
                    <a:pt x="34" y="15"/>
                  </a:lnTo>
                  <a:lnTo>
                    <a:pt x="26" y="20"/>
                  </a:lnTo>
                  <a:lnTo>
                    <a:pt x="27" y="22"/>
                  </a:lnTo>
                  <a:close/>
                  <a:moveTo>
                    <a:pt x="14" y="30"/>
                  </a:moveTo>
                  <a:lnTo>
                    <a:pt x="14" y="30"/>
                  </a:lnTo>
                  <a:lnTo>
                    <a:pt x="23" y="25"/>
                  </a:lnTo>
                  <a:lnTo>
                    <a:pt x="21" y="23"/>
                  </a:lnTo>
                  <a:lnTo>
                    <a:pt x="21" y="23"/>
                  </a:lnTo>
                  <a:lnTo>
                    <a:pt x="13" y="28"/>
                  </a:lnTo>
                  <a:lnTo>
                    <a:pt x="14" y="30"/>
                  </a:lnTo>
                  <a:close/>
                  <a:moveTo>
                    <a:pt x="1" y="38"/>
                  </a:moveTo>
                  <a:lnTo>
                    <a:pt x="1" y="38"/>
                  </a:lnTo>
                  <a:lnTo>
                    <a:pt x="10" y="33"/>
                  </a:lnTo>
                  <a:lnTo>
                    <a:pt x="8" y="30"/>
                  </a:lnTo>
                  <a:lnTo>
                    <a:pt x="8" y="30"/>
                  </a:lnTo>
                  <a:lnTo>
                    <a:pt x="0" y="36"/>
                  </a:lnTo>
                  <a:lnTo>
                    <a:pt x="1"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86" name="Freeform 1650"/>
            <p:cNvSpPr>
              <a:spLocks noEditPoints="1"/>
            </p:cNvSpPr>
            <p:nvPr/>
          </p:nvSpPr>
          <p:spPr bwMode="auto">
            <a:xfrm>
              <a:off x="2020888" y="4380341"/>
              <a:ext cx="44450" cy="41275"/>
            </a:xfrm>
            <a:custGeom>
              <a:avLst/>
              <a:gdLst>
                <a:gd name="T0" fmla="*/ 10 w 28"/>
                <a:gd name="T1" fmla="*/ 5 h 26"/>
                <a:gd name="T2" fmla="*/ 2 w 28"/>
                <a:gd name="T3" fmla="*/ 0 h 26"/>
                <a:gd name="T4" fmla="*/ 0 w 28"/>
                <a:gd name="T5" fmla="*/ 3 h 26"/>
                <a:gd name="T6" fmla="*/ 10 w 28"/>
                <a:gd name="T7" fmla="*/ 8 h 26"/>
                <a:gd name="T8" fmla="*/ 10 w 28"/>
                <a:gd name="T9" fmla="*/ 5 h 26"/>
                <a:gd name="T10" fmla="*/ 25 w 28"/>
                <a:gd name="T11" fmla="*/ 12 h 26"/>
                <a:gd name="T12" fmla="*/ 15 w 28"/>
                <a:gd name="T13" fmla="*/ 8 h 26"/>
                <a:gd name="T14" fmla="*/ 15 w 28"/>
                <a:gd name="T15" fmla="*/ 9 h 26"/>
                <a:gd name="T16" fmla="*/ 23 w 28"/>
                <a:gd name="T17" fmla="*/ 13 h 26"/>
                <a:gd name="T18" fmla="*/ 25 w 28"/>
                <a:gd name="T19" fmla="*/ 12 h 26"/>
                <a:gd name="T20" fmla="*/ 26 w 28"/>
                <a:gd name="T21" fmla="*/ 26 h 26"/>
                <a:gd name="T22" fmla="*/ 28 w 28"/>
                <a:gd name="T23" fmla="*/ 16 h 26"/>
                <a:gd name="T24" fmla="*/ 25 w 28"/>
                <a:gd name="T25" fmla="*/ 16 h 26"/>
                <a:gd name="T26" fmla="*/ 25 w 28"/>
                <a:gd name="T27" fmla="*/ 26 h 26"/>
                <a:gd name="T28" fmla="*/ 26 w 28"/>
                <a:gd name="T2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6">
                  <a:moveTo>
                    <a:pt x="10" y="5"/>
                  </a:moveTo>
                  <a:lnTo>
                    <a:pt x="2" y="0"/>
                  </a:lnTo>
                  <a:lnTo>
                    <a:pt x="0" y="3"/>
                  </a:lnTo>
                  <a:lnTo>
                    <a:pt x="10" y="8"/>
                  </a:lnTo>
                  <a:lnTo>
                    <a:pt x="10" y="5"/>
                  </a:lnTo>
                  <a:close/>
                  <a:moveTo>
                    <a:pt x="25" y="12"/>
                  </a:moveTo>
                  <a:lnTo>
                    <a:pt x="15" y="8"/>
                  </a:lnTo>
                  <a:lnTo>
                    <a:pt x="15" y="9"/>
                  </a:lnTo>
                  <a:lnTo>
                    <a:pt x="23" y="13"/>
                  </a:lnTo>
                  <a:lnTo>
                    <a:pt x="25" y="12"/>
                  </a:lnTo>
                  <a:close/>
                  <a:moveTo>
                    <a:pt x="26" y="26"/>
                  </a:moveTo>
                  <a:lnTo>
                    <a:pt x="28" y="16"/>
                  </a:lnTo>
                  <a:lnTo>
                    <a:pt x="25" y="16"/>
                  </a:lnTo>
                  <a:lnTo>
                    <a:pt x="25" y="26"/>
                  </a:lnTo>
                  <a:lnTo>
                    <a:pt x="26"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87" name="Freeform 1651"/>
            <p:cNvSpPr>
              <a:spLocks noEditPoints="1"/>
            </p:cNvSpPr>
            <p:nvPr/>
          </p:nvSpPr>
          <p:spPr bwMode="auto">
            <a:xfrm>
              <a:off x="2001838" y="4358116"/>
              <a:ext cx="46038" cy="46038"/>
            </a:xfrm>
            <a:custGeom>
              <a:avLst/>
              <a:gdLst>
                <a:gd name="T0" fmla="*/ 22 w 29"/>
                <a:gd name="T1" fmla="*/ 7 h 29"/>
                <a:gd name="T2" fmla="*/ 22 w 29"/>
                <a:gd name="T3" fmla="*/ 7 h 29"/>
                <a:gd name="T4" fmla="*/ 29 w 29"/>
                <a:gd name="T5" fmla="*/ 1 h 29"/>
                <a:gd name="T6" fmla="*/ 28 w 29"/>
                <a:gd name="T7" fmla="*/ 0 h 29"/>
                <a:gd name="T8" fmla="*/ 28 w 29"/>
                <a:gd name="T9" fmla="*/ 0 h 29"/>
                <a:gd name="T10" fmla="*/ 21 w 29"/>
                <a:gd name="T11" fmla="*/ 6 h 29"/>
                <a:gd name="T12" fmla="*/ 22 w 29"/>
                <a:gd name="T13" fmla="*/ 7 h 29"/>
                <a:gd name="T14" fmla="*/ 12 w 29"/>
                <a:gd name="T15" fmla="*/ 19 h 29"/>
                <a:gd name="T16" fmla="*/ 12 w 29"/>
                <a:gd name="T17" fmla="*/ 19 h 29"/>
                <a:gd name="T18" fmla="*/ 19 w 29"/>
                <a:gd name="T19" fmla="*/ 11 h 29"/>
                <a:gd name="T20" fmla="*/ 18 w 29"/>
                <a:gd name="T21" fmla="*/ 10 h 29"/>
                <a:gd name="T22" fmla="*/ 18 w 29"/>
                <a:gd name="T23" fmla="*/ 10 h 29"/>
                <a:gd name="T24" fmla="*/ 11 w 29"/>
                <a:gd name="T25" fmla="*/ 17 h 29"/>
                <a:gd name="T26" fmla="*/ 12 w 29"/>
                <a:gd name="T27" fmla="*/ 19 h 29"/>
                <a:gd name="T28" fmla="*/ 2 w 29"/>
                <a:gd name="T29" fmla="*/ 29 h 29"/>
                <a:gd name="T30" fmla="*/ 2 w 29"/>
                <a:gd name="T31" fmla="*/ 29 h 29"/>
                <a:gd name="T32" fmla="*/ 9 w 29"/>
                <a:gd name="T33" fmla="*/ 22 h 29"/>
                <a:gd name="T34" fmla="*/ 6 w 29"/>
                <a:gd name="T35" fmla="*/ 20 h 29"/>
                <a:gd name="T36" fmla="*/ 6 w 29"/>
                <a:gd name="T37" fmla="*/ 20 h 29"/>
                <a:gd name="T38" fmla="*/ 0 w 29"/>
                <a:gd name="T39" fmla="*/ 27 h 29"/>
                <a:gd name="T40" fmla="*/ 2 w 29"/>
                <a:gd name="T4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29">
                  <a:moveTo>
                    <a:pt x="22" y="7"/>
                  </a:moveTo>
                  <a:lnTo>
                    <a:pt x="22" y="7"/>
                  </a:lnTo>
                  <a:lnTo>
                    <a:pt x="29" y="1"/>
                  </a:lnTo>
                  <a:lnTo>
                    <a:pt x="28" y="0"/>
                  </a:lnTo>
                  <a:lnTo>
                    <a:pt x="28" y="0"/>
                  </a:lnTo>
                  <a:lnTo>
                    <a:pt x="21" y="6"/>
                  </a:lnTo>
                  <a:lnTo>
                    <a:pt x="22" y="7"/>
                  </a:lnTo>
                  <a:close/>
                  <a:moveTo>
                    <a:pt x="12" y="19"/>
                  </a:moveTo>
                  <a:lnTo>
                    <a:pt x="12" y="19"/>
                  </a:lnTo>
                  <a:lnTo>
                    <a:pt x="19" y="11"/>
                  </a:lnTo>
                  <a:lnTo>
                    <a:pt x="18" y="10"/>
                  </a:lnTo>
                  <a:lnTo>
                    <a:pt x="18" y="10"/>
                  </a:lnTo>
                  <a:lnTo>
                    <a:pt x="11" y="17"/>
                  </a:lnTo>
                  <a:lnTo>
                    <a:pt x="12" y="19"/>
                  </a:lnTo>
                  <a:close/>
                  <a:moveTo>
                    <a:pt x="2" y="29"/>
                  </a:moveTo>
                  <a:lnTo>
                    <a:pt x="2" y="29"/>
                  </a:lnTo>
                  <a:lnTo>
                    <a:pt x="9" y="22"/>
                  </a:lnTo>
                  <a:lnTo>
                    <a:pt x="6" y="20"/>
                  </a:lnTo>
                  <a:lnTo>
                    <a:pt x="6" y="20"/>
                  </a:lnTo>
                  <a:lnTo>
                    <a:pt x="0" y="27"/>
                  </a:lnTo>
                  <a:lnTo>
                    <a:pt x="2"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88" name="Freeform 1652"/>
            <p:cNvSpPr>
              <a:spLocks noEditPoints="1"/>
            </p:cNvSpPr>
            <p:nvPr/>
          </p:nvSpPr>
          <p:spPr bwMode="auto">
            <a:xfrm>
              <a:off x="1943100" y="4285091"/>
              <a:ext cx="107950" cy="100013"/>
            </a:xfrm>
            <a:custGeom>
              <a:avLst/>
              <a:gdLst>
                <a:gd name="T0" fmla="*/ 62 w 68"/>
                <a:gd name="T1" fmla="*/ 5 h 63"/>
                <a:gd name="T2" fmla="*/ 68 w 68"/>
                <a:gd name="T3" fmla="*/ 0 h 63"/>
                <a:gd name="T4" fmla="*/ 61 w 68"/>
                <a:gd name="T5" fmla="*/ 2 h 63"/>
                <a:gd name="T6" fmla="*/ 46 w 68"/>
                <a:gd name="T7" fmla="*/ 10 h 63"/>
                <a:gd name="T8" fmla="*/ 58 w 68"/>
                <a:gd name="T9" fmla="*/ 8 h 63"/>
                <a:gd name="T10" fmla="*/ 58 w 68"/>
                <a:gd name="T11" fmla="*/ 8 h 63"/>
                <a:gd name="T12" fmla="*/ 55 w 68"/>
                <a:gd name="T13" fmla="*/ 7 h 63"/>
                <a:gd name="T14" fmla="*/ 56 w 68"/>
                <a:gd name="T15" fmla="*/ 7 h 63"/>
                <a:gd name="T16" fmla="*/ 46 w 68"/>
                <a:gd name="T17" fmla="*/ 10 h 63"/>
                <a:gd name="T18" fmla="*/ 42 w 68"/>
                <a:gd name="T19" fmla="*/ 10 h 63"/>
                <a:gd name="T20" fmla="*/ 32 w 68"/>
                <a:gd name="T21" fmla="*/ 7 h 63"/>
                <a:gd name="T22" fmla="*/ 19 w 68"/>
                <a:gd name="T23" fmla="*/ 10 h 63"/>
                <a:gd name="T24" fmla="*/ 19 w 68"/>
                <a:gd name="T25" fmla="*/ 8 h 63"/>
                <a:gd name="T26" fmla="*/ 17 w 68"/>
                <a:gd name="T27" fmla="*/ 10 h 63"/>
                <a:gd name="T28" fmla="*/ 26 w 68"/>
                <a:gd name="T29" fmla="*/ 7 h 63"/>
                <a:gd name="T30" fmla="*/ 16 w 68"/>
                <a:gd name="T31" fmla="*/ 8 h 63"/>
                <a:gd name="T32" fmla="*/ 16 w 68"/>
                <a:gd name="T33" fmla="*/ 8 h 63"/>
                <a:gd name="T34" fmla="*/ 22 w 68"/>
                <a:gd name="T35" fmla="*/ 23 h 63"/>
                <a:gd name="T36" fmla="*/ 19 w 68"/>
                <a:gd name="T37" fmla="*/ 17 h 63"/>
                <a:gd name="T38" fmla="*/ 19 w 68"/>
                <a:gd name="T39" fmla="*/ 14 h 63"/>
                <a:gd name="T40" fmla="*/ 16 w 68"/>
                <a:gd name="T41" fmla="*/ 14 h 63"/>
                <a:gd name="T42" fmla="*/ 16 w 68"/>
                <a:gd name="T43" fmla="*/ 17 h 63"/>
                <a:gd name="T44" fmla="*/ 20 w 68"/>
                <a:gd name="T45" fmla="*/ 24 h 63"/>
                <a:gd name="T46" fmla="*/ 30 w 68"/>
                <a:gd name="T47" fmla="*/ 36 h 63"/>
                <a:gd name="T48" fmla="*/ 24 w 68"/>
                <a:gd name="T49" fmla="*/ 27 h 63"/>
                <a:gd name="T50" fmla="*/ 23 w 68"/>
                <a:gd name="T51" fmla="*/ 29 h 63"/>
                <a:gd name="T52" fmla="*/ 30 w 68"/>
                <a:gd name="T53" fmla="*/ 36 h 63"/>
                <a:gd name="T54" fmla="*/ 20 w 68"/>
                <a:gd name="T55" fmla="*/ 46 h 63"/>
                <a:gd name="T56" fmla="*/ 29 w 68"/>
                <a:gd name="T57" fmla="*/ 42 h 63"/>
                <a:gd name="T58" fmla="*/ 27 w 68"/>
                <a:gd name="T59" fmla="*/ 40 h 63"/>
                <a:gd name="T60" fmla="*/ 19 w 68"/>
                <a:gd name="T61" fmla="*/ 43 h 63"/>
                <a:gd name="T62" fmla="*/ 6 w 68"/>
                <a:gd name="T63" fmla="*/ 49 h 63"/>
                <a:gd name="T64" fmla="*/ 7 w 68"/>
                <a:gd name="T65" fmla="*/ 49 h 63"/>
                <a:gd name="T66" fmla="*/ 10 w 68"/>
                <a:gd name="T67" fmla="*/ 47 h 63"/>
                <a:gd name="T68" fmla="*/ 14 w 68"/>
                <a:gd name="T69" fmla="*/ 44 h 63"/>
                <a:gd name="T70" fmla="*/ 9 w 68"/>
                <a:gd name="T71" fmla="*/ 44 h 63"/>
                <a:gd name="T72" fmla="*/ 6 w 68"/>
                <a:gd name="T73" fmla="*/ 47 h 63"/>
                <a:gd name="T74" fmla="*/ 4 w 68"/>
                <a:gd name="T75" fmla="*/ 49 h 63"/>
                <a:gd name="T76" fmla="*/ 1 w 68"/>
                <a:gd name="T77" fmla="*/ 63 h 63"/>
                <a:gd name="T78" fmla="*/ 4 w 68"/>
                <a:gd name="T79" fmla="*/ 55 h 63"/>
                <a:gd name="T80" fmla="*/ 3 w 68"/>
                <a:gd name="T81" fmla="*/ 53 h 63"/>
                <a:gd name="T82" fmla="*/ 1 w 68"/>
                <a:gd name="T8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8" h="63">
                  <a:moveTo>
                    <a:pt x="62" y="5"/>
                  </a:moveTo>
                  <a:lnTo>
                    <a:pt x="62" y="5"/>
                  </a:lnTo>
                  <a:lnTo>
                    <a:pt x="68" y="2"/>
                  </a:lnTo>
                  <a:lnTo>
                    <a:pt x="68" y="0"/>
                  </a:lnTo>
                  <a:lnTo>
                    <a:pt x="68" y="0"/>
                  </a:lnTo>
                  <a:lnTo>
                    <a:pt x="61" y="2"/>
                  </a:lnTo>
                  <a:lnTo>
                    <a:pt x="62" y="5"/>
                  </a:lnTo>
                  <a:close/>
                  <a:moveTo>
                    <a:pt x="46" y="10"/>
                  </a:moveTo>
                  <a:lnTo>
                    <a:pt x="56" y="10"/>
                  </a:lnTo>
                  <a:lnTo>
                    <a:pt x="58" y="8"/>
                  </a:lnTo>
                  <a:lnTo>
                    <a:pt x="58" y="8"/>
                  </a:lnTo>
                  <a:lnTo>
                    <a:pt x="58" y="8"/>
                  </a:lnTo>
                  <a:lnTo>
                    <a:pt x="56" y="7"/>
                  </a:lnTo>
                  <a:lnTo>
                    <a:pt x="55" y="7"/>
                  </a:lnTo>
                  <a:lnTo>
                    <a:pt x="56" y="8"/>
                  </a:lnTo>
                  <a:lnTo>
                    <a:pt x="56" y="7"/>
                  </a:lnTo>
                  <a:lnTo>
                    <a:pt x="46" y="7"/>
                  </a:lnTo>
                  <a:lnTo>
                    <a:pt x="46" y="10"/>
                  </a:lnTo>
                  <a:close/>
                  <a:moveTo>
                    <a:pt x="32" y="10"/>
                  </a:moveTo>
                  <a:lnTo>
                    <a:pt x="42" y="10"/>
                  </a:lnTo>
                  <a:lnTo>
                    <a:pt x="42" y="7"/>
                  </a:lnTo>
                  <a:lnTo>
                    <a:pt x="32" y="7"/>
                  </a:lnTo>
                  <a:lnTo>
                    <a:pt x="32" y="10"/>
                  </a:lnTo>
                  <a:close/>
                  <a:moveTo>
                    <a:pt x="19" y="10"/>
                  </a:moveTo>
                  <a:lnTo>
                    <a:pt x="19" y="8"/>
                  </a:lnTo>
                  <a:lnTo>
                    <a:pt x="19" y="8"/>
                  </a:lnTo>
                  <a:lnTo>
                    <a:pt x="17" y="8"/>
                  </a:lnTo>
                  <a:lnTo>
                    <a:pt x="17" y="10"/>
                  </a:lnTo>
                  <a:lnTo>
                    <a:pt x="26" y="10"/>
                  </a:lnTo>
                  <a:lnTo>
                    <a:pt x="26" y="7"/>
                  </a:lnTo>
                  <a:lnTo>
                    <a:pt x="17" y="7"/>
                  </a:lnTo>
                  <a:lnTo>
                    <a:pt x="16" y="8"/>
                  </a:lnTo>
                  <a:lnTo>
                    <a:pt x="16" y="8"/>
                  </a:lnTo>
                  <a:lnTo>
                    <a:pt x="16" y="8"/>
                  </a:lnTo>
                  <a:lnTo>
                    <a:pt x="19" y="10"/>
                  </a:lnTo>
                  <a:close/>
                  <a:moveTo>
                    <a:pt x="22" y="23"/>
                  </a:moveTo>
                  <a:lnTo>
                    <a:pt x="22" y="23"/>
                  </a:lnTo>
                  <a:lnTo>
                    <a:pt x="19" y="17"/>
                  </a:lnTo>
                  <a:lnTo>
                    <a:pt x="19" y="17"/>
                  </a:lnTo>
                  <a:lnTo>
                    <a:pt x="19" y="14"/>
                  </a:lnTo>
                  <a:lnTo>
                    <a:pt x="16" y="14"/>
                  </a:lnTo>
                  <a:lnTo>
                    <a:pt x="16" y="14"/>
                  </a:lnTo>
                  <a:lnTo>
                    <a:pt x="16" y="17"/>
                  </a:lnTo>
                  <a:lnTo>
                    <a:pt x="16" y="17"/>
                  </a:lnTo>
                  <a:lnTo>
                    <a:pt x="17" y="20"/>
                  </a:lnTo>
                  <a:lnTo>
                    <a:pt x="20" y="24"/>
                  </a:lnTo>
                  <a:lnTo>
                    <a:pt x="22" y="23"/>
                  </a:lnTo>
                  <a:close/>
                  <a:moveTo>
                    <a:pt x="30" y="36"/>
                  </a:moveTo>
                  <a:lnTo>
                    <a:pt x="30" y="36"/>
                  </a:lnTo>
                  <a:lnTo>
                    <a:pt x="24" y="27"/>
                  </a:lnTo>
                  <a:lnTo>
                    <a:pt x="23" y="29"/>
                  </a:lnTo>
                  <a:lnTo>
                    <a:pt x="23" y="29"/>
                  </a:lnTo>
                  <a:lnTo>
                    <a:pt x="29" y="37"/>
                  </a:lnTo>
                  <a:lnTo>
                    <a:pt x="30" y="36"/>
                  </a:lnTo>
                  <a:close/>
                  <a:moveTo>
                    <a:pt x="20" y="46"/>
                  </a:moveTo>
                  <a:lnTo>
                    <a:pt x="20" y="46"/>
                  </a:lnTo>
                  <a:lnTo>
                    <a:pt x="24" y="44"/>
                  </a:lnTo>
                  <a:lnTo>
                    <a:pt x="29" y="42"/>
                  </a:lnTo>
                  <a:lnTo>
                    <a:pt x="27" y="40"/>
                  </a:lnTo>
                  <a:lnTo>
                    <a:pt x="27" y="40"/>
                  </a:lnTo>
                  <a:lnTo>
                    <a:pt x="24" y="42"/>
                  </a:lnTo>
                  <a:lnTo>
                    <a:pt x="19" y="43"/>
                  </a:lnTo>
                  <a:lnTo>
                    <a:pt x="20" y="46"/>
                  </a:lnTo>
                  <a:close/>
                  <a:moveTo>
                    <a:pt x="6" y="49"/>
                  </a:moveTo>
                  <a:lnTo>
                    <a:pt x="7" y="49"/>
                  </a:lnTo>
                  <a:lnTo>
                    <a:pt x="7" y="49"/>
                  </a:lnTo>
                  <a:lnTo>
                    <a:pt x="10" y="47"/>
                  </a:lnTo>
                  <a:lnTo>
                    <a:pt x="10" y="47"/>
                  </a:lnTo>
                  <a:lnTo>
                    <a:pt x="14" y="46"/>
                  </a:lnTo>
                  <a:lnTo>
                    <a:pt x="14" y="44"/>
                  </a:lnTo>
                  <a:lnTo>
                    <a:pt x="14" y="44"/>
                  </a:lnTo>
                  <a:lnTo>
                    <a:pt x="9" y="44"/>
                  </a:lnTo>
                  <a:lnTo>
                    <a:pt x="9" y="44"/>
                  </a:lnTo>
                  <a:lnTo>
                    <a:pt x="6" y="47"/>
                  </a:lnTo>
                  <a:lnTo>
                    <a:pt x="6" y="47"/>
                  </a:lnTo>
                  <a:lnTo>
                    <a:pt x="4" y="49"/>
                  </a:lnTo>
                  <a:lnTo>
                    <a:pt x="6" y="49"/>
                  </a:lnTo>
                  <a:close/>
                  <a:moveTo>
                    <a:pt x="1" y="63"/>
                  </a:moveTo>
                  <a:lnTo>
                    <a:pt x="1" y="63"/>
                  </a:lnTo>
                  <a:lnTo>
                    <a:pt x="4" y="55"/>
                  </a:lnTo>
                  <a:lnTo>
                    <a:pt x="3" y="53"/>
                  </a:lnTo>
                  <a:lnTo>
                    <a:pt x="3" y="53"/>
                  </a:lnTo>
                  <a:lnTo>
                    <a:pt x="0" y="63"/>
                  </a:lnTo>
                  <a:lnTo>
                    <a:pt x="1" y="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89" name="Freeform 1653"/>
            <p:cNvSpPr>
              <a:spLocks noEditPoints="1"/>
            </p:cNvSpPr>
            <p:nvPr/>
          </p:nvSpPr>
          <p:spPr bwMode="auto">
            <a:xfrm>
              <a:off x="2019300" y="4297791"/>
              <a:ext cx="17463" cy="53975"/>
            </a:xfrm>
            <a:custGeom>
              <a:avLst/>
              <a:gdLst>
                <a:gd name="T0" fmla="*/ 3 w 11"/>
                <a:gd name="T1" fmla="*/ 10 h 34"/>
                <a:gd name="T2" fmla="*/ 3 w 11"/>
                <a:gd name="T3" fmla="*/ 0 h 34"/>
                <a:gd name="T4" fmla="*/ 0 w 11"/>
                <a:gd name="T5" fmla="*/ 0 h 34"/>
                <a:gd name="T6" fmla="*/ 0 w 11"/>
                <a:gd name="T7" fmla="*/ 10 h 34"/>
                <a:gd name="T8" fmla="*/ 3 w 11"/>
                <a:gd name="T9" fmla="*/ 10 h 34"/>
                <a:gd name="T10" fmla="*/ 3 w 11"/>
                <a:gd name="T11" fmla="*/ 26 h 34"/>
                <a:gd name="T12" fmla="*/ 3 w 11"/>
                <a:gd name="T13" fmla="*/ 16 h 34"/>
                <a:gd name="T14" fmla="*/ 0 w 11"/>
                <a:gd name="T15" fmla="*/ 16 h 34"/>
                <a:gd name="T16" fmla="*/ 0 w 11"/>
                <a:gd name="T17" fmla="*/ 26 h 34"/>
                <a:gd name="T18" fmla="*/ 3 w 11"/>
                <a:gd name="T19" fmla="*/ 26 h 34"/>
                <a:gd name="T20" fmla="*/ 11 w 11"/>
                <a:gd name="T21" fmla="*/ 31 h 34"/>
                <a:gd name="T22" fmla="*/ 1 w 11"/>
                <a:gd name="T23" fmla="*/ 31 h 34"/>
                <a:gd name="T24" fmla="*/ 1 w 11"/>
                <a:gd name="T25" fmla="*/ 32 h 34"/>
                <a:gd name="T26" fmla="*/ 3 w 11"/>
                <a:gd name="T27" fmla="*/ 32 h 34"/>
                <a:gd name="T28" fmla="*/ 3 w 11"/>
                <a:gd name="T29" fmla="*/ 31 h 34"/>
                <a:gd name="T30" fmla="*/ 0 w 11"/>
                <a:gd name="T31" fmla="*/ 31 h 34"/>
                <a:gd name="T32" fmla="*/ 0 w 11"/>
                <a:gd name="T33" fmla="*/ 32 h 34"/>
                <a:gd name="T34" fmla="*/ 0 w 11"/>
                <a:gd name="T35" fmla="*/ 34 h 34"/>
                <a:gd name="T36" fmla="*/ 11 w 11"/>
                <a:gd name="T37" fmla="*/ 34 h 34"/>
                <a:gd name="T38" fmla="*/ 11 w 11"/>
                <a:gd name="T39" fmla="*/ 3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34">
                  <a:moveTo>
                    <a:pt x="3" y="10"/>
                  </a:moveTo>
                  <a:lnTo>
                    <a:pt x="3" y="0"/>
                  </a:lnTo>
                  <a:lnTo>
                    <a:pt x="0" y="0"/>
                  </a:lnTo>
                  <a:lnTo>
                    <a:pt x="0" y="10"/>
                  </a:lnTo>
                  <a:lnTo>
                    <a:pt x="3" y="10"/>
                  </a:lnTo>
                  <a:close/>
                  <a:moveTo>
                    <a:pt x="3" y="26"/>
                  </a:moveTo>
                  <a:lnTo>
                    <a:pt x="3" y="16"/>
                  </a:lnTo>
                  <a:lnTo>
                    <a:pt x="0" y="16"/>
                  </a:lnTo>
                  <a:lnTo>
                    <a:pt x="0" y="26"/>
                  </a:lnTo>
                  <a:lnTo>
                    <a:pt x="3" y="26"/>
                  </a:lnTo>
                  <a:close/>
                  <a:moveTo>
                    <a:pt x="11" y="31"/>
                  </a:moveTo>
                  <a:lnTo>
                    <a:pt x="1" y="31"/>
                  </a:lnTo>
                  <a:lnTo>
                    <a:pt x="1" y="32"/>
                  </a:lnTo>
                  <a:lnTo>
                    <a:pt x="3" y="32"/>
                  </a:lnTo>
                  <a:lnTo>
                    <a:pt x="3" y="31"/>
                  </a:lnTo>
                  <a:lnTo>
                    <a:pt x="0" y="31"/>
                  </a:lnTo>
                  <a:lnTo>
                    <a:pt x="0" y="32"/>
                  </a:lnTo>
                  <a:lnTo>
                    <a:pt x="0" y="34"/>
                  </a:lnTo>
                  <a:lnTo>
                    <a:pt x="11" y="34"/>
                  </a:lnTo>
                  <a:lnTo>
                    <a:pt x="11"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90" name="Freeform 1654"/>
            <p:cNvSpPr>
              <a:spLocks noEditPoints="1"/>
            </p:cNvSpPr>
            <p:nvPr/>
          </p:nvSpPr>
          <p:spPr bwMode="auto">
            <a:xfrm>
              <a:off x="2471738" y="4254929"/>
              <a:ext cx="4763" cy="36513"/>
            </a:xfrm>
            <a:custGeom>
              <a:avLst/>
              <a:gdLst>
                <a:gd name="T0" fmla="*/ 3 w 3"/>
                <a:gd name="T1" fmla="*/ 0 h 23"/>
                <a:gd name="T2" fmla="*/ 0 w 3"/>
                <a:gd name="T3" fmla="*/ 0 h 23"/>
                <a:gd name="T4" fmla="*/ 0 w 3"/>
                <a:gd name="T5" fmla="*/ 8 h 23"/>
                <a:gd name="T6" fmla="*/ 3 w 3"/>
                <a:gd name="T7" fmla="*/ 8 h 23"/>
                <a:gd name="T8" fmla="*/ 3 w 3"/>
                <a:gd name="T9" fmla="*/ 0 h 23"/>
                <a:gd name="T10" fmla="*/ 3 w 3"/>
                <a:gd name="T11" fmla="*/ 13 h 23"/>
                <a:gd name="T12" fmla="*/ 0 w 3"/>
                <a:gd name="T13" fmla="*/ 13 h 23"/>
                <a:gd name="T14" fmla="*/ 0 w 3"/>
                <a:gd name="T15" fmla="*/ 23 h 23"/>
                <a:gd name="T16" fmla="*/ 3 w 3"/>
                <a:gd name="T17" fmla="*/ 23 h 23"/>
                <a:gd name="T18" fmla="*/ 3 w 3"/>
                <a:gd name="T19"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3">
                  <a:moveTo>
                    <a:pt x="3" y="0"/>
                  </a:moveTo>
                  <a:lnTo>
                    <a:pt x="0" y="0"/>
                  </a:lnTo>
                  <a:lnTo>
                    <a:pt x="0" y="8"/>
                  </a:lnTo>
                  <a:lnTo>
                    <a:pt x="3" y="8"/>
                  </a:lnTo>
                  <a:lnTo>
                    <a:pt x="3" y="0"/>
                  </a:lnTo>
                  <a:close/>
                  <a:moveTo>
                    <a:pt x="3" y="13"/>
                  </a:moveTo>
                  <a:lnTo>
                    <a:pt x="0" y="13"/>
                  </a:lnTo>
                  <a:lnTo>
                    <a:pt x="0" y="23"/>
                  </a:lnTo>
                  <a:lnTo>
                    <a:pt x="3" y="23"/>
                  </a:lnTo>
                  <a:lnTo>
                    <a:pt x="3"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91" name="Freeform 1655"/>
            <p:cNvSpPr>
              <a:spLocks noEditPoints="1"/>
            </p:cNvSpPr>
            <p:nvPr/>
          </p:nvSpPr>
          <p:spPr bwMode="auto">
            <a:xfrm>
              <a:off x="1317625" y="3881866"/>
              <a:ext cx="506413" cy="200025"/>
            </a:xfrm>
            <a:custGeom>
              <a:avLst/>
              <a:gdLst>
                <a:gd name="T0" fmla="*/ 10 w 319"/>
                <a:gd name="T1" fmla="*/ 7 h 126"/>
                <a:gd name="T2" fmla="*/ 16 w 319"/>
                <a:gd name="T3" fmla="*/ 6 h 126"/>
                <a:gd name="T4" fmla="*/ 35 w 319"/>
                <a:gd name="T5" fmla="*/ 0 h 126"/>
                <a:gd name="T6" fmla="*/ 39 w 319"/>
                <a:gd name="T7" fmla="*/ 4 h 126"/>
                <a:gd name="T8" fmla="*/ 43 w 319"/>
                <a:gd name="T9" fmla="*/ 7 h 126"/>
                <a:gd name="T10" fmla="*/ 58 w 319"/>
                <a:gd name="T11" fmla="*/ 12 h 126"/>
                <a:gd name="T12" fmla="*/ 81 w 319"/>
                <a:gd name="T13" fmla="*/ 22 h 126"/>
                <a:gd name="T14" fmla="*/ 81 w 319"/>
                <a:gd name="T15" fmla="*/ 22 h 126"/>
                <a:gd name="T16" fmla="*/ 94 w 319"/>
                <a:gd name="T17" fmla="*/ 29 h 126"/>
                <a:gd name="T18" fmla="*/ 94 w 319"/>
                <a:gd name="T19" fmla="*/ 32 h 126"/>
                <a:gd name="T20" fmla="*/ 100 w 319"/>
                <a:gd name="T21" fmla="*/ 32 h 126"/>
                <a:gd name="T22" fmla="*/ 114 w 319"/>
                <a:gd name="T23" fmla="*/ 29 h 126"/>
                <a:gd name="T24" fmla="*/ 136 w 319"/>
                <a:gd name="T25" fmla="*/ 26 h 126"/>
                <a:gd name="T26" fmla="*/ 136 w 319"/>
                <a:gd name="T27" fmla="*/ 32 h 126"/>
                <a:gd name="T28" fmla="*/ 149 w 319"/>
                <a:gd name="T29" fmla="*/ 19 h 126"/>
                <a:gd name="T30" fmla="*/ 140 w 319"/>
                <a:gd name="T31" fmla="*/ 22 h 126"/>
                <a:gd name="T32" fmla="*/ 153 w 319"/>
                <a:gd name="T33" fmla="*/ 19 h 126"/>
                <a:gd name="T34" fmla="*/ 177 w 319"/>
                <a:gd name="T35" fmla="*/ 28 h 126"/>
                <a:gd name="T36" fmla="*/ 166 w 319"/>
                <a:gd name="T37" fmla="*/ 23 h 126"/>
                <a:gd name="T38" fmla="*/ 187 w 319"/>
                <a:gd name="T39" fmla="*/ 39 h 126"/>
                <a:gd name="T40" fmla="*/ 185 w 319"/>
                <a:gd name="T41" fmla="*/ 41 h 126"/>
                <a:gd name="T42" fmla="*/ 190 w 319"/>
                <a:gd name="T43" fmla="*/ 44 h 126"/>
                <a:gd name="T44" fmla="*/ 195 w 319"/>
                <a:gd name="T45" fmla="*/ 52 h 126"/>
                <a:gd name="T46" fmla="*/ 198 w 319"/>
                <a:gd name="T47" fmla="*/ 57 h 126"/>
                <a:gd name="T48" fmla="*/ 220 w 319"/>
                <a:gd name="T49" fmla="*/ 70 h 126"/>
                <a:gd name="T50" fmla="*/ 210 w 319"/>
                <a:gd name="T51" fmla="*/ 67 h 126"/>
                <a:gd name="T52" fmla="*/ 227 w 319"/>
                <a:gd name="T53" fmla="*/ 62 h 126"/>
                <a:gd name="T54" fmla="*/ 224 w 319"/>
                <a:gd name="T55" fmla="*/ 71 h 126"/>
                <a:gd name="T56" fmla="*/ 224 w 319"/>
                <a:gd name="T57" fmla="*/ 71 h 126"/>
                <a:gd name="T58" fmla="*/ 224 w 319"/>
                <a:gd name="T59" fmla="*/ 71 h 126"/>
                <a:gd name="T60" fmla="*/ 224 w 319"/>
                <a:gd name="T61" fmla="*/ 71 h 126"/>
                <a:gd name="T62" fmla="*/ 224 w 319"/>
                <a:gd name="T63" fmla="*/ 74 h 126"/>
                <a:gd name="T64" fmla="*/ 226 w 319"/>
                <a:gd name="T65" fmla="*/ 72 h 126"/>
                <a:gd name="T66" fmla="*/ 227 w 319"/>
                <a:gd name="T67" fmla="*/ 62 h 126"/>
                <a:gd name="T68" fmla="*/ 230 w 319"/>
                <a:gd name="T69" fmla="*/ 58 h 126"/>
                <a:gd name="T70" fmla="*/ 232 w 319"/>
                <a:gd name="T71" fmla="*/ 59 h 126"/>
                <a:gd name="T72" fmla="*/ 232 w 319"/>
                <a:gd name="T73" fmla="*/ 59 h 126"/>
                <a:gd name="T74" fmla="*/ 232 w 319"/>
                <a:gd name="T75" fmla="*/ 59 h 126"/>
                <a:gd name="T76" fmla="*/ 242 w 319"/>
                <a:gd name="T77" fmla="*/ 59 h 126"/>
                <a:gd name="T78" fmla="*/ 245 w 319"/>
                <a:gd name="T79" fmla="*/ 64 h 126"/>
                <a:gd name="T80" fmla="*/ 265 w 319"/>
                <a:gd name="T81" fmla="*/ 78 h 126"/>
                <a:gd name="T82" fmla="*/ 258 w 319"/>
                <a:gd name="T83" fmla="*/ 71 h 126"/>
                <a:gd name="T84" fmla="*/ 274 w 319"/>
                <a:gd name="T85" fmla="*/ 91 h 126"/>
                <a:gd name="T86" fmla="*/ 271 w 319"/>
                <a:gd name="T87" fmla="*/ 93 h 126"/>
                <a:gd name="T88" fmla="*/ 277 w 319"/>
                <a:gd name="T89" fmla="*/ 94 h 126"/>
                <a:gd name="T90" fmla="*/ 282 w 319"/>
                <a:gd name="T91" fmla="*/ 104 h 126"/>
                <a:gd name="T92" fmla="*/ 287 w 319"/>
                <a:gd name="T93" fmla="*/ 112 h 126"/>
                <a:gd name="T94" fmla="*/ 284 w 319"/>
                <a:gd name="T95" fmla="*/ 115 h 126"/>
                <a:gd name="T96" fmla="*/ 304 w 319"/>
                <a:gd name="T97" fmla="*/ 119 h 126"/>
                <a:gd name="T98" fmla="*/ 294 w 319"/>
                <a:gd name="T99" fmla="*/ 119 h 126"/>
                <a:gd name="T100" fmla="*/ 319 w 319"/>
                <a:gd name="T101" fmla="*/ 123 h 126"/>
                <a:gd name="T102" fmla="*/ 319 w 319"/>
                <a:gd name="T103"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9" h="126">
                  <a:moveTo>
                    <a:pt x="10" y="4"/>
                  </a:moveTo>
                  <a:lnTo>
                    <a:pt x="0" y="7"/>
                  </a:lnTo>
                  <a:lnTo>
                    <a:pt x="0" y="9"/>
                  </a:lnTo>
                  <a:lnTo>
                    <a:pt x="10" y="7"/>
                  </a:lnTo>
                  <a:lnTo>
                    <a:pt x="10" y="4"/>
                  </a:lnTo>
                  <a:close/>
                  <a:moveTo>
                    <a:pt x="25" y="2"/>
                  </a:moveTo>
                  <a:lnTo>
                    <a:pt x="14" y="3"/>
                  </a:lnTo>
                  <a:lnTo>
                    <a:pt x="16" y="6"/>
                  </a:lnTo>
                  <a:lnTo>
                    <a:pt x="25" y="4"/>
                  </a:lnTo>
                  <a:lnTo>
                    <a:pt x="25" y="2"/>
                  </a:lnTo>
                  <a:close/>
                  <a:moveTo>
                    <a:pt x="40" y="3"/>
                  </a:moveTo>
                  <a:lnTo>
                    <a:pt x="35" y="0"/>
                  </a:lnTo>
                  <a:lnTo>
                    <a:pt x="30" y="0"/>
                  </a:lnTo>
                  <a:lnTo>
                    <a:pt x="30" y="3"/>
                  </a:lnTo>
                  <a:lnTo>
                    <a:pt x="33" y="3"/>
                  </a:lnTo>
                  <a:lnTo>
                    <a:pt x="39" y="4"/>
                  </a:lnTo>
                  <a:lnTo>
                    <a:pt x="40" y="3"/>
                  </a:lnTo>
                  <a:close/>
                  <a:moveTo>
                    <a:pt x="53" y="9"/>
                  </a:moveTo>
                  <a:lnTo>
                    <a:pt x="45" y="4"/>
                  </a:lnTo>
                  <a:lnTo>
                    <a:pt x="43" y="7"/>
                  </a:lnTo>
                  <a:lnTo>
                    <a:pt x="52" y="12"/>
                  </a:lnTo>
                  <a:lnTo>
                    <a:pt x="53" y="9"/>
                  </a:lnTo>
                  <a:close/>
                  <a:moveTo>
                    <a:pt x="68" y="16"/>
                  </a:moveTo>
                  <a:lnTo>
                    <a:pt x="58" y="12"/>
                  </a:lnTo>
                  <a:lnTo>
                    <a:pt x="56" y="13"/>
                  </a:lnTo>
                  <a:lnTo>
                    <a:pt x="67" y="17"/>
                  </a:lnTo>
                  <a:lnTo>
                    <a:pt x="68" y="16"/>
                  </a:lnTo>
                  <a:close/>
                  <a:moveTo>
                    <a:pt x="81" y="22"/>
                  </a:moveTo>
                  <a:lnTo>
                    <a:pt x="72" y="17"/>
                  </a:lnTo>
                  <a:lnTo>
                    <a:pt x="71" y="20"/>
                  </a:lnTo>
                  <a:lnTo>
                    <a:pt x="80" y="25"/>
                  </a:lnTo>
                  <a:lnTo>
                    <a:pt x="81" y="22"/>
                  </a:lnTo>
                  <a:close/>
                  <a:moveTo>
                    <a:pt x="94" y="29"/>
                  </a:moveTo>
                  <a:lnTo>
                    <a:pt x="94" y="29"/>
                  </a:lnTo>
                  <a:lnTo>
                    <a:pt x="94" y="30"/>
                  </a:lnTo>
                  <a:lnTo>
                    <a:pt x="94" y="29"/>
                  </a:lnTo>
                  <a:lnTo>
                    <a:pt x="85" y="25"/>
                  </a:lnTo>
                  <a:lnTo>
                    <a:pt x="84" y="26"/>
                  </a:lnTo>
                  <a:lnTo>
                    <a:pt x="94" y="32"/>
                  </a:lnTo>
                  <a:lnTo>
                    <a:pt x="94" y="32"/>
                  </a:lnTo>
                  <a:lnTo>
                    <a:pt x="94" y="29"/>
                  </a:lnTo>
                  <a:close/>
                  <a:moveTo>
                    <a:pt x="110" y="29"/>
                  </a:moveTo>
                  <a:lnTo>
                    <a:pt x="100" y="29"/>
                  </a:lnTo>
                  <a:lnTo>
                    <a:pt x="100" y="32"/>
                  </a:lnTo>
                  <a:lnTo>
                    <a:pt x="110" y="32"/>
                  </a:lnTo>
                  <a:lnTo>
                    <a:pt x="110" y="29"/>
                  </a:lnTo>
                  <a:close/>
                  <a:moveTo>
                    <a:pt x="124" y="29"/>
                  </a:moveTo>
                  <a:lnTo>
                    <a:pt x="114" y="29"/>
                  </a:lnTo>
                  <a:lnTo>
                    <a:pt x="114" y="32"/>
                  </a:lnTo>
                  <a:lnTo>
                    <a:pt x="124" y="32"/>
                  </a:lnTo>
                  <a:lnTo>
                    <a:pt x="124" y="29"/>
                  </a:lnTo>
                  <a:close/>
                  <a:moveTo>
                    <a:pt x="136" y="26"/>
                  </a:moveTo>
                  <a:lnTo>
                    <a:pt x="136" y="29"/>
                  </a:lnTo>
                  <a:lnTo>
                    <a:pt x="130" y="29"/>
                  </a:lnTo>
                  <a:lnTo>
                    <a:pt x="130" y="32"/>
                  </a:lnTo>
                  <a:lnTo>
                    <a:pt x="136" y="32"/>
                  </a:lnTo>
                  <a:lnTo>
                    <a:pt x="137" y="32"/>
                  </a:lnTo>
                  <a:lnTo>
                    <a:pt x="139" y="28"/>
                  </a:lnTo>
                  <a:lnTo>
                    <a:pt x="136" y="26"/>
                  </a:lnTo>
                  <a:close/>
                  <a:moveTo>
                    <a:pt x="149" y="19"/>
                  </a:moveTo>
                  <a:lnTo>
                    <a:pt x="139" y="19"/>
                  </a:lnTo>
                  <a:lnTo>
                    <a:pt x="137" y="22"/>
                  </a:lnTo>
                  <a:lnTo>
                    <a:pt x="140" y="22"/>
                  </a:lnTo>
                  <a:lnTo>
                    <a:pt x="140" y="22"/>
                  </a:lnTo>
                  <a:lnTo>
                    <a:pt x="149" y="22"/>
                  </a:lnTo>
                  <a:lnTo>
                    <a:pt x="149" y="19"/>
                  </a:lnTo>
                  <a:close/>
                  <a:moveTo>
                    <a:pt x="164" y="19"/>
                  </a:moveTo>
                  <a:lnTo>
                    <a:pt x="153" y="19"/>
                  </a:lnTo>
                  <a:lnTo>
                    <a:pt x="153" y="22"/>
                  </a:lnTo>
                  <a:lnTo>
                    <a:pt x="164" y="22"/>
                  </a:lnTo>
                  <a:lnTo>
                    <a:pt x="164" y="19"/>
                  </a:lnTo>
                  <a:close/>
                  <a:moveTo>
                    <a:pt x="177" y="28"/>
                  </a:moveTo>
                  <a:lnTo>
                    <a:pt x="177" y="28"/>
                  </a:lnTo>
                  <a:lnTo>
                    <a:pt x="169" y="22"/>
                  </a:lnTo>
                  <a:lnTo>
                    <a:pt x="166" y="23"/>
                  </a:lnTo>
                  <a:lnTo>
                    <a:pt x="166" y="23"/>
                  </a:lnTo>
                  <a:lnTo>
                    <a:pt x="175" y="30"/>
                  </a:lnTo>
                  <a:lnTo>
                    <a:pt x="177" y="28"/>
                  </a:lnTo>
                  <a:close/>
                  <a:moveTo>
                    <a:pt x="187" y="39"/>
                  </a:moveTo>
                  <a:lnTo>
                    <a:pt x="187" y="39"/>
                  </a:lnTo>
                  <a:lnTo>
                    <a:pt x="179" y="32"/>
                  </a:lnTo>
                  <a:lnTo>
                    <a:pt x="178" y="33"/>
                  </a:lnTo>
                  <a:lnTo>
                    <a:pt x="178" y="33"/>
                  </a:lnTo>
                  <a:lnTo>
                    <a:pt x="185" y="41"/>
                  </a:lnTo>
                  <a:lnTo>
                    <a:pt x="187" y="39"/>
                  </a:lnTo>
                  <a:close/>
                  <a:moveTo>
                    <a:pt x="195" y="52"/>
                  </a:moveTo>
                  <a:lnTo>
                    <a:pt x="195" y="52"/>
                  </a:lnTo>
                  <a:lnTo>
                    <a:pt x="190" y="44"/>
                  </a:lnTo>
                  <a:lnTo>
                    <a:pt x="188" y="45"/>
                  </a:lnTo>
                  <a:lnTo>
                    <a:pt x="188" y="45"/>
                  </a:lnTo>
                  <a:lnTo>
                    <a:pt x="194" y="54"/>
                  </a:lnTo>
                  <a:lnTo>
                    <a:pt x="195" y="52"/>
                  </a:lnTo>
                  <a:close/>
                  <a:moveTo>
                    <a:pt x="207" y="61"/>
                  </a:moveTo>
                  <a:lnTo>
                    <a:pt x="207" y="61"/>
                  </a:lnTo>
                  <a:lnTo>
                    <a:pt x="200" y="55"/>
                  </a:lnTo>
                  <a:lnTo>
                    <a:pt x="198" y="57"/>
                  </a:lnTo>
                  <a:lnTo>
                    <a:pt x="198" y="57"/>
                  </a:lnTo>
                  <a:lnTo>
                    <a:pt x="206" y="64"/>
                  </a:lnTo>
                  <a:lnTo>
                    <a:pt x="207" y="61"/>
                  </a:lnTo>
                  <a:close/>
                  <a:moveTo>
                    <a:pt x="220" y="70"/>
                  </a:moveTo>
                  <a:lnTo>
                    <a:pt x="220" y="70"/>
                  </a:lnTo>
                  <a:lnTo>
                    <a:pt x="211" y="64"/>
                  </a:lnTo>
                  <a:lnTo>
                    <a:pt x="210" y="67"/>
                  </a:lnTo>
                  <a:lnTo>
                    <a:pt x="210" y="67"/>
                  </a:lnTo>
                  <a:lnTo>
                    <a:pt x="219" y="71"/>
                  </a:lnTo>
                  <a:lnTo>
                    <a:pt x="220" y="70"/>
                  </a:lnTo>
                  <a:close/>
                  <a:moveTo>
                    <a:pt x="227" y="62"/>
                  </a:moveTo>
                  <a:lnTo>
                    <a:pt x="227" y="62"/>
                  </a:lnTo>
                  <a:lnTo>
                    <a:pt x="226" y="68"/>
                  </a:lnTo>
                  <a:lnTo>
                    <a:pt x="226" y="68"/>
                  </a:lnTo>
                  <a:lnTo>
                    <a:pt x="224" y="71"/>
                  </a:lnTo>
                  <a:lnTo>
                    <a:pt x="224" y="71"/>
                  </a:lnTo>
                  <a:lnTo>
                    <a:pt x="224" y="71"/>
                  </a:lnTo>
                  <a:lnTo>
                    <a:pt x="224" y="71"/>
                  </a:lnTo>
                  <a:lnTo>
                    <a:pt x="224" y="71"/>
                  </a:lnTo>
                  <a:lnTo>
                    <a:pt x="224" y="71"/>
                  </a:lnTo>
                  <a:lnTo>
                    <a:pt x="224" y="71"/>
                  </a:lnTo>
                  <a:lnTo>
                    <a:pt x="224" y="71"/>
                  </a:lnTo>
                  <a:lnTo>
                    <a:pt x="224" y="71"/>
                  </a:lnTo>
                  <a:lnTo>
                    <a:pt x="224" y="71"/>
                  </a:lnTo>
                  <a:lnTo>
                    <a:pt x="224" y="71"/>
                  </a:lnTo>
                  <a:lnTo>
                    <a:pt x="224" y="71"/>
                  </a:lnTo>
                  <a:lnTo>
                    <a:pt x="224" y="71"/>
                  </a:lnTo>
                  <a:lnTo>
                    <a:pt x="224" y="71"/>
                  </a:lnTo>
                  <a:lnTo>
                    <a:pt x="224" y="71"/>
                  </a:lnTo>
                  <a:lnTo>
                    <a:pt x="224" y="71"/>
                  </a:lnTo>
                  <a:lnTo>
                    <a:pt x="224" y="71"/>
                  </a:lnTo>
                  <a:lnTo>
                    <a:pt x="224" y="74"/>
                  </a:lnTo>
                  <a:lnTo>
                    <a:pt x="224" y="74"/>
                  </a:lnTo>
                  <a:lnTo>
                    <a:pt x="224" y="74"/>
                  </a:lnTo>
                  <a:lnTo>
                    <a:pt x="226" y="72"/>
                  </a:lnTo>
                  <a:lnTo>
                    <a:pt x="226" y="72"/>
                  </a:lnTo>
                  <a:lnTo>
                    <a:pt x="227" y="70"/>
                  </a:lnTo>
                  <a:lnTo>
                    <a:pt x="227" y="70"/>
                  </a:lnTo>
                  <a:lnTo>
                    <a:pt x="230" y="64"/>
                  </a:lnTo>
                  <a:lnTo>
                    <a:pt x="227" y="62"/>
                  </a:lnTo>
                  <a:close/>
                  <a:moveTo>
                    <a:pt x="242" y="59"/>
                  </a:moveTo>
                  <a:lnTo>
                    <a:pt x="242" y="59"/>
                  </a:lnTo>
                  <a:lnTo>
                    <a:pt x="232" y="58"/>
                  </a:lnTo>
                  <a:lnTo>
                    <a:pt x="230" y="58"/>
                  </a:lnTo>
                  <a:lnTo>
                    <a:pt x="230" y="58"/>
                  </a:lnTo>
                  <a:lnTo>
                    <a:pt x="232" y="59"/>
                  </a:lnTo>
                  <a:lnTo>
                    <a:pt x="232" y="59"/>
                  </a:lnTo>
                  <a:lnTo>
                    <a:pt x="232" y="59"/>
                  </a:lnTo>
                  <a:lnTo>
                    <a:pt x="232" y="59"/>
                  </a:lnTo>
                  <a:lnTo>
                    <a:pt x="232" y="59"/>
                  </a:lnTo>
                  <a:lnTo>
                    <a:pt x="232" y="59"/>
                  </a:lnTo>
                  <a:lnTo>
                    <a:pt x="232" y="59"/>
                  </a:lnTo>
                  <a:lnTo>
                    <a:pt x="232" y="59"/>
                  </a:lnTo>
                  <a:lnTo>
                    <a:pt x="232" y="59"/>
                  </a:lnTo>
                  <a:lnTo>
                    <a:pt x="232" y="59"/>
                  </a:lnTo>
                  <a:lnTo>
                    <a:pt x="232" y="59"/>
                  </a:lnTo>
                  <a:lnTo>
                    <a:pt x="232" y="59"/>
                  </a:lnTo>
                  <a:lnTo>
                    <a:pt x="232" y="59"/>
                  </a:lnTo>
                  <a:lnTo>
                    <a:pt x="240" y="62"/>
                  </a:lnTo>
                  <a:lnTo>
                    <a:pt x="242" y="59"/>
                  </a:lnTo>
                  <a:close/>
                  <a:moveTo>
                    <a:pt x="255" y="67"/>
                  </a:moveTo>
                  <a:lnTo>
                    <a:pt x="255" y="67"/>
                  </a:lnTo>
                  <a:lnTo>
                    <a:pt x="246" y="62"/>
                  </a:lnTo>
                  <a:lnTo>
                    <a:pt x="245" y="64"/>
                  </a:lnTo>
                  <a:lnTo>
                    <a:pt x="245" y="64"/>
                  </a:lnTo>
                  <a:lnTo>
                    <a:pt x="253" y="68"/>
                  </a:lnTo>
                  <a:lnTo>
                    <a:pt x="255" y="67"/>
                  </a:lnTo>
                  <a:close/>
                  <a:moveTo>
                    <a:pt x="265" y="78"/>
                  </a:moveTo>
                  <a:lnTo>
                    <a:pt x="265" y="78"/>
                  </a:lnTo>
                  <a:lnTo>
                    <a:pt x="259" y="70"/>
                  </a:lnTo>
                  <a:lnTo>
                    <a:pt x="258" y="71"/>
                  </a:lnTo>
                  <a:lnTo>
                    <a:pt x="258" y="71"/>
                  </a:lnTo>
                  <a:lnTo>
                    <a:pt x="263" y="80"/>
                  </a:lnTo>
                  <a:lnTo>
                    <a:pt x="265" y="78"/>
                  </a:lnTo>
                  <a:close/>
                  <a:moveTo>
                    <a:pt x="274" y="91"/>
                  </a:moveTo>
                  <a:lnTo>
                    <a:pt x="274" y="91"/>
                  </a:lnTo>
                  <a:lnTo>
                    <a:pt x="268" y="83"/>
                  </a:lnTo>
                  <a:lnTo>
                    <a:pt x="265" y="84"/>
                  </a:lnTo>
                  <a:lnTo>
                    <a:pt x="265" y="84"/>
                  </a:lnTo>
                  <a:lnTo>
                    <a:pt x="271" y="93"/>
                  </a:lnTo>
                  <a:lnTo>
                    <a:pt x="274" y="91"/>
                  </a:lnTo>
                  <a:close/>
                  <a:moveTo>
                    <a:pt x="282" y="104"/>
                  </a:moveTo>
                  <a:lnTo>
                    <a:pt x="282" y="104"/>
                  </a:lnTo>
                  <a:lnTo>
                    <a:pt x="277" y="94"/>
                  </a:lnTo>
                  <a:lnTo>
                    <a:pt x="275" y="96"/>
                  </a:lnTo>
                  <a:lnTo>
                    <a:pt x="275" y="96"/>
                  </a:lnTo>
                  <a:lnTo>
                    <a:pt x="279" y="104"/>
                  </a:lnTo>
                  <a:lnTo>
                    <a:pt x="282" y="104"/>
                  </a:lnTo>
                  <a:close/>
                  <a:moveTo>
                    <a:pt x="290" y="115"/>
                  </a:moveTo>
                  <a:lnTo>
                    <a:pt x="290" y="115"/>
                  </a:lnTo>
                  <a:lnTo>
                    <a:pt x="287" y="112"/>
                  </a:lnTo>
                  <a:lnTo>
                    <a:pt x="287" y="112"/>
                  </a:lnTo>
                  <a:lnTo>
                    <a:pt x="284" y="109"/>
                  </a:lnTo>
                  <a:lnTo>
                    <a:pt x="281" y="110"/>
                  </a:lnTo>
                  <a:lnTo>
                    <a:pt x="281" y="110"/>
                  </a:lnTo>
                  <a:lnTo>
                    <a:pt x="284" y="115"/>
                  </a:lnTo>
                  <a:lnTo>
                    <a:pt x="284" y="115"/>
                  </a:lnTo>
                  <a:lnTo>
                    <a:pt x="290" y="117"/>
                  </a:lnTo>
                  <a:lnTo>
                    <a:pt x="290" y="115"/>
                  </a:lnTo>
                  <a:close/>
                  <a:moveTo>
                    <a:pt x="304" y="119"/>
                  </a:moveTo>
                  <a:lnTo>
                    <a:pt x="304" y="119"/>
                  </a:lnTo>
                  <a:lnTo>
                    <a:pt x="295" y="116"/>
                  </a:lnTo>
                  <a:lnTo>
                    <a:pt x="294" y="119"/>
                  </a:lnTo>
                  <a:lnTo>
                    <a:pt x="294" y="119"/>
                  </a:lnTo>
                  <a:lnTo>
                    <a:pt x="304" y="122"/>
                  </a:lnTo>
                  <a:lnTo>
                    <a:pt x="304" y="119"/>
                  </a:lnTo>
                  <a:close/>
                  <a:moveTo>
                    <a:pt x="319" y="123"/>
                  </a:moveTo>
                  <a:lnTo>
                    <a:pt x="319" y="123"/>
                  </a:lnTo>
                  <a:lnTo>
                    <a:pt x="310" y="120"/>
                  </a:lnTo>
                  <a:lnTo>
                    <a:pt x="308" y="123"/>
                  </a:lnTo>
                  <a:lnTo>
                    <a:pt x="308" y="123"/>
                  </a:lnTo>
                  <a:lnTo>
                    <a:pt x="319" y="126"/>
                  </a:lnTo>
                  <a:lnTo>
                    <a:pt x="319" y="1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92" name="Freeform 1656"/>
            <p:cNvSpPr>
              <a:spLocks noEditPoints="1"/>
            </p:cNvSpPr>
            <p:nvPr/>
          </p:nvSpPr>
          <p:spPr bwMode="auto">
            <a:xfrm>
              <a:off x="1163638" y="3323066"/>
              <a:ext cx="868363" cy="41275"/>
            </a:xfrm>
            <a:custGeom>
              <a:avLst/>
              <a:gdLst>
                <a:gd name="T0" fmla="*/ 6 w 547"/>
                <a:gd name="T1" fmla="*/ 3 h 26"/>
                <a:gd name="T2" fmla="*/ 11 w 547"/>
                <a:gd name="T3" fmla="*/ 3 h 26"/>
                <a:gd name="T4" fmla="*/ 26 w 547"/>
                <a:gd name="T5" fmla="*/ 0 h 26"/>
                <a:gd name="T6" fmla="*/ 52 w 547"/>
                <a:gd name="T7" fmla="*/ 0 h 26"/>
                <a:gd name="T8" fmla="*/ 52 w 547"/>
                <a:gd name="T9" fmla="*/ 0 h 26"/>
                <a:gd name="T10" fmla="*/ 66 w 547"/>
                <a:gd name="T11" fmla="*/ 3 h 26"/>
                <a:gd name="T12" fmla="*/ 72 w 547"/>
                <a:gd name="T13" fmla="*/ 3 h 26"/>
                <a:gd name="T14" fmla="*/ 87 w 547"/>
                <a:gd name="T15" fmla="*/ 0 h 26"/>
                <a:gd name="T16" fmla="*/ 113 w 547"/>
                <a:gd name="T17" fmla="*/ 0 h 26"/>
                <a:gd name="T18" fmla="*/ 113 w 547"/>
                <a:gd name="T19" fmla="*/ 0 h 26"/>
                <a:gd name="T20" fmla="*/ 127 w 547"/>
                <a:gd name="T21" fmla="*/ 3 h 26"/>
                <a:gd name="T22" fmla="*/ 133 w 547"/>
                <a:gd name="T23" fmla="*/ 3 h 26"/>
                <a:gd name="T24" fmla="*/ 148 w 547"/>
                <a:gd name="T25" fmla="*/ 0 h 26"/>
                <a:gd name="T26" fmla="*/ 174 w 547"/>
                <a:gd name="T27" fmla="*/ 0 h 26"/>
                <a:gd name="T28" fmla="*/ 174 w 547"/>
                <a:gd name="T29" fmla="*/ 0 h 26"/>
                <a:gd name="T30" fmla="*/ 188 w 547"/>
                <a:gd name="T31" fmla="*/ 3 h 26"/>
                <a:gd name="T32" fmla="*/ 194 w 547"/>
                <a:gd name="T33" fmla="*/ 3 h 26"/>
                <a:gd name="T34" fmla="*/ 208 w 547"/>
                <a:gd name="T35" fmla="*/ 0 h 26"/>
                <a:gd name="T36" fmla="*/ 234 w 547"/>
                <a:gd name="T37" fmla="*/ 0 h 26"/>
                <a:gd name="T38" fmla="*/ 234 w 547"/>
                <a:gd name="T39" fmla="*/ 0 h 26"/>
                <a:gd name="T40" fmla="*/ 250 w 547"/>
                <a:gd name="T41" fmla="*/ 3 h 26"/>
                <a:gd name="T42" fmla="*/ 255 w 547"/>
                <a:gd name="T43" fmla="*/ 3 h 26"/>
                <a:gd name="T44" fmla="*/ 271 w 547"/>
                <a:gd name="T45" fmla="*/ 0 h 26"/>
                <a:gd name="T46" fmla="*/ 295 w 547"/>
                <a:gd name="T47" fmla="*/ 0 h 26"/>
                <a:gd name="T48" fmla="*/ 295 w 547"/>
                <a:gd name="T49" fmla="*/ 0 h 26"/>
                <a:gd name="T50" fmla="*/ 311 w 547"/>
                <a:gd name="T51" fmla="*/ 3 h 26"/>
                <a:gd name="T52" fmla="*/ 316 w 547"/>
                <a:gd name="T53" fmla="*/ 3 h 26"/>
                <a:gd name="T54" fmla="*/ 332 w 547"/>
                <a:gd name="T55" fmla="*/ 0 h 26"/>
                <a:gd name="T56" fmla="*/ 356 w 547"/>
                <a:gd name="T57" fmla="*/ 0 h 26"/>
                <a:gd name="T58" fmla="*/ 356 w 547"/>
                <a:gd name="T59" fmla="*/ 0 h 26"/>
                <a:gd name="T60" fmla="*/ 372 w 547"/>
                <a:gd name="T61" fmla="*/ 3 h 26"/>
                <a:gd name="T62" fmla="*/ 376 w 547"/>
                <a:gd name="T63" fmla="*/ 3 h 26"/>
                <a:gd name="T64" fmla="*/ 392 w 547"/>
                <a:gd name="T65" fmla="*/ 0 h 26"/>
                <a:gd name="T66" fmla="*/ 417 w 547"/>
                <a:gd name="T67" fmla="*/ 0 h 26"/>
                <a:gd name="T68" fmla="*/ 417 w 547"/>
                <a:gd name="T69" fmla="*/ 0 h 26"/>
                <a:gd name="T70" fmla="*/ 433 w 547"/>
                <a:gd name="T71" fmla="*/ 3 h 26"/>
                <a:gd name="T72" fmla="*/ 442 w 547"/>
                <a:gd name="T73" fmla="*/ 0 h 26"/>
                <a:gd name="T74" fmla="*/ 442 w 547"/>
                <a:gd name="T75" fmla="*/ 3 h 26"/>
                <a:gd name="T76" fmla="*/ 462 w 547"/>
                <a:gd name="T77" fmla="*/ 9 h 26"/>
                <a:gd name="T78" fmla="*/ 462 w 547"/>
                <a:gd name="T79" fmla="*/ 10 h 26"/>
                <a:gd name="T80" fmla="*/ 466 w 547"/>
                <a:gd name="T81" fmla="*/ 10 h 26"/>
                <a:gd name="T82" fmla="*/ 476 w 547"/>
                <a:gd name="T83" fmla="*/ 15 h 26"/>
                <a:gd name="T84" fmla="*/ 481 w 547"/>
                <a:gd name="T85" fmla="*/ 17 h 26"/>
                <a:gd name="T86" fmla="*/ 505 w 547"/>
                <a:gd name="T87" fmla="*/ 23 h 26"/>
                <a:gd name="T88" fmla="*/ 495 w 547"/>
                <a:gd name="T89" fmla="*/ 19 h 26"/>
                <a:gd name="T90" fmla="*/ 502 w 547"/>
                <a:gd name="T91" fmla="*/ 25 h 26"/>
                <a:gd name="T92" fmla="*/ 517 w 547"/>
                <a:gd name="T93" fmla="*/ 17 h 26"/>
                <a:gd name="T94" fmla="*/ 518 w 547"/>
                <a:gd name="T95" fmla="*/ 20 h 26"/>
                <a:gd name="T96" fmla="*/ 528 w 547"/>
                <a:gd name="T97" fmla="*/ 19 h 26"/>
                <a:gd name="T98" fmla="*/ 523 w 547"/>
                <a:gd name="T99" fmla="*/ 19 h 26"/>
                <a:gd name="T100" fmla="*/ 528 w 547"/>
                <a:gd name="T101" fmla="*/ 23 h 26"/>
                <a:gd name="T102" fmla="*/ 546 w 547"/>
                <a:gd name="T103" fmla="*/ 20 h 26"/>
                <a:gd name="T104" fmla="*/ 547 w 547"/>
                <a:gd name="T105" fmla="*/ 2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7" h="26">
                  <a:moveTo>
                    <a:pt x="6" y="0"/>
                  </a:moveTo>
                  <a:lnTo>
                    <a:pt x="0" y="0"/>
                  </a:lnTo>
                  <a:lnTo>
                    <a:pt x="0" y="3"/>
                  </a:lnTo>
                  <a:lnTo>
                    <a:pt x="6" y="3"/>
                  </a:lnTo>
                  <a:lnTo>
                    <a:pt x="6" y="0"/>
                  </a:lnTo>
                  <a:close/>
                  <a:moveTo>
                    <a:pt x="22" y="0"/>
                  </a:moveTo>
                  <a:lnTo>
                    <a:pt x="11" y="0"/>
                  </a:lnTo>
                  <a:lnTo>
                    <a:pt x="11" y="3"/>
                  </a:lnTo>
                  <a:lnTo>
                    <a:pt x="22" y="3"/>
                  </a:lnTo>
                  <a:lnTo>
                    <a:pt x="22" y="0"/>
                  </a:lnTo>
                  <a:close/>
                  <a:moveTo>
                    <a:pt x="36" y="0"/>
                  </a:moveTo>
                  <a:lnTo>
                    <a:pt x="26" y="0"/>
                  </a:lnTo>
                  <a:lnTo>
                    <a:pt x="26" y="3"/>
                  </a:lnTo>
                  <a:lnTo>
                    <a:pt x="36" y="3"/>
                  </a:lnTo>
                  <a:lnTo>
                    <a:pt x="36" y="0"/>
                  </a:lnTo>
                  <a:close/>
                  <a:moveTo>
                    <a:pt x="52" y="0"/>
                  </a:moveTo>
                  <a:lnTo>
                    <a:pt x="42" y="0"/>
                  </a:lnTo>
                  <a:lnTo>
                    <a:pt x="42" y="3"/>
                  </a:lnTo>
                  <a:lnTo>
                    <a:pt x="52" y="3"/>
                  </a:lnTo>
                  <a:lnTo>
                    <a:pt x="52" y="0"/>
                  </a:lnTo>
                  <a:close/>
                  <a:moveTo>
                    <a:pt x="66" y="0"/>
                  </a:moveTo>
                  <a:lnTo>
                    <a:pt x="56" y="0"/>
                  </a:lnTo>
                  <a:lnTo>
                    <a:pt x="56" y="3"/>
                  </a:lnTo>
                  <a:lnTo>
                    <a:pt x="66" y="3"/>
                  </a:lnTo>
                  <a:lnTo>
                    <a:pt x="66" y="0"/>
                  </a:lnTo>
                  <a:close/>
                  <a:moveTo>
                    <a:pt x="82" y="0"/>
                  </a:moveTo>
                  <a:lnTo>
                    <a:pt x="72" y="0"/>
                  </a:lnTo>
                  <a:lnTo>
                    <a:pt x="72" y="3"/>
                  </a:lnTo>
                  <a:lnTo>
                    <a:pt x="82" y="3"/>
                  </a:lnTo>
                  <a:lnTo>
                    <a:pt x="82" y="0"/>
                  </a:lnTo>
                  <a:close/>
                  <a:moveTo>
                    <a:pt x="97" y="0"/>
                  </a:moveTo>
                  <a:lnTo>
                    <a:pt x="87" y="0"/>
                  </a:lnTo>
                  <a:lnTo>
                    <a:pt x="87" y="3"/>
                  </a:lnTo>
                  <a:lnTo>
                    <a:pt x="97" y="3"/>
                  </a:lnTo>
                  <a:lnTo>
                    <a:pt x="97" y="0"/>
                  </a:lnTo>
                  <a:close/>
                  <a:moveTo>
                    <a:pt x="113" y="0"/>
                  </a:moveTo>
                  <a:lnTo>
                    <a:pt x="103" y="0"/>
                  </a:lnTo>
                  <a:lnTo>
                    <a:pt x="103" y="3"/>
                  </a:lnTo>
                  <a:lnTo>
                    <a:pt x="113" y="3"/>
                  </a:lnTo>
                  <a:lnTo>
                    <a:pt x="113" y="0"/>
                  </a:lnTo>
                  <a:close/>
                  <a:moveTo>
                    <a:pt x="127" y="0"/>
                  </a:moveTo>
                  <a:lnTo>
                    <a:pt x="117" y="0"/>
                  </a:lnTo>
                  <a:lnTo>
                    <a:pt x="117" y="3"/>
                  </a:lnTo>
                  <a:lnTo>
                    <a:pt x="127" y="3"/>
                  </a:lnTo>
                  <a:lnTo>
                    <a:pt x="127" y="0"/>
                  </a:lnTo>
                  <a:close/>
                  <a:moveTo>
                    <a:pt x="143" y="0"/>
                  </a:moveTo>
                  <a:lnTo>
                    <a:pt x="133" y="0"/>
                  </a:lnTo>
                  <a:lnTo>
                    <a:pt x="133" y="3"/>
                  </a:lnTo>
                  <a:lnTo>
                    <a:pt x="143" y="3"/>
                  </a:lnTo>
                  <a:lnTo>
                    <a:pt x="143" y="0"/>
                  </a:lnTo>
                  <a:close/>
                  <a:moveTo>
                    <a:pt x="158" y="0"/>
                  </a:moveTo>
                  <a:lnTo>
                    <a:pt x="148" y="0"/>
                  </a:lnTo>
                  <a:lnTo>
                    <a:pt x="148" y="3"/>
                  </a:lnTo>
                  <a:lnTo>
                    <a:pt x="158" y="3"/>
                  </a:lnTo>
                  <a:lnTo>
                    <a:pt x="158" y="0"/>
                  </a:lnTo>
                  <a:close/>
                  <a:moveTo>
                    <a:pt x="174" y="0"/>
                  </a:moveTo>
                  <a:lnTo>
                    <a:pt x="164" y="0"/>
                  </a:lnTo>
                  <a:lnTo>
                    <a:pt x="164" y="3"/>
                  </a:lnTo>
                  <a:lnTo>
                    <a:pt x="174" y="3"/>
                  </a:lnTo>
                  <a:lnTo>
                    <a:pt x="174" y="0"/>
                  </a:lnTo>
                  <a:close/>
                  <a:moveTo>
                    <a:pt x="188" y="0"/>
                  </a:moveTo>
                  <a:lnTo>
                    <a:pt x="178" y="0"/>
                  </a:lnTo>
                  <a:lnTo>
                    <a:pt x="178" y="3"/>
                  </a:lnTo>
                  <a:lnTo>
                    <a:pt x="188" y="3"/>
                  </a:lnTo>
                  <a:lnTo>
                    <a:pt x="188" y="0"/>
                  </a:lnTo>
                  <a:close/>
                  <a:moveTo>
                    <a:pt x="204" y="0"/>
                  </a:moveTo>
                  <a:lnTo>
                    <a:pt x="194" y="0"/>
                  </a:lnTo>
                  <a:lnTo>
                    <a:pt x="194" y="3"/>
                  </a:lnTo>
                  <a:lnTo>
                    <a:pt x="204" y="3"/>
                  </a:lnTo>
                  <a:lnTo>
                    <a:pt x="204" y="0"/>
                  </a:lnTo>
                  <a:close/>
                  <a:moveTo>
                    <a:pt x="219" y="0"/>
                  </a:moveTo>
                  <a:lnTo>
                    <a:pt x="208" y="0"/>
                  </a:lnTo>
                  <a:lnTo>
                    <a:pt x="208" y="3"/>
                  </a:lnTo>
                  <a:lnTo>
                    <a:pt x="219" y="3"/>
                  </a:lnTo>
                  <a:lnTo>
                    <a:pt x="219" y="0"/>
                  </a:lnTo>
                  <a:close/>
                  <a:moveTo>
                    <a:pt x="234" y="0"/>
                  </a:moveTo>
                  <a:lnTo>
                    <a:pt x="224" y="0"/>
                  </a:lnTo>
                  <a:lnTo>
                    <a:pt x="224" y="3"/>
                  </a:lnTo>
                  <a:lnTo>
                    <a:pt x="234" y="3"/>
                  </a:lnTo>
                  <a:lnTo>
                    <a:pt x="234" y="0"/>
                  </a:lnTo>
                  <a:close/>
                  <a:moveTo>
                    <a:pt x="250" y="0"/>
                  </a:moveTo>
                  <a:lnTo>
                    <a:pt x="239" y="0"/>
                  </a:lnTo>
                  <a:lnTo>
                    <a:pt x="239" y="3"/>
                  </a:lnTo>
                  <a:lnTo>
                    <a:pt x="250" y="3"/>
                  </a:lnTo>
                  <a:lnTo>
                    <a:pt x="250" y="0"/>
                  </a:lnTo>
                  <a:close/>
                  <a:moveTo>
                    <a:pt x="265" y="0"/>
                  </a:moveTo>
                  <a:lnTo>
                    <a:pt x="255" y="0"/>
                  </a:lnTo>
                  <a:lnTo>
                    <a:pt x="255" y="3"/>
                  </a:lnTo>
                  <a:lnTo>
                    <a:pt x="265" y="3"/>
                  </a:lnTo>
                  <a:lnTo>
                    <a:pt x="265" y="0"/>
                  </a:lnTo>
                  <a:close/>
                  <a:moveTo>
                    <a:pt x="281" y="0"/>
                  </a:moveTo>
                  <a:lnTo>
                    <a:pt x="271" y="0"/>
                  </a:lnTo>
                  <a:lnTo>
                    <a:pt x="271" y="3"/>
                  </a:lnTo>
                  <a:lnTo>
                    <a:pt x="281" y="3"/>
                  </a:lnTo>
                  <a:lnTo>
                    <a:pt x="281" y="0"/>
                  </a:lnTo>
                  <a:close/>
                  <a:moveTo>
                    <a:pt x="295" y="0"/>
                  </a:moveTo>
                  <a:lnTo>
                    <a:pt x="285" y="0"/>
                  </a:lnTo>
                  <a:lnTo>
                    <a:pt x="285" y="3"/>
                  </a:lnTo>
                  <a:lnTo>
                    <a:pt x="295" y="3"/>
                  </a:lnTo>
                  <a:lnTo>
                    <a:pt x="295" y="0"/>
                  </a:lnTo>
                  <a:close/>
                  <a:moveTo>
                    <a:pt x="311" y="0"/>
                  </a:moveTo>
                  <a:lnTo>
                    <a:pt x="301" y="0"/>
                  </a:lnTo>
                  <a:lnTo>
                    <a:pt x="301" y="3"/>
                  </a:lnTo>
                  <a:lnTo>
                    <a:pt x="311" y="3"/>
                  </a:lnTo>
                  <a:lnTo>
                    <a:pt x="311" y="0"/>
                  </a:lnTo>
                  <a:close/>
                  <a:moveTo>
                    <a:pt x="326" y="0"/>
                  </a:moveTo>
                  <a:lnTo>
                    <a:pt x="316" y="0"/>
                  </a:lnTo>
                  <a:lnTo>
                    <a:pt x="316" y="3"/>
                  </a:lnTo>
                  <a:lnTo>
                    <a:pt x="326" y="3"/>
                  </a:lnTo>
                  <a:lnTo>
                    <a:pt x="326" y="0"/>
                  </a:lnTo>
                  <a:close/>
                  <a:moveTo>
                    <a:pt x="342" y="0"/>
                  </a:moveTo>
                  <a:lnTo>
                    <a:pt x="332" y="0"/>
                  </a:lnTo>
                  <a:lnTo>
                    <a:pt x="332" y="3"/>
                  </a:lnTo>
                  <a:lnTo>
                    <a:pt x="342" y="3"/>
                  </a:lnTo>
                  <a:lnTo>
                    <a:pt x="342" y="0"/>
                  </a:lnTo>
                  <a:close/>
                  <a:moveTo>
                    <a:pt x="356" y="0"/>
                  </a:moveTo>
                  <a:lnTo>
                    <a:pt x="346" y="0"/>
                  </a:lnTo>
                  <a:lnTo>
                    <a:pt x="346" y="3"/>
                  </a:lnTo>
                  <a:lnTo>
                    <a:pt x="356" y="3"/>
                  </a:lnTo>
                  <a:lnTo>
                    <a:pt x="356" y="0"/>
                  </a:lnTo>
                  <a:close/>
                  <a:moveTo>
                    <a:pt x="372" y="0"/>
                  </a:moveTo>
                  <a:lnTo>
                    <a:pt x="362" y="0"/>
                  </a:lnTo>
                  <a:lnTo>
                    <a:pt x="362" y="3"/>
                  </a:lnTo>
                  <a:lnTo>
                    <a:pt x="372" y="3"/>
                  </a:lnTo>
                  <a:lnTo>
                    <a:pt x="372" y="0"/>
                  </a:lnTo>
                  <a:close/>
                  <a:moveTo>
                    <a:pt x="387" y="0"/>
                  </a:moveTo>
                  <a:lnTo>
                    <a:pt x="376" y="0"/>
                  </a:lnTo>
                  <a:lnTo>
                    <a:pt x="376" y="3"/>
                  </a:lnTo>
                  <a:lnTo>
                    <a:pt x="387" y="3"/>
                  </a:lnTo>
                  <a:lnTo>
                    <a:pt x="387" y="0"/>
                  </a:lnTo>
                  <a:close/>
                  <a:moveTo>
                    <a:pt x="402" y="0"/>
                  </a:moveTo>
                  <a:lnTo>
                    <a:pt x="392" y="0"/>
                  </a:lnTo>
                  <a:lnTo>
                    <a:pt x="392" y="3"/>
                  </a:lnTo>
                  <a:lnTo>
                    <a:pt x="402" y="3"/>
                  </a:lnTo>
                  <a:lnTo>
                    <a:pt x="402" y="0"/>
                  </a:lnTo>
                  <a:close/>
                  <a:moveTo>
                    <a:pt x="417" y="0"/>
                  </a:moveTo>
                  <a:lnTo>
                    <a:pt x="407" y="0"/>
                  </a:lnTo>
                  <a:lnTo>
                    <a:pt x="407" y="3"/>
                  </a:lnTo>
                  <a:lnTo>
                    <a:pt x="417" y="3"/>
                  </a:lnTo>
                  <a:lnTo>
                    <a:pt x="417" y="0"/>
                  </a:lnTo>
                  <a:close/>
                  <a:moveTo>
                    <a:pt x="433" y="0"/>
                  </a:moveTo>
                  <a:lnTo>
                    <a:pt x="423" y="0"/>
                  </a:lnTo>
                  <a:lnTo>
                    <a:pt x="423" y="3"/>
                  </a:lnTo>
                  <a:lnTo>
                    <a:pt x="433" y="3"/>
                  </a:lnTo>
                  <a:lnTo>
                    <a:pt x="433" y="0"/>
                  </a:lnTo>
                  <a:close/>
                  <a:moveTo>
                    <a:pt x="449" y="2"/>
                  </a:moveTo>
                  <a:lnTo>
                    <a:pt x="449" y="2"/>
                  </a:lnTo>
                  <a:lnTo>
                    <a:pt x="442" y="0"/>
                  </a:lnTo>
                  <a:lnTo>
                    <a:pt x="437" y="0"/>
                  </a:lnTo>
                  <a:lnTo>
                    <a:pt x="437" y="3"/>
                  </a:lnTo>
                  <a:lnTo>
                    <a:pt x="442" y="3"/>
                  </a:lnTo>
                  <a:lnTo>
                    <a:pt x="442" y="3"/>
                  </a:lnTo>
                  <a:lnTo>
                    <a:pt x="447" y="4"/>
                  </a:lnTo>
                  <a:lnTo>
                    <a:pt x="449" y="2"/>
                  </a:lnTo>
                  <a:close/>
                  <a:moveTo>
                    <a:pt x="462" y="9"/>
                  </a:moveTo>
                  <a:lnTo>
                    <a:pt x="462" y="9"/>
                  </a:lnTo>
                  <a:lnTo>
                    <a:pt x="453" y="3"/>
                  </a:lnTo>
                  <a:lnTo>
                    <a:pt x="452" y="6"/>
                  </a:lnTo>
                  <a:lnTo>
                    <a:pt x="452" y="6"/>
                  </a:lnTo>
                  <a:lnTo>
                    <a:pt x="462" y="10"/>
                  </a:lnTo>
                  <a:lnTo>
                    <a:pt x="462" y="9"/>
                  </a:lnTo>
                  <a:close/>
                  <a:moveTo>
                    <a:pt x="476" y="15"/>
                  </a:moveTo>
                  <a:lnTo>
                    <a:pt x="476" y="15"/>
                  </a:lnTo>
                  <a:lnTo>
                    <a:pt x="466" y="10"/>
                  </a:lnTo>
                  <a:lnTo>
                    <a:pt x="466" y="13"/>
                  </a:lnTo>
                  <a:lnTo>
                    <a:pt x="466" y="13"/>
                  </a:lnTo>
                  <a:lnTo>
                    <a:pt x="475" y="17"/>
                  </a:lnTo>
                  <a:lnTo>
                    <a:pt x="476" y="15"/>
                  </a:lnTo>
                  <a:close/>
                  <a:moveTo>
                    <a:pt x="491" y="17"/>
                  </a:moveTo>
                  <a:lnTo>
                    <a:pt x="491" y="17"/>
                  </a:lnTo>
                  <a:lnTo>
                    <a:pt x="481" y="15"/>
                  </a:lnTo>
                  <a:lnTo>
                    <a:pt x="481" y="17"/>
                  </a:lnTo>
                  <a:lnTo>
                    <a:pt x="481" y="17"/>
                  </a:lnTo>
                  <a:lnTo>
                    <a:pt x="489" y="20"/>
                  </a:lnTo>
                  <a:lnTo>
                    <a:pt x="491" y="17"/>
                  </a:lnTo>
                  <a:close/>
                  <a:moveTo>
                    <a:pt x="505" y="23"/>
                  </a:moveTo>
                  <a:lnTo>
                    <a:pt x="505" y="23"/>
                  </a:lnTo>
                  <a:lnTo>
                    <a:pt x="504" y="23"/>
                  </a:lnTo>
                  <a:lnTo>
                    <a:pt x="504" y="23"/>
                  </a:lnTo>
                  <a:lnTo>
                    <a:pt x="495" y="19"/>
                  </a:lnTo>
                  <a:lnTo>
                    <a:pt x="495" y="22"/>
                  </a:lnTo>
                  <a:lnTo>
                    <a:pt x="495" y="22"/>
                  </a:lnTo>
                  <a:lnTo>
                    <a:pt x="502" y="25"/>
                  </a:lnTo>
                  <a:lnTo>
                    <a:pt x="502" y="25"/>
                  </a:lnTo>
                  <a:lnTo>
                    <a:pt x="504" y="26"/>
                  </a:lnTo>
                  <a:lnTo>
                    <a:pt x="505" y="23"/>
                  </a:lnTo>
                  <a:close/>
                  <a:moveTo>
                    <a:pt x="517" y="17"/>
                  </a:moveTo>
                  <a:lnTo>
                    <a:pt x="517" y="17"/>
                  </a:lnTo>
                  <a:lnTo>
                    <a:pt x="508" y="23"/>
                  </a:lnTo>
                  <a:lnTo>
                    <a:pt x="510" y="26"/>
                  </a:lnTo>
                  <a:lnTo>
                    <a:pt x="510" y="26"/>
                  </a:lnTo>
                  <a:lnTo>
                    <a:pt x="518" y="20"/>
                  </a:lnTo>
                  <a:lnTo>
                    <a:pt x="517" y="17"/>
                  </a:lnTo>
                  <a:close/>
                  <a:moveTo>
                    <a:pt x="531" y="22"/>
                  </a:moveTo>
                  <a:lnTo>
                    <a:pt x="531" y="22"/>
                  </a:lnTo>
                  <a:lnTo>
                    <a:pt x="528" y="19"/>
                  </a:lnTo>
                  <a:lnTo>
                    <a:pt x="528" y="19"/>
                  </a:lnTo>
                  <a:lnTo>
                    <a:pt x="526" y="17"/>
                  </a:lnTo>
                  <a:lnTo>
                    <a:pt x="523" y="17"/>
                  </a:lnTo>
                  <a:lnTo>
                    <a:pt x="523" y="19"/>
                  </a:lnTo>
                  <a:lnTo>
                    <a:pt x="523" y="19"/>
                  </a:lnTo>
                  <a:lnTo>
                    <a:pt x="526" y="22"/>
                  </a:lnTo>
                  <a:lnTo>
                    <a:pt x="526" y="22"/>
                  </a:lnTo>
                  <a:lnTo>
                    <a:pt x="528" y="23"/>
                  </a:lnTo>
                  <a:lnTo>
                    <a:pt x="531" y="25"/>
                  </a:lnTo>
                  <a:lnTo>
                    <a:pt x="531" y="22"/>
                  </a:lnTo>
                  <a:close/>
                  <a:moveTo>
                    <a:pt x="546" y="20"/>
                  </a:moveTo>
                  <a:lnTo>
                    <a:pt x="546" y="20"/>
                  </a:lnTo>
                  <a:lnTo>
                    <a:pt x="536" y="22"/>
                  </a:lnTo>
                  <a:lnTo>
                    <a:pt x="537" y="25"/>
                  </a:lnTo>
                  <a:lnTo>
                    <a:pt x="537" y="25"/>
                  </a:lnTo>
                  <a:lnTo>
                    <a:pt x="547" y="23"/>
                  </a:lnTo>
                  <a:lnTo>
                    <a:pt x="546"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93" name="Freeform 1657"/>
            <p:cNvSpPr>
              <a:spLocks noEditPoints="1"/>
            </p:cNvSpPr>
            <p:nvPr/>
          </p:nvSpPr>
          <p:spPr bwMode="auto">
            <a:xfrm>
              <a:off x="2184400" y="3546904"/>
              <a:ext cx="17463" cy="25400"/>
            </a:xfrm>
            <a:custGeom>
              <a:avLst/>
              <a:gdLst>
                <a:gd name="T0" fmla="*/ 10 w 11"/>
                <a:gd name="T1" fmla="*/ 2 h 16"/>
                <a:gd name="T2" fmla="*/ 10 w 11"/>
                <a:gd name="T3" fmla="*/ 2 h 16"/>
                <a:gd name="T4" fmla="*/ 11 w 11"/>
                <a:gd name="T5" fmla="*/ 0 h 16"/>
                <a:gd name="T6" fmla="*/ 9 w 11"/>
                <a:gd name="T7" fmla="*/ 0 h 16"/>
                <a:gd name="T8" fmla="*/ 9 w 11"/>
                <a:gd name="T9" fmla="*/ 0 h 16"/>
                <a:gd name="T10" fmla="*/ 9 w 11"/>
                <a:gd name="T11" fmla="*/ 1 h 16"/>
                <a:gd name="T12" fmla="*/ 10 w 11"/>
                <a:gd name="T13" fmla="*/ 2 h 16"/>
                <a:gd name="T14" fmla="*/ 3 w 11"/>
                <a:gd name="T15" fmla="*/ 16 h 16"/>
                <a:gd name="T16" fmla="*/ 3 w 11"/>
                <a:gd name="T17" fmla="*/ 16 h 16"/>
                <a:gd name="T18" fmla="*/ 7 w 11"/>
                <a:gd name="T19" fmla="*/ 7 h 16"/>
                <a:gd name="T20" fmla="*/ 6 w 11"/>
                <a:gd name="T21" fmla="*/ 5 h 16"/>
                <a:gd name="T22" fmla="*/ 6 w 11"/>
                <a:gd name="T23" fmla="*/ 5 h 16"/>
                <a:gd name="T24" fmla="*/ 0 w 11"/>
                <a:gd name="T25" fmla="*/ 14 h 16"/>
                <a:gd name="T26" fmla="*/ 3 w 11"/>
                <a:gd name="T2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6">
                  <a:moveTo>
                    <a:pt x="10" y="2"/>
                  </a:moveTo>
                  <a:lnTo>
                    <a:pt x="10" y="2"/>
                  </a:lnTo>
                  <a:lnTo>
                    <a:pt x="11" y="0"/>
                  </a:lnTo>
                  <a:lnTo>
                    <a:pt x="9" y="0"/>
                  </a:lnTo>
                  <a:lnTo>
                    <a:pt x="9" y="0"/>
                  </a:lnTo>
                  <a:lnTo>
                    <a:pt x="9" y="1"/>
                  </a:lnTo>
                  <a:lnTo>
                    <a:pt x="10" y="2"/>
                  </a:lnTo>
                  <a:close/>
                  <a:moveTo>
                    <a:pt x="3" y="16"/>
                  </a:moveTo>
                  <a:lnTo>
                    <a:pt x="3" y="16"/>
                  </a:lnTo>
                  <a:lnTo>
                    <a:pt x="7" y="7"/>
                  </a:lnTo>
                  <a:lnTo>
                    <a:pt x="6" y="5"/>
                  </a:lnTo>
                  <a:lnTo>
                    <a:pt x="6" y="5"/>
                  </a:lnTo>
                  <a:lnTo>
                    <a:pt x="0" y="14"/>
                  </a:lnTo>
                  <a:lnTo>
                    <a:pt x="3"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94" name="Freeform 1658"/>
            <p:cNvSpPr>
              <a:spLocks noEditPoints="1"/>
            </p:cNvSpPr>
            <p:nvPr/>
          </p:nvSpPr>
          <p:spPr bwMode="auto">
            <a:xfrm>
              <a:off x="2273300" y="3537379"/>
              <a:ext cx="33338" cy="20638"/>
            </a:xfrm>
            <a:custGeom>
              <a:avLst/>
              <a:gdLst>
                <a:gd name="T0" fmla="*/ 6 w 21"/>
                <a:gd name="T1" fmla="*/ 7 h 13"/>
                <a:gd name="T2" fmla="*/ 6 w 21"/>
                <a:gd name="T3" fmla="*/ 7 h 13"/>
                <a:gd name="T4" fmla="*/ 0 w 21"/>
                <a:gd name="T5" fmla="*/ 10 h 13"/>
                <a:gd name="T6" fmla="*/ 0 w 21"/>
                <a:gd name="T7" fmla="*/ 13 h 13"/>
                <a:gd name="T8" fmla="*/ 0 w 21"/>
                <a:gd name="T9" fmla="*/ 13 h 13"/>
                <a:gd name="T10" fmla="*/ 8 w 21"/>
                <a:gd name="T11" fmla="*/ 10 h 13"/>
                <a:gd name="T12" fmla="*/ 6 w 21"/>
                <a:gd name="T13" fmla="*/ 7 h 13"/>
                <a:gd name="T14" fmla="*/ 19 w 21"/>
                <a:gd name="T15" fmla="*/ 0 h 13"/>
                <a:gd name="T16" fmla="*/ 19 w 21"/>
                <a:gd name="T17" fmla="*/ 0 h 13"/>
                <a:gd name="T18" fmla="*/ 11 w 21"/>
                <a:gd name="T19" fmla="*/ 6 h 13"/>
                <a:gd name="T20" fmla="*/ 12 w 21"/>
                <a:gd name="T21" fmla="*/ 7 h 13"/>
                <a:gd name="T22" fmla="*/ 12 w 21"/>
                <a:gd name="T23" fmla="*/ 7 h 13"/>
                <a:gd name="T24" fmla="*/ 21 w 21"/>
                <a:gd name="T25" fmla="*/ 3 h 13"/>
                <a:gd name="T26" fmla="*/ 19 w 21"/>
                <a:gd name="T2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3">
                  <a:moveTo>
                    <a:pt x="6" y="7"/>
                  </a:moveTo>
                  <a:lnTo>
                    <a:pt x="6" y="7"/>
                  </a:lnTo>
                  <a:lnTo>
                    <a:pt x="0" y="10"/>
                  </a:lnTo>
                  <a:lnTo>
                    <a:pt x="0" y="13"/>
                  </a:lnTo>
                  <a:lnTo>
                    <a:pt x="0" y="13"/>
                  </a:lnTo>
                  <a:lnTo>
                    <a:pt x="8" y="10"/>
                  </a:lnTo>
                  <a:lnTo>
                    <a:pt x="6" y="7"/>
                  </a:lnTo>
                  <a:close/>
                  <a:moveTo>
                    <a:pt x="19" y="0"/>
                  </a:moveTo>
                  <a:lnTo>
                    <a:pt x="19" y="0"/>
                  </a:lnTo>
                  <a:lnTo>
                    <a:pt x="11" y="6"/>
                  </a:lnTo>
                  <a:lnTo>
                    <a:pt x="12" y="7"/>
                  </a:lnTo>
                  <a:lnTo>
                    <a:pt x="12" y="7"/>
                  </a:lnTo>
                  <a:lnTo>
                    <a:pt x="21" y="3"/>
                  </a:ln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95" name="Freeform 1659"/>
            <p:cNvSpPr>
              <a:spLocks noEditPoints="1"/>
            </p:cNvSpPr>
            <p:nvPr/>
          </p:nvSpPr>
          <p:spPr bwMode="auto">
            <a:xfrm>
              <a:off x="2354263" y="3389741"/>
              <a:ext cx="241300" cy="119063"/>
            </a:xfrm>
            <a:custGeom>
              <a:avLst/>
              <a:gdLst>
                <a:gd name="T0" fmla="*/ 0 w 152"/>
                <a:gd name="T1" fmla="*/ 73 h 75"/>
                <a:gd name="T2" fmla="*/ 10 w 152"/>
                <a:gd name="T3" fmla="*/ 70 h 75"/>
                <a:gd name="T4" fmla="*/ 22 w 152"/>
                <a:gd name="T5" fmla="*/ 59 h 75"/>
                <a:gd name="T6" fmla="*/ 15 w 152"/>
                <a:gd name="T7" fmla="*/ 67 h 75"/>
                <a:gd name="T8" fmla="*/ 38 w 152"/>
                <a:gd name="T9" fmla="*/ 55 h 75"/>
                <a:gd name="T10" fmla="*/ 26 w 152"/>
                <a:gd name="T11" fmla="*/ 57 h 75"/>
                <a:gd name="T12" fmla="*/ 33 w 152"/>
                <a:gd name="T13" fmla="*/ 58 h 75"/>
                <a:gd name="T14" fmla="*/ 52 w 152"/>
                <a:gd name="T15" fmla="*/ 55 h 75"/>
                <a:gd name="T16" fmla="*/ 42 w 152"/>
                <a:gd name="T17" fmla="*/ 58 h 75"/>
                <a:gd name="T18" fmla="*/ 52 w 152"/>
                <a:gd name="T19" fmla="*/ 55 h 75"/>
                <a:gd name="T20" fmla="*/ 58 w 152"/>
                <a:gd name="T21" fmla="*/ 55 h 75"/>
                <a:gd name="T22" fmla="*/ 68 w 152"/>
                <a:gd name="T23" fmla="*/ 57 h 75"/>
                <a:gd name="T24" fmla="*/ 80 w 152"/>
                <a:gd name="T25" fmla="*/ 49 h 75"/>
                <a:gd name="T26" fmla="*/ 75 w 152"/>
                <a:gd name="T27" fmla="*/ 54 h 75"/>
                <a:gd name="T28" fmla="*/ 73 w 152"/>
                <a:gd name="T29" fmla="*/ 57 h 75"/>
                <a:gd name="T30" fmla="*/ 75 w 152"/>
                <a:gd name="T31" fmla="*/ 57 h 75"/>
                <a:gd name="T32" fmla="*/ 83 w 152"/>
                <a:gd name="T33" fmla="*/ 51 h 75"/>
                <a:gd name="T34" fmla="*/ 90 w 152"/>
                <a:gd name="T35" fmla="*/ 38 h 75"/>
                <a:gd name="T36" fmla="*/ 86 w 152"/>
                <a:gd name="T37" fmla="*/ 48 h 75"/>
                <a:gd name="T38" fmla="*/ 96 w 152"/>
                <a:gd name="T39" fmla="*/ 25 h 75"/>
                <a:gd name="T40" fmla="*/ 96 w 152"/>
                <a:gd name="T41" fmla="*/ 29 h 75"/>
                <a:gd name="T42" fmla="*/ 94 w 152"/>
                <a:gd name="T43" fmla="*/ 35 h 75"/>
                <a:gd name="T44" fmla="*/ 97 w 152"/>
                <a:gd name="T45" fmla="*/ 31 h 75"/>
                <a:gd name="T46" fmla="*/ 96 w 152"/>
                <a:gd name="T47" fmla="*/ 25 h 75"/>
                <a:gd name="T48" fmla="*/ 97 w 152"/>
                <a:gd name="T49" fmla="*/ 20 h 75"/>
                <a:gd name="T50" fmla="*/ 106 w 152"/>
                <a:gd name="T51" fmla="*/ 13 h 75"/>
                <a:gd name="T52" fmla="*/ 116 w 152"/>
                <a:gd name="T53" fmla="*/ 2 h 75"/>
                <a:gd name="T54" fmla="*/ 107 w 152"/>
                <a:gd name="T55" fmla="*/ 7 h 75"/>
                <a:gd name="T56" fmla="*/ 113 w 152"/>
                <a:gd name="T57" fmla="*/ 4 h 75"/>
                <a:gd name="T58" fmla="*/ 116 w 152"/>
                <a:gd name="T59" fmla="*/ 2 h 75"/>
                <a:gd name="T60" fmla="*/ 122 w 152"/>
                <a:gd name="T61" fmla="*/ 0 h 75"/>
                <a:gd name="T62" fmla="*/ 122 w 152"/>
                <a:gd name="T63" fmla="*/ 3 h 75"/>
                <a:gd name="T64" fmla="*/ 132 w 152"/>
                <a:gd name="T65" fmla="*/ 2 h 75"/>
                <a:gd name="T66" fmla="*/ 139 w 152"/>
                <a:gd name="T67" fmla="*/ 7 h 75"/>
                <a:gd name="T68" fmla="*/ 136 w 152"/>
                <a:gd name="T69" fmla="*/ 3 h 75"/>
                <a:gd name="T70" fmla="*/ 138 w 152"/>
                <a:gd name="T71" fmla="*/ 7 h 75"/>
                <a:gd name="T72" fmla="*/ 141 w 152"/>
                <a:gd name="T73" fmla="*/ 13 h 75"/>
                <a:gd name="T74" fmla="*/ 141 w 152"/>
                <a:gd name="T75" fmla="*/ 17 h 75"/>
                <a:gd name="T76" fmla="*/ 139 w 152"/>
                <a:gd name="T77" fmla="*/ 29 h 75"/>
                <a:gd name="T78" fmla="*/ 145 w 152"/>
                <a:gd name="T79" fmla="*/ 44 h 75"/>
                <a:gd name="T80" fmla="*/ 145 w 152"/>
                <a:gd name="T81" fmla="*/ 32 h 75"/>
                <a:gd name="T82" fmla="*/ 143 w 152"/>
                <a:gd name="T83" fmla="*/ 38 h 75"/>
                <a:gd name="T84" fmla="*/ 145 w 152"/>
                <a:gd name="T85" fmla="*/ 44 h 75"/>
                <a:gd name="T86" fmla="*/ 145 w 152"/>
                <a:gd name="T87" fmla="*/ 46 h 75"/>
                <a:gd name="T88" fmla="*/ 151 w 152"/>
                <a:gd name="T89" fmla="*/ 5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2" h="75">
                  <a:moveTo>
                    <a:pt x="9" y="67"/>
                  </a:moveTo>
                  <a:lnTo>
                    <a:pt x="9" y="67"/>
                  </a:lnTo>
                  <a:lnTo>
                    <a:pt x="0" y="73"/>
                  </a:lnTo>
                  <a:lnTo>
                    <a:pt x="2" y="75"/>
                  </a:lnTo>
                  <a:lnTo>
                    <a:pt x="2" y="75"/>
                  </a:lnTo>
                  <a:lnTo>
                    <a:pt x="10" y="70"/>
                  </a:lnTo>
                  <a:lnTo>
                    <a:pt x="9" y="67"/>
                  </a:lnTo>
                  <a:close/>
                  <a:moveTo>
                    <a:pt x="22" y="59"/>
                  </a:moveTo>
                  <a:lnTo>
                    <a:pt x="22" y="59"/>
                  </a:lnTo>
                  <a:lnTo>
                    <a:pt x="13" y="64"/>
                  </a:lnTo>
                  <a:lnTo>
                    <a:pt x="15" y="67"/>
                  </a:lnTo>
                  <a:lnTo>
                    <a:pt x="15" y="67"/>
                  </a:lnTo>
                  <a:lnTo>
                    <a:pt x="23" y="61"/>
                  </a:lnTo>
                  <a:lnTo>
                    <a:pt x="22" y="59"/>
                  </a:lnTo>
                  <a:close/>
                  <a:moveTo>
                    <a:pt x="38" y="55"/>
                  </a:moveTo>
                  <a:lnTo>
                    <a:pt x="33" y="55"/>
                  </a:lnTo>
                  <a:lnTo>
                    <a:pt x="33" y="55"/>
                  </a:lnTo>
                  <a:lnTo>
                    <a:pt x="26" y="57"/>
                  </a:lnTo>
                  <a:lnTo>
                    <a:pt x="28" y="59"/>
                  </a:lnTo>
                  <a:lnTo>
                    <a:pt x="28" y="59"/>
                  </a:lnTo>
                  <a:lnTo>
                    <a:pt x="33" y="58"/>
                  </a:lnTo>
                  <a:lnTo>
                    <a:pt x="38" y="58"/>
                  </a:lnTo>
                  <a:lnTo>
                    <a:pt x="38" y="55"/>
                  </a:lnTo>
                  <a:close/>
                  <a:moveTo>
                    <a:pt x="52" y="55"/>
                  </a:moveTo>
                  <a:lnTo>
                    <a:pt x="52" y="55"/>
                  </a:lnTo>
                  <a:lnTo>
                    <a:pt x="42" y="55"/>
                  </a:lnTo>
                  <a:lnTo>
                    <a:pt x="42" y="58"/>
                  </a:lnTo>
                  <a:lnTo>
                    <a:pt x="42" y="58"/>
                  </a:lnTo>
                  <a:lnTo>
                    <a:pt x="52" y="58"/>
                  </a:lnTo>
                  <a:lnTo>
                    <a:pt x="52" y="55"/>
                  </a:lnTo>
                  <a:close/>
                  <a:moveTo>
                    <a:pt x="68" y="55"/>
                  </a:moveTo>
                  <a:lnTo>
                    <a:pt x="68" y="55"/>
                  </a:lnTo>
                  <a:lnTo>
                    <a:pt x="58" y="55"/>
                  </a:lnTo>
                  <a:lnTo>
                    <a:pt x="58" y="58"/>
                  </a:lnTo>
                  <a:lnTo>
                    <a:pt x="58" y="58"/>
                  </a:lnTo>
                  <a:lnTo>
                    <a:pt x="68" y="57"/>
                  </a:lnTo>
                  <a:lnTo>
                    <a:pt x="68" y="55"/>
                  </a:lnTo>
                  <a:close/>
                  <a:moveTo>
                    <a:pt x="80" y="49"/>
                  </a:moveTo>
                  <a:lnTo>
                    <a:pt x="80" y="49"/>
                  </a:lnTo>
                  <a:lnTo>
                    <a:pt x="77" y="54"/>
                  </a:lnTo>
                  <a:lnTo>
                    <a:pt x="77" y="54"/>
                  </a:lnTo>
                  <a:lnTo>
                    <a:pt x="75" y="54"/>
                  </a:lnTo>
                  <a:lnTo>
                    <a:pt x="75" y="54"/>
                  </a:lnTo>
                  <a:lnTo>
                    <a:pt x="73" y="55"/>
                  </a:lnTo>
                  <a:lnTo>
                    <a:pt x="73" y="57"/>
                  </a:lnTo>
                  <a:lnTo>
                    <a:pt x="73" y="57"/>
                  </a:lnTo>
                  <a:lnTo>
                    <a:pt x="75" y="57"/>
                  </a:lnTo>
                  <a:lnTo>
                    <a:pt x="75" y="57"/>
                  </a:lnTo>
                  <a:lnTo>
                    <a:pt x="78" y="55"/>
                  </a:lnTo>
                  <a:lnTo>
                    <a:pt x="78" y="55"/>
                  </a:lnTo>
                  <a:lnTo>
                    <a:pt x="83" y="51"/>
                  </a:lnTo>
                  <a:lnTo>
                    <a:pt x="80" y="49"/>
                  </a:lnTo>
                  <a:close/>
                  <a:moveTo>
                    <a:pt x="90" y="38"/>
                  </a:moveTo>
                  <a:lnTo>
                    <a:pt x="90" y="38"/>
                  </a:lnTo>
                  <a:lnTo>
                    <a:pt x="84" y="46"/>
                  </a:lnTo>
                  <a:lnTo>
                    <a:pt x="86" y="48"/>
                  </a:lnTo>
                  <a:lnTo>
                    <a:pt x="86" y="48"/>
                  </a:lnTo>
                  <a:lnTo>
                    <a:pt x="91" y="39"/>
                  </a:lnTo>
                  <a:lnTo>
                    <a:pt x="90" y="38"/>
                  </a:lnTo>
                  <a:close/>
                  <a:moveTo>
                    <a:pt x="96" y="25"/>
                  </a:moveTo>
                  <a:lnTo>
                    <a:pt x="96" y="26"/>
                  </a:lnTo>
                  <a:lnTo>
                    <a:pt x="96" y="26"/>
                  </a:lnTo>
                  <a:lnTo>
                    <a:pt x="96" y="29"/>
                  </a:lnTo>
                  <a:lnTo>
                    <a:pt x="96" y="29"/>
                  </a:lnTo>
                  <a:lnTo>
                    <a:pt x="93" y="33"/>
                  </a:lnTo>
                  <a:lnTo>
                    <a:pt x="94" y="35"/>
                  </a:lnTo>
                  <a:lnTo>
                    <a:pt x="94" y="35"/>
                  </a:lnTo>
                  <a:lnTo>
                    <a:pt x="97" y="31"/>
                  </a:lnTo>
                  <a:lnTo>
                    <a:pt x="97" y="31"/>
                  </a:lnTo>
                  <a:lnTo>
                    <a:pt x="99" y="26"/>
                  </a:lnTo>
                  <a:lnTo>
                    <a:pt x="99" y="25"/>
                  </a:lnTo>
                  <a:lnTo>
                    <a:pt x="96" y="25"/>
                  </a:lnTo>
                  <a:close/>
                  <a:moveTo>
                    <a:pt x="103" y="12"/>
                  </a:moveTo>
                  <a:lnTo>
                    <a:pt x="103" y="12"/>
                  </a:lnTo>
                  <a:lnTo>
                    <a:pt x="97" y="20"/>
                  </a:lnTo>
                  <a:lnTo>
                    <a:pt x="100" y="20"/>
                  </a:lnTo>
                  <a:lnTo>
                    <a:pt x="100" y="20"/>
                  </a:lnTo>
                  <a:lnTo>
                    <a:pt x="106" y="13"/>
                  </a:lnTo>
                  <a:lnTo>
                    <a:pt x="103" y="12"/>
                  </a:lnTo>
                  <a:close/>
                  <a:moveTo>
                    <a:pt x="116" y="2"/>
                  </a:moveTo>
                  <a:lnTo>
                    <a:pt x="116" y="2"/>
                  </a:lnTo>
                  <a:lnTo>
                    <a:pt x="112" y="3"/>
                  </a:lnTo>
                  <a:lnTo>
                    <a:pt x="112" y="3"/>
                  </a:lnTo>
                  <a:lnTo>
                    <a:pt x="107" y="7"/>
                  </a:lnTo>
                  <a:lnTo>
                    <a:pt x="109" y="9"/>
                  </a:lnTo>
                  <a:lnTo>
                    <a:pt x="109" y="9"/>
                  </a:lnTo>
                  <a:lnTo>
                    <a:pt x="113" y="4"/>
                  </a:lnTo>
                  <a:lnTo>
                    <a:pt x="113" y="4"/>
                  </a:lnTo>
                  <a:lnTo>
                    <a:pt x="116" y="4"/>
                  </a:lnTo>
                  <a:lnTo>
                    <a:pt x="116" y="2"/>
                  </a:lnTo>
                  <a:close/>
                  <a:moveTo>
                    <a:pt x="132" y="2"/>
                  </a:moveTo>
                  <a:lnTo>
                    <a:pt x="132" y="2"/>
                  </a:lnTo>
                  <a:lnTo>
                    <a:pt x="122" y="0"/>
                  </a:lnTo>
                  <a:lnTo>
                    <a:pt x="122" y="0"/>
                  </a:lnTo>
                  <a:lnTo>
                    <a:pt x="122" y="3"/>
                  </a:lnTo>
                  <a:lnTo>
                    <a:pt x="122" y="3"/>
                  </a:lnTo>
                  <a:lnTo>
                    <a:pt x="122" y="3"/>
                  </a:lnTo>
                  <a:lnTo>
                    <a:pt x="130" y="4"/>
                  </a:lnTo>
                  <a:lnTo>
                    <a:pt x="132" y="2"/>
                  </a:lnTo>
                  <a:close/>
                  <a:moveTo>
                    <a:pt x="141" y="13"/>
                  </a:moveTo>
                  <a:lnTo>
                    <a:pt x="141" y="13"/>
                  </a:lnTo>
                  <a:lnTo>
                    <a:pt x="139" y="7"/>
                  </a:lnTo>
                  <a:lnTo>
                    <a:pt x="139" y="7"/>
                  </a:lnTo>
                  <a:lnTo>
                    <a:pt x="139" y="4"/>
                  </a:lnTo>
                  <a:lnTo>
                    <a:pt x="136" y="3"/>
                  </a:lnTo>
                  <a:lnTo>
                    <a:pt x="136" y="4"/>
                  </a:lnTo>
                  <a:lnTo>
                    <a:pt x="136" y="4"/>
                  </a:lnTo>
                  <a:lnTo>
                    <a:pt x="138" y="7"/>
                  </a:lnTo>
                  <a:lnTo>
                    <a:pt x="138" y="7"/>
                  </a:lnTo>
                  <a:lnTo>
                    <a:pt x="138" y="13"/>
                  </a:lnTo>
                  <a:lnTo>
                    <a:pt x="141" y="13"/>
                  </a:lnTo>
                  <a:close/>
                  <a:moveTo>
                    <a:pt x="142" y="28"/>
                  </a:moveTo>
                  <a:lnTo>
                    <a:pt x="142" y="28"/>
                  </a:lnTo>
                  <a:lnTo>
                    <a:pt x="141" y="17"/>
                  </a:lnTo>
                  <a:lnTo>
                    <a:pt x="139" y="19"/>
                  </a:lnTo>
                  <a:lnTo>
                    <a:pt x="139" y="19"/>
                  </a:lnTo>
                  <a:lnTo>
                    <a:pt x="139" y="29"/>
                  </a:lnTo>
                  <a:lnTo>
                    <a:pt x="142" y="28"/>
                  </a:lnTo>
                  <a:close/>
                  <a:moveTo>
                    <a:pt x="145" y="44"/>
                  </a:moveTo>
                  <a:lnTo>
                    <a:pt x="145" y="44"/>
                  </a:lnTo>
                  <a:lnTo>
                    <a:pt x="146" y="38"/>
                  </a:lnTo>
                  <a:lnTo>
                    <a:pt x="146" y="38"/>
                  </a:lnTo>
                  <a:lnTo>
                    <a:pt x="145" y="32"/>
                  </a:lnTo>
                  <a:lnTo>
                    <a:pt x="142" y="33"/>
                  </a:lnTo>
                  <a:lnTo>
                    <a:pt x="142" y="33"/>
                  </a:lnTo>
                  <a:lnTo>
                    <a:pt x="143" y="38"/>
                  </a:lnTo>
                  <a:lnTo>
                    <a:pt x="143" y="38"/>
                  </a:lnTo>
                  <a:lnTo>
                    <a:pt x="142" y="42"/>
                  </a:lnTo>
                  <a:lnTo>
                    <a:pt x="145" y="44"/>
                  </a:lnTo>
                  <a:close/>
                  <a:moveTo>
                    <a:pt x="152" y="54"/>
                  </a:moveTo>
                  <a:lnTo>
                    <a:pt x="152" y="54"/>
                  </a:lnTo>
                  <a:lnTo>
                    <a:pt x="145" y="46"/>
                  </a:lnTo>
                  <a:lnTo>
                    <a:pt x="142" y="48"/>
                  </a:lnTo>
                  <a:lnTo>
                    <a:pt x="142" y="48"/>
                  </a:lnTo>
                  <a:lnTo>
                    <a:pt x="151" y="55"/>
                  </a:lnTo>
                  <a:lnTo>
                    <a:pt x="152"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496" name="Freeform 1660"/>
            <p:cNvSpPr>
              <a:spLocks noEditPoints="1"/>
            </p:cNvSpPr>
            <p:nvPr/>
          </p:nvSpPr>
          <p:spPr bwMode="auto">
            <a:xfrm>
              <a:off x="698500" y="2261029"/>
              <a:ext cx="290513" cy="819150"/>
            </a:xfrm>
            <a:custGeom>
              <a:avLst/>
              <a:gdLst>
                <a:gd name="T0" fmla="*/ 3 w 183"/>
                <a:gd name="T1" fmla="*/ 0 h 516"/>
                <a:gd name="T2" fmla="*/ 3 w 183"/>
                <a:gd name="T3" fmla="*/ 11 h 516"/>
                <a:gd name="T4" fmla="*/ 3 w 183"/>
                <a:gd name="T5" fmla="*/ 26 h 516"/>
                <a:gd name="T6" fmla="*/ 3 w 183"/>
                <a:gd name="T7" fmla="*/ 42 h 516"/>
                <a:gd name="T8" fmla="*/ 3 w 183"/>
                <a:gd name="T9" fmla="*/ 56 h 516"/>
                <a:gd name="T10" fmla="*/ 3 w 183"/>
                <a:gd name="T11" fmla="*/ 72 h 516"/>
                <a:gd name="T12" fmla="*/ 3 w 183"/>
                <a:gd name="T13" fmla="*/ 87 h 516"/>
                <a:gd name="T14" fmla="*/ 3 w 183"/>
                <a:gd name="T15" fmla="*/ 103 h 516"/>
                <a:gd name="T16" fmla="*/ 3 w 183"/>
                <a:gd name="T17" fmla="*/ 117 h 516"/>
                <a:gd name="T18" fmla="*/ 3 w 183"/>
                <a:gd name="T19" fmla="*/ 133 h 516"/>
                <a:gd name="T20" fmla="*/ 3 w 183"/>
                <a:gd name="T21" fmla="*/ 148 h 516"/>
                <a:gd name="T22" fmla="*/ 3 w 183"/>
                <a:gd name="T23" fmla="*/ 164 h 516"/>
                <a:gd name="T24" fmla="*/ 3 w 183"/>
                <a:gd name="T25" fmla="*/ 178 h 516"/>
                <a:gd name="T26" fmla="*/ 3 w 183"/>
                <a:gd name="T27" fmla="*/ 194 h 516"/>
                <a:gd name="T28" fmla="*/ 3 w 183"/>
                <a:gd name="T29" fmla="*/ 208 h 516"/>
                <a:gd name="T30" fmla="*/ 3 w 183"/>
                <a:gd name="T31" fmla="*/ 224 h 516"/>
                <a:gd name="T32" fmla="*/ 3 w 183"/>
                <a:gd name="T33" fmla="*/ 239 h 516"/>
                <a:gd name="T34" fmla="*/ 3 w 183"/>
                <a:gd name="T35" fmla="*/ 255 h 516"/>
                <a:gd name="T36" fmla="*/ 3 w 183"/>
                <a:gd name="T37" fmla="*/ 269 h 516"/>
                <a:gd name="T38" fmla="*/ 3 w 183"/>
                <a:gd name="T39" fmla="*/ 285 h 516"/>
                <a:gd name="T40" fmla="*/ 3 w 183"/>
                <a:gd name="T41" fmla="*/ 300 h 516"/>
                <a:gd name="T42" fmla="*/ 3 w 183"/>
                <a:gd name="T43" fmla="*/ 316 h 516"/>
                <a:gd name="T44" fmla="*/ 3 w 183"/>
                <a:gd name="T45" fmla="*/ 330 h 516"/>
                <a:gd name="T46" fmla="*/ 3 w 183"/>
                <a:gd name="T47" fmla="*/ 346 h 516"/>
                <a:gd name="T48" fmla="*/ 5 w 183"/>
                <a:gd name="T49" fmla="*/ 359 h 516"/>
                <a:gd name="T50" fmla="*/ 26 w 183"/>
                <a:gd name="T51" fmla="*/ 352 h 516"/>
                <a:gd name="T52" fmla="*/ 19 w 183"/>
                <a:gd name="T53" fmla="*/ 356 h 516"/>
                <a:gd name="T54" fmla="*/ 26 w 183"/>
                <a:gd name="T55" fmla="*/ 355 h 516"/>
                <a:gd name="T56" fmla="*/ 32 w 183"/>
                <a:gd name="T57" fmla="*/ 362 h 516"/>
                <a:gd name="T58" fmla="*/ 31 w 183"/>
                <a:gd name="T59" fmla="*/ 368 h 516"/>
                <a:gd name="T60" fmla="*/ 34 w 183"/>
                <a:gd name="T61" fmla="*/ 372 h 516"/>
                <a:gd name="T62" fmla="*/ 51 w 183"/>
                <a:gd name="T63" fmla="*/ 392 h 516"/>
                <a:gd name="T64" fmla="*/ 51 w 183"/>
                <a:gd name="T65" fmla="*/ 392 h 516"/>
                <a:gd name="T66" fmla="*/ 55 w 183"/>
                <a:gd name="T67" fmla="*/ 398 h 516"/>
                <a:gd name="T68" fmla="*/ 57 w 183"/>
                <a:gd name="T69" fmla="*/ 401 h 516"/>
                <a:gd name="T70" fmla="*/ 73 w 183"/>
                <a:gd name="T71" fmla="*/ 387 h 516"/>
                <a:gd name="T72" fmla="*/ 73 w 183"/>
                <a:gd name="T73" fmla="*/ 387 h 516"/>
                <a:gd name="T74" fmla="*/ 77 w 183"/>
                <a:gd name="T75" fmla="*/ 385 h 516"/>
                <a:gd name="T76" fmla="*/ 92 w 183"/>
                <a:gd name="T77" fmla="*/ 375 h 516"/>
                <a:gd name="T78" fmla="*/ 87 w 183"/>
                <a:gd name="T79" fmla="*/ 375 h 516"/>
                <a:gd name="T80" fmla="*/ 100 w 183"/>
                <a:gd name="T81" fmla="*/ 395 h 516"/>
                <a:gd name="T82" fmla="*/ 97 w 183"/>
                <a:gd name="T83" fmla="*/ 395 h 516"/>
                <a:gd name="T84" fmla="*/ 102 w 183"/>
                <a:gd name="T85" fmla="*/ 400 h 516"/>
                <a:gd name="T86" fmla="*/ 109 w 183"/>
                <a:gd name="T87" fmla="*/ 407 h 516"/>
                <a:gd name="T88" fmla="*/ 113 w 183"/>
                <a:gd name="T89" fmla="*/ 410 h 516"/>
                <a:gd name="T90" fmla="*/ 118 w 183"/>
                <a:gd name="T91" fmla="*/ 419 h 516"/>
                <a:gd name="T92" fmla="*/ 121 w 183"/>
                <a:gd name="T93" fmla="*/ 423 h 516"/>
                <a:gd name="T94" fmla="*/ 139 w 183"/>
                <a:gd name="T95" fmla="*/ 440 h 516"/>
                <a:gd name="T96" fmla="*/ 129 w 183"/>
                <a:gd name="T97" fmla="*/ 434 h 516"/>
                <a:gd name="T98" fmla="*/ 148 w 183"/>
                <a:gd name="T99" fmla="*/ 453 h 516"/>
                <a:gd name="T100" fmla="*/ 145 w 183"/>
                <a:gd name="T101" fmla="*/ 455 h 516"/>
                <a:gd name="T102" fmla="*/ 148 w 183"/>
                <a:gd name="T103" fmla="*/ 459 h 516"/>
                <a:gd name="T104" fmla="*/ 167 w 183"/>
                <a:gd name="T105" fmla="*/ 476 h 516"/>
                <a:gd name="T106" fmla="*/ 167 w 183"/>
                <a:gd name="T107" fmla="*/ 476 h 516"/>
                <a:gd name="T108" fmla="*/ 168 w 183"/>
                <a:gd name="T109" fmla="*/ 481 h 516"/>
                <a:gd name="T110" fmla="*/ 183 w 183"/>
                <a:gd name="T111" fmla="*/ 494 h 516"/>
                <a:gd name="T112" fmla="*/ 180 w 183"/>
                <a:gd name="T113" fmla="*/ 501 h 516"/>
                <a:gd name="T114" fmla="*/ 183 w 183"/>
                <a:gd name="T115" fmla="*/ 516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3" h="516">
                  <a:moveTo>
                    <a:pt x="3" y="0"/>
                  </a:moveTo>
                  <a:lnTo>
                    <a:pt x="0" y="0"/>
                  </a:lnTo>
                  <a:lnTo>
                    <a:pt x="0" y="6"/>
                  </a:lnTo>
                  <a:lnTo>
                    <a:pt x="3" y="6"/>
                  </a:lnTo>
                  <a:lnTo>
                    <a:pt x="3" y="0"/>
                  </a:lnTo>
                  <a:close/>
                  <a:moveTo>
                    <a:pt x="3" y="11"/>
                  </a:moveTo>
                  <a:lnTo>
                    <a:pt x="0" y="11"/>
                  </a:lnTo>
                  <a:lnTo>
                    <a:pt x="0" y="22"/>
                  </a:lnTo>
                  <a:lnTo>
                    <a:pt x="3" y="22"/>
                  </a:lnTo>
                  <a:lnTo>
                    <a:pt x="3" y="11"/>
                  </a:lnTo>
                  <a:close/>
                  <a:moveTo>
                    <a:pt x="3" y="26"/>
                  </a:moveTo>
                  <a:lnTo>
                    <a:pt x="0" y="26"/>
                  </a:lnTo>
                  <a:lnTo>
                    <a:pt x="0" y="36"/>
                  </a:lnTo>
                  <a:lnTo>
                    <a:pt x="3" y="36"/>
                  </a:lnTo>
                  <a:lnTo>
                    <a:pt x="3" y="26"/>
                  </a:lnTo>
                  <a:close/>
                  <a:moveTo>
                    <a:pt x="3" y="42"/>
                  </a:moveTo>
                  <a:lnTo>
                    <a:pt x="0" y="42"/>
                  </a:lnTo>
                  <a:lnTo>
                    <a:pt x="0" y="52"/>
                  </a:lnTo>
                  <a:lnTo>
                    <a:pt x="3" y="52"/>
                  </a:lnTo>
                  <a:lnTo>
                    <a:pt x="3" y="42"/>
                  </a:lnTo>
                  <a:close/>
                  <a:moveTo>
                    <a:pt x="3" y="56"/>
                  </a:moveTo>
                  <a:lnTo>
                    <a:pt x="0" y="56"/>
                  </a:lnTo>
                  <a:lnTo>
                    <a:pt x="0" y="67"/>
                  </a:lnTo>
                  <a:lnTo>
                    <a:pt x="3" y="67"/>
                  </a:lnTo>
                  <a:lnTo>
                    <a:pt x="3" y="56"/>
                  </a:lnTo>
                  <a:close/>
                  <a:moveTo>
                    <a:pt x="3" y="72"/>
                  </a:moveTo>
                  <a:lnTo>
                    <a:pt x="0" y="72"/>
                  </a:lnTo>
                  <a:lnTo>
                    <a:pt x="0" y="82"/>
                  </a:lnTo>
                  <a:lnTo>
                    <a:pt x="3" y="82"/>
                  </a:lnTo>
                  <a:lnTo>
                    <a:pt x="3" y="72"/>
                  </a:lnTo>
                  <a:close/>
                  <a:moveTo>
                    <a:pt x="3" y="87"/>
                  </a:moveTo>
                  <a:lnTo>
                    <a:pt x="0" y="87"/>
                  </a:lnTo>
                  <a:lnTo>
                    <a:pt x="0" y="97"/>
                  </a:lnTo>
                  <a:lnTo>
                    <a:pt x="3" y="97"/>
                  </a:lnTo>
                  <a:lnTo>
                    <a:pt x="3" y="87"/>
                  </a:lnTo>
                  <a:close/>
                  <a:moveTo>
                    <a:pt x="3" y="103"/>
                  </a:moveTo>
                  <a:lnTo>
                    <a:pt x="0" y="103"/>
                  </a:lnTo>
                  <a:lnTo>
                    <a:pt x="0" y="113"/>
                  </a:lnTo>
                  <a:lnTo>
                    <a:pt x="3" y="113"/>
                  </a:lnTo>
                  <a:lnTo>
                    <a:pt x="3" y="103"/>
                  </a:lnTo>
                  <a:close/>
                  <a:moveTo>
                    <a:pt x="3" y="117"/>
                  </a:moveTo>
                  <a:lnTo>
                    <a:pt x="0" y="117"/>
                  </a:lnTo>
                  <a:lnTo>
                    <a:pt x="0" y="127"/>
                  </a:lnTo>
                  <a:lnTo>
                    <a:pt x="3" y="127"/>
                  </a:lnTo>
                  <a:lnTo>
                    <a:pt x="3" y="117"/>
                  </a:lnTo>
                  <a:close/>
                  <a:moveTo>
                    <a:pt x="3" y="133"/>
                  </a:moveTo>
                  <a:lnTo>
                    <a:pt x="0" y="133"/>
                  </a:lnTo>
                  <a:lnTo>
                    <a:pt x="0" y="143"/>
                  </a:lnTo>
                  <a:lnTo>
                    <a:pt x="3" y="143"/>
                  </a:lnTo>
                  <a:lnTo>
                    <a:pt x="3" y="133"/>
                  </a:lnTo>
                  <a:close/>
                  <a:moveTo>
                    <a:pt x="3" y="148"/>
                  </a:moveTo>
                  <a:lnTo>
                    <a:pt x="0" y="148"/>
                  </a:lnTo>
                  <a:lnTo>
                    <a:pt x="0" y="158"/>
                  </a:lnTo>
                  <a:lnTo>
                    <a:pt x="3" y="158"/>
                  </a:lnTo>
                  <a:lnTo>
                    <a:pt x="3" y="148"/>
                  </a:lnTo>
                  <a:close/>
                  <a:moveTo>
                    <a:pt x="3" y="164"/>
                  </a:moveTo>
                  <a:lnTo>
                    <a:pt x="0" y="164"/>
                  </a:lnTo>
                  <a:lnTo>
                    <a:pt x="0" y="174"/>
                  </a:lnTo>
                  <a:lnTo>
                    <a:pt x="3" y="174"/>
                  </a:lnTo>
                  <a:lnTo>
                    <a:pt x="3" y="164"/>
                  </a:lnTo>
                  <a:close/>
                  <a:moveTo>
                    <a:pt x="3" y="178"/>
                  </a:moveTo>
                  <a:lnTo>
                    <a:pt x="0" y="178"/>
                  </a:lnTo>
                  <a:lnTo>
                    <a:pt x="0" y="188"/>
                  </a:lnTo>
                  <a:lnTo>
                    <a:pt x="3" y="188"/>
                  </a:lnTo>
                  <a:lnTo>
                    <a:pt x="3" y="178"/>
                  </a:lnTo>
                  <a:close/>
                  <a:moveTo>
                    <a:pt x="3" y="194"/>
                  </a:moveTo>
                  <a:lnTo>
                    <a:pt x="0" y="194"/>
                  </a:lnTo>
                  <a:lnTo>
                    <a:pt x="0" y="204"/>
                  </a:lnTo>
                  <a:lnTo>
                    <a:pt x="3" y="204"/>
                  </a:lnTo>
                  <a:lnTo>
                    <a:pt x="3" y="194"/>
                  </a:lnTo>
                  <a:close/>
                  <a:moveTo>
                    <a:pt x="3" y="208"/>
                  </a:moveTo>
                  <a:lnTo>
                    <a:pt x="0" y="208"/>
                  </a:lnTo>
                  <a:lnTo>
                    <a:pt x="0" y="219"/>
                  </a:lnTo>
                  <a:lnTo>
                    <a:pt x="3" y="219"/>
                  </a:lnTo>
                  <a:lnTo>
                    <a:pt x="3" y="208"/>
                  </a:lnTo>
                  <a:close/>
                  <a:moveTo>
                    <a:pt x="3" y="224"/>
                  </a:moveTo>
                  <a:lnTo>
                    <a:pt x="0" y="224"/>
                  </a:lnTo>
                  <a:lnTo>
                    <a:pt x="0" y="235"/>
                  </a:lnTo>
                  <a:lnTo>
                    <a:pt x="3" y="235"/>
                  </a:lnTo>
                  <a:lnTo>
                    <a:pt x="3" y="224"/>
                  </a:lnTo>
                  <a:close/>
                  <a:moveTo>
                    <a:pt x="3" y="239"/>
                  </a:moveTo>
                  <a:lnTo>
                    <a:pt x="0" y="239"/>
                  </a:lnTo>
                  <a:lnTo>
                    <a:pt x="0" y="249"/>
                  </a:lnTo>
                  <a:lnTo>
                    <a:pt x="3" y="249"/>
                  </a:lnTo>
                  <a:lnTo>
                    <a:pt x="3" y="239"/>
                  </a:lnTo>
                  <a:close/>
                  <a:moveTo>
                    <a:pt x="3" y="255"/>
                  </a:moveTo>
                  <a:lnTo>
                    <a:pt x="0" y="255"/>
                  </a:lnTo>
                  <a:lnTo>
                    <a:pt x="0" y="265"/>
                  </a:lnTo>
                  <a:lnTo>
                    <a:pt x="3" y="265"/>
                  </a:lnTo>
                  <a:lnTo>
                    <a:pt x="3" y="255"/>
                  </a:lnTo>
                  <a:close/>
                  <a:moveTo>
                    <a:pt x="3" y="269"/>
                  </a:moveTo>
                  <a:lnTo>
                    <a:pt x="0" y="269"/>
                  </a:lnTo>
                  <a:lnTo>
                    <a:pt x="0" y="279"/>
                  </a:lnTo>
                  <a:lnTo>
                    <a:pt x="3" y="279"/>
                  </a:lnTo>
                  <a:lnTo>
                    <a:pt x="3" y="269"/>
                  </a:lnTo>
                  <a:close/>
                  <a:moveTo>
                    <a:pt x="3" y="285"/>
                  </a:moveTo>
                  <a:lnTo>
                    <a:pt x="0" y="285"/>
                  </a:lnTo>
                  <a:lnTo>
                    <a:pt x="0" y="295"/>
                  </a:lnTo>
                  <a:lnTo>
                    <a:pt x="3" y="295"/>
                  </a:lnTo>
                  <a:lnTo>
                    <a:pt x="3" y="285"/>
                  </a:lnTo>
                  <a:close/>
                  <a:moveTo>
                    <a:pt x="3" y="300"/>
                  </a:moveTo>
                  <a:lnTo>
                    <a:pt x="0" y="300"/>
                  </a:lnTo>
                  <a:lnTo>
                    <a:pt x="0" y="310"/>
                  </a:lnTo>
                  <a:lnTo>
                    <a:pt x="3" y="310"/>
                  </a:lnTo>
                  <a:lnTo>
                    <a:pt x="3" y="300"/>
                  </a:lnTo>
                  <a:close/>
                  <a:moveTo>
                    <a:pt x="3" y="316"/>
                  </a:moveTo>
                  <a:lnTo>
                    <a:pt x="0" y="316"/>
                  </a:lnTo>
                  <a:lnTo>
                    <a:pt x="0" y="326"/>
                  </a:lnTo>
                  <a:lnTo>
                    <a:pt x="3" y="326"/>
                  </a:lnTo>
                  <a:lnTo>
                    <a:pt x="3" y="316"/>
                  </a:lnTo>
                  <a:close/>
                  <a:moveTo>
                    <a:pt x="3" y="330"/>
                  </a:moveTo>
                  <a:lnTo>
                    <a:pt x="0" y="330"/>
                  </a:lnTo>
                  <a:lnTo>
                    <a:pt x="0" y="340"/>
                  </a:lnTo>
                  <a:lnTo>
                    <a:pt x="3" y="340"/>
                  </a:lnTo>
                  <a:lnTo>
                    <a:pt x="3" y="330"/>
                  </a:lnTo>
                  <a:close/>
                  <a:moveTo>
                    <a:pt x="3" y="346"/>
                  </a:moveTo>
                  <a:lnTo>
                    <a:pt x="0" y="346"/>
                  </a:lnTo>
                  <a:lnTo>
                    <a:pt x="0" y="356"/>
                  </a:lnTo>
                  <a:lnTo>
                    <a:pt x="3" y="356"/>
                  </a:lnTo>
                  <a:lnTo>
                    <a:pt x="3" y="346"/>
                  </a:lnTo>
                  <a:close/>
                  <a:moveTo>
                    <a:pt x="13" y="355"/>
                  </a:moveTo>
                  <a:lnTo>
                    <a:pt x="13" y="355"/>
                  </a:lnTo>
                  <a:lnTo>
                    <a:pt x="5" y="358"/>
                  </a:lnTo>
                  <a:lnTo>
                    <a:pt x="5" y="359"/>
                  </a:lnTo>
                  <a:lnTo>
                    <a:pt x="5" y="359"/>
                  </a:lnTo>
                  <a:lnTo>
                    <a:pt x="15" y="358"/>
                  </a:lnTo>
                  <a:lnTo>
                    <a:pt x="13" y="355"/>
                  </a:lnTo>
                  <a:close/>
                  <a:moveTo>
                    <a:pt x="29" y="352"/>
                  </a:moveTo>
                  <a:lnTo>
                    <a:pt x="29" y="352"/>
                  </a:lnTo>
                  <a:lnTo>
                    <a:pt x="26" y="352"/>
                  </a:lnTo>
                  <a:lnTo>
                    <a:pt x="26" y="352"/>
                  </a:lnTo>
                  <a:lnTo>
                    <a:pt x="25" y="352"/>
                  </a:lnTo>
                  <a:lnTo>
                    <a:pt x="25" y="352"/>
                  </a:lnTo>
                  <a:lnTo>
                    <a:pt x="19" y="353"/>
                  </a:lnTo>
                  <a:lnTo>
                    <a:pt x="19" y="356"/>
                  </a:lnTo>
                  <a:lnTo>
                    <a:pt x="19" y="356"/>
                  </a:lnTo>
                  <a:lnTo>
                    <a:pt x="26" y="355"/>
                  </a:lnTo>
                  <a:lnTo>
                    <a:pt x="26" y="355"/>
                  </a:lnTo>
                  <a:lnTo>
                    <a:pt x="26" y="355"/>
                  </a:lnTo>
                  <a:lnTo>
                    <a:pt x="26" y="355"/>
                  </a:lnTo>
                  <a:lnTo>
                    <a:pt x="28" y="355"/>
                  </a:lnTo>
                  <a:lnTo>
                    <a:pt x="29" y="352"/>
                  </a:lnTo>
                  <a:close/>
                  <a:moveTo>
                    <a:pt x="34" y="368"/>
                  </a:moveTo>
                  <a:lnTo>
                    <a:pt x="34" y="368"/>
                  </a:lnTo>
                  <a:lnTo>
                    <a:pt x="32" y="362"/>
                  </a:lnTo>
                  <a:lnTo>
                    <a:pt x="32" y="358"/>
                  </a:lnTo>
                  <a:lnTo>
                    <a:pt x="29" y="358"/>
                  </a:lnTo>
                  <a:lnTo>
                    <a:pt x="29" y="358"/>
                  </a:lnTo>
                  <a:lnTo>
                    <a:pt x="31" y="363"/>
                  </a:lnTo>
                  <a:lnTo>
                    <a:pt x="31" y="368"/>
                  </a:lnTo>
                  <a:lnTo>
                    <a:pt x="34" y="368"/>
                  </a:lnTo>
                  <a:close/>
                  <a:moveTo>
                    <a:pt x="42" y="379"/>
                  </a:moveTo>
                  <a:lnTo>
                    <a:pt x="42" y="379"/>
                  </a:lnTo>
                  <a:lnTo>
                    <a:pt x="36" y="371"/>
                  </a:lnTo>
                  <a:lnTo>
                    <a:pt x="34" y="372"/>
                  </a:lnTo>
                  <a:lnTo>
                    <a:pt x="34" y="372"/>
                  </a:lnTo>
                  <a:lnTo>
                    <a:pt x="39" y="381"/>
                  </a:lnTo>
                  <a:lnTo>
                    <a:pt x="42" y="379"/>
                  </a:lnTo>
                  <a:close/>
                  <a:moveTo>
                    <a:pt x="51" y="392"/>
                  </a:moveTo>
                  <a:lnTo>
                    <a:pt x="51" y="392"/>
                  </a:lnTo>
                  <a:lnTo>
                    <a:pt x="45" y="384"/>
                  </a:lnTo>
                  <a:lnTo>
                    <a:pt x="42" y="385"/>
                  </a:lnTo>
                  <a:lnTo>
                    <a:pt x="42" y="385"/>
                  </a:lnTo>
                  <a:lnTo>
                    <a:pt x="50" y="394"/>
                  </a:lnTo>
                  <a:lnTo>
                    <a:pt x="51" y="392"/>
                  </a:lnTo>
                  <a:close/>
                  <a:moveTo>
                    <a:pt x="63" y="397"/>
                  </a:moveTo>
                  <a:lnTo>
                    <a:pt x="63" y="397"/>
                  </a:lnTo>
                  <a:lnTo>
                    <a:pt x="57" y="398"/>
                  </a:lnTo>
                  <a:lnTo>
                    <a:pt x="57" y="398"/>
                  </a:lnTo>
                  <a:lnTo>
                    <a:pt x="55" y="398"/>
                  </a:lnTo>
                  <a:lnTo>
                    <a:pt x="54" y="395"/>
                  </a:lnTo>
                  <a:lnTo>
                    <a:pt x="52" y="397"/>
                  </a:lnTo>
                  <a:lnTo>
                    <a:pt x="52" y="397"/>
                  </a:lnTo>
                  <a:lnTo>
                    <a:pt x="55" y="400"/>
                  </a:lnTo>
                  <a:lnTo>
                    <a:pt x="57" y="401"/>
                  </a:lnTo>
                  <a:lnTo>
                    <a:pt x="57" y="401"/>
                  </a:lnTo>
                  <a:lnTo>
                    <a:pt x="63" y="400"/>
                  </a:lnTo>
                  <a:lnTo>
                    <a:pt x="63" y="397"/>
                  </a:lnTo>
                  <a:close/>
                  <a:moveTo>
                    <a:pt x="73" y="387"/>
                  </a:moveTo>
                  <a:lnTo>
                    <a:pt x="73" y="387"/>
                  </a:lnTo>
                  <a:lnTo>
                    <a:pt x="65" y="395"/>
                  </a:lnTo>
                  <a:lnTo>
                    <a:pt x="67" y="397"/>
                  </a:lnTo>
                  <a:lnTo>
                    <a:pt x="67" y="397"/>
                  </a:lnTo>
                  <a:lnTo>
                    <a:pt x="74" y="390"/>
                  </a:lnTo>
                  <a:lnTo>
                    <a:pt x="73" y="387"/>
                  </a:lnTo>
                  <a:close/>
                  <a:moveTo>
                    <a:pt x="83" y="375"/>
                  </a:moveTo>
                  <a:lnTo>
                    <a:pt x="83" y="375"/>
                  </a:lnTo>
                  <a:lnTo>
                    <a:pt x="76" y="384"/>
                  </a:lnTo>
                  <a:lnTo>
                    <a:pt x="77" y="385"/>
                  </a:lnTo>
                  <a:lnTo>
                    <a:pt x="77" y="385"/>
                  </a:lnTo>
                  <a:lnTo>
                    <a:pt x="84" y="378"/>
                  </a:lnTo>
                  <a:lnTo>
                    <a:pt x="83" y="375"/>
                  </a:lnTo>
                  <a:close/>
                  <a:moveTo>
                    <a:pt x="96" y="381"/>
                  </a:moveTo>
                  <a:lnTo>
                    <a:pt x="96" y="381"/>
                  </a:lnTo>
                  <a:lnTo>
                    <a:pt x="92" y="375"/>
                  </a:lnTo>
                  <a:lnTo>
                    <a:pt x="92" y="375"/>
                  </a:lnTo>
                  <a:lnTo>
                    <a:pt x="90" y="374"/>
                  </a:lnTo>
                  <a:lnTo>
                    <a:pt x="87" y="372"/>
                  </a:lnTo>
                  <a:lnTo>
                    <a:pt x="87" y="375"/>
                  </a:lnTo>
                  <a:lnTo>
                    <a:pt x="87" y="375"/>
                  </a:lnTo>
                  <a:lnTo>
                    <a:pt x="90" y="377"/>
                  </a:lnTo>
                  <a:lnTo>
                    <a:pt x="90" y="377"/>
                  </a:lnTo>
                  <a:lnTo>
                    <a:pt x="93" y="382"/>
                  </a:lnTo>
                  <a:lnTo>
                    <a:pt x="96" y="381"/>
                  </a:lnTo>
                  <a:close/>
                  <a:moveTo>
                    <a:pt x="100" y="395"/>
                  </a:moveTo>
                  <a:lnTo>
                    <a:pt x="100" y="395"/>
                  </a:lnTo>
                  <a:lnTo>
                    <a:pt x="97" y="385"/>
                  </a:lnTo>
                  <a:lnTo>
                    <a:pt x="94" y="387"/>
                  </a:lnTo>
                  <a:lnTo>
                    <a:pt x="94" y="387"/>
                  </a:lnTo>
                  <a:lnTo>
                    <a:pt x="97" y="395"/>
                  </a:lnTo>
                  <a:lnTo>
                    <a:pt x="100" y="395"/>
                  </a:lnTo>
                  <a:close/>
                  <a:moveTo>
                    <a:pt x="109" y="407"/>
                  </a:moveTo>
                  <a:lnTo>
                    <a:pt x="109" y="407"/>
                  </a:lnTo>
                  <a:lnTo>
                    <a:pt x="105" y="403"/>
                  </a:lnTo>
                  <a:lnTo>
                    <a:pt x="102" y="400"/>
                  </a:lnTo>
                  <a:lnTo>
                    <a:pt x="100" y="401"/>
                  </a:lnTo>
                  <a:lnTo>
                    <a:pt x="100" y="401"/>
                  </a:lnTo>
                  <a:lnTo>
                    <a:pt x="103" y="405"/>
                  </a:lnTo>
                  <a:lnTo>
                    <a:pt x="107" y="408"/>
                  </a:lnTo>
                  <a:lnTo>
                    <a:pt x="109" y="407"/>
                  </a:lnTo>
                  <a:close/>
                  <a:moveTo>
                    <a:pt x="121" y="417"/>
                  </a:moveTo>
                  <a:lnTo>
                    <a:pt x="121" y="417"/>
                  </a:lnTo>
                  <a:lnTo>
                    <a:pt x="121" y="417"/>
                  </a:lnTo>
                  <a:lnTo>
                    <a:pt x="116" y="413"/>
                  </a:lnTo>
                  <a:lnTo>
                    <a:pt x="113" y="410"/>
                  </a:lnTo>
                  <a:lnTo>
                    <a:pt x="112" y="411"/>
                  </a:lnTo>
                  <a:lnTo>
                    <a:pt x="112" y="411"/>
                  </a:lnTo>
                  <a:lnTo>
                    <a:pt x="115" y="414"/>
                  </a:lnTo>
                  <a:lnTo>
                    <a:pt x="118" y="417"/>
                  </a:lnTo>
                  <a:lnTo>
                    <a:pt x="118" y="419"/>
                  </a:lnTo>
                  <a:lnTo>
                    <a:pt x="121" y="417"/>
                  </a:lnTo>
                  <a:close/>
                  <a:moveTo>
                    <a:pt x="128" y="430"/>
                  </a:moveTo>
                  <a:lnTo>
                    <a:pt x="128" y="430"/>
                  </a:lnTo>
                  <a:lnTo>
                    <a:pt x="123" y="421"/>
                  </a:lnTo>
                  <a:lnTo>
                    <a:pt x="121" y="423"/>
                  </a:lnTo>
                  <a:lnTo>
                    <a:pt x="121" y="423"/>
                  </a:lnTo>
                  <a:lnTo>
                    <a:pt x="126" y="432"/>
                  </a:lnTo>
                  <a:lnTo>
                    <a:pt x="128" y="430"/>
                  </a:lnTo>
                  <a:close/>
                  <a:moveTo>
                    <a:pt x="139" y="440"/>
                  </a:moveTo>
                  <a:lnTo>
                    <a:pt x="139" y="440"/>
                  </a:lnTo>
                  <a:lnTo>
                    <a:pt x="135" y="437"/>
                  </a:lnTo>
                  <a:lnTo>
                    <a:pt x="135" y="437"/>
                  </a:lnTo>
                  <a:lnTo>
                    <a:pt x="132" y="433"/>
                  </a:lnTo>
                  <a:lnTo>
                    <a:pt x="129" y="434"/>
                  </a:lnTo>
                  <a:lnTo>
                    <a:pt x="129" y="434"/>
                  </a:lnTo>
                  <a:lnTo>
                    <a:pt x="134" y="439"/>
                  </a:lnTo>
                  <a:lnTo>
                    <a:pt x="134" y="439"/>
                  </a:lnTo>
                  <a:lnTo>
                    <a:pt x="136" y="442"/>
                  </a:lnTo>
                  <a:lnTo>
                    <a:pt x="139" y="440"/>
                  </a:lnTo>
                  <a:close/>
                  <a:moveTo>
                    <a:pt x="148" y="453"/>
                  </a:moveTo>
                  <a:lnTo>
                    <a:pt x="148" y="453"/>
                  </a:lnTo>
                  <a:lnTo>
                    <a:pt x="142" y="445"/>
                  </a:lnTo>
                  <a:lnTo>
                    <a:pt x="139" y="446"/>
                  </a:lnTo>
                  <a:lnTo>
                    <a:pt x="139" y="446"/>
                  </a:lnTo>
                  <a:lnTo>
                    <a:pt x="145" y="455"/>
                  </a:lnTo>
                  <a:lnTo>
                    <a:pt x="148" y="453"/>
                  </a:lnTo>
                  <a:close/>
                  <a:moveTo>
                    <a:pt x="155" y="466"/>
                  </a:moveTo>
                  <a:lnTo>
                    <a:pt x="155" y="466"/>
                  </a:lnTo>
                  <a:lnTo>
                    <a:pt x="149" y="458"/>
                  </a:lnTo>
                  <a:lnTo>
                    <a:pt x="148" y="459"/>
                  </a:lnTo>
                  <a:lnTo>
                    <a:pt x="148" y="459"/>
                  </a:lnTo>
                  <a:lnTo>
                    <a:pt x="154" y="468"/>
                  </a:lnTo>
                  <a:lnTo>
                    <a:pt x="155" y="466"/>
                  </a:lnTo>
                  <a:close/>
                  <a:moveTo>
                    <a:pt x="167" y="476"/>
                  </a:moveTo>
                  <a:lnTo>
                    <a:pt x="167" y="476"/>
                  </a:lnTo>
                  <a:lnTo>
                    <a:pt x="158" y="469"/>
                  </a:lnTo>
                  <a:lnTo>
                    <a:pt x="157" y="472"/>
                  </a:lnTo>
                  <a:lnTo>
                    <a:pt x="157" y="472"/>
                  </a:lnTo>
                  <a:lnTo>
                    <a:pt x="165" y="478"/>
                  </a:lnTo>
                  <a:lnTo>
                    <a:pt x="167" y="476"/>
                  </a:lnTo>
                  <a:close/>
                  <a:moveTo>
                    <a:pt x="178" y="487"/>
                  </a:moveTo>
                  <a:lnTo>
                    <a:pt x="178" y="487"/>
                  </a:lnTo>
                  <a:lnTo>
                    <a:pt x="170" y="479"/>
                  </a:lnTo>
                  <a:lnTo>
                    <a:pt x="168" y="481"/>
                  </a:lnTo>
                  <a:lnTo>
                    <a:pt x="168" y="481"/>
                  </a:lnTo>
                  <a:lnTo>
                    <a:pt x="176" y="488"/>
                  </a:lnTo>
                  <a:lnTo>
                    <a:pt x="178" y="487"/>
                  </a:lnTo>
                  <a:close/>
                  <a:moveTo>
                    <a:pt x="183" y="501"/>
                  </a:moveTo>
                  <a:lnTo>
                    <a:pt x="183" y="494"/>
                  </a:lnTo>
                  <a:lnTo>
                    <a:pt x="183" y="494"/>
                  </a:lnTo>
                  <a:lnTo>
                    <a:pt x="181" y="491"/>
                  </a:lnTo>
                  <a:lnTo>
                    <a:pt x="180" y="491"/>
                  </a:lnTo>
                  <a:lnTo>
                    <a:pt x="180" y="491"/>
                  </a:lnTo>
                  <a:lnTo>
                    <a:pt x="180" y="494"/>
                  </a:lnTo>
                  <a:lnTo>
                    <a:pt x="180" y="501"/>
                  </a:lnTo>
                  <a:lnTo>
                    <a:pt x="183" y="501"/>
                  </a:lnTo>
                  <a:close/>
                  <a:moveTo>
                    <a:pt x="183" y="505"/>
                  </a:moveTo>
                  <a:lnTo>
                    <a:pt x="180" y="505"/>
                  </a:lnTo>
                  <a:lnTo>
                    <a:pt x="180" y="516"/>
                  </a:lnTo>
                  <a:lnTo>
                    <a:pt x="183" y="516"/>
                  </a:lnTo>
                  <a:lnTo>
                    <a:pt x="183" y="5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grpSp>
    </p:spTree>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normAutofit lnSpcReduction="10000"/>
          </a:bodyPr>
          <a:lstStyle/>
          <a:p>
            <a:pPr marL="0" lvl="1" indent="0">
              <a:spcBef>
                <a:spcPts val="1350"/>
              </a:spcBef>
              <a:buNone/>
            </a:pPr>
            <a:r>
              <a:rPr lang="en-US" dirty="0">
                <a:solidFill>
                  <a:srgbClr val="00A1DE"/>
                </a:solidFill>
              </a:rPr>
              <a:t>Structured text</a:t>
            </a:r>
            <a:r>
              <a:rPr lang="en-US" dirty="0"/>
              <a:t>				3</a:t>
            </a:r>
          </a:p>
          <a:p>
            <a:pPr marL="0" lvl="1" indent="0">
              <a:spcBef>
                <a:spcPts val="1350"/>
              </a:spcBef>
              <a:buNone/>
            </a:pPr>
            <a:r>
              <a:rPr lang="en-US" dirty="0"/>
              <a:t>Trees					35</a:t>
            </a:r>
          </a:p>
          <a:p>
            <a:pPr marL="0" lvl="1" indent="0">
              <a:spcBef>
                <a:spcPts val="1350"/>
              </a:spcBef>
              <a:buNone/>
            </a:pPr>
            <a:r>
              <a:rPr lang="en-US" dirty="0"/>
              <a:t>Graphs					50</a:t>
            </a:r>
          </a:p>
          <a:p>
            <a:pPr marL="0" lvl="1" indent="0">
              <a:spcBef>
                <a:spcPts val="1350"/>
              </a:spcBef>
              <a:buNone/>
            </a:pPr>
            <a:r>
              <a:rPr lang="en-US" dirty="0"/>
              <a:t>Shapes					93</a:t>
            </a:r>
          </a:p>
          <a:p>
            <a:pPr marL="0" lvl="1" indent="0">
              <a:spcBef>
                <a:spcPts val="1350"/>
              </a:spcBef>
              <a:buNone/>
            </a:pPr>
            <a:r>
              <a:rPr lang="en-US" dirty="0"/>
              <a:t>Maps					117</a:t>
            </a:r>
          </a:p>
          <a:p>
            <a:pPr marL="0" lvl="1" indent="0">
              <a:spcBef>
                <a:spcPts val="1350"/>
              </a:spcBef>
              <a:buNone/>
            </a:pPr>
            <a:r>
              <a:rPr lang="en-US" dirty="0"/>
              <a:t>Special graphics			137</a:t>
            </a:r>
          </a:p>
          <a:p>
            <a:pPr marL="0" lvl="1" indent="0">
              <a:spcBef>
                <a:spcPts val="1350"/>
              </a:spcBef>
              <a:buNone/>
            </a:pPr>
            <a:r>
              <a:rPr lang="en-US" dirty="0"/>
              <a:t>Conceptual charts			164</a:t>
            </a:r>
          </a:p>
          <a:p>
            <a:pPr marL="0" lvl="1" indent="0">
              <a:spcBef>
                <a:spcPts val="1350"/>
              </a:spcBef>
              <a:buNone/>
            </a:pPr>
            <a:r>
              <a:rPr lang="en-US" dirty="0" err="1"/>
              <a:t>Infographics</a:t>
            </a:r>
            <a:r>
              <a:rPr lang="en-US" dirty="0"/>
              <a:t> 				215</a:t>
            </a:r>
          </a:p>
          <a:p>
            <a:pPr marL="0" lvl="1" indent="0">
              <a:spcBef>
                <a:spcPts val="1350"/>
              </a:spcBef>
              <a:buNone/>
            </a:pPr>
            <a:r>
              <a:rPr lang="en-US" dirty="0"/>
              <a:t>Iconography				241</a:t>
            </a:r>
          </a:p>
          <a:p>
            <a:endParaRPr lang="en-US" dirty="0"/>
          </a:p>
        </p:txBody>
      </p:sp>
      <p:sp>
        <p:nvSpPr>
          <p:cNvPr id="6" name="Title 5"/>
          <p:cNvSpPr>
            <a:spLocks noGrp="1"/>
          </p:cNvSpPr>
          <p:nvPr>
            <p:ph type="title"/>
          </p:nvPr>
        </p:nvSpPr>
        <p:spPr>
          <a:xfrm>
            <a:off x="1420585" y="134679"/>
            <a:ext cx="6291000" cy="665422"/>
          </a:xfrm>
        </p:spPr>
        <p:txBody>
          <a:bodyPr>
            <a:normAutofit/>
          </a:bodyPr>
          <a:lstStyle/>
          <a:p>
            <a:r>
              <a:rPr lang="en-US" sz="2250" dirty="0"/>
              <a:t>Contents</a:t>
            </a:r>
          </a:p>
        </p:txBody>
      </p:sp>
    </p:spTree>
    <p:extLst>
      <p:ext uri="{BB962C8B-B14F-4D97-AF65-F5344CB8AC3E}">
        <p14:creationId xmlns:p14="http://schemas.microsoft.com/office/powerpoint/2010/main" val="3367634887"/>
      </p:ext>
    </p:extLst>
  </p:cSld>
  <p:clrMapOvr>
    <a:masterClrMapping/>
  </p:clrMapOvr>
  <p:transition>
    <p:fade/>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7585" name="Title 1"/>
          <p:cNvSpPr>
            <a:spLocks noGrp="1"/>
          </p:cNvSpPr>
          <p:nvPr>
            <p:ph type="title"/>
          </p:nvPr>
        </p:nvSpPr>
        <p:spPr/>
        <p:txBody>
          <a:bodyPr/>
          <a:lstStyle/>
          <a:p>
            <a:r>
              <a:rPr lang="en-US" altLang="ja-JP" dirty="0">
                <a:solidFill>
                  <a:srgbClr val="81BC00"/>
                </a:solidFill>
              </a:rPr>
              <a:t>Maps  </a:t>
            </a:r>
            <a:br>
              <a:rPr lang="en-US" altLang="ja-JP" dirty="0">
                <a:solidFill>
                  <a:srgbClr val="81BC00"/>
                </a:solidFill>
              </a:rPr>
            </a:br>
            <a:r>
              <a:rPr lang="en-US" altLang="ja-JP" dirty="0">
                <a:solidFill>
                  <a:srgbClr val="575757"/>
                </a:solidFill>
              </a:rPr>
              <a:t>Regions</a:t>
            </a:r>
            <a:endParaRPr lang="en-US" dirty="0">
              <a:solidFill>
                <a:srgbClr val="575757"/>
              </a:solidFill>
            </a:endParaRPr>
          </a:p>
        </p:txBody>
      </p:sp>
      <p:sp>
        <p:nvSpPr>
          <p:cNvPr id="61" name="Rectangle 3"/>
          <p:cNvSpPr>
            <a:spLocks noChangeArrowheads="1"/>
          </p:cNvSpPr>
          <p:nvPr/>
        </p:nvSpPr>
        <p:spPr bwMode="auto">
          <a:xfrm>
            <a:off x="5337544" y="1"/>
            <a:ext cx="2663456" cy="600164"/>
          </a:xfrm>
          <a:prstGeom prst="rect">
            <a:avLst/>
          </a:prstGeom>
          <a:solidFill>
            <a:schemeClr val="accent6"/>
          </a:solidFill>
          <a:ln w="6350" algn="ctr">
            <a:solidFill>
              <a:schemeClr val="bg1"/>
            </a:solidFill>
            <a:miter lim="800000"/>
            <a:headEnd/>
            <a:tailEnd/>
          </a:ln>
        </p:spPr>
        <p:txBody>
          <a:bodyPr wrap="square" tIns="68580" bIns="68580">
            <a:spAutoFit/>
          </a:bodyPr>
          <a:lstStyle/>
          <a:p>
            <a:pPr defTabSz="685800">
              <a:buClrTx/>
              <a:defRPr/>
            </a:pPr>
            <a:r>
              <a:rPr lang="en-US" altLang="ja-JP" sz="750" kern="1200" dirty="0">
                <a:solidFill>
                  <a:srgbClr val="313131"/>
                </a:solidFill>
                <a:ea typeface="ＭＳ Ｐゴシック" pitchFamily="50" charset="-128"/>
                <a:cs typeface="+mn-cs"/>
              </a:rPr>
              <a:t>Tip! Click once to select the entire map, and again to select one or more states within it</a:t>
            </a:r>
            <a:br>
              <a:rPr lang="en-US" altLang="ja-JP" sz="750" kern="1200" dirty="0">
                <a:solidFill>
                  <a:srgbClr val="313131"/>
                </a:solidFill>
                <a:ea typeface="ＭＳ Ｐゴシック" pitchFamily="50" charset="-128"/>
                <a:cs typeface="+mn-cs"/>
              </a:rPr>
            </a:br>
            <a:r>
              <a:rPr lang="en-US" altLang="ja-JP" sz="750" kern="1200" dirty="0">
                <a:solidFill>
                  <a:srgbClr val="313131"/>
                </a:solidFill>
                <a:ea typeface="ＭＳ Ｐゴシック" pitchFamily="50" charset="-128"/>
                <a:cs typeface="+mn-cs"/>
              </a:rPr>
              <a:t>Country/regional maps are a representative sample – more will be added</a:t>
            </a:r>
            <a:endParaRPr lang="en-US" sz="750" kern="1200" dirty="0">
              <a:solidFill>
                <a:srgbClr val="313131"/>
              </a:solidFill>
              <a:ea typeface="ＭＳ Ｐゴシック" pitchFamily="50" charset="-128"/>
              <a:cs typeface="+mn-cs"/>
            </a:endParaRPr>
          </a:p>
        </p:txBody>
      </p:sp>
      <p:grpSp>
        <p:nvGrpSpPr>
          <p:cNvPr id="498" name="Group 497"/>
          <p:cNvGrpSpPr/>
          <p:nvPr/>
        </p:nvGrpSpPr>
        <p:grpSpPr>
          <a:xfrm>
            <a:off x="1965857" y="1457462"/>
            <a:ext cx="5359004" cy="3359944"/>
            <a:chOff x="1998663" y="1232329"/>
            <a:chExt cx="7145338" cy="4479925"/>
          </a:xfrm>
        </p:grpSpPr>
        <p:sp>
          <p:nvSpPr>
            <p:cNvPr id="499" name="Freeform 5"/>
            <p:cNvSpPr>
              <a:spLocks/>
            </p:cNvSpPr>
            <p:nvPr/>
          </p:nvSpPr>
          <p:spPr bwMode="auto">
            <a:xfrm>
              <a:off x="3595688" y="2173716"/>
              <a:ext cx="71438" cy="42863"/>
            </a:xfrm>
            <a:custGeom>
              <a:avLst/>
              <a:gdLst>
                <a:gd name="T0" fmla="*/ 45 w 45"/>
                <a:gd name="T1" fmla="*/ 17 h 27"/>
                <a:gd name="T2" fmla="*/ 45 w 45"/>
                <a:gd name="T3" fmla="*/ 17 h 27"/>
                <a:gd name="T4" fmla="*/ 45 w 45"/>
                <a:gd name="T5" fmla="*/ 14 h 27"/>
                <a:gd name="T6" fmla="*/ 44 w 45"/>
                <a:gd name="T7" fmla="*/ 11 h 27"/>
                <a:gd name="T8" fmla="*/ 42 w 45"/>
                <a:gd name="T9" fmla="*/ 10 h 27"/>
                <a:gd name="T10" fmla="*/ 42 w 45"/>
                <a:gd name="T11" fmla="*/ 7 h 27"/>
                <a:gd name="T12" fmla="*/ 42 w 45"/>
                <a:gd name="T13" fmla="*/ 7 h 27"/>
                <a:gd name="T14" fmla="*/ 42 w 45"/>
                <a:gd name="T15" fmla="*/ 4 h 27"/>
                <a:gd name="T16" fmla="*/ 41 w 45"/>
                <a:gd name="T17" fmla="*/ 1 h 27"/>
                <a:gd name="T18" fmla="*/ 39 w 45"/>
                <a:gd name="T19" fmla="*/ 0 h 27"/>
                <a:gd name="T20" fmla="*/ 36 w 45"/>
                <a:gd name="T21" fmla="*/ 0 h 27"/>
                <a:gd name="T22" fmla="*/ 36 w 45"/>
                <a:gd name="T23" fmla="*/ 0 h 27"/>
                <a:gd name="T24" fmla="*/ 26 w 45"/>
                <a:gd name="T25" fmla="*/ 4 h 27"/>
                <a:gd name="T26" fmla="*/ 15 w 45"/>
                <a:gd name="T27" fmla="*/ 9 h 27"/>
                <a:gd name="T28" fmla="*/ 15 w 45"/>
                <a:gd name="T29" fmla="*/ 9 h 27"/>
                <a:gd name="T30" fmla="*/ 12 w 45"/>
                <a:gd name="T31" fmla="*/ 11 h 27"/>
                <a:gd name="T32" fmla="*/ 9 w 45"/>
                <a:gd name="T33" fmla="*/ 14 h 27"/>
                <a:gd name="T34" fmla="*/ 6 w 45"/>
                <a:gd name="T35" fmla="*/ 19 h 27"/>
                <a:gd name="T36" fmla="*/ 6 w 45"/>
                <a:gd name="T37" fmla="*/ 19 h 27"/>
                <a:gd name="T38" fmla="*/ 2 w 45"/>
                <a:gd name="T39" fmla="*/ 22 h 27"/>
                <a:gd name="T40" fmla="*/ 0 w 45"/>
                <a:gd name="T41" fmla="*/ 23 h 27"/>
                <a:gd name="T42" fmla="*/ 0 w 45"/>
                <a:gd name="T43" fmla="*/ 24 h 27"/>
                <a:gd name="T44" fmla="*/ 0 w 45"/>
                <a:gd name="T45" fmla="*/ 24 h 27"/>
                <a:gd name="T46" fmla="*/ 3 w 45"/>
                <a:gd name="T47" fmla="*/ 26 h 27"/>
                <a:gd name="T48" fmla="*/ 7 w 45"/>
                <a:gd name="T49" fmla="*/ 26 h 27"/>
                <a:gd name="T50" fmla="*/ 13 w 45"/>
                <a:gd name="T51" fmla="*/ 27 h 27"/>
                <a:gd name="T52" fmla="*/ 18 w 45"/>
                <a:gd name="T53" fmla="*/ 26 h 27"/>
                <a:gd name="T54" fmla="*/ 18 w 45"/>
                <a:gd name="T55" fmla="*/ 26 h 27"/>
                <a:gd name="T56" fmla="*/ 25 w 45"/>
                <a:gd name="T57" fmla="*/ 23 h 27"/>
                <a:gd name="T58" fmla="*/ 29 w 45"/>
                <a:gd name="T59" fmla="*/ 22 h 27"/>
                <a:gd name="T60" fmla="*/ 32 w 45"/>
                <a:gd name="T61" fmla="*/ 20 h 27"/>
                <a:gd name="T62" fmla="*/ 32 w 45"/>
                <a:gd name="T63" fmla="*/ 20 h 27"/>
                <a:gd name="T64" fmla="*/ 41 w 45"/>
                <a:gd name="T65" fmla="*/ 20 h 27"/>
                <a:gd name="T66" fmla="*/ 44 w 45"/>
                <a:gd name="T67" fmla="*/ 19 h 27"/>
                <a:gd name="T68" fmla="*/ 45 w 45"/>
                <a:gd name="T69"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 h="27">
                  <a:moveTo>
                    <a:pt x="45" y="17"/>
                  </a:moveTo>
                  <a:lnTo>
                    <a:pt x="45" y="17"/>
                  </a:lnTo>
                  <a:lnTo>
                    <a:pt x="45" y="14"/>
                  </a:lnTo>
                  <a:lnTo>
                    <a:pt x="44" y="11"/>
                  </a:lnTo>
                  <a:lnTo>
                    <a:pt x="42" y="10"/>
                  </a:lnTo>
                  <a:lnTo>
                    <a:pt x="42" y="7"/>
                  </a:lnTo>
                  <a:lnTo>
                    <a:pt x="42" y="7"/>
                  </a:lnTo>
                  <a:lnTo>
                    <a:pt x="42" y="4"/>
                  </a:lnTo>
                  <a:lnTo>
                    <a:pt x="41" y="1"/>
                  </a:lnTo>
                  <a:lnTo>
                    <a:pt x="39" y="0"/>
                  </a:lnTo>
                  <a:lnTo>
                    <a:pt x="36" y="0"/>
                  </a:lnTo>
                  <a:lnTo>
                    <a:pt x="36" y="0"/>
                  </a:lnTo>
                  <a:lnTo>
                    <a:pt x="26" y="4"/>
                  </a:lnTo>
                  <a:lnTo>
                    <a:pt x="15" y="9"/>
                  </a:lnTo>
                  <a:lnTo>
                    <a:pt x="15" y="9"/>
                  </a:lnTo>
                  <a:lnTo>
                    <a:pt x="12" y="11"/>
                  </a:lnTo>
                  <a:lnTo>
                    <a:pt x="9" y="14"/>
                  </a:lnTo>
                  <a:lnTo>
                    <a:pt x="6" y="19"/>
                  </a:lnTo>
                  <a:lnTo>
                    <a:pt x="6" y="19"/>
                  </a:lnTo>
                  <a:lnTo>
                    <a:pt x="2" y="22"/>
                  </a:lnTo>
                  <a:lnTo>
                    <a:pt x="0" y="23"/>
                  </a:lnTo>
                  <a:lnTo>
                    <a:pt x="0" y="24"/>
                  </a:lnTo>
                  <a:lnTo>
                    <a:pt x="0" y="24"/>
                  </a:lnTo>
                  <a:lnTo>
                    <a:pt x="3" y="26"/>
                  </a:lnTo>
                  <a:lnTo>
                    <a:pt x="7" y="26"/>
                  </a:lnTo>
                  <a:lnTo>
                    <a:pt x="13" y="27"/>
                  </a:lnTo>
                  <a:lnTo>
                    <a:pt x="18" y="26"/>
                  </a:lnTo>
                  <a:lnTo>
                    <a:pt x="18" y="26"/>
                  </a:lnTo>
                  <a:lnTo>
                    <a:pt x="25" y="23"/>
                  </a:lnTo>
                  <a:lnTo>
                    <a:pt x="29" y="22"/>
                  </a:lnTo>
                  <a:lnTo>
                    <a:pt x="32" y="20"/>
                  </a:lnTo>
                  <a:lnTo>
                    <a:pt x="32" y="20"/>
                  </a:lnTo>
                  <a:lnTo>
                    <a:pt x="41" y="20"/>
                  </a:lnTo>
                  <a:lnTo>
                    <a:pt x="44" y="19"/>
                  </a:lnTo>
                  <a:lnTo>
                    <a:pt x="45" y="17"/>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00" name="Freeform 6"/>
            <p:cNvSpPr>
              <a:spLocks/>
            </p:cNvSpPr>
            <p:nvPr/>
          </p:nvSpPr>
          <p:spPr bwMode="auto">
            <a:xfrm>
              <a:off x="3595688" y="2173716"/>
              <a:ext cx="71438" cy="42863"/>
            </a:xfrm>
            <a:custGeom>
              <a:avLst/>
              <a:gdLst>
                <a:gd name="T0" fmla="*/ 45 w 45"/>
                <a:gd name="T1" fmla="*/ 17 h 27"/>
                <a:gd name="T2" fmla="*/ 45 w 45"/>
                <a:gd name="T3" fmla="*/ 17 h 27"/>
                <a:gd name="T4" fmla="*/ 45 w 45"/>
                <a:gd name="T5" fmla="*/ 14 h 27"/>
                <a:gd name="T6" fmla="*/ 44 w 45"/>
                <a:gd name="T7" fmla="*/ 11 h 27"/>
                <a:gd name="T8" fmla="*/ 42 w 45"/>
                <a:gd name="T9" fmla="*/ 10 h 27"/>
                <a:gd name="T10" fmla="*/ 42 w 45"/>
                <a:gd name="T11" fmla="*/ 7 h 27"/>
                <a:gd name="T12" fmla="*/ 42 w 45"/>
                <a:gd name="T13" fmla="*/ 7 h 27"/>
                <a:gd name="T14" fmla="*/ 42 w 45"/>
                <a:gd name="T15" fmla="*/ 4 h 27"/>
                <a:gd name="T16" fmla="*/ 41 w 45"/>
                <a:gd name="T17" fmla="*/ 1 h 27"/>
                <a:gd name="T18" fmla="*/ 39 w 45"/>
                <a:gd name="T19" fmla="*/ 0 h 27"/>
                <a:gd name="T20" fmla="*/ 36 w 45"/>
                <a:gd name="T21" fmla="*/ 0 h 27"/>
                <a:gd name="T22" fmla="*/ 36 w 45"/>
                <a:gd name="T23" fmla="*/ 0 h 27"/>
                <a:gd name="T24" fmla="*/ 26 w 45"/>
                <a:gd name="T25" fmla="*/ 4 h 27"/>
                <a:gd name="T26" fmla="*/ 15 w 45"/>
                <a:gd name="T27" fmla="*/ 9 h 27"/>
                <a:gd name="T28" fmla="*/ 15 w 45"/>
                <a:gd name="T29" fmla="*/ 9 h 27"/>
                <a:gd name="T30" fmla="*/ 12 w 45"/>
                <a:gd name="T31" fmla="*/ 11 h 27"/>
                <a:gd name="T32" fmla="*/ 9 w 45"/>
                <a:gd name="T33" fmla="*/ 14 h 27"/>
                <a:gd name="T34" fmla="*/ 6 w 45"/>
                <a:gd name="T35" fmla="*/ 19 h 27"/>
                <a:gd name="T36" fmla="*/ 6 w 45"/>
                <a:gd name="T37" fmla="*/ 19 h 27"/>
                <a:gd name="T38" fmla="*/ 2 w 45"/>
                <a:gd name="T39" fmla="*/ 22 h 27"/>
                <a:gd name="T40" fmla="*/ 0 w 45"/>
                <a:gd name="T41" fmla="*/ 23 h 27"/>
                <a:gd name="T42" fmla="*/ 0 w 45"/>
                <a:gd name="T43" fmla="*/ 24 h 27"/>
                <a:gd name="T44" fmla="*/ 0 w 45"/>
                <a:gd name="T45" fmla="*/ 24 h 27"/>
                <a:gd name="T46" fmla="*/ 3 w 45"/>
                <a:gd name="T47" fmla="*/ 26 h 27"/>
                <a:gd name="T48" fmla="*/ 7 w 45"/>
                <a:gd name="T49" fmla="*/ 26 h 27"/>
                <a:gd name="T50" fmla="*/ 13 w 45"/>
                <a:gd name="T51" fmla="*/ 27 h 27"/>
                <a:gd name="T52" fmla="*/ 18 w 45"/>
                <a:gd name="T53" fmla="*/ 26 h 27"/>
                <a:gd name="T54" fmla="*/ 18 w 45"/>
                <a:gd name="T55" fmla="*/ 26 h 27"/>
                <a:gd name="T56" fmla="*/ 25 w 45"/>
                <a:gd name="T57" fmla="*/ 23 h 27"/>
                <a:gd name="T58" fmla="*/ 29 w 45"/>
                <a:gd name="T59" fmla="*/ 22 h 27"/>
                <a:gd name="T60" fmla="*/ 32 w 45"/>
                <a:gd name="T61" fmla="*/ 20 h 27"/>
                <a:gd name="T62" fmla="*/ 32 w 45"/>
                <a:gd name="T63" fmla="*/ 20 h 27"/>
                <a:gd name="T64" fmla="*/ 41 w 45"/>
                <a:gd name="T65" fmla="*/ 20 h 27"/>
                <a:gd name="T66" fmla="*/ 44 w 45"/>
                <a:gd name="T67" fmla="*/ 19 h 27"/>
                <a:gd name="T68" fmla="*/ 45 w 45"/>
                <a:gd name="T69"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 h="27">
                  <a:moveTo>
                    <a:pt x="45" y="17"/>
                  </a:moveTo>
                  <a:lnTo>
                    <a:pt x="45" y="17"/>
                  </a:lnTo>
                  <a:lnTo>
                    <a:pt x="45" y="14"/>
                  </a:lnTo>
                  <a:lnTo>
                    <a:pt x="44" y="11"/>
                  </a:lnTo>
                  <a:lnTo>
                    <a:pt x="42" y="10"/>
                  </a:lnTo>
                  <a:lnTo>
                    <a:pt x="42" y="7"/>
                  </a:lnTo>
                  <a:lnTo>
                    <a:pt x="42" y="7"/>
                  </a:lnTo>
                  <a:lnTo>
                    <a:pt x="42" y="4"/>
                  </a:lnTo>
                  <a:lnTo>
                    <a:pt x="41" y="1"/>
                  </a:lnTo>
                  <a:lnTo>
                    <a:pt x="39" y="0"/>
                  </a:lnTo>
                  <a:lnTo>
                    <a:pt x="36" y="0"/>
                  </a:lnTo>
                  <a:lnTo>
                    <a:pt x="36" y="0"/>
                  </a:lnTo>
                  <a:lnTo>
                    <a:pt x="26" y="4"/>
                  </a:lnTo>
                  <a:lnTo>
                    <a:pt x="15" y="9"/>
                  </a:lnTo>
                  <a:lnTo>
                    <a:pt x="15" y="9"/>
                  </a:lnTo>
                  <a:lnTo>
                    <a:pt x="12" y="11"/>
                  </a:lnTo>
                  <a:lnTo>
                    <a:pt x="9" y="14"/>
                  </a:lnTo>
                  <a:lnTo>
                    <a:pt x="6" y="19"/>
                  </a:lnTo>
                  <a:lnTo>
                    <a:pt x="6" y="19"/>
                  </a:lnTo>
                  <a:lnTo>
                    <a:pt x="2" y="22"/>
                  </a:lnTo>
                  <a:lnTo>
                    <a:pt x="0" y="23"/>
                  </a:lnTo>
                  <a:lnTo>
                    <a:pt x="0" y="24"/>
                  </a:lnTo>
                  <a:lnTo>
                    <a:pt x="0" y="24"/>
                  </a:lnTo>
                  <a:lnTo>
                    <a:pt x="3" y="26"/>
                  </a:lnTo>
                  <a:lnTo>
                    <a:pt x="7" y="26"/>
                  </a:lnTo>
                  <a:lnTo>
                    <a:pt x="13" y="27"/>
                  </a:lnTo>
                  <a:lnTo>
                    <a:pt x="18" y="26"/>
                  </a:lnTo>
                  <a:lnTo>
                    <a:pt x="18" y="26"/>
                  </a:lnTo>
                  <a:lnTo>
                    <a:pt x="25" y="23"/>
                  </a:lnTo>
                  <a:lnTo>
                    <a:pt x="29" y="22"/>
                  </a:lnTo>
                  <a:lnTo>
                    <a:pt x="32" y="20"/>
                  </a:lnTo>
                  <a:lnTo>
                    <a:pt x="32" y="20"/>
                  </a:lnTo>
                  <a:lnTo>
                    <a:pt x="41" y="20"/>
                  </a:lnTo>
                  <a:lnTo>
                    <a:pt x="44" y="19"/>
                  </a:lnTo>
                  <a:lnTo>
                    <a:pt x="45"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01" name="Freeform 7"/>
            <p:cNvSpPr>
              <a:spLocks/>
            </p:cNvSpPr>
            <p:nvPr/>
          </p:nvSpPr>
          <p:spPr bwMode="auto">
            <a:xfrm>
              <a:off x="3598863" y="2143554"/>
              <a:ext cx="57150" cy="34925"/>
            </a:xfrm>
            <a:custGeom>
              <a:avLst/>
              <a:gdLst>
                <a:gd name="T0" fmla="*/ 34 w 36"/>
                <a:gd name="T1" fmla="*/ 12 h 22"/>
                <a:gd name="T2" fmla="*/ 34 w 36"/>
                <a:gd name="T3" fmla="*/ 12 h 22"/>
                <a:gd name="T4" fmla="*/ 21 w 36"/>
                <a:gd name="T5" fmla="*/ 19 h 22"/>
                <a:gd name="T6" fmla="*/ 13 w 36"/>
                <a:gd name="T7" fmla="*/ 22 h 22"/>
                <a:gd name="T8" fmla="*/ 10 w 36"/>
                <a:gd name="T9" fmla="*/ 22 h 22"/>
                <a:gd name="T10" fmla="*/ 7 w 36"/>
                <a:gd name="T11" fmla="*/ 22 h 22"/>
                <a:gd name="T12" fmla="*/ 7 w 36"/>
                <a:gd name="T13" fmla="*/ 22 h 22"/>
                <a:gd name="T14" fmla="*/ 3 w 36"/>
                <a:gd name="T15" fmla="*/ 19 h 22"/>
                <a:gd name="T16" fmla="*/ 1 w 36"/>
                <a:gd name="T17" fmla="*/ 16 h 22"/>
                <a:gd name="T18" fmla="*/ 0 w 36"/>
                <a:gd name="T19" fmla="*/ 13 h 22"/>
                <a:gd name="T20" fmla="*/ 3 w 36"/>
                <a:gd name="T21" fmla="*/ 12 h 22"/>
                <a:gd name="T22" fmla="*/ 3 w 36"/>
                <a:gd name="T23" fmla="*/ 12 h 22"/>
                <a:gd name="T24" fmla="*/ 5 w 36"/>
                <a:gd name="T25" fmla="*/ 9 h 22"/>
                <a:gd name="T26" fmla="*/ 7 w 36"/>
                <a:gd name="T27" fmla="*/ 7 h 22"/>
                <a:gd name="T28" fmla="*/ 7 w 36"/>
                <a:gd name="T29" fmla="*/ 7 h 22"/>
                <a:gd name="T30" fmla="*/ 13 w 36"/>
                <a:gd name="T31" fmla="*/ 1 h 22"/>
                <a:gd name="T32" fmla="*/ 16 w 36"/>
                <a:gd name="T33" fmla="*/ 0 h 22"/>
                <a:gd name="T34" fmla="*/ 20 w 36"/>
                <a:gd name="T35" fmla="*/ 0 h 22"/>
                <a:gd name="T36" fmla="*/ 20 w 36"/>
                <a:gd name="T37" fmla="*/ 0 h 22"/>
                <a:gd name="T38" fmla="*/ 30 w 36"/>
                <a:gd name="T39" fmla="*/ 4 h 22"/>
                <a:gd name="T40" fmla="*/ 34 w 36"/>
                <a:gd name="T41" fmla="*/ 9 h 22"/>
                <a:gd name="T42" fmla="*/ 36 w 36"/>
                <a:gd name="T43" fmla="*/ 10 h 22"/>
                <a:gd name="T44" fmla="*/ 34 w 36"/>
                <a:gd name="T45"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2">
                  <a:moveTo>
                    <a:pt x="34" y="12"/>
                  </a:moveTo>
                  <a:lnTo>
                    <a:pt x="34" y="12"/>
                  </a:lnTo>
                  <a:lnTo>
                    <a:pt x="21" y="19"/>
                  </a:lnTo>
                  <a:lnTo>
                    <a:pt x="13" y="22"/>
                  </a:lnTo>
                  <a:lnTo>
                    <a:pt x="10" y="22"/>
                  </a:lnTo>
                  <a:lnTo>
                    <a:pt x="7" y="22"/>
                  </a:lnTo>
                  <a:lnTo>
                    <a:pt x="7" y="22"/>
                  </a:lnTo>
                  <a:lnTo>
                    <a:pt x="3" y="19"/>
                  </a:lnTo>
                  <a:lnTo>
                    <a:pt x="1" y="16"/>
                  </a:lnTo>
                  <a:lnTo>
                    <a:pt x="0" y="13"/>
                  </a:lnTo>
                  <a:lnTo>
                    <a:pt x="3" y="12"/>
                  </a:lnTo>
                  <a:lnTo>
                    <a:pt x="3" y="12"/>
                  </a:lnTo>
                  <a:lnTo>
                    <a:pt x="5" y="9"/>
                  </a:lnTo>
                  <a:lnTo>
                    <a:pt x="7" y="7"/>
                  </a:lnTo>
                  <a:lnTo>
                    <a:pt x="7" y="7"/>
                  </a:lnTo>
                  <a:lnTo>
                    <a:pt x="13" y="1"/>
                  </a:lnTo>
                  <a:lnTo>
                    <a:pt x="16" y="0"/>
                  </a:lnTo>
                  <a:lnTo>
                    <a:pt x="20" y="0"/>
                  </a:lnTo>
                  <a:lnTo>
                    <a:pt x="20" y="0"/>
                  </a:lnTo>
                  <a:lnTo>
                    <a:pt x="30" y="4"/>
                  </a:lnTo>
                  <a:lnTo>
                    <a:pt x="34" y="9"/>
                  </a:lnTo>
                  <a:lnTo>
                    <a:pt x="36" y="10"/>
                  </a:lnTo>
                  <a:lnTo>
                    <a:pt x="34" y="12"/>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02" name="Freeform 8"/>
            <p:cNvSpPr>
              <a:spLocks/>
            </p:cNvSpPr>
            <p:nvPr/>
          </p:nvSpPr>
          <p:spPr bwMode="auto">
            <a:xfrm>
              <a:off x="3598863" y="2143554"/>
              <a:ext cx="57150" cy="34925"/>
            </a:xfrm>
            <a:custGeom>
              <a:avLst/>
              <a:gdLst>
                <a:gd name="T0" fmla="*/ 34 w 36"/>
                <a:gd name="T1" fmla="*/ 12 h 22"/>
                <a:gd name="T2" fmla="*/ 34 w 36"/>
                <a:gd name="T3" fmla="*/ 12 h 22"/>
                <a:gd name="T4" fmla="*/ 21 w 36"/>
                <a:gd name="T5" fmla="*/ 19 h 22"/>
                <a:gd name="T6" fmla="*/ 13 w 36"/>
                <a:gd name="T7" fmla="*/ 22 h 22"/>
                <a:gd name="T8" fmla="*/ 10 w 36"/>
                <a:gd name="T9" fmla="*/ 22 h 22"/>
                <a:gd name="T10" fmla="*/ 7 w 36"/>
                <a:gd name="T11" fmla="*/ 22 h 22"/>
                <a:gd name="T12" fmla="*/ 7 w 36"/>
                <a:gd name="T13" fmla="*/ 22 h 22"/>
                <a:gd name="T14" fmla="*/ 3 w 36"/>
                <a:gd name="T15" fmla="*/ 19 h 22"/>
                <a:gd name="T16" fmla="*/ 1 w 36"/>
                <a:gd name="T17" fmla="*/ 16 h 22"/>
                <a:gd name="T18" fmla="*/ 0 w 36"/>
                <a:gd name="T19" fmla="*/ 13 h 22"/>
                <a:gd name="T20" fmla="*/ 3 w 36"/>
                <a:gd name="T21" fmla="*/ 12 h 22"/>
                <a:gd name="T22" fmla="*/ 3 w 36"/>
                <a:gd name="T23" fmla="*/ 12 h 22"/>
                <a:gd name="T24" fmla="*/ 5 w 36"/>
                <a:gd name="T25" fmla="*/ 9 h 22"/>
                <a:gd name="T26" fmla="*/ 7 w 36"/>
                <a:gd name="T27" fmla="*/ 7 h 22"/>
                <a:gd name="T28" fmla="*/ 7 w 36"/>
                <a:gd name="T29" fmla="*/ 7 h 22"/>
                <a:gd name="T30" fmla="*/ 13 w 36"/>
                <a:gd name="T31" fmla="*/ 1 h 22"/>
                <a:gd name="T32" fmla="*/ 16 w 36"/>
                <a:gd name="T33" fmla="*/ 0 h 22"/>
                <a:gd name="T34" fmla="*/ 20 w 36"/>
                <a:gd name="T35" fmla="*/ 0 h 22"/>
                <a:gd name="T36" fmla="*/ 20 w 36"/>
                <a:gd name="T37" fmla="*/ 0 h 22"/>
                <a:gd name="T38" fmla="*/ 30 w 36"/>
                <a:gd name="T39" fmla="*/ 4 h 22"/>
                <a:gd name="T40" fmla="*/ 34 w 36"/>
                <a:gd name="T41" fmla="*/ 9 h 22"/>
                <a:gd name="T42" fmla="*/ 36 w 36"/>
                <a:gd name="T43" fmla="*/ 10 h 22"/>
                <a:gd name="T44" fmla="*/ 34 w 36"/>
                <a:gd name="T45"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2">
                  <a:moveTo>
                    <a:pt x="34" y="12"/>
                  </a:moveTo>
                  <a:lnTo>
                    <a:pt x="34" y="12"/>
                  </a:lnTo>
                  <a:lnTo>
                    <a:pt x="21" y="19"/>
                  </a:lnTo>
                  <a:lnTo>
                    <a:pt x="13" y="22"/>
                  </a:lnTo>
                  <a:lnTo>
                    <a:pt x="10" y="22"/>
                  </a:lnTo>
                  <a:lnTo>
                    <a:pt x="7" y="22"/>
                  </a:lnTo>
                  <a:lnTo>
                    <a:pt x="7" y="22"/>
                  </a:lnTo>
                  <a:lnTo>
                    <a:pt x="3" y="19"/>
                  </a:lnTo>
                  <a:lnTo>
                    <a:pt x="1" y="16"/>
                  </a:lnTo>
                  <a:lnTo>
                    <a:pt x="0" y="13"/>
                  </a:lnTo>
                  <a:lnTo>
                    <a:pt x="3" y="12"/>
                  </a:lnTo>
                  <a:lnTo>
                    <a:pt x="3" y="12"/>
                  </a:lnTo>
                  <a:lnTo>
                    <a:pt x="5" y="9"/>
                  </a:lnTo>
                  <a:lnTo>
                    <a:pt x="7" y="7"/>
                  </a:lnTo>
                  <a:lnTo>
                    <a:pt x="7" y="7"/>
                  </a:lnTo>
                  <a:lnTo>
                    <a:pt x="13" y="1"/>
                  </a:lnTo>
                  <a:lnTo>
                    <a:pt x="16" y="0"/>
                  </a:lnTo>
                  <a:lnTo>
                    <a:pt x="20" y="0"/>
                  </a:lnTo>
                  <a:lnTo>
                    <a:pt x="20" y="0"/>
                  </a:lnTo>
                  <a:lnTo>
                    <a:pt x="30" y="4"/>
                  </a:lnTo>
                  <a:lnTo>
                    <a:pt x="34" y="9"/>
                  </a:lnTo>
                  <a:lnTo>
                    <a:pt x="36" y="10"/>
                  </a:lnTo>
                  <a:lnTo>
                    <a:pt x="34"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03" name="Freeform 9"/>
            <p:cNvSpPr>
              <a:spLocks/>
            </p:cNvSpPr>
            <p:nvPr/>
          </p:nvSpPr>
          <p:spPr bwMode="auto">
            <a:xfrm>
              <a:off x="3683000" y="1994329"/>
              <a:ext cx="60325" cy="76200"/>
            </a:xfrm>
            <a:custGeom>
              <a:avLst/>
              <a:gdLst>
                <a:gd name="T0" fmla="*/ 35 w 38"/>
                <a:gd name="T1" fmla="*/ 48 h 48"/>
                <a:gd name="T2" fmla="*/ 35 w 38"/>
                <a:gd name="T3" fmla="*/ 48 h 48"/>
                <a:gd name="T4" fmla="*/ 28 w 38"/>
                <a:gd name="T5" fmla="*/ 43 h 48"/>
                <a:gd name="T6" fmla="*/ 18 w 38"/>
                <a:gd name="T7" fmla="*/ 38 h 48"/>
                <a:gd name="T8" fmla="*/ 7 w 38"/>
                <a:gd name="T9" fmla="*/ 30 h 48"/>
                <a:gd name="T10" fmla="*/ 3 w 38"/>
                <a:gd name="T11" fmla="*/ 25 h 48"/>
                <a:gd name="T12" fmla="*/ 3 w 38"/>
                <a:gd name="T13" fmla="*/ 25 h 48"/>
                <a:gd name="T14" fmla="*/ 2 w 38"/>
                <a:gd name="T15" fmla="*/ 16 h 48"/>
                <a:gd name="T16" fmla="*/ 0 w 38"/>
                <a:gd name="T17" fmla="*/ 11 h 48"/>
                <a:gd name="T18" fmla="*/ 0 w 38"/>
                <a:gd name="T19" fmla="*/ 10 h 48"/>
                <a:gd name="T20" fmla="*/ 0 w 38"/>
                <a:gd name="T21" fmla="*/ 10 h 48"/>
                <a:gd name="T22" fmla="*/ 5 w 38"/>
                <a:gd name="T23" fmla="*/ 9 h 48"/>
                <a:gd name="T24" fmla="*/ 6 w 38"/>
                <a:gd name="T25" fmla="*/ 7 h 48"/>
                <a:gd name="T26" fmla="*/ 6 w 38"/>
                <a:gd name="T27" fmla="*/ 7 h 48"/>
                <a:gd name="T28" fmla="*/ 6 w 38"/>
                <a:gd name="T29" fmla="*/ 7 h 48"/>
                <a:gd name="T30" fmla="*/ 2 w 38"/>
                <a:gd name="T31" fmla="*/ 4 h 48"/>
                <a:gd name="T32" fmla="*/ 0 w 38"/>
                <a:gd name="T33" fmla="*/ 3 h 48"/>
                <a:gd name="T34" fmla="*/ 3 w 38"/>
                <a:gd name="T35" fmla="*/ 3 h 48"/>
                <a:gd name="T36" fmla="*/ 3 w 38"/>
                <a:gd name="T37" fmla="*/ 3 h 48"/>
                <a:gd name="T38" fmla="*/ 9 w 38"/>
                <a:gd name="T39" fmla="*/ 0 h 48"/>
                <a:gd name="T40" fmla="*/ 19 w 38"/>
                <a:gd name="T41" fmla="*/ 0 h 48"/>
                <a:gd name="T42" fmla="*/ 29 w 38"/>
                <a:gd name="T43" fmla="*/ 0 h 48"/>
                <a:gd name="T44" fmla="*/ 32 w 38"/>
                <a:gd name="T45" fmla="*/ 0 h 48"/>
                <a:gd name="T46" fmla="*/ 34 w 38"/>
                <a:gd name="T47" fmla="*/ 1 h 48"/>
                <a:gd name="T48" fmla="*/ 34 w 38"/>
                <a:gd name="T49" fmla="*/ 1 h 48"/>
                <a:gd name="T50" fmla="*/ 35 w 38"/>
                <a:gd name="T51" fmla="*/ 10 h 48"/>
                <a:gd name="T52" fmla="*/ 34 w 38"/>
                <a:gd name="T53" fmla="*/ 14 h 48"/>
                <a:gd name="T54" fmla="*/ 32 w 38"/>
                <a:gd name="T55" fmla="*/ 14 h 48"/>
                <a:gd name="T56" fmla="*/ 31 w 38"/>
                <a:gd name="T57" fmla="*/ 16 h 48"/>
                <a:gd name="T58" fmla="*/ 31 w 38"/>
                <a:gd name="T59" fmla="*/ 16 h 48"/>
                <a:gd name="T60" fmla="*/ 26 w 38"/>
                <a:gd name="T61" fmla="*/ 11 h 48"/>
                <a:gd name="T62" fmla="*/ 22 w 38"/>
                <a:gd name="T63" fmla="*/ 10 h 48"/>
                <a:gd name="T64" fmla="*/ 22 w 38"/>
                <a:gd name="T65" fmla="*/ 10 h 48"/>
                <a:gd name="T66" fmla="*/ 18 w 38"/>
                <a:gd name="T67" fmla="*/ 9 h 48"/>
                <a:gd name="T68" fmla="*/ 15 w 38"/>
                <a:gd name="T69" fmla="*/ 9 h 48"/>
                <a:gd name="T70" fmla="*/ 13 w 38"/>
                <a:gd name="T71" fmla="*/ 10 h 48"/>
                <a:gd name="T72" fmla="*/ 13 w 38"/>
                <a:gd name="T73" fmla="*/ 10 h 48"/>
                <a:gd name="T74" fmla="*/ 15 w 38"/>
                <a:gd name="T75" fmla="*/ 11 h 48"/>
                <a:gd name="T76" fmla="*/ 18 w 38"/>
                <a:gd name="T77" fmla="*/ 14 h 48"/>
                <a:gd name="T78" fmla="*/ 23 w 38"/>
                <a:gd name="T79" fmla="*/ 20 h 48"/>
                <a:gd name="T80" fmla="*/ 23 w 38"/>
                <a:gd name="T81" fmla="*/ 20 h 48"/>
                <a:gd name="T82" fmla="*/ 32 w 38"/>
                <a:gd name="T83" fmla="*/ 29 h 48"/>
                <a:gd name="T84" fmla="*/ 35 w 38"/>
                <a:gd name="T85" fmla="*/ 33 h 48"/>
                <a:gd name="T86" fmla="*/ 36 w 38"/>
                <a:gd name="T87" fmla="*/ 36 h 48"/>
                <a:gd name="T88" fmla="*/ 36 w 38"/>
                <a:gd name="T89" fmla="*/ 36 h 48"/>
                <a:gd name="T90" fmla="*/ 32 w 38"/>
                <a:gd name="T91" fmla="*/ 36 h 48"/>
                <a:gd name="T92" fmla="*/ 31 w 38"/>
                <a:gd name="T93" fmla="*/ 36 h 48"/>
                <a:gd name="T94" fmla="*/ 31 w 38"/>
                <a:gd name="T95" fmla="*/ 38 h 48"/>
                <a:gd name="T96" fmla="*/ 31 w 38"/>
                <a:gd name="T97" fmla="*/ 38 h 48"/>
                <a:gd name="T98" fmla="*/ 36 w 38"/>
                <a:gd name="T99" fmla="*/ 43 h 48"/>
                <a:gd name="T100" fmla="*/ 38 w 38"/>
                <a:gd name="T101" fmla="*/ 46 h 48"/>
                <a:gd name="T102" fmla="*/ 38 w 38"/>
                <a:gd name="T103" fmla="*/ 48 h 48"/>
                <a:gd name="T104" fmla="*/ 35 w 38"/>
                <a:gd name="T10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8" h="48">
                  <a:moveTo>
                    <a:pt x="35" y="48"/>
                  </a:moveTo>
                  <a:lnTo>
                    <a:pt x="35" y="48"/>
                  </a:lnTo>
                  <a:lnTo>
                    <a:pt x="28" y="43"/>
                  </a:lnTo>
                  <a:lnTo>
                    <a:pt x="18" y="38"/>
                  </a:lnTo>
                  <a:lnTo>
                    <a:pt x="7" y="30"/>
                  </a:lnTo>
                  <a:lnTo>
                    <a:pt x="3" y="25"/>
                  </a:lnTo>
                  <a:lnTo>
                    <a:pt x="3" y="25"/>
                  </a:lnTo>
                  <a:lnTo>
                    <a:pt x="2" y="16"/>
                  </a:lnTo>
                  <a:lnTo>
                    <a:pt x="0" y="11"/>
                  </a:lnTo>
                  <a:lnTo>
                    <a:pt x="0" y="10"/>
                  </a:lnTo>
                  <a:lnTo>
                    <a:pt x="0" y="10"/>
                  </a:lnTo>
                  <a:lnTo>
                    <a:pt x="5" y="9"/>
                  </a:lnTo>
                  <a:lnTo>
                    <a:pt x="6" y="7"/>
                  </a:lnTo>
                  <a:lnTo>
                    <a:pt x="6" y="7"/>
                  </a:lnTo>
                  <a:lnTo>
                    <a:pt x="6" y="7"/>
                  </a:lnTo>
                  <a:lnTo>
                    <a:pt x="2" y="4"/>
                  </a:lnTo>
                  <a:lnTo>
                    <a:pt x="0" y="3"/>
                  </a:lnTo>
                  <a:lnTo>
                    <a:pt x="3" y="3"/>
                  </a:lnTo>
                  <a:lnTo>
                    <a:pt x="3" y="3"/>
                  </a:lnTo>
                  <a:lnTo>
                    <a:pt x="9" y="0"/>
                  </a:lnTo>
                  <a:lnTo>
                    <a:pt x="19" y="0"/>
                  </a:lnTo>
                  <a:lnTo>
                    <a:pt x="29" y="0"/>
                  </a:lnTo>
                  <a:lnTo>
                    <a:pt x="32" y="0"/>
                  </a:lnTo>
                  <a:lnTo>
                    <a:pt x="34" y="1"/>
                  </a:lnTo>
                  <a:lnTo>
                    <a:pt x="34" y="1"/>
                  </a:lnTo>
                  <a:lnTo>
                    <a:pt x="35" y="10"/>
                  </a:lnTo>
                  <a:lnTo>
                    <a:pt x="34" y="14"/>
                  </a:lnTo>
                  <a:lnTo>
                    <a:pt x="32" y="14"/>
                  </a:lnTo>
                  <a:lnTo>
                    <a:pt x="31" y="16"/>
                  </a:lnTo>
                  <a:lnTo>
                    <a:pt x="31" y="16"/>
                  </a:lnTo>
                  <a:lnTo>
                    <a:pt x="26" y="11"/>
                  </a:lnTo>
                  <a:lnTo>
                    <a:pt x="22" y="10"/>
                  </a:lnTo>
                  <a:lnTo>
                    <a:pt x="22" y="10"/>
                  </a:lnTo>
                  <a:lnTo>
                    <a:pt x="18" y="9"/>
                  </a:lnTo>
                  <a:lnTo>
                    <a:pt x="15" y="9"/>
                  </a:lnTo>
                  <a:lnTo>
                    <a:pt x="13" y="10"/>
                  </a:lnTo>
                  <a:lnTo>
                    <a:pt x="13" y="10"/>
                  </a:lnTo>
                  <a:lnTo>
                    <a:pt x="15" y="11"/>
                  </a:lnTo>
                  <a:lnTo>
                    <a:pt x="18" y="14"/>
                  </a:lnTo>
                  <a:lnTo>
                    <a:pt x="23" y="20"/>
                  </a:lnTo>
                  <a:lnTo>
                    <a:pt x="23" y="20"/>
                  </a:lnTo>
                  <a:lnTo>
                    <a:pt x="32" y="29"/>
                  </a:lnTo>
                  <a:lnTo>
                    <a:pt x="35" y="33"/>
                  </a:lnTo>
                  <a:lnTo>
                    <a:pt x="36" y="36"/>
                  </a:lnTo>
                  <a:lnTo>
                    <a:pt x="36" y="36"/>
                  </a:lnTo>
                  <a:lnTo>
                    <a:pt x="32" y="36"/>
                  </a:lnTo>
                  <a:lnTo>
                    <a:pt x="31" y="36"/>
                  </a:lnTo>
                  <a:lnTo>
                    <a:pt x="31" y="38"/>
                  </a:lnTo>
                  <a:lnTo>
                    <a:pt x="31" y="38"/>
                  </a:lnTo>
                  <a:lnTo>
                    <a:pt x="36" y="43"/>
                  </a:lnTo>
                  <a:lnTo>
                    <a:pt x="38" y="46"/>
                  </a:lnTo>
                  <a:lnTo>
                    <a:pt x="38" y="48"/>
                  </a:lnTo>
                  <a:lnTo>
                    <a:pt x="35" y="48"/>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04" name="Freeform 10"/>
            <p:cNvSpPr>
              <a:spLocks/>
            </p:cNvSpPr>
            <p:nvPr/>
          </p:nvSpPr>
          <p:spPr bwMode="auto">
            <a:xfrm>
              <a:off x="3683000" y="1994329"/>
              <a:ext cx="60325" cy="76200"/>
            </a:xfrm>
            <a:custGeom>
              <a:avLst/>
              <a:gdLst>
                <a:gd name="T0" fmla="*/ 35 w 38"/>
                <a:gd name="T1" fmla="*/ 48 h 48"/>
                <a:gd name="T2" fmla="*/ 35 w 38"/>
                <a:gd name="T3" fmla="*/ 48 h 48"/>
                <a:gd name="T4" fmla="*/ 28 w 38"/>
                <a:gd name="T5" fmla="*/ 43 h 48"/>
                <a:gd name="T6" fmla="*/ 18 w 38"/>
                <a:gd name="T7" fmla="*/ 38 h 48"/>
                <a:gd name="T8" fmla="*/ 7 w 38"/>
                <a:gd name="T9" fmla="*/ 30 h 48"/>
                <a:gd name="T10" fmla="*/ 3 w 38"/>
                <a:gd name="T11" fmla="*/ 25 h 48"/>
                <a:gd name="T12" fmla="*/ 3 w 38"/>
                <a:gd name="T13" fmla="*/ 25 h 48"/>
                <a:gd name="T14" fmla="*/ 2 w 38"/>
                <a:gd name="T15" fmla="*/ 16 h 48"/>
                <a:gd name="T16" fmla="*/ 0 w 38"/>
                <a:gd name="T17" fmla="*/ 11 h 48"/>
                <a:gd name="T18" fmla="*/ 0 w 38"/>
                <a:gd name="T19" fmla="*/ 10 h 48"/>
                <a:gd name="T20" fmla="*/ 0 w 38"/>
                <a:gd name="T21" fmla="*/ 10 h 48"/>
                <a:gd name="T22" fmla="*/ 5 w 38"/>
                <a:gd name="T23" fmla="*/ 9 h 48"/>
                <a:gd name="T24" fmla="*/ 6 w 38"/>
                <a:gd name="T25" fmla="*/ 7 h 48"/>
                <a:gd name="T26" fmla="*/ 6 w 38"/>
                <a:gd name="T27" fmla="*/ 7 h 48"/>
                <a:gd name="T28" fmla="*/ 6 w 38"/>
                <a:gd name="T29" fmla="*/ 7 h 48"/>
                <a:gd name="T30" fmla="*/ 2 w 38"/>
                <a:gd name="T31" fmla="*/ 4 h 48"/>
                <a:gd name="T32" fmla="*/ 0 w 38"/>
                <a:gd name="T33" fmla="*/ 3 h 48"/>
                <a:gd name="T34" fmla="*/ 3 w 38"/>
                <a:gd name="T35" fmla="*/ 3 h 48"/>
                <a:gd name="T36" fmla="*/ 3 w 38"/>
                <a:gd name="T37" fmla="*/ 3 h 48"/>
                <a:gd name="T38" fmla="*/ 9 w 38"/>
                <a:gd name="T39" fmla="*/ 0 h 48"/>
                <a:gd name="T40" fmla="*/ 19 w 38"/>
                <a:gd name="T41" fmla="*/ 0 h 48"/>
                <a:gd name="T42" fmla="*/ 29 w 38"/>
                <a:gd name="T43" fmla="*/ 0 h 48"/>
                <a:gd name="T44" fmla="*/ 32 w 38"/>
                <a:gd name="T45" fmla="*/ 0 h 48"/>
                <a:gd name="T46" fmla="*/ 34 w 38"/>
                <a:gd name="T47" fmla="*/ 1 h 48"/>
                <a:gd name="T48" fmla="*/ 34 w 38"/>
                <a:gd name="T49" fmla="*/ 1 h 48"/>
                <a:gd name="T50" fmla="*/ 35 w 38"/>
                <a:gd name="T51" fmla="*/ 10 h 48"/>
                <a:gd name="T52" fmla="*/ 34 w 38"/>
                <a:gd name="T53" fmla="*/ 14 h 48"/>
                <a:gd name="T54" fmla="*/ 32 w 38"/>
                <a:gd name="T55" fmla="*/ 14 h 48"/>
                <a:gd name="T56" fmla="*/ 31 w 38"/>
                <a:gd name="T57" fmla="*/ 16 h 48"/>
                <a:gd name="T58" fmla="*/ 31 w 38"/>
                <a:gd name="T59" fmla="*/ 16 h 48"/>
                <a:gd name="T60" fmla="*/ 26 w 38"/>
                <a:gd name="T61" fmla="*/ 11 h 48"/>
                <a:gd name="T62" fmla="*/ 22 w 38"/>
                <a:gd name="T63" fmla="*/ 10 h 48"/>
                <a:gd name="T64" fmla="*/ 22 w 38"/>
                <a:gd name="T65" fmla="*/ 10 h 48"/>
                <a:gd name="T66" fmla="*/ 18 w 38"/>
                <a:gd name="T67" fmla="*/ 9 h 48"/>
                <a:gd name="T68" fmla="*/ 15 w 38"/>
                <a:gd name="T69" fmla="*/ 9 h 48"/>
                <a:gd name="T70" fmla="*/ 13 w 38"/>
                <a:gd name="T71" fmla="*/ 10 h 48"/>
                <a:gd name="T72" fmla="*/ 13 w 38"/>
                <a:gd name="T73" fmla="*/ 10 h 48"/>
                <a:gd name="T74" fmla="*/ 15 w 38"/>
                <a:gd name="T75" fmla="*/ 11 h 48"/>
                <a:gd name="T76" fmla="*/ 18 w 38"/>
                <a:gd name="T77" fmla="*/ 14 h 48"/>
                <a:gd name="T78" fmla="*/ 23 w 38"/>
                <a:gd name="T79" fmla="*/ 20 h 48"/>
                <a:gd name="T80" fmla="*/ 23 w 38"/>
                <a:gd name="T81" fmla="*/ 20 h 48"/>
                <a:gd name="T82" fmla="*/ 32 w 38"/>
                <a:gd name="T83" fmla="*/ 29 h 48"/>
                <a:gd name="T84" fmla="*/ 35 w 38"/>
                <a:gd name="T85" fmla="*/ 33 h 48"/>
                <a:gd name="T86" fmla="*/ 36 w 38"/>
                <a:gd name="T87" fmla="*/ 36 h 48"/>
                <a:gd name="T88" fmla="*/ 36 w 38"/>
                <a:gd name="T89" fmla="*/ 36 h 48"/>
                <a:gd name="T90" fmla="*/ 32 w 38"/>
                <a:gd name="T91" fmla="*/ 36 h 48"/>
                <a:gd name="T92" fmla="*/ 31 w 38"/>
                <a:gd name="T93" fmla="*/ 36 h 48"/>
                <a:gd name="T94" fmla="*/ 31 w 38"/>
                <a:gd name="T95" fmla="*/ 38 h 48"/>
                <a:gd name="T96" fmla="*/ 31 w 38"/>
                <a:gd name="T97" fmla="*/ 38 h 48"/>
                <a:gd name="T98" fmla="*/ 36 w 38"/>
                <a:gd name="T99" fmla="*/ 43 h 48"/>
                <a:gd name="T100" fmla="*/ 38 w 38"/>
                <a:gd name="T101" fmla="*/ 46 h 48"/>
                <a:gd name="T102" fmla="*/ 38 w 38"/>
                <a:gd name="T103" fmla="*/ 48 h 48"/>
                <a:gd name="T104" fmla="*/ 35 w 38"/>
                <a:gd name="T10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8" h="48">
                  <a:moveTo>
                    <a:pt x="35" y="48"/>
                  </a:moveTo>
                  <a:lnTo>
                    <a:pt x="35" y="48"/>
                  </a:lnTo>
                  <a:lnTo>
                    <a:pt x="28" y="43"/>
                  </a:lnTo>
                  <a:lnTo>
                    <a:pt x="18" y="38"/>
                  </a:lnTo>
                  <a:lnTo>
                    <a:pt x="7" y="30"/>
                  </a:lnTo>
                  <a:lnTo>
                    <a:pt x="3" y="25"/>
                  </a:lnTo>
                  <a:lnTo>
                    <a:pt x="3" y="25"/>
                  </a:lnTo>
                  <a:lnTo>
                    <a:pt x="2" y="16"/>
                  </a:lnTo>
                  <a:lnTo>
                    <a:pt x="0" y="11"/>
                  </a:lnTo>
                  <a:lnTo>
                    <a:pt x="0" y="10"/>
                  </a:lnTo>
                  <a:lnTo>
                    <a:pt x="0" y="10"/>
                  </a:lnTo>
                  <a:lnTo>
                    <a:pt x="5" y="9"/>
                  </a:lnTo>
                  <a:lnTo>
                    <a:pt x="6" y="7"/>
                  </a:lnTo>
                  <a:lnTo>
                    <a:pt x="6" y="7"/>
                  </a:lnTo>
                  <a:lnTo>
                    <a:pt x="6" y="7"/>
                  </a:lnTo>
                  <a:lnTo>
                    <a:pt x="2" y="4"/>
                  </a:lnTo>
                  <a:lnTo>
                    <a:pt x="0" y="3"/>
                  </a:lnTo>
                  <a:lnTo>
                    <a:pt x="3" y="3"/>
                  </a:lnTo>
                  <a:lnTo>
                    <a:pt x="3" y="3"/>
                  </a:lnTo>
                  <a:lnTo>
                    <a:pt x="9" y="0"/>
                  </a:lnTo>
                  <a:lnTo>
                    <a:pt x="19" y="0"/>
                  </a:lnTo>
                  <a:lnTo>
                    <a:pt x="29" y="0"/>
                  </a:lnTo>
                  <a:lnTo>
                    <a:pt x="32" y="0"/>
                  </a:lnTo>
                  <a:lnTo>
                    <a:pt x="34" y="1"/>
                  </a:lnTo>
                  <a:lnTo>
                    <a:pt x="34" y="1"/>
                  </a:lnTo>
                  <a:lnTo>
                    <a:pt x="35" y="10"/>
                  </a:lnTo>
                  <a:lnTo>
                    <a:pt x="34" y="14"/>
                  </a:lnTo>
                  <a:lnTo>
                    <a:pt x="32" y="14"/>
                  </a:lnTo>
                  <a:lnTo>
                    <a:pt x="31" y="16"/>
                  </a:lnTo>
                  <a:lnTo>
                    <a:pt x="31" y="16"/>
                  </a:lnTo>
                  <a:lnTo>
                    <a:pt x="26" y="11"/>
                  </a:lnTo>
                  <a:lnTo>
                    <a:pt x="22" y="10"/>
                  </a:lnTo>
                  <a:lnTo>
                    <a:pt x="22" y="10"/>
                  </a:lnTo>
                  <a:lnTo>
                    <a:pt x="18" y="9"/>
                  </a:lnTo>
                  <a:lnTo>
                    <a:pt x="15" y="9"/>
                  </a:lnTo>
                  <a:lnTo>
                    <a:pt x="13" y="10"/>
                  </a:lnTo>
                  <a:lnTo>
                    <a:pt x="13" y="10"/>
                  </a:lnTo>
                  <a:lnTo>
                    <a:pt x="15" y="11"/>
                  </a:lnTo>
                  <a:lnTo>
                    <a:pt x="18" y="14"/>
                  </a:lnTo>
                  <a:lnTo>
                    <a:pt x="23" y="20"/>
                  </a:lnTo>
                  <a:lnTo>
                    <a:pt x="23" y="20"/>
                  </a:lnTo>
                  <a:lnTo>
                    <a:pt x="32" y="29"/>
                  </a:lnTo>
                  <a:lnTo>
                    <a:pt x="35" y="33"/>
                  </a:lnTo>
                  <a:lnTo>
                    <a:pt x="36" y="36"/>
                  </a:lnTo>
                  <a:lnTo>
                    <a:pt x="36" y="36"/>
                  </a:lnTo>
                  <a:lnTo>
                    <a:pt x="32" y="36"/>
                  </a:lnTo>
                  <a:lnTo>
                    <a:pt x="31" y="36"/>
                  </a:lnTo>
                  <a:lnTo>
                    <a:pt x="31" y="38"/>
                  </a:lnTo>
                  <a:lnTo>
                    <a:pt x="31" y="38"/>
                  </a:lnTo>
                  <a:lnTo>
                    <a:pt x="36" y="43"/>
                  </a:lnTo>
                  <a:lnTo>
                    <a:pt x="38" y="46"/>
                  </a:lnTo>
                  <a:lnTo>
                    <a:pt x="38" y="48"/>
                  </a:lnTo>
                  <a:lnTo>
                    <a:pt x="35" y="4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05" name="Freeform 11"/>
            <p:cNvSpPr>
              <a:spLocks/>
            </p:cNvSpPr>
            <p:nvPr/>
          </p:nvSpPr>
          <p:spPr bwMode="auto">
            <a:xfrm>
              <a:off x="3660775" y="1957816"/>
              <a:ext cx="66675" cy="26988"/>
            </a:xfrm>
            <a:custGeom>
              <a:avLst/>
              <a:gdLst>
                <a:gd name="T0" fmla="*/ 42 w 42"/>
                <a:gd name="T1" fmla="*/ 13 h 17"/>
                <a:gd name="T2" fmla="*/ 42 w 42"/>
                <a:gd name="T3" fmla="*/ 13 h 17"/>
                <a:gd name="T4" fmla="*/ 29 w 42"/>
                <a:gd name="T5" fmla="*/ 16 h 17"/>
                <a:gd name="T6" fmla="*/ 21 w 42"/>
                <a:gd name="T7" fmla="*/ 17 h 17"/>
                <a:gd name="T8" fmla="*/ 16 w 42"/>
                <a:gd name="T9" fmla="*/ 17 h 17"/>
                <a:gd name="T10" fmla="*/ 16 w 42"/>
                <a:gd name="T11" fmla="*/ 17 h 17"/>
                <a:gd name="T12" fmla="*/ 6 w 42"/>
                <a:gd name="T13" fmla="*/ 14 h 17"/>
                <a:gd name="T14" fmla="*/ 1 w 42"/>
                <a:gd name="T15" fmla="*/ 13 h 17"/>
                <a:gd name="T16" fmla="*/ 0 w 42"/>
                <a:gd name="T17" fmla="*/ 11 h 17"/>
                <a:gd name="T18" fmla="*/ 0 w 42"/>
                <a:gd name="T19" fmla="*/ 10 h 17"/>
                <a:gd name="T20" fmla="*/ 0 w 42"/>
                <a:gd name="T21" fmla="*/ 10 h 17"/>
                <a:gd name="T22" fmla="*/ 7 w 42"/>
                <a:gd name="T23" fmla="*/ 1 h 17"/>
                <a:gd name="T24" fmla="*/ 7 w 42"/>
                <a:gd name="T25" fmla="*/ 1 h 17"/>
                <a:gd name="T26" fmla="*/ 10 w 42"/>
                <a:gd name="T27" fmla="*/ 0 h 17"/>
                <a:gd name="T28" fmla="*/ 14 w 42"/>
                <a:gd name="T29" fmla="*/ 0 h 17"/>
                <a:gd name="T30" fmla="*/ 19 w 42"/>
                <a:gd name="T31" fmla="*/ 0 h 17"/>
                <a:gd name="T32" fmla="*/ 23 w 42"/>
                <a:gd name="T33" fmla="*/ 1 h 17"/>
                <a:gd name="T34" fmla="*/ 23 w 42"/>
                <a:gd name="T35" fmla="*/ 1 h 17"/>
                <a:gd name="T36" fmla="*/ 36 w 42"/>
                <a:gd name="T37" fmla="*/ 7 h 17"/>
                <a:gd name="T38" fmla="*/ 40 w 42"/>
                <a:gd name="T39" fmla="*/ 10 h 17"/>
                <a:gd name="T40" fmla="*/ 42 w 42"/>
                <a:gd name="T41" fmla="*/ 11 h 17"/>
                <a:gd name="T42" fmla="*/ 42 w 42"/>
                <a:gd name="T43"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17">
                  <a:moveTo>
                    <a:pt x="42" y="13"/>
                  </a:moveTo>
                  <a:lnTo>
                    <a:pt x="42" y="13"/>
                  </a:lnTo>
                  <a:lnTo>
                    <a:pt x="29" y="16"/>
                  </a:lnTo>
                  <a:lnTo>
                    <a:pt x="21" y="17"/>
                  </a:lnTo>
                  <a:lnTo>
                    <a:pt x="16" y="17"/>
                  </a:lnTo>
                  <a:lnTo>
                    <a:pt x="16" y="17"/>
                  </a:lnTo>
                  <a:lnTo>
                    <a:pt x="6" y="14"/>
                  </a:lnTo>
                  <a:lnTo>
                    <a:pt x="1" y="13"/>
                  </a:lnTo>
                  <a:lnTo>
                    <a:pt x="0" y="11"/>
                  </a:lnTo>
                  <a:lnTo>
                    <a:pt x="0" y="10"/>
                  </a:lnTo>
                  <a:lnTo>
                    <a:pt x="0" y="10"/>
                  </a:lnTo>
                  <a:lnTo>
                    <a:pt x="7" y="1"/>
                  </a:lnTo>
                  <a:lnTo>
                    <a:pt x="7" y="1"/>
                  </a:lnTo>
                  <a:lnTo>
                    <a:pt x="10" y="0"/>
                  </a:lnTo>
                  <a:lnTo>
                    <a:pt x="14" y="0"/>
                  </a:lnTo>
                  <a:lnTo>
                    <a:pt x="19" y="0"/>
                  </a:lnTo>
                  <a:lnTo>
                    <a:pt x="23" y="1"/>
                  </a:lnTo>
                  <a:lnTo>
                    <a:pt x="23" y="1"/>
                  </a:lnTo>
                  <a:lnTo>
                    <a:pt x="36" y="7"/>
                  </a:lnTo>
                  <a:lnTo>
                    <a:pt x="40" y="10"/>
                  </a:lnTo>
                  <a:lnTo>
                    <a:pt x="42" y="11"/>
                  </a:lnTo>
                  <a:lnTo>
                    <a:pt x="42" y="13"/>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06" name="Freeform 12"/>
            <p:cNvSpPr>
              <a:spLocks/>
            </p:cNvSpPr>
            <p:nvPr/>
          </p:nvSpPr>
          <p:spPr bwMode="auto">
            <a:xfrm>
              <a:off x="3660775" y="1957816"/>
              <a:ext cx="66675" cy="26988"/>
            </a:xfrm>
            <a:custGeom>
              <a:avLst/>
              <a:gdLst>
                <a:gd name="T0" fmla="*/ 42 w 42"/>
                <a:gd name="T1" fmla="*/ 13 h 17"/>
                <a:gd name="T2" fmla="*/ 42 w 42"/>
                <a:gd name="T3" fmla="*/ 13 h 17"/>
                <a:gd name="T4" fmla="*/ 29 w 42"/>
                <a:gd name="T5" fmla="*/ 16 h 17"/>
                <a:gd name="T6" fmla="*/ 21 w 42"/>
                <a:gd name="T7" fmla="*/ 17 h 17"/>
                <a:gd name="T8" fmla="*/ 16 w 42"/>
                <a:gd name="T9" fmla="*/ 17 h 17"/>
                <a:gd name="T10" fmla="*/ 16 w 42"/>
                <a:gd name="T11" fmla="*/ 17 h 17"/>
                <a:gd name="T12" fmla="*/ 6 w 42"/>
                <a:gd name="T13" fmla="*/ 14 h 17"/>
                <a:gd name="T14" fmla="*/ 1 w 42"/>
                <a:gd name="T15" fmla="*/ 13 h 17"/>
                <a:gd name="T16" fmla="*/ 0 w 42"/>
                <a:gd name="T17" fmla="*/ 11 h 17"/>
                <a:gd name="T18" fmla="*/ 0 w 42"/>
                <a:gd name="T19" fmla="*/ 10 h 17"/>
                <a:gd name="T20" fmla="*/ 0 w 42"/>
                <a:gd name="T21" fmla="*/ 10 h 17"/>
                <a:gd name="T22" fmla="*/ 7 w 42"/>
                <a:gd name="T23" fmla="*/ 1 h 17"/>
                <a:gd name="T24" fmla="*/ 7 w 42"/>
                <a:gd name="T25" fmla="*/ 1 h 17"/>
                <a:gd name="T26" fmla="*/ 10 w 42"/>
                <a:gd name="T27" fmla="*/ 0 h 17"/>
                <a:gd name="T28" fmla="*/ 14 w 42"/>
                <a:gd name="T29" fmla="*/ 0 h 17"/>
                <a:gd name="T30" fmla="*/ 19 w 42"/>
                <a:gd name="T31" fmla="*/ 0 h 17"/>
                <a:gd name="T32" fmla="*/ 23 w 42"/>
                <a:gd name="T33" fmla="*/ 1 h 17"/>
                <a:gd name="T34" fmla="*/ 23 w 42"/>
                <a:gd name="T35" fmla="*/ 1 h 17"/>
                <a:gd name="T36" fmla="*/ 36 w 42"/>
                <a:gd name="T37" fmla="*/ 7 h 17"/>
                <a:gd name="T38" fmla="*/ 40 w 42"/>
                <a:gd name="T39" fmla="*/ 10 h 17"/>
                <a:gd name="T40" fmla="*/ 42 w 42"/>
                <a:gd name="T41" fmla="*/ 11 h 17"/>
                <a:gd name="T42" fmla="*/ 42 w 42"/>
                <a:gd name="T43"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17">
                  <a:moveTo>
                    <a:pt x="42" y="13"/>
                  </a:moveTo>
                  <a:lnTo>
                    <a:pt x="42" y="13"/>
                  </a:lnTo>
                  <a:lnTo>
                    <a:pt x="29" y="16"/>
                  </a:lnTo>
                  <a:lnTo>
                    <a:pt x="21" y="17"/>
                  </a:lnTo>
                  <a:lnTo>
                    <a:pt x="16" y="17"/>
                  </a:lnTo>
                  <a:lnTo>
                    <a:pt x="16" y="17"/>
                  </a:lnTo>
                  <a:lnTo>
                    <a:pt x="6" y="14"/>
                  </a:lnTo>
                  <a:lnTo>
                    <a:pt x="1" y="13"/>
                  </a:lnTo>
                  <a:lnTo>
                    <a:pt x="0" y="11"/>
                  </a:lnTo>
                  <a:lnTo>
                    <a:pt x="0" y="10"/>
                  </a:lnTo>
                  <a:lnTo>
                    <a:pt x="0" y="10"/>
                  </a:lnTo>
                  <a:lnTo>
                    <a:pt x="7" y="1"/>
                  </a:lnTo>
                  <a:lnTo>
                    <a:pt x="7" y="1"/>
                  </a:lnTo>
                  <a:lnTo>
                    <a:pt x="10" y="0"/>
                  </a:lnTo>
                  <a:lnTo>
                    <a:pt x="14" y="0"/>
                  </a:lnTo>
                  <a:lnTo>
                    <a:pt x="19" y="0"/>
                  </a:lnTo>
                  <a:lnTo>
                    <a:pt x="23" y="1"/>
                  </a:lnTo>
                  <a:lnTo>
                    <a:pt x="23" y="1"/>
                  </a:lnTo>
                  <a:lnTo>
                    <a:pt x="36" y="7"/>
                  </a:lnTo>
                  <a:lnTo>
                    <a:pt x="40" y="10"/>
                  </a:lnTo>
                  <a:lnTo>
                    <a:pt x="42" y="11"/>
                  </a:lnTo>
                  <a:lnTo>
                    <a:pt x="4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07" name="Freeform 13"/>
            <p:cNvSpPr>
              <a:spLocks/>
            </p:cNvSpPr>
            <p:nvPr/>
          </p:nvSpPr>
          <p:spPr bwMode="auto">
            <a:xfrm>
              <a:off x="3786188" y="1814941"/>
              <a:ext cx="17463" cy="26988"/>
            </a:xfrm>
            <a:custGeom>
              <a:avLst/>
              <a:gdLst>
                <a:gd name="T0" fmla="*/ 5 w 11"/>
                <a:gd name="T1" fmla="*/ 17 h 17"/>
                <a:gd name="T2" fmla="*/ 5 w 11"/>
                <a:gd name="T3" fmla="*/ 17 h 17"/>
                <a:gd name="T4" fmla="*/ 3 w 11"/>
                <a:gd name="T5" fmla="*/ 17 h 17"/>
                <a:gd name="T6" fmla="*/ 2 w 11"/>
                <a:gd name="T7" fmla="*/ 16 h 17"/>
                <a:gd name="T8" fmla="*/ 0 w 11"/>
                <a:gd name="T9" fmla="*/ 9 h 17"/>
                <a:gd name="T10" fmla="*/ 0 w 11"/>
                <a:gd name="T11" fmla="*/ 3 h 17"/>
                <a:gd name="T12" fmla="*/ 0 w 11"/>
                <a:gd name="T13" fmla="*/ 0 h 17"/>
                <a:gd name="T14" fmla="*/ 0 w 11"/>
                <a:gd name="T15" fmla="*/ 0 h 17"/>
                <a:gd name="T16" fmla="*/ 0 w 11"/>
                <a:gd name="T17" fmla="*/ 0 h 17"/>
                <a:gd name="T18" fmla="*/ 6 w 11"/>
                <a:gd name="T19" fmla="*/ 0 h 17"/>
                <a:gd name="T20" fmla="*/ 8 w 11"/>
                <a:gd name="T21" fmla="*/ 1 h 17"/>
                <a:gd name="T22" fmla="*/ 8 w 11"/>
                <a:gd name="T23" fmla="*/ 3 h 17"/>
                <a:gd name="T24" fmla="*/ 8 w 11"/>
                <a:gd name="T25" fmla="*/ 3 h 17"/>
                <a:gd name="T26" fmla="*/ 8 w 11"/>
                <a:gd name="T27" fmla="*/ 4 h 17"/>
                <a:gd name="T28" fmla="*/ 9 w 11"/>
                <a:gd name="T29" fmla="*/ 7 h 17"/>
                <a:gd name="T30" fmla="*/ 11 w 11"/>
                <a:gd name="T31" fmla="*/ 11 h 17"/>
                <a:gd name="T32" fmla="*/ 11 w 11"/>
                <a:gd name="T33" fmla="*/ 11 h 17"/>
                <a:gd name="T34" fmla="*/ 9 w 11"/>
                <a:gd name="T35" fmla="*/ 16 h 17"/>
                <a:gd name="T36" fmla="*/ 8 w 11"/>
                <a:gd name="T37" fmla="*/ 17 h 17"/>
                <a:gd name="T38" fmla="*/ 5 w 11"/>
                <a:gd name="T3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17">
                  <a:moveTo>
                    <a:pt x="5" y="17"/>
                  </a:moveTo>
                  <a:lnTo>
                    <a:pt x="5" y="17"/>
                  </a:lnTo>
                  <a:lnTo>
                    <a:pt x="3" y="17"/>
                  </a:lnTo>
                  <a:lnTo>
                    <a:pt x="2" y="16"/>
                  </a:lnTo>
                  <a:lnTo>
                    <a:pt x="0" y="9"/>
                  </a:lnTo>
                  <a:lnTo>
                    <a:pt x="0" y="3"/>
                  </a:lnTo>
                  <a:lnTo>
                    <a:pt x="0" y="0"/>
                  </a:lnTo>
                  <a:lnTo>
                    <a:pt x="0" y="0"/>
                  </a:lnTo>
                  <a:lnTo>
                    <a:pt x="0" y="0"/>
                  </a:lnTo>
                  <a:lnTo>
                    <a:pt x="6" y="0"/>
                  </a:lnTo>
                  <a:lnTo>
                    <a:pt x="8" y="1"/>
                  </a:lnTo>
                  <a:lnTo>
                    <a:pt x="8" y="3"/>
                  </a:lnTo>
                  <a:lnTo>
                    <a:pt x="8" y="3"/>
                  </a:lnTo>
                  <a:lnTo>
                    <a:pt x="8" y="4"/>
                  </a:lnTo>
                  <a:lnTo>
                    <a:pt x="9" y="7"/>
                  </a:lnTo>
                  <a:lnTo>
                    <a:pt x="11" y="11"/>
                  </a:lnTo>
                  <a:lnTo>
                    <a:pt x="11" y="11"/>
                  </a:lnTo>
                  <a:lnTo>
                    <a:pt x="9" y="16"/>
                  </a:lnTo>
                  <a:lnTo>
                    <a:pt x="8" y="17"/>
                  </a:lnTo>
                  <a:lnTo>
                    <a:pt x="5" y="17"/>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08" name="Freeform 14"/>
            <p:cNvSpPr>
              <a:spLocks/>
            </p:cNvSpPr>
            <p:nvPr/>
          </p:nvSpPr>
          <p:spPr bwMode="auto">
            <a:xfrm>
              <a:off x="3786188" y="1814941"/>
              <a:ext cx="17463" cy="26988"/>
            </a:xfrm>
            <a:custGeom>
              <a:avLst/>
              <a:gdLst>
                <a:gd name="T0" fmla="*/ 5 w 11"/>
                <a:gd name="T1" fmla="*/ 17 h 17"/>
                <a:gd name="T2" fmla="*/ 5 w 11"/>
                <a:gd name="T3" fmla="*/ 17 h 17"/>
                <a:gd name="T4" fmla="*/ 3 w 11"/>
                <a:gd name="T5" fmla="*/ 17 h 17"/>
                <a:gd name="T6" fmla="*/ 2 w 11"/>
                <a:gd name="T7" fmla="*/ 16 h 17"/>
                <a:gd name="T8" fmla="*/ 0 w 11"/>
                <a:gd name="T9" fmla="*/ 9 h 17"/>
                <a:gd name="T10" fmla="*/ 0 w 11"/>
                <a:gd name="T11" fmla="*/ 3 h 17"/>
                <a:gd name="T12" fmla="*/ 0 w 11"/>
                <a:gd name="T13" fmla="*/ 0 h 17"/>
                <a:gd name="T14" fmla="*/ 0 w 11"/>
                <a:gd name="T15" fmla="*/ 0 h 17"/>
                <a:gd name="T16" fmla="*/ 0 w 11"/>
                <a:gd name="T17" fmla="*/ 0 h 17"/>
                <a:gd name="T18" fmla="*/ 6 w 11"/>
                <a:gd name="T19" fmla="*/ 0 h 17"/>
                <a:gd name="T20" fmla="*/ 8 w 11"/>
                <a:gd name="T21" fmla="*/ 1 h 17"/>
                <a:gd name="T22" fmla="*/ 8 w 11"/>
                <a:gd name="T23" fmla="*/ 3 h 17"/>
                <a:gd name="T24" fmla="*/ 8 w 11"/>
                <a:gd name="T25" fmla="*/ 3 h 17"/>
                <a:gd name="T26" fmla="*/ 8 w 11"/>
                <a:gd name="T27" fmla="*/ 4 h 17"/>
                <a:gd name="T28" fmla="*/ 9 w 11"/>
                <a:gd name="T29" fmla="*/ 7 h 17"/>
                <a:gd name="T30" fmla="*/ 11 w 11"/>
                <a:gd name="T31" fmla="*/ 11 h 17"/>
                <a:gd name="T32" fmla="*/ 11 w 11"/>
                <a:gd name="T33" fmla="*/ 11 h 17"/>
                <a:gd name="T34" fmla="*/ 9 w 11"/>
                <a:gd name="T35" fmla="*/ 16 h 17"/>
                <a:gd name="T36" fmla="*/ 8 w 11"/>
                <a:gd name="T37" fmla="*/ 17 h 17"/>
                <a:gd name="T38" fmla="*/ 5 w 11"/>
                <a:gd name="T3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17">
                  <a:moveTo>
                    <a:pt x="5" y="17"/>
                  </a:moveTo>
                  <a:lnTo>
                    <a:pt x="5" y="17"/>
                  </a:lnTo>
                  <a:lnTo>
                    <a:pt x="3" y="17"/>
                  </a:lnTo>
                  <a:lnTo>
                    <a:pt x="2" y="16"/>
                  </a:lnTo>
                  <a:lnTo>
                    <a:pt x="0" y="9"/>
                  </a:lnTo>
                  <a:lnTo>
                    <a:pt x="0" y="3"/>
                  </a:lnTo>
                  <a:lnTo>
                    <a:pt x="0" y="0"/>
                  </a:lnTo>
                  <a:lnTo>
                    <a:pt x="0" y="0"/>
                  </a:lnTo>
                  <a:lnTo>
                    <a:pt x="0" y="0"/>
                  </a:lnTo>
                  <a:lnTo>
                    <a:pt x="6" y="0"/>
                  </a:lnTo>
                  <a:lnTo>
                    <a:pt x="8" y="1"/>
                  </a:lnTo>
                  <a:lnTo>
                    <a:pt x="8" y="3"/>
                  </a:lnTo>
                  <a:lnTo>
                    <a:pt x="8" y="3"/>
                  </a:lnTo>
                  <a:lnTo>
                    <a:pt x="8" y="4"/>
                  </a:lnTo>
                  <a:lnTo>
                    <a:pt x="9" y="7"/>
                  </a:lnTo>
                  <a:lnTo>
                    <a:pt x="11" y="11"/>
                  </a:lnTo>
                  <a:lnTo>
                    <a:pt x="11" y="11"/>
                  </a:lnTo>
                  <a:lnTo>
                    <a:pt x="9" y="16"/>
                  </a:lnTo>
                  <a:lnTo>
                    <a:pt x="8" y="17"/>
                  </a:lnTo>
                  <a:lnTo>
                    <a:pt x="5"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09" name="Freeform 15"/>
            <p:cNvSpPr>
              <a:spLocks/>
            </p:cNvSpPr>
            <p:nvPr/>
          </p:nvSpPr>
          <p:spPr bwMode="auto">
            <a:xfrm>
              <a:off x="3821113" y="1773666"/>
              <a:ext cx="41275" cy="50800"/>
            </a:xfrm>
            <a:custGeom>
              <a:avLst/>
              <a:gdLst>
                <a:gd name="T0" fmla="*/ 23 w 26"/>
                <a:gd name="T1" fmla="*/ 27 h 32"/>
                <a:gd name="T2" fmla="*/ 23 w 26"/>
                <a:gd name="T3" fmla="*/ 27 h 32"/>
                <a:gd name="T4" fmla="*/ 18 w 26"/>
                <a:gd name="T5" fmla="*/ 30 h 32"/>
                <a:gd name="T6" fmla="*/ 9 w 26"/>
                <a:gd name="T7" fmla="*/ 32 h 32"/>
                <a:gd name="T8" fmla="*/ 9 w 26"/>
                <a:gd name="T9" fmla="*/ 32 h 32"/>
                <a:gd name="T10" fmla="*/ 6 w 26"/>
                <a:gd name="T11" fmla="*/ 30 h 32"/>
                <a:gd name="T12" fmla="*/ 2 w 26"/>
                <a:gd name="T13" fmla="*/ 29 h 32"/>
                <a:gd name="T14" fmla="*/ 0 w 26"/>
                <a:gd name="T15" fmla="*/ 26 h 32"/>
                <a:gd name="T16" fmla="*/ 0 w 26"/>
                <a:gd name="T17" fmla="*/ 24 h 32"/>
                <a:gd name="T18" fmla="*/ 0 w 26"/>
                <a:gd name="T19" fmla="*/ 23 h 32"/>
                <a:gd name="T20" fmla="*/ 0 w 26"/>
                <a:gd name="T21" fmla="*/ 23 h 32"/>
                <a:gd name="T22" fmla="*/ 2 w 26"/>
                <a:gd name="T23" fmla="*/ 19 h 32"/>
                <a:gd name="T24" fmla="*/ 3 w 26"/>
                <a:gd name="T25" fmla="*/ 13 h 32"/>
                <a:gd name="T26" fmla="*/ 3 w 26"/>
                <a:gd name="T27" fmla="*/ 7 h 32"/>
                <a:gd name="T28" fmla="*/ 4 w 26"/>
                <a:gd name="T29" fmla="*/ 4 h 32"/>
                <a:gd name="T30" fmla="*/ 4 w 26"/>
                <a:gd name="T31" fmla="*/ 4 h 32"/>
                <a:gd name="T32" fmla="*/ 6 w 26"/>
                <a:gd name="T33" fmla="*/ 3 h 32"/>
                <a:gd name="T34" fmla="*/ 9 w 26"/>
                <a:gd name="T35" fmla="*/ 1 h 32"/>
                <a:gd name="T36" fmla="*/ 12 w 26"/>
                <a:gd name="T37" fmla="*/ 3 h 32"/>
                <a:gd name="T38" fmla="*/ 15 w 26"/>
                <a:gd name="T39" fmla="*/ 1 h 32"/>
                <a:gd name="T40" fmla="*/ 15 w 26"/>
                <a:gd name="T41" fmla="*/ 1 h 32"/>
                <a:gd name="T42" fmla="*/ 19 w 26"/>
                <a:gd name="T43" fmla="*/ 0 h 32"/>
                <a:gd name="T44" fmla="*/ 20 w 26"/>
                <a:gd name="T45" fmla="*/ 0 h 32"/>
                <a:gd name="T46" fmla="*/ 22 w 26"/>
                <a:gd name="T47" fmla="*/ 1 h 32"/>
                <a:gd name="T48" fmla="*/ 22 w 26"/>
                <a:gd name="T49" fmla="*/ 1 h 32"/>
                <a:gd name="T50" fmla="*/ 23 w 26"/>
                <a:gd name="T51" fmla="*/ 3 h 32"/>
                <a:gd name="T52" fmla="*/ 23 w 26"/>
                <a:gd name="T53" fmla="*/ 4 h 32"/>
                <a:gd name="T54" fmla="*/ 22 w 26"/>
                <a:gd name="T55" fmla="*/ 7 h 32"/>
                <a:gd name="T56" fmla="*/ 20 w 26"/>
                <a:gd name="T57" fmla="*/ 10 h 32"/>
                <a:gd name="T58" fmla="*/ 20 w 26"/>
                <a:gd name="T59" fmla="*/ 10 h 32"/>
                <a:gd name="T60" fmla="*/ 18 w 26"/>
                <a:gd name="T61" fmla="*/ 13 h 32"/>
                <a:gd name="T62" fmla="*/ 18 w 26"/>
                <a:gd name="T63" fmla="*/ 14 h 32"/>
                <a:gd name="T64" fmla="*/ 19 w 26"/>
                <a:gd name="T65" fmla="*/ 17 h 32"/>
                <a:gd name="T66" fmla="*/ 23 w 26"/>
                <a:gd name="T67" fmla="*/ 17 h 32"/>
                <a:gd name="T68" fmla="*/ 23 w 26"/>
                <a:gd name="T69" fmla="*/ 17 h 32"/>
                <a:gd name="T70" fmla="*/ 26 w 26"/>
                <a:gd name="T71" fmla="*/ 19 h 32"/>
                <a:gd name="T72" fmla="*/ 26 w 26"/>
                <a:gd name="T73" fmla="*/ 22 h 32"/>
                <a:gd name="T74" fmla="*/ 26 w 26"/>
                <a:gd name="T75" fmla="*/ 24 h 32"/>
                <a:gd name="T76" fmla="*/ 23 w 26"/>
                <a:gd name="T77" fmla="*/ 2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6" h="32">
                  <a:moveTo>
                    <a:pt x="23" y="27"/>
                  </a:moveTo>
                  <a:lnTo>
                    <a:pt x="23" y="27"/>
                  </a:lnTo>
                  <a:lnTo>
                    <a:pt x="18" y="30"/>
                  </a:lnTo>
                  <a:lnTo>
                    <a:pt x="9" y="32"/>
                  </a:lnTo>
                  <a:lnTo>
                    <a:pt x="9" y="32"/>
                  </a:lnTo>
                  <a:lnTo>
                    <a:pt x="6" y="30"/>
                  </a:lnTo>
                  <a:lnTo>
                    <a:pt x="2" y="29"/>
                  </a:lnTo>
                  <a:lnTo>
                    <a:pt x="0" y="26"/>
                  </a:lnTo>
                  <a:lnTo>
                    <a:pt x="0" y="24"/>
                  </a:lnTo>
                  <a:lnTo>
                    <a:pt x="0" y="23"/>
                  </a:lnTo>
                  <a:lnTo>
                    <a:pt x="0" y="23"/>
                  </a:lnTo>
                  <a:lnTo>
                    <a:pt x="2" y="19"/>
                  </a:lnTo>
                  <a:lnTo>
                    <a:pt x="3" y="13"/>
                  </a:lnTo>
                  <a:lnTo>
                    <a:pt x="3" y="7"/>
                  </a:lnTo>
                  <a:lnTo>
                    <a:pt x="4" y="4"/>
                  </a:lnTo>
                  <a:lnTo>
                    <a:pt x="4" y="4"/>
                  </a:lnTo>
                  <a:lnTo>
                    <a:pt x="6" y="3"/>
                  </a:lnTo>
                  <a:lnTo>
                    <a:pt x="9" y="1"/>
                  </a:lnTo>
                  <a:lnTo>
                    <a:pt x="12" y="3"/>
                  </a:lnTo>
                  <a:lnTo>
                    <a:pt x="15" y="1"/>
                  </a:lnTo>
                  <a:lnTo>
                    <a:pt x="15" y="1"/>
                  </a:lnTo>
                  <a:lnTo>
                    <a:pt x="19" y="0"/>
                  </a:lnTo>
                  <a:lnTo>
                    <a:pt x="20" y="0"/>
                  </a:lnTo>
                  <a:lnTo>
                    <a:pt x="22" y="1"/>
                  </a:lnTo>
                  <a:lnTo>
                    <a:pt x="22" y="1"/>
                  </a:lnTo>
                  <a:lnTo>
                    <a:pt x="23" y="3"/>
                  </a:lnTo>
                  <a:lnTo>
                    <a:pt x="23" y="4"/>
                  </a:lnTo>
                  <a:lnTo>
                    <a:pt x="22" y="7"/>
                  </a:lnTo>
                  <a:lnTo>
                    <a:pt x="20" y="10"/>
                  </a:lnTo>
                  <a:lnTo>
                    <a:pt x="20" y="10"/>
                  </a:lnTo>
                  <a:lnTo>
                    <a:pt x="18" y="13"/>
                  </a:lnTo>
                  <a:lnTo>
                    <a:pt x="18" y="14"/>
                  </a:lnTo>
                  <a:lnTo>
                    <a:pt x="19" y="17"/>
                  </a:lnTo>
                  <a:lnTo>
                    <a:pt x="23" y="17"/>
                  </a:lnTo>
                  <a:lnTo>
                    <a:pt x="23" y="17"/>
                  </a:lnTo>
                  <a:lnTo>
                    <a:pt x="26" y="19"/>
                  </a:lnTo>
                  <a:lnTo>
                    <a:pt x="26" y="22"/>
                  </a:lnTo>
                  <a:lnTo>
                    <a:pt x="26" y="24"/>
                  </a:lnTo>
                  <a:lnTo>
                    <a:pt x="23" y="27"/>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10" name="Freeform 16"/>
            <p:cNvSpPr>
              <a:spLocks/>
            </p:cNvSpPr>
            <p:nvPr/>
          </p:nvSpPr>
          <p:spPr bwMode="auto">
            <a:xfrm>
              <a:off x="3821113" y="1773666"/>
              <a:ext cx="41275" cy="50800"/>
            </a:xfrm>
            <a:custGeom>
              <a:avLst/>
              <a:gdLst>
                <a:gd name="T0" fmla="*/ 23 w 26"/>
                <a:gd name="T1" fmla="*/ 27 h 32"/>
                <a:gd name="T2" fmla="*/ 23 w 26"/>
                <a:gd name="T3" fmla="*/ 27 h 32"/>
                <a:gd name="T4" fmla="*/ 18 w 26"/>
                <a:gd name="T5" fmla="*/ 30 h 32"/>
                <a:gd name="T6" fmla="*/ 9 w 26"/>
                <a:gd name="T7" fmla="*/ 32 h 32"/>
                <a:gd name="T8" fmla="*/ 9 w 26"/>
                <a:gd name="T9" fmla="*/ 32 h 32"/>
                <a:gd name="T10" fmla="*/ 6 w 26"/>
                <a:gd name="T11" fmla="*/ 30 h 32"/>
                <a:gd name="T12" fmla="*/ 2 w 26"/>
                <a:gd name="T13" fmla="*/ 29 h 32"/>
                <a:gd name="T14" fmla="*/ 0 w 26"/>
                <a:gd name="T15" fmla="*/ 26 h 32"/>
                <a:gd name="T16" fmla="*/ 0 w 26"/>
                <a:gd name="T17" fmla="*/ 24 h 32"/>
                <a:gd name="T18" fmla="*/ 0 w 26"/>
                <a:gd name="T19" fmla="*/ 23 h 32"/>
                <a:gd name="T20" fmla="*/ 0 w 26"/>
                <a:gd name="T21" fmla="*/ 23 h 32"/>
                <a:gd name="T22" fmla="*/ 2 w 26"/>
                <a:gd name="T23" fmla="*/ 19 h 32"/>
                <a:gd name="T24" fmla="*/ 3 w 26"/>
                <a:gd name="T25" fmla="*/ 13 h 32"/>
                <a:gd name="T26" fmla="*/ 3 w 26"/>
                <a:gd name="T27" fmla="*/ 7 h 32"/>
                <a:gd name="T28" fmla="*/ 4 w 26"/>
                <a:gd name="T29" fmla="*/ 4 h 32"/>
                <a:gd name="T30" fmla="*/ 4 w 26"/>
                <a:gd name="T31" fmla="*/ 4 h 32"/>
                <a:gd name="T32" fmla="*/ 6 w 26"/>
                <a:gd name="T33" fmla="*/ 3 h 32"/>
                <a:gd name="T34" fmla="*/ 9 w 26"/>
                <a:gd name="T35" fmla="*/ 1 h 32"/>
                <a:gd name="T36" fmla="*/ 12 w 26"/>
                <a:gd name="T37" fmla="*/ 3 h 32"/>
                <a:gd name="T38" fmla="*/ 15 w 26"/>
                <a:gd name="T39" fmla="*/ 1 h 32"/>
                <a:gd name="T40" fmla="*/ 15 w 26"/>
                <a:gd name="T41" fmla="*/ 1 h 32"/>
                <a:gd name="T42" fmla="*/ 19 w 26"/>
                <a:gd name="T43" fmla="*/ 0 h 32"/>
                <a:gd name="T44" fmla="*/ 20 w 26"/>
                <a:gd name="T45" fmla="*/ 0 h 32"/>
                <a:gd name="T46" fmla="*/ 22 w 26"/>
                <a:gd name="T47" fmla="*/ 1 h 32"/>
                <a:gd name="T48" fmla="*/ 22 w 26"/>
                <a:gd name="T49" fmla="*/ 1 h 32"/>
                <a:gd name="T50" fmla="*/ 23 w 26"/>
                <a:gd name="T51" fmla="*/ 3 h 32"/>
                <a:gd name="T52" fmla="*/ 23 w 26"/>
                <a:gd name="T53" fmla="*/ 4 h 32"/>
                <a:gd name="T54" fmla="*/ 22 w 26"/>
                <a:gd name="T55" fmla="*/ 7 h 32"/>
                <a:gd name="T56" fmla="*/ 20 w 26"/>
                <a:gd name="T57" fmla="*/ 10 h 32"/>
                <a:gd name="T58" fmla="*/ 20 w 26"/>
                <a:gd name="T59" fmla="*/ 10 h 32"/>
                <a:gd name="T60" fmla="*/ 18 w 26"/>
                <a:gd name="T61" fmla="*/ 13 h 32"/>
                <a:gd name="T62" fmla="*/ 18 w 26"/>
                <a:gd name="T63" fmla="*/ 14 h 32"/>
                <a:gd name="T64" fmla="*/ 19 w 26"/>
                <a:gd name="T65" fmla="*/ 17 h 32"/>
                <a:gd name="T66" fmla="*/ 23 w 26"/>
                <a:gd name="T67" fmla="*/ 17 h 32"/>
                <a:gd name="T68" fmla="*/ 23 w 26"/>
                <a:gd name="T69" fmla="*/ 17 h 32"/>
                <a:gd name="T70" fmla="*/ 26 w 26"/>
                <a:gd name="T71" fmla="*/ 19 h 32"/>
                <a:gd name="T72" fmla="*/ 26 w 26"/>
                <a:gd name="T73" fmla="*/ 22 h 32"/>
                <a:gd name="T74" fmla="*/ 26 w 26"/>
                <a:gd name="T75" fmla="*/ 24 h 32"/>
                <a:gd name="T76" fmla="*/ 23 w 26"/>
                <a:gd name="T77" fmla="*/ 2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6" h="32">
                  <a:moveTo>
                    <a:pt x="23" y="27"/>
                  </a:moveTo>
                  <a:lnTo>
                    <a:pt x="23" y="27"/>
                  </a:lnTo>
                  <a:lnTo>
                    <a:pt x="18" y="30"/>
                  </a:lnTo>
                  <a:lnTo>
                    <a:pt x="9" y="32"/>
                  </a:lnTo>
                  <a:lnTo>
                    <a:pt x="9" y="32"/>
                  </a:lnTo>
                  <a:lnTo>
                    <a:pt x="6" y="30"/>
                  </a:lnTo>
                  <a:lnTo>
                    <a:pt x="2" y="29"/>
                  </a:lnTo>
                  <a:lnTo>
                    <a:pt x="0" y="26"/>
                  </a:lnTo>
                  <a:lnTo>
                    <a:pt x="0" y="24"/>
                  </a:lnTo>
                  <a:lnTo>
                    <a:pt x="0" y="23"/>
                  </a:lnTo>
                  <a:lnTo>
                    <a:pt x="0" y="23"/>
                  </a:lnTo>
                  <a:lnTo>
                    <a:pt x="2" y="19"/>
                  </a:lnTo>
                  <a:lnTo>
                    <a:pt x="3" y="13"/>
                  </a:lnTo>
                  <a:lnTo>
                    <a:pt x="3" y="7"/>
                  </a:lnTo>
                  <a:lnTo>
                    <a:pt x="4" y="4"/>
                  </a:lnTo>
                  <a:lnTo>
                    <a:pt x="4" y="4"/>
                  </a:lnTo>
                  <a:lnTo>
                    <a:pt x="6" y="3"/>
                  </a:lnTo>
                  <a:lnTo>
                    <a:pt x="9" y="1"/>
                  </a:lnTo>
                  <a:lnTo>
                    <a:pt x="12" y="3"/>
                  </a:lnTo>
                  <a:lnTo>
                    <a:pt x="15" y="1"/>
                  </a:lnTo>
                  <a:lnTo>
                    <a:pt x="15" y="1"/>
                  </a:lnTo>
                  <a:lnTo>
                    <a:pt x="19" y="0"/>
                  </a:lnTo>
                  <a:lnTo>
                    <a:pt x="20" y="0"/>
                  </a:lnTo>
                  <a:lnTo>
                    <a:pt x="22" y="1"/>
                  </a:lnTo>
                  <a:lnTo>
                    <a:pt x="22" y="1"/>
                  </a:lnTo>
                  <a:lnTo>
                    <a:pt x="23" y="3"/>
                  </a:lnTo>
                  <a:lnTo>
                    <a:pt x="23" y="4"/>
                  </a:lnTo>
                  <a:lnTo>
                    <a:pt x="22" y="7"/>
                  </a:lnTo>
                  <a:lnTo>
                    <a:pt x="20" y="10"/>
                  </a:lnTo>
                  <a:lnTo>
                    <a:pt x="20" y="10"/>
                  </a:lnTo>
                  <a:lnTo>
                    <a:pt x="18" y="13"/>
                  </a:lnTo>
                  <a:lnTo>
                    <a:pt x="18" y="14"/>
                  </a:lnTo>
                  <a:lnTo>
                    <a:pt x="19" y="17"/>
                  </a:lnTo>
                  <a:lnTo>
                    <a:pt x="23" y="17"/>
                  </a:lnTo>
                  <a:lnTo>
                    <a:pt x="23" y="17"/>
                  </a:lnTo>
                  <a:lnTo>
                    <a:pt x="26" y="19"/>
                  </a:lnTo>
                  <a:lnTo>
                    <a:pt x="26" y="22"/>
                  </a:lnTo>
                  <a:lnTo>
                    <a:pt x="26" y="24"/>
                  </a:lnTo>
                  <a:lnTo>
                    <a:pt x="23" y="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11" name="Freeform 17"/>
            <p:cNvSpPr>
              <a:spLocks/>
            </p:cNvSpPr>
            <p:nvPr/>
          </p:nvSpPr>
          <p:spPr bwMode="auto">
            <a:xfrm>
              <a:off x="3819525" y="1654604"/>
              <a:ext cx="17463" cy="52388"/>
            </a:xfrm>
            <a:custGeom>
              <a:avLst/>
              <a:gdLst>
                <a:gd name="T0" fmla="*/ 11 w 11"/>
                <a:gd name="T1" fmla="*/ 33 h 33"/>
                <a:gd name="T2" fmla="*/ 11 w 11"/>
                <a:gd name="T3" fmla="*/ 33 h 33"/>
                <a:gd name="T4" fmla="*/ 8 w 11"/>
                <a:gd name="T5" fmla="*/ 28 h 33"/>
                <a:gd name="T6" fmla="*/ 3 w 11"/>
                <a:gd name="T7" fmla="*/ 17 h 33"/>
                <a:gd name="T8" fmla="*/ 0 w 11"/>
                <a:gd name="T9" fmla="*/ 5 h 33"/>
                <a:gd name="T10" fmla="*/ 0 w 11"/>
                <a:gd name="T11" fmla="*/ 1 h 33"/>
                <a:gd name="T12" fmla="*/ 0 w 11"/>
                <a:gd name="T13" fmla="*/ 0 h 33"/>
                <a:gd name="T14" fmla="*/ 1 w 11"/>
                <a:gd name="T15" fmla="*/ 0 h 33"/>
                <a:gd name="T16" fmla="*/ 1 w 11"/>
                <a:gd name="T17" fmla="*/ 0 h 33"/>
                <a:gd name="T18" fmla="*/ 4 w 11"/>
                <a:gd name="T19" fmla="*/ 1 h 33"/>
                <a:gd name="T20" fmla="*/ 7 w 11"/>
                <a:gd name="T21" fmla="*/ 5 h 33"/>
                <a:gd name="T22" fmla="*/ 10 w 11"/>
                <a:gd name="T23" fmla="*/ 15 h 33"/>
                <a:gd name="T24" fmla="*/ 11 w 11"/>
                <a:gd name="T25" fmla="*/ 27 h 33"/>
                <a:gd name="T26" fmla="*/ 11 w 11"/>
                <a:gd name="T2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33">
                  <a:moveTo>
                    <a:pt x="11" y="33"/>
                  </a:moveTo>
                  <a:lnTo>
                    <a:pt x="11" y="33"/>
                  </a:lnTo>
                  <a:lnTo>
                    <a:pt x="8" y="28"/>
                  </a:lnTo>
                  <a:lnTo>
                    <a:pt x="3" y="17"/>
                  </a:lnTo>
                  <a:lnTo>
                    <a:pt x="0" y="5"/>
                  </a:lnTo>
                  <a:lnTo>
                    <a:pt x="0" y="1"/>
                  </a:lnTo>
                  <a:lnTo>
                    <a:pt x="0" y="0"/>
                  </a:lnTo>
                  <a:lnTo>
                    <a:pt x="1" y="0"/>
                  </a:lnTo>
                  <a:lnTo>
                    <a:pt x="1" y="0"/>
                  </a:lnTo>
                  <a:lnTo>
                    <a:pt x="4" y="1"/>
                  </a:lnTo>
                  <a:lnTo>
                    <a:pt x="7" y="5"/>
                  </a:lnTo>
                  <a:lnTo>
                    <a:pt x="10" y="15"/>
                  </a:lnTo>
                  <a:lnTo>
                    <a:pt x="11" y="27"/>
                  </a:lnTo>
                  <a:lnTo>
                    <a:pt x="11" y="33"/>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12" name="Freeform 18"/>
            <p:cNvSpPr>
              <a:spLocks/>
            </p:cNvSpPr>
            <p:nvPr/>
          </p:nvSpPr>
          <p:spPr bwMode="auto">
            <a:xfrm>
              <a:off x="3819525" y="1654604"/>
              <a:ext cx="17463" cy="52388"/>
            </a:xfrm>
            <a:custGeom>
              <a:avLst/>
              <a:gdLst>
                <a:gd name="T0" fmla="*/ 11 w 11"/>
                <a:gd name="T1" fmla="*/ 33 h 33"/>
                <a:gd name="T2" fmla="*/ 11 w 11"/>
                <a:gd name="T3" fmla="*/ 33 h 33"/>
                <a:gd name="T4" fmla="*/ 8 w 11"/>
                <a:gd name="T5" fmla="*/ 28 h 33"/>
                <a:gd name="T6" fmla="*/ 3 w 11"/>
                <a:gd name="T7" fmla="*/ 17 h 33"/>
                <a:gd name="T8" fmla="*/ 0 w 11"/>
                <a:gd name="T9" fmla="*/ 5 h 33"/>
                <a:gd name="T10" fmla="*/ 0 w 11"/>
                <a:gd name="T11" fmla="*/ 1 h 33"/>
                <a:gd name="T12" fmla="*/ 0 w 11"/>
                <a:gd name="T13" fmla="*/ 0 h 33"/>
                <a:gd name="T14" fmla="*/ 1 w 11"/>
                <a:gd name="T15" fmla="*/ 0 h 33"/>
                <a:gd name="T16" fmla="*/ 1 w 11"/>
                <a:gd name="T17" fmla="*/ 0 h 33"/>
                <a:gd name="T18" fmla="*/ 4 w 11"/>
                <a:gd name="T19" fmla="*/ 1 h 33"/>
                <a:gd name="T20" fmla="*/ 7 w 11"/>
                <a:gd name="T21" fmla="*/ 5 h 33"/>
                <a:gd name="T22" fmla="*/ 10 w 11"/>
                <a:gd name="T23" fmla="*/ 15 h 33"/>
                <a:gd name="T24" fmla="*/ 11 w 11"/>
                <a:gd name="T25" fmla="*/ 27 h 33"/>
                <a:gd name="T26" fmla="*/ 11 w 11"/>
                <a:gd name="T2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33">
                  <a:moveTo>
                    <a:pt x="11" y="33"/>
                  </a:moveTo>
                  <a:lnTo>
                    <a:pt x="11" y="33"/>
                  </a:lnTo>
                  <a:lnTo>
                    <a:pt x="8" y="28"/>
                  </a:lnTo>
                  <a:lnTo>
                    <a:pt x="3" y="17"/>
                  </a:lnTo>
                  <a:lnTo>
                    <a:pt x="0" y="5"/>
                  </a:lnTo>
                  <a:lnTo>
                    <a:pt x="0" y="1"/>
                  </a:lnTo>
                  <a:lnTo>
                    <a:pt x="0" y="0"/>
                  </a:lnTo>
                  <a:lnTo>
                    <a:pt x="1" y="0"/>
                  </a:lnTo>
                  <a:lnTo>
                    <a:pt x="1" y="0"/>
                  </a:lnTo>
                  <a:lnTo>
                    <a:pt x="4" y="1"/>
                  </a:lnTo>
                  <a:lnTo>
                    <a:pt x="7" y="5"/>
                  </a:lnTo>
                  <a:lnTo>
                    <a:pt x="10" y="15"/>
                  </a:lnTo>
                  <a:lnTo>
                    <a:pt x="11" y="27"/>
                  </a:lnTo>
                  <a:lnTo>
                    <a:pt x="11" y="3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13" name="Freeform 19"/>
            <p:cNvSpPr>
              <a:spLocks/>
            </p:cNvSpPr>
            <p:nvPr/>
          </p:nvSpPr>
          <p:spPr bwMode="auto">
            <a:xfrm>
              <a:off x="3846513" y="1518079"/>
              <a:ext cx="11113" cy="26988"/>
            </a:xfrm>
            <a:custGeom>
              <a:avLst/>
              <a:gdLst>
                <a:gd name="T0" fmla="*/ 0 w 7"/>
                <a:gd name="T1" fmla="*/ 17 h 17"/>
                <a:gd name="T2" fmla="*/ 0 w 7"/>
                <a:gd name="T3" fmla="*/ 17 h 17"/>
                <a:gd name="T4" fmla="*/ 0 w 7"/>
                <a:gd name="T5" fmla="*/ 15 h 17"/>
                <a:gd name="T6" fmla="*/ 0 w 7"/>
                <a:gd name="T7" fmla="*/ 7 h 17"/>
                <a:gd name="T8" fmla="*/ 2 w 7"/>
                <a:gd name="T9" fmla="*/ 2 h 17"/>
                <a:gd name="T10" fmla="*/ 3 w 7"/>
                <a:gd name="T11" fmla="*/ 0 h 17"/>
                <a:gd name="T12" fmla="*/ 6 w 7"/>
                <a:gd name="T13" fmla="*/ 0 h 17"/>
                <a:gd name="T14" fmla="*/ 6 w 7"/>
                <a:gd name="T15" fmla="*/ 0 h 17"/>
                <a:gd name="T16" fmla="*/ 7 w 7"/>
                <a:gd name="T17" fmla="*/ 0 h 17"/>
                <a:gd name="T18" fmla="*/ 7 w 7"/>
                <a:gd name="T19" fmla="*/ 3 h 17"/>
                <a:gd name="T20" fmla="*/ 6 w 7"/>
                <a:gd name="T21" fmla="*/ 9 h 17"/>
                <a:gd name="T22" fmla="*/ 3 w 7"/>
                <a:gd name="T23" fmla="*/ 15 h 17"/>
                <a:gd name="T24" fmla="*/ 2 w 7"/>
                <a:gd name="T25" fmla="*/ 17 h 17"/>
                <a:gd name="T26" fmla="*/ 0 w 7"/>
                <a:gd name="T2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7">
                  <a:moveTo>
                    <a:pt x="0" y="17"/>
                  </a:moveTo>
                  <a:lnTo>
                    <a:pt x="0" y="17"/>
                  </a:lnTo>
                  <a:lnTo>
                    <a:pt x="0" y="15"/>
                  </a:lnTo>
                  <a:lnTo>
                    <a:pt x="0" y="7"/>
                  </a:lnTo>
                  <a:lnTo>
                    <a:pt x="2" y="2"/>
                  </a:lnTo>
                  <a:lnTo>
                    <a:pt x="3" y="0"/>
                  </a:lnTo>
                  <a:lnTo>
                    <a:pt x="6" y="0"/>
                  </a:lnTo>
                  <a:lnTo>
                    <a:pt x="6" y="0"/>
                  </a:lnTo>
                  <a:lnTo>
                    <a:pt x="7" y="0"/>
                  </a:lnTo>
                  <a:lnTo>
                    <a:pt x="7" y="3"/>
                  </a:lnTo>
                  <a:lnTo>
                    <a:pt x="6" y="9"/>
                  </a:lnTo>
                  <a:lnTo>
                    <a:pt x="3" y="15"/>
                  </a:lnTo>
                  <a:lnTo>
                    <a:pt x="2" y="17"/>
                  </a:lnTo>
                  <a:lnTo>
                    <a:pt x="0" y="17"/>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14" name="Freeform 20"/>
            <p:cNvSpPr>
              <a:spLocks/>
            </p:cNvSpPr>
            <p:nvPr/>
          </p:nvSpPr>
          <p:spPr bwMode="auto">
            <a:xfrm>
              <a:off x="3846513" y="1518079"/>
              <a:ext cx="11113" cy="26988"/>
            </a:xfrm>
            <a:custGeom>
              <a:avLst/>
              <a:gdLst>
                <a:gd name="T0" fmla="*/ 0 w 7"/>
                <a:gd name="T1" fmla="*/ 17 h 17"/>
                <a:gd name="T2" fmla="*/ 0 w 7"/>
                <a:gd name="T3" fmla="*/ 17 h 17"/>
                <a:gd name="T4" fmla="*/ 0 w 7"/>
                <a:gd name="T5" fmla="*/ 15 h 17"/>
                <a:gd name="T6" fmla="*/ 0 w 7"/>
                <a:gd name="T7" fmla="*/ 7 h 17"/>
                <a:gd name="T8" fmla="*/ 2 w 7"/>
                <a:gd name="T9" fmla="*/ 2 h 17"/>
                <a:gd name="T10" fmla="*/ 3 w 7"/>
                <a:gd name="T11" fmla="*/ 0 h 17"/>
                <a:gd name="T12" fmla="*/ 6 w 7"/>
                <a:gd name="T13" fmla="*/ 0 h 17"/>
                <a:gd name="T14" fmla="*/ 6 w 7"/>
                <a:gd name="T15" fmla="*/ 0 h 17"/>
                <a:gd name="T16" fmla="*/ 7 w 7"/>
                <a:gd name="T17" fmla="*/ 0 h 17"/>
                <a:gd name="T18" fmla="*/ 7 w 7"/>
                <a:gd name="T19" fmla="*/ 3 h 17"/>
                <a:gd name="T20" fmla="*/ 6 w 7"/>
                <a:gd name="T21" fmla="*/ 9 h 17"/>
                <a:gd name="T22" fmla="*/ 3 w 7"/>
                <a:gd name="T23" fmla="*/ 15 h 17"/>
                <a:gd name="T24" fmla="*/ 2 w 7"/>
                <a:gd name="T25" fmla="*/ 17 h 17"/>
                <a:gd name="T26" fmla="*/ 0 w 7"/>
                <a:gd name="T2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7">
                  <a:moveTo>
                    <a:pt x="0" y="17"/>
                  </a:moveTo>
                  <a:lnTo>
                    <a:pt x="0" y="17"/>
                  </a:lnTo>
                  <a:lnTo>
                    <a:pt x="0" y="15"/>
                  </a:lnTo>
                  <a:lnTo>
                    <a:pt x="0" y="7"/>
                  </a:lnTo>
                  <a:lnTo>
                    <a:pt x="2" y="2"/>
                  </a:lnTo>
                  <a:lnTo>
                    <a:pt x="3" y="0"/>
                  </a:lnTo>
                  <a:lnTo>
                    <a:pt x="6" y="0"/>
                  </a:lnTo>
                  <a:lnTo>
                    <a:pt x="6" y="0"/>
                  </a:lnTo>
                  <a:lnTo>
                    <a:pt x="7" y="0"/>
                  </a:lnTo>
                  <a:lnTo>
                    <a:pt x="7" y="3"/>
                  </a:lnTo>
                  <a:lnTo>
                    <a:pt x="6" y="9"/>
                  </a:lnTo>
                  <a:lnTo>
                    <a:pt x="3" y="15"/>
                  </a:lnTo>
                  <a:lnTo>
                    <a:pt x="2" y="17"/>
                  </a:lnTo>
                  <a:lnTo>
                    <a:pt x="0"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15" name="Freeform 21"/>
            <p:cNvSpPr>
              <a:spLocks/>
            </p:cNvSpPr>
            <p:nvPr/>
          </p:nvSpPr>
          <p:spPr bwMode="auto">
            <a:xfrm>
              <a:off x="3849688" y="1357741"/>
              <a:ext cx="12700" cy="20638"/>
            </a:xfrm>
            <a:custGeom>
              <a:avLst/>
              <a:gdLst>
                <a:gd name="T0" fmla="*/ 1 w 8"/>
                <a:gd name="T1" fmla="*/ 13 h 13"/>
                <a:gd name="T2" fmla="*/ 1 w 8"/>
                <a:gd name="T3" fmla="*/ 13 h 13"/>
                <a:gd name="T4" fmla="*/ 0 w 8"/>
                <a:gd name="T5" fmla="*/ 10 h 13"/>
                <a:gd name="T6" fmla="*/ 0 w 8"/>
                <a:gd name="T7" fmla="*/ 5 h 13"/>
                <a:gd name="T8" fmla="*/ 1 w 8"/>
                <a:gd name="T9" fmla="*/ 0 h 13"/>
                <a:gd name="T10" fmla="*/ 2 w 8"/>
                <a:gd name="T11" fmla="*/ 0 h 13"/>
                <a:gd name="T12" fmla="*/ 4 w 8"/>
                <a:gd name="T13" fmla="*/ 0 h 13"/>
                <a:gd name="T14" fmla="*/ 4 w 8"/>
                <a:gd name="T15" fmla="*/ 0 h 13"/>
                <a:gd name="T16" fmla="*/ 7 w 8"/>
                <a:gd name="T17" fmla="*/ 0 h 13"/>
                <a:gd name="T18" fmla="*/ 8 w 8"/>
                <a:gd name="T19" fmla="*/ 3 h 13"/>
                <a:gd name="T20" fmla="*/ 7 w 8"/>
                <a:gd name="T21" fmla="*/ 5 h 13"/>
                <a:gd name="T22" fmla="*/ 5 w 8"/>
                <a:gd name="T23" fmla="*/ 10 h 13"/>
                <a:gd name="T24" fmla="*/ 1 w 8"/>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3">
                  <a:moveTo>
                    <a:pt x="1" y="13"/>
                  </a:moveTo>
                  <a:lnTo>
                    <a:pt x="1" y="13"/>
                  </a:lnTo>
                  <a:lnTo>
                    <a:pt x="0" y="10"/>
                  </a:lnTo>
                  <a:lnTo>
                    <a:pt x="0" y="5"/>
                  </a:lnTo>
                  <a:lnTo>
                    <a:pt x="1" y="0"/>
                  </a:lnTo>
                  <a:lnTo>
                    <a:pt x="2" y="0"/>
                  </a:lnTo>
                  <a:lnTo>
                    <a:pt x="4" y="0"/>
                  </a:lnTo>
                  <a:lnTo>
                    <a:pt x="4" y="0"/>
                  </a:lnTo>
                  <a:lnTo>
                    <a:pt x="7" y="0"/>
                  </a:lnTo>
                  <a:lnTo>
                    <a:pt x="8" y="3"/>
                  </a:lnTo>
                  <a:lnTo>
                    <a:pt x="7" y="5"/>
                  </a:lnTo>
                  <a:lnTo>
                    <a:pt x="5" y="10"/>
                  </a:lnTo>
                  <a:lnTo>
                    <a:pt x="1" y="13"/>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16" name="Freeform 22"/>
            <p:cNvSpPr>
              <a:spLocks/>
            </p:cNvSpPr>
            <p:nvPr/>
          </p:nvSpPr>
          <p:spPr bwMode="auto">
            <a:xfrm>
              <a:off x="3849688" y="1357741"/>
              <a:ext cx="12700" cy="20638"/>
            </a:xfrm>
            <a:custGeom>
              <a:avLst/>
              <a:gdLst>
                <a:gd name="T0" fmla="*/ 1 w 8"/>
                <a:gd name="T1" fmla="*/ 13 h 13"/>
                <a:gd name="T2" fmla="*/ 1 w 8"/>
                <a:gd name="T3" fmla="*/ 13 h 13"/>
                <a:gd name="T4" fmla="*/ 0 w 8"/>
                <a:gd name="T5" fmla="*/ 10 h 13"/>
                <a:gd name="T6" fmla="*/ 0 w 8"/>
                <a:gd name="T7" fmla="*/ 5 h 13"/>
                <a:gd name="T8" fmla="*/ 1 w 8"/>
                <a:gd name="T9" fmla="*/ 0 h 13"/>
                <a:gd name="T10" fmla="*/ 2 w 8"/>
                <a:gd name="T11" fmla="*/ 0 h 13"/>
                <a:gd name="T12" fmla="*/ 4 w 8"/>
                <a:gd name="T13" fmla="*/ 0 h 13"/>
                <a:gd name="T14" fmla="*/ 4 w 8"/>
                <a:gd name="T15" fmla="*/ 0 h 13"/>
                <a:gd name="T16" fmla="*/ 7 w 8"/>
                <a:gd name="T17" fmla="*/ 0 h 13"/>
                <a:gd name="T18" fmla="*/ 8 w 8"/>
                <a:gd name="T19" fmla="*/ 3 h 13"/>
                <a:gd name="T20" fmla="*/ 7 w 8"/>
                <a:gd name="T21" fmla="*/ 5 h 13"/>
                <a:gd name="T22" fmla="*/ 5 w 8"/>
                <a:gd name="T23" fmla="*/ 10 h 13"/>
                <a:gd name="T24" fmla="*/ 1 w 8"/>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3">
                  <a:moveTo>
                    <a:pt x="1" y="13"/>
                  </a:moveTo>
                  <a:lnTo>
                    <a:pt x="1" y="13"/>
                  </a:lnTo>
                  <a:lnTo>
                    <a:pt x="0" y="10"/>
                  </a:lnTo>
                  <a:lnTo>
                    <a:pt x="0" y="5"/>
                  </a:lnTo>
                  <a:lnTo>
                    <a:pt x="1" y="0"/>
                  </a:lnTo>
                  <a:lnTo>
                    <a:pt x="2" y="0"/>
                  </a:lnTo>
                  <a:lnTo>
                    <a:pt x="4" y="0"/>
                  </a:lnTo>
                  <a:lnTo>
                    <a:pt x="4" y="0"/>
                  </a:lnTo>
                  <a:lnTo>
                    <a:pt x="7" y="0"/>
                  </a:lnTo>
                  <a:lnTo>
                    <a:pt x="8" y="3"/>
                  </a:lnTo>
                  <a:lnTo>
                    <a:pt x="7" y="5"/>
                  </a:lnTo>
                  <a:lnTo>
                    <a:pt x="5" y="10"/>
                  </a:lnTo>
                  <a:lnTo>
                    <a:pt x="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17" name="Freeform 23"/>
            <p:cNvSpPr>
              <a:spLocks/>
            </p:cNvSpPr>
            <p:nvPr/>
          </p:nvSpPr>
          <p:spPr bwMode="auto">
            <a:xfrm>
              <a:off x="3810000" y="1395841"/>
              <a:ext cx="9525" cy="15875"/>
            </a:xfrm>
            <a:custGeom>
              <a:avLst/>
              <a:gdLst>
                <a:gd name="T0" fmla="*/ 1 w 6"/>
                <a:gd name="T1" fmla="*/ 10 h 10"/>
                <a:gd name="T2" fmla="*/ 1 w 6"/>
                <a:gd name="T3" fmla="*/ 10 h 10"/>
                <a:gd name="T4" fmla="*/ 0 w 6"/>
                <a:gd name="T5" fmla="*/ 9 h 10"/>
                <a:gd name="T6" fmla="*/ 0 w 6"/>
                <a:gd name="T7" fmla="*/ 8 h 10"/>
                <a:gd name="T8" fmla="*/ 0 w 6"/>
                <a:gd name="T9" fmla="*/ 5 h 10"/>
                <a:gd name="T10" fmla="*/ 3 w 6"/>
                <a:gd name="T11" fmla="*/ 0 h 10"/>
                <a:gd name="T12" fmla="*/ 6 w 6"/>
                <a:gd name="T13" fmla="*/ 0 h 10"/>
                <a:gd name="T14" fmla="*/ 6 w 6"/>
                <a:gd name="T15" fmla="*/ 0 h 10"/>
                <a:gd name="T16" fmla="*/ 6 w 6"/>
                <a:gd name="T17" fmla="*/ 0 h 10"/>
                <a:gd name="T18" fmla="*/ 6 w 6"/>
                <a:gd name="T19" fmla="*/ 2 h 10"/>
                <a:gd name="T20" fmla="*/ 6 w 6"/>
                <a:gd name="T21" fmla="*/ 6 h 10"/>
                <a:gd name="T22" fmla="*/ 4 w 6"/>
                <a:gd name="T23" fmla="*/ 10 h 10"/>
                <a:gd name="T24" fmla="*/ 3 w 6"/>
                <a:gd name="T25" fmla="*/ 10 h 10"/>
                <a:gd name="T26" fmla="*/ 1 w 6"/>
                <a:gd name="T2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0">
                  <a:moveTo>
                    <a:pt x="1" y="10"/>
                  </a:moveTo>
                  <a:lnTo>
                    <a:pt x="1" y="10"/>
                  </a:lnTo>
                  <a:lnTo>
                    <a:pt x="0" y="9"/>
                  </a:lnTo>
                  <a:lnTo>
                    <a:pt x="0" y="8"/>
                  </a:lnTo>
                  <a:lnTo>
                    <a:pt x="0" y="5"/>
                  </a:lnTo>
                  <a:lnTo>
                    <a:pt x="3" y="0"/>
                  </a:lnTo>
                  <a:lnTo>
                    <a:pt x="6" y="0"/>
                  </a:lnTo>
                  <a:lnTo>
                    <a:pt x="6" y="0"/>
                  </a:lnTo>
                  <a:lnTo>
                    <a:pt x="6" y="0"/>
                  </a:lnTo>
                  <a:lnTo>
                    <a:pt x="6" y="2"/>
                  </a:lnTo>
                  <a:lnTo>
                    <a:pt x="6" y="6"/>
                  </a:lnTo>
                  <a:lnTo>
                    <a:pt x="4" y="10"/>
                  </a:lnTo>
                  <a:lnTo>
                    <a:pt x="3" y="10"/>
                  </a:lnTo>
                  <a:lnTo>
                    <a:pt x="1" y="10"/>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18" name="Freeform 24"/>
            <p:cNvSpPr>
              <a:spLocks/>
            </p:cNvSpPr>
            <p:nvPr/>
          </p:nvSpPr>
          <p:spPr bwMode="auto">
            <a:xfrm>
              <a:off x="3810000" y="1395841"/>
              <a:ext cx="9525" cy="15875"/>
            </a:xfrm>
            <a:custGeom>
              <a:avLst/>
              <a:gdLst>
                <a:gd name="T0" fmla="*/ 1 w 6"/>
                <a:gd name="T1" fmla="*/ 10 h 10"/>
                <a:gd name="T2" fmla="*/ 1 w 6"/>
                <a:gd name="T3" fmla="*/ 10 h 10"/>
                <a:gd name="T4" fmla="*/ 0 w 6"/>
                <a:gd name="T5" fmla="*/ 9 h 10"/>
                <a:gd name="T6" fmla="*/ 0 w 6"/>
                <a:gd name="T7" fmla="*/ 8 h 10"/>
                <a:gd name="T8" fmla="*/ 0 w 6"/>
                <a:gd name="T9" fmla="*/ 5 h 10"/>
                <a:gd name="T10" fmla="*/ 3 w 6"/>
                <a:gd name="T11" fmla="*/ 0 h 10"/>
                <a:gd name="T12" fmla="*/ 6 w 6"/>
                <a:gd name="T13" fmla="*/ 0 h 10"/>
                <a:gd name="T14" fmla="*/ 6 w 6"/>
                <a:gd name="T15" fmla="*/ 0 h 10"/>
                <a:gd name="T16" fmla="*/ 6 w 6"/>
                <a:gd name="T17" fmla="*/ 0 h 10"/>
                <a:gd name="T18" fmla="*/ 6 w 6"/>
                <a:gd name="T19" fmla="*/ 2 h 10"/>
                <a:gd name="T20" fmla="*/ 6 w 6"/>
                <a:gd name="T21" fmla="*/ 6 h 10"/>
                <a:gd name="T22" fmla="*/ 4 w 6"/>
                <a:gd name="T23" fmla="*/ 10 h 10"/>
                <a:gd name="T24" fmla="*/ 3 w 6"/>
                <a:gd name="T25" fmla="*/ 10 h 10"/>
                <a:gd name="T26" fmla="*/ 1 w 6"/>
                <a:gd name="T2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0">
                  <a:moveTo>
                    <a:pt x="1" y="10"/>
                  </a:moveTo>
                  <a:lnTo>
                    <a:pt x="1" y="10"/>
                  </a:lnTo>
                  <a:lnTo>
                    <a:pt x="0" y="9"/>
                  </a:lnTo>
                  <a:lnTo>
                    <a:pt x="0" y="8"/>
                  </a:lnTo>
                  <a:lnTo>
                    <a:pt x="0" y="5"/>
                  </a:lnTo>
                  <a:lnTo>
                    <a:pt x="3" y="0"/>
                  </a:lnTo>
                  <a:lnTo>
                    <a:pt x="6" y="0"/>
                  </a:lnTo>
                  <a:lnTo>
                    <a:pt x="6" y="0"/>
                  </a:lnTo>
                  <a:lnTo>
                    <a:pt x="6" y="0"/>
                  </a:lnTo>
                  <a:lnTo>
                    <a:pt x="6" y="2"/>
                  </a:lnTo>
                  <a:lnTo>
                    <a:pt x="6" y="6"/>
                  </a:lnTo>
                  <a:lnTo>
                    <a:pt x="4" y="10"/>
                  </a:lnTo>
                  <a:lnTo>
                    <a:pt x="3" y="10"/>
                  </a:lnTo>
                  <a:lnTo>
                    <a:pt x="1"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19" name="Freeform 74"/>
            <p:cNvSpPr>
              <a:spLocks/>
            </p:cNvSpPr>
            <p:nvPr/>
          </p:nvSpPr>
          <p:spPr bwMode="auto">
            <a:xfrm>
              <a:off x="4575175" y="1232329"/>
              <a:ext cx="266700" cy="412750"/>
            </a:xfrm>
            <a:custGeom>
              <a:avLst/>
              <a:gdLst>
                <a:gd name="T0" fmla="*/ 89 w 168"/>
                <a:gd name="T1" fmla="*/ 254 h 260"/>
                <a:gd name="T2" fmla="*/ 80 w 168"/>
                <a:gd name="T3" fmla="*/ 231 h 260"/>
                <a:gd name="T4" fmla="*/ 75 w 168"/>
                <a:gd name="T5" fmla="*/ 228 h 260"/>
                <a:gd name="T6" fmla="*/ 60 w 168"/>
                <a:gd name="T7" fmla="*/ 216 h 260"/>
                <a:gd name="T8" fmla="*/ 55 w 168"/>
                <a:gd name="T9" fmla="*/ 186 h 260"/>
                <a:gd name="T10" fmla="*/ 61 w 168"/>
                <a:gd name="T11" fmla="*/ 193 h 260"/>
                <a:gd name="T12" fmla="*/ 81 w 168"/>
                <a:gd name="T13" fmla="*/ 190 h 260"/>
                <a:gd name="T14" fmla="*/ 77 w 168"/>
                <a:gd name="T15" fmla="*/ 177 h 260"/>
                <a:gd name="T16" fmla="*/ 93 w 168"/>
                <a:gd name="T17" fmla="*/ 166 h 260"/>
                <a:gd name="T18" fmla="*/ 61 w 168"/>
                <a:gd name="T19" fmla="*/ 174 h 260"/>
                <a:gd name="T20" fmla="*/ 48 w 168"/>
                <a:gd name="T21" fmla="*/ 161 h 260"/>
                <a:gd name="T22" fmla="*/ 55 w 168"/>
                <a:gd name="T23" fmla="*/ 157 h 260"/>
                <a:gd name="T24" fmla="*/ 71 w 168"/>
                <a:gd name="T25" fmla="*/ 141 h 260"/>
                <a:gd name="T26" fmla="*/ 84 w 168"/>
                <a:gd name="T27" fmla="*/ 128 h 260"/>
                <a:gd name="T28" fmla="*/ 96 w 168"/>
                <a:gd name="T29" fmla="*/ 129 h 260"/>
                <a:gd name="T30" fmla="*/ 91 w 168"/>
                <a:gd name="T31" fmla="*/ 119 h 260"/>
                <a:gd name="T32" fmla="*/ 91 w 168"/>
                <a:gd name="T33" fmla="*/ 102 h 260"/>
                <a:gd name="T34" fmla="*/ 78 w 168"/>
                <a:gd name="T35" fmla="*/ 119 h 260"/>
                <a:gd name="T36" fmla="*/ 77 w 168"/>
                <a:gd name="T37" fmla="*/ 99 h 260"/>
                <a:gd name="T38" fmla="*/ 70 w 168"/>
                <a:gd name="T39" fmla="*/ 96 h 260"/>
                <a:gd name="T40" fmla="*/ 60 w 168"/>
                <a:gd name="T41" fmla="*/ 100 h 260"/>
                <a:gd name="T42" fmla="*/ 57 w 168"/>
                <a:gd name="T43" fmla="*/ 126 h 260"/>
                <a:gd name="T44" fmla="*/ 39 w 168"/>
                <a:gd name="T45" fmla="*/ 137 h 260"/>
                <a:gd name="T46" fmla="*/ 28 w 168"/>
                <a:gd name="T47" fmla="*/ 121 h 260"/>
                <a:gd name="T48" fmla="*/ 31 w 168"/>
                <a:gd name="T49" fmla="*/ 113 h 260"/>
                <a:gd name="T50" fmla="*/ 13 w 168"/>
                <a:gd name="T51" fmla="*/ 95 h 260"/>
                <a:gd name="T52" fmla="*/ 13 w 168"/>
                <a:gd name="T53" fmla="*/ 80 h 260"/>
                <a:gd name="T54" fmla="*/ 25 w 168"/>
                <a:gd name="T55" fmla="*/ 84 h 260"/>
                <a:gd name="T56" fmla="*/ 19 w 168"/>
                <a:gd name="T57" fmla="*/ 64 h 260"/>
                <a:gd name="T58" fmla="*/ 13 w 168"/>
                <a:gd name="T59" fmla="*/ 58 h 260"/>
                <a:gd name="T60" fmla="*/ 6 w 168"/>
                <a:gd name="T61" fmla="*/ 61 h 260"/>
                <a:gd name="T62" fmla="*/ 2 w 168"/>
                <a:gd name="T63" fmla="*/ 37 h 260"/>
                <a:gd name="T64" fmla="*/ 6 w 168"/>
                <a:gd name="T65" fmla="*/ 25 h 260"/>
                <a:gd name="T66" fmla="*/ 9 w 168"/>
                <a:gd name="T67" fmla="*/ 19 h 260"/>
                <a:gd name="T68" fmla="*/ 48 w 168"/>
                <a:gd name="T69" fmla="*/ 13 h 260"/>
                <a:gd name="T70" fmla="*/ 29 w 168"/>
                <a:gd name="T71" fmla="*/ 28 h 260"/>
                <a:gd name="T72" fmla="*/ 41 w 168"/>
                <a:gd name="T73" fmla="*/ 28 h 260"/>
                <a:gd name="T74" fmla="*/ 44 w 168"/>
                <a:gd name="T75" fmla="*/ 38 h 260"/>
                <a:gd name="T76" fmla="*/ 51 w 168"/>
                <a:gd name="T77" fmla="*/ 51 h 260"/>
                <a:gd name="T78" fmla="*/ 70 w 168"/>
                <a:gd name="T79" fmla="*/ 15 h 260"/>
                <a:gd name="T80" fmla="*/ 74 w 168"/>
                <a:gd name="T81" fmla="*/ 57 h 260"/>
                <a:gd name="T82" fmla="*/ 74 w 168"/>
                <a:gd name="T83" fmla="*/ 64 h 260"/>
                <a:gd name="T84" fmla="*/ 86 w 168"/>
                <a:gd name="T85" fmla="*/ 80 h 260"/>
                <a:gd name="T86" fmla="*/ 78 w 168"/>
                <a:gd name="T87" fmla="*/ 29 h 260"/>
                <a:gd name="T88" fmla="*/ 112 w 168"/>
                <a:gd name="T89" fmla="*/ 16 h 260"/>
                <a:gd name="T90" fmla="*/ 109 w 168"/>
                <a:gd name="T91" fmla="*/ 28 h 260"/>
                <a:gd name="T92" fmla="*/ 113 w 168"/>
                <a:gd name="T93" fmla="*/ 35 h 260"/>
                <a:gd name="T94" fmla="*/ 120 w 168"/>
                <a:gd name="T95" fmla="*/ 28 h 260"/>
                <a:gd name="T96" fmla="*/ 125 w 168"/>
                <a:gd name="T97" fmla="*/ 54 h 260"/>
                <a:gd name="T98" fmla="*/ 141 w 168"/>
                <a:gd name="T99" fmla="*/ 67 h 260"/>
                <a:gd name="T100" fmla="*/ 155 w 168"/>
                <a:gd name="T101" fmla="*/ 87 h 260"/>
                <a:gd name="T102" fmla="*/ 168 w 168"/>
                <a:gd name="T103" fmla="*/ 90 h 260"/>
                <a:gd name="T104" fmla="*/ 149 w 168"/>
                <a:gd name="T105" fmla="*/ 106 h 260"/>
                <a:gd name="T106" fmla="*/ 135 w 168"/>
                <a:gd name="T107" fmla="*/ 118 h 260"/>
                <a:gd name="T108" fmla="*/ 128 w 168"/>
                <a:gd name="T109" fmla="*/ 151 h 260"/>
                <a:gd name="T110" fmla="*/ 120 w 168"/>
                <a:gd name="T111" fmla="*/ 176 h 260"/>
                <a:gd name="T112" fmla="*/ 103 w 168"/>
                <a:gd name="T113" fmla="*/ 224 h 260"/>
                <a:gd name="T114" fmla="*/ 103 w 168"/>
                <a:gd name="T115" fmla="*/ 258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 h="260">
                  <a:moveTo>
                    <a:pt x="102" y="260"/>
                  </a:moveTo>
                  <a:lnTo>
                    <a:pt x="102" y="260"/>
                  </a:lnTo>
                  <a:lnTo>
                    <a:pt x="100" y="260"/>
                  </a:lnTo>
                  <a:lnTo>
                    <a:pt x="100" y="260"/>
                  </a:lnTo>
                  <a:lnTo>
                    <a:pt x="96" y="258"/>
                  </a:lnTo>
                  <a:lnTo>
                    <a:pt x="91" y="257"/>
                  </a:lnTo>
                  <a:lnTo>
                    <a:pt x="91" y="257"/>
                  </a:lnTo>
                  <a:lnTo>
                    <a:pt x="89" y="254"/>
                  </a:lnTo>
                  <a:lnTo>
                    <a:pt x="86" y="251"/>
                  </a:lnTo>
                  <a:lnTo>
                    <a:pt x="84" y="247"/>
                  </a:lnTo>
                  <a:lnTo>
                    <a:pt x="81" y="244"/>
                  </a:lnTo>
                  <a:lnTo>
                    <a:pt x="81" y="244"/>
                  </a:lnTo>
                  <a:lnTo>
                    <a:pt x="80" y="241"/>
                  </a:lnTo>
                  <a:lnTo>
                    <a:pt x="78" y="237"/>
                  </a:lnTo>
                  <a:lnTo>
                    <a:pt x="80" y="234"/>
                  </a:lnTo>
                  <a:lnTo>
                    <a:pt x="80" y="231"/>
                  </a:lnTo>
                  <a:lnTo>
                    <a:pt x="80" y="231"/>
                  </a:lnTo>
                  <a:lnTo>
                    <a:pt x="81" y="226"/>
                  </a:lnTo>
                  <a:lnTo>
                    <a:pt x="80" y="225"/>
                  </a:lnTo>
                  <a:lnTo>
                    <a:pt x="78" y="225"/>
                  </a:lnTo>
                  <a:lnTo>
                    <a:pt x="78" y="225"/>
                  </a:lnTo>
                  <a:lnTo>
                    <a:pt x="77" y="225"/>
                  </a:lnTo>
                  <a:lnTo>
                    <a:pt x="77" y="225"/>
                  </a:lnTo>
                  <a:lnTo>
                    <a:pt x="75" y="228"/>
                  </a:lnTo>
                  <a:lnTo>
                    <a:pt x="74" y="228"/>
                  </a:lnTo>
                  <a:lnTo>
                    <a:pt x="74" y="228"/>
                  </a:lnTo>
                  <a:lnTo>
                    <a:pt x="71" y="226"/>
                  </a:lnTo>
                  <a:lnTo>
                    <a:pt x="71" y="226"/>
                  </a:lnTo>
                  <a:lnTo>
                    <a:pt x="70" y="225"/>
                  </a:lnTo>
                  <a:lnTo>
                    <a:pt x="67" y="222"/>
                  </a:lnTo>
                  <a:lnTo>
                    <a:pt x="60" y="216"/>
                  </a:lnTo>
                  <a:lnTo>
                    <a:pt x="60" y="216"/>
                  </a:lnTo>
                  <a:lnTo>
                    <a:pt x="57" y="212"/>
                  </a:lnTo>
                  <a:lnTo>
                    <a:pt x="54" y="205"/>
                  </a:lnTo>
                  <a:lnTo>
                    <a:pt x="52" y="199"/>
                  </a:lnTo>
                  <a:lnTo>
                    <a:pt x="52" y="193"/>
                  </a:lnTo>
                  <a:lnTo>
                    <a:pt x="52" y="193"/>
                  </a:lnTo>
                  <a:lnTo>
                    <a:pt x="54" y="189"/>
                  </a:lnTo>
                  <a:lnTo>
                    <a:pt x="55" y="187"/>
                  </a:lnTo>
                  <a:lnTo>
                    <a:pt x="55" y="186"/>
                  </a:lnTo>
                  <a:lnTo>
                    <a:pt x="55" y="186"/>
                  </a:lnTo>
                  <a:lnTo>
                    <a:pt x="57" y="187"/>
                  </a:lnTo>
                  <a:lnTo>
                    <a:pt x="57" y="187"/>
                  </a:lnTo>
                  <a:lnTo>
                    <a:pt x="60" y="192"/>
                  </a:lnTo>
                  <a:lnTo>
                    <a:pt x="61" y="193"/>
                  </a:lnTo>
                  <a:lnTo>
                    <a:pt x="61" y="193"/>
                  </a:lnTo>
                  <a:lnTo>
                    <a:pt x="61" y="193"/>
                  </a:lnTo>
                  <a:lnTo>
                    <a:pt x="61" y="193"/>
                  </a:lnTo>
                  <a:lnTo>
                    <a:pt x="65" y="190"/>
                  </a:lnTo>
                  <a:lnTo>
                    <a:pt x="70" y="189"/>
                  </a:lnTo>
                  <a:lnTo>
                    <a:pt x="70" y="189"/>
                  </a:lnTo>
                  <a:lnTo>
                    <a:pt x="71" y="189"/>
                  </a:lnTo>
                  <a:lnTo>
                    <a:pt x="71" y="189"/>
                  </a:lnTo>
                  <a:lnTo>
                    <a:pt x="80" y="192"/>
                  </a:lnTo>
                  <a:lnTo>
                    <a:pt x="80" y="192"/>
                  </a:lnTo>
                  <a:lnTo>
                    <a:pt x="81" y="190"/>
                  </a:lnTo>
                  <a:lnTo>
                    <a:pt x="81" y="190"/>
                  </a:lnTo>
                  <a:lnTo>
                    <a:pt x="78" y="189"/>
                  </a:lnTo>
                  <a:lnTo>
                    <a:pt x="74" y="186"/>
                  </a:lnTo>
                  <a:lnTo>
                    <a:pt x="70" y="184"/>
                  </a:lnTo>
                  <a:lnTo>
                    <a:pt x="68" y="183"/>
                  </a:lnTo>
                  <a:lnTo>
                    <a:pt x="68" y="182"/>
                  </a:lnTo>
                  <a:lnTo>
                    <a:pt x="68" y="182"/>
                  </a:lnTo>
                  <a:lnTo>
                    <a:pt x="77" y="177"/>
                  </a:lnTo>
                  <a:lnTo>
                    <a:pt x="86" y="173"/>
                  </a:lnTo>
                  <a:lnTo>
                    <a:pt x="86" y="173"/>
                  </a:lnTo>
                  <a:lnTo>
                    <a:pt x="93" y="170"/>
                  </a:lnTo>
                  <a:lnTo>
                    <a:pt x="94" y="168"/>
                  </a:lnTo>
                  <a:lnTo>
                    <a:pt x="94" y="166"/>
                  </a:lnTo>
                  <a:lnTo>
                    <a:pt x="94" y="166"/>
                  </a:lnTo>
                  <a:lnTo>
                    <a:pt x="94" y="166"/>
                  </a:lnTo>
                  <a:lnTo>
                    <a:pt x="93" y="166"/>
                  </a:lnTo>
                  <a:lnTo>
                    <a:pt x="93" y="166"/>
                  </a:lnTo>
                  <a:lnTo>
                    <a:pt x="84" y="166"/>
                  </a:lnTo>
                  <a:lnTo>
                    <a:pt x="77" y="167"/>
                  </a:lnTo>
                  <a:lnTo>
                    <a:pt x="77" y="167"/>
                  </a:lnTo>
                  <a:lnTo>
                    <a:pt x="74" y="168"/>
                  </a:lnTo>
                  <a:lnTo>
                    <a:pt x="70" y="171"/>
                  </a:lnTo>
                  <a:lnTo>
                    <a:pt x="64" y="173"/>
                  </a:lnTo>
                  <a:lnTo>
                    <a:pt x="61" y="174"/>
                  </a:lnTo>
                  <a:lnTo>
                    <a:pt x="61" y="174"/>
                  </a:lnTo>
                  <a:lnTo>
                    <a:pt x="57" y="176"/>
                  </a:lnTo>
                  <a:lnTo>
                    <a:pt x="52" y="177"/>
                  </a:lnTo>
                  <a:lnTo>
                    <a:pt x="52" y="177"/>
                  </a:lnTo>
                  <a:lnTo>
                    <a:pt x="49" y="177"/>
                  </a:lnTo>
                  <a:lnTo>
                    <a:pt x="49" y="174"/>
                  </a:lnTo>
                  <a:lnTo>
                    <a:pt x="49" y="174"/>
                  </a:lnTo>
                  <a:lnTo>
                    <a:pt x="48" y="161"/>
                  </a:lnTo>
                  <a:lnTo>
                    <a:pt x="48" y="155"/>
                  </a:lnTo>
                  <a:lnTo>
                    <a:pt x="48" y="154"/>
                  </a:lnTo>
                  <a:lnTo>
                    <a:pt x="48" y="154"/>
                  </a:lnTo>
                  <a:lnTo>
                    <a:pt x="52" y="155"/>
                  </a:lnTo>
                  <a:lnTo>
                    <a:pt x="55" y="157"/>
                  </a:lnTo>
                  <a:lnTo>
                    <a:pt x="55" y="157"/>
                  </a:lnTo>
                  <a:lnTo>
                    <a:pt x="55" y="157"/>
                  </a:lnTo>
                  <a:lnTo>
                    <a:pt x="55" y="157"/>
                  </a:lnTo>
                  <a:lnTo>
                    <a:pt x="58" y="153"/>
                  </a:lnTo>
                  <a:lnTo>
                    <a:pt x="60" y="151"/>
                  </a:lnTo>
                  <a:lnTo>
                    <a:pt x="62" y="150"/>
                  </a:lnTo>
                  <a:lnTo>
                    <a:pt x="62" y="150"/>
                  </a:lnTo>
                  <a:lnTo>
                    <a:pt x="64" y="148"/>
                  </a:lnTo>
                  <a:lnTo>
                    <a:pt x="67" y="147"/>
                  </a:lnTo>
                  <a:lnTo>
                    <a:pt x="71" y="141"/>
                  </a:lnTo>
                  <a:lnTo>
                    <a:pt x="71" y="141"/>
                  </a:lnTo>
                  <a:lnTo>
                    <a:pt x="74" y="138"/>
                  </a:lnTo>
                  <a:lnTo>
                    <a:pt x="75" y="137"/>
                  </a:lnTo>
                  <a:lnTo>
                    <a:pt x="78" y="135"/>
                  </a:lnTo>
                  <a:lnTo>
                    <a:pt x="80" y="135"/>
                  </a:lnTo>
                  <a:lnTo>
                    <a:pt x="80" y="135"/>
                  </a:lnTo>
                  <a:lnTo>
                    <a:pt x="81" y="131"/>
                  </a:lnTo>
                  <a:lnTo>
                    <a:pt x="83" y="128"/>
                  </a:lnTo>
                  <a:lnTo>
                    <a:pt x="84" y="128"/>
                  </a:lnTo>
                  <a:lnTo>
                    <a:pt x="84" y="128"/>
                  </a:lnTo>
                  <a:lnTo>
                    <a:pt x="86" y="128"/>
                  </a:lnTo>
                  <a:lnTo>
                    <a:pt x="86" y="128"/>
                  </a:lnTo>
                  <a:lnTo>
                    <a:pt x="90" y="129"/>
                  </a:lnTo>
                  <a:lnTo>
                    <a:pt x="93" y="129"/>
                  </a:lnTo>
                  <a:lnTo>
                    <a:pt x="93" y="129"/>
                  </a:lnTo>
                  <a:lnTo>
                    <a:pt x="96" y="129"/>
                  </a:lnTo>
                  <a:lnTo>
                    <a:pt x="96" y="129"/>
                  </a:lnTo>
                  <a:lnTo>
                    <a:pt x="103" y="125"/>
                  </a:lnTo>
                  <a:lnTo>
                    <a:pt x="104" y="124"/>
                  </a:lnTo>
                  <a:lnTo>
                    <a:pt x="104" y="122"/>
                  </a:lnTo>
                  <a:lnTo>
                    <a:pt x="104" y="122"/>
                  </a:lnTo>
                  <a:lnTo>
                    <a:pt x="96" y="124"/>
                  </a:lnTo>
                  <a:lnTo>
                    <a:pt x="96" y="124"/>
                  </a:lnTo>
                  <a:lnTo>
                    <a:pt x="93" y="122"/>
                  </a:lnTo>
                  <a:lnTo>
                    <a:pt x="91" y="119"/>
                  </a:lnTo>
                  <a:lnTo>
                    <a:pt x="91" y="119"/>
                  </a:lnTo>
                  <a:lnTo>
                    <a:pt x="94" y="112"/>
                  </a:lnTo>
                  <a:lnTo>
                    <a:pt x="94" y="109"/>
                  </a:lnTo>
                  <a:lnTo>
                    <a:pt x="94" y="108"/>
                  </a:lnTo>
                  <a:lnTo>
                    <a:pt x="94" y="108"/>
                  </a:lnTo>
                  <a:lnTo>
                    <a:pt x="93" y="103"/>
                  </a:lnTo>
                  <a:lnTo>
                    <a:pt x="91" y="102"/>
                  </a:lnTo>
                  <a:lnTo>
                    <a:pt x="91" y="102"/>
                  </a:lnTo>
                  <a:lnTo>
                    <a:pt x="90" y="103"/>
                  </a:lnTo>
                  <a:lnTo>
                    <a:pt x="90" y="103"/>
                  </a:lnTo>
                  <a:lnTo>
                    <a:pt x="86" y="112"/>
                  </a:lnTo>
                  <a:lnTo>
                    <a:pt x="83" y="118"/>
                  </a:lnTo>
                  <a:lnTo>
                    <a:pt x="81" y="119"/>
                  </a:lnTo>
                  <a:lnTo>
                    <a:pt x="78" y="119"/>
                  </a:lnTo>
                  <a:lnTo>
                    <a:pt x="78" y="119"/>
                  </a:lnTo>
                  <a:lnTo>
                    <a:pt x="78" y="119"/>
                  </a:lnTo>
                  <a:lnTo>
                    <a:pt x="78" y="119"/>
                  </a:lnTo>
                  <a:lnTo>
                    <a:pt x="74" y="118"/>
                  </a:lnTo>
                  <a:lnTo>
                    <a:pt x="71" y="116"/>
                  </a:lnTo>
                  <a:lnTo>
                    <a:pt x="70" y="115"/>
                  </a:lnTo>
                  <a:lnTo>
                    <a:pt x="71" y="111"/>
                  </a:lnTo>
                  <a:lnTo>
                    <a:pt x="71" y="111"/>
                  </a:lnTo>
                  <a:lnTo>
                    <a:pt x="77" y="103"/>
                  </a:lnTo>
                  <a:lnTo>
                    <a:pt x="77" y="99"/>
                  </a:lnTo>
                  <a:lnTo>
                    <a:pt x="75" y="97"/>
                  </a:lnTo>
                  <a:lnTo>
                    <a:pt x="75" y="97"/>
                  </a:lnTo>
                  <a:lnTo>
                    <a:pt x="74" y="95"/>
                  </a:lnTo>
                  <a:lnTo>
                    <a:pt x="71" y="95"/>
                  </a:lnTo>
                  <a:lnTo>
                    <a:pt x="71" y="95"/>
                  </a:lnTo>
                  <a:lnTo>
                    <a:pt x="70" y="95"/>
                  </a:lnTo>
                  <a:lnTo>
                    <a:pt x="70" y="96"/>
                  </a:lnTo>
                  <a:lnTo>
                    <a:pt x="70" y="96"/>
                  </a:lnTo>
                  <a:lnTo>
                    <a:pt x="68" y="102"/>
                  </a:lnTo>
                  <a:lnTo>
                    <a:pt x="68" y="105"/>
                  </a:lnTo>
                  <a:lnTo>
                    <a:pt x="67" y="106"/>
                  </a:lnTo>
                  <a:lnTo>
                    <a:pt x="67" y="106"/>
                  </a:lnTo>
                  <a:lnTo>
                    <a:pt x="65" y="106"/>
                  </a:lnTo>
                  <a:lnTo>
                    <a:pt x="65" y="106"/>
                  </a:lnTo>
                  <a:lnTo>
                    <a:pt x="61" y="102"/>
                  </a:lnTo>
                  <a:lnTo>
                    <a:pt x="60" y="100"/>
                  </a:lnTo>
                  <a:lnTo>
                    <a:pt x="60" y="100"/>
                  </a:lnTo>
                  <a:lnTo>
                    <a:pt x="60" y="100"/>
                  </a:lnTo>
                  <a:lnTo>
                    <a:pt x="60" y="100"/>
                  </a:lnTo>
                  <a:lnTo>
                    <a:pt x="58" y="111"/>
                  </a:lnTo>
                  <a:lnTo>
                    <a:pt x="58" y="122"/>
                  </a:lnTo>
                  <a:lnTo>
                    <a:pt x="58" y="122"/>
                  </a:lnTo>
                  <a:lnTo>
                    <a:pt x="58" y="125"/>
                  </a:lnTo>
                  <a:lnTo>
                    <a:pt x="57" y="126"/>
                  </a:lnTo>
                  <a:lnTo>
                    <a:pt x="55" y="126"/>
                  </a:lnTo>
                  <a:lnTo>
                    <a:pt x="54" y="128"/>
                  </a:lnTo>
                  <a:lnTo>
                    <a:pt x="54" y="128"/>
                  </a:lnTo>
                  <a:lnTo>
                    <a:pt x="49" y="134"/>
                  </a:lnTo>
                  <a:lnTo>
                    <a:pt x="44" y="137"/>
                  </a:lnTo>
                  <a:lnTo>
                    <a:pt x="44" y="137"/>
                  </a:lnTo>
                  <a:lnTo>
                    <a:pt x="39" y="137"/>
                  </a:lnTo>
                  <a:lnTo>
                    <a:pt x="39" y="137"/>
                  </a:lnTo>
                  <a:lnTo>
                    <a:pt x="38" y="137"/>
                  </a:lnTo>
                  <a:lnTo>
                    <a:pt x="36" y="134"/>
                  </a:lnTo>
                  <a:lnTo>
                    <a:pt x="36" y="134"/>
                  </a:lnTo>
                  <a:lnTo>
                    <a:pt x="35" y="128"/>
                  </a:lnTo>
                  <a:lnTo>
                    <a:pt x="32" y="125"/>
                  </a:lnTo>
                  <a:lnTo>
                    <a:pt x="32" y="125"/>
                  </a:lnTo>
                  <a:lnTo>
                    <a:pt x="28" y="122"/>
                  </a:lnTo>
                  <a:lnTo>
                    <a:pt x="28" y="121"/>
                  </a:lnTo>
                  <a:lnTo>
                    <a:pt x="29" y="119"/>
                  </a:lnTo>
                  <a:lnTo>
                    <a:pt x="29" y="119"/>
                  </a:lnTo>
                  <a:lnTo>
                    <a:pt x="35" y="115"/>
                  </a:lnTo>
                  <a:lnTo>
                    <a:pt x="36" y="113"/>
                  </a:lnTo>
                  <a:lnTo>
                    <a:pt x="36" y="112"/>
                  </a:lnTo>
                  <a:lnTo>
                    <a:pt x="36" y="112"/>
                  </a:lnTo>
                  <a:lnTo>
                    <a:pt x="31" y="113"/>
                  </a:lnTo>
                  <a:lnTo>
                    <a:pt x="31" y="113"/>
                  </a:lnTo>
                  <a:lnTo>
                    <a:pt x="28" y="112"/>
                  </a:lnTo>
                  <a:lnTo>
                    <a:pt x="26" y="111"/>
                  </a:lnTo>
                  <a:lnTo>
                    <a:pt x="26" y="111"/>
                  </a:lnTo>
                  <a:lnTo>
                    <a:pt x="18" y="102"/>
                  </a:lnTo>
                  <a:lnTo>
                    <a:pt x="15" y="97"/>
                  </a:lnTo>
                  <a:lnTo>
                    <a:pt x="13" y="96"/>
                  </a:lnTo>
                  <a:lnTo>
                    <a:pt x="13" y="95"/>
                  </a:lnTo>
                  <a:lnTo>
                    <a:pt x="13" y="95"/>
                  </a:lnTo>
                  <a:lnTo>
                    <a:pt x="16" y="93"/>
                  </a:lnTo>
                  <a:lnTo>
                    <a:pt x="18" y="93"/>
                  </a:lnTo>
                  <a:lnTo>
                    <a:pt x="19" y="92"/>
                  </a:lnTo>
                  <a:lnTo>
                    <a:pt x="18" y="89"/>
                  </a:lnTo>
                  <a:lnTo>
                    <a:pt x="18" y="89"/>
                  </a:lnTo>
                  <a:lnTo>
                    <a:pt x="13" y="83"/>
                  </a:lnTo>
                  <a:lnTo>
                    <a:pt x="12" y="82"/>
                  </a:lnTo>
                  <a:lnTo>
                    <a:pt x="13" y="80"/>
                  </a:lnTo>
                  <a:lnTo>
                    <a:pt x="13" y="80"/>
                  </a:lnTo>
                  <a:lnTo>
                    <a:pt x="13" y="80"/>
                  </a:lnTo>
                  <a:lnTo>
                    <a:pt x="13" y="80"/>
                  </a:lnTo>
                  <a:lnTo>
                    <a:pt x="18" y="83"/>
                  </a:lnTo>
                  <a:lnTo>
                    <a:pt x="18" y="83"/>
                  </a:lnTo>
                  <a:lnTo>
                    <a:pt x="23" y="84"/>
                  </a:lnTo>
                  <a:lnTo>
                    <a:pt x="23" y="84"/>
                  </a:lnTo>
                  <a:lnTo>
                    <a:pt x="25" y="84"/>
                  </a:lnTo>
                  <a:lnTo>
                    <a:pt x="25" y="83"/>
                  </a:lnTo>
                  <a:lnTo>
                    <a:pt x="25" y="83"/>
                  </a:lnTo>
                  <a:lnTo>
                    <a:pt x="23" y="80"/>
                  </a:lnTo>
                  <a:lnTo>
                    <a:pt x="20" y="77"/>
                  </a:lnTo>
                  <a:lnTo>
                    <a:pt x="18" y="74"/>
                  </a:lnTo>
                  <a:lnTo>
                    <a:pt x="16" y="73"/>
                  </a:lnTo>
                  <a:lnTo>
                    <a:pt x="16" y="73"/>
                  </a:lnTo>
                  <a:lnTo>
                    <a:pt x="19" y="64"/>
                  </a:lnTo>
                  <a:lnTo>
                    <a:pt x="20" y="60"/>
                  </a:lnTo>
                  <a:lnTo>
                    <a:pt x="20" y="57"/>
                  </a:lnTo>
                  <a:lnTo>
                    <a:pt x="20" y="57"/>
                  </a:lnTo>
                  <a:lnTo>
                    <a:pt x="19" y="55"/>
                  </a:lnTo>
                  <a:lnTo>
                    <a:pt x="19" y="55"/>
                  </a:lnTo>
                  <a:lnTo>
                    <a:pt x="16" y="57"/>
                  </a:lnTo>
                  <a:lnTo>
                    <a:pt x="13" y="58"/>
                  </a:lnTo>
                  <a:lnTo>
                    <a:pt x="13" y="58"/>
                  </a:lnTo>
                  <a:lnTo>
                    <a:pt x="10" y="64"/>
                  </a:lnTo>
                  <a:lnTo>
                    <a:pt x="9" y="67"/>
                  </a:lnTo>
                  <a:lnTo>
                    <a:pt x="7" y="69"/>
                  </a:lnTo>
                  <a:lnTo>
                    <a:pt x="7" y="69"/>
                  </a:lnTo>
                  <a:lnTo>
                    <a:pt x="6" y="69"/>
                  </a:lnTo>
                  <a:lnTo>
                    <a:pt x="6" y="69"/>
                  </a:lnTo>
                  <a:lnTo>
                    <a:pt x="6" y="66"/>
                  </a:lnTo>
                  <a:lnTo>
                    <a:pt x="6" y="61"/>
                  </a:lnTo>
                  <a:lnTo>
                    <a:pt x="6" y="57"/>
                  </a:lnTo>
                  <a:lnTo>
                    <a:pt x="5" y="53"/>
                  </a:lnTo>
                  <a:lnTo>
                    <a:pt x="5" y="53"/>
                  </a:lnTo>
                  <a:lnTo>
                    <a:pt x="3" y="50"/>
                  </a:lnTo>
                  <a:lnTo>
                    <a:pt x="3" y="45"/>
                  </a:lnTo>
                  <a:lnTo>
                    <a:pt x="3" y="41"/>
                  </a:lnTo>
                  <a:lnTo>
                    <a:pt x="2" y="37"/>
                  </a:lnTo>
                  <a:lnTo>
                    <a:pt x="2" y="37"/>
                  </a:lnTo>
                  <a:lnTo>
                    <a:pt x="0" y="32"/>
                  </a:lnTo>
                  <a:lnTo>
                    <a:pt x="2" y="29"/>
                  </a:lnTo>
                  <a:lnTo>
                    <a:pt x="3" y="22"/>
                  </a:lnTo>
                  <a:lnTo>
                    <a:pt x="3" y="22"/>
                  </a:lnTo>
                  <a:lnTo>
                    <a:pt x="3" y="22"/>
                  </a:lnTo>
                  <a:lnTo>
                    <a:pt x="3" y="22"/>
                  </a:lnTo>
                  <a:lnTo>
                    <a:pt x="6" y="25"/>
                  </a:lnTo>
                  <a:lnTo>
                    <a:pt x="6" y="25"/>
                  </a:lnTo>
                  <a:lnTo>
                    <a:pt x="10" y="27"/>
                  </a:lnTo>
                  <a:lnTo>
                    <a:pt x="10" y="27"/>
                  </a:lnTo>
                  <a:lnTo>
                    <a:pt x="12" y="27"/>
                  </a:lnTo>
                  <a:lnTo>
                    <a:pt x="12" y="27"/>
                  </a:lnTo>
                  <a:lnTo>
                    <a:pt x="12" y="24"/>
                  </a:lnTo>
                  <a:lnTo>
                    <a:pt x="10" y="22"/>
                  </a:lnTo>
                  <a:lnTo>
                    <a:pt x="9" y="19"/>
                  </a:lnTo>
                  <a:lnTo>
                    <a:pt x="9" y="19"/>
                  </a:lnTo>
                  <a:lnTo>
                    <a:pt x="9" y="19"/>
                  </a:lnTo>
                  <a:lnTo>
                    <a:pt x="10" y="18"/>
                  </a:lnTo>
                  <a:lnTo>
                    <a:pt x="10" y="13"/>
                  </a:lnTo>
                  <a:lnTo>
                    <a:pt x="9" y="0"/>
                  </a:lnTo>
                  <a:lnTo>
                    <a:pt x="49" y="0"/>
                  </a:lnTo>
                  <a:lnTo>
                    <a:pt x="49" y="0"/>
                  </a:lnTo>
                  <a:lnTo>
                    <a:pt x="49" y="8"/>
                  </a:lnTo>
                  <a:lnTo>
                    <a:pt x="48" y="13"/>
                  </a:lnTo>
                  <a:lnTo>
                    <a:pt x="47" y="16"/>
                  </a:lnTo>
                  <a:lnTo>
                    <a:pt x="44" y="16"/>
                  </a:lnTo>
                  <a:lnTo>
                    <a:pt x="44" y="16"/>
                  </a:lnTo>
                  <a:lnTo>
                    <a:pt x="41" y="18"/>
                  </a:lnTo>
                  <a:lnTo>
                    <a:pt x="38" y="19"/>
                  </a:lnTo>
                  <a:lnTo>
                    <a:pt x="33" y="22"/>
                  </a:lnTo>
                  <a:lnTo>
                    <a:pt x="33" y="22"/>
                  </a:lnTo>
                  <a:lnTo>
                    <a:pt x="29" y="28"/>
                  </a:lnTo>
                  <a:lnTo>
                    <a:pt x="28" y="31"/>
                  </a:lnTo>
                  <a:lnTo>
                    <a:pt x="28" y="31"/>
                  </a:lnTo>
                  <a:lnTo>
                    <a:pt x="29" y="32"/>
                  </a:lnTo>
                  <a:lnTo>
                    <a:pt x="29" y="32"/>
                  </a:lnTo>
                  <a:lnTo>
                    <a:pt x="35" y="29"/>
                  </a:lnTo>
                  <a:lnTo>
                    <a:pt x="41" y="28"/>
                  </a:lnTo>
                  <a:lnTo>
                    <a:pt x="41" y="28"/>
                  </a:lnTo>
                  <a:lnTo>
                    <a:pt x="41" y="28"/>
                  </a:lnTo>
                  <a:lnTo>
                    <a:pt x="41" y="28"/>
                  </a:lnTo>
                  <a:lnTo>
                    <a:pt x="41" y="35"/>
                  </a:lnTo>
                  <a:lnTo>
                    <a:pt x="42" y="41"/>
                  </a:lnTo>
                  <a:lnTo>
                    <a:pt x="42" y="41"/>
                  </a:lnTo>
                  <a:lnTo>
                    <a:pt x="42" y="41"/>
                  </a:lnTo>
                  <a:lnTo>
                    <a:pt x="42" y="41"/>
                  </a:lnTo>
                  <a:lnTo>
                    <a:pt x="42" y="38"/>
                  </a:lnTo>
                  <a:lnTo>
                    <a:pt x="44" y="38"/>
                  </a:lnTo>
                  <a:lnTo>
                    <a:pt x="44" y="38"/>
                  </a:lnTo>
                  <a:lnTo>
                    <a:pt x="45" y="40"/>
                  </a:lnTo>
                  <a:lnTo>
                    <a:pt x="45" y="40"/>
                  </a:lnTo>
                  <a:lnTo>
                    <a:pt x="48" y="47"/>
                  </a:lnTo>
                  <a:lnTo>
                    <a:pt x="49" y="51"/>
                  </a:lnTo>
                  <a:lnTo>
                    <a:pt x="49" y="51"/>
                  </a:lnTo>
                  <a:lnTo>
                    <a:pt x="51" y="51"/>
                  </a:lnTo>
                  <a:lnTo>
                    <a:pt x="51" y="51"/>
                  </a:lnTo>
                  <a:lnTo>
                    <a:pt x="49" y="41"/>
                  </a:lnTo>
                  <a:lnTo>
                    <a:pt x="49" y="35"/>
                  </a:lnTo>
                  <a:lnTo>
                    <a:pt x="49" y="31"/>
                  </a:lnTo>
                  <a:lnTo>
                    <a:pt x="49" y="31"/>
                  </a:lnTo>
                  <a:lnTo>
                    <a:pt x="58" y="0"/>
                  </a:lnTo>
                  <a:lnTo>
                    <a:pt x="64" y="0"/>
                  </a:lnTo>
                  <a:lnTo>
                    <a:pt x="64" y="0"/>
                  </a:lnTo>
                  <a:lnTo>
                    <a:pt x="70" y="15"/>
                  </a:lnTo>
                  <a:lnTo>
                    <a:pt x="71" y="22"/>
                  </a:lnTo>
                  <a:lnTo>
                    <a:pt x="71" y="22"/>
                  </a:lnTo>
                  <a:lnTo>
                    <a:pt x="73" y="34"/>
                  </a:lnTo>
                  <a:lnTo>
                    <a:pt x="74" y="41"/>
                  </a:lnTo>
                  <a:lnTo>
                    <a:pt x="74" y="41"/>
                  </a:lnTo>
                  <a:lnTo>
                    <a:pt x="74" y="48"/>
                  </a:lnTo>
                  <a:lnTo>
                    <a:pt x="75" y="53"/>
                  </a:lnTo>
                  <a:lnTo>
                    <a:pt x="74" y="57"/>
                  </a:lnTo>
                  <a:lnTo>
                    <a:pt x="74" y="57"/>
                  </a:lnTo>
                  <a:lnTo>
                    <a:pt x="73" y="60"/>
                  </a:lnTo>
                  <a:lnTo>
                    <a:pt x="73" y="63"/>
                  </a:lnTo>
                  <a:lnTo>
                    <a:pt x="73" y="64"/>
                  </a:lnTo>
                  <a:lnTo>
                    <a:pt x="74" y="64"/>
                  </a:lnTo>
                  <a:lnTo>
                    <a:pt x="74" y="64"/>
                  </a:lnTo>
                  <a:lnTo>
                    <a:pt x="74" y="64"/>
                  </a:lnTo>
                  <a:lnTo>
                    <a:pt x="74" y="64"/>
                  </a:lnTo>
                  <a:lnTo>
                    <a:pt x="78" y="63"/>
                  </a:lnTo>
                  <a:lnTo>
                    <a:pt x="78" y="63"/>
                  </a:lnTo>
                  <a:lnTo>
                    <a:pt x="78" y="63"/>
                  </a:lnTo>
                  <a:lnTo>
                    <a:pt x="80" y="64"/>
                  </a:lnTo>
                  <a:lnTo>
                    <a:pt x="80" y="64"/>
                  </a:lnTo>
                  <a:lnTo>
                    <a:pt x="83" y="73"/>
                  </a:lnTo>
                  <a:lnTo>
                    <a:pt x="84" y="77"/>
                  </a:lnTo>
                  <a:lnTo>
                    <a:pt x="86" y="80"/>
                  </a:lnTo>
                  <a:lnTo>
                    <a:pt x="86" y="80"/>
                  </a:lnTo>
                  <a:lnTo>
                    <a:pt x="87" y="79"/>
                  </a:lnTo>
                  <a:lnTo>
                    <a:pt x="87" y="79"/>
                  </a:lnTo>
                  <a:lnTo>
                    <a:pt x="86" y="67"/>
                  </a:lnTo>
                  <a:lnTo>
                    <a:pt x="83" y="54"/>
                  </a:lnTo>
                  <a:lnTo>
                    <a:pt x="83" y="54"/>
                  </a:lnTo>
                  <a:lnTo>
                    <a:pt x="80" y="42"/>
                  </a:lnTo>
                  <a:lnTo>
                    <a:pt x="78" y="29"/>
                  </a:lnTo>
                  <a:lnTo>
                    <a:pt x="78" y="29"/>
                  </a:lnTo>
                  <a:lnTo>
                    <a:pt x="78" y="16"/>
                  </a:lnTo>
                  <a:lnTo>
                    <a:pt x="77" y="9"/>
                  </a:lnTo>
                  <a:lnTo>
                    <a:pt x="77" y="0"/>
                  </a:lnTo>
                  <a:lnTo>
                    <a:pt x="112" y="0"/>
                  </a:lnTo>
                  <a:lnTo>
                    <a:pt x="112" y="0"/>
                  </a:lnTo>
                  <a:lnTo>
                    <a:pt x="112" y="13"/>
                  </a:lnTo>
                  <a:lnTo>
                    <a:pt x="112" y="16"/>
                  </a:lnTo>
                  <a:lnTo>
                    <a:pt x="110" y="19"/>
                  </a:lnTo>
                  <a:lnTo>
                    <a:pt x="110" y="19"/>
                  </a:lnTo>
                  <a:lnTo>
                    <a:pt x="109" y="21"/>
                  </a:lnTo>
                  <a:lnTo>
                    <a:pt x="109" y="22"/>
                  </a:lnTo>
                  <a:lnTo>
                    <a:pt x="110" y="24"/>
                  </a:lnTo>
                  <a:lnTo>
                    <a:pt x="109" y="25"/>
                  </a:lnTo>
                  <a:lnTo>
                    <a:pt x="109" y="25"/>
                  </a:lnTo>
                  <a:lnTo>
                    <a:pt x="109" y="28"/>
                  </a:lnTo>
                  <a:lnTo>
                    <a:pt x="107" y="35"/>
                  </a:lnTo>
                  <a:lnTo>
                    <a:pt x="107" y="41"/>
                  </a:lnTo>
                  <a:lnTo>
                    <a:pt x="109" y="44"/>
                  </a:lnTo>
                  <a:lnTo>
                    <a:pt x="109" y="44"/>
                  </a:lnTo>
                  <a:lnTo>
                    <a:pt x="109" y="44"/>
                  </a:lnTo>
                  <a:lnTo>
                    <a:pt x="109" y="44"/>
                  </a:lnTo>
                  <a:lnTo>
                    <a:pt x="112" y="40"/>
                  </a:lnTo>
                  <a:lnTo>
                    <a:pt x="113" y="35"/>
                  </a:lnTo>
                  <a:lnTo>
                    <a:pt x="113" y="35"/>
                  </a:lnTo>
                  <a:lnTo>
                    <a:pt x="115" y="29"/>
                  </a:lnTo>
                  <a:lnTo>
                    <a:pt x="116" y="27"/>
                  </a:lnTo>
                  <a:lnTo>
                    <a:pt x="117" y="25"/>
                  </a:lnTo>
                  <a:lnTo>
                    <a:pt x="117" y="25"/>
                  </a:lnTo>
                  <a:lnTo>
                    <a:pt x="119" y="25"/>
                  </a:lnTo>
                  <a:lnTo>
                    <a:pt x="119" y="25"/>
                  </a:lnTo>
                  <a:lnTo>
                    <a:pt x="120" y="28"/>
                  </a:lnTo>
                  <a:lnTo>
                    <a:pt x="122" y="32"/>
                  </a:lnTo>
                  <a:lnTo>
                    <a:pt x="122" y="37"/>
                  </a:lnTo>
                  <a:lnTo>
                    <a:pt x="125" y="40"/>
                  </a:lnTo>
                  <a:lnTo>
                    <a:pt x="125" y="40"/>
                  </a:lnTo>
                  <a:lnTo>
                    <a:pt x="128" y="44"/>
                  </a:lnTo>
                  <a:lnTo>
                    <a:pt x="126" y="48"/>
                  </a:lnTo>
                  <a:lnTo>
                    <a:pt x="126" y="48"/>
                  </a:lnTo>
                  <a:lnTo>
                    <a:pt x="125" y="54"/>
                  </a:lnTo>
                  <a:lnTo>
                    <a:pt x="125" y="57"/>
                  </a:lnTo>
                  <a:lnTo>
                    <a:pt x="126" y="60"/>
                  </a:lnTo>
                  <a:lnTo>
                    <a:pt x="126" y="60"/>
                  </a:lnTo>
                  <a:lnTo>
                    <a:pt x="131" y="61"/>
                  </a:lnTo>
                  <a:lnTo>
                    <a:pt x="135" y="63"/>
                  </a:lnTo>
                  <a:lnTo>
                    <a:pt x="138" y="64"/>
                  </a:lnTo>
                  <a:lnTo>
                    <a:pt x="139" y="66"/>
                  </a:lnTo>
                  <a:lnTo>
                    <a:pt x="141" y="67"/>
                  </a:lnTo>
                  <a:lnTo>
                    <a:pt x="141" y="67"/>
                  </a:lnTo>
                  <a:lnTo>
                    <a:pt x="141" y="73"/>
                  </a:lnTo>
                  <a:lnTo>
                    <a:pt x="144" y="79"/>
                  </a:lnTo>
                  <a:lnTo>
                    <a:pt x="146" y="83"/>
                  </a:lnTo>
                  <a:lnTo>
                    <a:pt x="151" y="86"/>
                  </a:lnTo>
                  <a:lnTo>
                    <a:pt x="151" y="86"/>
                  </a:lnTo>
                  <a:lnTo>
                    <a:pt x="155" y="87"/>
                  </a:lnTo>
                  <a:lnTo>
                    <a:pt x="155" y="87"/>
                  </a:lnTo>
                  <a:lnTo>
                    <a:pt x="158" y="87"/>
                  </a:lnTo>
                  <a:lnTo>
                    <a:pt x="158" y="87"/>
                  </a:lnTo>
                  <a:lnTo>
                    <a:pt x="162" y="86"/>
                  </a:lnTo>
                  <a:lnTo>
                    <a:pt x="162" y="86"/>
                  </a:lnTo>
                  <a:lnTo>
                    <a:pt x="165" y="87"/>
                  </a:lnTo>
                  <a:lnTo>
                    <a:pt x="167" y="89"/>
                  </a:lnTo>
                  <a:lnTo>
                    <a:pt x="168" y="90"/>
                  </a:lnTo>
                  <a:lnTo>
                    <a:pt x="168" y="90"/>
                  </a:lnTo>
                  <a:lnTo>
                    <a:pt x="168" y="95"/>
                  </a:lnTo>
                  <a:lnTo>
                    <a:pt x="168" y="97"/>
                  </a:lnTo>
                  <a:lnTo>
                    <a:pt x="165" y="100"/>
                  </a:lnTo>
                  <a:lnTo>
                    <a:pt x="162" y="103"/>
                  </a:lnTo>
                  <a:lnTo>
                    <a:pt x="162" y="103"/>
                  </a:lnTo>
                  <a:lnTo>
                    <a:pt x="155" y="103"/>
                  </a:lnTo>
                  <a:lnTo>
                    <a:pt x="152" y="105"/>
                  </a:lnTo>
                  <a:lnTo>
                    <a:pt x="149" y="106"/>
                  </a:lnTo>
                  <a:lnTo>
                    <a:pt x="149" y="106"/>
                  </a:lnTo>
                  <a:lnTo>
                    <a:pt x="148" y="108"/>
                  </a:lnTo>
                  <a:lnTo>
                    <a:pt x="145" y="109"/>
                  </a:lnTo>
                  <a:lnTo>
                    <a:pt x="142" y="109"/>
                  </a:lnTo>
                  <a:lnTo>
                    <a:pt x="141" y="112"/>
                  </a:lnTo>
                  <a:lnTo>
                    <a:pt x="141" y="112"/>
                  </a:lnTo>
                  <a:lnTo>
                    <a:pt x="139" y="115"/>
                  </a:lnTo>
                  <a:lnTo>
                    <a:pt x="135" y="118"/>
                  </a:lnTo>
                  <a:lnTo>
                    <a:pt x="131" y="121"/>
                  </a:lnTo>
                  <a:lnTo>
                    <a:pt x="131" y="121"/>
                  </a:lnTo>
                  <a:lnTo>
                    <a:pt x="129" y="124"/>
                  </a:lnTo>
                  <a:lnTo>
                    <a:pt x="129" y="126"/>
                  </a:lnTo>
                  <a:lnTo>
                    <a:pt x="129" y="134"/>
                  </a:lnTo>
                  <a:lnTo>
                    <a:pt x="129" y="134"/>
                  </a:lnTo>
                  <a:lnTo>
                    <a:pt x="129" y="145"/>
                  </a:lnTo>
                  <a:lnTo>
                    <a:pt x="128" y="151"/>
                  </a:lnTo>
                  <a:lnTo>
                    <a:pt x="126" y="153"/>
                  </a:lnTo>
                  <a:lnTo>
                    <a:pt x="126" y="153"/>
                  </a:lnTo>
                  <a:lnTo>
                    <a:pt x="125" y="153"/>
                  </a:lnTo>
                  <a:lnTo>
                    <a:pt x="125" y="153"/>
                  </a:lnTo>
                  <a:lnTo>
                    <a:pt x="125" y="153"/>
                  </a:lnTo>
                  <a:lnTo>
                    <a:pt x="123" y="155"/>
                  </a:lnTo>
                  <a:lnTo>
                    <a:pt x="123" y="155"/>
                  </a:lnTo>
                  <a:lnTo>
                    <a:pt x="120" y="176"/>
                  </a:lnTo>
                  <a:lnTo>
                    <a:pt x="117" y="189"/>
                  </a:lnTo>
                  <a:lnTo>
                    <a:pt x="115" y="195"/>
                  </a:lnTo>
                  <a:lnTo>
                    <a:pt x="115" y="195"/>
                  </a:lnTo>
                  <a:lnTo>
                    <a:pt x="112" y="196"/>
                  </a:lnTo>
                  <a:lnTo>
                    <a:pt x="109" y="199"/>
                  </a:lnTo>
                  <a:lnTo>
                    <a:pt x="109" y="199"/>
                  </a:lnTo>
                  <a:lnTo>
                    <a:pt x="106" y="208"/>
                  </a:lnTo>
                  <a:lnTo>
                    <a:pt x="103" y="224"/>
                  </a:lnTo>
                  <a:lnTo>
                    <a:pt x="103" y="224"/>
                  </a:lnTo>
                  <a:lnTo>
                    <a:pt x="103" y="237"/>
                  </a:lnTo>
                  <a:lnTo>
                    <a:pt x="102" y="241"/>
                  </a:lnTo>
                  <a:lnTo>
                    <a:pt x="102" y="244"/>
                  </a:lnTo>
                  <a:lnTo>
                    <a:pt x="102" y="244"/>
                  </a:lnTo>
                  <a:lnTo>
                    <a:pt x="100" y="248"/>
                  </a:lnTo>
                  <a:lnTo>
                    <a:pt x="102" y="252"/>
                  </a:lnTo>
                  <a:lnTo>
                    <a:pt x="103" y="258"/>
                  </a:lnTo>
                  <a:lnTo>
                    <a:pt x="102" y="260"/>
                  </a:lnTo>
                  <a:lnTo>
                    <a:pt x="102" y="260"/>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20" name="Freeform 75"/>
            <p:cNvSpPr>
              <a:spLocks/>
            </p:cNvSpPr>
            <p:nvPr/>
          </p:nvSpPr>
          <p:spPr bwMode="auto">
            <a:xfrm>
              <a:off x="4575175" y="1232329"/>
              <a:ext cx="266700" cy="412750"/>
            </a:xfrm>
            <a:custGeom>
              <a:avLst/>
              <a:gdLst>
                <a:gd name="T0" fmla="*/ 89 w 168"/>
                <a:gd name="T1" fmla="*/ 254 h 260"/>
                <a:gd name="T2" fmla="*/ 80 w 168"/>
                <a:gd name="T3" fmla="*/ 231 h 260"/>
                <a:gd name="T4" fmla="*/ 75 w 168"/>
                <a:gd name="T5" fmla="*/ 228 h 260"/>
                <a:gd name="T6" fmla="*/ 60 w 168"/>
                <a:gd name="T7" fmla="*/ 216 h 260"/>
                <a:gd name="T8" fmla="*/ 55 w 168"/>
                <a:gd name="T9" fmla="*/ 186 h 260"/>
                <a:gd name="T10" fmla="*/ 61 w 168"/>
                <a:gd name="T11" fmla="*/ 193 h 260"/>
                <a:gd name="T12" fmla="*/ 81 w 168"/>
                <a:gd name="T13" fmla="*/ 190 h 260"/>
                <a:gd name="T14" fmla="*/ 77 w 168"/>
                <a:gd name="T15" fmla="*/ 177 h 260"/>
                <a:gd name="T16" fmla="*/ 93 w 168"/>
                <a:gd name="T17" fmla="*/ 166 h 260"/>
                <a:gd name="T18" fmla="*/ 61 w 168"/>
                <a:gd name="T19" fmla="*/ 174 h 260"/>
                <a:gd name="T20" fmla="*/ 48 w 168"/>
                <a:gd name="T21" fmla="*/ 161 h 260"/>
                <a:gd name="T22" fmla="*/ 55 w 168"/>
                <a:gd name="T23" fmla="*/ 157 h 260"/>
                <a:gd name="T24" fmla="*/ 71 w 168"/>
                <a:gd name="T25" fmla="*/ 141 h 260"/>
                <a:gd name="T26" fmla="*/ 84 w 168"/>
                <a:gd name="T27" fmla="*/ 128 h 260"/>
                <a:gd name="T28" fmla="*/ 96 w 168"/>
                <a:gd name="T29" fmla="*/ 129 h 260"/>
                <a:gd name="T30" fmla="*/ 91 w 168"/>
                <a:gd name="T31" fmla="*/ 119 h 260"/>
                <a:gd name="T32" fmla="*/ 91 w 168"/>
                <a:gd name="T33" fmla="*/ 102 h 260"/>
                <a:gd name="T34" fmla="*/ 78 w 168"/>
                <a:gd name="T35" fmla="*/ 119 h 260"/>
                <a:gd name="T36" fmla="*/ 77 w 168"/>
                <a:gd name="T37" fmla="*/ 99 h 260"/>
                <a:gd name="T38" fmla="*/ 70 w 168"/>
                <a:gd name="T39" fmla="*/ 96 h 260"/>
                <a:gd name="T40" fmla="*/ 60 w 168"/>
                <a:gd name="T41" fmla="*/ 100 h 260"/>
                <a:gd name="T42" fmla="*/ 57 w 168"/>
                <a:gd name="T43" fmla="*/ 126 h 260"/>
                <a:gd name="T44" fmla="*/ 39 w 168"/>
                <a:gd name="T45" fmla="*/ 137 h 260"/>
                <a:gd name="T46" fmla="*/ 28 w 168"/>
                <a:gd name="T47" fmla="*/ 121 h 260"/>
                <a:gd name="T48" fmla="*/ 31 w 168"/>
                <a:gd name="T49" fmla="*/ 113 h 260"/>
                <a:gd name="T50" fmla="*/ 13 w 168"/>
                <a:gd name="T51" fmla="*/ 95 h 260"/>
                <a:gd name="T52" fmla="*/ 13 w 168"/>
                <a:gd name="T53" fmla="*/ 80 h 260"/>
                <a:gd name="T54" fmla="*/ 25 w 168"/>
                <a:gd name="T55" fmla="*/ 84 h 260"/>
                <a:gd name="T56" fmla="*/ 19 w 168"/>
                <a:gd name="T57" fmla="*/ 64 h 260"/>
                <a:gd name="T58" fmla="*/ 13 w 168"/>
                <a:gd name="T59" fmla="*/ 58 h 260"/>
                <a:gd name="T60" fmla="*/ 6 w 168"/>
                <a:gd name="T61" fmla="*/ 61 h 260"/>
                <a:gd name="T62" fmla="*/ 2 w 168"/>
                <a:gd name="T63" fmla="*/ 37 h 260"/>
                <a:gd name="T64" fmla="*/ 6 w 168"/>
                <a:gd name="T65" fmla="*/ 25 h 260"/>
                <a:gd name="T66" fmla="*/ 9 w 168"/>
                <a:gd name="T67" fmla="*/ 19 h 260"/>
                <a:gd name="T68" fmla="*/ 48 w 168"/>
                <a:gd name="T69" fmla="*/ 13 h 260"/>
                <a:gd name="T70" fmla="*/ 29 w 168"/>
                <a:gd name="T71" fmla="*/ 28 h 260"/>
                <a:gd name="T72" fmla="*/ 41 w 168"/>
                <a:gd name="T73" fmla="*/ 28 h 260"/>
                <a:gd name="T74" fmla="*/ 44 w 168"/>
                <a:gd name="T75" fmla="*/ 38 h 260"/>
                <a:gd name="T76" fmla="*/ 51 w 168"/>
                <a:gd name="T77" fmla="*/ 51 h 260"/>
                <a:gd name="T78" fmla="*/ 70 w 168"/>
                <a:gd name="T79" fmla="*/ 15 h 260"/>
                <a:gd name="T80" fmla="*/ 74 w 168"/>
                <a:gd name="T81" fmla="*/ 57 h 260"/>
                <a:gd name="T82" fmla="*/ 74 w 168"/>
                <a:gd name="T83" fmla="*/ 64 h 260"/>
                <a:gd name="T84" fmla="*/ 86 w 168"/>
                <a:gd name="T85" fmla="*/ 80 h 260"/>
                <a:gd name="T86" fmla="*/ 78 w 168"/>
                <a:gd name="T87" fmla="*/ 29 h 260"/>
                <a:gd name="T88" fmla="*/ 112 w 168"/>
                <a:gd name="T89" fmla="*/ 16 h 260"/>
                <a:gd name="T90" fmla="*/ 109 w 168"/>
                <a:gd name="T91" fmla="*/ 28 h 260"/>
                <a:gd name="T92" fmla="*/ 113 w 168"/>
                <a:gd name="T93" fmla="*/ 35 h 260"/>
                <a:gd name="T94" fmla="*/ 120 w 168"/>
                <a:gd name="T95" fmla="*/ 28 h 260"/>
                <a:gd name="T96" fmla="*/ 125 w 168"/>
                <a:gd name="T97" fmla="*/ 54 h 260"/>
                <a:gd name="T98" fmla="*/ 141 w 168"/>
                <a:gd name="T99" fmla="*/ 67 h 260"/>
                <a:gd name="T100" fmla="*/ 155 w 168"/>
                <a:gd name="T101" fmla="*/ 87 h 260"/>
                <a:gd name="T102" fmla="*/ 168 w 168"/>
                <a:gd name="T103" fmla="*/ 90 h 260"/>
                <a:gd name="T104" fmla="*/ 149 w 168"/>
                <a:gd name="T105" fmla="*/ 106 h 260"/>
                <a:gd name="T106" fmla="*/ 135 w 168"/>
                <a:gd name="T107" fmla="*/ 118 h 260"/>
                <a:gd name="T108" fmla="*/ 128 w 168"/>
                <a:gd name="T109" fmla="*/ 151 h 260"/>
                <a:gd name="T110" fmla="*/ 120 w 168"/>
                <a:gd name="T111" fmla="*/ 176 h 260"/>
                <a:gd name="T112" fmla="*/ 103 w 168"/>
                <a:gd name="T113" fmla="*/ 224 h 260"/>
                <a:gd name="T114" fmla="*/ 103 w 168"/>
                <a:gd name="T115" fmla="*/ 258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 h="260">
                  <a:moveTo>
                    <a:pt x="102" y="260"/>
                  </a:moveTo>
                  <a:lnTo>
                    <a:pt x="102" y="260"/>
                  </a:lnTo>
                  <a:lnTo>
                    <a:pt x="100" y="260"/>
                  </a:lnTo>
                  <a:lnTo>
                    <a:pt x="100" y="260"/>
                  </a:lnTo>
                  <a:lnTo>
                    <a:pt x="96" y="258"/>
                  </a:lnTo>
                  <a:lnTo>
                    <a:pt x="91" y="257"/>
                  </a:lnTo>
                  <a:lnTo>
                    <a:pt x="91" y="257"/>
                  </a:lnTo>
                  <a:lnTo>
                    <a:pt x="89" y="254"/>
                  </a:lnTo>
                  <a:lnTo>
                    <a:pt x="86" y="251"/>
                  </a:lnTo>
                  <a:lnTo>
                    <a:pt x="84" y="247"/>
                  </a:lnTo>
                  <a:lnTo>
                    <a:pt x="81" y="244"/>
                  </a:lnTo>
                  <a:lnTo>
                    <a:pt x="81" y="244"/>
                  </a:lnTo>
                  <a:lnTo>
                    <a:pt x="80" y="241"/>
                  </a:lnTo>
                  <a:lnTo>
                    <a:pt x="78" y="237"/>
                  </a:lnTo>
                  <a:lnTo>
                    <a:pt x="80" y="234"/>
                  </a:lnTo>
                  <a:lnTo>
                    <a:pt x="80" y="231"/>
                  </a:lnTo>
                  <a:lnTo>
                    <a:pt x="80" y="231"/>
                  </a:lnTo>
                  <a:lnTo>
                    <a:pt x="81" y="226"/>
                  </a:lnTo>
                  <a:lnTo>
                    <a:pt x="80" y="225"/>
                  </a:lnTo>
                  <a:lnTo>
                    <a:pt x="78" y="225"/>
                  </a:lnTo>
                  <a:lnTo>
                    <a:pt x="78" y="225"/>
                  </a:lnTo>
                  <a:lnTo>
                    <a:pt x="77" y="225"/>
                  </a:lnTo>
                  <a:lnTo>
                    <a:pt x="77" y="225"/>
                  </a:lnTo>
                  <a:lnTo>
                    <a:pt x="75" y="228"/>
                  </a:lnTo>
                  <a:lnTo>
                    <a:pt x="74" y="228"/>
                  </a:lnTo>
                  <a:lnTo>
                    <a:pt x="74" y="228"/>
                  </a:lnTo>
                  <a:lnTo>
                    <a:pt x="71" y="226"/>
                  </a:lnTo>
                  <a:lnTo>
                    <a:pt x="71" y="226"/>
                  </a:lnTo>
                  <a:lnTo>
                    <a:pt x="70" y="225"/>
                  </a:lnTo>
                  <a:lnTo>
                    <a:pt x="67" y="222"/>
                  </a:lnTo>
                  <a:lnTo>
                    <a:pt x="60" y="216"/>
                  </a:lnTo>
                  <a:lnTo>
                    <a:pt x="60" y="216"/>
                  </a:lnTo>
                  <a:lnTo>
                    <a:pt x="57" y="212"/>
                  </a:lnTo>
                  <a:lnTo>
                    <a:pt x="54" y="205"/>
                  </a:lnTo>
                  <a:lnTo>
                    <a:pt x="52" y="199"/>
                  </a:lnTo>
                  <a:lnTo>
                    <a:pt x="52" y="193"/>
                  </a:lnTo>
                  <a:lnTo>
                    <a:pt x="52" y="193"/>
                  </a:lnTo>
                  <a:lnTo>
                    <a:pt x="54" y="189"/>
                  </a:lnTo>
                  <a:lnTo>
                    <a:pt x="55" y="187"/>
                  </a:lnTo>
                  <a:lnTo>
                    <a:pt x="55" y="186"/>
                  </a:lnTo>
                  <a:lnTo>
                    <a:pt x="55" y="186"/>
                  </a:lnTo>
                  <a:lnTo>
                    <a:pt x="57" y="187"/>
                  </a:lnTo>
                  <a:lnTo>
                    <a:pt x="57" y="187"/>
                  </a:lnTo>
                  <a:lnTo>
                    <a:pt x="60" y="192"/>
                  </a:lnTo>
                  <a:lnTo>
                    <a:pt x="61" y="193"/>
                  </a:lnTo>
                  <a:lnTo>
                    <a:pt x="61" y="193"/>
                  </a:lnTo>
                  <a:lnTo>
                    <a:pt x="61" y="193"/>
                  </a:lnTo>
                  <a:lnTo>
                    <a:pt x="61" y="193"/>
                  </a:lnTo>
                  <a:lnTo>
                    <a:pt x="65" y="190"/>
                  </a:lnTo>
                  <a:lnTo>
                    <a:pt x="70" y="189"/>
                  </a:lnTo>
                  <a:lnTo>
                    <a:pt x="70" y="189"/>
                  </a:lnTo>
                  <a:lnTo>
                    <a:pt x="71" y="189"/>
                  </a:lnTo>
                  <a:lnTo>
                    <a:pt x="71" y="189"/>
                  </a:lnTo>
                  <a:lnTo>
                    <a:pt x="80" y="192"/>
                  </a:lnTo>
                  <a:lnTo>
                    <a:pt x="80" y="192"/>
                  </a:lnTo>
                  <a:lnTo>
                    <a:pt x="81" y="190"/>
                  </a:lnTo>
                  <a:lnTo>
                    <a:pt x="81" y="190"/>
                  </a:lnTo>
                  <a:lnTo>
                    <a:pt x="78" y="189"/>
                  </a:lnTo>
                  <a:lnTo>
                    <a:pt x="74" y="186"/>
                  </a:lnTo>
                  <a:lnTo>
                    <a:pt x="70" y="184"/>
                  </a:lnTo>
                  <a:lnTo>
                    <a:pt x="68" y="183"/>
                  </a:lnTo>
                  <a:lnTo>
                    <a:pt x="68" y="182"/>
                  </a:lnTo>
                  <a:lnTo>
                    <a:pt x="68" y="182"/>
                  </a:lnTo>
                  <a:lnTo>
                    <a:pt x="77" y="177"/>
                  </a:lnTo>
                  <a:lnTo>
                    <a:pt x="86" y="173"/>
                  </a:lnTo>
                  <a:lnTo>
                    <a:pt x="86" y="173"/>
                  </a:lnTo>
                  <a:lnTo>
                    <a:pt x="93" y="170"/>
                  </a:lnTo>
                  <a:lnTo>
                    <a:pt x="94" y="168"/>
                  </a:lnTo>
                  <a:lnTo>
                    <a:pt x="94" y="166"/>
                  </a:lnTo>
                  <a:lnTo>
                    <a:pt x="94" y="166"/>
                  </a:lnTo>
                  <a:lnTo>
                    <a:pt x="94" y="166"/>
                  </a:lnTo>
                  <a:lnTo>
                    <a:pt x="93" y="166"/>
                  </a:lnTo>
                  <a:lnTo>
                    <a:pt x="93" y="166"/>
                  </a:lnTo>
                  <a:lnTo>
                    <a:pt x="84" y="166"/>
                  </a:lnTo>
                  <a:lnTo>
                    <a:pt x="77" y="167"/>
                  </a:lnTo>
                  <a:lnTo>
                    <a:pt x="77" y="167"/>
                  </a:lnTo>
                  <a:lnTo>
                    <a:pt x="74" y="168"/>
                  </a:lnTo>
                  <a:lnTo>
                    <a:pt x="70" y="171"/>
                  </a:lnTo>
                  <a:lnTo>
                    <a:pt x="64" y="173"/>
                  </a:lnTo>
                  <a:lnTo>
                    <a:pt x="61" y="174"/>
                  </a:lnTo>
                  <a:lnTo>
                    <a:pt x="61" y="174"/>
                  </a:lnTo>
                  <a:lnTo>
                    <a:pt x="57" y="176"/>
                  </a:lnTo>
                  <a:lnTo>
                    <a:pt x="52" y="177"/>
                  </a:lnTo>
                  <a:lnTo>
                    <a:pt x="52" y="177"/>
                  </a:lnTo>
                  <a:lnTo>
                    <a:pt x="49" y="177"/>
                  </a:lnTo>
                  <a:lnTo>
                    <a:pt x="49" y="174"/>
                  </a:lnTo>
                  <a:lnTo>
                    <a:pt x="49" y="174"/>
                  </a:lnTo>
                  <a:lnTo>
                    <a:pt x="48" y="161"/>
                  </a:lnTo>
                  <a:lnTo>
                    <a:pt x="48" y="155"/>
                  </a:lnTo>
                  <a:lnTo>
                    <a:pt x="48" y="154"/>
                  </a:lnTo>
                  <a:lnTo>
                    <a:pt x="48" y="154"/>
                  </a:lnTo>
                  <a:lnTo>
                    <a:pt x="52" y="155"/>
                  </a:lnTo>
                  <a:lnTo>
                    <a:pt x="55" y="157"/>
                  </a:lnTo>
                  <a:lnTo>
                    <a:pt x="55" y="157"/>
                  </a:lnTo>
                  <a:lnTo>
                    <a:pt x="55" y="157"/>
                  </a:lnTo>
                  <a:lnTo>
                    <a:pt x="55" y="157"/>
                  </a:lnTo>
                  <a:lnTo>
                    <a:pt x="58" y="153"/>
                  </a:lnTo>
                  <a:lnTo>
                    <a:pt x="60" y="151"/>
                  </a:lnTo>
                  <a:lnTo>
                    <a:pt x="62" y="150"/>
                  </a:lnTo>
                  <a:lnTo>
                    <a:pt x="62" y="150"/>
                  </a:lnTo>
                  <a:lnTo>
                    <a:pt x="64" y="148"/>
                  </a:lnTo>
                  <a:lnTo>
                    <a:pt x="67" y="147"/>
                  </a:lnTo>
                  <a:lnTo>
                    <a:pt x="71" y="141"/>
                  </a:lnTo>
                  <a:lnTo>
                    <a:pt x="71" y="141"/>
                  </a:lnTo>
                  <a:lnTo>
                    <a:pt x="74" y="138"/>
                  </a:lnTo>
                  <a:lnTo>
                    <a:pt x="75" y="137"/>
                  </a:lnTo>
                  <a:lnTo>
                    <a:pt x="78" y="135"/>
                  </a:lnTo>
                  <a:lnTo>
                    <a:pt x="80" y="135"/>
                  </a:lnTo>
                  <a:lnTo>
                    <a:pt x="80" y="135"/>
                  </a:lnTo>
                  <a:lnTo>
                    <a:pt x="81" y="131"/>
                  </a:lnTo>
                  <a:lnTo>
                    <a:pt x="83" y="128"/>
                  </a:lnTo>
                  <a:lnTo>
                    <a:pt x="84" y="128"/>
                  </a:lnTo>
                  <a:lnTo>
                    <a:pt x="84" y="128"/>
                  </a:lnTo>
                  <a:lnTo>
                    <a:pt x="86" y="128"/>
                  </a:lnTo>
                  <a:lnTo>
                    <a:pt x="86" y="128"/>
                  </a:lnTo>
                  <a:lnTo>
                    <a:pt x="90" y="129"/>
                  </a:lnTo>
                  <a:lnTo>
                    <a:pt x="93" y="129"/>
                  </a:lnTo>
                  <a:lnTo>
                    <a:pt x="93" y="129"/>
                  </a:lnTo>
                  <a:lnTo>
                    <a:pt x="96" y="129"/>
                  </a:lnTo>
                  <a:lnTo>
                    <a:pt x="96" y="129"/>
                  </a:lnTo>
                  <a:lnTo>
                    <a:pt x="103" y="125"/>
                  </a:lnTo>
                  <a:lnTo>
                    <a:pt x="104" y="124"/>
                  </a:lnTo>
                  <a:lnTo>
                    <a:pt x="104" y="122"/>
                  </a:lnTo>
                  <a:lnTo>
                    <a:pt x="104" y="122"/>
                  </a:lnTo>
                  <a:lnTo>
                    <a:pt x="96" y="124"/>
                  </a:lnTo>
                  <a:lnTo>
                    <a:pt x="96" y="124"/>
                  </a:lnTo>
                  <a:lnTo>
                    <a:pt x="93" y="122"/>
                  </a:lnTo>
                  <a:lnTo>
                    <a:pt x="91" y="119"/>
                  </a:lnTo>
                  <a:lnTo>
                    <a:pt x="91" y="119"/>
                  </a:lnTo>
                  <a:lnTo>
                    <a:pt x="94" y="112"/>
                  </a:lnTo>
                  <a:lnTo>
                    <a:pt x="94" y="109"/>
                  </a:lnTo>
                  <a:lnTo>
                    <a:pt x="94" y="108"/>
                  </a:lnTo>
                  <a:lnTo>
                    <a:pt x="94" y="108"/>
                  </a:lnTo>
                  <a:lnTo>
                    <a:pt x="93" y="103"/>
                  </a:lnTo>
                  <a:lnTo>
                    <a:pt x="91" y="102"/>
                  </a:lnTo>
                  <a:lnTo>
                    <a:pt x="91" y="102"/>
                  </a:lnTo>
                  <a:lnTo>
                    <a:pt x="90" y="103"/>
                  </a:lnTo>
                  <a:lnTo>
                    <a:pt x="90" y="103"/>
                  </a:lnTo>
                  <a:lnTo>
                    <a:pt x="86" y="112"/>
                  </a:lnTo>
                  <a:lnTo>
                    <a:pt x="83" y="118"/>
                  </a:lnTo>
                  <a:lnTo>
                    <a:pt x="81" y="119"/>
                  </a:lnTo>
                  <a:lnTo>
                    <a:pt x="78" y="119"/>
                  </a:lnTo>
                  <a:lnTo>
                    <a:pt x="78" y="119"/>
                  </a:lnTo>
                  <a:lnTo>
                    <a:pt x="78" y="119"/>
                  </a:lnTo>
                  <a:lnTo>
                    <a:pt x="78" y="119"/>
                  </a:lnTo>
                  <a:lnTo>
                    <a:pt x="74" y="118"/>
                  </a:lnTo>
                  <a:lnTo>
                    <a:pt x="71" y="116"/>
                  </a:lnTo>
                  <a:lnTo>
                    <a:pt x="70" y="115"/>
                  </a:lnTo>
                  <a:lnTo>
                    <a:pt x="71" y="111"/>
                  </a:lnTo>
                  <a:lnTo>
                    <a:pt x="71" y="111"/>
                  </a:lnTo>
                  <a:lnTo>
                    <a:pt x="77" y="103"/>
                  </a:lnTo>
                  <a:lnTo>
                    <a:pt x="77" y="99"/>
                  </a:lnTo>
                  <a:lnTo>
                    <a:pt x="75" y="97"/>
                  </a:lnTo>
                  <a:lnTo>
                    <a:pt x="75" y="97"/>
                  </a:lnTo>
                  <a:lnTo>
                    <a:pt x="74" y="95"/>
                  </a:lnTo>
                  <a:lnTo>
                    <a:pt x="71" y="95"/>
                  </a:lnTo>
                  <a:lnTo>
                    <a:pt x="71" y="95"/>
                  </a:lnTo>
                  <a:lnTo>
                    <a:pt x="70" y="95"/>
                  </a:lnTo>
                  <a:lnTo>
                    <a:pt x="70" y="96"/>
                  </a:lnTo>
                  <a:lnTo>
                    <a:pt x="70" y="96"/>
                  </a:lnTo>
                  <a:lnTo>
                    <a:pt x="68" y="102"/>
                  </a:lnTo>
                  <a:lnTo>
                    <a:pt x="68" y="105"/>
                  </a:lnTo>
                  <a:lnTo>
                    <a:pt x="67" y="106"/>
                  </a:lnTo>
                  <a:lnTo>
                    <a:pt x="67" y="106"/>
                  </a:lnTo>
                  <a:lnTo>
                    <a:pt x="65" y="106"/>
                  </a:lnTo>
                  <a:lnTo>
                    <a:pt x="65" y="106"/>
                  </a:lnTo>
                  <a:lnTo>
                    <a:pt x="61" y="102"/>
                  </a:lnTo>
                  <a:lnTo>
                    <a:pt x="60" y="100"/>
                  </a:lnTo>
                  <a:lnTo>
                    <a:pt x="60" y="100"/>
                  </a:lnTo>
                  <a:lnTo>
                    <a:pt x="60" y="100"/>
                  </a:lnTo>
                  <a:lnTo>
                    <a:pt x="60" y="100"/>
                  </a:lnTo>
                  <a:lnTo>
                    <a:pt x="58" y="111"/>
                  </a:lnTo>
                  <a:lnTo>
                    <a:pt x="58" y="122"/>
                  </a:lnTo>
                  <a:lnTo>
                    <a:pt x="58" y="122"/>
                  </a:lnTo>
                  <a:lnTo>
                    <a:pt x="58" y="125"/>
                  </a:lnTo>
                  <a:lnTo>
                    <a:pt x="57" y="126"/>
                  </a:lnTo>
                  <a:lnTo>
                    <a:pt x="55" y="126"/>
                  </a:lnTo>
                  <a:lnTo>
                    <a:pt x="54" y="128"/>
                  </a:lnTo>
                  <a:lnTo>
                    <a:pt x="54" y="128"/>
                  </a:lnTo>
                  <a:lnTo>
                    <a:pt x="49" y="134"/>
                  </a:lnTo>
                  <a:lnTo>
                    <a:pt x="44" y="137"/>
                  </a:lnTo>
                  <a:lnTo>
                    <a:pt x="44" y="137"/>
                  </a:lnTo>
                  <a:lnTo>
                    <a:pt x="39" y="137"/>
                  </a:lnTo>
                  <a:lnTo>
                    <a:pt x="39" y="137"/>
                  </a:lnTo>
                  <a:lnTo>
                    <a:pt x="38" y="137"/>
                  </a:lnTo>
                  <a:lnTo>
                    <a:pt x="36" y="134"/>
                  </a:lnTo>
                  <a:lnTo>
                    <a:pt x="36" y="134"/>
                  </a:lnTo>
                  <a:lnTo>
                    <a:pt x="35" y="128"/>
                  </a:lnTo>
                  <a:lnTo>
                    <a:pt x="32" y="125"/>
                  </a:lnTo>
                  <a:lnTo>
                    <a:pt x="32" y="125"/>
                  </a:lnTo>
                  <a:lnTo>
                    <a:pt x="28" y="122"/>
                  </a:lnTo>
                  <a:lnTo>
                    <a:pt x="28" y="121"/>
                  </a:lnTo>
                  <a:lnTo>
                    <a:pt x="29" y="119"/>
                  </a:lnTo>
                  <a:lnTo>
                    <a:pt x="29" y="119"/>
                  </a:lnTo>
                  <a:lnTo>
                    <a:pt x="35" y="115"/>
                  </a:lnTo>
                  <a:lnTo>
                    <a:pt x="36" y="113"/>
                  </a:lnTo>
                  <a:lnTo>
                    <a:pt x="36" y="112"/>
                  </a:lnTo>
                  <a:lnTo>
                    <a:pt x="36" y="112"/>
                  </a:lnTo>
                  <a:lnTo>
                    <a:pt x="31" y="113"/>
                  </a:lnTo>
                  <a:lnTo>
                    <a:pt x="31" y="113"/>
                  </a:lnTo>
                  <a:lnTo>
                    <a:pt x="28" y="112"/>
                  </a:lnTo>
                  <a:lnTo>
                    <a:pt x="26" y="111"/>
                  </a:lnTo>
                  <a:lnTo>
                    <a:pt x="26" y="111"/>
                  </a:lnTo>
                  <a:lnTo>
                    <a:pt x="18" y="102"/>
                  </a:lnTo>
                  <a:lnTo>
                    <a:pt x="15" y="97"/>
                  </a:lnTo>
                  <a:lnTo>
                    <a:pt x="13" y="96"/>
                  </a:lnTo>
                  <a:lnTo>
                    <a:pt x="13" y="95"/>
                  </a:lnTo>
                  <a:lnTo>
                    <a:pt x="13" y="95"/>
                  </a:lnTo>
                  <a:lnTo>
                    <a:pt x="16" y="93"/>
                  </a:lnTo>
                  <a:lnTo>
                    <a:pt x="18" y="93"/>
                  </a:lnTo>
                  <a:lnTo>
                    <a:pt x="19" y="92"/>
                  </a:lnTo>
                  <a:lnTo>
                    <a:pt x="18" y="89"/>
                  </a:lnTo>
                  <a:lnTo>
                    <a:pt x="18" y="89"/>
                  </a:lnTo>
                  <a:lnTo>
                    <a:pt x="13" y="83"/>
                  </a:lnTo>
                  <a:lnTo>
                    <a:pt x="12" y="82"/>
                  </a:lnTo>
                  <a:lnTo>
                    <a:pt x="13" y="80"/>
                  </a:lnTo>
                  <a:lnTo>
                    <a:pt x="13" y="80"/>
                  </a:lnTo>
                  <a:lnTo>
                    <a:pt x="13" y="80"/>
                  </a:lnTo>
                  <a:lnTo>
                    <a:pt x="13" y="80"/>
                  </a:lnTo>
                  <a:lnTo>
                    <a:pt x="18" y="83"/>
                  </a:lnTo>
                  <a:lnTo>
                    <a:pt x="18" y="83"/>
                  </a:lnTo>
                  <a:lnTo>
                    <a:pt x="23" y="84"/>
                  </a:lnTo>
                  <a:lnTo>
                    <a:pt x="23" y="84"/>
                  </a:lnTo>
                  <a:lnTo>
                    <a:pt x="25" y="84"/>
                  </a:lnTo>
                  <a:lnTo>
                    <a:pt x="25" y="83"/>
                  </a:lnTo>
                  <a:lnTo>
                    <a:pt x="25" y="83"/>
                  </a:lnTo>
                  <a:lnTo>
                    <a:pt x="23" y="80"/>
                  </a:lnTo>
                  <a:lnTo>
                    <a:pt x="20" y="77"/>
                  </a:lnTo>
                  <a:lnTo>
                    <a:pt x="18" y="74"/>
                  </a:lnTo>
                  <a:lnTo>
                    <a:pt x="16" y="73"/>
                  </a:lnTo>
                  <a:lnTo>
                    <a:pt x="16" y="73"/>
                  </a:lnTo>
                  <a:lnTo>
                    <a:pt x="19" y="64"/>
                  </a:lnTo>
                  <a:lnTo>
                    <a:pt x="20" y="60"/>
                  </a:lnTo>
                  <a:lnTo>
                    <a:pt x="20" y="57"/>
                  </a:lnTo>
                  <a:lnTo>
                    <a:pt x="20" y="57"/>
                  </a:lnTo>
                  <a:lnTo>
                    <a:pt x="19" y="55"/>
                  </a:lnTo>
                  <a:lnTo>
                    <a:pt x="19" y="55"/>
                  </a:lnTo>
                  <a:lnTo>
                    <a:pt x="16" y="57"/>
                  </a:lnTo>
                  <a:lnTo>
                    <a:pt x="13" y="58"/>
                  </a:lnTo>
                  <a:lnTo>
                    <a:pt x="13" y="58"/>
                  </a:lnTo>
                  <a:lnTo>
                    <a:pt x="10" y="64"/>
                  </a:lnTo>
                  <a:lnTo>
                    <a:pt x="9" y="67"/>
                  </a:lnTo>
                  <a:lnTo>
                    <a:pt x="7" y="69"/>
                  </a:lnTo>
                  <a:lnTo>
                    <a:pt x="7" y="69"/>
                  </a:lnTo>
                  <a:lnTo>
                    <a:pt x="6" y="69"/>
                  </a:lnTo>
                  <a:lnTo>
                    <a:pt x="6" y="69"/>
                  </a:lnTo>
                  <a:lnTo>
                    <a:pt x="6" y="66"/>
                  </a:lnTo>
                  <a:lnTo>
                    <a:pt x="6" y="61"/>
                  </a:lnTo>
                  <a:lnTo>
                    <a:pt x="6" y="57"/>
                  </a:lnTo>
                  <a:lnTo>
                    <a:pt x="5" y="53"/>
                  </a:lnTo>
                  <a:lnTo>
                    <a:pt x="5" y="53"/>
                  </a:lnTo>
                  <a:lnTo>
                    <a:pt x="3" y="50"/>
                  </a:lnTo>
                  <a:lnTo>
                    <a:pt x="3" y="45"/>
                  </a:lnTo>
                  <a:lnTo>
                    <a:pt x="3" y="41"/>
                  </a:lnTo>
                  <a:lnTo>
                    <a:pt x="2" y="37"/>
                  </a:lnTo>
                  <a:lnTo>
                    <a:pt x="2" y="37"/>
                  </a:lnTo>
                  <a:lnTo>
                    <a:pt x="0" y="32"/>
                  </a:lnTo>
                  <a:lnTo>
                    <a:pt x="2" y="29"/>
                  </a:lnTo>
                  <a:lnTo>
                    <a:pt x="3" y="22"/>
                  </a:lnTo>
                  <a:lnTo>
                    <a:pt x="3" y="22"/>
                  </a:lnTo>
                  <a:lnTo>
                    <a:pt x="3" y="22"/>
                  </a:lnTo>
                  <a:lnTo>
                    <a:pt x="3" y="22"/>
                  </a:lnTo>
                  <a:lnTo>
                    <a:pt x="6" y="25"/>
                  </a:lnTo>
                  <a:lnTo>
                    <a:pt x="6" y="25"/>
                  </a:lnTo>
                  <a:lnTo>
                    <a:pt x="10" y="27"/>
                  </a:lnTo>
                  <a:lnTo>
                    <a:pt x="10" y="27"/>
                  </a:lnTo>
                  <a:lnTo>
                    <a:pt x="12" y="27"/>
                  </a:lnTo>
                  <a:lnTo>
                    <a:pt x="12" y="27"/>
                  </a:lnTo>
                  <a:lnTo>
                    <a:pt x="12" y="24"/>
                  </a:lnTo>
                  <a:lnTo>
                    <a:pt x="10" y="22"/>
                  </a:lnTo>
                  <a:lnTo>
                    <a:pt x="9" y="19"/>
                  </a:lnTo>
                  <a:lnTo>
                    <a:pt x="9" y="19"/>
                  </a:lnTo>
                  <a:lnTo>
                    <a:pt x="9" y="19"/>
                  </a:lnTo>
                  <a:lnTo>
                    <a:pt x="10" y="18"/>
                  </a:lnTo>
                  <a:lnTo>
                    <a:pt x="10" y="13"/>
                  </a:lnTo>
                  <a:lnTo>
                    <a:pt x="9" y="0"/>
                  </a:lnTo>
                  <a:lnTo>
                    <a:pt x="49" y="0"/>
                  </a:lnTo>
                  <a:lnTo>
                    <a:pt x="49" y="0"/>
                  </a:lnTo>
                  <a:lnTo>
                    <a:pt x="49" y="8"/>
                  </a:lnTo>
                  <a:lnTo>
                    <a:pt x="48" y="13"/>
                  </a:lnTo>
                  <a:lnTo>
                    <a:pt x="47" y="16"/>
                  </a:lnTo>
                  <a:lnTo>
                    <a:pt x="44" y="16"/>
                  </a:lnTo>
                  <a:lnTo>
                    <a:pt x="44" y="16"/>
                  </a:lnTo>
                  <a:lnTo>
                    <a:pt x="41" y="18"/>
                  </a:lnTo>
                  <a:lnTo>
                    <a:pt x="38" y="19"/>
                  </a:lnTo>
                  <a:lnTo>
                    <a:pt x="33" y="22"/>
                  </a:lnTo>
                  <a:lnTo>
                    <a:pt x="33" y="22"/>
                  </a:lnTo>
                  <a:lnTo>
                    <a:pt x="29" y="28"/>
                  </a:lnTo>
                  <a:lnTo>
                    <a:pt x="28" y="31"/>
                  </a:lnTo>
                  <a:lnTo>
                    <a:pt x="28" y="31"/>
                  </a:lnTo>
                  <a:lnTo>
                    <a:pt x="29" y="32"/>
                  </a:lnTo>
                  <a:lnTo>
                    <a:pt x="29" y="32"/>
                  </a:lnTo>
                  <a:lnTo>
                    <a:pt x="35" y="29"/>
                  </a:lnTo>
                  <a:lnTo>
                    <a:pt x="41" y="28"/>
                  </a:lnTo>
                  <a:lnTo>
                    <a:pt x="41" y="28"/>
                  </a:lnTo>
                  <a:lnTo>
                    <a:pt x="41" y="28"/>
                  </a:lnTo>
                  <a:lnTo>
                    <a:pt x="41" y="28"/>
                  </a:lnTo>
                  <a:lnTo>
                    <a:pt x="41" y="35"/>
                  </a:lnTo>
                  <a:lnTo>
                    <a:pt x="42" y="41"/>
                  </a:lnTo>
                  <a:lnTo>
                    <a:pt x="42" y="41"/>
                  </a:lnTo>
                  <a:lnTo>
                    <a:pt x="42" y="41"/>
                  </a:lnTo>
                  <a:lnTo>
                    <a:pt x="42" y="41"/>
                  </a:lnTo>
                  <a:lnTo>
                    <a:pt x="42" y="38"/>
                  </a:lnTo>
                  <a:lnTo>
                    <a:pt x="44" y="38"/>
                  </a:lnTo>
                  <a:lnTo>
                    <a:pt x="44" y="38"/>
                  </a:lnTo>
                  <a:lnTo>
                    <a:pt x="45" y="40"/>
                  </a:lnTo>
                  <a:lnTo>
                    <a:pt x="45" y="40"/>
                  </a:lnTo>
                  <a:lnTo>
                    <a:pt x="48" y="47"/>
                  </a:lnTo>
                  <a:lnTo>
                    <a:pt x="49" y="51"/>
                  </a:lnTo>
                  <a:lnTo>
                    <a:pt x="49" y="51"/>
                  </a:lnTo>
                  <a:lnTo>
                    <a:pt x="51" y="51"/>
                  </a:lnTo>
                  <a:lnTo>
                    <a:pt x="51" y="51"/>
                  </a:lnTo>
                  <a:lnTo>
                    <a:pt x="49" y="41"/>
                  </a:lnTo>
                  <a:lnTo>
                    <a:pt x="49" y="35"/>
                  </a:lnTo>
                  <a:lnTo>
                    <a:pt x="49" y="31"/>
                  </a:lnTo>
                  <a:lnTo>
                    <a:pt x="49" y="31"/>
                  </a:lnTo>
                  <a:lnTo>
                    <a:pt x="58" y="0"/>
                  </a:lnTo>
                  <a:lnTo>
                    <a:pt x="64" y="0"/>
                  </a:lnTo>
                  <a:lnTo>
                    <a:pt x="64" y="0"/>
                  </a:lnTo>
                  <a:lnTo>
                    <a:pt x="70" y="15"/>
                  </a:lnTo>
                  <a:lnTo>
                    <a:pt x="71" y="22"/>
                  </a:lnTo>
                  <a:lnTo>
                    <a:pt x="71" y="22"/>
                  </a:lnTo>
                  <a:lnTo>
                    <a:pt x="73" y="34"/>
                  </a:lnTo>
                  <a:lnTo>
                    <a:pt x="74" y="41"/>
                  </a:lnTo>
                  <a:lnTo>
                    <a:pt x="74" y="41"/>
                  </a:lnTo>
                  <a:lnTo>
                    <a:pt x="74" y="48"/>
                  </a:lnTo>
                  <a:lnTo>
                    <a:pt x="75" y="53"/>
                  </a:lnTo>
                  <a:lnTo>
                    <a:pt x="74" y="57"/>
                  </a:lnTo>
                  <a:lnTo>
                    <a:pt x="74" y="57"/>
                  </a:lnTo>
                  <a:lnTo>
                    <a:pt x="73" y="60"/>
                  </a:lnTo>
                  <a:lnTo>
                    <a:pt x="73" y="63"/>
                  </a:lnTo>
                  <a:lnTo>
                    <a:pt x="73" y="64"/>
                  </a:lnTo>
                  <a:lnTo>
                    <a:pt x="74" y="64"/>
                  </a:lnTo>
                  <a:lnTo>
                    <a:pt x="74" y="64"/>
                  </a:lnTo>
                  <a:lnTo>
                    <a:pt x="74" y="64"/>
                  </a:lnTo>
                  <a:lnTo>
                    <a:pt x="74" y="64"/>
                  </a:lnTo>
                  <a:lnTo>
                    <a:pt x="78" y="63"/>
                  </a:lnTo>
                  <a:lnTo>
                    <a:pt x="78" y="63"/>
                  </a:lnTo>
                  <a:lnTo>
                    <a:pt x="78" y="63"/>
                  </a:lnTo>
                  <a:lnTo>
                    <a:pt x="80" y="64"/>
                  </a:lnTo>
                  <a:lnTo>
                    <a:pt x="80" y="64"/>
                  </a:lnTo>
                  <a:lnTo>
                    <a:pt x="83" y="73"/>
                  </a:lnTo>
                  <a:lnTo>
                    <a:pt x="84" y="77"/>
                  </a:lnTo>
                  <a:lnTo>
                    <a:pt x="86" y="80"/>
                  </a:lnTo>
                  <a:lnTo>
                    <a:pt x="86" y="80"/>
                  </a:lnTo>
                  <a:lnTo>
                    <a:pt x="87" y="79"/>
                  </a:lnTo>
                  <a:lnTo>
                    <a:pt x="87" y="79"/>
                  </a:lnTo>
                  <a:lnTo>
                    <a:pt x="86" y="67"/>
                  </a:lnTo>
                  <a:lnTo>
                    <a:pt x="83" y="54"/>
                  </a:lnTo>
                  <a:lnTo>
                    <a:pt x="83" y="54"/>
                  </a:lnTo>
                  <a:lnTo>
                    <a:pt x="80" y="42"/>
                  </a:lnTo>
                  <a:lnTo>
                    <a:pt x="78" y="29"/>
                  </a:lnTo>
                  <a:lnTo>
                    <a:pt x="78" y="29"/>
                  </a:lnTo>
                  <a:lnTo>
                    <a:pt x="78" y="16"/>
                  </a:lnTo>
                  <a:lnTo>
                    <a:pt x="77" y="9"/>
                  </a:lnTo>
                  <a:lnTo>
                    <a:pt x="77" y="0"/>
                  </a:lnTo>
                  <a:lnTo>
                    <a:pt x="112" y="0"/>
                  </a:lnTo>
                  <a:lnTo>
                    <a:pt x="112" y="0"/>
                  </a:lnTo>
                  <a:lnTo>
                    <a:pt x="112" y="13"/>
                  </a:lnTo>
                  <a:lnTo>
                    <a:pt x="112" y="16"/>
                  </a:lnTo>
                  <a:lnTo>
                    <a:pt x="110" y="19"/>
                  </a:lnTo>
                  <a:lnTo>
                    <a:pt x="110" y="19"/>
                  </a:lnTo>
                  <a:lnTo>
                    <a:pt x="109" y="21"/>
                  </a:lnTo>
                  <a:lnTo>
                    <a:pt x="109" y="22"/>
                  </a:lnTo>
                  <a:lnTo>
                    <a:pt x="110" y="24"/>
                  </a:lnTo>
                  <a:lnTo>
                    <a:pt x="109" y="25"/>
                  </a:lnTo>
                  <a:lnTo>
                    <a:pt x="109" y="25"/>
                  </a:lnTo>
                  <a:lnTo>
                    <a:pt x="109" y="28"/>
                  </a:lnTo>
                  <a:lnTo>
                    <a:pt x="107" y="35"/>
                  </a:lnTo>
                  <a:lnTo>
                    <a:pt x="107" y="41"/>
                  </a:lnTo>
                  <a:lnTo>
                    <a:pt x="109" y="44"/>
                  </a:lnTo>
                  <a:lnTo>
                    <a:pt x="109" y="44"/>
                  </a:lnTo>
                  <a:lnTo>
                    <a:pt x="109" y="44"/>
                  </a:lnTo>
                  <a:lnTo>
                    <a:pt x="109" y="44"/>
                  </a:lnTo>
                  <a:lnTo>
                    <a:pt x="112" y="40"/>
                  </a:lnTo>
                  <a:lnTo>
                    <a:pt x="113" y="35"/>
                  </a:lnTo>
                  <a:lnTo>
                    <a:pt x="113" y="35"/>
                  </a:lnTo>
                  <a:lnTo>
                    <a:pt x="115" y="29"/>
                  </a:lnTo>
                  <a:lnTo>
                    <a:pt x="116" y="27"/>
                  </a:lnTo>
                  <a:lnTo>
                    <a:pt x="117" y="25"/>
                  </a:lnTo>
                  <a:lnTo>
                    <a:pt x="117" y="25"/>
                  </a:lnTo>
                  <a:lnTo>
                    <a:pt x="119" y="25"/>
                  </a:lnTo>
                  <a:lnTo>
                    <a:pt x="119" y="25"/>
                  </a:lnTo>
                  <a:lnTo>
                    <a:pt x="120" y="28"/>
                  </a:lnTo>
                  <a:lnTo>
                    <a:pt x="122" y="32"/>
                  </a:lnTo>
                  <a:lnTo>
                    <a:pt x="122" y="37"/>
                  </a:lnTo>
                  <a:lnTo>
                    <a:pt x="125" y="40"/>
                  </a:lnTo>
                  <a:lnTo>
                    <a:pt x="125" y="40"/>
                  </a:lnTo>
                  <a:lnTo>
                    <a:pt x="128" y="44"/>
                  </a:lnTo>
                  <a:lnTo>
                    <a:pt x="126" y="48"/>
                  </a:lnTo>
                  <a:lnTo>
                    <a:pt x="126" y="48"/>
                  </a:lnTo>
                  <a:lnTo>
                    <a:pt x="125" y="54"/>
                  </a:lnTo>
                  <a:lnTo>
                    <a:pt x="125" y="57"/>
                  </a:lnTo>
                  <a:lnTo>
                    <a:pt x="126" y="60"/>
                  </a:lnTo>
                  <a:lnTo>
                    <a:pt x="126" y="60"/>
                  </a:lnTo>
                  <a:lnTo>
                    <a:pt x="131" y="61"/>
                  </a:lnTo>
                  <a:lnTo>
                    <a:pt x="135" y="63"/>
                  </a:lnTo>
                  <a:lnTo>
                    <a:pt x="138" y="64"/>
                  </a:lnTo>
                  <a:lnTo>
                    <a:pt x="139" y="66"/>
                  </a:lnTo>
                  <a:lnTo>
                    <a:pt x="141" y="67"/>
                  </a:lnTo>
                  <a:lnTo>
                    <a:pt x="141" y="67"/>
                  </a:lnTo>
                  <a:lnTo>
                    <a:pt x="141" y="73"/>
                  </a:lnTo>
                  <a:lnTo>
                    <a:pt x="144" y="79"/>
                  </a:lnTo>
                  <a:lnTo>
                    <a:pt x="146" y="83"/>
                  </a:lnTo>
                  <a:lnTo>
                    <a:pt x="151" y="86"/>
                  </a:lnTo>
                  <a:lnTo>
                    <a:pt x="151" y="86"/>
                  </a:lnTo>
                  <a:lnTo>
                    <a:pt x="155" y="87"/>
                  </a:lnTo>
                  <a:lnTo>
                    <a:pt x="155" y="87"/>
                  </a:lnTo>
                  <a:lnTo>
                    <a:pt x="158" y="87"/>
                  </a:lnTo>
                  <a:lnTo>
                    <a:pt x="158" y="87"/>
                  </a:lnTo>
                  <a:lnTo>
                    <a:pt x="162" y="86"/>
                  </a:lnTo>
                  <a:lnTo>
                    <a:pt x="162" y="86"/>
                  </a:lnTo>
                  <a:lnTo>
                    <a:pt x="165" y="87"/>
                  </a:lnTo>
                  <a:lnTo>
                    <a:pt x="167" y="89"/>
                  </a:lnTo>
                  <a:lnTo>
                    <a:pt x="168" y="90"/>
                  </a:lnTo>
                  <a:lnTo>
                    <a:pt x="168" y="90"/>
                  </a:lnTo>
                  <a:lnTo>
                    <a:pt x="168" y="95"/>
                  </a:lnTo>
                  <a:lnTo>
                    <a:pt x="168" y="97"/>
                  </a:lnTo>
                  <a:lnTo>
                    <a:pt x="165" y="100"/>
                  </a:lnTo>
                  <a:lnTo>
                    <a:pt x="162" y="103"/>
                  </a:lnTo>
                  <a:lnTo>
                    <a:pt x="162" y="103"/>
                  </a:lnTo>
                  <a:lnTo>
                    <a:pt x="155" y="103"/>
                  </a:lnTo>
                  <a:lnTo>
                    <a:pt x="152" y="105"/>
                  </a:lnTo>
                  <a:lnTo>
                    <a:pt x="149" y="106"/>
                  </a:lnTo>
                  <a:lnTo>
                    <a:pt x="149" y="106"/>
                  </a:lnTo>
                  <a:lnTo>
                    <a:pt x="148" y="108"/>
                  </a:lnTo>
                  <a:lnTo>
                    <a:pt x="145" y="109"/>
                  </a:lnTo>
                  <a:lnTo>
                    <a:pt x="142" y="109"/>
                  </a:lnTo>
                  <a:lnTo>
                    <a:pt x="141" y="112"/>
                  </a:lnTo>
                  <a:lnTo>
                    <a:pt x="141" y="112"/>
                  </a:lnTo>
                  <a:lnTo>
                    <a:pt x="139" y="115"/>
                  </a:lnTo>
                  <a:lnTo>
                    <a:pt x="135" y="118"/>
                  </a:lnTo>
                  <a:lnTo>
                    <a:pt x="131" y="121"/>
                  </a:lnTo>
                  <a:lnTo>
                    <a:pt x="131" y="121"/>
                  </a:lnTo>
                  <a:lnTo>
                    <a:pt x="129" y="124"/>
                  </a:lnTo>
                  <a:lnTo>
                    <a:pt x="129" y="126"/>
                  </a:lnTo>
                  <a:lnTo>
                    <a:pt x="129" y="134"/>
                  </a:lnTo>
                  <a:lnTo>
                    <a:pt x="129" y="134"/>
                  </a:lnTo>
                  <a:lnTo>
                    <a:pt x="129" y="145"/>
                  </a:lnTo>
                  <a:lnTo>
                    <a:pt x="128" y="151"/>
                  </a:lnTo>
                  <a:lnTo>
                    <a:pt x="126" y="153"/>
                  </a:lnTo>
                  <a:lnTo>
                    <a:pt x="126" y="153"/>
                  </a:lnTo>
                  <a:lnTo>
                    <a:pt x="125" y="153"/>
                  </a:lnTo>
                  <a:lnTo>
                    <a:pt x="125" y="153"/>
                  </a:lnTo>
                  <a:lnTo>
                    <a:pt x="125" y="153"/>
                  </a:lnTo>
                  <a:lnTo>
                    <a:pt x="123" y="155"/>
                  </a:lnTo>
                  <a:lnTo>
                    <a:pt x="123" y="155"/>
                  </a:lnTo>
                  <a:lnTo>
                    <a:pt x="120" y="176"/>
                  </a:lnTo>
                  <a:lnTo>
                    <a:pt x="117" y="189"/>
                  </a:lnTo>
                  <a:lnTo>
                    <a:pt x="115" y="195"/>
                  </a:lnTo>
                  <a:lnTo>
                    <a:pt x="115" y="195"/>
                  </a:lnTo>
                  <a:lnTo>
                    <a:pt x="112" y="196"/>
                  </a:lnTo>
                  <a:lnTo>
                    <a:pt x="109" y="199"/>
                  </a:lnTo>
                  <a:lnTo>
                    <a:pt x="109" y="199"/>
                  </a:lnTo>
                  <a:lnTo>
                    <a:pt x="106" y="208"/>
                  </a:lnTo>
                  <a:lnTo>
                    <a:pt x="103" y="224"/>
                  </a:lnTo>
                  <a:lnTo>
                    <a:pt x="103" y="224"/>
                  </a:lnTo>
                  <a:lnTo>
                    <a:pt x="103" y="237"/>
                  </a:lnTo>
                  <a:lnTo>
                    <a:pt x="102" y="241"/>
                  </a:lnTo>
                  <a:lnTo>
                    <a:pt x="102" y="244"/>
                  </a:lnTo>
                  <a:lnTo>
                    <a:pt x="102" y="244"/>
                  </a:lnTo>
                  <a:lnTo>
                    <a:pt x="100" y="248"/>
                  </a:lnTo>
                  <a:lnTo>
                    <a:pt x="102" y="252"/>
                  </a:lnTo>
                  <a:lnTo>
                    <a:pt x="103" y="258"/>
                  </a:lnTo>
                  <a:lnTo>
                    <a:pt x="102" y="260"/>
                  </a:lnTo>
                  <a:lnTo>
                    <a:pt x="102" y="260"/>
                  </a:lnTo>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21" name="Freeform 76"/>
            <p:cNvSpPr>
              <a:spLocks/>
            </p:cNvSpPr>
            <p:nvPr/>
          </p:nvSpPr>
          <p:spPr bwMode="auto">
            <a:xfrm>
              <a:off x="4794250" y="1232329"/>
              <a:ext cx="179388" cy="100013"/>
            </a:xfrm>
            <a:custGeom>
              <a:avLst/>
              <a:gdLst>
                <a:gd name="T0" fmla="*/ 63 w 113"/>
                <a:gd name="T1" fmla="*/ 63 h 63"/>
                <a:gd name="T2" fmla="*/ 53 w 113"/>
                <a:gd name="T3" fmla="*/ 60 h 63"/>
                <a:gd name="T4" fmla="*/ 49 w 113"/>
                <a:gd name="T5" fmla="*/ 54 h 63"/>
                <a:gd name="T6" fmla="*/ 49 w 113"/>
                <a:gd name="T7" fmla="*/ 48 h 63"/>
                <a:gd name="T8" fmla="*/ 46 w 113"/>
                <a:gd name="T9" fmla="*/ 45 h 63"/>
                <a:gd name="T10" fmla="*/ 45 w 113"/>
                <a:gd name="T11" fmla="*/ 45 h 63"/>
                <a:gd name="T12" fmla="*/ 36 w 113"/>
                <a:gd name="T13" fmla="*/ 45 h 63"/>
                <a:gd name="T14" fmla="*/ 27 w 113"/>
                <a:gd name="T15" fmla="*/ 47 h 63"/>
                <a:gd name="T16" fmla="*/ 21 w 113"/>
                <a:gd name="T17" fmla="*/ 48 h 63"/>
                <a:gd name="T18" fmla="*/ 19 w 113"/>
                <a:gd name="T19" fmla="*/ 47 h 63"/>
                <a:gd name="T20" fmla="*/ 17 w 113"/>
                <a:gd name="T21" fmla="*/ 42 h 63"/>
                <a:gd name="T22" fmla="*/ 13 w 113"/>
                <a:gd name="T23" fmla="*/ 40 h 63"/>
                <a:gd name="T24" fmla="*/ 8 w 113"/>
                <a:gd name="T25" fmla="*/ 38 h 63"/>
                <a:gd name="T26" fmla="*/ 0 w 113"/>
                <a:gd name="T27" fmla="*/ 29 h 63"/>
                <a:gd name="T28" fmla="*/ 3 w 113"/>
                <a:gd name="T29" fmla="*/ 27 h 63"/>
                <a:gd name="T30" fmla="*/ 6 w 113"/>
                <a:gd name="T31" fmla="*/ 27 h 63"/>
                <a:gd name="T32" fmla="*/ 8 w 113"/>
                <a:gd name="T33" fmla="*/ 27 h 63"/>
                <a:gd name="T34" fmla="*/ 17 w 113"/>
                <a:gd name="T35" fmla="*/ 29 h 63"/>
                <a:gd name="T36" fmla="*/ 19 w 113"/>
                <a:gd name="T37" fmla="*/ 28 h 63"/>
                <a:gd name="T38" fmla="*/ 19 w 113"/>
                <a:gd name="T39" fmla="*/ 24 h 63"/>
                <a:gd name="T40" fmla="*/ 21 w 113"/>
                <a:gd name="T41" fmla="*/ 19 h 63"/>
                <a:gd name="T42" fmla="*/ 26 w 113"/>
                <a:gd name="T43" fmla="*/ 19 h 63"/>
                <a:gd name="T44" fmla="*/ 35 w 113"/>
                <a:gd name="T45" fmla="*/ 11 h 63"/>
                <a:gd name="T46" fmla="*/ 113 w 113"/>
                <a:gd name="T47" fmla="*/ 0 h 63"/>
                <a:gd name="T48" fmla="*/ 108 w 113"/>
                <a:gd name="T49" fmla="*/ 11 h 63"/>
                <a:gd name="T50" fmla="*/ 101 w 113"/>
                <a:gd name="T51" fmla="*/ 22 h 63"/>
                <a:gd name="T52" fmla="*/ 100 w 113"/>
                <a:gd name="T53" fmla="*/ 24 h 63"/>
                <a:gd name="T54" fmla="*/ 101 w 113"/>
                <a:gd name="T55" fmla="*/ 29 h 63"/>
                <a:gd name="T56" fmla="*/ 100 w 113"/>
                <a:gd name="T57" fmla="*/ 34 h 63"/>
                <a:gd name="T58" fmla="*/ 92 w 113"/>
                <a:gd name="T59" fmla="*/ 48 h 63"/>
                <a:gd name="T60" fmla="*/ 90 w 113"/>
                <a:gd name="T61" fmla="*/ 50 h 63"/>
                <a:gd name="T62" fmla="*/ 90 w 113"/>
                <a:gd name="T63" fmla="*/ 50 h 63"/>
                <a:gd name="T64" fmla="*/ 82 w 113"/>
                <a:gd name="T65" fmla="*/ 48 h 63"/>
                <a:gd name="T66" fmla="*/ 79 w 113"/>
                <a:gd name="T67" fmla="*/ 50 h 63"/>
                <a:gd name="T68" fmla="*/ 77 w 113"/>
                <a:gd name="T69" fmla="*/ 53 h 63"/>
                <a:gd name="T70" fmla="*/ 69 w 113"/>
                <a:gd name="T71" fmla="*/ 61 h 63"/>
                <a:gd name="T72" fmla="*/ 65 w 113"/>
                <a:gd name="T7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3" h="63">
                  <a:moveTo>
                    <a:pt x="63" y="63"/>
                  </a:moveTo>
                  <a:lnTo>
                    <a:pt x="63" y="63"/>
                  </a:lnTo>
                  <a:lnTo>
                    <a:pt x="59" y="63"/>
                  </a:lnTo>
                  <a:lnTo>
                    <a:pt x="53" y="60"/>
                  </a:lnTo>
                  <a:lnTo>
                    <a:pt x="50" y="57"/>
                  </a:lnTo>
                  <a:lnTo>
                    <a:pt x="49" y="54"/>
                  </a:lnTo>
                  <a:lnTo>
                    <a:pt x="49" y="54"/>
                  </a:lnTo>
                  <a:lnTo>
                    <a:pt x="49" y="48"/>
                  </a:lnTo>
                  <a:lnTo>
                    <a:pt x="48" y="45"/>
                  </a:lnTo>
                  <a:lnTo>
                    <a:pt x="46" y="45"/>
                  </a:lnTo>
                  <a:lnTo>
                    <a:pt x="46" y="45"/>
                  </a:lnTo>
                  <a:lnTo>
                    <a:pt x="45" y="45"/>
                  </a:lnTo>
                  <a:lnTo>
                    <a:pt x="45" y="45"/>
                  </a:lnTo>
                  <a:lnTo>
                    <a:pt x="36" y="45"/>
                  </a:lnTo>
                  <a:lnTo>
                    <a:pt x="27" y="47"/>
                  </a:lnTo>
                  <a:lnTo>
                    <a:pt x="27" y="47"/>
                  </a:lnTo>
                  <a:lnTo>
                    <a:pt x="21" y="48"/>
                  </a:lnTo>
                  <a:lnTo>
                    <a:pt x="21" y="48"/>
                  </a:lnTo>
                  <a:lnTo>
                    <a:pt x="20" y="48"/>
                  </a:lnTo>
                  <a:lnTo>
                    <a:pt x="19" y="47"/>
                  </a:lnTo>
                  <a:lnTo>
                    <a:pt x="19" y="47"/>
                  </a:lnTo>
                  <a:lnTo>
                    <a:pt x="17" y="42"/>
                  </a:lnTo>
                  <a:lnTo>
                    <a:pt x="16" y="41"/>
                  </a:lnTo>
                  <a:lnTo>
                    <a:pt x="13" y="40"/>
                  </a:lnTo>
                  <a:lnTo>
                    <a:pt x="13" y="40"/>
                  </a:lnTo>
                  <a:lnTo>
                    <a:pt x="8" y="38"/>
                  </a:lnTo>
                  <a:lnTo>
                    <a:pt x="3" y="34"/>
                  </a:lnTo>
                  <a:lnTo>
                    <a:pt x="0" y="29"/>
                  </a:lnTo>
                  <a:lnTo>
                    <a:pt x="1" y="28"/>
                  </a:lnTo>
                  <a:lnTo>
                    <a:pt x="3" y="27"/>
                  </a:lnTo>
                  <a:lnTo>
                    <a:pt x="3" y="27"/>
                  </a:lnTo>
                  <a:lnTo>
                    <a:pt x="6" y="27"/>
                  </a:lnTo>
                  <a:lnTo>
                    <a:pt x="6" y="27"/>
                  </a:lnTo>
                  <a:lnTo>
                    <a:pt x="8" y="27"/>
                  </a:lnTo>
                  <a:lnTo>
                    <a:pt x="13" y="28"/>
                  </a:lnTo>
                  <a:lnTo>
                    <a:pt x="17" y="29"/>
                  </a:lnTo>
                  <a:lnTo>
                    <a:pt x="17" y="29"/>
                  </a:lnTo>
                  <a:lnTo>
                    <a:pt x="19" y="28"/>
                  </a:lnTo>
                  <a:lnTo>
                    <a:pt x="19" y="25"/>
                  </a:lnTo>
                  <a:lnTo>
                    <a:pt x="19" y="24"/>
                  </a:lnTo>
                  <a:lnTo>
                    <a:pt x="21" y="21"/>
                  </a:lnTo>
                  <a:lnTo>
                    <a:pt x="21" y="19"/>
                  </a:lnTo>
                  <a:lnTo>
                    <a:pt x="21" y="19"/>
                  </a:lnTo>
                  <a:lnTo>
                    <a:pt x="26" y="19"/>
                  </a:lnTo>
                  <a:lnTo>
                    <a:pt x="32" y="16"/>
                  </a:lnTo>
                  <a:lnTo>
                    <a:pt x="35" y="11"/>
                  </a:lnTo>
                  <a:lnTo>
                    <a:pt x="37" y="0"/>
                  </a:lnTo>
                  <a:lnTo>
                    <a:pt x="113" y="0"/>
                  </a:lnTo>
                  <a:lnTo>
                    <a:pt x="113" y="0"/>
                  </a:lnTo>
                  <a:lnTo>
                    <a:pt x="108" y="11"/>
                  </a:lnTo>
                  <a:lnTo>
                    <a:pt x="104" y="18"/>
                  </a:lnTo>
                  <a:lnTo>
                    <a:pt x="101" y="22"/>
                  </a:lnTo>
                  <a:lnTo>
                    <a:pt x="101" y="22"/>
                  </a:lnTo>
                  <a:lnTo>
                    <a:pt x="100" y="24"/>
                  </a:lnTo>
                  <a:lnTo>
                    <a:pt x="100" y="25"/>
                  </a:lnTo>
                  <a:lnTo>
                    <a:pt x="101" y="29"/>
                  </a:lnTo>
                  <a:lnTo>
                    <a:pt x="101" y="29"/>
                  </a:lnTo>
                  <a:lnTo>
                    <a:pt x="100" y="34"/>
                  </a:lnTo>
                  <a:lnTo>
                    <a:pt x="97" y="41"/>
                  </a:lnTo>
                  <a:lnTo>
                    <a:pt x="92" y="48"/>
                  </a:lnTo>
                  <a:lnTo>
                    <a:pt x="90" y="50"/>
                  </a:lnTo>
                  <a:lnTo>
                    <a:pt x="90" y="50"/>
                  </a:lnTo>
                  <a:lnTo>
                    <a:pt x="90" y="50"/>
                  </a:lnTo>
                  <a:lnTo>
                    <a:pt x="90" y="50"/>
                  </a:lnTo>
                  <a:lnTo>
                    <a:pt x="85" y="50"/>
                  </a:lnTo>
                  <a:lnTo>
                    <a:pt x="82" y="48"/>
                  </a:lnTo>
                  <a:lnTo>
                    <a:pt x="82" y="48"/>
                  </a:lnTo>
                  <a:lnTo>
                    <a:pt x="79" y="50"/>
                  </a:lnTo>
                  <a:lnTo>
                    <a:pt x="79" y="50"/>
                  </a:lnTo>
                  <a:lnTo>
                    <a:pt x="77" y="53"/>
                  </a:lnTo>
                  <a:lnTo>
                    <a:pt x="74" y="57"/>
                  </a:lnTo>
                  <a:lnTo>
                    <a:pt x="69" y="61"/>
                  </a:lnTo>
                  <a:lnTo>
                    <a:pt x="65" y="63"/>
                  </a:lnTo>
                  <a:lnTo>
                    <a:pt x="65" y="63"/>
                  </a:lnTo>
                  <a:lnTo>
                    <a:pt x="63" y="63"/>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22" name="Freeform 77"/>
            <p:cNvSpPr>
              <a:spLocks/>
            </p:cNvSpPr>
            <p:nvPr/>
          </p:nvSpPr>
          <p:spPr bwMode="auto">
            <a:xfrm>
              <a:off x="4794250" y="1232329"/>
              <a:ext cx="179388" cy="100013"/>
            </a:xfrm>
            <a:custGeom>
              <a:avLst/>
              <a:gdLst>
                <a:gd name="T0" fmla="*/ 63 w 113"/>
                <a:gd name="T1" fmla="*/ 63 h 63"/>
                <a:gd name="T2" fmla="*/ 53 w 113"/>
                <a:gd name="T3" fmla="*/ 60 h 63"/>
                <a:gd name="T4" fmla="*/ 49 w 113"/>
                <a:gd name="T5" fmla="*/ 54 h 63"/>
                <a:gd name="T6" fmla="*/ 49 w 113"/>
                <a:gd name="T7" fmla="*/ 48 h 63"/>
                <a:gd name="T8" fmla="*/ 46 w 113"/>
                <a:gd name="T9" fmla="*/ 45 h 63"/>
                <a:gd name="T10" fmla="*/ 45 w 113"/>
                <a:gd name="T11" fmla="*/ 45 h 63"/>
                <a:gd name="T12" fmla="*/ 36 w 113"/>
                <a:gd name="T13" fmla="*/ 45 h 63"/>
                <a:gd name="T14" fmla="*/ 27 w 113"/>
                <a:gd name="T15" fmla="*/ 47 h 63"/>
                <a:gd name="T16" fmla="*/ 21 w 113"/>
                <a:gd name="T17" fmla="*/ 48 h 63"/>
                <a:gd name="T18" fmla="*/ 19 w 113"/>
                <a:gd name="T19" fmla="*/ 47 h 63"/>
                <a:gd name="T20" fmla="*/ 17 w 113"/>
                <a:gd name="T21" fmla="*/ 42 h 63"/>
                <a:gd name="T22" fmla="*/ 13 w 113"/>
                <a:gd name="T23" fmla="*/ 40 h 63"/>
                <a:gd name="T24" fmla="*/ 8 w 113"/>
                <a:gd name="T25" fmla="*/ 38 h 63"/>
                <a:gd name="T26" fmla="*/ 0 w 113"/>
                <a:gd name="T27" fmla="*/ 29 h 63"/>
                <a:gd name="T28" fmla="*/ 3 w 113"/>
                <a:gd name="T29" fmla="*/ 27 h 63"/>
                <a:gd name="T30" fmla="*/ 6 w 113"/>
                <a:gd name="T31" fmla="*/ 27 h 63"/>
                <a:gd name="T32" fmla="*/ 8 w 113"/>
                <a:gd name="T33" fmla="*/ 27 h 63"/>
                <a:gd name="T34" fmla="*/ 17 w 113"/>
                <a:gd name="T35" fmla="*/ 29 h 63"/>
                <a:gd name="T36" fmla="*/ 19 w 113"/>
                <a:gd name="T37" fmla="*/ 28 h 63"/>
                <a:gd name="T38" fmla="*/ 19 w 113"/>
                <a:gd name="T39" fmla="*/ 24 h 63"/>
                <a:gd name="T40" fmla="*/ 21 w 113"/>
                <a:gd name="T41" fmla="*/ 19 h 63"/>
                <a:gd name="T42" fmla="*/ 26 w 113"/>
                <a:gd name="T43" fmla="*/ 19 h 63"/>
                <a:gd name="T44" fmla="*/ 35 w 113"/>
                <a:gd name="T45" fmla="*/ 11 h 63"/>
                <a:gd name="T46" fmla="*/ 113 w 113"/>
                <a:gd name="T47" fmla="*/ 0 h 63"/>
                <a:gd name="T48" fmla="*/ 108 w 113"/>
                <a:gd name="T49" fmla="*/ 11 h 63"/>
                <a:gd name="T50" fmla="*/ 101 w 113"/>
                <a:gd name="T51" fmla="*/ 22 h 63"/>
                <a:gd name="T52" fmla="*/ 100 w 113"/>
                <a:gd name="T53" fmla="*/ 24 h 63"/>
                <a:gd name="T54" fmla="*/ 101 w 113"/>
                <a:gd name="T55" fmla="*/ 29 h 63"/>
                <a:gd name="T56" fmla="*/ 100 w 113"/>
                <a:gd name="T57" fmla="*/ 34 h 63"/>
                <a:gd name="T58" fmla="*/ 92 w 113"/>
                <a:gd name="T59" fmla="*/ 48 h 63"/>
                <a:gd name="T60" fmla="*/ 90 w 113"/>
                <a:gd name="T61" fmla="*/ 50 h 63"/>
                <a:gd name="T62" fmla="*/ 90 w 113"/>
                <a:gd name="T63" fmla="*/ 50 h 63"/>
                <a:gd name="T64" fmla="*/ 82 w 113"/>
                <a:gd name="T65" fmla="*/ 48 h 63"/>
                <a:gd name="T66" fmla="*/ 79 w 113"/>
                <a:gd name="T67" fmla="*/ 50 h 63"/>
                <a:gd name="T68" fmla="*/ 77 w 113"/>
                <a:gd name="T69" fmla="*/ 53 h 63"/>
                <a:gd name="T70" fmla="*/ 69 w 113"/>
                <a:gd name="T71" fmla="*/ 61 h 63"/>
                <a:gd name="T72" fmla="*/ 65 w 113"/>
                <a:gd name="T7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3" h="63">
                  <a:moveTo>
                    <a:pt x="63" y="63"/>
                  </a:moveTo>
                  <a:lnTo>
                    <a:pt x="63" y="63"/>
                  </a:lnTo>
                  <a:lnTo>
                    <a:pt x="59" y="63"/>
                  </a:lnTo>
                  <a:lnTo>
                    <a:pt x="53" y="60"/>
                  </a:lnTo>
                  <a:lnTo>
                    <a:pt x="50" y="57"/>
                  </a:lnTo>
                  <a:lnTo>
                    <a:pt x="49" y="54"/>
                  </a:lnTo>
                  <a:lnTo>
                    <a:pt x="49" y="54"/>
                  </a:lnTo>
                  <a:lnTo>
                    <a:pt x="49" y="48"/>
                  </a:lnTo>
                  <a:lnTo>
                    <a:pt x="48" y="45"/>
                  </a:lnTo>
                  <a:lnTo>
                    <a:pt x="46" y="45"/>
                  </a:lnTo>
                  <a:lnTo>
                    <a:pt x="46" y="45"/>
                  </a:lnTo>
                  <a:lnTo>
                    <a:pt x="45" y="45"/>
                  </a:lnTo>
                  <a:lnTo>
                    <a:pt x="45" y="45"/>
                  </a:lnTo>
                  <a:lnTo>
                    <a:pt x="36" y="45"/>
                  </a:lnTo>
                  <a:lnTo>
                    <a:pt x="27" y="47"/>
                  </a:lnTo>
                  <a:lnTo>
                    <a:pt x="27" y="47"/>
                  </a:lnTo>
                  <a:lnTo>
                    <a:pt x="21" y="48"/>
                  </a:lnTo>
                  <a:lnTo>
                    <a:pt x="21" y="48"/>
                  </a:lnTo>
                  <a:lnTo>
                    <a:pt x="20" y="48"/>
                  </a:lnTo>
                  <a:lnTo>
                    <a:pt x="19" y="47"/>
                  </a:lnTo>
                  <a:lnTo>
                    <a:pt x="19" y="47"/>
                  </a:lnTo>
                  <a:lnTo>
                    <a:pt x="17" y="42"/>
                  </a:lnTo>
                  <a:lnTo>
                    <a:pt x="16" y="41"/>
                  </a:lnTo>
                  <a:lnTo>
                    <a:pt x="13" y="40"/>
                  </a:lnTo>
                  <a:lnTo>
                    <a:pt x="13" y="40"/>
                  </a:lnTo>
                  <a:lnTo>
                    <a:pt x="8" y="38"/>
                  </a:lnTo>
                  <a:lnTo>
                    <a:pt x="3" y="34"/>
                  </a:lnTo>
                  <a:lnTo>
                    <a:pt x="0" y="29"/>
                  </a:lnTo>
                  <a:lnTo>
                    <a:pt x="1" y="28"/>
                  </a:lnTo>
                  <a:lnTo>
                    <a:pt x="3" y="27"/>
                  </a:lnTo>
                  <a:lnTo>
                    <a:pt x="3" y="27"/>
                  </a:lnTo>
                  <a:lnTo>
                    <a:pt x="6" y="27"/>
                  </a:lnTo>
                  <a:lnTo>
                    <a:pt x="6" y="27"/>
                  </a:lnTo>
                  <a:lnTo>
                    <a:pt x="8" y="27"/>
                  </a:lnTo>
                  <a:lnTo>
                    <a:pt x="13" y="28"/>
                  </a:lnTo>
                  <a:lnTo>
                    <a:pt x="17" y="29"/>
                  </a:lnTo>
                  <a:lnTo>
                    <a:pt x="17" y="29"/>
                  </a:lnTo>
                  <a:lnTo>
                    <a:pt x="19" y="28"/>
                  </a:lnTo>
                  <a:lnTo>
                    <a:pt x="19" y="25"/>
                  </a:lnTo>
                  <a:lnTo>
                    <a:pt x="19" y="24"/>
                  </a:lnTo>
                  <a:lnTo>
                    <a:pt x="21" y="21"/>
                  </a:lnTo>
                  <a:lnTo>
                    <a:pt x="21" y="19"/>
                  </a:lnTo>
                  <a:lnTo>
                    <a:pt x="21" y="19"/>
                  </a:lnTo>
                  <a:lnTo>
                    <a:pt x="26" y="19"/>
                  </a:lnTo>
                  <a:lnTo>
                    <a:pt x="32" y="16"/>
                  </a:lnTo>
                  <a:lnTo>
                    <a:pt x="35" y="11"/>
                  </a:lnTo>
                  <a:lnTo>
                    <a:pt x="37" y="0"/>
                  </a:lnTo>
                  <a:lnTo>
                    <a:pt x="113" y="0"/>
                  </a:lnTo>
                  <a:lnTo>
                    <a:pt x="113" y="0"/>
                  </a:lnTo>
                  <a:lnTo>
                    <a:pt x="108" y="11"/>
                  </a:lnTo>
                  <a:lnTo>
                    <a:pt x="104" y="18"/>
                  </a:lnTo>
                  <a:lnTo>
                    <a:pt x="101" y="22"/>
                  </a:lnTo>
                  <a:lnTo>
                    <a:pt x="101" y="22"/>
                  </a:lnTo>
                  <a:lnTo>
                    <a:pt x="100" y="24"/>
                  </a:lnTo>
                  <a:lnTo>
                    <a:pt x="100" y="25"/>
                  </a:lnTo>
                  <a:lnTo>
                    <a:pt x="101" y="29"/>
                  </a:lnTo>
                  <a:lnTo>
                    <a:pt x="101" y="29"/>
                  </a:lnTo>
                  <a:lnTo>
                    <a:pt x="100" y="34"/>
                  </a:lnTo>
                  <a:lnTo>
                    <a:pt x="97" y="41"/>
                  </a:lnTo>
                  <a:lnTo>
                    <a:pt x="92" y="48"/>
                  </a:lnTo>
                  <a:lnTo>
                    <a:pt x="90" y="50"/>
                  </a:lnTo>
                  <a:lnTo>
                    <a:pt x="90" y="50"/>
                  </a:lnTo>
                  <a:lnTo>
                    <a:pt x="90" y="50"/>
                  </a:lnTo>
                  <a:lnTo>
                    <a:pt x="90" y="50"/>
                  </a:lnTo>
                  <a:lnTo>
                    <a:pt x="85" y="50"/>
                  </a:lnTo>
                  <a:lnTo>
                    <a:pt x="82" y="48"/>
                  </a:lnTo>
                  <a:lnTo>
                    <a:pt x="82" y="48"/>
                  </a:lnTo>
                  <a:lnTo>
                    <a:pt x="79" y="50"/>
                  </a:lnTo>
                  <a:lnTo>
                    <a:pt x="79" y="50"/>
                  </a:lnTo>
                  <a:lnTo>
                    <a:pt x="77" y="53"/>
                  </a:lnTo>
                  <a:lnTo>
                    <a:pt x="74" y="57"/>
                  </a:lnTo>
                  <a:lnTo>
                    <a:pt x="69" y="61"/>
                  </a:lnTo>
                  <a:lnTo>
                    <a:pt x="65" y="63"/>
                  </a:lnTo>
                  <a:lnTo>
                    <a:pt x="65" y="63"/>
                  </a:lnTo>
                  <a:lnTo>
                    <a:pt x="63" y="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23" name="Freeform 78"/>
            <p:cNvSpPr>
              <a:spLocks/>
            </p:cNvSpPr>
            <p:nvPr/>
          </p:nvSpPr>
          <p:spPr bwMode="auto">
            <a:xfrm>
              <a:off x="4810125" y="1405366"/>
              <a:ext cx="52388" cy="49213"/>
            </a:xfrm>
            <a:custGeom>
              <a:avLst/>
              <a:gdLst>
                <a:gd name="T0" fmla="*/ 14 w 33"/>
                <a:gd name="T1" fmla="*/ 31 h 31"/>
                <a:gd name="T2" fmla="*/ 14 w 33"/>
                <a:gd name="T3" fmla="*/ 31 h 31"/>
                <a:gd name="T4" fmla="*/ 11 w 33"/>
                <a:gd name="T5" fmla="*/ 31 h 31"/>
                <a:gd name="T6" fmla="*/ 10 w 33"/>
                <a:gd name="T7" fmla="*/ 28 h 31"/>
                <a:gd name="T8" fmla="*/ 9 w 33"/>
                <a:gd name="T9" fmla="*/ 22 h 31"/>
                <a:gd name="T10" fmla="*/ 9 w 33"/>
                <a:gd name="T11" fmla="*/ 22 h 31"/>
                <a:gd name="T12" fmla="*/ 9 w 33"/>
                <a:gd name="T13" fmla="*/ 17 h 31"/>
                <a:gd name="T14" fmla="*/ 6 w 33"/>
                <a:gd name="T15" fmla="*/ 15 h 31"/>
                <a:gd name="T16" fmla="*/ 1 w 33"/>
                <a:gd name="T17" fmla="*/ 9 h 31"/>
                <a:gd name="T18" fmla="*/ 1 w 33"/>
                <a:gd name="T19" fmla="*/ 9 h 31"/>
                <a:gd name="T20" fmla="*/ 0 w 33"/>
                <a:gd name="T21" fmla="*/ 9 h 31"/>
                <a:gd name="T22" fmla="*/ 1 w 33"/>
                <a:gd name="T23" fmla="*/ 7 h 31"/>
                <a:gd name="T24" fmla="*/ 6 w 33"/>
                <a:gd name="T25" fmla="*/ 6 h 31"/>
                <a:gd name="T26" fmla="*/ 11 w 33"/>
                <a:gd name="T27" fmla="*/ 3 h 31"/>
                <a:gd name="T28" fmla="*/ 16 w 33"/>
                <a:gd name="T29" fmla="*/ 2 h 31"/>
                <a:gd name="T30" fmla="*/ 16 w 33"/>
                <a:gd name="T31" fmla="*/ 2 h 31"/>
                <a:gd name="T32" fmla="*/ 19 w 33"/>
                <a:gd name="T33" fmla="*/ 0 h 31"/>
                <a:gd name="T34" fmla="*/ 19 w 33"/>
                <a:gd name="T35" fmla="*/ 0 h 31"/>
                <a:gd name="T36" fmla="*/ 26 w 33"/>
                <a:gd name="T37" fmla="*/ 2 h 31"/>
                <a:gd name="T38" fmla="*/ 32 w 33"/>
                <a:gd name="T39" fmla="*/ 3 h 31"/>
                <a:gd name="T40" fmla="*/ 32 w 33"/>
                <a:gd name="T41" fmla="*/ 3 h 31"/>
                <a:gd name="T42" fmla="*/ 33 w 33"/>
                <a:gd name="T43" fmla="*/ 4 h 31"/>
                <a:gd name="T44" fmla="*/ 33 w 33"/>
                <a:gd name="T45" fmla="*/ 9 h 31"/>
                <a:gd name="T46" fmla="*/ 32 w 33"/>
                <a:gd name="T47" fmla="*/ 19 h 31"/>
                <a:gd name="T48" fmla="*/ 32 w 33"/>
                <a:gd name="T49" fmla="*/ 19 h 31"/>
                <a:gd name="T50" fmla="*/ 29 w 33"/>
                <a:gd name="T51" fmla="*/ 23 h 31"/>
                <a:gd name="T52" fmla="*/ 25 w 33"/>
                <a:gd name="T53" fmla="*/ 26 h 31"/>
                <a:gd name="T54" fmla="*/ 14 w 33"/>
                <a:gd name="T55" fmla="*/ 31 h 31"/>
                <a:gd name="T56" fmla="*/ 14 w 33"/>
                <a:gd name="T57" fmla="*/ 31 h 31"/>
                <a:gd name="T58" fmla="*/ 14 w 33"/>
                <a:gd name="T5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3" h="31">
                  <a:moveTo>
                    <a:pt x="14" y="31"/>
                  </a:moveTo>
                  <a:lnTo>
                    <a:pt x="14" y="31"/>
                  </a:lnTo>
                  <a:lnTo>
                    <a:pt x="11" y="31"/>
                  </a:lnTo>
                  <a:lnTo>
                    <a:pt x="10" y="28"/>
                  </a:lnTo>
                  <a:lnTo>
                    <a:pt x="9" y="22"/>
                  </a:lnTo>
                  <a:lnTo>
                    <a:pt x="9" y="22"/>
                  </a:lnTo>
                  <a:lnTo>
                    <a:pt x="9" y="17"/>
                  </a:lnTo>
                  <a:lnTo>
                    <a:pt x="6" y="15"/>
                  </a:lnTo>
                  <a:lnTo>
                    <a:pt x="1" y="9"/>
                  </a:lnTo>
                  <a:lnTo>
                    <a:pt x="1" y="9"/>
                  </a:lnTo>
                  <a:lnTo>
                    <a:pt x="0" y="9"/>
                  </a:lnTo>
                  <a:lnTo>
                    <a:pt x="1" y="7"/>
                  </a:lnTo>
                  <a:lnTo>
                    <a:pt x="6" y="6"/>
                  </a:lnTo>
                  <a:lnTo>
                    <a:pt x="11" y="3"/>
                  </a:lnTo>
                  <a:lnTo>
                    <a:pt x="16" y="2"/>
                  </a:lnTo>
                  <a:lnTo>
                    <a:pt x="16" y="2"/>
                  </a:lnTo>
                  <a:lnTo>
                    <a:pt x="19" y="0"/>
                  </a:lnTo>
                  <a:lnTo>
                    <a:pt x="19" y="0"/>
                  </a:lnTo>
                  <a:lnTo>
                    <a:pt x="26" y="2"/>
                  </a:lnTo>
                  <a:lnTo>
                    <a:pt x="32" y="3"/>
                  </a:lnTo>
                  <a:lnTo>
                    <a:pt x="32" y="3"/>
                  </a:lnTo>
                  <a:lnTo>
                    <a:pt x="33" y="4"/>
                  </a:lnTo>
                  <a:lnTo>
                    <a:pt x="33" y="9"/>
                  </a:lnTo>
                  <a:lnTo>
                    <a:pt x="32" y="19"/>
                  </a:lnTo>
                  <a:lnTo>
                    <a:pt x="32" y="19"/>
                  </a:lnTo>
                  <a:lnTo>
                    <a:pt x="29" y="23"/>
                  </a:lnTo>
                  <a:lnTo>
                    <a:pt x="25" y="26"/>
                  </a:lnTo>
                  <a:lnTo>
                    <a:pt x="14" y="31"/>
                  </a:lnTo>
                  <a:lnTo>
                    <a:pt x="14" y="31"/>
                  </a:lnTo>
                  <a:lnTo>
                    <a:pt x="14" y="31"/>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24" name="Freeform 79"/>
            <p:cNvSpPr>
              <a:spLocks/>
            </p:cNvSpPr>
            <p:nvPr/>
          </p:nvSpPr>
          <p:spPr bwMode="auto">
            <a:xfrm>
              <a:off x="4810125" y="1405366"/>
              <a:ext cx="52388" cy="49213"/>
            </a:xfrm>
            <a:custGeom>
              <a:avLst/>
              <a:gdLst>
                <a:gd name="T0" fmla="*/ 14 w 33"/>
                <a:gd name="T1" fmla="*/ 31 h 31"/>
                <a:gd name="T2" fmla="*/ 14 w 33"/>
                <a:gd name="T3" fmla="*/ 31 h 31"/>
                <a:gd name="T4" fmla="*/ 11 w 33"/>
                <a:gd name="T5" fmla="*/ 31 h 31"/>
                <a:gd name="T6" fmla="*/ 10 w 33"/>
                <a:gd name="T7" fmla="*/ 28 h 31"/>
                <a:gd name="T8" fmla="*/ 9 w 33"/>
                <a:gd name="T9" fmla="*/ 22 h 31"/>
                <a:gd name="T10" fmla="*/ 9 w 33"/>
                <a:gd name="T11" fmla="*/ 22 h 31"/>
                <a:gd name="T12" fmla="*/ 9 w 33"/>
                <a:gd name="T13" fmla="*/ 17 h 31"/>
                <a:gd name="T14" fmla="*/ 6 w 33"/>
                <a:gd name="T15" fmla="*/ 15 h 31"/>
                <a:gd name="T16" fmla="*/ 1 w 33"/>
                <a:gd name="T17" fmla="*/ 9 h 31"/>
                <a:gd name="T18" fmla="*/ 1 w 33"/>
                <a:gd name="T19" fmla="*/ 9 h 31"/>
                <a:gd name="T20" fmla="*/ 0 w 33"/>
                <a:gd name="T21" fmla="*/ 9 h 31"/>
                <a:gd name="T22" fmla="*/ 1 w 33"/>
                <a:gd name="T23" fmla="*/ 7 h 31"/>
                <a:gd name="T24" fmla="*/ 6 w 33"/>
                <a:gd name="T25" fmla="*/ 6 h 31"/>
                <a:gd name="T26" fmla="*/ 11 w 33"/>
                <a:gd name="T27" fmla="*/ 3 h 31"/>
                <a:gd name="T28" fmla="*/ 16 w 33"/>
                <a:gd name="T29" fmla="*/ 2 h 31"/>
                <a:gd name="T30" fmla="*/ 16 w 33"/>
                <a:gd name="T31" fmla="*/ 2 h 31"/>
                <a:gd name="T32" fmla="*/ 19 w 33"/>
                <a:gd name="T33" fmla="*/ 0 h 31"/>
                <a:gd name="T34" fmla="*/ 19 w 33"/>
                <a:gd name="T35" fmla="*/ 0 h 31"/>
                <a:gd name="T36" fmla="*/ 26 w 33"/>
                <a:gd name="T37" fmla="*/ 2 h 31"/>
                <a:gd name="T38" fmla="*/ 32 w 33"/>
                <a:gd name="T39" fmla="*/ 3 h 31"/>
                <a:gd name="T40" fmla="*/ 32 w 33"/>
                <a:gd name="T41" fmla="*/ 3 h 31"/>
                <a:gd name="T42" fmla="*/ 33 w 33"/>
                <a:gd name="T43" fmla="*/ 4 h 31"/>
                <a:gd name="T44" fmla="*/ 33 w 33"/>
                <a:gd name="T45" fmla="*/ 9 h 31"/>
                <a:gd name="T46" fmla="*/ 32 w 33"/>
                <a:gd name="T47" fmla="*/ 19 h 31"/>
                <a:gd name="T48" fmla="*/ 32 w 33"/>
                <a:gd name="T49" fmla="*/ 19 h 31"/>
                <a:gd name="T50" fmla="*/ 29 w 33"/>
                <a:gd name="T51" fmla="*/ 23 h 31"/>
                <a:gd name="T52" fmla="*/ 25 w 33"/>
                <a:gd name="T53" fmla="*/ 26 h 31"/>
                <a:gd name="T54" fmla="*/ 14 w 33"/>
                <a:gd name="T55" fmla="*/ 31 h 31"/>
                <a:gd name="T56" fmla="*/ 14 w 33"/>
                <a:gd name="T57" fmla="*/ 31 h 31"/>
                <a:gd name="T58" fmla="*/ 14 w 33"/>
                <a:gd name="T5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3" h="31">
                  <a:moveTo>
                    <a:pt x="14" y="31"/>
                  </a:moveTo>
                  <a:lnTo>
                    <a:pt x="14" y="31"/>
                  </a:lnTo>
                  <a:lnTo>
                    <a:pt x="11" y="31"/>
                  </a:lnTo>
                  <a:lnTo>
                    <a:pt x="10" y="28"/>
                  </a:lnTo>
                  <a:lnTo>
                    <a:pt x="9" y="22"/>
                  </a:lnTo>
                  <a:lnTo>
                    <a:pt x="9" y="22"/>
                  </a:lnTo>
                  <a:lnTo>
                    <a:pt x="9" y="17"/>
                  </a:lnTo>
                  <a:lnTo>
                    <a:pt x="6" y="15"/>
                  </a:lnTo>
                  <a:lnTo>
                    <a:pt x="1" y="9"/>
                  </a:lnTo>
                  <a:lnTo>
                    <a:pt x="1" y="9"/>
                  </a:lnTo>
                  <a:lnTo>
                    <a:pt x="0" y="9"/>
                  </a:lnTo>
                  <a:lnTo>
                    <a:pt x="1" y="7"/>
                  </a:lnTo>
                  <a:lnTo>
                    <a:pt x="6" y="6"/>
                  </a:lnTo>
                  <a:lnTo>
                    <a:pt x="11" y="3"/>
                  </a:lnTo>
                  <a:lnTo>
                    <a:pt x="16" y="2"/>
                  </a:lnTo>
                  <a:lnTo>
                    <a:pt x="16" y="2"/>
                  </a:lnTo>
                  <a:lnTo>
                    <a:pt x="19" y="0"/>
                  </a:lnTo>
                  <a:lnTo>
                    <a:pt x="19" y="0"/>
                  </a:lnTo>
                  <a:lnTo>
                    <a:pt x="26" y="2"/>
                  </a:lnTo>
                  <a:lnTo>
                    <a:pt x="32" y="3"/>
                  </a:lnTo>
                  <a:lnTo>
                    <a:pt x="32" y="3"/>
                  </a:lnTo>
                  <a:lnTo>
                    <a:pt x="33" y="4"/>
                  </a:lnTo>
                  <a:lnTo>
                    <a:pt x="33" y="9"/>
                  </a:lnTo>
                  <a:lnTo>
                    <a:pt x="32" y="19"/>
                  </a:lnTo>
                  <a:lnTo>
                    <a:pt x="32" y="19"/>
                  </a:lnTo>
                  <a:lnTo>
                    <a:pt x="29" y="23"/>
                  </a:lnTo>
                  <a:lnTo>
                    <a:pt x="25" y="26"/>
                  </a:lnTo>
                  <a:lnTo>
                    <a:pt x="14" y="31"/>
                  </a:lnTo>
                  <a:lnTo>
                    <a:pt x="14" y="31"/>
                  </a:lnTo>
                  <a:lnTo>
                    <a:pt x="14" y="31"/>
                  </a:lnTo>
                </a:path>
              </a:pathLst>
            </a:custGeom>
            <a:solidFill>
              <a:srgbClr val="92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25" name="Freeform 80"/>
            <p:cNvSpPr>
              <a:spLocks/>
            </p:cNvSpPr>
            <p:nvPr/>
          </p:nvSpPr>
          <p:spPr bwMode="auto">
            <a:xfrm>
              <a:off x="4826000" y="1449816"/>
              <a:ext cx="101600" cy="112713"/>
            </a:xfrm>
            <a:custGeom>
              <a:avLst/>
              <a:gdLst>
                <a:gd name="T0" fmla="*/ 28 w 64"/>
                <a:gd name="T1" fmla="*/ 71 h 71"/>
                <a:gd name="T2" fmla="*/ 25 w 64"/>
                <a:gd name="T3" fmla="*/ 71 h 71"/>
                <a:gd name="T4" fmla="*/ 23 w 64"/>
                <a:gd name="T5" fmla="*/ 68 h 71"/>
                <a:gd name="T6" fmla="*/ 32 w 64"/>
                <a:gd name="T7" fmla="*/ 55 h 71"/>
                <a:gd name="T8" fmla="*/ 32 w 64"/>
                <a:gd name="T9" fmla="*/ 53 h 71"/>
                <a:gd name="T10" fmla="*/ 30 w 64"/>
                <a:gd name="T11" fmla="*/ 52 h 71"/>
                <a:gd name="T12" fmla="*/ 23 w 64"/>
                <a:gd name="T13" fmla="*/ 56 h 71"/>
                <a:gd name="T14" fmla="*/ 19 w 64"/>
                <a:gd name="T15" fmla="*/ 58 h 71"/>
                <a:gd name="T16" fmla="*/ 6 w 64"/>
                <a:gd name="T17" fmla="*/ 59 h 71"/>
                <a:gd name="T18" fmla="*/ 3 w 64"/>
                <a:gd name="T19" fmla="*/ 58 h 71"/>
                <a:gd name="T20" fmla="*/ 3 w 64"/>
                <a:gd name="T21" fmla="*/ 52 h 71"/>
                <a:gd name="T22" fmla="*/ 4 w 64"/>
                <a:gd name="T23" fmla="*/ 49 h 71"/>
                <a:gd name="T24" fmla="*/ 12 w 64"/>
                <a:gd name="T25" fmla="*/ 29 h 71"/>
                <a:gd name="T26" fmla="*/ 10 w 64"/>
                <a:gd name="T27" fmla="*/ 24 h 71"/>
                <a:gd name="T28" fmla="*/ 1 w 64"/>
                <a:gd name="T29" fmla="*/ 17 h 71"/>
                <a:gd name="T30" fmla="*/ 0 w 64"/>
                <a:gd name="T31" fmla="*/ 16 h 71"/>
                <a:gd name="T32" fmla="*/ 3 w 64"/>
                <a:gd name="T33" fmla="*/ 13 h 71"/>
                <a:gd name="T34" fmla="*/ 9 w 64"/>
                <a:gd name="T35" fmla="*/ 7 h 71"/>
                <a:gd name="T36" fmla="*/ 16 w 64"/>
                <a:gd name="T37" fmla="*/ 5 h 71"/>
                <a:gd name="T38" fmla="*/ 22 w 64"/>
                <a:gd name="T39" fmla="*/ 4 h 71"/>
                <a:gd name="T40" fmla="*/ 30 w 64"/>
                <a:gd name="T41" fmla="*/ 1 h 71"/>
                <a:gd name="T42" fmla="*/ 36 w 64"/>
                <a:gd name="T43" fmla="*/ 0 h 71"/>
                <a:gd name="T44" fmla="*/ 38 w 64"/>
                <a:gd name="T45" fmla="*/ 1 h 71"/>
                <a:gd name="T46" fmla="*/ 39 w 64"/>
                <a:gd name="T47" fmla="*/ 4 h 71"/>
                <a:gd name="T48" fmla="*/ 36 w 64"/>
                <a:gd name="T49" fmla="*/ 14 h 71"/>
                <a:gd name="T50" fmla="*/ 36 w 64"/>
                <a:gd name="T51" fmla="*/ 16 h 71"/>
                <a:gd name="T52" fmla="*/ 39 w 64"/>
                <a:gd name="T53" fmla="*/ 21 h 71"/>
                <a:gd name="T54" fmla="*/ 45 w 64"/>
                <a:gd name="T55" fmla="*/ 30 h 71"/>
                <a:gd name="T56" fmla="*/ 49 w 64"/>
                <a:gd name="T57" fmla="*/ 31 h 71"/>
                <a:gd name="T58" fmla="*/ 57 w 64"/>
                <a:gd name="T59" fmla="*/ 30 h 71"/>
                <a:gd name="T60" fmla="*/ 57 w 64"/>
                <a:gd name="T61" fmla="*/ 30 h 71"/>
                <a:gd name="T62" fmla="*/ 59 w 64"/>
                <a:gd name="T63" fmla="*/ 31 h 71"/>
                <a:gd name="T64" fmla="*/ 64 w 64"/>
                <a:gd name="T65" fmla="*/ 39 h 71"/>
                <a:gd name="T66" fmla="*/ 64 w 64"/>
                <a:gd name="T67" fmla="*/ 42 h 71"/>
                <a:gd name="T68" fmla="*/ 55 w 64"/>
                <a:gd name="T69" fmla="*/ 45 h 71"/>
                <a:gd name="T70" fmla="*/ 52 w 64"/>
                <a:gd name="T71" fmla="*/ 45 h 71"/>
                <a:gd name="T72" fmla="*/ 48 w 64"/>
                <a:gd name="T73" fmla="*/ 53 h 71"/>
                <a:gd name="T74" fmla="*/ 42 w 64"/>
                <a:gd name="T75" fmla="*/ 66 h 71"/>
                <a:gd name="T76" fmla="*/ 39 w 64"/>
                <a:gd name="T77" fmla="*/ 68 h 71"/>
                <a:gd name="T78" fmla="*/ 28 w 64"/>
                <a:gd name="T79"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4" h="71">
                  <a:moveTo>
                    <a:pt x="28" y="71"/>
                  </a:moveTo>
                  <a:lnTo>
                    <a:pt x="28" y="71"/>
                  </a:lnTo>
                  <a:lnTo>
                    <a:pt x="25" y="71"/>
                  </a:lnTo>
                  <a:lnTo>
                    <a:pt x="25" y="71"/>
                  </a:lnTo>
                  <a:lnTo>
                    <a:pt x="23" y="69"/>
                  </a:lnTo>
                  <a:lnTo>
                    <a:pt x="23" y="68"/>
                  </a:lnTo>
                  <a:lnTo>
                    <a:pt x="26" y="63"/>
                  </a:lnTo>
                  <a:lnTo>
                    <a:pt x="32" y="55"/>
                  </a:lnTo>
                  <a:lnTo>
                    <a:pt x="32" y="55"/>
                  </a:lnTo>
                  <a:lnTo>
                    <a:pt x="32" y="53"/>
                  </a:lnTo>
                  <a:lnTo>
                    <a:pt x="30" y="52"/>
                  </a:lnTo>
                  <a:lnTo>
                    <a:pt x="30" y="52"/>
                  </a:lnTo>
                  <a:lnTo>
                    <a:pt x="28" y="53"/>
                  </a:lnTo>
                  <a:lnTo>
                    <a:pt x="23" y="56"/>
                  </a:lnTo>
                  <a:lnTo>
                    <a:pt x="23" y="56"/>
                  </a:lnTo>
                  <a:lnTo>
                    <a:pt x="19" y="58"/>
                  </a:lnTo>
                  <a:lnTo>
                    <a:pt x="15" y="59"/>
                  </a:lnTo>
                  <a:lnTo>
                    <a:pt x="6" y="59"/>
                  </a:lnTo>
                  <a:lnTo>
                    <a:pt x="6" y="59"/>
                  </a:lnTo>
                  <a:lnTo>
                    <a:pt x="3" y="58"/>
                  </a:lnTo>
                  <a:lnTo>
                    <a:pt x="3" y="55"/>
                  </a:lnTo>
                  <a:lnTo>
                    <a:pt x="3" y="52"/>
                  </a:lnTo>
                  <a:lnTo>
                    <a:pt x="4" y="49"/>
                  </a:lnTo>
                  <a:lnTo>
                    <a:pt x="4" y="49"/>
                  </a:lnTo>
                  <a:lnTo>
                    <a:pt x="9" y="39"/>
                  </a:lnTo>
                  <a:lnTo>
                    <a:pt x="12" y="29"/>
                  </a:lnTo>
                  <a:lnTo>
                    <a:pt x="12" y="29"/>
                  </a:lnTo>
                  <a:lnTo>
                    <a:pt x="10" y="24"/>
                  </a:lnTo>
                  <a:lnTo>
                    <a:pt x="9" y="21"/>
                  </a:lnTo>
                  <a:lnTo>
                    <a:pt x="1" y="17"/>
                  </a:lnTo>
                  <a:lnTo>
                    <a:pt x="1" y="17"/>
                  </a:lnTo>
                  <a:lnTo>
                    <a:pt x="0" y="16"/>
                  </a:lnTo>
                  <a:lnTo>
                    <a:pt x="0" y="16"/>
                  </a:lnTo>
                  <a:lnTo>
                    <a:pt x="3" y="13"/>
                  </a:lnTo>
                  <a:lnTo>
                    <a:pt x="9" y="7"/>
                  </a:lnTo>
                  <a:lnTo>
                    <a:pt x="9" y="7"/>
                  </a:lnTo>
                  <a:lnTo>
                    <a:pt x="12" y="5"/>
                  </a:lnTo>
                  <a:lnTo>
                    <a:pt x="16" y="5"/>
                  </a:lnTo>
                  <a:lnTo>
                    <a:pt x="22" y="4"/>
                  </a:lnTo>
                  <a:lnTo>
                    <a:pt x="22" y="4"/>
                  </a:lnTo>
                  <a:lnTo>
                    <a:pt x="26" y="3"/>
                  </a:lnTo>
                  <a:lnTo>
                    <a:pt x="30" y="1"/>
                  </a:lnTo>
                  <a:lnTo>
                    <a:pt x="30" y="1"/>
                  </a:lnTo>
                  <a:lnTo>
                    <a:pt x="36" y="0"/>
                  </a:lnTo>
                  <a:lnTo>
                    <a:pt x="36" y="0"/>
                  </a:lnTo>
                  <a:lnTo>
                    <a:pt x="38" y="1"/>
                  </a:lnTo>
                  <a:lnTo>
                    <a:pt x="39" y="4"/>
                  </a:lnTo>
                  <a:lnTo>
                    <a:pt x="39" y="4"/>
                  </a:lnTo>
                  <a:lnTo>
                    <a:pt x="39" y="10"/>
                  </a:lnTo>
                  <a:lnTo>
                    <a:pt x="36" y="14"/>
                  </a:lnTo>
                  <a:lnTo>
                    <a:pt x="36" y="14"/>
                  </a:lnTo>
                  <a:lnTo>
                    <a:pt x="36" y="16"/>
                  </a:lnTo>
                  <a:lnTo>
                    <a:pt x="36" y="17"/>
                  </a:lnTo>
                  <a:lnTo>
                    <a:pt x="39" y="21"/>
                  </a:lnTo>
                  <a:lnTo>
                    <a:pt x="45" y="30"/>
                  </a:lnTo>
                  <a:lnTo>
                    <a:pt x="45" y="30"/>
                  </a:lnTo>
                  <a:lnTo>
                    <a:pt x="48" y="31"/>
                  </a:lnTo>
                  <a:lnTo>
                    <a:pt x="49" y="31"/>
                  </a:lnTo>
                  <a:lnTo>
                    <a:pt x="49" y="31"/>
                  </a:lnTo>
                  <a:lnTo>
                    <a:pt x="57" y="30"/>
                  </a:lnTo>
                  <a:lnTo>
                    <a:pt x="57" y="30"/>
                  </a:lnTo>
                  <a:lnTo>
                    <a:pt x="57" y="30"/>
                  </a:lnTo>
                  <a:lnTo>
                    <a:pt x="57" y="30"/>
                  </a:lnTo>
                  <a:lnTo>
                    <a:pt x="59" y="31"/>
                  </a:lnTo>
                  <a:lnTo>
                    <a:pt x="61" y="33"/>
                  </a:lnTo>
                  <a:lnTo>
                    <a:pt x="64" y="39"/>
                  </a:lnTo>
                  <a:lnTo>
                    <a:pt x="64" y="39"/>
                  </a:lnTo>
                  <a:lnTo>
                    <a:pt x="64" y="42"/>
                  </a:lnTo>
                  <a:lnTo>
                    <a:pt x="62" y="43"/>
                  </a:lnTo>
                  <a:lnTo>
                    <a:pt x="55" y="45"/>
                  </a:lnTo>
                  <a:lnTo>
                    <a:pt x="55" y="45"/>
                  </a:lnTo>
                  <a:lnTo>
                    <a:pt x="52" y="45"/>
                  </a:lnTo>
                  <a:lnTo>
                    <a:pt x="51" y="47"/>
                  </a:lnTo>
                  <a:lnTo>
                    <a:pt x="48" y="53"/>
                  </a:lnTo>
                  <a:lnTo>
                    <a:pt x="45" y="60"/>
                  </a:lnTo>
                  <a:lnTo>
                    <a:pt x="42" y="66"/>
                  </a:lnTo>
                  <a:lnTo>
                    <a:pt x="42" y="66"/>
                  </a:lnTo>
                  <a:lnTo>
                    <a:pt x="39" y="68"/>
                  </a:lnTo>
                  <a:lnTo>
                    <a:pt x="35" y="69"/>
                  </a:lnTo>
                  <a:lnTo>
                    <a:pt x="28" y="71"/>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26" name="Freeform 81"/>
            <p:cNvSpPr>
              <a:spLocks/>
            </p:cNvSpPr>
            <p:nvPr/>
          </p:nvSpPr>
          <p:spPr bwMode="auto">
            <a:xfrm>
              <a:off x="4826000" y="1449816"/>
              <a:ext cx="101600" cy="112713"/>
            </a:xfrm>
            <a:custGeom>
              <a:avLst/>
              <a:gdLst>
                <a:gd name="T0" fmla="*/ 28 w 64"/>
                <a:gd name="T1" fmla="*/ 71 h 71"/>
                <a:gd name="T2" fmla="*/ 25 w 64"/>
                <a:gd name="T3" fmla="*/ 71 h 71"/>
                <a:gd name="T4" fmla="*/ 23 w 64"/>
                <a:gd name="T5" fmla="*/ 68 h 71"/>
                <a:gd name="T6" fmla="*/ 32 w 64"/>
                <a:gd name="T7" fmla="*/ 55 h 71"/>
                <a:gd name="T8" fmla="*/ 32 w 64"/>
                <a:gd name="T9" fmla="*/ 53 h 71"/>
                <a:gd name="T10" fmla="*/ 30 w 64"/>
                <a:gd name="T11" fmla="*/ 52 h 71"/>
                <a:gd name="T12" fmla="*/ 23 w 64"/>
                <a:gd name="T13" fmla="*/ 56 h 71"/>
                <a:gd name="T14" fmla="*/ 19 w 64"/>
                <a:gd name="T15" fmla="*/ 58 h 71"/>
                <a:gd name="T16" fmla="*/ 6 w 64"/>
                <a:gd name="T17" fmla="*/ 59 h 71"/>
                <a:gd name="T18" fmla="*/ 3 w 64"/>
                <a:gd name="T19" fmla="*/ 58 h 71"/>
                <a:gd name="T20" fmla="*/ 3 w 64"/>
                <a:gd name="T21" fmla="*/ 52 h 71"/>
                <a:gd name="T22" fmla="*/ 4 w 64"/>
                <a:gd name="T23" fmla="*/ 49 h 71"/>
                <a:gd name="T24" fmla="*/ 12 w 64"/>
                <a:gd name="T25" fmla="*/ 29 h 71"/>
                <a:gd name="T26" fmla="*/ 10 w 64"/>
                <a:gd name="T27" fmla="*/ 24 h 71"/>
                <a:gd name="T28" fmla="*/ 1 w 64"/>
                <a:gd name="T29" fmla="*/ 17 h 71"/>
                <a:gd name="T30" fmla="*/ 0 w 64"/>
                <a:gd name="T31" fmla="*/ 16 h 71"/>
                <a:gd name="T32" fmla="*/ 3 w 64"/>
                <a:gd name="T33" fmla="*/ 13 h 71"/>
                <a:gd name="T34" fmla="*/ 9 w 64"/>
                <a:gd name="T35" fmla="*/ 7 h 71"/>
                <a:gd name="T36" fmla="*/ 16 w 64"/>
                <a:gd name="T37" fmla="*/ 5 h 71"/>
                <a:gd name="T38" fmla="*/ 22 w 64"/>
                <a:gd name="T39" fmla="*/ 4 h 71"/>
                <a:gd name="T40" fmla="*/ 30 w 64"/>
                <a:gd name="T41" fmla="*/ 1 h 71"/>
                <a:gd name="T42" fmla="*/ 36 w 64"/>
                <a:gd name="T43" fmla="*/ 0 h 71"/>
                <a:gd name="T44" fmla="*/ 38 w 64"/>
                <a:gd name="T45" fmla="*/ 1 h 71"/>
                <a:gd name="T46" fmla="*/ 39 w 64"/>
                <a:gd name="T47" fmla="*/ 4 h 71"/>
                <a:gd name="T48" fmla="*/ 36 w 64"/>
                <a:gd name="T49" fmla="*/ 14 h 71"/>
                <a:gd name="T50" fmla="*/ 36 w 64"/>
                <a:gd name="T51" fmla="*/ 16 h 71"/>
                <a:gd name="T52" fmla="*/ 39 w 64"/>
                <a:gd name="T53" fmla="*/ 21 h 71"/>
                <a:gd name="T54" fmla="*/ 45 w 64"/>
                <a:gd name="T55" fmla="*/ 30 h 71"/>
                <a:gd name="T56" fmla="*/ 49 w 64"/>
                <a:gd name="T57" fmla="*/ 31 h 71"/>
                <a:gd name="T58" fmla="*/ 57 w 64"/>
                <a:gd name="T59" fmla="*/ 30 h 71"/>
                <a:gd name="T60" fmla="*/ 57 w 64"/>
                <a:gd name="T61" fmla="*/ 30 h 71"/>
                <a:gd name="T62" fmla="*/ 59 w 64"/>
                <a:gd name="T63" fmla="*/ 31 h 71"/>
                <a:gd name="T64" fmla="*/ 64 w 64"/>
                <a:gd name="T65" fmla="*/ 39 h 71"/>
                <a:gd name="T66" fmla="*/ 64 w 64"/>
                <a:gd name="T67" fmla="*/ 42 h 71"/>
                <a:gd name="T68" fmla="*/ 55 w 64"/>
                <a:gd name="T69" fmla="*/ 45 h 71"/>
                <a:gd name="T70" fmla="*/ 52 w 64"/>
                <a:gd name="T71" fmla="*/ 45 h 71"/>
                <a:gd name="T72" fmla="*/ 48 w 64"/>
                <a:gd name="T73" fmla="*/ 53 h 71"/>
                <a:gd name="T74" fmla="*/ 42 w 64"/>
                <a:gd name="T75" fmla="*/ 66 h 71"/>
                <a:gd name="T76" fmla="*/ 39 w 64"/>
                <a:gd name="T77" fmla="*/ 68 h 71"/>
                <a:gd name="T78" fmla="*/ 28 w 64"/>
                <a:gd name="T79"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4" h="71">
                  <a:moveTo>
                    <a:pt x="28" y="71"/>
                  </a:moveTo>
                  <a:lnTo>
                    <a:pt x="28" y="71"/>
                  </a:lnTo>
                  <a:lnTo>
                    <a:pt x="25" y="71"/>
                  </a:lnTo>
                  <a:lnTo>
                    <a:pt x="25" y="71"/>
                  </a:lnTo>
                  <a:lnTo>
                    <a:pt x="23" y="69"/>
                  </a:lnTo>
                  <a:lnTo>
                    <a:pt x="23" y="68"/>
                  </a:lnTo>
                  <a:lnTo>
                    <a:pt x="26" y="63"/>
                  </a:lnTo>
                  <a:lnTo>
                    <a:pt x="32" y="55"/>
                  </a:lnTo>
                  <a:lnTo>
                    <a:pt x="32" y="55"/>
                  </a:lnTo>
                  <a:lnTo>
                    <a:pt x="32" y="53"/>
                  </a:lnTo>
                  <a:lnTo>
                    <a:pt x="30" y="52"/>
                  </a:lnTo>
                  <a:lnTo>
                    <a:pt x="30" y="52"/>
                  </a:lnTo>
                  <a:lnTo>
                    <a:pt x="28" y="53"/>
                  </a:lnTo>
                  <a:lnTo>
                    <a:pt x="23" y="56"/>
                  </a:lnTo>
                  <a:lnTo>
                    <a:pt x="23" y="56"/>
                  </a:lnTo>
                  <a:lnTo>
                    <a:pt x="19" y="58"/>
                  </a:lnTo>
                  <a:lnTo>
                    <a:pt x="15" y="59"/>
                  </a:lnTo>
                  <a:lnTo>
                    <a:pt x="6" y="59"/>
                  </a:lnTo>
                  <a:lnTo>
                    <a:pt x="6" y="59"/>
                  </a:lnTo>
                  <a:lnTo>
                    <a:pt x="3" y="58"/>
                  </a:lnTo>
                  <a:lnTo>
                    <a:pt x="3" y="55"/>
                  </a:lnTo>
                  <a:lnTo>
                    <a:pt x="3" y="52"/>
                  </a:lnTo>
                  <a:lnTo>
                    <a:pt x="4" y="49"/>
                  </a:lnTo>
                  <a:lnTo>
                    <a:pt x="4" y="49"/>
                  </a:lnTo>
                  <a:lnTo>
                    <a:pt x="9" y="39"/>
                  </a:lnTo>
                  <a:lnTo>
                    <a:pt x="12" y="29"/>
                  </a:lnTo>
                  <a:lnTo>
                    <a:pt x="12" y="29"/>
                  </a:lnTo>
                  <a:lnTo>
                    <a:pt x="10" y="24"/>
                  </a:lnTo>
                  <a:lnTo>
                    <a:pt x="9" y="21"/>
                  </a:lnTo>
                  <a:lnTo>
                    <a:pt x="1" y="17"/>
                  </a:lnTo>
                  <a:lnTo>
                    <a:pt x="1" y="17"/>
                  </a:lnTo>
                  <a:lnTo>
                    <a:pt x="0" y="16"/>
                  </a:lnTo>
                  <a:lnTo>
                    <a:pt x="0" y="16"/>
                  </a:lnTo>
                  <a:lnTo>
                    <a:pt x="3" y="13"/>
                  </a:lnTo>
                  <a:lnTo>
                    <a:pt x="9" y="7"/>
                  </a:lnTo>
                  <a:lnTo>
                    <a:pt x="9" y="7"/>
                  </a:lnTo>
                  <a:lnTo>
                    <a:pt x="12" y="5"/>
                  </a:lnTo>
                  <a:lnTo>
                    <a:pt x="16" y="5"/>
                  </a:lnTo>
                  <a:lnTo>
                    <a:pt x="22" y="4"/>
                  </a:lnTo>
                  <a:lnTo>
                    <a:pt x="22" y="4"/>
                  </a:lnTo>
                  <a:lnTo>
                    <a:pt x="26" y="3"/>
                  </a:lnTo>
                  <a:lnTo>
                    <a:pt x="30" y="1"/>
                  </a:lnTo>
                  <a:lnTo>
                    <a:pt x="30" y="1"/>
                  </a:lnTo>
                  <a:lnTo>
                    <a:pt x="36" y="0"/>
                  </a:lnTo>
                  <a:lnTo>
                    <a:pt x="36" y="0"/>
                  </a:lnTo>
                  <a:lnTo>
                    <a:pt x="38" y="1"/>
                  </a:lnTo>
                  <a:lnTo>
                    <a:pt x="39" y="4"/>
                  </a:lnTo>
                  <a:lnTo>
                    <a:pt x="39" y="4"/>
                  </a:lnTo>
                  <a:lnTo>
                    <a:pt x="39" y="10"/>
                  </a:lnTo>
                  <a:lnTo>
                    <a:pt x="36" y="14"/>
                  </a:lnTo>
                  <a:lnTo>
                    <a:pt x="36" y="14"/>
                  </a:lnTo>
                  <a:lnTo>
                    <a:pt x="36" y="16"/>
                  </a:lnTo>
                  <a:lnTo>
                    <a:pt x="36" y="17"/>
                  </a:lnTo>
                  <a:lnTo>
                    <a:pt x="39" y="21"/>
                  </a:lnTo>
                  <a:lnTo>
                    <a:pt x="45" y="30"/>
                  </a:lnTo>
                  <a:lnTo>
                    <a:pt x="45" y="30"/>
                  </a:lnTo>
                  <a:lnTo>
                    <a:pt x="48" y="31"/>
                  </a:lnTo>
                  <a:lnTo>
                    <a:pt x="49" y="31"/>
                  </a:lnTo>
                  <a:lnTo>
                    <a:pt x="49" y="31"/>
                  </a:lnTo>
                  <a:lnTo>
                    <a:pt x="57" y="30"/>
                  </a:lnTo>
                  <a:lnTo>
                    <a:pt x="57" y="30"/>
                  </a:lnTo>
                  <a:lnTo>
                    <a:pt x="57" y="30"/>
                  </a:lnTo>
                  <a:lnTo>
                    <a:pt x="57" y="30"/>
                  </a:lnTo>
                  <a:lnTo>
                    <a:pt x="59" y="31"/>
                  </a:lnTo>
                  <a:lnTo>
                    <a:pt x="61" y="33"/>
                  </a:lnTo>
                  <a:lnTo>
                    <a:pt x="64" y="39"/>
                  </a:lnTo>
                  <a:lnTo>
                    <a:pt x="64" y="39"/>
                  </a:lnTo>
                  <a:lnTo>
                    <a:pt x="64" y="42"/>
                  </a:lnTo>
                  <a:lnTo>
                    <a:pt x="62" y="43"/>
                  </a:lnTo>
                  <a:lnTo>
                    <a:pt x="55" y="45"/>
                  </a:lnTo>
                  <a:lnTo>
                    <a:pt x="55" y="45"/>
                  </a:lnTo>
                  <a:lnTo>
                    <a:pt x="52" y="45"/>
                  </a:lnTo>
                  <a:lnTo>
                    <a:pt x="51" y="47"/>
                  </a:lnTo>
                  <a:lnTo>
                    <a:pt x="48" y="53"/>
                  </a:lnTo>
                  <a:lnTo>
                    <a:pt x="45" y="60"/>
                  </a:lnTo>
                  <a:lnTo>
                    <a:pt x="42" y="66"/>
                  </a:lnTo>
                  <a:lnTo>
                    <a:pt x="42" y="66"/>
                  </a:lnTo>
                  <a:lnTo>
                    <a:pt x="39" y="68"/>
                  </a:lnTo>
                  <a:lnTo>
                    <a:pt x="35" y="69"/>
                  </a:lnTo>
                  <a:lnTo>
                    <a:pt x="28" y="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27" name="Freeform 82"/>
            <p:cNvSpPr>
              <a:spLocks/>
            </p:cNvSpPr>
            <p:nvPr/>
          </p:nvSpPr>
          <p:spPr bwMode="auto">
            <a:xfrm>
              <a:off x="4568825" y="1365679"/>
              <a:ext cx="41275" cy="85725"/>
            </a:xfrm>
            <a:custGeom>
              <a:avLst/>
              <a:gdLst>
                <a:gd name="T0" fmla="*/ 24 w 26"/>
                <a:gd name="T1" fmla="*/ 54 h 54"/>
                <a:gd name="T2" fmla="*/ 24 w 26"/>
                <a:gd name="T3" fmla="*/ 54 h 54"/>
                <a:gd name="T4" fmla="*/ 23 w 26"/>
                <a:gd name="T5" fmla="*/ 54 h 54"/>
                <a:gd name="T6" fmla="*/ 23 w 26"/>
                <a:gd name="T7" fmla="*/ 54 h 54"/>
                <a:gd name="T8" fmla="*/ 22 w 26"/>
                <a:gd name="T9" fmla="*/ 53 h 54"/>
                <a:gd name="T10" fmla="*/ 20 w 26"/>
                <a:gd name="T11" fmla="*/ 51 h 54"/>
                <a:gd name="T12" fmla="*/ 17 w 26"/>
                <a:gd name="T13" fmla="*/ 47 h 54"/>
                <a:gd name="T14" fmla="*/ 16 w 26"/>
                <a:gd name="T15" fmla="*/ 41 h 54"/>
                <a:gd name="T16" fmla="*/ 13 w 26"/>
                <a:gd name="T17" fmla="*/ 37 h 54"/>
                <a:gd name="T18" fmla="*/ 13 w 26"/>
                <a:gd name="T19" fmla="*/ 37 h 54"/>
                <a:gd name="T20" fmla="*/ 6 w 26"/>
                <a:gd name="T21" fmla="*/ 34 h 54"/>
                <a:gd name="T22" fmla="*/ 6 w 26"/>
                <a:gd name="T23" fmla="*/ 31 h 54"/>
                <a:gd name="T24" fmla="*/ 6 w 26"/>
                <a:gd name="T25" fmla="*/ 29 h 54"/>
                <a:gd name="T26" fmla="*/ 6 w 26"/>
                <a:gd name="T27" fmla="*/ 29 h 54"/>
                <a:gd name="T28" fmla="*/ 3 w 26"/>
                <a:gd name="T29" fmla="*/ 16 h 54"/>
                <a:gd name="T30" fmla="*/ 0 w 26"/>
                <a:gd name="T31" fmla="*/ 6 h 54"/>
                <a:gd name="T32" fmla="*/ 0 w 26"/>
                <a:gd name="T33" fmla="*/ 6 h 54"/>
                <a:gd name="T34" fmla="*/ 0 w 26"/>
                <a:gd name="T35" fmla="*/ 2 h 54"/>
                <a:gd name="T36" fmla="*/ 0 w 26"/>
                <a:gd name="T37" fmla="*/ 0 h 54"/>
                <a:gd name="T38" fmla="*/ 1 w 26"/>
                <a:gd name="T39" fmla="*/ 0 h 54"/>
                <a:gd name="T40" fmla="*/ 1 w 26"/>
                <a:gd name="T41" fmla="*/ 0 h 54"/>
                <a:gd name="T42" fmla="*/ 3 w 26"/>
                <a:gd name="T43" fmla="*/ 0 h 54"/>
                <a:gd name="T44" fmla="*/ 4 w 26"/>
                <a:gd name="T45" fmla="*/ 3 h 54"/>
                <a:gd name="T46" fmla="*/ 4 w 26"/>
                <a:gd name="T47" fmla="*/ 3 h 54"/>
                <a:gd name="T48" fmla="*/ 9 w 26"/>
                <a:gd name="T49" fmla="*/ 13 h 54"/>
                <a:gd name="T50" fmla="*/ 11 w 26"/>
                <a:gd name="T51" fmla="*/ 22 h 54"/>
                <a:gd name="T52" fmla="*/ 11 w 26"/>
                <a:gd name="T53" fmla="*/ 22 h 54"/>
                <a:gd name="T54" fmla="*/ 23 w 26"/>
                <a:gd name="T55" fmla="*/ 45 h 54"/>
                <a:gd name="T56" fmla="*/ 23 w 26"/>
                <a:gd name="T57" fmla="*/ 45 h 54"/>
                <a:gd name="T58" fmla="*/ 26 w 26"/>
                <a:gd name="T59" fmla="*/ 51 h 54"/>
                <a:gd name="T60" fmla="*/ 26 w 26"/>
                <a:gd name="T61" fmla="*/ 53 h 54"/>
                <a:gd name="T62" fmla="*/ 24 w 26"/>
                <a:gd name="T6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 h="54">
                  <a:moveTo>
                    <a:pt x="24" y="54"/>
                  </a:moveTo>
                  <a:lnTo>
                    <a:pt x="24" y="54"/>
                  </a:lnTo>
                  <a:lnTo>
                    <a:pt x="23" y="54"/>
                  </a:lnTo>
                  <a:lnTo>
                    <a:pt x="23" y="54"/>
                  </a:lnTo>
                  <a:lnTo>
                    <a:pt x="22" y="53"/>
                  </a:lnTo>
                  <a:lnTo>
                    <a:pt x="20" y="51"/>
                  </a:lnTo>
                  <a:lnTo>
                    <a:pt x="17" y="47"/>
                  </a:lnTo>
                  <a:lnTo>
                    <a:pt x="16" y="41"/>
                  </a:lnTo>
                  <a:lnTo>
                    <a:pt x="13" y="37"/>
                  </a:lnTo>
                  <a:lnTo>
                    <a:pt x="13" y="37"/>
                  </a:lnTo>
                  <a:lnTo>
                    <a:pt x="6" y="34"/>
                  </a:lnTo>
                  <a:lnTo>
                    <a:pt x="6" y="31"/>
                  </a:lnTo>
                  <a:lnTo>
                    <a:pt x="6" y="29"/>
                  </a:lnTo>
                  <a:lnTo>
                    <a:pt x="6" y="29"/>
                  </a:lnTo>
                  <a:lnTo>
                    <a:pt x="3" y="16"/>
                  </a:lnTo>
                  <a:lnTo>
                    <a:pt x="0" y="6"/>
                  </a:lnTo>
                  <a:lnTo>
                    <a:pt x="0" y="6"/>
                  </a:lnTo>
                  <a:lnTo>
                    <a:pt x="0" y="2"/>
                  </a:lnTo>
                  <a:lnTo>
                    <a:pt x="0" y="0"/>
                  </a:lnTo>
                  <a:lnTo>
                    <a:pt x="1" y="0"/>
                  </a:lnTo>
                  <a:lnTo>
                    <a:pt x="1" y="0"/>
                  </a:lnTo>
                  <a:lnTo>
                    <a:pt x="3" y="0"/>
                  </a:lnTo>
                  <a:lnTo>
                    <a:pt x="4" y="3"/>
                  </a:lnTo>
                  <a:lnTo>
                    <a:pt x="4" y="3"/>
                  </a:lnTo>
                  <a:lnTo>
                    <a:pt x="9" y="13"/>
                  </a:lnTo>
                  <a:lnTo>
                    <a:pt x="11" y="22"/>
                  </a:lnTo>
                  <a:lnTo>
                    <a:pt x="11" y="22"/>
                  </a:lnTo>
                  <a:lnTo>
                    <a:pt x="23" y="45"/>
                  </a:lnTo>
                  <a:lnTo>
                    <a:pt x="23" y="45"/>
                  </a:lnTo>
                  <a:lnTo>
                    <a:pt x="26" y="51"/>
                  </a:lnTo>
                  <a:lnTo>
                    <a:pt x="26" y="53"/>
                  </a:lnTo>
                  <a:lnTo>
                    <a:pt x="24" y="54"/>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28" name="Freeform 83"/>
            <p:cNvSpPr>
              <a:spLocks/>
            </p:cNvSpPr>
            <p:nvPr/>
          </p:nvSpPr>
          <p:spPr bwMode="auto">
            <a:xfrm>
              <a:off x="4568825" y="1365679"/>
              <a:ext cx="41275" cy="85725"/>
            </a:xfrm>
            <a:custGeom>
              <a:avLst/>
              <a:gdLst>
                <a:gd name="T0" fmla="*/ 24 w 26"/>
                <a:gd name="T1" fmla="*/ 54 h 54"/>
                <a:gd name="T2" fmla="*/ 24 w 26"/>
                <a:gd name="T3" fmla="*/ 54 h 54"/>
                <a:gd name="T4" fmla="*/ 23 w 26"/>
                <a:gd name="T5" fmla="*/ 54 h 54"/>
                <a:gd name="T6" fmla="*/ 23 w 26"/>
                <a:gd name="T7" fmla="*/ 54 h 54"/>
                <a:gd name="T8" fmla="*/ 22 w 26"/>
                <a:gd name="T9" fmla="*/ 53 h 54"/>
                <a:gd name="T10" fmla="*/ 20 w 26"/>
                <a:gd name="T11" fmla="*/ 51 h 54"/>
                <a:gd name="T12" fmla="*/ 17 w 26"/>
                <a:gd name="T13" fmla="*/ 47 h 54"/>
                <a:gd name="T14" fmla="*/ 16 w 26"/>
                <a:gd name="T15" fmla="*/ 41 h 54"/>
                <a:gd name="T16" fmla="*/ 13 w 26"/>
                <a:gd name="T17" fmla="*/ 37 h 54"/>
                <a:gd name="T18" fmla="*/ 13 w 26"/>
                <a:gd name="T19" fmla="*/ 37 h 54"/>
                <a:gd name="T20" fmla="*/ 6 w 26"/>
                <a:gd name="T21" fmla="*/ 34 h 54"/>
                <a:gd name="T22" fmla="*/ 6 w 26"/>
                <a:gd name="T23" fmla="*/ 31 h 54"/>
                <a:gd name="T24" fmla="*/ 6 w 26"/>
                <a:gd name="T25" fmla="*/ 29 h 54"/>
                <a:gd name="T26" fmla="*/ 6 w 26"/>
                <a:gd name="T27" fmla="*/ 29 h 54"/>
                <a:gd name="T28" fmla="*/ 3 w 26"/>
                <a:gd name="T29" fmla="*/ 16 h 54"/>
                <a:gd name="T30" fmla="*/ 0 w 26"/>
                <a:gd name="T31" fmla="*/ 6 h 54"/>
                <a:gd name="T32" fmla="*/ 0 w 26"/>
                <a:gd name="T33" fmla="*/ 6 h 54"/>
                <a:gd name="T34" fmla="*/ 0 w 26"/>
                <a:gd name="T35" fmla="*/ 2 h 54"/>
                <a:gd name="T36" fmla="*/ 0 w 26"/>
                <a:gd name="T37" fmla="*/ 0 h 54"/>
                <a:gd name="T38" fmla="*/ 1 w 26"/>
                <a:gd name="T39" fmla="*/ 0 h 54"/>
                <a:gd name="T40" fmla="*/ 1 w 26"/>
                <a:gd name="T41" fmla="*/ 0 h 54"/>
                <a:gd name="T42" fmla="*/ 3 w 26"/>
                <a:gd name="T43" fmla="*/ 0 h 54"/>
                <a:gd name="T44" fmla="*/ 4 w 26"/>
                <a:gd name="T45" fmla="*/ 3 h 54"/>
                <a:gd name="T46" fmla="*/ 4 w 26"/>
                <a:gd name="T47" fmla="*/ 3 h 54"/>
                <a:gd name="T48" fmla="*/ 9 w 26"/>
                <a:gd name="T49" fmla="*/ 13 h 54"/>
                <a:gd name="T50" fmla="*/ 11 w 26"/>
                <a:gd name="T51" fmla="*/ 22 h 54"/>
                <a:gd name="T52" fmla="*/ 11 w 26"/>
                <a:gd name="T53" fmla="*/ 22 h 54"/>
                <a:gd name="T54" fmla="*/ 23 w 26"/>
                <a:gd name="T55" fmla="*/ 45 h 54"/>
                <a:gd name="T56" fmla="*/ 23 w 26"/>
                <a:gd name="T57" fmla="*/ 45 h 54"/>
                <a:gd name="T58" fmla="*/ 26 w 26"/>
                <a:gd name="T59" fmla="*/ 51 h 54"/>
                <a:gd name="T60" fmla="*/ 26 w 26"/>
                <a:gd name="T61" fmla="*/ 53 h 54"/>
                <a:gd name="T62" fmla="*/ 24 w 26"/>
                <a:gd name="T6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 h="54">
                  <a:moveTo>
                    <a:pt x="24" y="54"/>
                  </a:moveTo>
                  <a:lnTo>
                    <a:pt x="24" y="54"/>
                  </a:lnTo>
                  <a:lnTo>
                    <a:pt x="23" y="54"/>
                  </a:lnTo>
                  <a:lnTo>
                    <a:pt x="23" y="54"/>
                  </a:lnTo>
                  <a:lnTo>
                    <a:pt x="22" y="53"/>
                  </a:lnTo>
                  <a:lnTo>
                    <a:pt x="20" y="51"/>
                  </a:lnTo>
                  <a:lnTo>
                    <a:pt x="17" y="47"/>
                  </a:lnTo>
                  <a:lnTo>
                    <a:pt x="16" y="41"/>
                  </a:lnTo>
                  <a:lnTo>
                    <a:pt x="13" y="37"/>
                  </a:lnTo>
                  <a:lnTo>
                    <a:pt x="13" y="37"/>
                  </a:lnTo>
                  <a:lnTo>
                    <a:pt x="6" y="34"/>
                  </a:lnTo>
                  <a:lnTo>
                    <a:pt x="6" y="31"/>
                  </a:lnTo>
                  <a:lnTo>
                    <a:pt x="6" y="29"/>
                  </a:lnTo>
                  <a:lnTo>
                    <a:pt x="6" y="29"/>
                  </a:lnTo>
                  <a:lnTo>
                    <a:pt x="3" y="16"/>
                  </a:lnTo>
                  <a:lnTo>
                    <a:pt x="0" y="6"/>
                  </a:lnTo>
                  <a:lnTo>
                    <a:pt x="0" y="6"/>
                  </a:lnTo>
                  <a:lnTo>
                    <a:pt x="0" y="2"/>
                  </a:lnTo>
                  <a:lnTo>
                    <a:pt x="0" y="0"/>
                  </a:lnTo>
                  <a:lnTo>
                    <a:pt x="1" y="0"/>
                  </a:lnTo>
                  <a:lnTo>
                    <a:pt x="1" y="0"/>
                  </a:lnTo>
                  <a:lnTo>
                    <a:pt x="3" y="0"/>
                  </a:lnTo>
                  <a:lnTo>
                    <a:pt x="4" y="3"/>
                  </a:lnTo>
                  <a:lnTo>
                    <a:pt x="4" y="3"/>
                  </a:lnTo>
                  <a:lnTo>
                    <a:pt x="9" y="13"/>
                  </a:lnTo>
                  <a:lnTo>
                    <a:pt x="11" y="22"/>
                  </a:lnTo>
                  <a:lnTo>
                    <a:pt x="11" y="22"/>
                  </a:lnTo>
                  <a:lnTo>
                    <a:pt x="23" y="45"/>
                  </a:lnTo>
                  <a:lnTo>
                    <a:pt x="23" y="45"/>
                  </a:lnTo>
                  <a:lnTo>
                    <a:pt x="26" y="51"/>
                  </a:lnTo>
                  <a:lnTo>
                    <a:pt x="26" y="53"/>
                  </a:lnTo>
                  <a:lnTo>
                    <a:pt x="24" y="54"/>
                  </a:lnTo>
                </a:path>
              </a:pathLst>
            </a:custGeom>
            <a:solidFill>
              <a:srgbClr val="92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29" name="Freeform 84"/>
            <p:cNvSpPr>
              <a:spLocks/>
            </p:cNvSpPr>
            <p:nvPr/>
          </p:nvSpPr>
          <p:spPr bwMode="auto">
            <a:xfrm>
              <a:off x="6630988" y="1232329"/>
              <a:ext cx="61913" cy="44450"/>
            </a:xfrm>
            <a:custGeom>
              <a:avLst/>
              <a:gdLst>
                <a:gd name="T0" fmla="*/ 9 w 39"/>
                <a:gd name="T1" fmla="*/ 28 h 28"/>
                <a:gd name="T2" fmla="*/ 9 w 39"/>
                <a:gd name="T3" fmla="*/ 28 h 28"/>
                <a:gd name="T4" fmla="*/ 7 w 39"/>
                <a:gd name="T5" fmla="*/ 28 h 28"/>
                <a:gd name="T6" fmla="*/ 6 w 39"/>
                <a:gd name="T7" fmla="*/ 27 h 28"/>
                <a:gd name="T8" fmla="*/ 6 w 39"/>
                <a:gd name="T9" fmla="*/ 27 h 28"/>
                <a:gd name="T10" fmla="*/ 1 w 39"/>
                <a:gd name="T11" fmla="*/ 22 h 28"/>
                <a:gd name="T12" fmla="*/ 1 w 39"/>
                <a:gd name="T13" fmla="*/ 21 h 28"/>
                <a:gd name="T14" fmla="*/ 4 w 39"/>
                <a:gd name="T15" fmla="*/ 19 h 28"/>
                <a:gd name="T16" fmla="*/ 4 w 39"/>
                <a:gd name="T17" fmla="*/ 19 h 28"/>
                <a:gd name="T18" fmla="*/ 12 w 39"/>
                <a:gd name="T19" fmla="*/ 19 h 28"/>
                <a:gd name="T20" fmla="*/ 14 w 39"/>
                <a:gd name="T21" fmla="*/ 19 h 28"/>
                <a:gd name="T22" fmla="*/ 13 w 39"/>
                <a:gd name="T23" fmla="*/ 18 h 28"/>
                <a:gd name="T24" fmla="*/ 13 w 39"/>
                <a:gd name="T25" fmla="*/ 18 h 28"/>
                <a:gd name="T26" fmla="*/ 10 w 39"/>
                <a:gd name="T27" fmla="*/ 15 h 28"/>
                <a:gd name="T28" fmla="*/ 4 w 39"/>
                <a:gd name="T29" fmla="*/ 11 h 28"/>
                <a:gd name="T30" fmla="*/ 1 w 39"/>
                <a:gd name="T31" fmla="*/ 5 h 28"/>
                <a:gd name="T32" fmla="*/ 0 w 39"/>
                <a:gd name="T33" fmla="*/ 0 h 28"/>
                <a:gd name="T34" fmla="*/ 39 w 39"/>
                <a:gd name="T35" fmla="*/ 0 h 28"/>
                <a:gd name="T36" fmla="*/ 39 w 39"/>
                <a:gd name="T37" fmla="*/ 0 h 28"/>
                <a:gd name="T38" fmla="*/ 39 w 39"/>
                <a:gd name="T39" fmla="*/ 5 h 28"/>
                <a:gd name="T40" fmla="*/ 39 w 39"/>
                <a:gd name="T41" fmla="*/ 9 h 28"/>
                <a:gd name="T42" fmla="*/ 38 w 39"/>
                <a:gd name="T43" fmla="*/ 12 h 28"/>
                <a:gd name="T44" fmla="*/ 38 w 39"/>
                <a:gd name="T45" fmla="*/ 12 h 28"/>
                <a:gd name="T46" fmla="*/ 29 w 39"/>
                <a:gd name="T47" fmla="*/ 18 h 28"/>
                <a:gd name="T48" fmla="*/ 23 w 39"/>
                <a:gd name="T49" fmla="*/ 22 h 28"/>
                <a:gd name="T50" fmla="*/ 19 w 39"/>
                <a:gd name="T51" fmla="*/ 25 h 28"/>
                <a:gd name="T52" fmla="*/ 19 w 39"/>
                <a:gd name="T53" fmla="*/ 25 h 28"/>
                <a:gd name="T54" fmla="*/ 13 w 39"/>
                <a:gd name="T55" fmla="*/ 27 h 28"/>
                <a:gd name="T56" fmla="*/ 9 w 39"/>
                <a:gd name="T5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9" h="28">
                  <a:moveTo>
                    <a:pt x="9" y="28"/>
                  </a:moveTo>
                  <a:lnTo>
                    <a:pt x="9" y="28"/>
                  </a:lnTo>
                  <a:lnTo>
                    <a:pt x="7" y="28"/>
                  </a:lnTo>
                  <a:lnTo>
                    <a:pt x="6" y="27"/>
                  </a:lnTo>
                  <a:lnTo>
                    <a:pt x="6" y="27"/>
                  </a:lnTo>
                  <a:lnTo>
                    <a:pt x="1" y="22"/>
                  </a:lnTo>
                  <a:lnTo>
                    <a:pt x="1" y="21"/>
                  </a:lnTo>
                  <a:lnTo>
                    <a:pt x="4" y="19"/>
                  </a:lnTo>
                  <a:lnTo>
                    <a:pt x="4" y="19"/>
                  </a:lnTo>
                  <a:lnTo>
                    <a:pt x="12" y="19"/>
                  </a:lnTo>
                  <a:lnTo>
                    <a:pt x="14" y="19"/>
                  </a:lnTo>
                  <a:lnTo>
                    <a:pt x="13" y="18"/>
                  </a:lnTo>
                  <a:lnTo>
                    <a:pt x="13" y="18"/>
                  </a:lnTo>
                  <a:lnTo>
                    <a:pt x="10" y="15"/>
                  </a:lnTo>
                  <a:lnTo>
                    <a:pt x="4" y="11"/>
                  </a:lnTo>
                  <a:lnTo>
                    <a:pt x="1" y="5"/>
                  </a:lnTo>
                  <a:lnTo>
                    <a:pt x="0" y="0"/>
                  </a:lnTo>
                  <a:lnTo>
                    <a:pt x="39" y="0"/>
                  </a:lnTo>
                  <a:lnTo>
                    <a:pt x="39" y="0"/>
                  </a:lnTo>
                  <a:lnTo>
                    <a:pt x="39" y="5"/>
                  </a:lnTo>
                  <a:lnTo>
                    <a:pt x="39" y="9"/>
                  </a:lnTo>
                  <a:lnTo>
                    <a:pt x="38" y="12"/>
                  </a:lnTo>
                  <a:lnTo>
                    <a:pt x="38" y="12"/>
                  </a:lnTo>
                  <a:lnTo>
                    <a:pt x="29" y="18"/>
                  </a:lnTo>
                  <a:lnTo>
                    <a:pt x="23" y="22"/>
                  </a:lnTo>
                  <a:lnTo>
                    <a:pt x="19" y="25"/>
                  </a:lnTo>
                  <a:lnTo>
                    <a:pt x="19" y="25"/>
                  </a:lnTo>
                  <a:lnTo>
                    <a:pt x="13" y="27"/>
                  </a:lnTo>
                  <a:lnTo>
                    <a:pt x="9" y="28"/>
                  </a:lnTo>
                  <a:close/>
                </a:path>
              </a:pathLst>
            </a:custGeom>
            <a:solidFill>
              <a:srgbClr val="92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30" name="Freeform 85"/>
            <p:cNvSpPr>
              <a:spLocks/>
            </p:cNvSpPr>
            <p:nvPr/>
          </p:nvSpPr>
          <p:spPr bwMode="auto">
            <a:xfrm>
              <a:off x="6630988" y="1232329"/>
              <a:ext cx="61913" cy="44450"/>
            </a:xfrm>
            <a:custGeom>
              <a:avLst/>
              <a:gdLst>
                <a:gd name="T0" fmla="*/ 9 w 39"/>
                <a:gd name="T1" fmla="*/ 28 h 28"/>
                <a:gd name="T2" fmla="*/ 9 w 39"/>
                <a:gd name="T3" fmla="*/ 28 h 28"/>
                <a:gd name="T4" fmla="*/ 7 w 39"/>
                <a:gd name="T5" fmla="*/ 28 h 28"/>
                <a:gd name="T6" fmla="*/ 6 w 39"/>
                <a:gd name="T7" fmla="*/ 27 h 28"/>
                <a:gd name="T8" fmla="*/ 6 w 39"/>
                <a:gd name="T9" fmla="*/ 27 h 28"/>
                <a:gd name="T10" fmla="*/ 1 w 39"/>
                <a:gd name="T11" fmla="*/ 22 h 28"/>
                <a:gd name="T12" fmla="*/ 1 w 39"/>
                <a:gd name="T13" fmla="*/ 21 h 28"/>
                <a:gd name="T14" fmla="*/ 4 w 39"/>
                <a:gd name="T15" fmla="*/ 19 h 28"/>
                <a:gd name="T16" fmla="*/ 4 w 39"/>
                <a:gd name="T17" fmla="*/ 19 h 28"/>
                <a:gd name="T18" fmla="*/ 12 w 39"/>
                <a:gd name="T19" fmla="*/ 19 h 28"/>
                <a:gd name="T20" fmla="*/ 14 w 39"/>
                <a:gd name="T21" fmla="*/ 19 h 28"/>
                <a:gd name="T22" fmla="*/ 13 w 39"/>
                <a:gd name="T23" fmla="*/ 18 h 28"/>
                <a:gd name="T24" fmla="*/ 13 w 39"/>
                <a:gd name="T25" fmla="*/ 18 h 28"/>
                <a:gd name="T26" fmla="*/ 10 w 39"/>
                <a:gd name="T27" fmla="*/ 15 h 28"/>
                <a:gd name="T28" fmla="*/ 4 w 39"/>
                <a:gd name="T29" fmla="*/ 11 h 28"/>
                <a:gd name="T30" fmla="*/ 1 w 39"/>
                <a:gd name="T31" fmla="*/ 5 h 28"/>
                <a:gd name="T32" fmla="*/ 0 w 39"/>
                <a:gd name="T33" fmla="*/ 0 h 28"/>
                <a:gd name="T34" fmla="*/ 39 w 39"/>
                <a:gd name="T35" fmla="*/ 0 h 28"/>
                <a:gd name="T36" fmla="*/ 39 w 39"/>
                <a:gd name="T37" fmla="*/ 0 h 28"/>
                <a:gd name="T38" fmla="*/ 39 w 39"/>
                <a:gd name="T39" fmla="*/ 5 h 28"/>
                <a:gd name="T40" fmla="*/ 39 w 39"/>
                <a:gd name="T41" fmla="*/ 9 h 28"/>
                <a:gd name="T42" fmla="*/ 38 w 39"/>
                <a:gd name="T43" fmla="*/ 12 h 28"/>
                <a:gd name="T44" fmla="*/ 38 w 39"/>
                <a:gd name="T45" fmla="*/ 12 h 28"/>
                <a:gd name="T46" fmla="*/ 29 w 39"/>
                <a:gd name="T47" fmla="*/ 18 h 28"/>
                <a:gd name="T48" fmla="*/ 23 w 39"/>
                <a:gd name="T49" fmla="*/ 22 h 28"/>
                <a:gd name="T50" fmla="*/ 19 w 39"/>
                <a:gd name="T51" fmla="*/ 25 h 28"/>
                <a:gd name="T52" fmla="*/ 19 w 39"/>
                <a:gd name="T53" fmla="*/ 25 h 28"/>
                <a:gd name="T54" fmla="*/ 13 w 39"/>
                <a:gd name="T55" fmla="*/ 27 h 28"/>
                <a:gd name="T56" fmla="*/ 9 w 39"/>
                <a:gd name="T5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9" h="28">
                  <a:moveTo>
                    <a:pt x="9" y="28"/>
                  </a:moveTo>
                  <a:lnTo>
                    <a:pt x="9" y="28"/>
                  </a:lnTo>
                  <a:lnTo>
                    <a:pt x="7" y="28"/>
                  </a:lnTo>
                  <a:lnTo>
                    <a:pt x="6" y="27"/>
                  </a:lnTo>
                  <a:lnTo>
                    <a:pt x="6" y="27"/>
                  </a:lnTo>
                  <a:lnTo>
                    <a:pt x="1" y="22"/>
                  </a:lnTo>
                  <a:lnTo>
                    <a:pt x="1" y="21"/>
                  </a:lnTo>
                  <a:lnTo>
                    <a:pt x="4" y="19"/>
                  </a:lnTo>
                  <a:lnTo>
                    <a:pt x="4" y="19"/>
                  </a:lnTo>
                  <a:lnTo>
                    <a:pt x="12" y="19"/>
                  </a:lnTo>
                  <a:lnTo>
                    <a:pt x="14" y="19"/>
                  </a:lnTo>
                  <a:lnTo>
                    <a:pt x="13" y="18"/>
                  </a:lnTo>
                  <a:lnTo>
                    <a:pt x="13" y="18"/>
                  </a:lnTo>
                  <a:lnTo>
                    <a:pt x="10" y="15"/>
                  </a:lnTo>
                  <a:lnTo>
                    <a:pt x="4" y="11"/>
                  </a:lnTo>
                  <a:lnTo>
                    <a:pt x="1" y="5"/>
                  </a:lnTo>
                  <a:lnTo>
                    <a:pt x="0" y="0"/>
                  </a:lnTo>
                  <a:lnTo>
                    <a:pt x="39" y="0"/>
                  </a:lnTo>
                  <a:lnTo>
                    <a:pt x="39" y="0"/>
                  </a:lnTo>
                  <a:lnTo>
                    <a:pt x="39" y="5"/>
                  </a:lnTo>
                  <a:lnTo>
                    <a:pt x="39" y="9"/>
                  </a:lnTo>
                  <a:lnTo>
                    <a:pt x="38" y="12"/>
                  </a:lnTo>
                  <a:lnTo>
                    <a:pt x="38" y="12"/>
                  </a:lnTo>
                  <a:lnTo>
                    <a:pt x="29" y="18"/>
                  </a:lnTo>
                  <a:lnTo>
                    <a:pt x="23" y="22"/>
                  </a:lnTo>
                  <a:lnTo>
                    <a:pt x="19" y="25"/>
                  </a:lnTo>
                  <a:lnTo>
                    <a:pt x="19" y="25"/>
                  </a:lnTo>
                  <a:lnTo>
                    <a:pt x="13" y="27"/>
                  </a:lnTo>
                  <a:lnTo>
                    <a:pt x="9"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31" name="Freeform 86"/>
            <p:cNvSpPr>
              <a:spLocks/>
            </p:cNvSpPr>
            <p:nvPr/>
          </p:nvSpPr>
          <p:spPr bwMode="auto">
            <a:xfrm>
              <a:off x="6677025" y="1232329"/>
              <a:ext cx="169863" cy="163513"/>
            </a:xfrm>
            <a:custGeom>
              <a:avLst/>
              <a:gdLst>
                <a:gd name="T0" fmla="*/ 85 w 107"/>
                <a:gd name="T1" fmla="*/ 103 h 103"/>
                <a:gd name="T2" fmla="*/ 71 w 107"/>
                <a:gd name="T3" fmla="*/ 100 h 103"/>
                <a:gd name="T4" fmla="*/ 62 w 107"/>
                <a:gd name="T5" fmla="*/ 95 h 103"/>
                <a:gd name="T6" fmla="*/ 54 w 107"/>
                <a:gd name="T7" fmla="*/ 89 h 103"/>
                <a:gd name="T8" fmla="*/ 43 w 107"/>
                <a:gd name="T9" fmla="*/ 83 h 103"/>
                <a:gd name="T10" fmla="*/ 42 w 107"/>
                <a:gd name="T11" fmla="*/ 80 h 103"/>
                <a:gd name="T12" fmla="*/ 42 w 107"/>
                <a:gd name="T13" fmla="*/ 76 h 103"/>
                <a:gd name="T14" fmla="*/ 40 w 107"/>
                <a:gd name="T15" fmla="*/ 74 h 103"/>
                <a:gd name="T16" fmla="*/ 40 w 107"/>
                <a:gd name="T17" fmla="*/ 76 h 103"/>
                <a:gd name="T18" fmla="*/ 36 w 107"/>
                <a:gd name="T19" fmla="*/ 82 h 103"/>
                <a:gd name="T20" fmla="*/ 33 w 107"/>
                <a:gd name="T21" fmla="*/ 82 h 103"/>
                <a:gd name="T22" fmla="*/ 30 w 107"/>
                <a:gd name="T23" fmla="*/ 82 h 103"/>
                <a:gd name="T24" fmla="*/ 23 w 107"/>
                <a:gd name="T25" fmla="*/ 73 h 103"/>
                <a:gd name="T26" fmla="*/ 20 w 107"/>
                <a:gd name="T27" fmla="*/ 66 h 103"/>
                <a:gd name="T28" fmla="*/ 20 w 107"/>
                <a:gd name="T29" fmla="*/ 48 h 103"/>
                <a:gd name="T30" fmla="*/ 19 w 107"/>
                <a:gd name="T31" fmla="*/ 45 h 103"/>
                <a:gd name="T32" fmla="*/ 16 w 107"/>
                <a:gd name="T33" fmla="*/ 45 h 103"/>
                <a:gd name="T34" fmla="*/ 14 w 107"/>
                <a:gd name="T35" fmla="*/ 45 h 103"/>
                <a:gd name="T36" fmla="*/ 12 w 107"/>
                <a:gd name="T37" fmla="*/ 47 h 103"/>
                <a:gd name="T38" fmla="*/ 7 w 107"/>
                <a:gd name="T39" fmla="*/ 48 h 103"/>
                <a:gd name="T40" fmla="*/ 7 w 107"/>
                <a:gd name="T41" fmla="*/ 48 h 103"/>
                <a:gd name="T42" fmla="*/ 3 w 107"/>
                <a:gd name="T43" fmla="*/ 47 h 103"/>
                <a:gd name="T44" fmla="*/ 0 w 107"/>
                <a:gd name="T45" fmla="*/ 40 h 103"/>
                <a:gd name="T46" fmla="*/ 1 w 107"/>
                <a:gd name="T47" fmla="*/ 37 h 103"/>
                <a:gd name="T48" fmla="*/ 9 w 107"/>
                <a:gd name="T49" fmla="*/ 29 h 103"/>
                <a:gd name="T50" fmla="*/ 12 w 107"/>
                <a:gd name="T51" fmla="*/ 24 h 103"/>
                <a:gd name="T52" fmla="*/ 17 w 107"/>
                <a:gd name="T53" fmla="*/ 19 h 103"/>
                <a:gd name="T54" fmla="*/ 22 w 107"/>
                <a:gd name="T55" fmla="*/ 15 h 103"/>
                <a:gd name="T56" fmla="*/ 19 w 107"/>
                <a:gd name="T57" fmla="*/ 8 h 103"/>
                <a:gd name="T58" fmla="*/ 17 w 107"/>
                <a:gd name="T59" fmla="*/ 0 h 103"/>
                <a:gd name="T60" fmla="*/ 104 w 107"/>
                <a:gd name="T61" fmla="*/ 0 h 103"/>
                <a:gd name="T62" fmla="*/ 106 w 107"/>
                <a:gd name="T63" fmla="*/ 15 h 103"/>
                <a:gd name="T64" fmla="*/ 104 w 107"/>
                <a:gd name="T65" fmla="*/ 22 h 103"/>
                <a:gd name="T66" fmla="*/ 106 w 107"/>
                <a:gd name="T67" fmla="*/ 24 h 103"/>
                <a:gd name="T68" fmla="*/ 107 w 107"/>
                <a:gd name="T69" fmla="*/ 28 h 103"/>
                <a:gd name="T70" fmla="*/ 104 w 107"/>
                <a:gd name="T71" fmla="*/ 32 h 103"/>
                <a:gd name="T72" fmla="*/ 104 w 107"/>
                <a:gd name="T73" fmla="*/ 50 h 103"/>
                <a:gd name="T74" fmla="*/ 103 w 107"/>
                <a:gd name="T75" fmla="*/ 61 h 103"/>
                <a:gd name="T76" fmla="*/ 101 w 107"/>
                <a:gd name="T77" fmla="*/ 63 h 103"/>
                <a:gd name="T78" fmla="*/ 94 w 107"/>
                <a:gd name="T79" fmla="*/ 58 h 103"/>
                <a:gd name="T80" fmla="*/ 93 w 107"/>
                <a:gd name="T81" fmla="*/ 60 h 103"/>
                <a:gd name="T82" fmla="*/ 93 w 107"/>
                <a:gd name="T83" fmla="*/ 63 h 103"/>
                <a:gd name="T84" fmla="*/ 98 w 107"/>
                <a:gd name="T85" fmla="*/ 74 h 103"/>
                <a:gd name="T86" fmla="*/ 101 w 107"/>
                <a:gd name="T87" fmla="*/ 80 h 103"/>
                <a:gd name="T88" fmla="*/ 107 w 107"/>
                <a:gd name="T89" fmla="*/ 92 h 103"/>
                <a:gd name="T90" fmla="*/ 106 w 107"/>
                <a:gd name="T91" fmla="*/ 95 h 103"/>
                <a:gd name="T92" fmla="*/ 100 w 107"/>
                <a:gd name="T93" fmla="*/ 99 h 103"/>
                <a:gd name="T94" fmla="*/ 94 w 107"/>
                <a:gd name="T95" fmla="*/ 102 h 103"/>
                <a:gd name="T96" fmla="*/ 85 w 107"/>
                <a:gd name="T97"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 h="103">
                  <a:moveTo>
                    <a:pt x="85" y="103"/>
                  </a:moveTo>
                  <a:lnTo>
                    <a:pt x="85" y="103"/>
                  </a:lnTo>
                  <a:lnTo>
                    <a:pt x="78" y="103"/>
                  </a:lnTo>
                  <a:lnTo>
                    <a:pt x="71" y="100"/>
                  </a:lnTo>
                  <a:lnTo>
                    <a:pt x="71" y="100"/>
                  </a:lnTo>
                  <a:lnTo>
                    <a:pt x="62" y="95"/>
                  </a:lnTo>
                  <a:lnTo>
                    <a:pt x="54" y="89"/>
                  </a:lnTo>
                  <a:lnTo>
                    <a:pt x="54" y="89"/>
                  </a:lnTo>
                  <a:lnTo>
                    <a:pt x="46" y="84"/>
                  </a:lnTo>
                  <a:lnTo>
                    <a:pt x="43" y="83"/>
                  </a:lnTo>
                  <a:lnTo>
                    <a:pt x="42" y="80"/>
                  </a:lnTo>
                  <a:lnTo>
                    <a:pt x="42" y="80"/>
                  </a:lnTo>
                  <a:lnTo>
                    <a:pt x="42" y="77"/>
                  </a:lnTo>
                  <a:lnTo>
                    <a:pt x="42" y="76"/>
                  </a:lnTo>
                  <a:lnTo>
                    <a:pt x="40" y="74"/>
                  </a:lnTo>
                  <a:lnTo>
                    <a:pt x="40" y="74"/>
                  </a:lnTo>
                  <a:lnTo>
                    <a:pt x="40" y="76"/>
                  </a:lnTo>
                  <a:lnTo>
                    <a:pt x="40" y="76"/>
                  </a:lnTo>
                  <a:lnTo>
                    <a:pt x="38" y="79"/>
                  </a:lnTo>
                  <a:lnTo>
                    <a:pt x="36" y="82"/>
                  </a:lnTo>
                  <a:lnTo>
                    <a:pt x="33" y="82"/>
                  </a:lnTo>
                  <a:lnTo>
                    <a:pt x="33" y="82"/>
                  </a:lnTo>
                  <a:lnTo>
                    <a:pt x="30" y="82"/>
                  </a:lnTo>
                  <a:lnTo>
                    <a:pt x="30" y="82"/>
                  </a:lnTo>
                  <a:lnTo>
                    <a:pt x="26" y="77"/>
                  </a:lnTo>
                  <a:lnTo>
                    <a:pt x="23" y="73"/>
                  </a:lnTo>
                  <a:lnTo>
                    <a:pt x="20" y="66"/>
                  </a:lnTo>
                  <a:lnTo>
                    <a:pt x="20" y="66"/>
                  </a:lnTo>
                  <a:lnTo>
                    <a:pt x="20" y="54"/>
                  </a:lnTo>
                  <a:lnTo>
                    <a:pt x="20" y="48"/>
                  </a:lnTo>
                  <a:lnTo>
                    <a:pt x="19" y="47"/>
                  </a:lnTo>
                  <a:lnTo>
                    <a:pt x="19" y="45"/>
                  </a:lnTo>
                  <a:lnTo>
                    <a:pt x="19" y="45"/>
                  </a:lnTo>
                  <a:lnTo>
                    <a:pt x="16" y="45"/>
                  </a:lnTo>
                  <a:lnTo>
                    <a:pt x="16" y="45"/>
                  </a:lnTo>
                  <a:lnTo>
                    <a:pt x="14" y="45"/>
                  </a:lnTo>
                  <a:lnTo>
                    <a:pt x="12" y="47"/>
                  </a:lnTo>
                  <a:lnTo>
                    <a:pt x="12" y="47"/>
                  </a:lnTo>
                  <a:lnTo>
                    <a:pt x="10" y="48"/>
                  </a:lnTo>
                  <a:lnTo>
                    <a:pt x="7" y="48"/>
                  </a:lnTo>
                  <a:lnTo>
                    <a:pt x="7" y="48"/>
                  </a:lnTo>
                  <a:lnTo>
                    <a:pt x="7" y="48"/>
                  </a:lnTo>
                  <a:lnTo>
                    <a:pt x="7" y="48"/>
                  </a:lnTo>
                  <a:lnTo>
                    <a:pt x="3" y="47"/>
                  </a:lnTo>
                  <a:lnTo>
                    <a:pt x="0" y="44"/>
                  </a:lnTo>
                  <a:lnTo>
                    <a:pt x="0" y="40"/>
                  </a:lnTo>
                  <a:lnTo>
                    <a:pt x="0" y="38"/>
                  </a:lnTo>
                  <a:lnTo>
                    <a:pt x="1" y="37"/>
                  </a:lnTo>
                  <a:lnTo>
                    <a:pt x="1" y="37"/>
                  </a:lnTo>
                  <a:lnTo>
                    <a:pt x="9" y="29"/>
                  </a:lnTo>
                  <a:lnTo>
                    <a:pt x="12" y="24"/>
                  </a:lnTo>
                  <a:lnTo>
                    <a:pt x="12" y="24"/>
                  </a:lnTo>
                  <a:lnTo>
                    <a:pt x="13" y="22"/>
                  </a:lnTo>
                  <a:lnTo>
                    <a:pt x="17" y="19"/>
                  </a:lnTo>
                  <a:lnTo>
                    <a:pt x="20" y="16"/>
                  </a:lnTo>
                  <a:lnTo>
                    <a:pt x="22" y="15"/>
                  </a:lnTo>
                  <a:lnTo>
                    <a:pt x="22" y="15"/>
                  </a:lnTo>
                  <a:lnTo>
                    <a:pt x="19" y="8"/>
                  </a:lnTo>
                  <a:lnTo>
                    <a:pt x="17" y="3"/>
                  </a:lnTo>
                  <a:lnTo>
                    <a:pt x="17" y="0"/>
                  </a:lnTo>
                  <a:lnTo>
                    <a:pt x="104" y="0"/>
                  </a:lnTo>
                  <a:lnTo>
                    <a:pt x="104" y="0"/>
                  </a:lnTo>
                  <a:lnTo>
                    <a:pt x="106" y="15"/>
                  </a:lnTo>
                  <a:lnTo>
                    <a:pt x="106" y="15"/>
                  </a:lnTo>
                  <a:lnTo>
                    <a:pt x="106" y="19"/>
                  </a:lnTo>
                  <a:lnTo>
                    <a:pt x="104" y="22"/>
                  </a:lnTo>
                  <a:lnTo>
                    <a:pt x="106" y="24"/>
                  </a:lnTo>
                  <a:lnTo>
                    <a:pt x="106" y="24"/>
                  </a:lnTo>
                  <a:lnTo>
                    <a:pt x="107" y="27"/>
                  </a:lnTo>
                  <a:lnTo>
                    <a:pt x="107" y="28"/>
                  </a:lnTo>
                  <a:lnTo>
                    <a:pt x="104" y="32"/>
                  </a:lnTo>
                  <a:lnTo>
                    <a:pt x="104" y="32"/>
                  </a:lnTo>
                  <a:lnTo>
                    <a:pt x="104" y="40"/>
                  </a:lnTo>
                  <a:lnTo>
                    <a:pt x="104" y="50"/>
                  </a:lnTo>
                  <a:lnTo>
                    <a:pt x="103" y="58"/>
                  </a:lnTo>
                  <a:lnTo>
                    <a:pt x="103" y="61"/>
                  </a:lnTo>
                  <a:lnTo>
                    <a:pt x="101" y="63"/>
                  </a:lnTo>
                  <a:lnTo>
                    <a:pt x="101" y="63"/>
                  </a:lnTo>
                  <a:lnTo>
                    <a:pt x="97" y="61"/>
                  </a:lnTo>
                  <a:lnTo>
                    <a:pt x="94" y="58"/>
                  </a:lnTo>
                  <a:lnTo>
                    <a:pt x="94" y="58"/>
                  </a:lnTo>
                  <a:lnTo>
                    <a:pt x="93" y="60"/>
                  </a:lnTo>
                  <a:lnTo>
                    <a:pt x="93" y="60"/>
                  </a:lnTo>
                  <a:lnTo>
                    <a:pt x="93" y="63"/>
                  </a:lnTo>
                  <a:lnTo>
                    <a:pt x="94" y="67"/>
                  </a:lnTo>
                  <a:lnTo>
                    <a:pt x="98" y="74"/>
                  </a:lnTo>
                  <a:lnTo>
                    <a:pt x="98" y="74"/>
                  </a:lnTo>
                  <a:lnTo>
                    <a:pt x="101" y="80"/>
                  </a:lnTo>
                  <a:lnTo>
                    <a:pt x="104" y="86"/>
                  </a:lnTo>
                  <a:lnTo>
                    <a:pt x="107" y="92"/>
                  </a:lnTo>
                  <a:lnTo>
                    <a:pt x="106" y="93"/>
                  </a:lnTo>
                  <a:lnTo>
                    <a:pt x="106" y="95"/>
                  </a:lnTo>
                  <a:lnTo>
                    <a:pt x="106" y="95"/>
                  </a:lnTo>
                  <a:lnTo>
                    <a:pt x="100" y="99"/>
                  </a:lnTo>
                  <a:lnTo>
                    <a:pt x="94" y="102"/>
                  </a:lnTo>
                  <a:lnTo>
                    <a:pt x="94" y="102"/>
                  </a:lnTo>
                  <a:lnTo>
                    <a:pt x="91" y="103"/>
                  </a:lnTo>
                  <a:lnTo>
                    <a:pt x="85" y="103"/>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32" name="Freeform 87"/>
            <p:cNvSpPr>
              <a:spLocks/>
            </p:cNvSpPr>
            <p:nvPr/>
          </p:nvSpPr>
          <p:spPr bwMode="auto">
            <a:xfrm>
              <a:off x="6677025" y="1232329"/>
              <a:ext cx="169863" cy="163513"/>
            </a:xfrm>
            <a:custGeom>
              <a:avLst/>
              <a:gdLst>
                <a:gd name="T0" fmla="*/ 85 w 107"/>
                <a:gd name="T1" fmla="*/ 103 h 103"/>
                <a:gd name="T2" fmla="*/ 71 w 107"/>
                <a:gd name="T3" fmla="*/ 100 h 103"/>
                <a:gd name="T4" fmla="*/ 62 w 107"/>
                <a:gd name="T5" fmla="*/ 95 h 103"/>
                <a:gd name="T6" fmla="*/ 54 w 107"/>
                <a:gd name="T7" fmla="*/ 89 h 103"/>
                <a:gd name="T8" fmla="*/ 43 w 107"/>
                <a:gd name="T9" fmla="*/ 83 h 103"/>
                <a:gd name="T10" fmla="*/ 42 w 107"/>
                <a:gd name="T11" fmla="*/ 80 h 103"/>
                <a:gd name="T12" fmla="*/ 42 w 107"/>
                <a:gd name="T13" fmla="*/ 76 h 103"/>
                <a:gd name="T14" fmla="*/ 40 w 107"/>
                <a:gd name="T15" fmla="*/ 74 h 103"/>
                <a:gd name="T16" fmla="*/ 40 w 107"/>
                <a:gd name="T17" fmla="*/ 76 h 103"/>
                <a:gd name="T18" fmla="*/ 36 w 107"/>
                <a:gd name="T19" fmla="*/ 82 h 103"/>
                <a:gd name="T20" fmla="*/ 33 w 107"/>
                <a:gd name="T21" fmla="*/ 82 h 103"/>
                <a:gd name="T22" fmla="*/ 30 w 107"/>
                <a:gd name="T23" fmla="*/ 82 h 103"/>
                <a:gd name="T24" fmla="*/ 23 w 107"/>
                <a:gd name="T25" fmla="*/ 73 h 103"/>
                <a:gd name="T26" fmla="*/ 20 w 107"/>
                <a:gd name="T27" fmla="*/ 66 h 103"/>
                <a:gd name="T28" fmla="*/ 20 w 107"/>
                <a:gd name="T29" fmla="*/ 48 h 103"/>
                <a:gd name="T30" fmla="*/ 19 w 107"/>
                <a:gd name="T31" fmla="*/ 45 h 103"/>
                <a:gd name="T32" fmla="*/ 16 w 107"/>
                <a:gd name="T33" fmla="*/ 45 h 103"/>
                <a:gd name="T34" fmla="*/ 14 w 107"/>
                <a:gd name="T35" fmla="*/ 45 h 103"/>
                <a:gd name="T36" fmla="*/ 12 w 107"/>
                <a:gd name="T37" fmla="*/ 47 h 103"/>
                <a:gd name="T38" fmla="*/ 7 w 107"/>
                <a:gd name="T39" fmla="*/ 48 h 103"/>
                <a:gd name="T40" fmla="*/ 7 w 107"/>
                <a:gd name="T41" fmla="*/ 48 h 103"/>
                <a:gd name="T42" fmla="*/ 3 w 107"/>
                <a:gd name="T43" fmla="*/ 47 h 103"/>
                <a:gd name="T44" fmla="*/ 0 w 107"/>
                <a:gd name="T45" fmla="*/ 40 h 103"/>
                <a:gd name="T46" fmla="*/ 1 w 107"/>
                <a:gd name="T47" fmla="*/ 37 h 103"/>
                <a:gd name="T48" fmla="*/ 9 w 107"/>
                <a:gd name="T49" fmla="*/ 29 h 103"/>
                <a:gd name="T50" fmla="*/ 12 w 107"/>
                <a:gd name="T51" fmla="*/ 24 h 103"/>
                <a:gd name="T52" fmla="*/ 17 w 107"/>
                <a:gd name="T53" fmla="*/ 19 h 103"/>
                <a:gd name="T54" fmla="*/ 22 w 107"/>
                <a:gd name="T55" fmla="*/ 15 h 103"/>
                <a:gd name="T56" fmla="*/ 19 w 107"/>
                <a:gd name="T57" fmla="*/ 8 h 103"/>
                <a:gd name="T58" fmla="*/ 17 w 107"/>
                <a:gd name="T59" fmla="*/ 0 h 103"/>
                <a:gd name="T60" fmla="*/ 104 w 107"/>
                <a:gd name="T61" fmla="*/ 0 h 103"/>
                <a:gd name="T62" fmla="*/ 106 w 107"/>
                <a:gd name="T63" fmla="*/ 15 h 103"/>
                <a:gd name="T64" fmla="*/ 104 w 107"/>
                <a:gd name="T65" fmla="*/ 22 h 103"/>
                <a:gd name="T66" fmla="*/ 106 w 107"/>
                <a:gd name="T67" fmla="*/ 24 h 103"/>
                <a:gd name="T68" fmla="*/ 107 w 107"/>
                <a:gd name="T69" fmla="*/ 28 h 103"/>
                <a:gd name="T70" fmla="*/ 104 w 107"/>
                <a:gd name="T71" fmla="*/ 32 h 103"/>
                <a:gd name="T72" fmla="*/ 104 w 107"/>
                <a:gd name="T73" fmla="*/ 50 h 103"/>
                <a:gd name="T74" fmla="*/ 103 w 107"/>
                <a:gd name="T75" fmla="*/ 61 h 103"/>
                <a:gd name="T76" fmla="*/ 101 w 107"/>
                <a:gd name="T77" fmla="*/ 63 h 103"/>
                <a:gd name="T78" fmla="*/ 94 w 107"/>
                <a:gd name="T79" fmla="*/ 58 h 103"/>
                <a:gd name="T80" fmla="*/ 93 w 107"/>
                <a:gd name="T81" fmla="*/ 60 h 103"/>
                <a:gd name="T82" fmla="*/ 93 w 107"/>
                <a:gd name="T83" fmla="*/ 63 h 103"/>
                <a:gd name="T84" fmla="*/ 98 w 107"/>
                <a:gd name="T85" fmla="*/ 74 h 103"/>
                <a:gd name="T86" fmla="*/ 101 w 107"/>
                <a:gd name="T87" fmla="*/ 80 h 103"/>
                <a:gd name="T88" fmla="*/ 107 w 107"/>
                <a:gd name="T89" fmla="*/ 92 h 103"/>
                <a:gd name="T90" fmla="*/ 106 w 107"/>
                <a:gd name="T91" fmla="*/ 95 h 103"/>
                <a:gd name="T92" fmla="*/ 100 w 107"/>
                <a:gd name="T93" fmla="*/ 99 h 103"/>
                <a:gd name="T94" fmla="*/ 94 w 107"/>
                <a:gd name="T95" fmla="*/ 102 h 103"/>
                <a:gd name="T96" fmla="*/ 85 w 107"/>
                <a:gd name="T97"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 h="103">
                  <a:moveTo>
                    <a:pt x="85" y="103"/>
                  </a:moveTo>
                  <a:lnTo>
                    <a:pt x="85" y="103"/>
                  </a:lnTo>
                  <a:lnTo>
                    <a:pt x="78" y="103"/>
                  </a:lnTo>
                  <a:lnTo>
                    <a:pt x="71" y="100"/>
                  </a:lnTo>
                  <a:lnTo>
                    <a:pt x="71" y="100"/>
                  </a:lnTo>
                  <a:lnTo>
                    <a:pt x="62" y="95"/>
                  </a:lnTo>
                  <a:lnTo>
                    <a:pt x="54" y="89"/>
                  </a:lnTo>
                  <a:lnTo>
                    <a:pt x="54" y="89"/>
                  </a:lnTo>
                  <a:lnTo>
                    <a:pt x="46" y="84"/>
                  </a:lnTo>
                  <a:lnTo>
                    <a:pt x="43" y="83"/>
                  </a:lnTo>
                  <a:lnTo>
                    <a:pt x="42" y="80"/>
                  </a:lnTo>
                  <a:lnTo>
                    <a:pt x="42" y="80"/>
                  </a:lnTo>
                  <a:lnTo>
                    <a:pt x="42" y="77"/>
                  </a:lnTo>
                  <a:lnTo>
                    <a:pt x="42" y="76"/>
                  </a:lnTo>
                  <a:lnTo>
                    <a:pt x="40" y="74"/>
                  </a:lnTo>
                  <a:lnTo>
                    <a:pt x="40" y="74"/>
                  </a:lnTo>
                  <a:lnTo>
                    <a:pt x="40" y="76"/>
                  </a:lnTo>
                  <a:lnTo>
                    <a:pt x="40" y="76"/>
                  </a:lnTo>
                  <a:lnTo>
                    <a:pt x="38" y="79"/>
                  </a:lnTo>
                  <a:lnTo>
                    <a:pt x="36" y="82"/>
                  </a:lnTo>
                  <a:lnTo>
                    <a:pt x="33" y="82"/>
                  </a:lnTo>
                  <a:lnTo>
                    <a:pt x="33" y="82"/>
                  </a:lnTo>
                  <a:lnTo>
                    <a:pt x="30" y="82"/>
                  </a:lnTo>
                  <a:lnTo>
                    <a:pt x="30" y="82"/>
                  </a:lnTo>
                  <a:lnTo>
                    <a:pt x="26" y="77"/>
                  </a:lnTo>
                  <a:lnTo>
                    <a:pt x="23" y="73"/>
                  </a:lnTo>
                  <a:lnTo>
                    <a:pt x="20" y="66"/>
                  </a:lnTo>
                  <a:lnTo>
                    <a:pt x="20" y="66"/>
                  </a:lnTo>
                  <a:lnTo>
                    <a:pt x="20" y="54"/>
                  </a:lnTo>
                  <a:lnTo>
                    <a:pt x="20" y="48"/>
                  </a:lnTo>
                  <a:lnTo>
                    <a:pt x="19" y="47"/>
                  </a:lnTo>
                  <a:lnTo>
                    <a:pt x="19" y="45"/>
                  </a:lnTo>
                  <a:lnTo>
                    <a:pt x="19" y="45"/>
                  </a:lnTo>
                  <a:lnTo>
                    <a:pt x="16" y="45"/>
                  </a:lnTo>
                  <a:lnTo>
                    <a:pt x="16" y="45"/>
                  </a:lnTo>
                  <a:lnTo>
                    <a:pt x="14" y="45"/>
                  </a:lnTo>
                  <a:lnTo>
                    <a:pt x="12" y="47"/>
                  </a:lnTo>
                  <a:lnTo>
                    <a:pt x="12" y="47"/>
                  </a:lnTo>
                  <a:lnTo>
                    <a:pt x="10" y="48"/>
                  </a:lnTo>
                  <a:lnTo>
                    <a:pt x="7" y="48"/>
                  </a:lnTo>
                  <a:lnTo>
                    <a:pt x="7" y="48"/>
                  </a:lnTo>
                  <a:lnTo>
                    <a:pt x="7" y="48"/>
                  </a:lnTo>
                  <a:lnTo>
                    <a:pt x="7" y="48"/>
                  </a:lnTo>
                  <a:lnTo>
                    <a:pt x="3" y="47"/>
                  </a:lnTo>
                  <a:lnTo>
                    <a:pt x="0" y="44"/>
                  </a:lnTo>
                  <a:lnTo>
                    <a:pt x="0" y="40"/>
                  </a:lnTo>
                  <a:lnTo>
                    <a:pt x="0" y="38"/>
                  </a:lnTo>
                  <a:lnTo>
                    <a:pt x="1" y="37"/>
                  </a:lnTo>
                  <a:lnTo>
                    <a:pt x="1" y="37"/>
                  </a:lnTo>
                  <a:lnTo>
                    <a:pt x="9" y="29"/>
                  </a:lnTo>
                  <a:lnTo>
                    <a:pt x="12" y="24"/>
                  </a:lnTo>
                  <a:lnTo>
                    <a:pt x="12" y="24"/>
                  </a:lnTo>
                  <a:lnTo>
                    <a:pt x="13" y="22"/>
                  </a:lnTo>
                  <a:lnTo>
                    <a:pt x="17" y="19"/>
                  </a:lnTo>
                  <a:lnTo>
                    <a:pt x="20" y="16"/>
                  </a:lnTo>
                  <a:lnTo>
                    <a:pt x="22" y="15"/>
                  </a:lnTo>
                  <a:lnTo>
                    <a:pt x="22" y="15"/>
                  </a:lnTo>
                  <a:lnTo>
                    <a:pt x="19" y="8"/>
                  </a:lnTo>
                  <a:lnTo>
                    <a:pt x="17" y="3"/>
                  </a:lnTo>
                  <a:lnTo>
                    <a:pt x="17" y="0"/>
                  </a:lnTo>
                  <a:lnTo>
                    <a:pt x="104" y="0"/>
                  </a:lnTo>
                  <a:lnTo>
                    <a:pt x="104" y="0"/>
                  </a:lnTo>
                  <a:lnTo>
                    <a:pt x="106" y="15"/>
                  </a:lnTo>
                  <a:lnTo>
                    <a:pt x="106" y="15"/>
                  </a:lnTo>
                  <a:lnTo>
                    <a:pt x="106" y="19"/>
                  </a:lnTo>
                  <a:lnTo>
                    <a:pt x="104" y="22"/>
                  </a:lnTo>
                  <a:lnTo>
                    <a:pt x="106" y="24"/>
                  </a:lnTo>
                  <a:lnTo>
                    <a:pt x="106" y="24"/>
                  </a:lnTo>
                  <a:lnTo>
                    <a:pt x="107" y="27"/>
                  </a:lnTo>
                  <a:lnTo>
                    <a:pt x="107" y="28"/>
                  </a:lnTo>
                  <a:lnTo>
                    <a:pt x="104" y="32"/>
                  </a:lnTo>
                  <a:lnTo>
                    <a:pt x="104" y="32"/>
                  </a:lnTo>
                  <a:lnTo>
                    <a:pt x="104" y="40"/>
                  </a:lnTo>
                  <a:lnTo>
                    <a:pt x="104" y="50"/>
                  </a:lnTo>
                  <a:lnTo>
                    <a:pt x="103" y="58"/>
                  </a:lnTo>
                  <a:lnTo>
                    <a:pt x="103" y="61"/>
                  </a:lnTo>
                  <a:lnTo>
                    <a:pt x="101" y="63"/>
                  </a:lnTo>
                  <a:lnTo>
                    <a:pt x="101" y="63"/>
                  </a:lnTo>
                  <a:lnTo>
                    <a:pt x="97" y="61"/>
                  </a:lnTo>
                  <a:lnTo>
                    <a:pt x="94" y="58"/>
                  </a:lnTo>
                  <a:lnTo>
                    <a:pt x="94" y="58"/>
                  </a:lnTo>
                  <a:lnTo>
                    <a:pt x="93" y="60"/>
                  </a:lnTo>
                  <a:lnTo>
                    <a:pt x="93" y="60"/>
                  </a:lnTo>
                  <a:lnTo>
                    <a:pt x="93" y="63"/>
                  </a:lnTo>
                  <a:lnTo>
                    <a:pt x="94" y="67"/>
                  </a:lnTo>
                  <a:lnTo>
                    <a:pt x="98" y="74"/>
                  </a:lnTo>
                  <a:lnTo>
                    <a:pt x="98" y="74"/>
                  </a:lnTo>
                  <a:lnTo>
                    <a:pt x="101" y="80"/>
                  </a:lnTo>
                  <a:lnTo>
                    <a:pt x="104" y="86"/>
                  </a:lnTo>
                  <a:lnTo>
                    <a:pt x="107" y="92"/>
                  </a:lnTo>
                  <a:lnTo>
                    <a:pt x="106" y="93"/>
                  </a:lnTo>
                  <a:lnTo>
                    <a:pt x="106" y="95"/>
                  </a:lnTo>
                  <a:lnTo>
                    <a:pt x="106" y="95"/>
                  </a:lnTo>
                  <a:lnTo>
                    <a:pt x="100" y="99"/>
                  </a:lnTo>
                  <a:lnTo>
                    <a:pt x="94" y="102"/>
                  </a:lnTo>
                  <a:lnTo>
                    <a:pt x="94" y="102"/>
                  </a:lnTo>
                  <a:lnTo>
                    <a:pt x="91" y="103"/>
                  </a:lnTo>
                  <a:lnTo>
                    <a:pt x="85" y="103"/>
                  </a:lnTo>
                </a:path>
              </a:pathLst>
            </a:custGeom>
            <a:solidFill>
              <a:srgbClr val="92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33" name="Freeform 88"/>
            <p:cNvSpPr>
              <a:spLocks/>
            </p:cNvSpPr>
            <p:nvPr/>
          </p:nvSpPr>
          <p:spPr bwMode="auto">
            <a:xfrm>
              <a:off x="6832600" y="1313291"/>
              <a:ext cx="152400" cy="184150"/>
            </a:xfrm>
            <a:custGeom>
              <a:avLst/>
              <a:gdLst>
                <a:gd name="T0" fmla="*/ 3 w 96"/>
                <a:gd name="T1" fmla="*/ 116 h 116"/>
                <a:gd name="T2" fmla="*/ 0 w 96"/>
                <a:gd name="T3" fmla="*/ 110 h 116"/>
                <a:gd name="T4" fmla="*/ 2 w 96"/>
                <a:gd name="T5" fmla="*/ 100 h 116"/>
                <a:gd name="T6" fmla="*/ 9 w 96"/>
                <a:gd name="T7" fmla="*/ 81 h 116"/>
                <a:gd name="T8" fmla="*/ 11 w 96"/>
                <a:gd name="T9" fmla="*/ 68 h 116"/>
                <a:gd name="T10" fmla="*/ 18 w 96"/>
                <a:gd name="T11" fmla="*/ 58 h 116"/>
                <a:gd name="T12" fmla="*/ 24 w 96"/>
                <a:gd name="T13" fmla="*/ 54 h 116"/>
                <a:gd name="T14" fmla="*/ 21 w 96"/>
                <a:gd name="T15" fmla="*/ 44 h 116"/>
                <a:gd name="T16" fmla="*/ 21 w 96"/>
                <a:gd name="T17" fmla="*/ 35 h 116"/>
                <a:gd name="T18" fmla="*/ 28 w 96"/>
                <a:gd name="T19" fmla="*/ 32 h 116"/>
                <a:gd name="T20" fmla="*/ 29 w 96"/>
                <a:gd name="T21" fmla="*/ 22 h 116"/>
                <a:gd name="T22" fmla="*/ 34 w 96"/>
                <a:gd name="T23" fmla="*/ 15 h 116"/>
                <a:gd name="T24" fmla="*/ 38 w 96"/>
                <a:gd name="T25" fmla="*/ 4 h 116"/>
                <a:gd name="T26" fmla="*/ 40 w 96"/>
                <a:gd name="T27" fmla="*/ 10 h 116"/>
                <a:gd name="T28" fmla="*/ 41 w 96"/>
                <a:gd name="T29" fmla="*/ 12 h 116"/>
                <a:gd name="T30" fmla="*/ 48 w 96"/>
                <a:gd name="T31" fmla="*/ 2 h 116"/>
                <a:gd name="T32" fmla="*/ 51 w 96"/>
                <a:gd name="T33" fmla="*/ 0 h 116"/>
                <a:gd name="T34" fmla="*/ 57 w 96"/>
                <a:gd name="T35" fmla="*/ 4 h 116"/>
                <a:gd name="T36" fmla="*/ 54 w 96"/>
                <a:gd name="T37" fmla="*/ 19 h 116"/>
                <a:gd name="T38" fmla="*/ 54 w 96"/>
                <a:gd name="T39" fmla="*/ 28 h 116"/>
                <a:gd name="T40" fmla="*/ 55 w 96"/>
                <a:gd name="T41" fmla="*/ 28 h 116"/>
                <a:gd name="T42" fmla="*/ 61 w 96"/>
                <a:gd name="T43" fmla="*/ 18 h 116"/>
                <a:gd name="T44" fmla="*/ 63 w 96"/>
                <a:gd name="T45" fmla="*/ 16 h 116"/>
                <a:gd name="T46" fmla="*/ 66 w 96"/>
                <a:gd name="T47" fmla="*/ 19 h 116"/>
                <a:gd name="T48" fmla="*/ 67 w 96"/>
                <a:gd name="T49" fmla="*/ 22 h 116"/>
                <a:gd name="T50" fmla="*/ 70 w 96"/>
                <a:gd name="T51" fmla="*/ 19 h 116"/>
                <a:gd name="T52" fmla="*/ 73 w 96"/>
                <a:gd name="T53" fmla="*/ 18 h 116"/>
                <a:gd name="T54" fmla="*/ 74 w 96"/>
                <a:gd name="T55" fmla="*/ 26 h 116"/>
                <a:gd name="T56" fmla="*/ 77 w 96"/>
                <a:gd name="T57" fmla="*/ 32 h 116"/>
                <a:gd name="T58" fmla="*/ 80 w 96"/>
                <a:gd name="T59" fmla="*/ 32 h 116"/>
                <a:gd name="T60" fmla="*/ 82 w 96"/>
                <a:gd name="T61" fmla="*/ 33 h 116"/>
                <a:gd name="T62" fmla="*/ 83 w 96"/>
                <a:gd name="T63" fmla="*/ 39 h 116"/>
                <a:gd name="T64" fmla="*/ 87 w 96"/>
                <a:gd name="T65" fmla="*/ 45 h 116"/>
                <a:gd name="T66" fmla="*/ 96 w 96"/>
                <a:gd name="T67" fmla="*/ 55 h 116"/>
                <a:gd name="T68" fmla="*/ 95 w 96"/>
                <a:gd name="T69" fmla="*/ 64 h 116"/>
                <a:gd name="T70" fmla="*/ 90 w 96"/>
                <a:gd name="T71" fmla="*/ 84 h 116"/>
                <a:gd name="T72" fmla="*/ 83 w 96"/>
                <a:gd name="T73" fmla="*/ 91 h 116"/>
                <a:gd name="T74" fmla="*/ 69 w 96"/>
                <a:gd name="T75" fmla="*/ 94 h 116"/>
                <a:gd name="T76" fmla="*/ 60 w 96"/>
                <a:gd name="T77" fmla="*/ 96 h 116"/>
                <a:gd name="T78" fmla="*/ 53 w 96"/>
                <a:gd name="T79" fmla="*/ 103 h 116"/>
                <a:gd name="T80" fmla="*/ 50 w 96"/>
                <a:gd name="T81" fmla="*/ 100 h 116"/>
                <a:gd name="T82" fmla="*/ 50 w 96"/>
                <a:gd name="T83" fmla="*/ 97 h 116"/>
                <a:gd name="T84" fmla="*/ 42 w 96"/>
                <a:gd name="T85" fmla="*/ 99 h 116"/>
                <a:gd name="T86" fmla="*/ 40 w 96"/>
                <a:gd name="T87" fmla="*/ 99 h 116"/>
                <a:gd name="T88" fmla="*/ 32 w 96"/>
                <a:gd name="T89" fmla="*/ 99 h 116"/>
                <a:gd name="T90" fmla="*/ 18 w 96"/>
                <a:gd name="T91" fmla="*/ 10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6" h="116">
                  <a:moveTo>
                    <a:pt x="5" y="116"/>
                  </a:moveTo>
                  <a:lnTo>
                    <a:pt x="5" y="116"/>
                  </a:lnTo>
                  <a:lnTo>
                    <a:pt x="3" y="116"/>
                  </a:lnTo>
                  <a:lnTo>
                    <a:pt x="3" y="116"/>
                  </a:lnTo>
                  <a:lnTo>
                    <a:pt x="0" y="113"/>
                  </a:lnTo>
                  <a:lnTo>
                    <a:pt x="0" y="110"/>
                  </a:lnTo>
                  <a:lnTo>
                    <a:pt x="0" y="106"/>
                  </a:lnTo>
                  <a:lnTo>
                    <a:pt x="2" y="100"/>
                  </a:lnTo>
                  <a:lnTo>
                    <a:pt x="2" y="100"/>
                  </a:lnTo>
                  <a:lnTo>
                    <a:pt x="8" y="93"/>
                  </a:lnTo>
                  <a:lnTo>
                    <a:pt x="9" y="89"/>
                  </a:lnTo>
                  <a:lnTo>
                    <a:pt x="9" y="81"/>
                  </a:lnTo>
                  <a:lnTo>
                    <a:pt x="9" y="81"/>
                  </a:lnTo>
                  <a:lnTo>
                    <a:pt x="9" y="74"/>
                  </a:lnTo>
                  <a:lnTo>
                    <a:pt x="11" y="68"/>
                  </a:lnTo>
                  <a:lnTo>
                    <a:pt x="15" y="61"/>
                  </a:lnTo>
                  <a:lnTo>
                    <a:pt x="15" y="61"/>
                  </a:lnTo>
                  <a:lnTo>
                    <a:pt x="18" y="58"/>
                  </a:lnTo>
                  <a:lnTo>
                    <a:pt x="21" y="57"/>
                  </a:lnTo>
                  <a:lnTo>
                    <a:pt x="24" y="55"/>
                  </a:lnTo>
                  <a:lnTo>
                    <a:pt x="24" y="54"/>
                  </a:lnTo>
                  <a:lnTo>
                    <a:pt x="24" y="54"/>
                  </a:lnTo>
                  <a:lnTo>
                    <a:pt x="24" y="49"/>
                  </a:lnTo>
                  <a:lnTo>
                    <a:pt x="21" y="44"/>
                  </a:lnTo>
                  <a:lnTo>
                    <a:pt x="19" y="38"/>
                  </a:lnTo>
                  <a:lnTo>
                    <a:pt x="19" y="36"/>
                  </a:lnTo>
                  <a:lnTo>
                    <a:pt x="21" y="35"/>
                  </a:lnTo>
                  <a:lnTo>
                    <a:pt x="21" y="35"/>
                  </a:lnTo>
                  <a:lnTo>
                    <a:pt x="25" y="33"/>
                  </a:lnTo>
                  <a:lnTo>
                    <a:pt x="28" y="32"/>
                  </a:lnTo>
                  <a:lnTo>
                    <a:pt x="28" y="31"/>
                  </a:lnTo>
                  <a:lnTo>
                    <a:pt x="28" y="31"/>
                  </a:lnTo>
                  <a:lnTo>
                    <a:pt x="29" y="22"/>
                  </a:lnTo>
                  <a:lnTo>
                    <a:pt x="32" y="18"/>
                  </a:lnTo>
                  <a:lnTo>
                    <a:pt x="34" y="15"/>
                  </a:lnTo>
                  <a:lnTo>
                    <a:pt x="34" y="15"/>
                  </a:lnTo>
                  <a:lnTo>
                    <a:pt x="37" y="9"/>
                  </a:lnTo>
                  <a:lnTo>
                    <a:pt x="38" y="4"/>
                  </a:lnTo>
                  <a:lnTo>
                    <a:pt x="38" y="4"/>
                  </a:lnTo>
                  <a:lnTo>
                    <a:pt x="40" y="4"/>
                  </a:lnTo>
                  <a:lnTo>
                    <a:pt x="40" y="4"/>
                  </a:lnTo>
                  <a:lnTo>
                    <a:pt x="40" y="10"/>
                  </a:lnTo>
                  <a:lnTo>
                    <a:pt x="41" y="13"/>
                  </a:lnTo>
                  <a:lnTo>
                    <a:pt x="41" y="13"/>
                  </a:lnTo>
                  <a:lnTo>
                    <a:pt x="41" y="12"/>
                  </a:lnTo>
                  <a:lnTo>
                    <a:pt x="41" y="12"/>
                  </a:lnTo>
                  <a:lnTo>
                    <a:pt x="45" y="4"/>
                  </a:lnTo>
                  <a:lnTo>
                    <a:pt x="48" y="2"/>
                  </a:lnTo>
                  <a:lnTo>
                    <a:pt x="51" y="0"/>
                  </a:lnTo>
                  <a:lnTo>
                    <a:pt x="51" y="0"/>
                  </a:lnTo>
                  <a:lnTo>
                    <a:pt x="51" y="0"/>
                  </a:lnTo>
                  <a:lnTo>
                    <a:pt x="51" y="0"/>
                  </a:lnTo>
                  <a:lnTo>
                    <a:pt x="55" y="3"/>
                  </a:lnTo>
                  <a:lnTo>
                    <a:pt x="57" y="4"/>
                  </a:lnTo>
                  <a:lnTo>
                    <a:pt x="57" y="7"/>
                  </a:lnTo>
                  <a:lnTo>
                    <a:pt x="57" y="7"/>
                  </a:lnTo>
                  <a:lnTo>
                    <a:pt x="54" y="19"/>
                  </a:lnTo>
                  <a:lnTo>
                    <a:pt x="53" y="25"/>
                  </a:lnTo>
                  <a:lnTo>
                    <a:pt x="54" y="28"/>
                  </a:lnTo>
                  <a:lnTo>
                    <a:pt x="54" y="28"/>
                  </a:lnTo>
                  <a:lnTo>
                    <a:pt x="54" y="28"/>
                  </a:lnTo>
                  <a:lnTo>
                    <a:pt x="55" y="28"/>
                  </a:lnTo>
                  <a:lnTo>
                    <a:pt x="55" y="28"/>
                  </a:lnTo>
                  <a:lnTo>
                    <a:pt x="58" y="25"/>
                  </a:lnTo>
                  <a:lnTo>
                    <a:pt x="60" y="20"/>
                  </a:lnTo>
                  <a:lnTo>
                    <a:pt x="61" y="18"/>
                  </a:lnTo>
                  <a:lnTo>
                    <a:pt x="63" y="16"/>
                  </a:lnTo>
                  <a:lnTo>
                    <a:pt x="63" y="16"/>
                  </a:lnTo>
                  <a:lnTo>
                    <a:pt x="63" y="16"/>
                  </a:lnTo>
                  <a:lnTo>
                    <a:pt x="63" y="16"/>
                  </a:lnTo>
                  <a:lnTo>
                    <a:pt x="64" y="16"/>
                  </a:lnTo>
                  <a:lnTo>
                    <a:pt x="66" y="19"/>
                  </a:lnTo>
                  <a:lnTo>
                    <a:pt x="67" y="22"/>
                  </a:lnTo>
                  <a:lnTo>
                    <a:pt x="67" y="22"/>
                  </a:lnTo>
                  <a:lnTo>
                    <a:pt x="67" y="22"/>
                  </a:lnTo>
                  <a:lnTo>
                    <a:pt x="69" y="22"/>
                  </a:lnTo>
                  <a:lnTo>
                    <a:pt x="69" y="22"/>
                  </a:lnTo>
                  <a:lnTo>
                    <a:pt x="70" y="19"/>
                  </a:lnTo>
                  <a:lnTo>
                    <a:pt x="71" y="16"/>
                  </a:lnTo>
                  <a:lnTo>
                    <a:pt x="71" y="16"/>
                  </a:lnTo>
                  <a:lnTo>
                    <a:pt x="73" y="18"/>
                  </a:lnTo>
                  <a:lnTo>
                    <a:pt x="73" y="18"/>
                  </a:lnTo>
                  <a:lnTo>
                    <a:pt x="74" y="22"/>
                  </a:lnTo>
                  <a:lnTo>
                    <a:pt x="74" y="26"/>
                  </a:lnTo>
                  <a:lnTo>
                    <a:pt x="76" y="31"/>
                  </a:lnTo>
                  <a:lnTo>
                    <a:pt x="77" y="32"/>
                  </a:lnTo>
                  <a:lnTo>
                    <a:pt x="77" y="32"/>
                  </a:lnTo>
                  <a:lnTo>
                    <a:pt x="77" y="32"/>
                  </a:lnTo>
                  <a:lnTo>
                    <a:pt x="77" y="32"/>
                  </a:lnTo>
                  <a:lnTo>
                    <a:pt x="80" y="32"/>
                  </a:lnTo>
                  <a:lnTo>
                    <a:pt x="80" y="32"/>
                  </a:lnTo>
                  <a:lnTo>
                    <a:pt x="82" y="32"/>
                  </a:lnTo>
                  <a:lnTo>
                    <a:pt x="82" y="33"/>
                  </a:lnTo>
                  <a:lnTo>
                    <a:pt x="83" y="36"/>
                  </a:lnTo>
                  <a:lnTo>
                    <a:pt x="83" y="36"/>
                  </a:lnTo>
                  <a:lnTo>
                    <a:pt x="83" y="39"/>
                  </a:lnTo>
                  <a:lnTo>
                    <a:pt x="82" y="39"/>
                  </a:lnTo>
                  <a:lnTo>
                    <a:pt x="82" y="41"/>
                  </a:lnTo>
                  <a:lnTo>
                    <a:pt x="87" y="45"/>
                  </a:lnTo>
                  <a:lnTo>
                    <a:pt x="87" y="45"/>
                  </a:lnTo>
                  <a:lnTo>
                    <a:pt x="93" y="51"/>
                  </a:lnTo>
                  <a:lnTo>
                    <a:pt x="96" y="55"/>
                  </a:lnTo>
                  <a:lnTo>
                    <a:pt x="96" y="60"/>
                  </a:lnTo>
                  <a:lnTo>
                    <a:pt x="95" y="64"/>
                  </a:lnTo>
                  <a:lnTo>
                    <a:pt x="95" y="64"/>
                  </a:lnTo>
                  <a:lnTo>
                    <a:pt x="95" y="75"/>
                  </a:lnTo>
                  <a:lnTo>
                    <a:pt x="92" y="81"/>
                  </a:lnTo>
                  <a:lnTo>
                    <a:pt x="90" y="84"/>
                  </a:lnTo>
                  <a:lnTo>
                    <a:pt x="90" y="84"/>
                  </a:lnTo>
                  <a:lnTo>
                    <a:pt x="84" y="89"/>
                  </a:lnTo>
                  <a:lnTo>
                    <a:pt x="83" y="91"/>
                  </a:lnTo>
                  <a:lnTo>
                    <a:pt x="79" y="93"/>
                  </a:lnTo>
                  <a:lnTo>
                    <a:pt x="79" y="93"/>
                  </a:lnTo>
                  <a:lnTo>
                    <a:pt x="69" y="94"/>
                  </a:lnTo>
                  <a:lnTo>
                    <a:pt x="64" y="94"/>
                  </a:lnTo>
                  <a:lnTo>
                    <a:pt x="60" y="96"/>
                  </a:lnTo>
                  <a:lnTo>
                    <a:pt x="60" y="96"/>
                  </a:lnTo>
                  <a:lnTo>
                    <a:pt x="55" y="100"/>
                  </a:lnTo>
                  <a:lnTo>
                    <a:pt x="53" y="103"/>
                  </a:lnTo>
                  <a:lnTo>
                    <a:pt x="53" y="103"/>
                  </a:lnTo>
                  <a:lnTo>
                    <a:pt x="51" y="102"/>
                  </a:lnTo>
                  <a:lnTo>
                    <a:pt x="51" y="102"/>
                  </a:lnTo>
                  <a:lnTo>
                    <a:pt x="50" y="100"/>
                  </a:lnTo>
                  <a:lnTo>
                    <a:pt x="50" y="99"/>
                  </a:lnTo>
                  <a:lnTo>
                    <a:pt x="50" y="97"/>
                  </a:lnTo>
                  <a:lnTo>
                    <a:pt x="50" y="97"/>
                  </a:lnTo>
                  <a:lnTo>
                    <a:pt x="48" y="99"/>
                  </a:lnTo>
                  <a:lnTo>
                    <a:pt x="48" y="99"/>
                  </a:lnTo>
                  <a:lnTo>
                    <a:pt x="42" y="99"/>
                  </a:lnTo>
                  <a:lnTo>
                    <a:pt x="42" y="99"/>
                  </a:lnTo>
                  <a:lnTo>
                    <a:pt x="40" y="99"/>
                  </a:lnTo>
                  <a:lnTo>
                    <a:pt x="40" y="99"/>
                  </a:lnTo>
                  <a:lnTo>
                    <a:pt x="37" y="99"/>
                  </a:lnTo>
                  <a:lnTo>
                    <a:pt x="37" y="99"/>
                  </a:lnTo>
                  <a:lnTo>
                    <a:pt x="32" y="99"/>
                  </a:lnTo>
                  <a:lnTo>
                    <a:pt x="29" y="100"/>
                  </a:lnTo>
                  <a:lnTo>
                    <a:pt x="29" y="100"/>
                  </a:lnTo>
                  <a:lnTo>
                    <a:pt x="18" y="109"/>
                  </a:lnTo>
                  <a:lnTo>
                    <a:pt x="11" y="115"/>
                  </a:lnTo>
                  <a:lnTo>
                    <a:pt x="5" y="116"/>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34" name="Freeform 89"/>
            <p:cNvSpPr>
              <a:spLocks/>
            </p:cNvSpPr>
            <p:nvPr/>
          </p:nvSpPr>
          <p:spPr bwMode="auto">
            <a:xfrm>
              <a:off x="6832600" y="1313291"/>
              <a:ext cx="152400" cy="184150"/>
            </a:xfrm>
            <a:custGeom>
              <a:avLst/>
              <a:gdLst>
                <a:gd name="T0" fmla="*/ 3 w 96"/>
                <a:gd name="T1" fmla="*/ 116 h 116"/>
                <a:gd name="T2" fmla="*/ 0 w 96"/>
                <a:gd name="T3" fmla="*/ 110 h 116"/>
                <a:gd name="T4" fmla="*/ 2 w 96"/>
                <a:gd name="T5" fmla="*/ 100 h 116"/>
                <a:gd name="T6" fmla="*/ 9 w 96"/>
                <a:gd name="T7" fmla="*/ 81 h 116"/>
                <a:gd name="T8" fmla="*/ 11 w 96"/>
                <a:gd name="T9" fmla="*/ 68 h 116"/>
                <a:gd name="T10" fmla="*/ 18 w 96"/>
                <a:gd name="T11" fmla="*/ 58 h 116"/>
                <a:gd name="T12" fmla="*/ 24 w 96"/>
                <a:gd name="T13" fmla="*/ 54 h 116"/>
                <a:gd name="T14" fmla="*/ 21 w 96"/>
                <a:gd name="T15" fmla="*/ 44 h 116"/>
                <a:gd name="T16" fmla="*/ 21 w 96"/>
                <a:gd name="T17" fmla="*/ 35 h 116"/>
                <a:gd name="T18" fmla="*/ 28 w 96"/>
                <a:gd name="T19" fmla="*/ 32 h 116"/>
                <a:gd name="T20" fmla="*/ 29 w 96"/>
                <a:gd name="T21" fmla="*/ 22 h 116"/>
                <a:gd name="T22" fmla="*/ 34 w 96"/>
                <a:gd name="T23" fmla="*/ 15 h 116"/>
                <a:gd name="T24" fmla="*/ 38 w 96"/>
                <a:gd name="T25" fmla="*/ 4 h 116"/>
                <a:gd name="T26" fmla="*/ 40 w 96"/>
                <a:gd name="T27" fmla="*/ 10 h 116"/>
                <a:gd name="T28" fmla="*/ 41 w 96"/>
                <a:gd name="T29" fmla="*/ 12 h 116"/>
                <a:gd name="T30" fmla="*/ 48 w 96"/>
                <a:gd name="T31" fmla="*/ 2 h 116"/>
                <a:gd name="T32" fmla="*/ 51 w 96"/>
                <a:gd name="T33" fmla="*/ 0 h 116"/>
                <a:gd name="T34" fmla="*/ 57 w 96"/>
                <a:gd name="T35" fmla="*/ 4 h 116"/>
                <a:gd name="T36" fmla="*/ 54 w 96"/>
                <a:gd name="T37" fmla="*/ 19 h 116"/>
                <a:gd name="T38" fmla="*/ 54 w 96"/>
                <a:gd name="T39" fmla="*/ 28 h 116"/>
                <a:gd name="T40" fmla="*/ 55 w 96"/>
                <a:gd name="T41" fmla="*/ 28 h 116"/>
                <a:gd name="T42" fmla="*/ 61 w 96"/>
                <a:gd name="T43" fmla="*/ 18 h 116"/>
                <a:gd name="T44" fmla="*/ 63 w 96"/>
                <a:gd name="T45" fmla="*/ 16 h 116"/>
                <a:gd name="T46" fmla="*/ 66 w 96"/>
                <a:gd name="T47" fmla="*/ 19 h 116"/>
                <a:gd name="T48" fmla="*/ 67 w 96"/>
                <a:gd name="T49" fmla="*/ 22 h 116"/>
                <a:gd name="T50" fmla="*/ 70 w 96"/>
                <a:gd name="T51" fmla="*/ 19 h 116"/>
                <a:gd name="T52" fmla="*/ 73 w 96"/>
                <a:gd name="T53" fmla="*/ 18 h 116"/>
                <a:gd name="T54" fmla="*/ 74 w 96"/>
                <a:gd name="T55" fmla="*/ 26 h 116"/>
                <a:gd name="T56" fmla="*/ 77 w 96"/>
                <a:gd name="T57" fmla="*/ 32 h 116"/>
                <a:gd name="T58" fmla="*/ 80 w 96"/>
                <a:gd name="T59" fmla="*/ 32 h 116"/>
                <a:gd name="T60" fmla="*/ 82 w 96"/>
                <a:gd name="T61" fmla="*/ 33 h 116"/>
                <a:gd name="T62" fmla="*/ 83 w 96"/>
                <a:gd name="T63" fmla="*/ 39 h 116"/>
                <a:gd name="T64" fmla="*/ 87 w 96"/>
                <a:gd name="T65" fmla="*/ 45 h 116"/>
                <a:gd name="T66" fmla="*/ 96 w 96"/>
                <a:gd name="T67" fmla="*/ 55 h 116"/>
                <a:gd name="T68" fmla="*/ 95 w 96"/>
                <a:gd name="T69" fmla="*/ 64 h 116"/>
                <a:gd name="T70" fmla="*/ 90 w 96"/>
                <a:gd name="T71" fmla="*/ 84 h 116"/>
                <a:gd name="T72" fmla="*/ 83 w 96"/>
                <a:gd name="T73" fmla="*/ 91 h 116"/>
                <a:gd name="T74" fmla="*/ 69 w 96"/>
                <a:gd name="T75" fmla="*/ 94 h 116"/>
                <a:gd name="T76" fmla="*/ 60 w 96"/>
                <a:gd name="T77" fmla="*/ 96 h 116"/>
                <a:gd name="T78" fmla="*/ 53 w 96"/>
                <a:gd name="T79" fmla="*/ 103 h 116"/>
                <a:gd name="T80" fmla="*/ 50 w 96"/>
                <a:gd name="T81" fmla="*/ 100 h 116"/>
                <a:gd name="T82" fmla="*/ 50 w 96"/>
                <a:gd name="T83" fmla="*/ 97 h 116"/>
                <a:gd name="T84" fmla="*/ 42 w 96"/>
                <a:gd name="T85" fmla="*/ 99 h 116"/>
                <a:gd name="T86" fmla="*/ 40 w 96"/>
                <a:gd name="T87" fmla="*/ 99 h 116"/>
                <a:gd name="T88" fmla="*/ 32 w 96"/>
                <a:gd name="T89" fmla="*/ 99 h 116"/>
                <a:gd name="T90" fmla="*/ 18 w 96"/>
                <a:gd name="T91" fmla="*/ 10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6" h="116">
                  <a:moveTo>
                    <a:pt x="5" y="116"/>
                  </a:moveTo>
                  <a:lnTo>
                    <a:pt x="5" y="116"/>
                  </a:lnTo>
                  <a:lnTo>
                    <a:pt x="3" y="116"/>
                  </a:lnTo>
                  <a:lnTo>
                    <a:pt x="3" y="116"/>
                  </a:lnTo>
                  <a:lnTo>
                    <a:pt x="0" y="113"/>
                  </a:lnTo>
                  <a:lnTo>
                    <a:pt x="0" y="110"/>
                  </a:lnTo>
                  <a:lnTo>
                    <a:pt x="0" y="106"/>
                  </a:lnTo>
                  <a:lnTo>
                    <a:pt x="2" y="100"/>
                  </a:lnTo>
                  <a:lnTo>
                    <a:pt x="2" y="100"/>
                  </a:lnTo>
                  <a:lnTo>
                    <a:pt x="8" y="93"/>
                  </a:lnTo>
                  <a:lnTo>
                    <a:pt x="9" y="89"/>
                  </a:lnTo>
                  <a:lnTo>
                    <a:pt x="9" y="81"/>
                  </a:lnTo>
                  <a:lnTo>
                    <a:pt x="9" y="81"/>
                  </a:lnTo>
                  <a:lnTo>
                    <a:pt x="9" y="74"/>
                  </a:lnTo>
                  <a:lnTo>
                    <a:pt x="11" y="68"/>
                  </a:lnTo>
                  <a:lnTo>
                    <a:pt x="15" y="61"/>
                  </a:lnTo>
                  <a:lnTo>
                    <a:pt x="15" y="61"/>
                  </a:lnTo>
                  <a:lnTo>
                    <a:pt x="18" y="58"/>
                  </a:lnTo>
                  <a:lnTo>
                    <a:pt x="21" y="57"/>
                  </a:lnTo>
                  <a:lnTo>
                    <a:pt x="24" y="55"/>
                  </a:lnTo>
                  <a:lnTo>
                    <a:pt x="24" y="54"/>
                  </a:lnTo>
                  <a:lnTo>
                    <a:pt x="24" y="54"/>
                  </a:lnTo>
                  <a:lnTo>
                    <a:pt x="24" y="49"/>
                  </a:lnTo>
                  <a:lnTo>
                    <a:pt x="21" y="44"/>
                  </a:lnTo>
                  <a:lnTo>
                    <a:pt x="19" y="38"/>
                  </a:lnTo>
                  <a:lnTo>
                    <a:pt x="19" y="36"/>
                  </a:lnTo>
                  <a:lnTo>
                    <a:pt x="21" y="35"/>
                  </a:lnTo>
                  <a:lnTo>
                    <a:pt x="21" y="35"/>
                  </a:lnTo>
                  <a:lnTo>
                    <a:pt x="25" y="33"/>
                  </a:lnTo>
                  <a:lnTo>
                    <a:pt x="28" y="32"/>
                  </a:lnTo>
                  <a:lnTo>
                    <a:pt x="28" y="31"/>
                  </a:lnTo>
                  <a:lnTo>
                    <a:pt x="28" y="31"/>
                  </a:lnTo>
                  <a:lnTo>
                    <a:pt x="29" y="22"/>
                  </a:lnTo>
                  <a:lnTo>
                    <a:pt x="32" y="18"/>
                  </a:lnTo>
                  <a:lnTo>
                    <a:pt x="34" y="15"/>
                  </a:lnTo>
                  <a:lnTo>
                    <a:pt x="34" y="15"/>
                  </a:lnTo>
                  <a:lnTo>
                    <a:pt x="37" y="9"/>
                  </a:lnTo>
                  <a:lnTo>
                    <a:pt x="38" y="4"/>
                  </a:lnTo>
                  <a:lnTo>
                    <a:pt x="38" y="4"/>
                  </a:lnTo>
                  <a:lnTo>
                    <a:pt x="40" y="4"/>
                  </a:lnTo>
                  <a:lnTo>
                    <a:pt x="40" y="4"/>
                  </a:lnTo>
                  <a:lnTo>
                    <a:pt x="40" y="10"/>
                  </a:lnTo>
                  <a:lnTo>
                    <a:pt x="41" y="13"/>
                  </a:lnTo>
                  <a:lnTo>
                    <a:pt x="41" y="13"/>
                  </a:lnTo>
                  <a:lnTo>
                    <a:pt x="41" y="12"/>
                  </a:lnTo>
                  <a:lnTo>
                    <a:pt x="41" y="12"/>
                  </a:lnTo>
                  <a:lnTo>
                    <a:pt x="45" y="4"/>
                  </a:lnTo>
                  <a:lnTo>
                    <a:pt x="48" y="2"/>
                  </a:lnTo>
                  <a:lnTo>
                    <a:pt x="51" y="0"/>
                  </a:lnTo>
                  <a:lnTo>
                    <a:pt x="51" y="0"/>
                  </a:lnTo>
                  <a:lnTo>
                    <a:pt x="51" y="0"/>
                  </a:lnTo>
                  <a:lnTo>
                    <a:pt x="51" y="0"/>
                  </a:lnTo>
                  <a:lnTo>
                    <a:pt x="55" y="3"/>
                  </a:lnTo>
                  <a:lnTo>
                    <a:pt x="57" y="4"/>
                  </a:lnTo>
                  <a:lnTo>
                    <a:pt x="57" y="7"/>
                  </a:lnTo>
                  <a:lnTo>
                    <a:pt x="57" y="7"/>
                  </a:lnTo>
                  <a:lnTo>
                    <a:pt x="54" y="19"/>
                  </a:lnTo>
                  <a:lnTo>
                    <a:pt x="53" y="25"/>
                  </a:lnTo>
                  <a:lnTo>
                    <a:pt x="54" y="28"/>
                  </a:lnTo>
                  <a:lnTo>
                    <a:pt x="54" y="28"/>
                  </a:lnTo>
                  <a:lnTo>
                    <a:pt x="54" y="28"/>
                  </a:lnTo>
                  <a:lnTo>
                    <a:pt x="55" y="28"/>
                  </a:lnTo>
                  <a:lnTo>
                    <a:pt x="55" y="28"/>
                  </a:lnTo>
                  <a:lnTo>
                    <a:pt x="58" y="25"/>
                  </a:lnTo>
                  <a:lnTo>
                    <a:pt x="60" y="20"/>
                  </a:lnTo>
                  <a:lnTo>
                    <a:pt x="61" y="18"/>
                  </a:lnTo>
                  <a:lnTo>
                    <a:pt x="63" y="16"/>
                  </a:lnTo>
                  <a:lnTo>
                    <a:pt x="63" y="16"/>
                  </a:lnTo>
                  <a:lnTo>
                    <a:pt x="63" y="16"/>
                  </a:lnTo>
                  <a:lnTo>
                    <a:pt x="63" y="16"/>
                  </a:lnTo>
                  <a:lnTo>
                    <a:pt x="64" y="16"/>
                  </a:lnTo>
                  <a:lnTo>
                    <a:pt x="66" y="19"/>
                  </a:lnTo>
                  <a:lnTo>
                    <a:pt x="67" y="22"/>
                  </a:lnTo>
                  <a:lnTo>
                    <a:pt x="67" y="22"/>
                  </a:lnTo>
                  <a:lnTo>
                    <a:pt x="67" y="22"/>
                  </a:lnTo>
                  <a:lnTo>
                    <a:pt x="69" y="22"/>
                  </a:lnTo>
                  <a:lnTo>
                    <a:pt x="69" y="22"/>
                  </a:lnTo>
                  <a:lnTo>
                    <a:pt x="70" y="19"/>
                  </a:lnTo>
                  <a:lnTo>
                    <a:pt x="71" y="16"/>
                  </a:lnTo>
                  <a:lnTo>
                    <a:pt x="71" y="16"/>
                  </a:lnTo>
                  <a:lnTo>
                    <a:pt x="73" y="18"/>
                  </a:lnTo>
                  <a:lnTo>
                    <a:pt x="73" y="18"/>
                  </a:lnTo>
                  <a:lnTo>
                    <a:pt x="74" y="22"/>
                  </a:lnTo>
                  <a:lnTo>
                    <a:pt x="74" y="26"/>
                  </a:lnTo>
                  <a:lnTo>
                    <a:pt x="76" y="31"/>
                  </a:lnTo>
                  <a:lnTo>
                    <a:pt x="77" y="32"/>
                  </a:lnTo>
                  <a:lnTo>
                    <a:pt x="77" y="32"/>
                  </a:lnTo>
                  <a:lnTo>
                    <a:pt x="77" y="32"/>
                  </a:lnTo>
                  <a:lnTo>
                    <a:pt x="77" y="32"/>
                  </a:lnTo>
                  <a:lnTo>
                    <a:pt x="80" y="32"/>
                  </a:lnTo>
                  <a:lnTo>
                    <a:pt x="80" y="32"/>
                  </a:lnTo>
                  <a:lnTo>
                    <a:pt x="82" y="32"/>
                  </a:lnTo>
                  <a:lnTo>
                    <a:pt x="82" y="33"/>
                  </a:lnTo>
                  <a:lnTo>
                    <a:pt x="83" y="36"/>
                  </a:lnTo>
                  <a:lnTo>
                    <a:pt x="83" y="36"/>
                  </a:lnTo>
                  <a:lnTo>
                    <a:pt x="83" y="39"/>
                  </a:lnTo>
                  <a:lnTo>
                    <a:pt x="82" y="39"/>
                  </a:lnTo>
                  <a:lnTo>
                    <a:pt x="82" y="41"/>
                  </a:lnTo>
                  <a:lnTo>
                    <a:pt x="87" y="45"/>
                  </a:lnTo>
                  <a:lnTo>
                    <a:pt x="87" y="45"/>
                  </a:lnTo>
                  <a:lnTo>
                    <a:pt x="93" y="51"/>
                  </a:lnTo>
                  <a:lnTo>
                    <a:pt x="96" y="55"/>
                  </a:lnTo>
                  <a:lnTo>
                    <a:pt x="96" y="60"/>
                  </a:lnTo>
                  <a:lnTo>
                    <a:pt x="95" y="64"/>
                  </a:lnTo>
                  <a:lnTo>
                    <a:pt x="95" y="64"/>
                  </a:lnTo>
                  <a:lnTo>
                    <a:pt x="95" y="75"/>
                  </a:lnTo>
                  <a:lnTo>
                    <a:pt x="92" y="81"/>
                  </a:lnTo>
                  <a:lnTo>
                    <a:pt x="90" y="84"/>
                  </a:lnTo>
                  <a:lnTo>
                    <a:pt x="90" y="84"/>
                  </a:lnTo>
                  <a:lnTo>
                    <a:pt x="84" y="89"/>
                  </a:lnTo>
                  <a:lnTo>
                    <a:pt x="83" y="91"/>
                  </a:lnTo>
                  <a:lnTo>
                    <a:pt x="79" y="93"/>
                  </a:lnTo>
                  <a:lnTo>
                    <a:pt x="79" y="93"/>
                  </a:lnTo>
                  <a:lnTo>
                    <a:pt x="69" y="94"/>
                  </a:lnTo>
                  <a:lnTo>
                    <a:pt x="64" y="94"/>
                  </a:lnTo>
                  <a:lnTo>
                    <a:pt x="60" y="96"/>
                  </a:lnTo>
                  <a:lnTo>
                    <a:pt x="60" y="96"/>
                  </a:lnTo>
                  <a:lnTo>
                    <a:pt x="55" y="100"/>
                  </a:lnTo>
                  <a:lnTo>
                    <a:pt x="53" y="103"/>
                  </a:lnTo>
                  <a:lnTo>
                    <a:pt x="53" y="103"/>
                  </a:lnTo>
                  <a:lnTo>
                    <a:pt x="51" y="102"/>
                  </a:lnTo>
                  <a:lnTo>
                    <a:pt x="51" y="102"/>
                  </a:lnTo>
                  <a:lnTo>
                    <a:pt x="50" y="100"/>
                  </a:lnTo>
                  <a:lnTo>
                    <a:pt x="50" y="99"/>
                  </a:lnTo>
                  <a:lnTo>
                    <a:pt x="50" y="97"/>
                  </a:lnTo>
                  <a:lnTo>
                    <a:pt x="50" y="97"/>
                  </a:lnTo>
                  <a:lnTo>
                    <a:pt x="48" y="99"/>
                  </a:lnTo>
                  <a:lnTo>
                    <a:pt x="48" y="99"/>
                  </a:lnTo>
                  <a:lnTo>
                    <a:pt x="42" y="99"/>
                  </a:lnTo>
                  <a:lnTo>
                    <a:pt x="42" y="99"/>
                  </a:lnTo>
                  <a:lnTo>
                    <a:pt x="40" y="99"/>
                  </a:lnTo>
                  <a:lnTo>
                    <a:pt x="40" y="99"/>
                  </a:lnTo>
                  <a:lnTo>
                    <a:pt x="37" y="99"/>
                  </a:lnTo>
                  <a:lnTo>
                    <a:pt x="37" y="99"/>
                  </a:lnTo>
                  <a:lnTo>
                    <a:pt x="32" y="99"/>
                  </a:lnTo>
                  <a:lnTo>
                    <a:pt x="29" y="100"/>
                  </a:lnTo>
                  <a:lnTo>
                    <a:pt x="29" y="100"/>
                  </a:lnTo>
                  <a:lnTo>
                    <a:pt x="18" y="109"/>
                  </a:lnTo>
                  <a:lnTo>
                    <a:pt x="11" y="115"/>
                  </a:lnTo>
                  <a:lnTo>
                    <a:pt x="5" y="116"/>
                  </a:lnTo>
                </a:path>
              </a:pathLst>
            </a:custGeom>
            <a:solidFill>
              <a:srgbClr val="92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35" name="Freeform 90"/>
            <p:cNvSpPr>
              <a:spLocks/>
            </p:cNvSpPr>
            <p:nvPr/>
          </p:nvSpPr>
          <p:spPr bwMode="auto">
            <a:xfrm>
              <a:off x="7011988" y="1472041"/>
              <a:ext cx="25400" cy="11113"/>
            </a:xfrm>
            <a:custGeom>
              <a:avLst/>
              <a:gdLst>
                <a:gd name="T0" fmla="*/ 15 w 16"/>
                <a:gd name="T1" fmla="*/ 6 h 7"/>
                <a:gd name="T2" fmla="*/ 15 w 16"/>
                <a:gd name="T3" fmla="*/ 6 h 7"/>
                <a:gd name="T4" fmla="*/ 13 w 16"/>
                <a:gd name="T5" fmla="*/ 7 h 7"/>
                <a:gd name="T6" fmla="*/ 11 w 16"/>
                <a:gd name="T7" fmla="*/ 7 h 7"/>
                <a:gd name="T8" fmla="*/ 5 w 16"/>
                <a:gd name="T9" fmla="*/ 6 h 7"/>
                <a:gd name="T10" fmla="*/ 2 w 16"/>
                <a:gd name="T11" fmla="*/ 4 h 7"/>
                <a:gd name="T12" fmla="*/ 0 w 16"/>
                <a:gd name="T13" fmla="*/ 3 h 7"/>
                <a:gd name="T14" fmla="*/ 0 w 16"/>
                <a:gd name="T15" fmla="*/ 2 h 7"/>
                <a:gd name="T16" fmla="*/ 0 w 16"/>
                <a:gd name="T17" fmla="*/ 2 h 7"/>
                <a:gd name="T18" fmla="*/ 3 w 16"/>
                <a:gd name="T19" fmla="*/ 0 h 7"/>
                <a:gd name="T20" fmla="*/ 5 w 16"/>
                <a:gd name="T21" fmla="*/ 0 h 7"/>
                <a:gd name="T22" fmla="*/ 11 w 16"/>
                <a:gd name="T23" fmla="*/ 0 h 7"/>
                <a:gd name="T24" fmla="*/ 11 w 16"/>
                <a:gd name="T25" fmla="*/ 0 h 7"/>
                <a:gd name="T26" fmla="*/ 12 w 16"/>
                <a:gd name="T27" fmla="*/ 0 h 7"/>
                <a:gd name="T28" fmla="*/ 15 w 16"/>
                <a:gd name="T29" fmla="*/ 2 h 7"/>
                <a:gd name="T30" fmla="*/ 16 w 16"/>
                <a:gd name="T31" fmla="*/ 3 h 7"/>
                <a:gd name="T32" fmla="*/ 15 w 16"/>
                <a:gd name="T33"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7">
                  <a:moveTo>
                    <a:pt x="15" y="6"/>
                  </a:moveTo>
                  <a:lnTo>
                    <a:pt x="15" y="6"/>
                  </a:lnTo>
                  <a:lnTo>
                    <a:pt x="13" y="7"/>
                  </a:lnTo>
                  <a:lnTo>
                    <a:pt x="11" y="7"/>
                  </a:lnTo>
                  <a:lnTo>
                    <a:pt x="5" y="6"/>
                  </a:lnTo>
                  <a:lnTo>
                    <a:pt x="2" y="4"/>
                  </a:lnTo>
                  <a:lnTo>
                    <a:pt x="0" y="3"/>
                  </a:lnTo>
                  <a:lnTo>
                    <a:pt x="0" y="2"/>
                  </a:lnTo>
                  <a:lnTo>
                    <a:pt x="0" y="2"/>
                  </a:lnTo>
                  <a:lnTo>
                    <a:pt x="3" y="0"/>
                  </a:lnTo>
                  <a:lnTo>
                    <a:pt x="5" y="0"/>
                  </a:lnTo>
                  <a:lnTo>
                    <a:pt x="11" y="0"/>
                  </a:lnTo>
                  <a:lnTo>
                    <a:pt x="11" y="0"/>
                  </a:lnTo>
                  <a:lnTo>
                    <a:pt x="12" y="0"/>
                  </a:lnTo>
                  <a:lnTo>
                    <a:pt x="15" y="2"/>
                  </a:lnTo>
                  <a:lnTo>
                    <a:pt x="16" y="3"/>
                  </a:lnTo>
                  <a:lnTo>
                    <a:pt x="15" y="6"/>
                  </a:lnTo>
                  <a:close/>
                </a:path>
              </a:pathLst>
            </a:custGeom>
            <a:solidFill>
              <a:srgbClr val="72C7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36" name="Freeform 91"/>
            <p:cNvSpPr>
              <a:spLocks/>
            </p:cNvSpPr>
            <p:nvPr/>
          </p:nvSpPr>
          <p:spPr bwMode="auto">
            <a:xfrm>
              <a:off x="7011988" y="1472041"/>
              <a:ext cx="25400" cy="11113"/>
            </a:xfrm>
            <a:custGeom>
              <a:avLst/>
              <a:gdLst>
                <a:gd name="T0" fmla="*/ 15 w 16"/>
                <a:gd name="T1" fmla="*/ 6 h 7"/>
                <a:gd name="T2" fmla="*/ 15 w 16"/>
                <a:gd name="T3" fmla="*/ 6 h 7"/>
                <a:gd name="T4" fmla="*/ 13 w 16"/>
                <a:gd name="T5" fmla="*/ 7 h 7"/>
                <a:gd name="T6" fmla="*/ 11 w 16"/>
                <a:gd name="T7" fmla="*/ 7 h 7"/>
                <a:gd name="T8" fmla="*/ 5 w 16"/>
                <a:gd name="T9" fmla="*/ 6 h 7"/>
                <a:gd name="T10" fmla="*/ 2 w 16"/>
                <a:gd name="T11" fmla="*/ 4 h 7"/>
                <a:gd name="T12" fmla="*/ 0 w 16"/>
                <a:gd name="T13" fmla="*/ 3 h 7"/>
                <a:gd name="T14" fmla="*/ 0 w 16"/>
                <a:gd name="T15" fmla="*/ 2 h 7"/>
                <a:gd name="T16" fmla="*/ 0 w 16"/>
                <a:gd name="T17" fmla="*/ 2 h 7"/>
                <a:gd name="T18" fmla="*/ 3 w 16"/>
                <a:gd name="T19" fmla="*/ 0 h 7"/>
                <a:gd name="T20" fmla="*/ 5 w 16"/>
                <a:gd name="T21" fmla="*/ 0 h 7"/>
                <a:gd name="T22" fmla="*/ 11 w 16"/>
                <a:gd name="T23" fmla="*/ 0 h 7"/>
                <a:gd name="T24" fmla="*/ 11 w 16"/>
                <a:gd name="T25" fmla="*/ 0 h 7"/>
                <a:gd name="T26" fmla="*/ 12 w 16"/>
                <a:gd name="T27" fmla="*/ 0 h 7"/>
                <a:gd name="T28" fmla="*/ 15 w 16"/>
                <a:gd name="T29" fmla="*/ 2 h 7"/>
                <a:gd name="T30" fmla="*/ 16 w 16"/>
                <a:gd name="T31" fmla="*/ 3 h 7"/>
                <a:gd name="T32" fmla="*/ 15 w 16"/>
                <a:gd name="T33"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7">
                  <a:moveTo>
                    <a:pt x="15" y="6"/>
                  </a:moveTo>
                  <a:lnTo>
                    <a:pt x="15" y="6"/>
                  </a:lnTo>
                  <a:lnTo>
                    <a:pt x="13" y="7"/>
                  </a:lnTo>
                  <a:lnTo>
                    <a:pt x="11" y="7"/>
                  </a:lnTo>
                  <a:lnTo>
                    <a:pt x="5" y="6"/>
                  </a:lnTo>
                  <a:lnTo>
                    <a:pt x="2" y="4"/>
                  </a:lnTo>
                  <a:lnTo>
                    <a:pt x="0" y="3"/>
                  </a:lnTo>
                  <a:lnTo>
                    <a:pt x="0" y="2"/>
                  </a:lnTo>
                  <a:lnTo>
                    <a:pt x="0" y="2"/>
                  </a:lnTo>
                  <a:lnTo>
                    <a:pt x="3" y="0"/>
                  </a:lnTo>
                  <a:lnTo>
                    <a:pt x="5" y="0"/>
                  </a:lnTo>
                  <a:lnTo>
                    <a:pt x="11" y="0"/>
                  </a:lnTo>
                  <a:lnTo>
                    <a:pt x="11" y="0"/>
                  </a:lnTo>
                  <a:lnTo>
                    <a:pt x="12" y="0"/>
                  </a:lnTo>
                  <a:lnTo>
                    <a:pt x="15" y="2"/>
                  </a:lnTo>
                  <a:lnTo>
                    <a:pt x="16" y="3"/>
                  </a:lnTo>
                  <a:lnTo>
                    <a:pt x="15"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37" name="Freeform 92"/>
            <p:cNvSpPr>
              <a:spLocks/>
            </p:cNvSpPr>
            <p:nvPr/>
          </p:nvSpPr>
          <p:spPr bwMode="auto">
            <a:xfrm>
              <a:off x="2897188" y="2210229"/>
              <a:ext cx="76200" cy="77788"/>
            </a:xfrm>
            <a:custGeom>
              <a:avLst/>
              <a:gdLst>
                <a:gd name="T0" fmla="*/ 46 w 48"/>
                <a:gd name="T1" fmla="*/ 33 h 49"/>
                <a:gd name="T2" fmla="*/ 46 w 48"/>
                <a:gd name="T3" fmla="*/ 33 h 49"/>
                <a:gd name="T4" fmla="*/ 43 w 48"/>
                <a:gd name="T5" fmla="*/ 38 h 49"/>
                <a:gd name="T6" fmla="*/ 36 w 48"/>
                <a:gd name="T7" fmla="*/ 43 h 49"/>
                <a:gd name="T8" fmla="*/ 27 w 48"/>
                <a:gd name="T9" fmla="*/ 48 h 49"/>
                <a:gd name="T10" fmla="*/ 25 w 48"/>
                <a:gd name="T11" fmla="*/ 49 h 49"/>
                <a:gd name="T12" fmla="*/ 20 w 48"/>
                <a:gd name="T13" fmla="*/ 49 h 49"/>
                <a:gd name="T14" fmla="*/ 20 w 48"/>
                <a:gd name="T15" fmla="*/ 49 h 49"/>
                <a:gd name="T16" fmla="*/ 17 w 48"/>
                <a:gd name="T17" fmla="*/ 46 h 49"/>
                <a:gd name="T18" fmla="*/ 16 w 48"/>
                <a:gd name="T19" fmla="*/ 43 h 49"/>
                <a:gd name="T20" fmla="*/ 14 w 48"/>
                <a:gd name="T21" fmla="*/ 41 h 49"/>
                <a:gd name="T22" fmla="*/ 13 w 48"/>
                <a:gd name="T23" fmla="*/ 39 h 49"/>
                <a:gd name="T24" fmla="*/ 13 w 48"/>
                <a:gd name="T25" fmla="*/ 39 h 49"/>
                <a:gd name="T26" fmla="*/ 4 w 48"/>
                <a:gd name="T27" fmla="*/ 38 h 49"/>
                <a:gd name="T28" fmla="*/ 3 w 48"/>
                <a:gd name="T29" fmla="*/ 36 h 49"/>
                <a:gd name="T30" fmla="*/ 1 w 48"/>
                <a:gd name="T31" fmla="*/ 35 h 49"/>
                <a:gd name="T32" fmla="*/ 1 w 48"/>
                <a:gd name="T33" fmla="*/ 35 h 49"/>
                <a:gd name="T34" fmla="*/ 6 w 48"/>
                <a:gd name="T35" fmla="*/ 32 h 49"/>
                <a:gd name="T36" fmla="*/ 7 w 48"/>
                <a:gd name="T37" fmla="*/ 30 h 49"/>
                <a:gd name="T38" fmla="*/ 6 w 48"/>
                <a:gd name="T39" fmla="*/ 29 h 49"/>
                <a:gd name="T40" fmla="*/ 6 w 48"/>
                <a:gd name="T41" fmla="*/ 29 h 49"/>
                <a:gd name="T42" fmla="*/ 1 w 48"/>
                <a:gd name="T43" fmla="*/ 25 h 49"/>
                <a:gd name="T44" fmla="*/ 0 w 48"/>
                <a:gd name="T45" fmla="*/ 22 h 49"/>
                <a:gd name="T46" fmla="*/ 3 w 48"/>
                <a:gd name="T47" fmla="*/ 20 h 49"/>
                <a:gd name="T48" fmla="*/ 3 w 48"/>
                <a:gd name="T49" fmla="*/ 20 h 49"/>
                <a:gd name="T50" fmla="*/ 9 w 48"/>
                <a:gd name="T51" fmla="*/ 20 h 49"/>
                <a:gd name="T52" fmla="*/ 10 w 48"/>
                <a:gd name="T53" fmla="*/ 19 h 49"/>
                <a:gd name="T54" fmla="*/ 9 w 48"/>
                <a:gd name="T55" fmla="*/ 17 h 49"/>
                <a:gd name="T56" fmla="*/ 9 w 48"/>
                <a:gd name="T57" fmla="*/ 17 h 49"/>
                <a:gd name="T58" fmla="*/ 3 w 48"/>
                <a:gd name="T59" fmla="*/ 10 h 49"/>
                <a:gd name="T60" fmla="*/ 1 w 48"/>
                <a:gd name="T61" fmla="*/ 6 h 49"/>
                <a:gd name="T62" fmla="*/ 3 w 48"/>
                <a:gd name="T63" fmla="*/ 4 h 49"/>
                <a:gd name="T64" fmla="*/ 3 w 48"/>
                <a:gd name="T65" fmla="*/ 3 h 49"/>
                <a:gd name="T66" fmla="*/ 3 w 48"/>
                <a:gd name="T67" fmla="*/ 3 h 49"/>
                <a:gd name="T68" fmla="*/ 9 w 48"/>
                <a:gd name="T69" fmla="*/ 0 h 49"/>
                <a:gd name="T70" fmla="*/ 10 w 48"/>
                <a:gd name="T71" fmla="*/ 1 h 49"/>
                <a:gd name="T72" fmla="*/ 11 w 48"/>
                <a:gd name="T73" fmla="*/ 3 h 49"/>
                <a:gd name="T74" fmla="*/ 11 w 48"/>
                <a:gd name="T75" fmla="*/ 3 h 49"/>
                <a:gd name="T76" fmla="*/ 14 w 48"/>
                <a:gd name="T77" fmla="*/ 3 h 49"/>
                <a:gd name="T78" fmla="*/ 17 w 48"/>
                <a:gd name="T79" fmla="*/ 3 h 49"/>
                <a:gd name="T80" fmla="*/ 20 w 48"/>
                <a:gd name="T81" fmla="*/ 3 h 49"/>
                <a:gd name="T82" fmla="*/ 23 w 48"/>
                <a:gd name="T83" fmla="*/ 4 h 49"/>
                <a:gd name="T84" fmla="*/ 23 w 48"/>
                <a:gd name="T85" fmla="*/ 4 h 49"/>
                <a:gd name="T86" fmla="*/ 29 w 48"/>
                <a:gd name="T87" fmla="*/ 9 h 49"/>
                <a:gd name="T88" fmla="*/ 33 w 48"/>
                <a:gd name="T89" fmla="*/ 16 h 49"/>
                <a:gd name="T90" fmla="*/ 33 w 48"/>
                <a:gd name="T91" fmla="*/ 16 h 49"/>
                <a:gd name="T92" fmla="*/ 38 w 48"/>
                <a:gd name="T93" fmla="*/ 20 h 49"/>
                <a:gd name="T94" fmla="*/ 42 w 48"/>
                <a:gd name="T95" fmla="*/ 25 h 49"/>
                <a:gd name="T96" fmla="*/ 46 w 48"/>
                <a:gd name="T97" fmla="*/ 29 h 49"/>
                <a:gd name="T98" fmla="*/ 48 w 48"/>
                <a:gd name="T99" fmla="*/ 30 h 49"/>
                <a:gd name="T100" fmla="*/ 46 w 48"/>
                <a:gd name="T101" fmla="*/ 3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 h="49">
                  <a:moveTo>
                    <a:pt x="46" y="33"/>
                  </a:moveTo>
                  <a:lnTo>
                    <a:pt x="46" y="33"/>
                  </a:lnTo>
                  <a:lnTo>
                    <a:pt x="43" y="38"/>
                  </a:lnTo>
                  <a:lnTo>
                    <a:pt x="36" y="43"/>
                  </a:lnTo>
                  <a:lnTo>
                    <a:pt x="27" y="48"/>
                  </a:lnTo>
                  <a:lnTo>
                    <a:pt x="25" y="49"/>
                  </a:lnTo>
                  <a:lnTo>
                    <a:pt x="20" y="49"/>
                  </a:lnTo>
                  <a:lnTo>
                    <a:pt x="20" y="49"/>
                  </a:lnTo>
                  <a:lnTo>
                    <a:pt x="17" y="46"/>
                  </a:lnTo>
                  <a:lnTo>
                    <a:pt x="16" y="43"/>
                  </a:lnTo>
                  <a:lnTo>
                    <a:pt x="14" y="41"/>
                  </a:lnTo>
                  <a:lnTo>
                    <a:pt x="13" y="39"/>
                  </a:lnTo>
                  <a:lnTo>
                    <a:pt x="13" y="39"/>
                  </a:lnTo>
                  <a:lnTo>
                    <a:pt x="4" y="38"/>
                  </a:lnTo>
                  <a:lnTo>
                    <a:pt x="3" y="36"/>
                  </a:lnTo>
                  <a:lnTo>
                    <a:pt x="1" y="35"/>
                  </a:lnTo>
                  <a:lnTo>
                    <a:pt x="1" y="35"/>
                  </a:lnTo>
                  <a:lnTo>
                    <a:pt x="6" y="32"/>
                  </a:lnTo>
                  <a:lnTo>
                    <a:pt x="7" y="30"/>
                  </a:lnTo>
                  <a:lnTo>
                    <a:pt x="6" y="29"/>
                  </a:lnTo>
                  <a:lnTo>
                    <a:pt x="6" y="29"/>
                  </a:lnTo>
                  <a:lnTo>
                    <a:pt x="1" y="25"/>
                  </a:lnTo>
                  <a:lnTo>
                    <a:pt x="0" y="22"/>
                  </a:lnTo>
                  <a:lnTo>
                    <a:pt x="3" y="20"/>
                  </a:lnTo>
                  <a:lnTo>
                    <a:pt x="3" y="20"/>
                  </a:lnTo>
                  <a:lnTo>
                    <a:pt x="9" y="20"/>
                  </a:lnTo>
                  <a:lnTo>
                    <a:pt x="10" y="19"/>
                  </a:lnTo>
                  <a:lnTo>
                    <a:pt x="9" y="17"/>
                  </a:lnTo>
                  <a:lnTo>
                    <a:pt x="9" y="17"/>
                  </a:lnTo>
                  <a:lnTo>
                    <a:pt x="3" y="10"/>
                  </a:lnTo>
                  <a:lnTo>
                    <a:pt x="1" y="6"/>
                  </a:lnTo>
                  <a:lnTo>
                    <a:pt x="3" y="4"/>
                  </a:lnTo>
                  <a:lnTo>
                    <a:pt x="3" y="3"/>
                  </a:lnTo>
                  <a:lnTo>
                    <a:pt x="3" y="3"/>
                  </a:lnTo>
                  <a:lnTo>
                    <a:pt x="9" y="0"/>
                  </a:lnTo>
                  <a:lnTo>
                    <a:pt x="10" y="1"/>
                  </a:lnTo>
                  <a:lnTo>
                    <a:pt x="11" y="3"/>
                  </a:lnTo>
                  <a:lnTo>
                    <a:pt x="11" y="3"/>
                  </a:lnTo>
                  <a:lnTo>
                    <a:pt x="14" y="3"/>
                  </a:lnTo>
                  <a:lnTo>
                    <a:pt x="17" y="3"/>
                  </a:lnTo>
                  <a:lnTo>
                    <a:pt x="20" y="3"/>
                  </a:lnTo>
                  <a:lnTo>
                    <a:pt x="23" y="4"/>
                  </a:lnTo>
                  <a:lnTo>
                    <a:pt x="23" y="4"/>
                  </a:lnTo>
                  <a:lnTo>
                    <a:pt x="29" y="9"/>
                  </a:lnTo>
                  <a:lnTo>
                    <a:pt x="33" y="16"/>
                  </a:lnTo>
                  <a:lnTo>
                    <a:pt x="33" y="16"/>
                  </a:lnTo>
                  <a:lnTo>
                    <a:pt x="38" y="20"/>
                  </a:lnTo>
                  <a:lnTo>
                    <a:pt x="42" y="25"/>
                  </a:lnTo>
                  <a:lnTo>
                    <a:pt x="46" y="29"/>
                  </a:lnTo>
                  <a:lnTo>
                    <a:pt x="48" y="30"/>
                  </a:lnTo>
                  <a:lnTo>
                    <a:pt x="46"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38" name="Freeform 93"/>
            <p:cNvSpPr>
              <a:spLocks/>
            </p:cNvSpPr>
            <p:nvPr/>
          </p:nvSpPr>
          <p:spPr bwMode="auto">
            <a:xfrm>
              <a:off x="2897188" y="2210229"/>
              <a:ext cx="76200" cy="77788"/>
            </a:xfrm>
            <a:custGeom>
              <a:avLst/>
              <a:gdLst>
                <a:gd name="T0" fmla="*/ 46 w 48"/>
                <a:gd name="T1" fmla="*/ 33 h 49"/>
                <a:gd name="T2" fmla="*/ 46 w 48"/>
                <a:gd name="T3" fmla="*/ 33 h 49"/>
                <a:gd name="T4" fmla="*/ 43 w 48"/>
                <a:gd name="T5" fmla="*/ 38 h 49"/>
                <a:gd name="T6" fmla="*/ 36 w 48"/>
                <a:gd name="T7" fmla="*/ 43 h 49"/>
                <a:gd name="T8" fmla="*/ 27 w 48"/>
                <a:gd name="T9" fmla="*/ 48 h 49"/>
                <a:gd name="T10" fmla="*/ 25 w 48"/>
                <a:gd name="T11" fmla="*/ 49 h 49"/>
                <a:gd name="T12" fmla="*/ 20 w 48"/>
                <a:gd name="T13" fmla="*/ 49 h 49"/>
                <a:gd name="T14" fmla="*/ 20 w 48"/>
                <a:gd name="T15" fmla="*/ 49 h 49"/>
                <a:gd name="T16" fmla="*/ 17 w 48"/>
                <a:gd name="T17" fmla="*/ 46 h 49"/>
                <a:gd name="T18" fmla="*/ 16 w 48"/>
                <a:gd name="T19" fmla="*/ 43 h 49"/>
                <a:gd name="T20" fmla="*/ 14 w 48"/>
                <a:gd name="T21" fmla="*/ 41 h 49"/>
                <a:gd name="T22" fmla="*/ 13 w 48"/>
                <a:gd name="T23" fmla="*/ 39 h 49"/>
                <a:gd name="T24" fmla="*/ 13 w 48"/>
                <a:gd name="T25" fmla="*/ 39 h 49"/>
                <a:gd name="T26" fmla="*/ 4 w 48"/>
                <a:gd name="T27" fmla="*/ 38 h 49"/>
                <a:gd name="T28" fmla="*/ 3 w 48"/>
                <a:gd name="T29" fmla="*/ 36 h 49"/>
                <a:gd name="T30" fmla="*/ 1 w 48"/>
                <a:gd name="T31" fmla="*/ 35 h 49"/>
                <a:gd name="T32" fmla="*/ 1 w 48"/>
                <a:gd name="T33" fmla="*/ 35 h 49"/>
                <a:gd name="T34" fmla="*/ 6 w 48"/>
                <a:gd name="T35" fmla="*/ 32 h 49"/>
                <a:gd name="T36" fmla="*/ 7 w 48"/>
                <a:gd name="T37" fmla="*/ 30 h 49"/>
                <a:gd name="T38" fmla="*/ 6 w 48"/>
                <a:gd name="T39" fmla="*/ 29 h 49"/>
                <a:gd name="T40" fmla="*/ 6 w 48"/>
                <a:gd name="T41" fmla="*/ 29 h 49"/>
                <a:gd name="T42" fmla="*/ 1 w 48"/>
                <a:gd name="T43" fmla="*/ 25 h 49"/>
                <a:gd name="T44" fmla="*/ 0 w 48"/>
                <a:gd name="T45" fmla="*/ 22 h 49"/>
                <a:gd name="T46" fmla="*/ 3 w 48"/>
                <a:gd name="T47" fmla="*/ 20 h 49"/>
                <a:gd name="T48" fmla="*/ 3 w 48"/>
                <a:gd name="T49" fmla="*/ 20 h 49"/>
                <a:gd name="T50" fmla="*/ 9 w 48"/>
                <a:gd name="T51" fmla="*/ 20 h 49"/>
                <a:gd name="T52" fmla="*/ 10 w 48"/>
                <a:gd name="T53" fmla="*/ 19 h 49"/>
                <a:gd name="T54" fmla="*/ 9 w 48"/>
                <a:gd name="T55" fmla="*/ 17 h 49"/>
                <a:gd name="T56" fmla="*/ 9 w 48"/>
                <a:gd name="T57" fmla="*/ 17 h 49"/>
                <a:gd name="T58" fmla="*/ 3 w 48"/>
                <a:gd name="T59" fmla="*/ 10 h 49"/>
                <a:gd name="T60" fmla="*/ 1 w 48"/>
                <a:gd name="T61" fmla="*/ 6 h 49"/>
                <a:gd name="T62" fmla="*/ 3 w 48"/>
                <a:gd name="T63" fmla="*/ 4 h 49"/>
                <a:gd name="T64" fmla="*/ 3 w 48"/>
                <a:gd name="T65" fmla="*/ 3 h 49"/>
                <a:gd name="T66" fmla="*/ 3 w 48"/>
                <a:gd name="T67" fmla="*/ 3 h 49"/>
                <a:gd name="T68" fmla="*/ 9 w 48"/>
                <a:gd name="T69" fmla="*/ 0 h 49"/>
                <a:gd name="T70" fmla="*/ 10 w 48"/>
                <a:gd name="T71" fmla="*/ 1 h 49"/>
                <a:gd name="T72" fmla="*/ 11 w 48"/>
                <a:gd name="T73" fmla="*/ 3 h 49"/>
                <a:gd name="T74" fmla="*/ 11 w 48"/>
                <a:gd name="T75" fmla="*/ 3 h 49"/>
                <a:gd name="T76" fmla="*/ 14 w 48"/>
                <a:gd name="T77" fmla="*/ 3 h 49"/>
                <a:gd name="T78" fmla="*/ 17 w 48"/>
                <a:gd name="T79" fmla="*/ 3 h 49"/>
                <a:gd name="T80" fmla="*/ 20 w 48"/>
                <a:gd name="T81" fmla="*/ 3 h 49"/>
                <a:gd name="T82" fmla="*/ 23 w 48"/>
                <a:gd name="T83" fmla="*/ 4 h 49"/>
                <a:gd name="T84" fmla="*/ 23 w 48"/>
                <a:gd name="T85" fmla="*/ 4 h 49"/>
                <a:gd name="T86" fmla="*/ 29 w 48"/>
                <a:gd name="T87" fmla="*/ 9 h 49"/>
                <a:gd name="T88" fmla="*/ 33 w 48"/>
                <a:gd name="T89" fmla="*/ 16 h 49"/>
                <a:gd name="T90" fmla="*/ 33 w 48"/>
                <a:gd name="T91" fmla="*/ 16 h 49"/>
                <a:gd name="T92" fmla="*/ 38 w 48"/>
                <a:gd name="T93" fmla="*/ 20 h 49"/>
                <a:gd name="T94" fmla="*/ 42 w 48"/>
                <a:gd name="T95" fmla="*/ 25 h 49"/>
                <a:gd name="T96" fmla="*/ 46 w 48"/>
                <a:gd name="T97" fmla="*/ 29 h 49"/>
                <a:gd name="T98" fmla="*/ 48 w 48"/>
                <a:gd name="T99" fmla="*/ 30 h 49"/>
                <a:gd name="T100" fmla="*/ 46 w 48"/>
                <a:gd name="T101" fmla="*/ 3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 h="49">
                  <a:moveTo>
                    <a:pt x="46" y="33"/>
                  </a:moveTo>
                  <a:lnTo>
                    <a:pt x="46" y="33"/>
                  </a:lnTo>
                  <a:lnTo>
                    <a:pt x="43" y="38"/>
                  </a:lnTo>
                  <a:lnTo>
                    <a:pt x="36" y="43"/>
                  </a:lnTo>
                  <a:lnTo>
                    <a:pt x="27" y="48"/>
                  </a:lnTo>
                  <a:lnTo>
                    <a:pt x="25" y="49"/>
                  </a:lnTo>
                  <a:lnTo>
                    <a:pt x="20" y="49"/>
                  </a:lnTo>
                  <a:lnTo>
                    <a:pt x="20" y="49"/>
                  </a:lnTo>
                  <a:lnTo>
                    <a:pt x="17" y="46"/>
                  </a:lnTo>
                  <a:lnTo>
                    <a:pt x="16" y="43"/>
                  </a:lnTo>
                  <a:lnTo>
                    <a:pt x="14" y="41"/>
                  </a:lnTo>
                  <a:lnTo>
                    <a:pt x="13" y="39"/>
                  </a:lnTo>
                  <a:lnTo>
                    <a:pt x="13" y="39"/>
                  </a:lnTo>
                  <a:lnTo>
                    <a:pt x="4" y="38"/>
                  </a:lnTo>
                  <a:lnTo>
                    <a:pt x="3" y="36"/>
                  </a:lnTo>
                  <a:lnTo>
                    <a:pt x="1" y="35"/>
                  </a:lnTo>
                  <a:lnTo>
                    <a:pt x="1" y="35"/>
                  </a:lnTo>
                  <a:lnTo>
                    <a:pt x="6" y="32"/>
                  </a:lnTo>
                  <a:lnTo>
                    <a:pt x="7" y="30"/>
                  </a:lnTo>
                  <a:lnTo>
                    <a:pt x="6" y="29"/>
                  </a:lnTo>
                  <a:lnTo>
                    <a:pt x="6" y="29"/>
                  </a:lnTo>
                  <a:lnTo>
                    <a:pt x="1" y="25"/>
                  </a:lnTo>
                  <a:lnTo>
                    <a:pt x="0" y="22"/>
                  </a:lnTo>
                  <a:lnTo>
                    <a:pt x="3" y="20"/>
                  </a:lnTo>
                  <a:lnTo>
                    <a:pt x="3" y="20"/>
                  </a:lnTo>
                  <a:lnTo>
                    <a:pt x="9" y="20"/>
                  </a:lnTo>
                  <a:lnTo>
                    <a:pt x="10" y="19"/>
                  </a:lnTo>
                  <a:lnTo>
                    <a:pt x="9" y="17"/>
                  </a:lnTo>
                  <a:lnTo>
                    <a:pt x="9" y="17"/>
                  </a:lnTo>
                  <a:lnTo>
                    <a:pt x="3" y="10"/>
                  </a:lnTo>
                  <a:lnTo>
                    <a:pt x="1" y="6"/>
                  </a:lnTo>
                  <a:lnTo>
                    <a:pt x="3" y="4"/>
                  </a:lnTo>
                  <a:lnTo>
                    <a:pt x="3" y="3"/>
                  </a:lnTo>
                  <a:lnTo>
                    <a:pt x="3" y="3"/>
                  </a:lnTo>
                  <a:lnTo>
                    <a:pt x="9" y="0"/>
                  </a:lnTo>
                  <a:lnTo>
                    <a:pt x="10" y="1"/>
                  </a:lnTo>
                  <a:lnTo>
                    <a:pt x="11" y="3"/>
                  </a:lnTo>
                  <a:lnTo>
                    <a:pt x="11" y="3"/>
                  </a:lnTo>
                  <a:lnTo>
                    <a:pt x="14" y="3"/>
                  </a:lnTo>
                  <a:lnTo>
                    <a:pt x="17" y="3"/>
                  </a:lnTo>
                  <a:lnTo>
                    <a:pt x="20" y="3"/>
                  </a:lnTo>
                  <a:lnTo>
                    <a:pt x="23" y="4"/>
                  </a:lnTo>
                  <a:lnTo>
                    <a:pt x="23" y="4"/>
                  </a:lnTo>
                  <a:lnTo>
                    <a:pt x="29" y="9"/>
                  </a:lnTo>
                  <a:lnTo>
                    <a:pt x="33" y="16"/>
                  </a:lnTo>
                  <a:lnTo>
                    <a:pt x="33" y="16"/>
                  </a:lnTo>
                  <a:lnTo>
                    <a:pt x="38" y="20"/>
                  </a:lnTo>
                  <a:lnTo>
                    <a:pt x="42" y="25"/>
                  </a:lnTo>
                  <a:lnTo>
                    <a:pt x="46" y="29"/>
                  </a:lnTo>
                  <a:lnTo>
                    <a:pt x="48" y="30"/>
                  </a:lnTo>
                  <a:lnTo>
                    <a:pt x="46" y="3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39" name="Freeform 94"/>
            <p:cNvSpPr>
              <a:spLocks/>
            </p:cNvSpPr>
            <p:nvPr/>
          </p:nvSpPr>
          <p:spPr bwMode="auto">
            <a:xfrm>
              <a:off x="2989263" y="2241979"/>
              <a:ext cx="11113" cy="20638"/>
            </a:xfrm>
            <a:custGeom>
              <a:avLst/>
              <a:gdLst>
                <a:gd name="T0" fmla="*/ 3 w 7"/>
                <a:gd name="T1" fmla="*/ 13 h 13"/>
                <a:gd name="T2" fmla="*/ 3 w 7"/>
                <a:gd name="T3" fmla="*/ 13 h 13"/>
                <a:gd name="T4" fmla="*/ 1 w 7"/>
                <a:gd name="T5" fmla="*/ 13 h 13"/>
                <a:gd name="T6" fmla="*/ 0 w 7"/>
                <a:gd name="T7" fmla="*/ 10 h 13"/>
                <a:gd name="T8" fmla="*/ 0 w 7"/>
                <a:gd name="T9" fmla="*/ 8 h 13"/>
                <a:gd name="T10" fmla="*/ 1 w 7"/>
                <a:gd name="T11" fmla="*/ 5 h 13"/>
                <a:gd name="T12" fmla="*/ 1 w 7"/>
                <a:gd name="T13" fmla="*/ 5 h 13"/>
                <a:gd name="T14" fmla="*/ 6 w 7"/>
                <a:gd name="T15" fmla="*/ 0 h 13"/>
                <a:gd name="T16" fmla="*/ 6 w 7"/>
                <a:gd name="T17" fmla="*/ 0 h 13"/>
                <a:gd name="T18" fmla="*/ 7 w 7"/>
                <a:gd name="T19" fmla="*/ 0 h 13"/>
                <a:gd name="T20" fmla="*/ 7 w 7"/>
                <a:gd name="T21" fmla="*/ 0 h 13"/>
                <a:gd name="T22" fmla="*/ 6 w 7"/>
                <a:gd name="T23" fmla="*/ 8 h 13"/>
                <a:gd name="T24" fmla="*/ 4 w 7"/>
                <a:gd name="T25" fmla="*/ 12 h 13"/>
                <a:gd name="T26" fmla="*/ 3 w 7"/>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3">
                  <a:moveTo>
                    <a:pt x="3" y="13"/>
                  </a:moveTo>
                  <a:lnTo>
                    <a:pt x="3" y="13"/>
                  </a:lnTo>
                  <a:lnTo>
                    <a:pt x="1" y="13"/>
                  </a:lnTo>
                  <a:lnTo>
                    <a:pt x="0" y="10"/>
                  </a:lnTo>
                  <a:lnTo>
                    <a:pt x="0" y="8"/>
                  </a:lnTo>
                  <a:lnTo>
                    <a:pt x="1" y="5"/>
                  </a:lnTo>
                  <a:lnTo>
                    <a:pt x="1" y="5"/>
                  </a:lnTo>
                  <a:lnTo>
                    <a:pt x="6" y="0"/>
                  </a:lnTo>
                  <a:lnTo>
                    <a:pt x="6" y="0"/>
                  </a:lnTo>
                  <a:lnTo>
                    <a:pt x="7" y="0"/>
                  </a:lnTo>
                  <a:lnTo>
                    <a:pt x="7" y="0"/>
                  </a:lnTo>
                  <a:lnTo>
                    <a:pt x="6" y="8"/>
                  </a:lnTo>
                  <a:lnTo>
                    <a:pt x="4" y="12"/>
                  </a:lnTo>
                  <a:lnTo>
                    <a:pt x="3"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40" name="Freeform 95"/>
            <p:cNvSpPr>
              <a:spLocks/>
            </p:cNvSpPr>
            <p:nvPr/>
          </p:nvSpPr>
          <p:spPr bwMode="auto">
            <a:xfrm>
              <a:off x="2989263" y="2241979"/>
              <a:ext cx="11113" cy="20638"/>
            </a:xfrm>
            <a:custGeom>
              <a:avLst/>
              <a:gdLst>
                <a:gd name="T0" fmla="*/ 3 w 7"/>
                <a:gd name="T1" fmla="*/ 13 h 13"/>
                <a:gd name="T2" fmla="*/ 3 w 7"/>
                <a:gd name="T3" fmla="*/ 13 h 13"/>
                <a:gd name="T4" fmla="*/ 1 w 7"/>
                <a:gd name="T5" fmla="*/ 13 h 13"/>
                <a:gd name="T6" fmla="*/ 0 w 7"/>
                <a:gd name="T7" fmla="*/ 10 h 13"/>
                <a:gd name="T8" fmla="*/ 0 w 7"/>
                <a:gd name="T9" fmla="*/ 8 h 13"/>
                <a:gd name="T10" fmla="*/ 1 w 7"/>
                <a:gd name="T11" fmla="*/ 5 h 13"/>
                <a:gd name="T12" fmla="*/ 1 w 7"/>
                <a:gd name="T13" fmla="*/ 5 h 13"/>
                <a:gd name="T14" fmla="*/ 6 w 7"/>
                <a:gd name="T15" fmla="*/ 0 h 13"/>
                <a:gd name="T16" fmla="*/ 6 w 7"/>
                <a:gd name="T17" fmla="*/ 0 h 13"/>
                <a:gd name="T18" fmla="*/ 7 w 7"/>
                <a:gd name="T19" fmla="*/ 0 h 13"/>
                <a:gd name="T20" fmla="*/ 7 w 7"/>
                <a:gd name="T21" fmla="*/ 0 h 13"/>
                <a:gd name="T22" fmla="*/ 6 w 7"/>
                <a:gd name="T23" fmla="*/ 8 h 13"/>
                <a:gd name="T24" fmla="*/ 4 w 7"/>
                <a:gd name="T25" fmla="*/ 12 h 13"/>
                <a:gd name="T26" fmla="*/ 3 w 7"/>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3">
                  <a:moveTo>
                    <a:pt x="3" y="13"/>
                  </a:moveTo>
                  <a:lnTo>
                    <a:pt x="3" y="13"/>
                  </a:lnTo>
                  <a:lnTo>
                    <a:pt x="1" y="13"/>
                  </a:lnTo>
                  <a:lnTo>
                    <a:pt x="0" y="10"/>
                  </a:lnTo>
                  <a:lnTo>
                    <a:pt x="0" y="8"/>
                  </a:lnTo>
                  <a:lnTo>
                    <a:pt x="1" y="5"/>
                  </a:lnTo>
                  <a:lnTo>
                    <a:pt x="1" y="5"/>
                  </a:lnTo>
                  <a:lnTo>
                    <a:pt x="6" y="0"/>
                  </a:lnTo>
                  <a:lnTo>
                    <a:pt x="6" y="0"/>
                  </a:lnTo>
                  <a:lnTo>
                    <a:pt x="7" y="0"/>
                  </a:lnTo>
                  <a:lnTo>
                    <a:pt x="7" y="0"/>
                  </a:lnTo>
                  <a:lnTo>
                    <a:pt x="6" y="8"/>
                  </a:lnTo>
                  <a:lnTo>
                    <a:pt x="4" y="12"/>
                  </a:lnTo>
                  <a:lnTo>
                    <a:pt x="3"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41" name="Freeform 96"/>
            <p:cNvSpPr>
              <a:spLocks/>
            </p:cNvSpPr>
            <p:nvPr/>
          </p:nvSpPr>
          <p:spPr bwMode="auto">
            <a:xfrm>
              <a:off x="2995613" y="2276904"/>
              <a:ext cx="9525" cy="14288"/>
            </a:xfrm>
            <a:custGeom>
              <a:avLst/>
              <a:gdLst>
                <a:gd name="T0" fmla="*/ 5 w 6"/>
                <a:gd name="T1" fmla="*/ 9 h 9"/>
                <a:gd name="T2" fmla="*/ 5 w 6"/>
                <a:gd name="T3" fmla="*/ 9 h 9"/>
                <a:gd name="T4" fmla="*/ 2 w 6"/>
                <a:gd name="T5" fmla="*/ 9 h 9"/>
                <a:gd name="T6" fmla="*/ 0 w 6"/>
                <a:gd name="T7" fmla="*/ 6 h 9"/>
                <a:gd name="T8" fmla="*/ 0 w 6"/>
                <a:gd name="T9" fmla="*/ 3 h 9"/>
                <a:gd name="T10" fmla="*/ 2 w 6"/>
                <a:gd name="T11" fmla="*/ 0 h 9"/>
                <a:gd name="T12" fmla="*/ 2 w 6"/>
                <a:gd name="T13" fmla="*/ 0 h 9"/>
                <a:gd name="T14" fmla="*/ 3 w 6"/>
                <a:gd name="T15" fmla="*/ 1 h 9"/>
                <a:gd name="T16" fmla="*/ 5 w 6"/>
                <a:gd name="T17" fmla="*/ 3 h 9"/>
                <a:gd name="T18" fmla="*/ 6 w 6"/>
                <a:gd name="T19" fmla="*/ 6 h 9"/>
                <a:gd name="T20" fmla="*/ 5 w 6"/>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9">
                  <a:moveTo>
                    <a:pt x="5" y="9"/>
                  </a:moveTo>
                  <a:lnTo>
                    <a:pt x="5" y="9"/>
                  </a:lnTo>
                  <a:lnTo>
                    <a:pt x="2" y="9"/>
                  </a:lnTo>
                  <a:lnTo>
                    <a:pt x="0" y="6"/>
                  </a:lnTo>
                  <a:lnTo>
                    <a:pt x="0" y="3"/>
                  </a:lnTo>
                  <a:lnTo>
                    <a:pt x="2" y="0"/>
                  </a:lnTo>
                  <a:lnTo>
                    <a:pt x="2" y="0"/>
                  </a:lnTo>
                  <a:lnTo>
                    <a:pt x="3" y="1"/>
                  </a:lnTo>
                  <a:lnTo>
                    <a:pt x="5" y="3"/>
                  </a:lnTo>
                  <a:lnTo>
                    <a:pt x="6" y="6"/>
                  </a:lnTo>
                  <a:lnTo>
                    <a:pt x="5"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42" name="Freeform 97"/>
            <p:cNvSpPr>
              <a:spLocks/>
            </p:cNvSpPr>
            <p:nvPr/>
          </p:nvSpPr>
          <p:spPr bwMode="auto">
            <a:xfrm>
              <a:off x="2995613" y="2276904"/>
              <a:ext cx="9525" cy="14288"/>
            </a:xfrm>
            <a:custGeom>
              <a:avLst/>
              <a:gdLst>
                <a:gd name="T0" fmla="*/ 5 w 6"/>
                <a:gd name="T1" fmla="*/ 9 h 9"/>
                <a:gd name="T2" fmla="*/ 5 w 6"/>
                <a:gd name="T3" fmla="*/ 9 h 9"/>
                <a:gd name="T4" fmla="*/ 2 w 6"/>
                <a:gd name="T5" fmla="*/ 9 h 9"/>
                <a:gd name="T6" fmla="*/ 0 w 6"/>
                <a:gd name="T7" fmla="*/ 6 h 9"/>
                <a:gd name="T8" fmla="*/ 0 w 6"/>
                <a:gd name="T9" fmla="*/ 3 h 9"/>
                <a:gd name="T10" fmla="*/ 2 w 6"/>
                <a:gd name="T11" fmla="*/ 0 h 9"/>
                <a:gd name="T12" fmla="*/ 2 w 6"/>
                <a:gd name="T13" fmla="*/ 0 h 9"/>
                <a:gd name="T14" fmla="*/ 3 w 6"/>
                <a:gd name="T15" fmla="*/ 1 h 9"/>
                <a:gd name="T16" fmla="*/ 5 w 6"/>
                <a:gd name="T17" fmla="*/ 3 h 9"/>
                <a:gd name="T18" fmla="*/ 6 w 6"/>
                <a:gd name="T19" fmla="*/ 6 h 9"/>
                <a:gd name="T20" fmla="*/ 5 w 6"/>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9">
                  <a:moveTo>
                    <a:pt x="5" y="9"/>
                  </a:moveTo>
                  <a:lnTo>
                    <a:pt x="5" y="9"/>
                  </a:lnTo>
                  <a:lnTo>
                    <a:pt x="2" y="9"/>
                  </a:lnTo>
                  <a:lnTo>
                    <a:pt x="0" y="6"/>
                  </a:lnTo>
                  <a:lnTo>
                    <a:pt x="0" y="3"/>
                  </a:lnTo>
                  <a:lnTo>
                    <a:pt x="2" y="0"/>
                  </a:lnTo>
                  <a:lnTo>
                    <a:pt x="2" y="0"/>
                  </a:lnTo>
                  <a:lnTo>
                    <a:pt x="3" y="1"/>
                  </a:lnTo>
                  <a:lnTo>
                    <a:pt x="5" y="3"/>
                  </a:lnTo>
                  <a:lnTo>
                    <a:pt x="6" y="6"/>
                  </a:lnTo>
                  <a:lnTo>
                    <a:pt x="5"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43" name="Freeform 98"/>
            <p:cNvSpPr>
              <a:spLocks/>
            </p:cNvSpPr>
            <p:nvPr/>
          </p:nvSpPr>
          <p:spPr bwMode="auto">
            <a:xfrm>
              <a:off x="2949575" y="2337229"/>
              <a:ext cx="28575" cy="20638"/>
            </a:xfrm>
            <a:custGeom>
              <a:avLst/>
              <a:gdLst>
                <a:gd name="T0" fmla="*/ 18 w 18"/>
                <a:gd name="T1" fmla="*/ 10 h 13"/>
                <a:gd name="T2" fmla="*/ 18 w 18"/>
                <a:gd name="T3" fmla="*/ 10 h 13"/>
                <a:gd name="T4" fmla="*/ 12 w 18"/>
                <a:gd name="T5" fmla="*/ 11 h 13"/>
                <a:gd name="T6" fmla="*/ 6 w 18"/>
                <a:gd name="T7" fmla="*/ 13 h 13"/>
                <a:gd name="T8" fmla="*/ 2 w 18"/>
                <a:gd name="T9" fmla="*/ 11 h 13"/>
                <a:gd name="T10" fmla="*/ 0 w 18"/>
                <a:gd name="T11" fmla="*/ 10 h 13"/>
                <a:gd name="T12" fmla="*/ 0 w 18"/>
                <a:gd name="T13" fmla="*/ 8 h 13"/>
                <a:gd name="T14" fmla="*/ 0 w 18"/>
                <a:gd name="T15" fmla="*/ 8 h 13"/>
                <a:gd name="T16" fmla="*/ 5 w 18"/>
                <a:gd name="T17" fmla="*/ 4 h 13"/>
                <a:gd name="T18" fmla="*/ 7 w 18"/>
                <a:gd name="T19" fmla="*/ 1 h 13"/>
                <a:gd name="T20" fmla="*/ 12 w 18"/>
                <a:gd name="T21" fmla="*/ 0 h 13"/>
                <a:gd name="T22" fmla="*/ 15 w 18"/>
                <a:gd name="T23" fmla="*/ 0 h 13"/>
                <a:gd name="T24" fmla="*/ 15 w 18"/>
                <a:gd name="T25" fmla="*/ 0 h 13"/>
                <a:gd name="T26" fmla="*/ 18 w 18"/>
                <a:gd name="T27" fmla="*/ 6 h 13"/>
                <a:gd name="T28" fmla="*/ 18 w 18"/>
                <a:gd name="T29" fmla="*/ 8 h 13"/>
                <a:gd name="T30" fmla="*/ 18 w 18"/>
                <a:gd name="T31"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3">
                  <a:moveTo>
                    <a:pt x="18" y="10"/>
                  </a:moveTo>
                  <a:lnTo>
                    <a:pt x="18" y="10"/>
                  </a:lnTo>
                  <a:lnTo>
                    <a:pt x="12" y="11"/>
                  </a:lnTo>
                  <a:lnTo>
                    <a:pt x="6" y="13"/>
                  </a:lnTo>
                  <a:lnTo>
                    <a:pt x="2" y="11"/>
                  </a:lnTo>
                  <a:lnTo>
                    <a:pt x="0" y="10"/>
                  </a:lnTo>
                  <a:lnTo>
                    <a:pt x="0" y="8"/>
                  </a:lnTo>
                  <a:lnTo>
                    <a:pt x="0" y="8"/>
                  </a:lnTo>
                  <a:lnTo>
                    <a:pt x="5" y="4"/>
                  </a:lnTo>
                  <a:lnTo>
                    <a:pt x="7" y="1"/>
                  </a:lnTo>
                  <a:lnTo>
                    <a:pt x="12" y="0"/>
                  </a:lnTo>
                  <a:lnTo>
                    <a:pt x="15" y="0"/>
                  </a:lnTo>
                  <a:lnTo>
                    <a:pt x="15" y="0"/>
                  </a:lnTo>
                  <a:lnTo>
                    <a:pt x="18" y="6"/>
                  </a:lnTo>
                  <a:lnTo>
                    <a:pt x="18" y="8"/>
                  </a:lnTo>
                  <a:lnTo>
                    <a:pt x="18"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44" name="Freeform 99"/>
            <p:cNvSpPr>
              <a:spLocks/>
            </p:cNvSpPr>
            <p:nvPr/>
          </p:nvSpPr>
          <p:spPr bwMode="auto">
            <a:xfrm>
              <a:off x="2949575" y="2337229"/>
              <a:ext cx="28575" cy="20638"/>
            </a:xfrm>
            <a:custGeom>
              <a:avLst/>
              <a:gdLst>
                <a:gd name="T0" fmla="*/ 18 w 18"/>
                <a:gd name="T1" fmla="*/ 10 h 13"/>
                <a:gd name="T2" fmla="*/ 18 w 18"/>
                <a:gd name="T3" fmla="*/ 10 h 13"/>
                <a:gd name="T4" fmla="*/ 12 w 18"/>
                <a:gd name="T5" fmla="*/ 11 h 13"/>
                <a:gd name="T6" fmla="*/ 6 w 18"/>
                <a:gd name="T7" fmla="*/ 13 h 13"/>
                <a:gd name="T8" fmla="*/ 2 w 18"/>
                <a:gd name="T9" fmla="*/ 11 h 13"/>
                <a:gd name="T10" fmla="*/ 0 w 18"/>
                <a:gd name="T11" fmla="*/ 10 h 13"/>
                <a:gd name="T12" fmla="*/ 0 w 18"/>
                <a:gd name="T13" fmla="*/ 8 h 13"/>
                <a:gd name="T14" fmla="*/ 0 w 18"/>
                <a:gd name="T15" fmla="*/ 8 h 13"/>
                <a:gd name="T16" fmla="*/ 5 w 18"/>
                <a:gd name="T17" fmla="*/ 4 h 13"/>
                <a:gd name="T18" fmla="*/ 7 w 18"/>
                <a:gd name="T19" fmla="*/ 1 h 13"/>
                <a:gd name="T20" fmla="*/ 12 w 18"/>
                <a:gd name="T21" fmla="*/ 0 h 13"/>
                <a:gd name="T22" fmla="*/ 15 w 18"/>
                <a:gd name="T23" fmla="*/ 0 h 13"/>
                <a:gd name="T24" fmla="*/ 15 w 18"/>
                <a:gd name="T25" fmla="*/ 0 h 13"/>
                <a:gd name="T26" fmla="*/ 18 w 18"/>
                <a:gd name="T27" fmla="*/ 6 h 13"/>
                <a:gd name="T28" fmla="*/ 18 w 18"/>
                <a:gd name="T29" fmla="*/ 8 h 13"/>
                <a:gd name="T30" fmla="*/ 18 w 18"/>
                <a:gd name="T31"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3">
                  <a:moveTo>
                    <a:pt x="18" y="10"/>
                  </a:moveTo>
                  <a:lnTo>
                    <a:pt x="18" y="10"/>
                  </a:lnTo>
                  <a:lnTo>
                    <a:pt x="12" y="11"/>
                  </a:lnTo>
                  <a:lnTo>
                    <a:pt x="6" y="13"/>
                  </a:lnTo>
                  <a:lnTo>
                    <a:pt x="2" y="11"/>
                  </a:lnTo>
                  <a:lnTo>
                    <a:pt x="0" y="10"/>
                  </a:lnTo>
                  <a:lnTo>
                    <a:pt x="0" y="8"/>
                  </a:lnTo>
                  <a:lnTo>
                    <a:pt x="0" y="8"/>
                  </a:lnTo>
                  <a:lnTo>
                    <a:pt x="5" y="4"/>
                  </a:lnTo>
                  <a:lnTo>
                    <a:pt x="7" y="1"/>
                  </a:lnTo>
                  <a:lnTo>
                    <a:pt x="12" y="0"/>
                  </a:lnTo>
                  <a:lnTo>
                    <a:pt x="15" y="0"/>
                  </a:lnTo>
                  <a:lnTo>
                    <a:pt x="15" y="0"/>
                  </a:lnTo>
                  <a:lnTo>
                    <a:pt x="18" y="6"/>
                  </a:lnTo>
                  <a:lnTo>
                    <a:pt x="18" y="8"/>
                  </a:lnTo>
                  <a:lnTo>
                    <a:pt x="18"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45" name="Freeform 100"/>
            <p:cNvSpPr>
              <a:spLocks/>
            </p:cNvSpPr>
            <p:nvPr/>
          </p:nvSpPr>
          <p:spPr bwMode="auto">
            <a:xfrm>
              <a:off x="2927350" y="2368979"/>
              <a:ext cx="38100" cy="22225"/>
            </a:xfrm>
            <a:custGeom>
              <a:avLst/>
              <a:gdLst>
                <a:gd name="T0" fmla="*/ 20 w 24"/>
                <a:gd name="T1" fmla="*/ 0 h 14"/>
                <a:gd name="T2" fmla="*/ 20 w 24"/>
                <a:gd name="T3" fmla="*/ 0 h 14"/>
                <a:gd name="T4" fmla="*/ 13 w 24"/>
                <a:gd name="T5" fmla="*/ 3 h 14"/>
                <a:gd name="T6" fmla="*/ 6 w 24"/>
                <a:gd name="T7" fmla="*/ 9 h 14"/>
                <a:gd name="T8" fmla="*/ 0 w 24"/>
                <a:gd name="T9" fmla="*/ 13 h 14"/>
                <a:gd name="T10" fmla="*/ 0 w 24"/>
                <a:gd name="T11" fmla="*/ 14 h 14"/>
                <a:gd name="T12" fmla="*/ 1 w 24"/>
                <a:gd name="T13" fmla="*/ 14 h 14"/>
                <a:gd name="T14" fmla="*/ 1 w 24"/>
                <a:gd name="T15" fmla="*/ 14 h 14"/>
                <a:gd name="T16" fmla="*/ 10 w 24"/>
                <a:gd name="T17" fmla="*/ 12 h 14"/>
                <a:gd name="T18" fmla="*/ 19 w 24"/>
                <a:gd name="T19" fmla="*/ 9 h 14"/>
                <a:gd name="T20" fmla="*/ 19 w 24"/>
                <a:gd name="T21" fmla="*/ 9 h 14"/>
                <a:gd name="T22" fmla="*/ 21 w 24"/>
                <a:gd name="T23" fmla="*/ 6 h 14"/>
                <a:gd name="T24" fmla="*/ 24 w 24"/>
                <a:gd name="T25" fmla="*/ 3 h 14"/>
                <a:gd name="T26" fmla="*/ 24 w 24"/>
                <a:gd name="T27" fmla="*/ 1 h 14"/>
                <a:gd name="T28" fmla="*/ 23 w 24"/>
                <a:gd name="T29" fmla="*/ 0 h 14"/>
                <a:gd name="T30" fmla="*/ 20 w 24"/>
                <a:gd name="T3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14">
                  <a:moveTo>
                    <a:pt x="20" y="0"/>
                  </a:moveTo>
                  <a:lnTo>
                    <a:pt x="20" y="0"/>
                  </a:lnTo>
                  <a:lnTo>
                    <a:pt x="13" y="3"/>
                  </a:lnTo>
                  <a:lnTo>
                    <a:pt x="6" y="9"/>
                  </a:lnTo>
                  <a:lnTo>
                    <a:pt x="0" y="13"/>
                  </a:lnTo>
                  <a:lnTo>
                    <a:pt x="0" y="14"/>
                  </a:lnTo>
                  <a:lnTo>
                    <a:pt x="1" y="14"/>
                  </a:lnTo>
                  <a:lnTo>
                    <a:pt x="1" y="14"/>
                  </a:lnTo>
                  <a:lnTo>
                    <a:pt x="10" y="12"/>
                  </a:lnTo>
                  <a:lnTo>
                    <a:pt x="19" y="9"/>
                  </a:lnTo>
                  <a:lnTo>
                    <a:pt x="19" y="9"/>
                  </a:lnTo>
                  <a:lnTo>
                    <a:pt x="21" y="6"/>
                  </a:lnTo>
                  <a:lnTo>
                    <a:pt x="24" y="3"/>
                  </a:lnTo>
                  <a:lnTo>
                    <a:pt x="24" y="1"/>
                  </a:lnTo>
                  <a:lnTo>
                    <a:pt x="23" y="0"/>
                  </a:lnTo>
                  <a:lnTo>
                    <a:pt x="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46" name="Freeform 101"/>
            <p:cNvSpPr>
              <a:spLocks/>
            </p:cNvSpPr>
            <p:nvPr/>
          </p:nvSpPr>
          <p:spPr bwMode="auto">
            <a:xfrm>
              <a:off x="2927350" y="2368979"/>
              <a:ext cx="38100" cy="22225"/>
            </a:xfrm>
            <a:custGeom>
              <a:avLst/>
              <a:gdLst>
                <a:gd name="T0" fmla="*/ 20 w 24"/>
                <a:gd name="T1" fmla="*/ 0 h 14"/>
                <a:gd name="T2" fmla="*/ 20 w 24"/>
                <a:gd name="T3" fmla="*/ 0 h 14"/>
                <a:gd name="T4" fmla="*/ 13 w 24"/>
                <a:gd name="T5" fmla="*/ 3 h 14"/>
                <a:gd name="T6" fmla="*/ 6 w 24"/>
                <a:gd name="T7" fmla="*/ 9 h 14"/>
                <a:gd name="T8" fmla="*/ 0 w 24"/>
                <a:gd name="T9" fmla="*/ 13 h 14"/>
                <a:gd name="T10" fmla="*/ 0 w 24"/>
                <a:gd name="T11" fmla="*/ 14 h 14"/>
                <a:gd name="T12" fmla="*/ 1 w 24"/>
                <a:gd name="T13" fmla="*/ 14 h 14"/>
                <a:gd name="T14" fmla="*/ 1 w 24"/>
                <a:gd name="T15" fmla="*/ 14 h 14"/>
                <a:gd name="T16" fmla="*/ 10 w 24"/>
                <a:gd name="T17" fmla="*/ 12 h 14"/>
                <a:gd name="T18" fmla="*/ 19 w 24"/>
                <a:gd name="T19" fmla="*/ 9 h 14"/>
                <a:gd name="T20" fmla="*/ 19 w 24"/>
                <a:gd name="T21" fmla="*/ 9 h 14"/>
                <a:gd name="T22" fmla="*/ 21 w 24"/>
                <a:gd name="T23" fmla="*/ 6 h 14"/>
                <a:gd name="T24" fmla="*/ 24 w 24"/>
                <a:gd name="T25" fmla="*/ 3 h 14"/>
                <a:gd name="T26" fmla="*/ 24 w 24"/>
                <a:gd name="T27" fmla="*/ 1 h 14"/>
                <a:gd name="T28" fmla="*/ 23 w 24"/>
                <a:gd name="T29" fmla="*/ 0 h 14"/>
                <a:gd name="T30" fmla="*/ 20 w 24"/>
                <a:gd name="T3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14">
                  <a:moveTo>
                    <a:pt x="20" y="0"/>
                  </a:moveTo>
                  <a:lnTo>
                    <a:pt x="20" y="0"/>
                  </a:lnTo>
                  <a:lnTo>
                    <a:pt x="13" y="3"/>
                  </a:lnTo>
                  <a:lnTo>
                    <a:pt x="6" y="9"/>
                  </a:lnTo>
                  <a:lnTo>
                    <a:pt x="0" y="13"/>
                  </a:lnTo>
                  <a:lnTo>
                    <a:pt x="0" y="14"/>
                  </a:lnTo>
                  <a:lnTo>
                    <a:pt x="1" y="14"/>
                  </a:lnTo>
                  <a:lnTo>
                    <a:pt x="1" y="14"/>
                  </a:lnTo>
                  <a:lnTo>
                    <a:pt x="10" y="12"/>
                  </a:lnTo>
                  <a:lnTo>
                    <a:pt x="19" y="9"/>
                  </a:lnTo>
                  <a:lnTo>
                    <a:pt x="19" y="9"/>
                  </a:lnTo>
                  <a:lnTo>
                    <a:pt x="21" y="6"/>
                  </a:lnTo>
                  <a:lnTo>
                    <a:pt x="24" y="3"/>
                  </a:lnTo>
                  <a:lnTo>
                    <a:pt x="24" y="1"/>
                  </a:lnTo>
                  <a:lnTo>
                    <a:pt x="23" y="0"/>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47" name="Freeform 102"/>
            <p:cNvSpPr>
              <a:spLocks/>
            </p:cNvSpPr>
            <p:nvPr/>
          </p:nvSpPr>
          <p:spPr bwMode="auto">
            <a:xfrm>
              <a:off x="2947988" y="2134029"/>
              <a:ext cx="12700" cy="11113"/>
            </a:xfrm>
            <a:custGeom>
              <a:avLst/>
              <a:gdLst>
                <a:gd name="T0" fmla="*/ 8 w 8"/>
                <a:gd name="T1" fmla="*/ 5 h 7"/>
                <a:gd name="T2" fmla="*/ 8 w 8"/>
                <a:gd name="T3" fmla="*/ 5 h 7"/>
                <a:gd name="T4" fmla="*/ 4 w 8"/>
                <a:gd name="T5" fmla="*/ 7 h 7"/>
                <a:gd name="T6" fmla="*/ 3 w 8"/>
                <a:gd name="T7" fmla="*/ 7 h 7"/>
                <a:gd name="T8" fmla="*/ 1 w 8"/>
                <a:gd name="T9" fmla="*/ 6 h 7"/>
                <a:gd name="T10" fmla="*/ 1 w 8"/>
                <a:gd name="T11" fmla="*/ 6 h 7"/>
                <a:gd name="T12" fmla="*/ 0 w 8"/>
                <a:gd name="T13" fmla="*/ 2 h 7"/>
                <a:gd name="T14" fmla="*/ 0 w 8"/>
                <a:gd name="T15" fmla="*/ 0 h 7"/>
                <a:gd name="T16" fmla="*/ 1 w 8"/>
                <a:gd name="T17" fmla="*/ 0 h 7"/>
                <a:gd name="T18" fmla="*/ 1 w 8"/>
                <a:gd name="T19" fmla="*/ 0 h 7"/>
                <a:gd name="T20" fmla="*/ 7 w 8"/>
                <a:gd name="T21" fmla="*/ 2 h 7"/>
                <a:gd name="T22" fmla="*/ 8 w 8"/>
                <a:gd name="T23" fmla="*/ 3 h 7"/>
                <a:gd name="T24" fmla="*/ 8 w 8"/>
                <a:gd name="T25"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7">
                  <a:moveTo>
                    <a:pt x="8" y="5"/>
                  </a:moveTo>
                  <a:lnTo>
                    <a:pt x="8" y="5"/>
                  </a:lnTo>
                  <a:lnTo>
                    <a:pt x="4" y="7"/>
                  </a:lnTo>
                  <a:lnTo>
                    <a:pt x="3" y="7"/>
                  </a:lnTo>
                  <a:lnTo>
                    <a:pt x="1" y="6"/>
                  </a:lnTo>
                  <a:lnTo>
                    <a:pt x="1" y="6"/>
                  </a:lnTo>
                  <a:lnTo>
                    <a:pt x="0" y="2"/>
                  </a:lnTo>
                  <a:lnTo>
                    <a:pt x="0" y="0"/>
                  </a:lnTo>
                  <a:lnTo>
                    <a:pt x="1" y="0"/>
                  </a:lnTo>
                  <a:lnTo>
                    <a:pt x="1" y="0"/>
                  </a:lnTo>
                  <a:lnTo>
                    <a:pt x="7" y="2"/>
                  </a:lnTo>
                  <a:lnTo>
                    <a:pt x="8" y="3"/>
                  </a:lnTo>
                  <a:lnTo>
                    <a:pt x="8"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48" name="Freeform 103"/>
            <p:cNvSpPr>
              <a:spLocks/>
            </p:cNvSpPr>
            <p:nvPr/>
          </p:nvSpPr>
          <p:spPr bwMode="auto">
            <a:xfrm>
              <a:off x="2947988" y="2134029"/>
              <a:ext cx="12700" cy="11113"/>
            </a:xfrm>
            <a:custGeom>
              <a:avLst/>
              <a:gdLst>
                <a:gd name="T0" fmla="*/ 8 w 8"/>
                <a:gd name="T1" fmla="*/ 5 h 7"/>
                <a:gd name="T2" fmla="*/ 8 w 8"/>
                <a:gd name="T3" fmla="*/ 5 h 7"/>
                <a:gd name="T4" fmla="*/ 4 w 8"/>
                <a:gd name="T5" fmla="*/ 7 h 7"/>
                <a:gd name="T6" fmla="*/ 3 w 8"/>
                <a:gd name="T7" fmla="*/ 7 h 7"/>
                <a:gd name="T8" fmla="*/ 1 w 8"/>
                <a:gd name="T9" fmla="*/ 6 h 7"/>
                <a:gd name="T10" fmla="*/ 1 w 8"/>
                <a:gd name="T11" fmla="*/ 6 h 7"/>
                <a:gd name="T12" fmla="*/ 0 w 8"/>
                <a:gd name="T13" fmla="*/ 2 h 7"/>
                <a:gd name="T14" fmla="*/ 0 w 8"/>
                <a:gd name="T15" fmla="*/ 0 h 7"/>
                <a:gd name="T16" fmla="*/ 1 w 8"/>
                <a:gd name="T17" fmla="*/ 0 h 7"/>
                <a:gd name="T18" fmla="*/ 1 w 8"/>
                <a:gd name="T19" fmla="*/ 0 h 7"/>
                <a:gd name="T20" fmla="*/ 7 w 8"/>
                <a:gd name="T21" fmla="*/ 2 h 7"/>
                <a:gd name="T22" fmla="*/ 8 w 8"/>
                <a:gd name="T23" fmla="*/ 3 h 7"/>
                <a:gd name="T24" fmla="*/ 8 w 8"/>
                <a:gd name="T25"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7">
                  <a:moveTo>
                    <a:pt x="8" y="5"/>
                  </a:moveTo>
                  <a:lnTo>
                    <a:pt x="8" y="5"/>
                  </a:lnTo>
                  <a:lnTo>
                    <a:pt x="4" y="7"/>
                  </a:lnTo>
                  <a:lnTo>
                    <a:pt x="3" y="7"/>
                  </a:lnTo>
                  <a:lnTo>
                    <a:pt x="1" y="6"/>
                  </a:lnTo>
                  <a:lnTo>
                    <a:pt x="1" y="6"/>
                  </a:lnTo>
                  <a:lnTo>
                    <a:pt x="0" y="2"/>
                  </a:lnTo>
                  <a:lnTo>
                    <a:pt x="0" y="0"/>
                  </a:lnTo>
                  <a:lnTo>
                    <a:pt x="1" y="0"/>
                  </a:lnTo>
                  <a:lnTo>
                    <a:pt x="1" y="0"/>
                  </a:lnTo>
                  <a:lnTo>
                    <a:pt x="7" y="2"/>
                  </a:lnTo>
                  <a:lnTo>
                    <a:pt x="8" y="3"/>
                  </a:lnTo>
                  <a:lnTo>
                    <a:pt x="8"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49" name="Freeform 104"/>
            <p:cNvSpPr>
              <a:spLocks/>
            </p:cNvSpPr>
            <p:nvPr/>
          </p:nvSpPr>
          <p:spPr bwMode="auto">
            <a:xfrm>
              <a:off x="2973388" y="2370566"/>
              <a:ext cx="26988" cy="17463"/>
            </a:xfrm>
            <a:custGeom>
              <a:avLst/>
              <a:gdLst>
                <a:gd name="T0" fmla="*/ 16 w 17"/>
                <a:gd name="T1" fmla="*/ 11 h 11"/>
                <a:gd name="T2" fmla="*/ 16 w 17"/>
                <a:gd name="T3" fmla="*/ 11 h 11"/>
                <a:gd name="T4" fmla="*/ 7 w 17"/>
                <a:gd name="T5" fmla="*/ 11 h 11"/>
                <a:gd name="T6" fmla="*/ 7 w 17"/>
                <a:gd name="T7" fmla="*/ 11 h 11"/>
                <a:gd name="T8" fmla="*/ 1 w 17"/>
                <a:gd name="T9" fmla="*/ 11 h 11"/>
                <a:gd name="T10" fmla="*/ 0 w 17"/>
                <a:gd name="T11" fmla="*/ 11 h 11"/>
                <a:gd name="T12" fmla="*/ 0 w 17"/>
                <a:gd name="T13" fmla="*/ 9 h 11"/>
                <a:gd name="T14" fmla="*/ 0 w 17"/>
                <a:gd name="T15" fmla="*/ 9 h 11"/>
                <a:gd name="T16" fmla="*/ 4 w 17"/>
                <a:gd name="T17" fmla="*/ 3 h 11"/>
                <a:gd name="T18" fmla="*/ 7 w 17"/>
                <a:gd name="T19" fmla="*/ 0 h 11"/>
                <a:gd name="T20" fmla="*/ 10 w 17"/>
                <a:gd name="T21" fmla="*/ 0 h 11"/>
                <a:gd name="T22" fmla="*/ 10 w 17"/>
                <a:gd name="T23" fmla="*/ 0 h 11"/>
                <a:gd name="T24" fmla="*/ 16 w 17"/>
                <a:gd name="T25" fmla="*/ 6 h 11"/>
                <a:gd name="T26" fmla="*/ 17 w 17"/>
                <a:gd name="T27" fmla="*/ 9 h 11"/>
                <a:gd name="T28" fmla="*/ 17 w 17"/>
                <a:gd name="T29" fmla="*/ 11 h 11"/>
                <a:gd name="T30" fmla="*/ 16 w 17"/>
                <a:gd name="T3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11">
                  <a:moveTo>
                    <a:pt x="16" y="11"/>
                  </a:moveTo>
                  <a:lnTo>
                    <a:pt x="16" y="11"/>
                  </a:lnTo>
                  <a:lnTo>
                    <a:pt x="7" y="11"/>
                  </a:lnTo>
                  <a:lnTo>
                    <a:pt x="7" y="11"/>
                  </a:lnTo>
                  <a:lnTo>
                    <a:pt x="1" y="11"/>
                  </a:lnTo>
                  <a:lnTo>
                    <a:pt x="0" y="11"/>
                  </a:lnTo>
                  <a:lnTo>
                    <a:pt x="0" y="9"/>
                  </a:lnTo>
                  <a:lnTo>
                    <a:pt x="0" y="9"/>
                  </a:lnTo>
                  <a:lnTo>
                    <a:pt x="4" y="3"/>
                  </a:lnTo>
                  <a:lnTo>
                    <a:pt x="7" y="0"/>
                  </a:lnTo>
                  <a:lnTo>
                    <a:pt x="10" y="0"/>
                  </a:lnTo>
                  <a:lnTo>
                    <a:pt x="10" y="0"/>
                  </a:lnTo>
                  <a:lnTo>
                    <a:pt x="16" y="6"/>
                  </a:lnTo>
                  <a:lnTo>
                    <a:pt x="17" y="9"/>
                  </a:lnTo>
                  <a:lnTo>
                    <a:pt x="17" y="11"/>
                  </a:lnTo>
                  <a:lnTo>
                    <a:pt x="16"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50" name="Freeform 105"/>
            <p:cNvSpPr>
              <a:spLocks/>
            </p:cNvSpPr>
            <p:nvPr/>
          </p:nvSpPr>
          <p:spPr bwMode="auto">
            <a:xfrm>
              <a:off x="2973388" y="2370566"/>
              <a:ext cx="26988" cy="17463"/>
            </a:xfrm>
            <a:custGeom>
              <a:avLst/>
              <a:gdLst>
                <a:gd name="T0" fmla="*/ 16 w 17"/>
                <a:gd name="T1" fmla="*/ 11 h 11"/>
                <a:gd name="T2" fmla="*/ 16 w 17"/>
                <a:gd name="T3" fmla="*/ 11 h 11"/>
                <a:gd name="T4" fmla="*/ 7 w 17"/>
                <a:gd name="T5" fmla="*/ 11 h 11"/>
                <a:gd name="T6" fmla="*/ 7 w 17"/>
                <a:gd name="T7" fmla="*/ 11 h 11"/>
                <a:gd name="T8" fmla="*/ 1 w 17"/>
                <a:gd name="T9" fmla="*/ 11 h 11"/>
                <a:gd name="T10" fmla="*/ 0 w 17"/>
                <a:gd name="T11" fmla="*/ 11 h 11"/>
                <a:gd name="T12" fmla="*/ 0 w 17"/>
                <a:gd name="T13" fmla="*/ 9 h 11"/>
                <a:gd name="T14" fmla="*/ 0 w 17"/>
                <a:gd name="T15" fmla="*/ 9 h 11"/>
                <a:gd name="T16" fmla="*/ 4 w 17"/>
                <a:gd name="T17" fmla="*/ 3 h 11"/>
                <a:gd name="T18" fmla="*/ 7 w 17"/>
                <a:gd name="T19" fmla="*/ 0 h 11"/>
                <a:gd name="T20" fmla="*/ 10 w 17"/>
                <a:gd name="T21" fmla="*/ 0 h 11"/>
                <a:gd name="T22" fmla="*/ 10 w 17"/>
                <a:gd name="T23" fmla="*/ 0 h 11"/>
                <a:gd name="T24" fmla="*/ 16 w 17"/>
                <a:gd name="T25" fmla="*/ 6 h 11"/>
                <a:gd name="T26" fmla="*/ 17 w 17"/>
                <a:gd name="T27" fmla="*/ 9 h 11"/>
                <a:gd name="T28" fmla="*/ 17 w 17"/>
                <a:gd name="T29" fmla="*/ 11 h 11"/>
                <a:gd name="T30" fmla="*/ 16 w 17"/>
                <a:gd name="T3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11">
                  <a:moveTo>
                    <a:pt x="16" y="11"/>
                  </a:moveTo>
                  <a:lnTo>
                    <a:pt x="16" y="11"/>
                  </a:lnTo>
                  <a:lnTo>
                    <a:pt x="7" y="11"/>
                  </a:lnTo>
                  <a:lnTo>
                    <a:pt x="7" y="11"/>
                  </a:lnTo>
                  <a:lnTo>
                    <a:pt x="1" y="11"/>
                  </a:lnTo>
                  <a:lnTo>
                    <a:pt x="0" y="11"/>
                  </a:lnTo>
                  <a:lnTo>
                    <a:pt x="0" y="9"/>
                  </a:lnTo>
                  <a:lnTo>
                    <a:pt x="0" y="9"/>
                  </a:lnTo>
                  <a:lnTo>
                    <a:pt x="4" y="3"/>
                  </a:lnTo>
                  <a:lnTo>
                    <a:pt x="7" y="0"/>
                  </a:lnTo>
                  <a:lnTo>
                    <a:pt x="10" y="0"/>
                  </a:lnTo>
                  <a:lnTo>
                    <a:pt x="10" y="0"/>
                  </a:lnTo>
                  <a:lnTo>
                    <a:pt x="16" y="6"/>
                  </a:lnTo>
                  <a:lnTo>
                    <a:pt x="17" y="9"/>
                  </a:lnTo>
                  <a:lnTo>
                    <a:pt x="17" y="11"/>
                  </a:lnTo>
                  <a:lnTo>
                    <a:pt x="16"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51" name="Freeform 106"/>
            <p:cNvSpPr>
              <a:spLocks/>
            </p:cNvSpPr>
            <p:nvPr/>
          </p:nvSpPr>
          <p:spPr bwMode="auto">
            <a:xfrm>
              <a:off x="4000500" y="4123166"/>
              <a:ext cx="425450" cy="387350"/>
            </a:xfrm>
            <a:custGeom>
              <a:avLst/>
              <a:gdLst>
                <a:gd name="T0" fmla="*/ 87 w 268"/>
                <a:gd name="T1" fmla="*/ 244 h 244"/>
                <a:gd name="T2" fmla="*/ 77 w 268"/>
                <a:gd name="T3" fmla="*/ 236 h 244"/>
                <a:gd name="T4" fmla="*/ 61 w 268"/>
                <a:gd name="T5" fmla="*/ 219 h 244"/>
                <a:gd name="T6" fmla="*/ 45 w 268"/>
                <a:gd name="T7" fmla="*/ 217 h 244"/>
                <a:gd name="T8" fmla="*/ 45 w 268"/>
                <a:gd name="T9" fmla="*/ 217 h 244"/>
                <a:gd name="T10" fmla="*/ 36 w 268"/>
                <a:gd name="T11" fmla="*/ 213 h 244"/>
                <a:gd name="T12" fmla="*/ 31 w 268"/>
                <a:gd name="T13" fmla="*/ 210 h 244"/>
                <a:gd name="T14" fmla="*/ 26 w 268"/>
                <a:gd name="T15" fmla="*/ 222 h 244"/>
                <a:gd name="T16" fmla="*/ 23 w 268"/>
                <a:gd name="T17" fmla="*/ 223 h 244"/>
                <a:gd name="T18" fmla="*/ 20 w 268"/>
                <a:gd name="T19" fmla="*/ 222 h 244"/>
                <a:gd name="T20" fmla="*/ 20 w 268"/>
                <a:gd name="T21" fmla="*/ 222 h 244"/>
                <a:gd name="T22" fmla="*/ 17 w 268"/>
                <a:gd name="T23" fmla="*/ 217 h 244"/>
                <a:gd name="T24" fmla="*/ 15 w 268"/>
                <a:gd name="T25" fmla="*/ 200 h 244"/>
                <a:gd name="T26" fmla="*/ 9 w 268"/>
                <a:gd name="T27" fmla="*/ 191 h 244"/>
                <a:gd name="T28" fmla="*/ 0 w 268"/>
                <a:gd name="T29" fmla="*/ 164 h 244"/>
                <a:gd name="T30" fmla="*/ 9 w 268"/>
                <a:gd name="T31" fmla="*/ 151 h 244"/>
                <a:gd name="T32" fmla="*/ 9 w 268"/>
                <a:gd name="T33" fmla="*/ 151 h 244"/>
                <a:gd name="T34" fmla="*/ 10 w 268"/>
                <a:gd name="T35" fmla="*/ 149 h 244"/>
                <a:gd name="T36" fmla="*/ 16 w 268"/>
                <a:gd name="T37" fmla="*/ 155 h 244"/>
                <a:gd name="T38" fmla="*/ 19 w 268"/>
                <a:gd name="T39" fmla="*/ 158 h 244"/>
                <a:gd name="T40" fmla="*/ 19 w 268"/>
                <a:gd name="T41" fmla="*/ 158 h 244"/>
                <a:gd name="T42" fmla="*/ 19 w 268"/>
                <a:gd name="T43" fmla="*/ 158 h 244"/>
                <a:gd name="T44" fmla="*/ 19 w 268"/>
                <a:gd name="T45" fmla="*/ 159 h 244"/>
                <a:gd name="T46" fmla="*/ 20 w 268"/>
                <a:gd name="T47" fmla="*/ 159 h 244"/>
                <a:gd name="T48" fmla="*/ 25 w 268"/>
                <a:gd name="T49" fmla="*/ 152 h 244"/>
                <a:gd name="T50" fmla="*/ 25 w 268"/>
                <a:gd name="T51" fmla="*/ 151 h 244"/>
                <a:gd name="T52" fmla="*/ 32 w 268"/>
                <a:gd name="T53" fmla="*/ 149 h 244"/>
                <a:gd name="T54" fmla="*/ 41 w 268"/>
                <a:gd name="T55" fmla="*/ 149 h 244"/>
                <a:gd name="T56" fmla="*/ 46 w 268"/>
                <a:gd name="T57" fmla="*/ 152 h 244"/>
                <a:gd name="T58" fmla="*/ 51 w 268"/>
                <a:gd name="T59" fmla="*/ 154 h 244"/>
                <a:gd name="T60" fmla="*/ 51 w 268"/>
                <a:gd name="T61" fmla="*/ 154 h 244"/>
                <a:gd name="T62" fmla="*/ 52 w 268"/>
                <a:gd name="T63" fmla="*/ 154 h 244"/>
                <a:gd name="T64" fmla="*/ 54 w 268"/>
                <a:gd name="T65" fmla="*/ 154 h 244"/>
                <a:gd name="T66" fmla="*/ 103 w 268"/>
                <a:gd name="T67" fmla="*/ 152 h 244"/>
                <a:gd name="T68" fmla="*/ 142 w 268"/>
                <a:gd name="T69" fmla="*/ 0 h 244"/>
                <a:gd name="T70" fmla="*/ 255 w 268"/>
                <a:gd name="T71" fmla="*/ 87 h 244"/>
                <a:gd name="T72" fmla="*/ 252 w 268"/>
                <a:gd name="T73" fmla="*/ 93 h 244"/>
                <a:gd name="T74" fmla="*/ 248 w 268"/>
                <a:gd name="T75" fmla="*/ 99 h 244"/>
                <a:gd name="T76" fmla="*/ 268 w 268"/>
                <a:gd name="T77" fmla="*/ 97 h 244"/>
                <a:gd name="T78" fmla="*/ 262 w 268"/>
                <a:gd name="T79" fmla="*/ 145 h 244"/>
                <a:gd name="T80" fmla="*/ 212 w 268"/>
                <a:gd name="T81" fmla="*/ 164 h 244"/>
                <a:gd name="T82" fmla="*/ 196 w 268"/>
                <a:gd name="T83" fmla="*/ 159 h 244"/>
                <a:gd name="T84" fmla="*/ 190 w 268"/>
                <a:gd name="T85" fmla="*/ 158 h 244"/>
                <a:gd name="T86" fmla="*/ 168 w 268"/>
                <a:gd name="T87" fmla="*/ 173 h 244"/>
                <a:gd name="T88" fmla="*/ 167 w 268"/>
                <a:gd name="T89" fmla="*/ 173 h 244"/>
                <a:gd name="T90" fmla="*/ 167 w 268"/>
                <a:gd name="T91" fmla="*/ 174 h 244"/>
                <a:gd name="T92" fmla="*/ 167 w 268"/>
                <a:gd name="T93" fmla="*/ 174 h 244"/>
                <a:gd name="T94" fmla="*/ 142 w 268"/>
                <a:gd name="T95" fmla="*/ 191 h 244"/>
                <a:gd name="T96" fmla="*/ 122 w 268"/>
                <a:gd name="T97" fmla="*/ 215 h 244"/>
                <a:gd name="T98" fmla="*/ 107 w 268"/>
                <a:gd name="T99" fmla="*/ 223 h 244"/>
                <a:gd name="T100" fmla="*/ 107 w 268"/>
                <a:gd name="T101" fmla="*/ 225 h 244"/>
                <a:gd name="T102" fmla="*/ 107 w 268"/>
                <a:gd name="T103" fmla="*/ 225 h 244"/>
                <a:gd name="T104" fmla="*/ 107 w 268"/>
                <a:gd name="T105" fmla="*/ 225 h 244"/>
                <a:gd name="T106" fmla="*/ 113 w 268"/>
                <a:gd name="T107" fmla="*/ 236 h 244"/>
                <a:gd name="T108" fmla="*/ 112 w 268"/>
                <a:gd name="T109" fmla="*/ 236 h 244"/>
                <a:gd name="T110" fmla="*/ 112 w 268"/>
                <a:gd name="T111" fmla="*/ 236 h 244"/>
                <a:gd name="T112" fmla="*/ 109 w 268"/>
                <a:gd name="T113" fmla="*/ 238 h 244"/>
                <a:gd name="T114" fmla="*/ 91 w 268"/>
                <a:gd name="T115"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8" h="244">
                  <a:moveTo>
                    <a:pt x="91" y="244"/>
                  </a:moveTo>
                  <a:lnTo>
                    <a:pt x="91" y="244"/>
                  </a:lnTo>
                  <a:lnTo>
                    <a:pt x="91" y="244"/>
                  </a:lnTo>
                  <a:lnTo>
                    <a:pt x="87" y="244"/>
                  </a:lnTo>
                  <a:lnTo>
                    <a:pt x="87" y="244"/>
                  </a:lnTo>
                  <a:lnTo>
                    <a:pt x="87" y="244"/>
                  </a:lnTo>
                  <a:lnTo>
                    <a:pt x="87" y="244"/>
                  </a:lnTo>
                  <a:lnTo>
                    <a:pt x="83" y="241"/>
                  </a:lnTo>
                  <a:lnTo>
                    <a:pt x="83" y="241"/>
                  </a:lnTo>
                  <a:lnTo>
                    <a:pt x="77" y="236"/>
                  </a:lnTo>
                  <a:lnTo>
                    <a:pt x="74" y="229"/>
                  </a:lnTo>
                  <a:lnTo>
                    <a:pt x="71" y="220"/>
                  </a:lnTo>
                  <a:lnTo>
                    <a:pt x="71" y="220"/>
                  </a:lnTo>
                  <a:lnTo>
                    <a:pt x="68" y="219"/>
                  </a:lnTo>
                  <a:lnTo>
                    <a:pt x="61" y="219"/>
                  </a:lnTo>
                  <a:lnTo>
                    <a:pt x="52" y="219"/>
                  </a:lnTo>
                  <a:lnTo>
                    <a:pt x="45" y="217"/>
                  </a:lnTo>
                  <a:lnTo>
                    <a:pt x="45" y="217"/>
                  </a:lnTo>
                  <a:lnTo>
                    <a:pt x="45" y="217"/>
                  </a:lnTo>
                  <a:lnTo>
                    <a:pt x="45" y="217"/>
                  </a:lnTo>
                  <a:lnTo>
                    <a:pt x="45" y="217"/>
                  </a:lnTo>
                  <a:lnTo>
                    <a:pt x="45" y="217"/>
                  </a:lnTo>
                  <a:lnTo>
                    <a:pt x="45" y="217"/>
                  </a:lnTo>
                  <a:lnTo>
                    <a:pt x="45" y="217"/>
                  </a:lnTo>
                  <a:lnTo>
                    <a:pt x="45" y="217"/>
                  </a:lnTo>
                  <a:lnTo>
                    <a:pt x="45" y="217"/>
                  </a:lnTo>
                  <a:lnTo>
                    <a:pt x="44" y="217"/>
                  </a:lnTo>
                  <a:lnTo>
                    <a:pt x="44" y="217"/>
                  </a:lnTo>
                  <a:lnTo>
                    <a:pt x="39" y="216"/>
                  </a:lnTo>
                  <a:lnTo>
                    <a:pt x="36" y="213"/>
                  </a:lnTo>
                  <a:lnTo>
                    <a:pt x="33" y="210"/>
                  </a:lnTo>
                  <a:lnTo>
                    <a:pt x="31" y="210"/>
                  </a:lnTo>
                  <a:lnTo>
                    <a:pt x="31" y="210"/>
                  </a:lnTo>
                  <a:lnTo>
                    <a:pt x="31" y="210"/>
                  </a:lnTo>
                  <a:lnTo>
                    <a:pt x="31" y="210"/>
                  </a:lnTo>
                  <a:lnTo>
                    <a:pt x="31" y="210"/>
                  </a:lnTo>
                  <a:lnTo>
                    <a:pt x="31" y="210"/>
                  </a:lnTo>
                  <a:lnTo>
                    <a:pt x="29" y="213"/>
                  </a:lnTo>
                  <a:lnTo>
                    <a:pt x="28" y="217"/>
                  </a:lnTo>
                  <a:lnTo>
                    <a:pt x="26" y="222"/>
                  </a:lnTo>
                  <a:lnTo>
                    <a:pt x="23" y="223"/>
                  </a:lnTo>
                  <a:lnTo>
                    <a:pt x="23" y="223"/>
                  </a:lnTo>
                  <a:lnTo>
                    <a:pt x="23" y="223"/>
                  </a:lnTo>
                  <a:lnTo>
                    <a:pt x="23" y="223"/>
                  </a:lnTo>
                  <a:lnTo>
                    <a:pt x="23" y="223"/>
                  </a:lnTo>
                  <a:lnTo>
                    <a:pt x="20" y="222"/>
                  </a:lnTo>
                  <a:lnTo>
                    <a:pt x="20" y="222"/>
                  </a:lnTo>
                  <a:lnTo>
                    <a:pt x="20" y="222"/>
                  </a:lnTo>
                  <a:lnTo>
                    <a:pt x="20" y="222"/>
                  </a:lnTo>
                  <a:lnTo>
                    <a:pt x="20" y="222"/>
                  </a:lnTo>
                  <a:lnTo>
                    <a:pt x="20" y="222"/>
                  </a:lnTo>
                  <a:lnTo>
                    <a:pt x="20" y="222"/>
                  </a:lnTo>
                  <a:lnTo>
                    <a:pt x="20" y="222"/>
                  </a:lnTo>
                  <a:lnTo>
                    <a:pt x="20" y="222"/>
                  </a:lnTo>
                  <a:lnTo>
                    <a:pt x="20" y="222"/>
                  </a:lnTo>
                  <a:lnTo>
                    <a:pt x="20" y="222"/>
                  </a:lnTo>
                  <a:lnTo>
                    <a:pt x="20" y="222"/>
                  </a:lnTo>
                  <a:lnTo>
                    <a:pt x="20" y="222"/>
                  </a:lnTo>
                  <a:lnTo>
                    <a:pt x="20" y="222"/>
                  </a:lnTo>
                  <a:lnTo>
                    <a:pt x="17" y="217"/>
                  </a:lnTo>
                  <a:lnTo>
                    <a:pt x="16" y="212"/>
                  </a:lnTo>
                  <a:lnTo>
                    <a:pt x="16" y="206"/>
                  </a:lnTo>
                  <a:lnTo>
                    <a:pt x="15" y="200"/>
                  </a:lnTo>
                  <a:lnTo>
                    <a:pt x="15" y="200"/>
                  </a:lnTo>
                  <a:lnTo>
                    <a:pt x="15" y="200"/>
                  </a:lnTo>
                  <a:lnTo>
                    <a:pt x="15" y="200"/>
                  </a:lnTo>
                  <a:lnTo>
                    <a:pt x="15" y="200"/>
                  </a:lnTo>
                  <a:lnTo>
                    <a:pt x="15" y="200"/>
                  </a:lnTo>
                  <a:lnTo>
                    <a:pt x="12" y="196"/>
                  </a:lnTo>
                  <a:lnTo>
                    <a:pt x="9" y="191"/>
                  </a:lnTo>
                  <a:lnTo>
                    <a:pt x="6" y="187"/>
                  </a:lnTo>
                  <a:lnTo>
                    <a:pt x="3" y="181"/>
                  </a:lnTo>
                  <a:lnTo>
                    <a:pt x="3" y="181"/>
                  </a:lnTo>
                  <a:lnTo>
                    <a:pt x="0" y="164"/>
                  </a:lnTo>
                  <a:lnTo>
                    <a:pt x="0" y="164"/>
                  </a:lnTo>
                  <a:lnTo>
                    <a:pt x="3" y="162"/>
                  </a:lnTo>
                  <a:lnTo>
                    <a:pt x="4" y="158"/>
                  </a:lnTo>
                  <a:lnTo>
                    <a:pt x="7" y="152"/>
                  </a:lnTo>
                  <a:lnTo>
                    <a:pt x="7" y="152"/>
                  </a:lnTo>
                  <a:lnTo>
                    <a:pt x="9" y="151"/>
                  </a:lnTo>
                  <a:lnTo>
                    <a:pt x="9" y="151"/>
                  </a:lnTo>
                  <a:lnTo>
                    <a:pt x="9" y="151"/>
                  </a:lnTo>
                  <a:lnTo>
                    <a:pt x="9" y="151"/>
                  </a:lnTo>
                  <a:lnTo>
                    <a:pt x="9" y="151"/>
                  </a:lnTo>
                  <a:lnTo>
                    <a:pt x="9" y="151"/>
                  </a:lnTo>
                  <a:lnTo>
                    <a:pt x="10" y="149"/>
                  </a:lnTo>
                  <a:lnTo>
                    <a:pt x="10" y="149"/>
                  </a:lnTo>
                  <a:lnTo>
                    <a:pt x="10" y="149"/>
                  </a:lnTo>
                  <a:lnTo>
                    <a:pt x="10" y="149"/>
                  </a:lnTo>
                  <a:lnTo>
                    <a:pt x="10" y="149"/>
                  </a:lnTo>
                  <a:lnTo>
                    <a:pt x="10" y="149"/>
                  </a:lnTo>
                  <a:lnTo>
                    <a:pt x="13" y="151"/>
                  </a:lnTo>
                  <a:lnTo>
                    <a:pt x="16" y="155"/>
                  </a:lnTo>
                  <a:lnTo>
                    <a:pt x="16" y="155"/>
                  </a:lnTo>
                  <a:lnTo>
                    <a:pt x="16" y="155"/>
                  </a:lnTo>
                  <a:lnTo>
                    <a:pt x="16" y="155"/>
                  </a:lnTo>
                  <a:lnTo>
                    <a:pt x="16" y="155"/>
                  </a:lnTo>
                  <a:lnTo>
                    <a:pt x="16" y="155"/>
                  </a:lnTo>
                  <a:lnTo>
                    <a:pt x="19" y="158"/>
                  </a:lnTo>
                  <a:lnTo>
                    <a:pt x="19" y="158"/>
                  </a:lnTo>
                  <a:lnTo>
                    <a:pt x="19" y="158"/>
                  </a:lnTo>
                  <a:lnTo>
                    <a:pt x="19" y="158"/>
                  </a:lnTo>
                  <a:lnTo>
                    <a:pt x="19" y="158"/>
                  </a:lnTo>
                  <a:lnTo>
                    <a:pt x="19" y="158"/>
                  </a:lnTo>
                  <a:lnTo>
                    <a:pt x="19" y="158"/>
                  </a:lnTo>
                  <a:lnTo>
                    <a:pt x="19" y="158"/>
                  </a:lnTo>
                  <a:lnTo>
                    <a:pt x="19" y="158"/>
                  </a:lnTo>
                  <a:lnTo>
                    <a:pt x="19" y="158"/>
                  </a:lnTo>
                  <a:lnTo>
                    <a:pt x="19" y="158"/>
                  </a:lnTo>
                  <a:lnTo>
                    <a:pt x="19" y="158"/>
                  </a:lnTo>
                  <a:lnTo>
                    <a:pt x="19" y="158"/>
                  </a:lnTo>
                  <a:lnTo>
                    <a:pt x="19" y="158"/>
                  </a:lnTo>
                  <a:lnTo>
                    <a:pt x="19" y="159"/>
                  </a:lnTo>
                  <a:lnTo>
                    <a:pt x="19" y="159"/>
                  </a:lnTo>
                  <a:lnTo>
                    <a:pt x="19" y="159"/>
                  </a:lnTo>
                  <a:lnTo>
                    <a:pt x="19" y="159"/>
                  </a:lnTo>
                  <a:lnTo>
                    <a:pt x="20" y="159"/>
                  </a:lnTo>
                  <a:lnTo>
                    <a:pt x="20" y="159"/>
                  </a:lnTo>
                  <a:lnTo>
                    <a:pt x="20" y="159"/>
                  </a:lnTo>
                  <a:lnTo>
                    <a:pt x="20" y="159"/>
                  </a:lnTo>
                  <a:lnTo>
                    <a:pt x="22" y="158"/>
                  </a:lnTo>
                  <a:lnTo>
                    <a:pt x="23" y="157"/>
                  </a:lnTo>
                  <a:lnTo>
                    <a:pt x="25" y="152"/>
                  </a:lnTo>
                  <a:lnTo>
                    <a:pt x="25" y="152"/>
                  </a:lnTo>
                  <a:lnTo>
                    <a:pt x="25" y="152"/>
                  </a:lnTo>
                  <a:lnTo>
                    <a:pt x="25" y="152"/>
                  </a:lnTo>
                  <a:lnTo>
                    <a:pt x="25" y="152"/>
                  </a:lnTo>
                  <a:lnTo>
                    <a:pt x="25" y="151"/>
                  </a:lnTo>
                  <a:lnTo>
                    <a:pt x="25" y="151"/>
                  </a:lnTo>
                  <a:lnTo>
                    <a:pt x="25" y="151"/>
                  </a:lnTo>
                  <a:lnTo>
                    <a:pt x="25" y="151"/>
                  </a:lnTo>
                  <a:lnTo>
                    <a:pt x="25" y="151"/>
                  </a:lnTo>
                  <a:lnTo>
                    <a:pt x="25" y="151"/>
                  </a:lnTo>
                  <a:lnTo>
                    <a:pt x="28" y="151"/>
                  </a:lnTo>
                  <a:lnTo>
                    <a:pt x="32" y="149"/>
                  </a:lnTo>
                  <a:lnTo>
                    <a:pt x="39" y="149"/>
                  </a:lnTo>
                  <a:lnTo>
                    <a:pt x="39" y="149"/>
                  </a:lnTo>
                  <a:lnTo>
                    <a:pt x="39" y="149"/>
                  </a:lnTo>
                  <a:lnTo>
                    <a:pt x="39" y="149"/>
                  </a:lnTo>
                  <a:lnTo>
                    <a:pt x="41" y="149"/>
                  </a:lnTo>
                  <a:lnTo>
                    <a:pt x="41" y="149"/>
                  </a:lnTo>
                  <a:lnTo>
                    <a:pt x="41" y="149"/>
                  </a:lnTo>
                  <a:lnTo>
                    <a:pt x="44" y="151"/>
                  </a:lnTo>
                  <a:lnTo>
                    <a:pt x="46" y="152"/>
                  </a:lnTo>
                  <a:lnTo>
                    <a:pt x="46" y="152"/>
                  </a:lnTo>
                  <a:lnTo>
                    <a:pt x="49" y="154"/>
                  </a:lnTo>
                  <a:lnTo>
                    <a:pt x="49" y="154"/>
                  </a:lnTo>
                  <a:lnTo>
                    <a:pt x="51" y="154"/>
                  </a:lnTo>
                  <a:lnTo>
                    <a:pt x="51" y="154"/>
                  </a:lnTo>
                  <a:lnTo>
                    <a:pt x="51" y="154"/>
                  </a:lnTo>
                  <a:lnTo>
                    <a:pt x="51" y="154"/>
                  </a:lnTo>
                  <a:lnTo>
                    <a:pt x="51" y="154"/>
                  </a:lnTo>
                  <a:lnTo>
                    <a:pt x="51" y="154"/>
                  </a:lnTo>
                  <a:lnTo>
                    <a:pt x="51" y="154"/>
                  </a:lnTo>
                  <a:lnTo>
                    <a:pt x="51" y="154"/>
                  </a:lnTo>
                  <a:lnTo>
                    <a:pt x="52" y="154"/>
                  </a:lnTo>
                  <a:lnTo>
                    <a:pt x="52" y="154"/>
                  </a:lnTo>
                  <a:lnTo>
                    <a:pt x="52" y="154"/>
                  </a:lnTo>
                  <a:lnTo>
                    <a:pt x="52" y="154"/>
                  </a:lnTo>
                  <a:lnTo>
                    <a:pt x="52" y="154"/>
                  </a:lnTo>
                  <a:lnTo>
                    <a:pt x="52" y="154"/>
                  </a:lnTo>
                  <a:lnTo>
                    <a:pt x="54" y="154"/>
                  </a:lnTo>
                  <a:lnTo>
                    <a:pt x="54" y="154"/>
                  </a:lnTo>
                  <a:lnTo>
                    <a:pt x="54" y="154"/>
                  </a:lnTo>
                  <a:lnTo>
                    <a:pt x="54" y="154"/>
                  </a:lnTo>
                  <a:lnTo>
                    <a:pt x="58" y="154"/>
                  </a:lnTo>
                  <a:lnTo>
                    <a:pt x="58" y="154"/>
                  </a:lnTo>
                  <a:lnTo>
                    <a:pt x="62" y="152"/>
                  </a:lnTo>
                  <a:lnTo>
                    <a:pt x="62" y="152"/>
                  </a:lnTo>
                  <a:lnTo>
                    <a:pt x="103" y="152"/>
                  </a:lnTo>
                  <a:lnTo>
                    <a:pt x="113" y="132"/>
                  </a:lnTo>
                  <a:lnTo>
                    <a:pt x="107" y="128"/>
                  </a:lnTo>
                  <a:lnTo>
                    <a:pt x="100" y="0"/>
                  </a:lnTo>
                  <a:lnTo>
                    <a:pt x="142" y="0"/>
                  </a:lnTo>
                  <a:lnTo>
                    <a:pt x="142" y="0"/>
                  </a:lnTo>
                  <a:lnTo>
                    <a:pt x="168" y="18"/>
                  </a:lnTo>
                  <a:lnTo>
                    <a:pt x="168" y="18"/>
                  </a:lnTo>
                  <a:lnTo>
                    <a:pt x="199" y="39"/>
                  </a:lnTo>
                  <a:lnTo>
                    <a:pt x="225" y="61"/>
                  </a:lnTo>
                  <a:lnTo>
                    <a:pt x="255" y="87"/>
                  </a:lnTo>
                  <a:lnTo>
                    <a:pt x="255" y="87"/>
                  </a:lnTo>
                  <a:lnTo>
                    <a:pt x="256" y="90"/>
                  </a:lnTo>
                  <a:lnTo>
                    <a:pt x="256" y="90"/>
                  </a:lnTo>
                  <a:lnTo>
                    <a:pt x="255" y="91"/>
                  </a:lnTo>
                  <a:lnTo>
                    <a:pt x="252" y="93"/>
                  </a:lnTo>
                  <a:lnTo>
                    <a:pt x="249" y="96"/>
                  </a:lnTo>
                  <a:lnTo>
                    <a:pt x="248" y="97"/>
                  </a:lnTo>
                  <a:lnTo>
                    <a:pt x="248" y="97"/>
                  </a:lnTo>
                  <a:lnTo>
                    <a:pt x="248" y="99"/>
                  </a:lnTo>
                  <a:lnTo>
                    <a:pt x="248" y="99"/>
                  </a:lnTo>
                  <a:lnTo>
                    <a:pt x="249" y="99"/>
                  </a:lnTo>
                  <a:lnTo>
                    <a:pt x="249" y="99"/>
                  </a:lnTo>
                  <a:lnTo>
                    <a:pt x="252" y="99"/>
                  </a:lnTo>
                  <a:lnTo>
                    <a:pt x="252" y="99"/>
                  </a:lnTo>
                  <a:lnTo>
                    <a:pt x="268" y="97"/>
                  </a:lnTo>
                  <a:lnTo>
                    <a:pt x="268" y="120"/>
                  </a:lnTo>
                  <a:lnTo>
                    <a:pt x="268" y="120"/>
                  </a:lnTo>
                  <a:lnTo>
                    <a:pt x="268" y="126"/>
                  </a:lnTo>
                  <a:lnTo>
                    <a:pt x="267" y="132"/>
                  </a:lnTo>
                  <a:lnTo>
                    <a:pt x="262" y="145"/>
                  </a:lnTo>
                  <a:lnTo>
                    <a:pt x="256" y="157"/>
                  </a:lnTo>
                  <a:lnTo>
                    <a:pt x="217" y="157"/>
                  </a:lnTo>
                  <a:lnTo>
                    <a:pt x="217" y="164"/>
                  </a:lnTo>
                  <a:lnTo>
                    <a:pt x="217" y="164"/>
                  </a:lnTo>
                  <a:lnTo>
                    <a:pt x="212" y="164"/>
                  </a:lnTo>
                  <a:lnTo>
                    <a:pt x="204" y="162"/>
                  </a:lnTo>
                  <a:lnTo>
                    <a:pt x="196" y="159"/>
                  </a:lnTo>
                  <a:lnTo>
                    <a:pt x="196" y="159"/>
                  </a:lnTo>
                  <a:lnTo>
                    <a:pt x="196" y="159"/>
                  </a:lnTo>
                  <a:lnTo>
                    <a:pt x="196" y="159"/>
                  </a:lnTo>
                  <a:lnTo>
                    <a:pt x="194" y="158"/>
                  </a:lnTo>
                  <a:lnTo>
                    <a:pt x="194" y="158"/>
                  </a:lnTo>
                  <a:lnTo>
                    <a:pt x="190" y="158"/>
                  </a:lnTo>
                  <a:lnTo>
                    <a:pt x="190" y="158"/>
                  </a:lnTo>
                  <a:lnTo>
                    <a:pt x="190" y="158"/>
                  </a:lnTo>
                  <a:lnTo>
                    <a:pt x="190" y="158"/>
                  </a:lnTo>
                  <a:lnTo>
                    <a:pt x="183" y="159"/>
                  </a:lnTo>
                  <a:lnTo>
                    <a:pt x="177" y="164"/>
                  </a:lnTo>
                  <a:lnTo>
                    <a:pt x="168" y="173"/>
                  </a:lnTo>
                  <a:lnTo>
                    <a:pt x="168" y="173"/>
                  </a:lnTo>
                  <a:lnTo>
                    <a:pt x="168" y="173"/>
                  </a:lnTo>
                  <a:lnTo>
                    <a:pt x="168" y="173"/>
                  </a:lnTo>
                  <a:lnTo>
                    <a:pt x="168" y="173"/>
                  </a:lnTo>
                  <a:lnTo>
                    <a:pt x="168" y="173"/>
                  </a:lnTo>
                  <a:lnTo>
                    <a:pt x="167" y="173"/>
                  </a:lnTo>
                  <a:lnTo>
                    <a:pt x="167" y="173"/>
                  </a:lnTo>
                  <a:lnTo>
                    <a:pt x="167" y="174"/>
                  </a:lnTo>
                  <a:lnTo>
                    <a:pt x="167" y="174"/>
                  </a:lnTo>
                  <a:lnTo>
                    <a:pt x="167" y="174"/>
                  </a:lnTo>
                  <a:lnTo>
                    <a:pt x="167" y="174"/>
                  </a:lnTo>
                  <a:lnTo>
                    <a:pt x="167" y="174"/>
                  </a:lnTo>
                  <a:lnTo>
                    <a:pt x="167" y="174"/>
                  </a:lnTo>
                  <a:lnTo>
                    <a:pt x="167" y="174"/>
                  </a:lnTo>
                  <a:lnTo>
                    <a:pt x="167" y="174"/>
                  </a:lnTo>
                  <a:lnTo>
                    <a:pt x="167" y="174"/>
                  </a:lnTo>
                  <a:lnTo>
                    <a:pt x="167" y="174"/>
                  </a:lnTo>
                  <a:lnTo>
                    <a:pt x="155" y="183"/>
                  </a:lnTo>
                  <a:lnTo>
                    <a:pt x="149" y="187"/>
                  </a:lnTo>
                  <a:lnTo>
                    <a:pt x="142" y="191"/>
                  </a:lnTo>
                  <a:lnTo>
                    <a:pt x="142" y="191"/>
                  </a:lnTo>
                  <a:lnTo>
                    <a:pt x="136" y="194"/>
                  </a:lnTo>
                  <a:lnTo>
                    <a:pt x="132" y="199"/>
                  </a:lnTo>
                  <a:lnTo>
                    <a:pt x="125" y="209"/>
                  </a:lnTo>
                  <a:lnTo>
                    <a:pt x="125" y="209"/>
                  </a:lnTo>
                  <a:lnTo>
                    <a:pt x="122" y="215"/>
                  </a:lnTo>
                  <a:lnTo>
                    <a:pt x="117" y="217"/>
                  </a:lnTo>
                  <a:lnTo>
                    <a:pt x="107" y="223"/>
                  </a:lnTo>
                  <a:lnTo>
                    <a:pt x="107" y="223"/>
                  </a:lnTo>
                  <a:lnTo>
                    <a:pt x="107" y="223"/>
                  </a:lnTo>
                  <a:lnTo>
                    <a:pt x="107" y="223"/>
                  </a:lnTo>
                  <a:lnTo>
                    <a:pt x="107" y="225"/>
                  </a:lnTo>
                  <a:lnTo>
                    <a:pt x="107" y="225"/>
                  </a:lnTo>
                  <a:lnTo>
                    <a:pt x="107" y="225"/>
                  </a:lnTo>
                  <a:lnTo>
                    <a:pt x="107" y="225"/>
                  </a:lnTo>
                  <a:lnTo>
                    <a:pt x="107" y="225"/>
                  </a:lnTo>
                  <a:lnTo>
                    <a:pt x="107" y="225"/>
                  </a:lnTo>
                  <a:lnTo>
                    <a:pt x="107" y="225"/>
                  </a:lnTo>
                  <a:lnTo>
                    <a:pt x="107" y="225"/>
                  </a:lnTo>
                  <a:lnTo>
                    <a:pt x="107" y="225"/>
                  </a:lnTo>
                  <a:lnTo>
                    <a:pt x="107" y="225"/>
                  </a:lnTo>
                  <a:lnTo>
                    <a:pt x="107" y="225"/>
                  </a:lnTo>
                  <a:lnTo>
                    <a:pt x="107" y="225"/>
                  </a:lnTo>
                  <a:lnTo>
                    <a:pt x="107" y="225"/>
                  </a:lnTo>
                  <a:lnTo>
                    <a:pt x="107" y="225"/>
                  </a:lnTo>
                  <a:lnTo>
                    <a:pt x="107" y="225"/>
                  </a:lnTo>
                  <a:lnTo>
                    <a:pt x="107" y="225"/>
                  </a:lnTo>
                  <a:lnTo>
                    <a:pt x="107" y="225"/>
                  </a:lnTo>
                  <a:lnTo>
                    <a:pt x="107" y="228"/>
                  </a:lnTo>
                  <a:lnTo>
                    <a:pt x="107" y="230"/>
                  </a:lnTo>
                  <a:lnTo>
                    <a:pt x="113" y="236"/>
                  </a:lnTo>
                  <a:lnTo>
                    <a:pt x="113" y="236"/>
                  </a:lnTo>
                  <a:lnTo>
                    <a:pt x="113" y="236"/>
                  </a:lnTo>
                  <a:lnTo>
                    <a:pt x="113" y="236"/>
                  </a:lnTo>
                  <a:lnTo>
                    <a:pt x="112" y="236"/>
                  </a:lnTo>
                  <a:lnTo>
                    <a:pt x="112" y="236"/>
                  </a:lnTo>
                  <a:lnTo>
                    <a:pt x="112" y="236"/>
                  </a:lnTo>
                  <a:lnTo>
                    <a:pt x="112" y="236"/>
                  </a:lnTo>
                  <a:lnTo>
                    <a:pt x="112" y="236"/>
                  </a:lnTo>
                  <a:lnTo>
                    <a:pt x="112" y="236"/>
                  </a:lnTo>
                  <a:lnTo>
                    <a:pt x="112" y="236"/>
                  </a:lnTo>
                  <a:lnTo>
                    <a:pt x="109" y="238"/>
                  </a:lnTo>
                  <a:lnTo>
                    <a:pt x="109" y="238"/>
                  </a:lnTo>
                  <a:lnTo>
                    <a:pt x="109" y="238"/>
                  </a:lnTo>
                  <a:lnTo>
                    <a:pt x="109" y="238"/>
                  </a:lnTo>
                  <a:lnTo>
                    <a:pt x="109" y="238"/>
                  </a:lnTo>
                  <a:lnTo>
                    <a:pt x="109" y="238"/>
                  </a:lnTo>
                  <a:lnTo>
                    <a:pt x="109" y="238"/>
                  </a:lnTo>
                  <a:lnTo>
                    <a:pt x="109" y="238"/>
                  </a:lnTo>
                  <a:lnTo>
                    <a:pt x="99" y="242"/>
                  </a:lnTo>
                  <a:lnTo>
                    <a:pt x="91" y="244"/>
                  </a:lnTo>
                  <a:lnTo>
                    <a:pt x="91" y="244"/>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52" name="Freeform 107"/>
            <p:cNvSpPr>
              <a:spLocks/>
            </p:cNvSpPr>
            <p:nvPr/>
          </p:nvSpPr>
          <p:spPr bwMode="auto">
            <a:xfrm>
              <a:off x="4000500" y="4123166"/>
              <a:ext cx="425450" cy="387350"/>
            </a:xfrm>
            <a:custGeom>
              <a:avLst/>
              <a:gdLst>
                <a:gd name="T0" fmla="*/ 87 w 268"/>
                <a:gd name="T1" fmla="*/ 244 h 244"/>
                <a:gd name="T2" fmla="*/ 77 w 268"/>
                <a:gd name="T3" fmla="*/ 236 h 244"/>
                <a:gd name="T4" fmla="*/ 61 w 268"/>
                <a:gd name="T5" fmla="*/ 219 h 244"/>
                <a:gd name="T6" fmla="*/ 45 w 268"/>
                <a:gd name="T7" fmla="*/ 217 h 244"/>
                <a:gd name="T8" fmla="*/ 45 w 268"/>
                <a:gd name="T9" fmla="*/ 217 h 244"/>
                <a:gd name="T10" fmla="*/ 36 w 268"/>
                <a:gd name="T11" fmla="*/ 213 h 244"/>
                <a:gd name="T12" fmla="*/ 31 w 268"/>
                <a:gd name="T13" fmla="*/ 210 h 244"/>
                <a:gd name="T14" fmla="*/ 26 w 268"/>
                <a:gd name="T15" fmla="*/ 222 h 244"/>
                <a:gd name="T16" fmla="*/ 23 w 268"/>
                <a:gd name="T17" fmla="*/ 223 h 244"/>
                <a:gd name="T18" fmla="*/ 20 w 268"/>
                <a:gd name="T19" fmla="*/ 222 h 244"/>
                <a:gd name="T20" fmla="*/ 20 w 268"/>
                <a:gd name="T21" fmla="*/ 222 h 244"/>
                <a:gd name="T22" fmla="*/ 17 w 268"/>
                <a:gd name="T23" fmla="*/ 217 h 244"/>
                <a:gd name="T24" fmla="*/ 15 w 268"/>
                <a:gd name="T25" fmla="*/ 200 h 244"/>
                <a:gd name="T26" fmla="*/ 9 w 268"/>
                <a:gd name="T27" fmla="*/ 191 h 244"/>
                <a:gd name="T28" fmla="*/ 0 w 268"/>
                <a:gd name="T29" fmla="*/ 164 h 244"/>
                <a:gd name="T30" fmla="*/ 9 w 268"/>
                <a:gd name="T31" fmla="*/ 151 h 244"/>
                <a:gd name="T32" fmla="*/ 9 w 268"/>
                <a:gd name="T33" fmla="*/ 151 h 244"/>
                <a:gd name="T34" fmla="*/ 10 w 268"/>
                <a:gd name="T35" fmla="*/ 149 h 244"/>
                <a:gd name="T36" fmla="*/ 16 w 268"/>
                <a:gd name="T37" fmla="*/ 155 h 244"/>
                <a:gd name="T38" fmla="*/ 19 w 268"/>
                <a:gd name="T39" fmla="*/ 158 h 244"/>
                <a:gd name="T40" fmla="*/ 19 w 268"/>
                <a:gd name="T41" fmla="*/ 158 h 244"/>
                <a:gd name="T42" fmla="*/ 19 w 268"/>
                <a:gd name="T43" fmla="*/ 158 h 244"/>
                <a:gd name="T44" fmla="*/ 19 w 268"/>
                <a:gd name="T45" fmla="*/ 159 h 244"/>
                <a:gd name="T46" fmla="*/ 20 w 268"/>
                <a:gd name="T47" fmla="*/ 159 h 244"/>
                <a:gd name="T48" fmla="*/ 25 w 268"/>
                <a:gd name="T49" fmla="*/ 152 h 244"/>
                <a:gd name="T50" fmla="*/ 25 w 268"/>
                <a:gd name="T51" fmla="*/ 151 h 244"/>
                <a:gd name="T52" fmla="*/ 32 w 268"/>
                <a:gd name="T53" fmla="*/ 149 h 244"/>
                <a:gd name="T54" fmla="*/ 41 w 268"/>
                <a:gd name="T55" fmla="*/ 149 h 244"/>
                <a:gd name="T56" fmla="*/ 46 w 268"/>
                <a:gd name="T57" fmla="*/ 152 h 244"/>
                <a:gd name="T58" fmla="*/ 51 w 268"/>
                <a:gd name="T59" fmla="*/ 154 h 244"/>
                <a:gd name="T60" fmla="*/ 51 w 268"/>
                <a:gd name="T61" fmla="*/ 154 h 244"/>
                <a:gd name="T62" fmla="*/ 52 w 268"/>
                <a:gd name="T63" fmla="*/ 154 h 244"/>
                <a:gd name="T64" fmla="*/ 54 w 268"/>
                <a:gd name="T65" fmla="*/ 154 h 244"/>
                <a:gd name="T66" fmla="*/ 103 w 268"/>
                <a:gd name="T67" fmla="*/ 152 h 244"/>
                <a:gd name="T68" fmla="*/ 142 w 268"/>
                <a:gd name="T69" fmla="*/ 0 h 244"/>
                <a:gd name="T70" fmla="*/ 255 w 268"/>
                <a:gd name="T71" fmla="*/ 87 h 244"/>
                <a:gd name="T72" fmla="*/ 252 w 268"/>
                <a:gd name="T73" fmla="*/ 93 h 244"/>
                <a:gd name="T74" fmla="*/ 248 w 268"/>
                <a:gd name="T75" fmla="*/ 99 h 244"/>
                <a:gd name="T76" fmla="*/ 268 w 268"/>
                <a:gd name="T77" fmla="*/ 97 h 244"/>
                <a:gd name="T78" fmla="*/ 262 w 268"/>
                <a:gd name="T79" fmla="*/ 145 h 244"/>
                <a:gd name="T80" fmla="*/ 212 w 268"/>
                <a:gd name="T81" fmla="*/ 164 h 244"/>
                <a:gd name="T82" fmla="*/ 196 w 268"/>
                <a:gd name="T83" fmla="*/ 159 h 244"/>
                <a:gd name="T84" fmla="*/ 190 w 268"/>
                <a:gd name="T85" fmla="*/ 158 h 244"/>
                <a:gd name="T86" fmla="*/ 168 w 268"/>
                <a:gd name="T87" fmla="*/ 173 h 244"/>
                <a:gd name="T88" fmla="*/ 167 w 268"/>
                <a:gd name="T89" fmla="*/ 173 h 244"/>
                <a:gd name="T90" fmla="*/ 167 w 268"/>
                <a:gd name="T91" fmla="*/ 174 h 244"/>
                <a:gd name="T92" fmla="*/ 167 w 268"/>
                <a:gd name="T93" fmla="*/ 174 h 244"/>
                <a:gd name="T94" fmla="*/ 142 w 268"/>
                <a:gd name="T95" fmla="*/ 191 h 244"/>
                <a:gd name="T96" fmla="*/ 122 w 268"/>
                <a:gd name="T97" fmla="*/ 215 h 244"/>
                <a:gd name="T98" fmla="*/ 107 w 268"/>
                <a:gd name="T99" fmla="*/ 223 h 244"/>
                <a:gd name="T100" fmla="*/ 107 w 268"/>
                <a:gd name="T101" fmla="*/ 225 h 244"/>
                <a:gd name="T102" fmla="*/ 107 w 268"/>
                <a:gd name="T103" fmla="*/ 225 h 244"/>
                <a:gd name="T104" fmla="*/ 107 w 268"/>
                <a:gd name="T105" fmla="*/ 225 h 244"/>
                <a:gd name="T106" fmla="*/ 113 w 268"/>
                <a:gd name="T107" fmla="*/ 236 h 244"/>
                <a:gd name="T108" fmla="*/ 112 w 268"/>
                <a:gd name="T109" fmla="*/ 236 h 244"/>
                <a:gd name="T110" fmla="*/ 112 w 268"/>
                <a:gd name="T111" fmla="*/ 236 h 244"/>
                <a:gd name="T112" fmla="*/ 109 w 268"/>
                <a:gd name="T113" fmla="*/ 238 h 244"/>
                <a:gd name="T114" fmla="*/ 91 w 268"/>
                <a:gd name="T115"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8" h="244">
                  <a:moveTo>
                    <a:pt x="91" y="244"/>
                  </a:moveTo>
                  <a:lnTo>
                    <a:pt x="91" y="244"/>
                  </a:lnTo>
                  <a:lnTo>
                    <a:pt x="91" y="244"/>
                  </a:lnTo>
                  <a:lnTo>
                    <a:pt x="87" y="244"/>
                  </a:lnTo>
                  <a:lnTo>
                    <a:pt x="87" y="244"/>
                  </a:lnTo>
                  <a:lnTo>
                    <a:pt x="87" y="244"/>
                  </a:lnTo>
                  <a:lnTo>
                    <a:pt x="87" y="244"/>
                  </a:lnTo>
                  <a:lnTo>
                    <a:pt x="83" y="241"/>
                  </a:lnTo>
                  <a:lnTo>
                    <a:pt x="83" y="241"/>
                  </a:lnTo>
                  <a:lnTo>
                    <a:pt x="77" y="236"/>
                  </a:lnTo>
                  <a:lnTo>
                    <a:pt x="74" y="229"/>
                  </a:lnTo>
                  <a:lnTo>
                    <a:pt x="71" y="220"/>
                  </a:lnTo>
                  <a:lnTo>
                    <a:pt x="71" y="220"/>
                  </a:lnTo>
                  <a:lnTo>
                    <a:pt x="68" y="219"/>
                  </a:lnTo>
                  <a:lnTo>
                    <a:pt x="61" y="219"/>
                  </a:lnTo>
                  <a:lnTo>
                    <a:pt x="52" y="219"/>
                  </a:lnTo>
                  <a:lnTo>
                    <a:pt x="45" y="217"/>
                  </a:lnTo>
                  <a:lnTo>
                    <a:pt x="45" y="217"/>
                  </a:lnTo>
                  <a:lnTo>
                    <a:pt x="45" y="217"/>
                  </a:lnTo>
                  <a:lnTo>
                    <a:pt x="45" y="217"/>
                  </a:lnTo>
                  <a:lnTo>
                    <a:pt x="45" y="217"/>
                  </a:lnTo>
                  <a:lnTo>
                    <a:pt x="45" y="217"/>
                  </a:lnTo>
                  <a:lnTo>
                    <a:pt x="45" y="217"/>
                  </a:lnTo>
                  <a:lnTo>
                    <a:pt x="45" y="217"/>
                  </a:lnTo>
                  <a:lnTo>
                    <a:pt x="45" y="217"/>
                  </a:lnTo>
                  <a:lnTo>
                    <a:pt x="45" y="217"/>
                  </a:lnTo>
                  <a:lnTo>
                    <a:pt x="44" y="217"/>
                  </a:lnTo>
                  <a:lnTo>
                    <a:pt x="44" y="217"/>
                  </a:lnTo>
                  <a:lnTo>
                    <a:pt x="39" y="216"/>
                  </a:lnTo>
                  <a:lnTo>
                    <a:pt x="36" y="213"/>
                  </a:lnTo>
                  <a:lnTo>
                    <a:pt x="33" y="210"/>
                  </a:lnTo>
                  <a:lnTo>
                    <a:pt x="31" y="210"/>
                  </a:lnTo>
                  <a:lnTo>
                    <a:pt x="31" y="210"/>
                  </a:lnTo>
                  <a:lnTo>
                    <a:pt x="31" y="210"/>
                  </a:lnTo>
                  <a:lnTo>
                    <a:pt x="31" y="210"/>
                  </a:lnTo>
                  <a:lnTo>
                    <a:pt x="31" y="210"/>
                  </a:lnTo>
                  <a:lnTo>
                    <a:pt x="31" y="210"/>
                  </a:lnTo>
                  <a:lnTo>
                    <a:pt x="29" y="213"/>
                  </a:lnTo>
                  <a:lnTo>
                    <a:pt x="28" y="217"/>
                  </a:lnTo>
                  <a:lnTo>
                    <a:pt x="26" y="222"/>
                  </a:lnTo>
                  <a:lnTo>
                    <a:pt x="23" y="223"/>
                  </a:lnTo>
                  <a:lnTo>
                    <a:pt x="23" y="223"/>
                  </a:lnTo>
                  <a:lnTo>
                    <a:pt x="23" y="223"/>
                  </a:lnTo>
                  <a:lnTo>
                    <a:pt x="23" y="223"/>
                  </a:lnTo>
                  <a:lnTo>
                    <a:pt x="23" y="223"/>
                  </a:lnTo>
                  <a:lnTo>
                    <a:pt x="20" y="222"/>
                  </a:lnTo>
                  <a:lnTo>
                    <a:pt x="20" y="222"/>
                  </a:lnTo>
                  <a:lnTo>
                    <a:pt x="20" y="222"/>
                  </a:lnTo>
                  <a:lnTo>
                    <a:pt x="20" y="222"/>
                  </a:lnTo>
                  <a:lnTo>
                    <a:pt x="20" y="222"/>
                  </a:lnTo>
                  <a:lnTo>
                    <a:pt x="20" y="222"/>
                  </a:lnTo>
                  <a:lnTo>
                    <a:pt x="20" y="222"/>
                  </a:lnTo>
                  <a:lnTo>
                    <a:pt x="20" y="222"/>
                  </a:lnTo>
                  <a:lnTo>
                    <a:pt x="20" y="222"/>
                  </a:lnTo>
                  <a:lnTo>
                    <a:pt x="20" y="222"/>
                  </a:lnTo>
                  <a:lnTo>
                    <a:pt x="20" y="222"/>
                  </a:lnTo>
                  <a:lnTo>
                    <a:pt x="20" y="222"/>
                  </a:lnTo>
                  <a:lnTo>
                    <a:pt x="20" y="222"/>
                  </a:lnTo>
                  <a:lnTo>
                    <a:pt x="20" y="222"/>
                  </a:lnTo>
                  <a:lnTo>
                    <a:pt x="17" y="217"/>
                  </a:lnTo>
                  <a:lnTo>
                    <a:pt x="16" y="212"/>
                  </a:lnTo>
                  <a:lnTo>
                    <a:pt x="16" y="206"/>
                  </a:lnTo>
                  <a:lnTo>
                    <a:pt x="15" y="200"/>
                  </a:lnTo>
                  <a:lnTo>
                    <a:pt x="15" y="200"/>
                  </a:lnTo>
                  <a:lnTo>
                    <a:pt x="15" y="200"/>
                  </a:lnTo>
                  <a:lnTo>
                    <a:pt x="15" y="200"/>
                  </a:lnTo>
                  <a:lnTo>
                    <a:pt x="15" y="200"/>
                  </a:lnTo>
                  <a:lnTo>
                    <a:pt x="15" y="200"/>
                  </a:lnTo>
                  <a:lnTo>
                    <a:pt x="12" y="196"/>
                  </a:lnTo>
                  <a:lnTo>
                    <a:pt x="9" y="191"/>
                  </a:lnTo>
                  <a:lnTo>
                    <a:pt x="6" y="187"/>
                  </a:lnTo>
                  <a:lnTo>
                    <a:pt x="3" y="181"/>
                  </a:lnTo>
                  <a:lnTo>
                    <a:pt x="3" y="181"/>
                  </a:lnTo>
                  <a:lnTo>
                    <a:pt x="0" y="164"/>
                  </a:lnTo>
                  <a:lnTo>
                    <a:pt x="0" y="164"/>
                  </a:lnTo>
                  <a:lnTo>
                    <a:pt x="3" y="162"/>
                  </a:lnTo>
                  <a:lnTo>
                    <a:pt x="4" y="158"/>
                  </a:lnTo>
                  <a:lnTo>
                    <a:pt x="7" y="152"/>
                  </a:lnTo>
                  <a:lnTo>
                    <a:pt x="7" y="152"/>
                  </a:lnTo>
                  <a:lnTo>
                    <a:pt x="9" y="151"/>
                  </a:lnTo>
                  <a:lnTo>
                    <a:pt x="9" y="151"/>
                  </a:lnTo>
                  <a:lnTo>
                    <a:pt x="9" y="151"/>
                  </a:lnTo>
                  <a:lnTo>
                    <a:pt x="9" y="151"/>
                  </a:lnTo>
                  <a:lnTo>
                    <a:pt x="9" y="151"/>
                  </a:lnTo>
                  <a:lnTo>
                    <a:pt x="9" y="151"/>
                  </a:lnTo>
                  <a:lnTo>
                    <a:pt x="10" y="149"/>
                  </a:lnTo>
                  <a:lnTo>
                    <a:pt x="10" y="149"/>
                  </a:lnTo>
                  <a:lnTo>
                    <a:pt x="10" y="149"/>
                  </a:lnTo>
                  <a:lnTo>
                    <a:pt x="10" y="149"/>
                  </a:lnTo>
                  <a:lnTo>
                    <a:pt x="10" y="149"/>
                  </a:lnTo>
                  <a:lnTo>
                    <a:pt x="10" y="149"/>
                  </a:lnTo>
                  <a:lnTo>
                    <a:pt x="13" y="151"/>
                  </a:lnTo>
                  <a:lnTo>
                    <a:pt x="16" y="155"/>
                  </a:lnTo>
                  <a:lnTo>
                    <a:pt x="16" y="155"/>
                  </a:lnTo>
                  <a:lnTo>
                    <a:pt x="16" y="155"/>
                  </a:lnTo>
                  <a:lnTo>
                    <a:pt x="16" y="155"/>
                  </a:lnTo>
                  <a:lnTo>
                    <a:pt x="16" y="155"/>
                  </a:lnTo>
                  <a:lnTo>
                    <a:pt x="16" y="155"/>
                  </a:lnTo>
                  <a:lnTo>
                    <a:pt x="19" y="158"/>
                  </a:lnTo>
                  <a:lnTo>
                    <a:pt x="19" y="158"/>
                  </a:lnTo>
                  <a:lnTo>
                    <a:pt x="19" y="158"/>
                  </a:lnTo>
                  <a:lnTo>
                    <a:pt x="19" y="158"/>
                  </a:lnTo>
                  <a:lnTo>
                    <a:pt x="19" y="158"/>
                  </a:lnTo>
                  <a:lnTo>
                    <a:pt x="19" y="158"/>
                  </a:lnTo>
                  <a:lnTo>
                    <a:pt x="19" y="158"/>
                  </a:lnTo>
                  <a:lnTo>
                    <a:pt x="19" y="158"/>
                  </a:lnTo>
                  <a:lnTo>
                    <a:pt x="19" y="158"/>
                  </a:lnTo>
                  <a:lnTo>
                    <a:pt x="19" y="158"/>
                  </a:lnTo>
                  <a:lnTo>
                    <a:pt x="19" y="158"/>
                  </a:lnTo>
                  <a:lnTo>
                    <a:pt x="19" y="158"/>
                  </a:lnTo>
                  <a:lnTo>
                    <a:pt x="19" y="158"/>
                  </a:lnTo>
                  <a:lnTo>
                    <a:pt x="19" y="158"/>
                  </a:lnTo>
                  <a:lnTo>
                    <a:pt x="19" y="159"/>
                  </a:lnTo>
                  <a:lnTo>
                    <a:pt x="19" y="159"/>
                  </a:lnTo>
                  <a:lnTo>
                    <a:pt x="19" y="159"/>
                  </a:lnTo>
                  <a:lnTo>
                    <a:pt x="19" y="159"/>
                  </a:lnTo>
                  <a:lnTo>
                    <a:pt x="20" y="159"/>
                  </a:lnTo>
                  <a:lnTo>
                    <a:pt x="20" y="159"/>
                  </a:lnTo>
                  <a:lnTo>
                    <a:pt x="20" y="159"/>
                  </a:lnTo>
                  <a:lnTo>
                    <a:pt x="20" y="159"/>
                  </a:lnTo>
                  <a:lnTo>
                    <a:pt x="22" y="158"/>
                  </a:lnTo>
                  <a:lnTo>
                    <a:pt x="23" y="157"/>
                  </a:lnTo>
                  <a:lnTo>
                    <a:pt x="25" y="152"/>
                  </a:lnTo>
                  <a:lnTo>
                    <a:pt x="25" y="152"/>
                  </a:lnTo>
                  <a:lnTo>
                    <a:pt x="25" y="152"/>
                  </a:lnTo>
                  <a:lnTo>
                    <a:pt x="25" y="152"/>
                  </a:lnTo>
                  <a:lnTo>
                    <a:pt x="25" y="152"/>
                  </a:lnTo>
                  <a:lnTo>
                    <a:pt x="25" y="151"/>
                  </a:lnTo>
                  <a:lnTo>
                    <a:pt x="25" y="151"/>
                  </a:lnTo>
                  <a:lnTo>
                    <a:pt x="25" y="151"/>
                  </a:lnTo>
                  <a:lnTo>
                    <a:pt x="25" y="151"/>
                  </a:lnTo>
                  <a:lnTo>
                    <a:pt x="25" y="151"/>
                  </a:lnTo>
                  <a:lnTo>
                    <a:pt x="25" y="151"/>
                  </a:lnTo>
                  <a:lnTo>
                    <a:pt x="28" y="151"/>
                  </a:lnTo>
                  <a:lnTo>
                    <a:pt x="32" y="149"/>
                  </a:lnTo>
                  <a:lnTo>
                    <a:pt x="39" y="149"/>
                  </a:lnTo>
                  <a:lnTo>
                    <a:pt x="39" y="149"/>
                  </a:lnTo>
                  <a:lnTo>
                    <a:pt x="39" y="149"/>
                  </a:lnTo>
                  <a:lnTo>
                    <a:pt x="39" y="149"/>
                  </a:lnTo>
                  <a:lnTo>
                    <a:pt x="41" y="149"/>
                  </a:lnTo>
                  <a:lnTo>
                    <a:pt x="41" y="149"/>
                  </a:lnTo>
                  <a:lnTo>
                    <a:pt x="41" y="149"/>
                  </a:lnTo>
                  <a:lnTo>
                    <a:pt x="44" y="151"/>
                  </a:lnTo>
                  <a:lnTo>
                    <a:pt x="46" y="152"/>
                  </a:lnTo>
                  <a:lnTo>
                    <a:pt x="46" y="152"/>
                  </a:lnTo>
                  <a:lnTo>
                    <a:pt x="49" y="154"/>
                  </a:lnTo>
                  <a:lnTo>
                    <a:pt x="49" y="154"/>
                  </a:lnTo>
                  <a:lnTo>
                    <a:pt x="51" y="154"/>
                  </a:lnTo>
                  <a:lnTo>
                    <a:pt x="51" y="154"/>
                  </a:lnTo>
                  <a:lnTo>
                    <a:pt x="51" y="154"/>
                  </a:lnTo>
                  <a:lnTo>
                    <a:pt x="51" y="154"/>
                  </a:lnTo>
                  <a:lnTo>
                    <a:pt x="51" y="154"/>
                  </a:lnTo>
                  <a:lnTo>
                    <a:pt x="51" y="154"/>
                  </a:lnTo>
                  <a:lnTo>
                    <a:pt x="51" y="154"/>
                  </a:lnTo>
                  <a:lnTo>
                    <a:pt x="51" y="154"/>
                  </a:lnTo>
                  <a:lnTo>
                    <a:pt x="52" y="154"/>
                  </a:lnTo>
                  <a:lnTo>
                    <a:pt x="52" y="154"/>
                  </a:lnTo>
                  <a:lnTo>
                    <a:pt x="52" y="154"/>
                  </a:lnTo>
                  <a:lnTo>
                    <a:pt x="52" y="154"/>
                  </a:lnTo>
                  <a:lnTo>
                    <a:pt x="52" y="154"/>
                  </a:lnTo>
                  <a:lnTo>
                    <a:pt x="52" y="154"/>
                  </a:lnTo>
                  <a:lnTo>
                    <a:pt x="54" y="154"/>
                  </a:lnTo>
                  <a:lnTo>
                    <a:pt x="54" y="154"/>
                  </a:lnTo>
                  <a:lnTo>
                    <a:pt x="54" y="154"/>
                  </a:lnTo>
                  <a:lnTo>
                    <a:pt x="54" y="154"/>
                  </a:lnTo>
                  <a:lnTo>
                    <a:pt x="58" y="154"/>
                  </a:lnTo>
                  <a:lnTo>
                    <a:pt x="58" y="154"/>
                  </a:lnTo>
                  <a:lnTo>
                    <a:pt x="62" y="152"/>
                  </a:lnTo>
                  <a:lnTo>
                    <a:pt x="62" y="152"/>
                  </a:lnTo>
                  <a:lnTo>
                    <a:pt x="103" y="152"/>
                  </a:lnTo>
                  <a:lnTo>
                    <a:pt x="113" y="132"/>
                  </a:lnTo>
                  <a:lnTo>
                    <a:pt x="107" y="128"/>
                  </a:lnTo>
                  <a:lnTo>
                    <a:pt x="100" y="0"/>
                  </a:lnTo>
                  <a:lnTo>
                    <a:pt x="142" y="0"/>
                  </a:lnTo>
                  <a:lnTo>
                    <a:pt x="142" y="0"/>
                  </a:lnTo>
                  <a:lnTo>
                    <a:pt x="168" y="18"/>
                  </a:lnTo>
                  <a:lnTo>
                    <a:pt x="168" y="18"/>
                  </a:lnTo>
                  <a:lnTo>
                    <a:pt x="199" y="39"/>
                  </a:lnTo>
                  <a:lnTo>
                    <a:pt x="225" y="61"/>
                  </a:lnTo>
                  <a:lnTo>
                    <a:pt x="255" y="87"/>
                  </a:lnTo>
                  <a:lnTo>
                    <a:pt x="255" y="87"/>
                  </a:lnTo>
                  <a:lnTo>
                    <a:pt x="256" y="90"/>
                  </a:lnTo>
                  <a:lnTo>
                    <a:pt x="256" y="90"/>
                  </a:lnTo>
                  <a:lnTo>
                    <a:pt x="255" y="91"/>
                  </a:lnTo>
                  <a:lnTo>
                    <a:pt x="252" y="93"/>
                  </a:lnTo>
                  <a:lnTo>
                    <a:pt x="249" y="96"/>
                  </a:lnTo>
                  <a:lnTo>
                    <a:pt x="248" y="97"/>
                  </a:lnTo>
                  <a:lnTo>
                    <a:pt x="248" y="97"/>
                  </a:lnTo>
                  <a:lnTo>
                    <a:pt x="248" y="99"/>
                  </a:lnTo>
                  <a:lnTo>
                    <a:pt x="248" y="99"/>
                  </a:lnTo>
                  <a:lnTo>
                    <a:pt x="249" y="99"/>
                  </a:lnTo>
                  <a:lnTo>
                    <a:pt x="249" y="99"/>
                  </a:lnTo>
                  <a:lnTo>
                    <a:pt x="252" y="99"/>
                  </a:lnTo>
                  <a:lnTo>
                    <a:pt x="252" y="99"/>
                  </a:lnTo>
                  <a:lnTo>
                    <a:pt x="268" y="97"/>
                  </a:lnTo>
                  <a:lnTo>
                    <a:pt x="268" y="120"/>
                  </a:lnTo>
                  <a:lnTo>
                    <a:pt x="268" y="120"/>
                  </a:lnTo>
                  <a:lnTo>
                    <a:pt x="268" y="126"/>
                  </a:lnTo>
                  <a:lnTo>
                    <a:pt x="267" y="132"/>
                  </a:lnTo>
                  <a:lnTo>
                    <a:pt x="262" y="145"/>
                  </a:lnTo>
                  <a:lnTo>
                    <a:pt x="256" y="157"/>
                  </a:lnTo>
                  <a:lnTo>
                    <a:pt x="217" y="157"/>
                  </a:lnTo>
                  <a:lnTo>
                    <a:pt x="217" y="164"/>
                  </a:lnTo>
                  <a:lnTo>
                    <a:pt x="217" y="164"/>
                  </a:lnTo>
                  <a:lnTo>
                    <a:pt x="212" y="164"/>
                  </a:lnTo>
                  <a:lnTo>
                    <a:pt x="204" y="162"/>
                  </a:lnTo>
                  <a:lnTo>
                    <a:pt x="196" y="159"/>
                  </a:lnTo>
                  <a:lnTo>
                    <a:pt x="196" y="159"/>
                  </a:lnTo>
                  <a:lnTo>
                    <a:pt x="196" y="159"/>
                  </a:lnTo>
                  <a:lnTo>
                    <a:pt x="196" y="159"/>
                  </a:lnTo>
                  <a:lnTo>
                    <a:pt x="194" y="158"/>
                  </a:lnTo>
                  <a:lnTo>
                    <a:pt x="194" y="158"/>
                  </a:lnTo>
                  <a:lnTo>
                    <a:pt x="190" y="158"/>
                  </a:lnTo>
                  <a:lnTo>
                    <a:pt x="190" y="158"/>
                  </a:lnTo>
                  <a:lnTo>
                    <a:pt x="190" y="158"/>
                  </a:lnTo>
                  <a:lnTo>
                    <a:pt x="190" y="158"/>
                  </a:lnTo>
                  <a:lnTo>
                    <a:pt x="183" y="159"/>
                  </a:lnTo>
                  <a:lnTo>
                    <a:pt x="177" y="164"/>
                  </a:lnTo>
                  <a:lnTo>
                    <a:pt x="168" y="173"/>
                  </a:lnTo>
                  <a:lnTo>
                    <a:pt x="168" y="173"/>
                  </a:lnTo>
                  <a:lnTo>
                    <a:pt x="168" y="173"/>
                  </a:lnTo>
                  <a:lnTo>
                    <a:pt x="168" y="173"/>
                  </a:lnTo>
                  <a:lnTo>
                    <a:pt x="168" y="173"/>
                  </a:lnTo>
                  <a:lnTo>
                    <a:pt x="168" y="173"/>
                  </a:lnTo>
                  <a:lnTo>
                    <a:pt x="167" y="173"/>
                  </a:lnTo>
                  <a:lnTo>
                    <a:pt x="167" y="173"/>
                  </a:lnTo>
                  <a:lnTo>
                    <a:pt x="167" y="174"/>
                  </a:lnTo>
                  <a:lnTo>
                    <a:pt x="167" y="174"/>
                  </a:lnTo>
                  <a:lnTo>
                    <a:pt x="167" y="174"/>
                  </a:lnTo>
                  <a:lnTo>
                    <a:pt x="167" y="174"/>
                  </a:lnTo>
                  <a:lnTo>
                    <a:pt x="167" y="174"/>
                  </a:lnTo>
                  <a:lnTo>
                    <a:pt x="167" y="174"/>
                  </a:lnTo>
                  <a:lnTo>
                    <a:pt x="167" y="174"/>
                  </a:lnTo>
                  <a:lnTo>
                    <a:pt x="167" y="174"/>
                  </a:lnTo>
                  <a:lnTo>
                    <a:pt x="167" y="174"/>
                  </a:lnTo>
                  <a:lnTo>
                    <a:pt x="167" y="174"/>
                  </a:lnTo>
                  <a:lnTo>
                    <a:pt x="155" y="183"/>
                  </a:lnTo>
                  <a:lnTo>
                    <a:pt x="149" y="187"/>
                  </a:lnTo>
                  <a:lnTo>
                    <a:pt x="142" y="191"/>
                  </a:lnTo>
                  <a:lnTo>
                    <a:pt x="142" y="191"/>
                  </a:lnTo>
                  <a:lnTo>
                    <a:pt x="136" y="194"/>
                  </a:lnTo>
                  <a:lnTo>
                    <a:pt x="132" y="199"/>
                  </a:lnTo>
                  <a:lnTo>
                    <a:pt x="125" y="209"/>
                  </a:lnTo>
                  <a:lnTo>
                    <a:pt x="125" y="209"/>
                  </a:lnTo>
                  <a:lnTo>
                    <a:pt x="122" y="215"/>
                  </a:lnTo>
                  <a:lnTo>
                    <a:pt x="117" y="217"/>
                  </a:lnTo>
                  <a:lnTo>
                    <a:pt x="107" y="223"/>
                  </a:lnTo>
                  <a:lnTo>
                    <a:pt x="107" y="223"/>
                  </a:lnTo>
                  <a:lnTo>
                    <a:pt x="107" y="223"/>
                  </a:lnTo>
                  <a:lnTo>
                    <a:pt x="107" y="223"/>
                  </a:lnTo>
                  <a:lnTo>
                    <a:pt x="107" y="225"/>
                  </a:lnTo>
                  <a:lnTo>
                    <a:pt x="107" y="225"/>
                  </a:lnTo>
                  <a:lnTo>
                    <a:pt x="107" y="225"/>
                  </a:lnTo>
                  <a:lnTo>
                    <a:pt x="107" y="225"/>
                  </a:lnTo>
                  <a:lnTo>
                    <a:pt x="107" y="225"/>
                  </a:lnTo>
                  <a:lnTo>
                    <a:pt x="107" y="225"/>
                  </a:lnTo>
                  <a:lnTo>
                    <a:pt x="107" y="225"/>
                  </a:lnTo>
                  <a:lnTo>
                    <a:pt x="107" y="225"/>
                  </a:lnTo>
                  <a:lnTo>
                    <a:pt x="107" y="225"/>
                  </a:lnTo>
                  <a:lnTo>
                    <a:pt x="107" y="225"/>
                  </a:lnTo>
                  <a:lnTo>
                    <a:pt x="107" y="225"/>
                  </a:lnTo>
                  <a:lnTo>
                    <a:pt x="107" y="225"/>
                  </a:lnTo>
                  <a:lnTo>
                    <a:pt x="107" y="225"/>
                  </a:lnTo>
                  <a:lnTo>
                    <a:pt x="107" y="225"/>
                  </a:lnTo>
                  <a:lnTo>
                    <a:pt x="107" y="225"/>
                  </a:lnTo>
                  <a:lnTo>
                    <a:pt x="107" y="225"/>
                  </a:lnTo>
                  <a:lnTo>
                    <a:pt x="107" y="225"/>
                  </a:lnTo>
                  <a:lnTo>
                    <a:pt x="107" y="228"/>
                  </a:lnTo>
                  <a:lnTo>
                    <a:pt x="107" y="230"/>
                  </a:lnTo>
                  <a:lnTo>
                    <a:pt x="113" y="236"/>
                  </a:lnTo>
                  <a:lnTo>
                    <a:pt x="113" y="236"/>
                  </a:lnTo>
                  <a:lnTo>
                    <a:pt x="113" y="236"/>
                  </a:lnTo>
                  <a:lnTo>
                    <a:pt x="113" y="236"/>
                  </a:lnTo>
                  <a:lnTo>
                    <a:pt x="112" y="236"/>
                  </a:lnTo>
                  <a:lnTo>
                    <a:pt x="112" y="236"/>
                  </a:lnTo>
                  <a:lnTo>
                    <a:pt x="112" y="236"/>
                  </a:lnTo>
                  <a:lnTo>
                    <a:pt x="112" y="236"/>
                  </a:lnTo>
                  <a:lnTo>
                    <a:pt x="112" y="236"/>
                  </a:lnTo>
                  <a:lnTo>
                    <a:pt x="112" y="236"/>
                  </a:lnTo>
                  <a:lnTo>
                    <a:pt x="112" y="236"/>
                  </a:lnTo>
                  <a:lnTo>
                    <a:pt x="109" y="238"/>
                  </a:lnTo>
                  <a:lnTo>
                    <a:pt x="109" y="238"/>
                  </a:lnTo>
                  <a:lnTo>
                    <a:pt x="109" y="238"/>
                  </a:lnTo>
                  <a:lnTo>
                    <a:pt x="109" y="238"/>
                  </a:lnTo>
                  <a:lnTo>
                    <a:pt x="109" y="238"/>
                  </a:lnTo>
                  <a:lnTo>
                    <a:pt x="109" y="238"/>
                  </a:lnTo>
                  <a:lnTo>
                    <a:pt x="109" y="238"/>
                  </a:lnTo>
                  <a:lnTo>
                    <a:pt x="109" y="238"/>
                  </a:lnTo>
                  <a:lnTo>
                    <a:pt x="99" y="242"/>
                  </a:lnTo>
                  <a:lnTo>
                    <a:pt x="91" y="244"/>
                  </a:lnTo>
                  <a:lnTo>
                    <a:pt x="91" y="2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53" name="Freeform 108"/>
            <p:cNvSpPr>
              <a:spLocks/>
            </p:cNvSpPr>
            <p:nvPr/>
          </p:nvSpPr>
          <p:spPr bwMode="auto">
            <a:xfrm>
              <a:off x="3897313" y="4413679"/>
              <a:ext cx="63500" cy="22225"/>
            </a:xfrm>
            <a:custGeom>
              <a:avLst/>
              <a:gdLst>
                <a:gd name="T0" fmla="*/ 1 w 40"/>
                <a:gd name="T1" fmla="*/ 14 h 14"/>
                <a:gd name="T2" fmla="*/ 1 w 40"/>
                <a:gd name="T3" fmla="*/ 14 h 14"/>
                <a:gd name="T4" fmla="*/ 1 w 40"/>
                <a:gd name="T5" fmla="*/ 13 h 14"/>
                <a:gd name="T6" fmla="*/ 1 w 40"/>
                <a:gd name="T7" fmla="*/ 13 h 14"/>
                <a:gd name="T8" fmla="*/ 0 w 40"/>
                <a:gd name="T9" fmla="*/ 7 h 14"/>
                <a:gd name="T10" fmla="*/ 0 w 40"/>
                <a:gd name="T11" fmla="*/ 7 h 14"/>
                <a:gd name="T12" fmla="*/ 3 w 40"/>
                <a:gd name="T13" fmla="*/ 7 h 14"/>
                <a:gd name="T14" fmla="*/ 3 w 40"/>
                <a:gd name="T15" fmla="*/ 7 h 14"/>
                <a:gd name="T16" fmla="*/ 3 w 40"/>
                <a:gd name="T17" fmla="*/ 7 h 14"/>
                <a:gd name="T18" fmla="*/ 3 w 40"/>
                <a:gd name="T19" fmla="*/ 7 h 14"/>
                <a:gd name="T20" fmla="*/ 10 w 40"/>
                <a:gd name="T21" fmla="*/ 7 h 14"/>
                <a:gd name="T22" fmla="*/ 17 w 40"/>
                <a:gd name="T23" fmla="*/ 4 h 14"/>
                <a:gd name="T24" fmla="*/ 26 w 40"/>
                <a:gd name="T25" fmla="*/ 0 h 14"/>
                <a:gd name="T26" fmla="*/ 26 w 40"/>
                <a:gd name="T27" fmla="*/ 0 h 14"/>
                <a:gd name="T28" fmla="*/ 26 w 40"/>
                <a:gd name="T29" fmla="*/ 0 h 14"/>
                <a:gd name="T30" fmla="*/ 26 w 40"/>
                <a:gd name="T31" fmla="*/ 0 h 14"/>
                <a:gd name="T32" fmla="*/ 26 w 40"/>
                <a:gd name="T33" fmla="*/ 0 h 14"/>
                <a:gd name="T34" fmla="*/ 27 w 40"/>
                <a:gd name="T35" fmla="*/ 0 h 14"/>
                <a:gd name="T36" fmla="*/ 27 w 40"/>
                <a:gd name="T37" fmla="*/ 0 h 14"/>
                <a:gd name="T38" fmla="*/ 27 w 40"/>
                <a:gd name="T39" fmla="*/ 0 h 14"/>
                <a:gd name="T40" fmla="*/ 27 w 40"/>
                <a:gd name="T41" fmla="*/ 0 h 14"/>
                <a:gd name="T42" fmla="*/ 27 w 40"/>
                <a:gd name="T43" fmla="*/ 0 h 14"/>
                <a:gd name="T44" fmla="*/ 29 w 40"/>
                <a:gd name="T45" fmla="*/ 0 h 14"/>
                <a:gd name="T46" fmla="*/ 29 w 40"/>
                <a:gd name="T47" fmla="*/ 0 h 14"/>
                <a:gd name="T48" fmla="*/ 33 w 40"/>
                <a:gd name="T49" fmla="*/ 1 h 14"/>
                <a:gd name="T50" fmla="*/ 33 w 40"/>
                <a:gd name="T51" fmla="*/ 1 h 14"/>
                <a:gd name="T52" fmla="*/ 33 w 40"/>
                <a:gd name="T53" fmla="*/ 1 h 14"/>
                <a:gd name="T54" fmla="*/ 33 w 40"/>
                <a:gd name="T55" fmla="*/ 1 h 14"/>
                <a:gd name="T56" fmla="*/ 33 w 40"/>
                <a:gd name="T57" fmla="*/ 1 h 14"/>
                <a:gd name="T58" fmla="*/ 33 w 40"/>
                <a:gd name="T59" fmla="*/ 1 h 14"/>
                <a:gd name="T60" fmla="*/ 39 w 40"/>
                <a:gd name="T61" fmla="*/ 7 h 14"/>
                <a:gd name="T62" fmla="*/ 40 w 40"/>
                <a:gd name="T63" fmla="*/ 10 h 14"/>
                <a:gd name="T64" fmla="*/ 39 w 40"/>
                <a:gd name="T65" fmla="*/ 11 h 14"/>
                <a:gd name="T66" fmla="*/ 39 w 40"/>
                <a:gd name="T67" fmla="*/ 11 h 14"/>
                <a:gd name="T68" fmla="*/ 39 w 40"/>
                <a:gd name="T69" fmla="*/ 13 h 14"/>
                <a:gd name="T70" fmla="*/ 39 w 40"/>
                <a:gd name="T71" fmla="*/ 13 h 14"/>
                <a:gd name="T72" fmla="*/ 39 w 40"/>
                <a:gd name="T73" fmla="*/ 13 h 14"/>
                <a:gd name="T74" fmla="*/ 39 w 40"/>
                <a:gd name="T75" fmla="*/ 13 h 14"/>
                <a:gd name="T76" fmla="*/ 36 w 40"/>
                <a:gd name="T77" fmla="*/ 13 h 14"/>
                <a:gd name="T78" fmla="*/ 33 w 40"/>
                <a:gd name="T79" fmla="*/ 14 h 14"/>
                <a:gd name="T80" fmla="*/ 33 w 40"/>
                <a:gd name="T81" fmla="*/ 14 h 14"/>
                <a:gd name="T82" fmla="*/ 33 w 40"/>
                <a:gd name="T83" fmla="*/ 14 h 14"/>
                <a:gd name="T84" fmla="*/ 33 w 40"/>
                <a:gd name="T85" fmla="*/ 14 h 14"/>
                <a:gd name="T86" fmla="*/ 26 w 40"/>
                <a:gd name="T87" fmla="*/ 13 h 14"/>
                <a:gd name="T88" fmla="*/ 26 w 40"/>
                <a:gd name="T89" fmla="*/ 13 h 14"/>
                <a:gd name="T90" fmla="*/ 19 w 40"/>
                <a:gd name="T91" fmla="*/ 13 h 14"/>
                <a:gd name="T92" fmla="*/ 19 w 40"/>
                <a:gd name="T93" fmla="*/ 13 h 14"/>
                <a:gd name="T94" fmla="*/ 1 w 40"/>
                <a:gd name="T95"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 h="14">
                  <a:moveTo>
                    <a:pt x="1" y="14"/>
                  </a:moveTo>
                  <a:lnTo>
                    <a:pt x="1" y="14"/>
                  </a:lnTo>
                  <a:lnTo>
                    <a:pt x="1" y="13"/>
                  </a:lnTo>
                  <a:lnTo>
                    <a:pt x="1" y="13"/>
                  </a:lnTo>
                  <a:lnTo>
                    <a:pt x="0" y="7"/>
                  </a:lnTo>
                  <a:lnTo>
                    <a:pt x="0" y="7"/>
                  </a:lnTo>
                  <a:lnTo>
                    <a:pt x="3" y="7"/>
                  </a:lnTo>
                  <a:lnTo>
                    <a:pt x="3" y="7"/>
                  </a:lnTo>
                  <a:lnTo>
                    <a:pt x="3" y="7"/>
                  </a:lnTo>
                  <a:lnTo>
                    <a:pt x="3" y="7"/>
                  </a:lnTo>
                  <a:lnTo>
                    <a:pt x="10" y="7"/>
                  </a:lnTo>
                  <a:lnTo>
                    <a:pt x="17" y="4"/>
                  </a:lnTo>
                  <a:lnTo>
                    <a:pt x="26" y="0"/>
                  </a:lnTo>
                  <a:lnTo>
                    <a:pt x="26" y="0"/>
                  </a:lnTo>
                  <a:lnTo>
                    <a:pt x="26" y="0"/>
                  </a:lnTo>
                  <a:lnTo>
                    <a:pt x="26" y="0"/>
                  </a:lnTo>
                  <a:lnTo>
                    <a:pt x="26" y="0"/>
                  </a:lnTo>
                  <a:lnTo>
                    <a:pt x="27" y="0"/>
                  </a:lnTo>
                  <a:lnTo>
                    <a:pt x="27" y="0"/>
                  </a:lnTo>
                  <a:lnTo>
                    <a:pt x="27" y="0"/>
                  </a:lnTo>
                  <a:lnTo>
                    <a:pt x="27" y="0"/>
                  </a:lnTo>
                  <a:lnTo>
                    <a:pt x="27" y="0"/>
                  </a:lnTo>
                  <a:lnTo>
                    <a:pt x="29" y="0"/>
                  </a:lnTo>
                  <a:lnTo>
                    <a:pt x="29" y="0"/>
                  </a:lnTo>
                  <a:lnTo>
                    <a:pt x="33" y="1"/>
                  </a:lnTo>
                  <a:lnTo>
                    <a:pt x="33" y="1"/>
                  </a:lnTo>
                  <a:lnTo>
                    <a:pt x="33" y="1"/>
                  </a:lnTo>
                  <a:lnTo>
                    <a:pt x="33" y="1"/>
                  </a:lnTo>
                  <a:lnTo>
                    <a:pt x="33" y="1"/>
                  </a:lnTo>
                  <a:lnTo>
                    <a:pt x="33" y="1"/>
                  </a:lnTo>
                  <a:lnTo>
                    <a:pt x="39" y="7"/>
                  </a:lnTo>
                  <a:lnTo>
                    <a:pt x="40" y="10"/>
                  </a:lnTo>
                  <a:lnTo>
                    <a:pt x="39" y="11"/>
                  </a:lnTo>
                  <a:lnTo>
                    <a:pt x="39" y="11"/>
                  </a:lnTo>
                  <a:lnTo>
                    <a:pt x="39" y="13"/>
                  </a:lnTo>
                  <a:lnTo>
                    <a:pt x="39" y="13"/>
                  </a:lnTo>
                  <a:lnTo>
                    <a:pt x="39" y="13"/>
                  </a:lnTo>
                  <a:lnTo>
                    <a:pt x="39" y="13"/>
                  </a:lnTo>
                  <a:lnTo>
                    <a:pt x="36" y="13"/>
                  </a:lnTo>
                  <a:lnTo>
                    <a:pt x="33" y="14"/>
                  </a:lnTo>
                  <a:lnTo>
                    <a:pt x="33" y="14"/>
                  </a:lnTo>
                  <a:lnTo>
                    <a:pt x="33" y="14"/>
                  </a:lnTo>
                  <a:lnTo>
                    <a:pt x="33" y="14"/>
                  </a:lnTo>
                  <a:lnTo>
                    <a:pt x="26" y="13"/>
                  </a:lnTo>
                  <a:lnTo>
                    <a:pt x="26" y="13"/>
                  </a:lnTo>
                  <a:lnTo>
                    <a:pt x="19" y="13"/>
                  </a:lnTo>
                  <a:lnTo>
                    <a:pt x="19" y="13"/>
                  </a:lnTo>
                  <a:lnTo>
                    <a:pt x="1" y="14"/>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54" name="Freeform 109"/>
            <p:cNvSpPr>
              <a:spLocks/>
            </p:cNvSpPr>
            <p:nvPr/>
          </p:nvSpPr>
          <p:spPr bwMode="auto">
            <a:xfrm>
              <a:off x="3897313" y="4413679"/>
              <a:ext cx="63500" cy="22225"/>
            </a:xfrm>
            <a:custGeom>
              <a:avLst/>
              <a:gdLst>
                <a:gd name="T0" fmla="*/ 1 w 40"/>
                <a:gd name="T1" fmla="*/ 14 h 14"/>
                <a:gd name="T2" fmla="*/ 1 w 40"/>
                <a:gd name="T3" fmla="*/ 14 h 14"/>
                <a:gd name="T4" fmla="*/ 1 w 40"/>
                <a:gd name="T5" fmla="*/ 13 h 14"/>
                <a:gd name="T6" fmla="*/ 1 w 40"/>
                <a:gd name="T7" fmla="*/ 13 h 14"/>
                <a:gd name="T8" fmla="*/ 0 w 40"/>
                <a:gd name="T9" fmla="*/ 7 h 14"/>
                <a:gd name="T10" fmla="*/ 0 w 40"/>
                <a:gd name="T11" fmla="*/ 7 h 14"/>
                <a:gd name="T12" fmla="*/ 3 w 40"/>
                <a:gd name="T13" fmla="*/ 7 h 14"/>
                <a:gd name="T14" fmla="*/ 3 w 40"/>
                <a:gd name="T15" fmla="*/ 7 h 14"/>
                <a:gd name="T16" fmla="*/ 3 w 40"/>
                <a:gd name="T17" fmla="*/ 7 h 14"/>
                <a:gd name="T18" fmla="*/ 3 w 40"/>
                <a:gd name="T19" fmla="*/ 7 h 14"/>
                <a:gd name="T20" fmla="*/ 10 w 40"/>
                <a:gd name="T21" fmla="*/ 7 h 14"/>
                <a:gd name="T22" fmla="*/ 17 w 40"/>
                <a:gd name="T23" fmla="*/ 4 h 14"/>
                <a:gd name="T24" fmla="*/ 26 w 40"/>
                <a:gd name="T25" fmla="*/ 0 h 14"/>
                <a:gd name="T26" fmla="*/ 26 w 40"/>
                <a:gd name="T27" fmla="*/ 0 h 14"/>
                <a:gd name="T28" fmla="*/ 26 w 40"/>
                <a:gd name="T29" fmla="*/ 0 h 14"/>
                <a:gd name="T30" fmla="*/ 26 w 40"/>
                <a:gd name="T31" fmla="*/ 0 h 14"/>
                <a:gd name="T32" fmla="*/ 26 w 40"/>
                <a:gd name="T33" fmla="*/ 0 h 14"/>
                <a:gd name="T34" fmla="*/ 27 w 40"/>
                <a:gd name="T35" fmla="*/ 0 h 14"/>
                <a:gd name="T36" fmla="*/ 27 w 40"/>
                <a:gd name="T37" fmla="*/ 0 h 14"/>
                <a:gd name="T38" fmla="*/ 27 w 40"/>
                <a:gd name="T39" fmla="*/ 0 h 14"/>
                <a:gd name="T40" fmla="*/ 27 w 40"/>
                <a:gd name="T41" fmla="*/ 0 h 14"/>
                <a:gd name="T42" fmla="*/ 27 w 40"/>
                <a:gd name="T43" fmla="*/ 0 h 14"/>
                <a:gd name="T44" fmla="*/ 29 w 40"/>
                <a:gd name="T45" fmla="*/ 0 h 14"/>
                <a:gd name="T46" fmla="*/ 29 w 40"/>
                <a:gd name="T47" fmla="*/ 0 h 14"/>
                <a:gd name="T48" fmla="*/ 33 w 40"/>
                <a:gd name="T49" fmla="*/ 1 h 14"/>
                <a:gd name="T50" fmla="*/ 33 w 40"/>
                <a:gd name="T51" fmla="*/ 1 h 14"/>
                <a:gd name="T52" fmla="*/ 33 w 40"/>
                <a:gd name="T53" fmla="*/ 1 h 14"/>
                <a:gd name="T54" fmla="*/ 33 w 40"/>
                <a:gd name="T55" fmla="*/ 1 h 14"/>
                <a:gd name="T56" fmla="*/ 33 w 40"/>
                <a:gd name="T57" fmla="*/ 1 h 14"/>
                <a:gd name="T58" fmla="*/ 33 w 40"/>
                <a:gd name="T59" fmla="*/ 1 h 14"/>
                <a:gd name="T60" fmla="*/ 39 w 40"/>
                <a:gd name="T61" fmla="*/ 7 h 14"/>
                <a:gd name="T62" fmla="*/ 40 w 40"/>
                <a:gd name="T63" fmla="*/ 10 h 14"/>
                <a:gd name="T64" fmla="*/ 39 w 40"/>
                <a:gd name="T65" fmla="*/ 11 h 14"/>
                <a:gd name="T66" fmla="*/ 39 w 40"/>
                <a:gd name="T67" fmla="*/ 11 h 14"/>
                <a:gd name="T68" fmla="*/ 39 w 40"/>
                <a:gd name="T69" fmla="*/ 13 h 14"/>
                <a:gd name="T70" fmla="*/ 39 w 40"/>
                <a:gd name="T71" fmla="*/ 13 h 14"/>
                <a:gd name="T72" fmla="*/ 39 w 40"/>
                <a:gd name="T73" fmla="*/ 13 h 14"/>
                <a:gd name="T74" fmla="*/ 39 w 40"/>
                <a:gd name="T75" fmla="*/ 13 h 14"/>
                <a:gd name="T76" fmla="*/ 36 w 40"/>
                <a:gd name="T77" fmla="*/ 13 h 14"/>
                <a:gd name="T78" fmla="*/ 33 w 40"/>
                <a:gd name="T79" fmla="*/ 14 h 14"/>
                <a:gd name="T80" fmla="*/ 33 w 40"/>
                <a:gd name="T81" fmla="*/ 14 h 14"/>
                <a:gd name="T82" fmla="*/ 33 w 40"/>
                <a:gd name="T83" fmla="*/ 14 h 14"/>
                <a:gd name="T84" fmla="*/ 33 w 40"/>
                <a:gd name="T85" fmla="*/ 14 h 14"/>
                <a:gd name="T86" fmla="*/ 26 w 40"/>
                <a:gd name="T87" fmla="*/ 13 h 14"/>
                <a:gd name="T88" fmla="*/ 26 w 40"/>
                <a:gd name="T89" fmla="*/ 13 h 14"/>
                <a:gd name="T90" fmla="*/ 19 w 40"/>
                <a:gd name="T91" fmla="*/ 13 h 14"/>
                <a:gd name="T92" fmla="*/ 19 w 40"/>
                <a:gd name="T93" fmla="*/ 13 h 14"/>
                <a:gd name="T94" fmla="*/ 1 w 40"/>
                <a:gd name="T95"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 h="14">
                  <a:moveTo>
                    <a:pt x="1" y="14"/>
                  </a:moveTo>
                  <a:lnTo>
                    <a:pt x="1" y="14"/>
                  </a:lnTo>
                  <a:lnTo>
                    <a:pt x="1" y="13"/>
                  </a:lnTo>
                  <a:lnTo>
                    <a:pt x="1" y="13"/>
                  </a:lnTo>
                  <a:lnTo>
                    <a:pt x="0" y="7"/>
                  </a:lnTo>
                  <a:lnTo>
                    <a:pt x="0" y="7"/>
                  </a:lnTo>
                  <a:lnTo>
                    <a:pt x="3" y="7"/>
                  </a:lnTo>
                  <a:lnTo>
                    <a:pt x="3" y="7"/>
                  </a:lnTo>
                  <a:lnTo>
                    <a:pt x="3" y="7"/>
                  </a:lnTo>
                  <a:lnTo>
                    <a:pt x="3" y="7"/>
                  </a:lnTo>
                  <a:lnTo>
                    <a:pt x="10" y="7"/>
                  </a:lnTo>
                  <a:lnTo>
                    <a:pt x="17" y="4"/>
                  </a:lnTo>
                  <a:lnTo>
                    <a:pt x="26" y="0"/>
                  </a:lnTo>
                  <a:lnTo>
                    <a:pt x="26" y="0"/>
                  </a:lnTo>
                  <a:lnTo>
                    <a:pt x="26" y="0"/>
                  </a:lnTo>
                  <a:lnTo>
                    <a:pt x="26" y="0"/>
                  </a:lnTo>
                  <a:lnTo>
                    <a:pt x="26" y="0"/>
                  </a:lnTo>
                  <a:lnTo>
                    <a:pt x="27" y="0"/>
                  </a:lnTo>
                  <a:lnTo>
                    <a:pt x="27" y="0"/>
                  </a:lnTo>
                  <a:lnTo>
                    <a:pt x="27" y="0"/>
                  </a:lnTo>
                  <a:lnTo>
                    <a:pt x="27" y="0"/>
                  </a:lnTo>
                  <a:lnTo>
                    <a:pt x="27" y="0"/>
                  </a:lnTo>
                  <a:lnTo>
                    <a:pt x="29" y="0"/>
                  </a:lnTo>
                  <a:lnTo>
                    <a:pt x="29" y="0"/>
                  </a:lnTo>
                  <a:lnTo>
                    <a:pt x="33" y="1"/>
                  </a:lnTo>
                  <a:lnTo>
                    <a:pt x="33" y="1"/>
                  </a:lnTo>
                  <a:lnTo>
                    <a:pt x="33" y="1"/>
                  </a:lnTo>
                  <a:lnTo>
                    <a:pt x="33" y="1"/>
                  </a:lnTo>
                  <a:lnTo>
                    <a:pt x="33" y="1"/>
                  </a:lnTo>
                  <a:lnTo>
                    <a:pt x="33" y="1"/>
                  </a:lnTo>
                  <a:lnTo>
                    <a:pt x="39" y="7"/>
                  </a:lnTo>
                  <a:lnTo>
                    <a:pt x="40" y="10"/>
                  </a:lnTo>
                  <a:lnTo>
                    <a:pt x="39" y="11"/>
                  </a:lnTo>
                  <a:lnTo>
                    <a:pt x="39" y="11"/>
                  </a:lnTo>
                  <a:lnTo>
                    <a:pt x="39" y="13"/>
                  </a:lnTo>
                  <a:lnTo>
                    <a:pt x="39" y="13"/>
                  </a:lnTo>
                  <a:lnTo>
                    <a:pt x="39" y="13"/>
                  </a:lnTo>
                  <a:lnTo>
                    <a:pt x="39" y="13"/>
                  </a:lnTo>
                  <a:lnTo>
                    <a:pt x="36" y="13"/>
                  </a:lnTo>
                  <a:lnTo>
                    <a:pt x="33" y="14"/>
                  </a:lnTo>
                  <a:lnTo>
                    <a:pt x="33" y="14"/>
                  </a:lnTo>
                  <a:lnTo>
                    <a:pt x="33" y="14"/>
                  </a:lnTo>
                  <a:lnTo>
                    <a:pt x="33" y="14"/>
                  </a:lnTo>
                  <a:lnTo>
                    <a:pt x="26" y="13"/>
                  </a:lnTo>
                  <a:lnTo>
                    <a:pt x="26" y="13"/>
                  </a:lnTo>
                  <a:lnTo>
                    <a:pt x="19" y="13"/>
                  </a:lnTo>
                  <a:lnTo>
                    <a:pt x="19" y="13"/>
                  </a:lnTo>
                  <a:lnTo>
                    <a:pt x="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55" name="Freeform 110"/>
            <p:cNvSpPr>
              <a:spLocks/>
            </p:cNvSpPr>
            <p:nvPr/>
          </p:nvSpPr>
          <p:spPr bwMode="auto">
            <a:xfrm>
              <a:off x="3883025" y="4042204"/>
              <a:ext cx="342900" cy="341313"/>
            </a:xfrm>
            <a:custGeom>
              <a:avLst/>
              <a:gdLst>
                <a:gd name="T0" fmla="*/ 71 w 216"/>
                <a:gd name="T1" fmla="*/ 215 h 215"/>
                <a:gd name="T2" fmla="*/ 65 w 216"/>
                <a:gd name="T3" fmla="*/ 209 h 215"/>
                <a:gd name="T4" fmla="*/ 63 w 216"/>
                <a:gd name="T5" fmla="*/ 200 h 215"/>
                <a:gd name="T6" fmla="*/ 52 w 216"/>
                <a:gd name="T7" fmla="*/ 197 h 215"/>
                <a:gd name="T8" fmla="*/ 47 w 216"/>
                <a:gd name="T9" fmla="*/ 195 h 215"/>
                <a:gd name="T10" fmla="*/ 44 w 216"/>
                <a:gd name="T11" fmla="*/ 193 h 215"/>
                <a:gd name="T12" fmla="*/ 44 w 216"/>
                <a:gd name="T13" fmla="*/ 193 h 215"/>
                <a:gd name="T14" fmla="*/ 36 w 216"/>
                <a:gd name="T15" fmla="*/ 192 h 215"/>
                <a:gd name="T16" fmla="*/ 13 w 216"/>
                <a:gd name="T17" fmla="*/ 195 h 215"/>
                <a:gd name="T18" fmla="*/ 15 w 216"/>
                <a:gd name="T19" fmla="*/ 187 h 215"/>
                <a:gd name="T20" fmla="*/ 15 w 216"/>
                <a:gd name="T21" fmla="*/ 182 h 215"/>
                <a:gd name="T22" fmla="*/ 19 w 216"/>
                <a:gd name="T23" fmla="*/ 171 h 215"/>
                <a:gd name="T24" fmla="*/ 19 w 216"/>
                <a:gd name="T25" fmla="*/ 161 h 215"/>
                <a:gd name="T26" fmla="*/ 15 w 216"/>
                <a:gd name="T27" fmla="*/ 151 h 215"/>
                <a:gd name="T28" fmla="*/ 12 w 216"/>
                <a:gd name="T29" fmla="*/ 145 h 215"/>
                <a:gd name="T30" fmla="*/ 13 w 216"/>
                <a:gd name="T31" fmla="*/ 138 h 215"/>
                <a:gd name="T32" fmla="*/ 15 w 216"/>
                <a:gd name="T33" fmla="*/ 134 h 215"/>
                <a:gd name="T34" fmla="*/ 6 w 216"/>
                <a:gd name="T35" fmla="*/ 122 h 215"/>
                <a:gd name="T36" fmla="*/ 3 w 216"/>
                <a:gd name="T37" fmla="*/ 118 h 215"/>
                <a:gd name="T38" fmla="*/ 0 w 216"/>
                <a:gd name="T39" fmla="*/ 112 h 215"/>
                <a:gd name="T40" fmla="*/ 78 w 216"/>
                <a:gd name="T41" fmla="*/ 74 h 215"/>
                <a:gd name="T42" fmla="*/ 139 w 216"/>
                <a:gd name="T43" fmla="*/ 0 h 215"/>
                <a:gd name="T44" fmla="*/ 216 w 216"/>
                <a:gd name="T45" fmla="*/ 51 h 215"/>
                <a:gd name="T46" fmla="*/ 187 w 216"/>
                <a:gd name="T47" fmla="*/ 183 h 215"/>
                <a:gd name="T48" fmla="*/ 136 w 216"/>
                <a:gd name="T49" fmla="*/ 203 h 215"/>
                <a:gd name="T50" fmla="*/ 132 w 216"/>
                <a:gd name="T51" fmla="*/ 205 h 215"/>
                <a:gd name="T52" fmla="*/ 128 w 216"/>
                <a:gd name="T53" fmla="*/ 205 h 215"/>
                <a:gd name="T54" fmla="*/ 126 w 216"/>
                <a:gd name="T55" fmla="*/ 205 h 215"/>
                <a:gd name="T56" fmla="*/ 126 w 216"/>
                <a:gd name="T57" fmla="*/ 205 h 215"/>
                <a:gd name="T58" fmla="*/ 125 w 216"/>
                <a:gd name="T59" fmla="*/ 205 h 215"/>
                <a:gd name="T60" fmla="*/ 125 w 216"/>
                <a:gd name="T61" fmla="*/ 205 h 215"/>
                <a:gd name="T62" fmla="*/ 125 w 216"/>
                <a:gd name="T63" fmla="*/ 205 h 215"/>
                <a:gd name="T64" fmla="*/ 120 w 216"/>
                <a:gd name="T65" fmla="*/ 203 h 215"/>
                <a:gd name="T66" fmla="*/ 115 w 216"/>
                <a:gd name="T67" fmla="*/ 200 h 215"/>
                <a:gd name="T68" fmla="*/ 113 w 216"/>
                <a:gd name="T69" fmla="*/ 200 h 215"/>
                <a:gd name="T70" fmla="*/ 113 w 216"/>
                <a:gd name="T71" fmla="*/ 200 h 215"/>
                <a:gd name="T72" fmla="*/ 99 w 216"/>
                <a:gd name="T73" fmla="*/ 202 h 215"/>
                <a:gd name="T74" fmla="*/ 99 w 216"/>
                <a:gd name="T75" fmla="*/ 202 h 215"/>
                <a:gd name="T76" fmla="*/ 99 w 216"/>
                <a:gd name="T77" fmla="*/ 203 h 215"/>
                <a:gd name="T78" fmla="*/ 99 w 216"/>
                <a:gd name="T79" fmla="*/ 203 h 215"/>
                <a:gd name="T80" fmla="*/ 94 w 216"/>
                <a:gd name="T81" fmla="*/ 210 h 215"/>
                <a:gd name="T82" fmla="*/ 94 w 216"/>
                <a:gd name="T83" fmla="*/ 210 h 215"/>
                <a:gd name="T84" fmla="*/ 93 w 216"/>
                <a:gd name="T85" fmla="*/ 210 h 215"/>
                <a:gd name="T86" fmla="*/ 93 w 216"/>
                <a:gd name="T87" fmla="*/ 209 h 215"/>
                <a:gd name="T88" fmla="*/ 93 w 216"/>
                <a:gd name="T89" fmla="*/ 209 h 215"/>
                <a:gd name="T90" fmla="*/ 93 w 216"/>
                <a:gd name="T91" fmla="*/ 209 h 215"/>
                <a:gd name="T92" fmla="*/ 93 w 216"/>
                <a:gd name="T93" fmla="*/ 209 h 215"/>
                <a:gd name="T94" fmla="*/ 93 w 216"/>
                <a:gd name="T95" fmla="*/ 209 h 215"/>
                <a:gd name="T96" fmla="*/ 90 w 216"/>
                <a:gd name="T97" fmla="*/ 206 h 215"/>
                <a:gd name="T98" fmla="*/ 90 w 216"/>
                <a:gd name="T99" fmla="*/ 206 h 215"/>
                <a:gd name="T100" fmla="*/ 84 w 216"/>
                <a:gd name="T101" fmla="*/ 200 h 215"/>
                <a:gd name="T102" fmla="*/ 84 w 216"/>
                <a:gd name="T103" fmla="*/ 200 h 215"/>
                <a:gd name="T104" fmla="*/ 83 w 216"/>
                <a:gd name="T105" fmla="*/ 202 h 215"/>
                <a:gd name="T106" fmla="*/ 83 w 216"/>
                <a:gd name="T107" fmla="*/ 202 h 215"/>
                <a:gd name="T108" fmla="*/ 81 w 216"/>
                <a:gd name="T109" fmla="*/ 203 h 215"/>
                <a:gd name="T110" fmla="*/ 74 w 216"/>
                <a:gd name="T111" fmla="*/ 215 h 215"/>
                <a:gd name="T112" fmla="*/ 74 w 216"/>
                <a:gd name="T113" fmla="*/ 215 h 215"/>
                <a:gd name="T114" fmla="*/ 73 w 216"/>
                <a:gd name="T115"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6" h="215">
                  <a:moveTo>
                    <a:pt x="73" y="215"/>
                  </a:moveTo>
                  <a:lnTo>
                    <a:pt x="73" y="215"/>
                  </a:lnTo>
                  <a:lnTo>
                    <a:pt x="71" y="215"/>
                  </a:lnTo>
                  <a:lnTo>
                    <a:pt x="68" y="213"/>
                  </a:lnTo>
                  <a:lnTo>
                    <a:pt x="68" y="213"/>
                  </a:lnTo>
                  <a:lnTo>
                    <a:pt x="65" y="209"/>
                  </a:lnTo>
                  <a:lnTo>
                    <a:pt x="64" y="206"/>
                  </a:lnTo>
                  <a:lnTo>
                    <a:pt x="63" y="200"/>
                  </a:lnTo>
                  <a:lnTo>
                    <a:pt x="63" y="200"/>
                  </a:lnTo>
                  <a:lnTo>
                    <a:pt x="63" y="197"/>
                  </a:lnTo>
                  <a:lnTo>
                    <a:pt x="52" y="197"/>
                  </a:lnTo>
                  <a:lnTo>
                    <a:pt x="52" y="197"/>
                  </a:lnTo>
                  <a:lnTo>
                    <a:pt x="49" y="197"/>
                  </a:lnTo>
                  <a:lnTo>
                    <a:pt x="48" y="196"/>
                  </a:lnTo>
                  <a:lnTo>
                    <a:pt x="47" y="195"/>
                  </a:lnTo>
                  <a:lnTo>
                    <a:pt x="44" y="193"/>
                  </a:lnTo>
                  <a:lnTo>
                    <a:pt x="44" y="193"/>
                  </a:lnTo>
                  <a:lnTo>
                    <a:pt x="44" y="193"/>
                  </a:lnTo>
                  <a:lnTo>
                    <a:pt x="44" y="193"/>
                  </a:lnTo>
                  <a:lnTo>
                    <a:pt x="44" y="193"/>
                  </a:lnTo>
                  <a:lnTo>
                    <a:pt x="44" y="193"/>
                  </a:lnTo>
                  <a:lnTo>
                    <a:pt x="36" y="192"/>
                  </a:lnTo>
                  <a:lnTo>
                    <a:pt x="36" y="192"/>
                  </a:lnTo>
                  <a:lnTo>
                    <a:pt x="36" y="192"/>
                  </a:lnTo>
                  <a:lnTo>
                    <a:pt x="35" y="192"/>
                  </a:lnTo>
                  <a:lnTo>
                    <a:pt x="35" y="192"/>
                  </a:lnTo>
                  <a:lnTo>
                    <a:pt x="13" y="195"/>
                  </a:lnTo>
                  <a:lnTo>
                    <a:pt x="13" y="195"/>
                  </a:lnTo>
                  <a:lnTo>
                    <a:pt x="15" y="189"/>
                  </a:lnTo>
                  <a:lnTo>
                    <a:pt x="15" y="187"/>
                  </a:lnTo>
                  <a:lnTo>
                    <a:pt x="15" y="187"/>
                  </a:lnTo>
                  <a:lnTo>
                    <a:pt x="15" y="187"/>
                  </a:lnTo>
                  <a:lnTo>
                    <a:pt x="15" y="182"/>
                  </a:lnTo>
                  <a:lnTo>
                    <a:pt x="18" y="177"/>
                  </a:lnTo>
                  <a:lnTo>
                    <a:pt x="18" y="177"/>
                  </a:lnTo>
                  <a:lnTo>
                    <a:pt x="19" y="171"/>
                  </a:lnTo>
                  <a:lnTo>
                    <a:pt x="21" y="166"/>
                  </a:lnTo>
                  <a:lnTo>
                    <a:pt x="21" y="166"/>
                  </a:lnTo>
                  <a:lnTo>
                    <a:pt x="19" y="161"/>
                  </a:lnTo>
                  <a:lnTo>
                    <a:pt x="19" y="161"/>
                  </a:lnTo>
                  <a:lnTo>
                    <a:pt x="16" y="155"/>
                  </a:lnTo>
                  <a:lnTo>
                    <a:pt x="15" y="151"/>
                  </a:lnTo>
                  <a:lnTo>
                    <a:pt x="15" y="151"/>
                  </a:lnTo>
                  <a:lnTo>
                    <a:pt x="12" y="148"/>
                  </a:lnTo>
                  <a:lnTo>
                    <a:pt x="12" y="145"/>
                  </a:lnTo>
                  <a:lnTo>
                    <a:pt x="12" y="144"/>
                  </a:lnTo>
                  <a:lnTo>
                    <a:pt x="12" y="144"/>
                  </a:lnTo>
                  <a:lnTo>
                    <a:pt x="13" y="138"/>
                  </a:lnTo>
                  <a:lnTo>
                    <a:pt x="13" y="138"/>
                  </a:lnTo>
                  <a:lnTo>
                    <a:pt x="15" y="134"/>
                  </a:lnTo>
                  <a:lnTo>
                    <a:pt x="15" y="134"/>
                  </a:lnTo>
                  <a:lnTo>
                    <a:pt x="13" y="129"/>
                  </a:lnTo>
                  <a:lnTo>
                    <a:pt x="13" y="129"/>
                  </a:lnTo>
                  <a:lnTo>
                    <a:pt x="6" y="122"/>
                  </a:lnTo>
                  <a:lnTo>
                    <a:pt x="6" y="122"/>
                  </a:lnTo>
                  <a:lnTo>
                    <a:pt x="3" y="118"/>
                  </a:lnTo>
                  <a:lnTo>
                    <a:pt x="3" y="118"/>
                  </a:lnTo>
                  <a:lnTo>
                    <a:pt x="0" y="116"/>
                  </a:lnTo>
                  <a:lnTo>
                    <a:pt x="0" y="116"/>
                  </a:lnTo>
                  <a:lnTo>
                    <a:pt x="0" y="112"/>
                  </a:lnTo>
                  <a:lnTo>
                    <a:pt x="65" y="112"/>
                  </a:lnTo>
                  <a:lnTo>
                    <a:pt x="67" y="90"/>
                  </a:lnTo>
                  <a:lnTo>
                    <a:pt x="78" y="74"/>
                  </a:lnTo>
                  <a:lnTo>
                    <a:pt x="78" y="31"/>
                  </a:lnTo>
                  <a:lnTo>
                    <a:pt x="139" y="31"/>
                  </a:lnTo>
                  <a:lnTo>
                    <a:pt x="139" y="0"/>
                  </a:lnTo>
                  <a:lnTo>
                    <a:pt x="139" y="0"/>
                  </a:lnTo>
                  <a:lnTo>
                    <a:pt x="164" y="16"/>
                  </a:lnTo>
                  <a:lnTo>
                    <a:pt x="216" y="51"/>
                  </a:lnTo>
                  <a:lnTo>
                    <a:pt x="174" y="51"/>
                  </a:lnTo>
                  <a:lnTo>
                    <a:pt x="181" y="179"/>
                  </a:lnTo>
                  <a:lnTo>
                    <a:pt x="187" y="183"/>
                  </a:lnTo>
                  <a:lnTo>
                    <a:pt x="177" y="203"/>
                  </a:lnTo>
                  <a:lnTo>
                    <a:pt x="177" y="203"/>
                  </a:lnTo>
                  <a:lnTo>
                    <a:pt x="136" y="203"/>
                  </a:lnTo>
                  <a:lnTo>
                    <a:pt x="136" y="203"/>
                  </a:lnTo>
                  <a:lnTo>
                    <a:pt x="132" y="205"/>
                  </a:lnTo>
                  <a:lnTo>
                    <a:pt x="132" y="205"/>
                  </a:lnTo>
                  <a:lnTo>
                    <a:pt x="128" y="205"/>
                  </a:lnTo>
                  <a:lnTo>
                    <a:pt x="128" y="205"/>
                  </a:lnTo>
                  <a:lnTo>
                    <a:pt x="128" y="205"/>
                  </a:lnTo>
                  <a:lnTo>
                    <a:pt x="128" y="205"/>
                  </a:lnTo>
                  <a:lnTo>
                    <a:pt x="126" y="205"/>
                  </a:lnTo>
                  <a:lnTo>
                    <a:pt x="126" y="205"/>
                  </a:lnTo>
                  <a:lnTo>
                    <a:pt x="126" y="205"/>
                  </a:lnTo>
                  <a:lnTo>
                    <a:pt x="126" y="205"/>
                  </a:lnTo>
                  <a:lnTo>
                    <a:pt x="126" y="205"/>
                  </a:lnTo>
                  <a:lnTo>
                    <a:pt x="126" y="205"/>
                  </a:lnTo>
                  <a:lnTo>
                    <a:pt x="125" y="205"/>
                  </a:lnTo>
                  <a:lnTo>
                    <a:pt x="125" y="205"/>
                  </a:lnTo>
                  <a:lnTo>
                    <a:pt x="125" y="205"/>
                  </a:lnTo>
                  <a:lnTo>
                    <a:pt x="125" y="205"/>
                  </a:lnTo>
                  <a:lnTo>
                    <a:pt x="125" y="205"/>
                  </a:lnTo>
                  <a:lnTo>
                    <a:pt x="125" y="205"/>
                  </a:lnTo>
                  <a:lnTo>
                    <a:pt x="125" y="205"/>
                  </a:lnTo>
                  <a:lnTo>
                    <a:pt x="125" y="205"/>
                  </a:lnTo>
                  <a:lnTo>
                    <a:pt x="123" y="205"/>
                  </a:lnTo>
                  <a:lnTo>
                    <a:pt x="123" y="205"/>
                  </a:lnTo>
                  <a:lnTo>
                    <a:pt x="120" y="203"/>
                  </a:lnTo>
                  <a:lnTo>
                    <a:pt x="120" y="203"/>
                  </a:lnTo>
                  <a:lnTo>
                    <a:pt x="118" y="202"/>
                  </a:lnTo>
                  <a:lnTo>
                    <a:pt x="115" y="200"/>
                  </a:lnTo>
                  <a:lnTo>
                    <a:pt x="115" y="200"/>
                  </a:lnTo>
                  <a:lnTo>
                    <a:pt x="115" y="200"/>
                  </a:lnTo>
                  <a:lnTo>
                    <a:pt x="113" y="200"/>
                  </a:lnTo>
                  <a:lnTo>
                    <a:pt x="113" y="200"/>
                  </a:lnTo>
                  <a:lnTo>
                    <a:pt x="113" y="200"/>
                  </a:lnTo>
                  <a:lnTo>
                    <a:pt x="113" y="200"/>
                  </a:lnTo>
                  <a:lnTo>
                    <a:pt x="106" y="200"/>
                  </a:lnTo>
                  <a:lnTo>
                    <a:pt x="102" y="202"/>
                  </a:lnTo>
                  <a:lnTo>
                    <a:pt x="99" y="202"/>
                  </a:lnTo>
                  <a:lnTo>
                    <a:pt x="99" y="202"/>
                  </a:lnTo>
                  <a:lnTo>
                    <a:pt x="99" y="202"/>
                  </a:lnTo>
                  <a:lnTo>
                    <a:pt x="99" y="202"/>
                  </a:lnTo>
                  <a:lnTo>
                    <a:pt x="99" y="202"/>
                  </a:lnTo>
                  <a:lnTo>
                    <a:pt x="99" y="202"/>
                  </a:lnTo>
                  <a:lnTo>
                    <a:pt x="99" y="203"/>
                  </a:lnTo>
                  <a:lnTo>
                    <a:pt x="99" y="203"/>
                  </a:lnTo>
                  <a:lnTo>
                    <a:pt x="99" y="203"/>
                  </a:lnTo>
                  <a:lnTo>
                    <a:pt x="99" y="203"/>
                  </a:lnTo>
                  <a:lnTo>
                    <a:pt x="97" y="208"/>
                  </a:lnTo>
                  <a:lnTo>
                    <a:pt x="96" y="209"/>
                  </a:lnTo>
                  <a:lnTo>
                    <a:pt x="94" y="210"/>
                  </a:lnTo>
                  <a:lnTo>
                    <a:pt x="94" y="210"/>
                  </a:lnTo>
                  <a:lnTo>
                    <a:pt x="94" y="210"/>
                  </a:lnTo>
                  <a:lnTo>
                    <a:pt x="94" y="210"/>
                  </a:lnTo>
                  <a:lnTo>
                    <a:pt x="93" y="210"/>
                  </a:lnTo>
                  <a:lnTo>
                    <a:pt x="93" y="210"/>
                  </a:lnTo>
                  <a:lnTo>
                    <a:pt x="93" y="210"/>
                  </a:lnTo>
                  <a:lnTo>
                    <a:pt x="93" y="210"/>
                  </a:lnTo>
                  <a:lnTo>
                    <a:pt x="93" y="209"/>
                  </a:lnTo>
                  <a:lnTo>
                    <a:pt x="93" y="209"/>
                  </a:lnTo>
                  <a:lnTo>
                    <a:pt x="93" y="209"/>
                  </a:lnTo>
                  <a:lnTo>
                    <a:pt x="93" y="209"/>
                  </a:lnTo>
                  <a:lnTo>
                    <a:pt x="93" y="209"/>
                  </a:lnTo>
                  <a:lnTo>
                    <a:pt x="93" y="209"/>
                  </a:lnTo>
                  <a:lnTo>
                    <a:pt x="93" y="209"/>
                  </a:lnTo>
                  <a:lnTo>
                    <a:pt x="93" y="209"/>
                  </a:lnTo>
                  <a:lnTo>
                    <a:pt x="93" y="209"/>
                  </a:lnTo>
                  <a:lnTo>
                    <a:pt x="93" y="209"/>
                  </a:lnTo>
                  <a:lnTo>
                    <a:pt x="93" y="209"/>
                  </a:lnTo>
                  <a:lnTo>
                    <a:pt x="93" y="209"/>
                  </a:lnTo>
                  <a:lnTo>
                    <a:pt x="93" y="209"/>
                  </a:lnTo>
                  <a:lnTo>
                    <a:pt x="93" y="209"/>
                  </a:lnTo>
                  <a:lnTo>
                    <a:pt x="93" y="209"/>
                  </a:lnTo>
                  <a:lnTo>
                    <a:pt x="90" y="206"/>
                  </a:lnTo>
                  <a:lnTo>
                    <a:pt x="90" y="206"/>
                  </a:lnTo>
                  <a:lnTo>
                    <a:pt x="90" y="206"/>
                  </a:lnTo>
                  <a:lnTo>
                    <a:pt x="90" y="206"/>
                  </a:lnTo>
                  <a:lnTo>
                    <a:pt x="90" y="206"/>
                  </a:lnTo>
                  <a:lnTo>
                    <a:pt x="90" y="206"/>
                  </a:lnTo>
                  <a:lnTo>
                    <a:pt x="87" y="202"/>
                  </a:lnTo>
                  <a:lnTo>
                    <a:pt x="84" y="200"/>
                  </a:lnTo>
                  <a:lnTo>
                    <a:pt x="84" y="200"/>
                  </a:lnTo>
                  <a:lnTo>
                    <a:pt x="84" y="200"/>
                  </a:lnTo>
                  <a:lnTo>
                    <a:pt x="84" y="200"/>
                  </a:lnTo>
                  <a:lnTo>
                    <a:pt x="84" y="200"/>
                  </a:lnTo>
                  <a:lnTo>
                    <a:pt x="84" y="200"/>
                  </a:lnTo>
                  <a:lnTo>
                    <a:pt x="83" y="202"/>
                  </a:lnTo>
                  <a:lnTo>
                    <a:pt x="83" y="202"/>
                  </a:lnTo>
                  <a:lnTo>
                    <a:pt x="83" y="202"/>
                  </a:lnTo>
                  <a:lnTo>
                    <a:pt x="83" y="202"/>
                  </a:lnTo>
                  <a:lnTo>
                    <a:pt x="83" y="202"/>
                  </a:lnTo>
                  <a:lnTo>
                    <a:pt x="81" y="203"/>
                  </a:lnTo>
                  <a:lnTo>
                    <a:pt x="81" y="203"/>
                  </a:lnTo>
                  <a:lnTo>
                    <a:pt x="78" y="209"/>
                  </a:lnTo>
                  <a:lnTo>
                    <a:pt x="77" y="213"/>
                  </a:lnTo>
                  <a:lnTo>
                    <a:pt x="74" y="215"/>
                  </a:lnTo>
                  <a:lnTo>
                    <a:pt x="74" y="215"/>
                  </a:lnTo>
                  <a:lnTo>
                    <a:pt x="74" y="215"/>
                  </a:lnTo>
                  <a:lnTo>
                    <a:pt x="74" y="215"/>
                  </a:lnTo>
                  <a:lnTo>
                    <a:pt x="74" y="215"/>
                  </a:lnTo>
                  <a:lnTo>
                    <a:pt x="74" y="215"/>
                  </a:lnTo>
                  <a:lnTo>
                    <a:pt x="73" y="215"/>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56" name="Freeform 111"/>
            <p:cNvSpPr>
              <a:spLocks/>
            </p:cNvSpPr>
            <p:nvPr/>
          </p:nvSpPr>
          <p:spPr bwMode="auto">
            <a:xfrm>
              <a:off x="3883025" y="4042204"/>
              <a:ext cx="342900" cy="341313"/>
            </a:xfrm>
            <a:custGeom>
              <a:avLst/>
              <a:gdLst>
                <a:gd name="T0" fmla="*/ 71 w 216"/>
                <a:gd name="T1" fmla="*/ 215 h 215"/>
                <a:gd name="T2" fmla="*/ 65 w 216"/>
                <a:gd name="T3" fmla="*/ 209 h 215"/>
                <a:gd name="T4" fmla="*/ 63 w 216"/>
                <a:gd name="T5" fmla="*/ 200 h 215"/>
                <a:gd name="T6" fmla="*/ 52 w 216"/>
                <a:gd name="T7" fmla="*/ 197 h 215"/>
                <a:gd name="T8" fmla="*/ 47 w 216"/>
                <a:gd name="T9" fmla="*/ 195 h 215"/>
                <a:gd name="T10" fmla="*/ 44 w 216"/>
                <a:gd name="T11" fmla="*/ 193 h 215"/>
                <a:gd name="T12" fmla="*/ 44 w 216"/>
                <a:gd name="T13" fmla="*/ 193 h 215"/>
                <a:gd name="T14" fmla="*/ 36 w 216"/>
                <a:gd name="T15" fmla="*/ 192 h 215"/>
                <a:gd name="T16" fmla="*/ 13 w 216"/>
                <a:gd name="T17" fmla="*/ 195 h 215"/>
                <a:gd name="T18" fmla="*/ 15 w 216"/>
                <a:gd name="T19" fmla="*/ 187 h 215"/>
                <a:gd name="T20" fmla="*/ 15 w 216"/>
                <a:gd name="T21" fmla="*/ 182 h 215"/>
                <a:gd name="T22" fmla="*/ 19 w 216"/>
                <a:gd name="T23" fmla="*/ 171 h 215"/>
                <a:gd name="T24" fmla="*/ 19 w 216"/>
                <a:gd name="T25" fmla="*/ 161 h 215"/>
                <a:gd name="T26" fmla="*/ 15 w 216"/>
                <a:gd name="T27" fmla="*/ 151 h 215"/>
                <a:gd name="T28" fmla="*/ 12 w 216"/>
                <a:gd name="T29" fmla="*/ 145 h 215"/>
                <a:gd name="T30" fmla="*/ 13 w 216"/>
                <a:gd name="T31" fmla="*/ 138 h 215"/>
                <a:gd name="T32" fmla="*/ 15 w 216"/>
                <a:gd name="T33" fmla="*/ 134 h 215"/>
                <a:gd name="T34" fmla="*/ 6 w 216"/>
                <a:gd name="T35" fmla="*/ 122 h 215"/>
                <a:gd name="T36" fmla="*/ 3 w 216"/>
                <a:gd name="T37" fmla="*/ 118 h 215"/>
                <a:gd name="T38" fmla="*/ 0 w 216"/>
                <a:gd name="T39" fmla="*/ 112 h 215"/>
                <a:gd name="T40" fmla="*/ 78 w 216"/>
                <a:gd name="T41" fmla="*/ 74 h 215"/>
                <a:gd name="T42" fmla="*/ 139 w 216"/>
                <a:gd name="T43" fmla="*/ 0 h 215"/>
                <a:gd name="T44" fmla="*/ 216 w 216"/>
                <a:gd name="T45" fmla="*/ 51 h 215"/>
                <a:gd name="T46" fmla="*/ 187 w 216"/>
                <a:gd name="T47" fmla="*/ 183 h 215"/>
                <a:gd name="T48" fmla="*/ 136 w 216"/>
                <a:gd name="T49" fmla="*/ 203 h 215"/>
                <a:gd name="T50" fmla="*/ 132 w 216"/>
                <a:gd name="T51" fmla="*/ 205 h 215"/>
                <a:gd name="T52" fmla="*/ 128 w 216"/>
                <a:gd name="T53" fmla="*/ 205 h 215"/>
                <a:gd name="T54" fmla="*/ 126 w 216"/>
                <a:gd name="T55" fmla="*/ 205 h 215"/>
                <a:gd name="T56" fmla="*/ 126 w 216"/>
                <a:gd name="T57" fmla="*/ 205 h 215"/>
                <a:gd name="T58" fmla="*/ 125 w 216"/>
                <a:gd name="T59" fmla="*/ 205 h 215"/>
                <a:gd name="T60" fmla="*/ 125 w 216"/>
                <a:gd name="T61" fmla="*/ 205 h 215"/>
                <a:gd name="T62" fmla="*/ 125 w 216"/>
                <a:gd name="T63" fmla="*/ 205 h 215"/>
                <a:gd name="T64" fmla="*/ 120 w 216"/>
                <a:gd name="T65" fmla="*/ 203 h 215"/>
                <a:gd name="T66" fmla="*/ 115 w 216"/>
                <a:gd name="T67" fmla="*/ 200 h 215"/>
                <a:gd name="T68" fmla="*/ 113 w 216"/>
                <a:gd name="T69" fmla="*/ 200 h 215"/>
                <a:gd name="T70" fmla="*/ 113 w 216"/>
                <a:gd name="T71" fmla="*/ 200 h 215"/>
                <a:gd name="T72" fmla="*/ 99 w 216"/>
                <a:gd name="T73" fmla="*/ 202 h 215"/>
                <a:gd name="T74" fmla="*/ 99 w 216"/>
                <a:gd name="T75" fmla="*/ 202 h 215"/>
                <a:gd name="T76" fmla="*/ 99 w 216"/>
                <a:gd name="T77" fmla="*/ 203 h 215"/>
                <a:gd name="T78" fmla="*/ 99 w 216"/>
                <a:gd name="T79" fmla="*/ 203 h 215"/>
                <a:gd name="T80" fmla="*/ 94 w 216"/>
                <a:gd name="T81" fmla="*/ 210 h 215"/>
                <a:gd name="T82" fmla="*/ 94 w 216"/>
                <a:gd name="T83" fmla="*/ 210 h 215"/>
                <a:gd name="T84" fmla="*/ 93 w 216"/>
                <a:gd name="T85" fmla="*/ 210 h 215"/>
                <a:gd name="T86" fmla="*/ 93 w 216"/>
                <a:gd name="T87" fmla="*/ 209 h 215"/>
                <a:gd name="T88" fmla="*/ 93 w 216"/>
                <a:gd name="T89" fmla="*/ 209 h 215"/>
                <a:gd name="T90" fmla="*/ 93 w 216"/>
                <a:gd name="T91" fmla="*/ 209 h 215"/>
                <a:gd name="T92" fmla="*/ 93 w 216"/>
                <a:gd name="T93" fmla="*/ 209 h 215"/>
                <a:gd name="T94" fmla="*/ 93 w 216"/>
                <a:gd name="T95" fmla="*/ 209 h 215"/>
                <a:gd name="T96" fmla="*/ 90 w 216"/>
                <a:gd name="T97" fmla="*/ 206 h 215"/>
                <a:gd name="T98" fmla="*/ 90 w 216"/>
                <a:gd name="T99" fmla="*/ 206 h 215"/>
                <a:gd name="T100" fmla="*/ 84 w 216"/>
                <a:gd name="T101" fmla="*/ 200 h 215"/>
                <a:gd name="T102" fmla="*/ 84 w 216"/>
                <a:gd name="T103" fmla="*/ 200 h 215"/>
                <a:gd name="T104" fmla="*/ 83 w 216"/>
                <a:gd name="T105" fmla="*/ 202 h 215"/>
                <a:gd name="T106" fmla="*/ 83 w 216"/>
                <a:gd name="T107" fmla="*/ 202 h 215"/>
                <a:gd name="T108" fmla="*/ 81 w 216"/>
                <a:gd name="T109" fmla="*/ 203 h 215"/>
                <a:gd name="T110" fmla="*/ 74 w 216"/>
                <a:gd name="T111" fmla="*/ 215 h 215"/>
                <a:gd name="T112" fmla="*/ 74 w 216"/>
                <a:gd name="T113" fmla="*/ 215 h 215"/>
                <a:gd name="T114" fmla="*/ 73 w 216"/>
                <a:gd name="T115"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6" h="215">
                  <a:moveTo>
                    <a:pt x="73" y="215"/>
                  </a:moveTo>
                  <a:lnTo>
                    <a:pt x="73" y="215"/>
                  </a:lnTo>
                  <a:lnTo>
                    <a:pt x="71" y="215"/>
                  </a:lnTo>
                  <a:lnTo>
                    <a:pt x="68" y="213"/>
                  </a:lnTo>
                  <a:lnTo>
                    <a:pt x="68" y="213"/>
                  </a:lnTo>
                  <a:lnTo>
                    <a:pt x="65" y="209"/>
                  </a:lnTo>
                  <a:lnTo>
                    <a:pt x="64" y="206"/>
                  </a:lnTo>
                  <a:lnTo>
                    <a:pt x="63" y="200"/>
                  </a:lnTo>
                  <a:lnTo>
                    <a:pt x="63" y="200"/>
                  </a:lnTo>
                  <a:lnTo>
                    <a:pt x="63" y="197"/>
                  </a:lnTo>
                  <a:lnTo>
                    <a:pt x="52" y="197"/>
                  </a:lnTo>
                  <a:lnTo>
                    <a:pt x="52" y="197"/>
                  </a:lnTo>
                  <a:lnTo>
                    <a:pt x="49" y="197"/>
                  </a:lnTo>
                  <a:lnTo>
                    <a:pt x="48" y="196"/>
                  </a:lnTo>
                  <a:lnTo>
                    <a:pt x="47" y="195"/>
                  </a:lnTo>
                  <a:lnTo>
                    <a:pt x="44" y="193"/>
                  </a:lnTo>
                  <a:lnTo>
                    <a:pt x="44" y="193"/>
                  </a:lnTo>
                  <a:lnTo>
                    <a:pt x="44" y="193"/>
                  </a:lnTo>
                  <a:lnTo>
                    <a:pt x="44" y="193"/>
                  </a:lnTo>
                  <a:lnTo>
                    <a:pt x="44" y="193"/>
                  </a:lnTo>
                  <a:lnTo>
                    <a:pt x="44" y="193"/>
                  </a:lnTo>
                  <a:lnTo>
                    <a:pt x="36" y="192"/>
                  </a:lnTo>
                  <a:lnTo>
                    <a:pt x="36" y="192"/>
                  </a:lnTo>
                  <a:lnTo>
                    <a:pt x="36" y="192"/>
                  </a:lnTo>
                  <a:lnTo>
                    <a:pt x="35" y="192"/>
                  </a:lnTo>
                  <a:lnTo>
                    <a:pt x="35" y="192"/>
                  </a:lnTo>
                  <a:lnTo>
                    <a:pt x="13" y="195"/>
                  </a:lnTo>
                  <a:lnTo>
                    <a:pt x="13" y="195"/>
                  </a:lnTo>
                  <a:lnTo>
                    <a:pt x="15" y="189"/>
                  </a:lnTo>
                  <a:lnTo>
                    <a:pt x="15" y="187"/>
                  </a:lnTo>
                  <a:lnTo>
                    <a:pt x="15" y="187"/>
                  </a:lnTo>
                  <a:lnTo>
                    <a:pt x="15" y="187"/>
                  </a:lnTo>
                  <a:lnTo>
                    <a:pt x="15" y="182"/>
                  </a:lnTo>
                  <a:lnTo>
                    <a:pt x="18" y="177"/>
                  </a:lnTo>
                  <a:lnTo>
                    <a:pt x="18" y="177"/>
                  </a:lnTo>
                  <a:lnTo>
                    <a:pt x="19" y="171"/>
                  </a:lnTo>
                  <a:lnTo>
                    <a:pt x="21" y="166"/>
                  </a:lnTo>
                  <a:lnTo>
                    <a:pt x="21" y="166"/>
                  </a:lnTo>
                  <a:lnTo>
                    <a:pt x="19" y="161"/>
                  </a:lnTo>
                  <a:lnTo>
                    <a:pt x="19" y="161"/>
                  </a:lnTo>
                  <a:lnTo>
                    <a:pt x="16" y="155"/>
                  </a:lnTo>
                  <a:lnTo>
                    <a:pt x="15" y="151"/>
                  </a:lnTo>
                  <a:lnTo>
                    <a:pt x="15" y="151"/>
                  </a:lnTo>
                  <a:lnTo>
                    <a:pt x="12" y="148"/>
                  </a:lnTo>
                  <a:lnTo>
                    <a:pt x="12" y="145"/>
                  </a:lnTo>
                  <a:lnTo>
                    <a:pt x="12" y="144"/>
                  </a:lnTo>
                  <a:lnTo>
                    <a:pt x="12" y="144"/>
                  </a:lnTo>
                  <a:lnTo>
                    <a:pt x="13" y="138"/>
                  </a:lnTo>
                  <a:lnTo>
                    <a:pt x="13" y="138"/>
                  </a:lnTo>
                  <a:lnTo>
                    <a:pt x="15" y="134"/>
                  </a:lnTo>
                  <a:lnTo>
                    <a:pt x="15" y="134"/>
                  </a:lnTo>
                  <a:lnTo>
                    <a:pt x="13" y="129"/>
                  </a:lnTo>
                  <a:lnTo>
                    <a:pt x="13" y="129"/>
                  </a:lnTo>
                  <a:lnTo>
                    <a:pt x="6" y="122"/>
                  </a:lnTo>
                  <a:lnTo>
                    <a:pt x="6" y="122"/>
                  </a:lnTo>
                  <a:lnTo>
                    <a:pt x="3" y="118"/>
                  </a:lnTo>
                  <a:lnTo>
                    <a:pt x="3" y="118"/>
                  </a:lnTo>
                  <a:lnTo>
                    <a:pt x="0" y="116"/>
                  </a:lnTo>
                  <a:lnTo>
                    <a:pt x="0" y="116"/>
                  </a:lnTo>
                  <a:lnTo>
                    <a:pt x="0" y="112"/>
                  </a:lnTo>
                  <a:lnTo>
                    <a:pt x="65" y="112"/>
                  </a:lnTo>
                  <a:lnTo>
                    <a:pt x="67" y="90"/>
                  </a:lnTo>
                  <a:lnTo>
                    <a:pt x="78" y="74"/>
                  </a:lnTo>
                  <a:lnTo>
                    <a:pt x="78" y="31"/>
                  </a:lnTo>
                  <a:lnTo>
                    <a:pt x="139" y="31"/>
                  </a:lnTo>
                  <a:lnTo>
                    <a:pt x="139" y="0"/>
                  </a:lnTo>
                  <a:lnTo>
                    <a:pt x="139" y="0"/>
                  </a:lnTo>
                  <a:lnTo>
                    <a:pt x="164" y="16"/>
                  </a:lnTo>
                  <a:lnTo>
                    <a:pt x="216" y="51"/>
                  </a:lnTo>
                  <a:lnTo>
                    <a:pt x="174" y="51"/>
                  </a:lnTo>
                  <a:lnTo>
                    <a:pt x="181" y="179"/>
                  </a:lnTo>
                  <a:lnTo>
                    <a:pt x="187" y="183"/>
                  </a:lnTo>
                  <a:lnTo>
                    <a:pt x="177" y="203"/>
                  </a:lnTo>
                  <a:lnTo>
                    <a:pt x="177" y="203"/>
                  </a:lnTo>
                  <a:lnTo>
                    <a:pt x="136" y="203"/>
                  </a:lnTo>
                  <a:lnTo>
                    <a:pt x="136" y="203"/>
                  </a:lnTo>
                  <a:lnTo>
                    <a:pt x="132" y="205"/>
                  </a:lnTo>
                  <a:lnTo>
                    <a:pt x="132" y="205"/>
                  </a:lnTo>
                  <a:lnTo>
                    <a:pt x="128" y="205"/>
                  </a:lnTo>
                  <a:lnTo>
                    <a:pt x="128" y="205"/>
                  </a:lnTo>
                  <a:lnTo>
                    <a:pt x="128" y="205"/>
                  </a:lnTo>
                  <a:lnTo>
                    <a:pt x="128" y="205"/>
                  </a:lnTo>
                  <a:lnTo>
                    <a:pt x="126" y="205"/>
                  </a:lnTo>
                  <a:lnTo>
                    <a:pt x="126" y="205"/>
                  </a:lnTo>
                  <a:lnTo>
                    <a:pt x="126" y="205"/>
                  </a:lnTo>
                  <a:lnTo>
                    <a:pt x="126" y="205"/>
                  </a:lnTo>
                  <a:lnTo>
                    <a:pt x="126" y="205"/>
                  </a:lnTo>
                  <a:lnTo>
                    <a:pt x="126" y="205"/>
                  </a:lnTo>
                  <a:lnTo>
                    <a:pt x="125" y="205"/>
                  </a:lnTo>
                  <a:lnTo>
                    <a:pt x="125" y="205"/>
                  </a:lnTo>
                  <a:lnTo>
                    <a:pt x="125" y="205"/>
                  </a:lnTo>
                  <a:lnTo>
                    <a:pt x="125" y="205"/>
                  </a:lnTo>
                  <a:lnTo>
                    <a:pt x="125" y="205"/>
                  </a:lnTo>
                  <a:lnTo>
                    <a:pt x="125" y="205"/>
                  </a:lnTo>
                  <a:lnTo>
                    <a:pt x="125" y="205"/>
                  </a:lnTo>
                  <a:lnTo>
                    <a:pt x="125" y="205"/>
                  </a:lnTo>
                  <a:lnTo>
                    <a:pt x="123" y="205"/>
                  </a:lnTo>
                  <a:lnTo>
                    <a:pt x="123" y="205"/>
                  </a:lnTo>
                  <a:lnTo>
                    <a:pt x="120" y="203"/>
                  </a:lnTo>
                  <a:lnTo>
                    <a:pt x="120" y="203"/>
                  </a:lnTo>
                  <a:lnTo>
                    <a:pt x="118" y="202"/>
                  </a:lnTo>
                  <a:lnTo>
                    <a:pt x="115" y="200"/>
                  </a:lnTo>
                  <a:lnTo>
                    <a:pt x="115" y="200"/>
                  </a:lnTo>
                  <a:lnTo>
                    <a:pt x="115" y="200"/>
                  </a:lnTo>
                  <a:lnTo>
                    <a:pt x="113" y="200"/>
                  </a:lnTo>
                  <a:lnTo>
                    <a:pt x="113" y="200"/>
                  </a:lnTo>
                  <a:lnTo>
                    <a:pt x="113" y="200"/>
                  </a:lnTo>
                  <a:lnTo>
                    <a:pt x="113" y="200"/>
                  </a:lnTo>
                  <a:lnTo>
                    <a:pt x="106" y="200"/>
                  </a:lnTo>
                  <a:lnTo>
                    <a:pt x="102" y="202"/>
                  </a:lnTo>
                  <a:lnTo>
                    <a:pt x="99" y="202"/>
                  </a:lnTo>
                  <a:lnTo>
                    <a:pt x="99" y="202"/>
                  </a:lnTo>
                  <a:lnTo>
                    <a:pt x="99" y="202"/>
                  </a:lnTo>
                  <a:lnTo>
                    <a:pt x="99" y="202"/>
                  </a:lnTo>
                  <a:lnTo>
                    <a:pt x="99" y="202"/>
                  </a:lnTo>
                  <a:lnTo>
                    <a:pt x="99" y="202"/>
                  </a:lnTo>
                  <a:lnTo>
                    <a:pt x="99" y="203"/>
                  </a:lnTo>
                  <a:lnTo>
                    <a:pt x="99" y="203"/>
                  </a:lnTo>
                  <a:lnTo>
                    <a:pt x="99" y="203"/>
                  </a:lnTo>
                  <a:lnTo>
                    <a:pt x="99" y="203"/>
                  </a:lnTo>
                  <a:lnTo>
                    <a:pt x="97" y="208"/>
                  </a:lnTo>
                  <a:lnTo>
                    <a:pt x="96" y="209"/>
                  </a:lnTo>
                  <a:lnTo>
                    <a:pt x="94" y="210"/>
                  </a:lnTo>
                  <a:lnTo>
                    <a:pt x="94" y="210"/>
                  </a:lnTo>
                  <a:lnTo>
                    <a:pt x="94" y="210"/>
                  </a:lnTo>
                  <a:lnTo>
                    <a:pt x="94" y="210"/>
                  </a:lnTo>
                  <a:lnTo>
                    <a:pt x="93" y="210"/>
                  </a:lnTo>
                  <a:lnTo>
                    <a:pt x="93" y="210"/>
                  </a:lnTo>
                  <a:lnTo>
                    <a:pt x="93" y="210"/>
                  </a:lnTo>
                  <a:lnTo>
                    <a:pt x="93" y="210"/>
                  </a:lnTo>
                  <a:lnTo>
                    <a:pt x="93" y="209"/>
                  </a:lnTo>
                  <a:lnTo>
                    <a:pt x="93" y="209"/>
                  </a:lnTo>
                  <a:lnTo>
                    <a:pt x="93" y="209"/>
                  </a:lnTo>
                  <a:lnTo>
                    <a:pt x="93" y="209"/>
                  </a:lnTo>
                  <a:lnTo>
                    <a:pt x="93" y="209"/>
                  </a:lnTo>
                  <a:lnTo>
                    <a:pt x="93" y="209"/>
                  </a:lnTo>
                  <a:lnTo>
                    <a:pt x="93" y="209"/>
                  </a:lnTo>
                  <a:lnTo>
                    <a:pt x="93" y="209"/>
                  </a:lnTo>
                  <a:lnTo>
                    <a:pt x="93" y="209"/>
                  </a:lnTo>
                  <a:lnTo>
                    <a:pt x="93" y="209"/>
                  </a:lnTo>
                  <a:lnTo>
                    <a:pt x="93" y="209"/>
                  </a:lnTo>
                  <a:lnTo>
                    <a:pt x="93" y="209"/>
                  </a:lnTo>
                  <a:lnTo>
                    <a:pt x="93" y="209"/>
                  </a:lnTo>
                  <a:lnTo>
                    <a:pt x="93" y="209"/>
                  </a:lnTo>
                  <a:lnTo>
                    <a:pt x="93" y="209"/>
                  </a:lnTo>
                  <a:lnTo>
                    <a:pt x="90" y="206"/>
                  </a:lnTo>
                  <a:lnTo>
                    <a:pt x="90" y="206"/>
                  </a:lnTo>
                  <a:lnTo>
                    <a:pt x="90" y="206"/>
                  </a:lnTo>
                  <a:lnTo>
                    <a:pt x="90" y="206"/>
                  </a:lnTo>
                  <a:lnTo>
                    <a:pt x="90" y="206"/>
                  </a:lnTo>
                  <a:lnTo>
                    <a:pt x="90" y="206"/>
                  </a:lnTo>
                  <a:lnTo>
                    <a:pt x="87" y="202"/>
                  </a:lnTo>
                  <a:lnTo>
                    <a:pt x="84" y="200"/>
                  </a:lnTo>
                  <a:lnTo>
                    <a:pt x="84" y="200"/>
                  </a:lnTo>
                  <a:lnTo>
                    <a:pt x="84" y="200"/>
                  </a:lnTo>
                  <a:lnTo>
                    <a:pt x="84" y="200"/>
                  </a:lnTo>
                  <a:lnTo>
                    <a:pt x="84" y="200"/>
                  </a:lnTo>
                  <a:lnTo>
                    <a:pt x="84" y="200"/>
                  </a:lnTo>
                  <a:lnTo>
                    <a:pt x="83" y="202"/>
                  </a:lnTo>
                  <a:lnTo>
                    <a:pt x="83" y="202"/>
                  </a:lnTo>
                  <a:lnTo>
                    <a:pt x="83" y="202"/>
                  </a:lnTo>
                  <a:lnTo>
                    <a:pt x="83" y="202"/>
                  </a:lnTo>
                  <a:lnTo>
                    <a:pt x="83" y="202"/>
                  </a:lnTo>
                  <a:lnTo>
                    <a:pt x="81" y="203"/>
                  </a:lnTo>
                  <a:lnTo>
                    <a:pt x="81" y="203"/>
                  </a:lnTo>
                  <a:lnTo>
                    <a:pt x="78" y="209"/>
                  </a:lnTo>
                  <a:lnTo>
                    <a:pt x="77" y="213"/>
                  </a:lnTo>
                  <a:lnTo>
                    <a:pt x="74" y="215"/>
                  </a:lnTo>
                  <a:lnTo>
                    <a:pt x="74" y="215"/>
                  </a:lnTo>
                  <a:lnTo>
                    <a:pt x="74" y="215"/>
                  </a:lnTo>
                  <a:lnTo>
                    <a:pt x="74" y="215"/>
                  </a:lnTo>
                  <a:lnTo>
                    <a:pt x="74" y="215"/>
                  </a:lnTo>
                  <a:lnTo>
                    <a:pt x="74" y="215"/>
                  </a:lnTo>
                  <a:lnTo>
                    <a:pt x="73" y="2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57" name="Freeform 112"/>
            <p:cNvSpPr>
              <a:spLocks noEditPoints="1"/>
            </p:cNvSpPr>
            <p:nvPr/>
          </p:nvSpPr>
          <p:spPr bwMode="auto">
            <a:xfrm>
              <a:off x="4000500" y="4123166"/>
              <a:ext cx="225425" cy="260350"/>
            </a:xfrm>
            <a:custGeom>
              <a:avLst/>
              <a:gdLst>
                <a:gd name="T0" fmla="*/ 142 w 142"/>
                <a:gd name="T1" fmla="*/ 0 h 164"/>
                <a:gd name="T2" fmla="*/ 41 w 142"/>
                <a:gd name="T3" fmla="*/ 149 h 164"/>
                <a:gd name="T4" fmla="*/ 41 w 142"/>
                <a:gd name="T5" fmla="*/ 149 h 164"/>
                <a:gd name="T6" fmla="*/ 10 w 142"/>
                <a:gd name="T7" fmla="*/ 149 h 164"/>
                <a:gd name="T8" fmla="*/ 10 w 142"/>
                <a:gd name="T9" fmla="*/ 149 h 164"/>
                <a:gd name="T10" fmla="*/ 9 w 142"/>
                <a:gd name="T11" fmla="*/ 151 h 164"/>
                <a:gd name="T12" fmla="*/ 9 w 142"/>
                <a:gd name="T13" fmla="*/ 151 h 164"/>
                <a:gd name="T14" fmla="*/ 9 w 142"/>
                <a:gd name="T15" fmla="*/ 151 h 164"/>
                <a:gd name="T16" fmla="*/ 9 w 142"/>
                <a:gd name="T17" fmla="*/ 151 h 164"/>
                <a:gd name="T18" fmla="*/ 25 w 142"/>
                <a:gd name="T19" fmla="*/ 151 h 164"/>
                <a:gd name="T20" fmla="*/ 39 w 142"/>
                <a:gd name="T21" fmla="*/ 149 h 164"/>
                <a:gd name="T22" fmla="*/ 28 w 142"/>
                <a:gd name="T23" fmla="*/ 151 h 164"/>
                <a:gd name="T24" fmla="*/ 25 w 142"/>
                <a:gd name="T25" fmla="*/ 151 h 164"/>
                <a:gd name="T26" fmla="*/ 25 w 142"/>
                <a:gd name="T27" fmla="*/ 151 h 164"/>
                <a:gd name="T28" fmla="*/ 25 w 142"/>
                <a:gd name="T29" fmla="*/ 152 h 164"/>
                <a:gd name="T30" fmla="*/ 62 w 142"/>
                <a:gd name="T31" fmla="*/ 152 h 164"/>
                <a:gd name="T32" fmla="*/ 103 w 142"/>
                <a:gd name="T33" fmla="*/ 152 h 164"/>
                <a:gd name="T34" fmla="*/ 103 w 142"/>
                <a:gd name="T35" fmla="*/ 152 h 164"/>
                <a:gd name="T36" fmla="*/ 49 w 142"/>
                <a:gd name="T37" fmla="*/ 154 h 164"/>
                <a:gd name="T38" fmla="*/ 49 w 142"/>
                <a:gd name="T39" fmla="*/ 154 h 164"/>
                <a:gd name="T40" fmla="*/ 51 w 142"/>
                <a:gd name="T41" fmla="*/ 154 h 164"/>
                <a:gd name="T42" fmla="*/ 52 w 142"/>
                <a:gd name="T43" fmla="*/ 154 h 164"/>
                <a:gd name="T44" fmla="*/ 51 w 142"/>
                <a:gd name="T45" fmla="*/ 154 h 164"/>
                <a:gd name="T46" fmla="*/ 51 w 142"/>
                <a:gd name="T47" fmla="*/ 154 h 164"/>
                <a:gd name="T48" fmla="*/ 52 w 142"/>
                <a:gd name="T49" fmla="*/ 154 h 164"/>
                <a:gd name="T50" fmla="*/ 52 w 142"/>
                <a:gd name="T51" fmla="*/ 154 h 164"/>
                <a:gd name="T52" fmla="*/ 54 w 142"/>
                <a:gd name="T53" fmla="*/ 154 h 164"/>
                <a:gd name="T54" fmla="*/ 54 w 142"/>
                <a:gd name="T55" fmla="*/ 154 h 164"/>
                <a:gd name="T56" fmla="*/ 54 w 142"/>
                <a:gd name="T57" fmla="*/ 154 h 164"/>
                <a:gd name="T58" fmla="*/ 16 w 142"/>
                <a:gd name="T59" fmla="*/ 155 h 164"/>
                <a:gd name="T60" fmla="*/ 19 w 142"/>
                <a:gd name="T61" fmla="*/ 158 h 164"/>
                <a:gd name="T62" fmla="*/ 16 w 142"/>
                <a:gd name="T63" fmla="*/ 155 h 164"/>
                <a:gd name="T64" fmla="*/ 19 w 142"/>
                <a:gd name="T65" fmla="*/ 158 h 164"/>
                <a:gd name="T66" fmla="*/ 19 w 142"/>
                <a:gd name="T67" fmla="*/ 158 h 164"/>
                <a:gd name="T68" fmla="*/ 19 w 142"/>
                <a:gd name="T69" fmla="*/ 158 h 164"/>
                <a:gd name="T70" fmla="*/ 19 w 142"/>
                <a:gd name="T71" fmla="*/ 158 h 164"/>
                <a:gd name="T72" fmla="*/ 19 w 142"/>
                <a:gd name="T73" fmla="*/ 158 h 164"/>
                <a:gd name="T74" fmla="*/ 19 w 142"/>
                <a:gd name="T75" fmla="*/ 158 h 164"/>
                <a:gd name="T76" fmla="*/ 19 w 142"/>
                <a:gd name="T77" fmla="*/ 158 h 164"/>
                <a:gd name="T78" fmla="*/ 19 w 142"/>
                <a:gd name="T79" fmla="*/ 159 h 164"/>
                <a:gd name="T80" fmla="*/ 19 w 142"/>
                <a:gd name="T81" fmla="*/ 159 h 164"/>
                <a:gd name="T82" fmla="*/ 22 w 142"/>
                <a:gd name="T83" fmla="*/ 158 h 164"/>
                <a:gd name="T84" fmla="*/ 25 w 142"/>
                <a:gd name="T85" fmla="*/ 152 h 164"/>
                <a:gd name="T86" fmla="*/ 20 w 142"/>
                <a:gd name="T87" fmla="*/ 159 h 164"/>
                <a:gd name="T88" fmla="*/ 20 w 142"/>
                <a:gd name="T89" fmla="*/ 159 h 164"/>
                <a:gd name="T90" fmla="*/ 0 w 142"/>
                <a:gd name="T91" fmla="*/ 164 h 164"/>
                <a:gd name="T92" fmla="*/ 4 w 142"/>
                <a:gd name="T93" fmla="*/ 158 h 164"/>
                <a:gd name="T94" fmla="*/ 4 w 142"/>
                <a:gd name="T95" fmla="*/ 158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2" h="164">
                  <a:moveTo>
                    <a:pt x="142" y="0"/>
                  </a:moveTo>
                  <a:lnTo>
                    <a:pt x="100" y="0"/>
                  </a:lnTo>
                  <a:lnTo>
                    <a:pt x="142" y="0"/>
                  </a:lnTo>
                  <a:close/>
                  <a:moveTo>
                    <a:pt x="41" y="149"/>
                  </a:moveTo>
                  <a:lnTo>
                    <a:pt x="41" y="149"/>
                  </a:lnTo>
                  <a:lnTo>
                    <a:pt x="41" y="149"/>
                  </a:lnTo>
                  <a:close/>
                  <a:moveTo>
                    <a:pt x="39" y="149"/>
                  </a:moveTo>
                  <a:lnTo>
                    <a:pt x="39" y="149"/>
                  </a:lnTo>
                  <a:lnTo>
                    <a:pt x="41" y="149"/>
                  </a:lnTo>
                  <a:lnTo>
                    <a:pt x="41" y="149"/>
                  </a:lnTo>
                  <a:lnTo>
                    <a:pt x="39" y="149"/>
                  </a:lnTo>
                  <a:close/>
                  <a:moveTo>
                    <a:pt x="10" y="149"/>
                  </a:moveTo>
                  <a:lnTo>
                    <a:pt x="10" y="149"/>
                  </a:lnTo>
                  <a:lnTo>
                    <a:pt x="10" y="149"/>
                  </a:lnTo>
                  <a:lnTo>
                    <a:pt x="10" y="149"/>
                  </a:lnTo>
                  <a:lnTo>
                    <a:pt x="10" y="149"/>
                  </a:lnTo>
                  <a:close/>
                  <a:moveTo>
                    <a:pt x="9" y="151"/>
                  </a:moveTo>
                  <a:lnTo>
                    <a:pt x="9" y="151"/>
                  </a:lnTo>
                  <a:lnTo>
                    <a:pt x="10" y="149"/>
                  </a:lnTo>
                  <a:lnTo>
                    <a:pt x="10" y="149"/>
                  </a:lnTo>
                  <a:lnTo>
                    <a:pt x="9" y="151"/>
                  </a:lnTo>
                  <a:close/>
                  <a:moveTo>
                    <a:pt x="9" y="151"/>
                  </a:moveTo>
                  <a:lnTo>
                    <a:pt x="9" y="151"/>
                  </a:lnTo>
                  <a:lnTo>
                    <a:pt x="9" y="151"/>
                  </a:lnTo>
                  <a:lnTo>
                    <a:pt x="9" y="151"/>
                  </a:lnTo>
                  <a:lnTo>
                    <a:pt x="9" y="151"/>
                  </a:lnTo>
                  <a:lnTo>
                    <a:pt x="9" y="151"/>
                  </a:lnTo>
                  <a:close/>
                  <a:moveTo>
                    <a:pt x="25" y="151"/>
                  </a:moveTo>
                  <a:lnTo>
                    <a:pt x="25" y="151"/>
                  </a:lnTo>
                  <a:lnTo>
                    <a:pt x="25" y="151"/>
                  </a:lnTo>
                  <a:lnTo>
                    <a:pt x="28" y="151"/>
                  </a:lnTo>
                  <a:lnTo>
                    <a:pt x="32" y="149"/>
                  </a:lnTo>
                  <a:lnTo>
                    <a:pt x="39" y="149"/>
                  </a:lnTo>
                  <a:lnTo>
                    <a:pt x="39" y="149"/>
                  </a:lnTo>
                  <a:lnTo>
                    <a:pt x="32" y="149"/>
                  </a:lnTo>
                  <a:lnTo>
                    <a:pt x="28" y="151"/>
                  </a:lnTo>
                  <a:lnTo>
                    <a:pt x="25" y="151"/>
                  </a:lnTo>
                  <a:close/>
                  <a:moveTo>
                    <a:pt x="25" y="151"/>
                  </a:moveTo>
                  <a:lnTo>
                    <a:pt x="25" y="151"/>
                  </a:lnTo>
                  <a:lnTo>
                    <a:pt x="25" y="151"/>
                  </a:lnTo>
                  <a:lnTo>
                    <a:pt x="25" y="151"/>
                  </a:lnTo>
                  <a:lnTo>
                    <a:pt x="25" y="151"/>
                  </a:lnTo>
                  <a:close/>
                  <a:moveTo>
                    <a:pt x="25" y="152"/>
                  </a:moveTo>
                  <a:lnTo>
                    <a:pt x="25" y="152"/>
                  </a:lnTo>
                  <a:lnTo>
                    <a:pt x="25" y="152"/>
                  </a:lnTo>
                  <a:lnTo>
                    <a:pt x="25" y="152"/>
                  </a:lnTo>
                  <a:lnTo>
                    <a:pt x="25" y="152"/>
                  </a:lnTo>
                  <a:close/>
                  <a:moveTo>
                    <a:pt x="62" y="152"/>
                  </a:moveTo>
                  <a:lnTo>
                    <a:pt x="62" y="152"/>
                  </a:lnTo>
                  <a:lnTo>
                    <a:pt x="62" y="152"/>
                  </a:lnTo>
                  <a:lnTo>
                    <a:pt x="103" y="152"/>
                  </a:lnTo>
                  <a:lnTo>
                    <a:pt x="113" y="132"/>
                  </a:lnTo>
                  <a:lnTo>
                    <a:pt x="103" y="152"/>
                  </a:lnTo>
                  <a:lnTo>
                    <a:pt x="103" y="152"/>
                  </a:lnTo>
                  <a:lnTo>
                    <a:pt x="62" y="152"/>
                  </a:lnTo>
                  <a:close/>
                  <a:moveTo>
                    <a:pt x="49" y="154"/>
                  </a:moveTo>
                  <a:lnTo>
                    <a:pt x="49" y="154"/>
                  </a:lnTo>
                  <a:lnTo>
                    <a:pt x="46" y="152"/>
                  </a:lnTo>
                  <a:lnTo>
                    <a:pt x="46" y="152"/>
                  </a:lnTo>
                  <a:lnTo>
                    <a:pt x="49" y="154"/>
                  </a:lnTo>
                  <a:close/>
                  <a:moveTo>
                    <a:pt x="51" y="154"/>
                  </a:moveTo>
                  <a:lnTo>
                    <a:pt x="51" y="154"/>
                  </a:lnTo>
                  <a:lnTo>
                    <a:pt x="51" y="154"/>
                  </a:lnTo>
                  <a:lnTo>
                    <a:pt x="51" y="154"/>
                  </a:lnTo>
                  <a:lnTo>
                    <a:pt x="51" y="154"/>
                  </a:lnTo>
                  <a:close/>
                  <a:moveTo>
                    <a:pt x="52" y="154"/>
                  </a:moveTo>
                  <a:lnTo>
                    <a:pt x="52" y="154"/>
                  </a:lnTo>
                  <a:lnTo>
                    <a:pt x="51" y="154"/>
                  </a:lnTo>
                  <a:lnTo>
                    <a:pt x="51" y="154"/>
                  </a:lnTo>
                  <a:lnTo>
                    <a:pt x="51" y="154"/>
                  </a:lnTo>
                  <a:lnTo>
                    <a:pt x="51" y="154"/>
                  </a:lnTo>
                  <a:lnTo>
                    <a:pt x="51" y="154"/>
                  </a:lnTo>
                  <a:lnTo>
                    <a:pt x="51" y="154"/>
                  </a:lnTo>
                  <a:lnTo>
                    <a:pt x="52" y="154"/>
                  </a:lnTo>
                  <a:close/>
                  <a:moveTo>
                    <a:pt x="52" y="154"/>
                  </a:moveTo>
                  <a:lnTo>
                    <a:pt x="52" y="154"/>
                  </a:lnTo>
                  <a:lnTo>
                    <a:pt x="52" y="154"/>
                  </a:lnTo>
                  <a:lnTo>
                    <a:pt x="52" y="154"/>
                  </a:lnTo>
                  <a:lnTo>
                    <a:pt x="52" y="154"/>
                  </a:lnTo>
                  <a:close/>
                  <a:moveTo>
                    <a:pt x="54" y="154"/>
                  </a:moveTo>
                  <a:lnTo>
                    <a:pt x="54" y="154"/>
                  </a:lnTo>
                  <a:lnTo>
                    <a:pt x="58" y="154"/>
                  </a:lnTo>
                  <a:lnTo>
                    <a:pt x="58" y="154"/>
                  </a:lnTo>
                  <a:lnTo>
                    <a:pt x="54" y="154"/>
                  </a:lnTo>
                  <a:close/>
                  <a:moveTo>
                    <a:pt x="54" y="154"/>
                  </a:moveTo>
                  <a:lnTo>
                    <a:pt x="54" y="154"/>
                  </a:lnTo>
                  <a:lnTo>
                    <a:pt x="54" y="154"/>
                  </a:lnTo>
                  <a:close/>
                  <a:moveTo>
                    <a:pt x="16" y="155"/>
                  </a:moveTo>
                  <a:lnTo>
                    <a:pt x="16" y="155"/>
                  </a:lnTo>
                  <a:lnTo>
                    <a:pt x="16" y="155"/>
                  </a:lnTo>
                  <a:lnTo>
                    <a:pt x="16" y="155"/>
                  </a:lnTo>
                  <a:lnTo>
                    <a:pt x="16" y="155"/>
                  </a:lnTo>
                  <a:close/>
                  <a:moveTo>
                    <a:pt x="19" y="158"/>
                  </a:moveTo>
                  <a:lnTo>
                    <a:pt x="19" y="158"/>
                  </a:lnTo>
                  <a:lnTo>
                    <a:pt x="16" y="155"/>
                  </a:lnTo>
                  <a:lnTo>
                    <a:pt x="16" y="155"/>
                  </a:lnTo>
                  <a:lnTo>
                    <a:pt x="19" y="158"/>
                  </a:lnTo>
                  <a:close/>
                  <a:moveTo>
                    <a:pt x="19" y="158"/>
                  </a:moveTo>
                  <a:lnTo>
                    <a:pt x="19" y="158"/>
                  </a:lnTo>
                  <a:lnTo>
                    <a:pt x="19" y="158"/>
                  </a:lnTo>
                  <a:lnTo>
                    <a:pt x="19" y="158"/>
                  </a:lnTo>
                  <a:lnTo>
                    <a:pt x="19" y="158"/>
                  </a:lnTo>
                  <a:close/>
                  <a:moveTo>
                    <a:pt x="19" y="158"/>
                  </a:moveTo>
                  <a:lnTo>
                    <a:pt x="19" y="158"/>
                  </a:lnTo>
                  <a:lnTo>
                    <a:pt x="19" y="158"/>
                  </a:lnTo>
                  <a:lnTo>
                    <a:pt x="19" y="158"/>
                  </a:lnTo>
                  <a:lnTo>
                    <a:pt x="19" y="158"/>
                  </a:lnTo>
                  <a:close/>
                  <a:moveTo>
                    <a:pt x="19" y="158"/>
                  </a:moveTo>
                  <a:lnTo>
                    <a:pt x="19" y="158"/>
                  </a:lnTo>
                  <a:lnTo>
                    <a:pt x="19" y="158"/>
                  </a:lnTo>
                  <a:lnTo>
                    <a:pt x="19" y="158"/>
                  </a:lnTo>
                  <a:lnTo>
                    <a:pt x="19" y="158"/>
                  </a:lnTo>
                  <a:close/>
                  <a:moveTo>
                    <a:pt x="19" y="158"/>
                  </a:moveTo>
                  <a:lnTo>
                    <a:pt x="19" y="158"/>
                  </a:lnTo>
                  <a:lnTo>
                    <a:pt x="19" y="158"/>
                  </a:lnTo>
                  <a:lnTo>
                    <a:pt x="19" y="158"/>
                  </a:lnTo>
                  <a:lnTo>
                    <a:pt x="19" y="158"/>
                  </a:lnTo>
                  <a:lnTo>
                    <a:pt x="19" y="158"/>
                  </a:lnTo>
                  <a:close/>
                  <a:moveTo>
                    <a:pt x="19" y="159"/>
                  </a:moveTo>
                  <a:lnTo>
                    <a:pt x="19" y="159"/>
                  </a:lnTo>
                  <a:lnTo>
                    <a:pt x="19" y="159"/>
                  </a:lnTo>
                  <a:lnTo>
                    <a:pt x="19" y="159"/>
                  </a:lnTo>
                  <a:lnTo>
                    <a:pt x="19" y="159"/>
                  </a:lnTo>
                  <a:close/>
                  <a:moveTo>
                    <a:pt x="20" y="159"/>
                  </a:moveTo>
                  <a:lnTo>
                    <a:pt x="20" y="159"/>
                  </a:lnTo>
                  <a:lnTo>
                    <a:pt x="22" y="158"/>
                  </a:lnTo>
                  <a:lnTo>
                    <a:pt x="23" y="157"/>
                  </a:lnTo>
                  <a:lnTo>
                    <a:pt x="25" y="152"/>
                  </a:lnTo>
                  <a:lnTo>
                    <a:pt x="25" y="152"/>
                  </a:lnTo>
                  <a:lnTo>
                    <a:pt x="23" y="157"/>
                  </a:lnTo>
                  <a:lnTo>
                    <a:pt x="22" y="158"/>
                  </a:lnTo>
                  <a:lnTo>
                    <a:pt x="20" y="159"/>
                  </a:lnTo>
                  <a:close/>
                  <a:moveTo>
                    <a:pt x="20" y="159"/>
                  </a:moveTo>
                  <a:lnTo>
                    <a:pt x="20" y="159"/>
                  </a:lnTo>
                  <a:lnTo>
                    <a:pt x="20" y="159"/>
                  </a:lnTo>
                  <a:close/>
                  <a:moveTo>
                    <a:pt x="0" y="164"/>
                  </a:moveTo>
                  <a:lnTo>
                    <a:pt x="0" y="164"/>
                  </a:lnTo>
                  <a:lnTo>
                    <a:pt x="0" y="164"/>
                  </a:lnTo>
                  <a:lnTo>
                    <a:pt x="0" y="164"/>
                  </a:lnTo>
                  <a:lnTo>
                    <a:pt x="3" y="162"/>
                  </a:lnTo>
                  <a:lnTo>
                    <a:pt x="4" y="158"/>
                  </a:lnTo>
                  <a:lnTo>
                    <a:pt x="7" y="152"/>
                  </a:lnTo>
                  <a:lnTo>
                    <a:pt x="7" y="152"/>
                  </a:lnTo>
                  <a:lnTo>
                    <a:pt x="4" y="158"/>
                  </a:lnTo>
                  <a:lnTo>
                    <a:pt x="3" y="162"/>
                  </a:lnTo>
                  <a:lnTo>
                    <a:pt x="0" y="164"/>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58" name="Freeform 113"/>
            <p:cNvSpPr>
              <a:spLocks/>
            </p:cNvSpPr>
            <p:nvPr/>
          </p:nvSpPr>
          <p:spPr bwMode="auto">
            <a:xfrm>
              <a:off x="4159250" y="4123166"/>
              <a:ext cx="66675" cy="0"/>
            </a:xfrm>
            <a:custGeom>
              <a:avLst/>
              <a:gdLst>
                <a:gd name="T0" fmla="*/ 42 w 42"/>
                <a:gd name="T1" fmla="*/ 0 w 42"/>
                <a:gd name="T2" fmla="*/ 42 w 42"/>
              </a:gdLst>
              <a:ahLst/>
              <a:cxnLst>
                <a:cxn ang="0">
                  <a:pos x="T0" y="0"/>
                </a:cxn>
                <a:cxn ang="0">
                  <a:pos x="T1" y="0"/>
                </a:cxn>
                <a:cxn ang="0">
                  <a:pos x="T2" y="0"/>
                </a:cxn>
              </a:cxnLst>
              <a:rect l="0" t="0" r="r" b="b"/>
              <a:pathLst>
                <a:path w="42">
                  <a:moveTo>
                    <a:pt x="42" y="0"/>
                  </a:moveTo>
                  <a:lnTo>
                    <a:pt x="0" y="0"/>
                  </a:lnTo>
                  <a:lnTo>
                    <a:pt x="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59" name="Freeform 114"/>
            <p:cNvSpPr>
              <a:spLocks/>
            </p:cNvSpPr>
            <p:nvPr/>
          </p:nvSpPr>
          <p:spPr bwMode="auto">
            <a:xfrm>
              <a:off x="4065588" y="435970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60" name="Rectangle 115"/>
            <p:cNvSpPr>
              <a:spLocks noChangeArrowheads="1"/>
            </p:cNvSpPr>
            <p:nvPr/>
          </p:nvSpPr>
          <p:spPr bwMode="auto">
            <a:xfrm>
              <a:off x="4062413" y="4359704"/>
              <a:ext cx="3175"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61" name="Rectangle 116"/>
            <p:cNvSpPr>
              <a:spLocks noChangeArrowheads="1"/>
            </p:cNvSpPr>
            <p:nvPr/>
          </p:nvSpPr>
          <p:spPr bwMode="auto">
            <a:xfrm>
              <a:off x="4016375" y="4359704"/>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62" name="Freeform 117"/>
            <p:cNvSpPr>
              <a:spLocks/>
            </p:cNvSpPr>
            <p:nvPr/>
          </p:nvSpPr>
          <p:spPr bwMode="auto">
            <a:xfrm>
              <a:off x="4014788" y="4359704"/>
              <a:ext cx="1588" cy="3175"/>
            </a:xfrm>
            <a:custGeom>
              <a:avLst/>
              <a:gdLst>
                <a:gd name="T0" fmla="*/ 0 w 1"/>
                <a:gd name="T1" fmla="*/ 2 h 2"/>
                <a:gd name="T2" fmla="*/ 0 w 1"/>
                <a:gd name="T3" fmla="*/ 2 h 2"/>
                <a:gd name="T4" fmla="*/ 1 w 1"/>
                <a:gd name="T5" fmla="*/ 0 h 2"/>
                <a:gd name="T6" fmla="*/ 1 w 1"/>
                <a:gd name="T7" fmla="*/ 0 h 2"/>
                <a:gd name="T8" fmla="*/ 0 w 1"/>
                <a:gd name="T9" fmla="*/ 2 h 2"/>
              </a:gdLst>
              <a:ahLst/>
              <a:cxnLst>
                <a:cxn ang="0">
                  <a:pos x="T0" y="T1"/>
                </a:cxn>
                <a:cxn ang="0">
                  <a:pos x="T2" y="T3"/>
                </a:cxn>
                <a:cxn ang="0">
                  <a:pos x="T4" y="T5"/>
                </a:cxn>
                <a:cxn ang="0">
                  <a:pos x="T6" y="T7"/>
                </a:cxn>
                <a:cxn ang="0">
                  <a:pos x="T8" y="T9"/>
                </a:cxn>
              </a:cxnLst>
              <a:rect l="0" t="0" r="r" b="b"/>
              <a:pathLst>
                <a:path w="1" h="2">
                  <a:moveTo>
                    <a:pt x="0" y="2"/>
                  </a:moveTo>
                  <a:lnTo>
                    <a:pt x="0" y="2"/>
                  </a:lnTo>
                  <a:lnTo>
                    <a:pt x="1" y="0"/>
                  </a:lnTo>
                  <a:lnTo>
                    <a:pt x="1"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63" name="Freeform 118"/>
            <p:cNvSpPr>
              <a:spLocks/>
            </p:cNvSpPr>
            <p:nvPr/>
          </p:nvSpPr>
          <p:spPr bwMode="auto">
            <a:xfrm>
              <a:off x="4014788" y="436287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64" name="Freeform 119"/>
            <p:cNvSpPr>
              <a:spLocks/>
            </p:cNvSpPr>
            <p:nvPr/>
          </p:nvSpPr>
          <p:spPr bwMode="auto">
            <a:xfrm>
              <a:off x="4040188" y="4359704"/>
              <a:ext cx="22225" cy="3175"/>
            </a:xfrm>
            <a:custGeom>
              <a:avLst/>
              <a:gdLst>
                <a:gd name="T0" fmla="*/ 0 w 14"/>
                <a:gd name="T1" fmla="*/ 2 h 2"/>
                <a:gd name="T2" fmla="*/ 0 w 14"/>
                <a:gd name="T3" fmla="*/ 2 h 2"/>
                <a:gd name="T4" fmla="*/ 0 w 14"/>
                <a:gd name="T5" fmla="*/ 2 h 2"/>
                <a:gd name="T6" fmla="*/ 3 w 14"/>
                <a:gd name="T7" fmla="*/ 2 h 2"/>
                <a:gd name="T8" fmla="*/ 7 w 14"/>
                <a:gd name="T9" fmla="*/ 0 h 2"/>
                <a:gd name="T10" fmla="*/ 14 w 14"/>
                <a:gd name="T11" fmla="*/ 0 h 2"/>
                <a:gd name="T12" fmla="*/ 14 w 14"/>
                <a:gd name="T13" fmla="*/ 0 h 2"/>
                <a:gd name="T14" fmla="*/ 7 w 14"/>
                <a:gd name="T15" fmla="*/ 0 h 2"/>
                <a:gd name="T16" fmla="*/ 3 w 14"/>
                <a:gd name="T17" fmla="*/ 2 h 2"/>
                <a:gd name="T18" fmla="*/ 0 w 14"/>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2">
                  <a:moveTo>
                    <a:pt x="0" y="2"/>
                  </a:moveTo>
                  <a:lnTo>
                    <a:pt x="0" y="2"/>
                  </a:lnTo>
                  <a:lnTo>
                    <a:pt x="0" y="2"/>
                  </a:lnTo>
                  <a:lnTo>
                    <a:pt x="3" y="2"/>
                  </a:lnTo>
                  <a:lnTo>
                    <a:pt x="7" y="0"/>
                  </a:lnTo>
                  <a:lnTo>
                    <a:pt x="14" y="0"/>
                  </a:lnTo>
                  <a:lnTo>
                    <a:pt x="14" y="0"/>
                  </a:lnTo>
                  <a:lnTo>
                    <a:pt x="7" y="0"/>
                  </a:lnTo>
                  <a:lnTo>
                    <a:pt x="3"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65" name="Rectangle 120"/>
            <p:cNvSpPr>
              <a:spLocks noChangeArrowheads="1"/>
            </p:cNvSpPr>
            <p:nvPr/>
          </p:nvSpPr>
          <p:spPr bwMode="auto">
            <a:xfrm>
              <a:off x="4040188" y="4362879"/>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66" name="Rectangle 121"/>
            <p:cNvSpPr>
              <a:spLocks noChangeArrowheads="1"/>
            </p:cNvSpPr>
            <p:nvPr/>
          </p:nvSpPr>
          <p:spPr bwMode="auto">
            <a:xfrm>
              <a:off x="4040188" y="4364466"/>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67" name="Freeform 122"/>
            <p:cNvSpPr>
              <a:spLocks/>
            </p:cNvSpPr>
            <p:nvPr/>
          </p:nvSpPr>
          <p:spPr bwMode="auto">
            <a:xfrm>
              <a:off x="4098925" y="4332716"/>
              <a:ext cx="80963" cy="31750"/>
            </a:xfrm>
            <a:custGeom>
              <a:avLst/>
              <a:gdLst>
                <a:gd name="T0" fmla="*/ 0 w 51"/>
                <a:gd name="T1" fmla="*/ 20 h 20"/>
                <a:gd name="T2" fmla="*/ 0 w 51"/>
                <a:gd name="T3" fmla="*/ 20 h 20"/>
                <a:gd name="T4" fmla="*/ 0 w 51"/>
                <a:gd name="T5" fmla="*/ 20 h 20"/>
                <a:gd name="T6" fmla="*/ 41 w 51"/>
                <a:gd name="T7" fmla="*/ 20 h 20"/>
                <a:gd name="T8" fmla="*/ 51 w 51"/>
                <a:gd name="T9" fmla="*/ 0 h 20"/>
                <a:gd name="T10" fmla="*/ 41 w 51"/>
                <a:gd name="T11" fmla="*/ 20 h 20"/>
                <a:gd name="T12" fmla="*/ 41 w 51"/>
                <a:gd name="T13" fmla="*/ 20 h 20"/>
                <a:gd name="T14" fmla="*/ 0 w 51"/>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20">
                  <a:moveTo>
                    <a:pt x="0" y="20"/>
                  </a:moveTo>
                  <a:lnTo>
                    <a:pt x="0" y="20"/>
                  </a:lnTo>
                  <a:lnTo>
                    <a:pt x="0" y="20"/>
                  </a:lnTo>
                  <a:lnTo>
                    <a:pt x="41" y="20"/>
                  </a:lnTo>
                  <a:lnTo>
                    <a:pt x="51" y="0"/>
                  </a:lnTo>
                  <a:lnTo>
                    <a:pt x="41" y="20"/>
                  </a:lnTo>
                  <a:lnTo>
                    <a:pt x="41" y="20"/>
                  </a:lnTo>
                  <a:lnTo>
                    <a:pt x="0"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68" name="Freeform 123"/>
            <p:cNvSpPr>
              <a:spLocks/>
            </p:cNvSpPr>
            <p:nvPr/>
          </p:nvSpPr>
          <p:spPr bwMode="auto">
            <a:xfrm>
              <a:off x="4073525" y="4364466"/>
              <a:ext cx="4763" cy="3175"/>
            </a:xfrm>
            <a:custGeom>
              <a:avLst/>
              <a:gdLst>
                <a:gd name="T0" fmla="*/ 3 w 3"/>
                <a:gd name="T1" fmla="*/ 2 h 2"/>
                <a:gd name="T2" fmla="*/ 3 w 3"/>
                <a:gd name="T3" fmla="*/ 2 h 2"/>
                <a:gd name="T4" fmla="*/ 0 w 3"/>
                <a:gd name="T5" fmla="*/ 0 h 2"/>
                <a:gd name="T6" fmla="*/ 0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3" y="2"/>
                  </a:lnTo>
                  <a:lnTo>
                    <a:pt x="0" y="0"/>
                  </a:lnTo>
                  <a:lnTo>
                    <a:pt x="0" y="0"/>
                  </a:lnTo>
                  <a:lnTo>
                    <a:pt x="3"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69" name="Rectangle 124"/>
            <p:cNvSpPr>
              <a:spLocks noChangeArrowheads="1"/>
            </p:cNvSpPr>
            <p:nvPr/>
          </p:nvSpPr>
          <p:spPr bwMode="auto">
            <a:xfrm>
              <a:off x="4081463" y="4367641"/>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70" name="Freeform 125"/>
            <p:cNvSpPr>
              <a:spLocks/>
            </p:cNvSpPr>
            <p:nvPr/>
          </p:nvSpPr>
          <p:spPr bwMode="auto">
            <a:xfrm>
              <a:off x="4081463" y="4367641"/>
              <a:ext cx="1588" cy="0"/>
            </a:xfrm>
            <a:custGeom>
              <a:avLst/>
              <a:gdLst>
                <a:gd name="T0" fmla="*/ 1 w 1"/>
                <a:gd name="T1" fmla="*/ 1 w 1"/>
                <a:gd name="T2" fmla="*/ 0 w 1"/>
                <a:gd name="T3" fmla="*/ 0 w 1"/>
                <a:gd name="T4" fmla="*/ 0 w 1"/>
                <a:gd name="T5" fmla="*/ 0 w 1"/>
                <a:gd name="T6" fmla="*/ 0 w 1"/>
                <a:gd name="T7" fmla="*/ 0 w 1"/>
                <a:gd name="T8"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
                  <a:moveTo>
                    <a:pt x="1" y="0"/>
                  </a:moveTo>
                  <a:lnTo>
                    <a:pt x="1" y="0"/>
                  </a:lnTo>
                  <a:lnTo>
                    <a:pt x="0" y="0"/>
                  </a:lnTo>
                  <a:lnTo>
                    <a:pt x="0" y="0"/>
                  </a:lnTo>
                  <a:lnTo>
                    <a:pt x="0" y="0"/>
                  </a:lnTo>
                  <a:lnTo>
                    <a:pt x="0" y="0"/>
                  </a:lnTo>
                  <a:lnTo>
                    <a:pt x="0" y="0"/>
                  </a:lnTo>
                  <a:lnTo>
                    <a:pt x="0"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71" name="Rectangle 126"/>
            <p:cNvSpPr>
              <a:spLocks noChangeArrowheads="1"/>
            </p:cNvSpPr>
            <p:nvPr/>
          </p:nvSpPr>
          <p:spPr bwMode="auto">
            <a:xfrm>
              <a:off x="4083050" y="4367641"/>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72" name="Rectangle 127"/>
            <p:cNvSpPr>
              <a:spLocks noChangeArrowheads="1"/>
            </p:cNvSpPr>
            <p:nvPr/>
          </p:nvSpPr>
          <p:spPr bwMode="auto">
            <a:xfrm>
              <a:off x="4086225" y="4367641"/>
              <a:ext cx="6350"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73" name="Freeform 128"/>
            <p:cNvSpPr>
              <a:spLocks/>
            </p:cNvSpPr>
            <p:nvPr/>
          </p:nvSpPr>
          <p:spPr bwMode="auto">
            <a:xfrm>
              <a:off x="4086225" y="4367641"/>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74" name="Rectangle 129"/>
            <p:cNvSpPr>
              <a:spLocks noChangeArrowheads="1"/>
            </p:cNvSpPr>
            <p:nvPr/>
          </p:nvSpPr>
          <p:spPr bwMode="auto">
            <a:xfrm>
              <a:off x="4025900" y="4369229"/>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75" name="Freeform 130"/>
            <p:cNvSpPr>
              <a:spLocks/>
            </p:cNvSpPr>
            <p:nvPr/>
          </p:nvSpPr>
          <p:spPr bwMode="auto">
            <a:xfrm>
              <a:off x="4025900" y="4369229"/>
              <a:ext cx="4763" cy="4763"/>
            </a:xfrm>
            <a:custGeom>
              <a:avLst/>
              <a:gdLst>
                <a:gd name="T0" fmla="*/ 3 w 3"/>
                <a:gd name="T1" fmla="*/ 3 h 3"/>
                <a:gd name="T2" fmla="*/ 3 w 3"/>
                <a:gd name="T3" fmla="*/ 3 h 3"/>
                <a:gd name="T4" fmla="*/ 0 w 3"/>
                <a:gd name="T5" fmla="*/ 0 h 3"/>
                <a:gd name="T6" fmla="*/ 0 w 3"/>
                <a:gd name="T7" fmla="*/ 0 h 3"/>
                <a:gd name="T8" fmla="*/ 3 w 3"/>
                <a:gd name="T9" fmla="*/ 3 h 3"/>
              </a:gdLst>
              <a:ahLst/>
              <a:cxnLst>
                <a:cxn ang="0">
                  <a:pos x="T0" y="T1"/>
                </a:cxn>
                <a:cxn ang="0">
                  <a:pos x="T2" y="T3"/>
                </a:cxn>
                <a:cxn ang="0">
                  <a:pos x="T4" y="T5"/>
                </a:cxn>
                <a:cxn ang="0">
                  <a:pos x="T6" y="T7"/>
                </a:cxn>
                <a:cxn ang="0">
                  <a:pos x="T8" y="T9"/>
                </a:cxn>
              </a:cxnLst>
              <a:rect l="0" t="0" r="r" b="b"/>
              <a:pathLst>
                <a:path w="3" h="3">
                  <a:moveTo>
                    <a:pt x="3" y="3"/>
                  </a:moveTo>
                  <a:lnTo>
                    <a:pt x="3" y="3"/>
                  </a:lnTo>
                  <a:lnTo>
                    <a:pt x="0" y="0"/>
                  </a:lnTo>
                  <a:lnTo>
                    <a:pt x="0" y="0"/>
                  </a:lnTo>
                  <a:lnTo>
                    <a:pt x="3"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76" name="Rectangle 131"/>
            <p:cNvSpPr>
              <a:spLocks noChangeArrowheads="1"/>
            </p:cNvSpPr>
            <p:nvPr/>
          </p:nvSpPr>
          <p:spPr bwMode="auto">
            <a:xfrm>
              <a:off x="4030663" y="4373991"/>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77" name="Rectangle 132"/>
            <p:cNvSpPr>
              <a:spLocks noChangeArrowheads="1"/>
            </p:cNvSpPr>
            <p:nvPr/>
          </p:nvSpPr>
          <p:spPr bwMode="auto">
            <a:xfrm>
              <a:off x="4030663" y="4373991"/>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78" name="Rectangle 133"/>
            <p:cNvSpPr>
              <a:spLocks noChangeArrowheads="1"/>
            </p:cNvSpPr>
            <p:nvPr/>
          </p:nvSpPr>
          <p:spPr bwMode="auto">
            <a:xfrm>
              <a:off x="4030663" y="4373991"/>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79" name="Freeform 134"/>
            <p:cNvSpPr>
              <a:spLocks/>
            </p:cNvSpPr>
            <p:nvPr/>
          </p:nvSpPr>
          <p:spPr bwMode="auto">
            <a:xfrm>
              <a:off x="4030663" y="437399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80" name="Rectangle 135"/>
            <p:cNvSpPr>
              <a:spLocks noChangeArrowheads="1"/>
            </p:cNvSpPr>
            <p:nvPr/>
          </p:nvSpPr>
          <p:spPr bwMode="auto">
            <a:xfrm>
              <a:off x="4030663" y="4375579"/>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81" name="Freeform 136"/>
            <p:cNvSpPr>
              <a:spLocks/>
            </p:cNvSpPr>
            <p:nvPr/>
          </p:nvSpPr>
          <p:spPr bwMode="auto">
            <a:xfrm>
              <a:off x="4032250" y="4364466"/>
              <a:ext cx="7938" cy="11113"/>
            </a:xfrm>
            <a:custGeom>
              <a:avLst/>
              <a:gdLst>
                <a:gd name="T0" fmla="*/ 0 w 5"/>
                <a:gd name="T1" fmla="*/ 7 h 7"/>
                <a:gd name="T2" fmla="*/ 0 w 5"/>
                <a:gd name="T3" fmla="*/ 7 h 7"/>
                <a:gd name="T4" fmla="*/ 2 w 5"/>
                <a:gd name="T5" fmla="*/ 6 h 7"/>
                <a:gd name="T6" fmla="*/ 3 w 5"/>
                <a:gd name="T7" fmla="*/ 5 h 7"/>
                <a:gd name="T8" fmla="*/ 5 w 5"/>
                <a:gd name="T9" fmla="*/ 0 h 7"/>
                <a:gd name="T10" fmla="*/ 5 w 5"/>
                <a:gd name="T11" fmla="*/ 0 h 7"/>
                <a:gd name="T12" fmla="*/ 3 w 5"/>
                <a:gd name="T13" fmla="*/ 5 h 7"/>
                <a:gd name="T14" fmla="*/ 2 w 5"/>
                <a:gd name="T15" fmla="*/ 6 h 7"/>
                <a:gd name="T16" fmla="*/ 0 w 5"/>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0" y="7"/>
                  </a:moveTo>
                  <a:lnTo>
                    <a:pt x="0" y="7"/>
                  </a:lnTo>
                  <a:lnTo>
                    <a:pt x="2" y="6"/>
                  </a:lnTo>
                  <a:lnTo>
                    <a:pt x="3" y="5"/>
                  </a:lnTo>
                  <a:lnTo>
                    <a:pt x="5" y="0"/>
                  </a:lnTo>
                  <a:lnTo>
                    <a:pt x="5" y="0"/>
                  </a:lnTo>
                  <a:lnTo>
                    <a:pt x="3" y="5"/>
                  </a:lnTo>
                  <a:lnTo>
                    <a:pt x="2" y="6"/>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82" name="Freeform 137"/>
            <p:cNvSpPr>
              <a:spLocks/>
            </p:cNvSpPr>
            <p:nvPr/>
          </p:nvSpPr>
          <p:spPr bwMode="auto">
            <a:xfrm>
              <a:off x="4032250" y="437557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83" name="Freeform 138"/>
            <p:cNvSpPr>
              <a:spLocks/>
            </p:cNvSpPr>
            <p:nvPr/>
          </p:nvSpPr>
          <p:spPr bwMode="auto">
            <a:xfrm>
              <a:off x="4000500" y="4364466"/>
              <a:ext cx="11113" cy="19050"/>
            </a:xfrm>
            <a:custGeom>
              <a:avLst/>
              <a:gdLst>
                <a:gd name="T0" fmla="*/ 0 w 7"/>
                <a:gd name="T1" fmla="*/ 12 h 12"/>
                <a:gd name="T2" fmla="*/ 0 w 7"/>
                <a:gd name="T3" fmla="*/ 12 h 12"/>
                <a:gd name="T4" fmla="*/ 0 w 7"/>
                <a:gd name="T5" fmla="*/ 12 h 12"/>
                <a:gd name="T6" fmla="*/ 0 w 7"/>
                <a:gd name="T7" fmla="*/ 12 h 12"/>
                <a:gd name="T8" fmla="*/ 3 w 7"/>
                <a:gd name="T9" fmla="*/ 10 h 12"/>
                <a:gd name="T10" fmla="*/ 4 w 7"/>
                <a:gd name="T11" fmla="*/ 6 h 12"/>
                <a:gd name="T12" fmla="*/ 7 w 7"/>
                <a:gd name="T13" fmla="*/ 0 h 12"/>
                <a:gd name="T14" fmla="*/ 7 w 7"/>
                <a:gd name="T15" fmla="*/ 0 h 12"/>
                <a:gd name="T16" fmla="*/ 4 w 7"/>
                <a:gd name="T17" fmla="*/ 6 h 12"/>
                <a:gd name="T18" fmla="*/ 3 w 7"/>
                <a:gd name="T19" fmla="*/ 10 h 12"/>
                <a:gd name="T20" fmla="*/ 0 w 7"/>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0" y="12"/>
                  </a:moveTo>
                  <a:lnTo>
                    <a:pt x="0" y="12"/>
                  </a:lnTo>
                  <a:lnTo>
                    <a:pt x="0" y="12"/>
                  </a:lnTo>
                  <a:lnTo>
                    <a:pt x="0" y="12"/>
                  </a:lnTo>
                  <a:lnTo>
                    <a:pt x="3" y="10"/>
                  </a:lnTo>
                  <a:lnTo>
                    <a:pt x="4" y="6"/>
                  </a:lnTo>
                  <a:lnTo>
                    <a:pt x="7" y="0"/>
                  </a:lnTo>
                  <a:lnTo>
                    <a:pt x="7" y="0"/>
                  </a:lnTo>
                  <a:lnTo>
                    <a:pt x="4" y="6"/>
                  </a:lnTo>
                  <a:lnTo>
                    <a:pt x="3" y="1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84" name="Freeform 139"/>
            <p:cNvSpPr>
              <a:spLocks/>
            </p:cNvSpPr>
            <p:nvPr/>
          </p:nvSpPr>
          <p:spPr bwMode="auto">
            <a:xfrm>
              <a:off x="4657725" y="4159679"/>
              <a:ext cx="276225" cy="434975"/>
            </a:xfrm>
            <a:custGeom>
              <a:avLst/>
              <a:gdLst>
                <a:gd name="T0" fmla="*/ 34 w 174"/>
                <a:gd name="T1" fmla="*/ 267 h 274"/>
                <a:gd name="T2" fmla="*/ 26 w 174"/>
                <a:gd name="T3" fmla="*/ 254 h 274"/>
                <a:gd name="T4" fmla="*/ 13 w 174"/>
                <a:gd name="T5" fmla="*/ 239 h 274"/>
                <a:gd name="T6" fmla="*/ 34 w 174"/>
                <a:gd name="T7" fmla="*/ 228 h 274"/>
                <a:gd name="T8" fmla="*/ 29 w 174"/>
                <a:gd name="T9" fmla="*/ 221 h 274"/>
                <a:gd name="T10" fmla="*/ 28 w 174"/>
                <a:gd name="T11" fmla="*/ 197 h 274"/>
                <a:gd name="T12" fmla="*/ 21 w 174"/>
                <a:gd name="T13" fmla="*/ 181 h 274"/>
                <a:gd name="T14" fmla="*/ 12 w 174"/>
                <a:gd name="T15" fmla="*/ 173 h 274"/>
                <a:gd name="T16" fmla="*/ 3 w 174"/>
                <a:gd name="T17" fmla="*/ 161 h 274"/>
                <a:gd name="T18" fmla="*/ 0 w 174"/>
                <a:gd name="T19" fmla="*/ 154 h 274"/>
                <a:gd name="T20" fmla="*/ 9 w 174"/>
                <a:gd name="T21" fmla="*/ 136 h 274"/>
                <a:gd name="T22" fmla="*/ 16 w 174"/>
                <a:gd name="T23" fmla="*/ 118 h 274"/>
                <a:gd name="T24" fmla="*/ 12 w 174"/>
                <a:gd name="T25" fmla="*/ 77 h 274"/>
                <a:gd name="T26" fmla="*/ 13 w 174"/>
                <a:gd name="T27" fmla="*/ 68 h 274"/>
                <a:gd name="T28" fmla="*/ 23 w 174"/>
                <a:gd name="T29" fmla="*/ 50 h 274"/>
                <a:gd name="T30" fmla="*/ 22 w 174"/>
                <a:gd name="T31" fmla="*/ 47 h 274"/>
                <a:gd name="T32" fmla="*/ 10 w 174"/>
                <a:gd name="T33" fmla="*/ 8 h 274"/>
                <a:gd name="T34" fmla="*/ 174 w 174"/>
                <a:gd name="T35" fmla="*/ 64 h 274"/>
                <a:gd name="T36" fmla="*/ 174 w 174"/>
                <a:gd name="T37" fmla="*/ 119 h 274"/>
                <a:gd name="T38" fmla="*/ 174 w 174"/>
                <a:gd name="T39" fmla="*/ 119 h 274"/>
                <a:gd name="T40" fmla="*/ 173 w 174"/>
                <a:gd name="T41" fmla="*/ 121 h 274"/>
                <a:gd name="T42" fmla="*/ 171 w 174"/>
                <a:gd name="T43" fmla="*/ 122 h 274"/>
                <a:gd name="T44" fmla="*/ 163 w 174"/>
                <a:gd name="T45" fmla="*/ 116 h 274"/>
                <a:gd name="T46" fmla="*/ 161 w 174"/>
                <a:gd name="T47" fmla="*/ 116 h 274"/>
                <a:gd name="T48" fmla="*/ 161 w 174"/>
                <a:gd name="T49" fmla="*/ 116 h 274"/>
                <a:gd name="T50" fmla="*/ 158 w 174"/>
                <a:gd name="T51" fmla="*/ 116 h 274"/>
                <a:gd name="T52" fmla="*/ 158 w 174"/>
                <a:gd name="T53" fmla="*/ 116 h 274"/>
                <a:gd name="T54" fmla="*/ 155 w 174"/>
                <a:gd name="T55" fmla="*/ 125 h 274"/>
                <a:gd name="T56" fmla="*/ 149 w 174"/>
                <a:gd name="T57" fmla="*/ 134 h 274"/>
                <a:gd name="T58" fmla="*/ 138 w 174"/>
                <a:gd name="T59" fmla="*/ 150 h 274"/>
                <a:gd name="T60" fmla="*/ 135 w 174"/>
                <a:gd name="T61" fmla="*/ 168 h 274"/>
                <a:gd name="T62" fmla="*/ 135 w 174"/>
                <a:gd name="T63" fmla="*/ 178 h 274"/>
                <a:gd name="T64" fmla="*/ 138 w 174"/>
                <a:gd name="T65" fmla="*/ 180 h 274"/>
                <a:gd name="T66" fmla="*/ 155 w 174"/>
                <a:gd name="T67" fmla="*/ 200 h 274"/>
                <a:gd name="T68" fmla="*/ 155 w 174"/>
                <a:gd name="T69" fmla="*/ 200 h 274"/>
                <a:gd name="T70" fmla="*/ 155 w 174"/>
                <a:gd name="T71" fmla="*/ 200 h 274"/>
                <a:gd name="T72" fmla="*/ 155 w 174"/>
                <a:gd name="T73" fmla="*/ 205 h 274"/>
                <a:gd name="T74" fmla="*/ 151 w 174"/>
                <a:gd name="T75" fmla="*/ 212 h 274"/>
                <a:gd name="T76" fmla="*/ 138 w 174"/>
                <a:gd name="T77" fmla="*/ 225 h 274"/>
                <a:gd name="T78" fmla="*/ 109 w 174"/>
                <a:gd name="T79" fmla="*/ 235 h 274"/>
                <a:gd name="T80" fmla="*/ 96 w 174"/>
                <a:gd name="T81" fmla="*/ 236 h 274"/>
                <a:gd name="T82" fmla="*/ 93 w 174"/>
                <a:gd name="T83" fmla="*/ 244 h 274"/>
                <a:gd name="T84" fmla="*/ 86 w 174"/>
                <a:gd name="T85" fmla="*/ 249 h 274"/>
                <a:gd name="T86" fmla="*/ 74 w 174"/>
                <a:gd name="T87" fmla="*/ 252 h 274"/>
                <a:gd name="T88" fmla="*/ 45 w 174"/>
                <a:gd name="T89" fmla="*/ 267 h 274"/>
                <a:gd name="T90" fmla="*/ 32 w 174"/>
                <a:gd name="T9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4" h="274">
                  <a:moveTo>
                    <a:pt x="32" y="274"/>
                  </a:moveTo>
                  <a:lnTo>
                    <a:pt x="32" y="274"/>
                  </a:lnTo>
                  <a:lnTo>
                    <a:pt x="34" y="267"/>
                  </a:lnTo>
                  <a:lnTo>
                    <a:pt x="32" y="261"/>
                  </a:lnTo>
                  <a:lnTo>
                    <a:pt x="32" y="261"/>
                  </a:lnTo>
                  <a:lnTo>
                    <a:pt x="26" y="254"/>
                  </a:lnTo>
                  <a:lnTo>
                    <a:pt x="21" y="248"/>
                  </a:lnTo>
                  <a:lnTo>
                    <a:pt x="16" y="242"/>
                  </a:lnTo>
                  <a:lnTo>
                    <a:pt x="13" y="239"/>
                  </a:lnTo>
                  <a:lnTo>
                    <a:pt x="13" y="235"/>
                  </a:lnTo>
                  <a:lnTo>
                    <a:pt x="13" y="228"/>
                  </a:lnTo>
                  <a:lnTo>
                    <a:pt x="34" y="228"/>
                  </a:lnTo>
                  <a:lnTo>
                    <a:pt x="34" y="228"/>
                  </a:lnTo>
                  <a:lnTo>
                    <a:pt x="31" y="225"/>
                  </a:lnTo>
                  <a:lnTo>
                    <a:pt x="29" y="221"/>
                  </a:lnTo>
                  <a:lnTo>
                    <a:pt x="28" y="215"/>
                  </a:lnTo>
                  <a:lnTo>
                    <a:pt x="28" y="215"/>
                  </a:lnTo>
                  <a:lnTo>
                    <a:pt x="28" y="197"/>
                  </a:lnTo>
                  <a:lnTo>
                    <a:pt x="26" y="189"/>
                  </a:lnTo>
                  <a:lnTo>
                    <a:pt x="23" y="184"/>
                  </a:lnTo>
                  <a:lnTo>
                    <a:pt x="21" y="181"/>
                  </a:lnTo>
                  <a:lnTo>
                    <a:pt x="21" y="181"/>
                  </a:lnTo>
                  <a:lnTo>
                    <a:pt x="12" y="173"/>
                  </a:lnTo>
                  <a:lnTo>
                    <a:pt x="12" y="173"/>
                  </a:lnTo>
                  <a:lnTo>
                    <a:pt x="12" y="173"/>
                  </a:lnTo>
                  <a:lnTo>
                    <a:pt x="3" y="161"/>
                  </a:lnTo>
                  <a:lnTo>
                    <a:pt x="3" y="161"/>
                  </a:lnTo>
                  <a:lnTo>
                    <a:pt x="2" y="158"/>
                  </a:lnTo>
                  <a:lnTo>
                    <a:pt x="0" y="154"/>
                  </a:lnTo>
                  <a:lnTo>
                    <a:pt x="0" y="154"/>
                  </a:lnTo>
                  <a:lnTo>
                    <a:pt x="0" y="154"/>
                  </a:lnTo>
                  <a:lnTo>
                    <a:pt x="3" y="147"/>
                  </a:lnTo>
                  <a:lnTo>
                    <a:pt x="9" y="136"/>
                  </a:lnTo>
                  <a:lnTo>
                    <a:pt x="13" y="126"/>
                  </a:lnTo>
                  <a:lnTo>
                    <a:pt x="16" y="118"/>
                  </a:lnTo>
                  <a:lnTo>
                    <a:pt x="16" y="118"/>
                  </a:lnTo>
                  <a:lnTo>
                    <a:pt x="13" y="100"/>
                  </a:lnTo>
                  <a:lnTo>
                    <a:pt x="12" y="77"/>
                  </a:lnTo>
                  <a:lnTo>
                    <a:pt x="12" y="77"/>
                  </a:lnTo>
                  <a:lnTo>
                    <a:pt x="12" y="73"/>
                  </a:lnTo>
                  <a:lnTo>
                    <a:pt x="13" y="68"/>
                  </a:lnTo>
                  <a:lnTo>
                    <a:pt x="13" y="68"/>
                  </a:lnTo>
                  <a:lnTo>
                    <a:pt x="19" y="60"/>
                  </a:lnTo>
                  <a:lnTo>
                    <a:pt x="22" y="54"/>
                  </a:lnTo>
                  <a:lnTo>
                    <a:pt x="23" y="50"/>
                  </a:lnTo>
                  <a:lnTo>
                    <a:pt x="23" y="50"/>
                  </a:lnTo>
                  <a:lnTo>
                    <a:pt x="22" y="47"/>
                  </a:lnTo>
                  <a:lnTo>
                    <a:pt x="22" y="47"/>
                  </a:lnTo>
                  <a:lnTo>
                    <a:pt x="18" y="31"/>
                  </a:lnTo>
                  <a:lnTo>
                    <a:pt x="13" y="21"/>
                  </a:lnTo>
                  <a:lnTo>
                    <a:pt x="10" y="8"/>
                  </a:lnTo>
                  <a:lnTo>
                    <a:pt x="31" y="0"/>
                  </a:lnTo>
                  <a:lnTo>
                    <a:pt x="174" y="64"/>
                  </a:lnTo>
                  <a:lnTo>
                    <a:pt x="174" y="64"/>
                  </a:lnTo>
                  <a:lnTo>
                    <a:pt x="174" y="71"/>
                  </a:lnTo>
                  <a:lnTo>
                    <a:pt x="174" y="71"/>
                  </a:lnTo>
                  <a:lnTo>
                    <a:pt x="174" y="119"/>
                  </a:lnTo>
                  <a:lnTo>
                    <a:pt x="174" y="119"/>
                  </a:lnTo>
                  <a:lnTo>
                    <a:pt x="174" y="119"/>
                  </a:lnTo>
                  <a:lnTo>
                    <a:pt x="174" y="119"/>
                  </a:lnTo>
                  <a:lnTo>
                    <a:pt x="174" y="119"/>
                  </a:lnTo>
                  <a:lnTo>
                    <a:pt x="174" y="119"/>
                  </a:lnTo>
                  <a:lnTo>
                    <a:pt x="173" y="121"/>
                  </a:lnTo>
                  <a:lnTo>
                    <a:pt x="171" y="122"/>
                  </a:lnTo>
                  <a:lnTo>
                    <a:pt x="171" y="122"/>
                  </a:lnTo>
                  <a:lnTo>
                    <a:pt x="171" y="122"/>
                  </a:lnTo>
                  <a:lnTo>
                    <a:pt x="167" y="119"/>
                  </a:lnTo>
                  <a:lnTo>
                    <a:pt x="163" y="116"/>
                  </a:lnTo>
                  <a:lnTo>
                    <a:pt x="163" y="116"/>
                  </a:lnTo>
                  <a:lnTo>
                    <a:pt x="161" y="116"/>
                  </a:lnTo>
                  <a:lnTo>
                    <a:pt x="161" y="116"/>
                  </a:lnTo>
                  <a:lnTo>
                    <a:pt x="161" y="116"/>
                  </a:lnTo>
                  <a:lnTo>
                    <a:pt x="161" y="116"/>
                  </a:lnTo>
                  <a:lnTo>
                    <a:pt x="161" y="116"/>
                  </a:lnTo>
                  <a:lnTo>
                    <a:pt x="161" y="116"/>
                  </a:lnTo>
                  <a:lnTo>
                    <a:pt x="161" y="116"/>
                  </a:lnTo>
                  <a:lnTo>
                    <a:pt x="161" y="116"/>
                  </a:lnTo>
                  <a:lnTo>
                    <a:pt x="158" y="116"/>
                  </a:lnTo>
                  <a:lnTo>
                    <a:pt x="158" y="116"/>
                  </a:lnTo>
                  <a:lnTo>
                    <a:pt x="158" y="116"/>
                  </a:lnTo>
                  <a:lnTo>
                    <a:pt x="158" y="116"/>
                  </a:lnTo>
                  <a:lnTo>
                    <a:pt x="157" y="116"/>
                  </a:lnTo>
                  <a:lnTo>
                    <a:pt x="155" y="119"/>
                  </a:lnTo>
                  <a:lnTo>
                    <a:pt x="155" y="125"/>
                  </a:lnTo>
                  <a:lnTo>
                    <a:pt x="155" y="125"/>
                  </a:lnTo>
                  <a:lnTo>
                    <a:pt x="152" y="129"/>
                  </a:lnTo>
                  <a:lnTo>
                    <a:pt x="149" y="134"/>
                  </a:lnTo>
                  <a:lnTo>
                    <a:pt x="141" y="144"/>
                  </a:lnTo>
                  <a:lnTo>
                    <a:pt x="141" y="144"/>
                  </a:lnTo>
                  <a:lnTo>
                    <a:pt x="138" y="150"/>
                  </a:lnTo>
                  <a:lnTo>
                    <a:pt x="136" y="157"/>
                  </a:lnTo>
                  <a:lnTo>
                    <a:pt x="135" y="168"/>
                  </a:lnTo>
                  <a:lnTo>
                    <a:pt x="135" y="168"/>
                  </a:lnTo>
                  <a:lnTo>
                    <a:pt x="134" y="174"/>
                  </a:lnTo>
                  <a:lnTo>
                    <a:pt x="134" y="174"/>
                  </a:lnTo>
                  <a:lnTo>
                    <a:pt x="135" y="178"/>
                  </a:lnTo>
                  <a:lnTo>
                    <a:pt x="136" y="180"/>
                  </a:lnTo>
                  <a:lnTo>
                    <a:pt x="138" y="180"/>
                  </a:lnTo>
                  <a:lnTo>
                    <a:pt x="138" y="180"/>
                  </a:lnTo>
                  <a:lnTo>
                    <a:pt x="142" y="183"/>
                  </a:lnTo>
                  <a:lnTo>
                    <a:pt x="147" y="187"/>
                  </a:lnTo>
                  <a:lnTo>
                    <a:pt x="155" y="200"/>
                  </a:lnTo>
                  <a:lnTo>
                    <a:pt x="155" y="200"/>
                  </a:lnTo>
                  <a:lnTo>
                    <a:pt x="155" y="200"/>
                  </a:lnTo>
                  <a:lnTo>
                    <a:pt x="155" y="200"/>
                  </a:lnTo>
                  <a:lnTo>
                    <a:pt x="155" y="200"/>
                  </a:lnTo>
                  <a:lnTo>
                    <a:pt x="155" y="200"/>
                  </a:lnTo>
                  <a:lnTo>
                    <a:pt x="155" y="200"/>
                  </a:lnTo>
                  <a:lnTo>
                    <a:pt x="155" y="205"/>
                  </a:lnTo>
                  <a:lnTo>
                    <a:pt x="155" y="205"/>
                  </a:lnTo>
                  <a:lnTo>
                    <a:pt x="155" y="205"/>
                  </a:lnTo>
                  <a:lnTo>
                    <a:pt x="155" y="205"/>
                  </a:lnTo>
                  <a:lnTo>
                    <a:pt x="154" y="209"/>
                  </a:lnTo>
                  <a:lnTo>
                    <a:pt x="151" y="212"/>
                  </a:lnTo>
                  <a:lnTo>
                    <a:pt x="145" y="219"/>
                  </a:lnTo>
                  <a:lnTo>
                    <a:pt x="145" y="219"/>
                  </a:lnTo>
                  <a:lnTo>
                    <a:pt x="138" y="225"/>
                  </a:lnTo>
                  <a:lnTo>
                    <a:pt x="129" y="229"/>
                  </a:lnTo>
                  <a:lnTo>
                    <a:pt x="119" y="234"/>
                  </a:lnTo>
                  <a:lnTo>
                    <a:pt x="109" y="235"/>
                  </a:lnTo>
                  <a:lnTo>
                    <a:pt x="109" y="235"/>
                  </a:lnTo>
                  <a:lnTo>
                    <a:pt x="102" y="235"/>
                  </a:lnTo>
                  <a:lnTo>
                    <a:pt x="96" y="236"/>
                  </a:lnTo>
                  <a:lnTo>
                    <a:pt x="94" y="239"/>
                  </a:lnTo>
                  <a:lnTo>
                    <a:pt x="93" y="244"/>
                  </a:lnTo>
                  <a:lnTo>
                    <a:pt x="93" y="244"/>
                  </a:lnTo>
                  <a:lnTo>
                    <a:pt x="93" y="247"/>
                  </a:lnTo>
                  <a:lnTo>
                    <a:pt x="92" y="248"/>
                  </a:lnTo>
                  <a:lnTo>
                    <a:pt x="86" y="249"/>
                  </a:lnTo>
                  <a:lnTo>
                    <a:pt x="80" y="251"/>
                  </a:lnTo>
                  <a:lnTo>
                    <a:pt x="74" y="252"/>
                  </a:lnTo>
                  <a:lnTo>
                    <a:pt x="74" y="252"/>
                  </a:lnTo>
                  <a:lnTo>
                    <a:pt x="63" y="260"/>
                  </a:lnTo>
                  <a:lnTo>
                    <a:pt x="54" y="264"/>
                  </a:lnTo>
                  <a:lnTo>
                    <a:pt x="45" y="267"/>
                  </a:lnTo>
                  <a:lnTo>
                    <a:pt x="45" y="267"/>
                  </a:lnTo>
                  <a:lnTo>
                    <a:pt x="39" y="270"/>
                  </a:lnTo>
                  <a:lnTo>
                    <a:pt x="32" y="274"/>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85" name="Freeform 140"/>
            <p:cNvSpPr>
              <a:spLocks/>
            </p:cNvSpPr>
            <p:nvPr/>
          </p:nvSpPr>
          <p:spPr bwMode="auto">
            <a:xfrm>
              <a:off x="4657725" y="4159679"/>
              <a:ext cx="276225" cy="434975"/>
            </a:xfrm>
            <a:custGeom>
              <a:avLst/>
              <a:gdLst>
                <a:gd name="T0" fmla="*/ 34 w 174"/>
                <a:gd name="T1" fmla="*/ 267 h 274"/>
                <a:gd name="T2" fmla="*/ 26 w 174"/>
                <a:gd name="T3" fmla="*/ 254 h 274"/>
                <a:gd name="T4" fmla="*/ 13 w 174"/>
                <a:gd name="T5" fmla="*/ 239 h 274"/>
                <a:gd name="T6" fmla="*/ 34 w 174"/>
                <a:gd name="T7" fmla="*/ 228 h 274"/>
                <a:gd name="T8" fmla="*/ 29 w 174"/>
                <a:gd name="T9" fmla="*/ 221 h 274"/>
                <a:gd name="T10" fmla="*/ 28 w 174"/>
                <a:gd name="T11" fmla="*/ 197 h 274"/>
                <a:gd name="T12" fmla="*/ 21 w 174"/>
                <a:gd name="T13" fmla="*/ 181 h 274"/>
                <a:gd name="T14" fmla="*/ 12 w 174"/>
                <a:gd name="T15" fmla="*/ 173 h 274"/>
                <a:gd name="T16" fmla="*/ 3 w 174"/>
                <a:gd name="T17" fmla="*/ 161 h 274"/>
                <a:gd name="T18" fmla="*/ 0 w 174"/>
                <a:gd name="T19" fmla="*/ 154 h 274"/>
                <a:gd name="T20" fmla="*/ 9 w 174"/>
                <a:gd name="T21" fmla="*/ 136 h 274"/>
                <a:gd name="T22" fmla="*/ 16 w 174"/>
                <a:gd name="T23" fmla="*/ 118 h 274"/>
                <a:gd name="T24" fmla="*/ 12 w 174"/>
                <a:gd name="T25" fmla="*/ 77 h 274"/>
                <a:gd name="T26" fmla="*/ 13 w 174"/>
                <a:gd name="T27" fmla="*/ 68 h 274"/>
                <a:gd name="T28" fmla="*/ 23 w 174"/>
                <a:gd name="T29" fmla="*/ 50 h 274"/>
                <a:gd name="T30" fmla="*/ 22 w 174"/>
                <a:gd name="T31" fmla="*/ 47 h 274"/>
                <a:gd name="T32" fmla="*/ 10 w 174"/>
                <a:gd name="T33" fmla="*/ 8 h 274"/>
                <a:gd name="T34" fmla="*/ 174 w 174"/>
                <a:gd name="T35" fmla="*/ 64 h 274"/>
                <a:gd name="T36" fmla="*/ 174 w 174"/>
                <a:gd name="T37" fmla="*/ 119 h 274"/>
                <a:gd name="T38" fmla="*/ 174 w 174"/>
                <a:gd name="T39" fmla="*/ 119 h 274"/>
                <a:gd name="T40" fmla="*/ 173 w 174"/>
                <a:gd name="T41" fmla="*/ 121 h 274"/>
                <a:gd name="T42" fmla="*/ 171 w 174"/>
                <a:gd name="T43" fmla="*/ 122 h 274"/>
                <a:gd name="T44" fmla="*/ 163 w 174"/>
                <a:gd name="T45" fmla="*/ 116 h 274"/>
                <a:gd name="T46" fmla="*/ 161 w 174"/>
                <a:gd name="T47" fmla="*/ 116 h 274"/>
                <a:gd name="T48" fmla="*/ 161 w 174"/>
                <a:gd name="T49" fmla="*/ 116 h 274"/>
                <a:gd name="T50" fmla="*/ 158 w 174"/>
                <a:gd name="T51" fmla="*/ 116 h 274"/>
                <a:gd name="T52" fmla="*/ 158 w 174"/>
                <a:gd name="T53" fmla="*/ 116 h 274"/>
                <a:gd name="T54" fmla="*/ 155 w 174"/>
                <a:gd name="T55" fmla="*/ 125 h 274"/>
                <a:gd name="T56" fmla="*/ 149 w 174"/>
                <a:gd name="T57" fmla="*/ 134 h 274"/>
                <a:gd name="T58" fmla="*/ 138 w 174"/>
                <a:gd name="T59" fmla="*/ 150 h 274"/>
                <a:gd name="T60" fmla="*/ 135 w 174"/>
                <a:gd name="T61" fmla="*/ 168 h 274"/>
                <a:gd name="T62" fmla="*/ 135 w 174"/>
                <a:gd name="T63" fmla="*/ 178 h 274"/>
                <a:gd name="T64" fmla="*/ 138 w 174"/>
                <a:gd name="T65" fmla="*/ 180 h 274"/>
                <a:gd name="T66" fmla="*/ 155 w 174"/>
                <a:gd name="T67" fmla="*/ 200 h 274"/>
                <a:gd name="T68" fmla="*/ 155 w 174"/>
                <a:gd name="T69" fmla="*/ 200 h 274"/>
                <a:gd name="T70" fmla="*/ 155 w 174"/>
                <a:gd name="T71" fmla="*/ 200 h 274"/>
                <a:gd name="T72" fmla="*/ 155 w 174"/>
                <a:gd name="T73" fmla="*/ 205 h 274"/>
                <a:gd name="T74" fmla="*/ 151 w 174"/>
                <a:gd name="T75" fmla="*/ 212 h 274"/>
                <a:gd name="T76" fmla="*/ 138 w 174"/>
                <a:gd name="T77" fmla="*/ 225 h 274"/>
                <a:gd name="T78" fmla="*/ 109 w 174"/>
                <a:gd name="T79" fmla="*/ 235 h 274"/>
                <a:gd name="T80" fmla="*/ 96 w 174"/>
                <a:gd name="T81" fmla="*/ 236 h 274"/>
                <a:gd name="T82" fmla="*/ 93 w 174"/>
                <a:gd name="T83" fmla="*/ 244 h 274"/>
                <a:gd name="T84" fmla="*/ 86 w 174"/>
                <a:gd name="T85" fmla="*/ 249 h 274"/>
                <a:gd name="T86" fmla="*/ 74 w 174"/>
                <a:gd name="T87" fmla="*/ 252 h 274"/>
                <a:gd name="T88" fmla="*/ 45 w 174"/>
                <a:gd name="T89" fmla="*/ 267 h 274"/>
                <a:gd name="T90" fmla="*/ 32 w 174"/>
                <a:gd name="T9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4" h="274">
                  <a:moveTo>
                    <a:pt x="32" y="274"/>
                  </a:moveTo>
                  <a:lnTo>
                    <a:pt x="32" y="274"/>
                  </a:lnTo>
                  <a:lnTo>
                    <a:pt x="34" y="267"/>
                  </a:lnTo>
                  <a:lnTo>
                    <a:pt x="32" y="261"/>
                  </a:lnTo>
                  <a:lnTo>
                    <a:pt x="32" y="261"/>
                  </a:lnTo>
                  <a:lnTo>
                    <a:pt x="26" y="254"/>
                  </a:lnTo>
                  <a:lnTo>
                    <a:pt x="21" y="248"/>
                  </a:lnTo>
                  <a:lnTo>
                    <a:pt x="16" y="242"/>
                  </a:lnTo>
                  <a:lnTo>
                    <a:pt x="13" y="239"/>
                  </a:lnTo>
                  <a:lnTo>
                    <a:pt x="13" y="235"/>
                  </a:lnTo>
                  <a:lnTo>
                    <a:pt x="13" y="228"/>
                  </a:lnTo>
                  <a:lnTo>
                    <a:pt x="34" y="228"/>
                  </a:lnTo>
                  <a:lnTo>
                    <a:pt x="34" y="228"/>
                  </a:lnTo>
                  <a:lnTo>
                    <a:pt x="31" y="225"/>
                  </a:lnTo>
                  <a:lnTo>
                    <a:pt x="29" y="221"/>
                  </a:lnTo>
                  <a:lnTo>
                    <a:pt x="28" y="215"/>
                  </a:lnTo>
                  <a:lnTo>
                    <a:pt x="28" y="215"/>
                  </a:lnTo>
                  <a:lnTo>
                    <a:pt x="28" y="197"/>
                  </a:lnTo>
                  <a:lnTo>
                    <a:pt x="26" y="189"/>
                  </a:lnTo>
                  <a:lnTo>
                    <a:pt x="23" y="184"/>
                  </a:lnTo>
                  <a:lnTo>
                    <a:pt x="21" y="181"/>
                  </a:lnTo>
                  <a:lnTo>
                    <a:pt x="21" y="181"/>
                  </a:lnTo>
                  <a:lnTo>
                    <a:pt x="12" y="173"/>
                  </a:lnTo>
                  <a:lnTo>
                    <a:pt x="12" y="173"/>
                  </a:lnTo>
                  <a:lnTo>
                    <a:pt x="12" y="173"/>
                  </a:lnTo>
                  <a:lnTo>
                    <a:pt x="3" y="161"/>
                  </a:lnTo>
                  <a:lnTo>
                    <a:pt x="3" y="161"/>
                  </a:lnTo>
                  <a:lnTo>
                    <a:pt x="2" y="158"/>
                  </a:lnTo>
                  <a:lnTo>
                    <a:pt x="0" y="154"/>
                  </a:lnTo>
                  <a:lnTo>
                    <a:pt x="0" y="154"/>
                  </a:lnTo>
                  <a:lnTo>
                    <a:pt x="0" y="154"/>
                  </a:lnTo>
                  <a:lnTo>
                    <a:pt x="3" y="147"/>
                  </a:lnTo>
                  <a:lnTo>
                    <a:pt x="9" y="136"/>
                  </a:lnTo>
                  <a:lnTo>
                    <a:pt x="13" y="126"/>
                  </a:lnTo>
                  <a:lnTo>
                    <a:pt x="16" y="118"/>
                  </a:lnTo>
                  <a:lnTo>
                    <a:pt x="16" y="118"/>
                  </a:lnTo>
                  <a:lnTo>
                    <a:pt x="13" y="100"/>
                  </a:lnTo>
                  <a:lnTo>
                    <a:pt x="12" y="77"/>
                  </a:lnTo>
                  <a:lnTo>
                    <a:pt x="12" y="77"/>
                  </a:lnTo>
                  <a:lnTo>
                    <a:pt x="12" y="73"/>
                  </a:lnTo>
                  <a:lnTo>
                    <a:pt x="13" y="68"/>
                  </a:lnTo>
                  <a:lnTo>
                    <a:pt x="13" y="68"/>
                  </a:lnTo>
                  <a:lnTo>
                    <a:pt x="19" y="60"/>
                  </a:lnTo>
                  <a:lnTo>
                    <a:pt x="22" y="54"/>
                  </a:lnTo>
                  <a:lnTo>
                    <a:pt x="23" y="50"/>
                  </a:lnTo>
                  <a:lnTo>
                    <a:pt x="23" y="50"/>
                  </a:lnTo>
                  <a:lnTo>
                    <a:pt x="22" y="47"/>
                  </a:lnTo>
                  <a:lnTo>
                    <a:pt x="22" y="47"/>
                  </a:lnTo>
                  <a:lnTo>
                    <a:pt x="18" y="31"/>
                  </a:lnTo>
                  <a:lnTo>
                    <a:pt x="13" y="21"/>
                  </a:lnTo>
                  <a:lnTo>
                    <a:pt x="10" y="8"/>
                  </a:lnTo>
                  <a:lnTo>
                    <a:pt x="31" y="0"/>
                  </a:lnTo>
                  <a:lnTo>
                    <a:pt x="174" y="64"/>
                  </a:lnTo>
                  <a:lnTo>
                    <a:pt x="174" y="64"/>
                  </a:lnTo>
                  <a:lnTo>
                    <a:pt x="174" y="71"/>
                  </a:lnTo>
                  <a:lnTo>
                    <a:pt x="174" y="71"/>
                  </a:lnTo>
                  <a:lnTo>
                    <a:pt x="174" y="119"/>
                  </a:lnTo>
                  <a:lnTo>
                    <a:pt x="174" y="119"/>
                  </a:lnTo>
                  <a:lnTo>
                    <a:pt x="174" y="119"/>
                  </a:lnTo>
                  <a:lnTo>
                    <a:pt x="174" y="119"/>
                  </a:lnTo>
                  <a:lnTo>
                    <a:pt x="174" y="119"/>
                  </a:lnTo>
                  <a:lnTo>
                    <a:pt x="174" y="119"/>
                  </a:lnTo>
                  <a:lnTo>
                    <a:pt x="173" y="121"/>
                  </a:lnTo>
                  <a:lnTo>
                    <a:pt x="171" y="122"/>
                  </a:lnTo>
                  <a:lnTo>
                    <a:pt x="171" y="122"/>
                  </a:lnTo>
                  <a:lnTo>
                    <a:pt x="171" y="122"/>
                  </a:lnTo>
                  <a:lnTo>
                    <a:pt x="167" y="119"/>
                  </a:lnTo>
                  <a:lnTo>
                    <a:pt x="163" y="116"/>
                  </a:lnTo>
                  <a:lnTo>
                    <a:pt x="163" y="116"/>
                  </a:lnTo>
                  <a:lnTo>
                    <a:pt x="161" y="116"/>
                  </a:lnTo>
                  <a:lnTo>
                    <a:pt x="161" y="116"/>
                  </a:lnTo>
                  <a:lnTo>
                    <a:pt x="161" y="116"/>
                  </a:lnTo>
                  <a:lnTo>
                    <a:pt x="161" y="116"/>
                  </a:lnTo>
                  <a:lnTo>
                    <a:pt x="161" y="116"/>
                  </a:lnTo>
                  <a:lnTo>
                    <a:pt x="161" y="116"/>
                  </a:lnTo>
                  <a:lnTo>
                    <a:pt x="161" y="116"/>
                  </a:lnTo>
                  <a:lnTo>
                    <a:pt x="161" y="116"/>
                  </a:lnTo>
                  <a:lnTo>
                    <a:pt x="158" y="116"/>
                  </a:lnTo>
                  <a:lnTo>
                    <a:pt x="158" y="116"/>
                  </a:lnTo>
                  <a:lnTo>
                    <a:pt x="158" y="116"/>
                  </a:lnTo>
                  <a:lnTo>
                    <a:pt x="158" y="116"/>
                  </a:lnTo>
                  <a:lnTo>
                    <a:pt x="157" y="116"/>
                  </a:lnTo>
                  <a:lnTo>
                    <a:pt x="155" y="119"/>
                  </a:lnTo>
                  <a:lnTo>
                    <a:pt x="155" y="125"/>
                  </a:lnTo>
                  <a:lnTo>
                    <a:pt x="155" y="125"/>
                  </a:lnTo>
                  <a:lnTo>
                    <a:pt x="152" y="129"/>
                  </a:lnTo>
                  <a:lnTo>
                    <a:pt x="149" y="134"/>
                  </a:lnTo>
                  <a:lnTo>
                    <a:pt x="141" y="144"/>
                  </a:lnTo>
                  <a:lnTo>
                    <a:pt x="141" y="144"/>
                  </a:lnTo>
                  <a:lnTo>
                    <a:pt x="138" y="150"/>
                  </a:lnTo>
                  <a:lnTo>
                    <a:pt x="136" y="157"/>
                  </a:lnTo>
                  <a:lnTo>
                    <a:pt x="135" y="168"/>
                  </a:lnTo>
                  <a:lnTo>
                    <a:pt x="135" y="168"/>
                  </a:lnTo>
                  <a:lnTo>
                    <a:pt x="134" y="174"/>
                  </a:lnTo>
                  <a:lnTo>
                    <a:pt x="134" y="174"/>
                  </a:lnTo>
                  <a:lnTo>
                    <a:pt x="135" y="178"/>
                  </a:lnTo>
                  <a:lnTo>
                    <a:pt x="136" y="180"/>
                  </a:lnTo>
                  <a:lnTo>
                    <a:pt x="138" y="180"/>
                  </a:lnTo>
                  <a:lnTo>
                    <a:pt x="138" y="180"/>
                  </a:lnTo>
                  <a:lnTo>
                    <a:pt x="142" y="183"/>
                  </a:lnTo>
                  <a:lnTo>
                    <a:pt x="147" y="187"/>
                  </a:lnTo>
                  <a:lnTo>
                    <a:pt x="155" y="200"/>
                  </a:lnTo>
                  <a:lnTo>
                    <a:pt x="155" y="200"/>
                  </a:lnTo>
                  <a:lnTo>
                    <a:pt x="155" y="200"/>
                  </a:lnTo>
                  <a:lnTo>
                    <a:pt x="155" y="200"/>
                  </a:lnTo>
                  <a:lnTo>
                    <a:pt x="155" y="200"/>
                  </a:lnTo>
                  <a:lnTo>
                    <a:pt x="155" y="200"/>
                  </a:lnTo>
                  <a:lnTo>
                    <a:pt x="155" y="200"/>
                  </a:lnTo>
                  <a:lnTo>
                    <a:pt x="155" y="205"/>
                  </a:lnTo>
                  <a:lnTo>
                    <a:pt x="155" y="205"/>
                  </a:lnTo>
                  <a:lnTo>
                    <a:pt x="155" y="205"/>
                  </a:lnTo>
                  <a:lnTo>
                    <a:pt x="155" y="205"/>
                  </a:lnTo>
                  <a:lnTo>
                    <a:pt x="154" y="209"/>
                  </a:lnTo>
                  <a:lnTo>
                    <a:pt x="151" y="212"/>
                  </a:lnTo>
                  <a:lnTo>
                    <a:pt x="145" y="219"/>
                  </a:lnTo>
                  <a:lnTo>
                    <a:pt x="145" y="219"/>
                  </a:lnTo>
                  <a:lnTo>
                    <a:pt x="138" y="225"/>
                  </a:lnTo>
                  <a:lnTo>
                    <a:pt x="129" y="229"/>
                  </a:lnTo>
                  <a:lnTo>
                    <a:pt x="119" y="234"/>
                  </a:lnTo>
                  <a:lnTo>
                    <a:pt x="109" y="235"/>
                  </a:lnTo>
                  <a:lnTo>
                    <a:pt x="109" y="235"/>
                  </a:lnTo>
                  <a:lnTo>
                    <a:pt x="102" y="235"/>
                  </a:lnTo>
                  <a:lnTo>
                    <a:pt x="96" y="236"/>
                  </a:lnTo>
                  <a:lnTo>
                    <a:pt x="94" y="239"/>
                  </a:lnTo>
                  <a:lnTo>
                    <a:pt x="93" y="244"/>
                  </a:lnTo>
                  <a:lnTo>
                    <a:pt x="93" y="244"/>
                  </a:lnTo>
                  <a:lnTo>
                    <a:pt x="93" y="247"/>
                  </a:lnTo>
                  <a:lnTo>
                    <a:pt x="92" y="248"/>
                  </a:lnTo>
                  <a:lnTo>
                    <a:pt x="86" y="249"/>
                  </a:lnTo>
                  <a:lnTo>
                    <a:pt x="80" y="251"/>
                  </a:lnTo>
                  <a:lnTo>
                    <a:pt x="74" y="252"/>
                  </a:lnTo>
                  <a:lnTo>
                    <a:pt x="74" y="252"/>
                  </a:lnTo>
                  <a:lnTo>
                    <a:pt x="63" y="260"/>
                  </a:lnTo>
                  <a:lnTo>
                    <a:pt x="54" y="264"/>
                  </a:lnTo>
                  <a:lnTo>
                    <a:pt x="45" y="267"/>
                  </a:lnTo>
                  <a:lnTo>
                    <a:pt x="45" y="267"/>
                  </a:lnTo>
                  <a:lnTo>
                    <a:pt x="39" y="270"/>
                  </a:lnTo>
                  <a:lnTo>
                    <a:pt x="32" y="2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86" name="Freeform 141"/>
            <p:cNvSpPr>
              <a:spLocks/>
            </p:cNvSpPr>
            <p:nvPr/>
          </p:nvSpPr>
          <p:spPr bwMode="auto">
            <a:xfrm>
              <a:off x="4545013" y="4718479"/>
              <a:ext cx="142875" cy="136525"/>
            </a:xfrm>
            <a:custGeom>
              <a:avLst/>
              <a:gdLst>
                <a:gd name="T0" fmla="*/ 28 w 90"/>
                <a:gd name="T1" fmla="*/ 86 h 86"/>
                <a:gd name="T2" fmla="*/ 26 w 90"/>
                <a:gd name="T3" fmla="*/ 84 h 86"/>
                <a:gd name="T4" fmla="*/ 16 w 90"/>
                <a:gd name="T5" fmla="*/ 74 h 86"/>
                <a:gd name="T6" fmla="*/ 13 w 90"/>
                <a:gd name="T7" fmla="*/ 70 h 86"/>
                <a:gd name="T8" fmla="*/ 12 w 90"/>
                <a:gd name="T9" fmla="*/ 67 h 86"/>
                <a:gd name="T10" fmla="*/ 12 w 90"/>
                <a:gd name="T11" fmla="*/ 63 h 86"/>
                <a:gd name="T12" fmla="*/ 10 w 90"/>
                <a:gd name="T13" fmla="*/ 60 h 86"/>
                <a:gd name="T14" fmla="*/ 8 w 90"/>
                <a:gd name="T15" fmla="*/ 57 h 86"/>
                <a:gd name="T16" fmla="*/ 2 w 90"/>
                <a:gd name="T17" fmla="*/ 51 h 86"/>
                <a:gd name="T18" fmla="*/ 0 w 90"/>
                <a:gd name="T19" fmla="*/ 50 h 86"/>
                <a:gd name="T20" fmla="*/ 2 w 90"/>
                <a:gd name="T21" fmla="*/ 48 h 86"/>
                <a:gd name="T22" fmla="*/ 5 w 90"/>
                <a:gd name="T23" fmla="*/ 47 h 86"/>
                <a:gd name="T24" fmla="*/ 8 w 90"/>
                <a:gd name="T25" fmla="*/ 42 h 86"/>
                <a:gd name="T26" fmla="*/ 9 w 90"/>
                <a:gd name="T27" fmla="*/ 39 h 86"/>
                <a:gd name="T28" fmla="*/ 10 w 90"/>
                <a:gd name="T29" fmla="*/ 34 h 86"/>
                <a:gd name="T30" fmla="*/ 12 w 90"/>
                <a:gd name="T31" fmla="*/ 21 h 86"/>
                <a:gd name="T32" fmla="*/ 42 w 90"/>
                <a:gd name="T33" fmla="*/ 0 h 86"/>
                <a:gd name="T34" fmla="*/ 55 w 90"/>
                <a:gd name="T35" fmla="*/ 0 h 86"/>
                <a:gd name="T36" fmla="*/ 71 w 90"/>
                <a:gd name="T37" fmla="*/ 0 h 86"/>
                <a:gd name="T38" fmla="*/ 84 w 90"/>
                <a:gd name="T39" fmla="*/ 3 h 86"/>
                <a:gd name="T40" fmla="*/ 87 w 90"/>
                <a:gd name="T41" fmla="*/ 12 h 86"/>
                <a:gd name="T42" fmla="*/ 90 w 90"/>
                <a:gd name="T43" fmla="*/ 19 h 86"/>
                <a:gd name="T44" fmla="*/ 87 w 90"/>
                <a:gd name="T45" fmla="*/ 28 h 86"/>
                <a:gd name="T46" fmla="*/ 81 w 90"/>
                <a:gd name="T47" fmla="*/ 35 h 86"/>
                <a:gd name="T48" fmla="*/ 80 w 90"/>
                <a:gd name="T49" fmla="*/ 39 h 86"/>
                <a:gd name="T50" fmla="*/ 86 w 90"/>
                <a:gd name="T51" fmla="*/ 54 h 86"/>
                <a:gd name="T52" fmla="*/ 87 w 90"/>
                <a:gd name="T53" fmla="*/ 60 h 86"/>
                <a:gd name="T54" fmla="*/ 87 w 90"/>
                <a:gd name="T55" fmla="*/ 64 h 86"/>
                <a:gd name="T56" fmla="*/ 83 w 90"/>
                <a:gd name="T57" fmla="*/ 71 h 86"/>
                <a:gd name="T58" fmla="*/ 79 w 90"/>
                <a:gd name="T59" fmla="*/ 73 h 86"/>
                <a:gd name="T60" fmla="*/ 79 w 90"/>
                <a:gd name="T61" fmla="*/ 73 h 86"/>
                <a:gd name="T62" fmla="*/ 79 w 90"/>
                <a:gd name="T63" fmla="*/ 73 h 86"/>
                <a:gd name="T64" fmla="*/ 79 w 90"/>
                <a:gd name="T65" fmla="*/ 73 h 86"/>
                <a:gd name="T66" fmla="*/ 74 w 90"/>
                <a:gd name="T67" fmla="*/ 74 h 86"/>
                <a:gd name="T68" fmla="*/ 74 w 90"/>
                <a:gd name="T69" fmla="*/ 74 h 86"/>
                <a:gd name="T70" fmla="*/ 64 w 90"/>
                <a:gd name="T71" fmla="*/ 70 h 86"/>
                <a:gd name="T72" fmla="*/ 64 w 90"/>
                <a:gd name="T73" fmla="*/ 70 h 86"/>
                <a:gd name="T74" fmla="*/ 63 w 90"/>
                <a:gd name="T75" fmla="*/ 70 h 86"/>
                <a:gd name="T76" fmla="*/ 63 w 90"/>
                <a:gd name="T77" fmla="*/ 70 h 86"/>
                <a:gd name="T78" fmla="*/ 61 w 90"/>
                <a:gd name="T79" fmla="*/ 71 h 86"/>
                <a:gd name="T80" fmla="*/ 57 w 90"/>
                <a:gd name="T81" fmla="*/ 81 h 86"/>
                <a:gd name="T82" fmla="*/ 57 w 90"/>
                <a:gd name="T83" fmla="*/ 81 h 86"/>
                <a:gd name="T84" fmla="*/ 55 w 90"/>
                <a:gd name="T85" fmla="*/ 81 h 86"/>
                <a:gd name="T86" fmla="*/ 55 w 90"/>
                <a:gd name="T87" fmla="*/ 81 h 86"/>
                <a:gd name="T88" fmla="*/ 55 w 90"/>
                <a:gd name="T89" fmla="*/ 81 h 86"/>
                <a:gd name="T90" fmla="*/ 55 w 90"/>
                <a:gd name="T91" fmla="*/ 81 h 86"/>
                <a:gd name="T92" fmla="*/ 55 w 90"/>
                <a:gd name="T93" fmla="*/ 81 h 86"/>
                <a:gd name="T94" fmla="*/ 55 w 90"/>
                <a:gd name="T95" fmla="*/ 81 h 86"/>
                <a:gd name="T96" fmla="*/ 55 w 90"/>
                <a:gd name="T97" fmla="*/ 83 h 86"/>
                <a:gd name="T98" fmla="*/ 55 w 90"/>
                <a:gd name="T99" fmla="*/ 83 h 86"/>
                <a:gd name="T100" fmla="*/ 55 w 90"/>
                <a:gd name="T101" fmla="*/ 83 h 86"/>
                <a:gd name="T102" fmla="*/ 55 w 90"/>
                <a:gd name="T103" fmla="*/ 83 h 86"/>
                <a:gd name="T104" fmla="*/ 50 w 90"/>
                <a:gd name="T105" fmla="*/ 83 h 86"/>
                <a:gd name="T106" fmla="*/ 42 w 90"/>
                <a:gd name="T107" fmla="*/ 84 h 86"/>
                <a:gd name="T108" fmla="*/ 41 w 90"/>
                <a:gd name="T109" fmla="*/ 84 h 86"/>
                <a:gd name="T110" fmla="*/ 37 w 90"/>
                <a:gd name="T111" fmla="*/ 84 h 86"/>
                <a:gd name="T112" fmla="*/ 35 w 90"/>
                <a:gd name="T113" fmla="*/ 84 h 86"/>
                <a:gd name="T114" fmla="*/ 35 w 90"/>
                <a:gd name="T115" fmla="*/ 84 h 86"/>
                <a:gd name="T116" fmla="*/ 34 w 90"/>
                <a:gd name="T117" fmla="*/ 8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86">
                  <a:moveTo>
                    <a:pt x="28" y="86"/>
                  </a:moveTo>
                  <a:lnTo>
                    <a:pt x="28" y="86"/>
                  </a:lnTo>
                  <a:lnTo>
                    <a:pt x="26" y="84"/>
                  </a:lnTo>
                  <a:lnTo>
                    <a:pt x="26" y="84"/>
                  </a:lnTo>
                  <a:lnTo>
                    <a:pt x="16" y="74"/>
                  </a:lnTo>
                  <a:lnTo>
                    <a:pt x="16" y="74"/>
                  </a:lnTo>
                  <a:lnTo>
                    <a:pt x="13" y="70"/>
                  </a:lnTo>
                  <a:lnTo>
                    <a:pt x="13" y="70"/>
                  </a:lnTo>
                  <a:lnTo>
                    <a:pt x="12" y="67"/>
                  </a:lnTo>
                  <a:lnTo>
                    <a:pt x="12" y="67"/>
                  </a:lnTo>
                  <a:lnTo>
                    <a:pt x="12" y="63"/>
                  </a:lnTo>
                  <a:lnTo>
                    <a:pt x="12" y="63"/>
                  </a:lnTo>
                  <a:lnTo>
                    <a:pt x="10" y="60"/>
                  </a:lnTo>
                  <a:lnTo>
                    <a:pt x="10" y="60"/>
                  </a:lnTo>
                  <a:lnTo>
                    <a:pt x="8" y="57"/>
                  </a:lnTo>
                  <a:lnTo>
                    <a:pt x="8" y="57"/>
                  </a:lnTo>
                  <a:lnTo>
                    <a:pt x="2" y="51"/>
                  </a:lnTo>
                  <a:lnTo>
                    <a:pt x="2" y="51"/>
                  </a:lnTo>
                  <a:lnTo>
                    <a:pt x="0" y="50"/>
                  </a:lnTo>
                  <a:lnTo>
                    <a:pt x="0" y="50"/>
                  </a:lnTo>
                  <a:lnTo>
                    <a:pt x="0" y="50"/>
                  </a:lnTo>
                  <a:lnTo>
                    <a:pt x="2" y="48"/>
                  </a:lnTo>
                  <a:lnTo>
                    <a:pt x="2" y="48"/>
                  </a:lnTo>
                  <a:lnTo>
                    <a:pt x="5" y="47"/>
                  </a:lnTo>
                  <a:lnTo>
                    <a:pt x="5" y="47"/>
                  </a:lnTo>
                  <a:lnTo>
                    <a:pt x="8" y="42"/>
                  </a:lnTo>
                  <a:lnTo>
                    <a:pt x="8" y="42"/>
                  </a:lnTo>
                  <a:lnTo>
                    <a:pt x="9" y="39"/>
                  </a:lnTo>
                  <a:lnTo>
                    <a:pt x="9" y="39"/>
                  </a:lnTo>
                  <a:lnTo>
                    <a:pt x="10" y="34"/>
                  </a:lnTo>
                  <a:lnTo>
                    <a:pt x="10" y="34"/>
                  </a:lnTo>
                  <a:lnTo>
                    <a:pt x="12" y="21"/>
                  </a:lnTo>
                  <a:lnTo>
                    <a:pt x="42" y="21"/>
                  </a:lnTo>
                  <a:lnTo>
                    <a:pt x="42" y="0"/>
                  </a:lnTo>
                  <a:lnTo>
                    <a:pt x="42" y="0"/>
                  </a:lnTo>
                  <a:lnTo>
                    <a:pt x="55" y="0"/>
                  </a:lnTo>
                  <a:lnTo>
                    <a:pt x="55" y="0"/>
                  </a:lnTo>
                  <a:lnTo>
                    <a:pt x="71" y="0"/>
                  </a:lnTo>
                  <a:lnTo>
                    <a:pt x="71" y="0"/>
                  </a:lnTo>
                  <a:lnTo>
                    <a:pt x="84" y="3"/>
                  </a:lnTo>
                  <a:lnTo>
                    <a:pt x="84" y="3"/>
                  </a:lnTo>
                  <a:lnTo>
                    <a:pt x="87" y="12"/>
                  </a:lnTo>
                  <a:lnTo>
                    <a:pt x="90" y="19"/>
                  </a:lnTo>
                  <a:lnTo>
                    <a:pt x="90" y="19"/>
                  </a:lnTo>
                  <a:lnTo>
                    <a:pt x="89" y="23"/>
                  </a:lnTo>
                  <a:lnTo>
                    <a:pt x="87" y="28"/>
                  </a:lnTo>
                  <a:lnTo>
                    <a:pt x="81" y="35"/>
                  </a:lnTo>
                  <a:lnTo>
                    <a:pt x="81" y="35"/>
                  </a:lnTo>
                  <a:lnTo>
                    <a:pt x="80" y="39"/>
                  </a:lnTo>
                  <a:lnTo>
                    <a:pt x="80" y="39"/>
                  </a:lnTo>
                  <a:lnTo>
                    <a:pt x="81" y="45"/>
                  </a:lnTo>
                  <a:lnTo>
                    <a:pt x="86" y="54"/>
                  </a:lnTo>
                  <a:lnTo>
                    <a:pt x="86" y="54"/>
                  </a:lnTo>
                  <a:lnTo>
                    <a:pt x="87" y="60"/>
                  </a:lnTo>
                  <a:lnTo>
                    <a:pt x="87" y="60"/>
                  </a:lnTo>
                  <a:lnTo>
                    <a:pt x="87" y="64"/>
                  </a:lnTo>
                  <a:lnTo>
                    <a:pt x="86" y="68"/>
                  </a:lnTo>
                  <a:lnTo>
                    <a:pt x="83" y="71"/>
                  </a:lnTo>
                  <a:lnTo>
                    <a:pt x="79" y="73"/>
                  </a:lnTo>
                  <a:lnTo>
                    <a:pt x="79" y="73"/>
                  </a:lnTo>
                  <a:lnTo>
                    <a:pt x="79" y="73"/>
                  </a:lnTo>
                  <a:lnTo>
                    <a:pt x="79" y="73"/>
                  </a:lnTo>
                  <a:lnTo>
                    <a:pt x="79" y="73"/>
                  </a:lnTo>
                  <a:lnTo>
                    <a:pt x="79" y="73"/>
                  </a:lnTo>
                  <a:lnTo>
                    <a:pt x="79" y="73"/>
                  </a:lnTo>
                  <a:lnTo>
                    <a:pt x="79" y="73"/>
                  </a:lnTo>
                  <a:lnTo>
                    <a:pt x="74" y="74"/>
                  </a:lnTo>
                  <a:lnTo>
                    <a:pt x="74" y="74"/>
                  </a:lnTo>
                  <a:lnTo>
                    <a:pt x="74" y="74"/>
                  </a:lnTo>
                  <a:lnTo>
                    <a:pt x="74" y="74"/>
                  </a:lnTo>
                  <a:lnTo>
                    <a:pt x="68" y="73"/>
                  </a:lnTo>
                  <a:lnTo>
                    <a:pt x="64" y="70"/>
                  </a:lnTo>
                  <a:lnTo>
                    <a:pt x="64" y="70"/>
                  </a:lnTo>
                  <a:lnTo>
                    <a:pt x="64" y="70"/>
                  </a:lnTo>
                  <a:lnTo>
                    <a:pt x="64" y="70"/>
                  </a:lnTo>
                  <a:lnTo>
                    <a:pt x="63" y="70"/>
                  </a:lnTo>
                  <a:lnTo>
                    <a:pt x="63" y="70"/>
                  </a:lnTo>
                  <a:lnTo>
                    <a:pt x="63" y="70"/>
                  </a:lnTo>
                  <a:lnTo>
                    <a:pt x="63" y="70"/>
                  </a:lnTo>
                  <a:lnTo>
                    <a:pt x="61" y="71"/>
                  </a:lnTo>
                  <a:lnTo>
                    <a:pt x="58" y="74"/>
                  </a:lnTo>
                  <a:lnTo>
                    <a:pt x="57" y="81"/>
                  </a:lnTo>
                  <a:lnTo>
                    <a:pt x="57" y="81"/>
                  </a:lnTo>
                  <a:lnTo>
                    <a:pt x="57" y="81"/>
                  </a:lnTo>
                  <a:lnTo>
                    <a:pt x="57" y="81"/>
                  </a:lnTo>
                  <a:lnTo>
                    <a:pt x="55" y="81"/>
                  </a:lnTo>
                  <a:lnTo>
                    <a:pt x="55" y="81"/>
                  </a:lnTo>
                  <a:lnTo>
                    <a:pt x="55" y="81"/>
                  </a:lnTo>
                  <a:lnTo>
                    <a:pt x="55" y="81"/>
                  </a:lnTo>
                  <a:lnTo>
                    <a:pt x="55" y="81"/>
                  </a:lnTo>
                  <a:lnTo>
                    <a:pt x="55" y="81"/>
                  </a:lnTo>
                  <a:lnTo>
                    <a:pt x="55" y="81"/>
                  </a:lnTo>
                  <a:lnTo>
                    <a:pt x="55" y="81"/>
                  </a:lnTo>
                  <a:lnTo>
                    <a:pt x="55" y="81"/>
                  </a:lnTo>
                  <a:lnTo>
                    <a:pt x="55" y="81"/>
                  </a:lnTo>
                  <a:lnTo>
                    <a:pt x="55" y="81"/>
                  </a:lnTo>
                  <a:lnTo>
                    <a:pt x="55" y="81"/>
                  </a:lnTo>
                  <a:lnTo>
                    <a:pt x="55" y="83"/>
                  </a:lnTo>
                  <a:lnTo>
                    <a:pt x="55" y="83"/>
                  </a:lnTo>
                  <a:lnTo>
                    <a:pt x="55" y="83"/>
                  </a:lnTo>
                  <a:lnTo>
                    <a:pt x="55" y="83"/>
                  </a:lnTo>
                  <a:lnTo>
                    <a:pt x="55" y="83"/>
                  </a:lnTo>
                  <a:lnTo>
                    <a:pt x="55" y="83"/>
                  </a:lnTo>
                  <a:lnTo>
                    <a:pt x="55" y="83"/>
                  </a:lnTo>
                  <a:lnTo>
                    <a:pt x="55" y="83"/>
                  </a:lnTo>
                  <a:lnTo>
                    <a:pt x="50" y="83"/>
                  </a:lnTo>
                  <a:lnTo>
                    <a:pt x="42" y="84"/>
                  </a:lnTo>
                  <a:lnTo>
                    <a:pt x="42" y="84"/>
                  </a:lnTo>
                  <a:lnTo>
                    <a:pt x="41" y="84"/>
                  </a:lnTo>
                  <a:lnTo>
                    <a:pt x="41" y="84"/>
                  </a:lnTo>
                  <a:lnTo>
                    <a:pt x="41" y="84"/>
                  </a:lnTo>
                  <a:lnTo>
                    <a:pt x="37" y="84"/>
                  </a:lnTo>
                  <a:lnTo>
                    <a:pt x="37" y="84"/>
                  </a:lnTo>
                  <a:lnTo>
                    <a:pt x="35" y="84"/>
                  </a:lnTo>
                  <a:lnTo>
                    <a:pt x="35" y="84"/>
                  </a:lnTo>
                  <a:lnTo>
                    <a:pt x="35" y="84"/>
                  </a:lnTo>
                  <a:lnTo>
                    <a:pt x="34" y="84"/>
                  </a:lnTo>
                  <a:lnTo>
                    <a:pt x="34" y="84"/>
                  </a:lnTo>
                  <a:lnTo>
                    <a:pt x="28" y="86"/>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87" name="Freeform 142"/>
            <p:cNvSpPr>
              <a:spLocks/>
            </p:cNvSpPr>
            <p:nvPr/>
          </p:nvSpPr>
          <p:spPr bwMode="auto">
            <a:xfrm>
              <a:off x="4545013" y="4718479"/>
              <a:ext cx="142875" cy="136525"/>
            </a:xfrm>
            <a:custGeom>
              <a:avLst/>
              <a:gdLst>
                <a:gd name="T0" fmla="*/ 28 w 90"/>
                <a:gd name="T1" fmla="*/ 86 h 86"/>
                <a:gd name="T2" fmla="*/ 26 w 90"/>
                <a:gd name="T3" fmla="*/ 84 h 86"/>
                <a:gd name="T4" fmla="*/ 16 w 90"/>
                <a:gd name="T5" fmla="*/ 74 h 86"/>
                <a:gd name="T6" fmla="*/ 13 w 90"/>
                <a:gd name="T7" fmla="*/ 70 h 86"/>
                <a:gd name="T8" fmla="*/ 12 w 90"/>
                <a:gd name="T9" fmla="*/ 67 h 86"/>
                <a:gd name="T10" fmla="*/ 12 w 90"/>
                <a:gd name="T11" fmla="*/ 63 h 86"/>
                <a:gd name="T12" fmla="*/ 10 w 90"/>
                <a:gd name="T13" fmla="*/ 60 h 86"/>
                <a:gd name="T14" fmla="*/ 8 w 90"/>
                <a:gd name="T15" fmla="*/ 57 h 86"/>
                <a:gd name="T16" fmla="*/ 2 w 90"/>
                <a:gd name="T17" fmla="*/ 51 h 86"/>
                <a:gd name="T18" fmla="*/ 0 w 90"/>
                <a:gd name="T19" fmla="*/ 50 h 86"/>
                <a:gd name="T20" fmla="*/ 2 w 90"/>
                <a:gd name="T21" fmla="*/ 48 h 86"/>
                <a:gd name="T22" fmla="*/ 5 w 90"/>
                <a:gd name="T23" fmla="*/ 47 h 86"/>
                <a:gd name="T24" fmla="*/ 8 w 90"/>
                <a:gd name="T25" fmla="*/ 42 h 86"/>
                <a:gd name="T26" fmla="*/ 9 w 90"/>
                <a:gd name="T27" fmla="*/ 39 h 86"/>
                <a:gd name="T28" fmla="*/ 10 w 90"/>
                <a:gd name="T29" fmla="*/ 34 h 86"/>
                <a:gd name="T30" fmla="*/ 12 w 90"/>
                <a:gd name="T31" fmla="*/ 21 h 86"/>
                <a:gd name="T32" fmla="*/ 42 w 90"/>
                <a:gd name="T33" fmla="*/ 0 h 86"/>
                <a:gd name="T34" fmla="*/ 55 w 90"/>
                <a:gd name="T35" fmla="*/ 0 h 86"/>
                <a:gd name="T36" fmla="*/ 71 w 90"/>
                <a:gd name="T37" fmla="*/ 0 h 86"/>
                <a:gd name="T38" fmla="*/ 84 w 90"/>
                <a:gd name="T39" fmla="*/ 3 h 86"/>
                <a:gd name="T40" fmla="*/ 87 w 90"/>
                <a:gd name="T41" fmla="*/ 12 h 86"/>
                <a:gd name="T42" fmla="*/ 90 w 90"/>
                <a:gd name="T43" fmla="*/ 19 h 86"/>
                <a:gd name="T44" fmla="*/ 87 w 90"/>
                <a:gd name="T45" fmla="*/ 28 h 86"/>
                <a:gd name="T46" fmla="*/ 81 w 90"/>
                <a:gd name="T47" fmla="*/ 35 h 86"/>
                <a:gd name="T48" fmla="*/ 80 w 90"/>
                <a:gd name="T49" fmla="*/ 39 h 86"/>
                <a:gd name="T50" fmla="*/ 86 w 90"/>
                <a:gd name="T51" fmla="*/ 54 h 86"/>
                <a:gd name="T52" fmla="*/ 87 w 90"/>
                <a:gd name="T53" fmla="*/ 60 h 86"/>
                <a:gd name="T54" fmla="*/ 87 w 90"/>
                <a:gd name="T55" fmla="*/ 64 h 86"/>
                <a:gd name="T56" fmla="*/ 83 w 90"/>
                <a:gd name="T57" fmla="*/ 71 h 86"/>
                <a:gd name="T58" fmla="*/ 79 w 90"/>
                <a:gd name="T59" fmla="*/ 73 h 86"/>
                <a:gd name="T60" fmla="*/ 79 w 90"/>
                <a:gd name="T61" fmla="*/ 73 h 86"/>
                <a:gd name="T62" fmla="*/ 79 w 90"/>
                <a:gd name="T63" fmla="*/ 73 h 86"/>
                <a:gd name="T64" fmla="*/ 79 w 90"/>
                <a:gd name="T65" fmla="*/ 73 h 86"/>
                <a:gd name="T66" fmla="*/ 74 w 90"/>
                <a:gd name="T67" fmla="*/ 74 h 86"/>
                <a:gd name="T68" fmla="*/ 74 w 90"/>
                <a:gd name="T69" fmla="*/ 74 h 86"/>
                <a:gd name="T70" fmla="*/ 64 w 90"/>
                <a:gd name="T71" fmla="*/ 70 h 86"/>
                <a:gd name="T72" fmla="*/ 64 w 90"/>
                <a:gd name="T73" fmla="*/ 70 h 86"/>
                <a:gd name="T74" fmla="*/ 63 w 90"/>
                <a:gd name="T75" fmla="*/ 70 h 86"/>
                <a:gd name="T76" fmla="*/ 63 w 90"/>
                <a:gd name="T77" fmla="*/ 70 h 86"/>
                <a:gd name="T78" fmla="*/ 61 w 90"/>
                <a:gd name="T79" fmla="*/ 71 h 86"/>
                <a:gd name="T80" fmla="*/ 57 w 90"/>
                <a:gd name="T81" fmla="*/ 81 h 86"/>
                <a:gd name="T82" fmla="*/ 57 w 90"/>
                <a:gd name="T83" fmla="*/ 81 h 86"/>
                <a:gd name="T84" fmla="*/ 55 w 90"/>
                <a:gd name="T85" fmla="*/ 81 h 86"/>
                <a:gd name="T86" fmla="*/ 55 w 90"/>
                <a:gd name="T87" fmla="*/ 81 h 86"/>
                <a:gd name="T88" fmla="*/ 55 w 90"/>
                <a:gd name="T89" fmla="*/ 81 h 86"/>
                <a:gd name="T90" fmla="*/ 55 w 90"/>
                <a:gd name="T91" fmla="*/ 81 h 86"/>
                <a:gd name="T92" fmla="*/ 55 w 90"/>
                <a:gd name="T93" fmla="*/ 81 h 86"/>
                <a:gd name="T94" fmla="*/ 55 w 90"/>
                <a:gd name="T95" fmla="*/ 81 h 86"/>
                <a:gd name="T96" fmla="*/ 55 w 90"/>
                <a:gd name="T97" fmla="*/ 83 h 86"/>
                <a:gd name="T98" fmla="*/ 55 w 90"/>
                <a:gd name="T99" fmla="*/ 83 h 86"/>
                <a:gd name="T100" fmla="*/ 55 w 90"/>
                <a:gd name="T101" fmla="*/ 83 h 86"/>
                <a:gd name="T102" fmla="*/ 55 w 90"/>
                <a:gd name="T103" fmla="*/ 83 h 86"/>
                <a:gd name="T104" fmla="*/ 50 w 90"/>
                <a:gd name="T105" fmla="*/ 83 h 86"/>
                <a:gd name="T106" fmla="*/ 42 w 90"/>
                <a:gd name="T107" fmla="*/ 84 h 86"/>
                <a:gd name="T108" fmla="*/ 41 w 90"/>
                <a:gd name="T109" fmla="*/ 84 h 86"/>
                <a:gd name="T110" fmla="*/ 37 w 90"/>
                <a:gd name="T111" fmla="*/ 84 h 86"/>
                <a:gd name="T112" fmla="*/ 35 w 90"/>
                <a:gd name="T113" fmla="*/ 84 h 86"/>
                <a:gd name="T114" fmla="*/ 35 w 90"/>
                <a:gd name="T115" fmla="*/ 84 h 86"/>
                <a:gd name="T116" fmla="*/ 34 w 90"/>
                <a:gd name="T117" fmla="*/ 8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86">
                  <a:moveTo>
                    <a:pt x="28" y="86"/>
                  </a:moveTo>
                  <a:lnTo>
                    <a:pt x="28" y="86"/>
                  </a:lnTo>
                  <a:lnTo>
                    <a:pt x="26" y="84"/>
                  </a:lnTo>
                  <a:lnTo>
                    <a:pt x="26" y="84"/>
                  </a:lnTo>
                  <a:lnTo>
                    <a:pt x="16" y="74"/>
                  </a:lnTo>
                  <a:lnTo>
                    <a:pt x="16" y="74"/>
                  </a:lnTo>
                  <a:lnTo>
                    <a:pt x="13" y="70"/>
                  </a:lnTo>
                  <a:lnTo>
                    <a:pt x="13" y="70"/>
                  </a:lnTo>
                  <a:lnTo>
                    <a:pt x="12" y="67"/>
                  </a:lnTo>
                  <a:lnTo>
                    <a:pt x="12" y="67"/>
                  </a:lnTo>
                  <a:lnTo>
                    <a:pt x="12" y="63"/>
                  </a:lnTo>
                  <a:lnTo>
                    <a:pt x="12" y="63"/>
                  </a:lnTo>
                  <a:lnTo>
                    <a:pt x="10" y="60"/>
                  </a:lnTo>
                  <a:lnTo>
                    <a:pt x="10" y="60"/>
                  </a:lnTo>
                  <a:lnTo>
                    <a:pt x="8" y="57"/>
                  </a:lnTo>
                  <a:lnTo>
                    <a:pt x="8" y="57"/>
                  </a:lnTo>
                  <a:lnTo>
                    <a:pt x="2" y="51"/>
                  </a:lnTo>
                  <a:lnTo>
                    <a:pt x="2" y="51"/>
                  </a:lnTo>
                  <a:lnTo>
                    <a:pt x="0" y="50"/>
                  </a:lnTo>
                  <a:lnTo>
                    <a:pt x="0" y="50"/>
                  </a:lnTo>
                  <a:lnTo>
                    <a:pt x="0" y="50"/>
                  </a:lnTo>
                  <a:lnTo>
                    <a:pt x="2" y="48"/>
                  </a:lnTo>
                  <a:lnTo>
                    <a:pt x="2" y="48"/>
                  </a:lnTo>
                  <a:lnTo>
                    <a:pt x="5" y="47"/>
                  </a:lnTo>
                  <a:lnTo>
                    <a:pt x="5" y="47"/>
                  </a:lnTo>
                  <a:lnTo>
                    <a:pt x="8" y="42"/>
                  </a:lnTo>
                  <a:lnTo>
                    <a:pt x="8" y="42"/>
                  </a:lnTo>
                  <a:lnTo>
                    <a:pt x="9" y="39"/>
                  </a:lnTo>
                  <a:lnTo>
                    <a:pt x="9" y="39"/>
                  </a:lnTo>
                  <a:lnTo>
                    <a:pt x="10" y="34"/>
                  </a:lnTo>
                  <a:lnTo>
                    <a:pt x="10" y="34"/>
                  </a:lnTo>
                  <a:lnTo>
                    <a:pt x="12" y="21"/>
                  </a:lnTo>
                  <a:lnTo>
                    <a:pt x="42" y="21"/>
                  </a:lnTo>
                  <a:lnTo>
                    <a:pt x="42" y="0"/>
                  </a:lnTo>
                  <a:lnTo>
                    <a:pt x="42" y="0"/>
                  </a:lnTo>
                  <a:lnTo>
                    <a:pt x="55" y="0"/>
                  </a:lnTo>
                  <a:lnTo>
                    <a:pt x="55" y="0"/>
                  </a:lnTo>
                  <a:lnTo>
                    <a:pt x="71" y="0"/>
                  </a:lnTo>
                  <a:lnTo>
                    <a:pt x="71" y="0"/>
                  </a:lnTo>
                  <a:lnTo>
                    <a:pt x="84" y="3"/>
                  </a:lnTo>
                  <a:lnTo>
                    <a:pt x="84" y="3"/>
                  </a:lnTo>
                  <a:lnTo>
                    <a:pt x="87" y="12"/>
                  </a:lnTo>
                  <a:lnTo>
                    <a:pt x="90" y="19"/>
                  </a:lnTo>
                  <a:lnTo>
                    <a:pt x="90" y="19"/>
                  </a:lnTo>
                  <a:lnTo>
                    <a:pt x="89" y="23"/>
                  </a:lnTo>
                  <a:lnTo>
                    <a:pt x="87" y="28"/>
                  </a:lnTo>
                  <a:lnTo>
                    <a:pt x="81" y="35"/>
                  </a:lnTo>
                  <a:lnTo>
                    <a:pt x="81" y="35"/>
                  </a:lnTo>
                  <a:lnTo>
                    <a:pt x="80" y="39"/>
                  </a:lnTo>
                  <a:lnTo>
                    <a:pt x="80" y="39"/>
                  </a:lnTo>
                  <a:lnTo>
                    <a:pt x="81" y="45"/>
                  </a:lnTo>
                  <a:lnTo>
                    <a:pt x="86" y="54"/>
                  </a:lnTo>
                  <a:lnTo>
                    <a:pt x="86" y="54"/>
                  </a:lnTo>
                  <a:lnTo>
                    <a:pt x="87" y="60"/>
                  </a:lnTo>
                  <a:lnTo>
                    <a:pt x="87" y="60"/>
                  </a:lnTo>
                  <a:lnTo>
                    <a:pt x="87" y="64"/>
                  </a:lnTo>
                  <a:lnTo>
                    <a:pt x="86" y="68"/>
                  </a:lnTo>
                  <a:lnTo>
                    <a:pt x="83" y="71"/>
                  </a:lnTo>
                  <a:lnTo>
                    <a:pt x="79" y="73"/>
                  </a:lnTo>
                  <a:lnTo>
                    <a:pt x="79" y="73"/>
                  </a:lnTo>
                  <a:lnTo>
                    <a:pt x="79" y="73"/>
                  </a:lnTo>
                  <a:lnTo>
                    <a:pt x="79" y="73"/>
                  </a:lnTo>
                  <a:lnTo>
                    <a:pt x="79" y="73"/>
                  </a:lnTo>
                  <a:lnTo>
                    <a:pt x="79" y="73"/>
                  </a:lnTo>
                  <a:lnTo>
                    <a:pt x="79" y="73"/>
                  </a:lnTo>
                  <a:lnTo>
                    <a:pt x="79" y="73"/>
                  </a:lnTo>
                  <a:lnTo>
                    <a:pt x="74" y="74"/>
                  </a:lnTo>
                  <a:lnTo>
                    <a:pt x="74" y="74"/>
                  </a:lnTo>
                  <a:lnTo>
                    <a:pt x="74" y="74"/>
                  </a:lnTo>
                  <a:lnTo>
                    <a:pt x="74" y="74"/>
                  </a:lnTo>
                  <a:lnTo>
                    <a:pt x="68" y="73"/>
                  </a:lnTo>
                  <a:lnTo>
                    <a:pt x="64" y="70"/>
                  </a:lnTo>
                  <a:lnTo>
                    <a:pt x="64" y="70"/>
                  </a:lnTo>
                  <a:lnTo>
                    <a:pt x="64" y="70"/>
                  </a:lnTo>
                  <a:lnTo>
                    <a:pt x="64" y="70"/>
                  </a:lnTo>
                  <a:lnTo>
                    <a:pt x="63" y="70"/>
                  </a:lnTo>
                  <a:lnTo>
                    <a:pt x="63" y="70"/>
                  </a:lnTo>
                  <a:lnTo>
                    <a:pt x="63" y="70"/>
                  </a:lnTo>
                  <a:lnTo>
                    <a:pt x="63" y="70"/>
                  </a:lnTo>
                  <a:lnTo>
                    <a:pt x="61" y="71"/>
                  </a:lnTo>
                  <a:lnTo>
                    <a:pt x="58" y="74"/>
                  </a:lnTo>
                  <a:lnTo>
                    <a:pt x="57" y="81"/>
                  </a:lnTo>
                  <a:lnTo>
                    <a:pt x="57" y="81"/>
                  </a:lnTo>
                  <a:lnTo>
                    <a:pt x="57" y="81"/>
                  </a:lnTo>
                  <a:lnTo>
                    <a:pt x="57" y="81"/>
                  </a:lnTo>
                  <a:lnTo>
                    <a:pt x="55" y="81"/>
                  </a:lnTo>
                  <a:lnTo>
                    <a:pt x="55" y="81"/>
                  </a:lnTo>
                  <a:lnTo>
                    <a:pt x="55" y="81"/>
                  </a:lnTo>
                  <a:lnTo>
                    <a:pt x="55" y="81"/>
                  </a:lnTo>
                  <a:lnTo>
                    <a:pt x="55" y="81"/>
                  </a:lnTo>
                  <a:lnTo>
                    <a:pt x="55" y="81"/>
                  </a:lnTo>
                  <a:lnTo>
                    <a:pt x="55" y="81"/>
                  </a:lnTo>
                  <a:lnTo>
                    <a:pt x="55" y="81"/>
                  </a:lnTo>
                  <a:lnTo>
                    <a:pt x="55" y="81"/>
                  </a:lnTo>
                  <a:lnTo>
                    <a:pt x="55" y="81"/>
                  </a:lnTo>
                  <a:lnTo>
                    <a:pt x="55" y="81"/>
                  </a:lnTo>
                  <a:lnTo>
                    <a:pt x="55" y="81"/>
                  </a:lnTo>
                  <a:lnTo>
                    <a:pt x="55" y="83"/>
                  </a:lnTo>
                  <a:lnTo>
                    <a:pt x="55" y="83"/>
                  </a:lnTo>
                  <a:lnTo>
                    <a:pt x="55" y="83"/>
                  </a:lnTo>
                  <a:lnTo>
                    <a:pt x="55" y="83"/>
                  </a:lnTo>
                  <a:lnTo>
                    <a:pt x="55" y="83"/>
                  </a:lnTo>
                  <a:lnTo>
                    <a:pt x="55" y="83"/>
                  </a:lnTo>
                  <a:lnTo>
                    <a:pt x="55" y="83"/>
                  </a:lnTo>
                  <a:lnTo>
                    <a:pt x="55" y="83"/>
                  </a:lnTo>
                  <a:lnTo>
                    <a:pt x="50" y="83"/>
                  </a:lnTo>
                  <a:lnTo>
                    <a:pt x="42" y="84"/>
                  </a:lnTo>
                  <a:lnTo>
                    <a:pt x="42" y="84"/>
                  </a:lnTo>
                  <a:lnTo>
                    <a:pt x="41" y="84"/>
                  </a:lnTo>
                  <a:lnTo>
                    <a:pt x="41" y="84"/>
                  </a:lnTo>
                  <a:lnTo>
                    <a:pt x="41" y="84"/>
                  </a:lnTo>
                  <a:lnTo>
                    <a:pt x="37" y="84"/>
                  </a:lnTo>
                  <a:lnTo>
                    <a:pt x="37" y="84"/>
                  </a:lnTo>
                  <a:lnTo>
                    <a:pt x="35" y="84"/>
                  </a:lnTo>
                  <a:lnTo>
                    <a:pt x="35" y="84"/>
                  </a:lnTo>
                  <a:lnTo>
                    <a:pt x="35" y="84"/>
                  </a:lnTo>
                  <a:lnTo>
                    <a:pt x="34" y="84"/>
                  </a:lnTo>
                  <a:lnTo>
                    <a:pt x="34" y="84"/>
                  </a:lnTo>
                  <a:lnTo>
                    <a:pt x="28" y="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88" name="Freeform 143"/>
            <p:cNvSpPr>
              <a:spLocks/>
            </p:cNvSpPr>
            <p:nvPr/>
          </p:nvSpPr>
          <p:spPr bwMode="auto">
            <a:xfrm>
              <a:off x="4559300" y="4718479"/>
              <a:ext cx="52388" cy="33338"/>
            </a:xfrm>
            <a:custGeom>
              <a:avLst/>
              <a:gdLst>
                <a:gd name="T0" fmla="*/ 33 w 33"/>
                <a:gd name="T1" fmla="*/ 0 h 21"/>
                <a:gd name="T2" fmla="*/ 33 w 33"/>
                <a:gd name="T3" fmla="*/ 0 h 21"/>
                <a:gd name="T4" fmla="*/ 4 w 33"/>
                <a:gd name="T5" fmla="*/ 0 h 21"/>
                <a:gd name="T6" fmla="*/ 4 w 33"/>
                <a:gd name="T7" fmla="*/ 0 h 21"/>
                <a:gd name="T8" fmla="*/ 1 w 33"/>
                <a:gd name="T9" fmla="*/ 8 h 21"/>
                <a:gd name="T10" fmla="*/ 0 w 33"/>
                <a:gd name="T11" fmla="*/ 13 h 21"/>
                <a:gd name="T12" fmla="*/ 0 w 33"/>
                <a:gd name="T13" fmla="*/ 13 h 21"/>
                <a:gd name="T14" fmla="*/ 0 w 33"/>
                <a:gd name="T15" fmla="*/ 21 h 21"/>
                <a:gd name="T16" fmla="*/ 33 w 33"/>
                <a:gd name="T17" fmla="*/ 21 h 21"/>
                <a:gd name="T18" fmla="*/ 33 w 33"/>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1">
                  <a:moveTo>
                    <a:pt x="33" y="0"/>
                  </a:moveTo>
                  <a:lnTo>
                    <a:pt x="33" y="0"/>
                  </a:lnTo>
                  <a:lnTo>
                    <a:pt x="4" y="0"/>
                  </a:lnTo>
                  <a:lnTo>
                    <a:pt x="4" y="0"/>
                  </a:lnTo>
                  <a:lnTo>
                    <a:pt x="1" y="8"/>
                  </a:lnTo>
                  <a:lnTo>
                    <a:pt x="0" y="13"/>
                  </a:lnTo>
                  <a:lnTo>
                    <a:pt x="0" y="13"/>
                  </a:lnTo>
                  <a:lnTo>
                    <a:pt x="0" y="21"/>
                  </a:lnTo>
                  <a:lnTo>
                    <a:pt x="33" y="21"/>
                  </a:lnTo>
                  <a:lnTo>
                    <a:pt x="33" y="0"/>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89" name="Freeform 144"/>
            <p:cNvSpPr>
              <a:spLocks/>
            </p:cNvSpPr>
            <p:nvPr/>
          </p:nvSpPr>
          <p:spPr bwMode="auto">
            <a:xfrm>
              <a:off x="4965700" y="3918379"/>
              <a:ext cx="280988" cy="290513"/>
            </a:xfrm>
            <a:custGeom>
              <a:avLst/>
              <a:gdLst>
                <a:gd name="T0" fmla="*/ 148 w 177"/>
                <a:gd name="T1" fmla="*/ 183 h 183"/>
                <a:gd name="T2" fmla="*/ 154 w 177"/>
                <a:gd name="T3" fmla="*/ 181 h 183"/>
                <a:gd name="T4" fmla="*/ 167 w 177"/>
                <a:gd name="T5" fmla="*/ 168 h 183"/>
                <a:gd name="T6" fmla="*/ 177 w 177"/>
                <a:gd name="T7" fmla="*/ 164 h 183"/>
                <a:gd name="T8" fmla="*/ 177 w 177"/>
                <a:gd name="T9" fmla="*/ 164 h 183"/>
                <a:gd name="T10" fmla="*/ 167 w 177"/>
                <a:gd name="T11" fmla="*/ 157 h 183"/>
                <a:gd name="T12" fmla="*/ 161 w 177"/>
                <a:gd name="T13" fmla="*/ 148 h 183"/>
                <a:gd name="T14" fmla="*/ 163 w 177"/>
                <a:gd name="T15" fmla="*/ 144 h 183"/>
                <a:gd name="T16" fmla="*/ 164 w 177"/>
                <a:gd name="T17" fmla="*/ 138 h 183"/>
                <a:gd name="T18" fmla="*/ 151 w 177"/>
                <a:gd name="T19" fmla="*/ 112 h 183"/>
                <a:gd name="T20" fmla="*/ 135 w 177"/>
                <a:gd name="T21" fmla="*/ 81 h 183"/>
                <a:gd name="T22" fmla="*/ 132 w 177"/>
                <a:gd name="T23" fmla="*/ 76 h 183"/>
                <a:gd name="T24" fmla="*/ 132 w 177"/>
                <a:gd name="T25" fmla="*/ 68 h 183"/>
                <a:gd name="T26" fmla="*/ 131 w 177"/>
                <a:gd name="T27" fmla="*/ 65 h 183"/>
                <a:gd name="T28" fmla="*/ 123 w 177"/>
                <a:gd name="T29" fmla="*/ 58 h 183"/>
                <a:gd name="T30" fmla="*/ 122 w 177"/>
                <a:gd name="T31" fmla="*/ 54 h 183"/>
                <a:gd name="T32" fmla="*/ 123 w 177"/>
                <a:gd name="T33" fmla="*/ 54 h 183"/>
                <a:gd name="T34" fmla="*/ 141 w 177"/>
                <a:gd name="T35" fmla="*/ 68 h 183"/>
                <a:gd name="T36" fmla="*/ 142 w 177"/>
                <a:gd name="T37" fmla="*/ 68 h 183"/>
                <a:gd name="T38" fmla="*/ 148 w 177"/>
                <a:gd name="T39" fmla="*/ 65 h 183"/>
                <a:gd name="T40" fmla="*/ 151 w 177"/>
                <a:gd name="T41" fmla="*/ 65 h 183"/>
                <a:gd name="T42" fmla="*/ 152 w 177"/>
                <a:gd name="T43" fmla="*/ 29 h 183"/>
                <a:gd name="T44" fmla="*/ 152 w 177"/>
                <a:gd name="T45" fmla="*/ 23 h 183"/>
                <a:gd name="T46" fmla="*/ 141 w 177"/>
                <a:gd name="T47" fmla="*/ 6 h 183"/>
                <a:gd name="T48" fmla="*/ 139 w 177"/>
                <a:gd name="T49" fmla="*/ 9 h 183"/>
                <a:gd name="T50" fmla="*/ 137 w 177"/>
                <a:gd name="T51" fmla="*/ 10 h 183"/>
                <a:gd name="T52" fmla="*/ 125 w 177"/>
                <a:gd name="T53" fmla="*/ 10 h 183"/>
                <a:gd name="T54" fmla="*/ 109 w 177"/>
                <a:gd name="T55" fmla="*/ 9 h 183"/>
                <a:gd name="T56" fmla="*/ 103 w 177"/>
                <a:gd name="T57" fmla="*/ 7 h 183"/>
                <a:gd name="T58" fmla="*/ 97 w 177"/>
                <a:gd name="T59" fmla="*/ 2 h 183"/>
                <a:gd name="T60" fmla="*/ 93 w 177"/>
                <a:gd name="T61" fmla="*/ 2 h 183"/>
                <a:gd name="T62" fmla="*/ 89 w 177"/>
                <a:gd name="T63" fmla="*/ 2 h 183"/>
                <a:gd name="T64" fmla="*/ 86 w 177"/>
                <a:gd name="T65" fmla="*/ 0 h 183"/>
                <a:gd name="T66" fmla="*/ 81 w 177"/>
                <a:gd name="T67" fmla="*/ 3 h 183"/>
                <a:gd name="T68" fmla="*/ 71 w 177"/>
                <a:gd name="T69" fmla="*/ 10 h 183"/>
                <a:gd name="T70" fmla="*/ 63 w 177"/>
                <a:gd name="T71" fmla="*/ 16 h 183"/>
                <a:gd name="T72" fmla="*/ 47 w 177"/>
                <a:gd name="T73" fmla="*/ 15 h 183"/>
                <a:gd name="T74" fmla="*/ 31 w 177"/>
                <a:gd name="T75" fmla="*/ 10 h 183"/>
                <a:gd name="T76" fmla="*/ 2 w 177"/>
                <a:gd name="T77" fmla="*/ 3 h 183"/>
                <a:gd name="T78" fmla="*/ 0 w 177"/>
                <a:gd name="T79" fmla="*/ 174 h 183"/>
                <a:gd name="T80" fmla="*/ 100 w 177"/>
                <a:gd name="T81" fmla="*/ 174 h 183"/>
                <a:gd name="T82" fmla="*/ 129 w 177"/>
                <a:gd name="T83" fmla="*/ 178 h 183"/>
                <a:gd name="T84" fmla="*/ 148 w 177"/>
                <a:gd name="T8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7" h="183">
                  <a:moveTo>
                    <a:pt x="148" y="183"/>
                  </a:moveTo>
                  <a:lnTo>
                    <a:pt x="148" y="183"/>
                  </a:lnTo>
                  <a:lnTo>
                    <a:pt x="151" y="183"/>
                  </a:lnTo>
                  <a:lnTo>
                    <a:pt x="154" y="181"/>
                  </a:lnTo>
                  <a:lnTo>
                    <a:pt x="158" y="176"/>
                  </a:lnTo>
                  <a:lnTo>
                    <a:pt x="167" y="168"/>
                  </a:lnTo>
                  <a:lnTo>
                    <a:pt x="167" y="168"/>
                  </a:lnTo>
                  <a:lnTo>
                    <a:pt x="177" y="164"/>
                  </a:lnTo>
                  <a:lnTo>
                    <a:pt x="177" y="164"/>
                  </a:lnTo>
                  <a:lnTo>
                    <a:pt x="177" y="164"/>
                  </a:lnTo>
                  <a:lnTo>
                    <a:pt x="171" y="161"/>
                  </a:lnTo>
                  <a:lnTo>
                    <a:pt x="167" y="157"/>
                  </a:lnTo>
                  <a:lnTo>
                    <a:pt x="161" y="148"/>
                  </a:lnTo>
                  <a:lnTo>
                    <a:pt x="161" y="148"/>
                  </a:lnTo>
                  <a:lnTo>
                    <a:pt x="161" y="147"/>
                  </a:lnTo>
                  <a:lnTo>
                    <a:pt x="163" y="144"/>
                  </a:lnTo>
                  <a:lnTo>
                    <a:pt x="164" y="141"/>
                  </a:lnTo>
                  <a:lnTo>
                    <a:pt x="164" y="138"/>
                  </a:lnTo>
                  <a:lnTo>
                    <a:pt x="164" y="138"/>
                  </a:lnTo>
                  <a:lnTo>
                    <a:pt x="151" y="112"/>
                  </a:lnTo>
                  <a:lnTo>
                    <a:pt x="142" y="94"/>
                  </a:lnTo>
                  <a:lnTo>
                    <a:pt x="135" y="81"/>
                  </a:lnTo>
                  <a:lnTo>
                    <a:pt x="135" y="81"/>
                  </a:lnTo>
                  <a:lnTo>
                    <a:pt x="132" y="76"/>
                  </a:lnTo>
                  <a:lnTo>
                    <a:pt x="131" y="73"/>
                  </a:lnTo>
                  <a:lnTo>
                    <a:pt x="132" y="68"/>
                  </a:lnTo>
                  <a:lnTo>
                    <a:pt x="132" y="68"/>
                  </a:lnTo>
                  <a:lnTo>
                    <a:pt x="131" y="65"/>
                  </a:lnTo>
                  <a:lnTo>
                    <a:pt x="128" y="61"/>
                  </a:lnTo>
                  <a:lnTo>
                    <a:pt x="123" y="58"/>
                  </a:lnTo>
                  <a:lnTo>
                    <a:pt x="122" y="54"/>
                  </a:lnTo>
                  <a:lnTo>
                    <a:pt x="122" y="54"/>
                  </a:lnTo>
                  <a:lnTo>
                    <a:pt x="122" y="54"/>
                  </a:lnTo>
                  <a:lnTo>
                    <a:pt x="123" y="54"/>
                  </a:lnTo>
                  <a:lnTo>
                    <a:pt x="129" y="60"/>
                  </a:lnTo>
                  <a:lnTo>
                    <a:pt x="141" y="68"/>
                  </a:lnTo>
                  <a:lnTo>
                    <a:pt x="141" y="68"/>
                  </a:lnTo>
                  <a:lnTo>
                    <a:pt x="142" y="68"/>
                  </a:lnTo>
                  <a:lnTo>
                    <a:pt x="145" y="67"/>
                  </a:lnTo>
                  <a:lnTo>
                    <a:pt x="148" y="65"/>
                  </a:lnTo>
                  <a:lnTo>
                    <a:pt x="151" y="65"/>
                  </a:lnTo>
                  <a:lnTo>
                    <a:pt x="151" y="65"/>
                  </a:lnTo>
                  <a:lnTo>
                    <a:pt x="152" y="41"/>
                  </a:lnTo>
                  <a:lnTo>
                    <a:pt x="152" y="29"/>
                  </a:lnTo>
                  <a:lnTo>
                    <a:pt x="152" y="23"/>
                  </a:lnTo>
                  <a:lnTo>
                    <a:pt x="152" y="23"/>
                  </a:lnTo>
                  <a:lnTo>
                    <a:pt x="148" y="15"/>
                  </a:lnTo>
                  <a:lnTo>
                    <a:pt x="141" y="6"/>
                  </a:lnTo>
                  <a:lnTo>
                    <a:pt x="141" y="6"/>
                  </a:lnTo>
                  <a:lnTo>
                    <a:pt x="139" y="9"/>
                  </a:lnTo>
                  <a:lnTo>
                    <a:pt x="139" y="9"/>
                  </a:lnTo>
                  <a:lnTo>
                    <a:pt x="137" y="10"/>
                  </a:lnTo>
                  <a:lnTo>
                    <a:pt x="134" y="10"/>
                  </a:lnTo>
                  <a:lnTo>
                    <a:pt x="125" y="10"/>
                  </a:lnTo>
                  <a:lnTo>
                    <a:pt x="109" y="9"/>
                  </a:lnTo>
                  <a:lnTo>
                    <a:pt x="109" y="9"/>
                  </a:lnTo>
                  <a:lnTo>
                    <a:pt x="106" y="9"/>
                  </a:lnTo>
                  <a:lnTo>
                    <a:pt x="103" y="7"/>
                  </a:lnTo>
                  <a:lnTo>
                    <a:pt x="97" y="2"/>
                  </a:lnTo>
                  <a:lnTo>
                    <a:pt x="97" y="2"/>
                  </a:lnTo>
                  <a:lnTo>
                    <a:pt x="95" y="0"/>
                  </a:lnTo>
                  <a:lnTo>
                    <a:pt x="93" y="2"/>
                  </a:lnTo>
                  <a:lnTo>
                    <a:pt x="92" y="3"/>
                  </a:lnTo>
                  <a:lnTo>
                    <a:pt x="89" y="2"/>
                  </a:lnTo>
                  <a:lnTo>
                    <a:pt x="89" y="2"/>
                  </a:lnTo>
                  <a:lnTo>
                    <a:pt x="86" y="0"/>
                  </a:lnTo>
                  <a:lnTo>
                    <a:pt x="86" y="0"/>
                  </a:lnTo>
                  <a:lnTo>
                    <a:pt x="81" y="3"/>
                  </a:lnTo>
                  <a:lnTo>
                    <a:pt x="81" y="3"/>
                  </a:lnTo>
                  <a:lnTo>
                    <a:pt x="71" y="10"/>
                  </a:lnTo>
                  <a:lnTo>
                    <a:pt x="63" y="16"/>
                  </a:lnTo>
                  <a:lnTo>
                    <a:pt x="63" y="16"/>
                  </a:lnTo>
                  <a:lnTo>
                    <a:pt x="57" y="18"/>
                  </a:lnTo>
                  <a:lnTo>
                    <a:pt x="47" y="15"/>
                  </a:lnTo>
                  <a:lnTo>
                    <a:pt x="31" y="10"/>
                  </a:lnTo>
                  <a:lnTo>
                    <a:pt x="31" y="10"/>
                  </a:lnTo>
                  <a:lnTo>
                    <a:pt x="15" y="6"/>
                  </a:lnTo>
                  <a:lnTo>
                    <a:pt x="2" y="3"/>
                  </a:lnTo>
                  <a:lnTo>
                    <a:pt x="0" y="3"/>
                  </a:lnTo>
                  <a:lnTo>
                    <a:pt x="0" y="174"/>
                  </a:lnTo>
                  <a:lnTo>
                    <a:pt x="100" y="174"/>
                  </a:lnTo>
                  <a:lnTo>
                    <a:pt x="100" y="174"/>
                  </a:lnTo>
                  <a:lnTo>
                    <a:pt x="115" y="176"/>
                  </a:lnTo>
                  <a:lnTo>
                    <a:pt x="129" y="178"/>
                  </a:lnTo>
                  <a:lnTo>
                    <a:pt x="141" y="181"/>
                  </a:lnTo>
                  <a:lnTo>
                    <a:pt x="148" y="183"/>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90" name="Freeform 145"/>
            <p:cNvSpPr>
              <a:spLocks/>
            </p:cNvSpPr>
            <p:nvPr/>
          </p:nvSpPr>
          <p:spPr bwMode="auto">
            <a:xfrm>
              <a:off x="4965700" y="3918379"/>
              <a:ext cx="280988" cy="290513"/>
            </a:xfrm>
            <a:custGeom>
              <a:avLst/>
              <a:gdLst>
                <a:gd name="T0" fmla="*/ 148 w 177"/>
                <a:gd name="T1" fmla="*/ 183 h 183"/>
                <a:gd name="T2" fmla="*/ 154 w 177"/>
                <a:gd name="T3" fmla="*/ 181 h 183"/>
                <a:gd name="T4" fmla="*/ 167 w 177"/>
                <a:gd name="T5" fmla="*/ 168 h 183"/>
                <a:gd name="T6" fmla="*/ 177 w 177"/>
                <a:gd name="T7" fmla="*/ 164 h 183"/>
                <a:gd name="T8" fmla="*/ 177 w 177"/>
                <a:gd name="T9" fmla="*/ 164 h 183"/>
                <a:gd name="T10" fmla="*/ 167 w 177"/>
                <a:gd name="T11" fmla="*/ 157 h 183"/>
                <a:gd name="T12" fmla="*/ 161 w 177"/>
                <a:gd name="T13" fmla="*/ 148 h 183"/>
                <a:gd name="T14" fmla="*/ 163 w 177"/>
                <a:gd name="T15" fmla="*/ 144 h 183"/>
                <a:gd name="T16" fmla="*/ 164 w 177"/>
                <a:gd name="T17" fmla="*/ 138 h 183"/>
                <a:gd name="T18" fmla="*/ 151 w 177"/>
                <a:gd name="T19" fmla="*/ 112 h 183"/>
                <a:gd name="T20" fmla="*/ 135 w 177"/>
                <a:gd name="T21" fmla="*/ 81 h 183"/>
                <a:gd name="T22" fmla="*/ 132 w 177"/>
                <a:gd name="T23" fmla="*/ 76 h 183"/>
                <a:gd name="T24" fmla="*/ 132 w 177"/>
                <a:gd name="T25" fmla="*/ 68 h 183"/>
                <a:gd name="T26" fmla="*/ 131 w 177"/>
                <a:gd name="T27" fmla="*/ 65 h 183"/>
                <a:gd name="T28" fmla="*/ 123 w 177"/>
                <a:gd name="T29" fmla="*/ 58 h 183"/>
                <a:gd name="T30" fmla="*/ 122 w 177"/>
                <a:gd name="T31" fmla="*/ 54 h 183"/>
                <a:gd name="T32" fmla="*/ 123 w 177"/>
                <a:gd name="T33" fmla="*/ 54 h 183"/>
                <a:gd name="T34" fmla="*/ 141 w 177"/>
                <a:gd name="T35" fmla="*/ 68 h 183"/>
                <a:gd name="T36" fmla="*/ 142 w 177"/>
                <a:gd name="T37" fmla="*/ 68 h 183"/>
                <a:gd name="T38" fmla="*/ 148 w 177"/>
                <a:gd name="T39" fmla="*/ 65 h 183"/>
                <a:gd name="T40" fmla="*/ 151 w 177"/>
                <a:gd name="T41" fmla="*/ 65 h 183"/>
                <a:gd name="T42" fmla="*/ 152 w 177"/>
                <a:gd name="T43" fmla="*/ 29 h 183"/>
                <a:gd name="T44" fmla="*/ 152 w 177"/>
                <a:gd name="T45" fmla="*/ 23 h 183"/>
                <a:gd name="T46" fmla="*/ 141 w 177"/>
                <a:gd name="T47" fmla="*/ 6 h 183"/>
                <a:gd name="T48" fmla="*/ 139 w 177"/>
                <a:gd name="T49" fmla="*/ 9 h 183"/>
                <a:gd name="T50" fmla="*/ 137 w 177"/>
                <a:gd name="T51" fmla="*/ 10 h 183"/>
                <a:gd name="T52" fmla="*/ 125 w 177"/>
                <a:gd name="T53" fmla="*/ 10 h 183"/>
                <a:gd name="T54" fmla="*/ 109 w 177"/>
                <a:gd name="T55" fmla="*/ 9 h 183"/>
                <a:gd name="T56" fmla="*/ 103 w 177"/>
                <a:gd name="T57" fmla="*/ 7 h 183"/>
                <a:gd name="T58" fmla="*/ 97 w 177"/>
                <a:gd name="T59" fmla="*/ 2 h 183"/>
                <a:gd name="T60" fmla="*/ 93 w 177"/>
                <a:gd name="T61" fmla="*/ 2 h 183"/>
                <a:gd name="T62" fmla="*/ 89 w 177"/>
                <a:gd name="T63" fmla="*/ 2 h 183"/>
                <a:gd name="T64" fmla="*/ 86 w 177"/>
                <a:gd name="T65" fmla="*/ 0 h 183"/>
                <a:gd name="T66" fmla="*/ 81 w 177"/>
                <a:gd name="T67" fmla="*/ 3 h 183"/>
                <a:gd name="T68" fmla="*/ 71 w 177"/>
                <a:gd name="T69" fmla="*/ 10 h 183"/>
                <a:gd name="T70" fmla="*/ 63 w 177"/>
                <a:gd name="T71" fmla="*/ 16 h 183"/>
                <a:gd name="T72" fmla="*/ 47 w 177"/>
                <a:gd name="T73" fmla="*/ 15 h 183"/>
                <a:gd name="T74" fmla="*/ 31 w 177"/>
                <a:gd name="T75" fmla="*/ 10 h 183"/>
                <a:gd name="T76" fmla="*/ 2 w 177"/>
                <a:gd name="T77" fmla="*/ 3 h 183"/>
                <a:gd name="T78" fmla="*/ 0 w 177"/>
                <a:gd name="T79" fmla="*/ 174 h 183"/>
                <a:gd name="T80" fmla="*/ 100 w 177"/>
                <a:gd name="T81" fmla="*/ 174 h 183"/>
                <a:gd name="T82" fmla="*/ 129 w 177"/>
                <a:gd name="T83" fmla="*/ 178 h 183"/>
                <a:gd name="T84" fmla="*/ 148 w 177"/>
                <a:gd name="T8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7" h="183">
                  <a:moveTo>
                    <a:pt x="148" y="183"/>
                  </a:moveTo>
                  <a:lnTo>
                    <a:pt x="148" y="183"/>
                  </a:lnTo>
                  <a:lnTo>
                    <a:pt x="151" y="183"/>
                  </a:lnTo>
                  <a:lnTo>
                    <a:pt x="154" y="181"/>
                  </a:lnTo>
                  <a:lnTo>
                    <a:pt x="158" y="176"/>
                  </a:lnTo>
                  <a:lnTo>
                    <a:pt x="167" y="168"/>
                  </a:lnTo>
                  <a:lnTo>
                    <a:pt x="167" y="168"/>
                  </a:lnTo>
                  <a:lnTo>
                    <a:pt x="177" y="164"/>
                  </a:lnTo>
                  <a:lnTo>
                    <a:pt x="177" y="164"/>
                  </a:lnTo>
                  <a:lnTo>
                    <a:pt x="177" y="164"/>
                  </a:lnTo>
                  <a:lnTo>
                    <a:pt x="171" y="161"/>
                  </a:lnTo>
                  <a:lnTo>
                    <a:pt x="167" y="157"/>
                  </a:lnTo>
                  <a:lnTo>
                    <a:pt x="161" y="148"/>
                  </a:lnTo>
                  <a:lnTo>
                    <a:pt x="161" y="148"/>
                  </a:lnTo>
                  <a:lnTo>
                    <a:pt x="161" y="147"/>
                  </a:lnTo>
                  <a:lnTo>
                    <a:pt x="163" y="144"/>
                  </a:lnTo>
                  <a:lnTo>
                    <a:pt x="164" y="141"/>
                  </a:lnTo>
                  <a:lnTo>
                    <a:pt x="164" y="138"/>
                  </a:lnTo>
                  <a:lnTo>
                    <a:pt x="164" y="138"/>
                  </a:lnTo>
                  <a:lnTo>
                    <a:pt x="151" y="112"/>
                  </a:lnTo>
                  <a:lnTo>
                    <a:pt x="142" y="94"/>
                  </a:lnTo>
                  <a:lnTo>
                    <a:pt x="135" y="81"/>
                  </a:lnTo>
                  <a:lnTo>
                    <a:pt x="135" y="81"/>
                  </a:lnTo>
                  <a:lnTo>
                    <a:pt x="132" y="76"/>
                  </a:lnTo>
                  <a:lnTo>
                    <a:pt x="131" y="73"/>
                  </a:lnTo>
                  <a:lnTo>
                    <a:pt x="132" y="68"/>
                  </a:lnTo>
                  <a:lnTo>
                    <a:pt x="132" y="68"/>
                  </a:lnTo>
                  <a:lnTo>
                    <a:pt x="131" y="65"/>
                  </a:lnTo>
                  <a:lnTo>
                    <a:pt x="128" y="61"/>
                  </a:lnTo>
                  <a:lnTo>
                    <a:pt x="123" y="58"/>
                  </a:lnTo>
                  <a:lnTo>
                    <a:pt x="122" y="54"/>
                  </a:lnTo>
                  <a:lnTo>
                    <a:pt x="122" y="54"/>
                  </a:lnTo>
                  <a:lnTo>
                    <a:pt x="122" y="54"/>
                  </a:lnTo>
                  <a:lnTo>
                    <a:pt x="123" y="54"/>
                  </a:lnTo>
                  <a:lnTo>
                    <a:pt x="129" y="60"/>
                  </a:lnTo>
                  <a:lnTo>
                    <a:pt x="141" y="68"/>
                  </a:lnTo>
                  <a:lnTo>
                    <a:pt x="141" y="68"/>
                  </a:lnTo>
                  <a:lnTo>
                    <a:pt x="142" y="68"/>
                  </a:lnTo>
                  <a:lnTo>
                    <a:pt x="145" y="67"/>
                  </a:lnTo>
                  <a:lnTo>
                    <a:pt x="148" y="65"/>
                  </a:lnTo>
                  <a:lnTo>
                    <a:pt x="151" y="65"/>
                  </a:lnTo>
                  <a:lnTo>
                    <a:pt x="151" y="65"/>
                  </a:lnTo>
                  <a:lnTo>
                    <a:pt x="152" y="41"/>
                  </a:lnTo>
                  <a:lnTo>
                    <a:pt x="152" y="29"/>
                  </a:lnTo>
                  <a:lnTo>
                    <a:pt x="152" y="23"/>
                  </a:lnTo>
                  <a:lnTo>
                    <a:pt x="152" y="23"/>
                  </a:lnTo>
                  <a:lnTo>
                    <a:pt x="148" y="15"/>
                  </a:lnTo>
                  <a:lnTo>
                    <a:pt x="141" y="6"/>
                  </a:lnTo>
                  <a:lnTo>
                    <a:pt x="141" y="6"/>
                  </a:lnTo>
                  <a:lnTo>
                    <a:pt x="139" y="9"/>
                  </a:lnTo>
                  <a:lnTo>
                    <a:pt x="139" y="9"/>
                  </a:lnTo>
                  <a:lnTo>
                    <a:pt x="137" y="10"/>
                  </a:lnTo>
                  <a:lnTo>
                    <a:pt x="134" y="10"/>
                  </a:lnTo>
                  <a:lnTo>
                    <a:pt x="125" y="10"/>
                  </a:lnTo>
                  <a:lnTo>
                    <a:pt x="109" y="9"/>
                  </a:lnTo>
                  <a:lnTo>
                    <a:pt x="109" y="9"/>
                  </a:lnTo>
                  <a:lnTo>
                    <a:pt x="106" y="9"/>
                  </a:lnTo>
                  <a:lnTo>
                    <a:pt x="103" y="7"/>
                  </a:lnTo>
                  <a:lnTo>
                    <a:pt x="97" y="2"/>
                  </a:lnTo>
                  <a:lnTo>
                    <a:pt x="97" y="2"/>
                  </a:lnTo>
                  <a:lnTo>
                    <a:pt x="95" y="0"/>
                  </a:lnTo>
                  <a:lnTo>
                    <a:pt x="93" y="2"/>
                  </a:lnTo>
                  <a:lnTo>
                    <a:pt x="92" y="3"/>
                  </a:lnTo>
                  <a:lnTo>
                    <a:pt x="89" y="2"/>
                  </a:lnTo>
                  <a:lnTo>
                    <a:pt x="89" y="2"/>
                  </a:lnTo>
                  <a:lnTo>
                    <a:pt x="86" y="0"/>
                  </a:lnTo>
                  <a:lnTo>
                    <a:pt x="86" y="0"/>
                  </a:lnTo>
                  <a:lnTo>
                    <a:pt x="81" y="3"/>
                  </a:lnTo>
                  <a:lnTo>
                    <a:pt x="81" y="3"/>
                  </a:lnTo>
                  <a:lnTo>
                    <a:pt x="71" y="10"/>
                  </a:lnTo>
                  <a:lnTo>
                    <a:pt x="63" y="16"/>
                  </a:lnTo>
                  <a:lnTo>
                    <a:pt x="63" y="16"/>
                  </a:lnTo>
                  <a:lnTo>
                    <a:pt x="57" y="18"/>
                  </a:lnTo>
                  <a:lnTo>
                    <a:pt x="47" y="15"/>
                  </a:lnTo>
                  <a:lnTo>
                    <a:pt x="31" y="10"/>
                  </a:lnTo>
                  <a:lnTo>
                    <a:pt x="31" y="10"/>
                  </a:lnTo>
                  <a:lnTo>
                    <a:pt x="15" y="6"/>
                  </a:lnTo>
                  <a:lnTo>
                    <a:pt x="2" y="3"/>
                  </a:lnTo>
                  <a:lnTo>
                    <a:pt x="0" y="3"/>
                  </a:lnTo>
                  <a:lnTo>
                    <a:pt x="0" y="174"/>
                  </a:lnTo>
                  <a:lnTo>
                    <a:pt x="100" y="174"/>
                  </a:lnTo>
                  <a:lnTo>
                    <a:pt x="100" y="174"/>
                  </a:lnTo>
                  <a:lnTo>
                    <a:pt x="115" y="176"/>
                  </a:lnTo>
                  <a:lnTo>
                    <a:pt x="129" y="178"/>
                  </a:lnTo>
                  <a:lnTo>
                    <a:pt x="141" y="181"/>
                  </a:lnTo>
                  <a:lnTo>
                    <a:pt x="148" y="1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91" name="Freeform 146"/>
            <p:cNvSpPr>
              <a:spLocks/>
            </p:cNvSpPr>
            <p:nvPr/>
          </p:nvSpPr>
          <p:spPr bwMode="auto">
            <a:xfrm>
              <a:off x="4870450" y="4178729"/>
              <a:ext cx="433388" cy="493713"/>
            </a:xfrm>
            <a:custGeom>
              <a:avLst/>
              <a:gdLst>
                <a:gd name="T0" fmla="*/ 186 w 273"/>
                <a:gd name="T1" fmla="*/ 245 h 311"/>
                <a:gd name="T2" fmla="*/ 202 w 273"/>
                <a:gd name="T3" fmla="*/ 233 h 311"/>
                <a:gd name="T4" fmla="*/ 208 w 273"/>
                <a:gd name="T5" fmla="*/ 203 h 311"/>
                <a:gd name="T6" fmla="*/ 214 w 273"/>
                <a:gd name="T7" fmla="*/ 197 h 311"/>
                <a:gd name="T8" fmla="*/ 220 w 273"/>
                <a:gd name="T9" fmla="*/ 181 h 311"/>
                <a:gd name="T10" fmla="*/ 228 w 273"/>
                <a:gd name="T11" fmla="*/ 174 h 311"/>
                <a:gd name="T12" fmla="*/ 236 w 273"/>
                <a:gd name="T13" fmla="*/ 165 h 311"/>
                <a:gd name="T14" fmla="*/ 239 w 273"/>
                <a:gd name="T15" fmla="*/ 145 h 311"/>
                <a:gd name="T16" fmla="*/ 241 w 273"/>
                <a:gd name="T17" fmla="*/ 130 h 311"/>
                <a:gd name="T18" fmla="*/ 247 w 273"/>
                <a:gd name="T19" fmla="*/ 98 h 311"/>
                <a:gd name="T20" fmla="*/ 256 w 273"/>
                <a:gd name="T21" fmla="*/ 91 h 311"/>
                <a:gd name="T22" fmla="*/ 270 w 273"/>
                <a:gd name="T23" fmla="*/ 82 h 311"/>
                <a:gd name="T24" fmla="*/ 273 w 273"/>
                <a:gd name="T25" fmla="*/ 78 h 311"/>
                <a:gd name="T26" fmla="*/ 263 w 273"/>
                <a:gd name="T27" fmla="*/ 67 h 311"/>
                <a:gd name="T28" fmla="*/ 250 w 273"/>
                <a:gd name="T29" fmla="*/ 46 h 311"/>
                <a:gd name="T30" fmla="*/ 246 w 273"/>
                <a:gd name="T31" fmla="*/ 25 h 311"/>
                <a:gd name="T32" fmla="*/ 244 w 273"/>
                <a:gd name="T33" fmla="*/ 7 h 311"/>
                <a:gd name="T34" fmla="*/ 237 w 273"/>
                <a:gd name="T35" fmla="*/ 0 h 311"/>
                <a:gd name="T36" fmla="*/ 227 w 273"/>
                <a:gd name="T37" fmla="*/ 4 h 311"/>
                <a:gd name="T38" fmla="*/ 211 w 273"/>
                <a:gd name="T39" fmla="*/ 19 h 311"/>
                <a:gd name="T40" fmla="*/ 201 w 273"/>
                <a:gd name="T41" fmla="*/ 17 h 311"/>
                <a:gd name="T42" fmla="*/ 160 w 273"/>
                <a:gd name="T43" fmla="*/ 10 h 311"/>
                <a:gd name="T44" fmla="*/ 40 w 273"/>
                <a:gd name="T45" fmla="*/ 45 h 311"/>
                <a:gd name="T46" fmla="*/ 40 w 273"/>
                <a:gd name="T47" fmla="*/ 107 h 311"/>
                <a:gd name="T48" fmla="*/ 39 w 273"/>
                <a:gd name="T49" fmla="*/ 109 h 311"/>
                <a:gd name="T50" fmla="*/ 27 w 273"/>
                <a:gd name="T51" fmla="*/ 104 h 311"/>
                <a:gd name="T52" fmla="*/ 21 w 273"/>
                <a:gd name="T53" fmla="*/ 113 h 311"/>
                <a:gd name="T54" fmla="*/ 15 w 273"/>
                <a:gd name="T55" fmla="*/ 122 h 311"/>
                <a:gd name="T56" fmla="*/ 4 w 273"/>
                <a:gd name="T57" fmla="*/ 138 h 311"/>
                <a:gd name="T58" fmla="*/ 1 w 273"/>
                <a:gd name="T59" fmla="*/ 156 h 311"/>
                <a:gd name="T60" fmla="*/ 1 w 273"/>
                <a:gd name="T61" fmla="*/ 166 h 311"/>
                <a:gd name="T62" fmla="*/ 8 w 273"/>
                <a:gd name="T63" fmla="*/ 171 h 311"/>
                <a:gd name="T64" fmla="*/ 21 w 273"/>
                <a:gd name="T65" fmla="*/ 188 h 311"/>
                <a:gd name="T66" fmla="*/ 30 w 273"/>
                <a:gd name="T67" fmla="*/ 195 h 311"/>
                <a:gd name="T68" fmla="*/ 44 w 273"/>
                <a:gd name="T69" fmla="*/ 211 h 311"/>
                <a:gd name="T70" fmla="*/ 42 w 273"/>
                <a:gd name="T71" fmla="*/ 222 h 311"/>
                <a:gd name="T72" fmla="*/ 37 w 273"/>
                <a:gd name="T73" fmla="*/ 233 h 311"/>
                <a:gd name="T74" fmla="*/ 43 w 273"/>
                <a:gd name="T75" fmla="*/ 235 h 311"/>
                <a:gd name="T76" fmla="*/ 52 w 273"/>
                <a:gd name="T77" fmla="*/ 235 h 311"/>
                <a:gd name="T78" fmla="*/ 73 w 273"/>
                <a:gd name="T79" fmla="*/ 259 h 311"/>
                <a:gd name="T80" fmla="*/ 81 w 273"/>
                <a:gd name="T81" fmla="*/ 274 h 311"/>
                <a:gd name="T82" fmla="*/ 91 w 273"/>
                <a:gd name="T83" fmla="*/ 282 h 311"/>
                <a:gd name="T84" fmla="*/ 92 w 273"/>
                <a:gd name="T85" fmla="*/ 294 h 311"/>
                <a:gd name="T86" fmla="*/ 102 w 273"/>
                <a:gd name="T87" fmla="*/ 298 h 311"/>
                <a:gd name="T88" fmla="*/ 114 w 273"/>
                <a:gd name="T89" fmla="*/ 304 h 311"/>
                <a:gd name="T90" fmla="*/ 128 w 273"/>
                <a:gd name="T91" fmla="*/ 297 h 311"/>
                <a:gd name="T92" fmla="*/ 134 w 273"/>
                <a:gd name="T93" fmla="*/ 298 h 311"/>
                <a:gd name="T94" fmla="*/ 144 w 273"/>
                <a:gd name="T95" fmla="*/ 310 h 311"/>
                <a:gd name="T96" fmla="*/ 166 w 273"/>
                <a:gd name="T97" fmla="*/ 311 h 311"/>
                <a:gd name="T98" fmla="*/ 186 w 273"/>
                <a:gd name="T99" fmla="*/ 310 h 311"/>
                <a:gd name="T100" fmla="*/ 197 w 273"/>
                <a:gd name="T101" fmla="*/ 306 h 311"/>
                <a:gd name="T102" fmla="*/ 221 w 273"/>
                <a:gd name="T103" fmla="*/ 298 h 311"/>
                <a:gd name="T104" fmla="*/ 215 w 273"/>
                <a:gd name="T105" fmla="*/ 27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3" h="311">
                  <a:moveTo>
                    <a:pt x="201" y="253"/>
                  </a:moveTo>
                  <a:lnTo>
                    <a:pt x="201" y="253"/>
                  </a:lnTo>
                  <a:lnTo>
                    <a:pt x="186" y="245"/>
                  </a:lnTo>
                  <a:lnTo>
                    <a:pt x="186" y="233"/>
                  </a:lnTo>
                  <a:lnTo>
                    <a:pt x="202" y="233"/>
                  </a:lnTo>
                  <a:lnTo>
                    <a:pt x="202" y="233"/>
                  </a:lnTo>
                  <a:lnTo>
                    <a:pt x="204" y="219"/>
                  </a:lnTo>
                  <a:lnTo>
                    <a:pt x="207" y="207"/>
                  </a:lnTo>
                  <a:lnTo>
                    <a:pt x="208" y="203"/>
                  </a:lnTo>
                  <a:lnTo>
                    <a:pt x="211" y="201"/>
                  </a:lnTo>
                  <a:lnTo>
                    <a:pt x="211" y="201"/>
                  </a:lnTo>
                  <a:lnTo>
                    <a:pt x="214" y="197"/>
                  </a:lnTo>
                  <a:lnTo>
                    <a:pt x="215" y="191"/>
                  </a:lnTo>
                  <a:lnTo>
                    <a:pt x="217" y="187"/>
                  </a:lnTo>
                  <a:lnTo>
                    <a:pt x="220" y="181"/>
                  </a:lnTo>
                  <a:lnTo>
                    <a:pt x="220" y="181"/>
                  </a:lnTo>
                  <a:lnTo>
                    <a:pt x="224" y="177"/>
                  </a:lnTo>
                  <a:lnTo>
                    <a:pt x="228" y="174"/>
                  </a:lnTo>
                  <a:lnTo>
                    <a:pt x="233" y="169"/>
                  </a:lnTo>
                  <a:lnTo>
                    <a:pt x="236" y="165"/>
                  </a:lnTo>
                  <a:lnTo>
                    <a:pt x="236" y="165"/>
                  </a:lnTo>
                  <a:lnTo>
                    <a:pt x="237" y="159"/>
                  </a:lnTo>
                  <a:lnTo>
                    <a:pt x="239" y="152"/>
                  </a:lnTo>
                  <a:lnTo>
                    <a:pt x="239" y="145"/>
                  </a:lnTo>
                  <a:lnTo>
                    <a:pt x="240" y="139"/>
                  </a:lnTo>
                  <a:lnTo>
                    <a:pt x="240" y="139"/>
                  </a:lnTo>
                  <a:lnTo>
                    <a:pt x="241" y="130"/>
                  </a:lnTo>
                  <a:lnTo>
                    <a:pt x="243" y="116"/>
                  </a:lnTo>
                  <a:lnTo>
                    <a:pt x="246" y="103"/>
                  </a:lnTo>
                  <a:lnTo>
                    <a:pt x="247" y="98"/>
                  </a:lnTo>
                  <a:lnTo>
                    <a:pt x="250" y="96"/>
                  </a:lnTo>
                  <a:lnTo>
                    <a:pt x="250" y="96"/>
                  </a:lnTo>
                  <a:lnTo>
                    <a:pt x="256" y="91"/>
                  </a:lnTo>
                  <a:lnTo>
                    <a:pt x="262" y="88"/>
                  </a:lnTo>
                  <a:lnTo>
                    <a:pt x="266" y="85"/>
                  </a:lnTo>
                  <a:lnTo>
                    <a:pt x="270" y="82"/>
                  </a:lnTo>
                  <a:lnTo>
                    <a:pt x="270" y="82"/>
                  </a:lnTo>
                  <a:lnTo>
                    <a:pt x="273" y="78"/>
                  </a:lnTo>
                  <a:lnTo>
                    <a:pt x="273" y="78"/>
                  </a:lnTo>
                  <a:lnTo>
                    <a:pt x="267" y="71"/>
                  </a:lnTo>
                  <a:lnTo>
                    <a:pt x="263" y="67"/>
                  </a:lnTo>
                  <a:lnTo>
                    <a:pt x="263" y="67"/>
                  </a:lnTo>
                  <a:lnTo>
                    <a:pt x="259" y="62"/>
                  </a:lnTo>
                  <a:lnTo>
                    <a:pt x="254" y="55"/>
                  </a:lnTo>
                  <a:lnTo>
                    <a:pt x="250" y="46"/>
                  </a:lnTo>
                  <a:lnTo>
                    <a:pt x="249" y="39"/>
                  </a:lnTo>
                  <a:lnTo>
                    <a:pt x="249" y="39"/>
                  </a:lnTo>
                  <a:lnTo>
                    <a:pt x="246" y="25"/>
                  </a:lnTo>
                  <a:lnTo>
                    <a:pt x="244" y="12"/>
                  </a:lnTo>
                  <a:lnTo>
                    <a:pt x="244" y="12"/>
                  </a:lnTo>
                  <a:lnTo>
                    <a:pt x="244" y="7"/>
                  </a:lnTo>
                  <a:lnTo>
                    <a:pt x="244" y="4"/>
                  </a:lnTo>
                  <a:lnTo>
                    <a:pt x="241" y="3"/>
                  </a:lnTo>
                  <a:lnTo>
                    <a:pt x="237" y="0"/>
                  </a:lnTo>
                  <a:lnTo>
                    <a:pt x="237" y="0"/>
                  </a:lnTo>
                  <a:lnTo>
                    <a:pt x="227" y="4"/>
                  </a:lnTo>
                  <a:lnTo>
                    <a:pt x="227" y="4"/>
                  </a:lnTo>
                  <a:lnTo>
                    <a:pt x="218" y="12"/>
                  </a:lnTo>
                  <a:lnTo>
                    <a:pt x="214" y="17"/>
                  </a:lnTo>
                  <a:lnTo>
                    <a:pt x="211" y="19"/>
                  </a:lnTo>
                  <a:lnTo>
                    <a:pt x="208" y="19"/>
                  </a:lnTo>
                  <a:lnTo>
                    <a:pt x="208" y="19"/>
                  </a:lnTo>
                  <a:lnTo>
                    <a:pt x="201" y="17"/>
                  </a:lnTo>
                  <a:lnTo>
                    <a:pt x="189" y="14"/>
                  </a:lnTo>
                  <a:lnTo>
                    <a:pt x="175" y="12"/>
                  </a:lnTo>
                  <a:lnTo>
                    <a:pt x="160" y="10"/>
                  </a:lnTo>
                  <a:lnTo>
                    <a:pt x="60" y="10"/>
                  </a:lnTo>
                  <a:lnTo>
                    <a:pt x="60" y="45"/>
                  </a:lnTo>
                  <a:lnTo>
                    <a:pt x="40" y="45"/>
                  </a:lnTo>
                  <a:lnTo>
                    <a:pt x="40" y="45"/>
                  </a:lnTo>
                  <a:lnTo>
                    <a:pt x="40" y="74"/>
                  </a:lnTo>
                  <a:lnTo>
                    <a:pt x="40" y="107"/>
                  </a:lnTo>
                  <a:lnTo>
                    <a:pt x="40" y="107"/>
                  </a:lnTo>
                  <a:lnTo>
                    <a:pt x="40" y="109"/>
                  </a:lnTo>
                  <a:lnTo>
                    <a:pt x="39" y="109"/>
                  </a:lnTo>
                  <a:lnTo>
                    <a:pt x="36" y="109"/>
                  </a:lnTo>
                  <a:lnTo>
                    <a:pt x="27" y="104"/>
                  </a:lnTo>
                  <a:lnTo>
                    <a:pt x="27" y="104"/>
                  </a:lnTo>
                  <a:lnTo>
                    <a:pt x="24" y="104"/>
                  </a:lnTo>
                  <a:lnTo>
                    <a:pt x="23" y="106"/>
                  </a:lnTo>
                  <a:lnTo>
                    <a:pt x="21" y="113"/>
                  </a:lnTo>
                  <a:lnTo>
                    <a:pt x="21" y="113"/>
                  </a:lnTo>
                  <a:lnTo>
                    <a:pt x="18" y="117"/>
                  </a:lnTo>
                  <a:lnTo>
                    <a:pt x="15" y="122"/>
                  </a:lnTo>
                  <a:lnTo>
                    <a:pt x="7" y="132"/>
                  </a:lnTo>
                  <a:lnTo>
                    <a:pt x="7" y="132"/>
                  </a:lnTo>
                  <a:lnTo>
                    <a:pt x="4" y="138"/>
                  </a:lnTo>
                  <a:lnTo>
                    <a:pt x="2" y="145"/>
                  </a:lnTo>
                  <a:lnTo>
                    <a:pt x="1" y="156"/>
                  </a:lnTo>
                  <a:lnTo>
                    <a:pt x="1" y="156"/>
                  </a:lnTo>
                  <a:lnTo>
                    <a:pt x="0" y="159"/>
                  </a:lnTo>
                  <a:lnTo>
                    <a:pt x="0" y="164"/>
                  </a:lnTo>
                  <a:lnTo>
                    <a:pt x="1" y="166"/>
                  </a:lnTo>
                  <a:lnTo>
                    <a:pt x="4" y="168"/>
                  </a:lnTo>
                  <a:lnTo>
                    <a:pt x="4" y="168"/>
                  </a:lnTo>
                  <a:lnTo>
                    <a:pt x="8" y="171"/>
                  </a:lnTo>
                  <a:lnTo>
                    <a:pt x="13" y="175"/>
                  </a:lnTo>
                  <a:lnTo>
                    <a:pt x="21" y="188"/>
                  </a:lnTo>
                  <a:lnTo>
                    <a:pt x="21" y="188"/>
                  </a:lnTo>
                  <a:lnTo>
                    <a:pt x="21" y="193"/>
                  </a:lnTo>
                  <a:lnTo>
                    <a:pt x="21" y="193"/>
                  </a:lnTo>
                  <a:lnTo>
                    <a:pt x="30" y="195"/>
                  </a:lnTo>
                  <a:lnTo>
                    <a:pt x="37" y="200"/>
                  </a:lnTo>
                  <a:lnTo>
                    <a:pt x="42" y="206"/>
                  </a:lnTo>
                  <a:lnTo>
                    <a:pt x="44" y="211"/>
                  </a:lnTo>
                  <a:lnTo>
                    <a:pt x="44" y="211"/>
                  </a:lnTo>
                  <a:lnTo>
                    <a:pt x="43" y="217"/>
                  </a:lnTo>
                  <a:lnTo>
                    <a:pt x="42" y="222"/>
                  </a:lnTo>
                  <a:lnTo>
                    <a:pt x="39" y="227"/>
                  </a:lnTo>
                  <a:lnTo>
                    <a:pt x="37" y="233"/>
                  </a:lnTo>
                  <a:lnTo>
                    <a:pt x="37" y="233"/>
                  </a:lnTo>
                  <a:lnTo>
                    <a:pt x="39" y="236"/>
                  </a:lnTo>
                  <a:lnTo>
                    <a:pt x="40" y="236"/>
                  </a:lnTo>
                  <a:lnTo>
                    <a:pt x="43" y="235"/>
                  </a:lnTo>
                  <a:lnTo>
                    <a:pt x="49" y="233"/>
                  </a:lnTo>
                  <a:lnTo>
                    <a:pt x="49" y="233"/>
                  </a:lnTo>
                  <a:lnTo>
                    <a:pt x="52" y="235"/>
                  </a:lnTo>
                  <a:lnTo>
                    <a:pt x="56" y="237"/>
                  </a:lnTo>
                  <a:lnTo>
                    <a:pt x="65" y="248"/>
                  </a:lnTo>
                  <a:lnTo>
                    <a:pt x="73" y="259"/>
                  </a:lnTo>
                  <a:lnTo>
                    <a:pt x="78" y="268"/>
                  </a:lnTo>
                  <a:lnTo>
                    <a:pt x="78" y="268"/>
                  </a:lnTo>
                  <a:lnTo>
                    <a:pt x="81" y="274"/>
                  </a:lnTo>
                  <a:lnTo>
                    <a:pt x="84" y="275"/>
                  </a:lnTo>
                  <a:lnTo>
                    <a:pt x="88" y="278"/>
                  </a:lnTo>
                  <a:lnTo>
                    <a:pt x="91" y="282"/>
                  </a:lnTo>
                  <a:lnTo>
                    <a:pt x="91" y="282"/>
                  </a:lnTo>
                  <a:lnTo>
                    <a:pt x="92" y="287"/>
                  </a:lnTo>
                  <a:lnTo>
                    <a:pt x="92" y="294"/>
                  </a:lnTo>
                  <a:lnTo>
                    <a:pt x="92" y="294"/>
                  </a:lnTo>
                  <a:lnTo>
                    <a:pt x="102" y="298"/>
                  </a:lnTo>
                  <a:lnTo>
                    <a:pt x="102" y="298"/>
                  </a:lnTo>
                  <a:lnTo>
                    <a:pt x="108" y="304"/>
                  </a:lnTo>
                  <a:lnTo>
                    <a:pt x="111" y="304"/>
                  </a:lnTo>
                  <a:lnTo>
                    <a:pt x="114" y="304"/>
                  </a:lnTo>
                  <a:lnTo>
                    <a:pt x="114" y="304"/>
                  </a:lnTo>
                  <a:lnTo>
                    <a:pt x="123" y="298"/>
                  </a:lnTo>
                  <a:lnTo>
                    <a:pt x="128" y="297"/>
                  </a:lnTo>
                  <a:lnTo>
                    <a:pt x="131" y="297"/>
                  </a:lnTo>
                  <a:lnTo>
                    <a:pt x="134" y="298"/>
                  </a:lnTo>
                  <a:lnTo>
                    <a:pt x="134" y="298"/>
                  </a:lnTo>
                  <a:lnTo>
                    <a:pt x="139" y="303"/>
                  </a:lnTo>
                  <a:lnTo>
                    <a:pt x="141" y="307"/>
                  </a:lnTo>
                  <a:lnTo>
                    <a:pt x="144" y="310"/>
                  </a:lnTo>
                  <a:lnTo>
                    <a:pt x="150" y="310"/>
                  </a:lnTo>
                  <a:lnTo>
                    <a:pt x="150" y="310"/>
                  </a:lnTo>
                  <a:lnTo>
                    <a:pt x="166" y="311"/>
                  </a:lnTo>
                  <a:lnTo>
                    <a:pt x="166" y="311"/>
                  </a:lnTo>
                  <a:lnTo>
                    <a:pt x="181" y="311"/>
                  </a:lnTo>
                  <a:lnTo>
                    <a:pt x="186" y="310"/>
                  </a:lnTo>
                  <a:lnTo>
                    <a:pt x="189" y="308"/>
                  </a:lnTo>
                  <a:lnTo>
                    <a:pt x="189" y="308"/>
                  </a:lnTo>
                  <a:lnTo>
                    <a:pt x="197" y="306"/>
                  </a:lnTo>
                  <a:lnTo>
                    <a:pt x="205" y="303"/>
                  </a:lnTo>
                  <a:lnTo>
                    <a:pt x="221" y="298"/>
                  </a:lnTo>
                  <a:lnTo>
                    <a:pt x="221" y="298"/>
                  </a:lnTo>
                  <a:lnTo>
                    <a:pt x="230" y="297"/>
                  </a:lnTo>
                  <a:lnTo>
                    <a:pt x="230" y="297"/>
                  </a:lnTo>
                  <a:lnTo>
                    <a:pt x="215" y="272"/>
                  </a:lnTo>
                  <a:lnTo>
                    <a:pt x="207" y="261"/>
                  </a:lnTo>
                  <a:lnTo>
                    <a:pt x="201" y="253"/>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92" name="Freeform 147"/>
            <p:cNvSpPr>
              <a:spLocks/>
            </p:cNvSpPr>
            <p:nvPr/>
          </p:nvSpPr>
          <p:spPr bwMode="auto">
            <a:xfrm>
              <a:off x="4870450" y="4178729"/>
              <a:ext cx="433388" cy="493713"/>
            </a:xfrm>
            <a:custGeom>
              <a:avLst/>
              <a:gdLst>
                <a:gd name="T0" fmla="*/ 186 w 273"/>
                <a:gd name="T1" fmla="*/ 245 h 311"/>
                <a:gd name="T2" fmla="*/ 202 w 273"/>
                <a:gd name="T3" fmla="*/ 233 h 311"/>
                <a:gd name="T4" fmla="*/ 208 w 273"/>
                <a:gd name="T5" fmla="*/ 203 h 311"/>
                <a:gd name="T6" fmla="*/ 214 w 273"/>
                <a:gd name="T7" fmla="*/ 197 h 311"/>
                <a:gd name="T8" fmla="*/ 220 w 273"/>
                <a:gd name="T9" fmla="*/ 181 h 311"/>
                <a:gd name="T10" fmla="*/ 228 w 273"/>
                <a:gd name="T11" fmla="*/ 174 h 311"/>
                <a:gd name="T12" fmla="*/ 236 w 273"/>
                <a:gd name="T13" fmla="*/ 165 h 311"/>
                <a:gd name="T14" fmla="*/ 239 w 273"/>
                <a:gd name="T15" fmla="*/ 145 h 311"/>
                <a:gd name="T16" fmla="*/ 241 w 273"/>
                <a:gd name="T17" fmla="*/ 130 h 311"/>
                <a:gd name="T18" fmla="*/ 247 w 273"/>
                <a:gd name="T19" fmla="*/ 98 h 311"/>
                <a:gd name="T20" fmla="*/ 256 w 273"/>
                <a:gd name="T21" fmla="*/ 91 h 311"/>
                <a:gd name="T22" fmla="*/ 270 w 273"/>
                <a:gd name="T23" fmla="*/ 82 h 311"/>
                <a:gd name="T24" fmla="*/ 273 w 273"/>
                <a:gd name="T25" fmla="*/ 78 h 311"/>
                <a:gd name="T26" fmla="*/ 263 w 273"/>
                <a:gd name="T27" fmla="*/ 67 h 311"/>
                <a:gd name="T28" fmla="*/ 250 w 273"/>
                <a:gd name="T29" fmla="*/ 46 h 311"/>
                <a:gd name="T30" fmla="*/ 246 w 273"/>
                <a:gd name="T31" fmla="*/ 25 h 311"/>
                <a:gd name="T32" fmla="*/ 244 w 273"/>
                <a:gd name="T33" fmla="*/ 7 h 311"/>
                <a:gd name="T34" fmla="*/ 237 w 273"/>
                <a:gd name="T35" fmla="*/ 0 h 311"/>
                <a:gd name="T36" fmla="*/ 227 w 273"/>
                <a:gd name="T37" fmla="*/ 4 h 311"/>
                <a:gd name="T38" fmla="*/ 211 w 273"/>
                <a:gd name="T39" fmla="*/ 19 h 311"/>
                <a:gd name="T40" fmla="*/ 201 w 273"/>
                <a:gd name="T41" fmla="*/ 17 h 311"/>
                <a:gd name="T42" fmla="*/ 160 w 273"/>
                <a:gd name="T43" fmla="*/ 10 h 311"/>
                <a:gd name="T44" fmla="*/ 40 w 273"/>
                <a:gd name="T45" fmla="*/ 45 h 311"/>
                <a:gd name="T46" fmla="*/ 40 w 273"/>
                <a:gd name="T47" fmla="*/ 107 h 311"/>
                <a:gd name="T48" fmla="*/ 39 w 273"/>
                <a:gd name="T49" fmla="*/ 109 h 311"/>
                <a:gd name="T50" fmla="*/ 27 w 273"/>
                <a:gd name="T51" fmla="*/ 104 h 311"/>
                <a:gd name="T52" fmla="*/ 21 w 273"/>
                <a:gd name="T53" fmla="*/ 113 h 311"/>
                <a:gd name="T54" fmla="*/ 15 w 273"/>
                <a:gd name="T55" fmla="*/ 122 h 311"/>
                <a:gd name="T56" fmla="*/ 4 w 273"/>
                <a:gd name="T57" fmla="*/ 138 h 311"/>
                <a:gd name="T58" fmla="*/ 1 w 273"/>
                <a:gd name="T59" fmla="*/ 156 h 311"/>
                <a:gd name="T60" fmla="*/ 1 w 273"/>
                <a:gd name="T61" fmla="*/ 166 h 311"/>
                <a:gd name="T62" fmla="*/ 8 w 273"/>
                <a:gd name="T63" fmla="*/ 171 h 311"/>
                <a:gd name="T64" fmla="*/ 21 w 273"/>
                <a:gd name="T65" fmla="*/ 188 h 311"/>
                <a:gd name="T66" fmla="*/ 30 w 273"/>
                <a:gd name="T67" fmla="*/ 195 h 311"/>
                <a:gd name="T68" fmla="*/ 44 w 273"/>
                <a:gd name="T69" fmla="*/ 211 h 311"/>
                <a:gd name="T70" fmla="*/ 42 w 273"/>
                <a:gd name="T71" fmla="*/ 222 h 311"/>
                <a:gd name="T72" fmla="*/ 37 w 273"/>
                <a:gd name="T73" fmla="*/ 233 h 311"/>
                <a:gd name="T74" fmla="*/ 43 w 273"/>
                <a:gd name="T75" fmla="*/ 235 h 311"/>
                <a:gd name="T76" fmla="*/ 52 w 273"/>
                <a:gd name="T77" fmla="*/ 235 h 311"/>
                <a:gd name="T78" fmla="*/ 73 w 273"/>
                <a:gd name="T79" fmla="*/ 259 h 311"/>
                <a:gd name="T80" fmla="*/ 81 w 273"/>
                <a:gd name="T81" fmla="*/ 274 h 311"/>
                <a:gd name="T82" fmla="*/ 91 w 273"/>
                <a:gd name="T83" fmla="*/ 282 h 311"/>
                <a:gd name="T84" fmla="*/ 92 w 273"/>
                <a:gd name="T85" fmla="*/ 294 h 311"/>
                <a:gd name="T86" fmla="*/ 102 w 273"/>
                <a:gd name="T87" fmla="*/ 298 h 311"/>
                <a:gd name="T88" fmla="*/ 114 w 273"/>
                <a:gd name="T89" fmla="*/ 304 h 311"/>
                <a:gd name="T90" fmla="*/ 128 w 273"/>
                <a:gd name="T91" fmla="*/ 297 h 311"/>
                <a:gd name="T92" fmla="*/ 134 w 273"/>
                <a:gd name="T93" fmla="*/ 298 h 311"/>
                <a:gd name="T94" fmla="*/ 144 w 273"/>
                <a:gd name="T95" fmla="*/ 310 h 311"/>
                <a:gd name="T96" fmla="*/ 166 w 273"/>
                <a:gd name="T97" fmla="*/ 311 h 311"/>
                <a:gd name="T98" fmla="*/ 186 w 273"/>
                <a:gd name="T99" fmla="*/ 310 h 311"/>
                <a:gd name="T100" fmla="*/ 197 w 273"/>
                <a:gd name="T101" fmla="*/ 306 h 311"/>
                <a:gd name="T102" fmla="*/ 221 w 273"/>
                <a:gd name="T103" fmla="*/ 298 h 311"/>
                <a:gd name="T104" fmla="*/ 215 w 273"/>
                <a:gd name="T105" fmla="*/ 27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3" h="311">
                  <a:moveTo>
                    <a:pt x="201" y="253"/>
                  </a:moveTo>
                  <a:lnTo>
                    <a:pt x="201" y="253"/>
                  </a:lnTo>
                  <a:lnTo>
                    <a:pt x="186" y="245"/>
                  </a:lnTo>
                  <a:lnTo>
                    <a:pt x="186" y="233"/>
                  </a:lnTo>
                  <a:lnTo>
                    <a:pt x="202" y="233"/>
                  </a:lnTo>
                  <a:lnTo>
                    <a:pt x="202" y="233"/>
                  </a:lnTo>
                  <a:lnTo>
                    <a:pt x="204" y="219"/>
                  </a:lnTo>
                  <a:lnTo>
                    <a:pt x="207" y="207"/>
                  </a:lnTo>
                  <a:lnTo>
                    <a:pt x="208" y="203"/>
                  </a:lnTo>
                  <a:lnTo>
                    <a:pt x="211" y="201"/>
                  </a:lnTo>
                  <a:lnTo>
                    <a:pt x="211" y="201"/>
                  </a:lnTo>
                  <a:lnTo>
                    <a:pt x="214" y="197"/>
                  </a:lnTo>
                  <a:lnTo>
                    <a:pt x="215" y="191"/>
                  </a:lnTo>
                  <a:lnTo>
                    <a:pt x="217" y="187"/>
                  </a:lnTo>
                  <a:lnTo>
                    <a:pt x="220" y="181"/>
                  </a:lnTo>
                  <a:lnTo>
                    <a:pt x="220" y="181"/>
                  </a:lnTo>
                  <a:lnTo>
                    <a:pt x="224" y="177"/>
                  </a:lnTo>
                  <a:lnTo>
                    <a:pt x="228" y="174"/>
                  </a:lnTo>
                  <a:lnTo>
                    <a:pt x="233" y="169"/>
                  </a:lnTo>
                  <a:lnTo>
                    <a:pt x="236" y="165"/>
                  </a:lnTo>
                  <a:lnTo>
                    <a:pt x="236" y="165"/>
                  </a:lnTo>
                  <a:lnTo>
                    <a:pt x="237" y="159"/>
                  </a:lnTo>
                  <a:lnTo>
                    <a:pt x="239" y="152"/>
                  </a:lnTo>
                  <a:lnTo>
                    <a:pt x="239" y="145"/>
                  </a:lnTo>
                  <a:lnTo>
                    <a:pt x="240" y="139"/>
                  </a:lnTo>
                  <a:lnTo>
                    <a:pt x="240" y="139"/>
                  </a:lnTo>
                  <a:lnTo>
                    <a:pt x="241" y="130"/>
                  </a:lnTo>
                  <a:lnTo>
                    <a:pt x="243" y="116"/>
                  </a:lnTo>
                  <a:lnTo>
                    <a:pt x="246" y="103"/>
                  </a:lnTo>
                  <a:lnTo>
                    <a:pt x="247" y="98"/>
                  </a:lnTo>
                  <a:lnTo>
                    <a:pt x="250" y="96"/>
                  </a:lnTo>
                  <a:lnTo>
                    <a:pt x="250" y="96"/>
                  </a:lnTo>
                  <a:lnTo>
                    <a:pt x="256" y="91"/>
                  </a:lnTo>
                  <a:lnTo>
                    <a:pt x="262" y="88"/>
                  </a:lnTo>
                  <a:lnTo>
                    <a:pt x="266" y="85"/>
                  </a:lnTo>
                  <a:lnTo>
                    <a:pt x="270" y="82"/>
                  </a:lnTo>
                  <a:lnTo>
                    <a:pt x="270" y="82"/>
                  </a:lnTo>
                  <a:lnTo>
                    <a:pt x="273" y="78"/>
                  </a:lnTo>
                  <a:lnTo>
                    <a:pt x="273" y="78"/>
                  </a:lnTo>
                  <a:lnTo>
                    <a:pt x="267" y="71"/>
                  </a:lnTo>
                  <a:lnTo>
                    <a:pt x="263" y="67"/>
                  </a:lnTo>
                  <a:lnTo>
                    <a:pt x="263" y="67"/>
                  </a:lnTo>
                  <a:lnTo>
                    <a:pt x="259" y="62"/>
                  </a:lnTo>
                  <a:lnTo>
                    <a:pt x="254" y="55"/>
                  </a:lnTo>
                  <a:lnTo>
                    <a:pt x="250" y="46"/>
                  </a:lnTo>
                  <a:lnTo>
                    <a:pt x="249" y="39"/>
                  </a:lnTo>
                  <a:lnTo>
                    <a:pt x="249" y="39"/>
                  </a:lnTo>
                  <a:lnTo>
                    <a:pt x="246" y="25"/>
                  </a:lnTo>
                  <a:lnTo>
                    <a:pt x="244" y="12"/>
                  </a:lnTo>
                  <a:lnTo>
                    <a:pt x="244" y="12"/>
                  </a:lnTo>
                  <a:lnTo>
                    <a:pt x="244" y="7"/>
                  </a:lnTo>
                  <a:lnTo>
                    <a:pt x="244" y="4"/>
                  </a:lnTo>
                  <a:lnTo>
                    <a:pt x="241" y="3"/>
                  </a:lnTo>
                  <a:lnTo>
                    <a:pt x="237" y="0"/>
                  </a:lnTo>
                  <a:lnTo>
                    <a:pt x="237" y="0"/>
                  </a:lnTo>
                  <a:lnTo>
                    <a:pt x="227" y="4"/>
                  </a:lnTo>
                  <a:lnTo>
                    <a:pt x="227" y="4"/>
                  </a:lnTo>
                  <a:lnTo>
                    <a:pt x="218" y="12"/>
                  </a:lnTo>
                  <a:lnTo>
                    <a:pt x="214" y="17"/>
                  </a:lnTo>
                  <a:lnTo>
                    <a:pt x="211" y="19"/>
                  </a:lnTo>
                  <a:lnTo>
                    <a:pt x="208" y="19"/>
                  </a:lnTo>
                  <a:lnTo>
                    <a:pt x="208" y="19"/>
                  </a:lnTo>
                  <a:lnTo>
                    <a:pt x="201" y="17"/>
                  </a:lnTo>
                  <a:lnTo>
                    <a:pt x="189" y="14"/>
                  </a:lnTo>
                  <a:lnTo>
                    <a:pt x="175" y="12"/>
                  </a:lnTo>
                  <a:lnTo>
                    <a:pt x="160" y="10"/>
                  </a:lnTo>
                  <a:lnTo>
                    <a:pt x="60" y="10"/>
                  </a:lnTo>
                  <a:lnTo>
                    <a:pt x="60" y="45"/>
                  </a:lnTo>
                  <a:lnTo>
                    <a:pt x="40" y="45"/>
                  </a:lnTo>
                  <a:lnTo>
                    <a:pt x="40" y="45"/>
                  </a:lnTo>
                  <a:lnTo>
                    <a:pt x="40" y="74"/>
                  </a:lnTo>
                  <a:lnTo>
                    <a:pt x="40" y="107"/>
                  </a:lnTo>
                  <a:lnTo>
                    <a:pt x="40" y="107"/>
                  </a:lnTo>
                  <a:lnTo>
                    <a:pt x="40" y="109"/>
                  </a:lnTo>
                  <a:lnTo>
                    <a:pt x="39" y="109"/>
                  </a:lnTo>
                  <a:lnTo>
                    <a:pt x="36" y="109"/>
                  </a:lnTo>
                  <a:lnTo>
                    <a:pt x="27" y="104"/>
                  </a:lnTo>
                  <a:lnTo>
                    <a:pt x="27" y="104"/>
                  </a:lnTo>
                  <a:lnTo>
                    <a:pt x="24" y="104"/>
                  </a:lnTo>
                  <a:lnTo>
                    <a:pt x="23" y="106"/>
                  </a:lnTo>
                  <a:lnTo>
                    <a:pt x="21" y="113"/>
                  </a:lnTo>
                  <a:lnTo>
                    <a:pt x="21" y="113"/>
                  </a:lnTo>
                  <a:lnTo>
                    <a:pt x="18" y="117"/>
                  </a:lnTo>
                  <a:lnTo>
                    <a:pt x="15" y="122"/>
                  </a:lnTo>
                  <a:lnTo>
                    <a:pt x="7" y="132"/>
                  </a:lnTo>
                  <a:lnTo>
                    <a:pt x="7" y="132"/>
                  </a:lnTo>
                  <a:lnTo>
                    <a:pt x="4" y="138"/>
                  </a:lnTo>
                  <a:lnTo>
                    <a:pt x="2" y="145"/>
                  </a:lnTo>
                  <a:lnTo>
                    <a:pt x="1" y="156"/>
                  </a:lnTo>
                  <a:lnTo>
                    <a:pt x="1" y="156"/>
                  </a:lnTo>
                  <a:lnTo>
                    <a:pt x="0" y="159"/>
                  </a:lnTo>
                  <a:lnTo>
                    <a:pt x="0" y="164"/>
                  </a:lnTo>
                  <a:lnTo>
                    <a:pt x="1" y="166"/>
                  </a:lnTo>
                  <a:lnTo>
                    <a:pt x="4" y="168"/>
                  </a:lnTo>
                  <a:lnTo>
                    <a:pt x="4" y="168"/>
                  </a:lnTo>
                  <a:lnTo>
                    <a:pt x="8" y="171"/>
                  </a:lnTo>
                  <a:lnTo>
                    <a:pt x="13" y="175"/>
                  </a:lnTo>
                  <a:lnTo>
                    <a:pt x="21" y="188"/>
                  </a:lnTo>
                  <a:lnTo>
                    <a:pt x="21" y="188"/>
                  </a:lnTo>
                  <a:lnTo>
                    <a:pt x="21" y="193"/>
                  </a:lnTo>
                  <a:lnTo>
                    <a:pt x="21" y="193"/>
                  </a:lnTo>
                  <a:lnTo>
                    <a:pt x="30" y="195"/>
                  </a:lnTo>
                  <a:lnTo>
                    <a:pt x="37" y="200"/>
                  </a:lnTo>
                  <a:lnTo>
                    <a:pt x="42" y="206"/>
                  </a:lnTo>
                  <a:lnTo>
                    <a:pt x="44" y="211"/>
                  </a:lnTo>
                  <a:lnTo>
                    <a:pt x="44" y="211"/>
                  </a:lnTo>
                  <a:lnTo>
                    <a:pt x="43" y="217"/>
                  </a:lnTo>
                  <a:lnTo>
                    <a:pt x="42" y="222"/>
                  </a:lnTo>
                  <a:lnTo>
                    <a:pt x="39" y="227"/>
                  </a:lnTo>
                  <a:lnTo>
                    <a:pt x="37" y="233"/>
                  </a:lnTo>
                  <a:lnTo>
                    <a:pt x="37" y="233"/>
                  </a:lnTo>
                  <a:lnTo>
                    <a:pt x="39" y="236"/>
                  </a:lnTo>
                  <a:lnTo>
                    <a:pt x="40" y="236"/>
                  </a:lnTo>
                  <a:lnTo>
                    <a:pt x="43" y="235"/>
                  </a:lnTo>
                  <a:lnTo>
                    <a:pt x="49" y="233"/>
                  </a:lnTo>
                  <a:lnTo>
                    <a:pt x="49" y="233"/>
                  </a:lnTo>
                  <a:lnTo>
                    <a:pt x="52" y="235"/>
                  </a:lnTo>
                  <a:lnTo>
                    <a:pt x="56" y="237"/>
                  </a:lnTo>
                  <a:lnTo>
                    <a:pt x="65" y="248"/>
                  </a:lnTo>
                  <a:lnTo>
                    <a:pt x="73" y="259"/>
                  </a:lnTo>
                  <a:lnTo>
                    <a:pt x="78" y="268"/>
                  </a:lnTo>
                  <a:lnTo>
                    <a:pt x="78" y="268"/>
                  </a:lnTo>
                  <a:lnTo>
                    <a:pt x="81" y="274"/>
                  </a:lnTo>
                  <a:lnTo>
                    <a:pt x="84" y="275"/>
                  </a:lnTo>
                  <a:lnTo>
                    <a:pt x="88" y="278"/>
                  </a:lnTo>
                  <a:lnTo>
                    <a:pt x="91" y="282"/>
                  </a:lnTo>
                  <a:lnTo>
                    <a:pt x="91" y="282"/>
                  </a:lnTo>
                  <a:lnTo>
                    <a:pt x="92" y="287"/>
                  </a:lnTo>
                  <a:lnTo>
                    <a:pt x="92" y="294"/>
                  </a:lnTo>
                  <a:lnTo>
                    <a:pt x="92" y="294"/>
                  </a:lnTo>
                  <a:lnTo>
                    <a:pt x="102" y="298"/>
                  </a:lnTo>
                  <a:lnTo>
                    <a:pt x="102" y="298"/>
                  </a:lnTo>
                  <a:lnTo>
                    <a:pt x="108" y="304"/>
                  </a:lnTo>
                  <a:lnTo>
                    <a:pt x="111" y="304"/>
                  </a:lnTo>
                  <a:lnTo>
                    <a:pt x="114" y="304"/>
                  </a:lnTo>
                  <a:lnTo>
                    <a:pt x="114" y="304"/>
                  </a:lnTo>
                  <a:lnTo>
                    <a:pt x="123" y="298"/>
                  </a:lnTo>
                  <a:lnTo>
                    <a:pt x="128" y="297"/>
                  </a:lnTo>
                  <a:lnTo>
                    <a:pt x="131" y="297"/>
                  </a:lnTo>
                  <a:lnTo>
                    <a:pt x="134" y="298"/>
                  </a:lnTo>
                  <a:lnTo>
                    <a:pt x="134" y="298"/>
                  </a:lnTo>
                  <a:lnTo>
                    <a:pt x="139" y="303"/>
                  </a:lnTo>
                  <a:lnTo>
                    <a:pt x="141" y="307"/>
                  </a:lnTo>
                  <a:lnTo>
                    <a:pt x="144" y="310"/>
                  </a:lnTo>
                  <a:lnTo>
                    <a:pt x="150" y="310"/>
                  </a:lnTo>
                  <a:lnTo>
                    <a:pt x="150" y="310"/>
                  </a:lnTo>
                  <a:lnTo>
                    <a:pt x="166" y="311"/>
                  </a:lnTo>
                  <a:lnTo>
                    <a:pt x="166" y="311"/>
                  </a:lnTo>
                  <a:lnTo>
                    <a:pt x="181" y="311"/>
                  </a:lnTo>
                  <a:lnTo>
                    <a:pt x="186" y="310"/>
                  </a:lnTo>
                  <a:lnTo>
                    <a:pt x="189" y="308"/>
                  </a:lnTo>
                  <a:lnTo>
                    <a:pt x="189" y="308"/>
                  </a:lnTo>
                  <a:lnTo>
                    <a:pt x="197" y="306"/>
                  </a:lnTo>
                  <a:lnTo>
                    <a:pt x="205" y="303"/>
                  </a:lnTo>
                  <a:lnTo>
                    <a:pt x="221" y="298"/>
                  </a:lnTo>
                  <a:lnTo>
                    <a:pt x="221" y="298"/>
                  </a:lnTo>
                  <a:lnTo>
                    <a:pt x="230" y="297"/>
                  </a:lnTo>
                  <a:lnTo>
                    <a:pt x="230" y="297"/>
                  </a:lnTo>
                  <a:lnTo>
                    <a:pt x="215" y="272"/>
                  </a:lnTo>
                  <a:lnTo>
                    <a:pt x="207" y="261"/>
                  </a:lnTo>
                  <a:lnTo>
                    <a:pt x="201" y="2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93" name="Freeform 148"/>
            <p:cNvSpPr>
              <a:spLocks/>
            </p:cNvSpPr>
            <p:nvPr/>
          </p:nvSpPr>
          <p:spPr bwMode="auto">
            <a:xfrm>
              <a:off x="4683125" y="4485116"/>
              <a:ext cx="333375" cy="211138"/>
            </a:xfrm>
            <a:custGeom>
              <a:avLst/>
              <a:gdLst>
                <a:gd name="T0" fmla="*/ 6 w 210"/>
                <a:gd name="T1" fmla="*/ 114 h 133"/>
                <a:gd name="T2" fmla="*/ 0 w 210"/>
                <a:gd name="T3" fmla="*/ 95 h 133"/>
                <a:gd name="T4" fmla="*/ 10 w 210"/>
                <a:gd name="T5" fmla="*/ 76 h 133"/>
                <a:gd name="T6" fmla="*/ 16 w 210"/>
                <a:gd name="T7" fmla="*/ 69 h 133"/>
                <a:gd name="T8" fmla="*/ 29 w 210"/>
                <a:gd name="T9" fmla="*/ 62 h 133"/>
                <a:gd name="T10" fmla="*/ 47 w 210"/>
                <a:gd name="T11" fmla="*/ 55 h 133"/>
                <a:gd name="T12" fmla="*/ 64 w 210"/>
                <a:gd name="T13" fmla="*/ 46 h 133"/>
                <a:gd name="T14" fmla="*/ 77 w 210"/>
                <a:gd name="T15" fmla="*/ 42 h 133"/>
                <a:gd name="T16" fmla="*/ 78 w 210"/>
                <a:gd name="T17" fmla="*/ 34 h 133"/>
                <a:gd name="T18" fmla="*/ 93 w 210"/>
                <a:gd name="T19" fmla="*/ 30 h 133"/>
                <a:gd name="T20" fmla="*/ 113 w 210"/>
                <a:gd name="T21" fmla="*/ 24 h 133"/>
                <a:gd name="T22" fmla="*/ 128 w 210"/>
                <a:gd name="T23" fmla="*/ 14 h 133"/>
                <a:gd name="T24" fmla="*/ 139 w 210"/>
                <a:gd name="T25" fmla="*/ 0 h 133"/>
                <a:gd name="T26" fmla="*/ 155 w 210"/>
                <a:gd name="T27" fmla="*/ 7 h 133"/>
                <a:gd name="T28" fmla="*/ 162 w 210"/>
                <a:gd name="T29" fmla="*/ 18 h 133"/>
                <a:gd name="T30" fmla="*/ 161 w 210"/>
                <a:gd name="T31" fmla="*/ 24 h 133"/>
                <a:gd name="T32" fmla="*/ 155 w 210"/>
                <a:gd name="T33" fmla="*/ 39 h 133"/>
                <a:gd name="T34" fmla="*/ 155 w 210"/>
                <a:gd name="T35" fmla="*/ 40 h 133"/>
                <a:gd name="T36" fmla="*/ 157 w 210"/>
                <a:gd name="T37" fmla="*/ 44 h 133"/>
                <a:gd name="T38" fmla="*/ 162 w 210"/>
                <a:gd name="T39" fmla="*/ 42 h 133"/>
                <a:gd name="T40" fmla="*/ 170 w 210"/>
                <a:gd name="T41" fmla="*/ 42 h 133"/>
                <a:gd name="T42" fmla="*/ 191 w 210"/>
                <a:gd name="T43" fmla="*/ 66 h 133"/>
                <a:gd name="T44" fmla="*/ 199 w 210"/>
                <a:gd name="T45" fmla="*/ 81 h 133"/>
                <a:gd name="T46" fmla="*/ 209 w 210"/>
                <a:gd name="T47" fmla="*/ 89 h 133"/>
                <a:gd name="T48" fmla="*/ 210 w 210"/>
                <a:gd name="T49" fmla="*/ 100 h 133"/>
                <a:gd name="T50" fmla="*/ 199 w 210"/>
                <a:gd name="T51" fmla="*/ 97 h 133"/>
                <a:gd name="T52" fmla="*/ 190 w 210"/>
                <a:gd name="T53" fmla="*/ 95 h 133"/>
                <a:gd name="T54" fmla="*/ 190 w 210"/>
                <a:gd name="T55" fmla="*/ 95 h 133"/>
                <a:gd name="T56" fmla="*/ 190 w 210"/>
                <a:gd name="T57" fmla="*/ 95 h 133"/>
                <a:gd name="T58" fmla="*/ 190 w 210"/>
                <a:gd name="T59" fmla="*/ 95 h 133"/>
                <a:gd name="T60" fmla="*/ 183 w 210"/>
                <a:gd name="T61" fmla="*/ 100 h 133"/>
                <a:gd name="T62" fmla="*/ 175 w 210"/>
                <a:gd name="T63" fmla="*/ 102 h 133"/>
                <a:gd name="T64" fmla="*/ 173 w 210"/>
                <a:gd name="T65" fmla="*/ 104 h 133"/>
                <a:gd name="T66" fmla="*/ 167 w 210"/>
                <a:gd name="T67" fmla="*/ 102 h 133"/>
                <a:gd name="T68" fmla="*/ 152 w 210"/>
                <a:gd name="T69" fmla="*/ 101 h 133"/>
                <a:gd name="T70" fmla="*/ 145 w 210"/>
                <a:gd name="T71" fmla="*/ 105 h 133"/>
                <a:gd name="T72" fmla="*/ 138 w 210"/>
                <a:gd name="T73" fmla="*/ 110 h 133"/>
                <a:gd name="T74" fmla="*/ 119 w 210"/>
                <a:gd name="T75" fmla="*/ 114 h 133"/>
                <a:gd name="T76" fmla="*/ 90 w 210"/>
                <a:gd name="T77" fmla="*/ 107 h 133"/>
                <a:gd name="T78" fmla="*/ 83 w 210"/>
                <a:gd name="T79" fmla="*/ 104 h 133"/>
                <a:gd name="T80" fmla="*/ 83 w 210"/>
                <a:gd name="T81" fmla="*/ 104 h 133"/>
                <a:gd name="T82" fmla="*/ 78 w 210"/>
                <a:gd name="T83" fmla="*/ 104 h 133"/>
                <a:gd name="T84" fmla="*/ 78 w 210"/>
                <a:gd name="T85" fmla="*/ 104 h 133"/>
                <a:gd name="T86" fmla="*/ 71 w 210"/>
                <a:gd name="T87" fmla="*/ 120 h 133"/>
                <a:gd name="T88" fmla="*/ 54 w 210"/>
                <a:gd name="T89" fmla="*/ 124 h 133"/>
                <a:gd name="T90" fmla="*/ 19 w 210"/>
                <a:gd name="T91"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0" h="133">
                  <a:moveTo>
                    <a:pt x="19" y="133"/>
                  </a:moveTo>
                  <a:lnTo>
                    <a:pt x="19" y="133"/>
                  </a:lnTo>
                  <a:lnTo>
                    <a:pt x="6" y="114"/>
                  </a:lnTo>
                  <a:lnTo>
                    <a:pt x="2" y="104"/>
                  </a:lnTo>
                  <a:lnTo>
                    <a:pt x="0" y="95"/>
                  </a:lnTo>
                  <a:lnTo>
                    <a:pt x="0" y="95"/>
                  </a:lnTo>
                  <a:lnTo>
                    <a:pt x="2" y="89"/>
                  </a:lnTo>
                  <a:lnTo>
                    <a:pt x="6" y="82"/>
                  </a:lnTo>
                  <a:lnTo>
                    <a:pt x="10" y="76"/>
                  </a:lnTo>
                  <a:lnTo>
                    <a:pt x="16" y="69"/>
                  </a:lnTo>
                  <a:lnTo>
                    <a:pt x="16" y="69"/>
                  </a:lnTo>
                  <a:lnTo>
                    <a:pt x="16" y="69"/>
                  </a:lnTo>
                  <a:lnTo>
                    <a:pt x="16" y="69"/>
                  </a:lnTo>
                  <a:lnTo>
                    <a:pt x="23" y="65"/>
                  </a:lnTo>
                  <a:lnTo>
                    <a:pt x="29" y="62"/>
                  </a:lnTo>
                  <a:lnTo>
                    <a:pt x="29" y="62"/>
                  </a:lnTo>
                  <a:lnTo>
                    <a:pt x="38" y="59"/>
                  </a:lnTo>
                  <a:lnTo>
                    <a:pt x="47" y="55"/>
                  </a:lnTo>
                  <a:lnTo>
                    <a:pt x="58" y="47"/>
                  </a:lnTo>
                  <a:lnTo>
                    <a:pt x="58" y="47"/>
                  </a:lnTo>
                  <a:lnTo>
                    <a:pt x="64" y="46"/>
                  </a:lnTo>
                  <a:lnTo>
                    <a:pt x="70" y="44"/>
                  </a:lnTo>
                  <a:lnTo>
                    <a:pt x="76" y="43"/>
                  </a:lnTo>
                  <a:lnTo>
                    <a:pt x="77" y="42"/>
                  </a:lnTo>
                  <a:lnTo>
                    <a:pt x="77" y="39"/>
                  </a:lnTo>
                  <a:lnTo>
                    <a:pt x="77" y="39"/>
                  </a:lnTo>
                  <a:lnTo>
                    <a:pt x="78" y="34"/>
                  </a:lnTo>
                  <a:lnTo>
                    <a:pt x="80" y="31"/>
                  </a:lnTo>
                  <a:lnTo>
                    <a:pt x="86" y="30"/>
                  </a:lnTo>
                  <a:lnTo>
                    <a:pt x="93" y="30"/>
                  </a:lnTo>
                  <a:lnTo>
                    <a:pt x="93" y="30"/>
                  </a:lnTo>
                  <a:lnTo>
                    <a:pt x="103" y="29"/>
                  </a:lnTo>
                  <a:lnTo>
                    <a:pt x="113" y="24"/>
                  </a:lnTo>
                  <a:lnTo>
                    <a:pt x="122" y="20"/>
                  </a:lnTo>
                  <a:lnTo>
                    <a:pt x="128" y="14"/>
                  </a:lnTo>
                  <a:lnTo>
                    <a:pt x="128" y="14"/>
                  </a:lnTo>
                  <a:lnTo>
                    <a:pt x="135" y="7"/>
                  </a:lnTo>
                  <a:lnTo>
                    <a:pt x="138" y="4"/>
                  </a:lnTo>
                  <a:lnTo>
                    <a:pt x="139" y="0"/>
                  </a:lnTo>
                  <a:lnTo>
                    <a:pt x="139" y="0"/>
                  </a:lnTo>
                  <a:lnTo>
                    <a:pt x="148" y="2"/>
                  </a:lnTo>
                  <a:lnTo>
                    <a:pt x="155" y="7"/>
                  </a:lnTo>
                  <a:lnTo>
                    <a:pt x="160" y="13"/>
                  </a:lnTo>
                  <a:lnTo>
                    <a:pt x="162" y="18"/>
                  </a:lnTo>
                  <a:lnTo>
                    <a:pt x="162" y="18"/>
                  </a:lnTo>
                  <a:lnTo>
                    <a:pt x="162" y="18"/>
                  </a:lnTo>
                  <a:lnTo>
                    <a:pt x="162" y="18"/>
                  </a:lnTo>
                  <a:lnTo>
                    <a:pt x="161" y="24"/>
                  </a:lnTo>
                  <a:lnTo>
                    <a:pt x="160" y="29"/>
                  </a:lnTo>
                  <a:lnTo>
                    <a:pt x="157" y="33"/>
                  </a:lnTo>
                  <a:lnTo>
                    <a:pt x="155" y="39"/>
                  </a:lnTo>
                  <a:lnTo>
                    <a:pt x="155" y="39"/>
                  </a:lnTo>
                  <a:lnTo>
                    <a:pt x="155" y="40"/>
                  </a:lnTo>
                  <a:lnTo>
                    <a:pt x="155" y="40"/>
                  </a:lnTo>
                  <a:lnTo>
                    <a:pt x="157" y="43"/>
                  </a:lnTo>
                  <a:lnTo>
                    <a:pt x="157" y="44"/>
                  </a:lnTo>
                  <a:lnTo>
                    <a:pt x="157" y="44"/>
                  </a:lnTo>
                  <a:lnTo>
                    <a:pt x="157" y="44"/>
                  </a:lnTo>
                  <a:lnTo>
                    <a:pt x="161" y="42"/>
                  </a:lnTo>
                  <a:lnTo>
                    <a:pt x="162" y="42"/>
                  </a:lnTo>
                  <a:lnTo>
                    <a:pt x="167" y="40"/>
                  </a:lnTo>
                  <a:lnTo>
                    <a:pt x="167" y="40"/>
                  </a:lnTo>
                  <a:lnTo>
                    <a:pt x="170" y="42"/>
                  </a:lnTo>
                  <a:lnTo>
                    <a:pt x="174" y="44"/>
                  </a:lnTo>
                  <a:lnTo>
                    <a:pt x="183" y="55"/>
                  </a:lnTo>
                  <a:lnTo>
                    <a:pt x="191" y="66"/>
                  </a:lnTo>
                  <a:lnTo>
                    <a:pt x="196" y="75"/>
                  </a:lnTo>
                  <a:lnTo>
                    <a:pt x="196" y="75"/>
                  </a:lnTo>
                  <a:lnTo>
                    <a:pt x="199" y="81"/>
                  </a:lnTo>
                  <a:lnTo>
                    <a:pt x="202" y="82"/>
                  </a:lnTo>
                  <a:lnTo>
                    <a:pt x="206" y="85"/>
                  </a:lnTo>
                  <a:lnTo>
                    <a:pt x="209" y="89"/>
                  </a:lnTo>
                  <a:lnTo>
                    <a:pt x="209" y="89"/>
                  </a:lnTo>
                  <a:lnTo>
                    <a:pt x="210" y="94"/>
                  </a:lnTo>
                  <a:lnTo>
                    <a:pt x="210" y="100"/>
                  </a:lnTo>
                  <a:lnTo>
                    <a:pt x="210" y="101"/>
                  </a:lnTo>
                  <a:lnTo>
                    <a:pt x="210" y="101"/>
                  </a:lnTo>
                  <a:lnTo>
                    <a:pt x="199" y="97"/>
                  </a:lnTo>
                  <a:lnTo>
                    <a:pt x="190" y="95"/>
                  </a:lnTo>
                  <a:lnTo>
                    <a:pt x="190" y="95"/>
                  </a:lnTo>
                  <a:lnTo>
                    <a:pt x="190" y="95"/>
                  </a:lnTo>
                  <a:lnTo>
                    <a:pt x="190" y="95"/>
                  </a:lnTo>
                  <a:lnTo>
                    <a:pt x="190" y="95"/>
                  </a:lnTo>
                  <a:lnTo>
                    <a:pt x="190" y="95"/>
                  </a:lnTo>
                  <a:lnTo>
                    <a:pt x="190" y="95"/>
                  </a:lnTo>
                  <a:lnTo>
                    <a:pt x="190" y="95"/>
                  </a:lnTo>
                  <a:lnTo>
                    <a:pt x="190" y="95"/>
                  </a:lnTo>
                  <a:lnTo>
                    <a:pt x="190" y="95"/>
                  </a:lnTo>
                  <a:lnTo>
                    <a:pt x="190" y="95"/>
                  </a:lnTo>
                  <a:lnTo>
                    <a:pt x="190" y="95"/>
                  </a:lnTo>
                  <a:lnTo>
                    <a:pt x="186" y="97"/>
                  </a:lnTo>
                  <a:lnTo>
                    <a:pt x="184" y="97"/>
                  </a:lnTo>
                  <a:lnTo>
                    <a:pt x="183" y="100"/>
                  </a:lnTo>
                  <a:lnTo>
                    <a:pt x="180" y="101"/>
                  </a:lnTo>
                  <a:lnTo>
                    <a:pt x="180" y="101"/>
                  </a:lnTo>
                  <a:lnTo>
                    <a:pt x="175" y="102"/>
                  </a:lnTo>
                  <a:lnTo>
                    <a:pt x="173" y="104"/>
                  </a:lnTo>
                  <a:lnTo>
                    <a:pt x="173" y="104"/>
                  </a:lnTo>
                  <a:lnTo>
                    <a:pt x="173" y="104"/>
                  </a:lnTo>
                  <a:lnTo>
                    <a:pt x="173" y="104"/>
                  </a:lnTo>
                  <a:lnTo>
                    <a:pt x="167" y="102"/>
                  </a:lnTo>
                  <a:lnTo>
                    <a:pt x="167" y="102"/>
                  </a:lnTo>
                  <a:lnTo>
                    <a:pt x="160" y="101"/>
                  </a:lnTo>
                  <a:lnTo>
                    <a:pt x="152" y="101"/>
                  </a:lnTo>
                  <a:lnTo>
                    <a:pt x="152" y="101"/>
                  </a:lnTo>
                  <a:lnTo>
                    <a:pt x="148" y="101"/>
                  </a:lnTo>
                  <a:lnTo>
                    <a:pt x="145" y="102"/>
                  </a:lnTo>
                  <a:lnTo>
                    <a:pt x="145" y="105"/>
                  </a:lnTo>
                  <a:lnTo>
                    <a:pt x="142" y="107"/>
                  </a:lnTo>
                  <a:lnTo>
                    <a:pt x="142" y="107"/>
                  </a:lnTo>
                  <a:lnTo>
                    <a:pt x="138" y="110"/>
                  </a:lnTo>
                  <a:lnTo>
                    <a:pt x="131" y="111"/>
                  </a:lnTo>
                  <a:lnTo>
                    <a:pt x="119" y="114"/>
                  </a:lnTo>
                  <a:lnTo>
                    <a:pt x="119" y="114"/>
                  </a:lnTo>
                  <a:lnTo>
                    <a:pt x="105" y="111"/>
                  </a:lnTo>
                  <a:lnTo>
                    <a:pt x="96" y="110"/>
                  </a:lnTo>
                  <a:lnTo>
                    <a:pt x="90" y="107"/>
                  </a:lnTo>
                  <a:lnTo>
                    <a:pt x="90" y="107"/>
                  </a:lnTo>
                  <a:lnTo>
                    <a:pt x="87" y="105"/>
                  </a:lnTo>
                  <a:lnTo>
                    <a:pt x="83" y="104"/>
                  </a:lnTo>
                  <a:lnTo>
                    <a:pt x="83" y="104"/>
                  </a:lnTo>
                  <a:lnTo>
                    <a:pt x="83" y="104"/>
                  </a:lnTo>
                  <a:lnTo>
                    <a:pt x="83" y="104"/>
                  </a:lnTo>
                  <a:lnTo>
                    <a:pt x="78" y="104"/>
                  </a:lnTo>
                  <a:lnTo>
                    <a:pt x="78" y="104"/>
                  </a:lnTo>
                  <a:lnTo>
                    <a:pt x="78" y="104"/>
                  </a:lnTo>
                  <a:lnTo>
                    <a:pt x="78" y="104"/>
                  </a:lnTo>
                  <a:lnTo>
                    <a:pt x="78" y="104"/>
                  </a:lnTo>
                  <a:lnTo>
                    <a:pt x="78" y="104"/>
                  </a:lnTo>
                  <a:lnTo>
                    <a:pt x="77" y="105"/>
                  </a:lnTo>
                  <a:lnTo>
                    <a:pt x="74" y="110"/>
                  </a:lnTo>
                  <a:lnTo>
                    <a:pt x="71" y="120"/>
                  </a:lnTo>
                  <a:lnTo>
                    <a:pt x="71" y="120"/>
                  </a:lnTo>
                  <a:lnTo>
                    <a:pt x="61" y="121"/>
                  </a:lnTo>
                  <a:lnTo>
                    <a:pt x="54" y="124"/>
                  </a:lnTo>
                  <a:lnTo>
                    <a:pt x="54" y="124"/>
                  </a:lnTo>
                  <a:lnTo>
                    <a:pt x="39" y="128"/>
                  </a:lnTo>
                  <a:lnTo>
                    <a:pt x="19" y="133"/>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94" name="Freeform 149"/>
            <p:cNvSpPr>
              <a:spLocks/>
            </p:cNvSpPr>
            <p:nvPr/>
          </p:nvSpPr>
          <p:spPr bwMode="auto">
            <a:xfrm>
              <a:off x="4683125" y="4485116"/>
              <a:ext cx="333375" cy="211138"/>
            </a:xfrm>
            <a:custGeom>
              <a:avLst/>
              <a:gdLst>
                <a:gd name="T0" fmla="*/ 6 w 210"/>
                <a:gd name="T1" fmla="*/ 114 h 133"/>
                <a:gd name="T2" fmla="*/ 0 w 210"/>
                <a:gd name="T3" fmla="*/ 95 h 133"/>
                <a:gd name="T4" fmla="*/ 10 w 210"/>
                <a:gd name="T5" fmla="*/ 76 h 133"/>
                <a:gd name="T6" fmla="*/ 16 w 210"/>
                <a:gd name="T7" fmla="*/ 69 h 133"/>
                <a:gd name="T8" fmla="*/ 29 w 210"/>
                <a:gd name="T9" fmla="*/ 62 h 133"/>
                <a:gd name="T10" fmla="*/ 47 w 210"/>
                <a:gd name="T11" fmla="*/ 55 h 133"/>
                <a:gd name="T12" fmla="*/ 64 w 210"/>
                <a:gd name="T13" fmla="*/ 46 h 133"/>
                <a:gd name="T14" fmla="*/ 77 w 210"/>
                <a:gd name="T15" fmla="*/ 42 h 133"/>
                <a:gd name="T16" fmla="*/ 78 w 210"/>
                <a:gd name="T17" fmla="*/ 34 h 133"/>
                <a:gd name="T18" fmla="*/ 93 w 210"/>
                <a:gd name="T19" fmla="*/ 30 h 133"/>
                <a:gd name="T20" fmla="*/ 113 w 210"/>
                <a:gd name="T21" fmla="*/ 24 h 133"/>
                <a:gd name="T22" fmla="*/ 128 w 210"/>
                <a:gd name="T23" fmla="*/ 14 h 133"/>
                <a:gd name="T24" fmla="*/ 139 w 210"/>
                <a:gd name="T25" fmla="*/ 0 h 133"/>
                <a:gd name="T26" fmla="*/ 155 w 210"/>
                <a:gd name="T27" fmla="*/ 7 h 133"/>
                <a:gd name="T28" fmla="*/ 162 w 210"/>
                <a:gd name="T29" fmla="*/ 18 h 133"/>
                <a:gd name="T30" fmla="*/ 161 w 210"/>
                <a:gd name="T31" fmla="*/ 24 h 133"/>
                <a:gd name="T32" fmla="*/ 155 w 210"/>
                <a:gd name="T33" fmla="*/ 39 h 133"/>
                <a:gd name="T34" fmla="*/ 155 w 210"/>
                <a:gd name="T35" fmla="*/ 40 h 133"/>
                <a:gd name="T36" fmla="*/ 157 w 210"/>
                <a:gd name="T37" fmla="*/ 44 h 133"/>
                <a:gd name="T38" fmla="*/ 162 w 210"/>
                <a:gd name="T39" fmla="*/ 42 h 133"/>
                <a:gd name="T40" fmla="*/ 170 w 210"/>
                <a:gd name="T41" fmla="*/ 42 h 133"/>
                <a:gd name="T42" fmla="*/ 191 w 210"/>
                <a:gd name="T43" fmla="*/ 66 h 133"/>
                <a:gd name="T44" fmla="*/ 199 w 210"/>
                <a:gd name="T45" fmla="*/ 81 h 133"/>
                <a:gd name="T46" fmla="*/ 209 w 210"/>
                <a:gd name="T47" fmla="*/ 89 h 133"/>
                <a:gd name="T48" fmla="*/ 210 w 210"/>
                <a:gd name="T49" fmla="*/ 100 h 133"/>
                <a:gd name="T50" fmla="*/ 199 w 210"/>
                <a:gd name="T51" fmla="*/ 97 h 133"/>
                <a:gd name="T52" fmla="*/ 190 w 210"/>
                <a:gd name="T53" fmla="*/ 95 h 133"/>
                <a:gd name="T54" fmla="*/ 190 w 210"/>
                <a:gd name="T55" fmla="*/ 95 h 133"/>
                <a:gd name="T56" fmla="*/ 190 w 210"/>
                <a:gd name="T57" fmla="*/ 95 h 133"/>
                <a:gd name="T58" fmla="*/ 190 w 210"/>
                <a:gd name="T59" fmla="*/ 95 h 133"/>
                <a:gd name="T60" fmla="*/ 183 w 210"/>
                <a:gd name="T61" fmla="*/ 100 h 133"/>
                <a:gd name="T62" fmla="*/ 175 w 210"/>
                <a:gd name="T63" fmla="*/ 102 h 133"/>
                <a:gd name="T64" fmla="*/ 173 w 210"/>
                <a:gd name="T65" fmla="*/ 104 h 133"/>
                <a:gd name="T66" fmla="*/ 167 w 210"/>
                <a:gd name="T67" fmla="*/ 102 h 133"/>
                <a:gd name="T68" fmla="*/ 152 w 210"/>
                <a:gd name="T69" fmla="*/ 101 h 133"/>
                <a:gd name="T70" fmla="*/ 145 w 210"/>
                <a:gd name="T71" fmla="*/ 105 h 133"/>
                <a:gd name="T72" fmla="*/ 138 w 210"/>
                <a:gd name="T73" fmla="*/ 110 h 133"/>
                <a:gd name="T74" fmla="*/ 119 w 210"/>
                <a:gd name="T75" fmla="*/ 114 h 133"/>
                <a:gd name="T76" fmla="*/ 90 w 210"/>
                <a:gd name="T77" fmla="*/ 107 h 133"/>
                <a:gd name="T78" fmla="*/ 83 w 210"/>
                <a:gd name="T79" fmla="*/ 104 h 133"/>
                <a:gd name="T80" fmla="*/ 83 w 210"/>
                <a:gd name="T81" fmla="*/ 104 h 133"/>
                <a:gd name="T82" fmla="*/ 78 w 210"/>
                <a:gd name="T83" fmla="*/ 104 h 133"/>
                <a:gd name="T84" fmla="*/ 78 w 210"/>
                <a:gd name="T85" fmla="*/ 104 h 133"/>
                <a:gd name="T86" fmla="*/ 71 w 210"/>
                <a:gd name="T87" fmla="*/ 120 h 133"/>
                <a:gd name="T88" fmla="*/ 54 w 210"/>
                <a:gd name="T89" fmla="*/ 124 h 133"/>
                <a:gd name="T90" fmla="*/ 19 w 210"/>
                <a:gd name="T91"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0" h="133">
                  <a:moveTo>
                    <a:pt x="19" y="133"/>
                  </a:moveTo>
                  <a:lnTo>
                    <a:pt x="19" y="133"/>
                  </a:lnTo>
                  <a:lnTo>
                    <a:pt x="6" y="114"/>
                  </a:lnTo>
                  <a:lnTo>
                    <a:pt x="2" y="104"/>
                  </a:lnTo>
                  <a:lnTo>
                    <a:pt x="0" y="95"/>
                  </a:lnTo>
                  <a:lnTo>
                    <a:pt x="0" y="95"/>
                  </a:lnTo>
                  <a:lnTo>
                    <a:pt x="2" y="89"/>
                  </a:lnTo>
                  <a:lnTo>
                    <a:pt x="6" y="82"/>
                  </a:lnTo>
                  <a:lnTo>
                    <a:pt x="10" y="76"/>
                  </a:lnTo>
                  <a:lnTo>
                    <a:pt x="16" y="69"/>
                  </a:lnTo>
                  <a:lnTo>
                    <a:pt x="16" y="69"/>
                  </a:lnTo>
                  <a:lnTo>
                    <a:pt x="16" y="69"/>
                  </a:lnTo>
                  <a:lnTo>
                    <a:pt x="16" y="69"/>
                  </a:lnTo>
                  <a:lnTo>
                    <a:pt x="23" y="65"/>
                  </a:lnTo>
                  <a:lnTo>
                    <a:pt x="29" y="62"/>
                  </a:lnTo>
                  <a:lnTo>
                    <a:pt x="29" y="62"/>
                  </a:lnTo>
                  <a:lnTo>
                    <a:pt x="38" y="59"/>
                  </a:lnTo>
                  <a:lnTo>
                    <a:pt x="47" y="55"/>
                  </a:lnTo>
                  <a:lnTo>
                    <a:pt x="58" y="47"/>
                  </a:lnTo>
                  <a:lnTo>
                    <a:pt x="58" y="47"/>
                  </a:lnTo>
                  <a:lnTo>
                    <a:pt x="64" y="46"/>
                  </a:lnTo>
                  <a:lnTo>
                    <a:pt x="70" y="44"/>
                  </a:lnTo>
                  <a:lnTo>
                    <a:pt x="76" y="43"/>
                  </a:lnTo>
                  <a:lnTo>
                    <a:pt x="77" y="42"/>
                  </a:lnTo>
                  <a:lnTo>
                    <a:pt x="77" y="39"/>
                  </a:lnTo>
                  <a:lnTo>
                    <a:pt x="77" y="39"/>
                  </a:lnTo>
                  <a:lnTo>
                    <a:pt x="78" y="34"/>
                  </a:lnTo>
                  <a:lnTo>
                    <a:pt x="80" y="31"/>
                  </a:lnTo>
                  <a:lnTo>
                    <a:pt x="86" y="30"/>
                  </a:lnTo>
                  <a:lnTo>
                    <a:pt x="93" y="30"/>
                  </a:lnTo>
                  <a:lnTo>
                    <a:pt x="93" y="30"/>
                  </a:lnTo>
                  <a:lnTo>
                    <a:pt x="103" y="29"/>
                  </a:lnTo>
                  <a:lnTo>
                    <a:pt x="113" y="24"/>
                  </a:lnTo>
                  <a:lnTo>
                    <a:pt x="122" y="20"/>
                  </a:lnTo>
                  <a:lnTo>
                    <a:pt x="128" y="14"/>
                  </a:lnTo>
                  <a:lnTo>
                    <a:pt x="128" y="14"/>
                  </a:lnTo>
                  <a:lnTo>
                    <a:pt x="135" y="7"/>
                  </a:lnTo>
                  <a:lnTo>
                    <a:pt x="138" y="4"/>
                  </a:lnTo>
                  <a:lnTo>
                    <a:pt x="139" y="0"/>
                  </a:lnTo>
                  <a:lnTo>
                    <a:pt x="139" y="0"/>
                  </a:lnTo>
                  <a:lnTo>
                    <a:pt x="148" y="2"/>
                  </a:lnTo>
                  <a:lnTo>
                    <a:pt x="155" y="7"/>
                  </a:lnTo>
                  <a:lnTo>
                    <a:pt x="160" y="13"/>
                  </a:lnTo>
                  <a:lnTo>
                    <a:pt x="162" y="18"/>
                  </a:lnTo>
                  <a:lnTo>
                    <a:pt x="162" y="18"/>
                  </a:lnTo>
                  <a:lnTo>
                    <a:pt x="162" y="18"/>
                  </a:lnTo>
                  <a:lnTo>
                    <a:pt x="162" y="18"/>
                  </a:lnTo>
                  <a:lnTo>
                    <a:pt x="161" y="24"/>
                  </a:lnTo>
                  <a:lnTo>
                    <a:pt x="160" y="29"/>
                  </a:lnTo>
                  <a:lnTo>
                    <a:pt x="157" y="33"/>
                  </a:lnTo>
                  <a:lnTo>
                    <a:pt x="155" y="39"/>
                  </a:lnTo>
                  <a:lnTo>
                    <a:pt x="155" y="39"/>
                  </a:lnTo>
                  <a:lnTo>
                    <a:pt x="155" y="40"/>
                  </a:lnTo>
                  <a:lnTo>
                    <a:pt x="155" y="40"/>
                  </a:lnTo>
                  <a:lnTo>
                    <a:pt x="157" y="43"/>
                  </a:lnTo>
                  <a:lnTo>
                    <a:pt x="157" y="44"/>
                  </a:lnTo>
                  <a:lnTo>
                    <a:pt x="157" y="44"/>
                  </a:lnTo>
                  <a:lnTo>
                    <a:pt x="157" y="44"/>
                  </a:lnTo>
                  <a:lnTo>
                    <a:pt x="161" y="42"/>
                  </a:lnTo>
                  <a:lnTo>
                    <a:pt x="162" y="42"/>
                  </a:lnTo>
                  <a:lnTo>
                    <a:pt x="167" y="40"/>
                  </a:lnTo>
                  <a:lnTo>
                    <a:pt x="167" y="40"/>
                  </a:lnTo>
                  <a:lnTo>
                    <a:pt x="170" y="42"/>
                  </a:lnTo>
                  <a:lnTo>
                    <a:pt x="174" y="44"/>
                  </a:lnTo>
                  <a:lnTo>
                    <a:pt x="183" y="55"/>
                  </a:lnTo>
                  <a:lnTo>
                    <a:pt x="191" y="66"/>
                  </a:lnTo>
                  <a:lnTo>
                    <a:pt x="196" y="75"/>
                  </a:lnTo>
                  <a:lnTo>
                    <a:pt x="196" y="75"/>
                  </a:lnTo>
                  <a:lnTo>
                    <a:pt x="199" y="81"/>
                  </a:lnTo>
                  <a:lnTo>
                    <a:pt x="202" y="82"/>
                  </a:lnTo>
                  <a:lnTo>
                    <a:pt x="206" y="85"/>
                  </a:lnTo>
                  <a:lnTo>
                    <a:pt x="209" y="89"/>
                  </a:lnTo>
                  <a:lnTo>
                    <a:pt x="209" y="89"/>
                  </a:lnTo>
                  <a:lnTo>
                    <a:pt x="210" y="94"/>
                  </a:lnTo>
                  <a:lnTo>
                    <a:pt x="210" y="100"/>
                  </a:lnTo>
                  <a:lnTo>
                    <a:pt x="210" y="101"/>
                  </a:lnTo>
                  <a:lnTo>
                    <a:pt x="210" y="101"/>
                  </a:lnTo>
                  <a:lnTo>
                    <a:pt x="199" y="97"/>
                  </a:lnTo>
                  <a:lnTo>
                    <a:pt x="190" y="95"/>
                  </a:lnTo>
                  <a:lnTo>
                    <a:pt x="190" y="95"/>
                  </a:lnTo>
                  <a:lnTo>
                    <a:pt x="190" y="95"/>
                  </a:lnTo>
                  <a:lnTo>
                    <a:pt x="190" y="95"/>
                  </a:lnTo>
                  <a:lnTo>
                    <a:pt x="190" y="95"/>
                  </a:lnTo>
                  <a:lnTo>
                    <a:pt x="190" y="95"/>
                  </a:lnTo>
                  <a:lnTo>
                    <a:pt x="190" y="95"/>
                  </a:lnTo>
                  <a:lnTo>
                    <a:pt x="190" y="95"/>
                  </a:lnTo>
                  <a:lnTo>
                    <a:pt x="190" y="95"/>
                  </a:lnTo>
                  <a:lnTo>
                    <a:pt x="190" y="95"/>
                  </a:lnTo>
                  <a:lnTo>
                    <a:pt x="190" y="95"/>
                  </a:lnTo>
                  <a:lnTo>
                    <a:pt x="190" y="95"/>
                  </a:lnTo>
                  <a:lnTo>
                    <a:pt x="186" y="97"/>
                  </a:lnTo>
                  <a:lnTo>
                    <a:pt x="184" y="97"/>
                  </a:lnTo>
                  <a:lnTo>
                    <a:pt x="183" y="100"/>
                  </a:lnTo>
                  <a:lnTo>
                    <a:pt x="180" y="101"/>
                  </a:lnTo>
                  <a:lnTo>
                    <a:pt x="180" y="101"/>
                  </a:lnTo>
                  <a:lnTo>
                    <a:pt x="175" y="102"/>
                  </a:lnTo>
                  <a:lnTo>
                    <a:pt x="173" y="104"/>
                  </a:lnTo>
                  <a:lnTo>
                    <a:pt x="173" y="104"/>
                  </a:lnTo>
                  <a:lnTo>
                    <a:pt x="173" y="104"/>
                  </a:lnTo>
                  <a:lnTo>
                    <a:pt x="173" y="104"/>
                  </a:lnTo>
                  <a:lnTo>
                    <a:pt x="167" y="102"/>
                  </a:lnTo>
                  <a:lnTo>
                    <a:pt x="167" y="102"/>
                  </a:lnTo>
                  <a:lnTo>
                    <a:pt x="160" y="101"/>
                  </a:lnTo>
                  <a:lnTo>
                    <a:pt x="152" y="101"/>
                  </a:lnTo>
                  <a:lnTo>
                    <a:pt x="152" y="101"/>
                  </a:lnTo>
                  <a:lnTo>
                    <a:pt x="148" y="101"/>
                  </a:lnTo>
                  <a:lnTo>
                    <a:pt x="145" y="102"/>
                  </a:lnTo>
                  <a:lnTo>
                    <a:pt x="145" y="105"/>
                  </a:lnTo>
                  <a:lnTo>
                    <a:pt x="142" y="107"/>
                  </a:lnTo>
                  <a:lnTo>
                    <a:pt x="142" y="107"/>
                  </a:lnTo>
                  <a:lnTo>
                    <a:pt x="138" y="110"/>
                  </a:lnTo>
                  <a:lnTo>
                    <a:pt x="131" y="111"/>
                  </a:lnTo>
                  <a:lnTo>
                    <a:pt x="119" y="114"/>
                  </a:lnTo>
                  <a:lnTo>
                    <a:pt x="119" y="114"/>
                  </a:lnTo>
                  <a:lnTo>
                    <a:pt x="105" y="111"/>
                  </a:lnTo>
                  <a:lnTo>
                    <a:pt x="96" y="110"/>
                  </a:lnTo>
                  <a:lnTo>
                    <a:pt x="90" y="107"/>
                  </a:lnTo>
                  <a:lnTo>
                    <a:pt x="90" y="107"/>
                  </a:lnTo>
                  <a:lnTo>
                    <a:pt x="87" y="105"/>
                  </a:lnTo>
                  <a:lnTo>
                    <a:pt x="83" y="104"/>
                  </a:lnTo>
                  <a:lnTo>
                    <a:pt x="83" y="104"/>
                  </a:lnTo>
                  <a:lnTo>
                    <a:pt x="83" y="104"/>
                  </a:lnTo>
                  <a:lnTo>
                    <a:pt x="83" y="104"/>
                  </a:lnTo>
                  <a:lnTo>
                    <a:pt x="78" y="104"/>
                  </a:lnTo>
                  <a:lnTo>
                    <a:pt x="78" y="104"/>
                  </a:lnTo>
                  <a:lnTo>
                    <a:pt x="78" y="104"/>
                  </a:lnTo>
                  <a:lnTo>
                    <a:pt x="78" y="104"/>
                  </a:lnTo>
                  <a:lnTo>
                    <a:pt x="78" y="104"/>
                  </a:lnTo>
                  <a:lnTo>
                    <a:pt x="78" y="104"/>
                  </a:lnTo>
                  <a:lnTo>
                    <a:pt x="77" y="105"/>
                  </a:lnTo>
                  <a:lnTo>
                    <a:pt x="74" y="110"/>
                  </a:lnTo>
                  <a:lnTo>
                    <a:pt x="71" y="120"/>
                  </a:lnTo>
                  <a:lnTo>
                    <a:pt x="71" y="120"/>
                  </a:lnTo>
                  <a:lnTo>
                    <a:pt x="61" y="121"/>
                  </a:lnTo>
                  <a:lnTo>
                    <a:pt x="54" y="124"/>
                  </a:lnTo>
                  <a:lnTo>
                    <a:pt x="54" y="124"/>
                  </a:lnTo>
                  <a:lnTo>
                    <a:pt x="39" y="128"/>
                  </a:lnTo>
                  <a:lnTo>
                    <a:pt x="19" y="13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95" name="Freeform 150"/>
            <p:cNvSpPr>
              <a:spLocks noEditPoints="1"/>
            </p:cNvSpPr>
            <p:nvPr/>
          </p:nvSpPr>
          <p:spPr bwMode="auto">
            <a:xfrm>
              <a:off x="4708525" y="4485116"/>
              <a:ext cx="195263" cy="109538"/>
            </a:xfrm>
            <a:custGeom>
              <a:avLst/>
              <a:gdLst>
                <a:gd name="T0" fmla="*/ 112 w 123"/>
                <a:gd name="T1" fmla="*/ 14 h 69"/>
                <a:gd name="T2" fmla="*/ 112 w 123"/>
                <a:gd name="T3" fmla="*/ 14 h 69"/>
                <a:gd name="T4" fmla="*/ 119 w 123"/>
                <a:gd name="T5" fmla="*/ 7 h 69"/>
                <a:gd name="T6" fmla="*/ 122 w 123"/>
                <a:gd name="T7" fmla="*/ 4 h 69"/>
                <a:gd name="T8" fmla="*/ 123 w 123"/>
                <a:gd name="T9" fmla="*/ 0 h 69"/>
                <a:gd name="T10" fmla="*/ 123 w 123"/>
                <a:gd name="T11" fmla="*/ 0 h 69"/>
                <a:gd name="T12" fmla="*/ 123 w 123"/>
                <a:gd name="T13" fmla="*/ 0 h 69"/>
                <a:gd name="T14" fmla="*/ 123 w 123"/>
                <a:gd name="T15" fmla="*/ 0 h 69"/>
                <a:gd name="T16" fmla="*/ 122 w 123"/>
                <a:gd name="T17" fmla="*/ 4 h 69"/>
                <a:gd name="T18" fmla="*/ 119 w 123"/>
                <a:gd name="T19" fmla="*/ 7 h 69"/>
                <a:gd name="T20" fmla="*/ 112 w 123"/>
                <a:gd name="T21" fmla="*/ 14 h 69"/>
                <a:gd name="T22" fmla="*/ 0 w 123"/>
                <a:gd name="T23" fmla="*/ 69 h 69"/>
                <a:gd name="T24" fmla="*/ 0 w 123"/>
                <a:gd name="T25" fmla="*/ 69 h 69"/>
                <a:gd name="T26" fmla="*/ 0 w 123"/>
                <a:gd name="T27" fmla="*/ 69 h 69"/>
                <a:gd name="T28" fmla="*/ 0 w 123"/>
                <a:gd name="T29" fmla="*/ 69 h 69"/>
                <a:gd name="T30" fmla="*/ 7 w 123"/>
                <a:gd name="T31" fmla="*/ 65 h 69"/>
                <a:gd name="T32" fmla="*/ 13 w 123"/>
                <a:gd name="T33" fmla="*/ 62 h 69"/>
                <a:gd name="T34" fmla="*/ 13 w 123"/>
                <a:gd name="T35" fmla="*/ 62 h 69"/>
                <a:gd name="T36" fmla="*/ 7 w 123"/>
                <a:gd name="T37" fmla="*/ 65 h 69"/>
                <a:gd name="T38" fmla="*/ 0 w 123"/>
                <a:gd name="T3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3" h="69">
                  <a:moveTo>
                    <a:pt x="112" y="14"/>
                  </a:moveTo>
                  <a:lnTo>
                    <a:pt x="112" y="14"/>
                  </a:lnTo>
                  <a:lnTo>
                    <a:pt x="119" y="7"/>
                  </a:lnTo>
                  <a:lnTo>
                    <a:pt x="122" y="4"/>
                  </a:lnTo>
                  <a:lnTo>
                    <a:pt x="123" y="0"/>
                  </a:lnTo>
                  <a:lnTo>
                    <a:pt x="123" y="0"/>
                  </a:lnTo>
                  <a:lnTo>
                    <a:pt x="123" y="0"/>
                  </a:lnTo>
                  <a:lnTo>
                    <a:pt x="123" y="0"/>
                  </a:lnTo>
                  <a:lnTo>
                    <a:pt x="122" y="4"/>
                  </a:lnTo>
                  <a:lnTo>
                    <a:pt x="119" y="7"/>
                  </a:lnTo>
                  <a:lnTo>
                    <a:pt x="112" y="14"/>
                  </a:lnTo>
                  <a:close/>
                  <a:moveTo>
                    <a:pt x="0" y="69"/>
                  </a:moveTo>
                  <a:lnTo>
                    <a:pt x="0" y="69"/>
                  </a:lnTo>
                  <a:lnTo>
                    <a:pt x="0" y="69"/>
                  </a:lnTo>
                  <a:lnTo>
                    <a:pt x="0" y="69"/>
                  </a:lnTo>
                  <a:lnTo>
                    <a:pt x="7" y="65"/>
                  </a:lnTo>
                  <a:lnTo>
                    <a:pt x="13" y="62"/>
                  </a:lnTo>
                  <a:lnTo>
                    <a:pt x="13" y="62"/>
                  </a:lnTo>
                  <a:lnTo>
                    <a:pt x="7" y="65"/>
                  </a:lnTo>
                  <a:lnTo>
                    <a:pt x="0" y="69"/>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96" name="Freeform 151"/>
            <p:cNvSpPr>
              <a:spLocks/>
            </p:cNvSpPr>
            <p:nvPr/>
          </p:nvSpPr>
          <p:spPr bwMode="auto">
            <a:xfrm>
              <a:off x="4886325" y="4485116"/>
              <a:ext cx="17463" cy="22225"/>
            </a:xfrm>
            <a:custGeom>
              <a:avLst/>
              <a:gdLst>
                <a:gd name="T0" fmla="*/ 0 w 11"/>
                <a:gd name="T1" fmla="*/ 14 h 14"/>
                <a:gd name="T2" fmla="*/ 0 w 11"/>
                <a:gd name="T3" fmla="*/ 14 h 14"/>
                <a:gd name="T4" fmla="*/ 7 w 11"/>
                <a:gd name="T5" fmla="*/ 7 h 14"/>
                <a:gd name="T6" fmla="*/ 10 w 11"/>
                <a:gd name="T7" fmla="*/ 4 h 14"/>
                <a:gd name="T8" fmla="*/ 11 w 11"/>
                <a:gd name="T9" fmla="*/ 0 h 14"/>
                <a:gd name="T10" fmla="*/ 11 w 11"/>
                <a:gd name="T11" fmla="*/ 0 h 14"/>
                <a:gd name="T12" fmla="*/ 11 w 11"/>
                <a:gd name="T13" fmla="*/ 0 h 14"/>
                <a:gd name="T14" fmla="*/ 11 w 11"/>
                <a:gd name="T15" fmla="*/ 0 h 14"/>
                <a:gd name="T16" fmla="*/ 10 w 11"/>
                <a:gd name="T17" fmla="*/ 4 h 14"/>
                <a:gd name="T18" fmla="*/ 7 w 11"/>
                <a:gd name="T19" fmla="*/ 7 h 14"/>
                <a:gd name="T20" fmla="*/ 0 w 11"/>
                <a:gd name="T2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4">
                  <a:moveTo>
                    <a:pt x="0" y="14"/>
                  </a:moveTo>
                  <a:lnTo>
                    <a:pt x="0" y="14"/>
                  </a:lnTo>
                  <a:lnTo>
                    <a:pt x="7" y="7"/>
                  </a:lnTo>
                  <a:lnTo>
                    <a:pt x="10" y="4"/>
                  </a:lnTo>
                  <a:lnTo>
                    <a:pt x="11" y="0"/>
                  </a:lnTo>
                  <a:lnTo>
                    <a:pt x="11" y="0"/>
                  </a:lnTo>
                  <a:lnTo>
                    <a:pt x="11" y="0"/>
                  </a:lnTo>
                  <a:lnTo>
                    <a:pt x="11" y="0"/>
                  </a:lnTo>
                  <a:lnTo>
                    <a:pt x="10" y="4"/>
                  </a:lnTo>
                  <a:lnTo>
                    <a:pt x="7" y="7"/>
                  </a:lnTo>
                  <a:lnTo>
                    <a:pt x="0"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97" name="Freeform 152"/>
            <p:cNvSpPr>
              <a:spLocks/>
            </p:cNvSpPr>
            <p:nvPr/>
          </p:nvSpPr>
          <p:spPr bwMode="auto">
            <a:xfrm>
              <a:off x="4708525" y="4583541"/>
              <a:ext cx="20638" cy="11113"/>
            </a:xfrm>
            <a:custGeom>
              <a:avLst/>
              <a:gdLst>
                <a:gd name="T0" fmla="*/ 0 w 13"/>
                <a:gd name="T1" fmla="*/ 7 h 7"/>
                <a:gd name="T2" fmla="*/ 0 w 13"/>
                <a:gd name="T3" fmla="*/ 7 h 7"/>
                <a:gd name="T4" fmla="*/ 0 w 13"/>
                <a:gd name="T5" fmla="*/ 7 h 7"/>
                <a:gd name="T6" fmla="*/ 0 w 13"/>
                <a:gd name="T7" fmla="*/ 7 h 7"/>
                <a:gd name="T8" fmla="*/ 7 w 13"/>
                <a:gd name="T9" fmla="*/ 3 h 7"/>
                <a:gd name="T10" fmla="*/ 13 w 13"/>
                <a:gd name="T11" fmla="*/ 0 h 7"/>
                <a:gd name="T12" fmla="*/ 13 w 13"/>
                <a:gd name="T13" fmla="*/ 0 h 7"/>
                <a:gd name="T14" fmla="*/ 7 w 13"/>
                <a:gd name="T15" fmla="*/ 3 h 7"/>
                <a:gd name="T16" fmla="*/ 0 w 13"/>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7">
                  <a:moveTo>
                    <a:pt x="0" y="7"/>
                  </a:moveTo>
                  <a:lnTo>
                    <a:pt x="0" y="7"/>
                  </a:lnTo>
                  <a:lnTo>
                    <a:pt x="0" y="7"/>
                  </a:lnTo>
                  <a:lnTo>
                    <a:pt x="0" y="7"/>
                  </a:lnTo>
                  <a:lnTo>
                    <a:pt x="7" y="3"/>
                  </a:lnTo>
                  <a:lnTo>
                    <a:pt x="13" y="0"/>
                  </a:lnTo>
                  <a:lnTo>
                    <a:pt x="13" y="0"/>
                  </a:lnTo>
                  <a:lnTo>
                    <a:pt x="7" y="3"/>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98" name="Freeform 153"/>
            <p:cNvSpPr>
              <a:spLocks/>
            </p:cNvSpPr>
            <p:nvPr/>
          </p:nvSpPr>
          <p:spPr bwMode="auto">
            <a:xfrm>
              <a:off x="4589463" y="4675616"/>
              <a:ext cx="206375" cy="217488"/>
            </a:xfrm>
            <a:custGeom>
              <a:avLst/>
              <a:gdLst>
                <a:gd name="T0" fmla="*/ 59 w 130"/>
                <a:gd name="T1" fmla="*/ 137 h 137"/>
                <a:gd name="T2" fmla="*/ 46 w 130"/>
                <a:gd name="T3" fmla="*/ 137 h 137"/>
                <a:gd name="T4" fmla="*/ 46 w 130"/>
                <a:gd name="T5" fmla="*/ 137 h 137"/>
                <a:gd name="T6" fmla="*/ 46 w 130"/>
                <a:gd name="T7" fmla="*/ 137 h 137"/>
                <a:gd name="T8" fmla="*/ 46 w 130"/>
                <a:gd name="T9" fmla="*/ 137 h 137"/>
                <a:gd name="T10" fmla="*/ 46 w 130"/>
                <a:gd name="T11" fmla="*/ 137 h 137"/>
                <a:gd name="T12" fmla="*/ 46 w 130"/>
                <a:gd name="T13" fmla="*/ 137 h 137"/>
                <a:gd name="T14" fmla="*/ 29 w 130"/>
                <a:gd name="T15" fmla="*/ 130 h 137"/>
                <a:gd name="T16" fmla="*/ 27 w 130"/>
                <a:gd name="T17" fmla="*/ 129 h 137"/>
                <a:gd name="T18" fmla="*/ 22 w 130"/>
                <a:gd name="T19" fmla="*/ 137 h 137"/>
                <a:gd name="T20" fmla="*/ 22 w 130"/>
                <a:gd name="T21" fmla="*/ 136 h 137"/>
                <a:gd name="T22" fmla="*/ 0 w 130"/>
                <a:gd name="T23" fmla="*/ 113 h 137"/>
                <a:gd name="T24" fmla="*/ 6 w 130"/>
                <a:gd name="T25" fmla="*/ 111 h 137"/>
                <a:gd name="T26" fmla="*/ 7 w 130"/>
                <a:gd name="T27" fmla="*/ 111 h 137"/>
                <a:gd name="T28" fmla="*/ 13 w 130"/>
                <a:gd name="T29" fmla="*/ 111 h 137"/>
                <a:gd name="T30" fmla="*/ 14 w 130"/>
                <a:gd name="T31" fmla="*/ 111 h 137"/>
                <a:gd name="T32" fmla="*/ 27 w 130"/>
                <a:gd name="T33" fmla="*/ 110 h 137"/>
                <a:gd name="T34" fmla="*/ 27 w 130"/>
                <a:gd name="T35" fmla="*/ 110 h 137"/>
                <a:gd name="T36" fmla="*/ 27 w 130"/>
                <a:gd name="T37" fmla="*/ 110 h 137"/>
                <a:gd name="T38" fmla="*/ 27 w 130"/>
                <a:gd name="T39" fmla="*/ 108 h 137"/>
                <a:gd name="T40" fmla="*/ 27 w 130"/>
                <a:gd name="T41" fmla="*/ 108 h 137"/>
                <a:gd name="T42" fmla="*/ 27 w 130"/>
                <a:gd name="T43" fmla="*/ 108 h 137"/>
                <a:gd name="T44" fmla="*/ 27 w 130"/>
                <a:gd name="T45" fmla="*/ 108 h 137"/>
                <a:gd name="T46" fmla="*/ 29 w 130"/>
                <a:gd name="T47" fmla="*/ 108 h 137"/>
                <a:gd name="T48" fmla="*/ 30 w 130"/>
                <a:gd name="T49" fmla="*/ 101 h 137"/>
                <a:gd name="T50" fmla="*/ 35 w 130"/>
                <a:gd name="T51" fmla="*/ 97 h 137"/>
                <a:gd name="T52" fmla="*/ 36 w 130"/>
                <a:gd name="T53" fmla="*/ 97 h 137"/>
                <a:gd name="T54" fmla="*/ 40 w 130"/>
                <a:gd name="T55" fmla="*/ 100 h 137"/>
                <a:gd name="T56" fmla="*/ 46 w 130"/>
                <a:gd name="T57" fmla="*/ 101 h 137"/>
                <a:gd name="T58" fmla="*/ 51 w 130"/>
                <a:gd name="T59" fmla="*/ 100 h 137"/>
                <a:gd name="T60" fmla="*/ 51 w 130"/>
                <a:gd name="T61" fmla="*/ 100 h 137"/>
                <a:gd name="T62" fmla="*/ 51 w 130"/>
                <a:gd name="T63" fmla="*/ 100 h 137"/>
                <a:gd name="T64" fmla="*/ 59 w 130"/>
                <a:gd name="T65" fmla="*/ 91 h 137"/>
                <a:gd name="T66" fmla="*/ 58 w 130"/>
                <a:gd name="T67" fmla="*/ 81 h 137"/>
                <a:gd name="T68" fmla="*/ 52 w 130"/>
                <a:gd name="T69" fmla="*/ 66 h 137"/>
                <a:gd name="T70" fmla="*/ 53 w 130"/>
                <a:gd name="T71" fmla="*/ 62 h 137"/>
                <a:gd name="T72" fmla="*/ 62 w 130"/>
                <a:gd name="T73" fmla="*/ 46 h 137"/>
                <a:gd name="T74" fmla="*/ 56 w 130"/>
                <a:gd name="T75" fmla="*/ 30 h 137"/>
                <a:gd name="T76" fmla="*/ 77 w 130"/>
                <a:gd name="T77" fmla="*/ 35 h 137"/>
                <a:gd name="T78" fmla="*/ 78 w 130"/>
                <a:gd name="T79" fmla="*/ 35 h 137"/>
                <a:gd name="T80" fmla="*/ 87 w 130"/>
                <a:gd name="T81" fmla="*/ 24 h 137"/>
                <a:gd name="T82" fmla="*/ 78 w 130"/>
                <a:gd name="T83" fmla="*/ 13 h 137"/>
                <a:gd name="T84" fmla="*/ 113 w 130"/>
                <a:gd name="T85" fmla="*/ 4 h 137"/>
                <a:gd name="T86" fmla="*/ 130 w 130"/>
                <a:gd name="T87" fmla="*/ 0 h 137"/>
                <a:gd name="T88" fmla="*/ 123 w 130"/>
                <a:gd name="T89" fmla="*/ 23 h 137"/>
                <a:gd name="T90" fmla="*/ 119 w 130"/>
                <a:gd name="T91" fmla="*/ 39 h 137"/>
                <a:gd name="T92" fmla="*/ 117 w 130"/>
                <a:gd name="T93" fmla="*/ 62 h 137"/>
                <a:gd name="T94" fmla="*/ 104 w 130"/>
                <a:gd name="T95" fmla="*/ 77 h 137"/>
                <a:gd name="T96" fmla="*/ 93 w 130"/>
                <a:gd name="T97" fmla="*/ 84 h 137"/>
                <a:gd name="T98" fmla="*/ 88 w 130"/>
                <a:gd name="T99" fmla="*/ 90 h 137"/>
                <a:gd name="T100" fmla="*/ 84 w 130"/>
                <a:gd name="T101" fmla="*/ 113 h 137"/>
                <a:gd name="T102" fmla="*/ 72 w 130"/>
                <a:gd name="T103" fmla="*/ 130 h 137"/>
                <a:gd name="T104" fmla="*/ 68 w 130"/>
                <a:gd name="T105" fmla="*/ 136 h 137"/>
                <a:gd name="T106" fmla="*/ 59 w 130"/>
                <a:gd name="T10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137">
                  <a:moveTo>
                    <a:pt x="59" y="137"/>
                  </a:moveTo>
                  <a:lnTo>
                    <a:pt x="59" y="137"/>
                  </a:lnTo>
                  <a:lnTo>
                    <a:pt x="59" y="137"/>
                  </a:lnTo>
                  <a:lnTo>
                    <a:pt x="51" y="137"/>
                  </a:lnTo>
                  <a:lnTo>
                    <a:pt x="51" y="137"/>
                  </a:lnTo>
                  <a:lnTo>
                    <a:pt x="46" y="137"/>
                  </a:lnTo>
                  <a:lnTo>
                    <a:pt x="46" y="137"/>
                  </a:lnTo>
                  <a:lnTo>
                    <a:pt x="46" y="137"/>
                  </a:lnTo>
                  <a:lnTo>
                    <a:pt x="46" y="137"/>
                  </a:lnTo>
                  <a:lnTo>
                    <a:pt x="46" y="137"/>
                  </a:lnTo>
                  <a:lnTo>
                    <a:pt x="46" y="137"/>
                  </a:lnTo>
                  <a:lnTo>
                    <a:pt x="46" y="137"/>
                  </a:lnTo>
                  <a:lnTo>
                    <a:pt x="46" y="137"/>
                  </a:lnTo>
                  <a:lnTo>
                    <a:pt x="46" y="137"/>
                  </a:lnTo>
                  <a:lnTo>
                    <a:pt x="46" y="137"/>
                  </a:lnTo>
                  <a:lnTo>
                    <a:pt x="46" y="137"/>
                  </a:lnTo>
                  <a:lnTo>
                    <a:pt x="46" y="137"/>
                  </a:lnTo>
                  <a:lnTo>
                    <a:pt x="46" y="137"/>
                  </a:lnTo>
                  <a:lnTo>
                    <a:pt x="46" y="137"/>
                  </a:lnTo>
                  <a:lnTo>
                    <a:pt x="46" y="137"/>
                  </a:lnTo>
                  <a:lnTo>
                    <a:pt x="46" y="137"/>
                  </a:lnTo>
                  <a:lnTo>
                    <a:pt x="42" y="136"/>
                  </a:lnTo>
                  <a:lnTo>
                    <a:pt x="36" y="133"/>
                  </a:lnTo>
                  <a:lnTo>
                    <a:pt x="29" y="130"/>
                  </a:lnTo>
                  <a:lnTo>
                    <a:pt x="29" y="130"/>
                  </a:lnTo>
                  <a:lnTo>
                    <a:pt x="27" y="129"/>
                  </a:lnTo>
                  <a:lnTo>
                    <a:pt x="27" y="129"/>
                  </a:lnTo>
                  <a:lnTo>
                    <a:pt x="26" y="130"/>
                  </a:lnTo>
                  <a:lnTo>
                    <a:pt x="24" y="132"/>
                  </a:lnTo>
                  <a:lnTo>
                    <a:pt x="22" y="137"/>
                  </a:lnTo>
                  <a:lnTo>
                    <a:pt x="22" y="137"/>
                  </a:lnTo>
                  <a:lnTo>
                    <a:pt x="22" y="136"/>
                  </a:lnTo>
                  <a:lnTo>
                    <a:pt x="22" y="136"/>
                  </a:lnTo>
                  <a:lnTo>
                    <a:pt x="19" y="133"/>
                  </a:lnTo>
                  <a:lnTo>
                    <a:pt x="19" y="133"/>
                  </a:lnTo>
                  <a:lnTo>
                    <a:pt x="0" y="113"/>
                  </a:lnTo>
                  <a:lnTo>
                    <a:pt x="0" y="113"/>
                  </a:lnTo>
                  <a:lnTo>
                    <a:pt x="6" y="111"/>
                  </a:lnTo>
                  <a:lnTo>
                    <a:pt x="6" y="111"/>
                  </a:lnTo>
                  <a:lnTo>
                    <a:pt x="7" y="111"/>
                  </a:lnTo>
                  <a:lnTo>
                    <a:pt x="7" y="111"/>
                  </a:lnTo>
                  <a:lnTo>
                    <a:pt x="7" y="111"/>
                  </a:lnTo>
                  <a:lnTo>
                    <a:pt x="9" y="111"/>
                  </a:lnTo>
                  <a:lnTo>
                    <a:pt x="9" y="111"/>
                  </a:lnTo>
                  <a:lnTo>
                    <a:pt x="13" y="111"/>
                  </a:lnTo>
                  <a:lnTo>
                    <a:pt x="13" y="111"/>
                  </a:lnTo>
                  <a:lnTo>
                    <a:pt x="13" y="111"/>
                  </a:lnTo>
                  <a:lnTo>
                    <a:pt x="14" y="111"/>
                  </a:lnTo>
                  <a:lnTo>
                    <a:pt x="14" y="111"/>
                  </a:lnTo>
                  <a:lnTo>
                    <a:pt x="22" y="110"/>
                  </a:lnTo>
                  <a:lnTo>
                    <a:pt x="27" y="110"/>
                  </a:lnTo>
                  <a:lnTo>
                    <a:pt x="27" y="110"/>
                  </a:lnTo>
                  <a:lnTo>
                    <a:pt x="27" y="110"/>
                  </a:lnTo>
                  <a:lnTo>
                    <a:pt x="27" y="110"/>
                  </a:lnTo>
                  <a:lnTo>
                    <a:pt x="27" y="110"/>
                  </a:lnTo>
                  <a:lnTo>
                    <a:pt x="27" y="110"/>
                  </a:lnTo>
                  <a:lnTo>
                    <a:pt x="27" y="110"/>
                  </a:lnTo>
                  <a:lnTo>
                    <a:pt x="27" y="110"/>
                  </a:lnTo>
                  <a:lnTo>
                    <a:pt x="27" y="108"/>
                  </a:lnTo>
                  <a:lnTo>
                    <a:pt x="27" y="108"/>
                  </a:lnTo>
                  <a:lnTo>
                    <a:pt x="27" y="108"/>
                  </a:lnTo>
                  <a:lnTo>
                    <a:pt x="27" y="108"/>
                  </a:lnTo>
                  <a:lnTo>
                    <a:pt x="27" y="108"/>
                  </a:lnTo>
                  <a:lnTo>
                    <a:pt x="27" y="108"/>
                  </a:lnTo>
                  <a:lnTo>
                    <a:pt x="27" y="108"/>
                  </a:lnTo>
                  <a:lnTo>
                    <a:pt x="27" y="108"/>
                  </a:lnTo>
                  <a:lnTo>
                    <a:pt x="27" y="108"/>
                  </a:lnTo>
                  <a:lnTo>
                    <a:pt x="27" y="108"/>
                  </a:lnTo>
                  <a:lnTo>
                    <a:pt x="27" y="108"/>
                  </a:lnTo>
                  <a:lnTo>
                    <a:pt x="27" y="108"/>
                  </a:lnTo>
                  <a:lnTo>
                    <a:pt x="29" y="108"/>
                  </a:lnTo>
                  <a:lnTo>
                    <a:pt x="29" y="108"/>
                  </a:lnTo>
                  <a:lnTo>
                    <a:pt x="29" y="108"/>
                  </a:lnTo>
                  <a:lnTo>
                    <a:pt x="29" y="108"/>
                  </a:lnTo>
                  <a:lnTo>
                    <a:pt x="30" y="101"/>
                  </a:lnTo>
                  <a:lnTo>
                    <a:pt x="33" y="98"/>
                  </a:lnTo>
                  <a:lnTo>
                    <a:pt x="35" y="97"/>
                  </a:lnTo>
                  <a:lnTo>
                    <a:pt x="35" y="97"/>
                  </a:lnTo>
                  <a:lnTo>
                    <a:pt x="35" y="97"/>
                  </a:lnTo>
                  <a:lnTo>
                    <a:pt x="36" y="97"/>
                  </a:lnTo>
                  <a:lnTo>
                    <a:pt x="36" y="97"/>
                  </a:lnTo>
                  <a:lnTo>
                    <a:pt x="36" y="97"/>
                  </a:lnTo>
                  <a:lnTo>
                    <a:pt x="36" y="97"/>
                  </a:lnTo>
                  <a:lnTo>
                    <a:pt x="40" y="100"/>
                  </a:lnTo>
                  <a:lnTo>
                    <a:pt x="46" y="101"/>
                  </a:lnTo>
                  <a:lnTo>
                    <a:pt x="46" y="101"/>
                  </a:lnTo>
                  <a:lnTo>
                    <a:pt x="46" y="101"/>
                  </a:lnTo>
                  <a:lnTo>
                    <a:pt x="46" y="101"/>
                  </a:lnTo>
                  <a:lnTo>
                    <a:pt x="51" y="100"/>
                  </a:lnTo>
                  <a:lnTo>
                    <a:pt x="51" y="100"/>
                  </a:lnTo>
                  <a:lnTo>
                    <a:pt x="51" y="100"/>
                  </a:lnTo>
                  <a:lnTo>
                    <a:pt x="51" y="100"/>
                  </a:lnTo>
                  <a:lnTo>
                    <a:pt x="51" y="100"/>
                  </a:lnTo>
                  <a:lnTo>
                    <a:pt x="51" y="100"/>
                  </a:lnTo>
                  <a:lnTo>
                    <a:pt x="51" y="100"/>
                  </a:lnTo>
                  <a:lnTo>
                    <a:pt x="51" y="100"/>
                  </a:lnTo>
                  <a:lnTo>
                    <a:pt x="55" y="98"/>
                  </a:lnTo>
                  <a:lnTo>
                    <a:pt x="58" y="95"/>
                  </a:lnTo>
                  <a:lnTo>
                    <a:pt x="59" y="91"/>
                  </a:lnTo>
                  <a:lnTo>
                    <a:pt x="59" y="87"/>
                  </a:lnTo>
                  <a:lnTo>
                    <a:pt x="59" y="87"/>
                  </a:lnTo>
                  <a:lnTo>
                    <a:pt x="58" y="81"/>
                  </a:lnTo>
                  <a:lnTo>
                    <a:pt x="58" y="81"/>
                  </a:lnTo>
                  <a:lnTo>
                    <a:pt x="53" y="72"/>
                  </a:lnTo>
                  <a:lnTo>
                    <a:pt x="52" y="66"/>
                  </a:lnTo>
                  <a:lnTo>
                    <a:pt x="52" y="66"/>
                  </a:lnTo>
                  <a:lnTo>
                    <a:pt x="53" y="62"/>
                  </a:lnTo>
                  <a:lnTo>
                    <a:pt x="53" y="62"/>
                  </a:lnTo>
                  <a:lnTo>
                    <a:pt x="59" y="55"/>
                  </a:lnTo>
                  <a:lnTo>
                    <a:pt x="61" y="50"/>
                  </a:lnTo>
                  <a:lnTo>
                    <a:pt x="62" y="46"/>
                  </a:lnTo>
                  <a:lnTo>
                    <a:pt x="62" y="46"/>
                  </a:lnTo>
                  <a:lnTo>
                    <a:pt x="59" y="39"/>
                  </a:lnTo>
                  <a:lnTo>
                    <a:pt x="56" y="30"/>
                  </a:lnTo>
                  <a:lnTo>
                    <a:pt x="56" y="30"/>
                  </a:lnTo>
                  <a:lnTo>
                    <a:pt x="66" y="33"/>
                  </a:lnTo>
                  <a:lnTo>
                    <a:pt x="77" y="35"/>
                  </a:lnTo>
                  <a:lnTo>
                    <a:pt x="77" y="35"/>
                  </a:lnTo>
                  <a:lnTo>
                    <a:pt x="78" y="35"/>
                  </a:lnTo>
                  <a:lnTo>
                    <a:pt x="78" y="35"/>
                  </a:lnTo>
                  <a:lnTo>
                    <a:pt x="84" y="32"/>
                  </a:lnTo>
                  <a:lnTo>
                    <a:pt x="87" y="29"/>
                  </a:lnTo>
                  <a:lnTo>
                    <a:pt x="87" y="24"/>
                  </a:lnTo>
                  <a:lnTo>
                    <a:pt x="84" y="20"/>
                  </a:lnTo>
                  <a:lnTo>
                    <a:pt x="84" y="20"/>
                  </a:lnTo>
                  <a:lnTo>
                    <a:pt x="78" y="13"/>
                  </a:lnTo>
                  <a:lnTo>
                    <a:pt x="78" y="13"/>
                  </a:lnTo>
                  <a:lnTo>
                    <a:pt x="98" y="8"/>
                  </a:lnTo>
                  <a:lnTo>
                    <a:pt x="113" y="4"/>
                  </a:lnTo>
                  <a:lnTo>
                    <a:pt x="113" y="4"/>
                  </a:lnTo>
                  <a:lnTo>
                    <a:pt x="120" y="1"/>
                  </a:lnTo>
                  <a:lnTo>
                    <a:pt x="130" y="0"/>
                  </a:lnTo>
                  <a:lnTo>
                    <a:pt x="130" y="0"/>
                  </a:lnTo>
                  <a:lnTo>
                    <a:pt x="126" y="14"/>
                  </a:lnTo>
                  <a:lnTo>
                    <a:pt x="123" y="23"/>
                  </a:lnTo>
                  <a:lnTo>
                    <a:pt x="123" y="23"/>
                  </a:lnTo>
                  <a:lnTo>
                    <a:pt x="120" y="30"/>
                  </a:lnTo>
                  <a:lnTo>
                    <a:pt x="119" y="39"/>
                  </a:lnTo>
                  <a:lnTo>
                    <a:pt x="119" y="56"/>
                  </a:lnTo>
                  <a:lnTo>
                    <a:pt x="119" y="56"/>
                  </a:lnTo>
                  <a:lnTo>
                    <a:pt x="117" y="62"/>
                  </a:lnTo>
                  <a:lnTo>
                    <a:pt x="114" y="68"/>
                  </a:lnTo>
                  <a:lnTo>
                    <a:pt x="110" y="72"/>
                  </a:lnTo>
                  <a:lnTo>
                    <a:pt x="104" y="77"/>
                  </a:lnTo>
                  <a:lnTo>
                    <a:pt x="104" y="77"/>
                  </a:lnTo>
                  <a:lnTo>
                    <a:pt x="95" y="81"/>
                  </a:lnTo>
                  <a:lnTo>
                    <a:pt x="93" y="84"/>
                  </a:lnTo>
                  <a:lnTo>
                    <a:pt x="90" y="85"/>
                  </a:lnTo>
                  <a:lnTo>
                    <a:pt x="90" y="85"/>
                  </a:lnTo>
                  <a:lnTo>
                    <a:pt x="88" y="90"/>
                  </a:lnTo>
                  <a:lnTo>
                    <a:pt x="88" y="97"/>
                  </a:lnTo>
                  <a:lnTo>
                    <a:pt x="87" y="104"/>
                  </a:lnTo>
                  <a:lnTo>
                    <a:pt x="84" y="113"/>
                  </a:lnTo>
                  <a:lnTo>
                    <a:pt x="84" y="113"/>
                  </a:lnTo>
                  <a:lnTo>
                    <a:pt x="75" y="126"/>
                  </a:lnTo>
                  <a:lnTo>
                    <a:pt x="72" y="130"/>
                  </a:lnTo>
                  <a:lnTo>
                    <a:pt x="69" y="134"/>
                  </a:lnTo>
                  <a:lnTo>
                    <a:pt x="69" y="134"/>
                  </a:lnTo>
                  <a:lnTo>
                    <a:pt x="68" y="136"/>
                  </a:lnTo>
                  <a:lnTo>
                    <a:pt x="66" y="137"/>
                  </a:lnTo>
                  <a:lnTo>
                    <a:pt x="59" y="137"/>
                  </a:lnTo>
                  <a:lnTo>
                    <a:pt x="59" y="137"/>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99" name="Freeform 154"/>
            <p:cNvSpPr>
              <a:spLocks/>
            </p:cNvSpPr>
            <p:nvPr/>
          </p:nvSpPr>
          <p:spPr bwMode="auto">
            <a:xfrm>
              <a:off x="4589463" y="4675616"/>
              <a:ext cx="206375" cy="217488"/>
            </a:xfrm>
            <a:custGeom>
              <a:avLst/>
              <a:gdLst>
                <a:gd name="T0" fmla="*/ 59 w 130"/>
                <a:gd name="T1" fmla="*/ 137 h 137"/>
                <a:gd name="T2" fmla="*/ 46 w 130"/>
                <a:gd name="T3" fmla="*/ 137 h 137"/>
                <a:gd name="T4" fmla="*/ 46 w 130"/>
                <a:gd name="T5" fmla="*/ 137 h 137"/>
                <a:gd name="T6" fmla="*/ 46 w 130"/>
                <a:gd name="T7" fmla="*/ 137 h 137"/>
                <a:gd name="T8" fmla="*/ 46 w 130"/>
                <a:gd name="T9" fmla="*/ 137 h 137"/>
                <a:gd name="T10" fmla="*/ 46 w 130"/>
                <a:gd name="T11" fmla="*/ 137 h 137"/>
                <a:gd name="T12" fmla="*/ 46 w 130"/>
                <a:gd name="T13" fmla="*/ 137 h 137"/>
                <a:gd name="T14" fmla="*/ 29 w 130"/>
                <a:gd name="T15" fmla="*/ 130 h 137"/>
                <a:gd name="T16" fmla="*/ 27 w 130"/>
                <a:gd name="T17" fmla="*/ 129 h 137"/>
                <a:gd name="T18" fmla="*/ 22 w 130"/>
                <a:gd name="T19" fmla="*/ 137 h 137"/>
                <a:gd name="T20" fmla="*/ 22 w 130"/>
                <a:gd name="T21" fmla="*/ 136 h 137"/>
                <a:gd name="T22" fmla="*/ 0 w 130"/>
                <a:gd name="T23" fmla="*/ 113 h 137"/>
                <a:gd name="T24" fmla="*/ 6 w 130"/>
                <a:gd name="T25" fmla="*/ 111 h 137"/>
                <a:gd name="T26" fmla="*/ 7 w 130"/>
                <a:gd name="T27" fmla="*/ 111 h 137"/>
                <a:gd name="T28" fmla="*/ 13 w 130"/>
                <a:gd name="T29" fmla="*/ 111 h 137"/>
                <a:gd name="T30" fmla="*/ 14 w 130"/>
                <a:gd name="T31" fmla="*/ 111 h 137"/>
                <a:gd name="T32" fmla="*/ 27 w 130"/>
                <a:gd name="T33" fmla="*/ 110 h 137"/>
                <a:gd name="T34" fmla="*/ 27 w 130"/>
                <a:gd name="T35" fmla="*/ 110 h 137"/>
                <a:gd name="T36" fmla="*/ 27 w 130"/>
                <a:gd name="T37" fmla="*/ 110 h 137"/>
                <a:gd name="T38" fmla="*/ 27 w 130"/>
                <a:gd name="T39" fmla="*/ 108 h 137"/>
                <a:gd name="T40" fmla="*/ 27 w 130"/>
                <a:gd name="T41" fmla="*/ 108 h 137"/>
                <a:gd name="T42" fmla="*/ 27 w 130"/>
                <a:gd name="T43" fmla="*/ 108 h 137"/>
                <a:gd name="T44" fmla="*/ 27 w 130"/>
                <a:gd name="T45" fmla="*/ 108 h 137"/>
                <a:gd name="T46" fmla="*/ 29 w 130"/>
                <a:gd name="T47" fmla="*/ 108 h 137"/>
                <a:gd name="T48" fmla="*/ 30 w 130"/>
                <a:gd name="T49" fmla="*/ 101 h 137"/>
                <a:gd name="T50" fmla="*/ 35 w 130"/>
                <a:gd name="T51" fmla="*/ 97 h 137"/>
                <a:gd name="T52" fmla="*/ 36 w 130"/>
                <a:gd name="T53" fmla="*/ 97 h 137"/>
                <a:gd name="T54" fmla="*/ 40 w 130"/>
                <a:gd name="T55" fmla="*/ 100 h 137"/>
                <a:gd name="T56" fmla="*/ 46 w 130"/>
                <a:gd name="T57" fmla="*/ 101 h 137"/>
                <a:gd name="T58" fmla="*/ 51 w 130"/>
                <a:gd name="T59" fmla="*/ 100 h 137"/>
                <a:gd name="T60" fmla="*/ 51 w 130"/>
                <a:gd name="T61" fmla="*/ 100 h 137"/>
                <a:gd name="T62" fmla="*/ 51 w 130"/>
                <a:gd name="T63" fmla="*/ 100 h 137"/>
                <a:gd name="T64" fmla="*/ 59 w 130"/>
                <a:gd name="T65" fmla="*/ 91 h 137"/>
                <a:gd name="T66" fmla="*/ 58 w 130"/>
                <a:gd name="T67" fmla="*/ 81 h 137"/>
                <a:gd name="T68" fmla="*/ 52 w 130"/>
                <a:gd name="T69" fmla="*/ 66 h 137"/>
                <a:gd name="T70" fmla="*/ 53 w 130"/>
                <a:gd name="T71" fmla="*/ 62 h 137"/>
                <a:gd name="T72" fmla="*/ 62 w 130"/>
                <a:gd name="T73" fmla="*/ 46 h 137"/>
                <a:gd name="T74" fmla="*/ 56 w 130"/>
                <a:gd name="T75" fmla="*/ 30 h 137"/>
                <a:gd name="T76" fmla="*/ 77 w 130"/>
                <a:gd name="T77" fmla="*/ 35 h 137"/>
                <a:gd name="T78" fmla="*/ 78 w 130"/>
                <a:gd name="T79" fmla="*/ 35 h 137"/>
                <a:gd name="T80" fmla="*/ 87 w 130"/>
                <a:gd name="T81" fmla="*/ 24 h 137"/>
                <a:gd name="T82" fmla="*/ 78 w 130"/>
                <a:gd name="T83" fmla="*/ 13 h 137"/>
                <a:gd name="T84" fmla="*/ 113 w 130"/>
                <a:gd name="T85" fmla="*/ 4 h 137"/>
                <a:gd name="T86" fmla="*/ 130 w 130"/>
                <a:gd name="T87" fmla="*/ 0 h 137"/>
                <a:gd name="T88" fmla="*/ 123 w 130"/>
                <a:gd name="T89" fmla="*/ 23 h 137"/>
                <a:gd name="T90" fmla="*/ 119 w 130"/>
                <a:gd name="T91" fmla="*/ 39 h 137"/>
                <a:gd name="T92" fmla="*/ 117 w 130"/>
                <a:gd name="T93" fmla="*/ 62 h 137"/>
                <a:gd name="T94" fmla="*/ 104 w 130"/>
                <a:gd name="T95" fmla="*/ 77 h 137"/>
                <a:gd name="T96" fmla="*/ 93 w 130"/>
                <a:gd name="T97" fmla="*/ 84 h 137"/>
                <a:gd name="T98" fmla="*/ 88 w 130"/>
                <a:gd name="T99" fmla="*/ 90 h 137"/>
                <a:gd name="T100" fmla="*/ 84 w 130"/>
                <a:gd name="T101" fmla="*/ 113 h 137"/>
                <a:gd name="T102" fmla="*/ 72 w 130"/>
                <a:gd name="T103" fmla="*/ 130 h 137"/>
                <a:gd name="T104" fmla="*/ 68 w 130"/>
                <a:gd name="T105" fmla="*/ 136 h 137"/>
                <a:gd name="T106" fmla="*/ 59 w 130"/>
                <a:gd name="T10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137">
                  <a:moveTo>
                    <a:pt x="59" y="137"/>
                  </a:moveTo>
                  <a:lnTo>
                    <a:pt x="59" y="137"/>
                  </a:lnTo>
                  <a:lnTo>
                    <a:pt x="59" y="137"/>
                  </a:lnTo>
                  <a:lnTo>
                    <a:pt x="51" y="137"/>
                  </a:lnTo>
                  <a:lnTo>
                    <a:pt x="51" y="137"/>
                  </a:lnTo>
                  <a:lnTo>
                    <a:pt x="46" y="137"/>
                  </a:lnTo>
                  <a:lnTo>
                    <a:pt x="46" y="137"/>
                  </a:lnTo>
                  <a:lnTo>
                    <a:pt x="46" y="137"/>
                  </a:lnTo>
                  <a:lnTo>
                    <a:pt x="46" y="137"/>
                  </a:lnTo>
                  <a:lnTo>
                    <a:pt x="46" y="137"/>
                  </a:lnTo>
                  <a:lnTo>
                    <a:pt x="46" y="137"/>
                  </a:lnTo>
                  <a:lnTo>
                    <a:pt x="46" y="137"/>
                  </a:lnTo>
                  <a:lnTo>
                    <a:pt x="46" y="137"/>
                  </a:lnTo>
                  <a:lnTo>
                    <a:pt x="46" y="137"/>
                  </a:lnTo>
                  <a:lnTo>
                    <a:pt x="46" y="137"/>
                  </a:lnTo>
                  <a:lnTo>
                    <a:pt x="46" y="137"/>
                  </a:lnTo>
                  <a:lnTo>
                    <a:pt x="46" y="137"/>
                  </a:lnTo>
                  <a:lnTo>
                    <a:pt x="46" y="137"/>
                  </a:lnTo>
                  <a:lnTo>
                    <a:pt x="46" y="137"/>
                  </a:lnTo>
                  <a:lnTo>
                    <a:pt x="46" y="137"/>
                  </a:lnTo>
                  <a:lnTo>
                    <a:pt x="46" y="137"/>
                  </a:lnTo>
                  <a:lnTo>
                    <a:pt x="42" y="136"/>
                  </a:lnTo>
                  <a:lnTo>
                    <a:pt x="36" y="133"/>
                  </a:lnTo>
                  <a:lnTo>
                    <a:pt x="29" y="130"/>
                  </a:lnTo>
                  <a:lnTo>
                    <a:pt x="29" y="130"/>
                  </a:lnTo>
                  <a:lnTo>
                    <a:pt x="27" y="129"/>
                  </a:lnTo>
                  <a:lnTo>
                    <a:pt x="27" y="129"/>
                  </a:lnTo>
                  <a:lnTo>
                    <a:pt x="26" y="130"/>
                  </a:lnTo>
                  <a:lnTo>
                    <a:pt x="24" y="132"/>
                  </a:lnTo>
                  <a:lnTo>
                    <a:pt x="22" y="137"/>
                  </a:lnTo>
                  <a:lnTo>
                    <a:pt x="22" y="137"/>
                  </a:lnTo>
                  <a:lnTo>
                    <a:pt x="22" y="136"/>
                  </a:lnTo>
                  <a:lnTo>
                    <a:pt x="22" y="136"/>
                  </a:lnTo>
                  <a:lnTo>
                    <a:pt x="19" y="133"/>
                  </a:lnTo>
                  <a:lnTo>
                    <a:pt x="19" y="133"/>
                  </a:lnTo>
                  <a:lnTo>
                    <a:pt x="0" y="113"/>
                  </a:lnTo>
                  <a:lnTo>
                    <a:pt x="0" y="113"/>
                  </a:lnTo>
                  <a:lnTo>
                    <a:pt x="6" y="111"/>
                  </a:lnTo>
                  <a:lnTo>
                    <a:pt x="6" y="111"/>
                  </a:lnTo>
                  <a:lnTo>
                    <a:pt x="7" y="111"/>
                  </a:lnTo>
                  <a:lnTo>
                    <a:pt x="7" y="111"/>
                  </a:lnTo>
                  <a:lnTo>
                    <a:pt x="7" y="111"/>
                  </a:lnTo>
                  <a:lnTo>
                    <a:pt x="9" y="111"/>
                  </a:lnTo>
                  <a:lnTo>
                    <a:pt x="9" y="111"/>
                  </a:lnTo>
                  <a:lnTo>
                    <a:pt x="13" y="111"/>
                  </a:lnTo>
                  <a:lnTo>
                    <a:pt x="13" y="111"/>
                  </a:lnTo>
                  <a:lnTo>
                    <a:pt x="13" y="111"/>
                  </a:lnTo>
                  <a:lnTo>
                    <a:pt x="14" y="111"/>
                  </a:lnTo>
                  <a:lnTo>
                    <a:pt x="14" y="111"/>
                  </a:lnTo>
                  <a:lnTo>
                    <a:pt x="22" y="110"/>
                  </a:lnTo>
                  <a:lnTo>
                    <a:pt x="27" y="110"/>
                  </a:lnTo>
                  <a:lnTo>
                    <a:pt x="27" y="110"/>
                  </a:lnTo>
                  <a:lnTo>
                    <a:pt x="27" y="110"/>
                  </a:lnTo>
                  <a:lnTo>
                    <a:pt x="27" y="110"/>
                  </a:lnTo>
                  <a:lnTo>
                    <a:pt x="27" y="110"/>
                  </a:lnTo>
                  <a:lnTo>
                    <a:pt x="27" y="110"/>
                  </a:lnTo>
                  <a:lnTo>
                    <a:pt x="27" y="110"/>
                  </a:lnTo>
                  <a:lnTo>
                    <a:pt x="27" y="110"/>
                  </a:lnTo>
                  <a:lnTo>
                    <a:pt x="27" y="108"/>
                  </a:lnTo>
                  <a:lnTo>
                    <a:pt x="27" y="108"/>
                  </a:lnTo>
                  <a:lnTo>
                    <a:pt x="27" y="108"/>
                  </a:lnTo>
                  <a:lnTo>
                    <a:pt x="27" y="108"/>
                  </a:lnTo>
                  <a:lnTo>
                    <a:pt x="27" y="108"/>
                  </a:lnTo>
                  <a:lnTo>
                    <a:pt x="27" y="108"/>
                  </a:lnTo>
                  <a:lnTo>
                    <a:pt x="27" y="108"/>
                  </a:lnTo>
                  <a:lnTo>
                    <a:pt x="27" y="108"/>
                  </a:lnTo>
                  <a:lnTo>
                    <a:pt x="27" y="108"/>
                  </a:lnTo>
                  <a:lnTo>
                    <a:pt x="27" y="108"/>
                  </a:lnTo>
                  <a:lnTo>
                    <a:pt x="27" y="108"/>
                  </a:lnTo>
                  <a:lnTo>
                    <a:pt x="27" y="108"/>
                  </a:lnTo>
                  <a:lnTo>
                    <a:pt x="29" y="108"/>
                  </a:lnTo>
                  <a:lnTo>
                    <a:pt x="29" y="108"/>
                  </a:lnTo>
                  <a:lnTo>
                    <a:pt x="29" y="108"/>
                  </a:lnTo>
                  <a:lnTo>
                    <a:pt x="29" y="108"/>
                  </a:lnTo>
                  <a:lnTo>
                    <a:pt x="30" y="101"/>
                  </a:lnTo>
                  <a:lnTo>
                    <a:pt x="33" y="98"/>
                  </a:lnTo>
                  <a:lnTo>
                    <a:pt x="35" y="97"/>
                  </a:lnTo>
                  <a:lnTo>
                    <a:pt x="35" y="97"/>
                  </a:lnTo>
                  <a:lnTo>
                    <a:pt x="35" y="97"/>
                  </a:lnTo>
                  <a:lnTo>
                    <a:pt x="36" y="97"/>
                  </a:lnTo>
                  <a:lnTo>
                    <a:pt x="36" y="97"/>
                  </a:lnTo>
                  <a:lnTo>
                    <a:pt x="36" y="97"/>
                  </a:lnTo>
                  <a:lnTo>
                    <a:pt x="36" y="97"/>
                  </a:lnTo>
                  <a:lnTo>
                    <a:pt x="40" y="100"/>
                  </a:lnTo>
                  <a:lnTo>
                    <a:pt x="46" y="101"/>
                  </a:lnTo>
                  <a:lnTo>
                    <a:pt x="46" y="101"/>
                  </a:lnTo>
                  <a:lnTo>
                    <a:pt x="46" y="101"/>
                  </a:lnTo>
                  <a:lnTo>
                    <a:pt x="46" y="101"/>
                  </a:lnTo>
                  <a:lnTo>
                    <a:pt x="51" y="100"/>
                  </a:lnTo>
                  <a:lnTo>
                    <a:pt x="51" y="100"/>
                  </a:lnTo>
                  <a:lnTo>
                    <a:pt x="51" y="100"/>
                  </a:lnTo>
                  <a:lnTo>
                    <a:pt x="51" y="100"/>
                  </a:lnTo>
                  <a:lnTo>
                    <a:pt x="51" y="100"/>
                  </a:lnTo>
                  <a:lnTo>
                    <a:pt x="51" y="100"/>
                  </a:lnTo>
                  <a:lnTo>
                    <a:pt x="51" y="100"/>
                  </a:lnTo>
                  <a:lnTo>
                    <a:pt x="51" y="100"/>
                  </a:lnTo>
                  <a:lnTo>
                    <a:pt x="55" y="98"/>
                  </a:lnTo>
                  <a:lnTo>
                    <a:pt x="58" y="95"/>
                  </a:lnTo>
                  <a:lnTo>
                    <a:pt x="59" y="91"/>
                  </a:lnTo>
                  <a:lnTo>
                    <a:pt x="59" y="87"/>
                  </a:lnTo>
                  <a:lnTo>
                    <a:pt x="59" y="87"/>
                  </a:lnTo>
                  <a:lnTo>
                    <a:pt x="58" y="81"/>
                  </a:lnTo>
                  <a:lnTo>
                    <a:pt x="58" y="81"/>
                  </a:lnTo>
                  <a:lnTo>
                    <a:pt x="53" y="72"/>
                  </a:lnTo>
                  <a:lnTo>
                    <a:pt x="52" y="66"/>
                  </a:lnTo>
                  <a:lnTo>
                    <a:pt x="52" y="66"/>
                  </a:lnTo>
                  <a:lnTo>
                    <a:pt x="53" y="62"/>
                  </a:lnTo>
                  <a:lnTo>
                    <a:pt x="53" y="62"/>
                  </a:lnTo>
                  <a:lnTo>
                    <a:pt x="59" y="55"/>
                  </a:lnTo>
                  <a:lnTo>
                    <a:pt x="61" y="50"/>
                  </a:lnTo>
                  <a:lnTo>
                    <a:pt x="62" y="46"/>
                  </a:lnTo>
                  <a:lnTo>
                    <a:pt x="62" y="46"/>
                  </a:lnTo>
                  <a:lnTo>
                    <a:pt x="59" y="39"/>
                  </a:lnTo>
                  <a:lnTo>
                    <a:pt x="56" y="30"/>
                  </a:lnTo>
                  <a:lnTo>
                    <a:pt x="56" y="30"/>
                  </a:lnTo>
                  <a:lnTo>
                    <a:pt x="66" y="33"/>
                  </a:lnTo>
                  <a:lnTo>
                    <a:pt x="77" y="35"/>
                  </a:lnTo>
                  <a:lnTo>
                    <a:pt x="77" y="35"/>
                  </a:lnTo>
                  <a:lnTo>
                    <a:pt x="78" y="35"/>
                  </a:lnTo>
                  <a:lnTo>
                    <a:pt x="78" y="35"/>
                  </a:lnTo>
                  <a:lnTo>
                    <a:pt x="84" y="32"/>
                  </a:lnTo>
                  <a:lnTo>
                    <a:pt x="87" y="29"/>
                  </a:lnTo>
                  <a:lnTo>
                    <a:pt x="87" y="24"/>
                  </a:lnTo>
                  <a:lnTo>
                    <a:pt x="84" y="20"/>
                  </a:lnTo>
                  <a:lnTo>
                    <a:pt x="84" y="20"/>
                  </a:lnTo>
                  <a:lnTo>
                    <a:pt x="78" y="13"/>
                  </a:lnTo>
                  <a:lnTo>
                    <a:pt x="78" y="13"/>
                  </a:lnTo>
                  <a:lnTo>
                    <a:pt x="98" y="8"/>
                  </a:lnTo>
                  <a:lnTo>
                    <a:pt x="113" y="4"/>
                  </a:lnTo>
                  <a:lnTo>
                    <a:pt x="113" y="4"/>
                  </a:lnTo>
                  <a:lnTo>
                    <a:pt x="120" y="1"/>
                  </a:lnTo>
                  <a:lnTo>
                    <a:pt x="130" y="0"/>
                  </a:lnTo>
                  <a:lnTo>
                    <a:pt x="130" y="0"/>
                  </a:lnTo>
                  <a:lnTo>
                    <a:pt x="126" y="14"/>
                  </a:lnTo>
                  <a:lnTo>
                    <a:pt x="123" y="23"/>
                  </a:lnTo>
                  <a:lnTo>
                    <a:pt x="123" y="23"/>
                  </a:lnTo>
                  <a:lnTo>
                    <a:pt x="120" y="30"/>
                  </a:lnTo>
                  <a:lnTo>
                    <a:pt x="119" y="39"/>
                  </a:lnTo>
                  <a:lnTo>
                    <a:pt x="119" y="56"/>
                  </a:lnTo>
                  <a:lnTo>
                    <a:pt x="119" y="56"/>
                  </a:lnTo>
                  <a:lnTo>
                    <a:pt x="117" y="62"/>
                  </a:lnTo>
                  <a:lnTo>
                    <a:pt x="114" y="68"/>
                  </a:lnTo>
                  <a:lnTo>
                    <a:pt x="110" y="72"/>
                  </a:lnTo>
                  <a:lnTo>
                    <a:pt x="104" y="77"/>
                  </a:lnTo>
                  <a:lnTo>
                    <a:pt x="104" y="77"/>
                  </a:lnTo>
                  <a:lnTo>
                    <a:pt x="95" y="81"/>
                  </a:lnTo>
                  <a:lnTo>
                    <a:pt x="93" y="84"/>
                  </a:lnTo>
                  <a:lnTo>
                    <a:pt x="90" y="85"/>
                  </a:lnTo>
                  <a:lnTo>
                    <a:pt x="90" y="85"/>
                  </a:lnTo>
                  <a:lnTo>
                    <a:pt x="88" y="90"/>
                  </a:lnTo>
                  <a:lnTo>
                    <a:pt x="88" y="97"/>
                  </a:lnTo>
                  <a:lnTo>
                    <a:pt x="87" y="104"/>
                  </a:lnTo>
                  <a:lnTo>
                    <a:pt x="84" y="113"/>
                  </a:lnTo>
                  <a:lnTo>
                    <a:pt x="84" y="113"/>
                  </a:lnTo>
                  <a:lnTo>
                    <a:pt x="75" y="126"/>
                  </a:lnTo>
                  <a:lnTo>
                    <a:pt x="72" y="130"/>
                  </a:lnTo>
                  <a:lnTo>
                    <a:pt x="69" y="134"/>
                  </a:lnTo>
                  <a:lnTo>
                    <a:pt x="69" y="134"/>
                  </a:lnTo>
                  <a:lnTo>
                    <a:pt x="68" y="136"/>
                  </a:lnTo>
                  <a:lnTo>
                    <a:pt x="66" y="137"/>
                  </a:lnTo>
                  <a:lnTo>
                    <a:pt x="59" y="137"/>
                  </a:lnTo>
                  <a:lnTo>
                    <a:pt x="59" y="1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00" name="Freeform 155"/>
            <p:cNvSpPr>
              <a:spLocks noEditPoints="1"/>
            </p:cNvSpPr>
            <p:nvPr/>
          </p:nvSpPr>
          <p:spPr bwMode="auto">
            <a:xfrm>
              <a:off x="4589463" y="4723241"/>
              <a:ext cx="98425" cy="131763"/>
            </a:xfrm>
            <a:custGeom>
              <a:avLst/>
              <a:gdLst>
                <a:gd name="T0" fmla="*/ 62 w 62"/>
                <a:gd name="T1" fmla="*/ 16 h 83"/>
                <a:gd name="T2" fmla="*/ 56 w 62"/>
                <a:gd name="T3" fmla="*/ 0 h 83"/>
                <a:gd name="T4" fmla="*/ 59 w 62"/>
                <a:gd name="T5" fmla="*/ 9 h 83"/>
                <a:gd name="T6" fmla="*/ 59 w 62"/>
                <a:gd name="T7" fmla="*/ 57 h 83"/>
                <a:gd name="T8" fmla="*/ 58 w 62"/>
                <a:gd name="T9" fmla="*/ 51 h 83"/>
                <a:gd name="T10" fmla="*/ 53 w 62"/>
                <a:gd name="T11" fmla="*/ 42 h 83"/>
                <a:gd name="T12" fmla="*/ 52 w 62"/>
                <a:gd name="T13" fmla="*/ 36 h 83"/>
                <a:gd name="T14" fmla="*/ 58 w 62"/>
                <a:gd name="T15" fmla="*/ 51 h 83"/>
                <a:gd name="T16" fmla="*/ 59 w 62"/>
                <a:gd name="T17" fmla="*/ 57 h 83"/>
                <a:gd name="T18" fmla="*/ 35 w 62"/>
                <a:gd name="T19" fmla="*/ 67 h 83"/>
                <a:gd name="T20" fmla="*/ 36 w 62"/>
                <a:gd name="T21" fmla="*/ 67 h 83"/>
                <a:gd name="T22" fmla="*/ 36 w 62"/>
                <a:gd name="T23" fmla="*/ 67 h 83"/>
                <a:gd name="T24" fmla="*/ 36 w 62"/>
                <a:gd name="T25" fmla="*/ 67 h 83"/>
                <a:gd name="T26" fmla="*/ 51 w 62"/>
                <a:gd name="T27" fmla="*/ 70 h 83"/>
                <a:gd name="T28" fmla="*/ 51 w 62"/>
                <a:gd name="T29" fmla="*/ 70 h 83"/>
                <a:gd name="T30" fmla="*/ 46 w 62"/>
                <a:gd name="T31" fmla="*/ 71 h 83"/>
                <a:gd name="T32" fmla="*/ 51 w 62"/>
                <a:gd name="T33" fmla="*/ 70 h 83"/>
                <a:gd name="T34" fmla="*/ 46 w 62"/>
                <a:gd name="T35" fmla="*/ 71 h 83"/>
                <a:gd name="T36" fmla="*/ 46 w 62"/>
                <a:gd name="T37" fmla="*/ 71 h 83"/>
                <a:gd name="T38" fmla="*/ 29 w 62"/>
                <a:gd name="T39" fmla="*/ 78 h 83"/>
                <a:gd name="T40" fmla="*/ 30 w 62"/>
                <a:gd name="T41" fmla="*/ 71 h 83"/>
                <a:gd name="T42" fmla="*/ 35 w 62"/>
                <a:gd name="T43" fmla="*/ 67 h 83"/>
                <a:gd name="T44" fmla="*/ 33 w 62"/>
                <a:gd name="T45" fmla="*/ 68 h 83"/>
                <a:gd name="T46" fmla="*/ 29 w 62"/>
                <a:gd name="T47" fmla="*/ 78 h 83"/>
                <a:gd name="T48" fmla="*/ 27 w 62"/>
                <a:gd name="T49" fmla="*/ 78 h 83"/>
                <a:gd name="T50" fmla="*/ 29 w 62"/>
                <a:gd name="T51" fmla="*/ 78 h 83"/>
                <a:gd name="T52" fmla="*/ 27 w 62"/>
                <a:gd name="T53" fmla="*/ 78 h 83"/>
                <a:gd name="T54" fmla="*/ 27 w 62"/>
                <a:gd name="T55" fmla="*/ 78 h 83"/>
                <a:gd name="T56" fmla="*/ 27 w 62"/>
                <a:gd name="T57" fmla="*/ 78 h 83"/>
                <a:gd name="T58" fmla="*/ 27 w 62"/>
                <a:gd name="T59" fmla="*/ 78 h 83"/>
                <a:gd name="T60" fmla="*/ 27 w 62"/>
                <a:gd name="T61" fmla="*/ 78 h 83"/>
                <a:gd name="T62" fmla="*/ 27 w 62"/>
                <a:gd name="T63" fmla="*/ 78 h 83"/>
                <a:gd name="T64" fmla="*/ 27 w 62"/>
                <a:gd name="T65" fmla="*/ 80 h 83"/>
                <a:gd name="T66" fmla="*/ 27 w 62"/>
                <a:gd name="T67" fmla="*/ 80 h 83"/>
                <a:gd name="T68" fmla="*/ 27 w 62"/>
                <a:gd name="T69" fmla="*/ 80 h 83"/>
                <a:gd name="T70" fmla="*/ 7 w 62"/>
                <a:gd name="T71" fmla="*/ 81 h 83"/>
                <a:gd name="T72" fmla="*/ 14 w 62"/>
                <a:gd name="T73" fmla="*/ 81 h 83"/>
                <a:gd name="T74" fmla="*/ 22 w 62"/>
                <a:gd name="T75" fmla="*/ 80 h 83"/>
                <a:gd name="T76" fmla="*/ 27 w 62"/>
                <a:gd name="T77" fmla="*/ 80 h 83"/>
                <a:gd name="T78" fmla="*/ 14 w 62"/>
                <a:gd name="T79" fmla="*/ 81 h 83"/>
                <a:gd name="T80" fmla="*/ 13 w 62"/>
                <a:gd name="T81" fmla="*/ 81 h 83"/>
                <a:gd name="T82" fmla="*/ 0 w 62"/>
                <a:gd name="T83" fmla="*/ 83 h 83"/>
                <a:gd name="T84" fmla="*/ 0 w 62"/>
                <a:gd name="T85" fmla="*/ 83 h 83"/>
                <a:gd name="T86" fmla="*/ 6 w 62"/>
                <a:gd name="T87" fmla="*/ 8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2" h="83">
                  <a:moveTo>
                    <a:pt x="62" y="16"/>
                  </a:moveTo>
                  <a:lnTo>
                    <a:pt x="62" y="16"/>
                  </a:lnTo>
                  <a:lnTo>
                    <a:pt x="59" y="9"/>
                  </a:lnTo>
                  <a:lnTo>
                    <a:pt x="56" y="0"/>
                  </a:lnTo>
                  <a:lnTo>
                    <a:pt x="56" y="0"/>
                  </a:lnTo>
                  <a:lnTo>
                    <a:pt x="59" y="9"/>
                  </a:lnTo>
                  <a:lnTo>
                    <a:pt x="62" y="16"/>
                  </a:lnTo>
                  <a:close/>
                  <a:moveTo>
                    <a:pt x="59" y="57"/>
                  </a:moveTo>
                  <a:lnTo>
                    <a:pt x="59" y="57"/>
                  </a:lnTo>
                  <a:lnTo>
                    <a:pt x="58" y="51"/>
                  </a:lnTo>
                  <a:lnTo>
                    <a:pt x="58" y="51"/>
                  </a:lnTo>
                  <a:lnTo>
                    <a:pt x="53" y="42"/>
                  </a:lnTo>
                  <a:lnTo>
                    <a:pt x="52" y="36"/>
                  </a:lnTo>
                  <a:lnTo>
                    <a:pt x="52" y="36"/>
                  </a:lnTo>
                  <a:lnTo>
                    <a:pt x="53" y="42"/>
                  </a:lnTo>
                  <a:lnTo>
                    <a:pt x="58" y="51"/>
                  </a:lnTo>
                  <a:lnTo>
                    <a:pt x="58" y="51"/>
                  </a:lnTo>
                  <a:lnTo>
                    <a:pt x="59" y="57"/>
                  </a:lnTo>
                  <a:close/>
                  <a:moveTo>
                    <a:pt x="35" y="67"/>
                  </a:moveTo>
                  <a:lnTo>
                    <a:pt x="35" y="67"/>
                  </a:lnTo>
                  <a:lnTo>
                    <a:pt x="35" y="67"/>
                  </a:lnTo>
                  <a:close/>
                  <a:moveTo>
                    <a:pt x="36" y="67"/>
                  </a:moveTo>
                  <a:lnTo>
                    <a:pt x="36" y="67"/>
                  </a:lnTo>
                  <a:lnTo>
                    <a:pt x="36" y="67"/>
                  </a:lnTo>
                  <a:lnTo>
                    <a:pt x="36" y="67"/>
                  </a:lnTo>
                  <a:lnTo>
                    <a:pt x="36" y="67"/>
                  </a:lnTo>
                  <a:close/>
                  <a:moveTo>
                    <a:pt x="51" y="70"/>
                  </a:moveTo>
                  <a:lnTo>
                    <a:pt x="51" y="70"/>
                  </a:lnTo>
                  <a:lnTo>
                    <a:pt x="51" y="70"/>
                  </a:lnTo>
                  <a:lnTo>
                    <a:pt x="51" y="70"/>
                  </a:lnTo>
                  <a:lnTo>
                    <a:pt x="51" y="70"/>
                  </a:lnTo>
                  <a:close/>
                  <a:moveTo>
                    <a:pt x="46" y="71"/>
                  </a:moveTo>
                  <a:lnTo>
                    <a:pt x="46" y="71"/>
                  </a:lnTo>
                  <a:lnTo>
                    <a:pt x="51" y="70"/>
                  </a:lnTo>
                  <a:lnTo>
                    <a:pt x="51" y="70"/>
                  </a:lnTo>
                  <a:lnTo>
                    <a:pt x="46" y="71"/>
                  </a:lnTo>
                  <a:close/>
                  <a:moveTo>
                    <a:pt x="46" y="71"/>
                  </a:moveTo>
                  <a:lnTo>
                    <a:pt x="46" y="71"/>
                  </a:lnTo>
                  <a:lnTo>
                    <a:pt x="46" y="71"/>
                  </a:lnTo>
                  <a:close/>
                  <a:moveTo>
                    <a:pt x="29" y="78"/>
                  </a:moveTo>
                  <a:lnTo>
                    <a:pt x="29" y="78"/>
                  </a:lnTo>
                  <a:lnTo>
                    <a:pt x="30" y="71"/>
                  </a:lnTo>
                  <a:lnTo>
                    <a:pt x="33" y="68"/>
                  </a:lnTo>
                  <a:lnTo>
                    <a:pt x="35" y="67"/>
                  </a:lnTo>
                  <a:lnTo>
                    <a:pt x="35" y="67"/>
                  </a:lnTo>
                  <a:lnTo>
                    <a:pt x="33" y="68"/>
                  </a:lnTo>
                  <a:lnTo>
                    <a:pt x="30" y="71"/>
                  </a:lnTo>
                  <a:lnTo>
                    <a:pt x="29" y="78"/>
                  </a:lnTo>
                  <a:close/>
                  <a:moveTo>
                    <a:pt x="27" y="78"/>
                  </a:moveTo>
                  <a:lnTo>
                    <a:pt x="27" y="78"/>
                  </a:lnTo>
                  <a:lnTo>
                    <a:pt x="29" y="78"/>
                  </a:lnTo>
                  <a:lnTo>
                    <a:pt x="29" y="78"/>
                  </a:lnTo>
                  <a:lnTo>
                    <a:pt x="27" y="78"/>
                  </a:lnTo>
                  <a:close/>
                  <a:moveTo>
                    <a:pt x="27" y="78"/>
                  </a:moveTo>
                  <a:lnTo>
                    <a:pt x="27" y="78"/>
                  </a:lnTo>
                  <a:lnTo>
                    <a:pt x="27" y="78"/>
                  </a:lnTo>
                  <a:lnTo>
                    <a:pt x="27" y="78"/>
                  </a:lnTo>
                  <a:lnTo>
                    <a:pt x="27" y="78"/>
                  </a:lnTo>
                  <a:close/>
                  <a:moveTo>
                    <a:pt x="27" y="78"/>
                  </a:moveTo>
                  <a:lnTo>
                    <a:pt x="27" y="78"/>
                  </a:lnTo>
                  <a:close/>
                  <a:moveTo>
                    <a:pt x="27" y="78"/>
                  </a:moveTo>
                  <a:lnTo>
                    <a:pt x="27" y="78"/>
                  </a:lnTo>
                  <a:lnTo>
                    <a:pt x="27" y="78"/>
                  </a:lnTo>
                  <a:lnTo>
                    <a:pt x="27" y="78"/>
                  </a:lnTo>
                  <a:lnTo>
                    <a:pt x="27" y="78"/>
                  </a:lnTo>
                  <a:close/>
                  <a:moveTo>
                    <a:pt x="27" y="80"/>
                  </a:moveTo>
                  <a:lnTo>
                    <a:pt x="27" y="80"/>
                  </a:lnTo>
                  <a:lnTo>
                    <a:pt x="27" y="80"/>
                  </a:lnTo>
                  <a:lnTo>
                    <a:pt x="27" y="80"/>
                  </a:lnTo>
                  <a:lnTo>
                    <a:pt x="27" y="80"/>
                  </a:lnTo>
                  <a:close/>
                  <a:moveTo>
                    <a:pt x="7" y="81"/>
                  </a:moveTo>
                  <a:lnTo>
                    <a:pt x="7" y="81"/>
                  </a:lnTo>
                  <a:lnTo>
                    <a:pt x="7" y="81"/>
                  </a:lnTo>
                  <a:close/>
                  <a:moveTo>
                    <a:pt x="14" y="81"/>
                  </a:moveTo>
                  <a:lnTo>
                    <a:pt x="14" y="81"/>
                  </a:lnTo>
                  <a:lnTo>
                    <a:pt x="22" y="80"/>
                  </a:lnTo>
                  <a:lnTo>
                    <a:pt x="27" y="80"/>
                  </a:lnTo>
                  <a:lnTo>
                    <a:pt x="27" y="80"/>
                  </a:lnTo>
                  <a:lnTo>
                    <a:pt x="22" y="80"/>
                  </a:lnTo>
                  <a:lnTo>
                    <a:pt x="14" y="81"/>
                  </a:lnTo>
                  <a:close/>
                  <a:moveTo>
                    <a:pt x="13" y="81"/>
                  </a:moveTo>
                  <a:lnTo>
                    <a:pt x="13" y="81"/>
                  </a:lnTo>
                  <a:lnTo>
                    <a:pt x="13" y="81"/>
                  </a:lnTo>
                  <a:close/>
                  <a:moveTo>
                    <a:pt x="0" y="83"/>
                  </a:moveTo>
                  <a:lnTo>
                    <a:pt x="0" y="83"/>
                  </a:lnTo>
                  <a:lnTo>
                    <a:pt x="0" y="83"/>
                  </a:lnTo>
                  <a:lnTo>
                    <a:pt x="6" y="81"/>
                  </a:lnTo>
                  <a:lnTo>
                    <a:pt x="6" y="81"/>
                  </a:lnTo>
                  <a:lnTo>
                    <a:pt x="0" y="83"/>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01" name="Freeform 156"/>
            <p:cNvSpPr>
              <a:spLocks/>
            </p:cNvSpPr>
            <p:nvPr/>
          </p:nvSpPr>
          <p:spPr bwMode="auto">
            <a:xfrm>
              <a:off x="4678363" y="4723241"/>
              <a:ext cx="9525" cy="25400"/>
            </a:xfrm>
            <a:custGeom>
              <a:avLst/>
              <a:gdLst>
                <a:gd name="T0" fmla="*/ 6 w 6"/>
                <a:gd name="T1" fmla="*/ 16 h 16"/>
                <a:gd name="T2" fmla="*/ 6 w 6"/>
                <a:gd name="T3" fmla="*/ 16 h 16"/>
                <a:gd name="T4" fmla="*/ 3 w 6"/>
                <a:gd name="T5" fmla="*/ 9 h 16"/>
                <a:gd name="T6" fmla="*/ 0 w 6"/>
                <a:gd name="T7" fmla="*/ 0 h 16"/>
                <a:gd name="T8" fmla="*/ 0 w 6"/>
                <a:gd name="T9" fmla="*/ 0 h 16"/>
                <a:gd name="T10" fmla="*/ 3 w 6"/>
                <a:gd name="T11" fmla="*/ 9 h 16"/>
                <a:gd name="T12" fmla="*/ 6 w 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6" y="16"/>
                  </a:moveTo>
                  <a:lnTo>
                    <a:pt x="6" y="16"/>
                  </a:lnTo>
                  <a:lnTo>
                    <a:pt x="3" y="9"/>
                  </a:lnTo>
                  <a:lnTo>
                    <a:pt x="0" y="0"/>
                  </a:lnTo>
                  <a:lnTo>
                    <a:pt x="0" y="0"/>
                  </a:lnTo>
                  <a:lnTo>
                    <a:pt x="3" y="9"/>
                  </a:lnTo>
                  <a:lnTo>
                    <a:pt x="6"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02" name="Freeform 157"/>
            <p:cNvSpPr>
              <a:spLocks/>
            </p:cNvSpPr>
            <p:nvPr/>
          </p:nvSpPr>
          <p:spPr bwMode="auto">
            <a:xfrm>
              <a:off x="4672013" y="4780391"/>
              <a:ext cx="11113" cy="33338"/>
            </a:xfrm>
            <a:custGeom>
              <a:avLst/>
              <a:gdLst>
                <a:gd name="T0" fmla="*/ 7 w 7"/>
                <a:gd name="T1" fmla="*/ 21 h 21"/>
                <a:gd name="T2" fmla="*/ 7 w 7"/>
                <a:gd name="T3" fmla="*/ 21 h 21"/>
                <a:gd name="T4" fmla="*/ 6 w 7"/>
                <a:gd name="T5" fmla="*/ 15 h 21"/>
                <a:gd name="T6" fmla="*/ 6 w 7"/>
                <a:gd name="T7" fmla="*/ 15 h 21"/>
                <a:gd name="T8" fmla="*/ 1 w 7"/>
                <a:gd name="T9" fmla="*/ 6 h 21"/>
                <a:gd name="T10" fmla="*/ 0 w 7"/>
                <a:gd name="T11" fmla="*/ 0 h 21"/>
                <a:gd name="T12" fmla="*/ 0 w 7"/>
                <a:gd name="T13" fmla="*/ 0 h 21"/>
                <a:gd name="T14" fmla="*/ 1 w 7"/>
                <a:gd name="T15" fmla="*/ 6 h 21"/>
                <a:gd name="T16" fmla="*/ 6 w 7"/>
                <a:gd name="T17" fmla="*/ 15 h 21"/>
                <a:gd name="T18" fmla="*/ 6 w 7"/>
                <a:gd name="T19" fmla="*/ 15 h 21"/>
                <a:gd name="T20" fmla="*/ 7 w 7"/>
                <a:gd name="T21"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21">
                  <a:moveTo>
                    <a:pt x="7" y="21"/>
                  </a:moveTo>
                  <a:lnTo>
                    <a:pt x="7" y="21"/>
                  </a:lnTo>
                  <a:lnTo>
                    <a:pt x="6" y="15"/>
                  </a:lnTo>
                  <a:lnTo>
                    <a:pt x="6" y="15"/>
                  </a:lnTo>
                  <a:lnTo>
                    <a:pt x="1" y="6"/>
                  </a:lnTo>
                  <a:lnTo>
                    <a:pt x="0" y="0"/>
                  </a:lnTo>
                  <a:lnTo>
                    <a:pt x="0" y="0"/>
                  </a:lnTo>
                  <a:lnTo>
                    <a:pt x="1" y="6"/>
                  </a:lnTo>
                  <a:lnTo>
                    <a:pt x="6" y="15"/>
                  </a:lnTo>
                  <a:lnTo>
                    <a:pt x="6" y="15"/>
                  </a:lnTo>
                  <a:lnTo>
                    <a:pt x="7"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03" name="Freeform 158"/>
            <p:cNvSpPr>
              <a:spLocks/>
            </p:cNvSpPr>
            <p:nvPr/>
          </p:nvSpPr>
          <p:spPr bwMode="auto">
            <a:xfrm>
              <a:off x="4645025" y="482960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04" name="Rectangle 159"/>
            <p:cNvSpPr>
              <a:spLocks noChangeArrowheads="1"/>
            </p:cNvSpPr>
            <p:nvPr/>
          </p:nvSpPr>
          <p:spPr bwMode="auto">
            <a:xfrm>
              <a:off x="4646613" y="4829604"/>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05" name="Rectangle 160"/>
            <p:cNvSpPr>
              <a:spLocks noChangeArrowheads="1"/>
            </p:cNvSpPr>
            <p:nvPr/>
          </p:nvSpPr>
          <p:spPr bwMode="auto">
            <a:xfrm>
              <a:off x="4670425" y="4834366"/>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06" name="Freeform 161"/>
            <p:cNvSpPr>
              <a:spLocks/>
            </p:cNvSpPr>
            <p:nvPr/>
          </p:nvSpPr>
          <p:spPr bwMode="auto">
            <a:xfrm>
              <a:off x="4662488" y="4834366"/>
              <a:ext cx="7938" cy="1588"/>
            </a:xfrm>
            <a:custGeom>
              <a:avLst/>
              <a:gdLst>
                <a:gd name="T0" fmla="*/ 0 w 5"/>
                <a:gd name="T1" fmla="*/ 1 h 1"/>
                <a:gd name="T2" fmla="*/ 0 w 5"/>
                <a:gd name="T3" fmla="*/ 1 h 1"/>
                <a:gd name="T4" fmla="*/ 5 w 5"/>
                <a:gd name="T5" fmla="*/ 0 h 1"/>
                <a:gd name="T6" fmla="*/ 5 w 5"/>
                <a:gd name="T7" fmla="*/ 0 h 1"/>
                <a:gd name="T8" fmla="*/ 0 w 5"/>
                <a:gd name="T9" fmla="*/ 1 h 1"/>
              </a:gdLst>
              <a:ahLst/>
              <a:cxnLst>
                <a:cxn ang="0">
                  <a:pos x="T0" y="T1"/>
                </a:cxn>
                <a:cxn ang="0">
                  <a:pos x="T2" y="T3"/>
                </a:cxn>
                <a:cxn ang="0">
                  <a:pos x="T4" y="T5"/>
                </a:cxn>
                <a:cxn ang="0">
                  <a:pos x="T6" y="T7"/>
                </a:cxn>
                <a:cxn ang="0">
                  <a:pos x="T8" y="T9"/>
                </a:cxn>
              </a:cxnLst>
              <a:rect l="0" t="0" r="r" b="b"/>
              <a:pathLst>
                <a:path w="5" h="1">
                  <a:moveTo>
                    <a:pt x="0" y="1"/>
                  </a:moveTo>
                  <a:lnTo>
                    <a:pt x="0" y="1"/>
                  </a:lnTo>
                  <a:lnTo>
                    <a:pt x="5" y="0"/>
                  </a:lnTo>
                  <a:lnTo>
                    <a:pt x="5" y="0"/>
                  </a:lnTo>
                  <a:lnTo>
                    <a:pt x="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07" name="Freeform 162"/>
            <p:cNvSpPr>
              <a:spLocks/>
            </p:cNvSpPr>
            <p:nvPr/>
          </p:nvSpPr>
          <p:spPr bwMode="auto">
            <a:xfrm>
              <a:off x="4662488" y="483595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08" name="Freeform 163"/>
            <p:cNvSpPr>
              <a:spLocks/>
            </p:cNvSpPr>
            <p:nvPr/>
          </p:nvSpPr>
          <p:spPr bwMode="auto">
            <a:xfrm>
              <a:off x="4635500" y="4829604"/>
              <a:ext cx="9525" cy="17463"/>
            </a:xfrm>
            <a:custGeom>
              <a:avLst/>
              <a:gdLst>
                <a:gd name="T0" fmla="*/ 0 w 6"/>
                <a:gd name="T1" fmla="*/ 11 h 11"/>
                <a:gd name="T2" fmla="*/ 0 w 6"/>
                <a:gd name="T3" fmla="*/ 11 h 11"/>
                <a:gd name="T4" fmla="*/ 1 w 6"/>
                <a:gd name="T5" fmla="*/ 4 h 11"/>
                <a:gd name="T6" fmla="*/ 4 w 6"/>
                <a:gd name="T7" fmla="*/ 1 h 11"/>
                <a:gd name="T8" fmla="*/ 6 w 6"/>
                <a:gd name="T9" fmla="*/ 0 h 11"/>
                <a:gd name="T10" fmla="*/ 6 w 6"/>
                <a:gd name="T11" fmla="*/ 0 h 11"/>
                <a:gd name="T12" fmla="*/ 4 w 6"/>
                <a:gd name="T13" fmla="*/ 1 h 11"/>
                <a:gd name="T14" fmla="*/ 1 w 6"/>
                <a:gd name="T15" fmla="*/ 4 h 11"/>
                <a:gd name="T16" fmla="*/ 0 w 6"/>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1">
                  <a:moveTo>
                    <a:pt x="0" y="11"/>
                  </a:moveTo>
                  <a:lnTo>
                    <a:pt x="0" y="11"/>
                  </a:lnTo>
                  <a:lnTo>
                    <a:pt x="1" y="4"/>
                  </a:lnTo>
                  <a:lnTo>
                    <a:pt x="4" y="1"/>
                  </a:lnTo>
                  <a:lnTo>
                    <a:pt x="6" y="0"/>
                  </a:lnTo>
                  <a:lnTo>
                    <a:pt x="6" y="0"/>
                  </a:lnTo>
                  <a:lnTo>
                    <a:pt x="4" y="1"/>
                  </a:lnTo>
                  <a:lnTo>
                    <a:pt x="1" y="4"/>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09" name="Rectangle 164"/>
            <p:cNvSpPr>
              <a:spLocks noChangeArrowheads="1"/>
            </p:cNvSpPr>
            <p:nvPr/>
          </p:nvSpPr>
          <p:spPr bwMode="auto">
            <a:xfrm>
              <a:off x="4632325" y="4847066"/>
              <a:ext cx="3175"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10" name="Rectangle 165"/>
            <p:cNvSpPr>
              <a:spLocks noChangeArrowheads="1"/>
            </p:cNvSpPr>
            <p:nvPr/>
          </p:nvSpPr>
          <p:spPr bwMode="auto">
            <a:xfrm>
              <a:off x="4632325" y="4847066"/>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11" name="Line 166"/>
            <p:cNvSpPr>
              <a:spLocks noChangeShapeType="1"/>
            </p:cNvSpPr>
            <p:nvPr/>
          </p:nvSpPr>
          <p:spPr bwMode="auto">
            <a:xfrm>
              <a:off x="4632325" y="4847066"/>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12" name="Rectangle 167"/>
            <p:cNvSpPr>
              <a:spLocks noChangeArrowheads="1"/>
            </p:cNvSpPr>
            <p:nvPr/>
          </p:nvSpPr>
          <p:spPr bwMode="auto">
            <a:xfrm>
              <a:off x="4632325" y="4847066"/>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13" name="Rectangle 168"/>
            <p:cNvSpPr>
              <a:spLocks noChangeArrowheads="1"/>
            </p:cNvSpPr>
            <p:nvPr/>
          </p:nvSpPr>
          <p:spPr bwMode="auto">
            <a:xfrm>
              <a:off x="4632325" y="4850241"/>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14" name="Freeform 169"/>
            <p:cNvSpPr>
              <a:spLocks/>
            </p:cNvSpPr>
            <p:nvPr/>
          </p:nvSpPr>
          <p:spPr bwMode="auto">
            <a:xfrm>
              <a:off x="4600575" y="485182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15" name="Freeform 170"/>
            <p:cNvSpPr>
              <a:spLocks/>
            </p:cNvSpPr>
            <p:nvPr/>
          </p:nvSpPr>
          <p:spPr bwMode="auto">
            <a:xfrm>
              <a:off x="4611688" y="4850241"/>
              <a:ext cx="20638" cy="1588"/>
            </a:xfrm>
            <a:custGeom>
              <a:avLst/>
              <a:gdLst>
                <a:gd name="T0" fmla="*/ 0 w 13"/>
                <a:gd name="T1" fmla="*/ 1 h 1"/>
                <a:gd name="T2" fmla="*/ 0 w 13"/>
                <a:gd name="T3" fmla="*/ 1 h 1"/>
                <a:gd name="T4" fmla="*/ 8 w 13"/>
                <a:gd name="T5" fmla="*/ 0 h 1"/>
                <a:gd name="T6" fmla="*/ 13 w 13"/>
                <a:gd name="T7" fmla="*/ 0 h 1"/>
                <a:gd name="T8" fmla="*/ 13 w 13"/>
                <a:gd name="T9" fmla="*/ 0 h 1"/>
                <a:gd name="T10" fmla="*/ 8 w 13"/>
                <a:gd name="T11" fmla="*/ 0 h 1"/>
                <a:gd name="T12" fmla="*/ 0 w 13"/>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3" h="1">
                  <a:moveTo>
                    <a:pt x="0" y="1"/>
                  </a:moveTo>
                  <a:lnTo>
                    <a:pt x="0" y="1"/>
                  </a:lnTo>
                  <a:lnTo>
                    <a:pt x="8" y="0"/>
                  </a:lnTo>
                  <a:lnTo>
                    <a:pt x="13" y="0"/>
                  </a:lnTo>
                  <a:lnTo>
                    <a:pt x="13" y="0"/>
                  </a:lnTo>
                  <a:lnTo>
                    <a:pt x="8" y="0"/>
                  </a:lnTo>
                  <a:lnTo>
                    <a:pt x="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16" name="Freeform 171"/>
            <p:cNvSpPr>
              <a:spLocks/>
            </p:cNvSpPr>
            <p:nvPr/>
          </p:nvSpPr>
          <p:spPr bwMode="auto">
            <a:xfrm>
              <a:off x="4610100" y="485182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17" name="Freeform 172"/>
            <p:cNvSpPr>
              <a:spLocks/>
            </p:cNvSpPr>
            <p:nvPr/>
          </p:nvSpPr>
          <p:spPr bwMode="auto">
            <a:xfrm>
              <a:off x="4589463" y="4851829"/>
              <a:ext cx="9525" cy="3175"/>
            </a:xfrm>
            <a:custGeom>
              <a:avLst/>
              <a:gdLst>
                <a:gd name="T0" fmla="*/ 0 w 6"/>
                <a:gd name="T1" fmla="*/ 2 h 2"/>
                <a:gd name="T2" fmla="*/ 0 w 6"/>
                <a:gd name="T3" fmla="*/ 2 h 2"/>
                <a:gd name="T4" fmla="*/ 0 w 6"/>
                <a:gd name="T5" fmla="*/ 2 h 2"/>
                <a:gd name="T6" fmla="*/ 6 w 6"/>
                <a:gd name="T7" fmla="*/ 0 h 2"/>
                <a:gd name="T8" fmla="*/ 6 w 6"/>
                <a:gd name="T9" fmla="*/ 0 h 2"/>
                <a:gd name="T10" fmla="*/ 0 w 6"/>
                <a:gd name="T11" fmla="*/ 2 h 2"/>
              </a:gdLst>
              <a:ahLst/>
              <a:cxnLst>
                <a:cxn ang="0">
                  <a:pos x="T0" y="T1"/>
                </a:cxn>
                <a:cxn ang="0">
                  <a:pos x="T2" y="T3"/>
                </a:cxn>
                <a:cxn ang="0">
                  <a:pos x="T4" y="T5"/>
                </a:cxn>
                <a:cxn ang="0">
                  <a:pos x="T6" y="T7"/>
                </a:cxn>
                <a:cxn ang="0">
                  <a:pos x="T8" y="T9"/>
                </a:cxn>
                <a:cxn ang="0">
                  <a:pos x="T10" y="T11"/>
                </a:cxn>
              </a:cxnLst>
              <a:rect l="0" t="0" r="r" b="b"/>
              <a:pathLst>
                <a:path w="6" h="2">
                  <a:moveTo>
                    <a:pt x="0" y="2"/>
                  </a:moveTo>
                  <a:lnTo>
                    <a:pt x="0" y="2"/>
                  </a:lnTo>
                  <a:lnTo>
                    <a:pt x="0" y="2"/>
                  </a:lnTo>
                  <a:lnTo>
                    <a:pt x="6" y="0"/>
                  </a:lnTo>
                  <a:lnTo>
                    <a:pt x="6"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18" name="Freeform 173"/>
            <p:cNvSpPr>
              <a:spLocks/>
            </p:cNvSpPr>
            <p:nvPr/>
          </p:nvSpPr>
          <p:spPr bwMode="auto">
            <a:xfrm>
              <a:off x="4630738" y="4635929"/>
              <a:ext cx="488950" cy="476250"/>
            </a:xfrm>
            <a:custGeom>
              <a:avLst/>
              <a:gdLst>
                <a:gd name="T0" fmla="*/ 265 w 308"/>
                <a:gd name="T1" fmla="*/ 293 h 300"/>
                <a:gd name="T2" fmla="*/ 256 w 308"/>
                <a:gd name="T3" fmla="*/ 284 h 300"/>
                <a:gd name="T4" fmla="*/ 211 w 308"/>
                <a:gd name="T5" fmla="*/ 265 h 300"/>
                <a:gd name="T6" fmla="*/ 211 w 308"/>
                <a:gd name="T7" fmla="*/ 265 h 300"/>
                <a:gd name="T8" fmla="*/ 206 w 308"/>
                <a:gd name="T9" fmla="*/ 265 h 300"/>
                <a:gd name="T10" fmla="*/ 200 w 308"/>
                <a:gd name="T11" fmla="*/ 267 h 300"/>
                <a:gd name="T12" fmla="*/ 198 w 308"/>
                <a:gd name="T13" fmla="*/ 267 h 300"/>
                <a:gd name="T14" fmla="*/ 185 w 308"/>
                <a:gd name="T15" fmla="*/ 259 h 300"/>
                <a:gd name="T16" fmla="*/ 181 w 308"/>
                <a:gd name="T17" fmla="*/ 259 h 300"/>
                <a:gd name="T18" fmla="*/ 180 w 308"/>
                <a:gd name="T19" fmla="*/ 259 h 300"/>
                <a:gd name="T20" fmla="*/ 161 w 308"/>
                <a:gd name="T21" fmla="*/ 259 h 300"/>
                <a:gd name="T22" fmla="*/ 159 w 308"/>
                <a:gd name="T23" fmla="*/ 255 h 300"/>
                <a:gd name="T24" fmla="*/ 153 w 308"/>
                <a:gd name="T25" fmla="*/ 228 h 300"/>
                <a:gd name="T26" fmla="*/ 156 w 308"/>
                <a:gd name="T27" fmla="*/ 202 h 300"/>
                <a:gd name="T28" fmla="*/ 155 w 308"/>
                <a:gd name="T29" fmla="*/ 202 h 300"/>
                <a:gd name="T30" fmla="*/ 143 w 308"/>
                <a:gd name="T31" fmla="*/ 203 h 300"/>
                <a:gd name="T32" fmla="*/ 138 w 308"/>
                <a:gd name="T33" fmla="*/ 202 h 300"/>
                <a:gd name="T34" fmla="*/ 138 w 308"/>
                <a:gd name="T35" fmla="*/ 200 h 300"/>
                <a:gd name="T36" fmla="*/ 130 w 308"/>
                <a:gd name="T37" fmla="*/ 197 h 300"/>
                <a:gd name="T38" fmla="*/ 119 w 308"/>
                <a:gd name="T39" fmla="*/ 194 h 300"/>
                <a:gd name="T40" fmla="*/ 113 w 308"/>
                <a:gd name="T41" fmla="*/ 203 h 300"/>
                <a:gd name="T42" fmla="*/ 90 w 308"/>
                <a:gd name="T43" fmla="*/ 215 h 300"/>
                <a:gd name="T44" fmla="*/ 74 w 308"/>
                <a:gd name="T45" fmla="*/ 188 h 300"/>
                <a:gd name="T46" fmla="*/ 14 w 308"/>
                <a:gd name="T47" fmla="*/ 181 h 300"/>
                <a:gd name="T48" fmla="*/ 0 w 308"/>
                <a:gd name="T49" fmla="*/ 175 h 300"/>
                <a:gd name="T50" fmla="*/ 20 w 308"/>
                <a:gd name="T51" fmla="*/ 162 h 300"/>
                <a:gd name="T52" fmla="*/ 20 w 308"/>
                <a:gd name="T53" fmla="*/ 162 h 300"/>
                <a:gd name="T54" fmla="*/ 25 w 308"/>
                <a:gd name="T55" fmla="*/ 162 h 300"/>
                <a:gd name="T56" fmla="*/ 43 w 308"/>
                <a:gd name="T57" fmla="*/ 159 h 300"/>
                <a:gd name="T58" fmla="*/ 64 w 308"/>
                <a:gd name="T59" fmla="*/ 110 h 300"/>
                <a:gd name="T60" fmla="*/ 91 w 308"/>
                <a:gd name="T61" fmla="*/ 87 h 300"/>
                <a:gd name="T62" fmla="*/ 104 w 308"/>
                <a:gd name="T63" fmla="*/ 25 h 300"/>
                <a:gd name="T64" fmla="*/ 111 w 308"/>
                <a:gd name="T65" fmla="*/ 9 h 300"/>
                <a:gd name="T66" fmla="*/ 123 w 308"/>
                <a:gd name="T67" fmla="*/ 12 h 300"/>
                <a:gd name="T68" fmla="*/ 175 w 308"/>
                <a:gd name="T69" fmla="*/ 12 h 300"/>
                <a:gd name="T70" fmla="*/ 200 w 308"/>
                <a:gd name="T71" fmla="*/ 7 h 300"/>
                <a:gd name="T72" fmla="*/ 216 w 308"/>
                <a:gd name="T73" fmla="*/ 5 h 300"/>
                <a:gd name="T74" fmla="*/ 223 w 308"/>
                <a:gd name="T75" fmla="*/ 0 h 300"/>
                <a:gd name="T76" fmla="*/ 243 w 308"/>
                <a:gd name="T77" fmla="*/ 6 h 300"/>
                <a:gd name="T78" fmla="*/ 255 w 308"/>
                <a:gd name="T79" fmla="*/ 12 h 300"/>
                <a:gd name="T80" fmla="*/ 265 w 308"/>
                <a:gd name="T81" fmla="*/ 16 h 300"/>
                <a:gd name="T82" fmla="*/ 265 w 308"/>
                <a:gd name="T83" fmla="*/ 16 h 300"/>
                <a:gd name="T84" fmla="*/ 275 w 308"/>
                <a:gd name="T85" fmla="*/ 9 h 300"/>
                <a:gd name="T86" fmla="*/ 285 w 308"/>
                <a:gd name="T87" fmla="*/ 10 h 300"/>
                <a:gd name="T88" fmla="*/ 290 w 308"/>
                <a:gd name="T89" fmla="*/ 16 h 300"/>
                <a:gd name="T90" fmla="*/ 306 w 308"/>
                <a:gd name="T91" fmla="*/ 22 h 300"/>
                <a:gd name="T92" fmla="*/ 298 w 308"/>
                <a:gd name="T93" fmla="*/ 61 h 300"/>
                <a:gd name="T94" fmla="*/ 284 w 308"/>
                <a:gd name="T95" fmla="*/ 86 h 300"/>
                <a:gd name="T96" fmla="*/ 269 w 308"/>
                <a:gd name="T97" fmla="*/ 122 h 300"/>
                <a:gd name="T98" fmla="*/ 269 w 308"/>
                <a:gd name="T99" fmla="*/ 125 h 300"/>
                <a:gd name="T100" fmla="*/ 271 w 308"/>
                <a:gd name="T101" fmla="*/ 149 h 300"/>
                <a:gd name="T102" fmla="*/ 282 w 308"/>
                <a:gd name="T103" fmla="*/ 191 h 300"/>
                <a:gd name="T104" fmla="*/ 295 w 308"/>
                <a:gd name="T105" fmla="*/ 215 h 300"/>
                <a:gd name="T106" fmla="*/ 275 w 308"/>
                <a:gd name="T107" fmla="*/ 217 h 300"/>
                <a:gd name="T108" fmla="*/ 264 w 308"/>
                <a:gd name="T109" fmla="*/ 242 h 300"/>
                <a:gd name="T110" fmla="*/ 266 w 308"/>
                <a:gd name="T111" fmla="*/ 274 h 300"/>
                <a:gd name="T112" fmla="*/ 279 w 308"/>
                <a:gd name="T113" fmla="*/ 286 h 300"/>
                <a:gd name="T114" fmla="*/ 285 w 308"/>
                <a:gd name="T115" fmla="*/ 284 h 300"/>
                <a:gd name="T116" fmla="*/ 290 w 308"/>
                <a:gd name="T117" fmla="*/ 284 h 300"/>
                <a:gd name="T118" fmla="*/ 287 w 308"/>
                <a:gd name="T119" fmla="*/ 294 h 300"/>
                <a:gd name="T120" fmla="*/ 277 w 308"/>
                <a:gd name="T121"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8" h="300">
                  <a:moveTo>
                    <a:pt x="277" y="300"/>
                  </a:moveTo>
                  <a:lnTo>
                    <a:pt x="277" y="300"/>
                  </a:lnTo>
                  <a:lnTo>
                    <a:pt x="277" y="300"/>
                  </a:lnTo>
                  <a:lnTo>
                    <a:pt x="269" y="299"/>
                  </a:lnTo>
                  <a:lnTo>
                    <a:pt x="266" y="297"/>
                  </a:lnTo>
                  <a:lnTo>
                    <a:pt x="265" y="294"/>
                  </a:lnTo>
                  <a:lnTo>
                    <a:pt x="265" y="294"/>
                  </a:lnTo>
                  <a:lnTo>
                    <a:pt x="265" y="293"/>
                  </a:lnTo>
                  <a:lnTo>
                    <a:pt x="265" y="293"/>
                  </a:lnTo>
                  <a:lnTo>
                    <a:pt x="265" y="293"/>
                  </a:lnTo>
                  <a:lnTo>
                    <a:pt x="264" y="293"/>
                  </a:lnTo>
                  <a:lnTo>
                    <a:pt x="264" y="293"/>
                  </a:lnTo>
                  <a:lnTo>
                    <a:pt x="264" y="293"/>
                  </a:lnTo>
                  <a:lnTo>
                    <a:pt x="264" y="293"/>
                  </a:lnTo>
                  <a:lnTo>
                    <a:pt x="261" y="287"/>
                  </a:lnTo>
                  <a:lnTo>
                    <a:pt x="256" y="284"/>
                  </a:lnTo>
                  <a:lnTo>
                    <a:pt x="245" y="277"/>
                  </a:lnTo>
                  <a:lnTo>
                    <a:pt x="245" y="277"/>
                  </a:lnTo>
                  <a:lnTo>
                    <a:pt x="227" y="271"/>
                  </a:lnTo>
                  <a:lnTo>
                    <a:pt x="213" y="265"/>
                  </a:lnTo>
                  <a:lnTo>
                    <a:pt x="213" y="265"/>
                  </a:lnTo>
                  <a:lnTo>
                    <a:pt x="211" y="265"/>
                  </a:lnTo>
                  <a:lnTo>
                    <a:pt x="211" y="265"/>
                  </a:lnTo>
                  <a:lnTo>
                    <a:pt x="211" y="265"/>
                  </a:lnTo>
                  <a:lnTo>
                    <a:pt x="211" y="265"/>
                  </a:lnTo>
                  <a:lnTo>
                    <a:pt x="211" y="265"/>
                  </a:lnTo>
                  <a:lnTo>
                    <a:pt x="211" y="265"/>
                  </a:lnTo>
                  <a:lnTo>
                    <a:pt x="211" y="265"/>
                  </a:lnTo>
                  <a:lnTo>
                    <a:pt x="211" y="265"/>
                  </a:lnTo>
                  <a:lnTo>
                    <a:pt x="211" y="265"/>
                  </a:lnTo>
                  <a:lnTo>
                    <a:pt x="211" y="265"/>
                  </a:lnTo>
                  <a:lnTo>
                    <a:pt x="211" y="265"/>
                  </a:lnTo>
                  <a:lnTo>
                    <a:pt x="211" y="265"/>
                  </a:lnTo>
                  <a:lnTo>
                    <a:pt x="211" y="265"/>
                  </a:lnTo>
                  <a:lnTo>
                    <a:pt x="211" y="265"/>
                  </a:lnTo>
                  <a:lnTo>
                    <a:pt x="211" y="265"/>
                  </a:lnTo>
                  <a:lnTo>
                    <a:pt x="211" y="265"/>
                  </a:lnTo>
                  <a:lnTo>
                    <a:pt x="210" y="265"/>
                  </a:lnTo>
                  <a:lnTo>
                    <a:pt x="210" y="265"/>
                  </a:lnTo>
                  <a:lnTo>
                    <a:pt x="206" y="265"/>
                  </a:lnTo>
                  <a:lnTo>
                    <a:pt x="206" y="265"/>
                  </a:lnTo>
                  <a:lnTo>
                    <a:pt x="201" y="267"/>
                  </a:lnTo>
                  <a:lnTo>
                    <a:pt x="201" y="267"/>
                  </a:lnTo>
                  <a:lnTo>
                    <a:pt x="200" y="267"/>
                  </a:lnTo>
                  <a:lnTo>
                    <a:pt x="200" y="267"/>
                  </a:lnTo>
                  <a:lnTo>
                    <a:pt x="200" y="267"/>
                  </a:lnTo>
                  <a:lnTo>
                    <a:pt x="200" y="267"/>
                  </a:lnTo>
                  <a:lnTo>
                    <a:pt x="200" y="267"/>
                  </a:lnTo>
                  <a:lnTo>
                    <a:pt x="200" y="267"/>
                  </a:lnTo>
                  <a:lnTo>
                    <a:pt x="200" y="267"/>
                  </a:lnTo>
                  <a:lnTo>
                    <a:pt x="198" y="267"/>
                  </a:lnTo>
                  <a:lnTo>
                    <a:pt x="198" y="267"/>
                  </a:lnTo>
                  <a:lnTo>
                    <a:pt x="198" y="267"/>
                  </a:lnTo>
                  <a:lnTo>
                    <a:pt x="198" y="267"/>
                  </a:lnTo>
                  <a:lnTo>
                    <a:pt x="198" y="267"/>
                  </a:lnTo>
                  <a:lnTo>
                    <a:pt x="198" y="267"/>
                  </a:lnTo>
                  <a:lnTo>
                    <a:pt x="198" y="267"/>
                  </a:lnTo>
                  <a:lnTo>
                    <a:pt x="193" y="262"/>
                  </a:lnTo>
                  <a:lnTo>
                    <a:pt x="190" y="259"/>
                  </a:lnTo>
                  <a:lnTo>
                    <a:pt x="190" y="259"/>
                  </a:lnTo>
                  <a:lnTo>
                    <a:pt x="185" y="259"/>
                  </a:lnTo>
                  <a:lnTo>
                    <a:pt x="185" y="259"/>
                  </a:lnTo>
                  <a:lnTo>
                    <a:pt x="185" y="259"/>
                  </a:lnTo>
                  <a:lnTo>
                    <a:pt x="185" y="259"/>
                  </a:lnTo>
                  <a:lnTo>
                    <a:pt x="185" y="259"/>
                  </a:lnTo>
                  <a:lnTo>
                    <a:pt x="185" y="259"/>
                  </a:lnTo>
                  <a:lnTo>
                    <a:pt x="185" y="259"/>
                  </a:lnTo>
                  <a:lnTo>
                    <a:pt x="185" y="259"/>
                  </a:lnTo>
                  <a:lnTo>
                    <a:pt x="182" y="259"/>
                  </a:lnTo>
                  <a:lnTo>
                    <a:pt x="182" y="259"/>
                  </a:lnTo>
                  <a:lnTo>
                    <a:pt x="181" y="259"/>
                  </a:lnTo>
                  <a:lnTo>
                    <a:pt x="181" y="259"/>
                  </a:lnTo>
                  <a:lnTo>
                    <a:pt x="181" y="259"/>
                  </a:lnTo>
                  <a:lnTo>
                    <a:pt x="181" y="259"/>
                  </a:lnTo>
                  <a:lnTo>
                    <a:pt x="181" y="259"/>
                  </a:lnTo>
                  <a:lnTo>
                    <a:pt x="181" y="259"/>
                  </a:lnTo>
                  <a:lnTo>
                    <a:pt x="181" y="259"/>
                  </a:lnTo>
                  <a:lnTo>
                    <a:pt x="181" y="259"/>
                  </a:lnTo>
                  <a:lnTo>
                    <a:pt x="181" y="259"/>
                  </a:lnTo>
                  <a:lnTo>
                    <a:pt x="180" y="259"/>
                  </a:lnTo>
                  <a:lnTo>
                    <a:pt x="180" y="259"/>
                  </a:lnTo>
                  <a:lnTo>
                    <a:pt x="180" y="259"/>
                  </a:lnTo>
                  <a:lnTo>
                    <a:pt x="180" y="259"/>
                  </a:lnTo>
                  <a:lnTo>
                    <a:pt x="168" y="259"/>
                  </a:lnTo>
                  <a:lnTo>
                    <a:pt x="168" y="259"/>
                  </a:lnTo>
                  <a:lnTo>
                    <a:pt x="168" y="259"/>
                  </a:lnTo>
                  <a:lnTo>
                    <a:pt x="168" y="259"/>
                  </a:lnTo>
                  <a:lnTo>
                    <a:pt x="161" y="259"/>
                  </a:lnTo>
                  <a:lnTo>
                    <a:pt x="158" y="259"/>
                  </a:lnTo>
                  <a:lnTo>
                    <a:pt x="158" y="258"/>
                  </a:lnTo>
                  <a:lnTo>
                    <a:pt x="158" y="258"/>
                  </a:lnTo>
                  <a:lnTo>
                    <a:pt x="158" y="258"/>
                  </a:lnTo>
                  <a:lnTo>
                    <a:pt x="158" y="258"/>
                  </a:lnTo>
                  <a:lnTo>
                    <a:pt x="158" y="258"/>
                  </a:lnTo>
                  <a:lnTo>
                    <a:pt x="158" y="258"/>
                  </a:lnTo>
                  <a:lnTo>
                    <a:pt x="159" y="255"/>
                  </a:lnTo>
                  <a:lnTo>
                    <a:pt x="162" y="252"/>
                  </a:lnTo>
                  <a:lnTo>
                    <a:pt x="165" y="249"/>
                  </a:lnTo>
                  <a:lnTo>
                    <a:pt x="166" y="246"/>
                  </a:lnTo>
                  <a:lnTo>
                    <a:pt x="166" y="246"/>
                  </a:lnTo>
                  <a:lnTo>
                    <a:pt x="165" y="244"/>
                  </a:lnTo>
                  <a:lnTo>
                    <a:pt x="161" y="238"/>
                  </a:lnTo>
                  <a:lnTo>
                    <a:pt x="156" y="232"/>
                  </a:lnTo>
                  <a:lnTo>
                    <a:pt x="153" y="228"/>
                  </a:lnTo>
                  <a:lnTo>
                    <a:pt x="153" y="228"/>
                  </a:lnTo>
                  <a:lnTo>
                    <a:pt x="153" y="228"/>
                  </a:lnTo>
                  <a:lnTo>
                    <a:pt x="153" y="228"/>
                  </a:lnTo>
                  <a:lnTo>
                    <a:pt x="153" y="228"/>
                  </a:lnTo>
                  <a:lnTo>
                    <a:pt x="153" y="228"/>
                  </a:lnTo>
                  <a:lnTo>
                    <a:pt x="156" y="212"/>
                  </a:lnTo>
                  <a:lnTo>
                    <a:pt x="156" y="204"/>
                  </a:lnTo>
                  <a:lnTo>
                    <a:pt x="156" y="202"/>
                  </a:lnTo>
                  <a:lnTo>
                    <a:pt x="156" y="202"/>
                  </a:lnTo>
                  <a:lnTo>
                    <a:pt x="156" y="202"/>
                  </a:lnTo>
                  <a:lnTo>
                    <a:pt x="155" y="202"/>
                  </a:lnTo>
                  <a:lnTo>
                    <a:pt x="155" y="202"/>
                  </a:lnTo>
                  <a:lnTo>
                    <a:pt x="155" y="202"/>
                  </a:lnTo>
                  <a:lnTo>
                    <a:pt x="155" y="202"/>
                  </a:lnTo>
                  <a:lnTo>
                    <a:pt x="155" y="202"/>
                  </a:lnTo>
                  <a:lnTo>
                    <a:pt x="155" y="202"/>
                  </a:lnTo>
                  <a:lnTo>
                    <a:pt x="155" y="202"/>
                  </a:lnTo>
                  <a:lnTo>
                    <a:pt x="155" y="202"/>
                  </a:lnTo>
                  <a:lnTo>
                    <a:pt x="155" y="202"/>
                  </a:lnTo>
                  <a:lnTo>
                    <a:pt x="155" y="202"/>
                  </a:lnTo>
                  <a:lnTo>
                    <a:pt x="143" y="203"/>
                  </a:lnTo>
                  <a:lnTo>
                    <a:pt x="143" y="203"/>
                  </a:lnTo>
                  <a:lnTo>
                    <a:pt x="143" y="203"/>
                  </a:lnTo>
                  <a:lnTo>
                    <a:pt x="143" y="203"/>
                  </a:lnTo>
                  <a:lnTo>
                    <a:pt x="140" y="203"/>
                  </a:lnTo>
                  <a:lnTo>
                    <a:pt x="138" y="202"/>
                  </a:lnTo>
                  <a:lnTo>
                    <a:pt x="138" y="202"/>
                  </a:lnTo>
                  <a:lnTo>
                    <a:pt x="138" y="202"/>
                  </a:lnTo>
                  <a:lnTo>
                    <a:pt x="138" y="202"/>
                  </a:lnTo>
                  <a:lnTo>
                    <a:pt x="138" y="202"/>
                  </a:lnTo>
                  <a:lnTo>
                    <a:pt x="138" y="202"/>
                  </a:lnTo>
                  <a:lnTo>
                    <a:pt x="138" y="202"/>
                  </a:lnTo>
                  <a:lnTo>
                    <a:pt x="138" y="202"/>
                  </a:lnTo>
                  <a:lnTo>
                    <a:pt x="138" y="202"/>
                  </a:lnTo>
                  <a:lnTo>
                    <a:pt x="138" y="202"/>
                  </a:lnTo>
                  <a:lnTo>
                    <a:pt x="138" y="202"/>
                  </a:lnTo>
                  <a:lnTo>
                    <a:pt x="138" y="202"/>
                  </a:lnTo>
                  <a:lnTo>
                    <a:pt x="138" y="202"/>
                  </a:lnTo>
                  <a:lnTo>
                    <a:pt x="138" y="202"/>
                  </a:lnTo>
                  <a:lnTo>
                    <a:pt x="138" y="200"/>
                  </a:lnTo>
                  <a:lnTo>
                    <a:pt x="138" y="200"/>
                  </a:lnTo>
                  <a:lnTo>
                    <a:pt x="138" y="200"/>
                  </a:lnTo>
                  <a:lnTo>
                    <a:pt x="138" y="200"/>
                  </a:lnTo>
                  <a:lnTo>
                    <a:pt x="132" y="197"/>
                  </a:lnTo>
                  <a:lnTo>
                    <a:pt x="132" y="197"/>
                  </a:lnTo>
                  <a:lnTo>
                    <a:pt x="132" y="197"/>
                  </a:lnTo>
                  <a:lnTo>
                    <a:pt x="130" y="197"/>
                  </a:lnTo>
                  <a:lnTo>
                    <a:pt x="130" y="197"/>
                  </a:lnTo>
                  <a:lnTo>
                    <a:pt x="130" y="197"/>
                  </a:lnTo>
                  <a:lnTo>
                    <a:pt x="130" y="197"/>
                  </a:lnTo>
                  <a:lnTo>
                    <a:pt x="129" y="197"/>
                  </a:lnTo>
                  <a:lnTo>
                    <a:pt x="129" y="197"/>
                  </a:lnTo>
                  <a:lnTo>
                    <a:pt x="119" y="194"/>
                  </a:lnTo>
                  <a:lnTo>
                    <a:pt x="119" y="194"/>
                  </a:lnTo>
                  <a:lnTo>
                    <a:pt x="119" y="194"/>
                  </a:lnTo>
                  <a:lnTo>
                    <a:pt x="119" y="194"/>
                  </a:lnTo>
                  <a:lnTo>
                    <a:pt x="117" y="194"/>
                  </a:lnTo>
                  <a:lnTo>
                    <a:pt x="117" y="194"/>
                  </a:lnTo>
                  <a:lnTo>
                    <a:pt x="114" y="196"/>
                  </a:lnTo>
                  <a:lnTo>
                    <a:pt x="114" y="196"/>
                  </a:lnTo>
                  <a:lnTo>
                    <a:pt x="114" y="196"/>
                  </a:lnTo>
                  <a:lnTo>
                    <a:pt x="114" y="196"/>
                  </a:lnTo>
                  <a:lnTo>
                    <a:pt x="114" y="199"/>
                  </a:lnTo>
                  <a:lnTo>
                    <a:pt x="113" y="203"/>
                  </a:lnTo>
                  <a:lnTo>
                    <a:pt x="113" y="209"/>
                  </a:lnTo>
                  <a:lnTo>
                    <a:pt x="111" y="210"/>
                  </a:lnTo>
                  <a:lnTo>
                    <a:pt x="110" y="210"/>
                  </a:lnTo>
                  <a:lnTo>
                    <a:pt x="110" y="210"/>
                  </a:lnTo>
                  <a:lnTo>
                    <a:pt x="101" y="212"/>
                  </a:lnTo>
                  <a:lnTo>
                    <a:pt x="90" y="215"/>
                  </a:lnTo>
                  <a:lnTo>
                    <a:pt x="90" y="215"/>
                  </a:lnTo>
                  <a:lnTo>
                    <a:pt x="90" y="215"/>
                  </a:lnTo>
                  <a:lnTo>
                    <a:pt x="87" y="213"/>
                  </a:lnTo>
                  <a:lnTo>
                    <a:pt x="84" y="212"/>
                  </a:lnTo>
                  <a:lnTo>
                    <a:pt x="84" y="212"/>
                  </a:lnTo>
                  <a:lnTo>
                    <a:pt x="84" y="212"/>
                  </a:lnTo>
                  <a:lnTo>
                    <a:pt x="84" y="212"/>
                  </a:lnTo>
                  <a:lnTo>
                    <a:pt x="78" y="202"/>
                  </a:lnTo>
                  <a:lnTo>
                    <a:pt x="75" y="194"/>
                  </a:lnTo>
                  <a:lnTo>
                    <a:pt x="74" y="188"/>
                  </a:lnTo>
                  <a:lnTo>
                    <a:pt x="74" y="173"/>
                  </a:lnTo>
                  <a:lnTo>
                    <a:pt x="23" y="173"/>
                  </a:lnTo>
                  <a:lnTo>
                    <a:pt x="23" y="173"/>
                  </a:lnTo>
                  <a:lnTo>
                    <a:pt x="20" y="174"/>
                  </a:lnTo>
                  <a:lnTo>
                    <a:pt x="19" y="174"/>
                  </a:lnTo>
                  <a:lnTo>
                    <a:pt x="17" y="177"/>
                  </a:lnTo>
                  <a:lnTo>
                    <a:pt x="16" y="180"/>
                  </a:lnTo>
                  <a:lnTo>
                    <a:pt x="14" y="181"/>
                  </a:lnTo>
                  <a:lnTo>
                    <a:pt x="14" y="181"/>
                  </a:lnTo>
                  <a:lnTo>
                    <a:pt x="1" y="184"/>
                  </a:lnTo>
                  <a:lnTo>
                    <a:pt x="1" y="184"/>
                  </a:lnTo>
                  <a:lnTo>
                    <a:pt x="0" y="181"/>
                  </a:lnTo>
                  <a:lnTo>
                    <a:pt x="0" y="178"/>
                  </a:lnTo>
                  <a:lnTo>
                    <a:pt x="0" y="178"/>
                  </a:lnTo>
                  <a:lnTo>
                    <a:pt x="0" y="175"/>
                  </a:lnTo>
                  <a:lnTo>
                    <a:pt x="0" y="175"/>
                  </a:lnTo>
                  <a:lnTo>
                    <a:pt x="1" y="174"/>
                  </a:lnTo>
                  <a:lnTo>
                    <a:pt x="3" y="173"/>
                  </a:lnTo>
                  <a:lnTo>
                    <a:pt x="3" y="173"/>
                  </a:lnTo>
                  <a:lnTo>
                    <a:pt x="10" y="158"/>
                  </a:lnTo>
                  <a:lnTo>
                    <a:pt x="10" y="158"/>
                  </a:lnTo>
                  <a:lnTo>
                    <a:pt x="16" y="161"/>
                  </a:lnTo>
                  <a:lnTo>
                    <a:pt x="20" y="162"/>
                  </a:lnTo>
                  <a:lnTo>
                    <a:pt x="20" y="162"/>
                  </a:lnTo>
                  <a:lnTo>
                    <a:pt x="20" y="162"/>
                  </a:lnTo>
                  <a:lnTo>
                    <a:pt x="20" y="162"/>
                  </a:lnTo>
                  <a:lnTo>
                    <a:pt x="20" y="162"/>
                  </a:lnTo>
                  <a:lnTo>
                    <a:pt x="20" y="162"/>
                  </a:lnTo>
                  <a:lnTo>
                    <a:pt x="20" y="162"/>
                  </a:lnTo>
                  <a:lnTo>
                    <a:pt x="20" y="162"/>
                  </a:lnTo>
                  <a:lnTo>
                    <a:pt x="20" y="162"/>
                  </a:lnTo>
                  <a:lnTo>
                    <a:pt x="20" y="162"/>
                  </a:lnTo>
                  <a:lnTo>
                    <a:pt x="20" y="162"/>
                  </a:lnTo>
                  <a:lnTo>
                    <a:pt x="20" y="162"/>
                  </a:lnTo>
                  <a:lnTo>
                    <a:pt x="20" y="162"/>
                  </a:lnTo>
                  <a:lnTo>
                    <a:pt x="20" y="162"/>
                  </a:lnTo>
                  <a:lnTo>
                    <a:pt x="20" y="162"/>
                  </a:lnTo>
                  <a:lnTo>
                    <a:pt x="20" y="162"/>
                  </a:lnTo>
                  <a:lnTo>
                    <a:pt x="25" y="162"/>
                  </a:lnTo>
                  <a:lnTo>
                    <a:pt x="25" y="162"/>
                  </a:lnTo>
                  <a:lnTo>
                    <a:pt x="33" y="162"/>
                  </a:lnTo>
                  <a:lnTo>
                    <a:pt x="33" y="162"/>
                  </a:lnTo>
                  <a:lnTo>
                    <a:pt x="33" y="162"/>
                  </a:lnTo>
                  <a:lnTo>
                    <a:pt x="33" y="162"/>
                  </a:lnTo>
                  <a:lnTo>
                    <a:pt x="40" y="162"/>
                  </a:lnTo>
                  <a:lnTo>
                    <a:pt x="42" y="161"/>
                  </a:lnTo>
                  <a:lnTo>
                    <a:pt x="43" y="159"/>
                  </a:lnTo>
                  <a:lnTo>
                    <a:pt x="43" y="159"/>
                  </a:lnTo>
                  <a:lnTo>
                    <a:pt x="46" y="155"/>
                  </a:lnTo>
                  <a:lnTo>
                    <a:pt x="49" y="151"/>
                  </a:lnTo>
                  <a:lnTo>
                    <a:pt x="58" y="138"/>
                  </a:lnTo>
                  <a:lnTo>
                    <a:pt x="58" y="138"/>
                  </a:lnTo>
                  <a:lnTo>
                    <a:pt x="61" y="129"/>
                  </a:lnTo>
                  <a:lnTo>
                    <a:pt x="62" y="122"/>
                  </a:lnTo>
                  <a:lnTo>
                    <a:pt x="62" y="115"/>
                  </a:lnTo>
                  <a:lnTo>
                    <a:pt x="64" y="110"/>
                  </a:lnTo>
                  <a:lnTo>
                    <a:pt x="64" y="110"/>
                  </a:lnTo>
                  <a:lnTo>
                    <a:pt x="67" y="109"/>
                  </a:lnTo>
                  <a:lnTo>
                    <a:pt x="69" y="106"/>
                  </a:lnTo>
                  <a:lnTo>
                    <a:pt x="78" y="102"/>
                  </a:lnTo>
                  <a:lnTo>
                    <a:pt x="78" y="102"/>
                  </a:lnTo>
                  <a:lnTo>
                    <a:pt x="84" y="97"/>
                  </a:lnTo>
                  <a:lnTo>
                    <a:pt x="88" y="93"/>
                  </a:lnTo>
                  <a:lnTo>
                    <a:pt x="91" y="87"/>
                  </a:lnTo>
                  <a:lnTo>
                    <a:pt x="93" y="81"/>
                  </a:lnTo>
                  <a:lnTo>
                    <a:pt x="93" y="81"/>
                  </a:lnTo>
                  <a:lnTo>
                    <a:pt x="93" y="64"/>
                  </a:lnTo>
                  <a:lnTo>
                    <a:pt x="94" y="55"/>
                  </a:lnTo>
                  <a:lnTo>
                    <a:pt x="97" y="48"/>
                  </a:lnTo>
                  <a:lnTo>
                    <a:pt x="97" y="48"/>
                  </a:lnTo>
                  <a:lnTo>
                    <a:pt x="100" y="39"/>
                  </a:lnTo>
                  <a:lnTo>
                    <a:pt x="104" y="25"/>
                  </a:lnTo>
                  <a:lnTo>
                    <a:pt x="104" y="25"/>
                  </a:lnTo>
                  <a:lnTo>
                    <a:pt x="107" y="15"/>
                  </a:lnTo>
                  <a:lnTo>
                    <a:pt x="110" y="10"/>
                  </a:lnTo>
                  <a:lnTo>
                    <a:pt x="111" y="9"/>
                  </a:lnTo>
                  <a:lnTo>
                    <a:pt x="111" y="9"/>
                  </a:lnTo>
                  <a:lnTo>
                    <a:pt x="111" y="9"/>
                  </a:lnTo>
                  <a:lnTo>
                    <a:pt x="111" y="9"/>
                  </a:lnTo>
                  <a:lnTo>
                    <a:pt x="111" y="9"/>
                  </a:lnTo>
                  <a:lnTo>
                    <a:pt x="111" y="9"/>
                  </a:lnTo>
                  <a:lnTo>
                    <a:pt x="116" y="9"/>
                  </a:lnTo>
                  <a:lnTo>
                    <a:pt x="116" y="9"/>
                  </a:lnTo>
                  <a:lnTo>
                    <a:pt x="116" y="9"/>
                  </a:lnTo>
                  <a:lnTo>
                    <a:pt x="116" y="9"/>
                  </a:lnTo>
                  <a:lnTo>
                    <a:pt x="120" y="10"/>
                  </a:lnTo>
                  <a:lnTo>
                    <a:pt x="123" y="12"/>
                  </a:lnTo>
                  <a:lnTo>
                    <a:pt x="123" y="12"/>
                  </a:lnTo>
                  <a:lnTo>
                    <a:pt x="129" y="15"/>
                  </a:lnTo>
                  <a:lnTo>
                    <a:pt x="138" y="16"/>
                  </a:lnTo>
                  <a:lnTo>
                    <a:pt x="152" y="19"/>
                  </a:lnTo>
                  <a:lnTo>
                    <a:pt x="152" y="19"/>
                  </a:lnTo>
                  <a:lnTo>
                    <a:pt x="164" y="16"/>
                  </a:lnTo>
                  <a:lnTo>
                    <a:pt x="171" y="15"/>
                  </a:lnTo>
                  <a:lnTo>
                    <a:pt x="175" y="12"/>
                  </a:lnTo>
                  <a:lnTo>
                    <a:pt x="175" y="12"/>
                  </a:lnTo>
                  <a:lnTo>
                    <a:pt x="178" y="10"/>
                  </a:lnTo>
                  <a:lnTo>
                    <a:pt x="178" y="7"/>
                  </a:lnTo>
                  <a:lnTo>
                    <a:pt x="181" y="6"/>
                  </a:lnTo>
                  <a:lnTo>
                    <a:pt x="185" y="6"/>
                  </a:lnTo>
                  <a:lnTo>
                    <a:pt x="185" y="6"/>
                  </a:lnTo>
                  <a:lnTo>
                    <a:pt x="193" y="6"/>
                  </a:lnTo>
                  <a:lnTo>
                    <a:pt x="200" y="7"/>
                  </a:lnTo>
                  <a:lnTo>
                    <a:pt x="200" y="7"/>
                  </a:lnTo>
                  <a:lnTo>
                    <a:pt x="206" y="9"/>
                  </a:lnTo>
                  <a:lnTo>
                    <a:pt x="206" y="9"/>
                  </a:lnTo>
                  <a:lnTo>
                    <a:pt x="206" y="9"/>
                  </a:lnTo>
                  <a:lnTo>
                    <a:pt x="206" y="9"/>
                  </a:lnTo>
                  <a:lnTo>
                    <a:pt x="208" y="7"/>
                  </a:lnTo>
                  <a:lnTo>
                    <a:pt x="213" y="6"/>
                  </a:lnTo>
                  <a:lnTo>
                    <a:pt x="213" y="6"/>
                  </a:lnTo>
                  <a:lnTo>
                    <a:pt x="216" y="5"/>
                  </a:lnTo>
                  <a:lnTo>
                    <a:pt x="217" y="2"/>
                  </a:lnTo>
                  <a:lnTo>
                    <a:pt x="219" y="2"/>
                  </a:lnTo>
                  <a:lnTo>
                    <a:pt x="223" y="0"/>
                  </a:lnTo>
                  <a:lnTo>
                    <a:pt x="223" y="0"/>
                  </a:lnTo>
                  <a:lnTo>
                    <a:pt x="223" y="0"/>
                  </a:lnTo>
                  <a:lnTo>
                    <a:pt x="223" y="0"/>
                  </a:lnTo>
                  <a:lnTo>
                    <a:pt x="223" y="0"/>
                  </a:lnTo>
                  <a:lnTo>
                    <a:pt x="223" y="0"/>
                  </a:lnTo>
                  <a:lnTo>
                    <a:pt x="223" y="0"/>
                  </a:lnTo>
                  <a:lnTo>
                    <a:pt x="223" y="0"/>
                  </a:lnTo>
                  <a:lnTo>
                    <a:pt x="223" y="0"/>
                  </a:lnTo>
                  <a:lnTo>
                    <a:pt x="223" y="0"/>
                  </a:lnTo>
                  <a:lnTo>
                    <a:pt x="223" y="0"/>
                  </a:lnTo>
                  <a:lnTo>
                    <a:pt x="232" y="2"/>
                  </a:lnTo>
                  <a:lnTo>
                    <a:pt x="243" y="6"/>
                  </a:lnTo>
                  <a:lnTo>
                    <a:pt x="243" y="6"/>
                  </a:lnTo>
                  <a:lnTo>
                    <a:pt x="253" y="10"/>
                  </a:lnTo>
                  <a:lnTo>
                    <a:pt x="253" y="10"/>
                  </a:lnTo>
                  <a:lnTo>
                    <a:pt x="253" y="10"/>
                  </a:lnTo>
                  <a:lnTo>
                    <a:pt x="253" y="10"/>
                  </a:lnTo>
                  <a:lnTo>
                    <a:pt x="253" y="10"/>
                  </a:lnTo>
                  <a:lnTo>
                    <a:pt x="253" y="12"/>
                  </a:lnTo>
                  <a:lnTo>
                    <a:pt x="253" y="12"/>
                  </a:lnTo>
                  <a:lnTo>
                    <a:pt x="255" y="12"/>
                  </a:lnTo>
                  <a:lnTo>
                    <a:pt x="255" y="12"/>
                  </a:lnTo>
                  <a:lnTo>
                    <a:pt x="259" y="15"/>
                  </a:lnTo>
                  <a:lnTo>
                    <a:pt x="262" y="16"/>
                  </a:lnTo>
                  <a:lnTo>
                    <a:pt x="262" y="16"/>
                  </a:lnTo>
                  <a:lnTo>
                    <a:pt x="262" y="16"/>
                  </a:lnTo>
                  <a:lnTo>
                    <a:pt x="262" y="16"/>
                  </a:lnTo>
                  <a:lnTo>
                    <a:pt x="265" y="16"/>
                  </a:lnTo>
                  <a:lnTo>
                    <a:pt x="265" y="16"/>
                  </a:lnTo>
                  <a:lnTo>
                    <a:pt x="265" y="16"/>
                  </a:lnTo>
                  <a:lnTo>
                    <a:pt x="265" y="16"/>
                  </a:lnTo>
                  <a:lnTo>
                    <a:pt x="265" y="16"/>
                  </a:lnTo>
                  <a:lnTo>
                    <a:pt x="265" y="16"/>
                  </a:lnTo>
                  <a:lnTo>
                    <a:pt x="265" y="16"/>
                  </a:lnTo>
                  <a:lnTo>
                    <a:pt x="265" y="16"/>
                  </a:lnTo>
                  <a:lnTo>
                    <a:pt x="265" y="16"/>
                  </a:lnTo>
                  <a:lnTo>
                    <a:pt x="265" y="16"/>
                  </a:lnTo>
                  <a:lnTo>
                    <a:pt x="265" y="16"/>
                  </a:lnTo>
                  <a:lnTo>
                    <a:pt x="265" y="16"/>
                  </a:lnTo>
                  <a:lnTo>
                    <a:pt x="266" y="16"/>
                  </a:lnTo>
                  <a:lnTo>
                    <a:pt x="266" y="16"/>
                  </a:lnTo>
                  <a:lnTo>
                    <a:pt x="266" y="16"/>
                  </a:lnTo>
                  <a:lnTo>
                    <a:pt x="266" y="16"/>
                  </a:lnTo>
                  <a:lnTo>
                    <a:pt x="272" y="12"/>
                  </a:lnTo>
                  <a:lnTo>
                    <a:pt x="275" y="9"/>
                  </a:lnTo>
                  <a:lnTo>
                    <a:pt x="279" y="9"/>
                  </a:lnTo>
                  <a:lnTo>
                    <a:pt x="279" y="9"/>
                  </a:lnTo>
                  <a:lnTo>
                    <a:pt x="279" y="9"/>
                  </a:lnTo>
                  <a:lnTo>
                    <a:pt x="279" y="9"/>
                  </a:lnTo>
                  <a:lnTo>
                    <a:pt x="282" y="9"/>
                  </a:lnTo>
                  <a:lnTo>
                    <a:pt x="285" y="10"/>
                  </a:lnTo>
                  <a:lnTo>
                    <a:pt x="285" y="10"/>
                  </a:lnTo>
                  <a:lnTo>
                    <a:pt x="285" y="10"/>
                  </a:lnTo>
                  <a:lnTo>
                    <a:pt x="285" y="10"/>
                  </a:lnTo>
                  <a:lnTo>
                    <a:pt x="287" y="12"/>
                  </a:lnTo>
                  <a:lnTo>
                    <a:pt x="287" y="12"/>
                  </a:lnTo>
                  <a:lnTo>
                    <a:pt x="287" y="12"/>
                  </a:lnTo>
                  <a:lnTo>
                    <a:pt x="287" y="12"/>
                  </a:lnTo>
                  <a:lnTo>
                    <a:pt x="287" y="12"/>
                  </a:lnTo>
                  <a:lnTo>
                    <a:pt x="287" y="12"/>
                  </a:lnTo>
                  <a:lnTo>
                    <a:pt x="290" y="16"/>
                  </a:lnTo>
                  <a:lnTo>
                    <a:pt x="292" y="19"/>
                  </a:lnTo>
                  <a:lnTo>
                    <a:pt x="295" y="22"/>
                  </a:lnTo>
                  <a:lnTo>
                    <a:pt x="300" y="23"/>
                  </a:lnTo>
                  <a:lnTo>
                    <a:pt x="300" y="23"/>
                  </a:lnTo>
                  <a:lnTo>
                    <a:pt x="300" y="23"/>
                  </a:lnTo>
                  <a:lnTo>
                    <a:pt x="301" y="22"/>
                  </a:lnTo>
                  <a:lnTo>
                    <a:pt x="301" y="22"/>
                  </a:lnTo>
                  <a:lnTo>
                    <a:pt x="306" y="22"/>
                  </a:lnTo>
                  <a:lnTo>
                    <a:pt x="306" y="22"/>
                  </a:lnTo>
                  <a:lnTo>
                    <a:pt x="308" y="22"/>
                  </a:lnTo>
                  <a:lnTo>
                    <a:pt x="308" y="22"/>
                  </a:lnTo>
                  <a:lnTo>
                    <a:pt x="307" y="41"/>
                  </a:lnTo>
                  <a:lnTo>
                    <a:pt x="307" y="41"/>
                  </a:lnTo>
                  <a:lnTo>
                    <a:pt x="306" y="48"/>
                  </a:lnTo>
                  <a:lnTo>
                    <a:pt x="303" y="55"/>
                  </a:lnTo>
                  <a:lnTo>
                    <a:pt x="298" y="61"/>
                  </a:lnTo>
                  <a:lnTo>
                    <a:pt x="291" y="67"/>
                  </a:lnTo>
                  <a:lnTo>
                    <a:pt x="291" y="67"/>
                  </a:lnTo>
                  <a:lnTo>
                    <a:pt x="287" y="71"/>
                  </a:lnTo>
                  <a:lnTo>
                    <a:pt x="284" y="74"/>
                  </a:lnTo>
                  <a:lnTo>
                    <a:pt x="284" y="78"/>
                  </a:lnTo>
                  <a:lnTo>
                    <a:pt x="284" y="83"/>
                  </a:lnTo>
                  <a:lnTo>
                    <a:pt x="284" y="83"/>
                  </a:lnTo>
                  <a:lnTo>
                    <a:pt x="284" y="86"/>
                  </a:lnTo>
                  <a:lnTo>
                    <a:pt x="281" y="87"/>
                  </a:lnTo>
                  <a:lnTo>
                    <a:pt x="278" y="90"/>
                  </a:lnTo>
                  <a:lnTo>
                    <a:pt x="275" y="94"/>
                  </a:lnTo>
                  <a:lnTo>
                    <a:pt x="275" y="94"/>
                  </a:lnTo>
                  <a:lnTo>
                    <a:pt x="272" y="102"/>
                  </a:lnTo>
                  <a:lnTo>
                    <a:pt x="271" y="110"/>
                  </a:lnTo>
                  <a:lnTo>
                    <a:pt x="271" y="110"/>
                  </a:lnTo>
                  <a:lnTo>
                    <a:pt x="269" y="122"/>
                  </a:lnTo>
                  <a:lnTo>
                    <a:pt x="269" y="122"/>
                  </a:lnTo>
                  <a:lnTo>
                    <a:pt x="271" y="122"/>
                  </a:lnTo>
                  <a:lnTo>
                    <a:pt x="271" y="122"/>
                  </a:lnTo>
                  <a:lnTo>
                    <a:pt x="269" y="122"/>
                  </a:lnTo>
                  <a:lnTo>
                    <a:pt x="269" y="122"/>
                  </a:lnTo>
                  <a:lnTo>
                    <a:pt x="269" y="125"/>
                  </a:lnTo>
                  <a:lnTo>
                    <a:pt x="269" y="125"/>
                  </a:lnTo>
                  <a:lnTo>
                    <a:pt x="269" y="125"/>
                  </a:lnTo>
                  <a:lnTo>
                    <a:pt x="269" y="125"/>
                  </a:lnTo>
                  <a:lnTo>
                    <a:pt x="269" y="128"/>
                  </a:lnTo>
                  <a:lnTo>
                    <a:pt x="269" y="128"/>
                  </a:lnTo>
                  <a:lnTo>
                    <a:pt x="271" y="133"/>
                  </a:lnTo>
                  <a:lnTo>
                    <a:pt x="272" y="141"/>
                  </a:lnTo>
                  <a:lnTo>
                    <a:pt x="272" y="141"/>
                  </a:lnTo>
                  <a:lnTo>
                    <a:pt x="271" y="149"/>
                  </a:lnTo>
                  <a:lnTo>
                    <a:pt x="271" y="149"/>
                  </a:lnTo>
                  <a:lnTo>
                    <a:pt x="272" y="159"/>
                  </a:lnTo>
                  <a:lnTo>
                    <a:pt x="277" y="170"/>
                  </a:lnTo>
                  <a:lnTo>
                    <a:pt x="277" y="170"/>
                  </a:lnTo>
                  <a:lnTo>
                    <a:pt x="278" y="174"/>
                  </a:lnTo>
                  <a:lnTo>
                    <a:pt x="278" y="180"/>
                  </a:lnTo>
                  <a:lnTo>
                    <a:pt x="279" y="186"/>
                  </a:lnTo>
                  <a:lnTo>
                    <a:pt x="282" y="191"/>
                  </a:lnTo>
                  <a:lnTo>
                    <a:pt x="282" y="191"/>
                  </a:lnTo>
                  <a:lnTo>
                    <a:pt x="290" y="200"/>
                  </a:lnTo>
                  <a:lnTo>
                    <a:pt x="294" y="206"/>
                  </a:lnTo>
                  <a:lnTo>
                    <a:pt x="294" y="206"/>
                  </a:lnTo>
                  <a:lnTo>
                    <a:pt x="295" y="212"/>
                  </a:lnTo>
                  <a:lnTo>
                    <a:pt x="295" y="215"/>
                  </a:lnTo>
                  <a:lnTo>
                    <a:pt x="295" y="215"/>
                  </a:lnTo>
                  <a:lnTo>
                    <a:pt x="295" y="215"/>
                  </a:lnTo>
                  <a:lnTo>
                    <a:pt x="295" y="215"/>
                  </a:lnTo>
                  <a:lnTo>
                    <a:pt x="295" y="215"/>
                  </a:lnTo>
                  <a:lnTo>
                    <a:pt x="295" y="215"/>
                  </a:lnTo>
                  <a:lnTo>
                    <a:pt x="290" y="215"/>
                  </a:lnTo>
                  <a:lnTo>
                    <a:pt x="290" y="215"/>
                  </a:lnTo>
                  <a:lnTo>
                    <a:pt x="290" y="215"/>
                  </a:lnTo>
                  <a:lnTo>
                    <a:pt x="290" y="215"/>
                  </a:lnTo>
                  <a:lnTo>
                    <a:pt x="281" y="216"/>
                  </a:lnTo>
                  <a:lnTo>
                    <a:pt x="275" y="217"/>
                  </a:lnTo>
                  <a:lnTo>
                    <a:pt x="275" y="217"/>
                  </a:lnTo>
                  <a:lnTo>
                    <a:pt x="275" y="217"/>
                  </a:lnTo>
                  <a:lnTo>
                    <a:pt x="275" y="217"/>
                  </a:lnTo>
                  <a:lnTo>
                    <a:pt x="269" y="223"/>
                  </a:lnTo>
                  <a:lnTo>
                    <a:pt x="266" y="229"/>
                  </a:lnTo>
                  <a:lnTo>
                    <a:pt x="264" y="236"/>
                  </a:lnTo>
                  <a:lnTo>
                    <a:pt x="264" y="242"/>
                  </a:lnTo>
                  <a:lnTo>
                    <a:pt x="264" y="242"/>
                  </a:lnTo>
                  <a:lnTo>
                    <a:pt x="262" y="251"/>
                  </a:lnTo>
                  <a:lnTo>
                    <a:pt x="259" y="259"/>
                  </a:lnTo>
                  <a:lnTo>
                    <a:pt x="259" y="259"/>
                  </a:lnTo>
                  <a:lnTo>
                    <a:pt x="258" y="261"/>
                  </a:lnTo>
                  <a:lnTo>
                    <a:pt x="258" y="261"/>
                  </a:lnTo>
                  <a:lnTo>
                    <a:pt x="259" y="264"/>
                  </a:lnTo>
                  <a:lnTo>
                    <a:pt x="261" y="267"/>
                  </a:lnTo>
                  <a:lnTo>
                    <a:pt x="266" y="274"/>
                  </a:lnTo>
                  <a:lnTo>
                    <a:pt x="274" y="281"/>
                  </a:lnTo>
                  <a:lnTo>
                    <a:pt x="279" y="284"/>
                  </a:lnTo>
                  <a:lnTo>
                    <a:pt x="279" y="284"/>
                  </a:lnTo>
                  <a:lnTo>
                    <a:pt x="279" y="284"/>
                  </a:lnTo>
                  <a:lnTo>
                    <a:pt x="279" y="284"/>
                  </a:lnTo>
                  <a:lnTo>
                    <a:pt x="279" y="284"/>
                  </a:lnTo>
                  <a:lnTo>
                    <a:pt x="279" y="286"/>
                  </a:lnTo>
                  <a:lnTo>
                    <a:pt x="279" y="286"/>
                  </a:lnTo>
                  <a:lnTo>
                    <a:pt x="282" y="286"/>
                  </a:lnTo>
                  <a:lnTo>
                    <a:pt x="282" y="286"/>
                  </a:lnTo>
                  <a:lnTo>
                    <a:pt x="282" y="286"/>
                  </a:lnTo>
                  <a:lnTo>
                    <a:pt x="282" y="286"/>
                  </a:lnTo>
                  <a:lnTo>
                    <a:pt x="285" y="284"/>
                  </a:lnTo>
                  <a:lnTo>
                    <a:pt x="285" y="284"/>
                  </a:lnTo>
                  <a:lnTo>
                    <a:pt x="285" y="284"/>
                  </a:lnTo>
                  <a:lnTo>
                    <a:pt x="285" y="284"/>
                  </a:lnTo>
                  <a:lnTo>
                    <a:pt x="285" y="284"/>
                  </a:lnTo>
                  <a:lnTo>
                    <a:pt x="285" y="284"/>
                  </a:lnTo>
                  <a:lnTo>
                    <a:pt x="285" y="284"/>
                  </a:lnTo>
                  <a:lnTo>
                    <a:pt x="285" y="284"/>
                  </a:lnTo>
                  <a:lnTo>
                    <a:pt x="288" y="283"/>
                  </a:lnTo>
                  <a:lnTo>
                    <a:pt x="288" y="283"/>
                  </a:lnTo>
                  <a:lnTo>
                    <a:pt x="290" y="284"/>
                  </a:lnTo>
                  <a:lnTo>
                    <a:pt x="290" y="284"/>
                  </a:lnTo>
                  <a:lnTo>
                    <a:pt x="290" y="284"/>
                  </a:lnTo>
                  <a:lnTo>
                    <a:pt x="290" y="284"/>
                  </a:lnTo>
                  <a:lnTo>
                    <a:pt x="290" y="284"/>
                  </a:lnTo>
                  <a:lnTo>
                    <a:pt x="290" y="284"/>
                  </a:lnTo>
                  <a:lnTo>
                    <a:pt x="291" y="287"/>
                  </a:lnTo>
                  <a:lnTo>
                    <a:pt x="291" y="287"/>
                  </a:lnTo>
                  <a:lnTo>
                    <a:pt x="290" y="290"/>
                  </a:lnTo>
                  <a:lnTo>
                    <a:pt x="287" y="294"/>
                  </a:lnTo>
                  <a:lnTo>
                    <a:pt x="284" y="299"/>
                  </a:lnTo>
                  <a:lnTo>
                    <a:pt x="279" y="300"/>
                  </a:lnTo>
                  <a:lnTo>
                    <a:pt x="279" y="300"/>
                  </a:lnTo>
                  <a:lnTo>
                    <a:pt x="279" y="300"/>
                  </a:lnTo>
                  <a:lnTo>
                    <a:pt x="279" y="300"/>
                  </a:lnTo>
                  <a:lnTo>
                    <a:pt x="279" y="300"/>
                  </a:lnTo>
                  <a:lnTo>
                    <a:pt x="279" y="300"/>
                  </a:lnTo>
                  <a:lnTo>
                    <a:pt x="277" y="300"/>
                  </a:lnTo>
                  <a:lnTo>
                    <a:pt x="277" y="300"/>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19" name="Freeform 174"/>
            <p:cNvSpPr>
              <a:spLocks/>
            </p:cNvSpPr>
            <p:nvPr/>
          </p:nvSpPr>
          <p:spPr bwMode="auto">
            <a:xfrm>
              <a:off x="4630738" y="4635929"/>
              <a:ext cx="488950" cy="476250"/>
            </a:xfrm>
            <a:custGeom>
              <a:avLst/>
              <a:gdLst>
                <a:gd name="T0" fmla="*/ 265 w 308"/>
                <a:gd name="T1" fmla="*/ 293 h 300"/>
                <a:gd name="T2" fmla="*/ 256 w 308"/>
                <a:gd name="T3" fmla="*/ 284 h 300"/>
                <a:gd name="T4" fmla="*/ 211 w 308"/>
                <a:gd name="T5" fmla="*/ 265 h 300"/>
                <a:gd name="T6" fmla="*/ 211 w 308"/>
                <a:gd name="T7" fmla="*/ 265 h 300"/>
                <a:gd name="T8" fmla="*/ 206 w 308"/>
                <a:gd name="T9" fmla="*/ 265 h 300"/>
                <a:gd name="T10" fmla="*/ 200 w 308"/>
                <a:gd name="T11" fmla="*/ 267 h 300"/>
                <a:gd name="T12" fmla="*/ 198 w 308"/>
                <a:gd name="T13" fmla="*/ 267 h 300"/>
                <a:gd name="T14" fmla="*/ 185 w 308"/>
                <a:gd name="T15" fmla="*/ 259 h 300"/>
                <a:gd name="T16" fmla="*/ 181 w 308"/>
                <a:gd name="T17" fmla="*/ 259 h 300"/>
                <a:gd name="T18" fmla="*/ 180 w 308"/>
                <a:gd name="T19" fmla="*/ 259 h 300"/>
                <a:gd name="T20" fmla="*/ 161 w 308"/>
                <a:gd name="T21" fmla="*/ 259 h 300"/>
                <a:gd name="T22" fmla="*/ 159 w 308"/>
                <a:gd name="T23" fmla="*/ 255 h 300"/>
                <a:gd name="T24" fmla="*/ 153 w 308"/>
                <a:gd name="T25" fmla="*/ 228 h 300"/>
                <a:gd name="T26" fmla="*/ 156 w 308"/>
                <a:gd name="T27" fmla="*/ 202 h 300"/>
                <a:gd name="T28" fmla="*/ 155 w 308"/>
                <a:gd name="T29" fmla="*/ 202 h 300"/>
                <a:gd name="T30" fmla="*/ 143 w 308"/>
                <a:gd name="T31" fmla="*/ 203 h 300"/>
                <a:gd name="T32" fmla="*/ 138 w 308"/>
                <a:gd name="T33" fmla="*/ 202 h 300"/>
                <a:gd name="T34" fmla="*/ 138 w 308"/>
                <a:gd name="T35" fmla="*/ 200 h 300"/>
                <a:gd name="T36" fmla="*/ 130 w 308"/>
                <a:gd name="T37" fmla="*/ 197 h 300"/>
                <a:gd name="T38" fmla="*/ 119 w 308"/>
                <a:gd name="T39" fmla="*/ 194 h 300"/>
                <a:gd name="T40" fmla="*/ 113 w 308"/>
                <a:gd name="T41" fmla="*/ 203 h 300"/>
                <a:gd name="T42" fmla="*/ 90 w 308"/>
                <a:gd name="T43" fmla="*/ 215 h 300"/>
                <a:gd name="T44" fmla="*/ 74 w 308"/>
                <a:gd name="T45" fmla="*/ 188 h 300"/>
                <a:gd name="T46" fmla="*/ 14 w 308"/>
                <a:gd name="T47" fmla="*/ 181 h 300"/>
                <a:gd name="T48" fmla="*/ 0 w 308"/>
                <a:gd name="T49" fmla="*/ 175 h 300"/>
                <a:gd name="T50" fmla="*/ 20 w 308"/>
                <a:gd name="T51" fmla="*/ 162 h 300"/>
                <a:gd name="T52" fmla="*/ 20 w 308"/>
                <a:gd name="T53" fmla="*/ 162 h 300"/>
                <a:gd name="T54" fmla="*/ 25 w 308"/>
                <a:gd name="T55" fmla="*/ 162 h 300"/>
                <a:gd name="T56" fmla="*/ 43 w 308"/>
                <a:gd name="T57" fmla="*/ 159 h 300"/>
                <a:gd name="T58" fmla="*/ 64 w 308"/>
                <a:gd name="T59" fmla="*/ 110 h 300"/>
                <a:gd name="T60" fmla="*/ 91 w 308"/>
                <a:gd name="T61" fmla="*/ 87 h 300"/>
                <a:gd name="T62" fmla="*/ 104 w 308"/>
                <a:gd name="T63" fmla="*/ 25 h 300"/>
                <a:gd name="T64" fmla="*/ 111 w 308"/>
                <a:gd name="T65" fmla="*/ 9 h 300"/>
                <a:gd name="T66" fmla="*/ 123 w 308"/>
                <a:gd name="T67" fmla="*/ 12 h 300"/>
                <a:gd name="T68" fmla="*/ 175 w 308"/>
                <a:gd name="T69" fmla="*/ 12 h 300"/>
                <a:gd name="T70" fmla="*/ 200 w 308"/>
                <a:gd name="T71" fmla="*/ 7 h 300"/>
                <a:gd name="T72" fmla="*/ 216 w 308"/>
                <a:gd name="T73" fmla="*/ 5 h 300"/>
                <a:gd name="T74" fmla="*/ 223 w 308"/>
                <a:gd name="T75" fmla="*/ 0 h 300"/>
                <a:gd name="T76" fmla="*/ 243 w 308"/>
                <a:gd name="T77" fmla="*/ 6 h 300"/>
                <a:gd name="T78" fmla="*/ 255 w 308"/>
                <a:gd name="T79" fmla="*/ 12 h 300"/>
                <a:gd name="T80" fmla="*/ 265 w 308"/>
                <a:gd name="T81" fmla="*/ 16 h 300"/>
                <a:gd name="T82" fmla="*/ 265 w 308"/>
                <a:gd name="T83" fmla="*/ 16 h 300"/>
                <a:gd name="T84" fmla="*/ 275 w 308"/>
                <a:gd name="T85" fmla="*/ 9 h 300"/>
                <a:gd name="T86" fmla="*/ 285 w 308"/>
                <a:gd name="T87" fmla="*/ 10 h 300"/>
                <a:gd name="T88" fmla="*/ 290 w 308"/>
                <a:gd name="T89" fmla="*/ 16 h 300"/>
                <a:gd name="T90" fmla="*/ 306 w 308"/>
                <a:gd name="T91" fmla="*/ 22 h 300"/>
                <a:gd name="T92" fmla="*/ 298 w 308"/>
                <a:gd name="T93" fmla="*/ 61 h 300"/>
                <a:gd name="T94" fmla="*/ 284 w 308"/>
                <a:gd name="T95" fmla="*/ 86 h 300"/>
                <a:gd name="T96" fmla="*/ 269 w 308"/>
                <a:gd name="T97" fmla="*/ 122 h 300"/>
                <a:gd name="T98" fmla="*/ 269 w 308"/>
                <a:gd name="T99" fmla="*/ 125 h 300"/>
                <a:gd name="T100" fmla="*/ 271 w 308"/>
                <a:gd name="T101" fmla="*/ 149 h 300"/>
                <a:gd name="T102" fmla="*/ 282 w 308"/>
                <a:gd name="T103" fmla="*/ 191 h 300"/>
                <a:gd name="T104" fmla="*/ 295 w 308"/>
                <a:gd name="T105" fmla="*/ 215 h 300"/>
                <a:gd name="T106" fmla="*/ 275 w 308"/>
                <a:gd name="T107" fmla="*/ 217 h 300"/>
                <a:gd name="T108" fmla="*/ 264 w 308"/>
                <a:gd name="T109" fmla="*/ 242 h 300"/>
                <a:gd name="T110" fmla="*/ 266 w 308"/>
                <a:gd name="T111" fmla="*/ 274 h 300"/>
                <a:gd name="T112" fmla="*/ 279 w 308"/>
                <a:gd name="T113" fmla="*/ 286 h 300"/>
                <a:gd name="T114" fmla="*/ 285 w 308"/>
                <a:gd name="T115" fmla="*/ 284 h 300"/>
                <a:gd name="T116" fmla="*/ 290 w 308"/>
                <a:gd name="T117" fmla="*/ 284 h 300"/>
                <a:gd name="T118" fmla="*/ 287 w 308"/>
                <a:gd name="T119" fmla="*/ 294 h 300"/>
                <a:gd name="T120" fmla="*/ 277 w 308"/>
                <a:gd name="T121"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8" h="300">
                  <a:moveTo>
                    <a:pt x="277" y="300"/>
                  </a:moveTo>
                  <a:lnTo>
                    <a:pt x="277" y="300"/>
                  </a:lnTo>
                  <a:lnTo>
                    <a:pt x="277" y="300"/>
                  </a:lnTo>
                  <a:lnTo>
                    <a:pt x="269" y="299"/>
                  </a:lnTo>
                  <a:lnTo>
                    <a:pt x="266" y="297"/>
                  </a:lnTo>
                  <a:lnTo>
                    <a:pt x="265" y="294"/>
                  </a:lnTo>
                  <a:lnTo>
                    <a:pt x="265" y="294"/>
                  </a:lnTo>
                  <a:lnTo>
                    <a:pt x="265" y="293"/>
                  </a:lnTo>
                  <a:lnTo>
                    <a:pt x="265" y="293"/>
                  </a:lnTo>
                  <a:lnTo>
                    <a:pt x="265" y="293"/>
                  </a:lnTo>
                  <a:lnTo>
                    <a:pt x="264" y="293"/>
                  </a:lnTo>
                  <a:lnTo>
                    <a:pt x="264" y="293"/>
                  </a:lnTo>
                  <a:lnTo>
                    <a:pt x="264" y="293"/>
                  </a:lnTo>
                  <a:lnTo>
                    <a:pt x="264" y="293"/>
                  </a:lnTo>
                  <a:lnTo>
                    <a:pt x="261" y="287"/>
                  </a:lnTo>
                  <a:lnTo>
                    <a:pt x="256" y="284"/>
                  </a:lnTo>
                  <a:lnTo>
                    <a:pt x="245" y="277"/>
                  </a:lnTo>
                  <a:lnTo>
                    <a:pt x="245" y="277"/>
                  </a:lnTo>
                  <a:lnTo>
                    <a:pt x="227" y="271"/>
                  </a:lnTo>
                  <a:lnTo>
                    <a:pt x="213" y="265"/>
                  </a:lnTo>
                  <a:lnTo>
                    <a:pt x="213" y="265"/>
                  </a:lnTo>
                  <a:lnTo>
                    <a:pt x="211" y="265"/>
                  </a:lnTo>
                  <a:lnTo>
                    <a:pt x="211" y="265"/>
                  </a:lnTo>
                  <a:lnTo>
                    <a:pt x="211" y="265"/>
                  </a:lnTo>
                  <a:lnTo>
                    <a:pt x="211" y="265"/>
                  </a:lnTo>
                  <a:lnTo>
                    <a:pt x="211" y="265"/>
                  </a:lnTo>
                  <a:lnTo>
                    <a:pt x="211" y="265"/>
                  </a:lnTo>
                  <a:lnTo>
                    <a:pt x="211" y="265"/>
                  </a:lnTo>
                  <a:lnTo>
                    <a:pt x="211" y="265"/>
                  </a:lnTo>
                  <a:lnTo>
                    <a:pt x="211" y="265"/>
                  </a:lnTo>
                  <a:lnTo>
                    <a:pt x="211" y="265"/>
                  </a:lnTo>
                  <a:lnTo>
                    <a:pt x="211" y="265"/>
                  </a:lnTo>
                  <a:lnTo>
                    <a:pt x="211" y="265"/>
                  </a:lnTo>
                  <a:lnTo>
                    <a:pt x="211" y="265"/>
                  </a:lnTo>
                  <a:lnTo>
                    <a:pt x="211" y="265"/>
                  </a:lnTo>
                  <a:lnTo>
                    <a:pt x="211" y="265"/>
                  </a:lnTo>
                  <a:lnTo>
                    <a:pt x="211" y="265"/>
                  </a:lnTo>
                  <a:lnTo>
                    <a:pt x="210" y="265"/>
                  </a:lnTo>
                  <a:lnTo>
                    <a:pt x="210" y="265"/>
                  </a:lnTo>
                  <a:lnTo>
                    <a:pt x="206" y="265"/>
                  </a:lnTo>
                  <a:lnTo>
                    <a:pt x="206" y="265"/>
                  </a:lnTo>
                  <a:lnTo>
                    <a:pt x="201" y="267"/>
                  </a:lnTo>
                  <a:lnTo>
                    <a:pt x="201" y="267"/>
                  </a:lnTo>
                  <a:lnTo>
                    <a:pt x="200" y="267"/>
                  </a:lnTo>
                  <a:lnTo>
                    <a:pt x="200" y="267"/>
                  </a:lnTo>
                  <a:lnTo>
                    <a:pt x="200" y="267"/>
                  </a:lnTo>
                  <a:lnTo>
                    <a:pt x="200" y="267"/>
                  </a:lnTo>
                  <a:lnTo>
                    <a:pt x="200" y="267"/>
                  </a:lnTo>
                  <a:lnTo>
                    <a:pt x="200" y="267"/>
                  </a:lnTo>
                  <a:lnTo>
                    <a:pt x="200" y="267"/>
                  </a:lnTo>
                  <a:lnTo>
                    <a:pt x="198" y="267"/>
                  </a:lnTo>
                  <a:lnTo>
                    <a:pt x="198" y="267"/>
                  </a:lnTo>
                  <a:lnTo>
                    <a:pt x="198" y="267"/>
                  </a:lnTo>
                  <a:lnTo>
                    <a:pt x="198" y="267"/>
                  </a:lnTo>
                  <a:lnTo>
                    <a:pt x="198" y="267"/>
                  </a:lnTo>
                  <a:lnTo>
                    <a:pt x="198" y="267"/>
                  </a:lnTo>
                  <a:lnTo>
                    <a:pt x="198" y="267"/>
                  </a:lnTo>
                  <a:lnTo>
                    <a:pt x="193" y="262"/>
                  </a:lnTo>
                  <a:lnTo>
                    <a:pt x="190" y="259"/>
                  </a:lnTo>
                  <a:lnTo>
                    <a:pt x="190" y="259"/>
                  </a:lnTo>
                  <a:lnTo>
                    <a:pt x="185" y="259"/>
                  </a:lnTo>
                  <a:lnTo>
                    <a:pt x="185" y="259"/>
                  </a:lnTo>
                  <a:lnTo>
                    <a:pt x="185" y="259"/>
                  </a:lnTo>
                  <a:lnTo>
                    <a:pt x="185" y="259"/>
                  </a:lnTo>
                  <a:lnTo>
                    <a:pt x="185" y="259"/>
                  </a:lnTo>
                  <a:lnTo>
                    <a:pt x="185" y="259"/>
                  </a:lnTo>
                  <a:lnTo>
                    <a:pt x="185" y="259"/>
                  </a:lnTo>
                  <a:lnTo>
                    <a:pt x="185" y="259"/>
                  </a:lnTo>
                  <a:lnTo>
                    <a:pt x="182" y="259"/>
                  </a:lnTo>
                  <a:lnTo>
                    <a:pt x="182" y="259"/>
                  </a:lnTo>
                  <a:lnTo>
                    <a:pt x="181" y="259"/>
                  </a:lnTo>
                  <a:lnTo>
                    <a:pt x="181" y="259"/>
                  </a:lnTo>
                  <a:lnTo>
                    <a:pt x="181" y="259"/>
                  </a:lnTo>
                  <a:lnTo>
                    <a:pt x="181" y="259"/>
                  </a:lnTo>
                  <a:lnTo>
                    <a:pt x="181" y="259"/>
                  </a:lnTo>
                  <a:lnTo>
                    <a:pt x="181" y="259"/>
                  </a:lnTo>
                  <a:lnTo>
                    <a:pt x="181" y="259"/>
                  </a:lnTo>
                  <a:lnTo>
                    <a:pt x="181" y="259"/>
                  </a:lnTo>
                  <a:lnTo>
                    <a:pt x="181" y="259"/>
                  </a:lnTo>
                  <a:lnTo>
                    <a:pt x="180" y="259"/>
                  </a:lnTo>
                  <a:lnTo>
                    <a:pt x="180" y="259"/>
                  </a:lnTo>
                  <a:lnTo>
                    <a:pt x="180" y="259"/>
                  </a:lnTo>
                  <a:lnTo>
                    <a:pt x="180" y="259"/>
                  </a:lnTo>
                  <a:lnTo>
                    <a:pt x="168" y="259"/>
                  </a:lnTo>
                  <a:lnTo>
                    <a:pt x="168" y="259"/>
                  </a:lnTo>
                  <a:lnTo>
                    <a:pt x="168" y="259"/>
                  </a:lnTo>
                  <a:lnTo>
                    <a:pt x="168" y="259"/>
                  </a:lnTo>
                  <a:lnTo>
                    <a:pt x="161" y="259"/>
                  </a:lnTo>
                  <a:lnTo>
                    <a:pt x="158" y="259"/>
                  </a:lnTo>
                  <a:lnTo>
                    <a:pt x="158" y="258"/>
                  </a:lnTo>
                  <a:lnTo>
                    <a:pt x="158" y="258"/>
                  </a:lnTo>
                  <a:lnTo>
                    <a:pt x="158" y="258"/>
                  </a:lnTo>
                  <a:lnTo>
                    <a:pt x="158" y="258"/>
                  </a:lnTo>
                  <a:lnTo>
                    <a:pt x="158" y="258"/>
                  </a:lnTo>
                  <a:lnTo>
                    <a:pt x="158" y="258"/>
                  </a:lnTo>
                  <a:lnTo>
                    <a:pt x="159" y="255"/>
                  </a:lnTo>
                  <a:lnTo>
                    <a:pt x="162" y="252"/>
                  </a:lnTo>
                  <a:lnTo>
                    <a:pt x="165" y="249"/>
                  </a:lnTo>
                  <a:lnTo>
                    <a:pt x="166" y="246"/>
                  </a:lnTo>
                  <a:lnTo>
                    <a:pt x="166" y="246"/>
                  </a:lnTo>
                  <a:lnTo>
                    <a:pt x="165" y="244"/>
                  </a:lnTo>
                  <a:lnTo>
                    <a:pt x="161" y="238"/>
                  </a:lnTo>
                  <a:lnTo>
                    <a:pt x="156" y="232"/>
                  </a:lnTo>
                  <a:lnTo>
                    <a:pt x="153" y="228"/>
                  </a:lnTo>
                  <a:lnTo>
                    <a:pt x="153" y="228"/>
                  </a:lnTo>
                  <a:lnTo>
                    <a:pt x="153" y="228"/>
                  </a:lnTo>
                  <a:lnTo>
                    <a:pt x="153" y="228"/>
                  </a:lnTo>
                  <a:lnTo>
                    <a:pt x="153" y="228"/>
                  </a:lnTo>
                  <a:lnTo>
                    <a:pt x="153" y="228"/>
                  </a:lnTo>
                  <a:lnTo>
                    <a:pt x="156" y="212"/>
                  </a:lnTo>
                  <a:lnTo>
                    <a:pt x="156" y="204"/>
                  </a:lnTo>
                  <a:lnTo>
                    <a:pt x="156" y="202"/>
                  </a:lnTo>
                  <a:lnTo>
                    <a:pt x="156" y="202"/>
                  </a:lnTo>
                  <a:lnTo>
                    <a:pt x="156" y="202"/>
                  </a:lnTo>
                  <a:lnTo>
                    <a:pt x="155" y="202"/>
                  </a:lnTo>
                  <a:lnTo>
                    <a:pt x="155" y="202"/>
                  </a:lnTo>
                  <a:lnTo>
                    <a:pt x="155" y="202"/>
                  </a:lnTo>
                  <a:lnTo>
                    <a:pt x="155" y="202"/>
                  </a:lnTo>
                  <a:lnTo>
                    <a:pt x="155" y="202"/>
                  </a:lnTo>
                  <a:lnTo>
                    <a:pt x="155" y="202"/>
                  </a:lnTo>
                  <a:lnTo>
                    <a:pt x="155" y="202"/>
                  </a:lnTo>
                  <a:lnTo>
                    <a:pt x="155" y="202"/>
                  </a:lnTo>
                  <a:lnTo>
                    <a:pt x="155" y="202"/>
                  </a:lnTo>
                  <a:lnTo>
                    <a:pt x="155" y="202"/>
                  </a:lnTo>
                  <a:lnTo>
                    <a:pt x="143" y="203"/>
                  </a:lnTo>
                  <a:lnTo>
                    <a:pt x="143" y="203"/>
                  </a:lnTo>
                  <a:lnTo>
                    <a:pt x="143" y="203"/>
                  </a:lnTo>
                  <a:lnTo>
                    <a:pt x="143" y="203"/>
                  </a:lnTo>
                  <a:lnTo>
                    <a:pt x="140" y="203"/>
                  </a:lnTo>
                  <a:lnTo>
                    <a:pt x="138" y="202"/>
                  </a:lnTo>
                  <a:lnTo>
                    <a:pt x="138" y="202"/>
                  </a:lnTo>
                  <a:lnTo>
                    <a:pt x="138" y="202"/>
                  </a:lnTo>
                  <a:lnTo>
                    <a:pt x="138" y="202"/>
                  </a:lnTo>
                  <a:lnTo>
                    <a:pt x="138" y="202"/>
                  </a:lnTo>
                  <a:lnTo>
                    <a:pt x="138" y="202"/>
                  </a:lnTo>
                  <a:lnTo>
                    <a:pt x="138" y="202"/>
                  </a:lnTo>
                  <a:lnTo>
                    <a:pt x="138" y="202"/>
                  </a:lnTo>
                  <a:lnTo>
                    <a:pt x="138" y="202"/>
                  </a:lnTo>
                  <a:lnTo>
                    <a:pt x="138" y="202"/>
                  </a:lnTo>
                  <a:lnTo>
                    <a:pt x="138" y="202"/>
                  </a:lnTo>
                  <a:lnTo>
                    <a:pt x="138" y="202"/>
                  </a:lnTo>
                  <a:lnTo>
                    <a:pt x="138" y="202"/>
                  </a:lnTo>
                  <a:lnTo>
                    <a:pt x="138" y="202"/>
                  </a:lnTo>
                  <a:lnTo>
                    <a:pt x="138" y="200"/>
                  </a:lnTo>
                  <a:lnTo>
                    <a:pt x="138" y="200"/>
                  </a:lnTo>
                  <a:lnTo>
                    <a:pt x="138" y="200"/>
                  </a:lnTo>
                  <a:lnTo>
                    <a:pt x="138" y="200"/>
                  </a:lnTo>
                  <a:lnTo>
                    <a:pt x="132" y="197"/>
                  </a:lnTo>
                  <a:lnTo>
                    <a:pt x="132" y="197"/>
                  </a:lnTo>
                  <a:lnTo>
                    <a:pt x="132" y="197"/>
                  </a:lnTo>
                  <a:lnTo>
                    <a:pt x="130" y="197"/>
                  </a:lnTo>
                  <a:lnTo>
                    <a:pt x="130" y="197"/>
                  </a:lnTo>
                  <a:lnTo>
                    <a:pt x="130" y="197"/>
                  </a:lnTo>
                  <a:lnTo>
                    <a:pt x="130" y="197"/>
                  </a:lnTo>
                  <a:lnTo>
                    <a:pt x="129" y="197"/>
                  </a:lnTo>
                  <a:lnTo>
                    <a:pt x="129" y="197"/>
                  </a:lnTo>
                  <a:lnTo>
                    <a:pt x="119" y="194"/>
                  </a:lnTo>
                  <a:lnTo>
                    <a:pt x="119" y="194"/>
                  </a:lnTo>
                  <a:lnTo>
                    <a:pt x="119" y="194"/>
                  </a:lnTo>
                  <a:lnTo>
                    <a:pt x="119" y="194"/>
                  </a:lnTo>
                  <a:lnTo>
                    <a:pt x="117" y="194"/>
                  </a:lnTo>
                  <a:lnTo>
                    <a:pt x="117" y="194"/>
                  </a:lnTo>
                  <a:lnTo>
                    <a:pt x="114" y="196"/>
                  </a:lnTo>
                  <a:lnTo>
                    <a:pt x="114" y="196"/>
                  </a:lnTo>
                  <a:lnTo>
                    <a:pt x="114" y="196"/>
                  </a:lnTo>
                  <a:lnTo>
                    <a:pt x="114" y="196"/>
                  </a:lnTo>
                  <a:lnTo>
                    <a:pt x="114" y="199"/>
                  </a:lnTo>
                  <a:lnTo>
                    <a:pt x="113" y="203"/>
                  </a:lnTo>
                  <a:lnTo>
                    <a:pt x="113" y="209"/>
                  </a:lnTo>
                  <a:lnTo>
                    <a:pt x="111" y="210"/>
                  </a:lnTo>
                  <a:lnTo>
                    <a:pt x="110" y="210"/>
                  </a:lnTo>
                  <a:lnTo>
                    <a:pt x="110" y="210"/>
                  </a:lnTo>
                  <a:lnTo>
                    <a:pt x="101" y="212"/>
                  </a:lnTo>
                  <a:lnTo>
                    <a:pt x="90" y="215"/>
                  </a:lnTo>
                  <a:lnTo>
                    <a:pt x="90" y="215"/>
                  </a:lnTo>
                  <a:lnTo>
                    <a:pt x="90" y="215"/>
                  </a:lnTo>
                  <a:lnTo>
                    <a:pt x="87" y="213"/>
                  </a:lnTo>
                  <a:lnTo>
                    <a:pt x="84" y="212"/>
                  </a:lnTo>
                  <a:lnTo>
                    <a:pt x="84" y="212"/>
                  </a:lnTo>
                  <a:lnTo>
                    <a:pt x="84" y="212"/>
                  </a:lnTo>
                  <a:lnTo>
                    <a:pt x="84" y="212"/>
                  </a:lnTo>
                  <a:lnTo>
                    <a:pt x="78" y="202"/>
                  </a:lnTo>
                  <a:lnTo>
                    <a:pt x="75" y="194"/>
                  </a:lnTo>
                  <a:lnTo>
                    <a:pt x="74" y="188"/>
                  </a:lnTo>
                  <a:lnTo>
                    <a:pt x="74" y="173"/>
                  </a:lnTo>
                  <a:lnTo>
                    <a:pt x="23" y="173"/>
                  </a:lnTo>
                  <a:lnTo>
                    <a:pt x="23" y="173"/>
                  </a:lnTo>
                  <a:lnTo>
                    <a:pt x="20" y="174"/>
                  </a:lnTo>
                  <a:lnTo>
                    <a:pt x="19" y="174"/>
                  </a:lnTo>
                  <a:lnTo>
                    <a:pt x="17" y="177"/>
                  </a:lnTo>
                  <a:lnTo>
                    <a:pt x="16" y="180"/>
                  </a:lnTo>
                  <a:lnTo>
                    <a:pt x="14" y="181"/>
                  </a:lnTo>
                  <a:lnTo>
                    <a:pt x="14" y="181"/>
                  </a:lnTo>
                  <a:lnTo>
                    <a:pt x="1" y="184"/>
                  </a:lnTo>
                  <a:lnTo>
                    <a:pt x="1" y="184"/>
                  </a:lnTo>
                  <a:lnTo>
                    <a:pt x="0" y="181"/>
                  </a:lnTo>
                  <a:lnTo>
                    <a:pt x="0" y="178"/>
                  </a:lnTo>
                  <a:lnTo>
                    <a:pt x="0" y="178"/>
                  </a:lnTo>
                  <a:lnTo>
                    <a:pt x="0" y="175"/>
                  </a:lnTo>
                  <a:lnTo>
                    <a:pt x="0" y="175"/>
                  </a:lnTo>
                  <a:lnTo>
                    <a:pt x="1" y="174"/>
                  </a:lnTo>
                  <a:lnTo>
                    <a:pt x="3" y="173"/>
                  </a:lnTo>
                  <a:lnTo>
                    <a:pt x="3" y="173"/>
                  </a:lnTo>
                  <a:lnTo>
                    <a:pt x="10" y="158"/>
                  </a:lnTo>
                  <a:lnTo>
                    <a:pt x="10" y="158"/>
                  </a:lnTo>
                  <a:lnTo>
                    <a:pt x="16" y="161"/>
                  </a:lnTo>
                  <a:lnTo>
                    <a:pt x="20" y="162"/>
                  </a:lnTo>
                  <a:lnTo>
                    <a:pt x="20" y="162"/>
                  </a:lnTo>
                  <a:lnTo>
                    <a:pt x="20" y="162"/>
                  </a:lnTo>
                  <a:lnTo>
                    <a:pt x="20" y="162"/>
                  </a:lnTo>
                  <a:lnTo>
                    <a:pt x="20" y="162"/>
                  </a:lnTo>
                  <a:lnTo>
                    <a:pt x="20" y="162"/>
                  </a:lnTo>
                  <a:lnTo>
                    <a:pt x="20" y="162"/>
                  </a:lnTo>
                  <a:lnTo>
                    <a:pt x="20" y="162"/>
                  </a:lnTo>
                  <a:lnTo>
                    <a:pt x="20" y="162"/>
                  </a:lnTo>
                  <a:lnTo>
                    <a:pt x="20" y="162"/>
                  </a:lnTo>
                  <a:lnTo>
                    <a:pt x="20" y="162"/>
                  </a:lnTo>
                  <a:lnTo>
                    <a:pt x="20" y="162"/>
                  </a:lnTo>
                  <a:lnTo>
                    <a:pt x="20" y="162"/>
                  </a:lnTo>
                  <a:lnTo>
                    <a:pt x="20" y="162"/>
                  </a:lnTo>
                  <a:lnTo>
                    <a:pt x="20" y="162"/>
                  </a:lnTo>
                  <a:lnTo>
                    <a:pt x="20" y="162"/>
                  </a:lnTo>
                  <a:lnTo>
                    <a:pt x="25" y="162"/>
                  </a:lnTo>
                  <a:lnTo>
                    <a:pt x="25" y="162"/>
                  </a:lnTo>
                  <a:lnTo>
                    <a:pt x="33" y="162"/>
                  </a:lnTo>
                  <a:lnTo>
                    <a:pt x="33" y="162"/>
                  </a:lnTo>
                  <a:lnTo>
                    <a:pt x="33" y="162"/>
                  </a:lnTo>
                  <a:lnTo>
                    <a:pt x="33" y="162"/>
                  </a:lnTo>
                  <a:lnTo>
                    <a:pt x="40" y="162"/>
                  </a:lnTo>
                  <a:lnTo>
                    <a:pt x="42" y="161"/>
                  </a:lnTo>
                  <a:lnTo>
                    <a:pt x="43" y="159"/>
                  </a:lnTo>
                  <a:lnTo>
                    <a:pt x="43" y="159"/>
                  </a:lnTo>
                  <a:lnTo>
                    <a:pt x="46" y="155"/>
                  </a:lnTo>
                  <a:lnTo>
                    <a:pt x="49" y="151"/>
                  </a:lnTo>
                  <a:lnTo>
                    <a:pt x="58" y="138"/>
                  </a:lnTo>
                  <a:lnTo>
                    <a:pt x="58" y="138"/>
                  </a:lnTo>
                  <a:lnTo>
                    <a:pt x="61" y="129"/>
                  </a:lnTo>
                  <a:lnTo>
                    <a:pt x="62" y="122"/>
                  </a:lnTo>
                  <a:lnTo>
                    <a:pt x="62" y="115"/>
                  </a:lnTo>
                  <a:lnTo>
                    <a:pt x="64" y="110"/>
                  </a:lnTo>
                  <a:lnTo>
                    <a:pt x="64" y="110"/>
                  </a:lnTo>
                  <a:lnTo>
                    <a:pt x="67" y="109"/>
                  </a:lnTo>
                  <a:lnTo>
                    <a:pt x="69" y="106"/>
                  </a:lnTo>
                  <a:lnTo>
                    <a:pt x="78" y="102"/>
                  </a:lnTo>
                  <a:lnTo>
                    <a:pt x="78" y="102"/>
                  </a:lnTo>
                  <a:lnTo>
                    <a:pt x="84" y="97"/>
                  </a:lnTo>
                  <a:lnTo>
                    <a:pt x="88" y="93"/>
                  </a:lnTo>
                  <a:lnTo>
                    <a:pt x="91" y="87"/>
                  </a:lnTo>
                  <a:lnTo>
                    <a:pt x="93" y="81"/>
                  </a:lnTo>
                  <a:lnTo>
                    <a:pt x="93" y="81"/>
                  </a:lnTo>
                  <a:lnTo>
                    <a:pt x="93" y="64"/>
                  </a:lnTo>
                  <a:lnTo>
                    <a:pt x="94" y="55"/>
                  </a:lnTo>
                  <a:lnTo>
                    <a:pt x="97" y="48"/>
                  </a:lnTo>
                  <a:lnTo>
                    <a:pt x="97" y="48"/>
                  </a:lnTo>
                  <a:lnTo>
                    <a:pt x="100" y="39"/>
                  </a:lnTo>
                  <a:lnTo>
                    <a:pt x="104" y="25"/>
                  </a:lnTo>
                  <a:lnTo>
                    <a:pt x="104" y="25"/>
                  </a:lnTo>
                  <a:lnTo>
                    <a:pt x="107" y="15"/>
                  </a:lnTo>
                  <a:lnTo>
                    <a:pt x="110" y="10"/>
                  </a:lnTo>
                  <a:lnTo>
                    <a:pt x="111" y="9"/>
                  </a:lnTo>
                  <a:lnTo>
                    <a:pt x="111" y="9"/>
                  </a:lnTo>
                  <a:lnTo>
                    <a:pt x="111" y="9"/>
                  </a:lnTo>
                  <a:lnTo>
                    <a:pt x="111" y="9"/>
                  </a:lnTo>
                  <a:lnTo>
                    <a:pt x="111" y="9"/>
                  </a:lnTo>
                  <a:lnTo>
                    <a:pt x="111" y="9"/>
                  </a:lnTo>
                  <a:lnTo>
                    <a:pt x="116" y="9"/>
                  </a:lnTo>
                  <a:lnTo>
                    <a:pt x="116" y="9"/>
                  </a:lnTo>
                  <a:lnTo>
                    <a:pt x="116" y="9"/>
                  </a:lnTo>
                  <a:lnTo>
                    <a:pt x="116" y="9"/>
                  </a:lnTo>
                  <a:lnTo>
                    <a:pt x="120" y="10"/>
                  </a:lnTo>
                  <a:lnTo>
                    <a:pt x="123" y="12"/>
                  </a:lnTo>
                  <a:lnTo>
                    <a:pt x="123" y="12"/>
                  </a:lnTo>
                  <a:lnTo>
                    <a:pt x="129" y="15"/>
                  </a:lnTo>
                  <a:lnTo>
                    <a:pt x="138" y="16"/>
                  </a:lnTo>
                  <a:lnTo>
                    <a:pt x="152" y="19"/>
                  </a:lnTo>
                  <a:lnTo>
                    <a:pt x="152" y="19"/>
                  </a:lnTo>
                  <a:lnTo>
                    <a:pt x="164" y="16"/>
                  </a:lnTo>
                  <a:lnTo>
                    <a:pt x="171" y="15"/>
                  </a:lnTo>
                  <a:lnTo>
                    <a:pt x="175" y="12"/>
                  </a:lnTo>
                  <a:lnTo>
                    <a:pt x="175" y="12"/>
                  </a:lnTo>
                  <a:lnTo>
                    <a:pt x="178" y="10"/>
                  </a:lnTo>
                  <a:lnTo>
                    <a:pt x="178" y="7"/>
                  </a:lnTo>
                  <a:lnTo>
                    <a:pt x="181" y="6"/>
                  </a:lnTo>
                  <a:lnTo>
                    <a:pt x="185" y="6"/>
                  </a:lnTo>
                  <a:lnTo>
                    <a:pt x="185" y="6"/>
                  </a:lnTo>
                  <a:lnTo>
                    <a:pt x="193" y="6"/>
                  </a:lnTo>
                  <a:lnTo>
                    <a:pt x="200" y="7"/>
                  </a:lnTo>
                  <a:lnTo>
                    <a:pt x="200" y="7"/>
                  </a:lnTo>
                  <a:lnTo>
                    <a:pt x="206" y="9"/>
                  </a:lnTo>
                  <a:lnTo>
                    <a:pt x="206" y="9"/>
                  </a:lnTo>
                  <a:lnTo>
                    <a:pt x="206" y="9"/>
                  </a:lnTo>
                  <a:lnTo>
                    <a:pt x="206" y="9"/>
                  </a:lnTo>
                  <a:lnTo>
                    <a:pt x="208" y="7"/>
                  </a:lnTo>
                  <a:lnTo>
                    <a:pt x="213" y="6"/>
                  </a:lnTo>
                  <a:lnTo>
                    <a:pt x="213" y="6"/>
                  </a:lnTo>
                  <a:lnTo>
                    <a:pt x="216" y="5"/>
                  </a:lnTo>
                  <a:lnTo>
                    <a:pt x="217" y="2"/>
                  </a:lnTo>
                  <a:lnTo>
                    <a:pt x="219" y="2"/>
                  </a:lnTo>
                  <a:lnTo>
                    <a:pt x="223" y="0"/>
                  </a:lnTo>
                  <a:lnTo>
                    <a:pt x="223" y="0"/>
                  </a:lnTo>
                  <a:lnTo>
                    <a:pt x="223" y="0"/>
                  </a:lnTo>
                  <a:lnTo>
                    <a:pt x="223" y="0"/>
                  </a:lnTo>
                  <a:lnTo>
                    <a:pt x="223" y="0"/>
                  </a:lnTo>
                  <a:lnTo>
                    <a:pt x="223" y="0"/>
                  </a:lnTo>
                  <a:lnTo>
                    <a:pt x="223" y="0"/>
                  </a:lnTo>
                  <a:lnTo>
                    <a:pt x="223" y="0"/>
                  </a:lnTo>
                  <a:lnTo>
                    <a:pt x="223" y="0"/>
                  </a:lnTo>
                  <a:lnTo>
                    <a:pt x="223" y="0"/>
                  </a:lnTo>
                  <a:lnTo>
                    <a:pt x="223" y="0"/>
                  </a:lnTo>
                  <a:lnTo>
                    <a:pt x="232" y="2"/>
                  </a:lnTo>
                  <a:lnTo>
                    <a:pt x="243" y="6"/>
                  </a:lnTo>
                  <a:lnTo>
                    <a:pt x="243" y="6"/>
                  </a:lnTo>
                  <a:lnTo>
                    <a:pt x="253" y="10"/>
                  </a:lnTo>
                  <a:lnTo>
                    <a:pt x="253" y="10"/>
                  </a:lnTo>
                  <a:lnTo>
                    <a:pt x="253" y="10"/>
                  </a:lnTo>
                  <a:lnTo>
                    <a:pt x="253" y="10"/>
                  </a:lnTo>
                  <a:lnTo>
                    <a:pt x="253" y="10"/>
                  </a:lnTo>
                  <a:lnTo>
                    <a:pt x="253" y="12"/>
                  </a:lnTo>
                  <a:lnTo>
                    <a:pt x="253" y="12"/>
                  </a:lnTo>
                  <a:lnTo>
                    <a:pt x="255" y="12"/>
                  </a:lnTo>
                  <a:lnTo>
                    <a:pt x="255" y="12"/>
                  </a:lnTo>
                  <a:lnTo>
                    <a:pt x="259" y="15"/>
                  </a:lnTo>
                  <a:lnTo>
                    <a:pt x="262" y="16"/>
                  </a:lnTo>
                  <a:lnTo>
                    <a:pt x="262" y="16"/>
                  </a:lnTo>
                  <a:lnTo>
                    <a:pt x="262" y="16"/>
                  </a:lnTo>
                  <a:lnTo>
                    <a:pt x="262" y="16"/>
                  </a:lnTo>
                  <a:lnTo>
                    <a:pt x="265" y="16"/>
                  </a:lnTo>
                  <a:lnTo>
                    <a:pt x="265" y="16"/>
                  </a:lnTo>
                  <a:lnTo>
                    <a:pt x="265" y="16"/>
                  </a:lnTo>
                  <a:lnTo>
                    <a:pt x="265" y="16"/>
                  </a:lnTo>
                  <a:lnTo>
                    <a:pt x="265" y="16"/>
                  </a:lnTo>
                  <a:lnTo>
                    <a:pt x="265" y="16"/>
                  </a:lnTo>
                  <a:lnTo>
                    <a:pt x="265" y="16"/>
                  </a:lnTo>
                  <a:lnTo>
                    <a:pt x="265" y="16"/>
                  </a:lnTo>
                  <a:lnTo>
                    <a:pt x="265" y="16"/>
                  </a:lnTo>
                  <a:lnTo>
                    <a:pt x="265" y="16"/>
                  </a:lnTo>
                  <a:lnTo>
                    <a:pt x="265" y="16"/>
                  </a:lnTo>
                  <a:lnTo>
                    <a:pt x="265" y="16"/>
                  </a:lnTo>
                  <a:lnTo>
                    <a:pt x="266" y="16"/>
                  </a:lnTo>
                  <a:lnTo>
                    <a:pt x="266" y="16"/>
                  </a:lnTo>
                  <a:lnTo>
                    <a:pt x="266" y="16"/>
                  </a:lnTo>
                  <a:lnTo>
                    <a:pt x="266" y="16"/>
                  </a:lnTo>
                  <a:lnTo>
                    <a:pt x="272" y="12"/>
                  </a:lnTo>
                  <a:lnTo>
                    <a:pt x="275" y="9"/>
                  </a:lnTo>
                  <a:lnTo>
                    <a:pt x="279" y="9"/>
                  </a:lnTo>
                  <a:lnTo>
                    <a:pt x="279" y="9"/>
                  </a:lnTo>
                  <a:lnTo>
                    <a:pt x="279" y="9"/>
                  </a:lnTo>
                  <a:lnTo>
                    <a:pt x="279" y="9"/>
                  </a:lnTo>
                  <a:lnTo>
                    <a:pt x="282" y="9"/>
                  </a:lnTo>
                  <a:lnTo>
                    <a:pt x="285" y="10"/>
                  </a:lnTo>
                  <a:lnTo>
                    <a:pt x="285" y="10"/>
                  </a:lnTo>
                  <a:lnTo>
                    <a:pt x="285" y="10"/>
                  </a:lnTo>
                  <a:lnTo>
                    <a:pt x="285" y="10"/>
                  </a:lnTo>
                  <a:lnTo>
                    <a:pt x="287" y="12"/>
                  </a:lnTo>
                  <a:lnTo>
                    <a:pt x="287" y="12"/>
                  </a:lnTo>
                  <a:lnTo>
                    <a:pt x="287" y="12"/>
                  </a:lnTo>
                  <a:lnTo>
                    <a:pt x="287" y="12"/>
                  </a:lnTo>
                  <a:lnTo>
                    <a:pt x="287" y="12"/>
                  </a:lnTo>
                  <a:lnTo>
                    <a:pt x="287" y="12"/>
                  </a:lnTo>
                  <a:lnTo>
                    <a:pt x="290" y="16"/>
                  </a:lnTo>
                  <a:lnTo>
                    <a:pt x="292" y="19"/>
                  </a:lnTo>
                  <a:lnTo>
                    <a:pt x="295" y="22"/>
                  </a:lnTo>
                  <a:lnTo>
                    <a:pt x="300" y="23"/>
                  </a:lnTo>
                  <a:lnTo>
                    <a:pt x="300" y="23"/>
                  </a:lnTo>
                  <a:lnTo>
                    <a:pt x="300" y="23"/>
                  </a:lnTo>
                  <a:lnTo>
                    <a:pt x="301" y="22"/>
                  </a:lnTo>
                  <a:lnTo>
                    <a:pt x="301" y="22"/>
                  </a:lnTo>
                  <a:lnTo>
                    <a:pt x="306" y="22"/>
                  </a:lnTo>
                  <a:lnTo>
                    <a:pt x="306" y="22"/>
                  </a:lnTo>
                  <a:lnTo>
                    <a:pt x="308" y="22"/>
                  </a:lnTo>
                  <a:lnTo>
                    <a:pt x="308" y="22"/>
                  </a:lnTo>
                  <a:lnTo>
                    <a:pt x="307" y="41"/>
                  </a:lnTo>
                  <a:lnTo>
                    <a:pt x="307" y="41"/>
                  </a:lnTo>
                  <a:lnTo>
                    <a:pt x="306" y="48"/>
                  </a:lnTo>
                  <a:lnTo>
                    <a:pt x="303" y="55"/>
                  </a:lnTo>
                  <a:lnTo>
                    <a:pt x="298" y="61"/>
                  </a:lnTo>
                  <a:lnTo>
                    <a:pt x="291" y="67"/>
                  </a:lnTo>
                  <a:lnTo>
                    <a:pt x="291" y="67"/>
                  </a:lnTo>
                  <a:lnTo>
                    <a:pt x="287" y="71"/>
                  </a:lnTo>
                  <a:lnTo>
                    <a:pt x="284" y="74"/>
                  </a:lnTo>
                  <a:lnTo>
                    <a:pt x="284" y="78"/>
                  </a:lnTo>
                  <a:lnTo>
                    <a:pt x="284" y="83"/>
                  </a:lnTo>
                  <a:lnTo>
                    <a:pt x="284" y="83"/>
                  </a:lnTo>
                  <a:lnTo>
                    <a:pt x="284" y="86"/>
                  </a:lnTo>
                  <a:lnTo>
                    <a:pt x="281" y="87"/>
                  </a:lnTo>
                  <a:lnTo>
                    <a:pt x="278" y="90"/>
                  </a:lnTo>
                  <a:lnTo>
                    <a:pt x="275" y="94"/>
                  </a:lnTo>
                  <a:lnTo>
                    <a:pt x="275" y="94"/>
                  </a:lnTo>
                  <a:lnTo>
                    <a:pt x="272" y="102"/>
                  </a:lnTo>
                  <a:lnTo>
                    <a:pt x="271" y="110"/>
                  </a:lnTo>
                  <a:lnTo>
                    <a:pt x="271" y="110"/>
                  </a:lnTo>
                  <a:lnTo>
                    <a:pt x="269" y="122"/>
                  </a:lnTo>
                  <a:lnTo>
                    <a:pt x="269" y="122"/>
                  </a:lnTo>
                  <a:lnTo>
                    <a:pt x="271" y="122"/>
                  </a:lnTo>
                  <a:lnTo>
                    <a:pt x="271" y="122"/>
                  </a:lnTo>
                  <a:lnTo>
                    <a:pt x="269" y="122"/>
                  </a:lnTo>
                  <a:lnTo>
                    <a:pt x="269" y="122"/>
                  </a:lnTo>
                  <a:lnTo>
                    <a:pt x="269" y="125"/>
                  </a:lnTo>
                  <a:lnTo>
                    <a:pt x="269" y="125"/>
                  </a:lnTo>
                  <a:lnTo>
                    <a:pt x="269" y="125"/>
                  </a:lnTo>
                  <a:lnTo>
                    <a:pt x="269" y="125"/>
                  </a:lnTo>
                  <a:lnTo>
                    <a:pt x="269" y="128"/>
                  </a:lnTo>
                  <a:lnTo>
                    <a:pt x="269" y="128"/>
                  </a:lnTo>
                  <a:lnTo>
                    <a:pt x="271" y="133"/>
                  </a:lnTo>
                  <a:lnTo>
                    <a:pt x="272" y="141"/>
                  </a:lnTo>
                  <a:lnTo>
                    <a:pt x="272" y="141"/>
                  </a:lnTo>
                  <a:lnTo>
                    <a:pt x="271" y="149"/>
                  </a:lnTo>
                  <a:lnTo>
                    <a:pt x="271" y="149"/>
                  </a:lnTo>
                  <a:lnTo>
                    <a:pt x="272" y="159"/>
                  </a:lnTo>
                  <a:lnTo>
                    <a:pt x="277" y="170"/>
                  </a:lnTo>
                  <a:lnTo>
                    <a:pt x="277" y="170"/>
                  </a:lnTo>
                  <a:lnTo>
                    <a:pt x="278" y="174"/>
                  </a:lnTo>
                  <a:lnTo>
                    <a:pt x="278" y="180"/>
                  </a:lnTo>
                  <a:lnTo>
                    <a:pt x="279" y="186"/>
                  </a:lnTo>
                  <a:lnTo>
                    <a:pt x="282" y="191"/>
                  </a:lnTo>
                  <a:lnTo>
                    <a:pt x="282" y="191"/>
                  </a:lnTo>
                  <a:lnTo>
                    <a:pt x="290" y="200"/>
                  </a:lnTo>
                  <a:lnTo>
                    <a:pt x="294" y="206"/>
                  </a:lnTo>
                  <a:lnTo>
                    <a:pt x="294" y="206"/>
                  </a:lnTo>
                  <a:lnTo>
                    <a:pt x="295" y="212"/>
                  </a:lnTo>
                  <a:lnTo>
                    <a:pt x="295" y="215"/>
                  </a:lnTo>
                  <a:lnTo>
                    <a:pt x="295" y="215"/>
                  </a:lnTo>
                  <a:lnTo>
                    <a:pt x="295" y="215"/>
                  </a:lnTo>
                  <a:lnTo>
                    <a:pt x="295" y="215"/>
                  </a:lnTo>
                  <a:lnTo>
                    <a:pt x="295" y="215"/>
                  </a:lnTo>
                  <a:lnTo>
                    <a:pt x="295" y="215"/>
                  </a:lnTo>
                  <a:lnTo>
                    <a:pt x="290" y="215"/>
                  </a:lnTo>
                  <a:lnTo>
                    <a:pt x="290" y="215"/>
                  </a:lnTo>
                  <a:lnTo>
                    <a:pt x="290" y="215"/>
                  </a:lnTo>
                  <a:lnTo>
                    <a:pt x="290" y="215"/>
                  </a:lnTo>
                  <a:lnTo>
                    <a:pt x="281" y="216"/>
                  </a:lnTo>
                  <a:lnTo>
                    <a:pt x="275" y="217"/>
                  </a:lnTo>
                  <a:lnTo>
                    <a:pt x="275" y="217"/>
                  </a:lnTo>
                  <a:lnTo>
                    <a:pt x="275" y="217"/>
                  </a:lnTo>
                  <a:lnTo>
                    <a:pt x="275" y="217"/>
                  </a:lnTo>
                  <a:lnTo>
                    <a:pt x="269" y="223"/>
                  </a:lnTo>
                  <a:lnTo>
                    <a:pt x="266" y="229"/>
                  </a:lnTo>
                  <a:lnTo>
                    <a:pt x="264" y="236"/>
                  </a:lnTo>
                  <a:lnTo>
                    <a:pt x="264" y="242"/>
                  </a:lnTo>
                  <a:lnTo>
                    <a:pt x="264" y="242"/>
                  </a:lnTo>
                  <a:lnTo>
                    <a:pt x="262" y="251"/>
                  </a:lnTo>
                  <a:lnTo>
                    <a:pt x="259" y="259"/>
                  </a:lnTo>
                  <a:lnTo>
                    <a:pt x="259" y="259"/>
                  </a:lnTo>
                  <a:lnTo>
                    <a:pt x="258" y="261"/>
                  </a:lnTo>
                  <a:lnTo>
                    <a:pt x="258" y="261"/>
                  </a:lnTo>
                  <a:lnTo>
                    <a:pt x="259" y="264"/>
                  </a:lnTo>
                  <a:lnTo>
                    <a:pt x="261" y="267"/>
                  </a:lnTo>
                  <a:lnTo>
                    <a:pt x="266" y="274"/>
                  </a:lnTo>
                  <a:lnTo>
                    <a:pt x="274" y="281"/>
                  </a:lnTo>
                  <a:lnTo>
                    <a:pt x="279" y="284"/>
                  </a:lnTo>
                  <a:lnTo>
                    <a:pt x="279" y="284"/>
                  </a:lnTo>
                  <a:lnTo>
                    <a:pt x="279" y="284"/>
                  </a:lnTo>
                  <a:lnTo>
                    <a:pt x="279" y="284"/>
                  </a:lnTo>
                  <a:lnTo>
                    <a:pt x="279" y="284"/>
                  </a:lnTo>
                  <a:lnTo>
                    <a:pt x="279" y="286"/>
                  </a:lnTo>
                  <a:lnTo>
                    <a:pt x="279" y="286"/>
                  </a:lnTo>
                  <a:lnTo>
                    <a:pt x="282" y="286"/>
                  </a:lnTo>
                  <a:lnTo>
                    <a:pt x="282" y="286"/>
                  </a:lnTo>
                  <a:lnTo>
                    <a:pt x="282" y="286"/>
                  </a:lnTo>
                  <a:lnTo>
                    <a:pt x="282" y="286"/>
                  </a:lnTo>
                  <a:lnTo>
                    <a:pt x="285" y="284"/>
                  </a:lnTo>
                  <a:lnTo>
                    <a:pt x="285" y="284"/>
                  </a:lnTo>
                  <a:lnTo>
                    <a:pt x="285" y="284"/>
                  </a:lnTo>
                  <a:lnTo>
                    <a:pt x="285" y="284"/>
                  </a:lnTo>
                  <a:lnTo>
                    <a:pt x="285" y="284"/>
                  </a:lnTo>
                  <a:lnTo>
                    <a:pt x="285" y="284"/>
                  </a:lnTo>
                  <a:lnTo>
                    <a:pt x="285" y="284"/>
                  </a:lnTo>
                  <a:lnTo>
                    <a:pt x="285" y="284"/>
                  </a:lnTo>
                  <a:lnTo>
                    <a:pt x="288" y="283"/>
                  </a:lnTo>
                  <a:lnTo>
                    <a:pt x="288" y="283"/>
                  </a:lnTo>
                  <a:lnTo>
                    <a:pt x="290" y="284"/>
                  </a:lnTo>
                  <a:lnTo>
                    <a:pt x="290" y="284"/>
                  </a:lnTo>
                  <a:lnTo>
                    <a:pt x="290" y="284"/>
                  </a:lnTo>
                  <a:lnTo>
                    <a:pt x="290" y="284"/>
                  </a:lnTo>
                  <a:lnTo>
                    <a:pt x="290" y="284"/>
                  </a:lnTo>
                  <a:lnTo>
                    <a:pt x="290" y="284"/>
                  </a:lnTo>
                  <a:lnTo>
                    <a:pt x="291" y="287"/>
                  </a:lnTo>
                  <a:lnTo>
                    <a:pt x="291" y="287"/>
                  </a:lnTo>
                  <a:lnTo>
                    <a:pt x="290" y="290"/>
                  </a:lnTo>
                  <a:lnTo>
                    <a:pt x="287" y="294"/>
                  </a:lnTo>
                  <a:lnTo>
                    <a:pt x="284" y="299"/>
                  </a:lnTo>
                  <a:lnTo>
                    <a:pt x="279" y="300"/>
                  </a:lnTo>
                  <a:lnTo>
                    <a:pt x="279" y="300"/>
                  </a:lnTo>
                  <a:lnTo>
                    <a:pt x="279" y="300"/>
                  </a:lnTo>
                  <a:lnTo>
                    <a:pt x="279" y="300"/>
                  </a:lnTo>
                  <a:lnTo>
                    <a:pt x="279" y="300"/>
                  </a:lnTo>
                  <a:lnTo>
                    <a:pt x="279" y="300"/>
                  </a:lnTo>
                  <a:lnTo>
                    <a:pt x="277" y="300"/>
                  </a:lnTo>
                  <a:lnTo>
                    <a:pt x="277" y="30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20" name="Freeform 175"/>
            <p:cNvSpPr>
              <a:spLocks noEditPoints="1"/>
            </p:cNvSpPr>
            <p:nvPr/>
          </p:nvSpPr>
          <p:spPr bwMode="auto">
            <a:xfrm>
              <a:off x="5016500" y="4645454"/>
              <a:ext cx="92075" cy="26988"/>
            </a:xfrm>
            <a:custGeom>
              <a:avLst/>
              <a:gdLst>
                <a:gd name="T0" fmla="*/ 36 w 58"/>
                <a:gd name="T1" fmla="*/ 3 h 17"/>
                <a:gd name="T2" fmla="*/ 10 w 58"/>
                <a:gd name="T3" fmla="*/ 4 h 17"/>
                <a:gd name="T4" fmla="*/ 0 w 58"/>
                <a:gd name="T5" fmla="*/ 0 h 17"/>
                <a:gd name="T6" fmla="*/ 0 w 58"/>
                <a:gd name="T7" fmla="*/ 0 h 17"/>
                <a:gd name="T8" fmla="*/ 10 w 58"/>
                <a:gd name="T9" fmla="*/ 4 h 17"/>
                <a:gd name="T10" fmla="*/ 10 w 58"/>
                <a:gd name="T11" fmla="*/ 4 h 17"/>
                <a:gd name="T12" fmla="*/ 10 w 58"/>
                <a:gd name="T13" fmla="*/ 4 h 17"/>
                <a:gd name="T14" fmla="*/ 42 w 58"/>
                <a:gd name="T15" fmla="*/ 4 h 17"/>
                <a:gd name="T16" fmla="*/ 42 w 58"/>
                <a:gd name="T17" fmla="*/ 4 h 17"/>
                <a:gd name="T18" fmla="*/ 42 w 58"/>
                <a:gd name="T19" fmla="*/ 4 h 17"/>
                <a:gd name="T20" fmla="*/ 12 w 58"/>
                <a:gd name="T21" fmla="*/ 6 h 17"/>
                <a:gd name="T22" fmla="*/ 10 w 58"/>
                <a:gd name="T23" fmla="*/ 6 h 17"/>
                <a:gd name="T24" fmla="*/ 44 w 58"/>
                <a:gd name="T25" fmla="*/ 6 h 17"/>
                <a:gd name="T26" fmla="*/ 42 w 58"/>
                <a:gd name="T27" fmla="*/ 4 h 17"/>
                <a:gd name="T28" fmla="*/ 44 w 58"/>
                <a:gd name="T29" fmla="*/ 6 h 17"/>
                <a:gd name="T30" fmla="*/ 44 w 58"/>
                <a:gd name="T31" fmla="*/ 6 h 17"/>
                <a:gd name="T32" fmla="*/ 44 w 58"/>
                <a:gd name="T33" fmla="*/ 6 h 17"/>
                <a:gd name="T34" fmla="*/ 23 w 58"/>
                <a:gd name="T35" fmla="*/ 10 h 17"/>
                <a:gd name="T36" fmla="*/ 29 w 58"/>
                <a:gd name="T37" fmla="*/ 6 h 17"/>
                <a:gd name="T38" fmla="*/ 36 w 58"/>
                <a:gd name="T39" fmla="*/ 3 h 17"/>
                <a:gd name="T40" fmla="*/ 32 w 58"/>
                <a:gd name="T41" fmla="*/ 3 h 17"/>
                <a:gd name="T42" fmla="*/ 23 w 58"/>
                <a:gd name="T43" fmla="*/ 10 h 17"/>
                <a:gd name="T44" fmla="*/ 23 w 58"/>
                <a:gd name="T45" fmla="*/ 10 h 17"/>
                <a:gd name="T46" fmla="*/ 23 w 58"/>
                <a:gd name="T47" fmla="*/ 10 h 17"/>
                <a:gd name="T48" fmla="*/ 22 w 58"/>
                <a:gd name="T49" fmla="*/ 10 h 17"/>
                <a:gd name="T50" fmla="*/ 22 w 58"/>
                <a:gd name="T51" fmla="*/ 10 h 17"/>
                <a:gd name="T52" fmla="*/ 22 w 58"/>
                <a:gd name="T53" fmla="*/ 10 h 17"/>
                <a:gd name="T54" fmla="*/ 22 w 58"/>
                <a:gd name="T55" fmla="*/ 10 h 17"/>
                <a:gd name="T56" fmla="*/ 22 w 58"/>
                <a:gd name="T57" fmla="*/ 10 h 17"/>
                <a:gd name="T58" fmla="*/ 19 w 58"/>
                <a:gd name="T59" fmla="*/ 10 h 17"/>
                <a:gd name="T60" fmla="*/ 22 w 58"/>
                <a:gd name="T61" fmla="*/ 10 h 17"/>
                <a:gd name="T62" fmla="*/ 19 w 58"/>
                <a:gd name="T63" fmla="*/ 10 h 17"/>
                <a:gd name="T64" fmla="*/ 19 w 58"/>
                <a:gd name="T65" fmla="*/ 10 h 17"/>
                <a:gd name="T66" fmla="*/ 57 w 58"/>
                <a:gd name="T67" fmla="*/ 17 h 17"/>
                <a:gd name="T68" fmla="*/ 58 w 58"/>
                <a:gd name="T69" fmla="*/ 16 h 17"/>
                <a:gd name="T70" fmla="*/ 57 w 58"/>
                <a:gd name="T71" fmla="*/ 17 h 17"/>
                <a:gd name="T72" fmla="*/ 57 w 58"/>
                <a:gd name="T73"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8" h="17">
                  <a:moveTo>
                    <a:pt x="36" y="3"/>
                  </a:moveTo>
                  <a:lnTo>
                    <a:pt x="36" y="3"/>
                  </a:lnTo>
                  <a:lnTo>
                    <a:pt x="36" y="3"/>
                  </a:lnTo>
                  <a:close/>
                  <a:moveTo>
                    <a:pt x="10" y="4"/>
                  </a:moveTo>
                  <a:lnTo>
                    <a:pt x="10" y="4"/>
                  </a:lnTo>
                  <a:lnTo>
                    <a:pt x="0" y="0"/>
                  </a:lnTo>
                  <a:lnTo>
                    <a:pt x="0" y="0"/>
                  </a:lnTo>
                  <a:lnTo>
                    <a:pt x="0" y="0"/>
                  </a:lnTo>
                  <a:lnTo>
                    <a:pt x="6" y="1"/>
                  </a:lnTo>
                  <a:lnTo>
                    <a:pt x="10" y="4"/>
                  </a:lnTo>
                  <a:close/>
                  <a:moveTo>
                    <a:pt x="10" y="4"/>
                  </a:moveTo>
                  <a:lnTo>
                    <a:pt x="10" y="4"/>
                  </a:lnTo>
                  <a:lnTo>
                    <a:pt x="10" y="4"/>
                  </a:lnTo>
                  <a:lnTo>
                    <a:pt x="10" y="4"/>
                  </a:lnTo>
                  <a:lnTo>
                    <a:pt x="10" y="4"/>
                  </a:lnTo>
                  <a:close/>
                  <a:moveTo>
                    <a:pt x="42" y="4"/>
                  </a:moveTo>
                  <a:lnTo>
                    <a:pt x="42" y="4"/>
                  </a:lnTo>
                  <a:lnTo>
                    <a:pt x="42" y="4"/>
                  </a:lnTo>
                  <a:lnTo>
                    <a:pt x="42" y="4"/>
                  </a:lnTo>
                  <a:lnTo>
                    <a:pt x="42" y="4"/>
                  </a:lnTo>
                  <a:close/>
                  <a:moveTo>
                    <a:pt x="12" y="6"/>
                  </a:moveTo>
                  <a:lnTo>
                    <a:pt x="12" y="6"/>
                  </a:lnTo>
                  <a:lnTo>
                    <a:pt x="10" y="6"/>
                  </a:lnTo>
                  <a:lnTo>
                    <a:pt x="10" y="6"/>
                  </a:lnTo>
                  <a:lnTo>
                    <a:pt x="12" y="6"/>
                  </a:lnTo>
                  <a:close/>
                  <a:moveTo>
                    <a:pt x="44" y="6"/>
                  </a:moveTo>
                  <a:lnTo>
                    <a:pt x="44" y="6"/>
                  </a:lnTo>
                  <a:lnTo>
                    <a:pt x="42" y="4"/>
                  </a:lnTo>
                  <a:lnTo>
                    <a:pt x="42" y="4"/>
                  </a:lnTo>
                  <a:lnTo>
                    <a:pt x="44" y="6"/>
                  </a:lnTo>
                  <a:close/>
                  <a:moveTo>
                    <a:pt x="44" y="6"/>
                  </a:moveTo>
                  <a:lnTo>
                    <a:pt x="44" y="6"/>
                  </a:lnTo>
                  <a:lnTo>
                    <a:pt x="44" y="6"/>
                  </a:lnTo>
                  <a:lnTo>
                    <a:pt x="44" y="6"/>
                  </a:lnTo>
                  <a:lnTo>
                    <a:pt x="44" y="6"/>
                  </a:lnTo>
                  <a:close/>
                  <a:moveTo>
                    <a:pt x="23" y="10"/>
                  </a:moveTo>
                  <a:lnTo>
                    <a:pt x="23" y="10"/>
                  </a:lnTo>
                  <a:lnTo>
                    <a:pt x="29" y="6"/>
                  </a:lnTo>
                  <a:lnTo>
                    <a:pt x="32" y="3"/>
                  </a:lnTo>
                  <a:lnTo>
                    <a:pt x="36" y="3"/>
                  </a:lnTo>
                  <a:lnTo>
                    <a:pt x="36" y="3"/>
                  </a:lnTo>
                  <a:lnTo>
                    <a:pt x="32" y="3"/>
                  </a:lnTo>
                  <a:lnTo>
                    <a:pt x="29" y="6"/>
                  </a:lnTo>
                  <a:lnTo>
                    <a:pt x="23" y="10"/>
                  </a:lnTo>
                  <a:close/>
                  <a:moveTo>
                    <a:pt x="23" y="10"/>
                  </a:moveTo>
                  <a:lnTo>
                    <a:pt x="23" y="10"/>
                  </a:lnTo>
                  <a:lnTo>
                    <a:pt x="23" y="10"/>
                  </a:lnTo>
                  <a:lnTo>
                    <a:pt x="23" y="10"/>
                  </a:lnTo>
                  <a:lnTo>
                    <a:pt x="23" y="10"/>
                  </a:lnTo>
                  <a:close/>
                  <a:moveTo>
                    <a:pt x="22" y="10"/>
                  </a:moveTo>
                  <a:lnTo>
                    <a:pt x="22" y="10"/>
                  </a:lnTo>
                  <a:lnTo>
                    <a:pt x="22" y="10"/>
                  </a:lnTo>
                  <a:lnTo>
                    <a:pt x="22" y="10"/>
                  </a:lnTo>
                  <a:lnTo>
                    <a:pt x="22" y="10"/>
                  </a:lnTo>
                  <a:close/>
                  <a:moveTo>
                    <a:pt x="22" y="10"/>
                  </a:moveTo>
                  <a:lnTo>
                    <a:pt x="22" y="10"/>
                  </a:lnTo>
                  <a:lnTo>
                    <a:pt x="22" y="10"/>
                  </a:lnTo>
                  <a:lnTo>
                    <a:pt x="22" y="10"/>
                  </a:lnTo>
                  <a:lnTo>
                    <a:pt x="22" y="10"/>
                  </a:lnTo>
                  <a:close/>
                  <a:moveTo>
                    <a:pt x="19" y="10"/>
                  </a:moveTo>
                  <a:lnTo>
                    <a:pt x="19" y="10"/>
                  </a:lnTo>
                  <a:lnTo>
                    <a:pt x="22" y="10"/>
                  </a:lnTo>
                  <a:lnTo>
                    <a:pt x="22" y="10"/>
                  </a:lnTo>
                  <a:lnTo>
                    <a:pt x="19" y="10"/>
                  </a:lnTo>
                  <a:close/>
                  <a:moveTo>
                    <a:pt x="19" y="10"/>
                  </a:moveTo>
                  <a:lnTo>
                    <a:pt x="19" y="10"/>
                  </a:lnTo>
                  <a:lnTo>
                    <a:pt x="19" y="10"/>
                  </a:lnTo>
                  <a:close/>
                  <a:moveTo>
                    <a:pt x="57" y="17"/>
                  </a:moveTo>
                  <a:lnTo>
                    <a:pt x="57" y="17"/>
                  </a:lnTo>
                  <a:lnTo>
                    <a:pt x="58" y="16"/>
                  </a:lnTo>
                  <a:lnTo>
                    <a:pt x="58" y="16"/>
                  </a:lnTo>
                  <a:lnTo>
                    <a:pt x="57" y="17"/>
                  </a:lnTo>
                  <a:close/>
                  <a:moveTo>
                    <a:pt x="57" y="17"/>
                  </a:moveTo>
                  <a:lnTo>
                    <a:pt x="57" y="17"/>
                  </a:lnTo>
                  <a:lnTo>
                    <a:pt x="57" y="17"/>
                  </a:lnTo>
                  <a:close/>
                </a:path>
              </a:pathLst>
            </a:custGeom>
            <a:solidFill>
              <a:srgbClr val="60B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21" name="Freeform 176"/>
            <p:cNvSpPr>
              <a:spLocks/>
            </p:cNvSpPr>
            <p:nvPr/>
          </p:nvSpPr>
          <p:spPr bwMode="auto">
            <a:xfrm>
              <a:off x="5073650" y="465021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22" name="Freeform 177"/>
            <p:cNvSpPr>
              <a:spLocks/>
            </p:cNvSpPr>
            <p:nvPr/>
          </p:nvSpPr>
          <p:spPr bwMode="auto">
            <a:xfrm>
              <a:off x="5016500" y="4645454"/>
              <a:ext cx="15875" cy="6350"/>
            </a:xfrm>
            <a:custGeom>
              <a:avLst/>
              <a:gdLst>
                <a:gd name="T0" fmla="*/ 10 w 10"/>
                <a:gd name="T1" fmla="*/ 4 h 4"/>
                <a:gd name="T2" fmla="*/ 10 w 10"/>
                <a:gd name="T3" fmla="*/ 4 h 4"/>
                <a:gd name="T4" fmla="*/ 0 w 10"/>
                <a:gd name="T5" fmla="*/ 0 h 4"/>
                <a:gd name="T6" fmla="*/ 0 w 10"/>
                <a:gd name="T7" fmla="*/ 0 h 4"/>
                <a:gd name="T8" fmla="*/ 0 w 10"/>
                <a:gd name="T9" fmla="*/ 0 h 4"/>
                <a:gd name="T10" fmla="*/ 6 w 10"/>
                <a:gd name="T11" fmla="*/ 1 h 4"/>
                <a:gd name="T12" fmla="*/ 10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10" y="4"/>
                  </a:moveTo>
                  <a:lnTo>
                    <a:pt x="10" y="4"/>
                  </a:lnTo>
                  <a:lnTo>
                    <a:pt x="0" y="0"/>
                  </a:lnTo>
                  <a:lnTo>
                    <a:pt x="0" y="0"/>
                  </a:lnTo>
                  <a:lnTo>
                    <a:pt x="0" y="0"/>
                  </a:lnTo>
                  <a:lnTo>
                    <a:pt x="6" y="1"/>
                  </a:lnTo>
                  <a:lnTo>
                    <a:pt x="1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23" name="Rectangle 178"/>
            <p:cNvSpPr>
              <a:spLocks noChangeArrowheads="1"/>
            </p:cNvSpPr>
            <p:nvPr/>
          </p:nvSpPr>
          <p:spPr bwMode="auto">
            <a:xfrm>
              <a:off x="5032375" y="4651804"/>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24" name="Rectangle 179"/>
            <p:cNvSpPr>
              <a:spLocks noChangeArrowheads="1"/>
            </p:cNvSpPr>
            <p:nvPr/>
          </p:nvSpPr>
          <p:spPr bwMode="auto">
            <a:xfrm>
              <a:off x="5083175" y="4651804"/>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25" name="Rectangle 180"/>
            <p:cNvSpPr>
              <a:spLocks noChangeArrowheads="1"/>
            </p:cNvSpPr>
            <p:nvPr/>
          </p:nvSpPr>
          <p:spPr bwMode="auto">
            <a:xfrm>
              <a:off x="5032375" y="4654979"/>
              <a:ext cx="3175"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26" name="Freeform 181"/>
            <p:cNvSpPr>
              <a:spLocks/>
            </p:cNvSpPr>
            <p:nvPr/>
          </p:nvSpPr>
          <p:spPr bwMode="auto">
            <a:xfrm>
              <a:off x="5083175" y="4651804"/>
              <a:ext cx="3175" cy="3175"/>
            </a:xfrm>
            <a:custGeom>
              <a:avLst/>
              <a:gdLst>
                <a:gd name="T0" fmla="*/ 2 w 2"/>
                <a:gd name="T1" fmla="*/ 2 h 2"/>
                <a:gd name="T2" fmla="*/ 2 w 2"/>
                <a:gd name="T3" fmla="*/ 2 h 2"/>
                <a:gd name="T4" fmla="*/ 0 w 2"/>
                <a:gd name="T5" fmla="*/ 0 h 2"/>
                <a:gd name="T6" fmla="*/ 0 w 2"/>
                <a:gd name="T7" fmla="*/ 0 h 2"/>
                <a:gd name="T8" fmla="*/ 2 w 2"/>
                <a:gd name="T9" fmla="*/ 2 h 2"/>
              </a:gdLst>
              <a:ahLst/>
              <a:cxnLst>
                <a:cxn ang="0">
                  <a:pos x="T0" y="T1"/>
                </a:cxn>
                <a:cxn ang="0">
                  <a:pos x="T2" y="T3"/>
                </a:cxn>
                <a:cxn ang="0">
                  <a:pos x="T4" y="T5"/>
                </a:cxn>
                <a:cxn ang="0">
                  <a:pos x="T6" y="T7"/>
                </a:cxn>
                <a:cxn ang="0">
                  <a:pos x="T8" y="T9"/>
                </a:cxn>
              </a:cxnLst>
              <a:rect l="0" t="0" r="r" b="b"/>
              <a:pathLst>
                <a:path w="2" h="2">
                  <a:moveTo>
                    <a:pt x="2" y="2"/>
                  </a:moveTo>
                  <a:lnTo>
                    <a:pt x="2" y="2"/>
                  </a:lnTo>
                  <a:lnTo>
                    <a:pt x="0"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27" name="Rectangle 182"/>
            <p:cNvSpPr>
              <a:spLocks noChangeArrowheads="1"/>
            </p:cNvSpPr>
            <p:nvPr/>
          </p:nvSpPr>
          <p:spPr bwMode="auto">
            <a:xfrm>
              <a:off x="5086350" y="4654979"/>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28" name="Freeform 183"/>
            <p:cNvSpPr>
              <a:spLocks/>
            </p:cNvSpPr>
            <p:nvPr/>
          </p:nvSpPr>
          <p:spPr bwMode="auto">
            <a:xfrm>
              <a:off x="5053013" y="4650216"/>
              <a:ext cx="20638" cy="11113"/>
            </a:xfrm>
            <a:custGeom>
              <a:avLst/>
              <a:gdLst>
                <a:gd name="T0" fmla="*/ 0 w 13"/>
                <a:gd name="T1" fmla="*/ 7 h 7"/>
                <a:gd name="T2" fmla="*/ 0 w 13"/>
                <a:gd name="T3" fmla="*/ 7 h 7"/>
                <a:gd name="T4" fmla="*/ 6 w 13"/>
                <a:gd name="T5" fmla="*/ 3 h 7"/>
                <a:gd name="T6" fmla="*/ 9 w 13"/>
                <a:gd name="T7" fmla="*/ 0 h 7"/>
                <a:gd name="T8" fmla="*/ 13 w 13"/>
                <a:gd name="T9" fmla="*/ 0 h 7"/>
                <a:gd name="T10" fmla="*/ 13 w 13"/>
                <a:gd name="T11" fmla="*/ 0 h 7"/>
                <a:gd name="T12" fmla="*/ 9 w 13"/>
                <a:gd name="T13" fmla="*/ 0 h 7"/>
                <a:gd name="T14" fmla="*/ 6 w 13"/>
                <a:gd name="T15" fmla="*/ 3 h 7"/>
                <a:gd name="T16" fmla="*/ 0 w 13"/>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7">
                  <a:moveTo>
                    <a:pt x="0" y="7"/>
                  </a:moveTo>
                  <a:lnTo>
                    <a:pt x="0" y="7"/>
                  </a:lnTo>
                  <a:lnTo>
                    <a:pt x="6" y="3"/>
                  </a:lnTo>
                  <a:lnTo>
                    <a:pt x="9" y="0"/>
                  </a:lnTo>
                  <a:lnTo>
                    <a:pt x="13" y="0"/>
                  </a:lnTo>
                  <a:lnTo>
                    <a:pt x="13" y="0"/>
                  </a:lnTo>
                  <a:lnTo>
                    <a:pt x="9" y="0"/>
                  </a:lnTo>
                  <a:lnTo>
                    <a:pt x="6" y="3"/>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29" name="Rectangle 184"/>
            <p:cNvSpPr>
              <a:spLocks noChangeArrowheads="1"/>
            </p:cNvSpPr>
            <p:nvPr/>
          </p:nvSpPr>
          <p:spPr bwMode="auto">
            <a:xfrm>
              <a:off x="5053013" y="4661329"/>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30" name="Rectangle 185"/>
            <p:cNvSpPr>
              <a:spLocks noChangeArrowheads="1"/>
            </p:cNvSpPr>
            <p:nvPr/>
          </p:nvSpPr>
          <p:spPr bwMode="auto">
            <a:xfrm>
              <a:off x="5051425" y="4661329"/>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31" name="Rectangle 186"/>
            <p:cNvSpPr>
              <a:spLocks noChangeArrowheads="1"/>
            </p:cNvSpPr>
            <p:nvPr/>
          </p:nvSpPr>
          <p:spPr bwMode="auto">
            <a:xfrm>
              <a:off x="5051425" y="4661329"/>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32" name="Rectangle 187"/>
            <p:cNvSpPr>
              <a:spLocks noChangeArrowheads="1"/>
            </p:cNvSpPr>
            <p:nvPr/>
          </p:nvSpPr>
          <p:spPr bwMode="auto">
            <a:xfrm>
              <a:off x="5046663" y="4661329"/>
              <a:ext cx="4763"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33" name="Freeform 188"/>
            <p:cNvSpPr>
              <a:spLocks/>
            </p:cNvSpPr>
            <p:nvPr/>
          </p:nvSpPr>
          <p:spPr bwMode="auto">
            <a:xfrm>
              <a:off x="5046663" y="466132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34" name="Freeform 189"/>
            <p:cNvSpPr>
              <a:spLocks/>
            </p:cNvSpPr>
            <p:nvPr/>
          </p:nvSpPr>
          <p:spPr bwMode="auto">
            <a:xfrm>
              <a:off x="5106988" y="4670854"/>
              <a:ext cx="1588" cy="1588"/>
            </a:xfrm>
            <a:custGeom>
              <a:avLst/>
              <a:gdLst>
                <a:gd name="T0" fmla="*/ 0 w 1"/>
                <a:gd name="T1" fmla="*/ 1 h 1"/>
                <a:gd name="T2" fmla="*/ 0 w 1"/>
                <a:gd name="T3" fmla="*/ 1 h 1"/>
                <a:gd name="T4" fmla="*/ 1 w 1"/>
                <a:gd name="T5" fmla="*/ 0 h 1"/>
                <a:gd name="T6" fmla="*/ 1 w 1"/>
                <a:gd name="T7" fmla="*/ 0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lnTo>
                    <a:pt x="0" y="1"/>
                  </a:lnTo>
                  <a:lnTo>
                    <a:pt x="1" y="0"/>
                  </a:lnTo>
                  <a:lnTo>
                    <a:pt x="1" y="0"/>
                  </a:lnTo>
                  <a:lnTo>
                    <a:pt x="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35" name="Freeform 190"/>
            <p:cNvSpPr>
              <a:spLocks/>
            </p:cNvSpPr>
            <p:nvPr/>
          </p:nvSpPr>
          <p:spPr bwMode="auto">
            <a:xfrm>
              <a:off x="5106988" y="4672441"/>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36" name="Freeform 191"/>
            <p:cNvSpPr>
              <a:spLocks noEditPoints="1"/>
            </p:cNvSpPr>
            <p:nvPr/>
          </p:nvSpPr>
          <p:spPr bwMode="auto">
            <a:xfrm>
              <a:off x="4795838" y="4635929"/>
              <a:ext cx="220663" cy="39688"/>
            </a:xfrm>
            <a:custGeom>
              <a:avLst/>
              <a:gdLst>
                <a:gd name="T0" fmla="*/ 139 w 139"/>
                <a:gd name="T1" fmla="*/ 6 h 25"/>
                <a:gd name="T2" fmla="*/ 139 w 139"/>
                <a:gd name="T3" fmla="*/ 6 h 25"/>
                <a:gd name="T4" fmla="*/ 128 w 139"/>
                <a:gd name="T5" fmla="*/ 2 h 25"/>
                <a:gd name="T6" fmla="*/ 119 w 139"/>
                <a:gd name="T7" fmla="*/ 0 h 25"/>
                <a:gd name="T8" fmla="*/ 119 w 139"/>
                <a:gd name="T9" fmla="*/ 0 h 25"/>
                <a:gd name="T10" fmla="*/ 128 w 139"/>
                <a:gd name="T11" fmla="*/ 2 h 25"/>
                <a:gd name="T12" fmla="*/ 139 w 139"/>
                <a:gd name="T13" fmla="*/ 6 h 25"/>
                <a:gd name="T14" fmla="*/ 139 w 139"/>
                <a:gd name="T15" fmla="*/ 6 h 25"/>
                <a:gd name="T16" fmla="*/ 96 w 139"/>
                <a:gd name="T17" fmla="*/ 7 h 25"/>
                <a:gd name="T18" fmla="*/ 96 w 139"/>
                <a:gd name="T19" fmla="*/ 7 h 25"/>
                <a:gd name="T20" fmla="*/ 89 w 139"/>
                <a:gd name="T21" fmla="*/ 6 h 25"/>
                <a:gd name="T22" fmla="*/ 81 w 139"/>
                <a:gd name="T23" fmla="*/ 6 h 25"/>
                <a:gd name="T24" fmla="*/ 81 w 139"/>
                <a:gd name="T25" fmla="*/ 6 h 25"/>
                <a:gd name="T26" fmla="*/ 89 w 139"/>
                <a:gd name="T27" fmla="*/ 6 h 25"/>
                <a:gd name="T28" fmla="*/ 96 w 139"/>
                <a:gd name="T29" fmla="*/ 7 h 25"/>
                <a:gd name="T30" fmla="*/ 102 w 139"/>
                <a:gd name="T31" fmla="*/ 9 h 25"/>
                <a:gd name="T32" fmla="*/ 102 w 139"/>
                <a:gd name="T33" fmla="*/ 9 h 25"/>
                <a:gd name="T34" fmla="*/ 104 w 139"/>
                <a:gd name="T35" fmla="*/ 7 h 25"/>
                <a:gd name="T36" fmla="*/ 109 w 139"/>
                <a:gd name="T37" fmla="*/ 6 h 25"/>
                <a:gd name="T38" fmla="*/ 109 w 139"/>
                <a:gd name="T39" fmla="*/ 6 h 25"/>
                <a:gd name="T40" fmla="*/ 104 w 139"/>
                <a:gd name="T41" fmla="*/ 7 h 25"/>
                <a:gd name="T42" fmla="*/ 102 w 139"/>
                <a:gd name="T43" fmla="*/ 9 h 25"/>
                <a:gd name="T44" fmla="*/ 102 w 139"/>
                <a:gd name="T45" fmla="*/ 9 h 25"/>
                <a:gd name="T46" fmla="*/ 102 w 139"/>
                <a:gd name="T47" fmla="*/ 9 h 25"/>
                <a:gd name="T48" fmla="*/ 102 w 139"/>
                <a:gd name="T49" fmla="*/ 9 h 25"/>
                <a:gd name="T50" fmla="*/ 12 w 139"/>
                <a:gd name="T51" fmla="*/ 9 h 25"/>
                <a:gd name="T52" fmla="*/ 12 w 139"/>
                <a:gd name="T53" fmla="*/ 9 h 25"/>
                <a:gd name="T54" fmla="*/ 12 w 139"/>
                <a:gd name="T55" fmla="*/ 9 h 25"/>
                <a:gd name="T56" fmla="*/ 7 w 139"/>
                <a:gd name="T57" fmla="*/ 9 h 25"/>
                <a:gd name="T58" fmla="*/ 7 w 139"/>
                <a:gd name="T59" fmla="*/ 9 h 25"/>
                <a:gd name="T60" fmla="*/ 12 w 139"/>
                <a:gd name="T61" fmla="*/ 9 h 25"/>
                <a:gd name="T62" fmla="*/ 12 w 139"/>
                <a:gd name="T63" fmla="*/ 9 h 25"/>
                <a:gd name="T64" fmla="*/ 7 w 139"/>
                <a:gd name="T65" fmla="*/ 9 h 25"/>
                <a:gd name="T66" fmla="*/ 7 w 139"/>
                <a:gd name="T67" fmla="*/ 9 h 25"/>
                <a:gd name="T68" fmla="*/ 7 w 139"/>
                <a:gd name="T69" fmla="*/ 9 h 25"/>
                <a:gd name="T70" fmla="*/ 7 w 139"/>
                <a:gd name="T71" fmla="*/ 9 h 25"/>
                <a:gd name="T72" fmla="*/ 7 w 139"/>
                <a:gd name="T73" fmla="*/ 9 h 25"/>
                <a:gd name="T74" fmla="*/ 7 w 139"/>
                <a:gd name="T75" fmla="*/ 9 h 25"/>
                <a:gd name="T76" fmla="*/ 0 w 139"/>
                <a:gd name="T77" fmla="*/ 25 h 25"/>
                <a:gd name="T78" fmla="*/ 0 w 139"/>
                <a:gd name="T79" fmla="*/ 25 h 25"/>
                <a:gd name="T80" fmla="*/ 3 w 139"/>
                <a:gd name="T81" fmla="*/ 15 h 25"/>
                <a:gd name="T82" fmla="*/ 6 w 139"/>
                <a:gd name="T83" fmla="*/ 10 h 25"/>
                <a:gd name="T84" fmla="*/ 7 w 139"/>
                <a:gd name="T85" fmla="*/ 9 h 25"/>
                <a:gd name="T86" fmla="*/ 7 w 139"/>
                <a:gd name="T87" fmla="*/ 9 h 25"/>
                <a:gd name="T88" fmla="*/ 6 w 139"/>
                <a:gd name="T89" fmla="*/ 10 h 25"/>
                <a:gd name="T90" fmla="*/ 3 w 139"/>
                <a:gd name="T91" fmla="*/ 15 h 25"/>
                <a:gd name="T92" fmla="*/ 0 w 139"/>
                <a:gd name="T9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9" h="25">
                  <a:moveTo>
                    <a:pt x="139" y="6"/>
                  </a:moveTo>
                  <a:lnTo>
                    <a:pt x="139" y="6"/>
                  </a:lnTo>
                  <a:lnTo>
                    <a:pt x="128" y="2"/>
                  </a:lnTo>
                  <a:lnTo>
                    <a:pt x="119" y="0"/>
                  </a:lnTo>
                  <a:lnTo>
                    <a:pt x="119" y="0"/>
                  </a:lnTo>
                  <a:lnTo>
                    <a:pt x="128" y="2"/>
                  </a:lnTo>
                  <a:lnTo>
                    <a:pt x="139" y="6"/>
                  </a:lnTo>
                  <a:lnTo>
                    <a:pt x="139" y="6"/>
                  </a:lnTo>
                  <a:close/>
                  <a:moveTo>
                    <a:pt x="96" y="7"/>
                  </a:moveTo>
                  <a:lnTo>
                    <a:pt x="96" y="7"/>
                  </a:lnTo>
                  <a:lnTo>
                    <a:pt x="89" y="6"/>
                  </a:lnTo>
                  <a:lnTo>
                    <a:pt x="81" y="6"/>
                  </a:lnTo>
                  <a:lnTo>
                    <a:pt x="81" y="6"/>
                  </a:lnTo>
                  <a:lnTo>
                    <a:pt x="89" y="6"/>
                  </a:lnTo>
                  <a:lnTo>
                    <a:pt x="96" y="7"/>
                  </a:lnTo>
                  <a:close/>
                  <a:moveTo>
                    <a:pt x="102" y="9"/>
                  </a:moveTo>
                  <a:lnTo>
                    <a:pt x="102" y="9"/>
                  </a:lnTo>
                  <a:lnTo>
                    <a:pt x="104" y="7"/>
                  </a:lnTo>
                  <a:lnTo>
                    <a:pt x="109" y="6"/>
                  </a:lnTo>
                  <a:lnTo>
                    <a:pt x="109" y="6"/>
                  </a:lnTo>
                  <a:lnTo>
                    <a:pt x="104" y="7"/>
                  </a:lnTo>
                  <a:lnTo>
                    <a:pt x="102" y="9"/>
                  </a:lnTo>
                  <a:close/>
                  <a:moveTo>
                    <a:pt x="102" y="9"/>
                  </a:moveTo>
                  <a:lnTo>
                    <a:pt x="102" y="9"/>
                  </a:lnTo>
                  <a:lnTo>
                    <a:pt x="102" y="9"/>
                  </a:lnTo>
                  <a:close/>
                  <a:moveTo>
                    <a:pt x="12" y="9"/>
                  </a:moveTo>
                  <a:lnTo>
                    <a:pt x="12" y="9"/>
                  </a:lnTo>
                  <a:lnTo>
                    <a:pt x="12" y="9"/>
                  </a:lnTo>
                  <a:close/>
                  <a:moveTo>
                    <a:pt x="7" y="9"/>
                  </a:moveTo>
                  <a:lnTo>
                    <a:pt x="7" y="9"/>
                  </a:lnTo>
                  <a:lnTo>
                    <a:pt x="12" y="9"/>
                  </a:lnTo>
                  <a:lnTo>
                    <a:pt x="12" y="9"/>
                  </a:lnTo>
                  <a:lnTo>
                    <a:pt x="7" y="9"/>
                  </a:lnTo>
                  <a:close/>
                  <a:moveTo>
                    <a:pt x="7" y="9"/>
                  </a:moveTo>
                  <a:lnTo>
                    <a:pt x="7" y="9"/>
                  </a:lnTo>
                  <a:lnTo>
                    <a:pt x="7" y="9"/>
                  </a:lnTo>
                  <a:lnTo>
                    <a:pt x="7" y="9"/>
                  </a:lnTo>
                  <a:lnTo>
                    <a:pt x="7" y="9"/>
                  </a:lnTo>
                  <a:close/>
                  <a:moveTo>
                    <a:pt x="0" y="25"/>
                  </a:moveTo>
                  <a:lnTo>
                    <a:pt x="0" y="25"/>
                  </a:lnTo>
                  <a:lnTo>
                    <a:pt x="3" y="15"/>
                  </a:lnTo>
                  <a:lnTo>
                    <a:pt x="6" y="10"/>
                  </a:lnTo>
                  <a:lnTo>
                    <a:pt x="7" y="9"/>
                  </a:lnTo>
                  <a:lnTo>
                    <a:pt x="7" y="9"/>
                  </a:lnTo>
                  <a:lnTo>
                    <a:pt x="6" y="10"/>
                  </a:lnTo>
                  <a:lnTo>
                    <a:pt x="3" y="15"/>
                  </a:lnTo>
                  <a:lnTo>
                    <a:pt x="0" y="25"/>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37" name="Freeform 192"/>
            <p:cNvSpPr>
              <a:spLocks/>
            </p:cNvSpPr>
            <p:nvPr/>
          </p:nvSpPr>
          <p:spPr bwMode="auto">
            <a:xfrm>
              <a:off x="4984750" y="4635929"/>
              <a:ext cx="31750" cy="9525"/>
            </a:xfrm>
            <a:custGeom>
              <a:avLst/>
              <a:gdLst>
                <a:gd name="T0" fmla="*/ 20 w 20"/>
                <a:gd name="T1" fmla="*/ 6 h 6"/>
                <a:gd name="T2" fmla="*/ 20 w 20"/>
                <a:gd name="T3" fmla="*/ 6 h 6"/>
                <a:gd name="T4" fmla="*/ 9 w 20"/>
                <a:gd name="T5" fmla="*/ 2 h 6"/>
                <a:gd name="T6" fmla="*/ 0 w 20"/>
                <a:gd name="T7" fmla="*/ 0 h 6"/>
                <a:gd name="T8" fmla="*/ 0 w 20"/>
                <a:gd name="T9" fmla="*/ 0 h 6"/>
                <a:gd name="T10" fmla="*/ 9 w 20"/>
                <a:gd name="T11" fmla="*/ 2 h 6"/>
                <a:gd name="T12" fmla="*/ 20 w 20"/>
                <a:gd name="T13" fmla="*/ 6 h 6"/>
                <a:gd name="T14" fmla="*/ 20 w 20"/>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6">
                  <a:moveTo>
                    <a:pt x="20" y="6"/>
                  </a:moveTo>
                  <a:lnTo>
                    <a:pt x="20" y="6"/>
                  </a:lnTo>
                  <a:lnTo>
                    <a:pt x="9" y="2"/>
                  </a:lnTo>
                  <a:lnTo>
                    <a:pt x="0" y="0"/>
                  </a:lnTo>
                  <a:lnTo>
                    <a:pt x="0" y="0"/>
                  </a:lnTo>
                  <a:lnTo>
                    <a:pt x="9" y="2"/>
                  </a:lnTo>
                  <a:lnTo>
                    <a:pt x="20" y="6"/>
                  </a:lnTo>
                  <a:lnTo>
                    <a:pt x="2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38" name="Freeform 193"/>
            <p:cNvSpPr>
              <a:spLocks/>
            </p:cNvSpPr>
            <p:nvPr/>
          </p:nvSpPr>
          <p:spPr bwMode="auto">
            <a:xfrm>
              <a:off x="4924425" y="4645454"/>
              <a:ext cx="23813" cy="1588"/>
            </a:xfrm>
            <a:custGeom>
              <a:avLst/>
              <a:gdLst>
                <a:gd name="T0" fmla="*/ 15 w 15"/>
                <a:gd name="T1" fmla="*/ 1 h 1"/>
                <a:gd name="T2" fmla="*/ 15 w 15"/>
                <a:gd name="T3" fmla="*/ 1 h 1"/>
                <a:gd name="T4" fmla="*/ 8 w 15"/>
                <a:gd name="T5" fmla="*/ 0 h 1"/>
                <a:gd name="T6" fmla="*/ 0 w 15"/>
                <a:gd name="T7" fmla="*/ 0 h 1"/>
                <a:gd name="T8" fmla="*/ 0 w 15"/>
                <a:gd name="T9" fmla="*/ 0 h 1"/>
                <a:gd name="T10" fmla="*/ 8 w 15"/>
                <a:gd name="T11" fmla="*/ 0 h 1"/>
                <a:gd name="T12" fmla="*/ 15 w 15"/>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5" h="1">
                  <a:moveTo>
                    <a:pt x="15" y="1"/>
                  </a:moveTo>
                  <a:lnTo>
                    <a:pt x="15" y="1"/>
                  </a:lnTo>
                  <a:lnTo>
                    <a:pt x="8" y="0"/>
                  </a:lnTo>
                  <a:lnTo>
                    <a:pt x="0" y="0"/>
                  </a:lnTo>
                  <a:lnTo>
                    <a:pt x="0" y="0"/>
                  </a:lnTo>
                  <a:lnTo>
                    <a:pt x="8" y="0"/>
                  </a:lnTo>
                  <a:lnTo>
                    <a:pt x="15"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39" name="Freeform 194"/>
            <p:cNvSpPr>
              <a:spLocks/>
            </p:cNvSpPr>
            <p:nvPr/>
          </p:nvSpPr>
          <p:spPr bwMode="auto">
            <a:xfrm>
              <a:off x="4957763" y="4645454"/>
              <a:ext cx="11113" cy="4763"/>
            </a:xfrm>
            <a:custGeom>
              <a:avLst/>
              <a:gdLst>
                <a:gd name="T0" fmla="*/ 0 w 7"/>
                <a:gd name="T1" fmla="*/ 3 h 3"/>
                <a:gd name="T2" fmla="*/ 0 w 7"/>
                <a:gd name="T3" fmla="*/ 3 h 3"/>
                <a:gd name="T4" fmla="*/ 2 w 7"/>
                <a:gd name="T5" fmla="*/ 1 h 3"/>
                <a:gd name="T6" fmla="*/ 7 w 7"/>
                <a:gd name="T7" fmla="*/ 0 h 3"/>
                <a:gd name="T8" fmla="*/ 7 w 7"/>
                <a:gd name="T9" fmla="*/ 0 h 3"/>
                <a:gd name="T10" fmla="*/ 2 w 7"/>
                <a:gd name="T11" fmla="*/ 1 h 3"/>
                <a:gd name="T12" fmla="*/ 0 w 7"/>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7" h="3">
                  <a:moveTo>
                    <a:pt x="0" y="3"/>
                  </a:moveTo>
                  <a:lnTo>
                    <a:pt x="0" y="3"/>
                  </a:lnTo>
                  <a:lnTo>
                    <a:pt x="2" y="1"/>
                  </a:lnTo>
                  <a:lnTo>
                    <a:pt x="7" y="0"/>
                  </a:lnTo>
                  <a:lnTo>
                    <a:pt x="7" y="0"/>
                  </a:lnTo>
                  <a:lnTo>
                    <a:pt x="2" y="1"/>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40" name="Freeform 195"/>
            <p:cNvSpPr>
              <a:spLocks/>
            </p:cNvSpPr>
            <p:nvPr/>
          </p:nvSpPr>
          <p:spPr bwMode="auto">
            <a:xfrm>
              <a:off x="4957763" y="465021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41" name="Freeform 196"/>
            <p:cNvSpPr>
              <a:spLocks/>
            </p:cNvSpPr>
            <p:nvPr/>
          </p:nvSpPr>
          <p:spPr bwMode="auto">
            <a:xfrm>
              <a:off x="4814888" y="465021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42" name="Rectangle 197"/>
            <p:cNvSpPr>
              <a:spLocks noChangeArrowheads="1"/>
            </p:cNvSpPr>
            <p:nvPr/>
          </p:nvSpPr>
          <p:spPr bwMode="auto">
            <a:xfrm>
              <a:off x="4806950" y="4650216"/>
              <a:ext cx="793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43" name="Rectangle 198"/>
            <p:cNvSpPr>
              <a:spLocks noChangeArrowheads="1"/>
            </p:cNvSpPr>
            <p:nvPr/>
          </p:nvSpPr>
          <p:spPr bwMode="auto">
            <a:xfrm>
              <a:off x="4806950" y="4650216"/>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44" name="Freeform 199"/>
            <p:cNvSpPr>
              <a:spLocks/>
            </p:cNvSpPr>
            <p:nvPr/>
          </p:nvSpPr>
          <p:spPr bwMode="auto">
            <a:xfrm>
              <a:off x="4795838" y="4650216"/>
              <a:ext cx="11113" cy="25400"/>
            </a:xfrm>
            <a:custGeom>
              <a:avLst/>
              <a:gdLst>
                <a:gd name="T0" fmla="*/ 0 w 7"/>
                <a:gd name="T1" fmla="*/ 16 h 16"/>
                <a:gd name="T2" fmla="*/ 0 w 7"/>
                <a:gd name="T3" fmla="*/ 16 h 16"/>
                <a:gd name="T4" fmla="*/ 3 w 7"/>
                <a:gd name="T5" fmla="*/ 6 h 16"/>
                <a:gd name="T6" fmla="*/ 6 w 7"/>
                <a:gd name="T7" fmla="*/ 1 h 16"/>
                <a:gd name="T8" fmla="*/ 7 w 7"/>
                <a:gd name="T9" fmla="*/ 0 h 16"/>
                <a:gd name="T10" fmla="*/ 7 w 7"/>
                <a:gd name="T11" fmla="*/ 0 h 16"/>
                <a:gd name="T12" fmla="*/ 6 w 7"/>
                <a:gd name="T13" fmla="*/ 1 h 16"/>
                <a:gd name="T14" fmla="*/ 3 w 7"/>
                <a:gd name="T15" fmla="*/ 6 h 16"/>
                <a:gd name="T16" fmla="*/ 0 w 7"/>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6">
                  <a:moveTo>
                    <a:pt x="0" y="16"/>
                  </a:moveTo>
                  <a:lnTo>
                    <a:pt x="0" y="16"/>
                  </a:lnTo>
                  <a:lnTo>
                    <a:pt x="3" y="6"/>
                  </a:lnTo>
                  <a:lnTo>
                    <a:pt x="6" y="1"/>
                  </a:lnTo>
                  <a:lnTo>
                    <a:pt x="7" y="0"/>
                  </a:lnTo>
                  <a:lnTo>
                    <a:pt x="7" y="0"/>
                  </a:lnTo>
                  <a:lnTo>
                    <a:pt x="6" y="1"/>
                  </a:lnTo>
                  <a:lnTo>
                    <a:pt x="3" y="6"/>
                  </a:lnTo>
                  <a:lnTo>
                    <a:pt x="0"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45" name="Freeform 200"/>
            <p:cNvSpPr>
              <a:spLocks noEditPoints="1"/>
            </p:cNvSpPr>
            <p:nvPr/>
          </p:nvSpPr>
          <p:spPr bwMode="auto">
            <a:xfrm>
              <a:off x="4984750" y="4635929"/>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close/>
                  <a:moveTo>
                    <a:pt x="0" y="0"/>
                  </a:moveTo>
                  <a:lnTo>
                    <a:pt x="0" y="0"/>
                  </a:lnTo>
                  <a:lnTo>
                    <a:pt x="0" y="0"/>
                  </a:lnTo>
                  <a:close/>
                  <a:moveTo>
                    <a:pt x="0" y="0"/>
                  </a:moveTo>
                  <a:lnTo>
                    <a:pt x="0" y="0"/>
                  </a:lnTo>
                  <a:lnTo>
                    <a:pt x="0" y="0"/>
                  </a:lnTo>
                  <a:close/>
                  <a:moveTo>
                    <a:pt x="0" y="0"/>
                  </a:moveTo>
                  <a:lnTo>
                    <a:pt x="0" y="0"/>
                  </a:lnTo>
                  <a:lnTo>
                    <a:pt x="0" y="0"/>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46" name="Freeform 201"/>
            <p:cNvSpPr>
              <a:spLocks/>
            </p:cNvSpPr>
            <p:nvPr/>
          </p:nvSpPr>
          <p:spPr bwMode="auto">
            <a:xfrm>
              <a:off x="4984750" y="463592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47" name="Freeform 202"/>
            <p:cNvSpPr>
              <a:spLocks/>
            </p:cNvSpPr>
            <p:nvPr/>
          </p:nvSpPr>
          <p:spPr bwMode="auto">
            <a:xfrm>
              <a:off x="4984750" y="463592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48" name="Freeform 203"/>
            <p:cNvSpPr>
              <a:spLocks/>
            </p:cNvSpPr>
            <p:nvPr/>
          </p:nvSpPr>
          <p:spPr bwMode="auto">
            <a:xfrm>
              <a:off x="4984750" y="463592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49" name="Freeform 204"/>
            <p:cNvSpPr>
              <a:spLocks/>
            </p:cNvSpPr>
            <p:nvPr/>
          </p:nvSpPr>
          <p:spPr bwMode="auto">
            <a:xfrm>
              <a:off x="4984750" y="463592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50" name="Freeform 206"/>
            <p:cNvSpPr>
              <a:spLocks noEditPoints="1"/>
            </p:cNvSpPr>
            <p:nvPr/>
          </p:nvSpPr>
          <p:spPr bwMode="auto">
            <a:xfrm>
              <a:off x="4662488" y="4675616"/>
              <a:ext cx="133350" cy="217488"/>
            </a:xfrm>
            <a:custGeom>
              <a:avLst/>
              <a:gdLst>
                <a:gd name="T0" fmla="*/ 77 w 84"/>
                <a:gd name="T1" fmla="*/ 23 h 137"/>
                <a:gd name="T2" fmla="*/ 77 w 84"/>
                <a:gd name="T3" fmla="*/ 23 h 137"/>
                <a:gd name="T4" fmla="*/ 80 w 84"/>
                <a:gd name="T5" fmla="*/ 14 h 137"/>
                <a:gd name="T6" fmla="*/ 84 w 84"/>
                <a:gd name="T7" fmla="*/ 0 h 137"/>
                <a:gd name="T8" fmla="*/ 84 w 84"/>
                <a:gd name="T9" fmla="*/ 0 h 137"/>
                <a:gd name="T10" fmla="*/ 80 w 84"/>
                <a:gd name="T11" fmla="*/ 14 h 137"/>
                <a:gd name="T12" fmla="*/ 77 w 84"/>
                <a:gd name="T13" fmla="*/ 23 h 137"/>
                <a:gd name="T14" fmla="*/ 0 w 84"/>
                <a:gd name="T15" fmla="*/ 137 h 137"/>
                <a:gd name="T16" fmla="*/ 0 w 84"/>
                <a:gd name="T17" fmla="*/ 137 h 137"/>
                <a:gd name="T18" fmla="*/ 0 w 84"/>
                <a:gd name="T19" fmla="*/ 137 h 137"/>
                <a:gd name="T20" fmla="*/ 0 w 84"/>
                <a:gd name="T21" fmla="*/ 137 h 137"/>
                <a:gd name="T22" fmla="*/ 0 w 84"/>
                <a:gd name="T23" fmla="*/ 137 h 137"/>
                <a:gd name="T24" fmla="*/ 0 w 84"/>
                <a:gd name="T25" fmla="*/ 137 h 137"/>
                <a:gd name="T26" fmla="*/ 0 w 84"/>
                <a:gd name="T27" fmla="*/ 137 h 137"/>
                <a:gd name="T28" fmla="*/ 0 w 84"/>
                <a:gd name="T29" fmla="*/ 137 h 137"/>
                <a:gd name="T30" fmla="*/ 0 w 84"/>
                <a:gd name="T31" fmla="*/ 137 h 137"/>
                <a:gd name="T32" fmla="*/ 0 w 84"/>
                <a:gd name="T33" fmla="*/ 137 h 137"/>
                <a:gd name="T34" fmla="*/ 0 w 84"/>
                <a:gd name="T35" fmla="*/ 137 h 137"/>
                <a:gd name="T36" fmla="*/ 0 w 84"/>
                <a:gd name="T37" fmla="*/ 137 h 137"/>
                <a:gd name="T38" fmla="*/ 0 w 84"/>
                <a:gd name="T39" fmla="*/ 137 h 137"/>
                <a:gd name="T40" fmla="*/ 0 w 84"/>
                <a:gd name="T41" fmla="*/ 137 h 137"/>
                <a:gd name="T42" fmla="*/ 0 w 84"/>
                <a:gd name="T43" fmla="*/ 137 h 137"/>
                <a:gd name="T44" fmla="*/ 0 w 84"/>
                <a:gd name="T45" fmla="*/ 137 h 137"/>
                <a:gd name="T46" fmla="*/ 0 w 84"/>
                <a:gd name="T47" fmla="*/ 137 h 137"/>
                <a:gd name="T48" fmla="*/ 0 w 84"/>
                <a:gd name="T49" fmla="*/ 137 h 137"/>
                <a:gd name="T50" fmla="*/ 0 w 84"/>
                <a:gd name="T51" fmla="*/ 137 h 137"/>
                <a:gd name="T52" fmla="*/ 5 w 84"/>
                <a:gd name="T53" fmla="*/ 137 h 137"/>
                <a:gd name="T54" fmla="*/ 5 w 84"/>
                <a:gd name="T55" fmla="*/ 137 h 137"/>
                <a:gd name="T56" fmla="*/ 0 w 84"/>
                <a:gd name="T57" fmla="*/ 137 h 137"/>
                <a:gd name="T58" fmla="*/ 0 w 84"/>
                <a:gd name="T59" fmla="*/ 137 h 137"/>
                <a:gd name="T60" fmla="*/ 5 w 84"/>
                <a:gd name="T61" fmla="*/ 137 h 137"/>
                <a:gd name="T62" fmla="*/ 13 w 84"/>
                <a:gd name="T63" fmla="*/ 137 h 137"/>
                <a:gd name="T64" fmla="*/ 13 w 84"/>
                <a:gd name="T65" fmla="*/ 137 h 137"/>
                <a:gd name="T66" fmla="*/ 20 w 84"/>
                <a:gd name="T67" fmla="*/ 137 h 137"/>
                <a:gd name="T68" fmla="*/ 22 w 84"/>
                <a:gd name="T69" fmla="*/ 136 h 137"/>
                <a:gd name="T70" fmla="*/ 23 w 84"/>
                <a:gd name="T71" fmla="*/ 134 h 137"/>
                <a:gd name="T72" fmla="*/ 23 w 84"/>
                <a:gd name="T73" fmla="*/ 134 h 137"/>
                <a:gd name="T74" fmla="*/ 22 w 84"/>
                <a:gd name="T75" fmla="*/ 136 h 137"/>
                <a:gd name="T76" fmla="*/ 20 w 84"/>
                <a:gd name="T77" fmla="*/ 137 h 137"/>
                <a:gd name="T78" fmla="*/ 13 w 84"/>
                <a:gd name="T79" fmla="*/ 137 h 137"/>
                <a:gd name="T80" fmla="*/ 13 w 84"/>
                <a:gd name="T81" fmla="*/ 137 h 137"/>
                <a:gd name="T82" fmla="*/ 13 w 84"/>
                <a:gd name="T83" fmla="*/ 137 h 137"/>
                <a:gd name="T84" fmla="*/ 13 w 84"/>
                <a:gd name="T8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137">
                  <a:moveTo>
                    <a:pt x="77" y="23"/>
                  </a:moveTo>
                  <a:lnTo>
                    <a:pt x="77" y="23"/>
                  </a:lnTo>
                  <a:lnTo>
                    <a:pt x="80" y="14"/>
                  </a:lnTo>
                  <a:lnTo>
                    <a:pt x="84" y="0"/>
                  </a:lnTo>
                  <a:lnTo>
                    <a:pt x="84" y="0"/>
                  </a:lnTo>
                  <a:lnTo>
                    <a:pt x="80" y="14"/>
                  </a:lnTo>
                  <a:lnTo>
                    <a:pt x="77" y="23"/>
                  </a:lnTo>
                  <a:close/>
                  <a:moveTo>
                    <a:pt x="0" y="137"/>
                  </a:moveTo>
                  <a:lnTo>
                    <a:pt x="0" y="137"/>
                  </a:lnTo>
                  <a:close/>
                  <a:moveTo>
                    <a:pt x="0" y="137"/>
                  </a:moveTo>
                  <a:lnTo>
                    <a:pt x="0" y="137"/>
                  </a:lnTo>
                  <a:lnTo>
                    <a:pt x="0" y="137"/>
                  </a:lnTo>
                  <a:close/>
                  <a:moveTo>
                    <a:pt x="0" y="137"/>
                  </a:moveTo>
                  <a:lnTo>
                    <a:pt x="0" y="137"/>
                  </a:lnTo>
                  <a:close/>
                  <a:moveTo>
                    <a:pt x="0" y="137"/>
                  </a:moveTo>
                  <a:lnTo>
                    <a:pt x="0" y="137"/>
                  </a:lnTo>
                  <a:lnTo>
                    <a:pt x="0" y="137"/>
                  </a:lnTo>
                  <a:close/>
                  <a:moveTo>
                    <a:pt x="0" y="137"/>
                  </a:moveTo>
                  <a:lnTo>
                    <a:pt x="0" y="137"/>
                  </a:lnTo>
                  <a:lnTo>
                    <a:pt x="0" y="137"/>
                  </a:lnTo>
                  <a:close/>
                  <a:moveTo>
                    <a:pt x="0" y="137"/>
                  </a:moveTo>
                  <a:lnTo>
                    <a:pt x="0" y="137"/>
                  </a:lnTo>
                  <a:lnTo>
                    <a:pt x="0" y="137"/>
                  </a:lnTo>
                  <a:close/>
                  <a:moveTo>
                    <a:pt x="0" y="137"/>
                  </a:moveTo>
                  <a:lnTo>
                    <a:pt x="0" y="137"/>
                  </a:lnTo>
                  <a:lnTo>
                    <a:pt x="0" y="137"/>
                  </a:lnTo>
                  <a:close/>
                  <a:moveTo>
                    <a:pt x="5" y="137"/>
                  </a:moveTo>
                  <a:lnTo>
                    <a:pt x="5" y="137"/>
                  </a:lnTo>
                  <a:lnTo>
                    <a:pt x="0" y="137"/>
                  </a:lnTo>
                  <a:lnTo>
                    <a:pt x="0" y="137"/>
                  </a:lnTo>
                  <a:lnTo>
                    <a:pt x="5" y="137"/>
                  </a:lnTo>
                  <a:close/>
                  <a:moveTo>
                    <a:pt x="13" y="137"/>
                  </a:moveTo>
                  <a:lnTo>
                    <a:pt x="13" y="137"/>
                  </a:lnTo>
                  <a:lnTo>
                    <a:pt x="20" y="137"/>
                  </a:lnTo>
                  <a:lnTo>
                    <a:pt x="22" y="136"/>
                  </a:lnTo>
                  <a:lnTo>
                    <a:pt x="23" y="134"/>
                  </a:lnTo>
                  <a:lnTo>
                    <a:pt x="23" y="134"/>
                  </a:lnTo>
                  <a:lnTo>
                    <a:pt x="22" y="136"/>
                  </a:lnTo>
                  <a:lnTo>
                    <a:pt x="20" y="137"/>
                  </a:lnTo>
                  <a:lnTo>
                    <a:pt x="13" y="137"/>
                  </a:lnTo>
                  <a:close/>
                  <a:moveTo>
                    <a:pt x="13" y="137"/>
                  </a:moveTo>
                  <a:lnTo>
                    <a:pt x="13" y="137"/>
                  </a:lnTo>
                  <a:lnTo>
                    <a:pt x="13" y="137"/>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51" name="Freeform 207"/>
            <p:cNvSpPr>
              <a:spLocks/>
            </p:cNvSpPr>
            <p:nvPr/>
          </p:nvSpPr>
          <p:spPr bwMode="auto">
            <a:xfrm>
              <a:off x="4784726" y="4675616"/>
              <a:ext cx="11113" cy="36513"/>
            </a:xfrm>
            <a:custGeom>
              <a:avLst/>
              <a:gdLst>
                <a:gd name="T0" fmla="*/ 0 w 7"/>
                <a:gd name="T1" fmla="*/ 23 h 23"/>
                <a:gd name="T2" fmla="*/ 0 w 7"/>
                <a:gd name="T3" fmla="*/ 23 h 23"/>
                <a:gd name="T4" fmla="*/ 3 w 7"/>
                <a:gd name="T5" fmla="*/ 14 h 23"/>
                <a:gd name="T6" fmla="*/ 7 w 7"/>
                <a:gd name="T7" fmla="*/ 0 h 23"/>
                <a:gd name="T8" fmla="*/ 7 w 7"/>
                <a:gd name="T9" fmla="*/ 0 h 23"/>
                <a:gd name="T10" fmla="*/ 3 w 7"/>
                <a:gd name="T11" fmla="*/ 14 h 23"/>
                <a:gd name="T12" fmla="*/ 0 w 7"/>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7" h="23">
                  <a:moveTo>
                    <a:pt x="0" y="23"/>
                  </a:moveTo>
                  <a:lnTo>
                    <a:pt x="0" y="23"/>
                  </a:lnTo>
                  <a:lnTo>
                    <a:pt x="3" y="14"/>
                  </a:lnTo>
                  <a:lnTo>
                    <a:pt x="7" y="0"/>
                  </a:lnTo>
                  <a:lnTo>
                    <a:pt x="7" y="0"/>
                  </a:lnTo>
                  <a:lnTo>
                    <a:pt x="3" y="14"/>
                  </a:lnTo>
                  <a:lnTo>
                    <a:pt x="0"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52" name="Line 208"/>
            <p:cNvSpPr>
              <a:spLocks noChangeShapeType="1"/>
            </p:cNvSpPr>
            <p:nvPr/>
          </p:nvSpPr>
          <p:spPr bwMode="auto">
            <a:xfrm>
              <a:off x="4662488" y="489310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53" name="Freeform 209"/>
            <p:cNvSpPr>
              <a:spLocks/>
            </p:cNvSpPr>
            <p:nvPr/>
          </p:nvSpPr>
          <p:spPr bwMode="auto">
            <a:xfrm>
              <a:off x="4662488" y="489310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54" name="Line 210"/>
            <p:cNvSpPr>
              <a:spLocks noChangeShapeType="1"/>
            </p:cNvSpPr>
            <p:nvPr/>
          </p:nvSpPr>
          <p:spPr bwMode="auto">
            <a:xfrm>
              <a:off x="4662488" y="489310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55" name="Freeform 211"/>
            <p:cNvSpPr>
              <a:spLocks/>
            </p:cNvSpPr>
            <p:nvPr/>
          </p:nvSpPr>
          <p:spPr bwMode="auto">
            <a:xfrm>
              <a:off x="4662488" y="489310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56" name="Freeform 212"/>
            <p:cNvSpPr>
              <a:spLocks/>
            </p:cNvSpPr>
            <p:nvPr/>
          </p:nvSpPr>
          <p:spPr bwMode="auto">
            <a:xfrm>
              <a:off x="4662488" y="489310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57" name="Freeform 213"/>
            <p:cNvSpPr>
              <a:spLocks/>
            </p:cNvSpPr>
            <p:nvPr/>
          </p:nvSpPr>
          <p:spPr bwMode="auto">
            <a:xfrm>
              <a:off x="4662488" y="489310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58" name="Freeform 214"/>
            <p:cNvSpPr>
              <a:spLocks/>
            </p:cNvSpPr>
            <p:nvPr/>
          </p:nvSpPr>
          <p:spPr bwMode="auto">
            <a:xfrm>
              <a:off x="4662488" y="489310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59" name="Rectangle 215"/>
            <p:cNvSpPr>
              <a:spLocks noChangeArrowheads="1"/>
            </p:cNvSpPr>
            <p:nvPr/>
          </p:nvSpPr>
          <p:spPr bwMode="auto">
            <a:xfrm>
              <a:off x="4662488" y="4893104"/>
              <a:ext cx="793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60" name="Freeform 216"/>
            <p:cNvSpPr>
              <a:spLocks/>
            </p:cNvSpPr>
            <p:nvPr/>
          </p:nvSpPr>
          <p:spPr bwMode="auto">
            <a:xfrm>
              <a:off x="4683126" y="4888341"/>
              <a:ext cx="15875" cy="4763"/>
            </a:xfrm>
            <a:custGeom>
              <a:avLst/>
              <a:gdLst>
                <a:gd name="T0" fmla="*/ 0 w 10"/>
                <a:gd name="T1" fmla="*/ 3 h 3"/>
                <a:gd name="T2" fmla="*/ 0 w 10"/>
                <a:gd name="T3" fmla="*/ 3 h 3"/>
                <a:gd name="T4" fmla="*/ 7 w 10"/>
                <a:gd name="T5" fmla="*/ 3 h 3"/>
                <a:gd name="T6" fmla="*/ 9 w 10"/>
                <a:gd name="T7" fmla="*/ 2 h 3"/>
                <a:gd name="T8" fmla="*/ 10 w 10"/>
                <a:gd name="T9" fmla="*/ 0 h 3"/>
                <a:gd name="T10" fmla="*/ 10 w 10"/>
                <a:gd name="T11" fmla="*/ 0 h 3"/>
                <a:gd name="T12" fmla="*/ 9 w 10"/>
                <a:gd name="T13" fmla="*/ 2 h 3"/>
                <a:gd name="T14" fmla="*/ 7 w 10"/>
                <a:gd name="T15" fmla="*/ 3 h 3"/>
                <a:gd name="T16" fmla="*/ 0 w 10"/>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3">
                  <a:moveTo>
                    <a:pt x="0" y="3"/>
                  </a:moveTo>
                  <a:lnTo>
                    <a:pt x="0" y="3"/>
                  </a:lnTo>
                  <a:lnTo>
                    <a:pt x="7" y="3"/>
                  </a:lnTo>
                  <a:lnTo>
                    <a:pt x="9" y="2"/>
                  </a:lnTo>
                  <a:lnTo>
                    <a:pt x="10" y="0"/>
                  </a:lnTo>
                  <a:lnTo>
                    <a:pt x="10" y="0"/>
                  </a:lnTo>
                  <a:lnTo>
                    <a:pt x="9" y="2"/>
                  </a:lnTo>
                  <a:lnTo>
                    <a:pt x="7" y="3"/>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61" name="Freeform 217"/>
            <p:cNvSpPr>
              <a:spLocks/>
            </p:cNvSpPr>
            <p:nvPr/>
          </p:nvSpPr>
          <p:spPr bwMode="auto">
            <a:xfrm>
              <a:off x="4683126" y="489310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62" name="Freeform 218"/>
            <p:cNvSpPr>
              <a:spLocks/>
            </p:cNvSpPr>
            <p:nvPr/>
          </p:nvSpPr>
          <p:spPr bwMode="auto">
            <a:xfrm>
              <a:off x="5097463" y="5031216"/>
              <a:ext cx="271463" cy="441325"/>
            </a:xfrm>
            <a:custGeom>
              <a:avLst/>
              <a:gdLst>
                <a:gd name="T0" fmla="*/ 126 w 171"/>
                <a:gd name="T1" fmla="*/ 13 h 278"/>
                <a:gd name="T2" fmla="*/ 123 w 171"/>
                <a:gd name="T3" fmla="*/ 19 h 278"/>
                <a:gd name="T4" fmla="*/ 120 w 171"/>
                <a:gd name="T5" fmla="*/ 22 h 278"/>
                <a:gd name="T6" fmla="*/ 113 w 171"/>
                <a:gd name="T7" fmla="*/ 22 h 278"/>
                <a:gd name="T8" fmla="*/ 107 w 171"/>
                <a:gd name="T9" fmla="*/ 23 h 278"/>
                <a:gd name="T10" fmla="*/ 97 w 171"/>
                <a:gd name="T11" fmla="*/ 21 h 278"/>
                <a:gd name="T12" fmla="*/ 82 w 171"/>
                <a:gd name="T13" fmla="*/ 19 h 278"/>
                <a:gd name="T14" fmla="*/ 72 w 171"/>
                <a:gd name="T15" fmla="*/ 19 h 278"/>
                <a:gd name="T16" fmla="*/ 71 w 171"/>
                <a:gd name="T17" fmla="*/ 35 h 278"/>
                <a:gd name="T18" fmla="*/ 74 w 171"/>
                <a:gd name="T19" fmla="*/ 47 h 278"/>
                <a:gd name="T20" fmla="*/ 77 w 171"/>
                <a:gd name="T21" fmla="*/ 63 h 278"/>
                <a:gd name="T22" fmla="*/ 78 w 171"/>
                <a:gd name="T23" fmla="*/ 64 h 278"/>
                <a:gd name="T24" fmla="*/ 82 w 171"/>
                <a:gd name="T25" fmla="*/ 102 h 278"/>
                <a:gd name="T26" fmla="*/ 80 w 171"/>
                <a:gd name="T27" fmla="*/ 103 h 278"/>
                <a:gd name="T28" fmla="*/ 67 w 171"/>
                <a:gd name="T29" fmla="*/ 89 h 278"/>
                <a:gd name="T30" fmla="*/ 67 w 171"/>
                <a:gd name="T31" fmla="*/ 70 h 278"/>
                <a:gd name="T32" fmla="*/ 64 w 171"/>
                <a:gd name="T33" fmla="*/ 67 h 278"/>
                <a:gd name="T34" fmla="*/ 54 w 171"/>
                <a:gd name="T35" fmla="*/ 68 h 278"/>
                <a:gd name="T36" fmla="*/ 43 w 171"/>
                <a:gd name="T37" fmla="*/ 60 h 278"/>
                <a:gd name="T38" fmla="*/ 26 w 171"/>
                <a:gd name="T39" fmla="*/ 63 h 278"/>
                <a:gd name="T40" fmla="*/ 7 w 171"/>
                <a:gd name="T41" fmla="*/ 68 h 278"/>
                <a:gd name="T42" fmla="*/ 0 w 171"/>
                <a:gd name="T43" fmla="*/ 86 h 278"/>
                <a:gd name="T44" fmla="*/ 22 w 171"/>
                <a:gd name="T45" fmla="*/ 90 h 278"/>
                <a:gd name="T46" fmla="*/ 40 w 171"/>
                <a:gd name="T47" fmla="*/ 103 h 278"/>
                <a:gd name="T48" fmla="*/ 43 w 171"/>
                <a:gd name="T49" fmla="*/ 128 h 278"/>
                <a:gd name="T50" fmla="*/ 42 w 171"/>
                <a:gd name="T51" fmla="*/ 160 h 278"/>
                <a:gd name="T52" fmla="*/ 30 w 171"/>
                <a:gd name="T53" fmla="*/ 183 h 278"/>
                <a:gd name="T54" fmla="*/ 25 w 171"/>
                <a:gd name="T55" fmla="*/ 187 h 278"/>
                <a:gd name="T56" fmla="*/ 20 w 171"/>
                <a:gd name="T57" fmla="*/ 205 h 278"/>
                <a:gd name="T58" fmla="*/ 27 w 171"/>
                <a:gd name="T59" fmla="*/ 216 h 278"/>
                <a:gd name="T60" fmla="*/ 27 w 171"/>
                <a:gd name="T61" fmla="*/ 249 h 278"/>
                <a:gd name="T62" fmla="*/ 30 w 171"/>
                <a:gd name="T63" fmla="*/ 264 h 278"/>
                <a:gd name="T64" fmla="*/ 40 w 171"/>
                <a:gd name="T65" fmla="*/ 278 h 278"/>
                <a:gd name="T66" fmla="*/ 40 w 171"/>
                <a:gd name="T67" fmla="*/ 262 h 278"/>
                <a:gd name="T68" fmla="*/ 51 w 171"/>
                <a:gd name="T69" fmla="*/ 249 h 278"/>
                <a:gd name="T70" fmla="*/ 78 w 171"/>
                <a:gd name="T71" fmla="*/ 234 h 278"/>
                <a:gd name="T72" fmla="*/ 82 w 171"/>
                <a:gd name="T73" fmla="*/ 228 h 278"/>
                <a:gd name="T74" fmla="*/ 81 w 171"/>
                <a:gd name="T75" fmla="*/ 189 h 278"/>
                <a:gd name="T76" fmla="*/ 77 w 171"/>
                <a:gd name="T77" fmla="*/ 170 h 278"/>
                <a:gd name="T78" fmla="*/ 75 w 171"/>
                <a:gd name="T79" fmla="*/ 165 h 278"/>
                <a:gd name="T80" fmla="*/ 72 w 171"/>
                <a:gd name="T81" fmla="*/ 160 h 278"/>
                <a:gd name="T82" fmla="*/ 82 w 171"/>
                <a:gd name="T83" fmla="*/ 147 h 278"/>
                <a:gd name="T84" fmla="*/ 122 w 171"/>
                <a:gd name="T85" fmla="*/ 113 h 278"/>
                <a:gd name="T86" fmla="*/ 146 w 171"/>
                <a:gd name="T87" fmla="*/ 102 h 278"/>
                <a:gd name="T88" fmla="*/ 169 w 171"/>
                <a:gd name="T89" fmla="*/ 79 h 278"/>
                <a:gd name="T90" fmla="*/ 171 w 171"/>
                <a:gd name="T91" fmla="*/ 76 h 278"/>
                <a:gd name="T92" fmla="*/ 165 w 171"/>
                <a:gd name="T93" fmla="*/ 58 h 278"/>
                <a:gd name="T94" fmla="*/ 162 w 171"/>
                <a:gd name="T95" fmla="*/ 28 h 278"/>
                <a:gd name="T96" fmla="*/ 164 w 171"/>
                <a:gd name="T97" fmla="*/ 10 h 278"/>
                <a:gd name="T98" fmla="*/ 152 w 171"/>
                <a:gd name="T99" fmla="*/ 8 h 278"/>
                <a:gd name="T100" fmla="*/ 133 w 171"/>
                <a:gd name="T101" fmla="*/ 1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1" h="278">
                  <a:moveTo>
                    <a:pt x="129" y="12"/>
                  </a:moveTo>
                  <a:lnTo>
                    <a:pt x="129" y="12"/>
                  </a:lnTo>
                  <a:lnTo>
                    <a:pt x="126" y="13"/>
                  </a:lnTo>
                  <a:lnTo>
                    <a:pt x="126" y="15"/>
                  </a:lnTo>
                  <a:lnTo>
                    <a:pt x="124" y="16"/>
                  </a:lnTo>
                  <a:lnTo>
                    <a:pt x="123" y="19"/>
                  </a:lnTo>
                  <a:lnTo>
                    <a:pt x="123" y="19"/>
                  </a:lnTo>
                  <a:lnTo>
                    <a:pt x="122" y="21"/>
                  </a:lnTo>
                  <a:lnTo>
                    <a:pt x="120" y="22"/>
                  </a:lnTo>
                  <a:lnTo>
                    <a:pt x="117" y="22"/>
                  </a:lnTo>
                  <a:lnTo>
                    <a:pt x="117" y="22"/>
                  </a:lnTo>
                  <a:lnTo>
                    <a:pt x="113" y="22"/>
                  </a:lnTo>
                  <a:lnTo>
                    <a:pt x="109" y="23"/>
                  </a:lnTo>
                  <a:lnTo>
                    <a:pt x="109" y="23"/>
                  </a:lnTo>
                  <a:lnTo>
                    <a:pt x="107" y="23"/>
                  </a:lnTo>
                  <a:lnTo>
                    <a:pt x="106" y="25"/>
                  </a:lnTo>
                  <a:lnTo>
                    <a:pt x="101" y="23"/>
                  </a:lnTo>
                  <a:lnTo>
                    <a:pt x="97" y="21"/>
                  </a:lnTo>
                  <a:lnTo>
                    <a:pt x="93" y="19"/>
                  </a:lnTo>
                  <a:lnTo>
                    <a:pt x="93" y="19"/>
                  </a:lnTo>
                  <a:lnTo>
                    <a:pt x="82" y="19"/>
                  </a:lnTo>
                  <a:lnTo>
                    <a:pt x="82" y="19"/>
                  </a:lnTo>
                  <a:lnTo>
                    <a:pt x="72" y="19"/>
                  </a:lnTo>
                  <a:lnTo>
                    <a:pt x="72" y="19"/>
                  </a:lnTo>
                  <a:lnTo>
                    <a:pt x="72" y="23"/>
                  </a:lnTo>
                  <a:lnTo>
                    <a:pt x="72" y="23"/>
                  </a:lnTo>
                  <a:lnTo>
                    <a:pt x="71" y="35"/>
                  </a:lnTo>
                  <a:lnTo>
                    <a:pt x="72" y="42"/>
                  </a:lnTo>
                  <a:lnTo>
                    <a:pt x="74" y="47"/>
                  </a:lnTo>
                  <a:lnTo>
                    <a:pt x="74" y="47"/>
                  </a:lnTo>
                  <a:lnTo>
                    <a:pt x="77" y="55"/>
                  </a:lnTo>
                  <a:lnTo>
                    <a:pt x="78" y="60"/>
                  </a:lnTo>
                  <a:lnTo>
                    <a:pt x="77" y="63"/>
                  </a:lnTo>
                  <a:lnTo>
                    <a:pt x="77" y="63"/>
                  </a:lnTo>
                  <a:lnTo>
                    <a:pt x="78" y="64"/>
                  </a:lnTo>
                  <a:lnTo>
                    <a:pt x="78" y="64"/>
                  </a:lnTo>
                  <a:lnTo>
                    <a:pt x="81" y="73"/>
                  </a:lnTo>
                  <a:lnTo>
                    <a:pt x="82" y="83"/>
                  </a:lnTo>
                  <a:lnTo>
                    <a:pt x="82" y="102"/>
                  </a:lnTo>
                  <a:lnTo>
                    <a:pt x="82" y="102"/>
                  </a:lnTo>
                  <a:lnTo>
                    <a:pt x="82" y="105"/>
                  </a:lnTo>
                  <a:lnTo>
                    <a:pt x="80" y="103"/>
                  </a:lnTo>
                  <a:lnTo>
                    <a:pt x="71" y="94"/>
                  </a:lnTo>
                  <a:lnTo>
                    <a:pt x="71" y="94"/>
                  </a:lnTo>
                  <a:lnTo>
                    <a:pt x="67" y="89"/>
                  </a:lnTo>
                  <a:lnTo>
                    <a:pt x="65" y="83"/>
                  </a:lnTo>
                  <a:lnTo>
                    <a:pt x="65" y="76"/>
                  </a:lnTo>
                  <a:lnTo>
                    <a:pt x="67" y="70"/>
                  </a:lnTo>
                  <a:lnTo>
                    <a:pt x="67" y="70"/>
                  </a:lnTo>
                  <a:lnTo>
                    <a:pt x="65" y="67"/>
                  </a:lnTo>
                  <a:lnTo>
                    <a:pt x="64" y="67"/>
                  </a:lnTo>
                  <a:lnTo>
                    <a:pt x="58" y="70"/>
                  </a:lnTo>
                  <a:lnTo>
                    <a:pt x="58" y="70"/>
                  </a:lnTo>
                  <a:lnTo>
                    <a:pt x="54" y="68"/>
                  </a:lnTo>
                  <a:lnTo>
                    <a:pt x="51" y="65"/>
                  </a:lnTo>
                  <a:lnTo>
                    <a:pt x="46" y="63"/>
                  </a:lnTo>
                  <a:lnTo>
                    <a:pt x="43" y="60"/>
                  </a:lnTo>
                  <a:lnTo>
                    <a:pt x="43" y="60"/>
                  </a:lnTo>
                  <a:lnTo>
                    <a:pt x="38" y="60"/>
                  </a:lnTo>
                  <a:lnTo>
                    <a:pt x="26" y="63"/>
                  </a:lnTo>
                  <a:lnTo>
                    <a:pt x="16" y="65"/>
                  </a:lnTo>
                  <a:lnTo>
                    <a:pt x="7" y="68"/>
                  </a:lnTo>
                  <a:lnTo>
                    <a:pt x="7" y="68"/>
                  </a:lnTo>
                  <a:lnTo>
                    <a:pt x="6" y="71"/>
                  </a:lnTo>
                  <a:lnTo>
                    <a:pt x="3" y="76"/>
                  </a:lnTo>
                  <a:lnTo>
                    <a:pt x="0" y="86"/>
                  </a:lnTo>
                  <a:lnTo>
                    <a:pt x="0" y="86"/>
                  </a:lnTo>
                  <a:lnTo>
                    <a:pt x="22" y="90"/>
                  </a:lnTo>
                  <a:lnTo>
                    <a:pt x="22" y="90"/>
                  </a:lnTo>
                  <a:lnTo>
                    <a:pt x="29" y="93"/>
                  </a:lnTo>
                  <a:lnTo>
                    <a:pt x="36" y="99"/>
                  </a:lnTo>
                  <a:lnTo>
                    <a:pt x="40" y="103"/>
                  </a:lnTo>
                  <a:lnTo>
                    <a:pt x="43" y="107"/>
                  </a:lnTo>
                  <a:lnTo>
                    <a:pt x="43" y="107"/>
                  </a:lnTo>
                  <a:lnTo>
                    <a:pt x="43" y="128"/>
                  </a:lnTo>
                  <a:lnTo>
                    <a:pt x="43" y="151"/>
                  </a:lnTo>
                  <a:lnTo>
                    <a:pt x="43" y="151"/>
                  </a:lnTo>
                  <a:lnTo>
                    <a:pt x="42" y="160"/>
                  </a:lnTo>
                  <a:lnTo>
                    <a:pt x="38" y="170"/>
                  </a:lnTo>
                  <a:lnTo>
                    <a:pt x="33" y="178"/>
                  </a:lnTo>
                  <a:lnTo>
                    <a:pt x="30" y="183"/>
                  </a:lnTo>
                  <a:lnTo>
                    <a:pt x="27" y="184"/>
                  </a:lnTo>
                  <a:lnTo>
                    <a:pt x="27" y="184"/>
                  </a:lnTo>
                  <a:lnTo>
                    <a:pt x="25" y="187"/>
                  </a:lnTo>
                  <a:lnTo>
                    <a:pt x="23" y="193"/>
                  </a:lnTo>
                  <a:lnTo>
                    <a:pt x="20" y="205"/>
                  </a:lnTo>
                  <a:lnTo>
                    <a:pt x="20" y="205"/>
                  </a:lnTo>
                  <a:lnTo>
                    <a:pt x="26" y="212"/>
                  </a:lnTo>
                  <a:lnTo>
                    <a:pt x="26" y="212"/>
                  </a:lnTo>
                  <a:lnTo>
                    <a:pt x="27" y="216"/>
                  </a:lnTo>
                  <a:lnTo>
                    <a:pt x="27" y="220"/>
                  </a:lnTo>
                  <a:lnTo>
                    <a:pt x="27" y="235"/>
                  </a:lnTo>
                  <a:lnTo>
                    <a:pt x="27" y="249"/>
                  </a:lnTo>
                  <a:lnTo>
                    <a:pt x="27" y="260"/>
                  </a:lnTo>
                  <a:lnTo>
                    <a:pt x="27" y="260"/>
                  </a:lnTo>
                  <a:lnTo>
                    <a:pt x="30" y="264"/>
                  </a:lnTo>
                  <a:lnTo>
                    <a:pt x="33" y="270"/>
                  </a:lnTo>
                  <a:lnTo>
                    <a:pt x="40" y="278"/>
                  </a:lnTo>
                  <a:lnTo>
                    <a:pt x="40" y="278"/>
                  </a:lnTo>
                  <a:lnTo>
                    <a:pt x="40" y="265"/>
                  </a:lnTo>
                  <a:lnTo>
                    <a:pt x="40" y="265"/>
                  </a:lnTo>
                  <a:lnTo>
                    <a:pt x="40" y="262"/>
                  </a:lnTo>
                  <a:lnTo>
                    <a:pt x="43" y="258"/>
                  </a:lnTo>
                  <a:lnTo>
                    <a:pt x="46" y="254"/>
                  </a:lnTo>
                  <a:lnTo>
                    <a:pt x="51" y="249"/>
                  </a:lnTo>
                  <a:lnTo>
                    <a:pt x="51" y="249"/>
                  </a:lnTo>
                  <a:lnTo>
                    <a:pt x="69" y="241"/>
                  </a:lnTo>
                  <a:lnTo>
                    <a:pt x="78" y="234"/>
                  </a:lnTo>
                  <a:lnTo>
                    <a:pt x="81" y="231"/>
                  </a:lnTo>
                  <a:lnTo>
                    <a:pt x="82" y="228"/>
                  </a:lnTo>
                  <a:lnTo>
                    <a:pt x="82" y="228"/>
                  </a:lnTo>
                  <a:lnTo>
                    <a:pt x="84" y="219"/>
                  </a:lnTo>
                  <a:lnTo>
                    <a:pt x="82" y="206"/>
                  </a:lnTo>
                  <a:lnTo>
                    <a:pt x="81" y="189"/>
                  </a:lnTo>
                  <a:lnTo>
                    <a:pt x="81" y="189"/>
                  </a:lnTo>
                  <a:lnTo>
                    <a:pt x="78" y="176"/>
                  </a:lnTo>
                  <a:lnTo>
                    <a:pt x="77" y="170"/>
                  </a:lnTo>
                  <a:lnTo>
                    <a:pt x="77" y="167"/>
                  </a:lnTo>
                  <a:lnTo>
                    <a:pt x="75" y="165"/>
                  </a:lnTo>
                  <a:lnTo>
                    <a:pt x="75" y="165"/>
                  </a:lnTo>
                  <a:lnTo>
                    <a:pt x="72" y="165"/>
                  </a:lnTo>
                  <a:lnTo>
                    <a:pt x="72" y="163"/>
                  </a:lnTo>
                  <a:lnTo>
                    <a:pt x="72" y="160"/>
                  </a:lnTo>
                  <a:lnTo>
                    <a:pt x="75" y="154"/>
                  </a:lnTo>
                  <a:lnTo>
                    <a:pt x="75" y="154"/>
                  </a:lnTo>
                  <a:lnTo>
                    <a:pt x="82" y="147"/>
                  </a:lnTo>
                  <a:lnTo>
                    <a:pt x="96" y="134"/>
                  </a:lnTo>
                  <a:lnTo>
                    <a:pt x="122" y="113"/>
                  </a:lnTo>
                  <a:lnTo>
                    <a:pt x="122" y="113"/>
                  </a:lnTo>
                  <a:lnTo>
                    <a:pt x="129" y="109"/>
                  </a:lnTo>
                  <a:lnTo>
                    <a:pt x="136" y="106"/>
                  </a:lnTo>
                  <a:lnTo>
                    <a:pt x="146" y="102"/>
                  </a:lnTo>
                  <a:lnTo>
                    <a:pt x="146" y="102"/>
                  </a:lnTo>
                  <a:lnTo>
                    <a:pt x="158" y="90"/>
                  </a:lnTo>
                  <a:lnTo>
                    <a:pt x="169" y="79"/>
                  </a:lnTo>
                  <a:lnTo>
                    <a:pt x="169" y="79"/>
                  </a:lnTo>
                  <a:lnTo>
                    <a:pt x="171" y="77"/>
                  </a:lnTo>
                  <a:lnTo>
                    <a:pt x="171" y="76"/>
                  </a:lnTo>
                  <a:lnTo>
                    <a:pt x="169" y="70"/>
                  </a:lnTo>
                  <a:lnTo>
                    <a:pt x="165" y="58"/>
                  </a:lnTo>
                  <a:lnTo>
                    <a:pt x="165" y="58"/>
                  </a:lnTo>
                  <a:lnTo>
                    <a:pt x="164" y="51"/>
                  </a:lnTo>
                  <a:lnTo>
                    <a:pt x="162" y="39"/>
                  </a:lnTo>
                  <a:lnTo>
                    <a:pt x="162" y="28"/>
                  </a:lnTo>
                  <a:lnTo>
                    <a:pt x="162" y="21"/>
                  </a:lnTo>
                  <a:lnTo>
                    <a:pt x="162" y="21"/>
                  </a:lnTo>
                  <a:lnTo>
                    <a:pt x="164" y="10"/>
                  </a:lnTo>
                  <a:lnTo>
                    <a:pt x="162" y="0"/>
                  </a:lnTo>
                  <a:lnTo>
                    <a:pt x="162" y="0"/>
                  </a:lnTo>
                  <a:lnTo>
                    <a:pt x="152" y="8"/>
                  </a:lnTo>
                  <a:lnTo>
                    <a:pt x="143" y="10"/>
                  </a:lnTo>
                  <a:lnTo>
                    <a:pt x="138" y="12"/>
                  </a:lnTo>
                  <a:lnTo>
                    <a:pt x="133" y="12"/>
                  </a:lnTo>
                  <a:lnTo>
                    <a:pt x="133" y="12"/>
                  </a:lnTo>
                  <a:lnTo>
                    <a:pt x="129" y="12"/>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63" name="Freeform 219"/>
            <p:cNvSpPr>
              <a:spLocks/>
            </p:cNvSpPr>
            <p:nvPr/>
          </p:nvSpPr>
          <p:spPr bwMode="auto">
            <a:xfrm>
              <a:off x="5097463" y="5031216"/>
              <a:ext cx="271463" cy="441325"/>
            </a:xfrm>
            <a:custGeom>
              <a:avLst/>
              <a:gdLst>
                <a:gd name="T0" fmla="*/ 126 w 171"/>
                <a:gd name="T1" fmla="*/ 13 h 278"/>
                <a:gd name="T2" fmla="*/ 123 w 171"/>
                <a:gd name="T3" fmla="*/ 19 h 278"/>
                <a:gd name="T4" fmla="*/ 120 w 171"/>
                <a:gd name="T5" fmla="*/ 22 h 278"/>
                <a:gd name="T6" fmla="*/ 113 w 171"/>
                <a:gd name="T7" fmla="*/ 22 h 278"/>
                <a:gd name="T8" fmla="*/ 107 w 171"/>
                <a:gd name="T9" fmla="*/ 23 h 278"/>
                <a:gd name="T10" fmla="*/ 97 w 171"/>
                <a:gd name="T11" fmla="*/ 21 h 278"/>
                <a:gd name="T12" fmla="*/ 82 w 171"/>
                <a:gd name="T13" fmla="*/ 19 h 278"/>
                <a:gd name="T14" fmla="*/ 72 w 171"/>
                <a:gd name="T15" fmla="*/ 19 h 278"/>
                <a:gd name="T16" fmla="*/ 71 w 171"/>
                <a:gd name="T17" fmla="*/ 35 h 278"/>
                <a:gd name="T18" fmla="*/ 74 w 171"/>
                <a:gd name="T19" fmla="*/ 47 h 278"/>
                <a:gd name="T20" fmla="*/ 77 w 171"/>
                <a:gd name="T21" fmla="*/ 63 h 278"/>
                <a:gd name="T22" fmla="*/ 78 w 171"/>
                <a:gd name="T23" fmla="*/ 64 h 278"/>
                <a:gd name="T24" fmla="*/ 82 w 171"/>
                <a:gd name="T25" fmla="*/ 102 h 278"/>
                <a:gd name="T26" fmla="*/ 80 w 171"/>
                <a:gd name="T27" fmla="*/ 103 h 278"/>
                <a:gd name="T28" fmla="*/ 67 w 171"/>
                <a:gd name="T29" fmla="*/ 89 h 278"/>
                <a:gd name="T30" fmla="*/ 67 w 171"/>
                <a:gd name="T31" fmla="*/ 70 h 278"/>
                <a:gd name="T32" fmla="*/ 64 w 171"/>
                <a:gd name="T33" fmla="*/ 67 h 278"/>
                <a:gd name="T34" fmla="*/ 54 w 171"/>
                <a:gd name="T35" fmla="*/ 68 h 278"/>
                <a:gd name="T36" fmla="*/ 43 w 171"/>
                <a:gd name="T37" fmla="*/ 60 h 278"/>
                <a:gd name="T38" fmla="*/ 26 w 171"/>
                <a:gd name="T39" fmla="*/ 63 h 278"/>
                <a:gd name="T40" fmla="*/ 7 w 171"/>
                <a:gd name="T41" fmla="*/ 68 h 278"/>
                <a:gd name="T42" fmla="*/ 0 w 171"/>
                <a:gd name="T43" fmla="*/ 86 h 278"/>
                <a:gd name="T44" fmla="*/ 22 w 171"/>
                <a:gd name="T45" fmla="*/ 90 h 278"/>
                <a:gd name="T46" fmla="*/ 40 w 171"/>
                <a:gd name="T47" fmla="*/ 103 h 278"/>
                <a:gd name="T48" fmla="*/ 43 w 171"/>
                <a:gd name="T49" fmla="*/ 128 h 278"/>
                <a:gd name="T50" fmla="*/ 42 w 171"/>
                <a:gd name="T51" fmla="*/ 160 h 278"/>
                <a:gd name="T52" fmla="*/ 30 w 171"/>
                <a:gd name="T53" fmla="*/ 183 h 278"/>
                <a:gd name="T54" fmla="*/ 25 w 171"/>
                <a:gd name="T55" fmla="*/ 187 h 278"/>
                <a:gd name="T56" fmla="*/ 20 w 171"/>
                <a:gd name="T57" fmla="*/ 205 h 278"/>
                <a:gd name="T58" fmla="*/ 27 w 171"/>
                <a:gd name="T59" fmla="*/ 216 h 278"/>
                <a:gd name="T60" fmla="*/ 27 w 171"/>
                <a:gd name="T61" fmla="*/ 249 h 278"/>
                <a:gd name="T62" fmla="*/ 30 w 171"/>
                <a:gd name="T63" fmla="*/ 264 h 278"/>
                <a:gd name="T64" fmla="*/ 40 w 171"/>
                <a:gd name="T65" fmla="*/ 278 h 278"/>
                <a:gd name="T66" fmla="*/ 40 w 171"/>
                <a:gd name="T67" fmla="*/ 262 h 278"/>
                <a:gd name="T68" fmla="*/ 51 w 171"/>
                <a:gd name="T69" fmla="*/ 249 h 278"/>
                <a:gd name="T70" fmla="*/ 78 w 171"/>
                <a:gd name="T71" fmla="*/ 234 h 278"/>
                <a:gd name="T72" fmla="*/ 82 w 171"/>
                <a:gd name="T73" fmla="*/ 228 h 278"/>
                <a:gd name="T74" fmla="*/ 81 w 171"/>
                <a:gd name="T75" fmla="*/ 189 h 278"/>
                <a:gd name="T76" fmla="*/ 77 w 171"/>
                <a:gd name="T77" fmla="*/ 170 h 278"/>
                <a:gd name="T78" fmla="*/ 75 w 171"/>
                <a:gd name="T79" fmla="*/ 165 h 278"/>
                <a:gd name="T80" fmla="*/ 72 w 171"/>
                <a:gd name="T81" fmla="*/ 160 h 278"/>
                <a:gd name="T82" fmla="*/ 82 w 171"/>
                <a:gd name="T83" fmla="*/ 147 h 278"/>
                <a:gd name="T84" fmla="*/ 122 w 171"/>
                <a:gd name="T85" fmla="*/ 113 h 278"/>
                <a:gd name="T86" fmla="*/ 146 w 171"/>
                <a:gd name="T87" fmla="*/ 102 h 278"/>
                <a:gd name="T88" fmla="*/ 169 w 171"/>
                <a:gd name="T89" fmla="*/ 79 h 278"/>
                <a:gd name="T90" fmla="*/ 171 w 171"/>
                <a:gd name="T91" fmla="*/ 76 h 278"/>
                <a:gd name="T92" fmla="*/ 165 w 171"/>
                <a:gd name="T93" fmla="*/ 58 h 278"/>
                <a:gd name="T94" fmla="*/ 162 w 171"/>
                <a:gd name="T95" fmla="*/ 28 h 278"/>
                <a:gd name="T96" fmla="*/ 164 w 171"/>
                <a:gd name="T97" fmla="*/ 10 h 278"/>
                <a:gd name="T98" fmla="*/ 152 w 171"/>
                <a:gd name="T99" fmla="*/ 8 h 278"/>
                <a:gd name="T100" fmla="*/ 133 w 171"/>
                <a:gd name="T101" fmla="*/ 1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1" h="278">
                  <a:moveTo>
                    <a:pt x="129" y="12"/>
                  </a:moveTo>
                  <a:lnTo>
                    <a:pt x="129" y="12"/>
                  </a:lnTo>
                  <a:lnTo>
                    <a:pt x="126" y="13"/>
                  </a:lnTo>
                  <a:lnTo>
                    <a:pt x="126" y="15"/>
                  </a:lnTo>
                  <a:lnTo>
                    <a:pt x="124" y="16"/>
                  </a:lnTo>
                  <a:lnTo>
                    <a:pt x="123" y="19"/>
                  </a:lnTo>
                  <a:lnTo>
                    <a:pt x="123" y="19"/>
                  </a:lnTo>
                  <a:lnTo>
                    <a:pt x="122" y="21"/>
                  </a:lnTo>
                  <a:lnTo>
                    <a:pt x="120" y="22"/>
                  </a:lnTo>
                  <a:lnTo>
                    <a:pt x="117" y="22"/>
                  </a:lnTo>
                  <a:lnTo>
                    <a:pt x="117" y="22"/>
                  </a:lnTo>
                  <a:lnTo>
                    <a:pt x="113" y="22"/>
                  </a:lnTo>
                  <a:lnTo>
                    <a:pt x="109" y="23"/>
                  </a:lnTo>
                  <a:lnTo>
                    <a:pt x="109" y="23"/>
                  </a:lnTo>
                  <a:lnTo>
                    <a:pt x="107" y="23"/>
                  </a:lnTo>
                  <a:lnTo>
                    <a:pt x="106" y="25"/>
                  </a:lnTo>
                  <a:lnTo>
                    <a:pt x="101" y="23"/>
                  </a:lnTo>
                  <a:lnTo>
                    <a:pt x="97" y="21"/>
                  </a:lnTo>
                  <a:lnTo>
                    <a:pt x="93" y="19"/>
                  </a:lnTo>
                  <a:lnTo>
                    <a:pt x="93" y="19"/>
                  </a:lnTo>
                  <a:lnTo>
                    <a:pt x="82" y="19"/>
                  </a:lnTo>
                  <a:lnTo>
                    <a:pt x="82" y="19"/>
                  </a:lnTo>
                  <a:lnTo>
                    <a:pt x="72" y="19"/>
                  </a:lnTo>
                  <a:lnTo>
                    <a:pt x="72" y="19"/>
                  </a:lnTo>
                  <a:lnTo>
                    <a:pt x="72" y="23"/>
                  </a:lnTo>
                  <a:lnTo>
                    <a:pt x="72" y="23"/>
                  </a:lnTo>
                  <a:lnTo>
                    <a:pt x="71" y="35"/>
                  </a:lnTo>
                  <a:lnTo>
                    <a:pt x="72" y="42"/>
                  </a:lnTo>
                  <a:lnTo>
                    <a:pt x="74" y="47"/>
                  </a:lnTo>
                  <a:lnTo>
                    <a:pt x="74" y="47"/>
                  </a:lnTo>
                  <a:lnTo>
                    <a:pt x="77" y="55"/>
                  </a:lnTo>
                  <a:lnTo>
                    <a:pt x="78" y="60"/>
                  </a:lnTo>
                  <a:lnTo>
                    <a:pt x="77" y="63"/>
                  </a:lnTo>
                  <a:lnTo>
                    <a:pt x="77" y="63"/>
                  </a:lnTo>
                  <a:lnTo>
                    <a:pt x="78" y="64"/>
                  </a:lnTo>
                  <a:lnTo>
                    <a:pt x="78" y="64"/>
                  </a:lnTo>
                  <a:lnTo>
                    <a:pt x="81" y="73"/>
                  </a:lnTo>
                  <a:lnTo>
                    <a:pt x="82" y="83"/>
                  </a:lnTo>
                  <a:lnTo>
                    <a:pt x="82" y="102"/>
                  </a:lnTo>
                  <a:lnTo>
                    <a:pt x="82" y="102"/>
                  </a:lnTo>
                  <a:lnTo>
                    <a:pt x="82" y="105"/>
                  </a:lnTo>
                  <a:lnTo>
                    <a:pt x="80" y="103"/>
                  </a:lnTo>
                  <a:lnTo>
                    <a:pt x="71" y="94"/>
                  </a:lnTo>
                  <a:lnTo>
                    <a:pt x="71" y="94"/>
                  </a:lnTo>
                  <a:lnTo>
                    <a:pt x="67" y="89"/>
                  </a:lnTo>
                  <a:lnTo>
                    <a:pt x="65" y="83"/>
                  </a:lnTo>
                  <a:lnTo>
                    <a:pt x="65" y="76"/>
                  </a:lnTo>
                  <a:lnTo>
                    <a:pt x="67" y="70"/>
                  </a:lnTo>
                  <a:lnTo>
                    <a:pt x="67" y="70"/>
                  </a:lnTo>
                  <a:lnTo>
                    <a:pt x="65" y="67"/>
                  </a:lnTo>
                  <a:lnTo>
                    <a:pt x="64" y="67"/>
                  </a:lnTo>
                  <a:lnTo>
                    <a:pt x="58" y="70"/>
                  </a:lnTo>
                  <a:lnTo>
                    <a:pt x="58" y="70"/>
                  </a:lnTo>
                  <a:lnTo>
                    <a:pt x="54" y="68"/>
                  </a:lnTo>
                  <a:lnTo>
                    <a:pt x="51" y="65"/>
                  </a:lnTo>
                  <a:lnTo>
                    <a:pt x="46" y="63"/>
                  </a:lnTo>
                  <a:lnTo>
                    <a:pt x="43" y="60"/>
                  </a:lnTo>
                  <a:lnTo>
                    <a:pt x="43" y="60"/>
                  </a:lnTo>
                  <a:lnTo>
                    <a:pt x="38" y="60"/>
                  </a:lnTo>
                  <a:lnTo>
                    <a:pt x="26" y="63"/>
                  </a:lnTo>
                  <a:lnTo>
                    <a:pt x="16" y="65"/>
                  </a:lnTo>
                  <a:lnTo>
                    <a:pt x="7" y="68"/>
                  </a:lnTo>
                  <a:lnTo>
                    <a:pt x="7" y="68"/>
                  </a:lnTo>
                  <a:lnTo>
                    <a:pt x="6" y="71"/>
                  </a:lnTo>
                  <a:lnTo>
                    <a:pt x="3" y="76"/>
                  </a:lnTo>
                  <a:lnTo>
                    <a:pt x="0" y="86"/>
                  </a:lnTo>
                  <a:lnTo>
                    <a:pt x="0" y="86"/>
                  </a:lnTo>
                  <a:lnTo>
                    <a:pt x="22" y="90"/>
                  </a:lnTo>
                  <a:lnTo>
                    <a:pt x="22" y="90"/>
                  </a:lnTo>
                  <a:lnTo>
                    <a:pt x="29" y="93"/>
                  </a:lnTo>
                  <a:lnTo>
                    <a:pt x="36" y="99"/>
                  </a:lnTo>
                  <a:lnTo>
                    <a:pt x="40" y="103"/>
                  </a:lnTo>
                  <a:lnTo>
                    <a:pt x="43" y="107"/>
                  </a:lnTo>
                  <a:lnTo>
                    <a:pt x="43" y="107"/>
                  </a:lnTo>
                  <a:lnTo>
                    <a:pt x="43" y="128"/>
                  </a:lnTo>
                  <a:lnTo>
                    <a:pt x="43" y="151"/>
                  </a:lnTo>
                  <a:lnTo>
                    <a:pt x="43" y="151"/>
                  </a:lnTo>
                  <a:lnTo>
                    <a:pt x="42" y="160"/>
                  </a:lnTo>
                  <a:lnTo>
                    <a:pt x="38" y="170"/>
                  </a:lnTo>
                  <a:lnTo>
                    <a:pt x="33" y="178"/>
                  </a:lnTo>
                  <a:lnTo>
                    <a:pt x="30" y="183"/>
                  </a:lnTo>
                  <a:lnTo>
                    <a:pt x="27" y="184"/>
                  </a:lnTo>
                  <a:lnTo>
                    <a:pt x="27" y="184"/>
                  </a:lnTo>
                  <a:lnTo>
                    <a:pt x="25" y="187"/>
                  </a:lnTo>
                  <a:lnTo>
                    <a:pt x="23" y="193"/>
                  </a:lnTo>
                  <a:lnTo>
                    <a:pt x="20" y="205"/>
                  </a:lnTo>
                  <a:lnTo>
                    <a:pt x="20" y="205"/>
                  </a:lnTo>
                  <a:lnTo>
                    <a:pt x="26" y="212"/>
                  </a:lnTo>
                  <a:lnTo>
                    <a:pt x="26" y="212"/>
                  </a:lnTo>
                  <a:lnTo>
                    <a:pt x="27" y="216"/>
                  </a:lnTo>
                  <a:lnTo>
                    <a:pt x="27" y="220"/>
                  </a:lnTo>
                  <a:lnTo>
                    <a:pt x="27" y="235"/>
                  </a:lnTo>
                  <a:lnTo>
                    <a:pt x="27" y="249"/>
                  </a:lnTo>
                  <a:lnTo>
                    <a:pt x="27" y="260"/>
                  </a:lnTo>
                  <a:lnTo>
                    <a:pt x="27" y="260"/>
                  </a:lnTo>
                  <a:lnTo>
                    <a:pt x="30" y="264"/>
                  </a:lnTo>
                  <a:lnTo>
                    <a:pt x="33" y="270"/>
                  </a:lnTo>
                  <a:lnTo>
                    <a:pt x="40" y="278"/>
                  </a:lnTo>
                  <a:lnTo>
                    <a:pt x="40" y="278"/>
                  </a:lnTo>
                  <a:lnTo>
                    <a:pt x="40" y="265"/>
                  </a:lnTo>
                  <a:lnTo>
                    <a:pt x="40" y="265"/>
                  </a:lnTo>
                  <a:lnTo>
                    <a:pt x="40" y="262"/>
                  </a:lnTo>
                  <a:lnTo>
                    <a:pt x="43" y="258"/>
                  </a:lnTo>
                  <a:lnTo>
                    <a:pt x="46" y="254"/>
                  </a:lnTo>
                  <a:lnTo>
                    <a:pt x="51" y="249"/>
                  </a:lnTo>
                  <a:lnTo>
                    <a:pt x="51" y="249"/>
                  </a:lnTo>
                  <a:lnTo>
                    <a:pt x="69" y="241"/>
                  </a:lnTo>
                  <a:lnTo>
                    <a:pt x="78" y="234"/>
                  </a:lnTo>
                  <a:lnTo>
                    <a:pt x="81" y="231"/>
                  </a:lnTo>
                  <a:lnTo>
                    <a:pt x="82" y="228"/>
                  </a:lnTo>
                  <a:lnTo>
                    <a:pt x="82" y="228"/>
                  </a:lnTo>
                  <a:lnTo>
                    <a:pt x="84" y="219"/>
                  </a:lnTo>
                  <a:lnTo>
                    <a:pt x="82" y="206"/>
                  </a:lnTo>
                  <a:lnTo>
                    <a:pt x="81" y="189"/>
                  </a:lnTo>
                  <a:lnTo>
                    <a:pt x="81" y="189"/>
                  </a:lnTo>
                  <a:lnTo>
                    <a:pt x="78" y="176"/>
                  </a:lnTo>
                  <a:lnTo>
                    <a:pt x="77" y="170"/>
                  </a:lnTo>
                  <a:lnTo>
                    <a:pt x="77" y="167"/>
                  </a:lnTo>
                  <a:lnTo>
                    <a:pt x="75" y="165"/>
                  </a:lnTo>
                  <a:lnTo>
                    <a:pt x="75" y="165"/>
                  </a:lnTo>
                  <a:lnTo>
                    <a:pt x="72" y="165"/>
                  </a:lnTo>
                  <a:lnTo>
                    <a:pt x="72" y="163"/>
                  </a:lnTo>
                  <a:lnTo>
                    <a:pt x="72" y="160"/>
                  </a:lnTo>
                  <a:lnTo>
                    <a:pt x="75" y="154"/>
                  </a:lnTo>
                  <a:lnTo>
                    <a:pt x="75" y="154"/>
                  </a:lnTo>
                  <a:lnTo>
                    <a:pt x="82" y="147"/>
                  </a:lnTo>
                  <a:lnTo>
                    <a:pt x="96" y="134"/>
                  </a:lnTo>
                  <a:lnTo>
                    <a:pt x="122" y="113"/>
                  </a:lnTo>
                  <a:lnTo>
                    <a:pt x="122" y="113"/>
                  </a:lnTo>
                  <a:lnTo>
                    <a:pt x="129" y="109"/>
                  </a:lnTo>
                  <a:lnTo>
                    <a:pt x="136" y="106"/>
                  </a:lnTo>
                  <a:lnTo>
                    <a:pt x="146" y="102"/>
                  </a:lnTo>
                  <a:lnTo>
                    <a:pt x="146" y="102"/>
                  </a:lnTo>
                  <a:lnTo>
                    <a:pt x="158" y="90"/>
                  </a:lnTo>
                  <a:lnTo>
                    <a:pt x="169" y="79"/>
                  </a:lnTo>
                  <a:lnTo>
                    <a:pt x="169" y="79"/>
                  </a:lnTo>
                  <a:lnTo>
                    <a:pt x="171" y="77"/>
                  </a:lnTo>
                  <a:lnTo>
                    <a:pt x="171" y="76"/>
                  </a:lnTo>
                  <a:lnTo>
                    <a:pt x="169" y="70"/>
                  </a:lnTo>
                  <a:lnTo>
                    <a:pt x="165" y="58"/>
                  </a:lnTo>
                  <a:lnTo>
                    <a:pt x="165" y="58"/>
                  </a:lnTo>
                  <a:lnTo>
                    <a:pt x="164" y="51"/>
                  </a:lnTo>
                  <a:lnTo>
                    <a:pt x="162" y="39"/>
                  </a:lnTo>
                  <a:lnTo>
                    <a:pt x="162" y="28"/>
                  </a:lnTo>
                  <a:lnTo>
                    <a:pt x="162" y="21"/>
                  </a:lnTo>
                  <a:lnTo>
                    <a:pt x="162" y="21"/>
                  </a:lnTo>
                  <a:lnTo>
                    <a:pt x="164" y="10"/>
                  </a:lnTo>
                  <a:lnTo>
                    <a:pt x="162" y="0"/>
                  </a:lnTo>
                  <a:lnTo>
                    <a:pt x="162" y="0"/>
                  </a:lnTo>
                  <a:lnTo>
                    <a:pt x="152" y="8"/>
                  </a:lnTo>
                  <a:lnTo>
                    <a:pt x="143" y="10"/>
                  </a:lnTo>
                  <a:lnTo>
                    <a:pt x="138" y="12"/>
                  </a:lnTo>
                  <a:lnTo>
                    <a:pt x="133" y="12"/>
                  </a:lnTo>
                  <a:lnTo>
                    <a:pt x="133" y="12"/>
                  </a:lnTo>
                  <a:lnTo>
                    <a:pt x="129"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64" name="Freeform 220"/>
            <p:cNvSpPr>
              <a:spLocks/>
            </p:cNvSpPr>
            <p:nvPr/>
          </p:nvSpPr>
          <p:spPr bwMode="auto">
            <a:xfrm>
              <a:off x="4929188" y="5164566"/>
              <a:ext cx="236538" cy="192088"/>
            </a:xfrm>
            <a:custGeom>
              <a:avLst/>
              <a:gdLst>
                <a:gd name="T0" fmla="*/ 126 w 149"/>
                <a:gd name="T1" fmla="*/ 121 h 121"/>
                <a:gd name="T2" fmla="*/ 119 w 149"/>
                <a:gd name="T3" fmla="*/ 115 h 121"/>
                <a:gd name="T4" fmla="*/ 118 w 149"/>
                <a:gd name="T5" fmla="*/ 113 h 121"/>
                <a:gd name="T6" fmla="*/ 116 w 149"/>
                <a:gd name="T7" fmla="*/ 115 h 121"/>
                <a:gd name="T8" fmla="*/ 115 w 149"/>
                <a:gd name="T9" fmla="*/ 115 h 121"/>
                <a:gd name="T10" fmla="*/ 112 w 149"/>
                <a:gd name="T11" fmla="*/ 115 h 121"/>
                <a:gd name="T12" fmla="*/ 94 w 149"/>
                <a:gd name="T13" fmla="*/ 110 h 121"/>
                <a:gd name="T14" fmla="*/ 94 w 149"/>
                <a:gd name="T15" fmla="*/ 112 h 121"/>
                <a:gd name="T16" fmla="*/ 94 w 149"/>
                <a:gd name="T17" fmla="*/ 110 h 121"/>
                <a:gd name="T18" fmla="*/ 90 w 149"/>
                <a:gd name="T19" fmla="*/ 109 h 121"/>
                <a:gd name="T20" fmla="*/ 84 w 149"/>
                <a:gd name="T21" fmla="*/ 106 h 121"/>
                <a:gd name="T22" fmla="*/ 71 w 149"/>
                <a:gd name="T23" fmla="*/ 102 h 121"/>
                <a:gd name="T24" fmla="*/ 68 w 149"/>
                <a:gd name="T25" fmla="*/ 97 h 121"/>
                <a:gd name="T26" fmla="*/ 58 w 149"/>
                <a:gd name="T27" fmla="*/ 76 h 121"/>
                <a:gd name="T28" fmla="*/ 54 w 149"/>
                <a:gd name="T29" fmla="*/ 70 h 121"/>
                <a:gd name="T30" fmla="*/ 48 w 149"/>
                <a:gd name="T31" fmla="*/ 67 h 121"/>
                <a:gd name="T32" fmla="*/ 42 w 149"/>
                <a:gd name="T33" fmla="*/ 63 h 121"/>
                <a:gd name="T34" fmla="*/ 36 w 149"/>
                <a:gd name="T35" fmla="*/ 57 h 121"/>
                <a:gd name="T36" fmla="*/ 20 w 149"/>
                <a:gd name="T37" fmla="*/ 39 h 121"/>
                <a:gd name="T38" fmla="*/ 10 w 149"/>
                <a:gd name="T39" fmla="*/ 37 h 121"/>
                <a:gd name="T40" fmla="*/ 0 w 149"/>
                <a:gd name="T41" fmla="*/ 34 h 121"/>
                <a:gd name="T42" fmla="*/ 2 w 149"/>
                <a:gd name="T43" fmla="*/ 34 h 121"/>
                <a:gd name="T44" fmla="*/ 5 w 149"/>
                <a:gd name="T45" fmla="*/ 34 h 121"/>
                <a:gd name="T46" fmla="*/ 9 w 149"/>
                <a:gd name="T47" fmla="*/ 34 h 121"/>
                <a:gd name="T48" fmla="*/ 9 w 149"/>
                <a:gd name="T49" fmla="*/ 34 h 121"/>
                <a:gd name="T50" fmla="*/ 20 w 149"/>
                <a:gd name="T51" fmla="*/ 34 h 121"/>
                <a:gd name="T52" fmla="*/ 20 w 149"/>
                <a:gd name="T53" fmla="*/ 34 h 121"/>
                <a:gd name="T54" fmla="*/ 39 w 149"/>
                <a:gd name="T55" fmla="*/ 37 h 121"/>
                <a:gd name="T56" fmla="*/ 57 w 149"/>
                <a:gd name="T57" fmla="*/ 38 h 121"/>
                <a:gd name="T58" fmla="*/ 61 w 149"/>
                <a:gd name="T59" fmla="*/ 35 h 121"/>
                <a:gd name="T60" fmla="*/ 71 w 149"/>
                <a:gd name="T61" fmla="*/ 22 h 121"/>
                <a:gd name="T62" fmla="*/ 76 w 149"/>
                <a:gd name="T63" fmla="*/ 16 h 121"/>
                <a:gd name="T64" fmla="*/ 90 w 149"/>
                <a:gd name="T65" fmla="*/ 3 h 121"/>
                <a:gd name="T66" fmla="*/ 96 w 149"/>
                <a:gd name="T67" fmla="*/ 0 h 121"/>
                <a:gd name="T68" fmla="*/ 97 w 149"/>
                <a:gd name="T69" fmla="*/ 0 h 121"/>
                <a:gd name="T70" fmla="*/ 97 w 149"/>
                <a:gd name="T71" fmla="*/ 0 h 121"/>
                <a:gd name="T72" fmla="*/ 106 w 149"/>
                <a:gd name="T73" fmla="*/ 2 h 121"/>
                <a:gd name="T74" fmla="*/ 126 w 149"/>
                <a:gd name="T75" fmla="*/ 6 h 121"/>
                <a:gd name="T76" fmla="*/ 128 w 149"/>
                <a:gd name="T77" fmla="*/ 6 h 121"/>
                <a:gd name="T78" fmla="*/ 142 w 149"/>
                <a:gd name="T79" fmla="*/ 15 h 121"/>
                <a:gd name="T80" fmla="*/ 149 w 149"/>
                <a:gd name="T81" fmla="*/ 23 h 121"/>
                <a:gd name="T82" fmla="*/ 149 w 149"/>
                <a:gd name="T83" fmla="*/ 44 h 121"/>
                <a:gd name="T84" fmla="*/ 149 w 149"/>
                <a:gd name="T85" fmla="*/ 67 h 121"/>
                <a:gd name="T86" fmla="*/ 148 w 149"/>
                <a:gd name="T87" fmla="*/ 76 h 121"/>
                <a:gd name="T88" fmla="*/ 139 w 149"/>
                <a:gd name="T89" fmla="*/ 94 h 121"/>
                <a:gd name="T90" fmla="*/ 133 w 149"/>
                <a:gd name="T91" fmla="*/ 100 h 121"/>
                <a:gd name="T92" fmla="*/ 131 w 149"/>
                <a:gd name="T93" fmla="*/ 103 h 121"/>
                <a:gd name="T94" fmla="*/ 126 w 149"/>
                <a:gd name="T95"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9" h="121">
                  <a:moveTo>
                    <a:pt x="126" y="121"/>
                  </a:moveTo>
                  <a:lnTo>
                    <a:pt x="126" y="121"/>
                  </a:lnTo>
                  <a:lnTo>
                    <a:pt x="122" y="116"/>
                  </a:lnTo>
                  <a:lnTo>
                    <a:pt x="119" y="115"/>
                  </a:lnTo>
                  <a:lnTo>
                    <a:pt x="118" y="113"/>
                  </a:lnTo>
                  <a:lnTo>
                    <a:pt x="118" y="113"/>
                  </a:lnTo>
                  <a:lnTo>
                    <a:pt x="116" y="115"/>
                  </a:lnTo>
                  <a:lnTo>
                    <a:pt x="116" y="115"/>
                  </a:lnTo>
                  <a:lnTo>
                    <a:pt x="115" y="115"/>
                  </a:lnTo>
                  <a:lnTo>
                    <a:pt x="115" y="115"/>
                  </a:lnTo>
                  <a:lnTo>
                    <a:pt x="112" y="115"/>
                  </a:lnTo>
                  <a:lnTo>
                    <a:pt x="112" y="115"/>
                  </a:lnTo>
                  <a:lnTo>
                    <a:pt x="103" y="113"/>
                  </a:lnTo>
                  <a:lnTo>
                    <a:pt x="94" y="110"/>
                  </a:lnTo>
                  <a:lnTo>
                    <a:pt x="94" y="110"/>
                  </a:lnTo>
                  <a:lnTo>
                    <a:pt x="94" y="112"/>
                  </a:lnTo>
                  <a:lnTo>
                    <a:pt x="94" y="112"/>
                  </a:lnTo>
                  <a:lnTo>
                    <a:pt x="94" y="110"/>
                  </a:lnTo>
                  <a:lnTo>
                    <a:pt x="94" y="110"/>
                  </a:lnTo>
                  <a:lnTo>
                    <a:pt x="90" y="109"/>
                  </a:lnTo>
                  <a:lnTo>
                    <a:pt x="90" y="109"/>
                  </a:lnTo>
                  <a:lnTo>
                    <a:pt x="84" y="106"/>
                  </a:lnTo>
                  <a:lnTo>
                    <a:pt x="77" y="103"/>
                  </a:lnTo>
                  <a:lnTo>
                    <a:pt x="71" y="102"/>
                  </a:lnTo>
                  <a:lnTo>
                    <a:pt x="68" y="97"/>
                  </a:lnTo>
                  <a:lnTo>
                    <a:pt x="68" y="97"/>
                  </a:lnTo>
                  <a:lnTo>
                    <a:pt x="62" y="84"/>
                  </a:lnTo>
                  <a:lnTo>
                    <a:pt x="58" y="76"/>
                  </a:lnTo>
                  <a:lnTo>
                    <a:pt x="54" y="70"/>
                  </a:lnTo>
                  <a:lnTo>
                    <a:pt x="54" y="70"/>
                  </a:lnTo>
                  <a:lnTo>
                    <a:pt x="49" y="68"/>
                  </a:lnTo>
                  <a:lnTo>
                    <a:pt x="48" y="67"/>
                  </a:lnTo>
                  <a:lnTo>
                    <a:pt x="45" y="67"/>
                  </a:lnTo>
                  <a:lnTo>
                    <a:pt x="42" y="63"/>
                  </a:lnTo>
                  <a:lnTo>
                    <a:pt x="42" y="63"/>
                  </a:lnTo>
                  <a:lnTo>
                    <a:pt x="36" y="57"/>
                  </a:lnTo>
                  <a:lnTo>
                    <a:pt x="29" y="48"/>
                  </a:lnTo>
                  <a:lnTo>
                    <a:pt x="20" y="39"/>
                  </a:lnTo>
                  <a:lnTo>
                    <a:pt x="16" y="38"/>
                  </a:lnTo>
                  <a:lnTo>
                    <a:pt x="10" y="37"/>
                  </a:lnTo>
                  <a:lnTo>
                    <a:pt x="10" y="37"/>
                  </a:lnTo>
                  <a:lnTo>
                    <a:pt x="0" y="34"/>
                  </a:lnTo>
                  <a:lnTo>
                    <a:pt x="0" y="34"/>
                  </a:lnTo>
                  <a:lnTo>
                    <a:pt x="2" y="34"/>
                  </a:lnTo>
                  <a:lnTo>
                    <a:pt x="2" y="34"/>
                  </a:lnTo>
                  <a:lnTo>
                    <a:pt x="5" y="34"/>
                  </a:lnTo>
                  <a:lnTo>
                    <a:pt x="5" y="34"/>
                  </a:lnTo>
                  <a:lnTo>
                    <a:pt x="9" y="34"/>
                  </a:lnTo>
                  <a:lnTo>
                    <a:pt x="9" y="34"/>
                  </a:lnTo>
                  <a:lnTo>
                    <a:pt x="9" y="34"/>
                  </a:lnTo>
                  <a:lnTo>
                    <a:pt x="9" y="34"/>
                  </a:lnTo>
                  <a:lnTo>
                    <a:pt x="20" y="34"/>
                  </a:lnTo>
                  <a:lnTo>
                    <a:pt x="20" y="34"/>
                  </a:lnTo>
                  <a:lnTo>
                    <a:pt x="20" y="34"/>
                  </a:lnTo>
                  <a:lnTo>
                    <a:pt x="20" y="34"/>
                  </a:lnTo>
                  <a:lnTo>
                    <a:pt x="39" y="37"/>
                  </a:lnTo>
                  <a:lnTo>
                    <a:pt x="57" y="38"/>
                  </a:lnTo>
                  <a:lnTo>
                    <a:pt x="57" y="38"/>
                  </a:lnTo>
                  <a:lnTo>
                    <a:pt x="58" y="37"/>
                  </a:lnTo>
                  <a:lnTo>
                    <a:pt x="61" y="35"/>
                  </a:lnTo>
                  <a:lnTo>
                    <a:pt x="65" y="29"/>
                  </a:lnTo>
                  <a:lnTo>
                    <a:pt x="71" y="22"/>
                  </a:lnTo>
                  <a:lnTo>
                    <a:pt x="76" y="16"/>
                  </a:lnTo>
                  <a:lnTo>
                    <a:pt x="76" y="16"/>
                  </a:lnTo>
                  <a:lnTo>
                    <a:pt x="84" y="6"/>
                  </a:lnTo>
                  <a:lnTo>
                    <a:pt x="90" y="3"/>
                  </a:lnTo>
                  <a:lnTo>
                    <a:pt x="96" y="0"/>
                  </a:lnTo>
                  <a:lnTo>
                    <a:pt x="96" y="0"/>
                  </a:lnTo>
                  <a:lnTo>
                    <a:pt x="97" y="0"/>
                  </a:lnTo>
                  <a:lnTo>
                    <a:pt x="97" y="0"/>
                  </a:lnTo>
                  <a:lnTo>
                    <a:pt x="97" y="0"/>
                  </a:lnTo>
                  <a:lnTo>
                    <a:pt x="97" y="0"/>
                  </a:lnTo>
                  <a:lnTo>
                    <a:pt x="106" y="2"/>
                  </a:lnTo>
                  <a:lnTo>
                    <a:pt x="106" y="2"/>
                  </a:lnTo>
                  <a:lnTo>
                    <a:pt x="126" y="6"/>
                  </a:lnTo>
                  <a:lnTo>
                    <a:pt x="126" y="6"/>
                  </a:lnTo>
                  <a:lnTo>
                    <a:pt x="128" y="6"/>
                  </a:lnTo>
                  <a:lnTo>
                    <a:pt x="128" y="6"/>
                  </a:lnTo>
                  <a:lnTo>
                    <a:pt x="135" y="9"/>
                  </a:lnTo>
                  <a:lnTo>
                    <a:pt x="142" y="15"/>
                  </a:lnTo>
                  <a:lnTo>
                    <a:pt x="146" y="19"/>
                  </a:lnTo>
                  <a:lnTo>
                    <a:pt x="149" y="23"/>
                  </a:lnTo>
                  <a:lnTo>
                    <a:pt x="149" y="23"/>
                  </a:lnTo>
                  <a:lnTo>
                    <a:pt x="149" y="44"/>
                  </a:lnTo>
                  <a:lnTo>
                    <a:pt x="149" y="44"/>
                  </a:lnTo>
                  <a:lnTo>
                    <a:pt x="149" y="67"/>
                  </a:lnTo>
                  <a:lnTo>
                    <a:pt x="149" y="67"/>
                  </a:lnTo>
                  <a:lnTo>
                    <a:pt x="148" y="76"/>
                  </a:lnTo>
                  <a:lnTo>
                    <a:pt x="144" y="86"/>
                  </a:lnTo>
                  <a:lnTo>
                    <a:pt x="139" y="94"/>
                  </a:lnTo>
                  <a:lnTo>
                    <a:pt x="136" y="99"/>
                  </a:lnTo>
                  <a:lnTo>
                    <a:pt x="133" y="100"/>
                  </a:lnTo>
                  <a:lnTo>
                    <a:pt x="133" y="100"/>
                  </a:lnTo>
                  <a:lnTo>
                    <a:pt x="131" y="103"/>
                  </a:lnTo>
                  <a:lnTo>
                    <a:pt x="129" y="109"/>
                  </a:lnTo>
                  <a:lnTo>
                    <a:pt x="126" y="121"/>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65" name="Freeform 221"/>
            <p:cNvSpPr>
              <a:spLocks/>
            </p:cNvSpPr>
            <p:nvPr/>
          </p:nvSpPr>
          <p:spPr bwMode="auto">
            <a:xfrm>
              <a:off x="4929188" y="5164566"/>
              <a:ext cx="236538" cy="192088"/>
            </a:xfrm>
            <a:custGeom>
              <a:avLst/>
              <a:gdLst>
                <a:gd name="T0" fmla="*/ 126 w 149"/>
                <a:gd name="T1" fmla="*/ 121 h 121"/>
                <a:gd name="T2" fmla="*/ 119 w 149"/>
                <a:gd name="T3" fmla="*/ 115 h 121"/>
                <a:gd name="T4" fmla="*/ 118 w 149"/>
                <a:gd name="T5" fmla="*/ 113 h 121"/>
                <a:gd name="T6" fmla="*/ 116 w 149"/>
                <a:gd name="T7" fmla="*/ 115 h 121"/>
                <a:gd name="T8" fmla="*/ 115 w 149"/>
                <a:gd name="T9" fmla="*/ 115 h 121"/>
                <a:gd name="T10" fmla="*/ 112 w 149"/>
                <a:gd name="T11" fmla="*/ 115 h 121"/>
                <a:gd name="T12" fmla="*/ 94 w 149"/>
                <a:gd name="T13" fmla="*/ 110 h 121"/>
                <a:gd name="T14" fmla="*/ 94 w 149"/>
                <a:gd name="T15" fmla="*/ 112 h 121"/>
                <a:gd name="T16" fmla="*/ 94 w 149"/>
                <a:gd name="T17" fmla="*/ 110 h 121"/>
                <a:gd name="T18" fmla="*/ 90 w 149"/>
                <a:gd name="T19" fmla="*/ 109 h 121"/>
                <a:gd name="T20" fmla="*/ 84 w 149"/>
                <a:gd name="T21" fmla="*/ 106 h 121"/>
                <a:gd name="T22" fmla="*/ 71 w 149"/>
                <a:gd name="T23" fmla="*/ 102 h 121"/>
                <a:gd name="T24" fmla="*/ 68 w 149"/>
                <a:gd name="T25" fmla="*/ 97 h 121"/>
                <a:gd name="T26" fmla="*/ 58 w 149"/>
                <a:gd name="T27" fmla="*/ 76 h 121"/>
                <a:gd name="T28" fmla="*/ 54 w 149"/>
                <a:gd name="T29" fmla="*/ 70 h 121"/>
                <a:gd name="T30" fmla="*/ 48 w 149"/>
                <a:gd name="T31" fmla="*/ 67 h 121"/>
                <a:gd name="T32" fmla="*/ 42 w 149"/>
                <a:gd name="T33" fmla="*/ 63 h 121"/>
                <a:gd name="T34" fmla="*/ 36 w 149"/>
                <a:gd name="T35" fmla="*/ 57 h 121"/>
                <a:gd name="T36" fmla="*/ 20 w 149"/>
                <a:gd name="T37" fmla="*/ 39 h 121"/>
                <a:gd name="T38" fmla="*/ 10 w 149"/>
                <a:gd name="T39" fmla="*/ 37 h 121"/>
                <a:gd name="T40" fmla="*/ 0 w 149"/>
                <a:gd name="T41" fmla="*/ 34 h 121"/>
                <a:gd name="T42" fmla="*/ 2 w 149"/>
                <a:gd name="T43" fmla="*/ 34 h 121"/>
                <a:gd name="T44" fmla="*/ 5 w 149"/>
                <a:gd name="T45" fmla="*/ 34 h 121"/>
                <a:gd name="T46" fmla="*/ 9 w 149"/>
                <a:gd name="T47" fmla="*/ 34 h 121"/>
                <a:gd name="T48" fmla="*/ 9 w 149"/>
                <a:gd name="T49" fmla="*/ 34 h 121"/>
                <a:gd name="T50" fmla="*/ 20 w 149"/>
                <a:gd name="T51" fmla="*/ 34 h 121"/>
                <a:gd name="T52" fmla="*/ 20 w 149"/>
                <a:gd name="T53" fmla="*/ 34 h 121"/>
                <a:gd name="T54" fmla="*/ 39 w 149"/>
                <a:gd name="T55" fmla="*/ 37 h 121"/>
                <a:gd name="T56" fmla="*/ 57 w 149"/>
                <a:gd name="T57" fmla="*/ 38 h 121"/>
                <a:gd name="T58" fmla="*/ 61 w 149"/>
                <a:gd name="T59" fmla="*/ 35 h 121"/>
                <a:gd name="T60" fmla="*/ 71 w 149"/>
                <a:gd name="T61" fmla="*/ 22 h 121"/>
                <a:gd name="T62" fmla="*/ 76 w 149"/>
                <a:gd name="T63" fmla="*/ 16 h 121"/>
                <a:gd name="T64" fmla="*/ 90 w 149"/>
                <a:gd name="T65" fmla="*/ 3 h 121"/>
                <a:gd name="T66" fmla="*/ 96 w 149"/>
                <a:gd name="T67" fmla="*/ 0 h 121"/>
                <a:gd name="T68" fmla="*/ 97 w 149"/>
                <a:gd name="T69" fmla="*/ 0 h 121"/>
                <a:gd name="T70" fmla="*/ 97 w 149"/>
                <a:gd name="T71" fmla="*/ 0 h 121"/>
                <a:gd name="T72" fmla="*/ 106 w 149"/>
                <a:gd name="T73" fmla="*/ 2 h 121"/>
                <a:gd name="T74" fmla="*/ 126 w 149"/>
                <a:gd name="T75" fmla="*/ 6 h 121"/>
                <a:gd name="T76" fmla="*/ 128 w 149"/>
                <a:gd name="T77" fmla="*/ 6 h 121"/>
                <a:gd name="T78" fmla="*/ 142 w 149"/>
                <a:gd name="T79" fmla="*/ 15 h 121"/>
                <a:gd name="T80" fmla="*/ 149 w 149"/>
                <a:gd name="T81" fmla="*/ 23 h 121"/>
                <a:gd name="T82" fmla="*/ 149 w 149"/>
                <a:gd name="T83" fmla="*/ 44 h 121"/>
                <a:gd name="T84" fmla="*/ 149 w 149"/>
                <a:gd name="T85" fmla="*/ 67 h 121"/>
                <a:gd name="T86" fmla="*/ 148 w 149"/>
                <a:gd name="T87" fmla="*/ 76 h 121"/>
                <a:gd name="T88" fmla="*/ 139 w 149"/>
                <a:gd name="T89" fmla="*/ 94 h 121"/>
                <a:gd name="T90" fmla="*/ 133 w 149"/>
                <a:gd name="T91" fmla="*/ 100 h 121"/>
                <a:gd name="T92" fmla="*/ 131 w 149"/>
                <a:gd name="T93" fmla="*/ 103 h 121"/>
                <a:gd name="T94" fmla="*/ 126 w 149"/>
                <a:gd name="T95"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9" h="121">
                  <a:moveTo>
                    <a:pt x="126" y="121"/>
                  </a:moveTo>
                  <a:lnTo>
                    <a:pt x="126" y="121"/>
                  </a:lnTo>
                  <a:lnTo>
                    <a:pt x="122" y="116"/>
                  </a:lnTo>
                  <a:lnTo>
                    <a:pt x="119" y="115"/>
                  </a:lnTo>
                  <a:lnTo>
                    <a:pt x="118" y="113"/>
                  </a:lnTo>
                  <a:lnTo>
                    <a:pt x="118" y="113"/>
                  </a:lnTo>
                  <a:lnTo>
                    <a:pt x="116" y="115"/>
                  </a:lnTo>
                  <a:lnTo>
                    <a:pt x="116" y="115"/>
                  </a:lnTo>
                  <a:lnTo>
                    <a:pt x="115" y="115"/>
                  </a:lnTo>
                  <a:lnTo>
                    <a:pt x="115" y="115"/>
                  </a:lnTo>
                  <a:lnTo>
                    <a:pt x="112" y="115"/>
                  </a:lnTo>
                  <a:lnTo>
                    <a:pt x="112" y="115"/>
                  </a:lnTo>
                  <a:lnTo>
                    <a:pt x="103" y="113"/>
                  </a:lnTo>
                  <a:lnTo>
                    <a:pt x="94" y="110"/>
                  </a:lnTo>
                  <a:lnTo>
                    <a:pt x="94" y="110"/>
                  </a:lnTo>
                  <a:lnTo>
                    <a:pt x="94" y="112"/>
                  </a:lnTo>
                  <a:lnTo>
                    <a:pt x="94" y="112"/>
                  </a:lnTo>
                  <a:lnTo>
                    <a:pt x="94" y="110"/>
                  </a:lnTo>
                  <a:lnTo>
                    <a:pt x="94" y="110"/>
                  </a:lnTo>
                  <a:lnTo>
                    <a:pt x="90" y="109"/>
                  </a:lnTo>
                  <a:lnTo>
                    <a:pt x="90" y="109"/>
                  </a:lnTo>
                  <a:lnTo>
                    <a:pt x="84" y="106"/>
                  </a:lnTo>
                  <a:lnTo>
                    <a:pt x="77" y="103"/>
                  </a:lnTo>
                  <a:lnTo>
                    <a:pt x="71" y="102"/>
                  </a:lnTo>
                  <a:lnTo>
                    <a:pt x="68" y="97"/>
                  </a:lnTo>
                  <a:lnTo>
                    <a:pt x="68" y="97"/>
                  </a:lnTo>
                  <a:lnTo>
                    <a:pt x="62" y="84"/>
                  </a:lnTo>
                  <a:lnTo>
                    <a:pt x="58" y="76"/>
                  </a:lnTo>
                  <a:lnTo>
                    <a:pt x="54" y="70"/>
                  </a:lnTo>
                  <a:lnTo>
                    <a:pt x="54" y="70"/>
                  </a:lnTo>
                  <a:lnTo>
                    <a:pt x="49" y="68"/>
                  </a:lnTo>
                  <a:lnTo>
                    <a:pt x="48" y="67"/>
                  </a:lnTo>
                  <a:lnTo>
                    <a:pt x="45" y="67"/>
                  </a:lnTo>
                  <a:lnTo>
                    <a:pt x="42" y="63"/>
                  </a:lnTo>
                  <a:lnTo>
                    <a:pt x="42" y="63"/>
                  </a:lnTo>
                  <a:lnTo>
                    <a:pt x="36" y="57"/>
                  </a:lnTo>
                  <a:lnTo>
                    <a:pt x="29" y="48"/>
                  </a:lnTo>
                  <a:lnTo>
                    <a:pt x="20" y="39"/>
                  </a:lnTo>
                  <a:lnTo>
                    <a:pt x="16" y="38"/>
                  </a:lnTo>
                  <a:lnTo>
                    <a:pt x="10" y="37"/>
                  </a:lnTo>
                  <a:lnTo>
                    <a:pt x="10" y="37"/>
                  </a:lnTo>
                  <a:lnTo>
                    <a:pt x="0" y="34"/>
                  </a:lnTo>
                  <a:lnTo>
                    <a:pt x="0" y="34"/>
                  </a:lnTo>
                  <a:lnTo>
                    <a:pt x="2" y="34"/>
                  </a:lnTo>
                  <a:lnTo>
                    <a:pt x="2" y="34"/>
                  </a:lnTo>
                  <a:lnTo>
                    <a:pt x="5" y="34"/>
                  </a:lnTo>
                  <a:lnTo>
                    <a:pt x="5" y="34"/>
                  </a:lnTo>
                  <a:lnTo>
                    <a:pt x="9" y="34"/>
                  </a:lnTo>
                  <a:lnTo>
                    <a:pt x="9" y="34"/>
                  </a:lnTo>
                  <a:lnTo>
                    <a:pt x="9" y="34"/>
                  </a:lnTo>
                  <a:lnTo>
                    <a:pt x="9" y="34"/>
                  </a:lnTo>
                  <a:lnTo>
                    <a:pt x="20" y="34"/>
                  </a:lnTo>
                  <a:lnTo>
                    <a:pt x="20" y="34"/>
                  </a:lnTo>
                  <a:lnTo>
                    <a:pt x="20" y="34"/>
                  </a:lnTo>
                  <a:lnTo>
                    <a:pt x="20" y="34"/>
                  </a:lnTo>
                  <a:lnTo>
                    <a:pt x="39" y="37"/>
                  </a:lnTo>
                  <a:lnTo>
                    <a:pt x="57" y="38"/>
                  </a:lnTo>
                  <a:lnTo>
                    <a:pt x="57" y="38"/>
                  </a:lnTo>
                  <a:lnTo>
                    <a:pt x="58" y="37"/>
                  </a:lnTo>
                  <a:lnTo>
                    <a:pt x="61" y="35"/>
                  </a:lnTo>
                  <a:lnTo>
                    <a:pt x="65" y="29"/>
                  </a:lnTo>
                  <a:lnTo>
                    <a:pt x="71" y="22"/>
                  </a:lnTo>
                  <a:lnTo>
                    <a:pt x="76" y="16"/>
                  </a:lnTo>
                  <a:lnTo>
                    <a:pt x="76" y="16"/>
                  </a:lnTo>
                  <a:lnTo>
                    <a:pt x="84" y="6"/>
                  </a:lnTo>
                  <a:lnTo>
                    <a:pt x="90" y="3"/>
                  </a:lnTo>
                  <a:lnTo>
                    <a:pt x="96" y="0"/>
                  </a:lnTo>
                  <a:lnTo>
                    <a:pt x="96" y="0"/>
                  </a:lnTo>
                  <a:lnTo>
                    <a:pt x="97" y="0"/>
                  </a:lnTo>
                  <a:lnTo>
                    <a:pt x="97" y="0"/>
                  </a:lnTo>
                  <a:lnTo>
                    <a:pt x="97" y="0"/>
                  </a:lnTo>
                  <a:lnTo>
                    <a:pt x="97" y="0"/>
                  </a:lnTo>
                  <a:lnTo>
                    <a:pt x="106" y="2"/>
                  </a:lnTo>
                  <a:lnTo>
                    <a:pt x="106" y="2"/>
                  </a:lnTo>
                  <a:lnTo>
                    <a:pt x="126" y="6"/>
                  </a:lnTo>
                  <a:lnTo>
                    <a:pt x="126" y="6"/>
                  </a:lnTo>
                  <a:lnTo>
                    <a:pt x="128" y="6"/>
                  </a:lnTo>
                  <a:lnTo>
                    <a:pt x="128" y="6"/>
                  </a:lnTo>
                  <a:lnTo>
                    <a:pt x="135" y="9"/>
                  </a:lnTo>
                  <a:lnTo>
                    <a:pt x="142" y="15"/>
                  </a:lnTo>
                  <a:lnTo>
                    <a:pt x="146" y="19"/>
                  </a:lnTo>
                  <a:lnTo>
                    <a:pt x="149" y="23"/>
                  </a:lnTo>
                  <a:lnTo>
                    <a:pt x="149" y="23"/>
                  </a:lnTo>
                  <a:lnTo>
                    <a:pt x="149" y="44"/>
                  </a:lnTo>
                  <a:lnTo>
                    <a:pt x="149" y="44"/>
                  </a:lnTo>
                  <a:lnTo>
                    <a:pt x="149" y="67"/>
                  </a:lnTo>
                  <a:lnTo>
                    <a:pt x="149" y="67"/>
                  </a:lnTo>
                  <a:lnTo>
                    <a:pt x="148" y="76"/>
                  </a:lnTo>
                  <a:lnTo>
                    <a:pt x="144" y="86"/>
                  </a:lnTo>
                  <a:lnTo>
                    <a:pt x="139" y="94"/>
                  </a:lnTo>
                  <a:lnTo>
                    <a:pt x="136" y="99"/>
                  </a:lnTo>
                  <a:lnTo>
                    <a:pt x="133" y="100"/>
                  </a:lnTo>
                  <a:lnTo>
                    <a:pt x="133" y="100"/>
                  </a:lnTo>
                  <a:lnTo>
                    <a:pt x="131" y="103"/>
                  </a:lnTo>
                  <a:lnTo>
                    <a:pt x="129" y="109"/>
                  </a:lnTo>
                  <a:lnTo>
                    <a:pt x="126" y="1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66" name="Freeform 222"/>
            <p:cNvSpPr>
              <a:spLocks noEditPoints="1"/>
            </p:cNvSpPr>
            <p:nvPr/>
          </p:nvSpPr>
          <p:spPr bwMode="auto">
            <a:xfrm>
              <a:off x="5097463" y="5167741"/>
              <a:ext cx="68263" cy="188913"/>
            </a:xfrm>
            <a:custGeom>
              <a:avLst/>
              <a:gdLst>
                <a:gd name="T0" fmla="*/ 20 w 43"/>
                <a:gd name="T1" fmla="*/ 4 h 119"/>
                <a:gd name="T2" fmla="*/ 20 w 43"/>
                <a:gd name="T3" fmla="*/ 4 h 119"/>
                <a:gd name="T4" fmla="*/ 0 w 43"/>
                <a:gd name="T5" fmla="*/ 0 h 119"/>
                <a:gd name="T6" fmla="*/ 0 w 43"/>
                <a:gd name="T7" fmla="*/ 0 h 119"/>
                <a:gd name="T8" fmla="*/ 0 w 43"/>
                <a:gd name="T9" fmla="*/ 0 h 119"/>
                <a:gd name="T10" fmla="*/ 0 w 43"/>
                <a:gd name="T11" fmla="*/ 0 h 119"/>
                <a:gd name="T12" fmla="*/ 20 w 43"/>
                <a:gd name="T13" fmla="*/ 4 h 119"/>
                <a:gd name="T14" fmla="*/ 20 w 43"/>
                <a:gd name="T15" fmla="*/ 119 h 119"/>
                <a:gd name="T16" fmla="*/ 20 w 43"/>
                <a:gd name="T17" fmla="*/ 119 h 119"/>
                <a:gd name="T18" fmla="*/ 20 w 43"/>
                <a:gd name="T19" fmla="*/ 119 h 119"/>
                <a:gd name="T20" fmla="*/ 23 w 43"/>
                <a:gd name="T21" fmla="*/ 107 h 119"/>
                <a:gd name="T22" fmla="*/ 25 w 43"/>
                <a:gd name="T23" fmla="*/ 101 h 119"/>
                <a:gd name="T24" fmla="*/ 27 w 43"/>
                <a:gd name="T25" fmla="*/ 98 h 119"/>
                <a:gd name="T26" fmla="*/ 27 w 43"/>
                <a:gd name="T27" fmla="*/ 98 h 119"/>
                <a:gd name="T28" fmla="*/ 30 w 43"/>
                <a:gd name="T29" fmla="*/ 97 h 119"/>
                <a:gd name="T30" fmla="*/ 33 w 43"/>
                <a:gd name="T31" fmla="*/ 92 h 119"/>
                <a:gd name="T32" fmla="*/ 38 w 43"/>
                <a:gd name="T33" fmla="*/ 84 h 119"/>
                <a:gd name="T34" fmla="*/ 42 w 43"/>
                <a:gd name="T35" fmla="*/ 74 h 119"/>
                <a:gd name="T36" fmla="*/ 43 w 43"/>
                <a:gd name="T37" fmla="*/ 65 h 119"/>
                <a:gd name="T38" fmla="*/ 43 w 43"/>
                <a:gd name="T39" fmla="*/ 65 h 119"/>
                <a:gd name="T40" fmla="*/ 43 w 43"/>
                <a:gd name="T41" fmla="*/ 42 h 119"/>
                <a:gd name="T42" fmla="*/ 43 w 43"/>
                <a:gd name="T43" fmla="*/ 42 h 119"/>
                <a:gd name="T44" fmla="*/ 43 w 43"/>
                <a:gd name="T45" fmla="*/ 65 h 119"/>
                <a:gd name="T46" fmla="*/ 43 w 43"/>
                <a:gd name="T47" fmla="*/ 65 h 119"/>
                <a:gd name="T48" fmla="*/ 42 w 43"/>
                <a:gd name="T49" fmla="*/ 74 h 119"/>
                <a:gd name="T50" fmla="*/ 38 w 43"/>
                <a:gd name="T51" fmla="*/ 84 h 119"/>
                <a:gd name="T52" fmla="*/ 33 w 43"/>
                <a:gd name="T53" fmla="*/ 92 h 119"/>
                <a:gd name="T54" fmla="*/ 30 w 43"/>
                <a:gd name="T55" fmla="*/ 97 h 119"/>
                <a:gd name="T56" fmla="*/ 27 w 43"/>
                <a:gd name="T57" fmla="*/ 98 h 119"/>
                <a:gd name="T58" fmla="*/ 27 w 43"/>
                <a:gd name="T59" fmla="*/ 98 h 119"/>
                <a:gd name="T60" fmla="*/ 25 w 43"/>
                <a:gd name="T61" fmla="*/ 101 h 119"/>
                <a:gd name="T62" fmla="*/ 23 w 43"/>
                <a:gd name="T63" fmla="*/ 107 h 119"/>
                <a:gd name="T64" fmla="*/ 20 w 43"/>
                <a:gd name="T6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 h="119">
                  <a:moveTo>
                    <a:pt x="20" y="4"/>
                  </a:moveTo>
                  <a:lnTo>
                    <a:pt x="20" y="4"/>
                  </a:lnTo>
                  <a:lnTo>
                    <a:pt x="0" y="0"/>
                  </a:lnTo>
                  <a:lnTo>
                    <a:pt x="0" y="0"/>
                  </a:lnTo>
                  <a:lnTo>
                    <a:pt x="0" y="0"/>
                  </a:lnTo>
                  <a:lnTo>
                    <a:pt x="0" y="0"/>
                  </a:lnTo>
                  <a:lnTo>
                    <a:pt x="20" y="4"/>
                  </a:lnTo>
                  <a:close/>
                  <a:moveTo>
                    <a:pt x="20" y="119"/>
                  </a:moveTo>
                  <a:lnTo>
                    <a:pt x="20" y="119"/>
                  </a:lnTo>
                  <a:lnTo>
                    <a:pt x="20" y="119"/>
                  </a:lnTo>
                  <a:lnTo>
                    <a:pt x="23" y="107"/>
                  </a:lnTo>
                  <a:lnTo>
                    <a:pt x="25" y="101"/>
                  </a:lnTo>
                  <a:lnTo>
                    <a:pt x="27" y="98"/>
                  </a:lnTo>
                  <a:lnTo>
                    <a:pt x="27" y="98"/>
                  </a:lnTo>
                  <a:lnTo>
                    <a:pt x="30" y="97"/>
                  </a:lnTo>
                  <a:lnTo>
                    <a:pt x="33" y="92"/>
                  </a:lnTo>
                  <a:lnTo>
                    <a:pt x="38" y="84"/>
                  </a:lnTo>
                  <a:lnTo>
                    <a:pt x="42" y="74"/>
                  </a:lnTo>
                  <a:lnTo>
                    <a:pt x="43" y="65"/>
                  </a:lnTo>
                  <a:lnTo>
                    <a:pt x="43" y="65"/>
                  </a:lnTo>
                  <a:lnTo>
                    <a:pt x="43" y="42"/>
                  </a:lnTo>
                  <a:lnTo>
                    <a:pt x="43" y="42"/>
                  </a:lnTo>
                  <a:lnTo>
                    <a:pt x="43" y="65"/>
                  </a:lnTo>
                  <a:lnTo>
                    <a:pt x="43" y="65"/>
                  </a:lnTo>
                  <a:lnTo>
                    <a:pt x="42" y="74"/>
                  </a:lnTo>
                  <a:lnTo>
                    <a:pt x="38" y="84"/>
                  </a:lnTo>
                  <a:lnTo>
                    <a:pt x="33" y="92"/>
                  </a:lnTo>
                  <a:lnTo>
                    <a:pt x="30" y="97"/>
                  </a:lnTo>
                  <a:lnTo>
                    <a:pt x="27" y="98"/>
                  </a:lnTo>
                  <a:lnTo>
                    <a:pt x="27" y="98"/>
                  </a:lnTo>
                  <a:lnTo>
                    <a:pt x="25" y="101"/>
                  </a:lnTo>
                  <a:lnTo>
                    <a:pt x="23" y="107"/>
                  </a:lnTo>
                  <a:lnTo>
                    <a:pt x="20" y="119"/>
                  </a:lnTo>
                  <a:close/>
                </a:path>
              </a:pathLst>
            </a:custGeom>
            <a:solidFill>
              <a:srgbClr val="60B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67" name="Freeform 223"/>
            <p:cNvSpPr>
              <a:spLocks/>
            </p:cNvSpPr>
            <p:nvPr/>
          </p:nvSpPr>
          <p:spPr bwMode="auto">
            <a:xfrm>
              <a:off x="5097463" y="5167741"/>
              <a:ext cx="31750" cy="6350"/>
            </a:xfrm>
            <a:custGeom>
              <a:avLst/>
              <a:gdLst>
                <a:gd name="T0" fmla="*/ 20 w 20"/>
                <a:gd name="T1" fmla="*/ 4 h 4"/>
                <a:gd name="T2" fmla="*/ 20 w 20"/>
                <a:gd name="T3" fmla="*/ 4 h 4"/>
                <a:gd name="T4" fmla="*/ 0 w 20"/>
                <a:gd name="T5" fmla="*/ 0 h 4"/>
                <a:gd name="T6" fmla="*/ 0 w 20"/>
                <a:gd name="T7" fmla="*/ 0 h 4"/>
                <a:gd name="T8" fmla="*/ 0 w 20"/>
                <a:gd name="T9" fmla="*/ 0 h 4"/>
                <a:gd name="T10" fmla="*/ 0 w 20"/>
                <a:gd name="T11" fmla="*/ 0 h 4"/>
                <a:gd name="T12" fmla="*/ 20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20" y="4"/>
                  </a:moveTo>
                  <a:lnTo>
                    <a:pt x="20" y="4"/>
                  </a:lnTo>
                  <a:lnTo>
                    <a:pt x="0" y="0"/>
                  </a:lnTo>
                  <a:lnTo>
                    <a:pt x="0" y="0"/>
                  </a:lnTo>
                  <a:lnTo>
                    <a:pt x="0" y="0"/>
                  </a:lnTo>
                  <a:lnTo>
                    <a:pt x="0" y="0"/>
                  </a:lnTo>
                  <a:lnTo>
                    <a:pt x="2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68" name="Freeform 224"/>
            <p:cNvSpPr>
              <a:spLocks/>
            </p:cNvSpPr>
            <p:nvPr/>
          </p:nvSpPr>
          <p:spPr bwMode="auto">
            <a:xfrm>
              <a:off x="5129213" y="5234416"/>
              <a:ext cx="36513" cy="122238"/>
            </a:xfrm>
            <a:custGeom>
              <a:avLst/>
              <a:gdLst>
                <a:gd name="T0" fmla="*/ 0 w 23"/>
                <a:gd name="T1" fmla="*/ 77 h 77"/>
                <a:gd name="T2" fmla="*/ 0 w 23"/>
                <a:gd name="T3" fmla="*/ 77 h 77"/>
                <a:gd name="T4" fmla="*/ 0 w 23"/>
                <a:gd name="T5" fmla="*/ 77 h 77"/>
                <a:gd name="T6" fmla="*/ 3 w 23"/>
                <a:gd name="T7" fmla="*/ 65 h 77"/>
                <a:gd name="T8" fmla="*/ 5 w 23"/>
                <a:gd name="T9" fmla="*/ 59 h 77"/>
                <a:gd name="T10" fmla="*/ 7 w 23"/>
                <a:gd name="T11" fmla="*/ 56 h 77"/>
                <a:gd name="T12" fmla="*/ 7 w 23"/>
                <a:gd name="T13" fmla="*/ 56 h 77"/>
                <a:gd name="T14" fmla="*/ 10 w 23"/>
                <a:gd name="T15" fmla="*/ 55 h 77"/>
                <a:gd name="T16" fmla="*/ 13 w 23"/>
                <a:gd name="T17" fmla="*/ 50 h 77"/>
                <a:gd name="T18" fmla="*/ 18 w 23"/>
                <a:gd name="T19" fmla="*/ 42 h 77"/>
                <a:gd name="T20" fmla="*/ 22 w 23"/>
                <a:gd name="T21" fmla="*/ 32 h 77"/>
                <a:gd name="T22" fmla="*/ 23 w 23"/>
                <a:gd name="T23" fmla="*/ 23 h 77"/>
                <a:gd name="T24" fmla="*/ 23 w 23"/>
                <a:gd name="T25" fmla="*/ 23 h 77"/>
                <a:gd name="T26" fmla="*/ 23 w 23"/>
                <a:gd name="T27" fmla="*/ 0 h 77"/>
                <a:gd name="T28" fmla="*/ 23 w 23"/>
                <a:gd name="T29" fmla="*/ 0 h 77"/>
                <a:gd name="T30" fmla="*/ 23 w 23"/>
                <a:gd name="T31" fmla="*/ 23 h 77"/>
                <a:gd name="T32" fmla="*/ 23 w 23"/>
                <a:gd name="T33" fmla="*/ 23 h 77"/>
                <a:gd name="T34" fmla="*/ 22 w 23"/>
                <a:gd name="T35" fmla="*/ 32 h 77"/>
                <a:gd name="T36" fmla="*/ 18 w 23"/>
                <a:gd name="T37" fmla="*/ 42 h 77"/>
                <a:gd name="T38" fmla="*/ 13 w 23"/>
                <a:gd name="T39" fmla="*/ 50 h 77"/>
                <a:gd name="T40" fmla="*/ 10 w 23"/>
                <a:gd name="T41" fmla="*/ 55 h 77"/>
                <a:gd name="T42" fmla="*/ 7 w 23"/>
                <a:gd name="T43" fmla="*/ 56 h 77"/>
                <a:gd name="T44" fmla="*/ 7 w 23"/>
                <a:gd name="T45" fmla="*/ 56 h 77"/>
                <a:gd name="T46" fmla="*/ 5 w 23"/>
                <a:gd name="T47" fmla="*/ 59 h 77"/>
                <a:gd name="T48" fmla="*/ 3 w 23"/>
                <a:gd name="T49" fmla="*/ 65 h 77"/>
                <a:gd name="T50" fmla="*/ 0 w 23"/>
                <a:gd name="T51"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77">
                  <a:moveTo>
                    <a:pt x="0" y="77"/>
                  </a:moveTo>
                  <a:lnTo>
                    <a:pt x="0" y="77"/>
                  </a:lnTo>
                  <a:lnTo>
                    <a:pt x="0" y="77"/>
                  </a:lnTo>
                  <a:lnTo>
                    <a:pt x="3" y="65"/>
                  </a:lnTo>
                  <a:lnTo>
                    <a:pt x="5" y="59"/>
                  </a:lnTo>
                  <a:lnTo>
                    <a:pt x="7" y="56"/>
                  </a:lnTo>
                  <a:lnTo>
                    <a:pt x="7" y="56"/>
                  </a:lnTo>
                  <a:lnTo>
                    <a:pt x="10" y="55"/>
                  </a:lnTo>
                  <a:lnTo>
                    <a:pt x="13" y="50"/>
                  </a:lnTo>
                  <a:lnTo>
                    <a:pt x="18" y="42"/>
                  </a:lnTo>
                  <a:lnTo>
                    <a:pt x="22" y="32"/>
                  </a:lnTo>
                  <a:lnTo>
                    <a:pt x="23" y="23"/>
                  </a:lnTo>
                  <a:lnTo>
                    <a:pt x="23" y="23"/>
                  </a:lnTo>
                  <a:lnTo>
                    <a:pt x="23" y="0"/>
                  </a:lnTo>
                  <a:lnTo>
                    <a:pt x="23" y="0"/>
                  </a:lnTo>
                  <a:lnTo>
                    <a:pt x="23" y="23"/>
                  </a:lnTo>
                  <a:lnTo>
                    <a:pt x="23" y="23"/>
                  </a:lnTo>
                  <a:lnTo>
                    <a:pt x="22" y="32"/>
                  </a:lnTo>
                  <a:lnTo>
                    <a:pt x="18" y="42"/>
                  </a:lnTo>
                  <a:lnTo>
                    <a:pt x="13" y="50"/>
                  </a:lnTo>
                  <a:lnTo>
                    <a:pt x="10" y="55"/>
                  </a:lnTo>
                  <a:lnTo>
                    <a:pt x="7" y="56"/>
                  </a:lnTo>
                  <a:lnTo>
                    <a:pt x="7" y="56"/>
                  </a:lnTo>
                  <a:lnTo>
                    <a:pt x="5" y="59"/>
                  </a:lnTo>
                  <a:lnTo>
                    <a:pt x="3" y="65"/>
                  </a:lnTo>
                  <a:lnTo>
                    <a:pt x="0" y="7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69" name="Freeform 225"/>
            <p:cNvSpPr>
              <a:spLocks/>
            </p:cNvSpPr>
            <p:nvPr/>
          </p:nvSpPr>
          <p:spPr bwMode="auto">
            <a:xfrm>
              <a:off x="4621213" y="4881991"/>
              <a:ext cx="25400" cy="31750"/>
            </a:xfrm>
            <a:custGeom>
              <a:avLst/>
              <a:gdLst>
                <a:gd name="T0" fmla="*/ 9 w 16"/>
                <a:gd name="T1" fmla="*/ 18 h 20"/>
                <a:gd name="T2" fmla="*/ 9 w 16"/>
                <a:gd name="T3" fmla="*/ 18 h 20"/>
                <a:gd name="T4" fmla="*/ 16 w 16"/>
                <a:gd name="T5" fmla="*/ 3 h 20"/>
                <a:gd name="T6" fmla="*/ 16 w 16"/>
                <a:gd name="T7" fmla="*/ 3 h 20"/>
                <a:gd name="T8" fmla="*/ 9 w 16"/>
                <a:gd name="T9" fmla="*/ 0 h 20"/>
                <a:gd name="T10" fmla="*/ 9 w 16"/>
                <a:gd name="T11" fmla="*/ 0 h 20"/>
                <a:gd name="T12" fmla="*/ 6 w 16"/>
                <a:gd name="T13" fmla="*/ 0 h 20"/>
                <a:gd name="T14" fmla="*/ 4 w 16"/>
                <a:gd name="T15" fmla="*/ 3 h 20"/>
                <a:gd name="T16" fmla="*/ 0 w 16"/>
                <a:gd name="T17" fmla="*/ 10 h 20"/>
                <a:gd name="T18" fmla="*/ 0 w 16"/>
                <a:gd name="T19" fmla="*/ 10 h 20"/>
                <a:gd name="T20" fmla="*/ 3 w 16"/>
                <a:gd name="T21" fmla="*/ 20 h 20"/>
                <a:gd name="T22" fmla="*/ 3 w 16"/>
                <a:gd name="T23" fmla="*/ 20 h 20"/>
                <a:gd name="T24" fmla="*/ 7 w 16"/>
                <a:gd name="T25" fmla="*/ 19 h 20"/>
                <a:gd name="T26" fmla="*/ 9 w 16"/>
                <a:gd name="T2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20">
                  <a:moveTo>
                    <a:pt x="9" y="18"/>
                  </a:moveTo>
                  <a:lnTo>
                    <a:pt x="9" y="18"/>
                  </a:lnTo>
                  <a:lnTo>
                    <a:pt x="16" y="3"/>
                  </a:lnTo>
                  <a:lnTo>
                    <a:pt x="16" y="3"/>
                  </a:lnTo>
                  <a:lnTo>
                    <a:pt x="9" y="0"/>
                  </a:lnTo>
                  <a:lnTo>
                    <a:pt x="9" y="0"/>
                  </a:lnTo>
                  <a:lnTo>
                    <a:pt x="6" y="0"/>
                  </a:lnTo>
                  <a:lnTo>
                    <a:pt x="4" y="3"/>
                  </a:lnTo>
                  <a:lnTo>
                    <a:pt x="0" y="10"/>
                  </a:lnTo>
                  <a:lnTo>
                    <a:pt x="0" y="10"/>
                  </a:lnTo>
                  <a:lnTo>
                    <a:pt x="3" y="20"/>
                  </a:lnTo>
                  <a:lnTo>
                    <a:pt x="3" y="20"/>
                  </a:lnTo>
                  <a:lnTo>
                    <a:pt x="7" y="19"/>
                  </a:lnTo>
                  <a:lnTo>
                    <a:pt x="9" y="18"/>
                  </a:lnTo>
                  <a:close/>
                </a:path>
              </a:pathLst>
            </a:custGeom>
            <a:solidFill>
              <a:srgbClr val="92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70" name="Freeform 226"/>
            <p:cNvSpPr>
              <a:spLocks/>
            </p:cNvSpPr>
            <p:nvPr/>
          </p:nvSpPr>
          <p:spPr bwMode="auto">
            <a:xfrm>
              <a:off x="4621213" y="4881991"/>
              <a:ext cx="25400" cy="31750"/>
            </a:xfrm>
            <a:custGeom>
              <a:avLst/>
              <a:gdLst>
                <a:gd name="T0" fmla="*/ 9 w 16"/>
                <a:gd name="T1" fmla="*/ 18 h 20"/>
                <a:gd name="T2" fmla="*/ 9 w 16"/>
                <a:gd name="T3" fmla="*/ 18 h 20"/>
                <a:gd name="T4" fmla="*/ 16 w 16"/>
                <a:gd name="T5" fmla="*/ 3 h 20"/>
                <a:gd name="T6" fmla="*/ 16 w 16"/>
                <a:gd name="T7" fmla="*/ 3 h 20"/>
                <a:gd name="T8" fmla="*/ 9 w 16"/>
                <a:gd name="T9" fmla="*/ 0 h 20"/>
                <a:gd name="T10" fmla="*/ 9 w 16"/>
                <a:gd name="T11" fmla="*/ 0 h 20"/>
                <a:gd name="T12" fmla="*/ 6 w 16"/>
                <a:gd name="T13" fmla="*/ 0 h 20"/>
                <a:gd name="T14" fmla="*/ 4 w 16"/>
                <a:gd name="T15" fmla="*/ 3 h 20"/>
                <a:gd name="T16" fmla="*/ 0 w 16"/>
                <a:gd name="T17" fmla="*/ 10 h 20"/>
                <a:gd name="T18" fmla="*/ 0 w 16"/>
                <a:gd name="T19" fmla="*/ 10 h 20"/>
                <a:gd name="T20" fmla="*/ 3 w 16"/>
                <a:gd name="T21" fmla="*/ 20 h 20"/>
                <a:gd name="T22" fmla="*/ 3 w 16"/>
                <a:gd name="T23" fmla="*/ 20 h 20"/>
                <a:gd name="T24" fmla="*/ 7 w 16"/>
                <a:gd name="T25" fmla="*/ 19 h 20"/>
                <a:gd name="T26" fmla="*/ 9 w 16"/>
                <a:gd name="T2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20">
                  <a:moveTo>
                    <a:pt x="9" y="18"/>
                  </a:moveTo>
                  <a:lnTo>
                    <a:pt x="9" y="18"/>
                  </a:lnTo>
                  <a:lnTo>
                    <a:pt x="16" y="3"/>
                  </a:lnTo>
                  <a:lnTo>
                    <a:pt x="16" y="3"/>
                  </a:lnTo>
                  <a:lnTo>
                    <a:pt x="9" y="0"/>
                  </a:lnTo>
                  <a:lnTo>
                    <a:pt x="9" y="0"/>
                  </a:lnTo>
                  <a:lnTo>
                    <a:pt x="6" y="0"/>
                  </a:lnTo>
                  <a:lnTo>
                    <a:pt x="4" y="3"/>
                  </a:lnTo>
                  <a:lnTo>
                    <a:pt x="0" y="10"/>
                  </a:lnTo>
                  <a:lnTo>
                    <a:pt x="0" y="10"/>
                  </a:lnTo>
                  <a:lnTo>
                    <a:pt x="3" y="20"/>
                  </a:lnTo>
                  <a:lnTo>
                    <a:pt x="3" y="20"/>
                  </a:lnTo>
                  <a:lnTo>
                    <a:pt x="7" y="19"/>
                  </a:lnTo>
                  <a:lnTo>
                    <a:pt x="9"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71" name="Freeform 227"/>
            <p:cNvSpPr>
              <a:spLocks/>
            </p:cNvSpPr>
            <p:nvPr/>
          </p:nvSpPr>
          <p:spPr bwMode="auto">
            <a:xfrm>
              <a:off x="5499101" y="3975529"/>
              <a:ext cx="60325" cy="49213"/>
            </a:xfrm>
            <a:custGeom>
              <a:avLst/>
              <a:gdLst>
                <a:gd name="T0" fmla="*/ 0 w 38"/>
                <a:gd name="T1" fmla="*/ 12 h 31"/>
                <a:gd name="T2" fmla="*/ 0 w 38"/>
                <a:gd name="T3" fmla="*/ 12 h 31"/>
                <a:gd name="T4" fmla="*/ 9 w 38"/>
                <a:gd name="T5" fmla="*/ 13 h 31"/>
                <a:gd name="T6" fmla="*/ 9 w 38"/>
                <a:gd name="T7" fmla="*/ 13 h 31"/>
                <a:gd name="T8" fmla="*/ 12 w 38"/>
                <a:gd name="T9" fmla="*/ 16 h 31"/>
                <a:gd name="T10" fmla="*/ 13 w 38"/>
                <a:gd name="T11" fmla="*/ 19 h 31"/>
                <a:gd name="T12" fmla="*/ 18 w 38"/>
                <a:gd name="T13" fmla="*/ 29 h 31"/>
                <a:gd name="T14" fmla="*/ 18 w 38"/>
                <a:gd name="T15" fmla="*/ 29 h 31"/>
                <a:gd name="T16" fmla="*/ 21 w 38"/>
                <a:gd name="T17" fmla="*/ 31 h 31"/>
                <a:gd name="T18" fmla="*/ 24 w 38"/>
                <a:gd name="T19" fmla="*/ 29 h 31"/>
                <a:gd name="T20" fmla="*/ 29 w 38"/>
                <a:gd name="T21" fmla="*/ 27 h 31"/>
                <a:gd name="T22" fmla="*/ 29 w 38"/>
                <a:gd name="T23" fmla="*/ 27 h 31"/>
                <a:gd name="T24" fmla="*/ 38 w 38"/>
                <a:gd name="T25" fmla="*/ 22 h 31"/>
                <a:gd name="T26" fmla="*/ 38 w 38"/>
                <a:gd name="T27" fmla="*/ 22 h 31"/>
                <a:gd name="T28" fmla="*/ 28 w 38"/>
                <a:gd name="T29" fmla="*/ 9 h 31"/>
                <a:gd name="T30" fmla="*/ 28 w 38"/>
                <a:gd name="T31" fmla="*/ 9 h 31"/>
                <a:gd name="T32" fmla="*/ 26 w 38"/>
                <a:gd name="T33" fmla="*/ 6 h 31"/>
                <a:gd name="T34" fmla="*/ 26 w 38"/>
                <a:gd name="T35" fmla="*/ 5 h 31"/>
                <a:gd name="T36" fmla="*/ 29 w 38"/>
                <a:gd name="T37" fmla="*/ 2 h 31"/>
                <a:gd name="T38" fmla="*/ 29 w 38"/>
                <a:gd name="T39" fmla="*/ 2 h 31"/>
                <a:gd name="T40" fmla="*/ 12 w 38"/>
                <a:gd name="T41" fmla="*/ 0 h 31"/>
                <a:gd name="T42" fmla="*/ 0 w 38"/>
                <a:gd name="T43"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31">
                  <a:moveTo>
                    <a:pt x="0" y="12"/>
                  </a:moveTo>
                  <a:lnTo>
                    <a:pt x="0" y="12"/>
                  </a:lnTo>
                  <a:lnTo>
                    <a:pt x="9" y="13"/>
                  </a:lnTo>
                  <a:lnTo>
                    <a:pt x="9" y="13"/>
                  </a:lnTo>
                  <a:lnTo>
                    <a:pt x="12" y="16"/>
                  </a:lnTo>
                  <a:lnTo>
                    <a:pt x="13" y="19"/>
                  </a:lnTo>
                  <a:lnTo>
                    <a:pt x="18" y="29"/>
                  </a:lnTo>
                  <a:lnTo>
                    <a:pt x="18" y="29"/>
                  </a:lnTo>
                  <a:lnTo>
                    <a:pt x="21" y="31"/>
                  </a:lnTo>
                  <a:lnTo>
                    <a:pt x="24" y="29"/>
                  </a:lnTo>
                  <a:lnTo>
                    <a:pt x="29" y="27"/>
                  </a:lnTo>
                  <a:lnTo>
                    <a:pt x="29" y="27"/>
                  </a:lnTo>
                  <a:lnTo>
                    <a:pt x="38" y="22"/>
                  </a:lnTo>
                  <a:lnTo>
                    <a:pt x="38" y="22"/>
                  </a:lnTo>
                  <a:lnTo>
                    <a:pt x="28" y="9"/>
                  </a:lnTo>
                  <a:lnTo>
                    <a:pt x="28" y="9"/>
                  </a:lnTo>
                  <a:lnTo>
                    <a:pt x="26" y="6"/>
                  </a:lnTo>
                  <a:lnTo>
                    <a:pt x="26" y="5"/>
                  </a:lnTo>
                  <a:lnTo>
                    <a:pt x="29" y="2"/>
                  </a:lnTo>
                  <a:lnTo>
                    <a:pt x="29" y="2"/>
                  </a:lnTo>
                  <a:lnTo>
                    <a:pt x="12" y="0"/>
                  </a:lnTo>
                  <a:lnTo>
                    <a:pt x="0" y="12"/>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72" name="Freeform 228"/>
            <p:cNvSpPr>
              <a:spLocks/>
            </p:cNvSpPr>
            <p:nvPr/>
          </p:nvSpPr>
          <p:spPr bwMode="auto">
            <a:xfrm>
              <a:off x="5607051" y="4077129"/>
              <a:ext cx="34925" cy="44450"/>
            </a:xfrm>
            <a:custGeom>
              <a:avLst/>
              <a:gdLst>
                <a:gd name="T0" fmla="*/ 0 w 22"/>
                <a:gd name="T1" fmla="*/ 19 h 28"/>
                <a:gd name="T2" fmla="*/ 0 w 22"/>
                <a:gd name="T3" fmla="*/ 19 h 28"/>
                <a:gd name="T4" fmla="*/ 3 w 22"/>
                <a:gd name="T5" fmla="*/ 22 h 28"/>
                <a:gd name="T6" fmla="*/ 6 w 22"/>
                <a:gd name="T7" fmla="*/ 25 h 28"/>
                <a:gd name="T8" fmla="*/ 11 w 22"/>
                <a:gd name="T9" fmla="*/ 26 h 28"/>
                <a:gd name="T10" fmla="*/ 14 w 22"/>
                <a:gd name="T11" fmla="*/ 28 h 28"/>
                <a:gd name="T12" fmla="*/ 14 w 22"/>
                <a:gd name="T13" fmla="*/ 28 h 28"/>
                <a:gd name="T14" fmla="*/ 12 w 22"/>
                <a:gd name="T15" fmla="*/ 26 h 28"/>
                <a:gd name="T16" fmla="*/ 12 w 22"/>
                <a:gd name="T17" fmla="*/ 26 h 28"/>
                <a:gd name="T18" fmla="*/ 14 w 22"/>
                <a:gd name="T19" fmla="*/ 23 h 28"/>
                <a:gd name="T20" fmla="*/ 16 w 22"/>
                <a:gd name="T21" fmla="*/ 20 h 28"/>
                <a:gd name="T22" fmla="*/ 21 w 22"/>
                <a:gd name="T23" fmla="*/ 18 h 28"/>
                <a:gd name="T24" fmla="*/ 22 w 22"/>
                <a:gd name="T25" fmla="*/ 15 h 28"/>
                <a:gd name="T26" fmla="*/ 22 w 22"/>
                <a:gd name="T27" fmla="*/ 15 h 28"/>
                <a:gd name="T28" fmla="*/ 19 w 22"/>
                <a:gd name="T29" fmla="*/ 6 h 28"/>
                <a:gd name="T30" fmla="*/ 16 w 22"/>
                <a:gd name="T31" fmla="*/ 2 h 28"/>
                <a:gd name="T32" fmla="*/ 14 w 22"/>
                <a:gd name="T33" fmla="*/ 0 h 28"/>
                <a:gd name="T34" fmla="*/ 14 w 22"/>
                <a:gd name="T35" fmla="*/ 0 h 28"/>
                <a:gd name="T36" fmla="*/ 12 w 22"/>
                <a:gd name="T37" fmla="*/ 2 h 28"/>
                <a:gd name="T38" fmla="*/ 9 w 22"/>
                <a:gd name="T39" fmla="*/ 5 h 28"/>
                <a:gd name="T40" fmla="*/ 8 w 22"/>
                <a:gd name="T41" fmla="*/ 7 h 28"/>
                <a:gd name="T42" fmla="*/ 6 w 22"/>
                <a:gd name="T43" fmla="*/ 10 h 28"/>
                <a:gd name="T44" fmla="*/ 6 w 22"/>
                <a:gd name="T45" fmla="*/ 10 h 28"/>
                <a:gd name="T46" fmla="*/ 5 w 22"/>
                <a:gd name="T47" fmla="*/ 10 h 28"/>
                <a:gd name="T48" fmla="*/ 3 w 22"/>
                <a:gd name="T49" fmla="*/ 9 h 28"/>
                <a:gd name="T50" fmla="*/ 0 w 22"/>
                <a:gd name="T51" fmla="*/ 7 h 28"/>
                <a:gd name="T52" fmla="*/ 0 w 22"/>
                <a:gd name="T53" fmla="*/ 7 h 28"/>
                <a:gd name="T54" fmla="*/ 0 w 22"/>
                <a:gd name="T55" fmla="*/ 13 h 28"/>
                <a:gd name="T56" fmla="*/ 0 w 22"/>
                <a:gd name="T57"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 h="28">
                  <a:moveTo>
                    <a:pt x="0" y="19"/>
                  </a:moveTo>
                  <a:lnTo>
                    <a:pt x="0" y="19"/>
                  </a:lnTo>
                  <a:lnTo>
                    <a:pt x="3" y="22"/>
                  </a:lnTo>
                  <a:lnTo>
                    <a:pt x="6" y="25"/>
                  </a:lnTo>
                  <a:lnTo>
                    <a:pt x="11" y="26"/>
                  </a:lnTo>
                  <a:lnTo>
                    <a:pt x="14" y="28"/>
                  </a:lnTo>
                  <a:lnTo>
                    <a:pt x="14" y="28"/>
                  </a:lnTo>
                  <a:lnTo>
                    <a:pt x="12" y="26"/>
                  </a:lnTo>
                  <a:lnTo>
                    <a:pt x="12" y="26"/>
                  </a:lnTo>
                  <a:lnTo>
                    <a:pt x="14" y="23"/>
                  </a:lnTo>
                  <a:lnTo>
                    <a:pt x="16" y="20"/>
                  </a:lnTo>
                  <a:lnTo>
                    <a:pt x="21" y="18"/>
                  </a:lnTo>
                  <a:lnTo>
                    <a:pt x="22" y="15"/>
                  </a:lnTo>
                  <a:lnTo>
                    <a:pt x="22" y="15"/>
                  </a:lnTo>
                  <a:lnTo>
                    <a:pt x="19" y="6"/>
                  </a:lnTo>
                  <a:lnTo>
                    <a:pt x="16" y="2"/>
                  </a:lnTo>
                  <a:lnTo>
                    <a:pt x="14" y="0"/>
                  </a:lnTo>
                  <a:lnTo>
                    <a:pt x="14" y="0"/>
                  </a:lnTo>
                  <a:lnTo>
                    <a:pt x="12" y="2"/>
                  </a:lnTo>
                  <a:lnTo>
                    <a:pt x="9" y="5"/>
                  </a:lnTo>
                  <a:lnTo>
                    <a:pt x="8" y="7"/>
                  </a:lnTo>
                  <a:lnTo>
                    <a:pt x="6" y="10"/>
                  </a:lnTo>
                  <a:lnTo>
                    <a:pt x="6" y="10"/>
                  </a:lnTo>
                  <a:lnTo>
                    <a:pt x="5" y="10"/>
                  </a:lnTo>
                  <a:lnTo>
                    <a:pt x="3" y="9"/>
                  </a:lnTo>
                  <a:lnTo>
                    <a:pt x="0" y="7"/>
                  </a:lnTo>
                  <a:lnTo>
                    <a:pt x="0" y="7"/>
                  </a:lnTo>
                  <a:lnTo>
                    <a:pt x="0" y="13"/>
                  </a:lnTo>
                  <a:lnTo>
                    <a:pt x="0" y="19"/>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73" name="Freeform 229"/>
            <p:cNvSpPr>
              <a:spLocks/>
            </p:cNvSpPr>
            <p:nvPr/>
          </p:nvSpPr>
          <p:spPr bwMode="auto">
            <a:xfrm>
              <a:off x="5607051" y="4077129"/>
              <a:ext cx="34925" cy="44450"/>
            </a:xfrm>
            <a:custGeom>
              <a:avLst/>
              <a:gdLst>
                <a:gd name="T0" fmla="*/ 0 w 22"/>
                <a:gd name="T1" fmla="*/ 19 h 28"/>
                <a:gd name="T2" fmla="*/ 0 w 22"/>
                <a:gd name="T3" fmla="*/ 19 h 28"/>
                <a:gd name="T4" fmla="*/ 3 w 22"/>
                <a:gd name="T5" fmla="*/ 22 h 28"/>
                <a:gd name="T6" fmla="*/ 6 w 22"/>
                <a:gd name="T7" fmla="*/ 25 h 28"/>
                <a:gd name="T8" fmla="*/ 11 w 22"/>
                <a:gd name="T9" fmla="*/ 26 h 28"/>
                <a:gd name="T10" fmla="*/ 14 w 22"/>
                <a:gd name="T11" fmla="*/ 28 h 28"/>
                <a:gd name="T12" fmla="*/ 14 w 22"/>
                <a:gd name="T13" fmla="*/ 28 h 28"/>
                <a:gd name="T14" fmla="*/ 12 w 22"/>
                <a:gd name="T15" fmla="*/ 26 h 28"/>
                <a:gd name="T16" fmla="*/ 12 w 22"/>
                <a:gd name="T17" fmla="*/ 26 h 28"/>
                <a:gd name="T18" fmla="*/ 14 w 22"/>
                <a:gd name="T19" fmla="*/ 23 h 28"/>
                <a:gd name="T20" fmla="*/ 16 w 22"/>
                <a:gd name="T21" fmla="*/ 20 h 28"/>
                <a:gd name="T22" fmla="*/ 21 w 22"/>
                <a:gd name="T23" fmla="*/ 18 h 28"/>
                <a:gd name="T24" fmla="*/ 22 w 22"/>
                <a:gd name="T25" fmla="*/ 15 h 28"/>
                <a:gd name="T26" fmla="*/ 22 w 22"/>
                <a:gd name="T27" fmla="*/ 15 h 28"/>
                <a:gd name="T28" fmla="*/ 19 w 22"/>
                <a:gd name="T29" fmla="*/ 6 h 28"/>
                <a:gd name="T30" fmla="*/ 16 w 22"/>
                <a:gd name="T31" fmla="*/ 2 h 28"/>
                <a:gd name="T32" fmla="*/ 14 w 22"/>
                <a:gd name="T33" fmla="*/ 0 h 28"/>
                <a:gd name="T34" fmla="*/ 14 w 22"/>
                <a:gd name="T35" fmla="*/ 0 h 28"/>
                <a:gd name="T36" fmla="*/ 12 w 22"/>
                <a:gd name="T37" fmla="*/ 2 h 28"/>
                <a:gd name="T38" fmla="*/ 9 w 22"/>
                <a:gd name="T39" fmla="*/ 5 h 28"/>
                <a:gd name="T40" fmla="*/ 8 w 22"/>
                <a:gd name="T41" fmla="*/ 7 h 28"/>
                <a:gd name="T42" fmla="*/ 6 w 22"/>
                <a:gd name="T43" fmla="*/ 10 h 28"/>
                <a:gd name="T44" fmla="*/ 6 w 22"/>
                <a:gd name="T45" fmla="*/ 10 h 28"/>
                <a:gd name="T46" fmla="*/ 5 w 22"/>
                <a:gd name="T47" fmla="*/ 10 h 28"/>
                <a:gd name="T48" fmla="*/ 3 w 22"/>
                <a:gd name="T49" fmla="*/ 9 h 28"/>
                <a:gd name="T50" fmla="*/ 0 w 22"/>
                <a:gd name="T51" fmla="*/ 7 h 28"/>
                <a:gd name="T52" fmla="*/ 0 w 22"/>
                <a:gd name="T53" fmla="*/ 7 h 28"/>
                <a:gd name="T54" fmla="*/ 0 w 22"/>
                <a:gd name="T55" fmla="*/ 13 h 28"/>
                <a:gd name="T56" fmla="*/ 0 w 22"/>
                <a:gd name="T57"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 h="28">
                  <a:moveTo>
                    <a:pt x="0" y="19"/>
                  </a:moveTo>
                  <a:lnTo>
                    <a:pt x="0" y="19"/>
                  </a:lnTo>
                  <a:lnTo>
                    <a:pt x="3" y="22"/>
                  </a:lnTo>
                  <a:lnTo>
                    <a:pt x="6" y="25"/>
                  </a:lnTo>
                  <a:lnTo>
                    <a:pt x="11" y="26"/>
                  </a:lnTo>
                  <a:lnTo>
                    <a:pt x="14" y="28"/>
                  </a:lnTo>
                  <a:lnTo>
                    <a:pt x="14" y="28"/>
                  </a:lnTo>
                  <a:lnTo>
                    <a:pt x="12" y="26"/>
                  </a:lnTo>
                  <a:lnTo>
                    <a:pt x="12" y="26"/>
                  </a:lnTo>
                  <a:lnTo>
                    <a:pt x="14" y="23"/>
                  </a:lnTo>
                  <a:lnTo>
                    <a:pt x="16" y="20"/>
                  </a:lnTo>
                  <a:lnTo>
                    <a:pt x="21" y="18"/>
                  </a:lnTo>
                  <a:lnTo>
                    <a:pt x="22" y="15"/>
                  </a:lnTo>
                  <a:lnTo>
                    <a:pt x="22" y="15"/>
                  </a:lnTo>
                  <a:lnTo>
                    <a:pt x="19" y="6"/>
                  </a:lnTo>
                  <a:lnTo>
                    <a:pt x="16" y="2"/>
                  </a:lnTo>
                  <a:lnTo>
                    <a:pt x="14" y="0"/>
                  </a:lnTo>
                  <a:lnTo>
                    <a:pt x="14" y="0"/>
                  </a:lnTo>
                  <a:lnTo>
                    <a:pt x="12" y="2"/>
                  </a:lnTo>
                  <a:lnTo>
                    <a:pt x="9" y="5"/>
                  </a:lnTo>
                  <a:lnTo>
                    <a:pt x="8" y="7"/>
                  </a:lnTo>
                  <a:lnTo>
                    <a:pt x="6" y="10"/>
                  </a:lnTo>
                  <a:lnTo>
                    <a:pt x="6" y="10"/>
                  </a:lnTo>
                  <a:lnTo>
                    <a:pt x="5" y="10"/>
                  </a:lnTo>
                  <a:lnTo>
                    <a:pt x="3" y="9"/>
                  </a:lnTo>
                  <a:lnTo>
                    <a:pt x="0" y="7"/>
                  </a:lnTo>
                  <a:lnTo>
                    <a:pt x="0" y="7"/>
                  </a:lnTo>
                  <a:lnTo>
                    <a:pt x="0" y="13"/>
                  </a:lnTo>
                  <a:lnTo>
                    <a:pt x="0" y="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74" name="Freeform 230"/>
            <p:cNvSpPr>
              <a:spLocks/>
            </p:cNvSpPr>
            <p:nvPr/>
          </p:nvSpPr>
          <p:spPr bwMode="auto">
            <a:xfrm>
              <a:off x="4840288" y="3369104"/>
              <a:ext cx="233363" cy="177800"/>
            </a:xfrm>
            <a:custGeom>
              <a:avLst/>
              <a:gdLst>
                <a:gd name="T0" fmla="*/ 147 w 147"/>
                <a:gd name="T1" fmla="*/ 61 h 112"/>
                <a:gd name="T2" fmla="*/ 142 w 147"/>
                <a:gd name="T3" fmla="*/ 62 h 112"/>
                <a:gd name="T4" fmla="*/ 136 w 147"/>
                <a:gd name="T5" fmla="*/ 64 h 112"/>
                <a:gd name="T6" fmla="*/ 130 w 147"/>
                <a:gd name="T7" fmla="*/ 65 h 112"/>
                <a:gd name="T8" fmla="*/ 124 w 147"/>
                <a:gd name="T9" fmla="*/ 64 h 112"/>
                <a:gd name="T10" fmla="*/ 121 w 147"/>
                <a:gd name="T11" fmla="*/ 51 h 112"/>
                <a:gd name="T12" fmla="*/ 121 w 147"/>
                <a:gd name="T13" fmla="*/ 38 h 112"/>
                <a:gd name="T14" fmla="*/ 121 w 147"/>
                <a:gd name="T15" fmla="*/ 33 h 112"/>
                <a:gd name="T16" fmla="*/ 118 w 147"/>
                <a:gd name="T17" fmla="*/ 25 h 112"/>
                <a:gd name="T18" fmla="*/ 114 w 147"/>
                <a:gd name="T19" fmla="*/ 20 h 112"/>
                <a:gd name="T20" fmla="*/ 107 w 147"/>
                <a:gd name="T21" fmla="*/ 9 h 112"/>
                <a:gd name="T22" fmla="*/ 101 w 147"/>
                <a:gd name="T23" fmla="*/ 2 h 112"/>
                <a:gd name="T24" fmla="*/ 100 w 147"/>
                <a:gd name="T25" fmla="*/ 2 h 112"/>
                <a:gd name="T26" fmla="*/ 82 w 147"/>
                <a:gd name="T27" fmla="*/ 0 h 112"/>
                <a:gd name="T28" fmla="*/ 78 w 147"/>
                <a:gd name="T29" fmla="*/ 0 h 112"/>
                <a:gd name="T30" fmla="*/ 62 w 147"/>
                <a:gd name="T31" fmla="*/ 6 h 112"/>
                <a:gd name="T32" fmla="*/ 58 w 147"/>
                <a:gd name="T33" fmla="*/ 7 h 112"/>
                <a:gd name="T34" fmla="*/ 39 w 147"/>
                <a:gd name="T35" fmla="*/ 2 h 112"/>
                <a:gd name="T36" fmla="*/ 36 w 147"/>
                <a:gd name="T37" fmla="*/ 2 h 112"/>
                <a:gd name="T38" fmla="*/ 29 w 147"/>
                <a:gd name="T39" fmla="*/ 12 h 112"/>
                <a:gd name="T40" fmla="*/ 17 w 147"/>
                <a:gd name="T41" fmla="*/ 29 h 112"/>
                <a:gd name="T42" fmla="*/ 3 w 147"/>
                <a:gd name="T43" fmla="*/ 44 h 112"/>
                <a:gd name="T44" fmla="*/ 0 w 147"/>
                <a:gd name="T45" fmla="*/ 46 h 112"/>
                <a:gd name="T46" fmla="*/ 1 w 147"/>
                <a:gd name="T47" fmla="*/ 55 h 112"/>
                <a:gd name="T48" fmla="*/ 8 w 147"/>
                <a:gd name="T49" fmla="*/ 67 h 112"/>
                <a:gd name="T50" fmla="*/ 11 w 147"/>
                <a:gd name="T51" fmla="*/ 70 h 112"/>
                <a:gd name="T52" fmla="*/ 17 w 147"/>
                <a:gd name="T53" fmla="*/ 75 h 112"/>
                <a:gd name="T54" fmla="*/ 23 w 147"/>
                <a:gd name="T55" fmla="*/ 81 h 112"/>
                <a:gd name="T56" fmla="*/ 26 w 147"/>
                <a:gd name="T57" fmla="*/ 83 h 112"/>
                <a:gd name="T58" fmla="*/ 37 w 147"/>
                <a:gd name="T59" fmla="*/ 80 h 112"/>
                <a:gd name="T60" fmla="*/ 39 w 147"/>
                <a:gd name="T61" fmla="*/ 81 h 112"/>
                <a:gd name="T62" fmla="*/ 39 w 147"/>
                <a:gd name="T63" fmla="*/ 86 h 112"/>
                <a:gd name="T64" fmla="*/ 42 w 147"/>
                <a:gd name="T65" fmla="*/ 90 h 112"/>
                <a:gd name="T66" fmla="*/ 46 w 147"/>
                <a:gd name="T67" fmla="*/ 99 h 112"/>
                <a:gd name="T68" fmla="*/ 62 w 147"/>
                <a:gd name="T69" fmla="*/ 101 h 112"/>
                <a:gd name="T70" fmla="*/ 76 w 147"/>
                <a:gd name="T71" fmla="*/ 101 h 112"/>
                <a:gd name="T72" fmla="*/ 81 w 147"/>
                <a:gd name="T73" fmla="*/ 99 h 112"/>
                <a:gd name="T74" fmla="*/ 92 w 147"/>
                <a:gd name="T75" fmla="*/ 94 h 112"/>
                <a:gd name="T76" fmla="*/ 98 w 147"/>
                <a:gd name="T77" fmla="*/ 96 h 112"/>
                <a:gd name="T78" fmla="*/ 120 w 147"/>
                <a:gd name="T79" fmla="*/ 112 h 112"/>
                <a:gd name="T80" fmla="*/ 124 w 147"/>
                <a:gd name="T81" fmla="*/ 106 h 112"/>
                <a:gd name="T82" fmla="*/ 127 w 147"/>
                <a:gd name="T83" fmla="*/ 99 h 112"/>
                <a:gd name="T84" fmla="*/ 129 w 147"/>
                <a:gd name="T85" fmla="*/ 88 h 112"/>
                <a:gd name="T86" fmla="*/ 133 w 147"/>
                <a:gd name="T87" fmla="*/ 80 h 112"/>
                <a:gd name="T88" fmla="*/ 142 w 147"/>
                <a:gd name="T89" fmla="*/ 74 h 112"/>
                <a:gd name="T90" fmla="*/ 146 w 147"/>
                <a:gd name="T91" fmla="*/ 71 h 112"/>
                <a:gd name="T92" fmla="*/ 147 w 147"/>
                <a:gd name="T93" fmla="*/ 6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7" h="112">
                  <a:moveTo>
                    <a:pt x="147" y="61"/>
                  </a:moveTo>
                  <a:lnTo>
                    <a:pt x="147" y="61"/>
                  </a:lnTo>
                  <a:lnTo>
                    <a:pt x="147" y="61"/>
                  </a:lnTo>
                  <a:lnTo>
                    <a:pt x="142" y="62"/>
                  </a:lnTo>
                  <a:lnTo>
                    <a:pt x="136" y="64"/>
                  </a:lnTo>
                  <a:lnTo>
                    <a:pt x="136" y="64"/>
                  </a:lnTo>
                  <a:lnTo>
                    <a:pt x="133" y="65"/>
                  </a:lnTo>
                  <a:lnTo>
                    <a:pt x="130" y="65"/>
                  </a:lnTo>
                  <a:lnTo>
                    <a:pt x="124" y="64"/>
                  </a:lnTo>
                  <a:lnTo>
                    <a:pt x="124" y="64"/>
                  </a:lnTo>
                  <a:lnTo>
                    <a:pt x="123" y="59"/>
                  </a:lnTo>
                  <a:lnTo>
                    <a:pt x="121" y="51"/>
                  </a:lnTo>
                  <a:lnTo>
                    <a:pt x="120" y="42"/>
                  </a:lnTo>
                  <a:lnTo>
                    <a:pt x="121" y="38"/>
                  </a:lnTo>
                  <a:lnTo>
                    <a:pt x="121" y="38"/>
                  </a:lnTo>
                  <a:lnTo>
                    <a:pt x="121" y="33"/>
                  </a:lnTo>
                  <a:lnTo>
                    <a:pt x="121" y="29"/>
                  </a:lnTo>
                  <a:lnTo>
                    <a:pt x="118" y="25"/>
                  </a:lnTo>
                  <a:lnTo>
                    <a:pt x="114" y="20"/>
                  </a:lnTo>
                  <a:lnTo>
                    <a:pt x="114" y="20"/>
                  </a:lnTo>
                  <a:lnTo>
                    <a:pt x="110" y="16"/>
                  </a:lnTo>
                  <a:lnTo>
                    <a:pt x="107" y="9"/>
                  </a:lnTo>
                  <a:lnTo>
                    <a:pt x="103" y="3"/>
                  </a:lnTo>
                  <a:lnTo>
                    <a:pt x="101" y="2"/>
                  </a:lnTo>
                  <a:lnTo>
                    <a:pt x="100" y="2"/>
                  </a:lnTo>
                  <a:lnTo>
                    <a:pt x="100" y="2"/>
                  </a:lnTo>
                  <a:lnTo>
                    <a:pt x="88" y="0"/>
                  </a:lnTo>
                  <a:lnTo>
                    <a:pt x="82" y="0"/>
                  </a:lnTo>
                  <a:lnTo>
                    <a:pt x="78" y="0"/>
                  </a:lnTo>
                  <a:lnTo>
                    <a:pt x="78" y="0"/>
                  </a:lnTo>
                  <a:lnTo>
                    <a:pt x="69" y="4"/>
                  </a:lnTo>
                  <a:lnTo>
                    <a:pt x="62" y="6"/>
                  </a:lnTo>
                  <a:lnTo>
                    <a:pt x="58" y="7"/>
                  </a:lnTo>
                  <a:lnTo>
                    <a:pt x="58" y="7"/>
                  </a:lnTo>
                  <a:lnTo>
                    <a:pt x="49" y="6"/>
                  </a:lnTo>
                  <a:lnTo>
                    <a:pt x="39" y="2"/>
                  </a:lnTo>
                  <a:lnTo>
                    <a:pt x="39" y="2"/>
                  </a:lnTo>
                  <a:lnTo>
                    <a:pt x="36" y="2"/>
                  </a:lnTo>
                  <a:lnTo>
                    <a:pt x="34" y="3"/>
                  </a:lnTo>
                  <a:lnTo>
                    <a:pt x="29" y="12"/>
                  </a:lnTo>
                  <a:lnTo>
                    <a:pt x="29" y="12"/>
                  </a:lnTo>
                  <a:lnTo>
                    <a:pt x="17" y="29"/>
                  </a:lnTo>
                  <a:lnTo>
                    <a:pt x="8" y="38"/>
                  </a:lnTo>
                  <a:lnTo>
                    <a:pt x="3" y="44"/>
                  </a:lnTo>
                  <a:lnTo>
                    <a:pt x="3" y="44"/>
                  </a:lnTo>
                  <a:lnTo>
                    <a:pt x="0" y="46"/>
                  </a:lnTo>
                  <a:lnTo>
                    <a:pt x="0" y="46"/>
                  </a:lnTo>
                  <a:lnTo>
                    <a:pt x="1" y="55"/>
                  </a:lnTo>
                  <a:lnTo>
                    <a:pt x="6" y="61"/>
                  </a:lnTo>
                  <a:lnTo>
                    <a:pt x="8" y="67"/>
                  </a:lnTo>
                  <a:lnTo>
                    <a:pt x="11" y="70"/>
                  </a:lnTo>
                  <a:lnTo>
                    <a:pt x="11" y="70"/>
                  </a:lnTo>
                  <a:lnTo>
                    <a:pt x="14" y="72"/>
                  </a:lnTo>
                  <a:lnTo>
                    <a:pt x="17" y="75"/>
                  </a:lnTo>
                  <a:lnTo>
                    <a:pt x="19" y="78"/>
                  </a:lnTo>
                  <a:lnTo>
                    <a:pt x="23" y="81"/>
                  </a:lnTo>
                  <a:lnTo>
                    <a:pt x="23" y="81"/>
                  </a:lnTo>
                  <a:lnTo>
                    <a:pt x="26" y="83"/>
                  </a:lnTo>
                  <a:lnTo>
                    <a:pt x="30" y="83"/>
                  </a:lnTo>
                  <a:lnTo>
                    <a:pt x="37" y="80"/>
                  </a:lnTo>
                  <a:lnTo>
                    <a:pt x="37" y="80"/>
                  </a:lnTo>
                  <a:lnTo>
                    <a:pt x="39" y="81"/>
                  </a:lnTo>
                  <a:lnTo>
                    <a:pt x="39" y="83"/>
                  </a:lnTo>
                  <a:lnTo>
                    <a:pt x="39" y="86"/>
                  </a:lnTo>
                  <a:lnTo>
                    <a:pt x="42" y="90"/>
                  </a:lnTo>
                  <a:lnTo>
                    <a:pt x="42" y="90"/>
                  </a:lnTo>
                  <a:lnTo>
                    <a:pt x="45" y="93"/>
                  </a:lnTo>
                  <a:lnTo>
                    <a:pt x="46" y="99"/>
                  </a:lnTo>
                  <a:lnTo>
                    <a:pt x="46" y="99"/>
                  </a:lnTo>
                  <a:lnTo>
                    <a:pt x="62" y="101"/>
                  </a:lnTo>
                  <a:lnTo>
                    <a:pt x="71" y="101"/>
                  </a:lnTo>
                  <a:lnTo>
                    <a:pt x="76" y="101"/>
                  </a:lnTo>
                  <a:lnTo>
                    <a:pt x="76" y="101"/>
                  </a:lnTo>
                  <a:lnTo>
                    <a:pt x="81" y="99"/>
                  </a:lnTo>
                  <a:lnTo>
                    <a:pt x="87" y="96"/>
                  </a:lnTo>
                  <a:lnTo>
                    <a:pt x="92" y="94"/>
                  </a:lnTo>
                  <a:lnTo>
                    <a:pt x="95" y="94"/>
                  </a:lnTo>
                  <a:lnTo>
                    <a:pt x="98" y="96"/>
                  </a:lnTo>
                  <a:lnTo>
                    <a:pt x="98" y="96"/>
                  </a:lnTo>
                  <a:lnTo>
                    <a:pt x="120" y="112"/>
                  </a:lnTo>
                  <a:lnTo>
                    <a:pt x="120" y="112"/>
                  </a:lnTo>
                  <a:lnTo>
                    <a:pt x="124" y="106"/>
                  </a:lnTo>
                  <a:lnTo>
                    <a:pt x="124" y="106"/>
                  </a:lnTo>
                  <a:lnTo>
                    <a:pt x="127" y="99"/>
                  </a:lnTo>
                  <a:lnTo>
                    <a:pt x="129" y="88"/>
                  </a:lnTo>
                  <a:lnTo>
                    <a:pt x="129" y="88"/>
                  </a:lnTo>
                  <a:lnTo>
                    <a:pt x="130" y="84"/>
                  </a:lnTo>
                  <a:lnTo>
                    <a:pt x="133" y="80"/>
                  </a:lnTo>
                  <a:lnTo>
                    <a:pt x="137" y="77"/>
                  </a:lnTo>
                  <a:lnTo>
                    <a:pt x="142" y="74"/>
                  </a:lnTo>
                  <a:lnTo>
                    <a:pt x="142" y="74"/>
                  </a:lnTo>
                  <a:lnTo>
                    <a:pt x="146" y="71"/>
                  </a:lnTo>
                  <a:lnTo>
                    <a:pt x="147" y="68"/>
                  </a:lnTo>
                  <a:lnTo>
                    <a:pt x="147" y="65"/>
                  </a:lnTo>
                  <a:lnTo>
                    <a:pt x="147" y="61"/>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75" name="Freeform 231"/>
            <p:cNvSpPr>
              <a:spLocks/>
            </p:cNvSpPr>
            <p:nvPr/>
          </p:nvSpPr>
          <p:spPr bwMode="auto">
            <a:xfrm>
              <a:off x="4840288" y="3369104"/>
              <a:ext cx="233363" cy="177800"/>
            </a:xfrm>
            <a:custGeom>
              <a:avLst/>
              <a:gdLst>
                <a:gd name="T0" fmla="*/ 147 w 147"/>
                <a:gd name="T1" fmla="*/ 61 h 112"/>
                <a:gd name="T2" fmla="*/ 142 w 147"/>
                <a:gd name="T3" fmla="*/ 62 h 112"/>
                <a:gd name="T4" fmla="*/ 136 w 147"/>
                <a:gd name="T5" fmla="*/ 64 h 112"/>
                <a:gd name="T6" fmla="*/ 130 w 147"/>
                <a:gd name="T7" fmla="*/ 65 h 112"/>
                <a:gd name="T8" fmla="*/ 124 w 147"/>
                <a:gd name="T9" fmla="*/ 64 h 112"/>
                <a:gd name="T10" fmla="*/ 121 w 147"/>
                <a:gd name="T11" fmla="*/ 51 h 112"/>
                <a:gd name="T12" fmla="*/ 121 w 147"/>
                <a:gd name="T13" fmla="*/ 38 h 112"/>
                <a:gd name="T14" fmla="*/ 121 w 147"/>
                <a:gd name="T15" fmla="*/ 33 h 112"/>
                <a:gd name="T16" fmla="*/ 118 w 147"/>
                <a:gd name="T17" fmla="*/ 25 h 112"/>
                <a:gd name="T18" fmla="*/ 114 w 147"/>
                <a:gd name="T19" fmla="*/ 20 h 112"/>
                <a:gd name="T20" fmla="*/ 107 w 147"/>
                <a:gd name="T21" fmla="*/ 9 h 112"/>
                <a:gd name="T22" fmla="*/ 101 w 147"/>
                <a:gd name="T23" fmla="*/ 2 h 112"/>
                <a:gd name="T24" fmla="*/ 100 w 147"/>
                <a:gd name="T25" fmla="*/ 2 h 112"/>
                <a:gd name="T26" fmla="*/ 82 w 147"/>
                <a:gd name="T27" fmla="*/ 0 h 112"/>
                <a:gd name="T28" fmla="*/ 78 w 147"/>
                <a:gd name="T29" fmla="*/ 0 h 112"/>
                <a:gd name="T30" fmla="*/ 62 w 147"/>
                <a:gd name="T31" fmla="*/ 6 h 112"/>
                <a:gd name="T32" fmla="*/ 58 w 147"/>
                <a:gd name="T33" fmla="*/ 7 h 112"/>
                <a:gd name="T34" fmla="*/ 39 w 147"/>
                <a:gd name="T35" fmla="*/ 2 h 112"/>
                <a:gd name="T36" fmla="*/ 36 w 147"/>
                <a:gd name="T37" fmla="*/ 2 h 112"/>
                <a:gd name="T38" fmla="*/ 29 w 147"/>
                <a:gd name="T39" fmla="*/ 12 h 112"/>
                <a:gd name="T40" fmla="*/ 17 w 147"/>
                <a:gd name="T41" fmla="*/ 29 h 112"/>
                <a:gd name="T42" fmla="*/ 3 w 147"/>
                <a:gd name="T43" fmla="*/ 44 h 112"/>
                <a:gd name="T44" fmla="*/ 0 w 147"/>
                <a:gd name="T45" fmla="*/ 46 h 112"/>
                <a:gd name="T46" fmla="*/ 1 w 147"/>
                <a:gd name="T47" fmla="*/ 55 h 112"/>
                <a:gd name="T48" fmla="*/ 8 w 147"/>
                <a:gd name="T49" fmla="*/ 67 h 112"/>
                <a:gd name="T50" fmla="*/ 11 w 147"/>
                <a:gd name="T51" fmla="*/ 70 h 112"/>
                <a:gd name="T52" fmla="*/ 17 w 147"/>
                <a:gd name="T53" fmla="*/ 75 h 112"/>
                <a:gd name="T54" fmla="*/ 23 w 147"/>
                <a:gd name="T55" fmla="*/ 81 h 112"/>
                <a:gd name="T56" fmla="*/ 26 w 147"/>
                <a:gd name="T57" fmla="*/ 83 h 112"/>
                <a:gd name="T58" fmla="*/ 37 w 147"/>
                <a:gd name="T59" fmla="*/ 80 h 112"/>
                <a:gd name="T60" fmla="*/ 39 w 147"/>
                <a:gd name="T61" fmla="*/ 81 h 112"/>
                <a:gd name="T62" fmla="*/ 39 w 147"/>
                <a:gd name="T63" fmla="*/ 86 h 112"/>
                <a:gd name="T64" fmla="*/ 42 w 147"/>
                <a:gd name="T65" fmla="*/ 90 h 112"/>
                <a:gd name="T66" fmla="*/ 46 w 147"/>
                <a:gd name="T67" fmla="*/ 99 h 112"/>
                <a:gd name="T68" fmla="*/ 62 w 147"/>
                <a:gd name="T69" fmla="*/ 101 h 112"/>
                <a:gd name="T70" fmla="*/ 76 w 147"/>
                <a:gd name="T71" fmla="*/ 101 h 112"/>
                <a:gd name="T72" fmla="*/ 81 w 147"/>
                <a:gd name="T73" fmla="*/ 99 h 112"/>
                <a:gd name="T74" fmla="*/ 92 w 147"/>
                <a:gd name="T75" fmla="*/ 94 h 112"/>
                <a:gd name="T76" fmla="*/ 98 w 147"/>
                <a:gd name="T77" fmla="*/ 96 h 112"/>
                <a:gd name="T78" fmla="*/ 120 w 147"/>
                <a:gd name="T79" fmla="*/ 112 h 112"/>
                <a:gd name="T80" fmla="*/ 124 w 147"/>
                <a:gd name="T81" fmla="*/ 106 h 112"/>
                <a:gd name="T82" fmla="*/ 127 w 147"/>
                <a:gd name="T83" fmla="*/ 99 h 112"/>
                <a:gd name="T84" fmla="*/ 129 w 147"/>
                <a:gd name="T85" fmla="*/ 88 h 112"/>
                <a:gd name="T86" fmla="*/ 133 w 147"/>
                <a:gd name="T87" fmla="*/ 80 h 112"/>
                <a:gd name="T88" fmla="*/ 142 w 147"/>
                <a:gd name="T89" fmla="*/ 74 h 112"/>
                <a:gd name="T90" fmla="*/ 146 w 147"/>
                <a:gd name="T91" fmla="*/ 71 h 112"/>
                <a:gd name="T92" fmla="*/ 147 w 147"/>
                <a:gd name="T93" fmla="*/ 6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7" h="112">
                  <a:moveTo>
                    <a:pt x="147" y="61"/>
                  </a:moveTo>
                  <a:lnTo>
                    <a:pt x="147" y="61"/>
                  </a:lnTo>
                  <a:lnTo>
                    <a:pt x="147" y="61"/>
                  </a:lnTo>
                  <a:lnTo>
                    <a:pt x="142" y="62"/>
                  </a:lnTo>
                  <a:lnTo>
                    <a:pt x="136" y="64"/>
                  </a:lnTo>
                  <a:lnTo>
                    <a:pt x="136" y="64"/>
                  </a:lnTo>
                  <a:lnTo>
                    <a:pt x="133" y="65"/>
                  </a:lnTo>
                  <a:lnTo>
                    <a:pt x="130" y="65"/>
                  </a:lnTo>
                  <a:lnTo>
                    <a:pt x="124" y="64"/>
                  </a:lnTo>
                  <a:lnTo>
                    <a:pt x="124" y="64"/>
                  </a:lnTo>
                  <a:lnTo>
                    <a:pt x="123" y="59"/>
                  </a:lnTo>
                  <a:lnTo>
                    <a:pt x="121" y="51"/>
                  </a:lnTo>
                  <a:lnTo>
                    <a:pt x="120" y="42"/>
                  </a:lnTo>
                  <a:lnTo>
                    <a:pt x="121" y="38"/>
                  </a:lnTo>
                  <a:lnTo>
                    <a:pt x="121" y="38"/>
                  </a:lnTo>
                  <a:lnTo>
                    <a:pt x="121" y="33"/>
                  </a:lnTo>
                  <a:lnTo>
                    <a:pt x="121" y="29"/>
                  </a:lnTo>
                  <a:lnTo>
                    <a:pt x="118" y="25"/>
                  </a:lnTo>
                  <a:lnTo>
                    <a:pt x="114" y="20"/>
                  </a:lnTo>
                  <a:lnTo>
                    <a:pt x="114" y="20"/>
                  </a:lnTo>
                  <a:lnTo>
                    <a:pt x="110" y="16"/>
                  </a:lnTo>
                  <a:lnTo>
                    <a:pt x="107" y="9"/>
                  </a:lnTo>
                  <a:lnTo>
                    <a:pt x="103" y="3"/>
                  </a:lnTo>
                  <a:lnTo>
                    <a:pt x="101" y="2"/>
                  </a:lnTo>
                  <a:lnTo>
                    <a:pt x="100" y="2"/>
                  </a:lnTo>
                  <a:lnTo>
                    <a:pt x="100" y="2"/>
                  </a:lnTo>
                  <a:lnTo>
                    <a:pt x="88" y="0"/>
                  </a:lnTo>
                  <a:lnTo>
                    <a:pt x="82" y="0"/>
                  </a:lnTo>
                  <a:lnTo>
                    <a:pt x="78" y="0"/>
                  </a:lnTo>
                  <a:lnTo>
                    <a:pt x="78" y="0"/>
                  </a:lnTo>
                  <a:lnTo>
                    <a:pt x="69" y="4"/>
                  </a:lnTo>
                  <a:lnTo>
                    <a:pt x="62" y="6"/>
                  </a:lnTo>
                  <a:lnTo>
                    <a:pt x="58" y="7"/>
                  </a:lnTo>
                  <a:lnTo>
                    <a:pt x="58" y="7"/>
                  </a:lnTo>
                  <a:lnTo>
                    <a:pt x="49" y="6"/>
                  </a:lnTo>
                  <a:lnTo>
                    <a:pt x="39" y="2"/>
                  </a:lnTo>
                  <a:lnTo>
                    <a:pt x="39" y="2"/>
                  </a:lnTo>
                  <a:lnTo>
                    <a:pt x="36" y="2"/>
                  </a:lnTo>
                  <a:lnTo>
                    <a:pt x="34" y="3"/>
                  </a:lnTo>
                  <a:lnTo>
                    <a:pt x="29" y="12"/>
                  </a:lnTo>
                  <a:lnTo>
                    <a:pt x="29" y="12"/>
                  </a:lnTo>
                  <a:lnTo>
                    <a:pt x="17" y="29"/>
                  </a:lnTo>
                  <a:lnTo>
                    <a:pt x="8" y="38"/>
                  </a:lnTo>
                  <a:lnTo>
                    <a:pt x="3" y="44"/>
                  </a:lnTo>
                  <a:lnTo>
                    <a:pt x="3" y="44"/>
                  </a:lnTo>
                  <a:lnTo>
                    <a:pt x="0" y="46"/>
                  </a:lnTo>
                  <a:lnTo>
                    <a:pt x="0" y="46"/>
                  </a:lnTo>
                  <a:lnTo>
                    <a:pt x="1" y="55"/>
                  </a:lnTo>
                  <a:lnTo>
                    <a:pt x="6" y="61"/>
                  </a:lnTo>
                  <a:lnTo>
                    <a:pt x="8" y="67"/>
                  </a:lnTo>
                  <a:lnTo>
                    <a:pt x="11" y="70"/>
                  </a:lnTo>
                  <a:lnTo>
                    <a:pt x="11" y="70"/>
                  </a:lnTo>
                  <a:lnTo>
                    <a:pt x="14" y="72"/>
                  </a:lnTo>
                  <a:lnTo>
                    <a:pt x="17" y="75"/>
                  </a:lnTo>
                  <a:lnTo>
                    <a:pt x="19" y="78"/>
                  </a:lnTo>
                  <a:lnTo>
                    <a:pt x="23" y="81"/>
                  </a:lnTo>
                  <a:lnTo>
                    <a:pt x="23" y="81"/>
                  </a:lnTo>
                  <a:lnTo>
                    <a:pt x="26" y="83"/>
                  </a:lnTo>
                  <a:lnTo>
                    <a:pt x="30" y="83"/>
                  </a:lnTo>
                  <a:lnTo>
                    <a:pt x="37" y="80"/>
                  </a:lnTo>
                  <a:lnTo>
                    <a:pt x="37" y="80"/>
                  </a:lnTo>
                  <a:lnTo>
                    <a:pt x="39" y="81"/>
                  </a:lnTo>
                  <a:lnTo>
                    <a:pt x="39" y="83"/>
                  </a:lnTo>
                  <a:lnTo>
                    <a:pt x="39" y="86"/>
                  </a:lnTo>
                  <a:lnTo>
                    <a:pt x="42" y="90"/>
                  </a:lnTo>
                  <a:lnTo>
                    <a:pt x="42" y="90"/>
                  </a:lnTo>
                  <a:lnTo>
                    <a:pt x="45" y="93"/>
                  </a:lnTo>
                  <a:lnTo>
                    <a:pt x="46" y="99"/>
                  </a:lnTo>
                  <a:lnTo>
                    <a:pt x="46" y="99"/>
                  </a:lnTo>
                  <a:lnTo>
                    <a:pt x="62" y="101"/>
                  </a:lnTo>
                  <a:lnTo>
                    <a:pt x="71" y="101"/>
                  </a:lnTo>
                  <a:lnTo>
                    <a:pt x="76" y="101"/>
                  </a:lnTo>
                  <a:lnTo>
                    <a:pt x="76" y="101"/>
                  </a:lnTo>
                  <a:lnTo>
                    <a:pt x="81" y="99"/>
                  </a:lnTo>
                  <a:lnTo>
                    <a:pt x="87" y="96"/>
                  </a:lnTo>
                  <a:lnTo>
                    <a:pt x="92" y="94"/>
                  </a:lnTo>
                  <a:lnTo>
                    <a:pt x="95" y="94"/>
                  </a:lnTo>
                  <a:lnTo>
                    <a:pt x="98" y="96"/>
                  </a:lnTo>
                  <a:lnTo>
                    <a:pt x="98" y="96"/>
                  </a:lnTo>
                  <a:lnTo>
                    <a:pt x="120" y="112"/>
                  </a:lnTo>
                  <a:lnTo>
                    <a:pt x="120" y="112"/>
                  </a:lnTo>
                  <a:lnTo>
                    <a:pt x="124" y="106"/>
                  </a:lnTo>
                  <a:lnTo>
                    <a:pt x="124" y="106"/>
                  </a:lnTo>
                  <a:lnTo>
                    <a:pt x="127" y="99"/>
                  </a:lnTo>
                  <a:lnTo>
                    <a:pt x="129" y="88"/>
                  </a:lnTo>
                  <a:lnTo>
                    <a:pt x="129" y="88"/>
                  </a:lnTo>
                  <a:lnTo>
                    <a:pt x="130" y="84"/>
                  </a:lnTo>
                  <a:lnTo>
                    <a:pt x="133" y="80"/>
                  </a:lnTo>
                  <a:lnTo>
                    <a:pt x="137" y="77"/>
                  </a:lnTo>
                  <a:lnTo>
                    <a:pt x="142" y="74"/>
                  </a:lnTo>
                  <a:lnTo>
                    <a:pt x="142" y="74"/>
                  </a:lnTo>
                  <a:lnTo>
                    <a:pt x="146" y="71"/>
                  </a:lnTo>
                  <a:lnTo>
                    <a:pt x="147" y="68"/>
                  </a:lnTo>
                  <a:lnTo>
                    <a:pt x="147" y="65"/>
                  </a:lnTo>
                  <a:lnTo>
                    <a:pt x="147" y="6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76" name="Freeform 232"/>
            <p:cNvSpPr>
              <a:spLocks/>
            </p:cNvSpPr>
            <p:nvPr/>
          </p:nvSpPr>
          <p:spPr bwMode="auto">
            <a:xfrm>
              <a:off x="4979988" y="3589766"/>
              <a:ext cx="65088" cy="46038"/>
            </a:xfrm>
            <a:custGeom>
              <a:avLst/>
              <a:gdLst>
                <a:gd name="T0" fmla="*/ 2 w 41"/>
                <a:gd name="T1" fmla="*/ 6 h 29"/>
                <a:gd name="T2" fmla="*/ 2 w 41"/>
                <a:gd name="T3" fmla="*/ 6 h 29"/>
                <a:gd name="T4" fmla="*/ 0 w 41"/>
                <a:gd name="T5" fmla="*/ 10 h 29"/>
                <a:gd name="T6" fmla="*/ 2 w 41"/>
                <a:gd name="T7" fmla="*/ 16 h 29"/>
                <a:gd name="T8" fmla="*/ 6 w 41"/>
                <a:gd name="T9" fmla="*/ 29 h 29"/>
                <a:gd name="T10" fmla="*/ 6 w 41"/>
                <a:gd name="T11" fmla="*/ 29 h 29"/>
                <a:gd name="T12" fmla="*/ 9 w 41"/>
                <a:gd name="T13" fmla="*/ 29 h 29"/>
                <a:gd name="T14" fmla="*/ 9 w 41"/>
                <a:gd name="T15" fmla="*/ 29 h 29"/>
                <a:gd name="T16" fmla="*/ 13 w 41"/>
                <a:gd name="T17" fmla="*/ 29 h 29"/>
                <a:gd name="T18" fmla="*/ 16 w 41"/>
                <a:gd name="T19" fmla="*/ 29 h 29"/>
                <a:gd name="T20" fmla="*/ 20 w 41"/>
                <a:gd name="T21" fmla="*/ 26 h 29"/>
                <a:gd name="T22" fmla="*/ 20 w 41"/>
                <a:gd name="T23" fmla="*/ 26 h 29"/>
                <a:gd name="T24" fmla="*/ 26 w 41"/>
                <a:gd name="T25" fmla="*/ 26 h 29"/>
                <a:gd name="T26" fmla="*/ 33 w 41"/>
                <a:gd name="T27" fmla="*/ 20 h 29"/>
                <a:gd name="T28" fmla="*/ 33 w 41"/>
                <a:gd name="T29" fmla="*/ 20 h 29"/>
                <a:gd name="T30" fmla="*/ 41 w 41"/>
                <a:gd name="T31" fmla="*/ 16 h 29"/>
                <a:gd name="T32" fmla="*/ 36 w 41"/>
                <a:gd name="T33" fmla="*/ 15 h 29"/>
                <a:gd name="T34" fmla="*/ 36 w 41"/>
                <a:gd name="T35" fmla="*/ 15 h 29"/>
                <a:gd name="T36" fmla="*/ 33 w 41"/>
                <a:gd name="T37" fmla="*/ 12 h 29"/>
                <a:gd name="T38" fmla="*/ 33 w 41"/>
                <a:gd name="T39" fmla="*/ 7 h 29"/>
                <a:gd name="T40" fmla="*/ 35 w 41"/>
                <a:gd name="T41" fmla="*/ 4 h 29"/>
                <a:gd name="T42" fmla="*/ 35 w 41"/>
                <a:gd name="T43" fmla="*/ 0 h 29"/>
                <a:gd name="T44" fmla="*/ 35 w 41"/>
                <a:gd name="T45" fmla="*/ 0 h 29"/>
                <a:gd name="T46" fmla="*/ 13 w 41"/>
                <a:gd name="T47" fmla="*/ 0 h 29"/>
                <a:gd name="T48" fmla="*/ 4 w 41"/>
                <a:gd name="T49" fmla="*/ 3 h 29"/>
                <a:gd name="T50" fmla="*/ 3 w 41"/>
                <a:gd name="T51" fmla="*/ 4 h 29"/>
                <a:gd name="T52" fmla="*/ 2 w 41"/>
                <a:gd name="T53"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29">
                  <a:moveTo>
                    <a:pt x="2" y="6"/>
                  </a:moveTo>
                  <a:lnTo>
                    <a:pt x="2" y="6"/>
                  </a:lnTo>
                  <a:lnTo>
                    <a:pt x="0" y="10"/>
                  </a:lnTo>
                  <a:lnTo>
                    <a:pt x="2" y="16"/>
                  </a:lnTo>
                  <a:lnTo>
                    <a:pt x="6" y="29"/>
                  </a:lnTo>
                  <a:lnTo>
                    <a:pt x="6" y="29"/>
                  </a:lnTo>
                  <a:lnTo>
                    <a:pt x="9" y="29"/>
                  </a:lnTo>
                  <a:lnTo>
                    <a:pt x="9" y="29"/>
                  </a:lnTo>
                  <a:lnTo>
                    <a:pt x="13" y="29"/>
                  </a:lnTo>
                  <a:lnTo>
                    <a:pt x="16" y="29"/>
                  </a:lnTo>
                  <a:lnTo>
                    <a:pt x="20" y="26"/>
                  </a:lnTo>
                  <a:lnTo>
                    <a:pt x="20" y="26"/>
                  </a:lnTo>
                  <a:lnTo>
                    <a:pt x="26" y="26"/>
                  </a:lnTo>
                  <a:lnTo>
                    <a:pt x="33" y="20"/>
                  </a:lnTo>
                  <a:lnTo>
                    <a:pt x="33" y="20"/>
                  </a:lnTo>
                  <a:lnTo>
                    <a:pt x="41" y="16"/>
                  </a:lnTo>
                  <a:lnTo>
                    <a:pt x="36" y="15"/>
                  </a:lnTo>
                  <a:lnTo>
                    <a:pt x="36" y="15"/>
                  </a:lnTo>
                  <a:lnTo>
                    <a:pt x="33" y="12"/>
                  </a:lnTo>
                  <a:lnTo>
                    <a:pt x="33" y="7"/>
                  </a:lnTo>
                  <a:lnTo>
                    <a:pt x="35" y="4"/>
                  </a:lnTo>
                  <a:lnTo>
                    <a:pt x="35" y="0"/>
                  </a:lnTo>
                  <a:lnTo>
                    <a:pt x="35" y="0"/>
                  </a:lnTo>
                  <a:lnTo>
                    <a:pt x="13" y="0"/>
                  </a:lnTo>
                  <a:lnTo>
                    <a:pt x="4" y="3"/>
                  </a:lnTo>
                  <a:lnTo>
                    <a:pt x="3" y="4"/>
                  </a:lnTo>
                  <a:lnTo>
                    <a:pt x="2" y="6"/>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77" name="Freeform 233"/>
            <p:cNvSpPr>
              <a:spLocks/>
            </p:cNvSpPr>
            <p:nvPr/>
          </p:nvSpPr>
          <p:spPr bwMode="auto">
            <a:xfrm>
              <a:off x="4979988" y="3589766"/>
              <a:ext cx="65088" cy="46038"/>
            </a:xfrm>
            <a:custGeom>
              <a:avLst/>
              <a:gdLst>
                <a:gd name="T0" fmla="*/ 2 w 41"/>
                <a:gd name="T1" fmla="*/ 6 h 29"/>
                <a:gd name="T2" fmla="*/ 2 w 41"/>
                <a:gd name="T3" fmla="*/ 6 h 29"/>
                <a:gd name="T4" fmla="*/ 0 w 41"/>
                <a:gd name="T5" fmla="*/ 10 h 29"/>
                <a:gd name="T6" fmla="*/ 2 w 41"/>
                <a:gd name="T7" fmla="*/ 16 h 29"/>
                <a:gd name="T8" fmla="*/ 6 w 41"/>
                <a:gd name="T9" fmla="*/ 29 h 29"/>
                <a:gd name="T10" fmla="*/ 6 w 41"/>
                <a:gd name="T11" fmla="*/ 29 h 29"/>
                <a:gd name="T12" fmla="*/ 9 w 41"/>
                <a:gd name="T13" fmla="*/ 29 h 29"/>
                <a:gd name="T14" fmla="*/ 9 w 41"/>
                <a:gd name="T15" fmla="*/ 29 h 29"/>
                <a:gd name="T16" fmla="*/ 13 w 41"/>
                <a:gd name="T17" fmla="*/ 29 h 29"/>
                <a:gd name="T18" fmla="*/ 16 w 41"/>
                <a:gd name="T19" fmla="*/ 29 h 29"/>
                <a:gd name="T20" fmla="*/ 20 w 41"/>
                <a:gd name="T21" fmla="*/ 26 h 29"/>
                <a:gd name="T22" fmla="*/ 20 w 41"/>
                <a:gd name="T23" fmla="*/ 26 h 29"/>
                <a:gd name="T24" fmla="*/ 26 w 41"/>
                <a:gd name="T25" fmla="*/ 26 h 29"/>
                <a:gd name="T26" fmla="*/ 33 w 41"/>
                <a:gd name="T27" fmla="*/ 20 h 29"/>
                <a:gd name="T28" fmla="*/ 33 w 41"/>
                <a:gd name="T29" fmla="*/ 20 h 29"/>
                <a:gd name="T30" fmla="*/ 41 w 41"/>
                <a:gd name="T31" fmla="*/ 16 h 29"/>
                <a:gd name="T32" fmla="*/ 36 w 41"/>
                <a:gd name="T33" fmla="*/ 15 h 29"/>
                <a:gd name="T34" fmla="*/ 36 w 41"/>
                <a:gd name="T35" fmla="*/ 15 h 29"/>
                <a:gd name="T36" fmla="*/ 33 w 41"/>
                <a:gd name="T37" fmla="*/ 12 h 29"/>
                <a:gd name="T38" fmla="*/ 33 w 41"/>
                <a:gd name="T39" fmla="*/ 7 h 29"/>
                <a:gd name="T40" fmla="*/ 35 w 41"/>
                <a:gd name="T41" fmla="*/ 4 h 29"/>
                <a:gd name="T42" fmla="*/ 35 w 41"/>
                <a:gd name="T43" fmla="*/ 0 h 29"/>
                <a:gd name="T44" fmla="*/ 35 w 41"/>
                <a:gd name="T45" fmla="*/ 0 h 29"/>
                <a:gd name="T46" fmla="*/ 13 w 41"/>
                <a:gd name="T47" fmla="*/ 0 h 29"/>
                <a:gd name="T48" fmla="*/ 4 w 41"/>
                <a:gd name="T49" fmla="*/ 3 h 29"/>
                <a:gd name="T50" fmla="*/ 3 w 41"/>
                <a:gd name="T51" fmla="*/ 4 h 29"/>
                <a:gd name="T52" fmla="*/ 2 w 41"/>
                <a:gd name="T53"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29">
                  <a:moveTo>
                    <a:pt x="2" y="6"/>
                  </a:moveTo>
                  <a:lnTo>
                    <a:pt x="2" y="6"/>
                  </a:lnTo>
                  <a:lnTo>
                    <a:pt x="0" y="10"/>
                  </a:lnTo>
                  <a:lnTo>
                    <a:pt x="2" y="16"/>
                  </a:lnTo>
                  <a:lnTo>
                    <a:pt x="6" y="29"/>
                  </a:lnTo>
                  <a:lnTo>
                    <a:pt x="6" y="29"/>
                  </a:lnTo>
                  <a:lnTo>
                    <a:pt x="9" y="29"/>
                  </a:lnTo>
                  <a:lnTo>
                    <a:pt x="9" y="29"/>
                  </a:lnTo>
                  <a:lnTo>
                    <a:pt x="13" y="29"/>
                  </a:lnTo>
                  <a:lnTo>
                    <a:pt x="16" y="29"/>
                  </a:lnTo>
                  <a:lnTo>
                    <a:pt x="20" y="26"/>
                  </a:lnTo>
                  <a:lnTo>
                    <a:pt x="20" y="26"/>
                  </a:lnTo>
                  <a:lnTo>
                    <a:pt x="26" y="26"/>
                  </a:lnTo>
                  <a:lnTo>
                    <a:pt x="33" y="20"/>
                  </a:lnTo>
                  <a:lnTo>
                    <a:pt x="33" y="20"/>
                  </a:lnTo>
                  <a:lnTo>
                    <a:pt x="41" y="16"/>
                  </a:lnTo>
                  <a:lnTo>
                    <a:pt x="36" y="15"/>
                  </a:lnTo>
                  <a:lnTo>
                    <a:pt x="36" y="15"/>
                  </a:lnTo>
                  <a:lnTo>
                    <a:pt x="33" y="12"/>
                  </a:lnTo>
                  <a:lnTo>
                    <a:pt x="33" y="7"/>
                  </a:lnTo>
                  <a:lnTo>
                    <a:pt x="35" y="4"/>
                  </a:lnTo>
                  <a:lnTo>
                    <a:pt x="35" y="0"/>
                  </a:lnTo>
                  <a:lnTo>
                    <a:pt x="35" y="0"/>
                  </a:lnTo>
                  <a:lnTo>
                    <a:pt x="13" y="0"/>
                  </a:lnTo>
                  <a:lnTo>
                    <a:pt x="4" y="3"/>
                  </a:lnTo>
                  <a:lnTo>
                    <a:pt x="3" y="4"/>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78" name="Freeform 234"/>
            <p:cNvSpPr>
              <a:spLocks/>
            </p:cNvSpPr>
            <p:nvPr/>
          </p:nvSpPr>
          <p:spPr bwMode="auto">
            <a:xfrm>
              <a:off x="4516438" y="2969054"/>
              <a:ext cx="69850" cy="127000"/>
            </a:xfrm>
            <a:custGeom>
              <a:avLst/>
              <a:gdLst>
                <a:gd name="T0" fmla="*/ 26 w 44"/>
                <a:gd name="T1" fmla="*/ 71 h 80"/>
                <a:gd name="T2" fmla="*/ 30 w 44"/>
                <a:gd name="T3" fmla="*/ 71 h 80"/>
                <a:gd name="T4" fmla="*/ 39 w 44"/>
                <a:gd name="T5" fmla="*/ 70 h 80"/>
                <a:gd name="T6" fmla="*/ 40 w 44"/>
                <a:gd name="T7" fmla="*/ 68 h 80"/>
                <a:gd name="T8" fmla="*/ 36 w 44"/>
                <a:gd name="T9" fmla="*/ 65 h 80"/>
                <a:gd name="T10" fmla="*/ 27 w 44"/>
                <a:gd name="T11" fmla="*/ 62 h 80"/>
                <a:gd name="T12" fmla="*/ 26 w 44"/>
                <a:gd name="T13" fmla="*/ 59 h 80"/>
                <a:gd name="T14" fmla="*/ 36 w 44"/>
                <a:gd name="T15" fmla="*/ 46 h 80"/>
                <a:gd name="T16" fmla="*/ 42 w 44"/>
                <a:gd name="T17" fmla="*/ 41 h 80"/>
                <a:gd name="T18" fmla="*/ 44 w 44"/>
                <a:gd name="T19" fmla="*/ 38 h 80"/>
                <a:gd name="T20" fmla="*/ 44 w 44"/>
                <a:gd name="T21" fmla="*/ 36 h 80"/>
                <a:gd name="T22" fmla="*/ 40 w 44"/>
                <a:gd name="T23" fmla="*/ 35 h 80"/>
                <a:gd name="T24" fmla="*/ 36 w 44"/>
                <a:gd name="T25" fmla="*/ 36 h 80"/>
                <a:gd name="T26" fmla="*/ 33 w 44"/>
                <a:gd name="T27" fmla="*/ 35 h 80"/>
                <a:gd name="T28" fmla="*/ 33 w 44"/>
                <a:gd name="T29" fmla="*/ 23 h 80"/>
                <a:gd name="T30" fmla="*/ 34 w 44"/>
                <a:gd name="T31" fmla="*/ 19 h 80"/>
                <a:gd name="T32" fmla="*/ 36 w 44"/>
                <a:gd name="T33" fmla="*/ 16 h 80"/>
                <a:gd name="T34" fmla="*/ 37 w 44"/>
                <a:gd name="T35" fmla="*/ 1 h 80"/>
                <a:gd name="T36" fmla="*/ 37 w 44"/>
                <a:gd name="T37" fmla="*/ 0 h 80"/>
                <a:gd name="T38" fmla="*/ 33 w 44"/>
                <a:gd name="T39" fmla="*/ 1 h 80"/>
                <a:gd name="T40" fmla="*/ 27 w 44"/>
                <a:gd name="T41" fmla="*/ 9 h 80"/>
                <a:gd name="T42" fmla="*/ 21 w 44"/>
                <a:gd name="T43" fmla="*/ 17 h 80"/>
                <a:gd name="T44" fmla="*/ 23 w 44"/>
                <a:gd name="T45" fmla="*/ 20 h 80"/>
                <a:gd name="T46" fmla="*/ 24 w 44"/>
                <a:gd name="T47" fmla="*/ 23 h 80"/>
                <a:gd name="T48" fmla="*/ 17 w 44"/>
                <a:gd name="T49" fmla="*/ 30 h 80"/>
                <a:gd name="T50" fmla="*/ 14 w 44"/>
                <a:gd name="T51" fmla="*/ 29 h 80"/>
                <a:gd name="T52" fmla="*/ 10 w 44"/>
                <a:gd name="T53" fmla="*/ 19 h 80"/>
                <a:gd name="T54" fmla="*/ 8 w 44"/>
                <a:gd name="T55" fmla="*/ 19 h 80"/>
                <a:gd name="T56" fmla="*/ 2 w 44"/>
                <a:gd name="T57" fmla="*/ 28 h 80"/>
                <a:gd name="T58" fmla="*/ 2 w 44"/>
                <a:gd name="T59" fmla="*/ 32 h 80"/>
                <a:gd name="T60" fmla="*/ 1 w 44"/>
                <a:gd name="T61" fmla="*/ 45 h 80"/>
                <a:gd name="T62" fmla="*/ 1 w 44"/>
                <a:gd name="T63" fmla="*/ 49 h 80"/>
                <a:gd name="T64" fmla="*/ 1 w 44"/>
                <a:gd name="T65" fmla="*/ 57 h 80"/>
                <a:gd name="T66" fmla="*/ 4 w 44"/>
                <a:gd name="T67" fmla="*/ 67 h 80"/>
                <a:gd name="T68" fmla="*/ 30 w 44"/>
                <a:gd name="T69" fmla="*/ 80 h 80"/>
                <a:gd name="T70" fmla="*/ 26 w 44"/>
                <a:gd name="T71" fmla="*/ 7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 h="80">
                  <a:moveTo>
                    <a:pt x="26" y="71"/>
                  </a:moveTo>
                  <a:lnTo>
                    <a:pt x="26" y="71"/>
                  </a:lnTo>
                  <a:lnTo>
                    <a:pt x="27" y="71"/>
                  </a:lnTo>
                  <a:lnTo>
                    <a:pt x="30" y="71"/>
                  </a:lnTo>
                  <a:lnTo>
                    <a:pt x="34" y="71"/>
                  </a:lnTo>
                  <a:lnTo>
                    <a:pt x="39" y="70"/>
                  </a:lnTo>
                  <a:lnTo>
                    <a:pt x="39" y="70"/>
                  </a:lnTo>
                  <a:lnTo>
                    <a:pt x="40" y="68"/>
                  </a:lnTo>
                  <a:lnTo>
                    <a:pt x="40" y="67"/>
                  </a:lnTo>
                  <a:lnTo>
                    <a:pt x="36" y="65"/>
                  </a:lnTo>
                  <a:lnTo>
                    <a:pt x="27" y="62"/>
                  </a:lnTo>
                  <a:lnTo>
                    <a:pt x="27" y="62"/>
                  </a:lnTo>
                  <a:lnTo>
                    <a:pt x="26" y="61"/>
                  </a:lnTo>
                  <a:lnTo>
                    <a:pt x="26" y="59"/>
                  </a:lnTo>
                  <a:lnTo>
                    <a:pt x="27" y="57"/>
                  </a:lnTo>
                  <a:lnTo>
                    <a:pt x="36" y="46"/>
                  </a:lnTo>
                  <a:lnTo>
                    <a:pt x="36" y="46"/>
                  </a:lnTo>
                  <a:lnTo>
                    <a:pt x="42" y="41"/>
                  </a:lnTo>
                  <a:lnTo>
                    <a:pt x="43" y="39"/>
                  </a:lnTo>
                  <a:lnTo>
                    <a:pt x="44" y="38"/>
                  </a:lnTo>
                  <a:lnTo>
                    <a:pt x="44" y="38"/>
                  </a:lnTo>
                  <a:lnTo>
                    <a:pt x="44" y="36"/>
                  </a:lnTo>
                  <a:lnTo>
                    <a:pt x="43" y="35"/>
                  </a:lnTo>
                  <a:lnTo>
                    <a:pt x="40" y="35"/>
                  </a:lnTo>
                  <a:lnTo>
                    <a:pt x="36" y="36"/>
                  </a:lnTo>
                  <a:lnTo>
                    <a:pt x="36" y="36"/>
                  </a:lnTo>
                  <a:lnTo>
                    <a:pt x="34" y="36"/>
                  </a:lnTo>
                  <a:lnTo>
                    <a:pt x="33" y="35"/>
                  </a:lnTo>
                  <a:lnTo>
                    <a:pt x="33" y="29"/>
                  </a:lnTo>
                  <a:lnTo>
                    <a:pt x="33" y="23"/>
                  </a:lnTo>
                  <a:lnTo>
                    <a:pt x="33" y="20"/>
                  </a:lnTo>
                  <a:lnTo>
                    <a:pt x="34" y="19"/>
                  </a:lnTo>
                  <a:lnTo>
                    <a:pt x="34" y="19"/>
                  </a:lnTo>
                  <a:lnTo>
                    <a:pt x="36" y="16"/>
                  </a:lnTo>
                  <a:lnTo>
                    <a:pt x="37" y="12"/>
                  </a:lnTo>
                  <a:lnTo>
                    <a:pt x="37" y="1"/>
                  </a:lnTo>
                  <a:lnTo>
                    <a:pt x="37" y="1"/>
                  </a:lnTo>
                  <a:lnTo>
                    <a:pt x="37" y="0"/>
                  </a:lnTo>
                  <a:lnTo>
                    <a:pt x="36" y="0"/>
                  </a:lnTo>
                  <a:lnTo>
                    <a:pt x="33" y="1"/>
                  </a:lnTo>
                  <a:lnTo>
                    <a:pt x="27" y="9"/>
                  </a:lnTo>
                  <a:lnTo>
                    <a:pt x="27" y="9"/>
                  </a:lnTo>
                  <a:lnTo>
                    <a:pt x="21" y="15"/>
                  </a:lnTo>
                  <a:lnTo>
                    <a:pt x="21" y="17"/>
                  </a:lnTo>
                  <a:lnTo>
                    <a:pt x="23" y="20"/>
                  </a:lnTo>
                  <a:lnTo>
                    <a:pt x="23" y="20"/>
                  </a:lnTo>
                  <a:lnTo>
                    <a:pt x="24" y="22"/>
                  </a:lnTo>
                  <a:lnTo>
                    <a:pt x="24" y="23"/>
                  </a:lnTo>
                  <a:lnTo>
                    <a:pt x="21" y="26"/>
                  </a:lnTo>
                  <a:lnTo>
                    <a:pt x="17" y="30"/>
                  </a:lnTo>
                  <a:lnTo>
                    <a:pt x="17" y="30"/>
                  </a:lnTo>
                  <a:lnTo>
                    <a:pt x="14" y="29"/>
                  </a:lnTo>
                  <a:lnTo>
                    <a:pt x="13" y="26"/>
                  </a:lnTo>
                  <a:lnTo>
                    <a:pt x="10" y="19"/>
                  </a:lnTo>
                  <a:lnTo>
                    <a:pt x="10" y="19"/>
                  </a:lnTo>
                  <a:lnTo>
                    <a:pt x="8" y="19"/>
                  </a:lnTo>
                  <a:lnTo>
                    <a:pt x="7" y="20"/>
                  </a:lnTo>
                  <a:lnTo>
                    <a:pt x="2" y="28"/>
                  </a:lnTo>
                  <a:lnTo>
                    <a:pt x="2" y="28"/>
                  </a:lnTo>
                  <a:lnTo>
                    <a:pt x="2" y="32"/>
                  </a:lnTo>
                  <a:lnTo>
                    <a:pt x="1" y="38"/>
                  </a:lnTo>
                  <a:lnTo>
                    <a:pt x="1" y="45"/>
                  </a:lnTo>
                  <a:lnTo>
                    <a:pt x="1" y="49"/>
                  </a:lnTo>
                  <a:lnTo>
                    <a:pt x="1" y="49"/>
                  </a:lnTo>
                  <a:lnTo>
                    <a:pt x="0" y="52"/>
                  </a:lnTo>
                  <a:lnTo>
                    <a:pt x="1" y="57"/>
                  </a:lnTo>
                  <a:lnTo>
                    <a:pt x="4" y="67"/>
                  </a:lnTo>
                  <a:lnTo>
                    <a:pt x="4" y="67"/>
                  </a:lnTo>
                  <a:lnTo>
                    <a:pt x="7" y="80"/>
                  </a:lnTo>
                  <a:lnTo>
                    <a:pt x="30" y="80"/>
                  </a:lnTo>
                  <a:lnTo>
                    <a:pt x="30" y="80"/>
                  </a:lnTo>
                  <a:lnTo>
                    <a:pt x="26" y="75"/>
                  </a:lnTo>
                  <a:lnTo>
                    <a:pt x="26" y="71"/>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79" name="Freeform 235"/>
            <p:cNvSpPr>
              <a:spLocks/>
            </p:cNvSpPr>
            <p:nvPr/>
          </p:nvSpPr>
          <p:spPr bwMode="auto">
            <a:xfrm>
              <a:off x="4516438" y="2969054"/>
              <a:ext cx="69850" cy="127000"/>
            </a:xfrm>
            <a:custGeom>
              <a:avLst/>
              <a:gdLst>
                <a:gd name="T0" fmla="*/ 26 w 44"/>
                <a:gd name="T1" fmla="*/ 71 h 80"/>
                <a:gd name="T2" fmla="*/ 30 w 44"/>
                <a:gd name="T3" fmla="*/ 71 h 80"/>
                <a:gd name="T4" fmla="*/ 39 w 44"/>
                <a:gd name="T5" fmla="*/ 70 h 80"/>
                <a:gd name="T6" fmla="*/ 40 w 44"/>
                <a:gd name="T7" fmla="*/ 68 h 80"/>
                <a:gd name="T8" fmla="*/ 36 w 44"/>
                <a:gd name="T9" fmla="*/ 65 h 80"/>
                <a:gd name="T10" fmla="*/ 27 w 44"/>
                <a:gd name="T11" fmla="*/ 62 h 80"/>
                <a:gd name="T12" fmla="*/ 26 w 44"/>
                <a:gd name="T13" fmla="*/ 59 h 80"/>
                <a:gd name="T14" fmla="*/ 36 w 44"/>
                <a:gd name="T15" fmla="*/ 46 h 80"/>
                <a:gd name="T16" fmla="*/ 42 w 44"/>
                <a:gd name="T17" fmla="*/ 41 h 80"/>
                <a:gd name="T18" fmla="*/ 44 w 44"/>
                <a:gd name="T19" fmla="*/ 38 h 80"/>
                <a:gd name="T20" fmla="*/ 44 w 44"/>
                <a:gd name="T21" fmla="*/ 36 h 80"/>
                <a:gd name="T22" fmla="*/ 40 w 44"/>
                <a:gd name="T23" fmla="*/ 35 h 80"/>
                <a:gd name="T24" fmla="*/ 36 w 44"/>
                <a:gd name="T25" fmla="*/ 36 h 80"/>
                <a:gd name="T26" fmla="*/ 33 w 44"/>
                <a:gd name="T27" fmla="*/ 35 h 80"/>
                <a:gd name="T28" fmla="*/ 33 w 44"/>
                <a:gd name="T29" fmla="*/ 23 h 80"/>
                <a:gd name="T30" fmla="*/ 34 w 44"/>
                <a:gd name="T31" fmla="*/ 19 h 80"/>
                <a:gd name="T32" fmla="*/ 36 w 44"/>
                <a:gd name="T33" fmla="*/ 16 h 80"/>
                <a:gd name="T34" fmla="*/ 37 w 44"/>
                <a:gd name="T35" fmla="*/ 1 h 80"/>
                <a:gd name="T36" fmla="*/ 37 w 44"/>
                <a:gd name="T37" fmla="*/ 0 h 80"/>
                <a:gd name="T38" fmla="*/ 33 w 44"/>
                <a:gd name="T39" fmla="*/ 1 h 80"/>
                <a:gd name="T40" fmla="*/ 27 w 44"/>
                <a:gd name="T41" fmla="*/ 9 h 80"/>
                <a:gd name="T42" fmla="*/ 21 w 44"/>
                <a:gd name="T43" fmla="*/ 17 h 80"/>
                <a:gd name="T44" fmla="*/ 23 w 44"/>
                <a:gd name="T45" fmla="*/ 20 h 80"/>
                <a:gd name="T46" fmla="*/ 24 w 44"/>
                <a:gd name="T47" fmla="*/ 23 h 80"/>
                <a:gd name="T48" fmla="*/ 17 w 44"/>
                <a:gd name="T49" fmla="*/ 30 h 80"/>
                <a:gd name="T50" fmla="*/ 14 w 44"/>
                <a:gd name="T51" fmla="*/ 29 h 80"/>
                <a:gd name="T52" fmla="*/ 10 w 44"/>
                <a:gd name="T53" fmla="*/ 19 h 80"/>
                <a:gd name="T54" fmla="*/ 8 w 44"/>
                <a:gd name="T55" fmla="*/ 19 h 80"/>
                <a:gd name="T56" fmla="*/ 2 w 44"/>
                <a:gd name="T57" fmla="*/ 28 h 80"/>
                <a:gd name="T58" fmla="*/ 2 w 44"/>
                <a:gd name="T59" fmla="*/ 32 h 80"/>
                <a:gd name="T60" fmla="*/ 1 w 44"/>
                <a:gd name="T61" fmla="*/ 45 h 80"/>
                <a:gd name="T62" fmla="*/ 1 w 44"/>
                <a:gd name="T63" fmla="*/ 49 h 80"/>
                <a:gd name="T64" fmla="*/ 1 w 44"/>
                <a:gd name="T65" fmla="*/ 57 h 80"/>
                <a:gd name="T66" fmla="*/ 4 w 44"/>
                <a:gd name="T67" fmla="*/ 67 h 80"/>
                <a:gd name="T68" fmla="*/ 30 w 44"/>
                <a:gd name="T69" fmla="*/ 80 h 80"/>
                <a:gd name="T70" fmla="*/ 26 w 44"/>
                <a:gd name="T71" fmla="*/ 7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 h="80">
                  <a:moveTo>
                    <a:pt x="26" y="71"/>
                  </a:moveTo>
                  <a:lnTo>
                    <a:pt x="26" y="71"/>
                  </a:lnTo>
                  <a:lnTo>
                    <a:pt x="27" y="71"/>
                  </a:lnTo>
                  <a:lnTo>
                    <a:pt x="30" y="71"/>
                  </a:lnTo>
                  <a:lnTo>
                    <a:pt x="34" y="71"/>
                  </a:lnTo>
                  <a:lnTo>
                    <a:pt x="39" y="70"/>
                  </a:lnTo>
                  <a:lnTo>
                    <a:pt x="39" y="70"/>
                  </a:lnTo>
                  <a:lnTo>
                    <a:pt x="40" y="68"/>
                  </a:lnTo>
                  <a:lnTo>
                    <a:pt x="40" y="67"/>
                  </a:lnTo>
                  <a:lnTo>
                    <a:pt x="36" y="65"/>
                  </a:lnTo>
                  <a:lnTo>
                    <a:pt x="27" y="62"/>
                  </a:lnTo>
                  <a:lnTo>
                    <a:pt x="27" y="62"/>
                  </a:lnTo>
                  <a:lnTo>
                    <a:pt x="26" y="61"/>
                  </a:lnTo>
                  <a:lnTo>
                    <a:pt x="26" y="59"/>
                  </a:lnTo>
                  <a:lnTo>
                    <a:pt x="27" y="57"/>
                  </a:lnTo>
                  <a:lnTo>
                    <a:pt x="36" y="46"/>
                  </a:lnTo>
                  <a:lnTo>
                    <a:pt x="36" y="46"/>
                  </a:lnTo>
                  <a:lnTo>
                    <a:pt x="42" y="41"/>
                  </a:lnTo>
                  <a:lnTo>
                    <a:pt x="43" y="39"/>
                  </a:lnTo>
                  <a:lnTo>
                    <a:pt x="44" y="38"/>
                  </a:lnTo>
                  <a:lnTo>
                    <a:pt x="44" y="38"/>
                  </a:lnTo>
                  <a:lnTo>
                    <a:pt x="44" y="36"/>
                  </a:lnTo>
                  <a:lnTo>
                    <a:pt x="43" y="35"/>
                  </a:lnTo>
                  <a:lnTo>
                    <a:pt x="40" y="35"/>
                  </a:lnTo>
                  <a:lnTo>
                    <a:pt x="36" y="36"/>
                  </a:lnTo>
                  <a:lnTo>
                    <a:pt x="36" y="36"/>
                  </a:lnTo>
                  <a:lnTo>
                    <a:pt x="34" y="36"/>
                  </a:lnTo>
                  <a:lnTo>
                    <a:pt x="33" y="35"/>
                  </a:lnTo>
                  <a:lnTo>
                    <a:pt x="33" y="29"/>
                  </a:lnTo>
                  <a:lnTo>
                    <a:pt x="33" y="23"/>
                  </a:lnTo>
                  <a:lnTo>
                    <a:pt x="33" y="20"/>
                  </a:lnTo>
                  <a:lnTo>
                    <a:pt x="34" y="19"/>
                  </a:lnTo>
                  <a:lnTo>
                    <a:pt x="34" y="19"/>
                  </a:lnTo>
                  <a:lnTo>
                    <a:pt x="36" y="16"/>
                  </a:lnTo>
                  <a:lnTo>
                    <a:pt x="37" y="12"/>
                  </a:lnTo>
                  <a:lnTo>
                    <a:pt x="37" y="1"/>
                  </a:lnTo>
                  <a:lnTo>
                    <a:pt x="37" y="1"/>
                  </a:lnTo>
                  <a:lnTo>
                    <a:pt x="37" y="0"/>
                  </a:lnTo>
                  <a:lnTo>
                    <a:pt x="36" y="0"/>
                  </a:lnTo>
                  <a:lnTo>
                    <a:pt x="33" y="1"/>
                  </a:lnTo>
                  <a:lnTo>
                    <a:pt x="27" y="9"/>
                  </a:lnTo>
                  <a:lnTo>
                    <a:pt x="27" y="9"/>
                  </a:lnTo>
                  <a:lnTo>
                    <a:pt x="21" y="15"/>
                  </a:lnTo>
                  <a:lnTo>
                    <a:pt x="21" y="17"/>
                  </a:lnTo>
                  <a:lnTo>
                    <a:pt x="23" y="20"/>
                  </a:lnTo>
                  <a:lnTo>
                    <a:pt x="23" y="20"/>
                  </a:lnTo>
                  <a:lnTo>
                    <a:pt x="24" y="22"/>
                  </a:lnTo>
                  <a:lnTo>
                    <a:pt x="24" y="23"/>
                  </a:lnTo>
                  <a:lnTo>
                    <a:pt x="21" y="26"/>
                  </a:lnTo>
                  <a:lnTo>
                    <a:pt x="17" y="30"/>
                  </a:lnTo>
                  <a:lnTo>
                    <a:pt x="17" y="30"/>
                  </a:lnTo>
                  <a:lnTo>
                    <a:pt x="14" y="29"/>
                  </a:lnTo>
                  <a:lnTo>
                    <a:pt x="13" y="26"/>
                  </a:lnTo>
                  <a:lnTo>
                    <a:pt x="10" y="19"/>
                  </a:lnTo>
                  <a:lnTo>
                    <a:pt x="10" y="19"/>
                  </a:lnTo>
                  <a:lnTo>
                    <a:pt x="8" y="19"/>
                  </a:lnTo>
                  <a:lnTo>
                    <a:pt x="7" y="20"/>
                  </a:lnTo>
                  <a:lnTo>
                    <a:pt x="2" y="28"/>
                  </a:lnTo>
                  <a:lnTo>
                    <a:pt x="2" y="28"/>
                  </a:lnTo>
                  <a:lnTo>
                    <a:pt x="2" y="32"/>
                  </a:lnTo>
                  <a:lnTo>
                    <a:pt x="1" y="38"/>
                  </a:lnTo>
                  <a:lnTo>
                    <a:pt x="1" y="45"/>
                  </a:lnTo>
                  <a:lnTo>
                    <a:pt x="1" y="49"/>
                  </a:lnTo>
                  <a:lnTo>
                    <a:pt x="1" y="49"/>
                  </a:lnTo>
                  <a:lnTo>
                    <a:pt x="0" y="52"/>
                  </a:lnTo>
                  <a:lnTo>
                    <a:pt x="1" y="57"/>
                  </a:lnTo>
                  <a:lnTo>
                    <a:pt x="4" y="67"/>
                  </a:lnTo>
                  <a:lnTo>
                    <a:pt x="4" y="67"/>
                  </a:lnTo>
                  <a:lnTo>
                    <a:pt x="7" y="80"/>
                  </a:lnTo>
                  <a:lnTo>
                    <a:pt x="30" y="80"/>
                  </a:lnTo>
                  <a:lnTo>
                    <a:pt x="30" y="80"/>
                  </a:lnTo>
                  <a:lnTo>
                    <a:pt x="26" y="75"/>
                  </a:lnTo>
                  <a:lnTo>
                    <a:pt x="26" y="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80" name="Freeform 236"/>
            <p:cNvSpPr>
              <a:spLocks/>
            </p:cNvSpPr>
            <p:nvPr/>
          </p:nvSpPr>
          <p:spPr bwMode="auto">
            <a:xfrm>
              <a:off x="4814888" y="3080179"/>
              <a:ext cx="79375" cy="28575"/>
            </a:xfrm>
            <a:custGeom>
              <a:avLst/>
              <a:gdLst>
                <a:gd name="T0" fmla="*/ 50 w 50"/>
                <a:gd name="T1" fmla="*/ 18 h 18"/>
                <a:gd name="T2" fmla="*/ 50 w 50"/>
                <a:gd name="T3" fmla="*/ 18 h 18"/>
                <a:gd name="T4" fmla="*/ 48 w 50"/>
                <a:gd name="T5" fmla="*/ 13 h 18"/>
                <a:gd name="T6" fmla="*/ 48 w 50"/>
                <a:gd name="T7" fmla="*/ 13 h 18"/>
                <a:gd name="T8" fmla="*/ 43 w 50"/>
                <a:gd name="T9" fmla="*/ 10 h 18"/>
                <a:gd name="T10" fmla="*/ 35 w 50"/>
                <a:gd name="T11" fmla="*/ 5 h 18"/>
                <a:gd name="T12" fmla="*/ 24 w 50"/>
                <a:gd name="T13" fmla="*/ 2 h 18"/>
                <a:gd name="T14" fmla="*/ 13 w 50"/>
                <a:gd name="T15" fmla="*/ 0 h 18"/>
                <a:gd name="T16" fmla="*/ 13 w 50"/>
                <a:gd name="T17" fmla="*/ 0 h 18"/>
                <a:gd name="T18" fmla="*/ 6 w 50"/>
                <a:gd name="T19" fmla="*/ 7 h 18"/>
                <a:gd name="T20" fmla="*/ 4 w 50"/>
                <a:gd name="T21" fmla="*/ 10 h 18"/>
                <a:gd name="T22" fmla="*/ 3 w 50"/>
                <a:gd name="T23" fmla="*/ 11 h 18"/>
                <a:gd name="T24" fmla="*/ 3 w 50"/>
                <a:gd name="T25" fmla="*/ 11 h 18"/>
                <a:gd name="T26" fmla="*/ 0 w 50"/>
                <a:gd name="T27" fmla="*/ 17 h 18"/>
                <a:gd name="T28" fmla="*/ 0 w 50"/>
                <a:gd name="T29" fmla="*/ 17 h 18"/>
                <a:gd name="T30" fmla="*/ 11 w 50"/>
                <a:gd name="T31" fmla="*/ 18 h 18"/>
                <a:gd name="T32" fmla="*/ 24 w 50"/>
                <a:gd name="T33" fmla="*/ 18 h 18"/>
                <a:gd name="T34" fmla="*/ 50 w 50"/>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18">
                  <a:moveTo>
                    <a:pt x="50" y="18"/>
                  </a:moveTo>
                  <a:lnTo>
                    <a:pt x="50" y="18"/>
                  </a:lnTo>
                  <a:lnTo>
                    <a:pt x="48" y="13"/>
                  </a:lnTo>
                  <a:lnTo>
                    <a:pt x="48" y="13"/>
                  </a:lnTo>
                  <a:lnTo>
                    <a:pt x="43" y="10"/>
                  </a:lnTo>
                  <a:lnTo>
                    <a:pt x="35" y="5"/>
                  </a:lnTo>
                  <a:lnTo>
                    <a:pt x="24" y="2"/>
                  </a:lnTo>
                  <a:lnTo>
                    <a:pt x="13" y="0"/>
                  </a:lnTo>
                  <a:lnTo>
                    <a:pt x="13" y="0"/>
                  </a:lnTo>
                  <a:lnTo>
                    <a:pt x="6" y="7"/>
                  </a:lnTo>
                  <a:lnTo>
                    <a:pt x="4" y="10"/>
                  </a:lnTo>
                  <a:lnTo>
                    <a:pt x="3" y="11"/>
                  </a:lnTo>
                  <a:lnTo>
                    <a:pt x="3" y="11"/>
                  </a:lnTo>
                  <a:lnTo>
                    <a:pt x="0" y="17"/>
                  </a:lnTo>
                  <a:lnTo>
                    <a:pt x="0" y="17"/>
                  </a:lnTo>
                  <a:lnTo>
                    <a:pt x="11" y="18"/>
                  </a:lnTo>
                  <a:lnTo>
                    <a:pt x="24" y="18"/>
                  </a:lnTo>
                  <a:lnTo>
                    <a:pt x="50" y="18"/>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81" name="Freeform 237"/>
            <p:cNvSpPr>
              <a:spLocks/>
            </p:cNvSpPr>
            <p:nvPr/>
          </p:nvSpPr>
          <p:spPr bwMode="auto">
            <a:xfrm>
              <a:off x="4814888" y="3080179"/>
              <a:ext cx="79375" cy="28575"/>
            </a:xfrm>
            <a:custGeom>
              <a:avLst/>
              <a:gdLst>
                <a:gd name="T0" fmla="*/ 50 w 50"/>
                <a:gd name="T1" fmla="*/ 18 h 18"/>
                <a:gd name="T2" fmla="*/ 50 w 50"/>
                <a:gd name="T3" fmla="*/ 18 h 18"/>
                <a:gd name="T4" fmla="*/ 48 w 50"/>
                <a:gd name="T5" fmla="*/ 13 h 18"/>
                <a:gd name="T6" fmla="*/ 48 w 50"/>
                <a:gd name="T7" fmla="*/ 13 h 18"/>
                <a:gd name="T8" fmla="*/ 43 w 50"/>
                <a:gd name="T9" fmla="*/ 10 h 18"/>
                <a:gd name="T10" fmla="*/ 35 w 50"/>
                <a:gd name="T11" fmla="*/ 5 h 18"/>
                <a:gd name="T12" fmla="*/ 24 w 50"/>
                <a:gd name="T13" fmla="*/ 2 h 18"/>
                <a:gd name="T14" fmla="*/ 13 w 50"/>
                <a:gd name="T15" fmla="*/ 0 h 18"/>
                <a:gd name="T16" fmla="*/ 13 w 50"/>
                <a:gd name="T17" fmla="*/ 0 h 18"/>
                <a:gd name="T18" fmla="*/ 6 w 50"/>
                <a:gd name="T19" fmla="*/ 7 h 18"/>
                <a:gd name="T20" fmla="*/ 4 w 50"/>
                <a:gd name="T21" fmla="*/ 10 h 18"/>
                <a:gd name="T22" fmla="*/ 3 w 50"/>
                <a:gd name="T23" fmla="*/ 11 h 18"/>
                <a:gd name="T24" fmla="*/ 3 w 50"/>
                <a:gd name="T25" fmla="*/ 11 h 18"/>
                <a:gd name="T26" fmla="*/ 0 w 50"/>
                <a:gd name="T27" fmla="*/ 17 h 18"/>
                <a:gd name="T28" fmla="*/ 0 w 50"/>
                <a:gd name="T29" fmla="*/ 17 h 18"/>
                <a:gd name="T30" fmla="*/ 11 w 50"/>
                <a:gd name="T31" fmla="*/ 18 h 18"/>
                <a:gd name="T32" fmla="*/ 24 w 50"/>
                <a:gd name="T33" fmla="*/ 18 h 18"/>
                <a:gd name="T34" fmla="*/ 50 w 50"/>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18">
                  <a:moveTo>
                    <a:pt x="50" y="18"/>
                  </a:moveTo>
                  <a:lnTo>
                    <a:pt x="50" y="18"/>
                  </a:lnTo>
                  <a:lnTo>
                    <a:pt x="48" y="13"/>
                  </a:lnTo>
                  <a:lnTo>
                    <a:pt x="48" y="13"/>
                  </a:lnTo>
                  <a:lnTo>
                    <a:pt x="43" y="10"/>
                  </a:lnTo>
                  <a:lnTo>
                    <a:pt x="35" y="5"/>
                  </a:lnTo>
                  <a:lnTo>
                    <a:pt x="24" y="2"/>
                  </a:lnTo>
                  <a:lnTo>
                    <a:pt x="13" y="0"/>
                  </a:lnTo>
                  <a:lnTo>
                    <a:pt x="13" y="0"/>
                  </a:lnTo>
                  <a:lnTo>
                    <a:pt x="6" y="7"/>
                  </a:lnTo>
                  <a:lnTo>
                    <a:pt x="4" y="10"/>
                  </a:lnTo>
                  <a:lnTo>
                    <a:pt x="3" y="11"/>
                  </a:lnTo>
                  <a:lnTo>
                    <a:pt x="3" y="11"/>
                  </a:lnTo>
                  <a:lnTo>
                    <a:pt x="0" y="17"/>
                  </a:lnTo>
                  <a:lnTo>
                    <a:pt x="0" y="17"/>
                  </a:lnTo>
                  <a:lnTo>
                    <a:pt x="11" y="18"/>
                  </a:lnTo>
                  <a:lnTo>
                    <a:pt x="24" y="18"/>
                  </a:lnTo>
                  <a:lnTo>
                    <a:pt x="50"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82" name="Freeform 238"/>
            <p:cNvSpPr>
              <a:spLocks/>
            </p:cNvSpPr>
            <p:nvPr/>
          </p:nvSpPr>
          <p:spPr bwMode="auto">
            <a:xfrm>
              <a:off x="4405313" y="3153204"/>
              <a:ext cx="87313" cy="101600"/>
            </a:xfrm>
            <a:custGeom>
              <a:avLst/>
              <a:gdLst>
                <a:gd name="T0" fmla="*/ 41 w 55"/>
                <a:gd name="T1" fmla="*/ 54 h 64"/>
                <a:gd name="T2" fmla="*/ 41 w 55"/>
                <a:gd name="T3" fmla="*/ 54 h 64"/>
                <a:gd name="T4" fmla="*/ 41 w 55"/>
                <a:gd name="T5" fmla="*/ 51 h 64"/>
                <a:gd name="T6" fmla="*/ 41 w 55"/>
                <a:gd name="T7" fmla="*/ 46 h 64"/>
                <a:gd name="T8" fmla="*/ 42 w 55"/>
                <a:gd name="T9" fmla="*/ 43 h 64"/>
                <a:gd name="T10" fmla="*/ 45 w 55"/>
                <a:gd name="T11" fmla="*/ 40 h 64"/>
                <a:gd name="T12" fmla="*/ 45 w 55"/>
                <a:gd name="T13" fmla="*/ 40 h 64"/>
                <a:gd name="T14" fmla="*/ 48 w 55"/>
                <a:gd name="T15" fmla="*/ 39 h 64"/>
                <a:gd name="T16" fmla="*/ 49 w 55"/>
                <a:gd name="T17" fmla="*/ 36 h 64"/>
                <a:gd name="T18" fmla="*/ 51 w 55"/>
                <a:gd name="T19" fmla="*/ 32 h 64"/>
                <a:gd name="T20" fmla="*/ 52 w 55"/>
                <a:gd name="T21" fmla="*/ 29 h 64"/>
                <a:gd name="T22" fmla="*/ 52 w 55"/>
                <a:gd name="T23" fmla="*/ 29 h 64"/>
                <a:gd name="T24" fmla="*/ 54 w 55"/>
                <a:gd name="T25" fmla="*/ 25 h 64"/>
                <a:gd name="T26" fmla="*/ 55 w 55"/>
                <a:gd name="T27" fmla="*/ 19 h 64"/>
                <a:gd name="T28" fmla="*/ 54 w 55"/>
                <a:gd name="T29" fmla="*/ 10 h 64"/>
                <a:gd name="T30" fmla="*/ 52 w 55"/>
                <a:gd name="T31" fmla="*/ 0 h 64"/>
                <a:gd name="T32" fmla="*/ 52 w 55"/>
                <a:gd name="T33" fmla="*/ 0 h 64"/>
                <a:gd name="T34" fmla="*/ 46 w 55"/>
                <a:gd name="T35" fmla="*/ 3 h 64"/>
                <a:gd name="T36" fmla="*/ 42 w 55"/>
                <a:gd name="T37" fmla="*/ 3 h 64"/>
                <a:gd name="T38" fmla="*/ 42 w 55"/>
                <a:gd name="T39" fmla="*/ 3 h 64"/>
                <a:gd name="T40" fmla="*/ 35 w 55"/>
                <a:gd name="T41" fmla="*/ 4 h 64"/>
                <a:gd name="T42" fmla="*/ 32 w 55"/>
                <a:gd name="T43" fmla="*/ 6 h 64"/>
                <a:gd name="T44" fmla="*/ 28 w 55"/>
                <a:gd name="T45" fmla="*/ 10 h 64"/>
                <a:gd name="T46" fmla="*/ 28 w 55"/>
                <a:gd name="T47" fmla="*/ 10 h 64"/>
                <a:gd name="T48" fmla="*/ 23 w 55"/>
                <a:gd name="T49" fmla="*/ 14 h 64"/>
                <a:gd name="T50" fmla="*/ 19 w 55"/>
                <a:gd name="T51" fmla="*/ 16 h 64"/>
                <a:gd name="T52" fmla="*/ 19 w 55"/>
                <a:gd name="T53" fmla="*/ 16 h 64"/>
                <a:gd name="T54" fmla="*/ 17 w 55"/>
                <a:gd name="T55" fmla="*/ 17 h 64"/>
                <a:gd name="T56" fmla="*/ 16 w 55"/>
                <a:gd name="T57" fmla="*/ 19 h 64"/>
                <a:gd name="T58" fmla="*/ 12 w 55"/>
                <a:gd name="T59" fmla="*/ 27 h 64"/>
                <a:gd name="T60" fmla="*/ 7 w 55"/>
                <a:gd name="T61" fmla="*/ 38 h 64"/>
                <a:gd name="T62" fmla="*/ 4 w 55"/>
                <a:gd name="T63" fmla="*/ 46 h 64"/>
                <a:gd name="T64" fmla="*/ 4 w 55"/>
                <a:gd name="T65" fmla="*/ 46 h 64"/>
                <a:gd name="T66" fmla="*/ 3 w 55"/>
                <a:gd name="T67" fmla="*/ 51 h 64"/>
                <a:gd name="T68" fmla="*/ 0 w 55"/>
                <a:gd name="T69" fmla="*/ 54 h 64"/>
                <a:gd name="T70" fmla="*/ 0 w 55"/>
                <a:gd name="T71" fmla="*/ 54 h 64"/>
                <a:gd name="T72" fmla="*/ 6 w 55"/>
                <a:gd name="T73" fmla="*/ 58 h 64"/>
                <a:gd name="T74" fmla="*/ 12 w 55"/>
                <a:gd name="T75" fmla="*/ 58 h 64"/>
                <a:gd name="T76" fmla="*/ 12 w 55"/>
                <a:gd name="T77" fmla="*/ 58 h 64"/>
                <a:gd name="T78" fmla="*/ 22 w 55"/>
                <a:gd name="T79" fmla="*/ 56 h 64"/>
                <a:gd name="T80" fmla="*/ 28 w 55"/>
                <a:gd name="T81" fmla="*/ 56 h 64"/>
                <a:gd name="T82" fmla="*/ 32 w 55"/>
                <a:gd name="T83" fmla="*/ 59 h 64"/>
                <a:gd name="T84" fmla="*/ 32 w 55"/>
                <a:gd name="T85" fmla="*/ 59 h 64"/>
                <a:gd name="T86" fmla="*/ 36 w 55"/>
                <a:gd name="T87" fmla="*/ 64 h 64"/>
                <a:gd name="T88" fmla="*/ 36 w 55"/>
                <a:gd name="T89" fmla="*/ 64 h 64"/>
                <a:gd name="T90" fmla="*/ 39 w 55"/>
                <a:gd name="T91" fmla="*/ 59 h 64"/>
                <a:gd name="T92" fmla="*/ 41 w 55"/>
                <a:gd name="T93"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 h="64">
                  <a:moveTo>
                    <a:pt x="41" y="54"/>
                  </a:moveTo>
                  <a:lnTo>
                    <a:pt x="41" y="54"/>
                  </a:lnTo>
                  <a:lnTo>
                    <a:pt x="41" y="51"/>
                  </a:lnTo>
                  <a:lnTo>
                    <a:pt x="41" y="46"/>
                  </a:lnTo>
                  <a:lnTo>
                    <a:pt x="42" y="43"/>
                  </a:lnTo>
                  <a:lnTo>
                    <a:pt x="45" y="40"/>
                  </a:lnTo>
                  <a:lnTo>
                    <a:pt x="45" y="40"/>
                  </a:lnTo>
                  <a:lnTo>
                    <a:pt x="48" y="39"/>
                  </a:lnTo>
                  <a:lnTo>
                    <a:pt x="49" y="36"/>
                  </a:lnTo>
                  <a:lnTo>
                    <a:pt x="51" y="32"/>
                  </a:lnTo>
                  <a:lnTo>
                    <a:pt x="52" y="29"/>
                  </a:lnTo>
                  <a:lnTo>
                    <a:pt x="52" y="29"/>
                  </a:lnTo>
                  <a:lnTo>
                    <a:pt x="54" y="25"/>
                  </a:lnTo>
                  <a:lnTo>
                    <a:pt x="55" y="19"/>
                  </a:lnTo>
                  <a:lnTo>
                    <a:pt x="54" y="10"/>
                  </a:lnTo>
                  <a:lnTo>
                    <a:pt x="52" y="0"/>
                  </a:lnTo>
                  <a:lnTo>
                    <a:pt x="52" y="0"/>
                  </a:lnTo>
                  <a:lnTo>
                    <a:pt x="46" y="3"/>
                  </a:lnTo>
                  <a:lnTo>
                    <a:pt x="42" y="3"/>
                  </a:lnTo>
                  <a:lnTo>
                    <a:pt x="42" y="3"/>
                  </a:lnTo>
                  <a:lnTo>
                    <a:pt x="35" y="4"/>
                  </a:lnTo>
                  <a:lnTo>
                    <a:pt x="32" y="6"/>
                  </a:lnTo>
                  <a:lnTo>
                    <a:pt x="28" y="10"/>
                  </a:lnTo>
                  <a:lnTo>
                    <a:pt x="28" y="10"/>
                  </a:lnTo>
                  <a:lnTo>
                    <a:pt x="23" y="14"/>
                  </a:lnTo>
                  <a:lnTo>
                    <a:pt x="19" y="16"/>
                  </a:lnTo>
                  <a:lnTo>
                    <a:pt x="19" y="16"/>
                  </a:lnTo>
                  <a:lnTo>
                    <a:pt x="17" y="17"/>
                  </a:lnTo>
                  <a:lnTo>
                    <a:pt x="16" y="19"/>
                  </a:lnTo>
                  <a:lnTo>
                    <a:pt x="12" y="27"/>
                  </a:lnTo>
                  <a:lnTo>
                    <a:pt x="7" y="38"/>
                  </a:lnTo>
                  <a:lnTo>
                    <a:pt x="4" y="46"/>
                  </a:lnTo>
                  <a:lnTo>
                    <a:pt x="4" y="46"/>
                  </a:lnTo>
                  <a:lnTo>
                    <a:pt x="3" y="51"/>
                  </a:lnTo>
                  <a:lnTo>
                    <a:pt x="0" y="54"/>
                  </a:lnTo>
                  <a:lnTo>
                    <a:pt x="0" y="54"/>
                  </a:lnTo>
                  <a:lnTo>
                    <a:pt x="6" y="58"/>
                  </a:lnTo>
                  <a:lnTo>
                    <a:pt x="12" y="58"/>
                  </a:lnTo>
                  <a:lnTo>
                    <a:pt x="12" y="58"/>
                  </a:lnTo>
                  <a:lnTo>
                    <a:pt x="22" y="56"/>
                  </a:lnTo>
                  <a:lnTo>
                    <a:pt x="28" y="56"/>
                  </a:lnTo>
                  <a:lnTo>
                    <a:pt x="32" y="59"/>
                  </a:lnTo>
                  <a:lnTo>
                    <a:pt x="32" y="59"/>
                  </a:lnTo>
                  <a:lnTo>
                    <a:pt x="36" y="64"/>
                  </a:lnTo>
                  <a:lnTo>
                    <a:pt x="36" y="64"/>
                  </a:lnTo>
                  <a:lnTo>
                    <a:pt x="39" y="59"/>
                  </a:lnTo>
                  <a:lnTo>
                    <a:pt x="41" y="54"/>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83" name="Freeform 239"/>
            <p:cNvSpPr>
              <a:spLocks/>
            </p:cNvSpPr>
            <p:nvPr/>
          </p:nvSpPr>
          <p:spPr bwMode="auto">
            <a:xfrm>
              <a:off x="4405313" y="3153204"/>
              <a:ext cx="87313" cy="101600"/>
            </a:xfrm>
            <a:custGeom>
              <a:avLst/>
              <a:gdLst>
                <a:gd name="T0" fmla="*/ 41 w 55"/>
                <a:gd name="T1" fmla="*/ 54 h 64"/>
                <a:gd name="T2" fmla="*/ 41 w 55"/>
                <a:gd name="T3" fmla="*/ 54 h 64"/>
                <a:gd name="T4" fmla="*/ 41 w 55"/>
                <a:gd name="T5" fmla="*/ 51 h 64"/>
                <a:gd name="T6" fmla="*/ 41 w 55"/>
                <a:gd name="T7" fmla="*/ 46 h 64"/>
                <a:gd name="T8" fmla="*/ 42 w 55"/>
                <a:gd name="T9" fmla="*/ 43 h 64"/>
                <a:gd name="T10" fmla="*/ 45 w 55"/>
                <a:gd name="T11" fmla="*/ 40 h 64"/>
                <a:gd name="T12" fmla="*/ 45 w 55"/>
                <a:gd name="T13" fmla="*/ 40 h 64"/>
                <a:gd name="T14" fmla="*/ 48 w 55"/>
                <a:gd name="T15" fmla="*/ 39 h 64"/>
                <a:gd name="T16" fmla="*/ 49 w 55"/>
                <a:gd name="T17" fmla="*/ 36 h 64"/>
                <a:gd name="T18" fmla="*/ 51 w 55"/>
                <a:gd name="T19" fmla="*/ 32 h 64"/>
                <a:gd name="T20" fmla="*/ 52 w 55"/>
                <a:gd name="T21" fmla="*/ 29 h 64"/>
                <a:gd name="T22" fmla="*/ 52 w 55"/>
                <a:gd name="T23" fmla="*/ 29 h 64"/>
                <a:gd name="T24" fmla="*/ 54 w 55"/>
                <a:gd name="T25" fmla="*/ 25 h 64"/>
                <a:gd name="T26" fmla="*/ 55 w 55"/>
                <a:gd name="T27" fmla="*/ 19 h 64"/>
                <a:gd name="T28" fmla="*/ 54 w 55"/>
                <a:gd name="T29" fmla="*/ 10 h 64"/>
                <a:gd name="T30" fmla="*/ 52 w 55"/>
                <a:gd name="T31" fmla="*/ 0 h 64"/>
                <a:gd name="T32" fmla="*/ 52 w 55"/>
                <a:gd name="T33" fmla="*/ 0 h 64"/>
                <a:gd name="T34" fmla="*/ 46 w 55"/>
                <a:gd name="T35" fmla="*/ 3 h 64"/>
                <a:gd name="T36" fmla="*/ 42 w 55"/>
                <a:gd name="T37" fmla="*/ 3 h 64"/>
                <a:gd name="T38" fmla="*/ 42 w 55"/>
                <a:gd name="T39" fmla="*/ 3 h 64"/>
                <a:gd name="T40" fmla="*/ 35 w 55"/>
                <a:gd name="T41" fmla="*/ 4 h 64"/>
                <a:gd name="T42" fmla="*/ 32 w 55"/>
                <a:gd name="T43" fmla="*/ 6 h 64"/>
                <a:gd name="T44" fmla="*/ 28 w 55"/>
                <a:gd name="T45" fmla="*/ 10 h 64"/>
                <a:gd name="T46" fmla="*/ 28 w 55"/>
                <a:gd name="T47" fmla="*/ 10 h 64"/>
                <a:gd name="T48" fmla="*/ 23 w 55"/>
                <a:gd name="T49" fmla="*/ 14 h 64"/>
                <a:gd name="T50" fmla="*/ 19 w 55"/>
                <a:gd name="T51" fmla="*/ 16 h 64"/>
                <a:gd name="T52" fmla="*/ 19 w 55"/>
                <a:gd name="T53" fmla="*/ 16 h 64"/>
                <a:gd name="T54" fmla="*/ 17 w 55"/>
                <a:gd name="T55" fmla="*/ 17 h 64"/>
                <a:gd name="T56" fmla="*/ 16 w 55"/>
                <a:gd name="T57" fmla="*/ 19 h 64"/>
                <a:gd name="T58" fmla="*/ 12 w 55"/>
                <a:gd name="T59" fmla="*/ 27 h 64"/>
                <a:gd name="T60" fmla="*/ 7 w 55"/>
                <a:gd name="T61" fmla="*/ 38 h 64"/>
                <a:gd name="T62" fmla="*/ 4 w 55"/>
                <a:gd name="T63" fmla="*/ 46 h 64"/>
                <a:gd name="T64" fmla="*/ 4 w 55"/>
                <a:gd name="T65" fmla="*/ 46 h 64"/>
                <a:gd name="T66" fmla="*/ 3 w 55"/>
                <a:gd name="T67" fmla="*/ 51 h 64"/>
                <a:gd name="T68" fmla="*/ 0 w 55"/>
                <a:gd name="T69" fmla="*/ 54 h 64"/>
                <a:gd name="T70" fmla="*/ 0 w 55"/>
                <a:gd name="T71" fmla="*/ 54 h 64"/>
                <a:gd name="T72" fmla="*/ 6 w 55"/>
                <a:gd name="T73" fmla="*/ 58 h 64"/>
                <a:gd name="T74" fmla="*/ 12 w 55"/>
                <a:gd name="T75" fmla="*/ 58 h 64"/>
                <a:gd name="T76" fmla="*/ 12 w 55"/>
                <a:gd name="T77" fmla="*/ 58 h 64"/>
                <a:gd name="T78" fmla="*/ 22 w 55"/>
                <a:gd name="T79" fmla="*/ 56 h 64"/>
                <a:gd name="T80" fmla="*/ 28 w 55"/>
                <a:gd name="T81" fmla="*/ 56 h 64"/>
                <a:gd name="T82" fmla="*/ 32 w 55"/>
                <a:gd name="T83" fmla="*/ 59 h 64"/>
                <a:gd name="T84" fmla="*/ 32 w 55"/>
                <a:gd name="T85" fmla="*/ 59 h 64"/>
                <a:gd name="T86" fmla="*/ 36 w 55"/>
                <a:gd name="T87" fmla="*/ 64 h 64"/>
                <a:gd name="T88" fmla="*/ 36 w 55"/>
                <a:gd name="T89" fmla="*/ 64 h 64"/>
                <a:gd name="T90" fmla="*/ 39 w 55"/>
                <a:gd name="T91" fmla="*/ 59 h 64"/>
                <a:gd name="T92" fmla="*/ 41 w 55"/>
                <a:gd name="T93"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 h="64">
                  <a:moveTo>
                    <a:pt x="41" y="54"/>
                  </a:moveTo>
                  <a:lnTo>
                    <a:pt x="41" y="54"/>
                  </a:lnTo>
                  <a:lnTo>
                    <a:pt x="41" y="51"/>
                  </a:lnTo>
                  <a:lnTo>
                    <a:pt x="41" y="46"/>
                  </a:lnTo>
                  <a:lnTo>
                    <a:pt x="42" y="43"/>
                  </a:lnTo>
                  <a:lnTo>
                    <a:pt x="45" y="40"/>
                  </a:lnTo>
                  <a:lnTo>
                    <a:pt x="45" y="40"/>
                  </a:lnTo>
                  <a:lnTo>
                    <a:pt x="48" y="39"/>
                  </a:lnTo>
                  <a:lnTo>
                    <a:pt x="49" y="36"/>
                  </a:lnTo>
                  <a:lnTo>
                    <a:pt x="51" y="32"/>
                  </a:lnTo>
                  <a:lnTo>
                    <a:pt x="52" y="29"/>
                  </a:lnTo>
                  <a:lnTo>
                    <a:pt x="52" y="29"/>
                  </a:lnTo>
                  <a:lnTo>
                    <a:pt x="54" y="25"/>
                  </a:lnTo>
                  <a:lnTo>
                    <a:pt x="55" y="19"/>
                  </a:lnTo>
                  <a:lnTo>
                    <a:pt x="54" y="10"/>
                  </a:lnTo>
                  <a:lnTo>
                    <a:pt x="52" y="0"/>
                  </a:lnTo>
                  <a:lnTo>
                    <a:pt x="52" y="0"/>
                  </a:lnTo>
                  <a:lnTo>
                    <a:pt x="46" y="3"/>
                  </a:lnTo>
                  <a:lnTo>
                    <a:pt x="42" y="3"/>
                  </a:lnTo>
                  <a:lnTo>
                    <a:pt x="42" y="3"/>
                  </a:lnTo>
                  <a:lnTo>
                    <a:pt x="35" y="4"/>
                  </a:lnTo>
                  <a:lnTo>
                    <a:pt x="32" y="6"/>
                  </a:lnTo>
                  <a:lnTo>
                    <a:pt x="28" y="10"/>
                  </a:lnTo>
                  <a:lnTo>
                    <a:pt x="28" y="10"/>
                  </a:lnTo>
                  <a:lnTo>
                    <a:pt x="23" y="14"/>
                  </a:lnTo>
                  <a:lnTo>
                    <a:pt x="19" y="16"/>
                  </a:lnTo>
                  <a:lnTo>
                    <a:pt x="19" y="16"/>
                  </a:lnTo>
                  <a:lnTo>
                    <a:pt x="17" y="17"/>
                  </a:lnTo>
                  <a:lnTo>
                    <a:pt x="16" y="19"/>
                  </a:lnTo>
                  <a:lnTo>
                    <a:pt x="12" y="27"/>
                  </a:lnTo>
                  <a:lnTo>
                    <a:pt x="7" y="38"/>
                  </a:lnTo>
                  <a:lnTo>
                    <a:pt x="4" y="46"/>
                  </a:lnTo>
                  <a:lnTo>
                    <a:pt x="4" y="46"/>
                  </a:lnTo>
                  <a:lnTo>
                    <a:pt x="3" y="51"/>
                  </a:lnTo>
                  <a:lnTo>
                    <a:pt x="0" y="54"/>
                  </a:lnTo>
                  <a:lnTo>
                    <a:pt x="0" y="54"/>
                  </a:lnTo>
                  <a:lnTo>
                    <a:pt x="6" y="58"/>
                  </a:lnTo>
                  <a:lnTo>
                    <a:pt x="12" y="58"/>
                  </a:lnTo>
                  <a:lnTo>
                    <a:pt x="12" y="58"/>
                  </a:lnTo>
                  <a:lnTo>
                    <a:pt x="22" y="56"/>
                  </a:lnTo>
                  <a:lnTo>
                    <a:pt x="28" y="56"/>
                  </a:lnTo>
                  <a:lnTo>
                    <a:pt x="32" y="59"/>
                  </a:lnTo>
                  <a:lnTo>
                    <a:pt x="32" y="59"/>
                  </a:lnTo>
                  <a:lnTo>
                    <a:pt x="36" y="64"/>
                  </a:lnTo>
                  <a:lnTo>
                    <a:pt x="36" y="64"/>
                  </a:lnTo>
                  <a:lnTo>
                    <a:pt x="39" y="59"/>
                  </a:lnTo>
                  <a:lnTo>
                    <a:pt x="41" y="5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84" name="Freeform 240"/>
            <p:cNvSpPr>
              <a:spLocks/>
            </p:cNvSpPr>
            <p:nvPr/>
          </p:nvSpPr>
          <p:spPr bwMode="auto">
            <a:xfrm>
              <a:off x="4718051" y="3477054"/>
              <a:ext cx="98425" cy="92075"/>
            </a:xfrm>
            <a:custGeom>
              <a:avLst/>
              <a:gdLst>
                <a:gd name="T0" fmla="*/ 14 w 62"/>
                <a:gd name="T1" fmla="*/ 2 h 58"/>
                <a:gd name="T2" fmla="*/ 14 w 62"/>
                <a:gd name="T3" fmla="*/ 2 h 58"/>
                <a:gd name="T4" fmla="*/ 7 w 62"/>
                <a:gd name="T5" fmla="*/ 3 h 58"/>
                <a:gd name="T6" fmla="*/ 3 w 62"/>
                <a:gd name="T7" fmla="*/ 6 h 58"/>
                <a:gd name="T8" fmla="*/ 0 w 62"/>
                <a:gd name="T9" fmla="*/ 12 h 58"/>
                <a:gd name="T10" fmla="*/ 0 w 62"/>
                <a:gd name="T11" fmla="*/ 16 h 58"/>
                <a:gd name="T12" fmla="*/ 0 w 62"/>
                <a:gd name="T13" fmla="*/ 16 h 58"/>
                <a:gd name="T14" fmla="*/ 3 w 62"/>
                <a:gd name="T15" fmla="*/ 23 h 58"/>
                <a:gd name="T16" fmla="*/ 10 w 62"/>
                <a:gd name="T17" fmla="*/ 33 h 58"/>
                <a:gd name="T18" fmla="*/ 23 w 62"/>
                <a:gd name="T19" fmla="*/ 52 h 58"/>
                <a:gd name="T20" fmla="*/ 23 w 62"/>
                <a:gd name="T21" fmla="*/ 52 h 58"/>
                <a:gd name="T22" fmla="*/ 27 w 62"/>
                <a:gd name="T23" fmla="*/ 54 h 58"/>
                <a:gd name="T24" fmla="*/ 32 w 62"/>
                <a:gd name="T25" fmla="*/ 55 h 58"/>
                <a:gd name="T26" fmla="*/ 32 w 62"/>
                <a:gd name="T27" fmla="*/ 55 h 58"/>
                <a:gd name="T28" fmla="*/ 36 w 62"/>
                <a:gd name="T29" fmla="*/ 58 h 58"/>
                <a:gd name="T30" fmla="*/ 36 w 62"/>
                <a:gd name="T31" fmla="*/ 58 h 58"/>
                <a:gd name="T32" fmla="*/ 45 w 62"/>
                <a:gd name="T33" fmla="*/ 46 h 58"/>
                <a:gd name="T34" fmla="*/ 51 w 62"/>
                <a:gd name="T35" fmla="*/ 38 h 58"/>
                <a:gd name="T36" fmla="*/ 51 w 62"/>
                <a:gd name="T37" fmla="*/ 38 h 58"/>
                <a:gd name="T38" fmla="*/ 59 w 62"/>
                <a:gd name="T39" fmla="*/ 29 h 58"/>
                <a:gd name="T40" fmla="*/ 61 w 62"/>
                <a:gd name="T41" fmla="*/ 23 h 58"/>
                <a:gd name="T42" fmla="*/ 62 w 62"/>
                <a:gd name="T43" fmla="*/ 18 h 58"/>
                <a:gd name="T44" fmla="*/ 62 w 62"/>
                <a:gd name="T45" fmla="*/ 18 h 58"/>
                <a:gd name="T46" fmla="*/ 61 w 62"/>
                <a:gd name="T47" fmla="*/ 9 h 58"/>
                <a:gd name="T48" fmla="*/ 59 w 62"/>
                <a:gd name="T49" fmla="*/ 0 h 58"/>
                <a:gd name="T50" fmla="*/ 59 w 62"/>
                <a:gd name="T51" fmla="*/ 0 h 58"/>
                <a:gd name="T52" fmla="*/ 45 w 62"/>
                <a:gd name="T53" fmla="*/ 3 h 58"/>
                <a:gd name="T54" fmla="*/ 45 w 62"/>
                <a:gd name="T55" fmla="*/ 3 h 58"/>
                <a:gd name="T56" fmla="*/ 14 w 62"/>
                <a:gd name="T57" fmla="*/ 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 h="58">
                  <a:moveTo>
                    <a:pt x="14" y="2"/>
                  </a:moveTo>
                  <a:lnTo>
                    <a:pt x="14" y="2"/>
                  </a:lnTo>
                  <a:lnTo>
                    <a:pt x="7" y="3"/>
                  </a:lnTo>
                  <a:lnTo>
                    <a:pt x="3" y="6"/>
                  </a:lnTo>
                  <a:lnTo>
                    <a:pt x="0" y="12"/>
                  </a:lnTo>
                  <a:lnTo>
                    <a:pt x="0" y="16"/>
                  </a:lnTo>
                  <a:lnTo>
                    <a:pt x="0" y="16"/>
                  </a:lnTo>
                  <a:lnTo>
                    <a:pt x="3" y="23"/>
                  </a:lnTo>
                  <a:lnTo>
                    <a:pt x="10" y="33"/>
                  </a:lnTo>
                  <a:lnTo>
                    <a:pt x="23" y="52"/>
                  </a:lnTo>
                  <a:lnTo>
                    <a:pt x="23" y="52"/>
                  </a:lnTo>
                  <a:lnTo>
                    <a:pt x="27" y="54"/>
                  </a:lnTo>
                  <a:lnTo>
                    <a:pt x="32" y="55"/>
                  </a:lnTo>
                  <a:lnTo>
                    <a:pt x="32" y="55"/>
                  </a:lnTo>
                  <a:lnTo>
                    <a:pt x="36" y="58"/>
                  </a:lnTo>
                  <a:lnTo>
                    <a:pt x="36" y="58"/>
                  </a:lnTo>
                  <a:lnTo>
                    <a:pt x="45" y="46"/>
                  </a:lnTo>
                  <a:lnTo>
                    <a:pt x="51" y="38"/>
                  </a:lnTo>
                  <a:lnTo>
                    <a:pt x="51" y="38"/>
                  </a:lnTo>
                  <a:lnTo>
                    <a:pt x="59" y="29"/>
                  </a:lnTo>
                  <a:lnTo>
                    <a:pt x="61" y="23"/>
                  </a:lnTo>
                  <a:lnTo>
                    <a:pt x="62" y="18"/>
                  </a:lnTo>
                  <a:lnTo>
                    <a:pt x="62" y="18"/>
                  </a:lnTo>
                  <a:lnTo>
                    <a:pt x="61" y="9"/>
                  </a:lnTo>
                  <a:lnTo>
                    <a:pt x="59" y="0"/>
                  </a:lnTo>
                  <a:lnTo>
                    <a:pt x="59" y="0"/>
                  </a:lnTo>
                  <a:lnTo>
                    <a:pt x="45" y="3"/>
                  </a:lnTo>
                  <a:lnTo>
                    <a:pt x="45" y="3"/>
                  </a:lnTo>
                  <a:lnTo>
                    <a:pt x="14" y="2"/>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85" name="Freeform 241"/>
            <p:cNvSpPr>
              <a:spLocks/>
            </p:cNvSpPr>
            <p:nvPr/>
          </p:nvSpPr>
          <p:spPr bwMode="auto">
            <a:xfrm>
              <a:off x="4718051" y="3477054"/>
              <a:ext cx="98425" cy="92075"/>
            </a:xfrm>
            <a:custGeom>
              <a:avLst/>
              <a:gdLst>
                <a:gd name="T0" fmla="*/ 14 w 62"/>
                <a:gd name="T1" fmla="*/ 2 h 58"/>
                <a:gd name="T2" fmla="*/ 14 w 62"/>
                <a:gd name="T3" fmla="*/ 2 h 58"/>
                <a:gd name="T4" fmla="*/ 7 w 62"/>
                <a:gd name="T5" fmla="*/ 3 h 58"/>
                <a:gd name="T6" fmla="*/ 3 w 62"/>
                <a:gd name="T7" fmla="*/ 6 h 58"/>
                <a:gd name="T8" fmla="*/ 0 w 62"/>
                <a:gd name="T9" fmla="*/ 12 h 58"/>
                <a:gd name="T10" fmla="*/ 0 w 62"/>
                <a:gd name="T11" fmla="*/ 16 h 58"/>
                <a:gd name="T12" fmla="*/ 0 w 62"/>
                <a:gd name="T13" fmla="*/ 16 h 58"/>
                <a:gd name="T14" fmla="*/ 3 w 62"/>
                <a:gd name="T15" fmla="*/ 23 h 58"/>
                <a:gd name="T16" fmla="*/ 10 w 62"/>
                <a:gd name="T17" fmla="*/ 33 h 58"/>
                <a:gd name="T18" fmla="*/ 23 w 62"/>
                <a:gd name="T19" fmla="*/ 52 h 58"/>
                <a:gd name="T20" fmla="*/ 23 w 62"/>
                <a:gd name="T21" fmla="*/ 52 h 58"/>
                <a:gd name="T22" fmla="*/ 27 w 62"/>
                <a:gd name="T23" fmla="*/ 54 h 58"/>
                <a:gd name="T24" fmla="*/ 32 w 62"/>
                <a:gd name="T25" fmla="*/ 55 h 58"/>
                <a:gd name="T26" fmla="*/ 32 w 62"/>
                <a:gd name="T27" fmla="*/ 55 h 58"/>
                <a:gd name="T28" fmla="*/ 36 w 62"/>
                <a:gd name="T29" fmla="*/ 58 h 58"/>
                <a:gd name="T30" fmla="*/ 36 w 62"/>
                <a:gd name="T31" fmla="*/ 58 h 58"/>
                <a:gd name="T32" fmla="*/ 45 w 62"/>
                <a:gd name="T33" fmla="*/ 46 h 58"/>
                <a:gd name="T34" fmla="*/ 51 w 62"/>
                <a:gd name="T35" fmla="*/ 38 h 58"/>
                <a:gd name="T36" fmla="*/ 51 w 62"/>
                <a:gd name="T37" fmla="*/ 38 h 58"/>
                <a:gd name="T38" fmla="*/ 59 w 62"/>
                <a:gd name="T39" fmla="*/ 29 h 58"/>
                <a:gd name="T40" fmla="*/ 61 w 62"/>
                <a:gd name="T41" fmla="*/ 23 h 58"/>
                <a:gd name="T42" fmla="*/ 62 w 62"/>
                <a:gd name="T43" fmla="*/ 18 h 58"/>
                <a:gd name="T44" fmla="*/ 62 w 62"/>
                <a:gd name="T45" fmla="*/ 18 h 58"/>
                <a:gd name="T46" fmla="*/ 61 w 62"/>
                <a:gd name="T47" fmla="*/ 9 h 58"/>
                <a:gd name="T48" fmla="*/ 59 w 62"/>
                <a:gd name="T49" fmla="*/ 0 h 58"/>
                <a:gd name="T50" fmla="*/ 59 w 62"/>
                <a:gd name="T51" fmla="*/ 0 h 58"/>
                <a:gd name="T52" fmla="*/ 45 w 62"/>
                <a:gd name="T53" fmla="*/ 3 h 58"/>
                <a:gd name="T54" fmla="*/ 45 w 62"/>
                <a:gd name="T55" fmla="*/ 3 h 58"/>
                <a:gd name="T56" fmla="*/ 14 w 62"/>
                <a:gd name="T57" fmla="*/ 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 h="58">
                  <a:moveTo>
                    <a:pt x="14" y="2"/>
                  </a:moveTo>
                  <a:lnTo>
                    <a:pt x="14" y="2"/>
                  </a:lnTo>
                  <a:lnTo>
                    <a:pt x="7" y="3"/>
                  </a:lnTo>
                  <a:lnTo>
                    <a:pt x="3" y="6"/>
                  </a:lnTo>
                  <a:lnTo>
                    <a:pt x="0" y="12"/>
                  </a:lnTo>
                  <a:lnTo>
                    <a:pt x="0" y="16"/>
                  </a:lnTo>
                  <a:lnTo>
                    <a:pt x="0" y="16"/>
                  </a:lnTo>
                  <a:lnTo>
                    <a:pt x="3" y="23"/>
                  </a:lnTo>
                  <a:lnTo>
                    <a:pt x="10" y="33"/>
                  </a:lnTo>
                  <a:lnTo>
                    <a:pt x="23" y="52"/>
                  </a:lnTo>
                  <a:lnTo>
                    <a:pt x="23" y="52"/>
                  </a:lnTo>
                  <a:lnTo>
                    <a:pt x="27" y="54"/>
                  </a:lnTo>
                  <a:lnTo>
                    <a:pt x="32" y="55"/>
                  </a:lnTo>
                  <a:lnTo>
                    <a:pt x="32" y="55"/>
                  </a:lnTo>
                  <a:lnTo>
                    <a:pt x="36" y="58"/>
                  </a:lnTo>
                  <a:lnTo>
                    <a:pt x="36" y="58"/>
                  </a:lnTo>
                  <a:lnTo>
                    <a:pt x="45" y="46"/>
                  </a:lnTo>
                  <a:lnTo>
                    <a:pt x="51" y="38"/>
                  </a:lnTo>
                  <a:lnTo>
                    <a:pt x="51" y="38"/>
                  </a:lnTo>
                  <a:lnTo>
                    <a:pt x="59" y="29"/>
                  </a:lnTo>
                  <a:lnTo>
                    <a:pt x="61" y="23"/>
                  </a:lnTo>
                  <a:lnTo>
                    <a:pt x="62" y="18"/>
                  </a:lnTo>
                  <a:lnTo>
                    <a:pt x="62" y="18"/>
                  </a:lnTo>
                  <a:lnTo>
                    <a:pt x="61" y="9"/>
                  </a:lnTo>
                  <a:lnTo>
                    <a:pt x="59" y="0"/>
                  </a:lnTo>
                  <a:lnTo>
                    <a:pt x="59" y="0"/>
                  </a:lnTo>
                  <a:lnTo>
                    <a:pt x="45" y="3"/>
                  </a:lnTo>
                  <a:lnTo>
                    <a:pt x="45" y="3"/>
                  </a:lnTo>
                  <a:lnTo>
                    <a:pt x="14"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86" name="Freeform 242"/>
            <p:cNvSpPr>
              <a:spLocks/>
            </p:cNvSpPr>
            <p:nvPr/>
          </p:nvSpPr>
          <p:spPr bwMode="auto">
            <a:xfrm>
              <a:off x="4965701" y="3350054"/>
              <a:ext cx="100013" cy="122238"/>
            </a:xfrm>
            <a:custGeom>
              <a:avLst/>
              <a:gdLst>
                <a:gd name="T0" fmla="*/ 58 w 63"/>
                <a:gd name="T1" fmla="*/ 21 h 77"/>
                <a:gd name="T2" fmla="*/ 58 w 63"/>
                <a:gd name="T3" fmla="*/ 21 h 77"/>
                <a:gd name="T4" fmla="*/ 54 w 63"/>
                <a:gd name="T5" fmla="*/ 15 h 77"/>
                <a:gd name="T6" fmla="*/ 45 w 63"/>
                <a:gd name="T7" fmla="*/ 8 h 77"/>
                <a:gd name="T8" fmla="*/ 37 w 63"/>
                <a:gd name="T9" fmla="*/ 3 h 77"/>
                <a:gd name="T10" fmla="*/ 29 w 63"/>
                <a:gd name="T11" fmla="*/ 0 h 77"/>
                <a:gd name="T12" fmla="*/ 29 w 63"/>
                <a:gd name="T13" fmla="*/ 0 h 77"/>
                <a:gd name="T14" fmla="*/ 24 w 63"/>
                <a:gd name="T15" fmla="*/ 2 h 77"/>
                <a:gd name="T16" fmla="*/ 15 w 63"/>
                <a:gd name="T17" fmla="*/ 3 h 77"/>
                <a:gd name="T18" fmla="*/ 8 w 63"/>
                <a:gd name="T19" fmla="*/ 6 h 77"/>
                <a:gd name="T20" fmla="*/ 0 w 63"/>
                <a:gd name="T21" fmla="*/ 12 h 77"/>
                <a:gd name="T22" fmla="*/ 0 w 63"/>
                <a:gd name="T23" fmla="*/ 12 h 77"/>
                <a:gd name="T24" fmla="*/ 11 w 63"/>
                <a:gd name="T25" fmla="*/ 12 h 77"/>
                <a:gd name="T26" fmla="*/ 21 w 63"/>
                <a:gd name="T27" fmla="*/ 14 h 77"/>
                <a:gd name="T28" fmla="*/ 21 w 63"/>
                <a:gd name="T29" fmla="*/ 14 h 77"/>
                <a:gd name="T30" fmla="*/ 22 w 63"/>
                <a:gd name="T31" fmla="*/ 14 h 77"/>
                <a:gd name="T32" fmla="*/ 24 w 63"/>
                <a:gd name="T33" fmla="*/ 15 h 77"/>
                <a:gd name="T34" fmla="*/ 28 w 63"/>
                <a:gd name="T35" fmla="*/ 21 h 77"/>
                <a:gd name="T36" fmla="*/ 31 w 63"/>
                <a:gd name="T37" fmla="*/ 28 h 77"/>
                <a:gd name="T38" fmla="*/ 35 w 63"/>
                <a:gd name="T39" fmla="*/ 32 h 77"/>
                <a:gd name="T40" fmla="*/ 35 w 63"/>
                <a:gd name="T41" fmla="*/ 32 h 77"/>
                <a:gd name="T42" fmla="*/ 39 w 63"/>
                <a:gd name="T43" fmla="*/ 37 h 77"/>
                <a:gd name="T44" fmla="*/ 42 w 63"/>
                <a:gd name="T45" fmla="*/ 41 h 77"/>
                <a:gd name="T46" fmla="*/ 42 w 63"/>
                <a:gd name="T47" fmla="*/ 45 h 77"/>
                <a:gd name="T48" fmla="*/ 42 w 63"/>
                <a:gd name="T49" fmla="*/ 50 h 77"/>
                <a:gd name="T50" fmla="*/ 42 w 63"/>
                <a:gd name="T51" fmla="*/ 50 h 77"/>
                <a:gd name="T52" fmla="*/ 41 w 63"/>
                <a:gd name="T53" fmla="*/ 54 h 77"/>
                <a:gd name="T54" fmla="*/ 42 w 63"/>
                <a:gd name="T55" fmla="*/ 63 h 77"/>
                <a:gd name="T56" fmla="*/ 44 w 63"/>
                <a:gd name="T57" fmla="*/ 71 h 77"/>
                <a:gd name="T58" fmla="*/ 45 w 63"/>
                <a:gd name="T59" fmla="*/ 76 h 77"/>
                <a:gd name="T60" fmla="*/ 45 w 63"/>
                <a:gd name="T61" fmla="*/ 76 h 77"/>
                <a:gd name="T62" fmla="*/ 51 w 63"/>
                <a:gd name="T63" fmla="*/ 77 h 77"/>
                <a:gd name="T64" fmla="*/ 51 w 63"/>
                <a:gd name="T65" fmla="*/ 77 h 77"/>
                <a:gd name="T66" fmla="*/ 54 w 63"/>
                <a:gd name="T67" fmla="*/ 63 h 77"/>
                <a:gd name="T68" fmla="*/ 57 w 63"/>
                <a:gd name="T69" fmla="*/ 56 h 77"/>
                <a:gd name="T70" fmla="*/ 60 w 63"/>
                <a:gd name="T71" fmla="*/ 51 h 77"/>
                <a:gd name="T72" fmla="*/ 60 w 63"/>
                <a:gd name="T73" fmla="*/ 51 h 77"/>
                <a:gd name="T74" fmla="*/ 63 w 63"/>
                <a:gd name="T75" fmla="*/ 45 h 77"/>
                <a:gd name="T76" fmla="*/ 63 w 63"/>
                <a:gd name="T77" fmla="*/ 37 h 77"/>
                <a:gd name="T78" fmla="*/ 61 w 63"/>
                <a:gd name="T79" fmla="*/ 28 h 77"/>
                <a:gd name="T80" fmla="*/ 58 w 63"/>
                <a:gd name="T81" fmla="*/ 2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3" h="77">
                  <a:moveTo>
                    <a:pt x="58" y="21"/>
                  </a:moveTo>
                  <a:lnTo>
                    <a:pt x="58" y="21"/>
                  </a:lnTo>
                  <a:lnTo>
                    <a:pt x="54" y="15"/>
                  </a:lnTo>
                  <a:lnTo>
                    <a:pt x="45" y="8"/>
                  </a:lnTo>
                  <a:lnTo>
                    <a:pt x="37" y="3"/>
                  </a:lnTo>
                  <a:lnTo>
                    <a:pt x="29" y="0"/>
                  </a:lnTo>
                  <a:lnTo>
                    <a:pt x="29" y="0"/>
                  </a:lnTo>
                  <a:lnTo>
                    <a:pt x="24" y="2"/>
                  </a:lnTo>
                  <a:lnTo>
                    <a:pt x="15" y="3"/>
                  </a:lnTo>
                  <a:lnTo>
                    <a:pt x="8" y="6"/>
                  </a:lnTo>
                  <a:lnTo>
                    <a:pt x="0" y="12"/>
                  </a:lnTo>
                  <a:lnTo>
                    <a:pt x="0" y="12"/>
                  </a:lnTo>
                  <a:lnTo>
                    <a:pt x="11" y="12"/>
                  </a:lnTo>
                  <a:lnTo>
                    <a:pt x="21" y="14"/>
                  </a:lnTo>
                  <a:lnTo>
                    <a:pt x="21" y="14"/>
                  </a:lnTo>
                  <a:lnTo>
                    <a:pt x="22" y="14"/>
                  </a:lnTo>
                  <a:lnTo>
                    <a:pt x="24" y="15"/>
                  </a:lnTo>
                  <a:lnTo>
                    <a:pt x="28" y="21"/>
                  </a:lnTo>
                  <a:lnTo>
                    <a:pt x="31" y="28"/>
                  </a:lnTo>
                  <a:lnTo>
                    <a:pt x="35" y="32"/>
                  </a:lnTo>
                  <a:lnTo>
                    <a:pt x="35" y="32"/>
                  </a:lnTo>
                  <a:lnTo>
                    <a:pt x="39" y="37"/>
                  </a:lnTo>
                  <a:lnTo>
                    <a:pt x="42" y="41"/>
                  </a:lnTo>
                  <a:lnTo>
                    <a:pt x="42" y="45"/>
                  </a:lnTo>
                  <a:lnTo>
                    <a:pt x="42" y="50"/>
                  </a:lnTo>
                  <a:lnTo>
                    <a:pt x="42" y="50"/>
                  </a:lnTo>
                  <a:lnTo>
                    <a:pt x="41" y="54"/>
                  </a:lnTo>
                  <a:lnTo>
                    <a:pt x="42" y="63"/>
                  </a:lnTo>
                  <a:lnTo>
                    <a:pt x="44" y="71"/>
                  </a:lnTo>
                  <a:lnTo>
                    <a:pt x="45" y="76"/>
                  </a:lnTo>
                  <a:lnTo>
                    <a:pt x="45" y="76"/>
                  </a:lnTo>
                  <a:lnTo>
                    <a:pt x="51" y="77"/>
                  </a:lnTo>
                  <a:lnTo>
                    <a:pt x="51" y="77"/>
                  </a:lnTo>
                  <a:lnTo>
                    <a:pt x="54" y="63"/>
                  </a:lnTo>
                  <a:lnTo>
                    <a:pt x="57" y="56"/>
                  </a:lnTo>
                  <a:lnTo>
                    <a:pt x="60" y="51"/>
                  </a:lnTo>
                  <a:lnTo>
                    <a:pt x="60" y="51"/>
                  </a:lnTo>
                  <a:lnTo>
                    <a:pt x="63" y="45"/>
                  </a:lnTo>
                  <a:lnTo>
                    <a:pt x="63" y="37"/>
                  </a:lnTo>
                  <a:lnTo>
                    <a:pt x="61" y="28"/>
                  </a:lnTo>
                  <a:lnTo>
                    <a:pt x="58" y="21"/>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87" name="Freeform 243"/>
            <p:cNvSpPr>
              <a:spLocks/>
            </p:cNvSpPr>
            <p:nvPr/>
          </p:nvSpPr>
          <p:spPr bwMode="auto">
            <a:xfrm>
              <a:off x="4965701" y="3350054"/>
              <a:ext cx="100013" cy="122238"/>
            </a:xfrm>
            <a:custGeom>
              <a:avLst/>
              <a:gdLst>
                <a:gd name="T0" fmla="*/ 58 w 63"/>
                <a:gd name="T1" fmla="*/ 21 h 77"/>
                <a:gd name="T2" fmla="*/ 58 w 63"/>
                <a:gd name="T3" fmla="*/ 21 h 77"/>
                <a:gd name="T4" fmla="*/ 54 w 63"/>
                <a:gd name="T5" fmla="*/ 15 h 77"/>
                <a:gd name="T6" fmla="*/ 45 w 63"/>
                <a:gd name="T7" fmla="*/ 8 h 77"/>
                <a:gd name="T8" fmla="*/ 37 w 63"/>
                <a:gd name="T9" fmla="*/ 3 h 77"/>
                <a:gd name="T10" fmla="*/ 29 w 63"/>
                <a:gd name="T11" fmla="*/ 0 h 77"/>
                <a:gd name="T12" fmla="*/ 29 w 63"/>
                <a:gd name="T13" fmla="*/ 0 h 77"/>
                <a:gd name="T14" fmla="*/ 24 w 63"/>
                <a:gd name="T15" fmla="*/ 2 h 77"/>
                <a:gd name="T16" fmla="*/ 15 w 63"/>
                <a:gd name="T17" fmla="*/ 3 h 77"/>
                <a:gd name="T18" fmla="*/ 8 w 63"/>
                <a:gd name="T19" fmla="*/ 6 h 77"/>
                <a:gd name="T20" fmla="*/ 0 w 63"/>
                <a:gd name="T21" fmla="*/ 12 h 77"/>
                <a:gd name="T22" fmla="*/ 0 w 63"/>
                <a:gd name="T23" fmla="*/ 12 h 77"/>
                <a:gd name="T24" fmla="*/ 11 w 63"/>
                <a:gd name="T25" fmla="*/ 12 h 77"/>
                <a:gd name="T26" fmla="*/ 21 w 63"/>
                <a:gd name="T27" fmla="*/ 14 h 77"/>
                <a:gd name="T28" fmla="*/ 21 w 63"/>
                <a:gd name="T29" fmla="*/ 14 h 77"/>
                <a:gd name="T30" fmla="*/ 22 w 63"/>
                <a:gd name="T31" fmla="*/ 14 h 77"/>
                <a:gd name="T32" fmla="*/ 24 w 63"/>
                <a:gd name="T33" fmla="*/ 15 h 77"/>
                <a:gd name="T34" fmla="*/ 28 w 63"/>
                <a:gd name="T35" fmla="*/ 21 h 77"/>
                <a:gd name="T36" fmla="*/ 31 w 63"/>
                <a:gd name="T37" fmla="*/ 28 h 77"/>
                <a:gd name="T38" fmla="*/ 35 w 63"/>
                <a:gd name="T39" fmla="*/ 32 h 77"/>
                <a:gd name="T40" fmla="*/ 35 w 63"/>
                <a:gd name="T41" fmla="*/ 32 h 77"/>
                <a:gd name="T42" fmla="*/ 39 w 63"/>
                <a:gd name="T43" fmla="*/ 37 h 77"/>
                <a:gd name="T44" fmla="*/ 42 w 63"/>
                <a:gd name="T45" fmla="*/ 41 h 77"/>
                <a:gd name="T46" fmla="*/ 42 w 63"/>
                <a:gd name="T47" fmla="*/ 45 h 77"/>
                <a:gd name="T48" fmla="*/ 42 w 63"/>
                <a:gd name="T49" fmla="*/ 50 h 77"/>
                <a:gd name="T50" fmla="*/ 42 w 63"/>
                <a:gd name="T51" fmla="*/ 50 h 77"/>
                <a:gd name="T52" fmla="*/ 41 w 63"/>
                <a:gd name="T53" fmla="*/ 54 h 77"/>
                <a:gd name="T54" fmla="*/ 42 w 63"/>
                <a:gd name="T55" fmla="*/ 63 h 77"/>
                <a:gd name="T56" fmla="*/ 44 w 63"/>
                <a:gd name="T57" fmla="*/ 71 h 77"/>
                <a:gd name="T58" fmla="*/ 45 w 63"/>
                <a:gd name="T59" fmla="*/ 76 h 77"/>
                <a:gd name="T60" fmla="*/ 45 w 63"/>
                <a:gd name="T61" fmla="*/ 76 h 77"/>
                <a:gd name="T62" fmla="*/ 51 w 63"/>
                <a:gd name="T63" fmla="*/ 77 h 77"/>
                <a:gd name="T64" fmla="*/ 51 w 63"/>
                <a:gd name="T65" fmla="*/ 77 h 77"/>
                <a:gd name="T66" fmla="*/ 54 w 63"/>
                <a:gd name="T67" fmla="*/ 63 h 77"/>
                <a:gd name="T68" fmla="*/ 57 w 63"/>
                <a:gd name="T69" fmla="*/ 56 h 77"/>
                <a:gd name="T70" fmla="*/ 60 w 63"/>
                <a:gd name="T71" fmla="*/ 51 h 77"/>
                <a:gd name="T72" fmla="*/ 60 w 63"/>
                <a:gd name="T73" fmla="*/ 51 h 77"/>
                <a:gd name="T74" fmla="*/ 63 w 63"/>
                <a:gd name="T75" fmla="*/ 45 h 77"/>
                <a:gd name="T76" fmla="*/ 63 w 63"/>
                <a:gd name="T77" fmla="*/ 37 h 77"/>
                <a:gd name="T78" fmla="*/ 61 w 63"/>
                <a:gd name="T79" fmla="*/ 28 h 77"/>
                <a:gd name="T80" fmla="*/ 58 w 63"/>
                <a:gd name="T81" fmla="*/ 2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3" h="77">
                  <a:moveTo>
                    <a:pt x="58" y="21"/>
                  </a:moveTo>
                  <a:lnTo>
                    <a:pt x="58" y="21"/>
                  </a:lnTo>
                  <a:lnTo>
                    <a:pt x="54" y="15"/>
                  </a:lnTo>
                  <a:lnTo>
                    <a:pt x="45" y="8"/>
                  </a:lnTo>
                  <a:lnTo>
                    <a:pt x="37" y="3"/>
                  </a:lnTo>
                  <a:lnTo>
                    <a:pt x="29" y="0"/>
                  </a:lnTo>
                  <a:lnTo>
                    <a:pt x="29" y="0"/>
                  </a:lnTo>
                  <a:lnTo>
                    <a:pt x="24" y="2"/>
                  </a:lnTo>
                  <a:lnTo>
                    <a:pt x="15" y="3"/>
                  </a:lnTo>
                  <a:lnTo>
                    <a:pt x="8" y="6"/>
                  </a:lnTo>
                  <a:lnTo>
                    <a:pt x="0" y="12"/>
                  </a:lnTo>
                  <a:lnTo>
                    <a:pt x="0" y="12"/>
                  </a:lnTo>
                  <a:lnTo>
                    <a:pt x="11" y="12"/>
                  </a:lnTo>
                  <a:lnTo>
                    <a:pt x="21" y="14"/>
                  </a:lnTo>
                  <a:lnTo>
                    <a:pt x="21" y="14"/>
                  </a:lnTo>
                  <a:lnTo>
                    <a:pt x="22" y="14"/>
                  </a:lnTo>
                  <a:lnTo>
                    <a:pt x="24" y="15"/>
                  </a:lnTo>
                  <a:lnTo>
                    <a:pt x="28" y="21"/>
                  </a:lnTo>
                  <a:lnTo>
                    <a:pt x="31" y="28"/>
                  </a:lnTo>
                  <a:lnTo>
                    <a:pt x="35" y="32"/>
                  </a:lnTo>
                  <a:lnTo>
                    <a:pt x="35" y="32"/>
                  </a:lnTo>
                  <a:lnTo>
                    <a:pt x="39" y="37"/>
                  </a:lnTo>
                  <a:lnTo>
                    <a:pt x="42" y="41"/>
                  </a:lnTo>
                  <a:lnTo>
                    <a:pt x="42" y="45"/>
                  </a:lnTo>
                  <a:lnTo>
                    <a:pt x="42" y="50"/>
                  </a:lnTo>
                  <a:lnTo>
                    <a:pt x="42" y="50"/>
                  </a:lnTo>
                  <a:lnTo>
                    <a:pt x="41" y="54"/>
                  </a:lnTo>
                  <a:lnTo>
                    <a:pt x="42" y="63"/>
                  </a:lnTo>
                  <a:lnTo>
                    <a:pt x="44" y="71"/>
                  </a:lnTo>
                  <a:lnTo>
                    <a:pt x="45" y="76"/>
                  </a:lnTo>
                  <a:lnTo>
                    <a:pt x="45" y="76"/>
                  </a:lnTo>
                  <a:lnTo>
                    <a:pt x="51" y="77"/>
                  </a:lnTo>
                  <a:lnTo>
                    <a:pt x="51" y="77"/>
                  </a:lnTo>
                  <a:lnTo>
                    <a:pt x="54" y="63"/>
                  </a:lnTo>
                  <a:lnTo>
                    <a:pt x="57" y="56"/>
                  </a:lnTo>
                  <a:lnTo>
                    <a:pt x="60" y="51"/>
                  </a:lnTo>
                  <a:lnTo>
                    <a:pt x="60" y="51"/>
                  </a:lnTo>
                  <a:lnTo>
                    <a:pt x="63" y="45"/>
                  </a:lnTo>
                  <a:lnTo>
                    <a:pt x="63" y="37"/>
                  </a:lnTo>
                  <a:lnTo>
                    <a:pt x="61" y="28"/>
                  </a:lnTo>
                  <a:lnTo>
                    <a:pt x="58"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88" name="Freeform 244"/>
            <p:cNvSpPr>
              <a:spLocks/>
            </p:cNvSpPr>
            <p:nvPr/>
          </p:nvSpPr>
          <p:spPr bwMode="auto">
            <a:xfrm>
              <a:off x="4881563" y="3192891"/>
              <a:ext cx="458788" cy="309563"/>
            </a:xfrm>
            <a:custGeom>
              <a:avLst/>
              <a:gdLst>
                <a:gd name="T0" fmla="*/ 281 w 289"/>
                <a:gd name="T1" fmla="*/ 120 h 195"/>
                <a:gd name="T2" fmla="*/ 288 w 289"/>
                <a:gd name="T3" fmla="*/ 95 h 195"/>
                <a:gd name="T4" fmla="*/ 285 w 289"/>
                <a:gd name="T5" fmla="*/ 78 h 195"/>
                <a:gd name="T6" fmla="*/ 272 w 289"/>
                <a:gd name="T7" fmla="*/ 68 h 195"/>
                <a:gd name="T8" fmla="*/ 252 w 289"/>
                <a:gd name="T9" fmla="*/ 63 h 195"/>
                <a:gd name="T10" fmla="*/ 221 w 289"/>
                <a:gd name="T11" fmla="*/ 55 h 195"/>
                <a:gd name="T12" fmla="*/ 198 w 289"/>
                <a:gd name="T13" fmla="*/ 31 h 195"/>
                <a:gd name="T14" fmla="*/ 187 w 289"/>
                <a:gd name="T15" fmla="*/ 7 h 195"/>
                <a:gd name="T16" fmla="*/ 181 w 289"/>
                <a:gd name="T17" fmla="*/ 0 h 195"/>
                <a:gd name="T18" fmla="*/ 171 w 289"/>
                <a:gd name="T19" fmla="*/ 5 h 195"/>
                <a:gd name="T20" fmla="*/ 146 w 289"/>
                <a:gd name="T21" fmla="*/ 8 h 195"/>
                <a:gd name="T22" fmla="*/ 130 w 289"/>
                <a:gd name="T23" fmla="*/ 20 h 195"/>
                <a:gd name="T24" fmla="*/ 75 w 289"/>
                <a:gd name="T25" fmla="*/ 27 h 195"/>
                <a:gd name="T26" fmla="*/ 24 w 289"/>
                <a:gd name="T27" fmla="*/ 31 h 195"/>
                <a:gd name="T28" fmla="*/ 26 w 289"/>
                <a:gd name="T29" fmla="*/ 47 h 195"/>
                <a:gd name="T30" fmla="*/ 11 w 289"/>
                <a:gd name="T31" fmla="*/ 69 h 195"/>
                <a:gd name="T32" fmla="*/ 6 w 289"/>
                <a:gd name="T33" fmla="*/ 88 h 195"/>
                <a:gd name="T34" fmla="*/ 1 w 289"/>
                <a:gd name="T35" fmla="*/ 102 h 195"/>
                <a:gd name="T36" fmla="*/ 13 w 289"/>
                <a:gd name="T37" fmla="*/ 113 h 195"/>
                <a:gd name="T38" fmla="*/ 32 w 289"/>
                <a:gd name="T39" fmla="*/ 118 h 195"/>
                <a:gd name="T40" fmla="*/ 52 w 289"/>
                <a:gd name="T41" fmla="*/ 111 h 195"/>
                <a:gd name="T42" fmla="*/ 68 w 289"/>
                <a:gd name="T43" fmla="*/ 102 h 195"/>
                <a:gd name="T44" fmla="*/ 90 w 289"/>
                <a:gd name="T45" fmla="*/ 102 h 195"/>
                <a:gd name="T46" fmla="*/ 111 w 289"/>
                <a:gd name="T47" fmla="*/ 120 h 195"/>
                <a:gd name="T48" fmla="*/ 113 w 289"/>
                <a:gd name="T49" fmla="*/ 150 h 195"/>
                <a:gd name="T50" fmla="*/ 104 w 289"/>
                <a:gd name="T51" fmla="*/ 176 h 195"/>
                <a:gd name="T52" fmla="*/ 110 w 289"/>
                <a:gd name="T53" fmla="*/ 175 h 195"/>
                <a:gd name="T54" fmla="*/ 123 w 289"/>
                <a:gd name="T55" fmla="*/ 169 h 195"/>
                <a:gd name="T56" fmla="*/ 134 w 289"/>
                <a:gd name="T57" fmla="*/ 153 h 195"/>
                <a:gd name="T58" fmla="*/ 142 w 289"/>
                <a:gd name="T59" fmla="*/ 143 h 195"/>
                <a:gd name="T60" fmla="*/ 159 w 289"/>
                <a:gd name="T61" fmla="*/ 144 h 195"/>
                <a:gd name="T62" fmla="*/ 163 w 289"/>
                <a:gd name="T63" fmla="*/ 155 h 195"/>
                <a:gd name="T64" fmla="*/ 185 w 289"/>
                <a:gd name="T65" fmla="*/ 153 h 195"/>
                <a:gd name="T66" fmla="*/ 178 w 289"/>
                <a:gd name="T67" fmla="*/ 160 h 195"/>
                <a:gd name="T68" fmla="*/ 165 w 289"/>
                <a:gd name="T69" fmla="*/ 168 h 195"/>
                <a:gd name="T70" fmla="*/ 169 w 289"/>
                <a:gd name="T71" fmla="*/ 175 h 195"/>
                <a:gd name="T72" fmla="*/ 185 w 289"/>
                <a:gd name="T73" fmla="*/ 194 h 195"/>
                <a:gd name="T74" fmla="*/ 194 w 289"/>
                <a:gd name="T75" fmla="*/ 194 h 195"/>
                <a:gd name="T76" fmla="*/ 211 w 289"/>
                <a:gd name="T77" fmla="*/ 182 h 195"/>
                <a:gd name="T78" fmla="*/ 217 w 289"/>
                <a:gd name="T79" fmla="*/ 185 h 195"/>
                <a:gd name="T80" fmla="*/ 226 w 289"/>
                <a:gd name="T81" fmla="*/ 186 h 195"/>
                <a:gd name="T82" fmla="*/ 230 w 289"/>
                <a:gd name="T83" fmla="*/ 185 h 195"/>
                <a:gd name="T84" fmla="*/ 227 w 289"/>
                <a:gd name="T85" fmla="*/ 175 h 195"/>
                <a:gd name="T86" fmla="*/ 221 w 289"/>
                <a:gd name="T87" fmla="*/ 169 h 195"/>
                <a:gd name="T88" fmla="*/ 208 w 289"/>
                <a:gd name="T89" fmla="*/ 168 h 195"/>
                <a:gd name="T90" fmla="*/ 203 w 289"/>
                <a:gd name="T91" fmla="*/ 159 h 195"/>
                <a:gd name="T92" fmla="*/ 208 w 289"/>
                <a:gd name="T93" fmla="*/ 152 h 195"/>
                <a:gd name="T94" fmla="*/ 227 w 289"/>
                <a:gd name="T95" fmla="*/ 141 h 195"/>
                <a:gd name="T96" fmla="*/ 242 w 289"/>
                <a:gd name="T97" fmla="*/ 139 h 195"/>
                <a:gd name="T98" fmla="*/ 256 w 289"/>
                <a:gd name="T99" fmla="*/ 134 h 195"/>
                <a:gd name="T100" fmla="*/ 266 w 289"/>
                <a:gd name="T101"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9" h="195">
                  <a:moveTo>
                    <a:pt x="268" y="126"/>
                  </a:moveTo>
                  <a:lnTo>
                    <a:pt x="268" y="126"/>
                  </a:lnTo>
                  <a:lnTo>
                    <a:pt x="275" y="124"/>
                  </a:lnTo>
                  <a:lnTo>
                    <a:pt x="281" y="120"/>
                  </a:lnTo>
                  <a:lnTo>
                    <a:pt x="285" y="115"/>
                  </a:lnTo>
                  <a:lnTo>
                    <a:pt x="287" y="110"/>
                  </a:lnTo>
                  <a:lnTo>
                    <a:pt x="287" y="110"/>
                  </a:lnTo>
                  <a:lnTo>
                    <a:pt x="288" y="95"/>
                  </a:lnTo>
                  <a:lnTo>
                    <a:pt x="289" y="88"/>
                  </a:lnTo>
                  <a:lnTo>
                    <a:pt x="288" y="84"/>
                  </a:lnTo>
                  <a:lnTo>
                    <a:pt x="288" y="84"/>
                  </a:lnTo>
                  <a:lnTo>
                    <a:pt x="285" y="78"/>
                  </a:lnTo>
                  <a:lnTo>
                    <a:pt x="282" y="73"/>
                  </a:lnTo>
                  <a:lnTo>
                    <a:pt x="278" y="69"/>
                  </a:lnTo>
                  <a:lnTo>
                    <a:pt x="275" y="68"/>
                  </a:lnTo>
                  <a:lnTo>
                    <a:pt x="272" y="68"/>
                  </a:lnTo>
                  <a:lnTo>
                    <a:pt x="272" y="68"/>
                  </a:lnTo>
                  <a:lnTo>
                    <a:pt x="262" y="66"/>
                  </a:lnTo>
                  <a:lnTo>
                    <a:pt x="252" y="63"/>
                  </a:lnTo>
                  <a:lnTo>
                    <a:pt x="252" y="63"/>
                  </a:lnTo>
                  <a:lnTo>
                    <a:pt x="245" y="60"/>
                  </a:lnTo>
                  <a:lnTo>
                    <a:pt x="234" y="59"/>
                  </a:lnTo>
                  <a:lnTo>
                    <a:pt x="226" y="56"/>
                  </a:lnTo>
                  <a:lnTo>
                    <a:pt x="221" y="55"/>
                  </a:lnTo>
                  <a:lnTo>
                    <a:pt x="220" y="53"/>
                  </a:lnTo>
                  <a:lnTo>
                    <a:pt x="220" y="53"/>
                  </a:lnTo>
                  <a:lnTo>
                    <a:pt x="210" y="42"/>
                  </a:lnTo>
                  <a:lnTo>
                    <a:pt x="198" y="31"/>
                  </a:lnTo>
                  <a:lnTo>
                    <a:pt x="198" y="31"/>
                  </a:lnTo>
                  <a:lnTo>
                    <a:pt x="195" y="27"/>
                  </a:lnTo>
                  <a:lnTo>
                    <a:pt x="192" y="20"/>
                  </a:lnTo>
                  <a:lnTo>
                    <a:pt x="187" y="7"/>
                  </a:lnTo>
                  <a:lnTo>
                    <a:pt x="187" y="7"/>
                  </a:lnTo>
                  <a:lnTo>
                    <a:pt x="185" y="2"/>
                  </a:lnTo>
                  <a:lnTo>
                    <a:pt x="184" y="0"/>
                  </a:lnTo>
                  <a:lnTo>
                    <a:pt x="181" y="0"/>
                  </a:lnTo>
                  <a:lnTo>
                    <a:pt x="178" y="1"/>
                  </a:lnTo>
                  <a:lnTo>
                    <a:pt x="178" y="1"/>
                  </a:lnTo>
                  <a:lnTo>
                    <a:pt x="175" y="4"/>
                  </a:lnTo>
                  <a:lnTo>
                    <a:pt x="171" y="5"/>
                  </a:lnTo>
                  <a:lnTo>
                    <a:pt x="162" y="7"/>
                  </a:lnTo>
                  <a:lnTo>
                    <a:pt x="162" y="7"/>
                  </a:lnTo>
                  <a:lnTo>
                    <a:pt x="152" y="7"/>
                  </a:lnTo>
                  <a:lnTo>
                    <a:pt x="146" y="8"/>
                  </a:lnTo>
                  <a:lnTo>
                    <a:pt x="142" y="11"/>
                  </a:lnTo>
                  <a:lnTo>
                    <a:pt x="142" y="11"/>
                  </a:lnTo>
                  <a:lnTo>
                    <a:pt x="137" y="15"/>
                  </a:lnTo>
                  <a:lnTo>
                    <a:pt x="130" y="20"/>
                  </a:lnTo>
                  <a:lnTo>
                    <a:pt x="123" y="24"/>
                  </a:lnTo>
                  <a:lnTo>
                    <a:pt x="114" y="27"/>
                  </a:lnTo>
                  <a:lnTo>
                    <a:pt x="114" y="27"/>
                  </a:lnTo>
                  <a:lnTo>
                    <a:pt x="75" y="27"/>
                  </a:lnTo>
                  <a:lnTo>
                    <a:pt x="22" y="27"/>
                  </a:lnTo>
                  <a:lnTo>
                    <a:pt x="22" y="27"/>
                  </a:lnTo>
                  <a:lnTo>
                    <a:pt x="24" y="31"/>
                  </a:lnTo>
                  <a:lnTo>
                    <a:pt x="24" y="31"/>
                  </a:lnTo>
                  <a:lnTo>
                    <a:pt x="26" y="36"/>
                  </a:lnTo>
                  <a:lnTo>
                    <a:pt x="26" y="40"/>
                  </a:lnTo>
                  <a:lnTo>
                    <a:pt x="26" y="47"/>
                  </a:lnTo>
                  <a:lnTo>
                    <a:pt x="26" y="47"/>
                  </a:lnTo>
                  <a:lnTo>
                    <a:pt x="26" y="49"/>
                  </a:lnTo>
                  <a:lnTo>
                    <a:pt x="24" y="52"/>
                  </a:lnTo>
                  <a:lnTo>
                    <a:pt x="19" y="60"/>
                  </a:lnTo>
                  <a:lnTo>
                    <a:pt x="11" y="69"/>
                  </a:lnTo>
                  <a:lnTo>
                    <a:pt x="10" y="73"/>
                  </a:lnTo>
                  <a:lnTo>
                    <a:pt x="8" y="78"/>
                  </a:lnTo>
                  <a:lnTo>
                    <a:pt x="8" y="78"/>
                  </a:lnTo>
                  <a:lnTo>
                    <a:pt x="6" y="88"/>
                  </a:lnTo>
                  <a:lnTo>
                    <a:pt x="1" y="95"/>
                  </a:lnTo>
                  <a:lnTo>
                    <a:pt x="1" y="95"/>
                  </a:lnTo>
                  <a:lnTo>
                    <a:pt x="0" y="98"/>
                  </a:lnTo>
                  <a:lnTo>
                    <a:pt x="1" y="102"/>
                  </a:lnTo>
                  <a:lnTo>
                    <a:pt x="8" y="114"/>
                  </a:lnTo>
                  <a:lnTo>
                    <a:pt x="8" y="114"/>
                  </a:lnTo>
                  <a:lnTo>
                    <a:pt x="11" y="113"/>
                  </a:lnTo>
                  <a:lnTo>
                    <a:pt x="13" y="113"/>
                  </a:lnTo>
                  <a:lnTo>
                    <a:pt x="13" y="113"/>
                  </a:lnTo>
                  <a:lnTo>
                    <a:pt x="23" y="117"/>
                  </a:lnTo>
                  <a:lnTo>
                    <a:pt x="32" y="118"/>
                  </a:lnTo>
                  <a:lnTo>
                    <a:pt x="32" y="118"/>
                  </a:lnTo>
                  <a:lnTo>
                    <a:pt x="36" y="117"/>
                  </a:lnTo>
                  <a:lnTo>
                    <a:pt x="43" y="115"/>
                  </a:lnTo>
                  <a:lnTo>
                    <a:pt x="52" y="111"/>
                  </a:lnTo>
                  <a:lnTo>
                    <a:pt x="52" y="111"/>
                  </a:lnTo>
                  <a:lnTo>
                    <a:pt x="53" y="111"/>
                  </a:lnTo>
                  <a:lnTo>
                    <a:pt x="53" y="111"/>
                  </a:lnTo>
                  <a:lnTo>
                    <a:pt x="61" y="105"/>
                  </a:lnTo>
                  <a:lnTo>
                    <a:pt x="68" y="102"/>
                  </a:lnTo>
                  <a:lnTo>
                    <a:pt x="77" y="101"/>
                  </a:lnTo>
                  <a:lnTo>
                    <a:pt x="82" y="99"/>
                  </a:lnTo>
                  <a:lnTo>
                    <a:pt x="82" y="99"/>
                  </a:lnTo>
                  <a:lnTo>
                    <a:pt x="90" y="102"/>
                  </a:lnTo>
                  <a:lnTo>
                    <a:pt x="98" y="107"/>
                  </a:lnTo>
                  <a:lnTo>
                    <a:pt x="107" y="114"/>
                  </a:lnTo>
                  <a:lnTo>
                    <a:pt x="111" y="120"/>
                  </a:lnTo>
                  <a:lnTo>
                    <a:pt x="111" y="120"/>
                  </a:lnTo>
                  <a:lnTo>
                    <a:pt x="114" y="127"/>
                  </a:lnTo>
                  <a:lnTo>
                    <a:pt x="116" y="136"/>
                  </a:lnTo>
                  <a:lnTo>
                    <a:pt x="116" y="144"/>
                  </a:lnTo>
                  <a:lnTo>
                    <a:pt x="113" y="150"/>
                  </a:lnTo>
                  <a:lnTo>
                    <a:pt x="113" y="150"/>
                  </a:lnTo>
                  <a:lnTo>
                    <a:pt x="110" y="155"/>
                  </a:lnTo>
                  <a:lnTo>
                    <a:pt x="107" y="162"/>
                  </a:lnTo>
                  <a:lnTo>
                    <a:pt x="104" y="176"/>
                  </a:lnTo>
                  <a:lnTo>
                    <a:pt x="104" y="176"/>
                  </a:lnTo>
                  <a:lnTo>
                    <a:pt x="107" y="176"/>
                  </a:lnTo>
                  <a:lnTo>
                    <a:pt x="110" y="175"/>
                  </a:lnTo>
                  <a:lnTo>
                    <a:pt x="110" y="175"/>
                  </a:lnTo>
                  <a:lnTo>
                    <a:pt x="116" y="173"/>
                  </a:lnTo>
                  <a:lnTo>
                    <a:pt x="121" y="172"/>
                  </a:lnTo>
                  <a:lnTo>
                    <a:pt x="121" y="172"/>
                  </a:lnTo>
                  <a:lnTo>
                    <a:pt x="123" y="169"/>
                  </a:lnTo>
                  <a:lnTo>
                    <a:pt x="124" y="166"/>
                  </a:lnTo>
                  <a:lnTo>
                    <a:pt x="129" y="160"/>
                  </a:lnTo>
                  <a:lnTo>
                    <a:pt x="129" y="160"/>
                  </a:lnTo>
                  <a:lnTo>
                    <a:pt x="134" y="153"/>
                  </a:lnTo>
                  <a:lnTo>
                    <a:pt x="137" y="146"/>
                  </a:lnTo>
                  <a:lnTo>
                    <a:pt x="137" y="146"/>
                  </a:lnTo>
                  <a:lnTo>
                    <a:pt x="139" y="144"/>
                  </a:lnTo>
                  <a:lnTo>
                    <a:pt x="142" y="143"/>
                  </a:lnTo>
                  <a:lnTo>
                    <a:pt x="148" y="143"/>
                  </a:lnTo>
                  <a:lnTo>
                    <a:pt x="158" y="143"/>
                  </a:lnTo>
                  <a:lnTo>
                    <a:pt x="158" y="143"/>
                  </a:lnTo>
                  <a:lnTo>
                    <a:pt x="159" y="144"/>
                  </a:lnTo>
                  <a:lnTo>
                    <a:pt x="159" y="147"/>
                  </a:lnTo>
                  <a:lnTo>
                    <a:pt x="162" y="153"/>
                  </a:lnTo>
                  <a:lnTo>
                    <a:pt x="162" y="153"/>
                  </a:lnTo>
                  <a:lnTo>
                    <a:pt x="163" y="155"/>
                  </a:lnTo>
                  <a:lnTo>
                    <a:pt x="165" y="155"/>
                  </a:lnTo>
                  <a:lnTo>
                    <a:pt x="172" y="155"/>
                  </a:lnTo>
                  <a:lnTo>
                    <a:pt x="185" y="153"/>
                  </a:lnTo>
                  <a:lnTo>
                    <a:pt x="185" y="153"/>
                  </a:lnTo>
                  <a:lnTo>
                    <a:pt x="187" y="155"/>
                  </a:lnTo>
                  <a:lnTo>
                    <a:pt x="187" y="155"/>
                  </a:lnTo>
                  <a:lnTo>
                    <a:pt x="184" y="157"/>
                  </a:lnTo>
                  <a:lnTo>
                    <a:pt x="178" y="160"/>
                  </a:lnTo>
                  <a:lnTo>
                    <a:pt x="172" y="163"/>
                  </a:lnTo>
                  <a:lnTo>
                    <a:pt x="172" y="163"/>
                  </a:lnTo>
                  <a:lnTo>
                    <a:pt x="168" y="166"/>
                  </a:lnTo>
                  <a:lnTo>
                    <a:pt x="165" y="168"/>
                  </a:lnTo>
                  <a:lnTo>
                    <a:pt x="165" y="170"/>
                  </a:lnTo>
                  <a:lnTo>
                    <a:pt x="166" y="172"/>
                  </a:lnTo>
                  <a:lnTo>
                    <a:pt x="166" y="172"/>
                  </a:lnTo>
                  <a:lnTo>
                    <a:pt x="169" y="175"/>
                  </a:lnTo>
                  <a:lnTo>
                    <a:pt x="174" y="179"/>
                  </a:lnTo>
                  <a:lnTo>
                    <a:pt x="179" y="188"/>
                  </a:lnTo>
                  <a:lnTo>
                    <a:pt x="179" y="188"/>
                  </a:lnTo>
                  <a:lnTo>
                    <a:pt x="185" y="194"/>
                  </a:lnTo>
                  <a:lnTo>
                    <a:pt x="188" y="195"/>
                  </a:lnTo>
                  <a:lnTo>
                    <a:pt x="191" y="195"/>
                  </a:lnTo>
                  <a:lnTo>
                    <a:pt x="191" y="195"/>
                  </a:lnTo>
                  <a:lnTo>
                    <a:pt x="194" y="194"/>
                  </a:lnTo>
                  <a:lnTo>
                    <a:pt x="197" y="192"/>
                  </a:lnTo>
                  <a:lnTo>
                    <a:pt x="201" y="188"/>
                  </a:lnTo>
                  <a:lnTo>
                    <a:pt x="201" y="188"/>
                  </a:lnTo>
                  <a:lnTo>
                    <a:pt x="211" y="182"/>
                  </a:lnTo>
                  <a:lnTo>
                    <a:pt x="211" y="182"/>
                  </a:lnTo>
                  <a:lnTo>
                    <a:pt x="213" y="182"/>
                  </a:lnTo>
                  <a:lnTo>
                    <a:pt x="214" y="183"/>
                  </a:lnTo>
                  <a:lnTo>
                    <a:pt x="217" y="185"/>
                  </a:lnTo>
                  <a:lnTo>
                    <a:pt x="218" y="186"/>
                  </a:lnTo>
                  <a:lnTo>
                    <a:pt x="218" y="186"/>
                  </a:lnTo>
                  <a:lnTo>
                    <a:pt x="223" y="186"/>
                  </a:lnTo>
                  <a:lnTo>
                    <a:pt x="226" y="186"/>
                  </a:lnTo>
                  <a:lnTo>
                    <a:pt x="229" y="188"/>
                  </a:lnTo>
                  <a:lnTo>
                    <a:pt x="229" y="188"/>
                  </a:lnTo>
                  <a:lnTo>
                    <a:pt x="230" y="188"/>
                  </a:lnTo>
                  <a:lnTo>
                    <a:pt x="230" y="185"/>
                  </a:lnTo>
                  <a:lnTo>
                    <a:pt x="227" y="178"/>
                  </a:lnTo>
                  <a:lnTo>
                    <a:pt x="227" y="178"/>
                  </a:lnTo>
                  <a:lnTo>
                    <a:pt x="227" y="176"/>
                  </a:lnTo>
                  <a:lnTo>
                    <a:pt x="227" y="175"/>
                  </a:lnTo>
                  <a:lnTo>
                    <a:pt x="226" y="173"/>
                  </a:lnTo>
                  <a:lnTo>
                    <a:pt x="224" y="172"/>
                  </a:lnTo>
                  <a:lnTo>
                    <a:pt x="224" y="172"/>
                  </a:lnTo>
                  <a:lnTo>
                    <a:pt x="221" y="169"/>
                  </a:lnTo>
                  <a:lnTo>
                    <a:pt x="218" y="169"/>
                  </a:lnTo>
                  <a:lnTo>
                    <a:pt x="211" y="170"/>
                  </a:lnTo>
                  <a:lnTo>
                    <a:pt x="211" y="170"/>
                  </a:lnTo>
                  <a:lnTo>
                    <a:pt x="208" y="168"/>
                  </a:lnTo>
                  <a:lnTo>
                    <a:pt x="207" y="165"/>
                  </a:lnTo>
                  <a:lnTo>
                    <a:pt x="205" y="162"/>
                  </a:lnTo>
                  <a:lnTo>
                    <a:pt x="203" y="159"/>
                  </a:lnTo>
                  <a:lnTo>
                    <a:pt x="203" y="159"/>
                  </a:lnTo>
                  <a:lnTo>
                    <a:pt x="203" y="157"/>
                  </a:lnTo>
                  <a:lnTo>
                    <a:pt x="204" y="156"/>
                  </a:lnTo>
                  <a:lnTo>
                    <a:pt x="208" y="152"/>
                  </a:lnTo>
                  <a:lnTo>
                    <a:pt x="208" y="152"/>
                  </a:lnTo>
                  <a:lnTo>
                    <a:pt x="221" y="143"/>
                  </a:lnTo>
                  <a:lnTo>
                    <a:pt x="221" y="143"/>
                  </a:lnTo>
                  <a:lnTo>
                    <a:pt x="224" y="141"/>
                  </a:lnTo>
                  <a:lnTo>
                    <a:pt x="227" y="141"/>
                  </a:lnTo>
                  <a:lnTo>
                    <a:pt x="234" y="141"/>
                  </a:lnTo>
                  <a:lnTo>
                    <a:pt x="234" y="141"/>
                  </a:lnTo>
                  <a:lnTo>
                    <a:pt x="237" y="140"/>
                  </a:lnTo>
                  <a:lnTo>
                    <a:pt x="242" y="139"/>
                  </a:lnTo>
                  <a:lnTo>
                    <a:pt x="245" y="136"/>
                  </a:lnTo>
                  <a:lnTo>
                    <a:pt x="249" y="134"/>
                  </a:lnTo>
                  <a:lnTo>
                    <a:pt x="249" y="134"/>
                  </a:lnTo>
                  <a:lnTo>
                    <a:pt x="256" y="134"/>
                  </a:lnTo>
                  <a:lnTo>
                    <a:pt x="263" y="131"/>
                  </a:lnTo>
                  <a:lnTo>
                    <a:pt x="263" y="131"/>
                  </a:lnTo>
                  <a:lnTo>
                    <a:pt x="265" y="128"/>
                  </a:lnTo>
                  <a:lnTo>
                    <a:pt x="266" y="127"/>
                  </a:lnTo>
                  <a:lnTo>
                    <a:pt x="268" y="126"/>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89" name="Freeform 245"/>
            <p:cNvSpPr>
              <a:spLocks/>
            </p:cNvSpPr>
            <p:nvPr/>
          </p:nvSpPr>
          <p:spPr bwMode="auto">
            <a:xfrm>
              <a:off x="4881563" y="3192891"/>
              <a:ext cx="458788" cy="309563"/>
            </a:xfrm>
            <a:custGeom>
              <a:avLst/>
              <a:gdLst>
                <a:gd name="T0" fmla="*/ 281 w 289"/>
                <a:gd name="T1" fmla="*/ 120 h 195"/>
                <a:gd name="T2" fmla="*/ 288 w 289"/>
                <a:gd name="T3" fmla="*/ 95 h 195"/>
                <a:gd name="T4" fmla="*/ 285 w 289"/>
                <a:gd name="T5" fmla="*/ 78 h 195"/>
                <a:gd name="T6" fmla="*/ 272 w 289"/>
                <a:gd name="T7" fmla="*/ 68 h 195"/>
                <a:gd name="T8" fmla="*/ 252 w 289"/>
                <a:gd name="T9" fmla="*/ 63 h 195"/>
                <a:gd name="T10" fmla="*/ 221 w 289"/>
                <a:gd name="T11" fmla="*/ 55 h 195"/>
                <a:gd name="T12" fmla="*/ 198 w 289"/>
                <a:gd name="T13" fmla="*/ 31 h 195"/>
                <a:gd name="T14" fmla="*/ 187 w 289"/>
                <a:gd name="T15" fmla="*/ 7 h 195"/>
                <a:gd name="T16" fmla="*/ 181 w 289"/>
                <a:gd name="T17" fmla="*/ 0 h 195"/>
                <a:gd name="T18" fmla="*/ 171 w 289"/>
                <a:gd name="T19" fmla="*/ 5 h 195"/>
                <a:gd name="T20" fmla="*/ 146 w 289"/>
                <a:gd name="T21" fmla="*/ 8 h 195"/>
                <a:gd name="T22" fmla="*/ 130 w 289"/>
                <a:gd name="T23" fmla="*/ 20 h 195"/>
                <a:gd name="T24" fmla="*/ 75 w 289"/>
                <a:gd name="T25" fmla="*/ 27 h 195"/>
                <a:gd name="T26" fmla="*/ 24 w 289"/>
                <a:gd name="T27" fmla="*/ 31 h 195"/>
                <a:gd name="T28" fmla="*/ 26 w 289"/>
                <a:gd name="T29" fmla="*/ 47 h 195"/>
                <a:gd name="T30" fmla="*/ 11 w 289"/>
                <a:gd name="T31" fmla="*/ 69 h 195"/>
                <a:gd name="T32" fmla="*/ 6 w 289"/>
                <a:gd name="T33" fmla="*/ 88 h 195"/>
                <a:gd name="T34" fmla="*/ 1 w 289"/>
                <a:gd name="T35" fmla="*/ 102 h 195"/>
                <a:gd name="T36" fmla="*/ 13 w 289"/>
                <a:gd name="T37" fmla="*/ 113 h 195"/>
                <a:gd name="T38" fmla="*/ 32 w 289"/>
                <a:gd name="T39" fmla="*/ 118 h 195"/>
                <a:gd name="T40" fmla="*/ 52 w 289"/>
                <a:gd name="T41" fmla="*/ 111 h 195"/>
                <a:gd name="T42" fmla="*/ 68 w 289"/>
                <a:gd name="T43" fmla="*/ 102 h 195"/>
                <a:gd name="T44" fmla="*/ 90 w 289"/>
                <a:gd name="T45" fmla="*/ 102 h 195"/>
                <a:gd name="T46" fmla="*/ 111 w 289"/>
                <a:gd name="T47" fmla="*/ 120 h 195"/>
                <a:gd name="T48" fmla="*/ 113 w 289"/>
                <a:gd name="T49" fmla="*/ 150 h 195"/>
                <a:gd name="T50" fmla="*/ 104 w 289"/>
                <a:gd name="T51" fmla="*/ 176 h 195"/>
                <a:gd name="T52" fmla="*/ 110 w 289"/>
                <a:gd name="T53" fmla="*/ 175 h 195"/>
                <a:gd name="T54" fmla="*/ 123 w 289"/>
                <a:gd name="T55" fmla="*/ 169 h 195"/>
                <a:gd name="T56" fmla="*/ 134 w 289"/>
                <a:gd name="T57" fmla="*/ 153 h 195"/>
                <a:gd name="T58" fmla="*/ 142 w 289"/>
                <a:gd name="T59" fmla="*/ 143 h 195"/>
                <a:gd name="T60" fmla="*/ 159 w 289"/>
                <a:gd name="T61" fmla="*/ 144 h 195"/>
                <a:gd name="T62" fmla="*/ 163 w 289"/>
                <a:gd name="T63" fmla="*/ 155 h 195"/>
                <a:gd name="T64" fmla="*/ 185 w 289"/>
                <a:gd name="T65" fmla="*/ 153 h 195"/>
                <a:gd name="T66" fmla="*/ 178 w 289"/>
                <a:gd name="T67" fmla="*/ 160 h 195"/>
                <a:gd name="T68" fmla="*/ 165 w 289"/>
                <a:gd name="T69" fmla="*/ 168 h 195"/>
                <a:gd name="T70" fmla="*/ 169 w 289"/>
                <a:gd name="T71" fmla="*/ 175 h 195"/>
                <a:gd name="T72" fmla="*/ 185 w 289"/>
                <a:gd name="T73" fmla="*/ 194 h 195"/>
                <a:gd name="T74" fmla="*/ 194 w 289"/>
                <a:gd name="T75" fmla="*/ 194 h 195"/>
                <a:gd name="T76" fmla="*/ 211 w 289"/>
                <a:gd name="T77" fmla="*/ 182 h 195"/>
                <a:gd name="T78" fmla="*/ 217 w 289"/>
                <a:gd name="T79" fmla="*/ 185 h 195"/>
                <a:gd name="T80" fmla="*/ 226 w 289"/>
                <a:gd name="T81" fmla="*/ 186 h 195"/>
                <a:gd name="T82" fmla="*/ 230 w 289"/>
                <a:gd name="T83" fmla="*/ 185 h 195"/>
                <a:gd name="T84" fmla="*/ 227 w 289"/>
                <a:gd name="T85" fmla="*/ 175 h 195"/>
                <a:gd name="T86" fmla="*/ 221 w 289"/>
                <a:gd name="T87" fmla="*/ 169 h 195"/>
                <a:gd name="T88" fmla="*/ 208 w 289"/>
                <a:gd name="T89" fmla="*/ 168 h 195"/>
                <a:gd name="T90" fmla="*/ 203 w 289"/>
                <a:gd name="T91" fmla="*/ 159 h 195"/>
                <a:gd name="T92" fmla="*/ 208 w 289"/>
                <a:gd name="T93" fmla="*/ 152 h 195"/>
                <a:gd name="T94" fmla="*/ 227 w 289"/>
                <a:gd name="T95" fmla="*/ 141 h 195"/>
                <a:gd name="T96" fmla="*/ 242 w 289"/>
                <a:gd name="T97" fmla="*/ 139 h 195"/>
                <a:gd name="T98" fmla="*/ 256 w 289"/>
                <a:gd name="T99" fmla="*/ 134 h 195"/>
                <a:gd name="T100" fmla="*/ 266 w 289"/>
                <a:gd name="T101"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9" h="195">
                  <a:moveTo>
                    <a:pt x="268" y="126"/>
                  </a:moveTo>
                  <a:lnTo>
                    <a:pt x="268" y="126"/>
                  </a:lnTo>
                  <a:lnTo>
                    <a:pt x="275" y="124"/>
                  </a:lnTo>
                  <a:lnTo>
                    <a:pt x="281" y="120"/>
                  </a:lnTo>
                  <a:lnTo>
                    <a:pt x="285" y="115"/>
                  </a:lnTo>
                  <a:lnTo>
                    <a:pt x="287" y="110"/>
                  </a:lnTo>
                  <a:lnTo>
                    <a:pt x="287" y="110"/>
                  </a:lnTo>
                  <a:lnTo>
                    <a:pt x="288" y="95"/>
                  </a:lnTo>
                  <a:lnTo>
                    <a:pt x="289" y="88"/>
                  </a:lnTo>
                  <a:lnTo>
                    <a:pt x="288" y="84"/>
                  </a:lnTo>
                  <a:lnTo>
                    <a:pt x="288" y="84"/>
                  </a:lnTo>
                  <a:lnTo>
                    <a:pt x="285" y="78"/>
                  </a:lnTo>
                  <a:lnTo>
                    <a:pt x="282" y="73"/>
                  </a:lnTo>
                  <a:lnTo>
                    <a:pt x="278" y="69"/>
                  </a:lnTo>
                  <a:lnTo>
                    <a:pt x="275" y="68"/>
                  </a:lnTo>
                  <a:lnTo>
                    <a:pt x="272" y="68"/>
                  </a:lnTo>
                  <a:lnTo>
                    <a:pt x="272" y="68"/>
                  </a:lnTo>
                  <a:lnTo>
                    <a:pt x="262" y="66"/>
                  </a:lnTo>
                  <a:lnTo>
                    <a:pt x="252" y="63"/>
                  </a:lnTo>
                  <a:lnTo>
                    <a:pt x="252" y="63"/>
                  </a:lnTo>
                  <a:lnTo>
                    <a:pt x="245" y="60"/>
                  </a:lnTo>
                  <a:lnTo>
                    <a:pt x="234" y="59"/>
                  </a:lnTo>
                  <a:lnTo>
                    <a:pt x="226" y="56"/>
                  </a:lnTo>
                  <a:lnTo>
                    <a:pt x="221" y="55"/>
                  </a:lnTo>
                  <a:lnTo>
                    <a:pt x="220" y="53"/>
                  </a:lnTo>
                  <a:lnTo>
                    <a:pt x="220" y="53"/>
                  </a:lnTo>
                  <a:lnTo>
                    <a:pt x="210" y="42"/>
                  </a:lnTo>
                  <a:lnTo>
                    <a:pt x="198" y="31"/>
                  </a:lnTo>
                  <a:lnTo>
                    <a:pt x="198" y="31"/>
                  </a:lnTo>
                  <a:lnTo>
                    <a:pt x="195" y="27"/>
                  </a:lnTo>
                  <a:lnTo>
                    <a:pt x="192" y="20"/>
                  </a:lnTo>
                  <a:lnTo>
                    <a:pt x="187" y="7"/>
                  </a:lnTo>
                  <a:lnTo>
                    <a:pt x="187" y="7"/>
                  </a:lnTo>
                  <a:lnTo>
                    <a:pt x="185" y="2"/>
                  </a:lnTo>
                  <a:lnTo>
                    <a:pt x="184" y="0"/>
                  </a:lnTo>
                  <a:lnTo>
                    <a:pt x="181" y="0"/>
                  </a:lnTo>
                  <a:lnTo>
                    <a:pt x="178" y="1"/>
                  </a:lnTo>
                  <a:lnTo>
                    <a:pt x="178" y="1"/>
                  </a:lnTo>
                  <a:lnTo>
                    <a:pt x="175" y="4"/>
                  </a:lnTo>
                  <a:lnTo>
                    <a:pt x="171" y="5"/>
                  </a:lnTo>
                  <a:lnTo>
                    <a:pt x="162" y="7"/>
                  </a:lnTo>
                  <a:lnTo>
                    <a:pt x="162" y="7"/>
                  </a:lnTo>
                  <a:lnTo>
                    <a:pt x="152" y="7"/>
                  </a:lnTo>
                  <a:lnTo>
                    <a:pt x="146" y="8"/>
                  </a:lnTo>
                  <a:lnTo>
                    <a:pt x="142" y="11"/>
                  </a:lnTo>
                  <a:lnTo>
                    <a:pt x="142" y="11"/>
                  </a:lnTo>
                  <a:lnTo>
                    <a:pt x="137" y="15"/>
                  </a:lnTo>
                  <a:lnTo>
                    <a:pt x="130" y="20"/>
                  </a:lnTo>
                  <a:lnTo>
                    <a:pt x="123" y="24"/>
                  </a:lnTo>
                  <a:lnTo>
                    <a:pt x="114" y="27"/>
                  </a:lnTo>
                  <a:lnTo>
                    <a:pt x="114" y="27"/>
                  </a:lnTo>
                  <a:lnTo>
                    <a:pt x="75" y="27"/>
                  </a:lnTo>
                  <a:lnTo>
                    <a:pt x="22" y="27"/>
                  </a:lnTo>
                  <a:lnTo>
                    <a:pt x="22" y="27"/>
                  </a:lnTo>
                  <a:lnTo>
                    <a:pt x="24" y="31"/>
                  </a:lnTo>
                  <a:lnTo>
                    <a:pt x="24" y="31"/>
                  </a:lnTo>
                  <a:lnTo>
                    <a:pt x="26" y="36"/>
                  </a:lnTo>
                  <a:lnTo>
                    <a:pt x="26" y="40"/>
                  </a:lnTo>
                  <a:lnTo>
                    <a:pt x="26" y="47"/>
                  </a:lnTo>
                  <a:lnTo>
                    <a:pt x="26" y="47"/>
                  </a:lnTo>
                  <a:lnTo>
                    <a:pt x="26" y="49"/>
                  </a:lnTo>
                  <a:lnTo>
                    <a:pt x="24" y="52"/>
                  </a:lnTo>
                  <a:lnTo>
                    <a:pt x="19" y="60"/>
                  </a:lnTo>
                  <a:lnTo>
                    <a:pt x="11" y="69"/>
                  </a:lnTo>
                  <a:lnTo>
                    <a:pt x="10" y="73"/>
                  </a:lnTo>
                  <a:lnTo>
                    <a:pt x="8" y="78"/>
                  </a:lnTo>
                  <a:lnTo>
                    <a:pt x="8" y="78"/>
                  </a:lnTo>
                  <a:lnTo>
                    <a:pt x="6" y="88"/>
                  </a:lnTo>
                  <a:lnTo>
                    <a:pt x="1" y="95"/>
                  </a:lnTo>
                  <a:lnTo>
                    <a:pt x="1" y="95"/>
                  </a:lnTo>
                  <a:lnTo>
                    <a:pt x="0" y="98"/>
                  </a:lnTo>
                  <a:lnTo>
                    <a:pt x="1" y="102"/>
                  </a:lnTo>
                  <a:lnTo>
                    <a:pt x="8" y="114"/>
                  </a:lnTo>
                  <a:lnTo>
                    <a:pt x="8" y="114"/>
                  </a:lnTo>
                  <a:lnTo>
                    <a:pt x="11" y="113"/>
                  </a:lnTo>
                  <a:lnTo>
                    <a:pt x="13" y="113"/>
                  </a:lnTo>
                  <a:lnTo>
                    <a:pt x="13" y="113"/>
                  </a:lnTo>
                  <a:lnTo>
                    <a:pt x="23" y="117"/>
                  </a:lnTo>
                  <a:lnTo>
                    <a:pt x="32" y="118"/>
                  </a:lnTo>
                  <a:lnTo>
                    <a:pt x="32" y="118"/>
                  </a:lnTo>
                  <a:lnTo>
                    <a:pt x="36" y="117"/>
                  </a:lnTo>
                  <a:lnTo>
                    <a:pt x="43" y="115"/>
                  </a:lnTo>
                  <a:lnTo>
                    <a:pt x="52" y="111"/>
                  </a:lnTo>
                  <a:lnTo>
                    <a:pt x="52" y="111"/>
                  </a:lnTo>
                  <a:lnTo>
                    <a:pt x="53" y="111"/>
                  </a:lnTo>
                  <a:lnTo>
                    <a:pt x="53" y="111"/>
                  </a:lnTo>
                  <a:lnTo>
                    <a:pt x="61" y="105"/>
                  </a:lnTo>
                  <a:lnTo>
                    <a:pt x="68" y="102"/>
                  </a:lnTo>
                  <a:lnTo>
                    <a:pt x="77" y="101"/>
                  </a:lnTo>
                  <a:lnTo>
                    <a:pt x="82" y="99"/>
                  </a:lnTo>
                  <a:lnTo>
                    <a:pt x="82" y="99"/>
                  </a:lnTo>
                  <a:lnTo>
                    <a:pt x="90" y="102"/>
                  </a:lnTo>
                  <a:lnTo>
                    <a:pt x="98" y="107"/>
                  </a:lnTo>
                  <a:lnTo>
                    <a:pt x="107" y="114"/>
                  </a:lnTo>
                  <a:lnTo>
                    <a:pt x="111" y="120"/>
                  </a:lnTo>
                  <a:lnTo>
                    <a:pt x="111" y="120"/>
                  </a:lnTo>
                  <a:lnTo>
                    <a:pt x="114" y="127"/>
                  </a:lnTo>
                  <a:lnTo>
                    <a:pt x="116" y="136"/>
                  </a:lnTo>
                  <a:lnTo>
                    <a:pt x="116" y="144"/>
                  </a:lnTo>
                  <a:lnTo>
                    <a:pt x="113" y="150"/>
                  </a:lnTo>
                  <a:lnTo>
                    <a:pt x="113" y="150"/>
                  </a:lnTo>
                  <a:lnTo>
                    <a:pt x="110" y="155"/>
                  </a:lnTo>
                  <a:lnTo>
                    <a:pt x="107" y="162"/>
                  </a:lnTo>
                  <a:lnTo>
                    <a:pt x="104" y="176"/>
                  </a:lnTo>
                  <a:lnTo>
                    <a:pt x="104" y="176"/>
                  </a:lnTo>
                  <a:lnTo>
                    <a:pt x="107" y="176"/>
                  </a:lnTo>
                  <a:lnTo>
                    <a:pt x="110" y="175"/>
                  </a:lnTo>
                  <a:lnTo>
                    <a:pt x="110" y="175"/>
                  </a:lnTo>
                  <a:lnTo>
                    <a:pt x="116" y="173"/>
                  </a:lnTo>
                  <a:lnTo>
                    <a:pt x="121" y="172"/>
                  </a:lnTo>
                  <a:lnTo>
                    <a:pt x="121" y="172"/>
                  </a:lnTo>
                  <a:lnTo>
                    <a:pt x="123" y="169"/>
                  </a:lnTo>
                  <a:lnTo>
                    <a:pt x="124" y="166"/>
                  </a:lnTo>
                  <a:lnTo>
                    <a:pt x="129" y="160"/>
                  </a:lnTo>
                  <a:lnTo>
                    <a:pt x="129" y="160"/>
                  </a:lnTo>
                  <a:lnTo>
                    <a:pt x="134" y="153"/>
                  </a:lnTo>
                  <a:lnTo>
                    <a:pt x="137" y="146"/>
                  </a:lnTo>
                  <a:lnTo>
                    <a:pt x="137" y="146"/>
                  </a:lnTo>
                  <a:lnTo>
                    <a:pt x="139" y="144"/>
                  </a:lnTo>
                  <a:lnTo>
                    <a:pt x="142" y="143"/>
                  </a:lnTo>
                  <a:lnTo>
                    <a:pt x="148" y="143"/>
                  </a:lnTo>
                  <a:lnTo>
                    <a:pt x="158" y="143"/>
                  </a:lnTo>
                  <a:lnTo>
                    <a:pt x="158" y="143"/>
                  </a:lnTo>
                  <a:lnTo>
                    <a:pt x="159" y="144"/>
                  </a:lnTo>
                  <a:lnTo>
                    <a:pt x="159" y="147"/>
                  </a:lnTo>
                  <a:lnTo>
                    <a:pt x="162" y="153"/>
                  </a:lnTo>
                  <a:lnTo>
                    <a:pt x="162" y="153"/>
                  </a:lnTo>
                  <a:lnTo>
                    <a:pt x="163" y="155"/>
                  </a:lnTo>
                  <a:lnTo>
                    <a:pt x="165" y="155"/>
                  </a:lnTo>
                  <a:lnTo>
                    <a:pt x="172" y="155"/>
                  </a:lnTo>
                  <a:lnTo>
                    <a:pt x="185" y="153"/>
                  </a:lnTo>
                  <a:lnTo>
                    <a:pt x="185" y="153"/>
                  </a:lnTo>
                  <a:lnTo>
                    <a:pt x="187" y="155"/>
                  </a:lnTo>
                  <a:lnTo>
                    <a:pt x="187" y="155"/>
                  </a:lnTo>
                  <a:lnTo>
                    <a:pt x="184" y="157"/>
                  </a:lnTo>
                  <a:lnTo>
                    <a:pt x="178" y="160"/>
                  </a:lnTo>
                  <a:lnTo>
                    <a:pt x="172" y="163"/>
                  </a:lnTo>
                  <a:lnTo>
                    <a:pt x="172" y="163"/>
                  </a:lnTo>
                  <a:lnTo>
                    <a:pt x="168" y="166"/>
                  </a:lnTo>
                  <a:lnTo>
                    <a:pt x="165" y="168"/>
                  </a:lnTo>
                  <a:lnTo>
                    <a:pt x="165" y="170"/>
                  </a:lnTo>
                  <a:lnTo>
                    <a:pt x="166" y="172"/>
                  </a:lnTo>
                  <a:lnTo>
                    <a:pt x="166" y="172"/>
                  </a:lnTo>
                  <a:lnTo>
                    <a:pt x="169" y="175"/>
                  </a:lnTo>
                  <a:lnTo>
                    <a:pt x="174" y="179"/>
                  </a:lnTo>
                  <a:lnTo>
                    <a:pt x="179" y="188"/>
                  </a:lnTo>
                  <a:lnTo>
                    <a:pt x="179" y="188"/>
                  </a:lnTo>
                  <a:lnTo>
                    <a:pt x="185" y="194"/>
                  </a:lnTo>
                  <a:lnTo>
                    <a:pt x="188" y="195"/>
                  </a:lnTo>
                  <a:lnTo>
                    <a:pt x="191" y="195"/>
                  </a:lnTo>
                  <a:lnTo>
                    <a:pt x="191" y="195"/>
                  </a:lnTo>
                  <a:lnTo>
                    <a:pt x="194" y="194"/>
                  </a:lnTo>
                  <a:lnTo>
                    <a:pt x="197" y="192"/>
                  </a:lnTo>
                  <a:lnTo>
                    <a:pt x="201" y="188"/>
                  </a:lnTo>
                  <a:lnTo>
                    <a:pt x="201" y="188"/>
                  </a:lnTo>
                  <a:lnTo>
                    <a:pt x="211" y="182"/>
                  </a:lnTo>
                  <a:lnTo>
                    <a:pt x="211" y="182"/>
                  </a:lnTo>
                  <a:lnTo>
                    <a:pt x="213" y="182"/>
                  </a:lnTo>
                  <a:lnTo>
                    <a:pt x="214" y="183"/>
                  </a:lnTo>
                  <a:lnTo>
                    <a:pt x="217" y="185"/>
                  </a:lnTo>
                  <a:lnTo>
                    <a:pt x="218" y="186"/>
                  </a:lnTo>
                  <a:lnTo>
                    <a:pt x="218" y="186"/>
                  </a:lnTo>
                  <a:lnTo>
                    <a:pt x="223" y="186"/>
                  </a:lnTo>
                  <a:lnTo>
                    <a:pt x="226" y="186"/>
                  </a:lnTo>
                  <a:lnTo>
                    <a:pt x="229" y="188"/>
                  </a:lnTo>
                  <a:lnTo>
                    <a:pt x="229" y="188"/>
                  </a:lnTo>
                  <a:lnTo>
                    <a:pt x="230" y="188"/>
                  </a:lnTo>
                  <a:lnTo>
                    <a:pt x="230" y="185"/>
                  </a:lnTo>
                  <a:lnTo>
                    <a:pt x="227" y="178"/>
                  </a:lnTo>
                  <a:lnTo>
                    <a:pt x="227" y="178"/>
                  </a:lnTo>
                  <a:lnTo>
                    <a:pt x="227" y="176"/>
                  </a:lnTo>
                  <a:lnTo>
                    <a:pt x="227" y="175"/>
                  </a:lnTo>
                  <a:lnTo>
                    <a:pt x="226" y="173"/>
                  </a:lnTo>
                  <a:lnTo>
                    <a:pt x="224" y="172"/>
                  </a:lnTo>
                  <a:lnTo>
                    <a:pt x="224" y="172"/>
                  </a:lnTo>
                  <a:lnTo>
                    <a:pt x="221" y="169"/>
                  </a:lnTo>
                  <a:lnTo>
                    <a:pt x="218" y="169"/>
                  </a:lnTo>
                  <a:lnTo>
                    <a:pt x="211" y="170"/>
                  </a:lnTo>
                  <a:lnTo>
                    <a:pt x="211" y="170"/>
                  </a:lnTo>
                  <a:lnTo>
                    <a:pt x="208" y="168"/>
                  </a:lnTo>
                  <a:lnTo>
                    <a:pt x="207" y="165"/>
                  </a:lnTo>
                  <a:lnTo>
                    <a:pt x="205" y="162"/>
                  </a:lnTo>
                  <a:lnTo>
                    <a:pt x="203" y="159"/>
                  </a:lnTo>
                  <a:lnTo>
                    <a:pt x="203" y="159"/>
                  </a:lnTo>
                  <a:lnTo>
                    <a:pt x="203" y="157"/>
                  </a:lnTo>
                  <a:lnTo>
                    <a:pt x="204" y="156"/>
                  </a:lnTo>
                  <a:lnTo>
                    <a:pt x="208" y="152"/>
                  </a:lnTo>
                  <a:lnTo>
                    <a:pt x="208" y="152"/>
                  </a:lnTo>
                  <a:lnTo>
                    <a:pt x="221" y="143"/>
                  </a:lnTo>
                  <a:lnTo>
                    <a:pt x="221" y="143"/>
                  </a:lnTo>
                  <a:lnTo>
                    <a:pt x="224" y="141"/>
                  </a:lnTo>
                  <a:lnTo>
                    <a:pt x="227" y="141"/>
                  </a:lnTo>
                  <a:lnTo>
                    <a:pt x="234" y="141"/>
                  </a:lnTo>
                  <a:lnTo>
                    <a:pt x="234" y="141"/>
                  </a:lnTo>
                  <a:lnTo>
                    <a:pt x="237" y="140"/>
                  </a:lnTo>
                  <a:lnTo>
                    <a:pt x="242" y="139"/>
                  </a:lnTo>
                  <a:lnTo>
                    <a:pt x="245" y="136"/>
                  </a:lnTo>
                  <a:lnTo>
                    <a:pt x="249" y="134"/>
                  </a:lnTo>
                  <a:lnTo>
                    <a:pt x="249" y="134"/>
                  </a:lnTo>
                  <a:lnTo>
                    <a:pt x="256" y="134"/>
                  </a:lnTo>
                  <a:lnTo>
                    <a:pt x="263" y="131"/>
                  </a:lnTo>
                  <a:lnTo>
                    <a:pt x="263" y="131"/>
                  </a:lnTo>
                  <a:lnTo>
                    <a:pt x="265" y="128"/>
                  </a:lnTo>
                  <a:lnTo>
                    <a:pt x="266" y="127"/>
                  </a:lnTo>
                  <a:lnTo>
                    <a:pt x="268" y="1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90" name="Freeform 256"/>
            <p:cNvSpPr>
              <a:spLocks/>
            </p:cNvSpPr>
            <p:nvPr/>
          </p:nvSpPr>
          <p:spPr bwMode="auto">
            <a:xfrm>
              <a:off x="2406651" y="4631166"/>
              <a:ext cx="1014413" cy="1003300"/>
            </a:xfrm>
            <a:custGeom>
              <a:avLst/>
              <a:gdLst>
                <a:gd name="T0" fmla="*/ 620 w 639"/>
                <a:gd name="T1" fmla="*/ 157 h 632"/>
                <a:gd name="T2" fmla="*/ 568 w 639"/>
                <a:gd name="T3" fmla="*/ 136 h 632"/>
                <a:gd name="T4" fmla="*/ 513 w 639"/>
                <a:gd name="T5" fmla="*/ 125 h 632"/>
                <a:gd name="T6" fmla="*/ 481 w 639"/>
                <a:gd name="T7" fmla="*/ 119 h 632"/>
                <a:gd name="T8" fmla="*/ 436 w 639"/>
                <a:gd name="T9" fmla="*/ 92 h 632"/>
                <a:gd name="T10" fmla="*/ 412 w 639"/>
                <a:gd name="T11" fmla="*/ 112 h 632"/>
                <a:gd name="T12" fmla="*/ 418 w 639"/>
                <a:gd name="T13" fmla="*/ 87 h 632"/>
                <a:gd name="T14" fmla="*/ 391 w 639"/>
                <a:gd name="T15" fmla="*/ 78 h 632"/>
                <a:gd name="T16" fmla="*/ 378 w 639"/>
                <a:gd name="T17" fmla="*/ 86 h 632"/>
                <a:gd name="T18" fmla="*/ 394 w 639"/>
                <a:gd name="T19" fmla="*/ 60 h 632"/>
                <a:gd name="T20" fmla="*/ 373 w 639"/>
                <a:gd name="T21" fmla="*/ 21 h 632"/>
                <a:gd name="T22" fmla="*/ 336 w 639"/>
                <a:gd name="T23" fmla="*/ 50 h 632"/>
                <a:gd name="T24" fmla="*/ 300 w 639"/>
                <a:gd name="T25" fmla="*/ 47 h 632"/>
                <a:gd name="T26" fmla="*/ 258 w 639"/>
                <a:gd name="T27" fmla="*/ 63 h 632"/>
                <a:gd name="T28" fmla="*/ 236 w 639"/>
                <a:gd name="T29" fmla="*/ 45 h 632"/>
                <a:gd name="T30" fmla="*/ 225 w 639"/>
                <a:gd name="T31" fmla="*/ 0 h 632"/>
                <a:gd name="T32" fmla="*/ 203 w 639"/>
                <a:gd name="T33" fmla="*/ 19 h 632"/>
                <a:gd name="T34" fmla="*/ 157 w 639"/>
                <a:gd name="T35" fmla="*/ 15 h 632"/>
                <a:gd name="T36" fmla="*/ 167 w 639"/>
                <a:gd name="T37" fmla="*/ 50 h 632"/>
                <a:gd name="T38" fmla="*/ 137 w 639"/>
                <a:gd name="T39" fmla="*/ 70 h 632"/>
                <a:gd name="T40" fmla="*/ 105 w 639"/>
                <a:gd name="T41" fmla="*/ 54 h 632"/>
                <a:gd name="T42" fmla="*/ 87 w 639"/>
                <a:gd name="T43" fmla="*/ 65 h 632"/>
                <a:gd name="T44" fmla="*/ 76 w 639"/>
                <a:gd name="T45" fmla="*/ 84 h 632"/>
                <a:gd name="T46" fmla="*/ 70 w 639"/>
                <a:gd name="T47" fmla="*/ 134 h 632"/>
                <a:gd name="T48" fmla="*/ 53 w 639"/>
                <a:gd name="T49" fmla="*/ 151 h 632"/>
                <a:gd name="T50" fmla="*/ 31 w 639"/>
                <a:gd name="T51" fmla="*/ 154 h 632"/>
                <a:gd name="T52" fmla="*/ 11 w 639"/>
                <a:gd name="T53" fmla="*/ 177 h 632"/>
                <a:gd name="T54" fmla="*/ 11 w 639"/>
                <a:gd name="T55" fmla="*/ 218 h 632"/>
                <a:gd name="T56" fmla="*/ 50 w 639"/>
                <a:gd name="T57" fmla="*/ 225 h 632"/>
                <a:gd name="T58" fmla="*/ 61 w 639"/>
                <a:gd name="T59" fmla="*/ 247 h 632"/>
                <a:gd name="T60" fmla="*/ 109 w 639"/>
                <a:gd name="T61" fmla="*/ 238 h 632"/>
                <a:gd name="T62" fmla="*/ 141 w 639"/>
                <a:gd name="T63" fmla="*/ 231 h 632"/>
                <a:gd name="T64" fmla="*/ 157 w 639"/>
                <a:gd name="T65" fmla="*/ 270 h 632"/>
                <a:gd name="T66" fmla="*/ 199 w 639"/>
                <a:gd name="T67" fmla="*/ 289 h 632"/>
                <a:gd name="T68" fmla="*/ 223 w 639"/>
                <a:gd name="T69" fmla="*/ 299 h 632"/>
                <a:gd name="T70" fmla="*/ 236 w 639"/>
                <a:gd name="T71" fmla="*/ 331 h 632"/>
                <a:gd name="T72" fmla="*/ 258 w 639"/>
                <a:gd name="T73" fmla="*/ 335 h 632"/>
                <a:gd name="T74" fmla="*/ 270 w 639"/>
                <a:gd name="T75" fmla="*/ 358 h 632"/>
                <a:gd name="T76" fmla="*/ 265 w 639"/>
                <a:gd name="T77" fmla="*/ 401 h 632"/>
                <a:gd name="T78" fmla="*/ 296 w 639"/>
                <a:gd name="T79" fmla="*/ 435 h 632"/>
                <a:gd name="T80" fmla="*/ 309 w 639"/>
                <a:gd name="T81" fmla="*/ 458 h 632"/>
                <a:gd name="T82" fmla="*/ 316 w 639"/>
                <a:gd name="T83" fmla="*/ 487 h 632"/>
                <a:gd name="T84" fmla="*/ 329 w 639"/>
                <a:gd name="T85" fmla="*/ 516 h 632"/>
                <a:gd name="T86" fmla="*/ 287 w 639"/>
                <a:gd name="T87" fmla="*/ 556 h 632"/>
                <a:gd name="T88" fmla="*/ 289 w 639"/>
                <a:gd name="T89" fmla="*/ 584 h 632"/>
                <a:gd name="T90" fmla="*/ 335 w 639"/>
                <a:gd name="T91" fmla="*/ 619 h 632"/>
                <a:gd name="T92" fmla="*/ 352 w 639"/>
                <a:gd name="T93" fmla="*/ 623 h 632"/>
                <a:gd name="T94" fmla="*/ 367 w 639"/>
                <a:gd name="T95" fmla="*/ 588 h 632"/>
                <a:gd name="T96" fmla="*/ 373 w 639"/>
                <a:gd name="T97" fmla="*/ 593 h 632"/>
                <a:gd name="T98" fmla="*/ 393 w 639"/>
                <a:gd name="T99" fmla="*/ 575 h 632"/>
                <a:gd name="T100" fmla="*/ 416 w 639"/>
                <a:gd name="T101" fmla="*/ 546 h 632"/>
                <a:gd name="T102" fmla="*/ 416 w 639"/>
                <a:gd name="T103" fmla="*/ 525 h 632"/>
                <a:gd name="T104" fmla="*/ 418 w 639"/>
                <a:gd name="T105" fmla="*/ 497 h 632"/>
                <a:gd name="T106" fmla="*/ 461 w 639"/>
                <a:gd name="T107" fmla="*/ 462 h 632"/>
                <a:gd name="T108" fmla="*/ 497 w 639"/>
                <a:gd name="T109" fmla="*/ 449 h 632"/>
                <a:gd name="T110" fmla="*/ 542 w 639"/>
                <a:gd name="T111" fmla="*/ 417 h 632"/>
                <a:gd name="T112" fmla="*/ 562 w 639"/>
                <a:gd name="T113" fmla="*/ 373 h 632"/>
                <a:gd name="T114" fmla="*/ 572 w 639"/>
                <a:gd name="T115" fmla="*/ 326 h 632"/>
                <a:gd name="T116" fmla="*/ 587 w 639"/>
                <a:gd name="T117" fmla="*/ 274 h 632"/>
                <a:gd name="T118" fmla="*/ 636 w 639"/>
                <a:gd name="T119" fmla="*/ 20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9" h="632">
                  <a:moveTo>
                    <a:pt x="635" y="173"/>
                  </a:moveTo>
                  <a:lnTo>
                    <a:pt x="635" y="173"/>
                  </a:lnTo>
                  <a:lnTo>
                    <a:pt x="633" y="168"/>
                  </a:lnTo>
                  <a:lnTo>
                    <a:pt x="632" y="165"/>
                  </a:lnTo>
                  <a:lnTo>
                    <a:pt x="632" y="162"/>
                  </a:lnTo>
                  <a:lnTo>
                    <a:pt x="629" y="161"/>
                  </a:lnTo>
                  <a:lnTo>
                    <a:pt x="629" y="161"/>
                  </a:lnTo>
                  <a:lnTo>
                    <a:pt x="620" y="157"/>
                  </a:lnTo>
                  <a:lnTo>
                    <a:pt x="613" y="154"/>
                  </a:lnTo>
                  <a:lnTo>
                    <a:pt x="606" y="152"/>
                  </a:lnTo>
                  <a:lnTo>
                    <a:pt x="606" y="152"/>
                  </a:lnTo>
                  <a:lnTo>
                    <a:pt x="591" y="151"/>
                  </a:lnTo>
                  <a:lnTo>
                    <a:pt x="584" y="149"/>
                  </a:lnTo>
                  <a:lnTo>
                    <a:pt x="580" y="147"/>
                  </a:lnTo>
                  <a:lnTo>
                    <a:pt x="580" y="147"/>
                  </a:lnTo>
                  <a:lnTo>
                    <a:pt x="568" y="136"/>
                  </a:lnTo>
                  <a:lnTo>
                    <a:pt x="562" y="131"/>
                  </a:lnTo>
                  <a:lnTo>
                    <a:pt x="558" y="129"/>
                  </a:lnTo>
                  <a:lnTo>
                    <a:pt x="552" y="129"/>
                  </a:lnTo>
                  <a:lnTo>
                    <a:pt x="552" y="129"/>
                  </a:lnTo>
                  <a:lnTo>
                    <a:pt x="533" y="128"/>
                  </a:lnTo>
                  <a:lnTo>
                    <a:pt x="517" y="126"/>
                  </a:lnTo>
                  <a:lnTo>
                    <a:pt x="517" y="126"/>
                  </a:lnTo>
                  <a:lnTo>
                    <a:pt x="513" y="125"/>
                  </a:lnTo>
                  <a:lnTo>
                    <a:pt x="509" y="123"/>
                  </a:lnTo>
                  <a:lnTo>
                    <a:pt x="504" y="120"/>
                  </a:lnTo>
                  <a:lnTo>
                    <a:pt x="499" y="120"/>
                  </a:lnTo>
                  <a:lnTo>
                    <a:pt x="499" y="120"/>
                  </a:lnTo>
                  <a:lnTo>
                    <a:pt x="490" y="120"/>
                  </a:lnTo>
                  <a:lnTo>
                    <a:pt x="490" y="120"/>
                  </a:lnTo>
                  <a:lnTo>
                    <a:pt x="486" y="120"/>
                  </a:lnTo>
                  <a:lnTo>
                    <a:pt x="481" y="119"/>
                  </a:lnTo>
                  <a:lnTo>
                    <a:pt x="481" y="119"/>
                  </a:lnTo>
                  <a:lnTo>
                    <a:pt x="477" y="113"/>
                  </a:lnTo>
                  <a:lnTo>
                    <a:pt x="474" y="110"/>
                  </a:lnTo>
                  <a:lnTo>
                    <a:pt x="471" y="109"/>
                  </a:lnTo>
                  <a:lnTo>
                    <a:pt x="471" y="109"/>
                  </a:lnTo>
                  <a:lnTo>
                    <a:pt x="444" y="96"/>
                  </a:lnTo>
                  <a:lnTo>
                    <a:pt x="444" y="96"/>
                  </a:lnTo>
                  <a:lnTo>
                    <a:pt x="436" y="92"/>
                  </a:lnTo>
                  <a:lnTo>
                    <a:pt x="432" y="90"/>
                  </a:lnTo>
                  <a:lnTo>
                    <a:pt x="428" y="92"/>
                  </a:lnTo>
                  <a:lnTo>
                    <a:pt x="428" y="92"/>
                  </a:lnTo>
                  <a:lnTo>
                    <a:pt x="423" y="96"/>
                  </a:lnTo>
                  <a:lnTo>
                    <a:pt x="419" y="103"/>
                  </a:lnTo>
                  <a:lnTo>
                    <a:pt x="416" y="109"/>
                  </a:lnTo>
                  <a:lnTo>
                    <a:pt x="413" y="112"/>
                  </a:lnTo>
                  <a:lnTo>
                    <a:pt x="412" y="112"/>
                  </a:lnTo>
                  <a:lnTo>
                    <a:pt x="412" y="112"/>
                  </a:lnTo>
                  <a:lnTo>
                    <a:pt x="412" y="112"/>
                  </a:lnTo>
                  <a:lnTo>
                    <a:pt x="412" y="110"/>
                  </a:lnTo>
                  <a:lnTo>
                    <a:pt x="415" y="105"/>
                  </a:lnTo>
                  <a:lnTo>
                    <a:pt x="420" y="94"/>
                  </a:lnTo>
                  <a:lnTo>
                    <a:pt x="420" y="94"/>
                  </a:lnTo>
                  <a:lnTo>
                    <a:pt x="419" y="90"/>
                  </a:lnTo>
                  <a:lnTo>
                    <a:pt x="418" y="87"/>
                  </a:lnTo>
                  <a:lnTo>
                    <a:pt x="413" y="86"/>
                  </a:lnTo>
                  <a:lnTo>
                    <a:pt x="413" y="86"/>
                  </a:lnTo>
                  <a:lnTo>
                    <a:pt x="403" y="87"/>
                  </a:lnTo>
                  <a:lnTo>
                    <a:pt x="400" y="87"/>
                  </a:lnTo>
                  <a:lnTo>
                    <a:pt x="397" y="86"/>
                  </a:lnTo>
                  <a:lnTo>
                    <a:pt x="397" y="86"/>
                  </a:lnTo>
                  <a:lnTo>
                    <a:pt x="393" y="80"/>
                  </a:lnTo>
                  <a:lnTo>
                    <a:pt x="391" y="78"/>
                  </a:lnTo>
                  <a:lnTo>
                    <a:pt x="389" y="80"/>
                  </a:lnTo>
                  <a:lnTo>
                    <a:pt x="389" y="80"/>
                  </a:lnTo>
                  <a:lnTo>
                    <a:pt x="383" y="86"/>
                  </a:lnTo>
                  <a:lnTo>
                    <a:pt x="381" y="87"/>
                  </a:lnTo>
                  <a:lnTo>
                    <a:pt x="380" y="87"/>
                  </a:lnTo>
                  <a:lnTo>
                    <a:pt x="378" y="87"/>
                  </a:lnTo>
                  <a:lnTo>
                    <a:pt x="378" y="87"/>
                  </a:lnTo>
                  <a:lnTo>
                    <a:pt x="378" y="86"/>
                  </a:lnTo>
                  <a:lnTo>
                    <a:pt x="380" y="84"/>
                  </a:lnTo>
                  <a:lnTo>
                    <a:pt x="383" y="81"/>
                  </a:lnTo>
                  <a:lnTo>
                    <a:pt x="390" y="76"/>
                  </a:lnTo>
                  <a:lnTo>
                    <a:pt x="390" y="76"/>
                  </a:lnTo>
                  <a:lnTo>
                    <a:pt x="391" y="73"/>
                  </a:lnTo>
                  <a:lnTo>
                    <a:pt x="393" y="68"/>
                  </a:lnTo>
                  <a:lnTo>
                    <a:pt x="394" y="64"/>
                  </a:lnTo>
                  <a:lnTo>
                    <a:pt x="394" y="60"/>
                  </a:lnTo>
                  <a:lnTo>
                    <a:pt x="394" y="60"/>
                  </a:lnTo>
                  <a:lnTo>
                    <a:pt x="391" y="55"/>
                  </a:lnTo>
                  <a:lnTo>
                    <a:pt x="387" y="50"/>
                  </a:lnTo>
                  <a:lnTo>
                    <a:pt x="387" y="50"/>
                  </a:lnTo>
                  <a:lnTo>
                    <a:pt x="384" y="44"/>
                  </a:lnTo>
                  <a:lnTo>
                    <a:pt x="380" y="35"/>
                  </a:lnTo>
                  <a:lnTo>
                    <a:pt x="373" y="21"/>
                  </a:lnTo>
                  <a:lnTo>
                    <a:pt x="373" y="21"/>
                  </a:lnTo>
                  <a:lnTo>
                    <a:pt x="370" y="16"/>
                  </a:lnTo>
                  <a:lnTo>
                    <a:pt x="370" y="16"/>
                  </a:lnTo>
                  <a:lnTo>
                    <a:pt x="362" y="29"/>
                  </a:lnTo>
                  <a:lnTo>
                    <a:pt x="355" y="38"/>
                  </a:lnTo>
                  <a:lnTo>
                    <a:pt x="355" y="38"/>
                  </a:lnTo>
                  <a:lnTo>
                    <a:pt x="349" y="44"/>
                  </a:lnTo>
                  <a:lnTo>
                    <a:pt x="342" y="48"/>
                  </a:lnTo>
                  <a:lnTo>
                    <a:pt x="336" y="50"/>
                  </a:lnTo>
                  <a:lnTo>
                    <a:pt x="332" y="51"/>
                  </a:lnTo>
                  <a:lnTo>
                    <a:pt x="332" y="51"/>
                  </a:lnTo>
                  <a:lnTo>
                    <a:pt x="328" y="51"/>
                  </a:lnTo>
                  <a:lnTo>
                    <a:pt x="320" y="50"/>
                  </a:lnTo>
                  <a:lnTo>
                    <a:pt x="320" y="50"/>
                  </a:lnTo>
                  <a:lnTo>
                    <a:pt x="310" y="47"/>
                  </a:lnTo>
                  <a:lnTo>
                    <a:pt x="305" y="47"/>
                  </a:lnTo>
                  <a:lnTo>
                    <a:pt x="300" y="47"/>
                  </a:lnTo>
                  <a:lnTo>
                    <a:pt x="300" y="47"/>
                  </a:lnTo>
                  <a:lnTo>
                    <a:pt x="292" y="50"/>
                  </a:lnTo>
                  <a:lnTo>
                    <a:pt x="281" y="52"/>
                  </a:lnTo>
                  <a:lnTo>
                    <a:pt x="273" y="57"/>
                  </a:lnTo>
                  <a:lnTo>
                    <a:pt x="265" y="58"/>
                  </a:lnTo>
                  <a:lnTo>
                    <a:pt x="265" y="58"/>
                  </a:lnTo>
                  <a:lnTo>
                    <a:pt x="261" y="60"/>
                  </a:lnTo>
                  <a:lnTo>
                    <a:pt x="258" y="63"/>
                  </a:lnTo>
                  <a:lnTo>
                    <a:pt x="255" y="65"/>
                  </a:lnTo>
                  <a:lnTo>
                    <a:pt x="251" y="67"/>
                  </a:lnTo>
                  <a:lnTo>
                    <a:pt x="251" y="67"/>
                  </a:lnTo>
                  <a:lnTo>
                    <a:pt x="248" y="67"/>
                  </a:lnTo>
                  <a:lnTo>
                    <a:pt x="245" y="64"/>
                  </a:lnTo>
                  <a:lnTo>
                    <a:pt x="241" y="60"/>
                  </a:lnTo>
                  <a:lnTo>
                    <a:pt x="238" y="52"/>
                  </a:lnTo>
                  <a:lnTo>
                    <a:pt x="236" y="45"/>
                  </a:lnTo>
                  <a:lnTo>
                    <a:pt x="236" y="45"/>
                  </a:lnTo>
                  <a:lnTo>
                    <a:pt x="236" y="32"/>
                  </a:lnTo>
                  <a:lnTo>
                    <a:pt x="236" y="21"/>
                  </a:lnTo>
                  <a:lnTo>
                    <a:pt x="236" y="21"/>
                  </a:lnTo>
                  <a:lnTo>
                    <a:pt x="236" y="15"/>
                  </a:lnTo>
                  <a:lnTo>
                    <a:pt x="234" y="8"/>
                  </a:lnTo>
                  <a:lnTo>
                    <a:pt x="229" y="3"/>
                  </a:lnTo>
                  <a:lnTo>
                    <a:pt x="225" y="0"/>
                  </a:lnTo>
                  <a:lnTo>
                    <a:pt x="225" y="0"/>
                  </a:lnTo>
                  <a:lnTo>
                    <a:pt x="223" y="0"/>
                  </a:lnTo>
                  <a:lnTo>
                    <a:pt x="222" y="2"/>
                  </a:lnTo>
                  <a:lnTo>
                    <a:pt x="219" y="6"/>
                  </a:lnTo>
                  <a:lnTo>
                    <a:pt x="216" y="12"/>
                  </a:lnTo>
                  <a:lnTo>
                    <a:pt x="212" y="16"/>
                  </a:lnTo>
                  <a:lnTo>
                    <a:pt x="212" y="16"/>
                  </a:lnTo>
                  <a:lnTo>
                    <a:pt x="203" y="19"/>
                  </a:lnTo>
                  <a:lnTo>
                    <a:pt x="190" y="21"/>
                  </a:lnTo>
                  <a:lnTo>
                    <a:pt x="170" y="21"/>
                  </a:lnTo>
                  <a:lnTo>
                    <a:pt x="170" y="21"/>
                  </a:lnTo>
                  <a:lnTo>
                    <a:pt x="167" y="21"/>
                  </a:lnTo>
                  <a:lnTo>
                    <a:pt x="166" y="19"/>
                  </a:lnTo>
                  <a:lnTo>
                    <a:pt x="163" y="16"/>
                  </a:lnTo>
                  <a:lnTo>
                    <a:pt x="158" y="15"/>
                  </a:lnTo>
                  <a:lnTo>
                    <a:pt x="157" y="15"/>
                  </a:lnTo>
                  <a:lnTo>
                    <a:pt x="154" y="16"/>
                  </a:lnTo>
                  <a:lnTo>
                    <a:pt x="154" y="16"/>
                  </a:lnTo>
                  <a:lnTo>
                    <a:pt x="152" y="18"/>
                  </a:lnTo>
                  <a:lnTo>
                    <a:pt x="152" y="22"/>
                  </a:lnTo>
                  <a:lnTo>
                    <a:pt x="157" y="29"/>
                  </a:lnTo>
                  <a:lnTo>
                    <a:pt x="166" y="47"/>
                  </a:lnTo>
                  <a:lnTo>
                    <a:pt x="166" y="47"/>
                  </a:lnTo>
                  <a:lnTo>
                    <a:pt x="167" y="50"/>
                  </a:lnTo>
                  <a:lnTo>
                    <a:pt x="167" y="51"/>
                  </a:lnTo>
                  <a:lnTo>
                    <a:pt x="164" y="55"/>
                  </a:lnTo>
                  <a:lnTo>
                    <a:pt x="160" y="60"/>
                  </a:lnTo>
                  <a:lnTo>
                    <a:pt x="155" y="63"/>
                  </a:lnTo>
                  <a:lnTo>
                    <a:pt x="155" y="63"/>
                  </a:lnTo>
                  <a:lnTo>
                    <a:pt x="145" y="68"/>
                  </a:lnTo>
                  <a:lnTo>
                    <a:pt x="137" y="70"/>
                  </a:lnTo>
                  <a:lnTo>
                    <a:pt x="137" y="70"/>
                  </a:lnTo>
                  <a:lnTo>
                    <a:pt x="131" y="68"/>
                  </a:lnTo>
                  <a:lnTo>
                    <a:pt x="125" y="64"/>
                  </a:lnTo>
                  <a:lnTo>
                    <a:pt x="121" y="60"/>
                  </a:lnTo>
                  <a:lnTo>
                    <a:pt x="118" y="55"/>
                  </a:lnTo>
                  <a:lnTo>
                    <a:pt x="118" y="55"/>
                  </a:lnTo>
                  <a:lnTo>
                    <a:pt x="116" y="52"/>
                  </a:lnTo>
                  <a:lnTo>
                    <a:pt x="113" y="52"/>
                  </a:lnTo>
                  <a:lnTo>
                    <a:pt x="105" y="54"/>
                  </a:lnTo>
                  <a:lnTo>
                    <a:pt x="105" y="54"/>
                  </a:lnTo>
                  <a:lnTo>
                    <a:pt x="102" y="54"/>
                  </a:lnTo>
                  <a:lnTo>
                    <a:pt x="102" y="57"/>
                  </a:lnTo>
                  <a:lnTo>
                    <a:pt x="103" y="63"/>
                  </a:lnTo>
                  <a:lnTo>
                    <a:pt x="103" y="63"/>
                  </a:lnTo>
                  <a:lnTo>
                    <a:pt x="102" y="65"/>
                  </a:lnTo>
                  <a:lnTo>
                    <a:pt x="97" y="65"/>
                  </a:lnTo>
                  <a:lnTo>
                    <a:pt x="87" y="65"/>
                  </a:lnTo>
                  <a:lnTo>
                    <a:pt x="87" y="65"/>
                  </a:lnTo>
                  <a:lnTo>
                    <a:pt x="83" y="65"/>
                  </a:lnTo>
                  <a:lnTo>
                    <a:pt x="80" y="68"/>
                  </a:lnTo>
                  <a:lnTo>
                    <a:pt x="73" y="77"/>
                  </a:lnTo>
                  <a:lnTo>
                    <a:pt x="73" y="77"/>
                  </a:lnTo>
                  <a:lnTo>
                    <a:pt x="73" y="78"/>
                  </a:lnTo>
                  <a:lnTo>
                    <a:pt x="73" y="80"/>
                  </a:lnTo>
                  <a:lnTo>
                    <a:pt x="76" y="84"/>
                  </a:lnTo>
                  <a:lnTo>
                    <a:pt x="80" y="90"/>
                  </a:lnTo>
                  <a:lnTo>
                    <a:pt x="83" y="94"/>
                  </a:lnTo>
                  <a:lnTo>
                    <a:pt x="83" y="94"/>
                  </a:lnTo>
                  <a:lnTo>
                    <a:pt x="83" y="102"/>
                  </a:lnTo>
                  <a:lnTo>
                    <a:pt x="80" y="109"/>
                  </a:lnTo>
                  <a:lnTo>
                    <a:pt x="74" y="125"/>
                  </a:lnTo>
                  <a:lnTo>
                    <a:pt x="74" y="125"/>
                  </a:lnTo>
                  <a:lnTo>
                    <a:pt x="70" y="134"/>
                  </a:lnTo>
                  <a:lnTo>
                    <a:pt x="68" y="142"/>
                  </a:lnTo>
                  <a:lnTo>
                    <a:pt x="67" y="152"/>
                  </a:lnTo>
                  <a:lnTo>
                    <a:pt x="64" y="151"/>
                  </a:lnTo>
                  <a:lnTo>
                    <a:pt x="64" y="151"/>
                  </a:lnTo>
                  <a:lnTo>
                    <a:pt x="61" y="151"/>
                  </a:lnTo>
                  <a:lnTo>
                    <a:pt x="57" y="151"/>
                  </a:lnTo>
                  <a:lnTo>
                    <a:pt x="57" y="151"/>
                  </a:lnTo>
                  <a:lnTo>
                    <a:pt x="53" y="151"/>
                  </a:lnTo>
                  <a:lnTo>
                    <a:pt x="48" y="152"/>
                  </a:lnTo>
                  <a:lnTo>
                    <a:pt x="48" y="152"/>
                  </a:lnTo>
                  <a:lnTo>
                    <a:pt x="44" y="154"/>
                  </a:lnTo>
                  <a:lnTo>
                    <a:pt x="40" y="154"/>
                  </a:lnTo>
                  <a:lnTo>
                    <a:pt x="40" y="154"/>
                  </a:lnTo>
                  <a:lnTo>
                    <a:pt x="35" y="154"/>
                  </a:lnTo>
                  <a:lnTo>
                    <a:pt x="31" y="154"/>
                  </a:lnTo>
                  <a:lnTo>
                    <a:pt x="31" y="154"/>
                  </a:lnTo>
                  <a:lnTo>
                    <a:pt x="26" y="157"/>
                  </a:lnTo>
                  <a:lnTo>
                    <a:pt x="22" y="161"/>
                  </a:lnTo>
                  <a:lnTo>
                    <a:pt x="21" y="165"/>
                  </a:lnTo>
                  <a:lnTo>
                    <a:pt x="19" y="170"/>
                  </a:lnTo>
                  <a:lnTo>
                    <a:pt x="19" y="170"/>
                  </a:lnTo>
                  <a:lnTo>
                    <a:pt x="19" y="171"/>
                  </a:lnTo>
                  <a:lnTo>
                    <a:pt x="16" y="173"/>
                  </a:lnTo>
                  <a:lnTo>
                    <a:pt x="11" y="177"/>
                  </a:lnTo>
                  <a:lnTo>
                    <a:pt x="3" y="181"/>
                  </a:lnTo>
                  <a:lnTo>
                    <a:pt x="0" y="184"/>
                  </a:lnTo>
                  <a:lnTo>
                    <a:pt x="0" y="184"/>
                  </a:lnTo>
                  <a:lnTo>
                    <a:pt x="0" y="189"/>
                  </a:lnTo>
                  <a:lnTo>
                    <a:pt x="3" y="197"/>
                  </a:lnTo>
                  <a:lnTo>
                    <a:pt x="8" y="215"/>
                  </a:lnTo>
                  <a:lnTo>
                    <a:pt x="8" y="215"/>
                  </a:lnTo>
                  <a:lnTo>
                    <a:pt x="11" y="218"/>
                  </a:lnTo>
                  <a:lnTo>
                    <a:pt x="13" y="220"/>
                  </a:lnTo>
                  <a:lnTo>
                    <a:pt x="22" y="225"/>
                  </a:lnTo>
                  <a:lnTo>
                    <a:pt x="31" y="228"/>
                  </a:lnTo>
                  <a:lnTo>
                    <a:pt x="38" y="229"/>
                  </a:lnTo>
                  <a:lnTo>
                    <a:pt x="38" y="229"/>
                  </a:lnTo>
                  <a:lnTo>
                    <a:pt x="44" y="228"/>
                  </a:lnTo>
                  <a:lnTo>
                    <a:pt x="50" y="225"/>
                  </a:lnTo>
                  <a:lnTo>
                    <a:pt x="50" y="225"/>
                  </a:lnTo>
                  <a:lnTo>
                    <a:pt x="55" y="222"/>
                  </a:lnTo>
                  <a:lnTo>
                    <a:pt x="58" y="222"/>
                  </a:lnTo>
                  <a:lnTo>
                    <a:pt x="58" y="222"/>
                  </a:lnTo>
                  <a:lnTo>
                    <a:pt x="60" y="225"/>
                  </a:lnTo>
                  <a:lnTo>
                    <a:pt x="60" y="232"/>
                  </a:lnTo>
                  <a:lnTo>
                    <a:pt x="60" y="241"/>
                  </a:lnTo>
                  <a:lnTo>
                    <a:pt x="61" y="247"/>
                  </a:lnTo>
                  <a:lnTo>
                    <a:pt x="61" y="247"/>
                  </a:lnTo>
                  <a:lnTo>
                    <a:pt x="63" y="248"/>
                  </a:lnTo>
                  <a:lnTo>
                    <a:pt x="66" y="248"/>
                  </a:lnTo>
                  <a:lnTo>
                    <a:pt x="73" y="248"/>
                  </a:lnTo>
                  <a:lnTo>
                    <a:pt x="90" y="247"/>
                  </a:lnTo>
                  <a:lnTo>
                    <a:pt x="90" y="247"/>
                  </a:lnTo>
                  <a:lnTo>
                    <a:pt x="97" y="245"/>
                  </a:lnTo>
                  <a:lnTo>
                    <a:pt x="103" y="242"/>
                  </a:lnTo>
                  <a:lnTo>
                    <a:pt x="109" y="238"/>
                  </a:lnTo>
                  <a:lnTo>
                    <a:pt x="115" y="235"/>
                  </a:lnTo>
                  <a:lnTo>
                    <a:pt x="115" y="235"/>
                  </a:lnTo>
                  <a:lnTo>
                    <a:pt x="126" y="231"/>
                  </a:lnTo>
                  <a:lnTo>
                    <a:pt x="132" y="228"/>
                  </a:lnTo>
                  <a:lnTo>
                    <a:pt x="138" y="226"/>
                  </a:lnTo>
                  <a:lnTo>
                    <a:pt x="138" y="226"/>
                  </a:lnTo>
                  <a:lnTo>
                    <a:pt x="139" y="228"/>
                  </a:lnTo>
                  <a:lnTo>
                    <a:pt x="141" y="231"/>
                  </a:lnTo>
                  <a:lnTo>
                    <a:pt x="142" y="239"/>
                  </a:lnTo>
                  <a:lnTo>
                    <a:pt x="141" y="248"/>
                  </a:lnTo>
                  <a:lnTo>
                    <a:pt x="141" y="254"/>
                  </a:lnTo>
                  <a:lnTo>
                    <a:pt x="141" y="254"/>
                  </a:lnTo>
                  <a:lnTo>
                    <a:pt x="144" y="258"/>
                  </a:lnTo>
                  <a:lnTo>
                    <a:pt x="147" y="261"/>
                  </a:lnTo>
                  <a:lnTo>
                    <a:pt x="157" y="270"/>
                  </a:lnTo>
                  <a:lnTo>
                    <a:pt x="157" y="270"/>
                  </a:lnTo>
                  <a:lnTo>
                    <a:pt x="161" y="273"/>
                  </a:lnTo>
                  <a:lnTo>
                    <a:pt x="168" y="274"/>
                  </a:lnTo>
                  <a:lnTo>
                    <a:pt x="181" y="277"/>
                  </a:lnTo>
                  <a:lnTo>
                    <a:pt x="181" y="277"/>
                  </a:lnTo>
                  <a:lnTo>
                    <a:pt x="186" y="280"/>
                  </a:lnTo>
                  <a:lnTo>
                    <a:pt x="192" y="283"/>
                  </a:lnTo>
                  <a:lnTo>
                    <a:pt x="199" y="289"/>
                  </a:lnTo>
                  <a:lnTo>
                    <a:pt x="199" y="289"/>
                  </a:lnTo>
                  <a:lnTo>
                    <a:pt x="200" y="290"/>
                  </a:lnTo>
                  <a:lnTo>
                    <a:pt x="203" y="291"/>
                  </a:lnTo>
                  <a:lnTo>
                    <a:pt x="210" y="291"/>
                  </a:lnTo>
                  <a:lnTo>
                    <a:pt x="218" y="293"/>
                  </a:lnTo>
                  <a:lnTo>
                    <a:pt x="221" y="294"/>
                  </a:lnTo>
                  <a:lnTo>
                    <a:pt x="222" y="296"/>
                  </a:lnTo>
                  <a:lnTo>
                    <a:pt x="222" y="296"/>
                  </a:lnTo>
                  <a:lnTo>
                    <a:pt x="223" y="299"/>
                  </a:lnTo>
                  <a:lnTo>
                    <a:pt x="223" y="302"/>
                  </a:lnTo>
                  <a:lnTo>
                    <a:pt x="223" y="306"/>
                  </a:lnTo>
                  <a:lnTo>
                    <a:pt x="225" y="309"/>
                  </a:lnTo>
                  <a:lnTo>
                    <a:pt x="225" y="309"/>
                  </a:lnTo>
                  <a:lnTo>
                    <a:pt x="231" y="320"/>
                  </a:lnTo>
                  <a:lnTo>
                    <a:pt x="234" y="326"/>
                  </a:lnTo>
                  <a:lnTo>
                    <a:pt x="236" y="331"/>
                  </a:lnTo>
                  <a:lnTo>
                    <a:pt x="236" y="331"/>
                  </a:lnTo>
                  <a:lnTo>
                    <a:pt x="239" y="332"/>
                  </a:lnTo>
                  <a:lnTo>
                    <a:pt x="242" y="333"/>
                  </a:lnTo>
                  <a:lnTo>
                    <a:pt x="250" y="333"/>
                  </a:lnTo>
                  <a:lnTo>
                    <a:pt x="250" y="333"/>
                  </a:lnTo>
                  <a:lnTo>
                    <a:pt x="255" y="332"/>
                  </a:lnTo>
                  <a:lnTo>
                    <a:pt x="255" y="332"/>
                  </a:lnTo>
                  <a:lnTo>
                    <a:pt x="257" y="333"/>
                  </a:lnTo>
                  <a:lnTo>
                    <a:pt x="258" y="335"/>
                  </a:lnTo>
                  <a:lnTo>
                    <a:pt x="258" y="338"/>
                  </a:lnTo>
                  <a:lnTo>
                    <a:pt x="258" y="348"/>
                  </a:lnTo>
                  <a:lnTo>
                    <a:pt x="258" y="348"/>
                  </a:lnTo>
                  <a:lnTo>
                    <a:pt x="260" y="351"/>
                  </a:lnTo>
                  <a:lnTo>
                    <a:pt x="263" y="354"/>
                  </a:lnTo>
                  <a:lnTo>
                    <a:pt x="267" y="355"/>
                  </a:lnTo>
                  <a:lnTo>
                    <a:pt x="270" y="358"/>
                  </a:lnTo>
                  <a:lnTo>
                    <a:pt x="270" y="358"/>
                  </a:lnTo>
                  <a:lnTo>
                    <a:pt x="271" y="362"/>
                  </a:lnTo>
                  <a:lnTo>
                    <a:pt x="271" y="370"/>
                  </a:lnTo>
                  <a:lnTo>
                    <a:pt x="270" y="378"/>
                  </a:lnTo>
                  <a:lnTo>
                    <a:pt x="267" y="384"/>
                  </a:lnTo>
                  <a:lnTo>
                    <a:pt x="267" y="384"/>
                  </a:lnTo>
                  <a:lnTo>
                    <a:pt x="264" y="388"/>
                  </a:lnTo>
                  <a:lnTo>
                    <a:pt x="264" y="393"/>
                  </a:lnTo>
                  <a:lnTo>
                    <a:pt x="265" y="401"/>
                  </a:lnTo>
                  <a:lnTo>
                    <a:pt x="265" y="401"/>
                  </a:lnTo>
                  <a:lnTo>
                    <a:pt x="268" y="415"/>
                  </a:lnTo>
                  <a:lnTo>
                    <a:pt x="270" y="428"/>
                  </a:lnTo>
                  <a:lnTo>
                    <a:pt x="270" y="428"/>
                  </a:lnTo>
                  <a:lnTo>
                    <a:pt x="271" y="430"/>
                  </a:lnTo>
                  <a:lnTo>
                    <a:pt x="274" y="432"/>
                  </a:lnTo>
                  <a:lnTo>
                    <a:pt x="286" y="435"/>
                  </a:lnTo>
                  <a:lnTo>
                    <a:pt x="296" y="435"/>
                  </a:lnTo>
                  <a:lnTo>
                    <a:pt x="302" y="436"/>
                  </a:lnTo>
                  <a:lnTo>
                    <a:pt x="302" y="436"/>
                  </a:lnTo>
                  <a:lnTo>
                    <a:pt x="305" y="439"/>
                  </a:lnTo>
                  <a:lnTo>
                    <a:pt x="306" y="443"/>
                  </a:lnTo>
                  <a:lnTo>
                    <a:pt x="309" y="449"/>
                  </a:lnTo>
                  <a:lnTo>
                    <a:pt x="309" y="454"/>
                  </a:lnTo>
                  <a:lnTo>
                    <a:pt x="309" y="454"/>
                  </a:lnTo>
                  <a:lnTo>
                    <a:pt x="309" y="458"/>
                  </a:lnTo>
                  <a:lnTo>
                    <a:pt x="312" y="461"/>
                  </a:lnTo>
                  <a:lnTo>
                    <a:pt x="316" y="465"/>
                  </a:lnTo>
                  <a:lnTo>
                    <a:pt x="316" y="465"/>
                  </a:lnTo>
                  <a:lnTo>
                    <a:pt x="318" y="470"/>
                  </a:lnTo>
                  <a:lnTo>
                    <a:pt x="319" y="475"/>
                  </a:lnTo>
                  <a:lnTo>
                    <a:pt x="318" y="483"/>
                  </a:lnTo>
                  <a:lnTo>
                    <a:pt x="316" y="487"/>
                  </a:lnTo>
                  <a:lnTo>
                    <a:pt x="316" y="487"/>
                  </a:lnTo>
                  <a:lnTo>
                    <a:pt x="315" y="490"/>
                  </a:lnTo>
                  <a:lnTo>
                    <a:pt x="316" y="493"/>
                  </a:lnTo>
                  <a:lnTo>
                    <a:pt x="323" y="497"/>
                  </a:lnTo>
                  <a:lnTo>
                    <a:pt x="323" y="497"/>
                  </a:lnTo>
                  <a:lnTo>
                    <a:pt x="325" y="499"/>
                  </a:lnTo>
                  <a:lnTo>
                    <a:pt x="326" y="501"/>
                  </a:lnTo>
                  <a:lnTo>
                    <a:pt x="329" y="507"/>
                  </a:lnTo>
                  <a:lnTo>
                    <a:pt x="329" y="516"/>
                  </a:lnTo>
                  <a:lnTo>
                    <a:pt x="329" y="522"/>
                  </a:lnTo>
                  <a:lnTo>
                    <a:pt x="329" y="522"/>
                  </a:lnTo>
                  <a:lnTo>
                    <a:pt x="328" y="523"/>
                  </a:lnTo>
                  <a:lnTo>
                    <a:pt x="325" y="528"/>
                  </a:lnTo>
                  <a:lnTo>
                    <a:pt x="315" y="535"/>
                  </a:lnTo>
                  <a:lnTo>
                    <a:pt x="293" y="551"/>
                  </a:lnTo>
                  <a:lnTo>
                    <a:pt x="293" y="551"/>
                  </a:lnTo>
                  <a:lnTo>
                    <a:pt x="287" y="556"/>
                  </a:lnTo>
                  <a:lnTo>
                    <a:pt x="283" y="562"/>
                  </a:lnTo>
                  <a:lnTo>
                    <a:pt x="280" y="570"/>
                  </a:lnTo>
                  <a:lnTo>
                    <a:pt x="277" y="575"/>
                  </a:lnTo>
                  <a:lnTo>
                    <a:pt x="277" y="575"/>
                  </a:lnTo>
                  <a:lnTo>
                    <a:pt x="276" y="580"/>
                  </a:lnTo>
                  <a:lnTo>
                    <a:pt x="276" y="580"/>
                  </a:lnTo>
                  <a:lnTo>
                    <a:pt x="283" y="581"/>
                  </a:lnTo>
                  <a:lnTo>
                    <a:pt x="289" y="584"/>
                  </a:lnTo>
                  <a:lnTo>
                    <a:pt x="289" y="584"/>
                  </a:lnTo>
                  <a:lnTo>
                    <a:pt x="302" y="593"/>
                  </a:lnTo>
                  <a:lnTo>
                    <a:pt x="318" y="601"/>
                  </a:lnTo>
                  <a:lnTo>
                    <a:pt x="318" y="601"/>
                  </a:lnTo>
                  <a:lnTo>
                    <a:pt x="323" y="606"/>
                  </a:lnTo>
                  <a:lnTo>
                    <a:pt x="328" y="609"/>
                  </a:lnTo>
                  <a:lnTo>
                    <a:pt x="329" y="613"/>
                  </a:lnTo>
                  <a:lnTo>
                    <a:pt x="335" y="619"/>
                  </a:lnTo>
                  <a:lnTo>
                    <a:pt x="335" y="619"/>
                  </a:lnTo>
                  <a:lnTo>
                    <a:pt x="342" y="626"/>
                  </a:lnTo>
                  <a:lnTo>
                    <a:pt x="349" y="632"/>
                  </a:lnTo>
                  <a:lnTo>
                    <a:pt x="349" y="632"/>
                  </a:lnTo>
                  <a:lnTo>
                    <a:pt x="351" y="627"/>
                  </a:lnTo>
                  <a:lnTo>
                    <a:pt x="351" y="627"/>
                  </a:lnTo>
                  <a:lnTo>
                    <a:pt x="351" y="625"/>
                  </a:lnTo>
                  <a:lnTo>
                    <a:pt x="352" y="623"/>
                  </a:lnTo>
                  <a:lnTo>
                    <a:pt x="357" y="619"/>
                  </a:lnTo>
                  <a:lnTo>
                    <a:pt x="357" y="619"/>
                  </a:lnTo>
                  <a:lnTo>
                    <a:pt x="362" y="613"/>
                  </a:lnTo>
                  <a:lnTo>
                    <a:pt x="364" y="610"/>
                  </a:lnTo>
                  <a:lnTo>
                    <a:pt x="365" y="606"/>
                  </a:lnTo>
                  <a:lnTo>
                    <a:pt x="365" y="606"/>
                  </a:lnTo>
                  <a:lnTo>
                    <a:pt x="365" y="594"/>
                  </a:lnTo>
                  <a:lnTo>
                    <a:pt x="367" y="588"/>
                  </a:lnTo>
                  <a:lnTo>
                    <a:pt x="368" y="585"/>
                  </a:lnTo>
                  <a:lnTo>
                    <a:pt x="368" y="585"/>
                  </a:lnTo>
                  <a:lnTo>
                    <a:pt x="371" y="584"/>
                  </a:lnTo>
                  <a:lnTo>
                    <a:pt x="374" y="583"/>
                  </a:lnTo>
                  <a:lnTo>
                    <a:pt x="377" y="583"/>
                  </a:lnTo>
                  <a:lnTo>
                    <a:pt x="377" y="584"/>
                  </a:lnTo>
                  <a:lnTo>
                    <a:pt x="377" y="584"/>
                  </a:lnTo>
                  <a:lnTo>
                    <a:pt x="373" y="593"/>
                  </a:lnTo>
                  <a:lnTo>
                    <a:pt x="371" y="597"/>
                  </a:lnTo>
                  <a:lnTo>
                    <a:pt x="371" y="598"/>
                  </a:lnTo>
                  <a:lnTo>
                    <a:pt x="373" y="598"/>
                  </a:lnTo>
                  <a:lnTo>
                    <a:pt x="373" y="598"/>
                  </a:lnTo>
                  <a:lnTo>
                    <a:pt x="381" y="591"/>
                  </a:lnTo>
                  <a:lnTo>
                    <a:pt x="390" y="583"/>
                  </a:lnTo>
                  <a:lnTo>
                    <a:pt x="390" y="583"/>
                  </a:lnTo>
                  <a:lnTo>
                    <a:pt x="393" y="575"/>
                  </a:lnTo>
                  <a:lnTo>
                    <a:pt x="397" y="567"/>
                  </a:lnTo>
                  <a:lnTo>
                    <a:pt x="400" y="558"/>
                  </a:lnTo>
                  <a:lnTo>
                    <a:pt x="402" y="555"/>
                  </a:lnTo>
                  <a:lnTo>
                    <a:pt x="404" y="554"/>
                  </a:lnTo>
                  <a:lnTo>
                    <a:pt x="404" y="554"/>
                  </a:lnTo>
                  <a:lnTo>
                    <a:pt x="412" y="551"/>
                  </a:lnTo>
                  <a:lnTo>
                    <a:pt x="413" y="549"/>
                  </a:lnTo>
                  <a:lnTo>
                    <a:pt x="416" y="546"/>
                  </a:lnTo>
                  <a:lnTo>
                    <a:pt x="416" y="546"/>
                  </a:lnTo>
                  <a:lnTo>
                    <a:pt x="416" y="543"/>
                  </a:lnTo>
                  <a:lnTo>
                    <a:pt x="416" y="539"/>
                  </a:lnTo>
                  <a:lnTo>
                    <a:pt x="416" y="535"/>
                  </a:lnTo>
                  <a:lnTo>
                    <a:pt x="418" y="532"/>
                  </a:lnTo>
                  <a:lnTo>
                    <a:pt x="418" y="532"/>
                  </a:lnTo>
                  <a:lnTo>
                    <a:pt x="418" y="528"/>
                  </a:lnTo>
                  <a:lnTo>
                    <a:pt x="416" y="525"/>
                  </a:lnTo>
                  <a:lnTo>
                    <a:pt x="415" y="520"/>
                  </a:lnTo>
                  <a:lnTo>
                    <a:pt x="415" y="516"/>
                  </a:lnTo>
                  <a:lnTo>
                    <a:pt x="415" y="516"/>
                  </a:lnTo>
                  <a:lnTo>
                    <a:pt x="415" y="512"/>
                  </a:lnTo>
                  <a:lnTo>
                    <a:pt x="415" y="507"/>
                  </a:lnTo>
                  <a:lnTo>
                    <a:pt x="415" y="501"/>
                  </a:lnTo>
                  <a:lnTo>
                    <a:pt x="418" y="497"/>
                  </a:lnTo>
                  <a:lnTo>
                    <a:pt x="418" y="497"/>
                  </a:lnTo>
                  <a:lnTo>
                    <a:pt x="431" y="483"/>
                  </a:lnTo>
                  <a:lnTo>
                    <a:pt x="438" y="475"/>
                  </a:lnTo>
                  <a:lnTo>
                    <a:pt x="446" y="471"/>
                  </a:lnTo>
                  <a:lnTo>
                    <a:pt x="446" y="471"/>
                  </a:lnTo>
                  <a:lnTo>
                    <a:pt x="451" y="470"/>
                  </a:lnTo>
                  <a:lnTo>
                    <a:pt x="455" y="467"/>
                  </a:lnTo>
                  <a:lnTo>
                    <a:pt x="458" y="465"/>
                  </a:lnTo>
                  <a:lnTo>
                    <a:pt x="461" y="462"/>
                  </a:lnTo>
                  <a:lnTo>
                    <a:pt x="461" y="462"/>
                  </a:lnTo>
                  <a:lnTo>
                    <a:pt x="465" y="461"/>
                  </a:lnTo>
                  <a:lnTo>
                    <a:pt x="470" y="458"/>
                  </a:lnTo>
                  <a:lnTo>
                    <a:pt x="474" y="454"/>
                  </a:lnTo>
                  <a:lnTo>
                    <a:pt x="478" y="451"/>
                  </a:lnTo>
                  <a:lnTo>
                    <a:pt x="478" y="451"/>
                  </a:lnTo>
                  <a:lnTo>
                    <a:pt x="487" y="449"/>
                  </a:lnTo>
                  <a:lnTo>
                    <a:pt x="497" y="449"/>
                  </a:lnTo>
                  <a:lnTo>
                    <a:pt x="509" y="448"/>
                  </a:lnTo>
                  <a:lnTo>
                    <a:pt x="517" y="446"/>
                  </a:lnTo>
                  <a:lnTo>
                    <a:pt x="517" y="446"/>
                  </a:lnTo>
                  <a:lnTo>
                    <a:pt x="525" y="443"/>
                  </a:lnTo>
                  <a:lnTo>
                    <a:pt x="529" y="439"/>
                  </a:lnTo>
                  <a:lnTo>
                    <a:pt x="536" y="432"/>
                  </a:lnTo>
                  <a:lnTo>
                    <a:pt x="536" y="432"/>
                  </a:lnTo>
                  <a:lnTo>
                    <a:pt x="542" y="417"/>
                  </a:lnTo>
                  <a:lnTo>
                    <a:pt x="548" y="407"/>
                  </a:lnTo>
                  <a:lnTo>
                    <a:pt x="552" y="401"/>
                  </a:lnTo>
                  <a:lnTo>
                    <a:pt x="552" y="401"/>
                  </a:lnTo>
                  <a:lnTo>
                    <a:pt x="555" y="396"/>
                  </a:lnTo>
                  <a:lnTo>
                    <a:pt x="558" y="388"/>
                  </a:lnTo>
                  <a:lnTo>
                    <a:pt x="561" y="380"/>
                  </a:lnTo>
                  <a:lnTo>
                    <a:pt x="562" y="373"/>
                  </a:lnTo>
                  <a:lnTo>
                    <a:pt x="562" y="373"/>
                  </a:lnTo>
                  <a:lnTo>
                    <a:pt x="564" y="364"/>
                  </a:lnTo>
                  <a:lnTo>
                    <a:pt x="565" y="355"/>
                  </a:lnTo>
                  <a:lnTo>
                    <a:pt x="568" y="342"/>
                  </a:lnTo>
                  <a:lnTo>
                    <a:pt x="568" y="342"/>
                  </a:lnTo>
                  <a:lnTo>
                    <a:pt x="570" y="339"/>
                  </a:lnTo>
                  <a:lnTo>
                    <a:pt x="571" y="336"/>
                  </a:lnTo>
                  <a:lnTo>
                    <a:pt x="571" y="333"/>
                  </a:lnTo>
                  <a:lnTo>
                    <a:pt x="572" y="326"/>
                  </a:lnTo>
                  <a:lnTo>
                    <a:pt x="572" y="326"/>
                  </a:lnTo>
                  <a:lnTo>
                    <a:pt x="571" y="303"/>
                  </a:lnTo>
                  <a:lnTo>
                    <a:pt x="571" y="293"/>
                  </a:lnTo>
                  <a:lnTo>
                    <a:pt x="572" y="289"/>
                  </a:lnTo>
                  <a:lnTo>
                    <a:pt x="574" y="287"/>
                  </a:lnTo>
                  <a:lnTo>
                    <a:pt x="574" y="287"/>
                  </a:lnTo>
                  <a:lnTo>
                    <a:pt x="581" y="281"/>
                  </a:lnTo>
                  <a:lnTo>
                    <a:pt x="587" y="274"/>
                  </a:lnTo>
                  <a:lnTo>
                    <a:pt x="587" y="274"/>
                  </a:lnTo>
                  <a:lnTo>
                    <a:pt x="599" y="255"/>
                  </a:lnTo>
                  <a:lnTo>
                    <a:pt x="606" y="245"/>
                  </a:lnTo>
                  <a:lnTo>
                    <a:pt x="613" y="236"/>
                  </a:lnTo>
                  <a:lnTo>
                    <a:pt x="613" y="236"/>
                  </a:lnTo>
                  <a:lnTo>
                    <a:pt x="622" y="229"/>
                  </a:lnTo>
                  <a:lnTo>
                    <a:pt x="630" y="219"/>
                  </a:lnTo>
                  <a:lnTo>
                    <a:pt x="636" y="209"/>
                  </a:lnTo>
                  <a:lnTo>
                    <a:pt x="638" y="205"/>
                  </a:lnTo>
                  <a:lnTo>
                    <a:pt x="639" y="200"/>
                  </a:lnTo>
                  <a:lnTo>
                    <a:pt x="639" y="200"/>
                  </a:lnTo>
                  <a:lnTo>
                    <a:pt x="638" y="186"/>
                  </a:lnTo>
                  <a:lnTo>
                    <a:pt x="636" y="178"/>
                  </a:lnTo>
                  <a:lnTo>
                    <a:pt x="635" y="1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91" name="Freeform 266"/>
            <p:cNvSpPr>
              <a:spLocks/>
            </p:cNvSpPr>
            <p:nvPr/>
          </p:nvSpPr>
          <p:spPr bwMode="auto">
            <a:xfrm>
              <a:off x="5657851" y="3564366"/>
              <a:ext cx="347663" cy="244475"/>
            </a:xfrm>
            <a:custGeom>
              <a:avLst/>
              <a:gdLst>
                <a:gd name="T0" fmla="*/ 174 w 219"/>
                <a:gd name="T1" fmla="*/ 144 h 154"/>
                <a:gd name="T2" fmla="*/ 192 w 219"/>
                <a:gd name="T3" fmla="*/ 133 h 154"/>
                <a:gd name="T4" fmla="*/ 196 w 219"/>
                <a:gd name="T5" fmla="*/ 120 h 154"/>
                <a:gd name="T6" fmla="*/ 202 w 219"/>
                <a:gd name="T7" fmla="*/ 115 h 154"/>
                <a:gd name="T8" fmla="*/ 216 w 219"/>
                <a:gd name="T9" fmla="*/ 112 h 154"/>
                <a:gd name="T10" fmla="*/ 219 w 219"/>
                <a:gd name="T11" fmla="*/ 106 h 154"/>
                <a:gd name="T12" fmla="*/ 209 w 219"/>
                <a:gd name="T13" fmla="*/ 94 h 154"/>
                <a:gd name="T14" fmla="*/ 181 w 219"/>
                <a:gd name="T15" fmla="*/ 80 h 154"/>
                <a:gd name="T16" fmla="*/ 161 w 219"/>
                <a:gd name="T17" fmla="*/ 73 h 154"/>
                <a:gd name="T18" fmla="*/ 151 w 219"/>
                <a:gd name="T19" fmla="*/ 55 h 154"/>
                <a:gd name="T20" fmla="*/ 142 w 219"/>
                <a:gd name="T21" fmla="*/ 42 h 154"/>
                <a:gd name="T22" fmla="*/ 129 w 219"/>
                <a:gd name="T23" fmla="*/ 31 h 154"/>
                <a:gd name="T24" fmla="*/ 106 w 219"/>
                <a:gd name="T25" fmla="*/ 2 h 154"/>
                <a:gd name="T26" fmla="*/ 102 w 219"/>
                <a:gd name="T27" fmla="*/ 0 h 154"/>
                <a:gd name="T28" fmla="*/ 90 w 219"/>
                <a:gd name="T29" fmla="*/ 5 h 154"/>
                <a:gd name="T30" fmla="*/ 77 w 219"/>
                <a:gd name="T31" fmla="*/ 20 h 154"/>
                <a:gd name="T32" fmla="*/ 73 w 219"/>
                <a:gd name="T33" fmla="*/ 31 h 154"/>
                <a:gd name="T34" fmla="*/ 68 w 219"/>
                <a:gd name="T35" fmla="*/ 38 h 154"/>
                <a:gd name="T36" fmla="*/ 55 w 219"/>
                <a:gd name="T37" fmla="*/ 35 h 154"/>
                <a:gd name="T38" fmla="*/ 45 w 219"/>
                <a:gd name="T39" fmla="*/ 28 h 154"/>
                <a:gd name="T40" fmla="*/ 28 w 219"/>
                <a:gd name="T41" fmla="*/ 9 h 154"/>
                <a:gd name="T42" fmla="*/ 24 w 219"/>
                <a:gd name="T43" fmla="*/ 12 h 154"/>
                <a:gd name="T44" fmla="*/ 26 w 219"/>
                <a:gd name="T45" fmla="*/ 26 h 154"/>
                <a:gd name="T46" fmla="*/ 31 w 219"/>
                <a:gd name="T47" fmla="*/ 35 h 154"/>
                <a:gd name="T48" fmla="*/ 28 w 219"/>
                <a:gd name="T49" fmla="*/ 42 h 154"/>
                <a:gd name="T50" fmla="*/ 15 w 219"/>
                <a:gd name="T51" fmla="*/ 45 h 154"/>
                <a:gd name="T52" fmla="*/ 9 w 219"/>
                <a:gd name="T53" fmla="*/ 35 h 154"/>
                <a:gd name="T54" fmla="*/ 8 w 219"/>
                <a:gd name="T55" fmla="*/ 36 h 154"/>
                <a:gd name="T56" fmla="*/ 0 w 219"/>
                <a:gd name="T57" fmla="*/ 45 h 154"/>
                <a:gd name="T58" fmla="*/ 2 w 219"/>
                <a:gd name="T59" fmla="*/ 52 h 154"/>
                <a:gd name="T60" fmla="*/ 9 w 219"/>
                <a:gd name="T61" fmla="*/ 62 h 154"/>
                <a:gd name="T62" fmla="*/ 13 w 219"/>
                <a:gd name="T63" fmla="*/ 67 h 154"/>
                <a:gd name="T64" fmla="*/ 18 w 219"/>
                <a:gd name="T65" fmla="*/ 74 h 154"/>
                <a:gd name="T66" fmla="*/ 22 w 219"/>
                <a:gd name="T67" fmla="*/ 83 h 154"/>
                <a:gd name="T68" fmla="*/ 24 w 219"/>
                <a:gd name="T69" fmla="*/ 104 h 154"/>
                <a:gd name="T70" fmla="*/ 25 w 219"/>
                <a:gd name="T71" fmla="*/ 112 h 154"/>
                <a:gd name="T72" fmla="*/ 39 w 219"/>
                <a:gd name="T73" fmla="*/ 103 h 154"/>
                <a:gd name="T74" fmla="*/ 68 w 219"/>
                <a:gd name="T75" fmla="*/ 97 h 154"/>
                <a:gd name="T76" fmla="*/ 79 w 219"/>
                <a:gd name="T77" fmla="*/ 99 h 154"/>
                <a:gd name="T78" fmla="*/ 92 w 219"/>
                <a:gd name="T79" fmla="*/ 104 h 154"/>
                <a:gd name="T80" fmla="*/ 108 w 219"/>
                <a:gd name="T81" fmla="*/ 106 h 154"/>
                <a:gd name="T82" fmla="*/ 112 w 219"/>
                <a:gd name="T83" fmla="*/ 112 h 154"/>
                <a:gd name="T84" fmla="*/ 122 w 219"/>
                <a:gd name="T85" fmla="*/ 123 h 154"/>
                <a:gd name="T86" fmla="*/ 135 w 219"/>
                <a:gd name="T87" fmla="*/ 129 h 154"/>
                <a:gd name="T88" fmla="*/ 138 w 219"/>
                <a:gd name="T89" fmla="*/ 131 h 154"/>
                <a:gd name="T90" fmla="*/ 151 w 219"/>
                <a:gd name="T91" fmla="*/ 151 h 154"/>
                <a:gd name="T92" fmla="*/ 164 w 219"/>
                <a:gd name="T93" fmla="*/ 15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9" h="154">
                  <a:moveTo>
                    <a:pt x="171" y="146"/>
                  </a:moveTo>
                  <a:lnTo>
                    <a:pt x="171" y="146"/>
                  </a:lnTo>
                  <a:lnTo>
                    <a:pt x="174" y="144"/>
                  </a:lnTo>
                  <a:lnTo>
                    <a:pt x="181" y="139"/>
                  </a:lnTo>
                  <a:lnTo>
                    <a:pt x="192" y="133"/>
                  </a:lnTo>
                  <a:lnTo>
                    <a:pt x="192" y="133"/>
                  </a:lnTo>
                  <a:lnTo>
                    <a:pt x="193" y="131"/>
                  </a:lnTo>
                  <a:lnTo>
                    <a:pt x="194" y="125"/>
                  </a:lnTo>
                  <a:lnTo>
                    <a:pt x="196" y="120"/>
                  </a:lnTo>
                  <a:lnTo>
                    <a:pt x="199" y="116"/>
                  </a:lnTo>
                  <a:lnTo>
                    <a:pt x="199" y="116"/>
                  </a:lnTo>
                  <a:lnTo>
                    <a:pt x="202" y="115"/>
                  </a:lnTo>
                  <a:lnTo>
                    <a:pt x="207" y="113"/>
                  </a:lnTo>
                  <a:lnTo>
                    <a:pt x="216" y="112"/>
                  </a:lnTo>
                  <a:lnTo>
                    <a:pt x="216" y="112"/>
                  </a:lnTo>
                  <a:lnTo>
                    <a:pt x="218" y="112"/>
                  </a:lnTo>
                  <a:lnTo>
                    <a:pt x="219" y="110"/>
                  </a:lnTo>
                  <a:lnTo>
                    <a:pt x="219" y="106"/>
                  </a:lnTo>
                  <a:lnTo>
                    <a:pt x="215" y="99"/>
                  </a:lnTo>
                  <a:lnTo>
                    <a:pt x="215" y="99"/>
                  </a:lnTo>
                  <a:lnTo>
                    <a:pt x="209" y="94"/>
                  </a:lnTo>
                  <a:lnTo>
                    <a:pt x="200" y="89"/>
                  </a:lnTo>
                  <a:lnTo>
                    <a:pt x="181" y="80"/>
                  </a:lnTo>
                  <a:lnTo>
                    <a:pt x="181" y="80"/>
                  </a:lnTo>
                  <a:lnTo>
                    <a:pt x="171" y="76"/>
                  </a:lnTo>
                  <a:lnTo>
                    <a:pt x="161" y="73"/>
                  </a:lnTo>
                  <a:lnTo>
                    <a:pt x="161" y="73"/>
                  </a:lnTo>
                  <a:lnTo>
                    <a:pt x="158" y="68"/>
                  </a:lnTo>
                  <a:lnTo>
                    <a:pt x="155" y="62"/>
                  </a:lnTo>
                  <a:lnTo>
                    <a:pt x="151" y="55"/>
                  </a:lnTo>
                  <a:lnTo>
                    <a:pt x="147" y="47"/>
                  </a:lnTo>
                  <a:lnTo>
                    <a:pt x="147" y="47"/>
                  </a:lnTo>
                  <a:lnTo>
                    <a:pt x="142" y="42"/>
                  </a:lnTo>
                  <a:lnTo>
                    <a:pt x="138" y="38"/>
                  </a:lnTo>
                  <a:lnTo>
                    <a:pt x="129" y="31"/>
                  </a:lnTo>
                  <a:lnTo>
                    <a:pt x="129" y="31"/>
                  </a:lnTo>
                  <a:lnTo>
                    <a:pt x="123" y="23"/>
                  </a:lnTo>
                  <a:lnTo>
                    <a:pt x="116" y="15"/>
                  </a:lnTo>
                  <a:lnTo>
                    <a:pt x="106" y="2"/>
                  </a:lnTo>
                  <a:lnTo>
                    <a:pt x="106" y="2"/>
                  </a:lnTo>
                  <a:lnTo>
                    <a:pt x="105" y="0"/>
                  </a:lnTo>
                  <a:lnTo>
                    <a:pt x="102" y="0"/>
                  </a:lnTo>
                  <a:lnTo>
                    <a:pt x="97" y="0"/>
                  </a:lnTo>
                  <a:lnTo>
                    <a:pt x="93" y="3"/>
                  </a:lnTo>
                  <a:lnTo>
                    <a:pt x="90" y="5"/>
                  </a:lnTo>
                  <a:lnTo>
                    <a:pt x="90" y="5"/>
                  </a:lnTo>
                  <a:lnTo>
                    <a:pt x="84" y="12"/>
                  </a:lnTo>
                  <a:lnTo>
                    <a:pt x="77" y="20"/>
                  </a:lnTo>
                  <a:lnTo>
                    <a:pt x="77" y="20"/>
                  </a:lnTo>
                  <a:lnTo>
                    <a:pt x="74" y="25"/>
                  </a:lnTo>
                  <a:lnTo>
                    <a:pt x="73" y="31"/>
                  </a:lnTo>
                  <a:lnTo>
                    <a:pt x="71" y="35"/>
                  </a:lnTo>
                  <a:lnTo>
                    <a:pt x="68" y="38"/>
                  </a:lnTo>
                  <a:lnTo>
                    <a:pt x="68" y="38"/>
                  </a:lnTo>
                  <a:lnTo>
                    <a:pt x="66" y="38"/>
                  </a:lnTo>
                  <a:lnTo>
                    <a:pt x="63" y="38"/>
                  </a:lnTo>
                  <a:lnTo>
                    <a:pt x="55" y="35"/>
                  </a:lnTo>
                  <a:lnTo>
                    <a:pt x="48" y="31"/>
                  </a:lnTo>
                  <a:lnTo>
                    <a:pt x="45" y="28"/>
                  </a:lnTo>
                  <a:lnTo>
                    <a:pt x="45" y="28"/>
                  </a:lnTo>
                  <a:lnTo>
                    <a:pt x="37" y="18"/>
                  </a:lnTo>
                  <a:lnTo>
                    <a:pt x="32" y="12"/>
                  </a:lnTo>
                  <a:lnTo>
                    <a:pt x="28" y="9"/>
                  </a:lnTo>
                  <a:lnTo>
                    <a:pt x="28" y="9"/>
                  </a:lnTo>
                  <a:lnTo>
                    <a:pt x="26" y="10"/>
                  </a:lnTo>
                  <a:lnTo>
                    <a:pt x="24" y="12"/>
                  </a:lnTo>
                  <a:lnTo>
                    <a:pt x="24" y="12"/>
                  </a:lnTo>
                  <a:lnTo>
                    <a:pt x="25" y="19"/>
                  </a:lnTo>
                  <a:lnTo>
                    <a:pt x="26" y="26"/>
                  </a:lnTo>
                  <a:lnTo>
                    <a:pt x="26" y="26"/>
                  </a:lnTo>
                  <a:lnTo>
                    <a:pt x="29" y="31"/>
                  </a:lnTo>
                  <a:lnTo>
                    <a:pt x="31" y="35"/>
                  </a:lnTo>
                  <a:lnTo>
                    <a:pt x="29" y="39"/>
                  </a:lnTo>
                  <a:lnTo>
                    <a:pt x="28" y="42"/>
                  </a:lnTo>
                  <a:lnTo>
                    <a:pt x="28" y="42"/>
                  </a:lnTo>
                  <a:lnTo>
                    <a:pt x="21" y="47"/>
                  </a:lnTo>
                  <a:lnTo>
                    <a:pt x="18" y="47"/>
                  </a:lnTo>
                  <a:lnTo>
                    <a:pt x="15" y="45"/>
                  </a:lnTo>
                  <a:lnTo>
                    <a:pt x="15" y="45"/>
                  </a:lnTo>
                  <a:lnTo>
                    <a:pt x="10" y="38"/>
                  </a:lnTo>
                  <a:lnTo>
                    <a:pt x="9" y="35"/>
                  </a:lnTo>
                  <a:lnTo>
                    <a:pt x="9" y="35"/>
                  </a:lnTo>
                  <a:lnTo>
                    <a:pt x="8" y="36"/>
                  </a:lnTo>
                  <a:lnTo>
                    <a:pt x="8" y="36"/>
                  </a:lnTo>
                  <a:lnTo>
                    <a:pt x="3" y="39"/>
                  </a:lnTo>
                  <a:lnTo>
                    <a:pt x="2" y="41"/>
                  </a:lnTo>
                  <a:lnTo>
                    <a:pt x="0" y="45"/>
                  </a:lnTo>
                  <a:lnTo>
                    <a:pt x="0" y="45"/>
                  </a:lnTo>
                  <a:lnTo>
                    <a:pt x="0" y="48"/>
                  </a:lnTo>
                  <a:lnTo>
                    <a:pt x="2" y="52"/>
                  </a:lnTo>
                  <a:lnTo>
                    <a:pt x="6" y="61"/>
                  </a:lnTo>
                  <a:lnTo>
                    <a:pt x="6" y="61"/>
                  </a:lnTo>
                  <a:lnTo>
                    <a:pt x="9" y="62"/>
                  </a:lnTo>
                  <a:lnTo>
                    <a:pt x="10" y="64"/>
                  </a:lnTo>
                  <a:lnTo>
                    <a:pt x="12" y="64"/>
                  </a:lnTo>
                  <a:lnTo>
                    <a:pt x="13" y="67"/>
                  </a:lnTo>
                  <a:lnTo>
                    <a:pt x="13" y="67"/>
                  </a:lnTo>
                  <a:lnTo>
                    <a:pt x="15" y="71"/>
                  </a:lnTo>
                  <a:lnTo>
                    <a:pt x="18" y="74"/>
                  </a:lnTo>
                  <a:lnTo>
                    <a:pt x="21" y="78"/>
                  </a:lnTo>
                  <a:lnTo>
                    <a:pt x="22" y="83"/>
                  </a:lnTo>
                  <a:lnTo>
                    <a:pt x="22" y="83"/>
                  </a:lnTo>
                  <a:lnTo>
                    <a:pt x="24" y="96"/>
                  </a:lnTo>
                  <a:lnTo>
                    <a:pt x="24" y="102"/>
                  </a:lnTo>
                  <a:lnTo>
                    <a:pt x="24" y="104"/>
                  </a:lnTo>
                  <a:lnTo>
                    <a:pt x="24" y="104"/>
                  </a:lnTo>
                  <a:lnTo>
                    <a:pt x="25" y="106"/>
                  </a:lnTo>
                  <a:lnTo>
                    <a:pt x="25" y="112"/>
                  </a:lnTo>
                  <a:lnTo>
                    <a:pt x="25" y="112"/>
                  </a:lnTo>
                  <a:lnTo>
                    <a:pt x="35" y="106"/>
                  </a:lnTo>
                  <a:lnTo>
                    <a:pt x="39" y="103"/>
                  </a:lnTo>
                  <a:lnTo>
                    <a:pt x="39" y="103"/>
                  </a:lnTo>
                  <a:lnTo>
                    <a:pt x="51" y="100"/>
                  </a:lnTo>
                  <a:lnTo>
                    <a:pt x="68" y="97"/>
                  </a:lnTo>
                  <a:lnTo>
                    <a:pt x="68" y="97"/>
                  </a:lnTo>
                  <a:lnTo>
                    <a:pt x="74" y="97"/>
                  </a:lnTo>
                  <a:lnTo>
                    <a:pt x="79" y="99"/>
                  </a:lnTo>
                  <a:lnTo>
                    <a:pt x="86" y="103"/>
                  </a:lnTo>
                  <a:lnTo>
                    <a:pt x="86" y="103"/>
                  </a:lnTo>
                  <a:lnTo>
                    <a:pt x="92" y="104"/>
                  </a:lnTo>
                  <a:lnTo>
                    <a:pt x="99" y="104"/>
                  </a:lnTo>
                  <a:lnTo>
                    <a:pt x="105" y="104"/>
                  </a:lnTo>
                  <a:lnTo>
                    <a:pt x="108" y="106"/>
                  </a:lnTo>
                  <a:lnTo>
                    <a:pt x="109" y="107"/>
                  </a:lnTo>
                  <a:lnTo>
                    <a:pt x="109" y="107"/>
                  </a:lnTo>
                  <a:lnTo>
                    <a:pt x="112" y="112"/>
                  </a:lnTo>
                  <a:lnTo>
                    <a:pt x="116" y="116"/>
                  </a:lnTo>
                  <a:lnTo>
                    <a:pt x="122" y="123"/>
                  </a:lnTo>
                  <a:lnTo>
                    <a:pt x="122" y="123"/>
                  </a:lnTo>
                  <a:lnTo>
                    <a:pt x="125" y="125"/>
                  </a:lnTo>
                  <a:lnTo>
                    <a:pt x="131" y="126"/>
                  </a:lnTo>
                  <a:lnTo>
                    <a:pt x="135" y="129"/>
                  </a:lnTo>
                  <a:lnTo>
                    <a:pt x="136" y="129"/>
                  </a:lnTo>
                  <a:lnTo>
                    <a:pt x="138" y="131"/>
                  </a:lnTo>
                  <a:lnTo>
                    <a:pt x="138" y="131"/>
                  </a:lnTo>
                  <a:lnTo>
                    <a:pt x="139" y="146"/>
                  </a:lnTo>
                  <a:lnTo>
                    <a:pt x="139" y="146"/>
                  </a:lnTo>
                  <a:lnTo>
                    <a:pt x="151" y="151"/>
                  </a:lnTo>
                  <a:lnTo>
                    <a:pt x="160" y="154"/>
                  </a:lnTo>
                  <a:lnTo>
                    <a:pt x="160" y="154"/>
                  </a:lnTo>
                  <a:lnTo>
                    <a:pt x="164" y="152"/>
                  </a:lnTo>
                  <a:lnTo>
                    <a:pt x="167" y="152"/>
                  </a:lnTo>
                  <a:lnTo>
                    <a:pt x="171" y="146"/>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92" name="Freeform 267"/>
            <p:cNvSpPr>
              <a:spLocks/>
            </p:cNvSpPr>
            <p:nvPr/>
          </p:nvSpPr>
          <p:spPr bwMode="auto">
            <a:xfrm>
              <a:off x="5657851" y="3564366"/>
              <a:ext cx="347663" cy="244475"/>
            </a:xfrm>
            <a:custGeom>
              <a:avLst/>
              <a:gdLst>
                <a:gd name="T0" fmla="*/ 174 w 219"/>
                <a:gd name="T1" fmla="*/ 144 h 154"/>
                <a:gd name="T2" fmla="*/ 192 w 219"/>
                <a:gd name="T3" fmla="*/ 133 h 154"/>
                <a:gd name="T4" fmla="*/ 196 w 219"/>
                <a:gd name="T5" fmla="*/ 120 h 154"/>
                <a:gd name="T6" fmla="*/ 202 w 219"/>
                <a:gd name="T7" fmla="*/ 115 h 154"/>
                <a:gd name="T8" fmla="*/ 216 w 219"/>
                <a:gd name="T9" fmla="*/ 112 h 154"/>
                <a:gd name="T10" fmla="*/ 219 w 219"/>
                <a:gd name="T11" fmla="*/ 106 h 154"/>
                <a:gd name="T12" fmla="*/ 209 w 219"/>
                <a:gd name="T13" fmla="*/ 94 h 154"/>
                <a:gd name="T14" fmla="*/ 181 w 219"/>
                <a:gd name="T15" fmla="*/ 80 h 154"/>
                <a:gd name="T16" fmla="*/ 161 w 219"/>
                <a:gd name="T17" fmla="*/ 73 h 154"/>
                <a:gd name="T18" fmla="*/ 151 w 219"/>
                <a:gd name="T19" fmla="*/ 55 h 154"/>
                <a:gd name="T20" fmla="*/ 142 w 219"/>
                <a:gd name="T21" fmla="*/ 42 h 154"/>
                <a:gd name="T22" fmla="*/ 129 w 219"/>
                <a:gd name="T23" fmla="*/ 31 h 154"/>
                <a:gd name="T24" fmla="*/ 106 w 219"/>
                <a:gd name="T25" fmla="*/ 2 h 154"/>
                <a:gd name="T26" fmla="*/ 102 w 219"/>
                <a:gd name="T27" fmla="*/ 0 h 154"/>
                <a:gd name="T28" fmla="*/ 90 w 219"/>
                <a:gd name="T29" fmla="*/ 5 h 154"/>
                <a:gd name="T30" fmla="*/ 77 w 219"/>
                <a:gd name="T31" fmla="*/ 20 h 154"/>
                <a:gd name="T32" fmla="*/ 73 w 219"/>
                <a:gd name="T33" fmla="*/ 31 h 154"/>
                <a:gd name="T34" fmla="*/ 68 w 219"/>
                <a:gd name="T35" fmla="*/ 38 h 154"/>
                <a:gd name="T36" fmla="*/ 55 w 219"/>
                <a:gd name="T37" fmla="*/ 35 h 154"/>
                <a:gd name="T38" fmla="*/ 45 w 219"/>
                <a:gd name="T39" fmla="*/ 28 h 154"/>
                <a:gd name="T40" fmla="*/ 28 w 219"/>
                <a:gd name="T41" fmla="*/ 9 h 154"/>
                <a:gd name="T42" fmla="*/ 24 w 219"/>
                <a:gd name="T43" fmla="*/ 12 h 154"/>
                <a:gd name="T44" fmla="*/ 26 w 219"/>
                <a:gd name="T45" fmla="*/ 26 h 154"/>
                <a:gd name="T46" fmla="*/ 31 w 219"/>
                <a:gd name="T47" fmla="*/ 35 h 154"/>
                <a:gd name="T48" fmla="*/ 28 w 219"/>
                <a:gd name="T49" fmla="*/ 42 h 154"/>
                <a:gd name="T50" fmla="*/ 15 w 219"/>
                <a:gd name="T51" fmla="*/ 45 h 154"/>
                <a:gd name="T52" fmla="*/ 9 w 219"/>
                <a:gd name="T53" fmla="*/ 35 h 154"/>
                <a:gd name="T54" fmla="*/ 8 w 219"/>
                <a:gd name="T55" fmla="*/ 36 h 154"/>
                <a:gd name="T56" fmla="*/ 0 w 219"/>
                <a:gd name="T57" fmla="*/ 45 h 154"/>
                <a:gd name="T58" fmla="*/ 2 w 219"/>
                <a:gd name="T59" fmla="*/ 52 h 154"/>
                <a:gd name="T60" fmla="*/ 9 w 219"/>
                <a:gd name="T61" fmla="*/ 62 h 154"/>
                <a:gd name="T62" fmla="*/ 13 w 219"/>
                <a:gd name="T63" fmla="*/ 67 h 154"/>
                <a:gd name="T64" fmla="*/ 18 w 219"/>
                <a:gd name="T65" fmla="*/ 74 h 154"/>
                <a:gd name="T66" fmla="*/ 22 w 219"/>
                <a:gd name="T67" fmla="*/ 83 h 154"/>
                <a:gd name="T68" fmla="*/ 24 w 219"/>
                <a:gd name="T69" fmla="*/ 104 h 154"/>
                <a:gd name="T70" fmla="*/ 25 w 219"/>
                <a:gd name="T71" fmla="*/ 112 h 154"/>
                <a:gd name="T72" fmla="*/ 39 w 219"/>
                <a:gd name="T73" fmla="*/ 103 h 154"/>
                <a:gd name="T74" fmla="*/ 68 w 219"/>
                <a:gd name="T75" fmla="*/ 97 h 154"/>
                <a:gd name="T76" fmla="*/ 79 w 219"/>
                <a:gd name="T77" fmla="*/ 99 h 154"/>
                <a:gd name="T78" fmla="*/ 92 w 219"/>
                <a:gd name="T79" fmla="*/ 104 h 154"/>
                <a:gd name="T80" fmla="*/ 108 w 219"/>
                <a:gd name="T81" fmla="*/ 106 h 154"/>
                <a:gd name="T82" fmla="*/ 112 w 219"/>
                <a:gd name="T83" fmla="*/ 112 h 154"/>
                <a:gd name="T84" fmla="*/ 122 w 219"/>
                <a:gd name="T85" fmla="*/ 123 h 154"/>
                <a:gd name="T86" fmla="*/ 135 w 219"/>
                <a:gd name="T87" fmla="*/ 129 h 154"/>
                <a:gd name="T88" fmla="*/ 138 w 219"/>
                <a:gd name="T89" fmla="*/ 131 h 154"/>
                <a:gd name="T90" fmla="*/ 151 w 219"/>
                <a:gd name="T91" fmla="*/ 151 h 154"/>
                <a:gd name="T92" fmla="*/ 164 w 219"/>
                <a:gd name="T93" fmla="*/ 15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9" h="154">
                  <a:moveTo>
                    <a:pt x="171" y="146"/>
                  </a:moveTo>
                  <a:lnTo>
                    <a:pt x="171" y="146"/>
                  </a:lnTo>
                  <a:lnTo>
                    <a:pt x="174" y="144"/>
                  </a:lnTo>
                  <a:lnTo>
                    <a:pt x="181" y="139"/>
                  </a:lnTo>
                  <a:lnTo>
                    <a:pt x="192" y="133"/>
                  </a:lnTo>
                  <a:lnTo>
                    <a:pt x="192" y="133"/>
                  </a:lnTo>
                  <a:lnTo>
                    <a:pt x="193" y="131"/>
                  </a:lnTo>
                  <a:lnTo>
                    <a:pt x="194" y="125"/>
                  </a:lnTo>
                  <a:lnTo>
                    <a:pt x="196" y="120"/>
                  </a:lnTo>
                  <a:lnTo>
                    <a:pt x="199" y="116"/>
                  </a:lnTo>
                  <a:lnTo>
                    <a:pt x="199" y="116"/>
                  </a:lnTo>
                  <a:lnTo>
                    <a:pt x="202" y="115"/>
                  </a:lnTo>
                  <a:lnTo>
                    <a:pt x="207" y="113"/>
                  </a:lnTo>
                  <a:lnTo>
                    <a:pt x="216" y="112"/>
                  </a:lnTo>
                  <a:lnTo>
                    <a:pt x="216" y="112"/>
                  </a:lnTo>
                  <a:lnTo>
                    <a:pt x="218" y="112"/>
                  </a:lnTo>
                  <a:lnTo>
                    <a:pt x="219" y="110"/>
                  </a:lnTo>
                  <a:lnTo>
                    <a:pt x="219" y="106"/>
                  </a:lnTo>
                  <a:lnTo>
                    <a:pt x="215" y="99"/>
                  </a:lnTo>
                  <a:lnTo>
                    <a:pt x="215" y="99"/>
                  </a:lnTo>
                  <a:lnTo>
                    <a:pt x="209" y="94"/>
                  </a:lnTo>
                  <a:lnTo>
                    <a:pt x="200" y="89"/>
                  </a:lnTo>
                  <a:lnTo>
                    <a:pt x="181" y="80"/>
                  </a:lnTo>
                  <a:lnTo>
                    <a:pt x="181" y="80"/>
                  </a:lnTo>
                  <a:lnTo>
                    <a:pt x="171" y="76"/>
                  </a:lnTo>
                  <a:lnTo>
                    <a:pt x="161" y="73"/>
                  </a:lnTo>
                  <a:lnTo>
                    <a:pt x="161" y="73"/>
                  </a:lnTo>
                  <a:lnTo>
                    <a:pt x="158" y="68"/>
                  </a:lnTo>
                  <a:lnTo>
                    <a:pt x="155" y="62"/>
                  </a:lnTo>
                  <a:lnTo>
                    <a:pt x="151" y="55"/>
                  </a:lnTo>
                  <a:lnTo>
                    <a:pt x="147" y="47"/>
                  </a:lnTo>
                  <a:lnTo>
                    <a:pt x="147" y="47"/>
                  </a:lnTo>
                  <a:lnTo>
                    <a:pt x="142" y="42"/>
                  </a:lnTo>
                  <a:lnTo>
                    <a:pt x="138" y="38"/>
                  </a:lnTo>
                  <a:lnTo>
                    <a:pt x="129" y="31"/>
                  </a:lnTo>
                  <a:lnTo>
                    <a:pt x="129" y="31"/>
                  </a:lnTo>
                  <a:lnTo>
                    <a:pt x="123" y="23"/>
                  </a:lnTo>
                  <a:lnTo>
                    <a:pt x="116" y="15"/>
                  </a:lnTo>
                  <a:lnTo>
                    <a:pt x="106" y="2"/>
                  </a:lnTo>
                  <a:lnTo>
                    <a:pt x="106" y="2"/>
                  </a:lnTo>
                  <a:lnTo>
                    <a:pt x="105" y="0"/>
                  </a:lnTo>
                  <a:lnTo>
                    <a:pt x="102" y="0"/>
                  </a:lnTo>
                  <a:lnTo>
                    <a:pt x="97" y="0"/>
                  </a:lnTo>
                  <a:lnTo>
                    <a:pt x="93" y="3"/>
                  </a:lnTo>
                  <a:lnTo>
                    <a:pt x="90" y="5"/>
                  </a:lnTo>
                  <a:lnTo>
                    <a:pt x="90" y="5"/>
                  </a:lnTo>
                  <a:lnTo>
                    <a:pt x="84" y="12"/>
                  </a:lnTo>
                  <a:lnTo>
                    <a:pt x="77" y="20"/>
                  </a:lnTo>
                  <a:lnTo>
                    <a:pt x="77" y="20"/>
                  </a:lnTo>
                  <a:lnTo>
                    <a:pt x="74" y="25"/>
                  </a:lnTo>
                  <a:lnTo>
                    <a:pt x="73" y="31"/>
                  </a:lnTo>
                  <a:lnTo>
                    <a:pt x="71" y="35"/>
                  </a:lnTo>
                  <a:lnTo>
                    <a:pt x="68" y="38"/>
                  </a:lnTo>
                  <a:lnTo>
                    <a:pt x="68" y="38"/>
                  </a:lnTo>
                  <a:lnTo>
                    <a:pt x="66" y="38"/>
                  </a:lnTo>
                  <a:lnTo>
                    <a:pt x="63" y="38"/>
                  </a:lnTo>
                  <a:lnTo>
                    <a:pt x="55" y="35"/>
                  </a:lnTo>
                  <a:lnTo>
                    <a:pt x="48" y="31"/>
                  </a:lnTo>
                  <a:lnTo>
                    <a:pt x="45" y="28"/>
                  </a:lnTo>
                  <a:lnTo>
                    <a:pt x="45" y="28"/>
                  </a:lnTo>
                  <a:lnTo>
                    <a:pt x="37" y="18"/>
                  </a:lnTo>
                  <a:lnTo>
                    <a:pt x="32" y="12"/>
                  </a:lnTo>
                  <a:lnTo>
                    <a:pt x="28" y="9"/>
                  </a:lnTo>
                  <a:lnTo>
                    <a:pt x="28" y="9"/>
                  </a:lnTo>
                  <a:lnTo>
                    <a:pt x="26" y="10"/>
                  </a:lnTo>
                  <a:lnTo>
                    <a:pt x="24" y="12"/>
                  </a:lnTo>
                  <a:lnTo>
                    <a:pt x="24" y="12"/>
                  </a:lnTo>
                  <a:lnTo>
                    <a:pt x="25" y="19"/>
                  </a:lnTo>
                  <a:lnTo>
                    <a:pt x="26" y="26"/>
                  </a:lnTo>
                  <a:lnTo>
                    <a:pt x="26" y="26"/>
                  </a:lnTo>
                  <a:lnTo>
                    <a:pt x="29" y="31"/>
                  </a:lnTo>
                  <a:lnTo>
                    <a:pt x="31" y="35"/>
                  </a:lnTo>
                  <a:lnTo>
                    <a:pt x="29" y="39"/>
                  </a:lnTo>
                  <a:lnTo>
                    <a:pt x="28" y="42"/>
                  </a:lnTo>
                  <a:lnTo>
                    <a:pt x="28" y="42"/>
                  </a:lnTo>
                  <a:lnTo>
                    <a:pt x="21" y="47"/>
                  </a:lnTo>
                  <a:lnTo>
                    <a:pt x="18" y="47"/>
                  </a:lnTo>
                  <a:lnTo>
                    <a:pt x="15" y="45"/>
                  </a:lnTo>
                  <a:lnTo>
                    <a:pt x="15" y="45"/>
                  </a:lnTo>
                  <a:lnTo>
                    <a:pt x="10" y="38"/>
                  </a:lnTo>
                  <a:lnTo>
                    <a:pt x="9" y="35"/>
                  </a:lnTo>
                  <a:lnTo>
                    <a:pt x="9" y="35"/>
                  </a:lnTo>
                  <a:lnTo>
                    <a:pt x="8" y="36"/>
                  </a:lnTo>
                  <a:lnTo>
                    <a:pt x="8" y="36"/>
                  </a:lnTo>
                  <a:lnTo>
                    <a:pt x="3" y="39"/>
                  </a:lnTo>
                  <a:lnTo>
                    <a:pt x="2" y="41"/>
                  </a:lnTo>
                  <a:lnTo>
                    <a:pt x="0" y="45"/>
                  </a:lnTo>
                  <a:lnTo>
                    <a:pt x="0" y="45"/>
                  </a:lnTo>
                  <a:lnTo>
                    <a:pt x="0" y="48"/>
                  </a:lnTo>
                  <a:lnTo>
                    <a:pt x="2" y="52"/>
                  </a:lnTo>
                  <a:lnTo>
                    <a:pt x="6" y="61"/>
                  </a:lnTo>
                  <a:lnTo>
                    <a:pt x="6" y="61"/>
                  </a:lnTo>
                  <a:lnTo>
                    <a:pt x="9" y="62"/>
                  </a:lnTo>
                  <a:lnTo>
                    <a:pt x="10" y="64"/>
                  </a:lnTo>
                  <a:lnTo>
                    <a:pt x="12" y="64"/>
                  </a:lnTo>
                  <a:lnTo>
                    <a:pt x="13" y="67"/>
                  </a:lnTo>
                  <a:lnTo>
                    <a:pt x="13" y="67"/>
                  </a:lnTo>
                  <a:lnTo>
                    <a:pt x="15" y="71"/>
                  </a:lnTo>
                  <a:lnTo>
                    <a:pt x="18" y="74"/>
                  </a:lnTo>
                  <a:lnTo>
                    <a:pt x="21" y="78"/>
                  </a:lnTo>
                  <a:lnTo>
                    <a:pt x="22" y="83"/>
                  </a:lnTo>
                  <a:lnTo>
                    <a:pt x="22" y="83"/>
                  </a:lnTo>
                  <a:lnTo>
                    <a:pt x="24" y="96"/>
                  </a:lnTo>
                  <a:lnTo>
                    <a:pt x="24" y="102"/>
                  </a:lnTo>
                  <a:lnTo>
                    <a:pt x="24" y="104"/>
                  </a:lnTo>
                  <a:lnTo>
                    <a:pt x="24" y="104"/>
                  </a:lnTo>
                  <a:lnTo>
                    <a:pt x="25" y="106"/>
                  </a:lnTo>
                  <a:lnTo>
                    <a:pt x="25" y="112"/>
                  </a:lnTo>
                  <a:lnTo>
                    <a:pt x="25" y="112"/>
                  </a:lnTo>
                  <a:lnTo>
                    <a:pt x="35" y="106"/>
                  </a:lnTo>
                  <a:lnTo>
                    <a:pt x="39" y="103"/>
                  </a:lnTo>
                  <a:lnTo>
                    <a:pt x="39" y="103"/>
                  </a:lnTo>
                  <a:lnTo>
                    <a:pt x="51" y="100"/>
                  </a:lnTo>
                  <a:lnTo>
                    <a:pt x="68" y="97"/>
                  </a:lnTo>
                  <a:lnTo>
                    <a:pt x="68" y="97"/>
                  </a:lnTo>
                  <a:lnTo>
                    <a:pt x="74" y="97"/>
                  </a:lnTo>
                  <a:lnTo>
                    <a:pt x="79" y="99"/>
                  </a:lnTo>
                  <a:lnTo>
                    <a:pt x="86" y="103"/>
                  </a:lnTo>
                  <a:lnTo>
                    <a:pt x="86" y="103"/>
                  </a:lnTo>
                  <a:lnTo>
                    <a:pt x="92" y="104"/>
                  </a:lnTo>
                  <a:lnTo>
                    <a:pt x="99" y="104"/>
                  </a:lnTo>
                  <a:lnTo>
                    <a:pt x="105" y="104"/>
                  </a:lnTo>
                  <a:lnTo>
                    <a:pt x="108" y="106"/>
                  </a:lnTo>
                  <a:lnTo>
                    <a:pt x="109" y="107"/>
                  </a:lnTo>
                  <a:lnTo>
                    <a:pt x="109" y="107"/>
                  </a:lnTo>
                  <a:lnTo>
                    <a:pt x="112" y="112"/>
                  </a:lnTo>
                  <a:lnTo>
                    <a:pt x="116" y="116"/>
                  </a:lnTo>
                  <a:lnTo>
                    <a:pt x="122" y="123"/>
                  </a:lnTo>
                  <a:lnTo>
                    <a:pt x="122" y="123"/>
                  </a:lnTo>
                  <a:lnTo>
                    <a:pt x="125" y="125"/>
                  </a:lnTo>
                  <a:lnTo>
                    <a:pt x="131" y="126"/>
                  </a:lnTo>
                  <a:lnTo>
                    <a:pt x="135" y="129"/>
                  </a:lnTo>
                  <a:lnTo>
                    <a:pt x="136" y="129"/>
                  </a:lnTo>
                  <a:lnTo>
                    <a:pt x="138" y="131"/>
                  </a:lnTo>
                  <a:lnTo>
                    <a:pt x="138" y="131"/>
                  </a:lnTo>
                  <a:lnTo>
                    <a:pt x="139" y="146"/>
                  </a:lnTo>
                  <a:lnTo>
                    <a:pt x="139" y="146"/>
                  </a:lnTo>
                  <a:lnTo>
                    <a:pt x="151" y="151"/>
                  </a:lnTo>
                  <a:lnTo>
                    <a:pt x="160" y="154"/>
                  </a:lnTo>
                  <a:lnTo>
                    <a:pt x="160" y="154"/>
                  </a:lnTo>
                  <a:lnTo>
                    <a:pt x="164" y="152"/>
                  </a:lnTo>
                  <a:lnTo>
                    <a:pt x="167" y="152"/>
                  </a:lnTo>
                  <a:lnTo>
                    <a:pt x="171" y="1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93" name="Freeform 268"/>
            <p:cNvSpPr>
              <a:spLocks/>
            </p:cNvSpPr>
            <p:nvPr/>
          </p:nvSpPr>
          <p:spPr bwMode="auto">
            <a:xfrm>
              <a:off x="5445126" y="3661204"/>
              <a:ext cx="482600" cy="439738"/>
            </a:xfrm>
            <a:custGeom>
              <a:avLst/>
              <a:gdLst>
                <a:gd name="T0" fmla="*/ 265 w 304"/>
                <a:gd name="T1" fmla="*/ 274 h 277"/>
                <a:gd name="T2" fmla="*/ 215 w 304"/>
                <a:gd name="T3" fmla="*/ 268 h 277"/>
                <a:gd name="T4" fmla="*/ 207 w 304"/>
                <a:gd name="T5" fmla="*/ 262 h 277"/>
                <a:gd name="T6" fmla="*/ 198 w 304"/>
                <a:gd name="T7" fmla="*/ 242 h 277"/>
                <a:gd name="T8" fmla="*/ 192 w 304"/>
                <a:gd name="T9" fmla="*/ 240 h 277"/>
                <a:gd name="T10" fmla="*/ 178 w 304"/>
                <a:gd name="T11" fmla="*/ 251 h 277"/>
                <a:gd name="T12" fmla="*/ 168 w 304"/>
                <a:gd name="T13" fmla="*/ 251 h 277"/>
                <a:gd name="T14" fmla="*/ 143 w 304"/>
                <a:gd name="T15" fmla="*/ 243 h 277"/>
                <a:gd name="T16" fmla="*/ 131 w 304"/>
                <a:gd name="T17" fmla="*/ 230 h 277"/>
                <a:gd name="T18" fmla="*/ 117 w 304"/>
                <a:gd name="T19" fmla="*/ 225 h 277"/>
                <a:gd name="T20" fmla="*/ 101 w 304"/>
                <a:gd name="T21" fmla="*/ 200 h 277"/>
                <a:gd name="T22" fmla="*/ 97 w 304"/>
                <a:gd name="T23" fmla="*/ 197 h 277"/>
                <a:gd name="T24" fmla="*/ 85 w 304"/>
                <a:gd name="T25" fmla="*/ 190 h 277"/>
                <a:gd name="T26" fmla="*/ 78 w 304"/>
                <a:gd name="T27" fmla="*/ 188 h 277"/>
                <a:gd name="T28" fmla="*/ 75 w 304"/>
                <a:gd name="T29" fmla="*/ 191 h 277"/>
                <a:gd name="T30" fmla="*/ 68 w 304"/>
                <a:gd name="T31" fmla="*/ 162 h 277"/>
                <a:gd name="T32" fmla="*/ 23 w 304"/>
                <a:gd name="T33" fmla="*/ 106 h 277"/>
                <a:gd name="T34" fmla="*/ 34 w 304"/>
                <a:gd name="T35" fmla="*/ 88 h 277"/>
                <a:gd name="T36" fmla="*/ 11 w 304"/>
                <a:gd name="T37" fmla="*/ 59 h 277"/>
                <a:gd name="T38" fmla="*/ 1 w 304"/>
                <a:gd name="T39" fmla="*/ 0 h 277"/>
                <a:gd name="T40" fmla="*/ 11 w 304"/>
                <a:gd name="T41" fmla="*/ 10 h 277"/>
                <a:gd name="T42" fmla="*/ 42 w 304"/>
                <a:gd name="T43" fmla="*/ 22 h 277"/>
                <a:gd name="T44" fmla="*/ 65 w 304"/>
                <a:gd name="T45" fmla="*/ 9 h 277"/>
                <a:gd name="T46" fmla="*/ 66 w 304"/>
                <a:gd name="T47" fmla="*/ 26 h 277"/>
                <a:gd name="T48" fmla="*/ 78 w 304"/>
                <a:gd name="T49" fmla="*/ 30 h 277"/>
                <a:gd name="T50" fmla="*/ 85 w 304"/>
                <a:gd name="T51" fmla="*/ 49 h 277"/>
                <a:gd name="T52" fmla="*/ 105 w 304"/>
                <a:gd name="T53" fmla="*/ 59 h 277"/>
                <a:gd name="T54" fmla="*/ 121 w 304"/>
                <a:gd name="T55" fmla="*/ 59 h 277"/>
                <a:gd name="T56" fmla="*/ 137 w 304"/>
                <a:gd name="T57" fmla="*/ 61 h 277"/>
                <a:gd name="T58" fmla="*/ 159 w 304"/>
                <a:gd name="T59" fmla="*/ 51 h 277"/>
                <a:gd name="T60" fmla="*/ 202 w 304"/>
                <a:gd name="T61" fmla="*/ 36 h 277"/>
                <a:gd name="T62" fmla="*/ 202 w 304"/>
                <a:gd name="T63" fmla="*/ 36 h 277"/>
                <a:gd name="T64" fmla="*/ 210 w 304"/>
                <a:gd name="T65" fmla="*/ 36 h 277"/>
                <a:gd name="T66" fmla="*/ 239 w 304"/>
                <a:gd name="T67" fmla="*/ 43 h 277"/>
                <a:gd name="T68" fmla="*/ 256 w 304"/>
                <a:gd name="T69" fmla="*/ 62 h 277"/>
                <a:gd name="T70" fmla="*/ 272 w 304"/>
                <a:gd name="T71" fmla="*/ 70 h 277"/>
                <a:gd name="T72" fmla="*/ 272 w 304"/>
                <a:gd name="T73" fmla="*/ 71 h 277"/>
                <a:gd name="T74" fmla="*/ 272 w 304"/>
                <a:gd name="T75" fmla="*/ 71 h 277"/>
                <a:gd name="T76" fmla="*/ 272 w 304"/>
                <a:gd name="T77" fmla="*/ 71 h 277"/>
                <a:gd name="T78" fmla="*/ 273 w 304"/>
                <a:gd name="T79" fmla="*/ 85 h 277"/>
                <a:gd name="T80" fmla="*/ 273 w 304"/>
                <a:gd name="T81" fmla="*/ 94 h 277"/>
                <a:gd name="T82" fmla="*/ 263 w 304"/>
                <a:gd name="T83" fmla="*/ 109 h 277"/>
                <a:gd name="T84" fmla="*/ 269 w 304"/>
                <a:gd name="T85" fmla="*/ 130 h 277"/>
                <a:gd name="T86" fmla="*/ 266 w 304"/>
                <a:gd name="T87" fmla="*/ 162 h 277"/>
                <a:gd name="T88" fmla="*/ 281 w 304"/>
                <a:gd name="T89" fmla="*/ 175 h 277"/>
                <a:gd name="T90" fmla="*/ 270 w 304"/>
                <a:gd name="T91" fmla="*/ 194 h 277"/>
                <a:gd name="T92" fmla="*/ 270 w 304"/>
                <a:gd name="T93" fmla="*/ 194 h 277"/>
                <a:gd name="T94" fmla="*/ 270 w 304"/>
                <a:gd name="T95" fmla="*/ 194 h 277"/>
                <a:gd name="T96" fmla="*/ 276 w 304"/>
                <a:gd name="T97" fmla="*/ 210 h 277"/>
                <a:gd name="T98" fmla="*/ 297 w 304"/>
                <a:gd name="T99" fmla="*/ 238 h 277"/>
                <a:gd name="T100" fmla="*/ 304 w 304"/>
                <a:gd name="T101" fmla="*/ 249 h 277"/>
                <a:gd name="T102" fmla="*/ 304 w 304"/>
                <a:gd name="T103" fmla="*/ 251 h 277"/>
                <a:gd name="T104" fmla="*/ 299 w 304"/>
                <a:gd name="T105" fmla="*/ 252 h 277"/>
                <a:gd name="T106" fmla="*/ 298 w 304"/>
                <a:gd name="T107" fmla="*/ 252 h 277"/>
                <a:gd name="T108" fmla="*/ 291 w 304"/>
                <a:gd name="T109" fmla="*/ 252 h 277"/>
                <a:gd name="T110" fmla="*/ 286 w 304"/>
                <a:gd name="T11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4" h="277">
                  <a:moveTo>
                    <a:pt x="279" y="277"/>
                  </a:moveTo>
                  <a:lnTo>
                    <a:pt x="279" y="277"/>
                  </a:lnTo>
                  <a:lnTo>
                    <a:pt x="275" y="277"/>
                  </a:lnTo>
                  <a:lnTo>
                    <a:pt x="275" y="277"/>
                  </a:lnTo>
                  <a:lnTo>
                    <a:pt x="265" y="274"/>
                  </a:lnTo>
                  <a:lnTo>
                    <a:pt x="265" y="274"/>
                  </a:lnTo>
                  <a:lnTo>
                    <a:pt x="262" y="274"/>
                  </a:lnTo>
                  <a:lnTo>
                    <a:pt x="262" y="274"/>
                  </a:lnTo>
                  <a:lnTo>
                    <a:pt x="239" y="271"/>
                  </a:lnTo>
                  <a:lnTo>
                    <a:pt x="239" y="271"/>
                  </a:lnTo>
                  <a:lnTo>
                    <a:pt x="226" y="269"/>
                  </a:lnTo>
                  <a:lnTo>
                    <a:pt x="215" y="268"/>
                  </a:lnTo>
                  <a:lnTo>
                    <a:pt x="215" y="268"/>
                  </a:lnTo>
                  <a:lnTo>
                    <a:pt x="211" y="267"/>
                  </a:lnTo>
                  <a:lnTo>
                    <a:pt x="211" y="267"/>
                  </a:lnTo>
                  <a:lnTo>
                    <a:pt x="208" y="264"/>
                  </a:lnTo>
                  <a:lnTo>
                    <a:pt x="207" y="262"/>
                  </a:lnTo>
                  <a:lnTo>
                    <a:pt x="207" y="262"/>
                  </a:lnTo>
                  <a:lnTo>
                    <a:pt x="205" y="256"/>
                  </a:lnTo>
                  <a:lnTo>
                    <a:pt x="205" y="256"/>
                  </a:lnTo>
                  <a:lnTo>
                    <a:pt x="201" y="246"/>
                  </a:lnTo>
                  <a:lnTo>
                    <a:pt x="201" y="246"/>
                  </a:lnTo>
                  <a:lnTo>
                    <a:pt x="198" y="242"/>
                  </a:lnTo>
                  <a:lnTo>
                    <a:pt x="198" y="242"/>
                  </a:lnTo>
                  <a:lnTo>
                    <a:pt x="197" y="240"/>
                  </a:lnTo>
                  <a:lnTo>
                    <a:pt x="197" y="240"/>
                  </a:lnTo>
                  <a:lnTo>
                    <a:pt x="194" y="240"/>
                  </a:lnTo>
                  <a:lnTo>
                    <a:pt x="194" y="240"/>
                  </a:lnTo>
                  <a:lnTo>
                    <a:pt x="194" y="240"/>
                  </a:lnTo>
                  <a:lnTo>
                    <a:pt x="192" y="240"/>
                  </a:lnTo>
                  <a:lnTo>
                    <a:pt x="192" y="240"/>
                  </a:lnTo>
                  <a:lnTo>
                    <a:pt x="192" y="240"/>
                  </a:lnTo>
                  <a:lnTo>
                    <a:pt x="184" y="248"/>
                  </a:lnTo>
                  <a:lnTo>
                    <a:pt x="184" y="248"/>
                  </a:lnTo>
                  <a:lnTo>
                    <a:pt x="178" y="251"/>
                  </a:lnTo>
                  <a:lnTo>
                    <a:pt x="178" y="251"/>
                  </a:lnTo>
                  <a:lnTo>
                    <a:pt x="175" y="252"/>
                  </a:lnTo>
                  <a:lnTo>
                    <a:pt x="175" y="252"/>
                  </a:lnTo>
                  <a:lnTo>
                    <a:pt x="173" y="252"/>
                  </a:lnTo>
                  <a:lnTo>
                    <a:pt x="173" y="252"/>
                  </a:lnTo>
                  <a:lnTo>
                    <a:pt x="173" y="252"/>
                  </a:lnTo>
                  <a:lnTo>
                    <a:pt x="168" y="251"/>
                  </a:lnTo>
                  <a:lnTo>
                    <a:pt x="168" y="251"/>
                  </a:lnTo>
                  <a:lnTo>
                    <a:pt x="158" y="248"/>
                  </a:lnTo>
                  <a:lnTo>
                    <a:pt x="158" y="248"/>
                  </a:lnTo>
                  <a:lnTo>
                    <a:pt x="149" y="245"/>
                  </a:lnTo>
                  <a:lnTo>
                    <a:pt x="149" y="245"/>
                  </a:lnTo>
                  <a:lnTo>
                    <a:pt x="143" y="243"/>
                  </a:lnTo>
                  <a:lnTo>
                    <a:pt x="139" y="240"/>
                  </a:lnTo>
                  <a:lnTo>
                    <a:pt x="139" y="240"/>
                  </a:lnTo>
                  <a:lnTo>
                    <a:pt x="137" y="238"/>
                  </a:lnTo>
                  <a:lnTo>
                    <a:pt x="134" y="233"/>
                  </a:lnTo>
                  <a:lnTo>
                    <a:pt x="134" y="233"/>
                  </a:lnTo>
                  <a:lnTo>
                    <a:pt x="131" y="230"/>
                  </a:lnTo>
                  <a:lnTo>
                    <a:pt x="131" y="230"/>
                  </a:lnTo>
                  <a:lnTo>
                    <a:pt x="126" y="227"/>
                  </a:lnTo>
                  <a:lnTo>
                    <a:pt x="126" y="227"/>
                  </a:lnTo>
                  <a:lnTo>
                    <a:pt x="120" y="226"/>
                  </a:lnTo>
                  <a:lnTo>
                    <a:pt x="117" y="225"/>
                  </a:lnTo>
                  <a:lnTo>
                    <a:pt x="117" y="225"/>
                  </a:lnTo>
                  <a:lnTo>
                    <a:pt x="114" y="222"/>
                  </a:lnTo>
                  <a:lnTo>
                    <a:pt x="111" y="217"/>
                  </a:lnTo>
                  <a:lnTo>
                    <a:pt x="111" y="217"/>
                  </a:lnTo>
                  <a:lnTo>
                    <a:pt x="104" y="204"/>
                  </a:lnTo>
                  <a:lnTo>
                    <a:pt x="104" y="204"/>
                  </a:lnTo>
                  <a:lnTo>
                    <a:pt x="101" y="200"/>
                  </a:lnTo>
                  <a:lnTo>
                    <a:pt x="101" y="200"/>
                  </a:lnTo>
                  <a:lnTo>
                    <a:pt x="100" y="197"/>
                  </a:lnTo>
                  <a:lnTo>
                    <a:pt x="100" y="197"/>
                  </a:lnTo>
                  <a:lnTo>
                    <a:pt x="97" y="197"/>
                  </a:lnTo>
                  <a:lnTo>
                    <a:pt x="97" y="197"/>
                  </a:lnTo>
                  <a:lnTo>
                    <a:pt x="97" y="197"/>
                  </a:lnTo>
                  <a:lnTo>
                    <a:pt x="92" y="196"/>
                  </a:lnTo>
                  <a:lnTo>
                    <a:pt x="92" y="196"/>
                  </a:lnTo>
                  <a:lnTo>
                    <a:pt x="88" y="193"/>
                  </a:lnTo>
                  <a:lnTo>
                    <a:pt x="88" y="193"/>
                  </a:lnTo>
                  <a:lnTo>
                    <a:pt x="85" y="190"/>
                  </a:lnTo>
                  <a:lnTo>
                    <a:pt x="85" y="190"/>
                  </a:lnTo>
                  <a:lnTo>
                    <a:pt x="82" y="188"/>
                  </a:lnTo>
                  <a:lnTo>
                    <a:pt x="82" y="188"/>
                  </a:lnTo>
                  <a:lnTo>
                    <a:pt x="81" y="187"/>
                  </a:lnTo>
                  <a:lnTo>
                    <a:pt x="81" y="187"/>
                  </a:lnTo>
                  <a:lnTo>
                    <a:pt x="81" y="187"/>
                  </a:lnTo>
                  <a:lnTo>
                    <a:pt x="78" y="188"/>
                  </a:lnTo>
                  <a:lnTo>
                    <a:pt x="78" y="188"/>
                  </a:lnTo>
                  <a:lnTo>
                    <a:pt x="76" y="191"/>
                  </a:lnTo>
                  <a:lnTo>
                    <a:pt x="76" y="191"/>
                  </a:lnTo>
                  <a:lnTo>
                    <a:pt x="76" y="191"/>
                  </a:lnTo>
                  <a:lnTo>
                    <a:pt x="76" y="191"/>
                  </a:lnTo>
                  <a:lnTo>
                    <a:pt x="75" y="191"/>
                  </a:lnTo>
                  <a:lnTo>
                    <a:pt x="75" y="191"/>
                  </a:lnTo>
                  <a:lnTo>
                    <a:pt x="69" y="184"/>
                  </a:lnTo>
                  <a:lnTo>
                    <a:pt x="66" y="177"/>
                  </a:lnTo>
                  <a:lnTo>
                    <a:pt x="66" y="177"/>
                  </a:lnTo>
                  <a:lnTo>
                    <a:pt x="68" y="168"/>
                  </a:lnTo>
                  <a:lnTo>
                    <a:pt x="68" y="162"/>
                  </a:lnTo>
                  <a:lnTo>
                    <a:pt x="65" y="158"/>
                  </a:lnTo>
                  <a:lnTo>
                    <a:pt x="65" y="158"/>
                  </a:lnTo>
                  <a:lnTo>
                    <a:pt x="42" y="132"/>
                  </a:lnTo>
                  <a:lnTo>
                    <a:pt x="29" y="116"/>
                  </a:lnTo>
                  <a:lnTo>
                    <a:pt x="24" y="109"/>
                  </a:lnTo>
                  <a:lnTo>
                    <a:pt x="23" y="106"/>
                  </a:lnTo>
                  <a:lnTo>
                    <a:pt x="23" y="106"/>
                  </a:lnTo>
                  <a:lnTo>
                    <a:pt x="26" y="101"/>
                  </a:lnTo>
                  <a:lnTo>
                    <a:pt x="30" y="97"/>
                  </a:lnTo>
                  <a:lnTo>
                    <a:pt x="33" y="93"/>
                  </a:lnTo>
                  <a:lnTo>
                    <a:pt x="34" y="90"/>
                  </a:lnTo>
                  <a:lnTo>
                    <a:pt x="34" y="88"/>
                  </a:lnTo>
                  <a:lnTo>
                    <a:pt x="34" y="88"/>
                  </a:lnTo>
                  <a:lnTo>
                    <a:pt x="30" y="84"/>
                  </a:lnTo>
                  <a:lnTo>
                    <a:pt x="24" y="77"/>
                  </a:lnTo>
                  <a:lnTo>
                    <a:pt x="17" y="68"/>
                  </a:lnTo>
                  <a:lnTo>
                    <a:pt x="11" y="59"/>
                  </a:lnTo>
                  <a:lnTo>
                    <a:pt x="11" y="59"/>
                  </a:lnTo>
                  <a:lnTo>
                    <a:pt x="7" y="49"/>
                  </a:lnTo>
                  <a:lnTo>
                    <a:pt x="4" y="36"/>
                  </a:lnTo>
                  <a:lnTo>
                    <a:pt x="1" y="25"/>
                  </a:lnTo>
                  <a:lnTo>
                    <a:pt x="0" y="17"/>
                  </a:lnTo>
                  <a:lnTo>
                    <a:pt x="0" y="17"/>
                  </a:lnTo>
                  <a:lnTo>
                    <a:pt x="1" y="0"/>
                  </a:lnTo>
                  <a:lnTo>
                    <a:pt x="1" y="0"/>
                  </a:lnTo>
                  <a:lnTo>
                    <a:pt x="4" y="3"/>
                  </a:lnTo>
                  <a:lnTo>
                    <a:pt x="4" y="3"/>
                  </a:lnTo>
                  <a:lnTo>
                    <a:pt x="5" y="4"/>
                  </a:lnTo>
                  <a:lnTo>
                    <a:pt x="5" y="4"/>
                  </a:lnTo>
                  <a:lnTo>
                    <a:pt x="11" y="10"/>
                  </a:lnTo>
                  <a:lnTo>
                    <a:pt x="20" y="16"/>
                  </a:lnTo>
                  <a:lnTo>
                    <a:pt x="34" y="23"/>
                  </a:lnTo>
                  <a:lnTo>
                    <a:pt x="34" y="23"/>
                  </a:lnTo>
                  <a:lnTo>
                    <a:pt x="36" y="23"/>
                  </a:lnTo>
                  <a:lnTo>
                    <a:pt x="36" y="23"/>
                  </a:lnTo>
                  <a:lnTo>
                    <a:pt x="42" y="22"/>
                  </a:lnTo>
                  <a:lnTo>
                    <a:pt x="49" y="17"/>
                  </a:lnTo>
                  <a:lnTo>
                    <a:pt x="56" y="13"/>
                  </a:lnTo>
                  <a:lnTo>
                    <a:pt x="63" y="10"/>
                  </a:lnTo>
                  <a:lnTo>
                    <a:pt x="63" y="10"/>
                  </a:lnTo>
                  <a:lnTo>
                    <a:pt x="65" y="9"/>
                  </a:lnTo>
                  <a:lnTo>
                    <a:pt x="65" y="9"/>
                  </a:lnTo>
                  <a:lnTo>
                    <a:pt x="66" y="10"/>
                  </a:lnTo>
                  <a:lnTo>
                    <a:pt x="66" y="10"/>
                  </a:lnTo>
                  <a:lnTo>
                    <a:pt x="66" y="15"/>
                  </a:lnTo>
                  <a:lnTo>
                    <a:pt x="66" y="20"/>
                  </a:lnTo>
                  <a:lnTo>
                    <a:pt x="66" y="26"/>
                  </a:lnTo>
                  <a:lnTo>
                    <a:pt x="66" y="26"/>
                  </a:lnTo>
                  <a:lnTo>
                    <a:pt x="69" y="28"/>
                  </a:lnTo>
                  <a:lnTo>
                    <a:pt x="71" y="29"/>
                  </a:lnTo>
                  <a:lnTo>
                    <a:pt x="76" y="30"/>
                  </a:lnTo>
                  <a:lnTo>
                    <a:pt x="76" y="30"/>
                  </a:lnTo>
                  <a:lnTo>
                    <a:pt x="78" y="30"/>
                  </a:lnTo>
                  <a:lnTo>
                    <a:pt x="78" y="30"/>
                  </a:lnTo>
                  <a:lnTo>
                    <a:pt x="79" y="39"/>
                  </a:lnTo>
                  <a:lnTo>
                    <a:pt x="82" y="46"/>
                  </a:lnTo>
                  <a:lnTo>
                    <a:pt x="82" y="46"/>
                  </a:lnTo>
                  <a:lnTo>
                    <a:pt x="84" y="48"/>
                  </a:lnTo>
                  <a:lnTo>
                    <a:pt x="85" y="49"/>
                  </a:lnTo>
                  <a:lnTo>
                    <a:pt x="85" y="49"/>
                  </a:lnTo>
                  <a:lnTo>
                    <a:pt x="88" y="48"/>
                  </a:lnTo>
                  <a:lnTo>
                    <a:pt x="92" y="48"/>
                  </a:lnTo>
                  <a:lnTo>
                    <a:pt x="92" y="48"/>
                  </a:lnTo>
                  <a:lnTo>
                    <a:pt x="97" y="48"/>
                  </a:lnTo>
                  <a:lnTo>
                    <a:pt x="100" y="52"/>
                  </a:lnTo>
                  <a:lnTo>
                    <a:pt x="105" y="59"/>
                  </a:lnTo>
                  <a:lnTo>
                    <a:pt x="105" y="59"/>
                  </a:lnTo>
                  <a:lnTo>
                    <a:pt x="108" y="61"/>
                  </a:lnTo>
                  <a:lnTo>
                    <a:pt x="111" y="61"/>
                  </a:lnTo>
                  <a:lnTo>
                    <a:pt x="111" y="61"/>
                  </a:lnTo>
                  <a:lnTo>
                    <a:pt x="121" y="59"/>
                  </a:lnTo>
                  <a:lnTo>
                    <a:pt x="121" y="59"/>
                  </a:lnTo>
                  <a:lnTo>
                    <a:pt x="123" y="59"/>
                  </a:lnTo>
                  <a:lnTo>
                    <a:pt x="123" y="59"/>
                  </a:lnTo>
                  <a:lnTo>
                    <a:pt x="134" y="61"/>
                  </a:lnTo>
                  <a:lnTo>
                    <a:pt x="134" y="61"/>
                  </a:lnTo>
                  <a:lnTo>
                    <a:pt x="137" y="61"/>
                  </a:lnTo>
                  <a:lnTo>
                    <a:pt x="137" y="61"/>
                  </a:lnTo>
                  <a:lnTo>
                    <a:pt x="147" y="61"/>
                  </a:lnTo>
                  <a:lnTo>
                    <a:pt x="156" y="58"/>
                  </a:lnTo>
                  <a:lnTo>
                    <a:pt x="156" y="58"/>
                  </a:lnTo>
                  <a:lnTo>
                    <a:pt x="158" y="58"/>
                  </a:lnTo>
                  <a:lnTo>
                    <a:pt x="159" y="55"/>
                  </a:lnTo>
                  <a:lnTo>
                    <a:pt x="159" y="51"/>
                  </a:lnTo>
                  <a:lnTo>
                    <a:pt x="159" y="51"/>
                  </a:lnTo>
                  <a:lnTo>
                    <a:pt x="169" y="45"/>
                  </a:lnTo>
                  <a:lnTo>
                    <a:pt x="173" y="42"/>
                  </a:lnTo>
                  <a:lnTo>
                    <a:pt x="173" y="42"/>
                  </a:lnTo>
                  <a:lnTo>
                    <a:pt x="185" y="39"/>
                  </a:lnTo>
                  <a:lnTo>
                    <a:pt x="202" y="36"/>
                  </a:lnTo>
                  <a:lnTo>
                    <a:pt x="202" y="36"/>
                  </a:lnTo>
                  <a:lnTo>
                    <a:pt x="202" y="36"/>
                  </a:lnTo>
                  <a:lnTo>
                    <a:pt x="202" y="36"/>
                  </a:lnTo>
                  <a:lnTo>
                    <a:pt x="202" y="36"/>
                  </a:lnTo>
                  <a:lnTo>
                    <a:pt x="202" y="36"/>
                  </a:lnTo>
                  <a:lnTo>
                    <a:pt x="202" y="36"/>
                  </a:lnTo>
                  <a:lnTo>
                    <a:pt x="202" y="36"/>
                  </a:lnTo>
                  <a:lnTo>
                    <a:pt x="205" y="36"/>
                  </a:lnTo>
                  <a:lnTo>
                    <a:pt x="205" y="36"/>
                  </a:lnTo>
                  <a:lnTo>
                    <a:pt x="205" y="36"/>
                  </a:lnTo>
                  <a:lnTo>
                    <a:pt x="205" y="36"/>
                  </a:lnTo>
                  <a:lnTo>
                    <a:pt x="210" y="36"/>
                  </a:lnTo>
                  <a:lnTo>
                    <a:pt x="213" y="38"/>
                  </a:lnTo>
                  <a:lnTo>
                    <a:pt x="220" y="42"/>
                  </a:lnTo>
                  <a:lnTo>
                    <a:pt x="220" y="42"/>
                  </a:lnTo>
                  <a:lnTo>
                    <a:pt x="226" y="43"/>
                  </a:lnTo>
                  <a:lnTo>
                    <a:pt x="233" y="43"/>
                  </a:lnTo>
                  <a:lnTo>
                    <a:pt x="239" y="43"/>
                  </a:lnTo>
                  <a:lnTo>
                    <a:pt x="242" y="45"/>
                  </a:lnTo>
                  <a:lnTo>
                    <a:pt x="243" y="46"/>
                  </a:lnTo>
                  <a:lnTo>
                    <a:pt x="243" y="46"/>
                  </a:lnTo>
                  <a:lnTo>
                    <a:pt x="246" y="51"/>
                  </a:lnTo>
                  <a:lnTo>
                    <a:pt x="250" y="55"/>
                  </a:lnTo>
                  <a:lnTo>
                    <a:pt x="256" y="62"/>
                  </a:lnTo>
                  <a:lnTo>
                    <a:pt x="256" y="62"/>
                  </a:lnTo>
                  <a:lnTo>
                    <a:pt x="259" y="64"/>
                  </a:lnTo>
                  <a:lnTo>
                    <a:pt x="265" y="65"/>
                  </a:lnTo>
                  <a:lnTo>
                    <a:pt x="269" y="68"/>
                  </a:lnTo>
                  <a:lnTo>
                    <a:pt x="270" y="68"/>
                  </a:lnTo>
                  <a:lnTo>
                    <a:pt x="272" y="70"/>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3" y="85"/>
                  </a:lnTo>
                  <a:lnTo>
                    <a:pt x="273" y="85"/>
                  </a:lnTo>
                  <a:lnTo>
                    <a:pt x="273" y="85"/>
                  </a:lnTo>
                  <a:lnTo>
                    <a:pt x="273" y="85"/>
                  </a:lnTo>
                  <a:lnTo>
                    <a:pt x="273" y="85"/>
                  </a:lnTo>
                  <a:lnTo>
                    <a:pt x="273" y="85"/>
                  </a:lnTo>
                  <a:lnTo>
                    <a:pt x="273" y="94"/>
                  </a:lnTo>
                  <a:lnTo>
                    <a:pt x="273" y="94"/>
                  </a:lnTo>
                  <a:lnTo>
                    <a:pt x="273" y="94"/>
                  </a:lnTo>
                  <a:lnTo>
                    <a:pt x="273" y="94"/>
                  </a:lnTo>
                  <a:lnTo>
                    <a:pt x="273" y="94"/>
                  </a:lnTo>
                  <a:lnTo>
                    <a:pt x="273" y="96"/>
                  </a:lnTo>
                  <a:lnTo>
                    <a:pt x="273" y="96"/>
                  </a:lnTo>
                  <a:lnTo>
                    <a:pt x="270" y="101"/>
                  </a:lnTo>
                  <a:lnTo>
                    <a:pt x="265" y="107"/>
                  </a:lnTo>
                  <a:lnTo>
                    <a:pt x="265" y="107"/>
                  </a:lnTo>
                  <a:lnTo>
                    <a:pt x="263" y="109"/>
                  </a:lnTo>
                  <a:lnTo>
                    <a:pt x="263" y="109"/>
                  </a:lnTo>
                  <a:lnTo>
                    <a:pt x="265" y="114"/>
                  </a:lnTo>
                  <a:lnTo>
                    <a:pt x="266" y="119"/>
                  </a:lnTo>
                  <a:lnTo>
                    <a:pt x="269" y="129"/>
                  </a:lnTo>
                  <a:lnTo>
                    <a:pt x="269" y="129"/>
                  </a:lnTo>
                  <a:lnTo>
                    <a:pt x="269" y="130"/>
                  </a:lnTo>
                  <a:lnTo>
                    <a:pt x="269" y="130"/>
                  </a:lnTo>
                  <a:lnTo>
                    <a:pt x="266" y="139"/>
                  </a:lnTo>
                  <a:lnTo>
                    <a:pt x="265" y="154"/>
                  </a:lnTo>
                  <a:lnTo>
                    <a:pt x="265" y="154"/>
                  </a:lnTo>
                  <a:lnTo>
                    <a:pt x="265" y="158"/>
                  </a:lnTo>
                  <a:lnTo>
                    <a:pt x="266" y="162"/>
                  </a:lnTo>
                  <a:lnTo>
                    <a:pt x="266" y="162"/>
                  </a:lnTo>
                  <a:lnTo>
                    <a:pt x="270" y="167"/>
                  </a:lnTo>
                  <a:lnTo>
                    <a:pt x="273" y="169"/>
                  </a:lnTo>
                  <a:lnTo>
                    <a:pt x="279" y="174"/>
                  </a:lnTo>
                  <a:lnTo>
                    <a:pt x="279" y="174"/>
                  </a:lnTo>
                  <a:lnTo>
                    <a:pt x="281" y="175"/>
                  </a:lnTo>
                  <a:lnTo>
                    <a:pt x="281" y="177"/>
                  </a:lnTo>
                  <a:lnTo>
                    <a:pt x="281" y="177"/>
                  </a:lnTo>
                  <a:lnTo>
                    <a:pt x="279" y="181"/>
                  </a:lnTo>
                  <a:lnTo>
                    <a:pt x="276" y="185"/>
                  </a:lnTo>
                  <a:lnTo>
                    <a:pt x="270" y="194"/>
                  </a:lnTo>
                  <a:lnTo>
                    <a:pt x="270" y="194"/>
                  </a:lnTo>
                  <a:lnTo>
                    <a:pt x="270" y="194"/>
                  </a:lnTo>
                  <a:lnTo>
                    <a:pt x="270" y="194"/>
                  </a:lnTo>
                  <a:lnTo>
                    <a:pt x="270" y="194"/>
                  </a:lnTo>
                  <a:lnTo>
                    <a:pt x="270" y="194"/>
                  </a:lnTo>
                  <a:lnTo>
                    <a:pt x="270" y="194"/>
                  </a:lnTo>
                  <a:lnTo>
                    <a:pt x="270" y="194"/>
                  </a:lnTo>
                  <a:lnTo>
                    <a:pt x="270" y="194"/>
                  </a:lnTo>
                  <a:lnTo>
                    <a:pt x="270" y="194"/>
                  </a:lnTo>
                  <a:lnTo>
                    <a:pt x="270" y="194"/>
                  </a:lnTo>
                  <a:lnTo>
                    <a:pt x="270" y="194"/>
                  </a:lnTo>
                  <a:lnTo>
                    <a:pt x="270" y="194"/>
                  </a:lnTo>
                  <a:lnTo>
                    <a:pt x="270" y="194"/>
                  </a:lnTo>
                  <a:lnTo>
                    <a:pt x="270" y="197"/>
                  </a:lnTo>
                  <a:lnTo>
                    <a:pt x="272" y="201"/>
                  </a:lnTo>
                  <a:lnTo>
                    <a:pt x="276" y="209"/>
                  </a:lnTo>
                  <a:lnTo>
                    <a:pt x="276" y="209"/>
                  </a:lnTo>
                  <a:lnTo>
                    <a:pt x="276" y="210"/>
                  </a:lnTo>
                  <a:lnTo>
                    <a:pt x="276" y="210"/>
                  </a:lnTo>
                  <a:lnTo>
                    <a:pt x="281" y="216"/>
                  </a:lnTo>
                  <a:lnTo>
                    <a:pt x="291" y="223"/>
                  </a:lnTo>
                  <a:lnTo>
                    <a:pt x="291" y="223"/>
                  </a:lnTo>
                  <a:lnTo>
                    <a:pt x="294" y="227"/>
                  </a:lnTo>
                  <a:lnTo>
                    <a:pt x="295" y="230"/>
                  </a:lnTo>
                  <a:lnTo>
                    <a:pt x="297" y="238"/>
                  </a:lnTo>
                  <a:lnTo>
                    <a:pt x="297" y="238"/>
                  </a:lnTo>
                  <a:lnTo>
                    <a:pt x="298" y="242"/>
                  </a:lnTo>
                  <a:lnTo>
                    <a:pt x="301" y="245"/>
                  </a:lnTo>
                  <a:lnTo>
                    <a:pt x="302" y="248"/>
                  </a:lnTo>
                  <a:lnTo>
                    <a:pt x="304" y="249"/>
                  </a:lnTo>
                  <a:lnTo>
                    <a:pt x="304" y="249"/>
                  </a:lnTo>
                  <a:lnTo>
                    <a:pt x="304" y="251"/>
                  </a:lnTo>
                  <a:lnTo>
                    <a:pt x="304" y="251"/>
                  </a:lnTo>
                  <a:lnTo>
                    <a:pt x="304" y="251"/>
                  </a:lnTo>
                  <a:lnTo>
                    <a:pt x="304" y="251"/>
                  </a:lnTo>
                  <a:lnTo>
                    <a:pt x="304" y="251"/>
                  </a:lnTo>
                  <a:lnTo>
                    <a:pt x="304" y="251"/>
                  </a:lnTo>
                  <a:lnTo>
                    <a:pt x="304" y="251"/>
                  </a:lnTo>
                  <a:lnTo>
                    <a:pt x="304" y="251"/>
                  </a:lnTo>
                  <a:lnTo>
                    <a:pt x="304" y="251"/>
                  </a:lnTo>
                  <a:lnTo>
                    <a:pt x="301" y="252"/>
                  </a:lnTo>
                  <a:lnTo>
                    <a:pt x="301" y="252"/>
                  </a:lnTo>
                  <a:lnTo>
                    <a:pt x="299" y="252"/>
                  </a:lnTo>
                  <a:lnTo>
                    <a:pt x="299" y="252"/>
                  </a:lnTo>
                  <a:lnTo>
                    <a:pt x="298" y="252"/>
                  </a:lnTo>
                  <a:lnTo>
                    <a:pt x="298" y="252"/>
                  </a:lnTo>
                  <a:lnTo>
                    <a:pt x="298" y="252"/>
                  </a:lnTo>
                  <a:lnTo>
                    <a:pt x="298" y="252"/>
                  </a:lnTo>
                  <a:lnTo>
                    <a:pt x="298" y="252"/>
                  </a:lnTo>
                  <a:lnTo>
                    <a:pt x="298" y="252"/>
                  </a:lnTo>
                  <a:lnTo>
                    <a:pt x="291" y="252"/>
                  </a:lnTo>
                  <a:lnTo>
                    <a:pt x="291" y="252"/>
                  </a:lnTo>
                  <a:lnTo>
                    <a:pt x="291" y="252"/>
                  </a:lnTo>
                  <a:lnTo>
                    <a:pt x="291" y="252"/>
                  </a:lnTo>
                  <a:lnTo>
                    <a:pt x="291" y="252"/>
                  </a:lnTo>
                  <a:lnTo>
                    <a:pt x="291" y="252"/>
                  </a:lnTo>
                  <a:lnTo>
                    <a:pt x="291" y="252"/>
                  </a:lnTo>
                  <a:lnTo>
                    <a:pt x="291" y="252"/>
                  </a:lnTo>
                  <a:lnTo>
                    <a:pt x="291" y="254"/>
                  </a:lnTo>
                  <a:lnTo>
                    <a:pt x="291" y="254"/>
                  </a:lnTo>
                  <a:lnTo>
                    <a:pt x="286" y="256"/>
                  </a:lnTo>
                  <a:lnTo>
                    <a:pt x="284" y="262"/>
                  </a:lnTo>
                  <a:lnTo>
                    <a:pt x="279" y="277"/>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94" name="Freeform 269"/>
            <p:cNvSpPr>
              <a:spLocks/>
            </p:cNvSpPr>
            <p:nvPr/>
          </p:nvSpPr>
          <p:spPr bwMode="auto">
            <a:xfrm>
              <a:off x="5445126" y="3661204"/>
              <a:ext cx="482600" cy="439738"/>
            </a:xfrm>
            <a:custGeom>
              <a:avLst/>
              <a:gdLst>
                <a:gd name="T0" fmla="*/ 265 w 304"/>
                <a:gd name="T1" fmla="*/ 274 h 277"/>
                <a:gd name="T2" fmla="*/ 215 w 304"/>
                <a:gd name="T3" fmla="*/ 268 h 277"/>
                <a:gd name="T4" fmla="*/ 207 w 304"/>
                <a:gd name="T5" fmla="*/ 262 h 277"/>
                <a:gd name="T6" fmla="*/ 198 w 304"/>
                <a:gd name="T7" fmla="*/ 242 h 277"/>
                <a:gd name="T8" fmla="*/ 192 w 304"/>
                <a:gd name="T9" fmla="*/ 240 h 277"/>
                <a:gd name="T10" fmla="*/ 178 w 304"/>
                <a:gd name="T11" fmla="*/ 251 h 277"/>
                <a:gd name="T12" fmla="*/ 168 w 304"/>
                <a:gd name="T13" fmla="*/ 251 h 277"/>
                <a:gd name="T14" fmla="*/ 143 w 304"/>
                <a:gd name="T15" fmla="*/ 243 h 277"/>
                <a:gd name="T16" fmla="*/ 131 w 304"/>
                <a:gd name="T17" fmla="*/ 230 h 277"/>
                <a:gd name="T18" fmla="*/ 117 w 304"/>
                <a:gd name="T19" fmla="*/ 225 h 277"/>
                <a:gd name="T20" fmla="*/ 101 w 304"/>
                <a:gd name="T21" fmla="*/ 200 h 277"/>
                <a:gd name="T22" fmla="*/ 97 w 304"/>
                <a:gd name="T23" fmla="*/ 197 h 277"/>
                <a:gd name="T24" fmla="*/ 85 w 304"/>
                <a:gd name="T25" fmla="*/ 190 h 277"/>
                <a:gd name="T26" fmla="*/ 78 w 304"/>
                <a:gd name="T27" fmla="*/ 188 h 277"/>
                <a:gd name="T28" fmla="*/ 75 w 304"/>
                <a:gd name="T29" fmla="*/ 191 h 277"/>
                <a:gd name="T30" fmla="*/ 68 w 304"/>
                <a:gd name="T31" fmla="*/ 162 h 277"/>
                <a:gd name="T32" fmla="*/ 23 w 304"/>
                <a:gd name="T33" fmla="*/ 106 h 277"/>
                <a:gd name="T34" fmla="*/ 34 w 304"/>
                <a:gd name="T35" fmla="*/ 88 h 277"/>
                <a:gd name="T36" fmla="*/ 11 w 304"/>
                <a:gd name="T37" fmla="*/ 59 h 277"/>
                <a:gd name="T38" fmla="*/ 1 w 304"/>
                <a:gd name="T39" fmla="*/ 0 h 277"/>
                <a:gd name="T40" fmla="*/ 11 w 304"/>
                <a:gd name="T41" fmla="*/ 10 h 277"/>
                <a:gd name="T42" fmla="*/ 42 w 304"/>
                <a:gd name="T43" fmla="*/ 22 h 277"/>
                <a:gd name="T44" fmla="*/ 65 w 304"/>
                <a:gd name="T45" fmla="*/ 9 h 277"/>
                <a:gd name="T46" fmla="*/ 66 w 304"/>
                <a:gd name="T47" fmla="*/ 26 h 277"/>
                <a:gd name="T48" fmla="*/ 78 w 304"/>
                <a:gd name="T49" fmla="*/ 30 h 277"/>
                <a:gd name="T50" fmla="*/ 85 w 304"/>
                <a:gd name="T51" fmla="*/ 49 h 277"/>
                <a:gd name="T52" fmla="*/ 105 w 304"/>
                <a:gd name="T53" fmla="*/ 59 h 277"/>
                <a:gd name="T54" fmla="*/ 121 w 304"/>
                <a:gd name="T55" fmla="*/ 59 h 277"/>
                <a:gd name="T56" fmla="*/ 137 w 304"/>
                <a:gd name="T57" fmla="*/ 61 h 277"/>
                <a:gd name="T58" fmla="*/ 159 w 304"/>
                <a:gd name="T59" fmla="*/ 51 h 277"/>
                <a:gd name="T60" fmla="*/ 202 w 304"/>
                <a:gd name="T61" fmla="*/ 36 h 277"/>
                <a:gd name="T62" fmla="*/ 202 w 304"/>
                <a:gd name="T63" fmla="*/ 36 h 277"/>
                <a:gd name="T64" fmla="*/ 210 w 304"/>
                <a:gd name="T65" fmla="*/ 36 h 277"/>
                <a:gd name="T66" fmla="*/ 239 w 304"/>
                <a:gd name="T67" fmla="*/ 43 h 277"/>
                <a:gd name="T68" fmla="*/ 256 w 304"/>
                <a:gd name="T69" fmla="*/ 62 h 277"/>
                <a:gd name="T70" fmla="*/ 272 w 304"/>
                <a:gd name="T71" fmla="*/ 70 h 277"/>
                <a:gd name="T72" fmla="*/ 272 w 304"/>
                <a:gd name="T73" fmla="*/ 71 h 277"/>
                <a:gd name="T74" fmla="*/ 272 w 304"/>
                <a:gd name="T75" fmla="*/ 71 h 277"/>
                <a:gd name="T76" fmla="*/ 272 w 304"/>
                <a:gd name="T77" fmla="*/ 71 h 277"/>
                <a:gd name="T78" fmla="*/ 273 w 304"/>
                <a:gd name="T79" fmla="*/ 85 h 277"/>
                <a:gd name="T80" fmla="*/ 273 w 304"/>
                <a:gd name="T81" fmla="*/ 94 h 277"/>
                <a:gd name="T82" fmla="*/ 263 w 304"/>
                <a:gd name="T83" fmla="*/ 109 h 277"/>
                <a:gd name="T84" fmla="*/ 269 w 304"/>
                <a:gd name="T85" fmla="*/ 130 h 277"/>
                <a:gd name="T86" fmla="*/ 266 w 304"/>
                <a:gd name="T87" fmla="*/ 162 h 277"/>
                <a:gd name="T88" fmla="*/ 281 w 304"/>
                <a:gd name="T89" fmla="*/ 175 h 277"/>
                <a:gd name="T90" fmla="*/ 270 w 304"/>
                <a:gd name="T91" fmla="*/ 194 h 277"/>
                <a:gd name="T92" fmla="*/ 270 w 304"/>
                <a:gd name="T93" fmla="*/ 194 h 277"/>
                <a:gd name="T94" fmla="*/ 270 w 304"/>
                <a:gd name="T95" fmla="*/ 194 h 277"/>
                <a:gd name="T96" fmla="*/ 276 w 304"/>
                <a:gd name="T97" fmla="*/ 210 h 277"/>
                <a:gd name="T98" fmla="*/ 297 w 304"/>
                <a:gd name="T99" fmla="*/ 238 h 277"/>
                <a:gd name="T100" fmla="*/ 304 w 304"/>
                <a:gd name="T101" fmla="*/ 249 h 277"/>
                <a:gd name="T102" fmla="*/ 304 w 304"/>
                <a:gd name="T103" fmla="*/ 251 h 277"/>
                <a:gd name="T104" fmla="*/ 299 w 304"/>
                <a:gd name="T105" fmla="*/ 252 h 277"/>
                <a:gd name="T106" fmla="*/ 298 w 304"/>
                <a:gd name="T107" fmla="*/ 252 h 277"/>
                <a:gd name="T108" fmla="*/ 291 w 304"/>
                <a:gd name="T109" fmla="*/ 252 h 277"/>
                <a:gd name="T110" fmla="*/ 286 w 304"/>
                <a:gd name="T11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4" h="277">
                  <a:moveTo>
                    <a:pt x="279" y="277"/>
                  </a:moveTo>
                  <a:lnTo>
                    <a:pt x="279" y="277"/>
                  </a:lnTo>
                  <a:lnTo>
                    <a:pt x="275" y="277"/>
                  </a:lnTo>
                  <a:lnTo>
                    <a:pt x="275" y="277"/>
                  </a:lnTo>
                  <a:lnTo>
                    <a:pt x="265" y="274"/>
                  </a:lnTo>
                  <a:lnTo>
                    <a:pt x="265" y="274"/>
                  </a:lnTo>
                  <a:lnTo>
                    <a:pt x="262" y="274"/>
                  </a:lnTo>
                  <a:lnTo>
                    <a:pt x="262" y="274"/>
                  </a:lnTo>
                  <a:lnTo>
                    <a:pt x="239" y="271"/>
                  </a:lnTo>
                  <a:lnTo>
                    <a:pt x="239" y="271"/>
                  </a:lnTo>
                  <a:lnTo>
                    <a:pt x="226" y="269"/>
                  </a:lnTo>
                  <a:lnTo>
                    <a:pt x="215" y="268"/>
                  </a:lnTo>
                  <a:lnTo>
                    <a:pt x="215" y="268"/>
                  </a:lnTo>
                  <a:lnTo>
                    <a:pt x="211" y="267"/>
                  </a:lnTo>
                  <a:lnTo>
                    <a:pt x="211" y="267"/>
                  </a:lnTo>
                  <a:lnTo>
                    <a:pt x="208" y="264"/>
                  </a:lnTo>
                  <a:lnTo>
                    <a:pt x="207" y="262"/>
                  </a:lnTo>
                  <a:lnTo>
                    <a:pt x="207" y="262"/>
                  </a:lnTo>
                  <a:lnTo>
                    <a:pt x="205" y="256"/>
                  </a:lnTo>
                  <a:lnTo>
                    <a:pt x="205" y="256"/>
                  </a:lnTo>
                  <a:lnTo>
                    <a:pt x="201" y="246"/>
                  </a:lnTo>
                  <a:lnTo>
                    <a:pt x="201" y="246"/>
                  </a:lnTo>
                  <a:lnTo>
                    <a:pt x="198" y="242"/>
                  </a:lnTo>
                  <a:lnTo>
                    <a:pt x="198" y="242"/>
                  </a:lnTo>
                  <a:lnTo>
                    <a:pt x="197" y="240"/>
                  </a:lnTo>
                  <a:lnTo>
                    <a:pt x="197" y="240"/>
                  </a:lnTo>
                  <a:lnTo>
                    <a:pt x="194" y="240"/>
                  </a:lnTo>
                  <a:lnTo>
                    <a:pt x="194" y="240"/>
                  </a:lnTo>
                  <a:lnTo>
                    <a:pt x="194" y="240"/>
                  </a:lnTo>
                  <a:lnTo>
                    <a:pt x="192" y="240"/>
                  </a:lnTo>
                  <a:lnTo>
                    <a:pt x="192" y="240"/>
                  </a:lnTo>
                  <a:lnTo>
                    <a:pt x="192" y="240"/>
                  </a:lnTo>
                  <a:lnTo>
                    <a:pt x="184" y="248"/>
                  </a:lnTo>
                  <a:lnTo>
                    <a:pt x="184" y="248"/>
                  </a:lnTo>
                  <a:lnTo>
                    <a:pt x="178" y="251"/>
                  </a:lnTo>
                  <a:lnTo>
                    <a:pt x="178" y="251"/>
                  </a:lnTo>
                  <a:lnTo>
                    <a:pt x="175" y="252"/>
                  </a:lnTo>
                  <a:lnTo>
                    <a:pt x="175" y="252"/>
                  </a:lnTo>
                  <a:lnTo>
                    <a:pt x="173" y="252"/>
                  </a:lnTo>
                  <a:lnTo>
                    <a:pt x="173" y="252"/>
                  </a:lnTo>
                  <a:lnTo>
                    <a:pt x="173" y="252"/>
                  </a:lnTo>
                  <a:lnTo>
                    <a:pt x="168" y="251"/>
                  </a:lnTo>
                  <a:lnTo>
                    <a:pt x="168" y="251"/>
                  </a:lnTo>
                  <a:lnTo>
                    <a:pt x="158" y="248"/>
                  </a:lnTo>
                  <a:lnTo>
                    <a:pt x="158" y="248"/>
                  </a:lnTo>
                  <a:lnTo>
                    <a:pt x="149" y="245"/>
                  </a:lnTo>
                  <a:lnTo>
                    <a:pt x="149" y="245"/>
                  </a:lnTo>
                  <a:lnTo>
                    <a:pt x="143" y="243"/>
                  </a:lnTo>
                  <a:lnTo>
                    <a:pt x="139" y="240"/>
                  </a:lnTo>
                  <a:lnTo>
                    <a:pt x="139" y="240"/>
                  </a:lnTo>
                  <a:lnTo>
                    <a:pt x="137" y="238"/>
                  </a:lnTo>
                  <a:lnTo>
                    <a:pt x="134" y="233"/>
                  </a:lnTo>
                  <a:lnTo>
                    <a:pt x="134" y="233"/>
                  </a:lnTo>
                  <a:lnTo>
                    <a:pt x="131" y="230"/>
                  </a:lnTo>
                  <a:lnTo>
                    <a:pt x="131" y="230"/>
                  </a:lnTo>
                  <a:lnTo>
                    <a:pt x="126" y="227"/>
                  </a:lnTo>
                  <a:lnTo>
                    <a:pt x="126" y="227"/>
                  </a:lnTo>
                  <a:lnTo>
                    <a:pt x="120" y="226"/>
                  </a:lnTo>
                  <a:lnTo>
                    <a:pt x="117" y="225"/>
                  </a:lnTo>
                  <a:lnTo>
                    <a:pt x="117" y="225"/>
                  </a:lnTo>
                  <a:lnTo>
                    <a:pt x="114" y="222"/>
                  </a:lnTo>
                  <a:lnTo>
                    <a:pt x="111" y="217"/>
                  </a:lnTo>
                  <a:lnTo>
                    <a:pt x="111" y="217"/>
                  </a:lnTo>
                  <a:lnTo>
                    <a:pt x="104" y="204"/>
                  </a:lnTo>
                  <a:lnTo>
                    <a:pt x="104" y="204"/>
                  </a:lnTo>
                  <a:lnTo>
                    <a:pt x="101" y="200"/>
                  </a:lnTo>
                  <a:lnTo>
                    <a:pt x="101" y="200"/>
                  </a:lnTo>
                  <a:lnTo>
                    <a:pt x="100" y="197"/>
                  </a:lnTo>
                  <a:lnTo>
                    <a:pt x="100" y="197"/>
                  </a:lnTo>
                  <a:lnTo>
                    <a:pt x="97" y="197"/>
                  </a:lnTo>
                  <a:lnTo>
                    <a:pt x="97" y="197"/>
                  </a:lnTo>
                  <a:lnTo>
                    <a:pt x="97" y="197"/>
                  </a:lnTo>
                  <a:lnTo>
                    <a:pt x="92" y="196"/>
                  </a:lnTo>
                  <a:lnTo>
                    <a:pt x="92" y="196"/>
                  </a:lnTo>
                  <a:lnTo>
                    <a:pt x="88" y="193"/>
                  </a:lnTo>
                  <a:lnTo>
                    <a:pt x="88" y="193"/>
                  </a:lnTo>
                  <a:lnTo>
                    <a:pt x="85" y="190"/>
                  </a:lnTo>
                  <a:lnTo>
                    <a:pt x="85" y="190"/>
                  </a:lnTo>
                  <a:lnTo>
                    <a:pt x="82" y="188"/>
                  </a:lnTo>
                  <a:lnTo>
                    <a:pt x="82" y="188"/>
                  </a:lnTo>
                  <a:lnTo>
                    <a:pt x="81" y="187"/>
                  </a:lnTo>
                  <a:lnTo>
                    <a:pt x="81" y="187"/>
                  </a:lnTo>
                  <a:lnTo>
                    <a:pt x="81" y="187"/>
                  </a:lnTo>
                  <a:lnTo>
                    <a:pt x="78" y="188"/>
                  </a:lnTo>
                  <a:lnTo>
                    <a:pt x="78" y="188"/>
                  </a:lnTo>
                  <a:lnTo>
                    <a:pt x="76" y="191"/>
                  </a:lnTo>
                  <a:lnTo>
                    <a:pt x="76" y="191"/>
                  </a:lnTo>
                  <a:lnTo>
                    <a:pt x="76" y="191"/>
                  </a:lnTo>
                  <a:lnTo>
                    <a:pt x="76" y="191"/>
                  </a:lnTo>
                  <a:lnTo>
                    <a:pt x="75" y="191"/>
                  </a:lnTo>
                  <a:lnTo>
                    <a:pt x="75" y="191"/>
                  </a:lnTo>
                  <a:lnTo>
                    <a:pt x="69" y="184"/>
                  </a:lnTo>
                  <a:lnTo>
                    <a:pt x="66" y="177"/>
                  </a:lnTo>
                  <a:lnTo>
                    <a:pt x="66" y="177"/>
                  </a:lnTo>
                  <a:lnTo>
                    <a:pt x="68" y="168"/>
                  </a:lnTo>
                  <a:lnTo>
                    <a:pt x="68" y="162"/>
                  </a:lnTo>
                  <a:lnTo>
                    <a:pt x="65" y="158"/>
                  </a:lnTo>
                  <a:lnTo>
                    <a:pt x="65" y="158"/>
                  </a:lnTo>
                  <a:lnTo>
                    <a:pt x="42" y="132"/>
                  </a:lnTo>
                  <a:lnTo>
                    <a:pt x="29" y="116"/>
                  </a:lnTo>
                  <a:lnTo>
                    <a:pt x="24" y="109"/>
                  </a:lnTo>
                  <a:lnTo>
                    <a:pt x="23" y="106"/>
                  </a:lnTo>
                  <a:lnTo>
                    <a:pt x="23" y="106"/>
                  </a:lnTo>
                  <a:lnTo>
                    <a:pt x="26" y="101"/>
                  </a:lnTo>
                  <a:lnTo>
                    <a:pt x="30" y="97"/>
                  </a:lnTo>
                  <a:lnTo>
                    <a:pt x="33" y="93"/>
                  </a:lnTo>
                  <a:lnTo>
                    <a:pt x="34" y="90"/>
                  </a:lnTo>
                  <a:lnTo>
                    <a:pt x="34" y="88"/>
                  </a:lnTo>
                  <a:lnTo>
                    <a:pt x="34" y="88"/>
                  </a:lnTo>
                  <a:lnTo>
                    <a:pt x="30" y="84"/>
                  </a:lnTo>
                  <a:lnTo>
                    <a:pt x="24" y="77"/>
                  </a:lnTo>
                  <a:lnTo>
                    <a:pt x="17" y="68"/>
                  </a:lnTo>
                  <a:lnTo>
                    <a:pt x="11" y="59"/>
                  </a:lnTo>
                  <a:lnTo>
                    <a:pt x="11" y="59"/>
                  </a:lnTo>
                  <a:lnTo>
                    <a:pt x="7" y="49"/>
                  </a:lnTo>
                  <a:lnTo>
                    <a:pt x="4" y="36"/>
                  </a:lnTo>
                  <a:lnTo>
                    <a:pt x="1" y="25"/>
                  </a:lnTo>
                  <a:lnTo>
                    <a:pt x="0" y="17"/>
                  </a:lnTo>
                  <a:lnTo>
                    <a:pt x="0" y="17"/>
                  </a:lnTo>
                  <a:lnTo>
                    <a:pt x="1" y="0"/>
                  </a:lnTo>
                  <a:lnTo>
                    <a:pt x="1" y="0"/>
                  </a:lnTo>
                  <a:lnTo>
                    <a:pt x="4" y="3"/>
                  </a:lnTo>
                  <a:lnTo>
                    <a:pt x="4" y="3"/>
                  </a:lnTo>
                  <a:lnTo>
                    <a:pt x="5" y="4"/>
                  </a:lnTo>
                  <a:lnTo>
                    <a:pt x="5" y="4"/>
                  </a:lnTo>
                  <a:lnTo>
                    <a:pt x="11" y="10"/>
                  </a:lnTo>
                  <a:lnTo>
                    <a:pt x="20" y="16"/>
                  </a:lnTo>
                  <a:lnTo>
                    <a:pt x="34" y="23"/>
                  </a:lnTo>
                  <a:lnTo>
                    <a:pt x="34" y="23"/>
                  </a:lnTo>
                  <a:lnTo>
                    <a:pt x="36" y="23"/>
                  </a:lnTo>
                  <a:lnTo>
                    <a:pt x="36" y="23"/>
                  </a:lnTo>
                  <a:lnTo>
                    <a:pt x="42" y="22"/>
                  </a:lnTo>
                  <a:lnTo>
                    <a:pt x="49" y="17"/>
                  </a:lnTo>
                  <a:lnTo>
                    <a:pt x="56" y="13"/>
                  </a:lnTo>
                  <a:lnTo>
                    <a:pt x="63" y="10"/>
                  </a:lnTo>
                  <a:lnTo>
                    <a:pt x="63" y="10"/>
                  </a:lnTo>
                  <a:lnTo>
                    <a:pt x="65" y="9"/>
                  </a:lnTo>
                  <a:lnTo>
                    <a:pt x="65" y="9"/>
                  </a:lnTo>
                  <a:lnTo>
                    <a:pt x="66" y="10"/>
                  </a:lnTo>
                  <a:lnTo>
                    <a:pt x="66" y="10"/>
                  </a:lnTo>
                  <a:lnTo>
                    <a:pt x="66" y="15"/>
                  </a:lnTo>
                  <a:lnTo>
                    <a:pt x="66" y="20"/>
                  </a:lnTo>
                  <a:lnTo>
                    <a:pt x="66" y="26"/>
                  </a:lnTo>
                  <a:lnTo>
                    <a:pt x="66" y="26"/>
                  </a:lnTo>
                  <a:lnTo>
                    <a:pt x="69" y="28"/>
                  </a:lnTo>
                  <a:lnTo>
                    <a:pt x="71" y="29"/>
                  </a:lnTo>
                  <a:lnTo>
                    <a:pt x="76" y="30"/>
                  </a:lnTo>
                  <a:lnTo>
                    <a:pt x="76" y="30"/>
                  </a:lnTo>
                  <a:lnTo>
                    <a:pt x="78" y="30"/>
                  </a:lnTo>
                  <a:lnTo>
                    <a:pt x="78" y="30"/>
                  </a:lnTo>
                  <a:lnTo>
                    <a:pt x="79" y="39"/>
                  </a:lnTo>
                  <a:lnTo>
                    <a:pt x="82" y="46"/>
                  </a:lnTo>
                  <a:lnTo>
                    <a:pt x="82" y="46"/>
                  </a:lnTo>
                  <a:lnTo>
                    <a:pt x="84" y="48"/>
                  </a:lnTo>
                  <a:lnTo>
                    <a:pt x="85" y="49"/>
                  </a:lnTo>
                  <a:lnTo>
                    <a:pt x="85" y="49"/>
                  </a:lnTo>
                  <a:lnTo>
                    <a:pt x="88" y="48"/>
                  </a:lnTo>
                  <a:lnTo>
                    <a:pt x="92" y="48"/>
                  </a:lnTo>
                  <a:lnTo>
                    <a:pt x="92" y="48"/>
                  </a:lnTo>
                  <a:lnTo>
                    <a:pt x="97" y="48"/>
                  </a:lnTo>
                  <a:lnTo>
                    <a:pt x="100" y="52"/>
                  </a:lnTo>
                  <a:lnTo>
                    <a:pt x="105" y="59"/>
                  </a:lnTo>
                  <a:lnTo>
                    <a:pt x="105" y="59"/>
                  </a:lnTo>
                  <a:lnTo>
                    <a:pt x="108" y="61"/>
                  </a:lnTo>
                  <a:lnTo>
                    <a:pt x="111" y="61"/>
                  </a:lnTo>
                  <a:lnTo>
                    <a:pt x="111" y="61"/>
                  </a:lnTo>
                  <a:lnTo>
                    <a:pt x="121" y="59"/>
                  </a:lnTo>
                  <a:lnTo>
                    <a:pt x="121" y="59"/>
                  </a:lnTo>
                  <a:lnTo>
                    <a:pt x="123" y="59"/>
                  </a:lnTo>
                  <a:lnTo>
                    <a:pt x="123" y="59"/>
                  </a:lnTo>
                  <a:lnTo>
                    <a:pt x="134" y="61"/>
                  </a:lnTo>
                  <a:lnTo>
                    <a:pt x="134" y="61"/>
                  </a:lnTo>
                  <a:lnTo>
                    <a:pt x="137" y="61"/>
                  </a:lnTo>
                  <a:lnTo>
                    <a:pt x="137" y="61"/>
                  </a:lnTo>
                  <a:lnTo>
                    <a:pt x="147" y="61"/>
                  </a:lnTo>
                  <a:lnTo>
                    <a:pt x="156" y="58"/>
                  </a:lnTo>
                  <a:lnTo>
                    <a:pt x="156" y="58"/>
                  </a:lnTo>
                  <a:lnTo>
                    <a:pt x="158" y="58"/>
                  </a:lnTo>
                  <a:lnTo>
                    <a:pt x="159" y="55"/>
                  </a:lnTo>
                  <a:lnTo>
                    <a:pt x="159" y="51"/>
                  </a:lnTo>
                  <a:lnTo>
                    <a:pt x="159" y="51"/>
                  </a:lnTo>
                  <a:lnTo>
                    <a:pt x="169" y="45"/>
                  </a:lnTo>
                  <a:lnTo>
                    <a:pt x="173" y="42"/>
                  </a:lnTo>
                  <a:lnTo>
                    <a:pt x="173" y="42"/>
                  </a:lnTo>
                  <a:lnTo>
                    <a:pt x="185" y="39"/>
                  </a:lnTo>
                  <a:lnTo>
                    <a:pt x="202" y="36"/>
                  </a:lnTo>
                  <a:lnTo>
                    <a:pt x="202" y="36"/>
                  </a:lnTo>
                  <a:lnTo>
                    <a:pt x="202" y="36"/>
                  </a:lnTo>
                  <a:lnTo>
                    <a:pt x="202" y="36"/>
                  </a:lnTo>
                  <a:lnTo>
                    <a:pt x="202" y="36"/>
                  </a:lnTo>
                  <a:lnTo>
                    <a:pt x="202" y="36"/>
                  </a:lnTo>
                  <a:lnTo>
                    <a:pt x="202" y="36"/>
                  </a:lnTo>
                  <a:lnTo>
                    <a:pt x="202" y="36"/>
                  </a:lnTo>
                  <a:lnTo>
                    <a:pt x="205" y="36"/>
                  </a:lnTo>
                  <a:lnTo>
                    <a:pt x="205" y="36"/>
                  </a:lnTo>
                  <a:lnTo>
                    <a:pt x="205" y="36"/>
                  </a:lnTo>
                  <a:lnTo>
                    <a:pt x="205" y="36"/>
                  </a:lnTo>
                  <a:lnTo>
                    <a:pt x="210" y="36"/>
                  </a:lnTo>
                  <a:lnTo>
                    <a:pt x="213" y="38"/>
                  </a:lnTo>
                  <a:lnTo>
                    <a:pt x="220" y="42"/>
                  </a:lnTo>
                  <a:lnTo>
                    <a:pt x="220" y="42"/>
                  </a:lnTo>
                  <a:lnTo>
                    <a:pt x="226" y="43"/>
                  </a:lnTo>
                  <a:lnTo>
                    <a:pt x="233" y="43"/>
                  </a:lnTo>
                  <a:lnTo>
                    <a:pt x="239" y="43"/>
                  </a:lnTo>
                  <a:lnTo>
                    <a:pt x="242" y="45"/>
                  </a:lnTo>
                  <a:lnTo>
                    <a:pt x="243" y="46"/>
                  </a:lnTo>
                  <a:lnTo>
                    <a:pt x="243" y="46"/>
                  </a:lnTo>
                  <a:lnTo>
                    <a:pt x="246" y="51"/>
                  </a:lnTo>
                  <a:lnTo>
                    <a:pt x="250" y="55"/>
                  </a:lnTo>
                  <a:lnTo>
                    <a:pt x="256" y="62"/>
                  </a:lnTo>
                  <a:lnTo>
                    <a:pt x="256" y="62"/>
                  </a:lnTo>
                  <a:lnTo>
                    <a:pt x="259" y="64"/>
                  </a:lnTo>
                  <a:lnTo>
                    <a:pt x="265" y="65"/>
                  </a:lnTo>
                  <a:lnTo>
                    <a:pt x="269" y="68"/>
                  </a:lnTo>
                  <a:lnTo>
                    <a:pt x="270" y="68"/>
                  </a:lnTo>
                  <a:lnTo>
                    <a:pt x="272" y="70"/>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3" y="85"/>
                  </a:lnTo>
                  <a:lnTo>
                    <a:pt x="273" y="85"/>
                  </a:lnTo>
                  <a:lnTo>
                    <a:pt x="273" y="85"/>
                  </a:lnTo>
                  <a:lnTo>
                    <a:pt x="273" y="85"/>
                  </a:lnTo>
                  <a:lnTo>
                    <a:pt x="273" y="85"/>
                  </a:lnTo>
                  <a:lnTo>
                    <a:pt x="273" y="85"/>
                  </a:lnTo>
                  <a:lnTo>
                    <a:pt x="273" y="94"/>
                  </a:lnTo>
                  <a:lnTo>
                    <a:pt x="273" y="94"/>
                  </a:lnTo>
                  <a:lnTo>
                    <a:pt x="273" y="94"/>
                  </a:lnTo>
                  <a:lnTo>
                    <a:pt x="273" y="94"/>
                  </a:lnTo>
                  <a:lnTo>
                    <a:pt x="273" y="94"/>
                  </a:lnTo>
                  <a:lnTo>
                    <a:pt x="273" y="96"/>
                  </a:lnTo>
                  <a:lnTo>
                    <a:pt x="273" y="96"/>
                  </a:lnTo>
                  <a:lnTo>
                    <a:pt x="270" y="101"/>
                  </a:lnTo>
                  <a:lnTo>
                    <a:pt x="265" y="107"/>
                  </a:lnTo>
                  <a:lnTo>
                    <a:pt x="265" y="107"/>
                  </a:lnTo>
                  <a:lnTo>
                    <a:pt x="263" y="109"/>
                  </a:lnTo>
                  <a:lnTo>
                    <a:pt x="263" y="109"/>
                  </a:lnTo>
                  <a:lnTo>
                    <a:pt x="265" y="114"/>
                  </a:lnTo>
                  <a:lnTo>
                    <a:pt x="266" y="119"/>
                  </a:lnTo>
                  <a:lnTo>
                    <a:pt x="269" y="129"/>
                  </a:lnTo>
                  <a:lnTo>
                    <a:pt x="269" y="129"/>
                  </a:lnTo>
                  <a:lnTo>
                    <a:pt x="269" y="130"/>
                  </a:lnTo>
                  <a:lnTo>
                    <a:pt x="269" y="130"/>
                  </a:lnTo>
                  <a:lnTo>
                    <a:pt x="266" y="139"/>
                  </a:lnTo>
                  <a:lnTo>
                    <a:pt x="265" y="154"/>
                  </a:lnTo>
                  <a:lnTo>
                    <a:pt x="265" y="154"/>
                  </a:lnTo>
                  <a:lnTo>
                    <a:pt x="265" y="158"/>
                  </a:lnTo>
                  <a:lnTo>
                    <a:pt x="266" y="162"/>
                  </a:lnTo>
                  <a:lnTo>
                    <a:pt x="266" y="162"/>
                  </a:lnTo>
                  <a:lnTo>
                    <a:pt x="270" y="167"/>
                  </a:lnTo>
                  <a:lnTo>
                    <a:pt x="273" y="169"/>
                  </a:lnTo>
                  <a:lnTo>
                    <a:pt x="279" y="174"/>
                  </a:lnTo>
                  <a:lnTo>
                    <a:pt x="279" y="174"/>
                  </a:lnTo>
                  <a:lnTo>
                    <a:pt x="281" y="175"/>
                  </a:lnTo>
                  <a:lnTo>
                    <a:pt x="281" y="177"/>
                  </a:lnTo>
                  <a:lnTo>
                    <a:pt x="281" y="177"/>
                  </a:lnTo>
                  <a:lnTo>
                    <a:pt x="279" y="181"/>
                  </a:lnTo>
                  <a:lnTo>
                    <a:pt x="276" y="185"/>
                  </a:lnTo>
                  <a:lnTo>
                    <a:pt x="270" y="194"/>
                  </a:lnTo>
                  <a:lnTo>
                    <a:pt x="270" y="194"/>
                  </a:lnTo>
                  <a:lnTo>
                    <a:pt x="270" y="194"/>
                  </a:lnTo>
                  <a:lnTo>
                    <a:pt x="270" y="194"/>
                  </a:lnTo>
                  <a:lnTo>
                    <a:pt x="270" y="194"/>
                  </a:lnTo>
                  <a:lnTo>
                    <a:pt x="270" y="194"/>
                  </a:lnTo>
                  <a:lnTo>
                    <a:pt x="270" y="194"/>
                  </a:lnTo>
                  <a:lnTo>
                    <a:pt x="270" y="194"/>
                  </a:lnTo>
                  <a:lnTo>
                    <a:pt x="270" y="194"/>
                  </a:lnTo>
                  <a:lnTo>
                    <a:pt x="270" y="194"/>
                  </a:lnTo>
                  <a:lnTo>
                    <a:pt x="270" y="194"/>
                  </a:lnTo>
                  <a:lnTo>
                    <a:pt x="270" y="194"/>
                  </a:lnTo>
                  <a:lnTo>
                    <a:pt x="270" y="194"/>
                  </a:lnTo>
                  <a:lnTo>
                    <a:pt x="270" y="194"/>
                  </a:lnTo>
                  <a:lnTo>
                    <a:pt x="270" y="197"/>
                  </a:lnTo>
                  <a:lnTo>
                    <a:pt x="272" y="201"/>
                  </a:lnTo>
                  <a:lnTo>
                    <a:pt x="276" y="209"/>
                  </a:lnTo>
                  <a:lnTo>
                    <a:pt x="276" y="209"/>
                  </a:lnTo>
                  <a:lnTo>
                    <a:pt x="276" y="210"/>
                  </a:lnTo>
                  <a:lnTo>
                    <a:pt x="276" y="210"/>
                  </a:lnTo>
                  <a:lnTo>
                    <a:pt x="281" y="216"/>
                  </a:lnTo>
                  <a:lnTo>
                    <a:pt x="291" y="223"/>
                  </a:lnTo>
                  <a:lnTo>
                    <a:pt x="291" y="223"/>
                  </a:lnTo>
                  <a:lnTo>
                    <a:pt x="294" y="227"/>
                  </a:lnTo>
                  <a:lnTo>
                    <a:pt x="295" y="230"/>
                  </a:lnTo>
                  <a:lnTo>
                    <a:pt x="297" y="238"/>
                  </a:lnTo>
                  <a:lnTo>
                    <a:pt x="297" y="238"/>
                  </a:lnTo>
                  <a:lnTo>
                    <a:pt x="298" y="242"/>
                  </a:lnTo>
                  <a:lnTo>
                    <a:pt x="301" y="245"/>
                  </a:lnTo>
                  <a:lnTo>
                    <a:pt x="302" y="248"/>
                  </a:lnTo>
                  <a:lnTo>
                    <a:pt x="304" y="249"/>
                  </a:lnTo>
                  <a:lnTo>
                    <a:pt x="304" y="249"/>
                  </a:lnTo>
                  <a:lnTo>
                    <a:pt x="304" y="251"/>
                  </a:lnTo>
                  <a:lnTo>
                    <a:pt x="304" y="251"/>
                  </a:lnTo>
                  <a:lnTo>
                    <a:pt x="304" y="251"/>
                  </a:lnTo>
                  <a:lnTo>
                    <a:pt x="304" y="251"/>
                  </a:lnTo>
                  <a:lnTo>
                    <a:pt x="304" y="251"/>
                  </a:lnTo>
                  <a:lnTo>
                    <a:pt x="304" y="251"/>
                  </a:lnTo>
                  <a:lnTo>
                    <a:pt x="304" y="251"/>
                  </a:lnTo>
                  <a:lnTo>
                    <a:pt x="304" y="251"/>
                  </a:lnTo>
                  <a:lnTo>
                    <a:pt x="304" y="251"/>
                  </a:lnTo>
                  <a:lnTo>
                    <a:pt x="301" y="252"/>
                  </a:lnTo>
                  <a:lnTo>
                    <a:pt x="301" y="252"/>
                  </a:lnTo>
                  <a:lnTo>
                    <a:pt x="299" y="252"/>
                  </a:lnTo>
                  <a:lnTo>
                    <a:pt x="299" y="252"/>
                  </a:lnTo>
                  <a:lnTo>
                    <a:pt x="298" y="252"/>
                  </a:lnTo>
                  <a:lnTo>
                    <a:pt x="298" y="252"/>
                  </a:lnTo>
                  <a:lnTo>
                    <a:pt x="298" y="252"/>
                  </a:lnTo>
                  <a:lnTo>
                    <a:pt x="298" y="252"/>
                  </a:lnTo>
                  <a:lnTo>
                    <a:pt x="298" y="252"/>
                  </a:lnTo>
                  <a:lnTo>
                    <a:pt x="298" y="252"/>
                  </a:lnTo>
                  <a:lnTo>
                    <a:pt x="291" y="252"/>
                  </a:lnTo>
                  <a:lnTo>
                    <a:pt x="291" y="252"/>
                  </a:lnTo>
                  <a:lnTo>
                    <a:pt x="291" y="252"/>
                  </a:lnTo>
                  <a:lnTo>
                    <a:pt x="291" y="252"/>
                  </a:lnTo>
                  <a:lnTo>
                    <a:pt x="291" y="252"/>
                  </a:lnTo>
                  <a:lnTo>
                    <a:pt x="291" y="252"/>
                  </a:lnTo>
                  <a:lnTo>
                    <a:pt x="291" y="252"/>
                  </a:lnTo>
                  <a:lnTo>
                    <a:pt x="291" y="252"/>
                  </a:lnTo>
                  <a:lnTo>
                    <a:pt x="291" y="254"/>
                  </a:lnTo>
                  <a:lnTo>
                    <a:pt x="291" y="254"/>
                  </a:lnTo>
                  <a:lnTo>
                    <a:pt x="286" y="256"/>
                  </a:lnTo>
                  <a:lnTo>
                    <a:pt x="284" y="262"/>
                  </a:lnTo>
                  <a:lnTo>
                    <a:pt x="279" y="27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95" name="Freeform 270"/>
            <p:cNvSpPr>
              <a:spLocks noEditPoints="1"/>
            </p:cNvSpPr>
            <p:nvPr/>
          </p:nvSpPr>
          <p:spPr bwMode="auto">
            <a:xfrm>
              <a:off x="5765801" y="3718354"/>
              <a:ext cx="112713" cy="77788"/>
            </a:xfrm>
            <a:custGeom>
              <a:avLst/>
              <a:gdLst>
                <a:gd name="T0" fmla="*/ 3 w 71"/>
                <a:gd name="T1" fmla="*/ 0 h 49"/>
                <a:gd name="T2" fmla="*/ 3 w 71"/>
                <a:gd name="T3" fmla="*/ 0 h 49"/>
                <a:gd name="T4" fmla="*/ 3 w 71"/>
                <a:gd name="T5" fmla="*/ 0 h 49"/>
                <a:gd name="T6" fmla="*/ 0 w 71"/>
                <a:gd name="T7" fmla="*/ 0 h 49"/>
                <a:gd name="T8" fmla="*/ 0 w 71"/>
                <a:gd name="T9" fmla="*/ 0 h 49"/>
                <a:gd name="T10" fmla="*/ 3 w 71"/>
                <a:gd name="T11" fmla="*/ 0 h 49"/>
                <a:gd name="T12" fmla="*/ 3 w 71"/>
                <a:gd name="T13" fmla="*/ 0 h 49"/>
                <a:gd name="T14" fmla="*/ 0 w 71"/>
                <a:gd name="T15" fmla="*/ 0 h 49"/>
                <a:gd name="T16" fmla="*/ 0 w 71"/>
                <a:gd name="T17" fmla="*/ 0 h 49"/>
                <a:gd name="T18" fmla="*/ 0 w 71"/>
                <a:gd name="T19" fmla="*/ 0 h 49"/>
                <a:gd name="T20" fmla="*/ 0 w 71"/>
                <a:gd name="T21" fmla="*/ 0 h 49"/>
                <a:gd name="T22" fmla="*/ 0 w 71"/>
                <a:gd name="T23" fmla="*/ 0 h 49"/>
                <a:gd name="T24" fmla="*/ 0 w 71"/>
                <a:gd name="T25" fmla="*/ 0 h 49"/>
                <a:gd name="T26" fmla="*/ 0 w 71"/>
                <a:gd name="T27" fmla="*/ 0 h 49"/>
                <a:gd name="T28" fmla="*/ 0 w 71"/>
                <a:gd name="T29" fmla="*/ 0 h 49"/>
                <a:gd name="T30" fmla="*/ 0 w 71"/>
                <a:gd name="T31" fmla="*/ 0 h 49"/>
                <a:gd name="T32" fmla="*/ 70 w 71"/>
                <a:gd name="T33" fmla="*/ 35 h 49"/>
                <a:gd name="T34" fmla="*/ 70 w 71"/>
                <a:gd name="T35" fmla="*/ 35 h 49"/>
                <a:gd name="T36" fmla="*/ 70 w 71"/>
                <a:gd name="T37" fmla="*/ 35 h 49"/>
                <a:gd name="T38" fmla="*/ 70 w 71"/>
                <a:gd name="T39" fmla="*/ 35 h 49"/>
                <a:gd name="T40" fmla="*/ 70 w 71"/>
                <a:gd name="T41" fmla="*/ 35 h 49"/>
                <a:gd name="T42" fmla="*/ 70 w 71"/>
                <a:gd name="T43" fmla="*/ 35 h 49"/>
                <a:gd name="T44" fmla="*/ 70 w 71"/>
                <a:gd name="T45" fmla="*/ 35 h 49"/>
                <a:gd name="T46" fmla="*/ 70 w 71"/>
                <a:gd name="T47" fmla="*/ 35 h 49"/>
                <a:gd name="T48" fmla="*/ 70 w 71"/>
                <a:gd name="T49" fmla="*/ 35 h 49"/>
                <a:gd name="T50" fmla="*/ 70 w 71"/>
                <a:gd name="T51" fmla="*/ 35 h 49"/>
                <a:gd name="T52" fmla="*/ 70 w 71"/>
                <a:gd name="T53" fmla="*/ 35 h 49"/>
                <a:gd name="T54" fmla="*/ 70 w 71"/>
                <a:gd name="T55" fmla="*/ 35 h 49"/>
                <a:gd name="T56" fmla="*/ 70 w 71"/>
                <a:gd name="T57" fmla="*/ 35 h 49"/>
                <a:gd name="T58" fmla="*/ 70 w 71"/>
                <a:gd name="T59" fmla="*/ 35 h 49"/>
                <a:gd name="T60" fmla="*/ 70 w 71"/>
                <a:gd name="T61" fmla="*/ 35 h 49"/>
                <a:gd name="T62" fmla="*/ 70 w 71"/>
                <a:gd name="T63" fmla="*/ 35 h 49"/>
                <a:gd name="T64" fmla="*/ 70 w 71"/>
                <a:gd name="T65" fmla="*/ 35 h 49"/>
                <a:gd name="T66" fmla="*/ 70 w 71"/>
                <a:gd name="T67" fmla="*/ 35 h 49"/>
                <a:gd name="T68" fmla="*/ 70 w 71"/>
                <a:gd name="T69" fmla="*/ 35 h 49"/>
                <a:gd name="T70" fmla="*/ 70 w 71"/>
                <a:gd name="T71" fmla="*/ 35 h 49"/>
                <a:gd name="T72" fmla="*/ 70 w 71"/>
                <a:gd name="T73" fmla="*/ 35 h 49"/>
                <a:gd name="T74" fmla="*/ 70 w 71"/>
                <a:gd name="T75" fmla="*/ 35 h 49"/>
                <a:gd name="T76" fmla="*/ 70 w 71"/>
                <a:gd name="T77" fmla="*/ 35 h 49"/>
                <a:gd name="T78" fmla="*/ 70 w 71"/>
                <a:gd name="T79" fmla="*/ 35 h 49"/>
                <a:gd name="T80" fmla="*/ 70 w 71"/>
                <a:gd name="T81" fmla="*/ 35 h 49"/>
                <a:gd name="T82" fmla="*/ 70 w 71"/>
                <a:gd name="T83" fmla="*/ 35 h 49"/>
                <a:gd name="T84" fmla="*/ 70 w 71"/>
                <a:gd name="T85" fmla="*/ 35 h 49"/>
                <a:gd name="T86" fmla="*/ 71 w 71"/>
                <a:gd name="T87" fmla="*/ 49 h 49"/>
                <a:gd name="T88" fmla="*/ 71 w 71"/>
                <a:gd name="T89" fmla="*/ 49 h 49"/>
                <a:gd name="T90" fmla="*/ 71 w 71"/>
                <a:gd name="T91" fmla="*/ 49 h 49"/>
                <a:gd name="T92" fmla="*/ 71 w 71"/>
                <a:gd name="T93" fmla="*/ 49 h 49"/>
                <a:gd name="T94" fmla="*/ 70 w 71"/>
                <a:gd name="T95" fmla="*/ 35 h 49"/>
                <a:gd name="T96" fmla="*/ 70 w 71"/>
                <a:gd name="T97" fmla="*/ 35 h 49"/>
                <a:gd name="T98" fmla="*/ 71 w 71"/>
                <a:gd name="T9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49">
                  <a:moveTo>
                    <a:pt x="3" y="0"/>
                  </a:moveTo>
                  <a:lnTo>
                    <a:pt x="3" y="0"/>
                  </a:lnTo>
                  <a:lnTo>
                    <a:pt x="3" y="0"/>
                  </a:lnTo>
                  <a:close/>
                  <a:moveTo>
                    <a:pt x="0" y="0"/>
                  </a:moveTo>
                  <a:lnTo>
                    <a:pt x="0" y="0"/>
                  </a:lnTo>
                  <a:lnTo>
                    <a:pt x="3" y="0"/>
                  </a:lnTo>
                  <a:lnTo>
                    <a:pt x="3" y="0"/>
                  </a:lnTo>
                  <a:lnTo>
                    <a:pt x="0" y="0"/>
                  </a:lnTo>
                  <a:close/>
                  <a:moveTo>
                    <a:pt x="0" y="0"/>
                  </a:moveTo>
                  <a:lnTo>
                    <a:pt x="0" y="0"/>
                  </a:lnTo>
                  <a:lnTo>
                    <a:pt x="0" y="0"/>
                  </a:lnTo>
                  <a:close/>
                  <a:moveTo>
                    <a:pt x="0" y="0"/>
                  </a:moveTo>
                  <a:lnTo>
                    <a:pt x="0" y="0"/>
                  </a:lnTo>
                  <a:lnTo>
                    <a:pt x="0" y="0"/>
                  </a:lnTo>
                  <a:lnTo>
                    <a:pt x="0" y="0"/>
                  </a:lnTo>
                  <a:lnTo>
                    <a:pt x="0" y="0"/>
                  </a:lnTo>
                  <a:close/>
                  <a:moveTo>
                    <a:pt x="70" y="35"/>
                  </a:moveTo>
                  <a:lnTo>
                    <a:pt x="70" y="35"/>
                  </a:lnTo>
                  <a:lnTo>
                    <a:pt x="70" y="35"/>
                  </a:lnTo>
                  <a:lnTo>
                    <a:pt x="70" y="35"/>
                  </a:lnTo>
                  <a:lnTo>
                    <a:pt x="70" y="35"/>
                  </a:lnTo>
                  <a:close/>
                  <a:moveTo>
                    <a:pt x="70" y="35"/>
                  </a:moveTo>
                  <a:lnTo>
                    <a:pt x="70" y="35"/>
                  </a:lnTo>
                  <a:lnTo>
                    <a:pt x="70" y="35"/>
                  </a:lnTo>
                  <a:close/>
                  <a:moveTo>
                    <a:pt x="70" y="35"/>
                  </a:moveTo>
                  <a:lnTo>
                    <a:pt x="70" y="35"/>
                  </a:lnTo>
                  <a:lnTo>
                    <a:pt x="70" y="35"/>
                  </a:lnTo>
                  <a:close/>
                  <a:moveTo>
                    <a:pt x="70" y="35"/>
                  </a:moveTo>
                  <a:lnTo>
                    <a:pt x="70" y="35"/>
                  </a:lnTo>
                  <a:lnTo>
                    <a:pt x="70" y="35"/>
                  </a:lnTo>
                  <a:close/>
                  <a:moveTo>
                    <a:pt x="70" y="35"/>
                  </a:moveTo>
                  <a:lnTo>
                    <a:pt x="70" y="35"/>
                  </a:lnTo>
                  <a:lnTo>
                    <a:pt x="70" y="35"/>
                  </a:lnTo>
                  <a:close/>
                  <a:moveTo>
                    <a:pt x="70" y="35"/>
                  </a:moveTo>
                  <a:lnTo>
                    <a:pt x="70" y="35"/>
                  </a:lnTo>
                  <a:lnTo>
                    <a:pt x="70" y="35"/>
                  </a:lnTo>
                  <a:lnTo>
                    <a:pt x="70" y="35"/>
                  </a:lnTo>
                  <a:lnTo>
                    <a:pt x="70" y="35"/>
                  </a:lnTo>
                  <a:close/>
                  <a:moveTo>
                    <a:pt x="70" y="35"/>
                  </a:moveTo>
                  <a:lnTo>
                    <a:pt x="70" y="35"/>
                  </a:lnTo>
                  <a:lnTo>
                    <a:pt x="70" y="35"/>
                  </a:lnTo>
                  <a:lnTo>
                    <a:pt x="70" y="35"/>
                  </a:lnTo>
                  <a:lnTo>
                    <a:pt x="70" y="35"/>
                  </a:lnTo>
                  <a:close/>
                  <a:moveTo>
                    <a:pt x="71" y="49"/>
                  </a:moveTo>
                  <a:lnTo>
                    <a:pt x="71" y="49"/>
                  </a:lnTo>
                  <a:lnTo>
                    <a:pt x="71" y="49"/>
                  </a:lnTo>
                  <a:lnTo>
                    <a:pt x="71" y="49"/>
                  </a:lnTo>
                  <a:lnTo>
                    <a:pt x="70" y="35"/>
                  </a:lnTo>
                  <a:lnTo>
                    <a:pt x="70" y="35"/>
                  </a:lnTo>
                  <a:lnTo>
                    <a:pt x="71" y="49"/>
                  </a:lnTo>
                  <a:close/>
                </a:path>
              </a:pathLst>
            </a:custGeom>
            <a:solidFill>
              <a:srgbClr val="60B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96" name="Freeform 271"/>
            <p:cNvSpPr>
              <a:spLocks/>
            </p:cNvSpPr>
            <p:nvPr/>
          </p:nvSpPr>
          <p:spPr bwMode="auto">
            <a:xfrm>
              <a:off x="5770563" y="371835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97" name="Rectangle 272"/>
            <p:cNvSpPr>
              <a:spLocks noChangeArrowheads="1"/>
            </p:cNvSpPr>
            <p:nvPr/>
          </p:nvSpPr>
          <p:spPr bwMode="auto">
            <a:xfrm>
              <a:off x="5765801" y="3718354"/>
              <a:ext cx="4763"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98" name="Freeform 273"/>
            <p:cNvSpPr>
              <a:spLocks/>
            </p:cNvSpPr>
            <p:nvPr/>
          </p:nvSpPr>
          <p:spPr bwMode="auto">
            <a:xfrm>
              <a:off x="5765801" y="371835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99" name="Rectangle 274"/>
            <p:cNvSpPr>
              <a:spLocks noChangeArrowheads="1"/>
            </p:cNvSpPr>
            <p:nvPr/>
          </p:nvSpPr>
          <p:spPr bwMode="auto">
            <a:xfrm>
              <a:off x="5765801" y="3718354"/>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00" name="Rectangle 275"/>
            <p:cNvSpPr>
              <a:spLocks noChangeArrowheads="1"/>
            </p:cNvSpPr>
            <p:nvPr/>
          </p:nvSpPr>
          <p:spPr bwMode="auto">
            <a:xfrm>
              <a:off x="5876926" y="3773916"/>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01" name="Freeform 276"/>
            <p:cNvSpPr>
              <a:spLocks/>
            </p:cNvSpPr>
            <p:nvPr/>
          </p:nvSpPr>
          <p:spPr bwMode="auto">
            <a:xfrm>
              <a:off x="5876926" y="377391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02" name="Freeform 277"/>
            <p:cNvSpPr>
              <a:spLocks/>
            </p:cNvSpPr>
            <p:nvPr/>
          </p:nvSpPr>
          <p:spPr bwMode="auto">
            <a:xfrm>
              <a:off x="5876926" y="377391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03" name="Freeform 278"/>
            <p:cNvSpPr>
              <a:spLocks/>
            </p:cNvSpPr>
            <p:nvPr/>
          </p:nvSpPr>
          <p:spPr bwMode="auto">
            <a:xfrm>
              <a:off x="5876926" y="377391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04" name="Freeform 279"/>
            <p:cNvSpPr>
              <a:spLocks/>
            </p:cNvSpPr>
            <p:nvPr/>
          </p:nvSpPr>
          <p:spPr bwMode="auto">
            <a:xfrm>
              <a:off x="5876926" y="377391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05" name="Rectangle 280"/>
            <p:cNvSpPr>
              <a:spLocks noChangeArrowheads="1"/>
            </p:cNvSpPr>
            <p:nvPr/>
          </p:nvSpPr>
          <p:spPr bwMode="auto">
            <a:xfrm>
              <a:off x="5876926" y="3773916"/>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06" name="Rectangle 281"/>
            <p:cNvSpPr>
              <a:spLocks noChangeArrowheads="1"/>
            </p:cNvSpPr>
            <p:nvPr/>
          </p:nvSpPr>
          <p:spPr bwMode="auto">
            <a:xfrm>
              <a:off x="5876926" y="3773916"/>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07" name="Freeform 282"/>
            <p:cNvSpPr>
              <a:spLocks/>
            </p:cNvSpPr>
            <p:nvPr/>
          </p:nvSpPr>
          <p:spPr bwMode="auto">
            <a:xfrm>
              <a:off x="5876926" y="3773916"/>
              <a:ext cx="1588" cy="22225"/>
            </a:xfrm>
            <a:custGeom>
              <a:avLst/>
              <a:gdLst>
                <a:gd name="T0" fmla="*/ 1 w 1"/>
                <a:gd name="T1" fmla="*/ 14 h 14"/>
                <a:gd name="T2" fmla="*/ 1 w 1"/>
                <a:gd name="T3" fmla="*/ 14 h 14"/>
                <a:gd name="T4" fmla="*/ 1 w 1"/>
                <a:gd name="T5" fmla="*/ 14 h 14"/>
                <a:gd name="T6" fmla="*/ 1 w 1"/>
                <a:gd name="T7" fmla="*/ 14 h 14"/>
                <a:gd name="T8" fmla="*/ 0 w 1"/>
                <a:gd name="T9" fmla="*/ 0 h 14"/>
                <a:gd name="T10" fmla="*/ 0 w 1"/>
                <a:gd name="T11" fmla="*/ 0 h 14"/>
                <a:gd name="T12" fmla="*/ 1 w 1"/>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 h="14">
                  <a:moveTo>
                    <a:pt x="1" y="14"/>
                  </a:moveTo>
                  <a:lnTo>
                    <a:pt x="1" y="14"/>
                  </a:lnTo>
                  <a:lnTo>
                    <a:pt x="1" y="14"/>
                  </a:lnTo>
                  <a:lnTo>
                    <a:pt x="1" y="14"/>
                  </a:lnTo>
                  <a:lnTo>
                    <a:pt x="0" y="0"/>
                  </a:lnTo>
                  <a:lnTo>
                    <a:pt x="0" y="0"/>
                  </a:lnTo>
                  <a:lnTo>
                    <a:pt x="1"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08" name="Freeform 334"/>
            <p:cNvSpPr>
              <a:spLocks/>
            </p:cNvSpPr>
            <p:nvPr/>
          </p:nvSpPr>
          <p:spPr bwMode="auto">
            <a:xfrm>
              <a:off x="4625976" y="4910566"/>
              <a:ext cx="306388" cy="314325"/>
            </a:xfrm>
            <a:custGeom>
              <a:avLst/>
              <a:gdLst>
                <a:gd name="T0" fmla="*/ 38 w 193"/>
                <a:gd name="T1" fmla="*/ 188 h 198"/>
                <a:gd name="T2" fmla="*/ 45 w 193"/>
                <a:gd name="T3" fmla="*/ 185 h 198"/>
                <a:gd name="T4" fmla="*/ 71 w 193"/>
                <a:gd name="T5" fmla="*/ 186 h 198"/>
                <a:gd name="T6" fmla="*/ 107 w 193"/>
                <a:gd name="T7" fmla="*/ 192 h 198"/>
                <a:gd name="T8" fmla="*/ 126 w 193"/>
                <a:gd name="T9" fmla="*/ 198 h 198"/>
                <a:gd name="T10" fmla="*/ 162 w 193"/>
                <a:gd name="T11" fmla="*/ 195 h 198"/>
                <a:gd name="T12" fmla="*/ 183 w 193"/>
                <a:gd name="T13" fmla="*/ 189 h 198"/>
                <a:gd name="T14" fmla="*/ 167 w 193"/>
                <a:gd name="T15" fmla="*/ 175 h 198"/>
                <a:gd name="T16" fmla="*/ 154 w 193"/>
                <a:gd name="T17" fmla="*/ 150 h 198"/>
                <a:gd name="T18" fmla="*/ 151 w 193"/>
                <a:gd name="T19" fmla="*/ 134 h 198"/>
                <a:gd name="T20" fmla="*/ 149 w 193"/>
                <a:gd name="T21" fmla="*/ 118 h 198"/>
                <a:gd name="T22" fmla="*/ 158 w 193"/>
                <a:gd name="T23" fmla="*/ 110 h 198"/>
                <a:gd name="T24" fmla="*/ 193 w 193"/>
                <a:gd name="T25" fmla="*/ 107 h 198"/>
                <a:gd name="T26" fmla="*/ 190 w 193"/>
                <a:gd name="T27" fmla="*/ 86 h 198"/>
                <a:gd name="T28" fmla="*/ 169 w 193"/>
                <a:gd name="T29" fmla="*/ 86 h 198"/>
                <a:gd name="T30" fmla="*/ 161 w 193"/>
                <a:gd name="T31" fmla="*/ 85 h 198"/>
                <a:gd name="T32" fmla="*/ 165 w 193"/>
                <a:gd name="T33" fmla="*/ 79 h 198"/>
                <a:gd name="T34" fmla="*/ 169 w 193"/>
                <a:gd name="T35" fmla="*/ 73 h 198"/>
                <a:gd name="T36" fmla="*/ 158 w 193"/>
                <a:gd name="T37" fmla="*/ 59 h 198"/>
                <a:gd name="T38" fmla="*/ 156 w 193"/>
                <a:gd name="T39" fmla="*/ 55 h 198"/>
                <a:gd name="T40" fmla="*/ 159 w 193"/>
                <a:gd name="T41" fmla="*/ 29 h 198"/>
                <a:gd name="T42" fmla="*/ 149 w 193"/>
                <a:gd name="T43" fmla="*/ 30 h 198"/>
                <a:gd name="T44" fmla="*/ 141 w 193"/>
                <a:gd name="T45" fmla="*/ 29 h 198"/>
                <a:gd name="T46" fmla="*/ 122 w 193"/>
                <a:gd name="T47" fmla="*/ 21 h 198"/>
                <a:gd name="T48" fmla="*/ 117 w 193"/>
                <a:gd name="T49" fmla="*/ 26 h 198"/>
                <a:gd name="T50" fmla="*/ 114 w 193"/>
                <a:gd name="T51" fmla="*/ 37 h 198"/>
                <a:gd name="T52" fmla="*/ 100 w 193"/>
                <a:gd name="T53" fmla="*/ 40 h 198"/>
                <a:gd name="T54" fmla="*/ 87 w 193"/>
                <a:gd name="T55" fmla="*/ 39 h 198"/>
                <a:gd name="T56" fmla="*/ 78 w 193"/>
                <a:gd name="T57" fmla="*/ 21 h 198"/>
                <a:gd name="T58" fmla="*/ 26 w 193"/>
                <a:gd name="T59" fmla="*/ 0 h 198"/>
                <a:gd name="T60" fmla="*/ 22 w 193"/>
                <a:gd name="T61" fmla="*/ 1 h 198"/>
                <a:gd name="T62" fmla="*/ 17 w 193"/>
                <a:gd name="T63" fmla="*/ 8 h 198"/>
                <a:gd name="T64" fmla="*/ 3 w 193"/>
                <a:gd name="T65" fmla="*/ 11 h 198"/>
                <a:gd name="T66" fmla="*/ 10 w 193"/>
                <a:gd name="T67" fmla="*/ 20 h 198"/>
                <a:gd name="T68" fmla="*/ 16 w 193"/>
                <a:gd name="T69" fmla="*/ 42 h 198"/>
                <a:gd name="T70" fmla="*/ 19 w 193"/>
                <a:gd name="T71" fmla="*/ 68 h 198"/>
                <a:gd name="T72" fmla="*/ 23 w 193"/>
                <a:gd name="T73" fmla="*/ 79 h 198"/>
                <a:gd name="T74" fmla="*/ 28 w 193"/>
                <a:gd name="T75" fmla="*/ 101 h 198"/>
                <a:gd name="T76" fmla="*/ 22 w 193"/>
                <a:gd name="T77" fmla="*/ 113 h 198"/>
                <a:gd name="T78" fmla="*/ 12 w 193"/>
                <a:gd name="T79" fmla="*/ 123 h 198"/>
                <a:gd name="T80" fmla="*/ 6 w 193"/>
                <a:gd name="T81" fmla="*/ 146 h 198"/>
                <a:gd name="T82" fmla="*/ 0 w 193"/>
                <a:gd name="T83" fmla="*/ 176 h 198"/>
                <a:gd name="T84" fmla="*/ 12 w 193"/>
                <a:gd name="T85" fmla="*/ 185 h 198"/>
                <a:gd name="T86" fmla="*/ 25 w 193"/>
                <a:gd name="T87" fmla="*/ 183 h 198"/>
                <a:gd name="T88" fmla="*/ 33 w 193"/>
                <a:gd name="T89" fmla="*/ 18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3" h="198">
                  <a:moveTo>
                    <a:pt x="33" y="188"/>
                  </a:moveTo>
                  <a:lnTo>
                    <a:pt x="33" y="188"/>
                  </a:lnTo>
                  <a:lnTo>
                    <a:pt x="38" y="188"/>
                  </a:lnTo>
                  <a:lnTo>
                    <a:pt x="41" y="188"/>
                  </a:lnTo>
                  <a:lnTo>
                    <a:pt x="45" y="185"/>
                  </a:lnTo>
                  <a:lnTo>
                    <a:pt x="45" y="185"/>
                  </a:lnTo>
                  <a:lnTo>
                    <a:pt x="48" y="183"/>
                  </a:lnTo>
                  <a:lnTo>
                    <a:pt x="54" y="185"/>
                  </a:lnTo>
                  <a:lnTo>
                    <a:pt x="71" y="186"/>
                  </a:lnTo>
                  <a:lnTo>
                    <a:pt x="100" y="191"/>
                  </a:lnTo>
                  <a:lnTo>
                    <a:pt x="100" y="191"/>
                  </a:lnTo>
                  <a:lnTo>
                    <a:pt x="107" y="192"/>
                  </a:lnTo>
                  <a:lnTo>
                    <a:pt x="120" y="197"/>
                  </a:lnTo>
                  <a:lnTo>
                    <a:pt x="120" y="197"/>
                  </a:lnTo>
                  <a:lnTo>
                    <a:pt x="126" y="198"/>
                  </a:lnTo>
                  <a:lnTo>
                    <a:pt x="130" y="198"/>
                  </a:lnTo>
                  <a:lnTo>
                    <a:pt x="142" y="198"/>
                  </a:lnTo>
                  <a:lnTo>
                    <a:pt x="162" y="195"/>
                  </a:lnTo>
                  <a:lnTo>
                    <a:pt x="162" y="195"/>
                  </a:lnTo>
                  <a:lnTo>
                    <a:pt x="171" y="192"/>
                  </a:lnTo>
                  <a:lnTo>
                    <a:pt x="183" y="189"/>
                  </a:lnTo>
                  <a:lnTo>
                    <a:pt x="183" y="189"/>
                  </a:lnTo>
                  <a:lnTo>
                    <a:pt x="172" y="182"/>
                  </a:lnTo>
                  <a:lnTo>
                    <a:pt x="167" y="175"/>
                  </a:lnTo>
                  <a:lnTo>
                    <a:pt x="167" y="175"/>
                  </a:lnTo>
                  <a:lnTo>
                    <a:pt x="158" y="159"/>
                  </a:lnTo>
                  <a:lnTo>
                    <a:pt x="154" y="150"/>
                  </a:lnTo>
                  <a:lnTo>
                    <a:pt x="152" y="141"/>
                  </a:lnTo>
                  <a:lnTo>
                    <a:pt x="152" y="141"/>
                  </a:lnTo>
                  <a:lnTo>
                    <a:pt x="151" y="134"/>
                  </a:lnTo>
                  <a:lnTo>
                    <a:pt x="149" y="127"/>
                  </a:lnTo>
                  <a:lnTo>
                    <a:pt x="149" y="120"/>
                  </a:lnTo>
                  <a:lnTo>
                    <a:pt x="149" y="118"/>
                  </a:lnTo>
                  <a:lnTo>
                    <a:pt x="151" y="115"/>
                  </a:lnTo>
                  <a:lnTo>
                    <a:pt x="151" y="115"/>
                  </a:lnTo>
                  <a:lnTo>
                    <a:pt x="158" y="110"/>
                  </a:lnTo>
                  <a:lnTo>
                    <a:pt x="162" y="108"/>
                  </a:lnTo>
                  <a:lnTo>
                    <a:pt x="167" y="107"/>
                  </a:lnTo>
                  <a:lnTo>
                    <a:pt x="193" y="107"/>
                  </a:lnTo>
                  <a:lnTo>
                    <a:pt x="193" y="86"/>
                  </a:lnTo>
                  <a:lnTo>
                    <a:pt x="193" y="86"/>
                  </a:lnTo>
                  <a:lnTo>
                    <a:pt x="190" y="86"/>
                  </a:lnTo>
                  <a:lnTo>
                    <a:pt x="184" y="86"/>
                  </a:lnTo>
                  <a:lnTo>
                    <a:pt x="184" y="86"/>
                  </a:lnTo>
                  <a:lnTo>
                    <a:pt x="169" y="86"/>
                  </a:lnTo>
                  <a:lnTo>
                    <a:pt x="162" y="86"/>
                  </a:lnTo>
                  <a:lnTo>
                    <a:pt x="161" y="85"/>
                  </a:lnTo>
                  <a:lnTo>
                    <a:pt x="161" y="85"/>
                  </a:lnTo>
                  <a:lnTo>
                    <a:pt x="161" y="85"/>
                  </a:lnTo>
                  <a:lnTo>
                    <a:pt x="162" y="82"/>
                  </a:lnTo>
                  <a:lnTo>
                    <a:pt x="165" y="79"/>
                  </a:lnTo>
                  <a:lnTo>
                    <a:pt x="168" y="76"/>
                  </a:lnTo>
                  <a:lnTo>
                    <a:pt x="169" y="73"/>
                  </a:lnTo>
                  <a:lnTo>
                    <a:pt x="169" y="73"/>
                  </a:lnTo>
                  <a:lnTo>
                    <a:pt x="168" y="69"/>
                  </a:lnTo>
                  <a:lnTo>
                    <a:pt x="162" y="65"/>
                  </a:lnTo>
                  <a:lnTo>
                    <a:pt x="158" y="59"/>
                  </a:lnTo>
                  <a:lnTo>
                    <a:pt x="156" y="56"/>
                  </a:lnTo>
                  <a:lnTo>
                    <a:pt x="156" y="55"/>
                  </a:lnTo>
                  <a:lnTo>
                    <a:pt x="156" y="55"/>
                  </a:lnTo>
                  <a:lnTo>
                    <a:pt x="159" y="39"/>
                  </a:lnTo>
                  <a:lnTo>
                    <a:pt x="159" y="31"/>
                  </a:lnTo>
                  <a:lnTo>
                    <a:pt x="159" y="29"/>
                  </a:lnTo>
                  <a:lnTo>
                    <a:pt x="158" y="29"/>
                  </a:lnTo>
                  <a:lnTo>
                    <a:pt x="158" y="29"/>
                  </a:lnTo>
                  <a:lnTo>
                    <a:pt x="149" y="30"/>
                  </a:lnTo>
                  <a:lnTo>
                    <a:pt x="143" y="30"/>
                  </a:lnTo>
                  <a:lnTo>
                    <a:pt x="141" y="29"/>
                  </a:lnTo>
                  <a:lnTo>
                    <a:pt x="141" y="29"/>
                  </a:lnTo>
                  <a:lnTo>
                    <a:pt x="136" y="26"/>
                  </a:lnTo>
                  <a:lnTo>
                    <a:pt x="129" y="23"/>
                  </a:lnTo>
                  <a:lnTo>
                    <a:pt x="122" y="21"/>
                  </a:lnTo>
                  <a:lnTo>
                    <a:pt x="117" y="23"/>
                  </a:lnTo>
                  <a:lnTo>
                    <a:pt x="117" y="23"/>
                  </a:lnTo>
                  <a:lnTo>
                    <a:pt x="117" y="26"/>
                  </a:lnTo>
                  <a:lnTo>
                    <a:pt x="116" y="30"/>
                  </a:lnTo>
                  <a:lnTo>
                    <a:pt x="116" y="36"/>
                  </a:lnTo>
                  <a:lnTo>
                    <a:pt x="114" y="37"/>
                  </a:lnTo>
                  <a:lnTo>
                    <a:pt x="113" y="37"/>
                  </a:lnTo>
                  <a:lnTo>
                    <a:pt x="113" y="37"/>
                  </a:lnTo>
                  <a:lnTo>
                    <a:pt x="100" y="40"/>
                  </a:lnTo>
                  <a:lnTo>
                    <a:pt x="93" y="42"/>
                  </a:lnTo>
                  <a:lnTo>
                    <a:pt x="90" y="40"/>
                  </a:lnTo>
                  <a:lnTo>
                    <a:pt x="87" y="39"/>
                  </a:lnTo>
                  <a:lnTo>
                    <a:pt x="87" y="39"/>
                  </a:lnTo>
                  <a:lnTo>
                    <a:pt x="81" y="29"/>
                  </a:lnTo>
                  <a:lnTo>
                    <a:pt x="78" y="21"/>
                  </a:lnTo>
                  <a:lnTo>
                    <a:pt x="77" y="15"/>
                  </a:lnTo>
                  <a:lnTo>
                    <a:pt x="77" y="0"/>
                  </a:lnTo>
                  <a:lnTo>
                    <a:pt x="26" y="0"/>
                  </a:lnTo>
                  <a:lnTo>
                    <a:pt x="26" y="0"/>
                  </a:lnTo>
                  <a:lnTo>
                    <a:pt x="23" y="1"/>
                  </a:lnTo>
                  <a:lnTo>
                    <a:pt x="22" y="1"/>
                  </a:lnTo>
                  <a:lnTo>
                    <a:pt x="20" y="4"/>
                  </a:lnTo>
                  <a:lnTo>
                    <a:pt x="19" y="7"/>
                  </a:lnTo>
                  <a:lnTo>
                    <a:pt x="17" y="8"/>
                  </a:lnTo>
                  <a:lnTo>
                    <a:pt x="17" y="8"/>
                  </a:lnTo>
                  <a:lnTo>
                    <a:pt x="3" y="11"/>
                  </a:lnTo>
                  <a:lnTo>
                    <a:pt x="3" y="11"/>
                  </a:lnTo>
                  <a:lnTo>
                    <a:pt x="7" y="17"/>
                  </a:lnTo>
                  <a:lnTo>
                    <a:pt x="10" y="20"/>
                  </a:lnTo>
                  <a:lnTo>
                    <a:pt x="10" y="20"/>
                  </a:lnTo>
                  <a:lnTo>
                    <a:pt x="12" y="29"/>
                  </a:lnTo>
                  <a:lnTo>
                    <a:pt x="16" y="42"/>
                  </a:lnTo>
                  <a:lnTo>
                    <a:pt x="16" y="42"/>
                  </a:lnTo>
                  <a:lnTo>
                    <a:pt x="17" y="49"/>
                  </a:lnTo>
                  <a:lnTo>
                    <a:pt x="17" y="57"/>
                  </a:lnTo>
                  <a:lnTo>
                    <a:pt x="19" y="68"/>
                  </a:lnTo>
                  <a:lnTo>
                    <a:pt x="20" y="73"/>
                  </a:lnTo>
                  <a:lnTo>
                    <a:pt x="20" y="73"/>
                  </a:lnTo>
                  <a:lnTo>
                    <a:pt x="23" y="79"/>
                  </a:lnTo>
                  <a:lnTo>
                    <a:pt x="25" y="88"/>
                  </a:lnTo>
                  <a:lnTo>
                    <a:pt x="28" y="101"/>
                  </a:lnTo>
                  <a:lnTo>
                    <a:pt x="28" y="101"/>
                  </a:lnTo>
                  <a:lnTo>
                    <a:pt x="26" y="108"/>
                  </a:lnTo>
                  <a:lnTo>
                    <a:pt x="22" y="113"/>
                  </a:lnTo>
                  <a:lnTo>
                    <a:pt x="22" y="113"/>
                  </a:lnTo>
                  <a:lnTo>
                    <a:pt x="16" y="118"/>
                  </a:lnTo>
                  <a:lnTo>
                    <a:pt x="13" y="120"/>
                  </a:lnTo>
                  <a:lnTo>
                    <a:pt x="12" y="123"/>
                  </a:lnTo>
                  <a:lnTo>
                    <a:pt x="12" y="123"/>
                  </a:lnTo>
                  <a:lnTo>
                    <a:pt x="9" y="131"/>
                  </a:lnTo>
                  <a:lnTo>
                    <a:pt x="6" y="146"/>
                  </a:lnTo>
                  <a:lnTo>
                    <a:pt x="1" y="169"/>
                  </a:lnTo>
                  <a:lnTo>
                    <a:pt x="1" y="169"/>
                  </a:lnTo>
                  <a:lnTo>
                    <a:pt x="0" y="176"/>
                  </a:lnTo>
                  <a:lnTo>
                    <a:pt x="0" y="191"/>
                  </a:lnTo>
                  <a:lnTo>
                    <a:pt x="0" y="191"/>
                  </a:lnTo>
                  <a:lnTo>
                    <a:pt x="12" y="185"/>
                  </a:lnTo>
                  <a:lnTo>
                    <a:pt x="20" y="182"/>
                  </a:lnTo>
                  <a:lnTo>
                    <a:pt x="20" y="182"/>
                  </a:lnTo>
                  <a:lnTo>
                    <a:pt x="25" y="183"/>
                  </a:lnTo>
                  <a:lnTo>
                    <a:pt x="26" y="185"/>
                  </a:lnTo>
                  <a:lnTo>
                    <a:pt x="29" y="186"/>
                  </a:lnTo>
                  <a:lnTo>
                    <a:pt x="33" y="188"/>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09" name="Freeform 335"/>
            <p:cNvSpPr>
              <a:spLocks/>
            </p:cNvSpPr>
            <p:nvPr/>
          </p:nvSpPr>
          <p:spPr bwMode="auto">
            <a:xfrm>
              <a:off x="4625976" y="4910566"/>
              <a:ext cx="306388" cy="314325"/>
            </a:xfrm>
            <a:custGeom>
              <a:avLst/>
              <a:gdLst>
                <a:gd name="T0" fmla="*/ 38 w 193"/>
                <a:gd name="T1" fmla="*/ 188 h 198"/>
                <a:gd name="T2" fmla="*/ 45 w 193"/>
                <a:gd name="T3" fmla="*/ 185 h 198"/>
                <a:gd name="T4" fmla="*/ 71 w 193"/>
                <a:gd name="T5" fmla="*/ 186 h 198"/>
                <a:gd name="T6" fmla="*/ 107 w 193"/>
                <a:gd name="T7" fmla="*/ 192 h 198"/>
                <a:gd name="T8" fmla="*/ 126 w 193"/>
                <a:gd name="T9" fmla="*/ 198 h 198"/>
                <a:gd name="T10" fmla="*/ 162 w 193"/>
                <a:gd name="T11" fmla="*/ 195 h 198"/>
                <a:gd name="T12" fmla="*/ 183 w 193"/>
                <a:gd name="T13" fmla="*/ 189 h 198"/>
                <a:gd name="T14" fmla="*/ 167 w 193"/>
                <a:gd name="T15" fmla="*/ 175 h 198"/>
                <a:gd name="T16" fmla="*/ 154 w 193"/>
                <a:gd name="T17" fmla="*/ 150 h 198"/>
                <a:gd name="T18" fmla="*/ 151 w 193"/>
                <a:gd name="T19" fmla="*/ 134 h 198"/>
                <a:gd name="T20" fmla="*/ 149 w 193"/>
                <a:gd name="T21" fmla="*/ 118 h 198"/>
                <a:gd name="T22" fmla="*/ 158 w 193"/>
                <a:gd name="T23" fmla="*/ 110 h 198"/>
                <a:gd name="T24" fmla="*/ 193 w 193"/>
                <a:gd name="T25" fmla="*/ 107 h 198"/>
                <a:gd name="T26" fmla="*/ 190 w 193"/>
                <a:gd name="T27" fmla="*/ 86 h 198"/>
                <a:gd name="T28" fmla="*/ 169 w 193"/>
                <a:gd name="T29" fmla="*/ 86 h 198"/>
                <a:gd name="T30" fmla="*/ 161 w 193"/>
                <a:gd name="T31" fmla="*/ 85 h 198"/>
                <a:gd name="T32" fmla="*/ 165 w 193"/>
                <a:gd name="T33" fmla="*/ 79 h 198"/>
                <a:gd name="T34" fmla="*/ 169 w 193"/>
                <a:gd name="T35" fmla="*/ 73 h 198"/>
                <a:gd name="T36" fmla="*/ 158 w 193"/>
                <a:gd name="T37" fmla="*/ 59 h 198"/>
                <a:gd name="T38" fmla="*/ 156 w 193"/>
                <a:gd name="T39" fmla="*/ 55 h 198"/>
                <a:gd name="T40" fmla="*/ 159 w 193"/>
                <a:gd name="T41" fmla="*/ 29 h 198"/>
                <a:gd name="T42" fmla="*/ 149 w 193"/>
                <a:gd name="T43" fmla="*/ 30 h 198"/>
                <a:gd name="T44" fmla="*/ 141 w 193"/>
                <a:gd name="T45" fmla="*/ 29 h 198"/>
                <a:gd name="T46" fmla="*/ 122 w 193"/>
                <a:gd name="T47" fmla="*/ 21 h 198"/>
                <a:gd name="T48" fmla="*/ 117 w 193"/>
                <a:gd name="T49" fmla="*/ 26 h 198"/>
                <a:gd name="T50" fmla="*/ 114 w 193"/>
                <a:gd name="T51" fmla="*/ 37 h 198"/>
                <a:gd name="T52" fmla="*/ 100 w 193"/>
                <a:gd name="T53" fmla="*/ 40 h 198"/>
                <a:gd name="T54" fmla="*/ 87 w 193"/>
                <a:gd name="T55" fmla="*/ 39 h 198"/>
                <a:gd name="T56" fmla="*/ 78 w 193"/>
                <a:gd name="T57" fmla="*/ 21 h 198"/>
                <a:gd name="T58" fmla="*/ 26 w 193"/>
                <a:gd name="T59" fmla="*/ 0 h 198"/>
                <a:gd name="T60" fmla="*/ 22 w 193"/>
                <a:gd name="T61" fmla="*/ 1 h 198"/>
                <a:gd name="T62" fmla="*/ 17 w 193"/>
                <a:gd name="T63" fmla="*/ 8 h 198"/>
                <a:gd name="T64" fmla="*/ 3 w 193"/>
                <a:gd name="T65" fmla="*/ 11 h 198"/>
                <a:gd name="T66" fmla="*/ 10 w 193"/>
                <a:gd name="T67" fmla="*/ 20 h 198"/>
                <a:gd name="T68" fmla="*/ 16 w 193"/>
                <a:gd name="T69" fmla="*/ 42 h 198"/>
                <a:gd name="T70" fmla="*/ 19 w 193"/>
                <a:gd name="T71" fmla="*/ 68 h 198"/>
                <a:gd name="T72" fmla="*/ 23 w 193"/>
                <a:gd name="T73" fmla="*/ 79 h 198"/>
                <a:gd name="T74" fmla="*/ 28 w 193"/>
                <a:gd name="T75" fmla="*/ 101 h 198"/>
                <a:gd name="T76" fmla="*/ 22 w 193"/>
                <a:gd name="T77" fmla="*/ 113 h 198"/>
                <a:gd name="T78" fmla="*/ 12 w 193"/>
                <a:gd name="T79" fmla="*/ 123 h 198"/>
                <a:gd name="T80" fmla="*/ 6 w 193"/>
                <a:gd name="T81" fmla="*/ 146 h 198"/>
                <a:gd name="T82" fmla="*/ 0 w 193"/>
                <a:gd name="T83" fmla="*/ 176 h 198"/>
                <a:gd name="T84" fmla="*/ 12 w 193"/>
                <a:gd name="T85" fmla="*/ 185 h 198"/>
                <a:gd name="T86" fmla="*/ 25 w 193"/>
                <a:gd name="T87" fmla="*/ 183 h 198"/>
                <a:gd name="T88" fmla="*/ 33 w 193"/>
                <a:gd name="T89" fmla="*/ 18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3" h="198">
                  <a:moveTo>
                    <a:pt x="33" y="188"/>
                  </a:moveTo>
                  <a:lnTo>
                    <a:pt x="33" y="188"/>
                  </a:lnTo>
                  <a:lnTo>
                    <a:pt x="38" y="188"/>
                  </a:lnTo>
                  <a:lnTo>
                    <a:pt x="41" y="188"/>
                  </a:lnTo>
                  <a:lnTo>
                    <a:pt x="45" y="185"/>
                  </a:lnTo>
                  <a:lnTo>
                    <a:pt x="45" y="185"/>
                  </a:lnTo>
                  <a:lnTo>
                    <a:pt x="48" y="183"/>
                  </a:lnTo>
                  <a:lnTo>
                    <a:pt x="54" y="185"/>
                  </a:lnTo>
                  <a:lnTo>
                    <a:pt x="71" y="186"/>
                  </a:lnTo>
                  <a:lnTo>
                    <a:pt x="100" y="191"/>
                  </a:lnTo>
                  <a:lnTo>
                    <a:pt x="100" y="191"/>
                  </a:lnTo>
                  <a:lnTo>
                    <a:pt x="107" y="192"/>
                  </a:lnTo>
                  <a:lnTo>
                    <a:pt x="120" y="197"/>
                  </a:lnTo>
                  <a:lnTo>
                    <a:pt x="120" y="197"/>
                  </a:lnTo>
                  <a:lnTo>
                    <a:pt x="126" y="198"/>
                  </a:lnTo>
                  <a:lnTo>
                    <a:pt x="130" y="198"/>
                  </a:lnTo>
                  <a:lnTo>
                    <a:pt x="142" y="198"/>
                  </a:lnTo>
                  <a:lnTo>
                    <a:pt x="162" y="195"/>
                  </a:lnTo>
                  <a:lnTo>
                    <a:pt x="162" y="195"/>
                  </a:lnTo>
                  <a:lnTo>
                    <a:pt x="171" y="192"/>
                  </a:lnTo>
                  <a:lnTo>
                    <a:pt x="183" y="189"/>
                  </a:lnTo>
                  <a:lnTo>
                    <a:pt x="183" y="189"/>
                  </a:lnTo>
                  <a:lnTo>
                    <a:pt x="172" y="182"/>
                  </a:lnTo>
                  <a:lnTo>
                    <a:pt x="167" y="175"/>
                  </a:lnTo>
                  <a:lnTo>
                    <a:pt x="167" y="175"/>
                  </a:lnTo>
                  <a:lnTo>
                    <a:pt x="158" y="159"/>
                  </a:lnTo>
                  <a:lnTo>
                    <a:pt x="154" y="150"/>
                  </a:lnTo>
                  <a:lnTo>
                    <a:pt x="152" y="141"/>
                  </a:lnTo>
                  <a:lnTo>
                    <a:pt x="152" y="141"/>
                  </a:lnTo>
                  <a:lnTo>
                    <a:pt x="151" y="134"/>
                  </a:lnTo>
                  <a:lnTo>
                    <a:pt x="149" y="127"/>
                  </a:lnTo>
                  <a:lnTo>
                    <a:pt x="149" y="120"/>
                  </a:lnTo>
                  <a:lnTo>
                    <a:pt x="149" y="118"/>
                  </a:lnTo>
                  <a:lnTo>
                    <a:pt x="151" y="115"/>
                  </a:lnTo>
                  <a:lnTo>
                    <a:pt x="151" y="115"/>
                  </a:lnTo>
                  <a:lnTo>
                    <a:pt x="158" y="110"/>
                  </a:lnTo>
                  <a:lnTo>
                    <a:pt x="162" y="108"/>
                  </a:lnTo>
                  <a:lnTo>
                    <a:pt x="167" y="107"/>
                  </a:lnTo>
                  <a:lnTo>
                    <a:pt x="193" y="107"/>
                  </a:lnTo>
                  <a:lnTo>
                    <a:pt x="193" y="86"/>
                  </a:lnTo>
                  <a:lnTo>
                    <a:pt x="193" y="86"/>
                  </a:lnTo>
                  <a:lnTo>
                    <a:pt x="190" y="86"/>
                  </a:lnTo>
                  <a:lnTo>
                    <a:pt x="184" y="86"/>
                  </a:lnTo>
                  <a:lnTo>
                    <a:pt x="184" y="86"/>
                  </a:lnTo>
                  <a:lnTo>
                    <a:pt x="169" y="86"/>
                  </a:lnTo>
                  <a:lnTo>
                    <a:pt x="162" y="86"/>
                  </a:lnTo>
                  <a:lnTo>
                    <a:pt x="161" y="85"/>
                  </a:lnTo>
                  <a:lnTo>
                    <a:pt x="161" y="85"/>
                  </a:lnTo>
                  <a:lnTo>
                    <a:pt x="161" y="85"/>
                  </a:lnTo>
                  <a:lnTo>
                    <a:pt x="162" y="82"/>
                  </a:lnTo>
                  <a:lnTo>
                    <a:pt x="165" y="79"/>
                  </a:lnTo>
                  <a:lnTo>
                    <a:pt x="168" y="76"/>
                  </a:lnTo>
                  <a:lnTo>
                    <a:pt x="169" y="73"/>
                  </a:lnTo>
                  <a:lnTo>
                    <a:pt x="169" y="73"/>
                  </a:lnTo>
                  <a:lnTo>
                    <a:pt x="168" y="69"/>
                  </a:lnTo>
                  <a:lnTo>
                    <a:pt x="162" y="65"/>
                  </a:lnTo>
                  <a:lnTo>
                    <a:pt x="158" y="59"/>
                  </a:lnTo>
                  <a:lnTo>
                    <a:pt x="156" y="56"/>
                  </a:lnTo>
                  <a:lnTo>
                    <a:pt x="156" y="55"/>
                  </a:lnTo>
                  <a:lnTo>
                    <a:pt x="156" y="55"/>
                  </a:lnTo>
                  <a:lnTo>
                    <a:pt x="159" y="39"/>
                  </a:lnTo>
                  <a:lnTo>
                    <a:pt x="159" y="31"/>
                  </a:lnTo>
                  <a:lnTo>
                    <a:pt x="159" y="29"/>
                  </a:lnTo>
                  <a:lnTo>
                    <a:pt x="158" y="29"/>
                  </a:lnTo>
                  <a:lnTo>
                    <a:pt x="158" y="29"/>
                  </a:lnTo>
                  <a:lnTo>
                    <a:pt x="149" y="30"/>
                  </a:lnTo>
                  <a:lnTo>
                    <a:pt x="143" y="30"/>
                  </a:lnTo>
                  <a:lnTo>
                    <a:pt x="141" y="29"/>
                  </a:lnTo>
                  <a:lnTo>
                    <a:pt x="141" y="29"/>
                  </a:lnTo>
                  <a:lnTo>
                    <a:pt x="136" y="26"/>
                  </a:lnTo>
                  <a:lnTo>
                    <a:pt x="129" y="23"/>
                  </a:lnTo>
                  <a:lnTo>
                    <a:pt x="122" y="21"/>
                  </a:lnTo>
                  <a:lnTo>
                    <a:pt x="117" y="23"/>
                  </a:lnTo>
                  <a:lnTo>
                    <a:pt x="117" y="23"/>
                  </a:lnTo>
                  <a:lnTo>
                    <a:pt x="117" y="26"/>
                  </a:lnTo>
                  <a:lnTo>
                    <a:pt x="116" y="30"/>
                  </a:lnTo>
                  <a:lnTo>
                    <a:pt x="116" y="36"/>
                  </a:lnTo>
                  <a:lnTo>
                    <a:pt x="114" y="37"/>
                  </a:lnTo>
                  <a:lnTo>
                    <a:pt x="113" y="37"/>
                  </a:lnTo>
                  <a:lnTo>
                    <a:pt x="113" y="37"/>
                  </a:lnTo>
                  <a:lnTo>
                    <a:pt x="100" y="40"/>
                  </a:lnTo>
                  <a:lnTo>
                    <a:pt x="93" y="42"/>
                  </a:lnTo>
                  <a:lnTo>
                    <a:pt x="90" y="40"/>
                  </a:lnTo>
                  <a:lnTo>
                    <a:pt x="87" y="39"/>
                  </a:lnTo>
                  <a:lnTo>
                    <a:pt x="87" y="39"/>
                  </a:lnTo>
                  <a:lnTo>
                    <a:pt x="81" y="29"/>
                  </a:lnTo>
                  <a:lnTo>
                    <a:pt x="78" y="21"/>
                  </a:lnTo>
                  <a:lnTo>
                    <a:pt x="77" y="15"/>
                  </a:lnTo>
                  <a:lnTo>
                    <a:pt x="77" y="0"/>
                  </a:lnTo>
                  <a:lnTo>
                    <a:pt x="26" y="0"/>
                  </a:lnTo>
                  <a:lnTo>
                    <a:pt x="26" y="0"/>
                  </a:lnTo>
                  <a:lnTo>
                    <a:pt x="23" y="1"/>
                  </a:lnTo>
                  <a:lnTo>
                    <a:pt x="22" y="1"/>
                  </a:lnTo>
                  <a:lnTo>
                    <a:pt x="20" y="4"/>
                  </a:lnTo>
                  <a:lnTo>
                    <a:pt x="19" y="7"/>
                  </a:lnTo>
                  <a:lnTo>
                    <a:pt x="17" y="8"/>
                  </a:lnTo>
                  <a:lnTo>
                    <a:pt x="17" y="8"/>
                  </a:lnTo>
                  <a:lnTo>
                    <a:pt x="3" y="11"/>
                  </a:lnTo>
                  <a:lnTo>
                    <a:pt x="3" y="11"/>
                  </a:lnTo>
                  <a:lnTo>
                    <a:pt x="7" y="17"/>
                  </a:lnTo>
                  <a:lnTo>
                    <a:pt x="10" y="20"/>
                  </a:lnTo>
                  <a:lnTo>
                    <a:pt x="10" y="20"/>
                  </a:lnTo>
                  <a:lnTo>
                    <a:pt x="12" y="29"/>
                  </a:lnTo>
                  <a:lnTo>
                    <a:pt x="16" y="42"/>
                  </a:lnTo>
                  <a:lnTo>
                    <a:pt x="16" y="42"/>
                  </a:lnTo>
                  <a:lnTo>
                    <a:pt x="17" y="49"/>
                  </a:lnTo>
                  <a:lnTo>
                    <a:pt x="17" y="57"/>
                  </a:lnTo>
                  <a:lnTo>
                    <a:pt x="19" y="68"/>
                  </a:lnTo>
                  <a:lnTo>
                    <a:pt x="20" y="73"/>
                  </a:lnTo>
                  <a:lnTo>
                    <a:pt x="20" y="73"/>
                  </a:lnTo>
                  <a:lnTo>
                    <a:pt x="23" y="79"/>
                  </a:lnTo>
                  <a:lnTo>
                    <a:pt x="25" y="88"/>
                  </a:lnTo>
                  <a:lnTo>
                    <a:pt x="28" y="101"/>
                  </a:lnTo>
                  <a:lnTo>
                    <a:pt x="28" y="101"/>
                  </a:lnTo>
                  <a:lnTo>
                    <a:pt x="26" y="108"/>
                  </a:lnTo>
                  <a:lnTo>
                    <a:pt x="22" y="113"/>
                  </a:lnTo>
                  <a:lnTo>
                    <a:pt x="22" y="113"/>
                  </a:lnTo>
                  <a:lnTo>
                    <a:pt x="16" y="118"/>
                  </a:lnTo>
                  <a:lnTo>
                    <a:pt x="13" y="120"/>
                  </a:lnTo>
                  <a:lnTo>
                    <a:pt x="12" y="123"/>
                  </a:lnTo>
                  <a:lnTo>
                    <a:pt x="12" y="123"/>
                  </a:lnTo>
                  <a:lnTo>
                    <a:pt x="9" y="131"/>
                  </a:lnTo>
                  <a:lnTo>
                    <a:pt x="6" y="146"/>
                  </a:lnTo>
                  <a:lnTo>
                    <a:pt x="1" y="169"/>
                  </a:lnTo>
                  <a:lnTo>
                    <a:pt x="1" y="169"/>
                  </a:lnTo>
                  <a:lnTo>
                    <a:pt x="0" y="176"/>
                  </a:lnTo>
                  <a:lnTo>
                    <a:pt x="0" y="191"/>
                  </a:lnTo>
                  <a:lnTo>
                    <a:pt x="0" y="191"/>
                  </a:lnTo>
                  <a:lnTo>
                    <a:pt x="12" y="185"/>
                  </a:lnTo>
                  <a:lnTo>
                    <a:pt x="20" y="182"/>
                  </a:lnTo>
                  <a:lnTo>
                    <a:pt x="20" y="182"/>
                  </a:lnTo>
                  <a:lnTo>
                    <a:pt x="25" y="183"/>
                  </a:lnTo>
                  <a:lnTo>
                    <a:pt x="26" y="185"/>
                  </a:lnTo>
                  <a:lnTo>
                    <a:pt x="29" y="186"/>
                  </a:lnTo>
                  <a:lnTo>
                    <a:pt x="33" y="1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10" name="Freeform 336"/>
            <p:cNvSpPr>
              <a:spLocks/>
            </p:cNvSpPr>
            <p:nvPr/>
          </p:nvSpPr>
          <p:spPr bwMode="auto">
            <a:xfrm>
              <a:off x="4625976" y="5199491"/>
              <a:ext cx="303213" cy="333375"/>
            </a:xfrm>
            <a:custGeom>
              <a:avLst/>
              <a:gdLst>
                <a:gd name="T0" fmla="*/ 110 w 191"/>
                <a:gd name="T1" fmla="*/ 210 h 210"/>
                <a:gd name="T2" fmla="*/ 117 w 191"/>
                <a:gd name="T3" fmla="*/ 209 h 210"/>
                <a:gd name="T4" fmla="*/ 129 w 191"/>
                <a:gd name="T5" fmla="*/ 198 h 210"/>
                <a:gd name="T6" fmla="*/ 130 w 191"/>
                <a:gd name="T7" fmla="*/ 85 h 210"/>
                <a:gd name="T8" fmla="*/ 148 w 191"/>
                <a:gd name="T9" fmla="*/ 25 h 210"/>
                <a:gd name="T10" fmla="*/ 178 w 191"/>
                <a:gd name="T11" fmla="*/ 19 h 210"/>
                <a:gd name="T12" fmla="*/ 184 w 191"/>
                <a:gd name="T13" fmla="*/ 16 h 210"/>
                <a:gd name="T14" fmla="*/ 191 w 191"/>
                <a:gd name="T15" fmla="*/ 12 h 210"/>
                <a:gd name="T16" fmla="*/ 183 w 191"/>
                <a:gd name="T17" fmla="*/ 7 h 210"/>
                <a:gd name="T18" fmla="*/ 162 w 191"/>
                <a:gd name="T19" fmla="*/ 13 h 210"/>
                <a:gd name="T20" fmla="*/ 142 w 191"/>
                <a:gd name="T21" fmla="*/ 16 h 210"/>
                <a:gd name="T22" fmla="*/ 126 w 191"/>
                <a:gd name="T23" fmla="*/ 16 h 210"/>
                <a:gd name="T24" fmla="*/ 120 w 191"/>
                <a:gd name="T25" fmla="*/ 15 h 210"/>
                <a:gd name="T26" fmla="*/ 100 w 191"/>
                <a:gd name="T27" fmla="*/ 9 h 210"/>
                <a:gd name="T28" fmla="*/ 71 w 191"/>
                <a:gd name="T29" fmla="*/ 4 h 210"/>
                <a:gd name="T30" fmla="*/ 48 w 191"/>
                <a:gd name="T31" fmla="*/ 1 h 210"/>
                <a:gd name="T32" fmla="*/ 45 w 191"/>
                <a:gd name="T33" fmla="*/ 3 h 210"/>
                <a:gd name="T34" fmla="*/ 38 w 191"/>
                <a:gd name="T35" fmla="*/ 6 h 210"/>
                <a:gd name="T36" fmla="*/ 33 w 191"/>
                <a:gd name="T37" fmla="*/ 6 h 210"/>
                <a:gd name="T38" fmla="*/ 26 w 191"/>
                <a:gd name="T39" fmla="*/ 3 h 210"/>
                <a:gd name="T40" fmla="*/ 20 w 191"/>
                <a:gd name="T41" fmla="*/ 0 h 210"/>
                <a:gd name="T42" fmla="*/ 12 w 191"/>
                <a:gd name="T43" fmla="*/ 3 h 210"/>
                <a:gd name="T44" fmla="*/ 0 w 191"/>
                <a:gd name="T45" fmla="*/ 9 h 210"/>
                <a:gd name="T46" fmla="*/ 4 w 191"/>
                <a:gd name="T47" fmla="*/ 26 h 210"/>
                <a:gd name="T48" fmla="*/ 15 w 191"/>
                <a:gd name="T49" fmla="*/ 42 h 210"/>
                <a:gd name="T50" fmla="*/ 22 w 191"/>
                <a:gd name="T51" fmla="*/ 61 h 210"/>
                <a:gd name="T52" fmla="*/ 25 w 191"/>
                <a:gd name="T53" fmla="*/ 70 h 210"/>
                <a:gd name="T54" fmla="*/ 39 w 191"/>
                <a:gd name="T55" fmla="*/ 91 h 210"/>
                <a:gd name="T56" fmla="*/ 41 w 191"/>
                <a:gd name="T57" fmla="*/ 96 h 210"/>
                <a:gd name="T58" fmla="*/ 43 w 191"/>
                <a:gd name="T59" fmla="*/ 112 h 210"/>
                <a:gd name="T60" fmla="*/ 45 w 191"/>
                <a:gd name="T61" fmla="*/ 135 h 210"/>
                <a:gd name="T62" fmla="*/ 49 w 191"/>
                <a:gd name="T63" fmla="*/ 151 h 210"/>
                <a:gd name="T64" fmla="*/ 51 w 191"/>
                <a:gd name="T65" fmla="*/ 170 h 210"/>
                <a:gd name="T66" fmla="*/ 52 w 191"/>
                <a:gd name="T67" fmla="*/ 174 h 210"/>
                <a:gd name="T68" fmla="*/ 58 w 191"/>
                <a:gd name="T69" fmla="*/ 187 h 210"/>
                <a:gd name="T70" fmla="*/ 72 w 191"/>
                <a:gd name="T71" fmla="*/ 203 h 210"/>
                <a:gd name="T72" fmla="*/ 78 w 191"/>
                <a:gd name="T73" fmla="*/ 198 h 210"/>
                <a:gd name="T74" fmla="*/ 84 w 191"/>
                <a:gd name="T75" fmla="*/ 197 h 210"/>
                <a:gd name="T76" fmla="*/ 97 w 191"/>
                <a:gd name="T77" fmla="*/ 203 h 210"/>
                <a:gd name="T78" fmla="*/ 110 w 191"/>
                <a:gd name="T79"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1" h="210">
                  <a:moveTo>
                    <a:pt x="110" y="210"/>
                  </a:moveTo>
                  <a:lnTo>
                    <a:pt x="110" y="210"/>
                  </a:lnTo>
                  <a:lnTo>
                    <a:pt x="113" y="210"/>
                  </a:lnTo>
                  <a:lnTo>
                    <a:pt x="117" y="209"/>
                  </a:lnTo>
                  <a:lnTo>
                    <a:pt x="123" y="204"/>
                  </a:lnTo>
                  <a:lnTo>
                    <a:pt x="129" y="198"/>
                  </a:lnTo>
                  <a:lnTo>
                    <a:pt x="130" y="194"/>
                  </a:lnTo>
                  <a:lnTo>
                    <a:pt x="130" y="85"/>
                  </a:lnTo>
                  <a:lnTo>
                    <a:pt x="148" y="85"/>
                  </a:lnTo>
                  <a:lnTo>
                    <a:pt x="148" y="25"/>
                  </a:lnTo>
                  <a:lnTo>
                    <a:pt x="148" y="25"/>
                  </a:lnTo>
                  <a:lnTo>
                    <a:pt x="178" y="19"/>
                  </a:lnTo>
                  <a:lnTo>
                    <a:pt x="178" y="19"/>
                  </a:lnTo>
                  <a:lnTo>
                    <a:pt x="184" y="16"/>
                  </a:lnTo>
                  <a:lnTo>
                    <a:pt x="191" y="12"/>
                  </a:lnTo>
                  <a:lnTo>
                    <a:pt x="191" y="12"/>
                  </a:lnTo>
                  <a:lnTo>
                    <a:pt x="183" y="7"/>
                  </a:lnTo>
                  <a:lnTo>
                    <a:pt x="183" y="7"/>
                  </a:lnTo>
                  <a:lnTo>
                    <a:pt x="171" y="10"/>
                  </a:lnTo>
                  <a:lnTo>
                    <a:pt x="162" y="13"/>
                  </a:lnTo>
                  <a:lnTo>
                    <a:pt x="162" y="13"/>
                  </a:lnTo>
                  <a:lnTo>
                    <a:pt x="142" y="16"/>
                  </a:lnTo>
                  <a:lnTo>
                    <a:pt x="130" y="16"/>
                  </a:lnTo>
                  <a:lnTo>
                    <a:pt x="126" y="16"/>
                  </a:lnTo>
                  <a:lnTo>
                    <a:pt x="120" y="15"/>
                  </a:lnTo>
                  <a:lnTo>
                    <a:pt x="120" y="15"/>
                  </a:lnTo>
                  <a:lnTo>
                    <a:pt x="107" y="10"/>
                  </a:lnTo>
                  <a:lnTo>
                    <a:pt x="100" y="9"/>
                  </a:lnTo>
                  <a:lnTo>
                    <a:pt x="100" y="9"/>
                  </a:lnTo>
                  <a:lnTo>
                    <a:pt x="71" y="4"/>
                  </a:lnTo>
                  <a:lnTo>
                    <a:pt x="54" y="3"/>
                  </a:lnTo>
                  <a:lnTo>
                    <a:pt x="48" y="1"/>
                  </a:lnTo>
                  <a:lnTo>
                    <a:pt x="45" y="3"/>
                  </a:lnTo>
                  <a:lnTo>
                    <a:pt x="45" y="3"/>
                  </a:lnTo>
                  <a:lnTo>
                    <a:pt x="41" y="6"/>
                  </a:lnTo>
                  <a:lnTo>
                    <a:pt x="38" y="6"/>
                  </a:lnTo>
                  <a:lnTo>
                    <a:pt x="33" y="6"/>
                  </a:lnTo>
                  <a:lnTo>
                    <a:pt x="33" y="6"/>
                  </a:lnTo>
                  <a:lnTo>
                    <a:pt x="29" y="4"/>
                  </a:lnTo>
                  <a:lnTo>
                    <a:pt x="26" y="3"/>
                  </a:lnTo>
                  <a:lnTo>
                    <a:pt x="25" y="1"/>
                  </a:lnTo>
                  <a:lnTo>
                    <a:pt x="20" y="0"/>
                  </a:lnTo>
                  <a:lnTo>
                    <a:pt x="20" y="0"/>
                  </a:lnTo>
                  <a:lnTo>
                    <a:pt x="12" y="3"/>
                  </a:lnTo>
                  <a:lnTo>
                    <a:pt x="0" y="9"/>
                  </a:lnTo>
                  <a:lnTo>
                    <a:pt x="0" y="9"/>
                  </a:lnTo>
                  <a:lnTo>
                    <a:pt x="1" y="19"/>
                  </a:lnTo>
                  <a:lnTo>
                    <a:pt x="4" y="26"/>
                  </a:lnTo>
                  <a:lnTo>
                    <a:pt x="4" y="26"/>
                  </a:lnTo>
                  <a:lnTo>
                    <a:pt x="15" y="42"/>
                  </a:lnTo>
                  <a:lnTo>
                    <a:pt x="20" y="52"/>
                  </a:lnTo>
                  <a:lnTo>
                    <a:pt x="22" y="61"/>
                  </a:lnTo>
                  <a:lnTo>
                    <a:pt x="22" y="61"/>
                  </a:lnTo>
                  <a:lnTo>
                    <a:pt x="25" y="70"/>
                  </a:lnTo>
                  <a:lnTo>
                    <a:pt x="29" y="77"/>
                  </a:lnTo>
                  <a:lnTo>
                    <a:pt x="39" y="91"/>
                  </a:lnTo>
                  <a:lnTo>
                    <a:pt x="39" y="91"/>
                  </a:lnTo>
                  <a:lnTo>
                    <a:pt x="41" y="96"/>
                  </a:lnTo>
                  <a:lnTo>
                    <a:pt x="42" y="100"/>
                  </a:lnTo>
                  <a:lnTo>
                    <a:pt x="43" y="112"/>
                  </a:lnTo>
                  <a:lnTo>
                    <a:pt x="43" y="125"/>
                  </a:lnTo>
                  <a:lnTo>
                    <a:pt x="45" y="135"/>
                  </a:lnTo>
                  <a:lnTo>
                    <a:pt x="45" y="135"/>
                  </a:lnTo>
                  <a:lnTo>
                    <a:pt x="49" y="151"/>
                  </a:lnTo>
                  <a:lnTo>
                    <a:pt x="51" y="159"/>
                  </a:lnTo>
                  <a:lnTo>
                    <a:pt x="51" y="170"/>
                  </a:lnTo>
                  <a:lnTo>
                    <a:pt x="51" y="170"/>
                  </a:lnTo>
                  <a:lnTo>
                    <a:pt x="52" y="174"/>
                  </a:lnTo>
                  <a:lnTo>
                    <a:pt x="54" y="178"/>
                  </a:lnTo>
                  <a:lnTo>
                    <a:pt x="58" y="187"/>
                  </a:lnTo>
                  <a:lnTo>
                    <a:pt x="65" y="196"/>
                  </a:lnTo>
                  <a:lnTo>
                    <a:pt x="72" y="203"/>
                  </a:lnTo>
                  <a:lnTo>
                    <a:pt x="72" y="203"/>
                  </a:lnTo>
                  <a:lnTo>
                    <a:pt x="78" y="198"/>
                  </a:lnTo>
                  <a:lnTo>
                    <a:pt x="84" y="197"/>
                  </a:lnTo>
                  <a:lnTo>
                    <a:pt x="84" y="197"/>
                  </a:lnTo>
                  <a:lnTo>
                    <a:pt x="90" y="198"/>
                  </a:lnTo>
                  <a:lnTo>
                    <a:pt x="97" y="203"/>
                  </a:lnTo>
                  <a:lnTo>
                    <a:pt x="104" y="207"/>
                  </a:lnTo>
                  <a:lnTo>
                    <a:pt x="110" y="210"/>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11" name="Freeform 337"/>
            <p:cNvSpPr>
              <a:spLocks/>
            </p:cNvSpPr>
            <p:nvPr/>
          </p:nvSpPr>
          <p:spPr bwMode="auto">
            <a:xfrm>
              <a:off x="4625976" y="5199491"/>
              <a:ext cx="303213" cy="333375"/>
            </a:xfrm>
            <a:custGeom>
              <a:avLst/>
              <a:gdLst>
                <a:gd name="T0" fmla="*/ 110 w 191"/>
                <a:gd name="T1" fmla="*/ 210 h 210"/>
                <a:gd name="T2" fmla="*/ 117 w 191"/>
                <a:gd name="T3" fmla="*/ 209 h 210"/>
                <a:gd name="T4" fmla="*/ 129 w 191"/>
                <a:gd name="T5" fmla="*/ 198 h 210"/>
                <a:gd name="T6" fmla="*/ 130 w 191"/>
                <a:gd name="T7" fmla="*/ 85 h 210"/>
                <a:gd name="T8" fmla="*/ 148 w 191"/>
                <a:gd name="T9" fmla="*/ 25 h 210"/>
                <a:gd name="T10" fmla="*/ 178 w 191"/>
                <a:gd name="T11" fmla="*/ 19 h 210"/>
                <a:gd name="T12" fmla="*/ 184 w 191"/>
                <a:gd name="T13" fmla="*/ 16 h 210"/>
                <a:gd name="T14" fmla="*/ 191 w 191"/>
                <a:gd name="T15" fmla="*/ 12 h 210"/>
                <a:gd name="T16" fmla="*/ 183 w 191"/>
                <a:gd name="T17" fmla="*/ 7 h 210"/>
                <a:gd name="T18" fmla="*/ 162 w 191"/>
                <a:gd name="T19" fmla="*/ 13 h 210"/>
                <a:gd name="T20" fmla="*/ 142 w 191"/>
                <a:gd name="T21" fmla="*/ 16 h 210"/>
                <a:gd name="T22" fmla="*/ 126 w 191"/>
                <a:gd name="T23" fmla="*/ 16 h 210"/>
                <a:gd name="T24" fmla="*/ 120 w 191"/>
                <a:gd name="T25" fmla="*/ 15 h 210"/>
                <a:gd name="T26" fmla="*/ 100 w 191"/>
                <a:gd name="T27" fmla="*/ 9 h 210"/>
                <a:gd name="T28" fmla="*/ 71 w 191"/>
                <a:gd name="T29" fmla="*/ 4 h 210"/>
                <a:gd name="T30" fmla="*/ 48 w 191"/>
                <a:gd name="T31" fmla="*/ 1 h 210"/>
                <a:gd name="T32" fmla="*/ 45 w 191"/>
                <a:gd name="T33" fmla="*/ 3 h 210"/>
                <a:gd name="T34" fmla="*/ 38 w 191"/>
                <a:gd name="T35" fmla="*/ 6 h 210"/>
                <a:gd name="T36" fmla="*/ 33 w 191"/>
                <a:gd name="T37" fmla="*/ 6 h 210"/>
                <a:gd name="T38" fmla="*/ 26 w 191"/>
                <a:gd name="T39" fmla="*/ 3 h 210"/>
                <a:gd name="T40" fmla="*/ 20 w 191"/>
                <a:gd name="T41" fmla="*/ 0 h 210"/>
                <a:gd name="T42" fmla="*/ 12 w 191"/>
                <a:gd name="T43" fmla="*/ 3 h 210"/>
                <a:gd name="T44" fmla="*/ 0 w 191"/>
                <a:gd name="T45" fmla="*/ 9 h 210"/>
                <a:gd name="T46" fmla="*/ 4 w 191"/>
                <a:gd name="T47" fmla="*/ 26 h 210"/>
                <a:gd name="T48" fmla="*/ 15 w 191"/>
                <a:gd name="T49" fmla="*/ 42 h 210"/>
                <a:gd name="T50" fmla="*/ 22 w 191"/>
                <a:gd name="T51" fmla="*/ 61 h 210"/>
                <a:gd name="T52" fmla="*/ 25 w 191"/>
                <a:gd name="T53" fmla="*/ 70 h 210"/>
                <a:gd name="T54" fmla="*/ 39 w 191"/>
                <a:gd name="T55" fmla="*/ 91 h 210"/>
                <a:gd name="T56" fmla="*/ 41 w 191"/>
                <a:gd name="T57" fmla="*/ 96 h 210"/>
                <a:gd name="T58" fmla="*/ 43 w 191"/>
                <a:gd name="T59" fmla="*/ 112 h 210"/>
                <a:gd name="T60" fmla="*/ 45 w 191"/>
                <a:gd name="T61" fmla="*/ 135 h 210"/>
                <a:gd name="T62" fmla="*/ 49 w 191"/>
                <a:gd name="T63" fmla="*/ 151 h 210"/>
                <a:gd name="T64" fmla="*/ 51 w 191"/>
                <a:gd name="T65" fmla="*/ 170 h 210"/>
                <a:gd name="T66" fmla="*/ 52 w 191"/>
                <a:gd name="T67" fmla="*/ 174 h 210"/>
                <a:gd name="T68" fmla="*/ 58 w 191"/>
                <a:gd name="T69" fmla="*/ 187 h 210"/>
                <a:gd name="T70" fmla="*/ 72 w 191"/>
                <a:gd name="T71" fmla="*/ 203 h 210"/>
                <a:gd name="T72" fmla="*/ 78 w 191"/>
                <a:gd name="T73" fmla="*/ 198 h 210"/>
                <a:gd name="T74" fmla="*/ 84 w 191"/>
                <a:gd name="T75" fmla="*/ 197 h 210"/>
                <a:gd name="T76" fmla="*/ 97 w 191"/>
                <a:gd name="T77" fmla="*/ 203 h 210"/>
                <a:gd name="T78" fmla="*/ 110 w 191"/>
                <a:gd name="T79"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1" h="210">
                  <a:moveTo>
                    <a:pt x="110" y="210"/>
                  </a:moveTo>
                  <a:lnTo>
                    <a:pt x="110" y="210"/>
                  </a:lnTo>
                  <a:lnTo>
                    <a:pt x="113" y="210"/>
                  </a:lnTo>
                  <a:lnTo>
                    <a:pt x="117" y="209"/>
                  </a:lnTo>
                  <a:lnTo>
                    <a:pt x="123" y="204"/>
                  </a:lnTo>
                  <a:lnTo>
                    <a:pt x="129" y="198"/>
                  </a:lnTo>
                  <a:lnTo>
                    <a:pt x="130" y="194"/>
                  </a:lnTo>
                  <a:lnTo>
                    <a:pt x="130" y="85"/>
                  </a:lnTo>
                  <a:lnTo>
                    <a:pt x="148" y="85"/>
                  </a:lnTo>
                  <a:lnTo>
                    <a:pt x="148" y="25"/>
                  </a:lnTo>
                  <a:lnTo>
                    <a:pt x="148" y="25"/>
                  </a:lnTo>
                  <a:lnTo>
                    <a:pt x="178" y="19"/>
                  </a:lnTo>
                  <a:lnTo>
                    <a:pt x="178" y="19"/>
                  </a:lnTo>
                  <a:lnTo>
                    <a:pt x="184" y="16"/>
                  </a:lnTo>
                  <a:lnTo>
                    <a:pt x="191" y="12"/>
                  </a:lnTo>
                  <a:lnTo>
                    <a:pt x="191" y="12"/>
                  </a:lnTo>
                  <a:lnTo>
                    <a:pt x="183" y="7"/>
                  </a:lnTo>
                  <a:lnTo>
                    <a:pt x="183" y="7"/>
                  </a:lnTo>
                  <a:lnTo>
                    <a:pt x="171" y="10"/>
                  </a:lnTo>
                  <a:lnTo>
                    <a:pt x="162" y="13"/>
                  </a:lnTo>
                  <a:lnTo>
                    <a:pt x="162" y="13"/>
                  </a:lnTo>
                  <a:lnTo>
                    <a:pt x="142" y="16"/>
                  </a:lnTo>
                  <a:lnTo>
                    <a:pt x="130" y="16"/>
                  </a:lnTo>
                  <a:lnTo>
                    <a:pt x="126" y="16"/>
                  </a:lnTo>
                  <a:lnTo>
                    <a:pt x="120" y="15"/>
                  </a:lnTo>
                  <a:lnTo>
                    <a:pt x="120" y="15"/>
                  </a:lnTo>
                  <a:lnTo>
                    <a:pt x="107" y="10"/>
                  </a:lnTo>
                  <a:lnTo>
                    <a:pt x="100" y="9"/>
                  </a:lnTo>
                  <a:lnTo>
                    <a:pt x="100" y="9"/>
                  </a:lnTo>
                  <a:lnTo>
                    <a:pt x="71" y="4"/>
                  </a:lnTo>
                  <a:lnTo>
                    <a:pt x="54" y="3"/>
                  </a:lnTo>
                  <a:lnTo>
                    <a:pt x="48" y="1"/>
                  </a:lnTo>
                  <a:lnTo>
                    <a:pt x="45" y="3"/>
                  </a:lnTo>
                  <a:lnTo>
                    <a:pt x="45" y="3"/>
                  </a:lnTo>
                  <a:lnTo>
                    <a:pt x="41" y="6"/>
                  </a:lnTo>
                  <a:lnTo>
                    <a:pt x="38" y="6"/>
                  </a:lnTo>
                  <a:lnTo>
                    <a:pt x="33" y="6"/>
                  </a:lnTo>
                  <a:lnTo>
                    <a:pt x="33" y="6"/>
                  </a:lnTo>
                  <a:lnTo>
                    <a:pt x="29" y="4"/>
                  </a:lnTo>
                  <a:lnTo>
                    <a:pt x="26" y="3"/>
                  </a:lnTo>
                  <a:lnTo>
                    <a:pt x="25" y="1"/>
                  </a:lnTo>
                  <a:lnTo>
                    <a:pt x="20" y="0"/>
                  </a:lnTo>
                  <a:lnTo>
                    <a:pt x="20" y="0"/>
                  </a:lnTo>
                  <a:lnTo>
                    <a:pt x="12" y="3"/>
                  </a:lnTo>
                  <a:lnTo>
                    <a:pt x="0" y="9"/>
                  </a:lnTo>
                  <a:lnTo>
                    <a:pt x="0" y="9"/>
                  </a:lnTo>
                  <a:lnTo>
                    <a:pt x="1" y="19"/>
                  </a:lnTo>
                  <a:lnTo>
                    <a:pt x="4" y="26"/>
                  </a:lnTo>
                  <a:lnTo>
                    <a:pt x="4" y="26"/>
                  </a:lnTo>
                  <a:lnTo>
                    <a:pt x="15" y="42"/>
                  </a:lnTo>
                  <a:lnTo>
                    <a:pt x="20" y="52"/>
                  </a:lnTo>
                  <a:lnTo>
                    <a:pt x="22" y="61"/>
                  </a:lnTo>
                  <a:lnTo>
                    <a:pt x="22" y="61"/>
                  </a:lnTo>
                  <a:lnTo>
                    <a:pt x="25" y="70"/>
                  </a:lnTo>
                  <a:lnTo>
                    <a:pt x="29" y="77"/>
                  </a:lnTo>
                  <a:lnTo>
                    <a:pt x="39" y="91"/>
                  </a:lnTo>
                  <a:lnTo>
                    <a:pt x="39" y="91"/>
                  </a:lnTo>
                  <a:lnTo>
                    <a:pt x="41" y="96"/>
                  </a:lnTo>
                  <a:lnTo>
                    <a:pt x="42" y="100"/>
                  </a:lnTo>
                  <a:lnTo>
                    <a:pt x="43" y="112"/>
                  </a:lnTo>
                  <a:lnTo>
                    <a:pt x="43" y="125"/>
                  </a:lnTo>
                  <a:lnTo>
                    <a:pt x="45" y="135"/>
                  </a:lnTo>
                  <a:lnTo>
                    <a:pt x="45" y="135"/>
                  </a:lnTo>
                  <a:lnTo>
                    <a:pt x="49" y="151"/>
                  </a:lnTo>
                  <a:lnTo>
                    <a:pt x="51" y="159"/>
                  </a:lnTo>
                  <a:lnTo>
                    <a:pt x="51" y="170"/>
                  </a:lnTo>
                  <a:lnTo>
                    <a:pt x="51" y="170"/>
                  </a:lnTo>
                  <a:lnTo>
                    <a:pt x="52" y="174"/>
                  </a:lnTo>
                  <a:lnTo>
                    <a:pt x="54" y="178"/>
                  </a:lnTo>
                  <a:lnTo>
                    <a:pt x="58" y="187"/>
                  </a:lnTo>
                  <a:lnTo>
                    <a:pt x="65" y="196"/>
                  </a:lnTo>
                  <a:lnTo>
                    <a:pt x="72" y="203"/>
                  </a:lnTo>
                  <a:lnTo>
                    <a:pt x="72" y="203"/>
                  </a:lnTo>
                  <a:lnTo>
                    <a:pt x="78" y="198"/>
                  </a:lnTo>
                  <a:lnTo>
                    <a:pt x="84" y="197"/>
                  </a:lnTo>
                  <a:lnTo>
                    <a:pt x="84" y="197"/>
                  </a:lnTo>
                  <a:lnTo>
                    <a:pt x="90" y="198"/>
                  </a:lnTo>
                  <a:lnTo>
                    <a:pt x="97" y="203"/>
                  </a:lnTo>
                  <a:lnTo>
                    <a:pt x="104" y="207"/>
                  </a:lnTo>
                  <a:lnTo>
                    <a:pt x="110" y="2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12" name="Freeform 338"/>
            <p:cNvSpPr>
              <a:spLocks/>
            </p:cNvSpPr>
            <p:nvPr/>
          </p:nvSpPr>
          <p:spPr bwMode="auto">
            <a:xfrm>
              <a:off x="4832351" y="5218541"/>
              <a:ext cx="246063" cy="250825"/>
            </a:xfrm>
            <a:custGeom>
              <a:avLst/>
              <a:gdLst>
                <a:gd name="T0" fmla="*/ 32 w 155"/>
                <a:gd name="T1" fmla="*/ 158 h 158"/>
                <a:gd name="T2" fmla="*/ 18 w 155"/>
                <a:gd name="T3" fmla="*/ 155 h 158"/>
                <a:gd name="T4" fmla="*/ 15 w 155"/>
                <a:gd name="T5" fmla="*/ 152 h 158"/>
                <a:gd name="T6" fmla="*/ 0 w 155"/>
                <a:gd name="T7" fmla="*/ 131 h 158"/>
                <a:gd name="T8" fmla="*/ 18 w 155"/>
                <a:gd name="T9" fmla="*/ 73 h 158"/>
                <a:gd name="T10" fmla="*/ 18 w 155"/>
                <a:gd name="T11" fmla="*/ 13 h 158"/>
                <a:gd name="T12" fmla="*/ 48 w 155"/>
                <a:gd name="T13" fmla="*/ 7 h 158"/>
                <a:gd name="T14" fmla="*/ 61 w 155"/>
                <a:gd name="T15" fmla="*/ 0 h 158"/>
                <a:gd name="T16" fmla="*/ 71 w 155"/>
                <a:gd name="T17" fmla="*/ 3 h 158"/>
                <a:gd name="T18" fmla="*/ 77 w 155"/>
                <a:gd name="T19" fmla="*/ 4 h 158"/>
                <a:gd name="T20" fmla="*/ 90 w 155"/>
                <a:gd name="T21" fmla="*/ 14 h 158"/>
                <a:gd name="T22" fmla="*/ 103 w 155"/>
                <a:gd name="T23" fmla="*/ 29 h 158"/>
                <a:gd name="T24" fmla="*/ 106 w 155"/>
                <a:gd name="T25" fmla="*/ 33 h 158"/>
                <a:gd name="T26" fmla="*/ 110 w 155"/>
                <a:gd name="T27" fmla="*/ 34 h 158"/>
                <a:gd name="T28" fmla="*/ 115 w 155"/>
                <a:gd name="T29" fmla="*/ 36 h 158"/>
                <a:gd name="T30" fmla="*/ 123 w 155"/>
                <a:gd name="T31" fmla="*/ 50 h 158"/>
                <a:gd name="T32" fmla="*/ 129 w 155"/>
                <a:gd name="T33" fmla="*/ 63 h 158"/>
                <a:gd name="T34" fmla="*/ 138 w 155"/>
                <a:gd name="T35" fmla="*/ 69 h 158"/>
                <a:gd name="T36" fmla="*/ 151 w 155"/>
                <a:gd name="T37" fmla="*/ 75 h 158"/>
                <a:gd name="T38" fmla="*/ 155 w 155"/>
                <a:gd name="T39" fmla="*/ 78 h 158"/>
                <a:gd name="T40" fmla="*/ 132 w 155"/>
                <a:gd name="T41" fmla="*/ 88 h 158"/>
                <a:gd name="T42" fmla="*/ 118 w 155"/>
                <a:gd name="T43" fmla="*/ 97 h 158"/>
                <a:gd name="T44" fmla="*/ 105 w 155"/>
                <a:gd name="T45" fmla="*/ 118 h 158"/>
                <a:gd name="T46" fmla="*/ 92 w 155"/>
                <a:gd name="T47" fmla="*/ 139 h 158"/>
                <a:gd name="T48" fmla="*/ 92 w 155"/>
                <a:gd name="T49" fmla="*/ 139 h 158"/>
                <a:gd name="T50" fmla="*/ 90 w 155"/>
                <a:gd name="T51" fmla="*/ 139 h 158"/>
                <a:gd name="T52" fmla="*/ 90 w 155"/>
                <a:gd name="T53" fmla="*/ 139 h 158"/>
                <a:gd name="T54" fmla="*/ 84 w 155"/>
                <a:gd name="T55" fmla="*/ 140 h 158"/>
                <a:gd name="T56" fmla="*/ 76 w 155"/>
                <a:gd name="T57" fmla="*/ 140 h 158"/>
                <a:gd name="T58" fmla="*/ 76 w 155"/>
                <a:gd name="T59" fmla="*/ 140 h 158"/>
                <a:gd name="T60" fmla="*/ 66 w 155"/>
                <a:gd name="T61" fmla="*/ 139 h 158"/>
                <a:gd name="T62" fmla="*/ 61 w 155"/>
                <a:gd name="T63" fmla="*/ 134 h 158"/>
                <a:gd name="T64" fmla="*/ 57 w 155"/>
                <a:gd name="T65" fmla="*/ 133 h 158"/>
                <a:gd name="T66" fmla="*/ 57 w 155"/>
                <a:gd name="T67" fmla="*/ 133 h 158"/>
                <a:gd name="T68" fmla="*/ 55 w 155"/>
                <a:gd name="T69" fmla="*/ 133 h 158"/>
                <a:gd name="T70" fmla="*/ 55 w 155"/>
                <a:gd name="T71" fmla="*/ 133 h 158"/>
                <a:gd name="T72" fmla="*/ 55 w 155"/>
                <a:gd name="T73" fmla="*/ 133 h 158"/>
                <a:gd name="T74" fmla="*/ 54 w 155"/>
                <a:gd name="T75" fmla="*/ 134 h 158"/>
                <a:gd name="T76" fmla="*/ 44 w 155"/>
                <a:gd name="T77" fmla="*/ 146 h 158"/>
                <a:gd name="T78" fmla="*/ 35 w 155"/>
                <a:gd name="T79" fmla="*/ 15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5" h="158">
                  <a:moveTo>
                    <a:pt x="32" y="158"/>
                  </a:moveTo>
                  <a:lnTo>
                    <a:pt x="32" y="158"/>
                  </a:lnTo>
                  <a:lnTo>
                    <a:pt x="22" y="158"/>
                  </a:lnTo>
                  <a:lnTo>
                    <a:pt x="18" y="155"/>
                  </a:lnTo>
                  <a:lnTo>
                    <a:pt x="15" y="152"/>
                  </a:lnTo>
                  <a:lnTo>
                    <a:pt x="15" y="152"/>
                  </a:lnTo>
                  <a:lnTo>
                    <a:pt x="9" y="142"/>
                  </a:lnTo>
                  <a:lnTo>
                    <a:pt x="0" y="131"/>
                  </a:lnTo>
                  <a:lnTo>
                    <a:pt x="0" y="73"/>
                  </a:lnTo>
                  <a:lnTo>
                    <a:pt x="18" y="73"/>
                  </a:lnTo>
                  <a:lnTo>
                    <a:pt x="18" y="13"/>
                  </a:lnTo>
                  <a:lnTo>
                    <a:pt x="18" y="13"/>
                  </a:lnTo>
                  <a:lnTo>
                    <a:pt x="48" y="7"/>
                  </a:lnTo>
                  <a:lnTo>
                    <a:pt x="48" y="7"/>
                  </a:lnTo>
                  <a:lnTo>
                    <a:pt x="54" y="4"/>
                  </a:lnTo>
                  <a:lnTo>
                    <a:pt x="61" y="0"/>
                  </a:lnTo>
                  <a:lnTo>
                    <a:pt x="61" y="0"/>
                  </a:lnTo>
                  <a:lnTo>
                    <a:pt x="71" y="3"/>
                  </a:lnTo>
                  <a:lnTo>
                    <a:pt x="71" y="3"/>
                  </a:lnTo>
                  <a:lnTo>
                    <a:pt x="77" y="4"/>
                  </a:lnTo>
                  <a:lnTo>
                    <a:pt x="81" y="5"/>
                  </a:lnTo>
                  <a:lnTo>
                    <a:pt x="90" y="14"/>
                  </a:lnTo>
                  <a:lnTo>
                    <a:pt x="97" y="23"/>
                  </a:lnTo>
                  <a:lnTo>
                    <a:pt x="103" y="29"/>
                  </a:lnTo>
                  <a:lnTo>
                    <a:pt x="103" y="29"/>
                  </a:lnTo>
                  <a:lnTo>
                    <a:pt x="106" y="33"/>
                  </a:lnTo>
                  <a:lnTo>
                    <a:pt x="109" y="33"/>
                  </a:lnTo>
                  <a:lnTo>
                    <a:pt x="110" y="34"/>
                  </a:lnTo>
                  <a:lnTo>
                    <a:pt x="115" y="36"/>
                  </a:lnTo>
                  <a:lnTo>
                    <a:pt x="115" y="36"/>
                  </a:lnTo>
                  <a:lnTo>
                    <a:pt x="119" y="42"/>
                  </a:lnTo>
                  <a:lnTo>
                    <a:pt x="123" y="50"/>
                  </a:lnTo>
                  <a:lnTo>
                    <a:pt x="129" y="63"/>
                  </a:lnTo>
                  <a:lnTo>
                    <a:pt x="129" y="63"/>
                  </a:lnTo>
                  <a:lnTo>
                    <a:pt x="132" y="68"/>
                  </a:lnTo>
                  <a:lnTo>
                    <a:pt x="138" y="69"/>
                  </a:lnTo>
                  <a:lnTo>
                    <a:pt x="145" y="72"/>
                  </a:lnTo>
                  <a:lnTo>
                    <a:pt x="151" y="75"/>
                  </a:lnTo>
                  <a:lnTo>
                    <a:pt x="151" y="75"/>
                  </a:lnTo>
                  <a:lnTo>
                    <a:pt x="155" y="78"/>
                  </a:lnTo>
                  <a:lnTo>
                    <a:pt x="155" y="78"/>
                  </a:lnTo>
                  <a:lnTo>
                    <a:pt x="132" y="88"/>
                  </a:lnTo>
                  <a:lnTo>
                    <a:pt x="118" y="97"/>
                  </a:lnTo>
                  <a:lnTo>
                    <a:pt x="118" y="97"/>
                  </a:lnTo>
                  <a:lnTo>
                    <a:pt x="112" y="104"/>
                  </a:lnTo>
                  <a:lnTo>
                    <a:pt x="105" y="118"/>
                  </a:lnTo>
                  <a:lnTo>
                    <a:pt x="96" y="131"/>
                  </a:lnTo>
                  <a:lnTo>
                    <a:pt x="92" y="139"/>
                  </a:lnTo>
                  <a:lnTo>
                    <a:pt x="92" y="139"/>
                  </a:lnTo>
                  <a:lnTo>
                    <a:pt x="92" y="139"/>
                  </a:lnTo>
                  <a:lnTo>
                    <a:pt x="92" y="139"/>
                  </a:lnTo>
                  <a:lnTo>
                    <a:pt x="90" y="139"/>
                  </a:lnTo>
                  <a:lnTo>
                    <a:pt x="90" y="139"/>
                  </a:lnTo>
                  <a:lnTo>
                    <a:pt x="90" y="139"/>
                  </a:lnTo>
                  <a:lnTo>
                    <a:pt x="90" y="139"/>
                  </a:lnTo>
                  <a:lnTo>
                    <a:pt x="84" y="140"/>
                  </a:lnTo>
                  <a:lnTo>
                    <a:pt x="76" y="140"/>
                  </a:lnTo>
                  <a:lnTo>
                    <a:pt x="76" y="140"/>
                  </a:lnTo>
                  <a:lnTo>
                    <a:pt x="76" y="140"/>
                  </a:lnTo>
                  <a:lnTo>
                    <a:pt x="76" y="140"/>
                  </a:lnTo>
                  <a:lnTo>
                    <a:pt x="68" y="140"/>
                  </a:lnTo>
                  <a:lnTo>
                    <a:pt x="66" y="139"/>
                  </a:lnTo>
                  <a:lnTo>
                    <a:pt x="66" y="139"/>
                  </a:lnTo>
                  <a:lnTo>
                    <a:pt x="61" y="134"/>
                  </a:lnTo>
                  <a:lnTo>
                    <a:pt x="60" y="133"/>
                  </a:lnTo>
                  <a:lnTo>
                    <a:pt x="57" y="133"/>
                  </a:lnTo>
                  <a:lnTo>
                    <a:pt x="57" y="133"/>
                  </a:lnTo>
                  <a:lnTo>
                    <a:pt x="57" y="133"/>
                  </a:lnTo>
                  <a:lnTo>
                    <a:pt x="55" y="133"/>
                  </a:lnTo>
                  <a:lnTo>
                    <a:pt x="55" y="133"/>
                  </a:lnTo>
                  <a:lnTo>
                    <a:pt x="55" y="133"/>
                  </a:lnTo>
                  <a:lnTo>
                    <a:pt x="55" y="133"/>
                  </a:lnTo>
                  <a:lnTo>
                    <a:pt x="55" y="133"/>
                  </a:lnTo>
                  <a:lnTo>
                    <a:pt x="55" y="133"/>
                  </a:lnTo>
                  <a:lnTo>
                    <a:pt x="55" y="133"/>
                  </a:lnTo>
                  <a:lnTo>
                    <a:pt x="54" y="134"/>
                  </a:lnTo>
                  <a:lnTo>
                    <a:pt x="51" y="137"/>
                  </a:lnTo>
                  <a:lnTo>
                    <a:pt x="44" y="146"/>
                  </a:lnTo>
                  <a:lnTo>
                    <a:pt x="38" y="155"/>
                  </a:lnTo>
                  <a:lnTo>
                    <a:pt x="35" y="156"/>
                  </a:lnTo>
                  <a:lnTo>
                    <a:pt x="32" y="158"/>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13" name="Freeform 339"/>
            <p:cNvSpPr>
              <a:spLocks/>
            </p:cNvSpPr>
            <p:nvPr/>
          </p:nvSpPr>
          <p:spPr bwMode="auto">
            <a:xfrm>
              <a:off x="4832351" y="5218541"/>
              <a:ext cx="246063" cy="250825"/>
            </a:xfrm>
            <a:custGeom>
              <a:avLst/>
              <a:gdLst>
                <a:gd name="T0" fmla="*/ 32 w 155"/>
                <a:gd name="T1" fmla="*/ 158 h 158"/>
                <a:gd name="T2" fmla="*/ 18 w 155"/>
                <a:gd name="T3" fmla="*/ 155 h 158"/>
                <a:gd name="T4" fmla="*/ 15 w 155"/>
                <a:gd name="T5" fmla="*/ 152 h 158"/>
                <a:gd name="T6" fmla="*/ 0 w 155"/>
                <a:gd name="T7" fmla="*/ 131 h 158"/>
                <a:gd name="T8" fmla="*/ 18 w 155"/>
                <a:gd name="T9" fmla="*/ 73 h 158"/>
                <a:gd name="T10" fmla="*/ 18 w 155"/>
                <a:gd name="T11" fmla="*/ 13 h 158"/>
                <a:gd name="T12" fmla="*/ 48 w 155"/>
                <a:gd name="T13" fmla="*/ 7 h 158"/>
                <a:gd name="T14" fmla="*/ 61 w 155"/>
                <a:gd name="T15" fmla="*/ 0 h 158"/>
                <a:gd name="T16" fmla="*/ 71 w 155"/>
                <a:gd name="T17" fmla="*/ 3 h 158"/>
                <a:gd name="T18" fmla="*/ 77 w 155"/>
                <a:gd name="T19" fmla="*/ 4 h 158"/>
                <a:gd name="T20" fmla="*/ 90 w 155"/>
                <a:gd name="T21" fmla="*/ 14 h 158"/>
                <a:gd name="T22" fmla="*/ 103 w 155"/>
                <a:gd name="T23" fmla="*/ 29 h 158"/>
                <a:gd name="T24" fmla="*/ 106 w 155"/>
                <a:gd name="T25" fmla="*/ 33 h 158"/>
                <a:gd name="T26" fmla="*/ 110 w 155"/>
                <a:gd name="T27" fmla="*/ 34 h 158"/>
                <a:gd name="T28" fmla="*/ 115 w 155"/>
                <a:gd name="T29" fmla="*/ 36 h 158"/>
                <a:gd name="T30" fmla="*/ 123 w 155"/>
                <a:gd name="T31" fmla="*/ 50 h 158"/>
                <a:gd name="T32" fmla="*/ 129 w 155"/>
                <a:gd name="T33" fmla="*/ 63 h 158"/>
                <a:gd name="T34" fmla="*/ 138 w 155"/>
                <a:gd name="T35" fmla="*/ 69 h 158"/>
                <a:gd name="T36" fmla="*/ 151 w 155"/>
                <a:gd name="T37" fmla="*/ 75 h 158"/>
                <a:gd name="T38" fmla="*/ 155 w 155"/>
                <a:gd name="T39" fmla="*/ 78 h 158"/>
                <a:gd name="T40" fmla="*/ 132 w 155"/>
                <a:gd name="T41" fmla="*/ 88 h 158"/>
                <a:gd name="T42" fmla="*/ 118 w 155"/>
                <a:gd name="T43" fmla="*/ 97 h 158"/>
                <a:gd name="T44" fmla="*/ 105 w 155"/>
                <a:gd name="T45" fmla="*/ 118 h 158"/>
                <a:gd name="T46" fmla="*/ 92 w 155"/>
                <a:gd name="T47" fmla="*/ 139 h 158"/>
                <a:gd name="T48" fmla="*/ 92 w 155"/>
                <a:gd name="T49" fmla="*/ 139 h 158"/>
                <a:gd name="T50" fmla="*/ 90 w 155"/>
                <a:gd name="T51" fmla="*/ 139 h 158"/>
                <a:gd name="T52" fmla="*/ 90 w 155"/>
                <a:gd name="T53" fmla="*/ 139 h 158"/>
                <a:gd name="T54" fmla="*/ 84 w 155"/>
                <a:gd name="T55" fmla="*/ 140 h 158"/>
                <a:gd name="T56" fmla="*/ 76 w 155"/>
                <a:gd name="T57" fmla="*/ 140 h 158"/>
                <a:gd name="T58" fmla="*/ 76 w 155"/>
                <a:gd name="T59" fmla="*/ 140 h 158"/>
                <a:gd name="T60" fmla="*/ 66 w 155"/>
                <a:gd name="T61" fmla="*/ 139 h 158"/>
                <a:gd name="T62" fmla="*/ 61 w 155"/>
                <a:gd name="T63" fmla="*/ 134 h 158"/>
                <a:gd name="T64" fmla="*/ 57 w 155"/>
                <a:gd name="T65" fmla="*/ 133 h 158"/>
                <a:gd name="T66" fmla="*/ 57 w 155"/>
                <a:gd name="T67" fmla="*/ 133 h 158"/>
                <a:gd name="T68" fmla="*/ 55 w 155"/>
                <a:gd name="T69" fmla="*/ 133 h 158"/>
                <a:gd name="T70" fmla="*/ 55 w 155"/>
                <a:gd name="T71" fmla="*/ 133 h 158"/>
                <a:gd name="T72" fmla="*/ 55 w 155"/>
                <a:gd name="T73" fmla="*/ 133 h 158"/>
                <a:gd name="T74" fmla="*/ 54 w 155"/>
                <a:gd name="T75" fmla="*/ 134 h 158"/>
                <a:gd name="T76" fmla="*/ 44 w 155"/>
                <a:gd name="T77" fmla="*/ 146 h 158"/>
                <a:gd name="T78" fmla="*/ 35 w 155"/>
                <a:gd name="T79" fmla="*/ 15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5" h="158">
                  <a:moveTo>
                    <a:pt x="32" y="158"/>
                  </a:moveTo>
                  <a:lnTo>
                    <a:pt x="32" y="158"/>
                  </a:lnTo>
                  <a:lnTo>
                    <a:pt x="22" y="158"/>
                  </a:lnTo>
                  <a:lnTo>
                    <a:pt x="18" y="155"/>
                  </a:lnTo>
                  <a:lnTo>
                    <a:pt x="15" y="152"/>
                  </a:lnTo>
                  <a:lnTo>
                    <a:pt x="15" y="152"/>
                  </a:lnTo>
                  <a:lnTo>
                    <a:pt x="9" y="142"/>
                  </a:lnTo>
                  <a:lnTo>
                    <a:pt x="0" y="131"/>
                  </a:lnTo>
                  <a:lnTo>
                    <a:pt x="0" y="73"/>
                  </a:lnTo>
                  <a:lnTo>
                    <a:pt x="18" y="73"/>
                  </a:lnTo>
                  <a:lnTo>
                    <a:pt x="18" y="13"/>
                  </a:lnTo>
                  <a:lnTo>
                    <a:pt x="18" y="13"/>
                  </a:lnTo>
                  <a:lnTo>
                    <a:pt x="48" y="7"/>
                  </a:lnTo>
                  <a:lnTo>
                    <a:pt x="48" y="7"/>
                  </a:lnTo>
                  <a:lnTo>
                    <a:pt x="54" y="4"/>
                  </a:lnTo>
                  <a:lnTo>
                    <a:pt x="61" y="0"/>
                  </a:lnTo>
                  <a:lnTo>
                    <a:pt x="61" y="0"/>
                  </a:lnTo>
                  <a:lnTo>
                    <a:pt x="71" y="3"/>
                  </a:lnTo>
                  <a:lnTo>
                    <a:pt x="71" y="3"/>
                  </a:lnTo>
                  <a:lnTo>
                    <a:pt x="77" y="4"/>
                  </a:lnTo>
                  <a:lnTo>
                    <a:pt x="81" y="5"/>
                  </a:lnTo>
                  <a:lnTo>
                    <a:pt x="90" y="14"/>
                  </a:lnTo>
                  <a:lnTo>
                    <a:pt x="97" y="23"/>
                  </a:lnTo>
                  <a:lnTo>
                    <a:pt x="103" y="29"/>
                  </a:lnTo>
                  <a:lnTo>
                    <a:pt x="103" y="29"/>
                  </a:lnTo>
                  <a:lnTo>
                    <a:pt x="106" y="33"/>
                  </a:lnTo>
                  <a:lnTo>
                    <a:pt x="109" y="33"/>
                  </a:lnTo>
                  <a:lnTo>
                    <a:pt x="110" y="34"/>
                  </a:lnTo>
                  <a:lnTo>
                    <a:pt x="115" y="36"/>
                  </a:lnTo>
                  <a:lnTo>
                    <a:pt x="115" y="36"/>
                  </a:lnTo>
                  <a:lnTo>
                    <a:pt x="119" y="42"/>
                  </a:lnTo>
                  <a:lnTo>
                    <a:pt x="123" y="50"/>
                  </a:lnTo>
                  <a:lnTo>
                    <a:pt x="129" y="63"/>
                  </a:lnTo>
                  <a:lnTo>
                    <a:pt x="129" y="63"/>
                  </a:lnTo>
                  <a:lnTo>
                    <a:pt x="132" y="68"/>
                  </a:lnTo>
                  <a:lnTo>
                    <a:pt x="138" y="69"/>
                  </a:lnTo>
                  <a:lnTo>
                    <a:pt x="145" y="72"/>
                  </a:lnTo>
                  <a:lnTo>
                    <a:pt x="151" y="75"/>
                  </a:lnTo>
                  <a:lnTo>
                    <a:pt x="151" y="75"/>
                  </a:lnTo>
                  <a:lnTo>
                    <a:pt x="155" y="78"/>
                  </a:lnTo>
                  <a:lnTo>
                    <a:pt x="155" y="78"/>
                  </a:lnTo>
                  <a:lnTo>
                    <a:pt x="132" y="88"/>
                  </a:lnTo>
                  <a:lnTo>
                    <a:pt x="118" y="97"/>
                  </a:lnTo>
                  <a:lnTo>
                    <a:pt x="118" y="97"/>
                  </a:lnTo>
                  <a:lnTo>
                    <a:pt x="112" y="104"/>
                  </a:lnTo>
                  <a:lnTo>
                    <a:pt x="105" y="118"/>
                  </a:lnTo>
                  <a:lnTo>
                    <a:pt x="96" y="131"/>
                  </a:lnTo>
                  <a:lnTo>
                    <a:pt x="92" y="139"/>
                  </a:lnTo>
                  <a:lnTo>
                    <a:pt x="92" y="139"/>
                  </a:lnTo>
                  <a:lnTo>
                    <a:pt x="92" y="139"/>
                  </a:lnTo>
                  <a:lnTo>
                    <a:pt x="92" y="139"/>
                  </a:lnTo>
                  <a:lnTo>
                    <a:pt x="90" y="139"/>
                  </a:lnTo>
                  <a:lnTo>
                    <a:pt x="90" y="139"/>
                  </a:lnTo>
                  <a:lnTo>
                    <a:pt x="90" y="139"/>
                  </a:lnTo>
                  <a:lnTo>
                    <a:pt x="90" y="139"/>
                  </a:lnTo>
                  <a:lnTo>
                    <a:pt x="84" y="140"/>
                  </a:lnTo>
                  <a:lnTo>
                    <a:pt x="76" y="140"/>
                  </a:lnTo>
                  <a:lnTo>
                    <a:pt x="76" y="140"/>
                  </a:lnTo>
                  <a:lnTo>
                    <a:pt x="76" y="140"/>
                  </a:lnTo>
                  <a:lnTo>
                    <a:pt x="76" y="140"/>
                  </a:lnTo>
                  <a:lnTo>
                    <a:pt x="68" y="140"/>
                  </a:lnTo>
                  <a:lnTo>
                    <a:pt x="66" y="139"/>
                  </a:lnTo>
                  <a:lnTo>
                    <a:pt x="66" y="139"/>
                  </a:lnTo>
                  <a:lnTo>
                    <a:pt x="61" y="134"/>
                  </a:lnTo>
                  <a:lnTo>
                    <a:pt x="60" y="133"/>
                  </a:lnTo>
                  <a:lnTo>
                    <a:pt x="57" y="133"/>
                  </a:lnTo>
                  <a:lnTo>
                    <a:pt x="57" y="133"/>
                  </a:lnTo>
                  <a:lnTo>
                    <a:pt x="57" y="133"/>
                  </a:lnTo>
                  <a:lnTo>
                    <a:pt x="55" y="133"/>
                  </a:lnTo>
                  <a:lnTo>
                    <a:pt x="55" y="133"/>
                  </a:lnTo>
                  <a:lnTo>
                    <a:pt x="55" y="133"/>
                  </a:lnTo>
                  <a:lnTo>
                    <a:pt x="55" y="133"/>
                  </a:lnTo>
                  <a:lnTo>
                    <a:pt x="55" y="133"/>
                  </a:lnTo>
                  <a:lnTo>
                    <a:pt x="55" y="133"/>
                  </a:lnTo>
                  <a:lnTo>
                    <a:pt x="55" y="133"/>
                  </a:lnTo>
                  <a:lnTo>
                    <a:pt x="54" y="134"/>
                  </a:lnTo>
                  <a:lnTo>
                    <a:pt x="51" y="137"/>
                  </a:lnTo>
                  <a:lnTo>
                    <a:pt x="44" y="146"/>
                  </a:lnTo>
                  <a:lnTo>
                    <a:pt x="38" y="155"/>
                  </a:lnTo>
                  <a:lnTo>
                    <a:pt x="35" y="156"/>
                  </a:lnTo>
                  <a:lnTo>
                    <a:pt x="32" y="1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14" name="Freeform 340"/>
            <p:cNvSpPr>
              <a:spLocks/>
            </p:cNvSpPr>
            <p:nvPr/>
          </p:nvSpPr>
          <p:spPr bwMode="auto">
            <a:xfrm>
              <a:off x="5072063" y="5337604"/>
              <a:ext cx="6350" cy="4763"/>
            </a:xfrm>
            <a:custGeom>
              <a:avLst/>
              <a:gdLst>
                <a:gd name="T0" fmla="*/ 4 w 4"/>
                <a:gd name="T1" fmla="*/ 3 h 3"/>
                <a:gd name="T2" fmla="*/ 4 w 4"/>
                <a:gd name="T3" fmla="*/ 3 h 3"/>
                <a:gd name="T4" fmla="*/ 0 w 4"/>
                <a:gd name="T5" fmla="*/ 0 h 3"/>
                <a:gd name="T6" fmla="*/ 0 w 4"/>
                <a:gd name="T7" fmla="*/ 0 h 3"/>
                <a:gd name="T8" fmla="*/ 4 w 4"/>
                <a:gd name="T9" fmla="*/ 1 h 3"/>
                <a:gd name="T10" fmla="*/ 4 w 4"/>
                <a:gd name="T11" fmla="*/ 1 h 3"/>
                <a:gd name="T12" fmla="*/ 4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3"/>
                  </a:moveTo>
                  <a:lnTo>
                    <a:pt x="4" y="3"/>
                  </a:lnTo>
                  <a:lnTo>
                    <a:pt x="0" y="0"/>
                  </a:lnTo>
                  <a:lnTo>
                    <a:pt x="0" y="0"/>
                  </a:lnTo>
                  <a:lnTo>
                    <a:pt x="4" y="1"/>
                  </a:lnTo>
                  <a:lnTo>
                    <a:pt x="4" y="1"/>
                  </a:lnTo>
                  <a:lnTo>
                    <a:pt x="4" y="3"/>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15" name="Freeform 341"/>
            <p:cNvSpPr>
              <a:spLocks/>
            </p:cNvSpPr>
            <p:nvPr/>
          </p:nvSpPr>
          <p:spPr bwMode="auto">
            <a:xfrm>
              <a:off x="5072063" y="5337604"/>
              <a:ext cx="6350" cy="4763"/>
            </a:xfrm>
            <a:custGeom>
              <a:avLst/>
              <a:gdLst>
                <a:gd name="T0" fmla="*/ 4 w 4"/>
                <a:gd name="T1" fmla="*/ 3 h 3"/>
                <a:gd name="T2" fmla="*/ 4 w 4"/>
                <a:gd name="T3" fmla="*/ 3 h 3"/>
                <a:gd name="T4" fmla="*/ 0 w 4"/>
                <a:gd name="T5" fmla="*/ 0 h 3"/>
                <a:gd name="T6" fmla="*/ 0 w 4"/>
                <a:gd name="T7" fmla="*/ 0 h 3"/>
                <a:gd name="T8" fmla="*/ 4 w 4"/>
                <a:gd name="T9" fmla="*/ 1 h 3"/>
                <a:gd name="T10" fmla="*/ 4 w 4"/>
                <a:gd name="T11" fmla="*/ 1 h 3"/>
                <a:gd name="T12" fmla="*/ 4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3"/>
                  </a:moveTo>
                  <a:lnTo>
                    <a:pt x="4" y="3"/>
                  </a:lnTo>
                  <a:lnTo>
                    <a:pt x="0" y="0"/>
                  </a:lnTo>
                  <a:lnTo>
                    <a:pt x="0" y="0"/>
                  </a:lnTo>
                  <a:lnTo>
                    <a:pt x="4" y="1"/>
                  </a:lnTo>
                  <a:lnTo>
                    <a:pt x="4" y="1"/>
                  </a:lnTo>
                  <a:lnTo>
                    <a:pt x="4"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16" name="Freeform 342"/>
            <p:cNvSpPr>
              <a:spLocks/>
            </p:cNvSpPr>
            <p:nvPr/>
          </p:nvSpPr>
          <p:spPr bwMode="auto">
            <a:xfrm>
              <a:off x="4862513" y="4977241"/>
              <a:ext cx="312738" cy="247650"/>
            </a:xfrm>
            <a:custGeom>
              <a:avLst/>
              <a:gdLst>
                <a:gd name="T0" fmla="*/ 62 w 197"/>
                <a:gd name="T1" fmla="*/ 152 h 156"/>
                <a:gd name="T2" fmla="*/ 51 w 197"/>
                <a:gd name="T3" fmla="*/ 152 h 156"/>
                <a:gd name="T4" fmla="*/ 47 w 197"/>
                <a:gd name="T5" fmla="*/ 152 h 156"/>
                <a:gd name="T6" fmla="*/ 42 w 197"/>
                <a:gd name="T7" fmla="*/ 152 h 156"/>
                <a:gd name="T8" fmla="*/ 34 w 197"/>
                <a:gd name="T9" fmla="*/ 147 h 156"/>
                <a:gd name="T10" fmla="*/ 34 w 197"/>
                <a:gd name="T11" fmla="*/ 147 h 156"/>
                <a:gd name="T12" fmla="*/ 18 w 197"/>
                <a:gd name="T13" fmla="*/ 133 h 156"/>
                <a:gd name="T14" fmla="*/ 9 w 197"/>
                <a:gd name="T15" fmla="*/ 117 h 156"/>
                <a:gd name="T16" fmla="*/ 2 w 197"/>
                <a:gd name="T17" fmla="*/ 88 h 156"/>
                <a:gd name="T18" fmla="*/ 2 w 197"/>
                <a:gd name="T19" fmla="*/ 73 h 156"/>
                <a:gd name="T20" fmla="*/ 18 w 197"/>
                <a:gd name="T21" fmla="*/ 65 h 156"/>
                <a:gd name="T22" fmla="*/ 52 w 197"/>
                <a:gd name="T23" fmla="*/ 52 h 156"/>
                <a:gd name="T24" fmla="*/ 52 w 197"/>
                <a:gd name="T25" fmla="*/ 52 h 156"/>
                <a:gd name="T26" fmla="*/ 54 w 197"/>
                <a:gd name="T27" fmla="*/ 52 h 156"/>
                <a:gd name="T28" fmla="*/ 54 w 197"/>
                <a:gd name="T29" fmla="*/ 52 h 156"/>
                <a:gd name="T30" fmla="*/ 55 w 197"/>
                <a:gd name="T31" fmla="*/ 52 h 156"/>
                <a:gd name="T32" fmla="*/ 64 w 197"/>
                <a:gd name="T33" fmla="*/ 50 h 156"/>
                <a:gd name="T34" fmla="*/ 65 w 197"/>
                <a:gd name="T35" fmla="*/ 50 h 156"/>
                <a:gd name="T36" fmla="*/ 65 w 197"/>
                <a:gd name="T37" fmla="*/ 50 h 156"/>
                <a:gd name="T38" fmla="*/ 65 w 197"/>
                <a:gd name="T39" fmla="*/ 50 h 156"/>
                <a:gd name="T40" fmla="*/ 67 w 197"/>
                <a:gd name="T41" fmla="*/ 50 h 156"/>
                <a:gd name="T42" fmla="*/ 99 w 197"/>
                <a:gd name="T43" fmla="*/ 62 h 156"/>
                <a:gd name="T44" fmla="*/ 118 w 197"/>
                <a:gd name="T45" fmla="*/ 78 h 156"/>
                <a:gd name="T46" fmla="*/ 119 w 197"/>
                <a:gd name="T47" fmla="*/ 78 h 156"/>
                <a:gd name="T48" fmla="*/ 119 w 197"/>
                <a:gd name="T49" fmla="*/ 78 h 156"/>
                <a:gd name="T50" fmla="*/ 131 w 197"/>
                <a:gd name="T51" fmla="*/ 85 h 156"/>
                <a:gd name="T52" fmla="*/ 133 w 197"/>
                <a:gd name="T53" fmla="*/ 85 h 156"/>
                <a:gd name="T54" fmla="*/ 133 w 197"/>
                <a:gd name="T55" fmla="*/ 85 h 156"/>
                <a:gd name="T56" fmla="*/ 145 w 197"/>
                <a:gd name="T57" fmla="*/ 71 h 156"/>
                <a:gd name="T58" fmla="*/ 144 w 197"/>
                <a:gd name="T59" fmla="*/ 69 h 156"/>
                <a:gd name="T60" fmla="*/ 142 w 197"/>
                <a:gd name="T61" fmla="*/ 68 h 156"/>
                <a:gd name="T62" fmla="*/ 139 w 197"/>
                <a:gd name="T63" fmla="*/ 69 h 156"/>
                <a:gd name="T64" fmla="*/ 139 w 197"/>
                <a:gd name="T65" fmla="*/ 69 h 156"/>
                <a:gd name="T66" fmla="*/ 136 w 197"/>
                <a:gd name="T67" fmla="*/ 71 h 156"/>
                <a:gd name="T68" fmla="*/ 133 w 197"/>
                <a:gd name="T69" fmla="*/ 69 h 156"/>
                <a:gd name="T70" fmla="*/ 133 w 197"/>
                <a:gd name="T71" fmla="*/ 69 h 156"/>
                <a:gd name="T72" fmla="*/ 113 w 197"/>
                <a:gd name="T73" fmla="*/ 49 h 156"/>
                <a:gd name="T74" fmla="*/ 113 w 197"/>
                <a:gd name="T75" fmla="*/ 44 h 156"/>
                <a:gd name="T76" fmla="*/ 118 w 197"/>
                <a:gd name="T77" fmla="*/ 21 h 156"/>
                <a:gd name="T78" fmla="*/ 129 w 197"/>
                <a:gd name="T79" fmla="*/ 2 h 156"/>
                <a:gd name="T80" fmla="*/ 144 w 197"/>
                <a:gd name="T81" fmla="*/ 0 h 156"/>
                <a:gd name="T82" fmla="*/ 149 w 197"/>
                <a:gd name="T83" fmla="*/ 0 h 156"/>
                <a:gd name="T84" fmla="*/ 149 w 197"/>
                <a:gd name="T85" fmla="*/ 0 h 156"/>
                <a:gd name="T86" fmla="*/ 154 w 197"/>
                <a:gd name="T87" fmla="*/ 4 h 156"/>
                <a:gd name="T88" fmla="*/ 161 w 197"/>
                <a:gd name="T89" fmla="*/ 7 h 156"/>
                <a:gd name="T90" fmla="*/ 165 w 197"/>
                <a:gd name="T91" fmla="*/ 2 h 156"/>
                <a:gd name="T92" fmla="*/ 190 w 197"/>
                <a:gd name="T93" fmla="*/ 18 h 156"/>
                <a:gd name="T94" fmla="*/ 193 w 197"/>
                <a:gd name="T95" fmla="*/ 42 h 156"/>
                <a:gd name="T96" fmla="*/ 190 w 197"/>
                <a:gd name="T97" fmla="*/ 66 h 156"/>
                <a:gd name="T98" fmla="*/ 184 w 197"/>
                <a:gd name="T99" fmla="*/ 82 h 156"/>
                <a:gd name="T100" fmla="*/ 187 w 197"/>
                <a:gd name="T101" fmla="*/ 94 h 156"/>
                <a:gd name="T102" fmla="*/ 155 w 197"/>
                <a:gd name="T103" fmla="*/ 102 h 156"/>
                <a:gd name="T104" fmla="*/ 148 w 197"/>
                <a:gd name="T105" fmla="*/ 120 h 156"/>
                <a:gd name="T106" fmla="*/ 139 w 197"/>
                <a:gd name="T107" fmla="*/ 118 h 156"/>
                <a:gd name="T108" fmla="*/ 126 w 197"/>
                <a:gd name="T109" fmla="*/ 124 h 156"/>
                <a:gd name="T110" fmla="*/ 107 w 197"/>
                <a:gd name="T111" fmla="*/ 147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7" h="156">
                  <a:moveTo>
                    <a:pt x="99" y="156"/>
                  </a:moveTo>
                  <a:lnTo>
                    <a:pt x="99" y="156"/>
                  </a:lnTo>
                  <a:lnTo>
                    <a:pt x="81" y="155"/>
                  </a:lnTo>
                  <a:lnTo>
                    <a:pt x="62" y="152"/>
                  </a:lnTo>
                  <a:lnTo>
                    <a:pt x="62" y="152"/>
                  </a:lnTo>
                  <a:lnTo>
                    <a:pt x="62" y="152"/>
                  </a:lnTo>
                  <a:lnTo>
                    <a:pt x="62" y="152"/>
                  </a:lnTo>
                  <a:lnTo>
                    <a:pt x="51" y="152"/>
                  </a:lnTo>
                  <a:lnTo>
                    <a:pt x="51" y="152"/>
                  </a:lnTo>
                  <a:lnTo>
                    <a:pt x="51" y="152"/>
                  </a:lnTo>
                  <a:lnTo>
                    <a:pt x="51" y="152"/>
                  </a:lnTo>
                  <a:lnTo>
                    <a:pt x="47" y="152"/>
                  </a:lnTo>
                  <a:lnTo>
                    <a:pt x="47" y="152"/>
                  </a:lnTo>
                  <a:lnTo>
                    <a:pt x="44" y="152"/>
                  </a:lnTo>
                  <a:lnTo>
                    <a:pt x="44" y="152"/>
                  </a:lnTo>
                  <a:lnTo>
                    <a:pt x="42" y="152"/>
                  </a:lnTo>
                  <a:lnTo>
                    <a:pt x="42" y="152"/>
                  </a:lnTo>
                  <a:lnTo>
                    <a:pt x="39" y="150"/>
                  </a:lnTo>
                  <a:lnTo>
                    <a:pt x="39" y="150"/>
                  </a:lnTo>
                  <a:lnTo>
                    <a:pt x="34" y="147"/>
                  </a:lnTo>
                  <a:lnTo>
                    <a:pt x="34" y="147"/>
                  </a:lnTo>
                  <a:lnTo>
                    <a:pt x="34" y="147"/>
                  </a:lnTo>
                  <a:lnTo>
                    <a:pt x="34" y="147"/>
                  </a:lnTo>
                  <a:lnTo>
                    <a:pt x="34" y="147"/>
                  </a:lnTo>
                  <a:lnTo>
                    <a:pt x="34" y="147"/>
                  </a:lnTo>
                  <a:lnTo>
                    <a:pt x="23" y="140"/>
                  </a:lnTo>
                  <a:lnTo>
                    <a:pt x="18" y="133"/>
                  </a:lnTo>
                  <a:lnTo>
                    <a:pt x="18" y="133"/>
                  </a:lnTo>
                  <a:lnTo>
                    <a:pt x="18" y="133"/>
                  </a:lnTo>
                  <a:lnTo>
                    <a:pt x="18" y="133"/>
                  </a:lnTo>
                  <a:lnTo>
                    <a:pt x="18" y="133"/>
                  </a:lnTo>
                  <a:lnTo>
                    <a:pt x="9" y="117"/>
                  </a:lnTo>
                  <a:lnTo>
                    <a:pt x="5" y="108"/>
                  </a:lnTo>
                  <a:lnTo>
                    <a:pt x="3" y="99"/>
                  </a:lnTo>
                  <a:lnTo>
                    <a:pt x="3" y="99"/>
                  </a:lnTo>
                  <a:lnTo>
                    <a:pt x="2" y="88"/>
                  </a:lnTo>
                  <a:lnTo>
                    <a:pt x="0" y="79"/>
                  </a:lnTo>
                  <a:lnTo>
                    <a:pt x="0" y="79"/>
                  </a:lnTo>
                  <a:lnTo>
                    <a:pt x="0" y="76"/>
                  </a:lnTo>
                  <a:lnTo>
                    <a:pt x="2" y="73"/>
                  </a:lnTo>
                  <a:lnTo>
                    <a:pt x="2" y="73"/>
                  </a:lnTo>
                  <a:lnTo>
                    <a:pt x="9" y="68"/>
                  </a:lnTo>
                  <a:lnTo>
                    <a:pt x="13" y="66"/>
                  </a:lnTo>
                  <a:lnTo>
                    <a:pt x="18" y="65"/>
                  </a:lnTo>
                  <a:lnTo>
                    <a:pt x="44" y="65"/>
                  </a:lnTo>
                  <a:lnTo>
                    <a:pt x="44" y="44"/>
                  </a:lnTo>
                  <a:lnTo>
                    <a:pt x="44" y="44"/>
                  </a:lnTo>
                  <a:lnTo>
                    <a:pt x="52" y="52"/>
                  </a:lnTo>
                  <a:lnTo>
                    <a:pt x="52" y="52"/>
                  </a:lnTo>
                  <a:lnTo>
                    <a:pt x="52" y="52"/>
                  </a:lnTo>
                  <a:lnTo>
                    <a:pt x="52" y="52"/>
                  </a:lnTo>
                  <a:lnTo>
                    <a:pt x="52" y="52"/>
                  </a:lnTo>
                  <a:lnTo>
                    <a:pt x="52" y="52"/>
                  </a:lnTo>
                  <a:lnTo>
                    <a:pt x="52" y="52"/>
                  </a:lnTo>
                  <a:lnTo>
                    <a:pt x="54" y="52"/>
                  </a:lnTo>
                  <a:lnTo>
                    <a:pt x="54" y="52"/>
                  </a:lnTo>
                  <a:lnTo>
                    <a:pt x="54" y="52"/>
                  </a:lnTo>
                  <a:lnTo>
                    <a:pt x="54" y="52"/>
                  </a:lnTo>
                  <a:lnTo>
                    <a:pt x="54" y="52"/>
                  </a:lnTo>
                  <a:lnTo>
                    <a:pt x="54" y="52"/>
                  </a:lnTo>
                  <a:lnTo>
                    <a:pt x="54" y="52"/>
                  </a:lnTo>
                  <a:lnTo>
                    <a:pt x="54" y="52"/>
                  </a:lnTo>
                  <a:lnTo>
                    <a:pt x="55" y="52"/>
                  </a:lnTo>
                  <a:lnTo>
                    <a:pt x="55" y="52"/>
                  </a:lnTo>
                  <a:lnTo>
                    <a:pt x="60" y="50"/>
                  </a:lnTo>
                  <a:lnTo>
                    <a:pt x="60" y="50"/>
                  </a:lnTo>
                  <a:lnTo>
                    <a:pt x="64" y="50"/>
                  </a:lnTo>
                  <a:lnTo>
                    <a:pt x="64" y="50"/>
                  </a:lnTo>
                  <a:lnTo>
                    <a:pt x="65" y="50"/>
                  </a:lnTo>
                  <a:lnTo>
                    <a:pt x="65" y="50"/>
                  </a:lnTo>
                  <a:lnTo>
                    <a:pt x="65" y="50"/>
                  </a:lnTo>
                  <a:lnTo>
                    <a:pt x="65" y="50"/>
                  </a:lnTo>
                  <a:lnTo>
                    <a:pt x="65" y="50"/>
                  </a:lnTo>
                  <a:lnTo>
                    <a:pt x="65" y="50"/>
                  </a:lnTo>
                  <a:lnTo>
                    <a:pt x="65" y="50"/>
                  </a:lnTo>
                  <a:lnTo>
                    <a:pt x="65" y="50"/>
                  </a:lnTo>
                  <a:lnTo>
                    <a:pt x="65" y="50"/>
                  </a:lnTo>
                  <a:lnTo>
                    <a:pt x="65" y="50"/>
                  </a:lnTo>
                  <a:lnTo>
                    <a:pt x="65" y="50"/>
                  </a:lnTo>
                  <a:lnTo>
                    <a:pt x="65" y="50"/>
                  </a:lnTo>
                  <a:lnTo>
                    <a:pt x="65" y="50"/>
                  </a:lnTo>
                  <a:lnTo>
                    <a:pt x="65" y="50"/>
                  </a:lnTo>
                  <a:lnTo>
                    <a:pt x="65" y="50"/>
                  </a:lnTo>
                  <a:lnTo>
                    <a:pt x="67" y="50"/>
                  </a:lnTo>
                  <a:lnTo>
                    <a:pt x="67" y="50"/>
                  </a:lnTo>
                  <a:lnTo>
                    <a:pt x="81" y="56"/>
                  </a:lnTo>
                  <a:lnTo>
                    <a:pt x="99" y="62"/>
                  </a:lnTo>
                  <a:lnTo>
                    <a:pt x="99" y="62"/>
                  </a:lnTo>
                  <a:lnTo>
                    <a:pt x="110" y="69"/>
                  </a:lnTo>
                  <a:lnTo>
                    <a:pt x="115" y="72"/>
                  </a:lnTo>
                  <a:lnTo>
                    <a:pt x="118" y="78"/>
                  </a:lnTo>
                  <a:lnTo>
                    <a:pt x="118" y="78"/>
                  </a:lnTo>
                  <a:lnTo>
                    <a:pt x="118" y="78"/>
                  </a:lnTo>
                  <a:lnTo>
                    <a:pt x="118" y="78"/>
                  </a:lnTo>
                  <a:lnTo>
                    <a:pt x="119" y="78"/>
                  </a:lnTo>
                  <a:lnTo>
                    <a:pt x="119" y="78"/>
                  </a:lnTo>
                  <a:lnTo>
                    <a:pt x="119" y="78"/>
                  </a:lnTo>
                  <a:lnTo>
                    <a:pt x="119" y="78"/>
                  </a:lnTo>
                  <a:lnTo>
                    <a:pt x="119" y="78"/>
                  </a:lnTo>
                  <a:lnTo>
                    <a:pt x="119" y="78"/>
                  </a:lnTo>
                  <a:lnTo>
                    <a:pt x="120" y="82"/>
                  </a:lnTo>
                  <a:lnTo>
                    <a:pt x="123" y="84"/>
                  </a:lnTo>
                  <a:lnTo>
                    <a:pt x="131" y="85"/>
                  </a:lnTo>
                  <a:lnTo>
                    <a:pt x="131" y="85"/>
                  </a:lnTo>
                  <a:lnTo>
                    <a:pt x="131" y="85"/>
                  </a:lnTo>
                  <a:lnTo>
                    <a:pt x="131" y="85"/>
                  </a:lnTo>
                  <a:lnTo>
                    <a:pt x="133" y="85"/>
                  </a:lnTo>
                  <a:lnTo>
                    <a:pt x="133" y="85"/>
                  </a:lnTo>
                  <a:lnTo>
                    <a:pt x="133" y="85"/>
                  </a:lnTo>
                  <a:lnTo>
                    <a:pt x="133" y="85"/>
                  </a:lnTo>
                  <a:lnTo>
                    <a:pt x="133" y="85"/>
                  </a:lnTo>
                  <a:lnTo>
                    <a:pt x="133" y="85"/>
                  </a:lnTo>
                  <a:lnTo>
                    <a:pt x="138" y="84"/>
                  </a:lnTo>
                  <a:lnTo>
                    <a:pt x="141" y="79"/>
                  </a:lnTo>
                  <a:lnTo>
                    <a:pt x="144" y="75"/>
                  </a:lnTo>
                  <a:lnTo>
                    <a:pt x="145" y="71"/>
                  </a:lnTo>
                  <a:lnTo>
                    <a:pt x="145" y="71"/>
                  </a:lnTo>
                  <a:lnTo>
                    <a:pt x="144" y="69"/>
                  </a:lnTo>
                  <a:lnTo>
                    <a:pt x="144" y="69"/>
                  </a:lnTo>
                  <a:lnTo>
                    <a:pt x="144" y="69"/>
                  </a:lnTo>
                  <a:lnTo>
                    <a:pt x="144" y="69"/>
                  </a:lnTo>
                  <a:lnTo>
                    <a:pt x="144" y="69"/>
                  </a:lnTo>
                  <a:lnTo>
                    <a:pt x="144" y="69"/>
                  </a:lnTo>
                  <a:lnTo>
                    <a:pt x="142" y="68"/>
                  </a:lnTo>
                  <a:lnTo>
                    <a:pt x="142" y="68"/>
                  </a:lnTo>
                  <a:lnTo>
                    <a:pt x="139" y="69"/>
                  </a:lnTo>
                  <a:lnTo>
                    <a:pt x="139" y="69"/>
                  </a:lnTo>
                  <a:lnTo>
                    <a:pt x="139" y="69"/>
                  </a:lnTo>
                  <a:lnTo>
                    <a:pt x="139" y="69"/>
                  </a:lnTo>
                  <a:lnTo>
                    <a:pt x="139" y="69"/>
                  </a:lnTo>
                  <a:lnTo>
                    <a:pt x="139" y="69"/>
                  </a:lnTo>
                  <a:lnTo>
                    <a:pt x="139" y="69"/>
                  </a:lnTo>
                  <a:lnTo>
                    <a:pt x="139" y="69"/>
                  </a:lnTo>
                  <a:lnTo>
                    <a:pt x="136" y="71"/>
                  </a:lnTo>
                  <a:lnTo>
                    <a:pt x="136" y="71"/>
                  </a:lnTo>
                  <a:lnTo>
                    <a:pt x="136" y="71"/>
                  </a:lnTo>
                  <a:lnTo>
                    <a:pt x="136" y="71"/>
                  </a:lnTo>
                  <a:lnTo>
                    <a:pt x="133" y="71"/>
                  </a:lnTo>
                  <a:lnTo>
                    <a:pt x="133" y="71"/>
                  </a:lnTo>
                  <a:lnTo>
                    <a:pt x="133" y="69"/>
                  </a:lnTo>
                  <a:lnTo>
                    <a:pt x="133" y="69"/>
                  </a:lnTo>
                  <a:lnTo>
                    <a:pt x="133" y="69"/>
                  </a:lnTo>
                  <a:lnTo>
                    <a:pt x="133" y="69"/>
                  </a:lnTo>
                  <a:lnTo>
                    <a:pt x="133" y="69"/>
                  </a:lnTo>
                  <a:lnTo>
                    <a:pt x="128" y="66"/>
                  </a:lnTo>
                  <a:lnTo>
                    <a:pt x="120" y="59"/>
                  </a:lnTo>
                  <a:lnTo>
                    <a:pt x="115" y="52"/>
                  </a:lnTo>
                  <a:lnTo>
                    <a:pt x="113" y="49"/>
                  </a:lnTo>
                  <a:lnTo>
                    <a:pt x="112" y="46"/>
                  </a:lnTo>
                  <a:lnTo>
                    <a:pt x="112" y="46"/>
                  </a:lnTo>
                  <a:lnTo>
                    <a:pt x="113" y="44"/>
                  </a:lnTo>
                  <a:lnTo>
                    <a:pt x="113" y="44"/>
                  </a:lnTo>
                  <a:lnTo>
                    <a:pt x="116" y="36"/>
                  </a:lnTo>
                  <a:lnTo>
                    <a:pt x="118" y="27"/>
                  </a:lnTo>
                  <a:lnTo>
                    <a:pt x="118" y="27"/>
                  </a:lnTo>
                  <a:lnTo>
                    <a:pt x="118" y="21"/>
                  </a:lnTo>
                  <a:lnTo>
                    <a:pt x="120" y="14"/>
                  </a:lnTo>
                  <a:lnTo>
                    <a:pt x="123" y="8"/>
                  </a:lnTo>
                  <a:lnTo>
                    <a:pt x="129" y="2"/>
                  </a:lnTo>
                  <a:lnTo>
                    <a:pt x="129" y="2"/>
                  </a:lnTo>
                  <a:lnTo>
                    <a:pt x="129" y="2"/>
                  </a:lnTo>
                  <a:lnTo>
                    <a:pt x="129" y="2"/>
                  </a:lnTo>
                  <a:lnTo>
                    <a:pt x="135" y="1"/>
                  </a:lnTo>
                  <a:lnTo>
                    <a:pt x="144" y="0"/>
                  </a:lnTo>
                  <a:lnTo>
                    <a:pt x="144" y="0"/>
                  </a:lnTo>
                  <a:lnTo>
                    <a:pt x="144" y="0"/>
                  </a:lnTo>
                  <a:lnTo>
                    <a:pt x="144" y="0"/>
                  </a:lnTo>
                  <a:lnTo>
                    <a:pt x="149" y="0"/>
                  </a:lnTo>
                  <a:lnTo>
                    <a:pt x="149" y="0"/>
                  </a:lnTo>
                  <a:lnTo>
                    <a:pt x="149" y="0"/>
                  </a:lnTo>
                  <a:lnTo>
                    <a:pt x="149" y="0"/>
                  </a:lnTo>
                  <a:lnTo>
                    <a:pt x="149" y="0"/>
                  </a:lnTo>
                  <a:lnTo>
                    <a:pt x="149" y="0"/>
                  </a:lnTo>
                  <a:lnTo>
                    <a:pt x="151" y="2"/>
                  </a:lnTo>
                  <a:lnTo>
                    <a:pt x="154" y="4"/>
                  </a:lnTo>
                  <a:lnTo>
                    <a:pt x="154" y="4"/>
                  </a:lnTo>
                  <a:lnTo>
                    <a:pt x="160" y="10"/>
                  </a:lnTo>
                  <a:lnTo>
                    <a:pt x="160" y="10"/>
                  </a:lnTo>
                  <a:lnTo>
                    <a:pt x="161" y="7"/>
                  </a:lnTo>
                  <a:lnTo>
                    <a:pt x="161" y="7"/>
                  </a:lnTo>
                  <a:lnTo>
                    <a:pt x="161" y="4"/>
                  </a:lnTo>
                  <a:lnTo>
                    <a:pt x="160" y="1"/>
                  </a:lnTo>
                  <a:lnTo>
                    <a:pt x="160" y="1"/>
                  </a:lnTo>
                  <a:lnTo>
                    <a:pt x="165" y="2"/>
                  </a:lnTo>
                  <a:lnTo>
                    <a:pt x="165" y="2"/>
                  </a:lnTo>
                  <a:lnTo>
                    <a:pt x="173" y="7"/>
                  </a:lnTo>
                  <a:lnTo>
                    <a:pt x="181" y="13"/>
                  </a:lnTo>
                  <a:lnTo>
                    <a:pt x="190" y="18"/>
                  </a:lnTo>
                  <a:lnTo>
                    <a:pt x="197" y="23"/>
                  </a:lnTo>
                  <a:lnTo>
                    <a:pt x="197" y="23"/>
                  </a:lnTo>
                  <a:lnTo>
                    <a:pt x="194" y="33"/>
                  </a:lnTo>
                  <a:lnTo>
                    <a:pt x="193" y="42"/>
                  </a:lnTo>
                  <a:lnTo>
                    <a:pt x="193" y="42"/>
                  </a:lnTo>
                  <a:lnTo>
                    <a:pt x="191" y="50"/>
                  </a:lnTo>
                  <a:lnTo>
                    <a:pt x="191" y="59"/>
                  </a:lnTo>
                  <a:lnTo>
                    <a:pt x="190" y="66"/>
                  </a:lnTo>
                  <a:lnTo>
                    <a:pt x="186" y="75"/>
                  </a:lnTo>
                  <a:lnTo>
                    <a:pt x="186" y="75"/>
                  </a:lnTo>
                  <a:lnTo>
                    <a:pt x="184" y="79"/>
                  </a:lnTo>
                  <a:lnTo>
                    <a:pt x="184" y="82"/>
                  </a:lnTo>
                  <a:lnTo>
                    <a:pt x="184" y="82"/>
                  </a:lnTo>
                  <a:lnTo>
                    <a:pt x="186" y="88"/>
                  </a:lnTo>
                  <a:lnTo>
                    <a:pt x="187" y="94"/>
                  </a:lnTo>
                  <a:lnTo>
                    <a:pt x="187" y="94"/>
                  </a:lnTo>
                  <a:lnTo>
                    <a:pt x="171" y="97"/>
                  </a:lnTo>
                  <a:lnTo>
                    <a:pt x="162" y="99"/>
                  </a:lnTo>
                  <a:lnTo>
                    <a:pt x="155" y="102"/>
                  </a:lnTo>
                  <a:lnTo>
                    <a:pt x="155" y="102"/>
                  </a:lnTo>
                  <a:lnTo>
                    <a:pt x="154" y="105"/>
                  </a:lnTo>
                  <a:lnTo>
                    <a:pt x="151" y="110"/>
                  </a:lnTo>
                  <a:lnTo>
                    <a:pt x="148" y="120"/>
                  </a:lnTo>
                  <a:lnTo>
                    <a:pt x="148" y="120"/>
                  </a:lnTo>
                  <a:lnTo>
                    <a:pt x="141" y="118"/>
                  </a:lnTo>
                  <a:lnTo>
                    <a:pt x="141" y="118"/>
                  </a:lnTo>
                  <a:lnTo>
                    <a:pt x="139" y="118"/>
                  </a:lnTo>
                  <a:lnTo>
                    <a:pt x="139" y="118"/>
                  </a:lnTo>
                  <a:lnTo>
                    <a:pt x="138" y="118"/>
                  </a:lnTo>
                  <a:lnTo>
                    <a:pt x="138" y="118"/>
                  </a:lnTo>
                  <a:lnTo>
                    <a:pt x="132" y="121"/>
                  </a:lnTo>
                  <a:lnTo>
                    <a:pt x="126" y="124"/>
                  </a:lnTo>
                  <a:lnTo>
                    <a:pt x="118" y="134"/>
                  </a:lnTo>
                  <a:lnTo>
                    <a:pt x="118" y="134"/>
                  </a:lnTo>
                  <a:lnTo>
                    <a:pt x="113" y="140"/>
                  </a:lnTo>
                  <a:lnTo>
                    <a:pt x="107" y="147"/>
                  </a:lnTo>
                  <a:lnTo>
                    <a:pt x="103" y="153"/>
                  </a:lnTo>
                  <a:lnTo>
                    <a:pt x="100" y="155"/>
                  </a:lnTo>
                  <a:lnTo>
                    <a:pt x="99" y="156"/>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17" name="Freeform 343"/>
            <p:cNvSpPr>
              <a:spLocks/>
            </p:cNvSpPr>
            <p:nvPr/>
          </p:nvSpPr>
          <p:spPr bwMode="auto">
            <a:xfrm>
              <a:off x="4862513" y="4977241"/>
              <a:ext cx="312738" cy="247650"/>
            </a:xfrm>
            <a:custGeom>
              <a:avLst/>
              <a:gdLst>
                <a:gd name="T0" fmla="*/ 62 w 197"/>
                <a:gd name="T1" fmla="*/ 152 h 156"/>
                <a:gd name="T2" fmla="*/ 51 w 197"/>
                <a:gd name="T3" fmla="*/ 152 h 156"/>
                <a:gd name="T4" fmla="*/ 47 w 197"/>
                <a:gd name="T5" fmla="*/ 152 h 156"/>
                <a:gd name="T6" fmla="*/ 42 w 197"/>
                <a:gd name="T7" fmla="*/ 152 h 156"/>
                <a:gd name="T8" fmla="*/ 34 w 197"/>
                <a:gd name="T9" fmla="*/ 147 h 156"/>
                <a:gd name="T10" fmla="*/ 34 w 197"/>
                <a:gd name="T11" fmla="*/ 147 h 156"/>
                <a:gd name="T12" fmla="*/ 18 w 197"/>
                <a:gd name="T13" fmla="*/ 133 h 156"/>
                <a:gd name="T14" fmla="*/ 9 w 197"/>
                <a:gd name="T15" fmla="*/ 117 h 156"/>
                <a:gd name="T16" fmla="*/ 2 w 197"/>
                <a:gd name="T17" fmla="*/ 88 h 156"/>
                <a:gd name="T18" fmla="*/ 2 w 197"/>
                <a:gd name="T19" fmla="*/ 73 h 156"/>
                <a:gd name="T20" fmla="*/ 18 w 197"/>
                <a:gd name="T21" fmla="*/ 65 h 156"/>
                <a:gd name="T22" fmla="*/ 52 w 197"/>
                <a:gd name="T23" fmla="*/ 52 h 156"/>
                <a:gd name="T24" fmla="*/ 52 w 197"/>
                <a:gd name="T25" fmla="*/ 52 h 156"/>
                <a:gd name="T26" fmla="*/ 54 w 197"/>
                <a:gd name="T27" fmla="*/ 52 h 156"/>
                <a:gd name="T28" fmla="*/ 54 w 197"/>
                <a:gd name="T29" fmla="*/ 52 h 156"/>
                <a:gd name="T30" fmla="*/ 55 w 197"/>
                <a:gd name="T31" fmla="*/ 52 h 156"/>
                <a:gd name="T32" fmla="*/ 64 w 197"/>
                <a:gd name="T33" fmla="*/ 50 h 156"/>
                <a:gd name="T34" fmla="*/ 65 w 197"/>
                <a:gd name="T35" fmla="*/ 50 h 156"/>
                <a:gd name="T36" fmla="*/ 65 w 197"/>
                <a:gd name="T37" fmla="*/ 50 h 156"/>
                <a:gd name="T38" fmla="*/ 65 w 197"/>
                <a:gd name="T39" fmla="*/ 50 h 156"/>
                <a:gd name="T40" fmla="*/ 67 w 197"/>
                <a:gd name="T41" fmla="*/ 50 h 156"/>
                <a:gd name="T42" fmla="*/ 99 w 197"/>
                <a:gd name="T43" fmla="*/ 62 h 156"/>
                <a:gd name="T44" fmla="*/ 118 w 197"/>
                <a:gd name="T45" fmla="*/ 78 h 156"/>
                <a:gd name="T46" fmla="*/ 119 w 197"/>
                <a:gd name="T47" fmla="*/ 78 h 156"/>
                <a:gd name="T48" fmla="*/ 119 w 197"/>
                <a:gd name="T49" fmla="*/ 78 h 156"/>
                <a:gd name="T50" fmla="*/ 131 w 197"/>
                <a:gd name="T51" fmla="*/ 85 h 156"/>
                <a:gd name="T52" fmla="*/ 133 w 197"/>
                <a:gd name="T53" fmla="*/ 85 h 156"/>
                <a:gd name="T54" fmla="*/ 133 w 197"/>
                <a:gd name="T55" fmla="*/ 85 h 156"/>
                <a:gd name="T56" fmla="*/ 145 w 197"/>
                <a:gd name="T57" fmla="*/ 71 h 156"/>
                <a:gd name="T58" fmla="*/ 144 w 197"/>
                <a:gd name="T59" fmla="*/ 69 h 156"/>
                <a:gd name="T60" fmla="*/ 142 w 197"/>
                <a:gd name="T61" fmla="*/ 68 h 156"/>
                <a:gd name="T62" fmla="*/ 139 w 197"/>
                <a:gd name="T63" fmla="*/ 69 h 156"/>
                <a:gd name="T64" fmla="*/ 139 w 197"/>
                <a:gd name="T65" fmla="*/ 69 h 156"/>
                <a:gd name="T66" fmla="*/ 136 w 197"/>
                <a:gd name="T67" fmla="*/ 71 h 156"/>
                <a:gd name="T68" fmla="*/ 133 w 197"/>
                <a:gd name="T69" fmla="*/ 69 h 156"/>
                <a:gd name="T70" fmla="*/ 133 w 197"/>
                <a:gd name="T71" fmla="*/ 69 h 156"/>
                <a:gd name="T72" fmla="*/ 113 w 197"/>
                <a:gd name="T73" fmla="*/ 49 h 156"/>
                <a:gd name="T74" fmla="*/ 113 w 197"/>
                <a:gd name="T75" fmla="*/ 44 h 156"/>
                <a:gd name="T76" fmla="*/ 118 w 197"/>
                <a:gd name="T77" fmla="*/ 21 h 156"/>
                <a:gd name="T78" fmla="*/ 129 w 197"/>
                <a:gd name="T79" fmla="*/ 2 h 156"/>
                <a:gd name="T80" fmla="*/ 144 w 197"/>
                <a:gd name="T81" fmla="*/ 0 h 156"/>
                <a:gd name="T82" fmla="*/ 149 w 197"/>
                <a:gd name="T83" fmla="*/ 0 h 156"/>
                <a:gd name="T84" fmla="*/ 149 w 197"/>
                <a:gd name="T85" fmla="*/ 0 h 156"/>
                <a:gd name="T86" fmla="*/ 154 w 197"/>
                <a:gd name="T87" fmla="*/ 4 h 156"/>
                <a:gd name="T88" fmla="*/ 161 w 197"/>
                <a:gd name="T89" fmla="*/ 7 h 156"/>
                <a:gd name="T90" fmla="*/ 165 w 197"/>
                <a:gd name="T91" fmla="*/ 2 h 156"/>
                <a:gd name="T92" fmla="*/ 190 w 197"/>
                <a:gd name="T93" fmla="*/ 18 h 156"/>
                <a:gd name="T94" fmla="*/ 193 w 197"/>
                <a:gd name="T95" fmla="*/ 42 h 156"/>
                <a:gd name="T96" fmla="*/ 190 w 197"/>
                <a:gd name="T97" fmla="*/ 66 h 156"/>
                <a:gd name="T98" fmla="*/ 184 w 197"/>
                <a:gd name="T99" fmla="*/ 82 h 156"/>
                <a:gd name="T100" fmla="*/ 187 w 197"/>
                <a:gd name="T101" fmla="*/ 94 h 156"/>
                <a:gd name="T102" fmla="*/ 155 w 197"/>
                <a:gd name="T103" fmla="*/ 102 h 156"/>
                <a:gd name="T104" fmla="*/ 148 w 197"/>
                <a:gd name="T105" fmla="*/ 120 h 156"/>
                <a:gd name="T106" fmla="*/ 139 w 197"/>
                <a:gd name="T107" fmla="*/ 118 h 156"/>
                <a:gd name="T108" fmla="*/ 126 w 197"/>
                <a:gd name="T109" fmla="*/ 124 h 156"/>
                <a:gd name="T110" fmla="*/ 107 w 197"/>
                <a:gd name="T111" fmla="*/ 147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7" h="156">
                  <a:moveTo>
                    <a:pt x="99" y="156"/>
                  </a:moveTo>
                  <a:lnTo>
                    <a:pt x="99" y="156"/>
                  </a:lnTo>
                  <a:lnTo>
                    <a:pt x="81" y="155"/>
                  </a:lnTo>
                  <a:lnTo>
                    <a:pt x="62" y="152"/>
                  </a:lnTo>
                  <a:lnTo>
                    <a:pt x="62" y="152"/>
                  </a:lnTo>
                  <a:lnTo>
                    <a:pt x="62" y="152"/>
                  </a:lnTo>
                  <a:lnTo>
                    <a:pt x="62" y="152"/>
                  </a:lnTo>
                  <a:lnTo>
                    <a:pt x="51" y="152"/>
                  </a:lnTo>
                  <a:lnTo>
                    <a:pt x="51" y="152"/>
                  </a:lnTo>
                  <a:lnTo>
                    <a:pt x="51" y="152"/>
                  </a:lnTo>
                  <a:lnTo>
                    <a:pt x="51" y="152"/>
                  </a:lnTo>
                  <a:lnTo>
                    <a:pt x="47" y="152"/>
                  </a:lnTo>
                  <a:lnTo>
                    <a:pt x="47" y="152"/>
                  </a:lnTo>
                  <a:lnTo>
                    <a:pt x="44" y="152"/>
                  </a:lnTo>
                  <a:lnTo>
                    <a:pt x="44" y="152"/>
                  </a:lnTo>
                  <a:lnTo>
                    <a:pt x="42" y="152"/>
                  </a:lnTo>
                  <a:lnTo>
                    <a:pt x="42" y="152"/>
                  </a:lnTo>
                  <a:lnTo>
                    <a:pt x="39" y="150"/>
                  </a:lnTo>
                  <a:lnTo>
                    <a:pt x="39" y="150"/>
                  </a:lnTo>
                  <a:lnTo>
                    <a:pt x="34" y="147"/>
                  </a:lnTo>
                  <a:lnTo>
                    <a:pt x="34" y="147"/>
                  </a:lnTo>
                  <a:lnTo>
                    <a:pt x="34" y="147"/>
                  </a:lnTo>
                  <a:lnTo>
                    <a:pt x="34" y="147"/>
                  </a:lnTo>
                  <a:lnTo>
                    <a:pt x="34" y="147"/>
                  </a:lnTo>
                  <a:lnTo>
                    <a:pt x="34" y="147"/>
                  </a:lnTo>
                  <a:lnTo>
                    <a:pt x="23" y="140"/>
                  </a:lnTo>
                  <a:lnTo>
                    <a:pt x="18" y="133"/>
                  </a:lnTo>
                  <a:lnTo>
                    <a:pt x="18" y="133"/>
                  </a:lnTo>
                  <a:lnTo>
                    <a:pt x="18" y="133"/>
                  </a:lnTo>
                  <a:lnTo>
                    <a:pt x="18" y="133"/>
                  </a:lnTo>
                  <a:lnTo>
                    <a:pt x="18" y="133"/>
                  </a:lnTo>
                  <a:lnTo>
                    <a:pt x="9" y="117"/>
                  </a:lnTo>
                  <a:lnTo>
                    <a:pt x="5" y="108"/>
                  </a:lnTo>
                  <a:lnTo>
                    <a:pt x="3" y="99"/>
                  </a:lnTo>
                  <a:lnTo>
                    <a:pt x="3" y="99"/>
                  </a:lnTo>
                  <a:lnTo>
                    <a:pt x="2" y="88"/>
                  </a:lnTo>
                  <a:lnTo>
                    <a:pt x="0" y="79"/>
                  </a:lnTo>
                  <a:lnTo>
                    <a:pt x="0" y="79"/>
                  </a:lnTo>
                  <a:lnTo>
                    <a:pt x="0" y="76"/>
                  </a:lnTo>
                  <a:lnTo>
                    <a:pt x="2" y="73"/>
                  </a:lnTo>
                  <a:lnTo>
                    <a:pt x="2" y="73"/>
                  </a:lnTo>
                  <a:lnTo>
                    <a:pt x="9" y="68"/>
                  </a:lnTo>
                  <a:lnTo>
                    <a:pt x="13" y="66"/>
                  </a:lnTo>
                  <a:lnTo>
                    <a:pt x="18" y="65"/>
                  </a:lnTo>
                  <a:lnTo>
                    <a:pt x="44" y="65"/>
                  </a:lnTo>
                  <a:lnTo>
                    <a:pt x="44" y="44"/>
                  </a:lnTo>
                  <a:lnTo>
                    <a:pt x="44" y="44"/>
                  </a:lnTo>
                  <a:lnTo>
                    <a:pt x="52" y="52"/>
                  </a:lnTo>
                  <a:lnTo>
                    <a:pt x="52" y="52"/>
                  </a:lnTo>
                  <a:lnTo>
                    <a:pt x="52" y="52"/>
                  </a:lnTo>
                  <a:lnTo>
                    <a:pt x="52" y="52"/>
                  </a:lnTo>
                  <a:lnTo>
                    <a:pt x="52" y="52"/>
                  </a:lnTo>
                  <a:lnTo>
                    <a:pt x="52" y="52"/>
                  </a:lnTo>
                  <a:lnTo>
                    <a:pt x="52" y="52"/>
                  </a:lnTo>
                  <a:lnTo>
                    <a:pt x="54" y="52"/>
                  </a:lnTo>
                  <a:lnTo>
                    <a:pt x="54" y="52"/>
                  </a:lnTo>
                  <a:lnTo>
                    <a:pt x="54" y="52"/>
                  </a:lnTo>
                  <a:lnTo>
                    <a:pt x="54" y="52"/>
                  </a:lnTo>
                  <a:lnTo>
                    <a:pt x="54" y="52"/>
                  </a:lnTo>
                  <a:lnTo>
                    <a:pt x="54" y="52"/>
                  </a:lnTo>
                  <a:lnTo>
                    <a:pt x="54" y="52"/>
                  </a:lnTo>
                  <a:lnTo>
                    <a:pt x="54" y="52"/>
                  </a:lnTo>
                  <a:lnTo>
                    <a:pt x="55" y="52"/>
                  </a:lnTo>
                  <a:lnTo>
                    <a:pt x="55" y="52"/>
                  </a:lnTo>
                  <a:lnTo>
                    <a:pt x="60" y="50"/>
                  </a:lnTo>
                  <a:lnTo>
                    <a:pt x="60" y="50"/>
                  </a:lnTo>
                  <a:lnTo>
                    <a:pt x="64" y="50"/>
                  </a:lnTo>
                  <a:lnTo>
                    <a:pt x="64" y="50"/>
                  </a:lnTo>
                  <a:lnTo>
                    <a:pt x="65" y="50"/>
                  </a:lnTo>
                  <a:lnTo>
                    <a:pt x="65" y="50"/>
                  </a:lnTo>
                  <a:lnTo>
                    <a:pt x="65" y="50"/>
                  </a:lnTo>
                  <a:lnTo>
                    <a:pt x="65" y="50"/>
                  </a:lnTo>
                  <a:lnTo>
                    <a:pt x="65" y="50"/>
                  </a:lnTo>
                  <a:lnTo>
                    <a:pt x="65" y="50"/>
                  </a:lnTo>
                  <a:lnTo>
                    <a:pt x="65" y="50"/>
                  </a:lnTo>
                  <a:lnTo>
                    <a:pt x="65" y="50"/>
                  </a:lnTo>
                  <a:lnTo>
                    <a:pt x="65" y="50"/>
                  </a:lnTo>
                  <a:lnTo>
                    <a:pt x="65" y="50"/>
                  </a:lnTo>
                  <a:lnTo>
                    <a:pt x="65" y="50"/>
                  </a:lnTo>
                  <a:lnTo>
                    <a:pt x="65" y="50"/>
                  </a:lnTo>
                  <a:lnTo>
                    <a:pt x="65" y="50"/>
                  </a:lnTo>
                  <a:lnTo>
                    <a:pt x="65" y="50"/>
                  </a:lnTo>
                  <a:lnTo>
                    <a:pt x="65" y="50"/>
                  </a:lnTo>
                  <a:lnTo>
                    <a:pt x="67" y="50"/>
                  </a:lnTo>
                  <a:lnTo>
                    <a:pt x="67" y="50"/>
                  </a:lnTo>
                  <a:lnTo>
                    <a:pt x="81" y="56"/>
                  </a:lnTo>
                  <a:lnTo>
                    <a:pt x="99" y="62"/>
                  </a:lnTo>
                  <a:lnTo>
                    <a:pt x="99" y="62"/>
                  </a:lnTo>
                  <a:lnTo>
                    <a:pt x="110" y="69"/>
                  </a:lnTo>
                  <a:lnTo>
                    <a:pt x="115" y="72"/>
                  </a:lnTo>
                  <a:lnTo>
                    <a:pt x="118" y="78"/>
                  </a:lnTo>
                  <a:lnTo>
                    <a:pt x="118" y="78"/>
                  </a:lnTo>
                  <a:lnTo>
                    <a:pt x="118" y="78"/>
                  </a:lnTo>
                  <a:lnTo>
                    <a:pt x="118" y="78"/>
                  </a:lnTo>
                  <a:lnTo>
                    <a:pt x="119" y="78"/>
                  </a:lnTo>
                  <a:lnTo>
                    <a:pt x="119" y="78"/>
                  </a:lnTo>
                  <a:lnTo>
                    <a:pt x="119" y="78"/>
                  </a:lnTo>
                  <a:lnTo>
                    <a:pt x="119" y="78"/>
                  </a:lnTo>
                  <a:lnTo>
                    <a:pt x="119" y="78"/>
                  </a:lnTo>
                  <a:lnTo>
                    <a:pt x="119" y="78"/>
                  </a:lnTo>
                  <a:lnTo>
                    <a:pt x="120" y="82"/>
                  </a:lnTo>
                  <a:lnTo>
                    <a:pt x="123" y="84"/>
                  </a:lnTo>
                  <a:lnTo>
                    <a:pt x="131" y="85"/>
                  </a:lnTo>
                  <a:lnTo>
                    <a:pt x="131" y="85"/>
                  </a:lnTo>
                  <a:lnTo>
                    <a:pt x="131" y="85"/>
                  </a:lnTo>
                  <a:lnTo>
                    <a:pt x="131" y="85"/>
                  </a:lnTo>
                  <a:lnTo>
                    <a:pt x="133" y="85"/>
                  </a:lnTo>
                  <a:lnTo>
                    <a:pt x="133" y="85"/>
                  </a:lnTo>
                  <a:lnTo>
                    <a:pt x="133" y="85"/>
                  </a:lnTo>
                  <a:lnTo>
                    <a:pt x="133" y="85"/>
                  </a:lnTo>
                  <a:lnTo>
                    <a:pt x="133" y="85"/>
                  </a:lnTo>
                  <a:lnTo>
                    <a:pt x="133" y="85"/>
                  </a:lnTo>
                  <a:lnTo>
                    <a:pt x="138" y="84"/>
                  </a:lnTo>
                  <a:lnTo>
                    <a:pt x="141" y="79"/>
                  </a:lnTo>
                  <a:lnTo>
                    <a:pt x="144" y="75"/>
                  </a:lnTo>
                  <a:lnTo>
                    <a:pt x="145" y="71"/>
                  </a:lnTo>
                  <a:lnTo>
                    <a:pt x="145" y="71"/>
                  </a:lnTo>
                  <a:lnTo>
                    <a:pt x="144" y="69"/>
                  </a:lnTo>
                  <a:lnTo>
                    <a:pt x="144" y="69"/>
                  </a:lnTo>
                  <a:lnTo>
                    <a:pt x="144" y="69"/>
                  </a:lnTo>
                  <a:lnTo>
                    <a:pt x="144" y="69"/>
                  </a:lnTo>
                  <a:lnTo>
                    <a:pt x="144" y="69"/>
                  </a:lnTo>
                  <a:lnTo>
                    <a:pt x="144" y="69"/>
                  </a:lnTo>
                  <a:lnTo>
                    <a:pt x="142" y="68"/>
                  </a:lnTo>
                  <a:lnTo>
                    <a:pt x="142" y="68"/>
                  </a:lnTo>
                  <a:lnTo>
                    <a:pt x="139" y="69"/>
                  </a:lnTo>
                  <a:lnTo>
                    <a:pt x="139" y="69"/>
                  </a:lnTo>
                  <a:lnTo>
                    <a:pt x="139" y="69"/>
                  </a:lnTo>
                  <a:lnTo>
                    <a:pt x="139" y="69"/>
                  </a:lnTo>
                  <a:lnTo>
                    <a:pt x="139" y="69"/>
                  </a:lnTo>
                  <a:lnTo>
                    <a:pt x="139" y="69"/>
                  </a:lnTo>
                  <a:lnTo>
                    <a:pt x="139" y="69"/>
                  </a:lnTo>
                  <a:lnTo>
                    <a:pt x="139" y="69"/>
                  </a:lnTo>
                  <a:lnTo>
                    <a:pt x="136" y="71"/>
                  </a:lnTo>
                  <a:lnTo>
                    <a:pt x="136" y="71"/>
                  </a:lnTo>
                  <a:lnTo>
                    <a:pt x="136" y="71"/>
                  </a:lnTo>
                  <a:lnTo>
                    <a:pt x="136" y="71"/>
                  </a:lnTo>
                  <a:lnTo>
                    <a:pt x="133" y="71"/>
                  </a:lnTo>
                  <a:lnTo>
                    <a:pt x="133" y="71"/>
                  </a:lnTo>
                  <a:lnTo>
                    <a:pt x="133" y="69"/>
                  </a:lnTo>
                  <a:lnTo>
                    <a:pt x="133" y="69"/>
                  </a:lnTo>
                  <a:lnTo>
                    <a:pt x="133" y="69"/>
                  </a:lnTo>
                  <a:lnTo>
                    <a:pt x="133" y="69"/>
                  </a:lnTo>
                  <a:lnTo>
                    <a:pt x="133" y="69"/>
                  </a:lnTo>
                  <a:lnTo>
                    <a:pt x="128" y="66"/>
                  </a:lnTo>
                  <a:lnTo>
                    <a:pt x="120" y="59"/>
                  </a:lnTo>
                  <a:lnTo>
                    <a:pt x="115" y="52"/>
                  </a:lnTo>
                  <a:lnTo>
                    <a:pt x="113" y="49"/>
                  </a:lnTo>
                  <a:lnTo>
                    <a:pt x="112" y="46"/>
                  </a:lnTo>
                  <a:lnTo>
                    <a:pt x="112" y="46"/>
                  </a:lnTo>
                  <a:lnTo>
                    <a:pt x="113" y="44"/>
                  </a:lnTo>
                  <a:lnTo>
                    <a:pt x="113" y="44"/>
                  </a:lnTo>
                  <a:lnTo>
                    <a:pt x="116" y="36"/>
                  </a:lnTo>
                  <a:lnTo>
                    <a:pt x="118" y="27"/>
                  </a:lnTo>
                  <a:lnTo>
                    <a:pt x="118" y="27"/>
                  </a:lnTo>
                  <a:lnTo>
                    <a:pt x="118" y="21"/>
                  </a:lnTo>
                  <a:lnTo>
                    <a:pt x="120" y="14"/>
                  </a:lnTo>
                  <a:lnTo>
                    <a:pt x="123" y="8"/>
                  </a:lnTo>
                  <a:lnTo>
                    <a:pt x="129" y="2"/>
                  </a:lnTo>
                  <a:lnTo>
                    <a:pt x="129" y="2"/>
                  </a:lnTo>
                  <a:lnTo>
                    <a:pt x="129" y="2"/>
                  </a:lnTo>
                  <a:lnTo>
                    <a:pt x="129" y="2"/>
                  </a:lnTo>
                  <a:lnTo>
                    <a:pt x="135" y="1"/>
                  </a:lnTo>
                  <a:lnTo>
                    <a:pt x="144" y="0"/>
                  </a:lnTo>
                  <a:lnTo>
                    <a:pt x="144" y="0"/>
                  </a:lnTo>
                  <a:lnTo>
                    <a:pt x="144" y="0"/>
                  </a:lnTo>
                  <a:lnTo>
                    <a:pt x="144" y="0"/>
                  </a:lnTo>
                  <a:lnTo>
                    <a:pt x="149" y="0"/>
                  </a:lnTo>
                  <a:lnTo>
                    <a:pt x="149" y="0"/>
                  </a:lnTo>
                  <a:lnTo>
                    <a:pt x="149" y="0"/>
                  </a:lnTo>
                  <a:lnTo>
                    <a:pt x="149" y="0"/>
                  </a:lnTo>
                  <a:lnTo>
                    <a:pt x="149" y="0"/>
                  </a:lnTo>
                  <a:lnTo>
                    <a:pt x="149" y="0"/>
                  </a:lnTo>
                  <a:lnTo>
                    <a:pt x="151" y="2"/>
                  </a:lnTo>
                  <a:lnTo>
                    <a:pt x="154" y="4"/>
                  </a:lnTo>
                  <a:lnTo>
                    <a:pt x="154" y="4"/>
                  </a:lnTo>
                  <a:lnTo>
                    <a:pt x="160" y="10"/>
                  </a:lnTo>
                  <a:lnTo>
                    <a:pt x="160" y="10"/>
                  </a:lnTo>
                  <a:lnTo>
                    <a:pt x="161" y="7"/>
                  </a:lnTo>
                  <a:lnTo>
                    <a:pt x="161" y="7"/>
                  </a:lnTo>
                  <a:lnTo>
                    <a:pt x="161" y="4"/>
                  </a:lnTo>
                  <a:lnTo>
                    <a:pt x="160" y="1"/>
                  </a:lnTo>
                  <a:lnTo>
                    <a:pt x="160" y="1"/>
                  </a:lnTo>
                  <a:lnTo>
                    <a:pt x="165" y="2"/>
                  </a:lnTo>
                  <a:lnTo>
                    <a:pt x="165" y="2"/>
                  </a:lnTo>
                  <a:lnTo>
                    <a:pt x="173" y="7"/>
                  </a:lnTo>
                  <a:lnTo>
                    <a:pt x="181" y="13"/>
                  </a:lnTo>
                  <a:lnTo>
                    <a:pt x="190" y="18"/>
                  </a:lnTo>
                  <a:lnTo>
                    <a:pt x="197" y="23"/>
                  </a:lnTo>
                  <a:lnTo>
                    <a:pt x="197" y="23"/>
                  </a:lnTo>
                  <a:lnTo>
                    <a:pt x="194" y="33"/>
                  </a:lnTo>
                  <a:lnTo>
                    <a:pt x="193" y="42"/>
                  </a:lnTo>
                  <a:lnTo>
                    <a:pt x="193" y="42"/>
                  </a:lnTo>
                  <a:lnTo>
                    <a:pt x="191" y="50"/>
                  </a:lnTo>
                  <a:lnTo>
                    <a:pt x="191" y="59"/>
                  </a:lnTo>
                  <a:lnTo>
                    <a:pt x="190" y="66"/>
                  </a:lnTo>
                  <a:lnTo>
                    <a:pt x="186" y="75"/>
                  </a:lnTo>
                  <a:lnTo>
                    <a:pt x="186" y="75"/>
                  </a:lnTo>
                  <a:lnTo>
                    <a:pt x="184" y="79"/>
                  </a:lnTo>
                  <a:lnTo>
                    <a:pt x="184" y="82"/>
                  </a:lnTo>
                  <a:lnTo>
                    <a:pt x="184" y="82"/>
                  </a:lnTo>
                  <a:lnTo>
                    <a:pt x="186" y="88"/>
                  </a:lnTo>
                  <a:lnTo>
                    <a:pt x="187" y="94"/>
                  </a:lnTo>
                  <a:lnTo>
                    <a:pt x="187" y="94"/>
                  </a:lnTo>
                  <a:lnTo>
                    <a:pt x="171" y="97"/>
                  </a:lnTo>
                  <a:lnTo>
                    <a:pt x="162" y="99"/>
                  </a:lnTo>
                  <a:lnTo>
                    <a:pt x="155" y="102"/>
                  </a:lnTo>
                  <a:lnTo>
                    <a:pt x="155" y="102"/>
                  </a:lnTo>
                  <a:lnTo>
                    <a:pt x="154" y="105"/>
                  </a:lnTo>
                  <a:lnTo>
                    <a:pt x="151" y="110"/>
                  </a:lnTo>
                  <a:lnTo>
                    <a:pt x="148" y="120"/>
                  </a:lnTo>
                  <a:lnTo>
                    <a:pt x="148" y="120"/>
                  </a:lnTo>
                  <a:lnTo>
                    <a:pt x="141" y="118"/>
                  </a:lnTo>
                  <a:lnTo>
                    <a:pt x="141" y="118"/>
                  </a:lnTo>
                  <a:lnTo>
                    <a:pt x="139" y="118"/>
                  </a:lnTo>
                  <a:lnTo>
                    <a:pt x="139" y="118"/>
                  </a:lnTo>
                  <a:lnTo>
                    <a:pt x="138" y="118"/>
                  </a:lnTo>
                  <a:lnTo>
                    <a:pt x="138" y="118"/>
                  </a:lnTo>
                  <a:lnTo>
                    <a:pt x="132" y="121"/>
                  </a:lnTo>
                  <a:lnTo>
                    <a:pt x="126" y="124"/>
                  </a:lnTo>
                  <a:lnTo>
                    <a:pt x="118" y="134"/>
                  </a:lnTo>
                  <a:lnTo>
                    <a:pt x="118" y="134"/>
                  </a:lnTo>
                  <a:lnTo>
                    <a:pt x="113" y="140"/>
                  </a:lnTo>
                  <a:lnTo>
                    <a:pt x="107" y="147"/>
                  </a:lnTo>
                  <a:lnTo>
                    <a:pt x="103" y="153"/>
                  </a:lnTo>
                  <a:lnTo>
                    <a:pt x="100" y="155"/>
                  </a:lnTo>
                  <a:lnTo>
                    <a:pt x="99" y="15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18" name="Freeform 344"/>
            <p:cNvSpPr>
              <a:spLocks noEditPoints="1"/>
            </p:cNvSpPr>
            <p:nvPr/>
          </p:nvSpPr>
          <p:spPr bwMode="auto">
            <a:xfrm>
              <a:off x="4945063" y="4977241"/>
              <a:ext cx="153988" cy="134938"/>
            </a:xfrm>
            <a:custGeom>
              <a:avLst/>
              <a:gdLst>
                <a:gd name="T0" fmla="*/ 92 w 97"/>
                <a:gd name="T1" fmla="*/ 0 h 85"/>
                <a:gd name="T2" fmla="*/ 97 w 97"/>
                <a:gd name="T3" fmla="*/ 0 h 85"/>
                <a:gd name="T4" fmla="*/ 77 w 97"/>
                <a:gd name="T5" fmla="*/ 2 h 85"/>
                <a:gd name="T6" fmla="*/ 92 w 97"/>
                <a:gd name="T7" fmla="*/ 0 h 85"/>
                <a:gd name="T8" fmla="*/ 77 w 97"/>
                <a:gd name="T9" fmla="*/ 2 h 85"/>
                <a:gd name="T10" fmla="*/ 13 w 97"/>
                <a:gd name="T11" fmla="*/ 50 h 85"/>
                <a:gd name="T12" fmla="*/ 13 w 97"/>
                <a:gd name="T13" fmla="*/ 50 h 85"/>
                <a:gd name="T14" fmla="*/ 13 w 97"/>
                <a:gd name="T15" fmla="*/ 50 h 85"/>
                <a:gd name="T16" fmla="*/ 13 w 97"/>
                <a:gd name="T17" fmla="*/ 50 h 85"/>
                <a:gd name="T18" fmla="*/ 13 w 97"/>
                <a:gd name="T19" fmla="*/ 50 h 85"/>
                <a:gd name="T20" fmla="*/ 13 w 97"/>
                <a:gd name="T21" fmla="*/ 50 h 85"/>
                <a:gd name="T22" fmla="*/ 0 w 97"/>
                <a:gd name="T23" fmla="*/ 52 h 85"/>
                <a:gd name="T24" fmla="*/ 0 w 97"/>
                <a:gd name="T25" fmla="*/ 52 h 85"/>
                <a:gd name="T26" fmla="*/ 0 w 97"/>
                <a:gd name="T27" fmla="*/ 52 h 85"/>
                <a:gd name="T28" fmla="*/ 2 w 97"/>
                <a:gd name="T29" fmla="*/ 52 h 85"/>
                <a:gd name="T30" fmla="*/ 2 w 97"/>
                <a:gd name="T31" fmla="*/ 52 h 85"/>
                <a:gd name="T32" fmla="*/ 2 w 97"/>
                <a:gd name="T33" fmla="*/ 52 h 85"/>
                <a:gd name="T34" fmla="*/ 3 w 97"/>
                <a:gd name="T35" fmla="*/ 52 h 85"/>
                <a:gd name="T36" fmla="*/ 12 w 97"/>
                <a:gd name="T37" fmla="*/ 50 h 85"/>
                <a:gd name="T38" fmla="*/ 13 w 97"/>
                <a:gd name="T39" fmla="*/ 50 h 85"/>
                <a:gd name="T40" fmla="*/ 8 w 97"/>
                <a:gd name="T41" fmla="*/ 50 h 85"/>
                <a:gd name="T42" fmla="*/ 92 w 97"/>
                <a:gd name="T43" fmla="*/ 69 h 85"/>
                <a:gd name="T44" fmla="*/ 90 w 97"/>
                <a:gd name="T45" fmla="*/ 68 h 85"/>
                <a:gd name="T46" fmla="*/ 87 w 97"/>
                <a:gd name="T47" fmla="*/ 69 h 85"/>
                <a:gd name="T48" fmla="*/ 87 w 97"/>
                <a:gd name="T49" fmla="*/ 69 h 85"/>
                <a:gd name="T50" fmla="*/ 87 w 97"/>
                <a:gd name="T51" fmla="*/ 69 h 85"/>
                <a:gd name="T52" fmla="*/ 81 w 97"/>
                <a:gd name="T53" fmla="*/ 69 h 85"/>
                <a:gd name="T54" fmla="*/ 81 w 97"/>
                <a:gd name="T55" fmla="*/ 69 h 85"/>
                <a:gd name="T56" fmla="*/ 63 w 97"/>
                <a:gd name="T57" fmla="*/ 52 h 85"/>
                <a:gd name="T58" fmla="*/ 60 w 97"/>
                <a:gd name="T59" fmla="*/ 46 h 85"/>
                <a:gd name="T60" fmla="*/ 68 w 97"/>
                <a:gd name="T61" fmla="*/ 59 h 85"/>
                <a:gd name="T62" fmla="*/ 81 w 97"/>
                <a:gd name="T63" fmla="*/ 69 h 85"/>
                <a:gd name="T64" fmla="*/ 81 w 97"/>
                <a:gd name="T65" fmla="*/ 71 h 85"/>
                <a:gd name="T66" fmla="*/ 81 w 97"/>
                <a:gd name="T67" fmla="*/ 71 h 85"/>
                <a:gd name="T68" fmla="*/ 87 w 97"/>
                <a:gd name="T69" fmla="*/ 69 h 85"/>
                <a:gd name="T70" fmla="*/ 84 w 97"/>
                <a:gd name="T71" fmla="*/ 71 h 85"/>
                <a:gd name="T72" fmla="*/ 93 w 97"/>
                <a:gd name="T73" fmla="*/ 72 h 85"/>
                <a:gd name="T74" fmla="*/ 92 w 97"/>
                <a:gd name="T75" fmla="*/ 69 h 85"/>
                <a:gd name="T76" fmla="*/ 92 w 97"/>
                <a:gd name="T77" fmla="*/ 69 h 85"/>
                <a:gd name="T78" fmla="*/ 67 w 97"/>
                <a:gd name="T79" fmla="*/ 78 h 85"/>
                <a:gd name="T80" fmla="*/ 66 w 97"/>
                <a:gd name="T81" fmla="*/ 78 h 85"/>
                <a:gd name="T82" fmla="*/ 67 w 97"/>
                <a:gd name="T83" fmla="*/ 79 h 85"/>
                <a:gd name="T84" fmla="*/ 67 w 97"/>
                <a:gd name="T85" fmla="*/ 79 h 85"/>
                <a:gd name="T86" fmla="*/ 81 w 97"/>
                <a:gd name="T87" fmla="*/ 85 h 85"/>
                <a:gd name="T88" fmla="*/ 79 w 97"/>
                <a:gd name="T89" fmla="*/ 85 h 85"/>
                <a:gd name="T90" fmla="*/ 81 w 97"/>
                <a:gd name="T91" fmla="*/ 85 h 85"/>
                <a:gd name="T92" fmla="*/ 79 w 97"/>
                <a:gd name="T93"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7" h="85">
                  <a:moveTo>
                    <a:pt x="92" y="0"/>
                  </a:moveTo>
                  <a:lnTo>
                    <a:pt x="92" y="0"/>
                  </a:lnTo>
                  <a:lnTo>
                    <a:pt x="92" y="0"/>
                  </a:lnTo>
                  <a:close/>
                  <a:moveTo>
                    <a:pt x="97" y="0"/>
                  </a:moveTo>
                  <a:lnTo>
                    <a:pt x="97" y="0"/>
                  </a:lnTo>
                  <a:lnTo>
                    <a:pt x="97" y="0"/>
                  </a:lnTo>
                  <a:lnTo>
                    <a:pt x="97" y="0"/>
                  </a:lnTo>
                  <a:lnTo>
                    <a:pt x="97" y="0"/>
                  </a:lnTo>
                  <a:close/>
                  <a:moveTo>
                    <a:pt x="77" y="2"/>
                  </a:moveTo>
                  <a:lnTo>
                    <a:pt x="77" y="2"/>
                  </a:lnTo>
                  <a:lnTo>
                    <a:pt x="83" y="1"/>
                  </a:lnTo>
                  <a:lnTo>
                    <a:pt x="92" y="0"/>
                  </a:lnTo>
                  <a:lnTo>
                    <a:pt x="92" y="0"/>
                  </a:lnTo>
                  <a:lnTo>
                    <a:pt x="83" y="1"/>
                  </a:lnTo>
                  <a:lnTo>
                    <a:pt x="77" y="2"/>
                  </a:lnTo>
                  <a:close/>
                  <a:moveTo>
                    <a:pt x="13" y="50"/>
                  </a:moveTo>
                  <a:lnTo>
                    <a:pt x="13" y="50"/>
                  </a:lnTo>
                  <a:lnTo>
                    <a:pt x="13" y="50"/>
                  </a:lnTo>
                  <a:lnTo>
                    <a:pt x="13" y="50"/>
                  </a:lnTo>
                  <a:lnTo>
                    <a:pt x="13" y="50"/>
                  </a:lnTo>
                  <a:close/>
                  <a:moveTo>
                    <a:pt x="13" y="50"/>
                  </a:moveTo>
                  <a:lnTo>
                    <a:pt x="13" y="50"/>
                  </a:lnTo>
                  <a:lnTo>
                    <a:pt x="13" y="50"/>
                  </a:lnTo>
                  <a:lnTo>
                    <a:pt x="13" y="50"/>
                  </a:lnTo>
                  <a:lnTo>
                    <a:pt x="13" y="50"/>
                  </a:lnTo>
                  <a:close/>
                  <a:moveTo>
                    <a:pt x="13" y="50"/>
                  </a:moveTo>
                  <a:lnTo>
                    <a:pt x="13" y="50"/>
                  </a:lnTo>
                  <a:lnTo>
                    <a:pt x="13" y="50"/>
                  </a:lnTo>
                  <a:lnTo>
                    <a:pt x="13" y="50"/>
                  </a:lnTo>
                  <a:lnTo>
                    <a:pt x="13" y="50"/>
                  </a:lnTo>
                  <a:close/>
                  <a:moveTo>
                    <a:pt x="15" y="50"/>
                  </a:moveTo>
                  <a:lnTo>
                    <a:pt x="15" y="50"/>
                  </a:lnTo>
                  <a:lnTo>
                    <a:pt x="13" y="50"/>
                  </a:lnTo>
                  <a:lnTo>
                    <a:pt x="13" y="50"/>
                  </a:lnTo>
                  <a:lnTo>
                    <a:pt x="15" y="50"/>
                  </a:lnTo>
                  <a:close/>
                  <a:moveTo>
                    <a:pt x="0" y="52"/>
                  </a:moveTo>
                  <a:lnTo>
                    <a:pt x="0" y="52"/>
                  </a:lnTo>
                  <a:lnTo>
                    <a:pt x="0" y="52"/>
                  </a:lnTo>
                  <a:lnTo>
                    <a:pt x="0" y="52"/>
                  </a:lnTo>
                  <a:lnTo>
                    <a:pt x="0" y="52"/>
                  </a:lnTo>
                  <a:close/>
                  <a:moveTo>
                    <a:pt x="0" y="52"/>
                  </a:moveTo>
                  <a:lnTo>
                    <a:pt x="0" y="52"/>
                  </a:lnTo>
                  <a:close/>
                  <a:moveTo>
                    <a:pt x="2" y="52"/>
                  </a:moveTo>
                  <a:lnTo>
                    <a:pt x="2" y="52"/>
                  </a:lnTo>
                  <a:lnTo>
                    <a:pt x="2" y="52"/>
                  </a:lnTo>
                  <a:close/>
                  <a:moveTo>
                    <a:pt x="2" y="52"/>
                  </a:moveTo>
                  <a:lnTo>
                    <a:pt x="2" y="52"/>
                  </a:lnTo>
                  <a:lnTo>
                    <a:pt x="2" y="52"/>
                  </a:lnTo>
                  <a:close/>
                  <a:moveTo>
                    <a:pt x="3" y="52"/>
                  </a:moveTo>
                  <a:lnTo>
                    <a:pt x="3" y="52"/>
                  </a:lnTo>
                  <a:lnTo>
                    <a:pt x="2" y="52"/>
                  </a:lnTo>
                  <a:lnTo>
                    <a:pt x="2" y="52"/>
                  </a:lnTo>
                  <a:lnTo>
                    <a:pt x="3" y="52"/>
                  </a:lnTo>
                  <a:lnTo>
                    <a:pt x="3" y="52"/>
                  </a:lnTo>
                  <a:lnTo>
                    <a:pt x="8" y="50"/>
                  </a:lnTo>
                  <a:lnTo>
                    <a:pt x="8" y="50"/>
                  </a:lnTo>
                  <a:lnTo>
                    <a:pt x="12" y="50"/>
                  </a:lnTo>
                  <a:lnTo>
                    <a:pt x="12" y="50"/>
                  </a:lnTo>
                  <a:lnTo>
                    <a:pt x="13" y="50"/>
                  </a:lnTo>
                  <a:lnTo>
                    <a:pt x="13" y="50"/>
                  </a:lnTo>
                  <a:lnTo>
                    <a:pt x="12" y="50"/>
                  </a:lnTo>
                  <a:lnTo>
                    <a:pt x="12" y="50"/>
                  </a:lnTo>
                  <a:lnTo>
                    <a:pt x="8" y="50"/>
                  </a:lnTo>
                  <a:lnTo>
                    <a:pt x="8" y="50"/>
                  </a:lnTo>
                  <a:lnTo>
                    <a:pt x="3" y="52"/>
                  </a:lnTo>
                  <a:close/>
                  <a:moveTo>
                    <a:pt x="92" y="69"/>
                  </a:moveTo>
                  <a:lnTo>
                    <a:pt x="92" y="69"/>
                  </a:lnTo>
                  <a:lnTo>
                    <a:pt x="90" y="68"/>
                  </a:lnTo>
                  <a:lnTo>
                    <a:pt x="90" y="68"/>
                  </a:lnTo>
                  <a:lnTo>
                    <a:pt x="92" y="69"/>
                  </a:lnTo>
                  <a:close/>
                  <a:moveTo>
                    <a:pt x="87" y="69"/>
                  </a:moveTo>
                  <a:lnTo>
                    <a:pt x="87" y="69"/>
                  </a:lnTo>
                  <a:lnTo>
                    <a:pt x="87" y="69"/>
                  </a:lnTo>
                  <a:lnTo>
                    <a:pt x="87" y="69"/>
                  </a:lnTo>
                  <a:lnTo>
                    <a:pt x="87" y="69"/>
                  </a:lnTo>
                  <a:close/>
                  <a:moveTo>
                    <a:pt x="87" y="69"/>
                  </a:moveTo>
                  <a:lnTo>
                    <a:pt x="87" y="69"/>
                  </a:lnTo>
                  <a:lnTo>
                    <a:pt x="87" y="69"/>
                  </a:lnTo>
                  <a:lnTo>
                    <a:pt x="87" y="69"/>
                  </a:lnTo>
                  <a:lnTo>
                    <a:pt x="87" y="69"/>
                  </a:lnTo>
                  <a:close/>
                  <a:moveTo>
                    <a:pt x="81" y="69"/>
                  </a:moveTo>
                  <a:lnTo>
                    <a:pt x="81" y="69"/>
                  </a:lnTo>
                  <a:lnTo>
                    <a:pt x="81" y="69"/>
                  </a:lnTo>
                  <a:lnTo>
                    <a:pt x="81" y="69"/>
                  </a:lnTo>
                  <a:lnTo>
                    <a:pt x="76" y="66"/>
                  </a:lnTo>
                  <a:lnTo>
                    <a:pt x="68" y="59"/>
                  </a:lnTo>
                  <a:lnTo>
                    <a:pt x="63" y="52"/>
                  </a:lnTo>
                  <a:lnTo>
                    <a:pt x="61" y="49"/>
                  </a:lnTo>
                  <a:lnTo>
                    <a:pt x="60" y="46"/>
                  </a:lnTo>
                  <a:lnTo>
                    <a:pt x="60" y="46"/>
                  </a:lnTo>
                  <a:lnTo>
                    <a:pt x="61" y="49"/>
                  </a:lnTo>
                  <a:lnTo>
                    <a:pt x="63" y="52"/>
                  </a:lnTo>
                  <a:lnTo>
                    <a:pt x="68" y="59"/>
                  </a:lnTo>
                  <a:lnTo>
                    <a:pt x="76" y="66"/>
                  </a:lnTo>
                  <a:lnTo>
                    <a:pt x="81" y="69"/>
                  </a:lnTo>
                  <a:lnTo>
                    <a:pt x="81" y="69"/>
                  </a:lnTo>
                  <a:lnTo>
                    <a:pt x="81" y="69"/>
                  </a:lnTo>
                  <a:close/>
                  <a:moveTo>
                    <a:pt x="81" y="71"/>
                  </a:moveTo>
                  <a:lnTo>
                    <a:pt x="81" y="71"/>
                  </a:lnTo>
                  <a:lnTo>
                    <a:pt x="81" y="69"/>
                  </a:lnTo>
                  <a:lnTo>
                    <a:pt x="81" y="69"/>
                  </a:lnTo>
                  <a:lnTo>
                    <a:pt x="81" y="71"/>
                  </a:lnTo>
                  <a:close/>
                  <a:moveTo>
                    <a:pt x="84" y="71"/>
                  </a:moveTo>
                  <a:lnTo>
                    <a:pt x="84" y="71"/>
                  </a:lnTo>
                  <a:lnTo>
                    <a:pt x="87" y="69"/>
                  </a:lnTo>
                  <a:lnTo>
                    <a:pt x="87" y="69"/>
                  </a:lnTo>
                  <a:lnTo>
                    <a:pt x="84" y="71"/>
                  </a:lnTo>
                  <a:close/>
                  <a:moveTo>
                    <a:pt x="84" y="71"/>
                  </a:moveTo>
                  <a:lnTo>
                    <a:pt x="84" y="71"/>
                  </a:lnTo>
                  <a:lnTo>
                    <a:pt x="84" y="71"/>
                  </a:lnTo>
                  <a:close/>
                  <a:moveTo>
                    <a:pt x="93" y="72"/>
                  </a:moveTo>
                  <a:lnTo>
                    <a:pt x="93" y="72"/>
                  </a:lnTo>
                  <a:lnTo>
                    <a:pt x="92" y="69"/>
                  </a:lnTo>
                  <a:lnTo>
                    <a:pt x="92" y="69"/>
                  </a:lnTo>
                  <a:lnTo>
                    <a:pt x="92" y="69"/>
                  </a:lnTo>
                  <a:lnTo>
                    <a:pt x="92" y="69"/>
                  </a:lnTo>
                  <a:lnTo>
                    <a:pt x="92" y="69"/>
                  </a:lnTo>
                  <a:lnTo>
                    <a:pt x="92" y="69"/>
                  </a:lnTo>
                  <a:lnTo>
                    <a:pt x="93" y="72"/>
                  </a:lnTo>
                  <a:close/>
                  <a:moveTo>
                    <a:pt x="67" y="78"/>
                  </a:moveTo>
                  <a:lnTo>
                    <a:pt x="67" y="78"/>
                  </a:lnTo>
                  <a:lnTo>
                    <a:pt x="66" y="78"/>
                  </a:lnTo>
                  <a:lnTo>
                    <a:pt x="66" y="78"/>
                  </a:lnTo>
                  <a:lnTo>
                    <a:pt x="67" y="78"/>
                  </a:lnTo>
                  <a:close/>
                  <a:moveTo>
                    <a:pt x="67" y="79"/>
                  </a:moveTo>
                  <a:lnTo>
                    <a:pt x="67" y="79"/>
                  </a:lnTo>
                  <a:lnTo>
                    <a:pt x="67" y="78"/>
                  </a:lnTo>
                  <a:lnTo>
                    <a:pt x="67" y="78"/>
                  </a:lnTo>
                  <a:lnTo>
                    <a:pt x="67" y="79"/>
                  </a:lnTo>
                  <a:close/>
                  <a:moveTo>
                    <a:pt x="81" y="85"/>
                  </a:moveTo>
                  <a:lnTo>
                    <a:pt x="81" y="85"/>
                  </a:lnTo>
                  <a:lnTo>
                    <a:pt x="81" y="85"/>
                  </a:lnTo>
                  <a:lnTo>
                    <a:pt x="81" y="85"/>
                  </a:lnTo>
                  <a:lnTo>
                    <a:pt x="81" y="85"/>
                  </a:lnTo>
                  <a:close/>
                  <a:moveTo>
                    <a:pt x="79" y="85"/>
                  </a:moveTo>
                  <a:lnTo>
                    <a:pt x="79" y="85"/>
                  </a:lnTo>
                  <a:lnTo>
                    <a:pt x="81" y="85"/>
                  </a:lnTo>
                  <a:lnTo>
                    <a:pt x="81" y="85"/>
                  </a:lnTo>
                  <a:lnTo>
                    <a:pt x="79" y="85"/>
                  </a:lnTo>
                  <a:close/>
                  <a:moveTo>
                    <a:pt x="79" y="85"/>
                  </a:moveTo>
                  <a:lnTo>
                    <a:pt x="79" y="85"/>
                  </a:lnTo>
                  <a:lnTo>
                    <a:pt x="79" y="85"/>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19" name="Freeform 345"/>
            <p:cNvSpPr>
              <a:spLocks/>
            </p:cNvSpPr>
            <p:nvPr/>
          </p:nvSpPr>
          <p:spPr bwMode="auto">
            <a:xfrm>
              <a:off x="5091113" y="4977241"/>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20" name="Rectangle 346"/>
            <p:cNvSpPr>
              <a:spLocks noChangeArrowheads="1"/>
            </p:cNvSpPr>
            <p:nvPr/>
          </p:nvSpPr>
          <p:spPr bwMode="auto">
            <a:xfrm>
              <a:off x="5099051" y="4977241"/>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21" name="Freeform 347"/>
            <p:cNvSpPr>
              <a:spLocks/>
            </p:cNvSpPr>
            <p:nvPr/>
          </p:nvSpPr>
          <p:spPr bwMode="auto">
            <a:xfrm>
              <a:off x="5067301" y="4977241"/>
              <a:ext cx="23813" cy="3175"/>
            </a:xfrm>
            <a:custGeom>
              <a:avLst/>
              <a:gdLst>
                <a:gd name="T0" fmla="*/ 0 w 15"/>
                <a:gd name="T1" fmla="*/ 2 h 2"/>
                <a:gd name="T2" fmla="*/ 0 w 15"/>
                <a:gd name="T3" fmla="*/ 2 h 2"/>
                <a:gd name="T4" fmla="*/ 6 w 15"/>
                <a:gd name="T5" fmla="*/ 1 h 2"/>
                <a:gd name="T6" fmla="*/ 15 w 15"/>
                <a:gd name="T7" fmla="*/ 0 h 2"/>
                <a:gd name="T8" fmla="*/ 15 w 15"/>
                <a:gd name="T9" fmla="*/ 0 h 2"/>
                <a:gd name="T10" fmla="*/ 6 w 15"/>
                <a:gd name="T11" fmla="*/ 1 h 2"/>
                <a:gd name="T12" fmla="*/ 0 w 1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5" h="2">
                  <a:moveTo>
                    <a:pt x="0" y="2"/>
                  </a:moveTo>
                  <a:lnTo>
                    <a:pt x="0" y="2"/>
                  </a:lnTo>
                  <a:lnTo>
                    <a:pt x="6" y="1"/>
                  </a:lnTo>
                  <a:lnTo>
                    <a:pt x="15" y="0"/>
                  </a:lnTo>
                  <a:lnTo>
                    <a:pt x="15" y="0"/>
                  </a:lnTo>
                  <a:lnTo>
                    <a:pt x="6" y="1"/>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22" name="Rectangle 348"/>
            <p:cNvSpPr>
              <a:spLocks noChangeArrowheads="1"/>
            </p:cNvSpPr>
            <p:nvPr/>
          </p:nvSpPr>
          <p:spPr bwMode="auto">
            <a:xfrm>
              <a:off x="4965701" y="5056616"/>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23" name="Rectangle 349"/>
            <p:cNvSpPr>
              <a:spLocks noChangeArrowheads="1"/>
            </p:cNvSpPr>
            <p:nvPr/>
          </p:nvSpPr>
          <p:spPr bwMode="auto">
            <a:xfrm>
              <a:off x="4965701" y="5056616"/>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24" name="Rectangle 350"/>
            <p:cNvSpPr>
              <a:spLocks noChangeArrowheads="1"/>
            </p:cNvSpPr>
            <p:nvPr/>
          </p:nvSpPr>
          <p:spPr bwMode="auto">
            <a:xfrm>
              <a:off x="4965701" y="5056616"/>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25" name="Rectangle 351"/>
            <p:cNvSpPr>
              <a:spLocks noChangeArrowheads="1"/>
            </p:cNvSpPr>
            <p:nvPr/>
          </p:nvSpPr>
          <p:spPr bwMode="auto">
            <a:xfrm>
              <a:off x="4965701" y="5056616"/>
              <a:ext cx="3175"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26" name="Rectangle 352"/>
            <p:cNvSpPr>
              <a:spLocks noChangeArrowheads="1"/>
            </p:cNvSpPr>
            <p:nvPr/>
          </p:nvSpPr>
          <p:spPr bwMode="auto">
            <a:xfrm>
              <a:off x="4945063" y="5059791"/>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27" name="Line 353"/>
            <p:cNvSpPr>
              <a:spLocks noChangeShapeType="1"/>
            </p:cNvSpPr>
            <p:nvPr/>
          </p:nvSpPr>
          <p:spPr bwMode="auto">
            <a:xfrm>
              <a:off x="4945063" y="5059791"/>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28" name="Freeform 354"/>
            <p:cNvSpPr>
              <a:spLocks/>
            </p:cNvSpPr>
            <p:nvPr/>
          </p:nvSpPr>
          <p:spPr bwMode="auto">
            <a:xfrm>
              <a:off x="4948238" y="5059791"/>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29" name="Freeform 355"/>
            <p:cNvSpPr>
              <a:spLocks/>
            </p:cNvSpPr>
            <p:nvPr/>
          </p:nvSpPr>
          <p:spPr bwMode="auto">
            <a:xfrm>
              <a:off x="4948238" y="5059791"/>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30" name="Freeform 356"/>
            <p:cNvSpPr>
              <a:spLocks/>
            </p:cNvSpPr>
            <p:nvPr/>
          </p:nvSpPr>
          <p:spPr bwMode="auto">
            <a:xfrm>
              <a:off x="4948238" y="5056616"/>
              <a:ext cx="17463" cy="3175"/>
            </a:xfrm>
            <a:custGeom>
              <a:avLst/>
              <a:gdLst>
                <a:gd name="T0" fmla="*/ 1 w 11"/>
                <a:gd name="T1" fmla="*/ 2 h 2"/>
                <a:gd name="T2" fmla="*/ 1 w 11"/>
                <a:gd name="T3" fmla="*/ 2 h 2"/>
                <a:gd name="T4" fmla="*/ 0 w 11"/>
                <a:gd name="T5" fmla="*/ 2 h 2"/>
                <a:gd name="T6" fmla="*/ 0 w 11"/>
                <a:gd name="T7" fmla="*/ 2 h 2"/>
                <a:gd name="T8" fmla="*/ 1 w 11"/>
                <a:gd name="T9" fmla="*/ 2 h 2"/>
                <a:gd name="T10" fmla="*/ 1 w 11"/>
                <a:gd name="T11" fmla="*/ 2 h 2"/>
                <a:gd name="T12" fmla="*/ 6 w 11"/>
                <a:gd name="T13" fmla="*/ 0 h 2"/>
                <a:gd name="T14" fmla="*/ 6 w 11"/>
                <a:gd name="T15" fmla="*/ 0 h 2"/>
                <a:gd name="T16" fmla="*/ 10 w 11"/>
                <a:gd name="T17" fmla="*/ 0 h 2"/>
                <a:gd name="T18" fmla="*/ 10 w 11"/>
                <a:gd name="T19" fmla="*/ 0 h 2"/>
                <a:gd name="T20" fmla="*/ 11 w 11"/>
                <a:gd name="T21" fmla="*/ 0 h 2"/>
                <a:gd name="T22" fmla="*/ 11 w 11"/>
                <a:gd name="T23" fmla="*/ 0 h 2"/>
                <a:gd name="T24" fmla="*/ 10 w 11"/>
                <a:gd name="T25" fmla="*/ 0 h 2"/>
                <a:gd name="T26" fmla="*/ 10 w 11"/>
                <a:gd name="T27" fmla="*/ 0 h 2"/>
                <a:gd name="T28" fmla="*/ 6 w 11"/>
                <a:gd name="T29" fmla="*/ 0 h 2"/>
                <a:gd name="T30" fmla="*/ 6 w 11"/>
                <a:gd name="T31" fmla="*/ 0 h 2"/>
                <a:gd name="T32" fmla="*/ 1 w 11"/>
                <a:gd name="T3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2">
                  <a:moveTo>
                    <a:pt x="1" y="2"/>
                  </a:moveTo>
                  <a:lnTo>
                    <a:pt x="1" y="2"/>
                  </a:lnTo>
                  <a:lnTo>
                    <a:pt x="0" y="2"/>
                  </a:lnTo>
                  <a:lnTo>
                    <a:pt x="0" y="2"/>
                  </a:lnTo>
                  <a:lnTo>
                    <a:pt x="1" y="2"/>
                  </a:lnTo>
                  <a:lnTo>
                    <a:pt x="1" y="2"/>
                  </a:lnTo>
                  <a:lnTo>
                    <a:pt x="6" y="0"/>
                  </a:lnTo>
                  <a:lnTo>
                    <a:pt x="6" y="0"/>
                  </a:lnTo>
                  <a:lnTo>
                    <a:pt x="10" y="0"/>
                  </a:lnTo>
                  <a:lnTo>
                    <a:pt x="10" y="0"/>
                  </a:lnTo>
                  <a:lnTo>
                    <a:pt x="11" y="0"/>
                  </a:lnTo>
                  <a:lnTo>
                    <a:pt x="11" y="0"/>
                  </a:lnTo>
                  <a:lnTo>
                    <a:pt x="10" y="0"/>
                  </a:lnTo>
                  <a:lnTo>
                    <a:pt x="10" y="0"/>
                  </a:lnTo>
                  <a:lnTo>
                    <a:pt x="6" y="0"/>
                  </a:lnTo>
                  <a:lnTo>
                    <a:pt x="6" y="0"/>
                  </a:lnTo>
                  <a:lnTo>
                    <a:pt x="1"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31" name="Freeform 357"/>
            <p:cNvSpPr>
              <a:spLocks/>
            </p:cNvSpPr>
            <p:nvPr/>
          </p:nvSpPr>
          <p:spPr bwMode="auto">
            <a:xfrm>
              <a:off x="5087938" y="5085191"/>
              <a:ext cx="3175" cy="1588"/>
            </a:xfrm>
            <a:custGeom>
              <a:avLst/>
              <a:gdLst>
                <a:gd name="T0" fmla="*/ 2 w 2"/>
                <a:gd name="T1" fmla="*/ 1 h 1"/>
                <a:gd name="T2" fmla="*/ 2 w 2"/>
                <a:gd name="T3" fmla="*/ 1 h 1"/>
                <a:gd name="T4" fmla="*/ 0 w 2"/>
                <a:gd name="T5" fmla="*/ 0 h 1"/>
                <a:gd name="T6" fmla="*/ 0 w 2"/>
                <a:gd name="T7" fmla="*/ 0 h 1"/>
                <a:gd name="T8" fmla="*/ 2 w 2"/>
                <a:gd name="T9" fmla="*/ 1 h 1"/>
              </a:gdLst>
              <a:ahLst/>
              <a:cxnLst>
                <a:cxn ang="0">
                  <a:pos x="T0" y="T1"/>
                </a:cxn>
                <a:cxn ang="0">
                  <a:pos x="T2" y="T3"/>
                </a:cxn>
                <a:cxn ang="0">
                  <a:pos x="T4" y="T5"/>
                </a:cxn>
                <a:cxn ang="0">
                  <a:pos x="T6" y="T7"/>
                </a:cxn>
                <a:cxn ang="0">
                  <a:pos x="T8" y="T9"/>
                </a:cxn>
              </a:cxnLst>
              <a:rect l="0" t="0" r="r" b="b"/>
              <a:pathLst>
                <a:path w="2" h="1">
                  <a:moveTo>
                    <a:pt x="2" y="1"/>
                  </a:moveTo>
                  <a:lnTo>
                    <a:pt x="2" y="1"/>
                  </a:lnTo>
                  <a:lnTo>
                    <a:pt x="0" y="0"/>
                  </a:lnTo>
                  <a:lnTo>
                    <a:pt x="0" y="0"/>
                  </a:lnTo>
                  <a:lnTo>
                    <a:pt x="2"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32" name="Rectangle 358"/>
            <p:cNvSpPr>
              <a:spLocks noChangeArrowheads="1"/>
            </p:cNvSpPr>
            <p:nvPr/>
          </p:nvSpPr>
          <p:spPr bwMode="auto">
            <a:xfrm>
              <a:off x="5083176" y="5086779"/>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33" name="Rectangle 359"/>
            <p:cNvSpPr>
              <a:spLocks noChangeArrowheads="1"/>
            </p:cNvSpPr>
            <p:nvPr/>
          </p:nvSpPr>
          <p:spPr bwMode="auto">
            <a:xfrm>
              <a:off x="5083176" y="5086779"/>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34" name="Freeform 360"/>
            <p:cNvSpPr>
              <a:spLocks/>
            </p:cNvSpPr>
            <p:nvPr/>
          </p:nvSpPr>
          <p:spPr bwMode="auto">
            <a:xfrm>
              <a:off x="5040313" y="5050266"/>
              <a:ext cx="33338" cy="36513"/>
            </a:xfrm>
            <a:custGeom>
              <a:avLst/>
              <a:gdLst>
                <a:gd name="T0" fmla="*/ 21 w 21"/>
                <a:gd name="T1" fmla="*/ 23 h 23"/>
                <a:gd name="T2" fmla="*/ 21 w 21"/>
                <a:gd name="T3" fmla="*/ 23 h 23"/>
                <a:gd name="T4" fmla="*/ 21 w 21"/>
                <a:gd name="T5" fmla="*/ 23 h 23"/>
                <a:gd name="T6" fmla="*/ 21 w 21"/>
                <a:gd name="T7" fmla="*/ 23 h 23"/>
                <a:gd name="T8" fmla="*/ 16 w 21"/>
                <a:gd name="T9" fmla="*/ 20 h 23"/>
                <a:gd name="T10" fmla="*/ 8 w 21"/>
                <a:gd name="T11" fmla="*/ 13 h 23"/>
                <a:gd name="T12" fmla="*/ 3 w 21"/>
                <a:gd name="T13" fmla="*/ 6 h 23"/>
                <a:gd name="T14" fmla="*/ 1 w 21"/>
                <a:gd name="T15" fmla="*/ 3 h 23"/>
                <a:gd name="T16" fmla="*/ 0 w 21"/>
                <a:gd name="T17" fmla="*/ 0 h 23"/>
                <a:gd name="T18" fmla="*/ 0 w 21"/>
                <a:gd name="T19" fmla="*/ 0 h 23"/>
                <a:gd name="T20" fmla="*/ 1 w 21"/>
                <a:gd name="T21" fmla="*/ 3 h 23"/>
                <a:gd name="T22" fmla="*/ 3 w 21"/>
                <a:gd name="T23" fmla="*/ 6 h 23"/>
                <a:gd name="T24" fmla="*/ 8 w 21"/>
                <a:gd name="T25" fmla="*/ 13 h 23"/>
                <a:gd name="T26" fmla="*/ 16 w 21"/>
                <a:gd name="T27" fmla="*/ 20 h 23"/>
                <a:gd name="T28" fmla="*/ 21 w 21"/>
                <a:gd name="T29" fmla="*/ 23 h 23"/>
                <a:gd name="T30" fmla="*/ 21 w 21"/>
                <a:gd name="T31" fmla="*/ 23 h 23"/>
                <a:gd name="T32" fmla="*/ 21 w 21"/>
                <a:gd name="T33"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23">
                  <a:moveTo>
                    <a:pt x="21" y="23"/>
                  </a:moveTo>
                  <a:lnTo>
                    <a:pt x="21" y="23"/>
                  </a:lnTo>
                  <a:lnTo>
                    <a:pt x="21" y="23"/>
                  </a:lnTo>
                  <a:lnTo>
                    <a:pt x="21" y="23"/>
                  </a:lnTo>
                  <a:lnTo>
                    <a:pt x="16" y="20"/>
                  </a:lnTo>
                  <a:lnTo>
                    <a:pt x="8" y="13"/>
                  </a:lnTo>
                  <a:lnTo>
                    <a:pt x="3" y="6"/>
                  </a:lnTo>
                  <a:lnTo>
                    <a:pt x="1" y="3"/>
                  </a:lnTo>
                  <a:lnTo>
                    <a:pt x="0" y="0"/>
                  </a:lnTo>
                  <a:lnTo>
                    <a:pt x="0" y="0"/>
                  </a:lnTo>
                  <a:lnTo>
                    <a:pt x="1" y="3"/>
                  </a:lnTo>
                  <a:lnTo>
                    <a:pt x="3" y="6"/>
                  </a:lnTo>
                  <a:lnTo>
                    <a:pt x="8" y="13"/>
                  </a:lnTo>
                  <a:lnTo>
                    <a:pt x="16" y="20"/>
                  </a:lnTo>
                  <a:lnTo>
                    <a:pt x="21" y="23"/>
                  </a:lnTo>
                  <a:lnTo>
                    <a:pt x="21" y="23"/>
                  </a:lnTo>
                  <a:lnTo>
                    <a:pt x="21"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35" name="Rectangle 361"/>
            <p:cNvSpPr>
              <a:spLocks noChangeArrowheads="1"/>
            </p:cNvSpPr>
            <p:nvPr/>
          </p:nvSpPr>
          <p:spPr bwMode="auto">
            <a:xfrm>
              <a:off x="5073651" y="5086779"/>
              <a:ext cx="1588"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36" name="Freeform 362"/>
            <p:cNvSpPr>
              <a:spLocks/>
            </p:cNvSpPr>
            <p:nvPr/>
          </p:nvSpPr>
          <p:spPr bwMode="auto">
            <a:xfrm>
              <a:off x="5078413" y="5086779"/>
              <a:ext cx="4763" cy="3175"/>
            </a:xfrm>
            <a:custGeom>
              <a:avLst/>
              <a:gdLst>
                <a:gd name="T0" fmla="*/ 0 w 3"/>
                <a:gd name="T1" fmla="*/ 2 h 2"/>
                <a:gd name="T2" fmla="*/ 0 w 3"/>
                <a:gd name="T3" fmla="*/ 2 h 2"/>
                <a:gd name="T4" fmla="*/ 3 w 3"/>
                <a:gd name="T5" fmla="*/ 0 h 2"/>
                <a:gd name="T6" fmla="*/ 3 w 3"/>
                <a:gd name="T7" fmla="*/ 0 h 2"/>
                <a:gd name="T8" fmla="*/ 0 w 3"/>
                <a:gd name="T9" fmla="*/ 2 h 2"/>
              </a:gdLst>
              <a:ahLst/>
              <a:cxnLst>
                <a:cxn ang="0">
                  <a:pos x="T0" y="T1"/>
                </a:cxn>
                <a:cxn ang="0">
                  <a:pos x="T2" y="T3"/>
                </a:cxn>
                <a:cxn ang="0">
                  <a:pos x="T4" y="T5"/>
                </a:cxn>
                <a:cxn ang="0">
                  <a:pos x="T6" y="T7"/>
                </a:cxn>
                <a:cxn ang="0">
                  <a:pos x="T8" y="T9"/>
                </a:cxn>
              </a:cxnLst>
              <a:rect l="0" t="0" r="r" b="b"/>
              <a:pathLst>
                <a:path w="3" h="2">
                  <a:moveTo>
                    <a:pt x="0" y="2"/>
                  </a:moveTo>
                  <a:lnTo>
                    <a:pt x="0" y="2"/>
                  </a:lnTo>
                  <a:lnTo>
                    <a:pt x="3" y="0"/>
                  </a:lnTo>
                  <a:lnTo>
                    <a:pt x="3"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37" name="Freeform 363"/>
            <p:cNvSpPr>
              <a:spLocks/>
            </p:cNvSpPr>
            <p:nvPr/>
          </p:nvSpPr>
          <p:spPr bwMode="auto">
            <a:xfrm>
              <a:off x="5078413" y="508995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38" name="Freeform 364"/>
            <p:cNvSpPr>
              <a:spLocks/>
            </p:cNvSpPr>
            <p:nvPr/>
          </p:nvSpPr>
          <p:spPr bwMode="auto">
            <a:xfrm>
              <a:off x="5091113" y="5086779"/>
              <a:ext cx="1588" cy="4763"/>
            </a:xfrm>
            <a:custGeom>
              <a:avLst/>
              <a:gdLst>
                <a:gd name="T0" fmla="*/ 1 w 1"/>
                <a:gd name="T1" fmla="*/ 3 h 3"/>
                <a:gd name="T2" fmla="*/ 1 w 1"/>
                <a:gd name="T3" fmla="*/ 3 h 3"/>
                <a:gd name="T4" fmla="*/ 0 w 1"/>
                <a:gd name="T5" fmla="*/ 0 h 3"/>
                <a:gd name="T6" fmla="*/ 0 w 1"/>
                <a:gd name="T7" fmla="*/ 0 h 3"/>
                <a:gd name="T8" fmla="*/ 0 w 1"/>
                <a:gd name="T9" fmla="*/ 0 h 3"/>
                <a:gd name="T10" fmla="*/ 0 w 1"/>
                <a:gd name="T11" fmla="*/ 0 h 3"/>
                <a:gd name="T12" fmla="*/ 0 w 1"/>
                <a:gd name="T13" fmla="*/ 0 h 3"/>
                <a:gd name="T14" fmla="*/ 0 w 1"/>
                <a:gd name="T15" fmla="*/ 0 h 3"/>
                <a:gd name="T16" fmla="*/ 1 w 1"/>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3">
                  <a:moveTo>
                    <a:pt x="1" y="3"/>
                  </a:moveTo>
                  <a:lnTo>
                    <a:pt x="1" y="3"/>
                  </a:lnTo>
                  <a:lnTo>
                    <a:pt x="0" y="0"/>
                  </a:lnTo>
                  <a:lnTo>
                    <a:pt x="0" y="0"/>
                  </a:lnTo>
                  <a:lnTo>
                    <a:pt x="0" y="0"/>
                  </a:lnTo>
                  <a:lnTo>
                    <a:pt x="0" y="0"/>
                  </a:lnTo>
                  <a:lnTo>
                    <a:pt x="0" y="0"/>
                  </a:lnTo>
                  <a:lnTo>
                    <a:pt x="0" y="0"/>
                  </a:lnTo>
                  <a:lnTo>
                    <a:pt x="1"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39" name="Rectangle 365"/>
            <p:cNvSpPr>
              <a:spLocks noChangeArrowheads="1"/>
            </p:cNvSpPr>
            <p:nvPr/>
          </p:nvSpPr>
          <p:spPr bwMode="auto">
            <a:xfrm>
              <a:off x="5049838" y="5101066"/>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40" name="Rectangle 366"/>
            <p:cNvSpPr>
              <a:spLocks noChangeArrowheads="1"/>
            </p:cNvSpPr>
            <p:nvPr/>
          </p:nvSpPr>
          <p:spPr bwMode="auto">
            <a:xfrm>
              <a:off x="5051426" y="5101066"/>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41" name="Rectangle 367"/>
            <p:cNvSpPr>
              <a:spLocks noChangeArrowheads="1"/>
            </p:cNvSpPr>
            <p:nvPr/>
          </p:nvSpPr>
          <p:spPr bwMode="auto">
            <a:xfrm>
              <a:off x="5073651" y="5112179"/>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42" name="Rectangle 368"/>
            <p:cNvSpPr>
              <a:spLocks noChangeArrowheads="1"/>
            </p:cNvSpPr>
            <p:nvPr/>
          </p:nvSpPr>
          <p:spPr bwMode="auto">
            <a:xfrm>
              <a:off x="5070476" y="5112179"/>
              <a:ext cx="3175"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43" name="Freeform 369"/>
            <p:cNvSpPr>
              <a:spLocks/>
            </p:cNvSpPr>
            <p:nvPr/>
          </p:nvSpPr>
          <p:spPr bwMode="auto">
            <a:xfrm>
              <a:off x="5070476" y="511217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44" name="Freeform 370"/>
            <p:cNvSpPr>
              <a:spLocks/>
            </p:cNvSpPr>
            <p:nvPr/>
          </p:nvSpPr>
          <p:spPr bwMode="auto">
            <a:xfrm>
              <a:off x="5097463" y="5126466"/>
              <a:ext cx="61913" cy="41275"/>
            </a:xfrm>
            <a:custGeom>
              <a:avLst/>
              <a:gdLst>
                <a:gd name="T0" fmla="*/ 0 w 39"/>
                <a:gd name="T1" fmla="*/ 26 h 26"/>
                <a:gd name="T2" fmla="*/ 0 w 39"/>
                <a:gd name="T3" fmla="*/ 26 h 26"/>
                <a:gd name="T4" fmla="*/ 0 w 39"/>
                <a:gd name="T5" fmla="*/ 26 h 26"/>
                <a:gd name="T6" fmla="*/ 3 w 39"/>
                <a:gd name="T7" fmla="*/ 16 h 26"/>
                <a:gd name="T8" fmla="*/ 6 w 39"/>
                <a:gd name="T9" fmla="*/ 11 h 26"/>
                <a:gd name="T10" fmla="*/ 7 w 39"/>
                <a:gd name="T11" fmla="*/ 8 h 26"/>
                <a:gd name="T12" fmla="*/ 7 w 39"/>
                <a:gd name="T13" fmla="*/ 8 h 26"/>
                <a:gd name="T14" fmla="*/ 14 w 39"/>
                <a:gd name="T15" fmla="*/ 5 h 26"/>
                <a:gd name="T16" fmla="*/ 23 w 39"/>
                <a:gd name="T17" fmla="*/ 3 h 26"/>
                <a:gd name="T18" fmla="*/ 39 w 39"/>
                <a:gd name="T19" fmla="*/ 0 h 26"/>
                <a:gd name="T20" fmla="*/ 39 w 39"/>
                <a:gd name="T21" fmla="*/ 0 h 26"/>
                <a:gd name="T22" fmla="*/ 39 w 39"/>
                <a:gd name="T23" fmla="*/ 0 h 26"/>
                <a:gd name="T24" fmla="*/ 39 w 39"/>
                <a:gd name="T25" fmla="*/ 0 h 26"/>
                <a:gd name="T26" fmla="*/ 23 w 39"/>
                <a:gd name="T27" fmla="*/ 3 h 26"/>
                <a:gd name="T28" fmla="*/ 14 w 39"/>
                <a:gd name="T29" fmla="*/ 5 h 26"/>
                <a:gd name="T30" fmla="*/ 7 w 39"/>
                <a:gd name="T31" fmla="*/ 8 h 26"/>
                <a:gd name="T32" fmla="*/ 7 w 39"/>
                <a:gd name="T33" fmla="*/ 8 h 26"/>
                <a:gd name="T34" fmla="*/ 6 w 39"/>
                <a:gd name="T35" fmla="*/ 11 h 26"/>
                <a:gd name="T36" fmla="*/ 3 w 39"/>
                <a:gd name="T37" fmla="*/ 16 h 26"/>
                <a:gd name="T38" fmla="*/ 0 w 39"/>
                <a:gd name="T3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26">
                  <a:moveTo>
                    <a:pt x="0" y="26"/>
                  </a:moveTo>
                  <a:lnTo>
                    <a:pt x="0" y="26"/>
                  </a:lnTo>
                  <a:lnTo>
                    <a:pt x="0" y="26"/>
                  </a:lnTo>
                  <a:lnTo>
                    <a:pt x="3" y="16"/>
                  </a:lnTo>
                  <a:lnTo>
                    <a:pt x="6" y="11"/>
                  </a:lnTo>
                  <a:lnTo>
                    <a:pt x="7" y="8"/>
                  </a:lnTo>
                  <a:lnTo>
                    <a:pt x="7" y="8"/>
                  </a:lnTo>
                  <a:lnTo>
                    <a:pt x="14" y="5"/>
                  </a:lnTo>
                  <a:lnTo>
                    <a:pt x="23" y="3"/>
                  </a:lnTo>
                  <a:lnTo>
                    <a:pt x="39" y="0"/>
                  </a:lnTo>
                  <a:lnTo>
                    <a:pt x="39" y="0"/>
                  </a:lnTo>
                  <a:lnTo>
                    <a:pt x="39" y="0"/>
                  </a:lnTo>
                  <a:lnTo>
                    <a:pt x="39" y="0"/>
                  </a:lnTo>
                  <a:lnTo>
                    <a:pt x="23" y="3"/>
                  </a:lnTo>
                  <a:lnTo>
                    <a:pt x="14" y="5"/>
                  </a:lnTo>
                  <a:lnTo>
                    <a:pt x="7" y="8"/>
                  </a:lnTo>
                  <a:lnTo>
                    <a:pt x="7" y="8"/>
                  </a:lnTo>
                  <a:lnTo>
                    <a:pt x="6" y="11"/>
                  </a:lnTo>
                  <a:lnTo>
                    <a:pt x="3" y="16"/>
                  </a:lnTo>
                  <a:lnTo>
                    <a:pt x="0" y="26"/>
                  </a:lnTo>
                  <a:close/>
                </a:path>
              </a:pathLst>
            </a:custGeom>
            <a:solidFill>
              <a:srgbClr val="60B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45" name="Freeform 371"/>
            <p:cNvSpPr>
              <a:spLocks/>
            </p:cNvSpPr>
            <p:nvPr/>
          </p:nvSpPr>
          <p:spPr bwMode="auto">
            <a:xfrm>
              <a:off x="5097463" y="5126466"/>
              <a:ext cx="61913" cy="41275"/>
            </a:xfrm>
            <a:custGeom>
              <a:avLst/>
              <a:gdLst>
                <a:gd name="T0" fmla="*/ 0 w 39"/>
                <a:gd name="T1" fmla="*/ 26 h 26"/>
                <a:gd name="T2" fmla="*/ 0 w 39"/>
                <a:gd name="T3" fmla="*/ 26 h 26"/>
                <a:gd name="T4" fmla="*/ 0 w 39"/>
                <a:gd name="T5" fmla="*/ 26 h 26"/>
                <a:gd name="T6" fmla="*/ 3 w 39"/>
                <a:gd name="T7" fmla="*/ 16 h 26"/>
                <a:gd name="T8" fmla="*/ 6 w 39"/>
                <a:gd name="T9" fmla="*/ 11 h 26"/>
                <a:gd name="T10" fmla="*/ 7 w 39"/>
                <a:gd name="T11" fmla="*/ 8 h 26"/>
                <a:gd name="T12" fmla="*/ 7 w 39"/>
                <a:gd name="T13" fmla="*/ 8 h 26"/>
                <a:gd name="T14" fmla="*/ 14 w 39"/>
                <a:gd name="T15" fmla="*/ 5 h 26"/>
                <a:gd name="T16" fmla="*/ 23 w 39"/>
                <a:gd name="T17" fmla="*/ 3 h 26"/>
                <a:gd name="T18" fmla="*/ 39 w 39"/>
                <a:gd name="T19" fmla="*/ 0 h 26"/>
                <a:gd name="T20" fmla="*/ 39 w 39"/>
                <a:gd name="T21" fmla="*/ 0 h 26"/>
                <a:gd name="T22" fmla="*/ 39 w 39"/>
                <a:gd name="T23" fmla="*/ 0 h 26"/>
                <a:gd name="T24" fmla="*/ 39 w 39"/>
                <a:gd name="T25" fmla="*/ 0 h 26"/>
                <a:gd name="T26" fmla="*/ 23 w 39"/>
                <a:gd name="T27" fmla="*/ 3 h 26"/>
                <a:gd name="T28" fmla="*/ 14 w 39"/>
                <a:gd name="T29" fmla="*/ 5 h 26"/>
                <a:gd name="T30" fmla="*/ 7 w 39"/>
                <a:gd name="T31" fmla="*/ 8 h 26"/>
                <a:gd name="T32" fmla="*/ 7 w 39"/>
                <a:gd name="T33" fmla="*/ 8 h 26"/>
                <a:gd name="T34" fmla="*/ 6 w 39"/>
                <a:gd name="T35" fmla="*/ 11 h 26"/>
                <a:gd name="T36" fmla="*/ 3 w 39"/>
                <a:gd name="T37" fmla="*/ 16 h 26"/>
                <a:gd name="T38" fmla="*/ 0 w 39"/>
                <a:gd name="T3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26">
                  <a:moveTo>
                    <a:pt x="0" y="26"/>
                  </a:moveTo>
                  <a:lnTo>
                    <a:pt x="0" y="26"/>
                  </a:lnTo>
                  <a:lnTo>
                    <a:pt x="0" y="26"/>
                  </a:lnTo>
                  <a:lnTo>
                    <a:pt x="3" y="16"/>
                  </a:lnTo>
                  <a:lnTo>
                    <a:pt x="6" y="11"/>
                  </a:lnTo>
                  <a:lnTo>
                    <a:pt x="7" y="8"/>
                  </a:lnTo>
                  <a:lnTo>
                    <a:pt x="7" y="8"/>
                  </a:lnTo>
                  <a:lnTo>
                    <a:pt x="14" y="5"/>
                  </a:lnTo>
                  <a:lnTo>
                    <a:pt x="23" y="3"/>
                  </a:lnTo>
                  <a:lnTo>
                    <a:pt x="39" y="0"/>
                  </a:lnTo>
                  <a:lnTo>
                    <a:pt x="39" y="0"/>
                  </a:lnTo>
                  <a:lnTo>
                    <a:pt x="39" y="0"/>
                  </a:lnTo>
                  <a:lnTo>
                    <a:pt x="39" y="0"/>
                  </a:lnTo>
                  <a:lnTo>
                    <a:pt x="23" y="3"/>
                  </a:lnTo>
                  <a:lnTo>
                    <a:pt x="14" y="5"/>
                  </a:lnTo>
                  <a:lnTo>
                    <a:pt x="7" y="8"/>
                  </a:lnTo>
                  <a:lnTo>
                    <a:pt x="7" y="8"/>
                  </a:lnTo>
                  <a:lnTo>
                    <a:pt x="6" y="11"/>
                  </a:lnTo>
                  <a:lnTo>
                    <a:pt x="3" y="1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46" name="Freeform 372"/>
            <p:cNvSpPr>
              <a:spLocks noEditPoints="1"/>
            </p:cNvSpPr>
            <p:nvPr/>
          </p:nvSpPr>
          <p:spPr bwMode="auto">
            <a:xfrm>
              <a:off x="4929188" y="5164566"/>
              <a:ext cx="168275" cy="60325"/>
            </a:xfrm>
            <a:custGeom>
              <a:avLst/>
              <a:gdLst>
                <a:gd name="T0" fmla="*/ 106 w 106"/>
                <a:gd name="T1" fmla="*/ 2 h 38"/>
                <a:gd name="T2" fmla="*/ 106 w 106"/>
                <a:gd name="T3" fmla="*/ 2 h 38"/>
                <a:gd name="T4" fmla="*/ 97 w 106"/>
                <a:gd name="T5" fmla="*/ 0 h 38"/>
                <a:gd name="T6" fmla="*/ 97 w 106"/>
                <a:gd name="T7" fmla="*/ 0 h 38"/>
                <a:gd name="T8" fmla="*/ 97 w 106"/>
                <a:gd name="T9" fmla="*/ 0 h 38"/>
                <a:gd name="T10" fmla="*/ 97 w 106"/>
                <a:gd name="T11" fmla="*/ 0 h 38"/>
                <a:gd name="T12" fmla="*/ 99 w 106"/>
                <a:gd name="T13" fmla="*/ 0 h 38"/>
                <a:gd name="T14" fmla="*/ 99 w 106"/>
                <a:gd name="T15" fmla="*/ 0 h 38"/>
                <a:gd name="T16" fmla="*/ 106 w 106"/>
                <a:gd name="T17" fmla="*/ 2 h 38"/>
                <a:gd name="T18" fmla="*/ 106 w 106"/>
                <a:gd name="T19" fmla="*/ 2 h 38"/>
                <a:gd name="T20" fmla="*/ 9 w 106"/>
                <a:gd name="T21" fmla="*/ 34 h 38"/>
                <a:gd name="T22" fmla="*/ 9 w 106"/>
                <a:gd name="T23" fmla="*/ 34 h 38"/>
                <a:gd name="T24" fmla="*/ 9 w 106"/>
                <a:gd name="T25" fmla="*/ 34 h 38"/>
                <a:gd name="T26" fmla="*/ 5 w 106"/>
                <a:gd name="T27" fmla="*/ 34 h 38"/>
                <a:gd name="T28" fmla="*/ 5 w 106"/>
                <a:gd name="T29" fmla="*/ 34 h 38"/>
                <a:gd name="T30" fmla="*/ 9 w 106"/>
                <a:gd name="T31" fmla="*/ 34 h 38"/>
                <a:gd name="T32" fmla="*/ 9 w 106"/>
                <a:gd name="T33" fmla="*/ 34 h 38"/>
                <a:gd name="T34" fmla="*/ 5 w 106"/>
                <a:gd name="T35" fmla="*/ 34 h 38"/>
                <a:gd name="T36" fmla="*/ 0 w 106"/>
                <a:gd name="T37" fmla="*/ 34 h 38"/>
                <a:gd name="T38" fmla="*/ 0 w 106"/>
                <a:gd name="T39" fmla="*/ 34 h 38"/>
                <a:gd name="T40" fmla="*/ 0 w 106"/>
                <a:gd name="T41" fmla="*/ 34 h 38"/>
                <a:gd name="T42" fmla="*/ 2 w 106"/>
                <a:gd name="T43" fmla="*/ 34 h 38"/>
                <a:gd name="T44" fmla="*/ 2 w 106"/>
                <a:gd name="T45" fmla="*/ 34 h 38"/>
                <a:gd name="T46" fmla="*/ 0 w 106"/>
                <a:gd name="T47" fmla="*/ 34 h 38"/>
                <a:gd name="T48" fmla="*/ 57 w 106"/>
                <a:gd name="T49" fmla="*/ 38 h 38"/>
                <a:gd name="T50" fmla="*/ 57 w 106"/>
                <a:gd name="T51" fmla="*/ 38 h 38"/>
                <a:gd name="T52" fmla="*/ 39 w 106"/>
                <a:gd name="T53" fmla="*/ 37 h 38"/>
                <a:gd name="T54" fmla="*/ 20 w 106"/>
                <a:gd name="T55" fmla="*/ 34 h 38"/>
                <a:gd name="T56" fmla="*/ 20 w 106"/>
                <a:gd name="T57" fmla="*/ 34 h 38"/>
                <a:gd name="T58" fmla="*/ 20 w 106"/>
                <a:gd name="T59" fmla="*/ 34 h 38"/>
                <a:gd name="T60" fmla="*/ 20 w 106"/>
                <a:gd name="T61" fmla="*/ 34 h 38"/>
                <a:gd name="T62" fmla="*/ 20 w 106"/>
                <a:gd name="T63" fmla="*/ 34 h 38"/>
                <a:gd name="T64" fmla="*/ 20 w 106"/>
                <a:gd name="T65" fmla="*/ 34 h 38"/>
                <a:gd name="T66" fmla="*/ 39 w 106"/>
                <a:gd name="T67" fmla="*/ 37 h 38"/>
                <a:gd name="T68" fmla="*/ 57 w 106"/>
                <a:gd name="T69" fmla="*/ 38 h 38"/>
                <a:gd name="T70" fmla="*/ 57 w 106"/>
                <a:gd name="T71" fmla="*/ 38 h 38"/>
                <a:gd name="T72" fmla="*/ 58 w 106"/>
                <a:gd name="T73" fmla="*/ 37 h 38"/>
                <a:gd name="T74" fmla="*/ 61 w 106"/>
                <a:gd name="T75" fmla="*/ 35 h 38"/>
                <a:gd name="T76" fmla="*/ 65 w 106"/>
                <a:gd name="T77" fmla="*/ 29 h 38"/>
                <a:gd name="T78" fmla="*/ 71 w 106"/>
                <a:gd name="T79" fmla="*/ 22 h 38"/>
                <a:gd name="T80" fmla="*/ 76 w 106"/>
                <a:gd name="T81" fmla="*/ 16 h 38"/>
                <a:gd name="T82" fmla="*/ 76 w 106"/>
                <a:gd name="T83" fmla="*/ 16 h 38"/>
                <a:gd name="T84" fmla="*/ 84 w 106"/>
                <a:gd name="T85" fmla="*/ 6 h 38"/>
                <a:gd name="T86" fmla="*/ 90 w 106"/>
                <a:gd name="T87" fmla="*/ 3 h 38"/>
                <a:gd name="T88" fmla="*/ 96 w 106"/>
                <a:gd name="T89" fmla="*/ 0 h 38"/>
                <a:gd name="T90" fmla="*/ 96 w 106"/>
                <a:gd name="T91" fmla="*/ 0 h 38"/>
                <a:gd name="T92" fmla="*/ 90 w 106"/>
                <a:gd name="T93" fmla="*/ 3 h 38"/>
                <a:gd name="T94" fmla="*/ 84 w 106"/>
                <a:gd name="T95" fmla="*/ 6 h 38"/>
                <a:gd name="T96" fmla="*/ 76 w 106"/>
                <a:gd name="T97" fmla="*/ 16 h 38"/>
                <a:gd name="T98" fmla="*/ 76 w 106"/>
                <a:gd name="T99" fmla="*/ 16 h 38"/>
                <a:gd name="T100" fmla="*/ 71 w 106"/>
                <a:gd name="T101" fmla="*/ 22 h 38"/>
                <a:gd name="T102" fmla="*/ 65 w 106"/>
                <a:gd name="T103" fmla="*/ 29 h 38"/>
                <a:gd name="T104" fmla="*/ 61 w 106"/>
                <a:gd name="T105" fmla="*/ 35 h 38"/>
                <a:gd name="T106" fmla="*/ 58 w 106"/>
                <a:gd name="T107" fmla="*/ 37 h 38"/>
                <a:gd name="T108" fmla="*/ 57 w 106"/>
                <a:gd name="T10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 h="38">
                  <a:moveTo>
                    <a:pt x="106" y="2"/>
                  </a:moveTo>
                  <a:lnTo>
                    <a:pt x="106" y="2"/>
                  </a:lnTo>
                  <a:lnTo>
                    <a:pt x="97" y="0"/>
                  </a:lnTo>
                  <a:lnTo>
                    <a:pt x="97" y="0"/>
                  </a:lnTo>
                  <a:lnTo>
                    <a:pt x="97" y="0"/>
                  </a:lnTo>
                  <a:lnTo>
                    <a:pt x="97" y="0"/>
                  </a:lnTo>
                  <a:lnTo>
                    <a:pt x="99" y="0"/>
                  </a:lnTo>
                  <a:lnTo>
                    <a:pt x="99" y="0"/>
                  </a:lnTo>
                  <a:lnTo>
                    <a:pt x="106" y="2"/>
                  </a:lnTo>
                  <a:lnTo>
                    <a:pt x="106" y="2"/>
                  </a:lnTo>
                  <a:close/>
                  <a:moveTo>
                    <a:pt x="9" y="34"/>
                  </a:moveTo>
                  <a:lnTo>
                    <a:pt x="9" y="34"/>
                  </a:lnTo>
                  <a:lnTo>
                    <a:pt x="9" y="34"/>
                  </a:lnTo>
                  <a:close/>
                  <a:moveTo>
                    <a:pt x="5" y="34"/>
                  </a:moveTo>
                  <a:lnTo>
                    <a:pt x="5" y="34"/>
                  </a:lnTo>
                  <a:lnTo>
                    <a:pt x="9" y="34"/>
                  </a:lnTo>
                  <a:lnTo>
                    <a:pt x="9" y="34"/>
                  </a:lnTo>
                  <a:lnTo>
                    <a:pt x="5" y="34"/>
                  </a:lnTo>
                  <a:close/>
                  <a:moveTo>
                    <a:pt x="0" y="34"/>
                  </a:moveTo>
                  <a:lnTo>
                    <a:pt x="0" y="34"/>
                  </a:lnTo>
                  <a:lnTo>
                    <a:pt x="0" y="34"/>
                  </a:lnTo>
                  <a:lnTo>
                    <a:pt x="2" y="34"/>
                  </a:lnTo>
                  <a:lnTo>
                    <a:pt x="2" y="34"/>
                  </a:lnTo>
                  <a:lnTo>
                    <a:pt x="0" y="34"/>
                  </a:lnTo>
                  <a:close/>
                  <a:moveTo>
                    <a:pt x="57" y="38"/>
                  </a:moveTo>
                  <a:lnTo>
                    <a:pt x="57" y="38"/>
                  </a:lnTo>
                  <a:lnTo>
                    <a:pt x="39" y="37"/>
                  </a:lnTo>
                  <a:lnTo>
                    <a:pt x="20" y="34"/>
                  </a:lnTo>
                  <a:lnTo>
                    <a:pt x="20" y="34"/>
                  </a:lnTo>
                  <a:lnTo>
                    <a:pt x="20" y="34"/>
                  </a:lnTo>
                  <a:lnTo>
                    <a:pt x="20" y="34"/>
                  </a:lnTo>
                  <a:lnTo>
                    <a:pt x="20" y="34"/>
                  </a:lnTo>
                  <a:lnTo>
                    <a:pt x="20" y="34"/>
                  </a:lnTo>
                  <a:lnTo>
                    <a:pt x="39" y="37"/>
                  </a:lnTo>
                  <a:lnTo>
                    <a:pt x="57" y="38"/>
                  </a:lnTo>
                  <a:lnTo>
                    <a:pt x="57" y="38"/>
                  </a:lnTo>
                  <a:lnTo>
                    <a:pt x="58" y="37"/>
                  </a:lnTo>
                  <a:lnTo>
                    <a:pt x="61" y="35"/>
                  </a:lnTo>
                  <a:lnTo>
                    <a:pt x="65" y="29"/>
                  </a:lnTo>
                  <a:lnTo>
                    <a:pt x="71" y="22"/>
                  </a:lnTo>
                  <a:lnTo>
                    <a:pt x="76" y="16"/>
                  </a:lnTo>
                  <a:lnTo>
                    <a:pt x="76" y="16"/>
                  </a:lnTo>
                  <a:lnTo>
                    <a:pt x="84" y="6"/>
                  </a:lnTo>
                  <a:lnTo>
                    <a:pt x="90" y="3"/>
                  </a:lnTo>
                  <a:lnTo>
                    <a:pt x="96" y="0"/>
                  </a:lnTo>
                  <a:lnTo>
                    <a:pt x="96" y="0"/>
                  </a:lnTo>
                  <a:lnTo>
                    <a:pt x="90" y="3"/>
                  </a:lnTo>
                  <a:lnTo>
                    <a:pt x="84" y="6"/>
                  </a:lnTo>
                  <a:lnTo>
                    <a:pt x="76" y="16"/>
                  </a:lnTo>
                  <a:lnTo>
                    <a:pt x="76" y="16"/>
                  </a:lnTo>
                  <a:lnTo>
                    <a:pt x="71" y="22"/>
                  </a:lnTo>
                  <a:lnTo>
                    <a:pt x="65" y="29"/>
                  </a:lnTo>
                  <a:lnTo>
                    <a:pt x="61" y="35"/>
                  </a:lnTo>
                  <a:lnTo>
                    <a:pt x="58" y="37"/>
                  </a:lnTo>
                  <a:lnTo>
                    <a:pt x="57" y="38"/>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47" name="Freeform 373"/>
            <p:cNvSpPr>
              <a:spLocks/>
            </p:cNvSpPr>
            <p:nvPr/>
          </p:nvSpPr>
          <p:spPr bwMode="auto">
            <a:xfrm>
              <a:off x="5083176" y="5164566"/>
              <a:ext cx="14288" cy="3175"/>
            </a:xfrm>
            <a:custGeom>
              <a:avLst/>
              <a:gdLst>
                <a:gd name="T0" fmla="*/ 9 w 9"/>
                <a:gd name="T1" fmla="*/ 2 h 2"/>
                <a:gd name="T2" fmla="*/ 9 w 9"/>
                <a:gd name="T3" fmla="*/ 2 h 2"/>
                <a:gd name="T4" fmla="*/ 0 w 9"/>
                <a:gd name="T5" fmla="*/ 0 h 2"/>
                <a:gd name="T6" fmla="*/ 0 w 9"/>
                <a:gd name="T7" fmla="*/ 0 h 2"/>
                <a:gd name="T8" fmla="*/ 0 w 9"/>
                <a:gd name="T9" fmla="*/ 0 h 2"/>
                <a:gd name="T10" fmla="*/ 0 w 9"/>
                <a:gd name="T11" fmla="*/ 0 h 2"/>
                <a:gd name="T12" fmla="*/ 2 w 9"/>
                <a:gd name="T13" fmla="*/ 0 h 2"/>
                <a:gd name="T14" fmla="*/ 2 w 9"/>
                <a:gd name="T15" fmla="*/ 0 h 2"/>
                <a:gd name="T16" fmla="*/ 9 w 9"/>
                <a:gd name="T17" fmla="*/ 2 h 2"/>
                <a:gd name="T18" fmla="*/ 9 w 9"/>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2">
                  <a:moveTo>
                    <a:pt x="9" y="2"/>
                  </a:moveTo>
                  <a:lnTo>
                    <a:pt x="9" y="2"/>
                  </a:lnTo>
                  <a:lnTo>
                    <a:pt x="0" y="0"/>
                  </a:lnTo>
                  <a:lnTo>
                    <a:pt x="0" y="0"/>
                  </a:lnTo>
                  <a:lnTo>
                    <a:pt x="0" y="0"/>
                  </a:lnTo>
                  <a:lnTo>
                    <a:pt x="0" y="0"/>
                  </a:lnTo>
                  <a:lnTo>
                    <a:pt x="2" y="0"/>
                  </a:lnTo>
                  <a:lnTo>
                    <a:pt x="2" y="0"/>
                  </a:lnTo>
                  <a:lnTo>
                    <a:pt x="9" y="2"/>
                  </a:lnTo>
                  <a:lnTo>
                    <a:pt x="9"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48" name="Freeform 374"/>
            <p:cNvSpPr>
              <a:spLocks/>
            </p:cNvSpPr>
            <p:nvPr/>
          </p:nvSpPr>
          <p:spPr bwMode="auto">
            <a:xfrm>
              <a:off x="4943476" y="5218541"/>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49" name="Rectangle 375"/>
            <p:cNvSpPr>
              <a:spLocks noChangeArrowheads="1"/>
            </p:cNvSpPr>
            <p:nvPr/>
          </p:nvSpPr>
          <p:spPr bwMode="auto">
            <a:xfrm>
              <a:off x="4937126" y="5218541"/>
              <a:ext cx="6350"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50" name="Freeform 376"/>
            <p:cNvSpPr>
              <a:spLocks/>
            </p:cNvSpPr>
            <p:nvPr/>
          </p:nvSpPr>
          <p:spPr bwMode="auto">
            <a:xfrm>
              <a:off x="4929188" y="5218541"/>
              <a:ext cx="3175"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51" name="Freeform 377"/>
            <p:cNvSpPr>
              <a:spLocks/>
            </p:cNvSpPr>
            <p:nvPr/>
          </p:nvSpPr>
          <p:spPr bwMode="auto">
            <a:xfrm>
              <a:off x="4960938" y="5164566"/>
              <a:ext cx="120650" cy="60325"/>
            </a:xfrm>
            <a:custGeom>
              <a:avLst/>
              <a:gdLst>
                <a:gd name="T0" fmla="*/ 37 w 76"/>
                <a:gd name="T1" fmla="*/ 38 h 38"/>
                <a:gd name="T2" fmla="*/ 37 w 76"/>
                <a:gd name="T3" fmla="*/ 38 h 38"/>
                <a:gd name="T4" fmla="*/ 19 w 76"/>
                <a:gd name="T5" fmla="*/ 37 h 38"/>
                <a:gd name="T6" fmla="*/ 0 w 76"/>
                <a:gd name="T7" fmla="*/ 34 h 38"/>
                <a:gd name="T8" fmla="*/ 0 w 76"/>
                <a:gd name="T9" fmla="*/ 34 h 38"/>
                <a:gd name="T10" fmla="*/ 0 w 76"/>
                <a:gd name="T11" fmla="*/ 34 h 38"/>
                <a:gd name="T12" fmla="*/ 0 w 76"/>
                <a:gd name="T13" fmla="*/ 34 h 38"/>
                <a:gd name="T14" fmla="*/ 0 w 76"/>
                <a:gd name="T15" fmla="*/ 34 h 38"/>
                <a:gd name="T16" fmla="*/ 0 w 76"/>
                <a:gd name="T17" fmla="*/ 34 h 38"/>
                <a:gd name="T18" fmla="*/ 19 w 76"/>
                <a:gd name="T19" fmla="*/ 37 h 38"/>
                <a:gd name="T20" fmla="*/ 37 w 76"/>
                <a:gd name="T21" fmla="*/ 38 h 38"/>
                <a:gd name="T22" fmla="*/ 37 w 76"/>
                <a:gd name="T23" fmla="*/ 38 h 38"/>
                <a:gd name="T24" fmla="*/ 38 w 76"/>
                <a:gd name="T25" fmla="*/ 37 h 38"/>
                <a:gd name="T26" fmla="*/ 41 w 76"/>
                <a:gd name="T27" fmla="*/ 35 h 38"/>
                <a:gd name="T28" fmla="*/ 45 w 76"/>
                <a:gd name="T29" fmla="*/ 29 h 38"/>
                <a:gd name="T30" fmla="*/ 51 w 76"/>
                <a:gd name="T31" fmla="*/ 22 h 38"/>
                <a:gd name="T32" fmla="*/ 56 w 76"/>
                <a:gd name="T33" fmla="*/ 16 h 38"/>
                <a:gd name="T34" fmla="*/ 56 w 76"/>
                <a:gd name="T35" fmla="*/ 16 h 38"/>
                <a:gd name="T36" fmla="*/ 64 w 76"/>
                <a:gd name="T37" fmla="*/ 6 h 38"/>
                <a:gd name="T38" fmla="*/ 70 w 76"/>
                <a:gd name="T39" fmla="*/ 3 h 38"/>
                <a:gd name="T40" fmla="*/ 76 w 76"/>
                <a:gd name="T41" fmla="*/ 0 h 38"/>
                <a:gd name="T42" fmla="*/ 76 w 76"/>
                <a:gd name="T43" fmla="*/ 0 h 38"/>
                <a:gd name="T44" fmla="*/ 70 w 76"/>
                <a:gd name="T45" fmla="*/ 3 h 38"/>
                <a:gd name="T46" fmla="*/ 64 w 76"/>
                <a:gd name="T47" fmla="*/ 6 h 38"/>
                <a:gd name="T48" fmla="*/ 56 w 76"/>
                <a:gd name="T49" fmla="*/ 16 h 38"/>
                <a:gd name="T50" fmla="*/ 56 w 76"/>
                <a:gd name="T51" fmla="*/ 16 h 38"/>
                <a:gd name="T52" fmla="*/ 51 w 76"/>
                <a:gd name="T53" fmla="*/ 22 h 38"/>
                <a:gd name="T54" fmla="*/ 45 w 76"/>
                <a:gd name="T55" fmla="*/ 29 h 38"/>
                <a:gd name="T56" fmla="*/ 41 w 76"/>
                <a:gd name="T57" fmla="*/ 35 h 38"/>
                <a:gd name="T58" fmla="*/ 38 w 76"/>
                <a:gd name="T59" fmla="*/ 37 h 38"/>
                <a:gd name="T60" fmla="*/ 37 w 76"/>
                <a:gd name="T61"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38">
                  <a:moveTo>
                    <a:pt x="37" y="38"/>
                  </a:moveTo>
                  <a:lnTo>
                    <a:pt x="37" y="38"/>
                  </a:lnTo>
                  <a:lnTo>
                    <a:pt x="19" y="37"/>
                  </a:lnTo>
                  <a:lnTo>
                    <a:pt x="0" y="34"/>
                  </a:lnTo>
                  <a:lnTo>
                    <a:pt x="0" y="34"/>
                  </a:lnTo>
                  <a:lnTo>
                    <a:pt x="0" y="34"/>
                  </a:lnTo>
                  <a:lnTo>
                    <a:pt x="0" y="34"/>
                  </a:lnTo>
                  <a:lnTo>
                    <a:pt x="0" y="34"/>
                  </a:lnTo>
                  <a:lnTo>
                    <a:pt x="0" y="34"/>
                  </a:lnTo>
                  <a:lnTo>
                    <a:pt x="19" y="37"/>
                  </a:lnTo>
                  <a:lnTo>
                    <a:pt x="37" y="38"/>
                  </a:lnTo>
                  <a:lnTo>
                    <a:pt x="37" y="38"/>
                  </a:lnTo>
                  <a:lnTo>
                    <a:pt x="38" y="37"/>
                  </a:lnTo>
                  <a:lnTo>
                    <a:pt x="41" y="35"/>
                  </a:lnTo>
                  <a:lnTo>
                    <a:pt x="45" y="29"/>
                  </a:lnTo>
                  <a:lnTo>
                    <a:pt x="51" y="22"/>
                  </a:lnTo>
                  <a:lnTo>
                    <a:pt x="56" y="16"/>
                  </a:lnTo>
                  <a:lnTo>
                    <a:pt x="56" y="16"/>
                  </a:lnTo>
                  <a:lnTo>
                    <a:pt x="64" y="6"/>
                  </a:lnTo>
                  <a:lnTo>
                    <a:pt x="70" y="3"/>
                  </a:lnTo>
                  <a:lnTo>
                    <a:pt x="76" y="0"/>
                  </a:lnTo>
                  <a:lnTo>
                    <a:pt x="76" y="0"/>
                  </a:lnTo>
                  <a:lnTo>
                    <a:pt x="70" y="3"/>
                  </a:lnTo>
                  <a:lnTo>
                    <a:pt x="64" y="6"/>
                  </a:lnTo>
                  <a:lnTo>
                    <a:pt x="56" y="16"/>
                  </a:lnTo>
                  <a:lnTo>
                    <a:pt x="56" y="16"/>
                  </a:lnTo>
                  <a:lnTo>
                    <a:pt x="51" y="22"/>
                  </a:lnTo>
                  <a:lnTo>
                    <a:pt x="45" y="29"/>
                  </a:lnTo>
                  <a:lnTo>
                    <a:pt x="41" y="35"/>
                  </a:lnTo>
                  <a:lnTo>
                    <a:pt x="38" y="37"/>
                  </a:lnTo>
                  <a:lnTo>
                    <a:pt x="37" y="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52" name="Freeform 378"/>
            <p:cNvSpPr>
              <a:spLocks noEditPoints="1"/>
            </p:cNvSpPr>
            <p:nvPr/>
          </p:nvSpPr>
          <p:spPr bwMode="auto">
            <a:xfrm>
              <a:off x="4862513" y="5102654"/>
              <a:ext cx="53975" cy="107950"/>
            </a:xfrm>
            <a:custGeom>
              <a:avLst/>
              <a:gdLst>
                <a:gd name="T0" fmla="*/ 18 w 34"/>
                <a:gd name="T1" fmla="*/ 54 h 68"/>
                <a:gd name="T2" fmla="*/ 18 w 34"/>
                <a:gd name="T3" fmla="*/ 54 h 68"/>
                <a:gd name="T4" fmla="*/ 18 w 34"/>
                <a:gd name="T5" fmla="*/ 54 h 68"/>
                <a:gd name="T6" fmla="*/ 18 w 34"/>
                <a:gd name="T7" fmla="*/ 54 h 68"/>
                <a:gd name="T8" fmla="*/ 9 w 34"/>
                <a:gd name="T9" fmla="*/ 38 h 68"/>
                <a:gd name="T10" fmla="*/ 5 w 34"/>
                <a:gd name="T11" fmla="*/ 29 h 68"/>
                <a:gd name="T12" fmla="*/ 3 w 34"/>
                <a:gd name="T13" fmla="*/ 20 h 68"/>
                <a:gd name="T14" fmla="*/ 3 w 34"/>
                <a:gd name="T15" fmla="*/ 20 h 68"/>
                <a:gd name="T16" fmla="*/ 2 w 34"/>
                <a:gd name="T17" fmla="*/ 9 h 68"/>
                <a:gd name="T18" fmla="*/ 0 w 34"/>
                <a:gd name="T19" fmla="*/ 0 h 68"/>
                <a:gd name="T20" fmla="*/ 0 w 34"/>
                <a:gd name="T21" fmla="*/ 0 h 68"/>
                <a:gd name="T22" fmla="*/ 2 w 34"/>
                <a:gd name="T23" fmla="*/ 9 h 68"/>
                <a:gd name="T24" fmla="*/ 3 w 34"/>
                <a:gd name="T25" fmla="*/ 20 h 68"/>
                <a:gd name="T26" fmla="*/ 3 w 34"/>
                <a:gd name="T27" fmla="*/ 20 h 68"/>
                <a:gd name="T28" fmla="*/ 5 w 34"/>
                <a:gd name="T29" fmla="*/ 29 h 68"/>
                <a:gd name="T30" fmla="*/ 9 w 34"/>
                <a:gd name="T31" fmla="*/ 38 h 68"/>
                <a:gd name="T32" fmla="*/ 18 w 34"/>
                <a:gd name="T33" fmla="*/ 54 h 68"/>
                <a:gd name="T34" fmla="*/ 18 w 34"/>
                <a:gd name="T35" fmla="*/ 54 h 68"/>
                <a:gd name="T36" fmla="*/ 18 w 34"/>
                <a:gd name="T37" fmla="*/ 54 h 68"/>
                <a:gd name="T38" fmla="*/ 34 w 34"/>
                <a:gd name="T39" fmla="*/ 68 h 68"/>
                <a:gd name="T40" fmla="*/ 34 w 34"/>
                <a:gd name="T41" fmla="*/ 68 h 68"/>
                <a:gd name="T42" fmla="*/ 23 w 34"/>
                <a:gd name="T43" fmla="*/ 61 h 68"/>
                <a:gd name="T44" fmla="*/ 18 w 34"/>
                <a:gd name="T45" fmla="*/ 54 h 68"/>
                <a:gd name="T46" fmla="*/ 18 w 34"/>
                <a:gd name="T47" fmla="*/ 54 h 68"/>
                <a:gd name="T48" fmla="*/ 23 w 34"/>
                <a:gd name="T49" fmla="*/ 61 h 68"/>
                <a:gd name="T50" fmla="*/ 34 w 34"/>
                <a:gd name="T51" fmla="*/ 68 h 68"/>
                <a:gd name="T52" fmla="*/ 34 w 34"/>
                <a:gd name="T53" fmla="*/ 68 h 68"/>
                <a:gd name="T54" fmla="*/ 34 w 34"/>
                <a:gd name="T55"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68">
                  <a:moveTo>
                    <a:pt x="18" y="54"/>
                  </a:moveTo>
                  <a:lnTo>
                    <a:pt x="18" y="54"/>
                  </a:lnTo>
                  <a:lnTo>
                    <a:pt x="18" y="54"/>
                  </a:lnTo>
                  <a:lnTo>
                    <a:pt x="18" y="54"/>
                  </a:lnTo>
                  <a:lnTo>
                    <a:pt x="9" y="38"/>
                  </a:lnTo>
                  <a:lnTo>
                    <a:pt x="5" y="29"/>
                  </a:lnTo>
                  <a:lnTo>
                    <a:pt x="3" y="20"/>
                  </a:lnTo>
                  <a:lnTo>
                    <a:pt x="3" y="20"/>
                  </a:lnTo>
                  <a:lnTo>
                    <a:pt x="2" y="9"/>
                  </a:lnTo>
                  <a:lnTo>
                    <a:pt x="0" y="0"/>
                  </a:lnTo>
                  <a:lnTo>
                    <a:pt x="0" y="0"/>
                  </a:lnTo>
                  <a:lnTo>
                    <a:pt x="2" y="9"/>
                  </a:lnTo>
                  <a:lnTo>
                    <a:pt x="3" y="20"/>
                  </a:lnTo>
                  <a:lnTo>
                    <a:pt x="3" y="20"/>
                  </a:lnTo>
                  <a:lnTo>
                    <a:pt x="5" y="29"/>
                  </a:lnTo>
                  <a:lnTo>
                    <a:pt x="9" y="38"/>
                  </a:lnTo>
                  <a:lnTo>
                    <a:pt x="18" y="54"/>
                  </a:lnTo>
                  <a:lnTo>
                    <a:pt x="18" y="54"/>
                  </a:lnTo>
                  <a:lnTo>
                    <a:pt x="18" y="54"/>
                  </a:lnTo>
                  <a:close/>
                  <a:moveTo>
                    <a:pt x="34" y="68"/>
                  </a:moveTo>
                  <a:lnTo>
                    <a:pt x="34" y="68"/>
                  </a:lnTo>
                  <a:lnTo>
                    <a:pt x="23" y="61"/>
                  </a:lnTo>
                  <a:lnTo>
                    <a:pt x="18" y="54"/>
                  </a:lnTo>
                  <a:lnTo>
                    <a:pt x="18" y="54"/>
                  </a:lnTo>
                  <a:lnTo>
                    <a:pt x="23" y="61"/>
                  </a:lnTo>
                  <a:lnTo>
                    <a:pt x="34" y="68"/>
                  </a:lnTo>
                  <a:lnTo>
                    <a:pt x="34" y="68"/>
                  </a:lnTo>
                  <a:lnTo>
                    <a:pt x="34" y="68"/>
                  </a:lnTo>
                  <a:close/>
                </a:path>
              </a:pathLst>
            </a:custGeom>
            <a:solidFill>
              <a:srgbClr val="60B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53" name="Freeform 379"/>
            <p:cNvSpPr>
              <a:spLocks/>
            </p:cNvSpPr>
            <p:nvPr/>
          </p:nvSpPr>
          <p:spPr bwMode="auto">
            <a:xfrm>
              <a:off x="4862513" y="5102654"/>
              <a:ext cx="28575" cy="85725"/>
            </a:xfrm>
            <a:custGeom>
              <a:avLst/>
              <a:gdLst>
                <a:gd name="T0" fmla="*/ 18 w 18"/>
                <a:gd name="T1" fmla="*/ 54 h 54"/>
                <a:gd name="T2" fmla="*/ 18 w 18"/>
                <a:gd name="T3" fmla="*/ 54 h 54"/>
                <a:gd name="T4" fmla="*/ 18 w 18"/>
                <a:gd name="T5" fmla="*/ 54 h 54"/>
                <a:gd name="T6" fmla="*/ 18 w 18"/>
                <a:gd name="T7" fmla="*/ 54 h 54"/>
                <a:gd name="T8" fmla="*/ 9 w 18"/>
                <a:gd name="T9" fmla="*/ 38 h 54"/>
                <a:gd name="T10" fmla="*/ 5 w 18"/>
                <a:gd name="T11" fmla="*/ 29 h 54"/>
                <a:gd name="T12" fmla="*/ 3 w 18"/>
                <a:gd name="T13" fmla="*/ 20 h 54"/>
                <a:gd name="T14" fmla="*/ 3 w 18"/>
                <a:gd name="T15" fmla="*/ 20 h 54"/>
                <a:gd name="T16" fmla="*/ 2 w 18"/>
                <a:gd name="T17" fmla="*/ 9 h 54"/>
                <a:gd name="T18" fmla="*/ 0 w 18"/>
                <a:gd name="T19" fmla="*/ 0 h 54"/>
                <a:gd name="T20" fmla="*/ 0 w 18"/>
                <a:gd name="T21" fmla="*/ 0 h 54"/>
                <a:gd name="T22" fmla="*/ 2 w 18"/>
                <a:gd name="T23" fmla="*/ 9 h 54"/>
                <a:gd name="T24" fmla="*/ 3 w 18"/>
                <a:gd name="T25" fmla="*/ 20 h 54"/>
                <a:gd name="T26" fmla="*/ 3 w 18"/>
                <a:gd name="T27" fmla="*/ 20 h 54"/>
                <a:gd name="T28" fmla="*/ 5 w 18"/>
                <a:gd name="T29" fmla="*/ 29 h 54"/>
                <a:gd name="T30" fmla="*/ 9 w 18"/>
                <a:gd name="T31" fmla="*/ 38 h 54"/>
                <a:gd name="T32" fmla="*/ 18 w 18"/>
                <a:gd name="T33" fmla="*/ 54 h 54"/>
                <a:gd name="T34" fmla="*/ 18 w 18"/>
                <a:gd name="T35" fmla="*/ 54 h 54"/>
                <a:gd name="T36" fmla="*/ 18 w 18"/>
                <a:gd name="T3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54">
                  <a:moveTo>
                    <a:pt x="18" y="54"/>
                  </a:moveTo>
                  <a:lnTo>
                    <a:pt x="18" y="54"/>
                  </a:lnTo>
                  <a:lnTo>
                    <a:pt x="18" y="54"/>
                  </a:lnTo>
                  <a:lnTo>
                    <a:pt x="18" y="54"/>
                  </a:lnTo>
                  <a:lnTo>
                    <a:pt x="9" y="38"/>
                  </a:lnTo>
                  <a:lnTo>
                    <a:pt x="5" y="29"/>
                  </a:lnTo>
                  <a:lnTo>
                    <a:pt x="3" y="20"/>
                  </a:lnTo>
                  <a:lnTo>
                    <a:pt x="3" y="20"/>
                  </a:lnTo>
                  <a:lnTo>
                    <a:pt x="2" y="9"/>
                  </a:lnTo>
                  <a:lnTo>
                    <a:pt x="0" y="0"/>
                  </a:lnTo>
                  <a:lnTo>
                    <a:pt x="0" y="0"/>
                  </a:lnTo>
                  <a:lnTo>
                    <a:pt x="2" y="9"/>
                  </a:lnTo>
                  <a:lnTo>
                    <a:pt x="3" y="20"/>
                  </a:lnTo>
                  <a:lnTo>
                    <a:pt x="3" y="20"/>
                  </a:lnTo>
                  <a:lnTo>
                    <a:pt x="5" y="29"/>
                  </a:lnTo>
                  <a:lnTo>
                    <a:pt x="9" y="38"/>
                  </a:lnTo>
                  <a:lnTo>
                    <a:pt x="18" y="54"/>
                  </a:lnTo>
                  <a:lnTo>
                    <a:pt x="18" y="54"/>
                  </a:lnTo>
                  <a:lnTo>
                    <a:pt x="18" y="5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54" name="Freeform 380"/>
            <p:cNvSpPr>
              <a:spLocks/>
            </p:cNvSpPr>
            <p:nvPr/>
          </p:nvSpPr>
          <p:spPr bwMode="auto">
            <a:xfrm>
              <a:off x="4891088" y="5188379"/>
              <a:ext cx="25400" cy="22225"/>
            </a:xfrm>
            <a:custGeom>
              <a:avLst/>
              <a:gdLst>
                <a:gd name="T0" fmla="*/ 16 w 16"/>
                <a:gd name="T1" fmla="*/ 14 h 14"/>
                <a:gd name="T2" fmla="*/ 16 w 16"/>
                <a:gd name="T3" fmla="*/ 14 h 14"/>
                <a:gd name="T4" fmla="*/ 5 w 16"/>
                <a:gd name="T5" fmla="*/ 7 h 14"/>
                <a:gd name="T6" fmla="*/ 0 w 16"/>
                <a:gd name="T7" fmla="*/ 0 h 14"/>
                <a:gd name="T8" fmla="*/ 0 w 16"/>
                <a:gd name="T9" fmla="*/ 0 h 14"/>
                <a:gd name="T10" fmla="*/ 5 w 16"/>
                <a:gd name="T11" fmla="*/ 7 h 14"/>
                <a:gd name="T12" fmla="*/ 16 w 16"/>
                <a:gd name="T13" fmla="*/ 14 h 14"/>
                <a:gd name="T14" fmla="*/ 16 w 16"/>
                <a:gd name="T15" fmla="*/ 14 h 14"/>
                <a:gd name="T16" fmla="*/ 16 w 16"/>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4">
                  <a:moveTo>
                    <a:pt x="16" y="14"/>
                  </a:moveTo>
                  <a:lnTo>
                    <a:pt x="16" y="14"/>
                  </a:lnTo>
                  <a:lnTo>
                    <a:pt x="5" y="7"/>
                  </a:lnTo>
                  <a:lnTo>
                    <a:pt x="0" y="0"/>
                  </a:lnTo>
                  <a:lnTo>
                    <a:pt x="0" y="0"/>
                  </a:lnTo>
                  <a:lnTo>
                    <a:pt x="5" y="7"/>
                  </a:lnTo>
                  <a:lnTo>
                    <a:pt x="16" y="14"/>
                  </a:lnTo>
                  <a:lnTo>
                    <a:pt x="16" y="14"/>
                  </a:lnTo>
                  <a:lnTo>
                    <a:pt x="1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55" name="Freeform 381"/>
            <p:cNvSpPr>
              <a:spLocks/>
            </p:cNvSpPr>
            <p:nvPr/>
          </p:nvSpPr>
          <p:spPr bwMode="auto">
            <a:xfrm>
              <a:off x="4916488" y="5210604"/>
              <a:ext cx="7938" cy="4763"/>
            </a:xfrm>
            <a:custGeom>
              <a:avLst/>
              <a:gdLst>
                <a:gd name="T0" fmla="*/ 5 w 5"/>
                <a:gd name="T1" fmla="*/ 3 h 3"/>
                <a:gd name="T2" fmla="*/ 5 w 5"/>
                <a:gd name="T3" fmla="*/ 3 h 3"/>
                <a:gd name="T4" fmla="*/ 0 w 5"/>
                <a:gd name="T5" fmla="*/ 0 h 3"/>
                <a:gd name="T6" fmla="*/ 0 w 5"/>
                <a:gd name="T7" fmla="*/ 0 h 3"/>
                <a:gd name="T8" fmla="*/ 0 w 5"/>
                <a:gd name="T9" fmla="*/ 0 h 3"/>
                <a:gd name="T10" fmla="*/ 0 w 5"/>
                <a:gd name="T11" fmla="*/ 0 h 3"/>
                <a:gd name="T12" fmla="*/ 5 w 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5" h="3">
                  <a:moveTo>
                    <a:pt x="5" y="3"/>
                  </a:moveTo>
                  <a:lnTo>
                    <a:pt x="5" y="3"/>
                  </a:lnTo>
                  <a:lnTo>
                    <a:pt x="0" y="0"/>
                  </a:lnTo>
                  <a:lnTo>
                    <a:pt x="0" y="0"/>
                  </a:lnTo>
                  <a:lnTo>
                    <a:pt x="0" y="0"/>
                  </a:lnTo>
                  <a:lnTo>
                    <a:pt x="0" y="0"/>
                  </a:lnTo>
                  <a:lnTo>
                    <a:pt x="5" y="3"/>
                  </a:lnTo>
                  <a:close/>
                </a:path>
              </a:pathLst>
            </a:custGeom>
            <a:solidFill>
              <a:srgbClr val="60B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56" name="Freeform 382"/>
            <p:cNvSpPr>
              <a:spLocks/>
            </p:cNvSpPr>
            <p:nvPr/>
          </p:nvSpPr>
          <p:spPr bwMode="auto">
            <a:xfrm>
              <a:off x="4916488" y="5210604"/>
              <a:ext cx="7938" cy="4763"/>
            </a:xfrm>
            <a:custGeom>
              <a:avLst/>
              <a:gdLst>
                <a:gd name="T0" fmla="*/ 5 w 5"/>
                <a:gd name="T1" fmla="*/ 3 h 3"/>
                <a:gd name="T2" fmla="*/ 5 w 5"/>
                <a:gd name="T3" fmla="*/ 3 h 3"/>
                <a:gd name="T4" fmla="*/ 0 w 5"/>
                <a:gd name="T5" fmla="*/ 0 h 3"/>
                <a:gd name="T6" fmla="*/ 0 w 5"/>
                <a:gd name="T7" fmla="*/ 0 h 3"/>
                <a:gd name="T8" fmla="*/ 0 w 5"/>
                <a:gd name="T9" fmla="*/ 0 h 3"/>
                <a:gd name="T10" fmla="*/ 0 w 5"/>
                <a:gd name="T11" fmla="*/ 0 h 3"/>
                <a:gd name="T12" fmla="*/ 5 w 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5" h="3">
                  <a:moveTo>
                    <a:pt x="5" y="3"/>
                  </a:moveTo>
                  <a:lnTo>
                    <a:pt x="5" y="3"/>
                  </a:lnTo>
                  <a:lnTo>
                    <a:pt x="0" y="0"/>
                  </a:lnTo>
                  <a:lnTo>
                    <a:pt x="0" y="0"/>
                  </a:lnTo>
                  <a:lnTo>
                    <a:pt x="0" y="0"/>
                  </a:lnTo>
                  <a:lnTo>
                    <a:pt x="0" y="0"/>
                  </a:lnTo>
                  <a:lnTo>
                    <a:pt x="5"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57" name="Freeform 383"/>
            <p:cNvSpPr>
              <a:spLocks/>
            </p:cNvSpPr>
            <p:nvPr/>
          </p:nvSpPr>
          <p:spPr bwMode="auto">
            <a:xfrm>
              <a:off x="5154613" y="5010579"/>
              <a:ext cx="73025" cy="187325"/>
            </a:xfrm>
            <a:custGeom>
              <a:avLst/>
              <a:gdLst>
                <a:gd name="T0" fmla="*/ 45 w 46"/>
                <a:gd name="T1" fmla="*/ 118 h 118"/>
                <a:gd name="T2" fmla="*/ 45 w 46"/>
                <a:gd name="T3" fmla="*/ 118 h 118"/>
                <a:gd name="T4" fmla="*/ 36 w 46"/>
                <a:gd name="T5" fmla="*/ 109 h 118"/>
                <a:gd name="T6" fmla="*/ 36 w 46"/>
                <a:gd name="T7" fmla="*/ 109 h 118"/>
                <a:gd name="T8" fmla="*/ 36 w 46"/>
                <a:gd name="T9" fmla="*/ 109 h 118"/>
                <a:gd name="T10" fmla="*/ 36 w 46"/>
                <a:gd name="T11" fmla="*/ 109 h 118"/>
                <a:gd name="T12" fmla="*/ 36 w 46"/>
                <a:gd name="T13" fmla="*/ 109 h 118"/>
                <a:gd name="T14" fmla="*/ 35 w 46"/>
                <a:gd name="T15" fmla="*/ 109 h 118"/>
                <a:gd name="T16" fmla="*/ 35 w 46"/>
                <a:gd name="T17" fmla="*/ 107 h 118"/>
                <a:gd name="T18" fmla="*/ 35 w 46"/>
                <a:gd name="T19" fmla="*/ 107 h 118"/>
                <a:gd name="T20" fmla="*/ 31 w 46"/>
                <a:gd name="T21" fmla="*/ 100 h 118"/>
                <a:gd name="T22" fmla="*/ 31 w 46"/>
                <a:gd name="T23" fmla="*/ 83 h 118"/>
                <a:gd name="T24" fmla="*/ 31 w 46"/>
                <a:gd name="T25" fmla="*/ 83 h 118"/>
                <a:gd name="T26" fmla="*/ 29 w 46"/>
                <a:gd name="T27" fmla="*/ 80 h 118"/>
                <a:gd name="T28" fmla="*/ 28 w 46"/>
                <a:gd name="T29" fmla="*/ 80 h 118"/>
                <a:gd name="T30" fmla="*/ 26 w 46"/>
                <a:gd name="T31" fmla="*/ 80 h 118"/>
                <a:gd name="T32" fmla="*/ 26 w 46"/>
                <a:gd name="T33" fmla="*/ 80 h 118"/>
                <a:gd name="T34" fmla="*/ 22 w 46"/>
                <a:gd name="T35" fmla="*/ 83 h 118"/>
                <a:gd name="T36" fmla="*/ 22 w 46"/>
                <a:gd name="T37" fmla="*/ 83 h 118"/>
                <a:gd name="T38" fmla="*/ 22 w 46"/>
                <a:gd name="T39" fmla="*/ 83 h 118"/>
                <a:gd name="T40" fmla="*/ 20 w 46"/>
                <a:gd name="T41" fmla="*/ 83 h 118"/>
                <a:gd name="T42" fmla="*/ 15 w 46"/>
                <a:gd name="T43" fmla="*/ 80 h 118"/>
                <a:gd name="T44" fmla="*/ 15 w 46"/>
                <a:gd name="T45" fmla="*/ 80 h 118"/>
                <a:gd name="T46" fmla="*/ 12 w 46"/>
                <a:gd name="T47" fmla="*/ 76 h 118"/>
                <a:gd name="T48" fmla="*/ 7 w 46"/>
                <a:gd name="T49" fmla="*/ 73 h 118"/>
                <a:gd name="T50" fmla="*/ 7 w 46"/>
                <a:gd name="T51" fmla="*/ 73 h 118"/>
                <a:gd name="T52" fmla="*/ 3 w 46"/>
                <a:gd name="T53" fmla="*/ 73 h 118"/>
                <a:gd name="T54" fmla="*/ 0 w 46"/>
                <a:gd name="T55" fmla="*/ 61 h 118"/>
                <a:gd name="T56" fmla="*/ 2 w 46"/>
                <a:gd name="T57" fmla="*/ 54 h 118"/>
                <a:gd name="T58" fmla="*/ 7 w 46"/>
                <a:gd name="T59" fmla="*/ 38 h 118"/>
                <a:gd name="T60" fmla="*/ 10 w 46"/>
                <a:gd name="T61" fmla="*/ 12 h 118"/>
                <a:gd name="T62" fmla="*/ 15 w 46"/>
                <a:gd name="T63" fmla="*/ 2 h 118"/>
                <a:gd name="T64" fmla="*/ 15 w 46"/>
                <a:gd name="T65" fmla="*/ 2 h 118"/>
                <a:gd name="T66" fmla="*/ 16 w 46"/>
                <a:gd name="T67" fmla="*/ 2 h 118"/>
                <a:gd name="T68" fmla="*/ 19 w 46"/>
                <a:gd name="T69" fmla="*/ 0 h 118"/>
                <a:gd name="T70" fmla="*/ 20 w 46"/>
                <a:gd name="T71" fmla="*/ 0 h 118"/>
                <a:gd name="T72" fmla="*/ 20 w 46"/>
                <a:gd name="T73" fmla="*/ 0 h 118"/>
                <a:gd name="T74" fmla="*/ 22 w 46"/>
                <a:gd name="T75" fmla="*/ 0 h 118"/>
                <a:gd name="T76" fmla="*/ 25 w 46"/>
                <a:gd name="T77" fmla="*/ 5 h 118"/>
                <a:gd name="T78" fmla="*/ 25 w 46"/>
                <a:gd name="T79" fmla="*/ 5 h 118"/>
                <a:gd name="T80" fmla="*/ 28 w 46"/>
                <a:gd name="T81" fmla="*/ 29 h 118"/>
                <a:gd name="T82" fmla="*/ 25 w 46"/>
                <a:gd name="T83" fmla="*/ 39 h 118"/>
                <a:gd name="T84" fmla="*/ 26 w 46"/>
                <a:gd name="T85" fmla="*/ 48 h 118"/>
                <a:gd name="T86" fmla="*/ 35 w 46"/>
                <a:gd name="T87" fmla="*/ 71 h 118"/>
                <a:gd name="T88" fmla="*/ 39 w 46"/>
                <a:gd name="T89" fmla="*/ 76 h 118"/>
                <a:gd name="T90" fmla="*/ 41 w 46"/>
                <a:gd name="T91" fmla="*/ 76 h 118"/>
                <a:gd name="T92" fmla="*/ 42 w 46"/>
                <a:gd name="T93" fmla="*/ 77 h 118"/>
                <a:gd name="T94" fmla="*/ 46 w 46"/>
                <a:gd name="T95" fmla="*/ 110 h 118"/>
                <a:gd name="T96" fmla="*/ 46 w 46"/>
                <a:gd name="T97" fmla="*/ 115 h 118"/>
                <a:gd name="T98" fmla="*/ 46 w 46"/>
                <a:gd name="T99" fmla="*/ 115 h 118"/>
                <a:gd name="T100" fmla="*/ 45 w 46"/>
                <a:gd name="T101"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 h="118">
                  <a:moveTo>
                    <a:pt x="45" y="118"/>
                  </a:moveTo>
                  <a:lnTo>
                    <a:pt x="45" y="118"/>
                  </a:lnTo>
                  <a:lnTo>
                    <a:pt x="45" y="118"/>
                  </a:lnTo>
                  <a:lnTo>
                    <a:pt x="45" y="118"/>
                  </a:lnTo>
                  <a:lnTo>
                    <a:pt x="45" y="118"/>
                  </a:lnTo>
                  <a:lnTo>
                    <a:pt x="45" y="118"/>
                  </a:lnTo>
                  <a:lnTo>
                    <a:pt x="42" y="115"/>
                  </a:lnTo>
                  <a:lnTo>
                    <a:pt x="36" y="109"/>
                  </a:lnTo>
                  <a:lnTo>
                    <a:pt x="36" y="109"/>
                  </a:lnTo>
                  <a:lnTo>
                    <a:pt x="36" y="109"/>
                  </a:lnTo>
                  <a:lnTo>
                    <a:pt x="36" y="109"/>
                  </a:lnTo>
                  <a:lnTo>
                    <a:pt x="36" y="109"/>
                  </a:lnTo>
                  <a:lnTo>
                    <a:pt x="36" y="109"/>
                  </a:lnTo>
                  <a:lnTo>
                    <a:pt x="36" y="109"/>
                  </a:lnTo>
                  <a:lnTo>
                    <a:pt x="36" y="109"/>
                  </a:lnTo>
                  <a:lnTo>
                    <a:pt x="36" y="109"/>
                  </a:lnTo>
                  <a:lnTo>
                    <a:pt x="36" y="109"/>
                  </a:lnTo>
                  <a:lnTo>
                    <a:pt x="36" y="109"/>
                  </a:lnTo>
                  <a:lnTo>
                    <a:pt x="36" y="109"/>
                  </a:lnTo>
                  <a:lnTo>
                    <a:pt x="36" y="109"/>
                  </a:lnTo>
                  <a:lnTo>
                    <a:pt x="36" y="109"/>
                  </a:lnTo>
                  <a:lnTo>
                    <a:pt x="36" y="109"/>
                  </a:lnTo>
                  <a:lnTo>
                    <a:pt x="36" y="109"/>
                  </a:lnTo>
                  <a:lnTo>
                    <a:pt x="35" y="109"/>
                  </a:lnTo>
                  <a:lnTo>
                    <a:pt x="35" y="109"/>
                  </a:lnTo>
                  <a:lnTo>
                    <a:pt x="35" y="107"/>
                  </a:lnTo>
                  <a:lnTo>
                    <a:pt x="35" y="107"/>
                  </a:lnTo>
                  <a:lnTo>
                    <a:pt x="35" y="107"/>
                  </a:lnTo>
                  <a:lnTo>
                    <a:pt x="35" y="107"/>
                  </a:lnTo>
                  <a:lnTo>
                    <a:pt x="35" y="107"/>
                  </a:lnTo>
                  <a:lnTo>
                    <a:pt x="35" y="107"/>
                  </a:lnTo>
                  <a:lnTo>
                    <a:pt x="32" y="105"/>
                  </a:lnTo>
                  <a:lnTo>
                    <a:pt x="31" y="100"/>
                  </a:lnTo>
                  <a:lnTo>
                    <a:pt x="29" y="93"/>
                  </a:lnTo>
                  <a:lnTo>
                    <a:pt x="29" y="93"/>
                  </a:lnTo>
                  <a:lnTo>
                    <a:pt x="31" y="83"/>
                  </a:lnTo>
                  <a:lnTo>
                    <a:pt x="31" y="83"/>
                  </a:lnTo>
                  <a:lnTo>
                    <a:pt x="31" y="83"/>
                  </a:lnTo>
                  <a:lnTo>
                    <a:pt x="31" y="83"/>
                  </a:lnTo>
                  <a:lnTo>
                    <a:pt x="31" y="80"/>
                  </a:lnTo>
                  <a:lnTo>
                    <a:pt x="29" y="80"/>
                  </a:lnTo>
                  <a:lnTo>
                    <a:pt x="29" y="80"/>
                  </a:lnTo>
                  <a:lnTo>
                    <a:pt x="29" y="80"/>
                  </a:lnTo>
                  <a:lnTo>
                    <a:pt x="28" y="80"/>
                  </a:lnTo>
                  <a:lnTo>
                    <a:pt x="28" y="80"/>
                  </a:lnTo>
                  <a:lnTo>
                    <a:pt x="28" y="80"/>
                  </a:lnTo>
                  <a:lnTo>
                    <a:pt x="28" y="80"/>
                  </a:lnTo>
                  <a:lnTo>
                    <a:pt x="26" y="80"/>
                  </a:lnTo>
                  <a:lnTo>
                    <a:pt x="26" y="80"/>
                  </a:lnTo>
                  <a:lnTo>
                    <a:pt x="26" y="80"/>
                  </a:lnTo>
                  <a:lnTo>
                    <a:pt x="26" y="80"/>
                  </a:lnTo>
                  <a:lnTo>
                    <a:pt x="22" y="83"/>
                  </a:lnTo>
                  <a:lnTo>
                    <a:pt x="22" y="83"/>
                  </a:lnTo>
                  <a:lnTo>
                    <a:pt x="22" y="83"/>
                  </a:lnTo>
                  <a:lnTo>
                    <a:pt x="22" y="83"/>
                  </a:lnTo>
                  <a:lnTo>
                    <a:pt x="22" y="83"/>
                  </a:lnTo>
                  <a:lnTo>
                    <a:pt x="22" y="83"/>
                  </a:lnTo>
                  <a:lnTo>
                    <a:pt x="22" y="83"/>
                  </a:lnTo>
                  <a:lnTo>
                    <a:pt x="22" y="83"/>
                  </a:lnTo>
                  <a:lnTo>
                    <a:pt x="22" y="83"/>
                  </a:lnTo>
                  <a:lnTo>
                    <a:pt x="22" y="83"/>
                  </a:lnTo>
                  <a:lnTo>
                    <a:pt x="20" y="83"/>
                  </a:lnTo>
                  <a:lnTo>
                    <a:pt x="20" y="83"/>
                  </a:lnTo>
                  <a:lnTo>
                    <a:pt x="20" y="83"/>
                  </a:lnTo>
                  <a:lnTo>
                    <a:pt x="20" y="83"/>
                  </a:lnTo>
                  <a:lnTo>
                    <a:pt x="15" y="80"/>
                  </a:lnTo>
                  <a:lnTo>
                    <a:pt x="15" y="80"/>
                  </a:lnTo>
                  <a:lnTo>
                    <a:pt x="15" y="80"/>
                  </a:lnTo>
                  <a:lnTo>
                    <a:pt x="15" y="80"/>
                  </a:lnTo>
                  <a:lnTo>
                    <a:pt x="15" y="80"/>
                  </a:lnTo>
                  <a:lnTo>
                    <a:pt x="15" y="80"/>
                  </a:lnTo>
                  <a:lnTo>
                    <a:pt x="12" y="76"/>
                  </a:lnTo>
                  <a:lnTo>
                    <a:pt x="7" y="73"/>
                  </a:lnTo>
                  <a:lnTo>
                    <a:pt x="7" y="73"/>
                  </a:lnTo>
                  <a:lnTo>
                    <a:pt x="7" y="73"/>
                  </a:lnTo>
                  <a:lnTo>
                    <a:pt x="7" y="73"/>
                  </a:lnTo>
                  <a:lnTo>
                    <a:pt x="7" y="73"/>
                  </a:lnTo>
                  <a:lnTo>
                    <a:pt x="7" y="73"/>
                  </a:lnTo>
                  <a:lnTo>
                    <a:pt x="4" y="73"/>
                  </a:lnTo>
                  <a:lnTo>
                    <a:pt x="4" y="73"/>
                  </a:lnTo>
                  <a:lnTo>
                    <a:pt x="3" y="73"/>
                  </a:lnTo>
                  <a:lnTo>
                    <a:pt x="3" y="73"/>
                  </a:lnTo>
                  <a:lnTo>
                    <a:pt x="2" y="67"/>
                  </a:lnTo>
                  <a:lnTo>
                    <a:pt x="0" y="61"/>
                  </a:lnTo>
                  <a:lnTo>
                    <a:pt x="0" y="61"/>
                  </a:lnTo>
                  <a:lnTo>
                    <a:pt x="0" y="58"/>
                  </a:lnTo>
                  <a:lnTo>
                    <a:pt x="2" y="54"/>
                  </a:lnTo>
                  <a:lnTo>
                    <a:pt x="2" y="54"/>
                  </a:lnTo>
                  <a:lnTo>
                    <a:pt x="6" y="45"/>
                  </a:lnTo>
                  <a:lnTo>
                    <a:pt x="7" y="38"/>
                  </a:lnTo>
                  <a:lnTo>
                    <a:pt x="7" y="21"/>
                  </a:lnTo>
                  <a:lnTo>
                    <a:pt x="7" y="21"/>
                  </a:lnTo>
                  <a:lnTo>
                    <a:pt x="10" y="12"/>
                  </a:lnTo>
                  <a:lnTo>
                    <a:pt x="13" y="2"/>
                  </a:lnTo>
                  <a:lnTo>
                    <a:pt x="13" y="2"/>
                  </a:lnTo>
                  <a:lnTo>
                    <a:pt x="15" y="2"/>
                  </a:lnTo>
                  <a:lnTo>
                    <a:pt x="15" y="2"/>
                  </a:lnTo>
                  <a:lnTo>
                    <a:pt x="15" y="2"/>
                  </a:lnTo>
                  <a:lnTo>
                    <a:pt x="15" y="2"/>
                  </a:lnTo>
                  <a:lnTo>
                    <a:pt x="16" y="2"/>
                  </a:lnTo>
                  <a:lnTo>
                    <a:pt x="16" y="2"/>
                  </a:lnTo>
                  <a:lnTo>
                    <a:pt x="16" y="2"/>
                  </a:lnTo>
                  <a:lnTo>
                    <a:pt x="16" y="2"/>
                  </a:lnTo>
                  <a:lnTo>
                    <a:pt x="19" y="0"/>
                  </a:lnTo>
                  <a:lnTo>
                    <a:pt x="19" y="0"/>
                  </a:lnTo>
                  <a:lnTo>
                    <a:pt x="20" y="0"/>
                  </a:lnTo>
                  <a:lnTo>
                    <a:pt x="20" y="0"/>
                  </a:lnTo>
                  <a:lnTo>
                    <a:pt x="20" y="0"/>
                  </a:lnTo>
                  <a:lnTo>
                    <a:pt x="20" y="0"/>
                  </a:lnTo>
                  <a:lnTo>
                    <a:pt x="20" y="0"/>
                  </a:lnTo>
                  <a:lnTo>
                    <a:pt x="20" y="0"/>
                  </a:lnTo>
                  <a:lnTo>
                    <a:pt x="22" y="0"/>
                  </a:lnTo>
                  <a:lnTo>
                    <a:pt x="22" y="0"/>
                  </a:lnTo>
                  <a:lnTo>
                    <a:pt x="22" y="0"/>
                  </a:lnTo>
                  <a:lnTo>
                    <a:pt x="22" y="0"/>
                  </a:lnTo>
                  <a:lnTo>
                    <a:pt x="23" y="0"/>
                  </a:lnTo>
                  <a:lnTo>
                    <a:pt x="25" y="5"/>
                  </a:lnTo>
                  <a:lnTo>
                    <a:pt x="25" y="5"/>
                  </a:lnTo>
                  <a:lnTo>
                    <a:pt x="25" y="5"/>
                  </a:lnTo>
                  <a:lnTo>
                    <a:pt x="25" y="5"/>
                  </a:lnTo>
                  <a:lnTo>
                    <a:pt x="25" y="19"/>
                  </a:lnTo>
                  <a:lnTo>
                    <a:pt x="26" y="26"/>
                  </a:lnTo>
                  <a:lnTo>
                    <a:pt x="28" y="29"/>
                  </a:lnTo>
                  <a:lnTo>
                    <a:pt x="29" y="31"/>
                  </a:lnTo>
                  <a:lnTo>
                    <a:pt x="29" y="31"/>
                  </a:lnTo>
                  <a:lnTo>
                    <a:pt x="25" y="39"/>
                  </a:lnTo>
                  <a:lnTo>
                    <a:pt x="25" y="39"/>
                  </a:lnTo>
                  <a:lnTo>
                    <a:pt x="25" y="42"/>
                  </a:lnTo>
                  <a:lnTo>
                    <a:pt x="26" y="48"/>
                  </a:lnTo>
                  <a:lnTo>
                    <a:pt x="32" y="61"/>
                  </a:lnTo>
                  <a:lnTo>
                    <a:pt x="32" y="61"/>
                  </a:lnTo>
                  <a:lnTo>
                    <a:pt x="35" y="71"/>
                  </a:lnTo>
                  <a:lnTo>
                    <a:pt x="36" y="74"/>
                  </a:lnTo>
                  <a:lnTo>
                    <a:pt x="39" y="76"/>
                  </a:lnTo>
                  <a:lnTo>
                    <a:pt x="39" y="76"/>
                  </a:lnTo>
                  <a:lnTo>
                    <a:pt x="41" y="76"/>
                  </a:lnTo>
                  <a:lnTo>
                    <a:pt x="41" y="76"/>
                  </a:lnTo>
                  <a:lnTo>
                    <a:pt x="41" y="76"/>
                  </a:lnTo>
                  <a:lnTo>
                    <a:pt x="41" y="76"/>
                  </a:lnTo>
                  <a:lnTo>
                    <a:pt x="42" y="77"/>
                  </a:lnTo>
                  <a:lnTo>
                    <a:pt x="42" y="77"/>
                  </a:lnTo>
                  <a:lnTo>
                    <a:pt x="45" y="84"/>
                  </a:lnTo>
                  <a:lnTo>
                    <a:pt x="46" y="93"/>
                  </a:lnTo>
                  <a:lnTo>
                    <a:pt x="46" y="110"/>
                  </a:lnTo>
                  <a:lnTo>
                    <a:pt x="46" y="110"/>
                  </a:lnTo>
                  <a:lnTo>
                    <a:pt x="46" y="115"/>
                  </a:lnTo>
                  <a:lnTo>
                    <a:pt x="46" y="115"/>
                  </a:lnTo>
                  <a:lnTo>
                    <a:pt x="46" y="115"/>
                  </a:lnTo>
                  <a:lnTo>
                    <a:pt x="46" y="115"/>
                  </a:lnTo>
                  <a:lnTo>
                    <a:pt x="46" y="115"/>
                  </a:lnTo>
                  <a:lnTo>
                    <a:pt x="46" y="115"/>
                  </a:lnTo>
                  <a:lnTo>
                    <a:pt x="46" y="118"/>
                  </a:lnTo>
                  <a:lnTo>
                    <a:pt x="45" y="118"/>
                  </a:lnTo>
                  <a:lnTo>
                    <a:pt x="45" y="118"/>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58" name="Freeform 384"/>
            <p:cNvSpPr>
              <a:spLocks/>
            </p:cNvSpPr>
            <p:nvPr/>
          </p:nvSpPr>
          <p:spPr bwMode="auto">
            <a:xfrm>
              <a:off x="5154613" y="5010579"/>
              <a:ext cx="73025" cy="187325"/>
            </a:xfrm>
            <a:custGeom>
              <a:avLst/>
              <a:gdLst>
                <a:gd name="T0" fmla="*/ 45 w 46"/>
                <a:gd name="T1" fmla="*/ 118 h 118"/>
                <a:gd name="T2" fmla="*/ 45 w 46"/>
                <a:gd name="T3" fmla="*/ 118 h 118"/>
                <a:gd name="T4" fmla="*/ 36 w 46"/>
                <a:gd name="T5" fmla="*/ 109 h 118"/>
                <a:gd name="T6" fmla="*/ 36 w 46"/>
                <a:gd name="T7" fmla="*/ 109 h 118"/>
                <a:gd name="T8" fmla="*/ 36 w 46"/>
                <a:gd name="T9" fmla="*/ 109 h 118"/>
                <a:gd name="T10" fmla="*/ 36 w 46"/>
                <a:gd name="T11" fmla="*/ 109 h 118"/>
                <a:gd name="T12" fmla="*/ 36 w 46"/>
                <a:gd name="T13" fmla="*/ 109 h 118"/>
                <a:gd name="T14" fmla="*/ 35 w 46"/>
                <a:gd name="T15" fmla="*/ 109 h 118"/>
                <a:gd name="T16" fmla="*/ 35 w 46"/>
                <a:gd name="T17" fmla="*/ 107 h 118"/>
                <a:gd name="T18" fmla="*/ 35 w 46"/>
                <a:gd name="T19" fmla="*/ 107 h 118"/>
                <a:gd name="T20" fmla="*/ 31 w 46"/>
                <a:gd name="T21" fmla="*/ 100 h 118"/>
                <a:gd name="T22" fmla="*/ 31 w 46"/>
                <a:gd name="T23" fmla="*/ 83 h 118"/>
                <a:gd name="T24" fmla="*/ 31 w 46"/>
                <a:gd name="T25" fmla="*/ 83 h 118"/>
                <a:gd name="T26" fmla="*/ 29 w 46"/>
                <a:gd name="T27" fmla="*/ 80 h 118"/>
                <a:gd name="T28" fmla="*/ 28 w 46"/>
                <a:gd name="T29" fmla="*/ 80 h 118"/>
                <a:gd name="T30" fmla="*/ 26 w 46"/>
                <a:gd name="T31" fmla="*/ 80 h 118"/>
                <a:gd name="T32" fmla="*/ 26 w 46"/>
                <a:gd name="T33" fmla="*/ 80 h 118"/>
                <a:gd name="T34" fmla="*/ 22 w 46"/>
                <a:gd name="T35" fmla="*/ 83 h 118"/>
                <a:gd name="T36" fmla="*/ 22 w 46"/>
                <a:gd name="T37" fmla="*/ 83 h 118"/>
                <a:gd name="T38" fmla="*/ 22 w 46"/>
                <a:gd name="T39" fmla="*/ 83 h 118"/>
                <a:gd name="T40" fmla="*/ 20 w 46"/>
                <a:gd name="T41" fmla="*/ 83 h 118"/>
                <a:gd name="T42" fmla="*/ 15 w 46"/>
                <a:gd name="T43" fmla="*/ 80 h 118"/>
                <a:gd name="T44" fmla="*/ 15 w 46"/>
                <a:gd name="T45" fmla="*/ 80 h 118"/>
                <a:gd name="T46" fmla="*/ 12 w 46"/>
                <a:gd name="T47" fmla="*/ 76 h 118"/>
                <a:gd name="T48" fmla="*/ 7 w 46"/>
                <a:gd name="T49" fmla="*/ 73 h 118"/>
                <a:gd name="T50" fmla="*/ 7 w 46"/>
                <a:gd name="T51" fmla="*/ 73 h 118"/>
                <a:gd name="T52" fmla="*/ 3 w 46"/>
                <a:gd name="T53" fmla="*/ 73 h 118"/>
                <a:gd name="T54" fmla="*/ 0 w 46"/>
                <a:gd name="T55" fmla="*/ 61 h 118"/>
                <a:gd name="T56" fmla="*/ 2 w 46"/>
                <a:gd name="T57" fmla="*/ 54 h 118"/>
                <a:gd name="T58" fmla="*/ 7 w 46"/>
                <a:gd name="T59" fmla="*/ 38 h 118"/>
                <a:gd name="T60" fmla="*/ 10 w 46"/>
                <a:gd name="T61" fmla="*/ 12 h 118"/>
                <a:gd name="T62" fmla="*/ 15 w 46"/>
                <a:gd name="T63" fmla="*/ 2 h 118"/>
                <a:gd name="T64" fmla="*/ 15 w 46"/>
                <a:gd name="T65" fmla="*/ 2 h 118"/>
                <a:gd name="T66" fmla="*/ 16 w 46"/>
                <a:gd name="T67" fmla="*/ 2 h 118"/>
                <a:gd name="T68" fmla="*/ 19 w 46"/>
                <a:gd name="T69" fmla="*/ 0 h 118"/>
                <a:gd name="T70" fmla="*/ 20 w 46"/>
                <a:gd name="T71" fmla="*/ 0 h 118"/>
                <a:gd name="T72" fmla="*/ 20 w 46"/>
                <a:gd name="T73" fmla="*/ 0 h 118"/>
                <a:gd name="T74" fmla="*/ 22 w 46"/>
                <a:gd name="T75" fmla="*/ 0 h 118"/>
                <a:gd name="T76" fmla="*/ 25 w 46"/>
                <a:gd name="T77" fmla="*/ 5 h 118"/>
                <a:gd name="T78" fmla="*/ 25 w 46"/>
                <a:gd name="T79" fmla="*/ 5 h 118"/>
                <a:gd name="T80" fmla="*/ 28 w 46"/>
                <a:gd name="T81" fmla="*/ 29 h 118"/>
                <a:gd name="T82" fmla="*/ 25 w 46"/>
                <a:gd name="T83" fmla="*/ 39 h 118"/>
                <a:gd name="T84" fmla="*/ 26 w 46"/>
                <a:gd name="T85" fmla="*/ 48 h 118"/>
                <a:gd name="T86" fmla="*/ 35 w 46"/>
                <a:gd name="T87" fmla="*/ 71 h 118"/>
                <a:gd name="T88" fmla="*/ 39 w 46"/>
                <a:gd name="T89" fmla="*/ 76 h 118"/>
                <a:gd name="T90" fmla="*/ 41 w 46"/>
                <a:gd name="T91" fmla="*/ 76 h 118"/>
                <a:gd name="T92" fmla="*/ 42 w 46"/>
                <a:gd name="T93" fmla="*/ 77 h 118"/>
                <a:gd name="T94" fmla="*/ 46 w 46"/>
                <a:gd name="T95" fmla="*/ 110 h 118"/>
                <a:gd name="T96" fmla="*/ 46 w 46"/>
                <a:gd name="T97" fmla="*/ 115 h 118"/>
                <a:gd name="T98" fmla="*/ 46 w 46"/>
                <a:gd name="T99" fmla="*/ 115 h 118"/>
                <a:gd name="T100" fmla="*/ 45 w 46"/>
                <a:gd name="T101"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 h="118">
                  <a:moveTo>
                    <a:pt x="45" y="118"/>
                  </a:moveTo>
                  <a:lnTo>
                    <a:pt x="45" y="118"/>
                  </a:lnTo>
                  <a:lnTo>
                    <a:pt x="45" y="118"/>
                  </a:lnTo>
                  <a:lnTo>
                    <a:pt x="45" y="118"/>
                  </a:lnTo>
                  <a:lnTo>
                    <a:pt x="45" y="118"/>
                  </a:lnTo>
                  <a:lnTo>
                    <a:pt x="45" y="118"/>
                  </a:lnTo>
                  <a:lnTo>
                    <a:pt x="42" y="115"/>
                  </a:lnTo>
                  <a:lnTo>
                    <a:pt x="36" y="109"/>
                  </a:lnTo>
                  <a:lnTo>
                    <a:pt x="36" y="109"/>
                  </a:lnTo>
                  <a:lnTo>
                    <a:pt x="36" y="109"/>
                  </a:lnTo>
                  <a:lnTo>
                    <a:pt x="36" y="109"/>
                  </a:lnTo>
                  <a:lnTo>
                    <a:pt x="36" y="109"/>
                  </a:lnTo>
                  <a:lnTo>
                    <a:pt x="36" y="109"/>
                  </a:lnTo>
                  <a:lnTo>
                    <a:pt x="36" y="109"/>
                  </a:lnTo>
                  <a:lnTo>
                    <a:pt x="36" y="109"/>
                  </a:lnTo>
                  <a:lnTo>
                    <a:pt x="36" y="109"/>
                  </a:lnTo>
                  <a:lnTo>
                    <a:pt x="36" y="109"/>
                  </a:lnTo>
                  <a:lnTo>
                    <a:pt x="36" y="109"/>
                  </a:lnTo>
                  <a:lnTo>
                    <a:pt x="36" y="109"/>
                  </a:lnTo>
                  <a:lnTo>
                    <a:pt x="36" y="109"/>
                  </a:lnTo>
                  <a:lnTo>
                    <a:pt x="36" y="109"/>
                  </a:lnTo>
                  <a:lnTo>
                    <a:pt x="36" y="109"/>
                  </a:lnTo>
                  <a:lnTo>
                    <a:pt x="36" y="109"/>
                  </a:lnTo>
                  <a:lnTo>
                    <a:pt x="35" y="109"/>
                  </a:lnTo>
                  <a:lnTo>
                    <a:pt x="35" y="109"/>
                  </a:lnTo>
                  <a:lnTo>
                    <a:pt x="35" y="107"/>
                  </a:lnTo>
                  <a:lnTo>
                    <a:pt x="35" y="107"/>
                  </a:lnTo>
                  <a:lnTo>
                    <a:pt x="35" y="107"/>
                  </a:lnTo>
                  <a:lnTo>
                    <a:pt x="35" y="107"/>
                  </a:lnTo>
                  <a:lnTo>
                    <a:pt x="35" y="107"/>
                  </a:lnTo>
                  <a:lnTo>
                    <a:pt x="35" y="107"/>
                  </a:lnTo>
                  <a:lnTo>
                    <a:pt x="32" y="105"/>
                  </a:lnTo>
                  <a:lnTo>
                    <a:pt x="31" y="100"/>
                  </a:lnTo>
                  <a:lnTo>
                    <a:pt x="29" y="93"/>
                  </a:lnTo>
                  <a:lnTo>
                    <a:pt x="29" y="93"/>
                  </a:lnTo>
                  <a:lnTo>
                    <a:pt x="31" y="83"/>
                  </a:lnTo>
                  <a:lnTo>
                    <a:pt x="31" y="83"/>
                  </a:lnTo>
                  <a:lnTo>
                    <a:pt x="31" y="83"/>
                  </a:lnTo>
                  <a:lnTo>
                    <a:pt x="31" y="83"/>
                  </a:lnTo>
                  <a:lnTo>
                    <a:pt x="31" y="80"/>
                  </a:lnTo>
                  <a:lnTo>
                    <a:pt x="29" y="80"/>
                  </a:lnTo>
                  <a:lnTo>
                    <a:pt x="29" y="80"/>
                  </a:lnTo>
                  <a:lnTo>
                    <a:pt x="29" y="80"/>
                  </a:lnTo>
                  <a:lnTo>
                    <a:pt x="28" y="80"/>
                  </a:lnTo>
                  <a:lnTo>
                    <a:pt x="28" y="80"/>
                  </a:lnTo>
                  <a:lnTo>
                    <a:pt x="28" y="80"/>
                  </a:lnTo>
                  <a:lnTo>
                    <a:pt x="28" y="80"/>
                  </a:lnTo>
                  <a:lnTo>
                    <a:pt x="26" y="80"/>
                  </a:lnTo>
                  <a:lnTo>
                    <a:pt x="26" y="80"/>
                  </a:lnTo>
                  <a:lnTo>
                    <a:pt x="26" y="80"/>
                  </a:lnTo>
                  <a:lnTo>
                    <a:pt x="26" y="80"/>
                  </a:lnTo>
                  <a:lnTo>
                    <a:pt x="22" y="83"/>
                  </a:lnTo>
                  <a:lnTo>
                    <a:pt x="22" y="83"/>
                  </a:lnTo>
                  <a:lnTo>
                    <a:pt x="22" y="83"/>
                  </a:lnTo>
                  <a:lnTo>
                    <a:pt x="22" y="83"/>
                  </a:lnTo>
                  <a:lnTo>
                    <a:pt x="22" y="83"/>
                  </a:lnTo>
                  <a:lnTo>
                    <a:pt x="22" y="83"/>
                  </a:lnTo>
                  <a:lnTo>
                    <a:pt x="22" y="83"/>
                  </a:lnTo>
                  <a:lnTo>
                    <a:pt x="22" y="83"/>
                  </a:lnTo>
                  <a:lnTo>
                    <a:pt x="22" y="83"/>
                  </a:lnTo>
                  <a:lnTo>
                    <a:pt x="22" y="83"/>
                  </a:lnTo>
                  <a:lnTo>
                    <a:pt x="20" y="83"/>
                  </a:lnTo>
                  <a:lnTo>
                    <a:pt x="20" y="83"/>
                  </a:lnTo>
                  <a:lnTo>
                    <a:pt x="20" y="83"/>
                  </a:lnTo>
                  <a:lnTo>
                    <a:pt x="20" y="83"/>
                  </a:lnTo>
                  <a:lnTo>
                    <a:pt x="15" y="80"/>
                  </a:lnTo>
                  <a:lnTo>
                    <a:pt x="15" y="80"/>
                  </a:lnTo>
                  <a:lnTo>
                    <a:pt x="15" y="80"/>
                  </a:lnTo>
                  <a:lnTo>
                    <a:pt x="15" y="80"/>
                  </a:lnTo>
                  <a:lnTo>
                    <a:pt x="15" y="80"/>
                  </a:lnTo>
                  <a:lnTo>
                    <a:pt x="15" y="80"/>
                  </a:lnTo>
                  <a:lnTo>
                    <a:pt x="12" y="76"/>
                  </a:lnTo>
                  <a:lnTo>
                    <a:pt x="7" y="73"/>
                  </a:lnTo>
                  <a:lnTo>
                    <a:pt x="7" y="73"/>
                  </a:lnTo>
                  <a:lnTo>
                    <a:pt x="7" y="73"/>
                  </a:lnTo>
                  <a:lnTo>
                    <a:pt x="7" y="73"/>
                  </a:lnTo>
                  <a:lnTo>
                    <a:pt x="7" y="73"/>
                  </a:lnTo>
                  <a:lnTo>
                    <a:pt x="7" y="73"/>
                  </a:lnTo>
                  <a:lnTo>
                    <a:pt x="4" y="73"/>
                  </a:lnTo>
                  <a:lnTo>
                    <a:pt x="4" y="73"/>
                  </a:lnTo>
                  <a:lnTo>
                    <a:pt x="3" y="73"/>
                  </a:lnTo>
                  <a:lnTo>
                    <a:pt x="3" y="73"/>
                  </a:lnTo>
                  <a:lnTo>
                    <a:pt x="2" y="67"/>
                  </a:lnTo>
                  <a:lnTo>
                    <a:pt x="0" y="61"/>
                  </a:lnTo>
                  <a:lnTo>
                    <a:pt x="0" y="61"/>
                  </a:lnTo>
                  <a:lnTo>
                    <a:pt x="0" y="58"/>
                  </a:lnTo>
                  <a:lnTo>
                    <a:pt x="2" y="54"/>
                  </a:lnTo>
                  <a:lnTo>
                    <a:pt x="2" y="54"/>
                  </a:lnTo>
                  <a:lnTo>
                    <a:pt x="6" y="45"/>
                  </a:lnTo>
                  <a:lnTo>
                    <a:pt x="7" y="38"/>
                  </a:lnTo>
                  <a:lnTo>
                    <a:pt x="7" y="21"/>
                  </a:lnTo>
                  <a:lnTo>
                    <a:pt x="7" y="21"/>
                  </a:lnTo>
                  <a:lnTo>
                    <a:pt x="10" y="12"/>
                  </a:lnTo>
                  <a:lnTo>
                    <a:pt x="13" y="2"/>
                  </a:lnTo>
                  <a:lnTo>
                    <a:pt x="13" y="2"/>
                  </a:lnTo>
                  <a:lnTo>
                    <a:pt x="15" y="2"/>
                  </a:lnTo>
                  <a:lnTo>
                    <a:pt x="15" y="2"/>
                  </a:lnTo>
                  <a:lnTo>
                    <a:pt x="15" y="2"/>
                  </a:lnTo>
                  <a:lnTo>
                    <a:pt x="15" y="2"/>
                  </a:lnTo>
                  <a:lnTo>
                    <a:pt x="16" y="2"/>
                  </a:lnTo>
                  <a:lnTo>
                    <a:pt x="16" y="2"/>
                  </a:lnTo>
                  <a:lnTo>
                    <a:pt x="16" y="2"/>
                  </a:lnTo>
                  <a:lnTo>
                    <a:pt x="16" y="2"/>
                  </a:lnTo>
                  <a:lnTo>
                    <a:pt x="19" y="0"/>
                  </a:lnTo>
                  <a:lnTo>
                    <a:pt x="19" y="0"/>
                  </a:lnTo>
                  <a:lnTo>
                    <a:pt x="20" y="0"/>
                  </a:lnTo>
                  <a:lnTo>
                    <a:pt x="20" y="0"/>
                  </a:lnTo>
                  <a:lnTo>
                    <a:pt x="20" y="0"/>
                  </a:lnTo>
                  <a:lnTo>
                    <a:pt x="20" y="0"/>
                  </a:lnTo>
                  <a:lnTo>
                    <a:pt x="20" y="0"/>
                  </a:lnTo>
                  <a:lnTo>
                    <a:pt x="20" y="0"/>
                  </a:lnTo>
                  <a:lnTo>
                    <a:pt x="22" y="0"/>
                  </a:lnTo>
                  <a:lnTo>
                    <a:pt x="22" y="0"/>
                  </a:lnTo>
                  <a:lnTo>
                    <a:pt x="22" y="0"/>
                  </a:lnTo>
                  <a:lnTo>
                    <a:pt x="22" y="0"/>
                  </a:lnTo>
                  <a:lnTo>
                    <a:pt x="23" y="0"/>
                  </a:lnTo>
                  <a:lnTo>
                    <a:pt x="25" y="5"/>
                  </a:lnTo>
                  <a:lnTo>
                    <a:pt x="25" y="5"/>
                  </a:lnTo>
                  <a:lnTo>
                    <a:pt x="25" y="5"/>
                  </a:lnTo>
                  <a:lnTo>
                    <a:pt x="25" y="5"/>
                  </a:lnTo>
                  <a:lnTo>
                    <a:pt x="25" y="19"/>
                  </a:lnTo>
                  <a:lnTo>
                    <a:pt x="26" y="26"/>
                  </a:lnTo>
                  <a:lnTo>
                    <a:pt x="28" y="29"/>
                  </a:lnTo>
                  <a:lnTo>
                    <a:pt x="29" y="31"/>
                  </a:lnTo>
                  <a:lnTo>
                    <a:pt x="29" y="31"/>
                  </a:lnTo>
                  <a:lnTo>
                    <a:pt x="25" y="39"/>
                  </a:lnTo>
                  <a:lnTo>
                    <a:pt x="25" y="39"/>
                  </a:lnTo>
                  <a:lnTo>
                    <a:pt x="25" y="42"/>
                  </a:lnTo>
                  <a:lnTo>
                    <a:pt x="26" y="48"/>
                  </a:lnTo>
                  <a:lnTo>
                    <a:pt x="32" y="61"/>
                  </a:lnTo>
                  <a:lnTo>
                    <a:pt x="32" y="61"/>
                  </a:lnTo>
                  <a:lnTo>
                    <a:pt x="35" y="71"/>
                  </a:lnTo>
                  <a:lnTo>
                    <a:pt x="36" y="74"/>
                  </a:lnTo>
                  <a:lnTo>
                    <a:pt x="39" y="76"/>
                  </a:lnTo>
                  <a:lnTo>
                    <a:pt x="39" y="76"/>
                  </a:lnTo>
                  <a:lnTo>
                    <a:pt x="41" y="76"/>
                  </a:lnTo>
                  <a:lnTo>
                    <a:pt x="41" y="76"/>
                  </a:lnTo>
                  <a:lnTo>
                    <a:pt x="41" y="76"/>
                  </a:lnTo>
                  <a:lnTo>
                    <a:pt x="41" y="76"/>
                  </a:lnTo>
                  <a:lnTo>
                    <a:pt x="42" y="77"/>
                  </a:lnTo>
                  <a:lnTo>
                    <a:pt x="42" y="77"/>
                  </a:lnTo>
                  <a:lnTo>
                    <a:pt x="45" y="84"/>
                  </a:lnTo>
                  <a:lnTo>
                    <a:pt x="46" y="93"/>
                  </a:lnTo>
                  <a:lnTo>
                    <a:pt x="46" y="110"/>
                  </a:lnTo>
                  <a:lnTo>
                    <a:pt x="46" y="110"/>
                  </a:lnTo>
                  <a:lnTo>
                    <a:pt x="46" y="115"/>
                  </a:lnTo>
                  <a:lnTo>
                    <a:pt x="46" y="115"/>
                  </a:lnTo>
                  <a:lnTo>
                    <a:pt x="46" y="115"/>
                  </a:lnTo>
                  <a:lnTo>
                    <a:pt x="46" y="115"/>
                  </a:lnTo>
                  <a:lnTo>
                    <a:pt x="46" y="115"/>
                  </a:lnTo>
                  <a:lnTo>
                    <a:pt x="46" y="115"/>
                  </a:lnTo>
                  <a:lnTo>
                    <a:pt x="46" y="118"/>
                  </a:lnTo>
                  <a:lnTo>
                    <a:pt x="45" y="118"/>
                  </a:lnTo>
                  <a:lnTo>
                    <a:pt x="45" y="1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59" name="Freeform 385"/>
            <p:cNvSpPr>
              <a:spLocks noEditPoints="1"/>
            </p:cNvSpPr>
            <p:nvPr/>
          </p:nvSpPr>
          <p:spPr bwMode="auto">
            <a:xfrm>
              <a:off x="5159376" y="5126466"/>
              <a:ext cx="68263" cy="71438"/>
            </a:xfrm>
            <a:custGeom>
              <a:avLst/>
              <a:gdLst>
                <a:gd name="T0" fmla="*/ 4 w 43"/>
                <a:gd name="T1" fmla="*/ 0 h 45"/>
                <a:gd name="T2" fmla="*/ 1 w 43"/>
                <a:gd name="T3" fmla="*/ 0 h 45"/>
                <a:gd name="T4" fmla="*/ 0 w 43"/>
                <a:gd name="T5" fmla="*/ 0 h 45"/>
                <a:gd name="T6" fmla="*/ 4 w 43"/>
                <a:gd name="T7" fmla="*/ 0 h 45"/>
                <a:gd name="T8" fmla="*/ 12 w 43"/>
                <a:gd name="T9" fmla="*/ 7 h 45"/>
                <a:gd name="T10" fmla="*/ 4 w 43"/>
                <a:gd name="T11" fmla="*/ 0 h 45"/>
                <a:gd name="T12" fmla="*/ 12 w 43"/>
                <a:gd name="T13" fmla="*/ 7 h 45"/>
                <a:gd name="T14" fmla="*/ 12 w 43"/>
                <a:gd name="T15" fmla="*/ 7 h 45"/>
                <a:gd name="T16" fmla="*/ 26 w 43"/>
                <a:gd name="T17" fmla="*/ 7 h 45"/>
                <a:gd name="T18" fmla="*/ 25 w 43"/>
                <a:gd name="T19" fmla="*/ 7 h 45"/>
                <a:gd name="T20" fmla="*/ 25 w 43"/>
                <a:gd name="T21" fmla="*/ 7 h 45"/>
                <a:gd name="T22" fmla="*/ 23 w 43"/>
                <a:gd name="T23" fmla="*/ 7 h 45"/>
                <a:gd name="T24" fmla="*/ 23 w 43"/>
                <a:gd name="T25" fmla="*/ 7 h 45"/>
                <a:gd name="T26" fmla="*/ 19 w 43"/>
                <a:gd name="T27" fmla="*/ 10 h 45"/>
                <a:gd name="T28" fmla="*/ 19 w 43"/>
                <a:gd name="T29" fmla="*/ 10 h 45"/>
                <a:gd name="T30" fmla="*/ 19 w 43"/>
                <a:gd name="T31" fmla="*/ 10 h 45"/>
                <a:gd name="T32" fmla="*/ 17 w 43"/>
                <a:gd name="T33" fmla="*/ 10 h 45"/>
                <a:gd name="T34" fmla="*/ 19 w 43"/>
                <a:gd name="T35" fmla="*/ 10 h 45"/>
                <a:gd name="T36" fmla="*/ 17 w 43"/>
                <a:gd name="T37" fmla="*/ 10 h 45"/>
                <a:gd name="T38" fmla="*/ 17 w 43"/>
                <a:gd name="T39" fmla="*/ 10 h 45"/>
                <a:gd name="T40" fmla="*/ 28 w 43"/>
                <a:gd name="T41" fmla="*/ 10 h 45"/>
                <a:gd name="T42" fmla="*/ 32 w 43"/>
                <a:gd name="T43" fmla="*/ 34 h 45"/>
                <a:gd name="T44" fmla="*/ 29 w 43"/>
                <a:gd name="T45" fmla="*/ 32 h 45"/>
                <a:gd name="T46" fmla="*/ 26 w 43"/>
                <a:gd name="T47" fmla="*/ 20 h 45"/>
                <a:gd name="T48" fmla="*/ 32 w 43"/>
                <a:gd name="T49" fmla="*/ 34 h 45"/>
                <a:gd name="T50" fmla="*/ 32 w 43"/>
                <a:gd name="T51" fmla="*/ 34 h 45"/>
                <a:gd name="T52" fmla="*/ 33 w 43"/>
                <a:gd name="T53" fmla="*/ 36 h 45"/>
                <a:gd name="T54" fmla="*/ 32 w 43"/>
                <a:gd name="T55" fmla="*/ 36 h 45"/>
                <a:gd name="T56" fmla="*/ 33 w 43"/>
                <a:gd name="T57" fmla="*/ 36 h 45"/>
                <a:gd name="T58" fmla="*/ 33 w 43"/>
                <a:gd name="T59" fmla="*/ 36 h 45"/>
                <a:gd name="T60" fmla="*/ 33 w 43"/>
                <a:gd name="T61" fmla="*/ 36 h 45"/>
                <a:gd name="T62" fmla="*/ 33 w 43"/>
                <a:gd name="T63" fmla="*/ 36 h 45"/>
                <a:gd name="T64" fmla="*/ 33 w 43"/>
                <a:gd name="T65" fmla="*/ 36 h 45"/>
                <a:gd name="T66" fmla="*/ 43 w 43"/>
                <a:gd name="T67" fmla="*/ 42 h 45"/>
                <a:gd name="T68" fmla="*/ 43 w 43"/>
                <a:gd name="T69" fmla="*/ 37 h 45"/>
                <a:gd name="T70" fmla="*/ 43 w 43"/>
                <a:gd name="T71" fmla="*/ 42 h 45"/>
                <a:gd name="T72" fmla="*/ 42 w 43"/>
                <a:gd name="T73" fmla="*/ 45 h 45"/>
                <a:gd name="T74" fmla="*/ 33 w 43"/>
                <a:gd name="T75" fmla="*/ 36 h 45"/>
                <a:gd name="T76" fmla="*/ 42 w 43"/>
                <a:gd name="T77" fmla="*/ 45 h 45"/>
                <a:gd name="T78" fmla="*/ 43 w 43"/>
                <a:gd name="T79" fmla="*/ 42 h 45"/>
                <a:gd name="T80" fmla="*/ 42 w 43"/>
                <a:gd name="T81" fmla="*/ 45 h 45"/>
                <a:gd name="T82" fmla="*/ 42 w 43"/>
                <a:gd name="T8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3" h="45">
                  <a:moveTo>
                    <a:pt x="4" y="0"/>
                  </a:moveTo>
                  <a:lnTo>
                    <a:pt x="4" y="0"/>
                  </a:lnTo>
                  <a:lnTo>
                    <a:pt x="4" y="0"/>
                  </a:lnTo>
                  <a:lnTo>
                    <a:pt x="4" y="0"/>
                  </a:lnTo>
                  <a:lnTo>
                    <a:pt x="1" y="0"/>
                  </a:lnTo>
                  <a:lnTo>
                    <a:pt x="1" y="0"/>
                  </a:lnTo>
                  <a:lnTo>
                    <a:pt x="0" y="0"/>
                  </a:lnTo>
                  <a:lnTo>
                    <a:pt x="0" y="0"/>
                  </a:lnTo>
                  <a:lnTo>
                    <a:pt x="0" y="0"/>
                  </a:lnTo>
                  <a:lnTo>
                    <a:pt x="1" y="0"/>
                  </a:lnTo>
                  <a:lnTo>
                    <a:pt x="1" y="0"/>
                  </a:lnTo>
                  <a:lnTo>
                    <a:pt x="4" y="0"/>
                  </a:lnTo>
                  <a:lnTo>
                    <a:pt x="4" y="0"/>
                  </a:lnTo>
                  <a:lnTo>
                    <a:pt x="4" y="0"/>
                  </a:lnTo>
                  <a:close/>
                  <a:moveTo>
                    <a:pt x="12" y="7"/>
                  </a:moveTo>
                  <a:lnTo>
                    <a:pt x="12" y="7"/>
                  </a:lnTo>
                  <a:lnTo>
                    <a:pt x="9" y="3"/>
                  </a:lnTo>
                  <a:lnTo>
                    <a:pt x="4" y="0"/>
                  </a:lnTo>
                  <a:lnTo>
                    <a:pt x="4" y="0"/>
                  </a:lnTo>
                  <a:lnTo>
                    <a:pt x="9" y="3"/>
                  </a:lnTo>
                  <a:lnTo>
                    <a:pt x="12" y="7"/>
                  </a:lnTo>
                  <a:close/>
                  <a:moveTo>
                    <a:pt x="12" y="7"/>
                  </a:moveTo>
                  <a:lnTo>
                    <a:pt x="12" y="7"/>
                  </a:lnTo>
                  <a:lnTo>
                    <a:pt x="12" y="7"/>
                  </a:lnTo>
                  <a:lnTo>
                    <a:pt x="12" y="7"/>
                  </a:lnTo>
                  <a:lnTo>
                    <a:pt x="12" y="7"/>
                  </a:lnTo>
                  <a:close/>
                  <a:moveTo>
                    <a:pt x="26" y="7"/>
                  </a:moveTo>
                  <a:lnTo>
                    <a:pt x="26" y="7"/>
                  </a:lnTo>
                  <a:lnTo>
                    <a:pt x="26" y="7"/>
                  </a:lnTo>
                  <a:close/>
                  <a:moveTo>
                    <a:pt x="25" y="7"/>
                  </a:moveTo>
                  <a:lnTo>
                    <a:pt x="25" y="7"/>
                  </a:lnTo>
                  <a:lnTo>
                    <a:pt x="25" y="7"/>
                  </a:lnTo>
                  <a:lnTo>
                    <a:pt x="25" y="7"/>
                  </a:lnTo>
                  <a:lnTo>
                    <a:pt x="25" y="7"/>
                  </a:lnTo>
                  <a:close/>
                  <a:moveTo>
                    <a:pt x="23" y="7"/>
                  </a:moveTo>
                  <a:lnTo>
                    <a:pt x="23" y="7"/>
                  </a:lnTo>
                  <a:lnTo>
                    <a:pt x="23" y="7"/>
                  </a:lnTo>
                  <a:lnTo>
                    <a:pt x="23" y="7"/>
                  </a:lnTo>
                  <a:lnTo>
                    <a:pt x="23" y="7"/>
                  </a:lnTo>
                  <a:close/>
                  <a:moveTo>
                    <a:pt x="19" y="10"/>
                  </a:moveTo>
                  <a:lnTo>
                    <a:pt x="19" y="10"/>
                  </a:lnTo>
                  <a:lnTo>
                    <a:pt x="19" y="10"/>
                  </a:lnTo>
                  <a:lnTo>
                    <a:pt x="19" y="10"/>
                  </a:lnTo>
                  <a:lnTo>
                    <a:pt x="19" y="10"/>
                  </a:lnTo>
                  <a:close/>
                  <a:moveTo>
                    <a:pt x="19" y="10"/>
                  </a:moveTo>
                  <a:lnTo>
                    <a:pt x="19" y="10"/>
                  </a:lnTo>
                  <a:lnTo>
                    <a:pt x="19" y="10"/>
                  </a:lnTo>
                  <a:lnTo>
                    <a:pt x="19" y="10"/>
                  </a:lnTo>
                  <a:lnTo>
                    <a:pt x="19" y="10"/>
                  </a:lnTo>
                  <a:lnTo>
                    <a:pt x="19" y="10"/>
                  </a:lnTo>
                  <a:close/>
                  <a:moveTo>
                    <a:pt x="17" y="10"/>
                  </a:moveTo>
                  <a:lnTo>
                    <a:pt x="17" y="10"/>
                  </a:lnTo>
                  <a:lnTo>
                    <a:pt x="19" y="10"/>
                  </a:lnTo>
                  <a:lnTo>
                    <a:pt x="19" y="10"/>
                  </a:lnTo>
                  <a:lnTo>
                    <a:pt x="17" y="10"/>
                  </a:lnTo>
                  <a:close/>
                  <a:moveTo>
                    <a:pt x="17" y="10"/>
                  </a:moveTo>
                  <a:lnTo>
                    <a:pt x="17" y="10"/>
                  </a:lnTo>
                  <a:lnTo>
                    <a:pt x="17" y="10"/>
                  </a:lnTo>
                  <a:lnTo>
                    <a:pt x="17" y="10"/>
                  </a:lnTo>
                  <a:lnTo>
                    <a:pt x="17" y="10"/>
                  </a:lnTo>
                  <a:close/>
                  <a:moveTo>
                    <a:pt x="28" y="10"/>
                  </a:moveTo>
                  <a:lnTo>
                    <a:pt x="28" y="10"/>
                  </a:lnTo>
                  <a:lnTo>
                    <a:pt x="28" y="10"/>
                  </a:lnTo>
                  <a:lnTo>
                    <a:pt x="28" y="10"/>
                  </a:lnTo>
                  <a:lnTo>
                    <a:pt x="28" y="10"/>
                  </a:lnTo>
                  <a:close/>
                  <a:moveTo>
                    <a:pt x="32" y="34"/>
                  </a:moveTo>
                  <a:lnTo>
                    <a:pt x="32" y="34"/>
                  </a:lnTo>
                  <a:lnTo>
                    <a:pt x="32" y="34"/>
                  </a:lnTo>
                  <a:lnTo>
                    <a:pt x="29" y="32"/>
                  </a:lnTo>
                  <a:lnTo>
                    <a:pt x="28" y="27"/>
                  </a:lnTo>
                  <a:lnTo>
                    <a:pt x="26" y="20"/>
                  </a:lnTo>
                  <a:lnTo>
                    <a:pt x="26" y="20"/>
                  </a:lnTo>
                  <a:lnTo>
                    <a:pt x="28" y="27"/>
                  </a:lnTo>
                  <a:lnTo>
                    <a:pt x="29" y="32"/>
                  </a:lnTo>
                  <a:lnTo>
                    <a:pt x="32" y="34"/>
                  </a:lnTo>
                  <a:close/>
                  <a:moveTo>
                    <a:pt x="32" y="34"/>
                  </a:moveTo>
                  <a:lnTo>
                    <a:pt x="32" y="34"/>
                  </a:lnTo>
                  <a:lnTo>
                    <a:pt x="32" y="34"/>
                  </a:lnTo>
                  <a:lnTo>
                    <a:pt x="32" y="34"/>
                  </a:lnTo>
                  <a:lnTo>
                    <a:pt x="32" y="34"/>
                  </a:lnTo>
                  <a:close/>
                  <a:moveTo>
                    <a:pt x="33" y="36"/>
                  </a:moveTo>
                  <a:lnTo>
                    <a:pt x="33" y="36"/>
                  </a:lnTo>
                  <a:lnTo>
                    <a:pt x="32" y="36"/>
                  </a:lnTo>
                  <a:lnTo>
                    <a:pt x="32" y="36"/>
                  </a:lnTo>
                  <a:lnTo>
                    <a:pt x="33" y="36"/>
                  </a:lnTo>
                  <a:close/>
                  <a:moveTo>
                    <a:pt x="33" y="36"/>
                  </a:moveTo>
                  <a:lnTo>
                    <a:pt x="33" y="36"/>
                  </a:lnTo>
                  <a:lnTo>
                    <a:pt x="33" y="36"/>
                  </a:lnTo>
                  <a:lnTo>
                    <a:pt x="33" y="36"/>
                  </a:lnTo>
                  <a:lnTo>
                    <a:pt x="33" y="36"/>
                  </a:lnTo>
                  <a:close/>
                  <a:moveTo>
                    <a:pt x="33" y="36"/>
                  </a:moveTo>
                  <a:lnTo>
                    <a:pt x="33" y="36"/>
                  </a:lnTo>
                  <a:lnTo>
                    <a:pt x="33" y="36"/>
                  </a:lnTo>
                  <a:lnTo>
                    <a:pt x="33" y="36"/>
                  </a:lnTo>
                  <a:lnTo>
                    <a:pt x="33" y="36"/>
                  </a:lnTo>
                  <a:close/>
                  <a:moveTo>
                    <a:pt x="33" y="36"/>
                  </a:moveTo>
                  <a:lnTo>
                    <a:pt x="33" y="36"/>
                  </a:lnTo>
                  <a:lnTo>
                    <a:pt x="33" y="36"/>
                  </a:lnTo>
                  <a:lnTo>
                    <a:pt x="33" y="36"/>
                  </a:lnTo>
                  <a:lnTo>
                    <a:pt x="33" y="36"/>
                  </a:lnTo>
                  <a:close/>
                  <a:moveTo>
                    <a:pt x="43" y="42"/>
                  </a:moveTo>
                  <a:lnTo>
                    <a:pt x="43" y="42"/>
                  </a:lnTo>
                  <a:lnTo>
                    <a:pt x="43" y="42"/>
                  </a:lnTo>
                  <a:lnTo>
                    <a:pt x="43" y="42"/>
                  </a:lnTo>
                  <a:lnTo>
                    <a:pt x="43" y="37"/>
                  </a:lnTo>
                  <a:lnTo>
                    <a:pt x="43" y="37"/>
                  </a:lnTo>
                  <a:lnTo>
                    <a:pt x="43" y="42"/>
                  </a:lnTo>
                  <a:lnTo>
                    <a:pt x="43" y="42"/>
                  </a:lnTo>
                  <a:lnTo>
                    <a:pt x="43" y="42"/>
                  </a:lnTo>
                  <a:close/>
                  <a:moveTo>
                    <a:pt x="42" y="45"/>
                  </a:moveTo>
                  <a:lnTo>
                    <a:pt x="42" y="45"/>
                  </a:lnTo>
                  <a:lnTo>
                    <a:pt x="39" y="42"/>
                  </a:lnTo>
                  <a:lnTo>
                    <a:pt x="33" y="36"/>
                  </a:lnTo>
                  <a:lnTo>
                    <a:pt x="33" y="36"/>
                  </a:lnTo>
                  <a:lnTo>
                    <a:pt x="39" y="42"/>
                  </a:lnTo>
                  <a:lnTo>
                    <a:pt x="42" y="45"/>
                  </a:lnTo>
                  <a:close/>
                  <a:moveTo>
                    <a:pt x="42" y="45"/>
                  </a:moveTo>
                  <a:lnTo>
                    <a:pt x="42" y="45"/>
                  </a:lnTo>
                  <a:lnTo>
                    <a:pt x="43" y="45"/>
                  </a:lnTo>
                  <a:lnTo>
                    <a:pt x="43" y="42"/>
                  </a:lnTo>
                  <a:lnTo>
                    <a:pt x="43" y="42"/>
                  </a:lnTo>
                  <a:lnTo>
                    <a:pt x="43" y="45"/>
                  </a:lnTo>
                  <a:lnTo>
                    <a:pt x="42" y="45"/>
                  </a:lnTo>
                  <a:close/>
                  <a:moveTo>
                    <a:pt x="42" y="45"/>
                  </a:moveTo>
                  <a:lnTo>
                    <a:pt x="42" y="45"/>
                  </a:lnTo>
                  <a:lnTo>
                    <a:pt x="42" y="45"/>
                  </a:lnTo>
                  <a:lnTo>
                    <a:pt x="42" y="45"/>
                  </a:lnTo>
                  <a:lnTo>
                    <a:pt x="42" y="45"/>
                  </a:lnTo>
                  <a:close/>
                </a:path>
              </a:pathLst>
            </a:custGeom>
            <a:solidFill>
              <a:srgbClr val="60B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60" name="Freeform 386"/>
            <p:cNvSpPr>
              <a:spLocks/>
            </p:cNvSpPr>
            <p:nvPr/>
          </p:nvSpPr>
          <p:spPr bwMode="auto">
            <a:xfrm>
              <a:off x="5159376" y="5126466"/>
              <a:ext cx="6350" cy="0"/>
            </a:xfrm>
            <a:custGeom>
              <a:avLst/>
              <a:gdLst>
                <a:gd name="T0" fmla="*/ 4 w 4"/>
                <a:gd name="T1" fmla="*/ 4 w 4"/>
                <a:gd name="T2" fmla="*/ 4 w 4"/>
                <a:gd name="T3" fmla="*/ 4 w 4"/>
                <a:gd name="T4" fmla="*/ 1 w 4"/>
                <a:gd name="T5" fmla="*/ 1 w 4"/>
                <a:gd name="T6" fmla="*/ 0 w 4"/>
                <a:gd name="T7" fmla="*/ 0 w 4"/>
                <a:gd name="T8" fmla="*/ 0 w 4"/>
                <a:gd name="T9" fmla="*/ 1 w 4"/>
                <a:gd name="T10" fmla="*/ 1 w 4"/>
                <a:gd name="T11" fmla="*/ 4 w 4"/>
                <a:gd name="T12" fmla="*/ 4 w 4"/>
                <a:gd name="T13" fmla="*/ 4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Lst>
              <a:rect l="0" t="0" r="r" b="b"/>
              <a:pathLst>
                <a:path w="4">
                  <a:moveTo>
                    <a:pt x="4" y="0"/>
                  </a:moveTo>
                  <a:lnTo>
                    <a:pt x="4" y="0"/>
                  </a:lnTo>
                  <a:lnTo>
                    <a:pt x="4" y="0"/>
                  </a:lnTo>
                  <a:lnTo>
                    <a:pt x="4" y="0"/>
                  </a:lnTo>
                  <a:lnTo>
                    <a:pt x="1" y="0"/>
                  </a:lnTo>
                  <a:lnTo>
                    <a:pt x="1" y="0"/>
                  </a:lnTo>
                  <a:lnTo>
                    <a:pt x="0" y="0"/>
                  </a:lnTo>
                  <a:lnTo>
                    <a:pt x="0" y="0"/>
                  </a:lnTo>
                  <a:lnTo>
                    <a:pt x="0" y="0"/>
                  </a:lnTo>
                  <a:lnTo>
                    <a:pt x="1" y="0"/>
                  </a:lnTo>
                  <a:lnTo>
                    <a:pt x="1" y="0"/>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61" name="Freeform 387"/>
            <p:cNvSpPr>
              <a:spLocks/>
            </p:cNvSpPr>
            <p:nvPr/>
          </p:nvSpPr>
          <p:spPr bwMode="auto">
            <a:xfrm>
              <a:off x="5165726" y="5126466"/>
              <a:ext cx="12700" cy="11113"/>
            </a:xfrm>
            <a:custGeom>
              <a:avLst/>
              <a:gdLst>
                <a:gd name="T0" fmla="*/ 8 w 8"/>
                <a:gd name="T1" fmla="*/ 7 h 7"/>
                <a:gd name="T2" fmla="*/ 8 w 8"/>
                <a:gd name="T3" fmla="*/ 7 h 7"/>
                <a:gd name="T4" fmla="*/ 5 w 8"/>
                <a:gd name="T5" fmla="*/ 3 h 7"/>
                <a:gd name="T6" fmla="*/ 0 w 8"/>
                <a:gd name="T7" fmla="*/ 0 h 7"/>
                <a:gd name="T8" fmla="*/ 0 w 8"/>
                <a:gd name="T9" fmla="*/ 0 h 7"/>
                <a:gd name="T10" fmla="*/ 5 w 8"/>
                <a:gd name="T11" fmla="*/ 3 h 7"/>
                <a:gd name="T12" fmla="*/ 8 w 8"/>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8" y="7"/>
                  </a:moveTo>
                  <a:lnTo>
                    <a:pt x="8" y="7"/>
                  </a:lnTo>
                  <a:lnTo>
                    <a:pt x="5" y="3"/>
                  </a:lnTo>
                  <a:lnTo>
                    <a:pt x="0" y="0"/>
                  </a:lnTo>
                  <a:lnTo>
                    <a:pt x="0" y="0"/>
                  </a:lnTo>
                  <a:lnTo>
                    <a:pt x="5" y="3"/>
                  </a:lnTo>
                  <a:lnTo>
                    <a:pt x="8"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62" name="Rectangle 388"/>
            <p:cNvSpPr>
              <a:spLocks noChangeArrowheads="1"/>
            </p:cNvSpPr>
            <p:nvPr/>
          </p:nvSpPr>
          <p:spPr bwMode="auto">
            <a:xfrm>
              <a:off x="5178426" y="5137579"/>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63" name="Freeform 389"/>
            <p:cNvSpPr>
              <a:spLocks/>
            </p:cNvSpPr>
            <p:nvPr/>
          </p:nvSpPr>
          <p:spPr bwMode="auto">
            <a:xfrm>
              <a:off x="5200651" y="513757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64" name="Rectangle 390"/>
            <p:cNvSpPr>
              <a:spLocks noChangeArrowheads="1"/>
            </p:cNvSpPr>
            <p:nvPr/>
          </p:nvSpPr>
          <p:spPr bwMode="auto">
            <a:xfrm>
              <a:off x="5199063" y="5137579"/>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65" name="Rectangle 391"/>
            <p:cNvSpPr>
              <a:spLocks noChangeArrowheads="1"/>
            </p:cNvSpPr>
            <p:nvPr/>
          </p:nvSpPr>
          <p:spPr bwMode="auto">
            <a:xfrm>
              <a:off x="5195888" y="5137579"/>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66" name="Rectangle 392"/>
            <p:cNvSpPr>
              <a:spLocks noChangeArrowheads="1"/>
            </p:cNvSpPr>
            <p:nvPr/>
          </p:nvSpPr>
          <p:spPr bwMode="auto">
            <a:xfrm>
              <a:off x="5189538" y="5142341"/>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67" name="Freeform 393"/>
            <p:cNvSpPr>
              <a:spLocks/>
            </p:cNvSpPr>
            <p:nvPr/>
          </p:nvSpPr>
          <p:spPr bwMode="auto">
            <a:xfrm>
              <a:off x="5189538" y="514234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68" name="Rectangle 394"/>
            <p:cNvSpPr>
              <a:spLocks noChangeArrowheads="1"/>
            </p:cNvSpPr>
            <p:nvPr/>
          </p:nvSpPr>
          <p:spPr bwMode="auto">
            <a:xfrm>
              <a:off x="5186363" y="5142341"/>
              <a:ext cx="3175"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69" name="Rectangle 395"/>
            <p:cNvSpPr>
              <a:spLocks noChangeArrowheads="1"/>
            </p:cNvSpPr>
            <p:nvPr/>
          </p:nvSpPr>
          <p:spPr bwMode="auto">
            <a:xfrm>
              <a:off x="5186363" y="5142341"/>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70" name="Rectangle 396"/>
            <p:cNvSpPr>
              <a:spLocks noChangeArrowheads="1"/>
            </p:cNvSpPr>
            <p:nvPr/>
          </p:nvSpPr>
          <p:spPr bwMode="auto">
            <a:xfrm>
              <a:off x="5203826" y="5142341"/>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71" name="Freeform 397"/>
            <p:cNvSpPr>
              <a:spLocks/>
            </p:cNvSpPr>
            <p:nvPr/>
          </p:nvSpPr>
          <p:spPr bwMode="auto">
            <a:xfrm>
              <a:off x="5200651" y="5158216"/>
              <a:ext cx="9525" cy="22225"/>
            </a:xfrm>
            <a:custGeom>
              <a:avLst/>
              <a:gdLst>
                <a:gd name="T0" fmla="*/ 6 w 6"/>
                <a:gd name="T1" fmla="*/ 14 h 14"/>
                <a:gd name="T2" fmla="*/ 6 w 6"/>
                <a:gd name="T3" fmla="*/ 14 h 14"/>
                <a:gd name="T4" fmla="*/ 6 w 6"/>
                <a:gd name="T5" fmla="*/ 14 h 14"/>
                <a:gd name="T6" fmla="*/ 3 w 6"/>
                <a:gd name="T7" fmla="*/ 12 h 14"/>
                <a:gd name="T8" fmla="*/ 2 w 6"/>
                <a:gd name="T9" fmla="*/ 7 h 14"/>
                <a:gd name="T10" fmla="*/ 0 w 6"/>
                <a:gd name="T11" fmla="*/ 0 h 14"/>
                <a:gd name="T12" fmla="*/ 0 w 6"/>
                <a:gd name="T13" fmla="*/ 0 h 14"/>
                <a:gd name="T14" fmla="*/ 2 w 6"/>
                <a:gd name="T15" fmla="*/ 7 h 14"/>
                <a:gd name="T16" fmla="*/ 3 w 6"/>
                <a:gd name="T17" fmla="*/ 12 h 14"/>
                <a:gd name="T18" fmla="*/ 6 w 6"/>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4">
                  <a:moveTo>
                    <a:pt x="6" y="14"/>
                  </a:moveTo>
                  <a:lnTo>
                    <a:pt x="6" y="14"/>
                  </a:lnTo>
                  <a:lnTo>
                    <a:pt x="6" y="14"/>
                  </a:lnTo>
                  <a:lnTo>
                    <a:pt x="3" y="12"/>
                  </a:lnTo>
                  <a:lnTo>
                    <a:pt x="2" y="7"/>
                  </a:lnTo>
                  <a:lnTo>
                    <a:pt x="0" y="0"/>
                  </a:lnTo>
                  <a:lnTo>
                    <a:pt x="0" y="0"/>
                  </a:lnTo>
                  <a:lnTo>
                    <a:pt x="2" y="7"/>
                  </a:lnTo>
                  <a:lnTo>
                    <a:pt x="3" y="12"/>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72" name="Rectangle 398"/>
            <p:cNvSpPr>
              <a:spLocks noChangeArrowheads="1"/>
            </p:cNvSpPr>
            <p:nvPr/>
          </p:nvSpPr>
          <p:spPr bwMode="auto">
            <a:xfrm>
              <a:off x="5210176" y="5180441"/>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73" name="Rectangle 399"/>
            <p:cNvSpPr>
              <a:spLocks noChangeArrowheads="1"/>
            </p:cNvSpPr>
            <p:nvPr/>
          </p:nvSpPr>
          <p:spPr bwMode="auto">
            <a:xfrm>
              <a:off x="5210176" y="5183616"/>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74" name="Rectangle 400"/>
            <p:cNvSpPr>
              <a:spLocks noChangeArrowheads="1"/>
            </p:cNvSpPr>
            <p:nvPr/>
          </p:nvSpPr>
          <p:spPr bwMode="auto">
            <a:xfrm>
              <a:off x="5211763" y="5183616"/>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75" name="Rectangle 401"/>
            <p:cNvSpPr>
              <a:spLocks noChangeArrowheads="1"/>
            </p:cNvSpPr>
            <p:nvPr/>
          </p:nvSpPr>
          <p:spPr bwMode="auto">
            <a:xfrm>
              <a:off x="5211763" y="5183616"/>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76" name="Rectangle 402"/>
            <p:cNvSpPr>
              <a:spLocks noChangeArrowheads="1"/>
            </p:cNvSpPr>
            <p:nvPr/>
          </p:nvSpPr>
          <p:spPr bwMode="auto">
            <a:xfrm>
              <a:off x="5211763" y="5183616"/>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77" name="Freeform 403"/>
            <p:cNvSpPr>
              <a:spLocks/>
            </p:cNvSpPr>
            <p:nvPr/>
          </p:nvSpPr>
          <p:spPr bwMode="auto">
            <a:xfrm>
              <a:off x="5227638" y="5185204"/>
              <a:ext cx="0" cy="7938"/>
            </a:xfrm>
            <a:custGeom>
              <a:avLst/>
              <a:gdLst>
                <a:gd name="T0" fmla="*/ 5 h 5"/>
                <a:gd name="T1" fmla="*/ 5 h 5"/>
                <a:gd name="T2" fmla="*/ 5 h 5"/>
                <a:gd name="T3" fmla="*/ 5 h 5"/>
                <a:gd name="T4" fmla="*/ 0 h 5"/>
                <a:gd name="T5" fmla="*/ 0 h 5"/>
                <a:gd name="T6" fmla="*/ 5 h 5"/>
                <a:gd name="T7" fmla="*/ 5 h 5"/>
                <a:gd name="T8" fmla="*/ 5 h 5"/>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5">
                  <a:moveTo>
                    <a:pt x="0" y="5"/>
                  </a:moveTo>
                  <a:lnTo>
                    <a:pt x="0" y="5"/>
                  </a:lnTo>
                  <a:lnTo>
                    <a:pt x="0" y="5"/>
                  </a:lnTo>
                  <a:lnTo>
                    <a:pt x="0" y="5"/>
                  </a:lnTo>
                  <a:lnTo>
                    <a:pt x="0" y="0"/>
                  </a:lnTo>
                  <a:lnTo>
                    <a:pt x="0" y="0"/>
                  </a:lnTo>
                  <a:lnTo>
                    <a:pt x="0" y="5"/>
                  </a:lnTo>
                  <a:lnTo>
                    <a:pt x="0" y="5"/>
                  </a:lnTo>
                  <a:lnTo>
                    <a:pt x="0"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78" name="Freeform 404"/>
            <p:cNvSpPr>
              <a:spLocks/>
            </p:cNvSpPr>
            <p:nvPr/>
          </p:nvSpPr>
          <p:spPr bwMode="auto">
            <a:xfrm>
              <a:off x="5211763" y="5183616"/>
              <a:ext cx="14288" cy="14288"/>
            </a:xfrm>
            <a:custGeom>
              <a:avLst/>
              <a:gdLst>
                <a:gd name="T0" fmla="*/ 9 w 9"/>
                <a:gd name="T1" fmla="*/ 9 h 9"/>
                <a:gd name="T2" fmla="*/ 9 w 9"/>
                <a:gd name="T3" fmla="*/ 9 h 9"/>
                <a:gd name="T4" fmla="*/ 6 w 9"/>
                <a:gd name="T5" fmla="*/ 6 h 9"/>
                <a:gd name="T6" fmla="*/ 0 w 9"/>
                <a:gd name="T7" fmla="*/ 0 h 9"/>
                <a:gd name="T8" fmla="*/ 0 w 9"/>
                <a:gd name="T9" fmla="*/ 0 h 9"/>
                <a:gd name="T10" fmla="*/ 6 w 9"/>
                <a:gd name="T11" fmla="*/ 6 h 9"/>
                <a:gd name="T12" fmla="*/ 9 w 9"/>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9" y="9"/>
                  </a:moveTo>
                  <a:lnTo>
                    <a:pt x="9" y="9"/>
                  </a:lnTo>
                  <a:lnTo>
                    <a:pt x="6" y="6"/>
                  </a:lnTo>
                  <a:lnTo>
                    <a:pt x="0" y="0"/>
                  </a:lnTo>
                  <a:lnTo>
                    <a:pt x="0" y="0"/>
                  </a:lnTo>
                  <a:lnTo>
                    <a:pt x="6" y="6"/>
                  </a:lnTo>
                  <a:lnTo>
                    <a:pt x="9"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79" name="Freeform 405"/>
            <p:cNvSpPr>
              <a:spLocks/>
            </p:cNvSpPr>
            <p:nvPr/>
          </p:nvSpPr>
          <p:spPr bwMode="auto">
            <a:xfrm>
              <a:off x="5226051" y="5193141"/>
              <a:ext cx="1588" cy="4763"/>
            </a:xfrm>
            <a:custGeom>
              <a:avLst/>
              <a:gdLst>
                <a:gd name="T0" fmla="*/ 0 w 1"/>
                <a:gd name="T1" fmla="*/ 3 h 3"/>
                <a:gd name="T2" fmla="*/ 0 w 1"/>
                <a:gd name="T3" fmla="*/ 3 h 3"/>
                <a:gd name="T4" fmla="*/ 1 w 1"/>
                <a:gd name="T5" fmla="*/ 3 h 3"/>
                <a:gd name="T6" fmla="*/ 1 w 1"/>
                <a:gd name="T7" fmla="*/ 0 h 3"/>
                <a:gd name="T8" fmla="*/ 1 w 1"/>
                <a:gd name="T9" fmla="*/ 0 h 3"/>
                <a:gd name="T10" fmla="*/ 1 w 1"/>
                <a:gd name="T11" fmla="*/ 3 h 3"/>
                <a:gd name="T12" fmla="*/ 0 w 1"/>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 h="3">
                  <a:moveTo>
                    <a:pt x="0" y="3"/>
                  </a:moveTo>
                  <a:lnTo>
                    <a:pt x="0" y="3"/>
                  </a:lnTo>
                  <a:lnTo>
                    <a:pt x="1" y="3"/>
                  </a:lnTo>
                  <a:lnTo>
                    <a:pt x="1" y="0"/>
                  </a:lnTo>
                  <a:lnTo>
                    <a:pt x="1" y="0"/>
                  </a:lnTo>
                  <a:lnTo>
                    <a:pt x="1" y="3"/>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grpSp>
          <p:nvGrpSpPr>
            <p:cNvPr id="780" name="Group 607"/>
            <p:cNvGrpSpPr>
              <a:grpSpLocks/>
            </p:cNvGrpSpPr>
            <p:nvPr/>
          </p:nvGrpSpPr>
          <p:grpSpPr bwMode="auto">
            <a:xfrm>
              <a:off x="3881438" y="3751691"/>
              <a:ext cx="1735138" cy="1447800"/>
              <a:chOff x="2445" y="2128"/>
              <a:chExt cx="1093" cy="912"/>
            </a:xfrm>
          </p:grpSpPr>
          <p:sp>
            <p:nvSpPr>
              <p:cNvPr id="1407" name="Rectangle 407"/>
              <p:cNvSpPr>
                <a:spLocks noChangeArrowheads="1"/>
              </p:cNvSpPr>
              <p:nvPr/>
            </p:nvSpPr>
            <p:spPr bwMode="auto">
              <a:xfrm>
                <a:off x="3292" y="3039"/>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08" name="Freeform 408"/>
              <p:cNvSpPr>
                <a:spLocks/>
              </p:cNvSpPr>
              <p:nvPr/>
            </p:nvSpPr>
            <p:spPr bwMode="auto">
              <a:xfrm>
                <a:off x="2860" y="2209"/>
                <a:ext cx="268" cy="240"/>
              </a:xfrm>
              <a:custGeom>
                <a:avLst/>
                <a:gdLst>
                  <a:gd name="T0" fmla="*/ 268 w 268"/>
                  <a:gd name="T1" fmla="*/ 27 h 240"/>
                  <a:gd name="T2" fmla="*/ 250 w 268"/>
                  <a:gd name="T3" fmla="*/ 21 h 240"/>
                  <a:gd name="T4" fmla="*/ 242 w 268"/>
                  <a:gd name="T5" fmla="*/ 20 h 240"/>
                  <a:gd name="T6" fmla="*/ 232 w 268"/>
                  <a:gd name="T7" fmla="*/ 17 h 240"/>
                  <a:gd name="T8" fmla="*/ 229 w 268"/>
                  <a:gd name="T9" fmla="*/ 13 h 240"/>
                  <a:gd name="T10" fmla="*/ 221 w 268"/>
                  <a:gd name="T11" fmla="*/ 4 h 240"/>
                  <a:gd name="T12" fmla="*/ 216 w 268"/>
                  <a:gd name="T13" fmla="*/ 3 h 240"/>
                  <a:gd name="T14" fmla="*/ 202 w 268"/>
                  <a:gd name="T15" fmla="*/ 7 h 240"/>
                  <a:gd name="T16" fmla="*/ 187 w 268"/>
                  <a:gd name="T17" fmla="*/ 13 h 240"/>
                  <a:gd name="T18" fmla="*/ 183 w 268"/>
                  <a:gd name="T19" fmla="*/ 14 h 240"/>
                  <a:gd name="T20" fmla="*/ 179 w 268"/>
                  <a:gd name="T21" fmla="*/ 20 h 240"/>
                  <a:gd name="T22" fmla="*/ 180 w 268"/>
                  <a:gd name="T23" fmla="*/ 26 h 240"/>
                  <a:gd name="T24" fmla="*/ 180 w 268"/>
                  <a:gd name="T25" fmla="*/ 40 h 240"/>
                  <a:gd name="T26" fmla="*/ 174 w 268"/>
                  <a:gd name="T27" fmla="*/ 50 h 240"/>
                  <a:gd name="T28" fmla="*/ 168 w 268"/>
                  <a:gd name="T29" fmla="*/ 53 h 240"/>
                  <a:gd name="T30" fmla="*/ 157 w 268"/>
                  <a:gd name="T31" fmla="*/ 50 h 240"/>
                  <a:gd name="T32" fmla="*/ 150 w 268"/>
                  <a:gd name="T33" fmla="*/ 46 h 240"/>
                  <a:gd name="T34" fmla="*/ 129 w 268"/>
                  <a:gd name="T35" fmla="*/ 36 h 240"/>
                  <a:gd name="T36" fmla="*/ 124 w 268"/>
                  <a:gd name="T37" fmla="*/ 36 h 240"/>
                  <a:gd name="T38" fmla="*/ 112 w 268"/>
                  <a:gd name="T39" fmla="*/ 30 h 240"/>
                  <a:gd name="T40" fmla="*/ 106 w 268"/>
                  <a:gd name="T41" fmla="*/ 23 h 240"/>
                  <a:gd name="T42" fmla="*/ 105 w 268"/>
                  <a:gd name="T43" fmla="*/ 14 h 240"/>
                  <a:gd name="T44" fmla="*/ 97 w 268"/>
                  <a:gd name="T45" fmla="*/ 11 h 240"/>
                  <a:gd name="T46" fmla="*/ 93 w 268"/>
                  <a:gd name="T47" fmla="*/ 10 h 240"/>
                  <a:gd name="T48" fmla="*/ 83 w 268"/>
                  <a:gd name="T49" fmla="*/ 5 h 240"/>
                  <a:gd name="T50" fmla="*/ 77 w 268"/>
                  <a:gd name="T51" fmla="*/ 4 h 240"/>
                  <a:gd name="T52" fmla="*/ 70 w 268"/>
                  <a:gd name="T53" fmla="*/ 4 h 240"/>
                  <a:gd name="T54" fmla="*/ 55 w 268"/>
                  <a:gd name="T55" fmla="*/ 1 h 240"/>
                  <a:gd name="T56" fmla="*/ 53 w 268"/>
                  <a:gd name="T57" fmla="*/ 0 h 240"/>
                  <a:gd name="T58" fmla="*/ 50 w 268"/>
                  <a:gd name="T59" fmla="*/ 5 h 240"/>
                  <a:gd name="T60" fmla="*/ 44 w 268"/>
                  <a:gd name="T61" fmla="*/ 16 h 240"/>
                  <a:gd name="T62" fmla="*/ 40 w 268"/>
                  <a:gd name="T63" fmla="*/ 17 h 240"/>
                  <a:gd name="T64" fmla="*/ 31 w 268"/>
                  <a:gd name="T65" fmla="*/ 26 h 240"/>
                  <a:gd name="T66" fmla="*/ 25 w 268"/>
                  <a:gd name="T67" fmla="*/ 37 h 240"/>
                  <a:gd name="T68" fmla="*/ 15 w 268"/>
                  <a:gd name="T69" fmla="*/ 46 h 240"/>
                  <a:gd name="T70" fmla="*/ 2 w 268"/>
                  <a:gd name="T71" fmla="*/ 52 h 240"/>
                  <a:gd name="T72" fmla="*/ 0 w 268"/>
                  <a:gd name="T73" fmla="*/ 56 h 240"/>
                  <a:gd name="T74" fmla="*/ 9 w 268"/>
                  <a:gd name="T75" fmla="*/ 65 h 240"/>
                  <a:gd name="T76" fmla="*/ 13 w 268"/>
                  <a:gd name="T77" fmla="*/ 71 h 240"/>
                  <a:gd name="T78" fmla="*/ 13 w 268"/>
                  <a:gd name="T79" fmla="*/ 81 h 240"/>
                  <a:gd name="T80" fmla="*/ 11 w 268"/>
                  <a:gd name="T81" fmla="*/ 88 h 240"/>
                  <a:gd name="T82" fmla="*/ 12 w 268"/>
                  <a:gd name="T83" fmla="*/ 98 h 240"/>
                  <a:gd name="T84" fmla="*/ 16 w 268"/>
                  <a:gd name="T85" fmla="*/ 108 h 240"/>
                  <a:gd name="T86" fmla="*/ 16 w 268"/>
                  <a:gd name="T87" fmla="*/ 114 h 240"/>
                  <a:gd name="T88" fmla="*/ 12 w 268"/>
                  <a:gd name="T89" fmla="*/ 134 h 240"/>
                  <a:gd name="T90" fmla="*/ 12 w 268"/>
                  <a:gd name="T91" fmla="*/ 140 h 240"/>
                  <a:gd name="T92" fmla="*/ 18 w 268"/>
                  <a:gd name="T93" fmla="*/ 147 h 240"/>
                  <a:gd name="T94" fmla="*/ 25 w 268"/>
                  <a:gd name="T95" fmla="*/ 155 h 240"/>
                  <a:gd name="T96" fmla="*/ 74 w 268"/>
                  <a:gd name="T97" fmla="*/ 188 h 240"/>
                  <a:gd name="T98" fmla="*/ 248 w 268"/>
                  <a:gd name="T99" fmla="*/ 240 h 240"/>
                  <a:gd name="T100" fmla="*/ 248 w 268"/>
                  <a:gd name="T101" fmla="*/ 233 h 240"/>
                  <a:gd name="T102" fmla="*/ 268 w 268"/>
                  <a:gd name="T103" fmla="*/ 27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8" h="240">
                    <a:moveTo>
                      <a:pt x="268" y="27"/>
                    </a:moveTo>
                    <a:lnTo>
                      <a:pt x="268" y="27"/>
                    </a:lnTo>
                    <a:lnTo>
                      <a:pt x="257" y="24"/>
                    </a:lnTo>
                    <a:lnTo>
                      <a:pt x="250" y="21"/>
                    </a:lnTo>
                    <a:lnTo>
                      <a:pt x="242" y="20"/>
                    </a:lnTo>
                    <a:lnTo>
                      <a:pt x="242" y="20"/>
                    </a:lnTo>
                    <a:lnTo>
                      <a:pt x="235" y="18"/>
                    </a:lnTo>
                    <a:lnTo>
                      <a:pt x="232" y="17"/>
                    </a:lnTo>
                    <a:lnTo>
                      <a:pt x="229" y="13"/>
                    </a:lnTo>
                    <a:lnTo>
                      <a:pt x="229" y="13"/>
                    </a:lnTo>
                    <a:lnTo>
                      <a:pt x="225" y="7"/>
                    </a:lnTo>
                    <a:lnTo>
                      <a:pt x="221" y="4"/>
                    </a:lnTo>
                    <a:lnTo>
                      <a:pt x="216" y="3"/>
                    </a:lnTo>
                    <a:lnTo>
                      <a:pt x="216" y="3"/>
                    </a:lnTo>
                    <a:lnTo>
                      <a:pt x="210" y="4"/>
                    </a:lnTo>
                    <a:lnTo>
                      <a:pt x="202" y="7"/>
                    </a:lnTo>
                    <a:lnTo>
                      <a:pt x="193" y="10"/>
                    </a:lnTo>
                    <a:lnTo>
                      <a:pt x="187" y="13"/>
                    </a:lnTo>
                    <a:lnTo>
                      <a:pt x="187" y="13"/>
                    </a:lnTo>
                    <a:lnTo>
                      <a:pt x="183" y="14"/>
                    </a:lnTo>
                    <a:lnTo>
                      <a:pt x="180" y="17"/>
                    </a:lnTo>
                    <a:lnTo>
                      <a:pt x="179" y="20"/>
                    </a:lnTo>
                    <a:lnTo>
                      <a:pt x="180" y="26"/>
                    </a:lnTo>
                    <a:lnTo>
                      <a:pt x="180" y="26"/>
                    </a:lnTo>
                    <a:lnTo>
                      <a:pt x="181" y="33"/>
                    </a:lnTo>
                    <a:lnTo>
                      <a:pt x="180" y="40"/>
                    </a:lnTo>
                    <a:lnTo>
                      <a:pt x="179" y="46"/>
                    </a:lnTo>
                    <a:lnTo>
                      <a:pt x="174" y="50"/>
                    </a:lnTo>
                    <a:lnTo>
                      <a:pt x="174" y="50"/>
                    </a:lnTo>
                    <a:lnTo>
                      <a:pt x="168" y="53"/>
                    </a:lnTo>
                    <a:lnTo>
                      <a:pt x="163" y="52"/>
                    </a:lnTo>
                    <a:lnTo>
                      <a:pt x="157" y="50"/>
                    </a:lnTo>
                    <a:lnTo>
                      <a:pt x="150" y="46"/>
                    </a:lnTo>
                    <a:lnTo>
                      <a:pt x="150" y="46"/>
                    </a:lnTo>
                    <a:lnTo>
                      <a:pt x="137" y="37"/>
                    </a:lnTo>
                    <a:lnTo>
                      <a:pt x="129" y="36"/>
                    </a:lnTo>
                    <a:lnTo>
                      <a:pt x="124" y="36"/>
                    </a:lnTo>
                    <a:lnTo>
                      <a:pt x="124" y="36"/>
                    </a:lnTo>
                    <a:lnTo>
                      <a:pt x="118" y="34"/>
                    </a:lnTo>
                    <a:lnTo>
                      <a:pt x="112" y="30"/>
                    </a:lnTo>
                    <a:lnTo>
                      <a:pt x="109" y="26"/>
                    </a:lnTo>
                    <a:lnTo>
                      <a:pt x="106" y="23"/>
                    </a:lnTo>
                    <a:lnTo>
                      <a:pt x="106" y="23"/>
                    </a:lnTo>
                    <a:lnTo>
                      <a:pt x="105" y="14"/>
                    </a:lnTo>
                    <a:lnTo>
                      <a:pt x="102" y="11"/>
                    </a:lnTo>
                    <a:lnTo>
                      <a:pt x="97" y="11"/>
                    </a:lnTo>
                    <a:lnTo>
                      <a:pt x="97" y="11"/>
                    </a:lnTo>
                    <a:lnTo>
                      <a:pt x="93" y="10"/>
                    </a:lnTo>
                    <a:lnTo>
                      <a:pt x="89" y="7"/>
                    </a:lnTo>
                    <a:lnTo>
                      <a:pt x="83" y="5"/>
                    </a:lnTo>
                    <a:lnTo>
                      <a:pt x="77" y="4"/>
                    </a:lnTo>
                    <a:lnTo>
                      <a:pt x="77" y="4"/>
                    </a:lnTo>
                    <a:lnTo>
                      <a:pt x="70" y="4"/>
                    </a:lnTo>
                    <a:lnTo>
                      <a:pt x="70" y="4"/>
                    </a:lnTo>
                    <a:lnTo>
                      <a:pt x="61" y="4"/>
                    </a:lnTo>
                    <a:lnTo>
                      <a:pt x="55" y="1"/>
                    </a:lnTo>
                    <a:lnTo>
                      <a:pt x="55" y="1"/>
                    </a:lnTo>
                    <a:lnTo>
                      <a:pt x="53" y="0"/>
                    </a:lnTo>
                    <a:lnTo>
                      <a:pt x="53" y="0"/>
                    </a:lnTo>
                    <a:lnTo>
                      <a:pt x="50" y="5"/>
                    </a:lnTo>
                    <a:lnTo>
                      <a:pt x="47" y="11"/>
                    </a:lnTo>
                    <a:lnTo>
                      <a:pt x="44" y="16"/>
                    </a:lnTo>
                    <a:lnTo>
                      <a:pt x="40" y="17"/>
                    </a:lnTo>
                    <a:lnTo>
                      <a:pt x="40" y="17"/>
                    </a:lnTo>
                    <a:lnTo>
                      <a:pt x="34" y="20"/>
                    </a:lnTo>
                    <a:lnTo>
                      <a:pt x="31" y="26"/>
                    </a:lnTo>
                    <a:lnTo>
                      <a:pt x="25" y="37"/>
                    </a:lnTo>
                    <a:lnTo>
                      <a:pt x="25" y="37"/>
                    </a:lnTo>
                    <a:lnTo>
                      <a:pt x="22" y="42"/>
                    </a:lnTo>
                    <a:lnTo>
                      <a:pt x="15" y="46"/>
                    </a:lnTo>
                    <a:lnTo>
                      <a:pt x="2" y="52"/>
                    </a:lnTo>
                    <a:lnTo>
                      <a:pt x="2" y="52"/>
                    </a:lnTo>
                    <a:lnTo>
                      <a:pt x="0" y="53"/>
                    </a:lnTo>
                    <a:lnTo>
                      <a:pt x="0" y="56"/>
                    </a:lnTo>
                    <a:lnTo>
                      <a:pt x="5" y="60"/>
                    </a:lnTo>
                    <a:lnTo>
                      <a:pt x="9" y="65"/>
                    </a:lnTo>
                    <a:lnTo>
                      <a:pt x="13" y="71"/>
                    </a:lnTo>
                    <a:lnTo>
                      <a:pt x="13" y="71"/>
                    </a:lnTo>
                    <a:lnTo>
                      <a:pt x="15" y="76"/>
                    </a:lnTo>
                    <a:lnTo>
                      <a:pt x="13" y="81"/>
                    </a:lnTo>
                    <a:lnTo>
                      <a:pt x="11" y="88"/>
                    </a:lnTo>
                    <a:lnTo>
                      <a:pt x="11" y="88"/>
                    </a:lnTo>
                    <a:lnTo>
                      <a:pt x="11" y="92"/>
                    </a:lnTo>
                    <a:lnTo>
                      <a:pt x="12" y="98"/>
                    </a:lnTo>
                    <a:lnTo>
                      <a:pt x="16" y="108"/>
                    </a:lnTo>
                    <a:lnTo>
                      <a:pt x="16" y="108"/>
                    </a:lnTo>
                    <a:lnTo>
                      <a:pt x="16" y="111"/>
                    </a:lnTo>
                    <a:lnTo>
                      <a:pt x="16" y="114"/>
                    </a:lnTo>
                    <a:lnTo>
                      <a:pt x="15" y="124"/>
                    </a:lnTo>
                    <a:lnTo>
                      <a:pt x="12" y="134"/>
                    </a:lnTo>
                    <a:lnTo>
                      <a:pt x="12" y="140"/>
                    </a:lnTo>
                    <a:lnTo>
                      <a:pt x="12" y="140"/>
                    </a:lnTo>
                    <a:lnTo>
                      <a:pt x="15" y="143"/>
                    </a:lnTo>
                    <a:lnTo>
                      <a:pt x="18" y="147"/>
                    </a:lnTo>
                    <a:lnTo>
                      <a:pt x="25" y="155"/>
                    </a:lnTo>
                    <a:lnTo>
                      <a:pt x="25" y="155"/>
                    </a:lnTo>
                    <a:lnTo>
                      <a:pt x="37" y="169"/>
                    </a:lnTo>
                    <a:lnTo>
                      <a:pt x="74" y="188"/>
                    </a:lnTo>
                    <a:lnTo>
                      <a:pt x="105" y="176"/>
                    </a:lnTo>
                    <a:lnTo>
                      <a:pt x="248" y="240"/>
                    </a:lnTo>
                    <a:lnTo>
                      <a:pt x="248" y="240"/>
                    </a:lnTo>
                    <a:lnTo>
                      <a:pt x="248" y="233"/>
                    </a:lnTo>
                    <a:lnTo>
                      <a:pt x="268" y="233"/>
                    </a:lnTo>
                    <a:lnTo>
                      <a:pt x="268" y="27"/>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09" name="Freeform 409"/>
              <p:cNvSpPr>
                <a:spLocks/>
              </p:cNvSpPr>
              <p:nvPr/>
            </p:nvSpPr>
            <p:spPr bwMode="auto">
              <a:xfrm>
                <a:off x="2860" y="2209"/>
                <a:ext cx="268" cy="240"/>
              </a:xfrm>
              <a:custGeom>
                <a:avLst/>
                <a:gdLst>
                  <a:gd name="T0" fmla="*/ 268 w 268"/>
                  <a:gd name="T1" fmla="*/ 27 h 240"/>
                  <a:gd name="T2" fmla="*/ 250 w 268"/>
                  <a:gd name="T3" fmla="*/ 21 h 240"/>
                  <a:gd name="T4" fmla="*/ 242 w 268"/>
                  <a:gd name="T5" fmla="*/ 20 h 240"/>
                  <a:gd name="T6" fmla="*/ 232 w 268"/>
                  <a:gd name="T7" fmla="*/ 17 h 240"/>
                  <a:gd name="T8" fmla="*/ 229 w 268"/>
                  <a:gd name="T9" fmla="*/ 13 h 240"/>
                  <a:gd name="T10" fmla="*/ 221 w 268"/>
                  <a:gd name="T11" fmla="*/ 4 h 240"/>
                  <a:gd name="T12" fmla="*/ 216 w 268"/>
                  <a:gd name="T13" fmla="*/ 3 h 240"/>
                  <a:gd name="T14" fmla="*/ 202 w 268"/>
                  <a:gd name="T15" fmla="*/ 7 h 240"/>
                  <a:gd name="T16" fmla="*/ 187 w 268"/>
                  <a:gd name="T17" fmla="*/ 13 h 240"/>
                  <a:gd name="T18" fmla="*/ 183 w 268"/>
                  <a:gd name="T19" fmla="*/ 14 h 240"/>
                  <a:gd name="T20" fmla="*/ 179 w 268"/>
                  <a:gd name="T21" fmla="*/ 20 h 240"/>
                  <a:gd name="T22" fmla="*/ 180 w 268"/>
                  <a:gd name="T23" fmla="*/ 26 h 240"/>
                  <a:gd name="T24" fmla="*/ 180 w 268"/>
                  <a:gd name="T25" fmla="*/ 40 h 240"/>
                  <a:gd name="T26" fmla="*/ 174 w 268"/>
                  <a:gd name="T27" fmla="*/ 50 h 240"/>
                  <a:gd name="T28" fmla="*/ 168 w 268"/>
                  <a:gd name="T29" fmla="*/ 53 h 240"/>
                  <a:gd name="T30" fmla="*/ 157 w 268"/>
                  <a:gd name="T31" fmla="*/ 50 h 240"/>
                  <a:gd name="T32" fmla="*/ 150 w 268"/>
                  <a:gd name="T33" fmla="*/ 46 h 240"/>
                  <a:gd name="T34" fmla="*/ 129 w 268"/>
                  <a:gd name="T35" fmla="*/ 36 h 240"/>
                  <a:gd name="T36" fmla="*/ 124 w 268"/>
                  <a:gd name="T37" fmla="*/ 36 h 240"/>
                  <a:gd name="T38" fmla="*/ 112 w 268"/>
                  <a:gd name="T39" fmla="*/ 30 h 240"/>
                  <a:gd name="T40" fmla="*/ 106 w 268"/>
                  <a:gd name="T41" fmla="*/ 23 h 240"/>
                  <a:gd name="T42" fmla="*/ 105 w 268"/>
                  <a:gd name="T43" fmla="*/ 14 h 240"/>
                  <a:gd name="T44" fmla="*/ 97 w 268"/>
                  <a:gd name="T45" fmla="*/ 11 h 240"/>
                  <a:gd name="T46" fmla="*/ 93 w 268"/>
                  <a:gd name="T47" fmla="*/ 10 h 240"/>
                  <a:gd name="T48" fmla="*/ 83 w 268"/>
                  <a:gd name="T49" fmla="*/ 5 h 240"/>
                  <a:gd name="T50" fmla="*/ 77 w 268"/>
                  <a:gd name="T51" fmla="*/ 4 h 240"/>
                  <a:gd name="T52" fmla="*/ 70 w 268"/>
                  <a:gd name="T53" fmla="*/ 4 h 240"/>
                  <a:gd name="T54" fmla="*/ 55 w 268"/>
                  <a:gd name="T55" fmla="*/ 1 h 240"/>
                  <a:gd name="T56" fmla="*/ 53 w 268"/>
                  <a:gd name="T57" fmla="*/ 0 h 240"/>
                  <a:gd name="T58" fmla="*/ 50 w 268"/>
                  <a:gd name="T59" fmla="*/ 5 h 240"/>
                  <a:gd name="T60" fmla="*/ 44 w 268"/>
                  <a:gd name="T61" fmla="*/ 16 h 240"/>
                  <a:gd name="T62" fmla="*/ 40 w 268"/>
                  <a:gd name="T63" fmla="*/ 17 h 240"/>
                  <a:gd name="T64" fmla="*/ 31 w 268"/>
                  <a:gd name="T65" fmla="*/ 26 h 240"/>
                  <a:gd name="T66" fmla="*/ 25 w 268"/>
                  <a:gd name="T67" fmla="*/ 37 h 240"/>
                  <a:gd name="T68" fmla="*/ 15 w 268"/>
                  <a:gd name="T69" fmla="*/ 46 h 240"/>
                  <a:gd name="T70" fmla="*/ 2 w 268"/>
                  <a:gd name="T71" fmla="*/ 52 h 240"/>
                  <a:gd name="T72" fmla="*/ 0 w 268"/>
                  <a:gd name="T73" fmla="*/ 56 h 240"/>
                  <a:gd name="T74" fmla="*/ 9 w 268"/>
                  <a:gd name="T75" fmla="*/ 65 h 240"/>
                  <a:gd name="T76" fmla="*/ 13 w 268"/>
                  <a:gd name="T77" fmla="*/ 71 h 240"/>
                  <a:gd name="T78" fmla="*/ 13 w 268"/>
                  <a:gd name="T79" fmla="*/ 81 h 240"/>
                  <a:gd name="T80" fmla="*/ 11 w 268"/>
                  <a:gd name="T81" fmla="*/ 88 h 240"/>
                  <a:gd name="T82" fmla="*/ 12 w 268"/>
                  <a:gd name="T83" fmla="*/ 98 h 240"/>
                  <a:gd name="T84" fmla="*/ 16 w 268"/>
                  <a:gd name="T85" fmla="*/ 108 h 240"/>
                  <a:gd name="T86" fmla="*/ 16 w 268"/>
                  <a:gd name="T87" fmla="*/ 114 h 240"/>
                  <a:gd name="T88" fmla="*/ 12 w 268"/>
                  <a:gd name="T89" fmla="*/ 134 h 240"/>
                  <a:gd name="T90" fmla="*/ 12 w 268"/>
                  <a:gd name="T91" fmla="*/ 140 h 240"/>
                  <a:gd name="T92" fmla="*/ 18 w 268"/>
                  <a:gd name="T93" fmla="*/ 147 h 240"/>
                  <a:gd name="T94" fmla="*/ 25 w 268"/>
                  <a:gd name="T95" fmla="*/ 155 h 240"/>
                  <a:gd name="T96" fmla="*/ 74 w 268"/>
                  <a:gd name="T97" fmla="*/ 188 h 240"/>
                  <a:gd name="T98" fmla="*/ 248 w 268"/>
                  <a:gd name="T99" fmla="*/ 240 h 240"/>
                  <a:gd name="T100" fmla="*/ 248 w 268"/>
                  <a:gd name="T101" fmla="*/ 233 h 240"/>
                  <a:gd name="T102" fmla="*/ 268 w 268"/>
                  <a:gd name="T103" fmla="*/ 27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8" h="240">
                    <a:moveTo>
                      <a:pt x="268" y="27"/>
                    </a:moveTo>
                    <a:lnTo>
                      <a:pt x="268" y="27"/>
                    </a:lnTo>
                    <a:lnTo>
                      <a:pt x="257" y="24"/>
                    </a:lnTo>
                    <a:lnTo>
                      <a:pt x="250" y="21"/>
                    </a:lnTo>
                    <a:lnTo>
                      <a:pt x="242" y="20"/>
                    </a:lnTo>
                    <a:lnTo>
                      <a:pt x="242" y="20"/>
                    </a:lnTo>
                    <a:lnTo>
                      <a:pt x="235" y="18"/>
                    </a:lnTo>
                    <a:lnTo>
                      <a:pt x="232" y="17"/>
                    </a:lnTo>
                    <a:lnTo>
                      <a:pt x="229" y="13"/>
                    </a:lnTo>
                    <a:lnTo>
                      <a:pt x="229" y="13"/>
                    </a:lnTo>
                    <a:lnTo>
                      <a:pt x="225" y="7"/>
                    </a:lnTo>
                    <a:lnTo>
                      <a:pt x="221" y="4"/>
                    </a:lnTo>
                    <a:lnTo>
                      <a:pt x="216" y="3"/>
                    </a:lnTo>
                    <a:lnTo>
                      <a:pt x="216" y="3"/>
                    </a:lnTo>
                    <a:lnTo>
                      <a:pt x="210" y="4"/>
                    </a:lnTo>
                    <a:lnTo>
                      <a:pt x="202" y="7"/>
                    </a:lnTo>
                    <a:lnTo>
                      <a:pt x="193" y="10"/>
                    </a:lnTo>
                    <a:lnTo>
                      <a:pt x="187" y="13"/>
                    </a:lnTo>
                    <a:lnTo>
                      <a:pt x="187" y="13"/>
                    </a:lnTo>
                    <a:lnTo>
                      <a:pt x="183" y="14"/>
                    </a:lnTo>
                    <a:lnTo>
                      <a:pt x="180" y="17"/>
                    </a:lnTo>
                    <a:lnTo>
                      <a:pt x="179" y="20"/>
                    </a:lnTo>
                    <a:lnTo>
                      <a:pt x="180" y="26"/>
                    </a:lnTo>
                    <a:lnTo>
                      <a:pt x="180" y="26"/>
                    </a:lnTo>
                    <a:lnTo>
                      <a:pt x="181" y="33"/>
                    </a:lnTo>
                    <a:lnTo>
                      <a:pt x="180" y="40"/>
                    </a:lnTo>
                    <a:lnTo>
                      <a:pt x="179" y="46"/>
                    </a:lnTo>
                    <a:lnTo>
                      <a:pt x="174" y="50"/>
                    </a:lnTo>
                    <a:lnTo>
                      <a:pt x="174" y="50"/>
                    </a:lnTo>
                    <a:lnTo>
                      <a:pt x="168" y="53"/>
                    </a:lnTo>
                    <a:lnTo>
                      <a:pt x="163" y="52"/>
                    </a:lnTo>
                    <a:lnTo>
                      <a:pt x="157" y="50"/>
                    </a:lnTo>
                    <a:lnTo>
                      <a:pt x="150" y="46"/>
                    </a:lnTo>
                    <a:lnTo>
                      <a:pt x="150" y="46"/>
                    </a:lnTo>
                    <a:lnTo>
                      <a:pt x="137" y="37"/>
                    </a:lnTo>
                    <a:lnTo>
                      <a:pt x="129" y="36"/>
                    </a:lnTo>
                    <a:lnTo>
                      <a:pt x="124" y="36"/>
                    </a:lnTo>
                    <a:lnTo>
                      <a:pt x="124" y="36"/>
                    </a:lnTo>
                    <a:lnTo>
                      <a:pt x="118" y="34"/>
                    </a:lnTo>
                    <a:lnTo>
                      <a:pt x="112" y="30"/>
                    </a:lnTo>
                    <a:lnTo>
                      <a:pt x="109" y="26"/>
                    </a:lnTo>
                    <a:lnTo>
                      <a:pt x="106" y="23"/>
                    </a:lnTo>
                    <a:lnTo>
                      <a:pt x="106" y="23"/>
                    </a:lnTo>
                    <a:lnTo>
                      <a:pt x="105" y="14"/>
                    </a:lnTo>
                    <a:lnTo>
                      <a:pt x="102" y="11"/>
                    </a:lnTo>
                    <a:lnTo>
                      <a:pt x="97" y="11"/>
                    </a:lnTo>
                    <a:lnTo>
                      <a:pt x="97" y="11"/>
                    </a:lnTo>
                    <a:lnTo>
                      <a:pt x="93" y="10"/>
                    </a:lnTo>
                    <a:lnTo>
                      <a:pt x="89" y="7"/>
                    </a:lnTo>
                    <a:lnTo>
                      <a:pt x="83" y="5"/>
                    </a:lnTo>
                    <a:lnTo>
                      <a:pt x="77" y="4"/>
                    </a:lnTo>
                    <a:lnTo>
                      <a:pt x="77" y="4"/>
                    </a:lnTo>
                    <a:lnTo>
                      <a:pt x="70" y="4"/>
                    </a:lnTo>
                    <a:lnTo>
                      <a:pt x="70" y="4"/>
                    </a:lnTo>
                    <a:lnTo>
                      <a:pt x="61" y="4"/>
                    </a:lnTo>
                    <a:lnTo>
                      <a:pt x="55" y="1"/>
                    </a:lnTo>
                    <a:lnTo>
                      <a:pt x="55" y="1"/>
                    </a:lnTo>
                    <a:lnTo>
                      <a:pt x="53" y="0"/>
                    </a:lnTo>
                    <a:lnTo>
                      <a:pt x="53" y="0"/>
                    </a:lnTo>
                    <a:lnTo>
                      <a:pt x="50" y="5"/>
                    </a:lnTo>
                    <a:lnTo>
                      <a:pt x="47" y="11"/>
                    </a:lnTo>
                    <a:lnTo>
                      <a:pt x="44" y="16"/>
                    </a:lnTo>
                    <a:lnTo>
                      <a:pt x="40" y="17"/>
                    </a:lnTo>
                    <a:lnTo>
                      <a:pt x="40" y="17"/>
                    </a:lnTo>
                    <a:lnTo>
                      <a:pt x="34" y="20"/>
                    </a:lnTo>
                    <a:lnTo>
                      <a:pt x="31" y="26"/>
                    </a:lnTo>
                    <a:lnTo>
                      <a:pt x="25" y="37"/>
                    </a:lnTo>
                    <a:lnTo>
                      <a:pt x="25" y="37"/>
                    </a:lnTo>
                    <a:lnTo>
                      <a:pt x="22" y="42"/>
                    </a:lnTo>
                    <a:lnTo>
                      <a:pt x="15" y="46"/>
                    </a:lnTo>
                    <a:lnTo>
                      <a:pt x="2" y="52"/>
                    </a:lnTo>
                    <a:lnTo>
                      <a:pt x="2" y="52"/>
                    </a:lnTo>
                    <a:lnTo>
                      <a:pt x="0" y="53"/>
                    </a:lnTo>
                    <a:lnTo>
                      <a:pt x="0" y="56"/>
                    </a:lnTo>
                    <a:lnTo>
                      <a:pt x="5" y="60"/>
                    </a:lnTo>
                    <a:lnTo>
                      <a:pt x="9" y="65"/>
                    </a:lnTo>
                    <a:lnTo>
                      <a:pt x="13" y="71"/>
                    </a:lnTo>
                    <a:lnTo>
                      <a:pt x="13" y="71"/>
                    </a:lnTo>
                    <a:lnTo>
                      <a:pt x="15" y="76"/>
                    </a:lnTo>
                    <a:lnTo>
                      <a:pt x="13" y="81"/>
                    </a:lnTo>
                    <a:lnTo>
                      <a:pt x="11" y="88"/>
                    </a:lnTo>
                    <a:lnTo>
                      <a:pt x="11" y="88"/>
                    </a:lnTo>
                    <a:lnTo>
                      <a:pt x="11" y="92"/>
                    </a:lnTo>
                    <a:lnTo>
                      <a:pt x="12" y="98"/>
                    </a:lnTo>
                    <a:lnTo>
                      <a:pt x="16" y="108"/>
                    </a:lnTo>
                    <a:lnTo>
                      <a:pt x="16" y="108"/>
                    </a:lnTo>
                    <a:lnTo>
                      <a:pt x="16" y="111"/>
                    </a:lnTo>
                    <a:lnTo>
                      <a:pt x="16" y="114"/>
                    </a:lnTo>
                    <a:lnTo>
                      <a:pt x="15" y="124"/>
                    </a:lnTo>
                    <a:lnTo>
                      <a:pt x="12" y="134"/>
                    </a:lnTo>
                    <a:lnTo>
                      <a:pt x="12" y="140"/>
                    </a:lnTo>
                    <a:lnTo>
                      <a:pt x="12" y="140"/>
                    </a:lnTo>
                    <a:lnTo>
                      <a:pt x="15" y="143"/>
                    </a:lnTo>
                    <a:lnTo>
                      <a:pt x="18" y="147"/>
                    </a:lnTo>
                    <a:lnTo>
                      <a:pt x="25" y="155"/>
                    </a:lnTo>
                    <a:lnTo>
                      <a:pt x="25" y="155"/>
                    </a:lnTo>
                    <a:lnTo>
                      <a:pt x="37" y="169"/>
                    </a:lnTo>
                    <a:lnTo>
                      <a:pt x="74" y="188"/>
                    </a:lnTo>
                    <a:lnTo>
                      <a:pt x="105" y="176"/>
                    </a:lnTo>
                    <a:lnTo>
                      <a:pt x="248" y="240"/>
                    </a:lnTo>
                    <a:lnTo>
                      <a:pt x="248" y="240"/>
                    </a:lnTo>
                    <a:lnTo>
                      <a:pt x="248" y="233"/>
                    </a:lnTo>
                    <a:lnTo>
                      <a:pt x="268" y="233"/>
                    </a:lnTo>
                    <a:lnTo>
                      <a:pt x="268" y="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10" name="Freeform 410"/>
              <p:cNvSpPr>
                <a:spLocks/>
              </p:cNvSpPr>
              <p:nvPr/>
            </p:nvSpPr>
            <p:spPr bwMode="auto">
              <a:xfrm>
                <a:off x="2585" y="2132"/>
                <a:ext cx="312" cy="329"/>
              </a:xfrm>
              <a:custGeom>
                <a:avLst/>
                <a:gdLst>
                  <a:gd name="T0" fmla="*/ 184 w 312"/>
                  <a:gd name="T1" fmla="*/ 329 h 329"/>
                  <a:gd name="T2" fmla="*/ 183 w 312"/>
                  <a:gd name="T3" fmla="*/ 327 h 329"/>
                  <a:gd name="T4" fmla="*/ 191 w 312"/>
                  <a:gd name="T5" fmla="*/ 320 h 329"/>
                  <a:gd name="T6" fmla="*/ 160 w 312"/>
                  <a:gd name="T7" fmla="*/ 291 h 329"/>
                  <a:gd name="T8" fmla="*/ 71 w 312"/>
                  <a:gd name="T9" fmla="*/ 226 h 329"/>
                  <a:gd name="T10" fmla="*/ 0 w 312"/>
                  <a:gd name="T11" fmla="*/ 159 h 329"/>
                  <a:gd name="T12" fmla="*/ 29 w 312"/>
                  <a:gd name="T13" fmla="*/ 150 h 329"/>
                  <a:gd name="T14" fmla="*/ 55 w 312"/>
                  <a:gd name="T15" fmla="*/ 137 h 329"/>
                  <a:gd name="T16" fmla="*/ 63 w 312"/>
                  <a:gd name="T17" fmla="*/ 127 h 329"/>
                  <a:gd name="T18" fmla="*/ 81 w 312"/>
                  <a:gd name="T19" fmla="*/ 120 h 329"/>
                  <a:gd name="T20" fmla="*/ 96 w 312"/>
                  <a:gd name="T21" fmla="*/ 98 h 329"/>
                  <a:gd name="T22" fmla="*/ 115 w 312"/>
                  <a:gd name="T23" fmla="*/ 93 h 329"/>
                  <a:gd name="T24" fmla="*/ 120 w 312"/>
                  <a:gd name="T25" fmla="*/ 88 h 329"/>
                  <a:gd name="T26" fmla="*/ 112 w 312"/>
                  <a:gd name="T27" fmla="*/ 64 h 329"/>
                  <a:gd name="T28" fmla="*/ 110 w 312"/>
                  <a:gd name="T29" fmla="*/ 35 h 329"/>
                  <a:gd name="T30" fmla="*/ 126 w 312"/>
                  <a:gd name="T31" fmla="*/ 27 h 329"/>
                  <a:gd name="T32" fmla="*/ 135 w 312"/>
                  <a:gd name="T33" fmla="*/ 26 h 329"/>
                  <a:gd name="T34" fmla="*/ 148 w 312"/>
                  <a:gd name="T35" fmla="*/ 16 h 329"/>
                  <a:gd name="T36" fmla="*/ 165 w 312"/>
                  <a:gd name="T37" fmla="*/ 11 h 329"/>
                  <a:gd name="T38" fmla="*/ 173 w 312"/>
                  <a:gd name="T39" fmla="*/ 3 h 329"/>
                  <a:gd name="T40" fmla="*/ 176 w 312"/>
                  <a:gd name="T41" fmla="*/ 1 h 329"/>
                  <a:gd name="T42" fmla="*/ 177 w 312"/>
                  <a:gd name="T43" fmla="*/ 1 h 329"/>
                  <a:gd name="T44" fmla="*/ 181 w 312"/>
                  <a:gd name="T45" fmla="*/ 4 h 329"/>
                  <a:gd name="T46" fmla="*/ 190 w 312"/>
                  <a:gd name="T47" fmla="*/ 6 h 329"/>
                  <a:gd name="T48" fmla="*/ 207 w 312"/>
                  <a:gd name="T49" fmla="*/ 4 h 329"/>
                  <a:gd name="T50" fmla="*/ 215 w 312"/>
                  <a:gd name="T51" fmla="*/ 7 h 329"/>
                  <a:gd name="T52" fmla="*/ 220 w 312"/>
                  <a:gd name="T53" fmla="*/ 10 h 329"/>
                  <a:gd name="T54" fmla="*/ 239 w 312"/>
                  <a:gd name="T55" fmla="*/ 4 h 329"/>
                  <a:gd name="T56" fmla="*/ 254 w 312"/>
                  <a:gd name="T57" fmla="*/ 0 h 329"/>
                  <a:gd name="T58" fmla="*/ 271 w 312"/>
                  <a:gd name="T59" fmla="*/ 3 h 329"/>
                  <a:gd name="T60" fmla="*/ 273 w 312"/>
                  <a:gd name="T61" fmla="*/ 13 h 329"/>
                  <a:gd name="T62" fmla="*/ 273 w 312"/>
                  <a:gd name="T63" fmla="*/ 27 h 329"/>
                  <a:gd name="T64" fmla="*/ 262 w 312"/>
                  <a:gd name="T65" fmla="*/ 55 h 329"/>
                  <a:gd name="T66" fmla="*/ 262 w 312"/>
                  <a:gd name="T67" fmla="*/ 71 h 329"/>
                  <a:gd name="T68" fmla="*/ 270 w 312"/>
                  <a:gd name="T69" fmla="*/ 95 h 329"/>
                  <a:gd name="T70" fmla="*/ 281 w 312"/>
                  <a:gd name="T71" fmla="*/ 127 h 329"/>
                  <a:gd name="T72" fmla="*/ 275 w 312"/>
                  <a:gd name="T73" fmla="*/ 132 h 329"/>
                  <a:gd name="T74" fmla="*/ 286 w 312"/>
                  <a:gd name="T75" fmla="*/ 143 h 329"/>
                  <a:gd name="T76" fmla="*/ 290 w 312"/>
                  <a:gd name="T77" fmla="*/ 153 h 329"/>
                  <a:gd name="T78" fmla="*/ 286 w 312"/>
                  <a:gd name="T79" fmla="*/ 165 h 329"/>
                  <a:gd name="T80" fmla="*/ 291 w 312"/>
                  <a:gd name="T81" fmla="*/ 185 h 329"/>
                  <a:gd name="T82" fmla="*/ 291 w 312"/>
                  <a:gd name="T83" fmla="*/ 195 h 329"/>
                  <a:gd name="T84" fmla="*/ 287 w 312"/>
                  <a:gd name="T85" fmla="*/ 217 h 329"/>
                  <a:gd name="T86" fmla="*/ 300 w 312"/>
                  <a:gd name="T87" fmla="*/ 232 h 329"/>
                  <a:gd name="T88" fmla="*/ 277 w 312"/>
                  <a:gd name="T89" fmla="*/ 284 h 329"/>
                  <a:gd name="T90" fmla="*/ 236 w 312"/>
                  <a:gd name="T91" fmla="*/ 321 h 329"/>
                  <a:gd name="T92" fmla="*/ 236 w 312"/>
                  <a:gd name="T93" fmla="*/ 321 h 329"/>
                  <a:gd name="T94" fmla="*/ 236 w 312"/>
                  <a:gd name="T95" fmla="*/ 321 h 329"/>
                  <a:gd name="T96" fmla="*/ 236 w 312"/>
                  <a:gd name="T97" fmla="*/ 321 h 329"/>
                  <a:gd name="T98" fmla="*/ 187 w 312"/>
                  <a:gd name="T99"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2" h="329">
                    <a:moveTo>
                      <a:pt x="187" y="329"/>
                    </a:moveTo>
                    <a:lnTo>
                      <a:pt x="187" y="329"/>
                    </a:lnTo>
                    <a:lnTo>
                      <a:pt x="184" y="329"/>
                    </a:lnTo>
                    <a:lnTo>
                      <a:pt x="184" y="329"/>
                    </a:lnTo>
                    <a:lnTo>
                      <a:pt x="183" y="329"/>
                    </a:lnTo>
                    <a:lnTo>
                      <a:pt x="183" y="329"/>
                    </a:lnTo>
                    <a:lnTo>
                      <a:pt x="183" y="327"/>
                    </a:lnTo>
                    <a:lnTo>
                      <a:pt x="183" y="327"/>
                    </a:lnTo>
                    <a:lnTo>
                      <a:pt x="184" y="326"/>
                    </a:lnTo>
                    <a:lnTo>
                      <a:pt x="187" y="323"/>
                    </a:lnTo>
                    <a:lnTo>
                      <a:pt x="190" y="321"/>
                    </a:lnTo>
                    <a:lnTo>
                      <a:pt x="191" y="320"/>
                    </a:lnTo>
                    <a:lnTo>
                      <a:pt x="191" y="320"/>
                    </a:lnTo>
                    <a:lnTo>
                      <a:pt x="190" y="317"/>
                    </a:lnTo>
                    <a:lnTo>
                      <a:pt x="190" y="317"/>
                    </a:lnTo>
                    <a:lnTo>
                      <a:pt x="160" y="291"/>
                    </a:lnTo>
                    <a:lnTo>
                      <a:pt x="134" y="269"/>
                    </a:lnTo>
                    <a:lnTo>
                      <a:pt x="103" y="248"/>
                    </a:lnTo>
                    <a:lnTo>
                      <a:pt x="103" y="248"/>
                    </a:lnTo>
                    <a:lnTo>
                      <a:pt x="71" y="226"/>
                    </a:lnTo>
                    <a:lnTo>
                      <a:pt x="36" y="204"/>
                    </a:lnTo>
                    <a:lnTo>
                      <a:pt x="0" y="179"/>
                    </a:lnTo>
                    <a:lnTo>
                      <a:pt x="0" y="159"/>
                    </a:lnTo>
                    <a:lnTo>
                      <a:pt x="0" y="159"/>
                    </a:lnTo>
                    <a:lnTo>
                      <a:pt x="10" y="155"/>
                    </a:lnTo>
                    <a:lnTo>
                      <a:pt x="19" y="152"/>
                    </a:lnTo>
                    <a:lnTo>
                      <a:pt x="29" y="150"/>
                    </a:lnTo>
                    <a:lnTo>
                      <a:pt x="29" y="150"/>
                    </a:lnTo>
                    <a:lnTo>
                      <a:pt x="34" y="150"/>
                    </a:lnTo>
                    <a:lnTo>
                      <a:pt x="39" y="149"/>
                    </a:lnTo>
                    <a:lnTo>
                      <a:pt x="48" y="143"/>
                    </a:lnTo>
                    <a:lnTo>
                      <a:pt x="55" y="137"/>
                    </a:lnTo>
                    <a:lnTo>
                      <a:pt x="60" y="132"/>
                    </a:lnTo>
                    <a:lnTo>
                      <a:pt x="60" y="132"/>
                    </a:lnTo>
                    <a:lnTo>
                      <a:pt x="61" y="129"/>
                    </a:lnTo>
                    <a:lnTo>
                      <a:pt x="63" y="127"/>
                    </a:lnTo>
                    <a:lnTo>
                      <a:pt x="68" y="126"/>
                    </a:lnTo>
                    <a:lnTo>
                      <a:pt x="74" y="124"/>
                    </a:lnTo>
                    <a:lnTo>
                      <a:pt x="81" y="120"/>
                    </a:lnTo>
                    <a:lnTo>
                      <a:pt x="81" y="120"/>
                    </a:lnTo>
                    <a:lnTo>
                      <a:pt x="86" y="117"/>
                    </a:lnTo>
                    <a:lnTo>
                      <a:pt x="87" y="113"/>
                    </a:lnTo>
                    <a:lnTo>
                      <a:pt x="92" y="106"/>
                    </a:lnTo>
                    <a:lnTo>
                      <a:pt x="96" y="98"/>
                    </a:lnTo>
                    <a:lnTo>
                      <a:pt x="99" y="97"/>
                    </a:lnTo>
                    <a:lnTo>
                      <a:pt x="102" y="95"/>
                    </a:lnTo>
                    <a:lnTo>
                      <a:pt x="102" y="95"/>
                    </a:lnTo>
                    <a:lnTo>
                      <a:pt x="115" y="93"/>
                    </a:lnTo>
                    <a:lnTo>
                      <a:pt x="119" y="91"/>
                    </a:lnTo>
                    <a:lnTo>
                      <a:pt x="120" y="90"/>
                    </a:lnTo>
                    <a:lnTo>
                      <a:pt x="120" y="88"/>
                    </a:lnTo>
                    <a:lnTo>
                      <a:pt x="120" y="88"/>
                    </a:lnTo>
                    <a:lnTo>
                      <a:pt x="115" y="78"/>
                    </a:lnTo>
                    <a:lnTo>
                      <a:pt x="113" y="71"/>
                    </a:lnTo>
                    <a:lnTo>
                      <a:pt x="112" y="64"/>
                    </a:lnTo>
                    <a:lnTo>
                      <a:pt x="112" y="64"/>
                    </a:lnTo>
                    <a:lnTo>
                      <a:pt x="110" y="53"/>
                    </a:lnTo>
                    <a:lnTo>
                      <a:pt x="105" y="40"/>
                    </a:lnTo>
                    <a:lnTo>
                      <a:pt x="105" y="40"/>
                    </a:lnTo>
                    <a:lnTo>
                      <a:pt x="110" y="35"/>
                    </a:lnTo>
                    <a:lnTo>
                      <a:pt x="110" y="35"/>
                    </a:lnTo>
                    <a:lnTo>
                      <a:pt x="118" y="30"/>
                    </a:lnTo>
                    <a:lnTo>
                      <a:pt x="118" y="30"/>
                    </a:lnTo>
                    <a:lnTo>
                      <a:pt x="126" y="27"/>
                    </a:lnTo>
                    <a:lnTo>
                      <a:pt x="126" y="27"/>
                    </a:lnTo>
                    <a:lnTo>
                      <a:pt x="131" y="27"/>
                    </a:lnTo>
                    <a:lnTo>
                      <a:pt x="135" y="26"/>
                    </a:lnTo>
                    <a:lnTo>
                      <a:pt x="135" y="26"/>
                    </a:lnTo>
                    <a:lnTo>
                      <a:pt x="141" y="20"/>
                    </a:lnTo>
                    <a:lnTo>
                      <a:pt x="141" y="20"/>
                    </a:lnTo>
                    <a:lnTo>
                      <a:pt x="148" y="16"/>
                    </a:lnTo>
                    <a:lnTo>
                      <a:pt x="148" y="16"/>
                    </a:lnTo>
                    <a:lnTo>
                      <a:pt x="160" y="13"/>
                    </a:lnTo>
                    <a:lnTo>
                      <a:pt x="160" y="13"/>
                    </a:lnTo>
                    <a:lnTo>
                      <a:pt x="165" y="11"/>
                    </a:lnTo>
                    <a:lnTo>
                      <a:pt x="165" y="11"/>
                    </a:lnTo>
                    <a:lnTo>
                      <a:pt x="168" y="10"/>
                    </a:lnTo>
                    <a:lnTo>
                      <a:pt x="170" y="9"/>
                    </a:lnTo>
                    <a:lnTo>
                      <a:pt x="170" y="9"/>
                    </a:lnTo>
                    <a:lnTo>
                      <a:pt x="173" y="3"/>
                    </a:lnTo>
                    <a:lnTo>
                      <a:pt x="173" y="3"/>
                    </a:lnTo>
                    <a:lnTo>
                      <a:pt x="176" y="1"/>
                    </a:lnTo>
                    <a:lnTo>
                      <a:pt x="176" y="1"/>
                    </a:lnTo>
                    <a:lnTo>
                      <a:pt x="176" y="1"/>
                    </a:lnTo>
                    <a:lnTo>
                      <a:pt x="176" y="1"/>
                    </a:lnTo>
                    <a:lnTo>
                      <a:pt x="176" y="1"/>
                    </a:lnTo>
                    <a:lnTo>
                      <a:pt x="177" y="1"/>
                    </a:lnTo>
                    <a:lnTo>
                      <a:pt x="177" y="1"/>
                    </a:lnTo>
                    <a:lnTo>
                      <a:pt x="178" y="3"/>
                    </a:lnTo>
                    <a:lnTo>
                      <a:pt x="178" y="3"/>
                    </a:lnTo>
                    <a:lnTo>
                      <a:pt x="181" y="4"/>
                    </a:lnTo>
                    <a:lnTo>
                      <a:pt x="181" y="4"/>
                    </a:lnTo>
                    <a:lnTo>
                      <a:pt x="187" y="6"/>
                    </a:lnTo>
                    <a:lnTo>
                      <a:pt x="187" y="6"/>
                    </a:lnTo>
                    <a:lnTo>
                      <a:pt x="190" y="6"/>
                    </a:lnTo>
                    <a:lnTo>
                      <a:pt x="190" y="6"/>
                    </a:lnTo>
                    <a:lnTo>
                      <a:pt x="207" y="4"/>
                    </a:lnTo>
                    <a:lnTo>
                      <a:pt x="207" y="4"/>
                    </a:lnTo>
                    <a:lnTo>
                      <a:pt x="207" y="4"/>
                    </a:lnTo>
                    <a:lnTo>
                      <a:pt x="207" y="4"/>
                    </a:lnTo>
                    <a:lnTo>
                      <a:pt x="210" y="6"/>
                    </a:lnTo>
                    <a:lnTo>
                      <a:pt x="210" y="6"/>
                    </a:lnTo>
                    <a:lnTo>
                      <a:pt x="215" y="7"/>
                    </a:lnTo>
                    <a:lnTo>
                      <a:pt x="215" y="7"/>
                    </a:lnTo>
                    <a:lnTo>
                      <a:pt x="218" y="9"/>
                    </a:lnTo>
                    <a:lnTo>
                      <a:pt x="220" y="10"/>
                    </a:lnTo>
                    <a:lnTo>
                      <a:pt x="220" y="10"/>
                    </a:lnTo>
                    <a:lnTo>
                      <a:pt x="220" y="10"/>
                    </a:lnTo>
                    <a:lnTo>
                      <a:pt x="226" y="9"/>
                    </a:lnTo>
                    <a:lnTo>
                      <a:pt x="226" y="9"/>
                    </a:lnTo>
                    <a:lnTo>
                      <a:pt x="239" y="4"/>
                    </a:lnTo>
                    <a:lnTo>
                      <a:pt x="239" y="4"/>
                    </a:lnTo>
                    <a:lnTo>
                      <a:pt x="246" y="1"/>
                    </a:lnTo>
                    <a:lnTo>
                      <a:pt x="254" y="0"/>
                    </a:lnTo>
                    <a:lnTo>
                      <a:pt x="254" y="0"/>
                    </a:lnTo>
                    <a:lnTo>
                      <a:pt x="254" y="0"/>
                    </a:lnTo>
                    <a:lnTo>
                      <a:pt x="255" y="1"/>
                    </a:lnTo>
                    <a:lnTo>
                      <a:pt x="255" y="1"/>
                    </a:lnTo>
                    <a:lnTo>
                      <a:pt x="264" y="3"/>
                    </a:lnTo>
                    <a:lnTo>
                      <a:pt x="271" y="3"/>
                    </a:lnTo>
                    <a:lnTo>
                      <a:pt x="271" y="3"/>
                    </a:lnTo>
                    <a:lnTo>
                      <a:pt x="273" y="3"/>
                    </a:lnTo>
                    <a:lnTo>
                      <a:pt x="273" y="3"/>
                    </a:lnTo>
                    <a:lnTo>
                      <a:pt x="273" y="13"/>
                    </a:lnTo>
                    <a:lnTo>
                      <a:pt x="273" y="13"/>
                    </a:lnTo>
                    <a:lnTo>
                      <a:pt x="273" y="27"/>
                    </a:lnTo>
                    <a:lnTo>
                      <a:pt x="273" y="27"/>
                    </a:lnTo>
                    <a:lnTo>
                      <a:pt x="273" y="27"/>
                    </a:lnTo>
                    <a:lnTo>
                      <a:pt x="273" y="27"/>
                    </a:lnTo>
                    <a:lnTo>
                      <a:pt x="271" y="33"/>
                    </a:lnTo>
                    <a:lnTo>
                      <a:pt x="268" y="42"/>
                    </a:lnTo>
                    <a:lnTo>
                      <a:pt x="262" y="55"/>
                    </a:lnTo>
                    <a:lnTo>
                      <a:pt x="262" y="55"/>
                    </a:lnTo>
                    <a:lnTo>
                      <a:pt x="261" y="61"/>
                    </a:lnTo>
                    <a:lnTo>
                      <a:pt x="261" y="61"/>
                    </a:lnTo>
                    <a:lnTo>
                      <a:pt x="262" y="71"/>
                    </a:lnTo>
                    <a:lnTo>
                      <a:pt x="265" y="80"/>
                    </a:lnTo>
                    <a:lnTo>
                      <a:pt x="265" y="80"/>
                    </a:lnTo>
                    <a:lnTo>
                      <a:pt x="268" y="85"/>
                    </a:lnTo>
                    <a:lnTo>
                      <a:pt x="270" y="95"/>
                    </a:lnTo>
                    <a:lnTo>
                      <a:pt x="274" y="117"/>
                    </a:lnTo>
                    <a:lnTo>
                      <a:pt x="274" y="117"/>
                    </a:lnTo>
                    <a:lnTo>
                      <a:pt x="277" y="122"/>
                    </a:lnTo>
                    <a:lnTo>
                      <a:pt x="281" y="127"/>
                    </a:lnTo>
                    <a:lnTo>
                      <a:pt x="281" y="127"/>
                    </a:lnTo>
                    <a:lnTo>
                      <a:pt x="277" y="129"/>
                    </a:lnTo>
                    <a:lnTo>
                      <a:pt x="277" y="129"/>
                    </a:lnTo>
                    <a:lnTo>
                      <a:pt x="275" y="132"/>
                    </a:lnTo>
                    <a:lnTo>
                      <a:pt x="275" y="132"/>
                    </a:lnTo>
                    <a:lnTo>
                      <a:pt x="277" y="135"/>
                    </a:lnTo>
                    <a:lnTo>
                      <a:pt x="281" y="139"/>
                    </a:lnTo>
                    <a:lnTo>
                      <a:pt x="286" y="143"/>
                    </a:lnTo>
                    <a:lnTo>
                      <a:pt x="288" y="148"/>
                    </a:lnTo>
                    <a:lnTo>
                      <a:pt x="288" y="148"/>
                    </a:lnTo>
                    <a:lnTo>
                      <a:pt x="290" y="153"/>
                    </a:lnTo>
                    <a:lnTo>
                      <a:pt x="290" y="153"/>
                    </a:lnTo>
                    <a:lnTo>
                      <a:pt x="290" y="158"/>
                    </a:lnTo>
                    <a:lnTo>
                      <a:pt x="288" y="161"/>
                    </a:lnTo>
                    <a:lnTo>
                      <a:pt x="286" y="165"/>
                    </a:lnTo>
                    <a:lnTo>
                      <a:pt x="286" y="165"/>
                    </a:lnTo>
                    <a:lnTo>
                      <a:pt x="286" y="168"/>
                    </a:lnTo>
                    <a:lnTo>
                      <a:pt x="286" y="168"/>
                    </a:lnTo>
                    <a:lnTo>
                      <a:pt x="287" y="177"/>
                    </a:lnTo>
                    <a:lnTo>
                      <a:pt x="291" y="185"/>
                    </a:lnTo>
                    <a:lnTo>
                      <a:pt x="291" y="185"/>
                    </a:lnTo>
                    <a:lnTo>
                      <a:pt x="293" y="188"/>
                    </a:lnTo>
                    <a:lnTo>
                      <a:pt x="293" y="188"/>
                    </a:lnTo>
                    <a:lnTo>
                      <a:pt x="291" y="195"/>
                    </a:lnTo>
                    <a:lnTo>
                      <a:pt x="290" y="203"/>
                    </a:lnTo>
                    <a:lnTo>
                      <a:pt x="287" y="216"/>
                    </a:lnTo>
                    <a:lnTo>
                      <a:pt x="287" y="216"/>
                    </a:lnTo>
                    <a:lnTo>
                      <a:pt x="287" y="217"/>
                    </a:lnTo>
                    <a:lnTo>
                      <a:pt x="287" y="217"/>
                    </a:lnTo>
                    <a:lnTo>
                      <a:pt x="290" y="220"/>
                    </a:lnTo>
                    <a:lnTo>
                      <a:pt x="293" y="224"/>
                    </a:lnTo>
                    <a:lnTo>
                      <a:pt x="300" y="232"/>
                    </a:lnTo>
                    <a:lnTo>
                      <a:pt x="300" y="232"/>
                    </a:lnTo>
                    <a:lnTo>
                      <a:pt x="312" y="246"/>
                    </a:lnTo>
                    <a:lnTo>
                      <a:pt x="312" y="246"/>
                    </a:lnTo>
                    <a:lnTo>
                      <a:pt x="277" y="284"/>
                    </a:lnTo>
                    <a:lnTo>
                      <a:pt x="252" y="310"/>
                    </a:lnTo>
                    <a:lnTo>
                      <a:pt x="242" y="319"/>
                    </a:lnTo>
                    <a:lnTo>
                      <a:pt x="236" y="321"/>
                    </a:lnTo>
                    <a:lnTo>
                      <a:pt x="236" y="321"/>
                    </a:lnTo>
                    <a:lnTo>
                      <a:pt x="236" y="321"/>
                    </a:lnTo>
                    <a:lnTo>
                      <a:pt x="236" y="321"/>
                    </a:lnTo>
                    <a:lnTo>
                      <a:pt x="236" y="321"/>
                    </a:lnTo>
                    <a:lnTo>
                      <a:pt x="236" y="321"/>
                    </a:lnTo>
                    <a:lnTo>
                      <a:pt x="236" y="321"/>
                    </a:lnTo>
                    <a:lnTo>
                      <a:pt x="236" y="321"/>
                    </a:lnTo>
                    <a:lnTo>
                      <a:pt x="236" y="321"/>
                    </a:lnTo>
                    <a:lnTo>
                      <a:pt x="236" y="321"/>
                    </a:lnTo>
                    <a:lnTo>
                      <a:pt x="236" y="321"/>
                    </a:lnTo>
                    <a:lnTo>
                      <a:pt x="236" y="321"/>
                    </a:lnTo>
                    <a:lnTo>
                      <a:pt x="236" y="321"/>
                    </a:lnTo>
                    <a:lnTo>
                      <a:pt x="236" y="321"/>
                    </a:lnTo>
                    <a:lnTo>
                      <a:pt x="222" y="324"/>
                    </a:lnTo>
                    <a:lnTo>
                      <a:pt x="203" y="327"/>
                    </a:lnTo>
                    <a:lnTo>
                      <a:pt x="203" y="327"/>
                    </a:lnTo>
                    <a:lnTo>
                      <a:pt x="187" y="329"/>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11" name="Freeform 411"/>
              <p:cNvSpPr>
                <a:spLocks/>
              </p:cNvSpPr>
              <p:nvPr/>
            </p:nvSpPr>
            <p:spPr bwMode="auto">
              <a:xfrm>
                <a:off x="2585" y="2132"/>
                <a:ext cx="312" cy="329"/>
              </a:xfrm>
              <a:custGeom>
                <a:avLst/>
                <a:gdLst>
                  <a:gd name="T0" fmla="*/ 184 w 312"/>
                  <a:gd name="T1" fmla="*/ 329 h 329"/>
                  <a:gd name="T2" fmla="*/ 183 w 312"/>
                  <a:gd name="T3" fmla="*/ 327 h 329"/>
                  <a:gd name="T4" fmla="*/ 191 w 312"/>
                  <a:gd name="T5" fmla="*/ 320 h 329"/>
                  <a:gd name="T6" fmla="*/ 160 w 312"/>
                  <a:gd name="T7" fmla="*/ 291 h 329"/>
                  <a:gd name="T8" fmla="*/ 71 w 312"/>
                  <a:gd name="T9" fmla="*/ 226 h 329"/>
                  <a:gd name="T10" fmla="*/ 0 w 312"/>
                  <a:gd name="T11" fmla="*/ 159 h 329"/>
                  <a:gd name="T12" fmla="*/ 29 w 312"/>
                  <a:gd name="T13" fmla="*/ 150 h 329"/>
                  <a:gd name="T14" fmla="*/ 55 w 312"/>
                  <a:gd name="T15" fmla="*/ 137 h 329"/>
                  <a:gd name="T16" fmla="*/ 63 w 312"/>
                  <a:gd name="T17" fmla="*/ 127 h 329"/>
                  <a:gd name="T18" fmla="*/ 81 w 312"/>
                  <a:gd name="T19" fmla="*/ 120 h 329"/>
                  <a:gd name="T20" fmla="*/ 96 w 312"/>
                  <a:gd name="T21" fmla="*/ 98 h 329"/>
                  <a:gd name="T22" fmla="*/ 115 w 312"/>
                  <a:gd name="T23" fmla="*/ 93 h 329"/>
                  <a:gd name="T24" fmla="*/ 120 w 312"/>
                  <a:gd name="T25" fmla="*/ 88 h 329"/>
                  <a:gd name="T26" fmla="*/ 112 w 312"/>
                  <a:gd name="T27" fmla="*/ 64 h 329"/>
                  <a:gd name="T28" fmla="*/ 110 w 312"/>
                  <a:gd name="T29" fmla="*/ 35 h 329"/>
                  <a:gd name="T30" fmla="*/ 126 w 312"/>
                  <a:gd name="T31" fmla="*/ 27 h 329"/>
                  <a:gd name="T32" fmla="*/ 135 w 312"/>
                  <a:gd name="T33" fmla="*/ 26 h 329"/>
                  <a:gd name="T34" fmla="*/ 148 w 312"/>
                  <a:gd name="T35" fmla="*/ 16 h 329"/>
                  <a:gd name="T36" fmla="*/ 165 w 312"/>
                  <a:gd name="T37" fmla="*/ 11 h 329"/>
                  <a:gd name="T38" fmla="*/ 173 w 312"/>
                  <a:gd name="T39" fmla="*/ 3 h 329"/>
                  <a:gd name="T40" fmla="*/ 176 w 312"/>
                  <a:gd name="T41" fmla="*/ 1 h 329"/>
                  <a:gd name="T42" fmla="*/ 177 w 312"/>
                  <a:gd name="T43" fmla="*/ 1 h 329"/>
                  <a:gd name="T44" fmla="*/ 181 w 312"/>
                  <a:gd name="T45" fmla="*/ 4 h 329"/>
                  <a:gd name="T46" fmla="*/ 190 w 312"/>
                  <a:gd name="T47" fmla="*/ 6 h 329"/>
                  <a:gd name="T48" fmla="*/ 207 w 312"/>
                  <a:gd name="T49" fmla="*/ 4 h 329"/>
                  <a:gd name="T50" fmla="*/ 215 w 312"/>
                  <a:gd name="T51" fmla="*/ 7 h 329"/>
                  <a:gd name="T52" fmla="*/ 220 w 312"/>
                  <a:gd name="T53" fmla="*/ 10 h 329"/>
                  <a:gd name="T54" fmla="*/ 239 w 312"/>
                  <a:gd name="T55" fmla="*/ 4 h 329"/>
                  <a:gd name="T56" fmla="*/ 254 w 312"/>
                  <a:gd name="T57" fmla="*/ 0 h 329"/>
                  <a:gd name="T58" fmla="*/ 271 w 312"/>
                  <a:gd name="T59" fmla="*/ 3 h 329"/>
                  <a:gd name="T60" fmla="*/ 273 w 312"/>
                  <a:gd name="T61" fmla="*/ 13 h 329"/>
                  <a:gd name="T62" fmla="*/ 273 w 312"/>
                  <a:gd name="T63" fmla="*/ 27 h 329"/>
                  <a:gd name="T64" fmla="*/ 262 w 312"/>
                  <a:gd name="T65" fmla="*/ 55 h 329"/>
                  <a:gd name="T66" fmla="*/ 262 w 312"/>
                  <a:gd name="T67" fmla="*/ 71 h 329"/>
                  <a:gd name="T68" fmla="*/ 270 w 312"/>
                  <a:gd name="T69" fmla="*/ 95 h 329"/>
                  <a:gd name="T70" fmla="*/ 281 w 312"/>
                  <a:gd name="T71" fmla="*/ 127 h 329"/>
                  <a:gd name="T72" fmla="*/ 275 w 312"/>
                  <a:gd name="T73" fmla="*/ 132 h 329"/>
                  <a:gd name="T74" fmla="*/ 286 w 312"/>
                  <a:gd name="T75" fmla="*/ 143 h 329"/>
                  <a:gd name="T76" fmla="*/ 290 w 312"/>
                  <a:gd name="T77" fmla="*/ 153 h 329"/>
                  <a:gd name="T78" fmla="*/ 286 w 312"/>
                  <a:gd name="T79" fmla="*/ 165 h 329"/>
                  <a:gd name="T80" fmla="*/ 291 w 312"/>
                  <a:gd name="T81" fmla="*/ 185 h 329"/>
                  <a:gd name="T82" fmla="*/ 291 w 312"/>
                  <a:gd name="T83" fmla="*/ 195 h 329"/>
                  <a:gd name="T84" fmla="*/ 287 w 312"/>
                  <a:gd name="T85" fmla="*/ 217 h 329"/>
                  <a:gd name="T86" fmla="*/ 300 w 312"/>
                  <a:gd name="T87" fmla="*/ 232 h 329"/>
                  <a:gd name="T88" fmla="*/ 277 w 312"/>
                  <a:gd name="T89" fmla="*/ 284 h 329"/>
                  <a:gd name="T90" fmla="*/ 236 w 312"/>
                  <a:gd name="T91" fmla="*/ 321 h 329"/>
                  <a:gd name="T92" fmla="*/ 236 w 312"/>
                  <a:gd name="T93" fmla="*/ 321 h 329"/>
                  <a:gd name="T94" fmla="*/ 236 w 312"/>
                  <a:gd name="T95" fmla="*/ 321 h 329"/>
                  <a:gd name="T96" fmla="*/ 236 w 312"/>
                  <a:gd name="T97" fmla="*/ 321 h 329"/>
                  <a:gd name="T98" fmla="*/ 187 w 312"/>
                  <a:gd name="T99"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2" h="329">
                    <a:moveTo>
                      <a:pt x="187" y="329"/>
                    </a:moveTo>
                    <a:lnTo>
                      <a:pt x="187" y="329"/>
                    </a:lnTo>
                    <a:lnTo>
                      <a:pt x="184" y="329"/>
                    </a:lnTo>
                    <a:lnTo>
                      <a:pt x="184" y="329"/>
                    </a:lnTo>
                    <a:lnTo>
                      <a:pt x="183" y="329"/>
                    </a:lnTo>
                    <a:lnTo>
                      <a:pt x="183" y="329"/>
                    </a:lnTo>
                    <a:lnTo>
                      <a:pt x="183" y="327"/>
                    </a:lnTo>
                    <a:lnTo>
                      <a:pt x="183" y="327"/>
                    </a:lnTo>
                    <a:lnTo>
                      <a:pt x="184" y="326"/>
                    </a:lnTo>
                    <a:lnTo>
                      <a:pt x="187" y="323"/>
                    </a:lnTo>
                    <a:lnTo>
                      <a:pt x="190" y="321"/>
                    </a:lnTo>
                    <a:lnTo>
                      <a:pt x="191" y="320"/>
                    </a:lnTo>
                    <a:lnTo>
                      <a:pt x="191" y="320"/>
                    </a:lnTo>
                    <a:lnTo>
                      <a:pt x="190" y="317"/>
                    </a:lnTo>
                    <a:lnTo>
                      <a:pt x="190" y="317"/>
                    </a:lnTo>
                    <a:lnTo>
                      <a:pt x="160" y="291"/>
                    </a:lnTo>
                    <a:lnTo>
                      <a:pt x="134" y="269"/>
                    </a:lnTo>
                    <a:lnTo>
                      <a:pt x="103" y="248"/>
                    </a:lnTo>
                    <a:lnTo>
                      <a:pt x="103" y="248"/>
                    </a:lnTo>
                    <a:lnTo>
                      <a:pt x="71" y="226"/>
                    </a:lnTo>
                    <a:lnTo>
                      <a:pt x="36" y="204"/>
                    </a:lnTo>
                    <a:lnTo>
                      <a:pt x="0" y="179"/>
                    </a:lnTo>
                    <a:lnTo>
                      <a:pt x="0" y="159"/>
                    </a:lnTo>
                    <a:lnTo>
                      <a:pt x="0" y="159"/>
                    </a:lnTo>
                    <a:lnTo>
                      <a:pt x="10" y="155"/>
                    </a:lnTo>
                    <a:lnTo>
                      <a:pt x="19" y="152"/>
                    </a:lnTo>
                    <a:lnTo>
                      <a:pt x="29" y="150"/>
                    </a:lnTo>
                    <a:lnTo>
                      <a:pt x="29" y="150"/>
                    </a:lnTo>
                    <a:lnTo>
                      <a:pt x="34" y="150"/>
                    </a:lnTo>
                    <a:lnTo>
                      <a:pt x="39" y="149"/>
                    </a:lnTo>
                    <a:lnTo>
                      <a:pt x="48" y="143"/>
                    </a:lnTo>
                    <a:lnTo>
                      <a:pt x="55" y="137"/>
                    </a:lnTo>
                    <a:lnTo>
                      <a:pt x="60" y="132"/>
                    </a:lnTo>
                    <a:lnTo>
                      <a:pt x="60" y="132"/>
                    </a:lnTo>
                    <a:lnTo>
                      <a:pt x="61" y="129"/>
                    </a:lnTo>
                    <a:lnTo>
                      <a:pt x="63" y="127"/>
                    </a:lnTo>
                    <a:lnTo>
                      <a:pt x="68" y="126"/>
                    </a:lnTo>
                    <a:lnTo>
                      <a:pt x="74" y="124"/>
                    </a:lnTo>
                    <a:lnTo>
                      <a:pt x="81" y="120"/>
                    </a:lnTo>
                    <a:lnTo>
                      <a:pt x="81" y="120"/>
                    </a:lnTo>
                    <a:lnTo>
                      <a:pt x="86" y="117"/>
                    </a:lnTo>
                    <a:lnTo>
                      <a:pt x="87" y="113"/>
                    </a:lnTo>
                    <a:lnTo>
                      <a:pt x="92" y="106"/>
                    </a:lnTo>
                    <a:lnTo>
                      <a:pt x="96" y="98"/>
                    </a:lnTo>
                    <a:lnTo>
                      <a:pt x="99" y="97"/>
                    </a:lnTo>
                    <a:lnTo>
                      <a:pt x="102" y="95"/>
                    </a:lnTo>
                    <a:lnTo>
                      <a:pt x="102" y="95"/>
                    </a:lnTo>
                    <a:lnTo>
                      <a:pt x="115" y="93"/>
                    </a:lnTo>
                    <a:lnTo>
                      <a:pt x="119" y="91"/>
                    </a:lnTo>
                    <a:lnTo>
                      <a:pt x="120" y="90"/>
                    </a:lnTo>
                    <a:lnTo>
                      <a:pt x="120" y="88"/>
                    </a:lnTo>
                    <a:lnTo>
                      <a:pt x="120" y="88"/>
                    </a:lnTo>
                    <a:lnTo>
                      <a:pt x="115" y="78"/>
                    </a:lnTo>
                    <a:lnTo>
                      <a:pt x="113" y="71"/>
                    </a:lnTo>
                    <a:lnTo>
                      <a:pt x="112" y="64"/>
                    </a:lnTo>
                    <a:lnTo>
                      <a:pt x="112" y="64"/>
                    </a:lnTo>
                    <a:lnTo>
                      <a:pt x="110" y="53"/>
                    </a:lnTo>
                    <a:lnTo>
                      <a:pt x="105" y="40"/>
                    </a:lnTo>
                    <a:lnTo>
                      <a:pt x="105" y="40"/>
                    </a:lnTo>
                    <a:lnTo>
                      <a:pt x="110" y="35"/>
                    </a:lnTo>
                    <a:lnTo>
                      <a:pt x="110" y="35"/>
                    </a:lnTo>
                    <a:lnTo>
                      <a:pt x="118" y="30"/>
                    </a:lnTo>
                    <a:lnTo>
                      <a:pt x="118" y="30"/>
                    </a:lnTo>
                    <a:lnTo>
                      <a:pt x="126" y="27"/>
                    </a:lnTo>
                    <a:lnTo>
                      <a:pt x="126" y="27"/>
                    </a:lnTo>
                    <a:lnTo>
                      <a:pt x="131" y="27"/>
                    </a:lnTo>
                    <a:lnTo>
                      <a:pt x="135" y="26"/>
                    </a:lnTo>
                    <a:lnTo>
                      <a:pt x="135" y="26"/>
                    </a:lnTo>
                    <a:lnTo>
                      <a:pt x="141" y="20"/>
                    </a:lnTo>
                    <a:lnTo>
                      <a:pt x="141" y="20"/>
                    </a:lnTo>
                    <a:lnTo>
                      <a:pt x="148" y="16"/>
                    </a:lnTo>
                    <a:lnTo>
                      <a:pt x="148" y="16"/>
                    </a:lnTo>
                    <a:lnTo>
                      <a:pt x="160" y="13"/>
                    </a:lnTo>
                    <a:lnTo>
                      <a:pt x="160" y="13"/>
                    </a:lnTo>
                    <a:lnTo>
                      <a:pt x="165" y="11"/>
                    </a:lnTo>
                    <a:lnTo>
                      <a:pt x="165" y="11"/>
                    </a:lnTo>
                    <a:lnTo>
                      <a:pt x="168" y="10"/>
                    </a:lnTo>
                    <a:lnTo>
                      <a:pt x="170" y="9"/>
                    </a:lnTo>
                    <a:lnTo>
                      <a:pt x="170" y="9"/>
                    </a:lnTo>
                    <a:lnTo>
                      <a:pt x="173" y="3"/>
                    </a:lnTo>
                    <a:lnTo>
                      <a:pt x="173" y="3"/>
                    </a:lnTo>
                    <a:lnTo>
                      <a:pt x="176" y="1"/>
                    </a:lnTo>
                    <a:lnTo>
                      <a:pt x="176" y="1"/>
                    </a:lnTo>
                    <a:lnTo>
                      <a:pt x="176" y="1"/>
                    </a:lnTo>
                    <a:lnTo>
                      <a:pt x="176" y="1"/>
                    </a:lnTo>
                    <a:lnTo>
                      <a:pt x="176" y="1"/>
                    </a:lnTo>
                    <a:lnTo>
                      <a:pt x="177" y="1"/>
                    </a:lnTo>
                    <a:lnTo>
                      <a:pt x="177" y="1"/>
                    </a:lnTo>
                    <a:lnTo>
                      <a:pt x="178" y="3"/>
                    </a:lnTo>
                    <a:lnTo>
                      <a:pt x="178" y="3"/>
                    </a:lnTo>
                    <a:lnTo>
                      <a:pt x="181" y="4"/>
                    </a:lnTo>
                    <a:lnTo>
                      <a:pt x="181" y="4"/>
                    </a:lnTo>
                    <a:lnTo>
                      <a:pt x="187" y="6"/>
                    </a:lnTo>
                    <a:lnTo>
                      <a:pt x="187" y="6"/>
                    </a:lnTo>
                    <a:lnTo>
                      <a:pt x="190" y="6"/>
                    </a:lnTo>
                    <a:lnTo>
                      <a:pt x="190" y="6"/>
                    </a:lnTo>
                    <a:lnTo>
                      <a:pt x="207" y="4"/>
                    </a:lnTo>
                    <a:lnTo>
                      <a:pt x="207" y="4"/>
                    </a:lnTo>
                    <a:lnTo>
                      <a:pt x="207" y="4"/>
                    </a:lnTo>
                    <a:lnTo>
                      <a:pt x="207" y="4"/>
                    </a:lnTo>
                    <a:lnTo>
                      <a:pt x="210" y="6"/>
                    </a:lnTo>
                    <a:lnTo>
                      <a:pt x="210" y="6"/>
                    </a:lnTo>
                    <a:lnTo>
                      <a:pt x="215" y="7"/>
                    </a:lnTo>
                    <a:lnTo>
                      <a:pt x="215" y="7"/>
                    </a:lnTo>
                    <a:lnTo>
                      <a:pt x="218" y="9"/>
                    </a:lnTo>
                    <a:lnTo>
                      <a:pt x="220" y="10"/>
                    </a:lnTo>
                    <a:lnTo>
                      <a:pt x="220" y="10"/>
                    </a:lnTo>
                    <a:lnTo>
                      <a:pt x="220" y="10"/>
                    </a:lnTo>
                    <a:lnTo>
                      <a:pt x="226" y="9"/>
                    </a:lnTo>
                    <a:lnTo>
                      <a:pt x="226" y="9"/>
                    </a:lnTo>
                    <a:lnTo>
                      <a:pt x="239" y="4"/>
                    </a:lnTo>
                    <a:lnTo>
                      <a:pt x="239" y="4"/>
                    </a:lnTo>
                    <a:lnTo>
                      <a:pt x="246" y="1"/>
                    </a:lnTo>
                    <a:lnTo>
                      <a:pt x="254" y="0"/>
                    </a:lnTo>
                    <a:lnTo>
                      <a:pt x="254" y="0"/>
                    </a:lnTo>
                    <a:lnTo>
                      <a:pt x="254" y="0"/>
                    </a:lnTo>
                    <a:lnTo>
                      <a:pt x="255" y="1"/>
                    </a:lnTo>
                    <a:lnTo>
                      <a:pt x="255" y="1"/>
                    </a:lnTo>
                    <a:lnTo>
                      <a:pt x="264" y="3"/>
                    </a:lnTo>
                    <a:lnTo>
                      <a:pt x="271" y="3"/>
                    </a:lnTo>
                    <a:lnTo>
                      <a:pt x="271" y="3"/>
                    </a:lnTo>
                    <a:lnTo>
                      <a:pt x="273" y="3"/>
                    </a:lnTo>
                    <a:lnTo>
                      <a:pt x="273" y="3"/>
                    </a:lnTo>
                    <a:lnTo>
                      <a:pt x="273" y="13"/>
                    </a:lnTo>
                    <a:lnTo>
                      <a:pt x="273" y="13"/>
                    </a:lnTo>
                    <a:lnTo>
                      <a:pt x="273" y="27"/>
                    </a:lnTo>
                    <a:lnTo>
                      <a:pt x="273" y="27"/>
                    </a:lnTo>
                    <a:lnTo>
                      <a:pt x="273" y="27"/>
                    </a:lnTo>
                    <a:lnTo>
                      <a:pt x="273" y="27"/>
                    </a:lnTo>
                    <a:lnTo>
                      <a:pt x="271" y="33"/>
                    </a:lnTo>
                    <a:lnTo>
                      <a:pt x="268" y="42"/>
                    </a:lnTo>
                    <a:lnTo>
                      <a:pt x="262" y="55"/>
                    </a:lnTo>
                    <a:lnTo>
                      <a:pt x="262" y="55"/>
                    </a:lnTo>
                    <a:lnTo>
                      <a:pt x="261" y="61"/>
                    </a:lnTo>
                    <a:lnTo>
                      <a:pt x="261" y="61"/>
                    </a:lnTo>
                    <a:lnTo>
                      <a:pt x="262" y="71"/>
                    </a:lnTo>
                    <a:lnTo>
                      <a:pt x="265" y="80"/>
                    </a:lnTo>
                    <a:lnTo>
                      <a:pt x="265" y="80"/>
                    </a:lnTo>
                    <a:lnTo>
                      <a:pt x="268" y="85"/>
                    </a:lnTo>
                    <a:lnTo>
                      <a:pt x="270" y="95"/>
                    </a:lnTo>
                    <a:lnTo>
                      <a:pt x="274" y="117"/>
                    </a:lnTo>
                    <a:lnTo>
                      <a:pt x="274" y="117"/>
                    </a:lnTo>
                    <a:lnTo>
                      <a:pt x="277" y="122"/>
                    </a:lnTo>
                    <a:lnTo>
                      <a:pt x="281" y="127"/>
                    </a:lnTo>
                    <a:lnTo>
                      <a:pt x="281" y="127"/>
                    </a:lnTo>
                    <a:lnTo>
                      <a:pt x="277" y="129"/>
                    </a:lnTo>
                    <a:lnTo>
                      <a:pt x="277" y="129"/>
                    </a:lnTo>
                    <a:lnTo>
                      <a:pt x="275" y="132"/>
                    </a:lnTo>
                    <a:lnTo>
                      <a:pt x="275" y="132"/>
                    </a:lnTo>
                    <a:lnTo>
                      <a:pt x="277" y="135"/>
                    </a:lnTo>
                    <a:lnTo>
                      <a:pt x="281" y="139"/>
                    </a:lnTo>
                    <a:lnTo>
                      <a:pt x="286" y="143"/>
                    </a:lnTo>
                    <a:lnTo>
                      <a:pt x="288" y="148"/>
                    </a:lnTo>
                    <a:lnTo>
                      <a:pt x="288" y="148"/>
                    </a:lnTo>
                    <a:lnTo>
                      <a:pt x="290" y="153"/>
                    </a:lnTo>
                    <a:lnTo>
                      <a:pt x="290" y="153"/>
                    </a:lnTo>
                    <a:lnTo>
                      <a:pt x="290" y="158"/>
                    </a:lnTo>
                    <a:lnTo>
                      <a:pt x="288" y="161"/>
                    </a:lnTo>
                    <a:lnTo>
                      <a:pt x="286" y="165"/>
                    </a:lnTo>
                    <a:lnTo>
                      <a:pt x="286" y="165"/>
                    </a:lnTo>
                    <a:lnTo>
                      <a:pt x="286" y="168"/>
                    </a:lnTo>
                    <a:lnTo>
                      <a:pt x="286" y="168"/>
                    </a:lnTo>
                    <a:lnTo>
                      <a:pt x="287" y="177"/>
                    </a:lnTo>
                    <a:lnTo>
                      <a:pt x="291" y="185"/>
                    </a:lnTo>
                    <a:lnTo>
                      <a:pt x="291" y="185"/>
                    </a:lnTo>
                    <a:lnTo>
                      <a:pt x="293" y="188"/>
                    </a:lnTo>
                    <a:lnTo>
                      <a:pt x="293" y="188"/>
                    </a:lnTo>
                    <a:lnTo>
                      <a:pt x="291" y="195"/>
                    </a:lnTo>
                    <a:lnTo>
                      <a:pt x="290" y="203"/>
                    </a:lnTo>
                    <a:lnTo>
                      <a:pt x="287" y="216"/>
                    </a:lnTo>
                    <a:lnTo>
                      <a:pt x="287" y="216"/>
                    </a:lnTo>
                    <a:lnTo>
                      <a:pt x="287" y="217"/>
                    </a:lnTo>
                    <a:lnTo>
                      <a:pt x="287" y="217"/>
                    </a:lnTo>
                    <a:lnTo>
                      <a:pt x="290" y="220"/>
                    </a:lnTo>
                    <a:lnTo>
                      <a:pt x="293" y="224"/>
                    </a:lnTo>
                    <a:lnTo>
                      <a:pt x="300" y="232"/>
                    </a:lnTo>
                    <a:lnTo>
                      <a:pt x="300" y="232"/>
                    </a:lnTo>
                    <a:lnTo>
                      <a:pt x="312" y="246"/>
                    </a:lnTo>
                    <a:lnTo>
                      <a:pt x="312" y="246"/>
                    </a:lnTo>
                    <a:lnTo>
                      <a:pt x="277" y="284"/>
                    </a:lnTo>
                    <a:lnTo>
                      <a:pt x="252" y="310"/>
                    </a:lnTo>
                    <a:lnTo>
                      <a:pt x="242" y="319"/>
                    </a:lnTo>
                    <a:lnTo>
                      <a:pt x="236" y="321"/>
                    </a:lnTo>
                    <a:lnTo>
                      <a:pt x="236" y="321"/>
                    </a:lnTo>
                    <a:lnTo>
                      <a:pt x="236" y="321"/>
                    </a:lnTo>
                    <a:lnTo>
                      <a:pt x="236" y="321"/>
                    </a:lnTo>
                    <a:lnTo>
                      <a:pt x="236" y="321"/>
                    </a:lnTo>
                    <a:lnTo>
                      <a:pt x="236" y="321"/>
                    </a:lnTo>
                    <a:lnTo>
                      <a:pt x="236" y="321"/>
                    </a:lnTo>
                    <a:lnTo>
                      <a:pt x="236" y="321"/>
                    </a:lnTo>
                    <a:lnTo>
                      <a:pt x="236" y="321"/>
                    </a:lnTo>
                    <a:lnTo>
                      <a:pt x="236" y="321"/>
                    </a:lnTo>
                    <a:lnTo>
                      <a:pt x="236" y="321"/>
                    </a:lnTo>
                    <a:lnTo>
                      <a:pt x="236" y="321"/>
                    </a:lnTo>
                    <a:lnTo>
                      <a:pt x="236" y="321"/>
                    </a:lnTo>
                    <a:lnTo>
                      <a:pt x="236" y="321"/>
                    </a:lnTo>
                    <a:lnTo>
                      <a:pt x="222" y="324"/>
                    </a:lnTo>
                    <a:lnTo>
                      <a:pt x="203" y="327"/>
                    </a:lnTo>
                    <a:lnTo>
                      <a:pt x="203" y="327"/>
                    </a:lnTo>
                    <a:lnTo>
                      <a:pt x="187" y="32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12" name="Freeform 412"/>
              <p:cNvSpPr>
                <a:spLocks noEditPoints="1"/>
              </p:cNvSpPr>
              <p:nvPr/>
            </p:nvSpPr>
            <p:spPr bwMode="auto">
              <a:xfrm>
                <a:off x="2688" y="2380"/>
                <a:ext cx="100" cy="81"/>
              </a:xfrm>
              <a:custGeom>
                <a:avLst/>
                <a:gdLst>
                  <a:gd name="T0" fmla="*/ 88 w 100"/>
                  <a:gd name="T1" fmla="*/ 72 h 81"/>
                  <a:gd name="T2" fmla="*/ 88 w 100"/>
                  <a:gd name="T3" fmla="*/ 72 h 81"/>
                  <a:gd name="T4" fmla="*/ 87 w 100"/>
                  <a:gd name="T5" fmla="*/ 69 h 81"/>
                  <a:gd name="T6" fmla="*/ 87 w 100"/>
                  <a:gd name="T7" fmla="*/ 69 h 81"/>
                  <a:gd name="T8" fmla="*/ 57 w 100"/>
                  <a:gd name="T9" fmla="*/ 43 h 81"/>
                  <a:gd name="T10" fmla="*/ 31 w 100"/>
                  <a:gd name="T11" fmla="*/ 21 h 81"/>
                  <a:gd name="T12" fmla="*/ 0 w 100"/>
                  <a:gd name="T13" fmla="*/ 0 h 81"/>
                  <a:gd name="T14" fmla="*/ 0 w 100"/>
                  <a:gd name="T15" fmla="*/ 0 h 81"/>
                  <a:gd name="T16" fmla="*/ 31 w 100"/>
                  <a:gd name="T17" fmla="*/ 21 h 81"/>
                  <a:gd name="T18" fmla="*/ 57 w 100"/>
                  <a:gd name="T19" fmla="*/ 43 h 81"/>
                  <a:gd name="T20" fmla="*/ 87 w 100"/>
                  <a:gd name="T21" fmla="*/ 69 h 81"/>
                  <a:gd name="T22" fmla="*/ 87 w 100"/>
                  <a:gd name="T23" fmla="*/ 69 h 81"/>
                  <a:gd name="T24" fmla="*/ 88 w 100"/>
                  <a:gd name="T25" fmla="*/ 72 h 81"/>
                  <a:gd name="T26" fmla="*/ 80 w 100"/>
                  <a:gd name="T27" fmla="*/ 81 h 81"/>
                  <a:gd name="T28" fmla="*/ 80 w 100"/>
                  <a:gd name="T29" fmla="*/ 81 h 81"/>
                  <a:gd name="T30" fmla="*/ 80 w 100"/>
                  <a:gd name="T31" fmla="*/ 79 h 81"/>
                  <a:gd name="T32" fmla="*/ 80 w 100"/>
                  <a:gd name="T33" fmla="*/ 79 h 81"/>
                  <a:gd name="T34" fmla="*/ 80 w 100"/>
                  <a:gd name="T35" fmla="*/ 81 h 81"/>
                  <a:gd name="T36" fmla="*/ 84 w 100"/>
                  <a:gd name="T37" fmla="*/ 81 h 81"/>
                  <a:gd name="T38" fmla="*/ 84 w 100"/>
                  <a:gd name="T39" fmla="*/ 81 h 81"/>
                  <a:gd name="T40" fmla="*/ 81 w 100"/>
                  <a:gd name="T41" fmla="*/ 81 h 81"/>
                  <a:gd name="T42" fmla="*/ 81 w 100"/>
                  <a:gd name="T43" fmla="*/ 81 h 81"/>
                  <a:gd name="T44" fmla="*/ 84 w 100"/>
                  <a:gd name="T45" fmla="*/ 81 h 81"/>
                  <a:gd name="T46" fmla="*/ 84 w 100"/>
                  <a:gd name="T47" fmla="*/ 81 h 81"/>
                  <a:gd name="T48" fmla="*/ 100 w 100"/>
                  <a:gd name="T49" fmla="*/ 79 h 81"/>
                  <a:gd name="T50" fmla="*/ 100 w 100"/>
                  <a:gd name="T51" fmla="*/ 79 h 81"/>
                  <a:gd name="T52" fmla="*/ 84 w 100"/>
                  <a:gd name="T53"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81">
                    <a:moveTo>
                      <a:pt x="88" y="72"/>
                    </a:moveTo>
                    <a:lnTo>
                      <a:pt x="88" y="72"/>
                    </a:lnTo>
                    <a:lnTo>
                      <a:pt x="87" y="69"/>
                    </a:lnTo>
                    <a:lnTo>
                      <a:pt x="87" y="69"/>
                    </a:lnTo>
                    <a:lnTo>
                      <a:pt x="57" y="43"/>
                    </a:lnTo>
                    <a:lnTo>
                      <a:pt x="31" y="21"/>
                    </a:lnTo>
                    <a:lnTo>
                      <a:pt x="0" y="0"/>
                    </a:lnTo>
                    <a:lnTo>
                      <a:pt x="0" y="0"/>
                    </a:lnTo>
                    <a:lnTo>
                      <a:pt x="31" y="21"/>
                    </a:lnTo>
                    <a:lnTo>
                      <a:pt x="57" y="43"/>
                    </a:lnTo>
                    <a:lnTo>
                      <a:pt x="87" y="69"/>
                    </a:lnTo>
                    <a:lnTo>
                      <a:pt x="87" y="69"/>
                    </a:lnTo>
                    <a:lnTo>
                      <a:pt x="88" y="72"/>
                    </a:lnTo>
                    <a:close/>
                    <a:moveTo>
                      <a:pt x="80" y="81"/>
                    </a:moveTo>
                    <a:lnTo>
                      <a:pt x="80" y="81"/>
                    </a:lnTo>
                    <a:lnTo>
                      <a:pt x="80" y="79"/>
                    </a:lnTo>
                    <a:lnTo>
                      <a:pt x="80" y="79"/>
                    </a:lnTo>
                    <a:lnTo>
                      <a:pt x="80" y="81"/>
                    </a:lnTo>
                    <a:close/>
                    <a:moveTo>
                      <a:pt x="84" y="81"/>
                    </a:moveTo>
                    <a:lnTo>
                      <a:pt x="84" y="81"/>
                    </a:lnTo>
                    <a:lnTo>
                      <a:pt x="81" y="81"/>
                    </a:lnTo>
                    <a:lnTo>
                      <a:pt x="81" y="81"/>
                    </a:lnTo>
                    <a:lnTo>
                      <a:pt x="84" y="81"/>
                    </a:lnTo>
                    <a:lnTo>
                      <a:pt x="84" y="81"/>
                    </a:lnTo>
                    <a:lnTo>
                      <a:pt x="100" y="79"/>
                    </a:lnTo>
                    <a:lnTo>
                      <a:pt x="100" y="79"/>
                    </a:lnTo>
                    <a:lnTo>
                      <a:pt x="84" y="81"/>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13" name="Freeform 413"/>
              <p:cNvSpPr>
                <a:spLocks/>
              </p:cNvSpPr>
              <p:nvPr/>
            </p:nvSpPr>
            <p:spPr bwMode="auto">
              <a:xfrm>
                <a:off x="2688" y="2380"/>
                <a:ext cx="88" cy="72"/>
              </a:xfrm>
              <a:custGeom>
                <a:avLst/>
                <a:gdLst>
                  <a:gd name="T0" fmla="*/ 88 w 88"/>
                  <a:gd name="T1" fmla="*/ 72 h 72"/>
                  <a:gd name="T2" fmla="*/ 88 w 88"/>
                  <a:gd name="T3" fmla="*/ 72 h 72"/>
                  <a:gd name="T4" fmla="*/ 87 w 88"/>
                  <a:gd name="T5" fmla="*/ 69 h 72"/>
                  <a:gd name="T6" fmla="*/ 87 w 88"/>
                  <a:gd name="T7" fmla="*/ 69 h 72"/>
                  <a:gd name="T8" fmla="*/ 57 w 88"/>
                  <a:gd name="T9" fmla="*/ 43 h 72"/>
                  <a:gd name="T10" fmla="*/ 31 w 88"/>
                  <a:gd name="T11" fmla="*/ 21 h 72"/>
                  <a:gd name="T12" fmla="*/ 0 w 88"/>
                  <a:gd name="T13" fmla="*/ 0 h 72"/>
                  <a:gd name="T14" fmla="*/ 0 w 88"/>
                  <a:gd name="T15" fmla="*/ 0 h 72"/>
                  <a:gd name="T16" fmla="*/ 31 w 88"/>
                  <a:gd name="T17" fmla="*/ 21 h 72"/>
                  <a:gd name="T18" fmla="*/ 57 w 88"/>
                  <a:gd name="T19" fmla="*/ 43 h 72"/>
                  <a:gd name="T20" fmla="*/ 87 w 88"/>
                  <a:gd name="T21" fmla="*/ 69 h 72"/>
                  <a:gd name="T22" fmla="*/ 87 w 88"/>
                  <a:gd name="T23" fmla="*/ 69 h 72"/>
                  <a:gd name="T24" fmla="*/ 88 w 88"/>
                  <a:gd name="T2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 h="72">
                    <a:moveTo>
                      <a:pt x="88" y="72"/>
                    </a:moveTo>
                    <a:lnTo>
                      <a:pt x="88" y="72"/>
                    </a:lnTo>
                    <a:lnTo>
                      <a:pt x="87" y="69"/>
                    </a:lnTo>
                    <a:lnTo>
                      <a:pt x="87" y="69"/>
                    </a:lnTo>
                    <a:lnTo>
                      <a:pt x="57" y="43"/>
                    </a:lnTo>
                    <a:lnTo>
                      <a:pt x="31" y="21"/>
                    </a:lnTo>
                    <a:lnTo>
                      <a:pt x="0" y="0"/>
                    </a:lnTo>
                    <a:lnTo>
                      <a:pt x="0" y="0"/>
                    </a:lnTo>
                    <a:lnTo>
                      <a:pt x="31" y="21"/>
                    </a:lnTo>
                    <a:lnTo>
                      <a:pt x="57" y="43"/>
                    </a:lnTo>
                    <a:lnTo>
                      <a:pt x="87" y="69"/>
                    </a:lnTo>
                    <a:lnTo>
                      <a:pt x="87" y="69"/>
                    </a:lnTo>
                    <a:lnTo>
                      <a:pt x="88"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14" name="Rectangle 414"/>
              <p:cNvSpPr>
                <a:spLocks noChangeArrowheads="1"/>
              </p:cNvSpPr>
              <p:nvPr/>
            </p:nvSpPr>
            <p:spPr bwMode="auto">
              <a:xfrm>
                <a:off x="2768" y="2459"/>
                <a:ext cx="1" cy="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15" name="Freeform 415"/>
              <p:cNvSpPr>
                <a:spLocks/>
              </p:cNvSpPr>
              <p:nvPr/>
            </p:nvSpPr>
            <p:spPr bwMode="auto">
              <a:xfrm>
                <a:off x="2769" y="2459"/>
                <a:ext cx="19" cy="2"/>
              </a:xfrm>
              <a:custGeom>
                <a:avLst/>
                <a:gdLst>
                  <a:gd name="T0" fmla="*/ 3 w 19"/>
                  <a:gd name="T1" fmla="*/ 2 h 2"/>
                  <a:gd name="T2" fmla="*/ 3 w 19"/>
                  <a:gd name="T3" fmla="*/ 2 h 2"/>
                  <a:gd name="T4" fmla="*/ 0 w 19"/>
                  <a:gd name="T5" fmla="*/ 2 h 2"/>
                  <a:gd name="T6" fmla="*/ 0 w 19"/>
                  <a:gd name="T7" fmla="*/ 2 h 2"/>
                  <a:gd name="T8" fmla="*/ 3 w 19"/>
                  <a:gd name="T9" fmla="*/ 2 h 2"/>
                  <a:gd name="T10" fmla="*/ 3 w 19"/>
                  <a:gd name="T11" fmla="*/ 2 h 2"/>
                  <a:gd name="T12" fmla="*/ 19 w 19"/>
                  <a:gd name="T13" fmla="*/ 0 h 2"/>
                  <a:gd name="T14" fmla="*/ 19 w 19"/>
                  <a:gd name="T15" fmla="*/ 0 h 2"/>
                  <a:gd name="T16" fmla="*/ 3 w 19"/>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
                    <a:moveTo>
                      <a:pt x="3" y="2"/>
                    </a:moveTo>
                    <a:lnTo>
                      <a:pt x="3" y="2"/>
                    </a:lnTo>
                    <a:lnTo>
                      <a:pt x="0" y="2"/>
                    </a:lnTo>
                    <a:lnTo>
                      <a:pt x="0" y="2"/>
                    </a:lnTo>
                    <a:lnTo>
                      <a:pt x="3" y="2"/>
                    </a:lnTo>
                    <a:lnTo>
                      <a:pt x="3" y="2"/>
                    </a:lnTo>
                    <a:lnTo>
                      <a:pt x="19" y="0"/>
                    </a:lnTo>
                    <a:lnTo>
                      <a:pt x="19" y="0"/>
                    </a:lnTo>
                    <a:lnTo>
                      <a:pt x="3"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16" name="Freeform 416"/>
              <p:cNvSpPr>
                <a:spLocks noEditPoints="1"/>
              </p:cNvSpPr>
              <p:nvPr/>
            </p:nvSpPr>
            <p:spPr bwMode="auto">
              <a:xfrm>
                <a:off x="2860" y="2259"/>
                <a:ext cx="18" cy="89"/>
              </a:xfrm>
              <a:custGeom>
                <a:avLst/>
                <a:gdLst>
                  <a:gd name="T0" fmla="*/ 0 w 18"/>
                  <a:gd name="T1" fmla="*/ 5 h 89"/>
                  <a:gd name="T2" fmla="*/ 0 w 18"/>
                  <a:gd name="T3" fmla="*/ 5 h 89"/>
                  <a:gd name="T4" fmla="*/ 2 w 18"/>
                  <a:gd name="T5" fmla="*/ 2 h 89"/>
                  <a:gd name="T6" fmla="*/ 2 w 18"/>
                  <a:gd name="T7" fmla="*/ 2 h 89"/>
                  <a:gd name="T8" fmla="*/ 6 w 18"/>
                  <a:gd name="T9" fmla="*/ 0 h 89"/>
                  <a:gd name="T10" fmla="*/ 6 w 18"/>
                  <a:gd name="T11" fmla="*/ 0 h 89"/>
                  <a:gd name="T12" fmla="*/ 6 w 18"/>
                  <a:gd name="T13" fmla="*/ 0 h 89"/>
                  <a:gd name="T14" fmla="*/ 2 w 18"/>
                  <a:gd name="T15" fmla="*/ 2 h 89"/>
                  <a:gd name="T16" fmla="*/ 2 w 18"/>
                  <a:gd name="T17" fmla="*/ 2 h 89"/>
                  <a:gd name="T18" fmla="*/ 0 w 18"/>
                  <a:gd name="T19" fmla="*/ 5 h 89"/>
                  <a:gd name="T20" fmla="*/ 11 w 18"/>
                  <a:gd name="T21" fmla="*/ 41 h 89"/>
                  <a:gd name="T22" fmla="*/ 11 w 18"/>
                  <a:gd name="T23" fmla="*/ 41 h 89"/>
                  <a:gd name="T24" fmla="*/ 11 w 18"/>
                  <a:gd name="T25" fmla="*/ 38 h 89"/>
                  <a:gd name="T26" fmla="*/ 11 w 18"/>
                  <a:gd name="T27" fmla="*/ 38 h 89"/>
                  <a:gd name="T28" fmla="*/ 13 w 18"/>
                  <a:gd name="T29" fmla="*/ 34 h 89"/>
                  <a:gd name="T30" fmla="*/ 15 w 18"/>
                  <a:gd name="T31" fmla="*/ 31 h 89"/>
                  <a:gd name="T32" fmla="*/ 15 w 18"/>
                  <a:gd name="T33" fmla="*/ 26 h 89"/>
                  <a:gd name="T34" fmla="*/ 15 w 18"/>
                  <a:gd name="T35" fmla="*/ 26 h 89"/>
                  <a:gd name="T36" fmla="*/ 15 w 18"/>
                  <a:gd name="T37" fmla="*/ 31 h 89"/>
                  <a:gd name="T38" fmla="*/ 13 w 18"/>
                  <a:gd name="T39" fmla="*/ 34 h 89"/>
                  <a:gd name="T40" fmla="*/ 11 w 18"/>
                  <a:gd name="T41" fmla="*/ 38 h 89"/>
                  <a:gd name="T42" fmla="*/ 11 w 18"/>
                  <a:gd name="T43" fmla="*/ 38 h 89"/>
                  <a:gd name="T44" fmla="*/ 11 w 18"/>
                  <a:gd name="T45" fmla="*/ 41 h 89"/>
                  <a:gd name="T46" fmla="*/ 12 w 18"/>
                  <a:gd name="T47" fmla="*/ 89 h 89"/>
                  <a:gd name="T48" fmla="*/ 12 w 18"/>
                  <a:gd name="T49" fmla="*/ 89 h 89"/>
                  <a:gd name="T50" fmla="*/ 15 w 18"/>
                  <a:gd name="T51" fmla="*/ 76 h 89"/>
                  <a:gd name="T52" fmla="*/ 16 w 18"/>
                  <a:gd name="T53" fmla="*/ 68 h 89"/>
                  <a:gd name="T54" fmla="*/ 18 w 18"/>
                  <a:gd name="T55" fmla="*/ 61 h 89"/>
                  <a:gd name="T56" fmla="*/ 18 w 18"/>
                  <a:gd name="T57" fmla="*/ 61 h 89"/>
                  <a:gd name="T58" fmla="*/ 16 w 18"/>
                  <a:gd name="T59" fmla="*/ 68 h 89"/>
                  <a:gd name="T60" fmla="*/ 15 w 18"/>
                  <a:gd name="T61" fmla="*/ 76 h 89"/>
                  <a:gd name="T62" fmla="*/ 12 w 18"/>
                  <a:gd name="T63"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89">
                    <a:moveTo>
                      <a:pt x="0" y="5"/>
                    </a:moveTo>
                    <a:lnTo>
                      <a:pt x="0" y="5"/>
                    </a:lnTo>
                    <a:lnTo>
                      <a:pt x="2" y="2"/>
                    </a:lnTo>
                    <a:lnTo>
                      <a:pt x="2" y="2"/>
                    </a:lnTo>
                    <a:lnTo>
                      <a:pt x="6" y="0"/>
                    </a:lnTo>
                    <a:lnTo>
                      <a:pt x="6" y="0"/>
                    </a:lnTo>
                    <a:lnTo>
                      <a:pt x="6" y="0"/>
                    </a:lnTo>
                    <a:lnTo>
                      <a:pt x="2" y="2"/>
                    </a:lnTo>
                    <a:lnTo>
                      <a:pt x="2" y="2"/>
                    </a:lnTo>
                    <a:lnTo>
                      <a:pt x="0" y="5"/>
                    </a:lnTo>
                    <a:close/>
                    <a:moveTo>
                      <a:pt x="11" y="41"/>
                    </a:moveTo>
                    <a:lnTo>
                      <a:pt x="11" y="41"/>
                    </a:lnTo>
                    <a:lnTo>
                      <a:pt x="11" y="38"/>
                    </a:lnTo>
                    <a:lnTo>
                      <a:pt x="11" y="38"/>
                    </a:lnTo>
                    <a:lnTo>
                      <a:pt x="13" y="34"/>
                    </a:lnTo>
                    <a:lnTo>
                      <a:pt x="15" y="31"/>
                    </a:lnTo>
                    <a:lnTo>
                      <a:pt x="15" y="26"/>
                    </a:lnTo>
                    <a:lnTo>
                      <a:pt x="15" y="26"/>
                    </a:lnTo>
                    <a:lnTo>
                      <a:pt x="15" y="31"/>
                    </a:lnTo>
                    <a:lnTo>
                      <a:pt x="13" y="34"/>
                    </a:lnTo>
                    <a:lnTo>
                      <a:pt x="11" y="38"/>
                    </a:lnTo>
                    <a:lnTo>
                      <a:pt x="11" y="38"/>
                    </a:lnTo>
                    <a:lnTo>
                      <a:pt x="11" y="41"/>
                    </a:lnTo>
                    <a:close/>
                    <a:moveTo>
                      <a:pt x="12" y="89"/>
                    </a:moveTo>
                    <a:lnTo>
                      <a:pt x="12" y="89"/>
                    </a:lnTo>
                    <a:lnTo>
                      <a:pt x="15" y="76"/>
                    </a:lnTo>
                    <a:lnTo>
                      <a:pt x="16" y="68"/>
                    </a:lnTo>
                    <a:lnTo>
                      <a:pt x="18" y="61"/>
                    </a:lnTo>
                    <a:lnTo>
                      <a:pt x="18" y="61"/>
                    </a:lnTo>
                    <a:lnTo>
                      <a:pt x="16" y="68"/>
                    </a:lnTo>
                    <a:lnTo>
                      <a:pt x="15" y="76"/>
                    </a:lnTo>
                    <a:lnTo>
                      <a:pt x="12" y="89"/>
                    </a:lnTo>
                    <a:close/>
                  </a:path>
                </a:pathLst>
              </a:custGeom>
              <a:solidFill>
                <a:srgbClr val="60B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17" name="Freeform 417"/>
              <p:cNvSpPr>
                <a:spLocks/>
              </p:cNvSpPr>
              <p:nvPr/>
            </p:nvSpPr>
            <p:spPr bwMode="auto">
              <a:xfrm>
                <a:off x="2860" y="2259"/>
                <a:ext cx="6" cy="5"/>
              </a:xfrm>
              <a:custGeom>
                <a:avLst/>
                <a:gdLst>
                  <a:gd name="T0" fmla="*/ 0 w 6"/>
                  <a:gd name="T1" fmla="*/ 5 h 5"/>
                  <a:gd name="T2" fmla="*/ 0 w 6"/>
                  <a:gd name="T3" fmla="*/ 5 h 5"/>
                  <a:gd name="T4" fmla="*/ 2 w 6"/>
                  <a:gd name="T5" fmla="*/ 2 h 5"/>
                  <a:gd name="T6" fmla="*/ 2 w 6"/>
                  <a:gd name="T7" fmla="*/ 2 h 5"/>
                  <a:gd name="T8" fmla="*/ 6 w 6"/>
                  <a:gd name="T9" fmla="*/ 0 h 5"/>
                  <a:gd name="T10" fmla="*/ 6 w 6"/>
                  <a:gd name="T11" fmla="*/ 0 h 5"/>
                  <a:gd name="T12" fmla="*/ 6 w 6"/>
                  <a:gd name="T13" fmla="*/ 0 h 5"/>
                  <a:gd name="T14" fmla="*/ 2 w 6"/>
                  <a:gd name="T15" fmla="*/ 2 h 5"/>
                  <a:gd name="T16" fmla="*/ 2 w 6"/>
                  <a:gd name="T17" fmla="*/ 2 h 5"/>
                  <a:gd name="T18" fmla="*/ 0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0" y="5"/>
                    </a:moveTo>
                    <a:lnTo>
                      <a:pt x="0" y="5"/>
                    </a:lnTo>
                    <a:lnTo>
                      <a:pt x="2" y="2"/>
                    </a:lnTo>
                    <a:lnTo>
                      <a:pt x="2" y="2"/>
                    </a:lnTo>
                    <a:lnTo>
                      <a:pt x="6" y="0"/>
                    </a:lnTo>
                    <a:lnTo>
                      <a:pt x="6" y="0"/>
                    </a:lnTo>
                    <a:lnTo>
                      <a:pt x="6" y="0"/>
                    </a:lnTo>
                    <a:lnTo>
                      <a:pt x="2" y="2"/>
                    </a:lnTo>
                    <a:lnTo>
                      <a:pt x="2" y="2"/>
                    </a:lnTo>
                    <a:lnTo>
                      <a:pt x="0"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18" name="Freeform 418"/>
              <p:cNvSpPr>
                <a:spLocks/>
              </p:cNvSpPr>
              <p:nvPr/>
            </p:nvSpPr>
            <p:spPr bwMode="auto">
              <a:xfrm>
                <a:off x="2871" y="2285"/>
                <a:ext cx="4" cy="15"/>
              </a:xfrm>
              <a:custGeom>
                <a:avLst/>
                <a:gdLst>
                  <a:gd name="T0" fmla="*/ 0 w 4"/>
                  <a:gd name="T1" fmla="*/ 15 h 15"/>
                  <a:gd name="T2" fmla="*/ 0 w 4"/>
                  <a:gd name="T3" fmla="*/ 15 h 15"/>
                  <a:gd name="T4" fmla="*/ 0 w 4"/>
                  <a:gd name="T5" fmla="*/ 12 h 15"/>
                  <a:gd name="T6" fmla="*/ 0 w 4"/>
                  <a:gd name="T7" fmla="*/ 12 h 15"/>
                  <a:gd name="T8" fmla="*/ 2 w 4"/>
                  <a:gd name="T9" fmla="*/ 8 h 15"/>
                  <a:gd name="T10" fmla="*/ 4 w 4"/>
                  <a:gd name="T11" fmla="*/ 5 h 15"/>
                  <a:gd name="T12" fmla="*/ 4 w 4"/>
                  <a:gd name="T13" fmla="*/ 0 h 15"/>
                  <a:gd name="T14" fmla="*/ 4 w 4"/>
                  <a:gd name="T15" fmla="*/ 0 h 15"/>
                  <a:gd name="T16" fmla="*/ 4 w 4"/>
                  <a:gd name="T17" fmla="*/ 5 h 15"/>
                  <a:gd name="T18" fmla="*/ 2 w 4"/>
                  <a:gd name="T19" fmla="*/ 8 h 15"/>
                  <a:gd name="T20" fmla="*/ 0 w 4"/>
                  <a:gd name="T21" fmla="*/ 12 h 15"/>
                  <a:gd name="T22" fmla="*/ 0 w 4"/>
                  <a:gd name="T23" fmla="*/ 12 h 15"/>
                  <a:gd name="T24" fmla="*/ 0 w 4"/>
                  <a:gd name="T2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5">
                    <a:moveTo>
                      <a:pt x="0" y="15"/>
                    </a:moveTo>
                    <a:lnTo>
                      <a:pt x="0" y="15"/>
                    </a:lnTo>
                    <a:lnTo>
                      <a:pt x="0" y="12"/>
                    </a:lnTo>
                    <a:lnTo>
                      <a:pt x="0" y="12"/>
                    </a:lnTo>
                    <a:lnTo>
                      <a:pt x="2" y="8"/>
                    </a:lnTo>
                    <a:lnTo>
                      <a:pt x="4" y="5"/>
                    </a:lnTo>
                    <a:lnTo>
                      <a:pt x="4" y="0"/>
                    </a:lnTo>
                    <a:lnTo>
                      <a:pt x="4" y="0"/>
                    </a:lnTo>
                    <a:lnTo>
                      <a:pt x="4" y="5"/>
                    </a:lnTo>
                    <a:lnTo>
                      <a:pt x="2" y="8"/>
                    </a:lnTo>
                    <a:lnTo>
                      <a:pt x="0" y="12"/>
                    </a:lnTo>
                    <a:lnTo>
                      <a:pt x="0" y="12"/>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19" name="Freeform 419"/>
              <p:cNvSpPr>
                <a:spLocks/>
              </p:cNvSpPr>
              <p:nvPr/>
            </p:nvSpPr>
            <p:spPr bwMode="auto">
              <a:xfrm>
                <a:off x="2872" y="2320"/>
                <a:ext cx="6" cy="28"/>
              </a:xfrm>
              <a:custGeom>
                <a:avLst/>
                <a:gdLst>
                  <a:gd name="T0" fmla="*/ 0 w 6"/>
                  <a:gd name="T1" fmla="*/ 28 h 28"/>
                  <a:gd name="T2" fmla="*/ 0 w 6"/>
                  <a:gd name="T3" fmla="*/ 28 h 28"/>
                  <a:gd name="T4" fmla="*/ 3 w 6"/>
                  <a:gd name="T5" fmla="*/ 15 h 28"/>
                  <a:gd name="T6" fmla="*/ 4 w 6"/>
                  <a:gd name="T7" fmla="*/ 7 h 28"/>
                  <a:gd name="T8" fmla="*/ 6 w 6"/>
                  <a:gd name="T9" fmla="*/ 0 h 28"/>
                  <a:gd name="T10" fmla="*/ 6 w 6"/>
                  <a:gd name="T11" fmla="*/ 0 h 28"/>
                  <a:gd name="T12" fmla="*/ 4 w 6"/>
                  <a:gd name="T13" fmla="*/ 7 h 28"/>
                  <a:gd name="T14" fmla="*/ 3 w 6"/>
                  <a:gd name="T15" fmla="*/ 15 h 28"/>
                  <a:gd name="T16" fmla="*/ 0 w 6"/>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8">
                    <a:moveTo>
                      <a:pt x="0" y="28"/>
                    </a:moveTo>
                    <a:lnTo>
                      <a:pt x="0" y="28"/>
                    </a:lnTo>
                    <a:lnTo>
                      <a:pt x="3" y="15"/>
                    </a:lnTo>
                    <a:lnTo>
                      <a:pt x="4" y="7"/>
                    </a:lnTo>
                    <a:lnTo>
                      <a:pt x="6" y="0"/>
                    </a:lnTo>
                    <a:lnTo>
                      <a:pt x="6" y="0"/>
                    </a:lnTo>
                    <a:lnTo>
                      <a:pt x="4" y="7"/>
                    </a:lnTo>
                    <a:lnTo>
                      <a:pt x="3" y="15"/>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20" name="Freeform 420"/>
              <p:cNvSpPr>
                <a:spLocks/>
              </p:cNvSpPr>
              <p:nvPr/>
            </p:nvSpPr>
            <p:spPr bwMode="auto">
              <a:xfrm>
                <a:off x="2846" y="2128"/>
                <a:ext cx="65" cy="131"/>
              </a:xfrm>
              <a:custGeom>
                <a:avLst/>
                <a:gdLst>
                  <a:gd name="T0" fmla="*/ 20 w 65"/>
                  <a:gd name="T1" fmla="*/ 131 h 131"/>
                  <a:gd name="T2" fmla="*/ 13 w 65"/>
                  <a:gd name="T3" fmla="*/ 121 h 131"/>
                  <a:gd name="T4" fmla="*/ 9 w 65"/>
                  <a:gd name="T5" fmla="*/ 99 h 131"/>
                  <a:gd name="T6" fmla="*/ 4 w 65"/>
                  <a:gd name="T7" fmla="*/ 84 h 131"/>
                  <a:gd name="T8" fmla="*/ 1 w 65"/>
                  <a:gd name="T9" fmla="*/ 75 h 131"/>
                  <a:gd name="T10" fmla="*/ 0 w 65"/>
                  <a:gd name="T11" fmla="*/ 65 h 131"/>
                  <a:gd name="T12" fmla="*/ 1 w 65"/>
                  <a:gd name="T13" fmla="*/ 59 h 131"/>
                  <a:gd name="T14" fmla="*/ 10 w 65"/>
                  <a:gd name="T15" fmla="*/ 37 h 131"/>
                  <a:gd name="T16" fmla="*/ 12 w 65"/>
                  <a:gd name="T17" fmla="*/ 31 h 131"/>
                  <a:gd name="T18" fmla="*/ 12 w 65"/>
                  <a:gd name="T19" fmla="*/ 31 h 131"/>
                  <a:gd name="T20" fmla="*/ 12 w 65"/>
                  <a:gd name="T21" fmla="*/ 17 h 131"/>
                  <a:gd name="T22" fmla="*/ 12 w 65"/>
                  <a:gd name="T23" fmla="*/ 7 h 131"/>
                  <a:gd name="T24" fmla="*/ 16 w 65"/>
                  <a:gd name="T25" fmla="*/ 7 h 131"/>
                  <a:gd name="T26" fmla="*/ 23 w 65"/>
                  <a:gd name="T27" fmla="*/ 2 h 131"/>
                  <a:gd name="T28" fmla="*/ 33 w 65"/>
                  <a:gd name="T29" fmla="*/ 0 h 131"/>
                  <a:gd name="T30" fmla="*/ 33 w 65"/>
                  <a:gd name="T31" fmla="*/ 0 h 131"/>
                  <a:gd name="T32" fmla="*/ 35 w 65"/>
                  <a:gd name="T33" fmla="*/ 0 h 131"/>
                  <a:gd name="T34" fmla="*/ 41 w 65"/>
                  <a:gd name="T35" fmla="*/ 5 h 131"/>
                  <a:gd name="T36" fmla="*/ 48 w 65"/>
                  <a:gd name="T37" fmla="*/ 8 h 131"/>
                  <a:gd name="T38" fmla="*/ 46 w 65"/>
                  <a:gd name="T39" fmla="*/ 10 h 131"/>
                  <a:gd name="T40" fmla="*/ 45 w 65"/>
                  <a:gd name="T41" fmla="*/ 14 h 131"/>
                  <a:gd name="T42" fmla="*/ 43 w 65"/>
                  <a:gd name="T43" fmla="*/ 23 h 131"/>
                  <a:gd name="T44" fmla="*/ 45 w 65"/>
                  <a:gd name="T45" fmla="*/ 28 h 131"/>
                  <a:gd name="T46" fmla="*/ 45 w 65"/>
                  <a:gd name="T47" fmla="*/ 31 h 131"/>
                  <a:gd name="T48" fmla="*/ 46 w 65"/>
                  <a:gd name="T49" fmla="*/ 34 h 131"/>
                  <a:gd name="T50" fmla="*/ 48 w 65"/>
                  <a:gd name="T51" fmla="*/ 37 h 131"/>
                  <a:gd name="T52" fmla="*/ 46 w 65"/>
                  <a:gd name="T53" fmla="*/ 44 h 131"/>
                  <a:gd name="T54" fmla="*/ 43 w 65"/>
                  <a:gd name="T55" fmla="*/ 49 h 131"/>
                  <a:gd name="T56" fmla="*/ 38 w 65"/>
                  <a:gd name="T57" fmla="*/ 56 h 131"/>
                  <a:gd name="T58" fmla="*/ 36 w 65"/>
                  <a:gd name="T59" fmla="*/ 60 h 131"/>
                  <a:gd name="T60" fmla="*/ 36 w 65"/>
                  <a:gd name="T61" fmla="*/ 65 h 131"/>
                  <a:gd name="T62" fmla="*/ 36 w 65"/>
                  <a:gd name="T63" fmla="*/ 69 h 131"/>
                  <a:gd name="T64" fmla="*/ 39 w 65"/>
                  <a:gd name="T65" fmla="*/ 72 h 131"/>
                  <a:gd name="T66" fmla="*/ 48 w 65"/>
                  <a:gd name="T67" fmla="*/ 73 h 131"/>
                  <a:gd name="T68" fmla="*/ 49 w 65"/>
                  <a:gd name="T69" fmla="*/ 73 h 131"/>
                  <a:gd name="T70" fmla="*/ 51 w 65"/>
                  <a:gd name="T71" fmla="*/ 73 h 131"/>
                  <a:gd name="T72" fmla="*/ 49 w 65"/>
                  <a:gd name="T73" fmla="*/ 76 h 131"/>
                  <a:gd name="T74" fmla="*/ 49 w 65"/>
                  <a:gd name="T75" fmla="*/ 79 h 131"/>
                  <a:gd name="T76" fmla="*/ 51 w 65"/>
                  <a:gd name="T77" fmla="*/ 82 h 131"/>
                  <a:gd name="T78" fmla="*/ 52 w 65"/>
                  <a:gd name="T79" fmla="*/ 84 h 131"/>
                  <a:gd name="T80" fmla="*/ 54 w 65"/>
                  <a:gd name="T81" fmla="*/ 84 h 131"/>
                  <a:gd name="T82" fmla="*/ 56 w 65"/>
                  <a:gd name="T83" fmla="*/ 82 h 131"/>
                  <a:gd name="T84" fmla="*/ 61 w 65"/>
                  <a:gd name="T85" fmla="*/ 81 h 131"/>
                  <a:gd name="T86" fmla="*/ 64 w 65"/>
                  <a:gd name="T87" fmla="*/ 82 h 131"/>
                  <a:gd name="T88" fmla="*/ 65 w 65"/>
                  <a:gd name="T89" fmla="*/ 84 h 131"/>
                  <a:gd name="T90" fmla="*/ 64 w 65"/>
                  <a:gd name="T91" fmla="*/ 89 h 131"/>
                  <a:gd name="T92" fmla="*/ 58 w 65"/>
                  <a:gd name="T93" fmla="*/ 97 h 131"/>
                  <a:gd name="T94" fmla="*/ 54 w 65"/>
                  <a:gd name="T95" fmla="*/ 98 h 131"/>
                  <a:gd name="T96" fmla="*/ 45 w 65"/>
                  <a:gd name="T97" fmla="*/ 107 h 131"/>
                  <a:gd name="T98" fmla="*/ 39 w 65"/>
                  <a:gd name="T99" fmla="*/ 118 h 131"/>
                  <a:gd name="T100" fmla="*/ 39 w 65"/>
                  <a:gd name="T101" fmla="*/ 118 h 131"/>
                  <a:gd name="T102" fmla="*/ 32 w 65"/>
                  <a:gd name="T103"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5" h="131">
                    <a:moveTo>
                      <a:pt x="20" y="131"/>
                    </a:moveTo>
                    <a:lnTo>
                      <a:pt x="20" y="131"/>
                    </a:lnTo>
                    <a:lnTo>
                      <a:pt x="16" y="126"/>
                    </a:lnTo>
                    <a:lnTo>
                      <a:pt x="13" y="121"/>
                    </a:lnTo>
                    <a:lnTo>
                      <a:pt x="13" y="121"/>
                    </a:lnTo>
                    <a:lnTo>
                      <a:pt x="9" y="99"/>
                    </a:lnTo>
                    <a:lnTo>
                      <a:pt x="7" y="89"/>
                    </a:lnTo>
                    <a:lnTo>
                      <a:pt x="4" y="84"/>
                    </a:lnTo>
                    <a:lnTo>
                      <a:pt x="4" y="84"/>
                    </a:lnTo>
                    <a:lnTo>
                      <a:pt x="1" y="75"/>
                    </a:lnTo>
                    <a:lnTo>
                      <a:pt x="0" y="65"/>
                    </a:lnTo>
                    <a:lnTo>
                      <a:pt x="0" y="65"/>
                    </a:lnTo>
                    <a:lnTo>
                      <a:pt x="1" y="59"/>
                    </a:lnTo>
                    <a:lnTo>
                      <a:pt x="1" y="59"/>
                    </a:lnTo>
                    <a:lnTo>
                      <a:pt x="7" y="46"/>
                    </a:lnTo>
                    <a:lnTo>
                      <a:pt x="10" y="37"/>
                    </a:lnTo>
                    <a:lnTo>
                      <a:pt x="12" y="31"/>
                    </a:lnTo>
                    <a:lnTo>
                      <a:pt x="12" y="31"/>
                    </a:lnTo>
                    <a:lnTo>
                      <a:pt x="12" y="31"/>
                    </a:lnTo>
                    <a:lnTo>
                      <a:pt x="12" y="31"/>
                    </a:lnTo>
                    <a:lnTo>
                      <a:pt x="12" y="17"/>
                    </a:lnTo>
                    <a:lnTo>
                      <a:pt x="12" y="17"/>
                    </a:lnTo>
                    <a:lnTo>
                      <a:pt x="12" y="7"/>
                    </a:lnTo>
                    <a:lnTo>
                      <a:pt x="12" y="7"/>
                    </a:lnTo>
                    <a:lnTo>
                      <a:pt x="16" y="7"/>
                    </a:lnTo>
                    <a:lnTo>
                      <a:pt x="16" y="7"/>
                    </a:lnTo>
                    <a:lnTo>
                      <a:pt x="23" y="2"/>
                    </a:lnTo>
                    <a:lnTo>
                      <a:pt x="23" y="2"/>
                    </a:lnTo>
                    <a:lnTo>
                      <a:pt x="29" y="0"/>
                    </a:lnTo>
                    <a:lnTo>
                      <a:pt x="33" y="0"/>
                    </a:lnTo>
                    <a:lnTo>
                      <a:pt x="33" y="0"/>
                    </a:lnTo>
                    <a:lnTo>
                      <a:pt x="33" y="0"/>
                    </a:lnTo>
                    <a:lnTo>
                      <a:pt x="35" y="0"/>
                    </a:lnTo>
                    <a:lnTo>
                      <a:pt x="35" y="0"/>
                    </a:lnTo>
                    <a:lnTo>
                      <a:pt x="41" y="5"/>
                    </a:lnTo>
                    <a:lnTo>
                      <a:pt x="41" y="5"/>
                    </a:lnTo>
                    <a:lnTo>
                      <a:pt x="43" y="7"/>
                    </a:lnTo>
                    <a:lnTo>
                      <a:pt x="48" y="8"/>
                    </a:lnTo>
                    <a:lnTo>
                      <a:pt x="48" y="8"/>
                    </a:lnTo>
                    <a:lnTo>
                      <a:pt x="46" y="10"/>
                    </a:lnTo>
                    <a:lnTo>
                      <a:pt x="46" y="10"/>
                    </a:lnTo>
                    <a:lnTo>
                      <a:pt x="45" y="14"/>
                    </a:lnTo>
                    <a:lnTo>
                      <a:pt x="45" y="14"/>
                    </a:lnTo>
                    <a:lnTo>
                      <a:pt x="43" y="23"/>
                    </a:lnTo>
                    <a:lnTo>
                      <a:pt x="43" y="23"/>
                    </a:lnTo>
                    <a:lnTo>
                      <a:pt x="45" y="28"/>
                    </a:lnTo>
                    <a:lnTo>
                      <a:pt x="45" y="28"/>
                    </a:lnTo>
                    <a:lnTo>
                      <a:pt x="45" y="31"/>
                    </a:lnTo>
                    <a:lnTo>
                      <a:pt x="46" y="34"/>
                    </a:lnTo>
                    <a:lnTo>
                      <a:pt x="46" y="34"/>
                    </a:lnTo>
                    <a:lnTo>
                      <a:pt x="46" y="34"/>
                    </a:lnTo>
                    <a:lnTo>
                      <a:pt x="48" y="37"/>
                    </a:lnTo>
                    <a:lnTo>
                      <a:pt x="48" y="37"/>
                    </a:lnTo>
                    <a:lnTo>
                      <a:pt x="46" y="44"/>
                    </a:lnTo>
                    <a:lnTo>
                      <a:pt x="46" y="44"/>
                    </a:lnTo>
                    <a:lnTo>
                      <a:pt x="43" y="49"/>
                    </a:lnTo>
                    <a:lnTo>
                      <a:pt x="43" y="49"/>
                    </a:lnTo>
                    <a:lnTo>
                      <a:pt x="38" y="56"/>
                    </a:lnTo>
                    <a:lnTo>
                      <a:pt x="38" y="56"/>
                    </a:lnTo>
                    <a:lnTo>
                      <a:pt x="36" y="60"/>
                    </a:lnTo>
                    <a:lnTo>
                      <a:pt x="36" y="65"/>
                    </a:lnTo>
                    <a:lnTo>
                      <a:pt x="36" y="65"/>
                    </a:lnTo>
                    <a:lnTo>
                      <a:pt x="36" y="69"/>
                    </a:lnTo>
                    <a:lnTo>
                      <a:pt x="36" y="69"/>
                    </a:lnTo>
                    <a:lnTo>
                      <a:pt x="39" y="72"/>
                    </a:lnTo>
                    <a:lnTo>
                      <a:pt x="39" y="72"/>
                    </a:lnTo>
                    <a:lnTo>
                      <a:pt x="43" y="73"/>
                    </a:lnTo>
                    <a:lnTo>
                      <a:pt x="48" y="73"/>
                    </a:lnTo>
                    <a:lnTo>
                      <a:pt x="48" y="73"/>
                    </a:lnTo>
                    <a:lnTo>
                      <a:pt x="49" y="73"/>
                    </a:lnTo>
                    <a:lnTo>
                      <a:pt x="49" y="73"/>
                    </a:lnTo>
                    <a:lnTo>
                      <a:pt x="51" y="73"/>
                    </a:lnTo>
                    <a:lnTo>
                      <a:pt x="51" y="73"/>
                    </a:lnTo>
                    <a:lnTo>
                      <a:pt x="49" y="76"/>
                    </a:lnTo>
                    <a:lnTo>
                      <a:pt x="49" y="76"/>
                    </a:lnTo>
                    <a:lnTo>
                      <a:pt x="49" y="79"/>
                    </a:lnTo>
                    <a:lnTo>
                      <a:pt x="49" y="79"/>
                    </a:lnTo>
                    <a:lnTo>
                      <a:pt x="51" y="82"/>
                    </a:lnTo>
                    <a:lnTo>
                      <a:pt x="51" y="82"/>
                    </a:lnTo>
                    <a:lnTo>
                      <a:pt x="52" y="84"/>
                    </a:lnTo>
                    <a:lnTo>
                      <a:pt x="52" y="84"/>
                    </a:lnTo>
                    <a:lnTo>
                      <a:pt x="54" y="84"/>
                    </a:lnTo>
                    <a:lnTo>
                      <a:pt x="54" y="84"/>
                    </a:lnTo>
                    <a:lnTo>
                      <a:pt x="56" y="82"/>
                    </a:lnTo>
                    <a:lnTo>
                      <a:pt x="56" y="82"/>
                    </a:lnTo>
                    <a:lnTo>
                      <a:pt x="61" y="81"/>
                    </a:lnTo>
                    <a:lnTo>
                      <a:pt x="61" y="81"/>
                    </a:lnTo>
                    <a:lnTo>
                      <a:pt x="64" y="82"/>
                    </a:lnTo>
                    <a:lnTo>
                      <a:pt x="64" y="82"/>
                    </a:lnTo>
                    <a:lnTo>
                      <a:pt x="65" y="84"/>
                    </a:lnTo>
                    <a:lnTo>
                      <a:pt x="65" y="84"/>
                    </a:lnTo>
                    <a:lnTo>
                      <a:pt x="64" y="89"/>
                    </a:lnTo>
                    <a:lnTo>
                      <a:pt x="61" y="94"/>
                    </a:lnTo>
                    <a:lnTo>
                      <a:pt x="58" y="97"/>
                    </a:lnTo>
                    <a:lnTo>
                      <a:pt x="54" y="98"/>
                    </a:lnTo>
                    <a:lnTo>
                      <a:pt x="54" y="98"/>
                    </a:lnTo>
                    <a:lnTo>
                      <a:pt x="48" y="101"/>
                    </a:lnTo>
                    <a:lnTo>
                      <a:pt x="45" y="107"/>
                    </a:lnTo>
                    <a:lnTo>
                      <a:pt x="39" y="118"/>
                    </a:lnTo>
                    <a:lnTo>
                      <a:pt x="39" y="118"/>
                    </a:lnTo>
                    <a:lnTo>
                      <a:pt x="39" y="118"/>
                    </a:lnTo>
                    <a:lnTo>
                      <a:pt x="39" y="118"/>
                    </a:lnTo>
                    <a:lnTo>
                      <a:pt x="36" y="123"/>
                    </a:lnTo>
                    <a:lnTo>
                      <a:pt x="32" y="126"/>
                    </a:lnTo>
                    <a:lnTo>
                      <a:pt x="20" y="131"/>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21" name="Freeform 421"/>
              <p:cNvSpPr>
                <a:spLocks/>
              </p:cNvSpPr>
              <p:nvPr/>
            </p:nvSpPr>
            <p:spPr bwMode="auto">
              <a:xfrm>
                <a:off x="2846" y="2128"/>
                <a:ext cx="65" cy="131"/>
              </a:xfrm>
              <a:custGeom>
                <a:avLst/>
                <a:gdLst>
                  <a:gd name="T0" fmla="*/ 20 w 65"/>
                  <a:gd name="T1" fmla="*/ 131 h 131"/>
                  <a:gd name="T2" fmla="*/ 13 w 65"/>
                  <a:gd name="T3" fmla="*/ 121 h 131"/>
                  <a:gd name="T4" fmla="*/ 9 w 65"/>
                  <a:gd name="T5" fmla="*/ 99 h 131"/>
                  <a:gd name="T6" fmla="*/ 4 w 65"/>
                  <a:gd name="T7" fmla="*/ 84 h 131"/>
                  <a:gd name="T8" fmla="*/ 1 w 65"/>
                  <a:gd name="T9" fmla="*/ 75 h 131"/>
                  <a:gd name="T10" fmla="*/ 0 w 65"/>
                  <a:gd name="T11" fmla="*/ 65 h 131"/>
                  <a:gd name="T12" fmla="*/ 1 w 65"/>
                  <a:gd name="T13" fmla="*/ 59 h 131"/>
                  <a:gd name="T14" fmla="*/ 10 w 65"/>
                  <a:gd name="T15" fmla="*/ 37 h 131"/>
                  <a:gd name="T16" fmla="*/ 12 w 65"/>
                  <a:gd name="T17" fmla="*/ 31 h 131"/>
                  <a:gd name="T18" fmla="*/ 12 w 65"/>
                  <a:gd name="T19" fmla="*/ 31 h 131"/>
                  <a:gd name="T20" fmla="*/ 12 w 65"/>
                  <a:gd name="T21" fmla="*/ 17 h 131"/>
                  <a:gd name="T22" fmla="*/ 12 w 65"/>
                  <a:gd name="T23" fmla="*/ 7 h 131"/>
                  <a:gd name="T24" fmla="*/ 16 w 65"/>
                  <a:gd name="T25" fmla="*/ 7 h 131"/>
                  <a:gd name="T26" fmla="*/ 23 w 65"/>
                  <a:gd name="T27" fmla="*/ 2 h 131"/>
                  <a:gd name="T28" fmla="*/ 33 w 65"/>
                  <a:gd name="T29" fmla="*/ 0 h 131"/>
                  <a:gd name="T30" fmla="*/ 33 w 65"/>
                  <a:gd name="T31" fmla="*/ 0 h 131"/>
                  <a:gd name="T32" fmla="*/ 35 w 65"/>
                  <a:gd name="T33" fmla="*/ 0 h 131"/>
                  <a:gd name="T34" fmla="*/ 41 w 65"/>
                  <a:gd name="T35" fmla="*/ 5 h 131"/>
                  <a:gd name="T36" fmla="*/ 48 w 65"/>
                  <a:gd name="T37" fmla="*/ 8 h 131"/>
                  <a:gd name="T38" fmla="*/ 46 w 65"/>
                  <a:gd name="T39" fmla="*/ 10 h 131"/>
                  <a:gd name="T40" fmla="*/ 45 w 65"/>
                  <a:gd name="T41" fmla="*/ 14 h 131"/>
                  <a:gd name="T42" fmla="*/ 43 w 65"/>
                  <a:gd name="T43" fmla="*/ 23 h 131"/>
                  <a:gd name="T44" fmla="*/ 45 w 65"/>
                  <a:gd name="T45" fmla="*/ 28 h 131"/>
                  <a:gd name="T46" fmla="*/ 45 w 65"/>
                  <a:gd name="T47" fmla="*/ 31 h 131"/>
                  <a:gd name="T48" fmla="*/ 46 w 65"/>
                  <a:gd name="T49" fmla="*/ 34 h 131"/>
                  <a:gd name="T50" fmla="*/ 48 w 65"/>
                  <a:gd name="T51" fmla="*/ 37 h 131"/>
                  <a:gd name="T52" fmla="*/ 46 w 65"/>
                  <a:gd name="T53" fmla="*/ 44 h 131"/>
                  <a:gd name="T54" fmla="*/ 43 w 65"/>
                  <a:gd name="T55" fmla="*/ 49 h 131"/>
                  <a:gd name="T56" fmla="*/ 38 w 65"/>
                  <a:gd name="T57" fmla="*/ 56 h 131"/>
                  <a:gd name="T58" fmla="*/ 36 w 65"/>
                  <a:gd name="T59" fmla="*/ 60 h 131"/>
                  <a:gd name="T60" fmla="*/ 36 w 65"/>
                  <a:gd name="T61" fmla="*/ 65 h 131"/>
                  <a:gd name="T62" fmla="*/ 36 w 65"/>
                  <a:gd name="T63" fmla="*/ 69 h 131"/>
                  <a:gd name="T64" fmla="*/ 39 w 65"/>
                  <a:gd name="T65" fmla="*/ 72 h 131"/>
                  <a:gd name="T66" fmla="*/ 48 w 65"/>
                  <a:gd name="T67" fmla="*/ 73 h 131"/>
                  <a:gd name="T68" fmla="*/ 49 w 65"/>
                  <a:gd name="T69" fmla="*/ 73 h 131"/>
                  <a:gd name="T70" fmla="*/ 51 w 65"/>
                  <a:gd name="T71" fmla="*/ 73 h 131"/>
                  <a:gd name="T72" fmla="*/ 49 w 65"/>
                  <a:gd name="T73" fmla="*/ 76 h 131"/>
                  <a:gd name="T74" fmla="*/ 49 w 65"/>
                  <a:gd name="T75" fmla="*/ 79 h 131"/>
                  <a:gd name="T76" fmla="*/ 51 w 65"/>
                  <a:gd name="T77" fmla="*/ 82 h 131"/>
                  <a:gd name="T78" fmla="*/ 52 w 65"/>
                  <a:gd name="T79" fmla="*/ 84 h 131"/>
                  <a:gd name="T80" fmla="*/ 54 w 65"/>
                  <a:gd name="T81" fmla="*/ 84 h 131"/>
                  <a:gd name="T82" fmla="*/ 56 w 65"/>
                  <a:gd name="T83" fmla="*/ 82 h 131"/>
                  <a:gd name="T84" fmla="*/ 61 w 65"/>
                  <a:gd name="T85" fmla="*/ 81 h 131"/>
                  <a:gd name="T86" fmla="*/ 64 w 65"/>
                  <a:gd name="T87" fmla="*/ 82 h 131"/>
                  <a:gd name="T88" fmla="*/ 65 w 65"/>
                  <a:gd name="T89" fmla="*/ 84 h 131"/>
                  <a:gd name="T90" fmla="*/ 64 w 65"/>
                  <a:gd name="T91" fmla="*/ 89 h 131"/>
                  <a:gd name="T92" fmla="*/ 58 w 65"/>
                  <a:gd name="T93" fmla="*/ 97 h 131"/>
                  <a:gd name="T94" fmla="*/ 54 w 65"/>
                  <a:gd name="T95" fmla="*/ 98 h 131"/>
                  <a:gd name="T96" fmla="*/ 45 w 65"/>
                  <a:gd name="T97" fmla="*/ 107 h 131"/>
                  <a:gd name="T98" fmla="*/ 39 w 65"/>
                  <a:gd name="T99" fmla="*/ 118 h 131"/>
                  <a:gd name="T100" fmla="*/ 39 w 65"/>
                  <a:gd name="T101" fmla="*/ 118 h 131"/>
                  <a:gd name="T102" fmla="*/ 32 w 65"/>
                  <a:gd name="T103"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5" h="131">
                    <a:moveTo>
                      <a:pt x="20" y="131"/>
                    </a:moveTo>
                    <a:lnTo>
                      <a:pt x="20" y="131"/>
                    </a:lnTo>
                    <a:lnTo>
                      <a:pt x="16" y="126"/>
                    </a:lnTo>
                    <a:lnTo>
                      <a:pt x="13" y="121"/>
                    </a:lnTo>
                    <a:lnTo>
                      <a:pt x="13" y="121"/>
                    </a:lnTo>
                    <a:lnTo>
                      <a:pt x="9" y="99"/>
                    </a:lnTo>
                    <a:lnTo>
                      <a:pt x="7" y="89"/>
                    </a:lnTo>
                    <a:lnTo>
                      <a:pt x="4" y="84"/>
                    </a:lnTo>
                    <a:lnTo>
                      <a:pt x="4" y="84"/>
                    </a:lnTo>
                    <a:lnTo>
                      <a:pt x="1" y="75"/>
                    </a:lnTo>
                    <a:lnTo>
                      <a:pt x="0" y="65"/>
                    </a:lnTo>
                    <a:lnTo>
                      <a:pt x="0" y="65"/>
                    </a:lnTo>
                    <a:lnTo>
                      <a:pt x="1" y="59"/>
                    </a:lnTo>
                    <a:lnTo>
                      <a:pt x="1" y="59"/>
                    </a:lnTo>
                    <a:lnTo>
                      <a:pt x="7" y="46"/>
                    </a:lnTo>
                    <a:lnTo>
                      <a:pt x="10" y="37"/>
                    </a:lnTo>
                    <a:lnTo>
                      <a:pt x="12" y="31"/>
                    </a:lnTo>
                    <a:lnTo>
                      <a:pt x="12" y="31"/>
                    </a:lnTo>
                    <a:lnTo>
                      <a:pt x="12" y="31"/>
                    </a:lnTo>
                    <a:lnTo>
                      <a:pt x="12" y="31"/>
                    </a:lnTo>
                    <a:lnTo>
                      <a:pt x="12" y="17"/>
                    </a:lnTo>
                    <a:lnTo>
                      <a:pt x="12" y="17"/>
                    </a:lnTo>
                    <a:lnTo>
                      <a:pt x="12" y="7"/>
                    </a:lnTo>
                    <a:lnTo>
                      <a:pt x="12" y="7"/>
                    </a:lnTo>
                    <a:lnTo>
                      <a:pt x="16" y="7"/>
                    </a:lnTo>
                    <a:lnTo>
                      <a:pt x="16" y="7"/>
                    </a:lnTo>
                    <a:lnTo>
                      <a:pt x="23" y="2"/>
                    </a:lnTo>
                    <a:lnTo>
                      <a:pt x="23" y="2"/>
                    </a:lnTo>
                    <a:lnTo>
                      <a:pt x="29" y="0"/>
                    </a:lnTo>
                    <a:lnTo>
                      <a:pt x="33" y="0"/>
                    </a:lnTo>
                    <a:lnTo>
                      <a:pt x="33" y="0"/>
                    </a:lnTo>
                    <a:lnTo>
                      <a:pt x="33" y="0"/>
                    </a:lnTo>
                    <a:lnTo>
                      <a:pt x="35" y="0"/>
                    </a:lnTo>
                    <a:lnTo>
                      <a:pt x="35" y="0"/>
                    </a:lnTo>
                    <a:lnTo>
                      <a:pt x="41" y="5"/>
                    </a:lnTo>
                    <a:lnTo>
                      <a:pt x="41" y="5"/>
                    </a:lnTo>
                    <a:lnTo>
                      <a:pt x="43" y="7"/>
                    </a:lnTo>
                    <a:lnTo>
                      <a:pt x="48" y="8"/>
                    </a:lnTo>
                    <a:lnTo>
                      <a:pt x="48" y="8"/>
                    </a:lnTo>
                    <a:lnTo>
                      <a:pt x="46" y="10"/>
                    </a:lnTo>
                    <a:lnTo>
                      <a:pt x="46" y="10"/>
                    </a:lnTo>
                    <a:lnTo>
                      <a:pt x="45" y="14"/>
                    </a:lnTo>
                    <a:lnTo>
                      <a:pt x="45" y="14"/>
                    </a:lnTo>
                    <a:lnTo>
                      <a:pt x="43" y="23"/>
                    </a:lnTo>
                    <a:lnTo>
                      <a:pt x="43" y="23"/>
                    </a:lnTo>
                    <a:lnTo>
                      <a:pt x="45" y="28"/>
                    </a:lnTo>
                    <a:lnTo>
                      <a:pt x="45" y="28"/>
                    </a:lnTo>
                    <a:lnTo>
                      <a:pt x="45" y="31"/>
                    </a:lnTo>
                    <a:lnTo>
                      <a:pt x="46" y="34"/>
                    </a:lnTo>
                    <a:lnTo>
                      <a:pt x="46" y="34"/>
                    </a:lnTo>
                    <a:lnTo>
                      <a:pt x="46" y="34"/>
                    </a:lnTo>
                    <a:lnTo>
                      <a:pt x="48" y="37"/>
                    </a:lnTo>
                    <a:lnTo>
                      <a:pt x="48" y="37"/>
                    </a:lnTo>
                    <a:lnTo>
                      <a:pt x="46" y="44"/>
                    </a:lnTo>
                    <a:lnTo>
                      <a:pt x="46" y="44"/>
                    </a:lnTo>
                    <a:lnTo>
                      <a:pt x="43" y="49"/>
                    </a:lnTo>
                    <a:lnTo>
                      <a:pt x="43" y="49"/>
                    </a:lnTo>
                    <a:lnTo>
                      <a:pt x="38" y="56"/>
                    </a:lnTo>
                    <a:lnTo>
                      <a:pt x="38" y="56"/>
                    </a:lnTo>
                    <a:lnTo>
                      <a:pt x="36" y="60"/>
                    </a:lnTo>
                    <a:lnTo>
                      <a:pt x="36" y="65"/>
                    </a:lnTo>
                    <a:lnTo>
                      <a:pt x="36" y="65"/>
                    </a:lnTo>
                    <a:lnTo>
                      <a:pt x="36" y="69"/>
                    </a:lnTo>
                    <a:lnTo>
                      <a:pt x="36" y="69"/>
                    </a:lnTo>
                    <a:lnTo>
                      <a:pt x="39" y="72"/>
                    </a:lnTo>
                    <a:lnTo>
                      <a:pt x="39" y="72"/>
                    </a:lnTo>
                    <a:lnTo>
                      <a:pt x="43" y="73"/>
                    </a:lnTo>
                    <a:lnTo>
                      <a:pt x="48" y="73"/>
                    </a:lnTo>
                    <a:lnTo>
                      <a:pt x="48" y="73"/>
                    </a:lnTo>
                    <a:lnTo>
                      <a:pt x="49" y="73"/>
                    </a:lnTo>
                    <a:lnTo>
                      <a:pt x="49" y="73"/>
                    </a:lnTo>
                    <a:lnTo>
                      <a:pt x="51" y="73"/>
                    </a:lnTo>
                    <a:lnTo>
                      <a:pt x="51" y="73"/>
                    </a:lnTo>
                    <a:lnTo>
                      <a:pt x="49" y="76"/>
                    </a:lnTo>
                    <a:lnTo>
                      <a:pt x="49" y="76"/>
                    </a:lnTo>
                    <a:lnTo>
                      <a:pt x="49" y="79"/>
                    </a:lnTo>
                    <a:lnTo>
                      <a:pt x="49" y="79"/>
                    </a:lnTo>
                    <a:lnTo>
                      <a:pt x="51" y="82"/>
                    </a:lnTo>
                    <a:lnTo>
                      <a:pt x="51" y="82"/>
                    </a:lnTo>
                    <a:lnTo>
                      <a:pt x="52" y="84"/>
                    </a:lnTo>
                    <a:lnTo>
                      <a:pt x="52" y="84"/>
                    </a:lnTo>
                    <a:lnTo>
                      <a:pt x="54" y="84"/>
                    </a:lnTo>
                    <a:lnTo>
                      <a:pt x="54" y="84"/>
                    </a:lnTo>
                    <a:lnTo>
                      <a:pt x="56" y="82"/>
                    </a:lnTo>
                    <a:lnTo>
                      <a:pt x="56" y="82"/>
                    </a:lnTo>
                    <a:lnTo>
                      <a:pt x="61" y="81"/>
                    </a:lnTo>
                    <a:lnTo>
                      <a:pt x="61" y="81"/>
                    </a:lnTo>
                    <a:lnTo>
                      <a:pt x="64" y="82"/>
                    </a:lnTo>
                    <a:lnTo>
                      <a:pt x="64" y="82"/>
                    </a:lnTo>
                    <a:lnTo>
                      <a:pt x="65" y="84"/>
                    </a:lnTo>
                    <a:lnTo>
                      <a:pt x="65" y="84"/>
                    </a:lnTo>
                    <a:lnTo>
                      <a:pt x="64" y="89"/>
                    </a:lnTo>
                    <a:lnTo>
                      <a:pt x="61" y="94"/>
                    </a:lnTo>
                    <a:lnTo>
                      <a:pt x="58" y="97"/>
                    </a:lnTo>
                    <a:lnTo>
                      <a:pt x="54" y="98"/>
                    </a:lnTo>
                    <a:lnTo>
                      <a:pt x="54" y="98"/>
                    </a:lnTo>
                    <a:lnTo>
                      <a:pt x="48" y="101"/>
                    </a:lnTo>
                    <a:lnTo>
                      <a:pt x="45" y="107"/>
                    </a:lnTo>
                    <a:lnTo>
                      <a:pt x="39" y="118"/>
                    </a:lnTo>
                    <a:lnTo>
                      <a:pt x="39" y="118"/>
                    </a:lnTo>
                    <a:lnTo>
                      <a:pt x="39" y="118"/>
                    </a:lnTo>
                    <a:lnTo>
                      <a:pt x="39" y="118"/>
                    </a:lnTo>
                    <a:lnTo>
                      <a:pt x="36" y="123"/>
                    </a:lnTo>
                    <a:lnTo>
                      <a:pt x="32" y="126"/>
                    </a:lnTo>
                    <a:lnTo>
                      <a:pt x="20" y="1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22" name="Freeform 422"/>
              <p:cNvSpPr>
                <a:spLocks noEditPoints="1"/>
              </p:cNvSpPr>
              <p:nvPr/>
            </p:nvSpPr>
            <p:spPr bwMode="auto">
              <a:xfrm>
                <a:off x="2866" y="2212"/>
                <a:ext cx="45" cy="47"/>
              </a:xfrm>
              <a:custGeom>
                <a:avLst/>
                <a:gdLst>
                  <a:gd name="T0" fmla="*/ 19 w 45"/>
                  <a:gd name="T1" fmla="*/ 34 h 47"/>
                  <a:gd name="T2" fmla="*/ 19 w 45"/>
                  <a:gd name="T3" fmla="*/ 34 h 47"/>
                  <a:gd name="T4" fmla="*/ 19 w 45"/>
                  <a:gd name="T5" fmla="*/ 34 h 47"/>
                  <a:gd name="T6" fmla="*/ 19 w 45"/>
                  <a:gd name="T7" fmla="*/ 34 h 47"/>
                  <a:gd name="T8" fmla="*/ 25 w 45"/>
                  <a:gd name="T9" fmla="*/ 23 h 47"/>
                  <a:gd name="T10" fmla="*/ 28 w 45"/>
                  <a:gd name="T11" fmla="*/ 17 h 47"/>
                  <a:gd name="T12" fmla="*/ 34 w 45"/>
                  <a:gd name="T13" fmla="*/ 14 h 47"/>
                  <a:gd name="T14" fmla="*/ 34 w 45"/>
                  <a:gd name="T15" fmla="*/ 14 h 47"/>
                  <a:gd name="T16" fmla="*/ 38 w 45"/>
                  <a:gd name="T17" fmla="*/ 13 h 47"/>
                  <a:gd name="T18" fmla="*/ 41 w 45"/>
                  <a:gd name="T19" fmla="*/ 10 h 47"/>
                  <a:gd name="T20" fmla="*/ 44 w 45"/>
                  <a:gd name="T21" fmla="*/ 5 h 47"/>
                  <a:gd name="T22" fmla="*/ 45 w 45"/>
                  <a:gd name="T23" fmla="*/ 0 h 47"/>
                  <a:gd name="T24" fmla="*/ 45 w 45"/>
                  <a:gd name="T25" fmla="*/ 0 h 47"/>
                  <a:gd name="T26" fmla="*/ 44 w 45"/>
                  <a:gd name="T27" fmla="*/ 5 h 47"/>
                  <a:gd name="T28" fmla="*/ 41 w 45"/>
                  <a:gd name="T29" fmla="*/ 10 h 47"/>
                  <a:gd name="T30" fmla="*/ 38 w 45"/>
                  <a:gd name="T31" fmla="*/ 13 h 47"/>
                  <a:gd name="T32" fmla="*/ 34 w 45"/>
                  <a:gd name="T33" fmla="*/ 14 h 47"/>
                  <a:gd name="T34" fmla="*/ 34 w 45"/>
                  <a:gd name="T35" fmla="*/ 14 h 47"/>
                  <a:gd name="T36" fmla="*/ 28 w 45"/>
                  <a:gd name="T37" fmla="*/ 17 h 47"/>
                  <a:gd name="T38" fmla="*/ 25 w 45"/>
                  <a:gd name="T39" fmla="*/ 23 h 47"/>
                  <a:gd name="T40" fmla="*/ 19 w 45"/>
                  <a:gd name="T41" fmla="*/ 34 h 47"/>
                  <a:gd name="T42" fmla="*/ 19 w 45"/>
                  <a:gd name="T43" fmla="*/ 34 h 47"/>
                  <a:gd name="T44" fmla="*/ 19 w 45"/>
                  <a:gd name="T45" fmla="*/ 34 h 47"/>
                  <a:gd name="T46" fmla="*/ 0 w 45"/>
                  <a:gd name="T47" fmla="*/ 47 h 47"/>
                  <a:gd name="T48" fmla="*/ 0 w 45"/>
                  <a:gd name="T49" fmla="*/ 47 h 47"/>
                  <a:gd name="T50" fmla="*/ 0 w 45"/>
                  <a:gd name="T51" fmla="*/ 47 h 47"/>
                  <a:gd name="T52" fmla="*/ 0 w 45"/>
                  <a:gd name="T53" fmla="*/ 47 h 47"/>
                  <a:gd name="T54" fmla="*/ 12 w 45"/>
                  <a:gd name="T55" fmla="*/ 42 h 47"/>
                  <a:gd name="T56" fmla="*/ 16 w 45"/>
                  <a:gd name="T57" fmla="*/ 39 h 47"/>
                  <a:gd name="T58" fmla="*/ 19 w 45"/>
                  <a:gd name="T59" fmla="*/ 34 h 47"/>
                  <a:gd name="T60" fmla="*/ 19 w 45"/>
                  <a:gd name="T61" fmla="*/ 34 h 47"/>
                  <a:gd name="T62" fmla="*/ 16 w 45"/>
                  <a:gd name="T63" fmla="*/ 39 h 47"/>
                  <a:gd name="T64" fmla="*/ 12 w 45"/>
                  <a:gd name="T65" fmla="*/ 42 h 47"/>
                  <a:gd name="T66" fmla="*/ 0 w 45"/>
                  <a:gd name="T67"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47">
                    <a:moveTo>
                      <a:pt x="19" y="34"/>
                    </a:moveTo>
                    <a:lnTo>
                      <a:pt x="19" y="34"/>
                    </a:lnTo>
                    <a:lnTo>
                      <a:pt x="19" y="34"/>
                    </a:lnTo>
                    <a:lnTo>
                      <a:pt x="19" y="34"/>
                    </a:lnTo>
                    <a:lnTo>
                      <a:pt x="25" y="23"/>
                    </a:lnTo>
                    <a:lnTo>
                      <a:pt x="28" y="17"/>
                    </a:lnTo>
                    <a:lnTo>
                      <a:pt x="34" y="14"/>
                    </a:lnTo>
                    <a:lnTo>
                      <a:pt x="34" y="14"/>
                    </a:lnTo>
                    <a:lnTo>
                      <a:pt x="38" y="13"/>
                    </a:lnTo>
                    <a:lnTo>
                      <a:pt x="41" y="10"/>
                    </a:lnTo>
                    <a:lnTo>
                      <a:pt x="44" y="5"/>
                    </a:lnTo>
                    <a:lnTo>
                      <a:pt x="45" y="0"/>
                    </a:lnTo>
                    <a:lnTo>
                      <a:pt x="45" y="0"/>
                    </a:lnTo>
                    <a:lnTo>
                      <a:pt x="44" y="5"/>
                    </a:lnTo>
                    <a:lnTo>
                      <a:pt x="41" y="10"/>
                    </a:lnTo>
                    <a:lnTo>
                      <a:pt x="38" y="13"/>
                    </a:lnTo>
                    <a:lnTo>
                      <a:pt x="34" y="14"/>
                    </a:lnTo>
                    <a:lnTo>
                      <a:pt x="34" y="14"/>
                    </a:lnTo>
                    <a:lnTo>
                      <a:pt x="28" y="17"/>
                    </a:lnTo>
                    <a:lnTo>
                      <a:pt x="25" y="23"/>
                    </a:lnTo>
                    <a:lnTo>
                      <a:pt x="19" y="34"/>
                    </a:lnTo>
                    <a:lnTo>
                      <a:pt x="19" y="34"/>
                    </a:lnTo>
                    <a:lnTo>
                      <a:pt x="19" y="34"/>
                    </a:lnTo>
                    <a:close/>
                    <a:moveTo>
                      <a:pt x="0" y="47"/>
                    </a:moveTo>
                    <a:lnTo>
                      <a:pt x="0" y="47"/>
                    </a:lnTo>
                    <a:lnTo>
                      <a:pt x="0" y="47"/>
                    </a:lnTo>
                    <a:lnTo>
                      <a:pt x="0" y="47"/>
                    </a:lnTo>
                    <a:lnTo>
                      <a:pt x="12" y="42"/>
                    </a:lnTo>
                    <a:lnTo>
                      <a:pt x="16" y="39"/>
                    </a:lnTo>
                    <a:lnTo>
                      <a:pt x="19" y="34"/>
                    </a:lnTo>
                    <a:lnTo>
                      <a:pt x="19" y="34"/>
                    </a:lnTo>
                    <a:lnTo>
                      <a:pt x="16" y="39"/>
                    </a:lnTo>
                    <a:lnTo>
                      <a:pt x="12" y="42"/>
                    </a:lnTo>
                    <a:lnTo>
                      <a:pt x="0" y="47"/>
                    </a:lnTo>
                    <a:close/>
                  </a:path>
                </a:pathLst>
              </a:custGeom>
              <a:solidFill>
                <a:srgbClr val="60B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23" name="Freeform 423"/>
              <p:cNvSpPr>
                <a:spLocks/>
              </p:cNvSpPr>
              <p:nvPr/>
            </p:nvSpPr>
            <p:spPr bwMode="auto">
              <a:xfrm>
                <a:off x="2885" y="2212"/>
                <a:ext cx="26" cy="34"/>
              </a:xfrm>
              <a:custGeom>
                <a:avLst/>
                <a:gdLst>
                  <a:gd name="T0" fmla="*/ 0 w 26"/>
                  <a:gd name="T1" fmla="*/ 34 h 34"/>
                  <a:gd name="T2" fmla="*/ 0 w 26"/>
                  <a:gd name="T3" fmla="*/ 34 h 34"/>
                  <a:gd name="T4" fmla="*/ 0 w 26"/>
                  <a:gd name="T5" fmla="*/ 34 h 34"/>
                  <a:gd name="T6" fmla="*/ 0 w 26"/>
                  <a:gd name="T7" fmla="*/ 34 h 34"/>
                  <a:gd name="T8" fmla="*/ 6 w 26"/>
                  <a:gd name="T9" fmla="*/ 23 h 34"/>
                  <a:gd name="T10" fmla="*/ 9 w 26"/>
                  <a:gd name="T11" fmla="*/ 17 h 34"/>
                  <a:gd name="T12" fmla="*/ 15 w 26"/>
                  <a:gd name="T13" fmla="*/ 14 h 34"/>
                  <a:gd name="T14" fmla="*/ 15 w 26"/>
                  <a:gd name="T15" fmla="*/ 14 h 34"/>
                  <a:gd name="T16" fmla="*/ 19 w 26"/>
                  <a:gd name="T17" fmla="*/ 13 h 34"/>
                  <a:gd name="T18" fmla="*/ 22 w 26"/>
                  <a:gd name="T19" fmla="*/ 10 h 34"/>
                  <a:gd name="T20" fmla="*/ 25 w 26"/>
                  <a:gd name="T21" fmla="*/ 5 h 34"/>
                  <a:gd name="T22" fmla="*/ 26 w 26"/>
                  <a:gd name="T23" fmla="*/ 0 h 34"/>
                  <a:gd name="T24" fmla="*/ 26 w 26"/>
                  <a:gd name="T25" fmla="*/ 0 h 34"/>
                  <a:gd name="T26" fmla="*/ 25 w 26"/>
                  <a:gd name="T27" fmla="*/ 5 h 34"/>
                  <a:gd name="T28" fmla="*/ 22 w 26"/>
                  <a:gd name="T29" fmla="*/ 10 h 34"/>
                  <a:gd name="T30" fmla="*/ 19 w 26"/>
                  <a:gd name="T31" fmla="*/ 13 h 34"/>
                  <a:gd name="T32" fmla="*/ 15 w 26"/>
                  <a:gd name="T33" fmla="*/ 14 h 34"/>
                  <a:gd name="T34" fmla="*/ 15 w 26"/>
                  <a:gd name="T35" fmla="*/ 14 h 34"/>
                  <a:gd name="T36" fmla="*/ 9 w 26"/>
                  <a:gd name="T37" fmla="*/ 17 h 34"/>
                  <a:gd name="T38" fmla="*/ 6 w 26"/>
                  <a:gd name="T39" fmla="*/ 23 h 34"/>
                  <a:gd name="T40" fmla="*/ 0 w 26"/>
                  <a:gd name="T41" fmla="*/ 34 h 34"/>
                  <a:gd name="T42" fmla="*/ 0 w 26"/>
                  <a:gd name="T43" fmla="*/ 34 h 34"/>
                  <a:gd name="T44" fmla="*/ 0 w 26"/>
                  <a:gd name="T4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 h="34">
                    <a:moveTo>
                      <a:pt x="0" y="34"/>
                    </a:moveTo>
                    <a:lnTo>
                      <a:pt x="0" y="34"/>
                    </a:lnTo>
                    <a:lnTo>
                      <a:pt x="0" y="34"/>
                    </a:lnTo>
                    <a:lnTo>
                      <a:pt x="0" y="34"/>
                    </a:lnTo>
                    <a:lnTo>
                      <a:pt x="6" y="23"/>
                    </a:lnTo>
                    <a:lnTo>
                      <a:pt x="9" y="17"/>
                    </a:lnTo>
                    <a:lnTo>
                      <a:pt x="15" y="14"/>
                    </a:lnTo>
                    <a:lnTo>
                      <a:pt x="15" y="14"/>
                    </a:lnTo>
                    <a:lnTo>
                      <a:pt x="19" y="13"/>
                    </a:lnTo>
                    <a:lnTo>
                      <a:pt x="22" y="10"/>
                    </a:lnTo>
                    <a:lnTo>
                      <a:pt x="25" y="5"/>
                    </a:lnTo>
                    <a:lnTo>
                      <a:pt x="26" y="0"/>
                    </a:lnTo>
                    <a:lnTo>
                      <a:pt x="26" y="0"/>
                    </a:lnTo>
                    <a:lnTo>
                      <a:pt x="25" y="5"/>
                    </a:lnTo>
                    <a:lnTo>
                      <a:pt x="22" y="10"/>
                    </a:lnTo>
                    <a:lnTo>
                      <a:pt x="19" y="13"/>
                    </a:lnTo>
                    <a:lnTo>
                      <a:pt x="15" y="14"/>
                    </a:lnTo>
                    <a:lnTo>
                      <a:pt x="15" y="14"/>
                    </a:lnTo>
                    <a:lnTo>
                      <a:pt x="9" y="17"/>
                    </a:lnTo>
                    <a:lnTo>
                      <a:pt x="6" y="23"/>
                    </a:lnTo>
                    <a:lnTo>
                      <a:pt x="0" y="34"/>
                    </a:lnTo>
                    <a:lnTo>
                      <a:pt x="0" y="34"/>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24" name="Freeform 424"/>
              <p:cNvSpPr>
                <a:spLocks/>
              </p:cNvSpPr>
              <p:nvPr/>
            </p:nvSpPr>
            <p:spPr bwMode="auto">
              <a:xfrm>
                <a:off x="2866" y="2246"/>
                <a:ext cx="19" cy="13"/>
              </a:xfrm>
              <a:custGeom>
                <a:avLst/>
                <a:gdLst>
                  <a:gd name="T0" fmla="*/ 0 w 19"/>
                  <a:gd name="T1" fmla="*/ 13 h 13"/>
                  <a:gd name="T2" fmla="*/ 0 w 19"/>
                  <a:gd name="T3" fmla="*/ 13 h 13"/>
                  <a:gd name="T4" fmla="*/ 0 w 19"/>
                  <a:gd name="T5" fmla="*/ 13 h 13"/>
                  <a:gd name="T6" fmla="*/ 0 w 19"/>
                  <a:gd name="T7" fmla="*/ 13 h 13"/>
                  <a:gd name="T8" fmla="*/ 12 w 19"/>
                  <a:gd name="T9" fmla="*/ 8 h 13"/>
                  <a:gd name="T10" fmla="*/ 16 w 19"/>
                  <a:gd name="T11" fmla="*/ 5 h 13"/>
                  <a:gd name="T12" fmla="*/ 19 w 19"/>
                  <a:gd name="T13" fmla="*/ 0 h 13"/>
                  <a:gd name="T14" fmla="*/ 19 w 19"/>
                  <a:gd name="T15" fmla="*/ 0 h 13"/>
                  <a:gd name="T16" fmla="*/ 16 w 19"/>
                  <a:gd name="T17" fmla="*/ 5 h 13"/>
                  <a:gd name="T18" fmla="*/ 12 w 19"/>
                  <a:gd name="T19" fmla="*/ 8 h 13"/>
                  <a:gd name="T20" fmla="*/ 0 w 19"/>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3">
                    <a:moveTo>
                      <a:pt x="0" y="13"/>
                    </a:moveTo>
                    <a:lnTo>
                      <a:pt x="0" y="13"/>
                    </a:lnTo>
                    <a:lnTo>
                      <a:pt x="0" y="13"/>
                    </a:lnTo>
                    <a:lnTo>
                      <a:pt x="0" y="13"/>
                    </a:lnTo>
                    <a:lnTo>
                      <a:pt x="12" y="8"/>
                    </a:lnTo>
                    <a:lnTo>
                      <a:pt x="16" y="5"/>
                    </a:lnTo>
                    <a:lnTo>
                      <a:pt x="19" y="0"/>
                    </a:lnTo>
                    <a:lnTo>
                      <a:pt x="19" y="0"/>
                    </a:lnTo>
                    <a:lnTo>
                      <a:pt x="16" y="5"/>
                    </a:lnTo>
                    <a:lnTo>
                      <a:pt x="12" y="8"/>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25" name="Freeform 425"/>
              <p:cNvSpPr>
                <a:spLocks/>
              </p:cNvSpPr>
              <p:nvPr/>
            </p:nvSpPr>
            <p:spPr bwMode="auto">
              <a:xfrm>
                <a:off x="3308" y="2477"/>
                <a:ext cx="104" cy="91"/>
              </a:xfrm>
              <a:custGeom>
                <a:avLst/>
                <a:gdLst>
                  <a:gd name="T0" fmla="*/ 88 w 104"/>
                  <a:gd name="T1" fmla="*/ 91 h 91"/>
                  <a:gd name="T2" fmla="*/ 87 w 104"/>
                  <a:gd name="T3" fmla="*/ 91 h 91"/>
                  <a:gd name="T4" fmla="*/ 87 w 104"/>
                  <a:gd name="T5" fmla="*/ 91 h 91"/>
                  <a:gd name="T6" fmla="*/ 87 w 104"/>
                  <a:gd name="T7" fmla="*/ 91 h 91"/>
                  <a:gd name="T8" fmla="*/ 87 w 104"/>
                  <a:gd name="T9" fmla="*/ 91 h 91"/>
                  <a:gd name="T10" fmla="*/ 80 w 104"/>
                  <a:gd name="T11" fmla="*/ 86 h 91"/>
                  <a:gd name="T12" fmla="*/ 72 w 104"/>
                  <a:gd name="T13" fmla="*/ 75 h 91"/>
                  <a:gd name="T14" fmla="*/ 67 w 104"/>
                  <a:gd name="T15" fmla="*/ 69 h 91"/>
                  <a:gd name="T16" fmla="*/ 45 w 104"/>
                  <a:gd name="T17" fmla="*/ 63 h 91"/>
                  <a:gd name="T18" fmla="*/ 45 w 104"/>
                  <a:gd name="T19" fmla="*/ 63 h 91"/>
                  <a:gd name="T20" fmla="*/ 45 w 104"/>
                  <a:gd name="T21" fmla="*/ 63 h 91"/>
                  <a:gd name="T22" fmla="*/ 45 w 104"/>
                  <a:gd name="T23" fmla="*/ 63 h 91"/>
                  <a:gd name="T24" fmla="*/ 45 w 104"/>
                  <a:gd name="T25" fmla="*/ 63 h 91"/>
                  <a:gd name="T26" fmla="*/ 45 w 104"/>
                  <a:gd name="T27" fmla="*/ 63 h 91"/>
                  <a:gd name="T28" fmla="*/ 33 w 104"/>
                  <a:gd name="T29" fmla="*/ 58 h 91"/>
                  <a:gd name="T30" fmla="*/ 23 w 104"/>
                  <a:gd name="T31" fmla="*/ 53 h 91"/>
                  <a:gd name="T32" fmla="*/ 23 w 104"/>
                  <a:gd name="T33" fmla="*/ 53 h 91"/>
                  <a:gd name="T34" fmla="*/ 22 w 104"/>
                  <a:gd name="T35" fmla="*/ 53 h 91"/>
                  <a:gd name="T36" fmla="*/ 19 w 104"/>
                  <a:gd name="T37" fmla="*/ 58 h 91"/>
                  <a:gd name="T38" fmla="*/ 12 w 104"/>
                  <a:gd name="T39" fmla="*/ 60 h 91"/>
                  <a:gd name="T40" fmla="*/ 0 w 104"/>
                  <a:gd name="T41" fmla="*/ 59 h 91"/>
                  <a:gd name="T42" fmla="*/ 0 w 104"/>
                  <a:gd name="T43" fmla="*/ 59 h 91"/>
                  <a:gd name="T44" fmla="*/ 3 w 104"/>
                  <a:gd name="T45" fmla="*/ 36 h 91"/>
                  <a:gd name="T46" fmla="*/ 7 w 104"/>
                  <a:gd name="T47" fmla="*/ 18 h 91"/>
                  <a:gd name="T48" fmla="*/ 10 w 104"/>
                  <a:gd name="T49" fmla="*/ 16 h 91"/>
                  <a:gd name="T50" fmla="*/ 22 w 104"/>
                  <a:gd name="T51" fmla="*/ 8 h 91"/>
                  <a:gd name="T52" fmla="*/ 30 w 104"/>
                  <a:gd name="T53" fmla="*/ 2 h 91"/>
                  <a:gd name="T54" fmla="*/ 32 w 104"/>
                  <a:gd name="T55" fmla="*/ 0 h 91"/>
                  <a:gd name="T56" fmla="*/ 38 w 104"/>
                  <a:gd name="T57" fmla="*/ 10 h 91"/>
                  <a:gd name="T58" fmla="*/ 43 w 104"/>
                  <a:gd name="T59" fmla="*/ 27 h 91"/>
                  <a:gd name="T60" fmla="*/ 46 w 104"/>
                  <a:gd name="T61" fmla="*/ 34 h 91"/>
                  <a:gd name="T62" fmla="*/ 49 w 104"/>
                  <a:gd name="T63" fmla="*/ 37 h 91"/>
                  <a:gd name="T64" fmla="*/ 52 w 104"/>
                  <a:gd name="T65" fmla="*/ 40 h 91"/>
                  <a:gd name="T66" fmla="*/ 56 w 104"/>
                  <a:gd name="T67" fmla="*/ 43 h 91"/>
                  <a:gd name="T68" fmla="*/ 65 w 104"/>
                  <a:gd name="T69" fmla="*/ 49 h 91"/>
                  <a:gd name="T70" fmla="*/ 70 w 104"/>
                  <a:gd name="T71" fmla="*/ 52 h 91"/>
                  <a:gd name="T72" fmla="*/ 74 w 104"/>
                  <a:gd name="T73" fmla="*/ 55 h 91"/>
                  <a:gd name="T74" fmla="*/ 74 w 104"/>
                  <a:gd name="T75" fmla="*/ 55 h 91"/>
                  <a:gd name="T76" fmla="*/ 77 w 104"/>
                  <a:gd name="T77" fmla="*/ 59 h 91"/>
                  <a:gd name="T78" fmla="*/ 83 w 104"/>
                  <a:gd name="T79" fmla="*/ 66 h 91"/>
                  <a:gd name="T80" fmla="*/ 98 w 104"/>
                  <a:gd name="T81" fmla="*/ 76 h 91"/>
                  <a:gd name="T82" fmla="*/ 101 w 104"/>
                  <a:gd name="T83" fmla="*/ 81 h 91"/>
                  <a:gd name="T84" fmla="*/ 104 w 104"/>
                  <a:gd name="T85" fmla="*/ 86 h 91"/>
                  <a:gd name="T86" fmla="*/ 104 w 104"/>
                  <a:gd name="T87" fmla="*/ 88 h 91"/>
                  <a:gd name="T88" fmla="*/ 104 w 104"/>
                  <a:gd name="T89" fmla="*/ 88 h 91"/>
                  <a:gd name="T90" fmla="*/ 103 w 104"/>
                  <a:gd name="T91" fmla="*/ 88 h 91"/>
                  <a:gd name="T92" fmla="*/ 103 w 104"/>
                  <a:gd name="T93" fmla="*/ 88 h 91"/>
                  <a:gd name="T94" fmla="*/ 96 w 104"/>
                  <a:gd name="T95" fmla="*/ 89 h 91"/>
                  <a:gd name="T96" fmla="*/ 96 w 104"/>
                  <a:gd name="T97" fmla="*/ 89 h 91"/>
                  <a:gd name="T98" fmla="*/ 93 w 104"/>
                  <a:gd name="T99" fmla="*/ 89 h 91"/>
                  <a:gd name="T100" fmla="*/ 91 w 104"/>
                  <a:gd name="T101" fmla="*/ 91 h 91"/>
                  <a:gd name="T102" fmla="*/ 90 w 104"/>
                  <a:gd name="T103" fmla="*/ 91 h 91"/>
                  <a:gd name="T104" fmla="*/ 88 w 104"/>
                  <a:gd name="T105"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4" h="91">
                    <a:moveTo>
                      <a:pt x="88" y="91"/>
                    </a:moveTo>
                    <a:lnTo>
                      <a:pt x="88" y="91"/>
                    </a:lnTo>
                    <a:lnTo>
                      <a:pt x="88" y="91"/>
                    </a:lnTo>
                    <a:lnTo>
                      <a:pt x="87" y="91"/>
                    </a:lnTo>
                    <a:lnTo>
                      <a:pt x="87" y="91"/>
                    </a:lnTo>
                    <a:lnTo>
                      <a:pt x="87" y="91"/>
                    </a:lnTo>
                    <a:lnTo>
                      <a:pt x="87" y="91"/>
                    </a:lnTo>
                    <a:lnTo>
                      <a:pt x="87" y="91"/>
                    </a:lnTo>
                    <a:lnTo>
                      <a:pt x="87" y="91"/>
                    </a:lnTo>
                    <a:lnTo>
                      <a:pt x="87" y="91"/>
                    </a:lnTo>
                    <a:lnTo>
                      <a:pt x="83" y="89"/>
                    </a:lnTo>
                    <a:lnTo>
                      <a:pt x="80" y="86"/>
                    </a:lnTo>
                    <a:lnTo>
                      <a:pt x="72" y="75"/>
                    </a:lnTo>
                    <a:lnTo>
                      <a:pt x="72" y="75"/>
                    </a:lnTo>
                    <a:lnTo>
                      <a:pt x="70" y="72"/>
                    </a:lnTo>
                    <a:lnTo>
                      <a:pt x="67" y="69"/>
                    </a:lnTo>
                    <a:lnTo>
                      <a:pt x="59" y="66"/>
                    </a:lnTo>
                    <a:lnTo>
                      <a:pt x="45" y="63"/>
                    </a:lnTo>
                    <a:lnTo>
                      <a:pt x="45" y="63"/>
                    </a:lnTo>
                    <a:lnTo>
                      <a:pt x="45" y="63"/>
                    </a:lnTo>
                    <a:lnTo>
                      <a:pt x="45" y="63"/>
                    </a:lnTo>
                    <a:lnTo>
                      <a:pt x="45" y="63"/>
                    </a:lnTo>
                    <a:lnTo>
                      <a:pt x="45" y="63"/>
                    </a:lnTo>
                    <a:lnTo>
                      <a:pt x="45" y="63"/>
                    </a:lnTo>
                    <a:lnTo>
                      <a:pt x="45" y="63"/>
                    </a:lnTo>
                    <a:lnTo>
                      <a:pt x="45" y="63"/>
                    </a:lnTo>
                    <a:lnTo>
                      <a:pt x="45" y="63"/>
                    </a:lnTo>
                    <a:lnTo>
                      <a:pt x="45" y="63"/>
                    </a:lnTo>
                    <a:lnTo>
                      <a:pt x="45" y="63"/>
                    </a:lnTo>
                    <a:lnTo>
                      <a:pt x="33" y="58"/>
                    </a:lnTo>
                    <a:lnTo>
                      <a:pt x="27" y="55"/>
                    </a:lnTo>
                    <a:lnTo>
                      <a:pt x="23" y="53"/>
                    </a:lnTo>
                    <a:lnTo>
                      <a:pt x="23" y="53"/>
                    </a:lnTo>
                    <a:lnTo>
                      <a:pt x="23" y="53"/>
                    </a:lnTo>
                    <a:lnTo>
                      <a:pt x="23" y="53"/>
                    </a:lnTo>
                    <a:lnTo>
                      <a:pt x="22" y="53"/>
                    </a:lnTo>
                    <a:lnTo>
                      <a:pt x="22" y="53"/>
                    </a:lnTo>
                    <a:lnTo>
                      <a:pt x="19" y="58"/>
                    </a:lnTo>
                    <a:lnTo>
                      <a:pt x="16" y="59"/>
                    </a:lnTo>
                    <a:lnTo>
                      <a:pt x="12" y="60"/>
                    </a:lnTo>
                    <a:lnTo>
                      <a:pt x="12" y="60"/>
                    </a:lnTo>
                    <a:lnTo>
                      <a:pt x="0" y="59"/>
                    </a:lnTo>
                    <a:lnTo>
                      <a:pt x="0" y="59"/>
                    </a:lnTo>
                    <a:lnTo>
                      <a:pt x="0" y="59"/>
                    </a:lnTo>
                    <a:lnTo>
                      <a:pt x="1" y="50"/>
                    </a:lnTo>
                    <a:lnTo>
                      <a:pt x="3" y="36"/>
                    </a:lnTo>
                    <a:lnTo>
                      <a:pt x="6" y="23"/>
                    </a:lnTo>
                    <a:lnTo>
                      <a:pt x="7" y="18"/>
                    </a:lnTo>
                    <a:lnTo>
                      <a:pt x="10" y="16"/>
                    </a:lnTo>
                    <a:lnTo>
                      <a:pt x="10" y="16"/>
                    </a:lnTo>
                    <a:lnTo>
                      <a:pt x="16" y="11"/>
                    </a:lnTo>
                    <a:lnTo>
                      <a:pt x="22" y="8"/>
                    </a:lnTo>
                    <a:lnTo>
                      <a:pt x="26" y="5"/>
                    </a:lnTo>
                    <a:lnTo>
                      <a:pt x="30" y="2"/>
                    </a:lnTo>
                    <a:lnTo>
                      <a:pt x="30" y="2"/>
                    </a:lnTo>
                    <a:lnTo>
                      <a:pt x="32" y="0"/>
                    </a:lnTo>
                    <a:lnTo>
                      <a:pt x="32" y="0"/>
                    </a:lnTo>
                    <a:lnTo>
                      <a:pt x="38" y="10"/>
                    </a:lnTo>
                    <a:lnTo>
                      <a:pt x="38" y="10"/>
                    </a:lnTo>
                    <a:lnTo>
                      <a:pt x="43" y="27"/>
                    </a:lnTo>
                    <a:lnTo>
                      <a:pt x="43" y="27"/>
                    </a:lnTo>
                    <a:lnTo>
                      <a:pt x="46" y="34"/>
                    </a:lnTo>
                    <a:lnTo>
                      <a:pt x="46" y="34"/>
                    </a:lnTo>
                    <a:lnTo>
                      <a:pt x="49" y="37"/>
                    </a:lnTo>
                    <a:lnTo>
                      <a:pt x="49" y="37"/>
                    </a:lnTo>
                    <a:lnTo>
                      <a:pt x="52" y="40"/>
                    </a:lnTo>
                    <a:lnTo>
                      <a:pt x="52" y="40"/>
                    </a:lnTo>
                    <a:lnTo>
                      <a:pt x="56" y="43"/>
                    </a:lnTo>
                    <a:lnTo>
                      <a:pt x="56" y="43"/>
                    </a:lnTo>
                    <a:lnTo>
                      <a:pt x="65" y="49"/>
                    </a:lnTo>
                    <a:lnTo>
                      <a:pt x="65" y="49"/>
                    </a:lnTo>
                    <a:lnTo>
                      <a:pt x="70" y="52"/>
                    </a:lnTo>
                    <a:lnTo>
                      <a:pt x="70" y="52"/>
                    </a:lnTo>
                    <a:lnTo>
                      <a:pt x="74" y="55"/>
                    </a:lnTo>
                    <a:lnTo>
                      <a:pt x="74" y="55"/>
                    </a:lnTo>
                    <a:lnTo>
                      <a:pt x="74" y="55"/>
                    </a:lnTo>
                    <a:lnTo>
                      <a:pt x="74" y="55"/>
                    </a:lnTo>
                    <a:lnTo>
                      <a:pt x="77" y="59"/>
                    </a:lnTo>
                    <a:lnTo>
                      <a:pt x="77" y="59"/>
                    </a:lnTo>
                    <a:lnTo>
                      <a:pt x="83" y="66"/>
                    </a:lnTo>
                    <a:lnTo>
                      <a:pt x="83" y="66"/>
                    </a:lnTo>
                    <a:lnTo>
                      <a:pt x="98" y="76"/>
                    </a:lnTo>
                    <a:lnTo>
                      <a:pt x="98" y="76"/>
                    </a:lnTo>
                    <a:lnTo>
                      <a:pt x="101" y="81"/>
                    </a:lnTo>
                    <a:lnTo>
                      <a:pt x="104" y="86"/>
                    </a:lnTo>
                    <a:lnTo>
                      <a:pt x="104" y="86"/>
                    </a:lnTo>
                    <a:lnTo>
                      <a:pt x="104" y="88"/>
                    </a:lnTo>
                    <a:lnTo>
                      <a:pt x="104" y="88"/>
                    </a:lnTo>
                    <a:lnTo>
                      <a:pt x="104" y="88"/>
                    </a:lnTo>
                    <a:lnTo>
                      <a:pt x="104" y="88"/>
                    </a:lnTo>
                    <a:lnTo>
                      <a:pt x="103" y="88"/>
                    </a:lnTo>
                    <a:lnTo>
                      <a:pt x="103" y="88"/>
                    </a:lnTo>
                    <a:lnTo>
                      <a:pt x="103" y="88"/>
                    </a:lnTo>
                    <a:lnTo>
                      <a:pt x="103" y="88"/>
                    </a:lnTo>
                    <a:lnTo>
                      <a:pt x="96" y="89"/>
                    </a:lnTo>
                    <a:lnTo>
                      <a:pt x="96" y="89"/>
                    </a:lnTo>
                    <a:lnTo>
                      <a:pt x="96" y="89"/>
                    </a:lnTo>
                    <a:lnTo>
                      <a:pt x="96" y="89"/>
                    </a:lnTo>
                    <a:lnTo>
                      <a:pt x="93" y="89"/>
                    </a:lnTo>
                    <a:lnTo>
                      <a:pt x="93" y="89"/>
                    </a:lnTo>
                    <a:lnTo>
                      <a:pt x="93" y="89"/>
                    </a:lnTo>
                    <a:lnTo>
                      <a:pt x="91" y="91"/>
                    </a:lnTo>
                    <a:lnTo>
                      <a:pt x="91" y="91"/>
                    </a:lnTo>
                    <a:lnTo>
                      <a:pt x="90" y="91"/>
                    </a:lnTo>
                    <a:lnTo>
                      <a:pt x="90" y="91"/>
                    </a:lnTo>
                    <a:lnTo>
                      <a:pt x="88" y="91"/>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26" name="Freeform 426"/>
              <p:cNvSpPr>
                <a:spLocks/>
              </p:cNvSpPr>
              <p:nvPr/>
            </p:nvSpPr>
            <p:spPr bwMode="auto">
              <a:xfrm>
                <a:off x="3308" y="2477"/>
                <a:ext cx="104" cy="91"/>
              </a:xfrm>
              <a:custGeom>
                <a:avLst/>
                <a:gdLst>
                  <a:gd name="T0" fmla="*/ 88 w 104"/>
                  <a:gd name="T1" fmla="*/ 91 h 91"/>
                  <a:gd name="T2" fmla="*/ 87 w 104"/>
                  <a:gd name="T3" fmla="*/ 91 h 91"/>
                  <a:gd name="T4" fmla="*/ 87 w 104"/>
                  <a:gd name="T5" fmla="*/ 91 h 91"/>
                  <a:gd name="T6" fmla="*/ 87 w 104"/>
                  <a:gd name="T7" fmla="*/ 91 h 91"/>
                  <a:gd name="T8" fmla="*/ 87 w 104"/>
                  <a:gd name="T9" fmla="*/ 91 h 91"/>
                  <a:gd name="T10" fmla="*/ 80 w 104"/>
                  <a:gd name="T11" fmla="*/ 86 h 91"/>
                  <a:gd name="T12" fmla="*/ 72 w 104"/>
                  <a:gd name="T13" fmla="*/ 75 h 91"/>
                  <a:gd name="T14" fmla="*/ 67 w 104"/>
                  <a:gd name="T15" fmla="*/ 69 h 91"/>
                  <a:gd name="T16" fmla="*/ 45 w 104"/>
                  <a:gd name="T17" fmla="*/ 63 h 91"/>
                  <a:gd name="T18" fmla="*/ 45 w 104"/>
                  <a:gd name="T19" fmla="*/ 63 h 91"/>
                  <a:gd name="T20" fmla="*/ 45 w 104"/>
                  <a:gd name="T21" fmla="*/ 63 h 91"/>
                  <a:gd name="T22" fmla="*/ 45 w 104"/>
                  <a:gd name="T23" fmla="*/ 63 h 91"/>
                  <a:gd name="T24" fmla="*/ 45 w 104"/>
                  <a:gd name="T25" fmla="*/ 63 h 91"/>
                  <a:gd name="T26" fmla="*/ 45 w 104"/>
                  <a:gd name="T27" fmla="*/ 63 h 91"/>
                  <a:gd name="T28" fmla="*/ 33 w 104"/>
                  <a:gd name="T29" fmla="*/ 58 h 91"/>
                  <a:gd name="T30" fmla="*/ 23 w 104"/>
                  <a:gd name="T31" fmla="*/ 53 h 91"/>
                  <a:gd name="T32" fmla="*/ 23 w 104"/>
                  <a:gd name="T33" fmla="*/ 53 h 91"/>
                  <a:gd name="T34" fmla="*/ 22 w 104"/>
                  <a:gd name="T35" fmla="*/ 53 h 91"/>
                  <a:gd name="T36" fmla="*/ 19 w 104"/>
                  <a:gd name="T37" fmla="*/ 58 h 91"/>
                  <a:gd name="T38" fmla="*/ 12 w 104"/>
                  <a:gd name="T39" fmla="*/ 60 h 91"/>
                  <a:gd name="T40" fmla="*/ 0 w 104"/>
                  <a:gd name="T41" fmla="*/ 59 h 91"/>
                  <a:gd name="T42" fmla="*/ 0 w 104"/>
                  <a:gd name="T43" fmla="*/ 59 h 91"/>
                  <a:gd name="T44" fmla="*/ 3 w 104"/>
                  <a:gd name="T45" fmla="*/ 36 h 91"/>
                  <a:gd name="T46" fmla="*/ 7 w 104"/>
                  <a:gd name="T47" fmla="*/ 18 h 91"/>
                  <a:gd name="T48" fmla="*/ 10 w 104"/>
                  <a:gd name="T49" fmla="*/ 16 h 91"/>
                  <a:gd name="T50" fmla="*/ 22 w 104"/>
                  <a:gd name="T51" fmla="*/ 8 h 91"/>
                  <a:gd name="T52" fmla="*/ 30 w 104"/>
                  <a:gd name="T53" fmla="*/ 2 h 91"/>
                  <a:gd name="T54" fmla="*/ 32 w 104"/>
                  <a:gd name="T55" fmla="*/ 0 h 91"/>
                  <a:gd name="T56" fmla="*/ 38 w 104"/>
                  <a:gd name="T57" fmla="*/ 10 h 91"/>
                  <a:gd name="T58" fmla="*/ 43 w 104"/>
                  <a:gd name="T59" fmla="*/ 27 h 91"/>
                  <a:gd name="T60" fmla="*/ 46 w 104"/>
                  <a:gd name="T61" fmla="*/ 34 h 91"/>
                  <a:gd name="T62" fmla="*/ 49 w 104"/>
                  <a:gd name="T63" fmla="*/ 37 h 91"/>
                  <a:gd name="T64" fmla="*/ 52 w 104"/>
                  <a:gd name="T65" fmla="*/ 40 h 91"/>
                  <a:gd name="T66" fmla="*/ 56 w 104"/>
                  <a:gd name="T67" fmla="*/ 43 h 91"/>
                  <a:gd name="T68" fmla="*/ 65 w 104"/>
                  <a:gd name="T69" fmla="*/ 49 h 91"/>
                  <a:gd name="T70" fmla="*/ 70 w 104"/>
                  <a:gd name="T71" fmla="*/ 52 h 91"/>
                  <a:gd name="T72" fmla="*/ 74 w 104"/>
                  <a:gd name="T73" fmla="*/ 55 h 91"/>
                  <a:gd name="T74" fmla="*/ 74 w 104"/>
                  <a:gd name="T75" fmla="*/ 55 h 91"/>
                  <a:gd name="T76" fmla="*/ 77 w 104"/>
                  <a:gd name="T77" fmla="*/ 59 h 91"/>
                  <a:gd name="T78" fmla="*/ 83 w 104"/>
                  <a:gd name="T79" fmla="*/ 66 h 91"/>
                  <a:gd name="T80" fmla="*/ 98 w 104"/>
                  <a:gd name="T81" fmla="*/ 76 h 91"/>
                  <a:gd name="T82" fmla="*/ 101 w 104"/>
                  <a:gd name="T83" fmla="*/ 81 h 91"/>
                  <a:gd name="T84" fmla="*/ 104 w 104"/>
                  <a:gd name="T85" fmla="*/ 86 h 91"/>
                  <a:gd name="T86" fmla="*/ 104 w 104"/>
                  <a:gd name="T87" fmla="*/ 88 h 91"/>
                  <a:gd name="T88" fmla="*/ 104 w 104"/>
                  <a:gd name="T89" fmla="*/ 88 h 91"/>
                  <a:gd name="T90" fmla="*/ 103 w 104"/>
                  <a:gd name="T91" fmla="*/ 88 h 91"/>
                  <a:gd name="T92" fmla="*/ 103 w 104"/>
                  <a:gd name="T93" fmla="*/ 88 h 91"/>
                  <a:gd name="T94" fmla="*/ 96 w 104"/>
                  <a:gd name="T95" fmla="*/ 89 h 91"/>
                  <a:gd name="T96" fmla="*/ 96 w 104"/>
                  <a:gd name="T97" fmla="*/ 89 h 91"/>
                  <a:gd name="T98" fmla="*/ 93 w 104"/>
                  <a:gd name="T99" fmla="*/ 89 h 91"/>
                  <a:gd name="T100" fmla="*/ 91 w 104"/>
                  <a:gd name="T101" fmla="*/ 91 h 91"/>
                  <a:gd name="T102" fmla="*/ 90 w 104"/>
                  <a:gd name="T103" fmla="*/ 91 h 91"/>
                  <a:gd name="T104" fmla="*/ 88 w 104"/>
                  <a:gd name="T105"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4" h="91">
                    <a:moveTo>
                      <a:pt x="88" y="91"/>
                    </a:moveTo>
                    <a:lnTo>
                      <a:pt x="88" y="91"/>
                    </a:lnTo>
                    <a:lnTo>
                      <a:pt x="88" y="91"/>
                    </a:lnTo>
                    <a:lnTo>
                      <a:pt x="87" y="91"/>
                    </a:lnTo>
                    <a:lnTo>
                      <a:pt x="87" y="91"/>
                    </a:lnTo>
                    <a:lnTo>
                      <a:pt x="87" y="91"/>
                    </a:lnTo>
                    <a:lnTo>
                      <a:pt x="87" y="91"/>
                    </a:lnTo>
                    <a:lnTo>
                      <a:pt x="87" y="91"/>
                    </a:lnTo>
                    <a:lnTo>
                      <a:pt x="87" y="91"/>
                    </a:lnTo>
                    <a:lnTo>
                      <a:pt x="87" y="91"/>
                    </a:lnTo>
                    <a:lnTo>
                      <a:pt x="83" y="89"/>
                    </a:lnTo>
                    <a:lnTo>
                      <a:pt x="80" y="86"/>
                    </a:lnTo>
                    <a:lnTo>
                      <a:pt x="72" y="75"/>
                    </a:lnTo>
                    <a:lnTo>
                      <a:pt x="72" y="75"/>
                    </a:lnTo>
                    <a:lnTo>
                      <a:pt x="70" y="72"/>
                    </a:lnTo>
                    <a:lnTo>
                      <a:pt x="67" y="69"/>
                    </a:lnTo>
                    <a:lnTo>
                      <a:pt x="59" y="66"/>
                    </a:lnTo>
                    <a:lnTo>
                      <a:pt x="45" y="63"/>
                    </a:lnTo>
                    <a:lnTo>
                      <a:pt x="45" y="63"/>
                    </a:lnTo>
                    <a:lnTo>
                      <a:pt x="45" y="63"/>
                    </a:lnTo>
                    <a:lnTo>
                      <a:pt x="45" y="63"/>
                    </a:lnTo>
                    <a:lnTo>
                      <a:pt x="45" y="63"/>
                    </a:lnTo>
                    <a:lnTo>
                      <a:pt x="45" y="63"/>
                    </a:lnTo>
                    <a:lnTo>
                      <a:pt x="45" y="63"/>
                    </a:lnTo>
                    <a:lnTo>
                      <a:pt x="45" y="63"/>
                    </a:lnTo>
                    <a:lnTo>
                      <a:pt x="45" y="63"/>
                    </a:lnTo>
                    <a:lnTo>
                      <a:pt x="45" y="63"/>
                    </a:lnTo>
                    <a:lnTo>
                      <a:pt x="45" y="63"/>
                    </a:lnTo>
                    <a:lnTo>
                      <a:pt x="45" y="63"/>
                    </a:lnTo>
                    <a:lnTo>
                      <a:pt x="33" y="58"/>
                    </a:lnTo>
                    <a:lnTo>
                      <a:pt x="27" y="55"/>
                    </a:lnTo>
                    <a:lnTo>
                      <a:pt x="23" y="53"/>
                    </a:lnTo>
                    <a:lnTo>
                      <a:pt x="23" y="53"/>
                    </a:lnTo>
                    <a:lnTo>
                      <a:pt x="23" y="53"/>
                    </a:lnTo>
                    <a:lnTo>
                      <a:pt x="23" y="53"/>
                    </a:lnTo>
                    <a:lnTo>
                      <a:pt x="22" y="53"/>
                    </a:lnTo>
                    <a:lnTo>
                      <a:pt x="22" y="53"/>
                    </a:lnTo>
                    <a:lnTo>
                      <a:pt x="19" y="58"/>
                    </a:lnTo>
                    <a:lnTo>
                      <a:pt x="16" y="59"/>
                    </a:lnTo>
                    <a:lnTo>
                      <a:pt x="12" y="60"/>
                    </a:lnTo>
                    <a:lnTo>
                      <a:pt x="12" y="60"/>
                    </a:lnTo>
                    <a:lnTo>
                      <a:pt x="0" y="59"/>
                    </a:lnTo>
                    <a:lnTo>
                      <a:pt x="0" y="59"/>
                    </a:lnTo>
                    <a:lnTo>
                      <a:pt x="0" y="59"/>
                    </a:lnTo>
                    <a:lnTo>
                      <a:pt x="1" y="50"/>
                    </a:lnTo>
                    <a:lnTo>
                      <a:pt x="3" y="36"/>
                    </a:lnTo>
                    <a:lnTo>
                      <a:pt x="6" y="23"/>
                    </a:lnTo>
                    <a:lnTo>
                      <a:pt x="7" y="18"/>
                    </a:lnTo>
                    <a:lnTo>
                      <a:pt x="10" y="16"/>
                    </a:lnTo>
                    <a:lnTo>
                      <a:pt x="10" y="16"/>
                    </a:lnTo>
                    <a:lnTo>
                      <a:pt x="16" y="11"/>
                    </a:lnTo>
                    <a:lnTo>
                      <a:pt x="22" y="8"/>
                    </a:lnTo>
                    <a:lnTo>
                      <a:pt x="26" y="5"/>
                    </a:lnTo>
                    <a:lnTo>
                      <a:pt x="30" y="2"/>
                    </a:lnTo>
                    <a:lnTo>
                      <a:pt x="30" y="2"/>
                    </a:lnTo>
                    <a:lnTo>
                      <a:pt x="32" y="0"/>
                    </a:lnTo>
                    <a:lnTo>
                      <a:pt x="32" y="0"/>
                    </a:lnTo>
                    <a:lnTo>
                      <a:pt x="38" y="10"/>
                    </a:lnTo>
                    <a:lnTo>
                      <a:pt x="38" y="10"/>
                    </a:lnTo>
                    <a:lnTo>
                      <a:pt x="43" y="27"/>
                    </a:lnTo>
                    <a:lnTo>
                      <a:pt x="43" y="27"/>
                    </a:lnTo>
                    <a:lnTo>
                      <a:pt x="46" y="34"/>
                    </a:lnTo>
                    <a:lnTo>
                      <a:pt x="46" y="34"/>
                    </a:lnTo>
                    <a:lnTo>
                      <a:pt x="49" y="37"/>
                    </a:lnTo>
                    <a:lnTo>
                      <a:pt x="49" y="37"/>
                    </a:lnTo>
                    <a:lnTo>
                      <a:pt x="52" y="40"/>
                    </a:lnTo>
                    <a:lnTo>
                      <a:pt x="52" y="40"/>
                    </a:lnTo>
                    <a:lnTo>
                      <a:pt x="56" y="43"/>
                    </a:lnTo>
                    <a:lnTo>
                      <a:pt x="56" y="43"/>
                    </a:lnTo>
                    <a:lnTo>
                      <a:pt x="65" y="49"/>
                    </a:lnTo>
                    <a:lnTo>
                      <a:pt x="65" y="49"/>
                    </a:lnTo>
                    <a:lnTo>
                      <a:pt x="70" y="52"/>
                    </a:lnTo>
                    <a:lnTo>
                      <a:pt x="70" y="52"/>
                    </a:lnTo>
                    <a:lnTo>
                      <a:pt x="74" y="55"/>
                    </a:lnTo>
                    <a:lnTo>
                      <a:pt x="74" y="55"/>
                    </a:lnTo>
                    <a:lnTo>
                      <a:pt x="74" y="55"/>
                    </a:lnTo>
                    <a:lnTo>
                      <a:pt x="74" y="55"/>
                    </a:lnTo>
                    <a:lnTo>
                      <a:pt x="77" y="59"/>
                    </a:lnTo>
                    <a:lnTo>
                      <a:pt x="77" y="59"/>
                    </a:lnTo>
                    <a:lnTo>
                      <a:pt x="83" y="66"/>
                    </a:lnTo>
                    <a:lnTo>
                      <a:pt x="83" y="66"/>
                    </a:lnTo>
                    <a:lnTo>
                      <a:pt x="98" y="76"/>
                    </a:lnTo>
                    <a:lnTo>
                      <a:pt x="98" y="76"/>
                    </a:lnTo>
                    <a:lnTo>
                      <a:pt x="101" y="81"/>
                    </a:lnTo>
                    <a:lnTo>
                      <a:pt x="104" y="86"/>
                    </a:lnTo>
                    <a:lnTo>
                      <a:pt x="104" y="86"/>
                    </a:lnTo>
                    <a:lnTo>
                      <a:pt x="104" y="88"/>
                    </a:lnTo>
                    <a:lnTo>
                      <a:pt x="104" y="88"/>
                    </a:lnTo>
                    <a:lnTo>
                      <a:pt x="104" y="88"/>
                    </a:lnTo>
                    <a:lnTo>
                      <a:pt x="104" y="88"/>
                    </a:lnTo>
                    <a:lnTo>
                      <a:pt x="103" y="88"/>
                    </a:lnTo>
                    <a:lnTo>
                      <a:pt x="103" y="88"/>
                    </a:lnTo>
                    <a:lnTo>
                      <a:pt x="103" y="88"/>
                    </a:lnTo>
                    <a:lnTo>
                      <a:pt x="103" y="88"/>
                    </a:lnTo>
                    <a:lnTo>
                      <a:pt x="96" y="89"/>
                    </a:lnTo>
                    <a:lnTo>
                      <a:pt x="96" y="89"/>
                    </a:lnTo>
                    <a:lnTo>
                      <a:pt x="96" y="89"/>
                    </a:lnTo>
                    <a:lnTo>
                      <a:pt x="96" y="89"/>
                    </a:lnTo>
                    <a:lnTo>
                      <a:pt x="93" y="89"/>
                    </a:lnTo>
                    <a:lnTo>
                      <a:pt x="93" y="89"/>
                    </a:lnTo>
                    <a:lnTo>
                      <a:pt x="93" y="89"/>
                    </a:lnTo>
                    <a:lnTo>
                      <a:pt x="91" y="91"/>
                    </a:lnTo>
                    <a:lnTo>
                      <a:pt x="91" y="91"/>
                    </a:lnTo>
                    <a:lnTo>
                      <a:pt x="90" y="91"/>
                    </a:lnTo>
                    <a:lnTo>
                      <a:pt x="90" y="91"/>
                    </a:lnTo>
                    <a:lnTo>
                      <a:pt x="88" y="9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27" name="Freeform 427"/>
              <p:cNvSpPr>
                <a:spLocks/>
              </p:cNvSpPr>
              <p:nvPr/>
            </p:nvSpPr>
            <p:spPr bwMode="auto">
              <a:xfrm>
                <a:off x="3395" y="2565"/>
                <a:ext cx="23" cy="26"/>
              </a:xfrm>
              <a:custGeom>
                <a:avLst/>
                <a:gdLst>
                  <a:gd name="T0" fmla="*/ 17 w 23"/>
                  <a:gd name="T1" fmla="*/ 26 h 26"/>
                  <a:gd name="T2" fmla="*/ 17 w 23"/>
                  <a:gd name="T3" fmla="*/ 26 h 26"/>
                  <a:gd name="T4" fmla="*/ 9 w 23"/>
                  <a:gd name="T5" fmla="*/ 23 h 26"/>
                  <a:gd name="T6" fmla="*/ 4 w 23"/>
                  <a:gd name="T7" fmla="*/ 20 h 26"/>
                  <a:gd name="T8" fmla="*/ 3 w 23"/>
                  <a:gd name="T9" fmla="*/ 17 h 26"/>
                  <a:gd name="T10" fmla="*/ 3 w 23"/>
                  <a:gd name="T11" fmla="*/ 17 h 26"/>
                  <a:gd name="T12" fmla="*/ 0 w 23"/>
                  <a:gd name="T13" fmla="*/ 10 h 26"/>
                  <a:gd name="T14" fmla="*/ 0 w 23"/>
                  <a:gd name="T15" fmla="*/ 3 h 26"/>
                  <a:gd name="T16" fmla="*/ 0 w 23"/>
                  <a:gd name="T17" fmla="*/ 3 h 26"/>
                  <a:gd name="T18" fmla="*/ 0 w 23"/>
                  <a:gd name="T19" fmla="*/ 3 h 26"/>
                  <a:gd name="T20" fmla="*/ 0 w 23"/>
                  <a:gd name="T21" fmla="*/ 3 h 26"/>
                  <a:gd name="T22" fmla="*/ 0 w 23"/>
                  <a:gd name="T23" fmla="*/ 3 h 26"/>
                  <a:gd name="T24" fmla="*/ 0 w 23"/>
                  <a:gd name="T25" fmla="*/ 3 h 26"/>
                  <a:gd name="T26" fmla="*/ 0 w 23"/>
                  <a:gd name="T27" fmla="*/ 3 h 26"/>
                  <a:gd name="T28" fmla="*/ 0 w 23"/>
                  <a:gd name="T29" fmla="*/ 3 h 26"/>
                  <a:gd name="T30" fmla="*/ 0 w 23"/>
                  <a:gd name="T31" fmla="*/ 3 h 26"/>
                  <a:gd name="T32" fmla="*/ 0 w 23"/>
                  <a:gd name="T33" fmla="*/ 3 h 26"/>
                  <a:gd name="T34" fmla="*/ 1 w 23"/>
                  <a:gd name="T35" fmla="*/ 3 h 26"/>
                  <a:gd name="T36" fmla="*/ 1 w 23"/>
                  <a:gd name="T37" fmla="*/ 3 h 26"/>
                  <a:gd name="T38" fmla="*/ 3 w 23"/>
                  <a:gd name="T39" fmla="*/ 3 h 26"/>
                  <a:gd name="T40" fmla="*/ 3 w 23"/>
                  <a:gd name="T41" fmla="*/ 3 h 26"/>
                  <a:gd name="T42" fmla="*/ 4 w 23"/>
                  <a:gd name="T43" fmla="*/ 3 h 26"/>
                  <a:gd name="T44" fmla="*/ 4 w 23"/>
                  <a:gd name="T45" fmla="*/ 3 h 26"/>
                  <a:gd name="T46" fmla="*/ 6 w 23"/>
                  <a:gd name="T47" fmla="*/ 1 h 26"/>
                  <a:gd name="T48" fmla="*/ 6 w 23"/>
                  <a:gd name="T49" fmla="*/ 1 h 26"/>
                  <a:gd name="T50" fmla="*/ 9 w 23"/>
                  <a:gd name="T51" fmla="*/ 1 h 26"/>
                  <a:gd name="T52" fmla="*/ 9 w 23"/>
                  <a:gd name="T53" fmla="*/ 1 h 26"/>
                  <a:gd name="T54" fmla="*/ 9 w 23"/>
                  <a:gd name="T55" fmla="*/ 1 h 26"/>
                  <a:gd name="T56" fmla="*/ 9 w 23"/>
                  <a:gd name="T57" fmla="*/ 1 h 26"/>
                  <a:gd name="T58" fmla="*/ 16 w 23"/>
                  <a:gd name="T59" fmla="*/ 0 h 26"/>
                  <a:gd name="T60" fmla="*/ 16 w 23"/>
                  <a:gd name="T61" fmla="*/ 0 h 26"/>
                  <a:gd name="T62" fmla="*/ 16 w 23"/>
                  <a:gd name="T63" fmla="*/ 0 h 26"/>
                  <a:gd name="T64" fmla="*/ 16 w 23"/>
                  <a:gd name="T65" fmla="*/ 0 h 26"/>
                  <a:gd name="T66" fmla="*/ 17 w 23"/>
                  <a:gd name="T67" fmla="*/ 0 h 26"/>
                  <a:gd name="T68" fmla="*/ 17 w 23"/>
                  <a:gd name="T69" fmla="*/ 0 h 26"/>
                  <a:gd name="T70" fmla="*/ 17 w 23"/>
                  <a:gd name="T71" fmla="*/ 0 h 26"/>
                  <a:gd name="T72" fmla="*/ 17 w 23"/>
                  <a:gd name="T73" fmla="*/ 0 h 26"/>
                  <a:gd name="T74" fmla="*/ 19 w 23"/>
                  <a:gd name="T75" fmla="*/ 4 h 26"/>
                  <a:gd name="T76" fmla="*/ 19 w 23"/>
                  <a:gd name="T77" fmla="*/ 4 h 26"/>
                  <a:gd name="T78" fmla="*/ 20 w 23"/>
                  <a:gd name="T79" fmla="*/ 9 h 26"/>
                  <a:gd name="T80" fmla="*/ 20 w 23"/>
                  <a:gd name="T81" fmla="*/ 9 h 26"/>
                  <a:gd name="T82" fmla="*/ 19 w 23"/>
                  <a:gd name="T83" fmla="*/ 10 h 26"/>
                  <a:gd name="T84" fmla="*/ 19 w 23"/>
                  <a:gd name="T85" fmla="*/ 10 h 26"/>
                  <a:gd name="T86" fmla="*/ 20 w 23"/>
                  <a:gd name="T87" fmla="*/ 12 h 26"/>
                  <a:gd name="T88" fmla="*/ 20 w 23"/>
                  <a:gd name="T89" fmla="*/ 12 h 26"/>
                  <a:gd name="T90" fmla="*/ 22 w 23"/>
                  <a:gd name="T91" fmla="*/ 13 h 26"/>
                  <a:gd name="T92" fmla="*/ 22 w 23"/>
                  <a:gd name="T93" fmla="*/ 13 h 26"/>
                  <a:gd name="T94" fmla="*/ 23 w 23"/>
                  <a:gd name="T95" fmla="*/ 16 h 26"/>
                  <a:gd name="T96" fmla="*/ 23 w 23"/>
                  <a:gd name="T97" fmla="*/ 16 h 26"/>
                  <a:gd name="T98" fmla="*/ 17 w 23"/>
                  <a:gd name="T9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 h="26">
                    <a:moveTo>
                      <a:pt x="17" y="26"/>
                    </a:moveTo>
                    <a:lnTo>
                      <a:pt x="17" y="26"/>
                    </a:lnTo>
                    <a:lnTo>
                      <a:pt x="9" y="23"/>
                    </a:lnTo>
                    <a:lnTo>
                      <a:pt x="4" y="20"/>
                    </a:lnTo>
                    <a:lnTo>
                      <a:pt x="3" y="17"/>
                    </a:lnTo>
                    <a:lnTo>
                      <a:pt x="3" y="17"/>
                    </a:lnTo>
                    <a:lnTo>
                      <a:pt x="0" y="10"/>
                    </a:lnTo>
                    <a:lnTo>
                      <a:pt x="0" y="3"/>
                    </a:lnTo>
                    <a:lnTo>
                      <a:pt x="0" y="3"/>
                    </a:lnTo>
                    <a:lnTo>
                      <a:pt x="0" y="3"/>
                    </a:lnTo>
                    <a:lnTo>
                      <a:pt x="0" y="3"/>
                    </a:lnTo>
                    <a:lnTo>
                      <a:pt x="0" y="3"/>
                    </a:lnTo>
                    <a:lnTo>
                      <a:pt x="0" y="3"/>
                    </a:lnTo>
                    <a:lnTo>
                      <a:pt x="0" y="3"/>
                    </a:lnTo>
                    <a:lnTo>
                      <a:pt x="0" y="3"/>
                    </a:lnTo>
                    <a:lnTo>
                      <a:pt x="0" y="3"/>
                    </a:lnTo>
                    <a:lnTo>
                      <a:pt x="0" y="3"/>
                    </a:lnTo>
                    <a:lnTo>
                      <a:pt x="1" y="3"/>
                    </a:lnTo>
                    <a:lnTo>
                      <a:pt x="1" y="3"/>
                    </a:lnTo>
                    <a:lnTo>
                      <a:pt x="3" y="3"/>
                    </a:lnTo>
                    <a:lnTo>
                      <a:pt x="3" y="3"/>
                    </a:lnTo>
                    <a:lnTo>
                      <a:pt x="4" y="3"/>
                    </a:lnTo>
                    <a:lnTo>
                      <a:pt x="4" y="3"/>
                    </a:lnTo>
                    <a:lnTo>
                      <a:pt x="6" y="1"/>
                    </a:lnTo>
                    <a:lnTo>
                      <a:pt x="6" y="1"/>
                    </a:lnTo>
                    <a:lnTo>
                      <a:pt x="9" y="1"/>
                    </a:lnTo>
                    <a:lnTo>
                      <a:pt x="9" y="1"/>
                    </a:lnTo>
                    <a:lnTo>
                      <a:pt x="9" y="1"/>
                    </a:lnTo>
                    <a:lnTo>
                      <a:pt x="9" y="1"/>
                    </a:lnTo>
                    <a:lnTo>
                      <a:pt x="16" y="0"/>
                    </a:lnTo>
                    <a:lnTo>
                      <a:pt x="16" y="0"/>
                    </a:lnTo>
                    <a:lnTo>
                      <a:pt x="16" y="0"/>
                    </a:lnTo>
                    <a:lnTo>
                      <a:pt x="16" y="0"/>
                    </a:lnTo>
                    <a:lnTo>
                      <a:pt x="17" y="0"/>
                    </a:lnTo>
                    <a:lnTo>
                      <a:pt x="17" y="0"/>
                    </a:lnTo>
                    <a:lnTo>
                      <a:pt x="17" y="0"/>
                    </a:lnTo>
                    <a:lnTo>
                      <a:pt x="17" y="0"/>
                    </a:lnTo>
                    <a:lnTo>
                      <a:pt x="19" y="4"/>
                    </a:lnTo>
                    <a:lnTo>
                      <a:pt x="19" y="4"/>
                    </a:lnTo>
                    <a:lnTo>
                      <a:pt x="20" y="9"/>
                    </a:lnTo>
                    <a:lnTo>
                      <a:pt x="20" y="9"/>
                    </a:lnTo>
                    <a:lnTo>
                      <a:pt x="19" y="10"/>
                    </a:lnTo>
                    <a:lnTo>
                      <a:pt x="19" y="10"/>
                    </a:lnTo>
                    <a:lnTo>
                      <a:pt x="20" y="12"/>
                    </a:lnTo>
                    <a:lnTo>
                      <a:pt x="20" y="12"/>
                    </a:lnTo>
                    <a:lnTo>
                      <a:pt x="22" y="13"/>
                    </a:lnTo>
                    <a:lnTo>
                      <a:pt x="22" y="13"/>
                    </a:lnTo>
                    <a:lnTo>
                      <a:pt x="23" y="16"/>
                    </a:lnTo>
                    <a:lnTo>
                      <a:pt x="23" y="16"/>
                    </a:lnTo>
                    <a:lnTo>
                      <a:pt x="17" y="26"/>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28" name="Freeform 428"/>
              <p:cNvSpPr>
                <a:spLocks/>
              </p:cNvSpPr>
              <p:nvPr/>
            </p:nvSpPr>
            <p:spPr bwMode="auto">
              <a:xfrm>
                <a:off x="3395" y="2565"/>
                <a:ext cx="23" cy="26"/>
              </a:xfrm>
              <a:custGeom>
                <a:avLst/>
                <a:gdLst>
                  <a:gd name="T0" fmla="*/ 17 w 23"/>
                  <a:gd name="T1" fmla="*/ 26 h 26"/>
                  <a:gd name="T2" fmla="*/ 17 w 23"/>
                  <a:gd name="T3" fmla="*/ 26 h 26"/>
                  <a:gd name="T4" fmla="*/ 9 w 23"/>
                  <a:gd name="T5" fmla="*/ 23 h 26"/>
                  <a:gd name="T6" fmla="*/ 4 w 23"/>
                  <a:gd name="T7" fmla="*/ 20 h 26"/>
                  <a:gd name="T8" fmla="*/ 3 w 23"/>
                  <a:gd name="T9" fmla="*/ 17 h 26"/>
                  <a:gd name="T10" fmla="*/ 3 w 23"/>
                  <a:gd name="T11" fmla="*/ 17 h 26"/>
                  <a:gd name="T12" fmla="*/ 0 w 23"/>
                  <a:gd name="T13" fmla="*/ 10 h 26"/>
                  <a:gd name="T14" fmla="*/ 0 w 23"/>
                  <a:gd name="T15" fmla="*/ 3 h 26"/>
                  <a:gd name="T16" fmla="*/ 0 w 23"/>
                  <a:gd name="T17" fmla="*/ 3 h 26"/>
                  <a:gd name="T18" fmla="*/ 0 w 23"/>
                  <a:gd name="T19" fmla="*/ 3 h 26"/>
                  <a:gd name="T20" fmla="*/ 0 w 23"/>
                  <a:gd name="T21" fmla="*/ 3 h 26"/>
                  <a:gd name="T22" fmla="*/ 0 w 23"/>
                  <a:gd name="T23" fmla="*/ 3 h 26"/>
                  <a:gd name="T24" fmla="*/ 0 w 23"/>
                  <a:gd name="T25" fmla="*/ 3 h 26"/>
                  <a:gd name="T26" fmla="*/ 0 w 23"/>
                  <a:gd name="T27" fmla="*/ 3 h 26"/>
                  <a:gd name="T28" fmla="*/ 0 w 23"/>
                  <a:gd name="T29" fmla="*/ 3 h 26"/>
                  <a:gd name="T30" fmla="*/ 0 w 23"/>
                  <a:gd name="T31" fmla="*/ 3 h 26"/>
                  <a:gd name="T32" fmla="*/ 0 w 23"/>
                  <a:gd name="T33" fmla="*/ 3 h 26"/>
                  <a:gd name="T34" fmla="*/ 1 w 23"/>
                  <a:gd name="T35" fmla="*/ 3 h 26"/>
                  <a:gd name="T36" fmla="*/ 1 w 23"/>
                  <a:gd name="T37" fmla="*/ 3 h 26"/>
                  <a:gd name="T38" fmla="*/ 3 w 23"/>
                  <a:gd name="T39" fmla="*/ 3 h 26"/>
                  <a:gd name="T40" fmla="*/ 3 w 23"/>
                  <a:gd name="T41" fmla="*/ 3 h 26"/>
                  <a:gd name="T42" fmla="*/ 4 w 23"/>
                  <a:gd name="T43" fmla="*/ 3 h 26"/>
                  <a:gd name="T44" fmla="*/ 4 w 23"/>
                  <a:gd name="T45" fmla="*/ 3 h 26"/>
                  <a:gd name="T46" fmla="*/ 6 w 23"/>
                  <a:gd name="T47" fmla="*/ 1 h 26"/>
                  <a:gd name="T48" fmla="*/ 6 w 23"/>
                  <a:gd name="T49" fmla="*/ 1 h 26"/>
                  <a:gd name="T50" fmla="*/ 9 w 23"/>
                  <a:gd name="T51" fmla="*/ 1 h 26"/>
                  <a:gd name="T52" fmla="*/ 9 w 23"/>
                  <a:gd name="T53" fmla="*/ 1 h 26"/>
                  <a:gd name="T54" fmla="*/ 9 w 23"/>
                  <a:gd name="T55" fmla="*/ 1 h 26"/>
                  <a:gd name="T56" fmla="*/ 9 w 23"/>
                  <a:gd name="T57" fmla="*/ 1 h 26"/>
                  <a:gd name="T58" fmla="*/ 16 w 23"/>
                  <a:gd name="T59" fmla="*/ 0 h 26"/>
                  <a:gd name="T60" fmla="*/ 16 w 23"/>
                  <a:gd name="T61" fmla="*/ 0 h 26"/>
                  <a:gd name="T62" fmla="*/ 16 w 23"/>
                  <a:gd name="T63" fmla="*/ 0 h 26"/>
                  <a:gd name="T64" fmla="*/ 16 w 23"/>
                  <a:gd name="T65" fmla="*/ 0 h 26"/>
                  <a:gd name="T66" fmla="*/ 17 w 23"/>
                  <a:gd name="T67" fmla="*/ 0 h 26"/>
                  <a:gd name="T68" fmla="*/ 17 w 23"/>
                  <a:gd name="T69" fmla="*/ 0 h 26"/>
                  <a:gd name="T70" fmla="*/ 17 w 23"/>
                  <a:gd name="T71" fmla="*/ 0 h 26"/>
                  <a:gd name="T72" fmla="*/ 17 w 23"/>
                  <a:gd name="T73" fmla="*/ 0 h 26"/>
                  <a:gd name="T74" fmla="*/ 19 w 23"/>
                  <a:gd name="T75" fmla="*/ 4 h 26"/>
                  <a:gd name="T76" fmla="*/ 19 w 23"/>
                  <a:gd name="T77" fmla="*/ 4 h 26"/>
                  <a:gd name="T78" fmla="*/ 20 w 23"/>
                  <a:gd name="T79" fmla="*/ 9 h 26"/>
                  <a:gd name="T80" fmla="*/ 20 w 23"/>
                  <a:gd name="T81" fmla="*/ 9 h 26"/>
                  <a:gd name="T82" fmla="*/ 19 w 23"/>
                  <a:gd name="T83" fmla="*/ 10 h 26"/>
                  <a:gd name="T84" fmla="*/ 19 w 23"/>
                  <a:gd name="T85" fmla="*/ 10 h 26"/>
                  <a:gd name="T86" fmla="*/ 20 w 23"/>
                  <a:gd name="T87" fmla="*/ 12 h 26"/>
                  <a:gd name="T88" fmla="*/ 20 w 23"/>
                  <a:gd name="T89" fmla="*/ 12 h 26"/>
                  <a:gd name="T90" fmla="*/ 22 w 23"/>
                  <a:gd name="T91" fmla="*/ 13 h 26"/>
                  <a:gd name="T92" fmla="*/ 22 w 23"/>
                  <a:gd name="T93" fmla="*/ 13 h 26"/>
                  <a:gd name="T94" fmla="*/ 23 w 23"/>
                  <a:gd name="T95" fmla="*/ 16 h 26"/>
                  <a:gd name="T96" fmla="*/ 23 w 23"/>
                  <a:gd name="T97" fmla="*/ 16 h 26"/>
                  <a:gd name="T98" fmla="*/ 17 w 23"/>
                  <a:gd name="T9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 h="26">
                    <a:moveTo>
                      <a:pt x="17" y="26"/>
                    </a:moveTo>
                    <a:lnTo>
                      <a:pt x="17" y="26"/>
                    </a:lnTo>
                    <a:lnTo>
                      <a:pt x="9" y="23"/>
                    </a:lnTo>
                    <a:lnTo>
                      <a:pt x="4" y="20"/>
                    </a:lnTo>
                    <a:lnTo>
                      <a:pt x="3" y="17"/>
                    </a:lnTo>
                    <a:lnTo>
                      <a:pt x="3" y="17"/>
                    </a:lnTo>
                    <a:lnTo>
                      <a:pt x="0" y="10"/>
                    </a:lnTo>
                    <a:lnTo>
                      <a:pt x="0" y="3"/>
                    </a:lnTo>
                    <a:lnTo>
                      <a:pt x="0" y="3"/>
                    </a:lnTo>
                    <a:lnTo>
                      <a:pt x="0" y="3"/>
                    </a:lnTo>
                    <a:lnTo>
                      <a:pt x="0" y="3"/>
                    </a:lnTo>
                    <a:lnTo>
                      <a:pt x="0" y="3"/>
                    </a:lnTo>
                    <a:lnTo>
                      <a:pt x="0" y="3"/>
                    </a:lnTo>
                    <a:lnTo>
                      <a:pt x="0" y="3"/>
                    </a:lnTo>
                    <a:lnTo>
                      <a:pt x="0" y="3"/>
                    </a:lnTo>
                    <a:lnTo>
                      <a:pt x="0" y="3"/>
                    </a:lnTo>
                    <a:lnTo>
                      <a:pt x="0" y="3"/>
                    </a:lnTo>
                    <a:lnTo>
                      <a:pt x="1" y="3"/>
                    </a:lnTo>
                    <a:lnTo>
                      <a:pt x="1" y="3"/>
                    </a:lnTo>
                    <a:lnTo>
                      <a:pt x="3" y="3"/>
                    </a:lnTo>
                    <a:lnTo>
                      <a:pt x="3" y="3"/>
                    </a:lnTo>
                    <a:lnTo>
                      <a:pt x="4" y="3"/>
                    </a:lnTo>
                    <a:lnTo>
                      <a:pt x="4" y="3"/>
                    </a:lnTo>
                    <a:lnTo>
                      <a:pt x="6" y="1"/>
                    </a:lnTo>
                    <a:lnTo>
                      <a:pt x="6" y="1"/>
                    </a:lnTo>
                    <a:lnTo>
                      <a:pt x="9" y="1"/>
                    </a:lnTo>
                    <a:lnTo>
                      <a:pt x="9" y="1"/>
                    </a:lnTo>
                    <a:lnTo>
                      <a:pt x="9" y="1"/>
                    </a:lnTo>
                    <a:lnTo>
                      <a:pt x="9" y="1"/>
                    </a:lnTo>
                    <a:lnTo>
                      <a:pt x="16" y="0"/>
                    </a:lnTo>
                    <a:lnTo>
                      <a:pt x="16" y="0"/>
                    </a:lnTo>
                    <a:lnTo>
                      <a:pt x="16" y="0"/>
                    </a:lnTo>
                    <a:lnTo>
                      <a:pt x="16" y="0"/>
                    </a:lnTo>
                    <a:lnTo>
                      <a:pt x="17" y="0"/>
                    </a:lnTo>
                    <a:lnTo>
                      <a:pt x="17" y="0"/>
                    </a:lnTo>
                    <a:lnTo>
                      <a:pt x="17" y="0"/>
                    </a:lnTo>
                    <a:lnTo>
                      <a:pt x="17" y="0"/>
                    </a:lnTo>
                    <a:lnTo>
                      <a:pt x="19" y="4"/>
                    </a:lnTo>
                    <a:lnTo>
                      <a:pt x="19" y="4"/>
                    </a:lnTo>
                    <a:lnTo>
                      <a:pt x="20" y="9"/>
                    </a:lnTo>
                    <a:lnTo>
                      <a:pt x="20" y="9"/>
                    </a:lnTo>
                    <a:lnTo>
                      <a:pt x="19" y="10"/>
                    </a:lnTo>
                    <a:lnTo>
                      <a:pt x="19" y="10"/>
                    </a:lnTo>
                    <a:lnTo>
                      <a:pt x="20" y="12"/>
                    </a:lnTo>
                    <a:lnTo>
                      <a:pt x="20" y="12"/>
                    </a:lnTo>
                    <a:lnTo>
                      <a:pt x="22" y="13"/>
                    </a:lnTo>
                    <a:lnTo>
                      <a:pt x="22" y="13"/>
                    </a:lnTo>
                    <a:lnTo>
                      <a:pt x="23" y="16"/>
                    </a:lnTo>
                    <a:lnTo>
                      <a:pt x="23" y="16"/>
                    </a:lnTo>
                    <a:lnTo>
                      <a:pt x="17"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29" name="Freeform 429"/>
              <p:cNvSpPr>
                <a:spLocks noEditPoints="1"/>
              </p:cNvSpPr>
              <p:nvPr/>
            </p:nvSpPr>
            <p:spPr bwMode="auto">
              <a:xfrm>
                <a:off x="3395" y="2565"/>
                <a:ext cx="17" cy="3"/>
              </a:xfrm>
              <a:custGeom>
                <a:avLst/>
                <a:gdLst>
                  <a:gd name="T0" fmla="*/ 17 w 17"/>
                  <a:gd name="T1" fmla="*/ 0 h 3"/>
                  <a:gd name="T2" fmla="*/ 17 w 17"/>
                  <a:gd name="T3" fmla="*/ 0 h 3"/>
                  <a:gd name="T4" fmla="*/ 17 w 17"/>
                  <a:gd name="T5" fmla="*/ 0 h 3"/>
                  <a:gd name="T6" fmla="*/ 17 w 17"/>
                  <a:gd name="T7" fmla="*/ 0 h 3"/>
                  <a:gd name="T8" fmla="*/ 17 w 17"/>
                  <a:gd name="T9" fmla="*/ 0 h 3"/>
                  <a:gd name="T10" fmla="*/ 16 w 17"/>
                  <a:gd name="T11" fmla="*/ 0 h 3"/>
                  <a:gd name="T12" fmla="*/ 16 w 17"/>
                  <a:gd name="T13" fmla="*/ 0 h 3"/>
                  <a:gd name="T14" fmla="*/ 16 w 17"/>
                  <a:gd name="T15" fmla="*/ 0 h 3"/>
                  <a:gd name="T16" fmla="*/ 16 w 17"/>
                  <a:gd name="T17" fmla="*/ 0 h 3"/>
                  <a:gd name="T18" fmla="*/ 16 w 17"/>
                  <a:gd name="T19" fmla="*/ 0 h 3"/>
                  <a:gd name="T20" fmla="*/ 9 w 17"/>
                  <a:gd name="T21" fmla="*/ 1 h 3"/>
                  <a:gd name="T22" fmla="*/ 9 w 17"/>
                  <a:gd name="T23" fmla="*/ 1 h 3"/>
                  <a:gd name="T24" fmla="*/ 9 w 17"/>
                  <a:gd name="T25" fmla="*/ 1 h 3"/>
                  <a:gd name="T26" fmla="*/ 9 w 17"/>
                  <a:gd name="T27" fmla="*/ 1 h 3"/>
                  <a:gd name="T28" fmla="*/ 9 w 17"/>
                  <a:gd name="T29" fmla="*/ 1 h 3"/>
                  <a:gd name="T30" fmla="*/ 6 w 17"/>
                  <a:gd name="T31" fmla="*/ 1 h 3"/>
                  <a:gd name="T32" fmla="*/ 6 w 17"/>
                  <a:gd name="T33" fmla="*/ 1 h 3"/>
                  <a:gd name="T34" fmla="*/ 6 w 17"/>
                  <a:gd name="T35" fmla="*/ 1 h 3"/>
                  <a:gd name="T36" fmla="*/ 0 w 17"/>
                  <a:gd name="T37" fmla="*/ 3 h 3"/>
                  <a:gd name="T38" fmla="*/ 0 w 17"/>
                  <a:gd name="T39" fmla="*/ 3 h 3"/>
                  <a:gd name="T40" fmla="*/ 0 w 17"/>
                  <a:gd name="T41" fmla="*/ 3 h 3"/>
                  <a:gd name="T42" fmla="*/ 0 w 17"/>
                  <a:gd name="T43" fmla="*/ 3 h 3"/>
                  <a:gd name="T44" fmla="*/ 0 w 17"/>
                  <a:gd name="T45" fmla="*/ 3 h 3"/>
                  <a:gd name="T46" fmla="*/ 0 w 17"/>
                  <a:gd name="T47" fmla="*/ 3 h 3"/>
                  <a:gd name="T48" fmla="*/ 0 w 17"/>
                  <a:gd name="T49" fmla="*/ 3 h 3"/>
                  <a:gd name="T50" fmla="*/ 0 w 17"/>
                  <a:gd name="T51" fmla="*/ 3 h 3"/>
                  <a:gd name="T52" fmla="*/ 0 w 17"/>
                  <a:gd name="T53" fmla="*/ 3 h 3"/>
                  <a:gd name="T54" fmla="*/ 0 w 17"/>
                  <a:gd name="T55" fmla="*/ 3 h 3"/>
                  <a:gd name="T56" fmla="*/ 3 w 17"/>
                  <a:gd name="T57" fmla="*/ 3 h 3"/>
                  <a:gd name="T58" fmla="*/ 3 w 17"/>
                  <a:gd name="T59" fmla="*/ 3 h 3"/>
                  <a:gd name="T60" fmla="*/ 4 w 17"/>
                  <a:gd name="T61" fmla="*/ 3 h 3"/>
                  <a:gd name="T62" fmla="*/ 4 w 17"/>
                  <a:gd name="T63" fmla="*/ 3 h 3"/>
                  <a:gd name="T64" fmla="*/ 3 w 17"/>
                  <a:gd name="T65" fmla="*/ 3 h 3"/>
                  <a:gd name="T66" fmla="*/ 1 w 17"/>
                  <a:gd name="T67" fmla="*/ 3 h 3"/>
                  <a:gd name="T68" fmla="*/ 1 w 17"/>
                  <a:gd name="T69" fmla="*/ 3 h 3"/>
                  <a:gd name="T70" fmla="*/ 1 w 17"/>
                  <a:gd name="T7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 h="3">
                    <a:moveTo>
                      <a:pt x="17" y="0"/>
                    </a:moveTo>
                    <a:lnTo>
                      <a:pt x="17" y="0"/>
                    </a:lnTo>
                    <a:lnTo>
                      <a:pt x="17" y="0"/>
                    </a:lnTo>
                    <a:lnTo>
                      <a:pt x="17" y="0"/>
                    </a:lnTo>
                    <a:lnTo>
                      <a:pt x="17" y="0"/>
                    </a:lnTo>
                    <a:close/>
                    <a:moveTo>
                      <a:pt x="16" y="0"/>
                    </a:moveTo>
                    <a:lnTo>
                      <a:pt x="16" y="0"/>
                    </a:lnTo>
                    <a:lnTo>
                      <a:pt x="16" y="0"/>
                    </a:lnTo>
                    <a:lnTo>
                      <a:pt x="16" y="0"/>
                    </a:lnTo>
                    <a:lnTo>
                      <a:pt x="16" y="0"/>
                    </a:lnTo>
                    <a:close/>
                    <a:moveTo>
                      <a:pt x="9" y="1"/>
                    </a:moveTo>
                    <a:lnTo>
                      <a:pt x="9" y="1"/>
                    </a:lnTo>
                    <a:lnTo>
                      <a:pt x="9" y="1"/>
                    </a:lnTo>
                    <a:lnTo>
                      <a:pt x="9" y="1"/>
                    </a:lnTo>
                    <a:lnTo>
                      <a:pt x="9" y="1"/>
                    </a:lnTo>
                    <a:close/>
                    <a:moveTo>
                      <a:pt x="6" y="1"/>
                    </a:moveTo>
                    <a:lnTo>
                      <a:pt x="6" y="1"/>
                    </a:lnTo>
                    <a:lnTo>
                      <a:pt x="6" y="1"/>
                    </a:lnTo>
                    <a:close/>
                    <a:moveTo>
                      <a:pt x="0" y="3"/>
                    </a:moveTo>
                    <a:lnTo>
                      <a:pt x="0" y="3"/>
                    </a:lnTo>
                    <a:lnTo>
                      <a:pt x="0" y="3"/>
                    </a:lnTo>
                    <a:lnTo>
                      <a:pt x="0" y="3"/>
                    </a:lnTo>
                    <a:lnTo>
                      <a:pt x="0" y="3"/>
                    </a:lnTo>
                    <a:close/>
                    <a:moveTo>
                      <a:pt x="0" y="3"/>
                    </a:moveTo>
                    <a:lnTo>
                      <a:pt x="0" y="3"/>
                    </a:lnTo>
                    <a:lnTo>
                      <a:pt x="0" y="3"/>
                    </a:lnTo>
                    <a:lnTo>
                      <a:pt x="0" y="3"/>
                    </a:lnTo>
                    <a:lnTo>
                      <a:pt x="0" y="3"/>
                    </a:lnTo>
                    <a:close/>
                    <a:moveTo>
                      <a:pt x="3" y="3"/>
                    </a:moveTo>
                    <a:lnTo>
                      <a:pt x="3" y="3"/>
                    </a:lnTo>
                    <a:lnTo>
                      <a:pt x="4" y="3"/>
                    </a:lnTo>
                    <a:lnTo>
                      <a:pt x="4" y="3"/>
                    </a:lnTo>
                    <a:lnTo>
                      <a:pt x="3" y="3"/>
                    </a:lnTo>
                    <a:close/>
                    <a:moveTo>
                      <a:pt x="1" y="3"/>
                    </a:moveTo>
                    <a:lnTo>
                      <a:pt x="1" y="3"/>
                    </a:lnTo>
                    <a:lnTo>
                      <a:pt x="1" y="3"/>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30" name="Rectangle 430"/>
              <p:cNvSpPr>
                <a:spLocks noChangeArrowheads="1"/>
              </p:cNvSpPr>
              <p:nvPr/>
            </p:nvSpPr>
            <p:spPr bwMode="auto">
              <a:xfrm>
                <a:off x="3412" y="256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31" name="Rectangle 431"/>
              <p:cNvSpPr>
                <a:spLocks noChangeArrowheads="1"/>
              </p:cNvSpPr>
              <p:nvPr/>
            </p:nvSpPr>
            <p:spPr bwMode="auto">
              <a:xfrm>
                <a:off x="3411" y="256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32" name="Rectangle 432"/>
              <p:cNvSpPr>
                <a:spLocks noChangeArrowheads="1"/>
              </p:cNvSpPr>
              <p:nvPr/>
            </p:nvSpPr>
            <p:spPr bwMode="auto">
              <a:xfrm>
                <a:off x="3404" y="2566"/>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33" name="Freeform 433"/>
              <p:cNvSpPr>
                <a:spLocks/>
              </p:cNvSpPr>
              <p:nvPr/>
            </p:nvSpPr>
            <p:spPr bwMode="auto">
              <a:xfrm>
                <a:off x="3401" y="256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34" name="Rectangle 434"/>
              <p:cNvSpPr>
                <a:spLocks noChangeArrowheads="1"/>
              </p:cNvSpPr>
              <p:nvPr/>
            </p:nvSpPr>
            <p:spPr bwMode="auto">
              <a:xfrm>
                <a:off x="3395" y="2568"/>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35" name="Rectangle 435"/>
              <p:cNvSpPr>
                <a:spLocks noChangeArrowheads="1"/>
              </p:cNvSpPr>
              <p:nvPr/>
            </p:nvSpPr>
            <p:spPr bwMode="auto">
              <a:xfrm>
                <a:off x="3395" y="2568"/>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36" name="Rectangle 436"/>
              <p:cNvSpPr>
                <a:spLocks noChangeArrowheads="1"/>
              </p:cNvSpPr>
              <p:nvPr/>
            </p:nvSpPr>
            <p:spPr bwMode="auto">
              <a:xfrm>
                <a:off x="3398" y="2568"/>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37" name="Freeform 437"/>
              <p:cNvSpPr>
                <a:spLocks/>
              </p:cNvSpPr>
              <p:nvPr/>
            </p:nvSpPr>
            <p:spPr bwMode="auto">
              <a:xfrm>
                <a:off x="3396" y="2568"/>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38" name="Freeform 438"/>
              <p:cNvSpPr>
                <a:spLocks/>
              </p:cNvSpPr>
              <p:nvPr/>
            </p:nvSpPr>
            <p:spPr bwMode="auto">
              <a:xfrm>
                <a:off x="3254" y="2530"/>
                <a:ext cx="235" cy="177"/>
              </a:xfrm>
              <a:custGeom>
                <a:avLst/>
                <a:gdLst>
                  <a:gd name="T0" fmla="*/ 84 w 235"/>
                  <a:gd name="T1" fmla="*/ 175 h 177"/>
                  <a:gd name="T2" fmla="*/ 60 w 235"/>
                  <a:gd name="T3" fmla="*/ 165 h 177"/>
                  <a:gd name="T4" fmla="*/ 51 w 235"/>
                  <a:gd name="T5" fmla="*/ 164 h 177"/>
                  <a:gd name="T6" fmla="*/ 29 w 235"/>
                  <a:gd name="T7" fmla="*/ 139 h 177"/>
                  <a:gd name="T8" fmla="*/ 15 w 235"/>
                  <a:gd name="T9" fmla="*/ 120 h 177"/>
                  <a:gd name="T10" fmla="*/ 16 w 235"/>
                  <a:gd name="T11" fmla="*/ 100 h 177"/>
                  <a:gd name="T12" fmla="*/ 21 w 235"/>
                  <a:gd name="T13" fmla="*/ 74 h 177"/>
                  <a:gd name="T14" fmla="*/ 25 w 235"/>
                  <a:gd name="T15" fmla="*/ 68 h 177"/>
                  <a:gd name="T16" fmla="*/ 31 w 235"/>
                  <a:gd name="T17" fmla="*/ 54 h 177"/>
                  <a:gd name="T18" fmla="*/ 38 w 235"/>
                  <a:gd name="T19" fmla="*/ 44 h 177"/>
                  <a:gd name="T20" fmla="*/ 50 w 235"/>
                  <a:gd name="T21" fmla="*/ 32 h 177"/>
                  <a:gd name="T22" fmla="*/ 51 w 235"/>
                  <a:gd name="T23" fmla="*/ 31 h 177"/>
                  <a:gd name="T24" fmla="*/ 51 w 235"/>
                  <a:gd name="T25" fmla="*/ 31 h 177"/>
                  <a:gd name="T26" fmla="*/ 51 w 235"/>
                  <a:gd name="T27" fmla="*/ 31 h 177"/>
                  <a:gd name="T28" fmla="*/ 51 w 235"/>
                  <a:gd name="T29" fmla="*/ 31 h 177"/>
                  <a:gd name="T30" fmla="*/ 53 w 235"/>
                  <a:gd name="T31" fmla="*/ 19 h 177"/>
                  <a:gd name="T32" fmla="*/ 66 w 235"/>
                  <a:gd name="T33" fmla="*/ 7 h 177"/>
                  <a:gd name="T34" fmla="*/ 73 w 235"/>
                  <a:gd name="T35" fmla="*/ 5 h 177"/>
                  <a:gd name="T36" fmla="*/ 77 w 235"/>
                  <a:gd name="T37" fmla="*/ 0 h 177"/>
                  <a:gd name="T38" fmla="*/ 77 w 235"/>
                  <a:gd name="T39" fmla="*/ 0 h 177"/>
                  <a:gd name="T40" fmla="*/ 99 w 235"/>
                  <a:gd name="T41" fmla="*/ 10 h 177"/>
                  <a:gd name="T42" fmla="*/ 99 w 235"/>
                  <a:gd name="T43" fmla="*/ 10 h 177"/>
                  <a:gd name="T44" fmla="*/ 99 w 235"/>
                  <a:gd name="T45" fmla="*/ 10 h 177"/>
                  <a:gd name="T46" fmla="*/ 99 w 235"/>
                  <a:gd name="T47" fmla="*/ 10 h 177"/>
                  <a:gd name="T48" fmla="*/ 113 w 235"/>
                  <a:gd name="T49" fmla="*/ 13 h 177"/>
                  <a:gd name="T50" fmla="*/ 126 w 235"/>
                  <a:gd name="T51" fmla="*/ 22 h 177"/>
                  <a:gd name="T52" fmla="*/ 137 w 235"/>
                  <a:gd name="T53" fmla="*/ 36 h 177"/>
                  <a:gd name="T54" fmla="*/ 141 w 235"/>
                  <a:gd name="T55" fmla="*/ 38 h 177"/>
                  <a:gd name="T56" fmla="*/ 144 w 235"/>
                  <a:gd name="T57" fmla="*/ 52 h 177"/>
                  <a:gd name="T58" fmla="*/ 150 w 235"/>
                  <a:gd name="T59" fmla="*/ 58 h 177"/>
                  <a:gd name="T60" fmla="*/ 157 w 235"/>
                  <a:gd name="T61" fmla="*/ 65 h 177"/>
                  <a:gd name="T62" fmla="*/ 157 w 235"/>
                  <a:gd name="T63" fmla="*/ 67 h 177"/>
                  <a:gd name="T64" fmla="*/ 168 w 235"/>
                  <a:gd name="T65" fmla="*/ 81 h 177"/>
                  <a:gd name="T66" fmla="*/ 197 w 235"/>
                  <a:gd name="T67" fmla="*/ 100 h 177"/>
                  <a:gd name="T68" fmla="*/ 235 w 235"/>
                  <a:gd name="T69" fmla="*/ 109 h 177"/>
                  <a:gd name="T70" fmla="*/ 235 w 235"/>
                  <a:gd name="T71" fmla="*/ 109 h 177"/>
                  <a:gd name="T72" fmla="*/ 218 w 235"/>
                  <a:gd name="T73" fmla="*/ 133 h 177"/>
                  <a:gd name="T74" fmla="*/ 192 w 235"/>
                  <a:gd name="T75" fmla="*/ 152 h 177"/>
                  <a:gd name="T76" fmla="*/ 176 w 235"/>
                  <a:gd name="T77" fmla="*/ 158 h 177"/>
                  <a:gd name="T78" fmla="*/ 160 w 235"/>
                  <a:gd name="T79" fmla="*/ 167 h 177"/>
                  <a:gd name="T80" fmla="*/ 150 w 235"/>
                  <a:gd name="T81" fmla="*/ 171 h 177"/>
                  <a:gd name="T82" fmla="*/ 121 w 235"/>
                  <a:gd name="T83" fmla="*/ 167 h 177"/>
                  <a:gd name="T84" fmla="*/ 115 w 235"/>
                  <a:gd name="T85" fmla="*/ 168 h 177"/>
                  <a:gd name="T86" fmla="*/ 106 w 235"/>
                  <a:gd name="T87" fmla="*/ 175 h 177"/>
                  <a:gd name="T88" fmla="*/ 96 w 235"/>
                  <a:gd name="T89"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5" h="177">
                    <a:moveTo>
                      <a:pt x="96" y="177"/>
                    </a:moveTo>
                    <a:lnTo>
                      <a:pt x="96" y="177"/>
                    </a:lnTo>
                    <a:lnTo>
                      <a:pt x="84" y="175"/>
                    </a:lnTo>
                    <a:lnTo>
                      <a:pt x="76" y="173"/>
                    </a:lnTo>
                    <a:lnTo>
                      <a:pt x="60" y="165"/>
                    </a:lnTo>
                    <a:lnTo>
                      <a:pt x="60" y="165"/>
                    </a:lnTo>
                    <a:lnTo>
                      <a:pt x="55" y="164"/>
                    </a:lnTo>
                    <a:lnTo>
                      <a:pt x="51" y="164"/>
                    </a:lnTo>
                    <a:lnTo>
                      <a:pt x="51" y="164"/>
                    </a:lnTo>
                    <a:lnTo>
                      <a:pt x="44" y="164"/>
                    </a:lnTo>
                    <a:lnTo>
                      <a:pt x="44" y="164"/>
                    </a:lnTo>
                    <a:lnTo>
                      <a:pt x="29" y="139"/>
                    </a:lnTo>
                    <a:lnTo>
                      <a:pt x="21" y="128"/>
                    </a:lnTo>
                    <a:lnTo>
                      <a:pt x="15" y="120"/>
                    </a:lnTo>
                    <a:lnTo>
                      <a:pt x="15" y="120"/>
                    </a:lnTo>
                    <a:lnTo>
                      <a:pt x="0" y="112"/>
                    </a:lnTo>
                    <a:lnTo>
                      <a:pt x="0" y="100"/>
                    </a:lnTo>
                    <a:lnTo>
                      <a:pt x="16" y="100"/>
                    </a:lnTo>
                    <a:lnTo>
                      <a:pt x="16" y="100"/>
                    </a:lnTo>
                    <a:lnTo>
                      <a:pt x="18" y="86"/>
                    </a:lnTo>
                    <a:lnTo>
                      <a:pt x="21" y="74"/>
                    </a:lnTo>
                    <a:lnTo>
                      <a:pt x="22" y="70"/>
                    </a:lnTo>
                    <a:lnTo>
                      <a:pt x="25" y="68"/>
                    </a:lnTo>
                    <a:lnTo>
                      <a:pt x="25" y="68"/>
                    </a:lnTo>
                    <a:lnTo>
                      <a:pt x="28" y="64"/>
                    </a:lnTo>
                    <a:lnTo>
                      <a:pt x="29" y="58"/>
                    </a:lnTo>
                    <a:lnTo>
                      <a:pt x="31" y="54"/>
                    </a:lnTo>
                    <a:lnTo>
                      <a:pt x="34" y="48"/>
                    </a:lnTo>
                    <a:lnTo>
                      <a:pt x="34" y="48"/>
                    </a:lnTo>
                    <a:lnTo>
                      <a:pt x="38" y="44"/>
                    </a:lnTo>
                    <a:lnTo>
                      <a:pt x="42" y="41"/>
                    </a:lnTo>
                    <a:lnTo>
                      <a:pt x="47" y="36"/>
                    </a:lnTo>
                    <a:lnTo>
                      <a:pt x="50" y="32"/>
                    </a:lnTo>
                    <a:lnTo>
                      <a:pt x="50" y="32"/>
                    </a:lnTo>
                    <a:lnTo>
                      <a:pt x="51" y="31"/>
                    </a:lnTo>
                    <a:lnTo>
                      <a:pt x="51" y="31"/>
                    </a:lnTo>
                    <a:lnTo>
                      <a:pt x="51" y="31"/>
                    </a:lnTo>
                    <a:lnTo>
                      <a:pt x="51" y="31"/>
                    </a:lnTo>
                    <a:lnTo>
                      <a:pt x="51" y="31"/>
                    </a:lnTo>
                    <a:lnTo>
                      <a:pt x="51" y="31"/>
                    </a:lnTo>
                    <a:lnTo>
                      <a:pt x="51" y="31"/>
                    </a:lnTo>
                    <a:lnTo>
                      <a:pt x="51" y="31"/>
                    </a:lnTo>
                    <a:lnTo>
                      <a:pt x="51" y="31"/>
                    </a:lnTo>
                    <a:lnTo>
                      <a:pt x="51" y="31"/>
                    </a:lnTo>
                    <a:lnTo>
                      <a:pt x="51" y="31"/>
                    </a:lnTo>
                    <a:lnTo>
                      <a:pt x="51" y="31"/>
                    </a:lnTo>
                    <a:lnTo>
                      <a:pt x="51" y="31"/>
                    </a:lnTo>
                    <a:lnTo>
                      <a:pt x="53" y="19"/>
                    </a:lnTo>
                    <a:lnTo>
                      <a:pt x="54" y="6"/>
                    </a:lnTo>
                    <a:lnTo>
                      <a:pt x="54" y="6"/>
                    </a:lnTo>
                    <a:lnTo>
                      <a:pt x="66" y="7"/>
                    </a:lnTo>
                    <a:lnTo>
                      <a:pt x="66" y="7"/>
                    </a:lnTo>
                    <a:lnTo>
                      <a:pt x="70" y="6"/>
                    </a:lnTo>
                    <a:lnTo>
                      <a:pt x="73" y="5"/>
                    </a:lnTo>
                    <a:lnTo>
                      <a:pt x="76" y="0"/>
                    </a:lnTo>
                    <a:lnTo>
                      <a:pt x="76" y="0"/>
                    </a:lnTo>
                    <a:lnTo>
                      <a:pt x="77" y="0"/>
                    </a:lnTo>
                    <a:lnTo>
                      <a:pt x="77" y="0"/>
                    </a:lnTo>
                    <a:lnTo>
                      <a:pt x="77" y="0"/>
                    </a:lnTo>
                    <a:lnTo>
                      <a:pt x="77" y="0"/>
                    </a:lnTo>
                    <a:lnTo>
                      <a:pt x="81" y="2"/>
                    </a:lnTo>
                    <a:lnTo>
                      <a:pt x="87" y="5"/>
                    </a:lnTo>
                    <a:lnTo>
                      <a:pt x="99" y="10"/>
                    </a:lnTo>
                    <a:lnTo>
                      <a:pt x="99" y="10"/>
                    </a:lnTo>
                    <a:lnTo>
                      <a:pt x="99" y="10"/>
                    </a:lnTo>
                    <a:lnTo>
                      <a:pt x="99" y="10"/>
                    </a:lnTo>
                    <a:lnTo>
                      <a:pt x="99" y="10"/>
                    </a:lnTo>
                    <a:lnTo>
                      <a:pt x="99" y="10"/>
                    </a:lnTo>
                    <a:lnTo>
                      <a:pt x="99" y="10"/>
                    </a:lnTo>
                    <a:lnTo>
                      <a:pt x="99" y="10"/>
                    </a:lnTo>
                    <a:lnTo>
                      <a:pt x="99" y="10"/>
                    </a:lnTo>
                    <a:lnTo>
                      <a:pt x="99" y="10"/>
                    </a:lnTo>
                    <a:lnTo>
                      <a:pt x="99" y="10"/>
                    </a:lnTo>
                    <a:lnTo>
                      <a:pt x="99" y="10"/>
                    </a:lnTo>
                    <a:lnTo>
                      <a:pt x="113" y="13"/>
                    </a:lnTo>
                    <a:lnTo>
                      <a:pt x="121" y="16"/>
                    </a:lnTo>
                    <a:lnTo>
                      <a:pt x="124" y="19"/>
                    </a:lnTo>
                    <a:lnTo>
                      <a:pt x="126" y="22"/>
                    </a:lnTo>
                    <a:lnTo>
                      <a:pt x="126" y="22"/>
                    </a:lnTo>
                    <a:lnTo>
                      <a:pt x="134" y="33"/>
                    </a:lnTo>
                    <a:lnTo>
                      <a:pt x="137" y="36"/>
                    </a:lnTo>
                    <a:lnTo>
                      <a:pt x="141" y="38"/>
                    </a:lnTo>
                    <a:lnTo>
                      <a:pt x="141" y="38"/>
                    </a:lnTo>
                    <a:lnTo>
                      <a:pt x="141" y="38"/>
                    </a:lnTo>
                    <a:lnTo>
                      <a:pt x="141" y="38"/>
                    </a:lnTo>
                    <a:lnTo>
                      <a:pt x="141" y="45"/>
                    </a:lnTo>
                    <a:lnTo>
                      <a:pt x="144" y="52"/>
                    </a:lnTo>
                    <a:lnTo>
                      <a:pt x="144" y="52"/>
                    </a:lnTo>
                    <a:lnTo>
                      <a:pt x="145" y="55"/>
                    </a:lnTo>
                    <a:lnTo>
                      <a:pt x="150" y="58"/>
                    </a:lnTo>
                    <a:lnTo>
                      <a:pt x="158" y="61"/>
                    </a:lnTo>
                    <a:lnTo>
                      <a:pt x="158" y="61"/>
                    </a:lnTo>
                    <a:lnTo>
                      <a:pt x="157" y="65"/>
                    </a:lnTo>
                    <a:lnTo>
                      <a:pt x="157" y="65"/>
                    </a:lnTo>
                    <a:lnTo>
                      <a:pt x="157" y="67"/>
                    </a:lnTo>
                    <a:lnTo>
                      <a:pt x="157" y="67"/>
                    </a:lnTo>
                    <a:lnTo>
                      <a:pt x="157" y="71"/>
                    </a:lnTo>
                    <a:lnTo>
                      <a:pt x="160" y="74"/>
                    </a:lnTo>
                    <a:lnTo>
                      <a:pt x="168" y="81"/>
                    </a:lnTo>
                    <a:lnTo>
                      <a:pt x="192" y="96"/>
                    </a:lnTo>
                    <a:lnTo>
                      <a:pt x="192" y="96"/>
                    </a:lnTo>
                    <a:lnTo>
                      <a:pt x="197" y="100"/>
                    </a:lnTo>
                    <a:lnTo>
                      <a:pt x="203" y="102"/>
                    </a:lnTo>
                    <a:lnTo>
                      <a:pt x="216" y="104"/>
                    </a:lnTo>
                    <a:lnTo>
                      <a:pt x="235" y="109"/>
                    </a:lnTo>
                    <a:lnTo>
                      <a:pt x="235" y="109"/>
                    </a:lnTo>
                    <a:lnTo>
                      <a:pt x="235" y="109"/>
                    </a:lnTo>
                    <a:lnTo>
                      <a:pt x="235" y="109"/>
                    </a:lnTo>
                    <a:lnTo>
                      <a:pt x="232" y="116"/>
                    </a:lnTo>
                    <a:lnTo>
                      <a:pt x="225" y="125"/>
                    </a:lnTo>
                    <a:lnTo>
                      <a:pt x="218" y="133"/>
                    </a:lnTo>
                    <a:lnTo>
                      <a:pt x="209" y="141"/>
                    </a:lnTo>
                    <a:lnTo>
                      <a:pt x="209" y="141"/>
                    </a:lnTo>
                    <a:lnTo>
                      <a:pt x="192" y="152"/>
                    </a:lnTo>
                    <a:lnTo>
                      <a:pt x="184" y="157"/>
                    </a:lnTo>
                    <a:lnTo>
                      <a:pt x="176" y="158"/>
                    </a:lnTo>
                    <a:lnTo>
                      <a:pt x="176" y="158"/>
                    </a:lnTo>
                    <a:lnTo>
                      <a:pt x="170" y="160"/>
                    </a:lnTo>
                    <a:lnTo>
                      <a:pt x="164" y="162"/>
                    </a:lnTo>
                    <a:lnTo>
                      <a:pt x="160" y="167"/>
                    </a:lnTo>
                    <a:lnTo>
                      <a:pt x="155" y="170"/>
                    </a:lnTo>
                    <a:lnTo>
                      <a:pt x="155" y="170"/>
                    </a:lnTo>
                    <a:lnTo>
                      <a:pt x="150" y="171"/>
                    </a:lnTo>
                    <a:lnTo>
                      <a:pt x="150" y="171"/>
                    </a:lnTo>
                    <a:lnTo>
                      <a:pt x="135" y="170"/>
                    </a:lnTo>
                    <a:lnTo>
                      <a:pt x="121" y="167"/>
                    </a:lnTo>
                    <a:lnTo>
                      <a:pt x="121" y="167"/>
                    </a:lnTo>
                    <a:lnTo>
                      <a:pt x="118" y="168"/>
                    </a:lnTo>
                    <a:lnTo>
                      <a:pt x="115" y="168"/>
                    </a:lnTo>
                    <a:lnTo>
                      <a:pt x="113" y="171"/>
                    </a:lnTo>
                    <a:lnTo>
                      <a:pt x="109" y="174"/>
                    </a:lnTo>
                    <a:lnTo>
                      <a:pt x="106" y="175"/>
                    </a:lnTo>
                    <a:lnTo>
                      <a:pt x="100" y="177"/>
                    </a:lnTo>
                    <a:lnTo>
                      <a:pt x="100" y="177"/>
                    </a:lnTo>
                    <a:lnTo>
                      <a:pt x="96" y="177"/>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39" name="Freeform 439"/>
              <p:cNvSpPr>
                <a:spLocks/>
              </p:cNvSpPr>
              <p:nvPr/>
            </p:nvSpPr>
            <p:spPr bwMode="auto">
              <a:xfrm>
                <a:off x="3254" y="2530"/>
                <a:ext cx="235" cy="177"/>
              </a:xfrm>
              <a:custGeom>
                <a:avLst/>
                <a:gdLst>
                  <a:gd name="T0" fmla="*/ 84 w 235"/>
                  <a:gd name="T1" fmla="*/ 175 h 177"/>
                  <a:gd name="T2" fmla="*/ 60 w 235"/>
                  <a:gd name="T3" fmla="*/ 165 h 177"/>
                  <a:gd name="T4" fmla="*/ 51 w 235"/>
                  <a:gd name="T5" fmla="*/ 164 h 177"/>
                  <a:gd name="T6" fmla="*/ 29 w 235"/>
                  <a:gd name="T7" fmla="*/ 139 h 177"/>
                  <a:gd name="T8" fmla="*/ 15 w 235"/>
                  <a:gd name="T9" fmla="*/ 120 h 177"/>
                  <a:gd name="T10" fmla="*/ 16 w 235"/>
                  <a:gd name="T11" fmla="*/ 100 h 177"/>
                  <a:gd name="T12" fmla="*/ 21 w 235"/>
                  <a:gd name="T13" fmla="*/ 74 h 177"/>
                  <a:gd name="T14" fmla="*/ 25 w 235"/>
                  <a:gd name="T15" fmla="*/ 68 h 177"/>
                  <a:gd name="T16" fmla="*/ 31 w 235"/>
                  <a:gd name="T17" fmla="*/ 54 h 177"/>
                  <a:gd name="T18" fmla="*/ 38 w 235"/>
                  <a:gd name="T19" fmla="*/ 44 h 177"/>
                  <a:gd name="T20" fmla="*/ 50 w 235"/>
                  <a:gd name="T21" fmla="*/ 32 h 177"/>
                  <a:gd name="T22" fmla="*/ 51 w 235"/>
                  <a:gd name="T23" fmla="*/ 31 h 177"/>
                  <a:gd name="T24" fmla="*/ 51 w 235"/>
                  <a:gd name="T25" fmla="*/ 31 h 177"/>
                  <a:gd name="T26" fmla="*/ 51 w 235"/>
                  <a:gd name="T27" fmla="*/ 31 h 177"/>
                  <a:gd name="T28" fmla="*/ 51 w 235"/>
                  <a:gd name="T29" fmla="*/ 31 h 177"/>
                  <a:gd name="T30" fmla="*/ 53 w 235"/>
                  <a:gd name="T31" fmla="*/ 19 h 177"/>
                  <a:gd name="T32" fmla="*/ 66 w 235"/>
                  <a:gd name="T33" fmla="*/ 7 h 177"/>
                  <a:gd name="T34" fmla="*/ 73 w 235"/>
                  <a:gd name="T35" fmla="*/ 5 h 177"/>
                  <a:gd name="T36" fmla="*/ 77 w 235"/>
                  <a:gd name="T37" fmla="*/ 0 h 177"/>
                  <a:gd name="T38" fmla="*/ 77 w 235"/>
                  <a:gd name="T39" fmla="*/ 0 h 177"/>
                  <a:gd name="T40" fmla="*/ 99 w 235"/>
                  <a:gd name="T41" fmla="*/ 10 h 177"/>
                  <a:gd name="T42" fmla="*/ 99 w 235"/>
                  <a:gd name="T43" fmla="*/ 10 h 177"/>
                  <a:gd name="T44" fmla="*/ 99 w 235"/>
                  <a:gd name="T45" fmla="*/ 10 h 177"/>
                  <a:gd name="T46" fmla="*/ 99 w 235"/>
                  <a:gd name="T47" fmla="*/ 10 h 177"/>
                  <a:gd name="T48" fmla="*/ 113 w 235"/>
                  <a:gd name="T49" fmla="*/ 13 h 177"/>
                  <a:gd name="T50" fmla="*/ 126 w 235"/>
                  <a:gd name="T51" fmla="*/ 22 h 177"/>
                  <a:gd name="T52" fmla="*/ 137 w 235"/>
                  <a:gd name="T53" fmla="*/ 36 h 177"/>
                  <a:gd name="T54" fmla="*/ 141 w 235"/>
                  <a:gd name="T55" fmla="*/ 38 h 177"/>
                  <a:gd name="T56" fmla="*/ 144 w 235"/>
                  <a:gd name="T57" fmla="*/ 52 h 177"/>
                  <a:gd name="T58" fmla="*/ 150 w 235"/>
                  <a:gd name="T59" fmla="*/ 58 h 177"/>
                  <a:gd name="T60" fmla="*/ 157 w 235"/>
                  <a:gd name="T61" fmla="*/ 65 h 177"/>
                  <a:gd name="T62" fmla="*/ 157 w 235"/>
                  <a:gd name="T63" fmla="*/ 67 h 177"/>
                  <a:gd name="T64" fmla="*/ 168 w 235"/>
                  <a:gd name="T65" fmla="*/ 81 h 177"/>
                  <a:gd name="T66" fmla="*/ 197 w 235"/>
                  <a:gd name="T67" fmla="*/ 100 h 177"/>
                  <a:gd name="T68" fmla="*/ 235 w 235"/>
                  <a:gd name="T69" fmla="*/ 109 h 177"/>
                  <a:gd name="T70" fmla="*/ 235 w 235"/>
                  <a:gd name="T71" fmla="*/ 109 h 177"/>
                  <a:gd name="T72" fmla="*/ 218 w 235"/>
                  <a:gd name="T73" fmla="*/ 133 h 177"/>
                  <a:gd name="T74" fmla="*/ 192 w 235"/>
                  <a:gd name="T75" fmla="*/ 152 h 177"/>
                  <a:gd name="T76" fmla="*/ 176 w 235"/>
                  <a:gd name="T77" fmla="*/ 158 h 177"/>
                  <a:gd name="T78" fmla="*/ 160 w 235"/>
                  <a:gd name="T79" fmla="*/ 167 h 177"/>
                  <a:gd name="T80" fmla="*/ 150 w 235"/>
                  <a:gd name="T81" fmla="*/ 171 h 177"/>
                  <a:gd name="T82" fmla="*/ 121 w 235"/>
                  <a:gd name="T83" fmla="*/ 167 h 177"/>
                  <a:gd name="T84" fmla="*/ 115 w 235"/>
                  <a:gd name="T85" fmla="*/ 168 h 177"/>
                  <a:gd name="T86" fmla="*/ 106 w 235"/>
                  <a:gd name="T87" fmla="*/ 175 h 177"/>
                  <a:gd name="T88" fmla="*/ 96 w 235"/>
                  <a:gd name="T89"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5" h="177">
                    <a:moveTo>
                      <a:pt x="96" y="177"/>
                    </a:moveTo>
                    <a:lnTo>
                      <a:pt x="96" y="177"/>
                    </a:lnTo>
                    <a:lnTo>
                      <a:pt x="84" y="175"/>
                    </a:lnTo>
                    <a:lnTo>
                      <a:pt x="76" y="173"/>
                    </a:lnTo>
                    <a:lnTo>
                      <a:pt x="60" y="165"/>
                    </a:lnTo>
                    <a:lnTo>
                      <a:pt x="60" y="165"/>
                    </a:lnTo>
                    <a:lnTo>
                      <a:pt x="55" y="164"/>
                    </a:lnTo>
                    <a:lnTo>
                      <a:pt x="51" y="164"/>
                    </a:lnTo>
                    <a:lnTo>
                      <a:pt x="51" y="164"/>
                    </a:lnTo>
                    <a:lnTo>
                      <a:pt x="44" y="164"/>
                    </a:lnTo>
                    <a:lnTo>
                      <a:pt x="44" y="164"/>
                    </a:lnTo>
                    <a:lnTo>
                      <a:pt x="29" y="139"/>
                    </a:lnTo>
                    <a:lnTo>
                      <a:pt x="21" y="128"/>
                    </a:lnTo>
                    <a:lnTo>
                      <a:pt x="15" y="120"/>
                    </a:lnTo>
                    <a:lnTo>
                      <a:pt x="15" y="120"/>
                    </a:lnTo>
                    <a:lnTo>
                      <a:pt x="0" y="112"/>
                    </a:lnTo>
                    <a:lnTo>
                      <a:pt x="0" y="100"/>
                    </a:lnTo>
                    <a:lnTo>
                      <a:pt x="16" y="100"/>
                    </a:lnTo>
                    <a:lnTo>
                      <a:pt x="16" y="100"/>
                    </a:lnTo>
                    <a:lnTo>
                      <a:pt x="18" y="86"/>
                    </a:lnTo>
                    <a:lnTo>
                      <a:pt x="21" y="74"/>
                    </a:lnTo>
                    <a:lnTo>
                      <a:pt x="22" y="70"/>
                    </a:lnTo>
                    <a:lnTo>
                      <a:pt x="25" y="68"/>
                    </a:lnTo>
                    <a:lnTo>
                      <a:pt x="25" y="68"/>
                    </a:lnTo>
                    <a:lnTo>
                      <a:pt x="28" y="64"/>
                    </a:lnTo>
                    <a:lnTo>
                      <a:pt x="29" y="58"/>
                    </a:lnTo>
                    <a:lnTo>
                      <a:pt x="31" y="54"/>
                    </a:lnTo>
                    <a:lnTo>
                      <a:pt x="34" y="48"/>
                    </a:lnTo>
                    <a:lnTo>
                      <a:pt x="34" y="48"/>
                    </a:lnTo>
                    <a:lnTo>
                      <a:pt x="38" y="44"/>
                    </a:lnTo>
                    <a:lnTo>
                      <a:pt x="42" y="41"/>
                    </a:lnTo>
                    <a:lnTo>
                      <a:pt x="47" y="36"/>
                    </a:lnTo>
                    <a:lnTo>
                      <a:pt x="50" y="32"/>
                    </a:lnTo>
                    <a:lnTo>
                      <a:pt x="50" y="32"/>
                    </a:lnTo>
                    <a:lnTo>
                      <a:pt x="51" y="31"/>
                    </a:lnTo>
                    <a:lnTo>
                      <a:pt x="51" y="31"/>
                    </a:lnTo>
                    <a:lnTo>
                      <a:pt x="51" y="31"/>
                    </a:lnTo>
                    <a:lnTo>
                      <a:pt x="51" y="31"/>
                    </a:lnTo>
                    <a:lnTo>
                      <a:pt x="51" y="31"/>
                    </a:lnTo>
                    <a:lnTo>
                      <a:pt x="51" y="31"/>
                    </a:lnTo>
                    <a:lnTo>
                      <a:pt x="51" y="31"/>
                    </a:lnTo>
                    <a:lnTo>
                      <a:pt x="51" y="31"/>
                    </a:lnTo>
                    <a:lnTo>
                      <a:pt x="51" y="31"/>
                    </a:lnTo>
                    <a:lnTo>
                      <a:pt x="51" y="31"/>
                    </a:lnTo>
                    <a:lnTo>
                      <a:pt x="51" y="31"/>
                    </a:lnTo>
                    <a:lnTo>
                      <a:pt x="51" y="31"/>
                    </a:lnTo>
                    <a:lnTo>
                      <a:pt x="51" y="31"/>
                    </a:lnTo>
                    <a:lnTo>
                      <a:pt x="53" y="19"/>
                    </a:lnTo>
                    <a:lnTo>
                      <a:pt x="54" y="6"/>
                    </a:lnTo>
                    <a:lnTo>
                      <a:pt x="54" y="6"/>
                    </a:lnTo>
                    <a:lnTo>
                      <a:pt x="66" y="7"/>
                    </a:lnTo>
                    <a:lnTo>
                      <a:pt x="66" y="7"/>
                    </a:lnTo>
                    <a:lnTo>
                      <a:pt x="70" y="6"/>
                    </a:lnTo>
                    <a:lnTo>
                      <a:pt x="73" y="5"/>
                    </a:lnTo>
                    <a:lnTo>
                      <a:pt x="76" y="0"/>
                    </a:lnTo>
                    <a:lnTo>
                      <a:pt x="76" y="0"/>
                    </a:lnTo>
                    <a:lnTo>
                      <a:pt x="77" y="0"/>
                    </a:lnTo>
                    <a:lnTo>
                      <a:pt x="77" y="0"/>
                    </a:lnTo>
                    <a:lnTo>
                      <a:pt x="77" y="0"/>
                    </a:lnTo>
                    <a:lnTo>
                      <a:pt x="77" y="0"/>
                    </a:lnTo>
                    <a:lnTo>
                      <a:pt x="81" y="2"/>
                    </a:lnTo>
                    <a:lnTo>
                      <a:pt x="87" y="5"/>
                    </a:lnTo>
                    <a:lnTo>
                      <a:pt x="99" y="10"/>
                    </a:lnTo>
                    <a:lnTo>
                      <a:pt x="99" y="10"/>
                    </a:lnTo>
                    <a:lnTo>
                      <a:pt x="99" y="10"/>
                    </a:lnTo>
                    <a:lnTo>
                      <a:pt x="99" y="10"/>
                    </a:lnTo>
                    <a:lnTo>
                      <a:pt x="99" y="10"/>
                    </a:lnTo>
                    <a:lnTo>
                      <a:pt x="99" y="10"/>
                    </a:lnTo>
                    <a:lnTo>
                      <a:pt x="99" y="10"/>
                    </a:lnTo>
                    <a:lnTo>
                      <a:pt x="99" y="10"/>
                    </a:lnTo>
                    <a:lnTo>
                      <a:pt x="99" y="10"/>
                    </a:lnTo>
                    <a:lnTo>
                      <a:pt x="99" y="10"/>
                    </a:lnTo>
                    <a:lnTo>
                      <a:pt x="99" y="10"/>
                    </a:lnTo>
                    <a:lnTo>
                      <a:pt x="99" y="10"/>
                    </a:lnTo>
                    <a:lnTo>
                      <a:pt x="113" y="13"/>
                    </a:lnTo>
                    <a:lnTo>
                      <a:pt x="121" y="16"/>
                    </a:lnTo>
                    <a:lnTo>
                      <a:pt x="124" y="19"/>
                    </a:lnTo>
                    <a:lnTo>
                      <a:pt x="126" y="22"/>
                    </a:lnTo>
                    <a:lnTo>
                      <a:pt x="126" y="22"/>
                    </a:lnTo>
                    <a:lnTo>
                      <a:pt x="134" y="33"/>
                    </a:lnTo>
                    <a:lnTo>
                      <a:pt x="137" y="36"/>
                    </a:lnTo>
                    <a:lnTo>
                      <a:pt x="141" y="38"/>
                    </a:lnTo>
                    <a:lnTo>
                      <a:pt x="141" y="38"/>
                    </a:lnTo>
                    <a:lnTo>
                      <a:pt x="141" y="38"/>
                    </a:lnTo>
                    <a:lnTo>
                      <a:pt x="141" y="38"/>
                    </a:lnTo>
                    <a:lnTo>
                      <a:pt x="141" y="45"/>
                    </a:lnTo>
                    <a:lnTo>
                      <a:pt x="144" y="52"/>
                    </a:lnTo>
                    <a:lnTo>
                      <a:pt x="144" y="52"/>
                    </a:lnTo>
                    <a:lnTo>
                      <a:pt x="145" y="55"/>
                    </a:lnTo>
                    <a:lnTo>
                      <a:pt x="150" y="58"/>
                    </a:lnTo>
                    <a:lnTo>
                      <a:pt x="158" y="61"/>
                    </a:lnTo>
                    <a:lnTo>
                      <a:pt x="158" y="61"/>
                    </a:lnTo>
                    <a:lnTo>
                      <a:pt x="157" y="65"/>
                    </a:lnTo>
                    <a:lnTo>
                      <a:pt x="157" y="65"/>
                    </a:lnTo>
                    <a:lnTo>
                      <a:pt x="157" y="67"/>
                    </a:lnTo>
                    <a:lnTo>
                      <a:pt x="157" y="67"/>
                    </a:lnTo>
                    <a:lnTo>
                      <a:pt x="157" y="71"/>
                    </a:lnTo>
                    <a:lnTo>
                      <a:pt x="160" y="74"/>
                    </a:lnTo>
                    <a:lnTo>
                      <a:pt x="168" y="81"/>
                    </a:lnTo>
                    <a:lnTo>
                      <a:pt x="192" y="96"/>
                    </a:lnTo>
                    <a:lnTo>
                      <a:pt x="192" y="96"/>
                    </a:lnTo>
                    <a:lnTo>
                      <a:pt x="197" y="100"/>
                    </a:lnTo>
                    <a:lnTo>
                      <a:pt x="203" y="102"/>
                    </a:lnTo>
                    <a:lnTo>
                      <a:pt x="216" y="104"/>
                    </a:lnTo>
                    <a:lnTo>
                      <a:pt x="235" y="109"/>
                    </a:lnTo>
                    <a:lnTo>
                      <a:pt x="235" y="109"/>
                    </a:lnTo>
                    <a:lnTo>
                      <a:pt x="235" y="109"/>
                    </a:lnTo>
                    <a:lnTo>
                      <a:pt x="235" y="109"/>
                    </a:lnTo>
                    <a:lnTo>
                      <a:pt x="232" y="116"/>
                    </a:lnTo>
                    <a:lnTo>
                      <a:pt x="225" y="125"/>
                    </a:lnTo>
                    <a:lnTo>
                      <a:pt x="218" y="133"/>
                    </a:lnTo>
                    <a:lnTo>
                      <a:pt x="209" y="141"/>
                    </a:lnTo>
                    <a:lnTo>
                      <a:pt x="209" y="141"/>
                    </a:lnTo>
                    <a:lnTo>
                      <a:pt x="192" y="152"/>
                    </a:lnTo>
                    <a:lnTo>
                      <a:pt x="184" y="157"/>
                    </a:lnTo>
                    <a:lnTo>
                      <a:pt x="176" y="158"/>
                    </a:lnTo>
                    <a:lnTo>
                      <a:pt x="176" y="158"/>
                    </a:lnTo>
                    <a:lnTo>
                      <a:pt x="170" y="160"/>
                    </a:lnTo>
                    <a:lnTo>
                      <a:pt x="164" y="162"/>
                    </a:lnTo>
                    <a:lnTo>
                      <a:pt x="160" y="167"/>
                    </a:lnTo>
                    <a:lnTo>
                      <a:pt x="155" y="170"/>
                    </a:lnTo>
                    <a:lnTo>
                      <a:pt x="155" y="170"/>
                    </a:lnTo>
                    <a:lnTo>
                      <a:pt x="150" y="171"/>
                    </a:lnTo>
                    <a:lnTo>
                      <a:pt x="150" y="171"/>
                    </a:lnTo>
                    <a:lnTo>
                      <a:pt x="135" y="170"/>
                    </a:lnTo>
                    <a:lnTo>
                      <a:pt x="121" y="167"/>
                    </a:lnTo>
                    <a:lnTo>
                      <a:pt x="121" y="167"/>
                    </a:lnTo>
                    <a:lnTo>
                      <a:pt x="118" y="168"/>
                    </a:lnTo>
                    <a:lnTo>
                      <a:pt x="115" y="168"/>
                    </a:lnTo>
                    <a:lnTo>
                      <a:pt x="113" y="171"/>
                    </a:lnTo>
                    <a:lnTo>
                      <a:pt x="109" y="174"/>
                    </a:lnTo>
                    <a:lnTo>
                      <a:pt x="106" y="175"/>
                    </a:lnTo>
                    <a:lnTo>
                      <a:pt x="100" y="177"/>
                    </a:lnTo>
                    <a:lnTo>
                      <a:pt x="100" y="177"/>
                    </a:lnTo>
                    <a:lnTo>
                      <a:pt x="96" y="17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40" name="Freeform 440"/>
              <p:cNvSpPr>
                <a:spLocks noEditPoints="1"/>
              </p:cNvSpPr>
              <p:nvPr/>
            </p:nvSpPr>
            <p:spPr bwMode="auto">
              <a:xfrm>
                <a:off x="3254" y="2561"/>
                <a:ext cx="51" cy="133"/>
              </a:xfrm>
              <a:custGeom>
                <a:avLst/>
                <a:gdLst>
                  <a:gd name="T0" fmla="*/ 51 w 51"/>
                  <a:gd name="T1" fmla="*/ 0 h 133"/>
                  <a:gd name="T2" fmla="*/ 51 w 51"/>
                  <a:gd name="T3" fmla="*/ 0 h 133"/>
                  <a:gd name="T4" fmla="*/ 51 w 51"/>
                  <a:gd name="T5" fmla="*/ 0 h 133"/>
                  <a:gd name="T6" fmla="*/ 51 w 51"/>
                  <a:gd name="T7" fmla="*/ 0 h 133"/>
                  <a:gd name="T8" fmla="*/ 51 w 51"/>
                  <a:gd name="T9" fmla="*/ 0 h 133"/>
                  <a:gd name="T10" fmla="*/ 51 w 51"/>
                  <a:gd name="T11" fmla="*/ 0 h 133"/>
                  <a:gd name="T12" fmla="*/ 51 w 51"/>
                  <a:gd name="T13" fmla="*/ 0 h 133"/>
                  <a:gd name="T14" fmla="*/ 51 w 51"/>
                  <a:gd name="T15" fmla="*/ 0 h 133"/>
                  <a:gd name="T16" fmla="*/ 51 w 51"/>
                  <a:gd name="T17" fmla="*/ 0 h 133"/>
                  <a:gd name="T18" fmla="*/ 51 w 51"/>
                  <a:gd name="T19" fmla="*/ 0 h 133"/>
                  <a:gd name="T20" fmla="*/ 51 w 51"/>
                  <a:gd name="T21" fmla="*/ 0 h 133"/>
                  <a:gd name="T22" fmla="*/ 51 w 51"/>
                  <a:gd name="T23" fmla="*/ 0 h 133"/>
                  <a:gd name="T24" fmla="*/ 51 w 51"/>
                  <a:gd name="T25" fmla="*/ 0 h 133"/>
                  <a:gd name="T26" fmla="*/ 51 w 51"/>
                  <a:gd name="T27" fmla="*/ 0 h 133"/>
                  <a:gd name="T28" fmla="*/ 51 w 51"/>
                  <a:gd name="T29" fmla="*/ 0 h 133"/>
                  <a:gd name="T30" fmla="*/ 50 w 51"/>
                  <a:gd name="T31" fmla="*/ 1 h 133"/>
                  <a:gd name="T32" fmla="*/ 50 w 51"/>
                  <a:gd name="T33" fmla="*/ 1 h 133"/>
                  <a:gd name="T34" fmla="*/ 51 w 51"/>
                  <a:gd name="T35" fmla="*/ 0 h 133"/>
                  <a:gd name="T36" fmla="*/ 51 w 51"/>
                  <a:gd name="T37" fmla="*/ 0 h 133"/>
                  <a:gd name="T38" fmla="*/ 50 w 51"/>
                  <a:gd name="T39" fmla="*/ 1 h 133"/>
                  <a:gd name="T40" fmla="*/ 44 w 51"/>
                  <a:gd name="T41" fmla="*/ 133 h 133"/>
                  <a:gd name="T42" fmla="*/ 44 w 51"/>
                  <a:gd name="T43" fmla="*/ 133 h 133"/>
                  <a:gd name="T44" fmla="*/ 29 w 51"/>
                  <a:gd name="T45" fmla="*/ 108 h 133"/>
                  <a:gd name="T46" fmla="*/ 21 w 51"/>
                  <a:gd name="T47" fmla="*/ 97 h 133"/>
                  <a:gd name="T48" fmla="*/ 15 w 51"/>
                  <a:gd name="T49" fmla="*/ 89 h 133"/>
                  <a:gd name="T50" fmla="*/ 15 w 51"/>
                  <a:gd name="T51" fmla="*/ 89 h 133"/>
                  <a:gd name="T52" fmla="*/ 0 w 51"/>
                  <a:gd name="T53" fmla="*/ 81 h 133"/>
                  <a:gd name="T54" fmla="*/ 0 w 51"/>
                  <a:gd name="T55" fmla="*/ 81 h 133"/>
                  <a:gd name="T56" fmla="*/ 15 w 51"/>
                  <a:gd name="T57" fmla="*/ 89 h 133"/>
                  <a:gd name="T58" fmla="*/ 15 w 51"/>
                  <a:gd name="T59" fmla="*/ 89 h 133"/>
                  <a:gd name="T60" fmla="*/ 21 w 51"/>
                  <a:gd name="T61" fmla="*/ 97 h 133"/>
                  <a:gd name="T62" fmla="*/ 29 w 51"/>
                  <a:gd name="T63" fmla="*/ 108 h 133"/>
                  <a:gd name="T64" fmla="*/ 44 w 51"/>
                  <a:gd name="T65"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 h="133">
                    <a:moveTo>
                      <a:pt x="51" y="0"/>
                    </a:moveTo>
                    <a:lnTo>
                      <a:pt x="51" y="0"/>
                    </a:lnTo>
                    <a:close/>
                    <a:moveTo>
                      <a:pt x="51" y="0"/>
                    </a:moveTo>
                    <a:lnTo>
                      <a:pt x="51" y="0"/>
                    </a:lnTo>
                    <a:lnTo>
                      <a:pt x="51" y="0"/>
                    </a:lnTo>
                    <a:close/>
                    <a:moveTo>
                      <a:pt x="51" y="0"/>
                    </a:moveTo>
                    <a:lnTo>
                      <a:pt x="51" y="0"/>
                    </a:lnTo>
                    <a:lnTo>
                      <a:pt x="51" y="0"/>
                    </a:lnTo>
                    <a:lnTo>
                      <a:pt x="51" y="0"/>
                    </a:lnTo>
                    <a:lnTo>
                      <a:pt x="51" y="0"/>
                    </a:lnTo>
                    <a:close/>
                    <a:moveTo>
                      <a:pt x="51" y="0"/>
                    </a:moveTo>
                    <a:lnTo>
                      <a:pt x="51" y="0"/>
                    </a:lnTo>
                    <a:lnTo>
                      <a:pt x="51" y="0"/>
                    </a:lnTo>
                    <a:lnTo>
                      <a:pt x="51" y="0"/>
                    </a:lnTo>
                    <a:lnTo>
                      <a:pt x="51" y="0"/>
                    </a:lnTo>
                    <a:close/>
                    <a:moveTo>
                      <a:pt x="50" y="1"/>
                    </a:moveTo>
                    <a:lnTo>
                      <a:pt x="50" y="1"/>
                    </a:lnTo>
                    <a:lnTo>
                      <a:pt x="51" y="0"/>
                    </a:lnTo>
                    <a:lnTo>
                      <a:pt x="51" y="0"/>
                    </a:lnTo>
                    <a:lnTo>
                      <a:pt x="50" y="1"/>
                    </a:lnTo>
                    <a:close/>
                    <a:moveTo>
                      <a:pt x="44" y="133"/>
                    </a:moveTo>
                    <a:lnTo>
                      <a:pt x="44" y="133"/>
                    </a:lnTo>
                    <a:lnTo>
                      <a:pt x="29" y="108"/>
                    </a:lnTo>
                    <a:lnTo>
                      <a:pt x="21" y="97"/>
                    </a:lnTo>
                    <a:lnTo>
                      <a:pt x="15" y="89"/>
                    </a:lnTo>
                    <a:lnTo>
                      <a:pt x="15" y="89"/>
                    </a:lnTo>
                    <a:lnTo>
                      <a:pt x="0" y="81"/>
                    </a:lnTo>
                    <a:lnTo>
                      <a:pt x="0" y="81"/>
                    </a:lnTo>
                    <a:lnTo>
                      <a:pt x="15" y="89"/>
                    </a:lnTo>
                    <a:lnTo>
                      <a:pt x="15" y="89"/>
                    </a:lnTo>
                    <a:lnTo>
                      <a:pt x="21" y="97"/>
                    </a:lnTo>
                    <a:lnTo>
                      <a:pt x="29" y="108"/>
                    </a:lnTo>
                    <a:lnTo>
                      <a:pt x="44" y="133"/>
                    </a:lnTo>
                    <a:close/>
                  </a:path>
                </a:pathLst>
              </a:custGeom>
              <a:solidFill>
                <a:srgbClr val="60B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41" name="Line 441"/>
              <p:cNvSpPr>
                <a:spLocks noChangeShapeType="1"/>
              </p:cNvSpPr>
              <p:nvPr/>
            </p:nvSpPr>
            <p:spPr bwMode="auto">
              <a:xfrm>
                <a:off x="3305" y="2561"/>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42" name="Freeform 442"/>
              <p:cNvSpPr>
                <a:spLocks/>
              </p:cNvSpPr>
              <p:nvPr/>
            </p:nvSpPr>
            <p:spPr bwMode="auto">
              <a:xfrm>
                <a:off x="3305" y="2561"/>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43" name="Rectangle 443"/>
              <p:cNvSpPr>
                <a:spLocks noChangeArrowheads="1"/>
              </p:cNvSpPr>
              <p:nvPr/>
            </p:nvSpPr>
            <p:spPr bwMode="auto">
              <a:xfrm>
                <a:off x="3305" y="2561"/>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44" name="Rectangle 444"/>
              <p:cNvSpPr>
                <a:spLocks noChangeArrowheads="1"/>
              </p:cNvSpPr>
              <p:nvPr/>
            </p:nvSpPr>
            <p:spPr bwMode="auto">
              <a:xfrm>
                <a:off x="3305" y="2561"/>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45" name="Freeform 445"/>
              <p:cNvSpPr>
                <a:spLocks/>
              </p:cNvSpPr>
              <p:nvPr/>
            </p:nvSpPr>
            <p:spPr bwMode="auto">
              <a:xfrm>
                <a:off x="3304" y="2561"/>
                <a:ext cx="1" cy="1"/>
              </a:xfrm>
              <a:custGeom>
                <a:avLst/>
                <a:gdLst>
                  <a:gd name="T0" fmla="*/ 0 w 1"/>
                  <a:gd name="T1" fmla="*/ 1 h 1"/>
                  <a:gd name="T2" fmla="*/ 0 w 1"/>
                  <a:gd name="T3" fmla="*/ 1 h 1"/>
                  <a:gd name="T4" fmla="*/ 1 w 1"/>
                  <a:gd name="T5" fmla="*/ 0 h 1"/>
                  <a:gd name="T6" fmla="*/ 1 w 1"/>
                  <a:gd name="T7" fmla="*/ 0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lnTo>
                      <a:pt x="0" y="1"/>
                    </a:lnTo>
                    <a:lnTo>
                      <a:pt x="1" y="0"/>
                    </a:lnTo>
                    <a:lnTo>
                      <a:pt x="1" y="0"/>
                    </a:lnTo>
                    <a:lnTo>
                      <a:pt x="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46" name="Freeform 446"/>
              <p:cNvSpPr>
                <a:spLocks/>
              </p:cNvSpPr>
              <p:nvPr/>
            </p:nvSpPr>
            <p:spPr bwMode="auto">
              <a:xfrm>
                <a:off x="3254" y="2642"/>
                <a:ext cx="44" cy="52"/>
              </a:xfrm>
              <a:custGeom>
                <a:avLst/>
                <a:gdLst>
                  <a:gd name="T0" fmla="*/ 44 w 44"/>
                  <a:gd name="T1" fmla="*/ 52 h 52"/>
                  <a:gd name="T2" fmla="*/ 44 w 44"/>
                  <a:gd name="T3" fmla="*/ 52 h 52"/>
                  <a:gd name="T4" fmla="*/ 29 w 44"/>
                  <a:gd name="T5" fmla="*/ 27 h 52"/>
                  <a:gd name="T6" fmla="*/ 21 w 44"/>
                  <a:gd name="T7" fmla="*/ 16 h 52"/>
                  <a:gd name="T8" fmla="*/ 15 w 44"/>
                  <a:gd name="T9" fmla="*/ 8 h 52"/>
                  <a:gd name="T10" fmla="*/ 15 w 44"/>
                  <a:gd name="T11" fmla="*/ 8 h 52"/>
                  <a:gd name="T12" fmla="*/ 0 w 44"/>
                  <a:gd name="T13" fmla="*/ 0 h 52"/>
                  <a:gd name="T14" fmla="*/ 0 w 44"/>
                  <a:gd name="T15" fmla="*/ 0 h 52"/>
                  <a:gd name="T16" fmla="*/ 15 w 44"/>
                  <a:gd name="T17" fmla="*/ 8 h 52"/>
                  <a:gd name="T18" fmla="*/ 15 w 44"/>
                  <a:gd name="T19" fmla="*/ 8 h 52"/>
                  <a:gd name="T20" fmla="*/ 21 w 44"/>
                  <a:gd name="T21" fmla="*/ 16 h 52"/>
                  <a:gd name="T22" fmla="*/ 29 w 44"/>
                  <a:gd name="T23" fmla="*/ 27 h 52"/>
                  <a:gd name="T24" fmla="*/ 44 w 44"/>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52">
                    <a:moveTo>
                      <a:pt x="44" y="52"/>
                    </a:moveTo>
                    <a:lnTo>
                      <a:pt x="44" y="52"/>
                    </a:lnTo>
                    <a:lnTo>
                      <a:pt x="29" y="27"/>
                    </a:lnTo>
                    <a:lnTo>
                      <a:pt x="21" y="16"/>
                    </a:lnTo>
                    <a:lnTo>
                      <a:pt x="15" y="8"/>
                    </a:lnTo>
                    <a:lnTo>
                      <a:pt x="15" y="8"/>
                    </a:lnTo>
                    <a:lnTo>
                      <a:pt x="0" y="0"/>
                    </a:lnTo>
                    <a:lnTo>
                      <a:pt x="0" y="0"/>
                    </a:lnTo>
                    <a:lnTo>
                      <a:pt x="15" y="8"/>
                    </a:lnTo>
                    <a:lnTo>
                      <a:pt x="15" y="8"/>
                    </a:lnTo>
                    <a:lnTo>
                      <a:pt x="21" y="16"/>
                    </a:lnTo>
                    <a:lnTo>
                      <a:pt x="29" y="27"/>
                    </a:lnTo>
                    <a:lnTo>
                      <a:pt x="44" y="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47" name="Freeform 447"/>
              <p:cNvSpPr>
                <a:spLocks noEditPoints="1"/>
              </p:cNvSpPr>
              <p:nvPr/>
            </p:nvSpPr>
            <p:spPr bwMode="auto">
              <a:xfrm>
                <a:off x="3330" y="2530"/>
                <a:ext cx="65" cy="38"/>
              </a:xfrm>
              <a:custGeom>
                <a:avLst/>
                <a:gdLst>
                  <a:gd name="T0" fmla="*/ 0 w 65"/>
                  <a:gd name="T1" fmla="*/ 0 h 38"/>
                  <a:gd name="T2" fmla="*/ 0 w 65"/>
                  <a:gd name="T3" fmla="*/ 0 h 38"/>
                  <a:gd name="T4" fmla="*/ 1 w 65"/>
                  <a:gd name="T5" fmla="*/ 0 h 38"/>
                  <a:gd name="T6" fmla="*/ 1 w 65"/>
                  <a:gd name="T7" fmla="*/ 0 h 38"/>
                  <a:gd name="T8" fmla="*/ 0 w 65"/>
                  <a:gd name="T9" fmla="*/ 0 h 38"/>
                  <a:gd name="T10" fmla="*/ 23 w 65"/>
                  <a:gd name="T11" fmla="*/ 10 h 38"/>
                  <a:gd name="T12" fmla="*/ 23 w 65"/>
                  <a:gd name="T13" fmla="*/ 10 h 38"/>
                  <a:gd name="T14" fmla="*/ 11 w 65"/>
                  <a:gd name="T15" fmla="*/ 5 h 38"/>
                  <a:gd name="T16" fmla="*/ 5 w 65"/>
                  <a:gd name="T17" fmla="*/ 2 h 38"/>
                  <a:gd name="T18" fmla="*/ 1 w 65"/>
                  <a:gd name="T19" fmla="*/ 0 h 38"/>
                  <a:gd name="T20" fmla="*/ 1 w 65"/>
                  <a:gd name="T21" fmla="*/ 0 h 38"/>
                  <a:gd name="T22" fmla="*/ 5 w 65"/>
                  <a:gd name="T23" fmla="*/ 2 h 38"/>
                  <a:gd name="T24" fmla="*/ 11 w 65"/>
                  <a:gd name="T25" fmla="*/ 5 h 38"/>
                  <a:gd name="T26" fmla="*/ 23 w 65"/>
                  <a:gd name="T27" fmla="*/ 10 h 38"/>
                  <a:gd name="T28" fmla="*/ 23 w 65"/>
                  <a:gd name="T29" fmla="*/ 10 h 38"/>
                  <a:gd name="T30" fmla="*/ 23 w 65"/>
                  <a:gd name="T31" fmla="*/ 10 h 38"/>
                  <a:gd name="T32" fmla="*/ 23 w 65"/>
                  <a:gd name="T33" fmla="*/ 10 h 38"/>
                  <a:gd name="T34" fmla="*/ 23 w 65"/>
                  <a:gd name="T35" fmla="*/ 10 h 38"/>
                  <a:gd name="T36" fmla="*/ 23 w 65"/>
                  <a:gd name="T37" fmla="*/ 10 h 38"/>
                  <a:gd name="T38" fmla="*/ 23 w 65"/>
                  <a:gd name="T39" fmla="*/ 10 h 38"/>
                  <a:gd name="T40" fmla="*/ 23 w 65"/>
                  <a:gd name="T41" fmla="*/ 10 h 38"/>
                  <a:gd name="T42" fmla="*/ 23 w 65"/>
                  <a:gd name="T43" fmla="*/ 10 h 38"/>
                  <a:gd name="T44" fmla="*/ 23 w 65"/>
                  <a:gd name="T45" fmla="*/ 10 h 38"/>
                  <a:gd name="T46" fmla="*/ 23 w 65"/>
                  <a:gd name="T47" fmla="*/ 10 h 38"/>
                  <a:gd name="T48" fmla="*/ 65 w 65"/>
                  <a:gd name="T49" fmla="*/ 38 h 38"/>
                  <a:gd name="T50" fmla="*/ 65 w 65"/>
                  <a:gd name="T51" fmla="*/ 38 h 38"/>
                  <a:gd name="T52" fmla="*/ 61 w 65"/>
                  <a:gd name="T53" fmla="*/ 36 h 38"/>
                  <a:gd name="T54" fmla="*/ 58 w 65"/>
                  <a:gd name="T55" fmla="*/ 33 h 38"/>
                  <a:gd name="T56" fmla="*/ 50 w 65"/>
                  <a:gd name="T57" fmla="*/ 22 h 38"/>
                  <a:gd name="T58" fmla="*/ 50 w 65"/>
                  <a:gd name="T59" fmla="*/ 22 h 38"/>
                  <a:gd name="T60" fmla="*/ 58 w 65"/>
                  <a:gd name="T61" fmla="*/ 33 h 38"/>
                  <a:gd name="T62" fmla="*/ 61 w 65"/>
                  <a:gd name="T63" fmla="*/ 36 h 38"/>
                  <a:gd name="T64" fmla="*/ 65 w 65"/>
                  <a:gd name="T65" fmla="*/ 38 h 38"/>
                  <a:gd name="T66" fmla="*/ 65 w 65"/>
                  <a:gd name="T6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 h="38">
                    <a:moveTo>
                      <a:pt x="0" y="0"/>
                    </a:moveTo>
                    <a:lnTo>
                      <a:pt x="0" y="0"/>
                    </a:lnTo>
                    <a:lnTo>
                      <a:pt x="1" y="0"/>
                    </a:lnTo>
                    <a:lnTo>
                      <a:pt x="1" y="0"/>
                    </a:lnTo>
                    <a:lnTo>
                      <a:pt x="0" y="0"/>
                    </a:lnTo>
                    <a:close/>
                    <a:moveTo>
                      <a:pt x="23" y="10"/>
                    </a:moveTo>
                    <a:lnTo>
                      <a:pt x="23" y="10"/>
                    </a:lnTo>
                    <a:lnTo>
                      <a:pt x="11" y="5"/>
                    </a:lnTo>
                    <a:lnTo>
                      <a:pt x="5" y="2"/>
                    </a:lnTo>
                    <a:lnTo>
                      <a:pt x="1" y="0"/>
                    </a:lnTo>
                    <a:lnTo>
                      <a:pt x="1" y="0"/>
                    </a:lnTo>
                    <a:lnTo>
                      <a:pt x="5" y="2"/>
                    </a:lnTo>
                    <a:lnTo>
                      <a:pt x="11" y="5"/>
                    </a:lnTo>
                    <a:lnTo>
                      <a:pt x="23" y="10"/>
                    </a:lnTo>
                    <a:close/>
                    <a:moveTo>
                      <a:pt x="23" y="10"/>
                    </a:moveTo>
                    <a:lnTo>
                      <a:pt x="23" y="10"/>
                    </a:lnTo>
                    <a:lnTo>
                      <a:pt x="23" y="10"/>
                    </a:lnTo>
                    <a:lnTo>
                      <a:pt x="23" y="10"/>
                    </a:lnTo>
                    <a:lnTo>
                      <a:pt x="23" y="10"/>
                    </a:lnTo>
                    <a:close/>
                    <a:moveTo>
                      <a:pt x="23" y="10"/>
                    </a:moveTo>
                    <a:lnTo>
                      <a:pt x="23" y="10"/>
                    </a:lnTo>
                    <a:lnTo>
                      <a:pt x="23" y="10"/>
                    </a:lnTo>
                    <a:lnTo>
                      <a:pt x="23" y="10"/>
                    </a:lnTo>
                    <a:lnTo>
                      <a:pt x="23" y="10"/>
                    </a:lnTo>
                    <a:close/>
                    <a:moveTo>
                      <a:pt x="65" y="38"/>
                    </a:moveTo>
                    <a:lnTo>
                      <a:pt x="65" y="38"/>
                    </a:lnTo>
                    <a:lnTo>
                      <a:pt x="61" y="36"/>
                    </a:lnTo>
                    <a:lnTo>
                      <a:pt x="58" y="33"/>
                    </a:lnTo>
                    <a:lnTo>
                      <a:pt x="50" y="22"/>
                    </a:lnTo>
                    <a:lnTo>
                      <a:pt x="50" y="22"/>
                    </a:lnTo>
                    <a:lnTo>
                      <a:pt x="58" y="33"/>
                    </a:lnTo>
                    <a:lnTo>
                      <a:pt x="61" y="36"/>
                    </a:lnTo>
                    <a:lnTo>
                      <a:pt x="65" y="38"/>
                    </a:lnTo>
                    <a:lnTo>
                      <a:pt x="65" y="38"/>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48" name="Rectangle 448"/>
              <p:cNvSpPr>
                <a:spLocks noChangeArrowheads="1"/>
              </p:cNvSpPr>
              <p:nvPr/>
            </p:nvSpPr>
            <p:spPr bwMode="auto">
              <a:xfrm>
                <a:off x="3330" y="2530"/>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49" name="Freeform 449"/>
              <p:cNvSpPr>
                <a:spLocks/>
              </p:cNvSpPr>
              <p:nvPr/>
            </p:nvSpPr>
            <p:spPr bwMode="auto">
              <a:xfrm>
                <a:off x="3331" y="2530"/>
                <a:ext cx="22" cy="10"/>
              </a:xfrm>
              <a:custGeom>
                <a:avLst/>
                <a:gdLst>
                  <a:gd name="T0" fmla="*/ 22 w 22"/>
                  <a:gd name="T1" fmla="*/ 10 h 10"/>
                  <a:gd name="T2" fmla="*/ 22 w 22"/>
                  <a:gd name="T3" fmla="*/ 10 h 10"/>
                  <a:gd name="T4" fmla="*/ 10 w 22"/>
                  <a:gd name="T5" fmla="*/ 5 h 10"/>
                  <a:gd name="T6" fmla="*/ 4 w 22"/>
                  <a:gd name="T7" fmla="*/ 2 h 10"/>
                  <a:gd name="T8" fmla="*/ 0 w 22"/>
                  <a:gd name="T9" fmla="*/ 0 h 10"/>
                  <a:gd name="T10" fmla="*/ 0 w 22"/>
                  <a:gd name="T11" fmla="*/ 0 h 10"/>
                  <a:gd name="T12" fmla="*/ 4 w 22"/>
                  <a:gd name="T13" fmla="*/ 2 h 10"/>
                  <a:gd name="T14" fmla="*/ 10 w 22"/>
                  <a:gd name="T15" fmla="*/ 5 h 10"/>
                  <a:gd name="T16" fmla="*/ 22 w 22"/>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0">
                    <a:moveTo>
                      <a:pt x="22" y="10"/>
                    </a:moveTo>
                    <a:lnTo>
                      <a:pt x="22" y="10"/>
                    </a:lnTo>
                    <a:lnTo>
                      <a:pt x="10" y="5"/>
                    </a:lnTo>
                    <a:lnTo>
                      <a:pt x="4" y="2"/>
                    </a:lnTo>
                    <a:lnTo>
                      <a:pt x="0" y="0"/>
                    </a:lnTo>
                    <a:lnTo>
                      <a:pt x="0" y="0"/>
                    </a:lnTo>
                    <a:lnTo>
                      <a:pt x="4" y="2"/>
                    </a:lnTo>
                    <a:lnTo>
                      <a:pt x="10" y="5"/>
                    </a:lnTo>
                    <a:lnTo>
                      <a:pt x="22"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50" name="Rectangle 450"/>
              <p:cNvSpPr>
                <a:spLocks noChangeArrowheads="1"/>
              </p:cNvSpPr>
              <p:nvPr/>
            </p:nvSpPr>
            <p:spPr bwMode="auto">
              <a:xfrm>
                <a:off x="3353" y="2540"/>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51" name="Rectangle 451"/>
              <p:cNvSpPr>
                <a:spLocks noChangeArrowheads="1"/>
              </p:cNvSpPr>
              <p:nvPr/>
            </p:nvSpPr>
            <p:spPr bwMode="auto">
              <a:xfrm>
                <a:off x="3353" y="2540"/>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52" name="Freeform 452"/>
              <p:cNvSpPr>
                <a:spLocks/>
              </p:cNvSpPr>
              <p:nvPr/>
            </p:nvSpPr>
            <p:spPr bwMode="auto">
              <a:xfrm>
                <a:off x="3380" y="2552"/>
                <a:ext cx="15" cy="16"/>
              </a:xfrm>
              <a:custGeom>
                <a:avLst/>
                <a:gdLst>
                  <a:gd name="T0" fmla="*/ 15 w 15"/>
                  <a:gd name="T1" fmla="*/ 16 h 16"/>
                  <a:gd name="T2" fmla="*/ 15 w 15"/>
                  <a:gd name="T3" fmla="*/ 16 h 16"/>
                  <a:gd name="T4" fmla="*/ 11 w 15"/>
                  <a:gd name="T5" fmla="*/ 14 h 16"/>
                  <a:gd name="T6" fmla="*/ 8 w 15"/>
                  <a:gd name="T7" fmla="*/ 11 h 16"/>
                  <a:gd name="T8" fmla="*/ 0 w 15"/>
                  <a:gd name="T9" fmla="*/ 0 h 16"/>
                  <a:gd name="T10" fmla="*/ 0 w 15"/>
                  <a:gd name="T11" fmla="*/ 0 h 16"/>
                  <a:gd name="T12" fmla="*/ 8 w 15"/>
                  <a:gd name="T13" fmla="*/ 11 h 16"/>
                  <a:gd name="T14" fmla="*/ 11 w 15"/>
                  <a:gd name="T15" fmla="*/ 14 h 16"/>
                  <a:gd name="T16" fmla="*/ 15 w 15"/>
                  <a:gd name="T17" fmla="*/ 16 h 16"/>
                  <a:gd name="T18" fmla="*/ 15 w 15"/>
                  <a:gd name="T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6">
                    <a:moveTo>
                      <a:pt x="15" y="16"/>
                    </a:moveTo>
                    <a:lnTo>
                      <a:pt x="15" y="16"/>
                    </a:lnTo>
                    <a:lnTo>
                      <a:pt x="11" y="14"/>
                    </a:lnTo>
                    <a:lnTo>
                      <a:pt x="8" y="11"/>
                    </a:lnTo>
                    <a:lnTo>
                      <a:pt x="0" y="0"/>
                    </a:lnTo>
                    <a:lnTo>
                      <a:pt x="0" y="0"/>
                    </a:lnTo>
                    <a:lnTo>
                      <a:pt x="8" y="11"/>
                    </a:lnTo>
                    <a:lnTo>
                      <a:pt x="11" y="14"/>
                    </a:lnTo>
                    <a:lnTo>
                      <a:pt x="15" y="16"/>
                    </a:lnTo>
                    <a:lnTo>
                      <a:pt x="15"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53" name="Freeform 453"/>
              <p:cNvSpPr>
                <a:spLocks/>
              </p:cNvSpPr>
              <p:nvPr/>
            </p:nvSpPr>
            <p:spPr bwMode="auto">
              <a:xfrm>
                <a:off x="3382" y="2575"/>
                <a:ext cx="156" cy="219"/>
              </a:xfrm>
              <a:custGeom>
                <a:avLst/>
                <a:gdLst>
                  <a:gd name="T0" fmla="*/ 0 w 156"/>
                  <a:gd name="T1" fmla="*/ 143 h 219"/>
                  <a:gd name="T2" fmla="*/ 22 w 156"/>
                  <a:gd name="T3" fmla="*/ 126 h 219"/>
                  <a:gd name="T4" fmla="*/ 27 w 156"/>
                  <a:gd name="T5" fmla="*/ 125 h 219"/>
                  <a:gd name="T6" fmla="*/ 42 w 156"/>
                  <a:gd name="T7" fmla="*/ 115 h 219"/>
                  <a:gd name="T8" fmla="*/ 56 w 156"/>
                  <a:gd name="T9" fmla="*/ 112 h 219"/>
                  <a:gd name="T10" fmla="*/ 81 w 156"/>
                  <a:gd name="T11" fmla="*/ 96 h 219"/>
                  <a:gd name="T12" fmla="*/ 104 w 156"/>
                  <a:gd name="T13" fmla="*/ 71 h 219"/>
                  <a:gd name="T14" fmla="*/ 107 w 156"/>
                  <a:gd name="T15" fmla="*/ 64 h 219"/>
                  <a:gd name="T16" fmla="*/ 75 w 156"/>
                  <a:gd name="T17" fmla="*/ 57 h 219"/>
                  <a:gd name="T18" fmla="*/ 64 w 156"/>
                  <a:gd name="T19" fmla="*/ 51 h 219"/>
                  <a:gd name="T20" fmla="*/ 29 w 156"/>
                  <a:gd name="T21" fmla="*/ 26 h 219"/>
                  <a:gd name="T22" fmla="*/ 29 w 156"/>
                  <a:gd name="T23" fmla="*/ 20 h 219"/>
                  <a:gd name="T24" fmla="*/ 30 w 156"/>
                  <a:gd name="T25" fmla="*/ 16 h 219"/>
                  <a:gd name="T26" fmla="*/ 30 w 156"/>
                  <a:gd name="T27" fmla="*/ 16 h 219"/>
                  <a:gd name="T28" fmla="*/ 36 w 156"/>
                  <a:gd name="T29" fmla="*/ 6 h 219"/>
                  <a:gd name="T30" fmla="*/ 43 w 156"/>
                  <a:gd name="T31" fmla="*/ 19 h 219"/>
                  <a:gd name="T32" fmla="*/ 48 w 156"/>
                  <a:gd name="T33" fmla="*/ 25 h 219"/>
                  <a:gd name="T34" fmla="*/ 53 w 156"/>
                  <a:gd name="T35" fmla="*/ 28 h 219"/>
                  <a:gd name="T36" fmla="*/ 59 w 156"/>
                  <a:gd name="T37" fmla="*/ 25 h 219"/>
                  <a:gd name="T38" fmla="*/ 69 w 156"/>
                  <a:gd name="T39" fmla="*/ 20 h 219"/>
                  <a:gd name="T40" fmla="*/ 80 w 156"/>
                  <a:gd name="T41" fmla="*/ 19 h 219"/>
                  <a:gd name="T42" fmla="*/ 84 w 156"/>
                  <a:gd name="T43" fmla="*/ 20 h 219"/>
                  <a:gd name="T44" fmla="*/ 85 w 156"/>
                  <a:gd name="T45" fmla="*/ 22 h 219"/>
                  <a:gd name="T46" fmla="*/ 88 w 156"/>
                  <a:gd name="T47" fmla="*/ 23 h 219"/>
                  <a:gd name="T48" fmla="*/ 98 w 156"/>
                  <a:gd name="T49" fmla="*/ 17 h 219"/>
                  <a:gd name="T50" fmla="*/ 104 w 156"/>
                  <a:gd name="T51" fmla="*/ 15 h 219"/>
                  <a:gd name="T52" fmla="*/ 111 w 156"/>
                  <a:gd name="T53" fmla="*/ 15 h 219"/>
                  <a:gd name="T54" fmla="*/ 122 w 156"/>
                  <a:gd name="T55" fmla="*/ 15 h 219"/>
                  <a:gd name="T56" fmla="*/ 133 w 156"/>
                  <a:gd name="T57" fmla="*/ 12 h 219"/>
                  <a:gd name="T58" fmla="*/ 156 w 156"/>
                  <a:gd name="T59" fmla="*/ 0 h 219"/>
                  <a:gd name="T60" fmla="*/ 156 w 156"/>
                  <a:gd name="T61" fmla="*/ 0 h 219"/>
                  <a:gd name="T62" fmla="*/ 156 w 156"/>
                  <a:gd name="T63" fmla="*/ 6 h 219"/>
                  <a:gd name="T64" fmla="*/ 155 w 156"/>
                  <a:gd name="T65" fmla="*/ 26 h 219"/>
                  <a:gd name="T66" fmla="*/ 150 w 156"/>
                  <a:gd name="T67" fmla="*/ 44 h 219"/>
                  <a:gd name="T68" fmla="*/ 139 w 156"/>
                  <a:gd name="T69" fmla="*/ 62 h 219"/>
                  <a:gd name="T70" fmla="*/ 113 w 156"/>
                  <a:gd name="T71" fmla="*/ 110 h 219"/>
                  <a:gd name="T72" fmla="*/ 103 w 156"/>
                  <a:gd name="T73" fmla="*/ 125 h 219"/>
                  <a:gd name="T74" fmla="*/ 97 w 156"/>
                  <a:gd name="T75" fmla="*/ 132 h 219"/>
                  <a:gd name="T76" fmla="*/ 82 w 156"/>
                  <a:gd name="T77" fmla="*/ 143 h 219"/>
                  <a:gd name="T78" fmla="*/ 81 w 156"/>
                  <a:gd name="T79" fmla="*/ 146 h 219"/>
                  <a:gd name="T80" fmla="*/ 77 w 156"/>
                  <a:gd name="T81" fmla="*/ 149 h 219"/>
                  <a:gd name="T82" fmla="*/ 59 w 156"/>
                  <a:gd name="T83" fmla="*/ 161 h 219"/>
                  <a:gd name="T84" fmla="*/ 40 w 156"/>
                  <a:gd name="T85" fmla="*/ 178 h 219"/>
                  <a:gd name="T86" fmla="*/ 14 w 156"/>
                  <a:gd name="T87" fmla="*/ 213 h 219"/>
                  <a:gd name="T88" fmla="*/ 10 w 156"/>
                  <a:gd name="T89" fmla="*/ 217 h 219"/>
                  <a:gd name="T90" fmla="*/ 10 w 156"/>
                  <a:gd name="T91" fmla="*/ 21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6" h="219">
                    <a:moveTo>
                      <a:pt x="4" y="219"/>
                    </a:moveTo>
                    <a:lnTo>
                      <a:pt x="0" y="214"/>
                    </a:lnTo>
                    <a:lnTo>
                      <a:pt x="0" y="143"/>
                    </a:lnTo>
                    <a:lnTo>
                      <a:pt x="13" y="125"/>
                    </a:lnTo>
                    <a:lnTo>
                      <a:pt x="13" y="125"/>
                    </a:lnTo>
                    <a:lnTo>
                      <a:pt x="22" y="126"/>
                    </a:lnTo>
                    <a:lnTo>
                      <a:pt x="22" y="126"/>
                    </a:lnTo>
                    <a:lnTo>
                      <a:pt x="27" y="125"/>
                    </a:lnTo>
                    <a:lnTo>
                      <a:pt x="27" y="125"/>
                    </a:lnTo>
                    <a:lnTo>
                      <a:pt x="32" y="122"/>
                    </a:lnTo>
                    <a:lnTo>
                      <a:pt x="36" y="117"/>
                    </a:lnTo>
                    <a:lnTo>
                      <a:pt x="42" y="115"/>
                    </a:lnTo>
                    <a:lnTo>
                      <a:pt x="48" y="113"/>
                    </a:lnTo>
                    <a:lnTo>
                      <a:pt x="48" y="113"/>
                    </a:lnTo>
                    <a:lnTo>
                      <a:pt x="56" y="112"/>
                    </a:lnTo>
                    <a:lnTo>
                      <a:pt x="64" y="107"/>
                    </a:lnTo>
                    <a:lnTo>
                      <a:pt x="81" y="96"/>
                    </a:lnTo>
                    <a:lnTo>
                      <a:pt x="81" y="96"/>
                    </a:lnTo>
                    <a:lnTo>
                      <a:pt x="90" y="88"/>
                    </a:lnTo>
                    <a:lnTo>
                      <a:pt x="97" y="80"/>
                    </a:lnTo>
                    <a:lnTo>
                      <a:pt x="104" y="71"/>
                    </a:lnTo>
                    <a:lnTo>
                      <a:pt x="107" y="64"/>
                    </a:lnTo>
                    <a:lnTo>
                      <a:pt x="107" y="64"/>
                    </a:lnTo>
                    <a:lnTo>
                      <a:pt x="107" y="64"/>
                    </a:lnTo>
                    <a:lnTo>
                      <a:pt x="107" y="64"/>
                    </a:lnTo>
                    <a:lnTo>
                      <a:pt x="88" y="61"/>
                    </a:lnTo>
                    <a:lnTo>
                      <a:pt x="75" y="57"/>
                    </a:lnTo>
                    <a:lnTo>
                      <a:pt x="69" y="55"/>
                    </a:lnTo>
                    <a:lnTo>
                      <a:pt x="64" y="51"/>
                    </a:lnTo>
                    <a:lnTo>
                      <a:pt x="64" y="51"/>
                    </a:lnTo>
                    <a:lnTo>
                      <a:pt x="40" y="36"/>
                    </a:lnTo>
                    <a:lnTo>
                      <a:pt x="32" y="29"/>
                    </a:lnTo>
                    <a:lnTo>
                      <a:pt x="29" y="26"/>
                    </a:lnTo>
                    <a:lnTo>
                      <a:pt x="29" y="22"/>
                    </a:lnTo>
                    <a:lnTo>
                      <a:pt x="29" y="22"/>
                    </a:lnTo>
                    <a:lnTo>
                      <a:pt x="29" y="20"/>
                    </a:lnTo>
                    <a:lnTo>
                      <a:pt x="29" y="20"/>
                    </a:lnTo>
                    <a:lnTo>
                      <a:pt x="30" y="16"/>
                    </a:lnTo>
                    <a:lnTo>
                      <a:pt x="30" y="16"/>
                    </a:lnTo>
                    <a:lnTo>
                      <a:pt x="30" y="16"/>
                    </a:lnTo>
                    <a:lnTo>
                      <a:pt x="30" y="16"/>
                    </a:lnTo>
                    <a:lnTo>
                      <a:pt x="30" y="16"/>
                    </a:lnTo>
                    <a:lnTo>
                      <a:pt x="30" y="16"/>
                    </a:lnTo>
                    <a:lnTo>
                      <a:pt x="36" y="6"/>
                    </a:lnTo>
                    <a:lnTo>
                      <a:pt x="36" y="6"/>
                    </a:lnTo>
                    <a:lnTo>
                      <a:pt x="38" y="7"/>
                    </a:lnTo>
                    <a:lnTo>
                      <a:pt x="38" y="7"/>
                    </a:lnTo>
                    <a:lnTo>
                      <a:pt x="43" y="19"/>
                    </a:lnTo>
                    <a:lnTo>
                      <a:pt x="43" y="19"/>
                    </a:lnTo>
                    <a:lnTo>
                      <a:pt x="48" y="25"/>
                    </a:lnTo>
                    <a:lnTo>
                      <a:pt x="48" y="25"/>
                    </a:lnTo>
                    <a:lnTo>
                      <a:pt x="51" y="26"/>
                    </a:lnTo>
                    <a:lnTo>
                      <a:pt x="51" y="26"/>
                    </a:lnTo>
                    <a:lnTo>
                      <a:pt x="53" y="28"/>
                    </a:lnTo>
                    <a:lnTo>
                      <a:pt x="55" y="28"/>
                    </a:lnTo>
                    <a:lnTo>
                      <a:pt x="55" y="28"/>
                    </a:lnTo>
                    <a:lnTo>
                      <a:pt x="59" y="25"/>
                    </a:lnTo>
                    <a:lnTo>
                      <a:pt x="59" y="25"/>
                    </a:lnTo>
                    <a:lnTo>
                      <a:pt x="69" y="20"/>
                    </a:lnTo>
                    <a:lnTo>
                      <a:pt x="69" y="20"/>
                    </a:lnTo>
                    <a:lnTo>
                      <a:pt x="80" y="19"/>
                    </a:lnTo>
                    <a:lnTo>
                      <a:pt x="80" y="19"/>
                    </a:lnTo>
                    <a:lnTo>
                      <a:pt x="80" y="19"/>
                    </a:lnTo>
                    <a:lnTo>
                      <a:pt x="80" y="19"/>
                    </a:lnTo>
                    <a:lnTo>
                      <a:pt x="82" y="19"/>
                    </a:lnTo>
                    <a:lnTo>
                      <a:pt x="84" y="20"/>
                    </a:lnTo>
                    <a:lnTo>
                      <a:pt x="84" y="20"/>
                    </a:lnTo>
                    <a:lnTo>
                      <a:pt x="85" y="22"/>
                    </a:lnTo>
                    <a:lnTo>
                      <a:pt x="85" y="22"/>
                    </a:lnTo>
                    <a:lnTo>
                      <a:pt x="88" y="23"/>
                    </a:lnTo>
                    <a:lnTo>
                      <a:pt x="88" y="23"/>
                    </a:lnTo>
                    <a:lnTo>
                      <a:pt x="88" y="23"/>
                    </a:lnTo>
                    <a:lnTo>
                      <a:pt x="93" y="22"/>
                    </a:lnTo>
                    <a:lnTo>
                      <a:pt x="93" y="22"/>
                    </a:lnTo>
                    <a:lnTo>
                      <a:pt x="98" y="17"/>
                    </a:lnTo>
                    <a:lnTo>
                      <a:pt x="98" y="17"/>
                    </a:lnTo>
                    <a:lnTo>
                      <a:pt x="104" y="15"/>
                    </a:lnTo>
                    <a:lnTo>
                      <a:pt x="104" y="15"/>
                    </a:lnTo>
                    <a:lnTo>
                      <a:pt x="111" y="15"/>
                    </a:lnTo>
                    <a:lnTo>
                      <a:pt x="111" y="15"/>
                    </a:lnTo>
                    <a:lnTo>
                      <a:pt x="111" y="15"/>
                    </a:lnTo>
                    <a:lnTo>
                      <a:pt x="111" y="15"/>
                    </a:lnTo>
                    <a:lnTo>
                      <a:pt x="122" y="15"/>
                    </a:lnTo>
                    <a:lnTo>
                      <a:pt x="122" y="15"/>
                    </a:lnTo>
                    <a:lnTo>
                      <a:pt x="127" y="13"/>
                    </a:lnTo>
                    <a:lnTo>
                      <a:pt x="133" y="12"/>
                    </a:lnTo>
                    <a:lnTo>
                      <a:pt x="133" y="12"/>
                    </a:lnTo>
                    <a:lnTo>
                      <a:pt x="145" y="6"/>
                    </a:lnTo>
                    <a:lnTo>
                      <a:pt x="145" y="6"/>
                    </a:lnTo>
                    <a:lnTo>
                      <a:pt x="156" y="0"/>
                    </a:lnTo>
                    <a:lnTo>
                      <a:pt x="156" y="0"/>
                    </a:lnTo>
                    <a:lnTo>
                      <a:pt x="156" y="0"/>
                    </a:lnTo>
                    <a:lnTo>
                      <a:pt x="156" y="0"/>
                    </a:lnTo>
                    <a:lnTo>
                      <a:pt x="156" y="2"/>
                    </a:lnTo>
                    <a:lnTo>
                      <a:pt x="156" y="2"/>
                    </a:lnTo>
                    <a:lnTo>
                      <a:pt x="156" y="6"/>
                    </a:lnTo>
                    <a:lnTo>
                      <a:pt x="156" y="6"/>
                    </a:lnTo>
                    <a:lnTo>
                      <a:pt x="155" y="26"/>
                    </a:lnTo>
                    <a:lnTo>
                      <a:pt x="155" y="26"/>
                    </a:lnTo>
                    <a:lnTo>
                      <a:pt x="153" y="36"/>
                    </a:lnTo>
                    <a:lnTo>
                      <a:pt x="153" y="36"/>
                    </a:lnTo>
                    <a:lnTo>
                      <a:pt x="150" y="44"/>
                    </a:lnTo>
                    <a:lnTo>
                      <a:pt x="150" y="44"/>
                    </a:lnTo>
                    <a:lnTo>
                      <a:pt x="139" y="62"/>
                    </a:lnTo>
                    <a:lnTo>
                      <a:pt x="139" y="62"/>
                    </a:lnTo>
                    <a:lnTo>
                      <a:pt x="127" y="84"/>
                    </a:lnTo>
                    <a:lnTo>
                      <a:pt x="127" y="84"/>
                    </a:lnTo>
                    <a:lnTo>
                      <a:pt x="113" y="110"/>
                    </a:lnTo>
                    <a:lnTo>
                      <a:pt x="113" y="110"/>
                    </a:lnTo>
                    <a:lnTo>
                      <a:pt x="103" y="125"/>
                    </a:lnTo>
                    <a:lnTo>
                      <a:pt x="103" y="125"/>
                    </a:lnTo>
                    <a:lnTo>
                      <a:pt x="100" y="130"/>
                    </a:lnTo>
                    <a:lnTo>
                      <a:pt x="100" y="130"/>
                    </a:lnTo>
                    <a:lnTo>
                      <a:pt x="97" y="132"/>
                    </a:lnTo>
                    <a:lnTo>
                      <a:pt x="97" y="132"/>
                    </a:lnTo>
                    <a:lnTo>
                      <a:pt x="88" y="138"/>
                    </a:lnTo>
                    <a:lnTo>
                      <a:pt x="82" y="143"/>
                    </a:lnTo>
                    <a:lnTo>
                      <a:pt x="82" y="143"/>
                    </a:lnTo>
                    <a:lnTo>
                      <a:pt x="81" y="146"/>
                    </a:lnTo>
                    <a:lnTo>
                      <a:pt x="81" y="146"/>
                    </a:lnTo>
                    <a:lnTo>
                      <a:pt x="81" y="148"/>
                    </a:lnTo>
                    <a:lnTo>
                      <a:pt x="81" y="148"/>
                    </a:lnTo>
                    <a:lnTo>
                      <a:pt x="77" y="149"/>
                    </a:lnTo>
                    <a:lnTo>
                      <a:pt x="77" y="149"/>
                    </a:lnTo>
                    <a:lnTo>
                      <a:pt x="69" y="154"/>
                    </a:lnTo>
                    <a:lnTo>
                      <a:pt x="59" y="161"/>
                    </a:lnTo>
                    <a:lnTo>
                      <a:pt x="49" y="168"/>
                    </a:lnTo>
                    <a:lnTo>
                      <a:pt x="40" y="178"/>
                    </a:lnTo>
                    <a:lnTo>
                      <a:pt x="40" y="178"/>
                    </a:lnTo>
                    <a:lnTo>
                      <a:pt x="23" y="201"/>
                    </a:lnTo>
                    <a:lnTo>
                      <a:pt x="23" y="201"/>
                    </a:lnTo>
                    <a:lnTo>
                      <a:pt x="14" y="213"/>
                    </a:lnTo>
                    <a:lnTo>
                      <a:pt x="14" y="213"/>
                    </a:lnTo>
                    <a:lnTo>
                      <a:pt x="11" y="217"/>
                    </a:lnTo>
                    <a:lnTo>
                      <a:pt x="10" y="217"/>
                    </a:lnTo>
                    <a:lnTo>
                      <a:pt x="10" y="219"/>
                    </a:lnTo>
                    <a:lnTo>
                      <a:pt x="10" y="219"/>
                    </a:lnTo>
                    <a:lnTo>
                      <a:pt x="10" y="219"/>
                    </a:lnTo>
                    <a:lnTo>
                      <a:pt x="4" y="219"/>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54" name="Freeform 454"/>
              <p:cNvSpPr>
                <a:spLocks/>
              </p:cNvSpPr>
              <p:nvPr/>
            </p:nvSpPr>
            <p:spPr bwMode="auto">
              <a:xfrm>
                <a:off x="3382" y="2575"/>
                <a:ext cx="156" cy="219"/>
              </a:xfrm>
              <a:custGeom>
                <a:avLst/>
                <a:gdLst>
                  <a:gd name="T0" fmla="*/ 0 w 156"/>
                  <a:gd name="T1" fmla="*/ 143 h 219"/>
                  <a:gd name="T2" fmla="*/ 22 w 156"/>
                  <a:gd name="T3" fmla="*/ 126 h 219"/>
                  <a:gd name="T4" fmla="*/ 27 w 156"/>
                  <a:gd name="T5" fmla="*/ 125 h 219"/>
                  <a:gd name="T6" fmla="*/ 42 w 156"/>
                  <a:gd name="T7" fmla="*/ 115 h 219"/>
                  <a:gd name="T8" fmla="*/ 56 w 156"/>
                  <a:gd name="T9" fmla="*/ 112 h 219"/>
                  <a:gd name="T10" fmla="*/ 81 w 156"/>
                  <a:gd name="T11" fmla="*/ 96 h 219"/>
                  <a:gd name="T12" fmla="*/ 104 w 156"/>
                  <a:gd name="T13" fmla="*/ 71 h 219"/>
                  <a:gd name="T14" fmla="*/ 107 w 156"/>
                  <a:gd name="T15" fmla="*/ 64 h 219"/>
                  <a:gd name="T16" fmla="*/ 75 w 156"/>
                  <a:gd name="T17" fmla="*/ 57 h 219"/>
                  <a:gd name="T18" fmla="*/ 64 w 156"/>
                  <a:gd name="T19" fmla="*/ 51 h 219"/>
                  <a:gd name="T20" fmla="*/ 29 w 156"/>
                  <a:gd name="T21" fmla="*/ 26 h 219"/>
                  <a:gd name="T22" fmla="*/ 29 w 156"/>
                  <a:gd name="T23" fmla="*/ 20 h 219"/>
                  <a:gd name="T24" fmla="*/ 30 w 156"/>
                  <a:gd name="T25" fmla="*/ 16 h 219"/>
                  <a:gd name="T26" fmla="*/ 30 w 156"/>
                  <a:gd name="T27" fmla="*/ 16 h 219"/>
                  <a:gd name="T28" fmla="*/ 36 w 156"/>
                  <a:gd name="T29" fmla="*/ 6 h 219"/>
                  <a:gd name="T30" fmla="*/ 43 w 156"/>
                  <a:gd name="T31" fmla="*/ 19 h 219"/>
                  <a:gd name="T32" fmla="*/ 48 w 156"/>
                  <a:gd name="T33" fmla="*/ 25 h 219"/>
                  <a:gd name="T34" fmla="*/ 53 w 156"/>
                  <a:gd name="T35" fmla="*/ 28 h 219"/>
                  <a:gd name="T36" fmla="*/ 59 w 156"/>
                  <a:gd name="T37" fmla="*/ 25 h 219"/>
                  <a:gd name="T38" fmla="*/ 69 w 156"/>
                  <a:gd name="T39" fmla="*/ 20 h 219"/>
                  <a:gd name="T40" fmla="*/ 80 w 156"/>
                  <a:gd name="T41" fmla="*/ 19 h 219"/>
                  <a:gd name="T42" fmla="*/ 84 w 156"/>
                  <a:gd name="T43" fmla="*/ 20 h 219"/>
                  <a:gd name="T44" fmla="*/ 85 w 156"/>
                  <a:gd name="T45" fmla="*/ 22 h 219"/>
                  <a:gd name="T46" fmla="*/ 88 w 156"/>
                  <a:gd name="T47" fmla="*/ 23 h 219"/>
                  <a:gd name="T48" fmla="*/ 98 w 156"/>
                  <a:gd name="T49" fmla="*/ 17 h 219"/>
                  <a:gd name="T50" fmla="*/ 104 w 156"/>
                  <a:gd name="T51" fmla="*/ 15 h 219"/>
                  <a:gd name="T52" fmla="*/ 111 w 156"/>
                  <a:gd name="T53" fmla="*/ 15 h 219"/>
                  <a:gd name="T54" fmla="*/ 122 w 156"/>
                  <a:gd name="T55" fmla="*/ 15 h 219"/>
                  <a:gd name="T56" fmla="*/ 133 w 156"/>
                  <a:gd name="T57" fmla="*/ 12 h 219"/>
                  <a:gd name="T58" fmla="*/ 156 w 156"/>
                  <a:gd name="T59" fmla="*/ 0 h 219"/>
                  <a:gd name="T60" fmla="*/ 156 w 156"/>
                  <a:gd name="T61" fmla="*/ 0 h 219"/>
                  <a:gd name="T62" fmla="*/ 156 w 156"/>
                  <a:gd name="T63" fmla="*/ 6 h 219"/>
                  <a:gd name="T64" fmla="*/ 155 w 156"/>
                  <a:gd name="T65" fmla="*/ 26 h 219"/>
                  <a:gd name="T66" fmla="*/ 150 w 156"/>
                  <a:gd name="T67" fmla="*/ 44 h 219"/>
                  <a:gd name="T68" fmla="*/ 139 w 156"/>
                  <a:gd name="T69" fmla="*/ 62 h 219"/>
                  <a:gd name="T70" fmla="*/ 113 w 156"/>
                  <a:gd name="T71" fmla="*/ 110 h 219"/>
                  <a:gd name="T72" fmla="*/ 103 w 156"/>
                  <a:gd name="T73" fmla="*/ 125 h 219"/>
                  <a:gd name="T74" fmla="*/ 97 w 156"/>
                  <a:gd name="T75" fmla="*/ 132 h 219"/>
                  <a:gd name="T76" fmla="*/ 82 w 156"/>
                  <a:gd name="T77" fmla="*/ 143 h 219"/>
                  <a:gd name="T78" fmla="*/ 81 w 156"/>
                  <a:gd name="T79" fmla="*/ 146 h 219"/>
                  <a:gd name="T80" fmla="*/ 77 w 156"/>
                  <a:gd name="T81" fmla="*/ 149 h 219"/>
                  <a:gd name="T82" fmla="*/ 59 w 156"/>
                  <a:gd name="T83" fmla="*/ 161 h 219"/>
                  <a:gd name="T84" fmla="*/ 40 w 156"/>
                  <a:gd name="T85" fmla="*/ 178 h 219"/>
                  <a:gd name="T86" fmla="*/ 14 w 156"/>
                  <a:gd name="T87" fmla="*/ 213 h 219"/>
                  <a:gd name="T88" fmla="*/ 10 w 156"/>
                  <a:gd name="T89" fmla="*/ 217 h 219"/>
                  <a:gd name="T90" fmla="*/ 10 w 156"/>
                  <a:gd name="T91" fmla="*/ 21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6" h="219">
                    <a:moveTo>
                      <a:pt x="4" y="219"/>
                    </a:moveTo>
                    <a:lnTo>
                      <a:pt x="0" y="214"/>
                    </a:lnTo>
                    <a:lnTo>
                      <a:pt x="0" y="143"/>
                    </a:lnTo>
                    <a:lnTo>
                      <a:pt x="13" y="125"/>
                    </a:lnTo>
                    <a:lnTo>
                      <a:pt x="13" y="125"/>
                    </a:lnTo>
                    <a:lnTo>
                      <a:pt x="22" y="126"/>
                    </a:lnTo>
                    <a:lnTo>
                      <a:pt x="22" y="126"/>
                    </a:lnTo>
                    <a:lnTo>
                      <a:pt x="27" y="125"/>
                    </a:lnTo>
                    <a:lnTo>
                      <a:pt x="27" y="125"/>
                    </a:lnTo>
                    <a:lnTo>
                      <a:pt x="32" y="122"/>
                    </a:lnTo>
                    <a:lnTo>
                      <a:pt x="36" y="117"/>
                    </a:lnTo>
                    <a:lnTo>
                      <a:pt x="42" y="115"/>
                    </a:lnTo>
                    <a:lnTo>
                      <a:pt x="48" y="113"/>
                    </a:lnTo>
                    <a:lnTo>
                      <a:pt x="48" y="113"/>
                    </a:lnTo>
                    <a:lnTo>
                      <a:pt x="56" y="112"/>
                    </a:lnTo>
                    <a:lnTo>
                      <a:pt x="64" y="107"/>
                    </a:lnTo>
                    <a:lnTo>
                      <a:pt x="81" y="96"/>
                    </a:lnTo>
                    <a:lnTo>
                      <a:pt x="81" y="96"/>
                    </a:lnTo>
                    <a:lnTo>
                      <a:pt x="90" y="88"/>
                    </a:lnTo>
                    <a:lnTo>
                      <a:pt x="97" y="80"/>
                    </a:lnTo>
                    <a:lnTo>
                      <a:pt x="104" y="71"/>
                    </a:lnTo>
                    <a:lnTo>
                      <a:pt x="107" y="64"/>
                    </a:lnTo>
                    <a:lnTo>
                      <a:pt x="107" y="64"/>
                    </a:lnTo>
                    <a:lnTo>
                      <a:pt x="107" y="64"/>
                    </a:lnTo>
                    <a:lnTo>
                      <a:pt x="107" y="64"/>
                    </a:lnTo>
                    <a:lnTo>
                      <a:pt x="88" y="61"/>
                    </a:lnTo>
                    <a:lnTo>
                      <a:pt x="75" y="57"/>
                    </a:lnTo>
                    <a:lnTo>
                      <a:pt x="69" y="55"/>
                    </a:lnTo>
                    <a:lnTo>
                      <a:pt x="64" y="51"/>
                    </a:lnTo>
                    <a:lnTo>
                      <a:pt x="64" y="51"/>
                    </a:lnTo>
                    <a:lnTo>
                      <a:pt x="40" y="36"/>
                    </a:lnTo>
                    <a:lnTo>
                      <a:pt x="32" y="29"/>
                    </a:lnTo>
                    <a:lnTo>
                      <a:pt x="29" y="26"/>
                    </a:lnTo>
                    <a:lnTo>
                      <a:pt x="29" y="22"/>
                    </a:lnTo>
                    <a:lnTo>
                      <a:pt x="29" y="22"/>
                    </a:lnTo>
                    <a:lnTo>
                      <a:pt x="29" y="20"/>
                    </a:lnTo>
                    <a:lnTo>
                      <a:pt x="29" y="20"/>
                    </a:lnTo>
                    <a:lnTo>
                      <a:pt x="30" y="16"/>
                    </a:lnTo>
                    <a:lnTo>
                      <a:pt x="30" y="16"/>
                    </a:lnTo>
                    <a:lnTo>
                      <a:pt x="30" y="16"/>
                    </a:lnTo>
                    <a:lnTo>
                      <a:pt x="30" y="16"/>
                    </a:lnTo>
                    <a:lnTo>
                      <a:pt x="30" y="16"/>
                    </a:lnTo>
                    <a:lnTo>
                      <a:pt x="30" y="16"/>
                    </a:lnTo>
                    <a:lnTo>
                      <a:pt x="36" y="6"/>
                    </a:lnTo>
                    <a:lnTo>
                      <a:pt x="36" y="6"/>
                    </a:lnTo>
                    <a:lnTo>
                      <a:pt x="38" y="7"/>
                    </a:lnTo>
                    <a:lnTo>
                      <a:pt x="38" y="7"/>
                    </a:lnTo>
                    <a:lnTo>
                      <a:pt x="43" y="19"/>
                    </a:lnTo>
                    <a:lnTo>
                      <a:pt x="43" y="19"/>
                    </a:lnTo>
                    <a:lnTo>
                      <a:pt x="48" y="25"/>
                    </a:lnTo>
                    <a:lnTo>
                      <a:pt x="48" y="25"/>
                    </a:lnTo>
                    <a:lnTo>
                      <a:pt x="51" y="26"/>
                    </a:lnTo>
                    <a:lnTo>
                      <a:pt x="51" y="26"/>
                    </a:lnTo>
                    <a:lnTo>
                      <a:pt x="53" y="28"/>
                    </a:lnTo>
                    <a:lnTo>
                      <a:pt x="55" y="28"/>
                    </a:lnTo>
                    <a:lnTo>
                      <a:pt x="55" y="28"/>
                    </a:lnTo>
                    <a:lnTo>
                      <a:pt x="59" y="25"/>
                    </a:lnTo>
                    <a:lnTo>
                      <a:pt x="59" y="25"/>
                    </a:lnTo>
                    <a:lnTo>
                      <a:pt x="69" y="20"/>
                    </a:lnTo>
                    <a:lnTo>
                      <a:pt x="69" y="20"/>
                    </a:lnTo>
                    <a:lnTo>
                      <a:pt x="80" y="19"/>
                    </a:lnTo>
                    <a:lnTo>
                      <a:pt x="80" y="19"/>
                    </a:lnTo>
                    <a:lnTo>
                      <a:pt x="80" y="19"/>
                    </a:lnTo>
                    <a:lnTo>
                      <a:pt x="80" y="19"/>
                    </a:lnTo>
                    <a:lnTo>
                      <a:pt x="82" y="19"/>
                    </a:lnTo>
                    <a:lnTo>
                      <a:pt x="84" y="20"/>
                    </a:lnTo>
                    <a:lnTo>
                      <a:pt x="84" y="20"/>
                    </a:lnTo>
                    <a:lnTo>
                      <a:pt x="85" y="22"/>
                    </a:lnTo>
                    <a:lnTo>
                      <a:pt x="85" y="22"/>
                    </a:lnTo>
                    <a:lnTo>
                      <a:pt x="88" y="23"/>
                    </a:lnTo>
                    <a:lnTo>
                      <a:pt x="88" y="23"/>
                    </a:lnTo>
                    <a:lnTo>
                      <a:pt x="88" y="23"/>
                    </a:lnTo>
                    <a:lnTo>
                      <a:pt x="93" y="22"/>
                    </a:lnTo>
                    <a:lnTo>
                      <a:pt x="93" y="22"/>
                    </a:lnTo>
                    <a:lnTo>
                      <a:pt x="98" y="17"/>
                    </a:lnTo>
                    <a:lnTo>
                      <a:pt x="98" y="17"/>
                    </a:lnTo>
                    <a:lnTo>
                      <a:pt x="104" y="15"/>
                    </a:lnTo>
                    <a:lnTo>
                      <a:pt x="104" y="15"/>
                    </a:lnTo>
                    <a:lnTo>
                      <a:pt x="111" y="15"/>
                    </a:lnTo>
                    <a:lnTo>
                      <a:pt x="111" y="15"/>
                    </a:lnTo>
                    <a:lnTo>
                      <a:pt x="111" y="15"/>
                    </a:lnTo>
                    <a:lnTo>
                      <a:pt x="111" y="15"/>
                    </a:lnTo>
                    <a:lnTo>
                      <a:pt x="122" y="15"/>
                    </a:lnTo>
                    <a:lnTo>
                      <a:pt x="122" y="15"/>
                    </a:lnTo>
                    <a:lnTo>
                      <a:pt x="127" y="13"/>
                    </a:lnTo>
                    <a:lnTo>
                      <a:pt x="133" y="12"/>
                    </a:lnTo>
                    <a:lnTo>
                      <a:pt x="133" y="12"/>
                    </a:lnTo>
                    <a:lnTo>
                      <a:pt x="145" y="6"/>
                    </a:lnTo>
                    <a:lnTo>
                      <a:pt x="145" y="6"/>
                    </a:lnTo>
                    <a:lnTo>
                      <a:pt x="156" y="0"/>
                    </a:lnTo>
                    <a:lnTo>
                      <a:pt x="156" y="0"/>
                    </a:lnTo>
                    <a:lnTo>
                      <a:pt x="156" y="0"/>
                    </a:lnTo>
                    <a:lnTo>
                      <a:pt x="156" y="0"/>
                    </a:lnTo>
                    <a:lnTo>
                      <a:pt x="156" y="2"/>
                    </a:lnTo>
                    <a:lnTo>
                      <a:pt x="156" y="2"/>
                    </a:lnTo>
                    <a:lnTo>
                      <a:pt x="156" y="6"/>
                    </a:lnTo>
                    <a:lnTo>
                      <a:pt x="156" y="6"/>
                    </a:lnTo>
                    <a:lnTo>
                      <a:pt x="155" y="26"/>
                    </a:lnTo>
                    <a:lnTo>
                      <a:pt x="155" y="26"/>
                    </a:lnTo>
                    <a:lnTo>
                      <a:pt x="153" y="36"/>
                    </a:lnTo>
                    <a:lnTo>
                      <a:pt x="153" y="36"/>
                    </a:lnTo>
                    <a:lnTo>
                      <a:pt x="150" y="44"/>
                    </a:lnTo>
                    <a:lnTo>
                      <a:pt x="150" y="44"/>
                    </a:lnTo>
                    <a:lnTo>
                      <a:pt x="139" y="62"/>
                    </a:lnTo>
                    <a:lnTo>
                      <a:pt x="139" y="62"/>
                    </a:lnTo>
                    <a:lnTo>
                      <a:pt x="127" y="84"/>
                    </a:lnTo>
                    <a:lnTo>
                      <a:pt x="127" y="84"/>
                    </a:lnTo>
                    <a:lnTo>
                      <a:pt x="113" y="110"/>
                    </a:lnTo>
                    <a:lnTo>
                      <a:pt x="113" y="110"/>
                    </a:lnTo>
                    <a:lnTo>
                      <a:pt x="103" y="125"/>
                    </a:lnTo>
                    <a:lnTo>
                      <a:pt x="103" y="125"/>
                    </a:lnTo>
                    <a:lnTo>
                      <a:pt x="100" y="130"/>
                    </a:lnTo>
                    <a:lnTo>
                      <a:pt x="100" y="130"/>
                    </a:lnTo>
                    <a:lnTo>
                      <a:pt x="97" y="132"/>
                    </a:lnTo>
                    <a:lnTo>
                      <a:pt x="97" y="132"/>
                    </a:lnTo>
                    <a:lnTo>
                      <a:pt x="88" y="138"/>
                    </a:lnTo>
                    <a:lnTo>
                      <a:pt x="82" y="143"/>
                    </a:lnTo>
                    <a:lnTo>
                      <a:pt x="82" y="143"/>
                    </a:lnTo>
                    <a:lnTo>
                      <a:pt x="81" y="146"/>
                    </a:lnTo>
                    <a:lnTo>
                      <a:pt x="81" y="146"/>
                    </a:lnTo>
                    <a:lnTo>
                      <a:pt x="81" y="148"/>
                    </a:lnTo>
                    <a:lnTo>
                      <a:pt x="81" y="148"/>
                    </a:lnTo>
                    <a:lnTo>
                      <a:pt x="77" y="149"/>
                    </a:lnTo>
                    <a:lnTo>
                      <a:pt x="77" y="149"/>
                    </a:lnTo>
                    <a:lnTo>
                      <a:pt x="69" y="154"/>
                    </a:lnTo>
                    <a:lnTo>
                      <a:pt x="59" y="161"/>
                    </a:lnTo>
                    <a:lnTo>
                      <a:pt x="49" y="168"/>
                    </a:lnTo>
                    <a:lnTo>
                      <a:pt x="40" y="178"/>
                    </a:lnTo>
                    <a:lnTo>
                      <a:pt x="40" y="178"/>
                    </a:lnTo>
                    <a:lnTo>
                      <a:pt x="23" y="201"/>
                    </a:lnTo>
                    <a:lnTo>
                      <a:pt x="23" y="201"/>
                    </a:lnTo>
                    <a:lnTo>
                      <a:pt x="14" y="213"/>
                    </a:lnTo>
                    <a:lnTo>
                      <a:pt x="14" y="213"/>
                    </a:lnTo>
                    <a:lnTo>
                      <a:pt x="11" y="217"/>
                    </a:lnTo>
                    <a:lnTo>
                      <a:pt x="10" y="217"/>
                    </a:lnTo>
                    <a:lnTo>
                      <a:pt x="10" y="219"/>
                    </a:lnTo>
                    <a:lnTo>
                      <a:pt x="10" y="219"/>
                    </a:lnTo>
                    <a:lnTo>
                      <a:pt x="10" y="219"/>
                    </a:lnTo>
                    <a:lnTo>
                      <a:pt x="4" y="2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55" name="Freeform 455"/>
              <p:cNvSpPr>
                <a:spLocks/>
              </p:cNvSpPr>
              <p:nvPr/>
            </p:nvSpPr>
            <p:spPr bwMode="auto">
              <a:xfrm>
                <a:off x="3412" y="2581"/>
                <a:ext cx="6" cy="10"/>
              </a:xfrm>
              <a:custGeom>
                <a:avLst/>
                <a:gdLst>
                  <a:gd name="T0" fmla="*/ 0 w 6"/>
                  <a:gd name="T1" fmla="*/ 10 h 10"/>
                  <a:gd name="T2" fmla="*/ 0 w 6"/>
                  <a:gd name="T3" fmla="*/ 10 h 10"/>
                  <a:gd name="T4" fmla="*/ 0 w 6"/>
                  <a:gd name="T5" fmla="*/ 10 h 10"/>
                  <a:gd name="T6" fmla="*/ 6 w 6"/>
                  <a:gd name="T7" fmla="*/ 0 h 10"/>
                  <a:gd name="T8" fmla="*/ 6 w 6"/>
                  <a:gd name="T9" fmla="*/ 0 h 10"/>
                  <a:gd name="T10" fmla="*/ 0 w 6"/>
                  <a:gd name="T11" fmla="*/ 10 h 10"/>
                </a:gdLst>
                <a:ahLst/>
                <a:cxnLst>
                  <a:cxn ang="0">
                    <a:pos x="T0" y="T1"/>
                  </a:cxn>
                  <a:cxn ang="0">
                    <a:pos x="T2" y="T3"/>
                  </a:cxn>
                  <a:cxn ang="0">
                    <a:pos x="T4" y="T5"/>
                  </a:cxn>
                  <a:cxn ang="0">
                    <a:pos x="T6" y="T7"/>
                  </a:cxn>
                  <a:cxn ang="0">
                    <a:pos x="T8" y="T9"/>
                  </a:cxn>
                  <a:cxn ang="0">
                    <a:pos x="T10" y="T11"/>
                  </a:cxn>
                </a:cxnLst>
                <a:rect l="0" t="0" r="r" b="b"/>
                <a:pathLst>
                  <a:path w="6" h="10">
                    <a:moveTo>
                      <a:pt x="0" y="10"/>
                    </a:moveTo>
                    <a:lnTo>
                      <a:pt x="0" y="10"/>
                    </a:lnTo>
                    <a:lnTo>
                      <a:pt x="0" y="10"/>
                    </a:lnTo>
                    <a:lnTo>
                      <a:pt x="6" y="0"/>
                    </a:lnTo>
                    <a:lnTo>
                      <a:pt x="6" y="0"/>
                    </a:lnTo>
                    <a:lnTo>
                      <a:pt x="0" y="10"/>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56" name="Freeform 456"/>
              <p:cNvSpPr>
                <a:spLocks/>
              </p:cNvSpPr>
              <p:nvPr/>
            </p:nvSpPr>
            <p:spPr bwMode="auto">
              <a:xfrm>
                <a:off x="3412" y="2581"/>
                <a:ext cx="6" cy="10"/>
              </a:xfrm>
              <a:custGeom>
                <a:avLst/>
                <a:gdLst>
                  <a:gd name="T0" fmla="*/ 0 w 6"/>
                  <a:gd name="T1" fmla="*/ 10 h 10"/>
                  <a:gd name="T2" fmla="*/ 0 w 6"/>
                  <a:gd name="T3" fmla="*/ 10 h 10"/>
                  <a:gd name="T4" fmla="*/ 0 w 6"/>
                  <a:gd name="T5" fmla="*/ 10 h 10"/>
                  <a:gd name="T6" fmla="*/ 6 w 6"/>
                  <a:gd name="T7" fmla="*/ 0 h 10"/>
                  <a:gd name="T8" fmla="*/ 6 w 6"/>
                  <a:gd name="T9" fmla="*/ 0 h 10"/>
                  <a:gd name="T10" fmla="*/ 0 w 6"/>
                  <a:gd name="T11" fmla="*/ 10 h 10"/>
                </a:gdLst>
                <a:ahLst/>
                <a:cxnLst>
                  <a:cxn ang="0">
                    <a:pos x="T0" y="T1"/>
                  </a:cxn>
                  <a:cxn ang="0">
                    <a:pos x="T2" y="T3"/>
                  </a:cxn>
                  <a:cxn ang="0">
                    <a:pos x="T4" y="T5"/>
                  </a:cxn>
                  <a:cxn ang="0">
                    <a:pos x="T6" y="T7"/>
                  </a:cxn>
                  <a:cxn ang="0">
                    <a:pos x="T8" y="T9"/>
                  </a:cxn>
                  <a:cxn ang="0">
                    <a:pos x="T10" y="T11"/>
                  </a:cxn>
                </a:cxnLst>
                <a:rect l="0" t="0" r="r" b="b"/>
                <a:pathLst>
                  <a:path w="6" h="10">
                    <a:moveTo>
                      <a:pt x="0" y="10"/>
                    </a:moveTo>
                    <a:lnTo>
                      <a:pt x="0" y="10"/>
                    </a:lnTo>
                    <a:lnTo>
                      <a:pt x="0" y="10"/>
                    </a:lnTo>
                    <a:lnTo>
                      <a:pt x="6" y="0"/>
                    </a:lnTo>
                    <a:lnTo>
                      <a:pt x="6" y="0"/>
                    </a:lnTo>
                    <a:lnTo>
                      <a:pt x="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57" name="Freeform 457"/>
              <p:cNvSpPr>
                <a:spLocks noEditPoints="1"/>
              </p:cNvSpPr>
              <p:nvPr/>
            </p:nvSpPr>
            <p:spPr bwMode="auto">
              <a:xfrm>
                <a:off x="3411" y="2591"/>
                <a:ext cx="78" cy="48"/>
              </a:xfrm>
              <a:custGeom>
                <a:avLst/>
                <a:gdLst>
                  <a:gd name="T0" fmla="*/ 0 w 78"/>
                  <a:gd name="T1" fmla="*/ 4 h 48"/>
                  <a:gd name="T2" fmla="*/ 0 w 78"/>
                  <a:gd name="T3" fmla="*/ 4 h 48"/>
                  <a:gd name="T4" fmla="*/ 1 w 78"/>
                  <a:gd name="T5" fmla="*/ 0 h 48"/>
                  <a:gd name="T6" fmla="*/ 1 w 78"/>
                  <a:gd name="T7" fmla="*/ 0 h 48"/>
                  <a:gd name="T8" fmla="*/ 1 w 78"/>
                  <a:gd name="T9" fmla="*/ 0 h 48"/>
                  <a:gd name="T10" fmla="*/ 1 w 78"/>
                  <a:gd name="T11" fmla="*/ 0 h 48"/>
                  <a:gd name="T12" fmla="*/ 0 w 78"/>
                  <a:gd name="T13" fmla="*/ 4 h 48"/>
                  <a:gd name="T14" fmla="*/ 78 w 78"/>
                  <a:gd name="T15" fmla="*/ 48 h 48"/>
                  <a:gd name="T16" fmla="*/ 78 w 78"/>
                  <a:gd name="T17" fmla="*/ 48 h 48"/>
                  <a:gd name="T18" fmla="*/ 78 w 78"/>
                  <a:gd name="T19" fmla="*/ 48 h 48"/>
                  <a:gd name="T20" fmla="*/ 78 w 78"/>
                  <a:gd name="T21" fmla="*/ 48 h 48"/>
                  <a:gd name="T22" fmla="*/ 59 w 78"/>
                  <a:gd name="T23" fmla="*/ 43 h 48"/>
                  <a:gd name="T24" fmla="*/ 46 w 78"/>
                  <a:gd name="T25" fmla="*/ 41 h 48"/>
                  <a:gd name="T26" fmla="*/ 40 w 78"/>
                  <a:gd name="T27" fmla="*/ 39 h 48"/>
                  <a:gd name="T28" fmla="*/ 35 w 78"/>
                  <a:gd name="T29" fmla="*/ 35 h 48"/>
                  <a:gd name="T30" fmla="*/ 35 w 78"/>
                  <a:gd name="T31" fmla="*/ 35 h 48"/>
                  <a:gd name="T32" fmla="*/ 11 w 78"/>
                  <a:gd name="T33" fmla="*/ 20 h 48"/>
                  <a:gd name="T34" fmla="*/ 3 w 78"/>
                  <a:gd name="T35" fmla="*/ 13 h 48"/>
                  <a:gd name="T36" fmla="*/ 0 w 78"/>
                  <a:gd name="T37" fmla="*/ 10 h 48"/>
                  <a:gd name="T38" fmla="*/ 0 w 78"/>
                  <a:gd name="T39" fmla="*/ 6 h 48"/>
                  <a:gd name="T40" fmla="*/ 0 w 78"/>
                  <a:gd name="T41" fmla="*/ 6 h 48"/>
                  <a:gd name="T42" fmla="*/ 0 w 78"/>
                  <a:gd name="T43" fmla="*/ 10 h 48"/>
                  <a:gd name="T44" fmla="*/ 3 w 78"/>
                  <a:gd name="T45" fmla="*/ 13 h 48"/>
                  <a:gd name="T46" fmla="*/ 11 w 78"/>
                  <a:gd name="T47" fmla="*/ 20 h 48"/>
                  <a:gd name="T48" fmla="*/ 35 w 78"/>
                  <a:gd name="T49" fmla="*/ 35 h 48"/>
                  <a:gd name="T50" fmla="*/ 35 w 78"/>
                  <a:gd name="T51" fmla="*/ 35 h 48"/>
                  <a:gd name="T52" fmla="*/ 40 w 78"/>
                  <a:gd name="T53" fmla="*/ 39 h 48"/>
                  <a:gd name="T54" fmla="*/ 46 w 78"/>
                  <a:gd name="T55" fmla="*/ 41 h 48"/>
                  <a:gd name="T56" fmla="*/ 59 w 78"/>
                  <a:gd name="T57" fmla="*/ 43 h 48"/>
                  <a:gd name="T58" fmla="*/ 78 w 78"/>
                  <a:gd name="T59" fmla="*/ 48 h 48"/>
                  <a:gd name="T60" fmla="*/ 78 w 78"/>
                  <a:gd name="T61" fmla="*/ 48 h 48"/>
                  <a:gd name="T62" fmla="*/ 78 w 78"/>
                  <a:gd name="T6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 h="48">
                    <a:moveTo>
                      <a:pt x="0" y="4"/>
                    </a:moveTo>
                    <a:lnTo>
                      <a:pt x="0" y="4"/>
                    </a:lnTo>
                    <a:lnTo>
                      <a:pt x="1" y="0"/>
                    </a:lnTo>
                    <a:lnTo>
                      <a:pt x="1" y="0"/>
                    </a:lnTo>
                    <a:lnTo>
                      <a:pt x="1" y="0"/>
                    </a:lnTo>
                    <a:lnTo>
                      <a:pt x="1" y="0"/>
                    </a:lnTo>
                    <a:lnTo>
                      <a:pt x="0" y="4"/>
                    </a:lnTo>
                    <a:close/>
                    <a:moveTo>
                      <a:pt x="78" y="48"/>
                    </a:moveTo>
                    <a:lnTo>
                      <a:pt x="78" y="48"/>
                    </a:lnTo>
                    <a:lnTo>
                      <a:pt x="78" y="48"/>
                    </a:lnTo>
                    <a:lnTo>
                      <a:pt x="78" y="48"/>
                    </a:lnTo>
                    <a:lnTo>
                      <a:pt x="59" y="43"/>
                    </a:lnTo>
                    <a:lnTo>
                      <a:pt x="46" y="41"/>
                    </a:lnTo>
                    <a:lnTo>
                      <a:pt x="40" y="39"/>
                    </a:lnTo>
                    <a:lnTo>
                      <a:pt x="35" y="35"/>
                    </a:lnTo>
                    <a:lnTo>
                      <a:pt x="35" y="35"/>
                    </a:lnTo>
                    <a:lnTo>
                      <a:pt x="11" y="20"/>
                    </a:lnTo>
                    <a:lnTo>
                      <a:pt x="3" y="13"/>
                    </a:lnTo>
                    <a:lnTo>
                      <a:pt x="0" y="10"/>
                    </a:lnTo>
                    <a:lnTo>
                      <a:pt x="0" y="6"/>
                    </a:lnTo>
                    <a:lnTo>
                      <a:pt x="0" y="6"/>
                    </a:lnTo>
                    <a:lnTo>
                      <a:pt x="0" y="10"/>
                    </a:lnTo>
                    <a:lnTo>
                      <a:pt x="3" y="13"/>
                    </a:lnTo>
                    <a:lnTo>
                      <a:pt x="11" y="20"/>
                    </a:lnTo>
                    <a:lnTo>
                      <a:pt x="35" y="35"/>
                    </a:lnTo>
                    <a:lnTo>
                      <a:pt x="35" y="35"/>
                    </a:lnTo>
                    <a:lnTo>
                      <a:pt x="40" y="39"/>
                    </a:lnTo>
                    <a:lnTo>
                      <a:pt x="46" y="41"/>
                    </a:lnTo>
                    <a:lnTo>
                      <a:pt x="59" y="43"/>
                    </a:lnTo>
                    <a:lnTo>
                      <a:pt x="78" y="48"/>
                    </a:lnTo>
                    <a:lnTo>
                      <a:pt x="78" y="48"/>
                    </a:lnTo>
                    <a:lnTo>
                      <a:pt x="78" y="48"/>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58" name="Freeform 458"/>
              <p:cNvSpPr>
                <a:spLocks/>
              </p:cNvSpPr>
              <p:nvPr/>
            </p:nvSpPr>
            <p:spPr bwMode="auto">
              <a:xfrm>
                <a:off x="3411" y="2591"/>
                <a:ext cx="1" cy="4"/>
              </a:xfrm>
              <a:custGeom>
                <a:avLst/>
                <a:gdLst>
                  <a:gd name="T0" fmla="*/ 0 w 1"/>
                  <a:gd name="T1" fmla="*/ 4 h 4"/>
                  <a:gd name="T2" fmla="*/ 0 w 1"/>
                  <a:gd name="T3" fmla="*/ 4 h 4"/>
                  <a:gd name="T4" fmla="*/ 1 w 1"/>
                  <a:gd name="T5" fmla="*/ 0 h 4"/>
                  <a:gd name="T6" fmla="*/ 1 w 1"/>
                  <a:gd name="T7" fmla="*/ 0 h 4"/>
                  <a:gd name="T8" fmla="*/ 1 w 1"/>
                  <a:gd name="T9" fmla="*/ 0 h 4"/>
                  <a:gd name="T10" fmla="*/ 1 w 1"/>
                  <a:gd name="T11" fmla="*/ 0 h 4"/>
                  <a:gd name="T12" fmla="*/ 0 w 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 h="4">
                    <a:moveTo>
                      <a:pt x="0" y="4"/>
                    </a:moveTo>
                    <a:lnTo>
                      <a:pt x="0" y="4"/>
                    </a:lnTo>
                    <a:lnTo>
                      <a:pt x="1" y="0"/>
                    </a:lnTo>
                    <a:lnTo>
                      <a:pt x="1" y="0"/>
                    </a:lnTo>
                    <a:lnTo>
                      <a:pt x="1" y="0"/>
                    </a:lnTo>
                    <a:lnTo>
                      <a:pt x="1" y="0"/>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59" name="Freeform 459"/>
              <p:cNvSpPr>
                <a:spLocks/>
              </p:cNvSpPr>
              <p:nvPr/>
            </p:nvSpPr>
            <p:spPr bwMode="auto">
              <a:xfrm>
                <a:off x="3411" y="2597"/>
                <a:ext cx="78" cy="42"/>
              </a:xfrm>
              <a:custGeom>
                <a:avLst/>
                <a:gdLst>
                  <a:gd name="T0" fmla="*/ 78 w 78"/>
                  <a:gd name="T1" fmla="*/ 42 h 42"/>
                  <a:gd name="T2" fmla="*/ 78 w 78"/>
                  <a:gd name="T3" fmla="*/ 42 h 42"/>
                  <a:gd name="T4" fmla="*/ 78 w 78"/>
                  <a:gd name="T5" fmla="*/ 42 h 42"/>
                  <a:gd name="T6" fmla="*/ 78 w 78"/>
                  <a:gd name="T7" fmla="*/ 42 h 42"/>
                  <a:gd name="T8" fmla="*/ 59 w 78"/>
                  <a:gd name="T9" fmla="*/ 37 h 42"/>
                  <a:gd name="T10" fmla="*/ 46 w 78"/>
                  <a:gd name="T11" fmla="*/ 35 h 42"/>
                  <a:gd name="T12" fmla="*/ 40 w 78"/>
                  <a:gd name="T13" fmla="*/ 33 h 42"/>
                  <a:gd name="T14" fmla="*/ 35 w 78"/>
                  <a:gd name="T15" fmla="*/ 29 h 42"/>
                  <a:gd name="T16" fmla="*/ 35 w 78"/>
                  <a:gd name="T17" fmla="*/ 29 h 42"/>
                  <a:gd name="T18" fmla="*/ 11 w 78"/>
                  <a:gd name="T19" fmla="*/ 14 h 42"/>
                  <a:gd name="T20" fmla="*/ 3 w 78"/>
                  <a:gd name="T21" fmla="*/ 7 h 42"/>
                  <a:gd name="T22" fmla="*/ 0 w 78"/>
                  <a:gd name="T23" fmla="*/ 4 h 42"/>
                  <a:gd name="T24" fmla="*/ 0 w 78"/>
                  <a:gd name="T25" fmla="*/ 0 h 42"/>
                  <a:gd name="T26" fmla="*/ 0 w 78"/>
                  <a:gd name="T27" fmla="*/ 0 h 42"/>
                  <a:gd name="T28" fmla="*/ 0 w 78"/>
                  <a:gd name="T29" fmla="*/ 4 h 42"/>
                  <a:gd name="T30" fmla="*/ 3 w 78"/>
                  <a:gd name="T31" fmla="*/ 7 h 42"/>
                  <a:gd name="T32" fmla="*/ 11 w 78"/>
                  <a:gd name="T33" fmla="*/ 14 h 42"/>
                  <a:gd name="T34" fmla="*/ 35 w 78"/>
                  <a:gd name="T35" fmla="*/ 29 h 42"/>
                  <a:gd name="T36" fmla="*/ 35 w 78"/>
                  <a:gd name="T37" fmla="*/ 29 h 42"/>
                  <a:gd name="T38" fmla="*/ 40 w 78"/>
                  <a:gd name="T39" fmla="*/ 33 h 42"/>
                  <a:gd name="T40" fmla="*/ 46 w 78"/>
                  <a:gd name="T41" fmla="*/ 35 h 42"/>
                  <a:gd name="T42" fmla="*/ 59 w 78"/>
                  <a:gd name="T43" fmla="*/ 37 h 42"/>
                  <a:gd name="T44" fmla="*/ 78 w 78"/>
                  <a:gd name="T45" fmla="*/ 42 h 42"/>
                  <a:gd name="T46" fmla="*/ 78 w 78"/>
                  <a:gd name="T47" fmla="*/ 42 h 42"/>
                  <a:gd name="T48" fmla="*/ 78 w 78"/>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42">
                    <a:moveTo>
                      <a:pt x="78" y="42"/>
                    </a:moveTo>
                    <a:lnTo>
                      <a:pt x="78" y="42"/>
                    </a:lnTo>
                    <a:lnTo>
                      <a:pt x="78" y="42"/>
                    </a:lnTo>
                    <a:lnTo>
                      <a:pt x="78" y="42"/>
                    </a:lnTo>
                    <a:lnTo>
                      <a:pt x="59" y="37"/>
                    </a:lnTo>
                    <a:lnTo>
                      <a:pt x="46" y="35"/>
                    </a:lnTo>
                    <a:lnTo>
                      <a:pt x="40" y="33"/>
                    </a:lnTo>
                    <a:lnTo>
                      <a:pt x="35" y="29"/>
                    </a:lnTo>
                    <a:lnTo>
                      <a:pt x="35" y="29"/>
                    </a:lnTo>
                    <a:lnTo>
                      <a:pt x="11" y="14"/>
                    </a:lnTo>
                    <a:lnTo>
                      <a:pt x="3" y="7"/>
                    </a:lnTo>
                    <a:lnTo>
                      <a:pt x="0" y="4"/>
                    </a:lnTo>
                    <a:lnTo>
                      <a:pt x="0" y="0"/>
                    </a:lnTo>
                    <a:lnTo>
                      <a:pt x="0" y="0"/>
                    </a:lnTo>
                    <a:lnTo>
                      <a:pt x="0" y="4"/>
                    </a:lnTo>
                    <a:lnTo>
                      <a:pt x="3" y="7"/>
                    </a:lnTo>
                    <a:lnTo>
                      <a:pt x="11" y="14"/>
                    </a:lnTo>
                    <a:lnTo>
                      <a:pt x="35" y="29"/>
                    </a:lnTo>
                    <a:lnTo>
                      <a:pt x="35" y="29"/>
                    </a:lnTo>
                    <a:lnTo>
                      <a:pt x="40" y="33"/>
                    </a:lnTo>
                    <a:lnTo>
                      <a:pt x="46" y="35"/>
                    </a:lnTo>
                    <a:lnTo>
                      <a:pt x="59" y="37"/>
                    </a:lnTo>
                    <a:lnTo>
                      <a:pt x="78" y="42"/>
                    </a:lnTo>
                    <a:lnTo>
                      <a:pt x="78" y="42"/>
                    </a:lnTo>
                    <a:lnTo>
                      <a:pt x="78"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60" name="Freeform 460"/>
              <p:cNvSpPr>
                <a:spLocks/>
              </p:cNvSpPr>
              <p:nvPr/>
            </p:nvSpPr>
            <p:spPr bwMode="auto">
              <a:xfrm>
                <a:off x="2763" y="2546"/>
                <a:ext cx="183" cy="158"/>
              </a:xfrm>
              <a:custGeom>
                <a:avLst/>
                <a:gdLst>
                  <a:gd name="T0" fmla="*/ 131 w 183"/>
                  <a:gd name="T1" fmla="*/ 107 h 158"/>
                  <a:gd name="T2" fmla="*/ 141 w 183"/>
                  <a:gd name="T3" fmla="*/ 97 h 158"/>
                  <a:gd name="T4" fmla="*/ 154 w 183"/>
                  <a:gd name="T5" fmla="*/ 84 h 158"/>
                  <a:gd name="T6" fmla="*/ 161 w 183"/>
                  <a:gd name="T7" fmla="*/ 74 h 158"/>
                  <a:gd name="T8" fmla="*/ 176 w 183"/>
                  <a:gd name="T9" fmla="*/ 49 h 158"/>
                  <a:gd name="T10" fmla="*/ 179 w 183"/>
                  <a:gd name="T11" fmla="*/ 39 h 158"/>
                  <a:gd name="T12" fmla="*/ 183 w 183"/>
                  <a:gd name="T13" fmla="*/ 12 h 158"/>
                  <a:gd name="T14" fmla="*/ 174 w 183"/>
                  <a:gd name="T15" fmla="*/ 0 h 158"/>
                  <a:gd name="T16" fmla="*/ 157 w 183"/>
                  <a:gd name="T17" fmla="*/ 9 h 158"/>
                  <a:gd name="T18" fmla="*/ 148 w 183"/>
                  <a:gd name="T19" fmla="*/ 10 h 158"/>
                  <a:gd name="T20" fmla="*/ 137 w 183"/>
                  <a:gd name="T21" fmla="*/ 12 h 158"/>
                  <a:gd name="T22" fmla="*/ 126 w 183"/>
                  <a:gd name="T23" fmla="*/ 9 h 158"/>
                  <a:gd name="T24" fmla="*/ 118 w 183"/>
                  <a:gd name="T25" fmla="*/ 10 h 158"/>
                  <a:gd name="T26" fmla="*/ 112 w 183"/>
                  <a:gd name="T27" fmla="*/ 12 h 158"/>
                  <a:gd name="T28" fmla="*/ 96 w 183"/>
                  <a:gd name="T29" fmla="*/ 13 h 158"/>
                  <a:gd name="T30" fmla="*/ 89 w 183"/>
                  <a:gd name="T31" fmla="*/ 12 h 158"/>
                  <a:gd name="T32" fmla="*/ 76 w 183"/>
                  <a:gd name="T33" fmla="*/ 7 h 158"/>
                  <a:gd name="T34" fmla="*/ 71 w 183"/>
                  <a:gd name="T35" fmla="*/ 7 h 158"/>
                  <a:gd name="T36" fmla="*/ 60 w 183"/>
                  <a:gd name="T37" fmla="*/ 12 h 158"/>
                  <a:gd name="T38" fmla="*/ 57 w 183"/>
                  <a:gd name="T39" fmla="*/ 12 h 158"/>
                  <a:gd name="T40" fmla="*/ 47 w 183"/>
                  <a:gd name="T41" fmla="*/ 3 h 158"/>
                  <a:gd name="T42" fmla="*/ 41 w 183"/>
                  <a:gd name="T43" fmla="*/ 3 h 158"/>
                  <a:gd name="T44" fmla="*/ 21 w 183"/>
                  <a:gd name="T45" fmla="*/ 9 h 158"/>
                  <a:gd name="T46" fmla="*/ 18 w 183"/>
                  <a:gd name="T47" fmla="*/ 13 h 158"/>
                  <a:gd name="T48" fmla="*/ 16 w 183"/>
                  <a:gd name="T49" fmla="*/ 26 h 158"/>
                  <a:gd name="T50" fmla="*/ 18 w 183"/>
                  <a:gd name="T51" fmla="*/ 44 h 158"/>
                  <a:gd name="T52" fmla="*/ 16 w 183"/>
                  <a:gd name="T53" fmla="*/ 54 h 158"/>
                  <a:gd name="T54" fmla="*/ 12 w 183"/>
                  <a:gd name="T55" fmla="*/ 64 h 158"/>
                  <a:gd name="T56" fmla="*/ 11 w 183"/>
                  <a:gd name="T57" fmla="*/ 71 h 158"/>
                  <a:gd name="T58" fmla="*/ 3 w 183"/>
                  <a:gd name="T59" fmla="*/ 87 h 158"/>
                  <a:gd name="T60" fmla="*/ 2 w 183"/>
                  <a:gd name="T61" fmla="*/ 96 h 158"/>
                  <a:gd name="T62" fmla="*/ 0 w 183"/>
                  <a:gd name="T63" fmla="*/ 123 h 158"/>
                  <a:gd name="T64" fmla="*/ 26 w 183"/>
                  <a:gd name="T65" fmla="*/ 122 h 158"/>
                  <a:gd name="T66" fmla="*/ 29 w 183"/>
                  <a:gd name="T67" fmla="*/ 125 h 158"/>
                  <a:gd name="T68" fmla="*/ 41 w 183"/>
                  <a:gd name="T69" fmla="*/ 136 h 158"/>
                  <a:gd name="T70" fmla="*/ 42 w 183"/>
                  <a:gd name="T71" fmla="*/ 141 h 158"/>
                  <a:gd name="T72" fmla="*/ 48 w 183"/>
                  <a:gd name="T73" fmla="*/ 154 h 158"/>
                  <a:gd name="T74" fmla="*/ 53 w 183"/>
                  <a:gd name="T75" fmla="*/ 157 h 158"/>
                  <a:gd name="T76" fmla="*/ 57 w 183"/>
                  <a:gd name="T77" fmla="*/ 158 h 158"/>
                  <a:gd name="T78" fmla="*/ 77 w 183"/>
                  <a:gd name="T79" fmla="*/ 157 h 158"/>
                  <a:gd name="T80" fmla="*/ 95 w 183"/>
                  <a:gd name="T81" fmla="*/ 155 h 158"/>
                  <a:gd name="T82" fmla="*/ 97 w 183"/>
                  <a:gd name="T83" fmla="*/ 141 h 158"/>
                  <a:gd name="T84" fmla="*/ 105 w 183"/>
                  <a:gd name="T85" fmla="*/ 129 h 158"/>
                  <a:gd name="T86" fmla="*/ 121 w 183"/>
                  <a:gd name="T87" fmla="*/ 117 h 158"/>
                  <a:gd name="T88" fmla="*/ 131 w 183"/>
                  <a:gd name="T89" fmla="*/ 107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3" h="158">
                    <a:moveTo>
                      <a:pt x="131" y="107"/>
                    </a:moveTo>
                    <a:lnTo>
                      <a:pt x="131" y="107"/>
                    </a:lnTo>
                    <a:lnTo>
                      <a:pt x="135" y="103"/>
                    </a:lnTo>
                    <a:lnTo>
                      <a:pt x="141" y="97"/>
                    </a:lnTo>
                    <a:lnTo>
                      <a:pt x="147" y="91"/>
                    </a:lnTo>
                    <a:lnTo>
                      <a:pt x="154" y="84"/>
                    </a:lnTo>
                    <a:lnTo>
                      <a:pt x="154" y="84"/>
                    </a:lnTo>
                    <a:lnTo>
                      <a:pt x="161" y="74"/>
                    </a:lnTo>
                    <a:lnTo>
                      <a:pt x="168" y="62"/>
                    </a:lnTo>
                    <a:lnTo>
                      <a:pt x="176" y="49"/>
                    </a:lnTo>
                    <a:lnTo>
                      <a:pt x="179" y="39"/>
                    </a:lnTo>
                    <a:lnTo>
                      <a:pt x="179" y="39"/>
                    </a:lnTo>
                    <a:lnTo>
                      <a:pt x="183" y="12"/>
                    </a:lnTo>
                    <a:lnTo>
                      <a:pt x="183" y="12"/>
                    </a:lnTo>
                    <a:lnTo>
                      <a:pt x="174" y="0"/>
                    </a:lnTo>
                    <a:lnTo>
                      <a:pt x="174" y="0"/>
                    </a:lnTo>
                    <a:lnTo>
                      <a:pt x="166" y="6"/>
                    </a:lnTo>
                    <a:lnTo>
                      <a:pt x="157" y="9"/>
                    </a:lnTo>
                    <a:lnTo>
                      <a:pt x="157" y="9"/>
                    </a:lnTo>
                    <a:lnTo>
                      <a:pt x="148" y="10"/>
                    </a:lnTo>
                    <a:lnTo>
                      <a:pt x="142" y="12"/>
                    </a:lnTo>
                    <a:lnTo>
                      <a:pt x="137" y="12"/>
                    </a:lnTo>
                    <a:lnTo>
                      <a:pt x="137" y="12"/>
                    </a:lnTo>
                    <a:lnTo>
                      <a:pt x="126" y="9"/>
                    </a:lnTo>
                    <a:lnTo>
                      <a:pt x="122" y="9"/>
                    </a:lnTo>
                    <a:lnTo>
                      <a:pt x="118" y="10"/>
                    </a:lnTo>
                    <a:lnTo>
                      <a:pt x="118" y="10"/>
                    </a:lnTo>
                    <a:lnTo>
                      <a:pt x="112" y="12"/>
                    </a:lnTo>
                    <a:lnTo>
                      <a:pt x="105" y="13"/>
                    </a:lnTo>
                    <a:lnTo>
                      <a:pt x="96" y="13"/>
                    </a:lnTo>
                    <a:lnTo>
                      <a:pt x="89" y="12"/>
                    </a:lnTo>
                    <a:lnTo>
                      <a:pt x="89" y="12"/>
                    </a:lnTo>
                    <a:lnTo>
                      <a:pt x="80" y="7"/>
                    </a:lnTo>
                    <a:lnTo>
                      <a:pt x="76" y="7"/>
                    </a:lnTo>
                    <a:lnTo>
                      <a:pt x="71" y="7"/>
                    </a:lnTo>
                    <a:lnTo>
                      <a:pt x="71" y="7"/>
                    </a:lnTo>
                    <a:lnTo>
                      <a:pt x="64" y="12"/>
                    </a:lnTo>
                    <a:lnTo>
                      <a:pt x="60" y="12"/>
                    </a:lnTo>
                    <a:lnTo>
                      <a:pt x="57" y="12"/>
                    </a:lnTo>
                    <a:lnTo>
                      <a:pt x="57" y="12"/>
                    </a:lnTo>
                    <a:lnTo>
                      <a:pt x="51" y="6"/>
                    </a:lnTo>
                    <a:lnTo>
                      <a:pt x="47" y="3"/>
                    </a:lnTo>
                    <a:lnTo>
                      <a:pt x="41" y="3"/>
                    </a:lnTo>
                    <a:lnTo>
                      <a:pt x="41" y="3"/>
                    </a:lnTo>
                    <a:lnTo>
                      <a:pt x="28" y="6"/>
                    </a:lnTo>
                    <a:lnTo>
                      <a:pt x="21" y="9"/>
                    </a:lnTo>
                    <a:lnTo>
                      <a:pt x="19" y="10"/>
                    </a:lnTo>
                    <a:lnTo>
                      <a:pt x="18" y="13"/>
                    </a:lnTo>
                    <a:lnTo>
                      <a:pt x="18" y="13"/>
                    </a:lnTo>
                    <a:lnTo>
                      <a:pt x="16" y="26"/>
                    </a:lnTo>
                    <a:lnTo>
                      <a:pt x="18" y="44"/>
                    </a:lnTo>
                    <a:lnTo>
                      <a:pt x="18" y="44"/>
                    </a:lnTo>
                    <a:lnTo>
                      <a:pt x="18" y="49"/>
                    </a:lnTo>
                    <a:lnTo>
                      <a:pt x="16" y="54"/>
                    </a:lnTo>
                    <a:lnTo>
                      <a:pt x="13" y="58"/>
                    </a:lnTo>
                    <a:lnTo>
                      <a:pt x="12" y="64"/>
                    </a:lnTo>
                    <a:lnTo>
                      <a:pt x="12" y="64"/>
                    </a:lnTo>
                    <a:lnTo>
                      <a:pt x="11" y="71"/>
                    </a:lnTo>
                    <a:lnTo>
                      <a:pt x="6" y="80"/>
                    </a:lnTo>
                    <a:lnTo>
                      <a:pt x="3" y="87"/>
                    </a:lnTo>
                    <a:lnTo>
                      <a:pt x="2" y="96"/>
                    </a:lnTo>
                    <a:lnTo>
                      <a:pt x="2" y="96"/>
                    </a:lnTo>
                    <a:lnTo>
                      <a:pt x="0" y="107"/>
                    </a:lnTo>
                    <a:lnTo>
                      <a:pt x="0" y="123"/>
                    </a:lnTo>
                    <a:lnTo>
                      <a:pt x="0" y="123"/>
                    </a:lnTo>
                    <a:lnTo>
                      <a:pt x="26" y="122"/>
                    </a:lnTo>
                    <a:lnTo>
                      <a:pt x="26" y="122"/>
                    </a:lnTo>
                    <a:lnTo>
                      <a:pt x="29" y="125"/>
                    </a:lnTo>
                    <a:lnTo>
                      <a:pt x="34" y="129"/>
                    </a:lnTo>
                    <a:lnTo>
                      <a:pt x="41" y="136"/>
                    </a:lnTo>
                    <a:lnTo>
                      <a:pt x="41" y="136"/>
                    </a:lnTo>
                    <a:lnTo>
                      <a:pt x="42" y="141"/>
                    </a:lnTo>
                    <a:lnTo>
                      <a:pt x="45" y="146"/>
                    </a:lnTo>
                    <a:lnTo>
                      <a:pt x="48" y="154"/>
                    </a:lnTo>
                    <a:lnTo>
                      <a:pt x="50" y="155"/>
                    </a:lnTo>
                    <a:lnTo>
                      <a:pt x="53" y="157"/>
                    </a:lnTo>
                    <a:lnTo>
                      <a:pt x="53" y="157"/>
                    </a:lnTo>
                    <a:lnTo>
                      <a:pt x="57" y="158"/>
                    </a:lnTo>
                    <a:lnTo>
                      <a:pt x="63" y="158"/>
                    </a:lnTo>
                    <a:lnTo>
                      <a:pt x="77" y="157"/>
                    </a:lnTo>
                    <a:lnTo>
                      <a:pt x="77" y="157"/>
                    </a:lnTo>
                    <a:lnTo>
                      <a:pt x="95" y="155"/>
                    </a:lnTo>
                    <a:lnTo>
                      <a:pt x="95" y="155"/>
                    </a:lnTo>
                    <a:lnTo>
                      <a:pt x="97" y="141"/>
                    </a:lnTo>
                    <a:lnTo>
                      <a:pt x="100" y="135"/>
                    </a:lnTo>
                    <a:lnTo>
                      <a:pt x="105" y="129"/>
                    </a:lnTo>
                    <a:lnTo>
                      <a:pt x="105" y="129"/>
                    </a:lnTo>
                    <a:lnTo>
                      <a:pt x="121" y="117"/>
                    </a:lnTo>
                    <a:lnTo>
                      <a:pt x="126" y="113"/>
                    </a:lnTo>
                    <a:lnTo>
                      <a:pt x="131" y="107"/>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61" name="Freeform 461"/>
              <p:cNvSpPr>
                <a:spLocks/>
              </p:cNvSpPr>
              <p:nvPr/>
            </p:nvSpPr>
            <p:spPr bwMode="auto">
              <a:xfrm>
                <a:off x="2763" y="2546"/>
                <a:ext cx="183" cy="158"/>
              </a:xfrm>
              <a:custGeom>
                <a:avLst/>
                <a:gdLst>
                  <a:gd name="T0" fmla="*/ 131 w 183"/>
                  <a:gd name="T1" fmla="*/ 107 h 158"/>
                  <a:gd name="T2" fmla="*/ 141 w 183"/>
                  <a:gd name="T3" fmla="*/ 97 h 158"/>
                  <a:gd name="T4" fmla="*/ 154 w 183"/>
                  <a:gd name="T5" fmla="*/ 84 h 158"/>
                  <a:gd name="T6" fmla="*/ 161 w 183"/>
                  <a:gd name="T7" fmla="*/ 74 h 158"/>
                  <a:gd name="T8" fmla="*/ 176 w 183"/>
                  <a:gd name="T9" fmla="*/ 49 h 158"/>
                  <a:gd name="T10" fmla="*/ 179 w 183"/>
                  <a:gd name="T11" fmla="*/ 39 h 158"/>
                  <a:gd name="T12" fmla="*/ 183 w 183"/>
                  <a:gd name="T13" fmla="*/ 12 h 158"/>
                  <a:gd name="T14" fmla="*/ 174 w 183"/>
                  <a:gd name="T15" fmla="*/ 0 h 158"/>
                  <a:gd name="T16" fmla="*/ 157 w 183"/>
                  <a:gd name="T17" fmla="*/ 9 h 158"/>
                  <a:gd name="T18" fmla="*/ 148 w 183"/>
                  <a:gd name="T19" fmla="*/ 10 h 158"/>
                  <a:gd name="T20" fmla="*/ 137 w 183"/>
                  <a:gd name="T21" fmla="*/ 12 h 158"/>
                  <a:gd name="T22" fmla="*/ 126 w 183"/>
                  <a:gd name="T23" fmla="*/ 9 h 158"/>
                  <a:gd name="T24" fmla="*/ 118 w 183"/>
                  <a:gd name="T25" fmla="*/ 10 h 158"/>
                  <a:gd name="T26" fmla="*/ 112 w 183"/>
                  <a:gd name="T27" fmla="*/ 12 h 158"/>
                  <a:gd name="T28" fmla="*/ 96 w 183"/>
                  <a:gd name="T29" fmla="*/ 13 h 158"/>
                  <a:gd name="T30" fmla="*/ 89 w 183"/>
                  <a:gd name="T31" fmla="*/ 12 h 158"/>
                  <a:gd name="T32" fmla="*/ 76 w 183"/>
                  <a:gd name="T33" fmla="*/ 7 h 158"/>
                  <a:gd name="T34" fmla="*/ 71 w 183"/>
                  <a:gd name="T35" fmla="*/ 7 h 158"/>
                  <a:gd name="T36" fmla="*/ 60 w 183"/>
                  <a:gd name="T37" fmla="*/ 12 h 158"/>
                  <a:gd name="T38" fmla="*/ 57 w 183"/>
                  <a:gd name="T39" fmla="*/ 12 h 158"/>
                  <a:gd name="T40" fmla="*/ 47 w 183"/>
                  <a:gd name="T41" fmla="*/ 3 h 158"/>
                  <a:gd name="T42" fmla="*/ 41 w 183"/>
                  <a:gd name="T43" fmla="*/ 3 h 158"/>
                  <a:gd name="T44" fmla="*/ 21 w 183"/>
                  <a:gd name="T45" fmla="*/ 9 h 158"/>
                  <a:gd name="T46" fmla="*/ 18 w 183"/>
                  <a:gd name="T47" fmla="*/ 13 h 158"/>
                  <a:gd name="T48" fmla="*/ 16 w 183"/>
                  <a:gd name="T49" fmla="*/ 26 h 158"/>
                  <a:gd name="T50" fmla="*/ 18 w 183"/>
                  <a:gd name="T51" fmla="*/ 44 h 158"/>
                  <a:gd name="T52" fmla="*/ 16 w 183"/>
                  <a:gd name="T53" fmla="*/ 54 h 158"/>
                  <a:gd name="T54" fmla="*/ 12 w 183"/>
                  <a:gd name="T55" fmla="*/ 64 h 158"/>
                  <a:gd name="T56" fmla="*/ 11 w 183"/>
                  <a:gd name="T57" fmla="*/ 71 h 158"/>
                  <a:gd name="T58" fmla="*/ 3 w 183"/>
                  <a:gd name="T59" fmla="*/ 87 h 158"/>
                  <a:gd name="T60" fmla="*/ 2 w 183"/>
                  <a:gd name="T61" fmla="*/ 96 h 158"/>
                  <a:gd name="T62" fmla="*/ 0 w 183"/>
                  <a:gd name="T63" fmla="*/ 123 h 158"/>
                  <a:gd name="T64" fmla="*/ 26 w 183"/>
                  <a:gd name="T65" fmla="*/ 122 h 158"/>
                  <a:gd name="T66" fmla="*/ 29 w 183"/>
                  <a:gd name="T67" fmla="*/ 125 h 158"/>
                  <a:gd name="T68" fmla="*/ 41 w 183"/>
                  <a:gd name="T69" fmla="*/ 136 h 158"/>
                  <a:gd name="T70" fmla="*/ 42 w 183"/>
                  <a:gd name="T71" fmla="*/ 141 h 158"/>
                  <a:gd name="T72" fmla="*/ 48 w 183"/>
                  <a:gd name="T73" fmla="*/ 154 h 158"/>
                  <a:gd name="T74" fmla="*/ 53 w 183"/>
                  <a:gd name="T75" fmla="*/ 157 h 158"/>
                  <a:gd name="T76" fmla="*/ 57 w 183"/>
                  <a:gd name="T77" fmla="*/ 158 h 158"/>
                  <a:gd name="T78" fmla="*/ 77 w 183"/>
                  <a:gd name="T79" fmla="*/ 157 h 158"/>
                  <a:gd name="T80" fmla="*/ 95 w 183"/>
                  <a:gd name="T81" fmla="*/ 155 h 158"/>
                  <a:gd name="T82" fmla="*/ 97 w 183"/>
                  <a:gd name="T83" fmla="*/ 141 h 158"/>
                  <a:gd name="T84" fmla="*/ 105 w 183"/>
                  <a:gd name="T85" fmla="*/ 129 h 158"/>
                  <a:gd name="T86" fmla="*/ 121 w 183"/>
                  <a:gd name="T87" fmla="*/ 117 h 158"/>
                  <a:gd name="T88" fmla="*/ 131 w 183"/>
                  <a:gd name="T89" fmla="*/ 107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3" h="158">
                    <a:moveTo>
                      <a:pt x="131" y="107"/>
                    </a:moveTo>
                    <a:lnTo>
                      <a:pt x="131" y="107"/>
                    </a:lnTo>
                    <a:lnTo>
                      <a:pt x="135" y="103"/>
                    </a:lnTo>
                    <a:lnTo>
                      <a:pt x="141" y="97"/>
                    </a:lnTo>
                    <a:lnTo>
                      <a:pt x="147" y="91"/>
                    </a:lnTo>
                    <a:lnTo>
                      <a:pt x="154" y="84"/>
                    </a:lnTo>
                    <a:lnTo>
                      <a:pt x="154" y="84"/>
                    </a:lnTo>
                    <a:lnTo>
                      <a:pt x="161" y="74"/>
                    </a:lnTo>
                    <a:lnTo>
                      <a:pt x="168" y="62"/>
                    </a:lnTo>
                    <a:lnTo>
                      <a:pt x="176" y="49"/>
                    </a:lnTo>
                    <a:lnTo>
                      <a:pt x="179" y="39"/>
                    </a:lnTo>
                    <a:lnTo>
                      <a:pt x="179" y="39"/>
                    </a:lnTo>
                    <a:lnTo>
                      <a:pt x="183" y="12"/>
                    </a:lnTo>
                    <a:lnTo>
                      <a:pt x="183" y="12"/>
                    </a:lnTo>
                    <a:lnTo>
                      <a:pt x="174" y="0"/>
                    </a:lnTo>
                    <a:lnTo>
                      <a:pt x="174" y="0"/>
                    </a:lnTo>
                    <a:lnTo>
                      <a:pt x="166" y="6"/>
                    </a:lnTo>
                    <a:lnTo>
                      <a:pt x="157" y="9"/>
                    </a:lnTo>
                    <a:lnTo>
                      <a:pt x="157" y="9"/>
                    </a:lnTo>
                    <a:lnTo>
                      <a:pt x="148" y="10"/>
                    </a:lnTo>
                    <a:lnTo>
                      <a:pt x="142" y="12"/>
                    </a:lnTo>
                    <a:lnTo>
                      <a:pt x="137" y="12"/>
                    </a:lnTo>
                    <a:lnTo>
                      <a:pt x="137" y="12"/>
                    </a:lnTo>
                    <a:lnTo>
                      <a:pt x="126" y="9"/>
                    </a:lnTo>
                    <a:lnTo>
                      <a:pt x="122" y="9"/>
                    </a:lnTo>
                    <a:lnTo>
                      <a:pt x="118" y="10"/>
                    </a:lnTo>
                    <a:lnTo>
                      <a:pt x="118" y="10"/>
                    </a:lnTo>
                    <a:lnTo>
                      <a:pt x="112" y="12"/>
                    </a:lnTo>
                    <a:lnTo>
                      <a:pt x="105" y="13"/>
                    </a:lnTo>
                    <a:lnTo>
                      <a:pt x="96" y="13"/>
                    </a:lnTo>
                    <a:lnTo>
                      <a:pt x="89" y="12"/>
                    </a:lnTo>
                    <a:lnTo>
                      <a:pt x="89" y="12"/>
                    </a:lnTo>
                    <a:lnTo>
                      <a:pt x="80" y="7"/>
                    </a:lnTo>
                    <a:lnTo>
                      <a:pt x="76" y="7"/>
                    </a:lnTo>
                    <a:lnTo>
                      <a:pt x="71" y="7"/>
                    </a:lnTo>
                    <a:lnTo>
                      <a:pt x="71" y="7"/>
                    </a:lnTo>
                    <a:lnTo>
                      <a:pt x="64" y="12"/>
                    </a:lnTo>
                    <a:lnTo>
                      <a:pt x="60" y="12"/>
                    </a:lnTo>
                    <a:lnTo>
                      <a:pt x="57" y="12"/>
                    </a:lnTo>
                    <a:lnTo>
                      <a:pt x="57" y="12"/>
                    </a:lnTo>
                    <a:lnTo>
                      <a:pt x="51" y="6"/>
                    </a:lnTo>
                    <a:lnTo>
                      <a:pt x="47" y="3"/>
                    </a:lnTo>
                    <a:lnTo>
                      <a:pt x="41" y="3"/>
                    </a:lnTo>
                    <a:lnTo>
                      <a:pt x="41" y="3"/>
                    </a:lnTo>
                    <a:lnTo>
                      <a:pt x="28" y="6"/>
                    </a:lnTo>
                    <a:lnTo>
                      <a:pt x="21" y="9"/>
                    </a:lnTo>
                    <a:lnTo>
                      <a:pt x="19" y="10"/>
                    </a:lnTo>
                    <a:lnTo>
                      <a:pt x="18" y="13"/>
                    </a:lnTo>
                    <a:lnTo>
                      <a:pt x="18" y="13"/>
                    </a:lnTo>
                    <a:lnTo>
                      <a:pt x="16" y="26"/>
                    </a:lnTo>
                    <a:lnTo>
                      <a:pt x="18" y="44"/>
                    </a:lnTo>
                    <a:lnTo>
                      <a:pt x="18" y="44"/>
                    </a:lnTo>
                    <a:lnTo>
                      <a:pt x="18" y="49"/>
                    </a:lnTo>
                    <a:lnTo>
                      <a:pt x="16" y="54"/>
                    </a:lnTo>
                    <a:lnTo>
                      <a:pt x="13" y="58"/>
                    </a:lnTo>
                    <a:lnTo>
                      <a:pt x="12" y="64"/>
                    </a:lnTo>
                    <a:lnTo>
                      <a:pt x="12" y="64"/>
                    </a:lnTo>
                    <a:lnTo>
                      <a:pt x="11" y="71"/>
                    </a:lnTo>
                    <a:lnTo>
                      <a:pt x="6" y="80"/>
                    </a:lnTo>
                    <a:lnTo>
                      <a:pt x="3" y="87"/>
                    </a:lnTo>
                    <a:lnTo>
                      <a:pt x="2" y="96"/>
                    </a:lnTo>
                    <a:lnTo>
                      <a:pt x="2" y="96"/>
                    </a:lnTo>
                    <a:lnTo>
                      <a:pt x="0" y="107"/>
                    </a:lnTo>
                    <a:lnTo>
                      <a:pt x="0" y="123"/>
                    </a:lnTo>
                    <a:lnTo>
                      <a:pt x="0" y="123"/>
                    </a:lnTo>
                    <a:lnTo>
                      <a:pt x="26" y="122"/>
                    </a:lnTo>
                    <a:lnTo>
                      <a:pt x="26" y="122"/>
                    </a:lnTo>
                    <a:lnTo>
                      <a:pt x="29" y="125"/>
                    </a:lnTo>
                    <a:lnTo>
                      <a:pt x="34" y="129"/>
                    </a:lnTo>
                    <a:lnTo>
                      <a:pt x="41" y="136"/>
                    </a:lnTo>
                    <a:lnTo>
                      <a:pt x="41" y="136"/>
                    </a:lnTo>
                    <a:lnTo>
                      <a:pt x="42" y="141"/>
                    </a:lnTo>
                    <a:lnTo>
                      <a:pt x="45" y="146"/>
                    </a:lnTo>
                    <a:lnTo>
                      <a:pt x="48" y="154"/>
                    </a:lnTo>
                    <a:lnTo>
                      <a:pt x="50" y="155"/>
                    </a:lnTo>
                    <a:lnTo>
                      <a:pt x="53" y="157"/>
                    </a:lnTo>
                    <a:lnTo>
                      <a:pt x="53" y="157"/>
                    </a:lnTo>
                    <a:lnTo>
                      <a:pt x="57" y="158"/>
                    </a:lnTo>
                    <a:lnTo>
                      <a:pt x="63" y="158"/>
                    </a:lnTo>
                    <a:lnTo>
                      <a:pt x="77" y="157"/>
                    </a:lnTo>
                    <a:lnTo>
                      <a:pt x="77" y="157"/>
                    </a:lnTo>
                    <a:lnTo>
                      <a:pt x="95" y="155"/>
                    </a:lnTo>
                    <a:lnTo>
                      <a:pt x="95" y="155"/>
                    </a:lnTo>
                    <a:lnTo>
                      <a:pt x="97" y="141"/>
                    </a:lnTo>
                    <a:lnTo>
                      <a:pt x="100" y="135"/>
                    </a:lnTo>
                    <a:lnTo>
                      <a:pt x="105" y="129"/>
                    </a:lnTo>
                    <a:lnTo>
                      <a:pt x="105" y="129"/>
                    </a:lnTo>
                    <a:lnTo>
                      <a:pt x="121" y="117"/>
                    </a:lnTo>
                    <a:lnTo>
                      <a:pt x="126" y="113"/>
                    </a:lnTo>
                    <a:lnTo>
                      <a:pt x="131" y="10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62" name="Freeform 462"/>
              <p:cNvSpPr>
                <a:spLocks/>
              </p:cNvSpPr>
              <p:nvPr/>
            </p:nvSpPr>
            <p:spPr bwMode="auto">
              <a:xfrm>
                <a:off x="2858" y="2558"/>
                <a:ext cx="120" cy="187"/>
              </a:xfrm>
              <a:custGeom>
                <a:avLst/>
                <a:gdLst>
                  <a:gd name="T0" fmla="*/ 117 w 120"/>
                  <a:gd name="T1" fmla="*/ 172 h 187"/>
                  <a:gd name="T2" fmla="*/ 101 w 120"/>
                  <a:gd name="T3" fmla="*/ 152 h 187"/>
                  <a:gd name="T4" fmla="*/ 92 w 120"/>
                  <a:gd name="T5" fmla="*/ 133 h 187"/>
                  <a:gd name="T6" fmla="*/ 92 w 120"/>
                  <a:gd name="T7" fmla="*/ 127 h 187"/>
                  <a:gd name="T8" fmla="*/ 98 w 120"/>
                  <a:gd name="T9" fmla="*/ 114 h 187"/>
                  <a:gd name="T10" fmla="*/ 108 w 120"/>
                  <a:gd name="T11" fmla="*/ 101 h 187"/>
                  <a:gd name="T12" fmla="*/ 110 w 120"/>
                  <a:gd name="T13" fmla="*/ 94 h 187"/>
                  <a:gd name="T14" fmla="*/ 108 w 120"/>
                  <a:gd name="T15" fmla="*/ 88 h 187"/>
                  <a:gd name="T16" fmla="*/ 97 w 120"/>
                  <a:gd name="T17" fmla="*/ 75 h 187"/>
                  <a:gd name="T18" fmla="*/ 89 w 120"/>
                  <a:gd name="T19" fmla="*/ 66 h 187"/>
                  <a:gd name="T20" fmla="*/ 89 w 120"/>
                  <a:gd name="T21" fmla="*/ 55 h 187"/>
                  <a:gd name="T22" fmla="*/ 89 w 120"/>
                  <a:gd name="T23" fmla="*/ 55 h 187"/>
                  <a:gd name="T24" fmla="*/ 110 w 120"/>
                  <a:gd name="T25" fmla="*/ 55 h 187"/>
                  <a:gd name="T26" fmla="*/ 105 w 120"/>
                  <a:gd name="T27" fmla="*/ 48 h 187"/>
                  <a:gd name="T28" fmla="*/ 104 w 120"/>
                  <a:gd name="T29" fmla="*/ 42 h 187"/>
                  <a:gd name="T30" fmla="*/ 102 w 120"/>
                  <a:gd name="T31" fmla="*/ 16 h 187"/>
                  <a:gd name="T32" fmla="*/ 97 w 120"/>
                  <a:gd name="T33" fmla="*/ 8 h 187"/>
                  <a:gd name="T34" fmla="*/ 88 w 120"/>
                  <a:gd name="T35" fmla="*/ 0 h 187"/>
                  <a:gd name="T36" fmla="*/ 84 w 120"/>
                  <a:gd name="T37" fmla="*/ 27 h 187"/>
                  <a:gd name="T38" fmla="*/ 81 w 120"/>
                  <a:gd name="T39" fmla="*/ 37 h 187"/>
                  <a:gd name="T40" fmla="*/ 66 w 120"/>
                  <a:gd name="T41" fmla="*/ 62 h 187"/>
                  <a:gd name="T42" fmla="*/ 59 w 120"/>
                  <a:gd name="T43" fmla="*/ 72 h 187"/>
                  <a:gd name="T44" fmla="*/ 46 w 120"/>
                  <a:gd name="T45" fmla="*/ 85 h 187"/>
                  <a:gd name="T46" fmla="*/ 36 w 120"/>
                  <a:gd name="T47" fmla="*/ 95 h 187"/>
                  <a:gd name="T48" fmla="*/ 31 w 120"/>
                  <a:gd name="T49" fmla="*/ 101 h 187"/>
                  <a:gd name="T50" fmla="*/ 10 w 120"/>
                  <a:gd name="T51" fmla="*/ 117 h 187"/>
                  <a:gd name="T52" fmla="*/ 5 w 120"/>
                  <a:gd name="T53" fmla="*/ 123 h 187"/>
                  <a:gd name="T54" fmla="*/ 0 w 120"/>
                  <a:gd name="T55" fmla="*/ 143 h 187"/>
                  <a:gd name="T56" fmla="*/ 1 w 120"/>
                  <a:gd name="T57" fmla="*/ 143 h 187"/>
                  <a:gd name="T58" fmla="*/ 7 w 120"/>
                  <a:gd name="T59" fmla="*/ 145 h 187"/>
                  <a:gd name="T60" fmla="*/ 14 w 120"/>
                  <a:gd name="T61" fmla="*/ 150 h 187"/>
                  <a:gd name="T62" fmla="*/ 17 w 120"/>
                  <a:gd name="T63" fmla="*/ 153 h 187"/>
                  <a:gd name="T64" fmla="*/ 20 w 120"/>
                  <a:gd name="T65" fmla="*/ 165 h 187"/>
                  <a:gd name="T66" fmla="*/ 21 w 120"/>
                  <a:gd name="T67" fmla="*/ 171 h 187"/>
                  <a:gd name="T68" fmla="*/ 18 w 120"/>
                  <a:gd name="T69" fmla="*/ 179 h 187"/>
                  <a:gd name="T70" fmla="*/ 76 w 120"/>
                  <a:gd name="T71" fmla="*/ 179 h 187"/>
                  <a:gd name="T72" fmla="*/ 86 w 120"/>
                  <a:gd name="T73" fmla="*/ 181 h 187"/>
                  <a:gd name="T74" fmla="*/ 104 w 120"/>
                  <a:gd name="T75" fmla="*/ 185 h 187"/>
                  <a:gd name="T76" fmla="*/ 111 w 120"/>
                  <a:gd name="T77" fmla="*/ 187 h 187"/>
                  <a:gd name="T78" fmla="*/ 120 w 120"/>
                  <a:gd name="T79" fmla="*/ 181 h 187"/>
                  <a:gd name="T80" fmla="*/ 117 w 120"/>
                  <a:gd name="T81" fmla="*/ 17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0" h="187">
                    <a:moveTo>
                      <a:pt x="117" y="172"/>
                    </a:moveTo>
                    <a:lnTo>
                      <a:pt x="117" y="172"/>
                    </a:lnTo>
                    <a:lnTo>
                      <a:pt x="110" y="163"/>
                    </a:lnTo>
                    <a:lnTo>
                      <a:pt x="101" y="152"/>
                    </a:lnTo>
                    <a:lnTo>
                      <a:pt x="95" y="139"/>
                    </a:lnTo>
                    <a:lnTo>
                      <a:pt x="92" y="133"/>
                    </a:lnTo>
                    <a:lnTo>
                      <a:pt x="92" y="127"/>
                    </a:lnTo>
                    <a:lnTo>
                      <a:pt x="92" y="127"/>
                    </a:lnTo>
                    <a:lnTo>
                      <a:pt x="94" y="121"/>
                    </a:lnTo>
                    <a:lnTo>
                      <a:pt x="98" y="114"/>
                    </a:lnTo>
                    <a:lnTo>
                      <a:pt x="102" y="108"/>
                    </a:lnTo>
                    <a:lnTo>
                      <a:pt x="108" y="101"/>
                    </a:lnTo>
                    <a:lnTo>
                      <a:pt x="108" y="101"/>
                    </a:lnTo>
                    <a:lnTo>
                      <a:pt x="110" y="94"/>
                    </a:lnTo>
                    <a:lnTo>
                      <a:pt x="108" y="88"/>
                    </a:lnTo>
                    <a:lnTo>
                      <a:pt x="108" y="88"/>
                    </a:lnTo>
                    <a:lnTo>
                      <a:pt x="102" y="81"/>
                    </a:lnTo>
                    <a:lnTo>
                      <a:pt x="97" y="75"/>
                    </a:lnTo>
                    <a:lnTo>
                      <a:pt x="92" y="69"/>
                    </a:lnTo>
                    <a:lnTo>
                      <a:pt x="89" y="66"/>
                    </a:lnTo>
                    <a:lnTo>
                      <a:pt x="89" y="62"/>
                    </a:lnTo>
                    <a:lnTo>
                      <a:pt x="89" y="55"/>
                    </a:lnTo>
                    <a:lnTo>
                      <a:pt x="89" y="55"/>
                    </a:lnTo>
                    <a:lnTo>
                      <a:pt x="89" y="55"/>
                    </a:lnTo>
                    <a:lnTo>
                      <a:pt x="110" y="55"/>
                    </a:lnTo>
                    <a:lnTo>
                      <a:pt x="110" y="55"/>
                    </a:lnTo>
                    <a:lnTo>
                      <a:pt x="107" y="52"/>
                    </a:lnTo>
                    <a:lnTo>
                      <a:pt x="105" y="48"/>
                    </a:lnTo>
                    <a:lnTo>
                      <a:pt x="104" y="42"/>
                    </a:lnTo>
                    <a:lnTo>
                      <a:pt x="104" y="42"/>
                    </a:lnTo>
                    <a:lnTo>
                      <a:pt x="104" y="24"/>
                    </a:lnTo>
                    <a:lnTo>
                      <a:pt x="102" y="16"/>
                    </a:lnTo>
                    <a:lnTo>
                      <a:pt x="99" y="11"/>
                    </a:lnTo>
                    <a:lnTo>
                      <a:pt x="97" y="8"/>
                    </a:lnTo>
                    <a:lnTo>
                      <a:pt x="97" y="8"/>
                    </a:lnTo>
                    <a:lnTo>
                      <a:pt x="88" y="0"/>
                    </a:lnTo>
                    <a:lnTo>
                      <a:pt x="88" y="0"/>
                    </a:lnTo>
                    <a:lnTo>
                      <a:pt x="84" y="27"/>
                    </a:lnTo>
                    <a:lnTo>
                      <a:pt x="84" y="27"/>
                    </a:lnTo>
                    <a:lnTo>
                      <a:pt x="81" y="37"/>
                    </a:lnTo>
                    <a:lnTo>
                      <a:pt x="73" y="50"/>
                    </a:lnTo>
                    <a:lnTo>
                      <a:pt x="66" y="62"/>
                    </a:lnTo>
                    <a:lnTo>
                      <a:pt x="59" y="72"/>
                    </a:lnTo>
                    <a:lnTo>
                      <a:pt x="59" y="72"/>
                    </a:lnTo>
                    <a:lnTo>
                      <a:pt x="52" y="79"/>
                    </a:lnTo>
                    <a:lnTo>
                      <a:pt x="46" y="85"/>
                    </a:lnTo>
                    <a:lnTo>
                      <a:pt x="40" y="91"/>
                    </a:lnTo>
                    <a:lnTo>
                      <a:pt x="36" y="95"/>
                    </a:lnTo>
                    <a:lnTo>
                      <a:pt x="36" y="95"/>
                    </a:lnTo>
                    <a:lnTo>
                      <a:pt x="31" y="101"/>
                    </a:lnTo>
                    <a:lnTo>
                      <a:pt x="26" y="105"/>
                    </a:lnTo>
                    <a:lnTo>
                      <a:pt x="10" y="117"/>
                    </a:lnTo>
                    <a:lnTo>
                      <a:pt x="10" y="117"/>
                    </a:lnTo>
                    <a:lnTo>
                      <a:pt x="5" y="123"/>
                    </a:lnTo>
                    <a:lnTo>
                      <a:pt x="2" y="129"/>
                    </a:lnTo>
                    <a:lnTo>
                      <a:pt x="0" y="143"/>
                    </a:lnTo>
                    <a:lnTo>
                      <a:pt x="0" y="143"/>
                    </a:lnTo>
                    <a:lnTo>
                      <a:pt x="1" y="143"/>
                    </a:lnTo>
                    <a:lnTo>
                      <a:pt x="1" y="143"/>
                    </a:lnTo>
                    <a:lnTo>
                      <a:pt x="7" y="145"/>
                    </a:lnTo>
                    <a:lnTo>
                      <a:pt x="10" y="147"/>
                    </a:lnTo>
                    <a:lnTo>
                      <a:pt x="14" y="150"/>
                    </a:lnTo>
                    <a:lnTo>
                      <a:pt x="14" y="150"/>
                    </a:lnTo>
                    <a:lnTo>
                      <a:pt x="17" y="153"/>
                    </a:lnTo>
                    <a:lnTo>
                      <a:pt x="18" y="159"/>
                    </a:lnTo>
                    <a:lnTo>
                      <a:pt x="20" y="165"/>
                    </a:lnTo>
                    <a:lnTo>
                      <a:pt x="21" y="171"/>
                    </a:lnTo>
                    <a:lnTo>
                      <a:pt x="21" y="171"/>
                    </a:lnTo>
                    <a:lnTo>
                      <a:pt x="18" y="179"/>
                    </a:lnTo>
                    <a:lnTo>
                      <a:pt x="18" y="179"/>
                    </a:lnTo>
                    <a:lnTo>
                      <a:pt x="50" y="179"/>
                    </a:lnTo>
                    <a:lnTo>
                      <a:pt x="76" y="179"/>
                    </a:lnTo>
                    <a:lnTo>
                      <a:pt x="76" y="179"/>
                    </a:lnTo>
                    <a:lnTo>
                      <a:pt x="86" y="181"/>
                    </a:lnTo>
                    <a:lnTo>
                      <a:pt x="97" y="184"/>
                    </a:lnTo>
                    <a:lnTo>
                      <a:pt x="104" y="185"/>
                    </a:lnTo>
                    <a:lnTo>
                      <a:pt x="111" y="187"/>
                    </a:lnTo>
                    <a:lnTo>
                      <a:pt x="111" y="187"/>
                    </a:lnTo>
                    <a:lnTo>
                      <a:pt x="117" y="184"/>
                    </a:lnTo>
                    <a:lnTo>
                      <a:pt x="120" y="181"/>
                    </a:lnTo>
                    <a:lnTo>
                      <a:pt x="120" y="176"/>
                    </a:lnTo>
                    <a:lnTo>
                      <a:pt x="117" y="172"/>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63" name="Freeform 463"/>
              <p:cNvSpPr>
                <a:spLocks/>
              </p:cNvSpPr>
              <p:nvPr/>
            </p:nvSpPr>
            <p:spPr bwMode="auto">
              <a:xfrm>
                <a:off x="2858" y="2558"/>
                <a:ext cx="120" cy="187"/>
              </a:xfrm>
              <a:custGeom>
                <a:avLst/>
                <a:gdLst>
                  <a:gd name="T0" fmla="*/ 117 w 120"/>
                  <a:gd name="T1" fmla="*/ 172 h 187"/>
                  <a:gd name="T2" fmla="*/ 101 w 120"/>
                  <a:gd name="T3" fmla="*/ 152 h 187"/>
                  <a:gd name="T4" fmla="*/ 92 w 120"/>
                  <a:gd name="T5" fmla="*/ 133 h 187"/>
                  <a:gd name="T6" fmla="*/ 92 w 120"/>
                  <a:gd name="T7" fmla="*/ 127 h 187"/>
                  <a:gd name="T8" fmla="*/ 98 w 120"/>
                  <a:gd name="T9" fmla="*/ 114 h 187"/>
                  <a:gd name="T10" fmla="*/ 108 w 120"/>
                  <a:gd name="T11" fmla="*/ 101 h 187"/>
                  <a:gd name="T12" fmla="*/ 110 w 120"/>
                  <a:gd name="T13" fmla="*/ 94 h 187"/>
                  <a:gd name="T14" fmla="*/ 108 w 120"/>
                  <a:gd name="T15" fmla="*/ 88 h 187"/>
                  <a:gd name="T16" fmla="*/ 97 w 120"/>
                  <a:gd name="T17" fmla="*/ 75 h 187"/>
                  <a:gd name="T18" fmla="*/ 89 w 120"/>
                  <a:gd name="T19" fmla="*/ 66 h 187"/>
                  <a:gd name="T20" fmla="*/ 89 w 120"/>
                  <a:gd name="T21" fmla="*/ 55 h 187"/>
                  <a:gd name="T22" fmla="*/ 89 w 120"/>
                  <a:gd name="T23" fmla="*/ 55 h 187"/>
                  <a:gd name="T24" fmla="*/ 110 w 120"/>
                  <a:gd name="T25" fmla="*/ 55 h 187"/>
                  <a:gd name="T26" fmla="*/ 105 w 120"/>
                  <a:gd name="T27" fmla="*/ 48 h 187"/>
                  <a:gd name="T28" fmla="*/ 104 w 120"/>
                  <a:gd name="T29" fmla="*/ 42 h 187"/>
                  <a:gd name="T30" fmla="*/ 102 w 120"/>
                  <a:gd name="T31" fmla="*/ 16 h 187"/>
                  <a:gd name="T32" fmla="*/ 97 w 120"/>
                  <a:gd name="T33" fmla="*/ 8 h 187"/>
                  <a:gd name="T34" fmla="*/ 88 w 120"/>
                  <a:gd name="T35" fmla="*/ 0 h 187"/>
                  <a:gd name="T36" fmla="*/ 84 w 120"/>
                  <a:gd name="T37" fmla="*/ 27 h 187"/>
                  <a:gd name="T38" fmla="*/ 81 w 120"/>
                  <a:gd name="T39" fmla="*/ 37 h 187"/>
                  <a:gd name="T40" fmla="*/ 66 w 120"/>
                  <a:gd name="T41" fmla="*/ 62 h 187"/>
                  <a:gd name="T42" fmla="*/ 59 w 120"/>
                  <a:gd name="T43" fmla="*/ 72 h 187"/>
                  <a:gd name="T44" fmla="*/ 46 w 120"/>
                  <a:gd name="T45" fmla="*/ 85 h 187"/>
                  <a:gd name="T46" fmla="*/ 36 w 120"/>
                  <a:gd name="T47" fmla="*/ 95 h 187"/>
                  <a:gd name="T48" fmla="*/ 31 w 120"/>
                  <a:gd name="T49" fmla="*/ 101 h 187"/>
                  <a:gd name="T50" fmla="*/ 10 w 120"/>
                  <a:gd name="T51" fmla="*/ 117 h 187"/>
                  <a:gd name="T52" fmla="*/ 5 w 120"/>
                  <a:gd name="T53" fmla="*/ 123 h 187"/>
                  <a:gd name="T54" fmla="*/ 0 w 120"/>
                  <a:gd name="T55" fmla="*/ 143 h 187"/>
                  <a:gd name="T56" fmla="*/ 1 w 120"/>
                  <a:gd name="T57" fmla="*/ 143 h 187"/>
                  <a:gd name="T58" fmla="*/ 7 w 120"/>
                  <a:gd name="T59" fmla="*/ 145 h 187"/>
                  <a:gd name="T60" fmla="*/ 14 w 120"/>
                  <a:gd name="T61" fmla="*/ 150 h 187"/>
                  <a:gd name="T62" fmla="*/ 17 w 120"/>
                  <a:gd name="T63" fmla="*/ 153 h 187"/>
                  <a:gd name="T64" fmla="*/ 20 w 120"/>
                  <a:gd name="T65" fmla="*/ 165 h 187"/>
                  <a:gd name="T66" fmla="*/ 21 w 120"/>
                  <a:gd name="T67" fmla="*/ 171 h 187"/>
                  <a:gd name="T68" fmla="*/ 18 w 120"/>
                  <a:gd name="T69" fmla="*/ 179 h 187"/>
                  <a:gd name="T70" fmla="*/ 76 w 120"/>
                  <a:gd name="T71" fmla="*/ 179 h 187"/>
                  <a:gd name="T72" fmla="*/ 86 w 120"/>
                  <a:gd name="T73" fmla="*/ 181 h 187"/>
                  <a:gd name="T74" fmla="*/ 104 w 120"/>
                  <a:gd name="T75" fmla="*/ 185 h 187"/>
                  <a:gd name="T76" fmla="*/ 111 w 120"/>
                  <a:gd name="T77" fmla="*/ 187 h 187"/>
                  <a:gd name="T78" fmla="*/ 120 w 120"/>
                  <a:gd name="T79" fmla="*/ 181 h 187"/>
                  <a:gd name="T80" fmla="*/ 117 w 120"/>
                  <a:gd name="T81" fmla="*/ 17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0" h="187">
                    <a:moveTo>
                      <a:pt x="117" y="172"/>
                    </a:moveTo>
                    <a:lnTo>
                      <a:pt x="117" y="172"/>
                    </a:lnTo>
                    <a:lnTo>
                      <a:pt x="110" y="163"/>
                    </a:lnTo>
                    <a:lnTo>
                      <a:pt x="101" y="152"/>
                    </a:lnTo>
                    <a:lnTo>
                      <a:pt x="95" y="139"/>
                    </a:lnTo>
                    <a:lnTo>
                      <a:pt x="92" y="133"/>
                    </a:lnTo>
                    <a:lnTo>
                      <a:pt x="92" y="127"/>
                    </a:lnTo>
                    <a:lnTo>
                      <a:pt x="92" y="127"/>
                    </a:lnTo>
                    <a:lnTo>
                      <a:pt x="94" y="121"/>
                    </a:lnTo>
                    <a:lnTo>
                      <a:pt x="98" y="114"/>
                    </a:lnTo>
                    <a:lnTo>
                      <a:pt x="102" y="108"/>
                    </a:lnTo>
                    <a:lnTo>
                      <a:pt x="108" y="101"/>
                    </a:lnTo>
                    <a:lnTo>
                      <a:pt x="108" y="101"/>
                    </a:lnTo>
                    <a:lnTo>
                      <a:pt x="110" y="94"/>
                    </a:lnTo>
                    <a:lnTo>
                      <a:pt x="108" y="88"/>
                    </a:lnTo>
                    <a:lnTo>
                      <a:pt x="108" y="88"/>
                    </a:lnTo>
                    <a:lnTo>
                      <a:pt x="102" y="81"/>
                    </a:lnTo>
                    <a:lnTo>
                      <a:pt x="97" y="75"/>
                    </a:lnTo>
                    <a:lnTo>
                      <a:pt x="92" y="69"/>
                    </a:lnTo>
                    <a:lnTo>
                      <a:pt x="89" y="66"/>
                    </a:lnTo>
                    <a:lnTo>
                      <a:pt x="89" y="62"/>
                    </a:lnTo>
                    <a:lnTo>
                      <a:pt x="89" y="55"/>
                    </a:lnTo>
                    <a:lnTo>
                      <a:pt x="89" y="55"/>
                    </a:lnTo>
                    <a:lnTo>
                      <a:pt x="89" y="55"/>
                    </a:lnTo>
                    <a:lnTo>
                      <a:pt x="110" y="55"/>
                    </a:lnTo>
                    <a:lnTo>
                      <a:pt x="110" y="55"/>
                    </a:lnTo>
                    <a:lnTo>
                      <a:pt x="107" y="52"/>
                    </a:lnTo>
                    <a:lnTo>
                      <a:pt x="105" y="48"/>
                    </a:lnTo>
                    <a:lnTo>
                      <a:pt x="104" y="42"/>
                    </a:lnTo>
                    <a:lnTo>
                      <a:pt x="104" y="42"/>
                    </a:lnTo>
                    <a:lnTo>
                      <a:pt x="104" y="24"/>
                    </a:lnTo>
                    <a:lnTo>
                      <a:pt x="102" y="16"/>
                    </a:lnTo>
                    <a:lnTo>
                      <a:pt x="99" y="11"/>
                    </a:lnTo>
                    <a:lnTo>
                      <a:pt x="97" y="8"/>
                    </a:lnTo>
                    <a:lnTo>
                      <a:pt x="97" y="8"/>
                    </a:lnTo>
                    <a:lnTo>
                      <a:pt x="88" y="0"/>
                    </a:lnTo>
                    <a:lnTo>
                      <a:pt x="88" y="0"/>
                    </a:lnTo>
                    <a:lnTo>
                      <a:pt x="84" y="27"/>
                    </a:lnTo>
                    <a:lnTo>
                      <a:pt x="84" y="27"/>
                    </a:lnTo>
                    <a:lnTo>
                      <a:pt x="81" y="37"/>
                    </a:lnTo>
                    <a:lnTo>
                      <a:pt x="73" y="50"/>
                    </a:lnTo>
                    <a:lnTo>
                      <a:pt x="66" y="62"/>
                    </a:lnTo>
                    <a:lnTo>
                      <a:pt x="59" y="72"/>
                    </a:lnTo>
                    <a:lnTo>
                      <a:pt x="59" y="72"/>
                    </a:lnTo>
                    <a:lnTo>
                      <a:pt x="52" y="79"/>
                    </a:lnTo>
                    <a:lnTo>
                      <a:pt x="46" y="85"/>
                    </a:lnTo>
                    <a:lnTo>
                      <a:pt x="40" y="91"/>
                    </a:lnTo>
                    <a:lnTo>
                      <a:pt x="36" y="95"/>
                    </a:lnTo>
                    <a:lnTo>
                      <a:pt x="36" y="95"/>
                    </a:lnTo>
                    <a:lnTo>
                      <a:pt x="31" y="101"/>
                    </a:lnTo>
                    <a:lnTo>
                      <a:pt x="26" y="105"/>
                    </a:lnTo>
                    <a:lnTo>
                      <a:pt x="10" y="117"/>
                    </a:lnTo>
                    <a:lnTo>
                      <a:pt x="10" y="117"/>
                    </a:lnTo>
                    <a:lnTo>
                      <a:pt x="5" y="123"/>
                    </a:lnTo>
                    <a:lnTo>
                      <a:pt x="2" y="129"/>
                    </a:lnTo>
                    <a:lnTo>
                      <a:pt x="0" y="143"/>
                    </a:lnTo>
                    <a:lnTo>
                      <a:pt x="0" y="143"/>
                    </a:lnTo>
                    <a:lnTo>
                      <a:pt x="1" y="143"/>
                    </a:lnTo>
                    <a:lnTo>
                      <a:pt x="1" y="143"/>
                    </a:lnTo>
                    <a:lnTo>
                      <a:pt x="7" y="145"/>
                    </a:lnTo>
                    <a:lnTo>
                      <a:pt x="10" y="147"/>
                    </a:lnTo>
                    <a:lnTo>
                      <a:pt x="14" y="150"/>
                    </a:lnTo>
                    <a:lnTo>
                      <a:pt x="14" y="150"/>
                    </a:lnTo>
                    <a:lnTo>
                      <a:pt x="17" y="153"/>
                    </a:lnTo>
                    <a:lnTo>
                      <a:pt x="18" y="159"/>
                    </a:lnTo>
                    <a:lnTo>
                      <a:pt x="20" y="165"/>
                    </a:lnTo>
                    <a:lnTo>
                      <a:pt x="21" y="171"/>
                    </a:lnTo>
                    <a:lnTo>
                      <a:pt x="21" y="171"/>
                    </a:lnTo>
                    <a:lnTo>
                      <a:pt x="18" y="179"/>
                    </a:lnTo>
                    <a:lnTo>
                      <a:pt x="18" y="179"/>
                    </a:lnTo>
                    <a:lnTo>
                      <a:pt x="50" y="179"/>
                    </a:lnTo>
                    <a:lnTo>
                      <a:pt x="76" y="179"/>
                    </a:lnTo>
                    <a:lnTo>
                      <a:pt x="76" y="179"/>
                    </a:lnTo>
                    <a:lnTo>
                      <a:pt x="86" y="181"/>
                    </a:lnTo>
                    <a:lnTo>
                      <a:pt x="97" y="184"/>
                    </a:lnTo>
                    <a:lnTo>
                      <a:pt x="104" y="185"/>
                    </a:lnTo>
                    <a:lnTo>
                      <a:pt x="111" y="187"/>
                    </a:lnTo>
                    <a:lnTo>
                      <a:pt x="111" y="187"/>
                    </a:lnTo>
                    <a:lnTo>
                      <a:pt x="117" y="184"/>
                    </a:lnTo>
                    <a:lnTo>
                      <a:pt x="120" y="181"/>
                    </a:lnTo>
                    <a:lnTo>
                      <a:pt x="120" y="176"/>
                    </a:lnTo>
                    <a:lnTo>
                      <a:pt x="117" y="1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64" name="Freeform 464"/>
              <p:cNvSpPr>
                <a:spLocks/>
              </p:cNvSpPr>
              <p:nvPr/>
            </p:nvSpPr>
            <p:spPr bwMode="auto">
              <a:xfrm>
                <a:off x="2734" y="2574"/>
                <a:ext cx="47" cy="95"/>
              </a:xfrm>
              <a:custGeom>
                <a:avLst/>
                <a:gdLst>
                  <a:gd name="T0" fmla="*/ 12 w 47"/>
                  <a:gd name="T1" fmla="*/ 95 h 95"/>
                  <a:gd name="T2" fmla="*/ 11 w 47"/>
                  <a:gd name="T3" fmla="*/ 63 h 95"/>
                  <a:gd name="T4" fmla="*/ 11 w 47"/>
                  <a:gd name="T5" fmla="*/ 53 h 95"/>
                  <a:gd name="T6" fmla="*/ 11 w 47"/>
                  <a:gd name="T7" fmla="*/ 52 h 95"/>
                  <a:gd name="T8" fmla="*/ 9 w 47"/>
                  <a:gd name="T9" fmla="*/ 43 h 95"/>
                  <a:gd name="T10" fmla="*/ 2 w 47"/>
                  <a:gd name="T11" fmla="*/ 30 h 95"/>
                  <a:gd name="T12" fmla="*/ 0 w 47"/>
                  <a:gd name="T13" fmla="*/ 26 h 95"/>
                  <a:gd name="T14" fmla="*/ 6 w 47"/>
                  <a:gd name="T15" fmla="*/ 13 h 95"/>
                  <a:gd name="T16" fmla="*/ 13 w 47"/>
                  <a:gd name="T17" fmla="*/ 14 h 95"/>
                  <a:gd name="T18" fmla="*/ 13 w 47"/>
                  <a:gd name="T19" fmla="*/ 14 h 95"/>
                  <a:gd name="T20" fmla="*/ 13 w 47"/>
                  <a:gd name="T21" fmla="*/ 14 h 95"/>
                  <a:gd name="T22" fmla="*/ 13 w 47"/>
                  <a:gd name="T23" fmla="*/ 14 h 95"/>
                  <a:gd name="T24" fmla="*/ 15 w 47"/>
                  <a:gd name="T25" fmla="*/ 14 h 95"/>
                  <a:gd name="T26" fmla="*/ 15 w 47"/>
                  <a:gd name="T27" fmla="*/ 14 h 95"/>
                  <a:gd name="T28" fmla="*/ 18 w 47"/>
                  <a:gd name="T29" fmla="*/ 13 h 95"/>
                  <a:gd name="T30" fmla="*/ 24 w 47"/>
                  <a:gd name="T31" fmla="*/ 4 h 95"/>
                  <a:gd name="T32" fmla="*/ 24 w 47"/>
                  <a:gd name="T33" fmla="*/ 4 h 95"/>
                  <a:gd name="T34" fmla="*/ 25 w 47"/>
                  <a:gd name="T35" fmla="*/ 3 h 95"/>
                  <a:gd name="T36" fmla="*/ 25 w 47"/>
                  <a:gd name="T37" fmla="*/ 1 h 95"/>
                  <a:gd name="T38" fmla="*/ 25 w 47"/>
                  <a:gd name="T39" fmla="*/ 1 h 95"/>
                  <a:gd name="T40" fmla="*/ 28 w 47"/>
                  <a:gd name="T41" fmla="*/ 0 h 95"/>
                  <a:gd name="T42" fmla="*/ 31 w 47"/>
                  <a:gd name="T43" fmla="*/ 0 h 95"/>
                  <a:gd name="T44" fmla="*/ 31 w 47"/>
                  <a:gd name="T45" fmla="*/ 0 h 95"/>
                  <a:gd name="T46" fmla="*/ 37 w 47"/>
                  <a:gd name="T47" fmla="*/ 3 h 95"/>
                  <a:gd name="T48" fmla="*/ 37 w 47"/>
                  <a:gd name="T49" fmla="*/ 4 h 95"/>
                  <a:gd name="T50" fmla="*/ 37 w 47"/>
                  <a:gd name="T51" fmla="*/ 4 h 95"/>
                  <a:gd name="T52" fmla="*/ 41 w 47"/>
                  <a:gd name="T53" fmla="*/ 7 h 95"/>
                  <a:gd name="T54" fmla="*/ 47 w 47"/>
                  <a:gd name="T55" fmla="*/ 8 h 95"/>
                  <a:gd name="T56" fmla="*/ 47 w 47"/>
                  <a:gd name="T57" fmla="*/ 16 h 95"/>
                  <a:gd name="T58" fmla="*/ 47 w 47"/>
                  <a:gd name="T59" fmla="*/ 16 h 95"/>
                  <a:gd name="T60" fmla="*/ 47 w 47"/>
                  <a:gd name="T61" fmla="*/ 16 h 95"/>
                  <a:gd name="T62" fmla="*/ 47 w 47"/>
                  <a:gd name="T63" fmla="*/ 18 h 95"/>
                  <a:gd name="T64" fmla="*/ 44 w 47"/>
                  <a:gd name="T65" fmla="*/ 27 h 95"/>
                  <a:gd name="T66" fmla="*/ 41 w 47"/>
                  <a:gd name="T67" fmla="*/ 36 h 95"/>
                  <a:gd name="T68" fmla="*/ 40 w 47"/>
                  <a:gd name="T69" fmla="*/ 43 h 95"/>
                  <a:gd name="T70" fmla="*/ 32 w 47"/>
                  <a:gd name="T71" fmla="*/ 59 h 95"/>
                  <a:gd name="T72" fmla="*/ 31 w 47"/>
                  <a:gd name="T73" fmla="*/ 68 h 95"/>
                  <a:gd name="T74" fmla="*/ 29 w 47"/>
                  <a:gd name="T75" fmla="*/ 92 h 95"/>
                  <a:gd name="T76" fmla="*/ 21 w 47"/>
                  <a:gd name="T77" fmla="*/ 92 h 95"/>
                  <a:gd name="T78" fmla="*/ 15 w 47"/>
                  <a:gd name="T79" fmla="*/ 94 h 95"/>
                  <a:gd name="T80" fmla="*/ 13 w 47"/>
                  <a:gd name="T81" fmla="*/ 9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 h="95">
                    <a:moveTo>
                      <a:pt x="12" y="95"/>
                    </a:moveTo>
                    <a:lnTo>
                      <a:pt x="12" y="95"/>
                    </a:lnTo>
                    <a:lnTo>
                      <a:pt x="11" y="78"/>
                    </a:lnTo>
                    <a:lnTo>
                      <a:pt x="11" y="63"/>
                    </a:lnTo>
                    <a:lnTo>
                      <a:pt x="11" y="63"/>
                    </a:lnTo>
                    <a:lnTo>
                      <a:pt x="11" y="53"/>
                    </a:lnTo>
                    <a:lnTo>
                      <a:pt x="11" y="53"/>
                    </a:lnTo>
                    <a:lnTo>
                      <a:pt x="11" y="52"/>
                    </a:lnTo>
                    <a:lnTo>
                      <a:pt x="11" y="52"/>
                    </a:lnTo>
                    <a:lnTo>
                      <a:pt x="9" y="43"/>
                    </a:lnTo>
                    <a:lnTo>
                      <a:pt x="5" y="36"/>
                    </a:lnTo>
                    <a:lnTo>
                      <a:pt x="2" y="30"/>
                    </a:lnTo>
                    <a:lnTo>
                      <a:pt x="0" y="26"/>
                    </a:lnTo>
                    <a:lnTo>
                      <a:pt x="0" y="26"/>
                    </a:lnTo>
                    <a:lnTo>
                      <a:pt x="2" y="20"/>
                    </a:lnTo>
                    <a:lnTo>
                      <a:pt x="6" y="13"/>
                    </a:lnTo>
                    <a:lnTo>
                      <a:pt x="6" y="13"/>
                    </a:lnTo>
                    <a:lnTo>
                      <a:pt x="13" y="14"/>
                    </a:lnTo>
                    <a:lnTo>
                      <a:pt x="13" y="14"/>
                    </a:lnTo>
                    <a:lnTo>
                      <a:pt x="13" y="14"/>
                    </a:lnTo>
                    <a:lnTo>
                      <a:pt x="13" y="14"/>
                    </a:lnTo>
                    <a:lnTo>
                      <a:pt x="13" y="14"/>
                    </a:lnTo>
                    <a:lnTo>
                      <a:pt x="13" y="14"/>
                    </a:lnTo>
                    <a:lnTo>
                      <a:pt x="13" y="14"/>
                    </a:lnTo>
                    <a:lnTo>
                      <a:pt x="13" y="14"/>
                    </a:lnTo>
                    <a:lnTo>
                      <a:pt x="15" y="14"/>
                    </a:lnTo>
                    <a:lnTo>
                      <a:pt x="15" y="14"/>
                    </a:lnTo>
                    <a:lnTo>
                      <a:pt x="15" y="14"/>
                    </a:lnTo>
                    <a:lnTo>
                      <a:pt x="15" y="14"/>
                    </a:lnTo>
                    <a:lnTo>
                      <a:pt x="18" y="13"/>
                    </a:lnTo>
                    <a:lnTo>
                      <a:pt x="21" y="10"/>
                    </a:lnTo>
                    <a:lnTo>
                      <a:pt x="24" y="4"/>
                    </a:lnTo>
                    <a:lnTo>
                      <a:pt x="24" y="4"/>
                    </a:lnTo>
                    <a:lnTo>
                      <a:pt x="24" y="4"/>
                    </a:lnTo>
                    <a:lnTo>
                      <a:pt x="24" y="4"/>
                    </a:lnTo>
                    <a:lnTo>
                      <a:pt x="25" y="3"/>
                    </a:lnTo>
                    <a:lnTo>
                      <a:pt x="25" y="3"/>
                    </a:lnTo>
                    <a:lnTo>
                      <a:pt x="25" y="1"/>
                    </a:lnTo>
                    <a:lnTo>
                      <a:pt x="25" y="1"/>
                    </a:lnTo>
                    <a:lnTo>
                      <a:pt x="25" y="1"/>
                    </a:lnTo>
                    <a:lnTo>
                      <a:pt x="25" y="1"/>
                    </a:lnTo>
                    <a:lnTo>
                      <a:pt x="28" y="0"/>
                    </a:lnTo>
                    <a:lnTo>
                      <a:pt x="31" y="0"/>
                    </a:lnTo>
                    <a:lnTo>
                      <a:pt x="31" y="0"/>
                    </a:lnTo>
                    <a:lnTo>
                      <a:pt x="31" y="0"/>
                    </a:lnTo>
                    <a:lnTo>
                      <a:pt x="31" y="0"/>
                    </a:lnTo>
                    <a:lnTo>
                      <a:pt x="34" y="1"/>
                    </a:lnTo>
                    <a:lnTo>
                      <a:pt x="37" y="3"/>
                    </a:lnTo>
                    <a:lnTo>
                      <a:pt x="37" y="3"/>
                    </a:lnTo>
                    <a:lnTo>
                      <a:pt x="37" y="4"/>
                    </a:lnTo>
                    <a:lnTo>
                      <a:pt x="37" y="4"/>
                    </a:lnTo>
                    <a:lnTo>
                      <a:pt x="37" y="4"/>
                    </a:lnTo>
                    <a:lnTo>
                      <a:pt x="37" y="4"/>
                    </a:lnTo>
                    <a:lnTo>
                      <a:pt x="41" y="7"/>
                    </a:lnTo>
                    <a:lnTo>
                      <a:pt x="47" y="8"/>
                    </a:lnTo>
                    <a:lnTo>
                      <a:pt x="47" y="8"/>
                    </a:lnTo>
                    <a:lnTo>
                      <a:pt x="47" y="16"/>
                    </a:lnTo>
                    <a:lnTo>
                      <a:pt x="47" y="16"/>
                    </a:lnTo>
                    <a:lnTo>
                      <a:pt x="47" y="16"/>
                    </a:lnTo>
                    <a:lnTo>
                      <a:pt x="47" y="16"/>
                    </a:lnTo>
                    <a:lnTo>
                      <a:pt x="47" y="16"/>
                    </a:lnTo>
                    <a:lnTo>
                      <a:pt x="47" y="16"/>
                    </a:lnTo>
                    <a:lnTo>
                      <a:pt x="47" y="18"/>
                    </a:lnTo>
                    <a:lnTo>
                      <a:pt x="47" y="18"/>
                    </a:lnTo>
                    <a:lnTo>
                      <a:pt x="47" y="23"/>
                    </a:lnTo>
                    <a:lnTo>
                      <a:pt x="44" y="27"/>
                    </a:lnTo>
                    <a:lnTo>
                      <a:pt x="42" y="32"/>
                    </a:lnTo>
                    <a:lnTo>
                      <a:pt x="41" y="36"/>
                    </a:lnTo>
                    <a:lnTo>
                      <a:pt x="41" y="36"/>
                    </a:lnTo>
                    <a:lnTo>
                      <a:pt x="40" y="43"/>
                    </a:lnTo>
                    <a:lnTo>
                      <a:pt x="35" y="52"/>
                    </a:lnTo>
                    <a:lnTo>
                      <a:pt x="32" y="59"/>
                    </a:lnTo>
                    <a:lnTo>
                      <a:pt x="31" y="68"/>
                    </a:lnTo>
                    <a:lnTo>
                      <a:pt x="31" y="68"/>
                    </a:lnTo>
                    <a:lnTo>
                      <a:pt x="29" y="92"/>
                    </a:lnTo>
                    <a:lnTo>
                      <a:pt x="29" y="92"/>
                    </a:lnTo>
                    <a:lnTo>
                      <a:pt x="21" y="92"/>
                    </a:lnTo>
                    <a:lnTo>
                      <a:pt x="21" y="92"/>
                    </a:lnTo>
                    <a:lnTo>
                      <a:pt x="15" y="94"/>
                    </a:lnTo>
                    <a:lnTo>
                      <a:pt x="15" y="94"/>
                    </a:lnTo>
                    <a:lnTo>
                      <a:pt x="13" y="94"/>
                    </a:lnTo>
                    <a:lnTo>
                      <a:pt x="13" y="94"/>
                    </a:lnTo>
                    <a:lnTo>
                      <a:pt x="12" y="95"/>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65" name="Freeform 465"/>
              <p:cNvSpPr>
                <a:spLocks/>
              </p:cNvSpPr>
              <p:nvPr/>
            </p:nvSpPr>
            <p:spPr bwMode="auto">
              <a:xfrm>
                <a:off x="2734" y="2574"/>
                <a:ext cx="47" cy="95"/>
              </a:xfrm>
              <a:custGeom>
                <a:avLst/>
                <a:gdLst>
                  <a:gd name="T0" fmla="*/ 12 w 47"/>
                  <a:gd name="T1" fmla="*/ 95 h 95"/>
                  <a:gd name="T2" fmla="*/ 11 w 47"/>
                  <a:gd name="T3" fmla="*/ 63 h 95"/>
                  <a:gd name="T4" fmla="*/ 11 w 47"/>
                  <a:gd name="T5" fmla="*/ 53 h 95"/>
                  <a:gd name="T6" fmla="*/ 11 w 47"/>
                  <a:gd name="T7" fmla="*/ 52 h 95"/>
                  <a:gd name="T8" fmla="*/ 9 w 47"/>
                  <a:gd name="T9" fmla="*/ 43 h 95"/>
                  <a:gd name="T10" fmla="*/ 2 w 47"/>
                  <a:gd name="T11" fmla="*/ 30 h 95"/>
                  <a:gd name="T12" fmla="*/ 0 w 47"/>
                  <a:gd name="T13" fmla="*/ 26 h 95"/>
                  <a:gd name="T14" fmla="*/ 6 w 47"/>
                  <a:gd name="T15" fmla="*/ 13 h 95"/>
                  <a:gd name="T16" fmla="*/ 13 w 47"/>
                  <a:gd name="T17" fmla="*/ 14 h 95"/>
                  <a:gd name="T18" fmla="*/ 13 w 47"/>
                  <a:gd name="T19" fmla="*/ 14 h 95"/>
                  <a:gd name="T20" fmla="*/ 13 w 47"/>
                  <a:gd name="T21" fmla="*/ 14 h 95"/>
                  <a:gd name="T22" fmla="*/ 13 w 47"/>
                  <a:gd name="T23" fmla="*/ 14 h 95"/>
                  <a:gd name="T24" fmla="*/ 15 w 47"/>
                  <a:gd name="T25" fmla="*/ 14 h 95"/>
                  <a:gd name="T26" fmla="*/ 15 w 47"/>
                  <a:gd name="T27" fmla="*/ 14 h 95"/>
                  <a:gd name="T28" fmla="*/ 18 w 47"/>
                  <a:gd name="T29" fmla="*/ 13 h 95"/>
                  <a:gd name="T30" fmla="*/ 24 w 47"/>
                  <a:gd name="T31" fmla="*/ 4 h 95"/>
                  <a:gd name="T32" fmla="*/ 24 w 47"/>
                  <a:gd name="T33" fmla="*/ 4 h 95"/>
                  <a:gd name="T34" fmla="*/ 25 w 47"/>
                  <a:gd name="T35" fmla="*/ 3 h 95"/>
                  <a:gd name="T36" fmla="*/ 25 w 47"/>
                  <a:gd name="T37" fmla="*/ 1 h 95"/>
                  <a:gd name="T38" fmla="*/ 25 w 47"/>
                  <a:gd name="T39" fmla="*/ 1 h 95"/>
                  <a:gd name="T40" fmla="*/ 28 w 47"/>
                  <a:gd name="T41" fmla="*/ 0 h 95"/>
                  <a:gd name="T42" fmla="*/ 31 w 47"/>
                  <a:gd name="T43" fmla="*/ 0 h 95"/>
                  <a:gd name="T44" fmla="*/ 31 w 47"/>
                  <a:gd name="T45" fmla="*/ 0 h 95"/>
                  <a:gd name="T46" fmla="*/ 37 w 47"/>
                  <a:gd name="T47" fmla="*/ 3 h 95"/>
                  <a:gd name="T48" fmla="*/ 37 w 47"/>
                  <a:gd name="T49" fmla="*/ 4 h 95"/>
                  <a:gd name="T50" fmla="*/ 37 w 47"/>
                  <a:gd name="T51" fmla="*/ 4 h 95"/>
                  <a:gd name="T52" fmla="*/ 41 w 47"/>
                  <a:gd name="T53" fmla="*/ 7 h 95"/>
                  <a:gd name="T54" fmla="*/ 47 w 47"/>
                  <a:gd name="T55" fmla="*/ 8 h 95"/>
                  <a:gd name="T56" fmla="*/ 47 w 47"/>
                  <a:gd name="T57" fmla="*/ 16 h 95"/>
                  <a:gd name="T58" fmla="*/ 47 w 47"/>
                  <a:gd name="T59" fmla="*/ 16 h 95"/>
                  <a:gd name="T60" fmla="*/ 47 w 47"/>
                  <a:gd name="T61" fmla="*/ 16 h 95"/>
                  <a:gd name="T62" fmla="*/ 47 w 47"/>
                  <a:gd name="T63" fmla="*/ 18 h 95"/>
                  <a:gd name="T64" fmla="*/ 44 w 47"/>
                  <a:gd name="T65" fmla="*/ 27 h 95"/>
                  <a:gd name="T66" fmla="*/ 41 w 47"/>
                  <a:gd name="T67" fmla="*/ 36 h 95"/>
                  <a:gd name="T68" fmla="*/ 40 w 47"/>
                  <a:gd name="T69" fmla="*/ 43 h 95"/>
                  <a:gd name="T70" fmla="*/ 32 w 47"/>
                  <a:gd name="T71" fmla="*/ 59 h 95"/>
                  <a:gd name="T72" fmla="*/ 31 w 47"/>
                  <a:gd name="T73" fmla="*/ 68 h 95"/>
                  <a:gd name="T74" fmla="*/ 29 w 47"/>
                  <a:gd name="T75" fmla="*/ 92 h 95"/>
                  <a:gd name="T76" fmla="*/ 21 w 47"/>
                  <a:gd name="T77" fmla="*/ 92 h 95"/>
                  <a:gd name="T78" fmla="*/ 15 w 47"/>
                  <a:gd name="T79" fmla="*/ 94 h 95"/>
                  <a:gd name="T80" fmla="*/ 13 w 47"/>
                  <a:gd name="T81" fmla="*/ 9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 h="95">
                    <a:moveTo>
                      <a:pt x="12" y="95"/>
                    </a:moveTo>
                    <a:lnTo>
                      <a:pt x="12" y="95"/>
                    </a:lnTo>
                    <a:lnTo>
                      <a:pt x="11" y="78"/>
                    </a:lnTo>
                    <a:lnTo>
                      <a:pt x="11" y="63"/>
                    </a:lnTo>
                    <a:lnTo>
                      <a:pt x="11" y="63"/>
                    </a:lnTo>
                    <a:lnTo>
                      <a:pt x="11" y="53"/>
                    </a:lnTo>
                    <a:lnTo>
                      <a:pt x="11" y="53"/>
                    </a:lnTo>
                    <a:lnTo>
                      <a:pt x="11" y="52"/>
                    </a:lnTo>
                    <a:lnTo>
                      <a:pt x="11" y="52"/>
                    </a:lnTo>
                    <a:lnTo>
                      <a:pt x="9" y="43"/>
                    </a:lnTo>
                    <a:lnTo>
                      <a:pt x="5" y="36"/>
                    </a:lnTo>
                    <a:lnTo>
                      <a:pt x="2" y="30"/>
                    </a:lnTo>
                    <a:lnTo>
                      <a:pt x="0" y="26"/>
                    </a:lnTo>
                    <a:lnTo>
                      <a:pt x="0" y="26"/>
                    </a:lnTo>
                    <a:lnTo>
                      <a:pt x="2" y="20"/>
                    </a:lnTo>
                    <a:lnTo>
                      <a:pt x="6" y="13"/>
                    </a:lnTo>
                    <a:lnTo>
                      <a:pt x="6" y="13"/>
                    </a:lnTo>
                    <a:lnTo>
                      <a:pt x="13" y="14"/>
                    </a:lnTo>
                    <a:lnTo>
                      <a:pt x="13" y="14"/>
                    </a:lnTo>
                    <a:lnTo>
                      <a:pt x="13" y="14"/>
                    </a:lnTo>
                    <a:lnTo>
                      <a:pt x="13" y="14"/>
                    </a:lnTo>
                    <a:lnTo>
                      <a:pt x="13" y="14"/>
                    </a:lnTo>
                    <a:lnTo>
                      <a:pt x="13" y="14"/>
                    </a:lnTo>
                    <a:lnTo>
                      <a:pt x="13" y="14"/>
                    </a:lnTo>
                    <a:lnTo>
                      <a:pt x="13" y="14"/>
                    </a:lnTo>
                    <a:lnTo>
                      <a:pt x="15" y="14"/>
                    </a:lnTo>
                    <a:lnTo>
                      <a:pt x="15" y="14"/>
                    </a:lnTo>
                    <a:lnTo>
                      <a:pt x="15" y="14"/>
                    </a:lnTo>
                    <a:lnTo>
                      <a:pt x="15" y="14"/>
                    </a:lnTo>
                    <a:lnTo>
                      <a:pt x="18" y="13"/>
                    </a:lnTo>
                    <a:lnTo>
                      <a:pt x="21" y="10"/>
                    </a:lnTo>
                    <a:lnTo>
                      <a:pt x="24" y="4"/>
                    </a:lnTo>
                    <a:lnTo>
                      <a:pt x="24" y="4"/>
                    </a:lnTo>
                    <a:lnTo>
                      <a:pt x="24" y="4"/>
                    </a:lnTo>
                    <a:lnTo>
                      <a:pt x="24" y="4"/>
                    </a:lnTo>
                    <a:lnTo>
                      <a:pt x="25" y="3"/>
                    </a:lnTo>
                    <a:lnTo>
                      <a:pt x="25" y="3"/>
                    </a:lnTo>
                    <a:lnTo>
                      <a:pt x="25" y="1"/>
                    </a:lnTo>
                    <a:lnTo>
                      <a:pt x="25" y="1"/>
                    </a:lnTo>
                    <a:lnTo>
                      <a:pt x="25" y="1"/>
                    </a:lnTo>
                    <a:lnTo>
                      <a:pt x="25" y="1"/>
                    </a:lnTo>
                    <a:lnTo>
                      <a:pt x="28" y="0"/>
                    </a:lnTo>
                    <a:lnTo>
                      <a:pt x="31" y="0"/>
                    </a:lnTo>
                    <a:lnTo>
                      <a:pt x="31" y="0"/>
                    </a:lnTo>
                    <a:lnTo>
                      <a:pt x="31" y="0"/>
                    </a:lnTo>
                    <a:lnTo>
                      <a:pt x="31" y="0"/>
                    </a:lnTo>
                    <a:lnTo>
                      <a:pt x="34" y="1"/>
                    </a:lnTo>
                    <a:lnTo>
                      <a:pt x="37" y="3"/>
                    </a:lnTo>
                    <a:lnTo>
                      <a:pt x="37" y="3"/>
                    </a:lnTo>
                    <a:lnTo>
                      <a:pt x="37" y="4"/>
                    </a:lnTo>
                    <a:lnTo>
                      <a:pt x="37" y="4"/>
                    </a:lnTo>
                    <a:lnTo>
                      <a:pt x="37" y="4"/>
                    </a:lnTo>
                    <a:lnTo>
                      <a:pt x="37" y="4"/>
                    </a:lnTo>
                    <a:lnTo>
                      <a:pt x="41" y="7"/>
                    </a:lnTo>
                    <a:lnTo>
                      <a:pt x="47" y="8"/>
                    </a:lnTo>
                    <a:lnTo>
                      <a:pt x="47" y="8"/>
                    </a:lnTo>
                    <a:lnTo>
                      <a:pt x="47" y="16"/>
                    </a:lnTo>
                    <a:lnTo>
                      <a:pt x="47" y="16"/>
                    </a:lnTo>
                    <a:lnTo>
                      <a:pt x="47" y="16"/>
                    </a:lnTo>
                    <a:lnTo>
                      <a:pt x="47" y="16"/>
                    </a:lnTo>
                    <a:lnTo>
                      <a:pt x="47" y="16"/>
                    </a:lnTo>
                    <a:lnTo>
                      <a:pt x="47" y="16"/>
                    </a:lnTo>
                    <a:lnTo>
                      <a:pt x="47" y="18"/>
                    </a:lnTo>
                    <a:lnTo>
                      <a:pt x="47" y="18"/>
                    </a:lnTo>
                    <a:lnTo>
                      <a:pt x="47" y="23"/>
                    </a:lnTo>
                    <a:lnTo>
                      <a:pt x="44" y="27"/>
                    </a:lnTo>
                    <a:lnTo>
                      <a:pt x="42" y="32"/>
                    </a:lnTo>
                    <a:lnTo>
                      <a:pt x="41" y="36"/>
                    </a:lnTo>
                    <a:lnTo>
                      <a:pt x="41" y="36"/>
                    </a:lnTo>
                    <a:lnTo>
                      <a:pt x="40" y="43"/>
                    </a:lnTo>
                    <a:lnTo>
                      <a:pt x="35" y="52"/>
                    </a:lnTo>
                    <a:lnTo>
                      <a:pt x="32" y="59"/>
                    </a:lnTo>
                    <a:lnTo>
                      <a:pt x="31" y="68"/>
                    </a:lnTo>
                    <a:lnTo>
                      <a:pt x="31" y="68"/>
                    </a:lnTo>
                    <a:lnTo>
                      <a:pt x="29" y="92"/>
                    </a:lnTo>
                    <a:lnTo>
                      <a:pt x="29" y="92"/>
                    </a:lnTo>
                    <a:lnTo>
                      <a:pt x="21" y="92"/>
                    </a:lnTo>
                    <a:lnTo>
                      <a:pt x="21" y="92"/>
                    </a:lnTo>
                    <a:lnTo>
                      <a:pt x="15" y="94"/>
                    </a:lnTo>
                    <a:lnTo>
                      <a:pt x="15" y="94"/>
                    </a:lnTo>
                    <a:lnTo>
                      <a:pt x="13" y="94"/>
                    </a:lnTo>
                    <a:lnTo>
                      <a:pt x="13" y="94"/>
                    </a:lnTo>
                    <a:lnTo>
                      <a:pt x="12" y="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66" name="Freeform 466"/>
              <p:cNvSpPr>
                <a:spLocks noEditPoints="1"/>
              </p:cNvSpPr>
              <p:nvPr/>
            </p:nvSpPr>
            <p:spPr bwMode="auto">
              <a:xfrm>
                <a:off x="2763" y="2582"/>
                <a:ext cx="18" cy="84"/>
              </a:xfrm>
              <a:custGeom>
                <a:avLst/>
                <a:gdLst>
                  <a:gd name="T0" fmla="*/ 18 w 18"/>
                  <a:gd name="T1" fmla="*/ 8 h 84"/>
                  <a:gd name="T2" fmla="*/ 18 w 18"/>
                  <a:gd name="T3" fmla="*/ 8 h 84"/>
                  <a:gd name="T4" fmla="*/ 18 w 18"/>
                  <a:gd name="T5" fmla="*/ 0 h 84"/>
                  <a:gd name="T6" fmla="*/ 18 w 18"/>
                  <a:gd name="T7" fmla="*/ 0 h 84"/>
                  <a:gd name="T8" fmla="*/ 18 w 18"/>
                  <a:gd name="T9" fmla="*/ 0 h 84"/>
                  <a:gd name="T10" fmla="*/ 18 w 18"/>
                  <a:gd name="T11" fmla="*/ 0 h 84"/>
                  <a:gd name="T12" fmla="*/ 18 w 18"/>
                  <a:gd name="T13" fmla="*/ 8 h 84"/>
                  <a:gd name="T14" fmla="*/ 18 w 18"/>
                  <a:gd name="T15" fmla="*/ 8 h 84"/>
                  <a:gd name="T16" fmla="*/ 18 w 18"/>
                  <a:gd name="T17" fmla="*/ 8 h 84"/>
                  <a:gd name="T18" fmla="*/ 18 w 18"/>
                  <a:gd name="T19" fmla="*/ 8 h 84"/>
                  <a:gd name="T20" fmla="*/ 18 w 18"/>
                  <a:gd name="T21" fmla="*/ 8 h 84"/>
                  <a:gd name="T22" fmla="*/ 18 w 18"/>
                  <a:gd name="T23" fmla="*/ 8 h 84"/>
                  <a:gd name="T24" fmla="*/ 0 w 18"/>
                  <a:gd name="T25" fmla="*/ 84 h 84"/>
                  <a:gd name="T26" fmla="*/ 0 w 18"/>
                  <a:gd name="T27" fmla="*/ 84 h 84"/>
                  <a:gd name="T28" fmla="*/ 2 w 18"/>
                  <a:gd name="T29" fmla="*/ 60 h 84"/>
                  <a:gd name="T30" fmla="*/ 2 w 18"/>
                  <a:gd name="T31" fmla="*/ 60 h 84"/>
                  <a:gd name="T32" fmla="*/ 3 w 18"/>
                  <a:gd name="T33" fmla="*/ 51 h 84"/>
                  <a:gd name="T34" fmla="*/ 6 w 18"/>
                  <a:gd name="T35" fmla="*/ 44 h 84"/>
                  <a:gd name="T36" fmla="*/ 11 w 18"/>
                  <a:gd name="T37" fmla="*/ 35 h 84"/>
                  <a:gd name="T38" fmla="*/ 12 w 18"/>
                  <a:gd name="T39" fmla="*/ 28 h 84"/>
                  <a:gd name="T40" fmla="*/ 12 w 18"/>
                  <a:gd name="T41" fmla="*/ 28 h 84"/>
                  <a:gd name="T42" fmla="*/ 13 w 18"/>
                  <a:gd name="T43" fmla="*/ 24 h 84"/>
                  <a:gd name="T44" fmla="*/ 15 w 18"/>
                  <a:gd name="T45" fmla="*/ 19 h 84"/>
                  <a:gd name="T46" fmla="*/ 18 w 18"/>
                  <a:gd name="T47" fmla="*/ 15 h 84"/>
                  <a:gd name="T48" fmla="*/ 18 w 18"/>
                  <a:gd name="T49" fmla="*/ 10 h 84"/>
                  <a:gd name="T50" fmla="*/ 18 w 18"/>
                  <a:gd name="T51" fmla="*/ 10 h 84"/>
                  <a:gd name="T52" fmla="*/ 18 w 18"/>
                  <a:gd name="T53" fmla="*/ 15 h 84"/>
                  <a:gd name="T54" fmla="*/ 15 w 18"/>
                  <a:gd name="T55" fmla="*/ 19 h 84"/>
                  <a:gd name="T56" fmla="*/ 13 w 18"/>
                  <a:gd name="T57" fmla="*/ 24 h 84"/>
                  <a:gd name="T58" fmla="*/ 12 w 18"/>
                  <a:gd name="T59" fmla="*/ 28 h 84"/>
                  <a:gd name="T60" fmla="*/ 12 w 18"/>
                  <a:gd name="T61" fmla="*/ 28 h 84"/>
                  <a:gd name="T62" fmla="*/ 11 w 18"/>
                  <a:gd name="T63" fmla="*/ 35 h 84"/>
                  <a:gd name="T64" fmla="*/ 6 w 18"/>
                  <a:gd name="T65" fmla="*/ 44 h 84"/>
                  <a:gd name="T66" fmla="*/ 3 w 18"/>
                  <a:gd name="T67" fmla="*/ 51 h 84"/>
                  <a:gd name="T68" fmla="*/ 2 w 18"/>
                  <a:gd name="T69" fmla="*/ 60 h 84"/>
                  <a:gd name="T70" fmla="*/ 2 w 18"/>
                  <a:gd name="T71" fmla="*/ 60 h 84"/>
                  <a:gd name="T72" fmla="*/ 0 w 18"/>
                  <a:gd name="T7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 h="84">
                    <a:moveTo>
                      <a:pt x="18" y="8"/>
                    </a:moveTo>
                    <a:lnTo>
                      <a:pt x="18" y="8"/>
                    </a:lnTo>
                    <a:lnTo>
                      <a:pt x="18" y="0"/>
                    </a:lnTo>
                    <a:lnTo>
                      <a:pt x="18" y="0"/>
                    </a:lnTo>
                    <a:lnTo>
                      <a:pt x="18" y="0"/>
                    </a:lnTo>
                    <a:lnTo>
                      <a:pt x="18" y="0"/>
                    </a:lnTo>
                    <a:lnTo>
                      <a:pt x="18" y="8"/>
                    </a:lnTo>
                    <a:close/>
                    <a:moveTo>
                      <a:pt x="18" y="8"/>
                    </a:moveTo>
                    <a:lnTo>
                      <a:pt x="18" y="8"/>
                    </a:lnTo>
                    <a:lnTo>
                      <a:pt x="18" y="8"/>
                    </a:lnTo>
                    <a:lnTo>
                      <a:pt x="18" y="8"/>
                    </a:lnTo>
                    <a:lnTo>
                      <a:pt x="18" y="8"/>
                    </a:lnTo>
                    <a:close/>
                    <a:moveTo>
                      <a:pt x="0" y="84"/>
                    </a:moveTo>
                    <a:lnTo>
                      <a:pt x="0" y="84"/>
                    </a:lnTo>
                    <a:lnTo>
                      <a:pt x="2" y="60"/>
                    </a:lnTo>
                    <a:lnTo>
                      <a:pt x="2" y="60"/>
                    </a:lnTo>
                    <a:lnTo>
                      <a:pt x="3" y="51"/>
                    </a:lnTo>
                    <a:lnTo>
                      <a:pt x="6" y="44"/>
                    </a:lnTo>
                    <a:lnTo>
                      <a:pt x="11" y="35"/>
                    </a:lnTo>
                    <a:lnTo>
                      <a:pt x="12" y="28"/>
                    </a:lnTo>
                    <a:lnTo>
                      <a:pt x="12" y="28"/>
                    </a:lnTo>
                    <a:lnTo>
                      <a:pt x="13" y="24"/>
                    </a:lnTo>
                    <a:lnTo>
                      <a:pt x="15" y="19"/>
                    </a:lnTo>
                    <a:lnTo>
                      <a:pt x="18" y="15"/>
                    </a:lnTo>
                    <a:lnTo>
                      <a:pt x="18" y="10"/>
                    </a:lnTo>
                    <a:lnTo>
                      <a:pt x="18" y="10"/>
                    </a:lnTo>
                    <a:lnTo>
                      <a:pt x="18" y="15"/>
                    </a:lnTo>
                    <a:lnTo>
                      <a:pt x="15" y="19"/>
                    </a:lnTo>
                    <a:lnTo>
                      <a:pt x="13" y="24"/>
                    </a:lnTo>
                    <a:lnTo>
                      <a:pt x="12" y="28"/>
                    </a:lnTo>
                    <a:lnTo>
                      <a:pt x="12" y="28"/>
                    </a:lnTo>
                    <a:lnTo>
                      <a:pt x="11" y="35"/>
                    </a:lnTo>
                    <a:lnTo>
                      <a:pt x="6" y="44"/>
                    </a:lnTo>
                    <a:lnTo>
                      <a:pt x="3" y="51"/>
                    </a:lnTo>
                    <a:lnTo>
                      <a:pt x="2" y="60"/>
                    </a:lnTo>
                    <a:lnTo>
                      <a:pt x="2" y="60"/>
                    </a:lnTo>
                    <a:lnTo>
                      <a:pt x="0" y="84"/>
                    </a:lnTo>
                    <a:close/>
                  </a:path>
                </a:pathLst>
              </a:custGeom>
              <a:solidFill>
                <a:srgbClr val="60B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67" name="Freeform 467"/>
              <p:cNvSpPr>
                <a:spLocks/>
              </p:cNvSpPr>
              <p:nvPr/>
            </p:nvSpPr>
            <p:spPr bwMode="auto">
              <a:xfrm>
                <a:off x="2781" y="2582"/>
                <a:ext cx="0" cy="8"/>
              </a:xfrm>
              <a:custGeom>
                <a:avLst/>
                <a:gdLst>
                  <a:gd name="T0" fmla="*/ 8 h 8"/>
                  <a:gd name="T1" fmla="*/ 8 h 8"/>
                  <a:gd name="T2" fmla="*/ 0 h 8"/>
                  <a:gd name="T3" fmla="*/ 0 h 8"/>
                  <a:gd name="T4" fmla="*/ 0 h 8"/>
                  <a:gd name="T5" fmla="*/ 0 h 8"/>
                  <a:gd name="T6" fmla="*/ 8 h 8"/>
                </a:gdLst>
                <a:ahLst/>
                <a:cxnLst>
                  <a:cxn ang="0">
                    <a:pos x="0" y="T0"/>
                  </a:cxn>
                  <a:cxn ang="0">
                    <a:pos x="0" y="T1"/>
                  </a:cxn>
                  <a:cxn ang="0">
                    <a:pos x="0" y="T2"/>
                  </a:cxn>
                  <a:cxn ang="0">
                    <a:pos x="0" y="T3"/>
                  </a:cxn>
                  <a:cxn ang="0">
                    <a:pos x="0" y="T4"/>
                  </a:cxn>
                  <a:cxn ang="0">
                    <a:pos x="0" y="T5"/>
                  </a:cxn>
                  <a:cxn ang="0">
                    <a:pos x="0" y="T6"/>
                  </a:cxn>
                </a:cxnLst>
                <a:rect l="0" t="0" r="r" b="b"/>
                <a:pathLst>
                  <a:path h="8">
                    <a:moveTo>
                      <a:pt x="0" y="8"/>
                    </a:moveTo>
                    <a:lnTo>
                      <a:pt x="0" y="8"/>
                    </a:lnTo>
                    <a:lnTo>
                      <a:pt x="0" y="0"/>
                    </a:lnTo>
                    <a:lnTo>
                      <a:pt x="0" y="0"/>
                    </a:lnTo>
                    <a:lnTo>
                      <a:pt x="0" y="0"/>
                    </a:lnTo>
                    <a:lnTo>
                      <a:pt x="0" y="0"/>
                    </a:lnTo>
                    <a:lnTo>
                      <a:pt x="0"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68" name="Rectangle 468"/>
              <p:cNvSpPr>
                <a:spLocks noChangeArrowheads="1"/>
              </p:cNvSpPr>
              <p:nvPr/>
            </p:nvSpPr>
            <p:spPr bwMode="auto">
              <a:xfrm>
                <a:off x="2781" y="2590"/>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69" name="Freeform 469"/>
              <p:cNvSpPr>
                <a:spLocks/>
              </p:cNvSpPr>
              <p:nvPr/>
            </p:nvSpPr>
            <p:spPr bwMode="auto">
              <a:xfrm>
                <a:off x="2763" y="2592"/>
                <a:ext cx="18" cy="74"/>
              </a:xfrm>
              <a:custGeom>
                <a:avLst/>
                <a:gdLst>
                  <a:gd name="T0" fmla="*/ 0 w 18"/>
                  <a:gd name="T1" fmla="*/ 74 h 74"/>
                  <a:gd name="T2" fmla="*/ 0 w 18"/>
                  <a:gd name="T3" fmla="*/ 74 h 74"/>
                  <a:gd name="T4" fmla="*/ 2 w 18"/>
                  <a:gd name="T5" fmla="*/ 50 h 74"/>
                  <a:gd name="T6" fmla="*/ 2 w 18"/>
                  <a:gd name="T7" fmla="*/ 50 h 74"/>
                  <a:gd name="T8" fmla="*/ 3 w 18"/>
                  <a:gd name="T9" fmla="*/ 41 h 74"/>
                  <a:gd name="T10" fmla="*/ 6 w 18"/>
                  <a:gd name="T11" fmla="*/ 34 h 74"/>
                  <a:gd name="T12" fmla="*/ 11 w 18"/>
                  <a:gd name="T13" fmla="*/ 25 h 74"/>
                  <a:gd name="T14" fmla="*/ 12 w 18"/>
                  <a:gd name="T15" fmla="*/ 18 h 74"/>
                  <a:gd name="T16" fmla="*/ 12 w 18"/>
                  <a:gd name="T17" fmla="*/ 18 h 74"/>
                  <a:gd name="T18" fmla="*/ 13 w 18"/>
                  <a:gd name="T19" fmla="*/ 14 h 74"/>
                  <a:gd name="T20" fmla="*/ 15 w 18"/>
                  <a:gd name="T21" fmla="*/ 9 h 74"/>
                  <a:gd name="T22" fmla="*/ 18 w 18"/>
                  <a:gd name="T23" fmla="*/ 5 h 74"/>
                  <a:gd name="T24" fmla="*/ 18 w 18"/>
                  <a:gd name="T25" fmla="*/ 0 h 74"/>
                  <a:gd name="T26" fmla="*/ 18 w 18"/>
                  <a:gd name="T27" fmla="*/ 0 h 74"/>
                  <a:gd name="T28" fmla="*/ 18 w 18"/>
                  <a:gd name="T29" fmla="*/ 5 h 74"/>
                  <a:gd name="T30" fmla="*/ 15 w 18"/>
                  <a:gd name="T31" fmla="*/ 9 h 74"/>
                  <a:gd name="T32" fmla="*/ 13 w 18"/>
                  <a:gd name="T33" fmla="*/ 14 h 74"/>
                  <a:gd name="T34" fmla="*/ 12 w 18"/>
                  <a:gd name="T35" fmla="*/ 18 h 74"/>
                  <a:gd name="T36" fmla="*/ 12 w 18"/>
                  <a:gd name="T37" fmla="*/ 18 h 74"/>
                  <a:gd name="T38" fmla="*/ 11 w 18"/>
                  <a:gd name="T39" fmla="*/ 25 h 74"/>
                  <a:gd name="T40" fmla="*/ 6 w 18"/>
                  <a:gd name="T41" fmla="*/ 34 h 74"/>
                  <a:gd name="T42" fmla="*/ 3 w 18"/>
                  <a:gd name="T43" fmla="*/ 41 h 74"/>
                  <a:gd name="T44" fmla="*/ 2 w 18"/>
                  <a:gd name="T45" fmla="*/ 50 h 74"/>
                  <a:gd name="T46" fmla="*/ 2 w 18"/>
                  <a:gd name="T47" fmla="*/ 50 h 74"/>
                  <a:gd name="T48" fmla="*/ 0 w 18"/>
                  <a:gd name="T4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74">
                    <a:moveTo>
                      <a:pt x="0" y="74"/>
                    </a:moveTo>
                    <a:lnTo>
                      <a:pt x="0" y="74"/>
                    </a:lnTo>
                    <a:lnTo>
                      <a:pt x="2" y="50"/>
                    </a:lnTo>
                    <a:lnTo>
                      <a:pt x="2" y="50"/>
                    </a:lnTo>
                    <a:lnTo>
                      <a:pt x="3" y="41"/>
                    </a:lnTo>
                    <a:lnTo>
                      <a:pt x="6" y="34"/>
                    </a:lnTo>
                    <a:lnTo>
                      <a:pt x="11" y="25"/>
                    </a:lnTo>
                    <a:lnTo>
                      <a:pt x="12" y="18"/>
                    </a:lnTo>
                    <a:lnTo>
                      <a:pt x="12" y="18"/>
                    </a:lnTo>
                    <a:lnTo>
                      <a:pt x="13" y="14"/>
                    </a:lnTo>
                    <a:lnTo>
                      <a:pt x="15" y="9"/>
                    </a:lnTo>
                    <a:lnTo>
                      <a:pt x="18" y="5"/>
                    </a:lnTo>
                    <a:lnTo>
                      <a:pt x="18" y="0"/>
                    </a:lnTo>
                    <a:lnTo>
                      <a:pt x="18" y="0"/>
                    </a:lnTo>
                    <a:lnTo>
                      <a:pt x="18" y="5"/>
                    </a:lnTo>
                    <a:lnTo>
                      <a:pt x="15" y="9"/>
                    </a:lnTo>
                    <a:lnTo>
                      <a:pt x="13" y="14"/>
                    </a:lnTo>
                    <a:lnTo>
                      <a:pt x="12" y="18"/>
                    </a:lnTo>
                    <a:lnTo>
                      <a:pt x="12" y="18"/>
                    </a:lnTo>
                    <a:lnTo>
                      <a:pt x="11" y="25"/>
                    </a:lnTo>
                    <a:lnTo>
                      <a:pt x="6" y="34"/>
                    </a:lnTo>
                    <a:lnTo>
                      <a:pt x="3" y="41"/>
                    </a:lnTo>
                    <a:lnTo>
                      <a:pt x="2" y="50"/>
                    </a:lnTo>
                    <a:lnTo>
                      <a:pt x="2" y="50"/>
                    </a:lnTo>
                    <a:lnTo>
                      <a:pt x="0"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70" name="Freeform 470"/>
              <p:cNvSpPr>
                <a:spLocks/>
              </p:cNvSpPr>
              <p:nvPr/>
            </p:nvSpPr>
            <p:spPr bwMode="auto">
              <a:xfrm>
                <a:off x="2720" y="2587"/>
                <a:ext cx="26" cy="88"/>
              </a:xfrm>
              <a:custGeom>
                <a:avLst/>
                <a:gdLst>
                  <a:gd name="T0" fmla="*/ 13 w 26"/>
                  <a:gd name="T1" fmla="*/ 88 h 88"/>
                  <a:gd name="T2" fmla="*/ 13 w 26"/>
                  <a:gd name="T3" fmla="*/ 88 h 88"/>
                  <a:gd name="T4" fmla="*/ 9 w 26"/>
                  <a:gd name="T5" fmla="*/ 68 h 88"/>
                  <a:gd name="T6" fmla="*/ 9 w 26"/>
                  <a:gd name="T7" fmla="*/ 68 h 88"/>
                  <a:gd name="T8" fmla="*/ 9 w 26"/>
                  <a:gd name="T9" fmla="*/ 62 h 88"/>
                  <a:gd name="T10" fmla="*/ 10 w 26"/>
                  <a:gd name="T11" fmla="*/ 55 h 88"/>
                  <a:gd name="T12" fmla="*/ 12 w 26"/>
                  <a:gd name="T13" fmla="*/ 47 h 88"/>
                  <a:gd name="T14" fmla="*/ 10 w 26"/>
                  <a:gd name="T15" fmla="*/ 39 h 88"/>
                  <a:gd name="T16" fmla="*/ 10 w 26"/>
                  <a:gd name="T17" fmla="*/ 39 h 88"/>
                  <a:gd name="T18" fmla="*/ 6 w 26"/>
                  <a:gd name="T19" fmla="*/ 24 h 88"/>
                  <a:gd name="T20" fmla="*/ 0 w 26"/>
                  <a:gd name="T21" fmla="*/ 7 h 88"/>
                  <a:gd name="T22" fmla="*/ 0 w 26"/>
                  <a:gd name="T23" fmla="*/ 7 h 88"/>
                  <a:gd name="T24" fmla="*/ 12 w 26"/>
                  <a:gd name="T25" fmla="*/ 1 h 88"/>
                  <a:gd name="T26" fmla="*/ 12 w 26"/>
                  <a:gd name="T27" fmla="*/ 1 h 88"/>
                  <a:gd name="T28" fmla="*/ 17 w 26"/>
                  <a:gd name="T29" fmla="*/ 0 h 88"/>
                  <a:gd name="T30" fmla="*/ 17 w 26"/>
                  <a:gd name="T31" fmla="*/ 0 h 88"/>
                  <a:gd name="T32" fmla="*/ 20 w 26"/>
                  <a:gd name="T33" fmla="*/ 0 h 88"/>
                  <a:gd name="T34" fmla="*/ 20 w 26"/>
                  <a:gd name="T35" fmla="*/ 0 h 88"/>
                  <a:gd name="T36" fmla="*/ 16 w 26"/>
                  <a:gd name="T37" fmla="*/ 7 h 88"/>
                  <a:gd name="T38" fmla="*/ 14 w 26"/>
                  <a:gd name="T39" fmla="*/ 13 h 88"/>
                  <a:gd name="T40" fmla="*/ 14 w 26"/>
                  <a:gd name="T41" fmla="*/ 13 h 88"/>
                  <a:gd name="T42" fmla="*/ 16 w 26"/>
                  <a:gd name="T43" fmla="*/ 17 h 88"/>
                  <a:gd name="T44" fmla="*/ 19 w 26"/>
                  <a:gd name="T45" fmla="*/ 23 h 88"/>
                  <a:gd name="T46" fmla="*/ 23 w 26"/>
                  <a:gd name="T47" fmla="*/ 30 h 88"/>
                  <a:gd name="T48" fmla="*/ 25 w 26"/>
                  <a:gd name="T49" fmla="*/ 39 h 88"/>
                  <a:gd name="T50" fmla="*/ 25 w 26"/>
                  <a:gd name="T51" fmla="*/ 39 h 88"/>
                  <a:gd name="T52" fmla="*/ 25 w 26"/>
                  <a:gd name="T53" fmla="*/ 40 h 88"/>
                  <a:gd name="T54" fmla="*/ 25 w 26"/>
                  <a:gd name="T55" fmla="*/ 40 h 88"/>
                  <a:gd name="T56" fmla="*/ 25 w 26"/>
                  <a:gd name="T57" fmla="*/ 50 h 88"/>
                  <a:gd name="T58" fmla="*/ 25 w 26"/>
                  <a:gd name="T59" fmla="*/ 50 h 88"/>
                  <a:gd name="T60" fmla="*/ 26 w 26"/>
                  <a:gd name="T61" fmla="*/ 82 h 88"/>
                  <a:gd name="T62" fmla="*/ 26 w 26"/>
                  <a:gd name="T63" fmla="*/ 82 h 88"/>
                  <a:gd name="T64" fmla="*/ 26 w 26"/>
                  <a:gd name="T65" fmla="*/ 82 h 88"/>
                  <a:gd name="T66" fmla="*/ 26 w 26"/>
                  <a:gd name="T67" fmla="*/ 82 h 88"/>
                  <a:gd name="T68" fmla="*/ 23 w 26"/>
                  <a:gd name="T69" fmla="*/ 84 h 88"/>
                  <a:gd name="T70" fmla="*/ 23 w 26"/>
                  <a:gd name="T71" fmla="*/ 84 h 88"/>
                  <a:gd name="T72" fmla="*/ 13 w 26"/>
                  <a:gd name="T7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 h="88">
                    <a:moveTo>
                      <a:pt x="13" y="88"/>
                    </a:moveTo>
                    <a:lnTo>
                      <a:pt x="13" y="88"/>
                    </a:lnTo>
                    <a:lnTo>
                      <a:pt x="9" y="68"/>
                    </a:lnTo>
                    <a:lnTo>
                      <a:pt x="9" y="68"/>
                    </a:lnTo>
                    <a:lnTo>
                      <a:pt x="9" y="62"/>
                    </a:lnTo>
                    <a:lnTo>
                      <a:pt x="10" y="55"/>
                    </a:lnTo>
                    <a:lnTo>
                      <a:pt x="12" y="47"/>
                    </a:lnTo>
                    <a:lnTo>
                      <a:pt x="10" y="39"/>
                    </a:lnTo>
                    <a:lnTo>
                      <a:pt x="10" y="39"/>
                    </a:lnTo>
                    <a:lnTo>
                      <a:pt x="6" y="24"/>
                    </a:lnTo>
                    <a:lnTo>
                      <a:pt x="0" y="7"/>
                    </a:lnTo>
                    <a:lnTo>
                      <a:pt x="0" y="7"/>
                    </a:lnTo>
                    <a:lnTo>
                      <a:pt x="12" y="1"/>
                    </a:lnTo>
                    <a:lnTo>
                      <a:pt x="12" y="1"/>
                    </a:lnTo>
                    <a:lnTo>
                      <a:pt x="17" y="0"/>
                    </a:lnTo>
                    <a:lnTo>
                      <a:pt x="17" y="0"/>
                    </a:lnTo>
                    <a:lnTo>
                      <a:pt x="20" y="0"/>
                    </a:lnTo>
                    <a:lnTo>
                      <a:pt x="20" y="0"/>
                    </a:lnTo>
                    <a:lnTo>
                      <a:pt x="16" y="7"/>
                    </a:lnTo>
                    <a:lnTo>
                      <a:pt x="14" y="13"/>
                    </a:lnTo>
                    <a:lnTo>
                      <a:pt x="14" y="13"/>
                    </a:lnTo>
                    <a:lnTo>
                      <a:pt x="16" y="17"/>
                    </a:lnTo>
                    <a:lnTo>
                      <a:pt x="19" y="23"/>
                    </a:lnTo>
                    <a:lnTo>
                      <a:pt x="23" y="30"/>
                    </a:lnTo>
                    <a:lnTo>
                      <a:pt x="25" y="39"/>
                    </a:lnTo>
                    <a:lnTo>
                      <a:pt x="25" y="39"/>
                    </a:lnTo>
                    <a:lnTo>
                      <a:pt x="25" y="40"/>
                    </a:lnTo>
                    <a:lnTo>
                      <a:pt x="25" y="40"/>
                    </a:lnTo>
                    <a:lnTo>
                      <a:pt x="25" y="50"/>
                    </a:lnTo>
                    <a:lnTo>
                      <a:pt x="25" y="50"/>
                    </a:lnTo>
                    <a:lnTo>
                      <a:pt x="26" y="82"/>
                    </a:lnTo>
                    <a:lnTo>
                      <a:pt x="26" y="82"/>
                    </a:lnTo>
                    <a:lnTo>
                      <a:pt x="26" y="82"/>
                    </a:lnTo>
                    <a:lnTo>
                      <a:pt x="26" y="82"/>
                    </a:lnTo>
                    <a:lnTo>
                      <a:pt x="23" y="84"/>
                    </a:lnTo>
                    <a:lnTo>
                      <a:pt x="23" y="84"/>
                    </a:lnTo>
                    <a:lnTo>
                      <a:pt x="13" y="88"/>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71" name="Freeform 471"/>
              <p:cNvSpPr>
                <a:spLocks/>
              </p:cNvSpPr>
              <p:nvPr/>
            </p:nvSpPr>
            <p:spPr bwMode="auto">
              <a:xfrm>
                <a:off x="2720" y="2587"/>
                <a:ext cx="26" cy="88"/>
              </a:xfrm>
              <a:custGeom>
                <a:avLst/>
                <a:gdLst>
                  <a:gd name="T0" fmla="*/ 13 w 26"/>
                  <a:gd name="T1" fmla="*/ 88 h 88"/>
                  <a:gd name="T2" fmla="*/ 13 w 26"/>
                  <a:gd name="T3" fmla="*/ 88 h 88"/>
                  <a:gd name="T4" fmla="*/ 9 w 26"/>
                  <a:gd name="T5" fmla="*/ 68 h 88"/>
                  <a:gd name="T6" fmla="*/ 9 w 26"/>
                  <a:gd name="T7" fmla="*/ 68 h 88"/>
                  <a:gd name="T8" fmla="*/ 9 w 26"/>
                  <a:gd name="T9" fmla="*/ 62 h 88"/>
                  <a:gd name="T10" fmla="*/ 10 w 26"/>
                  <a:gd name="T11" fmla="*/ 55 h 88"/>
                  <a:gd name="T12" fmla="*/ 12 w 26"/>
                  <a:gd name="T13" fmla="*/ 47 h 88"/>
                  <a:gd name="T14" fmla="*/ 10 w 26"/>
                  <a:gd name="T15" fmla="*/ 39 h 88"/>
                  <a:gd name="T16" fmla="*/ 10 w 26"/>
                  <a:gd name="T17" fmla="*/ 39 h 88"/>
                  <a:gd name="T18" fmla="*/ 6 w 26"/>
                  <a:gd name="T19" fmla="*/ 24 h 88"/>
                  <a:gd name="T20" fmla="*/ 0 w 26"/>
                  <a:gd name="T21" fmla="*/ 7 h 88"/>
                  <a:gd name="T22" fmla="*/ 0 w 26"/>
                  <a:gd name="T23" fmla="*/ 7 h 88"/>
                  <a:gd name="T24" fmla="*/ 12 w 26"/>
                  <a:gd name="T25" fmla="*/ 1 h 88"/>
                  <a:gd name="T26" fmla="*/ 12 w 26"/>
                  <a:gd name="T27" fmla="*/ 1 h 88"/>
                  <a:gd name="T28" fmla="*/ 17 w 26"/>
                  <a:gd name="T29" fmla="*/ 0 h 88"/>
                  <a:gd name="T30" fmla="*/ 17 w 26"/>
                  <a:gd name="T31" fmla="*/ 0 h 88"/>
                  <a:gd name="T32" fmla="*/ 20 w 26"/>
                  <a:gd name="T33" fmla="*/ 0 h 88"/>
                  <a:gd name="T34" fmla="*/ 20 w 26"/>
                  <a:gd name="T35" fmla="*/ 0 h 88"/>
                  <a:gd name="T36" fmla="*/ 16 w 26"/>
                  <a:gd name="T37" fmla="*/ 7 h 88"/>
                  <a:gd name="T38" fmla="*/ 14 w 26"/>
                  <a:gd name="T39" fmla="*/ 13 h 88"/>
                  <a:gd name="T40" fmla="*/ 14 w 26"/>
                  <a:gd name="T41" fmla="*/ 13 h 88"/>
                  <a:gd name="T42" fmla="*/ 16 w 26"/>
                  <a:gd name="T43" fmla="*/ 17 h 88"/>
                  <a:gd name="T44" fmla="*/ 19 w 26"/>
                  <a:gd name="T45" fmla="*/ 23 h 88"/>
                  <a:gd name="T46" fmla="*/ 23 w 26"/>
                  <a:gd name="T47" fmla="*/ 30 h 88"/>
                  <a:gd name="T48" fmla="*/ 25 w 26"/>
                  <a:gd name="T49" fmla="*/ 39 h 88"/>
                  <a:gd name="T50" fmla="*/ 25 w 26"/>
                  <a:gd name="T51" fmla="*/ 39 h 88"/>
                  <a:gd name="T52" fmla="*/ 25 w 26"/>
                  <a:gd name="T53" fmla="*/ 40 h 88"/>
                  <a:gd name="T54" fmla="*/ 25 w 26"/>
                  <a:gd name="T55" fmla="*/ 40 h 88"/>
                  <a:gd name="T56" fmla="*/ 25 w 26"/>
                  <a:gd name="T57" fmla="*/ 50 h 88"/>
                  <a:gd name="T58" fmla="*/ 25 w 26"/>
                  <a:gd name="T59" fmla="*/ 50 h 88"/>
                  <a:gd name="T60" fmla="*/ 26 w 26"/>
                  <a:gd name="T61" fmla="*/ 82 h 88"/>
                  <a:gd name="T62" fmla="*/ 26 w 26"/>
                  <a:gd name="T63" fmla="*/ 82 h 88"/>
                  <a:gd name="T64" fmla="*/ 26 w 26"/>
                  <a:gd name="T65" fmla="*/ 82 h 88"/>
                  <a:gd name="T66" fmla="*/ 26 w 26"/>
                  <a:gd name="T67" fmla="*/ 82 h 88"/>
                  <a:gd name="T68" fmla="*/ 23 w 26"/>
                  <a:gd name="T69" fmla="*/ 84 h 88"/>
                  <a:gd name="T70" fmla="*/ 23 w 26"/>
                  <a:gd name="T71" fmla="*/ 84 h 88"/>
                  <a:gd name="T72" fmla="*/ 13 w 26"/>
                  <a:gd name="T7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 h="88">
                    <a:moveTo>
                      <a:pt x="13" y="88"/>
                    </a:moveTo>
                    <a:lnTo>
                      <a:pt x="13" y="88"/>
                    </a:lnTo>
                    <a:lnTo>
                      <a:pt x="9" y="68"/>
                    </a:lnTo>
                    <a:lnTo>
                      <a:pt x="9" y="68"/>
                    </a:lnTo>
                    <a:lnTo>
                      <a:pt x="9" y="62"/>
                    </a:lnTo>
                    <a:lnTo>
                      <a:pt x="10" y="55"/>
                    </a:lnTo>
                    <a:lnTo>
                      <a:pt x="12" y="47"/>
                    </a:lnTo>
                    <a:lnTo>
                      <a:pt x="10" y="39"/>
                    </a:lnTo>
                    <a:lnTo>
                      <a:pt x="10" y="39"/>
                    </a:lnTo>
                    <a:lnTo>
                      <a:pt x="6" y="24"/>
                    </a:lnTo>
                    <a:lnTo>
                      <a:pt x="0" y="7"/>
                    </a:lnTo>
                    <a:lnTo>
                      <a:pt x="0" y="7"/>
                    </a:lnTo>
                    <a:lnTo>
                      <a:pt x="12" y="1"/>
                    </a:lnTo>
                    <a:lnTo>
                      <a:pt x="12" y="1"/>
                    </a:lnTo>
                    <a:lnTo>
                      <a:pt x="17" y="0"/>
                    </a:lnTo>
                    <a:lnTo>
                      <a:pt x="17" y="0"/>
                    </a:lnTo>
                    <a:lnTo>
                      <a:pt x="20" y="0"/>
                    </a:lnTo>
                    <a:lnTo>
                      <a:pt x="20" y="0"/>
                    </a:lnTo>
                    <a:lnTo>
                      <a:pt x="16" y="7"/>
                    </a:lnTo>
                    <a:lnTo>
                      <a:pt x="14" y="13"/>
                    </a:lnTo>
                    <a:lnTo>
                      <a:pt x="14" y="13"/>
                    </a:lnTo>
                    <a:lnTo>
                      <a:pt x="16" y="17"/>
                    </a:lnTo>
                    <a:lnTo>
                      <a:pt x="19" y="23"/>
                    </a:lnTo>
                    <a:lnTo>
                      <a:pt x="23" y="30"/>
                    </a:lnTo>
                    <a:lnTo>
                      <a:pt x="25" y="39"/>
                    </a:lnTo>
                    <a:lnTo>
                      <a:pt x="25" y="39"/>
                    </a:lnTo>
                    <a:lnTo>
                      <a:pt x="25" y="40"/>
                    </a:lnTo>
                    <a:lnTo>
                      <a:pt x="25" y="40"/>
                    </a:lnTo>
                    <a:lnTo>
                      <a:pt x="25" y="50"/>
                    </a:lnTo>
                    <a:lnTo>
                      <a:pt x="25" y="50"/>
                    </a:lnTo>
                    <a:lnTo>
                      <a:pt x="26" y="82"/>
                    </a:lnTo>
                    <a:lnTo>
                      <a:pt x="26" y="82"/>
                    </a:lnTo>
                    <a:lnTo>
                      <a:pt x="26" y="82"/>
                    </a:lnTo>
                    <a:lnTo>
                      <a:pt x="26" y="82"/>
                    </a:lnTo>
                    <a:lnTo>
                      <a:pt x="23" y="84"/>
                    </a:lnTo>
                    <a:lnTo>
                      <a:pt x="23" y="84"/>
                    </a:lnTo>
                    <a:lnTo>
                      <a:pt x="13" y="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72" name="Freeform 472"/>
              <p:cNvSpPr>
                <a:spLocks/>
              </p:cNvSpPr>
              <p:nvPr/>
            </p:nvSpPr>
            <p:spPr bwMode="auto">
              <a:xfrm>
                <a:off x="2716" y="2378"/>
                <a:ext cx="241" cy="204"/>
              </a:xfrm>
              <a:custGeom>
                <a:avLst/>
                <a:gdLst>
                  <a:gd name="T0" fmla="*/ 55 w 241"/>
                  <a:gd name="T1" fmla="*/ 200 h 204"/>
                  <a:gd name="T2" fmla="*/ 55 w 241"/>
                  <a:gd name="T3" fmla="*/ 199 h 204"/>
                  <a:gd name="T4" fmla="*/ 49 w 241"/>
                  <a:gd name="T5" fmla="*/ 196 h 204"/>
                  <a:gd name="T6" fmla="*/ 43 w 241"/>
                  <a:gd name="T7" fmla="*/ 197 h 204"/>
                  <a:gd name="T8" fmla="*/ 43 w 241"/>
                  <a:gd name="T9" fmla="*/ 199 h 204"/>
                  <a:gd name="T10" fmla="*/ 37 w 241"/>
                  <a:gd name="T11" fmla="*/ 194 h 204"/>
                  <a:gd name="T12" fmla="*/ 30 w 241"/>
                  <a:gd name="T13" fmla="*/ 180 h 204"/>
                  <a:gd name="T14" fmla="*/ 13 w 241"/>
                  <a:gd name="T15" fmla="*/ 168 h 204"/>
                  <a:gd name="T16" fmla="*/ 0 w 241"/>
                  <a:gd name="T17" fmla="*/ 143 h 204"/>
                  <a:gd name="T18" fmla="*/ 21 w 241"/>
                  <a:gd name="T19" fmla="*/ 141 h 204"/>
                  <a:gd name="T20" fmla="*/ 71 w 241"/>
                  <a:gd name="T21" fmla="*/ 116 h 204"/>
                  <a:gd name="T22" fmla="*/ 72 w 241"/>
                  <a:gd name="T23" fmla="*/ 81 h 204"/>
                  <a:gd name="T24" fmla="*/ 105 w 241"/>
                  <a:gd name="T25" fmla="*/ 75 h 204"/>
                  <a:gd name="T26" fmla="*/ 105 w 241"/>
                  <a:gd name="T27" fmla="*/ 75 h 204"/>
                  <a:gd name="T28" fmla="*/ 105 w 241"/>
                  <a:gd name="T29" fmla="*/ 75 h 204"/>
                  <a:gd name="T30" fmla="*/ 105 w 241"/>
                  <a:gd name="T31" fmla="*/ 75 h 204"/>
                  <a:gd name="T32" fmla="*/ 181 w 241"/>
                  <a:gd name="T33" fmla="*/ 0 h 204"/>
                  <a:gd name="T34" fmla="*/ 231 w 241"/>
                  <a:gd name="T35" fmla="*/ 28 h 204"/>
                  <a:gd name="T36" fmla="*/ 241 w 241"/>
                  <a:gd name="T37" fmla="*/ 57 h 204"/>
                  <a:gd name="T38" fmla="*/ 231 w 241"/>
                  <a:gd name="T39" fmla="*/ 75 h 204"/>
                  <a:gd name="T40" fmla="*/ 230 w 241"/>
                  <a:gd name="T41" fmla="*/ 84 h 204"/>
                  <a:gd name="T42" fmla="*/ 231 w 241"/>
                  <a:gd name="T43" fmla="*/ 133 h 204"/>
                  <a:gd name="T44" fmla="*/ 218 w 241"/>
                  <a:gd name="T45" fmla="*/ 161 h 204"/>
                  <a:gd name="T46" fmla="*/ 221 w 241"/>
                  <a:gd name="T47" fmla="*/ 168 h 204"/>
                  <a:gd name="T48" fmla="*/ 204 w 241"/>
                  <a:gd name="T49" fmla="*/ 177 h 204"/>
                  <a:gd name="T50" fmla="*/ 204 w 241"/>
                  <a:gd name="T51" fmla="*/ 177 h 204"/>
                  <a:gd name="T52" fmla="*/ 188 w 241"/>
                  <a:gd name="T53" fmla="*/ 180 h 204"/>
                  <a:gd name="T54" fmla="*/ 184 w 241"/>
                  <a:gd name="T55" fmla="*/ 180 h 204"/>
                  <a:gd name="T56" fmla="*/ 184 w 241"/>
                  <a:gd name="T57" fmla="*/ 178 h 204"/>
                  <a:gd name="T58" fmla="*/ 182 w 241"/>
                  <a:gd name="T59" fmla="*/ 178 h 204"/>
                  <a:gd name="T60" fmla="*/ 171 w 241"/>
                  <a:gd name="T61" fmla="*/ 177 h 204"/>
                  <a:gd name="T62" fmla="*/ 165 w 241"/>
                  <a:gd name="T63" fmla="*/ 178 h 204"/>
                  <a:gd name="T64" fmla="*/ 165 w 241"/>
                  <a:gd name="T65" fmla="*/ 178 h 204"/>
                  <a:gd name="T66" fmla="*/ 165 w 241"/>
                  <a:gd name="T67" fmla="*/ 178 h 204"/>
                  <a:gd name="T68" fmla="*/ 146 w 241"/>
                  <a:gd name="T69" fmla="*/ 183 h 204"/>
                  <a:gd name="T70" fmla="*/ 136 w 241"/>
                  <a:gd name="T71" fmla="*/ 180 h 204"/>
                  <a:gd name="T72" fmla="*/ 134 w 241"/>
                  <a:gd name="T73" fmla="*/ 180 h 204"/>
                  <a:gd name="T74" fmla="*/ 123 w 241"/>
                  <a:gd name="T75" fmla="*/ 175 h 204"/>
                  <a:gd name="T76" fmla="*/ 118 w 241"/>
                  <a:gd name="T77" fmla="*/ 175 h 204"/>
                  <a:gd name="T78" fmla="*/ 118 w 241"/>
                  <a:gd name="T79" fmla="*/ 175 h 204"/>
                  <a:gd name="T80" fmla="*/ 118 w 241"/>
                  <a:gd name="T81" fmla="*/ 175 h 204"/>
                  <a:gd name="T82" fmla="*/ 118 w 241"/>
                  <a:gd name="T83" fmla="*/ 177 h 204"/>
                  <a:gd name="T84" fmla="*/ 117 w 241"/>
                  <a:gd name="T85" fmla="*/ 177 h 204"/>
                  <a:gd name="T86" fmla="*/ 115 w 241"/>
                  <a:gd name="T87" fmla="*/ 177 h 204"/>
                  <a:gd name="T88" fmla="*/ 115 w 241"/>
                  <a:gd name="T89" fmla="*/ 178 h 204"/>
                  <a:gd name="T90" fmla="*/ 114 w 241"/>
                  <a:gd name="T91" fmla="*/ 178 h 204"/>
                  <a:gd name="T92" fmla="*/ 113 w 241"/>
                  <a:gd name="T93" fmla="*/ 178 h 204"/>
                  <a:gd name="T94" fmla="*/ 110 w 241"/>
                  <a:gd name="T95" fmla="*/ 180 h 204"/>
                  <a:gd name="T96" fmla="*/ 108 w 241"/>
                  <a:gd name="T97" fmla="*/ 180 h 204"/>
                  <a:gd name="T98" fmla="*/ 107 w 241"/>
                  <a:gd name="T99" fmla="*/ 180 h 204"/>
                  <a:gd name="T100" fmla="*/ 104 w 241"/>
                  <a:gd name="T101" fmla="*/ 180 h 204"/>
                  <a:gd name="T102" fmla="*/ 104 w 241"/>
                  <a:gd name="T103" fmla="*/ 178 h 204"/>
                  <a:gd name="T104" fmla="*/ 89 w 241"/>
                  <a:gd name="T105" fmla="*/ 171 h 204"/>
                  <a:gd name="T106" fmla="*/ 88 w 241"/>
                  <a:gd name="T107" fmla="*/ 171 h 204"/>
                  <a:gd name="T108" fmla="*/ 75 w 241"/>
                  <a:gd name="T109" fmla="*/ 174 h 204"/>
                  <a:gd name="T110" fmla="*/ 65 w 241"/>
                  <a:gd name="T111" fmla="*/ 181 h 204"/>
                  <a:gd name="T112" fmla="*/ 65 w 241"/>
                  <a:gd name="T113"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1" h="204">
                    <a:moveTo>
                      <a:pt x="65" y="204"/>
                    </a:moveTo>
                    <a:lnTo>
                      <a:pt x="65" y="204"/>
                    </a:lnTo>
                    <a:lnTo>
                      <a:pt x="59" y="203"/>
                    </a:lnTo>
                    <a:lnTo>
                      <a:pt x="55" y="200"/>
                    </a:lnTo>
                    <a:lnTo>
                      <a:pt x="55" y="200"/>
                    </a:lnTo>
                    <a:lnTo>
                      <a:pt x="55" y="200"/>
                    </a:lnTo>
                    <a:lnTo>
                      <a:pt x="55" y="200"/>
                    </a:lnTo>
                    <a:lnTo>
                      <a:pt x="55" y="199"/>
                    </a:lnTo>
                    <a:lnTo>
                      <a:pt x="55" y="199"/>
                    </a:lnTo>
                    <a:lnTo>
                      <a:pt x="52" y="197"/>
                    </a:lnTo>
                    <a:lnTo>
                      <a:pt x="49" y="196"/>
                    </a:lnTo>
                    <a:lnTo>
                      <a:pt x="49" y="196"/>
                    </a:lnTo>
                    <a:lnTo>
                      <a:pt x="49" y="196"/>
                    </a:lnTo>
                    <a:lnTo>
                      <a:pt x="49" y="196"/>
                    </a:lnTo>
                    <a:lnTo>
                      <a:pt x="46" y="196"/>
                    </a:lnTo>
                    <a:lnTo>
                      <a:pt x="43" y="197"/>
                    </a:lnTo>
                    <a:lnTo>
                      <a:pt x="43" y="197"/>
                    </a:lnTo>
                    <a:lnTo>
                      <a:pt x="43" y="197"/>
                    </a:lnTo>
                    <a:lnTo>
                      <a:pt x="43" y="197"/>
                    </a:lnTo>
                    <a:lnTo>
                      <a:pt x="43" y="199"/>
                    </a:lnTo>
                    <a:lnTo>
                      <a:pt x="43" y="199"/>
                    </a:lnTo>
                    <a:lnTo>
                      <a:pt x="42" y="200"/>
                    </a:lnTo>
                    <a:lnTo>
                      <a:pt x="42" y="200"/>
                    </a:lnTo>
                    <a:lnTo>
                      <a:pt x="37" y="194"/>
                    </a:lnTo>
                    <a:lnTo>
                      <a:pt x="36" y="187"/>
                    </a:lnTo>
                    <a:lnTo>
                      <a:pt x="36" y="187"/>
                    </a:lnTo>
                    <a:lnTo>
                      <a:pt x="33" y="183"/>
                    </a:lnTo>
                    <a:lnTo>
                      <a:pt x="30" y="180"/>
                    </a:lnTo>
                    <a:lnTo>
                      <a:pt x="26" y="178"/>
                    </a:lnTo>
                    <a:lnTo>
                      <a:pt x="18" y="172"/>
                    </a:lnTo>
                    <a:lnTo>
                      <a:pt x="18" y="172"/>
                    </a:lnTo>
                    <a:lnTo>
                      <a:pt x="13" y="168"/>
                    </a:lnTo>
                    <a:lnTo>
                      <a:pt x="7" y="161"/>
                    </a:lnTo>
                    <a:lnTo>
                      <a:pt x="3" y="152"/>
                    </a:lnTo>
                    <a:lnTo>
                      <a:pt x="0" y="143"/>
                    </a:lnTo>
                    <a:lnTo>
                      <a:pt x="0" y="143"/>
                    </a:lnTo>
                    <a:lnTo>
                      <a:pt x="8" y="146"/>
                    </a:lnTo>
                    <a:lnTo>
                      <a:pt x="16" y="148"/>
                    </a:lnTo>
                    <a:lnTo>
                      <a:pt x="21" y="148"/>
                    </a:lnTo>
                    <a:lnTo>
                      <a:pt x="21" y="141"/>
                    </a:lnTo>
                    <a:lnTo>
                      <a:pt x="60" y="141"/>
                    </a:lnTo>
                    <a:lnTo>
                      <a:pt x="60" y="141"/>
                    </a:lnTo>
                    <a:lnTo>
                      <a:pt x="66" y="129"/>
                    </a:lnTo>
                    <a:lnTo>
                      <a:pt x="71" y="116"/>
                    </a:lnTo>
                    <a:lnTo>
                      <a:pt x="72" y="110"/>
                    </a:lnTo>
                    <a:lnTo>
                      <a:pt x="72" y="104"/>
                    </a:lnTo>
                    <a:lnTo>
                      <a:pt x="72" y="81"/>
                    </a:lnTo>
                    <a:lnTo>
                      <a:pt x="72" y="81"/>
                    </a:lnTo>
                    <a:lnTo>
                      <a:pt x="91" y="78"/>
                    </a:lnTo>
                    <a:lnTo>
                      <a:pt x="105" y="75"/>
                    </a:lnTo>
                    <a:lnTo>
                      <a:pt x="105" y="75"/>
                    </a:lnTo>
                    <a:lnTo>
                      <a:pt x="105" y="75"/>
                    </a:lnTo>
                    <a:lnTo>
                      <a:pt x="105" y="75"/>
                    </a:lnTo>
                    <a:lnTo>
                      <a:pt x="105" y="75"/>
                    </a:lnTo>
                    <a:lnTo>
                      <a:pt x="105" y="75"/>
                    </a:lnTo>
                    <a:lnTo>
                      <a:pt x="105" y="75"/>
                    </a:lnTo>
                    <a:lnTo>
                      <a:pt x="105" y="75"/>
                    </a:lnTo>
                    <a:lnTo>
                      <a:pt x="105" y="75"/>
                    </a:lnTo>
                    <a:lnTo>
                      <a:pt x="105" y="75"/>
                    </a:lnTo>
                    <a:lnTo>
                      <a:pt x="105" y="75"/>
                    </a:lnTo>
                    <a:lnTo>
                      <a:pt x="105" y="75"/>
                    </a:lnTo>
                    <a:lnTo>
                      <a:pt x="105" y="75"/>
                    </a:lnTo>
                    <a:lnTo>
                      <a:pt x="105" y="75"/>
                    </a:lnTo>
                    <a:lnTo>
                      <a:pt x="105" y="75"/>
                    </a:lnTo>
                    <a:lnTo>
                      <a:pt x="111" y="73"/>
                    </a:lnTo>
                    <a:lnTo>
                      <a:pt x="121" y="64"/>
                    </a:lnTo>
                    <a:lnTo>
                      <a:pt x="146" y="38"/>
                    </a:lnTo>
                    <a:lnTo>
                      <a:pt x="181" y="0"/>
                    </a:lnTo>
                    <a:lnTo>
                      <a:pt x="218" y="19"/>
                    </a:lnTo>
                    <a:lnTo>
                      <a:pt x="228" y="15"/>
                    </a:lnTo>
                    <a:lnTo>
                      <a:pt x="228" y="15"/>
                    </a:lnTo>
                    <a:lnTo>
                      <a:pt x="231" y="28"/>
                    </a:lnTo>
                    <a:lnTo>
                      <a:pt x="236" y="38"/>
                    </a:lnTo>
                    <a:lnTo>
                      <a:pt x="240" y="54"/>
                    </a:lnTo>
                    <a:lnTo>
                      <a:pt x="240" y="54"/>
                    </a:lnTo>
                    <a:lnTo>
                      <a:pt x="241" y="57"/>
                    </a:lnTo>
                    <a:lnTo>
                      <a:pt x="241" y="57"/>
                    </a:lnTo>
                    <a:lnTo>
                      <a:pt x="240" y="61"/>
                    </a:lnTo>
                    <a:lnTo>
                      <a:pt x="237" y="67"/>
                    </a:lnTo>
                    <a:lnTo>
                      <a:pt x="231" y="75"/>
                    </a:lnTo>
                    <a:lnTo>
                      <a:pt x="231" y="75"/>
                    </a:lnTo>
                    <a:lnTo>
                      <a:pt x="230" y="80"/>
                    </a:lnTo>
                    <a:lnTo>
                      <a:pt x="230" y="84"/>
                    </a:lnTo>
                    <a:lnTo>
                      <a:pt x="230" y="84"/>
                    </a:lnTo>
                    <a:lnTo>
                      <a:pt x="231" y="107"/>
                    </a:lnTo>
                    <a:lnTo>
                      <a:pt x="234" y="125"/>
                    </a:lnTo>
                    <a:lnTo>
                      <a:pt x="234" y="125"/>
                    </a:lnTo>
                    <a:lnTo>
                      <a:pt x="231" y="133"/>
                    </a:lnTo>
                    <a:lnTo>
                      <a:pt x="227" y="143"/>
                    </a:lnTo>
                    <a:lnTo>
                      <a:pt x="221" y="154"/>
                    </a:lnTo>
                    <a:lnTo>
                      <a:pt x="218" y="161"/>
                    </a:lnTo>
                    <a:lnTo>
                      <a:pt x="218" y="161"/>
                    </a:lnTo>
                    <a:lnTo>
                      <a:pt x="218" y="161"/>
                    </a:lnTo>
                    <a:lnTo>
                      <a:pt x="218" y="161"/>
                    </a:lnTo>
                    <a:lnTo>
                      <a:pt x="220" y="165"/>
                    </a:lnTo>
                    <a:lnTo>
                      <a:pt x="221" y="168"/>
                    </a:lnTo>
                    <a:lnTo>
                      <a:pt x="221" y="168"/>
                    </a:lnTo>
                    <a:lnTo>
                      <a:pt x="213" y="174"/>
                    </a:lnTo>
                    <a:lnTo>
                      <a:pt x="204" y="177"/>
                    </a:lnTo>
                    <a:lnTo>
                      <a:pt x="204" y="177"/>
                    </a:lnTo>
                    <a:lnTo>
                      <a:pt x="204" y="177"/>
                    </a:lnTo>
                    <a:lnTo>
                      <a:pt x="204" y="177"/>
                    </a:lnTo>
                    <a:lnTo>
                      <a:pt x="204" y="177"/>
                    </a:lnTo>
                    <a:lnTo>
                      <a:pt x="204" y="177"/>
                    </a:lnTo>
                    <a:lnTo>
                      <a:pt x="202" y="177"/>
                    </a:lnTo>
                    <a:lnTo>
                      <a:pt x="202" y="177"/>
                    </a:lnTo>
                    <a:lnTo>
                      <a:pt x="197" y="178"/>
                    </a:lnTo>
                    <a:lnTo>
                      <a:pt x="188" y="180"/>
                    </a:lnTo>
                    <a:lnTo>
                      <a:pt x="188" y="180"/>
                    </a:lnTo>
                    <a:lnTo>
                      <a:pt x="188" y="180"/>
                    </a:lnTo>
                    <a:lnTo>
                      <a:pt x="188" y="180"/>
                    </a:lnTo>
                    <a:lnTo>
                      <a:pt x="184" y="180"/>
                    </a:lnTo>
                    <a:lnTo>
                      <a:pt x="184" y="180"/>
                    </a:lnTo>
                    <a:lnTo>
                      <a:pt x="184" y="178"/>
                    </a:lnTo>
                    <a:lnTo>
                      <a:pt x="184" y="178"/>
                    </a:lnTo>
                    <a:lnTo>
                      <a:pt x="184" y="178"/>
                    </a:lnTo>
                    <a:lnTo>
                      <a:pt x="184" y="178"/>
                    </a:lnTo>
                    <a:lnTo>
                      <a:pt x="184" y="178"/>
                    </a:lnTo>
                    <a:lnTo>
                      <a:pt x="184" y="178"/>
                    </a:lnTo>
                    <a:lnTo>
                      <a:pt x="182" y="178"/>
                    </a:lnTo>
                    <a:lnTo>
                      <a:pt x="182" y="178"/>
                    </a:lnTo>
                    <a:lnTo>
                      <a:pt x="171" y="177"/>
                    </a:lnTo>
                    <a:lnTo>
                      <a:pt x="171" y="177"/>
                    </a:lnTo>
                    <a:lnTo>
                      <a:pt x="171" y="177"/>
                    </a:lnTo>
                    <a:lnTo>
                      <a:pt x="171" y="177"/>
                    </a:lnTo>
                    <a:lnTo>
                      <a:pt x="165" y="178"/>
                    </a:lnTo>
                    <a:lnTo>
                      <a:pt x="165" y="178"/>
                    </a:lnTo>
                    <a:lnTo>
                      <a:pt x="165" y="178"/>
                    </a:lnTo>
                    <a:lnTo>
                      <a:pt x="165" y="178"/>
                    </a:lnTo>
                    <a:lnTo>
                      <a:pt x="165" y="178"/>
                    </a:lnTo>
                    <a:lnTo>
                      <a:pt x="165" y="178"/>
                    </a:lnTo>
                    <a:lnTo>
                      <a:pt x="165" y="178"/>
                    </a:lnTo>
                    <a:lnTo>
                      <a:pt x="165" y="178"/>
                    </a:lnTo>
                    <a:lnTo>
                      <a:pt x="165" y="178"/>
                    </a:lnTo>
                    <a:lnTo>
                      <a:pt x="165" y="178"/>
                    </a:lnTo>
                    <a:lnTo>
                      <a:pt x="165" y="178"/>
                    </a:lnTo>
                    <a:lnTo>
                      <a:pt x="157" y="181"/>
                    </a:lnTo>
                    <a:lnTo>
                      <a:pt x="146" y="183"/>
                    </a:lnTo>
                    <a:lnTo>
                      <a:pt x="146" y="183"/>
                    </a:lnTo>
                    <a:lnTo>
                      <a:pt x="146" y="183"/>
                    </a:lnTo>
                    <a:lnTo>
                      <a:pt x="146" y="183"/>
                    </a:lnTo>
                    <a:lnTo>
                      <a:pt x="140" y="181"/>
                    </a:lnTo>
                    <a:lnTo>
                      <a:pt x="136" y="180"/>
                    </a:lnTo>
                    <a:lnTo>
                      <a:pt x="136" y="180"/>
                    </a:lnTo>
                    <a:lnTo>
                      <a:pt x="136" y="180"/>
                    </a:lnTo>
                    <a:lnTo>
                      <a:pt x="136" y="180"/>
                    </a:lnTo>
                    <a:lnTo>
                      <a:pt x="134" y="180"/>
                    </a:lnTo>
                    <a:lnTo>
                      <a:pt x="134" y="180"/>
                    </a:lnTo>
                    <a:lnTo>
                      <a:pt x="129" y="175"/>
                    </a:lnTo>
                    <a:lnTo>
                      <a:pt x="123" y="175"/>
                    </a:lnTo>
                    <a:lnTo>
                      <a:pt x="123" y="175"/>
                    </a:lnTo>
                    <a:lnTo>
                      <a:pt x="123" y="175"/>
                    </a:lnTo>
                    <a:lnTo>
                      <a:pt x="123" y="175"/>
                    </a:lnTo>
                    <a:lnTo>
                      <a:pt x="120" y="175"/>
                    </a:lnTo>
                    <a:lnTo>
                      <a:pt x="120" y="175"/>
                    </a:lnTo>
                    <a:lnTo>
                      <a:pt x="118" y="175"/>
                    </a:lnTo>
                    <a:lnTo>
                      <a:pt x="118" y="175"/>
                    </a:lnTo>
                    <a:lnTo>
                      <a:pt x="118" y="175"/>
                    </a:lnTo>
                    <a:lnTo>
                      <a:pt x="118" y="175"/>
                    </a:lnTo>
                    <a:lnTo>
                      <a:pt x="118" y="175"/>
                    </a:lnTo>
                    <a:lnTo>
                      <a:pt x="118" y="175"/>
                    </a:lnTo>
                    <a:lnTo>
                      <a:pt x="118" y="175"/>
                    </a:lnTo>
                    <a:lnTo>
                      <a:pt x="118" y="175"/>
                    </a:lnTo>
                    <a:lnTo>
                      <a:pt x="118" y="175"/>
                    </a:lnTo>
                    <a:lnTo>
                      <a:pt x="118" y="175"/>
                    </a:lnTo>
                    <a:lnTo>
                      <a:pt x="118" y="177"/>
                    </a:lnTo>
                    <a:lnTo>
                      <a:pt x="118" y="177"/>
                    </a:lnTo>
                    <a:lnTo>
                      <a:pt x="118" y="177"/>
                    </a:lnTo>
                    <a:lnTo>
                      <a:pt x="118" y="177"/>
                    </a:lnTo>
                    <a:lnTo>
                      <a:pt x="118" y="177"/>
                    </a:lnTo>
                    <a:lnTo>
                      <a:pt x="118" y="177"/>
                    </a:lnTo>
                    <a:lnTo>
                      <a:pt x="117" y="177"/>
                    </a:lnTo>
                    <a:lnTo>
                      <a:pt x="117" y="177"/>
                    </a:lnTo>
                    <a:lnTo>
                      <a:pt x="117" y="177"/>
                    </a:lnTo>
                    <a:lnTo>
                      <a:pt x="117" y="177"/>
                    </a:lnTo>
                    <a:lnTo>
                      <a:pt x="115" y="177"/>
                    </a:lnTo>
                    <a:lnTo>
                      <a:pt x="115" y="177"/>
                    </a:lnTo>
                    <a:lnTo>
                      <a:pt x="115" y="177"/>
                    </a:lnTo>
                    <a:lnTo>
                      <a:pt x="115" y="177"/>
                    </a:lnTo>
                    <a:lnTo>
                      <a:pt x="115" y="178"/>
                    </a:lnTo>
                    <a:lnTo>
                      <a:pt x="115" y="178"/>
                    </a:lnTo>
                    <a:lnTo>
                      <a:pt x="115" y="178"/>
                    </a:lnTo>
                    <a:lnTo>
                      <a:pt x="115" y="178"/>
                    </a:lnTo>
                    <a:lnTo>
                      <a:pt x="114" y="178"/>
                    </a:lnTo>
                    <a:lnTo>
                      <a:pt x="114" y="178"/>
                    </a:lnTo>
                    <a:lnTo>
                      <a:pt x="114" y="178"/>
                    </a:lnTo>
                    <a:lnTo>
                      <a:pt x="114" y="178"/>
                    </a:lnTo>
                    <a:lnTo>
                      <a:pt x="113" y="178"/>
                    </a:lnTo>
                    <a:lnTo>
                      <a:pt x="113" y="178"/>
                    </a:lnTo>
                    <a:lnTo>
                      <a:pt x="110" y="180"/>
                    </a:lnTo>
                    <a:lnTo>
                      <a:pt x="110" y="180"/>
                    </a:lnTo>
                    <a:lnTo>
                      <a:pt x="110" y="180"/>
                    </a:lnTo>
                    <a:lnTo>
                      <a:pt x="110" y="180"/>
                    </a:lnTo>
                    <a:lnTo>
                      <a:pt x="108" y="180"/>
                    </a:lnTo>
                    <a:lnTo>
                      <a:pt x="108" y="180"/>
                    </a:lnTo>
                    <a:lnTo>
                      <a:pt x="108" y="180"/>
                    </a:lnTo>
                    <a:lnTo>
                      <a:pt x="108" y="180"/>
                    </a:lnTo>
                    <a:lnTo>
                      <a:pt x="108" y="180"/>
                    </a:lnTo>
                    <a:lnTo>
                      <a:pt x="108" y="180"/>
                    </a:lnTo>
                    <a:lnTo>
                      <a:pt x="107" y="180"/>
                    </a:lnTo>
                    <a:lnTo>
                      <a:pt x="107" y="180"/>
                    </a:lnTo>
                    <a:lnTo>
                      <a:pt x="107" y="180"/>
                    </a:lnTo>
                    <a:lnTo>
                      <a:pt x="104" y="180"/>
                    </a:lnTo>
                    <a:lnTo>
                      <a:pt x="104" y="180"/>
                    </a:lnTo>
                    <a:lnTo>
                      <a:pt x="104" y="180"/>
                    </a:lnTo>
                    <a:lnTo>
                      <a:pt x="104" y="180"/>
                    </a:lnTo>
                    <a:lnTo>
                      <a:pt x="104" y="178"/>
                    </a:lnTo>
                    <a:lnTo>
                      <a:pt x="104" y="178"/>
                    </a:lnTo>
                    <a:lnTo>
                      <a:pt x="98" y="174"/>
                    </a:lnTo>
                    <a:lnTo>
                      <a:pt x="94" y="171"/>
                    </a:lnTo>
                    <a:lnTo>
                      <a:pt x="89" y="171"/>
                    </a:lnTo>
                    <a:lnTo>
                      <a:pt x="89" y="171"/>
                    </a:lnTo>
                    <a:lnTo>
                      <a:pt x="89" y="171"/>
                    </a:lnTo>
                    <a:lnTo>
                      <a:pt x="89" y="171"/>
                    </a:lnTo>
                    <a:lnTo>
                      <a:pt x="89" y="171"/>
                    </a:lnTo>
                    <a:lnTo>
                      <a:pt x="88" y="171"/>
                    </a:lnTo>
                    <a:lnTo>
                      <a:pt x="88" y="171"/>
                    </a:lnTo>
                    <a:lnTo>
                      <a:pt x="88" y="171"/>
                    </a:lnTo>
                    <a:lnTo>
                      <a:pt x="88" y="171"/>
                    </a:lnTo>
                    <a:lnTo>
                      <a:pt x="75" y="174"/>
                    </a:lnTo>
                    <a:lnTo>
                      <a:pt x="68" y="177"/>
                    </a:lnTo>
                    <a:lnTo>
                      <a:pt x="66" y="178"/>
                    </a:lnTo>
                    <a:lnTo>
                      <a:pt x="65" y="181"/>
                    </a:lnTo>
                    <a:lnTo>
                      <a:pt x="65" y="181"/>
                    </a:lnTo>
                    <a:lnTo>
                      <a:pt x="65" y="184"/>
                    </a:lnTo>
                    <a:lnTo>
                      <a:pt x="65" y="184"/>
                    </a:lnTo>
                    <a:lnTo>
                      <a:pt x="63" y="193"/>
                    </a:lnTo>
                    <a:lnTo>
                      <a:pt x="65" y="204"/>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73" name="Freeform 473"/>
              <p:cNvSpPr>
                <a:spLocks/>
              </p:cNvSpPr>
              <p:nvPr/>
            </p:nvSpPr>
            <p:spPr bwMode="auto">
              <a:xfrm>
                <a:off x="2716" y="2378"/>
                <a:ext cx="241" cy="204"/>
              </a:xfrm>
              <a:custGeom>
                <a:avLst/>
                <a:gdLst>
                  <a:gd name="T0" fmla="*/ 55 w 241"/>
                  <a:gd name="T1" fmla="*/ 200 h 204"/>
                  <a:gd name="T2" fmla="*/ 55 w 241"/>
                  <a:gd name="T3" fmla="*/ 199 h 204"/>
                  <a:gd name="T4" fmla="*/ 49 w 241"/>
                  <a:gd name="T5" fmla="*/ 196 h 204"/>
                  <a:gd name="T6" fmla="*/ 43 w 241"/>
                  <a:gd name="T7" fmla="*/ 197 h 204"/>
                  <a:gd name="T8" fmla="*/ 43 w 241"/>
                  <a:gd name="T9" fmla="*/ 199 h 204"/>
                  <a:gd name="T10" fmla="*/ 37 w 241"/>
                  <a:gd name="T11" fmla="*/ 194 h 204"/>
                  <a:gd name="T12" fmla="*/ 30 w 241"/>
                  <a:gd name="T13" fmla="*/ 180 h 204"/>
                  <a:gd name="T14" fmla="*/ 13 w 241"/>
                  <a:gd name="T15" fmla="*/ 168 h 204"/>
                  <a:gd name="T16" fmla="*/ 0 w 241"/>
                  <a:gd name="T17" fmla="*/ 143 h 204"/>
                  <a:gd name="T18" fmla="*/ 21 w 241"/>
                  <a:gd name="T19" fmla="*/ 141 h 204"/>
                  <a:gd name="T20" fmla="*/ 71 w 241"/>
                  <a:gd name="T21" fmla="*/ 116 h 204"/>
                  <a:gd name="T22" fmla="*/ 72 w 241"/>
                  <a:gd name="T23" fmla="*/ 81 h 204"/>
                  <a:gd name="T24" fmla="*/ 105 w 241"/>
                  <a:gd name="T25" fmla="*/ 75 h 204"/>
                  <a:gd name="T26" fmla="*/ 105 w 241"/>
                  <a:gd name="T27" fmla="*/ 75 h 204"/>
                  <a:gd name="T28" fmla="*/ 105 w 241"/>
                  <a:gd name="T29" fmla="*/ 75 h 204"/>
                  <a:gd name="T30" fmla="*/ 105 w 241"/>
                  <a:gd name="T31" fmla="*/ 75 h 204"/>
                  <a:gd name="T32" fmla="*/ 181 w 241"/>
                  <a:gd name="T33" fmla="*/ 0 h 204"/>
                  <a:gd name="T34" fmla="*/ 231 w 241"/>
                  <a:gd name="T35" fmla="*/ 28 h 204"/>
                  <a:gd name="T36" fmla="*/ 241 w 241"/>
                  <a:gd name="T37" fmla="*/ 57 h 204"/>
                  <a:gd name="T38" fmla="*/ 231 w 241"/>
                  <a:gd name="T39" fmla="*/ 75 h 204"/>
                  <a:gd name="T40" fmla="*/ 230 w 241"/>
                  <a:gd name="T41" fmla="*/ 84 h 204"/>
                  <a:gd name="T42" fmla="*/ 231 w 241"/>
                  <a:gd name="T43" fmla="*/ 133 h 204"/>
                  <a:gd name="T44" fmla="*/ 218 w 241"/>
                  <a:gd name="T45" fmla="*/ 161 h 204"/>
                  <a:gd name="T46" fmla="*/ 221 w 241"/>
                  <a:gd name="T47" fmla="*/ 168 h 204"/>
                  <a:gd name="T48" fmla="*/ 204 w 241"/>
                  <a:gd name="T49" fmla="*/ 177 h 204"/>
                  <a:gd name="T50" fmla="*/ 204 w 241"/>
                  <a:gd name="T51" fmla="*/ 177 h 204"/>
                  <a:gd name="T52" fmla="*/ 188 w 241"/>
                  <a:gd name="T53" fmla="*/ 180 h 204"/>
                  <a:gd name="T54" fmla="*/ 184 w 241"/>
                  <a:gd name="T55" fmla="*/ 180 h 204"/>
                  <a:gd name="T56" fmla="*/ 184 w 241"/>
                  <a:gd name="T57" fmla="*/ 178 h 204"/>
                  <a:gd name="T58" fmla="*/ 182 w 241"/>
                  <a:gd name="T59" fmla="*/ 178 h 204"/>
                  <a:gd name="T60" fmla="*/ 171 w 241"/>
                  <a:gd name="T61" fmla="*/ 177 h 204"/>
                  <a:gd name="T62" fmla="*/ 165 w 241"/>
                  <a:gd name="T63" fmla="*/ 178 h 204"/>
                  <a:gd name="T64" fmla="*/ 165 w 241"/>
                  <a:gd name="T65" fmla="*/ 178 h 204"/>
                  <a:gd name="T66" fmla="*/ 165 w 241"/>
                  <a:gd name="T67" fmla="*/ 178 h 204"/>
                  <a:gd name="T68" fmla="*/ 146 w 241"/>
                  <a:gd name="T69" fmla="*/ 183 h 204"/>
                  <a:gd name="T70" fmla="*/ 136 w 241"/>
                  <a:gd name="T71" fmla="*/ 180 h 204"/>
                  <a:gd name="T72" fmla="*/ 134 w 241"/>
                  <a:gd name="T73" fmla="*/ 180 h 204"/>
                  <a:gd name="T74" fmla="*/ 123 w 241"/>
                  <a:gd name="T75" fmla="*/ 175 h 204"/>
                  <a:gd name="T76" fmla="*/ 118 w 241"/>
                  <a:gd name="T77" fmla="*/ 175 h 204"/>
                  <a:gd name="T78" fmla="*/ 118 w 241"/>
                  <a:gd name="T79" fmla="*/ 175 h 204"/>
                  <a:gd name="T80" fmla="*/ 118 w 241"/>
                  <a:gd name="T81" fmla="*/ 175 h 204"/>
                  <a:gd name="T82" fmla="*/ 118 w 241"/>
                  <a:gd name="T83" fmla="*/ 177 h 204"/>
                  <a:gd name="T84" fmla="*/ 117 w 241"/>
                  <a:gd name="T85" fmla="*/ 177 h 204"/>
                  <a:gd name="T86" fmla="*/ 115 w 241"/>
                  <a:gd name="T87" fmla="*/ 177 h 204"/>
                  <a:gd name="T88" fmla="*/ 115 w 241"/>
                  <a:gd name="T89" fmla="*/ 178 h 204"/>
                  <a:gd name="T90" fmla="*/ 114 w 241"/>
                  <a:gd name="T91" fmla="*/ 178 h 204"/>
                  <a:gd name="T92" fmla="*/ 113 w 241"/>
                  <a:gd name="T93" fmla="*/ 178 h 204"/>
                  <a:gd name="T94" fmla="*/ 110 w 241"/>
                  <a:gd name="T95" fmla="*/ 180 h 204"/>
                  <a:gd name="T96" fmla="*/ 108 w 241"/>
                  <a:gd name="T97" fmla="*/ 180 h 204"/>
                  <a:gd name="T98" fmla="*/ 107 w 241"/>
                  <a:gd name="T99" fmla="*/ 180 h 204"/>
                  <a:gd name="T100" fmla="*/ 104 w 241"/>
                  <a:gd name="T101" fmla="*/ 180 h 204"/>
                  <a:gd name="T102" fmla="*/ 104 w 241"/>
                  <a:gd name="T103" fmla="*/ 178 h 204"/>
                  <a:gd name="T104" fmla="*/ 89 w 241"/>
                  <a:gd name="T105" fmla="*/ 171 h 204"/>
                  <a:gd name="T106" fmla="*/ 88 w 241"/>
                  <a:gd name="T107" fmla="*/ 171 h 204"/>
                  <a:gd name="T108" fmla="*/ 75 w 241"/>
                  <a:gd name="T109" fmla="*/ 174 h 204"/>
                  <a:gd name="T110" fmla="*/ 65 w 241"/>
                  <a:gd name="T111" fmla="*/ 181 h 204"/>
                  <a:gd name="T112" fmla="*/ 65 w 241"/>
                  <a:gd name="T113"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1" h="204">
                    <a:moveTo>
                      <a:pt x="65" y="204"/>
                    </a:moveTo>
                    <a:lnTo>
                      <a:pt x="65" y="204"/>
                    </a:lnTo>
                    <a:lnTo>
                      <a:pt x="59" y="203"/>
                    </a:lnTo>
                    <a:lnTo>
                      <a:pt x="55" y="200"/>
                    </a:lnTo>
                    <a:lnTo>
                      <a:pt x="55" y="200"/>
                    </a:lnTo>
                    <a:lnTo>
                      <a:pt x="55" y="200"/>
                    </a:lnTo>
                    <a:lnTo>
                      <a:pt x="55" y="200"/>
                    </a:lnTo>
                    <a:lnTo>
                      <a:pt x="55" y="199"/>
                    </a:lnTo>
                    <a:lnTo>
                      <a:pt x="55" y="199"/>
                    </a:lnTo>
                    <a:lnTo>
                      <a:pt x="52" y="197"/>
                    </a:lnTo>
                    <a:lnTo>
                      <a:pt x="49" y="196"/>
                    </a:lnTo>
                    <a:lnTo>
                      <a:pt x="49" y="196"/>
                    </a:lnTo>
                    <a:lnTo>
                      <a:pt x="49" y="196"/>
                    </a:lnTo>
                    <a:lnTo>
                      <a:pt x="49" y="196"/>
                    </a:lnTo>
                    <a:lnTo>
                      <a:pt x="46" y="196"/>
                    </a:lnTo>
                    <a:lnTo>
                      <a:pt x="43" y="197"/>
                    </a:lnTo>
                    <a:lnTo>
                      <a:pt x="43" y="197"/>
                    </a:lnTo>
                    <a:lnTo>
                      <a:pt x="43" y="197"/>
                    </a:lnTo>
                    <a:lnTo>
                      <a:pt x="43" y="197"/>
                    </a:lnTo>
                    <a:lnTo>
                      <a:pt x="43" y="199"/>
                    </a:lnTo>
                    <a:lnTo>
                      <a:pt x="43" y="199"/>
                    </a:lnTo>
                    <a:lnTo>
                      <a:pt x="42" y="200"/>
                    </a:lnTo>
                    <a:lnTo>
                      <a:pt x="42" y="200"/>
                    </a:lnTo>
                    <a:lnTo>
                      <a:pt x="37" y="194"/>
                    </a:lnTo>
                    <a:lnTo>
                      <a:pt x="36" y="187"/>
                    </a:lnTo>
                    <a:lnTo>
                      <a:pt x="36" y="187"/>
                    </a:lnTo>
                    <a:lnTo>
                      <a:pt x="33" y="183"/>
                    </a:lnTo>
                    <a:lnTo>
                      <a:pt x="30" y="180"/>
                    </a:lnTo>
                    <a:lnTo>
                      <a:pt x="26" y="178"/>
                    </a:lnTo>
                    <a:lnTo>
                      <a:pt x="18" y="172"/>
                    </a:lnTo>
                    <a:lnTo>
                      <a:pt x="18" y="172"/>
                    </a:lnTo>
                    <a:lnTo>
                      <a:pt x="13" y="168"/>
                    </a:lnTo>
                    <a:lnTo>
                      <a:pt x="7" y="161"/>
                    </a:lnTo>
                    <a:lnTo>
                      <a:pt x="3" y="152"/>
                    </a:lnTo>
                    <a:lnTo>
                      <a:pt x="0" y="143"/>
                    </a:lnTo>
                    <a:lnTo>
                      <a:pt x="0" y="143"/>
                    </a:lnTo>
                    <a:lnTo>
                      <a:pt x="8" y="146"/>
                    </a:lnTo>
                    <a:lnTo>
                      <a:pt x="16" y="148"/>
                    </a:lnTo>
                    <a:lnTo>
                      <a:pt x="21" y="148"/>
                    </a:lnTo>
                    <a:lnTo>
                      <a:pt x="21" y="141"/>
                    </a:lnTo>
                    <a:lnTo>
                      <a:pt x="60" y="141"/>
                    </a:lnTo>
                    <a:lnTo>
                      <a:pt x="60" y="141"/>
                    </a:lnTo>
                    <a:lnTo>
                      <a:pt x="66" y="129"/>
                    </a:lnTo>
                    <a:lnTo>
                      <a:pt x="71" y="116"/>
                    </a:lnTo>
                    <a:lnTo>
                      <a:pt x="72" y="110"/>
                    </a:lnTo>
                    <a:lnTo>
                      <a:pt x="72" y="104"/>
                    </a:lnTo>
                    <a:lnTo>
                      <a:pt x="72" y="81"/>
                    </a:lnTo>
                    <a:lnTo>
                      <a:pt x="72" y="81"/>
                    </a:lnTo>
                    <a:lnTo>
                      <a:pt x="91" y="78"/>
                    </a:lnTo>
                    <a:lnTo>
                      <a:pt x="105" y="75"/>
                    </a:lnTo>
                    <a:lnTo>
                      <a:pt x="105" y="75"/>
                    </a:lnTo>
                    <a:lnTo>
                      <a:pt x="105" y="75"/>
                    </a:lnTo>
                    <a:lnTo>
                      <a:pt x="105" y="75"/>
                    </a:lnTo>
                    <a:lnTo>
                      <a:pt x="105" y="75"/>
                    </a:lnTo>
                    <a:lnTo>
                      <a:pt x="105" y="75"/>
                    </a:lnTo>
                    <a:lnTo>
                      <a:pt x="105" y="75"/>
                    </a:lnTo>
                    <a:lnTo>
                      <a:pt x="105" y="75"/>
                    </a:lnTo>
                    <a:lnTo>
                      <a:pt x="105" y="75"/>
                    </a:lnTo>
                    <a:lnTo>
                      <a:pt x="105" y="75"/>
                    </a:lnTo>
                    <a:lnTo>
                      <a:pt x="105" y="75"/>
                    </a:lnTo>
                    <a:lnTo>
                      <a:pt x="105" y="75"/>
                    </a:lnTo>
                    <a:lnTo>
                      <a:pt x="105" y="75"/>
                    </a:lnTo>
                    <a:lnTo>
                      <a:pt x="105" y="75"/>
                    </a:lnTo>
                    <a:lnTo>
                      <a:pt x="105" y="75"/>
                    </a:lnTo>
                    <a:lnTo>
                      <a:pt x="111" y="73"/>
                    </a:lnTo>
                    <a:lnTo>
                      <a:pt x="121" y="64"/>
                    </a:lnTo>
                    <a:lnTo>
                      <a:pt x="146" y="38"/>
                    </a:lnTo>
                    <a:lnTo>
                      <a:pt x="181" y="0"/>
                    </a:lnTo>
                    <a:lnTo>
                      <a:pt x="218" y="19"/>
                    </a:lnTo>
                    <a:lnTo>
                      <a:pt x="228" y="15"/>
                    </a:lnTo>
                    <a:lnTo>
                      <a:pt x="228" y="15"/>
                    </a:lnTo>
                    <a:lnTo>
                      <a:pt x="231" y="28"/>
                    </a:lnTo>
                    <a:lnTo>
                      <a:pt x="236" y="38"/>
                    </a:lnTo>
                    <a:lnTo>
                      <a:pt x="240" y="54"/>
                    </a:lnTo>
                    <a:lnTo>
                      <a:pt x="240" y="54"/>
                    </a:lnTo>
                    <a:lnTo>
                      <a:pt x="241" y="57"/>
                    </a:lnTo>
                    <a:lnTo>
                      <a:pt x="241" y="57"/>
                    </a:lnTo>
                    <a:lnTo>
                      <a:pt x="240" y="61"/>
                    </a:lnTo>
                    <a:lnTo>
                      <a:pt x="237" y="67"/>
                    </a:lnTo>
                    <a:lnTo>
                      <a:pt x="231" y="75"/>
                    </a:lnTo>
                    <a:lnTo>
                      <a:pt x="231" y="75"/>
                    </a:lnTo>
                    <a:lnTo>
                      <a:pt x="230" y="80"/>
                    </a:lnTo>
                    <a:lnTo>
                      <a:pt x="230" y="84"/>
                    </a:lnTo>
                    <a:lnTo>
                      <a:pt x="230" y="84"/>
                    </a:lnTo>
                    <a:lnTo>
                      <a:pt x="231" y="107"/>
                    </a:lnTo>
                    <a:lnTo>
                      <a:pt x="234" y="125"/>
                    </a:lnTo>
                    <a:lnTo>
                      <a:pt x="234" y="125"/>
                    </a:lnTo>
                    <a:lnTo>
                      <a:pt x="231" y="133"/>
                    </a:lnTo>
                    <a:lnTo>
                      <a:pt x="227" y="143"/>
                    </a:lnTo>
                    <a:lnTo>
                      <a:pt x="221" y="154"/>
                    </a:lnTo>
                    <a:lnTo>
                      <a:pt x="218" y="161"/>
                    </a:lnTo>
                    <a:lnTo>
                      <a:pt x="218" y="161"/>
                    </a:lnTo>
                    <a:lnTo>
                      <a:pt x="218" y="161"/>
                    </a:lnTo>
                    <a:lnTo>
                      <a:pt x="218" y="161"/>
                    </a:lnTo>
                    <a:lnTo>
                      <a:pt x="220" y="165"/>
                    </a:lnTo>
                    <a:lnTo>
                      <a:pt x="221" y="168"/>
                    </a:lnTo>
                    <a:lnTo>
                      <a:pt x="221" y="168"/>
                    </a:lnTo>
                    <a:lnTo>
                      <a:pt x="213" y="174"/>
                    </a:lnTo>
                    <a:lnTo>
                      <a:pt x="204" y="177"/>
                    </a:lnTo>
                    <a:lnTo>
                      <a:pt x="204" y="177"/>
                    </a:lnTo>
                    <a:lnTo>
                      <a:pt x="204" y="177"/>
                    </a:lnTo>
                    <a:lnTo>
                      <a:pt x="204" y="177"/>
                    </a:lnTo>
                    <a:lnTo>
                      <a:pt x="204" y="177"/>
                    </a:lnTo>
                    <a:lnTo>
                      <a:pt x="204" y="177"/>
                    </a:lnTo>
                    <a:lnTo>
                      <a:pt x="202" y="177"/>
                    </a:lnTo>
                    <a:lnTo>
                      <a:pt x="202" y="177"/>
                    </a:lnTo>
                    <a:lnTo>
                      <a:pt x="197" y="178"/>
                    </a:lnTo>
                    <a:lnTo>
                      <a:pt x="188" y="180"/>
                    </a:lnTo>
                    <a:lnTo>
                      <a:pt x="188" y="180"/>
                    </a:lnTo>
                    <a:lnTo>
                      <a:pt x="188" y="180"/>
                    </a:lnTo>
                    <a:lnTo>
                      <a:pt x="188" y="180"/>
                    </a:lnTo>
                    <a:lnTo>
                      <a:pt x="184" y="180"/>
                    </a:lnTo>
                    <a:lnTo>
                      <a:pt x="184" y="180"/>
                    </a:lnTo>
                    <a:lnTo>
                      <a:pt x="184" y="178"/>
                    </a:lnTo>
                    <a:lnTo>
                      <a:pt x="184" y="178"/>
                    </a:lnTo>
                    <a:lnTo>
                      <a:pt x="184" y="178"/>
                    </a:lnTo>
                    <a:lnTo>
                      <a:pt x="184" y="178"/>
                    </a:lnTo>
                    <a:lnTo>
                      <a:pt x="184" y="178"/>
                    </a:lnTo>
                    <a:lnTo>
                      <a:pt x="184" y="178"/>
                    </a:lnTo>
                    <a:lnTo>
                      <a:pt x="182" y="178"/>
                    </a:lnTo>
                    <a:lnTo>
                      <a:pt x="182" y="178"/>
                    </a:lnTo>
                    <a:lnTo>
                      <a:pt x="171" y="177"/>
                    </a:lnTo>
                    <a:lnTo>
                      <a:pt x="171" y="177"/>
                    </a:lnTo>
                    <a:lnTo>
                      <a:pt x="171" y="177"/>
                    </a:lnTo>
                    <a:lnTo>
                      <a:pt x="171" y="177"/>
                    </a:lnTo>
                    <a:lnTo>
                      <a:pt x="165" y="178"/>
                    </a:lnTo>
                    <a:lnTo>
                      <a:pt x="165" y="178"/>
                    </a:lnTo>
                    <a:lnTo>
                      <a:pt x="165" y="178"/>
                    </a:lnTo>
                    <a:lnTo>
                      <a:pt x="165" y="178"/>
                    </a:lnTo>
                    <a:lnTo>
                      <a:pt x="165" y="178"/>
                    </a:lnTo>
                    <a:lnTo>
                      <a:pt x="165" y="178"/>
                    </a:lnTo>
                    <a:lnTo>
                      <a:pt x="165" y="178"/>
                    </a:lnTo>
                    <a:lnTo>
                      <a:pt x="165" y="178"/>
                    </a:lnTo>
                    <a:lnTo>
                      <a:pt x="165" y="178"/>
                    </a:lnTo>
                    <a:lnTo>
                      <a:pt x="165" y="178"/>
                    </a:lnTo>
                    <a:lnTo>
                      <a:pt x="165" y="178"/>
                    </a:lnTo>
                    <a:lnTo>
                      <a:pt x="157" y="181"/>
                    </a:lnTo>
                    <a:lnTo>
                      <a:pt x="146" y="183"/>
                    </a:lnTo>
                    <a:lnTo>
                      <a:pt x="146" y="183"/>
                    </a:lnTo>
                    <a:lnTo>
                      <a:pt x="146" y="183"/>
                    </a:lnTo>
                    <a:lnTo>
                      <a:pt x="146" y="183"/>
                    </a:lnTo>
                    <a:lnTo>
                      <a:pt x="140" y="181"/>
                    </a:lnTo>
                    <a:lnTo>
                      <a:pt x="136" y="180"/>
                    </a:lnTo>
                    <a:lnTo>
                      <a:pt x="136" y="180"/>
                    </a:lnTo>
                    <a:lnTo>
                      <a:pt x="136" y="180"/>
                    </a:lnTo>
                    <a:lnTo>
                      <a:pt x="136" y="180"/>
                    </a:lnTo>
                    <a:lnTo>
                      <a:pt x="134" y="180"/>
                    </a:lnTo>
                    <a:lnTo>
                      <a:pt x="134" y="180"/>
                    </a:lnTo>
                    <a:lnTo>
                      <a:pt x="129" y="175"/>
                    </a:lnTo>
                    <a:lnTo>
                      <a:pt x="123" y="175"/>
                    </a:lnTo>
                    <a:lnTo>
                      <a:pt x="123" y="175"/>
                    </a:lnTo>
                    <a:lnTo>
                      <a:pt x="123" y="175"/>
                    </a:lnTo>
                    <a:lnTo>
                      <a:pt x="123" y="175"/>
                    </a:lnTo>
                    <a:lnTo>
                      <a:pt x="120" y="175"/>
                    </a:lnTo>
                    <a:lnTo>
                      <a:pt x="120" y="175"/>
                    </a:lnTo>
                    <a:lnTo>
                      <a:pt x="118" y="175"/>
                    </a:lnTo>
                    <a:lnTo>
                      <a:pt x="118" y="175"/>
                    </a:lnTo>
                    <a:lnTo>
                      <a:pt x="118" y="175"/>
                    </a:lnTo>
                    <a:lnTo>
                      <a:pt x="118" y="175"/>
                    </a:lnTo>
                    <a:lnTo>
                      <a:pt x="118" y="175"/>
                    </a:lnTo>
                    <a:lnTo>
                      <a:pt x="118" y="175"/>
                    </a:lnTo>
                    <a:lnTo>
                      <a:pt x="118" y="175"/>
                    </a:lnTo>
                    <a:lnTo>
                      <a:pt x="118" y="175"/>
                    </a:lnTo>
                    <a:lnTo>
                      <a:pt x="118" y="175"/>
                    </a:lnTo>
                    <a:lnTo>
                      <a:pt x="118" y="175"/>
                    </a:lnTo>
                    <a:lnTo>
                      <a:pt x="118" y="177"/>
                    </a:lnTo>
                    <a:lnTo>
                      <a:pt x="118" y="177"/>
                    </a:lnTo>
                    <a:lnTo>
                      <a:pt x="118" y="177"/>
                    </a:lnTo>
                    <a:lnTo>
                      <a:pt x="118" y="177"/>
                    </a:lnTo>
                    <a:lnTo>
                      <a:pt x="118" y="177"/>
                    </a:lnTo>
                    <a:lnTo>
                      <a:pt x="118" y="177"/>
                    </a:lnTo>
                    <a:lnTo>
                      <a:pt x="117" y="177"/>
                    </a:lnTo>
                    <a:lnTo>
                      <a:pt x="117" y="177"/>
                    </a:lnTo>
                    <a:lnTo>
                      <a:pt x="117" y="177"/>
                    </a:lnTo>
                    <a:lnTo>
                      <a:pt x="117" y="177"/>
                    </a:lnTo>
                    <a:lnTo>
                      <a:pt x="115" y="177"/>
                    </a:lnTo>
                    <a:lnTo>
                      <a:pt x="115" y="177"/>
                    </a:lnTo>
                    <a:lnTo>
                      <a:pt x="115" y="177"/>
                    </a:lnTo>
                    <a:lnTo>
                      <a:pt x="115" y="177"/>
                    </a:lnTo>
                    <a:lnTo>
                      <a:pt x="115" y="178"/>
                    </a:lnTo>
                    <a:lnTo>
                      <a:pt x="115" y="178"/>
                    </a:lnTo>
                    <a:lnTo>
                      <a:pt x="115" y="178"/>
                    </a:lnTo>
                    <a:lnTo>
                      <a:pt x="115" y="178"/>
                    </a:lnTo>
                    <a:lnTo>
                      <a:pt x="114" y="178"/>
                    </a:lnTo>
                    <a:lnTo>
                      <a:pt x="114" y="178"/>
                    </a:lnTo>
                    <a:lnTo>
                      <a:pt x="114" y="178"/>
                    </a:lnTo>
                    <a:lnTo>
                      <a:pt x="114" y="178"/>
                    </a:lnTo>
                    <a:lnTo>
                      <a:pt x="113" y="178"/>
                    </a:lnTo>
                    <a:lnTo>
                      <a:pt x="113" y="178"/>
                    </a:lnTo>
                    <a:lnTo>
                      <a:pt x="110" y="180"/>
                    </a:lnTo>
                    <a:lnTo>
                      <a:pt x="110" y="180"/>
                    </a:lnTo>
                    <a:lnTo>
                      <a:pt x="110" y="180"/>
                    </a:lnTo>
                    <a:lnTo>
                      <a:pt x="110" y="180"/>
                    </a:lnTo>
                    <a:lnTo>
                      <a:pt x="108" y="180"/>
                    </a:lnTo>
                    <a:lnTo>
                      <a:pt x="108" y="180"/>
                    </a:lnTo>
                    <a:lnTo>
                      <a:pt x="108" y="180"/>
                    </a:lnTo>
                    <a:lnTo>
                      <a:pt x="108" y="180"/>
                    </a:lnTo>
                    <a:lnTo>
                      <a:pt x="108" y="180"/>
                    </a:lnTo>
                    <a:lnTo>
                      <a:pt x="108" y="180"/>
                    </a:lnTo>
                    <a:lnTo>
                      <a:pt x="107" y="180"/>
                    </a:lnTo>
                    <a:lnTo>
                      <a:pt x="107" y="180"/>
                    </a:lnTo>
                    <a:lnTo>
                      <a:pt x="107" y="180"/>
                    </a:lnTo>
                    <a:lnTo>
                      <a:pt x="104" y="180"/>
                    </a:lnTo>
                    <a:lnTo>
                      <a:pt x="104" y="180"/>
                    </a:lnTo>
                    <a:lnTo>
                      <a:pt x="104" y="180"/>
                    </a:lnTo>
                    <a:lnTo>
                      <a:pt x="104" y="180"/>
                    </a:lnTo>
                    <a:lnTo>
                      <a:pt x="104" y="178"/>
                    </a:lnTo>
                    <a:lnTo>
                      <a:pt x="104" y="178"/>
                    </a:lnTo>
                    <a:lnTo>
                      <a:pt x="98" y="174"/>
                    </a:lnTo>
                    <a:lnTo>
                      <a:pt x="94" y="171"/>
                    </a:lnTo>
                    <a:lnTo>
                      <a:pt x="89" y="171"/>
                    </a:lnTo>
                    <a:lnTo>
                      <a:pt x="89" y="171"/>
                    </a:lnTo>
                    <a:lnTo>
                      <a:pt x="89" y="171"/>
                    </a:lnTo>
                    <a:lnTo>
                      <a:pt x="89" y="171"/>
                    </a:lnTo>
                    <a:lnTo>
                      <a:pt x="89" y="171"/>
                    </a:lnTo>
                    <a:lnTo>
                      <a:pt x="88" y="171"/>
                    </a:lnTo>
                    <a:lnTo>
                      <a:pt x="88" y="171"/>
                    </a:lnTo>
                    <a:lnTo>
                      <a:pt x="88" y="171"/>
                    </a:lnTo>
                    <a:lnTo>
                      <a:pt x="88" y="171"/>
                    </a:lnTo>
                    <a:lnTo>
                      <a:pt x="75" y="174"/>
                    </a:lnTo>
                    <a:lnTo>
                      <a:pt x="68" y="177"/>
                    </a:lnTo>
                    <a:lnTo>
                      <a:pt x="66" y="178"/>
                    </a:lnTo>
                    <a:lnTo>
                      <a:pt x="65" y="181"/>
                    </a:lnTo>
                    <a:lnTo>
                      <a:pt x="65" y="181"/>
                    </a:lnTo>
                    <a:lnTo>
                      <a:pt x="65" y="184"/>
                    </a:lnTo>
                    <a:lnTo>
                      <a:pt x="65" y="184"/>
                    </a:lnTo>
                    <a:lnTo>
                      <a:pt x="63" y="193"/>
                    </a:lnTo>
                    <a:lnTo>
                      <a:pt x="65" y="20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74" name="Freeform 474"/>
              <p:cNvSpPr>
                <a:spLocks/>
              </p:cNvSpPr>
              <p:nvPr/>
            </p:nvSpPr>
            <p:spPr bwMode="auto">
              <a:xfrm>
                <a:off x="2716" y="2521"/>
                <a:ext cx="21" cy="5"/>
              </a:xfrm>
              <a:custGeom>
                <a:avLst/>
                <a:gdLst>
                  <a:gd name="T0" fmla="*/ 21 w 21"/>
                  <a:gd name="T1" fmla="*/ 5 h 5"/>
                  <a:gd name="T2" fmla="*/ 21 w 21"/>
                  <a:gd name="T3" fmla="*/ 5 h 5"/>
                  <a:gd name="T4" fmla="*/ 16 w 21"/>
                  <a:gd name="T5" fmla="*/ 5 h 5"/>
                  <a:gd name="T6" fmla="*/ 8 w 21"/>
                  <a:gd name="T7" fmla="*/ 3 h 5"/>
                  <a:gd name="T8" fmla="*/ 0 w 21"/>
                  <a:gd name="T9" fmla="*/ 0 h 5"/>
                  <a:gd name="T10" fmla="*/ 0 w 21"/>
                  <a:gd name="T11" fmla="*/ 0 h 5"/>
                  <a:gd name="T12" fmla="*/ 0 w 21"/>
                  <a:gd name="T13" fmla="*/ 0 h 5"/>
                  <a:gd name="T14" fmla="*/ 0 w 21"/>
                  <a:gd name="T15" fmla="*/ 0 h 5"/>
                  <a:gd name="T16" fmla="*/ 8 w 21"/>
                  <a:gd name="T17" fmla="*/ 3 h 5"/>
                  <a:gd name="T18" fmla="*/ 16 w 21"/>
                  <a:gd name="T19" fmla="*/ 5 h 5"/>
                  <a:gd name="T20" fmla="*/ 21 w 21"/>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5">
                    <a:moveTo>
                      <a:pt x="21" y="5"/>
                    </a:moveTo>
                    <a:lnTo>
                      <a:pt x="21" y="5"/>
                    </a:lnTo>
                    <a:lnTo>
                      <a:pt x="16" y="5"/>
                    </a:lnTo>
                    <a:lnTo>
                      <a:pt x="8" y="3"/>
                    </a:lnTo>
                    <a:lnTo>
                      <a:pt x="0" y="0"/>
                    </a:lnTo>
                    <a:lnTo>
                      <a:pt x="0" y="0"/>
                    </a:lnTo>
                    <a:lnTo>
                      <a:pt x="0" y="0"/>
                    </a:lnTo>
                    <a:lnTo>
                      <a:pt x="0" y="0"/>
                    </a:lnTo>
                    <a:lnTo>
                      <a:pt x="8" y="3"/>
                    </a:lnTo>
                    <a:lnTo>
                      <a:pt x="16" y="5"/>
                    </a:lnTo>
                    <a:lnTo>
                      <a:pt x="21" y="5"/>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75" name="Freeform 475"/>
              <p:cNvSpPr>
                <a:spLocks/>
              </p:cNvSpPr>
              <p:nvPr/>
            </p:nvSpPr>
            <p:spPr bwMode="auto">
              <a:xfrm>
                <a:off x="2716" y="2521"/>
                <a:ext cx="21" cy="5"/>
              </a:xfrm>
              <a:custGeom>
                <a:avLst/>
                <a:gdLst>
                  <a:gd name="T0" fmla="*/ 21 w 21"/>
                  <a:gd name="T1" fmla="*/ 5 h 5"/>
                  <a:gd name="T2" fmla="*/ 21 w 21"/>
                  <a:gd name="T3" fmla="*/ 5 h 5"/>
                  <a:gd name="T4" fmla="*/ 16 w 21"/>
                  <a:gd name="T5" fmla="*/ 5 h 5"/>
                  <a:gd name="T6" fmla="*/ 8 w 21"/>
                  <a:gd name="T7" fmla="*/ 3 h 5"/>
                  <a:gd name="T8" fmla="*/ 0 w 21"/>
                  <a:gd name="T9" fmla="*/ 0 h 5"/>
                  <a:gd name="T10" fmla="*/ 0 w 21"/>
                  <a:gd name="T11" fmla="*/ 0 h 5"/>
                  <a:gd name="T12" fmla="*/ 0 w 21"/>
                  <a:gd name="T13" fmla="*/ 0 h 5"/>
                  <a:gd name="T14" fmla="*/ 0 w 21"/>
                  <a:gd name="T15" fmla="*/ 0 h 5"/>
                  <a:gd name="T16" fmla="*/ 8 w 21"/>
                  <a:gd name="T17" fmla="*/ 3 h 5"/>
                  <a:gd name="T18" fmla="*/ 16 w 21"/>
                  <a:gd name="T19" fmla="*/ 5 h 5"/>
                  <a:gd name="T20" fmla="*/ 21 w 21"/>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5">
                    <a:moveTo>
                      <a:pt x="21" y="5"/>
                    </a:moveTo>
                    <a:lnTo>
                      <a:pt x="21" y="5"/>
                    </a:lnTo>
                    <a:lnTo>
                      <a:pt x="16" y="5"/>
                    </a:lnTo>
                    <a:lnTo>
                      <a:pt x="8" y="3"/>
                    </a:lnTo>
                    <a:lnTo>
                      <a:pt x="0" y="0"/>
                    </a:lnTo>
                    <a:lnTo>
                      <a:pt x="0" y="0"/>
                    </a:lnTo>
                    <a:lnTo>
                      <a:pt x="0" y="0"/>
                    </a:lnTo>
                    <a:lnTo>
                      <a:pt x="0" y="0"/>
                    </a:lnTo>
                    <a:lnTo>
                      <a:pt x="8" y="3"/>
                    </a:lnTo>
                    <a:lnTo>
                      <a:pt x="16" y="5"/>
                    </a:lnTo>
                    <a:lnTo>
                      <a:pt x="21"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76" name="Freeform 476"/>
              <p:cNvSpPr>
                <a:spLocks noEditPoints="1"/>
              </p:cNvSpPr>
              <p:nvPr/>
            </p:nvSpPr>
            <p:spPr bwMode="auto">
              <a:xfrm>
                <a:off x="2934" y="2435"/>
                <a:ext cx="23" cy="111"/>
              </a:xfrm>
              <a:custGeom>
                <a:avLst/>
                <a:gdLst>
                  <a:gd name="T0" fmla="*/ 12 w 23"/>
                  <a:gd name="T1" fmla="*/ 27 h 111"/>
                  <a:gd name="T2" fmla="*/ 12 w 23"/>
                  <a:gd name="T3" fmla="*/ 27 h 111"/>
                  <a:gd name="T4" fmla="*/ 12 w 23"/>
                  <a:gd name="T5" fmla="*/ 23 h 111"/>
                  <a:gd name="T6" fmla="*/ 13 w 23"/>
                  <a:gd name="T7" fmla="*/ 18 h 111"/>
                  <a:gd name="T8" fmla="*/ 13 w 23"/>
                  <a:gd name="T9" fmla="*/ 18 h 111"/>
                  <a:gd name="T10" fmla="*/ 19 w 23"/>
                  <a:gd name="T11" fmla="*/ 10 h 111"/>
                  <a:gd name="T12" fmla="*/ 22 w 23"/>
                  <a:gd name="T13" fmla="*/ 4 h 111"/>
                  <a:gd name="T14" fmla="*/ 23 w 23"/>
                  <a:gd name="T15" fmla="*/ 0 h 111"/>
                  <a:gd name="T16" fmla="*/ 23 w 23"/>
                  <a:gd name="T17" fmla="*/ 0 h 111"/>
                  <a:gd name="T18" fmla="*/ 22 w 23"/>
                  <a:gd name="T19" fmla="*/ 4 h 111"/>
                  <a:gd name="T20" fmla="*/ 19 w 23"/>
                  <a:gd name="T21" fmla="*/ 10 h 111"/>
                  <a:gd name="T22" fmla="*/ 13 w 23"/>
                  <a:gd name="T23" fmla="*/ 18 h 111"/>
                  <a:gd name="T24" fmla="*/ 13 w 23"/>
                  <a:gd name="T25" fmla="*/ 18 h 111"/>
                  <a:gd name="T26" fmla="*/ 12 w 23"/>
                  <a:gd name="T27" fmla="*/ 23 h 111"/>
                  <a:gd name="T28" fmla="*/ 12 w 23"/>
                  <a:gd name="T29" fmla="*/ 27 h 111"/>
                  <a:gd name="T30" fmla="*/ 0 w 23"/>
                  <a:gd name="T31" fmla="*/ 104 h 111"/>
                  <a:gd name="T32" fmla="*/ 0 w 23"/>
                  <a:gd name="T33" fmla="*/ 104 h 111"/>
                  <a:gd name="T34" fmla="*/ 0 w 23"/>
                  <a:gd name="T35" fmla="*/ 104 h 111"/>
                  <a:gd name="T36" fmla="*/ 3 w 23"/>
                  <a:gd name="T37" fmla="*/ 97 h 111"/>
                  <a:gd name="T38" fmla="*/ 9 w 23"/>
                  <a:gd name="T39" fmla="*/ 86 h 111"/>
                  <a:gd name="T40" fmla="*/ 13 w 23"/>
                  <a:gd name="T41" fmla="*/ 76 h 111"/>
                  <a:gd name="T42" fmla="*/ 16 w 23"/>
                  <a:gd name="T43" fmla="*/ 68 h 111"/>
                  <a:gd name="T44" fmla="*/ 16 w 23"/>
                  <a:gd name="T45" fmla="*/ 68 h 111"/>
                  <a:gd name="T46" fmla="*/ 13 w 23"/>
                  <a:gd name="T47" fmla="*/ 76 h 111"/>
                  <a:gd name="T48" fmla="*/ 9 w 23"/>
                  <a:gd name="T49" fmla="*/ 86 h 111"/>
                  <a:gd name="T50" fmla="*/ 3 w 23"/>
                  <a:gd name="T51" fmla="*/ 97 h 111"/>
                  <a:gd name="T52" fmla="*/ 0 w 23"/>
                  <a:gd name="T53" fmla="*/ 104 h 111"/>
                  <a:gd name="T54" fmla="*/ 0 w 23"/>
                  <a:gd name="T55" fmla="*/ 104 h 111"/>
                  <a:gd name="T56" fmla="*/ 0 w 23"/>
                  <a:gd name="T57" fmla="*/ 104 h 111"/>
                  <a:gd name="T58" fmla="*/ 0 w 23"/>
                  <a:gd name="T59" fmla="*/ 104 h 111"/>
                  <a:gd name="T60" fmla="*/ 3 w 23"/>
                  <a:gd name="T61" fmla="*/ 111 h 111"/>
                  <a:gd name="T62" fmla="*/ 3 w 23"/>
                  <a:gd name="T63" fmla="*/ 111 h 111"/>
                  <a:gd name="T64" fmla="*/ 2 w 23"/>
                  <a:gd name="T65" fmla="*/ 108 h 111"/>
                  <a:gd name="T66" fmla="*/ 0 w 23"/>
                  <a:gd name="T67" fmla="*/ 104 h 111"/>
                  <a:gd name="T68" fmla="*/ 0 w 23"/>
                  <a:gd name="T69" fmla="*/ 104 h 111"/>
                  <a:gd name="T70" fmla="*/ 2 w 23"/>
                  <a:gd name="T71" fmla="*/ 108 h 111"/>
                  <a:gd name="T72" fmla="*/ 3 w 23"/>
                  <a:gd name="T73" fmla="*/ 111 h 111"/>
                  <a:gd name="T74" fmla="*/ 3 w 23"/>
                  <a:gd name="T75" fmla="*/ 111 h 111"/>
                  <a:gd name="T76" fmla="*/ 3 w 23"/>
                  <a:gd name="T7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 h="111">
                    <a:moveTo>
                      <a:pt x="12" y="27"/>
                    </a:moveTo>
                    <a:lnTo>
                      <a:pt x="12" y="27"/>
                    </a:lnTo>
                    <a:lnTo>
                      <a:pt x="12" y="23"/>
                    </a:lnTo>
                    <a:lnTo>
                      <a:pt x="13" y="18"/>
                    </a:lnTo>
                    <a:lnTo>
                      <a:pt x="13" y="18"/>
                    </a:lnTo>
                    <a:lnTo>
                      <a:pt x="19" y="10"/>
                    </a:lnTo>
                    <a:lnTo>
                      <a:pt x="22" y="4"/>
                    </a:lnTo>
                    <a:lnTo>
                      <a:pt x="23" y="0"/>
                    </a:lnTo>
                    <a:lnTo>
                      <a:pt x="23" y="0"/>
                    </a:lnTo>
                    <a:lnTo>
                      <a:pt x="22" y="4"/>
                    </a:lnTo>
                    <a:lnTo>
                      <a:pt x="19" y="10"/>
                    </a:lnTo>
                    <a:lnTo>
                      <a:pt x="13" y="18"/>
                    </a:lnTo>
                    <a:lnTo>
                      <a:pt x="13" y="18"/>
                    </a:lnTo>
                    <a:lnTo>
                      <a:pt x="12" y="23"/>
                    </a:lnTo>
                    <a:lnTo>
                      <a:pt x="12" y="27"/>
                    </a:lnTo>
                    <a:close/>
                    <a:moveTo>
                      <a:pt x="0" y="104"/>
                    </a:moveTo>
                    <a:lnTo>
                      <a:pt x="0" y="104"/>
                    </a:lnTo>
                    <a:lnTo>
                      <a:pt x="0" y="104"/>
                    </a:lnTo>
                    <a:lnTo>
                      <a:pt x="3" y="97"/>
                    </a:lnTo>
                    <a:lnTo>
                      <a:pt x="9" y="86"/>
                    </a:lnTo>
                    <a:lnTo>
                      <a:pt x="13" y="76"/>
                    </a:lnTo>
                    <a:lnTo>
                      <a:pt x="16" y="68"/>
                    </a:lnTo>
                    <a:lnTo>
                      <a:pt x="16" y="68"/>
                    </a:lnTo>
                    <a:lnTo>
                      <a:pt x="13" y="76"/>
                    </a:lnTo>
                    <a:lnTo>
                      <a:pt x="9" y="86"/>
                    </a:lnTo>
                    <a:lnTo>
                      <a:pt x="3" y="97"/>
                    </a:lnTo>
                    <a:lnTo>
                      <a:pt x="0" y="104"/>
                    </a:lnTo>
                    <a:close/>
                    <a:moveTo>
                      <a:pt x="0" y="104"/>
                    </a:moveTo>
                    <a:lnTo>
                      <a:pt x="0" y="104"/>
                    </a:lnTo>
                    <a:lnTo>
                      <a:pt x="0" y="104"/>
                    </a:lnTo>
                    <a:close/>
                    <a:moveTo>
                      <a:pt x="3" y="111"/>
                    </a:moveTo>
                    <a:lnTo>
                      <a:pt x="3" y="111"/>
                    </a:lnTo>
                    <a:lnTo>
                      <a:pt x="2" y="108"/>
                    </a:lnTo>
                    <a:lnTo>
                      <a:pt x="0" y="104"/>
                    </a:lnTo>
                    <a:lnTo>
                      <a:pt x="0" y="104"/>
                    </a:lnTo>
                    <a:lnTo>
                      <a:pt x="2" y="108"/>
                    </a:lnTo>
                    <a:lnTo>
                      <a:pt x="3" y="111"/>
                    </a:lnTo>
                    <a:lnTo>
                      <a:pt x="3" y="111"/>
                    </a:lnTo>
                    <a:lnTo>
                      <a:pt x="3" y="111"/>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77" name="Freeform 477"/>
              <p:cNvSpPr>
                <a:spLocks/>
              </p:cNvSpPr>
              <p:nvPr/>
            </p:nvSpPr>
            <p:spPr bwMode="auto">
              <a:xfrm>
                <a:off x="2946" y="2435"/>
                <a:ext cx="11" cy="27"/>
              </a:xfrm>
              <a:custGeom>
                <a:avLst/>
                <a:gdLst>
                  <a:gd name="T0" fmla="*/ 0 w 11"/>
                  <a:gd name="T1" fmla="*/ 27 h 27"/>
                  <a:gd name="T2" fmla="*/ 0 w 11"/>
                  <a:gd name="T3" fmla="*/ 27 h 27"/>
                  <a:gd name="T4" fmla="*/ 0 w 11"/>
                  <a:gd name="T5" fmla="*/ 23 h 27"/>
                  <a:gd name="T6" fmla="*/ 1 w 11"/>
                  <a:gd name="T7" fmla="*/ 18 h 27"/>
                  <a:gd name="T8" fmla="*/ 1 w 11"/>
                  <a:gd name="T9" fmla="*/ 18 h 27"/>
                  <a:gd name="T10" fmla="*/ 7 w 11"/>
                  <a:gd name="T11" fmla="*/ 10 h 27"/>
                  <a:gd name="T12" fmla="*/ 10 w 11"/>
                  <a:gd name="T13" fmla="*/ 4 h 27"/>
                  <a:gd name="T14" fmla="*/ 11 w 11"/>
                  <a:gd name="T15" fmla="*/ 0 h 27"/>
                  <a:gd name="T16" fmla="*/ 11 w 11"/>
                  <a:gd name="T17" fmla="*/ 0 h 27"/>
                  <a:gd name="T18" fmla="*/ 10 w 11"/>
                  <a:gd name="T19" fmla="*/ 4 h 27"/>
                  <a:gd name="T20" fmla="*/ 7 w 11"/>
                  <a:gd name="T21" fmla="*/ 10 h 27"/>
                  <a:gd name="T22" fmla="*/ 1 w 11"/>
                  <a:gd name="T23" fmla="*/ 18 h 27"/>
                  <a:gd name="T24" fmla="*/ 1 w 11"/>
                  <a:gd name="T25" fmla="*/ 18 h 27"/>
                  <a:gd name="T26" fmla="*/ 0 w 11"/>
                  <a:gd name="T27" fmla="*/ 23 h 27"/>
                  <a:gd name="T28" fmla="*/ 0 w 11"/>
                  <a:gd name="T29"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27">
                    <a:moveTo>
                      <a:pt x="0" y="27"/>
                    </a:moveTo>
                    <a:lnTo>
                      <a:pt x="0" y="27"/>
                    </a:lnTo>
                    <a:lnTo>
                      <a:pt x="0" y="23"/>
                    </a:lnTo>
                    <a:lnTo>
                      <a:pt x="1" y="18"/>
                    </a:lnTo>
                    <a:lnTo>
                      <a:pt x="1" y="18"/>
                    </a:lnTo>
                    <a:lnTo>
                      <a:pt x="7" y="10"/>
                    </a:lnTo>
                    <a:lnTo>
                      <a:pt x="10" y="4"/>
                    </a:lnTo>
                    <a:lnTo>
                      <a:pt x="11" y="0"/>
                    </a:lnTo>
                    <a:lnTo>
                      <a:pt x="11" y="0"/>
                    </a:lnTo>
                    <a:lnTo>
                      <a:pt x="10" y="4"/>
                    </a:lnTo>
                    <a:lnTo>
                      <a:pt x="7" y="10"/>
                    </a:lnTo>
                    <a:lnTo>
                      <a:pt x="1" y="18"/>
                    </a:lnTo>
                    <a:lnTo>
                      <a:pt x="1" y="18"/>
                    </a:lnTo>
                    <a:lnTo>
                      <a:pt x="0" y="23"/>
                    </a:lnTo>
                    <a:lnTo>
                      <a:pt x="0" y="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78" name="Freeform 478"/>
              <p:cNvSpPr>
                <a:spLocks/>
              </p:cNvSpPr>
              <p:nvPr/>
            </p:nvSpPr>
            <p:spPr bwMode="auto">
              <a:xfrm>
                <a:off x="2934" y="2503"/>
                <a:ext cx="16" cy="36"/>
              </a:xfrm>
              <a:custGeom>
                <a:avLst/>
                <a:gdLst>
                  <a:gd name="T0" fmla="*/ 0 w 16"/>
                  <a:gd name="T1" fmla="*/ 36 h 36"/>
                  <a:gd name="T2" fmla="*/ 0 w 16"/>
                  <a:gd name="T3" fmla="*/ 36 h 36"/>
                  <a:gd name="T4" fmla="*/ 0 w 16"/>
                  <a:gd name="T5" fmla="*/ 36 h 36"/>
                  <a:gd name="T6" fmla="*/ 3 w 16"/>
                  <a:gd name="T7" fmla="*/ 29 h 36"/>
                  <a:gd name="T8" fmla="*/ 9 w 16"/>
                  <a:gd name="T9" fmla="*/ 18 h 36"/>
                  <a:gd name="T10" fmla="*/ 13 w 16"/>
                  <a:gd name="T11" fmla="*/ 8 h 36"/>
                  <a:gd name="T12" fmla="*/ 16 w 16"/>
                  <a:gd name="T13" fmla="*/ 0 h 36"/>
                  <a:gd name="T14" fmla="*/ 16 w 16"/>
                  <a:gd name="T15" fmla="*/ 0 h 36"/>
                  <a:gd name="T16" fmla="*/ 13 w 16"/>
                  <a:gd name="T17" fmla="*/ 8 h 36"/>
                  <a:gd name="T18" fmla="*/ 9 w 16"/>
                  <a:gd name="T19" fmla="*/ 18 h 36"/>
                  <a:gd name="T20" fmla="*/ 3 w 16"/>
                  <a:gd name="T21" fmla="*/ 29 h 36"/>
                  <a:gd name="T22" fmla="*/ 0 w 16"/>
                  <a:gd name="T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36">
                    <a:moveTo>
                      <a:pt x="0" y="36"/>
                    </a:moveTo>
                    <a:lnTo>
                      <a:pt x="0" y="36"/>
                    </a:lnTo>
                    <a:lnTo>
                      <a:pt x="0" y="36"/>
                    </a:lnTo>
                    <a:lnTo>
                      <a:pt x="3" y="29"/>
                    </a:lnTo>
                    <a:lnTo>
                      <a:pt x="9" y="18"/>
                    </a:lnTo>
                    <a:lnTo>
                      <a:pt x="13" y="8"/>
                    </a:lnTo>
                    <a:lnTo>
                      <a:pt x="16" y="0"/>
                    </a:lnTo>
                    <a:lnTo>
                      <a:pt x="16" y="0"/>
                    </a:lnTo>
                    <a:lnTo>
                      <a:pt x="13" y="8"/>
                    </a:lnTo>
                    <a:lnTo>
                      <a:pt x="9" y="18"/>
                    </a:lnTo>
                    <a:lnTo>
                      <a:pt x="3" y="29"/>
                    </a:lnTo>
                    <a:lnTo>
                      <a:pt x="0" y="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79" name="Freeform 479"/>
              <p:cNvSpPr>
                <a:spLocks/>
              </p:cNvSpPr>
              <p:nvPr/>
            </p:nvSpPr>
            <p:spPr bwMode="auto">
              <a:xfrm>
                <a:off x="2934" y="253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80" name="Freeform 480"/>
              <p:cNvSpPr>
                <a:spLocks/>
              </p:cNvSpPr>
              <p:nvPr/>
            </p:nvSpPr>
            <p:spPr bwMode="auto">
              <a:xfrm>
                <a:off x="2934" y="2539"/>
                <a:ext cx="3" cy="7"/>
              </a:xfrm>
              <a:custGeom>
                <a:avLst/>
                <a:gdLst>
                  <a:gd name="T0" fmla="*/ 3 w 3"/>
                  <a:gd name="T1" fmla="*/ 7 h 7"/>
                  <a:gd name="T2" fmla="*/ 3 w 3"/>
                  <a:gd name="T3" fmla="*/ 7 h 7"/>
                  <a:gd name="T4" fmla="*/ 2 w 3"/>
                  <a:gd name="T5" fmla="*/ 4 h 7"/>
                  <a:gd name="T6" fmla="*/ 0 w 3"/>
                  <a:gd name="T7" fmla="*/ 0 h 7"/>
                  <a:gd name="T8" fmla="*/ 0 w 3"/>
                  <a:gd name="T9" fmla="*/ 0 h 7"/>
                  <a:gd name="T10" fmla="*/ 2 w 3"/>
                  <a:gd name="T11" fmla="*/ 4 h 7"/>
                  <a:gd name="T12" fmla="*/ 3 w 3"/>
                  <a:gd name="T13" fmla="*/ 7 h 7"/>
                  <a:gd name="T14" fmla="*/ 3 w 3"/>
                  <a:gd name="T15" fmla="*/ 7 h 7"/>
                  <a:gd name="T16" fmla="*/ 3 w 3"/>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7">
                    <a:moveTo>
                      <a:pt x="3" y="7"/>
                    </a:moveTo>
                    <a:lnTo>
                      <a:pt x="3" y="7"/>
                    </a:lnTo>
                    <a:lnTo>
                      <a:pt x="2" y="4"/>
                    </a:lnTo>
                    <a:lnTo>
                      <a:pt x="0" y="0"/>
                    </a:lnTo>
                    <a:lnTo>
                      <a:pt x="0" y="0"/>
                    </a:lnTo>
                    <a:lnTo>
                      <a:pt x="2" y="4"/>
                    </a:lnTo>
                    <a:lnTo>
                      <a:pt x="3" y="7"/>
                    </a:lnTo>
                    <a:lnTo>
                      <a:pt x="3" y="7"/>
                    </a:lnTo>
                    <a:lnTo>
                      <a:pt x="3"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81" name="Freeform 481"/>
              <p:cNvSpPr>
                <a:spLocks noEditPoints="1"/>
              </p:cNvSpPr>
              <p:nvPr/>
            </p:nvSpPr>
            <p:spPr bwMode="auto">
              <a:xfrm>
                <a:off x="2788" y="2453"/>
                <a:ext cx="33" cy="6"/>
              </a:xfrm>
              <a:custGeom>
                <a:avLst/>
                <a:gdLst>
                  <a:gd name="T0" fmla="*/ 33 w 33"/>
                  <a:gd name="T1" fmla="*/ 0 h 6"/>
                  <a:gd name="T2" fmla="*/ 33 w 33"/>
                  <a:gd name="T3" fmla="*/ 0 h 6"/>
                  <a:gd name="T4" fmla="*/ 33 w 33"/>
                  <a:gd name="T5" fmla="*/ 0 h 6"/>
                  <a:gd name="T6" fmla="*/ 33 w 33"/>
                  <a:gd name="T7" fmla="*/ 0 h 6"/>
                  <a:gd name="T8" fmla="*/ 33 w 33"/>
                  <a:gd name="T9" fmla="*/ 0 h 6"/>
                  <a:gd name="T10" fmla="*/ 33 w 33"/>
                  <a:gd name="T11" fmla="*/ 0 h 6"/>
                  <a:gd name="T12" fmla="*/ 33 w 33"/>
                  <a:gd name="T13" fmla="*/ 0 h 6"/>
                  <a:gd name="T14" fmla="*/ 33 w 33"/>
                  <a:gd name="T15" fmla="*/ 0 h 6"/>
                  <a:gd name="T16" fmla="*/ 33 w 33"/>
                  <a:gd name="T17" fmla="*/ 0 h 6"/>
                  <a:gd name="T18" fmla="*/ 33 w 33"/>
                  <a:gd name="T19" fmla="*/ 0 h 6"/>
                  <a:gd name="T20" fmla="*/ 33 w 33"/>
                  <a:gd name="T21" fmla="*/ 0 h 6"/>
                  <a:gd name="T22" fmla="*/ 33 w 33"/>
                  <a:gd name="T23" fmla="*/ 0 h 6"/>
                  <a:gd name="T24" fmla="*/ 33 w 33"/>
                  <a:gd name="T25" fmla="*/ 0 h 6"/>
                  <a:gd name="T26" fmla="*/ 33 w 33"/>
                  <a:gd name="T27" fmla="*/ 0 h 6"/>
                  <a:gd name="T28" fmla="*/ 33 w 33"/>
                  <a:gd name="T29" fmla="*/ 0 h 6"/>
                  <a:gd name="T30" fmla="*/ 33 w 33"/>
                  <a:gd name="T31" fmla="*/ 0 h 6"/>
                  <a:gd name="T32" fmla="*/ 33 w 33"/>
                  <a:gd name="T33" fmla="*/ 0 h 6"/>
                  <a:gd name="T34" fmla="*/ 0 w 33"/>
                  <a:gd name="T35" fmla="*/ 6 h 6"/>
                  <a:gd name="T36" fmla="*/ 0 w 33"/>
                  <a:gd name="T37" fmla="*/ 6 h 6"/>
                  <a:gd name="T38" fmla="*/ 0 w 33"/>
                  <a:gd name="T39" fmla="*/ 6 h 6"/>
                  <a:gd name="T40" fmla="*/ 19 w 33"/>
                  <a:gd name="T41" fmla="*/ 3 h 6"/>
                  <a:gd name="T42" fmla="*/ 33 w 33"/>
                  <a:gd name="T43" fmla="*/ 0 h 6"/>
                  <a:gd name="T44" fmla="*/ 33 w 33"/>
                  <a:gd name="T45" fmla="*/ 0 h 6"/>
                  <a:gd name="T46" fmla="*/ 19 w 33"/>
                  <a:gd name="T47" fmla="*/ 3 h 6"/>
                  <a:gd name="T48" fmla="*/ 0 w 33"/>
                  <a:gd name="T4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 h="6">
                    <a:moveTo>
                      <a:pt x="33" y="0"/>
                    </a:moveTo>
                    <a:lnTo>
                      <a:pt x="33" y="0"/>
                    </a:lnTo>
                    <a:lnTo>
                      <a:pt x="33" y="0"/>
                    </a:lnTo>
                    <a:close/>
                    <a:moveTo>
                      <a:pt x="33" y="0"/>
                    </a:moveTo>
                    <a:lnTo>
                      <a:pt x="33" y="0"/>
                    </a:lnTo>
                    <a:lnTo>
                      <a:pt x="33" y="0"/>
                    </a:lnTo>
                    <a:close/>
                    <a:moveTo>
                      <a:pt x="33" y="0"/>
                    </a:moveTo>
                    <a:lnTo>
                      <a:pt x="33" y="0"/>
                    </a:lnTo>
                    <a:close/>
                    <a:moveTo>
                      <a:pt x="33" y="0"/>
                    </a:moveTo>
                    <a:lnTo>
                      <a:pt x="33" y="0"/>
                    </a:lnTo>
                    <a:lnTo>
                      <a:pt x="33" y="0"/>
                    </a:lnTo>
                    <a:close/>
                    <a:moveTo>
                      <a:pt x="33" y="0"/>
                    </a:moveTo>
                    <a:lnTo>
                      <a:pt x="33" y="0"/>
                    </a:lnTo>
                    <a:lnTo>
                      <a:pt x="33" y="0"/>
                    </a:lnTo>
                    <a:close/>
                    <a:moveTo>
                      <a:pt x="33" y="0"/>
                    </a:moveTo>
                    <a:lnTo>
                      <a:pt x="33" y="0"/>
                    </a:lnTo>
                    <a:lnTo>
                      <a:pt x="33" y="0"/>
                    </a:lnTo>
                    <a:close/>
                    <a:moveTo>
                      <a:pt x="0" y="6"/>
                    </a:moveTo>
                    <a:lnTo>
                      <a:pt x="0" y="6"/>
                    </a:lnTo>
                    <a:lnTo>
                      <a:pt x="0" y="6"/>
                    </a:lnTo>
                    <a:lnTo>
                      <a:pt x="19" y="3"/>
                    </a:lnTo>
                    <a:lnTo>
                      <a:pt x="33" y="0"/>
                    </a:lnTo>
                    <a:lnTo>
                      <a:pt x="33" y="0"/>
                    </a:lnTo>
                    <a:lnTo>
                      <a:pt x="19" y="3"/>
                    </a:lnTo>
                    <a:lnTo>
                      <a:pt x="0" y="6"/>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82" name="Freeform 482"/>
              <p:cNvSpPr>
                <a:spLocks/>
              </p:cNvSpPr>
              <p:nvPr/>
            </p:nvSpPr>
            <p:spPr bwMode="auto">
              <a:xfrm>
                <a:off x="2821" y="2453"/>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83" name="Freeform 483"/>
              <p:cNvSpPr>
                <a:spLocks/>
              </p:cNvSpPr>
              <p:nvPr/>
            </p:nvSpPr>
            <p:spPr bwMode="auto">
              <a:xfrm>
                <a:off x="2821" y="2453"/>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84" name="Line 484"/>
              <p:cNvSpPr>
                <a:spLocks noChangeShapeType="1"/>
              </p:cNvSpPr>
              <p:nvPr/>
            </p:nvSpPr>
            <p:spPr bwMode="auto">
              <a:xfrm>
                <a:off x="2821" y="245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85" name="Freeform 485"/>
              <p:cNvSpPr>
                <a:spLocks/>
              </p:cNvSpPr>
              <p:nvPr/>
            </p:nvSpPr>
            <p:spPr bwMode="auto">
              <a:xfrm>
                <a:off x="2821" y="2453"/>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86" name="Freeform 486"/>
              <p:cNvSpPr>
                <a:spLocks/>
              </p:cNvSpPr>
              <p:nvPr/>
            </p:nvSpPr>
            <p:spPr bwMode="auto">
              <a:xfrm>
                <a:off x="2821" y="2453"/>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87" name="Freeform 487"/>
              <p:cNvSpPr>
                <a:spLocks/>
              </p:cNvSpPr>
              <p:nvPr/>
            </p:nvSpPr>
            <p:spPr bwMode="auto">
              <a:xfrm>
                <a:off x="2821" y="2453"/>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88" name="Freeform 488"/>
              <p:cNvSpPr>
                <a:spLocks/>
              </p:cNvSpPr>
              <p:nvPr/>
            </p:nvSpPr>
            <p:spPr bwMode="auto">
              <a:xfrm>
                <a:off x="2788" y="2453"/>
                <a:ext cx="33" cy="6"/>
              </a:xfrm>
              <a:custGeom>
                <a:avLst/>
                <a:gdLst>
                  <a:gd name="T0" fmla="*/ 0 w 33"/>
                  <a:gd name="T1" fmla="*/ 6 h 6"/>
                  <a:gd name="T2" fmla="*/ 0 w 33"/>
                  <a:gd name="T3" fmla="*/ 6 h 6"/>
                  <a:gd name="T4" fmla="*/ 0 w 33"/>
                  <a:gd name="T5" fmla="*/ 6 h 6"/>
                  <a:gd name="T6" fmla="*/ 19 w 33"/>
                  <a:gd name="T7" fmla="*/ 3 h 6"/>
                  <a:gd name="T8" fmla="*/ 33 w 33"/>
                  <a:gd name="T9" fmla="*/ 0 h 6"/>
                  <a:gd name="T10" fmla="*/ 33 w 33"/>
                  <a:gd name="T11" fmla="*/ 0 h 6"/>
                  <a:gd name="T12" fmla="*/ 19 w 33"/>
                  <a:gd name="T13" fmla="*/ 3 h 6"/>
                  <a:gd name="T14" fmla="*/ 0 w 3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6">
                    <a:moveTo>
                      <a:pt x="0" y="6"/>
                    </a:moveTo>
                    <a:lnTo>
                      <a:pt x="0" y="6"/>
                    </a:lnTo>
                    <a:lnTo>
                      <a:pt x="0" y="6"/>
                    </a:lnTo>
                    <a:lnTo>
                      <a:pt x="19" y="3"/>
                    </a:lnTo>
                    <a:lnTo>
                      <a:pt x="33" y="0"/>
                    </a:lnTo>
                    <a:lnTo>
                      <a:pt x="33" y="0"/>
                    </a:lnTo>
                    <a:lnTo>
                      <a:pt x="19" y="3"/>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89" name="Freeform 489"/>
              <p:cNvSpPr>
                <a:spLocks noEditPoints="1"/>
              </p:cNvSpPr>
              <p:nvPr/>
            </p:nvSpPr>
            <p:spPr bwMode="auto">
              <a:xfrm>
                <a:off x="2779" y="2546"/>
                <a:ext cx="158" cy="36"/>
              </a:xfrm>
              <a:custGeom>
                <a:avLst/>
                <a:gdLst>
                  <a:gd name="T0" fmla="*/ 26 w 158"/>
                  <a:gd name="T1" fmla="*/ 3 h 36"/>
                  <a:gd name="T2" fmla="*/ 25 w 158"/>
                  <a:gd name="T3" fmla="*/ 3 h 36"/>
                  <a:gd name="T4" fmla="*/ 26 w 158"/>
                  <a:gd name="T5" fmla="*/ 3 h 36"/>
                  <a:gd name="T6" fmla="*/ 60 w 158"/>
                  <a:gd name="T7" fmla="*/ 7 h 36"/>
                  <a:gd name="T8" fmla="*/ 57 w 158"/>
                  <a:gd name="T9" fmla="*/ 7 h 36"/>
                  <a:gd name="T10" fmla="*/ 57 w 158"/>
                  <a:gd name="T11" fmla="*/ 7 h 36"/>
                  <a:gd name="T12" fmla="*/ 55 w 158"/>
                  <a:gd name="T13" fmla="*/ 7 h 36"/>
                  <a:gd name="T14" fmla="*/ 55 w 158"/>
                  <a:gd name="T15" fmla="*/ 7 h 36"/>
                  <a:gd name="T16" fmla="*/ 55 w 158"/>
                  <a:gd name="T17" fmla="*/ 7 h 36"/>
                  <a:gd name="T18" fmla="*/ 55 w 158"/>
                  <a:gd name="T19" fmla="*/ 7 h 36"/>
                  <a:gd name="T20" fmla="*/ 55 w 158"/>
                  <a:gd name="T21" fmla="*/ 7 h 36"/>
                  <a:gd name="T22" fmla="*/ 55 w 158"/>
                  <a:gd name="T23" fmla="*/ 9 h 36"/>
                  <a:gd name="T24" fmla="*/ 55 w 158"/>
                  <a:gd name="T25" fmla="*/ 9 h 36"/>
                  <a:gd name="T26" fmla="*/ 54 w 158"/>
                  <a:gd name="T27" fmla="*/ 9 h 36"/>
                  <a:gd name="T28" fmla="*/ 141 w 158"/>
                  <a:gd name="T29" fmla="*/ 9 h 36"/>
                  <a:gd name="T30" fmla="*/ 150 w 158"/>
                  <a:gd name="T31" fmla="*/ 6 h 36"/>
                  <a:gd name="T32" fmla="*/ 158 w 158"/>
                  <a:gd name="T33" fmla="*/ 0 h 36"/>
                  <a:gd name="T34" fmla="*/ 141 w 158"/>
                  <a:gd name="T35" fmla="*/ 9 h 36"/>
                  <a:gd name="T36" fmla="*/ 141 w 158"/>
                  <a:gd name="T37" fmla="*/ 9 h 36"/>
                  <a:gd name="T38" fmla="*/ 108 w 158"/>
                  <a:gd name="T39" fmla="*/ 9 h 36"/>
                  <a:gd name="T40" fmla="*/ 52 w 158"/>
                  <a:gd name="T41" fmla="*/ 9 h 36"/>
                  <a:gd name="T42" fmla="*/ 52 w 158"/>
                  <a:gd name="T43" fmla="*/ 9 h 36"/>
                  <a:gd name="T44" fmla="*/ 52 w 158"/>
                  <a:gd name="T45" fmla="*/ 10 h 36"/>
                  <a:gd name="T46" fmla="*/ 52 w 158"/>
                  <a:gd name="T47" fmla="*/ 10 h 36"/>
                  <a:gd name="T48" fmla="*/ 108 w 158"/>
                  <a:gd name="T49" fmla="*/ 9 h 36"/>
                  <a:gd name="T50" fmla="*/ 51 w 158"/>
                  <a:gd name="T51" fmla="*/ 10 h 36"/>
                  <a:gd name="T52" fmla="*/ 51 w 158"/>
                  <a:gd name="T53" fmla="*/ 10 h 36"/>
                  <a:gd name="T54" fmla="*/ 102 w 158"/>
                  <a:gd name="T55" fmla="*/ 10 h 36"/>
                  <a:gd name="T56" fmla="*/ 102 w 158"/>
                  <a:gd name="T57" fmla="*/ 10 h 36"/>
                  <a:gd name="T58" fmla="*/ 102 w 158"/>
                  <a:gd name="T59" fmla="*/ 10 h 36"/>
                  <a:gd name="T60" fmla="*/ 121 w 158"/>
                  <a:gd name="T61" fmla="*/ 10 h 36"/>
                  <a:gd name="T62" fmla="*/ 119 w 158"/>
                  <a:gd name="T63" fmla="*/ 10 h 36"/>
                  <a:gd name="T64" fmla="*/ 121 w 158"/>
                  <a:gd name="T65" fmla="*/ 10 h 36"/>
                  <a:gd name="T66" fmla="*/ 121 w 158"/>
                  <a:gd name="T67" fmla="*/ 10 h 36"/>
                  <a:gd name="T68" fmla="*/ 41 w 158"/>
                  <a:gd name="T69" fmla="*/ 12 h 36"/>
                  <a:gd name="T70" fmla="*/ 41 w 158"/>
                  <a:gd name="T71" fmla="*/ 12 h 36"/>
                  <a:gd name="T72" fmla="*/ 41 w 158"/>
                  <a:gd name="T73" fmla="*/ 12 h 36"/>
                  <a:gd name="T74" fmla="*/ 73 w 158"/>
                  <a:gd name="T75" fmla="*/ 12 h 36"/>
                  <a:gd name="T76" fmla="*/ 71 w 158"/>
                  <a:gd name="T77" fmla="*/ 12 h 36"/>
                  <a:gd name="T78" fmla="*/ 125 w 158"/>
                  <a:gd name="T79" fmla="*/ 12 h 36"/>
                  <a:gd name="T80" fmla="*/ 139 w 158"/>
                  <a:gd name="T81" fmla="*/ 9 h 36"/>
                  <a:gd name="T82" fmla="*/ 125 w 158"/>
                  <a:gd name="T83" fmla="*/ 12 h 36"/>
                  <a:gd name="T84" fmla="*/ 47 w 158"/>
                  <a:gd name="T85" fmla="*/ 12 h 36"/>
                  <a:gd name="T86" fmla="*/ 50 w 158"/>
                  <a:gd name="T87" fmla="*/ 10 h 36"/>
                  <a:gd name="T88" fmla="*/ 45 w 158"/>
                  <a:gd name="T89" fmla="*/ 12 h 36"/>
                  <a:gd name="T90" fmla="*/ 45 w 158"/>
                  <a:gd name="T91" fmla="*/ 12 h 36"/>
                  <a:gd name="T92" fmla="*/ 45 w 158"/>
                  <a:gd name="T93" fmla="*/ 12 h 36"/>
                  <a:gd name="T94" fmla="*/ 73 w 158"/>
                  <a:gd name="T95" fmla="*/ 12 h 36"/>
                  <a:gd name="T96" fmla="*/ 44 w 158"/>
                  <a:gd name="T97" fmla="*/ 12 h 36"/>
                  <a:gd name="T98" fmla="*/ 2 w 158"/>
                  <a:gd name="T99" fmla="*/ 13 h 36"/>
                  <a:gd name="T100" fmla="*/ 5 w 158"/>
                  <a:gd name="T101" fmla="*/ 9 h 36"/>
                  <a:gd name="T102" fmla="*/ 25 w 158"/>
                  <a:gd name="T103" fmla="*/ 3 h 36"/>
                  <a:gd name="T104" fmla="*/ 3 w 158"/>
                  <a:gd name="T105" fmla="*/ 10 h 36"/>
                  <a:gd name="T106" fmla="*/ 83 w 158"/>
                  <a:gd name="T107" fmla="*/ 15 h 36"/>
                  <a:gd name="T108" fmla="*/ 102 w 158"/>
                  <a:gd name="T109" fmla="*/ 10 h 36"/>
                  <a:gd name="T110" fmla="*/ 83 w 158"/>
                  <a:gd name="T111" fmla="*/ 15 h 36"/>
                  <a:gd name="T112" fmla="*/ 2 w 158"/>
                  <a:gd name="T113" fmla="*/ 36 h 36"/>
                  <a:gd name="T114" fmla="*/ 0 w 158"/>
                  <a:gd name="T115" fmla="*/ 25 h 36"/>
                  <a:gd name="T116" fmla="*/ 0 w 158"/>
                  <a:gd name="T117" fmla="*/ 2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8" h="36">
                    <a:moveTo>
                      <a:pt x="26" y="3"/>
                    </a:moveTo>
                    <a:lnTo>
                      <a:pt x="26" y="3"/>
                    </a:lnTo>
                    <a:lnTo>
                      <a:pt x="26" y="3"/>
                    </a:lnTo>
                    <a:lnTo>
                      <a:pt x="26" y="3"/>
                    </a:lnTo>
                    <a:lnTo>
                      <a:pt x="26" y="3"/>
                    </a:lnTo>
                    <a:close/>
                    <a:moveTo>
                      <a:pt x="25" y="3"/>
                    </a:moveTo>
                    <a:lnTo>
                      <a:pt x="25" y="3"/>
                    </a:lnTo>
                    <a:lnTo>
                      <a:pt x="26" y="3"/>
                    </a:lnTo>
                    <a:lnTo>
                      <a:pt x="26" y="3"/>
                    </a:lnTo>
                    <a:lnTo>
                      <a:pt x="25" y="3"/>
                    </a:lnTo>
                    <a:close/>
                    <a:moveTo>
                      <a:pt x="60" y="7"/>
                    </a:moveTo>
                    <a:lnTo>
                      <a:pt x="60" y="7"/>
                    </a:lnTo>
                    <a:lnTo>
                      <a:pt x="60" y="7"/>
                    </a:lnTo>
                    <a:close/>
                    <a:moveTo>
                      <a:pt x="57" y="7"/>
                    </a:moveTo>
                    <a:lnTo>
                      <a:pt x="57" y="7"/>
                    </a:lnTo>
                    <a:lnTo>
                      <a:pt x="60" y="7"/>
                    </a:lnTo>
                    <a:lnTo>
                      <a:pt x="60" y="7"/>
                    </a:lnTo>
                    <a:lnTo>
                      <a:pt x="57" y="7"/>
                    </a:lnTo>
                    <a:close/>
                    <a:moveTo>
                      <a:pt x="55" y="7"/>
                    </a:moveTo>
                    <a:lnTo>
                      <a:pt x="55" y="7"/>
                    </a:lnTo>
                    <a:lnTo>
                      <a:pt x="55" y="7"/>
                    </a:lnTo>
                    <a:lnTo>
                      <a:pt x="55" y="7"/>
                    </a:lnTo>
                    <a:lnTo>
                      <a:pt x="55" y="7"/>
                    </a:lnTo>
                    <a:lnTo>
                      <a:pt x="55" y="7"/>
                    </a:lnTo>
                    <a:close/>
                    <a:moveTo>
                      <a:pt x="55" y="7"/>
                    </a:moveTo>
                    <a:lnTo>
                      <a:pt x="55" y="7"/>
                    </a:lnTo>
                    <a:lnTo>
                      <a:pt x="55" y="7"/>
                    </a:lnTo>
                    <a:lnTo>
                      <a:pt x="55" y="7"/>
                    </a:lnTo>
                    <a:lnTo>
                      <a:pt x="55" y="7"/>
                    </a:lnTo>
                    <a:close/>
                    <a:moveTo>
                      <a:pt x="55" y="7"/>
                    </a:moveTo>
                    <a:lnTo>
                      <a:pt x="55" y="7"/>
                    </a:lnTo>
                    <a:lnTo>
                      <a:pt x="55" y="7"/>
                    </a:lnTo>
                    <a:lnTo>
                      <a:pt x="55" y="7"/>
                    </a:lnTo>
                    <a:lnTo>
                      <a:pt x="55" y="7"/>
                    </a:lnTo>
                    <a:close/>
                    <a:moveTo>
                      <a:pt x="55" y="9"/>
                    </a:moveTo>
                    <a:lnTo>
                      <a:pt x="55" y="9"/>
                    </a:lnTo>
                    <a:lnTo>
                      <a:pt x="55" y="9"/>
                    </a:lnTo>
                    <a:lnTo>
                      <a:pt x="55" y="9"/>
                    </a:lnTo>
                    <a:lnTo>
                      <a:pt x="55" y="9"/>
                    </a:lnTo>
                    <a:close/>
                    <a:moveTo>
                      <a:pt x="54" y="9"/>
                    </a:moveTo>
                    <a:lnTo>
                      <a:pt x="54" y="9"/>
                    </a:lnTo>
                    <a:lnTo>
                      <a:pt x="54" y="9"/>
                    </a:lnTo>
                    <a:lnTo>
                      <a:pt x="54" y="9"/>
                    </a:lnTo>
                    <a:lnTo>
                      <a:pt x="54" y="9"/>
                    </a:lnTo>
                    <a:close/>
                    <a:moveTo>
                      <a:pt x="141" y="9"/>
                    </a:moveTo>
                    <a:lnTo>
                      <a:pt x="141" y="9"/>
                    </a:lnTo>
                    <a:lnTo>
                      <a:pt x="141" y="9"/>
                    </a:lnTo>
                    <a:lnTo>
                      <a:pt x="150" y="6"/>
                    </a:lnTo>
                    <a:lnTo>
                      <a:pt x="158" y="0"/>
                    </a:lnTo>
                    <a:lnTo>
                      <a:pt x="158" y="0"/>
                    </a:lnTo>
                    <a:lnTo>
                      <a:pt x="158" y="0"/>
                    </a:lnTo>
                    <a:lnTo>
                      <a:pt x="158" y="0"/>
                    </a:lnTo>
                    <a:lnTo>
                      <a:pt x="150" y="6"/>
                    </a:lnTo>
                    <a:lnTo>
                      <a:pt x="141" y="9"/>
                    </a:lnTo>
                    <a:close/>
                    <a:moveTo>
                      <a:pt x="141" y="9"/>
                    </a:moveTo>
                    <a:lnTo>
                      <a:pt x="141" y="9"/>
                    </a:lnTo>
                    <a:lnTo>
                      <a:pt x="141" y="9"/>
                    </a:lnTo>
                    <a:lnTo>
                      <a:pt x="141" y="9"/>
                    </a:lnTo>
                    <a:lnTo>
                      <a:pt x="141" y="9"/>
                    </a:lnTo>
                    <a:close/>
                    <a:moveTo>
                      <a:pt x="108" y="9"/>
                    </a:moveTo>
                    <a:lnTo>
                      <a:pt x="108" y="9"/>
                    </a:lnTo>
                    <a:lnTo>
                      <a:pt x="108" y="9"/>
                    </a:lnTo>
                    <a:close/>
                    <a:moveTo>
                      <a:pt x="52" y="9"/>
                    </a:moveTo>
                    <a:lnTo>
                      <a:pt x="52" y="9"/>
                    </a:lnTo>
                    <a:lnTo>
                      <a:pt x="52" y="9"/>
                    </a:lnTo>
                    <a:lnTo>
                      <a:pt x="52" y="9"/>
                    </a:lnTo>
                    <a:lnTo>
                      <a:pt x="52" y="9"/>
                    </a:lnTo>
                    <a:close/>
                    <a:moveTo>
                      <a:pt x="52" y="10"/>
                    </a:moveTo>
                    <a:lnTo>
                      <a:pt x="52" y="10"/>
                    </a:lnTo>
                    <a:lnTo>
                      <a:pt x="52" y="10"/>
                    </a:lnTo>
                    <a:lnTo>
                      <a:pt x="52" y="10"/>
                    </a:lnTo>
                    <a:lnTo>
                      <a:pt x="52" y="10"/>
                    </a:lnTo>
                    <a:close/>
                    <a:moveTo>
                      <a:pt x="102" y="10"/>
                    </a:moveTo>
                    <a:lnTo>
                      <a:pt x="102" y="10"/>
                    </a:lnTo>
                    <a:lnTo>
                      <a:pt x="108" y="9"/>
                    </a:lnTo>
                    <a:lnTo>
                      <a:pt x="108" y="9"/>
                    </a:lnTo>
                    <a:lnTo>
                      <a:pt x="102" y="10"/>
                    </a:lnTo>
                    <a:close/>
                    <a:moveTo>
                      <a:pt x="51" y="10"/>
                    </a:moveTo>
                    <a:lnTo>
                      <a:pt x="51" y="10"/>
                    </a:lnTo>
                    <a:lnTo>
                      <a:pt x="51" y="10"/>
                    </a:lnTo>
                    <a:lnTo>
                      <a:pt x="51" y="10"/>
                    </a:lnTo>
                    <a:lnTo>
                      <a:pt x="51" y="10"/>
                    </a:lnTo>
                    <a:close/>
                    <a:moveTo>
                      <a:pt x="102" y="10"/>
                    </a:moveTo>
                    <a:lnTo>
                      <a:pt x="102" y="10"/>
                    </a:lnTo>
                    <a:lnTo>
                      <a:pt x="102" y="10"/>
                    </a:lnTo>
                    <a:lnTo>
                      <a:pt x="102" y="10"/>
                    </a:lnTo>
                    <a:lnTo>
                      <a:pt x="102" y="10"/>
                    </a:lnTo>
                    <a:close/>
                    <a:moveTo>
                      <a:pt x="102" y="10"/>
                    </a:moveTo>
                    <a:lnTo>
                      <a:pt x="102" y="10"/>
                    </a:lnTo>
                    <a:lnTo>
                      <a:pt x="102" y="10"/>
                    </a:lnTo>
                    <a:lnTo>
                      <a:pt x="102" y="10"/>
                    </a:lnTo>
                    <a:lnTo>
                      <a:pt x="102" y="10"/>
                    </a:lnTo>
                    <a:close/>
                    <a:moveTo>
                      <a:pt x="121" y="10"/>
                    </a:moveTo>
                    <a:lnTo>
                      <a:pt x="121" y="10"/>
                    </a:lnTo>
                    <a:lnTo>
                      <a:pt x="119" y="10"/>
                    </a:lnTo>
                    <a:lnTo>
                      <a:pt x="119" y="10"/>
                    </a:lnTo>
                    <a:lnTo>
                      <a:pt x="121" y="10"/>
                    </a:lnTo>
                    <a:close/>
                    <a:moveTo>
                      <a:pt x="121" y="10"/>
                    </a:moveTo>
                    <a:lnTo>
                      <a:pt x="121" y="10"/>
                    </a:lnTo>
                    <a:lnTo>
                      <a:pt x="121" y="10"/>
                    </a:lnTo>
                    <a:lnTo>
                      <a:pt x="121" y="10"/>
                    </a:lnTo>
                    <a:lnTo>
                      <a:pt x="121" y="10"/>
                    </a:lnTo>
                    <a:close/>
                    <a:moveTo>
                      <a:pt x="121" y="12"/>
                    </a:moveTo>
                    <a:lnTo>
                      <a:pt x="121" y="12"/>
                    </a:lnTo>
                    <a:close/>
                    <a:moveTo>
                      <a:pt x="41" y="12"/>
                    </a:moveTo>
                    <a:lnTo>
                      <a:pt x="41" y="12"/>
                    </a:lnTo>
                    <a:lnTo>
                      <a:pt x="41" y="12"/>
                    </a:lnTo>
                    <a:lnTo>
                      <a:pt x="41" y="12"/>
                    </a:lnTo>
                    <a:lnTo>
                      <a:pt x="41" y="10"/>
                    </a:lnTo>
                    <a:lnTo>
                      <a:pt x="41" y="10"/>
                    </a:lnTo>
                    <a:lnTo>
                      <a:pt x="41" y="12"/>
                    </a:lnTo>
                    <a:lnTo>
                      <a:pt x="41" y="12"/>
                    </a:lnTo>
                    <a:lnTo>
                      <a:pt x="41" y="12"/>
                    </a:lnTo>
                    <a:close/>
                    <a:moveTo>
                      <a:pt x="73" y="12"/>
                    </a:moveTo>
                    <a:lnTo>
                      <a:pt x="73" y="12"/>
                    </a:lnTo>
                    <a:lnTo>
                      <a:pt x="71" y="12"/>
                    </a:lnTo>
                    <a:lnTo>
                      <a:pt x="71" y="12"/>
                    </a:lnTo>
                    <a:lnTo>
                      <a:pt x="73" y="12"/>
                    </a:lnTo>
                    <a:close/>
                    <a:moveTo>
                      <a:pt x="125" y="12"/>
                    </a:moveTo>
                    <a:lnTo>
                      <a:pt x="125" y="12"/>
                    </a:lnTo>
                    <a:lnTo>
                      <a:pt x="134" y="10"/>
                    </a:lnTo>
                    <a:lnTo>
                      <a:pt x="139" y="9"/>
                    </a:lnTo>
                    <a:lnTo>
                      <a:pt x="139" y="9"/>
                    </a:lnTo>
                    <a:lnTo>
                      <a:pt x="134" y="10"/>
                    </a:lnTo>
                    <a:lnTo>
                      <a:pt x="125" y="12"/>
                    </a:lnTo>
                    <a:close/>
                    <a:moveTo>
                      <a:pt x="125" y="12"/>
                    </a:moveTo>
                    <a:lnTo>
                      <a:pt x="125" y="12"/>
                    </a:lnTo>
                    <a:lnTo>
                      <a:pt x="125" y="12"/>
                    </a:lnTo>
                    <a:close/>
                    <a:moveTo>
                      <a:pt x="47" y="12"/>
                    </a:moveTo>
                    <a:lnTo>
                      <a:pt x="47" y="12"/>
                    </a:lnTo>
                    <a:lnTo>
                      <a:pt x="50" y="10"/>
                    </a:lnTo>
                    <a:lnTo>
                      <a:pt x="50" y="10"/>
                    </a:lnTo>
                    <a:lnTo>
                      <a:pt x="47" y="12"/>
                    </a:lnTo>
                    <a:close/>
                    <a:moveTo>
                      <a:pt x="45" y="12"/>
                    </a:moveTo>
                    <a:lnTo>
                      <a:pt x="45" y="12"/>
                    </a:lnTo>
                    <a:lnTo>
                      <a:pt x="47" y="12"/>
                    </a:lnTo>
                    <a:lnTo>
                      <a:pt x="47" y="12"/>
                    </a:lnTo>
                    <a:lnTo>
                      <a:pt x="45" y="12"/>
                    </a:lnTo>
                    <a:close/>
                    <a:moveTo>
                      <a:pt x="45" y="12"/>
                    </a:moveTo>
                    <a:lnTo>
                      <a:pt x="45" y="12"/>
                    </a:lnTo>
                    <a:lnTo>
                      <a:pt x="45" y="12"/>
                    </a:lnTo>
                    <a:lnTo>
                      <a:pt x="45" y="12"/>
                    </a:lnTo>
                    <a:lnTo>
                      <a:pt x="45" y="12"/>
                    </a:lnTo>
                    <a:close/>
                    <a:moveTo>
                      <a:pt x="73" y="12"/>
                    </a:moveTo>
                    <a:lnTo>
                      <a:pt x="73" y="12"/>
                    </a:lnTo>
                    <a:close/>
                    <a:moveTo>
                      <a:pt x="44" y="12"/>
                    </a:moveTo>
                    <a:lnTo>
                      <a:pt x="44" y="12"/>
                    </a:lnTo>
                    <a:lnTo>
                      <a:pt x="44" y="12"/>
                    </a:lnTo>
                    <a:close/>
                    <a:moveTo>
                      <a:pt x="2" y="13"/>
                    </a:moveTo>
                    <a:lnTo>
                      <a:pt x="2" y="13"/>
                    </a:lnTo>
                    <a:lnTo>
                      <a:pt x="2" y="13"/>
                    </a:lnTo>
                    <a:lnTo>
                      <a:pt x="3" y="10"/>
                    </a:lnTo>
                    <a:lnTo>
                      <a:pt x="5" y="9"/>
                    </a:lnTo>
                    <a:lnTo>
                      <a:pt x="12" y="6"/>
                    </a:lnTo>
                    <a:lnTo>
                      <a:pt x="25" y="3"/>
                    </a:lnTo>
                    <a:lnTo>
                      <a:pt x="25" y="3"/>
                    </a:lnTo>
                    <a:lnTo>
                      <a:pt x="12" y="6"/>
                    </a:lnTo>
                    <a:lnTo>
                      <a:pt x="5" y="9"/>
                    </a:lnTo>
                    <a:lnTo>
                      <a:pt x="3" y="10"/>
                    </a:lnTo>
                    <a:lnTo>
                      <a:pt x="2" y="13"/>
                    </a:lnTo>
                    <a:close/>
                    <a:moveTo>
                      <a:pt x="83" y="15"/>
                    </a:moveTo>
                    <a:lnTo>
                      <a:pt x="83" y="15"/>
                    </a:lnTo>
                    <a:lnTo>
                      <a:pt x="94" y="13"/>
                    </a:lnTo>
                    <a:lnTo>
                      <a:pt x="102" y="10"/>
                    </a:lnTo>
                    <a:lnTo>
                      <a:pt x="102" y="10"/>
                    </a:lnTo>
                    <a:lnTo>
                      <a:pt x="94" y="13"/>
                    </a:lnTo>
                    <a:lnTo>
                      <a:pt x="83" y="15"/>
                    </a:lnTo>
                    <a:close/>
                    <a:moveTo>
                      <a:pt x="83" y="15"/>
                    </a:moveTo>
                    <a:lnTo>
                      <a:pt x="83" y="15"/>
                    </a:lnTo>
                    <a:lnTo>
                      <a:pt x="83" y="15"/>
                    </a:lnTo>
                    <a:close/>
                    <a:moveTo>
                      <a:pt x="2" y="36"/>
                    </a:moveTo>
                    <a:lnTo>
                      <a:pt x="2" y="36"/>
                    </a:lnTo>
                    <a:lnTo>
                      <a:pt x="2" y="36"/>
                    </a:lnTo>
                    <a:lnTo>
                      <a:pt x="0" y="25"/>
                    </a:lnTo>
                    <a:lnTo>
                      <a:pt x="2" y="16"/>
                    </a:lnTo>
                    <a:lnTo>
                      <a:pt x="2" y="16"/>
                    </a:lnTo>
                    <a:lnTo>
                      <a:pt x="0" y="25"/>
                    </a:lnTo>
                    <a:lnTo>
                      <a:pt x="2" y="36"/>
                    </a:lnTo>
                    <a:close/>
                  </a:path>
                </a:pathLst>
              </a:custGeom>
              <a:solidFill>
                <a:srgbClr val="60B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90" name="Rectangle 490"/>
              <p:cNvSpPr>
                <a:spLocks noChangeArrowheads="1"/>
              </p:cNvSpPr>
              <p:nvPr/>
            </p:nvSpPr>
            <p:spPr bwMode="auto">
              <a:xfrm>
                <a:off x="2805" y="2549"/>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91" name="Rectangle 491"/>
              <p:cNvSpPr>
                <a:spLocks noChangeArrowheads="1"/>
              </p:cNvSpPr>
              <p:nvPr/>
            </p:nvSpPr>
            <p:spPr bwMode="auto">
              <a:xfrm>
                <a:off x="2804" y="2549"/>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92" name="Freeform 492"/>
              <p:cNvSpPr>
                <a:spLocks/>
              </p:cNvSpPr>
              <p:nvPr/>
            </p:nvSpPr>
            <p:spPr bwMode="auto">
              <a:xfrm>
                <a:off x="2839" y="2553"/>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93" name="Rectangle 493"/>
              <p:cNvSpPr>
                <a:spLocks noChangeArrowheads="1"/>
              </p:cNvSpPr>
              <p:nvPr/>
            </p:nvSpPr>
            <p:spPr bwMode="auto">
              <a:xfrm>
                <a:off x="2836" y="2553"/>
                <a:ext cx="3"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94" name="Freeform 494"/>
              <p:cNvSpPr>
                <a:spLocks/>
              </p:cNvSpPr>
              <p:nvPr/>
            </p:nvSpPr>
            <p:spPr bwMode="auto">
              <a:xfrm>
                <a:off x="2834" y="2553"/>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95" name="Rectangle 495"/>
              <p:cNvSpPr>
                <a:spLocks noChangeArrowheads="1"/>
              </p:cNvSpPr>
              <p:nvPr/>
            </p:nvSpPr>
            <p:spPr bwMode="auto">
              <a:xfrm>
                <a:off x="2834" y="2553"/>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96" name="Rectangle 496"/>
              <p:cNvSpPr>
                <a:spLocks noChangeArrowheads="1"/>
              </p:cNvSpPr>
              <p:nvPr/>
            </p:nvSpPr>
            <p:spPr bwMode="auto">
              <a:xfrm>
                <a:off x="2834" y="2553"/>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97" name="Rectangle 497"/>
              <p:cNvSpPr>
                <a:spLocks noChangeArrowheads="1"/>
              </p:cNvSpPr>
              <p:nvPr/>
            </p:nvSpPr>
            <p:spPr bwMode="auto">
              <a:xfrm>
                <a:off x="2834" y="255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98" name="Rectangle 498"/>
              <p:cNvSpPr>
                <a:spLocks noChangeArrowheads="1"/>
              </p:cNvSpPr>
              <p:nvPr/>
            </p:nvSpPr>
            <p:spPr bwMode="auto">
              <a:xfrm>
                <a:off x="2833" y="255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99" name="Freeform 499"/>
              <p:cNvSpPr>
                <a:spLocks/>
              </p:cNvSpPr>
              <p:nvPr/>
            </p:nvSpPr>
            <p:spPr bwMode="auto">
              <a:xfrm>
                <a:off x="2920" y="2546"/>
                <a:ext cx="17" cy="9"/>
              </a:xfrm>
              <a:custGeom>
                <a:avLst/>
                <a:gdLst>
                  <a:gd name="T0" fmla="*/ 0 w 17"/>
                  <a:gd name="T1" fmla="*/ 9 h 9"/>
                  <a:gd name="T2" fmla="*/ 0 w 17"/>
                  <a:gd name="T3" fmla="*/ 9 h 9"/>
                  <a:gd name="T4" fmla="*/ 0 w 17"/>
                  <a:gd name="T5" fmla="*/ 9 h 9"/>
                  <a:gd name="T6" fmla="*/ 9 w 17"/>
                  <a:gd name="T7" fmla="*/ 6 h 9"/>
                  <a:gd name="T8" fmla="*/ 17 w 17"/>
                  <a:gd name="T9" fmla="*/ 0 h 9"/>
                  <a:gd name="T10" fmla="*/ 17 w 17"/>
                  <a:gd name="T11" fmla="*/ 0 h 9"/>
                  <a:gd name="T12" fmla="*/ 17 w 17"/>
                  <a:gd name="T13" fmla="*/ 0 h 9"/>
                  <a:gd name="T14" fmla="*/ 17 w 17"/>
                  <a:gd name="T15" fmla="*/ 0 h 9"/>
                  <a:gd name="T16" fmla="*/ 9 w 17"/>
                  <a:gd name="T17" fmla="*/ 6 h 9"/>
                  <a:gd name="T18" fmla="*/ 0 w 17"/>
                  <a:gd name="T1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0" y="9"/>
                    </a:moveTo>
                    <a:lnTo>
                      <a:pt x="0" y="9"/>
                    </a:lnTo>
                    <a:lnTo>
                      <a:pt x="0" y="9"/>
                    </a:lnTo>
                    <a:lnTo>
                      <a:pt x="9" y="6"/>
                    </a:lnTo>
                    <a:lnTo>
                      <a:pt x="17" y="0"/>
                    </a:lnTo>
                    <a:lnTo>
                      <a:pt x="17" y="0"/>
                    </a:lnTo>
                    <a:lnTo>
                      <a:pt x="17" y="0"/>
                    </a:lnTo>
                    <a:lnTo>
                      <a:pt x="17" y="0"/>
                    </a:lnTo>
                    <a:lnTo>
                      <a:pt x="9" y="6"/>
                    </a:lnTo>
                    <a:lnTo>
                      <a:pt x="0"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00" name="Rectangle 500"/>
              <p:cNvSpPr>
                <a:spLocks noChangeArrowheads="1"/>
              </p:cNvSpPr>
              <p:nvPr/>
            </p:nvSpPr>
            <p:spPr bwMode="auto">
              <a:xfrm>
                <a:off x="2920" y="255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01" name="Freeform 501"/>
              <p:cNvSpPr>
                <a:spLocks/>
              </p:cNvSpPr>
              <p:nvPr/>
            </p:nvSpPr>
            <p:spPr bwMode="auto">
              <a:xfrm>
                <a:off x="2887" y="2555"/>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02" name="Rectangle 502"/>
              <p:cNvSpPr>
                <a:spLocks noChangeArrowheads="1"/>
              </p:cNvSpPr>
              <p:nvPr/>
            </p:nvSpPr>
            <p:spPr bwMode="auto">
              <a:xfrm>
                <a:off x="2831" y="255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03" name="Rectangle 503"/>
              <p:cNvSpPr>
                <a:spLocks noChangeArrowheads="1"/>
              </p:cNvSpPr>
              <p:nvPr/>
            </p:nvSpPr>
            <p:spPr bwMode="auto">
              <a:xfrm>
                <a:off x="2831" y="2556"/>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04" name="Freeform 504"/>
              <p:cNvSpPr>
                <a:spLocks/>
              </p:cNvSpPr>
              <p:nvPr/>
            </p:nvSpPr>
            <p:spPr bwMode="auto">
              <a:xfrm>
                <a:off x="2881" y="2555"/>
                <a:ext cx="6" cy="1"/>
              </a:xfrm>
              <a:custGeom>
                <a:avLst/>
                <a:gdLst>
                  <a:gd name="T0" fmla="*/ 0 w 6"/>
                  <a:gd name="T1" fmla="*/ 1 h 1"/>
                  <a:gd name="T2" fmla="*/ 0 w 6"/>
                  <a:gd name="T3" fmla="*/ 1 h 1"/>
                  <a:gd name="T4" fmla="*/ 6 w 6"/>
                  <a:gd name="T5" fmla="*/ 0 h 1"/>
                  <a:gd name="T6" fmla="*/ 6 w 6"/>
                  <a:gd name="T7" fmla="*/ 0 h 1"/>
                  <a:gd name="T8" fmla="*/ 0 w 6"/>
                  <a:gd name="T9" fmla="*/ 1 h 1"/>
                </a:gdLst>
                <a:ahLst/>
                <a:cxnLst>
                  <a:cxn ang="0">
                    <a:pos x="T0" y="T1"/>
                  </a:cxn>
                  <a:cxn ang="0">
                    <a:pos x="T2" y="T3"/>
                  </a:cxn>
                  <a:cxn ang="0">
                    <a:pos x="T4" y="T5"/>
                  </a:cxn>
                  <a:cxn ang="0">
                    <a:pos x="T6" y="T7"/>
                  </a:cxn>
                  <a:cxn ang="0">
                    <a:pos x="T8" y="T9"/>
                  </a:cxn>
                </a:cxnLst>
                <a:rect l="0" t="0" r="r" b="b"/>
                <a:pathLst>
                  <a:path w="6" h="1">
                    <a:moveTo>
                      <a:pt x="0" y="1"/>
                    </a:moveTo>
                    <a:lnTo>
                      <a:pt x="0" y="1"/>
                    </a:lnTo>
                    <a:lnTo>
                      <a:pt x="6" y="0"/>
                    </a:lnTo>
                    <a:lnTo>
                      <a:pt x="6" y="0"/>
                    </a:lnTo>
                    <a:lnTo>
                      <a:pt x="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05" name="Rectangle 505"/>
              <p:cNvSpPr>
                <a:spLocks noChangeArrowheads="1"/>
              </p:cNvSpPr>
              <p:nvPr/>
            </p:nvSpPr>
            <p:spPr bwMode="auto">
              <a:xfrm>
                <a:off x="2830" y="2556"/>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06" name="Rectangle 506"/>
              <p:cNvSpPr>
                <a:spLocks noChangeArrowheads="1"/>
              </p:cNvSpPr>
              <p:nvPr/>
            </p:nvSpPr>
            <p:spPr bwMode="auto">
              <a:xfrm>
                <a:off x="2881" y="2556"/>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07" name="Rectangle 507"/>
              <p:cNvSpPr>
                <a:spLocks noChangeArrowheads="1"/>
              </p:cNvSpPr>
              <p:nvPr/>
            </p:nvSpPr>
            <p:spPr bwMode="auto">
              <a:xfrm>
                <a:off x="2881" y="2556"/>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08" name="Rectangle 508"/>
              <p:cNvSpPr>
                <a:spLocks noChangeArrowheads="1"/>
              </p:cNvSpPr>
              <p:nvPr/>
            </p:nvSpPr>
            <p:spPr bwMode="auto">
              <a:xfrm>
                <a:off x="2898" y="2556"/>
                <a:ext cx="2"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09" name="Rectangle 509"/>
              <p:cNvSpPr>
                <a:spLocks noChangeArrowheads="1"/>
              </p:cNvSpPr>
              <p:nvPr/>
            </p:nvSpPr>
            <p:spPr bwMode="auto">
              <a:xfrm>
                <a:off x="2900" y="2556"/>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10" name="Line 510"/>
              <p:cNvSpPr>
                <a:spLocks noChangeShapeType="1"/>
              </p:cNvSpPr>
              <p:nvPr/>
            </p:nvSpPr>
            <p:spPr bwMode="auto">
              <a:xfrm>
                <a:off x="2900" y="255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11" name="Freeform 511"/>
              <p:cNvSpPr>
                <a:spLocks/>
              </p:cNvSpPr>
              <p:nvPr/>
            </p:nvSpPr>
            <p:spPr bwMode="auto">
              <a:xfrm>
                <a:off x="2820" y="2556"/>
                <a:ext cx="0" cy="2"/>
              </a:xfrm>
              <a:custGeom>
                <a:avLst/>
                <a:gdLst>
                  <a:gd name="T0" fmla="*/ 2 h 2"/>
                  <a:gd name="T1" fmla="*/ 2 h 2"/>
                  <a:gd name="T2" fmla="*/ 2 h 2"/>
                  <a:gd name="T3" fmla="*/ 2 h 2"/>
                  <a:gd name="T4" fmla="*/ 0 h 2"/>
                  <a:gd name="T5" fmla="*/ 0 h 2"/>
                  <a:gd name="T6" fmla="*/ 2 h 2"/>
                  <a:gd name="T7" fmla="*/ 2 h 2"/>
                  <a:gd name="T8"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2"/>
                    </a:moveTo>
                    <a:lnTo>
                      <a:pt x="0" y="2"/>
                    </a:lnTo>
                    <a:lnTo>
                      <a:pt x="0" y="2"/>
                    </a:lnTo>
                    <a:lnTo>
                      <a:pt x="0" y="2"/>
                    </a:lnTo>
                    <a:lnTo>
                      <a:pt x="0" y="0"/>
                    </a:lnTo>
                    <a:lnTo>
                      <a:pt x="0" y="0"/>
                    </a:lnTo>
                    <a:lnTo>
                      <a:pt x="0" y="2"/>
                    </a:lnTo>
                    <a:lnTo>
                      <a:pt x="0"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12" name="Rectangle 512"/>
              <p:cNvSpPr>
                <a:spLocks noChangeArrowheads="1"/>
              </p:cNvSpPr>
              <p:nvPr/>
            </p:nvSpPr>
            <p:spPr bwMode="auto">
              <a:xfrm>
                <a:off x="2850" y="2558"/>
                <a:ext cx="2"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13" name="Freeform 513"/>
              <p:cNvSpPr>
                <a:spLocks/>
              </p:cNvSpPr>
              <p:nvPr/>
            </p:nvSpPr>
            <p:spPr bwMode="auto">
              <a:xfrm>
                <a:off x="2904" y="2555"/>
                <a:ext cx="14" cy="3"/>
              </a:xfrm>
              <a:custGeom>
                <a:avLst/>
                <a:gdLst>
                  <a:gd name="T0" fmla="*/ 0 w 14"/>
                  <a:gd name="T1" fmla="*/ 3 h 3"/>
                  <a:gd name="T2" fmla="*/ 0 w 14"/>
                  <a:gd name="T3" fmla="*/ 3 h 3"/>
                  <a:gd name="T4" fmla="*/ 9 w 14"/>
                  <a:gd name="T5" fmla="*/ 1 h 3"/>
                  <a:gd name="T6" fmla="*/ 14 w 14"/>
                  <a:gd name="T7" fmla="*/ 0 h 3"/>
                  <a:gd name="T8" fmla="*/ 14 w 14"/>
                  <a:gd name="T9" fmla="*/ 0 h 3"/>
                  <a:gd name="T10" fmla="*/ 9 w 14"/>
                  <a:gd name="T11" fmla="*/ 1 h 3"/>
                  <a:gd name="T12" fmla="*/ 0 w 1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4" h="3">
                    <a:moveTo>
                      <a:pt x="0" y="3"/>
                    </a:moveTo>
                    <a:lnTo>
                      <a:pt x="0" y="3"/>
                    </a:lnTo>
                    <a:lnTo>
                      <a:pt x="9" y="1"/>
                    </a:lnTo>
                    <a:lnTo>
                      <a:pt x="14" y="0"/>
                    </a:lnTo>
                    <a:lnTo>
                      <a:pt x="14" y="0"/>
                    </a:lnTo>
                    <a:lnTo>
                      <a:pt x="9" y="1"/>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14" name="Freeform 514"/>
              <p:cNvSpPr>
                <a:spLocks/>
              </p:cNvSpPr>
              <p:nvPr/>
            </p:nvSpPr>
            <p:spPr bwMode="auto">
              <a:xfrm>
                <a:off x="2904" y="2558"/>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15" name="Freeform 515"/>
              <p:cNvSpPr>
                <a:spLocks/>
              </p:cNvSpPr>
              <p:nvPr/>
            </p:nvSpPr>
            <p:spPr bwMode="auto">
              <a:xfrm>
                <a:off x="2826" y="2556"/>
                <a:ext cx="3" cy="2"/>
              </a:xfrm>
              <a:custGeom>
                <a:avLst/>
                <a:gdLst>
                  <a:gd name="T0" fmla="*/ 0 w 3"/>
                  <a:gd name="T1" fmla="*/ 2 h 2"/>
                  <a:gd name="T2" fmla="*/ 0 w 3"/>
                  <a:gd name="T3" fmla="*/ 2 h 2"/>
                  <a:gd name="T4" fmla="*/ 3 w 3"/>
                  <a:gd name="T5" fmla="*/ 0 h 2"/>
                  <a:gd name="T6" fmla="*/ 3 w 3"/>
                  <a:gd name="T7" fmla="*/ 0 h 2"/>
                  <a:gd name="T8" fmla="*/ 0 w 3"/>
                  <a:gd name="T9" fmla="*/ 2 h 2"/>
                </a:gdLst>
                <a:ahLst/>
                <a:cxnLst>
                  <a:cxn ang="0">
                    <a:pos x="T0" y="T1"/>
                  </a:cxn>
                  <a:cxn ang="0">
                    <a:pos x="T2" y="T3"/>
                  </a:cxn>
                  <a:cxn ang="0">
                    <a:pos x="T4" y="T5"/>
                  </a:cxn>
                  <a:cxn ang="0">
                    <a:pos x="T6" y="T7"/>
                  </a:cxn>
                  <a:cxn ang="0">
                    <a:pos x="T8" y="T9"/>
                  </a:cxn>
                </a:cxnLst>
                <a:rect l="0" t="0" r="r" b="b"/>
                <a:pathLst>
                  <a:path w="3" h="2">
                    <a:moveTo>
                      <a:pt x="0" y="2"/>
                    </a:moveTo>
                    <a:lnTo>
                      <a:pt x="0" y="2"/>
                    </a:lnTo>
                    <a:lnTo>
                      <a:pt x="3" y="0"/>
                    </a:lnTo>
                    <a:lnTo>
                      <a:pt x="3"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16" name="Rectangle 516"/>
              <p:cNvSpPr>
                <a:spLocks noChangeArrowheads="1"/>
              </p:cNvSpPr>
              <p:nvPr/>
            </p:nvSpPr>
            <p:spPr bwMode="auto">
              <a:xfrm>
                <a:off x="2824" y="2558"/>
                <a:ext cx="2"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17" name="Rectangle 517"/>
              <p:cNvSpPr>
                <a:spLocks noChangeArrowheads="1"/>
              </p:cNvSpPr>
              <p:nvPr/>
            </p:nvSpPr>
            <p:spPr bwMode="auto">
              <a:xfrm>
                <a:off x="2824" y="2558"/>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18" name="Line 518"/>
              <p:cNvSpPr>
                <a:spLocks noChangeShapeType="1"/>
              </p:cNvSpPr>
              <p:nvPr/>
            </p:nvSpPr>
            <p:spPr bwMode="auto">
              <a:xfrm>
                <a:off x="2852" y="255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19" name="Freeform 519"/>
              <p:cNvSpPr>
                <a:spLocks/>
              </p:cNvSpPr>
              <p:nvPr/>
            </p:nvSpPr>
            <p:spPr bwMode="auto">
              <a:xfrm>
                <a:off x="2823" y="2558"/>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20" name="Freeform 520"/>
              <p:cNvSpPr>
                <a:spLocks/>
              </p:cNvSpPr>
              <p:nvPr/>
            </p:nvSpPr>
            <p:spPr bwMode="auto">
              <a:xfrm>
                <a:off x="2781" y="2549"/>
                <a:ext cx="23" cy="10"/>
              </a:xfrm>
              <a:custGeom>
                <a:avLst/>
                <a:gdLst>
                  <a:gd name="T0" fmla="*/ 0 w 23"/>
                  <a:gd name="T1" fmla="*/ 10 h 10"/>
                  <a:gd name="T2" fmla="*/ 0 w 23"/>
                  <a:gd name="T3" fmla="*/ 10 h 10"/>
                  <a:gd name="T4" fmla="*/ 0 w 23"/>
                  <a:gd name="T5" fmla="*/ 10 h 10"/>
                  <a:gd name="T6" fmla="*/ 1 w 23"/>
                  <a:gd name="T7" fmla="*/ 7 h 10"/>
                  <a:gd name="T8" fmla="*/ 3 w 23"/>
                  <a:gd name="T9" fmla="*/ 6 h 10"/>
                  <a:gd name="T10" fmla="*/ 10 w 23"/>
                  <a:gd name="T11" fmla="*/ 3 h 10"/>
                  <a:gd name="T12" fmla="*/ 23 w 23"/>
                  <a:gd name="T13" fmla="*/ 0 h 10"/>
                  <a:gd name="T14" fmla="*/ 23 w 23"/>
                  <a:gd name="T15" fmla="*/ 0 h 10"/>
                  <a:gd name="T16" fmla="*/ 10 w 23"/>
                  <a:gd name="T17" fmla="*/ 3 h 10"/>
                  <a:gd name="T18" fmla="*/ 3 w 23"/>
                  <a:gd name="T19" fmla="*/ 6 h 10"/>
                  <a:gd name="T20" fmla="*/ 1 w 23"/>
                  <a:gd name="T21" fmla="*/ 7 h 10"/>
                  <a:gd name="T22" fmla="*/ 0 w 23"/>
                  <a:gd name="T2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10">
                    <a:moveTo>
                      <a:pt x="0" y="10"/>
                    </a:moveTo>
                    <a:lnTo>
                      <a:pt x="0" y="10"/>
                    </a:lnTo>
                    <a:lnTo>
                      <a:pt x="0" y="10"/>
                    </a:lnTo>
                    <a:lnTo>
                      <a:pt x="1" y="7"/>
                    </a:lnTo>
                    <a:lnTo>
                      <a:pt x="3" y="6"/>
                    </a:lnTo>
                    <a:lnTo>
                      <a:pt x="10" y="3"/>
                    </a:lnTo>
                    <a:lnTo>
                      <a:pt x="23" y="0"/>
                    </a:lnTo>
                    <a:lnTo>
                      <a:pt x="23" y="0"/>
                    </a:lnTo>
                    <a:lnTo>
                      <a:pt x="10" y="3"/>
                    </a:lnTo>
                    <a:lnTo>
                      <a:pt x="3" y="6"/>
                    </a:lnTo>
                    <a:lnTo>
                      <a:pt x="1" y="7"/>
                    </a:lnTo>
                    <a:lnTo>
                      <a:pt x="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21" name="Freeform 521"/>
              <p:cNvSpPr>
                <a:spLocks/>
              </p:cNvSpPr>
              <p:nvPr/>
            </p:nvSpPr>
            <p:spPr bwMode="auto">
              <a:xfrm>
                <a:off x="2862" y="2556"/>
                <a:ext cx="19" cy="5"/>
              </a:xfrm>
              <a:custGeom>
                <a:avLst/>
                <a:gdLst>
                  <a:gd name="T0" fmla="*/ 0 w 19"/>
                  <a:gd name="T1" fmla="*/ 5 h 5"/>
                  <a:gd name="T2" fmla="*/ 0 w 19"/>
                  <a:gd name="T3" fmla="*/ 5 h 5"/>
                  <a:gd name="T4" fmla="*/ 11 w 19"/>
                  <a:gd name="T5" fmla="*/ 3 h 5"/>
                  <a:gd name="T6" fmla="*/ 19 w 19"/>
                  <a:gd name="T7" fmla="*/ 0 h 5"/>
                  <a:gd name="T8" fmla="*/ 19 w 19"/>
                  <a:gd name="T9" fmla="*/ 0 h 5"/>
                  <a:gd name="T10" fmla="*/ 11 w 19"/>
                  <a:gd name="T11" fmla="*/ 3 h 5"/>
                  <a:gd name="T12" fmla="*/ 0 w 19"/>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9" h="5">
                    <a:moveTo>
                      <a:pt x="0" y="5"/>
                    </a:moveTo>
                    <a:lnTo>
                      <a:pt x="0" y="5"/>
                    </a:lnTo>
                    <a:lnTo>
                      <a:pt x="11" y="3"/>
                    </a:lnTo>
                    <a:lnTo>
                      <a:pt x="19" y="0"/>
                    </a:lnTo>
                    <a:lnTo>
                      <a:pt x="19" y="0"/>
                    </a:lnTo>
                    <a:lnTo>
                      <a:pt x="11" y="3"/>
                    </a:lnTo>
                    <a:lnTo>
                      <a:pt x="0"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22" name="Freeform 522"/>
              <p:cNvSpPr>
                <a:spLocks/>
              </p:cNvSpPr>
              <p:nvPr/>
            </p:nvSpPr>
            <p:spPr bwMode="auto">
              <a:xfrm>
                <a:off x="2862" y="2561"/>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23" name="Freeform 523"/>
              <p:cNvSpPr>
                <a:spLocks/>
              </p:cNvSpPr>
              <p:nvPr/>
            </p:nvSpPr>
            <p:spPr bwMode="auto">
              <a:xfrm>
                <a:off x="2779" y="2562"/>
                <a:ext cx="2" cy="20"/>
              </a:xfrm>
              <a:custGeom>
                <a:avLst/>
                <a:gdLst>
                  <a:gd name="T0" fmla="*/ 2 w 2"/>
                  <a:gd name="T1" fmla="*/ 20 h 20"/>
                  <a:gd name="T2" fmla="*/ 2 w 2"/>
                  <a:gd name="T3" fmla="*/ 20 h 20"/>
                  <a:gd name="T4" fmla="*/ 2 w 2"/>
                  <a:gd name="T5" fmla="*/ 20 h 20"/>
                  <a:gd name="T6" fmla="*/ 0 w 2"/>
                  <a:gd name="T7" fmla="*/ 9 h 20"/>
                  <a:gd name="T8" fmla="*/ 2 w 2"/>
                  <a:gd name="T9" fmla="*/ 0 h 20"/>
                  <a:gd name="T10" fmla="*/ 2 w 2"/>
                  <a:gd name="T11" fmla="*/ 0 h 20"/>
                  <a:gd name="T12" fmla="*/ 0 w 2"/>
                  <a:gd name="T13" fmla="*/ 9 h 20"/>
                  <a:gd name="T14" fmla="*/ 2 w 2"/>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0">
                    <a:moveTo>
                      <a:pt x="2" y="20"/>
                    </a:moveTo>
                    <a:lnTo>
                      <a:pt x="2" y="20"/>
                    </a:lnTo>
                    <a:lnTo>
                      <a:pt x="2" y="20"/>
                    </a:lnTo>
                    <a:lnTo>
                      <a:pt x="0" y="9"/>
                    </a:lnTo>
                    <a:lnTo>
                      <a:pt x="2" y="0"/>
                    </a:lnTo>
                    <a:lnTo>
                      <a:pt x="2" y="0"/>
                    </a:lnTo>
                    <a:lnTo>
                      <a:pt x="0" y="9"/>
                    </a:lnTo>
                    <a:lnTo>
                      <a:pt x="2"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24" name="Freeform 524"/>
              <p:cNvSpPr>
                <a:spLocks noEditPoints="1"/>
              </p:cNvSpPr>
              <p:nvPr/>
            </p:nvSpPr>
            <p:spPr bwMode="auto">
              <a:xfrm>
                <a:off x="2758" y="2574"/>
                <a:ext cx="13" cy="4"/>
              </a:xfrm>
              <a:custGeom>
                <a:avLst/>
                <a:gdLst>
                  <a:gd name="T0" fmla="*/ 7 w 13"/>
                  <a:gd name="T1" fmla="*/ 0 h 4"/>
                  <a:gd name="T2" fmla="*/ 7 w 13"/>
                  <a:gd name="T3" fmla="*/ 0 h 4"/>
                  <a:gd name="T4" fmla="*/ 7 w 13"/>
                  <a:gd name="T5" fmla="*/ 0 h 4"/>
                  <a:gd name="T6" fmla="*/ 1 w 13"/>
                  <a:gd name="T7" fmla="*/ 1 h 4"/>
                  <a:gd name="T8" fmla="*/ 1 w 13"/>
                  <a:gd name="T9" fmla="*/ 1 h 4"/>
                  <a:gd name="T10" fmla="*/ 4 w 13"/>
                  <a:gd name="T11" fmla="*/ 0 h 4"/>
                  <a:gd name="T12" fmla="*/ 7 w 13"/>
                  <a:gd name="T13" fmla="*/ 0 h 4"/>
                  <a:gd name="T14" fmla="*/ 7 w 13"/>
                  <a:gd name="T15" fmla="*/ 0 h 4"/>
                  <a:gd name="T16" fmla="*/ 4 w 13"/>
                  <a:gd name="T17" fmla="*/ 0 h 4"/>
                  <a:gd name="T18" fmla="*/ 1 w 13"/>
                  <a:gd name="T19" fmla="*/ 1 h 4"/>
                  <a:gd name="T20" fmla="*/ 1 w 13"/>
                  <a:gd name="T21" fmla="*/ 1 h 4"/>
                  <a:gd name="T22" fmla="*/ 1 w 13"/>
                  <a:gd name="T23" fmla="*/ 1 h 4"/>
                  <a:gd name="T24" fmla="*/ 13 w 13"/>
                  <a:gd name="T25" fmla="*/ 4 h 4"/>
                  <a:gd name="T26" fmla="*/ 13 w 13"/>
                  <a:gd name="T27" fmla="*/ 4 h 4"/>
                  <a:gd name="T28" fmla="*/ 13 w 13"/>
                  <a:gd name="T29" fmla="*/ 3 h 4"/>
                  <a:gd name="T30" fmla="*/ 13 w 13"/>
                  <a:gd name="T31" fmla="*/ 3 h 4"/>
                  <a:gd name="T32" fmla="*/ 13 w 13"/>
                  <a:gd name="T33" fmla="*/ 4 h 4"/>
                  <a:gd name="T34" fmla="*/ 0 w 13"/>
                  <a:gd name="T35" fmla="*/ 4 h 4"/>
                  <a:gd name="T36" fmla="*/ 0 w 13"/>
                  <a:gd name="T37" fmla="*/ 4 h 4"/>
                  <a:gd name="T38" fmla="*/ 0 w 13"/>
                  <a:gd name="T39" fmla="*/ 4 h 4"/>
                  <a:gd name="T40" fmla="*/ 1 w 13"/>
                  <a:gd name="T41" fmla="*/ 3 h 4"/>
                  <a:gd name="T42" fmla="*/ 1 w 13"/>
                  <a:gd name="T43" fmla="*/ 3 h 4"/>
                  <a:gd name="T44" fmla="*/ 0 w 13"/>
                  <a:gd name="T4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 h="4">
                    <a:moveTo>
                      <a:pt x="7" y="0"/>
                    </a:moveTo>
                    <a:lnTo>
                      <a:pt x="7" y="0"/>
                    </a:lnTo>
                    <a:lnTo>
                      <a:pt x="7" y="0"/>
                    </a:lnTo>
                    <a:close/>
                    <a:moveTo>
                      <a:pt x="1" y="1"/>
                    </a:moveTo>
                    <a:lnTo>
                      <a:pt x="1" y="1"/>
                    </a:lnTo>
                    <a:lnTo>
                      <a:pt x="4" y="0"/>
                    </a:lnTo>
                    <a:lnTo>
                      <a:pt x="7" y="0"/>
                    </a:lnTo>
                    <a:lnTo>
                      <a:pt x="7" y="0"/>
                    </a:lnTo>
                    <a:lnTo>
                      <a:pt x="4" y="0"/>
                    </a:lnTo>
                    <a:lnTo>
                      <a:pt x="1" y="1"/>
                    </a:lnTo>
                    <a:close/>
                    <a:moveTo>
                      <a:pt x="1" y="1"/>
                    </a:moveTo>
                    <a:lnTo>
                      <a:pt x="1" y="1"/>
                    </a:lnTo>
                    <a:close/>
                    <a:moveTo>
                      <a:pt x="13" y="4"/>
                    </a:moveTo>
                    <a:lnTo>
                      <a:pt x="13" y="4"/>
                    </a:lnTo>
                    <a:lnTo>
                      <a:pt x="13" y="3"/>
                    </a:lnTo>
                    <a:lnTo>
                      <a:pt x="13" y="3"/>
                    </a:lnTo>
                    <a:lnTo>
                      <a:pt x="13" y="4"/>
                    </a:lnTo>
                    <a:close/>
                    <a:moveTo>
                      <a:pt x="0" y="4"/>
                    </a:moveTo>
                    <a:lnTo>
                      <a:pt x="0" y="4"/>
                    </a:lnTo>
                    <a:lnTo>
                      <a:pt x="0" y="4"/>
                    </a:lnTo>
                    <a:lnTo>
                      <a:pt x="1" y="3"/>
                    </a:lnTo>
                    <a:lnTo>
                      <a:pt x="1" y="3"/>
                    </a:lnTo>
                    <a:lnTo>
                      <a:pt x="0" y="4"/>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25" name="Freeform 525"/>
              <p:cNvSpPr>
                <a:spLocks/>
              </p:cNvSpPr>
              <p:nvPr/>
            </p:nvSpPr>
            <p:spPr bwMode="auto">
              <a:xfrm>
                <a:off x="2765" y="257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26" name="Freeform 526"/>
              <p:cNvSpPr>
                <a:spLocks/>
              </p:cNvSpPr>
              <p:nvPr/>
            </p:nvSpPr>
            <p:spPr bwMode="auto">
              <a:xfrm>
                <a:off x="2759" y="2574"/>
                <a:ext cx="6" cy="1"/>
              </a:xfrm>
              <a:custGeom>
                <a:avLst/>
                <a:gdLst>
                  <a:gd name="T0" fmla="*/ 0 w 6"/>
                  <a:gd name="T1" fmla="*/ 1 h 1"/>
                  <a:gd name="T2" fmla="*/ 0 w 6"/>
                  <a:gd name="T3" fmla="*/ 1 h 1"/>
                  <a:gd name="T4" fmla="*/ 3 w 6"/>
                  <a:gd name="T5" fmla="*/ 0 h 1"/>
                  <a:gd name="T6" fmla="*/ 6 w 6"/>
                  <a:gd name="T7" fmla="*/ 0 h 1"/>
                  <a:gd name="T8" fmla="*/ 6 w 6"/>
                  <a:gd name="T9" fmla="*/ 0 h 1"/>
                  <a:gd name="T10" fmla="*/ 3 w 6"/>
                  <a:gd name="T11" fmla="*/ 0 h 1"/>
                  <a:gd name="T12" fmla="*/ 0 w 6"/>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6" h="1">
                    <a:moveTo>
                      <a:pt x="0" y="1"/>
                    </a:moveTo>
                    <a:lnTo>
                      <a:pt x="0" y="1"/>
                    </a:lnTo>
                    <a:lnTo>
                      <a:pt x="3" y="0"/>
                    </a:lnTo>
                    <a:lnTo>
                      <a:pt x="6" y="0"/>
                    </a:lnTo>
                    <a:lnTo>
                      <a:pt x="6" y="0"/>
                    </a:lnTo>
                    <a:lnTo>
                      <a:pt x="3" y="0"/>
                    </a:lnTo>
                    <a:lnTo>
                      <a:pt x="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27" name="Line 527"/>
              <p:cNvSpPr>
                <a:spLocks noChangeShapeType="1"/>
              </p:cNvSpPr>
              <p:nvPr/>
            </p:nvSpPr>
            <p:spPr bwMode="auto">
              <a:xfrm>
                <a:off x="2759" y="257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28" name="Rectangle 528"/>
              <p:cNvSpPr>
                <a:spLocks noChangeArrowheads="1"/>
              </p:cNvSpPr>
              <p:nvPr/>
            </p:nvSpPr>
            <p:spPr bwMode="auto">
              <a:xfrm>
                <a:off x="2771" y="2577"/>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29" name="Freeform 529"/>
              <p:cNvSpPr>
                <a:spLocks/>
              </p:cNvSpPr>
              <p:nvPr/>
            </p:nvSpPr>
            <p:spPr bwMode="auto">
              <a:xfrm>
                <a:off x="2758" y="2577"/>
                <a:ext cx="1" cy="1"/>
              </a:xfrm>
              <a:custGeom>
                <a:avLst/>
                <a:gdLst>
                  <a:gd name="T0" fmla="*/ 0 w 1"/>
                  <a:gd name="T1" fmla="*/ 1 h 1"/>
                  <a:gd name="T2" fmla="*/ 0 w 1"/>
                  <a:gd name="T3" fmla="*/ 1 h 1"/>
                  <a:gd name="T4" fmla="*/ 0 w 1"/>
                  <a:gd name="T5" fmla="*/ 1 h 1"/>
                  <a:gd name="T6" fmla="*/ 1 w 1"/>
                  <a:gd name="T7" fmla="*/ 0 h 1"/>
                  <a:gd name="T8" fmla="*/ 1 w 1"/>
                  <a:gd name="T9" fmla="*/ 0 h 1"/>
                  <a:gd name="T10" fmla="*/ 0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0" y="1"/>
                    </a:moveTo>
                    <a:lnTo>
                      <a:pt x="0" y="1"/>
                    </a:lnTo>
                    <a:lnTo>
                      <a:pt x="0" y="1"/>
                    </a:lnTo>
                    <a:lnTo>
                      <a:pt x="1" y="0"/>
                    </a:lnTo>
                    <a:lnTo>
                      <a:pt x="1" y="0"/>
                    </a:lnTo>
                    <a:lnTo>
                      <a:pt x="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30" name="Freeform 530"/>
              <p:cNvSpPr>
                <a:spLocks/>
              </p:cNvSpPr>
              <p:nvPr/>
            </p:nvSpPr>
            <p:spPr bwMode="auto">
              <a:xfrm>
                <a:off x="2627" y="2520"/>
                <a:ext cx="131" cy="91"/>
              </a:xfrm>
              <a:custGeom>
                <a:avLst/>
                <a:gdLst>
                  <a:gd name="T0" fmla="*/ 50 w 131"/>
                  <a:gd name="T1" fmla="*/ 91 h 91"/>
                  <a:gd name="T2" fmla="*/ 22 w 131"/>
                  <a:gd name="T3" fmla="*/ 88 h 91"/>
                  <a:gd name="T4" fmla="*/ 18 w 131"/>
                  <a:gd name="T5" fmla="*/ 87 h 91"/>
                  <a:gd name="T6" fmla="*/ 16 w 131"/>
                  <a:gd name="T7" fmla="*/ 86 h 91"/>
                  <a:gd name="T8" fmla="*/ 6 w 131"/>
                  <a:gd name="T9" fmla="*/ 78 h 91"/>
                  <a:gd name="T10" fmla="*/ 0 w 131"/>
                  <a:gd name="T11" fmla="*/ 72 h 91"/>
                  <a:gd name="T12" fmla="*/ 0 w 131"/>
                  <a:gd name="T13" fmla="*/ 67 h 91"/>
                  <a:gd name="T14" fmla="*/ 0 w 131"/>
                  <a:gd name="T15" fmla="*/ 67 h 91"/>
                  <a:gd name="T16" fmla="*/ 0 w 131"/>
                  <a:gd name="T17" fmla="*/ 67 h 91"/>
                  <a:gd name="T18" fmla="*/ 0 w 131"/>
                  <a:gd name="T19" fmla="*/ 67 h 91"/>
                  <a:gd name="T20" fmla="*/ 0 w 131"/>
                  <a:gd name="T21" fmla="*/ 67 h 91"/>
                  <a:gd name="T22" fmla="*/ 0 w 131"/>
                  <a:gd name="T23" fmla="*/ 67 h 91"/>
                  <a:gd name="T24" fmla="*/ 0 w 131"/>
                  <a:gd name="T25" fmla="*/ 67 h 91"/>
                  <a:gd name="T26" fmla="*/ 0 w 131"/>
                  <a:gd name="T27" fmla="*/ 67 h 91"/>
                  <a:gd name="T28" fmla="*/ 0 w 131"/>
                  <a:gd name="T29" fmla="*/ 65 h 91"/>
                  <a:gd name="T30" fmla="*/ 0 w 131"/>
                  <a:gd name="T31" fmla="*/ 65 h 91"/>
                  <a:gd name="T32" fmla="*/ 10 w 131"/>
                  <a:gd name="T33" fmla="*/ 59 h 91"/>
                  <a:gd name="T34" fmla="*/ 18 w 131"/>
                  <a:gd name="T35" fmla="*/ 51 h 91"/>
                  <a:gd name="T36" fmla="*/ 25 w 131"/>
                  <a:gd name="T37" fmla="*/ 41 h 91"/>
                  <a:gd name="T38" fmla="*/ 35 w 131"/>
                  <a:gd name="T39" fmla="*/ 33 h 91"/>
                  <a:gd name="T40" fmla="*/ 42 w 131"/>
                  <a:gd name="T41" fmla="*/ 29 h 91"/>
                  <a:gd name="T42" fmla="*/ 60 w 131"/>
                  <a:gd name="T43" fmla="*/ 16 h 91"/>
                  <a:gd name="T44" fmla="*/ 60 w 131"/>
                  <a:gd name="T45" fmla="*/ 16 h 91"/>
                  <a:gd name="T46" fmla="*/ 60 w 131"/>
                  <a:gd name="T47" fmla="*/ 16 h 91"/>
                  <a:gd name="T48" fmla="*/ 60 w 131"/>
                  <a:gd name="T49" fmla="*/ 16 h 91"/>
                  <a:gd name="T50" fmla="*/ 60 w 131"/>
                  <a:gd name="T51" fmla="*/ 16 h 91"/>
                  <a:gd name="T52" fmla="*/ 60 w 131"/>
                  <a:gd name="T53" fmla="*/ 15 h 91"/>
                  <a:gd name="T54" fmla="*/ 61 w 131"/>
                  <a:gd name="T55" fmla="*/ 15 h 91"/>
                  <a:gd name="T56" fmla="*/ 61 w 131"/>
                  <a:gd name="T57" fmla="*/ 15 h 91"/>
                  <a:gd name="T58" fmla="*/ 61 w 131"/>
                  <a:gd name="T59" fmla="*/ 15 h 91"/>
                  <a:gd name="T60" fmla="*/ 76 w 131"/>
                  <a:gd name="T61" fmla="*/ 1 h 91"/>
                  <a:gd name="T62" fmla="*/ 83 w 131"/>
                  <a:gd name="T63" fmla="*/ 0 h 91"/>
                  <a:gd name="T64" fmla="*/ 83 w 131"/>
                  <a:gd name="T65" fmla="*/ 0 h 91"/>
                  <a:gd name="T66" fmla="*/ 87 w 131"/>
                  <a:gd name="T67" fmla="*/ 0 h 91"/>
                  <a:gd name="T68" fmla="*/ 89 w 131"/>
                  <a:gd name="T69" fmla="*/ 1 h 91"/>
                  <a:gd name="T70" fmla="*/ 96 w 131"/>
                  <a:gd name="T71" fmla="*/ 19 h 91"/>
                  <a:gd name="T72" fmla="*/ 107 w 131"/>
                  <a:gd name="T73" fmla="*/ 32 h 91"/>
                  <a:gd name="T74" fmla="*/ 115 w 131"/>
                  <a:gd name="T75" fmla="*/ 36 h 91"/>
                  <a:gd name="T76" fmla="*/ 122 w 131"/>
                  <a:gd name="T77" fmla="*/ 41 h 91"/>
                  <a:gd name="T78" fmla="*/ 125 w 131"/>
                  <a:gd name="T79" fmla="*/ 45 h 91"/>
                  <a:gd name="T80" fmla="*/ 131 w 131"/>
                  <a:gd name="T81" fmla="*/ 58 h 91"/>
                  <a:gd name="T82" fmla="*/ 128 w 131"/>
                  <a:gd name="T83" fmla="*/ 64 h 91"/>
                  <a:gd name="T84" fmla="*/ 122 w 131"/>
                  <a:gd name="T85" fmla="*/ 68 h 91"/>
                  <a:gd name="T86" fmla="*/ 120 w 131"/>
                  <a:gd name="T87" fmla="*/ 68 h 91"/>
                  <a:gd name="T88" fmla="*/ 120 w 131"/>
                  <a:gd name="T89" fmla="*/ 68 h 91"/>
                  <a:gd name="T90" fmla="*/ 120 w 131"/>
                  <a:gd name="T91" fmla="*/ 68 h 91"/>
                  <a:gd name="T92" fmla="*/ 120 w 131"/>
                  <a:gd name="T93" fmla="*/ 68 h 91"/>
                  <a:gd name="T94" fmla="*/ 120 w 131"/>
                  <a:gd name="T95" fmla="*/ 68 h 91"/>
                  <a:gd name="T96" fmla="*/ 110 w 131"/>
                  <a:gd name="T97" fmla="*/ 67 h 91"/>
                  <a:gd name="T98" fmla="*/ 105 w 131"/>
                  <a:gd name="T99" fmla="*/ 68 h 91"/>
                  <a:gd name="T100" fmla="*/ 93 w 131"/>
                  <a:gd name="T101" fmla="*/ 74 h 91"/>
                  <a:gd name="T102" fmla="*/ 93 w 131"/>
                  <a:gd name="T103" fmla="*/ 74 h 91"/>
                  <a:gd name="T104" fmla="*/ 86 w 131"/>
                  <a:gd name="T105" fmla="*/ 75 h 91"/>
                  <a:gd name="T106" fmla="*/ 67 w 131"/>
                  <a:gd name="T107" fmla="*/ 75 h 91"/>
                  <a:gd name="T108" fmla="*/ 60 w 131"/>
                  <a:gd name="T109" fmla="*/ 75 h 91"/>
                  <a:gd name="T110" fmla="*/ 54 w 131"/>
                  <a:gd name="T111" fmla="*/ 77 h 91"/>
                  <a:gd name="T112" fmla="*/ 50 w 131"/>
                  <a:gd name="T113" fmla="*/ 83 h 91"/>
                  <a:gd name="T114" fmla="*/ 50 w 131"/>
                  <a:gd name="T115"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1" h="91">
                    <a:moveTo>
                      <a:pt x="50" y="91"/>
                    </a:moveTo>
                    <a:lnTo>
                      <a:pt x="50" y="91"/>
                    </a:lnTo>
                    <a:lnTo>
                      <a:pt x="31" y="90"/>
                    </a:lnTo>
                    <a:lnTo>
                      <a:pt x="22" y="88"/>
                    </a:lnTo>
                    <a:lnTo>
                      <a:pt x="18" y="87"/>
                    </a:lnTo>
                    <a:lnTo>
                      <a:pt x="18" y="87"/>
                    </a:lnTo>
                    <a:lnTo>
                      <a:pt x="16" y="86"/>
                    </a:lnTo>
                    <a:lnTo>
                      <a:pt x="16" y="86"/>
                    </a:lnTo>
                    <a:lnTo>
                      <a:pt x="6" y="78"/>
                    </a:lnTo>
                    <a:lnTo>
                      <a:pt x="6" y="78"/>
                    </a:lnTo>
                    <a:lnTo>
                      <a:pt x="6" y="78"/>
                    </a:lnTo>
                    <a:lnTo>
                      <a:pt x="0" y="72"/>
                    </a:lnTo>
                    <a:lnTo>
                      <a:pt x="0" y="70"/>
                    </a:lnTo>
                    <a:lnTo>
                      <a:pt x="0" y="67"/>
                    </a:lnTo>
                    <a:lnTo>
                      <a:pt x="0" y="67"/>
                    </a:lnTo>
                    <a:lnTo>
                      <a:pt x="0" y="67"/>
                    </a:lnTo>
                    <a:lnTo>
                      <a:pt x="0" y="67"/>
                    </a:lnTo>
                    <a:lnTo>
                      <a:pt x="0" y="67"/>
                    </a:lnTo>
                    <a:lnTo>
                      <a:pt x="0" y="67"/>
                    </a:lnTo>
                    <a:lnTo>
                      <a:pt x="0" y="67"/>
                    </a:lnTo>
                    <a:lnTo>
                      <a:pt x="0" y="67"/>
                    </a:lnTo>
                    <a:lnTo>
                      <a:pt x="0" y="67"/>
                    </a:lnTo>
                    <a:lnTo>
                      <a:pt x="0" y="67"/>
                    </a:lnTo>
                    <a:lnTo>
                      <a:pt x="0" y="67"/>
                    </a:lnTo>
                    <a:lnTo>
                      <a:pt x="0" y="67"/>
                    </a:lnTo>
                    <a:lnTo>
                      <a:pt x="0" y="67"/>
                    </a:lnTo>
                    <a:lnTo>
                      <a:pt x="0" y="67"/>
                    </a:lnTo>
                    <a:lnTo>
                      <a:pt x="0" y="67"/>
                    </a:lnTo>
                    <a:lnTo>
                      <a:pt x="0" y="67"/>
                    </a:lnTo>
                    <a:lnTo>
                      <a:pt x="0" y="65"/>
                    </a:lnTo>
                    <a:lnTo>
                      <a:pt x="0" y="65"/>
                    </a:lnTo>
                    <a:lnTo>
                      <a:pt x="0" y="65"/>
                    </a:lnTo>
                    <a:lnTo>
                      <a:pt x="0" y="65"/>
                    </a:lnTo>
                    <a:lnTo>
                      <a:pt x="10" y="59"/>
                    </a:lnTo>
                    <a:lnTo>
                      <a:pt x="15" y="57"/>
                    </a:lnTo>
                    <a:lnTo>
                      <a:pt x="18" y="51"/>
                    </a:lnTo>
                    <a:lnTo>
                      <a:pt x="18" y="51"/>
                    </a:lnTo>
                    <a:lnTo>
                      <a:pt x="25" y="41"/>
                    </a:lnTo>
                    <a:lnTo>
                      <a:pt x="29" y="36"/>
                    </a:lnTo>
                    <a:lnTo>
                      <a:pt x="35" y="33"/>
                    </a:lnTo>
                    <a:lnTo>
                      <a:pt x="35" y="33"/>
                    </a:lnTo>
                    <a:lnTo>
                      <a:pt x="42" y="29"/>
                    </a:lnTo>
                    <a:lnTo>
                      <a:pt x="48" y="25"/>
                    </a:lnTo>
                    <a:lnTo>
                      <a:pt x="60" y="16"/>
                    </a:lnTo>
                    <a:lnTo>
                      <a:pt x="60" y="16"/>
                    </a:lnTo>
                    <a:lnTo>
                      <a:pt x="60" y="16"/>
                    </a:lnTo>
                    <a:lnTo>
                      <a:pt x="60" y="16"/>
                    </a:lnTo>
                    <a:lnTo>
                      <a:pt x="60" y="16"/>
                    </a:lnTo>
                    <a:lnTo>
                      <a:pt x="60" y="16"/>
                    </a:lnTo>
                    <a:lnTo>
                      <a:pt x="60" y="16"/>
                    </a:lnTo>
                    <a:lnTo>
                      <a:pt x="60" y="16"/>
                    </a:lnTo>
                    <a:lnTo>
                      <a:pt x="60" y="16"/>
                    </a:lnTo>
                    <a:lnTo>
                      <a:pt x="60" y="15"/>
                    </a:lnTo>
                    <a:lnTo>
                      <a:pt x="60" y="15"/>
                    </a:lnTo>
                    <a:lnTo>
                      <a:pt x="61" y="15"/>
                    </a:lnTo>
                    <a:lnTo>
                      <a:pt x="61" y="15"/>
                    </a:lnTo>
                    <a:lnTo>
                      <a:pt x="61" y="15"/>
                    </a:lnTo>
                    <a:lnTo>
                      <a:pt x="61" y="15"/>
                    </a:lnTo>
                    <a:lnTo>
                      <a:pt x="61" y="15"/>
                    </a:lnTo>
                    <a:lnTo>
                      <a:pt x="61" y="15"/>
                    </a:lnTo>
                    <a:lnTo>
                      <a:pt x="70" y="6"/>
                    </a:lnTo>
                    <a:lnTo>
                      <a:pt x="76" y="1"/>
                    </a:lnTo>
                    <a:lnTo>
                      <a:pt x="83" y="0"/>
                    </a:lnTo>
                    <a:lnTo>
                      <a:pt x="83" y="0"/>
                    </a:lnTo>
                    <a:lnTo>
                      <a:pt x="83" y="0"/>
                    </a:lnTo>
                    <a:lnTo>
                      <a:pt x="83" y="0"/>
                    </a:lnTo>
                    <a:lnTo>
                      <a:pt x="87" y="0"/>
                    </a:lnTo>
                    <a:lnTo>
                      <a:pt x="87" y="0"/>
                    </a:lnTo>
                    <a:lnTo>
                      <a:pt x="89" y="1"/>
                    </a:lnTo>
                    <a:lnTo>
                      <a:pt x="89" y="1"/>
                    </a:lnTo>
                    <a:lnTo>
                      <a:pt x="92" y="10"/>
                    </a:lnTo>
                    <a:lnTo>
                      <a:pt x="96" y="19"/>
                    </a:lnTo>
                    <a:lnTo>
                      <a:pt x="102" y="26"/>
                    </a:lnTo>
                    <a:lnTo>
                      <a:pt x="107" y="32"/>
                    </a:lnTo>
                    <a:lnTo>
                      <a:pt x="107" y="32"/>
                    </a:lnTo>
                    <a:lnTo>
                      <a:pt x="115" y="36"/>
                    </a:lnTo>
                    <a:lnTo>
                      <a:pt x="119" y="38"/>
                    </a:lnTo>
                    <a:lnTo>
                      <a:pt x="122" y="41"/>
                    </a:lnTo>
                    <a:lnTo>
                      <a:pt x="125" y="45"/>
                    </a:lnTo>
                    <a:lnTo>
                      <a:pt x="125" y="45"/>
                    </a:lnTo>
                    <a:lnTo>
                      <a:pt x="126" y="52"/>
                    </a:lnTo>
                    <a:lnTo>
                      <a:pt x="131" y="58"/>
                    </a:lnTo>
                    <a:lnTo>
                      <a:pt x="131" y="58"/>
                    </a:lnTo>
                    <a:lnTo>
                      <a:pt x="128" y="64"/>
                    </a:lnTo>
                    <a:lnTo>
                      <a:pt x="125" y="67"/>
                    </a:lnTo>
                    <a:lnTo>
                      <a:pt x="122" y="68"/>
                    </a:lnTo>
                    <a:lnTo>
                      <a:pt x="122" y="68"/>
                    </a:lnTo>
                    <a:lnTo>
                      <a:pt x="120" y="68"/>
                    </a:lnTo>
                    <a:lnTo>
                      <a:pt x="120" y="68"/>
                    </a:lnTo>
                    <a:lnTo>
                      <a:pt x="120" y="68"/>
                    </a:lnTo>
                    <a:lnTo>
                      <a:pt x="120" y="68"/>
                    </a:lnTo>
                    <a:lnTo>
                      <a:pt x="120" y="68"/>
                    </a:lnTo>
                    <a:lnTo>
                      <a:pt x="120" y="68"/>
                    </a:lnTo>
                    <a:lnTo>
                      <a:pt x="120" y="68"/>
                    </a:lnTo>
                    <a:lnTo>
                      <a:pt x="120" y="68"/>
                    </a:lnTo>
                    <a:lnTo>
                      <a:pt x="120" y="68"/>
                    </a:lnTo>
                    <a:lnTo>
                      <a:pt x="120" y="68"/>
                    </a:lnTo>
                    <a:lnTo>
                      <a:pt x="110" y="67"/>
                    </a:lnTo>
                    <a:lnTo>
                      <a:pt x="110" y="67"/>
                    </a:lnTo>
                    <a:lnTo>
                      <a:pt x="105" y="68"/>
                    </a:lnTo>
                    <a:lnTo>
                      <a:pt x="105" y="68"/>
                    </a:lnTo>
                    <a:lnTo>
                      <a:pt x="93" y="74"/>
                    </a:lnTo>
                    <a:lnTo>
                      <a:pt x="93" y="74"/>
                    </a:lnTo>
                    <a:lnTo>
                      <a:pt x="93" y="74"/>
                    </a:lnTo>
                    <a:lnTo>
                      <a:pt x="93" y="74"/>
                    </a:lnTo>
                    <a:lnTo>
                      <a:pt x="86" y="75"/>
                    </a:lnTo>
                    <a:lnTo>
                      <a:pt x="86" y="75"/>
                    </a:lnTo>
                    <a:lnTo>
                      <a:pt x="67" y="75"/>
                    </a:lnTo>
                    <a:lnTo>
                      <a:pt x="67" y="75"/>
                    </a:lnTo>
                    <a:lnTo>
                      <a:pt x="60" y="75"/>
                    </a:lnTo>
                    <a:lnTo>
                      <a:pt x="54" y="77"/>
                    </a:lnTo>
                    <a:lnTo>
                      <a:pt x="54" y="77"/>
                    </a:lnTo>
                    <a:lnTo>
                      <a:pt x="51" y="80"/>
                    </a:lnTo>
                    <a:lnTo>
                      <a:pt x="50" y="83"/>
                    </a:lnTo>
                    <a:lnTo>
                      <a:pt x="48" y="87"/>
                    </a:lnTo>
                    <a:lnTo>
                      <a:pt x="50" y="91"/>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31" name="Freeform 531"/>
              <p:cNvSpPr>
                <a:spLocks/>
              </p:cNvSpPr>
              <p:nvPr/>
            </p:nvSpPr>
            <p:spPr bwMode="auto">
              <a:xfrm>
                <a:off x="2627" y="2520"/>
                <a:ext cx="131" cy="91"/>
              </a:xfrm>
              <a:custGeom>
                <a:avLst/>
                <a:gdLst>
                  <a:gd name="T0" fmla="*/ 50 w 131"/>
                  <a:gd name="T1" fmla="*/ 91 h 91"/>
                  <a:gd name="T2" fmla="*/ 22 w 131"/>
                  <a:gd name="T3" fmla="*/ 88 h 91"/>
                  <a:gd name="T4" fmla="*/ 18 w 131"/>
                  <a:gd name="T5" fmla="*/ 87 h 91"/>
                  <a:gd name="T6" fmla="*/ 16 w 131"/>
                  <a:gd name="T7" fmla="*/ 86 h 91"/>
                  <a:gd name="T8" fmla="*/ 6 w 131"/>
                  <a:gd name="T9" fmla="*/ 78 h 91"/>
                  <a:gd name="T10" fmla="*/ 0 w 131"/>
                  <a:gd name="T11" fmla="*/ 72 h 91"/>
                  <a:gd name="T12" fmla="*/ 0 w 131"/>
                  <a:gd name="T13" fmla="*/ 67 h 91"/>
                  <a:gd name="T14" fmla="*/ 0 w 131"/>
                  <a:gd name="T15" fmla="*/ 67 h 91"/>
                  <a:gd name="T16" fmla="*/ 0 w 131"/>
                  <a:gd name="T17" fmla="*/ 67 h 91"/>
                  <a:gd name="T18" fmla="*/ 0 w 131"/>
                  <a:gd name="T19" fmla="*/ 67 h 91"/>
                  <a:gd name="T20" fmla="*/ 0 w 131"/>
                  <a:gd name="T21" fmla="*/ 67 h 91"/>
                  <a:gd name="T22" fmla="*/ 0 w 131"/>
                  <a:gd name="T23" fmla="*/ 67 h 91"/>
                  <a:gd name="T24" fmla="*/ 0 w 131"/>
                  <a:gd name="T25" fmla="*/ 67 h 91"/>
                  <a:gd name="T26" fmla="*/ 0 w 131"/>
                  <a:gd name="T27" fmla="*/ 67 h 91"/>
                  <a:gd name="T28" fmla="*/ 0 w 131"/>
                  <a:gd name="T29" fmla="*/ 65 h 91"/>
                  <a:gd name="T30" fmla="*/ 0 w 131"/>
                  <a:gd name="T31" fmla="*/ 65 h 91"/>
                  <a:gd name="T32" fmla="*/ 10 w 131"/>
                  <a:gd name="T33" fmla="*/ 59 h 91"/>
                  <a:gd name="T34" fmla="*/ 18 w 131"/>
                  <a:gd name="T35" fmla="*/ 51 h 91"/>
                  <a:gd name="T36" fmla="*/ 25 w 131"/>
                  <a:gd name="T37" fmla="*/ 41 h 91"/>
                  <a:gd name="T38" fmla="*/ 35 w 131"/>
                  <a:gd name="T39" fmla="*/ 33 h 91"/>
                  <a:gd name="T40" fmla="*/ 42 w 131"/>
                  <a:gd name="T41" fmla="*/ 29 h 91"/>
                  <a:gd name="T42" fmla="*/ 60 w 131"/>
                  <a:gd name="T43" fmla="*/ 16 h 91"/>
                  <a:gd name="T44" fmla="*/ 60 w 131"/>
                  <a:gd name="T45" fmla="*/ 16 h 91"/>
                  <a:gd name="T46" fmla="*/ 60 w 131"/>
                  <a:gd name="T47" fmla="*/ 16 h 91"/>
                  <a:gd name="T48" fmla="*/ 60 w 131"/>
                  <a:gd name="T49" fmla="*/ 16 h 91"/>
                  <a:gd name="T50" fmla="*/ 60 w 131"/>
                  <a:gd name="T51" fmla="*/ 16 h 91"/>
                  <a:gd name="T52" fmla="*/ 60 w 131"/>
                  <a:gd name="T53" fmla="*/ 15 h 91"/>
                  <a:gd name="T54" fmla="*/ 61 w 131"/>
                  <a:gd name="T55" fmla="*/ 15 h 91"/>
                  <a:gd name="T56" fmla="*/ 61 w 131"/>
                  <a:gd name="T57" fmla="*/ 15 h 91"/>
                  <a:gd name="T58" fmla="*/ 61 w 131"/>
                  <a:gd name="T59" fmla="*/ 15 h 91"/>
                  <a:gd name="T60" fmla="*/ 76 w 131"/>
                  <a:gd name="T61" fmla="*/ 1 h 91"/>
                  <a:gd name="T62" fmla="*/ 83 w 131"/>
                  <a:gd name="T63" fmla="*/ 0 h 91"/>
                  <a:gd name="T64" fmla="*/ 83 w 131"/>
                  <a:gd name="T65" fmla="*/ 0 h 91"/>
                  <a:gd name="T66" fmla="*/ 87 w 131"/>
                  <a:gd name="T67" fmla="*/ 0 h 91"/>
                  <a:gd name="T68" fmla="*/ 89 w 131"/>
                  <a:gd name="T69" fmla="*/ 1 h 91"/>
                  <a:gd name="T70" fmla="*/ 96 w 131"/>
                  <a:gd name="T71" fmla="*/ 19 h 91"/>
                  <a:gd name="T72" fmla="*/ 107 w 131"/>
                  <a:gd name="T73" fmla="*/ 32 h 91"/>
                  <a:gd name="T74" fmla="*/ 115 w 131"/>
                  <a:gd name="T75" fmla="*/ 36 h 91"/>
                  <a:gd name="T76" fmla="*/ 122 w 131"/>
                  <a:gd name="T77" fmla="*/ 41 h 91"/>
                  <a:gd name="T78" fmla="*/ 125 w 131"/>
                  <a:gd name="T79" fmla="*/ 45 h 91"/>
                  <a:gd name="T80" fmla="*/ 131 w 131"/>
                  <a:gd name="T81" fmla="*/ 58 h 91"/>
                  <a:gd name="T82" fmla="*/ 128 w 131"/>
                  <a:gd name="T83" fmla="*/ 64 h 91"/>
                  <a:gd name="T84" fmla="*/ 122 w 131"/>
                  <a:gd name="T85" fmla="*/ 68 h 91"/>
                  <a:gd name="T86" fmla="*/ 120 w 131"/>
                  <a:gd name="T87" fmla="*/ 68 h 91"/>
                  <a:gd name="T88" fmla="*/ 120 w 131"/>
                  <a:gd name="T89" fmla="*/ 68 h 91"/>
                  <a:gd name="T90" fmla="*/ 120 w 131"/>
                  <a:gd name="T91" fmla="*/ 68 h 91"/>
                  <a:gd name="T92" fmla="*/ 120 w 131"/>
                  <a:gd name="T93" fmla="*/ 68 h 91"/>
                  <a:gd name="T94" fmla="*/ 120 w 131"/>
                  <a:gd name="T95" fmla="*/ 68 h 91"/>
                  <a:gd name="T96" fmla="*/ 110 w 131"/>
                  <a:gd name="T97" fmla="*/ 67 h 91"/>
                  <a:gd name="T98" fmla="*/ 105 w 131"/>
                  <a:gd name="T99" fmla="*/ 68 h 91"/>
                  <a:gd name="T100" fmla="*/ 93 w 131"/>
                  <a:gd name="T101" fmla="*/ 74 h 91"/>
                  <a:gd name="T102" fmla="*/ 93 w 131"/>
                  <a:gd name="T103" fmla="*/ 74 h 91"/>
                  <a:gd name="T104" fmla="*/ 86 w 131"/>
                  <a:gd name="T105" fmla="*/ 75 h 91"/>
                  <a:gd name="T106" fmla="*/ 67 w 131"/>
                  <a:gd name="T107" fmla="*/ 75 h 91"/>
                  <a:gd name="T108" fmla="*/ 60 w 131"/>
                  <a:gd name="T109" fmla="*/ 75 h 91"/>
                  <a:gd name="T110" fmla="*/ 54 w 131"/>
                  <a:gd name="T111" fmla="*/ 77 h 91"/>
                  <a:gd name="T112" fmla="*/ 50 w 131"/>
                  <a:gd name="T113" fmla="*/ 83 h 91"/>
                  <a:gd name="T114" fmla="*/ 50 w 131"/>
                  <a:gd name="T115"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1" h="91">
                    <a:moveTo>
                      <a:pt x="50" y="91"/>
                    </a:moveTo>
                    <a:lnTo>
                      <a:pt x="50" y="91"/>
                    </a:lnTo>
                    <a:lnTo>
                      <a:pt x="31" y="90"/>
                    </a:lnTo>
                    <a:lnTo>
                      <a:pt x="22" y="88"/>
                    </a:lnTo>
                    <a:lnTo>
                      <a:pt x="18" y="87"/>
                    </a:lnTo>
                    <a:lnTo>
                      <a:pt x="18" y="87"/>
                    </a:lnTo>
                    <a:lnTo>
                      <a:pt x="16" y="86"/>
                    </a:lnTo>
                    <a:lnTo>
                      <a:pt x="16" y="86"/>
                    </a:lnTo>
                    <a:lnTo>
                      <a:pt x="6" y="78"/>
                    </a:lnTo>
                    <a:lnTo>
                      <a:pt x="6" y="78"/>
                    </a:lnTo>
                    <a:lnTo>
                      <a:pt x="6" y="78"/>
                    </a:lnTo>
                    <a:lnTo>
                      <a:pt x="0" y="72"/>
                    </a:lnTo>
                    <a:lnTo>
                      <a:pt x="0" y="70"/>
                    </a:lnTo>
                    <a:lnTo>
                      <a:pt x="0" y="67"/>
                    </a:lnTo>
                    <a:lnTo>
                      <a:pt x="0" y="67"/>
                    </a:lnTo>
                    <a:lnTo>
                      <a:pt x="0" y="67"/>
                    </a:lnTo>
                    <a:lnTo>
                      <a:pt x="0" y="67"/>
                    </a:lnTo>
                    <a:lnTo>
                      <a:pt x="0" y="67"/>
                    </a:lnTo>
                    <a:lnTo>
                      <a:pt x="0" y="67"/>
                    </a:lnTo>
                    <a:lnTo>
                      <a:pt x="0" y="67"/>
                    </a:lnTo>
                    <a:lnTo>
                      <a:pt x="0" y="67"/>
                    </a:lnTo>
                    <a:lnTo>
                      <a:pt x="0" y="67"/>
                    </a:lnTo>
                    <a:lnTo>
                      <a:pt x="0" y="67"/>
                    </a:lnTo>
                    <a:lnTo>
                      <a:pt x="0" y="67"/>
                    </a:lnTo>
                    <a:lnTo>
                      <a:pt x="0" y="67"/>
                    </a:lnTo>
                    <a:lnTo>
                      <a:pt x="0" y="67"/>
                    </a:lnTo>
                    <a:lnTo>
                      <a:pt x="0" y="67"/>
                    </a:lnTo>
                    <a:lnTo>
                      <a:pt x="0" y="67"/>
                    </a:lnTo>
                    <a:lnTo>
                      <a:pt x="0" y="67"/>
                    </a:lnTo>
                    <a:lnTo>
                      <a:pt x="0" y="65"/>
                    </a:lnTo>
                    <a:lnTo>
                      <a:pt x="0" y="65"/>
                    </a:lnTo>
                    <a:lnTo>
                      <a:pt x="0" y="65"/>
                    </a:lnTo>
                    <a:lnTo>
                      <a:pt x="0" y="65"/>
                    </a:lnTo>
                    <a:lnTo>
                      <a:pt x="10" y="59"/>
                    </a:lnTo>
                    <a:lnTo>
                      <a:pt x="15" y="57"/>
                    </a:lnTo>
                    <a:lnTo>
                      <a:pt x="18" y="51"/>
                    </a:lnTo>
                    <a:lnTo>
                      <a:pt x="18" y="51"/>
                    </a:lnTo>
                    <a:lnTo>
                      <a:pt x="25" y="41"/>
                    </a:lnTo>
                    <a:lnTo>
                      <a:pt x="29" y="36"/>
                    </a:lnTo>
                    <a:lnTo>
                      <a:pt x="35" y="33"/>
                    </a:lnTo>
                    <a:lnTo>
                      <a:pt x="35" y="33"/>
                    </a:lnTo>
                    <a:lnTo>
                      <a:pt x="42" y="29"/>
                    </a:lnTo>
                    <a:lnTo>
                      <a:pt x="48" y="25"/>
                    </a:lnTo>
                    <a:lnTo>
                      <a:pt x="60" y="16"/>
                    </a:lnTo>
                    <a:lnTo>
                      <a:pt x="60" y="16"/>
                    </a:lnTo>
                    <a:lnTo>
                      <a:pt x="60" y="16"/>
                    </a:lnTo>
                    <a:lnTo>
                      <a:pt x="60" y="16"/>
                    </a:lnTo>
                    <a:lnTo>
                      <a:pt x="60" y="16"/>
                    </a:lnTo>
                    <a:lnTo>
                      <a:pt x="60" y="16"/>
                    </a:lnTo>
                    <a:lnTo>
                      <a:pt x="60" y="16"/>
                    </a:lnTo>
                    <a:lnTo>
                      <a:pt x="60" y="16"/>
                    </a:lnTo>
                    <a:lnTo>
                      <a:pt x="60" y="16"/>
                    </a:lnTo>
                    <a:lnTo>
                      <a:pt x="60" y="15"/>
                    </a:lnTo>
                    <a:lnTo>
                      <a:pt x="60" y="15"/>
                    </a:lnTo>
                    <a:lnTo>
                      <a:pt x="61" y="15"/>
                    </a:lnTo>
                    <a:lnTo>
                      <a:pt x="61" y="15"/>
                    </a:lnTo>
                    <a:lnTo>
                      <a:pt x="61" y="15"/>
                    </a:lnTo>
                    <a:lnTo>
                      <a:pt x="61" y="15"/>
                    </a:lnTo>
                    <a:lnTo>
                      <a:pt x="61" y="15"/>
                    </a:lnTo>
                    <a:lnTo>
                      <a:pt x="61" y="15"/>
                    </a:lnTo>
                    <a:lnTo>
                      <a:pt x="70" y="6"/>
                    </a:lnTo>
                    <a:lnTo>
                      <a:pt x="76" y="1"/>
                    </a:lnTo>
                    <a:lnTo>
                      <a:pt x="83" y="0"/>
                    </a:lnTo>
                    <a:lnTo>
                      <a:pt x="83" y="0"/>
                    </a:lnTo>
                    <a:lnTo>
                      <a:pt x="83" y="0"/>
                    </a:lnTo>
                    <a:lnTo>
                      <a:pt x="83" y="0"/>
                    </a:lnTo>
                    <a:lnTo>
                      <a:pt x="87" y="0"/>
                    </a:lnTo>
                    <a:lnTo>
                      <a:pt x="87" y="0"/>
                    </a:lnTo>
                    <a:lnTo>
                      <a:pt x="89" y="1"/>
                    </a:lnTo>
                    <a:lnTo>
                      <a:pt x="89" y="1"/>
                    </a:lnTo>
                    <a:lnTo>
                      <a:pt x="92" y="10"/>
                    </a:lnTo>
                    <a:lnTo>
                      <a:pt x="96" y="19"/>
                    </a:lnTo>
                    <a:lnTo>
                      <a:pt x="102" y="26"/>
                    </a:lnTo>
                    <a:lnTo>
                      <a:pt x="107" y="32"/>
                    </a:lnTo>
                    <a:lnTo>
                      <a:pt x="107" y="32"/>
                    </a:lnTo>
                    <a:lnTo>
                      <a:pt x="115" y="36"/>
                    </a:lnTo>
                    <a:lnTo>
                      <a:pt x="119" y="38"/>
                    </a:lnTo>
                    <a:lnTo>
                      <a:pt x="122" y="41"/>
                    </a:lnTo>
                    <a:lnTo>
                      <a:pt x="125" y="45"/>
                    </a:lnTo>
                    <a:lnTo>
                      <a:pt x="125" y="45"/>
                    </a:lnTo>
                    <a:lnTo>
                      <a:pt x="126" y="52"/>
                    </a:lnTo>
                    <a:lnTo>
                      <a:pt x="131" y="58"/>
                    </a:lnTo>
                    <a:lnTo>
                      <a:pt x="131" y="58"/>
                    </a:lnTo>
                    <a:lnTo>
                      <a:pt x="128" y="64"/>
                    </a:lnTo>
                    <a:lnTo>
                      <a:pt x="125" y="67"/>
                    </a:lnTo>
                    <a:lnTo>
                      <a:pt x="122" y="68"/>
                    </a:lnTo>
                    <a:lnTo>
                      <a:pt x="122" y="68"/>
                    </a:lnTo>
                    <a:lnTo>
                      <a:pt x="120" y="68"/>
                    </a:lnTo>
                    <a:lnTo>
                      <a:pt x="120" y="68"/>
                    </a:lnTo>
                    <a:lnTo>
                      <a:pt x="120" y="68"/>
                    </a:lnTo>
                    <a:lnTo>
                      <a:pt x="120" y="68"/>
                    </a:lnTo>
                    <a:lnTo>
                      <a:pt x="120" y="68"/>
                    </a:lnTo>
                    <a:lnTo>
                      <a:pt x="120" y="68"/>
                    </a:lnTo>
                    <a:lnTo>
                      <a:pt x="120" y="68"/>
                    </a:lnTo>
                    <a:lnTo>
                      <a:pt x="120" y="68"/>
                    </a:lnTo>
                    <a:lnTo>
                      <a:pt x="120" y="68"/>
                    </a:lnTo>
                    <a:lnTo>
                      <a:pt x="120" y="68"/>
                    </a:lnTo>
                    <a:lnTo>
                      <a:pt x="110" y="67"/>
                    </a:lnTo>
                    <a:lnTo>
                      <a:pt x="110" y="67"/>
                    </a:lnTo>
                    <a:lnTo>
                      <a:pt x="105" y="68"/>
                    </a:lnTo>
                    <a:lnTo>
                      <a:pt x="105" y="68"/>
                    </a:lnTo>
                    <a:lnTo>
                      <a:pt x="93" y="74"/>
                    </a:lnTo>
                    <a:lnTo>
                      <a:pt x="93" y="74"/>
                    </a:lnTo>
                    <a:lnTo>
                      <a:pt x="93" y="74"/>
                    </a:lnTo>
                    <a:lnTo>
                      <a:pt x="93" y="74"/>
                    </a:lnTo>
                    <a:lnTo>
                      <a:pt x="86" y="75"/>
                    </a:lnTo>
                    <a:lnTo>
                      <a:pt x="86" y="75"/>
                    </a:lnTo>
                    <a:lnTo>
                      <a:pt x="67" y="75"/>
                    </a:lnTo>
                    <a:lnTo>
                      <a:pt x="67" y="75"/>
                    </a:lnTo>
                    <a:lnTo>
                      <a:pt x="60" y="75"/>
                    </a:lnTo>
                    <a:lnTo>
                      <a:pt x="54" y="77"/>
                    </a:lnTo>
                    <a:lnTo>
                      <a:pt x="54" y="77"/>
                    </a:lnTo>
                    <a:lnTo>
                      <a:pt x="51" y="80"/>
                    </a:lnTo>
                    <a:lnTo>
                      <a:pt x="50" y="83"/>
                    </a:lnTo>
                    <a:lnTo>
                      <a:pt x="48" y="87"/>
                    </a:lnTo>
                    <a:lnTo>
                      <a:pt x="50" y="9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32" name="Freeform 532"/>
              <p:cNvSpPr>
                <a:spLocks noEditPoints="1"/>
              </p:cNvSpPr>
              <p:nvPr/>
            </p:nvSpPr>
            <p:spPr bwMode="auto">
              <a:xfrm>
                <a:off x="2627" y="2520"/>
                <a:ext cx="89" cy="78"/>
              </a:xfrm>
              <a:custGeom>
                <a:avLst/>
                <a:gdLst>
                  <a:gd name="T0" fmla="*/ 83 w 89"/>
                  <a:gd name="T1" fmla="*/ 0 h 78"/>
                  <a:gd name="T2" fmla="*/ 89 w 89"/>
                  <a:gd name="T3" fmla="*/ 1 h 78"/>
                  <a:gd name="T4" fmla="*/ 87 w 89"/>
                  <a:gd name="T5" fmla="*/ 0 h 78"/>
                  <a:gd name="T6" fmla="*/ 89 w 89"/>
                  <a:gd name="T7" fmla="*/ 1 h 78"/>
                  <a:gd name="T8" fmla="*/ 61 w 89"/>
                  <a:gd name="T9" fmla="*/ 15 h 78"/>
                  <a:gd name="T10" fmla="*/ 70 w 89"/>
                  <a:gd name="T11" fmla="*/ 6 h 78"/>
                  <a:gd name="T12" fmla="*/ 83 w 89"/>
                  <a:gd name="T13" fmla="*/ 0 h 78"/>
                  <a:gd name="T14" fmla="*/ 76 w 89"/>
                  <a:gd name="T15" fmla="*/ 1 h 78"/>
                  <a:gd name="T16" fmla="*/ 61 w 89"/>
                  <a:gd name="T17" fmla="*/ 15 h 78"/>
                  <a:gd name="T18" fmla="*/ 61 w 89"/>
                  <a:gd name="T19" fmla="*/ 15 h 78"/>
                  <a:gd name="T20" fmla="*/ 61 w 89"/>
                  <a:gd name="T21" fmla="*/ 15 h 78"/>
                  <a:gd name="T22" fmla="*/ 60 w 89"/>
                  <a:gd name="T23" fmla="*/ 16 h 78"/>
                  <a:gd name="T24" fmla="*/ 60 w 89"/>
                  <a:gd name="T25" fmla="*/ 15 h 78"/>
                  <a:gd name="T26" fmla="*/ 60 w 89"/>
                  <a:gd name="T27" fmla="*/ 16 h 78"/>
                  <a:gd name="T28" fmla="*/ 60 w 89"/>
                  <a:gd name="T29" fmla="*/ 16 h 78"/>
                  <a:gd name="T30" fmla="*/ 60 w 89"/>
                  <a:gd name="T31" fmla="*/ 16 h 78"/>
                  <a:gd name="T32" fmla="*/ 60 w 89"/>
                  <a:gd name="T33" fmla="*/ 16 h 78"/>
                  <a:gd name="T34" fmla="*/ 60 w 89"/>
                  <a:gd name="T35" fmla="*/ 16 h 78"/>
                  <a:gd name="T36" fmla="*/ 60 w 89"/>
                  <a:gd name="T37" fmla="*/ 16 h 78"/>
                  <a:gd name="T38" fmla="*/ 0 w 89"/>
                  <a:gd name="T39" fmla="*/ 65 h 78"/>
                  <a:gd name="T40" fmla="*/ 0 w 89"/>
                  <a:gd name="T41" fmla="*/ 65 h 78"/>
                  <a:gd name="T42" fmla="*/ 0 w 89"/>
                  <a:gd name="T43" fmla="*/ 67 h 78"/>
                  <a:gd name="T44" fmla="*/ 0 w 89"/>
                  <a:gd name="T45" fmla="*/ 67 h 78"/>
                  <a:gd name="T46" fmla="*/ 0 w 89"/>
                  <a:gd name="T47" fmla="*/ 67 h 78"/>
                  <a:gd name="T48" fmla="*/ 0 w 89"/>
                  <a:gd name="T49" fmla="*/ 67 h 78"/>
                  <a:gd name="T50" fmla="*/ 0 w 89"/>
                  <a:gd name="T51" fmla="*/ 67 h 78"/>
                  <a:gd name="T52" fmla="*/ 0 w 89"/>
                  <a:gd name="T53" fmla="*/ 67 h 78"/>
                  <a:gd name="T54" fmla="*/ 0 w 89"/>
                  <a:gd name="T55" fmla="*/ 67 h 78"/>
                  <a:gd name="T56" fmla="*/ 0 w 89"/>
                  <a:gd name="T57" fmla="*/ 67 h 78"/>
                  <a:gd name="T58" fmla="*/ 0 w 89"/>
                  <a:gd name="T59" fmla="*/ 67 h 78"/>
                  <a:gd name="T60" fmla="*/ 0 w 89"/>
                  <a:gd name="T61" fmla="*/ 67 h 78"/>
                  <a:gd name="T62" fmla="*/ 6 w 89"/>
                  <a:gd name="T63" fmla="*/ 78 h 78"/>
                  <a:gd name="T64" fmla="*/ 0 w 89"/>
                  <a:gd name="T65" fmla="*/ 70 h 78"/>
                  <a:gd name="T66" fmla="*/ 0 w 89"/>
                  <a:gd name="T67" fmla="*/ 67 h 78"/>
                  <a:gd name="T68" fmla="*/ 0 w 89"/>
                  <a:gd name="T69" fmla="*/ 72 h 78"/>
                  <a:gd name="T70" fmla="*/ 6 w 89"/>
                  <a:gd name="T7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9" h="78">
                    <a:moveTo>
                      <a:pt x="83" y="0"/>
                    </a:moveTo>
                    <a:lnTo>
                      <a:pt x="83" y="0"/>
                    </a:lnTo>
                    <a:lnTo>
                      <a:pt x="83" y="0"/>
                    </a:lnTo>
                    <a:close/>
                    <a:moveTo>
                      <a:pt x="89" y="1"/>
                    </a:moveTo>
                    <a:lnTo>
                      <a:pt x="89" y="1"/>
                    </a:lnTo>
                    <a:lnTo>
                      <a:pt x="87" y="0"/>
                    </a:lnTo>
                    <a:lnTo>
                      <a:pt x="87" y="0"/>
                    </a:lnTo>
                    <a:lnTo>
                      <a:pt x="89" y="1"/>
                    </a:lnTo>
                    <a:lnTo>
                      <a:pt x="89" y="1"/>
                    </a:lnTo>
                    <a:close/>
                    <a:moveTo>
                      <a:pt x="61" y="15"/>
                    </a:moveTo>
                    <a:lnTo>
                      <a:pt x="61" y="15"/>
                    </a:lnTo>
                    <a:lnTo>
                      <a:pt x="70" y="6"/>
                    </a:lnTo>
                    <a:lnTo>
                      <a:pt x="76" y="1"/>
                    </a:lnTo>
                    <a:lnTo>
                      <a:pt x="83" y="0"/>
                    </a:lnTo>
                    <a:lnTo>
                      <a:pt x="83" y="0"/>
                    </a:lnTo>
                    <a:lnTo>
                      <a:pt x="76" y="1"/>
                    </a:lnTo>
                    <a:lnTo>
                      <a:pt x="70" y="6"/>
                    </a:lnTo>
                    <a:lnTo>
                      <a:pt x="61" y="15"/>
                    </a:lnTo>
                    <a:close/>
                    <a:moveTo>
                      <a:pt x="61" y="15"/>
                    </a:moveTo>
                    <a:lnTo>
                      <a:pt x="61" y="15"/>
                    </a:lnTo>
                    <a:lnTo>
                      <a:pt x="61" y="15"/>
                    </a:lnTo>
                    <a:lnTo>
                      <a:pt x="61" y="15"/>
                    </a:lnTo>
                    <a:lnTo>
                      <a:pt x="61" y="15"/>
                    </a:lnTo>
                    <a:close/>
                    <a:moveTo>
                      <a:pt x="60" y="16"/>
                    </a:moveTo>
                    <a:lnTo>
                      <a:pt x="60" y="16"/>
                    </a:lnTo>
                    <a:lnTo>
                      <a:pt x="60" y="15"/>
                    </a:lnTo>
                    <a:lnTo>
                      <a:pt x="60" y="15"/>
                    </a:lnTo>
                    <a:lnTo>
                      <a:pt x="60" y="16"/>
                    </a:lnTo>
                    <a:close/>
                    <a:moveTo>
                      <a:pt x="60" y="16"/>
                    </a:moveTo>
                    <a:lnTo>
                      <a:pt x="60" y="16"/>
                    </a:lnTo>
                    <a:lnTo>
                      <a:pt x="60" y="16"/>
                    </a:lnTo>
                    <a:close/>
                    <a:moveTo>
                      <a:pt x="60" y="16"/>
                    </a:moveTo>
                    <a:lnTo>
                      <a:pt x="60" y="16"/>
                    </a:lnTo>
                    <a:close/>
                    <a:moveTo>
                      <a:pt x="60" y="16"/>
                    </a:moveTo>
                    <a:lnTo>
                      <a:pt x="60" y="16"/>
                    </a:lnTo>
                    <a:lnTo>
                      <a:pt x="60" y="16"/>
                    </a:lnTo>
                    <a:lnTo>
                      <a:pt x="60" y="16"/>
                    </a:lnTo>
                    <a:lnTo>
                      <a:pt x="60" y="16"/>
                    </a:lnTo>
                    <a:close/>
                    <a:moveTo>
                      <a:pt x="0" y="65"/>
                    </a:moveTo>
                    <a:lnTo>
                      <a:pt x="0" y="65"/>
                    </a:lnTo>
                    <a:lnTo>
                      <a:pt x="0" y="65"/>
                    </a:lnTo>
                    <a:lnTo>
                      <a:pt x="0" y="65"/>
                    </a:lnTo>
                    <a:lnTo>
                      <a:pt x="0" y="65"/>
                    </a:lnTo>
                    <a:close/>
                    <a:moveTo>
                      <a:pt x="0" y="67"/>
                    </a:moveTo>
                    <a:lnTo>
                      <a:pt x="0" y="67"/>
                    </a:lnTo>
                    <a:lnTo>
                      <a:pt x="0" y="67"/>
                    </a:lnTo>
                    <a:close/>
                    <a:moveTo>
                      <a:pt x="0" y="67"/>
                    </a:moveTo>
                    <a:lnTo>
                      <a:pt x="0" y="67"/>
                    </a:lnTo>
                    <a:lnTo>
                      <a:pt x="0" y="67"/>
                    </a:lnTo>
                    <a:close/>
                    <a:moveTo>
                      <a:pt x="0" y="67"/>
                    </a:moveTo>
                    <a:lnTo>
                      <a:pt x="0" y="67"/>
                    </a:lnTo>
                    <a:lnTo>
                      <a:pt x="0" y="67"/>
                    </a:lnTo>
                    <a:close/>
                    <a:moveTo>
                      <a:pt x="0" y="67"/>
                    </a:moveTo>
                    <a:lnTo>
                      <a:pt x="0" y="67"/>
                    </a:lnTo>
                    <a:lnTo>
                      <a:pt x="0" y="67"/>
                    </a:lnTo>
                    <a:lnTo>
                      <a:pt x="0" y="67"/>
                    </a:lnTo>
                    <a:lnTo>
                      <a:pt x="0" y="67"/>
                    </a:lnTo>
                    <a:close/>
                    <a:moveTo>
                      <a:pt x="0" y="67"/>
                    </a:moveTo>
                    <a:lnTo>
                      <a:pt x="0" y="67"/>
                    </a:lnTo>
                    <a:lnTo>
                      <a:pt x="0" y="67"/>
                    </a:lnTo>
                    <a:lnTo>
                      <a:pt x="0" y="67"/>
                    </a:lnTo>
                    <a:lnTo>
                      <a:pt x="0" y="67"/>
                    </a:lnTo>
                    <a:close/>
                    <a:moveTo>
                      <a:pt x="6" y="78"/>
                    </a:moveTo>
                    <a:lnTo>
                      <a:pt x="6" y="78"/>
                    </a:lnTo>
                    <a:lnTo>
                      <a:pt x="0" y="72"/>
                    </a:lnTo>
                    <a:lnTo>
                      <a:pt x="0" y="70"/>
                    </a:lnTo>
                    <a:lnTo>
                      <a:pt x="0" y="67"/>
                    </a:lnTo>
                    <a:lnTo>
                      <a:pt x="0" y="67"/>
                    </a:lnTo>
                    <a:lnTo>
                      <a:pt x="0" y="70"/>
                    </a:lnTo>
                    <a:lnTo>
                      <a:pt x="0" y="72"/>
                    </a:lnTo>
                    <a:lnTo>
                      <a:pt x="6" y="78"/>
                    </a:lnTo>
                    <a:lnTo>
                      <a:pt x="6" y="78"/>
                    </a:lnTo>
                    <a:lnTo>
                      <a:pt x="6" y="78"/>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33" name="Freeform 533"/>
              <p:cNvSpPr>
                <a:spLocks/>
              </p:cNvSpPr>
              <p:nvPr/>
            </p:nvSpPr>
            <p:spPr bwMode="auto">
              <a:xfrm>
                <a:off x="2710" y="2520"/>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34" name="Freeform 534"/>
              <p:cNvSpPr>
                <a:spLocks/>
              </p:cNvSpPr>
              <p:nvPr/>
            </p:nvSpPr>
            <p:spPr bwMode="auto">
              <a:xfrm>
                <a:off x="2714" y="2520"/>
                <a:ext cx="2" cy="1"/>
              </a:xfrm>
              <a:custGeom>
                <a:avLst/>
                <a:gdLst>
                  <a:gd name="T0" fmla="*/ 2 w 2"/>
                  <a:gd name="T1" fmla="*/ 1 h 1"/>
                  <a:gd name="T2" fmla="*/ 2 w 2"/>
                  <a:gd name="T3" fmla="*/ 1 h 1"/>
                  <a:gd name="T4" fmla="*/ 0 w 2"/>
                  <a:gd name="T5" fmla="*/ 0 h 1"/>
                  <a:gd name="T6" fmla="*/ 0 w 2"/>
                  <a:gd name="T7" fmla="*/ 0 h 1"/>
                  <a:gd name="T8" fmla="*/ 2 w 2"/>
                  <a:gd name="T9" fmla="*/ 1 h 1"/>
                  <a:gd name="T10" fmla="*/ 2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2" y="1"/>
                    </a:moveTo>
                    <a:lnTo>
                      <a:pt x="2" y="1"/>
                    </a:lnTo>
                    <a:lnTo>
                      <a:pt x="0" y="0"/>
                    </a:lnTo>
                    <a:lnTo>
                      <a:pt x="0" y="0"/>
                    </a:lnTo>
                    <a:lnTo>
                      <a:pt x="2" y="1"/>
                    </a:lnTo>
                    <a:lnTo>
                      <a:pt x="2"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35" name="Freeform 535"/>
              <p:cNvSpPr>
                <a:spLocks/>
              </p:cNvSpPr>
              <p:nvPr/>
            </p:nvSpPr>
            <p:spPr bwMode="auto">
              <a:xfrm>
                <a:off x="2688" y="2520"/>
                <a:ext cx="22" cy="15"/>
              </a:xfrm>
              <a:custGeom>
                <a:avLst/>
                <a:gdLst>
                  <a:gd name="T0" fmla="*/ 0 w 22"/>
                  <a:gd name="T1" fmla="*/ 15 h 15"/>
                  <a:gd name="T2" fmla="*/ 0 w 22"/>
                  <a:gd name="T3" fmla="*/ 15 h 15"/>
                  <a:gd name="T4" fmla="*/ 9 w 22"/>
                  <a:gd name="T5" fmla="*/ 6 h 15"/>
                  <a:gd name="T6" fmla="*/ 15 w 22"/>
                  <a:gd name="T7" fmla="*/ 1 h 15"/>
                  <a:gd name="T8" fmla="*/ 22 w 22"/>
                  <a:gd name="T9" fmla="*/ 0 h 15"/>
                  <a:gd name="T10" fmla="*/ 22 w 22"/>
                  <a:gd name="T11" fmla="*/ 0 h 15"/>
                  <a:gd name="T12" fmla="*/ 15 w 22"/>
                  <a:gd name="T13" fmla="*/ 1 h 15"/>
                  <a:gd name="T14" fmla="*/ 9 w 22"/>
                  <a:gd name="T15" fmla="*/ 6 h 15"/>
                  <a:gd name="T16" fmla="*/ 0 w 22"/>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
                    <a:moveTo>
                      <a:pt x="0" y="15"/>
                    </a:moveTo>
                    <a:lnTo>
                      <a:pt x="0" y="15"/>
                    </a:lnTo>
                    <a:lnTo>
                      <a:pt x="9" y="6"/>
                    </a:lnTo>
                    <a:lnTo>
                      <a:pt x="15" y="1"/>
                    </a:lnTo>
                    <a:lnTo>
                      <a:pt x="22" y="0"/>
                    </a:lnTo>
                    <a:lnTo>
                      <a:pt x="22" y="0"/>
                    </a:lnTo>
                    <a:lnTo>
                      <a:pt x="15" y="1"/>
                    </a:lnTo>
                    <a:lnTo>
                      <a:pt x="9" y="6"/>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36" name="Rectangle 536"/>
              <p:cNvSpPr>
                <a:spLocks noChangeArrowheads="1"/>
              </p:cNvSpPr>
              <p:nvPr/>
            </p:nvSpPr>
            <p:spPr bwMode="auto">
              <a:xfrm>
                <a:off x="2688" y="253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37" name="Rectangle 537"/>
              <p:cNvSpPr>
                <a:spLocks noChangeArrowheads="1"/>
              </p:cNvSpPr>
              <p:nvPr/>
            </p:nvSpPr>
            <p:spPr bwMode="auto">
              <a:xfrm>
                <a:off x="2687" y="253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38" name="Freeform 538"/>
              <p:cNvSpPr>
                <a:spLocks/>
              </p:cNvSpPr>
              <p:nvPr/>
            </p:nvSpPr>
            <p:spPr bwMode="auto">
              <a:xfrm>
                <a:off x="2687" y="253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39" name="Line 539"/>
              <p:cNvSpPr>
                <a:spLocks noChangeShapeType="1"/>
              </p:cNvSpPr>
              <p:nvPr/>
            </p:nvSpPr>
            <p:spPr bwMode="auto">
              <a:xfrm>
                <a:off x="2687" y="2536"/>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40" name="Rectangle 540"/>
              <p:cNvSpPr>
                <a:spLocks noChangeArrowheads="1"/>
              </p:cNvSpPr>
              <p:nvPr/>
            </p:nvSpPr>
            <p:spPr bwMode="auto">
              <a:xfrm>
                <a:off x="2687" y="2536"/>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41" name="Rectangle 541"/>
              <p:cNvSpPr>
                <a:spLocks noChangeArrowheads="1"/>
              </p:cNvSpPr>
              <p:nvPr/>
            </p:nvSpPr>
            <p:spPr bwMode="auto">
              <a:xfrm>
                <a:off x="2627" y="258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42" name="Freeform 542"/>
              <p:cNvSpPr>
                <a:spLocks/>
              </p:cNvSpPr>
              <p:nvPr/>
            </p:nvSpPr>
            <p:spPr bwMode="auto">
              <a:xfrm>
                <a:off x="2627" y="2587"/>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43" name="Freeform 543"/>
              <p:cNvSpPr>
                <a:spLocks/>
              </p:cNvSpPr>
              <p:nvPr/>
            </p:nvSpPr>
            <p:spPr bwMode="auto">
              <a:xfrm>
                <a:off x="2627" y="2587"/>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44" name="Freeform 544"/>
              <p:cNvSpPr>
                <a:spLocks/>
              </p:cNvSpPr>
              <p:nvPr/>
            </p:nvSpPr>
            <p:spPr bwMode="auto">
              <a:xfrm>
                <a:off x="2627" y="2587"/>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45" name="Rectangle 545"/>
              <p:cNvSpPr>
                <a:spLocks noChangeArrowheads="1"/>
              </p:cNvSpPr>
              <p:nvPr/>
            </p:nvSpPr>
            <p:spPr bwMode="auto">
              <a:xfrm>
                <a:off x="2627" y="2587"/>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46" name="Rectangle 546"/>
              <p:cNvSpPr>
                <a:spLocks noChangeArrowheads="1"/>
              </p:cNvSpPr>
              <p:nvPr/>
            </p:nvSpPr>
            <p:spPr bwMode="auto">
              <a:xfrm>
                <a:off x="2627" y="2587"/>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47" name="Freeform 547"/>
              <p:cNvSpPr>
                <a:spLocks/>
              </p:cNvSpPr>
              <p:nvPr/>
            </p:nvSpPr>
            <p:spPr bwMode="auto">
              <a:xfrm>
                <a:off x="2627" y="2587"/>
                <a:ext cx="6" cy="11"/>
              </a:xfrm>
              <a:custGeom>
                <a:avLst/>
                <a:gdLst>
                  <a:gd name="T0" fmla="*/ 6 w 6"/>
                  <a:gd name="T1" fmla="*/ 11 h 11"/>
                  <a:gd name="T2" fmla="*/ 6 w 6"/>
                  <a:gd name="T3" fmla="*/ 11 h 11"/>
                  <a:gd name="T4" fmla="*/ 0 w 6"/>
                  <a:gd name="T5" fmla="*/ 5 h 11"/>
                  <a:gd name="T6" fmla="*/ 0 w 6"/>
                  <a:gd name="T7" fmla="*/ 3 h 11"/>
                  <a:gd name="T8" fmla="*/ 0 w 6"/>
                  <a:gd name="T9" fmla="*/ 0 h 11"/>
                  <a:gd name="T10" fmla="*/ 0 w 6"/>
                  <a:gd name="T11" fmla="*/ 0 h 11"/>
                  <a:gd name="T12" fmla="*/ 0 w 6"/>
                  <a:gd name="T13" fmla="*/ 3 h 11"/>
                  <a:gd name="T14" fmla="*/ 0 w 6"/>
                  <a:gd name="T15" fmla="*/ 5 h 11"/>
                  <a:gd name="T16" fmla="*/ 6 w 6"/>
                  <a:gd name="T17" fmla="*/ 11 h 11"/>
                  <a:gd name="T18" fmla="*/ 6 w 6"/>
                  <a:gd name="T19" fmla="*/ 11 h 11"/>
                  <a:gd name="T20" fmla="*/ 6 w 6"/>
                  <a:gd name="T2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1">
                    <a:moveTo>
                      <a:pt x="6" y="11"/>
                    </a:moveTo>
                    <a:lnTo>
                      <a:pt x="6" y="11"/>
                    </a:lnTo>
                    <a:lnTo>
                      <a:pt x="0" y="5"/>
                    </a:lnTo>
                    <a:lnTo>
                      <a:pt x="0" y="3"/>
                    </a:lnTo>
                    <a:lnTo>
                      <a:pt x="0" y="0"/>
                    </a:lnTo>
                    <a:lnTo>
                      <a:pt x="0" y="0"/>
                    </a:lnTo>
                    <a:lnTo>
                      <a:pt x="0" y="3"/>
                    </a:lnTo>
                    <a:lnTo>
                      <a:pt x="0" y="5"/>
                    </a:lnTo>
                    <a:lnTo>
                      <a:pt x="6" y="11"/>
                    </a:lnTo>
                    <a:lnTo>
                      <a:pt x="6" y="11"/>
                    </a:lnTo>
                    <a:lnTo>
                      <a:pt x="6"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48" name="Freeform 548"/>
              <p:cNvSpPr>
                <a:spLocks noEditPoints="1"/>
              </p:cNvSpPr>
              <p:nvPr/>
            </p:nvSpPr>
            <p:spPr bwMode="auto">
              <a:xfrm>
                <a:off x="2747" y="2578"/>
                <a:ext cx="11" cy="10"/>
              </a:xfrm>
              <a:custGeom>
                <a:avLst/>
                <a:gdLst>
                  <a:gd name="T0" fmla="*/ 2 w 11"/>
                  <a:gd name="T1" fmla="*/ 10 h 10"/>
                  <a:gd name="T2" fmla="*/ 2 w 11"/>
                  <a:gd name="T3" fmla="*/ 10 h 10"/>
                  <a:gd name="T4" fmla="*/ 5 w 11"/>
                  <a:gd name="T5" fmla="*/ 9 h 10"/>
                  <a:gd name="T6" fmla="*/ 8 w 11"/>
                  <a:gd name="T7" fmla="*/ 6 h 10"/>
                  <a:gd name="T8" fmla="*/ 11 w 11"/>
                  <a:gd name="T9" fmla="*/ 0 h 10"/>
                  <a:gd name="T10" fmla="*/ 11 w 11"/>
                  <a:gd name="T11" fmla="*/ 0 h 10"/>
                  <a:gd name="T12" fmla="*/ 11 w 11"/>
                  <a:gd name="T13" fmla="*/ 0 h 10"/>
                  <a:gd name="T14" fmla="*/ 8 w 11"/>
                  <a:gd name="T15" fmla="*/ 6 h 10"/>
                  <a:gd name="T16" fmla="*/ 5 w 11"/>
                  <a:gd name="T17" fmla="*/ 9 h 10"/>
                  <a:gd name="T18" fmla="*/ 2 w 11"/>
                  <a:gd name="T19" fmla="*/ 10 h 10"/>
                  <a:gd name="T20" fmla="*/ 2 w 11"/>
                  <a:gd name="T21" fmla="*/ 10 h 10"/>
                  <a:gd name="T22" fmla="*/ 2 w 11"/>
                  <a:gd name="T23" fmla="*/ 10 h 10"/>
                  <a:gd name="T24" fmla="*/ 2 w 11"/>
                  <a:gd name="T25" fmla="*/ 10 h 10"/>
                  <a:gd name="T26" fmla="*/ 2 w 11"/>
                  <a:gd name="T27" fmla="*/ 10 h 10"/>
                  <a:gd name="T28" fmla="*/ 2 w 11"/>
                  <a:gd name="T29" fmla="*/ 10 h 10"/>
                  <a:gd name="T30" fmla="*/ 0 w 11"/>
                  <a:gd name="T31" fmla="*/ 10 h 10"/>
                  <a:gd name="T32" fmla="*/ 2 w 11"/>
                  <a:gd name="T33" fmla="*/ 10 h 10"/>
                  <a:gd name="T34" fmla="*/ 0 w 11"/>
                  <a:gd name="T35" fmla="*/ 10 h 10"/>
                  <a:gd name="T36" fmla="*/ 0 w 11"/>
                  <a:gd name="T37" fmla="*/ 10 h 10"/>
                  <a:gd name="T38" fmla="*/ 0 w 11"/>
                  <a:gd name="T39" fmla="*/ 10 h 10"/>
                  <a:gd name="T40" fmla="*/ 0 w 11"/>
                  <a:gd name="T41" fmla="*/ 10 h 10"/>
                  <a:gd name="T42" fmla="*/ 0 w 11"/>
                  <a:gd name="T43" fmla="*/ 10 h 10"/>
                  <a:gd name="T44" fmla="*/ 0 w 11"/>
                  <a:gd name="T45" fmla="*/ 10 h 10"/>
                  <a:gd name="T46" fmla="*/ 0 w 11"/>
                  <a:gd name="T47" fmla="*/ 10 h 10"/>
                  <a:gd name="T48" fmla="*/ 0 w 11"/>
                  <a:gd name="T49" fmla="*/ 10 h 10"/>
                  <a:gd name="T50" fmla="*/ 0 w 11"/>
                  <a:gd name="T51" fmla="*/ 10 h 10"/>
                  <a:gd name="T52" fmla="*/ 0 w 11"/>
                  <a:gd name="T53" fmla="*/ 10 h 10"/>
                  <a:gd name="T54" fmla="*/ 0 w 11"/>
                  <a:gd name="T55" fmla="*/ 10 h 10"/>
                  <a:gd name="T56" fmla="*/ 0 w 11"/>
                  <a:gd name="T57" fmla="*/ 10 h 10"/>
                  <a:gd name="T58" fmla="*/ 0 w 11"/>
                  <a:gd name="T5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 h="10">
                    <a:moveTo>
                      <a:pt x="2" y="10"/>
                    </a:moveTo>
                    <a:lnTo>
                      <a:pt x="2" y="10"/>
                    </a:lnTo>
                    <a:lnTo>
                      <a:pt x="5" y="9"/>
                    </a:lnTo>
                    <a:lnTo>
                      <a:pt x="8" y="6"/>
                    </a:lnTo>
                    <a:lnTo>
                      <a:pt x="11" y="0"/>
                    </a:lnTo>
                    <a:lnTo>
                      <a:pt x="11" y="0"/>
                    </a:lnTo>
                    <a:lnTo>
                      <a:pt x="11" y="0"/>
                    </a:lnTo>
                    <a:lnTo>
                      <a:pt x="8" y="6"/>
                    </a:lnTo>
                    <a:lnTo>
                      <a:pt x="5" y="9"/>
                    </a:lnTo>
                    <a:lnTo>
                      <a:pt x="2" y="10"/>
                    </a:lnTo>
                    <a:close/>
                    <a:moveTo>
                      <a:pt x="2" y="10"/>
                    </a:moveTo>
                    <a:lnTo>
                      <a:pt x="2" y="10"/>
                    </a:lnTo>
                    <a:lnTo>
                      <a:pt x="2" y="10"/>
                    </a:lnTo>
                    <a:lnTo>
                      <a:pt x="2" y="10"/>
                    </a:lnTo>
                    <a:lnTo>
                      <a:pt x="2" y="10"/>
                    </a:lnTo>
                    <a:close/>
                    <a:moveTo>
                      <a:pt x="0" y="10"/>
                    </a:moveTo>
                    <a:lnTo>
                      <a:pt x="2" y="10"/>
                    </a:lnTo>
                    <a:lnTo>
                      <a:pt x="0" y="10"/>
                    </a:lnTo>
                    <a:close/>
                    <a:moveTo>
                      <a:pt x="0" y="10"/>
                    </a:moveTo>
                    <a:lnTo>
                      <a:pt x="0" y="10"/>
                    </a:lnTo>
                    <a:lnTo>
                      <a:pt x="0" y="10"/>
                    </a:lnTo>
                    <a:lnTo>
                      <a:pt x="0" y="10"/>
                    </a:lnTo>
                    <a:lnTo>
                      <a:pt x="0" y="10"/>
                    </a:lnTo>
                    <a:close/>
                    <a:moveTo>
                      <a:pt x="0" y="10"/>
                    </a:moveTo>
                    <a:lnTo>
                      <a:pt x="0" y="10"/>
                    </a:lnTo>
                    <a:lnTo>
                      <a:pt x="0" y="10"/>
                    </a:lnTo>
                    <a:close/>
                    <a:moveTo>
                      <a:pt x="0" y="10"/>
                    </a:moveTo>
                    <a:lnTo>
                      <a:pt x="0" y="10"/>
                    </a:lnTo>
                    <a:lnTo>
                      <a:pt x="0" y="10"/>
                    </a:lnTo>
                    <a:lnTo>
                      <a:pt x="0" y="10"/>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49" name="Freeform 549"/>
              <p:cNvSpPr>
                <a:spLocks/>
              </p:cNvSpPr>
              <p:nvPr/>
            </p:nvSpPr>
            <p:spPr bwMode="auto">
              <a:xfrm>
                <a:off x="2749" y="2578"/>
                <a:ext cx="9" cy="10"/>
              </a:xfrm>
              <a:custGeom>
                <a:avLst/>
                <a:gdLst>
                  <a:gd name="T0" fmla="*/ 0 w 9"/>
                  <a:gd name="T1" fmla="*/ 10 h 10"/>
                  <a:gd name="T2" fmla="*/ 0 w 9"/>
                  <a:gd name="T3" fmla="*/ 10 h 10"/>
                  <a:gd name="T4" fmla="*/ 3 w 9"/>
                  <a:gd name="T5" fmla="*/ 9 h 10"/>
                  <a:gd name="T6" fmla="*/ 6 w 9"/>
                  <a:gd name="T7" fmla="*/ 6 h 10"/>
                  <a:gd name="T8" fmla="*/ 9 w 9"/>
                  <a:gd name="T9" fmla="*/ 0 h 10"/>
                  <a:gd name="T10" fmla="*/ 9 w 9"/>
                  <a:gd name="T11" fmla="*/ 0 h 10"/>
                  <a:gd name="T12" fmla="*/ 9 w 9"/>
                  <a:gd name="T13" fmla="*/ 0 h 10"/>
                  <a:gd name="T14" fmla="*/ 6 w 9"/>
                  <a:gd name="T15" fmla="*/ 6 h 10"/>
                  <a:gd name="T16" fmla="*/ 3 w 9"/>
                  <a:gd name="T17" fmla="*/ 9 h 10"/>
                  <a:gd name="T18" fmla="*/ 0 w 9"/>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0">
                    <a:moveTo>
                      <a:pt x="0" y="10"/>
                    </a:moveTo>
                    <a:lnTo>
                      <a:pt x="0" y="10"/>
                    </a:lnTo>
                    <a:lnTo>
                      <a:pt x="3" y="9"/>
                    </a:lnTo>
                    <a:lnTo>
                      <a:pt x="6" y="6"/>
                    </a:lnTo>
                    <a:lnTo>
                      <a:pt x="9" y="0"/>
                    </a:lnTo>
                    <a:lnTo>
                      <a:pt x="9" y="0"/>
                    </a:lnTo>
                    <a:lnTo>
                      <a:pt x="9" y="0"/>
                    </a:lnTo>
                    <a:lnTo>
                      <a:pt x="6" y="6"/>
                    </a:lnTo>
                    <a:lnTo>
                      <a:pt x="3" y="9"/>
                    </a:lnTo>
                    <a:lnTo>
                      <a:pt x="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50" name="Rectangle 550"/>
              <p:cNvSpPr>
                <a:spLocks noChangeArrowheads="1"/>
              </p:cNvSpPr>
              <p:nvPr/>
            </p:nvSpPr>
            <p:spPr bwMode="auto">
              <a:xfrm>
                <a:off x="2749" y="2588"/>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51" name="Freeform 551"/>
              <p:cNvSpPr>
                <a:spLocks/>
              </p:cNvSpPr>
              <p:nvPr/>
            </p:nvSpPr>
            <p:spPr bwMode="auto">
              <a:xfrm>
                <a:off x="2747" y="2588"/>
                <a:ext cx="2" cy="0"/>
              </a:xfrm>
              <a:custGeom>
                <a:avLst/>
                <a:gdLst>
                  <a:gd name="T0" fmla="*/ 0 w 2"/>
                  <a:gd name="T1" fmla="*/ 2 w 2"/>
                  <a:gd name="T2" fmla="*/ 0 w 2"/>
                </a:gdLst>
                <a:ahLst/>
                <a:cxnLst>
                  <a:cxn ang="0">
                    <a:pos x="T0" y="0"/>
                  </a:cxn>
                  <a:cxn ang="0">
                    <a:pos x="T1" y="0"/>
                  </a:cxn>
                  <a:cxn ang="0">
                    <a:pos x="T2" y="0"/>
                  </a:cxn>
                </a:cxnLst>
                <a:rect l="0" t="0" r="r" b="b"/>
                <a:pathLst>
                  <a:path w="2">
                    <a:moveTo>
                      <a:pt x="0" y="0"/>
                    </a:move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52" name="Rectangle 552"/>
              <p:cNvSpPr>
                <a:spLocks noChangeArrowheads="1"/>
              </p:cNvSpPr>
              <p:nvPr/>
            </p:nvSpPr>
            <p:spPr bwMode="auto">
              <a:xfrm>
                <a:off x="2747" y="2588"/>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53" name="Freeform 553"/>
              <p:cNvSpPr>
                <a:spLocks/>
              </p:cNvSpPr>
              <p:nvPr/>
            </p:nvSpPr>
            <p:spPr bwMode="auto">
              <a:xfrm>
                <a:off x="2747" y="2588"/>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54" name="Freeform 554"/>
              <p:cNvSpPr>
                <a:spLocks/>
              </p:cNvSpPr>
              <p:nvPr/>
            </p:nvSpPr>
            <p:spPr bwMode="auto">
              <a:xfrm>
                <a:off x="2747" y="2588"/>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55" name="Freeform 555"/>
              <p:cNvSpPr>
                <a:spLocks/>
              </p:cNvSpPr>
              <p:nvPr/>
            </p:nvSpPr>
            <p:spPr bwMode="auto">
              <a:xfrm>
                <a:off x="2720" y="2588"/>
                <a:ext cx="12" cy="6"/>
              </a:xfrm>
              <a:custGeom>
                <a:avLst/>
                <a:gdLst>
                  <a:gd name="T0" fmla="*/ 0 w 12"/>
                  <a:gd name="T1" fmla="*/ 6 h 6"/>
                  <a:gd name="T2" fmla="*/ 0 w 12"/>
                  <a:gd name="T3" fmla="*/ 6 h 6"/>
                  <a:gd name="T4" fmla="*/ 0 w 12"/>
                  <a:gd name="T5" fmla="*/ 6 h 6"/>
                  <a:gd name="T6" fmla="*/ 12 w 12"/>
                  <a:gd name="T7" fmla="*/ 0 h 6"/>
                  <a:gd name="T8" fmla="*/ 12 w 12"/>
                  <a:gd name="T9" fmla="*/ 0 h 6"/>
                  <a:gd name="T10" fmla="*/ 0 w 12"/>
                  <a:gd name="T11" fmla="*/ 6 h 6"/>
                </a:gdLst>
                <a:ahLst/>
                <a:cxnLst>
                  <a:cxn ang="0">
                    <a:pos x="T0" y="T1"/>
                  </a:cxn>
                  <a:cxn ang="0">
                    <a:pos x="T2" y="T3"/>
                  </a:cxn>
                  <a:cxn ang="0">
                    <a:pos x="T4" y="T5"/>
                  </a:cxn>
                  <a:cxn ang="0">
                    <a:pos x="T6" y="T7"/>
                  </a:cxn>
                  <a:cxn ang="0">
                    <a:pos x="T8" y="T9"/>
                  </a:cxn>
                  <a:cxn ang="0">
                    <a:pos x="T10" y="T11"/>
                  </a:cxn>
                </a:cxnLst>
                <a:rect l="0" t="0" r="r" b="b"/>
                <a:pathLst>
                  <a:path w="12" h="6">
                    <a:moveTo>
                      <a:pt x="0" y="6"/>
                    </a:moveTo>
                    <a:lnTo>
                      <a:pt x="0" y="6"/>
                    </a:lnTo>
                    <a:lnTo>
                      <a:pt x="0" y="6"/>
                    </a:lnTo>
                    <a:lnTo>
                      <a:pt x="12" y="0"/>
                    </a:lnTo>
                    <a:lnTo>
                      <a:pt x="12" y="0"/>
                    </a:lnTo>
                    <a:lnTo>
                      <a:pt x="0" y="6"/>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56" name="Freeform 556"/>
              <p:cNvSpPr>
                <a:spLocks/>
              </p:cNvSpPr>
              <p:nvPr/>
            </p:nvSpPr>
            <p:spPr bwMode="auto">
              <a:xfrm>
                <a:off x="2720" y="2588"/>
                <a:ext cx="12" cy="6"/>
              </a:xfrm>
              <a:custGeom>
                <a:avLst/>
                <a:gdLst>
                  <a:gd name="T0" fmla="*/ 0 w 12"/>
                  <a:gd name="T1" fmla="*/ 6 h 6"/>
                  <a:gd name="T2" fmla="*/ 0 w 12"/>
                  <a:gd name="T3" fmla="*/ 6 h 6"/>
                  <a:gd name="T4" fmla="*/ 0 w 12"/>
                  <a:gd name="T5" fmla="*/ 6 h 6"/>
                  <a:gd name="T6" fmla="*/ 12 w 12"/>
                  <a:gd name="T7" fmla="*/ 0 h 6"/>
                  <a:gd name="T8" fmla="*/ 12 w 12"/>
                  <a:gd name="T9" fmla="*/ 0 h 6"/>
                  <a:gd name="T10" fmla="*/ 0 w 12"/>
                  <a:gd name="T11" fmla="*/ 6 h 6"/>
                </a:gdLst>
                <a:ahLst/>
                <a:cxnLst>
                  <a:cxn ang="0">
                    <a:pos x="T0" y="T1"/>
                  </a:cxn>
                  <a:cxn ang="0">
                    <a:pos x="T2" y="T3"/>
                  </a:cxn>
                  <a:cxn ang="0">
                    <a:pos x="T4" y="T5"/>
                  </a:cxn>
                  <a:cxn ang="0">
                    <a:pos x="T6" y="T7"/>
                  </a:cxn>
                  <a:cxn ang="0">
                    <a:pos x="T8" y="T9"/>
                  </a:cxn>
                  <a:cxn ang="0">
                    <a:pos x="T10" y="T11"/>
                  </a:cxn>
                </a:cxnLst>
                <a:rect l="0" t="0" r="r" b="b"/>
                <a:pathLst>
                  <a:path w="12" h="6">
                    <a:moveTo>
                      <a:pt x="0" y="6"/>
                    </a:moveTo>
                    <a:lnTo>
                      <a:pt x="0" y="6"/>
                    </a:lnTo>
                    <a:lnTo>
                      <a:pt x="0" y="6"/>
                    </a:lnTo>
                    <a:lnTo>
                      <a:pt x="12" y="0"/>
                    </a:lnTo>
                    <a:lnTo>
                      <a:pt x="12"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57" name="Freeform 557"/>
              <p:cNvSpPr>
                <a:spLocks/>
              </p:cNvSpPr>
              <p:nvPr/>
            </p:nvSpPr>
            <p:spPr bwMode="auto">
              <a:xfrm>
                <a:off x="2445" y="2503"/>
                <a:ext cx="91" cy="71"/>
              </a:xfrm>
              <a:custGeom>
                <a:avLst/>
                <a:gdLst>
                  <a:gd name="T0" fmla="*/ 11 w 91"/>
                  <a:gd name="T1" fmla="*/ 69 h 71"/>
                  <a:gd name="T2" fmla="*/ 8 w 91"/>
                  <a:gd name="T3" fmla="*/ 68 h 71"/>
                  <a:gd name="T4" fmla="*/ 8 w 91"/>
                  <a:gd name="T5" fmla="*/ 63 h 71"/>
                  <a:gd name="T6" fmla="*/ 11 w 91"/>
                  <a:gd name="T7" fmla="*/ 56 h 71"/>
                  <a:gd name="T8" fmla="*/ 29 w 91"/>
                  <a:gd name="T9" fmla="*/ 55 h 71"/>
                  <a:gd name="T10" fmla="*/ 43 w 91"/>
                  <a:gd name="T11" fmla="*/ 56 h 71"/>
                  <a:gd name="T12" fmla="*/ 43 w 91"/>
                  <a:gd name="T13" fmla="*/ 56 h 71"/>
                  <a:gd name="T14" fmla="*/ 49 w 91"/>
                  <a:gd name="T15" fmla="*/ 55 h 71"/>
                  <a:gd name="T16" fmla="*/ 49 w 91"/>
                  <a:gd name="T17" fmla="*/ 53 h 71"/>
                  <a:gd name="T18" fmla="*/ 49 w 91"/>
                  <a:gd name="T19" fmla="*/ 49 h 71"/>
                  <a:gd name="T20" fmla="*/ 43 w 91"/>
                  <a:gd name="T21" fmla="*/ 43 h 71"/>
                  <a:gd name="T22" fmla="*/ 43 w 91"/>
                  <a:gd name="T23" fmla="*/ 43 h 71"/>
                  <a:gd name="T24" fmla="*/ 37 w 91"/>
                  <a:gd name="T25" fmla="*/ 42 h 71"/>
                  <a:gd name="T26" fmla="*/ 37 w 91"/>
                  <a:gd name="T27" fmla="*/ 42 h 71"/>
                  <a:gd name="T28" fmla="*/ 36 w 91"/>
                  <a:gd name="T29" fmla="*/ 42 h 71"/>
                  <a:gd name="T30" fmla="*/ 36 w 91"/>
                  <a:gd name="T31" fmla="*/ 42 h 71"/>
                  <a:gd name="T32" fmla="*/ 13 w 91"/>
                  <a:gd name="T33" fmla="*/ 49 h 71"/>
                  <a:gd name="T34" fmla="*/ 13 w 91"/>
                  <a:gd name="T35" fmla="*/ 49 h 71"/>
                  <a:gd name="T36" fmla="*/ 8 w 91"/>
                  <a:gd name="T37" fmla="*/ 47 h 71"/>
                  <a:gd name="T38" fmla="*/ 6 w 91"/>
                  <a:gd name="T39" fmla="*/ 39 h 71"/>
                  <a:gd name="T40" fmla="*/ 4 w 91"/>
                  <a:gd name="T41" fmla="*/ 34 h 71"/>
                  <a:gd name="T42" fmla="*/ 0 w 91"/>
                  <a:gd name="T43" fmla="*/ 30 h 71"/>
                  <a:gd name="T44" fmla="*/ 3 w 91"/>
                  <a:gd name="T45" fmla="*/ 26 h 71"/>
                  <a:gd name="T46" fmla="*/ 10 w 91"/>
                  <a:gd name="T47" fmla="*/ 16 h 71"/>
                  <a:gd name="T48" fmla="*/ 14 w 91"/>
                  <a:gd name="T49" fmla="*/ 3 h 71"/>
                  <a:gd name="T50" fmla="*/ 36 w 91"/>
                  <a:gd name="T51" fmla="*/ 0 h 71"/>
                  <a:gd name="T52" fmla="*/ 37 w 91"/>
                  <a:gd name="T53" fmla="*/ 0 h 71"/>
                  <a:gd name="T54" fmla="*/ 45 w 91"/>
                  <a:gd name="T55" fmla="*/ 1 h 71"/>
                  <a:gd name="T56" fmla="*/ 45 w 91"/>
                  <a:gd name="T57" fmla="*/ 1 h 71"/>
                  <a:gd name="T58" fmla="*/ 50 w 91"/>
                  <a:gd name="T59" fmla="*/ 5 h 71"/>
                  <a:gd name="T60" fmla="*/ 64 w 91"/>
                  <a:gd name="T61" fmla="*/ 5 h 71"/>
                  <a:gd name="T62" fmla="*/ 65 w 91"/>
                  <a:gd name="T63" fmla="*/ 14 h 71"/>
                  <a:gd name="T64" fmla="*/ 69 w 91"/>
                  <a:gd name="T65" fmla="*/ 21 h 71"/>
                  <a:gd name="T66" fmla="*/ 74 w 91"/>
                  <a:gd name="T67" fmla="*/ 23 h 71"/>
                  <a:gd name="T68" fmla="*/ 78 w 91"/>
                  <a:gd name="T69" fmla="*/ 40 h 71"/>
                  <a:gd name="T70" fmla="*/ 84 w 91"/>
                  <a:gd name="T71" fmla="*/ 50 h 71"/>
                  <a:gd name="T72" fmla="*/ 90 w 91"/>
                  <a:gd name="T73" fmla="*/ 59 h 71"/>
                  <a:gd name="T74" fmla="*/ 90 w 91"/>
                  <a:gd name="T75" fmla="*/ 59 h 71"/>
                  <a:gd name="T76" fmla="*/ 91 w 91"/>
                  <a:gd name="T77" fmla="*/ 66 h 71"/>
                  <a:gd name="T78" fmla="*/ 84 w 91"/>
                  <a:gd name="T79" fmla="*/ 69 h 71"/>
                  <a:gd name="T80" fmla="*/ 84 w 91"/>
                  <a:gd name="T81" fmla="*/ 69 h 71"/>
                  <a:gd name="T82" fmla="*/ 84 w 91"/>
                  <a:gd name="T83" fmla="*/ 69 h 71"/>
                  <a:gd name="T84" fmla="*/ 52 w 91"/>
                  <a:gd name="T85"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1" h="71">
                    <a:moveTo>
                      <a:pt x="11" y="71"/>
                    </a:moveTo>
                    <a:lnTo>
                      <a:pt x="11" y="71"/>
                    </a:lnTo>
                    <a:lnTo>
                      <a:pt x="11" y="69"/>
                    </a:lnTo>
                    <a:lnTo>
                      <a:pt x="11" y="69"/>
                    </a:lnTo>
                    <a:lnTo>
                      <a:pt x="8" y="68"/>
                    </a:lnTo>
                    <a:lnTo>
                      <a:pt x="8" y="68"/>
                    </a:lnTo>
                    <a:lnTo>
                      <a:pt x="7" y="65"/>
                    </a:lnTo>
                    <a:lnTo>
                      <a:pt x="8" y="63"/>
                    </a:lnTo>
                    <a:lnTo>
                      <a:pt x="8" y="63"/>
                    </a:lnTo>
                    <a:lnTo>
                      <a:pt x="10" y="59"/>
                    </a:lnTo>
                    <a:lnTo>
                      <a:pt x="10" y="59"/>
                    </a:lnTo>
                    <a:lnTo>
                      <a:pt x="11" y="56"/>
                    </a:lnTo>
                    <a:lnTo>
                      <a:pt x="11" y="56"/>
                    </a:lnTo>
                    <a:lnTo>
                      <a:pt x="29" y="55"/>
                    </a:lnTo>
                    <a:lnTo>
                      <a:pt x="29" y="55"/>
                    </a:lnTo>
                    <a:lnTo>
                      <a:pt x="36" y="55"/>
                    </a:lnTo>
                    <a:lnTo>
                      <a:pt x="36" y="55"/>
                    </a:lnTo>
                    <a:lnTo>
                      <a:pt x="43" y="56"/>
                    </a:lnTo>
                    <a:lnTo>
                      <a:pt x="43" y="56"/>
                    </a:lnTo>
                    <a:lnTo>
                      <a:pt x="43" y="56"/>
                    </a:lnTo>
                    <a:lnTo>
                      <a:pt x="43" y="56"/>
                    </a:lnTo>
                    <a:lnTo>
                      <a:pt x="46" y="55"/>
                    </a:lnTo>
                    <a:lnTo>
                      <a:pt x="49" y="55"/>
                    </a:lnTo>
                    <a:lnTo>
                      <a:pt x="49" y="55"/>
                    </a:lnTo>
                    <a:lnTo>
                      <a:pt x="49" y="55"/>
                    </a:lnTo>
                    <a:lnTo>
                      <a:pt x="49" y="55"/>
                    </a:lnTo>
                    <a:lnTo>
                      <a:pt x="49" y="53"/>
                    </a:lnTo>
                    <a:lnTo>
                      <a:pt x="49" y="53"/>
                    </a:lnTo>
                    <a:lnTo>
                      <a:pt x="50" y="52"/>
                    </a:lnTo>
                    <a:lnTo>
                      <a:pt x="49" y="49"/>
                    </a:lnTo>
                    <a:lnTo>
                      <a:pt x="43" y="43"/>
                    </a:lnTo>
                    <a:lnTo>
                      <a:pt x="43" y="43"/>
                    </a:lnTo>
                    <a:lnTo>
                      <a:pt x="43" y="43"/>
                    </a:lnTo>
                    <a:lnTo>
                      <a:pt x="43" y="43"/>
                    </a:lnTo>
                    <a:lnTo>
                      <a:pt x="43" y="43"/>
                    </a:lnTo>
                    <a:lnTo>
                      <a:pt x="43" y="43"/>
                    </a:lnTo>
                    <a:lnTo>
                      <a:pt x="39" y="42"/>
                    </a:lnTo>
                    <a:lnTo>
                      <a:pt x="39" y="42"/>
                    </a:lnTo>
                    <a:lnTo>
                      <a:pt x="37" y="42"/>
                    </a:lnTo>
                    <a:lnTo>
                      <a:pt x="37" y="42"/>
                    </a:lnTo>
                    <a:lnTo>
                      <a:pt x="37" y="42"/>
                    </a:lnTo>
                    <a:lnTo>
                      <a:pt x="37" y="42"/>
                    </a:lnTo>
                    <a:lnTo>
                      <a:pt x="37" y="42"/>
                    </a:lnTo>
                    <a:lnTo>
                      <a:pt x="36" y="42"/>
                    </a:lnTo>
                    <a:lnTo>
                      <a:pt x="36" y="42"/>
                    </a:lnTo>
                    <a:lnTo>
                      <a:pt x="36" y="42"/>
                    </a:lnTo>
                    <a:lnTo>
                      <a:pt x="36" y="42"/>
                    </a:lnTo>
                    <a:lnTo>
                      <a:pt x="36" y="42"/>
                    </a:lnTo>
                    <a:lnTo>
                      <a:pt x="27" y="46"/>
                    </a:lnTo>
                    <a:lnTo>
                      <a:pt x="20" y="49"/>
                    </a:lnTo>
                    <a:lnTo>
                      <a:pt x="13" y="49"/>
                    </a:lnTo>
                    <a:lnTo>
                      <a:pt x="13" y="49"/>
                    </a:lnTo>
                    <a:lnTo>
                      <a:pt x="13" y="49"/>
                    </a:lnTo>
                    <a:lnTo>
                      <a:pt x="13" y="49"/>
                    </a:lnTo>
                    <a:lnTo>
                      <a:pt x="10" y="49"/>
                    </a:lnTo>
                    <a:lnTo>
                      <a:pt x="10" y="49"/>
                    </a:lnTo>
                    <a:lnTo>
                      <a:pt x="8" y="47"/>
                    </a:lnTo>
                    <a:lnTo>
                      <a:pt x="8" y="47"/>
                    </a:lnTo>
                    <a:lnTo>
                      <a:pt x="7" y="42"/>
                    </a:lnTo>
                    <a:lnTo>
                      <a:pt x="6" y="39"/>
                    </a:lnTo>
                    <a:lnTo>
                      <a:pt x="6" y="39"/>
                    </a:lnTo>
                    <a:lnTo>
                      <a:pt x="4" y="34"/>
                    </a:lnTo>
                    <a:lnTo>
                      <a:pt x="4" y="34"/>
                    </a:lnTo>
                    <a:lnTo>
                      <a:pt x="0" y="32"/>
                    </a:lnTo>
                    <a:lnTo>
                      <a:pt x="0" y="32"/>
                    </a:lnTo>
                    <a:lnTo>
                      <a:pt x="0" y="30"/>
                    </a:lnTo>
                    <a:lnTo>
                      <a:pt x="0" y="30"/>
                    </a:lnTo>
                    <a:lnTo>
                      <a:pt x="3" y="26"/>
                    </a:lnTo>
                    <a:lnTo>
                      <a:pt x="3" y="26"/>
                    </a:lnTo>
                    <a:lnTo>
                      <a:pt x="7" y="20"/>
                    </a:lnTo>
                    <a:lnTo>
                      <a:pt x="7" y="20"/>
                    </a:lnTo>
                    <a:lnTo>
                      <a:pt x="10" y="16"/>
                    </a:lnTo>
                    <a:lnTo>
                      <a:pt x="13" y="10"/>
                    </a:lnTo>
                    <a:lnTo>
                      <a:pt x="13" y="10"/>
                    </a:lnTo>
                    <a:lnTo>
                      <a:pt x="14" y="3"/>
                    </a:lnTo>
                    <a:lnTo>
                      <a:pt x="14" y="3"/>
                    </a:lnTo>
                    <a:lnTo>
                      <a:pt x="36" y="0"/>
                    </a:lnTo>
                    <a:lnTo>
                      <a:pt x="36" y="0"/>
                    </a:lnTo>
                    <a:lnTo>
                      <a:pt x="37" y="0"/>
                    </a:lnTo>
                    <a:lnTo>
                      <a:pt x="37" y="0"/>
                    </a:lnTo>
                    <a:lnTo>
                      <a:pt x="37" y="0"/>
                    </a:lnTo>
                    <a:lnTo>
                      <a:pt x="45" y="1"/>
                    </a:lnTo>
                    <a:lnTo>
                      <a:pt x="45" y="1"/>
                    </a:lnTo>
                    <a:lnTo>
                      <a:pt x="45" y="1"/>
                    </a:lnTo>
                    <a:lnTo>
                      <a:pt x="45" y="1"/>
                    </a:lnTo>
                    <a:lnTo>
                      <a:pt x="45" y="1"/>
                    </a:lnTo>
                    <a:lnTo>
                      <a:pt x="45" y="1"/>
                    </a:lnTo>
                    <a:lnTo>
                      <a:pt x="48" y="3"/>
                    </a:lnTo>
                    <a:lnTo>
                      <a:pt x="49" y="4"/>
                    </a:lnTo>
                    <a:lnTo>
                      <a:pt x="50" y="5"/>
                    </a:lnTo>
                    <a:lnTo>
                      <a:pt x="53" y="5"/>
                    </a:lnTo>
                    <a:lnTo>
                      <a:pt x="64" y="5"/>
                    </a:lnTo>
                    <a:lnTo>
                      <a:pt x="64" y="5"/>
                    </a:lnTo>
                    <a:lnTo>
                      <a:pt x="64" y="8"/>
                    </a:lnTo>
                    <a:lnTo>
                      <a:pt x="64" y="8"/>
                    </a:lnTo>
                    <a:lnTo>
                      <a:pt x="65" y="14"/>
                    </a:lnTo>
                    <a:lnTo>
                      <a:pt x="66" y="17"/>
                    </a:lnTo>
                    <a:lnTo>
                      <a:pt x="69" y="21"/>
                    </a:lnTo>
                    <a:lnTo>
                      <a:pt x="69" y="21"/>
                    </a:lnTo>
                    <a:lnTo>
                      <a:pt x="72" y="23"/>
                    </a:lnTo>
                    <a:lnTo>
                      <a:pt x="74" y="23"/>
                    </a:lnTo>
                    <a:lnTo>
                      <a:pt x="74" y="23"/>
                    </a:lnTo>
                    <a:lnTo>
                      <a:pt x="75" y="23"/>
                    </a:lnTo>
                    <a:lnTo>
                      <a:pt x="75" y="23"/>
                    </a:lnTo>
                    <a:lnTo>
                      <a:pt x="78" y="40"/>
                    </a:lnTo>
                    <a:lnTo>
                      <a:pt x="78" y="40"/>
                    </a:lnTo>
                    <a:lnTo>
                      <a:pt x="81" y="46"/>
                    </a:lnTo>
                    <a:lnTo>
                      <a:pt x="84" y="50"/>
                    </a:lnTo>
                    <a:lnTo>
                      <a:pt x="87" y="55"/>
                    </a:lnTo>
                    <a:lnTo>
                      <a:pt x="90" y="59"/>
                    </a:lnTo>
                    <a:lnTo>
                      <a:pt x="90" y="59"/>
                    </a:lnTo>
                    <a:lnTo>
                      <a:pt x="90" y="59"/>
                    </a:lnTo>
                    <a:lnTo>
                      <a:pt x="90" y="59"/>
                    </a:lnTo>
                    <a:lnTo>
                      <a:pt x="90" y="59"/>
                    </a:lnTo>
                    <a:lnTo>
                      <a:pt x="90" y="59"/>
                    </a:lnTo>
                    <a:lnTo>
                      <a:pt x="91" y="66"/>
                    </a:lnTo>
                    <a:lnTo>
                      <a:pt x="91" y="66"/>
                    </a:lnTo>
                    <a:lnTo>
                      <a:pt x="88" y="69"/>
                    </a:lnTo>
                    <a:lnTo>
                      <a:pt x="84" y="69"/>
                    </a:lnTo>
                    <a:lnTo>
                      <a:pt x="84" y="69"/>
                    </a:lnTo>
                    <a:lnTo>
                      <a:pt x="84" y="69"/>
                    </a:lnTo>
                    <a:lnTo>
                      <a:pt x="84" y="69"/>
                    </a:lnTo>
                    <a:lnTo>
                      <a:pt x="84" y="69"/>
                    </a:lnTo>
                    <a:lnTo>
                      <a:pt x="84" y="69"/>
                    </a:lnTo>
                    <a:lnTo>
                      <a:pt x="84" y="69"/>
                    </a:lnTo>
                    <a:lnTo>
                      <a:pt x="84" y="69"/>
                    </a:lnTo>
                    <a:lnTo>
                      <a:pt x="66" y="66"/>
                    </a:lnTo>
                    <a:lnTo>
                      <a:pt x="53" y="65"/>
                    </a:lnTo>
                    <a:lnTo>
                      <a:pt x="52" y="65"/>
                    </a:lnTo>
                    <a:lnTo>
                      <a:pt x="52" y="65"/>
                    </a:lnTo>
                    <a:lnTo>
                      <a:pt x="11" y="71"/>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58" name="Freeform 558"/>
              <p:cNvSpPr>
                <a:spLocks/>
              </p:cNvSpPr>
              <p:nvPr/>
            </p:nvSpPr>
            <p:spPr bwMode="auto">
              <a:xfrm>
                <a:off x="2445" y="2503"/>
                <a:ext cx="91" cy="71"/>
              </a:xfrm>
              <a:custGeom>
                <a:avLst/>
                <a:gdLst>
                  <a:gd name="T0" fmla="*/ 11 w 91"/>
                  <a:gd name="T1" fmla="*/ 69 h 71"/>
                  <a:gd name="T2" fmla="*/ 8 w 91"/>
                  <a:gd name="T3" fmla="*/ 68 h 71"/>
                  <a:gd name="T4" fmla="*/ 8 w 91"/>
                  <a:gd name="T5" fmla="*/ 63 h 71"/>
                  <a:gd name="T6" fmla="*/ 11 w 91"/>
                  <a:gd name="T7" fmla="*/ 56 h 71"/>
                  <a:gd name="T8" fmla="*/ 29 w 91"/>
                  <a:gd name="T9" fmla="*/ 55 h 71"/>
                  <a:gd name="T10" fmla="*/ 43 w 91"/>
                  <a:gd name="T11" fmla="*/ 56 h 71"/>
                  <a:gd name="T12" fmla="*/ 43 w 91"/>
                  <a:gd name="T13" fmla="*/ 56 h 71"/>
                  <a:gd name="T14" fmla="*/ 49 w 91"/>
                  <a:gd name="T15" fmla="*/ 55 h 71"/>
                  <a:gd name="T16" fmla="*/ 49 w 91"/>
                  <a:gd name="T17" fmla="*/ 53 h 71"/>
                  <a:gd name="T18" fmla="*/ 49 w 91"/>
                  <a:gd name="T19" fmla="*/ 49 h 71"/>
                  <a:gd name="T20" fmla="*/ 43 w 91"/>
                  <a:gd name="T21" fmla="*/ 43 h 71"/>
                  <a:gd name="T22" fmla="*/ 43 w 91"/>
                  <a:gd name="T23" fmla="*/ 43 h 71"/>
                  <a:gd name="T24" fmla="*/ 37 w 91"/>
                  <a:gd name="T25" fmla="*/ 42 h 71"/>
                  <a:gd name="T26" fmla="*/ 37 w 91"/>
                  <a:gd name="T27" fmla="*/ 42 h 71"/>
                  <a:gd name="T28" fmla="*/ 36 w 91"/>
                  <a:gd name="T29" fmla="*/ 42 h 71"/>
                  <a:gd name="T30" fmla="*/ 36 w 91"/>
                  <a:gd name="T31" fmla="*/ 42 h 71"/>
                  <a:gd name="T32" fmla="*/ 13 w 91"/>
                  <a:gd name="T33" fmla="*/ 49 h 71"/>
                  <a:gd name="T34" fmla="*/ 13 w 91"/>
                  <a:gd name="T35" fmla="*/ 49 h 71"/>
                  <a:gd name="T36" fmla="*/ 8 w 91"/>
                  <a:gd name="T37" fmla="*/ 47 h 71"/>
                  <a:gd name="T38" fmla="*/ 6 w 91"/>
                  <a:gd name="T39" fmla="*/ 39 h 71"/>
                  <a:gd name="T40" fmla="*/ 4 w 91"/>
                  <a:gd name="T41" fmla="*/ 34 h 71"/>
                  <a:gd name="T42" fmla="*/ 0 w 91"/>
                  <a:gd name="T43" fmla="*/ 30 h 71"/>
                  <a:gd name="T44" fmla="*/ 3 w 91"/>
                  <a:gd name="T45" fmla="*/ 26 h 71"/>
                  <a:gd name="T46" fmla="*/ 10 w 91"/>
                  <a:gd name="T47" fmla="*/ 16 h 71"/>
                  <a:gd name="T48" fmla="*/ 14 w 91"/>
                  <a:gd name="T49" fmla="*/ 3 h 71"/>
                  <a:gd name="T50" fmla="*/ 36 w 91"/>
                  <a:gd name="T51" fmla="*/ 0 h 71"/>
                  <a:gd name="T52" fmla="*/ 37 w 91"/>
                  <a:gd name="T53" fmla="*/ 0 h 71"/>
                  <a:gd name="T54" fmla="*/ 45 w 91"/>
                  <a:gd name="T55" fmla="*/ 1 h 71"/>
                  <a:gd name="T56" fmla="*/ 45 w 91"/>
                  <a:gd name="T57" fmla="*/ 1 h 71"/>
                  <a:gd name="T58" fmla="*/ 50 w 91"/>
                  <a:gd name="T59" fmla="*/ 5 h 71"/>
                  <a:gd name="T60" fmla="*/ 64 w 91"/>
                  <a:gd name="T61" fmla="*/ 5 h 71"/>
                  <a:gd name="T62" fmla="*/ 65 w 91"/>
                  <a:gd name="T63" fmla="*/ 14 h 71"/>
                  <a:gd name="T64" fmla="*/ 69 w 91"/>
                  <a:gd name="T65" fmla="*/ 21 h 71"/>
                  <a:gd name="T66" fmla="*/ 74 w 91"/>
                  <a:gd name="T67" fmla="*/ 23 h 71"/>
                  <a:gd name="T68" fmla="*/ 78 w 91"/>
                  <a:gd name="T69" fmla="*/ 40 h 71"/>
                  <a:gd name="T70" fmla="*/ 84 w 91"/>
                  <a:gd name="T71" fmla="*/ 50 h 71"/>
                  <a:gd name="T72" fmla="*/ 90 w 91"/>
                  <a:gd name="T73" fmla="*/ 59 h 71"/>
                  <a:gd name="T74" fmla="*/ 90 w 91"/>
                  <a:gd name="T75" fmla="*/ 59 h 71"/>
                  <a:gd name="T76" fmla="*/ 91 w 91"/>
                  <a:gd name="T77" fmla="*/ 66 h 71"/>
                  <a:gd name="T78" fmla="*/ 84 w 91"/>
                  <a:gd name="T79" fmla="*/ 69 h 71"/>
                  <a:gd name="T80" fmla="*/ 84 w 91"/>
                  <a:gd name="T81" fmla="*/ 69 h 71"/>
                  <a:gd name="T82" fmla="*/ 84 w 91"/>
                  <a:gd name="T83" fmla="*/ 69 h 71"/>
                  <a:gd name="T84" fmla="*/ 52 w 91"/>
                  <a:gd name="T85"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1" h="71">
                    <a:moveTo>
                      <a:pt x="11" y="71"/>
                    </a:moveTo>
                    <a:lnTo>
                      <a:pt x="11" y="71"/>
                    </a:lnTo>
                    <a:lnTo>
                      <a:pt x="11" y="69"/>
                    </a:lnTo>
                    <a:lnTo>
                      <a:pt x="11" y="69"/>
                    </a:lnTo>
                    <a:lnTo>
                      <a:pt x="8" y="68"/>
                    </a:lnTo>
                    <a:lnTo>
                      <a:pt x="8" y="68"/>
                    </a:lnTo>
                    <a:lnTo>
                      <a:pt x="7" y="65"/>
                    </a:lnTo>
                    <a:lnTo>
                      <a:pt x="8" y="63"/>
                    </a:lnTo>
                    <a:lnTo>
                      <a:pt x="8" y="63"/>
                    </a:lnTo>
                    <a:lnTo>
                      <a:pt x="10" y="59"/>
                    </a:lnTo>
                    <a:lnTo>
                      <a:pt x="10" y="59"/>
                    </a:lnTo>
                    <a:lnTo>
                      <a:pt x="11" y="56"/>
                    </a:lnTo>
                    <a:lnTo>
                      <a:pt x="11" y="56"/>
                    </a:lnTo>
                    <a:lnTo>
                      <a:pt x="29" y="55"/>
                    </a:lnTo>
                    <a:lnTo>
                      <a:pt x="29" y="55"/>
                    </a:lnTo>
                    <a:lnTo>
                      <a:pt x="36" y="55"/>
                    </a:lnTo>
                    <a:lnTo>
                      <a:pt x="36" y="55"/>
                    </a:lnTo>
                    <a:lnTo>
                      <a:pt x="43" y="56"/>
                    </a:lnTo>
                    <a:lnTo>
                      <a:pt x="43" y="56"/>
                    </a:lnTo>
                    <a:lnTo>
                      <a:pt x="43" y="56"/>
                    </a:lnTo>
                    <a:lnTo>
                      <a:pt x="43" y="56"/>
                    </a:lnTo>
                    <a:lnTo>
                      <a:pt x="46" y="55"/>
                    </a:lnTo>
                    <a:lnTo>
                      <a:pt x="49" y="55"/>
                    </a:lnTo>
                    <a:lnTo>
                      <a:pt x="49" y="55"/>
                    </a:lnTo>
                    <a:lnTo>
                      <a:pt x="49" y="55"/>
                    </a:lnTo>
                    <a:lnTo>
                      <a:pt x="49" y="55"/>
                    </a:lnTo>
                    <a:lnTo>
                      <a:pt x="49" y="53"/>
                    </a:lnTo>
                    <a:lnTo>
                      <a:pt x="49" y="53"/>
                    </a:lnTo>
                    <a:lnTo>
                      <a:pt x="50" y="52"/>
                    </a:lnTo>
                    <a:lnTo>
                      <a:pt x="49" y="49"/>
                    </a:lnTo>
                    <a:lnTo>
                      <a:pt x="43" y="43"/>
                    </a:lnTo>
                    <a:lnTo>
                      <a:pt x="43" y="43"/>
                    </a:lnTo>
                    <a:lnTo>
                      <a:pt x="43" y="43"/>
                    </a:lnTo>
                    <a:lnTo>
                      <a:pt x="43" y="43"/>
                    </a:lnTo>
                    <a:lnTo>
                      <a:pt x="43" y="43"/>
                    </a:lnTo>
                    <a:lnTo>
                      <a:pt x="43" y="43"/>
                    </a:lnTo>
                    <a:lnTo>
                      <a:pt x="39" y="42"/>
                    </a:lnTo>
                    <a:lnTo>
                      <a:pt x="39" y="42"/>
                    </a:lnTo>
                    <a:lnTo>
                      <a:pt x="37" y="42"/>
                    </a:lnTo>
                    <a:lnTo>
                      <a:pt x="37" y="42"/>
                    </a:lnTo>
                    <a:lnTo>
                      <a:pt x="37" y="42"/>
                    </a:lnTo>
                    <a:lnTo>
                      <a:pt x="37" y="42"/>
                    </a:lnTo>
                    <a:lnTo>
                      <a:pt x="37" y="42"/>
                    </a:lnTo>
                    <a:lnTo>
                      <a:pt x="36" y="42"/>
                    </a:lnTo>
                    <a:lnTo>
                      <a:pt x="36" y="42"/>
                    </a:lnTo>
                    <a:lnTo>
                      <a:pt x="36" y="42"/>
                    </a:lnTo>
                    <a:lnTo>
                      <a:pt x="36" y="42"/>
                    </a:lnTo>
                    <a:lnTo>
                      <a:pt x="36" y="42"/>
                    </a:lnTo>
                    <a:lnTo>
                      <a:pt x="27" y="46"/>
                    </a:lnTo>
                    <a:lnTo>
                      <a:pt x="20" y="49"/>
                    </a:lnTo>
                    <a:lnTo>
                      <a:pt x="13" y="49"/>
                    </a:lnTo>
                    <a:lnTo>
                      <a:pt x="13" y="49"/>
                    </a:lnTo>
                    <a:lnTo>
                      <a:pt x="13" y="49"/>
                    </a:lnTo>
                    <a:lnTo>
                      <a:pt x="13" y="49"/>
                    </a:lnTo>
                    <a:lnTo>
                      <a:pt x="10" y="49"/>
                    </a:lnTo>
                    <a:lnTo>
                      <a:pt x="10" y="49"/>
                    </a:lnTo>
                    <a:lnTo>
                      <a:pt x="8" y="47"/>
                    </a:lnTo>
                    <a:lnTo>
                      <a:pt x="8" y="47"/>
                    </a:lnTo>
                    <a:lnTo>
                      <a:pt x="7" y="42"/>
                    </a:lnTo>
                    <a:lnTo>
                      <a:pt x="6" y="39"/>
                    </a:lnTo>
                    <a:lnTo>
                      <a:pt x="6" y="39"/>
                    </a:lnTo>
                    <a:lnTo>
                      <a:pt x="4" y="34"/>
                    </a:lnTo>
                    <a:lnTo>
                      <a:pt x="4" y="34"/>
                    </a:lnTo>
                    <a:lnTo>
                      <a:pt x="0" y="32"/>
                    </a:lnTo>
                    <a:lnTo>
                      <a:pt x="0" y="32"/>
                    </a:lnTo>
                    <a:lnTo>
                      <a:pt x="0" y="30"/>
                    </a:lnTo>
                    <a:lnTo>
                      <a:pt x="0" y="30"/>
                    </a:lnTo>
                    <a:lnTo>
                      <a:pt x="3" y="26"/>
                    </a:lnTo>
                    <a:lnTo>
                      <a:pt x="3" y="26"/>
                    </a:lnTo>
                    <a:lnTo>
                      <a:pt x="7" y="20"/>
                    </a:lnTo>
                    <a:lnTo>
                      <a:pt x="7" y="20"/>
                    </a:lnTo>
                    <a:lnTo>
                      <a:pt x="10" y="16"/>
                    </a:lnTo>
                    <a:lnTo>
                      <a:pt x="13" y="10"/>
                    </a:lnTo>
                    <a:lnTo>
                      <a:pt x="13" y="10"/>
                    </a:lnTo>
                    <a:lnTo>
                      <a:pt x="14" y="3"/>
                    </a:lnTo>
                    <a:lnTo>
                      <a:pt x="14" y="3"/>
                    </a:lnTo>
                    <a:lnTo>
                      <a:pt x="36" y="0"/>
                    </a:lnTo>
                    <a:lnTo>
                      <a:pt x="36" y="0"/>
                    </a:lnTo>
                    <a:lnTo>
                      <a:pt x="37" y="0"/>
                    </a:lnTo>
                    <a:lnTo>
                      <a:pt x="37" y="0"/>
                    </a:lnTo>
                    <a:lnTo>
                      <a:pt x="37" y="0"/>
                    </a:lnTo>
                    <a:lnTo>
                      <a:pt x="45" y="1"/>
                    </a:lnTo>
                    <a:lnTo>
                      <a:pt x="45" y="1"/>
                    </a:lnTo>
                    <a:lnTo>
                      <a:pt x="45" y="1"/>
                    </a:lnTo>
                    <a:lnTo>
                      <a:pt x="45" y="1"/>
                    </a:lnTo>
                    <a:lnTo>
                      <a:pt x="45" y="1"/>
                    </a:lnTo>
                    <a:lnTo>
                      <a:pt x="45" y="1"/>
                    </a:lnTo>
                    <a:lnTo>
                      <a:pt x="48" y="3"/>
                    </a:lnTo>
                    <a:lnTo>
                      <a:pt x="49" y="4"/>
                    </a:lnTo>
                    <a:lnTo>
                      <a:pt x="50" y="5"/>
                    </a:lnTo>
                    <a:lnTo>
                      <a:pt x="53" y="5"/>
                    </a:lnTo>
                    <a:lnTo>
                      <a:pt x="64" y="5"/>
                    </a:lnTo>
                    <a:lnTo>
                      <a:pt x="64" y="5"/>
                    </a:lnTo>
                    <a:lnTo>
                      <a:pt x="64" y="8"/>
                    </a:lnTo>
                    <a:lnTo>
                      <a:pt x="64" y="8"/>
                    </a:lnTo>
                    <a:lnTo>
                      <a:pt x="65" y="14"/>
                    </a:lnTo>
                    <a:lnTo>
                      <a:pt x="66" y="17"/>
                    </a:lnTo>
                    <a:lnTo>
                      <a:pt x="69" y="21"/>
                    </a:lnTo>
                    <a:lnTo>
                      <a:pt x="69" y="21"/>
                    </a:lnTo>
                    <a:lnTo>
                      <a:pt x="72" y="23"/>
                    </a:lnTo>
                    <a:lnTo>
                      <a:pt x="74" y="23"/>
                    </a:lnTo>
                    <a:lnTo>
                      <a:pt x="74" y="23"/>
                    </a:lnTo>
                    <a:lnTo>
                      <a:pt x="75" y="23"/>
                    </a:lnTo>
                    <a:lnTo>
                      <a:pt x="75" y="23"/>
                    </a:lnTo>
                    <a:lnTo>
                      <a:pt x="78" y="40"/>
                    </a:lnTo>
                    <a:lnTo>
                      <a:pt x="78" y="40"/>
                    </a:lnTo>
                    <a:lnTo>
                      <a:pt x="81" y="46"/>
                    </a:lnTo>
                    <a:lnTo>
                      <a:pt x="84" y="50"/>
                    </a:lnTo>
                    <a:lnTo>
                      <a:pt x="87" y="55"/>
                    </a:lnTo>
                    <a:lnTo>
                      <a:pt x="90" y="59"/>
                    </a:lnTo>
                    <a:lnTo>
                      <a:pt x="90" y="59"/>
                    </a:lnTo>
                    <a:lnTo>
                      <a:pt x="90" y="59"/>
                    </a:lnTo>
                    <a:lnTo>
                      <a:pt x="90" y="59"/>
                    </a:lnTo>
                    <a:lnTo>
                      <a:pt x="90" y="59"/>
                    </a:lnTo>
                    <a:lnTo>
                      <a:pt x="90" y="59"/>
                    </a:lnTo>
                    <a:lnTo>
                      <a:pt x="91" y="66"/>
                    </a:lnTo>
                    <a:lnTo>
                      <a:pt x="91" y="66"/>
                    </a:lnTo>
                    <a:lnTo>
                      <a:pt x="88" y="69"/>
                    </a:lnTo>
                    <a:lnTo>
                      <a:pt x="84" y="69"/>
                    </a:lnTo>
                    <a:lnTo>
                      <a:pt x="84" y="69"/>
                    </a:lnTo>
                    <a:lnTo>
                      <a:pt x="84" y="69"/>
                    </a:lnTo>
                    <a:lnTo>
                      <a:pt x="84" y="69"/>
                    </a:lnTo>
                    <a:lnTo>
                      <a:pt x="84" y="69"/>
                    </a:lnTo>
                    <a:lnTo>
                      <a:pt x="84" y="69"/>
                    </a:lnTo>
                    <a:lnTo>
                      <a:pt x="84" y="69"/>
                    </a:lnTo>
                    <a:lnTo>
                      <a:pt x="84" y="69"/>
                    </a:lnTo>
                    <a:lnTo>
                      <a:pt x="66" y="66"/>
                    </a:lnTo>
                    <a:lnTo>
                      <a:pt x="53" y="65"/>
                    </a:lnTo>
                    <a:lnTo>
                      <a:pt x="52" y="65"/>
                    </a:lnTo>
                    <a:lnTo>
                      <a:pt x="52" y="65"/>
                    </a:lnTo>
                    <a:lnTo>
                      <a:pt x="11" y="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59" name="Rectangle 559"/>
              <p:cNvSpPr>
                <a:spLocks noChangeArrowheads="1"/>
              </p:cNvSpPr>
              <p:nvPr/>
            </p:nvSpPr>
            <p:spPr bwMode="auto">
              <a:xfrm>
                <a:off x="2535" y="2562"/>
                <a:ext cx="1" cy="1"/>
              </a:xfrm>
              <a:prstGeom prst="rect">
                <a:avLst/>
              </a:prstGeom>
              <a:solidFill>
                <a:srgbClr val="CFCF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60" name="Rectangle 560"/>
              <p:cNvSpPr>
                <a:spLocks noChangeArrowheads="1"/>
              </p:cNvSpPr>
              <p:nvPr/>
            </p:nvSpPr>
            <p:spPr bwMode="auto">
              <a:xfrm>
                <a:off x="2535" y="2562"/>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61" name="Freeform 561"/>
              <p:cNvSpPr>
                <a:spLocks noEditPoints="1"/>
              </p:cNvSpPr>
              <p:nvPr/>
            </p:nvSpPr>
            <p:spPr bwMode="auto">
              <a:xfrm>
                <a:off x="2458" y="2545"/>
                <a:ext cx="36" cy="14"/>
              </a:xfrm>
              <a:custGeom>
                <a:avLst/>
                <a:gdLst>
                  <a:gd name="T0" fmla="*/ 24 w 36"/>
                  <a:gd name="T1" fmla="*/ 0 h 14"/>
                  <a:gd name="T2" fmla="*/ 24 w 36"/>
                  <a:gd name="T3" fmla="*/ 0 h 14"/>
                  <a:gd name="T4" fmla="*/ 24 w 36"/>
                  <a:gd name="T5" fmla="*/ 0 h 14"/>
                  <a:gd name="T6" fmla="*/ 24 w 36"/>
                  <a:gd name="T7" fmla="*/ 0 h 14"/>
                  <a:gd name="T8" fmla="*/ 24 w 36"/>
                  <a:gd name="T9" fmla="*/ 0 h 14"/>
                  <a:gd name="T10" fmla="*/ 23 w 36"/>
                  <a:gd name="T11" fmla="*/ 0 h 14"/>
                  <a:gd name="T12" fmla="*/ 23 w 36"/>
                  <a:gd name="T13" fmla="*/ 0 h 14"/>
                  <a:gd name="T14" fmla="*/ 23 w 36"/>
                  <a:gd name="T15" fmla="*/ 0 h 14"/>
                  <a:gd name="T16" fmla="*/ 23 w 36"/>
                  <a:gd name="T17" fmla="*/ 0 h 14"/>
                  <a:gd name="T18" fmla="*/ 24 w 36"/>
                  <a:gd name="T19" fmla="*/ 0 h 14"/>
                  <a:gd name="T20" fmla="*/ 24 w 36"/>
                  <a:gd name="T21" fmla="*/ 0 h 14"/>
                  <a:gd name="T22" fmla="*/ 23 w 36"/>
                  <a:gd name="T23" fmla="*/ 0 h 14"/>
                  <a:gd name="T24" fmla="*/ 23 w 36"/>
                  <a:gd name="T25" fmla="*/ 0 h 14"/>
                  <a:gd name="T26" fmla="*/ 23 w 36"/>
                  <a:gd name="T27" fmla="*/ 0 h 14"/>
                  <a:gd name="T28" fmla="*/ 30 w 36"/>
                  <a:gd name="T29" fmla="*/ 1 h 14"/>
                  <a:gd name="T30" fmla="*/ 30 w 36"/>
                  <a:gd name="T31" fmla="*/ 1 h 14"/>
                  <a:gd name="T32" fmla="*/ 26 w 36"/>
                  <a:gd name="T33" fmla="*/ 0 h 14"/>
                  <a:gd name="T34" fmla="*/ 26 w 36"/>
                  <a:gd name="T35" fmla="*/ 0 h 14"/>
                  <a:gd name="T36" fmla="*/ 30 w 36"/>
                  <a:gd name="T37" fmla="*/ 1 h 14"/>
                  <a:gd name="T38" fmla="*/ 30 w 36"/>
                  <a:gd name="T39" fmla="*/ 1 h 14"/>
                  <a:gd name="T40" fmla="*/ 30 w 36"/>
                  <a:gd name="T41" fmla="*/ 1 h 14"/>
                  <a:gd name="T42" fmla="*/ 30 w 36"/>
                  <a:gd name="T43" fmla="*/ 1 h 14"/>
                  <a:gd name="T44" fmla="*/ 30 w 36"/>
                  <a:gd name="T45" fmla="*/ 1 h 14"/>
                  <a:gd name="T46" fmla="*/ 30 w 36"/>
                  <a:gd name="T47" fmla="*/ 1 h 14"/>
                  <a:gd name="T48" fmla="*/ 0 w 36"/>
                  <a:gd name="T49" fmla="*/ 7 h 14"/>
                  <a:gd name="T50" fmla="*/ 0 w 36"/>
                  <a:gd name="T51" fmla="*/ 7 h 14"/>
                  <a:gd name="T52" fmla="*/ 7 w 36"/>
                  <a:gd name="T53" fmla="*/ 7 h 14"/>
                  <a:gd name="T54" fmla="*/ 14 w 36"/>
                  <a:gd name="T55" fmla="*/ 4 h 14"/>
                  <a:gd name="T56" fmla="*/ 23 w 36"/>
                  <a:gd name="T57" fmla="*/ 0 h 14"/>
                  <a:gd name="T58" fmla="*/ 23 w 36"/>
                  <a:gd name="T59" fmla="*/ 0 h 14"/>
                  <a:gd name="T60" fmla="*/ 14 w 36"/>
                  <a:gd name="T61" fmla="*/ 4 h 14"/>
                  <a:gd name="T62" fmla="*/ 7 w 36"/>
                  <a:gd name="T63" fmla="*/ 7 h 14"/>
                  <a:gd name="T64" fmla="*/ 0 w 36"/>
                  <a:gd name="T65" fmla="*/ 7 h 14"/>
                  <a:gd name="T66" fmla="*/ 0 w 36"/>
                  <a:gd name="T67" fmla="*/ 7 h 14"/>
                  <a:gd name="T68" fmla="*/ 0 w 36"/>
                  <a:gd name="T69" fmla="*/ 7 h 14"/>
                  <a:gd name="T70" fmla="*/ 0 w 36"/>
                  <a:gd name="T71" fmla="*/ 7 h 14"/>
                  <a:gd name="T72" fmla="*/ 36 w 36"/>
                  <a:gd name="T73" fmla="*/ 13 h 14"/>
                  <a:gd name="T74" fmla="*/ 36 w 36"/>
                  <a:gd name="T75" fmla="*/ 13 h 14"/>
                  <a:gd name="T76" fmla="*/ 36 w 36"/>
                  <a:gd name="T77" fmla="*/ 11 h 14"/>
                  <a:gd name="T78" fmla="*/ 36 w 36"/>
                  <a:gd name="T79" fmla="*/ 11 h 14"/>
                  <a:gd name="T80" fmla="*/ 36 w 36"/>
                  <a:gd name="T81" fmla="*/ 13 h 14"/>
                  <a:gd name="T82" fmla="*/ 23 w 36"/>
                  <a:gd name="T83" fmla="*/ 13 h 14"/>
                  <a:gd name="T84" fmla="*/ 23 w 36"/>
                  <a:gd name="T85" fmla="*/ 13 h 14"/>
                  <a:gd name="T86" fmla="*/ 16 w 36"/>
                  <a:gd name="T87" fmla="*/ 13 h 14"/>
                  <a:gd name="T88" fmla="*/ 16 w 36"/>
                  <a:gd name="T89" fmla="*/ 13 h 14"/>
                  <a:gd name="T90" fmla="*/ 23 w 36"/>
                  <a:gd name="T91" fmla="*/ 13 h 14"/>
                  <a:gd name="T92" fmla="*/ 30 w 36"/>
                  <a:gd name="T93" fmla="*/ 14 h 14"/>
                  <a:gd name="T94" fmla="*/ 30 w 36"/>
                  <a:gd name="T95" fmla="*/ 14 h 14"/>
                  <a:gd name="T96" fmla="*/ 33 w 36"/>
                  <a:gd name="T97" fmla="*/ 13 h 14"/>
                  <a:gd name="T98" fmla="*/ 36 w 36"/>
                  <a:gd name="T99" fmla="*/ 13 h 14"/>
                  <a:gd name="T100" fmla="*/ 36 w 36"/>
                  <a:gd name="T101" fmla="*/ 13 h 14"/>
                  <a:gd name="T102" fmla="*/ 33 w 36"/>
                  <a:gd name="T103" fmla="*/ 13 h 14"/>
                  <a:gd name="T104" fmla="*/ 30 w 36"/>
                  <a:gd name="T105" fmla="*/ 14 h 14"/>
                  <a:gd name="T106" fmla="*/ 30 w 36"/>
                  <a:gd name="T107" fmla="*/ 14 h 14"/>
                  <a:gd name="T108" fmla="*/ 30 w 36"/>
                  <a:gd name="T109" fmla="*/ 14 h 14"/>
                  <a:gd name="T110" fmla="*/ 30 w 36"/>
                  <a:gd name="T11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6" h="14">
                    <a:moveTo>
                      <a:pt x="24" y="0"/>
                    </a:moveTo>
                    <a:lnTo>
                      <a:pt x="24" y="0"/>
                    </a:lnTo>
                    <a:lnTo>
                      <a:pt x="24" y="0"/>
                    </a:lnTo>
                    <a:lnTo>
                      <a:pt x="24" y="0"/>
                    </a:lnTo>
                    <a:lnTo>
                      <a:pt x="24" y="0"/>
                    </a:lnTo>
                    <a:close/>
                    <a:moveTo>
                      <a:pt x="23" y="0"/>
                    </a:moveTo>
                    <a:lnTo>
                      <a:pt x="23" y="0"/>
                    </a:lnTo>
                    <a:lnTo>
                      <a:pt x="23" y="0"/>
                    </a:lnTo>
                    <a:lnTo>
                      <a:pt x="23" y="0"/>
                    </a:lnTo>
                    <a:lnTo>
                      <a:pt x="24" y="0"/>
                    </a:lnTo>
                    <a:lnTo>
                      <a:pt x="24" y="0"/>
                    </a:lnTo>
                    <a:lnTo>
                      <a:pt x="23" y="0"/>
                    </a:lnTo>
                    <a:lnTo>
                      <a:pt x="23" y="0"/>
                    </a:lnTo>
                    <a:lnTo>
                      <a:pt x="23" y="0"/>
                    </a:lnTo>
                    <a:close/>
                    <a:moveTo>
                      <a:pt x="30" y="1"/>
                    </a:moveTo>
                    <a:lnTo>
                      <a:pt x="30" y="1"/>
                    </a:lnTo>
                    <a:lnTo>
                      <a:pt x="26" y="0"/>
                    </a:lnTo>
                    <a:lnTo>
                      <a:pt x="26" y="0"/>
                    </a:lnTo>
                    <a:lnTo>
                      <a:pt x="30" y="1"/>
                    </a:lnTo>
                    <a:close/>
                    <a:moveTo>
                      <a:pt x="30" y="1"/>
                    </a:moveTo>
                    <a:lnTo>
                      <a:pt x="30" y="1"/>
                    </a:lnTo>
                    <a:lnTo>
                      <a:pt x="30" y="1"/>
                    </a:lnTo>
                    <a:lnTo>
                      <a:pt x="30" y="1"/>
                    </a:lnTo>
                    <a:lnTo>
                      <a:pt x="30" y="1"/>
                    </a:lnTo>
                    <a:close/>
                    <a:moveTo>
                      <a:pt x="0" y="7"/>
                    </a:moveTo>
                    <a:lnTo>
                      <a:pt x="0" y="7"/>
                    </a:lnTo>
                    <a:lnTo>
                      <a:pt x="7" y="7"/>
                    </a:lnTo>
                    <a:lnTo>
                      <a:pt x="14" y="4"/>
                    </a:lnTo>
                    <a:lnTo>
                      <a:pt x="23" y="0"/>
                    </a:lnTo>
                    <a:lnTo>
                      <a:pt x="23" y="0"/>
                    </a:lnTo>
                    <a:lnTo>
                      <a:pt x="14" y="4"/>
                    </a:lnTo>
                    <a:lnTo>
                      <a:pt x="7" y="7"/>
                    </a:lnTo>
                    <a:lnTo>
                      <a:pt x="0" y="7"/>
                    </a:lnTo>
                    <a:close/>
                    <a:moveTo>
                      <a:pt x="0" y="7"/>
                    </a:moveTo>
                    <a:lnTo>
                      <a:pt x="0" y="7"/>
                    </a:lnTo>
                    <a:lnTo>
                      <a:pt x="0" y="7"/>
                    </a:lnTo>
                    <a:close/>
                    <a:moveTo>
                      <a:pt x="36" y="13"/>
                    </a:moveTo>
                    <a:lnTo>
                      <a:pt x="36" y="13"/>
                    </a:lnTo>
                    <a:lnTo>
                      <a:pt x="36" y="11"/>
                    </a:lnTo>
                    <a:lnTo>
                      <a:pt x="36" y="11"/>
                    </a:lnTo>
                    <a:lnTo>
                      <a:pt x="36" y="13"/>
                    </a:lnTo>
                    <a:close/>
                    <a:moveTo>
                      <a:pt x="23" y="13"/>
                    </a:moveTo>
                    <a:lnTo>
                      <a:pt x="23" y="13"/>
                    </a:lnTo>
                    <a:lnTo>
                      <a:pt x="16" y="13"/>
                    </a:lnTo>
                    <a:lnTo>
                      <a:pt x="16" y="13"/>
                    </a:lnTo>
                    <a:lnTo>
                      <a:pt x="23" y="13"/>
                    </a:lnTo>
                    <a:close/>
                    <a:moveTo>
                      <a:pt x="30" y="14"/>
                    </a:moveTo>
                    <a:lnTo>
                      <a:pt x="30" y="14"/>
                    </a:lnTo>
                    <a:lnTo>
                      <a:pt x="33" y="13"/>
                    </a:lnTo>
                    <a:lnTo>
                      <a:pt x="36" y="13"/>
                    </a:lnTo>
                    <a:lnTo>
                      <a:pt x="36" y="13"/>
                    </a:lnTo>
                    <a:lnTo>
                      <a:pt x="33" y="13"/>
                    </a:lnTo>
                    <a:lnTo>
                      <a:pt x="30" y="14"/>
                    </a:lnTo>
                    <a:close/>
                    <a:moveTo>
                      <a:pt x="30" y="14"/>
                    </a:moveTo>
                    <a:lnTo>
                      <a:pt x="30" y="14"/>
                    </a:lnTo>
                    <a:lnTo>
                      <a:pt x="30" y="14"/>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62" name="Rectangle 562"/>
              <p:cNvSpPr>
                <a:spLocks noChangeArrowheads="1"/>
              </p:cNvSpPr>
              <p:nvPr/>
            </p:nvSpPr>
            <p:spPr bwMode="auto">
              <a:xfrm>
                <a:off x="2482" y="254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63" name="Freeform 563"/>
              <p:cNvSpPr>
                <a:spLocks/>
              </p:cNvSpPr>
              <p:nvPr/>
            </p:nvSpPr>
            <p:spPr bwMode="auto">
              <a:xfrm>
                <a:off x="2481" y="2545"/>
                <a:ext cx="1" cy="0"/>
              </a:xfrm>
              <a:custGeom>
                <a:avLst/>
                <a:gdLst>
                  <a:gd name="T0" fmla="*/ 0 w 1"/>
                  <a:gd name="T1" fmla="*/ 0 w 1"/>
                  <a:gd name="T2" fmla="*/ 0 w 1"/>
                  <a:gd name="T3" fmla="*/ 0 w 1"/>
                  <a:gd name="T4" fmla="*/ 1 w 1"/>
                  <a:gd name="T5" fmla="*/ 1 w 1"/>
                  <a:gd name="T6" fmla="*/ 0 w 1"/>
                  <a:gd name="T7" fmla="*/ 0 w 1"/>
                  <a:gd name="T8" fmla="*/ 0 w 1"/>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
                    <a:moveTo>
                      <a:pt x="0" y="0"/>
                    </a:moveTo>
                    <a:lnTo>
                      <a:pt x="0" y="0"/>
                    </a:lnTo>
                    <a:lnTo>
                      <a:pt x="0" y="0"/>
                    </a:lnTo>
                    <a:lnTo>
                      <a:pt x="0" y="0"/>
                    </a:lnTo>
                    <a:lnTo>
                      <a:pt x="1" y="0"/>
                    </a:lnTo>
                    <a:lnTo>
                      <a:pt x="1"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64" name="Freeform 564"/>
              <p:cNvSpPr>
                <a:spLocks/>
              </p:cNvSpPr>
              <p:nvPr/>
            </p:nvSpPr>
            <p:spPr bwMode="auto">
              <a:xfrm>
                <a:off x="2484" y="2545"/>
                <a:ext cx="4" cy="1"/>
              </a:xfrm>
              <a:custGeom>
                <a:avLst/>
                <a:gdLst>
                  <a:gd name="T0" fmla="*/ 4 w 4"/>
                  <a:gd name="T1" fmla="*/ 1 h 1"/>
                  <a:gd name="T2" fmla="*/ 4 w 4"/>
                  <a:gd name="T3" fmla="*/ 1 h 1"/>
                  <a:gd name="T4" fmla="*/ 0 w 4"/>
                  <a:gd name="T5" fmla="*/ 0 h 1"/>
                  <a:gd name="T6" fmla="*/ 0 w 4"/>
                  <a:gd name="T7" fmla="*/ 0 h 1"/>
                  <a:gd name="T8" fmla="*/ 4 w 4"/>
                  <a:gd name="T9" fmla="*/ 1 h 1"/>
                </a:gdLst>
                <a:ahLst/>
                <a:cxnLst>
                  <a:cxn ang="0">
                    <a:pos x="T0" y="T1"/>
                  </a:cxn>
                  <a:cxn ang="0">
                    <a:pos x="T2" y="T3"/>
                  </a:cxn>
                  <a:cxn ang="0">
                    <a:pos x="T4" y="T5"/>
                  </a:cxn>
                  <a:cxn ang="0">
                    <a:pos x="T6" y="T7"/>
                  </a:cxn>
                  <a:cxn ang="0">
                    <a:pos x="T8" y="T9"/>
                  </a:cxn>
                </a:cxnLst>
                <a:rect l="0" t="0" r="r" b="b"/>
                <a:pathLst>
                  <a:path w="4" h="1">
                    <a:moveTo>
                      <a:pt x="4" y="1"/>
                    </a:moveTo>
                    <a:lnTo>
                      <a:pt x="4" y="1"/>
                    </a:lnTo>
                    <a:lnTo>
                      <a:pt x="0" y="0"/>
                    </a:lnTo>
                    <a:lnTo>
                      <a:pt x="0" y="0"/>
                    </a:lnTo>
                    <a:lnTo>
                      <a:pt x="4"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65" name="Rectangle 565"/>
              <p:cNvSpPr>
                <a:spLocks noChangeArrowheads="1"/>
              </p:cNvSpPr>
              <p:nvPr/>
            </p:nvSpPr>
            <p:spPr bwMode="auto">
              <a:xfrm>
                <a:off x="2488" y="2546"/>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66" name="Freeform 566"/>
              <p:cNvSpPr>
                <a:spLocks/>
              </p:cNvSpPr>
              <p:nvPr/>
            </p:nvSpPr>
            <p:spPr bwMode="auto">
              <a:xfrm>
                <a:off x="2458" y="2545"/>
                <a:ext cx="23" cy="7"/>
              </a:xfrm>
              <a:custGeom>
                <a:avLst/>
                <a:gdLst>
                  <a:gd name="T0" fmla="*/ 0 w 23"/>
                  <a:gd name="T1" fmla="*/ 7 h 7"/>
                  <a:gd name="T2" fmla="*/ 0 w 23"/>
                  <a:gd name="T3" fmla="*/ 7 h 7"/>
                  <a:gd name="T4" fmla="*/ 7 w 23"/>
                  <a:gd name="T5" fmla="*/ 7 h 7"/>
                  <a:gd name="T6" fmla="*/ 14 w 23"/>
                  <a:gd name="T7" fmla="*/ 4 h 7"/>
                  <a:gd name="T8" fmla="*/ 23 w 23"/>
                  <a:gd name="T9" fmla="*/ 0 h 7"/>
                  <a:gd name="T10" fmla="*/ 23 w 23"/>
                  <a:gd name="T11" fmla="*/ 0 h 7"/>
                  <a:gd name="T12" fmla="*/ 14 w 23"/>
                  <a:gd name="T13" fmla="*/ 4 h 7"/>
                  <a:gd name="T14" fmla="*/ 7 w 23"/>
                  <a:gd name="T15" fmla="*/ 7 h 7"/>
                  <a:gd name="T16" fmla="*/ 0 w 23"/>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7">
                    <a:moveTo>
                      <a:pt x="0" y="7"/>
                    </a:moveTo>
                    <a:lnTo>
                      <a:pt x="0" y="7"/>
                    </a:lnTo>
                    <a:lnTo>
                      <a:pt x="7" y="7"/>
                    </a:lnTo>
                    <a:lnTo>
                      <a:pt x="14" y="4"/>
                    </a:lnTo>
                    <a:lnTo>
                      <a:pt x="23" y="0"/>
                    </a:lnTo>
                    <a:lnTo>
                      <a:pt x="23" y="0"/>
                    </a:lnTo>
                    <a:lnTo>
                      <a:pt x="14" y="4"/>
                    </a:lnTo>
                    <a:lnTo>
                      <a:pt x="7" y="7"/>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67" name="Freeform 567"/>
              <p:cNvSpPr>
                <a:spLocks/>
              </p:cNvSpPr>
              <p:nvPr/>
            </p:nvSpPr>
            <p:spPr bwMode="auto">
              <a:xfrm>
                <a:off x="2458" y="2552"/>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68" name="Rectangle 568"/>
              <p:cNvSpPr>
                <a:spLocks noChangeArrowheads="1"/>
              </p:cNvSpPr>
              <p:nvPr/>
            </p:nvSpPr>
            <p:spPr bwMode="auto">
              <a:xfrm>
                <a:off x="2494" y="2556"/>
                <a:ext cx="1" cy="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69" name="Rectangle 569"/>
              <p:cNvSpPr>
                <a:spLocks noChangeArrowheads="1"/>
              </p:cNvSpPr>
              <p:nvPr/>
            </p:nvSpPr>
            <p:spPr bwMode="auto">
              <a:xfrm>
                <a:off x="2474" y="2558"/>
                <a:ext cx="7"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70" name="Freeform 570"/>
              <p:cNvSpPr>
                <a:spLocks/>
              </p:cNvSpPr>
              <p:nvPr/>
            </p:nvSpPr>
            <p:spPr bwMode="auto">
              <a:xfrm>
                <a:off x="2488" y="2558"/>
                <a:ext cx="6" cy="1"/>
              </a:xfrm>
              <a:custGeom>
                <a:avLst/>
                <a:gdLst>
                  <a:gd name="T0" fmla="*/ 0 w 6"/>
                  <a:gd name="T1" fmla="*/ 1 h 1"/>
                  <a:gd name="T2" fmla="*/ 0 w 6"/>
                  <a:gd name="T3" fmla="*/ 1 h 1"/>
                  <a:gd name="T4" fmla="*/ 3 w 6"/>
                  <a:gd name="T5" fmla="*/ 0 h 1"/>
                  <a:gd name="T6" fmla="*/ 6 w 6"/>
                  <a:gd name="T7" fmla="*/ 0 h 1"/>
                  <a:gd name="T8" fmla="*/ 6 w 6"/>
                  <a:gd name="T9" fmla="*/ 0 h 1"/>
                  <a:gd name="T10" fmla="*/ 3 w 6"/>
                  <a:gd name="T11" fmla="*/ 0 h 1"/>
                  <a:gd name="T12" fmla="*/ 0 w 6"/>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6" h="1">
                    <a:moveTo>
                      <a:pt x="0" y="1"/>
                    </a:moveTo>
                    <a:lnTo>
                      <a:pt x="0" y="1"/>
                    </a:lnTo>
                    <a:lnTo>
                      <a:pt x="3" y="0"/>
                    </a:lnTo>
                    <a:lnTo>
                      <a:pt x="6" y="0"/>
                    </a:lnTo>
                    <a:lnTo>
                      <a:pt x="6" y="0"/>
                    </a:lnTo>
                    <a:lnTo>
                      <a:pt x="3" y="0"/>
                    </a:lnTo>
                    <a:lnTo>
                      <a:pt x="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71" name="Freeform 571"/>
              <p:cNvSpPr>
                <a:spLocks/>
              </p:cNvSpPr>
              <p:nvPr/>
            </p:nvSpPr>
            <p:spPr bwMode="auto">
              <a:xfrm>
                <a:off x="2488" y="255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72" name="Freeform 572"/>
              <p:cNvSpPr>
                <a:spLocks noEditPoints="1"/>
              </p:cNvSpPr>
              <p:nvPr/>
            </p:nvSpPr>
            <p:spPr bwMode="auto">
              <a:xfrm>
                <a:off x="2459" y="2503"/>
                <a:ext cx="61" cy="23"/>
              </a:xfrm>
              <a:custGeom>
                <a:avLst/>
                <a:gdLst>
                  <a:gd name="T0" fmla="*/ 23 w 61"/>
                  <a:gd name="T1" fmla="*/ 0 h 23"/>
                  <a:gd name="T2" fmla="*/ 23 w 61"/>
                  <a:gd name="T3" fmla="*/ 0 h 23"/>
                  <a:gd name="T4" fmla="*/ 23 w 61"/>
                  <a:gd name="T5" fmla="*/ 0 h 23"/>
                  <a:gd name="T6" fmla="*/ 31 w 61"/>
                  <a:gd name="T7" fmla="*/ 1 h 23"/>
                  <a:gd name="T8" fmla="*/ 31 w 61"/>
                  <a:gd name="T9" fmla="*/ 1 h 23"/>
                  <a:gd name="T10" fmla="*/ 31 w 61"/>
                  <a:gd name="T11" fmla="*/ 1 h 23"/>
                  <a:gd name="T12" fmla="*/ 0 w 61"/>
                  <a:gd name="T13" fmla="*/ 3 h 23"/>
                  <a:gd name="T14" fmla="*/ 0 w 61"/>
                  <a:gd name="T15" fmla="*/ 3 h 23"/>
                  <a:gd name="T16" fmla="*/ 0 w 61"/>
                  <a:gd name="T17" fmla="*/ 3 h 23"/>
                  <a:gd name="T18" fmla="*/ 22 w 61"/>
                  <a:gd name="T19" fmla="*/ 0 h 23"/>
                  <a:gd name="T20" fmla="*/ 22 w 61"/>
                  <a:gd name="T21" fmla="*/ 0 h 23"/>
                  <a:gd name="T22" fmla="*/ 0 w 61"/>
                  <a:gd name="T23" fmla="*/ 3 h 23"/>
                  <a:gd name="T24" fmla="*/ 50 w 61"/>
                  <a:gd name="T25" fmla="*/ 8 h 23"/>
                  <a:gd name="T26" fmla="*/ 50 w 61"/>
                  <a:gd name="T27" fmla="*/ 8 h 23"/>
                  <a:gd name="T28" fmla="*/ 50 w 61"/>
                  <a:gd name="T29" fmla="*/ 5 h 23"/>
                  <a:gd name="T30" fmla="*/ 50 w 61"/>
                  <a:gd name="T31" fmla="*/ 5 h 23"/>
                  <a:gd name="T32" fmla="*/ 50 w 61"/>
                  <a:gd name="T33" fmla="*/ 8 h 23"/>
                  <a:gd name="T34" fmla="*/ 60 w 61"/>
                  <a:gd name="T35" fmla="*/ 23 h 23"/>
                  <a:gd name="T36" fmla="*/ 60 w 61"/>
                  <a:gd name="T37" fmla="*/ 23 h 23"/>
                  <a:gd name="T38" fmla="*/ 58 w 61"/>
                  <a:gd name="T39" fmla="*/ 23 h 23"/>
                  <a:gd name="T40" fmla="*/ 55 w 61"/>
                  <a:gd name="T41" fmla="*/ 21 h 23"/>
                  <a:gd name="T42" fmla="*/ 55 w 61"/>
                  <a:gd name="T43" fmla="*/ 21 h 23"/>
                  <a:gd name="T44" fmla="*/ 58 w 61"/>
                  <a:gd name="T45" fmla="*/ 23 h 23"/>
                  <a:gd name="T46" fmla="*/ 60 w 61"/>
                  <a:gd name="T47" fmla="*/ 23 h 23"/>
                  <a:gd name="T48" fmla="*/ 60 w 61"/>
                  <a:gd name="T49" fmla="*/ 23 h 23"/>
                  <a:gd name="T50" fmla="*/ 61 w 61"/>
                  <a:gd name="T51" fmla="*/ 23 h 23"/>
                  <a:gd name="T52" fmla="*/ 61 w 61"/>
                  <a:gd name="T53" fmla="*/ 23 h 23"/>
                  <a:gd name="T54" fmla="*/ 61 w 61"/>
                  <a:gd name="T55" fmla="*/ 23 h 23"/>
                  <a:gd name="T56" fmla="*/ 61 w 61"/>
                  <a:gd name="T57" fmla="*/ 23 h 23"/>
                  <a:gd name="T58" fmla="*/ 60 w 61"/>
                  <a:gd name="T5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 h="23">
                    <a:moveTo>
                      <a:pt x="23" y="0"/>
                    </a:moveTo>
                    <a:lnTo>
                      <a:pt x="23" y="0"/>
                    </a:lnTo>
                    <a:lnTo>
                      <a:pt x="23" y="0"/>
                    </a:lnTo>
                    <a:close/>
                    <a:moveTo>
                      <a:pt x="31" y="1"/>
                    </a:moveTo>
                    <a:lnTo>
                      <a:pt x="31" y="1"/>
                    </a:lnTo>
                    <a:lnTo>
                      <a:pt x="31" y="1"/>
                    </a:lnTo>
                    <a:close/>
                    <a:moveTo>
                      <a:pt x="0" y="3"/>
                    </a:moveTo>
                    <a:lnTo>
                      <a:pt x="0" y="3"/>
                    </a:lnTo>
                    <a:lnTo>
                      <a:pt x="0" y="3"/>
                    </a:lnTo>
                    <a:lnTo>
                      <a:pt x="22" y="0"/>
                    </a:lnTo>
                    <a:lnTo>
                      <a:pt x="22" y="0"/>
                    </a:lnTo>
                    <a:lnTo>
                      <a:pt x="0" y="3"/>
                    </a:lnTo>
                    <a:close/>
                    <a:moveTo>
                      <a:pt x="50" y="8"/>
                    </a:moveTo>
                    <a:lnTo>
                      <a:pt x="50" y="8"/>
                    </a:lnTo>
                    <a:lnTo>
                      <a:pt x="50" y="5"/>
                    </a:lnTo>
                    <a:lnTo>
                      <a:pt x="50" y="5"/>
                    </a:lnTo>
                    <a:lnTo>
                      <a:pt x="50" y="8"/>
                    </a:lnTo>
                    <a:close/>
                    <a:moveTo>
                      <a:pt x="60" y="23"/>
                    </a:moveTo>
                    <a:lnTo>
                      <a:pt x="60" y="23"/>
                    </a:lnTo>
                    <a:lnTo>
                      <a:pt x="58" y="23"/>
                    </a:lnTo>
                    <a:lnTo>
                      <a:pt x="55" y="21"/>
                    </a:lnTo>
                    <a:lnTo>
                      <a:pt x="55" y="21"/>
                    </a:lnTo>
                    <a:lnTo>
                      <a:pt x="58" y="23"/>
                    </a:lnTo>
                    <a:lnTo>
                      <a:pt x="60" y="23"/>
                    </a:lnTo>
                    <a:lnTo>
                      <a:pt x="60" y="23"/>
                    </a:lnTo>
                    <a:lnTo>
                      <a:pt x="61" y="23"/>
                    </a:lnTo>
                    <a:lnTo>
                      <a:pt x="61" y="23"/>
                    </a:lnTo>
                    <a:lnTo>
                      <a:pt x="61" y="23"/>
                    </a:lnTo>
                    <a:lnTo>
                      <a:pt x="61" y="23"/>
                    </a:lnTo>
                    <a:lnTo>
                      <a:pt x="60" y="23"/>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73" name="Freeform 573"/>
              <p:cNvSpPr>
                <a:spLocks/>
              </p:cNvSpPr>
              <p:nvPr/>
            </p:nvSpPr>
            <p:spPr bwMode="auto">
              <a:xfrm>
                <a:off x="2482" y="2503"/>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74" name="Freeform 574"/>
              <p:cNvSpPr>
                <a:spLocks/>
              </p:cNvSpPr>
              <p:nvPr/>
            </p:nvSpPr>
            <p:spPr bwMode="auto">
              <a:xfrm>
                <a:off x="2490" y="250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75" name="Freeform 575"/>
              <p:cNvSpPr>
                <a:spLocks/>
              </p:cNvSpPr>
              <p:nvPr/>
            </p:nvSpPr>
            <p:spPr bwMode="auto">
              <a:xfrm>
                <a:off x="2459" y="2503"/>
                <a:ext cx="22" cy="3"/>
              </a:xfrm>
              <a:custGeom>
                <a:avLst/>
                <a:gdLst>
                  <a:gd name="T0" fmla="*/ 0 w 22"/>
                  <a:gd name="T1" fmla="*/ 3 h 3"/>
                  <a:gd name="T2" fmla="*/ 0 w 22"/>
                  <a:gd name="T3" fmla="*/ 3 h 3"/>
                  <a:gd name="T4" fmla="*/ 0 w 22"/>
                  <a:gd name="T5" fmla="*/ 3 h 3"/>
                  <a:gd name="T6" fmla="*/ 22 w 22"/>
                  <a:gd name="T7" fmla="*/ 0 h 3"/>
                  <a:gd name="T8" fmla="*/ 22 w 22"/>
                  <a:gd name="T9" fmla="*/ 0 h 3"/>
                  <a:gd name="T10" fmla="*/ 0 w 22"/>
                  <a:gd name="T11" fmla="*/ 3 h 3"/>
                </a:gdLst>
                <a:ahLst/>
                <a:cxnLst>
                  <a:cxn ang="0">
                    <a:pos x="T0" y="T1"/>
                  </a:cxn>
                  <a:cxn ang="0">
                    <a:pos x="T2" y="T3"/>
                  </a:cxn>
                  <a:cxn ang="0">
                    <a:pos x="T4" y="T5"/>
                  </a:cxn>
                  <a:cxn ang="0">
                    <a:pos x="T6" y="T7"/>
                  </a:cxn>
                  <a:cxn ang="0">
                    <a:pos x="T8" y="T9"/>
                  </a:cxn>
                  <a:cxn ang="0">
                    <a:pos x="T10" y="T11"/>
                  </a:cxn>
                </a:cxnLst>
                <a:rect l="0" t="0" r="r" b="b"/>
                <a:pathLst>
                  <a:path w="22" h="3">
                    <a:moveTo>
                      <a:pt x="0" y="3"/>
                    </a:moveTo>
                    <a:lnTo>
                      <a:pt x="0" y="3"/>
                    </a:lnTo>
                    <a:lnTo>
                      <a:pt x="0" y="3"/>
                    </a:lnTo>
                    <a:lnTo>
                      <a:pt x="22" y="0"/>
                    </a:lnTo>
                    <a:lnTo>
                      <a:pt x="22"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76" name="Rectangle 576"/>
              <p:cNvSpPr>
                <a:spLocks noChangeArrowheads="1"/>
              </p:cNvSpPr>
              <p:nvPr/>
            </p:nvSpPr>
            <p:spPr bwMode="auto">
              <a:xfrm>
                <a:off x="2509" y="2508"/>
                <a:ext cx="1" cy="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77" name="Freeform 577"/>
              <p:cNvSpPr>
                <a:spLocks/>
              </p:cNvSpPr>
              <p:nvPr/>
            </p:nvSpPr>
            <p:spPr bwMode="auto">
              <a:xfrm>
                <a:off x="2514" y="2524"/>
                <a:ext cx="6" cy="2"/>
              </a:xfrm>
              <a:custGeom>
                <a:avLst/>
                <a:gdLst>
                  <a:gd name="T0" fmla="*/ 5 w 6"/>
                  <a:gd name="T1" fmla="*/ 2 h 2"/>
                  <a:gd name="T2" fmla="*/ 5 w 6"/>
                  <a:gd name="T3" fmla="*/ 2 h 2"/>
                  <a:gd name="T4" fmla="*/ 3 w 6"/>
                  <a:gd name="T5" fmla="*/ 2 h 2"/>
                  <a:gd name="T6" fmla="*/ 0 w 6"/>
                  <a:gd name="T7" fmla="*/ 0 h 2"/>
                  <a:gd name="T8" fmla="*/ 0 w 6"/>
                  <a:gd name="T9" fmla="*/ 0 h 2"/>
                  <a:gd name="T10" fmla="*/ 3 w 6"/>
                  <a:gd name="T11" fmla="*/ 2 h 2"/>
                  <a:gd name="T12" fmla="*/ 5 w 6"/>
                  <a:gd name="T13" fmla="*/ 2 h 2"/>
                  <a:gd name="T14" fmla="*/ 5 w 6"/>
                  <a:gd name="T15" fmla="*/ 2 h 2"/>
                  <a:gd name="T16" fmla="*/ 6 w 6"/>
                  <a:gd name="T17" fmla="*/ 2 h 2"/>
                  <a:gd name="T18" fmla="*/ 6 w 6"/>
                  <a:gd name="T19" fmla="*/ 2 h 2"/>
                  <a:gd name="T20" fmla="*/ 6 w 6"/>
                  <a:gd name="T21" fmla="*/ 2 h 2"/>
                  <a:gd name="T22" fmla="*/ 6 w 6"/>
                  <a:gd name="T23" fmla="*/ 2 h 2"/>
                  <a:gd name="T24" fmla="*/ 5 w 6"/>
                  <a:gd name="T2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5" y="2"/>
                    </a:moveTo>
                    <a:lnTo>
                      <a:pt x="5" y="2"/>
                    </a:lnTo>
                    <a:lnTo>
                      <a:pt x="3" y="2"/>
                    </a:lnTo>
                    <a:lnTo>
                      <a:pt x="0" y="0"/>
                    </a:lnTo>
                    <a:lnTo>
                      <a:pt x="0" y="0"/>
                    </a:lnTo>
                    <a:lnTo>
                      <a:pt x="3" y="2"/>
                    </a:lnTo>
                    <a:lnTo>
                      <a:pt x="5" y="2"/>
                    </a:lnTo>
                    <a:lnTo>
                      <a:pt x="5" y="2"/>
                    </a:lnTo>
                    <a:lnTo>
                      <a:pt x="6" y="2"/>
                    </a:lnTo>
                    <a:lnTo>
                      <a:pt x="6" y="2"/>
                    </a:lnTo>
                    <a:lnTo>
                      <a:pt x="6" y="2"/>
                    </a:lnTo>
                    <a:lnTo>
                      <a:pt x="6" y="2"/>
                    </a:lnTo>
                    <a:lnTo>
                      <a:pt x="5"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78" name="Freeform 578"/>
              <p:cNvSpPr>
                <a:spLocks/>
              </p:cNvSpPr>
              <p:nvPr/>
            </p:nvSpPr>
            <p:spPr bwMode="auto">
              <a:xfrm>
                <a:off x="2581" y="2598"/>
                <a:ext cx="98" cy="97"/>
              </a:xfrm>
              <a:custGeom>
                <a:avLst/>
                <a:gdLst>
                  <a:gd name="T0" fmla="*/ 20 w 98"/>
                  <a:gd name="T1" fmla="*/ 97 h 97"/>
                  <a:gd name="T2" fmla="*/ 19 w 98"/>
                  <a:gd name="T3" fmla="*/ 97 h 97"/>
                  <a:gd name="T4" fmla="*/ 19 w 98"/>
                  <a:gd name="T5" fmla="*/ 97 h 97"/>
                  <a:gd name="T6" fmla="*/ 17 w 98"/>
                  <a:gd name="T7" fmla="*/ 93 h 97"/>
                  <a:gd name="T8" fmla="*/ 20 w 98"/>
                  <a:gd name="T9" fmla="*/ 83 h 97"/>
                  <a:gd name="T10" fmla="*/ 22 w 98"/>
                  <a:gd name="T11" fmla="*/ 80 h 97"/>
                  <a:gd name="T12" fmla="*/ 20 w 98"/>
                  <a:gd name="T13" fmla="*/ 77 h 97"/>
                  <a:gd name="T14" fmla="*/ 12 w 98"/>
                  <a:gd name="T15" fmla="*/ 67 h 97"/>
                  <a:gd name="T16" fmla="*/ 9 w 98"/>
                  <a:gd name="T17" fmla="*/ 64 h 97"/>
                  <a:gd name="T18" fmla="*/ 1 w 98"/>
                  <a:gd name="T19" fmla="*/ 63 h 97"/>
                  <a:gd name="T20" fmla="*/ 0 w 98"/>
                  <a:gd name="T21" fmla="*/ 61 h 97"/>
                  <a:gd name="T22" fmla="*/ 1 w 98"/>
                  <a:gd name="T23" fmla="*/ 58 h 97"/>
                  <a:gd name="T24" fmla="*/ 9 w 98"/>
                  <a:gd name="T25" fmla="*/ 51 h 97"/>
                  <a:gd name="T26" fmla="*/ 13 w 98"/>
                  <a:gd name="T27" fmla="*/ 48 h 97"/>
                  <a:gd name="T28" fmla="*/ 14 w 98"/>
                  <a:gd name="T29" fmla="*/ 48 h 97"/>
                  <a:gd name="T30" fmla="*/ 14 w 98"/>
                  <a:gd name="T31" fmla="*/ 48 h 97"/>
                  <a:gd name="T32" fmla="*/ 19 w 98"/>
                  <a:gd name="T33" fmla="*/ 39 h 97"/>
                  <a:gd name="T34" fmla="*/ 19 w 98"/>
                  <a:gd name="T35" fmla="*/ 25 h 97"/>
                  <a:gd name="T36" fmla="*/ 19 w 98"/>
                  <a:gd name="T37" fmla="*/ 19 h 97"/>
                  <a:gd name="T38" fmla="*/ 22 w 98"/>
                  <a:gd name="T39" fmla="*/ 5 h 97"/>
                  <a:gd name="T40" fmla="*/ 26 w 98"/>
                  <a:gd name="T41" fmla="*/ 8 h 97"/>
                  <a:gd name="T42" fmla="*/ 26 w 98"/>
                  <a:gd name="T43" fmla="*/ 8 h 97"/>
                  <a:gd name="T44" fmla="*/ 30 w 98"/>
                  <a:gd name="T45" fmla="*/ 8 h 97"/>
                  <a:gd name="T46" fmla="*/ 30 w 98"/>
                  <a:gd name="T47" fmla="*/ 8 h 97"/>
                  <a:gd name="T48" fmla="*/ 48 w 98"/>
                  <a:gd name="T49" fmla="*/ 2 h 97"/>
                  <a:gd name="T50" fmla="*/ 48 w 98"/>
                  <a:gd name="T51" fmla="*/ 2 h 97"/>
                  <a:gd name="T52" fmla="*/ 48 w 98"/>
                  <a:gd name="T53" fmla="*/ 2 h 97"/>
                  <a:gd name="T54" fmla="*/ 48 w 98"/>
                  <a:gd name="T55" fmla="*/ 2 h 97"/>
                  <a:gd name="T56" fmla="*/ 51 w 98"/>
                  <a:gd name="T57" fmla="*/ 0 h 97"/>
                  <a:gd name="T58" fmla="*/ 51 w 98"/>
                  <a:gd name="T59" fmla="*/ 0 h 97"/>
                  <a:gd name="T60" fmla="*/ 51 w 98"/>
                  <a:gd name="T61" fmla="*/ 0 h 97"/>
                  <a:gd name="T62" fmla="*/ 51 w 98"/>
                  <a:gd name="T63" fmla="*/ 0 h 97"/>
                  <a:gd name="T64" fmla="*/ 52 w 98"/>
                  <a:gd name="T65" fmla="*/ 0 h 97"/>
                  <a:gd name="T66" fmla="*/ 52 w 98"/>
                  <a:gd name="T67" fmla="*/ 0 h 97"/>
                  <a:gd name="T68" fmla="*/ 62 w 98"/>
                  <a:gd name="T69" fmla="*/ 8 h 97"/>
                  <a:gd name="T70" fmla="*/ 64 w 98"/>
                  <a:gd name="T71" fmla="*/ 9 h 97"/>
                  <a:gd name="T72" fmla="*/ 77 w 98"/>
                  <a:gd name="T73" fmla="*/ 12 h 97"/>
                  <a:gd name="T74" fmla="*/ 96 w 98"/>
                  <a:gd name="T75" fmla="*/ 13 h 97"/>
                  <a:gd name="T76" fmla="*/ 97 w 98"/>
                  <a:gd name="T77" fmla="*/ 23 h 97"/>
                  <a:gd name="T78" fmla="*/ 98 w 98"/>
                  <a:gd name="T79" fmla="*/ 39 h 97"/>
                  <a:gd name="T80" fmla="*/ 96 w 98"/>
                  <a:gd name="T81" fmla="*/ 48 h 97"/>
                  <a:gd name="T82" fmla="*/ 94 w 98"/>
                  <a:gd name="T83" fmla="*/ 51 h 97"/>
                  <a:gd name="T84" fmla="*/ 87 w 98"/>
                  <a:gd name="T85" fmla="*/ 58 h 97"/>
                  <a:gd name="T86" fmla="*/ 87 w 98"/>
                  <a:gd name="T87" fmla="*/ 68 h 97"/>
                  <a:gd name="T88" fmla="*/ 90 w 98"/>
                  <a:gd name="T89" fmla="*/ 77 h 97"/>
                  <a:gd name="T90" fmla="*/ 91 w 98"/>
                  <a:gd name="T91" fmla="*/ 89 h 97"/>
                  <a:gd name="T92" fmla="*/ 90 w 98"/>
                  <a:gd name="T93" fmla="*/ 89 h 97"/>
                  <a:gd name="T94" fmla="*/ 69 w 98"/>
                  <a:gd name="T95" fmla="*/ 84 h 97"/>
                  <a:gd name="T96" fmla="*/ 68 w 98"/>
                  <a:gd name="T97" fmla="*/ 84 h 97"/>
                  <a:gd name="T98" fmla="*/ 58 w 98"/>
                  <a:gd name="T99" fmla="*/ 87 h 97"/>
                  <a:gd name="T100" fmla="*/ 36 w 98"/>
                  <a:gd name="T101" fmla="*/ 94 h 97"/>
                  <a:gd name="T102" fmla="*/ 26 w 98"/>
                  <a:gd name="T10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8" h="97">
                    <a:moveTo>
                      <a:pt x="20" y="97"/>
                    </a:moveTo>
                    <a:lnTo>
                      <a:pt x="20" y="97"/>
                    </a:lnTo>
                    <a:lnTo>
                      <a:pt x="19" y="97"/>
                    </a:lnTo>
                    <a:lnTo>
                      <a:pt x="19" y="97"/>
                    </a:lnTo>
                    <a:lnTo>
                      <a:pt x="19" y="97"/>
                    </a:lnTo>
                    <a:lnTo>
                      <a:pt x="19" y="97"/>
                    </a:lnTo>
                    <a:lnTo>
                      <a:pt x="17" y="93"/>
                    </a:lnTo>
                    <a:lnTo>
                      <a:pt x="17" y="93"/>
                    </a:lnTo>
                    <a:lnTo>
                      <a:pt x="19" y="87"/>
                    </a:lnTo>
                    <a:lnTo>
                      <a:pt x="20" y="83"/>
                    </a:lnTo>
                    <a:lnTo>
                      <a:pt x="20" y="83"/>
                    </a:lnTo>
                    <a:lnTo>
                      <a:pt x="22" y="80"/>
                    </a:lnTo>
                    <a:lnTo>
                      <a:pt x="22" y="80"/>
                    </a:lnTo>
                    <a:lnTo>
                      <a:pt x="20" y="77"/>
                    </a:lnTo>
                    <a:lnTo>
                      <a:pt x="19" y="74"/>
                    </a:lnTo>
                    <a:lnTo>
                      <a:pt x="12" y="67"/>
                    </a:lnTo>
                    <a:lnTo>
                      <a:pt x="12" y="67"/>
                    </a:lnTo>
                    <a:lnTo>
                      <a:pt x="9" y="64"/>
                    </a:lnTo>
                    <a:lnTo>
                      <a:pt x="4" y="63"/>
                    </a:lnTo>
                    <a:lnTo>
                      <a:pt x="1" y="63"/>
                    </a:lnTo>
                    <a:lnTo>
                      <a:pt x="0" y="61"/>
                    </a:lnTo>
                    <a:lnTo>
                      <a:pt x="0" y="61"/>
                    </a:lnTo>
                    <a:lnTo>
                      <a:pt x="1" y="58"/>
                    </a:lnTo>
                    <a:lnTo>
                      <a:pt x="1" y="58"/>
                    </a:lnTo>
                    <a:lnTo>
                      <a:pt x="9" y="51"/>
                    </a:lnTo>
                    <a:lnTo>
                      <a:pt x="9" y="51"/>
                    </a:lnTo>
                    <a:lnTo>
                      <a:pt x="13" y="48"/>
                    </a:lnTo>
                    <a:lnTo>
                      <a:pt x="13" y="48"/>
                    </a:lnTo>
                    <a:lnTo>
                      <a:pt x="14" y="48"/>
                    </a:lnTo>
                    <a:lnTo>
                      <a:pt x="14" y="48"/>
                    </a:lnTo>
                    <a:lnTo>
                      <a:pt x="14" y="48"/>
                    </a:lnTo>
                    <a:lnTo>
                      <a:pt x="14" y="48"/>
                    </a:lnTo>
                    <a:lnTo>
                      <a:pt x="17" y="45"/>
                    </a:lnTo>
                    <a:lnTo>
                      <a:pt x="19" y="39"/>
                    </a:lnTo>
                    <a:lnTo>
                      <a:pt x="19" y="25"/>
                    </a:lnTo>
                    <a:lnTo>
                      <a:pt x="19" y="25"/>
                    </a:lnTo>
                    <a:lnTo>
                      <a:pt x="19" y="19"/>
                    </a:lnTo>
                    <a:lnTo>
                      <a:pt x="19" y="19"/>
                    </a:lnTo>
                    <a:lnTo>
                      <a:pt x="22" y="5"/>
                    </a:lnTo>
                    <a:lnTo>
                      <a:pt x="22" y="5"/>
                    </a:lnTo>
                    <a:lnTo>
                      <a:pt x="26" y="8"/>
                    </a:lnTo>
                    <a:lnTo>
                      <a:pt x="26" y="8"/>
                    </a:lnTo>
                    <a:lnTo>
                      <a:pt x="26" y="8"/>
                    </a:lnTo>
                    <a:lnTo>
                      <a:pt x="26" y="8"/>
                    </a:lnTo>
                    <a:lnTo>
                      <a:pt x="30" y="8"/>
                    </a:lnTo>
                    <a:lnTo>
                      <a:pt x="30" y="8"/>
                    </a:lnTo>
                    <a:lnTo>
                      <a:pt x="30" y="8"/>
                    </a:lnTo>
                    <a:lnTo>
                      <a:pt x="30" y="8"/>
                    </a:lnTo>
                    <a:lnTo>
                      <a:pt x="38" y="6"/>
                    </a:lnTo>
                    <a:lnTo>
                      <a:pt x="48" y="2"/>
                    </a:lnTo>
                    <a:lnTo>
                      <a:pt x="48" y="2"/>
                    </a:lnTo>
                    <a:lnTo>
                      <a:pt x="48" y="2"/>
                    </a:lnTo>
                    <a:lnTo>
                      <a:pt x="48" y="2"/>
                    </a:lnTo>
                    <a:lnTo>
                      <a:pt x="48" y="2"/>
                    </a:lnTo>
                    <a:lnTo>
                      <a:pt x="48" y="2"/>
                    </a:lnTo>
                    <a:lnTo>
                      <a:pt x="48" y="2"/>
                    </a:lnTo>
                    <a:lnTo>
                      <a:pt x="48" y="2"/>
                    </a:lnTo>
                    <a:lnTo>
                      <a:pt x="51" y="0"/>
                    </a:lnTo>
                    <a:lnTo>
                      <a:pt x="51" y="0"/>
                    </a:lnTo>
                    <a:lnTo>
                      <a:pt x="51" y="0"/>
                    </a:lnTo>
                    <a:lnTo>
                      <a:pt x="51" y="0"/>
                    </a:lnTo>
                    <a:lnTo>
                      <a:pt x="51" y="0"/>
                    </a:lnTo>
                    <a:lnTo>
                      <a:pt x="51" y="0"/>
                    </a:lnTo>
                    <a:lnTo>
                      <a:pt x="51" y="0"/>
                    </a:lnTo>
                    <a:lnTo>
                      <a:pt x="52" y="0"/>
                    </a:lnTo>
                    <a:lnTo>
                      <a:pt x="52" y="0"/>
                    </a:lnTo>
                    <a:lnTo>
                      <a:pt x="52" y="0"/>
                    </a:lnTo>
                    <a:lnTo>
                      <a:pt x="52" y="0"/>
                    </a:lnTo>
                    <a:lnTo>
                      <a:pt x="62" y="8"/>
                    </a:lnTo>
                    <a:lnTo>
                      <a:pt x="62" y="8"/>
                    </a:lnTo>
                    <a:lnTo>
                      <a:pt x="64" y="9"/>
                    </a:lnTo>
                    <a:lnTo>
                      <a:pt x="64" y="9"/>
                    </a:lnTo>
                    <a:lnTo>
                      <a:pt x="68" y="10"/>
                    </a:lnTo>
                    <a:lnTo>
                      <a:pt x="77" y="12"/>
                    </a:lnTo>
                    <a:lnTo>
                      <a:pt x="96" y="13"/>
                    </a:lnTo>
                    <a:lnTo>
                      <a:pt x="96" y="13"/>
                    </a:lnTo>
                    <a:lnTo>
                      <a:pt x="97" y="23"/>
                    </a:lnTo>
                    <a:lnTo>
                      <a:pt x="97" y="23"/>
                    </a:lnTo>
                    <a:lnTo>
                      <a:pt x="98" y="31"/>
                    </a:lnTo>
                    <a:lnTo>
                      <a:pt x="98" y="39"/>
                    </a:lnTo>
                    <a:lnTo>
                      <a:pt x="97" y="47"/>
                    </a:lnTo>
                    <a:lnTo>
                      <a:pt x="96" y="48"/>
                    </a:lnTo>
                    <a:lnTo>
                      <a:pt x="94" y="51"/>
                    </a:lnTo>
                    <a:lnTo>
                      <a:pt x="94" y="51"/>
                    </a:lnTo>
                    <a:lnTo>
                      <a:pt x="90" y="54"/>
                    </a:lnTo>
                    <a:lnTo>
                      <a:pt x="87" y="58"/>
                    </a:lnTo>
                    <a:lnTo>
                      <a:pt x="87" y="64"/>
                    </a:lnTo>
                    <a:lnTo>
                      <a:pt x="87" y="68"/>
                    </a:lnTo>
                    <a:lnTo>
                      <a:pt x="87" y="68"/>
                    </a:lnTo>
                    <a:lnTo>
                      <a:pt x="90" y="77"/>
                    </a:lnTo>
                    <a:lnTo>
                      <a:pt x="91" y="89"/>
                    </a:lnTo>
                    <a:lnTo>
                      <a:pt x="91" y="89"/>
                    </a:lnTo>
                    <a:lnTo>
                      <a:pt x="90" y="89"/>
                    </a:lnTo>
                    <a:lnTo>
                      <a:pt x="90" y="89"/>
                    </a:lnTo>
                    <a:lnTo>
                      <a:pt x="80" y="86"/>
                    </a:lnTo>
                    <a:lnTo>
                      <a:pt x="69" y="84"/>
                    </a:lnTo>
                    <a:lnTo>
                      <a:pt x="68" y="84"/>
                    </a:lnTo>
                    <a:lnTo>
                      <a:pt x="68" y="84"/>
                    </a:lnTo>
                    <a:lnTo>
                      <a:pt x="58" y="87"/>
                    </a:lnTo>
                    <a:lnTo>
                      <a:pt x="58" y="87"/>
                    </a:lnTo>
                    <a:lnTo>
                      <a:pt x="36" y="94"/>
                    </a:lnTo>
                    <a:lnTo>
                      <a:pt x="36" y="94"/>
                    </a:lnTo>
                    <a:lnTo>
                      <a:pt x="26" y="97"/>
                    </a:lnTo>
                    <a:lnTo>
                      <a:pt x="26" y="97"/>
                    </a:lnTo>
                    <a:lnTo>
                      <a:pt x="20" y="97"/>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79" name="Freeform 579"/>
              <p:cNvSpPr>
                <a:spLocks/>
              </p:cNvSpPr>
              <p:nvPr/>
            </p:nvSpPr>
            <p:spPr bwMode="auto">
              <a:xfrm>
                <a:off x="2581" y="2598"/>
                <a:ext cx="98" cy="97"/>
              </a:xfrm>
              <a:custGeom>
                <a:avLst/>
                <a:gdLst>
                  <a:gd name="T0" fmla="*/ 20 w 98"/>
                  <a:gd name="T1" fmla="*/ 97 h 97"/>
                  <a:gd name="T2" fmla="*/ 19 w 98"/>
                  <a:gd name="T3" fmla="*/ 97 h 97"/>
                  <a:gd name="T4" fmla="*/ 19 w 98"/>
                  <a:gd name="T5" fmla="*/ 97 h 97"/>
                  <a:gd name="T6" fmla="*/ 17 w 98"/>
                  <a:gd name="T7" fmla="*/ 93 h 97"/>
                  <a:gd name="T8" fmla="*/ 20 w 98"/>
                  <a:gd name="T9" fmla="*/ 83 h 97"/>
                  <a:gd name="T10" fmla="*/ 22 w 98"/>
                  <a:gd name="T11" fmla="*/ 80 h 97"/>
                  <a:gd name="T12" fmla="*/ 20 w 98"/>
                  <a:gd name="T13" fmla="*/ 77 h 97"/>
                  <a:gd name="T14" fmla="*/ 12 w 98"/>
                  <a:gd name="T15" fmla="*/ 67 h 97"/>
                  <a:gd name="T16" fmla="*/ 9 w 98"/>
                  <a:gd name="T17" fmla="*/ 64 h 97"/>
                  <a:gd name="T18" fmla="*/ 1 w 98"/>
                  <a:gd name="T19" fmla="*/ 63 h 97"/>
                  <a:gd name="T20" fmla="*/ 0 w 98"/>
                  <a:gd name="T21" fmla="*/ 61 h 97"/>
                  <a:gd name="T22" fmla="*/ 1 w 98"/>
                  <a:gd name="T23" fmla="*/ 58 h 97"/>
                  <a:gd name="T24" fmla="*/ 9 w 98"/>
                  <a:gd name="T25" fmla="*/ 51 h 97"/>
                  <a:gd name="T26" fmla="*/ 13 w 98"/>
                  <a:gd name="T27" fmla="*/ 48 h 97"/>
                  <a:gd name="T28" fmla="*/ 14 w 98"/>
                  <a:gd name="T29" fmla="*/ 48 h 97"/>
                  <a:gd name="T30" fmla="*/ 14 w 98"/>
                  <a:gd name="T31" fmla="*/ 48 h 97"/>
                  <a:gd name="T32" fmla="*/ 19 w 98"/>
                  <a:gd name="T33" fmla="*/ 39 h 97"/>
                  <a:gd name="T34" fmla="*/ 19 w 98"/>
                  <a:gd name="T35" fmla="*/ 25 h 97"/>
                  <a:gd name="T36" fmla="*/ 19 w 98"/>
                  <a:gd name="T37" fmla="*/ 19 h 97"/>
                  <a:gd name="T38" fmla="*/ 22 w 98"/>
                  <a:gd name="T39" fmla="*/ 5 h 97"/>
                  <a:gd name="T40" fmla="*/ 26 w 98"/>
                  <a:gd name="T41" fmla="*/ 8 h 97"/>
                  <a:gd name="T42" fmla="*/ 26 w 98"/>
                  <a:gd name="T43" fmla="*/ 8 h 97"/>
                  <a:gd name="T44" fmla="*/ 30 w 98"/>
                  <a:gd name="T45" fmla="*/ 8 h 97"/>
                  <a:gd name="T46" fmla="*/ 30 w 98"/>
                  <a:gd name="T47" fmla="*/ 8 h 97"/>
                  <a:gd name="T48" fmla="*/ 48 w 98"/>
                  <a:gd name="T49" fmla="*/ 2 h 97"/>
                  <a:gd name="T50" fmla="*/ 48 w 98"/>
                  <a:gd name="T51" fmla="*/ 2 h 97"/>
                  <a:gd name="T52" fmla="*/ 48 w 98"/>
                  <a:gd name="T53" fmla="*/ 2 h 97"/>
                  <a:gd name="T54" fmla="*/ 48 w 98"/>
                  <a:gd name="T55" fmla="*/ 2 h 97"/>
                  <a:gd name="T56" fmla="*/ 51 w 98"/>
                  <a:gd name="T57" fmla="*/ 0 h 97"/>
                  <a:gd name="T58" fmla="*/ 51 w 98"/>
                  <a:gd name="T59" fmla="*/ 0 h 97"/>
                  <a:gd name="T60" fmla="*/ 51 w 98"/>
                  <a:gd name="T61" fmla="*/ 0 h 97"/>
                  <a:gd name="T62" fmla="*/ 51 w 98"/>
                  <a:gd name="T63" fmla="*/ 0 h 97"/>
                  <a:gd name="T64" fmla="*/ 52 w 98"/>
                  <a:gd name="T65" fmla="*/ 0 h 97"/>
                  <a:gd name="T66" fmla="*/ 52 w 98"/>
                  <a:gd name="T67" fmla="*/ 0 h 97"/>
                  <a:gd name="T68" fmla="*/ 62 w 98"/>
                  <a:gd name="T69" fmla="*/ 8 h 97"/>
                  <a:gd name="T70" fmla="*/ 64 w 98"/>
                  <a:gd name="T71" fmla="*/ 9 h 97"/>
                  <a:gd name="T72" fmla="*/ 77 w 98"/>
                  <a:gd name="T73" fmla="*/ 12 h 97"/>
                  <a:gd name="T74" fmla="*/ 96 w 98"/>
                  <a:gd name="T75" fmla="*/ 13 h 97"/>
                  <a:gd name="T76" fmla="*/ 97 w 98"/>
                  <a:gd name="T77" fmla="*/ 23 h 97"/>
                  <a:gd name="T78" fmla="*/ 98 w 98"/>
                  <a:gd name="T79" fmla="*/ 39 h 97"/>
                  <a:gd name="T80" fmla="*/ 96 w 98"/>
                  <a:gd name="T81" fmla="*/ 48 h 97"/>
                  <a:gd name="T82" fmla="*/ 94 w 98"/>
                  <a:gd name="T83" fmla="*/ 51 h 97"/>
                  <a:gd name="T84" fmla="*/ 87 w 98"/>
                  <a:gd name="T85" fmla="*/ 58 h 97"/>
                  <a:gd name="T86" fmla="*/ 87 w 98"/>
                  <a:gd name="T87" fmla="*/ 68 h 97"/>
                  <a:gd name="T88" fmla="*/ 90 w 98"/>
                  <a:gd name="T89" fmla="*/ 77 h 97"/>
                  <a:gd name="T90" fmla="*/ 91 w 98"/>
                  <a:gd name="T91" fmla="*/ 89 h 97"/>
                  <a:gd name="T92" fmla="*/ 90 w 98"/>
                  <a:gd name="T93" fmla="*/ 89 h 97"/>
                  <a:gd name="T94" fmla="*/ 69 w 98"/>
                  <a:gd name="T95" fmla="*/ 84 h 97"/>
                  <a:gd name="T96" fmla="*/ 68 w 98"/>
                  <a:gd name="T97" fmla="*/ 84 h 97"/>
                  <a:gd name="T98" fmla="*/ 58 w 98"/>
                  <a:gd name="T99" fmla="*/ 87 h 97"/>
                  <a:gd name="T100" fmla="*/ 36 w 98"/>
                  <a:gd name="T101" fmla="*/ 94 h 97"/>
                  <a:gd name="T102" fmla="*/ 26 w 98"/>
                  <a:gd name="T10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8" h="97">
                    <a:moveTo>
                      <a:pt x="20" y="97"/>
                    </a:moveTo>
                    <a:lnTo>
                      <a:pt x="20" y="97"/>
                    </a:lnTo>
                    <a:lnTo>
                      <a:pt x="19" y="97"/>
                    </a:lnTo>
                    <a:lnTo>
                      <a:pt x="19" y="97"/>
                    </a:lnTo>
                    <a:lnTo>
                      <a:pt x="19" y="97"/>
                    </a:lnTo>
                    <a:lnTo>
                      <a:pt x="19" y="97"/>
                    </a:lnTo>
                    <a:lnTo>
                      <a:pt x="17" y="93"/>
                    </a:lnTo>
                    <a:lnTo>
                      <a:pt x="17" y="93"/>
                    </a:lnTo>
                    <a:lnTo>
                      <a:pt x="19" y="87"/>
                    </a:lnTo>
                    <a:lnTo>
                      <a:pt x="20" y="83"/>
                    </a:lnTo>
                    <a:lnTo>
                      <a:pt x="20" y="83"/>
                    </a:lnTo>
                    <a:lnTo>
                      <a:pt x="22" y="80"/>
                    </a:lnTo>
                    <a:lnTo>
                      <a:pt x="22" y="80"/>
                    </a:lnTo>
                    <a:lnTo>
                      <a:pt x="20" y="77"/>
                    </a:lnTo>
                    <a:lnTo>
                      <a:pt x="19" y="74"/>
                    </a:lnTo>
                    <a:lnTo>
                      <a:pt x="12" y="67"/>
                    </a:lnTo>
                    <a:lnTo>
                      <a:pt x="12" y="67"/>
                    </a:lnTo>
                    <a:lnTo>
                      <a:pt x="9" y="64"/>
                    </a:lnTo>
                    <a:lnTo>
                      <a:pt x="4" y="63"/>
                    </a:lnTo>
                    <a:lnTo>
                      <a:pt x="1" y="63"/>
                    </a:lnTo>
                    <a:lnTo>
                      <a:pt x="0" y="61"/>
                    </a:lnTo>
                    <a:lnTo>
                      <a:pt x="0" y="61"/>
                    </a:lnTo>
                    <a:lnTo>
                      <a:pt x="1" y="58"/>
                    </a:lnTo>
                    <a:lnTo>
                      <a:pt x="1" y="58"/>
                    </a:lnTo>
                    <a:lnTo>
                      <a:pt x="9" y="51"/>
                    </a:lnTo>
                    <a:lnTo>
                      <a:pt x="9" y="51"/>
                    </a:lnTo>
                    <a:lnTo>
                      <a:pt x="13" y="48"/>
                    </a:lnTo>
                    <a:lnTo>
                      <a:pt x="13" y="48"/>
                    </a:lnTo>
                    <a:lnTo>
                      <a:pt x="14" y="48"/>
                    </a:lnTo>
                    <a:lnTo>
                      <a:pt x="14" y="48"/>
                    </a:lnTo>
                    <a:lnTo>
                      <a:pt x="14" y="48"/>
                    </a:lnTo>
                    <a:lnTo>
                      <a:pt x="14" y="48"/>
                    </a:lnTo>
                    <a:lnTo>
                      <a:pt x="17" y="45"/>
                    </a:lnTo>
                    <a:lnTo>
                      <a:pt x="19" y="39"/>
                    </a:lnTo>
                    <a:lnTo>
                      <a:pt x="19" y="25"/>
                    </a:lnTo>
                    <a:lnTo>
                      <a:pt x="19" y="25"/>
                    </a:lnTo>
                    <a:lnTo>
                      <a:pt x="19" y="19"/>
                    </a:lnTo>
                    <a:lnTo>
                      <a:pt x="19" y="19"/>
                    </a:lnTo>
                    <a:lnTo>
                      <a:pt x="22" y="5"/>
                    </a:lnTo>
                    <a:lnTo>
                      <a:pt x="22" y="5"/>
                    </a:lnTo>
                    <a:lnTo>
                      <a:pt x="26" y="8"/>
                    </a:lnTo>
                    <a:lnTo>
                      <a:pt x="26" y="8"/>
                    </a:lnTo>
                    <a:lnTo>
                      <a:pt x="26" y="8"/>
                    </a:lnTo>
                    <a:lnTo>
                      <a:pt x="26" y="8"/>
                    </a:lnTo>
                    <a:lnTo>
                      <a:pt x="30" y="8"/>
                    </a:lnTo>
                    <a:lnTo>
                      <a:pt x="30" y="8"/>
                    </a:lnTo>
                    <a:lnTo>
                      <a:pt x="30" y="8"/>
                    </a:lnTo>
                    <a:lnTo>
                      <a:pt x="30" y="8"/>
                    </a:lnTo>
                    <a:lnTo>
                      <a:pt x="38" y="6"/>
                    </a:lnTo>
                    <a:lnTo>
                      <a:pt x="48" y="2"/>
                    </a:lnTo>
                    <a:lnTo>
                      <a:pt x="48" y="2"/>
                    </a:lnTo>
                    <a:lnTo>
                      <a:pt x="48" y="2"/>
                    </a:lnTo>
                    <a:lnTo>
                      <a:pt x="48" y="2"/>
                    </a:lnTo>
                    <a:lnTo>
                      <a:pt x="48" y="2"/>
                    </a:lnTo>
                    <a:lnTo>
                      <a:pt x="48" y="2"/>
                    </a:lnTo>
                    <a:lnTo>
                      <a:pt x="48" y="2"/>
                    </a:lnTo>
                    <a:lnTo>
                      <a:pt x="48" y="2"/>
                    </a:lnTo>
                    <a:lnTo>
                      <a:pt x="51" y="0"/>
                    </a:lnTo>
                    <a:lnTo>
                      <a:pt x="51" y="0"/>
                    </a:lnTo>
                    <a:lnTo>
                      <a:pt x="51" y="0"/>
                    </a:lnTo>
                    <a:lnTo>
                      <a:pt x="51" y="0"/>
                    </a:lnTo>
                    <a:lnTo>
                      <a:pt x="51" y="0"/>
                    </a:lnTo>
                    <a:lnTo>
                      <a:pt x="51" y="0"/>
                    </a:lnTo>
                    <a:lnTo>
                      <a:pt x="51" y="0"/>
                    </a:lnTo>
                    <a:lnTo>
                      <a:pt x="52" y="0"/>
                    </a:lnTo>
                    <a:lnTo>
                      <a:pt x="52" y="0"/>
                    </a:lnTo>
                    <a:lnTo>
                      <a:pt x="52" y="0"/>
                    </a:lnTo>
                    <a:lnTo>
                      <a:pt x="52" y="0"/>
                    </a:lnTo>
                    <a:lnTo>
                      <a:pt x="62" y="8"/>
                    </a:lnTo>
                    <a:lnTo>
                      <a:pt x="62" y="8"/>
                    </a:lnTo>
                    <a:lnTo>
                      <a:pt x="64" y="9"/>
                    </a:lnTo>
                    <a:lnTo>
                      <a:pt x="64" y="9"/>
                    </a:lnTo>
                    <a:lnTo>
                      <a:pt x="68" y="10"/>
                    </a:lnTo>
                    <a:lnTo>
                      <a:pt x="77" y="12"/>
                    </a:lnTo>
                    <a:lnTo>
                      <a:pt x="96" y="13"/>
                    </a:lnTo>
                    <a:lnTo>
                      <a:pt x="96" y="13"/>
                    </a:lnTo>
                    <a:lnTo>
                      <a:pt x="97" y="23"/>
                    </a:lnTo>
                    <a:lnTo>
                      <a:pt x="97" y="23"/>
                    </a:lnTo>
                    <a:lnTo>
                      <a:pt x="98" y="31"/>
                    </a:lnTo>
                    <a:lnTo>
                      <a:pt x="98" y="39"/>
                    </a:lnTo>
                    <a:lnTo>
                      <a:pt x="97" y="47"/>
                    </a:lnTo>
                    <a:lnTo>
                      <a:pt x="96" y="48"/>
                    </a:lnTo>
                    <a:lnTo>
                      <a:pt x="94" y="51"/>
                    </a:lnTo>
                    <a:lnTo>
                      <a:pt x="94" y="51"/>
                    </a:lnTo>
                    <a:lnTo>
                      <a:pt x="90" y="54"/>
                    </a:lnTo>
                    <a:lnTo>
                      <a:pt x="87" y="58"/>
                    </a:lnTo>
                    <a:lnTo>
                      <a:pt x="87" y="64"/>
                    </a:lnTo>
                    <a:lnTo>
                      <a:pt x="87" y="68"/>
                    </a:lnTo>
                    <a:lnTo>
                      <a:pt x="87" y="68"/>
                    </a:lnTo>
                    <a:lnTo>
                      <a:pt x="90" y="77"/>
                    </a:lnTo>
                    <a:lnTo>
                      <a:pt x="91" y="89"/>
                    </a:lnTo>
                    <a:lnTo>
                      <a:pt x="91" y="89"/>
                    </a:lnTo>
                    <a:lnTo>
                      <a:pt x="90" y="89"/>
                    </a:lnTo>
                    <a:lnTo>
                      <a:pt x="90" y="89"/>
                    </a:lnTo>
                    <a:lnTo>
                      <a:pt x="80" y="86"/>
                    </a:lnTo>
                    <a:lnTo>
                      <a:pt x="69" y="84"/>
                    </a:lnTo>
                    <a:lnTo>
                      <a:pt x="68" y="84"/>
                    </a:lnTo>
                    <a:lnTo>
                      <a:pt x="68" y="84"/>
                    </a:lnTo>
                    <a:lnTo>
                      <a:pt x="58" y="87"/>
                    </a:lnTo>
                    <a:lnTo>
                      <a:pt x="58" y="87"/>
                    </a:lnTo>
                    <a:lnTo>
                      <a:pt x="36" y="94"/>
                    </a:lnTo>
                    <a:lnTo>
                      <a:pt x="36" y="94"/>
                    </a:lnTo>
                    <a:lnTo>
                      <a:pt x="26" y="97"/>
                    </a:lnTo>
                    <a:lnTo>
                      <a:pt x="26" y="97"/>
                    </a:lnTo>
                    <a:lnTo>
                      <a:pt x="20" y="9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80" name="Freeform 580"/>
              <p:cNvSpPr>
                <a:spLocks noEditPoints="1"/>
              </p:cNvSpPr>
              <p:nvPr/>
            </p:nvSpPr>
            <p:spPr bwMode="auto">
              <a:xfrm>
                <a:off x="2603" y="2598"/>
                <a:ext cx="30" cy="8"/>
              </a:xfrm>
              <a:custGeom>
                <a:avLst/>
                <a:gdLst>
                  <a:gd name="T0" fmla="*/ 29 w 30"/>
                  <a:gd name="T1" fmla="*/ 0 h 8"/>
                  <a:gd name="T2" fmla="*/ 29 w 30"/>
                  <a:gd name="T3" fmla="*/ 0 h 8"/>
                  <a:gd name="T4" fmla="*/ 30 w 30"/>
                  <a:gd name="T5" fmla="*/ 0 h 8"/>
                  <a:gd name="T6" fmla="*/ 30 w 30"/>
                  <a:gd name="T7" fmla="*/ 0 h 8"/>
                  <a:gd name="T8" fmla="*/ 29 w 30"/>
                  <a:gd name="T9" fmla="*/ 0 h 8"/>
                  <a:gd name="T10" fmla="*/ 29 w 30"/>
                  <a:gd name="T11" fmla="*/ 0 h 8"/>
                  <a:gd name="T12" fmla="*/ 29 w 30"/>
                  <a:gd name="T13" fmla="*/ 0 h 8"/>
                  <a:gd name="T14" fmla="*/ 29 w 30"/>
                  <a:gd name="T15" fmla="*/ 0 h 8"/>
                  <a:gd name="T16" fmla="*/ 29 w 30"/>
                  <a:gd name="T17" fmla="*/ 0 h 8"/>
                  <a:gd name="T18" fmla="*/ 29 w 30"/>
                  <a:gd name="T19" fmla="*/ 0 h 8"/>
                  <a:gd name="T20" fmla="*/ 26 w 30"/>
                  <a:gd name="T21" fmla="*/ 2 h 8"/>
                  <a:gd name="T22" fmla="*/ 26 w 30"/>
                  <a:gd name="T23" fmla="*/ 2 h 8"/>
                  <a:gd name="T24" fmla="*/ 29 w 30"/>
                  <a:gd name="T25" fmla="*/ 0 h 8"/>
                  <a:gd name="T26" fmla="*/ 29 w 30"/>
                  <a:gd name="T27" fmla="*/ 0 h 8"/>
                  <a:gd name="T28" fmla="*/ 26 w 30"/>
                  <a:gd name="T29" fmla="*/ 2 h 8"/>
                  <a:gd name="T30" fmla="*/ 26 w 30"/>
                  <a:gd name="T31" fmla="*/ 2 h 8"/>
                  <a:gd name="T32" fmla="*/ 26 w 30"/>
                  <a:gd name="T33" fmla="*/ 2 h 8"/>
                  <a:gd name="T34" fmla="*/ 26 w 30"/>
                  <a:gd name="T35" fmla="*/ 2 h 8"/>
                  <a:gd name="T36" fmla="*/ 26 w 30"/>
                  <a:gd name="T37" fmla="*/ 2 h 8"/>
                  <a:gd name="T38" fmla="*/ 26 w 30"/>
                  <a:gd name="T39" fmla="*/ 2 h 8"/>
                  <a:gd name="T40" fmla="*/ 4 w 30"/>
                  <a:gd name="T41" fmla="*/ 8 h 8"/>
                  <a:gd name="T42" fmla="*/ 4 w 30"/>
                  <a:gd name="T43" fmla="*/ 8 h 8"/>
                  <a:gd name="T44" fmla="*/ 0 w 30"/>
                  <a:gd name="T45" fmla="*/ 5 h 8"/>
                  <a:gd name="T46" fmla="*/ 0 w 30"/>
                  <a:gd name="T47" fmla="*/ 5 h 8"/>
                  <a:gd name="T48" fmla="*/ 0 w 30"/>
                  <a:gd name="T49" fmla="*/ 5 h 8"/>
                  <a:gd name="T50" fmla="*/ 0 w 30"/>
                  <a:gd name="T51" fmla="*/ 5 h 8"/>
                  <a:gd name="T52" fmla="*/ 4 w 30"/>
                  <a:gd name="T53" fmla="*/ 8 h 8"/>
                  <a:gd name="T54" fmla="*/ 4 w 30"/>
                  <a:gd name="T55" fmla="*/ 8 h 8"/>
                  <a:gd name="T56" fmla="*/ 4 w 30"/>
                  <a:gd name="T57" fmla="*/ 8 h 8"/>
                  <a:gd name="T58" fmla="*/ 4 w 30"/>
                  <a:gd name="T59" fmla="*/ 8 h 8"/>
                  <a:gd name="T60" fmla="*/ 4 w 30"/>
                  <a:gd name="T61" fmla="*/ 8 h 8"/>
                  <a:gd name="T62" fmla="*/ 4 w 30"/>
                  <a:gd name="T63" fmla="*/ 8 h 8"/>
                  <a:gd name="T64" fmla="*/ 8 w 30"/>
                  <a:gd name="T65" fmla="*/ 8 h 8"/>
                  <a:gd name="T66" fmla="*/ 8 w 30"/>
                  <a:gd name="T67" fmla="*/ 8 h 8"/>
                  <a:gd name="T68" fmla="*/ 16 w 30"/>
                  <a:gd name="T69" fmla="*/ 6 h 8"/>
                  <a:gd name="T70" fmla="*/ 26 w 30"/>
                  <a:gd name="T71" fmla="*/ 2 h 8"/>
                  <a:gd name="T72" fmla="*/ 26 w 30"/>
                  <a:gd name="T73" fmla="*/ 2 h 8"/>
                  <a:gd name="T74" fmla="*/ 16 w 30"/>
                  <a:gd name="T75" fmla="*/ 6 h 8"/>
                  <a:gd name="T76" fmla="*/ 8 w 30"/>
                  <a:gd name="T77" fmla="*/ 8 h 8"/>
                  <a:gd name="T78" fmla="*/ 8 w 30"/>
                  <a:gd name="T79" fmla="*/ 8 h 8"/>
                  <a:gd name="T80" fmla="*/ 8 w 30"/>
                  <a:gd name="T81" fmla="*/ 8 h 8"/>
                  <a:gd name="T82" fmla="*/ 8 w 30"/>
                  <a:gd name="T8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 h="8">
                    <a:moveTo>
                      <a:pt x="29" y="0"/>
                    </a:moveTo>
                    <a:lnTo>
                      <a:pt x="29" y="0"/>
                    </a:lnTo>
                    <a:lnTo>
                      <a:pt x="30" y="0"/>
                    </a:lnTo>
                    <a:lnTo>
                      <a:pt x="30" y="0"/>
                    </a:lnTo>
                    <a:lnTo>
                      <a:pt x="29" y="0"/>
                    </a:lnTo>
                    <a:close/>
                    <a:moveTo>
                      <a:pt x="29" y="0"/>
                    </a:moveTo>
                    <a:lnTo>
                      <a:pt x="29" y="0"/>
                    </a:lnTo>
                    <a:lnTo>
                      <a:pt x="29" y="0"/>
                    </a:lnTo>
                    <a:lnTo>
                      <a:pt x="29" y="0"/>
                    </a:lnTo>
                    <a:lnTo>
                      <a:pt x="29" y="0"/>
                    </a:lnTo>
                    <a:close/>
                    <a:moveTo>
                      <a:pt x="26" y="2"/>
                    </a:moveTo>
                    <a:lnTo>
                      <a:pt x="26" y="2"/>
                    </a:lnTo>
                    <a:lnTo>
                      <a:pt x="29" y="0"/>
                    </a:lnTo>
                    <a:lnTo>
                      <a:pt x="29" y="0"/>
                    </a:lnTo>
                    <a:lnTo>
                      <a:pt x="26" y="2"/>
                    </a:lnTo>
                    <a:close/>
                    <a:moveTo>
                      <a:pt x="26" y="2"/>
                    </a:moveTo>
                    <a:lnTo>
                      <a:pt x="26" y="2"/>
                    </a:lnTo>
                    <a:lnTo>
                      <a:pt x="26" y="2"/>
                    </a:lnTo>
                    <a:lnTo>
                      <a:pt x="26" y="2"/>
                    </a:lnTo>
                    <a:lnTo>
                      <a:pt x="26" y="2"/>
                    </a:lnTo>
                    <a:close/>
                    <a:moveTo>
                      <a:pt x="4" y="8"/>
                    </a:moveTo>
                    <a:lnTo>
                      <a:pt x="4" y="8"/>
                    </a:lnTo>
                    <a:lnTo>
                      <a:pt x="0" y="5"/>
                    </a:lnTo>
                    <a:lnTo>
                      <a:pt x="0" y="5"/>
                    </a:lnTo>
                    <a:lnTo>
                      <a:pt x="0" y="5"/>
                    </a:lnTo>
                    <a:lnTo>
                      <a:pt x="0" y="5"/>
                    </a:lnTo>
                    <a:lnTo>
                      <a:pt x="4" y="8"/>
                    </a:lnTo>
                    <a:close/>
                    <a:moveTo>
                      <a:pt x="4" y="8"/>
                    </a:moveTo>
                    <a:lnTo>
                      <a:pt x="4" y="8"/>
                    </a:lnTo>
                    <a:lnTo>
                      <a:pt x="4" y="8"/>
                    </a:lnTo>
                    <a:lnTo>
                      <a:pt x="4" y="8"/>
                    </a:lnTo>
                    <a:lnTo>
                      <a:pt x="4" y="8"/>
                    </a:lnTo>
                    <a:close/>
                    <a:moveTo>
                      <a:pt x="8" y="8"/>
                    </a:moveTo>
                    <a:lnTo>
                      <a:pt x="8" y="8"/>
                    </a:lnTo>
                    <a:lnTo>
                      <a:pt x="16" y="6"/>
                    </a:lnTo>
                    <a:lnTo>
                      <a:pt x="26" y="2"/>
                    </a:lnTo>
                    <a:lnTo>
                      <a:pt x="26" y="2"/>
                    </a:lnTo>
                    <a:lnTo>
                      <a:pt x="16" y="6"/>
                    </a:lnTo>
                    <a:lnTo>
                      <a:pt x="8" y="8"/>
                    </a:lnTo>
                    <a:close/>
                    <a:moveTo>
                      <a:pt x="8" y="8"/>
                    </a:moveTo>
                    <a:lnTo>
                      <a:pt x="8" y="8"/>
                    </a:lnTo>
                    <a:lnTo>
                      <a:pt x="8" y="8"/>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81" name="Rectangle 581"/>
              <p:cNvSpPr>
                <a:spLocks noChangeArrowheads="1"/>
              </p:cNvSpPr>
              <p:nvPr/>
            </p:nvSpPr>
            <p:spPr bwMode="auto">
              <a:xfrm>
                <a:off x="2632" y="2598"/>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82" name="Rectangle 582"/>
              <p:cNvSpPr>
                <a:spLocks noChangeArrowheads="1"/>
              </p:cNvSpPr>
              <p:nvPr/>
            </p:nvSpPr>
            <p:spPr bwMode="auto">
              <a:xfrm>
                <a:off x="2632" y="2598"/>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83" name="Freeform 583"/>
              <p:cNvSpPr>
                <a:spLocks/>
              </p:cNvSpPr>
              <p:nvPr/>
            </p:nvSpPr>
            <p:spPr bwMode="auto">
              <a:xfrm>
                <a:off x="2629" y="2598"/>
                <a:ext cx="3" cy="2"/>
              </a:xfrm>
              <a:custGeom>
                <a:avLst/>
                <a:gdLst>
                  <a:gd name="T0" fmla="*/ 0 w 3"/>
                  <a:gd name="T1" fmla="*/ 2 h 2"/>
                  <a:gd name="T2" fmla="*/ 0 w 3"/>
                  <a:gd name="T3" fmla="*/ 2 h 2"/>
                  <a:gd name="T4" fmla="*/ 3 w 3"/>
                  <a:gd name="T5" fmla="*/ 0 h 2"/>
                  <a:gd name="T6" fmla="*/ 3 w 3"/>
                  <a:gd name="T7" fmla="*/ 0 h 2"/>
                  <a:gd name="T8" fmla="*/ 0 w 3"/>
                  <a:gd name="T9" fmla="*/ 2 h 2"/>
                </a:gdLst>
                <a:ahLst/>
                <a:cxnLst>
                  <a:cxn ang="0">
                    <a:pos x="T0" y="T1"/>
                  </a:cxn>
                  <a:cxn ang="0">
                    <a:pos x="T2" y="T3"/>
                  </a:cxn>
                  <a:cxn ang="0">
                    <a:pos x="T4" y="T5"/>
                  </a:cxn>
                  <a:cxn ang="0">
                    <a:pos x="T6" y="T7"/>
                  </a:cxn>
                  <a:cxn ang="0">
                    <a:pos x="T8" y="T9"/>
                  </a:cxn>
                </a:cxnLst>
                <a:rect l="0" t="0" r="r" b="b"/>
                <a:pathLst>
                  <a:path w="3" h="2">
                    <a:moveTo>
                      <a:pt x="0" y="2"/>
                    </a:moveTo>
                    <a:lnTo>
                      <a:pt x="0" y="2"/>
                    </a:lnTo>
                    <a:lnTo>
                      <a:pt x="3" y="0"/>
                    </a:lnTo>
                    <a:lnTo>
                      <a:pt x="3"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84" name="Rectangle 584"/>
              <p:cNvSpPr>
                <a:spLocks noChangeArrowheads="1"/>
              </p:cNvSpPr>
              <p:nvPr/>
            </p:nvSpPr>
            <p:spPr bwMode="auto">
              <a:xfrm>
                <a:off x="2629" y="2600"/>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85" name="Freeform 585"/>
              <p:cNvSpPr>
                <a:spLocks/>
              </p:cNvSpPr>
              <p:nvPr/>
            </p:nvSpPr>
            <p:spPr bwMode="auto">
              <a:xfrm>
                <a:off x="2603" y="2603"/>
                <a:ext cx="4" cy="3"/>
              </a:xfrm>
              <a:custGeom>
                <a:avLst/>
                <a:gdLst>
                  <a:gd name="T0" fmla="*/ 4 w 4"/>
                  <a:gd name="T1" fmla="*/ 3 h 3"/>
                  <a:gd name="T2" fmla="*/ 4 w 4"/>
                  <a:gd name="T3" fmla="*/ 3 h 3"/>
                  <a:gd name="T4" fmla="*/ 0 w 4"/>
                  <a:gd name="T5" fmla="*/ 0 h 3"/>
                  <a:gd name="T6" fmla="*/ 0 w 4"/>
                  <a:gd name="T7" fmla="*/ 0 h 3"/>
                  <a:gd name="T8" fmla="*/ 0 w 4"/>
                  <a:gd name="T9" fmla="*/ 0 h 3"/>
                  <a:gd name="T10" fmla="*/ 0 w 4"/>
                  <a:gd name="T11" fmla="*/ 0 h 3"/>
                  <a:gd name="T12" fmla="*/ 4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3"/>
                    </a:moveTo>
                    <a:lnTo>
                      <a:pt x="4" y="3"/>
                    </a:lnTo>
                    <a:lnTo>
                      <a:pt x="0" y="0"/>
                    </a:lnTo>
                    <a:lnTo>
                      <a:pt x="0" y="0"/>
                    </a:lnTo>
                    <a:lnTo>
                      <a:pt x="0" y="0"/>
                    </a:lnTo>
                    <a:lnTo>
                      <a:pt x="0" y="0"/>
                    </a:lnTo>
                    <a:lnTo>
                      <a:pt x="4"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86" name="Rectangle 586"/>
              <p:cNvSpPr>
                <a:spLocks noChangeArrowheads="1"/>
              </p:cNvSpPr>
              <p:nvPr/>
            </p:nvSpPr>
            <p:spPr bwMode="auto">
              <a:xfrm>
                <a:off x="2607" y="2606"/>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87" name="Freeform 587"/>
              <p:cNvSpPr>
                <a:spLocks/>
              </p:cNvSpPr>
              <p:nvPr/>
            </p:nvSpPr>
            <p:spPr bwMode="auto">
              <a:xfrm>
                <a:off x="2611" y="2600"/>
                <a:ext cx="18" cy="6"/>
              </a:xfrm>
              <a:custGeom>
                <a:avLst/>
                <a:gdLst>
                  <a:gd name="T0" fmla="*/ 0 w 18"/>
                  <a:gd name="T1" fmla="*/ 6 h 6"/>
                  <a:gd name="T2" fmla="*/ 0 w 18"/>
                  <a:gd name="T3" fmla="*/ 6 h 6"/>
                  <a:gd name="T4" fmla="*/ 8 w 18"/>
                  <a:gd name="T5" fmla="*/ 4 h 6"/>
                  <a:gd name="T6" fmla="*/ 18 w 18"/>
                  <a:gd name="T7" fmla="*/ 0 h 6"/>
                  <a:gd name="T8" fmla="*/ 18 w 18"/>
                  <a:gd name="T9" fmla="*/ 0 h 6"/>
                  <a:gd name="T10" fmla="*/ 8 w 18"/>
                  <a:gd name="T11" fmla="*/ 4 h 6"/>
                  <a:gd name="T12" fmla="*/ 0 w 18"/>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8" h="6">
                    <a:moveTo>
                      <a:pt x="0" y="6"/>
                    </a:moveTo>
                    <a:lnTo>
                      <a:pt x="0" y="6"/>
                    </a:lnTo>
                    <a:lnTo>
                      <a:pt x="8" y="4"/>
                    </a:lnTo>
                    <a:lnTo>
                      <a:pt x="18" y="0"/>
                    </a:lnTo>
                    <a:lnTo>
                      <a:pt x="18" y="0"/>
                    </a:lnTo>
                    <a:lnTo>
                      <a:pt x="8" y="4"/>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88" name="Freeform 588"/>
              <p:cNvSpPr>
                <a:spLocks/>
              </p:cNvSpPr>
              <p:nvPr/>
            </p:nvSpPr>
            <p:spPr bwMode="auto">
              <a:xfrm>
                <a:off x="2611" y="260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89" name="Freeform 589"/>
              <p:cNvSpPr>
                <a:spLocks/>
              </p:cNvSpPr>
              <p:nvPr/>
            </p:nvSpPr>
            <p:spPr bwMode="auto">
              <a:xfrm>
                <a:off x="2633" y="2598"/>
                <a:ext cx="10" cy="8"/>
              </a:xfrm>
              <a:custGeom>
                <a:avLst/>
                <a:gdLst>
                  <a:gd name="T0" fmla="*/ 10 w 10"/>
                  <a:gd name="T1" fmla="*/ 8 h 8"/>
                  <a:gd name="T2" fmla="*/ 10 w 10"/>
                  <a:gd name="T3" fmla="*/ 8 h 8"/>
                  <a:gd name="T4" fmla="*/ 0 w 10"/>
                  <a:gd name="T5" fmla="*/ 0 h 8"/>
                  <a:gd name="T6" fmla="*/ 0 w 10"/>
                  <a:gd name="T7" fmla="*/ 0 h 8"/>
                  <a:gd name="T8" fmla="*/ 0 w 10"/>
                  <a:gd name="T9" fmla="*/ 0 h 8"/>
                  <a:gd name="T10" fmla="*/ 0 w 10"/>
                  <a:gd name="T11" fmla="*/ 0 h 8"/>
                  <a:gd name="T12" fmla="*/ 10 w 1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 h="8">
                    <a:moveTo>
                      <a:pt x="10" y="8"/>
                    </a:moveTo>
                    <a:lnTo>
                      <a:pt x="10" y="8"/>
                    </a:lnTo>
                    <a:lnTo>
                      <a:pt x="0" y="0"/>
                    </a:lnTo>
                    <a:lnTo>
                      <a:pt x="0" y="0"/>
                    </a:lnTo>
                    <a:lnTo>
                      <a:pt x="0" y="0"/>
                    </a:lnTo>
                    <a:lnTo>
                      <a:pt x="0" y="0"/>
                    </a:lnTo>
                    <a:lnTo>
                      <a:pt x="10" y="8"/>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90" name="Freeform 590"/>
              <p:cNvSpPr>
                <a:spLocks/>
              </p:cNvSpPr>
              <p:nvPr/>
            </p:nvSpPr>
            <p:spPr bwMode="auto">
              <a:xfrm>
                <a:off x="2633" y="2598"/>
                <a:ext cx="10" cy="8"/>
              </a:xfrm>
              <a:custGeom>
                <a:avLst/>
                <a:gdLst>
                  <a:gd name="T0" fmla="*/ 10 w 10"/>
                  <a:gd name="T1" fmla="*/ 8 h 8"/>
                  <a:gd name="T2" fmla="*/ 10 w 10"/>
                  <a:gd name="T3" fmla="*/ 8 h 8"/>
                  <a:gd name="T4" fmla="*/ 0 w 10"/>
                  <a:gd name="T5" fmla="*/ 0 h 8"/>
                  <a:gd name="T6" fmla="*/ 0 w 10"/>
                  <a:gd name="T7" fmla="*/ 0 h 8"/>
                  <a:gd name="T8" fmla="*/ 0 w 10"/>
                  <a:gd name="T9" fmla="*/ 0 h 8"/>
                  <a:gd name="T10" fmla="*/ 0 w 10"/>
                  <a:gd name="T11" fmla="*/ 0 h 8"/>
                  <a:gd name="T12" fmla="*/ 10 w 1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 h="8">
                    <a:moveTo>
                      <a:pt x="10" y="8"/>
                    </a:moveTo>
                    <a:lnTo>
                      <a:pt x="10" y="8"/>
                    </a:lnTo>
                    <a:lnTo>
                      <a:pt x="0" y="0"/>
                    </a:lnTo>
                    <a:lnTo>
                      <a:pt x="0" y="0"/>
                    </a:lnTo>
                    <a:lnTo>
                      <a:pt x="0" y="0"/>
                    </a:lnTo>
                    <a:lnTo>
                      <a:pt x="0" y="0"/>
                    </a:lnTo>
                    <a:lnTo>
                      <a:pt x="10"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91" name="Freeform 591"/>
              <p:cNvSpPr>
                <a:spLocks/>
              </p:cNvSpPr>
              <p:nvPr/>
            </p:nvSpPr>
            <p:spPr bwMode="auto">
              <a:xfrm>
                <a:off x="2456" y="2568"/>
                <a:ext cx="47" cy="26"/>
              </a:xfrm>
              <a:custGeom>
                <a:avLst/>
                <a:gdLst>
                  <a:gd name="T0" fmla="*/ 22 w 47"/>
                  <a:gd name="T1" fmla="*/ 26 h 26"/>
                  <a:gd name="T2" fmla="*/ 22 w 47"/>
                  <a:gd name="T3" fmla="*/ 26 h 26"/>
                  <a:gd name="T4" fmla="*/ 21 w 47"/>
                  <a:gd name="T5" fmla="*/ 24 h 26"/>
                  <a:gd name="T6" fmla="*/ 21 w 47"/>
                  <a:gd name="T7" fmla="*/ 24 h 26"/>
                  <a:gd name="T8" fmla="*/ 19 w 47"/>
                  <a:gd name="T9" fmla="*/ 23 h 26"/>
                  <a:gd name="T10" fmla="*/ 19 w 47"/>
                  <a:gd name="T11" fmla="*/ 23 h 26"/>
                  <a:gd name="T12" fmla="*/ 18 w 47"/>
                  <a:gd name="T13" fmla="*/ 22 h 26"/>
                  <a:gd name="T14" fmla="*/ 18 w 47"/>
                  <a:gd name="T15" fmla="*/ 22 h 26"/>
                  <a:gd name="T16" fmla="*/ 16 w 47"/>
                  <a:gd name="T17" fmla="*/ 17 h 26"/>
                  <a:gd name="T18" fmla="*/ 16 w 47"/>
                  <a:gd name="T19" fmla="*/ 17 h 26"/>
                  <a:gd name="T20" fmla="*/ 15 w 47"/>
                  <a:gd name="T21" fmla="*/ 14 h 26"/>
                  <a:gd name="T22" fmla="*/ 11 w 47"/>
                  <a:gd name="T23" fmla="*/ 11 h 26"/>
                  <a:gd name="T24" fmla="*/ 11 w 47"/>
                  <a:gd name="T25" fmla="*/ 11 h 26"/>
                  <a:gd name="T26" fmla="*/ 0 w 47"/>
                  <a:gd name="T27" fmla="*/ 6 h 26"/>
                  <a:gd name="T28" fmla="*/ 0 w 47"/>
                  <a:gd name="T29" fmla="*/ 6 h 26"/>
                  <a:gd name="T30" fmla="*/ 41 w 47"/>
                  <a:gd name="T31" fmla="*/ 0 h 26"/>
                  <a:gd name="T32" fmla="*/ 42 w 47"/>
                  <a:gd name="T33" fmla="*/ 0 h 26"/>
                  <a:gd name="T34" fmla="*/ 42 w 47"/>
                  <a:gd name="T35" fmla="*/ 0 h 26"/>
                  <a:gd name="T36" fmla="*/ 45 w 47"/>
                  <a:gd name="T37" fmla="*/ 0 h 26"/>
                  <a:gd name="T38" fmla="*/ 45 w 47"/>
                  <a:gd name="T39" fmla="*/ 0 h 26"/>
                  <a:gd name="T40" fmla="*/ 47 w 47"/>
                  <a:gd name="T41" fmla="*/ 7 h 26"/>
                  <a:gd name="T42" fmla="*/ 47 w 47"/>
                  <a:gd name="T43" fmla="*/ 7 h 26"/>
                  <a:gd name="T44" fmla="*/ 47 w 47"/>
                  <a:gd name="T45" fmla="*/ 10 h 26"/>
                  <a:gd name="T46" fmla="*/ 45 w 47"/>
                  <a:gd name="T47" fmla="*/ 11 h 26"/>
                  <a:gd name="T48" fmla="*/ 45 w 47"/>
                  <a:gd name="T49" fmla="*/ 11 h 26"/>
                  <a:gd name="T50" fmla="*/ 37 w 47"/>
                  <a:gd name="T51" fmla="*/ 17 h 26"/>
                  <a:gd name="T52" fmla="*/ 22 w 47"/>
                  <a:gd name="T5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7" h="26">
                    <a:moveTo>
                      <a:pt x="22" y="26"/>
                    </a:moveTo>
                    <a:lnTo>
                      <a:pt x="22" y="26"/>
                    </a:lnTo>
                    <a:lnTo>
                      <a:pt x="21" y="24"/>
                    </a:lnTo>
                    <a:lnTo>
                      <a:pt x="21" y="24"/>
                    </a:lnTo>
                    <a:lnTo>
                      <a:pt x="19" y="23"/>
                    </a:lnTo>
                    <a:lnTo>
                      <a:pt x="19" y="23"/>
                    </a:lnTo>
                    <a:lnTo>
                      <a:pt x="18" y="22"/>
                    </a:lnTo>
                    <a:lnTo>
                      <a:pt x="18" y="22"/>
                    </a:lnTo>
                    <a:lnTo>
                      <a:pt x="16" y="17"/>
                    </a:lnTo>
                    <a:lnTo>
                      <a:pt x="16" y="17"/>
                    </a:lnTo>
                    <a:lnTo>
                      <a:pt x="15" y="14"/>
                    </a:lnTo>
                    <a:lnTo>
                      <a:pt x="11" y="11"/>
                    </a:lnTo>
                    <a:lnTo>
                      <a:pt x="11" y="11"/>
                    </a:lnTo>
                    <a:lnTo>
                      <a:pt x="0" y="6"/>
                    </a:lnTo>
                    <a:lnTo>
                      <a:pt x="0" y="6"/>
                    </a:lnTo>
                    <a:lnTo>
                      <a:pt x="41" y="0"/>
                    </a:lnTo>
                    <a:lnTo>
                      <a:pt x="42" y="0"/>
                    </a:lnTo>
                    <a:lnTo>
                      <a:pt x="42" y="0"/>
                    </a:lnTo>
                    <a:lnTo>
                      <a:pt x="45" y="0"/>
                    </a:lnTo>
                    <a:lnTo>
                      <a:pt x="45" y="0"/>
                    </a:lnTo>
                    <a:lnTo>
                      <a:pt x="47" y="7"/>
                    </a:lnTo>
                    <a:lnTo>
                      <a:pt x="47" y="7"/>
                    </a:lnTo>
                    <a:lnTo>
                      <a:pt x="47" y="10"/>
                    </a:lnTo>
                    <a:lnTo>
                      <a:pt x="45" y="11"/>
                    </a:lnTo>
                    <a:lnTo>
                      <a:pt x="45" y="11"/>
                    </a:lnTo>
                    <a:lnTo>
                      <a:pt x="37" y="17"/>
                    </a:lnTo>
                    <a:lnTo>
                      <a:pt x="22" y="26"/>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92" name="Freeform 592"/>
              <p:cNvSpPr>
                <a:spLocks/>
              </p:cNvSpPr>
              <p:nvPr/>
            </p:nvSpPr>
            <p:spPr bwMode="auto">
              <a:xfrm>
                <a:off x="2456" y="2568"/>
                <a:ext cx="47" cy="26"/>
              </a:xfrm>
              <a:custGeom>
                <a:avLst/>
                <a:gdLst>
                  <a:gd name="T0" fmla="*/ 22 w 47"/>
                  <a:gd name="T1" fmla="*/ 26 h 26"/>
                  <a:gd name="T2" fmla="*/ 22 w 47"/>
                  <a:gd name="T3" fmla="*/ 26 h 26"/>
                  <a:gd name="T4" fmla="*/ 21 w 47"/>
                  <a:gd name="T5" fmla="*/ 24 h 26"/>
                  <a:gd name="T6" fmla="*/ 21 w 47"/>
                  <a:gd name="T7" fmla="*/ 24 h 26"/>
                  <a:gd name="T8" fmla="*/ 19 w 47"/>
                  <a:gd name="T9" fmla="*/ 23 h 26"/>
                  <a:gd name="T10" fmla="*/ 19 w 47"/>
                  <a:gd name="T11" fmla="*/ 23 h 26"/>
                  <a:gd name="T12" fmla="*/ 18 w 47"/>
                  <a:gd name="T13" fmla="*/ 22 h 26"/>
                  <a:gd name="T14" fmla="*/ 18 w 47"/>
                  <a:gd name="T15" fmla="*/ 22 h 26"/>
                  <a:gd name="T16" fmla="*/ 16 w 47"/>
                  <a:gd name="T17" fmla="*/ 17 h 26"/>
                  <a:gd name="T18" fmla="*/ 16 w 47"/>
                  <a:gd name="T19" fmla="*/ 17 h 26"/>
                  <a:gd name="T20" fmla="*/ 15 w 47"/>
                  <a:gd name="T21" fmla="*/ 14 h 26"/>
                  <a:gd name="T22" fmla="*/ 11 w 47"/>
                  <a:gd name="T23" fmla="*/ 11 h 26"/>
                  <a:gd name="T24" fmla="*/ 11 w 47"/>
                  <a:gd name="T25" fmla="*/ 11 h 26"/>
                  <a:gd name="T26" fmla="*/ 0 w 47"/>
                  <a:gd name="T27" fmla="*/ 6 h 26"/>
                  <a:gd name="T28" fmla="*/ 0 w 47"/>
                  <a:gd name="T29" fmla="*/ 6 h 26"/>
                  <a:gd name="T30" fmla="*/ 41 w 47"/>
                  <a:gd name="T31" fmla="*/ 0 h 26"/>
                  <a:gd name="T32" fmla="*/ 42 w 47"/>
                  <a:gd name="T33" fmla="*/ 0 h 26"/>
                  <a:gd name="T34" fmla="*/ 42 w 47"/>
                  <a:gd name="T35" fmla="*/ 0 h 26"/>
                  <a:gd name="T36" fmla="*/ 45 w 47"/>
                  <a:gd name="T37" fmla="*/ 0 h 26"/>
                  <a:gd name="T38" fmla="*/ 45 w 47"/>
                  <a:gd name="T39" fmla="*/ 0 h 26"/>
                  <a:gd name="T40" fmla="*/ 47 w 47"/>
                  <a:gd name="T41" fmla="*/ 7 h 26"/>
                  <a:gd name="T42" fmla="*/ 47 w 47"/>
                  <a:gd name="T43" fmla="*/ 7 h 26"/>
                  <a:gd name="T44" fmla="*/ 47 w 47"/>
                  <a:gd name="T45" fmla="*/ 10 h 26"/>
                  <a:gd name="T46" fmla="*/ 45 w 47"/>
                  <a:gd name="T47" fmla="*/ 11 h 26"/>
                  <a:gd name="T48" fmla="*/ 45 w 47"/>
                  <a:gd name="T49" fmla="*/ 11 h 26"/>
                  <a:gd name="T50" fmla="*/ 37 w 47"/>
                  <a:gd name="T51" fmla="*/ 17 h 26"/>
                  <a:gd name="T52" fmla="*/ 22 w 47"/>
                  <a:gd name="T5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7" h="26">
                    <a:moveTo>
                      <a:pt x="22" y="26"/>
                    </a:moveTo>
                    <a:lnTo>
                      <a:pt x="22" y="26"/>
                    </a:lnTo>
                    <a:lnTo>
                      <a:pt x="21" y="24"/>
                    </a:lnTo>
                    <a:lnTo>
                      <a:pt x="21" y="24"/>
                    </a:lnTo>
                    <a:lnTo>
                      <a:pt x="19" y="23"/>
                    </a:lnTo>
                    <a:lnTo>
                      <a:pt x="19" y="23"/>
                    </a:lnTo>
                    <a:lnTo>
                      <a:pt x="18" y="22"/>
                    </a:lnTo>
                    <a:lnTo>
                      <a:pt x="18" y="22"/>
                    </a:lnTo>
                    <a:lnTo>
                      <a:pt x="16" y="17"/>
                    </a:lnTo>
                    <a:lnTo>
                      <a:pt x="16" y="17"/>
                    </a:lnTo>
                    <a:lnTo>
                      <a:pt x="15" y="14"/>
                    </a:lnTo>
                    <a:lnTo>
                      <a:pt x="11" y="11"/>
                    </a:lnTo>
                    <a:lnTo>
                      <a:pt x="11" y="11"/>
                    </a:lnTo>
                    <a:lnTo>
                      <a:pt x="0" y="6"/>
                    </a:lnTo>
                    <a:lnTo>
                      <a:pt x="0" y="6"/>
                    </a:lnTo>
                    <a:lnTo>
                      <a:pt x="41" y="0"/>
                    </a:lnTo>
                    <a:lnTo>
                      <a:pt x="42" y="0"/>
                    </a:lnTo>
                    <a:lnTo>
                      <a:pt x="42" y="0"/>
                    </a:lnTo>
                    <a:lnTo>
                      <a:pt x="45" y="0"/>
                    </a:lnTo>
                    <a:lnTo>
                      <a:pt x="45" y="0"/>
                    </a:lnTo>
                    <a:lnTo>
                      <a:pt x="47" y="7"/>
                    </a:lnTo>
                    <a:lnTo>
                      <a:pt x="47" y="7"/>
                    </a:lnTo>
                    <a:lnTo>
                      <a:pt x="47" y="10"/>
                    </a:lnTo>
                    <a:lnTo>
                      <a:pt x="45" y="11"/>
                    </a:lnTo>
                    <a:lnTo>
                      <a:pt x="45" y="11"/>
                    </a:lnTo>
                    <a:lnTo>
                      <a:pt x="37" y="17"/>
                    </a:lnTo>
                    <a:lnTo>
                      <a:pt x="22"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93" name="Freeform 593"/>
              <p:cNvSpPr>
                <a:spLocks/>
              </p:cNvSpPr>
              <p:nvPr/>
            </p:nvSpPr>
            <p:spPr bwMode="auto">
              <a:xfrm>
                <a:off x="2478" y="2568"/>
                <a:ext cx="125" cy="81"/>
              </a:xfrm>
              <a:custGeom>
                <a:avLst/>
                <a:gdLst>
                  <a:gd name="T0" fmla="*/ 107 w 125"/>
                  <a:gd name="T1" fmla="*/ 81 h 81"/>
                  <a:gd name="T2" fmla="*/ 99 w 125"/>
                  <a:gd name="T3" fmla="*/ 80 h 81"/>
                  <a:gd name="T4" fmla="*/ 97 w 125"/>
                  <a:gd name="T5" fmla="*/ 80 h 81"/>
                  <a:gd name="T6" fmla="*/ 97 w 125"/>
                  <a:gd name="T7" fmla="*/ 78 h 81"/>
                  <a:gd name="T8" fmla="*/ 96 w 125"/>
                  <a:gd name="T9" fmla="*/ 75 h 81"/>
                  <a:gd name="T10" fmla="*/ 91 w 125"/>
                  <a:gd name="T11" fmla="*/ 64 h 81"/>
                  <a:gd name="T12" fmla="*/ 80 w 125"/>
                  <a:gd name="T13" fmla="*/ 64 h 81"/>
                  <a:gd name="T14" fmla="*/ 80 w 125"/>
                  <a:gd name="T15" fmla="*/ 65 h 81"/>
                  <a:gd name="T16" fmla="*/ 78 w 125"/>
                  <a:gd name="T17" fmla="*/ 65 h 81"/>
                  <a:gd name="T18" fmla="*/ 70 w 125"/>
                  <a:gd name="T19" fmla="*/ 62 h 81"/>
                  <a:gd name="T20" fmla="*/ 68 w 125"/>
                  <a:gd name="T21" fmla="*/ 61 h 81"/>
                  <a:gd name="T22" fmla="*/ 58 w 125"/>
                  <a:gd name="T23" fmla="*/ 45 h 81"/>
                  <a:gd name="T24" fmla="*/ 58 w 125"/>
                  <a:gd name="T25" fmla="*/ 45 h 81"/>
                  <a:gd name="T26" fmla="*/ 58 w 125"/>
                  <a:gd name="T27" fmla="*/ 43 h 81"/>
                  <a:gd name="T28" fmla="*/ 58 w 125"/>
                  <a:gd name="T29" fmla="*/ 43 h 81"/>
                  <a:gd name="T30" fmla="*/ 55 w 125"/>
                  <a:gd name="T31" fmla="*/ 43 h 81"/>
                  <a:gd name="T32" fmla="*/ 46 w 125"/>
                  <a:gd name="T33" fmla="*/ 48 h 81"/>
                  <a:gd name="T34" fmla="*/ 46 w 125"/>
                  <a:gd name="T35" fmla="*/ 48 h 81"/>
                  <a:gd name="T36" fmla="*/ 31 w 125"/>
                  <a:gd name="T37" fmla="*/ 58 h 81"/>
                  <a:gd name="T38" fmla="*/ 29 w 125"/>
                  <a:gd name="T39" fmla="*/ 55 h 81"/>
                  <a:gd name="T40" fmla="*/ 26 w 125"/>
                  <a:gd name="T41" fmla="*/ 52 h 81"/>
                  <a:gd name="T42" fmla="*/ 23 w 125"/>
                  <a:gd name="T43" fmla="*/ 49 h 81"/>
                  <a:gd name="T44" fmla="*/ 17 w 125"/>
                  <a:gd name="T45" fmla="*/ 40 h 81"/>
                  <a:gd name="T46" fmla="*/ 15 w 125"/>
                  <a:gd name="T47" fmla="*/ 36 h 81"/>
                  <a:gd name="T48" fmla="*/ 0 w 125"/>
                  <a:gd name="T49" fmla="*/ 26 h 81"/>
                  <a:gd name="T50" fmla="*/ 23 w 125"/>
                  <a:gd name="T51" fmla="*/ 11 h 81"/>
                  <a:gd name="T52" fmla="*/ 25 w 125"/>
                  <a:gd name="T53" fmla="*/ 7 h 81"/>
                  <a:gd name="T54" fmla="*/ 23 w 125"/>
                  <a:gd name="T55" fmla="*/ 0 h 81"/>
                  <a:gd name="T56" fmla="*/ 51 w 125"/>
                  <a:gd name="T57" fmla="*/ 4 h 81"/>
                  <a:gd name="T58" fmla="*/ 51 w 125"/>
                  <a:gd name="T59" fmla="*/ 4 h 81"/>
                  <a:gd name="T60" fmla="*/ 55 w 125"/>
                  <a:gd name="T61" fmla="*/ 4 h 81"/>
                  <a:gd name="T62" fmla="*/ 59 w 125"/>
                  <a:gd name="T63" fmla="*/ 9 h 81"/>
                  <a:gd name="T64" fmla="*/ 62 w 125"/>
                  <a:gd name="T65" fmla="*/ 16 h 81"/>
                  <a:gd name="T66" fmla="*/ 62 w 125"/>
                  <a:gd name="T67" fmla="*/ 16 h 81"/>
                  <a:gd name="T68" fmla="*/ 62 w 125"/>
                  <a:gd name="T69" fmla="*/ 16 h 81"/>
                  <a:gd name="T70" fmla="*/ 62 w 125"/>
                  <a:gd name="T71" fmla="*/ 16 h 81"/>
                  <a:gd name="T72" fmla="*/ 62 w 125"/>
                  <a:gd name="T73" fmla="*/ 16 h 81"/>
                  <a:gd name="T74" fmla="*/ 65 w 125"/>
                  <a:gd name="T75" fmla="*/ 17 h 81"/>
                  <a:gd name="T76" fmla="*/ 68 w 125"/>
                  <a:gd name="T77" fmla="*/ 16 h 81"/>
                  <a:gd name="T78" fmla="*/ 73 w 125"/>
                  <a:gd name="T79" fmla="*/ 4 h 81"/>
                  <a:gd name="T80" fmla="*/ 73 w 125"/>
                  <a:gd name="T81" fmla="*/ 4 h 81"/>
                  <a:gd name="T82" fmla="*/ 73 w 125"/>
                  <a:gd name="T83" fmla="*/ 4 h 81"/>
                  <a:gd name="T84" fmla="*/ 81 w 125"/>
                  <a:gd name="T85" fmla="*/ 10 h 81"/>
                  <a:gd name="T86" fmla="*/ 87 w 125"/>
                  <a:gd name="T87" fmla="*/ 11 h 81"/>
                  <a:gd name="T88" fmla="*/ 87 w 125"/>
                  <a:gd name="T89" fmla="*/ 11 h 81"/>
                  <a:gd name="T90" fmla="*/ 87 w 125"/>
                  <a:gd name="T91" fmla="*/ 11 h 81"/>
                  <a:gd name="T92" fmla="*/ 87 w 125"/>
                  <a:gd name="T93" fmla="*/ 11 h 81"/>
                  <a:gd name="T94" fmla="*/ 110 w 125"/>
                  <a:gd name="T95" fmla="*/ 13 h 81"/>
                  <a:gd name="T96" fmla="*/ 116 w 125"/>
                  <a:gd name="T97" fmla="*/ 23 h 81"/>
                  <a:gd name="T98" fmla="*/ 125 w 125"/>
                  <a:gd name="T99" fmla="*/ 35 h 81"/>
                  <a:gd name="T100" fmla="*/ 122 w 125"/>
                  <a:gd name="T101" fmla="*/ 55 h 81"/>
                  <a:gd name="T102" fmla="*/ 120 w 125"/>
                  <a:gd name="T103" fmla="*/ 75 h 81"/>
                  <a:gd name="T104" fmla="*/ 117 w 125"/>
                  <a:gd name="T105" fmla="*/ 78 h 81"/>
                  <a:gd name="T106" fmla="*/ 116 w 125"/>
                  <a:gd name="T107" fmla="*/ 78 h 81"/>
                  <a:gd name="T108" fmla="*/ 107 w 125"/>
                  <a:gd name="T10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5" h="81">
                    <a:moveTo>
                      <a:pt x="107" y="81"/>
                    </a:moveTo>
                    <a:lnTo>
                      <a:pt x="107" y="81"/>
                    </a:lnTo>
                    <a:lnTo>
                      <a:pt x="107" y="81"/>
                    </a:lnTo>
                    <a:lnTo>
                      <a:pt x="101" y="81"/>
                    </a:lnTo>
                    <a:lnTo>
                      <a:pt x="99" y="80"/>
                    </a:lnTo>
                    <a:lnTo>
                      <a:pt x="99" y="80"/>
                    </a:lnTo>
                    <a:lnTo>
                      <a:pt x="97" y="80"/>
                    </a:lnTo>
                    <a:lnTo>
                      <a:pt x="97" y="80"/>
                    </a:lnTo>
                    <a:lnTo>
                      <a:pt x="97" y="80"/>
                    </a:lnTo>
                    <a:lnTo>
                      <a:pt x="97" y="80"/>
                    </a:lnTo>
                    <a:lnTo>
                      <a:pt x="97" y="78"/>
                    </a:lnTo>
                    <a:lnTo>
                      <a:pt x="97" y="78"/>
                    </a:lnTo>
                    <a:lnTo>
                      <a:pt x="97" y="78"/>
                    </a:lnTo>
                    <a:lnTo>
                      <a:pt x="97" y="78"/>
                    </a:lnTo>
                    <a:lnTo>
                      <a:pt x="96" y="75"/>
                    </a:lnTo>
                    <a:lnTo>
                      <a:pt x="94" y="69"/>
                    </a:lnTo>
                    <a:lnTo>
                      <a:pt x="93" y="65"/>
                    </a:lnTo>
                    <a:lnTo>
                      <a:pt x="91" y="64"/>
                    </a:lnTo>
                    <a:lnTo>
                      <a:pt x="90" y="64"/>
                    </a:lnTo>
                    <a:lnTo>
                      <a:pt x="90" y="64"/>
                    </a:lnTo>
                    <a:lnTo>
                      <a:pt x="80" y="64"/>
                    </a:lnTo>
                    <a:lnTo>
                      <a:pt x="80" y="64"/>
                    </a:lnTo>
                    <a:lnTo>
                      <a:pt x="80" y="65"/>
                    </a:lnTo>
                    <a:lnTo>
                      <a:pt x="80" y="65"/>
                    </a:lnTo>
                    <a:lnTo>
                      <a:pt x="80" y="64"/>
                    </a:lnTo>
                    <a:lnTo>
                      <a:pt x="80" y="64"/>
                    </a:lnTo>
                    <a:lnTo>
                      <a:pt x="78" y="65"/>
                    </a:lnTo>
                    <a:lnTo>
                      <a:pt x="78" y="65"/>
                    </a:lnTo>
                    <a:lnTo>
                      <a:pt x="73" y="64"/>
                    </a:lnTo>
                    <a:lnTo>
                      <a:pt x="70" y="62"/>
                    </a:lnTo>
                    <a:lnTo>
                      <a:pt x="70" y="62"/>
                    </a:lnTo>
                    <a:lnTo>
                      <a:pt x="68" y="61"/>
                    </a:lnTo>
                    <a:lnTo>
                      <a:pt x="68" y="61"/>
                    </a:lnTo>
                    <a:lnTo>
                      <a:pt x="65" y="51"/>
                    </a:lnTo>
                    <a:lnTo>
                      <a:pt x="62" y="46"/>
                    </a:lnTo>
                    <a:lnTo>
                      <a:pt x="58" y="45"/>
                    </a:lnTo>
                    <a:lnTo>
                      <a:pt x="58" y="45"/>
                    </a:lnTo>
                    <a:lnTo>
                      <a:pt x="58" y="45"/>
                    </a:lnTo>
                    <a:lnTo>
                      <a:pt x="58" y="45"/>
                    </a:lnTo>
                    <a:lnTo>
                      <a:pt x="58" y="43"/>
                    </a:lnTo>
                    <a:lnTo>
                      <a:pt x="58" y="43"/>
                    </a:lnTo>
                    <a:lnTo>
                      <a:pt x="58" y="43"/>
                    </a:lnTo>
                    <a:lnTo>
                      <a:pt x="58" y="43"/>
                    </a:lnTo>
                    <a:lnTo>
                      <a:pt x="58" y="43"/>
                    </a:lnTo>
                    <a:lnTo>
                      <a:pt x="58" y="43"/>
                    </a:lnTo>
                    <a:lnTo>
                      <a:pt x="55" y="43"/>
                    </a:lnTo>
                    <a:lnTo>
                      <a:pt x="55" y="43"/>
                    </a:lnTo>
                    <a:lnTo>
                      <a:pt x="55" y="43"/>
                    </a:lnTo>
                    <a:lnTo>
                      <a:pt x="55" y="43"/>
                    </a:lnTo>
                    <a:lnTo>
                      <a:pt x="51" y="45"/>
                    </a:lnTo>
                    <a:lnTo>
                      <a:pt x="46" y="48"/>
                    </a:lnTo>
                    <a:lnTo>
                      <a:pt x="46" y="48"/>
                    </a:lnTo>
                    <a:lnTo>
                      <a:pt x="46" y="48"/>
                    </a:lnTo>
                    <a:lnTo>
                      <a:pt x="46" y="48"/>
                    </a:lnTo>
                    <a:lnTo>
                      <a:pt x="32" y="64"/>
                    </a:lnTo>
                    <a:lnTo>
                      <a:pt x="32" y="64"/>
                    </a:lnTo>
                    <a:lnTo>
                      <a:pt x="31" y="58"/>
                    </a:lnTo>
                    <a:lnTo>
                      <a:pt x="31" y="58"/>
                    </a:lnTo>
                    <a:lnTo>
                      <a:pt x="29" y="55"/>
                    </a:lnTo>
                    <a:lnTo>
                      <a:pt x="29" y="55"/>
                    </a:lnTo>
                    <a:lnTo>
                      <a:pt x="28" y="53"/>
                    </a:lnTo>
                    <a:lnTo>
                      <a:pt x="28" y="53"/>
                    </a:lnTo>
                    <a:lnTo>
                      <a:pt x="26" y="52"/>
                    </a:lnTo>
                    <a:lnTo>
                      <a:pt x="26" y="52"/>
                    </a:lnTo>
                    <a:lnTo>
                      <a:pt x="23" y="49"/>
                    </a:lnTo>
                    <a:lnTo>
                      <a:pt x="23" y="49"/>
                    </a:lnTo>
                    <a:lnTo>
                      <a:pt x="19" y="43"/>
                    </a:lnTo>
                    <a:lnTo>
                      <a:pt x="19" y="43"/>
                    </a:lnTo>
                    <a:lnTo>
                      <a:pt x="17" y="40"/>
                    </a:lnTo>
                    <a:lnTo>
                      <a:pt x="17" y="40"/>
                    </a:lnTo>
                    <a:lnTo>
                      <a:pt x="15" y="36"/>
                    </a:lnTo>
                    <a:lnTo>
                      <a:pt x="15" y="36"/>
                    </a:lnTo>
                    <a:lnTo>
                      <a:pt x="7" y="32"/>
                    </a:lnTo>
                    <a:lnTo>
                      <a:pt x="7" y="32"/>
                    </a:lnTo>
                    <a:lnTo>
                      <a:pt x="0" y="26"/>
                    </a:lnTo>
                    <a:lnTo>
                      <a:pt x="0" y="26"/>
                    </a:lnTo>
                    <a:lnTo>
                      <a:pt x="15" y="17"/>
                    </a:lnTo>
                    <a:lnTo>
                      <a:pt x="23" y="11"/>
                    </a:lnTo>
                    <a:lnTo>
                      <a:pt x="23" y="11"/>
                    </a:lnTo>
                    <a:lnTo>
                      <a:pt x="25" y="10"/>
                    </a:lnTo>
                    <a:lnTo>
                      <a:pt x="25" y="7"/>
                    </a:lnTo>
                    <a:lnTo>
                      <a:pt x="25" y="7"/>
                    </a:lnTo>
                    <a:lnTo>
                      <a:pt x="23" y="0"/>
                    </a:lnTo>
                    <a:lnTo>
                      <a:pt x="23" y="0"/>
                    </a:lnTo>
                    <a:lnTo>
                      <a:pt x="51" y="4"/>
                    </a:lnTo>
                    <a:lnTo>
                      <a:pt x="51" y="4"/>
                    </a:lnTo>
                    <a:lnTo>
                      <a:pt x="51" y="4"/>
                    </a:lnTo>
                    <a:lnTo>
                      <a:pt x="51" y="4"/>
                    </a:lnTo>
                    <a:lnTo>
                      <a:pt x="51" y="4"/>
                    </a:lnTo>
                    <a:lnTo>
                      <a:pt x="51" y="4"/>
                    </a:lnTo>
                    <a:lnTo>
                      <a:pt x="51" y="4"/>
                    </a:lnTo>
                    <a:lnTo>
                      <a:pt x="51" y="4"/>
                    </a:lnTo>
                    <a:lnTo>
                      <a:pt x="55" y="4"/>
                    </a:lnTo>
                    <a:lnTo>
                      <a:pt x="58" y="1"/>
                    </a:lnTo>
                    <a:lnTo>
                      <a:pt x="58" y="1"/>
                    </a:lnTo>
                    <a:lnTo>
                      <a:pt x="59" y="9"/>
                    </a:lnTo>
                    <a:lnTo>
                      <a:pt x="61" y="13"/>
                    </a:lnTo>
                    <a:lnTo>
                      <a:pt x="62" y="16"/>
                    </a:lnTo>
                    <a:lnTo>
                      <a:pt x="62" y="16"/>
                    </a:lnTo>
                    <a:lnTo>
                      <a:pt x="62" y="16"/>
                    </a:lnTo>
                    <a:lnTo>
                      <a:pt x="62" y="16"/>
                    </a:lnTo>
                    <a:lnTo>
                      <a:pt x="62" y="16"/>
                    </a:lnTo>
                    <a:lnTo>
                      <a:pt x="62" y="16"/>
                    </a:lnTo>
                    <a:lnTo>
                      <a:pt x="62" y="16"/>
                    </a:lnTo>
                    <a:lnTo>
                      <a:pt x="62" y="16"/>
                    </a:lnTo>
                    <a:lnTo>
                      <a:pt x="62" y="16"/>
                    </a:lnTo>
                    <a:lnTo>
                      <a:pt x="62" y="16"/>
                    </a:lnTo>
                    <a:lnTo>
                      <a:pt x="62" y="16"/>
                    </a:lnTo>
                    <a:lnTo>
                      <a:pt x="62" y="16"/>
                    </a:lnTo>
                    <a:lnTo>
                      <a:pt x="62" y="16"/>
                    </a:lnTo>
                    <a:lnTo>
                      <a:pt x="62" y="16"/>
                    </a:lnTo>
                    <a:lnTo>
                      <a:pt x="65" y="17"/>
                    </a:lnTo>
                    <a:lnTo>
                      <a:pt x="65" y="17"/>
                    </a:lnTo>
                    <a:lnTo>
                      <a:pt x="65" y="17"/>
                    </a:lnTo>
                    <a:lnTo>
                      <a:pt x="65" y="17"/>
                    </a:lnTo>
                    <a:lnTo>
                      <a:pt x="65" y="17"/>
                    </a:lnTo>
                    <a:lnTo>
                      <a:pt x="68" y="16"/>
                    </a:lnTo>
                    <a:lnTo>
                      <a:pt x="70" y="11"/>
                    </a:lnTo>
                    <a:lnTo>
                      <a:pt x="71" y="7"/>
                    </a:lnTo>
                    <a:lnTo>
                      <a:pt x="73" y="4"/>
                    </a:lnTo>
                    <a:lnTo>
                      <a:pt x="73" y="4"/>
                    </a:lnTo>
                    <a:lnTo>
                      <a:pt x="73" y="4"/>
                    </a:lnTo>
                    <a:lnTo>
                      <a:pt x="73" y="4"/>
                    </a:lnTo>
                    <a:lnTo>
                      <a:pt x="73" y="4"/>
                    </a:lnTo>
                    <a:lnTo>
                      <a:pt x="73" y="4"/>
                    </a:lnTo>
                    <a:lnTo>
                      <a:pt x="73" y="4"/>
                    </a:lnTo>
                    <a:lnTo>
                      <a:pt x="75" y="4"/>
                    </a:lnTo>
                    <a:lnTo>
                      <a:pt x="78" y="7"/>
                    </a:lnTo>
                    <a:lnTo>
                      <a:pt x="81" y="10"/>
                    </a:lnTo>
                    <a:lnTo>
                      <a:pt x="86" y="11"/>
                    </a:lnTo>
                    <a:lnTo>
                      <a:pt x="86" y="11"/>
                    </a:lnTo>
                    <a:lnTo>
                      <a:pt x="87" y="11"/>
                    </a:lnTo>
                    <a:lnTo>
                      <a:pt x="87" y="11"/>
                    </a:lnTo>
                    <a:lnTo>
                      <a:pt x="87" y="11"/>
                    </a:lnTo>
                    <a:lnTo>
                      <a:pt x="87" y="11"/>
                    </a:lnTo>
                    <a:lnTo>
                      <a:pt x="87" y="11"/>
                    </a:lnTo>
                    <a:lnTo>
                      <a:pt x="87" y="11"/>
                    </a:lnTo>
                    <a:lnTo>
                      <a:pt x="87" y="11"/>
                    </a:lnTo>
                    <a:lnTo>
                      <a:pt x="87" y="11"/>
                    </a:lnTo>
                    <a:lnTo>
                      <a:pt x="87" y="11"/>
                    </a:lnTo>
                    <a:lnTo>
                      <a:pt x="87" y="11"/>
                    </a:lnTo>
                    <a:lnTo>
                      <a:pt x="94" y="13"/>
                    </a:lnTo>
                    <a:lnTo>
                      <a:pt x="103" y="13"/>
                    </a:lnTo>
                    <a:lnTo>
                      <a:pt x="110" y="13"/>
                    </a:lnTo>
                    <a:lnTo>
                      <a:pt x="113" y="14"/>
                    </a:lnTo>
                    <a:lnTo>
                      <a:pt x="113" y="14"/>
                    </a:lnTo>
                    <a:lnTo>
                      <a:pt x="116" y="23"/>
                    </a:lnTo>
                    <a:lnTo>
                      <a:pt x="119" y="30"/>
                    </a:lnTo>
                    <a:lnTo>
                      <a:pt x="125" y="35"/>
                    </a:lnTo>
                    <a:lnTo>
                      <a:pt x="125" y="35"/>
                    </a:lnTo>
                    <a:lnTo>
                      <a:pt x="122" y="49"/>
                    </a:lnTo>
                    <a:lnTo>
                      <a:pt x="122" y="49"/>
                    </a:lnTo>
                    <a:lnTo>
                      <a:pt x="122" y="55"/>
                    </a:lnTo>
                    <a:lnTo>
                      <a:pt x="122" y="55"/>
                    </a:lnTo>
                    <a:lnTo>
                      <a:pt x="122" y="69"/>
                    </a:lnTo>
                    <a:lnTo>
                      <a:pt x="120" y="75"/>
                    </a:lnTo>
                    <a:lnTo>
                      <a:pt x="117" y="78"/>
                    </a:lnTo>
                    <a:lnTo>
                      <a:pt x="117" y="78"/>
                    </a:lnTo>
                    <a:lnTo>
                      <a:pt x="117" y="78"/>
                    </a:lnTo>
                    <a:lnTo>
                      <a:pt x="117" y="78"/>
                    </a:lnTo>
                    <a:lnTo>
                      <a:pt x="116" y="78"/>
                    </a:lnTo>
                    <a:lnTo>
                      <a:pt x="116" y="78"/>
                    </a:lnTo>
                    <a:lnTo>
                      <a:pt x="112" y="81"/>
                    </a:lnTo>
                    <a:lnTo>
                      <a:pt x="112" y="81"/>
                    </a:lnTo>
                    <a:lnTo>
                      <a:pt x="107" y="81"/>
                    </a:lnTo>
                    <a:lnTo>
                      <a:pt x="107" y="81"/>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94" name="Freeform 594"/>
              <p:cNvSpPr>
                <a:spLocks/>
              </p:cNvSpPr>
              <p:nvPr/>
            </p:nvSpPr>
            <p:spPr bwMode="auto">
              <a:xfrm>
                <a:off x="2478" y="2568"/>
                <a:ext cx="125" cy="81"/>
              </a:xfrm>
              <a:custGeom>
                <a:avLst/>
                <a:gdLst>
                  <a:gd name="T0" fmla="*/ 107 w 125"/>
                  <a:gd name="T1" fmla="*/ 81 h 81"/>
                  <a:gd name="T2" fmla="*/ 99 w 125"/>
                  <a:gd name="T3" fmla="*/ 80 h 81"/>
                  <a:gd name="T4" fmla="*/ 97 w 125"/>
                  <a:gd name="T5" fmla="*/ 80 h 81"/>
                  <a:gd name="T6" fmla="*/ 97 w 125"/>
                  <a:gd name="T7" fmla="*/ 78 h 81"/>
                  <a:gd name="T8" fmla="*/ 96 w 125"/>
                  <a:gd name="T9" fmla="*/ 75 h 81"/>
                  <a:gd name="T10" fmla="*/ 91 w 125"/>
                  <a:gd name="T11" fmla="*/ 64 h 81"/>
                  <a:gd name="T12" fmla="*/ 80 w 125"/>
                  <a:gd name="T13" fmla="*/ 64 h 81"/>
                  <a:gd name="T14" fmla="*/ 80 w 125"/>
                  <a:gd name="T15" fmla="*/ 65 h 81"/>
                  <a:gd name="T16" fmla="*/ 78 w 125"/>
                  <a:gd name="T17" fmla="*/ 65 h 81"/>
                  <a:gd name="T18" fmla="*/ 70 w 125"/>
                  <a:gd name="T19" fmla="*/ 62 h 81"/>
                  <a:gd name="T20" fmla="*/ 68 w 125"/>
                  <a:gd name="T21" fmla="*/ 61 h 81"/>
                  <a:gd name="T22" fmla="*/ 58 w 125"/>
                  <a:gd name="T23" fmla="*/ 45 h 81"/>
                  <a:gd name="T24" fmla="*/ 58 w 125"/>
                  <a:gd name="T25" fmla="*/ 45 h 81"/>
                  <a:gd name="T26" fmla="*/ 58 w 125"/>
                  <a:gd name="T27" fmla="*/ 43 h 81"/>
                  <a:gd name="T28" fmla="*/ 58 w 125"/>
                  <a:gd name="T29" fmla="*/ 43 h 81"/>
                  <a:gd name="T30" fmla="*/ 55 w 125"/>
                  <a:gd name="T31" fmla="*/ 43 h 81"/>
                  <a:gd name="T32" fmla="*/ 46 w 125"/>
                  <a:gd name="T33" fmla="*/ 48 h 81"/>
                  <a:gd name="T34" fmla="*/ 46 w 125"/>
                  <a:gd name="T35" fmla="*/ 48 h 81"/>
                  <a:gd name="T36" fmla="*/ 31 w 125"/>
                  <a:gd name="T37" fmla="*/ 58 h 81"/>
                  <a:gd name="T38" fmla="*/ 29 w 125"/>
                  <a:gd name="T39" fmla="*/ 55 h 81"/>
                  <a:gd name="T40" fmla="*/ 26 w 125"/>
                  <a:gd name="T41" fmla="*/ 52 h 81"/>
                  <a:gd name="T42" fmla="*/ 23 w 125"/>
                  <a:gd name="T43" fmla="*/ 49 h 81"/>
                  <a:gd name="T44" fmla="*/ 17 w 125"/>
                  <a:gd name="T45" fmla="*/ 40 h 81"/>
                  <a:gd name="T46" fmla="*/ 15 w 125"/>
                  <a:gd name="T47" fmla="*/ 36 h 81"/>
                  <a:gd name="T48" fmla="*/ 0 w 125"/>
                  <a:gd name="T49" fmla="*/ 26 h 81"/>
                  <a:gd name="T50" fmla="*/ 23 w 125"/>
                  <a:gd name="T51" fmla="*/ 11 h 81"/>
                  <a:gd name="T52" fmla="*/ 25 w 125"/>
                  <a:gd name="T53" fmla="*/ 7 h 81"/>
                  <a:gd name="T54" fmla="*/ 23 w 125"/>
                  <a:gd name="T55" fmla="*/ 0 h 81"/>
                  <a:gd name="T56" fmla="*/ 51 w 125"/>
                  <a:gd name="T57" fmla="*/ 4 h 81"/>
                  <a:gd name="T58" fmla="*/ 51 w 125"/>
                  <a:gd name="T59" fmla="*/ 4 h 81"/>
                  <a:gd name="T60" fmla="*/ 55 w 125"/>
                  <a:gd name="T61" fmla="*/ 4 h 81"/>
                  <a:gd name="T62" fmla="*/ 59 w 125"/>
                  <a:gd name="T63" fmla="*/ 9 h 81"/>
                  <a:gd name="T64" fmla="*/ 62 w 125"/>
                  <a:gd name="T65" fmla="*/ 16 h 81"/>
                  <a:gd name="T66" fmla="*/ 62 w 125"/>
                  <a:gd name="T67" fmla="*/ 16 h 81"/>
                  <a:gd name="T68" fmla="*/ 62 w 125"/>
                  <a:gd name="T69" fmla="*/ 16 h 81"/>
                  <a:gd name="T70" fmla="*/ 62 w 125"/>
                  <a:gd name="T71" fmla="*/ 16 h 81"/>
                  <a:gd name="T72" fmla="*/ 62 w 125"/>
                  <a:gd name="T73" fmla="*/ 16 h 81"/>
                  <a:gd name="T74" fmla="*/ 65 w 125"/>
                  <a:gd name="T75" fmla="*/ 17 h 81"/>
                  <a:gd name="T76" fmla="*/ 68 w 125"/>
                  <a:gd name="T77" fmla="*/ 16 h 81"/>
                  <a:gd name="T78" fmla="*/ 73 w 125"/>
                  <a:gd name="T79" fmla="*/ 4 h 81"/>
                  <a:gd name="T80" fmla="*/ 73 w 125"/>
                  <a:gd name="T81" fmla="*/ 4 h 81"/>
                  <a:gd name="T82" fmla="*/ 73 w 125"/>
                  <a:gd name="T83" fmla="*/ 4 h 81"/>
                  <a:gd name="T84" fmla="*/ 81 w 125"/>
                  <a:gd name="T85" fmla="*/ 10 h 81"/>
                  <a:gd name="T86" fmla="*/ 87 w 125"/>
                  <a:gd name="T87" fmla="*/ 11 h 81"/>
                  <a:gd name="T88" fmla="*/ 87 w 125"/>
                  <a:gd name="T89" fmla="*/ 11 h 81"/>
                  <a:gd name="T90" fmla="*/ 87 w 125"/>
                  <a:gd name="T91" fmla="*/ 11 h 81"/>
                  <a:gd name="T92" fmla="*/ 87 w 125"/>
                  <a:gd name="T93" fmla="*/ 11 h 81"/>
                  <a:gd name="T94" fmla="*/ 110 w 125"/>
                  <a:gd name="T95" fmla="*/ 13 h 81"/>
                  <a:gd name="T96" fmla="*/ 116 w 125"/>
                  <a:gd name="T97" fmla="*/ 23 h 81"/>
                  <a:gd name="T98" fmla="*/ 125 w 125"/>
                  <a:gd name="T99" fmla="*/ 35 h 81"/>
                  <a:gd name="T100" fmla="*/ 122 w 125"/>
                  <a:gd name="T101" fmla="*/ 55 h 81"/>
                  <a:gd name="T102" fmla="*/ 120 w 125"/>
                  <a:gd name="T103" fmla="*/ 75 h 81"/>
                  <a:gd name="T104" fmla="*/ 117 w 125"/>
                  <a:gd name="T105" fmla="*/ 78 h 81"/>
                  <a:gd name="T106" fmla="*/ 116 w 125"/>
                  <a:gd name="T107" fmla="*/ 78 h 81"/>
                  <a:gd name="T108" fmla="*/ 107 w 125"/>
                  <a:gd name="T10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5" h="81">
                    <a:moveTo>
                      <a:pt x="107" y="81"/>
                    </a:moveTo>
                    <a:lnTo>
                      <a:pt x="107" y="81"/>
                    </a:lnTo>
                    <a:lnTo>
                      <a:pt x="107" y="81"/>
                    </a:lnTo>
                    <a:lnTo>
                      <a:pt x="101" y="81"/>
                    </a:lnTo>
                    <a:lnTo>
                      <a:pt x="99" y="80"/>
                    </a:lnTo>
                    <a:lnTo>
                      <a:pt x="99" y="80"/>
                    </a:lnTo>
                    <a:lnTo>
                      <a:pt x="97" y="80"/>
                    </a:lnTo>
                    <a:lnTo>
                      <a:pt x="97" y="80"/>
                    </a:lnTo>
                    <a:lnTo>
                      <a:pt x="97" y="80"/>
                    </a:lnTo>
                    <a:lnTo>
                      <a:pt x="97" y="80"/>
                    </a:lnTo>
                    <a:lnTo>
                      <a:pt x="97" y="78"/>
                    </a:lnTo>
                    <a:lnTo>
                      <a:pt x="97" y="78"/>
                    </a:lnTo>
                    <a:lnTo>
                      <a:pt x="97" y="78"/>
                    </a:lnTo>
                    <a:lnTo>
                      <a:pt x="97" y="78"/>
                    </a:lnTo>
                    <a:lnTo>
                      <a:pt x="96" y="75"/>
                    </a:lnTo>
                    <a:lnTo>
                      <a:pt x="94" y="69"/>
                    </a:lnTo>
                    <a:lnTo>
                      <a:pt x="93" y="65"/>
                    </a:lnTo>
                    <a:lnTo>
                      <a:pt x="91" y="64"/>
                    </a:lnTo>
                    <a:lnTo>
                      <a:pt x="90" y="64"/>
                    </a:lnTo>
                    <a:lnTo>
                      <a:pt x="90" y="64"/>
                    </a:lnTo>
                    <a:lnTo>
                      <a:pt x="80" y="64"/>
                    </a:lnTo>
                    <a:lnTo>
                      <a:pt x="80" y="64"/>
                    </a:lnTo>
                    <a:lnTo>
                      <a:pt x="80" y="65"/>
                    </a:lnTo>
                    <a:lnTo>
                      <a:pt x="80" y="65"/>
                    </a:lnTo>
                    <a:lnTo>
                      <a:pt x="80" y="64"/>
                    </a:lnTo>
                    <a:lnTo>
                      <a:pt x="80" y="64"/>
                    </a:lnTo>
                    <a:lnTo>
                      <a:pt x="78" y="65"/>
                    </a:lnTo>
                    <a:lnTo>
                      <a:pt x="78" y="65"/>
                    </a:lnTo>
                    <a:lnTo>
                      <a:pt x="73" y="64"/>
                    </a:lnTo>
                    <a:lnTo>
                      <a:pt x="70" y="62"/>
                    </a:lnTo>
                    <a:lnTo>
                      <a:pt x="70" y="62"/>
                    </a:lnTo>
                    <a:lnTo>
                      <a:pt x="68" y="61"/>
                    </a:lnTo>
                    <a:lnTo>
                      <a:pt x="68" y="61"/>
                    </a:lnTo>
                    <a:lnTo>
                      <a:pt x="65" y="51"/>
                    </a:lnTo>
                    <a:lnTo>
                      <a:pt x="62" y="46"/>
                    </a:lnTo>
                    <a:lnTo>
                      <a:pt x="58" y="45"/>
                    </a:lnTo>
                    <a:lnTo>
                      <a:pt x="58" y="45"/>
                    </a:lnTo>
                    <a:lnTo>
                      <a:pt x="58" y="45"/>
                    </a:lnTo>
                    <a:lnTo>
                      <a:pt x="58" y="45"/>
                    </a:lnTo>
                    <a:lnTo>
                      <a:pt x="58" y="43"/>
                    </a:lnTo>
                    <a:lnTo>
                      <a:pt x="58" y="43"/>
                    </a:lnTo>
                    <a:lnTo>
                      <a:pt x="58" y="43"/>
                    </a:lnTo>
                    <a:lnTo>
                      <a:pt x="58" y="43"/>
                    </a:lnTo>
                    <a:lnTo>
                      <a:pt x="58" y="43"/>
                    </a:lnTo>
                    <a:lnTo>
                      <a:pt x="58" y="43"/>
                    </a:lnTo>
                    <a:lnTo>
                      <a:pt x="55" y="43"/>
                    </a:lnTo>
                    <a:lnTo>
                      <a:pt x="55" y="43"/>
                    </a:lnTo>
                    <a:lnTo>
                      <a:pt x="55" y="43"/>
                    </a:lnTo>
                    <a:lnTo>
                      <a:pt x="55" y="43"/>
                    </a:lnTo>
                    <a:lnTo>
                      <a:pt x="51" y="45"/>
                    </a:lnTo>
                    <a:lnTo>
                      <a:pt x="46" y="48"/>
                    </a:lnTo>
                    <a:lnTo>
                      <a:pt x="46" y="48"/>
                    </a:lnTo>
                    <a:lnTo>
                      <a:pt x="46" y="48"/>
                    </a:lnTo>
                    <a:lnTo>
                      <a:pt x="46" y="48"/>
                    </a:lnTo>
                    <a:lnTo>
                      <a:pt x="32" y="64"/>
                    </a:lnTo>
                    <a:lnTo>
                      <a:pt x="32" y="64"/>
                    </a:lnTo>
                    <a:lnTo>
                      <a:pt x="31" y="58"/>
                    </a:lnTo>
                    <a:lnTo>
                      <a:pt x="31" y="58"/>
                    </a:lnTo>
                    <a:lnTo>
                      <a:pt x="29" y="55"/>
                    </a:lnTo>
                    <a:lnTo>
                      <a:pt x="29" y="55"/>
                    </a:lnTo>
                    <a:lnTo>
                      <a:pt x="28" y="53"/>
                    </a:lnTo>
                    <a:lnTo>
                      <a:pt x="28" y="53"/>
                    </a:lnTo>
                    <a:lnTo>
                      <a:pt x="26" y="52"/>
                    </a:lnTo>
                    <a:lnTo>
                      <a:pt x="26" y="52"/>
                    </a:lnTo>
                    <a:lnTo>
                      <a:pt x="23" y="49"/>
                    </a:lnTo>
                    <a:lnTo>
                      <a:pt x="23" y="49"/>
                    </a:lnTo>
                    <a:lnTo>
                      <a:pt x="19" y="43"/>
                    </a:lnTo>
                    <a:lnTo>
                      <a:pt x="19" y="43"/>
                    </a:lnTo>
                    <a:lnTo>
                      <a:pt x="17" y="40"/>
                    </a:lnTo>
                    <a:lnTo>
                      <a:pt x="17" y="40"/>
                    </a:lnTo>
                    <a:lnTo>
                      <a:pt x="15" y="36"/>
                    </a:lnTo>
                    <a:lnTo>
                      <a:pt x="15" y="36"/>
                    </a:lnTo>
                    <a:lnTo>
                      <a:pt x="7" y="32"/>
                    </a:lnTo>
                    <a:lnTo>
                      <a:pt x="7" y="32"/>
                    </a:lnTo>
                    <a:lnTo>
                      <a:pt x="0" y="26"/>
                    </a:lnTo>
                    <a:lnTo>
                      <a:pt x="0" y="26"/>
                    </a:lnTo>
                    <a:lnTo>
                      <a:pt x="15" y="17"/>
                    </a:lnTo>
                    <a:lnTo>
                      <a:pt x="23" y="11"/>
                    </a:lnTo>
                    <a:lnTo>
                      <a:pt x="23" y="11"/>
                    </a:lnTo>
                    <a:lnTo>
                      <a:pt x="25" y="10"/>
                    </a:lnTo>
                    <a:lnTo>
                      <a:pt x="25" y="7"/>
                    </a:lnTo>
                    <a:lnTo>
                      <a:pt x="25" y="7"/>
                    </a:lnTo>
                    <a:lnTo>
                      <a:pt x="23" y="0"/>
                    </a:lnTo>
                    <a:lnTo>
                      <a:pt x="23" y="0"/>
                    </a:lnTo>
                    <a:lnTo>
                      <a:pt x="51" y="4"/>
                    </a:lnTo>
                    <a:lnTo>
                      <a:pt x="51" y="4"/>
                    </a:lnTo>
                    <a:lnTo>
                      <a:pt x="51" y="4"/>
                    </a:lnTo>
                    <a:lnTo>
                      <a:pt x="51" y="4"/>
                    </a:lnTo>
                    <a:lnTo>
                      <a:pt x="51" y="4"/>
                    </a:lnTo>
                    <a:lnTo>
                      <a:pt x="51" y="4"/>
                    </a:lnTo>
                    <a:lnTo>
                      <a:pt x="51" y="4"/>
                    </a:lnTo>
                    <a:lnTo>
                      <a:pt x="51" y="4"/>
                    </a:lnTo>
                    <a:lnTo>
                      <a:pt x="55" y="4"/>
                    </a:lnTo>
                    <a:lnTo>
                      <a:pt x="58" y="1"/>
                    </a:lnTo>
                    <a:lnTo>
                      <a:pt x="58" y="1"/>
                    </a:lnTo>
                    <a:lnTo>
                      <a:pt x="59" y="9"/>
                    </a:lnTo>
                    <a:lnTo>
                      <a:pt x="61" y="13"/>
                    </a:lnTo>
                    <a:lnTo>
                      <a:pt x="62" y="16"/>
                    </a:lnTo>
                    <a:lnTo>
                      <a:pt x="62" y="16"/>
                    </a:lnTo>
                    <a:lnTo>
                      <a:pt x="62" y="16"/>
                    </a:lnTo>
                    <a:lnTo>
                      <a:pt x="62" y="16"/>
                    </a:lnTo>
                    <a:lnTo>
                      <a:pt x="62" y="16"/>
                    </a:lnTo>
                    <a:lnTo>
                      <a:pt x="62" y="16"/>
                    </a:lnTo>
                    <a:lnTo>
                      <a:pt x="62" y="16"/>
                    </a:lnTo>
                    <a:lnTo>
                      <a:pt x="62" y="16"/>
                    </a:lnTo>
                    <a:lnTo>
                      <a:pt x="62" y="16"/>
                    </a:lnTo>
                    <a:lnTo>
                      <a:pt x="62" y="16"/>
                    </a:lnTo>
                    <a:lnTo>
                      <a:pt x="62" y="16"/>
                    </a:lnTo>
                    <a:lnTo>
                      <a:pt x="62" y="16"/>
                    </a:lnTo>
                    <a:lnTo>
                      <a:pt x="62" y="16"/>
                    </a:lnTo>
                    <a:lnTo>
                      <a:pt x="62" y="16"/>
                    </a:lnTo>
                    <a:lnTo>
                      <a:pt x="65" y="17"/>
                    </a:lnTo>
                    <a:lnTo>
                      <a:pt x="65" y="17"/>
                    </a:lnTo>
                    <a:lnTo>
                      <a:pt x="65" y="17"/>
                    </a:lnTo>
                    <a:lnTo>
                      <a:pt x="65" y="17"/>
                    </a:lnTo>
                    <a:lnTo>
                      <a:pt x="65" y="17"/>
                    </a:lnTo>
                    <a:lnTo>
                      <a:pt x="68" y="16"/>
                    </a:lnTo>
                    <a:lnTo>
                      <a:pt x="70" y="11"/>
                    </a:lnTo>
                    <a:lnTo>
                      <a:pt x="71" y="7"/>
                    </a:lnTo>
                    <a:lnTo>
                      <a:pt x="73" y="4"/>
                    </a:lnTo>
                    <a:lnTo>
                      <a:pt x="73" y="4"/>
                    </a:lnTo>
                    <a:lnTo>
                      <a:pt x="73" y="4"/>
                    </a:lnTo>
                    <a:lnTo>
                      <a:pt x="73" y="4"/>
                    </a:lnTo>
                    <a:lnTo>
                      <a:pt x="73" y="4"/>
                    </a:lnTo>
                    <a:lnTo>
                      <a:pt x="73" y="4"/>
                    </a:lnTo>
                    <a:lnTo>
                      <a:pt x="73" y="4"/>
                    </a:lnTo>
                    <a:lnTo>
                      <a:pt x="75" y="4"/>
                    </a:lnTo>
                    <a:lnTo>
                      <a:pt x="78" y="7"/>
                    </a:lnTo>
                    <a:lnTo>
                      <a:pt x="81" y="10"/>
                    </a:lnTo>
                    <a:lnTo>
                      <a:pt x="86" y="11"/>
                    </a:lnTo>
                    <a:lnTo>
                      <a:pt x="86" y="11"/>
                    </a:lnTo>
                    <a:lnTo>
                      <a:pt x="87" y="11"/>
                    </a:lnTo>
                    <a:lnTo>
                      <a:pt x="87" y="11"/>
                    </a:lnTo>
                    <a:lnTo>
                      <a:pt x="87" y="11"/>
                    </a:lnTo>
                    <a:lnTo>
                      <a:pt x="87" y="11"/>
                    </a:lnTo>
                    <a:lnTo>
                      <a:pt x="87" y="11"/>
                    </a:lnTo>
                    <a:lnTo>
                      <a:pt x="87" y="11"/>
                    </a:lnTo>
                    <a:lnTo>
                      <a:pt x="87" y="11"/>
                    </a:lnTo>
                    <a:lnTo>
                      <a:pt x="87" y="11"/>
                    </a:lnTo>
                    <a:lnTo>
                      <a:pt x="87" y="11"/>
                    </a:lnTo>
                    <a:lnTo>
                      <a:pt x="87" y="11"/>
                    </a:lnTo>
                    <a:lnTo>
                      <a:pt x="94" y="13"/>
                    </a:lnTo>
                    <a:lnTo>
                      <a:pt x="103" y="13"/>
                    </a:lnTo>
                    <a:lnTo>
                      <a:pt x="110" y="13"/>
                    </a:lnTo>
                    <a:lnTo>
                      <a:pt x="113" y="14"/>
                    </a:lnTo>
                    <a:lnTo>
                      <a:pt x="113" y="14"/>
                    </a:lnTo>
                    <a:lnTo>
                      <a:pt x="116" y="23"/>
                    </a:lnTo>
                    <a:lnTo>
                      <a:pt x="119" y="30"/>
                    </a:lnTo>
                    <a:lnTo>
                      <a:pt x="125" y="35"/>
                    </a:lnTo>
                    <a:lnTo>
                      <a:pt x="125" y="35"/>
                    </a:lnTo>
                    <a:lnTo>
                      <a:pt x="122" y="49"/>
                    </a:lnTo>
                    <a:lnTo>
                      <a:pt x="122" y="49"/>
                    </a:lnTo>
                    <a:lnTo>
                      <a:pt x="122" y="55"/>
                    </a:lnTo>
                    <a:lnTo>
                      <a:pt x="122" y="55"/>
                    </a:lnTo>
                    <a:lnTo>
                      <a:pt x="122" y="69"/>
                    </a:lnTo>
                    <a:lnTo>
                      <a:pt x="120" y="75"/>
                    </a:lnTo>
                    <a:lnTo>
                      <a:pt x="117" y="78"/>
                    </a:lnTo>
                    <a:lnTo>
                      <a:pt x="117" y="78"/>
                    </a:lnTo>
                    <a:lnTo>
                      <a:pt x="117" y="78"/>
                    </a:lnTo>
                    <a:lnTo>
                      <a:pt x="117" y="78"/>
                    </a:lnTo>
                    <a:lnTo>
                      <a:pt x="116" y="78"/>
                    </a:lnTo>
                    <a:lnTo>
                      <a:pt x="116" y="78"/>
                    </a:lnTo>
                    <a:lnTo>
                      <a:pt x="112" y="81"/>
                    </a:lnTo>
                    <a:lnTo>
                      <a:pt x="112" y="81"/>
                    </a:lnTo>
                    <a:lnTo>
                      <a:pt x="107" y="81"/>
                    </a:lnTo>
                    <a:lnTo>
                      <a:pt x="107" y="8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95" name="Freeform 595"/>
              <p:cNvSpPr>
                <a:spLocks noEditPoints="1"/>
              </p:cNvSpPr>
              <p:nvPr/>
            </p:nvSpPr>
            <p:spPr bwMode="auto">
              <a:xfrm>
                <a:off x="2540" y="2572"/>
                <a:ext cx="63" cy="31"/>
              </a:xfrm>
              <a:custGeom>
                <a:avLst/>
                <a:gdLst>
                  <a:gd name="T0" fmla="*/ 11 w 63"/>
                  <a:gd name="T1" fmla="*/ 0 h 31"/>
                  <a:gd name="T2" fmla="*/ 11 w 63"/>
                  <a:gd name="T3" fmla="*/ 0 h 31"/>
                  <a:gd name="T4" fmla="*/ 24 w 63"/>
                  <a:gd name="T5" fmla="*/ 7 h 31"/>
                  <a:gd name="T6" fmla="*/ 19 w 63"/>
                  <a:gd name="T7" fmla="*/ 6 h 31"/>
                  <a:gd name="T8" fmla="*/ 13 w 63"/>
                  <a:gd name="T9" fmla="*/ 0 h 31"/>
                  <a:gd name="T10" fmla="*/ 11 w 63"/>
                  <a:gd name="T11" fmla="*/ 0 h 31"/>
                  <a:gd name="T12" fmla="*/ 16 w 63"/>
                  <a:gd name="T13" fmla="*/ 3 h 31"/>
                  <a:gd name="T14" fmla="*/ 24 w 63"/>
                  <a:gd name="T15" fmla="*/ 7 h 31"/>
                  <a:gd name="T16" fmla="*/ 25 w 63"/>
                  <a:gd name="T17" fmla="*/ 7 h 31"/>
                  <a:gd name="T18" fmla="*/ 25 w 63"/>
                  <a:gd name="T19" fmla="*/ 7 h 31"/>
                  <a:gd name="T20" fmla="*/ 25 w 63"/>
                  <a:gd name="T21" fmla="*/ 7 h 31"/>
                  <a:gd name="T22" fmla="*/ 25 w 63"/>
                  <a:gd name="T23" fmla="*/ 7 h 31"/>
                  <a:gd name="T24" fmla="*/ 25 w 63"/>
                  <a:gd name="T25" fmla="*/ 7 h 31"/>
                  <a:gd name="T26" fmla="*/ 0 w 63"/>
                  <a:gd name="T27" fmla="*/ 12 h 31"/>
                  <a:gd name="T28" fmla="*/ 0 w 63"/>
                  <a:gd name="T29" fmla="*/ 12 h 31"/>
                  <a:gd name="T30" fmla="*/ 0 w 63"/>
                  <a:gd name="T31" fmla="*/ 12 h 31"/>
                  <a:gd name="T32" fmla="*/ 0 w 63"/>
                  <a:gd name="T33" fmla="*/ 12 h 31"/>
                  <a:gd name="T34" fmla="*/ 0 w 63"/>
                  <a:gd name="T35" fmla="*/ 12 h 31"/>
                  <a:gd name="T36" fmla="*/ 0 w 63"/>
                  <a:gd name="T37" fmla="*/ 12 h 31"/>
                  <a:gd name="T38" fmla="*/ 0 w 63"/>
                  <a:gd name="T39" fmla="*/ 12 h 31"/>
                  <a:gd name="T40" fmla="*/ 0 w 63"/>
                  <a:gd name="T41" fmla="*/ 12 h 31"/>
                  <a:gd name="T42" fmla="*/ 0 w 63"/>
                  <a:gd name="T43" fmla="*/ 12 h 31"/>
                  <a:gd name="T44" fmla="*/ 0 w 63"/>
                  <a:gd name="T45" fmla="*/ 12 h 31"/>
                  <a:gd name="T46" fmla="*/ 3 w 63"/>
                  <a:gd name="T47" fmla="*/ 13 h 31"/>
                  <a:gd name="T48" fmla="*/ 8 w 63"/>
                  <a:gd name="T49" fmla="*/ 7 h 31"/>
                  <a:gd name="T50" fmla="*/ 11 w 63"/>
                  <a:gd name="T51" fmla="*/ 0 h 31"/>
                  <a:gd name="T52" fmla="*/ 9 w 63"/>
                  <a:gd name="T53" fmla="*/ 3 h 31"/>
                  <a:gd name="T54" fmla="*/ 6 w 63"/>
                  <a:gd name="T55" fmla="*/ 12 h 31"/>
                  <a:gd name="T56" fmla="*/ 3 w 63"/>
                  <a:gd name="T57" fmla="*/ 13 h 31"/>
                  <a:gd name="T58" fmla="*/ 3 w 63"/>
                  <a:gd name="T59" fmla="*/ 13 h 31"/>
                  <a:gd name="T60" fmla="*/ 63 w 63"/>
                  <a:gd name="T61" fmla="*/ 31 h 31"/>
                  <a:gd name="T62" fmla="*/ 54 w 63"/>
                  <a:gd name="T63" fmla="*/ 19 h 31"/>
                  <a:gd name="T64" fmla="*/ 51 w 63"/>
                  <a:gd name="T65" fmla="*/ 10 h 31"/>
                  <a:gd name="T66" fmla="*/ 57 w 63"/>
                  <a:gd name="T67" fmla="*/ 26 h 31"/>
                  <a:gd name="T68" fmla="*/ 63 w 63"/>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 h="31">
                    <a:moveTo>
                      <a:pt x="11" y="0"/>
                    </a:moveTo>
                    <a:lnTo>
                      <a:pt x="11" y="0"/>
                    </a:lnTo>
                    <a:lnTo>
                      <a:pt x="11" y="0"/>
                    </a:lnTo>
                    <a:lnTo>
                      <a:pt x="11" y="0"/>
                    </a:lnTo>
                    <a:lnTo>
                      <a:pt x="11" y="0"/>
                    </a:lnTo>
                    <a:close/>
                    <a:moveTo>
                      <a:pt x="24" y="7"/>
                    </a:moveTo>
                    <a:lnTo>
                      <a:pt x="24" y="7"/>
                    </a:lnTo>
                    <a:lnTo>
                      <a:pt x="19" y="6"/>
                    </a:lnTo>
                    <a:lnTo>
                      <a:pt x="16" y="3"/>
                    </a:lnTo>
                    <a:lnTo>
                      <a:pt x="13" y="0"/>
                    </a:lnTo>
                    <a:lnTo>
                      <a:pt x="11" y="0"/>
                    </a:lnTo>
                    <a:lnTo>
                      <a:pt x="11" y="0"/>
                    </a:lnTo>
                    <a:lnTo>
                      <a:pt x="13" y="0"/>
                    </a:lnTo>
                    <a:lnTo>
                      <a:pt x="16" y="3"/>
                    </a:lnTo>
                    <a:lnTo>
                      <a:pt x="19" y="6"/>
                    </a:lnTo>
                    <a:lnTo>
                      <a:pt x="24" y="7"/>
                    </a:lnTo>
                    <a:close/>
                    <a:moveTo>
                      <a:pt x="25" y="7"/>
                    </a:moveTo>
                    <a:lnTo>
                      <a:pt x="25" y="7"/>
                    </a:lnTo>
                    <a:lnTo>
                      <a:pt x="25" y="7"/>
                    </a:lnTo>
                    <a:lnTo>
                      <a:pt x="25" y="7"/>
                    </a:lnTo>
                    <a:lnTo>
                      <a:pt x="25" y="7"/>
                    </a:lnTo>
                    <a:close/>
                    <a:moveTo>
                      <a:pt x="25" y="7"/>
                    </a:moveTo>
                    <a:lnTo>
                      <a:pt x="25" y="7"/>
                    </a:lnTo>
                    <a:lnTo>
                      <a:pt x="25" y="7"/>
                    </a:lnTo>
                    <a:lnTo>
                      <a:pt x="25" y="7"/>
                    </a:lnTo>
                    <a:lnTo>
                      <a:pt x="25" y="7"/>
                    </a:lnTo>
                    <a:close/>
                    <a:moveTo>
                      <a:pt x="0" y="12"/>
                    </a:moveTo>
                    <a:lnTo>
                      <a:pt x="0" y="12"/>
                    </a:lnTo>
                    <a:lnTo>
                      <a:pt x="0" y="12"/>
                    </a:lnTo>
                    <a:lnTo>
                      <a:pt x="0" y="12"/>
                    </a:lnTo>
                    <a:lnTo>
                      <a:pt x="0" y="12"/>
                    </a:lnTo>
                    <a:close/>
                    <a:moveTo>
                      <a:pt x="0" y="12"/>
                    </a:moveTo>
                    <a:lnTo>
                      <a:pt x="0" y="12"/>
                    </a:lnTo>
                    <a:lnTo>
                      <a:pt x="0" y="12"/>
                    </a:lnTo>
                    <a:lnTo>
                      <a:pt x="0" y="12"/>
                    </a:lnTo>
                    <a:lnTo>
                      <a:pt x="0" y="12"/>
                    </a:lnTo>
                    <a:close/>
                    <a:moveTo>
                      <a:pt x="0" y="12"/>
                    </a:moveTo>
                    <a:lnTo>
                      <a:pt x="0" y="12"/>
                    </a:lnTo>
                    <a:lnTo>
                      <a:pt x="0" y="12"/>
                    </a:lnTo>
                    <a:lnTo>
                      <a:pt x="0" y="12"/>
                    </a:lnTo>
                    <a:lnTo>
                      <a:pt x="0" y="12"/>
                    </a:lnTo>
                    <a:close/>
                    <a:moveTo>
                      <a:pt x="0" y="12"/>
                    </a:moveTo>
                    <a:lnTo>
                      <a:pt x="0" y="12"/>
                    </a:lnTo>
                    <a:lnTo>
                      <a:pt x="0" y="12"/>
                    </a:lnTo>
                    <a:lnTo>
                      <a:pt x="0" y="12"/>
                    </a:lnTo>
                    <a:lnTo>
                      <a:pt x="0" y="12"/>
                    </a:lnTo>
                    <a:close/>
                    <a:moveTo>
                      <a:pt x="3" y="13"/>
                    </a:moveTo>
                    <a:lnTo>
                      <a:pt x="3" y="13"/>
                    </a:lnTo>
                    <a:lnTo>
                      <a:pt x="6" y="12"/>
                    </a:lnTo>
                    <a:lnTo>
                      <a:pt x="8" y="7"/>
                    </a:lnTo>
                    <a:lnTo>
                      <a:pt x="9" y="3"/>
                    </a:lnTo>
                    <a:lnTo>
                      <a:pt x="11" y="0"/>
                    </a:lnTo>
                    <a:lnTo>
                      <a:pt x="11" y="0"/>
                    </a:lnTo>
                    <a:lnTo>
                      <a:pt x="9" y="3"/>
                    </a:lnTo>
                    <a:lnTo>
                      <a:pt x="8" y="7"/>
                    </a:lnTo>
                    <a:lnTo>
                      <a:pt x="6" y="12"/>
                    </a:lnTo>
                    <a:lnTo>
                      <a:pt x="3" y="13"/>
                    </a:lnTo>
                    <a:close/>
                    <a:moveTo>
                      <a:pt x="3" y="13"/>
                    </a:moveTo>
                    <a:lnTo>
                      <a:pt x="3" y="13"/>
                    </a:lnTo>
                    <a:lnTo>
                      <a:pt x="3" y="13"/>
                    </a:lnTo>
                    <a:close/>
                    <a:moveTo>
                      <a:pt x="63" y="31"/>
                    </a:moveTo>
                    <a:lnTo>
                      <a:pt x="63" y="31"/>
                    </a:lnTo>
                    <a:lnTo>
                      <a:pt x="57" y="26"/>
                    </a:lnTo>
                    <a:lnTo>
                      <a:pt x="54" y="19"/>
                    </a:lnTo>
                    <a:lnTo>
                      <a:pt x="51" y="10"/>
                    </a:lnTo>
                    <a:lnTo>
                      <a:pt x="51" y="10"/>
                    </a:lnTo>
                    <a:lnTo>
                      <a:pt x="54" y="19"/>
                    </a:lnTo>
                    <a:lnTo>
                      <a:pt x="57" y="26"/>
                    </a:lnTo>
                    <a:lnTo>
                      <a:pt x="63" y="31"/>
                    </a:lnTo>
                    <a:lnTo>
                      <a:pt x="63" y="31"/>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96" name="Rectangle 596"/>
              <p:cNvSpPr>
                <a:spLocks noChangeArrowheads="1"/>
              </p:cNvSpPr>
              <p:nvPr/>
            </p:nvSpPr>
            <p:spPr bwMode="auto">
              <a:xfrm>
                <a:off x="2551" y="2572"/>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97" name="Freeform 597"/>
              <p:cNvSpPr>
                <a:spLocks/>
              </p:cNvSpPr>
              <p:nvPr/>
            </p:nvSpPr>
            <p:spPr bwMode="auto">
              <a:xfrm>
                <a:off x="2551" y="2572"/>
                <a:ext cx="13" cy="7"/>
              </a:xfrm>
              <a:custGeom>
                <a:avLst/>
                <a:gdLst>
                  <a:gd name="T0" fmla="*/ 13 w 13"/>
                  <a:gd name="T1" fmla="*/ 7 h 7"/>
                  <a:gd name="T2" fmla="*/ 13 w 13"/>
                  <a:gd name="T3" fmla="*/ 7 h 7"/>
                  <a:gd name="T4" fmla="*/ 8 w 13"/>
                  <a:gd name="T5" fmla="*/ 6 h 7"/>
                  <a:gd name="T6" fmla="*/ 5 w 13"/>
                  <a:gd name="T7" fmla="*/ 3 h 7"/>
                  <a:gd name="T8" fmla="*/ 2 w 13"/>
                  <a:gd name="T9" fmla="*/ 0 h 7"/>
                  <a:gd name="T10" fmla="*/ 0 w 13"/>
                  <a:gd name="T11" fmla="*/ 0 h 7"/>
                  <a:gd name="T12" fmla="*/ 0 w 13"/>
                  <a:gd name="T13" fmla="*/ 0 h 7"/>
                  <a:gd name="T14" fmla="*/ 2 w 13"/>
                  <a:gd name="T15" fmla="*/ 0 h 7"/>
                  <a:gd name="T16" fmla="*/ 5 w 13"/>
                  <a:gd name="T17" fmla="*/ 3 h 7"/>
                  <a:gd name="T18" fmla="*/ 8 w 13"/>
                  <a:gd name="T19" fmla="*/ 6 h 7"/>
                  <a:gd name="T20" fmla="*/ 13 w 13"/>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
                    <a:moveTo>
                      <a:pt x="13" y="7"/>
                    </a:moveTo>
                    <a:lnTo>
                      <a:pt x="13" y="7"/>
                    </a:lnTo>
                    <a:lnTo>
                      <a:pt x="8" y="6"/>
                    </a:lnTo>
                    <a:lnTo>
                      <a:pt x="5" y="3"/>
                    </a:lnTo>
                    <a:lnTo>
                      <a:pt x="2" y="0"/>
                    </a:lnTo>
                    <a:lnTo>
                      <a:pt x="0" y="0"/>
                    </a:lnTo>
                    <a:lnTo>
                      <a:pt x="0" y="0"/>
                    </a:lnTo>
                    <a:lnTo>
                      <a:pt x="2" y="0"/>
                    </a:lnTo>
                    <a:lnTo>
                      <a:pt x="5" y="3"/>
                    </a:lnTo>
                    <a:lnTo>
                      <a:pt x="8" y="6"/>
                    </a:lnTo>
                    <a:lnTo>
                      <a:pt x="13"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98" name="Rectangle 598"/>
              <p:cNvSpPr>
                <a:spLocks noChangeArrowheads="1"/>
              </p:cNvSpPr>
              <p:nvPr/>
            </p:nvSpPr>
            <p:spPr bwMode="auto">
              <a:xfrm>
                <a:off x="2565" y="2579"/>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599" name="Rectangle 599"/>
              <p:cNvSpPr>
                <a:spLocks noChangeArrowheads="1"/>
              </p:cNvSpPr>
              <p:nvPr/>
            </p:nvSpPr>
            <p:spPr bwMode="auto">
              <a:xfrm>
                <a:off x="2565" y="2579"/>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600" name="Rectangle 600"/>
              <p:cNvSpPr>
                <a:spLocks noChangeArrowheads="1"/>
              </p:cNvSpPr>
              <p:nvPr/>
            </p:nvSpPr>
            <p:spPr bwMode="auto">
              <a:xfrm>
                <a:off x="2540" y="2584"/>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601" name="Rectangle 601"/>
              <p:cNvSpPr>
                <a:spLocks noChangeArrowheads="1"/>
              </p:cNvSpPr>
              <p:nvPr/>
            </p:nvSpPr>
            <p:spPr bwMode="auto">
              <a:xfrm>
                <a:off x="2540" y="2584"/>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602" name="Rectangle 602"/>
              <p:cNvSpPr>
                <a:spLocks noChangeArrowheads="1"/>
              </p:cNvSpPr>
              <p:nvPr/>
            </p:nvSpPr>
            <p:spPr bwMode="auto">
              <a:xfrm>
                <a:off x="2540" y="2584"/>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603" name="Rectangle 603"/>
              <p:cNvSpPr>
                <a:spLocks noChangeArrowheads="1"/>
              </p:cNvSpPr>
              <p:nvPr/>
            </p:nvSpPr>
            <p:spPr bwMode="auto">
              <a:xfrm>
                <a:off x="2540" y="2584"/>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604" name="Freeform 604"/>
              <p:cNvSpPr>
                <a:spLocks/>
              </p:cNvSpPr>
              <p:nvPr/>
            </p:nvSpPr>
            <p:spPr bwMode="auto">
              <a:xfrm>
                <a:off x="2543" y="2572"/>
                <a:ext cx="8" cy="13"/>
              </a:xfrm>
              <a:custGeom>
                <a:avLst/>
                <a:gdLst>
                  <a:gd name="T0" fmla="*/ 0 w 8"/>
                  <a:gd name="T1" fmla="*/ 13 h 13"/>
                  <a:gd name="T2" fmla="*/ 0 w 8"/>
                  <a:gd name="T3" fmla="*/ 13 h 13"/>
                  <a:gd name="T4" fmla="*/ 3 w 8"/>
                  <a:gd name="T5" fmla="*/ 12 h 13"/>
                  <a:gd name="T6" fmla="*/ 5 w 8"/>
                  <a:gd name="T7" fmla="*/ 7 h 13"/>
                  <a:gd name="T8" fmla="*/ 6 w 8"/>
                  <a:gd name="T9" fmla="*/ 3 h 13"/>
                  <a:gd name="T10" fmla="*/ 8 w 8"/>
                  <a:gd name="T11" fmla="*/ 0 h 13"/>
                  <a:gd name="T12" fmla="*/ 8 w 8"/>
                  <a:gd name="T13" fmla="*/ 0 h 13"/>
                  <a:gd name="T14" fmla="*/ 6 w 8"/>
                  <a:gd name="T15" fmla="*/ 3 h 13"/>
                  <a:gd name="T16" fmla="*/ 5 w 8"/>
                  <a:gd name="T17" fmla="*/ 7 h 13"/>
                  <a:gd name="T18" fmla="*/ 3 w 8"/>
                  <a:gd name="T19" fmla="*/ 12 h 13"/>
                  <a:gd name="T20" fmla="*/ 0 w 8"/>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3">
                    <a:moveTo>
                      <a:pt x="0" y="13"/>
                    </a:moveTo>
                    <a:lnTo>
                      <a:pt x="0" y="13"/>
                    </a:lnTo>
                    <a:lnTo>
                      <a:pt x="3" y="12"/>
                    </a:lnTo>
                    <a:lnTo>
                      <a:pt x="5" y="7"/>
                    </a:lnTo>
                    <a:lnTo>
                      <a:pt x="6" y="3"/>
                    </a:lnTo>
                    <a:lnTo>
                      <a:pt x="8" y="0"/>
                    </a:lnTo>
                    <a:lnTo>
                      <a:pt x="8" y="0"/>
                    </a:lnTo>
                    <a:lnTo>
                      <a:pt x="6" y="3"/>
                    </a:lnTo>
                    <a:lnTo>
                      <a:pt x="5" y="7"/>
                    </a:lnTo>
                    <a:lnTo>
                      <a:pt x="3" y="12"/>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605" name="Freeform 605"/>
              <p:cNvSpPr>
                <a:spLocks/>
              </p:cNvSpPr>
              <p:nvPr/>
            </p:nvSpPr>
            <p:spPr bwMode="auto">
              <a:xfrm>
                <a:off x="2543" y="2585"/>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606" name="Freeform 606"/>
              <p:cNvSpPr>
                <a:spLocks/>
              </p:cNvSpPr>
              <p:nvPr/>
            </p:nvSpPr>
            <p:spPr bwMode="auto">
              <a:xfrm>
                <a:off x="2591" y="2582"/>
                <a:ext cx="12" cy="21"/>
              </a:xfrm>
              <a:custGeom>
                <a:avLst/>
                <a:gdLst>
                  <a:gd name="T0" fmla="*/ 12 w 12"/>
                  <a:gd name="T1" fmla="*/ 21 h 21"/>
                  <a:gd name="T2" fmla="*/ 12 w 12"/>
                  <a:gd name="T3" fmla="*/ 21 h 21"/>
                  <a:gd name="T4" fmla="*/ 6 w 12"/>
                  <a:gd name="T5" fmla="*/ 16 h 21"/>
                  <a:gd name="T6" fmla="*/ 3 w 12"/>
                  <a:gd name="T7" fmla="*/ 9 h 21"/>
                  <a:gd name="T8" fmla="*/ 0 w 12"/>
                  <a:gd name="T9" fmla="*/ 0 h 21"/>
                  <a:gd name="T10" fmla="*/ 0 w 12"/>
                  <a:gd name="T11" fmla="*/ 0 h 21"/>
                  <a:gd name="T12" fmla="*/ 3 w 12"/>
                  <a:gd name="T13" fmla="*/ 9 h 21"/>
                  <a:gd name="T14" fmla="*/ 6 w 12"/>
                  <a:gd name="T15" fmla="*/ 16 h 21"/>
                  <a:gd name="T16" fmla="*/ 12 w 12"/>
                  <a:gd name="T17" fmla="*/ 21 h 21"/>
                  <a:gd name="T18" fmla="*/ 12 w 12"/>
                  <a:gd name="T1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21">
                    <a:moveTo>
                      <a:pt x="12" y="21"/>
                    </a:moveTo>
                    <a:lnTo>
                      <a:pt x="12" y="21"/>
                    </a:lnTo>
                    <a:lnTo>
                      <a:pt x="6" y="16"/>
                    </a:lnTo>
                    <a:lnTo>
                      <a:pt x="3" y="9"/>
                    </a:lnTo>
                    <a:lnTo>
                      <a:pt x="0" y="0"/>
                    </a:lnTo>
                    <a:lnTo>
                      <a:pt x="0" y="0"/>
                    </a:lnTo>
                    <a:lnTo>
                      <a:pt x="3" y="9"/>
                    </a:lnTo>
                    <a:lnTo>
                      <a:pt x="6" y="16"/>
                    </a:lnTo>
                    <a:lnTo>
                      <a:pt x="12" y="21"/>
                    </a:lnTo>
                    <a:lnTo>
                      <a:pt x="12"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grpSp>
        <p:sp>
          <p:nvSpPr>
            <p:cNvPr id="781" name="Freeform 608"/>
            <p:cNvSpPr>
              <a:spLocks noEditPoints="1"/>
            </p:cNvSpPr>
            <p:nvPr/>
          </p:nvSpPr>
          <p:spPr bwMode="auto">
            <a:xfrm>
              <a:off x="4011613" y="4451779"/>
              <a:ext cx="14288" cy="4763"/>
            </a:xfrm>
            <a:custGeom>
              <a:avLst/>
              <a:gdLst>
                <a:gd name="T0" fmla="*/ 2 w 9"/>
                <a:gd name="T1" fmla="*/ 3 h 3"/>
                <a:gd name="T2" fmla="*/ 2 w 9"/>
                <a:gd name="T3" fmla="*/ 3 h 3"/>
                <a:gd name="T4" fmla="*/ 0 w 9"/>
                <a:gd name="T5" fmla="*/ 3 h 3"/>
                <a:gd name="T6" fmla="*/ 0 w 9"/>
                <a:gd name="T7" fmla="*/ 3 h 3"/>
                <a:gd name="T8" fmla="*/ 2 w 9"/>
                <a:gd name="T9" fmla="*/ 3 h 3"/>
                <a:gd name="T10" fmla="*/ 2 w 9"/>
                <a:gd name="T11" fmla="*/ 3 h 3"/>
                <a:gd name="T12" fmla="*/ 2 w 9"/>
                <a:gd name="T13" fmla="*/ 3 h 3"/>
                <a:gd name="T14" fmla="*/ 6 w 9"/>
                <a:gd name="T15" fmla="*/ 3 h 3"/>
                <a:gd name="T16" fmla="*/ 9 w 9"/>
                <a:gd name="T17" fmla="*/ 0 h 3"/>
                <a:gd name="T18" fmla="*/ 9 w 9"/>
                <a:gd name="T19" fmla="*/ 0 h 3"/>
                <a:gd name="T20" fmla="*/ 6 w 9"/>
                <a:gd name="T21" fmla="*/ 3 h 3"/>
                <a:gd name="T22" fmla="*/ 2 w 9"/>
                <a:gd name="T23" fmla="*/ 3 h 3"/>
                <a:gd name="T24" fmla="*/ 2 w 9"/>
                <a:gd name="T25" fmla="*/ 3 h 3"/>
                <a:gd name="T26" fmla="*/ 2 w 9"/>
                <a:gd name="T27" fmla="*/ 3 h 3"/>
                <a:gd name="T28" fmla="*/ 2 w 9"/>
                <a:gd name="T2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3">
                  <a:moveTo>
                    <a:pt x="2" y="3"/>
                  </a:moveTo>
                  <a:lnTo>
                    <a:pt x="2" y="3"/>
                  </a:lnTo>
                  <a:lnTo>
                    <a:pt x="0" y="3"/>
                  </a:lnTo>
                  <a:lnTo>
                    <a:pt x="0" y="3"/>
                  </a:lnTo>
                  <a:lnTo>
                    <a:pt x="2" y="3"/>
                  </a:lnTo>
                  <a:close/>
                  <a:moveTo>
                    <a:pt x="2" y="3"/>
                  </a:moveTo>
                  <a:lnTo>
                    <a:pt x="2" y="3"/>
                  </a:lnTo>
                  <a:lnTo>
                    <a:pt x="6" y="3"/>
                  </a:lnTo>
                  <a:lnTo>
                    <a:pt x="9" y="0"/>
                  </a:lnTo>
                  <a:lnTo>
                    <a:pt x="9" y="0"/>
                  </a:lnTo>
                  <a:lnTo>
                    <a:pt x="6" y="3"/>
                  </a:lnTo>
                  <a:lnTo>
                    <a:pt x="2" y="3"/>
                  </a:lnTo>
                  <a:close/>
                  <a:moveTo>
                    <a:pt x="2" y="3"/>
                  </a:moveTo>
                  <a:lnTo>
                    <a:pt x="2" y="3"/>
                  </a:lnTo>
                  <a:lnTo>
                    <a:pt x="2" y="3"/>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82" name="Rectangle 609"/>
            <p:cNvSpPr>
              <a:spLocks noChangeArrowheads="1"/>
            </p:cNvSpPr>
            <p:nvPr/>
          </p:nvSpPr>
          <p:spPr bwMode="auto">
            <a:xfrm>
              <a:off x="4011613" y="4456542"/>
              <a:ext cx="3175"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83" name="Freeform 610"/>
            <p:cNvSpPr>
              <a:spLocks/>
            </p:cNvSpPr>
            <p:nvPr/>
          </p:nvSpPr>
          <p:spPr bwMode="auto">
            <a:xfrm>
              <a:off x="4014788" y="4451779"/>
              <a:ext cx="11113" cy="4763"/>
            </a:xfrm>
            <a:custGeom>
              <a:avLst/>
              <a:gdLst>
                <a:gd name="T0" fmla="*/ 0 w 7"/>
                <a:gd name="T1" fmla="*/ 3 h 3"/>
                <a:gd name="T2" fmla="*/ 0 w 7"/>
                <a:gd name="T3" fmla="*/ 3 h 3"/>
                <a:gd name="T4" fmla="*/ 4 w 7"/>
                <a:gd name="T5" fmla="*/ 3 h 3"/>
                <a:gd name="T6" fmla="*/ 7 w 7"/>
                <a:gd name="T7" fmla="*/ 0 h 3"/>
                <a:gd name="T8" fmla="*/ 7 w 7"/>
                <a:gd name="T9" fmla="*/ 0 h 3"/>
                <a:gd name="T10" fmla="*/ 4 w 7"/>
                <a:gd name="T11" fmla="*/ 3 h 3"/>
                <a:gd name="T12" fmla="*/ 0 w 7"/>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7" h="3">
                  <a:moveTo>
                    <a:pt x="0" y="3"/>
                  </a:moveTo>
                  <a:lnTo>
                    <a:pt x="0" y="3"/>
                  </a:lnTo>
                  <a:lnTo>
                    <a:pt x="4" y="3"/>
                  </a:lnTo>
                  <a:lnTo>
                    <a:pt x="7" y="0"/>
                  </a:lnTo>
                  <a:lnTo>
                    <a:pt x="7" y="0"/>
                  </a:lnTo>
                  <a:lnTo>
                    <a:pt x="4" y="3"/>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84" name="Freeform 611"/>
            <p:cNvSpPr>
              <a:spLocks/>
            </p:cNvSpPr>
            <p:nvPr/>
          </p:nvSpPr>
          <p:spPr bwMode="auto">
            <a:xfrm>
              <a:off x="4014788" y="4456542"/>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85" name="Freeform 612"/>
            <p:cNvSpPr>
              <a:spLocks noEditPoints="1"/>
            </p:cNvSpPr>
            <p:nvPr/>
          </p:nvSpPr>
          <p:spPr bwMode="auto">
            <a:xfrm>
              <a:off x="4111625" y="4505754"/>
              <a:ext cx="20638" cy="73025"/>
            </a:xfrm>
            <a:custGeom>
              <a:avLst/>
              <a:gdLst>
                <a:gd name="T0" fmla="*/ 10 w 13"/>
                <a:gd name="T1" fmla="*/ 14 h 46"/>
                <a:gd name="T2" fmla="*/ 10 w 13"/>
                <a:gd name="T3" fmla="*/ 14 h 46"/>
                <a:gd name="T4" fmla="*/ 10 w 13"/>
                <a:gd name="T5" fmla="*/ 14 h 46"/>
                <a:gd name="T6" fmla="*/ 13 w 13"/>
                <a:gd name="T7" fmla="*/ 0 h 46"/>
                <a:gd name="T8" fmla="*/ 13 w 13"/>
                <a:gd name="T9" fmla="*/ 0 h 46"/>
                <a:gd name="T10" fmla="*/ 10 w 13"/>
                <a:gd name="T11" fmla="*/ 14 h 46"/>
                <a:gd name="T12" fmla="*/ 5 w 13"/>
                <a:gd name="T13" fmla="*/ 43 h 46"/>
                <a:gd name="T14" fmla="*/ 5 w 13"/>
                <a:gd name="T15" fmla="*/ 43 h 46"/>
                <a:gd name="T16" fmla="*/ 5 w 13"/>
                <a:gd name="T17" fmla="*/ 43 h 46"/>
                <a:gd name="T18" fmla="*/ 5 w 13"/>
                <a:gd name="T19" fmla="*/ 43 h 46"/>
                <a:gd name="T20" fmla="*/ 8 w 13"/>
                <a:gd name="T21" fmla="*/ 40 h 46"/>
                <a:gd name="T22" fmla="*/ 10 w 13"/>
                <a:gd name="T23" fmla="*/ 34 h 46"/>
                <a:gd name="T24" fmla="*/ 10 w 13"/>
                <a:gd name="T25" fmla="*/ 20 h 46"/>
                <a:gd name="T26" fmla="*/ 10 w 13"/>
                <a:gd name="T27" fmla="*/ 20 h 46"/>
                <a:gd name="T28" fmla="*/ 10 w 13"/>
                <a:gd name="T29" fmla="*/ 34 h 46"/>
                <a:gd name="T30" fmla="*/ 8 w 13"/>
                <a:gd name="T31" fmla="*/ 40 h 46"/>
                <a:gd name="T32" fmla="*/ 5 w 13"/>
                <a:gd name="T33" fmla="*/ 43 h 46"/>
                <a:gd name="T34" fmla="*/ 5 w 13"/>
                <a:gd name="T35" fmla="*/ 43 h 46"/>
                <a:gd name="T36" fmla="*/ 5 w 13"/>
                <a:gd name="T37" fmla="*/ 43 h 46"/>
                <a:gd name="T38" fmla="*/ 0 w 13"/>
                <a:gd name="T39" fmla="*/ 46 h 46"/>
                <a:gd name="T40" fmla="*/ 0 w 13"/>
                <a:gd name="T41" fmla="*/ 46 h 46"/>
                <a:gd name="T42" fmla="*/ 4 w 13"/>
                <a:gd name="T43" fmla="*/ 43 h 46"/>
                <a:gd name="T44" fmla="*/ 4 w 13"/>
                <a:gd name="T45" fmla="*/ 43 h 46"/>
                <a:gd name="T46" fmla="*/ 0 w 13"/>
                <a:gd name="T47" fmla="*/ 46 h 46"/>
                <a:gd name="T48" fmla="*/ 0 w 13"/>
                <a:gd name="T49"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 h="46">
                  <a:moveTo>
                    <a:pt x="10" y="14"/>
                  </a:moveTo>
                  <a:lnTo>
                    <a:pt x="10" y="14"/>
                  </a:lnTo>
                  <a:lnTo>
                    <a:pt x="10" y="14"/>
                  </a:lnTo>
                  <a:lnTo>
                    <a:pt x="13" y="0"/>
                  </a:lnTo>
                  <a:lnTo>
                    <a:pt x="13" y="0"/>
                  </a:lnTo>
                  <a:lnTo>
                    <a:pt x="10" y="14"/>
                  </a:lnTo>
                  <a:close/>
                  <a:moveTo>
                    <a:pt x="5" y="43"/>
                  </a:moveTo>
                  <a:lnTo>
                    <a:pt x="5" y="43"/>
                  </a:lnTo>
                  <a:lnTo>
                    <a:pt x="5" y="43"/>
                  </a:lnTo>
                  <a:lnTo>
                    <a:pt x="5" y="43"/>
                  </a:lnTo>
                  <a:lnTo>
                    <a:pt x="8" y="40"/>
                  </a:lnTo>
                  <a:lnTo>
                    <a:pt x="10" y="34"/>
                  </a:lnTo>
                  <a:lnTo>
                    <a:pt x="10" y="20"/>
                  </a:lnTo>
                  <a:lnTo>
                    <a:pt x="10" y="20"/>
                  </a:lnTo>
                  <a:lnTo>
                    <a:pt x="10" y="34"/>
                  </a:lnTo>
                  <a:lnTo>
                    <a:pt x="8" y="40"/>
                  </a:lnTo>
                  <a:lnTo>
                    <a:pt x="5" y="43"/>
                  </a:lnTo>
                  <a:lnTo>
                    <a:pt x="5" y="43"/>
                  </a:lnTo>
                  <a:lnTo>
                    <a:pt x="5" y="43"/>
                  </a:lnTo>
                  <a:close/>
                  <a:moveTo>
                    <a:pt x="0" y="46"/>
                  </a:moveTo>
                  <a:lnTo>
                    <a:pt x="0" y="46"/>
                  </a:lnTo>
                  <a:lnTo>
                    <a:pt x="4" y="43"/>
                  </a:lnTo>
                  <a:lnTo>
                    <a:pt x="4" y="43"/>
                  </a:lnTo>
                  <a:lnTo>
                    <a:pt x="0" y="46"/>
                  </a:lnTo>
                  <a:lnTo>
                    <a:pt x="0" y="46"/>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86" name="Freeform 613"/>
            <p:cNvSpPr>
              <a:spLocks/>
            </p:cNvSpPr>
            <p:nvPr/>
          </p:nvSpPr>
          <p:spPr bwMode="auto">
            <a:xfrm>
              <a:off x="4127500" y="4505754"/>
              <a:ext cx="4763" cy="22225"/>
            </a:xfrm>
            <a:custGeom>
              <a:avLst/>
              <a:gdLst>
                <a:gd name="T0" fmla="*/ 0 w 3"/>
                <a:gd name="T1" fmla="*/ 14 h 14"/>
                <a:gd name="T2" fmla="*/ 0 w 3"/>
                <a:gd name="T3" fmla="*/ 14 h 14"/>
                <a:gd name="T4" fmla="*/ 0 w 3"/>
                <a:gd name="T5" fmla="*/ 14 h 14"/>
                <a:gd name="T6" fmla="*/ 3 w 3"/>
                <a:gd name="T7" fmla="*/ 0 h 14"/>
                <a:gd name="T8" fmla="*/ 3 w 3"/>
                <a:gd name="T9" fmla="*/ 0 h 14"/>
                <a:gd name="T10" fmla="*/ 0 w 3"/>
                <a:gd name="T11" fmla="*/ 14 h 14"/>
              </a:gdLst>
              <a:ahLst/>
              <a:cxnLst>
                <a:cxn ang="0">
                  <a:pos x="T0" y="T1"/>
                </a:cxn>
                <a:cxn ang="0">
                  <a:pos x="T2" y="T3"/>
                </a:cxn>
                <a:cxn ang="0">
                  <a:pos x="T4" y="T5"/>
                </a:cxn>
                <a:cxn ang="0">
                  <a:pos x="T6" y="T7"/>
                </a:cxn>
                <a:cxn ang="0">
                  <a:pos x="T8" y="T9"/>
                </a:cxn>
                <a:cxn ang="0">
                  <a:pos x="T10" y="T11"/>
                </a:cxn>
              </a:cxnLst>
              <a:rect l="0" t="0" r="r" b="b"/>
              <a:pathLst>
                <a:path w="3" h="14">
                  <a:moveTo>
                    <a:pt x="0" y="14"/>
                  </a:moveTo>
                  <a:lnTo>
                    <a:pt x="0" y="14"/>
                  </a:lnTo>
                  <a:lnTo>
                    <a:pt x="0" y="14"/>
                  </a:lnTo>
                  <a:lnTo>
                    <a:pt x="3" y="0"/>
                  </a:lnTo>
                  <a:lnTo>
                    <a:pt x="3" y="0"/>
                  </a:lnTo>
                  <a:lnTo>
                    <a:pt x="0"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87" name="Freeform 614"/>
            <p:cNvSpPr>
              <a:spLocks/>
            </p:cNvSpPr>
            <p:nvPr/>
          </p:nvSpPr>
          <p:spPr bwMode="auto">
            <a:xfrm>
              <a:off x="4119563" y="4537504"/>
              <a:ext cx="7938" cy="36513"/>
            </a:xfrm>
            <a:custGeom>
              <a:avLst/>
              <a:gdLst>
                <a:gd name="T0" fmla="*/ 0 w 5"/>
                <a:gd name="T1" fmla="*/ 23 h 23"/>
                <a:gd name="T2" fmla="*/ 0 w 5"/>
                <a:gd name="T3" fmla="*/ 23 h 23"/>
                <a:gd name="T4" fmla="*/ 0 w 5"/>
                <a:gd name="T5" fmla="*/ 23 h 23"/>
                <a:gd name="T6" fmla="*/ 0 w 5"/>
                <a:gd name="T7" fmla="*/ 23 h 23"/>
                <a:gd name="T8" fmla="*/ 3 w 5"/>
                <a:gd name="T9" fmla="*/ 20 h 23"/>
                <a:gd name="T10" fmla="*/ 5 w 5"/>
                <a:gd name="T11" fmla="*/ 14 h 23"/>
                <a:gd name="T12" fmla="*/ 5 w 5"/>
                <a:gd name="T13" fmla="*/ 0 h 23"/>
                <a:gd name="T14" fmla="*/ 5 w 5"/>
                <a:gd name="T15" fmla="*/ 0 h 23"/>
                <a:gd name="T16" fmla="*/ 5 w 5"/>
                <a:gd name="T17" fmla="*/ 14 h 23"/>
                <a:gd name="T18" fmla="*/ 3 w 5"/>
                <a:gd name="T19" fmla="*/ 20 h 23"/>
                <a:gd name="T20" fmla="*/ 0 w 5"/>
                <a:gd name="T21" fmla="*/ 23 h 23"/>
                <a:gd name="T22" fmla="*/ 0 w 5"/>
                <a:gd name="T23" fmla="*/ 23 h 23"/>
                <a:gd name="T24" fmla="*/ 0 w 5"/>
                <a:gd name="T2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23">
                  <a:moveTo>
                    <a:pt x="0" y="23"/>
                  </a:moveTo>
                  <a:lnTo>
                    <a:pt x="0" y="23"/>
                  </a:lnTo>
                  <a:lnTo>
                    <a:pt x="0" y="23"/>
                  </a:lnTo>
                  <a:lnTo>
                    <a:pt x="0" y="23"/>
                  </a:lnTo>
                  <a:lnTo>
                    <a:pt x="3" y="20"/>
                  </a:lnTo>
                  <a:lnTo>
                    <a:pt x="5" y="14"/>
                  </a:lnTo>
                  <a:lnTo>
                    <a:pt x="5" y="0"/>
                  </a:lnTo>
                  <a:lnTo>
                    <a:pt x="5" y="0"/>
                  </a:lnTo>
                  <a:lnTo>
                    <a:pt x="5" y="14"/>
                  </a:lnTo>
                  <a:lnTo>
                    <a:pt x="3" y="20"/>
                  </a:lnTo>
                  <a:lnTo>
                    <a:pt x="0" y="23"/>
                  </a:lnTo>
                  <a:lnTo>
                    <a:pt x="0" y="23"/>
                  </a:lnTo>
                  <a:lnTo>
                    <a:pt x="0"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88" name="Freeform 615"/>
            <p:cNvSpPr>
              <a:spLocks/>
            </p:cNvSpPr>
            <p:nvPr/>
          </p:nvSpPr>
          <p:spPr bwMode="auto">
            <a:xfrm>
              <a:off x="4111625" y="4574017"/>
              <a:ext cx="6350" cy="4763"/>
            </a:xfrm>
            <a:custGeom>
              <a:avLst/>
              <a:gdLst>
                <a:gd name="T0" fmla="*/ 0 w 4"/>
                <a:gd name="T1" fmla="*/ 3 h 3"/>
                <a:gd name="T2" fmla="*/ 0 w 4"/>
                <a:gd name="T3" fmla="*/ 3 h 3"/>
                <a:gd name="T4" fmla="*/ 4 w 4"/>
                <a:gd name="T5" fmla="*/ 0 h 3"/>
                <a:gd name="T6" fmla="*/ 4 w 4"/>
                <a:gd name="T7" fmla="*/ 0 h 3"/>
                <a:gd name="T8" fmla="*/ 0 w 4"/>
                <a:gd name="T9" fmla="*/ 3 h 3"/>
                <a:gd name="T10" fmla="*/ 0 w 4"/>
                <a:gd name="T11" fmla="*/ 3 h 3"/>
              </a:gdLst>
              <a:ahLst/>
              <a:cxnLst>
                <a:cxn ang="0">
                  <a:pos x="T0" y="T1"/>
                </a:cxn>
                <a:cxn ang="0">
                  <a:pos x="T2" y="T3"/>
                </a:cxn>
                <a:cxn ang="0">
                  <a:pos x="T4" y="T5"/>
                </a:cxn>
                <a:cxn ang="0">
                  <a:pos x="T6" y="T7"/>
                </a:cxn>
                <a:cxn ang="0">
                  <a:pos x="T8" y="T9"/>
                </a:cxn>
                <a:cxn ang="0">
                  <a:pos x="T10" y="T11"/>
                </a:cxn>
              </a:cxnLst>
              <a:rect l="0" t="0" r="r" b="b"/>
              <a:pathLst>
                <a:path w="4" h="3">
                  <a:moveTo>
                    <a:pt x="0" y="3"/>
                  </a:moveTo>
                  <a:lnTo>
                    <a:pt x="0" y="3"/>
                  </a:lnTo>
                  <a:lnTo>
                    <a:pt x="4" y="0"/>
                  </a:lnTo>
                  <a:lnTo>
                    <a:pt x="4" y="0"/>
                  </a:lnTo>
                  <a:lnTo>
                    <a:pt x="0" y="3"/>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89" name="Freeform 616"/>
            <p:cNvSpPr>
              <a:spLocks/>
            </p:cNvSpPr>
            <p:nvPr/>
          </p:nvSpPr>
          <p:spPr bwMode="auto">
            <a:xfrm>
              <a:off x="3984625" y="4518454"/>
              <a:ext cx="76200" cy="80963"/>
            </a:xfrm>
            <a:custGeom>
              <a:avLst/>
              <a:gdLst>
                <a:gd name="T0" fmla="*/ 29 w 48"/>
                <a:gd name="T1" fmla="*/ 51 h 51"/>
                <a:gd name="T2" fmla="*/ 29 w 48"/>
                <a:gd name="T3" fmla="*/ 51 h 51"/>
                <a:gd name="T4" fmla="*/ 19 w 48"/>
                <a:gd name="T5" fmla="*/ 44 h 51"/>
                <a:gd name="T6" fmla="*/ 19 w 48"/>
                <a:gd name="T7" fmla="*/ 44 h 51"/>
                <a:gd name="T8" fmla="*/ 10 w 48"/>
                <a:gd name="T9" fmla="*/ 38 h 51"/>
                <a:gd name="T10" fmla="*/ 10 w 48"/>
                <a:gd name="T11" fmla="*/ 38 h 51"/>
                <a:gd name="T12" fmla="*/ 6 w 48"/>
                <a:gd name="T13" fmla="*/ 32 h 51"/>
                <a:gd name="T14" fmla="*/ 3 w 48"/>
                <a:gd name="T15" fmla="*/ 26 h 51"/>
                <a:gd name="T16" fmla="*/ 3 w 48"/>
                <a:gd name="T17" fmla="*/ 26 h 51"/>
                <a:gd name="T18" fmla="*/ 1 w 48"/>
                <a:gd name="T19" fmla="*/ 23 h 51"/>
                <a:gd name="T20" fmla="*/ 1 w 48"/>
                <a:gd name="T21" fmla="*/ 23 h 51"/>
                <a:gd name="T22" fmla="*/ 0 w 48"/>
                <a:gd name="T23" fmla="*/ 21 h 51"/>
                <a:gd name="T24" fmla="*/ 0 w 48"/>
                <a:gd name="T25" fmla="*/ 21 h 51"/>
                <a:gd name="T26" fmla="*/ 14 w 48"/>
                <a:gd name="T27" fmla="*/ 5 h 51"/>
                <a:gd name="T28" fmla="*/ 14 w 48"/>
                <a:gd name="T29" fmla="*/ 5 h 51"/>
                <a:gd name="T30" fmla="*/ 14 w 48"/>
                <a:gd name="T31" fmla="*/ 5 h 51"/>
                <a:gd name="T32" fmla="*/ 14 w 48"/>
                <a:gd name="T33" fmla="*/ 5 h 51"/>
                <a:gd name="T34" fmla="*/ 19 w 48"/>
                <a:gd name="T35" fmla="*/ 2 h 51"/>
                <a:gd name="T36" fmla="*/ 23 w 48"/>
                <a:gd name="T37" fmla="*/ 0 h 51"/>
                <a:gd name="T38" fmla="*/ 23 w 48"/>
                <a:gd name="T39" fmla="*/ 0 h 51"/>
                <a:gd name="T40" fmla="*/ 23 w 48"/>
                <a:gd name="T41" fmla="*/ 0 h 51"/>
                <a:gd name="T42" fmla="*/ 23 w 48"/>
                <a:gd name="T43" fmla="*/ 0 h 51"/>
                <a:gd name="T44" fmla="*/ 26 w 48"/>
                <a:gd name="T45" fmla="*/ 0 h 51"/>
                <a:gd name="T46" fmla="*/ 26 w 48"/>
                <a:gd name="T47" fmla="*/ 0 h 51"/>
                <a:gd name="T48" fmla="*/ 26 w 48"/>
                <a:gd name="T49" fmla="*/ 0 h 51"/>
                <a:gd name="T50" fmla="*/ 26 w 48"/>
                <a:gd name="T51" fmla="*/ 0 h 51"/>
                <a:gd name="T52" fmla="*/ 26 w 48"/>
                <a:gd name="T53" fmla="*/ 0 h 51"/>
                <a:gd name="T54" fmla="*/ 26 w 48"/>
                <a:gd name="T55" fmla="*/ 0 h 51"/>
                <a:gd name="T56" fmla="*/ 26 w 48"/>
                <a:gd name="T57" fmla="*/ 2 h 51"/>
                <a:gd name="T58" fmla="*/ 26 w 48"/>
                <a:gd name="T59" fmla="*/ 2 h 51"/>
                <a:gd name="T60" fmla="*/ 26 w 48"/>
                <a:gd name="T61" fmla="*/ 2 h 51"/>
                <a:gd name="T62" fmla="*/ 26 w 48"/>
                <a:gd name="T63" fmla="*/ 2 h 51"/>
                <a:gd name="T64" fmla="*/ 30 w 48"/>
                <a:gd name="T65" fmla="*/ 3 h 51"/>
                <a:gd name="T66" fmla="*/ 33 w 48"/>
                <a:gd name="T67" fmla="*/ 8 h 51"/>
                <a:gd name="T68" fmla="*/ 36 w 48"/>
                <a:gd name="T69" fmla="*/ 18 h 51"/>
                <a:gd name="T70" fmla="*/ 36 w 48"/>
                <a:gd name="T71" fmla="*/ 18 h 51"/>
                <a:gd name="T72" fmla="*/ 38 w 48"/>
                <a:gd name="T73" fmla="*/ 19 h 51"/>
                <a:gd name="T74" fmla="*/ 38 w 48"/>
                <a:gd name="T75" fmla="*/ 19 h 51"/>
                <a:gd name="T76" fmla="*/ 41 w 48"/>
                <a:gd name="T77" fmla="*/ 21 h 51"/>
                <a:gd name="T78" fmla="*/ 46 w 48"/>
                <a:gd name="T79" fmla="*/ 22 h 51"/>
                <a:gd name="T80" fmla="*/ 46 w 48"/>
                <a:gd name="T81" fmla="*/ 22 h 51"/>
                <a:gd name="T82" fmla="*/ 48 w 48"/>
                <a:gd name="T83" fmla="*/ 22 h 51"/>
                <a:gd name="T84" fmla="*/ 48 w 48"/>
                <a:gd name="T85" fmla="*/ 22 h 51"/>
                <a:gd name="T86" fmla="*/ 41 w 48"/>
                <a:gd name="T87" fmla="*/ 39 h 51"/>
                <a:gd name="T88" fmla="*/ 41 w 48"/>
                <a:gd name="T89" fmla="*/ 39 h 51"/>
                <a:gd name="T90" fmla="*/ 38 w 48"/>
                <a:gd name="T91" fmla="*/ 45 h 51"/>
                <a:gd name="T92" fmla="*/ 29 w 48"/>
                <a:gd name="T93"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 h="51">
                  <a:moveTo>
                    <a:pt x="29" y="51"/>
                  </a:moveTo>
                  <a:lnTo>
                    <a:pt x="29" y="51"/>
                  </a:lnTo>
                  <a:lnTo>
                    <a:pt x="19" y="44"/>
                  </a:lnTo>
                  <a:lnTo>
                    <a:pt x="19" y="44"/>
                  </a:lnTo>
                  <a:lnTo>
                    <a:pt x="10" y="38"/>
                  </a:lnTo>
                  <a:lnTo>
                    <a:pt x="10" y="38"/>
                  </a:lnTo>
                  <a:lnTo>
                    <a:pt x="6" y="32"/>
                  </a:lnTo>
                  <a:lnTo>
                    <a:pt x="3" y="26"/>
                  </a:lnTo>
                  <a:lnTo>
                    <a:pt x="3" y="26"/>
                  </a:lnTo>
                  <a:lnTo>
                    <a:pt x="1" y="23"/>
                  </a:lnTo>
                  <a:lnTo>
                    <a:pt x="1" y="23"/>
                  </a:lnTo>
                  <a:lnTo>
                    <a:pt x="0" y="21"/>
                  </a:lnTo>
                  <a:lnTo>
                    <a:pt x="0" y="21"/>
                  </a:lnTo>
                  <a:lnTo>
                    <a:pt x="14" y="5"/>
                  </a:lnTo>
                  <a:lnTo>
                    <a:pt x="14" y="5"/>
                  </a:lnTo>
                  <a:lnTo>
                    <a:pt x="14" y="5"/>
                  </a:lnTo>
                  <a:lnTo>
                    <a:pt x="14" y="5"/>
                  </a:lnTo>
                  <a:lnTo>
                    <a:pt x="19" y="2"/>
                  </a:lnTo>
                  <a:lnTo>
                    <a:pt x="23" y="0"/>
                  </a:lnTo>
                  <a:lnTo>
                    <a:pt x="23" y="0"/>
                  </a:lnTo>
                  <a:lnTo>
                    <a:pt x="23" y="0"/>
                  </a:lnTo>
                  <a:lnTo>
                    <a:pt x="23" y="0"/>
                  </a:lnTo>
                  <a:lnTo>
                    <a:pt x="26" y="0"/>
                  </a:lnTo>
                  <a:lnTo>
                    <a:pt x="26" y="0"/>
                  </a:lnTo>
                  <a:lnTo>
                    <a:pt x="26" y="0"/>
                  </a:lnTo>
                  <a:lnTo>
                    <a:pt x="26" y="0"/>
                  </a:lnTo>
                  <a:lnTo>
                    <a:pt x="26" y="0"/>
                  </a:lnTo>
                  <a:lnTo>
                    <a:pt x="26" y="0"/>
                  </a:lnTo>
                  <a:lnTo>
                    <a:pt x="26" y="2"/>
                  </a:lnTo>
                  <a:lnTo>
                    <a:pt x="26" y="2"/>
                  </a:lnTo>
                  <a:lnTo>
                    <a:pt x="26" y="2"/>
                  </a:lnTo>
                  <a:lnTo>
                    <a:pt x="26" y="2"/>
                  </a:lnTo>
                  <a:lnTo>
                    <a:pt x="30" y="3"/>
                  </a:lnTo>
                  <a:lnTo>
                    <a:pt x="33" y="8"/>
                  </a:lnTo>
                  <a:lnTo>
                    <a:pt x="36" y="18"/>
                  </a:lnTo>
                  <a:lnTo>
                    <a:pt x="36" y="18"/>
                  </a:lnTo>
                  <a:lnTo>
                    <a:pt x="38" y="19"/>
                  </a:lnTo>
                  <a:lnTo>
                    <a:pt x="38" y="19"/>
                  </a:lnTo>
                  <a:lnTo>
                    <a:pt x="41" y="21"/>
                  </a:lnTo>
                  <a:lnTo>
                    <a:pt x="46" y="22"/>
                  </a:lnTo>
                  <a:lnTo>
                    <a:pt x="46" y="22"/>
                  </a:lnTo>
                  <a:lnTo>
                    <a:pt x="48" y="22"/>
                  </a:lnTo>
                  <a:lnTo>
                    <a:pt x="48" y="22"/>
                  </a:lnTo>
                  <a:lnTo>
                    <a:pt x="41" y="39"/>
                  </a:lnTo>
                  <a:lnTo>
                    <a:pt x="41" y="39"/>
                  </a:lnTo>
                  <a:lnTo>
                    <a:pt x="38" y="45"/>
                  </a:lnTo>
                  <a:lnTo>
                    <a:pt x="29" y="51"/>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90" name="Freeform 617"/>
            <p:cNvSpPr>
              <a:spLocks/>
            </p:cNvSpPr>
            <p:nvPr/>
          </p:nvSpPr>
          <p:spPr bwMode="auto">
            <a:xfrm>
              <a:off x="3984625" y="4518454"/>
              <a:ext cx="76200" cy="80963"/>
            </a:xfrm>
            <a:custGeom>
              <a:avLst/>
              <a:gdLst>
                <a:gd name="T0" fmla="*/ 29 w 48"/>
                <a:gd name="T1" fmla="*/ 51 h 51"/>
                <a:gd name="T2" fmla="*/ 29 w 48"/>
                <a:gd name="T3" fmla="*/ 51 h 51"/>
                <a:gd name="T4" fmla="*/ 19 w 48"/>
                <a:gd name="T5" fmla="*/ 44 h 51"/>
                <a:gd name="T6" fmla="*/ 19 w 48"/>
                <a:gd name="T7" fmla="*/ 44 h 51"/>
                <a:gd name="T8" fmla="*/ 10 w 48"/>
                <a:gd name="T9" fmla="*/ 38 h 51"/>
                <a:gd name="T10" fmla="*/ 10 w 48"/>
                <a:gd name="T11" fmla="*/ 38 h 51"/>
                <a:gd name="T12" fmla="*/ 6 w 48"/>
                <a:gd name="T13" fmla="*/ 32 h 51"/>
                <a:gd name="T14" fmla="*/ 3 w 48"/>
                <a:gd name="T15" fmla="*/ 26 h 51"/>
                <a:gd name="T16" fmla="*/ 3 w 48"/>
                <a:gd name="T17" fmla="*/ 26 h 51"/>
                <a:gd name="T18" fmla="*/ 1 w 48"/>
                <a:gd name="T19" fmla="*/ 23 h 51"/>
                <a:gd name="T20" fmla="*/ 1 w 48"/>
                <a:gd name="T21" fmla="*/ 23 h 51"/>
                <a:gd name="T22" fmla="*/ 0 w 48"/>
                <a:gd name="T23" fmla="*/ 21 h 51"/>
                <a:gd name="T24" fmla="*/ 0 w 48"/>
                <a:gd name="T25" fmla="*/ 21 h 51"/>
                <a:gd name="T26" fmla="*/ 14 w 48"/>
                <a:gd name="T27" fmla="*/ 5 h 51"/>
                <a:gd name="T28" fmla="*/ 14 w 48"/>
                <a:gd name="T29" fmla="*/ 5 h 51"/>
                <a:gd name="T30" fmla="*/ 14 w 48"/>
                <a:gd name="T31" fmla="*/ 5 h 51"/>
                <a:gd name="T32" fmla="*/ 14 w 48"/>
                <a:gd name="T33" fmla="*/ 5 h 51"/>
                <a:gd name="T34" fmla="*/ 19 w 48"/>
                <a:gd name="T35" fmla="*/ 2 h 51"/>
                <a:gd name="T36" fmla="*/ 23 w 48"/>
                <a:gd name="T37" fmla="*/ 0 h 51"/>
                <a:gd name="T38" fmla="*/ 23 w 48"/>
                <a:gd name="T39" fmla="*/ 0 h 51"/>
                <a:gd name="T40" fmla="*/ 23 w 48"/>
                <a:gd name="T41" fmla="*/ 0 h 51"/>
                <a:gd name="T42" fmla="*/ 23 w 48"/>
                <a:gd name="T43" fmla="*/ 0 h 51"/>
                <a:gd name="T44" fmla="*/ 26 w 48"/>
                <a:gd name="T45" fmla="*/ 0 h 51"/>
                <a:gd name="T46" fmla="*/ 26 w 48"/>
                <a:gd name="T47" fmla="*/ 0 h 51"/>
                <a:gd name="T48" fmla="*/ 26 w 48"/>
                <a:gd name="T49" fmla="*/ 0 h 51"/>
                <a:gd name="T50" fmla="*/ 26 w 48"/>
                <a:gd name="T51" fmla="*/ 0 h 51"/>
                <a:gd name="T52" fmla="*/ 26 w 48"/>
                <a:gd name="T53" fmla="*/ 0 h 51"/>
                <a:gd name="T54" fmla="*/ 26 w 48"/>
                <a:gd name="T55" fmla="*/ 0 h 51"/>
                <a:gd name="T56" fmla="*/ 26 w 48"/>
                <a:gd name="T57" fmla="*/ 2 h 51"/>
                <a:gd name="T58" fmla="*/ 26 w 48"/>
                <a:gd name="T59" fmla="*/ 2 h 51"/>
                <a:gd name="T60" fmla="*/ 26 w 48"/>
                <a:gd name="T61" fmla="*/ 2 h 51"/>
                <a:gd name="T62" fmla="*/ 26 w 48"/>
                <a:gd name="T63" fmla="*/ 2 h 51"/>
                <a:gd name="T64" fmla="*/ 30 w 48"/>
                <a:gd name="T65" fmla="*/ 3 h 51"/>
                <a:gd name="T66" fmla="*/ 33 w 48"/>
                <a:gd name="T67" fmla="*/ 8 h 51"/>
                <a:gd name="T68" fmla="*/ 36 w 48"/>
                <a:gd name="T69" fmla="*/ 18 h 51"/>
                <a:gd name="T70" fmla="*/ 36 w 48"/>
                <a:gd name="T71" fmla="*/ 18 h 51"/>
                <a:gd name="T72" fmla="*/ 38 w 48"/>
                <a:gd name="T73" fmla="*/ 19 h 51"/>
                <a:gd name="T74" fmla="*/ 38 w 48"/>
                <a:gd name="T75" fmla="*/ 19 h 51"/>
                <a:gd name="T76" fmla="*/ 41 w 48"/>
                <a:gd name="T77" fmla="*/ 21 h 51"/>
                <a:gd name="T78" fmla="*/ 46 w 48"/>
                <a:gd name="T79" fmla="*/ 22 h 51"/>
                <a:gd name="T80" fmla="*/ 46 w 48"/>
                <a:gd name="T81" fmla="*/ 22 h 51"/>
                <a:gd name="T82" fmla="*/ 48 w 48"/>
                <a:gd name="T83" fmla="*/ 22 h 51"/>
                <a:gd name="T84" fmla="*/ 48 w 48"/>
                <a:gd name="T85" fmla="*/ 22 h 51"/>
                <a:gd name="T86" fmla="*/ 41 w 48"/>
                <a:gd name="T87" fmla="*/ 39 h 51"/>
                <a:gd name="T88" fmla="*/ 41 w 48"/>
                <a:gd name="T89" fmla="*/ 39 h 51"/>
                <a:gd name="T90" fmla="*/ 38 w 48"/>
                <a:gd name="T91" fmla="*/ 45 h 51"/>
                <a:gd name="T92" fmla="*/ 29 w 48"/>
                <a:gd name="T93"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 h="51">
                  <a:moveTo>
                    <a:pt x="29" y="51"/>
                  </a:moveTo>
                  <a:lnTo>
                    <a:pt x="29" y="51"/>
                  </a:lnTo>
                  <a:lnTo>
                    <a:pt x="19" y="44"/>
                  </a:lnTo>
                  <a:lnTo>
                    <a:pt x="19" y="44"/>
                  </a:lnTo>
                  <a:lnTo>
                    <a:pt x="10" y="38"/>
                  </a:lnTo>
                  <a:lnTo>
                    <a:pt x="10" y="38"/>
                  </a:lnTo>
                  <a:lnTo>
                    <a:pt x="6" y="32"/>
                  </a:lnTo>
                  <a:lnTo>
                    <a:pt x="3" y="26"/>
                  </a:lnTo>
                  <a:lnTo>
                    <a:pt x="3" y="26"/>
                  </a:lnTo>
                  <a:lnTo>
                    <a:pt x="1" y="23"/>
                  </a:lnTo>
                  <a:lnTo>
                    <a:pt x="1" y="23"/>
                  </a:lnTo>
                  <a:lnTo>
                    <a:pt x="0" y="21"/>
                  </a:lnTo>
                  <a:lnTo>
                    <a:pt x="0" y="21"/>
                  </a:lnTo>
                  <a:lnTo>
                    <a:pt x="14" y="5"/>
                  </a:lnTo>
                  <a:lnTo>
                    <a:pt x="14" y="5"/>
                  </a:lnTo>
                  <a:lnTo>
                    <a:pt x="14" y="5"/>
                  </a:lnTo>
                  <a:lnTo>
                    <a:pt x="14" y="5"/>
                  </a:lnTo>
                  <a:lnTo>
                    <a:pt x="19" y="2"/>
                  </a:lnTo>
                  <a:lnTo>
                    <a:pt x="23" y="0"/>
                  </a:lnTo>
                  <a:lnTo>
                    <a:pt x="23" y="0"/>
                  </a:lnTo>
                  <a:lnTo>
                    <a:pt x="23" y="0"/>
                  </a:lnTo>
                  <a:lnTo>
                    <a:pt x="23" y="0"/>
                  </a:lnTo>
                  <a:lnTo>
                    <a:pt x="26" y="0"/>
                  </a:lnTo>
                  <a:lnTo>
                    <a:pt x="26" y="0"/>
                  </a:lnTo>
                  <a:lnTo>
                    <a:pt x="26" y="0"/>
                  </a:lnTo>
                  <a:lnTo>
                    <a:pt x="26" y="0"/>
                  </a:lnTo>
                  <a:lnTo>
                    <a:pt x="26" y="0"/>
                  </a:lnTo>
                  <a:lnTo>
                    <a:pt x="26" y="0"/>
                  </a:lnTo>
                  <a:lnTo>
                    <a:pt x="26" y="2"/>
                  </a:lnTo>
                  <a:lnTo>
                    <a:pt x="26" y="2"/>
                  </a:lnTo>
                  <a:lnTo>
                    <a:pt x="26" y="2"/>
                  </a:lnTo>
                  <a:lnTo>
                    <a:pt x="26" y="2"/>
                  </a:lnTo>
                  <a:lnTo>
                    <a:pt x="30" y="3"/>
                  </a:lnTo>
                  <a:lnTo>
                    <a:pt x="33" y="8"/>
                  </a:lnTo>
                  <a:lnTo>
                    <a:pt x="36" y="18"/>
                  </a:lnTo>
                  <a:lnTo>
                    <a:pt x="36" y="18"/>
                  </a:lnTo>
                  <a:lnTo>
                    <a:pt x="38" y="19"/>
                  </a:lnTo>
                  <a:lnTo>
                    <a:pt x="38" y="19"/>
                  </a:lnTo>
                  <a:lnTo>
                    <a:pt x="41" y="21"/>
                  </a:lnTo>
                  <a:lnTo>
                    <a:pt x="46" y="22"/>
                  </a:lnTo>
                  <a:lnTo>
                    <a:pt x="46" y="22"/>
                  </a:lnTo>
                  <a:lnTo>
                    <a:pt x="48" y="22"/>
                  </a:lnTo>
                  <a:lnTo>
                    <a:pt x="48" y="22"/>
                  </a:lnTo>
                  <a:lnTo>
                    <a:pt x="41" y="39"/>
                  </a:lnTo>
                  <a:lnTo>
                    <a:pt x="41" y="39"/>
                  </a:lnTo>
                  <a:lnTo>
                    <a:pt x="38" y="45"/>
                  </a:lnTo>
                  <a:lnTo>
                    <a:pt x="29" y="5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91" name="Freeform 618"/>
            <p:cNvSpPr>
              <a:spLocks noEditPoints="1"/>
            </p:cNvSpPr>
            <p:nvPr/>
          </p:nvSpPr>
          <p:spPr bwMode="auto">
            <a:xfrm>
              <a:off x="4006850" y="4518454"/>
              <a:ext cx="53975" cy="34925"/>
            </a:xfrm>
            <a:custGeom>
              <a:avLst/>
              <a:gdLst>
                <a:gd name="T0" fmla="*/ 9 w 34"/>
                <a:gd name="T1" fmla="*/ 0 h 22"/>
                <a:gd name="T2" fmla="*/ 9 w 34"/>
                <a:gd name="T3" fmla="*/ 0 h 22"/>
                <a:gd name="T4" fmla="*/ 9 w 34"/>
                <a:gd name="T5" fmla="*/ 0 h 22"/>
                <a:gd name="T6" fmla="*/ 12 w 34"/>
                <a:gd name="T7" fmla="*/ 0 h 22"/>
                <a:gd name="T8" fmla="*/ 12 w 34"/>
                <a:gd name="T9" fmla="*/ 0 h 22"/>
                <a:gd name="T10" fmla="*/ 12 w 34"/>
                <a:gd name="T11" fmla="*/ 0 h 22"/>
                <a:gd name="T12" fmla="*/ 12 w 34"/>
                <a:gd name="T13" fmla="*/ 0 h 22"/>
                <a:gd name="T14" fmla="*/ 12 w 34"/>
                <a:gd name="T15" fmla="*/ 0 h 22"/>
                <a:gd name="T16" fmla="*/ 12 w 34"/>
                <a:gd name="T17" fmla="*/ 0 h 22"/>
                <a:gd name="T18" fmla="*/ 12 w 34"/>
                <a:gd name="T19" fmla="*/ 0 h 22"/>
                <a:gd name="T20" fmla="*/ 12 w 34"/>
                <a:gd name="T21" fmla="*/ 0 h 22"/>
                <a:gd name="T22" fmla="*/ 12 w 34"/>
                <a:gd name="T23" fmla="*/ 0 h 22"/>
                <a:gd name="T24" fmla="*/ 12 w 34"/>
                <a:gd name="T25" fmla="*/ 0 h 22"/>
                <a:gd name="T26" fmla="*/ 0 w 34"/>
                <a:gd name="T27" fmla="*/ 5 h 22"/>
                <a:gd name="T28" fmla="*/ 0 w 34"/>
                <a:gd name="T29" fmla="*/ 5 h 22"/>
                <a:gd name="T30" fmla="*/ 5 w 34"/>
                <a:gd name="T31" fmla="*/ 2 h 22"/>
                <a:gd name="T32" fmla="*/ 9 w 34"/>
                <a:gd name="T33" fmla="*/ 0 h 22"/>
                <a:gd name="T34" fmla="*/ 9 w 34"/>
                <a:gd name="T35" fmla="*/ 0 h 22"/>
                <a:gd name="T36" fmla="*/ 5 w 34"/>
                <a:gd name="T37" fmla="*/ 2 h 22"/>
                <a:gd name="T38" fmla="*/ 0 w 34"/>
                <a:gd name="T39" fmla="*/ 5 h 22"/>
                <a:gd name="T40" fmla="*/ 32 w 34"/>
                <a:gd name="T41" fmla="*/ 22 h 22"/>
                <a:gd name="T42" fmla="*/ 32 w 34"/>
                <a:gd name="T43" fmla="*/ 22 h 22"/>
                <a:gd name="T44" fmla="*/ 27 w 34"/>
                <a:gd name="T45" fmla="*/ 21 h 22"/>
                <a:gd name="T46" fmla="*/ 24 w 34"/>
                <a:gd name="T47" fmla="*/ 19 h 22"/>
                <a:gd name="T48" fmla="*/ 24 w 34"/>
                <a:gd name="T49" fmla="*/ 19 h 22"/>
                <a:gd name="T50" fmla="*/ 27 w 34"/>
                <a:gd name="T51" fmla="*/ 21 h 22"/>
                <a:gd name="T52" fmla="*/ 32 w 34"/>
                <a:gd name="T53" fmla="*/ 22 h 22"/>
                <a:gd name="T54" fmla="*/ 32 w 34"/>
                <a:gd name="T55" fmla="*/ 22 h 22"/>
                <a:gd name="T56" fmla="*/ 34 w 34"/>
                <a:gd name="T57" fmla="*/ 22 h 22"/>
                <a:gd name="T58" fmla="*/ 34 w 34"/>
                <a:gd name="T59" fmla="*/ 22 h 22"/>
                <a:gd name="T60" fmla="*/ 34 w 34"/>
                <a:gd name="T61" fmla="*/ 22 h 22"/>
                <a:gd name="T62" fmla="*/ 34 w 34"/>
                <a:gd name="T63" fmla="*/ 22 h 22"/>
                <a:gd name="T64" fmla="*/ 32 w 34"/>
                <a:gd name="T6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 h="22">
                  <a:moveTo>
                    <a:pt x="9" y="0"/>
                  </a:moveTo>
                  <a:lnTo>
                    <a:pt x="9" y="0"/>
                  </a:lnTo>
                  <a:lnTo>
                    <a:pt x="9" y="0"/>
                  </a:lnTo>
                  <a:close/>
                  <a:moveTo>
                    <a:pt x="12" y="0"/>
                  </a:moveTo>
                  <a:lnTo>
                    <a:pt x="12" y="0"/>
                  </a:lnTo>
                  <a:lnTo>
                    <a:pt x="12" y="0"/>
                  </a:lnTo>
                  <a:lnTo>
                    <a:pt x="12" y="0"/>
                  </a:lnTo>
                  <a:lnTo>
                    <a:pt x="12" y="0"/>
                  </a:lnTo>
                  <a:close/>
                  <a:moveTo>
                    <a:pt x="12" y="0"/>
                  </a:moveTo>
                  <a:lnTo>
                    <a:pt x="12" y="0"/>
                  </a:lnTo>
                  <a:lnTo>
                    <a:pt x="12" y="0"/>
                  </a:lnTo>
                  <a:lnTo>
                    <a:pt x="12" y="0"/>
                  </a:lnTo>
                  <a:lnTo>
                    <a:pt x="12" y="0"/>
                  </a:lnTo>
                  <a:close/>
                  <a:moveTo>
                    <a:pt x="0" y="5"/>
                  </a:moveTo>
                  <a:lnTo>
                    <a:pt x="0" y="5"/>
                  </a:lnTo>
                  <a:lnTo>
                    <a:pt x="5" y="2"/>
                  </a:lnTo>
                  <a:lnTo>
                    <a:pt x="9" y="0"/>
                  </a:lnTo>
                  <a:lnTo>
                    <a:pt x="9" y="0"/>
                  </a:lnTo>
                  <a:lnTo>
                    <a:pt x="5" y="2"/>
                  </a:lnTo>
                  <a:lnTo>
                    <a:pt x="0" y="5"/>
                  </a:lnTo>
                  <a:close/>
                  <a:moveTo>
                    <a:pt x="32" y="22"/>
                  </a:moveTo>
                  <a:lnTo>
                    <a:pt x="32" y="22"/>
                  </a:lnTo>
                  <a:lnTo>
                    <a:pt x="27" y="21"/>
                  </a:lnTo>
                  <a:lnTo>
                    <a:pt x="24" y="19"/>
                  </a:lnTo>
                  <a:lnTo>
                    <a:pt x="24" y="19"/>
                  </a:lnTo>
                  <a:lnTo>
                    <a:pt x="27" y="21"/>
                  </a:lnTo>
                  <a:lnTo>
                    <a:pt x="32" y="22"/>
                  </a:lnTo>
                  <a:lnTo>
                    <a:pt x="32" y="22"/>
                  </a:lnTo>
                  <a:lnTo>
                    <a:pt x="34" y="22"/>
                  </a:lnTo>
                  <a:lnTo>
                    <a:pt x="34" y="22"/>
                  </a:lnTo>
                  <a:lnTo>
                    <a:pt x="34" y="22"/>
                  </a:lnTo>
                  <a:lnTo>
                    <a:pt x="34" y="22"/>
                  </a:lnTo>
                  <a:lnTo>
                    <a:pt x="32" y="22"/>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92" name="Freeform 619"/>
            <p:cNvSpPr>
              <a:spLocks/>
            </p:cNvSpPr>
            <p:nvPr/>
          </p:nvSpPr>
          <p:spPr bwMode="auto">
            <a:xfrm>
              <a:off x="4021138" y="451845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93" name="Rectangle 620"/>
            <p:cNvSpPr>
              <a:spLocks noChangeArrowheads="1"/>
            </p:cNvSpPr>
            <p:nvPr/>
          </p:nvSpPr>
          <p:spPr bwMode="auto">
            <a:xfrm>
              <a:off x="4025900" y="4518454"/>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94" name="Rectangle 621"/>
            <p:cNvSpPr>
              <a:spLocks noChangeArrowheads="1"/>
            </p:cNvSpPr>
            <p:nvPr/>
          </p:nvSpPr>
          <p:spPr bwMode="auto">
            <a:xfrm>
              <a:off x="4025900" y="4518454"/>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95" name="Freeform 622"/>
            <p:cNvSpPr>
              <a:spLocks/>
            </p:cNvSpPr>
            <p:nvPr/>
          </p:nvSpPr>
          <p:spPr bwMode="auto">
            <a:xfrm>
              <a:off x="4006850" y="4518454"/>
              <a:ext cx="14288" cy="7938"/>
            </a:xfrm>
            <a:custGeom>
              <a:avLst/>
              <a:gdLst>
                <a:gd name="T0" fmla="*/ 0 w 9"/>
                <a:gd name="T1" fmla="*/ 5 h 5"/>
                <a:gd name="T2" fmla="*/ 0 w 9"/>
                <a:gd name="T3" fmla="*/ 5 h 5"/>
                <a:gd name="T4" fmla="*/ 5 w 9"/>
                <a:gd name="T5" fmla="*/ 2 h 5"/>
                <a:gd name="T6" fmla="*/ 9 w 9"/>
                <a:gd name="T7" fmla="*/ 0 h 5"/>
                <a:gd name="T8" fmla="*/ 9 w 9"/>
                <a:gd name="T9" fmla="*/ 0 h 5"/>
                <a:gd name="T10" fmla="*/ 5 w 9"/>
                <a:gd name="T11" fmla="*/ 2 h 5"/>
                <a:gd name="T12" fmla="*/ 0 w 9"/>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 h="5">
                  <a:moveTo>
                    <a:pt x="0" y="5"/>
                  </a:moveTo>
                  <a:lnTo>
                    <a:pt x="0" y="5"/>
                  </a:lnTo>
                  <a:lnTo>
                    <a:pt x="5" y="2"/>
                  </a:lnTo>
                  <a:lnTo>
                    <a:pt x="9" y="0"/>
                  </a:lnTo>
                  <a:lnTo>
                    <a:pt x="9" y="0"/>
                  </a:lnTo>
                  <a:lnTo>
                    <a:pt x="5" y="2"/>
                  </a:lnTo>
                  <a:lnTo>
                    <a:pt x="0"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96" name="Freeform 623"/>
            <p:cNvSpPr>
              <a:spLocks/>
            </p:cNvSpPr>
            <p:nvPr/>
          </p:nvSpPr>
          <p:spPr bwMode="auto">
            <a:xfrm>
              <a:off x="4044950" y="4548617"/>
              <a:ext cx="15875" cy="4763"/>
            </a:xfrm>
            <a:custGeom>
              <a:avLst/>
              <a:gdLst>
                <a:gd name="T0" fmla="*/ 8 w 10"/>
                <a:gd name="T1" fmla="*/ 3 h 3"/>
                <a:gd name="T2" fmla="*/ 8 w 10"/>
                <a:gd name="T3" fmla="*/ 3 h 3"/>
                <a:gd name="T4" fmla="*/ 3 w 10"/>
                <a:gd name="T5" fmla="*/ 2 h 3"/>
                <a:gd name="T6" fmla="*/ 0 w 10"/>
                <a:gd name="T7" fmla="*/ 0 h 3"/>
                <a:gd name="T8" fmla="*/ 0 w 10"/>
                <a:gd name="T9" fmla="*/ 0 h 3"/>
                <a:gd name="T10" fmla="*/ 3 w 10"/>
                <a:gd name="T11" fmla="*/ 2 h 3"/>
                <a:gd name="T12" fmla="*/ 8 w 10"/>
                <a:gd name="T13" fmla="*/ 3 h 3"/>
                <a:gd name="T14" fmla="*/ 8 w 10"/>
                <a:gd name="T15" fmla="*/ 3 h 3"/>
                <a:gd name="T16" fmla="*/ 10 w 10"/>
                <a:gd name="T17" fmla="*/ 3 h 3"/>
                <a:gd name="T18" fmla="*/ 10 w 10"/>
                <a:gd name="T19" fmla="*/ 3 h 3"/>
                <a:gd name="T20" fmla="*/ 10 w 10"/>
                <a:gd name="T21" fmla="*/ 3 h 3"/>
                <a:gd name="T22" fmla="*/ 10 w 10"/>
                <a:gd name="T23" fmla="*/ 3 h 3"/>
                <a:gd name="T24" fmla="*/ 8 w 10"/>
                <a:gd name="T2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3">
                  <a:moveTo>
                    <a:pt x="8" y="3"/>
                  </a:moveTo>
                  <a:lnTo>
                    <a:pt x="8" y="3"/>
                  </a:lnTo>
                  <a:lnTo>
                    <a:pt x="3" y="2"/>
                  </a:lnTo>
                  <a:lnTo>
                    <a:pt x="0" y="0"/>
                  </a:lnTo>
                  <a:lnTo>
                    <a:pt x="0" y="0"/>
                  </a:lnTo>
                  <a:lnTo>
                    <a:pt x="3" y="2"/>
                  </a:lnTo>
                  <a:lnTo>
                    <a:pt x="8" y="3"/>
                  </a:lnTo>
                  <a:lnTo>
                    <a:pt x="8" y="3"/>
                  </a:lnTo>
                  <a:lnTo>
                    <a:pt x="10" y="3"/>
                  </a:lnTo>
                  <a:lnTo>
                    <a:pt x="10" y="3"/>
                  </a:lnTo>
                  <a:lnTo>
                    <a:pt x="10" y="3"/>
                  </a:lnTo>
                  <a:lnTo>
                    <a:pt x="10" y="3"/>
                  </a:lnTo>
                  <a:lnTo>
                    <a:pt x="8"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97" name="Freeform 624"/>
            <p:cNvSpPr>
              <a:spLocks/>
            </p:cNvSpPr>
            <p:nvPr/>
          </p:nvSpPr>
          <p:spPr bwMode="auto">
            <a:xfrm>
              <a:off x="4030663" y="4551792"/>
              <a:ext cx="101600" cy="100013"/>
            </a:xfrm>
            <a:custGeom>
              <a:avLst/>
              <a:gdLst>
                <a:gd name="T0" fmla="*/ 61 w 64"/>
                <a:gd name="T1" fmla="*/ 63 h 63"/>
                <a:gd name="T2" fmla="*/ 61 w 64"/>
                <a:gd name="T3" fmla="*/ 63 h 63"/>
                <a:gd name="T4" fmla="*/ 46 w 64"/>
                <a:gd name="T5" fmla="*/ 59 h 63"/>
                <a:gd name="T6" fmla="*/ 35 w 64"/>
                <a:gd name="T7" fmla="*/ 53 h 63"/>
                <a:gd name="T8" fmla="*/ 35 w 64"/>
                <a:gd name="T9" fmla="*/ 53 h 63"/>
                <a:gd name="T10" fmla="*/ 1 w 64"/>
                <a:gd name="T11" fmla="*/ 30 h 63"/>
                <a:gd name="T12" fmla="*/ 1 w 64"/>
                <a:gd name="T13" fmla="*/ 30 h 63"/>
                <a:gd name="T14" fmla="*/ 0 w 64"/>
                <a:gd name="T15" fmla="*/ 30 h 63"/>
                <a:gd name="T16" fmla="*/ 0 w 64"/>
                <a:gd name="T17" fmla="*/ 30 h 63"/>
                <a:gd name="T18" fmla="*/ 9 w 64"/>
                <a:gd name="T19" fmla="*/ 24 h 63"/>
                <a:gd name="T20" fmla="*/ 12 w 64"/>
                <a:gd name="T21" fmla="*/ 18 h 63"/>
                <a:gd name="T22" fmla="*/ 12 w 64"/>
                <a:gd name="T23" fmla="*/ 18 h 63"/>
                <a:gd name="T24" fmla="*/ 19 w 64"/>
                <a:gd name="T25" fmla="*/ 1 h 63"/>
                <a:gd name="T26" fmla="*/ 19 w 64"/>
                <a:gd name="T27" fmla="*/ 1 h 63"/>
                <a:gd name="T28" fmla="*/ 29 w 64"/>
                <a:gd name="T29" fmla="*/ 0 h 63"/>
                <a:gd name="T30" fmla="*/ 29 w 64"/>
                <a:gd name="T31" fmla="*/ 0 h 63"/>
                <a:gd name="T32" fmla="*/ 30 w 64"/>
                <a:gd name="T33" fmla="*/ 0 h 63"/>
                <a:gd name="T34" fmla="*/ 32 w 64"/>
                <a:gd name="T35" fmla="*/ 1 h 63"/>
                <a:gd name="T36" fmla="*/ 33 w 64"/>
                <a:gd name="T37" fmla="*/ 5 h 63"/>
                <a:gd name="T38" fmla="*/ 35 w 64"/>
                <a:gd name="T39" fmla="*/ 11 h 63"/>
                <a:gd name="T40" fmla="*/ 36 w 64"/>
                <a:gd name="T41" fmla="*/ 14 h 63"/>
                <a:gd name="T42" fmla="*/ 36 w 64"/>
                <a:gd name="T43" fmla="*/ 14 h 63"/>
                <a:gd name="T44" fmla="*/ 36 w 64"/>
                <a:gd name="T45" fmla="*/ 14 h 63"/>
                <a:gd name="T46" fmla="*/ 36 w 64"/>
                <a:gd name="T47" fmla="*/ 14 h 63"/>
                <a:gd name="T48" fmla="*/ 36 w 64"/>
                <a:gd name="T49" fmla="*/ 16 h 63"/>
                <a:gd name="T50" fmla="*/ 36 w 64"/>
                <a:gd name="T51" fmla="*/ 16 h 63"/>
                <a:gd name="T52" fmla="*/ 36 w 64"/>
                <a:gd name="T53" fmla="*/ 16 h 63"/>
                <a:gd name="T54" fmla="*/ 36 w 64"/>
                <a:gd name="T55" fmla="*/ 16 h 63"/>
                <a:gd name="T56" fmla="*/ 38 w 64"/>
                <a:gd name="T57" fmla="*/ 16 h 63"/>
                <a:gd name="T58" fmla="*/ 38 w 64"/>
                <a:gd name="T59" fmla="*/ 16 h 63"/>
                <a:gd name="T60" fmla="*/ 40 w 64"/>
                <a:gd name="T61" fmla="*/ 17 h 63"/>
                <a:gd name="T62" fmla="*/ 46 w 64"/>
                <a:gd name="T63" fmla="*/ 17 h 63"/>
                <a:gd name="T64" fmla="*/ 46 w 64"/>
                <a:gd name="T65" fmla="*/ 17 h 63"/>
                <a:gd name="T66" fmla="*/ 46 w 64"/>
                <a:gd name="T67" fmla="*/ 17 h 63"/>
                <a:gd name="T68" fmla="*/ 46 w 64"/>
                <a:gd name="T69" fmla="*/ 17 h 63"/>
                <a:gd name="T70" fmla="*/ 51 w 64"/>
                <a:gd name="T71" fmla="*/ 17 h 63"/>
                <a:gd name="T72" fmla="*/ 51 w 64"/>
                <a:gd name="T73" fmla="*/ 17 h 63"/>
                <a:gd name="T74" fmla="*/ 43 w 64"/>
                <a:gd name="T75" fmla="*/ 24 h 63"/>
                <a:gd name="T76" fmla="*/ 43 w 64"/>
                <a:gd name="T77" fmla="*/ 24 h 63"/>
                <a:gd name="T78" fmla="*/ 42 w 64"/>
                <a:gd name="T79" fmla="*/ 27 h 63"/>
                <a:gd name="T80" fmla="*/ 42 w 64"/>
                <a:gd name="T81" fmla="*/ 27 h 63"/>
                <a:gd name="T82" fmla="*/ 43 w 64"/>
                <a:gd name="T83" fmla="*/ 29 h 63"/>
                <a:gd name="T84" fmla="*/ 46 w 64"/>
                <a:gd name="T85" fmla="*/ 29 h 63"/>
                <a:gd name="T86" fmla="*/ 51 w 64"/>
                <a:gd name="T87" fmla="*/ 30 h 63"/>
                <a:gd name="T88" fmla="*/ 54 w 64"/>
                <a:gd name="T89" fmla="*/ 33 h 63"/>
                <a:gd name="T90" fmla="*/ 54 w 64"/>
                <a:gd name="T91" fmla="*/ 33 h 63"/>
                <a:gd name="T92" fmla="*/ 61 w 64"/>
                <a:gd name="T93" fmla="*/ 40 h 63"/>
                <a:gd name="T94" fmla="*/ 62 w 64"/>
                <a:gd name="T95" fmla="*/ 43 h 63"/>
                <a:gd name="T96" fmla="*/ 64 w 64"/>
                <a:gd name="T97" fmla="*/ 46 h 63"/>
                <a:gd name="T98" fmla="*/ 64 w 64"/>
                <a:gd name="T99" fmla="*/ 46 h 63"/>
                <a:gd name="T100" fmla="*/ 62 w 64"/>
                <a:gd name="T101" fmla="*/ 49 h 63"/>
                <a:gd name="T102" fmla="*/ 62 w 64"/>
                <a:gd name="T103" fmla="*/ 49 h 63"/>
                <a:gd name="T104" fmla="*/ 61 w 64"/>
                <a:gd name="T105" fmla="*/ 53 h 63"/>
                <a:gd name="T106" fmla="*/ 59 w 64"/>
                <a:gd name="T107" fmla="*/ 59 h 63"/>
                <a:gd name="T108" fmla="*/ 59 w 64"/>
                <a:gd name="T109" fmla="*/ 59 h 63"/>
                <a:gd name="T110" fmla="*/ 61 w 64"/>
                <a:gd name="T111"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4" h="63">
                  <a:moveTo>
                    <a:pt x="61" y="63"/>
                  </a:moveTo>
                  <a:lnTo>
                    <a:pt x="61" y="63"/>
                  </a:lnTo>
                  <a:lnTo>
                    <a:pt x="46" y="59"/>
                  </a:lnTo>
                  <a:lnTo>
                    <a:pt x="35" y="53"/>
                  </a:lnTo>
                  <a:lnTo>
                    <a:pt x="35" y="53"/>
                  </a:lnTo>
                  <a:lnTo>
                    <a:pt x="1" y="30"/>
                  </a:lnTo>
                  <a:lnTo>
                    <a:pt x="1" y="30"/>
                  </a:lnTo>
                  <a:lnTo>
                    <a:pt x="0" y="30"/>
                  </a:lnTo>
                  <a:lnTo>
                    <a:pt x="0" y="30"/>
                  </a:lnTo>
                  <a:lnTo>
                    <a:pt x="9" y="24"/>
                  </a:lnTo>
                  <a:lnTo>
                    <a:pt x="12" y="18"/>
                  </a:lnTo>
                  <a:lnTo>
                    <a:pt x="12" y="18"/>
                  </a:lnTo>
                  <a:lnTo>
                    <a:pt x="19" y="1"/>
                  </a:lnTo>
                  <a:lnTo>
                    <a:pt x="19" y="1"/>
                  </a:lnTo>
                  <a:lnTo>
                    <a:pt x="29" y="0"/>
                  </a:lnTo>
                  <a:lnTo>
                    <a:pt x="29" y="0"/>
                  </a:lnTo>
                  <a:lnTo>
                    <a:pt x="30" y="0"/>
                  </a:lnTo>
                  <a:lnTo>
                    <a:pt x="32" y="1"/>
                  </a:lnTo>
                  <a:lnTo>
                    <a:pt x="33" y="5"/>
                  </a:lnTo>
                  <a:lnTo>
                    <a:pt x="35" y="11"/>
                  </a:lnTo>
                  <a:lnTo>
                    <a:pt x="36" y="14"/>
                  </a:lnTo>
                  <a:lnTo>
                    <a:pt x="36" y="14"/>
                  </a:lnTo>
                  <a:lnTo>
                    <a:pt x="36" y="14"/>
                  </a:lnTo>
                  <a:lnTo>
                    <a:pt x="36" y="14"/>
                  </a:lnTo>
                  <a:lnTo>
                    <a:pt x="36" y="16"/>
                  </a:lnTo>
                  <a:lnTo>
                    <a:pt x="36" y="16"/>
                  </a:lnTo>
                  <a:lnTo>
                    <a:pt x="36" y="16"/>
                  </a:lnTo>
                  <a:lnTo>
                    <a:pt x="36" y="16"/>
                  </a:lnTo>
                  <a:lnTo>
                    <a:pt x="38" y="16"/>
                  </a:lnTo>
                  <a:lnTo>
                    <a:pt x="38" y="16"/>
                  </a:lnTo>
                  <a:lnTo>
                    <a:pt x="40" y="17"/>
                  </a:lnTo>
                  <a:lnTo>
                    <a:pt x="46" y="17"/>
                  </a:lnTo>
                  <a:lnTo>
                    <a:pt x="46" y="17"/>
                  </a:lnTo>
                  <a:lnTo>
                    <a:pt x="46" y="17"/>
                  </a:lnTo>
                  <a:lnTo>
                    <a:pt x="46" y="17"/>
                  </a:lnTo>
                  <a:lnTo>
                    <a:pt x="51" y="17"/>
                  </a:lnTo>
                  <a:lnTo>
                    <a:pt x="51" y="17"/>
                  </a:lnTo>
                  <a:lnTo>
                    <a:pt x="43" y="24"/>
                  </a:lnTo>
                  <a:lnTo>
                    <a:pt x="43" y="24"/>
                  </a:lnTo>
                  <a:lnTo>
                    <a:pt x="42" y="27"/>
                  </a:lnTo>
                  <a:lnTo>
                    <a:pt x="42" y="27"/>
                  </a:lnTo>
                  <a:lnTo>
                    <a:pt x="43" y="29"/>
                  </a:lnTo>
                  <a:lnTo>
                    <a:pt x="46" y="29"/>
                  </a:lnTo>
                  <a:lnTo>
                    <a:pt x="51" y="30"/>
                  </a:lnTo>
                  <a:lnTo>
                    <a:pt x="54" y="33"/>
                  </a:lnTo>
                  <a:lnTo>
                    <a:pt x="54" y="33"/>
                  </a:lnTo>
                  <a:lnTo>
                    <a:pt x="61" y="40"/>
                  </a:lnTo>
                  <a:lnTo>
                    <a:pt x="62" y="43"/>
                  </a:lnTo>
                  <a:lnTo>
                    <a:pt x="64" y="46"/>
                  </a:lnTo>
                  <a:lnTo>
                    <a:pt x="64" y="46"/>
                  </a:lnTo>
                  <a:lnTo>
                    <a:pt x="62" y="49"/>
                  </a:lnTo>
                  <a:lnTo>
                    <a:pt x="62" y="49"/>
                  </a:lnTo>
                  <a:lnTo>
                    <a:pt x="61" y="53"/>
                  </a:lnTo>
                  <a:lnTo>
                    <a:pt x="59" y="59"/>
                  </a:lnTo>
                  <a:lnTo>
                    <a:pt x="59" y="59"/>
                  </a:lnTo>
                  <a:lnTo>
                    <a:pt x="61" y="63"/>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98" name="Freeform 625"/>
            <p:cNvSpPr>
              <a:spLocks/>
            </p:cNvSpPr>
            <p:nvPr/>
          </p:nvSpPr>
          <p:spPr bwMode="auto">
            <a:xfrm>
              <a:off x="4030663" y="4551792"/>
              <a:ext cx="101600" cy="100013"/>
            </a:xfrm>
            <a:custGeom>
              <a:avLst/>
              <a:gdLst>
                <a:gd name="T0" fmla="*/ 61 w 64"/>
                <a:gd name="T1" fmla="*/ 63 h 63"/>
                <a:gd name="T2" fmla="*/ 61 w 64"/>
                <a:gd name="T3" fmla="*/ 63 h 63"/>
                <a:gd name="T4" fmla="*/ 46 w 64"/>
                <a:gd name="T5" fmla="*/ 59 h 63"/>
                <a:gd name="T6" fmla="*/ 35 w 64"/>
                <a:gd name="T7" fmla="*/ 53 h 63"/>
                <a:gd name="T8" fmla="*/ 35 w 64"/>
                <a:gd name="T9" fmla="*/ 53 h 63"/>
                <a:gd name="T10" fmla="*/ 1 w 64"/>
                <a:gd name="T11" fmla="*/ 30 h 63"/>
                <a:gd name="T12" fmla="*/ 1 w 64"/>
                <a:gd name="T13" fmla="*/ 30 h 63"/>
                <a:gd name="T14" fmla="*/ 0 w 64"/>
                <a:gd name="T15" fmla="*/ 30 h 63"/>
                <a:gd name="T16" fmla="*/ 0 w 64"/>
                <a:gd name="T17" fmla="*/ 30 h 63"/>
                <a:gd name="T18" fmla="*/ 9 w 64"/>
                <a:gd name="T19" fmla="*/ 24 h 63"/>
                <a:gd name="T20" fmla="*/ 12 w 64"/>
                <a:gd name="T21" fmla="*/ 18 h 63"/>
                <a:gd name="T22" fmla="*/ 12 w 64"/>
                <a:gd name="T23" fmla="*/ 18 h 63"/>
                <a:gd name="T24" fmla="*/ 19 w 64"/>
                <a:gd name="T25" fmla="*/ 1 h 63"/>
                <a:gd name="T26" fmla="*/ 19 w 64"/>
                <a:gd name="T27" fmla="*/ 1 h 63"/>
                <a:gd name="T28" fmla="*/ 29 w 64"/>
                <a:gd name="T29" fmla="*/ 0 h 63"/>
                <a:gd name="T30" fmla="*/ 29 w 64"/>
                <a:gd name="T31" fmla="*/ 0 h 63"/>
                <a:gd name="T32" fmla="*/ 30 w 64"/>
                <a:gd name="T33" fmla="*/ 0 h 63"/>
                <a:gd name="T34" fmla="*/ 32 w 64"/>
                <a:gd name="T35" fmla="*/ 1 h 63"/>
                <a:gd name="T36" fmla="*/ 33 w 64"/>
                <a:gd name="T37" fmla="*/ 5 h 63"/>
                <a:gd name="T38" fmla="*/ 35 w 64"/>
                <a:gd name="T39" fmla="*/ 11 h 63"/>
                <a:gd name="T40" fmla="*/ 36 w 64"/>
                <a:gd name="T41" fmla="*/ 14 h 63"/>
                <a:gd name="T42" fmla="*/ 36 w 64"/>
                <a:gd name="T43" fmla="*/ 14 h 63"/>
                <a:gd name="T44" fmla="*/ 36 w 64"/>
                <a:gd name="T45" fmla="*/ 14 h 63"/>
                <a:gd name="T46" fmla="*/ 36 w 64"/>
                <a:gd name="T47" fmla="*/ 14 h 63"/>
                <a:gd name="T48" fmla="*/ 36 w 64"/>
                <a:gd name="T49" fmla="*/ 16 h 63"/>
                <a:gd name="T50" fmla="*/ 36 w 64"/>
                <a:gd name="T51" fmla="*/ 16 h 63"/>
                <a:gd name="T52" fmla="*/ 36 w 64"/>
                <a:gd name="T53" fmla="*/ 16 h 63"/>
                <a:gd name="T54" fmla="*/ 36 w 64"/>
                <a:gd name="T55" fmla="*/ 16 h 63"/>
                <a:gd name="T56" fmla="*/ 38 w 64"/>
                <a:gd name="T57" fmla="*/ 16 h 63"/>
                <a:gd name="T58" fmla="*/ 38 w 64"/>
                <a:gd name="T59" fmla="*/ 16 h 63"/>
                <a:gd name="T60" fmla="*/ 40 w 64"/>
                <a:gd name="T61" fmla="*/ 17 h 63"/>
                <a:gd name="T62" fmla="*/ 46 w 64"/>
                <a:gd name="T63" fmla="*/ 17 h 63"/>
                <a:gd name="T64" fmla="*/ 46 w 64"/>
                <a:gd name="T65" fmla="*/ 17 h 63"/>
                <a:gd name="T66" fmla="*/ 46 w 64"/>
                <a:gd name="T67" fmla="*/ 17 h 63"/>
                <a:gd name="T68" fmla="*/ 46 w 64"/>
                <a:gd name="T69" fmla="*/ 17 h 63"/>
                <a:gd name="T70" fmla="*/ 51 w 64"/>
                <a:gd name="T71" fmla="*/ 17 h 63"/>
                <a:gd name="T72" fmla="*/ 51 w 64"/>
                <a:gd name="T73" fmla="*/ 17 h 63"/>
                <a:gd name="T74" fmla="*/ 43 w 64"/>
                <a:gd name="T75" fmla="*/ 24 h 63"/>
                <a:gd name="T76" fmla="*/ 43 w 64"/>
                <a:gd name="T77" fmla="*/ 24 h 63"/>
                <a:gd name="T78" fmla="*/ 42 w 64"/>
                <a:gd name="T79" fmla="*/ 27 h 63"/>
                <a:gd name="T80" fmla="*/ 42 w 64"/>
                <a:gd name="T81" fmla="*/ 27 h 63"/>
                <a:gd name="T82" fmla="*/ 43 w 64"/>
                <a:gd name="T83" fmla="*/ 29 h 63"/>
                <a:gd name="T84" fmla="*/ 46 w 64"/>
                <a:gd name="T85" fmla="*/ 29 h 63"/>
                <a:gd name="T86" fmla="*/ 51 w 64"/>
                <a:gd name="T87" fmla="*/ 30 h 63"/>
                <a:gd name="T88" fmla="*/ 54 w 64"/>
                <a:gd name="T89" fmla="*/ 33 h 63"/>
                <a:gd name="T90" fmla="*/ 54 w 64"/>
                <a:gd name="T91" fmla="*/ 33 h 63"/>
                <a:gd name="T92" fmla="*/ 61 w 64"/>
                <a:gd name="T93" fmla="*/ 40 h 63"/>
                <a:gd name="T94" fmla="*/ 62 w 64"/>
                <a:gd name="T95" fmla="*/ 43 h 63"/>
                <a:gd name="T96" fmla="*/ 64 w 64"/>
                <a:gd name="T97" fmla="*/ 46 h 63"/>
                <a:gd name="T98" fmla="*/ 64 w 64"/>
                <a:gd name="T99" fmla="*/ 46 h 63"/>
                <a:gd name="T100" fmla="*/ 62 w 64"/>
                <a:gd name="T101" fmla="*/ 49 h 63"/>
                <a:gd name="T102" fmla="*/ 62 w 64"/>
                <a:gd name="T103" fmla="*/ 49 h 63"/>
                <a:gd name="T104" fmla="*/ 61 w 64"/>
                <a:gd name="T105" fmla="*/ 53 h 63"/>
                <a:gd name="T106" fmla="*/ 59 w 64"/>
                <a:gd name="T107" fmla="*/ 59 h 63"/>
                <a:gd name="T108" fmla="*/ 59 w 64"/>
                <a:gd name="T109" fmla="*/ 59 h 63"/>
                <a:gd name="T110" fmla="*/ 61 w 64"/>
                <a:gd name="T111"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4" h="63">
                  <a:moveTo>
                    <a:pt x="61" y="63"/>
                  </a:moveTo>
                  <a:lnTo>
                    <a:pt x="61" y="63"/>
                  </a:lnTo>
                  <a:lnTo>
                    <a:pt x="46" y="59"/>
                  </a:lnTo>
                  <a:lnTo>
                    <a:pt x="35" y="53"/>
                  </a:lnTo>
                  <a:lnTo>
                    <a:pt x="35" y="53"/>
                  </a:lnTo>
                  <a:lnTo>
                    <a:pt x="1" y="30"/>
                  </a:lnTo>
                  <a:lnTo>
                    <a:pt x="1" y="30"/>
                  </a:lnTo>
                  <a:lnTo>
                    <a:pt x="0" y="30"/>
                  </a:lnTo>
                  <a:lnTo>
                    <a:pt x="0" y="30"/>
                  </a:lnTo>
                  <a:lnTo>
                    <a:pt x="9" y="24"/>
                  </a:lnTo>
                  <a:lnTo>
                    <a:pt x="12" y="18"/>
                  </a:lnTo>
                  <a:lnTo>
                    <a:pt x="12" y="18"/>
                  </a:lnTo>
                  <a:lnTo>
                    <a:pt x="19" y="1"/>
                  </a:lnTo>
                  <a:lnTo>
                    <a:pt x="19" y="1"/>
                  </a:lnTo>
                  <a:lnTo>
                    <a:pt x="29" y="0"/>
                  </a:lnTo>
                  <a:lnTo>
                    <a:pt x="29" y="0"/>
                  </a:lnTo>
                  <a:lnTo>
                    <a:pt x="30" y="0"/>
                  </a:lnTo>
                  <a:lnTo>
                    <a:pt x="32" y="1"/>
                  </a:lnTo>
                  <a:lnTo>
                    <a:pt x="33" y="5"/>
                  </a:lnTo>
                  <a:lnTo>
                    <a:pt x="35" y="11"/>
                  </a:lnTo>
                  <a:lnTo>
                    <a:pt x="36" y="14"/>
                  </a:lnTo>
                  <a:lnTo>
                    <a:pt x="36" y="14"/>
                  </a:lnTo>
                  <a:lnTo>
                    <a:pt x="36" y="14"/>
                  </a:lnTo>
                  <a:lnTo>
                    <a:pt x="36" y="14"/>
                  </a:lnTo>
                  <a:lnTo>
                    <a:pt x="36" y="16"/>
                  </a:lnTo>
                  <a:lnTo>
                    <a:pt x="36" y="16"/>
                  </a:lnTo>
                  <a:lnTo>
                    <a:pt x="36" y="16"/>
                  </a:lnTo>
                  <a:lnTo>
                    <a:pt x="36" y="16"/>
                  </a:lnTo>
                  <a:lnTo>
                    <a:pt x="38" y="16"/>
                  </a:lnTo>
                  <a:lnTo>
                    <a:pt x="38" y="16"/>
                  </a:lnTo>
                  <a:lnTo>
                    <a:pt x="40" y="17"/>
                  </a:lnTo>
                  <a:lnTo>
                    <a:pt x="46" y="17"/>
                  </a:lnTo>
                  <a:lnTo>
                    <a:pt x="46" y="17"/>
                  </a:lnTo>
                  <a:lnTo>
                    <a:pt x="46" y="17"/>
                  </a:lnTo>
                  <a:lnTo>
                    <a:pt x="46" y="17"/>
                  </a:lnTo>
                  <a:lnTo>
                    <a:pt x="51" y="17"/>
                  </a:lnTo>
                  <a:lnTo>
                    <a:pt x="51" y="17"/>
                  </a:lnTo>
                  <a:lnTo>
                    <a:pt x="43" y="24"/>
                  </a:lnTo>
                  <a:lnTo>
                    <a:pt x="43" y="24"/>
                  </a:lnTo>
                  <a:lnTo>
                    <a:pt x="42" y="27"/>
                  </a:lnTo>
                  <a:lnTo>
                    <a:pt x="42" y="27"/>
                  </a:lnTo>
                  <a:lnTo>
                    <a:pt x="43" y="29"/>
                  </a:lnTo>
                  <a:lnTo>
                    <a:pt x="46" y="29"/>
                  </a:lnTo>
                  <a:lnTo>
                    <a:pt x="51" y="30"/>
                  </a:lnTo>
                  <a:lnTo>
                    <a:pt x="54" y="33"/>
                  </a:lnTo>
                  <a:lnTo>
                    <a:pt x="54" y="33"/>
                  </a:lnTo>
                  <a:lnTo>
                    <a:pt x="61" y="40"/>
                  </a:lnTo>
                  <a:lnTo>
                    <a:pt x="62" y="43"/>
                  </a:lnTo>
                  <a:lnTo>
                    <a:pt x="64" y="46"/>
                  </a:lnTo>
                  <a:lnTo>
                    <a:pt x="64" y="46"/>
                  </a:lnTo>
                  <a:lnTo>
                    <a:pt x="62" y="49"/>
                  </a:lnTo>
                  <a:lnTo>
                    <a:pt x="62" y="49"/>
                  </a:lnTo>
                  <a:lnTo>
                    <a:pt x="61" y="53"/>
                  </a:lnTo>
                  <a:lnTo>
                    <a:pt x="59" y="59"/>
                  </a:lnTo>
                  <a:lnTo>
                    <a:pt x="59" y="59"/>
                  </a:lnTo>
                  <a:lnTo>
                    <a:pt x="61" y="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99" name="Freeform 626"/>
            <p:cNvSpPr>
              <a:spLocks noEditPoints="1"/>
            </p:cNvSpPr>
            <p:nvPr/>
          </p:nvSpPr>
          <p:spPr bwMode="auto">
            <a:xfrm>
              <a:off x="4097338" y="4578779"/>
              <a:ext cx="34925" cy="66675"/>
            </a:xfrm>
            <a:custGeom>
              <a:avLst/>
              <a:gdLst>
                <a:gd name="T0" fmla="*/ 0 w 22"/>
                <a:gd name="T1" fmla="*/ 10 h 42"/>
                <a:gd name="T2" fmla="*/ 0 w 22"/>
                <a:gd name="T3" fmla="*/ 10 h 42"/>
                <a:gd name="T4" fmla="*/ 1 w 22"/>
                <a:gd name="T5" fmla="*/ 7 h 42"/>
                <a:gd name="T6" fmla="*/ 1 w 22"/>
                <a:gd name="T7" fmla="*/ 7 h 42"/>
                <a:gd name="T8" fmla="*/ 9 w 22"/>
                <a:gd name="T9" fmla="*/ 0 h 42"/>
                <a:gd name="T10" fmla="*/ 9 w 22"/>
                <a:gd name="T11" fmla="*/ 0 h 42"/>
                <a:gd name="T12" fmla="*/ 9 w 22"/>
                <a:gd name="T13" fmla="*/ 0 h 42"/>
                <a:gd name="T14" fmla="*/ 1 w 22"/>
                <a:gd name="T15" fmla="*/ 7 h 42"/>
                <a:gd name="T16" fmla="*/ 1 w 22"/>
                <a:gd name="T17" fmla="*/ 7 h 42"/>
                <a:gd name="T18" fmla="*/ 0 w 22"/>
                <a:gd name="T19" fmla="*/ 10 h 42"/>
                <a:gd name="T20" fmla="*/ 17 w 22"/>
                <a:gd name="T21" fmla="*/ 42 h 42"/>
                <a:gd name="T22" fmla="*/ 17 w 22"/>
                <a:gd name="T23" fmla="*/ 42 h 42"/>
                <a:gd name="T24" fmla="*/ 19 w 22"/>
                <a:gd name="T25" fmla="*/ 36 h 42"/>
                <a:gd name="T26" fmla="*/ 20 w 22"/>
                <a:gd name="T27" fmla="*/ 32 h 42"/>
                <a:gd name="T28" fmla="*/ 20 w 22"/>
                <a:gd name="T29" fmla="*/ 32 h 42"/>
                <a:gd name="T30" fmla="*/ 22 w 22"/>
                <a:gd name="T31" fmla="*/ 29 h 42"/>
                <a:gd name="T32" fmla="*/ 22 w 22"/>
                <a:gd name="T33" fmla="*/ 29 h 42"/>
                <a:gd name="T34" fmla="*/ 20 w 22"/>
                <a:gd name="T35" fmla="*/ 32 h 42"/>
                <a:gd name="T36" fmla="*/ 20 w 22"/>
                <a:gd name="T37" fmla="*/ 32 h 42"/>
                <a:gd name="T38" fmla="*/ 19 w 22"/>
                <a:gd name="T39" fmla="*/ 36 h 42"/>
                <a:gd name="T40" fmla="*/ 17 w 22"/>
                <a:gd name="T4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 h="42">
                  <a:moveTo>
                    <a:pt x="0" y="10"/>
                  </a:moveTo>
                  <a:lnTo>
                    <a:pt x="0" y="10"/>
                  </a:lnTo>
                  <a:lnTo>
                    <a:pt x="1" y="7"/>
                  </a:lnTo>
                  <a:lnTo>
                    <a:pt x="1" y="7"/>
                  </a:lnTo>
                  <a:lnTo>
                    <a:pt x="9" y="0"/>
                  </a:lnTo>
                  <a:lnTo>
                    <a:pt x="9" y="0"/>
                  </a:lnTo>
                  <a:lnTo>
                    <a:pt x="9" y="0"/>
                  </a:lnTo>
                  <a:lnTo>
                    <a:pt x="1" y="7"/>
                  </a:lnTo>
                  <a:lnTo>
                    <a:pt x="1" y="7"/>
                  </a:lnTo>
                  <a:lnTo>
                    <a:pt x="0" y="10"/>
                  </a:lnTo>
                  <a:close/>
                  <a:moveTo>
                    <a:pt x="17" y="42"/>
                  </a:moveTo>
                  <a:lnTo>
                    <a:pt x="17" y="42"/>
                  </a:lnTo>
                  <a:lnTo>
                    <a:pt x="19" y="36"/>
                  </a:lnTo>
                  <a:lnTo>
                    <a:pt x="20" y="32"/>
                  </a:lnTo>
                  <a:lnTo>
                    <a:pt x="20" y="32"/>
                  </a:lnTo>
                  <a:lnTo>
                    <a:pt x="22" y="29"/>
                  </a:lnTo>
                  <a:lnTo>
                    <a:pt x="22" y="29"/>
                  </a:lnTo>
                  <a:lnTo>
                    <a:pt x="20" y="32"/>
                  </a:lnTo>
                  <a:lnTo>
                    <a:pt x="20" y="32"/>
                  </a:lnTo>
                  <a:lnTo>
                    <a:pt x="19" y="36"/>
                  </a:lnTo>
                  <a:lnTo>
                    <a:pt x="17" y="42"/>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00" name="Freeform 627"/>
            <p:cNvSpPr>
              <a:spLocks/>
            </p:cNvSpPr>
            <p:nvPr/>
          </p:nvSpPr>
          <p:spPr bwMode="auto">
            <a:xfrm>
              <a:off x="4097338" y="4578779"/>
              <a:ext cx="14288" cy="15875"/>
            </a:xfrm>
            <a:custGeom>
              <a:avLst/>
              <a:gdLst>
                <a:gd name="T0" fmla="*/ 0 w 9"/>
                <a:gd name="T1" fmla="*/ 10 h 10"/>
                <a:gd name="T2" fmla="*/ 0 w 9"/>
                <a:gd name="T3" fmla="*/ 10 h 10"/>
                <a:gd name="T4" fmla="*/ 1 w 9"/>
                <a:gd name="T5" fmla="*/ 7 h 10"/>
                <a:gd name="T6" fmla="*/ 1 w 9"/>
                <a:gd name="T7" fmla="*/ 7 h 10"/>
                <a:gd name="T8" fmla="*/ 9 w 9"/>
                <a:gd name="T9" fmla="*/ 0 h 10"/>
                <a:gd name="T10" fmla="*/ 9 w 9"/>
                <a:gd name="T11" fmla="*/ 0 h 10"/>
                <a:gd name="T12" fmla="*/ 9 w 9"/>
                <a:gd name="T13" fmla="*/ 0 h 10"/>
                <a:gd name="T14" fmla="*/ 1 w 9"/>
                <a:gd name="T15" fmla="*/ 7 h 10"/>
                <a:gd name="T16" fmla="*/ 1 w 9"/>
                <a:gd name="T17" fmla="*/ 7 h 10"/>
                <a:gd name="T18" fmla="*/ 0 w 9"/>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0">
                  <a:moveTo>
                    <a:pt x="0" y="10"/>
                  </a:moveTo>
                  <a:lnTo>
                    <a:pt x="0" y="10"/>
                  </a:lnTo>
                  <a:lnTo>
                    <a:pt x="1" y="7"/>
                  </a:lnTo>
                  <a:lnTo>
                    <a:pt x="1" y="7"/>
                  </a:lnTo>
                  <a:lnTo>
                    <a:pt x="9" y="0"/>
                  </a:lnTo>
                  <a:lnTo>
                    <a:pt x="9" y="0"/>
                  </a:lnTo>
                  <a:lnTo>
                    <a:pt x="9" y="0"/>
                  </a:lnTo>
                  <a:lnTo>
                    <a:pt x="1" y="7"/>
                  </a:lnTo>
                  <a:lnTo>
                    <a:pt x="1" y="7"/>
                  </a:lnTo>
                  <a:lnTo>
                    <a:pt x="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01" name="Freeform 628"/>
            <p:cNvSpPr>
              <a:spLocks/>
            </p:cNvSpPr>
            <p:nvPr/>
          </p:nvSpPr>
          <p:spPr bwMode="auto">
            <a:xfrm>
              <a:off x="4124325" y="4624817"/>
              <a:ext cx="7938" cy="20638"/>
            </a:xfrm>
            <a:custGeom>
              <a:avLst/>
              <a:gdLst>
                <a:gd name="T0" fmla="*/ 0 w 5"/>
                <a:gd name="T1" fmla="*/ 13 h 13"/>
                <a:gd name="T2" fmla="*/ 0 w 5"/>
                <a:gd name="T3" fmla="*/ 13 h 13"/>
                <a:gd name="T4" fmla="*/ 2 w 5"/>
                <a:gd name="T5" fmla="*/ 7 h 13"/>
                <a:gd name="T6" fmla="*/ 3 w 5"/>
                <a:gd name="T7" fmla="*/ 3 h 13"/>
                <a:gd name="T8" fmla="*/ 3 w 5"/>
                <a:gd name="T9" fmla="*/ 3 h 13"/>
                <a:gd name="T10" fmla="*/ 5 w 5"/>
                <a:gd name="T11" fmla="*/ 0 h 13"/>
                <a:gd name="T12" fmla="*/ 5 w 5"/>
                <a:gd name="T13" fmla="*/ 0 h 13"/>
                <a:gd name="T14" fmla="*/ 3 w 5"/>
                <a:gd name="T15" fmla="*/ 3 h 13"/>
                <a:gd name="T16" fmla="*/ 3 w 5"/>
                <a:gd name="T17" fmla="*/ 3 h 13"/>
                <a:gd name="T18" fmla="*/ 2 w 5"/>
                <a:gd name="T19" fmla="*/ 7 h 13"/>
                <a:gd name="T20" fmla="*/ 0 w 5"/>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13">
                  <a:moveTo>
                    <a:pt x="0" y="13"/>
                  </a:moveTo>
                  <a:lnTo>
                    <a:pt x="0" y="13"/>
                  </a:lnTo>
                  <a:lnTo>
                    <a:pt x="2" y="7"/>
                  </a:lnTo>
                  <a:lnTo>
                    <a:pt x="3" y="3"/>
                  </a:lnTo>
                  <a:lnTo>
                    <a:pt x="3" y="3"/>
                  </a:lnTo>
                  <a:lnTo>
                    <a:pt x="5" y="0"/>
                  </a:lnTo>
                  <a:lnTo>
                    <a:pt x="5" y="0"/>
                  </a:lnTo>
                  <a:lnTo>
                    <a:pt x="3" y="3"/>
                  </a:lnTo>
                  <a:lnTo>
                    <a:pt x="3" y="3"/>
                  </a:lnTo>
                  <a:lnTo>
                    <a:pt x="2" y="7"/>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02" name="Freeform 629"/>
            <p:cNvSpPr>
              <a:spLocks noEditPoints="1"/>
            </p:cNvSpPr>
            <p:nvPr/>
          </p:nvSpPr>
          <p:spPr bwMode="auto">
            <a:xfrm>
              <a:off x="4060825" y="4551792"/>
              <a:ext cx="50800" cy="26988"/>
            </a:xfrm>
            <a:custGeom>
              <a:avLst/>
              <a:gdLst>
                <a:gd name="T0" fmla="*/ 0 w 32"/>
                <a:gd name="T1" fmla="*/ 1 h 17"/>
                <a:gd name="T2" fmla="*/ 0 w 32"/>
                <a:gd name="T3" fmla="*/ 1 h 17"/>
                <a:gd name="T4" fmla="*/ 0 w 32"/>
                <a:gd name="T5" fmla="*/ 0 h 17"/>
                <a:gd name="T6" fmla="*/ 0 w 32"/>
                <a:gd name="T7" fmla="*/ 0 h 17"/>
                <a:gd name="T8" fmla="*/ 10 w 32"/>
                <a:gd name="T9" fmla="*/ 0 h 17"/>
                <a:gd name="T10" fmla="*/ 10 w 32"/>
                <a:gd name="T11" fmla="*/ 0 h 17"/>
                <a:gd name="T12" fmla="*/ 0 w 32"/>
                <a:gd name="T13" fmla="*/ 1 h 17"/>
                <a:gd name="T14" fmla="*/ 17 w 32"/>
                <a:gd name="T15" fmla="*/ 16 h 17"/>
                <a:gd name="T16" fmla="*/ 17 w 32"/>
                <a:gd name="T17" fmla="*/ 16 h 17"/>
                <a:gd name="T18" fmla="*/ 17 w 32"/>
                <a:gd name="T19" fmla="*/ 14 h 17"/>
                <a:gd name="T20" fmla="*/ 17 w 32"/>
                <a:gd name="T21" fmla="*/ 14 h 17"/>
                <a:gd name="T22" fmla="*/ 17 w 32"/>
                <a:gd name="T23" fmla="*/ 16 h 17"/>
                <a:gd name="T24" fmla="*/ 19 w 32"/>
                <a:gd name="T25" fmla="*/ 16 h 17"/>
                <a:gd name="T26" fmla="*/ 19 w 32"/>
                <a:gd name="T27" fmla="*/ 16 h 17"/>
                <a:gd name="T28" fmla="*/ 17 w 32"/>
                <a:gd name="T29" fmla="*/ 16 h 17"/>
                <a:gd name="T30" fmla="*/ 17 w 32"/>
                <a:gd name="T31" fmla="*/ 16 h 17"/>
                <a:gd name="T32" fmla="*/ 19 w 32"/>
                <a:gd name="T33" fmla="*/ 16 h 17"/>
                <a:gd name="T34" fmla="*/ 27 w 32"/>
                <a:gd name="T35" fmla="*/ 17 h 17"/>
                <a:gd name="T36" fmla="*/ 27 w 32"/>
                <a:gd name="T37" fmla="*/ 17 h 17"/>
                <a:gd name="T38" fmla="*/ 32 w 32"/>
                <a:gd name="T39" fmla="*/ 17 h 17"/>
                <a:gd name="T40" fmla="*/ 32 w 32"/>
                <a:gd name="T41" fmla="*/ 17 h 17"/>
                <a:gd name="T42" fmla="*/ 27 w 32"/>
                <a:gd name="T43" fmla="*/ 17 h 17"/>
                <a:gd name="T44" fmla="*/ 27 w 32"/>
                <a:gd name="T45" fmla="*/ 17 h 17"/>
                <a:gd name="T46" fmla="*/ 27 w 32"/>
                <a:gd name="T47" fmla="*/ 17 h 17"/>
                <a:gd name="T48" fmla="*/ 27 w 32"/>
                <a:gd name="T4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17">
                  <a:moveTo>
                    <a:pt x="0" y="1"/>
                  </a:moveTo>
                  <a:lnTo>
                    <a:pt x="0" y="1"/>
                  </a:lnTo>
                  <a:lnTo>
                    <a:pt x="0" y="0"/>
                  </a:lnTo>
                  <a:lnTo>
                    <a:pt x="0" y="0"/>
                  </a:lnTo>
                  <a:lnTo>
                    <a:pt x="10" y="0"/>
                  </a:lnTo>
                  <a:lnTo>
                    <a:pt x="10" y="0"/>
                  </a:lnTo>
                  <a:lnTo>
                    <a:pt x="0" y="1"/>
                  </a:lnTo>
                  <a:close/>
                  <a:moveTo>
                    <a:pt x="17" y="16"/>
                  </a:moveTo>
                  <a:lnTo>
                    <a:pt x="17" y="16"/>
                  </a:lnTo>
                  <a:lnTo>
                    <a:pt x="17" y="14"/>
                  </a:lnTo>
                  <a:lnTo>
                    <a:pt x="17" y="14"/>
                  </a:lnTo>
                  <a:lnTo>
                    <a:pt x="17" y="16"/>
                  </a:lnTo>
                  <a:close/>
                  <a:moveTo>
                    <a:pt x="19" y="16"/>
                  </a:moveTo>
                  <a:lnTo>
                    <a:pt x="19" y="16"/>
                  </a:lnTo>
                  <a:lnTo>
                    <a:pt x="17" y="16"/>
                  </a:lnTo>
                  <a:lnTo>
                    <a:pt x="17" y="16"/>
                  </a:lnTo>
                  <a:lnTo>
                    <a:pt x="19" y="16"/>
                  </a:lnTo>
                  <a:close/>
                  <a:moveTo>
                    <a:pt x="27" y="17"/>
                  </a:moveTo>
                  <a:lnTo>
                    <a:pt x="27" y="17"/>
                  </a:lnTo>
                  <a:lnTo>
                    <a:pt x="32" y="17"/>
                  </a:lnTo>
                  <a:lnTo>
                    <a:pt x="32" y="17"/>
                  </a:lnTo>
                  <a:lnTo>
                    <a:pt x="27" y="17"/>
                  </a:lnTo>
                  <a:close/>
                  <a:moveTo>
                    <a:pt x="27" y="17"/>
                  </a:moveTo>
                  <a:lnTo>
                    <a:pt x="27" y="17"/>
                  </a:lnTo>
                  <a:lnTo>
                    <a:pt x="27" y="17"/>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03" name="Freeform 630"/>
            <p:cNvSpPr>
              <a:spLocks/>
            </p:cNvSpPr>
            <p:nvPr/>
          </p:nvSpPr>
          <p:spPr bwMode="auto">
            <a:xfrm>
              <a:off x="4060825" y="4551792"/>
              <a:ext cx="15875" cy="1588"/>
            </a:xfrm>
            <a:custGeom>
              <a:avLst/>
              <a:gdLst>
                <a:gd name="T0" fmla="*/ 0 w 10"/>
                <a:gd name="T1" fmla="*/ 1 h 1"/>
                <a:gd name="T2" fmla="*/ 0 w 10"/>
                <a:gd name="T3" fmla="*/ 1 h 1"/>
                <a:gd name="T4" fmla="*/ 0 w 10"/>
                <a:gd name="T5" fmla="*/ 0 h 1"/>
                <a:gd name="T6" fmla="*/ 0 w 10"/>
                <a:gd name="T7" fmla="*/ 0 h 1"/>
                <a:gd name="T8" fmla="*/ 10 w 10"/>
                <a:gd name="T9" fmla="*/ 0 h 1"/>
                <a:gd name="T10" fmla="*/ 10 w 10"/>
                <a:gd name="T11" fmla="*/ 0 h 1"/>
                <a:gd name="T12" fmla="*/ 0 w 10"/>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0" h="1">
                  <a:moveTo>
                    <a:pt x="0" y="1"/>
                  </a:moveTo>
                  <a:lnTo>
                    <a:pt x="0" y="1"/>
                  </a:lnTo>
                  <a:lnTo>
                    <a:pt x="0" y="0"/>
                  </a:lnTo>
                  <a:lnTo>
                    <a:pt x="0" y="0"/>
                  </a:lnTo>
                  <a:lnTo>
                    <a:pt x="10" y="0"/>
                  </a:lnTo>
                  <a:lnTo>
                    <a:pt x="10" y="0"/>
                  </a:lnTo>
                  <a:lnTo>
                    <a:pt x="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04" name="Rectangle 631"/>
            <p:cNvSpPr>
              <a:spLocks noChangeArrowheads="1"/>
            </p:cNvSpPr>
            <p:nvPr/>
          </p:nvSpPr>
          <p:spPr bwMode="auto">
            <a:xfrm>
              <a:off x="4087813" y="4574017"/>
              <a:ext cx="1588"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05" name="Rectangle 632"/>
            <p:cNvSpPr>
              <a:spLocks noChangeArrowheads="1"/>
            </p:cNvSpPr>
            <p:nvPr/>
          </p:nvSpPr>
          <p:spPr bwMode="auto">
            <a:xfrm>
              <a:off x="4087813" y="4577192"/>
              <a:ext cx="3175"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06" name="Rectangle 633"/>
            <p:cNvSpPr>
              <a:spLocks noChangeArrowheads="1"/>
            </p:cNvSpPr>
            <p:nvPr/>
          </p:nvSpPr>
          <p:spPr bwMode="auto">
            <a:xfrm>
              <a:off x="4103688" y="4578779"/>
              <a:ext cx="793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07" name="Freeform 634"/>
            <p:cNvSpPr>
              <a:spLocks/>
            </p:cNvSpPr>
            <p:nvPr/>
          </p:nvSpPr>
          <p:spPr bwMode="auto">
            <a:xfrm>
              <a:off x="4103688" y="457877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08" name="Freeform 635"/>
            <p:cNvSpPr>
              <a:spLocks/>
            </p:cNvSpPr>
            <p:nvPr/>
          </p:nvSpPr>
          <p:spPr bwMode="auto">
            <a:xfrm>
              <a:off x="5076826" y="4783567"/>
              <a:ext cx="277813" cy="287338"/>
            </a:xfrm>
            <a:custGeom>
              <a:avLst/>
              <a:gdLst>
                <a:gd name="T0" fmla="*/ 168 w 175"/>
                <a:gd name="T1" fmla="*/ 145 h 181"/>
                <a:gd name="T2" fmla="*/ 159 w 175"/>
                <a:gd name="T3" fmla="*/ 129 h 181"/>
                <a:gd name="T4" fmla="*/ 159 w 175"/>
                <a:gd name="T5" fmla="*/ 100 h 181"/>
                <a:gd name="T6" fmla="*/ 153 w 175"/>
                <a:gd name="T7" fmla="*/ 84 h 181"/>
                <a:gd name="T8" fmla="*/ 153 w 175"/>
                <a:gd name="T9" fmla="*/ 72 h 181"/>
                <a:gd name="T10" fmla="*/ 159 w 175"/>
                <a:gd name="T11" fmla="*/ 59 h 181"/>
                <a:gd name="T12" fmla="*/ 136 w 175"/>
                <a:gd name="T13" fmla="*/ 42 h 181"/>
                <a:gd name="T14" fmla="*/ 129 w 175"/>
                <a:gd name="T15" fmla="*/ 35 h 181"/>
                <a:gd name="T16" fmla="*/ 77 w 175"/>
                <a:gd name="T17" fmla="*/ 7 h 181"/>
                <a:gd name="T18" fmla="*/ 80 w 175"/>
                <a:gd name="T19" fmla="*/ 10 h 181"/>
                <a:gd name="T20" fmla="*/ 80 w 175"/>
                <a:gd name="T21" fmla="*/ 17 h 181"/>
                <a:gd name="T22" fmla="*/ 71 w 175"/>
                <a:gd name="T23" fmla="*/ 19 h 181"/>
                <a:gd name="T24" fmla="*/ 64 w 175"/>
                <a:gd name="T25" fmla="*/ 29 h 181"/>
                <a:gd name="T26" fmla="*/ 49 w 175"/>
                <a:gd name="T27" fmla="*/ 35 h 181"/>
                <a:gd name="T28" fmla="*/ 38 w 175"/>
                <a:gd name="T29" fmla="*/ 29 h 181"/>
                <a:gd name="T30" fmla="*/ 38 w 175"/>
                <a:gd name="T31" fmla="*/ 20 h 181"/>
                <a:gd name="T32" fmla="*/ 39 w 175"/>
                <a:gd name="T33" fmla="*/ 9 h 181"/>
                <a:gd name="T34" fmla="*/ 32 w 175"/>
                <a:gd name="T35" fmla="*/ 0 h 181"/>
                <a:gd name="T36" fmla="*/ 25 w 175"/>
                <a:gd name="T37" fmla="*/ 3 h 181"/>
                <a:gd name="T38" fmla="*/ 19 w 175"/>
                <a:gd name="T39" fmla="*/ 22 h 181"/>
                <a:gd name="T40" fmla="*/ 22 w 175"/>
                <a:gd name="T41" fmla="*/ 42 h 181"/>
                <a:gd name="T42" fmla="*/ 14 w 175"/>
                <a:gd name="T43" fmla="*/ 51 h 181"/>
                <a:gd name="T44" fmla="*/ 0 w 175"/>
                <a:gd name="T45" fmla="*/ 56 h 181"/>
                <a:gd name="T46" fmla="*/ 3 w 175"/>
                <a:gd name="T47" fmla="*/ 65 h 181"/>
                <a:gd name="T48" fmla="*/ 7 w 175"/>
                <a:gd name="T49" fmla="*/ 88 h 181"/>
                <a:gd name="T50" fmla="*/ 14 w 175"/>
                <a:gd name="T51" fmla="*/ 104 h 181"/>
                <a:gd name="T52" fmla="*/ 19 w 175"/>
                <a:gd name="T53" fmla="*/ 114 h 181"/>
                <a:gd name="T54" fmla="*/ 30 w 175"/>
                <a:gd name="T55" fmla="*/ 124 h 181"/>
                <a:gd name="T56" fmla="*/ 46 w 175"/>
                <a:gd name="T57" fmla="*/ 135 h 181"/>
                <a:gd name="T58" fmla="*/ 64 w 175"/>
                <a:gd name="T59" fmla="*/ 145 h 181"/>
                <a:gd name="T60" fmla="*/ 72 w 175"/>
                <a:gd name="T61" fmla="*/ 143 h 181"/>
                <a:gd name="T62" fmla="*/ 74 w 175"/>
                <a:gd name="T63" fmla="*/ 148 h 181"/>
                <a:gd name="T64" fmla="*/ 77 w 175"/>
                <a:gd name="T65" fmla="*/ 172 h 181"/>
                <a:gd name="T66" fmla="*/ 81 w 175"/>
                <a:gd name="T67" fmla="*/ 171 h 181"/>
                <a:gd name="T68" fmla="*/ 82 w 175"/>
                <a:gd name="T69" fmla="*/ 171 h 181"/>
                <a:gd name="T70" fmla="*/ 95 w 175"/>
                <a:gd name="T71" fmla="*/ 175 h 181"/>
                <a:gd name="T72" fmla="*/ 106 w 175"/>
                <a:gd name="T73" fmla="*/ 175 h 181"/>
                <a:gd name="T74" fmla="*/ 119 w 175"/>
                <a:gd name="T75" fmla="*/ 181 h 181"/>
                <a:gd name="T76" fmla="*/ 122 w 175"/>
                <a:gd name="T77" fmla="*/ 179 h 181"/>
                <a:gd name="T78" fmla="*/ 130 w 175"/>
                <a:gd name="T79" fmla="*/ 178 h 181"/>
                <a:gd name="T80" fmla="*/ 136 w 175"/>
                <a:gd name="T81" fmla="*/ 175 h 181"/>
                <a:gd name="T82" fmla="*/ 139 w 175"/>
                <a:gd name="T83" fmla="*/ 171 h 181"/>
                <a:gd name="T84" fmla="*/ 142 w 175"/>
                <a:gd name="T85" fmla="*/ 168 h 181"/>
                <a:gd name="T86" fmla="*/ 151 w 175"/>
                <a:gd name="T87" fmla="*/ 168 h 181"/>
                <a:gd name="T88" fmla="*/ 175 w 175"/>
                <a:gd name="T89" fmla="*/ 156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5" h="181">
                  <a:moveTo>
                    <a:pt x="174" y="155"/>
                  </a:moveTo>
                  <a:lnTo>
                    <a:pt x="174" y="155"/>
                  </a:lnTo>
                  <a:lnTo>
                    <a:pt x="168" y="145"/>
                  </a:lnTo>
                  <a:lnTo>
                    <a:pt x="161" y="136"/>
                  </a:lnTo>
                  <a:lnTo>
                    <a:pt x="161" y="136"/>
                  </a:lnTo>
                  <a:lnTo>
                    <a:pt x="159" y="129"/>
                  </a:lnTo>
                  <a:lnTo>
                    <a:pt x="159" y="117"/>
                  </a:lnTo>
                  <a:lnTo>
                    <a:pt x="159" y="100"/>
                  </a:lnTo>
                  <a:lnTo>
                    <a:pt x="159" y="100"/>
                  </a:lnTo>
                  <a:lnTo>
                    <a:pt x="158" y="95"/>
                  </a:lnTo>
                  <a:lnTo>
                    <a:pt x="156" y="90"/>
                  </a:lnTo>
                  <a:lnTo>
                    <a:pt x="153" y="84"/>
                  </a:lnTo>
                  <a:lnTo>
                    <a:pt x="153" y="80"/>
                  </a:lnTo>
                  <a:lnTo>
                    <a:pt x="153" y="80"/>
                  </a:lnTo>
                  <a:lnTo>
                    <a:pt x="153" y="72"/>
                  </a:lnTo>
                  <a:lnTo>
                    <a:pt x="155" y="68"/>
                  </a:lnTo>
                  <a:lnTo>
                    <a:pt x="155" y="68"/>
                  </a:lnTo>
                  <a:lnTo>
                    <a:pt x="159" y="59"/>
                  </a:lnTo>
                  <a:lnTo>
                    <a:pt x="159" y="59"/>
                  </a:lnTo>
                  <a:lnTo>
                    <a:pt x="143" y="48"/>
                  </a:lnTo>
                  <a:lnTo>
                    <a:pt x="136" y="42"/>
                  </a:lnTo>
                  <a:lnTo>
                    <a:pt x="132" y="38"/>
                  </a:lnTo>
                  <a:lnTo>
                    <a:pt x="132" y="38"/>
                  </a:lnTo>
                  <a:lnTo>
                    <a:pt x="129" y="35"/>
                  </a:lnTo>
                  <a:lnTo>
                    <a:pt x="123" y="32"/>
                  </a:lnTo>
                  <a:lnTo>
                    <a:pt x="109" y="23"/>
                  </a:lnTo>
                  <a:lnTo>
                    <a:pt x="77" y="7"/>
                  </a:lnTo>
                  <a:lnTo>
                    <a:pt x="77" y="7"/>
                  </a:lnTo>
                  <a:lnTo>
                    <a:pt x="80" y="10"/>
                  </a:lnTo>
                  <a:lnTo>
                    <a:pt x="80" y="10"/>
                  </a:lnTo>
                  <a:lnTo>
                    <a:pt x="81" y="14"/>
                  </a:lnTo>
                  <a:lnTo>
                    <a:pt x="81" y="16"/>
                  </a:lnTo>
                  <a:lnTo>
                    <a:pt x="80" y="17"/>
                  </a:lnTo>
                  <a:lnTo>
                    <a:pt x="75" y="19"/>
                  </a:lnTo>
                  <a:lnTo>
                    <a:pt x="75" y="19"/>
                  </a:lnTo>
                  <a:lnTo>
                    <a:pt x="71" y="19"/>
                  </a:lnTo>
                  <a:lnTo>
                    <a:pt x="68" y="22"/>
                  </a:lnTo>
                  <a:lnTo>
                    <a:pt x="64" y="29"/>
                  </a:lnTo>
                  <a:lnTo>
                    <a:pt x="64" y="29"/>
                  </a:lnTo>
                  <a:lnTo>
                    <a:pt x="61" y="32"/>
                  </a:lnTo>
                  <a:lnTo>
                    <a:pt x="58" y="33"/>
                  </a:lnTo>
                  <a:lnTo>
                    <a:pt x="49" y="35"/>
                  </a:lnTo>
                  <a:lnTo>
                    <a:pt x="42" y="33"/>
                  </a:lnTo>
                  <a:lnTo>
                    <a:pt x="39" y="32"/>
                  </a:lnTo>
                  <a:lnTo>
                    <a:pt x="38" y="29"/>
                  </a:lnTo>
                  <a:lnTo>
                    <a:pt x="38" y="29"/>
                  </a:lnTo>
                  <a:lnTo>
                    <a:pt x="38" y="24"/>
                  </a:lnTo>
                  <a:lnTo>
                    <a:pt x="38" y="20"/>
                  </a:lnTo>
                  <a:lnTo>
                    <a:pt x="39" y="16"/>
                  </a:lnTo>
                  <a:lnTo>
                    <a:pt x="39" y="9"/>
                  </a:lnTo>
                  <a:lnTo>
                    <a:pt x="39" y="9"/>
                  </a:lnTo>
                  <a:lnTo>
                    <a:pt x="39" y="0"/>
                  </a:lnTo>
                  <a:lnTo>
                    <a:pt x="39" y="0"/>
                  </a:lnTo>
                  <a:lnTo>
                    <a:pt x="32" y="0"/>
                  </a:lnTo>
                  <a:lnTo>
                    <a:pt x="29" y="1"/>
                  </a:lnTo>
                  <a:lnTo>
                    <a:pt x="25" y="3"/>
                  </a:lnTo>
                  <a:lnTo>
                    <a:pt x="25" y="3"/>
                  </a:lnTo>
                  <a:lnTo>
                    <a:pt x="16" y="7"/>
                  </a:lnTo>
                  <a:lnTo>
                    <a:pt x="16" y="7"/>
                  </a:lnTo>
                  <a:lnTo>
                    <a:pt x="19" y="22"/>
                  </a:lnTo>
                  <a:lnTo>
                    <a:pt x="19" y="22"/>
                  </a:lnTo>
                  <a:lnTo>
                    <a:pt x="22" y="42"/>
                  </a:lnTo>
                  <a:lnTo>
                    <a:pt x="22" y="42"/>
                  </a:lnTo>
                  <a:lnTo>
                    <a:pt x="22" y="45"/>
                  </a:lnTo>
                  <a:lnTo>
                    <a:pt x="20" y="46"/>
                  </a:lnTo>
                  <a:lnTo>
                    <a:pt x="14" y="51"/>
                  </a:lnTo>
                  <a:lnTo>
                    <a:pt x="3" y="53"/>
                  </a:lnTo>
                  <a:lnTo>
                    <a:pt x="3" y="53"/>
                  </a:lnTo>
                  <a:lnTo>
                    <a:pt x="0" y="56"/>
                  </a:lnTo>
                  <a:lnTo>
                    <a:pt x="0" y="56"/>
                  </a:lnTo>
                  <a:lnTo>
                    <a:pt x="3" y="65"/>
                  </a:lnTo>
                  <a:lnTo>
                    <a:pt x="3" y="65"/>
                  </a:lnTo>
                  <a:lnTo>
                    <a:pt x="4" y="77"/>
                  </a:lnTo>
                  <a:lnTo>
                    <a:pt x="7" y="88"/>
                  </a:lnTo>
                  <a:lnTo>
                    <a:pt x="7" y="88"/>
                  </a:lnTo>
                  <a:lnTo>
                    <a:pt x="10" y="94"/>
                  </a:lnTo>
                  <a:lnTo>
                    <a:pt x="13" y="98"/>
                  </a:lnTo>
                  <a:lnTo>
                    <a:pt x="14" y="104"/>
                  </a:lnTo>
                  <a:lnTo>
                    <a:pt x="14" y="104"/>
                  </a:lnTo>
                  <a:lnTo>
                    <a:pt x="16" y="110"/>
                  </a:lnTo>
                  <a:lnTo>
                    <a:pt x="19" y="114"/>
                  </a:lnTo>
                  <a:lnTo>
                    <a:pt x="25" y="123"/>
                  </a:lnTo>
                  <a:lnTo>
                    <a:pt x="25" y="123"/>
                  </a:lnTo>
                  <a:lnTo>
                    <a:pt x="30" y="124"/>
                  </a:lnTo>
                  <a:lnTo>
                    <a:pt x="30" y="124"/>
                  </a:lnTo>
                  <a:lnTo>
                    <a:pt x="38" y="129"/>
                  </a:lnTo>
                  <a:lnTo>
                    <a:pt x="46" y="135"/>
                  </a:lnTo>
                  <a:lnTo>
                    <a:pt x="56" y="142"/>
                  </a:lnTo>
                  <a:lnTo>
                    <a:pt x="64" y="145"/>
                  </a:lnTo>
                  <a:lnTo>
                    <a:pt x="64" y="145"/>
                  </a:lnTo>
                  <a:lnTo>
                    <a:pt x="68" y="143"/>
                  </a:lnTo>
                  <a:lnTo>
                    <a:pt x="68" y="143"/>
                  </a:lnTo>
                  <a:lnTo>
                    <a:pt x="72" y="143"/>
                  </a:lnTo>
                  <a:lnTo>
                    <a:pt x="72" y="145"/>
                  </a:lnTo>
                  <a:lnTo>
                    <a:pt x="74" y="148"/>
                  </a:lnTo>
                  <a:lnTo>
                    <a:pt x="74" y="148"/>
                  </a:lnTo>
                  <a:lnTo>
                    <a:pt x="74" y="162"/>
                  </a:lnTo>
                  <a:lnTo>
                    <a:pt x="75" y="169"/>
                  </a:lnTo>
                  <a:lnTo>
                    <a:pt x="77" y="172"/>
                  </a:lnTo>
                  <a:lnTo>
                    <a:pt x="78" y="174"/>
                  </a:lnTo>
                  <a:lnTo>
                    <a:pt x="78" y="174"/>
                  </a:lnTo>
                  <a:lnTo>
                    <a:pt x="81" y="171"/>
                  </a:lnTo>
                  <a:lnTo>
                    <a:pt x="82" y="169"/>
                  </a:lnTo>
                  <a:lnTo>
                    <a:pt x="82" y="171"/>
                  </a:lnTo>
                  <a:lnTo>
                    <a:pt x="82" y="171"/>
                  </a:lnTo>
                  <a:lnTo>
                    <a:pt x="85" y="175"/>
                  </a:lnTo>
                  <a:lnTo>
                    <a:pt x="85" y="175"/>
                  </a:lnTo>
                  <a:lnTo>
                    <a:pt x="95" y="175"/>
                  </a:lnTo>
                  <a:lnTo>
                    <a:pt x="95" y="175"/>
                  </a:lnTo>
                  <a:lnTo>
                    <a:pt x="106" y="175"/>
                  </a:lnTo>
                  <a:lnTo>
                    <a:pt x="106" y="175"/>
                  </a:lnTo>
                  <a:lnTo>
                    <a:pt x="110" y="177"/>
                  </a:lnTo>
                  <a:lnTo>
                    <a:pt x="114" y="179"/>
                  </a:lnTo>
                  <a:lnTo>
                    <a:pt x="119" y="181"/>
                  </a:lnTo>
                  <a:lnTo>
                    <a:pt x="120" y="179"/>
                  </a:lnTo>
                  <a:lnTo>
                    <a:pt x="122" y="179"/>
                  </a:lnTo>
                  <a:lnTo>
                    <a:pt x="122" y="179"/>
                  </a:lnTo>
                  <a:lnTo>
                    <a:pt x="126" y="178"/>
                  </a:lnTo>
                  <a:lnTo>
                    <a:pt x="130" y="178"/>
                  </a:lnTo>
                  <a:lnTo>
                    <a:pt x="130" y="178"/>
                  </a:lnTo>
                  <a:lnTo>
                    <a:pt x="133" y="178"/>
                  </a:lnTo>
                  <a:lnTo>
                    <a:pt x="135" y="177"/>
                  </a:lnTo>
                  <a:lnTo>
                    <a:pt x="136" y="175"/>
                  </a:lnTo>
                  <a:lnTo>
                    <a:pt x="136" y="175"/>
                  </a:lnTo>
                  <a:lnTo>
                    <a:pt x="137" y="172"/>
                  </a:lnTo>
                  <a:lnTo>
                    <a:pt x="139" y="171"/>
                  </a:lnTo>
                  <a:lnTo>
                    <a:pt x="139" y="169"/>
                  </a:lnTo>
                  <a:lnTo>
                    <a:pt x="142" y="168"/>
                  </a:lnTo>
                  <a:lnTo>
                    <a:pt x="142" y="168"/>
                  </a:lnTo>
                  <a:lnTo>
                    <a:pt x="146" y="168"/>
                  </a:lnTo>
                  <a:lnTo>
                    <a:pt x="146" y="168"/>
                  </a:lnTo>
                  <a:lnTo>
                    <a:pt x="151" y="168"/>
                  </a:lnTo>
                  <a:lnTo>
                    <a:pt x="156" y="166"/>
                  </a:lnTo>
                  <a:lnTo>
                    <a:pt x="165" y="164"/>
                  </a:lnTo>
                  <a:lnTo>
                    <a:pt x="175" y="156"/>
                  </a:lnTo>
                  <a:lnTo>
                    <a:pt x="175" y="156"/>
                  </a:lnTo>
                  <a:lnTo>
                    <a:pt x="174" y="155"/>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09" name="Freeform 636"/>
            <p:cNvSpPr>
              <a:spLocks/>
            </p:cNvSpPr>
            <p:nvPr/>
          </p:nvSpPr>
          <p:spPr bwMode="auto">
            <a:xfrm>
              <a:off x="5076826" y="4783567"/>
              <a:ext cx="277813" cy="287338"/>
            </a:xfrm>
            <a:custGeom>
              <a:avLst/>
              <a:gdLst>
                <a:gd name="T0" fmla="*/ 168 w 175"/>
                <a:gd name="T1" fmla="*/ 145 h 181"/>
                <a:gd name="T2" fmla="*/ 159 w 175"/>
                <a:gd name="T3" fmla="*/ 129 h 181"/>
                <a:gd name="T4" fmla="*/ 159 w 175"/>
                <a:gd name="T5" fmla="*/ 100 h 181"/>
                <a:gd name="T6" fmla="*/ 153 w 175"/>
                <a:gd name="T7" fmla="*/ 84 h 181"/>
                <a:gd name="T8" fmla="*/ 153 w 175"/>
                <a:gd name="T9" fmla="*/ 72 h 181"/>
                <a:gd name="T10" fmla="*/ 159 w 175"/>
                <a:gd name="T11" fmla="*/ 59 h 181"/>
                <a:gd name="T12" fmla="*/ 136 w 175"/>
                <a:gd name="T13" fmla="*/ 42 h 181"/>
                <a:gd name="T14" fmla="*/ 129 w 175"/>
                <a:gd name="T15" fmla="*/ 35 h 181"/>
                <a:gd name="T16" fmla="*/ 77 w 175"/>
                <a:gd name="T17" fmla="*/ 7 h 181"/>
                <a:gd name="T18" fmla="*/ 80 w 175"/>
                <a:gd name="T19" fmla="*/ 10 h 181"/>
                <a:gd name="T20" fmla="*/ 80 w 175"/>
                <a:gd name="T21" fmla="*/ 17 h 181"/>
                <a:gd name="T22" fmla="*/ 71 w 175"/>
                <a:gd name="T23" fmla="*/ 19 h 181"/>
                <a:gd name="T24" fmla="*/ 64 w 175"/>
                <a:gd name="T25" fmla="*/ 29 h 181"/>
                <a:gd name="T26" fmla="*/ 49 w 175"/>
                <a:gd name="T27" fmla="*/ 35 h 181"/>
                <a:gd name="T28" fmla="*/ 38 w 175"/>
                <a:gd name="T29" fmla="*/ 29 h 181"/>
                <a:gd name="T30" fmla="*/ 38 w 175"/>
                <a:gd name="T31" fmla="*/ 20 h 181"/>
                <a:gd name="T32" fmla="*/ 39 w 175"/>
                <a:gd name="T33" fmla="*/ 9 h 181"/>
                <a:gd name="T34" fmla="*/ 32 w 175"/>
                <a:gd name="T35" fmla="*/ 0 h 181"/>
                <a:gd name="T36" fmla="*/ 25 w 175"/>
                <a:gd name="T37" fmla="*/ 3 h 181"/>
                <a:gd name="T38" fmla="*/ 19 w 175"/>
                <a:gd name="T39" fmla="*/ 22 h 181"/>
                <a:gd name="T40" fmla="*/ 22 w 175"/>
                <a:gd name="T41" fmla="*/ 42 h 181"/>
                <a:gd name="T42" fmla="*/ 14 w 175"/>
                <a:gd name="T43" fmla="*/ 51 h 181"/>
                <a:gd name="T44" fmla="*/ 0 w 175"/>
                <a:gd name="T45" fmla="*/ 56 h 181"/>
                <a:gd name="T46" fmla="*/ 3 w 175"/>
                <a:gd name="T47" fmla="*/ 65 h 181"/>
                <a:gd name="T48" fmla="*/ 7 w 175"/>
                <a:gd name="T49" fmla="*/ 88 h 181"/>
                <a:gd name="T50" fmla="*/ 14 w 175"/>
                <a:gd name="T51" fmla="*/ 104 h 181"/>
                <a:gd name="T52" fmla="*/ 19 w 175"/>
                <a:gd name="T53" fmla="*/ 114 h 181"/>
                <a:gd name="T54" fmla="*/ 30 w 175"/>
                <a:gd name="T55" fmla="*/ 124 h 181"/>
                <a:gd name="T56" fmla="*/ 46 w 175"/>
                <a:gd name="T57" fmla="*/ 135 h 181"/>
                <a:gd name="T58" fmla="*/ 64 w 175"/>
                <a:gd name="T59" fmla="*/ 145 h 181"/>
                <a:gd name="T60" fmla="*/ 72 w 175"/>
                <a:gd name="T61" fmla="*/ 143 h 181"/>
                <a:gd name="T62" fmla="*/ 74 w 175"/>
                <a:gd name="T63" fmla="*/ 148 h 181"/>
                <a:gd name="T64" fmla="*/ 77 w 175"/>
                <a:gd name="T65" fmla="*/ 172 h 181"/>
                <a:gd name="T66" fmla="*/ 81 w 175"/>
                <a:gd name="T67" fmla="*/ 171 h 181"/>
                <a:gd name="T68" fmla="*/ 82 w 175"/>
                <a:gd name="T69" fmla="*/ 171 h 181"/>
                <a:gd name="T70" fmla="*/ 95 w 175"/>
                <a:gd name="T71" fmla="*/ 175 h 181"/>
                <a:gd name="T72" fmla="*/ 106 w 175"/>
                <a:gd name="T73" fmla="*/ 175 h 181"/>
                <a:gd name="T74" fmla="*/ 119 w 175"/>
                <a:gd name="T75" fmla="*/ 181 h 181"/>
                <a:gd name="T76" fmla="*/ 122 w 175"/>
                <a:gd name="T77" fmla="*/ 179 h 181"/>
                <a:gd name="T78" fmla="*/ 130 w 175"/>
                <a:gd name="T79" fmla="*/ 178 h 181"/>
                <a:gd name="T80" fmla="*/ 136 w 175"/>
                <a:gd name="T81" fmla="*/ 175 h 181"/>
                <a:gd name="T82" fmla="*/ 139 w 175"/>
                <a:gd name="T83" fmla="*/ 171 h 181"/>
                <a:gd name="T84" fmla="*/ 142 w 175"/>
                <a:gd name="T85" fmla="*/ 168 h 181"/>
                <a:gd name="T86" fmla="*/ 151 w 175"/>
                <a:gd name="T87" fmla="*/ 168 h 181"/>
                <a:gd name="T88" fmla="*/ 175 w 175"/>
                <a:gd name="T89" fmla="*/ 156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5" h="181">
                  <a:moveTo>
                    <a:pt x="174" y="155"/>
                  </a:moveTo>
                  <a:lnTo>
                    <a:pt x="174" y="155"/>
                  </a:lnTo>
                  <a:lnTo>
                    <a:pt x="168" y="145"/>
                  </a:lnTo>
                  <a:lnTo>
                    <a:pt x="161" y="136"/>
                  </a:lnTo>
                  <a:lnTo>
                    <a:pt x="161" y="136"/>
                  </a:lnTo>
                  <a:lnTo>
                    <a:pt x="159" y="129"/>
                  </a:lnTo>
                  <a:lnTo>
                    <a:pt x="159" y="117"/>
                  </a:lnTo>
                  <a:lnTo>
                    <a:pt x="159" y="100"/>
                  </a:lnTo>
                  <a:lnTo>
                    <a:pt x="159" y="100"/>
                  </a:lnTo>
                  <a:lnTo>
                    <a:pt x="158" y="95"/>
                  </a:lnTo>
                  <a:lnTo>
                    <a:pt x="156" y="90"/>
                  </a:lnTo>
                  <a:lnTo>
                    <a:pt x="153" y="84"/>
                  </a:lnTo>
                  <a:lnTo>
                    <a:pt x="153" y="80"/>
                  </a:lnTo>
                  <a:lnTo>
                    <a:pt x="153" y="80"/>
                  </a:lnTo>
                  <a:lnTo>
                    <a:pt x="153" y="72"/>
                  </a:lnTo>
                  <a:lnTo>
                    <a:pt x="155" y="68"/>
                  </a:lnTo>
                  <a:lnTo>
                    <a:pt x="155" y="68"/>
                  </a:lnTo>
                  <a:lnTo>
                    <a:pt x="159" y="59"/>
                  </a:lnTo>
                  <a:lnTo>
                    <a:pt x="159" y="59"/>
                  </a:lnTo>
                  <a:lnTo>
                    <a:pt x="143" y="48"/>
                  </a:lnTo>
                  <a:lnTo>
                    <a:pt x="136" y="42"/>
                  </a:lnTo>
                  <a:lnTo>
                    <a:pt x="132" y="38"/>
                  </a:lnTo>
                  <a:lnTo>
                    <a:pt x="132" y="38"/>
                  </a:lnTo>
                  <a:lnTo>
                    <a:pt x="129" y="35"/>
                  </a:lnTo>
                  <a:lnTo>
                    <a:pt x="123" y="32"/>
                  </a:lnTo>
                  <a:lnTo>
                    <a:pt x="109" y="23"/>
                  </a:lnTo>
                  <a:lnTo>
                    <a:pt x="77" y="7"/>
                  </a:lnTo>
                  <a:lnTo>
                    <a:pt x="77" y="7"/>
                  </a:lnTo>
                  <a:lnTo>
                    <a:pt x="80" y="10"/>
                  </a:lnTo>
                  <a:lnTo>
                    <a:pt x="80" y="10"/>
                  </a:lnTo>
                  <a:lnTo>
                    <a:pt x="81" y="14"/>
                  </a:lnTo>
                  <a:lnTo>
                    <a:pt x="81" y="16"/>
                  </a:lnTo>
                  <a:lnTo>
                    <a:pt x="80" y="17"/>
                  </a:lnTo>
                  <a:lnTo>
                    <a:pt x="75" y="19"/>
                  </a:lnTo>
                  <a:lnTo>
                    <a:pt x="75" y="19"/>
                  </a:lnTo>
                  <a:lnTo>
                    <a:pt x="71" y="19"/>
                  </a:lnTo>
                  <a:lnTo>
                    <a:pt x="68" y="22"/>
                  </a:lnTo>
                  <a:lnTo>
                    <a:pt x="64" y="29"/>
                  </a:lnTo>
                  <a:lnTo>
                    <a:pt x="64" y="29"/>
                  </a:lnTo>
                  <a:lnTo>
                    <a:pt x="61" y="32"/>
                  </a:lnTo>
                  <a:lnTo>
                    <a:pt x="58" y="33"/>
                  </a:lnTo>
                  <a:lnTo>
                    <a:pt x="49" y="35"/>
                  </a:lnTo>
                  <a:lnTo>
                    <a:pt x="42" y="33"/>
                  </a:lnTo>
                  <a:lnTo>
                    <a:pt x="39" y="32"/>
                  </a:lnTo>
                  <a:lnTo>
                    <a:pt x="38" y="29"/>
                  </a:lnTo>
                  <a:lnTo>
                    <a:pt x="38" y="29"/>
                  </a:lnTo>
                  <a:lnTo>
                    <a:pt x="38" y="24"/>
                  </a:lnTo>
                  <a:lnTo>
                    <a:pt x="38" y="20"/>
                  </a:lnTo>
                  <a:lnTo>
                    <a:pt x="39" y="16"/>
                  </a:lnTo>
                  <a:lnTo>
                    <a:pt x="39" y="9"/>
                  </a:lnTo>
                  <a:lnTo>
                    <a:pt x="39" y="9"/>
                  </a:lnTo>
                  <a:lnTo>
                    <a:pt x="39" y="0"/>
                  </a:lnTo>
                  <a:lnTo>
                    <a:pt x="39" y="0"/>
                  </a:lnTo>
                  <a:lnTo>
                    <a:pt x="32" y="0"/>
                  </a:lnTo>
                  <a:lnTo>
                    <a:pt x="29" y="1"/>
                  </a:lnTo>
                  <a:lnTo>
                    <a:pt x="25" y="3"/>
                  </a:lnTo>
                  <a:lnTo>
                    <a:pt x="25" y="3"/>
                  </a:lnTo>
                  <a:lnTo>
                    <a:pt x="16" y="7"/>
                  </a:lnTo>
                  <a:lnTo>
                    <a:pt x="16" y="7"/>
                  </a:lnTo>
                  <a:lnTo>
                    <a:pt x="19" y="22"/>
                  </a:lnTo>
                  <a:lnTo>
                    <a:pt x="19" y="22"/>
                  </a:lnTo>
                  <a:lnTo>
                    <a:pt x="22" y="42"/>
                  </a:lnTo>
                  <a:lnTo>
                    <a:pt x="22" y="42"/>
                  </a:lnTo>
                  <a:lnTo>
                    <a:pt x="22" y="45"/>
                  </a:lnTo>
                  <a:lnTo>
                    <a:pt x="20" y="46"/>
                  </a:lnTo>
                  <a:lnTo>
                    <a:pt x="14" y="51"/>
                  </a:lnTo>
                  <a:lnTo>
                    <a:pt x="3" y="53"/>
                  </a:lnTo>
                  <a:lnTo>
                    <a:pt x="3" y="53"/>
                  </a:lnTo>
                  <a:lnTo>
                    <a:pt x="0" y="56"/>
                  </a:lnTo>
                  <a:lnTo>
                    <a:pt x="0" y="56"/>
                  </a:lnTo>
                  <a:lnTo>
                    <a:pt x="3" y="65"/>
                  </a:lnTo>
                  <a:lnTo>
                    <a:pt x="3" y="65"/>
                  </a:lnTo>
                  <a:lnTo>
                    <a:pt x="4" y="77"/>
                  </a:lnTo>
                  <a:lnTo>
                    <a:pt x="7" y="88"/>
                  </a:lnTo>
                  <a:lnTo>
                    <a:pt x="7" y="88"/>
                  </a:lnTo>
                  <a:lnTo>
                    <a:pt x="10" y="94"/>
                  </a:lnTo>
                  <a:lnTo>
                    <a:pt x="13" y="98"/>
                  </a:lnTo>
                  <a:lnTo>
                    <a:pt x="14" y="104"/>
                  </a:lnTo>
                  <a:lnTo>
                    <a:pt x="14" y="104"/>
                  </a:lnTo>
                  <a:lnTo>
                    <a:pt x="16" y="110"/>
                  </a:lnTo>
                  <a:lnTo>
                    <a:pt x="19" y="114"/>
                  </a:lnTo>
                  <a:lnTo>
                    <a:pt x="25" y="123"/>
                  </a:lnTo>
                  <a:lnTo>
                    <a:pt x="25" y="123"/>
                  </a:lnTo>
                  <a:lnTo>
                    <a:pt x="30" y="124"/>
                  </a:lnTo>
                  <a:lnTo>
                    <a:pt x="30" y="124"/>
                  </a:lnTo>
                  <a:lnTo>
                    <a:pt x="38" y="129"/>
                  </a:lnTo>
                  <a:lnTo>
                    <a:pt x="46" y="135"/>
                  </a:lnTo>
                  <a:lnTo>
                    <a:pt x="56" y="142"/>
                  </a:lnTo>
                  <a:lnTo>
                    <a:pt x="64" y="145"/>
                  </a:lnTo>
                  <a:lnTo>
                    <a:pt x="64" y="145"/>
                  </a:lnTo>
                  <a:lnTo>
                    <a:pt x="68" y="143"/>
                  </a:lnTo>
                  <a:lnTo>
                    <a:pt x="68" y="143"/>
                  </a:lnTo>
                  <a:lnTo>
                    <a:pt x="72" y="143"/>
                  </a:lnTo>
                  <a:lnTo>
                    <a:pt x="72" y="145"/>
                  </a:lnTo>
                  <a:lnTo>
                    <a:pt x="74" y="148"/>
                  </a:lnTo>
                  <a:lnTo>
                    <a:pt x="74" y="148"/>
                  </a:lnTo>
                  <a:lnTo>
                    <a:pt x="74" y="162"/>
                  </a:lnTo>
                  <a:lnTo>
                    <a:pt x="75" y="169"/>
                  </a:lnTo>
                  <a:lnTo>
                    <a:pt x="77" y="172"/>
                  </a:lnTo>
                  <a:lnTo>
                    <a:pt x="78" y="174"/>
                  </a:lnTo>
                  <a:lnTo>
                    <a:pt x="78" y="174"/>
                  </a:lnTo>
                  <a:lnTo>
                    <a:pt x="81" y="171"/>
                  </a:lnTo>
                  <a:lnTo>
                    <a:pt x="82" y="169"/>
                  </a:lnTo>
                  <a:lnTo>
                    <a:pt x="82" y="171"/>
                  </a:lnTo>
                  <a:lnTo>
                    <a:pt x="82" y="171"/>
                  </a:lnTo>
                  <a:lnTo>
                    <a:pt x="85" y="175"/>
                  </a:lnTo>
                  <a:lnTo>
                    <a:pt x="85" y="175"/>
                  </a:lnTo>
                  <a:lnTo>
                    <a:pt x="95" y="175"/>
                  </a:lnTo>
                  <a:lnTo>
                    <a:pt x="95" y="175"/>
                  </a:lnTo>
                  <a:lnTo>
                    <a:pt x="106" y="175"/>
                  </a:lnTo>
                  <a:lnTo>
                    <a:pt x="106" y="175"/>
                  </a:lnTo>
                  <a:lnTo>
                    <a:pt x="110" y="177"/>
                  </a:lnTo>
                  <a:lnTo>
                    <a:pt x="114" y="179"/>
                  </a:lnTo>
                  <a:lnTo>
                    <a:pt x="119" y="181"/>
                  </a:lnTo>
                  <a:lnTo>
                    <a:pt x="120" y="179"/>
                  </a:lnTo>
                  <a:lnTo>
                    <a:pt x="122" y="179"/>
                  </a:lnTo>
                  <a:lnTo>
                    <a:pt x="122" y="179"/>
                  </a:lnTo>
                  <a:lnTo>
                    <a:pt x="126" y="178"/>
                  </a:lnTo>
                  <a:lnTo>
                    <a:pt x="130" y="178"/>
                  </a:lnTo>
                  <a:lnTo>
                    <a:pt x="130" y="178"/>
                  </a:lnTo>
                  <a:lnTo>
                    <a:pt x="133" y="178"/>
                  </a:lnTo>
                  <a:lnTo>
                    <a:pt x="135" y="177"/>
                  </a:lnTo>
                  <a:lnTo>
                    <a:pt x="136" y="175"/>
                  </a:lnTo>
                  <a:lnTo>
                    <a:pt x="136" y="175"/>
                  </a:lnTo>
                  <a:lnTo>
                    <a:pt x="137" y="172"/>
                  </a:lnTo>
                  <a:lnTo>
                    <a:pt x="139" y="171"/>
                  </a:lnTo>
                  <a:lnTo>
                    <a:pt x="139" y="169"/>
                  </a:lnTo>
                  <a:lnTo>
                    <a:pt x="142" y="168"/>
                  </a:lnTo>
                  <a:lnTo>
                    <a:pt x="142" y="168"/>
                  </a:lnTo>
                  <a:lnTo>
                    <a:pt x="146" y="168"/>
                  </a:lnTo>
                  <a:lnTo>
                    <a:pt x="146" y="168"/>
                  </a:lnTo>
                  <a:lnTo>
                    <a:pt x="151" y="168"/>
                  </a:lnTo>
                  <a:lnTo>
                    <a:pt x="156" y="166"/>
                  </a:lnTo>
                  <a:lnTo>
                    <a:pt x="165" y="164"/>
                  </a:lnTo>
                  <a:lnTo>
                    <a:pt x="175" y="156"/>
                  </a:lnTo>
                  <a:lnTo>
                    <a:pt x="175" y="156"/>
                  </a:lnTo>
                  <a:lnTo>
                    <a:pt x="174" y="15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10" name="Freeform 637"/>
            <p:cNvSpPr>
              <a:spLocks/>
            </p:cNvSpPr>
            <p:nvPr/>
          </p:nvSpPr>
          <p:spPr bwMode="auto">
            <a:xfrm>
              <a:off x="5060951" y="4794679"/>
              <a:ext cx="46038" cy="44450"/>
            </a:xfrm>
            <a:custGeom>
              <a:avLst/>
              <a:gdLst>
                <a:gd name="T0" fmla="*/ 11 w 29"/>
                <a:gd name="T1" fmla="*/ 28 h 28"/>
                <a:gd name="T2" fmla="*/ 11 w 29"/>
                <a:gd name="T3" fmla="*/ 28 h 28"/>
                <a:gd name="T4" fmla="*/ 11 w 29"/>
                <a:gd name="T5" fmla="*/ 28 h 28"/>
                <a:gd name="T6" fmla="*/ 11 w 29"/>
                <a:gd name="T7" fmla="*/ 28 h 28"/>
                <a:gd name="T8" fmla="*/ 10 w 29"/>
                <a:gd name="T9" fmla="*/ 28 h 28"/>
                <a:gd name="T10" fmla="*/ 10 w 29"/>
                <a:gd name="T11" fmla="*/ 28 h 28"/>
                <a:gd name="T12" fmla="*/ 10 w 29"/>
                <a:gd name="T13" fmla="*/ 28 h 28"/>
                <a:gd name="T14" fmla="*/ 10 w 29"/>
                <a:gd name="T15" fmla="*/ 28 h 28"/>
                <a:gd name="T16" fmla="*/ 0 w 29"/>
                <a:gd name="T17" fmla="*/ 22 h 28"/>
                <a:gd name="T18" fmla="*/ 0 w 29"/>
                <a:gd name="T19" fmla="*/ 22 h 28"/>
                <a:gd name="T20" fmla="*/ 0 w 29"/>
                <a:gd name="T21" fmla="*/ 10 h 28"/>
                <a:gd name="T22" fmla="*/ 0 w 29"/>
                <a:gd name="T23" fmla="*/ 10 h 28"/>
                <a:gd name="T24" fmla="*/ 1 w 29"/>
                <a:gd name="T25" fmla="*/ 2 h 28"/>
                <a:gd name="T26" fmla="*/ 1 w 29"/>
                <a:gd name="T27" fmla="*/ 2 h 28"/>
                <a:gd name="T28" fmla="*/ 8 w 29"/>
                <a:gd name="T29" fmla="*/ 3 h 28"/>
                <a:gd name="T30" fmla="*/ 13 w 29"/>
                <a:gd name="T31" fmla="*/ 4 h 28"/>
                <a:gd name="T32" fmla="*/ 13 w 29"/>
                <a:gd name="T33" fmla="*/ 4 h 28"/>
                <a:gd name="T34" fmla="*/ 19 w 29"/>
                <a:gd name="T35" fmla="*/ 3 h 28"/>
                <a:gd name="T36" fmla="*/ 26 w 29"/>
                <a:gd name="T37" fmla="*/ 0 h 28"/>
                <a:gd name="T38" fmla="*/ 26 w 29"/>
                <a:gd name="T39" fmla="*/ 0 h 28"/>
                <a:gd name="T40" fmla="*/ 29 w 29"/>
                <a:gd name="T41" fmla="*/ 15 h 28"/>
                <a:gd name="T42" fmla="*/ 29 w 29"/>
                <a:gd name="T43" fmla="*/ 16 h 28"/>
                <a:gd name="T44" fmla="*/ 29 w 29"/>
                <a:gd name="T45" fmla="*/ 16 h 28"/>
                <a:gd name="T46" fmla="*/ 29 w 29"/>
                <a:gd name="T47" fmla="*/ 16 h 28"/>
                <a:gd name="T48" fmla="*/ 29 w 29"/>
                <a:gd name="T49" fmla="*/ 16 h 28"/>
                <a:gd name="T50" fmla="*/ 29 w 29"/>
                <a:gd name="T51" fmla="*/ 16 h 28"/>
                <a:gd name="T52" fmla="*/ 29 w 29"/>
                <a:gd name="T53" fmla="*/ 16 h 28"/>
                <a:gd name="T54" fmla="*/ 29 w 29"/>
                <a:gd name="T55" fmla="*/ 16 h 28"/>
                <a:gd name="T56" fmla="*/ 21 w 29"/>
                <a:gd name="T57" fmla="*/ 15 h 28"/>
                <a:gd name="T58" fmla="*/ 21 w 29"/>
                <a:gd name="T59" fmla="*/ 15 h 28"/>
                <a:gd name="T60" fmla="*/ 21 w 29"/>
                <a:gd name="T61" fmla="*/ 15 h 28"/>
                <a:gd name="T62" fmla="*/ 21 w 29"/>
                <a:gd name="T63" fmla="*/ 15 h 28"/>
                <a:gd name="T64" fmla="*/ 17 w 29"/>
                <a:gd name="T65" fmla="*/ 16 h 28"/>
                <a:gd name="T66" fmla="*/ 14 w 29"/>
                <a:gd name="T67" fmla="*/ 17 h 28"/>
                <a:gd name="T68" fmla="*/ 14 w 29"/>
                <a:gd name="T69" fmla="*/ 17 h 28"/>
                <a:gd name="T70" fmla="*/ 14 w 29"/>
                <a:gd name="T71" fmla="*/ 17 h 28"/>
                <a:gd name="T72" fmla="*/ 14 w 29"/>
                <a:gd name="T73" fmla="*/ 17 h 28"/>
                <a:gd name="T74" fmla="*/ 14 w 29"/>
                <a:gd name="T75" fmla="*/ 19 h 28"/>
                <a:gd name="T76" fmla="*/ 14 w 29"/>
                <a:gd name="T77" fmla="*/ 19 h 28"/>
                <a:gd name="T78" fmla="*/ 14 w 29"/>
                <a:gd name="T79" fmla="*/ 19 h 28"/>
                <a:gd name="T80" fmla="*/ 14 w 29"/>
                <a:gd name="T81" fmla="*/ 19 h 28"/>
                <a:gd name="T82" fmla="*/ 14 w 29"/>
                <a:gd name="T83" fmla="*/ 19 h 28"/>
                <a:gd name="T84" fmla="*/ 14 w 29"/>
                <a:gd name="T85" fmla="*/ 19 h 28"/>
                <a:gd name="T86" fmla="*/ 14 w 29"/>
                <a:gd name="T87" fmla="*/ 19 h 28"/>
                <a:gd name="T88" fmla="*/ 14 w 29"/>
                <a:gd name="T89" fmla="*/ 19 h 28"/>
                <a:gd name="T90" fmla="*/ 14 w 29"/>
                <a:gd name="T91" fmla="*/ 25 h 28"/>
                <a:gd name="T92" fmla="*/ 13 w 29"/>
                <a:gd name="T93" fmla="*/ 28 h 28"/>
                <a:gd name="T94" fmla="*/ 11 w 29"/>
                <a:gd name="T95" fmla="*/ 28 h 28"/>
                <a:gd name="T96" fmla="*/ 11 w 29"/>
                <a:gd name="T97" fmla="*/ 28 h 28"/>
                <a:gd name="T98" fmla="*/ 11 w 29"/>
                <a:gd name="T9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 h="28">
                  <a:moveTo>
                    <a:pt x="11" y="28"/>
                  </a:moveTo>
                  <a:lnTo>
                    <a:pt x="11" y="28"/>
                  </a:lnTo>
                  <a:lnTo>
                    <a:pt x="11" y="28"/>
                  </a:lnTo>
                  <a:lnTo>
                    <a:pt x="11" y="28"/>
                  </a:lnTo>
                  <a:lnTo>
                    <a:pt x="10" y="28"/>
                  </a:lnTo>
                  <a:lnTo>
                    <a:pt x="10" y="28"/>
                  </a:lnTo>
                  <a:lnTo>
                    <a:pt x="10" y="28"/>
                  </a:lnTo>
                  <a:lnTo>
                    <a:pt x="10" y="28"/>
                  </a:lnTo>
                  <a:lnTo>
                    <a:pt x="0" y="22"/>
                  </a:lnTo>
                  <a:lnTo>
                    <a:pt x="0" y="22"/>
                  </a:lnTo>
                  <a:lnTo>
                    <a:pt x="0" y="10"/>
                  </a:lnTo>
                  <a:lnTo>
                    <a:pt x="0" y="10"/>
                  </a:lnTo>
                  <a:lnTo>
                    <a:pt x="1" y="2"/>
                  </a:lnTo>
                  <a:lnTo>
                    <a:pt x="1" y="2"/>
                  </a:lnTo>
                  <a:lnTo>
                    <a:pt x="8" y="3"/>
                  </a:lnTo>
                  <a:lnTo>
                    <a:pt x="13" y="4"/>
                  </a:lnTo>
                  <a:lnTo>
                    <a:pt x="13" y="4"/>
                  </a:lnTo>
                  <a:lnTo>
                    <a:pt x="19" y="3"/>
                  </a:lnTo>
                  <a:lnTo>
                    <a:pt x="26" y="0"/>
                  </a:lnTo>
                  <a:lnTo>
                    <a:pt x="26" y="0"/>
                  </a:lnTo>
                  <a:lnTo>
                    <a:pt x="29" y="15"/>
                  </a:lnTo>
                  <a:lnTo>
                    <a:pt x="29" y="16"/>
                  </a:lnTo>
                  <a:lnTo>
                    <a:pt x="29" y="16"/>
                  </a:lnTo>
                  <a:lnTo>
                    <a:pt x="29" y="16"/>
                  </a:lnTo>
                  <a:lnTo>
                    <a:pt x="29" y="16"/>
                  </a:lnTo>
                  <a:lnTo>
                    <a:pt x="29" y="16"/>
                  </a:lnTo>
                  <a:lnTo>
                    <a:pt x="29" y="16"/>
                  </a:lnTo>
                  <a:lnTo>
                    <a:pt x="29" y="16"/>
                  </a:lnTo>
                  <a:lnTo>
                    <a:pt x="21" y="15"/>
                  </a:lnTo>
                  <a:lnTo>
                    <a:pt x="21" y="15"/>
                  </a:lnTo>
                  <a:lnTo>
                    <a:pt x="21" y="15"/>
                  </a:lnTo>
                  <a:lnTo>
                    <a:pt x="21" y="15"/>
                  </a:lnTo>
                  <a:lnTo>
                    <a:pt x="17" y="16"/>
                  </a:lnTo>
                  <a:lnTo>
                    <a:pt x="14" y="17"/>
                  </a:lnTo>
                  <a:lnTo>
                    <a:pt x="14" y="17"/>
                  </a:lnTo>
                  <a:lnTo>
                    <a:pt x="14" y="17"/>
                  </a:lnTo>
                  <a:lnTo>
                    <a:pt x="14" y="17"/>
                  </a:lnTo>
                  <a:lnTo>
                    <a:pt x="14" y="19"/>
                  </a:lnTo>
                  <a:lnTo>
                    <a:pt x="14" y="19"/>
                  </a:lnTo>
                  <a:lnTo>
                    <a:pt x="14" y="19"/>
                  </a:lnTo>
                  <a:lnTo>
                    <a:pt x="14" y="19"/>
                  </a:lnTo>
                  <a:lnTo>
                    <a:pt x="14" y="19"/>
                  </a:lnTo>
                  <a:lnTo>
                    <a:pt x="14" y="19"/>
                  </a:lnTo>
                  <a:lnTo>
                    <a:pt x="14" y="19"/>
                  </a:lnTo>
                  <a:lnTo>
                    <a:pt x="14" y="19"/>
                  </a:lnTo>
                  <a:lnTo>
                    <a:pt x="14" y="25"/>
                  </a:lnTo>
                  <a:lnTo>
                    <a:pt x="13" y="28"/>
                  </a:lnTo>
                  <a:lnTo>
                    <a:pt x="11" y="28"/>
                  </a:lnTo>
                  <a:lnTo>
                    <a:pt x="11" y="28"/>
                  </a:lnTo>
                  <a:lnTo>
                    <a:pt x="11" y="28"/>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11" name="Freeform 638"/>
            <p:cNvSpPr>
              <a:spLocks/>
            </p:cNvSpPr>
            <p:nvPr/>
          </p:nvSpPr>
          <p:spPr bwMode="auto">
            <a:xfrm>
              <a:off x="5060951" y="4794679"/>
              <a:ext cx="46038" cy="44450"/>
            </a:xfrm>
            <a:custGeom>
              <a:avLst/>
              <a:gdLst>
                <a:gd name="T0" fmla="*/ 11 w 29"/>
                <a:gd name="T1" fmla="*/ 28 h 28"/>
                <a:gd name="T2" fmla="*/ 11 w 29"/>
                <a:gd name="T3" fmla="*/ 28 h 28"/>
                <a:gd name="T4" fmla="*/ 11 w 29"/>
                <a:gd name="T5" fmla="*/ 28 h 28"/>
                <a:gd name="T6" fmla="*/ 11 w 29"/>
                <a:gd name="T7" fmla="*/ 28 h 28"/>
                <a:gd name="T8" fmla="*/ 10 w 29"/>
                <a:gd name="T9" fmla="*/ 28 h 28"/>
                <a:gd name="T10" fmla="*/ 10 w 29"/>
                <a:gd name="T11" fmla="*/ 28 h 28"/>
                <a:gd name="T12" fmla="*/ 10 w 29"/>
                <a:gd name="T13" fmla="*/ 28 h 28"/>
                <a:gd name="T14" fmla="*/ 10 w 29"/>
                <a:gd name="T15" fmla="*/ 28 h 28"/>
                <a:gd name="T16" fmla="*/ 0 w 29"/>
                <a:gd name="T17" fmla="*/ 22 h 28"/>
                <a:gd name="T18" fmla="*/ 0 w 29"/>
                <a:gd name="T19" fmla="*/ 22 h 28"/>
                <a:gd name="T20" fmla="*/ 0 w 29"/>
                <a:gd name="T21" fmla="*/ 10 h 28"/>
                <a:gd name="T22" fmla="*/ 0 w 29"/>
                <a:gd name="T23" fmla="*/ 10 h 28"/>
                <a:gd name="T24" fmla="*/ 1 w 29"/>
                <a:gd name="T25" fmla="*/ 2 h 28"/>
                <a:gd name="T26" fmla="*/ 1 w 29"/>
                <a:gd name="T27" fmla="*/ 2 h 28"/>
                <a:gd name="T28" fmla="*/ 8 w 29"/>
                <a:gd name="T29" fmla="*/ 3 h 28"/>
                <a:gd name="T30" fmla="*/ 13 w 29"/>
                <a:gd name="T31" fmla="*/ 4 h 28"/>
                <a:gd name="T32" fmla="*/ 13 w 29"/>
                <a:gd name="T33" fmla="*/ 4 h 28"/>
                <a:gd name="T34" fmla="*/ 19 w 29"/>
                <a:gd name="T35" fmla="*/ 3 h 28"/>
                <a:gd name="T36" fmla="*/ 26 w 29"/>
                <a:gd name="T37" fmla="*/ 0 h 28"/>
                <a:gd name="T38" fmla="*/ 26 w 29"/>
                <a:gd name="T39" fmla="*/ 0 h 28"/>
                <a:gd name="T40" fmla="*/ 29 w 29"/>
                <a:gd name="T41" fmla="*/ 15 h 28"/>
                <a:gd name="T42" fmla="*/ 29 w 29"/>
                <a:gd name="T43" fmla="*/ 16 h 28"/>
                <a:gd name="T44" fmla="*/ 29 w 29"/>
                <a:gd name="T45" fmla="*/ 16 h 28"/>
                <a:gd name="T46" fmla="*/ 29 w 29"/>
                <a:gd name="T47" fmla="*/ 16 h 28"/>
                <a:gd name="T48" fmla="*/ 29 w 29"/>
                <a:gd name="T49" fmla="*/ 16 h 28"/>
                <a:gd name="T50" fmla="*/ 29 w 29"/>
                <a:gd name="T51" fmla="*/ 16 h 28"/>
                <a:gd name="T52" fmla="*/ 29 w 29"/>
                <a:gd name="T53" fmla="*/ 16 h 28"/>
                <a:gd name="T54" fmla="*/ 29 w 29"/>
                <a:gd name="T55" fmla="*/ 16 h 28"/>
                <a:gd name="T56" fmla="*/ 21 w 29"/>
                <a:gd name="T57" fmla="*/ 15 h 28"/>
                <a:gd name="T58" fmla="*/ 21 w 29"/>
                <a:gd name="T59" fmla="*/ 15 h 28"/>
                <a:gd name="T60" fmla="*/ 21 w 29"/>
                <a:gd name="T61" fmla="*/ 15 h 28"/>
                <a:gd name="T62" fmla="*/ 21 w 29"/>
                <a:gd name="T63" fmla="*/ 15 h 28"/>
                <a:gd name="T64" fmla="*/ 17 w 29"/>
                <a:gd name="T65" fmla="*/ 16 h 28"/>
                <a:gd name="T66" fmla="*/ 14 w 29"/>
                <a:gd name="T67" fmla="*/ 17 h 28"/>
                <a:gd name="T68" fmla="*/ 14 w 29"/>
                <a:gd name="T69" fmla="*/ 17 h 28"/>
                <a:gd name="T70" fmla="*/ 14 w 29"/>
                <a:gd name="T71" fmla="*/ 17 h 28"/>
                <a:gd name="T72" fmla="*/ 14 w 29"/>
                <a:gd name="T73" fmla="*/ 17 h 28"/>
                <a:gd name="T74" fmla="*/ 14 w 29"/>
                <a:gd name="T75" fmla="*/ 19 h 28"/>
                <a:gd name="T76" fmla="*/ 14 w 29"/>
                <a:gd name="T77" fmla="*/ 19 h 28"/>
                <a:gd name="T78" fmla="*/ 14 w 29"/>
                <a:gd name="T79" fmla="*/ 19 h 28"/>
                <a:gd name="T80" fmla="*/ 14 w 29"/>
                <a:gd name="T81" fmla="*/ 19 h 28"/>
                <a:gd name="T82" fmla="*/ 14 w 29"/>
                <a:gd name="T83" fmla="*/ 19 h 28"/>
                <a:gd name="T84" fmla="*/ 14 w 29"/>
                <a:gd name="T85" fmla="*/ 19 h 28"/>
                <a:gd name="T86" fmla="*/ 14 w 29"/>
                <a:gd name="T87" fmla="*/ 19 h 28"/>
                <a:gd name="T88" fmla="*/ 14 w 29"/>
                <a:gd name="T89" fmla="*/ 19 h 28"/>
                <a:gd name="T90" fmla="*/ 14 w 29"/>
                <a:gd name="T91" fmla="*/ 25 h 28"/>
                <a:gd name="T92" fmla="*/ 13 w 29"/>
                <a:gd name="T93" fmla="*/ 28 h 28"/>
                <a:gd name="T94" fmla="*/ 11 w 29"/>
                <a:gd name="T95" fmla="*/ 28 h 28"/>
                <a:gd name="T96" fmla="*/ 11 w 29"/>
                <a:gd name="T97" fmla="*/ 28 h 28"/>
                <a:gd name="T98" fmla="*/ 11 w 29"/>
                <a:gd name="T9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 h="28">
                  <a:moveTo>
                    <a:pt x="11" y="28"/>
                  </a:moveTo>
                  <a:lnTo>
                    <a:pt x="11" y="28"/>
                  </a:lnTo>
                  <a:lnTo>
                    <a:pt x="11" y="28"/>
                  </a:lnTo>
                  <a:lnTo>
                    <a:pt x="11" y="28"/>
                  </a:lnTo>
                  <a:lnTo>
                    <a:pt x="10" y="28"/>
                  </a:lnTo>
                  <a:lnTo>
                    <a:pt x="10" y="28"/>
                  </a:lnTo>
                  <a:lnTo>
                    <a:pt x="10" y="28"/>
                  </a:lnTo>
                  <a:lnTo>
                    <a:pt x="10" y="28"/>
                  </a:lnTo>
                  <a:lnTo>
                    <a:pt x="0" y="22"/>
                  </a:lnTo>
                  <a:lnTo>
                    <a:pt x="0" y="22"/>
                  </a:lnTo>
                  <a:lnTo>
                    <a:pt x="0" y="10"/>
                  </a:lnTo>
                  <a:lnTo>
                    <a:pt x="0" y="10"/>
                  </a:lnTo>
                  <a:lnTo>
                    <a:pt x="1" y="2"/>
                  </a:lnTo>
                  <a:lnTo>
                    <a:pt x="1" y="2"/>
                  </a:lnTo>
                  <a:lnTo>
                    <a:pt x="8" y="3"/>
                  </a:lnTo>
                  <a:lnTo>
                    <a:pt x="13" y="4"/>
                  </a:lnTo>
                  <a:lnTo>
                    <a:pt x="13" y="4"/>
                  </a:lnTo>
                  <a:lnTo>
                    <a:pt x="19" y="3"/>
                  </a:lnTo>
                  <a:lnTo>
                    <a:pt x="26" y="0"/>
                  </a:lnTo>
                  <a:lnTo>
                    <a:pt x="26" y="0"/>
                  </a:lnTo>
                  <a:lnTo>
                    <a:pt x="29" y="15"/>
                  </a:lnTo>
                  <a:lnTo>
                    <a:pt x="29" y="16"/>
                  </a:lnTo>
                  <a:lnTo>
                    <a:pt x="29" y="16"/>
                  </a:lnTo>
                  <a:lnTo>
                    <a:pt x="29" y="16"/>
                  </a:lnTo>
                  <a:lnTo>
                    <a:pt x="29" y="16"/>
                  </a:lnTo>
                  <a:lnTo>
                    <a:pt x="29" y="16"/>
                  </a:lnTo>
                  <a:lnTo>
                    <a:pt x="29" y="16"/>
                  </a:lnTo>
                  <a:lnTo>
                    <a:pt x="29" y="16"/>
                  </a:lnTo>
                  <a:lnTo>
                    <a:pt x="21" y="15"/>
                  </a:lnTo>
                  <a:lnTo>
                    <a:pt x="21" y="15"/>
                  </a:lnTo>
                  <a:lnTo>
                    <a:pt x="21" y="15"/>
                  </a:lnTo>
                  <a:lnTo>
                    <a:pt x="21" y="15"/>
                  </a:lnTo>
                  <a:lnTo>
                    <a:pt x="17" y="16"/>
                  </a:lnTo>
                  <a:lnTo>
                    <a:pt x="14" y="17"/>
                  </a:lnTo>
                  <a:lnTo>
                    <a:pt x="14" y="17"/>
                  </a:lnTo>
                  <a:lnTo>
                    <a:pt x="14" y="17"/>
                  </a:lnTo>
                  <a:lnTo>
                    <a:pt x="14" y="17"/>
                  </a:lnTo>
                  <a:lnTo>
                    <a:pt x="14" y="19"/>
                  </a:lnTo>
                  <a:lnTo>
                    <a:pt x="14" y="19"/>
                  </a:lnTo>
                  <a:lnTo>
                    <a:pt x="14" y="19"/>
                  </a:lnTo>
                  <a:lnTo>
                    <a:pt x="14" y="19"/>
                  </a:lnTo>
                  <a:lnTo>
                    <a:pt x="14" y="19"/>
                  </a:lnTo>
                  <a:lnTo>
                    <a:pt x="14" y="19"/>
                  </a:lnTo>
                  <a:lnTo>
                    <a:pt x="14" y="19"/>
                  </a:lnTo>
                  <a:lnTo>
                    <a:pt x="14" y="19"/>
                  </a:lnTo>
                  <a:lnTo>
                    <a:pt x="14" y="25"/>
                  </a:lnTo>
                  <a:lnTo>
                    <a:pt x="13" y="28"/>
                  </a:lnTo>
                  <a:lnTo>
                    <a:pt x="11" y="28"/>
                  </a:lnTo>
                  <a:lnTo>
                    <a:pt x="11" y="28"/>
                  </a:lnTo>
                  <a:lnTo>
                    <a:pt x="11"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12" name="Freeform 639"/>
            <p:cNvSpPr>
              <a:spLocks/>
            </p:cNvSpPr>
            <p:nvPr/>
          </p:nvSpPr>
          <p:spPr bwMode="auto">
            <a:xfrm>
              <a:off x="5057776" y="4810554"/>
              <a:ext cx="3175" cy="19050"/>
            </a:xfrm>
            <a:custGeom>
              <a:avLst/>
              <a:gdLst>
                <a:gd name="T0" fmla="*/ 2 w 2"/>
                <a:gd name="T1" fmla="*/ 12 h 12"/>
                <a:gd name="T2" fmla="*/ 2 w 2"/>
                <a:gd name="T3" fmla="*/ 12 h 12"/>
                <a:gd name="T4" fmla="*/ 0 w 2"/>
                <a:gd name="T5" fmla="*/ 12 h 12"/>
                <a:gd name="T6" fmla="*/ 0 w 2"/>
                <a:gd name="T7" fmla="*/ 12 h 12"/>
                <a:gd name="T8" fmla="*/ 2 w 2"/>
                <a:gd name="T9" fmla="*/ 0 h 12"/>
                <a:gd name="T10" fmla="*/ 2 w 2"/>
                <a:gd name="T11" fmla="*/ 0 h 12"/>
                <a:gd name="T12" fmla="*/ 2 w 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 h="12">
                  <a:moveTo>
                    <a:pt x="2" y="12"/>
                  </a:moveTo>
                  <a:lnTo>
                    <a:pt x="2" y="12"/>
                  </a:lnTo>
                  <a:lnTo>
                    <a:pt x="0" y="12"/>
                  </a:lnTo>
                  <a:lnTo>
                    <a:pt x="0" y="12"/>
                  </a:lnTo>
                  <a:lnTo>
                    <a:pt x="2" y="0"/>
                  </a:lnTo>
                  <a:lnTo>
                    <a:pt x="2" y="0"/>
                  </a:lnTo>
                  <a:lnTo>
                    <a:pt x="2" y="12"/>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13" name="Freeform 640"/>
            <p:cNvSpPr>
              <a:spLocks/>
            </p:cNvSpPr>
            <p:nvPr/>
          </p:nvSpPr>
          <p:spPr bwMode="auto">
            <a:xfrm>
              <a:off x="5057776" y="4810554"/>
              <a:ext cx="3175" cy="19050"/>
            </a:xfrm>
            <a:custGeom>
              <a:avLst/>
              <a:gdLst>
                <a:gd name="T0" fmla="*/ 2 w 2"/>
                <a:gd name="T1" fmla="*/ 12 h 12"/>
                <a:gd name="T2" fmla="*/ 2 w 2"/>
                <a:gd name="T3" fmla="*/ 12 h 12"/>
                <a:gd name="T4" fmla="*/ 0 w 2"/>
                <a:gd name="T5" fmla="*/ 12 h 12"/>
                <a:gd name="T6" fmla="*/ 0 w 2"/>
                <a:gd name="T7" fmla="*/ 12 h 12"/>
                <a:gd name="T8" fmla="*/ 2 w 2"/>
                <a:gd name="T9" fmla="*/ 0 h 12"/>
                <a:gd name="T10" fmla="*/ 2 w 2"/>
                <a:gd name="T11" fmla="*/ 0 h 12"/>
                <a:gd name="T12" fmla="*/ 2 w 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 h="12">
                  <a:moveTo>
                    <a:pt x="2" y="12"/>
                  </a:moveTo>
                  <a:lnTo>
                    <a:pt x="2" y="12"/>
                  </a:lnTo>
                  <a:lnTo>
                    <a:pt x="0" y="12"/>
                  </a:lnTo>
                  <a:lnTo>
                    <a:pt x="0" y="12"/>
                  </a:lnTo>
                  <a:lnTo>
                    <a:pt x="2" y="0"/>
                  </a:lnTo>
                  <a:lnTo>
                    <a:pt x="2" y="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14" name="Freeform 641"/>
            <p:cNvSpPr>
              <a:spLocks/>
            </p:cNvSpPr>
            <p:nvPr/>
          </p:nvSpPr>
          <p:spPr bwMode="auto">
            <a:xfrm>
              <a:off x="5057776" y="4818492"/>
              <a:ext cx="53975" cy="53975"/>
            </a:xfrm>
            <a:custGeom>
              <a:avLst/>
              <a:gdLst>
                <a:gd name="T0" fmla="*/ 12 w 34"/>
                <a:gd name="T1" fmla="*/ 34 h 34"/>
                <a:gd name="T2" fmla="*/ 8 w 34"/>
                <a:gd name="T3" fmla="*/ 24 h 34"/>
                <a:gd name="T4" fmla="*/ 5 w 34"/>
                <a:gd name="T5" fmla="*/ 23 h 34"/>
                <a:gd name="T6" fmla="*/ 5 w 34"/>
                <a:gd name="T7" fmla="*/ 24 h 34"/>
                <a:gd name="T8" fmla="*/ 3 w 34"/>
                <a:gd name="T9" fmla="*/ 26 h 34"/>
                <a:gd name="T10" fmla="*/ 0 w 34"/>
                <a:gd name="T11" fmla="*/ 13 h 34"/>
                <a:gd name="T12" fmla="*/ 0 w 34"/>
                <a:gd name="T13" fmla="*/ 10 h 34"/>
                <a:gd name="T14" fmla="*/ 0 w 34"/>
                <a:gd name="T15" fmla="*/ 10 h 34"/>
                <a:gd name="T16" fmla="*/ 2 w 34"/>
                <a:gd name="T17" fmla="*/ 7 h 34"/>
                <a:gd name="T18" fmla="*/ 12 w 34"/>
                <a:gd name="T19" fmla="*/ 13 h 34"/>
                <a:gd name="T20" fmla="*/ 12 w 34"/>
                <a:gd name="T21" fmla="*/ 13 h 34"/>
                <a:gd name="T22" fmla="*/ 13 w 34"/>
                <a:gd name="T23" fmla="*/ 13 h 34"/>
                <a:gd name="T24" fmla="*/ 13 w 34"/>
                <a:gd name="T25" fmla="*/ 13 h 34"/>
                <a:gd name="T26" fmla="*/ 13 w 34"/>
                <a:gd name="T27" fmla="*/ 13 h 34"/>
                <a:gd name="T28" fmla="*/ 15 w 34"/>
                <a:gd name="T29" fmla="*/ 13 h 34"/>
                <a:gd name="T30" fmla="*/ 16 w 34"/>
                <a:gd name="T31" fmla="*/ 4 h 34"/>
                <a:gd name="T32" fmla="*/ 16 w 34"/>
                <a:gd name="T33" fmla="*/ 4 h 34"/>
                <a:gd name="T34" fmla="*/ 16 w 34"/>
                <a:gd name="T35" fmla="*/ 4 h 34"/>
                <a:gd name="T36" fmla="*/ 16 w 34"/>
                <a:gd name="T37" fmla="*/ 4 h 34"/>
                <a:gd name="T38" fmla="*/ 16 w 34"/>
                <a:gd name="T39" fmla="*/ 2 h 34"/>
                <a:gd name="T40" fmla="*/ 16 w 34"/>
                <a:gd name="T41" fmla="*/ 2 h 34"/>
                <a:gd name="T42" fmla="*/ 19 w 34"/>
                <a:gd name="T43" fmla="*/ 1 h 34"/>
                <a:gd name="T44" fmla="*/ 23 w 34"/>
                <a:gd name="T45" fmla="*/ 0 h 34"/>
                <a:gd name="T46" fmla="*/ 23 w 34"/>
                <a:gd name="T47" fmla="*/ 0 h 34"/>
                <a:gd name="T48" fmla="*/ 31 w 34"/>
                <a:gd name="T49" fmla="*/ 1 h 34"/>
                <a:gd name="T50" fmla="*/ 31 w 34"/>
                <a:gd name="T51" fmla="*/ 1 h 34"/>
                <a:gd name="T52" fmla="*/ 31 w 34"/>
                <a:gd name="T53" fmla="*/ 1 h 34"/>
                <a:gd name="T54" fmla="*/ 32 w 34"/>
                <a:gd name="T55" fmla="*/ 5 h 34"/>
                <a:gd name="T56" fmla="*/ 34 w 34"/>
                <a:gd name="T57" fmla="*/ 20 h 34"/>
                <a:gd name="T58" fmla="*/ 34 w 34"/>
                <a:gd name="T59" fmla="*/ 20 h 34"/>
                <a:gd name="T60" fmla="*/ 31 w 34"/>
                <a:gd name="T61" fmla="*/ 26 h 34"/>
                <a:gd name="T62" fmla="*/ 15 w 34"/>
                <a:gd name="T63" fmla="*/ 31 h 34"/>
                <a:gd name="T64" fmla="*/ 12 w 34"/>
                <a:gd name="T6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 h="34">
                  <a:moveTo>
                    <a:pt x="12" y="34"/>
                  </a:moveTo>
                  <a:lnTo>
                    <a:pt x="12" y="34"/>
                  </a:lnTo>
                  <a:lnTo>
                    <a:pt x="10" y="29"/>
                  </a:lnTo>
                  <a:lnTo>
                    <a:pt x="8" y="24"/>
                  </a:lnTo>
                  <a:lnTo>
                    <a:pt x="8" y="24"/>
                  </a:lnTo>
                  <a:lnTo>
                    <a:pt x="5" y="23"/>
                  </a:lnTo>
                  <a:lnTo>
                    <a:pt x="5" y="23"/>
                  </a:lnTo>
                  <a:lnTo>
                    <a:pt x="5" y="24"/>
                  </a:lnTo>
                  <a:lnTo>
                    <a:pt x="3" y="26"/>
                  </a:lnTo>
                  <a:lnTo>
                    <a:pt x="3" y="26"/>
                  </a:lnTo>
                  <a:lnTo>
                    <a:pt x="2" y="18"/>
                  </a:lnTo>
                  <a:lnTo>
                    <a:pt x="0" y="13"/>
                  </a:lnTo>
                  <a:lnTo>
                    <a:pt x="0" y="13"/>
                  </a:lnTo>
                  <a:lnTo>
                    <a:pt x="0" y="10"/>
                  </a:lnTo>
                  <a:lnTo>
                    <a:pt x="0" y="10"/>
                  </a:lnTo>
                  <a:lnTo>
                    <a:pt x="0" y="10"/>
                  </a:lnTo>
                  <a:lnTo>
                    <a:pt x="0" y="10"/>
                  </a:lnTo>
                  <a:lnTo>
                    <a:pt x="2" y="7"/>
                  </a:lnTo>
                  <a:lnTo>
                    <a:pt x="2" y="7"/>
                  </a:lnTo>
                  <a:lnTo>
                    <a:pt x="12" y="13"/>
                  </a:lnTo>
                  <a:lnTo>
                    <a:pt x="12" y="13"/>
                  </a:lnTo>
                  <a:lnTo>
                    <a:pt x="12" y="13"/>
                  </a:lnTo>
                  <a:lnTo>
                    <a:pt x="12" y="13"/>
                  </a:lnTo>
                  <a:lnTo>
                    <a:pt x="13" y="13"/>
                  </a:lnTo>
                  <a:lnTo>
                    <a:pt x="13" y="13"/>
                  </a:lnTo>
                  <a:lnTo>
                    <a:pt x="13" y="13"/>
                  </a:lnTo>
                  <a:lnTo>
                    <a:pt x="13" y="13"/>
                  </a:lnTo>
                  <a:lnTo>
                    <a:pt x="13" y="13"/>
                  </a:lnTo>
                  <a:lnTo>
                    <a:pt x="13" y="13"/>
                  </a:lnTo>
                  <a:lnTo>
                    <a:pt x="15" y="13"/>
                  </a:lnTo>
                  <a:lnTo>
                    <a:pt x="16" y="10"/>
                  </a:lnTo>
                  <a:lnTo>
                    <a:pt x="16" y="4"/>
                  </a:lnTo>
                  <a:lnTo>
                    <a:pt x="16" y="4"/>
                  </a:lnTo>
                  <a:lnTo>
                    <a:pt x="16" y="4"/>
                  </a:lnTo>
                  <a:lnTo>
                    <a:pt x="16" y="4"/>
                  </a:lnTo>
                  <a:lnTo>
                    <a:pt x="16" y="4"/>
                  </a:lnTo>
                  <a:lnTo>
                    <a:pt x="16" y="4"/>
                  </a:lnTo>
                  <a:lnTo>
                    <a:pt x="16" y="4"/>
                  </a:lnTo>
                  <a:lnTo>
                    <a:pt x="16" y="4"/>
                  </a:lnTo>
                  <a:lnTo>
                    <a:pt x="16" y="2"/>
                  </a:lnTo>
                  <a:lnTo>
                    <a:pt x="16" y="2"/>
                  </a:lnTo>
                  <a:lnTo>
                    <a:pt x="16" y="2"/>
                  </a:lnTo>
                  <a:lnTo>
                    <a:pt x="16" y="2"/>
                  </a:lnTo>
                  <a:lnTo>
                    <a:pt x="19" y="1"/>
                  </a:lnTo>
                  <a:lnTo>
                    <a:pt x="23" y="0"/>
                  </a:lnTo>
                  <a:lnTo>
                    <a:pt x="23" y="0"/>
                  </a:lnTo>
                  <a:lnTo>
                    <a:pt x="23" y="0"/>
                  </a:lnTo>
                  <a:lnTo>
                    <a:pt x="23" y="0"/>
                  </a:lnTo>
                  <a:lnTo>
                    <a:pt x="31" y="1"/>
                  </a:lnTo>
                  <a:lnTo>
                    <a:pt x="31" y="1"/>
                  </a:lnTo>
                  <a:lnTo>
                    <a:pt x="31" y="1"/>
                  </a:lnTo>
                  <a:lnTo>
                    <a:pt x="31" y="1"/>
                  </a:lnTo>
                  <a:lnTo>
                    <a:pt x="31" y="1"/>
                  </a:lnTo>
                  <a:lnTo>
                    <a:pt x="31" y="1"/>
                  </a:lnTo>
                  <a:lnTo>
                    <a:pt x="32" y="5"/>
                  </a:lnTo>
                  <a:lnTo>
                    <a:pt x="32" y="5"/>
                  </a:lnTo>
                  <a:lnTo>
                    <a:pt x="34" y="20"/>
                  </a:lnTo>
                  <a:lnTo>
                    <a:pt x="34" y="20"/>
                  </a:lnTo>
                  <a:lnTo>
                    <a:pt x="34" y="20"/>
                  </a:lnTo>
                  <a:lnTo>
                    <a:pt x="34" y="20"/>
                  </a:lnTo>
                  <a:lnTo>
                    <a:pt x="34" y="23"/>
                  </a:lnTo>
                  <a:lnTo>
                    <a:pt x="31" y="26"/>
                  </a:lnTo>
                  <a:lnTo>
                    <a:pt x="26" y="29"/>
                  </a:lnTo>
                  <a:lnTo>
                    <a:pt x="15" y="31"/>
                  </a:lnTo>
                  <a:lnTo>
                    <a:pt x="15" y="31"/>
                  </a:lnTo>
                  <a:lnTo>
                    <a:pt x="12" y="34"/>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15" name="Freeform 642"/>
            <p:cNvSpPr>
              <a:spLocks/>
            </p:cNvSpPr>
            <p:nvPr/>
          </p:nvSpPr>
          <p:spPr bwMode="auto">
            <a:xfrm>
              <a:off x="5057776" y="4818492"/>
              <a:ext cx="53975" cy="53975"/>
            </a:xfrm>
            <a:custGeom>
              <a:avLst/>
              <a:gdLst>
                <a:gd name="T0" fmla="*/ 12 w 34"/>
                <a:gd name="T1" fmla="*/ 34 h 34"/>
                <a:gd name="T2" fmla="*/ 8 w 34"/>
                <a:gd name="T3" fmla="*/ 24 h 34"/>
                <a:gd name="T4" fmla="*/ 5 w 34"/>
                <a:gd name="T5" fmla="*/ 23 h 34"/>
                <a:gd name="T6" fmla="*/ 5 w 34"/>
                <a:gd name="T7" fmla="*/ 24 h 34"/>
                <a:gd name="T8" fmla="*/ 3 w 34"/>
                <a:gd name="T9" fmla="*/ 26 h 34"/>
                <a:gd name="T10" fmla="*/ 0 w 34"/>
                <a:gd name="T11" fmla="*/ 13 h 34"/>
                <a:gd name="T12" fmla="*/ 0 w 34"/>
                <a:gd name="T13" fmla="*/ 10 h 34"/>
                <a:gd name="T14" fmla="*/ 0 w 34"/>
                <a:gd name="T15" fmla="*/ 10 h 34"/>
                <a:gd name="T16" fmla="*/ 2 w 34"/>
                <a:gd name="T17" fmla="*/ 7 h 34"/>
                <a:gd name="T18" fmla="*/ 12 w 34"/>
                <a:gd name="T19" fmla="*/ 13 h 34"/>
                <a:gd name="T20" fmla="*/ 12 w 34"/>
                <a:gd name="T21" fmla="*/ 13 h 34"/>
                <a:gd name="T22" fmla="*/ 13 w 34"/>
                <a:gd name="T23" fmla="*/ 13 h 34"/>
                <a:gd name="T24" fmla="*/ 13 w 34"/>
                <a:gd name="T25" fmla="*/ 13 h 34"/>
                <a:gd name="T26" fmla="*/ 13 w 34"/>
                <a:gd name="T27" fmla="*/ 13 h 34"/>
                <a:gd name="T28" fmla="*/ 15 w 34"/>
                <a:gd name="T29" fmla="*/ 13 h 34"/>
                <a:gd name="T30" fmla="*/ 16 w 34"/>
                <a:gd name="T31" fmla="*/ 4 h 34"/>
                <a:gd name="T32" fmla="*/ 16 w 34"/>
                <a:gd name="T33" fmla="*/ 4 h 34"/>
                <a:gd name="T34" fmla="*/ 16 w 34"/>
                <a:gd name="T35" fmla="*/ 4 h 34"/>
                <a:gd name="T36" fmla="*/ 16 w 34"/>
                <a:gd name="T37" fmla="*/ 4 h 34"/>
                <a:gd name="T38" fmla="*/ 16 w 34"/>
                <a:gd name="T39" fmla="*/ 2 h 34"/>
                <a:gd name="T40" fmla="*/ 16 w 34"/>
                <a:gd name="T41" fmla="*/ 2 h 34"/>
                <a:gd name="T42" fmla="*/ 19 w 34"/>
                <a:gd name="T43" fmla="*/ 1 h 34"/>
                <a:gd name="T44" fmla="*/ 23 w 34"/>
                <a:gd name="T45" fmla="*/ 0 h 34"/>
                <a:gd name="T46" fmla="*/ 23 w 34"/>
                <a:gd name="T47" fmla="*/ 0 h 34"/>
                <a:gd name="T48" fmla="*/ 31 w 34"/>
                <a:gd name="T49" fmla="*/ 1 h 34"/>
                <a:gd name="T50" fmla="*/ 31 w 34"/>
                <a:gd name="T51" fmla="*/ 1 h 34"/>
                <a:gd name="T52" fmla="*/ 31 w 34"/>
                <a:gd name="T53" fmla="*/ 1 h 34"/>
                <a:gd name="T54" fmla="*/ 32 w 34"/>
                <a:gd name="T55" fmla="*/ 5 h 34"/>
                <a:gd name="T56" fmla="*/ 34 w 34"/>
                <a:gd name="T57" fmla="*/ 20 h 34"/>
                <a:gd name="T58" fmla="*/ 34 w 34"/>
                <a:gd name="T59" fmla="*/ 20 h 34"/>
                <a:gd name="T60" fmla="*/ 31 w 34"/>
                <a:gd name="T61" fmla="*/ 26 h 34"/>
                <a:gd name="T62" fmla="*/ 15 w 34"/>
                <a:gd name="T63" fmla="*/ 31 h 34"/>
                <a:gd name="T64" fmla="*/ 12 w 34"/>
                <a:gd name="T6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 h="34">
                  <a:moveTo>
                    <a:pt x="12" y="34"/>
                  </a:moveTo>
                  <a:lnTo>
                    <a:pt x="12" y="34"/>
                  </a:lnTo>
                  <a:lnTo>
                    <a:pt x="10" y="29"/>
                  </a:lnTo>
                  <a:lnTo>
                    <a:pt x="8" y="24"/>
                  </a:lnTo>
                  <a:lnTo>
                    <a:pt x="8" y="24"/>
                  </a:lnTo>
                  <a:lnTo>
                    <a:pt x="5" y="23"/>
                  </a:lnTo>
                  <a:lnTo>
                    <a:pt x="5" y="23"/>
                  </a:lnTo>
                  <a:lnTo>
                    <a:pt x="5" y="24"/>
                  </a:lnTo>
                  <a:lnTo>
                    <a:pt x="3" y="26"/>
                  </a:lnTo>
                  <a:lnTo>
                    <a:pt x="3" y="26"/>
                  </a:lnTo>
                  <a:lnTo>
                    <a:pt x="2" y="18"/>
                  </a:lnTo>
                  <a:lnTo>
                    <a:pt x="0" y="13"/>
                  </a:lnTo>
                  <a:lnTo>
                    <a:pt x="0" y="13"/>
                  </a:lnTo>
                  <a:lnTo>
                    <a:pt x="0" y="10"/>
                  </a:lnTo>
                  <a:lnTo>
                    <a:pt x="0" y="10"/>
                  </a:lnTo>
                  <a:lnTo>
                    <a:pt x="0" y="10"/>
                  </a:lnTo>
                  <a:lnTo>
                    <a:pt x="0" y="10"/>
                  </a:lnTo>
                  <a:lnTo>
                    <a:pt x="2" y="7"/>
                  </a:lnTo>
                  <a:lnTo>
                    <a:pt x="2" y="7"/>
                  </a:lnTo>
                  <a:lnTo>
                    <a:pt x="12" y="13"/>
                  </a:lnTo>
                  <a:lnTo>
                    <a:pt x="12" y="13"/>
                  </a:lnTo>
                  <a:lnTo>
                    <a:pt x="12" y="13"/>
                  </a:lnTo>
                  <a:lnTo>
                    <a:pt x="12" y="13"/>
                  </a:lnTo>
                  <a:lnTo>
                    <a:pt x="13" y="13"/>
                  </a:lnTo>
                  <a:lnTo>
                    <a:pt x="13" y="13"/>
                  </a:lnTo>
                  <a:lnTo>
                    <a:pt x="13" y="13"/>
                  </a:lnTo>
                  <a:lnTo>
                    <a:pt x="13" y="13"/>
                  </a:lnTo>
                  <a:lnTo>
                    <a:pt x="13" y="13"/>
                  </a:lnTo>
                  <a:lnTo>
                    <a:pt x="13" y="13"/>
                  </a:lnTo>
                  <a:lnTo>
                    <a:pt x="15" y="13"/>
                  </a:lnTo>
                  <a:lnTo>
                    <a:pt x="16" y="10"/>
                  </a:lnTo>
                  <a:lnTo>
                    <a:pt x="16" y="4"/>
                  </a:lnTo>
                  <a:lnTo>
                    <a:pt x="16" y="4"/>
                  </a:lnTo>
                  <a:lnTo>
                    <a:pt x="16" y="4"/>
                  </a:lnTo>
                  <a:lnTo>
                    <a:pt x="16" y="4"/>
                  </a:lnTo>
                  <a:lnTo>
                    <a:pt x="16" y="4"/>
                  </a:lnTo>
                  <a:lnTo>
                    <a:pt x="16" y="4"/>
                  </a:lnTo>
                  <a:lnTo>
                    <a:pt x="16" y="4"/>
                  </a:lnTo>
                  <a:lnTo>
                    <a:pt x="16" y="4"/>
                  </a:lnTo>
                  <a:lnTo>
                    <a:pt x="16" y="2"/>
                  </a:lnTo>
                  <a:lnTo>
                    <a:pt x="16" y="2"/>
                  </a:lnTo>
                  <a:lnTo>
                    <a:pt x="16" y="2"/>
                  </a:lnTo>
                  <a:lnTo>
                    <a:pt x="16" y="2"/>
                  </a:lnTo>
                  <a:lnTo>
                    <a:pt x="19" y="1"/>
                  </a:lnTo>
                  <a:lnTo>
                    <a:pt x="23" y="0"/>
                  </a:lnTo>
                  <a:lnTo>
                    <a:pt x="23" y="0"/>
                  </a:lnTo>
                  <a:lnTo>
                    <a:pt x="23" y="0"/>
                  </a:lnTo>
                  <a:lnTo>
                    <a:pt x="23" y="0"/>
                  </a:lnTo>
                  <a:lnTo>
                    <a:pt x="31" y="1"/>
                  </a:lnTo>
                  <a:lnTo>
                    <a:pt x="31" y="1"/>
                  </a:lnTo>
                  <a:lnTo>
                    <a:pt x="31" y="1"/>
                  </a:lnTo>
                  <a:lnTo>
                    <a:pt x="31" y="1"/>
                  </a:lnTo>
                  <a:lnTo>
                    <a:pt x="31" y="1"/>
                  </a:lnTo>
                  <a:lnTo>
                    <a:pt x="31" y="1"/>
                  </a:lnTo>
                  <a:lnTo>
                    <a:pt x="32" y="5"/>
                  </a:lnTo>
                  <a:lnTo>
                    <a:pt x="32" y="5"/>
                  </a:lnTo>
                  <a:lnTo>
                    <a:pt x="34" y="20"/>
                  </a:lnTo>
                  <a:lnTo>
                    <a:pt x="34" y="20"/>
                  </a:lnTo>
                  <a:lnTo>
                    <a:pt x="34" y="20"/>
                  </a:lnTo>
                  <a:lnTo>
                    <a:pt x="34" y="20"/>
                  </a:lnTo>
                  <a:lnTo>
                    <a:pt x="34" y="23"/>
                  </a:lnTo>
                  <a:lnTo>
                    <a:pt x="31" y="26"/>
                  </a:lnTo>
                  <a:lnTo>
                    <a:pt x="26" y="29"/>
                  </a:lnTo>
                  <a:lnTo>
                    <a:pt x="15" y="31"/>
                  </a:lnTo>
                  <a:lnTo>
                    <a:pt x="15" y="31"/>
                  </a:lnTo>
                  <a:lnTo>
                    <a:pt x="12"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16" name="Freeform 643"/>
            <p:cNvSpPr>
              <a:spLocks noEditPoints="1"/>
            </p:cNvSpPr>
            <p:nvPr/>
          </p:nvSpPr>
          <p:spPr bwMode="auto">
            <a:xfrm>
              <a:off x="5057776" y="4829604"/>
              <a:ext cx="4763" cy="30163"/>
            </a:xfrm>
            <a:custGeom>
              <a:avLst/>
              <a:gdLst>
                <a:gd name="T0" fmla="*/ 0 w 3"/>
                <a:gd name="T1" fmla="*/ 3 h 19"/>
                <a:gd name="T2" fmla="*/ 0 w 3"/>
                <a:gd name="T3" fmla="*/ 3 h 19"/>
                <a:gd name="T4" fmla="*/ 0 w 3"/>
                <a:gd name="T5" fmla="*/ 0 h 19"/>
                <a:gd name="T6" fmla="*/ 0 w 3"/>
                <a:gd name="T7" fmla="*/ 0 h 19"/>
                <a:gd name="T8" fmla="*/ 2 w 3"/>
                <a:gd name="T9" fmla="*/ 0 h 19"/>
                <a:gd name="T10" fmla="*/ 2 w 3"/>
                <a:gd name="T11" fmla="*/ 0 h 19"/>
                <a:gd name="T12" fmla="*/ 0 w 3"/>
                <a:gd name="T13" fmla="*/ 3 h 19"/>
                <a:gd name="T14" fmla="*/ 3 w 3"/>
                <a:gd name="T15" fmla="*/ 19 h 19"/>
                <a:gd name="T16" fmla="*/ 3 w 3"/>
                <a:gd name="T17" fmla="*/ 19 h 19"/>
                <a:gd name="T18" fmla="*/ 2 w 3"/>
                <a:gd name="T19" fmla="*/ 11 h 19"/>
                <a:gd name="T20" fmla="*/ 0 w 3"/>
                <a:gd name="T21" fmla="*/ 6 h 19"/>
                <a:gd name="T22" fmla="*/ 0 w 3"/>
                <a:gd name="T23" fmla="*/ 6 h 19"/>
                <a:gd name="T24" fmla="*/ 2 w 3"/>
                <a:gd name="T25" fmla="*/ 11 h 19"/>
                <a:gd name="T26" fmla="*/ 3 w 3"/>
                <a:gd name="T2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19">
                  <a:moveTo>
                    <a:pt x="0" y="3"/>
                  </a:moveTo>
                  <a:lnTo>
                    <a:pt x="0" y="3"/>
                  </a:lnTo>
                  <a:lnTo>
                    <a:pt x="0" y="0"/>
                  </a:lnTo>
                  <a:lnTo>
                    <a:pt x="0" y="0"/>
                  </a:lnTo>
                  <a:lnTo>
                    <a:pt x="2" y="0"/>
                  </a:lnTo>
                  <a:lnTo>
                    <a:pt x="2" y="0"/>
                  </a:lnTo>
                  <a:lnTo>
                    <a:pt x="0" y="3"/>
                  </a:lnTo>
                  <a:close/>
                  <a:moveTo>
                    <a:pt x="3" y="19"/>
                  </a:moveTo>
                  <a:lnTo>
                    <a:pt x="3" y="19"/>
                  </a:lnTo>
                  <a:lnTo>
                    <a:pt x="2" y="11"/>
                  </a:lnTo>
                  <a:lnTo>
                    <a:pt x="0" y="6"/>
                  </a:lnTo>
                  <a:lnTo>
                    <a:pt x="0" y="6"/>
                  </a:lnTo>
                  <a:lnTo>
                    <a:pt x="2" y="11"/>
                  </a:lnTo>
                  <a:lnTo>
                    <a:pt x="3" y="19"/>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17" name="Freeform 644"/>
            <p:cNvSpPr>
              <a:spLocks/>
            </p:cNvSpPr>
            <p:nvPr/>
          </p:nvSpPr>
          <p:spPr bwMode="auto">
            <a:xfrm>
              <a:off x="5057776" y="4829604"/>
              <a:ext cx="3175" cy="4763"/>
            </a:xfrm>
            <a:custGeom>
              <a:avLst/>
              <a:gdLst>
                <a:gd name="T0" fmla="*/ 0 w 2"/>
                <a:gd name="T1" fmla="*/ 3 h 3"/>
                <a:gd name="T2" fmla="*/ 0 w 2"/>
                <a:gd name="T3" fmla="*/ 3 h 3"/>
                <a:gd name="T4" fmla="*/ 0 w 2"/>
                <a:gd name="T5" fmla="*/ 0 h 3"/>
                <a:gd name="T6" fmla="*/ 0 w 2"/>
                <a:gd name="T7" fmla="*/ 0 h 3"/>
                <a:gd name="T8" fmla="*/ 2 w 2"/>
                <a:gd name="T9" fmla="*/ 0 h 3"/>
                <a:gd name="T10" fmla="*/ 2 w 2"/>
                <a:gd name="T11" fmla="*/ 0 h 3"/>
                <a:gd name="T12" fmla="*/ 0 w 2"/>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0" y="3"/>
                  </a:moveTo>
                  <a:lnTo>
                    <a:pt x="0" y="3"/>
                  </a:lnTo>
                  <a:lnTo>
                    <a:pt x="0" y="0"/>
                  </a:lnTo>
                  <a:lnTo>
                    <a:pt x="0" y="0"/>
                  </a:lnTo>
                  <a:lnTo>
                    <a:pt x="2" y="0"/>
                  </a:lnTo>
                  <a:lnTo>
                    <a:pt x="2"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18" name="Freeform 645"/>
            <p:cNvSpPr>
              <a:spLocks/>
            </p:cNvSpPr>
            <p:nvPr/>
          </p:nvSpPr>
          <p:spPr bwMode="auto">
            <a:xfrm>
              <a:off x="5057776" y="4839129"/>
              <a:ext cx="4763" cy="20638"/>
            </a:xfrm>
            <a:custGeom>
              <a:avLst/>
              <a:gdLst>
                <a:gd name="T0" fmla="*/ 3 w 3"/>
                <a:gd name="T1" fmla="*/ 13 h 13"/>
                <a:gd name="T2" fmla="*/ 3 w 3"/>
                <a:gd name="T3" fmla="*/ 13 h 13"/>
                <a:gd name="T4" fmla="*/ 2 w 3"/>
                <a:gd name="T5" fmla="*/ 5 h 13"/>
                <a:gd name="T6" fmla="*/ 0 w 3"/>
                <a:gd name="T7" fmla="*/ 0 h 13"/>
                <a:gd name="T8" fmla="*/ 0 w 3"/>
                <a:gd name="T9" fmla="*/ 0 h 13"/>
                <a:gd name="T10" fmla="*/ 2 w 3"/>
                <a:gd name="T11" fmla="*/ 5 h 13"/>
                <a:gd name="T12" fmla="*/ 3 w 3"/>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3" h="13">
                  <a:moveTo>
                    <a:pt x="3" y="13"/>
                  </a:moveTo>
                  <a:lnTo>
                    <a:pt x="3" y="13"/>
                  </a:lnTo>
                  <a:lnTo>
                    <a:pt x="2" y="5"/>
                  </a:lnTo>
                  <a:lnTo>
                    <a:pt x="0" y="0"/>
                  </a:lnTo>
                  <a:lnTo>
                    <a:pt x="0" y="0"/>
                  </a:lnTo>
                  <a:lnTo>
                    <a:pt x="2" y="5"/>
                  </a:lnTo>
                  <a:lnTo>
                    <a:pt x="3"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19" name="Freeform 646"/>
            <p:cNvSpPr>
              <a:spLocks noEditPoints="1"/>
            </p:cNvSpPr>
            <p:nvPr/>
          </p:nvSpPr>
          <p:spPr bwMode="auto">
            <a:xfrm>
              <a:off x="5076826" y="4826429"/>
              <a:ext cx="34925" cy="46038"/>
            </a:xfrm>
            <a:custGeom>
              <a:avLst/>
              <a:gdLst>
                <a:gd name="T0" fmla="*/ 22 w 22"/>
                <a:gd name="T1" fmla="*/ 15 h 29"/>
                <a:gd name="T2" fmla="*/ 22 w 22"/>
                <a:gd name="T3" fmla="*/ 15 h 29"/>
                <a:gd name="T4" fmla="*/ 20 w 22"/>
                <a:gd name="T5" fmla="*/ 0 h 29"/>
                <a:gd name="T6" fmla="*/ 20 w 22"/>
                <a:gd name="T7" fmla="*/ 0 h 29"/>
                <a:gd name="T8" fmla="*/ 22 w 22"/>
                <a:gd name="T9" fmla="*/ 15 h 29"/>
                <a:gd name="T10" fmla="*/ 0 w 22"/>
                <a:gd name="T11" fmla="*/ 29 h 29"/>
                <a:gd name="T12" fmla="*/ 0 w 22"/>
                <a:gd name="T13" fmla="*/ 29 h 29"/>
                <a:gd name="T14" fmla="*/ 0 w 22"/>
                <a:gd name="T15" fmla="*/ 29 h 29"/>
                <a:gd name="T16" fmla="*/ 3 w 22"/>
                <a:gd name="T17" fmla="*/ 26 h 29"/>
                <a:gd name="T18" fmla="*/ 3 w 22"/>
                <a:gd name="T19" fmla="*/ 26 h 29"/>
                <a:gd name="T20" fmla="*/ 14 w 22"/>
                <a:gd name="T21" fmla="*/ 24 h 29"/>
                <a:gd name="T22" fmla="*/ 19 w 22"/>
                <a:gd name="T23" fmla="*/ 21 h 29"/>
                <a:gd name="T24" fmla="*/ 22 w 22"/>
                <a:gd name="T25" fmla="*/ 18 h 29"/>
                <a:gd name="T26" fmla="*/ 22 w 22"/>
                <a:gd name="T27" fmla="*/ 15 h 29"/>
                <a:gd name="T28" fmla="*/ 22 w 22"/>
                <a:gd name="T29" fmla="*/ 15 h 29"/>
                <a:gd name="T30" fmla="*/ 22 w 22"/>
                <a:gd name="T31" fmla="*/ 18 h 29"/>
                <a:gd name="T32" fmla="*/ 19 w 22"/>
                <a:gd name="T33" fmla="*/ 21 h 29"/>
                <a:gd name="T34" fmla="*/ 14 w 22"/>
                <a:gd name="T35" fmla="*/ 24 h 29"/>
                <a:gd name="T36" fmla="*/ 3 w 22"/>
                <a:gd name="T37" fmla="*/ 26 h 29"/>
                <a:gd name="T38" fmla="*/ 3 w 22"/>
                <a:gd name="T39" fmla="*/ 26 h 29"/>
                <a:gd name="T40" fmla="*/ 0 w 22"/>
                <a:gd name="T4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 h="29">
                  <a:moveTo>
                    <a:pt x="22" y="15"/>
                  </a:moveTo>
                  <a:lnTo>
                    <a:pt x="22" y="15"/>
                  </a:lnTo>
                  <a:lnTo>
                    <a:pt x="20" y="0"/>
                  </a:lnTo>
                  <a:lnTo>
                    <a:pt x="20" y="0"/>
                  </a:lnTo>
                  <a:lnTo>
                    <a:pt x="22" y="15"/>
                  </a:lnTo>
                  <a:close/>
                  <a:moveTo>
                    <a:pt x="0" y="29"/>
                  </a:moveTo>
                  <a:lnTo>
                    <a:pt x="0" y="29"/>
                  </a:lnTo>
                  <a:lnTo>
                    <a:pt x="0" y="29"/>
                  </a:lnTo>
                  <a:lnTo>
                    <a:pt x="3" y="26"/>
                  </a:lnTo>
                  <a:lnTo>
                    <a:pt x="3" y="26"/>
                  </a:lnTo>
                  <a:lnTo>
                    <a:pt x="14" y="24"/>
                  </a:lnTo>
                  <a:lnTo>
                    <a:pt x="19" y="21"/>
                  </a:lnTo>
                  <a:lnTo>
                    <a:pt x="22" y="18"/>
                  </a:lnTo>
                  <a:lnTo>
                    <a:pt x="22" y="15"/>
                  </a:lnTo>
                  <a:lnTo>
                    <a:pt x="22" y="15"/>
                  </a:lnTo>
                  <a:lnTo>
                    <a:pt x="22" y="18"/>
                  </a:lnTo>
                  <a:lnTo>
                    <a:pt x="19" y="21"/>
                  </a:lnTo>
                  <a:lnTo>
                    <a:pt x="14" y="24"/>
                  </a:lnTo>
                  <a:lnTo>
                    <a:pt x="3" y="26"/>
                  </a:lnTo>
                  <a:lnTo>
                    <a:pt x="3" y="26"/>
                  </a:lnTo>
                  <a:lnTo>
                    <a:pt x="0" y="29"/>
                  </a:lnTo>
                  <a:close/>
                </a:path>
              </a:pathLst>
            </a:custGeom>
            <a:solidFill>
              <a:srgbClr val="60B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20" name="Freeform 647"/>
            <p:cNvSpPr>
              <a:spLocks/>
            </p:cNvSpPr>
            <p:nvPr/>
          </p:nvSpPr>
          <p:spPr bwMode="auto">
            <a:xfrm>
              <a:off x="5108576" y="4826429"/>
              <a:ext cx="3175" cy="23813"/>
            </a:xfrm>
            <a:custGeom>
              <a:avLst/>
              <a:gdLst>
                <a:gd name="T0" fmla="*/ 2 w 2"/>
                <a:gd name="T1" fmla="*/ 15 h 15"/>
                <a:gd name="T2" fmla="*/ 2 w 2"/>
                <a:gd name="T3" fmla="*/ 15 h 15"/>
                <a:gd name="T4" fmla="*/ 0 w 2"/>
                <a:gd name="T5" fmla="*/ 0 h 15"/>
                <a:gd name="T6" fmla="*/ 0 w 2"/>
                <a:gd name="T7" fmla="*/ 0 h 15"/>
                <a:gd name="T8" fmla="*/ 2 w 2"/>
                <a:gd name="T9" fmla="*/ 15 h 15"/>
              </a:gdLst>
              <a:ahLst/>
              <a:cxnLst>
                <a:cxn ang="0">
                  <a:pos x="T0" y="T1"/>
                </a:cxn>
                <a:cxn ang="0">
                  <a:pos x="T2" y="T3"/>
                </a:cxn>
                <a:cxn ang="0">
                  <a:pos x="T4" y="T5"/>
                </a:cxn>
                <a:cxn ang="0">
                  <a:pos x="T6" y="T7"/>
                </a:cxn>
                <a:cxn ang="0">
                  <a:pos x="T8" y="T9"/>
                </a:cxn>
              </a:cxnLst>
              <a:rect l="0" t="0" r="r" b="b"/>
              <a:pathLst>
                <a:path w="2" h="15">
                  <a:moveTo>
                    <a:pt x="2" y="15"/>
                  </a:moveTo>
                  <a:lnTo>
                    <a:pt x="2" y="15"/>
                  </a:lnTo>
                  <a:lnTo>
                    <a:pt x="0" y="0"/>
                  </a:lnTo>
                  <a:lnTo>
                    <a:pt x="0" y="0"/>
                  </a:lnTo>
                  <a:lnTo>
                    <a:pt x="2"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21" name="Freeform 648"/>
            <p:cNvSpPr>
              <a:spLocks/>
            </p:cNvSpPr>
            <p:nvPr/>
          </p:nvSpPr>
          <p:spPr bwMode="auto">
            <a:xfrm>
              <a:off x="5076826" y="4850242"/>
              <a:ext cx="34925" cy="22225"/>
            </a:xfrm>
            <a:custGeom>
              <a:avLst/>
              <a:gdLst>
                <a:gd name="T0" fmla="*/ 0 w 22"/>
                <a:gd name="T1" fmla="*/ 14 h 14"/>
                <a:gd name="T2" fmla="*/ 0 w 22"/>
                <a:gd name="T3" fmla="*/ 14 h 14"/>
                <a:gd name="T4" fmla="*/ 0 w 22"/>
                <a:gd name="T5" fmla="*/ 14 h 14"/>
                <a:gd name="T6" fmla="*/ 3 w 22"/>
                <a:gd name="T7" fmla="*/ 11 h 14"/>
                <a:gd name="T8" fmla="*/ 3 w 22"/>
                <a:gd name="T9" fmla="*/ 11 h 14"/>
                <a:gd name="T10" fmla="*/ 14 w 22"/>
                <a:gd name="T11" fmla="*/ 9 h 14"/>
                <a:gd name="T12" fmla="*/ 19 w 22"/>
                <a:gd name="T13" fmla="*/ 6 h 14"/>
                <a:gd name="T14" fmla="*/ 22 w 22"/>
                <a:gd name="T15" fmla="*/ 3 h 14"/>
                <a:gd name="T16" fmla="*/ 22 w 22"/>
                <a:gd name="T17" fmla="*/ 0 h 14"/>
                <a:gd name="T18" fmla="*/ 22 w 22"/>
                <a:gd name="T19" fmla="*/ 0 h 14"/>
                <a:gd name="T20" fmla="*/ 22 w 22"/>
                <a:gd name="T21" fmla="*/ 3 h 14"/>
                <a:gd name="T22" fmla="*/ 19 w 22"/>
                <a:gd name="T23" fmla="*/ 6 h 14"/>
                <a:gd name="T24" fmla="*/ 14 w 22"/>
                <a:gd name="T25" fmla="*/ 9 h 14"/>
                <a:gd name="T26" fmla="*/ 3 w 22"/>
                <a:gd name="T27" fmla="*/ 11 h 14"/>
                <a:gd name="T28" fmla="*/ 3 w 22"/>
                <a:gd name="T29" fmla="*/ 11 h 14"/>
                <a:gd name="T30" fmla="*/ 0 w 22"/>
                <a:gd name="T3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4">
                  <a:moveTo>
                    <a:pt x="0" y="14"/>
                  </a:moveTo>
                  <a:lnTo>
                    <a:pt x="0" y="14"/>
                  </a:lnTo>
                  <a:lnTo>
                    <a:pt x="0" y="14"/>
                  </a:lnTo>
                  <a:lnTo>
                    <a:pt x="3" y="11"/>
                  </a:lnTo>
                  <a:lnTo>
                    <a:pt x="3" y="11"/>
                  </a:lnTo>
                  <a:lnTo>
                    <a:pt x="14" y="9"/>
                  </a:lnTo>
                  <a:lnTo>
                    <a:pt x="19" y="6"/>
                  </a:lnTo>
                  <a:lnTo>
                    <a:pt x="22" y="3"/>
                  </a:lnTo>
                  <a:lnTo>
                    <a:pt x="22" y="0"/>
                  </a:lnTo>
                  <a:lnTo>
                    <a:pt x="22" y="0"/>
                  </a:lnTo>
                  <a:lnTo>
                    <a:pt x="22" y="3"/>
                  </a:lnTo>
                  <a:lnTo>
                    <a:pt x="19" y="6"/>
                  </a:lnTo>
                  <a:lnTo>
                    <a:pt x="14" y="9"/>
                  </a:lnTo>
                  <a:lnTo>
                    <a:pt x="3" y="11"/>
                  </a:lnTo>
                  <a:lnTo>
                    <a:pt x="3" y="11"/>
                  </a:lnTo>
                  <a:lnTo>
                    <a:pt x="0"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22" name="Freeform 649"/>
            <p:cNvSpPr>
              <a:spLocks noEditPoints="1"/>
            </p:cNvSpPr>
            <p:nvPr/>
          </p:nvSpPr>
          <p:spPr bwMode="auto">
            <a:xfrm>
              <a:off x="5076826" y="4818492"/>
              <a:ext cx="30163" cy="20638"/>
            </a:xfrm>
            <a:custGeom>
              <a:avLst/>
              <a:gdLst>
                <a:gd name="T0" fmla="*/ 11 w 19"/>
                <a:gd name="T1" fmla="*/ 0 h 13"/>
                <a:gd name="T2" fmla="*/ 11 w 19"/>
                <a:gd name="T3" fmla="*/ 0 h 13"/>
                <a:gd name="T4" fmla="*/ 11 w 19"/>
                <a:gd name="T5" fmla="*/ 0 h 13"/>
                <a:gd name="T6" fmla="*/ 19 w 19"/>
                <a:gd name="T7" fmla="*/ 1 h 13"/>
                <a:gd name="T8" fmla="*/ 19 w 19"/>
                <a:gd name="T9" fmla="*/ 1 h 13"/>
                <a:gd name="T10" fmla="*/ 19 w 19"/>
                <a:gd name="T11" fmla="*/ 1 h 13"/>
                <a:gd name="T12" fmla="*/ 19 w 19"/>
                <a:gd name="T13" fmla="*/ 1 h 13"/>
                <a:gd name="T14" fmla="*/ 19 w 19"/>
                <a:gd name="T15" fmla="*/ 1 h 13"/>
                <a:gd name="T16" fmla="*/ 19 w 19"/>
                <a:gd name="T17" fmla="*/ 1 h 13"/>
                <a:gd name="T18" fmla="*/ 19 w 19"/>
                <a:gd name="T19" fmla="*/ 1 h 13"/>
                <a:gd name="T20" fmla="*/ 19 w 19"/>
                <a:gd name="T21" fmla="*/ 1 h 13"/>
                <a:gd name="T22" fmla="*/ 4 w 19"/>
                <a:gd name="T23" fmla="*/ 2 h 13"/>
                <a:gd name="T24" fmla="*/ 4 w 19"/>
                <a:gd name="T25" fmla="*/ 2 h 13"/>
                <a:gd name="T26" fmla="*/ 7 w 19"/>
                <a:gd name="T27" fmla="*/ 1 h 13"/>
                <a:gd name="T28" fmla="*/ 11 w 19"/>
                <a:gd name="T29" fmla="*/ 0 h 13"/>
                <a:gd name="T30" fmla="*/ 11 w 19"/>
                <a:gd name="T31" fmla="*/ 0 h 13"/>
                <a:gd name="T32" fmla="*/ 7 w 19"/>
                <a:gd name="T33" fmla="*/ 1 h 13"/>
                <a:gd name="T34" fmla="*/ 4 w 19"/>
                <a:gd name="T35" fmla="*/ 2 h 13"/>
                <a:gd name="T36" fmla="*/ 4 w 19"/>
                <a:gd name="T37" fmla="*/ 4 h 13"/>
                <a:gd name="T38" fmla="*/ 4 w 19"/>
                <a:gd name="T39" fmla="*/ 4 h 13"/>
                <a:gd name="T40" fmla="*/ 4 w 19"/>
                <a:gd name="T41" fmla="*/ 2 h 13"/>
                <a:gd name="T42" fmla="*/ 4 w 19"/>
                <a:gd name="T43" fmla="*/ 2 h 13"/>
                <a:gd name="T44" fmla="*/ 4 w 19"/>
                <a:gd name="T45" fmla="*/ 4 h 13"/>
                <a:gd name="T46" fmla="*/ 4 w 19"/>
                <a:gd name="T47" fmla="*/ 4 h 13"/>
                <a:gd name="T48" fmla="*/ 4 w 19"/>
                <a:gd name="T49" fmla="*/ 4 h 13"/>
                <a:gd name="T50" fmla="*/ 4 w 19"/>
                <a:gd name="T51" fmla="*/ 4 h 13"/>
                <a:gd name="T52" fmla="*/ 4 w 19"/>
                <a:gd name="T53" fmla="*/ 4 h 13"/>
                <a:gd name="T54" fmla="*/ 4 w 19"/>
                <a:gd name="T55" fmla="*/ 4 h 13"/>
                <a:gd name="T56" fmla="*/ 0 w 19"/>
                <a:gd name="T57" fmla="*/ 13 h 13"/>
                <a:gd name="T58" fmla="*/ 0 w 19"/>
                <a:gd name="T59" fmla="*/ 13 h 13"/>
                <a:gd name="T60" fmla="*/ 0 w 19"/>
                <a:gd name="T61" fmla="*/ 13 h 13"/>
                <a:gd name="T62" fmla="*/ 0 w 19"/>
                <a:gd name="T63" fmla="*/ 13 h 13"/>
                <a:gd name="T64" fmla="*/ 0 w 19"/>
                <a:gd name="T65" fmla="*/ 13 h 13"/>
                <a:gd name="T66" fmla="*/ 1 w 19"/>
                <a:gd name="T67" fmla="*/ 13 h 13"/>
                <a:gd name="T68" fmla="*/ 1 w 19"/>
                <a:gd name="T69" fmla="*/ 13 h 13"/>
                <a:gd name="T70" fmla="*/ 3 w 19"/>
                <a:gd name="T71" fmla="*/ 13 h 13"/>
                <a:gd name="T72" fmla="*/ 4 w 19"/>
                <a:gd name="T73" fmla="*/ 10 h 13"/>
                <a:gd name="T74" fmla="*/ 4 w 19"/>
                <a:gd name="T75" fmla="*/ 4 h 13"/>
                <a:gd name="T76" fmla="*/ 4 w 19"/>
                <a:gd name="T77" fmla="*/ 4 h 13"/>
                <a:gd name="T78" fmla="*/ 4 w 19"/>
                <a:gd name="T79" fmla="*/ 10 h 13"/>
                <a:gd name="T80" fmla="*/ 3 w 19"/>
                <a:gd name="T81" fmla="*/ 13 h 13"/>
                <a:gd name="T82" fmla="*/ 1 w 19"/>
                <a:gd name="T83" fmla="*/ 13 h 13"/>
                <a:gd name="T84" fmla="*/ 1 w 19"/>
                <a:gd name="T85" fmla="*/ 13 h 13"/>
                <a:gd name="T86" fmla="*/ 1 w 19"/>
                <a:gd name="T87" fmla="*/ 13 h 13"/>
                <a:gd name="T88" fmla="*/ 1 w 19"/>
                <a:gd name="T89" fmla="*/ 13 h 13"/>
                <a:gd name="T90" fmla="*/ 1 w 19"/>
                <a:gd name="T91" fmla="*/ 13 h 13"/>
                <a:gd name="T92" fmla="*/ 1 w 19"/>
                <a:gd name="T93"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 h="13">
                  <a:moveTo>
                    <a:pt x="11" y="0"/>
                  </a:moveTo>
                  <a:lnTo>
                    <a:pt x="11" y="0"/>
                  </a:lnTo>
                  <a:lnTo>
                    <a:pt x="11" y="0"/>
                  </a:lnTo>
                  <a:close/>
                  <a:moveTo>
                    <a:pt x="19" y="1"/>
                  </a:moveTo>
                  <a:lnTo>
                    <a:pt x="19" y="1"/>
                  </a:lnTo>
                  <a:lnTo>
                    <a:pt x="19" y="1"/>
                  </a:lnTo>
                  <a:close/>
                  <a:moveTo>
                    <a:pt x="19" y="1"/>
                  </a:moveTo>
                  <a:lnTo>
                    <a:pt x="19" y="1"/>
                  </a:lnTo>
                  <a:lnTo>
                    <a:pt x="19" y="1"/>
                  </a:lnTo>
                  <a:lnTo>
                    <a:pt x="19" y="1"/>
                  </a:lnTo>
                  <a:lnTo>
                    <a:pt x="19" y="1"/>
                  </a:lnTo>
                  <a:close/>
                  <a:moveTo>
                    <a:pt x="4" y="2"/>
                  </a:moveTo>
                  <a:lnTo>
                    <a:pt x="4" y="2"/>
                  </a:lnTo>
                  <a:lnTo>
                    <a:pt x="7" y="1"/>
                  </a:lnTo>
                  <a:lnTo>
                    <a:pt x="11" y="0"/>
                  </a:lnTo>
                  <a:lnTo>
                    <a:pt x="11" y="0"/>
                  </a:lnTo>
                  <a:lnTo>
                    <a:pt x="7" y="1"/>
                  </a:lnTo>
                  <a:lnTo>
                    <a:pt x="4" y="2"/>
                  </a:lnTo>
                  <a:close/>
                  <a:moveTo>
                    <a:pt x="4" y="4"/>
                  </a:moveTo>
                  <a:lnTo>
                    <a:pt x="4" y="4"/>
                  </a:lnTo>
                  <a:lnTo>
                    <a:pt x="4" y="2"/>
                  </a:lnTo>
                  <a:lnTo>
                    <a:pt x="4" y="2"/>
                  </a:lnTo>
                  <a:lnTo>
                    <a:pt x="4" y="4"/>
                  </a:lnTo>
                  <a:close/>
                  <a:moveTo>
                    <a:pt x="4" y="4"/>
                  </a:moveTo>
                  <a:lnTo>
                    <a:pt x="4" y="4"/>
                  </a:lnTo>
                  <a:lnTo>
                    <a:pt x="4" y="4"/>
                  </a:lnTo>
                  <a:lnTo>
                    <a:pt x="4" y="4"/>
                  </a:lnTo>
                  <a:lnTo>
                    <a:pt x="4" y="4"/>
                  </a:lnTo>
                  <a:close/>
                  <a:moveTo>
                    <a:pt x="0" y="13"/>
                  </a:moveTo>
                  <a:lnTo>
                    <a:pt x="0" y="13"/>
                  </a:lnTo>
                  <a:lnTo>
                    <a:pt x="0" y="13"/>
                  </a:lnTo>
                  <a:lnTo>
                    <a:pt x="0" y="13"/>
                  </a:lnTo>
                  <a:lnTo>
                    <a:pt x="0" y="13"/>
                  </a:lnTo>
                  <a:close/>
                  <a:moveTo>
                    <a:pt x="1" y="13"/>
                  </a:moveTo>
                  <a:lnTo>
                    <a:pt x="1" y="13"/>
                  </a:lnTo>
                  <a:lnTo>
                    <a:pt x="3" y="13"/>
                  </a:lnTo>
                  <a:lnTo>
                    <a:pt x="4" y="10"/>
                  </a:lnTo>
                  <a:lnTo>
                    <a:pt x="4" y="4"/>
                  </a:lnTo>
                  <a:lnTo>
                    <a:pt x="4" y="4"/>
                  </a:lnTo>
                  <a:lnTo>
                    <a:pt x="4" y="10"/>
                  </a:lnTo>
                  <a:lnTo>
                    <a:pt x="3" y="13"/>
                  </a:lnTo>
                  <a:lnTo>
                    <a:pt x="1" y="13"/>
                  </a:lnTo>
                  <a:close/>
                  <a:moveTo>
                    <a:pt x="1" y="13"/>
                  </a:moveTo>
                  <a:lnTo>
                    <a:pt x="1" y="13"/>
                  </a:lnTo>
                  <a:lnTo>
                    <a:pt x="1" y="13"/>
                  </a:lnTo>
                  <a:lnTo>
                    <a:pt x="1" y="13"/>
                  </a:lnTo>
                  <a:lnTo>
                    <a:pt x="1" y="13"/>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23" name="Freeform 650"/>
            <p:cNvSpPr>
              <a:spLocks/>
            </p:cNvSpPr>
            <p:nvPr/>
          </p:nvSpPr>
          <p:spPr bwMode="auto">
            <a:xfrm>
              <a:off x="5094288" y="4818492"/>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24" name="Freeform 651"/>
            <p:cNvSpPr>
              <a:spLocks/>
            </p:cNvSpPr>
            <p:nvPr/>
          </p:nvSpPr>
          <p:spPr bwMode="auto">
            <a:xfrm>
              <a:off x="5106988" y="482007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25" name="Rectangle 652"/>
            <p:cNvSpPr>
              <a:spLocks noChangeArrowheads="1"/>
            </p:cNvSpPr>
            <p:nvPr/>
          </p:nvSpPr>
          <p:spPr bwMode="auto">
            <a:xfrm>
              <a:off x="5106988" y="4820079"/>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26" name="Freeform 653"/>
            <p:cNvSpPr>
              <a:spLocks/>
            </p:cNvSpPr>
            <p:nvPr/>
          </p:nvSpPr>
          <p:spPr bwMode="auto">
            <a:xfrm>
              <a:off x="5083176" y="4818492"/>
              <a:ext cx="11113" cy="3175"/>
            </a:xfrm>
            <a:custGeom>
              <a:avLst/>
              <a:gdLst>
                <a:gd name="T0" fmla="*/ 0 w 7"/>
                <a:gd name="T1" fmla="*/ 2 h 2"/>
                <a:gd name="T2" fmla="*/ 0 w 7"/>
                <a:gd name="T3" fmla="*/ 2 h 2"/>
                <a:gd name="T4" fmla="*/ 3 w 7"/>
                <a:gd name="T5" fmla="*/ 1 h 2"/>
                <a:gd name="T6" fmla="*/ 7 w 7"/>
                <a:gd name="T7" fmla="*/ 0 h 2"/>
                <a:gd name="T8" fmla="*/ 7 w 7"/>
                <a:gd name="T9" fmla="*/ 0 h 2"/>
                <a:gd name="T10" fmla="*/ 3 w 7"/>
                <a:gd name="T11" fmla="*/ 1 h 2"/>
                <a:gd name="T12" fmla="*/ 0 w 7"/>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0" y="2"/>
                  </a:moveTo>
                  <a:lnTo>
                    <a:pt x="0" y="2"/>
                  </a:lnTo>
                  <a:lnTo>
                    <a:pt x="3" y="1"/>
                  </a:lnTo>
                  <a:lnTo>
                    <a:pt x="7" y="0"/>
                  </a:lnTo>
                  <a:lnTo>
                    <a:pt x="7" y="0"/>
                  </a:lnTo>
                  <a:lnTo>
                    <a:pt x="3" y="1"/>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27" name="Rectangle 654"/>
            <p:cNvSpPr>
              <a:spLocks noChangeArrowheads="1"/>
            </p:cNvSpPr>
            <p:nvPr/>
          </p:nvSpPr>
          <p:spPr bwMode="auto">
            <a:xfrm>
              <a:off x="5083176" y="4821667"/>
              <a:ext cx="1588"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28" name="Rectangle 655"/>
            <p:cNvSpPr>
              <a:spLocks noChangeArrowheads="1"/>
            </p:cNvSpPr>
            <p:nvPr/>
          </p:nvSpPr>
          <p:spPr bwMode="auto">
            <a:xfrm>
              <a:off x="5083176" y="4824842"/>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29" name="Rectangle 656"/>
            <p:cNvSpPr>
              <a:spLocks noChangeArrowheads="1"/>
            </p:cNvSpPr>
            <p:nvPr/>
          </p:nvSpPr>
          <p:spPr bwMode="auto">
            <a:xfrm>
              <a:off x="5076826" y="4839129"/>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30" name="Freeform 657"/>
            <p:cNvSpPr>
              <a:spLocks/>
            </p:cNvSpPr>
            <p:nvPr/>
          </p:nvSpPr>
          <p:spPr bwMode="auto">
            <a:xfrm>
              <a:off x="5078413" y="4824842"/>
              <a:ext cx="4763" cy="14288"/>
            </a:xfrm>
            <a:custGeom>
              <a:avLst/>
              <a:gdLst>
                <a:gd name="T0" fmla="*/ 0 w 3"/>
                <a:gd name="T1" fmla="*/ 9 h 9"/>
                <a:gd name="T2" fmla="*/ 0 w 3"/>
                <a:gd name="T3" fmla="*/ 9 h 9"/>
                <a:gd name="T4" fmla="*/ 2 w 3"/>
                <a:gd name="T5" fmla="*/ 9 h 9"/>
                <a:gd name="T6" fmla="*/ 3 w 3"/>
                <a:gd name="T7" fmla="*/ 6 h 9"/>
                <a:gd name="T8" fmla="*/ 3 w 3"/>
                <a:gd name="T9" fmla="*/ 0 h 9"/>
                <a:gd name="T10" fmla="*/ 3 w 3"/>
                <a:gd name="T11" fmla="*/ 0 h 9"/>
                <a:gd name="T12" fmla="*/ 3 w 3"/>
                <a:gd name="T13" fmla="*/ 6 h 9"/>
                <a:gd name="T14" fmla="*/ 2 w 3"/>
                <a:gd name="T15" fmla="*/ 9 h 9"/>
                <a:gd name="T16" fmla="*/ 0 w 3"/>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9">
                  <a:moveTo>
                    <a:pt x="0" y="9"/>
                  </a:moveTo>
                  <a:lnTo>
                    <a:pt x="0" y="9"/>
                  </a:lnTo>
                  <a:lnTo>
                    <a:pt x="2" y="9"/>
                  </a:lnTo>
                  <a:lnTo>
                    <a:pt x="3" y="6"/>
                  </a:lnTo>
                  <a:lnTo>
                    <a:pt x="3" y="0"/>
                  </a:lnTo>
                  <a:lnTo>
                    <a:pt x="3" y="0"/>
                  </a:lnTo>
                  <a:lnTo>
                    <a:pt x="3" y="6"/>
                  </a:lnTo>
                  <a:lnTo>
                    <a:pt x="2" y="9"/>
                  </a:lnTo>
                  <a:lnTo>
                    <a:pt x="0"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31" name="Rectangle 658"/>
            <p:cNvSpPr>
              <a:spLocks noChangeArrowheads="1"/>
            </p:cNvSpPr>
            <p:nvPr/>
          </p:nvSpPr>
          <p:spPr bwMode="auto">
            <a:xfrm>
              <a:off x="5078413" y="4839129"/>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32" name="Freeform 703"/>
            <p:cNvSpPr>
              <a:spLocks/>
            </p:cNvSpPr>
            <p:nvPr/>
          </p:nvSpPr>
          <p:spPr bwMode="auto">
            <a:xfrm>
              <a:off x="4073525" y="3592942"/>
              <a:ext cx="84138" cy="161925"/>
            </a:xfrm>
            <a:custGeom>
              <a:avLst/>
              <a:gdLst>
                <a:gd name="T0" fmla="*/ 35 w 53"/>
                <a:gd name="T1" fmla="*/ 71 h 102"/>
                <a:gd name="T2" fmla="*/ 35 w 53"/>
                <a:gd name="T3" fmla="*/ 71 h 102"/>
                <a:gd name="T4" fmla="*/ 37 w 53"/>
                <a:gd name="T5" fmla="*/ 62 h 102"/>
                <a:gd name="T6" fmla="*/ 40 w 53"/>
                <a:gd name="T7" fmla="*/ 49 h 102"/>
                <a:gd name="T8" fmla="*/ 41 w 53"/>
                <a:gd name="T9" fmla="*/ 36 h 102"/>
                <a:gd name="T10" fmla="*/ 42 w 53"/>
                <a:gd name="T11" fmla="*/ 27 h 102"/>
                <a:gd name="T12" fmla="*/ 42 w 53"/>
                <a:gd name="T13" fmla="*/ 27 h 102"/>
                <a:gd name="T14" fmla="*/ 45 w 53"/>
                <a:gd name="T15" fmla="*/ 21 h 102"/>
                <a:gd name="T16" fmla="*/ 50 w 53"/>
                <a:gd name="T17" fmla="*/ 17 h 102"/>
                <a:gd name="T18" fmla="*/ 53 w 53"/>
                <a:gd name="T19" fmla="*/ 13 h 102"/>
                <a:gd name="T20" fmla="*/ 53 w 53"/>
                <a:gd name="T21" fmla="*/ 11 h 102"/>
                <a:gd name="T22" fmla="*/ 51 w 53"/>
                <a:gd name="T23" fmla="*/ 8 h 102"/>
                <a:gd name="T24" fmla="*/ 51 w 53"/>
                <a:gd name="T25" fmla="*/ 8 h 102"/>
                <a:gd name="T26" fmla="*/ 48 w 53"/>
                <a:gd name="T27" fmla="*/ 7 h 102"/>
                <a:gd name="T28" fmla="*/ 44 w 53"/>
                <a:gd name="T29" fmla="*/ 5 h 102"/>
                <a:gd name="T30" fmla="*/ 37 w 53"/>
                <a:gd name="T31" fmla="*/ 5 h 102"/>
                <a:gd name="T32" fmla="*/ 24 w 53"/>
                <a:gd name="T33" fmla="*/ 4 h 102"/>
                <a:gd name="T34" fmla="*/ 24 w 53"/>
                <a:gd name="T35" fmla="*/ 4 h 102"/>
                <a:gd name="T36" fmla="*/ 24 w 53"/>
                <a:gd name="T37" fmla="*/ 2 h 102"/>
                <a:gd name="T38" fmla="*/ 22 w 53"/>
                <a:gd name="T39" fmla="*/ 1 h 102"/>
                <a:gd name="T40" fmla="*/ 21 w 53"/>
                <a:gd name="T41" fmla="*/ 0 h 102"/>
                <a:gd name="T42" fmla="*/ 16 w 53"/>
                <a:gd name="T43" fmla="*/ 0 h 102"/>
                <a:gd name="T44" fmla="*/ 16 w 53"/>
                <a:gd name="T45" fmla="*/ 0 h 102"/>
                <a:gd name="T46" fmla="*/ 9 w 53"/>
                <a:gd name="T47" fmla="*/ 1 h 102"/>
                <a:gd name="T48" fmla="*/ 9 w 53"/>
                <a:gd name="T49" fmla="*/ 1 h 102"/>
                <a:gd name="T50" fmla="*/ 13 w 53"/>
                <a:gd name="T51" fmla="*/ 31 h 102"/>
                <a:gd name="T52" fmla="*/ 13 w 53"/>
                <a:gd name="T53" fmla="*/ 31 h 102"/>
                <a:gd name="T54" fmla="*/ 13 w 53"/>
                <a:gd name="T55" fmla="*/ 37 h 102"/>
                <a:gd name="T56" fmla="*/ 9 w 53"/>
                <a:gd name="T57" fmla="*/ 47 h 102"/>
                <a:gd name="T58" fmla="*/ 0 w 53"/>
                <a:gd name="T59" fmla="*/ 65 h 102"/>
                <a:gd name="T60" fmla="*/ 0 w 53"/>
                <a:gd name="T61" fmla="*/ 65 h 102"/>
                <a:gd name="T62" fmla="*/ 0 w 53"/>
                <a:gd name="T63" fmla="*/ 69 h 102"/>
                <a:gd name="T64" fmla="*/ 2 w 53"/>
                <a:gd name="T65" fmla="*/ 71 h 102"/>
                <a:gd name="T66" fmla="*/ 6 w 53"/>
                <a:gd name="T67" fmla="*/ 71 h 102"/>
                <a:gd name="T68" fmla="*/ 6 w 53"/>
                <a:gd name="T69" fmla="*/ 71 h 102"/>
                <a:gd name="T70" fmla="*/ 8 w 53"/>
                <a:gd name="T71" fmla="*/ 73 h 102"/>
                <a:gd name="T72" fmla="*/ 9 w 53"/>
                <a:gd name="T73" fmla="*/ 79 h 102"/>
                <a:gd name="T74" fmla="*/ 11 w 53"/>
                <a:gd name="T75" fmla="*/ 85 h 102"/>
                <a:gd name="T76" fmla="*/ 11 w 53"/>
                <a:gd name="T77" fmla="*/ 91 h 102"/>
                <a:gd name="T78" fmla="*/ 11 w 53"/>
                <a:gd name="T79" fmla="*/ 91 h 102"/>
                <a:gd name="T80" fmla="*/ 9 w 53"/>
                <a:gd name="T81" fmla="*/ 95 h 102"/>
                <a:gd name="T82" fmla="*/ 11 w 53"/>
                <a:gd name="T83" fmla="*/ 98 h 102"/>
                <a:gd name="T84" fmla="*/ 13 w 53"/>
                <a:gd name="T85" fmla="*/ 101 h 102"/>
                <a:gd name="T86" fmla="*/ 18 w 53"/>
                <a:gd name="T87" fmla="*/ 102 h 102"/>
                <a:gd name="T88" fmla="*/ 18 w 53"/>
                <a:gd name="T89" fmla="*/ 102 h 102"/>
                <a:gd name="T90" fmla="*/ 25 w 53"/>
                <a:gd name="T91" fmla="*/ 102 h 102"/>
                <a:gd name="T92" fmla="*/ 29 w 53"/>
                <a:gd name="T93" fmla="*/ 101 h 102"/>
                <a:gd name="T94" fmla="*/ 29 w 53"/>
                <a:gd name="T95" fmla="*/ 101 h 102"/>
                <a:gd name="T96" fmla="*/ 31 w 53"/>
                <a:gd name="T97" fmla="*/ 92 h 102"/>
                <a:gd name="T98" fmla="*/ 34 w 53"/>
                <a:gd name="T99" fmla="*/ 86 h 102"/>
                <a:gd name="T100" fmla="*/ 34 w 53"/>
                <a:gd name="T101" fmla="*/ 86 h 102"/>
                <a:gd name="T102" fmla="*/ 35 w 53"/>
                <a:gd name="T103" fmla="*/ 84 h 102"/>
                <a:gd name="T104" fmla="*/ 35 w 53"/>
                <a:gd name="T105" fmla="*/ 81 h 102"/>
                <a:gd name="T106" fmla="*/ 35 w 53"/>
                <a:gd name="T107" fmla="*/ 76 h 102"/>
                <a:gd name="T108" fmla="*/ 35 w 53"/>
                <a:gd name="T109" fmla="*/ 7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 h="102">
                  <a:moveTo>
                    <a:pt x="35" y="71"/>
                  </a:moveTo>
                  <a:lnTo>
                    <a:pt x="35" y="71"/>
                  </a:lnTo>
                  <a:lnTo>
                    <a:pt x="37" y="62"/>
                  </a:lnTo>
                  <a:lnTo>
                    <a:pt x="40" y="49"/>
                  </a:lnTo>
                  <a:lnTo>
                    <a:pt x="41" y="36"/>
                  </a:lnTo>
                  <a:lnTo>
                    <a:pt x="42" y="27"/>
                  </a:lnTo>
                  <a:lnTo>
                    <a:pt x="42" y="27"/>
                  </a:lnTo>
                  <a:lnTo>
                    <a:pt x="45" y="21"/>
                  </a:lnTo>
                  <a:lnTo>
                    <a:pt x="50" y="17"/>
                  </a:lnTo>
                  <a:lnTo>
                    <a:pt x="53" y="13"/>
                  </a:lnTo>
                  <a:lnTo>
                    <a:pt x="53" y="11"/>
                  </a:lnTo>
                  <a:lnTo>
                    <a:pt x="51" y="8"/>
                  </a:lnTo>
                  <a:lnTo>
                    <a:pt x="51" y="8"/>
                  </a:lnTo>
                  <a:lnTo>
                    <a:pt x="48" y="7"/>
                  </a:lnTo>
                  <a:lnTo>
                    <a:pt x="44" y="5"/>
                  </a:lnTo>
                  <a:lnTo>
                    <a:pt x="37" y="5"/>
                  </a:lnTo>
                  <a:lnTo>
                    <a:pt x="24" y="4"/>
                  </a:lnTo>
                  <a:lnTo>
                    <a:pt x="24" y="4"/>
                  </a:lnTo>
                  <a:lnTo>
                    <a:pt x="24" y="2"/>
                  </a:lnTo>
                  <a:lnTo>
                    <a:pt x="22" y="1"/>
                  </a:lnTo>
                  <a:lnTo>
                    <a:pt x="21" y="0"/>
                  </a:lnTo>
                  <a:lnTo>
                    <a:pt x="16" y="0"/>
                  </a:lnTo>
                  <a:lnTo>
                    <a:pt x="16" y="0"/>
                  </a:lnTo>
                  <a:lnTo>
                    <a:pt x="9" y="1"/>
                  </a:lnTo>
                  <a:lnTo>
                    <a:pt x="9" y="1"/>
                  </a:lnTo>
                  <a:lnTo>
                    <a:pt x="13" y="31"/>
                  </a:lnTo>
                  <a:lnTo>
                    <a:pt x="13" y="31"/>
                  </a:lnTo>
                  <a:lnTo>
                    <a:pt x="13" y="37"/>
                  </a:lnTo>
                  <a:lnTo>
                    <a:pt x="9" y="47"/>
                  </a:lnTo>
                  <a:lnTo>
                    <a:pt x="0" y="65"/>
                  </a:lnTo>
                  <a:lnTo>
                    <a:pt x="0" y="65"/>
                  </a:lnTo>
                  <a:lnTo>
                    <a:pt x="0" y="69"/>
                  </a:lnTo>
                  <a:lnTo>
                    <a:pt x="2" y="71"/>
                  </a:lnTo>
                  <a:lnTo>
                    <a:pt x="6" y="71"/>
                  </a:lnTo>
                  <a:lnTo>
                    <a:pt x="6" y="71"/>
                  </a:lnTo>
                  <a:lnTo>
                    <a:pt x="8" y="73"/>
                  </a:lnTo>
                  <a:lnTo>
                    <a:pt x="9" y="79"/>
                  </a:lnTo>
                  <a:lnTo>
                    <a:pt x="11" y="85"/>
                  </a:lnTo>
                  <a:lnTo>
                    <a:pt x="11" y="91"/>
                  </a:lnTo>
                  <a:lnTo>
                    <a:pt x="11" y="91"/>
                  </a:lnTo>
                  <a:lnTo>
                    <a:pt x="9" y="95"/>
                  </a:lnTo>
                  <a:lnTo>
                    <a:pt x="11" y="98"/>
                  </a:lnTo>
                  <a:lnTo>
                    <a:pt x="13" y="101"/>
                  </a:lnTo>
                  <a:lnTo>
                    <a:pt x="18" y="102"/>
                  </a:lnTo>
                  <a:lnTo>
                    <a:pt x="18" y="102"/>
                  </a:lnTo>
                  <a:lnTo>
                    <a:pt x="25" y="102"/>
                  </a:lnTo>
                  <a:lnTo>
                    <a:pt x="29" y="101"/>
                  </a:lnTo>
                  <a:lnTo>
                    <a:pt x="29" y="101"/>
                  </a:lnTo>
                  <a:lnTo>
                    <a:pt x="31" y="92"/>
                  </a:lnTo>
                  <a:lnTo>
                    <a:pt x="34" y="86"/>
                  </a:lnTo>
                  <a:lnTo>
                    <a:pt x="34" y="86"/>
                  </a:lnTo>
                  <a:lnTo>
                    <a:pt x="35" y="84"/>
                  </a:lnTo>
                  <a:lnTo>
                    <a:pt x="35" y="81"/>
                  </a:lnTo>
                  <a:lnTo>
                    <a:pt x="35" y="76"/>
                  </a:lnTo>
                  <a:lnTo>
                    <a:pt x="35" y="71"/>
                  </a:lnTo>
                  <a:close/>
                </a:path>
              </a:pathLst>
            </a:custGeom>
            <a:solidFill>
              <a:srgbClr val="81BC00"/>
            </a:solidFill>
            <a:ln w="9525">
              <a:noFill/>
              <a:round/>
              <a:headEnd/>
              <a:tailEnd/>
            </a:ln>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33" name="Freeform 704"/>
            <p:cNvSpPr>
              <a:spLocks/>
            </p:cNvSpPr>
            <p:nvPr/>
          </p:nvSpPr>
          <p:spPr bwMode="auto">
            <a:xfrm>
              <a:off x="4073525" y="3592942"/>
              <a:ext cx="84138" cy="161925"/>
            </a:xfrm>
            <a:custGeom>
              <a:avLst/>
              <a:gdLst>
                <a:gd name="T0" fmla="*/ 35 w 53"/>
                <a:gd name="T1" fmla="*/ 71 h 102"/>
                <a:gd name="T2" fmla="*/ 35 w 53"/>
                <a:gd name="T3" fmla="*/ 71 h 102"/>
                <a:gd name="T4" fmla="*/ 37 w 53"/>
                <a:gd name="T5" fmla="*/ 62 h 102"/>
                <a:gd name="T6" fmla="*/ 40 w 53"/>
                <a:gd name="T7" fmla="*/ 49 h 102"/>
                <a:gd name="T8" fmla="*/ 41 w 53"/>
                <a:gd name="T9" fmla="*/ 36 h 102"/>
                <a:gd name="T10" fmla="*/ 42 w 53"/>
                <a:gd name="T11" fmla="*/ 27 h 102"/>
                <a:gd name="T12" fmla="*/ 42 w 53"/>
                <a:gd name="T13" fmla="*/ 27 h 102"/>
                <a:gd name="T14" fmla="*/ 45 w 53"/>
                <a:gd name="T15" fmla="*/ 21 h 102"/>
                <a:gd name="T16" fmla="*/ 50 w 53"/>
                <a:gd name="T17" fmla="*/ 17 h 102"/>
                <a:gd name="T18" fmla="*/ 53 w 53"/>
                <a:gd name="T19" fmla="*/ 13 h 102"/>
                <a:gd name="T20" fmla="*/ 53 w 53"/>
                <a:gd name="T21" fmla="*/ 11 h 102"/>
                <a:gd name="T22" fmla="*/ 51 w 53"/>
                <a:gd name="T23" fmla="*/ 8 h 102"/>
                <a:gd name="T24" fmla="*/ 51 w 53"/>
                <a:gd name="T25" fmla="*/ 8 h 102"/>
                <a:gd name="T26" fmla="*/ 48 w 53"/>
                <a:gd name="T27" fmla="*/ 7 h 102"/>
                <a:gd name="T28" fmla="*/ 44 w 53"/>
                <a:gd name="T29" fmla="*/ 5 h 102"/>
                <a:gd name="T30" fmla="*/ 37 w 53"/>
                <a:gd name="T31" fmla="*/ 5 h 102"/>
                <a:gd name="T32" fmla="*/ 24 w 53"/>
                <a:gd name="T33" fmla="*/ 4 h 102"/>
                <a:gd name="T34" fmla="*/ 24 w 53"/>
                <a:gd name="T35" fmla="*/ 4 h 102"/>
                <a:gd name="T36" fmla="*/ 24 w 53"/>
                <a:gd name="T37" fmla="*/ 2 h 102"/>
                <a:gd name="T38" fmla="*/ 22 w 53"/>
                <a:gd name="T39" fmla="*/ 1 h 102"/>
                <a:gd name="T40" fmla="*/ 21 w 53"/>
                <a:gd name="T41" fmla="*/ 0 h 102"/>
                <a:gd name="T42" fmla="*/ 16 w 53"/>
                <a:gd name="T43" fmla="*/ 0 h 102"/>
                <a:gd name="T44" fmla="*/ 16 w 53"/>
                <a:gd name="T45" fmla="*/ 0 h 102"/>
                <a:gd name="T46" fmla="*/ 9 w 53"/>
                <a:gd name="T47" fmla="*/ 1 h 102"/>
                <a:gd name="T48" fmla="*/ 9 w 53"/>
                <a:gd name="T49" fmla="*/ 1 h 102"/>
                <a:gd name="T50" fmla="*/ 13 w 53"/>
                <a:gd name="T51" fmla="*/ 31 h 102"/>
                <a:gd name="T52" fmla="*/ 13 w 53"/>
                <a:gd name="T53" fmla="*/ 31 h 102"/>
                <a:gd name="T54" fmla="*/ 13 w 53"/>
                <a:gd name="T55" fmla="*/ 37 h 102"/>
                <a:gd name="T56" fmla="*/ 9 w 53"/>
                <a:gd name="T57" fmla="*/ 47 h 102"/>
                <a:gd name="T58" fmla="*/ 0 w 53"/>
                <a:gd name="T59" fmla="*/ 65 h 102"/>
                <a:gd name="T60" fmla="*/ 0 w 53"/>
                <a:gd name="T61" fmla="*/ 65 h 102"/>
                <a:gd name="T62" fmla="*/ 0 w 53"/>
                <a:gd name="T63" fmla="*/ 69 h 102"/>
                <a:gd name="T64" fmla="*/ 2 w 53"/>
                <a:gd name="T65" fmla="*/ 71 h 102"/>
                <a:gd name="T66" fmla="*/ 6 w 53"/>
                <a:gd name="T67" fmla="*/ 71 h 102"/>
                <a:gd name="T68" fmla="*/ 6 w 53"/>
                <a:gd name="T69" fmla="*/ 71 h 102"/>
                <a:gd name="T70" fmla="*/ 8 w 53"/>
                <a:gd name="T71" fmla="*/ 73 h 102"/>
                <a:gd name="T72" fmla="*/ 9 w 53"/>
                <a:gd name="T73" fmla="*/ 79 h 102"/>
                <a:gd name="T74" fmla="*/ 11 w 53"/>
                <a:gd name="T75" fmla="*/ 85 h 102"/>
                <a:gd name="T76" fmla="*/ 11 w 53"/>
                <a:gd name="T77" fmla="*/ 91 h 102"/>
                <a:gd name="T78" fmla="*/ 11 w 53"/>
                <a:gd name="T79" fmla="*/ 91 h 102"/>
                <a:gd name="T80" fmla="*/ 9 w 53"/>
                <a:gd name="T81" fmla="*/ 95 h 102"/>
                <a:gd name="T82" fmla="*/ 11 w 53"/>
                <a:gd name="T83" fmla="*/ 98 h 102"/>
                <a:gd name="T84" fmla="*/ 13 w 53"/>
                <a:gd name="T85" fmla="*/ 101 h 102"/>
                <a:gd name="T86" fmla="*/ 18 w 53"/>
                <a:gd name="T87" fmla="*/ 102 h 102"/>
                <a:gd name="T88" fmla="*/ 18 w 53"/>
                <a:gd name="T89" fmla="*/ 102 h 102"/>
                <a:gd name="T90" fmla="*/ 25 w 53"/>
                <a:gd name="T91" fmla="*/ 102 h 102"/>
                <a:gd name="T92" fmla="*/ 29 w 53"/>
                <a:gd name="T93" fmla="*/ 101 h 102"/>
                <a:gd name="T94" fmla="*/ 29 w 53"/>
                <a:gd name="T95" fmla="*/ 101 h 102"/>
                <a:gd name="T96" fmla="*/ 31 w 53"/>
                <a:gd name="T97" fmla="*/ 92 h 102"/>
                <a:gd name="T98" fmla="*/ 34 w 53"/>
                <a:gd name="T99" fmla="*/ 86 h 102"/>
                <a:gd name="T100" fmla="*/ 34 w 53"/>
                <a:gd name="T101" fmla="*/ 86 h 102"/>
                <a:gd name="T102" fmla="*/ 35 w 53"/>
                <a:gd name="T103" fmla="*/ 84 h 102"/>
                <a:gd name="T104" fmla="*/ 35 w 53"/>
                <a:gd name="T105" fmla="*/ 81 h 102"/>
                <a:gd name="T106" fmla="*/ 35 w 53"/>
                <a:gd name="T107" fmla="*/ 76 h 102"/>
                <a:gd name="T108" fmla="*/ 35 w 53"/>
                <a:gd name="T109" fmla="*/ 7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 h="102">
                  <a:moveTo>
                    <a:pt x="35" y="71"/>
                  </a:moveTo>
                  <a:lnTo>
                    <a:pt x="35" y="71"/>
                  </a:lnTo>
                  <a:lnTo>
                    <a:pt x="37" y="62"/>
                  </a:lnTo>
                  <a:lnTo>
                    <a:pt x="40" y="49"/>
                  </a:lnTo>
                  <a:lnTo>
                    <a:pt x="41" y="36"/>
                  </a:lnTo>
                  <a:lnTo>
                    <a:pt x="42" y="27"/>
                  </a:lnTo>
                  <a:lnTo>
                    <a:pt x="42" y="27"/>
                  </a:lnTo>
                  <a:lnTo>
                    <a:pt x="45" y="21"/>
                  </a:lnTo>
                  <a:lnTo>
                    <a:pt x="50" y="17"/>
                  </a:lnTo>
                  <a:lnTo>
                    <a:pt x="53" y="13"/>
                  </a:lnTo>
                  <a:lnTo>
                    <a:pt x="53" y="11"/>
                  </a:lnTo>
                  <a:lnTo>
                    <a:pt x="51" y="8"/>
                  </a:lnTo>
                  <a:lnTo>
                    <a:pt x="51" y="8"/>
                  </a:lnTo>
                  <a:lnTo>
                    <a:pt x="48" y="7"/>
                  </a:lnTo>
                  <a:lnTo>
                    <a:pt x="44" y="5"/>
                  </a:lnTo>
                  <a:lnTo>
                    <a:pt x="37" y="5"/>
                  </a:lnTo>
                  <a:lnTo>
                    <a:pt x="24" y="4"/>
                  </a:lnTo>
                  <a:lnTo>
                    <a:pt x="24" y="4"/>
                  </a:lnTo>
                  <a:lnTo>
                    <a:pt x="24" y="2"/>
                  </a:lnTo>
                  <a:lnTo>
                    <a:pt x="22" y="1"/>
                  </a:lnTo>
                  <a:lnTo>
                    <a:pt x="21" y="0"/>
                  </a:lnTo>
                  <a:lnTo>
                    <a:pt x="16" y="0"/>
                  </a:lnTo>
                  <a:lnTo>
                    <a:pt x="16" y="0"/>
                  </a:lnTo>
                  <a:lnTo>
                    <a:pt x="9" y="1"/>
                  </a:lnTo>
                  <a:lnTo>
                    <a:pt x="9" y="1"/>
                  </a:lnTo>
                  <a:lnTo>
                    <a:pt x="13" y="31"/>
                  </a:lnTo>
                  <a:lnTo>
                    <a:pt x="13" y="31"/>
                  </a:lnTo>
                  <a:lnTo>
                    <a:pt x="13" y="37"/>
                  </a:lnTo>
                  <a:lnTo>
                    <a:pt x="9" y="47"/>
                  </a:lnTo>
                  <a:lnTo>
                    <a:pt x="0" y="65"/>
                  </a:lnTo>
                  <a:lnTo>
                    <a:pt x="0" y="65"/>
                  </a:lnTo>
                  <a:lnTo>
                    <a:pt x="0" y="69"/>
                  </a:lnTo>
                  <a:lnTo>
                    <a:pt x="2" y="71"/>
                  </a:lnTo>
                  <a:lnTo>
                    <a:pt x="6" y="71"/>
                  </a:lnTo>
                  <a:lnTo>
                    <a:pt x="6" y="71"/>
                  </a:lnTo>
                  <a:lnTo>
                    <a:pt x="8" y="73"/>
                  </a:lnTo>
                  <a:lnTo>
                    <a:pt x="9" y="79"/>
                  </a:lnTo>
                  <a:lnTo>
                    <a:pt x="11" y="85"/>
                  </a:lnTo>
                  <a:lnTo>
                    <a:pt x="11" y="91"/>
                  </a:lnTo>
                  <a:lnTo>
                    <a:pt x="11" y="91"/>
                  </a:lnTo>
                  <a:lnTo>
                    <a:pt x="9" y="95"/>
                  </a:lnTo>
                  <a:lnTo>
                    <a:pt x="11" y="98"/>
                  </a:lnTo>
                  <a:lnTo>
                    <a:pt x="13" y="101"/>
                  </a:lnTo>
                  <a:lnTo>
                    <a:pt x="18" y="102"/>
                  </a:lnTo>
                  <a:lnTo>
                    <a:pt x="18" y="102"/>
                  </a:lnTo>
                  <a:lnTo>
                    <a:pt x="25" y="102"/>
                  </a:lnTo>
                  <a:lnTo>
                    <a:pt x="29" y="101"/>
                  </a:lnTo>
                  <a:lnTo>
                    <a:pt x="29" y="101"/>
                  </a:lnTo>
                  <a:lnTo>
                    <a:pt x="31" y="92"/>
                  </a:lnTo>
                  <a:lnTo>
                    <a:pt x="34" y="86"/>
                  </a:lnTo>
                  <a:lnTo>
                    <a:pt x="34" y="86"/>
                  </a:lnTo>
                  <a:lnTo>
                    <a:pt x="35" y="84"/>
                  </a:lnTo>
                  <a:lnTo>
                    <a:pt x="35" y="81"/>
                  </a:lnTo>
                  <a:lnTo>
                    <a:pt x="35" y="76"/>
                  </a:lnTo>
                  <a:lnTo>
                    <a:pt x="35" y="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34" name="Freeform 705"/>
            <p:cNvSpPr>
              <a:spLocks/>
            </p:cNvSpPr>
            <p:nvPr/>
          </p:nvSpPr>
          <p:spPr bwMode="auto">
            <a:xfrm>
              <a:off x="4821238" y="3610404"/>
              <a:ext cx="168275" cy="163513"/>
            </a:xfrm>
            <a:custGeom>
              <a:avLst/>
              <a:gdLst>
                <a:gd name="T0" fmla="*/ 15 w 106"/>
                <a:gd name="T1" fmla="*/ 12 h 103"/>
                <a:gd name="T2" fmla="*/ 15 w 106"/>
                <a:gd name="T3" fmla="*/ 26 h 103"/>
                <a:gd name="T4" fmla="*/ 10 w 106"/>
                <a:gd name="T5" fmla="*/ 32 h 103"/>
                <a:gd name="T6" fmla="*/ 2 w 106"/>
                <a:gd name="T7" fmla="*/ 45 h 103"/>
                <a:gd name="T8" fmla="*/ 6 w 106"/>
                <a:gd name="T9" fmla="*/ 48 h 103"/>
                <a:gd name="T10" fmla="*/ 10 w 106"/>
                <a:gd name="T11" fmla="*/ 47 h 103"/>
                <a:gd name="T12" fmla="*/ 18 w 106"/>
                <a:gd name="T13" fmla="*/ 52 h 103"/>
                <a:gd name="T14" fmla="*/ 19 w 106"/>
                <a:gd name="T15" fmla="*/ 58 h 103"/>
                <a:gd name="T16" fmla="*/ 20 w 106"/>
                <a:gd name="T17" fmla="*/ 61 h 103"/>
                <a:gd name="T18" fmla="*/ 49 w 106"/>
                <a:gd name="T19" fmla="*/ 64 h 103"/>
                <a:gd name="T20" fmla="*/ 51 w 106"/>
                <a:gd name="T21" fmla="*/ 67 h 103"/>
                <a:gd name="T22" fmla="*/ 46 w 106"/>
                <a:gd name="T23" fmla="*/ 71 h 103"/>
                <a:gd name="T24" fmla="*/ 32 w 106"/>
                <a:gd name="T25" fmla="*/ 67 h 103"/>
                <a:gd name="T26" fmla="*/ 23 w 106"/>
                <a:gd name="T27" fmla="*/ 73 h 103"/>
                <a:gd name="T28" fmla="*/ 23 w 106"/>
                <a:gd name="T29" fmla="*/ 75 h 103"/>
                <a:gd name="T30" fmla="*/ 29 w 106"/>
                <a:gd name="T31" fmla="*/ 86 h 103"/>
                <a:gd name="T32" fmla="*/ 31 w 106"/>
                <a:gd name="T33" fmla="*/ 90 h 103"/>
                <a:gd name="T34" fmla="*/ 36 w 106"/>
                <a:gd name="T35" fmla="*/ 91 h 103"/>
                <a:gd name="T36" fmla="*/ 42 w 106"/>
                <a:gd name="T37" fmla="*/ 102 h 103"/>
                <a:gd name="T38" fmla="*/ 44 w 106"/>
                <a:gd name="T39" fmla="*/ 103 h 103"/>
                <a:gd name="T40" fmla="*/ 49 w 106"/>
                <a:gd name="T41" fmla="*/ 96 h 103"/>
                <a:gd name="T42" fmla="*/ 52 w 106"/>
                <a:gd name="T43" fmla="*/ 93 h 103"/>
                <a:gd name="T44" fmla="*/ 52 w 106"/>
                <a:gd name="T45" fmla="*/ 81 h 103"/>
                <a:gd name="T46" fmla="*/ 57 w 106"/>
                <a:gd name="T47" fmla="*/ 78 h 103"/>
                <a:gd name="T48" fmla="*/ 58 w 106"/>
                <a:gd name="T49" fmla="*/ 71 h 103"/>
                <a:gd name="T50" fmla="*/ 62 w 106"/>
                <a:gd name="T51" fmla="*/ 73 h 103"/>
                <a:gd name="T52" fmla="*/ 64 w 106"/>
                <a:gd name="T53" fmla="*/ 71 h 103"/>
                <a:gd name="T54" fmla="*/ 65 w 106"/>
                <a:gd name="T55" fmla="*/ 67 h 103"/>
                <a:gd name="T56" fmla="*/ 75 w 106"/>
                <a:gd name="T57" fmla="*/ 71 h 103"/>
                <a:gd name="T58" fmla="*/ 75 w 106"/>
                <a:gd name="T59" fmla="*/ 65 h 103"/>
                <a:gd name="T60" fmla="*/ 73 w 106"/>
                <a:gd name="T61" fmla="*/ 61 h 103"/>
                <a:gd name="T62" fmla="*/ 64 w 106"/>
                <a:gd name="T63" fmla="*/ 57 h 103"/>
                <a:gd name="T64" fmla="*/ 52 w 106"/>
                <a:gd name="T65" fmla="*/ 39 h 103"/>
                <a:gd name="T66" fmla="*/ 46 w 106"/>
                <a:gd name="T67" fmla="*/ 26 h 103"/>
                <a:gd name="T68" fmla="*/ 48 w 106"/>
                <a:gd name="T69" fmla="*/ 22 h 103"/>
                <a:gd name="T70" fmla="*/ 60 w 106"/>
                <a:gd name="T71" fmla="*/ 26 h 103"/>
                <a:gd name="T72" fmla="*/ 62 w 106"/>
                <a:gd name="T73" fmla="*/ 23 h 103"/>
                <a:gd name="T74" fmla="*/ 62 w 106"/>
                <a:gd name="T75" fmla="*/ 16 h 103"/>
                <a:gd name="T76" fmla="*/ 77 w 106"/>
                <a:gd name="T77" fmla="*/ 13 h 103"/>
                <a:gd name="T78" fmla="*/ 90 w 106"/>
                <a:gd name="T79" fmla="*/ 10 h 103"/>
                <a:gd name="T80" fmla="*/ 97 w 106"/>
                <a:gd name="T81" fmla="*/ 12 h 103"/>
                <a:gd name="T82" fmla="*/ 102 w 106"/>
                <a:gd name="T83" fmla="*/ 2 h 103"/>
                <a:gd name="T84" fmla="*/ 73 w 106"/>
                <a:gd name="T85" fmla="*/ 0 h 103"/>
                <a:gd name="T86" fmla="*/ 51 w 106"/>
                <a:gd name="T87" fmla="*/ 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6" h="103">
                  <a:moveTo>
                    <a:pt x="45" y="10"/>
                  </a:moveTo>
                  <a:lnTo>
                    <a:pt x="45" y="10"/>
                  </a:lnTo>
                  <a:lnTo>
                    <a:pt x="15" y="12"/>
                  </a:lnTo>
                  <a:lnTo>
                    <a:pt x="15" y="12"/>
                  </a:lnTo>
                  <a:lnTo>
                    <a:pt x="16" y="20"/>
                  </a:lnTo>
                  <a:lnTo>
                    <a:pt x="15" y="26"/>
                  </a:lnTo>
                  <a:lnTo>
                    <a:pt x="15" y="26"/>
                  </a:lnTo>
                  <a:lnTo>
                    <a:pt x="13" y="29"/>
                  </a:lnTo>
                  <a:lnTo>
                    <a:pt x="10" y="32"/>
                  </a:lnTo>
                  <a:lnTo>
                    <a:pt x="0" y="41"/>
                  </a:lnTo>
                  <a:lnTo>
                    <a:pt x="0" y="41"/>
                  </a:lnTo>
                  <a:lnTo>
                    <a:pt x="2" y="45"/>
                  </a:lnTo>
                  <a:lnTo>
                    <a:pt x="2" y="45"/>
                  </a:lnTo>
                  <a:lnTo>
                    <a:pt x="4" y="48"/>
                  </a:lnTo>
                  <a:lnTo>
                    <a:pt x="6" y="48"/>
                  </a:lnTo>
                  <a:lnTo>
                    <a:pt x="9" y="47"/>
                  </a:lnTo>
                  <a:lnTo>
                    <a:pt x="10" y="47"/>
                  </a:lnTo>
                  <a:lnTo>
                    <a:pt x="10" y="47"/>
                  </a:lnTo>
                  <a:lnTo>
                    <a:pt x="13" y="48"/>
                  </a:lnTo>
                  <a:lnTo>
                    <a:pt x="15" y="49"/>
                  </a:lnTo>
                  <a:lnTo>
                    <a:pt x="18" y="52"/>
                  </a:lnTo>
                  <a:lnTo>
                    <a:pt x="18" y="52"/>
                  </a:lnTo>
                  <a:lnTo>
                    <a:pt x="20" y="55"/>
                  </a:lnTo>
                  <a:lnTo>
                    <a:pt x="19" y="58"/>
                  </a:lnTo>
                  <a:lnTo>
                    <a:pt x="19" y="60"/>
                  </a:lnTo>
                  <a:lnTo>
                    <a:pt x="20" y="61"/>
                  </a:lnTo>
                  <a:lnTo>
                    <a:pt x="20" y="61"/>
                  </a:lnTo>
                  <a:lnTo>
                    <a:pt x="26" y="62"/>
                  </a:lnTo>
                  <a:lnTo>
                    <a:pt x="35" y="64"/>
                  </a:lnTo>
                  <a:lnTo>
                    <a:pt x="49" y="64"/>
                  </a:lnTo>
                  <a:lnTo>
                    <a:pt x="49" y="64"/>
                  </a:lnTo>
                  <a:lnTo>
                    <a:pt x="51" y="65"/>
                  </a:lnTo>
                  <a:lnTo>
                    <a:pt x="51" y="67"/>
                  </a:lnTo>
                  <a:lnTo>
                    <a:pt x="49" y="71"/>
                  </a:lnTo>
                  <a:lnTo>
                    <a:pt x="49" y="71"/>
                  </a:lnTo>
                  <a:lnTo>
                    <a:pt x="46" y="71"/>
                  </a:lnTo>
                  <a:lnTo>
                    <a:pt x="41" y="70"/>
                  </a:lnTo>
                  <a:lnTo>
                    <a:pt x="32" y="67"/>
                  </a:lnTo>
                  <a:lnTo>
                    <a:pt x="32" y="67"/>
                  </a:lnTo>
                  <a:lnTo>
                    <a:pt x="29" y="67"/>
                  </a:lnTo>
                  <a:lnTo>
                    <a:pt x="26" y="68"/>
                  </a:lnTo>
                  <a:lnTo>
                    <a:pt x="23" y="73"/>
                  </a:lnTo>
                  <a:lnTo>
                    <a:pt x="23" y="73"/>
                  </a:lnTo>
                  <a:lnTo>
                    <a:pt x="22" y="74"/>
                  </a:lnTo>
                  <a:lnTo>
                    <a:pt x="23" y="75"/>
                  </a:lnTo>
                  <a:lnTo>
                    <a:pt x="25" y="78"/>
                  </a:lnTo>
                  <a:lnTo>
                    <a:pt x="28" y="83"/>
                  </a:lnTo>
                  <a:lnTo>
                    <a:pt x="29" y="86"/>
                  </a:lnTo>
                  <a:lnTo>
                    <a:pt x="29" y="86"/>
                  </a:lnTo>
                  <a:lnTo>
                    <a:pt x="29" y="89"/>
                  </a:lnTo>
                  <a:lnTo>
                    <a:pt x="31" y="90"/>
                  </a:lnTo>
                  <a:lnTo>
                    <a:pt x="33" y="91"/>
                  </a:lnTo>
                  <a:lnTo>
                    <a:pt x="36" y="91"/>
                  </a:lnTo>
                  <a:lnTo>
                    <a:pt x="36" y="91"/>
                  </a:lnTo>
                  <a:lnTo>
                    <a:pt x="38" y="93"/>
                  </a:lnTo>
                  <a:lnTo>
                    <a:pt x="39" y="94"/>
                  </a:lnTo>
                  <a:lnTo>
                    <a:pt x="42" y="102"/>
                  </a:lnTo>
                  <a:lnTo>
                    <a:pt x="42" y="102"/>
                  </a:lnTo>
                  <a:lnTo>
                    <a:pt x="42" y="103"/>
                  </a:lnTo>
                  <a:lnTo>
                    <a:pt x="44" y="103"/>
                  </a:lnTo>
                  <a:lnTo>
                    <a:pt x="45" y="100"/>
                  </a:lnTo>
                  <a:lnTo>
                    <a:pt x="46" y="97"/>
                  </a:lnTo>
                  <a:lnTo>
                    <a:pt x="49" y="96"/>
                  </a:lnTo>
                  <a:lnTo>
                    <a:pt x="49" y="96"/>
                  </a:lnTo>
                  <a:lnTo>
                    <a:pt x="51" y="96"/>
                  </a:lnTo>
                  <a:lnTo>
                    <a:pt x="52" y="93"/>
                  </a:lnTo>
                  <a:lnTo>
                    <a:pt x="52" y="86"/>
                  </a:lnTo>
                  <a:lnTo>
                    <a:pt x="52" y="86"/>
                  </a:lnTo>
                  <a:lnTo>
                    <a:pt x="52" y="81"/>
                  </a:lnTo>
                  <a:lnTo>
                    <a:pt x="54" y="80"/>
                  </a:lnTo>
                  <a:lnTo>
                    <a:pt x="57" y="78"/>
                  </a:lnTo>
                  <a:lnTo>
                    <a:pt x="57" y="78"/>
                  </a:lnTo>
                  <a:lnTo>
                    <a:pt x="57" y="75"/>
                  </a:lnTo>
                  <a:lnTo>
                    <a:pt x="58" y="71"/>
                  </a:lnTo>
                  <a:lnTo>
                    <a:pt x="58" y="71"/>
                  </a:lnTo>
                  <a:lnTo>
                    <a:pt x="58" y="68"/>
                  </a:lnTo>
                  <a:lnTo>
                    <a:pt x="60" y="70"/>
                  </a:lnTo>
                  <a:lnTo>
                    <a:pt x="62" y="73"/>
                  </a:lnTo>
                  <a:lnTo>
                    <a:pt x="62" y="73"/>
                  </a:lnTo>
                  <a:lnTo>
                    <a:pt x="64" y="73"/>
                  </a:lnTo>
                  <a:lnTo>
                    <a:pt x="64" y="71"/>
                  </a:lnTo>
                  <a:lnTo>
                    <a:pt x="64" y="67"/>
                  </a:lnTo>
                  <a:lnTo>
                    <a:pt x="64" y="67"/>
                  </a:lnTo>
                  <a:lnTo>
                    <a:pt x="65" y="67"/>
                  </a:lnTo>
                  <a:lnTo>
                    <a:pt x="70" y="68"/>
                  </a:lnTo>
                  <a:lnTo>
                    <a:pt x="75" y="71"/>
                  </a:lnTo>
                  <a:lnTo>
                    <a:pt x="75" y="71"/>
                  </a:lnTo>
                  <a:lnTo>
                    <a:pt x="77" y="73"/>
                  </a:lnTo>
                  <a:lnTo>
                    <a:pt x="77" y="71"/>
                  </a:lnTo>
                  <a:lnTo>
                    <a:pt x="75" y="65"/>
                  </a:lnTo>
                  <a:lnTo>
                    <a:pt x="75" y="65"/>
                  </a:lnTo>
                  <a:lnTo>
                    <a:pt x="74" y="62"/>
                  </a:lnTo>
                  <a:lnTo>
                    <a:pt x="73" y="61"/>
                  </a:lnTo>
                  <a:lnTo>
                    <a:pt x="68" y="58"/>
                  </a:lnTo>
                  <a:lnTo>
                    <a:pt x="68" y="58"/>
                  </a:lnTo>
                  <a:lnTo>
                    <a:pt x="64" y="57"/>
                  </a:lnTo>
                  <a:lnTo>
                    <a:pt x="60" y="51"/>
                  </a:lnTo>
                  <a:lnTo>
                    <a:pt x="52" y="39"/>
                  </a:lnTo>
                  <a:lnTo>
                    <a:pt x="52" y="39"/>
                  </a:lnTo>
                  <a:lnTo>
                    <a:pt x="49" y="35"/>
                  </a:lnTo>
                  <a:lnTo>
                    <a:pt x="48" y="31"/>
                  </a:lnTo>
                  <a:lnTo>
                    <a:pt x="46" y="26"/>
                  </a:lnTo>
                  <a:lnTo>
                    <a:pt x="48" y="22"/>
                  </a:lnTo>
                  <a:lnTo>
                    <a:pt x="48" y="22"/>
                  </a:lnTo>
                  <a:lnTo>
                    <a:pt x="48" y="22"/>
                  </a:lnTo>
                  <a:lnTo>
                    <a:pt x="49" y="20"/>
                  </a:lnTo>
                  <a:lnTo>
                    <a:pt x="52" y="22"/>
                  </a:lnTo>
                  <a:lnTo>
                    <a:pt x="60" y="26"/>
                  </a:lnTo>
                  <a:lnTo>
                    <a:pt x="60" y="26"/>
                  </a:lnTo>
                  <a:lnTo>
                    <a:pt x="61" y="26"/>
                  </a:lnTo>
                  <a:lnTo>
                    <a:pt x="62" y="23"/>
                  </a:lnTo>
                  <a:lnTo>
                    <a:pt x="62" y="18"/>
                  </a:lnTo>
                  <a:lnTo>
                    <a:pt x="62" y="18"/>
                  </a:lnTo>
                  <a:lnTo>
                    <a:pt x="62" y="16"/>
                  </a:lnTo>
                  <a:lnTo>
                    <a:pt x="64" y="15"/>
                  </a:lnTo>
                  <a:lnTo>
                    <a:pt x="67" y="13"/>
                  </a:lnTo>
                  <a:lnTo>
                    <a:pt x="77" y="13"/>
                  </a:lnTo>
                  <a:lnTo>
                    <a:pt x="77" y="13"/>
                  </a:lnTo>
                  <a:lnTo>
                    <a:pt x="84" y="13"/>
                  </a:lnTo>
                  <a:lnTo>
                    <a:pt x="90" y="10"/>
                  </a:lnTo>
                  <a:lnTo>
                    <a:pt x="90" y="10"/>
                  </a:lnTo>
                  <a:lnTo>
                    <a:pt x="94" y="10"/>
                  </a:lnTo>
                  <a:lnTo>
                    <a:pt x="97" y="12"/>
                  </a:lnTo>
                  <a:lnTo>
                    <a:pt x="106" y="16"/>
                  </a:lnTo>
                  <a:lnTo>
                    <a:pt x="106" y="16"/>
                  </a:lnTo>
                  <a:lnTo>
                    <a:pt x="102" y="2"/>
                  </a:lnTo>
                  <a:lnTo>
                    <a:pt x="102" y="2"/>
                  </a:lnTo>
                  <a:lnTo>
                    <a:pt x="73" y="0"/>
                  </a:lnTo>
                  <a:lnTo>
                    <a:pt x="73" y="0"/>
                  </a:lnTo>
                  <a:lnTo>
                    <a:pt x="65" y="2"/>
                  </a:lnTo>
                  <a:lnTo>
                    <a:pt x="58" y="4"/>
                  </a:lnTo>
                  <a:lnTo>
                    <a:pt x="51" y="9"/>
                  </a:lnTo>
                  <a:lnTo>
                    <a:pt x="45" y="10"/>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35" name="Freeform 706"/>
            <p:cNvSpPr>
              <a:spLocks/>
            </p:cNvSpPr>
            <p:nvPr/>
          </p:nvSpPr>
          <p:spPr bwMode="auto">
            <a:xfrm>
              <a:off x="4821238" y="3610404"/>
              <a:ext cx="168275" cy="163513"/>
            </a:xfrm>
            <a:custGeom>
              <a:avLst/>
              <a:gdLst>
                <a:gd name="T0" fmla="*/ 15 w 106"/>
                <a:gd name="T1" fmla="*/ 12 h 103"/>
                <a:gd name="T2" fmla="*/ 15 w 106"/>
                <a:gd name="T3" fmla="*/ 26 h 103"/>
                <a:gd name="T4" fmla="*/ 10 w 106"/>
                <a:gd name="T5" fmla="*/ 32 h 103"/>
                <a:gd name="T6" fmla="*/ 2 w 106"/>
                <a:gd name="T7" fmla="*/ 45 h 103"/>
                <a:gd name="T8" fmla="*/ 6 w 106"/>
                <a:gd name="T9" fmla="*/ 48 h 103"/>
                <a:gd name="T10" fmla="*/ 10 w 106"/>
                <a:gd name="T11" fmla="*/ 47 h 103"/>
                <a:gd name="T12" fmla="*/ 18 w 106"/>
                <a:gd name="T13" fmla="*/ 52 h 103"/>
                <a:gd name="T14" fmla="*/ 19 w 106"/>
                <a:gd name="T15" fmla="*/ 58 h 103"/>
                <a:gd name="T16" fmla="*/ 20 w 106"/>
                <a:gd name="T17" fmla="*/ 61 h 103"/>
                <a:gd name="T18" fmla="*/ 49 w 106"/>
                <a:gd name="T19" fmla="*/ 64 h 103"/>
                <a:gd name="T20" fmla="*/ 51 w 106"/>
                <a:gd name="T21" fmla="*/ 67 h 103"/>
                <a:gd name="T22" fmla="*/ 46 w 106"/>
                <a:gd name="T23" fmla="*/ 71 h 103"/>
                <a:gd name="T24" fmla="*/ 32 w 106"/>
                <a:gd name="T25" fmla="*/ 67 h 103"/>
                <a:gd name="T26" fmla="*/ 23 w 106"/>
                <a:gd name="T27" fmla="*/ 73 h 103"/>
                <a:gd name="T28" fmla="*/ 23 w 106"/>
                <a:gd name="T29" fmla="*/ 75 h 103"/>
                <a:gd name="T30" fmla="*/ 29 w 106"/>
                <a:gd name="T31" fmla="*/ 86 h 103"/>
                <a:gd name="T32" fmla="*/ 31 w 106"/>
                <a:gd name="T33" fmla="*/ 90 h 103"/>
                <a:gd name="T34" fmla="*/ 36 w 106"/>
                <a:gd name="T35" fmla="*/ 91 h 103"/>
                <a:gd name="T36" fmla="*/ 42 w 106"/>
                <a:gd name="T37" fmla="*/ 102 h 103"/>
                <a:gd name="T38" fmla="*/ 44 w 106"/>
                <a:gd name="T39" fmla="*/ 103 h 103"/>
                <a:gd name="T40" fmla="*/ 49 w 106"/>
                <a:gd name="T41" fmla="*/ 96 h 103"/>
                <a:gd name="T42" fmla="*/ 52 w 106"/>
                <a:gd name="T43" fmla="*/ 93 h 103"/>
                <a:gd name="T44" fmla="*/ 52 w 106"/>
                <a:gd name="T45" fmla="*/ 81 h 103"/>
                <a:gd name="T46" fmla="*/ 57 w 106"/>
                <a:gd name="T47" fmla="*/ 78 h 103"/>
                <a:gd name="T48" fmla="*/ 58 w 106"/>
                <a:gd name="T49" fmla="*/ 71 h 103"/>
                <a:gd name="T50" fmla="*/ 62 w 106"/>
                <a:gd name="T51" fmla="*/ 73 h 103"/>
                <a:gd name="T52" fmla="*/ 64 w 106"/>
                <a:gd name="T53" fmla="*/ 71 h 103"/>
                <a:gd name="T54" fmla="*/ 65 w 106"/>
                <a:gd name="T55" fmla="*/ 67 h 103"/>
                <a:gd name="T56" fmla="*/ 75 w 106"/>
                <a:gd name="T57" fmla="*/ 71 h 103"/>
                <a:gd name="T58" fmla="*/ 75 w 106"/>
                <a:gd name="T59" fmla="*/ 65 h 103"/>
                <a:gd name="T60" fmla="*/ 73 w 106"/>
                <a:gd name="T61" fmla="*/ 61 h 103"/>
                <a:gd name="T62" fmla="*/ 64 w 106"/>
                <a:gd name="T63" fmla="*/ 57 h 103"/>
                <a:gd name="T64" fmla="*/ 52 w 106"/>
                <a:gd name="T65" fmla="*/ 39 h 103"/>
                <a:gd name="T66" fmla="*/ 46 w 106"/>
                <a:gd name="T67" fmla="*/ 26 h 103"/>
                <a:gd name="T68" fmla="*/ 48 w 106"/>
                <a:gd name="T69" fmla="*/ 22 h 103"/>
                <a:gd name="T70" fmla="*/ 60 w 106"/>
                <a:gd name="T71" fmla="*/ 26 h 103"/>
                <a:gd name="T72" fmla="*/ 62 w 106"/>
                <a:gd name="T73" fmla="*/ 23 h 103"/>
                <a:gd name="T74" fmla="*/ 62 w 106"/>
                <a:gd name="T75" fmla="*/ 16 h 103"/>
                <a:gd name="T76" fmla="*/ 77 w 106"/>
                <a:gd name="T77" fmla="*/ 13 h 103"/>
                <a:gd name="T78" fmla="*/ 90 w 106"/>
                <a:gd name="T79" fmla="*/ 10 h 103"/>
                <a:gd name="T80" fmla="*/ 97 w 106"/>
                <a:gd name="T81" fmla="*/ 12 h 103"/>
                <a:gd name="T82" fmla="*/ 102 w 106"/>
                <a:gd name="T83" fmla="*/ 2 h 103"/>
                <a:gd name="T84" fmla="*/ 73 w 106"/>
                <a:gd name="T85" fmla="*/ 0 h 103"/>
                <a:gd name="T86" fmla="*/ 51 w 106"/>
                <a:gd name="T87" fmla="*/ 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6" h="103">
                  <a:moveTo>
                    <a:pt x="45" y="10"/>
                  </a:moveTo>
                  <a:lnTo>
                    <a:pt x="45" y="10"/>
                  </a:lnTo>
                  <a:lnTo>
                    <a:pt x="15" y="12"/>
                  </a:lnTo>
                  <a:lnTo>
                    <a:pt x="15" y="12"/>
                  </a:lnTo>
                  <a:lnTo>
                    <a:pt x="16" y="20"/>
                  </a:lnTo>
                  <a:lnTo>
                    <a:pt x="15" y="26"/>
                  </a:lnTo>
                  <a:lnTo>
                    <a:pt x="15" y="26"/>
                  </a:lnTo>
                  <a:lnTo>
                    <a:pt x="13" y="29"/>
                  </a:lnTo>
                  <a:lnTo>
                    <a:pt x="10" y="32"/>
                  </a:lnTo>
                  <a:lnTo>
                    <a:pt x="0" y="41"/>
                  </a:lnTo>
                  <a:lnTo>
                    <a:pt x="0" y="41"/>
                  </a:lnTo>
                  <a:lnTo>
                    <a:pt x="2" y="45"/>
                  </a:lnTo>
                  <a:lnTo>
                    <a:pt x="2" y="45"/>
                  </a:lnTo>
                  <a:lnTo>
                    <a:pt x="4" y="48"/>
                  </a:lnTo>
                  <a:lnTo>
                    <a:pt x="6" y="48"/>
                  </a:lnTo>
                  <a:lnTo>
                    <a:pt x="9" y="47"/>
                  </a:lnTo>
                  <a:lnTo>
                    <a:pt x="10" y="47"/>
                  </a:lnTo>
                  <a:lnTo>
                    <a:pt x="10" y="47"/>
                  </a:lnTo>
                  <a:lnTo>
                    <a:pt x="13" y="48"/>
                  </a:lnTo>
                  <a:lnTo>
                    <a:pt x="15" y="49"/>
                  </a:lnTo>
                  <a:lnTo>
                    <a:pt x="18" y="52"/>
                  </a:lnTo>
                  <a:lnTo>
                    <a:pt x="18" y="52"/>
                  </a:lnTo>
                  <a:lnTo>
                    <a:pt x="20" y="55"/>
                  </a:lnTo>
                  <a:lnTo>
                    <a:pt x="19" y="58"/>
                  </a:lnTo>
                  <a:lnTo>
                    <a:pt x="19" y="60"/>
                  </a:lnTo>
                  <a:lnTo>
                    <a:pt x="20" y="61"/>
                  </a:lnTo>
                  <a:lnTo>
                    <a:pt x="20" y="61"/>
                  </a:lnTo>
                  <a:lnTo>
                    <a:pt x="26" y="62"/>
                  </a:lnTo>
                  <a:lnTo>
                    <a:pt x="35" y="64"/>
                  </a:lnTo>
                  <a:lnTo>
                    <a:pt x="49" y="64"/>
                  </a:lnTo>
                  <a:lnTo>
                    <a:pt x="49" y="64"/>
                  </a:lnTo>
                  <a:lnTo>
                    <a:pt x="51" y="65"/>
                  </a:lnTo>
                  <a:lnTo>
                    <a:pt x="51" y="67"/>
                  </a:lnTo>
                  <a:lnTo>
                    <a:pt x="49" y="71"/>
                  </a:lnTo>
                  <a:lnTo>
                    <a:pt x="49" y="71"/>
                  </a:lnTo>
                  <a:lnTo>
                    <a:pt x="46" y="71"/>
                  </a:lnTo>
                  <a:lnTo>
                    <a:pt x="41" y="70"/>
                  </a:lnTo>
                  <a:lnTo>
                    <a:pt x="32" y="67"/>
                  </a:lnTo>
                  <a:lnTo>
                    <a:pt x="32" y="67"/>
                  </a:lnTo>
                  <a:lnTo>
                    <a:pt x="29" y="67"/>
                  </a:lnTo>
                  <a:lnTo>
                    <a:pt x="26" y="68"/>
                  </a:lnTo>
                  <a:lnTo>
                    <a:pt x="23" y="73"/>
                  </a:lnTo>
                  <a:lnTo>
                    <a:pt x="23" y="73"/>
                  </a:lnTo>
                  <a:lnTo>
                    <a:pt x="22" y="74"/>
                  </a:lnTo>
                  <a:lnTo>
                    <a:pt x="23" y="75"/>
                  </a:lnTo>
                  <a:lnTo>
                    <a:pt x="25" y="78"/>
                  </a:lnTo>
                  <a:lnTo>
                    <a:pt x="28" y="83"/>
                  </a:lnTo>
                  <a:lnTo>
                    <a:pt x="29" y="86"/>
                  </a:lnTo>
                  <a:lnTo>
                    <a:pt x="29" y="86"/>
                  </a:lnTo>
                  <a:lnTo>
                    <a:pt x="29" y="89"/>
                  </a:lnTo>
                  <a:lnTo>
                    <a:pt x="31" y="90"/>
                  </a:lnTo>
                  <a:lnTo>
                    <a:pt x="33" y="91"/>
                  </a:lnTo>
                  <a:lnTo>
                    <a:pt x="36" y="91"/>
                  </a:lnTo>
                  <a:lnTo>
                    <a:pt x="36" y="91"/>
                  </a:lnTo>
                  <a:lnTo>
                    <a:pt x="38" y="93"/>
                  </a:lnTo>
                  <a:lnTo>
                    <a:pt x="39" y="94"/>
                  </a:lnTo>
                  <a:lnTo>
                    <a:pt x="42" y="102"/>
                  </a:lnTo>
                  <a:lnTo>
                    <a:pt x="42" y="102"/>
                  </a:lnTo>
                  <a:lnTo>
                    <a:pt x="42" y="103"/>
                  </a:lnTo>
                  <a:lnTo>
                    <a:pt x="44" y="103"/>
                  </a:lnTo>
                  <a:lnTo>
                    <a:pt x="45" y="100"/>
                  </a:lnTo>
                  <a:lnTo>
                    <a:pt x="46" y="97"/>
                  </a:lnTo>
                  <a:lnTo>
                    <a:pt x="49" y="96"/>
                  </a:lnTo>
                  <a:lnTo>
                    <a:pt x="49" y="96"/>
                  </a:lnTo>
                  <a:lnTo>
                    <a:pt x="51" y="96"/>
                  </a:lnTo>
                  <a:lnTo>
                    <a:pt x="52" y="93"/>
                  </a:lnTo>
                  <a:lnTo>
                    <a:pt x="52" y="86"/>
                  </a:lnTo>
                  <a:lnTo>
                    <a:pt x="52" y="86"/>
                  </a:lnTo>
                  <a:lnTo>
                    <a:pt x="52" y="81"/>
                  </a:lnTo>
                  <a:lnTo>
                    <a:pt x="54" y="80"/>
                  </a:lnTo>
                  <a:lnTo>
                    <a:pt x="57" y="78"/>
                  </a:lnTo>
                  <a:lnTo>
                    <a:pt x="57" y="78"/>
                  </a:lnTo>
                  <a:lnTo>
                    <a:pt x="57" y="75"/>
                  </a:lnTo>
                  <a:lnTo>
                    <a:pt x="58" y="71"/>
                  </a:lnTo>
                  <a:lnTo>
                    <a:pt x="58" y="71"/>
                  </a:lnTo>
                  <a:lnTo>
                    <a:pt x="58" y="68"/>
                  </a:lnTo>
                  <a:lnTo>
                    <a:pt x="60" y="70"/>
                  </a:lnTo>
                  <a:lnTo>
                    <a:pt x="62" y="73"/>
                  </a:lnTo>
                  <a:lnTo>
                    <a:pt x="62" y="73"/>
                  </a:lnTo>
                  <a:lnTo>
                    <a:pt x="64" y="73"/>
                  </a:lnTo>
                  <a:lnTo>
                    <a:pt x="64" y="71"/>
                  </a:lnTo>
                  <a:lnTo>
                    <a:pt x="64" y="67"/>
                  </a:lnTo>
                  <a:lnTo>
                    <a:pt x="64" y="67"/>
                  </a:lnTo>
                  <a:lnTo>
                    <a:pt x="65" y="67"/>
                  </a:lnTo>
                  <a:lnTo>
                    <a:pt x="70" y="68"/>
                  </a:lnTo>
                  <a:lnTo>
                    <a:pt x="75" y="71"/>
                  </a:lnTo>
                  <a:lnTo>
                    <a:pt x="75" y="71"/>
                  </a:lnTo>
                  <a:lnTo>
                    <a:pt x="77" y="73"/>
                  </a:lnTo>
                  <a:lnTo>
                    <a:pt x="77" y="71"/>
                  </a:lnTo>
                  <a:lnTo>
                    <a:pt x="75" y="65"/>
                  </a:lnTo>
                  <a:lnTo>
                    <a:pt x="75" y="65"/>
                  </a:lnTo>
                  <a:lnTo>
                    <a:pt x="74" y="62"/>
                  </a:lnTo>
                  <a:lnTo>
                    <a:pt x="73" y="61"/>
                  </a:lnTo>
                  <a:lnTo>
                    <a:pt x="68" y="58"/>
                  </a:lnTo>
                  <a:lnTo>
                    <a:pt x="68" y="58"/>
                  </a:lnTo>
                  <a:lnTo>
                    <a:pt x="64" y="57"/>
                  </a:lnTo>
                  <a:lnTo>
                    <a:pt x="60" y="51"/>
                  </a:lnTo>
                  <a:lnTo>
                    <a:pt x="52" y="39"/>
                  </a:lnTo>
                  <a:lnTo>
                    <a:pt x="52" y="39"/>
                  </a:lnTo>
                  <a:lnTo>
                    <a:pt x="49" y="35"/>
                  </a:lnTo>
                  <a:lnTo>
                    <a:pt x="48" y="31"/>
                  </a:lnTo>
                  <a:lnTo>
                    <a:pt x="46" y="26"/>
                  </a:lnTo>
                  <a:lnTo>
                    <a:pt x="48" y="22"/>
                  </a:lnTo>
                  <a:lnTo>
                    <a:pt x="48" y="22"/>
                  </a:lnTo>
                  <a:lnTo>
                    <a:pt x="48" y="22"/>
                  </a:lnTo>
                  <a:lnTo>
                    <a:pt x="49" y="20"/>
                  </a:lnTo>
                  <a:lnTo>
                    <a:pt x="52" y="22"/>
                  </a:lnTo>
                  <a:lnTo>
                    <a:pt x="60" y="26"/>
                  </a:lnTo>
                  <a:lnTo>
                    <a:pt x="60" y="26"/>
                  </a:lnTo>
                  <a:lnTo>
                    <a:pt x="61" y="26"/>
                  </a:lnTo>
                  <a:lnTo>
                    <a:pt x="62" y="23"/>
                  </a:lnTo>
                  <a:lnTo>
                    <a:pt x="62" y="18"/>
                  </a:lnTo>
                  <a:lnTo>
                    <a:pt x="62" y="18"/>
                  </a:lnTo>
                  <a:lnTo>
                    <a:pt x="62" y="16"/>
                  </a:lnTo>
                  <a:lnTo>
                    <a:pt x="64" y="15"/>
                  </a:lnTo>
                  <a:lnTo>
                    <a:pt x="67" y="13"/>
                  </a:lnTo>
                  <a:lnTo>
                    <a:pt x="77" y="13"/>
                  </a:lnTo>
                  <a:lnTo>
                    <a:pt x="77" y="13"/>
                  </a:lnTo>
                  <a:lnTo>
                    <a:pt x="84" y="13"/>
                  </a:lnTo>
                  <a:lnTo>
                    <a:pt x="90" y="10"/>
                  </a:lnTo>
                  <a:lnTo>
                    <a:pt x="90" y="10"/>
                  </a:lnTo>
                  <a:lnTo>
                    <a:pt x="94" y="10"/>
                  </a:lnTo>
                  <a:lnTo>
                    <a:pt x="97" y="12"/>
                  </a:lnTo>
                  <a:lnTo>
                    <a:pt x="106" y="16"/>
                  </a:lnTo>
                  <a:lnTo>
                    <a:pt x="106" y="16"/>
                  </a:lnTo>
                  <a:lnTo>
                    <a:pt x="102" y="2"/>
                  </a:lnTo>
                  <a:lnTo>
                    <a:pt x="102" y="2"/>
                  </a:lnTo>
                  <a:lnTo>
                    <a:pt x="73" y="0"/>
                  </a:lnTo>
                  <a:lnTo>
                    <a:pt x="73" y="0"/>
                  </a:lnTo>
                  <a:lnTo>
                    <a:pt x="65" y="2"/>
                  </a:lnTo>
                  <a:lnTo>
                    <a:pt x="58" y="4"/>
                  </a:lnTo>
                  <a:lnTo>
                    <a:pt x="51" y="9"/>
                  </a:lnTo>
                  <a:lnTo>
                    <a:pt x="45"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36" name="Freeform 707"/>
            <p:cNvSpPr>
              <a:spLocks/>
            </p:cNvSpPr>
            <p:nvPr/>
          </p:nvSpPr>
          <p:spPr bwMode="auto">
            <a:xfrm>
              <a:off x="4887913" y="3518329"/>
              <a:ext cx="147638" cy="101600"/>
            </a:xfrm>
            <a:custGeom>
              <a:avLst/>
              <a:gdLst>
                <a:gd name="T0" fmla="*/ 46 w 93"/>
                <a:gd name="T1" fmla="*/ 7 h 64"/>
                <a:gd name="T2" fmla="*/ 46 w 93"/>
                <a:gd name="T3" fmla="*/ 7 h 64"/>
                <a:gd name="T4" fmla="*/ 39 w 93"/>
                <a:gd name="T5" fmla="*/ 7 h 64"/>
                <a:gd name="T6" fmla="*/ 28 w 93"/>
                <a:gd name="T7" fmla="*/ 7 h 64"/>
                <a:gd name="T8" fmla="*/ 12 w 93"/>
                <a:gd name="T9" fmla="*/ 5 h 64"/>
                <a:gd name="T10" fmla="*/ 12 w 93"/>
                <a:gd name="T11" fmla="*/ 5 h 64"/>
                <a:gd name="T12" fmla="*/ 9 w 93"/>
                <a:gd name="T13" fmla="*/ 6 h 64"/>
                <a:gd name="T14" fmla="*/ 7 w 93"/>
                <a:gd name="T15" fmla="*/ 7 h 64"/>
                <a:gd name="T16" fmla="*/ 4 w 93"/>
                <a:gd name="T17" fmla="*/ 16 h 64"/>
                <a:gd name="T18" fmla="*/ 0 w 93"/>
                <a:gd name="T19" fmla="*/ 32 h 64"/>
                <a:gd name="T20" fmla="*/ 0 w 93"/>
                <a:gd name="T21" fmla="*/ 32 h 64"/>
                <a:gd name="T22" fmla="*/ 2 w 93"/>
                <a:gd name="T23" fmla="*/ 38 h 64"/>
                <a:gd name="T24" fmla="*/ 4 w 93"/>
                <a:gd name="T25" fmla="*/ 47 h 64"/>
                <a:gd name="T26" fmla="*/ 13 w 93"/>
                <a:gd name="T27" fmla="*/ 64 h 64"/>
                <a:gd name="T28" fmla="*/ 13 w 93"/>
                <a:gd name="T29" fmla="*/ 64 h 64"/>
                <a:gd name="T30" fmla="*/ 22 w 93"/>
                <a:gd name="T31" fmla="*/ 60 h 64"/>
                <a:gd name="T32" fmla="*/ 26 w 93"/>
                <a:gd name="T33" fmla="*/ 58 h 64"/>
                <a:gd name="T34" fmla="*/ 31 w 93"/>
                <a:gd name="T35" fmla="*/ 58 h 64"/>
                <a:gd name="T36" fmla="*/ 31 w 93"/>
                <a:gd name="T37" fmla="*/ 58 h 64"/>
                <a:gd name="T38" fmla="*/ 60 w 93"/>
                <a:gd name="T39" fmla="*/ 60 h 64"/>
                <a:gd name="T40" fmla="*/ 60 w 93"/>
                <a:gd name="T41" fmla="*/ 60 h 64"/>
                <a:gd name="T42" fmla="*/ 58 w 93"/>
                <a:gd name="T43" fmla="*/ 55 h 64"/>
                <a:gd name="T44" fmla="*/ 60 w 93"/>
                <a:gd name="T45" fmla="*/ 51 h 64"/>
                <a:gd name="T46" fmla="*/ 60 w 93"/>
                <a:gd name="T47" fmla="*/ 51 h 64"/>
                <a:gd name="T48" fmla="*/ 61 w 93"/>
                <a:gd name="T49" fmla="*/ 49 h 64"/>
                <a:gd name="T50" fmla="*/ 62 w 93"/>
                <a:gd name="T51" fmla="*/ 48 h 64"/>
                <a:gd name="T52" fmla="*/ 71 w 93"/>
                <a:gd name="T53" fmla="*/ 45 h 64"/>
                <a:gd name="T54" fmla="*/ 93 w 93"/>
                <a:gd name="T55" fmla="*/ 45 h 64"/>
                <a:gd name="T56" fmla="*/ 93 w 93"/>
                <a:gd name="T57" fmla="*/ 45 h 64"/>
                <a:gd name="T58" fmla="*/ 91 w 93"/>
                <a:gd name="T59" fmla="*/ 42 h 64"/>
                <a:gd name="T60" fmla="*/ 91 w 93"/>
                <a:gd name="T61" fmla="*/ 42 h 64"/>
                <a:gd name="T62" fmla="*/ 90 w 93"/>
                <a:gd name="T63" fmla="*/ 38 h 64"/>
                <a:gd name="T64" fmla="*/ 87 w 93"/>
                <a:gd name="T65" fmla="*/ 35 h 64"/>
                <a:gd name="T66" fmla="*/ 84 w 93"/>
                <a:gd name="T67" fmla="*/ 34 h 64"/>
                <a:gd name="T68" fmla="*/ 84 w 93"/>
                <a:gd name="T69" fmla="*/ 29 h 64"/>
                <a:gd name="T70" fmla="*/ 84 w 93"/>
                <a:gd name="T71" fmla="*/ 29 h 64"/>
                <a:gd name="T72" fmla="*/ 86 w 93"/>
                <a:gd name="T73" fmla="*/ 26 h 64"/>
                <a:gd name="T74" fmla="*/ 87 w 93"/>
                <a:gd name="T75" fmla="*/ 25 h 64"/>
                <a:gd name="T76" fmla="*/ 88 w 93"/>
                <a:gd name="T77" fmla="*/ 23 h 64"/>
                <a:gd name="T78" fmla="*/ 88 w 93"/>
                <a:gd name="T79" fmla="*/ 20 h 64"/>
                <a:gd name="T80" fmla="*/ 88 w 93"/>
                <a:gd name="T81" fmla="*/ 20 h 64"/>
                <a:gd name="T82" fmla="*/ 90 w 93"/>
                <a:gd name="T83" fmla="*/ 18 h 64"/>
                <a:gd name="T84" fmla="*/ 90 w 93"/>
                <a:gd name="T85" fmla="*/ 18 h 64"/>
                <a:gd name="T86" fmla="*/ 68 w 93"/>
                <a:gd name="T87" fmla="*/ 2 h 64"/>
                <a:gd name="T88" fmla="*/ 68 w 93"/>
                <a:gd name="T89" fmla="*/ 2 h 64"/>
                <a:gd name="T90" fmla="*/ 65 w 93"/>
                <a:gd name="T91" fmla="*/ 0 h 64"/>
                <a:gd name="T92" fmla="*/ 62 w 93"/>
                <a:gd name="T93" fmla="*/ 0 h 64"/>
                <a:gd name="T94" fmla="*/ 57 w 93"/>
                <a:gd name="T95" fmla="*/ 2 h 64"/>
                <a:gd name="T96" fmla="*/ 51 w 93"/>
                <a:gd name="T97" fmla="*/ 5 h 64"/>
                <a:gd name="T98" fmla="*/ 46 w 93"/>
                <a:gd name="T99" fmla="*/ 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3" h="64">
                  <a:moveTo>
                    <a:pt x="46" y="7"/>
                  </a:moveTo>
                  <a:lnTo>
                    <a:pt x="46" y="7"/>
                  </a:lnTo>
                  <a:lnTo>
                    <a:pt x="39" y="7"/>
                  </a:lnTo>
                  <a:lnTo>
                    <a:pt x="28" y="7"/>
                  </a:lnTo>
                  <a:lnTo>
                    <a:pt x="12" y="5"/>
                  </a:lnTo>
                  <a:lnTo>
                    <a:pt x="12" y="5"/>
                  </a:lnTo>
                  <a:lnTo>
                    <a:pt x="9" y="6"/>
                  </a:lnTo>
                  <a:lnTo>
                    <a:pt x="7" y="7"/>
                  </a:lnTo>
                  <a:lnTo>
                    <a:pt x="4" y="16"/>
                  </a:lnTo>
                  <a:lnTo>
                    <a:pt x="0" y="32"/>
                  </a:lnTo>
                  <a:lnTo>
                    <a:pt x="0" y="32"/>
                  </a:lnTo>
                  <a:lnTo>
                    <a:pt x="2" y="38"/>
                  </a:lnTo>
                  <a:lnTo>
                    <a:pt x="4" y="47"/>
                  </a:lnTo>
                  <a:lnTo>
                    <a:pt x="13" y="64"/>
                  </a:lnTo>
                  <a:lnTo>
                    <a:pt x="13" y="64"/>
                  </a:lnTo>
                  <a:lnTo>
                    <a:pt x="22" y="60"/>
                  </a:lnTo>
                  <a:lnTo>
                    <a:pt x="26" y="58"/>
                  </a:lnTo>
                  <a:lnTo>
                    <a:pt x="31" y="58"/>
                  </a:lnTo>
                  <a:lnTo>
                    <a:pt x="31" y="58"/>
                  </a:lnTo>
                  <a:lnTo>
                    <a:pt x="60" y="60"/>
                  </a:lnTo>
                  <a:lnTo>
                    <a:pt x="60" y="60"/>
                  </a:lnTo>
                  <a:lnTo>
                    <a:pt x="58" y="55"/>
                  </a:lnTo>
                  <a:lnTo>
                    <a:pt x="60" y="51"/>
                  </a:lnTo>
                  <a:lnTo>
                    <a:pt x="60" y="51"/>
                  </a:lnTo>
                  <a:lnTo>
                    <a:pt x="61" y="49"/>
                  </a:lnTo>
                  <a:lnTo>
                    <a:pt x="62" y="48"/>
                  </a:lnTo>
                  <a:lnTo>
                    <a:pt x="71" y="45"/>
                  </a:lnTo>
                  <a:lnTo>
                    <a:pt x="93" y="45"/>
                  </a:lnTo>
                  <a:lnTo>
                    <a:pt x="93" y="45"/>
                  </a:lnTo>
                  <a:lnTo>
                    <a:pt x="91" y="42"/>
                  </a:lnTo>
                  <a:lnTo>
                    <a:pt x="91" y="42"/>
                  </a:lnTo>
                  <a:lnTo>
                    <a:pt x="90" y="38"/>
                  </a:lnTo>
                  <a:lnTo>
                    <a:pt x="87" y="35"/>
                  </a:lnTo>
                  <a:lnTo>
                    <a:pt x="84" y="34"/>
                  </a:lnTo>
                  <a:lnTo>
                    <a:pt x="84" y="29"/>
                  </a:lnTo>
                  <a:lnTo>
                    <a:pt x="84" y="29"/>
                  </a:lnTo>
                  <a:lnTo>
                    <a:pt x="86" y="26"/>
                  </a:lnTo>
                  <a:lnTo>
                    <a:pt x="87" y="25"/>
                  </a:lnTo>
                  <a:lnTo>
                    <a:pt x="88" y="23"/>
                  </a:lnTo>
                  <a:lnTo>
                    <a:pt x="88" y="20"/>
                  </a:lnTo>
                  <a:lnTo>
                    <a:pt x="88" y="20"/>
                  </a:lnTo>
                  <a:lnTo>
                    <a:pt x="90" y="18"/>
                  </a:lnTo>
                  <a:lnTo>
                    <a:pt x="90" y="18"/>
                  </a:lnTo>
                  <a:lnTo>
                    <a:pt x="68" y="2"/>
                  </a:lnTo>
                  <a:lnTo>
                    <a:pt x="68" y="2"/>
                  </a:lnTo>
                  <a:lnTo>
                    <a:pt x="65" y="0"/>
                  </a:lnTo>
                  <a:lnTo>
                    <a:pt x="62" y="0"/>
                  </a:lnTo>
                  <a:lnTo>
                    <a:pt x="57" y="2"/>
                  </a:lnTo>
                  <a:lnTo>
                    <a:pt x="51" y="5"/>
                  </a:lnTo>
                  <a:lnTo>
                    <a:pt x="46" y="7"/>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37" name="Freeform 708"/>
            <p:cNvSpPr>
              <a:spLocks/>
            </p:cNvSpPr>
            <p:nvPr/>
          </p:nvSpPr>
          <p:spPr bwMode="auto">
            <a:xfrm>
              <a:off x="4887913" y="3518329"/>
              <a:ext cx="147638" cy="101600"/>
            </a:xfrm>
            <a:custGeom>
              <a:avLst/>
              <a:gdLst>
                <a:gd name="T0" fmla="*/ 46 w 93"/>
                <a:gd name="T1" fmla="*/ 7 h 64"/>
                <a:gd name="T2" fmla="*/ 46 w 93"/>
                <a:gd name="T3" fmla="*/ 7 h 64"/>
                <a:gd name="T4" fmla="*/ 39 w 93"/>
                <a:gd name="T5" fmla="*/ 7 h 64"/>
                <a:gd name="T6" fmla="*/ 28 w 93"/>
                <a:gd name="T7" fmla="*/ 7 h 64"/>
                <a:gd name="T8" fmla="*/ 12 w 93"/>
                <a:gd name="T9" fmla="*/ 5 h 64"/>
                <a:gd name="T10" fmla="*/ 12 w 93"/>
                <a:gd name="T11" fmla="*/ 5 h 64"/>
                <a:gd name="T12" fmla="*/ 9 w 93"/>
                <a:gd name="T13" fmla="*/ 6 h 64"/>
                <a:gd name="T14" fmla="*/ 7 w 93"/>
                <a:gd name="T15" fmla="*/ 7 h 64"/>
                <a:gd name="T16" fmla="*/ 4 w 93"/>
                <a:gd name="T17" fmla="*/ 16 h 64"/>
                <a:gd name="T18" fmla="*/ 0 w 93"/>
                <a:gd name="T19" fmla="*/ 32 h 64"/>
                <a:gd name="T20" fmla="*/ 0 w 93"/>
                <a:gd name="T21" fmla="*/ 32 h 64"/>
                <a:gd name="T22" fmla="*/ 2 w 93"/>
                <a:gd name="T23" fmla="*/ 38 h 64"/>
                <a:gd name="T24" fmla="*/ 4 w 93"/>
                <a:gd name="T25" fmla="*/ 47 h 64"/>
                <a:gd name="T26" fmla="*/ 13 w 93"/>
                <a:gd name="T27" fmla="*/ 64 h 64"/>
                <a:gd name="T28" fmla="*/ 13 w 93"/>
                <a:gd name="T29" fmla="*/ 64 h 64"/>
                <a:gd name="T30" fmla="*/ 22 w 93"/>
                <a:gd name="T31" fmla="*/ 60 h 64"/>
                <a:gd name="T32" fmla="*/ 26 w 93"/>
                <a:gd name="T33" fmla="*/ 58 h 64"/>
                <a:gd name="T34" fmla="*/ 31 w 93"/>
                <a:gd name="T35" fmla="*/ 58 h 64"/>
                <a:gd name="T36" fmla="*/ 31 w 93"/>
                <a:gd name="T37" fmla="*/ 58 h 64"/>
                <a:gd name="T38" fmla="*/ 60 w 93"/>
                <a:gd name="T39" fmla="*/ 60 h 64"/>
                <a:gd name="T40" fmla="*/ 60 w 93"/>
                <a:gd name="T41" fmla="*/ 60 h 64"/>
                <a:gd name="T42" fmla="*/ 58 w 93"/>
                <a:gd name="T43" fmla="*/ 55 h 64"/>
                <a:gd name="T44" fmla="*/ 60 w 93"/>
                <a:gd name="T45" fmla="*/ 51 h 64"/>
                <a:gd name="T46" fmla="*/ 60 w 93"/>
                <a:gd name="T47" fmla="*/ 51 h 64"/>
                <a:gd name="T48" fmla="*/ 61 w 93"/>
                <a:gd name="T49" fmla="*/ 49 h 64"/>
                <a:gd name="T50" fmla="*/ 62 w 93"/>
                <a:gd name="T51" fmla="*/ 48 h 64"/>
                <a:gd name="T52" fmla="*/ 71 w 93"/>
                <a:gd name="T53" fmla="*/ 45 h 64"/>
                <a:gd name="T54" fmla="*/ 93 w 93"/>
                <a:gd name="T55" fmla="*/ 45 h 64"/>
                <a:gd name="T56" fmla="*/ 93 w 93"/>
                <a:gd name="T57" fmla="*/ 45 h 64"/>
                <a:gd name="T58" fmla="*/ 91 w 93"/>
                <a:gd name="T59" fmla="*/ 42 h 64"/>
                <a:gd name="T60" fmla="*/ 91 w 93"/>
                <a:gd name="T61" fmla="*/ 42 h 64"/>
                <a:gd name="T62" fmla="*/ 90 w 93"/>
                <a:gd name="T63" fmla="*/ 38 h 64"/>
                <a:gd name="T64" fmla="*/ 87 w 93"/>
                <a:gd name="T65" fmla="*/ 35 h 64"/>
                <a:gd name="T66" fmla="*/ 84 w 93"/>
                <a:gd name="T67" fmla="*/ 34 h 64"/>
                <a:gd name="T68" fmla="*/ 84 w 93"/>
                <a:gd name="T69" fmla="*/ 29 h 64"/>
                <a:gd name="T70" fmla="*/ 84 w 93"/>
                <a:gd name="T71" fmla="*/ 29 h 64"/>
                <a:gd name="T72" fmla="*/ 86 w 93"/>
                <a:gd name="T73" fmla="*/ 26 h 64"/>
                <a:gd name="T74" fmla="*/ 87 w 93"/>
                <a:gd name="T75" fmla="*/ 25 h 64"/>
                <a:gd name="T76" fmla="*/ 88 w 93"/>
                <a:gd name="T77" fmla="*/ 23 h 64"/>
                <a:gd name="T78" fmla="*/ 88 w 93"/>
                <a:gd name="T79" fmla="*/ 20 h 64"/>
                <a:gd name="T80" fmla="*/ 88 w 93"/>
                <a:gd name="T81" fmla="*/ 20 h 64"/>
                <a:gd name="T82" fmla="*/ 90 w 93"/>
                <a:gd name="T83" fmla="*/ 18 h 64"/>
                <a:gd name="T84" fmla="*/ 90 w 93"/>
                <a:gd name="T85" fmla="*/ 18 h 64"/>
                <a:gd name="T86" fmla="*/ 68 w 93"/>
                <a:gd name="T87" fmla="*/ 2 h 64"/>
                <a:gd name="T88" fmla="*/ 68 w 93"/>
                <a:gd name="T89" fmla="*/ 2 h 64"/>
                <a:gd name="T90" fmla="*/ 65 w 93"/>
                <a:gd name="T91" fmla="*/ 0 h 64"/>
                <a:gd name="T92" fmla="*/ 62 w 93"/>
                <a:gd name="T93" fmla="*/ 0 h 64"/>
                <a:gd name="T94" fmla="*/ 57 w 93"/>
                <a:gd name="T95" fmla="*/ 2 h 64"/>
                <a:gd name="T96" fmla="*/ 51 w 93"/>
                <a:gd name="T97" fmla="*/ 5 h 64"/>
                <a:gd name="T98" fmla="*/ 46 w 93"/>
                <a:gd name="T99" fmla="*/ 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3" h="64">
                  <a:moveTo>
                    <a:pt x="46" y="7"/>
                  </a:moveTo>
                  <a:lnTo>
                    <a:pt x="46" y="7"/>
                  </a:lnTo>
                  <a:lnTo>
                    <a:pt x="39" y="7"/>
                  </a:lnTo>
                  <a:lnTo>
                    <a:pt x="28" y="7"/>
                  </a:lnTo>
                  <a:lnTo>
                    <a:pt x="12" y="5"/>
                  </a:lnTo>
                  <a:lnTo>
                    <a:pt x="12" y="5"/>
                  </a:lnTo>
                  <a:lnTo>
                    <a:pt x="9" y="6"/>
                  </a:lnTo>
                  <a:lnTo>
                    <a:pt x="7" y="7"/>
                  </a:lnTo>
                  <a:lnTo>
                    <a:pt x="4" y="16"/>
                  </a:lnTo>
                  <a:lnTo>
                    <a:pt x="0" y="32"/>
                  </a:lnTo>
                  <a:lnTo>
                    <a:pt x="0" y="32"/>
                  </a:lnTo>
                  <a:lnTo>
                    <a:pt x="2" y="38"/>
                  </a:lnTo>
                  <a:lnTo>
                    <a:pt x="4" y="47"/>
                  </a:lnTo>
                  <a:lnTo>
                    <a:pt x="13" y="64"/>
                  </a:lnTo>
                  <a:lnTo>
                    <a:pt x="13" y="64"/>
                  </a:lnTo>
                  <a:lnTo>
                    <a:pt x="22" y="60"/>
                  </a:lnTo>
                  <a:lnTo>
                    <a:pt x="26" y="58"/>
                  </a:lnTo>
                  <a:lnTo>
                    <a:pt x="31" y="58"/>
                  </a:lnTo>
                  <a:lnTo>
                    <a:pt x="31" y="58"/>
                  </a:lnTo>
                  <a:lnTo>
                    <a:pt x="60" y="60"/>
                  </a:lnTo>
                  <a:lnTo>
                    <a:pt x="60" y="60"/>
                  </a:lnTo>
                  <a:lnTo>
                    <a:pt x="58" y="55"/>
                  </a:lnTo>
                  <a:lnTo>
                    <a:pt x="60" y="51"/>
                  </a:lnTo>
                  <a:lnTo>
                    <a:pt x="60" y="51"/>
                  </a:lnTo>
                  <a:lnTo>
                    <a:pt x="61" y="49"/>
                  </a:lnTo>
                  <a:lnTo>
                    <a:pt x="62" y="48"/>
                  </a:lnTo>
                  <a:lnTo>
                    <a:pt x="71" y="45"/>
                  </a:lnTo>
                  <a:lnTo>
                    <a:pt x="93" y="45"/>
                  </a:lnTo>
                  <a:lnTo>
                    <a:pt x="93" y="45"/>
                  </a:lnTo>
                  <a:lnTo>
                    <a:pt x="91" y="42"/>
                  </a:lnTo>
                  <a:lnTo>
                    <a:pt x="91" y="42"/>
                  </a:lnTo>
                  <a:lnTo>
                    <a:pt x="90" y="38"/>
                  </a:lnTo>
                  <a:lnTo>
                    <a:pt x="87" y="35"/>
                  </a:lnTo>
                  <a:lnTo>
                    <a:pt x="84" y="34"/>
                  </a:lnTo>
                  <a:lnTo>
                    <a:pt x="84" y="29"/>
                  </a:lnTo>
                  <a:lnTo>
                    <a:pt x="84" y="29"/>
                  </a:lnTo>
                  <a:lnTo>
                    <a:pt x="86" y="26"/>
                  </a:lnTo>
                  <a:lnTo>
                    <a:pt x="87" y="25"/>
                  </a:lnTo>
                  <a:lnTo>
                    <a:pt x="88" y="23"/>
                  </a:lnTo>
                  <a:lnTo>
                    <a:pt x="88" y="20"/>
                  </a:lnTo>
                  <a:lnTo>
                    <a:pt x="88" y="20"/>
                  </a:lnTo>
                  <a:lnTo>
                    <a:pt x="90" y="18"/>
                  </a:lnTo>
                  <a:lnTo>
                    <a:pt x="90" y="18"/>
                  </a:lnTo>
                  <a:lnTo>
                    <a:pt x="68" y="2"/>
                  </a:lnTo>
                  <a:lnTo>
                    <a:pt x="68" y="2"/>
                  </a:lnTo>
                  <a:lnTo>
                    <a:pt x="65" y="0"/>
                  </a:lnTo>
                  <a:lnTo>
                    <a:pt x="62" y="0"/>
                  </a:lnTo>
                  <a:lnTo>
                    <a:pt x="57" y="2"/>
                  </a:lnTo>
                  <a:lnTo>
                    <a:pt x="51" y="5"/>
                  </a:lnTo>
                  <a:lnTo>
                    <a:pt x="46"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38" name="Freeform 709"/>
            <p:cNvSpPr>
              <a:spLocks/>
            </p:cNvSpPr>
            <p:nvPr/>
          </p:nvSpPr>
          <p:spPr bwMode="auto">
            <a:xfrm>
              <a:off x="4845051" y="2957942"/>
              <a:ext cx="185738" cy="103188"/>
            </a:xfrm>
            <a:custGeom>
              <a:avLst/>
              <a:gdLst>
                <a:gd name="T0" fmla="*/ 110 w 117"/>
                <a:gd name="T1" fmla="*/ 8 h 65"/>
                <a:gd name="T2" fmla="*/ 85 w 117"/>
                <a:gd name="T3" fmla="*/ 7 h 65"/>
                <a:gd name="T4" fmla="*/ 79 w 117"/>
                <a:gd name="T5" fmla="*/ 4 h 65"/>
                <a:gd name="T6" fmla="*/ 71 w 117"/>
                <a:gd name="T7" fmla="*/ 0 h 65"/>
                <a:gd name="T8" fmla="*/ 66 w 117"/>
                <a:gd name="T9" fmla="*/ 0 h 65"/>
                <a:gd name="T10" fmla="*/ 55 w 117"/>
                <a:gd name="T11" fmla="*/ 1 h 65"/>
                <a:gd name="T12" fmla="*/ 55 w 117"/>
                <a:gd name="T13" fmla="*/ 10 h 65"/>
                <a:gd name="T14" fmla="*/ 50 w 117"/>
                <a:gd name="T15" fmla="*/ 23 h 65"/>
                <a:gd name="T16" fmla="*/ 45 w 117"/>
                <a:gd name="T17" fmla="*/ 27 h 65"/>
                <a:gd name="T18" fmla="*/ 43 w 117"/>
                <a:gd name="T19" fmla="*/ 27 h 65"/>
                <a:gd name="T20" fmla="*/ 31 w 117"/>
                <a:gd name="T21" fmla="*/ 17 h 65"/>
                <a:gd name="T22" fmla="*/ 21 w 117"/>
                <a:gd name="T23" fmla="*/ 6 h 65"/>
                <a:gd name="T24" fmla="*/ 18 w 117"/>
                <a:gd name="T25" fmla="*/ 7 h 65"/>
                <a:gd name="T26" fmla="*/ 10 w 117"/>
                <a:gd name="T27" fmla="*/ 11 h 65"/>
                <a:gd name="T28" fmla="*/ 8 w 117"/>
                <a:gd name="T29" fmla="*/ 16 h 65"/>
                <a:gd name="T30" fmla="*/ 3 w 117"/>
                <a:gd name="T31" fmla="*/ 30 h 65"/>
                <a:gd name="T32" fmla="*/ 1 w 117"/>
                <a:gd name="T33" fmla="*/ 36 h 65"/>
                <a:gd name="T34" fmla="*/ 0 w 117"/>
                <a:gd name="T35" fmla="*/ 45 h 65"/>
                <a:gd name="T36" fmla="*/ 20 w 117"/>
                <a:gd name="T37" fmla="*/ 42 h 65"/>
                <a:gd name="T38" fmla="*/ 30 w 117"/>
                <a:gd name="T39" fmla="*/ 43 h 65"/>
                <a:gd name="T40" fmla="*/ 47 w 117"/>
                <a:gd name="T41" fmla="*/ 45 h 65"/>
                <a:gd name="T42" fmla="*/ 65 w 117"/>
                <a:gd name="T43" fmla="*/ 48 h 65"/>
                <a:gd name="T44" fmla="*/ 69 w 117"/>
                <a:gd name="T45" fmla="*/ 50 h 65"/>
                <a:gd name="T46" fmla="*/ 85 w 117"/>
                <a:gd name="T47" fmla="*/ 65 h 65"/>
                <a:gd name="T48" fmla="*/ 87 w 117"/>
                <a:gd name="T49" fmla="*/ 65 h 65"/>
                <a:gd name="T50" fmla="*/ 94 w 117"/>
                <a:gd name="T51" fmla="*/ 65 h 65"/>
                <a:gd name="T52" fmla="*/ 111 w 117"/>
                <a:gd name="T53" fmla="*/ 61 h 65"/>
                <a:gd name="T54" fmla="*/ 115 w 117"/>
                <a:gd name="T55" fmla="*/ 56 h 65"/>
                <a:gd name="T56" fmla="*/ 117 w 117"/>
                <a:gd name="T57" fmla="*/ 49 h 65"/>
                <a:gd name="T58" fmla="*/ 117 w 117"/>
                <a:gd name="T59" fmla="*/ 30 h 65"/>
                <a:gd name="T60" fmla="*/ 114 w 117"/>
                <a:gd name="T61" fmla="*/ 23 h 65"/>
                <a:gd name="T62" fmla="*/ 110 w 117"/>
                <a:gd name="T6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7" h="65">
                  <a:moveTo>
                    <a:pt x="110" y="8"/>
                  </a:moveTo>
                  <a:lnTo>
                    <a:pt x="110" y="8"/>
                  </a:lnTo>
                  <a:lnTo>
                    <a:pt x="95" y="8"/>
                  </a:lnTo>
                  <a:lnTo>
                    <a:pt x="85" y="7"/>
                  </a:lnTo>
                  <a:lnTo>
                    <a:pt x="85" y="7"/>
                  </a:lnTo>
                  <a:lnTo>
                    <a:pt x="79" y="4"/>
                  </a:lnTo>
                  <a:lnTo>
                    <a:pt x="75" y="1"/>
                  </a:lnTo>
                  <a:lnTo>
                    <a:pt x="71" y="0"/>
                  </a:lnTo>
                  <a:lnTo>
                    <a:pt x="66" y="0"/>
                  </a:lnTo>
                  <a:lnTo>
                    <a:pt x="66" y="0"/>
                  </a:lnTo>
                  <a:lnTo>
                    <a:pt x="55" y="1"/>
                  </a:lnTo>
                  <a:lnTo>
                    <a:pt x="55" y="1"/>
                  </a:lnTo>
                  <a:lnTo>
                    <a:pt x="55" y="10"/>
                  </a:lnTo>
                  <a:lnTo>
                    <a:pt x="55" y="10"/>
                  </a:lnTo>
                  <a:lnTo>
                    <a:pt x="53" y="17"/>
                  </a:lnTo>
                  <a:lnTo>
                    <a:pt x="50" y="23"/>
                  </a:lnTo>
                  <a:lnTo>
                    <a:pt x="47" y="27"/>
                  </a:lnTo>
                  <a:lnTo>
                    <a:pt x="45" y="27"/>
                  </a:lnTo>
                  <a:lnTo>
                    <a:pt x="43" y="27"/>
                  </a:lnTo>
                  <a:lnTo>
                    <a:pt x="43" y="27"/>
                  </a:lnTo>
                  <a:lnTo>
                    <a:pt x="39" y="24"/>
                  </a:lnTo>
                  <a:lnTo>
                    <a:pt x="31" y="17"/>
                  </a:lnTo>
                  <a:lnTo>
                    <a:pt x="26" y="10"/>
                  </a:lnTo>
                  <a:lnTo>
                    <a:pt x="21" y="6"/>
                  </a:lnTo>
                  <a:lnTo>
                    <a:pt x="21" y="6"/>
                  </a:lnTo>
                  <a:lnTo>
                    <a:pt x="18" y="7"/>
                  </a:lnTo>
                  <a:lnTo>
                    <a:pt x="13" y="8"/>
                  </a:lnTo>
                  <a:lnTo>
                    <a:pt x="10" y="11"/>
                  </a:lnTo>
                  <a:lnTo>
                    <a:pt x="8" y="16"/>
                  </a:lnTo>
                  <a:lnTo>
                    <a:pt x="8" y="16"/>
                  </a:lnTo>
                  <a:lnTo>
                    <a:pt x="5" y="23"/>
                  </a:lnTo>
                  <a:lnTo>
                    <a:pt x="3" y="30"/>
                  </a:lnTo>
                  <a:lnTo>
                    <a:pt x="3" y="30"/>
                  </a:lnTo>
                  <a:lnTo>
                    <a:pt x="1" y="36"/>
                  </a:lnTo>
                  <a:lnTo>
                    <a:pt x="0" y="45"/>
                  </a:lnTo>
                  <a:lnTo>
                    <a:pt x="0" y="45"/>
                  </a:lnTo>
                  <a:lnTo>
                    <a:pt x="11" y="42"/>
                  </a:lnTo>
                  <a:lnTo>
                    <a:pt x="20" y="42"/>
                  </a:lnTo>
                  <a:lnTo>
                    <a:pt x="26" y="42"/>
                  </a:lnTo>
                  <a:lnTo>
                    <a:pt x="30" y="43"/>
                  </a:lnTo>
                  <a:lnTo>
                    <a:pt x="30" y="43"/>
                  </a:lnTo>
                  <a:lnTo>
                    <a:pt x="47" y="45"/>
                  </a:lnTo>
                  <a:lnTo>
                    <a:pt x="58" y="46"/>
                  </a:lnTo>
                  <a:lnTo>
                    <a:pt x="65" y="48"/>
                  </a:lnTo>
                  <a:lnTo>
                    <a:pt x="65" y="48"/>
                  </a:lnTo>
                  <a:lnTo>
                    <a:pt x="69" y="50"/>
                  </a:lnTo>
                  <a:lnTo>
                    <a:pt x="75" y="55"/>
                  </a:lnTo>
                  <a:lnTo>
                    <a:pt x="85" y="65"/>
                  </a:lnTo>
                  <a:lnTo>
                    <a:pt x="85" y="65"/>
                  </a:lnTo>
                  <a:lnTo>
                    <a:pt x="87" y="65"/>
                  </a:lnTo>
                  <a:lnTo>
                    <a:pt x="87" y="65"/>
                  </a:lnTo>
                  <a:lnTo>
                    <a:pt x="94" y="65"/>
                  </a:lnTo>
                  <a:lnTo>
                    <a:pt x="102" y="64"/>
                  </a:lnTo>
                  <a:lnTo>
                    <a:pt x="111" y="61"/>
                  </a:lnTo>
                  <a:lnTo>
                    <a:pt x="114" y="59"/>
                  </a:lnTo>
                  <a:lnTo>
                    <a:pt x="115" y="56"/>
                  </a:lnTo>
                  <a:lnTo>
                    <a:pt x="115" y="56"/>
                  </a:lnTo>
                  <a:lnTo>
                    <a:pt x="117" y="49"/>
                  </a:lnTo>
                  <a:lnTo>
                    <a:pt x="117" y="40"/>
                  </a:lnTo>
                  <a:lnTo>
                    <a:pt x="117" y="30"/>
                  </a:lnTo>
                  <a:lnTo>
                    <a:pt x="114" y="23"/>
                  </a:lnTo>
                  <a:lnTo>
                    <a:pt x="114" y="23"/>
                  </a:lnTo>
                  <a:lnTo>
                    <a:pt x="113" y="17"/>
                  </a:lnTo>
                  <a:lnTo>
                    <a:pt x="110" y="8"/>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39" name="Freeform 710"/>
            <p:cNvSpPr>
              <a:spLocks/>
            </p:cNvSpPr>
            <p:nvPr/>
          </p:nvSpPr>
          <p:spPr bwMode="auto">
            <a:xfrm>
              <a:off x="4845051" y="2957942"/>
              <a:ext cx="185738" cy="103188"/>
            </a:xfrm>
            <a:custGeom>
              <a:avLst/>
              <a:gdLst>
                <a:gd name="T0" fmla="*/ 110 w 117"/>
                <a:gd name="T1" fmla="*/ 8 h 65"/>
                <a:gd name="T2" fmla="*/ 85 w 117"/>
                <a:gd name="T3" fmla="*/ 7 h 65"/>
                <a:gd name="T4" fmla="*/ 79 w 117"/>
                <a:gd name="T5" fmla="*/ 4 h 65"/>
                <a:gd name="T6" fmla="*/ 71 w 117"/>
                <a:gd name="T7" fmla="*/ 0 h 65"/>
                <a:gd name="T8" fmla="*/ 66 w 117"/>
                <a:gd name="T9" fmla="*/ 0 h 65"/>
                <a:gd name="T10" fmla="*/ 55 w 117"/>
                <a:gd name="T11" fmla="*/ 1 h 65"/>
                <a:gd name="T12" fmla="*/ 55 w 117"/>
                <a:gd name="T13" fmla="*/ 10 h 65"/>
                <a:gd name="T14" fmla="*/ 50 w 117"/>
                <a:gd name="T15" fmla="*/ 23 h 65"/>
                <a:gd name="T16" fmla="*/ 45 w 117"/>
                <a:gd name="T17" fmla="*/ 27 h 65"/>
                <a:gd name="T18" fmla="*/ 43 w 117"/>
                <a:gd name="T19" fmla="*/ 27 h 65"/>
                <a:gd name="T20" fmla="*/ 31 w 117"/>
                <a:gd name="T21" fmla="*/ 17 h 65"/>
                <a:gd name="T22" fmla="*/ 21 w 117"/>
                <a:gd name="T23" fmla="*/ 6 h 65"/>
                <a:gd name="T24" fmla="*/ 18 w 117"/>
                <a:gd name="T25" fmla="*/ 7 h 65"/>
                <a:gd name="T26" fmla="*/ 10 w 117"/>
                <a:gd name="T27" fmla="*/ 11 h 65"/>
                <a:gd name="T28" fmla="*/ 8 w 117"/>
                <a:gd name="T29" fmla="*/ 16 h 65"/>
                <a:gd name="T30" fmla="*/ 3 w 117"/>
                <a:gd name="T31" fmla="*/ 30 h 65"/>
                <a:gd name="T32" fmla="*/ 1 w 117"/>
                <a:gd name="T33" fmla="*/ 36 h 65"/>
                <a:gd name="T34" fmla="*/ 0 w 117"/>
                <a:gd name="T35" fmla="*/ 45 h 65"/>
                <a:gd name="T36" fmla="*/ 20 w 117"/>
                <a:gd name="T37" fmla="*/ 42 h 65"/>
                <a:gd name="T38" fmla="*/ 30 w 117"/>
                <a:gd name="T39" fmla="*/ 43 h 65"/>
                <a:gd name="T40" fmla="*/ 47 w 117"/>
                <a:gd name="T41" fmla="*/ 45 h 65"/>
                <a:gd name="T42" fmla="*/ 65 w 117"/>
                <a:gd name="T43" fmla="*/ 48 h 65"/>
                <a:gd name="T44" fmla="*/ 69 w 117"/>
                <a:gd name="T45" fmla="*/ 50 h 65"/>
                <a:gd name="T46" fmla="*/ 85 w 117"/>
                <a:gd name="T47" fmla="*/ 65 h 65"/>
                <a:gd name="T48" fmla="*/ 87 w 117"/>
                <a:gd name="T49" fmla="*/ 65 h 65"/>
                <a:gd name="T50" fmla="*/ 94 w 117"/>
                <a:gd name="T51" fmla="*/ 65 h 65"/>
                <a:gd name="T52" fmla="*/ 111 w 117"/>
                <a:gd name="T53" fmla="*/ 61 h 65"/>
                <a:gd name="T54" fmla="*/ 115 w 117"/>
                <a:gd name="T55" fmla="*/ 56 h 65"/>
                <a:gd name="T56" fmla="*/ 117 w 117"/>
                <a:gd name="T57" fmla="*/ 49 h 65"/>
                <a:gd name="T58" fmla="*/ 117 w 117"/>
                <a:gd name="T59" fmla="*/ 30 h 65"/>
                <a:gd name="T60" fmla="*/ 114 w 117"/>
                <a:gd name="T61" fmla="*/ 23 h 65"/>
                <a:gd name="T62" fmla="*/ 110 w 117"/>
                <a:gd name="T6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7" h="65">
                  <a:moveTo>
                    <a:pt x="110" y="8"/>
                  </a:moveTo>
                  <a:lnTo>
                    <a:pt x="110" y="8"/>
                  </a:lnTo>
                  <a:lnTo>
                    <a:pt x="95" y="8"/>
                  </a:lnTo>
                  <a:lnTo>
                    <a:pt x="85" y="7"/>
                  </a:lnTo>
                  <a:lnTo>
                    <a:pt x="85" y="7"/>
                  </a:lnTo>
                  <a:lnTo>
                    <a:pt x="79" y="4"/>
                  </a:lnTo>
                  <a:lnTo>
                    <a:pt x="75" y="1"/>
                  </a:lnTo>
                  <a:lnTo>
                    <a:pt x="71" y="0"/>
                  </a:lnTo>
                  <a:lnTo>
                    <a:pt x="66" y="0"/>
                  </a:lnTo>
                  <a:lnTo>
                    <a:pt x="66" y="0"/>
                  </a:lnTo>
                  <a:lnTo>
                    <a:pt x="55" y="1"/>
                  </a:lnTo>
                  <a:lnTo>
                    <a:pt x="55" y="1"/>
                  </a:lnTo>
                  <a:lnTo>
                    <a:pt x="55" y="10"/>
                  </a:lnTo>
                  <a:lnTo>
                    <a:pt x="55" y="10"/>
                  </a:lnTo>
                  <a:lnTo>
                    <a:pt x="53" y="17"/>
                  </a:lnTo>
                  <a:lnTo>
                    <a:pt x="50" y="23"/>
                  </a:lnTo>
                  <a:lnTo>
                    <a:pt x="47" y="27"/>
                  </a:lnTo>
                  <a:lnTo>
                    <a:pt x="45" y="27"/>
                  </a:lnTo>
                  <a:lnTo>
                    <a:pt x="43" y="27"/>
                  </a:lnTo>
                  <a:lnTo>
                    <a:pt x="43" y="27"/>
                  </a:lnTo>
                  <a:lnTo>
                    <a:pt x="39" y="24"/>
                  </a:lnTo>
                  <a:lnTo>
                    <a:pt x="31" y="17"/>
                  </a:lnTo>
                  <a:lnTo>
                    <a:pt x="26" y="10"/>
                  </a:lnTo>
                  <a:lnTo>
                    <a:pt x="21" y="6"/>
                  </a:lnTo>
                  <a:lnTo>
                    <a:pt x="21" y="6"/>
                  </a:lnTo>
                  <a:lnTo>
                    <a:pt x="18" y="7"/>
                  </a:lnTo>
                  <a:lnTo>
                    <a:pt x="13" y="8"/>
                  </a:lnTo>
                  <a:lnTo>
                    <a:pt x="10" y="11"/>
                  </a:lnTo>
                  <a:lnTo>
                    <a:pt x="8" y="16"/>
                  </a:lnTo>
                  <a:lnTo>
                    <a:pt x="8" y="16"/>
                  </a:lnTo>
                  <a:lnTo>
                    <a:pt x="5" y="23"/>
                  </a:lnTo>
                  <a:lnTo>
                    <a:pt x="3" y="30"/>
                  </a:lnTo>
                  <a:lnTo>
                    <a:pt x="3" y="30"/>
                  </a:lnTo>
                  <a:lnTo>
                    <a:pt x="1" y="36"/>
                  </a:lnTo>
                  <a:lnTo>
                    <a:pt x="0" y="45"/>
                  </a:lnTo>
                  <a:lnTo>
                    <a:pt x="0" y="45"/>
                  </a:lnTo>
                  <a:lnTo>
                    <a:pt x="11" y="42"/>
                  </a:lnTo>
                  <a:lnTo>
                    <a:pt x="20" y="42"/>
                  </a:lnTo>
                  <a:lnTo>
                    <a:pt x="26" y="42"/>
                  </a:lnTo>
                  <a:lnTo>
                    <a:pt x="30" y="43"/>
                  </a:lnTo>
                  <a:lnTo>
                    <a:pt x="30" y="43"/>
                  </a:lnTo>
                  <a:lnTo>
                    <a:pt x="47" y="45"/>
                  </a:lnTo>
                  <a:lnTo>
                    <a:pt x="58" y="46"/>
                  </a:lnTo>
                  <a:lnTo>
                    <a:pt x="65" y="48"/>
                  </a:lnTo>
                  <a:lnTo>
                    <a:pt x="65" y="48"/>
                  </a:lnTo>
                  <a:lnTo>
                    <a:pt x="69" y="50"/>
                  </a:lnTo>
                  <a:lnTo>
                    <a:pt x="75" y="55"/>
                  </a:lnTo>
                  <a:lnTo>
                    <a:pt x="85" y="65"/>
                  </a:lnTo>
                  <a:lnTo>
                    <a:pt x="85" y="65"/>
                  </a:lnTo>
                  <a:lnTo>
                    <a:pt x="87" y="65"/>
                  </a:lnTo>
                  <a:lnTo>
                    <a:pt x="87" y="65"/>
                  </a:lnTo>
                  <a:lnTo>
                    <a:pt x="94" y="65"/>
                  </a:lnTo>
                  <a:lnTo>
                    <a:pt x="102" y="64"/>
                  </a:lnTo>
                  <a:lnTo>
                    <a:pt x="111" y="61"/>
                  </a:lnTo>
                  <a:lnTo>
                    <a:pt x="114" y="59"/>
                  </a:lnTo>
                  <a:lnTo>
                    <a:pt x="115" y="56"/>
                  </a:lnTo>
                  <a:lnTo>
                    <a:pt x="115" y="56"/>
                  </a:lnTo>
                  <a:lnTo>
                    <a:pt x="117" y="49"/>
                  </a:lnTo>
                  <a:lnTo>
                    <a:pt x="117" y="40"/>
                  </a:lnTo>
                  <a:lnTo>
                    <a:pt x="117" y="30"/>
                  </a:lnTo>
                  <a:lnTo>
                    <a:pt x="114" y="23"/>
                  </a:lnTo>
                  <a:lnTo>
                    <a:pt x="114" y="23"/>
                  </a:lnTo>
                  <a:lnTo>
                    <a:pt x="113" y="17"/>
                  </a:lnTo>
                  <a:lnTo>
                    <a:pt x="110"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40" name="Freeform 711"/>
            <p:cNvSpPr>
              <a:spLocks/>
            </p:cNvSpPr>
            <p:nvPr/>
          </p:nvSpPr>
          <p:spPr bwMode="auto">
            <a:xfrm>
              <a:off x="4835526" y="3024617"/>
              <a:ext cx="144463" cy="122238"/>
            </a:xfrm>
            <a:custGeom>
              <a:avLst/>
              <a:gdLst>
                <a:gd name="T0" fmla="*/ 71 w 91"/>
                <a:gd name="T1" fmla="*/ 6 h 77"/>
                <a:gd name="T2" fmla="*/ 71 w 91"/>
                <a:gd name="T3" fmla="*/ 6 h 77"/>
                <a:gd name="T4" fmla="*/ 64 w 91"/>
                <a:gd name="T5" fmla="*/ 4 h 77"/>
                <a:gd name="T6" fmla="*/ 53 w 91"/>
                <a:gd name="T7" fmla="*/ 3 h 77"/>
                <a:gd name="T8" fmla="*/ 36 w 91"/>
                <a:gd name="T9" fmla="*/ 1 h 77"/>
                <a:gd name="T10" fmla="*/ 36 w 91"/>
                <a:gd name="T11" fmla="*/ 1 h 77"/>
                <a:gd name="T12" fmla="*/ 32 w 91"/>
                <a:gd name="T13" fmla="*/ 0 h 77"/>
                <a:gd name="T14" fmla="*/ 26 w 91"/>
                <a:gd name="T15" fmla="*/ 0 h 77"/>
                <a:gd name="T16" fmla="*/ 17 w 91"/>
                <a:gd name="T17" fmla="*/ 0 h 77"/>
                <a:gd name="T18" fmla="*/ 6 w 91"/>
                <a:gd name="T19" fmla="*/ 3 h 77"/>
                <a:gd name="T20" fmla="*/ 6 w 91"/>
                <a:gd name="T21" fmla="*/ 3 h 77"/>
                <a:gd name="T22" fmla="*/ 6 w 91"/>
                <a:gd name="T23" fmla="*/ 13 h 77"/>
                <a:gd name="T24" fmla="*/ 6 w 91"/>
                <a:gd name="T25" fmla="*/ 23 h 77"/>
                <a:gd name="T26" fmla="*/ 6 w 91"/>
                <a:gd name="T27" fmla="*/ 23 h 77"/>
                <a:gd name="T28" fmla="*/ 3 w 91"/>
                <a:gd name="T29" fmla="*/ 30 h 77"/>
                <a:gd name="T30" fmla="*/ 0 w 91"/>
                <a:gd name="T31" fmla="*/ 35 h 77"/>
                <a:gd name="T32" fmla="*/ 0 w 91"/>
                <a:gd name="T33" fmla="*/ 35 h 77"/>
                <a:gd name="T34" fmla="*/ 11 w 91"/>
                <a:gd name="T35" fmla="*/ 37 h 77"/>
                <a:gd name="T36" fmla="*/ 22 w 91"/>
                <a:gd name="T37" fmla="*/ 40 h 77"/>
                <a:gd name="T38" fmla="*/ 30 w 91"/>
                <a:gd name="T39" fmla="*/ 45 h 77"/>
                <a:gd name="T40" fmla="*/ 35 w 91"/>
                <a:gd name="T41" fmla="*/ 48 h 77"/>
                <a:gd name="T42" fmla="*/ 35 w 91"/>
                <a:gd name="T43" fmla="*/ 48 h 77"/>
                <a:gd name="T44" fmla="*/ 43 w 91"/>
                <a:gd name="T45" fmla="*/ 62 h 77"/>
                <a:gd name="T46" fmla="*/ 48 w 91"/>
                <a:gd name="T47" fmla="*/ 69 h 77"/>
                <a:gd name="T48" fmla="*/ 51 w 91"/>
                <a:gd name="T49" fmla="*/ 77 h 77"/>
                <a:gd name="T50" fmla="*/ 51 w 91"/>
                <a:gd name="T51" fmla="*/ 77 h 77"/>
                <a:gd name="T52" fmla="*/ 51 w 91"/>
                <a:gd name="T53" fmla="*/ 77 h 77"/>
                <a:gd name="T54" fmla="*/ 55 w 91"/>
                <a:gd name="T55" fmla="*/ 72 h 77"/>
                <a:gd name="T56" fmla="*/ 61 w 91"/>
                <a:gd name="T57" fmla="*/ 69 h 77"/>
                <a:gd name="T58" fmla="*/ 61 w 91"/>
                <a:gd name="T59" fmla="*/ 69 h 77"/>
                <a:gd name="T60" fmla="*/ 66 w 91"/>
                <a:gd name="T61" fmla="*/ 68 h 77"/>
                <a:gd name="T62" fmla="*/ 72 w 91"/>
                <a:gd name="T63" fmla="*/ 66 h 77"/>
                <a:gd name="T64" fmla="*/ 78 w 91"/>
                <a:gd name="T65" fmla="*/ 62 h 77"/>
                <a:gd name="T66" fmla="*/ 81 w 91"/>
                <a:gd name="T67" fmla="*/ 58 h 77"/>
                <a:gd name="T68" fmla="*/ 81 w 91"/>
                <a:gd name="T69" fmla="*/ 58 h 77"/>
                <a:gd name="T70" fmla="*/ 84 w 91"/>
                <a:gd name="T71" fmla="*/ 39 h 77"/>
                <a:gd name="T72" fmla="*/ 87 w 91"/>
                <a:gd name="T73" fmla="*/ 29 h 77"/>
                <a:gd name="T74" fmla="*/ 88 w 91"/>
                <a:gd name="T75" fmla="*/ 26 h 77"/>
                <a:gd name="T76" fmla="*/ 91 w 91"/>
                <a:gd name="T77" fmla="*/ 23 h 77"/>
                <a:gd name="T78" fmla="*/ 91 w 91"/>
                <a:gd name="T79" fmla="*/ 23 h 77"/>
                <a:gd name="T80" fmla="*/ 81 w 91"/>
                <a:gd name="T81" fmla="*/ 13 h 77"/>
                <a:gd name="T82" fmla="*/ 75 w 91"/>
                <a:gd name="T83" fmla="*/ 8 h 77"/>
                <a:gd name="T84" fmla="*/ 71 w 91"/>
                <a:gd name="T85" fmla="*/ 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1" h="77">
                  <a:moveTo>
                    <a:pt x="71" y="6"/>
                  </a:moveTo>
                  <a:lnTo>
                    <a:pt x="71" y="6"/>
                  </a:lnTo>
                  <a:lnTo>
                    <a:pt x="64" y="4"/>
                  </a:lnTo>
                  <a:lnTo>
                    <a:pt x="53" y="3"/>
                  </a:lnTo>
                  <a:lnTo>
                    <a:pt x="36" y="1"/>
                  </a:lnTo>
                  <a:lnTo>
                    <a:pt x="36" y="1"/>
                  </a:lnTo>
                  <a:lnTo>
                    <a:pt x="32" y="0"/>
                  </a:lnTo>
                  <a:lnTo>
                    <a:pt x="26" y="0"/>
                  </a:lnTo>
                  <a:lnTo>
                    <a:pt x="17" y="0"/>
                  </a:lnTo>
                  <a:lnTo>
                    <a:pt x="6" y="3"/>
                  </a:lnTo>
                  <a:lnTo>
                    <a:pt x="6" y="3"/>
                  </a:lnTo>
                  <a:lnTo>
                    <a:pt x="6" y="13"/>
                  </a:lnTo>
                  <a:lnTo>
                    <a:pt x="6" y="23"/>
                  </a:lnTo>
                  <a:lnTo>
                    <a:pt x="6" y="23"/>
                  </a:lnTo>
                  <a:lnTo>
                    <a:pt x="3" y="30"/>
                  </a:lnTo>
                  <a:lnTo>
                    <a:pt x="0" y="35"/>
                  </a:lnTo>
                  <a:lnTo>
                    <a:pt x="0" y="35"/>
                  </a:lnTo>
                  <a:lnTo>
                    <a:pt x="11" y="37"/>
                  </a:lnTo>
                  <a:lnTo>
                    <a:pt x="22" y="40"/>
                  </a:lnTo>
                  <a:lnTo>
                    <a:pt x="30" y="45"/>
                  </a:lnTo>
                  <a:lnTo>
                    <a:pt x="35" y="48"/>
                  </a:lnTo>
                  <a:lnTo>
                    <a:pt x="35" y="48"/>
                  </a:lnTo>
                  <a:lnTo>
                    <a:pt x="43" y="62"/>
                  </a:lnTo>
                  <a:lnTo>
                    <a:pt x="48" y="69"/>
                  </a:lnTo>
                  <a:lnTo>
                    <a:pt x="51" y="77"/>
                  </a:lnTo>
                  <a:lnTo>
                    <a:pt x="51" y="77"/>
                  </a:lnTo>
                  <a:lnTo>
                    <a:pt x="51" y="77"/>
                  </a:lnTo>
                  <a:lnTo>
                    <a:pt x="55" y="72"/>
                  </a:lnTo>
                  <a:lnTo>
                    <a:pt x="61" y="69"/>
                  </a:lnTo>
                  <a:lnTo>
                    <a:pt x="61" y="69"/>
                  </a:lnTo>
                  <a:lnTo>
                    <a:pt x="66" y="68"/>
                  </a:lnTo>
                  <a:lnTo>
                    <a:pt x="72" y="66"/>
                  </a:lnTo>
                  <a:lnTo>
                    <a:pt x="78" y="62"/>
                  </a:lnTo>
                  <a:lnTo>
                    <a:pt x="81" y="58"/>
                  </a:lnTo>
                  <a:lnTo>
                    <a:pt x="81" y="58"/>
                  </a:lnTo>
                  <a:lnTo>
                    <a:pt x="84" y="39"/>
                  </a:lnTo>
                  <a:lnTo>
                    <a:pt x="87" y="29"/>
                  </a:lnTo>
                  <a:lnTo>
                    <a:pt x="88" y="26"/>
                  </a:lnTo>
                  <a:lnTo>
                    <a:pt x="91" y="23"/>
                  </a:lnTo>
                  <a:lnTo>
                    <a:pt x="91" y="23"/>
                  </a:lnTo>
                  <a:lnTo>
                    <a:pt x="81" y="13"/>
                  </a:lnTo>
                  <a:lnTo>
                    <a:pt x="75" y="8"/>
                  </a:lnTo>
                  <a:lnTo>
                    <a:pt x="71" y="6"/>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41" name="Freeform 712"/>
            <p:cNvSpPr>
              <a:spLocks/>
            </p:cNvSpPr>
            <p:nvPr/>
          </p:nvSpPr>
          <p:spPr bwMode="auto">
            <a:xfrm>
              <a:off x="4835526" y="3024617"/>
              <a:ext cx="144463" cy="122238"/>
            </a:xfrm>
            <a:custGeom>
              <a:avLst/>
              <a:gdLst>
                <a:gd name="T0" fmla="*/ 71 w 91"/>
                <a:gd name="T1" fmla="*/ 6 h 77"/>
                <a:gd name="T2" fmla="*/ 71 w 91"/>
                <a:gd name="T3" fmla="*/ 6 h 77"/>
                <a:gd name="T4" fmla="*/ 64 w 91"/>
                <a:gd name="T5" fmla="*/ 4 h 77"/>
                <a:gd name="T6" fmla="*/ 53 w 91"/>
                <a:gd name="T7" fmla="*/ 3 h 77"/>
                <a:gd name="T8" fmla="*/ 36 w 91"/>
                <a:gd name="T9" fmla="*/ 1 h 77"/>
                <a:gd name="T10" fmla="*/ 36 w 91"/>
                <a:gd name="T11" fmla="*/ 1 h 77"/>
                <a:gd name="T12" fmla="*/ 32 w 91"/>
                <a:gd name="T13" fmla="*/ 0 h 77"/>
                <a:gd name="T14" fmla="*/ 26 w 91"/>
                <a:gd name="T15" fmla="*/ 0 h 77"/>
                <a:gd name="T16" fmla="*/ 17 w 91"/>
                <a:gd name="T17" fmla="*/ 0 h 77"/>
                <a:gd name="T18" fmla="*/ 6 w 91"/>
                <a:gd name="T19" fmla="*/ 3 h 77"/>
                <a:gd name="T20" fmla="*/ 6 w 91"/>
                <a:gd name="T21" fmla="*/ 3 h 77"/>
                <a:gd name="T22" fmla="*/ 6 w 91"/>
                <a:gd name="T23" fmla="*/ 13 h 77"/>
                <a:gd name="T24" fmla="*/ 6 w 91"/>
                <a:gd name="T25" fmla="*/ 23 h 77"/>
                <a:gd name="T26" fmla="*/ 6 w 91"/>
                <a:gd name="T27" fmla="*/ 23 h 77"/>
                <a:gd name="T28" fmla="*/ 3 w 91"/>
                <a:gd name="T29" fmla="*/ 30 h 77"/>
                <a:gd name="T30" fmla="*/ 0 w 91"/>
                <a:gd name="T31" fmla="*/ 35 h 77"/>
                <a:gd name="T32" fmla="*/ 0 w 91"/>
                <a:gd name="T33" fmla="*/ 35 h 77"/>
                <a:gd name="T34" fmla="*/ 11 w 91"/>
                <a:gd name="T35" fmla="*/ 37 h 77"/>
                <a:gd name="T36" fmla="*/ 22 w 91"/>
                <a:gd name="T37" fmla="*/ 40 h 77"/>
                <a:gd name="T38" fmla="*/ 30 w 91"/>
                <a:gd name="T39" fmla="*/ 45 h 77"/>
                <a:gd name="T40" fmla="*/ 35 w 91"/>
                <a:gd name="T41" fmla="*/ 48 h 77"/>
                <a:gd name="T42" fmla="*/ 35 w 91"/>
                <a:gd name="T43" fmla="*/ 48 h 77"/>
                <a:gd name="T44" fmla="*/ 43 w 91"/>
                <a:gd name="T45" fmla="*/ 62 h 77"/>
                <a:gd name="T46" fmla="*/ 48 w 91"/>
                <a:gd name="T47" fmla="*/ 69 h 77"/>
                <a:gd name="T48" fmla="*/ 51 w 91"/>
                <a:gd name="T49" fmla="*/ 77 h 77"/>
                <a:gd name="T50" fmla="*/ 51 w 91"/>
                <a:gd name="T51" fmla="*/ 77 h 77"/>
                <a:gd name="T52" fmla="*/ 51 w 91"/>
                <a:gd name="T53" fmla="*/ 77 h 77"/>
                <a:gd name="T54" fmla="*/ 55 w 91"/>
                <a:gd name="T55" fmla="*/ 72 h 77"/>
                <a:gd name="T56" fmla="*/ 61 w 91"/>
                <a:gd name="T57" fmla="*/ 69 h 77"/>
                <a:gd name="T58" fmla="*/ 61 w 91"/>
                <a:gd name="T59" fmla="*/ 69 h 77"/>
                <a:gd name="T60" fmla="*/ 66 w 91"/>
                <a:gd name="T61" fmla="*/ 68 h 77"/>
                <a:gd name="T62" fmla="*/ 72 w 91"/>
                <a:gd name="T63" fmla="*/ 66 h 77"/>
                <a:gd name="T64" fmla="*/ 78 w 91"/>
                <a:gd name="T65" fmla="*/ 62 h 77"/>
                <a:gd name="T66" fmla="*/ 81 w 91"/>
                <a:gd name="T67" fmla="*/ 58 h 77"/>
                <a:gd name="T68" fmla="*/ 81 w 91"/>
                <a:gd name="T69" fmla="*/ 58 h 77"/>
                <a:gd name="T70" fmla="*/ 84 w 91"/>
                <a:gd name="T71" fmla="*/ 39 h 77"/>
                <a:gd name="T72" fmla="*/ 87 w 91"/>
                <a:gd name="T73" fmla="*/ 29 h 77"/>
                <a:gd name="T74" fmla="*/ 88 w 91"/>
                <a:gd name="T75" fmla="*/ 26 h 77"/>
                <a:gd name="T76" fmla="*/ 91 w 91"/>
                <a:gd name="T77" fmla="*/ 23 h 77"/>
                <a:gd name="T78" fmla="*/ 91 w 91"/>
                <a:gd name="T79" fmla="*/ 23 h 77"/>
                <a:gd name="T80" fmla="*/ 81 w 91"/>
                <a:gd name="T81" fmla="*/ 13 h 77"/>
                <a:gd name="T82" fmla="*/ 75 w 91"/>
                <a:gd name="T83" fmla="*/ 8 h 77"/>
                <a:gd name="T84" fmla="*/ 71 w 91"/>
                <a:gd name="T85" fmla="*/ 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1" h="77">
                  <a:moveTo>
                    <a:pt x="71" y="6"/>
                  </a:moveTo>
                  <a:lnTo>
                    <a:pt x="71" y="6"/>
                  </a:lnTo>
                  <a:lnTo>
                    <a:pt x="64" y="4"/>
                  </a:lnTo>
                  <a:lnTo>
                    <a:pt x="53" y="3"/>
                  </a:lnTo>
                  <a:lnTo>
                    <a:pt x="36" y="1"/>
                  </a:lnTo>
                  <a:lnTo>
                    <a:pt x="36" y="1"/>
                  </a:lnTo>
                  <a:lnTo>
                    <a:pt x="32" y="0"/>
                  </a:lnTo>
                  <a:lnTo>
                    <a:pt x="26" y="0"/>
                  </a:lnTo>
                  <a:lnTo>
                    <a:pt x="17" y="0"/>
                  </a:lnTo>
                  <a:lnTo>
                    <a:pt x="6" y="3"/>
                  </a:lnTo>
                  <a:lnTo>
                    <a:pt x="6" y="3"/>
                  </a:lnTo>
                  <a:lnTo>
                    <a:pt x="6" y="13"/>
                  </a:lnTo>
                  <a:lnTo>
                    <a:pt x="6" y="23"/>
                  </a:lnTo>
                  <a:lnTo>
                    <a:pt x="6" y="23"/>
                  </a:lnTo>
                  <a:lnTo>
                    <a:pt x="3" y="30"/>
                  </a:lnTo>
                  <a:lnTo>
                    <a:pt x="0" y="35"/>
                  </a:lnTo>
                  <a:lnTo>
                    <a:pt x="0" y="35"/>
                  </a:lnTo>
                  <a:lnTo>
                    <a:pt x="11" y="37"/>
                  </a:lnTo>
                  <a:lnTo>
                    <a:pt x="22" y="40"/>
                  </a:lnTo>
                  <a:lnTo>
                    <a:pt x="30" y="45"/>
                  </a:lnTo>
                  <a:lnTo>
                    <a:pt x="35" y="48"/>
                  </a:lnTo>
                  <a:lnTo>
                    <a:pt x="35" y="48"/>
                  </a:lnTo>
                  <a:lnTo>
                    <a:pt x="43" y="62"/>
                  </a:lnTo>
                  <a:lnTo>
                    <a:pt x="48" y="69"/>
                  </a:lnTo>
                  <a:lnTo>
                    <a:pt x="51" y="77"/>
                  </a:lnTo>
                  <a:lnTo>
                    <a:pt x="51" y="77"/>
                  </a:lnTo>
                  <a:lnTo>
                    <a:pt x="51" y="77"/>
                  </a:lnTo>
                  <a:lnTo>
                    <a:pt x="55" y="72"/>
                  </a:lnTo>
                  <a:lnTo>
                    <a:pt x="61" y="69"/>
                  </a:lnTo>
                  <a:lnTo>
                    <a:pt x="61" y="69"/>
                  </a:lnTo>
                  <a:lnTo>
                    <a:pt x="66" y="68"/>
                  </a:lnTo>
                  <a:lnTo>
                    <a:pt x="72" y="66"/>
                  </a:lnTo>
                  <a:lnTo>
                    <a:pt x="78" y="62"/>
                  </a:lnTo>
                  <a:lnTo>
                    <a:pt x="81" y="58"/>
                  </a:lnTo>
                  <a:lnTo>
                    <a:pt x="81" y="58"/>
                  </a:lnTo>
                  <a:lnTo>
                    <a:pt x="84" y="39"/>
                  </a:lnTo>
                  <a:lnTo>
                    <a:pt x="87" y="29"/>
                  </a:lnTo>
                  <a:lnTo>
                    <a:pt x="88" y="26"/>
                  </a:lnTo>
                  <a:lnTo>
                    <a:pt x="91" y="23"/>
                  </a:lnTo>
                  <a:lnTo>
                    <a:pt x="91" y="23"/>
                  </a:lnTo>
                  <a:lnTo>
                    <a:pt x="81" y="13"/>
                  </a:lnTo>
                  <a:lnTo>
                    <a:pt x="75" y="8"/>
                  </a:lnTo>
                  <a:lnTo>
                    <a:pt x="71"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42" name="Freeform 713"/>
            <p:cNvSpPr>
              <a:spLocks/>
            </p:cNvSpPr>
            <p:nvPr/>
          </p:nvSpPr>
          <p:spPr bwMode="auto">
            <a:xfrm>
              <a:off x="4913313" y="3035729"/>
              <a:ext cx="220663" cy="200025"/>
            </a:xfrm>
            <a:custGeom>
              <a:avLst/>
              <a:gdLst>
                <a:gd name="T0" fmla="*/ 125 w 139"/>
                <a:gd name="T1" fmla="*/ 88 h 126"/>
                <a:gd name="T2" fmla="*/ 138 w 139"/>
                <a:gd name="T3" fmla="*/ 74 h 126"/>
                <a:gd name="T4" fmla="*/ 139 w 139"/>
                <a:gd name="T5" fmla="*/ 67 h 126"/>
                <a:gd name="T6" fmla="*/ 135 w 139"/>
                <a:gd name="T7" fmla="*/ 62 h 126"/>
                <a:gd name="T8" fmla="*/ 126 w 139"/>
                <a:gd name="T9" fmla="*/ 55 h 126"/>
                <a:gd name="T10" fmla="*/ 123 w 139"/>
                <a:gd name="T11" fmla="*/ 49 h 126"/>
                <a:gd name="T12" fmla="*/ 112 w 139"/>
                <a:gd name="T13" fmla="*/ 13 h 126"/>
                <a:gd name="T14" fmla="*/ 109 w 139"/>
                <a:gd name="T15" fmla="*/ 7 h 126"/>
                <a:gd name="T16" fmla="*/ 104 w 139"/>
                <a:gd name="T17" fmla="*/ 7 h 126"/>
                <a:gd name="T18" fmla="*/ 93 w 139"/>
                <a:gd name="T19" fmla="*/ 10 h 126"/>
                <a:gd name="T20" fmla="*/ 90 w 139"/>
                <a:gd name="T21" fmla="*/ 9 h 126"/>
                <a:gd name="T22" fmla="*/ 90 w 139"/>
                <a:gd name="T23" fmla="*/ 1 h 126"/>
                <a:gd name="T24" fmla="*/ 86 w 139"/>
                <a:gd name="T25" fmla="*/ 0 h 126"/>
                <a:gd name="T26" fmla="*/ 74 w 139"/>
                <a:gd name="T27" fmla="*/ 1 h 126"/>
                <a:gd name="T28" fmla="*/ 72 w 139"/>
                <a:gd name="T29" fmla="*/ 7 h 126"/>
                <a:gd name="T30" fmla="*/ 71 w 139"/>
                <a:gd name="T31" fmla="*/ 10 h 126"/>
                <a:gd name="T32" fmla="*/ 59 w 139"/>
                <a:gd name="T33" fmla="*/ 15 h 126"/>
                <a:gd name="T34" fmla="*/ 44 w 139"/>
                <a:gd name="T35" fmla="*/ 16 h 126"/>
                <a:gd name="T36" fmla="*/ 41 w 139"/>
                <a:gd name="T37" fmla="*/ 17 h 126"/>
                <a:gd name="T38" fmla="*/ 35 w 139"/>
                <a:gd name="T39" fmla="*/ 30 h 126"/>
                <a:gd name="T40" fmla="*/ 32 w 139"/>
                <a:gd name="T41" fmla="*/ 51 h 126"/>
                <a:gd name="T42" fmla="*/ 23 w 139"/>
                <a:gd name="T43" fmla="*/ 59 h 126"/>
                <a:gd name="T44" fmla="*/ 12 w 139"/>
                <a:gd name="T45" fmla="*/ 62 h 126"/>
                <a:gd name="T46" fmla="*/ 6 w 139"/>
                <a:gd name="T47" fmla="*/ 65 h 126"/>
                <a:gd name="T48" fmla="*/ 2 w 139"/>
                <a:gd name="T49" fmla="*/ 70 h 126"/>
                <a:gd name="T50" fmla="*/ 0 w 139"/>
                <a:gd name="T51" fmla="*/ 116 h 126"/>
                <a:gd name="T52" fmla="*/ 2 w 139"/>
                <a:gd name="T53" fmla="*/ 126 h 126"/>
                <a:gd name="T54" fmla="*/ 55 w 139"/>
                <a:gd name="T55" fmla="*/ 126 h 126"/>
                <a:gd name="T56" fmla="*/ 94 w 139"/>
                <a:gd name="T57" fmla="*/ 126 h 126"/>
                <a:gd name="T58" fmla="*/ 110 w 139"/>
                <a:gd name="T59" fmla="*/ 119 h 126"/>
                <a:gd name="T60" fmla="*/ 122 w 139"/>
                <a:gd name="T61" fmla="*/ 110 h 126"/>
                <a:gd name="T62" fmla="*/ 123 w 139"/>
                <a:gd name="T63" fmla="*/ 109 h 126"/>
                <a:gd name="T64" fmla="*/ 123 w 139"/>
                <a:gd name="T65" fmla="*/ 9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26">
                  <a:moveTo>
                    <a:pt x="125" y="88"/>
                  </a:moveTo>
                  <a:lnTo>
                    <a:pt x="125" y="88"/>
                  </a:lnTo>
                  <a:lnTo>
                    <a:pt x="133" y="80"/>
                  </a:lnTo>
                  <a:lnTo>
                    <a:pt x="138" y="74"/>
                  </a:lnTo>
                  <a:lnTo>
                    <a:pt x="139" y="71"/>
                  </a:lnTo>
                  <a:lnTo>
                    <a:pt x="139" y="67"/>
                  </a:lnTo>
                  <a:lnTo>
                    <a:pt x="139" y="67"/>
                  </a:lnTo>
                  <a:lnTo>
                    <a:pt x="135" y="62"/>
                  </a:lnTo>
                  <a:lnTo>
                    <a:pt x="130" y="58"/>
                  </a:lnTo>
                  <a:lnTo>
                    <a:pt x="126" y="55"/>
                  </a:lnTo>
                  <a:lnTo>
                    <a:pt x="123" y="49"/>
                  </a:lnTo>
                  <a:lnTo>
                    <a:pt x="123" y="49"/>
                  </a:lnTo>
                  <a:lnTo>
                    <a:pt x="116" y="26"/>
                  </a:lnTo>
                  <a:lnTo>
                    <a:pt x="112" y="13"/>
                  </a:lnTo>
                  <a:lnTo>
                    <a:pt x="109" y="7"/>
                  </a:lnTo>
                  <a:lnTo>
                    <a:pt x="109" y="7"/>
                  </a:lnTo>
                  <a:lnTo>
                    <a:pt x="106" y="6"/>
                  </a:lnTo>
                  <a:lnTo>
                    <a:pt x="104" y="7"/>
                  </a:lnTo>
                  <a:lnTo>
                    <a:pt x="97" y="9"/>
                  </a:lnTo>
                  <a:lnTo>
                    <a:pt x="93" y="10"/>
                  </a:lnTo>
                  <a:lnTo>
                    <a:pt x="90" y="10"/>
                  </a:lnTo>
                  <a:lnTo>
                    <a:pt x="90" y="9"/>
                  </a:lnTo>
                  <a:lnTo>
                    <a:pt x="90" y="9"/>
                  </a:lnTo>
                  <a:lnTo>
                    <a:pt x="90" y="1"/>
                  </a:lnTo>
                  <a:lnTo>
                    <a:pt x="88" y="1"/>
                  </a:lnTo>
                  <a:lnTo>
                    <a:pt x="86" y="0"/>
                  </a:lnTo>
                  <a:lnTo>
                    <a:pt x="86" y="0"/>
                  </a:lnTo>
                  <a:lnTo>
                    <a:pt x="74" y="1"/>
                  </a:lnTo>
                  <a:lnTo>
                    <a:pt x="74" y="1"/>
                  </a:lnTo>
                  <a:lnTo>
                    <a:pt x="72" y="7"/>
                  </a:lnTo>
                  <a:lnTo>
                    <a:pt x="72" y="7"/>
                  </a:lnTo>
                  <a:lnTo>
                    <a:pt x="71" y="10"/>
                  </a:lnTo>
                  <a:lnTo>
                    <a:pt x="68" y="12"/>
                  </a:lnTo>
                  <a:lnTo>
                    <a:pt x="59" y="15"/>
                  </a:lnTo>
                  <a:lnTo>
                    <a:pt x="51" y="16"/>
                  </a:lnTo>
                  <a:lnTo>
                    <a:pt x="44" y="16"/>
                  </a:lnTo>
                  <a:lnTo>
                    <a:pt x="44" y="16"/>
                  </a:lnTo>
                  <a:lnTo>
                    <a:pt x="41" y="17"/>
                  </a:lnTo>
                  <a:lnTo>
                    <a:pt x="38" y="20"/>
                  </a:lnTo>
                  <a:lnTo>
                    <a:pt x="35" y="30"/>
                  </a:lnTo>
                  <a:lnTo>
                    <a:pt x="32" y="51"/>
                  </a:lnTo>
                  <a:lnTo>
                    <a:pt x="32" y="51"/>
                  </a:lnTo>
                  <a:lnTo>
                    <a:pt x="29" y="55"/>
                  </a:lnTo>
                  <a:lnTo>
                    <a:pt x="23" y="59"/>
                  </a:lnTo>
                  <a:lnTo>
                    <a:pt x="17" y="61"/>
                  </a:lnTo>
                  <a:lnTo>
                    <a:pt x="12" y="62"/>
                  </a:lnTo>
                  <a:lnTo>
                    <a:pt x="12" y="62"/>
                  </a:lnTo>
                  <a:lnTo>
                    <a:pt x="6" y="65"/>
                  </a:lnTo>
                  <a:lnTo>
                    <a:pt x="2" y="70"/>
                  </a:lnTo>
                  <a:lnTo>
                    <a:pt x="2" y="70"/>
                  </a:lnTo>
                  <a:lnTo>
                    <a:pt x="0" y="116"/>
                  </a:lnTo>
                  <a:lnTo>
                    <a:pt x="0" y="116"/>
                  </a:lnTo>
                  <a:lnTo>
                    <a:pt x="0" y="123"/>
                  </a:lnTo>
                  <a:lnTo>
                    <a:pt x="2" y="126"/>
                  </a:lnTo>
                  <a:lnTo>
                    <a:pt x="2" y="126"/>
                  </a:lnTo>
                  <a:lnTo>
                    <a:pt x="55" y="126"/>
                  </a:lnTo>
                  <a:lnTo>
                    <a:pt x="94" y="126"/>
                  </a:lnTo>
                  <a:lnTo>
                    <a:pt x="94" y="126"/>
                  </a:lnTo>
                  <a:lnTo>
                    <a:pt x="103" y="123"/>
                  </a:lnTo>
                  <a:lnTo>
                    <a:pt x="110" y="119"/>
                  </a:lnTo>
                  <a:lnTo>
                    <a:pt x="117" y="114"/>
                  </a:lnTo>
                  <a:lnTo>
                    <a:pt x="122" y="110"/>
                  </a:lnTo>
                  <a:lnTo>
                    <a:pt x="122" y="110"/>
                  </a:lnTo>
                  <a:lnTo>
                    <a:pt x="123" y="109"/>
                  </a:lnTo>
                  <a:lnTo>
                    <a:pt x="123" y="109"/>
                  </a:lnTo>
                  <a:lnTo>
                    <a:pt x="123" y="97"/>
                  </a:lnTo>
                  <a:lnTo>
                    <a:pt x="125" y="88"/>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43" name="Freeform 714"/>
            <p:cNvSpPr>
              <a:spLocks/>
            </p:cNvSpPr>
            <p:nvPr/>
          </p:nvSpPr>
          <p:spPr bwMode="auto">
            <a:xfrm>
              <a:off x="4913313" y="3035729"/>
              <a:ext cx="220663" cy="200025"/>
            </a:xfrm>
            <a:custGeom>
              <a:avLst/>
              <a:gdLst>
                <a:gd name="T0" fmla="*/ 125 w 139"/>
                <a:gd name="T1" fmla="*/ 88 h 126"/>
                <a:gd name="T2" fmla="*/ 138 w 139"/>
                <a:gd name="T3" fmla="*/ 74 h 126"/>
                <a:gd name="T4" fmla="*/ 139 w 139"/>
                <a:gd name="T5" fmla="*/ 67 h 126"/>
                <a:gd name="T6" fmla="*/ 135 w 139"/>
                <a:gd name="T7" fmla="*/ 62 h 126"/>
                <a:gd name="T8" fmla="*/ 126 w 139"/>
                <a:gd name="T9" fmla="*/ 55 h 126"/>
                <a:gd name="T10" fmla="*/ 123 w 139"/>
                <a:gd name="T11" fmla="*/ 49 h 126"/>
                <a:gd name="T12" fmla="*/ 112 w 139"/>
                <a:gd name="T13" fmla="*/ 13 h 126"/>
                <a:gd name="T14" fmla="*/ 109 w 139"/>
                <a:gd name="T15" fmla="*/ 7 h 126"/>
                <a:gd name="T16" fmla="*/ 104 w 139"/>
                <a:gd name="T17" fmla="*/ 7 h 126"/>
                <a:gd name="T18" fmla="*/ 93 w 139"/>
                <a:gd name="T19" fmla="*/ 10 h 126"/>
                <a:gd name="T20" fmla="*/ 90 w 139"/>
                <a:gd name="T21" fmla="*/ 9 h 126"/>
                <a:gd name="T22" fmla="*/ 90 w 139"/>
                <a:gd name="T23" fmla="*/ 1 h 126"/>
                <a:gd name="T24" fmla="*/ 86 w 139"/>
                <a:gd name="T25" fmla="*/ 0 h 126"/>
                <a:gd name="T26" fmla="*/ 74 w 139"/>
                <a:gd name="T27" fmla="*/ 1 h 126"/>
                <a:gd name="T28" fmla="*/ 72 w 139"/>
                <a:gd name="T29" fmla="*/ 7 h 126"/>
                <a:gd name="T30" fmla="*/ 71 w 139"/>
                <a:gd name="T31" fmla="*/ 10 h 126"/>
                <a:gd name="T32" fmla="*/ 59 w 139"/>
                <a:gd name="T33" fmla="*/ 15 h 126"/>
                <a:gd name="T34" fmla="*/ 44 w 139"/>
                <a:gd name="T35" fmla="*/ 16 h 126"/>
                <a:gd name="T36" fmla="*/ 41 w 139"/>
                <a:gd name="T37" fmla="*/ 17 h 126"/>
                <a:gd name="T38" fmla="*/ 35 w 139"/>
                <a:gd name="T39" fmla="*/ 30 h 126"/>
                <a:gd name="T40" fmla="*/ 32 w 139"/>
                <a:gd name="T41" fmla="*/ 51 h 126"/>
                <a:gd name="T42" fmla="*/ 23 w 139"/>
                <a:gd name="T43" fmla="*/ 59 h 126"/>
                <a:gd name="T44" fmla="*/ 12 w 139"/>
                <a:gd name="T45" fmla="*/ 62 h 126"/>
                <a:gd name="T46" fmla="*/ 6 w 139"/>
                <a:gd name="T47" fmla="*/ 65 h 126"/>
                <a:gd name="T48" fmla="*/ 2 w 139"/>
                <a:gd name="T49" fmla="*/ 70 h 126"/>
                <a:gd name="T50" fmla="*/ 0 w 139"/>
                <a:gd name="T51" fmla="*/ 116 h 126"/>
                <a:gd name="T52" fmla="*/ 2 w 139"/>
                <a:gd name="T53" fmla="*/ 126 h 126"/>
                <a:gd name="T54" fmla="*/ 55 w 139"/>
                <a:gd name="T55" fmla="*/ 126 h 126"/>
                <a:gd name="T56" fmla="*/ 94 w 139"/>
                <a:gd name="T57" fmla="*/ 126 h 126"/>
                <a:gd name="T58" fmla="*/ 110 w 139"/>
                <a:gd name="T59" fmla="*/ 119 h 126"/>
                <a:gd name="T60" fmla="*/ 122 w 139"/>
                <a:gd name="T61" fmla="*/ 110 h 126"/>
                <a:gd name="T62" fmla="*/ 123 w 139"/>
                <a:gd name="T63" fmla="*/ 109 h 126"/>
                <a:gd name="T64" fmla="*/ 123 w 139"/>
                <a:gd name="T65" fmla="*/ 9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26">
                  <a:moveTo>
                    <a:pt x="125" y="88"/>
                  </a:moveTo>
                  <a:lnTo>
                    <a:pt x="125" y="88"/>
                  </a:lnTo>
                  <a:lnTo>
                    <a:pt x="133" y="80"/>
                  </a:lnTo>
                  <a:lnTo>
                    <a:pt x="138" y="74"/>
                  </a:lnTo>
                  <a:lnTo>
                    <a:pt x="139" y="71"/>
                  </a:lnTo>
                  <a:lnTo>
                    <a:pt x="139" y="67"/>
                  </a:lnTo>
                  <a:lnTo>
                    <a:pt x="139" y="67"/>
                  </a:lnTo>
                  <a:lnTo>
                    <a:pt x="135" y="62"/>
                  </a:lnTo>
                  <a:lnTo>
                    <a:pt x="130" y="58"/>
                  </a:lnTo>
                  <a:lnTo>
                    <a:pt x="126" y="55"/>
                  </a:lnTo>
                  <a:lnTo>
                    <a:pt x="123" y="49"/>
                  </a:lnTo>
                  <a:lnTo>
                    <a:pt x="123" y="49"/>
                  </a:lnTo>
                  <a:lnTo>
                    <a:pt x="116" y="26"/>
                  </a:lnTo>
                  <a:lnTo>
                    <a:pt x="112" y="13"/>
                  </a:lnTo>
                  <a:lnTo>
                    <a:pt x="109" y="7"/>
                  </a:lnTo>
                  <a:lnTo>
                    <a:pt x="109" y="7"/>
                  </a:lnTo>
                  <a:lnTo>
                    <a:pt x="106" y="6"/>
                  </a:lnTo>
                  <a:lnTo>
                    <a:pt x="104" y="7"/>
                  </a:lnTo>
                  <a:lnTo>
                    <a:pt x="97" y="9"/>
                  </a:lnTo>
                  <a:lnTo>
                    <a:pt x="93" y="10"/>
                  </a:lnTo>
                  <a:lnTo>
                    <a:pt x="90" y="10"/>
                  </a:lnTo>
                  <a:lnTo>
                    <a:pt x="90" y="9"/>
                  </a:lnTo>
                  <a:lnTo>
                    <a:pt x="90" y="9"/>
                  </a:lnTo>
                  <a:lnTo>
                    <a:pt x="90" y="1"/>
                  </a:lnTo>
                  <a:lnTo>
                    <a:pt x="88" y="1"/>
                  </a:lnTo>
                  <a:lnTo>
                    <a:pt x="86" y="0"/>
                  </a:lnTo>
                  <a:lnTo>
                    <a:pt x="86" y="0"/>
                  </a:lnTo>
                  <a:lnTo>
                    <a:pt x="74" y="1"/>
                  </a:lnTo>
                  <a:lnTo>
                    <a:pt x="74" y="1"/>
                  </a:lnTo>
                  <a:lnTo>
                    <a:pt x="72" y="7"/>
                  </a:lnTo>
                  <a:lnTo>
                    <a:pt x="72" y="7"/>
                  </a:lnTo>
                  <a:lnTo>
                    <a:pt x="71" y="10"/>
                  </a:lnTo>
                  <a:lnTo>
                    <a:pt x="68" y="12"/>
                  </a:lnTo>
                  <a:lnTo>
                    <a:pt x="59" y="15"/>
                  </a:lnTo>
                  <a:lnTo>
                    <a:pt x="51" y="16"/>
                  </a:lnTo>
                  <a:lnTo>
                    <a:pt x="44" y="16"/>
                  </a:lnTo>
                  <a:lnTo>
                    <a:pt x="44" y="16"/>
                  </a:lnTo>
                  <a:lnTo>
                    <a:pt x="41" y="17"/>
                  </a:lnTo>
                  <a:lnTo>
                    <a:pt x="38" y="20"/>
                  </a:lnTo>
                  <a:lnTo>
                    <a:pt x="35" y="30"/>
                  </a:lnTo>
                  <a:lnTo>
                    <a:pt x="32" y="51"/>
                  </a:lnTo>
                  <a:lnTo>
                    <a:pt x="32" y="51"/>
                  </a:lnTo>
                  <a:lnTo>
                    <a:pt x="29" y="55"/>
                  </a:lnTo>
                  <a:lnTo>
                    <a:pt x="23" y="59"/>
                  </a:lnTo>
                  <a:lnTo>
                    <a:pt x="17" y="61"/>
                  </a:lnTo>
                  <a:lnTo>
                    <a:pt x="12" y="62"/>
                  </a:lnTo>
                  <a:lnTo>
                    <a:pt x="12" y="62"/>
                  </a:lnTo>
                  <a:lnTo>
                    <a:pt x="6" y="65"/>
                  </a:lnTo>
                  <a:lnTo>
                    <a:pt x="2" y="70"/>
                  </a:lnTo>
                  <a:lnTo>
                    <a:pt x="2" y="70"/>
                  </a:lnTo>
                  <a:lnTo>
                    <a:pt x="0" y="116"/>
                  </a:lnTo>
                  <a:lnTo>
                    <a:pt x="0" y="116"/>
                  </a:lnTo>
                  <a:lnTo>
                    <a:pt x="0" y="123"/>
                  </a:lnTo>
                  <a:lnTo>
                    <a:pt x="2" y="126"/>
                  </a:lnTo>
                  <a:lnTo>
                    <a:pt x="2" y="126"/>
                  </a:lnTo>
                  <a:lnTo>
                    <a:pt x="55" y="126"/>
                  </a:lnTo>
                  <a:lnTo>
                    <a:pt x="94" y="126"/>
                  </a:lnTo>
                  <a:lnTo>
                    <a:pt x="94" y="126"/>
                  </a:lnTo>
                  <a:lnTo>
                    <a:pt x="103" y="123"/>
                  </a:lnTo>
                  <a:lnTo>
                    <a:pt x="110" y="119"/>
                  </a:lnTo>
                  <a:lnTo>
                    <a:pt x="117" y="114"/>
                  </a:lnTo>
                  <a:lnTo>
                    <a:pt x="122" y="110"/>
                  </a:lnTo>
                  <a:lnTo>
                    <a:pt x="122" y="110"/>
                  </a:lnTo>
                  <a:lnTo>
                    <a:pt x="123" y="109"/>
                  </a:lnTo>
                  <a:lnTo>
                    <a:pt x="123" y="109"/>
                  </a:lnTo>
                  <a:lnTo>
                    <a:pt x="123" y="97"/>
                  </a:lnTo>
                  <a:lnTo>
                    <a:pt x="125" y="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44" name="Freeform 715"/>
            <p:cNvSpPr>
              <a:spLocks/>
            </p:cNvSpPr>
            <p:nvPr/>
          </p:nvSpPr>
          <p:spPr bwMode="auto">
            <a:xfrm>
              <a:off x="4624388" y="3246867"/>
              <a:ext cx="166688" cy="106363"/>
            </a:xfrm>
            <a:custGeom>
              <a:avLst/>
              <a:gdLst>
                <a:gd name="T0" fmla="*/ 98 w 105"/>
                <a:gd name="T1" fmla="*/ 35 h 67"/>
                <a:gd name="T2" fmla="*/ 98 w 105"/>
                <a:gd name="T3" fmla="*/ 35 h 67"/>
                <a:gd name="T4" fmla="*/ 68 w 105"/>
                <a:gd name="T5" fmla="*/ 19 h 67"/>
                <a:gd name="T6" fmla="*/ 68 w 105"/>
                <a:gd name="T7" fmla="*/ 19 h 67"/>
                <a:gd name="T8" fmla="*/ 63 w 105"/>
                <a:gd name="T9" fmla="*/ 18 h 67"/>
                <a:gd name="T10" fmla="*/ 60 w 105"/>
                <a:gd name="T11" fmla="*/ 18 h 67"/>
                <a:gd name="T12" fmla="*/ 59 w 105"/>
                <a:gd name="T13" fmla="*/ 16 h 67"/>
                <a:gd name="T14" fmla="*/ 59 w 105"/>
                <a:gd name="T15" fmla="*/ 16 h 67"/>
                <a:gd name="T16" fmla="*/ 56 w 105"/>
                <a:gd name="T17" fmla="*/ 9 h 67"/>
                <a:gd name="T18" fmla="*/ 55 w 105"/>
                <a:gd name="T19" fmla="*/ 6 h 67"/>
                <a:gd name="T20" fmla="*/ 52 w 105"/>
                <a:gd name="T21" fmla="*/ 3 h 67"/>
                <a:gd name="T22" fmla="*/ 52 w 105"/>
                <a:gd name="T23" fmla="*/ 3 h 67"/>
                <a:gd name="T24" fmla="*/ 39 w 105"/>
                <a:gd name="T25" fmla="*/ 0 h 67"/>
                <a:gd name="T26" fmla="*/ 39 w 105"/>
                <a:gd name="T27" fmla="*/ 0 h 67"/>
                <a:gd name="T28" fmla="*/ 27 w 105"/>
                <a:gd name="T29" fmla="*/ 10 h 67"/>
                <a:gd name="T30" fmla="*/ 27 w 105"/>
                <a:gd name="T31" fmla="*/ 10 h 67"/>
                <a:gd name="T32" fmla="*/ 20 w 105"/>
                <a:gd name="T33" fmla="*/ 15 h 67"/>
                <a:gd name="T34" fmla="*/ 13 w 105"/>
                <a:gd name="T35" fmla="*/ 21 h 67"/>
                <a:gd name="T36" fmla="*/ 5 w 105"/>
                <a:gd name="T37" fmla="*/ 25 h 67"/>
                <a:gd name="T38" fmla="*/ 1 w 105"/>
                <a:gd name="T39" fmla="*/ 29 h 67"/>
                <a:gd name="T40" fmla="*/ 1 w 105"/>
                <a:gd name="T41" fmla="*/ 29 h 67"/>
                <a:gd name="T42" fmla="*/ 0 w 105"/>
                <a:gd name="T43" fmla="*/ 31 h 67"/>
                <a:gd name="T44" fmla="*/ 1 w 105"/>
                <a:gd name="T45" fmla="*/ 32 h 67"/>
                <a:gd name="T46" fmla="*/ 4 w 105"/>
                <a:gd name="T47" fmla="*/ 38 h 67"/>
                <a:gd name="T48" fmla="*/ 16 w 105"/>
                <a:gd name="T49" fmla="*/ 50 h 67"/>
                <a:gd name="T50" fmla="*/ 16 w 105"/>
                <a:gd name="T51" fmla="*/ 50 h 67"/>
                <a:gd name="T52" fmla="*/ 21 w 105"/>
                <a:gd name="T53" fmla="*/ 54 h 67"/>
                <a:gd name="T54" fmla="*/ 27 w 105"/>
                <a:gd name="T55" fmla="*/ 58 h 67"/>
                <a:gd name="T56" fmla="*/ 33 w 105"/>
                <a:gd name="T57" fmla="*/ 60 h 67"/>
                <a:gd name="T58" fmla="*/ 40 w 105"/>
                <a:gd name="T59" fmla="*/ 60 h 67"/>
                <a:gd name="T60" fmla="*/ 40 w 105"/>
                <a:gd name="T61" fmla="*/ 60 h 67"/>
                <a:gd name="T62" fmla="*/ 47 w 105"/>
                <a:gd name="T63" fmla="*/ 60 h 67"/>
                <a:gd name="T64" fmla="*/ 55 w 105"/>
                <a:gd name="T65" fmla="*/ 58 h 67"/>
                <a:gd name="T66" fmla="*/ 60 w 105"/>
                <a:gd name="T67" fmla="*/ 55 h 67"/>
                <a:gd name="T68" fmla="*/ 65 w 105"/>
                <a:gd name="T69" fmla="*/ 55 h 67"/>
                <a:gd name="T70" fmla="*/ 65 w 105"/>
                <a:gd name="T71" fmla="*/ 55 h 67"/>
                <a:gd name="T72" fmla="*/ 66 w 105"/>
                <a:gd name="T73" fmla="*/ 57 h 67"/>
                <a:gd name="T74" fmla="*/ 69 w 105"/>
                <a:gd name="T75" fmla="*/ 60 h 67"/>
                <a:gd name="T76" fmla="*/ 72 w 105"/>
                <a:gd name="T77" fmla="*/ 67 h 67"/>
                <a:gd name="T78" fmla="*/ 72 w 105"/>
                <a:gd name="T79" fmla="*/ 67 h 67"/>
                <a:gd name="T80" fmla="*/ 82 w 105"/>
                <a:gd name="T81" fmla="*/ 63 h 67"/>
                <a:gd name="T82" fmla="*/ 89 w 105"/>
                <a:gd name="T83" fmla="*/ 60 h 67"/>
                <a:gd name="T84" fmla="*/ 89 w 105"/>
                <a:gd name="T85" fmla="*/ 60 h 67"/>
                <a:gd name="T86" fmla="*/ 97 w 105"/>
                <a:gd name="T87" fmla="*/ 52 h 67"/>
                <a:gd name="T88" fmla="*/ 101 w 105"/>
                <a:gd name="T89" fmla="*/ 50 h 67"/>
                <a:gd name="T90" fmla="*/ 104 w 105"/>
                <a:gd name="T91" fmla="*/ 48 h 67"/>
                <a:gd name="T92" fmla="*/ 105 w 105"/>
                <a:gd name="T93" fmla="*/ 48 h 67"/>
                <a:gd name="T94" fmla="*/ 105 w 105"/>
                <a:gd name="T95" fmla="*/ 48 h 67"/>
                <a:gd name="T96" fmla="*/ 102 w 105"/>
                <a:gd name="T97" fmla="*/ 39 h 67"/>
                <a:gd name="T98" fmla="*/ 101 w 105"/>
                <a:gd name="T99" fmla="*/ 37 h 67"/>
                <a:gd name="T100" fmla="*/ 98 w 105"/>
                <a:gd name="T101"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5" h="67">
                  <a:moveTo>
                    <a:pt x="98" y="35"/>
                  </a:moveTo>
                  <a:lnTo>
                    <a:pt x="98" y="35"/>
                  </a:lnTo>
                  <a:lnTo>
                    <a:pt x="68" y="19"/>
                  </a:lnTo>
                  <a:lnTo>
                    <a:pt x="68" y="19"/>
                  </a:lnTo>
                  <a:lnTo>
                    <a:pt x="63" y="18"/>
                  </a:lnTo>
                  <a:lnTo>
                    <a:pt x="60" y="18"/>
                  </a:lnTo>
                  <a:lnTo>
                    <a:pt x="59" y="16"/>
                  </a:lnTo>
                  <a:lnTo>
                    <a:pt x="59" y="16"/>
                  </a:lnTo>
                  <a:lnTo>
                    <a:pt x="56" y="9"/>
                  </a:lnTo>
                  <a:lnTo>
                    <a:pt x="55" y="6"/>
                  </a:lnTo>
                  <a:lnTo>
                    <a:pt x="52" y="3"/>
                  </a:lnTo>
                  <a:lnTo>
                    <a:pt x="52" y="3"/>
                  </a:lnTo>
                  <a:lnTo>
                    <a:pt x="39" y="0"/>
                  </a:lnTo>
                  <a:lnTo>
                    <a:pt x="39" y="0"/>
                  </a:lnTo>
                  <a:lnTo>
                    <a:pt x="27" y="10"/>
                  </a:lnTo>
                  <a:lnTo>
                    <a:pt x="27" y="10"/>
                  </a:lnTo>
                  <a:lnTo>
                    <a:pt x="20" y="15"/>
                  </a:lnTo>
                  <a:lnTo>
                    <a:pt x="13" y="21"/>
                  </a:lnTo>
                  <a:lnTo>
                    <a:pt x="5" y="25"/>
                  </a:lnTo>
                  <a:lnTo>
                    <a:pt x="1" y="29"/>
                  </a:lnTo>
                  <a:lnTo>
                    <a:pt x="1" y="29"/>
                  </a:lnTo>
                  <a:lnTo>
                    <a:pt x="0" y="31"/>
                  </a:lnTo>
                  <a:lnTo>
                    <a:pt x="1" y="32"/>
                  </a:lnTo>
                  <a:lnTo>
                    <a:pt x="4" y="38"/>
                  </a:lnTo>
                  <a:lnTo>
                    <a:pt x="16" y="50"/>
                  </a:lnTo>
                  <a:lnTo>
                    <a:pt x="16" y="50"/>
                  </a:lnTo>
                  <a:lnTo>
                    <a:pt x="21" y="54"/>
                  </a:lnTo>
                  <a:lnTo>
                    <a:pt x="27" y="58"/>
                  </a:lnTo>
                  <a:lnTo>
                    <a:pt x="33" y="60"/>
                  </a:lnTo>
                  <a:lnTo>
                    <a:pt x="40" y="60"/>
                  </a:lnTo>
                  <a:lnTo>
                    <a:pt x="40" y="60"/>
                  </a:lnTo>
                  <a:lnTo>
                    <a:pt x="47" y="60"/>
                  </a:lnTo>
                  <a:lnTo>
                    <a:pt x="55" y="58"/>
                  </a:lnTo>
                  <a:lnTo>
                    <a:pt x="60" y="55"/>
                  </a:lnTo>
                  <a:lnTo>
                    <a:pt x="65" y="55"/>
                  </a:lnTo>
                  <a:lnTo>
                    <a:pt x="65" y="55"/>
                  </a:lnTo>
                  <a:lnTo>
                    <a:pt x="66" y="57"/>
                  </a:lnTo>
                  <a:lnTo>
                    <a:pt x="69" y="60"/>
                  </a:lnTo>
                  <a:lnTo>
                    <a:pt x="72" y="67"/>
                  </a:lnTo>
                  <a:lnTo>
                    <a:pt x="72" y="67"/>
                  </a:lnTo>
                  <a:lnTo>
                    <a:pt x="82" y="63"/>
                  </a:lnTo>
                  <a:lnTo>
                    <a:pt x="89" y="60"/>
                  </a:lnTo>
                  <a:lnTo>
                    <a:pt x="89" y="60"/>
                  </a:lnTo>
                  <a:lnTo>
                    <a:pt x="97" y="52"/>
                  </a:lnTo>
                  <a:lnTo>
                    <a:pt x="101" y="50"/>
                  </a:lnTo>
                  <a:lnTo>
                    <a:pt x="104" y="48"/>
                  </a:lnTo>
                  <a:lnTo>
                    <a:pt x="105" y="48"/>
                  </a:lnTo>
                  <a:lnTo>
                    <a:pt x="105" y="48"/>
                  </a:lnTo>
                  <a:lnTo>
                    <a:pt x="102" y="39"/>
                  </a:lnTo>
                  <a:lnTo>
                    <a:pt x="101" y="37"/>
                  </a:lnTo>
                  <a:lnTo>
                    <a:pt x="98" y="35"/>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45" name="Freeform 716"/>
            <p:cNvSpPr>
              <a:spLocks/>
            </p:cNvSpPr>
            <p:nvPr/>
          </p:nvSpPr>
          <p:spPr bwMode="auto">
            <a:xfrm>
              <a:off x="4624388" y="3246867"/>
              <a:ext cx="166688" cy="106363"/>
            </a:xfrm>
            <a:custGeom>
              <a:avLst/>
              <a:gdLst>
                <a:gd name="T0" fmla="*/ 98 w 105"/>
                <a:gd name="T1" fmla="*/ 35 h 67"/>
                <a:gd name="T2" fmla="*/ 98 w 105"/>
                <a:gd name="T3" fmla="*/ 35 h 67"/>
                <a:gd name="T4" fmla="*/ 68 w 105"/>
                <a:gd name="T5" fmla="*/ 19 h 67"/>
                <a:gd name="T6" fmla="*/ 68 w 105"/>
                <a:gd name="T7" fmla="*/ 19 h 67"/>
                <a:gd name="T8" fmla="*/ 63 w 105"/>
                <a:gd name="T9" fmla="*/ 18 h 67"/>
                <a:gd name="T10" fmla="*/ 60 w 105"/>
                <a:gd name="T11" fmla="*/ 18 h 67"/>
                <a:gd name="T12" fmla="*/ 59 w 105"/>
                <a:gd name="T13" fmla="*/ 16 h 67"/>
                <a:gd name="T14" fmla="*/ 59 w 105"/>
                <a:gd name="T15" fmla="*/ 16 h 67"/>
                <a:gd name="T16" fmla="*/ 56 w 105"/>
                <a:gd name="T17" fmla="*/ 9 h 67"/>
                <a:gd name="T18" fmla="*/ 55 w 105"/>
                <a:gd name="T19" fmla="*/ 6 h 67"/>
                <a:gd name="T20" fmla="*/ 52 w 105"/>
                <a:gd name="T21" fmla="*/ 3 h 67"/>
                <a:gd name="T22" fmla="*/ 52 w 105"/>
                <a:gd name="T23" fmla="*/ 3 h 67"/>
                <a:gd name="T24" fmla="*/ 39 w 105"/>
                <a:gd name="T25" fmla="*/ 0 h 67"/>
                <a:gd name="T26" fmla="*/ 39 w 105"/>
                <a:gd name="T27" fmla="*/ 0 h 67"/>
                <a:gd name="T28" fmla="*/ 27 w 105"/>
                <a:gd name="T29" fmla="*/ 10 h 67"/>
                <a:gd name="T30" fmla="*/ 27 w 105"/>
                <a:gd name="T31" fmla="*/ 10 h 67"/>
                <a:gd name="T32" fmla="*/ 20 w 105"/>
                <a:gd name="T33" fmla="*/ 15 h 67"/>
                <a:gd name="T34" fmla="*/ 13 w 105"/>
                <a:gd name="T35" fmla="*/ 21 h 67"/>
                <a:gd name="T36" fmla="*/ 5 w 105"/>
                <a:gd name="T37" fmla="*/ 25 h 67"/>
                <a:gd name="T38" fmla="*/ 1 w 105"/>
                <a:gd name="T39" fmla="*/ 29 h 67"/>
                <a:gd name="T40" fmla="*/ 1 w 105"/>
                <a:gd name="T41" fmla="*/ 29 h 67"/>
                <a:gd name="T42" fmla="*/ 0 w 105"/>
                <a:gd name="T43" fmla="*/ 31 h 67"/>
                <a:gd name="T44" fmla="*/ 1 w 105"/>
                <a:gd name="T45" fmla="*/ 32 h 67"/>
                <a:gd name="T46" fmla="*/ 4 w 105"/>
                <a:gd name="T47" fmla="*/ 38 h 67"/>
                <a:gd name="T48" fmla="*/ 16 w 105"/>
                <a:gd name="T49" fmla="*/ 50 h 67"/>
                <a:gd name="T50" fmla="*/ 16 w 105"/>
                <a:gd name="T51" fmla="*/ 50 h 67"/>
                <a:gd name="T52" fmla="*/ 21 w 105"/>
                <a:gd name="T53" fmla="*/ 54 h 67"/>
                <a:gd name="T54" fmla="*/ 27 w 105"/>
                <a:gd name="T55" fmla="*/ 58 h 67"/>
                <a:gd name="T56" fmla="*/ 33 w 105"/>
                <a:gd name="T57" fmla="*/ 60 h 67"/>
                <a:gd name="T58" fmla="*/ 40 w 105"/>
                <a:gd name="T59" fmla="*/ 60 h 67"/>
                <a:gd name="T60" fmla="*/ 40 w 105"/>
                <a:gd name="T61" fmla="*/ 60 h 67"/>
                <a:gd name="T62" fmla="*/ 47 w 105"/>
                <a:gd name="T63" fmla="*/ 60 h 67"/>
                <a:gd name="T64" fmla="*/ 55 w 105"/>
                <a:gd name="T65" fmla="*/ 58 h 67"/>
                <a:gd name="T66" fmla="*/ 60 w 105"/>
                <a:gd name="T67" fmla="*/ 55 h 67"/>
                <a:gd name="T68" fmla="*/ 65 w 105"/>
                <a:gd name="T69" fmla="*/ 55 h 67"/>
                <a:gd name="T70" fmla="*/ 65 w 105"/>
                <a:gd name="T71" fmla="*/ 55 h 67"/>
                <a:gd name="T72" fmla="*/ 66 w 105"/>
                <a:gd name="T73" fmla="*/ 57 h 67"/>
                <a:gd name="T74" fmla="*/ 69 w 105"/>
                <a:gd name="T75" fmla="*/ 60 h 67"/>
                <a:gd name="T76" fmla="*/ 72 w 105"/>
                <a:gd name="T77" fmla="*/ 67 h 67"/>
                <a:gd name="T78" fmla="*/ 72 w 105"/>
                <a:gd name="T79" fmla="*/ 67 h 67"/>
                <a:gd name="T80" fmla="*/ 82 w 105"/>
                <a:gd name="T81" fmla="*/ 63 h 67"/>
                <a:gd name="T82" fmla="*/ 89 w 105"/>
                <a:gd name="T83" fmla="*/ 60 h 67"/>
                <a:gd name="T84" fmla="*/ 89 w 105"/>
                <a:gd name="T85" fmla="*/ 60 h 67"/>
                <a:gd name="T86" fmla="*/ 97 w 105"/>
                <a:gd name="T87" fmla="*/ 52 h 67"/>
                <a:gd name="T88" fmla="*/ 101 w 105"/>
                <a:gd name="T89" fmla="*/ 50 h 67"/>
                <a:gd name="T90" fmla="*/ 104 w 105"/>
                <a:gd name="T91" fmla="*/ 48 h 67"/>
                <a:gd name="T92" fmla="*/ 105 w 105"/>
                <a:gd name="T93" fmla="*/ 48 h 67"/>
                <a:gd name="T94" fmla="*/ 105 w 105"/>
                <a:gd name="T95" fmla="*/ 48 h 67"/>
                <a:gd name="T96" fmla="*/ 102 w 105"/>
                <a:gd name="T97" fmla="*/ 39 h 67"/>
                <a:gd name="T98" fmla="*/ 101 w 105"/>
                <a:gd name="T99" fmla="*/ 37 h 67"/>
                <a:gd name="T100" fmla="*/ 98 w 105"/>
                <a:gd name="T101"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5" h="67">
                  <a:moveTo>
                    <a:pt x="98" y="35"/>
                  </a:moveTo>
                  <a:lnTo>
                    <a:pt x="98" y="35"/>
                  </a:lnTo>
                  <a:lnTo>
                    <a:pt x="68" y="19"/>
                  </a:lnTo>
                  <a:lnTo>
                    <a:pt x="68" y="19"/>
                  </a:lnTo>
                  <a:lnTo>
                    <a:pt x="63" y="18"/>
                  </a:lnTo>
                  <a:lnTo>
                    <a:pt x="60" y="18"/>
                  </a:lnTo>
                  <a:lnTo>
                    <a:pt x="59" y="16"/>
                  </a:lnTo>
                  <a:lnTo>
                    <a:pt x="59" y="16"/>
                  </a:lnTo>
                  <a:lnTo>
                    <a:pt x="56" y="9"/>
                  </a:lnTo>
                  <a:lnTo>
                    <a:pt x="55" y="6"/>
                  </a:lnTo>
                  <a:lnTo>
                    <a:pt x="52" y="3"/>
                  </a:lnTo>
                  <a:lnTo>
                    <a:pt x="52" y="3"/>
                  </a:lnTo>
                  <a:lnTo>
                    <a:pt x="39" y="0"/>
                  </a:lnTo>
                  <a:lnTo>
                    <a:pt x="39" y="0"/>
                  </a:lnTo>
                  <a:lnTo>
                    <a:pt x="27" y="10"/>
                  </a:lnTo>
                  <a:lnTo>
                    <a:pt x="27" y="10"/>
                  </a:lnTo>
                  <a:lnTo>
                    <a:pt x="20" y="15"/>
                  </a:lnTo>
                  <a:lnTo>
                    <a:pt x="13" y="21"/>
                  </a:lnTo>
                  <a:lnTo>
                    <a:pt x="5" y="25"/>
                  </a:lnTo>
                  <a:lnTo>
                    <a:pt x="1" y="29"/>
                  </a:lnTo>
                  <a:lnTo>
                    <a:pt x="1" y="29"/>
                  </a:lnTo>
                  <a:lnTo>
                    <a:pt x="0" y="31"/>
                  </a:lnTo>
                  <a:lnTo>
                    <a:pt x="1" y="32"/>
                  </a:lnTo>
                  <a:lnTo>
                    <a:pt x="4" y="38"/>
                  </a:lnTo>
                  <a:lnTo>
                    <a:pt x="16" y="50"/>
                  </a:lnTo>
                  <a:lnTo>
                    <a:pt x="16" y="50"/>
                  </a:lnTo>
                  <a:lnTo>
                    <a:pt x="21" y="54"/>
                  </a:lnTo>
                  <a:lnTo>
                    <a:pt x="27" y="58"/>
                  </a:lnTo>
                  <a:lnTo>
                    <a:pt x="33" y="60"/>
                  </a:lnTo>
                  <a:lnTo>
                    <a:pt x="40" y="60"/>
                  </a:lnTo>
                  <a:lnTo>
                    <a:pt x="40" y="60"/>
                  </a:lnTo>
                  <a:lnTo>
                    <a:pt x="47" y="60"/>
                  </a:lnTo>
                  <a:lnTo>
                    <a:pt x="55" y="58"/>
                  </a:lnTo>
                  <a:lnTo>
                    <a:pt x="60" y="55"/>
                  </a:lnTo>
                  <a:lnTo>
                    <a:pt x="65" y="55"/>
                  </a:lnTo>
                  <a:lnTo>
                    <a:pt x="65" y="55"/>
                  </a:lnTo>
                  <a:lnTo>
                    <a:pt x="66" y="57"/>
                  </a:lnTo>
                  <a:lnTo>
                    <a:pt x="69" y="60"/>
                  </a:lnTo>
                  <a:lnTo>
                    <a:pt x="72" y="67"/>
                  </a:lnTo>
                  <a:lnTo>
                    <a:pt x="72" y="67"/>
                  </a:lnTo>
                  <a:lnTo>
                    <a:pt x="82" y="63"/>
                  </a:lnTo>
                  <a:lnTo>
                    <a:pt x="89" y="60"/>
                  </a:lnTo>
                  <a:lnTo>
                    <a:pt x="89" y="60"/>
                  </a:lnTo>
                  <a:lnTo>
                    <a:pt x="97" y="52"/>
                  </a:lnTo>
                  <a:lnTo>
                    <a:pt x="101" y="50"/>
                  </a:lnTo>
                  <a:lnTo>
                    <a:pt x="104" y="48"/>
                  </a:lnTo>
                  <a:lnTo>
                    <a:pt x="105" y="48"/>
                  </a:lnTo>
                  <a:lnTo>
                    <a:pt x="105" y="48"/>
                  </a:lnTo>
                  <a:lnTo>
                    <a:pt x="102" y="39"/>
                  </a:lnTo>
                  <a:lnTo>
                    <a:pt x="101" y="37"/>
                  </a:lnTo>
                  <a:lnTo>
                    <a:pt x="98"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46" name="Freeform 717"/>
            <p:cNvSpPr>
              <a:spLocks/>
            </p:cNvSpPr>
            <p:nvPr/>
          </p:nvSpPr>
          <p:spPr bwMode="auto">
            <a:xfrm>
              <a:off x="4676776" y="3102404"/>
              <a:ext cx="246063" cy="230188"/>
            </a:xfrm>
            <a:custGeom>
              <a:avLst/>
              <a:gdLst>
                <a:gd name="T0" fmla="*/ 155 w 155"/>
                <a:gd name="T1" fmla="*/ 104 h 145"/>
                <a:gd name="T2" fmla="*/ 155 w 155"/>
                <a:gd name="T3" fmla="*/ 93 h 145"/>
                <a:gd name="T4" fmla="*/ 153 w 155"/>
                <a:gd name="T5" fmla="*/ 88 h 145"/>
                <a:gd name="T6" fmla="*/ 149 w 155"/>
                <a:gd name="T7" fmla="*/ 81 h 145"/>
                <a:gd name="T8" fmla="*/ 149 w 155"/>
                <a:gd name="T9" fmla="*/ 74 h 145"/>
                <a:gd name="T10" fmla="*/ 151 w 155"/>
                <a:gd name="T11" fmla="*/ 28 h 145"/>
                <a:gd name="T12" fmla="*/ 146 w 155"/>
                <a:gd name="T13" fmla="*/ 16 h 145"/>
                <a:gd name="T14" fmla="*/ 137 w 155"/>
                <a:gd name="T15" fmla="*/ 4 h 145"/>
                <a:gd name="T16" fmla="*/ 98 w 155"/>
                <a:gd name="T17" fmla="*/ 4 h 145"/>
                <a:gd name="T18" fmla="*/ 87 w 155"/>
                <a:gd name="T19" fmla="*/ 3 h 145"/>
                <a:gd name="T20" fmla="*/ 77 w 155"/>
                <a:gd name="T21" fmla="*/ 10 h 145"/>
                <a:gd name="T22" fmla="*/ 74 w 155"/>
                <a:gd name="T23" fmla="*/ 10 h 145"/>
                <a:gd name="T24" fmla="*/ 71 w 155"/>
                <a:gd name="T25" fmla="*/ 4 h 145"/>
                <a:gd name="T26" fmla="*/ 67 w 155"/>
                <a:gd name="T27" fmla="*/ 0 h 145"/>
                <a:gd name="T28" fmla="*/ 64 w 155"/>
                <a:gd name="T29" fmla="*/ 0 h 145"/>
                <a:gd name="T30" fmla="*/ 42 w 155"/>
                <a:gd name="T31" fmla="*/ 3 h 145"/>
                <a:gd name="T32" fmla="*/ 22 w 155"/>
                <a:gd name="T33" fmla="*/ 12 h 145"/>
                <a:gd name="T34" fmla="*/ 16 w 155"/>
                <a:gd name="T35" fmla="*/ 15 h 145"/>
                <a:gd name="T36" fmla="*/ 0 w 155"/>
                <a:gd name="T37" fmla="*/ 17 h 145"/>
                <a:gd name="T38" fmla="*/ 0 w 155"/>
                <a:gd name="T39" fmla="*/ 38 h 145"/>
                <a:gd name="T40" fmla="*/ 1 w 155"/>
                <a:gd name="T41" fmla="*/ 52 h 145"/>
                <a:gd name="T42" fmla="*/ 6 w 155"/>
                <a:gd name="T43" fmla="*/ 59 h 145"/>
                <a:gd name="T44" fmla="*/ 9 w 155"/>
                <a:gd name="T45" fmla="*/ 87 h 145"/>
                <a:gd name="T46" fmla="*/ 7 w 155"/>
                <a:gd name="T47" fmla="*/ 90 h 145"/>
                <a:gd name="T48" fmla="*/ 6 w 155"/>
                <a:gd name="T49" fmla="*/ 91 h 145"/>
                <a:gd name="T50" fmla="*/ 19 w 155"/>
                <a:gd name="T51" fmla="*/ 94 h 145"/>
                <a:gd name="T52" fmla="*/ 23 w 155"/>
                <a:gd name="T53" fmla="*/ 100 h 145"/>
                <a:gd name="T54" fmla="*/ 26 w 155"/>
                <a:gd name="T55" fmla="*/ 107 h 145"/>
                <a:gd name="T56" fmla="*/ 30 w 155"/>
                <a:gd name="T57" fmla="*/ 109 h 145"/>
                <a:gd name="T58" fmla="*/ 35 w 155"/>
                <a:gd name="T59" fmla="*/ 110 h 145"/>
                <a:gd name="T60" fmla="*/ 65 w 155"/>
                <a:gd name="T61" fmla="*/ 126 h 145"/>
                <a:gd name="T62" fmla="*/ 68 w 155"/>
                <a:gd name="T63" fmla="*/ 128 h 145"/>
                <a:gd name="T64" fmla="*/ 72 w 155"/>
                <a:gd name="T65" fmla="*/ 139 h 145"/>
                <a:gd name="T66" fmla="*/ 81 w 155"/>
                <a:gd name="T67" fmla="*/ 138 h 145"/>
                <a:gd name="T68" fmla="*/ 88 w 155"/>
                <a:gd name="T69" fmla="*/ 139 h 145"/>
                <a:gd name="T70" fmla="*/ 93 w 155"/>
                <a:gd name="T71" fmla="*/ 141 h 145"/>
                <a:gd name="T72" fmla="*/ 104 w 155"/>
                <a:gd name="T73" fmla="*/ 139 h 145"/>
                <a:gd name="T74" fmla="*/ 110 w 155"/>
                <a:gd name="T75" fmla="*/ 138 h 145"/>
                <a:gd name="T76" fmla="*/ 119 w 155"/>
                <a:gd name="T77" fmla="*/ 136 h 145"/>
                <a:gd name="T78" fmla="*/ 135 w 155"/>
                <a:gd name="T79" fmla="*/ 145 h 145"/>
                <a:gd name="T80" fmla="*/ 136 w 155"/>
                <a:gd name="T81" fmla="*/ 141 h 145"/>
                <a:gd name="T82" fmla="*/ 137 w 155"/>
                <a:gd name="T83" fmla="*/ 135 h 145"/>
                <a:gd name="T84" fmla="*/ 140 w 155"/>
                <a:gd name="T85" fmla="*/ 126 h 145"/>
                <a:gd name="T86" fmla="*/ 153 w 155"/>
                <a:gd name="T87" fmla="*/ 109 h 145"/>
                <a:gd name="T88" fmla="*/ 155 w 155"/>
                <a:gd name="T89" fmla="*/ 10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5" h="145">
                  <a:moveTo>
                    <a:pt x="155" y="104"/>
                  </a:moveTo>
                  <a:lnTo>
                    <a:pt x="155" y="104"/>
                  </a:lnTo>
                  <a:lnTo>
                    <a:pt x="155" y="97"/>
                  </a:lnTo>
                  <a:lnTo>
                    <a:pt x="155" y="93"/>
                  </a:lnTo>
                  <a:lnTo>
                    <a:pt x="153" y="88"/>
                  </a:lnTo>
                  <a:lnTo>
                    <a:pt x="153" y="88"/>
                  </a:lnTo>
                  <a:lnTo>
                    <a:pt x="151" y="84"/>
                  </a:lnTo>
                  <a:lnTo>
                    <a:pt x="149" y="81"/>
                  </a:lnTo>
                  <a:lnTo>
                    <a:pt x="149" y="74"/>
                  </a:lnTo>
                  <a:lnTo>
                    <a:pt x="149" y="74"/>
                  </a:lnTo>
                  <a:lnTo>
                    <a:pt x="151" y="28"/>
                  </a:lnTo>
                  <a:lnTo>
                    <a:pt x="151" y="28"/>
                  </a:lnTo>
                  <a:lnTo>
                    <a:pt x="149" y="22"/>
                  </a:lnTo>
                  <a:lnTo>
                    <a:pt x="146" y="16"/>
                  </a:lnTo>
                  <a:lnTo>
                    <a:pt x="137" y="4"/>
                  </a:lnTo>
                  <a:lnTo>
                    <a:pt x="137" y="4"/>
                  </a:lnTo>
                  <a:lnTo>
                    <a:pt x="111" y="4"/>
                  </a:lnTo>
                  <a:lnTo>
                    <a:pt x="98" y="4"/>
                  </a:lnTo>
                  <a:lnTo>
                    <a:pt x="87" y="3"/>
                  </a:lnTo>
                  <a:lnTo>
                    <a:pt x="87" y="3"/>
                  </a:lnTo>
                  <a:lnTo>
                    <a:pt x="82" y="7"/>
                  </a:lnTo>
                  <a:lnTo>
                    <a:pt x="77" y="10"/>
                  </a:lnTo>
                  <a:lnTo>
                    <a:pt x="77" y="10"/>
                  </a:lnTo>
                  <a:lnTo>
                    <a:pt x="74" y="10"/>
                  </a:lnTo>
                  <a:lnTo>
                    <a:pt x="72" y="9"/>
                  </a:lnTo>
                  <a:lnTo>
                    <a:pt x="71" y="4"/>
                  </a:lnTo>
                  <a:lnTo>
                    <a:pt x="68" y="1"/>
                  </a:lnTo>
                  <a:lnTo>
                    <a:pt x="67" y="0"/>
                  </a:lnTo>
                  <a:lnTo>
                    <a:pt x="64" y="0"/>
                  </a:lnTo>
                  <a:lnTo>
                    <a:pt x="64" y="0"/>
                  </a:lnTo>
                  <a:lnTo>
                    <a:pt x="53" y="1"/>
                  </a:lnTo>
                  <a:lnTo>
                    <a:pt x="42" y="3"/>
                  </a:lnTo>
                  <a:lnTo>
                    <a:pt x="30" y="7"/>
                  </a:lnTo>
                  <a:lnTo>
                    <a:pt x="22" y="12"/>
                  </a:lnTo>
                  <a:lnTo>
                    <a:pt x="22" y="12"/>
                  </a:lnTo>
                  <a:lnTo>
                    <a:pt x="16" y="15"/>
                  </a:lnTo>
                  <a:lnTo>
                    <a:pt x="10" y="16"/>
                  </a:lnTo>
                  <a:lnTo>
                    <a:pt x="0" y="17"/>
                  </a:lnTo>
                  <a:lnTo>
                    <a:pt x="0" y="17"/>
                  </a:lnTo>
                  <a:lnTo>
                    <a:pt x="0" y="38"/>
                  </a:lnTo>
                  <a:lnTo>
                    <a:pt x="0" y="46"/>
                  </a:lnTo>
                  <a:lnTo>
                    <a:pt x="1" y="52"/>
                  </a:lnTo>
                  <a:lnTo>
                    <a:pt x="1" y="52"/>
                  </a:lnTo>
                  <a:lnTo>
                    <a:pt x="6" y="59"/>
                  </a:lnTo>
                  <a:lnTo>
                    <a:pt x="7" y="70"/>
                  </a:lnTo>
                  <a:lnTo>
                    <a:pt x="9" y="87"/>
                  </a:lnTo>
                  <a:lnTo>
                    <a:pt x="9" y="87"/>
                  </a:lnTo>
                  <a:lnTo>
                    <a:pt x="7" y="90"/>
                  </a:lnTo>
                  <a:lnTo>
                    <a:pt x="6" y="91"/>
                  </a:lnTo>
                  <a:lnTo>
                    <a:pt x="6" y="91"/>
                  </a:lnTo>
                  <a:lnTo>
                    <a:pt x="19" y="94"/>
                  </a:lnTo>
                  <a:lnTo>
                    <a:pt x="19" y="94"/>
                  </a:lnTo>
                  <a:lnTo>
                    <a:pt x="22" y="97"/>
                  </a:lnTo>
                  <a:lnTo>
                    <a:pt x="23" y="100"/>
                  </a:lnTo>
                  <a:lnTo>
                    <a:pt x="26" y="107"/>
                  </a:lnTo>
                  <a:lnTo>
                    <a:pt x="26" y="107"/>
                  </a:lnTo>
                  <a:lnTo>
                    <a:pt x="27" y="109"/>
                  </a:lnTo>
                  <a:lnTo>
                    <a:pt x="30" y="109"/>
                  </a:lnTo>
                  <a:lnTo>
                    <a:pt x="35" y="110"/>
                  </a:lnTo>
                  <a:lnTo>
                    <a:pt x="35" y="110"/>
                  </a:lnTo>
                  <a:lnTo>
                    <a:pt x="49" y="117"/>
                  </a:lnTo>
                  <a:lnTo>
                    <a:pt x="65" y="126"/>
                  </a:lnTo>
                  <a:lnTo>
                    <a:pt x="65" y="126"/>
                  </a:lnTo>
                  <a:lnTo>
                    <a:pt x="68" y="128"/>
                  </a:lnTo>
                  <a:lnTo>
                    <a:pt x="69" y="130"/>
                  </a:lnTo>
                  <a:lnTo>
                    <a:pt x="72" y="139"/>
                  </a:lnTo>
                  <a:lnTo>
                    <a:pt x="72" y="139"/>
                  </a:lnTo>
                  <a:lnTo>
                    <a:pt x="81" y="138"/>
                  </a:lnTo>
                  <a:lnTo>
                    <a:pt x="85" y="138"/>
                  </a:lnTo>
                  <a:lnTo>
                    <a:pt x="88" y="139"/>
                  </a:lnTo>
                  <a:lnTo>
                    <a:pt x="88" y="139"/>
                  </a:lnTo>
                  <a:lnTo>
                    <a:pt x="93" y="141"/>
                  </a:lnTo>
                  <a:lnTo>
                    <a:pt x="97" y="139"/>
                  </a:lnTo>
                  <a:lnTo>
                    <a:pt x="104" y="139"/>
                  </a:lnTo>
                  <a:lnTo>
                    <a:pt x="104" y="139"/>
                  </a:lnTo>
                  <a:lnTo>
                    <a:pt x="110" y="138"/>
                  </a:lnTo>
                  <a:lnTo>
                    <a:pt x="119" y="136"/>
                  </a:lnTo>
                  <a:lnTo>
                    <a:pt x="119" y="136"/>
                  </a:lnTo>
                  <a:lnTo>
                    <a:pt x="124" y="139"/>
                  </a:lnTo>
                  <a:lnTo>
                    <a:pt x="135" y="145"/>
                  </a:lnTo>
                  <a:lnTo>
                    <a:pt x="135" y="145"/>
                  </a:lnTo>
                  <a:lnTo>
                    <a:pt x="136" y="141"/>
                  </a:lnTo>
                  <a:lnTo>
                    <a:pt x="137" y="135"/>
                  </a:lnTo>
                  <a:lnTo>
                    <a:pt x="137" y="135"/>
                  </a:lnTo>
                  <a:lnTo>
                    <a:pt x="139" y="130"/>
                  </a:lnTo>
                  <a:lnTo>
                    <a:pt x="140" y="126"/>
                  </a:lnTo>
                  <a:lnTo>
                    <a:pt x="148" y="117"/>
                  </a:lnTo>
                  <a:lnTo>
                    <a:pt x="153" y="109"/>
                  </a:lnTo>
                  <a:lnTo>
                    <a:pt x="155" y="106"/>
                  </a:lnTo>
                  <a:lnTo>
                    <a:pt x="155" y="104"/>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47" name="Freeform 718"/>
            <p:cNvSpPr>
              <a:spLocks/>
            </p:cNvSpPr>
            <p:nvPr/>
          </p:nvSpPr>
          <p:spPr bwMode="auto">
            <a:xfrm>
              <a:off x="4676776" y="3102404"/>
              <a:ext cx="246063" cy="230188"/>
            </a:xfrm>
            <a:custGeom>
              <a:avLst/>
              <a:gdLst>
                <a:gd name="T0" fmla="*/ 155 w 155"/>
                <a:gd name="T1" fmla="*/ 104 h 145"/>
                <a:gd name="T2" fmla="*/ 155 w 155"/>
                <a:gd name="T3" fmla="*/ 93 h 145"/>
                <a:gd name="T4" fmla="*/ 153 w 155"/>
                <a:gd name="T5" fmla="*/ 88 h 145"/>
                <a:gd name="T6" fmla="*/ 149 w 155"/>
                <a:gd name="T7" fmla="*/ 81 h 145"/>
                <a:gd name="T8" fmla="*/ 149 w 155"/>
                <a:gd name="T9" fmla="*/ 74 h 145"/>
                <a:gd name="T10" fmla="*/ 151 w 155"/>
                <a:gd name="T11" fmla="*/ 28 h 145"/>
                <a:gd name="T12" fmla="*/ 146 w 155"/>
                <a:gd name="T13" fmla="*/ 16 h 145"/>
                <a:gd name="T14" fmla="*/ 137 w 155"/>
                <a:gd name="T15" fmla="*/ 4 h 145"/>
                <a:gd name="T16" fmla="*/ 98 w 155"/>
                <a:gd name="T17" fmla="*/ 4 h 145"/>
                <a:gd name="T18" fmla="*/ 87 w 155"/>
                <a:gd name="T19" fmla="*/ 3 h 145"/>
                <a:gd name="T20" fmla="*/ 77 w 155"/>
                <a:gd name="T21" fmla="*/ 10 h 145"/>
                <a:gd name="T22" fmla="*/ 74 w 155"/>
                <a:gd name="T23" fmla="*/ 10 h 145"/>
                <a:gd name="T24" fmla="*/ 71 w 155"/>
                <a:gd name="T25" fmla="*/ 4 h 145"/>
                <a:gd name="T26" fmla="*/ 67 w 155"/>
                <a:gd name="T27" fmla="*/ 0 h 145"/>
                <a:gd name="T28" fmla="*/ 64 w 155"/>
                <a:gd name="T29" fmla="*/ 0 h 145"/>
                <a:gd name="T30" fmla="*/ 42 w 155"/>
                <a:gd name="T31" fmla="*/ 3 h 145"/>
                <a:gd name="T32" fmla="*/ 22 w 155"/>
                <a:gd name="T33" fmla="*/ 12 h 145"/>
                <a:gd name="T34" fmla="*/ 16 w 155"/>
                <a:gd name="T35" fmla="*/ 15 h 145"/>
                <a:gd name="T36" fmla="*/ 0 w 155"/>
                <a:gd name="T37" fmla="*/ 17 h 145"/>
                <a:gd name="T38" fmla="*/ 0 w 155"/>
                <a:gd name="T39" fmla="*/ 38 h 145"/>
                <a:gd name="T40" fmla="*/ 1 w 155"/>
                <a:gd name="T41" fmla="*/ 52 h 145"/>
                <a:gd name="T42" fmla="*/ 6 w 155"/>
                <a:gd name="T43" fmla="*/ 59 h 145"/>
                <a:gd name="T44" fmla="*/ 9 w 155"/>
                <a:gd name="T45" fmla="*/ 87 h 145"/>
                <a:gd name="T46" fmla="*/ 7 w 155"/>
                <a:gd name="T47" fmla="*/ 90 h 145"/>
                <a:gd name="T48" fmla="*/ 6 w 155"/>
                <a:gd name="T49" fmla="*/ 91 h 145"/>
                <a:gd name="T50" fmla="*/ 19 w 155"/>
                <a:gd name="T51" fmla="*/ 94 h 145"/>
                <a:gd name="T52" fmla="*/ 23 w 155"/>
                <a:gd name="T53" fmla="*/ 100 h 145"/>
                <a:gd name="T54" fmla="*/ 26 w 155"/>
                <a:gd name="T55" fmla="*/ 107 h 145"/>
                <a:gd name="T56" fmla="*/ 30 w 155"/>
                <a:gd name="T57" fmla="*/ 109 h 145"/>
                <a:gd name="T58" fmla="*/ 35 w 155"/>
                <a:gd name="T59" fmla="*/ 110 h 145"/>
                <a:gd name="T60" fmla="*/ 65 w 155"/>
                <a:gd name="T61" fmla="*/ 126 h 145"/>
                <a:gd name="T62" fmla="*/ 68 w 155"/>
                <a:gd name="T63" fmla="*/ 128 h 145"/>
                <a:gd name="T64" fmla="*/ 72 w 155"/>
                <a:gd name="T65" fmla="*/ 139 h 145"/>
                <a:gd name="T66" fmla="*/ 81 w 155"/>
                <a:gd name="T67" fmla="*/ 138 h 145"/>
                <a:gd name="T68" fmla="*/ 88 w 155"/>
                <a:gd name="T69" fmla="*/ 139 h 145"/>
                <a:gd name="T70" fmla="*/ 93 w 155"/>
                <a:gd name="T71" fmla="*/ 141 h 145"/>
                <a:gd name="T72" fmla="*/ 104 w 155"/>
                <a:gd name="T73" fmla="*/ 139 h 145"/>
                <a:gd name="T74" fmla="*/ 110 w 155"/>
                <a:gd name="T75" fmla="*/ 138 h 145"/>
                <a:gd name="T76" fmla="*/ 119 w 155"/>
                <a:gd name="T77" fmla="*/ 136 h 145"/>
                <a:gd name="T78" fmla="*/ 135 w 155"/>
                <a:gd name="T79" fmla="*/ 145 h 145"/>
                <a:gd name="T80" fmla="*/ 136 w 155"/>
                <a:gd name="T81" fmla="*/ 141 h 145"/>
                <a:gd name="T82" fmla="*/ 137 w 155"/>
                <a:gd name="T83" fmla="*/ 135 h 145"/>
                <a:gd name="T84" fmla="*/ 140 w 155"/>
                <a:gd name="T85" fmla="*/ 126 h 145"/>
                <a:gd name="T86" fmla="*/ 153 w 155"/>
                <a:gd name="T87" fmla="*/ 109 h 145"/>
                <a:gd name="T88" fmla="*/ 155 w 155"/>
                <a:gd name="T89" fmla="*/ 10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5" h="145">
                  <a:moveTo>
                    <a:pt x="155" y="104"/>
                  </a:moveTo>
                  <a:lnTo>
                    <a:pt x="155" y="104"/>
                  </a:lnTo>
                  <a:lnTo>
                    <a:pt x="155" y="97"/>
                  </a:lnTo>
                  <a:lnTo>
                    <a:pt x="155" y="93"/>
                  </a:lnTo>
                  <a:lnTo>
                    <a:pt x="153" y="88"/>
                  </a:lnTo>
                  <a:lnTo>
                    <a:pt x="153" y="88"/>
                  </a:lnTo>
                  <a:lnTo>
                    <a:pt x="151" y="84"/>
                  </a:lnTo>
                  <a:lnTo>
                    <a:pt x="149" y="81"/>
                  </a:lnTo>
                  <a:lnTo>
                    <a:pt x="149" y="74"/>
                  </a:lnTo>
                  <a:lnTo>
                    <a:pt x="149" y="74"/>
                  </a:lnTo>
                  <a:lnTo>
                    <a:pt x="151" y="28"/>
                  </a:lnTo>
                  <a:lnTo>
                    <a:pt x="151" y="28"/>
                  </a:lnTo>
                  <a:lnTo>
                    <a:pt x="149" y="22"/>
                  </a:lnTo>
                  <a:lnTo>
                    <a:pt x="146" y="16"/>
                  </a:lnTo>
                  <a:lnTo>
                    <a:pt x="137" y="4"/>
                  </a:lnTo>
                  <a:lnTo>
                    <a:pt x="137" y="4"/>
                  </a:lnTo>
                  <a:lnTo>
                    <a:pt x="111" y="4"/>
                  </a:lnTo>
                  <a:lnTo>
                    <a:pt x="98" y="4"/>
                  </a:lnTo>
                  <a:lnTo>
                    <a:pt x="87" y="3"/>
                  </a:lnTo>
                  <a:lnTo>
                    <a:pt x="87" y="3"/>
                  </a:lnTo>
                  <a:lnTo>
                    <a:pt x="82" y="7"/>
                  </a:lnTo>
                  <a:lnTo>
                    <a:pt x="77" y="10"/>
                  </a:lnTo>
                  <a:lnTo>
                    <a:pt x="77" y="10"/>
                  </a:lnTo>
                  <a:lnTo>
                    <a:pt x="74" y="10"/>
                  </a:lnTo>
                  <a:lnTo>
                    <a:pt x="72" y="9"/>
                  </a:lnTo>
                  <a:lnTo>
                    <a:pt x="71" y="4"/>
                  </a:lnTo>
                  <a:lnTo>
                    <a:pt x="68" y="1"/>
                  </a:lnTo>
                  <a:lnTo>
                    <a:pt x="67" y="0"/>
                  </a:lnTo>
                  <a:lnTo>
                    <a:pt x="64" y="0"/>
                  </a:lnTo>
                  <a:lnTo>
                    <a:pt x="64" y="0"/>
                  </a:lnTo>
                  <a:lnTo>
                    <a:pt x="53" y="1"/>
                  </a:lnTo>
                  <a:lnTo>
                    <a:pt x="42" y="3"/>
                  </a:lnTo>
                  <a:lnTo>
                    <a:pt x="30" y="7"/>
                  </a:lnTo>
                  <a:lnTo>
                    <a:pt x="22" y="12"/>
                  </a:lnTo>
                  <a:lnTo>
                    <a:pt x="22" y="12"/>
                  </a:lnTo>
                  <a:lnTo>
                    <a:pt x="16" y="15"/>
                  </a:lnTo>
                  <a:lnTo>
                    <a:pt x="10" y="16"/>
                  </a:lnTo>
                  <a:lnTo>
                    <a:pt x="0" y="17"/>
                  </a:lnTo>
                  <a:lnTo>
                    <a:pt x="0" y="17"/>
                  </a:lnTo>
                  <a:lnTo>
                    <a:pt x="0" y="38"/>
                  </a:lnTo>
                  <a:lnTo>
                    <a:pt x="0" y="46"/>
                  </a:lnTo>
                  <a:lnTo>
                    <a:pt x="1" y="52"/>
                  </a:lnTo>
                  <a:lnTo>
                    <a:pt x="1" y="52"/>
                  </a:lnTo>
                  <a:lnTo>
                    <a:pt x="6" y="59"/>
                  </a:lnTo>
                  <a:lnTo>
                    <a:pt x="7" y="70"/>
                  </a:lnTo>
                  <a:lnTo>
                    <a:pt x="9" y="87"/>
                  </a:lnTo>
                  <a:lnTo>
                    <a:pt x="9" y="87"/>
                  </a:lnTo>
                  <a:lnTo>
                    <a:pt x="7" y="90"/>
                  </a:lnTo>
                  <a:lnTo>
                    <a:pt x="6" y="91"/>
                  </a:lnTo>
                  <a:lnTo>
                    <a:pt x="6" y="91"/>
                  </a:lnTo>
                  <a:lnTo>
                    <a:pt x="19" y="94"/>
                  </a:lnTo>
                  <a:lnTo>
                    <a:pt x="19" y="94"/>
                  </a:lnTo>
                  <a:lnTo>
                    <a:pt x="22" y="97"/>
                  </a:lnTo>
                  <a:lnTo>
                    <a:pt x="23" y="100"/>
                  </a:lnTo>
                  <a:lnTo>
                    <a:pt x="26" y="107"/>
                  </a:lnTo>
                  <a:lnTo>
                    <a:pt x="26" y="107"/>
                  </a:lnTo>
                  <a:lnTo>
                    <a:pt x="27" y="109"/>
                  </a:lnTo>
                  <a:lnTo>
                    <a:pt x="30" y="109"/>
                  </a:lnTo>
                  <a:lnTo>
                    <a:pt x="35" y="110"/>
                  </a:lnTo>
                  <a:lnTo>
                    <a:pt x="35" y="110"/>
                  </a:lnTo>
                  <a:lnTo>
                    <a:pt x="49" y="117"/>
                  </a:lnTo>
                  <a:lnTo>
                    <a:pt x="65" y="126"/>
                  </a:lnTo>
                  <a:lnTo>
                    <a:pt x="65" y="126"/>
                  </a:lnTo>
                  <a:lnTo>
                    <a:pt x="68" y="128"/>
                  </a:lnTo>
                  <a:lnTo>
                    <a:pt x="69" y="130"/>
                  </a:lnTo>
                  <a:lnTo>
                    <a:pt x="72" y="139"/>
                  </a:lnTo>
                  <a:lnTo>
                    <a:pt x="72" y="139"/>
                  </a:lnTo>
                  <a:lnTo>
                    <a:pt x="81" y="138"/>
                  </a:lnTo>
                  <a:lnTo>
                    <a:pt x="85" y="138"/>
                  </a:lnTo>
                  <a:lnTo>
                    <a:pt x="88" y="139"/>
                  </a:lnTo>
                  <a:lnTo>
                    <a:pt x="88" y="139"/>
                  </a:lnTo>
                  <a:lnTo>
                    <a:pt x="93" y="141"/>
                  </a:lnTo>
                  <a:lnTo>
                    <a:pt x="97" y="139"/>
                  </a:lnTo>
                  <a:lnTo>
                    <a:pt x="104" y="139"/>
                  </a:lnTo>
                  <a:lnTo>
                    <a:pt x="104" y="139"/>
                  </a:lnTo>
                  <a:lnTo>
                    <a:pt x="110" y="138"/>
                  </a:lnTo>
                  <a:lnTo>
                    <a:pt x="119" y="136"/>
                  </a:lnTo>
                  <a:lnTo>
                    <a:pt x="119" y="136"/>
                  </a:lnTo>
                  <a:lnTo>
                    <a:pt x="124" y="139"/>
                  </a:lnTo>
                  <a:lnTo>
                    <a:pt x="135" y="145"/>
                  </a:lnTo>
                  <a:lnTo>
                    <a:pt x="135" y="145"/>
                  </a:lnTo>
                  <a:lnTo>
                    <a:pt x="136" y="141"/>
                  </a:lnTo>
                  <a:lnTo>
                    <a:pt x="137" y="135"/>
                  </a:lnTo>
                  <a:lnTo>
                    <a:pt x="137" y="135"/>
                  </a:lnTo>
                  <a:lnTo>
                    <a:pt x="139" y="130"/>
                  </a:lnTo>
                  <a:lnTo>
                    <a:pt x="140" y="126"/>
                  </a:lnTo>
                  <a:lnTo>
                    <a:pt x="148" y="117"/>
                  </a:lnTo>
                  <a:lnTo>
                    <a:pt x="153" y="109"/>
                  </a:lnTo>
                  <a:lnTo>
                    <a:pt x="155" y="106"/>
                  </a:lnTo>
                  <a:lnTo>
                    <a:pt x="155" y="10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48" name="Freeform 719"/>
            <p:cNvSpPr>
              <a:spLocks/>
            </p:cNvSpPr>
            <p:nvPr/>
          </p:nvSpPr>
          <p:spPr bwMode="auto">
            <a:xfrm>
              <a:off x="4470400" y="3392917"/>
              <a:ext cx="115888" cy="57150"/>
            </a:xfrm>
            <a:custGeom>
              <a:avLst/>
              <a:gdLst>
                <a:gd name="T0" fmla="*/ 59 w 73"/>
                <a:gd name="T1" fmla="*/ 8 h 36"/>
                <a:gd name="T2" fmla="*/ 59 w 73"/>
                <a:gd name="T3" fmla="*/ 8 h 36"/>
                <a:gd name="T4" fmla="*/ 53 w 73"/>
                <a:gd name="T5" fmla="*/ 5 h 36"/>
                <a:gd name="T6" fmla="*/ 44 w 73"/>
                <a:gd name="T7" fmla="*/ 2 h 36"/>
                <a:gd name="T8" fmla="*/ 21 w 73"/>
                <a:gd name="T9" fmla="*/ 0 h 36"/>
                <a:gd name="T10" fmla="*/ 21 w 73"/>
                <a:gd name="T11" fmla="*/ 0 h 36"/>
                <a:gd name="T12" fmla="*/ 17 w 73"/>
                <a:gd name="T13" fmla="*/ 5 h 36"/>
                <a:gd name="T14" fmla="*/ 11 w 73"/>
                <a:gd name="T15" fmla="*/ 14 h 36"/>
                <a:gd name="T16" fmla="*/ 1 w 73"/>
                <a:gd name="T17" fmla="*/ 24 h 36"/>
                <a:gd name="T18" fmla="*/ 1 w 73"/>
                <a:gd name="T19" fmla="*/ 24 h 36"/>
                <a:gd name="T20" fmla="*/ 0 w 73"/>
                <a:gd name="T21" fmla="*/ 26 h 36"/>
                <a:gd name="T22" fmla="*/ 1 w 73"/>
                <a:gd name="T23" fmla="*/ 29 h 36"/>
                <a:gd name="T24" fmla="*/ 10 w 73"/>
                <a:gd name="T25" fmla="*/ 31 h 36"/>
                <a:gd name="T26" fmla="*/ 10 w 73"/>
                <a:gd name="T27" fmla="*/ 31 h 36"/>
                <a:gd name="T28" fmla="*/ 11 w 73"/>
                <a:gd name="T29" fmla="*/ 33 h 36"/>
                <a:gd name="T30" fmla="*/ 13 w 73"/>
                <a:gd name="T31" fmla="*/ 36 h 36"/>
                <a:gd name="T32" fmla="*/ 13 w 73"/>
                <a:gd name="T33" fmla="*/ 36 h 36"/>
                <a:gd name="T34" fmla="*/ 27 w 73"/>
                <a:gd name="T35" fmla="*/ 34 h 36"/>
                <a:gd name="T36" fmla="*/ 27 w 73"/>
                <a:gd name="T37" fmla="*/ 34 h 36"/>
                <a:gd name="T38" fmla="*/ 34 w 73"/>
                <a:gd name="T39" fmla="*/ 33 h 36"/>
                <a:gd name="T40" fmla="*/ 46 w 73"/>
                <a:gd name="T41" fmla="*/ 33 h 36"/>
                <a:gd name="T42" fmla="*/ 62 w 73"/>
                <a:gd name="T43" fmla="*/ 33 h 36"/>
                <a:gd name="T44" fmla="*/ 62 w 73"/>
                <a:gd name="T45" fmla="*/ 33 h 36"/>
                <a:gd name="T46" fmla="*/ 63 w 73"/>
                <a:gd name="T47" fmla="*/ 31 h 36"/>
                <a:gd name="T48" fmla="*/ 66 w 73"/>
                <a:gd name="T49" fmla="*/ 29 h 36"/>
                <a:gd name="T50" fmla="*/ 73 w 73"/>
                <a:gd name="T51" fmla="*/ 23 h 36"/>
                <a:gd name="T52" fmla="*/ 73 w 73"/>
                <a:gd name="T53" fmla="*/ 23 h 36"/>
                <a:gd name="T54" fmla="*/ 66 w 73"/>
                <a:gd name="T55" fmla="*/ 14 h 36"/>
                <a:gd name="T56" fmla="*/ 59 w 73"/>
                <a:gd name="T57"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3" h="36">
                  <a:moveTo>
                    <a:pt x="59" y="8"/>
                  </a:moveTo>
                  <a:lnTo>
                    <a:pt x="59" y="8"/>
                  </a:lnTo>
                  <a:lnTo>
                    <a:pt x="53" y="5"/>
                  </a:lnTo>
                  <a:lnTo>
                    <a:pt x="44" y="2"/>
                  </a:lnTo>
                  <a:lnTo>
                    <a:pt x="21" y="0"/>
                  </a:lnTo>
                  <a:lnTo>
                    <a:pt x="21" y="0"/>
                  </a:lnTo>
                  <a:lnTo>
                    <a:pt x="17" y="5"/>
                  </a:lnTo>
                  <a:lnTo>
                    <a:pt x="11" y="14"/>
                  </a:lnTo>
                  <a:lnTo>
                    <a:pt x="1" y="24"/>
                  </a:lnTo>
                  <a:lnTo>
                    <a:pt x="1" y="24"/>
                  </a:lnTo>
                  <a:lnTo>
                    <a:pt x="0" y="26"/>
                  </a:lnTo>
                  <a:lnTo>
                    <a:pt x="1" y="29"/>
                  </a:lnTo>
                  <a:lnTo>
                    <a:pt x="10" y="31"/>
                  </a:lnTo>
                  <a:lnTo>
                    <a:pt x="10" y="31"/>
                  </a:lnTo>
                  <a:lnTo>
                    <a:pt x="11" y="33"/>
                  </a:lnTo>
                  <a:lnTo>
                    <a:pt x="13" y="36"/>
                  </a:lnTo>
                  <a:lnTo>
                    <a:pt x="13" y="36"/>
                  </a:lnTo>
                  <a:lnTo>
                    <a:pt x="27" y="34"/>
                  </a:lnTo>
                  <a:lnTo>
                    <a:pt x="27" y="34"/>
                  </a:lnTo>
                  <a:lnTo>
                    <a:pt x="34" y="33"/>
                  </a:lnTo>
                  <a:lnTo>
                    <a:pt x="46" y="33"/>
                  </a:lnTo>
                  <a:lnTo>
                    <a:pt x="62" y="33"/>
                  </a:lnTo>
                  <a:lnTo>
                    <a:pt x="62" y="33"/>
                  </a:lnTo>
                  <a:lnTo>
                    <a:pt x="63" y="31"/>
                  </a:lnTo>
                  <a:lnTo>
                    <a:pt x="66" y="29"/>
                  </a:lnTo>
                  <a:lnTo>
                    <a:pt x="73" y="23"/>
                  </a:lnTo>
                  <a:lnTo>
                    <a:pt x="73" y="23"/>
                  </a:lnTo>
                  <a:lnTo>
                    <a:pt x="66" y="14"/>
                  </a:lnTo>
                  <a:lnTo>
                    <a:pt x="59" y="8"/>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49" name="Freeform 720"/>
            <p:cNvSpPr>
              <a:spLocks/>
            </p:cNvSpPr>
            <p:nvPr/>
          </p:nvSpPr>
          <p:spPr bwMode="auto">
            <a:xfrm>
              <a:off x="4470400" y="3392917"/>
              <a:ext cx="115888" cy="57150"/>
            </a:xfrm>
            <a:custGeom>
              <a:avLst/>
              <a:gdLst>
                <a:gd name="T0" fmla="*/ 59 w 73"/>
                <a:gd name="T1" fmla="*/ 8 h 36"/>
                <a:gd name="T2" fmla="*/ 59 w 73"/>
                <a:gd name="T3" fmla="*/ 8 h 36"/>
                <a:gd name="T4" fmla="*/ 53 w 73"/>
                <a:gd name="T5" fmla="*/ 5 h 36"/>
                <a:gd name="T6" fmla="*/ 44 w 73"/>
                <a:gd name="T7" fmla="*/ 2 h 36"/>
                <a:gd name="T8" fmla="*/ 21 w 73"/>
                <a:gd name="T9" fmla="*/ 0 h 36"/>
                <a:gd name="T10" fmla="*/ 21 w 73"/>
                <a:gd name="T11" fmla="*/ 0 h 36"/>
                <a:gd name="T12" fmla="*/ 17 w 73"/>
                <a:gd name="T13" fmla="*/ 5 h 36"/>
                <a:gd name="T14" fmla="*/ 11 w 73"/>
                <a:gd name="T15" fmla="*/ 14 h 36"/>
                <a:gd name="T16" fmla="*/ 1 w 73"/>
                <a:gd name="T17" fmla="*/ 24 h 36"/>
                <a:gd name="T18" fmla="*/ 1 w 73"/>
                <a:gd name="T19" fmla="*/ 24 h 36"/>
                <a:gd name="T20" fmla="*/ 0 w 73"/>
                <a:gd name="T21" fmla="*/ 26 h 36"/>
                <a:gd name="T22" fmla="*/ 1 w 73"/>
                <a:gd name="T23" fmla="*/ 29 h 36"/>
                <a:gd name="T24" fmla="*/ 10 w 73"/>
                <a:gd name="T25" fmla="*/ 31 h 36"/>
                <a:gd name="T26" fmla="*/ 10 w 73"/>
                <a:gd name="T27" fmla="*/ 31 h 36"/>
                <a:gd name="T28" fmla="*/ 11 w 73"/>
                <a:gd name="T29" fmla="*/ 33 h 36"/>
                <a:gd name="T30" fmla="*/ 13 w 73"/>
                <a:gd name="T31" fmla="*/ 36 h 36"/>
                <a:gd name="T32" fmla="*/ 13 w 73"/>
                <a:gd name="T33" fmla="*/ 36 h 36"/>
                <a:gd name="T34" fmla="*/ 27 w 73"/>
                <a:gd name="T35" fmla="*/ 34 h 36"/>
                <a:gd name="T36" fmla="*/ 27 w 73"/>
                <a:gd name="T37" fmla="*/ 34 h 36"/>
                <a:gd name="T38" fmla="*/ 34 w 73"/>
                <a:gd name="T39" fmla="*/ 33 h 36"/>
                <a:gd name="T40" fmla="*/ 46 w 73"/>
                <a:gd name="T41" fmla="*/ 33 h 36"/>
                <a:gd name="T42" fmla="*/ 62 w 73"/>
                <a:gd name="T43" fmla="*/ 33 h 36"/>
                <a:gd name="T44" fmla="*/ 62 w 73"/>
                <a:gd name="T45" fmla="*/ 33 h 36"/>
                <a:gd name="T46" fmla="*/ 63 w 73"/>
                <a:gd name="T47" fmla="*/ 31 h 36"/>
                <a:gd name="T48" fmla="*/ 66 w 73"/>
                <a:gd name="T49" fmla="*/ 29 h 36"/>
                <a:gd name="T50" fmla="*/ 73 w 73"/>
                <a:gd name="T51" fmla="*/ 23 h 36"/>
                <a:gd name="T52" fmla="*/ 73 w 73"/>
                <a:gd name="T53" fmla="*/ 23 h 36"/>
                <a:gd name="T54" fmla="*/ 66 w 73"/>
                <a:gd name="T55" fmla="*/ 14 h 36"/>
                <a:gd name="T56" fmla="*/ 59 w 73"/>
                <a:gd name="T57"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3" h="36">
                  <a:moveTo>
                    <a:pt x="59" y="8"/>
                  </a:moveTo>
                  <a:lnTo>
                    <a:pt x="59" y="8"/>
                  </a:lnTo>
                  <a:lnTo>
                    <a:pt x="53" y="5"/>
                  </a:lnTo>
                  <a:lnTo>
                    <a:pt x="44" y="2"/>
                  </a:lnTo>
                  <a:lnTo>
                    <a:pt x="21" y="0"/>
                  </a:lnTo>
                  <a:lnTo>
                    <a:pt x="21" y="0"/>
                  </a:lnTo>
                  <a:lnTo>
                    <a:pt x="17" y="5"/>
                  </a:lnTo>
                  <a:lnTo>
                    <a:pt x="11" y="14"/>
                  </a:lnTo>
                  <a:lnTo>
                    <a:pt x="1" y="24"/>
                  </a:lnTo>
                  <a:lnTo>
                    <a:pt x="1" y="24"/>
                  </a:lnTo>
                  <a:lnTo>
                    <a:pt x="0" y="26"/>
                  </a:lnTo>
                  <a:lnTo>
                    <a:pt x="1" y="29"/>
                  </a:lnTo>
                  <a:lnTo>
                    <a:pt x="10" y="31"/>
                  </a:lnTo>
                  <a:lnTo>
                    <a:pt x="10" y="31"/>
                  </a:lnTo>
                  <a:lnTo>
                    <a:pt x="11" y="33"/>
                  </a:lnTo>
                  <a:lnTo>
                    <a:pt x="13" y="36"/>
                  </a:lnTo>
                  <a:lnTo>
                    <a:pt x="13" y="36"/>
                  </a:lnTo>
                  <a:lnTo>
                    <a:pt x="27" y="34"/>
                  </a:lnTo>
                  <a:lnTo>
                    <a:pt x="27" y="34"/>
                  </a:lnTo>
                  <a:lnTo>
                    <a:pt x="34" y="33"/>
                  </a:lnTo>
                  <a:lnTo>
                    <a:pt x="46" y="33"/>
                  </a:lnTo>
                  <a:lnTo>
                    <a:pt x="62" y="33"/>
                  </a:lnTo>
                  <a:lnTo>
                    <a:pt x="62" y="33"/>
                  </a:lnTo>
                  <a:lnTo>
                    <a:pt x="63" y="31"/>
                  </a:lnTo>
                  <a:lnTo>
                    <a:pt x="66" y="29"/>
                  </a:lnTo>
                  <a:lnTo>
                    <a:pt x="73" y="23"/>
                  </a:lnTo>
                  <a:lnTo>
                    <a:pt x="73" y="23"/>
                  </a:lnTo>
                  <a:lnTo>
                    <a:pt x="66" y="14"/>
                  </a:lnTo>
                  <a:lnTo>
                    <a:pt x="59"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50" name="Freeform 721"/>
            <p:cNvSpPr>
              <a:spLocks/>
            </p:cNvSpPr>
            <p:nvPr/>
          </p:nvSpPr>
          <p:spPr bwMode="auto">
            <a:xfrm>
              <a:off x="4662488" y="3440542"/>
              <a:ext cx="149225" cy="119063"/>
            </a:xfrm>
            <a:custGeom>
              <a:avLst/>
              <a:gdLst>
                <a:gd name="T0" fmla="*/ 49 w 94"/>
                <a:gd name="T1" fmla="*/ 25 h 75"/>
                <a:gd name="T2" fmla="*/ 49 w 94"/>
                <a:gd name="T3" fmla="*/ 25 h 75"/>
                <a:gd name="T4" fmla="*/ 80 w 94"/>
                <a:gd name="T5" fmla="*/ 26 h 75"/>
                <a:gd name="T6" fmla="*/ 80 w 94"/>
                <a:gd name="T7" fmla="*/ 26 h 75"/>
                <a:gd name="T8" fmla="*/ 94 w 94"/>
                <a:gd name="T9" fmla="*/ 23 h 75"/>
                <a:gd name="T10" fmla="*/ 94 w 94"/>
                <a:gd name="T11" fmla="*/ 23 h 75"/>
                <a:gd name="T12" fmla="*/ 91 w 94"/>
                <a:gd name="T13" fmla="*/ 14 h 75"/>
                <a:gd name="T14" fmla="*/ 91 w 94"/>
                <a:gd name="T15" fmla="*/ 9 h 75"/>
                <a:gd name="T16" fmla="*/ 91 w 94"/>
                <a:gd name="T17" fmla="*/ 9 h 75"/>
                <a:gd name="T18" fmla="*/ 87 w 94"/>
                <a:gd name="T19" fmla="*/ 12 h 75"/>
                <a:gd name="T20" fmla="*/ 83 w 94"/>
                <a:gd name="T21" fmla="*/ 13 h 75"/>
                <a:gd name="T22" fmla="*/ 78 w 94"/>
                <a:gd name="T23" fmla="*/ 13 h 75"/>
                <a:gd name="T24" fmla="*/ 78 w 94"/>
                <a:gd name="T25" fmla="*/ 13 h 75"/>
                <a:gd name="T26" fmla="*/ 73 w 94"/>
                <a:gd name="T27" fmla="*/ 12 h 75"/>
                <a:gd name="T28" fmla="*/ 65 w 94"/>
                <a:gd name="T29" fmla="*/ 9 h 75"/>
                <a:gd name="T30" fmla="*/ 58 w 94"/>
                <a:gd name="T31" fmla="*/ 4 h 75"/>
                <a:gd name="T32" fmla="*/ 52 w 94"/>
                <a:gd name="T33" fmla="*/ 0 h 75"/>
                <a:gd name="T34" fmla="*/ 52 w 94"/>
                <a:gd name="T35" fmla="*/ 0 h 75"/>
                <a:gd name="T36" fmla="*/ 29 w 94"/>
                <a:gd name="T37" fmla="*/ 4 h 75"/>
                <a:gd name="T38" fmla="*/ 19 w 94"/>
                <a:gd name="T39" fmla="*/ 7 h 75"/>
                <a:gd name="T40" fmla="*/ 15 w 94"/>
                <a:gd name="T41" fmla="*/ 9 h 75"/>
                <a:gd name="T42" fmla="*/ 15 w 94"/>
                <a:gd name="T43" fmla="*/ 9 h 75"/>
                <a:gd name="T44" fmla="*/ 0 w 94"/>
                <a:gd name="T45" fmla="*/ 22 h 75"/>
                <a:gd name="T46" fmla="*/ 0 w 94"/>
                <a:gd name="T47" fmla="*/ 22 h 75"/>
                <a:gd name="T48" fmla="*/ 2 w 94"/>
                <a:gd name="T49" fmla="*/ 26 h 75"/>
                <a:gd name="T50" fmla="*/ 3 w 94"/>
                <a:gd name="T51" fmla="*/ 30 h 75"/>
                <a:gd name="T52" fmla="*/ 3 w 94"/>
                <a:gd name="T53" fmla="*/ 30 h 75"/>
                <a:gd name="T54" fmla="*/ 6 w 94"/>
                <a:gd name="T55" fmla="*/ 32 h 75"/>
                <a:gd name="T56" fmla="*/ 9 w 94"/>
                <a:gd name="T57" fmla="*/ 30 h 75"/>
                <a:gd name="T58" fmla="*/ 12 w 94"/>
                <a:gd name="T59" fmla="*/ 26 h 75"/>
                <a:gd name="T60" fmla="*/ 12 w 94"/>
                <a:gd name="T61" fmla="*/ 26 h 75"/>
                <a:gd name="T62" fmla="*/ 15 w 94"/>
                <a:gd name="T63" fmla="*/ 25 h 75"/>
                <a:gd name="T64" fmla="*/ 15 w 94"/>
                <a:gd name="T65" fmla="*/ 27 h 75"/>
                <a:gd name="T66" fmla="*/ 13 w 94"/>
                <a:gd name="T67" fmla="*/ 38 h 75"/>
                <a:gd name="T68" fmla="*/ 13 w 94"/>
                <a:gd name="T69" fmla="*/ 38 h 75"/>
                <a:gd name="T70" fmla="*/ 15 w 94"/>
                <a:gd name="T71" fmla="*/ 41 h 75"/>
                <a:gd name="T72" fmla="*/ 15 w 94"/>
                <a:gd name="T73" fmla="*/ 42 h 75"/>
                <a:gd name="T74" fmla="*/ 22 w 94"/>
                <a:gd name="T75" fmla="*/ 45 h 75"/>
                <a:gd name="T76" fmla="*/ 22 w 94"/>
                <a:gd name="T77" fmla="*/ 45 h 75"/>
                <a:gd name="T78" fmla="*/ 25 w 94"/>
                <a:gd name="T79" fmla="*/ 48 h 75"/>
                <a:gd name="T80" fmla="*/ 25 w 94"/>
                <a:gd name="T81" fmla="*/ 49 h 75"/>
                <a:gd name="T82" fmla="*/ 26 w 94"/>
                <a:gd name="T83" fmla="*/ 52 h 75"/>
                <a:gd name="T84" fmla="*/ 28 w 94"/>
                <a:gd name="T85" fmla="*/ 55 h 75"/>
                <a:gd name="T86" fmla="*/ 28 w 94"/>
                <a:gd name="T87" fmla="*/ 55 h 75"/>
                <a:gd name="T88" fmla="*/ 31 w 94"/>
                <a:gd name="T89" fmla="*/ 59 h 75"/>
                <a:gd name="T90" fmla="*/ 35 w 94"/>
                <a:gd name="T91" fmla="*/ 61 h 75"/>
                <a:gd name="T92" fmla="*/ 45 w 94"/>
                <a:gd name="T93" fmla="*/ 65 h 75"/>
                <a:gd name="T94" fmla="*/ 45 w 94"/>
                <a:gd name="T95" fmla="*/ 65 h 75"/>
                <a:gd name="T96" fmla="*/ 48 w 94"/>
                <a:gd name="T97" fmla="*/ 67 h 75"/>
                <a:gd name="T98" fmla="*/ 51 w 94"/>
                <a:gd name="T99" fmla="*/ 69 h 75"/>
                <a:gd name="T100" fmla="*/ 57 w 94"/>
                <a:gd name="T101" fmla="*/ 74 h 75"/>
                <a:gd name="T102" fmla="*/ 57 w 94"/>
                <a:gd name="T103" fmla="*/ 74 h 75"/>
                <a:gd name="T104" fmla="*/ 58 w 94"/>
                <a:gd name="T105" fmla="*/ 75 h 75"/>
                <a:gd name="T106" fmla="*/ 58 w 94"/>
                <a:gd name="T107" fmla="*/ 75 h 75"/>
                <a:gd name="T108" fmla="*/ 45 w 94"/>
                <a:gd name="T109" fmla="*/ 56 h 75"/>
                <a:gd name="T110" fmla="*/ 38 w 94"/>
                <a:gd name="T111" fmla="*/ 46 h 75"/>
                <a:gd name="T112" fmla="*/ 35 w 94"/>
                <a:gd name="T113" fmla="*/ 39 h 75"/>
                <a:gd name="T114" fmla="*/ 35 w 94"/>
                <a:gd name="T115" fmla="*/ 39 h 75"/>
                <a:gd name="T116" fmla="*/ 35 w 94"/>
                <a:gd name="T117" fmla="*/ 35 h 75"/>
                <a:gd name="T118" fmla="*/ 38 w 94"/>
                <a:gd name="T119" fmla="*/ 29 h 75"/>
                <a:gd name="T120" fmla="*/ 42 w 94"/>
                <a:gd name="T121" fmla="*/ 26 h 75"/>
                <a:gd name="T122" fmla="*/ 49 w 94"/>
                <a:gd name="T123" fmla="*/ 2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4" h="75">
                  <a:moveTo>
                    <a:pt x="49" y="25"/>
                  </a:moveTo>
                  <a:lnTo>
                    <a:pt x="49" y="25"/>
                  </a:lnTo>
                  <a:lnTo>
                    <a:pt x="80" y="26"/>
                  </a:lnTo>
                  <a:lnTo>
                    <a:pt x="80" y="26"/>
                  </a:lnTo>
                  <a:lnTo>
                    <a:pt x="94" y="23"/>
                  </a:lnTo>
                  <a:lnTo>
                    <a:pt x="94" y="23"/>
                  </a:lnTo>
                  <a:lnTo>
                    <a:pt x="91" y="14"/>
                  </a:lnTo>
                  <a:lnTo>
                    <a:pt x="91" y="9"/>
                  </a:lnTo>
                  <a:lnTo>
                    <a:pt x="91" y="9"/>
                  </a:lnTo>
                  <a:lnTo>
                    <a:pt x="87" y="12"/>
                  </a:lnTo>
                  <a:lnTo>
                    <a:pt x="83" y="13"/>
                  </a:lnTo>
                  <a:lnTo>
                    <a:pt x="78" y="13"/>
                  </a:lnTo>
                  <a:lnTo>
                    <a:pt x="78" y="13"/>
                  </a:lnTo>
                  <a:lnTo>
                    <a:pt x="73" y="12"/>
                  </a:lnTo>
                  <a:lnTo>
                    <a:pt x="65" y="9"/>
                  </a:lnTo>
                  <a:lnTo>
                    <a:pt x="58" y="4"/>
                  </a:lnTo>
                  <a:lnTo>
                    <a:pt x="52" y="0"/>
                  </a:lnTo>
                  <a:lnTo>
                    <a:pt x="52" y="0"/>
                  </a:lnTo>
                  <a:lnTo>
                    <a:pt x="29" y="4"/>
                  </a:lnTo>
                  <a:lnTo>
                    <a:pt x="19" y="7"/>
                  </a:lnTo>
                  <a:lnTo>
                    <a:pt x="15" y="9"/>
                  </a:lnTo>
                  <a:lnTo>
                    <a:pt x="15" y="9"/>
                  </a:lnTo>
                  <a:lnTo>
                    <a:pt x="0" y="22"/>
                  </a:lnTo>
                  <a:lnTo>
                    <a:pt x="0" y="22"/>
                  </a:lnTo>
                  <a:lnTo>
                    <a:pt x="2" y="26"/>
                  </a:lnTo>
                  <a:lnTo>
                    <a:pt x="3" y="30"/>
                  </a:lnTo>
                  <a:lnTo>
                    <a:pt x="3" y="30"/>
                  </a:lnTo>
                  <a:lnTo>
                    <a:pt x="6" y="32"/>
                  </a:lnTo>
                  <a:lnTo>
                    <a:pt x="9" y="30"/>
                  </a:lnTo>
                  <a:lnTo>
                    <a:pt x="12" y="26"/>
                  </a:lnTo>
                  <a:lnTo>
                    <a:pt x="12" y="26"/>
                  </a:lnTo>
                  <a:lnTo>
                    <a:pt x="15" y="25"/>
                  </a:lnTo>
                  <a:lnTo>
                    <a:pt x="15" y="27"/>
                  </a:lnTo>
                  <a:lnTo>
                    <a:pt x="13" y="38"/>
                  </a:lnTo>
                  <a:lnTo>
                    <a:pt x="13" y="38"/>
                  </a:lnTo>
                  <a:lnTo>
                    <a:pt x="15" y="41"/>
                  </a:lnTo>
                  <a:lnTo>
                    <a:pt x="15" y="42"/>
                  </a:lnTo>
                  <a:lnTo>
                    <a:pt x="22" y="45"/>
                  </a:lnTo>
                  <a:lnTo>
                    <a:pt x="22" y="45"/>
                  </a:lnTo>
                  <a:lnTo>
                    <a:pt x="25" y="48"/>
                  </a:lnTo>
                  <a:lnTo>
                    <a:pt x="25" y="49"/>
                  </a:lnTo>
                  <a:lnTo>
                    <a:pt x="26" y="52"/>
                  </a:lnTo>
                  <a:lnTo>
                    <a:pt x="28" y="55"/>
                  </a:lnTo>
                  <a:lnTo>
                    <a:pt x="28" y="55"/>
                  </a:lnTo>
                  <a:lnTo>
                    <a:pt x="31" y="59"/>
                  </a:lnTo>
                  <a:lnTo>
                    <a:pt x="35" y="61"/>
                  </a:lnTo>
                  <a:lnTo>
                    <a:pt x="45" y="65"/>
                  </a:lnTo>
                  <a:lnTo>
                    <a:pt x="45" y="65"/>
                  </a:lnTo>
                  <a:lnTo>
                    <a:pt x="48" y="67"/>
                  </a:lnTo>
                  <a:lnTo>
                    <a:pt x="51" y="69"/>
                  </a:lnTo>
                  <a:lnTo>
                    <a:pt x="57" y="74"/>
                  </a:lnTo>
                  <a:lnTo>
                    <a:pt x="57" y="74"/>
                  </a:lnTo>
                  <a:lnTo>
                    <a:pt x="58" y="75"/>
                  </a:lnTo>
                  <a:lnTo>
                    <a:pt x="58" y="75"/>
                  </a:lnTo>
                  <a:lnTo>
                    <a:pt x="45" y="56"/>
                  </a:lnTo>
                  <a:lnTo>
                    <a:pt x="38" y="46"/>
                  </a:lnTo>
                  <a:lnTo>
                    <a:pt x="35" y="39"/>
                  </a:lnTo>
                  <a:lnTo>
                    <a:pt x="35" y="39"/>
                  </a:lnTo>
                  <a:lnTo>
                    <a:pt x="35" y="35"/>
                  </a:lnTo>
                  <a:lnTo>
                    <a:pt x="38" y="29"/>
                  </a:lnTo>
                  <a:lnTo>
                    <a:pt x="42" y="26"/>
                  </a:lnTo>
                  <a:lnTo>
                    <a:pt x="49" y="25"/>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51" name="Freeform 722"/>
            <p:cNvSpPr>
              <a:spLocks/>
            </p:cNvSpPr>
            <p:nvPr/>
          </p:nvSpPr>
          <p:spPr bwMode="auto">
            <a:xfrm>
              <a:off x="4662488" y="3440542"/>
              <a:ext cx="149225" cy="119063"/>
            </a:xfrm>
            <a:custGeom>
              <a:avLst/>
              <a:gdLst>
                <a:gd name="T0" fmla="*/ 49 w 94"/>
                <a:gd name="T1" fmla="*/ 25 h 75"/>
                <a:gd name="T2" fmla="*/ 49 w 94"/>
                <a:gd name="T3" fmla="*/ 25 h 75"/>
                <a:gd name="T4" fmla="*/ 80 w 94"/>
                <a:gd name="T5" fmla="*/ 26 h 75"/>
                <a:gd name="T6" fmla="*/ 80 w 94"/>
                <a:gd name="T7" fmla="*/ 26 h 75"/>
                <a:gd name="T8" fmla="*/ 94 w 94"/>
                <a:gd name="T9" fmla="*/ 23 h 75"/>
                <a:gd name="T10" fmla="*/ 94 w 94"/>
                <a:gd name="T11" fmla="*/ 23 h 75"/>
                <a:gd name="T12" fmla="*/ 91 w 94"/>
                <a:gd name="T13" fmla="*/ 14 h 75"/>
                <a:gd name="T14" fmla="*/ 91 w 94"/>
                <a:gd name="T15" fmla="*/ 9 h 75"/>
                <a:gd name="T16" fmla="*/ 91 w 94"/>
                <a:gd name="T17" fmla="*/ 9 h 75"/>
                <a:gd name="T18" fmla="*/ 87 w 94"/>
                <a:gd name="T19" fmla="*/ 12 h 75"/>
                <a:gd name="T20" fmla="*/ 83 w 94"/>
                <a:gd name="T21" fmla="*/ 13 h 75"/>
                <a:gd name="T22" fmla="*/ 78 w 94"/>
                <a:gd name="T23" fmla="*/ 13 h 75"/>
                <a:gd name="T24" fmla="*/ 78 w 94"/>
                <a:gd name="T25" fmla="*/ 13 h 75"/>
                <a:gd name="T26" fmla="*/ 73 w 94"/>
                <a:gd name="T27" fmla="*/ 12 h 75"/>
                <a:gd name="T28" fmla="*/ 65 w 94"/>
                <a:gd name="T29" fmla="*/ 9 h 75"/>
                <a:gd name="T30" fmla="*/ 58 w 94"/>
                <a:gd name="T31" fmla="*/ 4 h 75"/>
                <a:gd name="T32" fmla="*/ 52 w 94"/>
                <a:gd name="T33" fmla="*/ 0 h 75"/>
                <a:gd name="T34" fmla="*/ 52 w 94"/>
                <a:gd name="T35" fmla="*/ 0 h 75"/>
                <a:gd name="T36" fmla="*/ 29 w 94"/>
                <a:gd name="T37" fmla="*/ 4 h 75"/>
                <a:gd name="T38" fmla="*/ 19 w 94"/>
                <a:gd name="T39" fmla="*/ 7 h 75"/>
                <a:gd name="T40" fmla="*/ 15 w 94"/>
                <a:gd name="T41" fmla="*/ 9 h 75"/>
                <a:gd name="T42" fmla="*/ 15 w 94"/>
                <a:gd name="T43" fmla="*/ 9 h 75"/>
                <a:gd name="T44" fmla="*/ 0 w 94"/>
                <a:gd name="T45" fmla="*/ 22 h 75"/>
                <a:gd name="T46" fmla="*/ 0 w 94"/>
                <a:gd name="T47" fmla="*/ 22 h 75"/>
                <a:gd name="T48" fmla="*/ 2 w 94"/>
                <a:gd name="T49" fmla="*/ 26 h 75"/>
                <a:gd name="T50" fmla="*/ 3 w 94"/>
                <a:gd name="T51" fmla="*/ 30 h 75"/>
                <a:gd name="T52" fmla="*/ 3 w 94"/>
                <a:gd name="T53" fmla="*/ 30 h 75"/>
                <a:gd name="T54" fmla="*/ 6 w 94"/>
                <a:gd name="T55" fmla="*/ 32 h 75"/>
                <a:gd name="T56" fmla="*/ 9 w 94"/>
                <a:gd name="T57" fmla="*/ 30 h 75"/>
                <a:gd name="T58" fmla="*/ 12 w 94"/>
                <a:gd name="T59" fmla="*/ 26 h 75"/>
                <a:gd name="T60" fmla="*/ 12 w 94"/>
                <a:gd name="T61" fmla="*/ 26 h 75"/>
                <a:gd name="T62" fmla="*/ 15 w 94"/>
                <a:gd name="T63" fmla="*/ 25 h 75"/>
                <a:gd name="T64" fmla="*/ 15 w 94"/>
                <a:gd name="T65" fmla="*/ 27 h 75"/>
                <a:gd name="T66" fmla="*/ 13 w 94"/>
                <a:gd name="T67" fmla="*/ 38 h 75"/>
                <a:gd name="T68" fmla="*/ 13 w 94"/>
                <a:gd name="T69" fmla="*/ 38 h 75"/>
                <a:gd name="T70" fmla="*/ 15 w 94"/>
                <a:gd name="T71" fmla="*/ 41 h 75"/>
                <a:gd name="T72" fmla="*/ 15 w 94"/>
                <a:gd name="T73" fmla="*/ 42 h 75"/>
                <a:gd name="T74" fmla="*/ 22 w 94"/>
                <a:gd name="T75" fmla="*/ 45 h 75"/>
                <a:gd name="T76" fmla="*/ 22 w 94"/>
                <a:gd name="T77" fmla="*/ 45 h 75"/>
                <a:gd name="T78" fmla="*/ 25 w 94"/>
                <a:gd name="T79" fmla="*/ 48 h 75"/>
                <a:gd name="T80" fmla="*/ 25 w 94"/>
                <a:gd name="T81" fmla="*/ 49 h 75"/>
                <a:gd name="T82" fmla="*/ 26 w 94"/>
                <a:gd name="T83" fmla="*/ 52 h 75"/>
                <a:gd name="T84" fmla="*/ 28 w 94"/>
                <a:gd name="T85" fmla="*/ 55 h 75"/>
                <a:gd name="T86" fmla="*/ 28 w 94"/>
                <a:gd name="T87" fmla="*/ 55 h 75"/>
                <a:gd name="T88" fmla="*/ 31 w 94"/>
                <a:gd name="T89" fmla="*/ 59 h 75"/>
                <a:gd name="T90" fmla="*/ 35 w 94"/>
                <a:gd name="T91" fmla="*/ 61 h 75"/>
                <a:gd name="T92" fmla="*/ 45 w 94"/>
                <a:gd name="T93" fmla="*/ 65 h 75"/>
                <a:gd name="T94" fmla="*/ 45 w 94"/>
                <a:gd name="T95" fmla="*/ 65 h 75"/>
                <a:gd name="T96" fmla="*/ 48 w 94"/>
                <a:gd name="T97" fmla="*/ 67 h 75"/>
                <a:gd name="T98" fmla="*/ 51 w 94"/>
                <a:gd name="T99" fmla="*/ 69 h 75"/>
                <a:gd name="T100" fmla="*/ 57 w 94"/>
                <a:gd name="T101" fmla="*/ 74 h 75"/>
                <a:gd name="T102" fmla="*/ 57 w 94"/>
                <a:gd name="T103" fmla="*/ 74 h 75"/>
                <a:gd name="T104" fmla="*/ 58 w 94"/>
                <a:gd name="T105" fmla="*/ 75 h 75"/>
                <a:gd name="T106" fmla="*/ 58 w 94"/>
                <a:gd name="T107" fmla="*/ 75 h 75"/>
                <a:gd name="T108" fmla="*/ 45 w 94"/>
                <a:gd name="T109" fmla="*/ 56 h 75"/>
                <a:gd name="T110" fmla="*/ 38 w 94"/>
                <a:gd name="T111" fmla="*/ 46 h 75"/>
                <a:gd name="T112" fmla="*/ 35 w 94"/>
                <a:gd name="T113" fmla="*/ 39 h 75"/>
                <a:gd name="T114" fmla="*/ 35 w 94"/>
                <a:gd name="T115" fmla="*/ 39 h 75"/>
                <a:gd name="T116" fmla="*/ 35 w 94"/>
                <a:gd name="T117" fmla="*/ 35 h 75"/>
                <a:gd name="T118" fmla="*/ 38 w 94"/>
                <a:gd name="T119" fmla="*/ 29 h 75"/>
                <a:gd name="T120" fmla="*/ 42 w 94"/>
                <a:gd name="T121" fmla="*/ 26 h 75"/>
                <a:gd name="T122" fmla="*/ 49 w 94"/>
                <a:gd name="T123" fmla="*/ 2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4" h="75">
                  <a:moveTo>
                    <a:pt x="49" y="25"/>
                  </a:moveTo>
                  <a:lnTo>
                    <a:pt x="49" y="25"/>
                  </a:lnTo>
                  <a:lnTo>
                    <a:pt x="80" y="26"/>
                  </a:lnTo>
                  <a:lnTo>
                    <a:pt x="80" y="26"/>
                  </a:lnTo>
                  <a:lnTo>
                    <a:pt x="94" y="23"/>
                  </a:lnTo>
                  <a:lnTo>
                    <a:pt x="94" y="23"/>
                  </a:lnTo>
                  <a:lnTo>
                    <a:pt x="91" y="14"/>
                  </a:lnTo>
                  <a:lnTo>
                    <a:pt x="91" y="9"/>
                  </a:lnTo>
                  <a:lnTo>
                    <a:pt x="91" y="9"/>
                  </a:lnTo>
                  <a:lnTo>
                    <a:pt x="87" y="12"/>
                  </a:lnTo>
                  <a:lnTo>
                    <a:pt x="83" y="13"/>
                  </a:lnTo>
                  <a:lnTo>
                    <a:pt x="78" y="13"/>
                  </a:lnTo>
                  <a:lnTo>
                    <a:pt x="78" y="13"/>
                  </a:lnTo>
                  <a:lnTo>
                    <a:pt x="73" y="12"/>
                  </a:lnTo>
                  <a:lnTo>
                    <a:pt x="65" y="9"/>
                  </a:lnTo>
                  <a:lnTo>
                    <a:pt x="58" y="4"/>
                  </a:lnTo>
                  <a:lnTo>
                    <a:pt x="52" y="0"/>
                  </a:lnTo>
                  <a:lnTo>
                    <a:pt x="52" y="0"/>
                  </a:lnTo>
                  <a:lnTo>
                    <a:pt x="29" y="4"/>
                  </a:lnTo>
                  <a:lnTo>
                    <a:pt x="19" y="7"/>
                  </a:lnTo>
                  <a:lnTo>
                    <a:pt x="15" y="9"/>
                  </a:lnTo>
                  <a:lnTo>
                    <a:pt x="15" y="9"/>
                  </a:lnTo>
                  <a:lnTo>
                    <a:pt x="0" y="22"/>
                  </a:lnTo>
                  <a:lnTo>
                    <a:pt x="0" y="22"/>
                  </a:lnTo>
                  <a:lnTo>
                    <a:pt x="2" y="26"/>
                  </a:lnTo>
                  <a:lnTo>
                    <a:pt x="3" y="30"/>
                  </a:lnTo>
                  <a:lnTo>
                    <a:pt x="3" y="30"/>
                  </a:lnTo>
                  <a:lnTo>
                    <a:pt x="6" y="32"/>
                  </a:lnTo>
                  <a:lnTo>
                    <a:pt x="9" y="30"/>
                  </a:lnTo>
                  <a:lnTo>
                    <a:pt x="12" y="26"/>
                  </a:lnTo>
                  <a:lnTo>
                    <a:pt x="12" y="26"/>
                  </a:lnTo>
                  <a:lnTo>
                    <a:pt x="15" y="25"/>
                  </a:lnTo>
                  <a:lnTo>
                    <a:pt x="15" y="27"/>
                  </a:lnTo>
                  <a:lnTo>
                    <a:pt x="13" y="38"/>
                  </a:lnTo>
                  <a:lnTo>
                    <a:pt x="13" y="38"/>
                  </a:lnTo>
                  <a:lnTo>
                    <a:pt x="15" y="41"/>
                  </a:lnTo>
                  <a:lnTo>
                    <a:pt x="15" y="42"/>
                  </a:lnTo>
                  <a:lnTo>
                    <a:pt x="22" y="45"/>
                  </a:lnTo>
                  <a:lnTo>
                    <a:pt x="22" y="45"/>
                  </a:lnTo>
                  <a:lnTo>
                    <a:pt x="25" y="48"/>
                  </a:lnTo>
                  <a:lnTo>
                    <a:pt x="25" y="49"/>
                  </a:lnTo>
                  <a:lnTo>
                    <a:pt x="26" y="52"/>
                  </a:lnTo>
                  <a:lnTo>
                    <a:pt x="28" y="55"/>
                  </a:lnTo>
                  <a:lnTo>
                    <a:pt x="28" y="55"/>
                  </a:lnTo>
                  <a:lnTo>
                    <a:pt x="31" y="59"/>
                  </a:lnTo>
                  <a:lnTo>
                    <a:pt x="35" y="61"/>
                  </a:lnTo>
                  <a:lnTo>
                    <a:pt x="45" y="65"/>
                  </a:lnTo>
                  <a:lnTo>
                    <a:pt x="45" y="65"/>
                  </a:lnTo>
                  <a:lnTo>
                    <a:pt x="48" y="67"/>
                  </a:lnTo>
                  <a:lnTo>
                    <a:pt x="51" y="69"/>
                  </a:lnTo>
                  <a:lnTo>
                    <a:pt x="57" y="74"/>
                  </a:lnTo>
                  <a:lnTo>
                    <a:pt x="57" y="74"/>
                  </a:lnTo>
                  <a:lnTo>
                    <a:pt x="58" y="75"/>
                  </a:lnTo>
                  <a:lnTo>
                    <a:pt x="58" y="75"/>
                  </a:lnTo>
                  <a:lnTo>
                    <a:pt x="45" y="56"/>
                  </a:lnTo>
                  <a:lnTo>
                    <a:pt x="38" y="46"/>
                  </a:lnTo>
                  <a:lnTo>
                    <a:pt x="35" y="39"/>
                  </a:lnTo>
                  <a:lnTo>
                    <a:pt x="35" y="39"/>
                  </a:lnTo>
                  <a:lnTo>
                    <a:pt x="35" y="35"/>
                  </a:lnTo>
                  <a:lnTo>
                    <a:pt x="38" y="29"/>
                  </a:lnTo>
                  <a:lnTo>
                    <a:pt x="42" y="26"/>
                  </a:lnTo>
                  <a:lnTo>
                    <a:pt x="49" y="2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52" name="Freeform 723"/>
            <p:cNvSpPr>
              <a:spLocks/>
            </p:cNvSpPr>
            <p:nvPr/>
          </p:nvSpPr>
          <p:spPr bwMode="auto">
            <a:xfrm>
              <a:off x="4656138" y="3421492"/>
              <a:ext cx="88900" cy="53975"/>
            </a:xfrm>
            <a:custGeom>
              <a:avLst/>
              <a:gdLst>
                <a:gd name="T0" fmla="*/ 56 w 56"/>
                <a:gd name="T1" fmla="*/ 12 h 34"/>
                <a:gd name="T2" fmla="*/ 56 w 56"/>
                <a:gd name="T3" fmla="*/ 12 h 34"/>
                <a:gd name="T4" fmla="*/ 52 w 56"/>
                <a:gd name="T5" fmla="*/ 9 h 34"/>
                <a:gd name="T6" fmla="*/ 52 w 56"/>
                <a:gd name="T7" fmla="*/ 9 h 34"/>
                <a:gd name="T8" fmla="*/ 46 w 56"/>
                <a:gd name="T9" fmla="*/ 0 h 34"/>
                <a:gd name="T10" fmla="*/ 46 w 56"/>
                <a:gd name="T11" fmla="*/ 0 h 34"/>
                <a:gd name="T12" fmla="*/ 40 w 56"/>
                <a:gd name="T13" fmla="*/ 3 h 34"/>
                <a:gd name="T14" fmla="*/ 35 w 56"/>
                <a:gd name="T15" fmla="*/ 6 h 34"/>
                <a:gd name="T16" fmla="*/ 35 w 56"/>
                <a:gd name="T17" fmla="*/ 6 h 34"/>
                <a:gd name="T18" fmla="*/ 17 w 56"/>
                <a:gd name="T19" fmla="*/ 6 h 34"/>
                <a:gd name="T20" fmla="*/ 17 w 56"/>
                <a:gd name="T21" fmla="*/ 6 h 34"/>
                <a:gd name="T22" fmla="*/ 0 w 56"/>
                <a:gd name="T23" fmla="*/ 8 h 34"/>
                <a:gd name="T24" fmla="*/ 0 w 56"/>
                <a:gd name="T25" fmla="*/ 8 h 34"/>
                <a:gd name="T26" fmla="*/ 4 w 56"/>
                <a:gd name="T27" fmla="*/ 12 h 34"/>
                <a:gd name="T28" fmla="*/ 4 w 56"/>
                <a:gd name="T29" fmla="*/ 12 h 34"/>
                <a:gd name="T30" fmla="*/ 3 w 56"/>
                <a:gd name="T31" fmla="*/ 18 h 34"/>
                <a:gd name="T32" fmla="*/ 0 w 56"/>
                <a:gd name="T33" fmla="*/ 25 h 34"/>
                <a:gd name="T34" fmla="*/ 0 w 56"/>
                <a:gd name="T35" fmla="*/ 25 h 34"/>
                <a:gd name="T36" fmla="*/ 1 w 56"/>
                <a:gd name="T37" fmla="*/ 28 h 34"/>
                <a:gd name="T38" fmla="*/ 4 w 56"/>
                <a:gd name="T39" fmla="*/ 34 h 34"/>
                <a:gd name="T40" fmla="*/ 4 w 56"/>
                <a:gd name="T41" fmla="*/ 34 h 34"/>
                <a:gd name="T42" fmla="*/ 19 w 56"/>
                <a:gd name="T43" fmla="*/ 21 h 34"/>
                <a:gd name="T44" fmla="*/ 19 w 56"/>
                <a:gd name="T45" fmla="*/ 21 h 34"/>
                <a:gd name="T46" fmla="*/ 23 w 56"/>
                <a:gd name="T47" fmla="*/ 19 h 34"/>
                <a:gd name="T48" fmla="*/ 33 w 56"/>
                <a:gd name="T49" fmla="*/ 16 h 34"/>
                <a:gd name="T50" fmla="*/ 56 w 56"/>
                <a:gd name="T51"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6" h="34">
                  <a:moveTo>
                    <a:pt x="56" y="12"/>
                  </a:moveTo>
                  <a:lnTo>
                    <a:pt x="56" y="12"/>
                  </a:lnTo>
                  <a:lnTo>
                    <a:pt x="52" y="9"/>
                  </a:lnTo>
                  <a:lnTo>
                    <a:pt x="52" y="9"/>
                  </a:lnTo>
                  <a:lnTo>
                    <a:pt x="46" y="0"/>
                  </a:lnTo>
                  <a:lnTo>
                    <a:pt x="46" y="0"/>
                  </a:lnTo>
                  <a:lnTo>
                    <a:pt x="40" y="3"/>
                  </a:lnTo>
                  <a:lnTo>
                    <a:pt x="35" y="6"/>
                  </a:lnTo>
                  <a:lnTo>
                    <a:pt x="35" y="6"/>
                  </a:lnTo>
                  <a:lnTo>
                    <a:pt x="17" y="6"/>
                  </a:lnTo>
                  <a:lnTo>
                    <a:pt x="17" y="6"/>
                  </a:lnTo>
                  <a:lnTo>
                    <a:pt x="0" y="8"/>
                  </a:lnTo>
                  <a:lnTo>
                    <a:pt x="0" y="8"/>
                  </a:lnTo>
                  <a:lnTo>
                    <a:pt x="4" y="12"/>
                  </a:lnTo>
                  <a:lnTo>
                    <a:pt x="4" y="12"/>
                  </a:lnTo>
                  <a:lnTo>
                    <a:pt x="3" y="18"/>
                  </a:lnTo>
                  <a:lnTo>
                    <a:pt x="0" y="25"/>
                  </a:lnTo>
                  <a:lnTo>
                    <a:pt x="0" y="25"/>
                  </a:lnTo>
                  <a:lnTo>
                    <a:pt x="1" y="28"/>
                  </a:lnTo>
                  <a:lnTo>
                    <a:pt x="4" y="34"/>
                  </a:lnTo>
                  <a:lnTo>
                    <a:pt x="4" y="34"/>
                  </a:lnTo>
                  <a:lnTo>
                    <a:pt x="19" y="21"/>
                  </a:lnTo>
                  <a:lnTo>
                    <a:pt x="19" y="21"/>
                  </a:lnTo>
                  <a:lnTo>
                    <a:pt x="23" y="19"/>
                  </a:lnTo>
                  <a:lnTo>
                    <a:pt x="33" y="16"/>
                  </a:lnTo>
                  <a:lnTo>
                    <a:pt x="56" y="12"/>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53" name="Freeform 724"/>
            <p:cNvSpPr>
              <a:spLocks/>
            </p:cNvSpPr>
            <p:nvPr/>
          </p:nvSpPr>
          <p:spPr bwMode="auto">
            <a:xfrm>
              <a:off x="4656138" y="3421492"/>
              <a:ext cx="88900" cy="53975"/>
            </a:xfrm>
            <a:custGeom>
              <a:avLst/>
              <a:gdLst>
                <a:gd name="T0" fmla="*/ 56 w 56"/>
                <a:gd name="T1" fmla="*/ 12 h 34"/>
                <a:gd name="T2" fmla="*/ 56 w 56"/>
                <a:gd name="T3" fmla="*/ 12 h 34"/>
                <a:gd name="T4" fmla="*/ 52 w 56"/>
                <a:gd name="T5" fmla="*/ 9 h 34"/>
                <a:gd name="T6" fmla="*/ 52 w 56"/>
                <a:gd name="T7" fmla="*/ 9 h 34"/>
                <a:gd name="T8" fmla="*/ 46 w 56"/>
                <a:gd name="T9" fmla="*/ 0 h 34"/>
                <a:gd name="T10" fmla="*/ 46 w 56"/>
                <a:gd name="T11" fmla="*/ 0 h 34"/>
                <a:gd name="T12" fmla="*/ 40 w 56"/>
                <a:gd name="T13" fmla="*/ 3 h 34"/>
                <a:gd name="T14" fmla="*/ 35 w 56"/>
                <a:gd name="T15" fmla="*/ 6 h 34"/>
                <a:gd name="T16" fmla="*/ 35 w 56"/>
                <a:gd name="T17" fmla="*/ 6 h 34"/>
                <a:gd name="T18" fmla="*/ 17 w 56"/>
                <a:gd name="T19" fmla="*/ 6 h 34"/>
                <a:gd name="T20" fmla="*/ 17 w 56"/>
                <a:gd name="T21" fmla="*/ 6 h 34"/>
                <a:gd name="T22" fmla="*/ 0 w 56"/>
                <a:gd name="T23" fmla="*/ 8 h 34"/>
                <a:gd name="T24" fmla="*/ 0 w 56"/>
                <a:gd name="T25" fmla="*/ 8 h 34"/>
                <a:gd name="T26" fmla="*/ 4 w 56"/>
                <a:gd name="T27" fmla="*/ 12 h 34"/>
                <a:gd name="T28" fmla="*/ 4 w 56"/>
                <a:gd name="T29" fmla="*/ 12 h 34"/>
                <a:gd name="T30" fmla="*/ 3 w 56"/>
                <a:gd name="T31" fmla="*/ 18 h 34"/>
                <a:gd name="T32" fmla="*/ 0 w 56"/>
                <a:gd name="T33" fmla="*/ 25 h 34"/>
                <a:gd name="T34" fmla="*/ 0 w 56"/>
                <a:gd name="T35" fmla="*/ 25 h 34"/>
                <a:gd name="T36" fmla="*/ 1 w 56"/>
                <a:gd name="T37" fmla="*/ 28 h 34"/>
                <a:gd name="T38" fmla="*/ 4 w 56"/>
                <a:gd name="T39" fmla="*/ 34 h 34"/>
                <a:gd name="T40" fmla="*/ 4 w 56"/>
                <a:gd name="T41" fmla="*/ 34 h 34"/>
                <a:gd name="T42" fmla="*/ 19 w 56"/>
                <a:gd name="T43" fmla="*/ 21 h 34"/>
                <a:gd name="T44" fmla="*/ 19 w 56"/>
                <a:gd name="T45" fmla="*/ 21 h 34"/>
                <a:gd name="T46" fmla="*/ 23 w 56"/>
                <a:gd name="T47" fmla="*/ 19 h 34"/>
                <a:gd name="T48" fmla="*/ 33 w 56"/>
                <a:gd name="T49" fmla="*/ 16 h 34"/>
                <a:gd name="T50" fmla="*/ 56 w 56"/>
                <a:gd name="T51"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6" h="34">
                  <a:moveTo>
                    <a:pt x="56" y="12"/>
                  </a:moveTo>
                  <a:lnTo>
                    <a:pt x="56" y="12"/>
                  </a:lnTo>
                  <a:lnTo>
                    <a:pt x="52" y="9"/>
                  </a:lnTo>
                  <a:lnTo>
                    <a:pt x="52" y="9"/>
                  </a:lnTo>
                  <a:lnTo>
                    <a:pt x="46" y="0"/>
                  </a:lnTo>
                  <a:lnTo>
                    <a:pt x="46" y="0"/>
                  </a:lnTo>
                  <a:lnTo>
                    <a:pt x="40" y="3"/>
                  </a:lnTo>
                  <a:lnTo>
                    <a:pt x="35" y="6"/>
                  </a:lnTo>
                  <a:lnTo>
                    <a:pt x="35" y="6"/>
                  </a:lnTo>
                  <a:lnTo>
                    <a:pt x="17" y="6"/>
                  </a:lnTo>
                  <a:lnTo>
                    <a:pt x="17" y="6"/>
                  </a:lnTo>
                  <a:lnTo>
                    <a:pt x="0" y="8"/>
                  </a:lnTo>
                  <a:lnTo>
                    <a:pt x="0" y="8"/>
                  </a:lnTo>
                  <a:lnTo>
                    <a:pt x="4" y="12"/>
                  </a:lnTo>
                  <a:lnTo>
                    <a:pt x="4" y="12"/>
                  </a:lnTo>
                  <a:lnTo>
                    <a:pt x="3" y="18"/>
                  </a:lnTo>
                  <a:lnTo>
                    <a:pt x="0" y="25"/>
                  </a:lnTo>
                  <a:lnTo>
                    <a:pt x="0" y="25"/>
                  </a:lnTo>
                  <a:lnTo>
                    <a:pt x="1" y="28"/>
                  </a:lnTo>
                  <a:lnTo>
                    <a:pt x="4" y="34"/>
                  </a:lnTo>
                  <a:lnTo>
                    <a:pt x="4" y="34"/>
                  </a:lnTo>
                  <a:lnTo>
                    <a:pt x="19" y="21"/>
                  </a:lnTo>
                  <a:lnTo>
                    <a:pt x="19" y="21"/>
                  </a:lnTo>
                  <a:lnTo>
                    <a:pt x="23" y="19"/>
                  </a:lnTo>
                  <a:lnTo>
                    <a:pt x="33" y="16"/>
                  </a:lnTo>
                  <a:lnTo>
                    <a:pt x="56"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54" name="Freeform 725"/>
            <p:cNvSpPr>
              <a:spLocks/>
            </p:cNvSpPr>
            <p:nvPr/>
          </p:nvSpPr>
          <p:spPr bwMode="auto">
            <a:xfrm>
              <a:off x="4427538" y="2149904"/>
              <a:ext cx="665163" cy="803275"/>
            </a:xfrm>
            <a:custGeom>
              <a:avLst/>
              <a:gdLst>
                <a:gd name="T0" fmla="*/ 126 w 419"/>
                <a:gd name="T1" fmla="*/ 415 h 506"/>
                <a:gd name="T2" fmla="*/ 124 w 419"/>
                <a:gd name="T3" fmla="*/ 331 h 506"/>
                <a:gd name="T4" fmla="*/ 151 w 419"/>
                <a:gd name="T5" fmla="*/ 277 h 506"/>
                <a:gd name="T6" fmla="*/ 168 w 419"/>
                <a:gd name="T7" fmla="*/ 222 h 506"/>
                <a:gd name="T8" fmla="*/ 200 w 419"/>
                <a:gd name="T9" fmla="*/ 144 h 506"/>
                <a:gd name="T10" fmla="*/ 216 w 419"/>
                <a:gd name="T11" fmla="*/ 124 h 506"/>
                <a:gd name="T12" fmla="*/ 261 w 419"/>
                <a:gd name="T13" fmla="*/ 99 h 506"/>
                <a:gd name="T14" fmla="*/ 286 w 419"/>
                <a:gd name="T15" fmla="*/ 112 h 506"/>
                <a:gd name="T16" fmla="*/ 331 w 419"/>
                <a:gd name="T17" fmla="*/ 110 h 506"/>
                <a:gd name="T18" fmla="*/ 360 w 419"/>
                <a:gd name="T19" fmla="*/ 60 h 506"/>
                <a:gd name="T20" fmla="*/ 393 w 419"/>
                <a:gd name="T21" fmla="*/ 77 h 506"/>
                <a:gd name="T22" fmla="*/ 397 w 419"/>
                <a:gd name="T23" fmla="*/ 95 h 506"/>
                <a:gd name="T24" fmla="*/ 402 w 419"/>
                <a:gd name="T25" fmla="*/ 64 h 506"/>
                <a:gd name="T26" fmla="*/ 396 w 419"/>
                <a:gd name="T27" fmla="*/ 51 h 506"/>
                <a:gd name="T28" fmla="*/ 415 w 419"/>
                <a:gd name="T29" fmla="*/ 32 h 506"/>
                <a:gd name="T30" fmla="*/ 392 w 419"/>
                <a:gd name="T31" fmla="*/ 19 h 506"/>
                <a:gd name="T32" fmla="*/ 371 w 419"/>
                <a:gd name="T33" fmla="*/ 29 h 506"/>
                <a:gd name="T34" fmla="*/ 374 w 419"/>
                <a:gd name="T35" fmla="*/ 13 h 506"/>
                <a:gd name="T36" fmla="*/ 358 w 419"/>
                <a:gd name="T37" fmla="*/ 6 h 506"/>
                <a:gd name="T38" fmla="*/ 351 w 419"/>
                <a:gd name="T39" fmla="*/ 0 h 506"/>
                <a:gd name="T40" fmla="*/ 322 w 419"/>
                <a:gd name="T41" fmla="*/ 51 h 506"/>
                <a:gd name="T42" fmla="*/ 335 w 419"/>
                <a:gd name="T43" fmla="*/ 11 h 506"/>
                <a:gd name="T44" fmla="*/ 315 w 419"/>
                <a:gd name="T45" fmla="*/ 2 h 506"/>
                <a:gd name="T46" fmla="*/ 309 w 419"/>
                <a:gd name="T47" fmla="*/ 22 h 506"/>
                <a:gd name="T48" fmla="*/ 297 w 419"/>
                <a:gd name="T49" fmla="*/ 25 h 506"/>
                <a:gd name="T50" fmla="*/ 294 w 419"/>
                <a:gd name="T51" fmla="*/ 50 h 506"/>
                <a:gd name="T52" fmla="*/ 286 w 419"/>
                <a:gd name="T53" fmla="*/ 51 h 506"/>
                <a:gd name="T54" fmla="*/ 271 w 419"/>
                <a:gd name="T55" fmla="*/ 37 h 506"/>
                <a:gd name="T56" fmla="*/ 274 w 419"/>
                <a:gd name="T57" fmla="*/ 60 h 506"/>
                <a:gd name="T58" fmla="*/ 261 w 419"/>
                <a:gd name="T59" fmla="*/ 66 h 506"/>
                <a:gd name="T60" fmla="*/ 250 w 419"/>
                <a:gd name="T61" fmla="*/ 66 h 506"/>
                <a:gd name="T62" fmla="*/ 239 w 419"/>
                <a:gd name="T63" fmla="*/ 58 h 506"/>
                <a:gd name="T64" fmla="*/ 221 w 419"/>
                <a:gd name="T65" fmla="*/ 58 h 506"/>
                <a:gd name="T66" fmla="*/ 221 w 419"/>
                <a:gd name="T67" fmla="*/ 79 h 506"/>
                <a:gd name="T68" fmla="*/ 209 w 419"/>
                <a:gd name="T69" fmla="*/ 97 h 506"/>
                <a:gd name="T70" fmla="*/ 197 w 419"/>
                <a:gd name="T71" fmla="*/ 109 h 506"/>
                <a:gd name="T72" fmla="*/ 173 w 419"/>
                <a:gd name="T73" fmla="*/ 119 h 506"/>
                <a:gd name="T74" fmla="*/ 174 w 419"/>
                <a:gd name="T75" fmla="*/ 138 h 506"/>
                <a:gd name="T76" fmla="*/ 167 w 419"/>
                <a:gd name="T77" fmla="*/ 154 h 506"/>
                <a:gd name="T78" fmla="*/ 161 w 419"/>
                <a:gd name="T79" fmla="*/ 166 h 506"/>
                <a:gd name="T80" fmla="*/ 154 w 419"/>
                <a:gd name="T81" fmla="*/ 181 h 506"/>
                <a:gd name="T82" fmla="*/ 132 w 419"/>
                <a:gd name="T83" fmla="*/ 210 h 506"/>
                <a:gd name="T84" fmla="*/ 131 w 419"/>
                <a:gd name="T85" fmla="*/ 225 h 506"/>
                <a:gd name="T86" fmla="*/ 125 w 419"/>
                <a:gd name="T87" fmla="*/ 252 h 506"/>
                <a:gd name="T88" fmla="*/ 112 w 419"/>
                <a:gd name="T89" fmla="*/ 274 h 506"/>
                <a:gd name="T90" fmla="*/ 86 w 419"/>
                <a:gd name="T91" fmla="*/ 300 h 506"/>
                <a:gd name="T92" fmla="*/ 99 w 419"/>
                <a:gd name="T93" fmla="*/ 318 h 506"/>
                <a:gd name="T94" fmla="*/ 76 w 419"/>
                <a:gd name="T95" fmla="*/ 328 h 506"/>
                <a:gd name="T96" fmla="*/ 61 w 419"/>
                <a:gd name="T97" fmla="*/ 349 h 506"/>
                <a:gd name="T98" fmla="*/ 40 w 419"/>
                <a:gd name="T99" fmla="*/ 354 h 506"/>
                <a:gd name="T100" fmla="*/ 24 w 419"/>
                <a:gd name="T101" fmla="*/ 362 h 506"/>
                <a:gd name="T102" fmla="*/ 12 w 419"/>
                <a:gd name="T103" fmla="*/ 378 h 506"/>
                <a:gd name="T104" fmla="*/ 15 w 419"/>
                <a:gd name="T105" fmla="*/ 406 h 506"/>
                <a:gd name="T106" fmla="*/ 0 w 419"/>
                <a:gd name="T107" fmla="*/ 422 h 506"/>
                <a:gd name="T108" fmla="*/ 9 w 419"/>
                <a:gd name="T109" fmla="*/ 438 h 506"/>
                <a:gd name="T110" fmla="*/ 16 w 419"/>
                <a:gd name="T111" fmla="*/ 451 h 506"/>
                <a:gd name="T112" fmla="*/ 11 w 419"/>
                <a:gd name="T113" fmla="*/ 470 h 506"/>
                <a:gd name="T114" fmla="*/ 24 w 419"/>
                <a:gd name="T115" fmla="*/ 477 h 506"/>
                <a:gd name="T116" fmla="*/ 31 w 419"/>
                <a:gd name="T117" fmla="*/ 503 h 506"/>
                <a:gd name="T118" fmla="*/ 76 w 419"/>
                <a:gd name="T119" fmla="*/ 481 h 506"/>
                <a:gd name="T120" fmla="*/ 95 w 419"/>
                <a:gd name="T121" fmla="*/ 458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9" h="506">
                  <a:moveTo>
                    <a:pt x="118" y="460"/>
                  </a:moveTo>
                  <a:lnTo>
                    <a:pt x="118" y="460"/>
                  </a:lnTo>
                  <a:lnTo>
                    <a:pt x="119" y="454"/>
                  </a:lnTo>
                  <a:lnTo>
                    <a:pt x="121" y="449"/>
                  </a:lnTo>
                  <a:lnTo>
                    <a:pt x="126" y="441"/>
                  </a:lnTo>
                  <a:lnTo>
                    <a:pt x="126" y="441"/>
                  </a:lnTo>
                  <a:lnTo>
                    <a:pt x="128" y="438"/>
                  </a:lnTo>
                  <a:lnTo>
                    <a:pt x="129" y="435"/>
                  </a:lnTo>
                  <a:lnTo>
                    <a:pt x="128" y="429"/>
                  </a:lnTo>
                  <a:lnTo>
                    <a:pt x="126" y="422"/>
                  </a:lnTo>
                  <a:lnTo>
                    <a:pt x="126" y="415"/>
                  </a:lnTo>
                  <a:lnTo>
                    <a:pt x="126" y="415"/>
                  </a:lnTo>
                  <a:lnTo>
                    <a:pt x="126" y="410"/>
                  </a:lnTo>
                  <a:lnTo>
                    <a:pt x="128" y="409"/>
                  </a:lnTo>
                  <a:lnTo>
                    <a:pt x="132" y="406"/>
                  </a:lnTo>
                  <a:lnTo>
                    <a:pt x="132" y="406"/>
                  </a:lnTo>
                  <a:lnTo>
                    <a:pt x="132" y="406"/>
                  </a:lnTo>
                  <a:lnTo>
                    <a:pt x="132" y="405"/>
                  </a:lnTo>
                  <a:lnTo>
                    <a:pt x="131" y="400"/>
                  </a:lnTo>
                  <a:lnTo>
                    <a:pt x="125" y="394"/>
                  </a:lnTo>
                  <a:lnTo>
                    <a:pt x="125" y="394"/>
                  </a:lnTo>
                  <a:lnTo>
                    <a:pt x="124" y="384"/>
                  </a:lnTo>
                  <a:lnTo>
                    <a:pt x="124" y="365"/>
                  </a:lnTo>
                  <a:lnTo>
                    <a:pt x="124" y="331"/>
                  </a:lnTo>
                  <a:lnTo>
                    <a:pt x="124" y="331"/>
                  </a:lnTo>
                  <a:lnTo>
                    <a:pt x="125" y="322"/>
                  </a:lnTo>
                  <a:lnTo>
                    <a:pt x="126" y="313"/>
                  </a:lnTo>
                  <a:lnTo>
                    <a:pt x="131" y="303"/>
                  </a:lnTo>
                  <a:lnTo>
                    <a:pt x="131" y="303"/>
                  </a:lnTo>
                  <a:lnTo>
                    <a:pt x="138" y="299"/>
                  </a:lnTo>
                  <a:lnTo>
                    <a:pt x="150" y="293"/>
                  </a:lnTo>
                  <a:lnTo>
                    <a:pt x="150" y="293"/>
                  </a:lnTo>
                  <a:lnTo>
                    <a:pt x="153" y="292"/>
                  </a:lnTo>
                  <a:lnTo>
                    <a:pt x="154" y="289"/>
                  </a:lnTo>
                  <a:lnTo>
                    <a:pt x="153" y="283"/>
                  </a:lnTo>
                  <a:lnTo>
                    <a:pt x="151" y="277"/>
                  </a:lnTo>
                  <a:lnTo>
                    <a:pt x="151" y="274"/>
                  </a:lnTo>
                  <a:lnTo>
                    <a:pt x="151" y="271"/>
                  </a:lnTo>
                  <a:lnTo>
                    <a:pt x="151" y="271"/>
                  </a:lnTo>
                  <a:lnTo>
                    <a:pt x="154" y="267"/>
                  </a:lnTo>
                  <a:lnTo>
                    <a:pt x="155" y="258"/>
                  </a:lnTo>
                  <a:lnTo>
                    <a:pt x="157" y="242"/>
                  </a:lnTo>
                  <a:lnTo>
                    <a:pt x="157" y="242"/>
                  </a:lnTo>
                  <a:lnTo>
                    <a:pt x="160" y="234"/>
                  </a:lnTo>
                  <a:lnTo>
                    <a:pt x="161" y="229"/>
                  </a:lnTo>
                  <a:lnTo>
                    <a:pt x="166" y="226"/>
                  </a:lnTo>
                  <a:lnTo>
                    <a:pt x="166" y="226"/>
                  </a:lnTo>
                  <a:lnTo>
                    <a:pt x="168" y="222"/>
                  </a:lnTo>
                  <a:lnTo>
                    <a:pt x="171" y="218"/>
                  </a:lnTo>
                  <a:lnTo>
                    <a:pt x="176" y="209"/>
                  </a:lnTo>
                  <a:lnTo>
                    <a:pt x="176" y="209"/>
                  </a:lnTo>
                  <a:lnTo>
                    <a:pt x="179" y="200"/>
                  </a:lnTo>
                  <a:lnTo>
                    <a:pt x="182" y="187"/>
                  </a:lnTo>
                  <a:lnTo>
                    <a:pt x="184" y="174"/>
                  </a:lnTo>
                  <a:lnTo>
                    <a:pt x="186" y="167"/>
                  </a:lnTo>
                  <a:lnTo>
                    <a:pt x="186" y="167"/>
                  </a:lnTo>
                  <a:lnTo>
                    <a:pt x="192" y="155"/>
                  </a:lnTo>
                  <a:lnTo>
                    <a:pt x="196" y="150"/>
                  </a:lnTo>
                  <a:lnTo>
                    <a:pt x="200" y="144"/>
                  </a:lnTo>
                  <a:lnTo>
                    <a:pt x="200" y="144"/>
                  </a:lnTo>
                  <a:lnTo>
                    <a:pt x="203" y="141"/>
                  </a:lnTo>
                  <a:lnTo>
                    <a:pt x="206" y="142"/>
                  </a:lnTo>
                  <a:lnTo>
                    <a:pt x="208" y="144"/>
                  </a:lnTo>
                  <a:lnTo>
                    <a:pt x="212" y="144"/>
                  </a:lnTo>
                  <a:lnTo>
                    <a:pt x="212" y="144"/>
                  </a:lnTo>
                  <a:lnTo>
                    <a:pt x="215" y="144"/>
                  </a:lnTo>
                  <a:lnTo>
                    <a:pt x="216" y="141"/>
                  </a:lnTo>
                  <a:lnTo>
                    <a:pt x="216" y="134"/>
                  </a:lnTo>
                  <a:lnTo>
                    <a:pt x="216" y="128"/>
                  </a:lnTo>
                  <a:lnTo>
                    <a:pt x="216" y="125"/>
                  </a:lnTo>
                  <a:lnTo>
                    <a:pt x="216" y="124"/>
                  </a:lnTo>
                  <a:lnTo>
                    <a:pt x="216" y="124"/>
                  </a:lnTo>
                  <a:lnTo>
                    <a:pt x="222" y="122"/>
                  </a:lnTo>
                  <a:lnTo>
                    <a:pt x="229" y="125"/>
                  </a:lnTo>
                  <a:lnTo>
                    <a:pt x="245" y="129"/>
                  </a:lnTo>
                  <a:lnTo>
                    <a:pt x="245" y="129"/>
                  </a:lnTo>
                  <a:lnTo>
                    <a:pt x="248" y="128"/>
                  </a:lnTo>
                  <a:lnTo>
                    <a:pt x="250" y="125"/>
                  </a:lnTo>
                  <a:lnTo>
                    <a:pt x="250" y="115"/>
                  </a:lnTo>
                  <a:lnTo>
                    <a:pt x="250" y="100"/>
                  </a:lnTo>
                  <a:lnTo>
                    <a:pt x="250" y="100"/>
                  </a:lnTo>
                  <a:lnTo>
                    <a:pt x="252" y="100"/>
                  </a:lnTo>
                  <a:lnTo>
                    <a:pt x="261" y="99"/>
                  </a:lnTo>
                  <a:lnTo>
                    <a:pt x="261" y="99"/>
                  </a:lnTo>
                  <a:lnTo>
                    <a:pt x="263" y="99"/>
                  </a:lnTo>
                  <a:lnTo>
                    <a:pt x="264" y="97"/>
                  </a:lnTo>
                  <a:lnTo>
                    <a:pt x="264" y="93"/>
                  </a:lnTo>
                  <a:lnTo>
                    <a:pt x="264" y="90"/>
                  </a:lnTo>
                  <a:lnTo>
                    <a:pt x="264" y="90"/>
                  </a:lnTo>
                  <a:lnTo>
                    <a:pt x="266" y="90"/>
                  </a:lnTo>
                  <a:lnTo>
                    <a:pt x="266" y="90"/>
                  </a:lnTo>
                  <a:lnTo>
                    <a:pt x="270" y="95"/>
                  </a:lnTo>
                  <a:lnTo>
                    <a:pt x="276" y="100"/>
                  </a:lnTo>
                  <a:lnTo>
                    <a:pt x="280" y="108"/>
                  </a:lnTo>
                  <a:lnTo>
                    <a:pt x="286" y="112"/>
                  </a:lnTo>
                  <a:lnTo>
                    <a:pt x="286" y="112"/>
                  </a:lnTo>
                  <a:lnTo>
                    <a:pt x="289" y="113"/>
                  </a:lnTo>
                  <a:lnTo>
                    <a:pt x="292" y="113"/>
                  </a:lnTo>
                  <a:lnTo>
                    <a:pt x="299" y="112"/>
                  </a:lnTo>
                  <a:lnTo>
                    <a:pt x="309" y="109"/>
                  </a:lnTo>
                  <a:lnTo>
                    <a:pt x="309" y="109"/>
                  </a:lnTo>
                  <a:lnTo>
                    <a:pt x="312" y="109"/>
                  </a:lnTo>
                  <a:lnTo>
                    <a:pt x="315" y="112"/>
                  </a:lnTo>
                  <a:lnTo>
                    <a:pt x="319" y="113"/>
                  </a:lnTo>
                  <a:lnTo>
                    <a:pt x="323" y="115"/>
                  </a:lnTo>
                  <a:lnTo>
                    <a:pt x="323" y="115"/>
                  </a:lnTo>
                  <a:lnTo>
                    <a:pt x="326" y="113"/>
                  </a:lnTo>
                  <a:lnTo>
                    <a:pt x="331" y="110"/>
                  </a:lnTo>
                  <a:lnTo>
                    <a:pt x="336" y="105"/>
                  </a:lnTo>
                  <a:lnTo>
                    <a:pt x="336" y="105"/>
                  </a:lnTo>
                  <a:lnTo>
                    <a:pt x="338" y="102"/>
                  </a:lnTo>
                  <a:lnTo>
                    <a:pt x="341" y="95"/>
                  </a:lnTo>
                  <a:lnTo>
                    <a:pt x="344" y="80"/>
                  </a:lnTo>
                  <a:lnTo>
                    <a:pt x="344" y="80"/>
                  </a:lnTo>
                  <a:lnTo>
                    <a:pt x="347" y="68"/>
                  </a:lnTo>
                  <a:lnTo>
                    <a:pt x="350" y="63"/>
                  </a:lnTo>
                  <a:lnTo>
                    <a:pt x="352" y="61"/>
                  </a:lnTo>
                  <a:lnTo>
                    <a:pt x="352" y="61"/>
                  </a:lnTo>
                  <a:lnTo>
                    <a:pt x="355" y="61"/>
                  </a:lnTo>
                  <a:lnTo>
                    <a:pt x="360" y="60"/>
                  </a:lnTo>
                  <a:lnTo>
                    <a:pt x="364" y="57"/>
                  </a:lnTo>
                  <a:lnTo>
                    <a:pt x="364" y="57"/>
                  </a:lnTo>
                  <a:lnTo>
                    <a:pt x="368" y="57"/>
                  </a:lnTo>
                  <a:lnTo>
                    <a:pt x="371" y="58"/>
                  </a:lnTo>
                  <a:lnTo>
                    <a:pt x="376" y="61"/>
                  </a:lnTo>
                  <a:lnTo>
                    <a:pt x="378" y="64"/>
                  </a:lnTo>
                  <a:lnTo>
                    <a:pt x="378" y="64"/>
                  </a:lnTo>
                  <a:lnTo>
                    <a:pt x="381" y="67"/>
                  </a:lnTo>
                  <a:lnTo>
                    <a:pt x="386" y="70"/>
                  </a:lnTo>
                  <a:lnTo>
                    <a:pt x="390" y="71"/>
                  </a:lnTo>
                  <a:lnTo>
                    <a:pt x="392" y="74"/>
                  </a:lnTo>
                  <a:lnTo>
                    <a:pt x="393" y="77"/>
                  </a:lnTo>
                  <a:lnTo>
                    <a:pt x="393" y="77"/>
                  </a:lnTo>
                  <a:lnTo>
                    <a:pt x="393" y="83"/>
                  </a:lnTo>
                  <a:lnTo>
                    <a:pt x="392" y="87"/>
                  </a:lnTo>
                  <a:lnTo>
                    <a:pt x="387" y="95"/>
                  </a:lnTo>
                  <a:lnTo>
                    <a:pt x="387" y="95"/>
                  </a:lnTo>
                  <a:lnTo>
                    <a:pt x="386" y="96"/>
                  </a:lnTo>
                  <a:lnTo>
                    <a:pt x="386" y="100"/>
                  </a:lnTo>
                  <a:lnTo>
                    <a:pt x="387" y="106"/>
                  </a:lnTo>
                  <a:lnTo>
                    <a:pt x="387" y="106"/>
                  </a:lnTo>
                  <a:lnTo>
                    <a:pt x="393" y="100"/>
                  </a:lnTo>
                  <a:lnTo>
                    <a:pt x="397" y="95"/>
                  </a:lnTo>
                  <a:lnTo>
                    <a:pt x="397" y="95"/>
                  </a:lnTo>
                  <a:lnTo>
                    <a:pt x="400" y="89"/>
                  </a:lnTo>
                  <a:lnTo>
                    <a:pt x="403" y="87"/>
                  </a:lnTo>
                  <a:lnTo>
                    <a:pt x="406" y="86"/>
                  </a:lnTo>
                  <a:lnTo>
                    <a:pt x="406" y="86"/>
                  </a:lnTo>
                  <a:lnTo>
                    <a:pt x="409" y="83"/>
                  </a:lnTo>
                  <a:lnTo>
                    <a:pt x="410" y="79"/>
                  </a:lnTo>
                  <a:lnTo>
                    <a:pt x="416" y="67"/>
                  </a:lnTo>
                  <a:lnTo>
                    <a:pt x="416" y="67"/>
                  </a:lnTo>
                  <a:lnTo>
                    <a:pt x="413" y="67"/>
                  </a:lnTo>
                  <a:lnTo>
                    <a:pt x="413" y="67"/>
                  </a:lnTo>
                  <a:lnTo>
                    <a:pt x="407" y="66"/>
                  </a:lnTo>
                  <a:lnTo>
                    <a:pt x="402" y="64"/>
                  </a:lnTo>
                  <a:lnTo>
                    <a:pt x="399" y="61"/>
                  </a:lnTo>
                  <a:lnTo>
                    <a:pt x="397" y="60"/>
                  </a:lnTo>
                  <a:lnTo>
                    <a:pt x="397" y="60"/>
                  </a:lnTo>
                  <a:lnTo>
                    <a:pt x="396" y="57"/>
                  </a:lnTo>
                  <a:lnTo>
                    <a:pt x="392" y="55"/>
                  </a:lnTo>
                  <a:lnTo>
                    <a:pt x="386" y="53"/>
                  </a:lnTo>
                  <a:lnTo>
                    <a:pt x="381" y="51"/>
                  </a:lnTo>
                  <a:lnTo>
                    <a:pt x="381" y="51"/>
                  </a:lnTo>
                  <a:lnTo>
                    <a:pt x="381" y="50"/>
                  </a:lnTo>
                  <a:lnTo>
                    <a:pt x="381" y="50"/>
                  </a:lnTo>
                  <a:lnTo>
                    <a:pt x="386" y="50"/>
                  </a:lnTo>
                  <a:lnTo>
                    <a:pt x="396" y="51"/>
                  </a:lnTo>
                  <a:lnTo>
                    <a:pt x="396" y="51"/>
                  </a:lnTo>
                  <a:lnTo>
                    <a:pt x="403" y="51"/>
                  </a:lnTo>
                  <a:lnTo>
                    <a:pt x="407" y="50"/>
                  </a:lnTo>
                  <a:lnTo>
                    <a:pt x="407" y="50"/>
                  </a:lnTo>
                  <a:lnTo>
                    <a:pt x="413" y="45"/>
                  </a:lnTo>
                  <a:lnTo>
                    <a:pt x="419" y="39"/>
                  </a:lnTo>
                  <a:lnTo>
                    <a:pt x="419" y="39"/>
                  </a:lnTo>
                  <a:lnTo>
                    <a:pt x="419" y="37"/>
                  </a:lnTo>
                  <a:lnTo>
                    <a:pt x="419" y="35"/>
                  </a:lnTo>
                  <a:lnTo>
                    <a:pt x="418" y="32"/>
                  </a:lnTo>
                  <a:lnTo>
                    <a:pt x="415" y="32"/>
                  </a:lnTo>
                  <a:lnTo>
                    <a:pt x="415" y="32"/>
                  </a:lnTo>
                  <a:lnTo>
                    <a:pt x="412" y="31"/>
                  </a:lnTo>
                  <a:lnTo>
                    <a:pt x="409" y="29"/>
                  </a:lnTo>
                  <a:lnTo>
                    <a:pt x="406" y="26"/>
                  </a:lnTo>
                  <a:lnTo>
                    <a:pt x="403" y="25"/>
                  </a:lnTo>
                  <a:lnTo>
                    <a:pt x="403" y="25"/>
                  </a:lnTo>
                  <a:lnTo>
                    <a:pt x="400" y="24"/>
                  </a:lnTo>
                  <a:lnTo>
                    <a:pt x="399" y="22"/>
                  </a:lnTo>
                  <a:lnTo>
                    <a:pt x="397" y="22"/>
                  </a:lnTo>
                  <a:lnTo>
                    <a:pt x="394" y="22"/>
                  </a:lnTo>
                  <a:lnTo>
                    <a:pt x="394" y="22"/>
                  </a:lnTo>
                  <a:lnTo>
                    <a:pt x="393" y="22"/>
                  </a:lnTo>
                  <a:lnTo>
                    <a:pt x="392" y="19"/>
                  </a:lnTo>
                  <a:lnTo>
                    <a:pt x="392" y="16"/>
                  </a:lnTo>
                  <a:lnTo>
                    <a:pt x="389" y="12"/>
                  </a:lnTo>
                  <a:lnTo>
                    <a:pt x="389" y="12"/>
                  </a:lnTo>
                  <a:lnTo>
                    <a:pt x="386" y="11"/>
                  </a:lnTo>
                  <a:lnTo>
                    <a:pt x="383" y="12"/>
                  </a:lnTo>
                  <a:lnTo>
                    <a:pt x="380" y="18"/>
                  </a:lnTo>
                  <a:lnTo>
                    <a:pt x="380" y="18"/>
                  </a:lnTo>
                  <a:lnTo>
                    <a:pt x="377" y="24"/>
                  </a:lnTo>
                  <a:lnTo>
                    <a:pt x="376" y="26"/>
                  </a:lnTo>
                  <a:lnTo>
                    <a:pt x="374" y="29"/>
                  </a:lnTo>
                  <a:lnTo>
                    <a:pt x="374" y="29"/>
                  </a:lnTo>
                  <a:lnTo>
                    <a:pt x="371" y="29"/>
                  </a:lnTo>
                  <a:lnTo>
                    <a:pt x="371" y="28"/>
                  </a:lnTo>
                  <a:lnTo>
                    <a:pt x="374" y="24"/>
                  </a:lnTo>
                  <a:lnTo>
                    <a:pt x="374" y="24"/>
                  </a:lnTo>
                  <a:lnTo>
                    <a:pt x="374" y="24"/>
                  </a:lnTo>
                  <a:lnTo>
                    <a:pt x="373" y="22"/>
                  </a:lnTo>
                  <a:lnTo>
                    <a:pt x="370" y="24"/>
                  </a:lnTo>
                  <a:lnTo>
                    <a:pt x="370" y="24"/>
                  </a:lnTo>
                  <a:lnTo>
                    <a:pt x="368" y="22"/>
                  </a:lnTo>
                  <a:lnTo>
                    <a:pt x="367" y="22"/>
                  </a:lnTo>
                  <a:lnTo>
                    <a:pt x="370" y="18"/>
                  </a:lnTo>
                  <a:lnTo>
                    <a:pt x="370" y="18"/>
                  </a:lnTo>
                  <a:lnTo>
                    <a:pt x="374" y="13"/>
                  </a:lnTo>
                  <a:lnTo>
                    <a:pt x="377" y="8"/>
                  </a:lnTo>
                  <a:lnTo>
                    <a:pt x="377" y="8"/>
                  </a:lnTo>
                  <a:lnTo>
                    <a:pt x="374" y="3"/>
                  </a:lnTo>
                  <a:lnTo>
                    <a:pt x="373" y="2"/>
                  </a:lnTo>
                  <a:lnTo>
                    <a:pt x="371" y="2"/>
                  </a:lnTo>
                  <a:lnTo>
                    <a:pt x="371" y="2"/>
                  </a:lnTo>
                  <a:lnTo>
                    <a:pt x="368" y="3"/>
                  </a:lnTo>
                  <a:lnTo>
                    <a:pt x="365" y="2"/>
                  </a:lnTo>
                  <a:lnTo>
                    <a:pt x="363" y="2"/>
                  </a:lnTo>
                  <a:lnTo>
                    <a:pt x="361" y="3"/>
                  </a:lnTo>
                  <a:lnTo>
                    <a:pt x="361" y="3"/>
                  </a:lnTo>
                  <a:lnTo>
                    <a:pt x="358" y="6"/>
                  </a:lnTo>
                  <a:lnTo>
                    <a:pt x="357" y="12"/>
                  </a:lnTo>
                  <a:lnTo>
                    <a:pt x="354" y="24"/>
                  </a:lnTo>
                  <a:lnTo>
                    <a:pt x="354" y="24"/>
                  </a:lnTo>
                  <a:lnTo>
                    <a:pt x="354" y="26"/>
                  </a:lnTo>
                  <a:lnTo>
                    <a:pt x="352" y="28"/>
                  </a:lnTo>
                  <a:lnTo>
                    <a:pt x="348" y="29"/>
                  </a:lnTo>
                  <a:lnTo>
                    <a:pt x="348" y="29"/>
                  </a:lnTo>
                  <a:lnTo>
                    <a:pt x="347" y="28"/>
                  </a:lnTo>
                  <a:lnTo>
                    <a:pt x="347" y="25"/>
                  </a:lnTo>
                  <a:lnTo>
                    <a:pt x="348" y="16"/>
                  </a:lnTo>
                  <a:lnTo>
                    <a:pt x="351" y="0"/>
                  </a:lnTo>
                  <a:lnTo>
                    <a:pt x="351" y="0"/>
                  </a:lnTo>
                  <a:lnTo>
                    <a:pt x="351" y="0"/>
                  </a:lnTo>
                  <a:lnTo>
                    <a:pt x="348" y="2"/>
                  </a:lnTo>
                  <a:lnTo>
                    <a:pt x="342" y="9"/>
                  </a:lnTo>
                  <a:lnTo>
                    <a:pt x="342" y="9"/>
                  </a:lnTo>
                  <a:lnTo>
                    <a:pt x="336" y="18"/>
                  </a:lnTo>
                  <a:lnTo>
                    <a:pt x="332" y="26"/>
                  </a:lnTo>
                  <a:lnTo>
                    <a:pt x="332" y="26"/>
                  </a:lnTo>
                  <a:lnTo>
                    <a:pt x="328" y="38"/>
                  </a:lnTo>
                  <a:lnTo>
                    <a:pt x="326" y="44"/>
                  </a:lnTo>
                  <a:lnTo>
                    <a:pt x="323" y="50"/>
                  </a:lnTo>
                  <a:lnTo>
                    <a:pt x="323" y="50"/>
                  </a:lnTo>
                  <a:lnTo>
                    <a:pt x="322" y="51"/>
                  </a:lnTo>
                  <a:lnTo>
                    <a:pt x="321" y="50"/>
                  </a:lnTo>
                  <a:lnTo>
                    <a:pt x="321" y="45"/>
                  </a:lnTo>
                  <a:lnTo>
                    <a:pt x="322" y="39"/>
                  </a:lnTo>
                  <a:lnTo>
                    <a:pt x="323" y="35"/>
                  </a:lnTo>
                  <a:lnTo>
                    <a:pt x="323" y="35"/>
                  </a:lnTo>
                  <a:lnTo>
                    <a:pt x="325" y="32"/>
                  </a:lnTo>
                  <a:lnTo>
                    <a:pt x="326" y="28"/>
                  </a:lnTo>
                  <a:lnTo>
                    <a:pt x="328" y="22"/>
                  </a:lnTo>
                  <a:lnTo>
                    <a:pt x="329" y="19"/>
                  </a:lnTo>
                  <a:lnTo>
                    <a:pt x="329" y="19"/>
                  </a:lnTo>
                  <a:lnTo>
                    <a:pt x="334" y="13"/>
                  </a:lnTo>
                  <a:lnTo>
                    <a:pt x="335" y="11"/>
                  </a:lnTo>
                  <a:lnTo>
                    <a:pt x="334" y="9"/>
                  </a:lnTo>
                  <a:lnTo>
                    <a:pt x="334" y="9"/>
                  </a:lnTo>
                  <a:lnTo>
                    <a:pt x="334" y="9"/>
                  </a:lnTo>
                  <a:lnTo>
                    <a:pt x="329" y="9"/>
                  </a:lnTo>
                  <a:lnTo>
                    <a:pt x="328" y="6"/>
                  </a:lnTo>
                  <a:lnTo>
                    <a:pt x="325" y="5"/>
                  </a:lnTo>
                  <a:lnTo>
                    <a:pt x="322" y="6"/>
                  </a:lnTo>
                  <a:lnTo>
                    <a:pt x="322" y="6"/>
                  </a:lnTo>
                  <a:lnTo>
                    <a:pt x="319" y="6"/>
                  </a:lnTo>
                  <a:lnTo>
                    <a:pt x="318" y="6"/>
                  </a:lnTo>
                  <a:lnTo>
                    <a:pt x="315" y="2"/>
                  </a:lnTo>
                  <a:lnTo>
                    <a:pt x="315" y="2"/>
                  </a:lnTo>
                  <a:lnTo>
                    <a:pt x="313" y="2"/>
                  </a:lnTo>
                  <a:lnTo>
                    <a:pt x="312" y="3"/>
                  </a:lnTo>
                  <a:lnTo>
                    <a:pt x="312" y="5"/>
                  </a:lnTo>
                  <a:lnTo>
                    <a:pt x="313" y="12"/>
                  </a:lnTo>
                  <a:lnTo>
                    <a:pt x="313" y="12"/>
                  </a:lnTo>
                  <a:lnTo>
                    <a:pt x="313" y="13"/>
                  </a:lnTo>
                  <a:lnTo>
                    <a:pt x="312" y="16"/>
                  </a:lnTo>
                  <a:lnTo>
                    <a:pt x="310" y="18"/>
                  </a:lnTo>
                  <a:lnTo>
                    <a:pt x="310" y="21"/>
                  </a:lnTo>
                  <a:lnTo>
                    <a:pt x="310" y="21"/>
                  </a:lnTo>
                  <a:lnTo>
                    <a:pt x="310" y="22"/>
                  </a:lnTo>
                  <a:lnTo>
                    <a:pt x="309" y="22"/>
                  </a:lnTo>
                  <a:lnTo>
                    <a:pt x="306" y="19"/>
                  </a:lnTo>
                  <a:lnTo>
                    <a:pt x="306" y="19"/>
                  </a:lnTo>
                  <a:lnTo>
                    <a:pt x="305" y="21"/>
                  </a:lnTo>
                  <a:lnTo>
                    <a:pt x="305" y="24"/>
                  </a:lnTo>
                  <a:lnTo>
                    <a:pt x="306" y="29"/>
                  </a:lnTo>
                  <a:lnTo>
                    <a:pt x="306" y="29"/>
                  </a:lnTo>
                  <a:lnTo>
                    <a:pt x="306" y="31"/>
                  </a:lnTo>
                  <a:lnTo>
                    <a:pt x="305" y="29"/>
                  </a:lnTo>
                  <a:lnTo>
                    <a:pt x="300" y="25"/>
                  </a:lnTo>
                  <a:lnTo>
                    <a:pt x="300" y="25"/>
                  </a:lnTo>
                  <a:lnTo>
                    <a:pt x="299" y="24"/>
                  </a:lnTo>
                  <a:lnTo>
                    <a:pt x="297" y="25"/>
                  </a:lnTo>
                  <a:lnTo>
                    <a:pt x="293" y="26"/>
                  </a:lnTo>
                  <a:lnTo>
                    <a:pt x="293" y="26"/>
                  </a:lnTo>
                  <a:lnTo>
                    <a:pt x="290" y="26"/>
                  </a:lnTo>
                  <a:lnTo>
                    <a:pt x="290" y="28"/>
                  </a:lnTo>
                  <a:lnTo>
                    <a:pt x="289" y="32"/>
                  </a:lnTo>
                  <a:lnTo>
                    <a:pt x="289" y="32"/>
                  </a:lnTo>
                  <a:lnTo>
                    <a:pt x="290" y="37"/>
                  </a:lnTo>
                  <a:lnTo>
                    <a:pt x="293" y="39"/>
                  </a:lnTo>
                  <a:lnTo>
                    <a:pt x="296" y="42"/>
                  </a:lnTo>
                  <a:lnTo>
                    <a:pt x="296" y="44"/>
                  </a:lnTo>
                  <a:lnTo>
                    <a:pt x="296" y="44"/>
                  </a:lnTo>
                  <a:lnTo>
                    <a:pt x="294" y="50"/>
                  </a:lnTo>
                  <a:lnTo>
                    <a:pt x="294" y="58"/>
                  </a:lnTo>
                  <a:lnTo>
                    <a:pt x="294" y="58"/>
                  </a:lnTo>
                  <a:lnTo>
                    <a:pt x="294" y="60"/>
                  </a:lnTo>
                  <a:lnTo>
                    <a:pt x="294" y="60"/>
                  </a:lnTo>
                  <a:lnTo>
                    <a:pt x="292" y="57"/>
                  </a:lnTo>
                  <a:lnTo>
                    <a:pt x="289" y="54"/>
                  </a:lnTo>
                  <a:lnTo>
                    <a:pt x="289" y="54"/>
                  </a:lnTo>
                  <a:lnTo>
                    <a:pt x="287" y="54"/>
                  </a:lnTo>
                  <a:lnTo>
                    <a:pt x="287" y="54"/>
                  </a:lnTo>
                  <a:lnTo>
                    <a:pt x="287" y="55"/>
                  </a:lnTo>
                  <a:lnTo>
                    <a:pt x="286" y="54"/>
                  </a:lnTo>
                  <a:lnTo>
                    <a:pt x="286" y="51"/>
                  </a:lnTo>
                  <a:lnTo>
                    <a:pt x="284" y="48"/>
                  </a:lnTo>
                  <a:lnTo>
                    <a:pt x="286" y="45"/>
                  </a:lnTo>
                  <a:lnTo>
                    <a:pt x="286" y="45"/>
                  </a:lnTo>
                  <a:lnTo>
                    <a:pt x="287" y="42"/>
                  </a:lnTo>
                  <a:lnTo>
                    <a:pt x="286" y="39"/>
                  </a:lnTo>
                  <a:lnTo>
                    <a:pt x="284" y="38"/>
                  </a:lnTo>
                  <a:lnTo>
                    <a:pt x="281" y="39"/>
                  </a:lnTo>
                  <a:lnTo>
                    <a:pt x="281" y="39"/>
                  </a:lnTo>
                  <a:lnTo>
                    <a:pt x="279" y="41"/>
                  </a:lnTo>
                  <a:lnTo>
                    <a:pt x="277" y="39"/>
                  </a:lnTo>
                  <a:lnTo>
                    <a:pt x="276" y="37"/>
                  </a:lnTo>
                  <a:lnTo>
                    <a:pt x="271" y="37"/>
                  </a:lnTo>
                  <a:lnTo>
                    <a:pt x="271" y="37"/>
                  </a:lnTo>
                  <a:lnTo>
                    <a:pt x="261" y="41"/>
                  </a:lnTo>
                  <a:lnTo>
                    <a:pt x="258" y="42"/>
                  </a:lnTo>
                  <a:lnTo>
                    <a:pt x="257" y="45"/>
                  </a:lnTo>
                  <a:lnTo>
                    <a:pt x="257" y="45"/>
                  </a:lnTo>
                  <a:lnTo>
                    <a:pt x="257" y="47"/>
                  </a:lnTo>
                  <a:lnTo>
                    <a:pt x="258" y="48"/>
                  </a:lnTo>
                  <a:lnTo>
                    <a:pt x="263" y="50"/>
                  </a:lnTo>
                  <a:lnTo>
                    <a:pt x="271" y="54"/>
                  </a:lnTo>
                  <a:lnTo>
                    <a:pt x="271" y="54"/>
                  </a:lnTo>
                  <a:lnTo>
                    <a:pt x="274" y="57"/>
                  </a:lnTo>
                  <a:lnTo>
                    <a:pt x="274" y="60"/>
                  </a:lnTo>
                  <a:lnTo>
                    <a:pt x="274" y="63"/>
                  </a:lnTo>
                  <a:lnTo>
                    <a:pt x="274" y="64"/>
                  </a:lnTo>
                  <a:lnTo>
                    <a:pt x="274" y="64"/>
                  </a:lnTo>
                  <a:lnTo>
                    <a:pt x="270" y="61"/>
                  </a:lnTo>
                  <a:lnTo>
                    <a:pt x="266" y="58"/>
                  </a:lnTo>
                  <a:lnTo>
                    <a:pt x="263" y="55"/>
                  </a:lnTo>
                  <a:lnTo>
                    <a:pt x="263" y="55"/>
                  </a:lnTo>
                  <a:lnTo>
                    <a:pt x="260" y="57"/>
                  </a:lnTo>
                  <a:lnTo>
                    <a:pt x="260" y="58"/>
                  </a:lnTo>
                  <a:lnTo>
                    <a:pt x="261" y="66"/>
                  </a:lnTo>
                  <a:lnTo>
                    <a:pt x="261" y="66"/>
                  </a:lnTo>
                  <a:lnTo>
                    <a:pt x="261" y="66"/>
                  </a:lnTo>
                  <a:lnTo>
                    <a:pt x="260" y="64"/>
                  </a:lnTo>
                  <a:lnTo>
                    <a:pt x="257" y="60"/>
                  </a:lnTo>
                  <a:lnTo>
                    <a:pt x="257" y="60"/>
                  </a:lnTo>
                  <a:lnTo>
                    <a:pt x="255" y="58"/>
                  </a:lnTo>
                  <a:lnTo>
                    <a:pt x="255" y="60"/>
                  </a:lnTo>
                  <a:lnTo>
                    <a:pt x="254" y="63"/>
                  </a:lnTo>
                  <a:lnTo>
                    <a:pt x="254" y="67"/>
                  </a:lnTo>
                  <a:lnTo>
                    <a:pt x="251" y="70"/>
                  </a:lnTo>
                  <a:lnTo>
                    <a:pt x="251" y="70"/>
                  </a:lnTo>
                  <a:lnTo>
                    <a:pt x="250" y="70"/>
                  </a:lnTo>
                  <a:lnTo>
                    <a:pt x="250" y="68"/>
                  </a:lnTo>
                  <a:lnTo>
                    <a:pt x="250" y="66"/>
                  </a:lnTo>
                  <a:lnTo>
                    <a:pt x="250" y="60"/>
                  </a:lnTo>
                  <a:lnTo>
                    <a:pt x="250" y="60"/>
                  </a:lnTo>
                  <a:lnTo>
                    <a:pt x="250" y="58"/>
                  </a:lnTo>
                  <a:lnTo>
                    <a:pt x="248" y="61"/>
                  </a:lnTo>
                  <a:lnTo>
                    <a:pt x="244" y="67"/>
                  </a:lnTo>
                  <a:lnTo>
                    <a:pt x="244" y="67"/>
                  </a:lnTo>
                  <a:lnTo>
                    <a:pt x="242" y="70"/>
                  </a:lnTo>
                  <a:lnTo>
                    <a:pt x="241" y="68"/>
                  </a:lnTo>
                  <a:lnTo>
                    <a:pt x="242" y="63"/>
                  </a:lnTo>
                  <a:lnTo>
                    <a:pt x="242" y="63"/>
                  </a:lnTo>
                  <a:lnTo>
                    <a:pt x="241" y="60"/>
                  </a:lnTo>
                  <a:lnTo>
                    <a:pt x="239" y="58"/>
                  </a:lnTo>
                  <a:lnTo>
                    <a:pt x="237" y="57"/>
                  </a:lnTo>
                  <a:lnTo>
                    <a:pt x="232" y="57"/>
                  </a:lnTo>
                  <a:lnTo>
                    <a:pt x="232" y="57"/>
                  </a:lnTo>
                  <a:lnTo>
                    <a:pt x="229" y="55"/>
                  </a:lnTo>
                  <a:lnTo>
                    <a:pt x="229" y="53"/>
                  </a:lnTo>
                  <a:lnTo>
                    <a:pt x="231" y="45"/>
                  </a:lnTo>
                  <a:lnTo>
                    <a:pt x="231" y="45"/>
                  </a:lnTo>
                  <a:lnTo>
                    <a:pt x="229" y="44"/>
                  </a:lnTo>
                  <a:lnTo>
                    <a:pt x="228" y="45"/>
                  </a:lnTo>
                  <a:lnTo>
                    <a:pt x="224" y="53"/>
                  </a:lnTo>
                  <a:lnTo>
                    <a:pt x="224" y="53"/>
                  </a:lnTo>
                  <a:lnTo>
                    <a:pt x="221" y="58"/>
                  </a:lnTo>
                  <a:lnTo>
                    <a:pt x="222" y="64"/>
                  </a:lnTo>
                  <a:lnTo>
                    <a:pt x="222" y="64"/>
                  </a:lnTo>
                  <a:lnTo>
                    <a:pt x="222" y="67"/>
                  </a:lnTo>
                  <a:lnTo>
                    <a:pt x="222" y="68"/>
                  </a:lnTo>
                  <a:lnTo>
                    <a:pt x="219" y="70"/>
                  </a:lnTo>
                  <a:lnTo>
                    <a:pt x="216" y="70"/>
                  </a:lnTo>
                  <a:lnTo>
                    <a:pt x="213" y="71"/>
                  </a:lnTo>
                  <a:lnTo>
                    <a:pt x="213" y="71"/>
                  </a:lnTo>
                  <a:lnTo>
                    <a:pt x="213" y="74"/>
                  </a:lnTo>
                  <a:lnTo>
                    <a:pt x="215" y="76"/>
                  </a:lnTo>
                  <a:lnTo>
                    <a:pt x="221" y="79"/>
                  </a:lnTo>
                  <a:lnTo>
                    <a:pt x="221" y="79"/>
                  </a:lnTo>
                  <a:lnTo>
                    <a:pt x="222" y="81"/>
                  </a:lnTo>
                  <a:lnTo>
                    <a:pt x="224" y="84"/>
                  </a:lnTo>
                  <a:lnTo>
                    <a:pt x="224" y="90"/>
                  </a:lnTo>
                  <a:lnTo>
                    <a:pt x="224" y="90"/>
                  </a:lnTo>
                  <a:lnTo>
                    <a:pt x="222" y="90"/>
                  </a:lnTo>
                  <a:lnTo>
                    <a:pt x="219" y="90"/>
                  </a:lnTo>
                  <a:lnTo>
                    <a:pt x="215" y="90"/>
                  </a:lnTo>
                  <a:lnTo>
                    <a:pt x="213" y="92"/>
                  </a:lnTo>
                  <a:lnTo>
                    <a:pt x="212" y="92"/>
                  </a:lnTo>
                  <a:lnTo>
                    <a:pt x="212" y="92"/>
                  </a:lnTo>
                  <a:lnTo>
                    <a:pt x="212" y="95"/>
                  </a:lnTo>
                  <a:lnTo>
                    <a:pt x="209" y="97"/>
                  </a:lnTo>
                  <a:lnTo>
                    <a:pt x="205" y="99"/>
                  </a:lnTo>
                  <a:lnTo>
                    <a:pt x="205" y="99"/>
                  </a:lnTo>
                  <a:lnTo>
                    <a:pt x="202" y="100"/>
                  </a:lnTo>
                  <a:lnTo>
                    <a:pt x="202" y="102"/>
                  </a:lnTo>
                  <a:lnTo>
                    <a:pt x="205" y="105"/>
                  </a:lnTo>
                  <a:lnTo>
                    <a:pt x="205" y="105"/>
                  </a:lnTo>
                  <a:lnTo>
                    <a:pt x="206" y="108"/>
                  </a:lnTo>
                  <a:lnTo>
                    <a:pt x="206" y="108"/>
                  </a:lnTo>
                  <a:lnTo>
                    <a:pt x="202" y="108"/>
                  </a:lnTo>
                  <a:lnTo>
                    <a:pt x="202" y="108"/>
                  </a:lnTo>
                  <a:lnTo>
                    <a:pt x="200" y="108"/>
                  </a:lnTo>
                  <a:lnTo>
                    <a:pt x="197" y="109"/>
                  </a:lnTo>
                  <a:lnTo>
                    <a:pt x="192" y="113"/>
                  </a:lnTo>
                  <a:lnTo>
                    <a:pt x="192" y="113"/>
                  </a:lnTo>
                  <a:lnTo>
                    <a:pt x="186" y="115"/>
                  </a:lnTo>
                  <a:lnTo>
                    <a:pt x="184" y="115"/>
                  </a:lnTo>
                  <a:lnTo>
                    <a:pt x="182" y="113"/>
                  </a:lnTo>
                  <a:lnTo>
                    <a:pt x="182" y="113"/>
                  </a:lnTo>
                  <a:lnTo>
                    <a:pt x="180" y="112"/>
                  </a:lnTo>
                  <a:lnTo>
                    <a:pt x="177" y="112"/>
                  </a:lnTo>
                  <a:lnTo>
                    <a:pt x="174" y="113"/>
                  </a:lnTo>
                  <a:lnTo>
                    <a:pt x="174" y="116"/>
                  </a:lnTo>
                  <a:lnTo>
                    <a:pt x="174" y="116"/>
                  </a:lnTo>
                  <a:lnTo>
                    <a:pt x="173" y="119"/>
                  </a:lnTo>
                  <a:lnTo>
                    <a:pt x="171" y="122"/>
                  </a:lnTo>
                  <a:lnTo>
                    <a:pt x="168" y="125"/>
                  </a:lnTo>
                  <a:lnTo>
                    <a:pt x="167" y="128"/>
                  </a:lnTo>
                  <a:lnTo>
                    <a:pt x="167" y="128"/>
                  </a:lnTo>
                  <a:lnTo>
                    <a:pt x="168" y="129"/>
                  </a:lnTo>
                  <a:lnTo>
                    <a:pt x="171" y="129"/>
                  </a:lnTo>
                  <a:lnTo>
                    <a:pt x="179" y="128"/>
                  </a:lnTo>
                  <a:lnTo>
                    <a:pt x="179" y="128"/>
                  </a:lnTo>
                  <a:lnTo>
                    <a:pt x="180" y="129"/>
                  </a:lnTo>
                  <a:lnTo>
                    <a:pt x="180" y="131"/>
                  </a:lnTo>
                  <a:lnTo>
                    <a:pt x="174" y="138"/>
                  </a:lnTo>
                  <a:lnTo>
                    <a:pt x="174" y="138"/>
                  </a:lnTo>
                  <a:lnTo>
                    <a:pt x="173" y="141"/>
                  </a:lnTo>
                  <a:lnTo>
                    <a:pt x="174" y="141"/>
                  </a:lnTo>
                  <a:lnTo>
                    <a:pt x="180" y="139"/>
                  </a:lnTo>
                  <a:lnTo>
                    <a:pt x="180" y="139"/>
                  </a:lnTo>
                  <a:lnTo>
                    <a:pt x="183" y="139"/>
                  </a:lnTo>
                  <a:lnTo>
                    <a:pt x="183" y="141"/>
                  </a:lnTo>
                  <a:lnTo>
                    <a:pt x="182" y="144"/>
                  </a:lnTo>
                  <a:lnTo>
                    <a:pt x="179" y="145"/>
                  </a:lnTo>
                  <a:lnTo>
                    <a:pt x="179" y="145"/>
                  </a:lnTo>
                  <a:lnTo>
                    <a:pt x="171" y="148"/>
                  </a:lnTo>
                  <a:lnTo>
                    <a:pt x="168" y="150"/>
                  </a:lnTo>
                  <a:lnTo>
                    <a:pt x="167" y="154"/>
                  </a:lnTo>
                  <a:lnTo>
                    <a:pt x="167" y="154"/>
                  </a:lnTo>
                  <a:lnTo>
                    <a:pt x="166" y="155"/>
                  </a:lnTo>
                  <a:lnTo>
                    <a:pt x="166" y="157"/>
                  </a:lnTo>
                  <a:lnTo>
                    <a:pt x="168" y="158"/>
                  </a:lnTo>
                  <a:lnTo>
                    <a:pt x="179" y="160"/>
                  </a:lnTo>
                  <a:lnTo>
                    <a:pt x="179" y="160"/>
                  </a:lnTo>
                  <a:lnTo>
                    <a:pt x="171" y="160"/>
                  </a:lnTo>
                  <a:lnTo>
                    <a:pt x="163" y="160"/>
                  </a:lnTo>
                  <a:lnTo>
                    <a:pt x="161" y="161"/>
                  </a:lnTo>
                  <a:lnTo>
                    <a:pt x="160" y="163"/>
                  </a:lnTo>
                  <a:lnTo>
                    <a:pt x="160" y="163"/>
                  </a:lnTo>
                  <a:lnTo>
                    <a:pt x="161" y="166"/>
                  </a:lnTo>
                  <a:lnTo>
                    <a:pt x="158" y="168"/>
                  </a:lnTo>
                  <a:lnTo>
                    <a:pt x="157" y="171"/>
                  </a:lnTo>
                  <a:lnTo>
                    <a:pt x="155" y="174"/>
                  </a:lnTo>
                  <a:lnTo>
                    <a:pt x="155" y="174"/>
                  </a:lnTo>
                  <a:lnTo>
                    <a:pt x="157" y="176"/>
                  </a:lnTo>
                  <a:lnTo>
                    <a:pt x="160" y="176"/>
                  </a:lnTo>
                  <a:lnTo>
                    <a:pt x="166" y="176"/>
                  </a:lnTo>
                  <a:lnTo>
                    <a:pt x="166" y="176"/>
                  </a:lnTo>
                  <a:lnTo>
                    <a:pt x="167" y="176"/>
                  </a:lnTo>
                  <a:lnTo>
                    <a:pt x="166" y="177"/>
                  </a:lnTo>
                  <a:lnTo>
                    <a:pt x="163" y="179"/>
                  </a:lnTo>
                  <a:lnTo>
                    <a:pt x="154" y="181"/>
                  </a:lnTo>
                  <a:lnTo>
                    <a:pt x="154" y="181"/>
                  </a:lnTo>
                  <a:lnTo>
                    <a:pt x="151" y="183"/>
                  </a:lnTo>
                  <a:lnTo>
                    <a:pt x="148" y="186"/>
                  </a:lnTo>
                  <a:lnTo>
                    <a:pt x="145" y="189"/>
                  </a:lnTo>
                  <a:lnTo>
                    <a:pt x="145" y="192"/>
                  </a:lnTo>
                  <a:lnTo>
                    <a:pt x="145" y="192"/>
                  </a:lnTo>
                  <a:lnTo>
                    <a:pt x="144" y="196"/>
                  </a:lnTo>
                  <a:lnTo>
                    <a:pt x="142" y="199"/>
                  </a:lnTo>
                  <a:lnTo>
                    <a:pt x="137" y="203"/>
                  </a:lnTo>
                  <a:lnTo>
                    <a:pt x="137" y="203"/>
                  </a:lnTo>
                  <a:lnTo>
                    <a:pt x="134" y="206"/>
                  </a:lnTo>
                  <a:lnTo>
                    <a:pt x="132" y="210"/>
                  </a:lnTo>
                  <a:lnTo>
                    <a:pt x="131" y="218"/>
                  </a:lnTo>
                  <a:lnTo>
                    <a:pt x="131" y="218"/>
                  </a:lnTo>
                  <a:lnTo>
                    <a:pt x="132" y="219"/>
                  </a:lnTo>
                  <a:lnTo>
                    <a:pt x="134" y="219"/>
                  </a:lnTo>
                  <a:lnTo>
                    <a:pt x="137" y="221"/>
                  </a:lnTo>
                  <a:lnTo>
                    <a:pt x="141" y="223"/>
                  </a:lnTo>
                  <a:lnTo>
                    <a:pt x="141" y="223"/>
                  </a:lnTo>
                  <a:lnTo>
                    <a:pt x="144" y="226"/>
                  </a:lnTo>
                  <a:lnTo>
                    <a:pt x="141" y="225"/>
                  </a:lnTo>
                  <a:lnTo>
                    <a:pt x="135" y="225"/>
                  </a:lnTo>
                  <a:lnTo>
                    <a:pt x="131" y="225"/>
                  </a:lnTo>
                  <a:lnTo>
                    <a:pt x="131" y="225"/>
                  </a:lnTo>
                  <a:lnTo>
                    <a:pt x="128" y="226"/>
                  </a:lnTo>
                  <a:lnTo>
                    <a:pt x="126" y="228"/>
                  </a:lnTo>
                  <a:lnTo>
                    <a:pt x="125" y="231"/>
                  </a:lnTo>
                  <a:lnTo>
                    <a:pt x="126" y="234"/>
                  </a:lnTo>
                  <a:lnTo>
                    <a:pt x="126" y="234"/>
                  </a:lnTo>
                  <a:lnTo>
                    <a:pt x="129" y="235"/>
                  </a:lnTo>
                  <a:lnTo>
                    <a:pt x="129" y="236"/>
                  </a:lnTo>
                  <a:lnTo>
                    <a:pt x="128" y="239"/>
                  </a:lnTo>
                  <a:lnTo>
                    <a:pt x="128" y="244"/>
                  </a:lnTo>
                  <a:lnTo>
                    <a:pt x="128" y="244"/>
                  </a:lnTo>
                  <a:lnTo>
                    <a:pt x="128" y="248"/>
                  </a:lnTo>
                  <a:lnTo>
                    <a:pt x="125" y="252"/>
                  </a:lnTo>
                  <a:lnTo>
                    <a:pt x="119" y="260"/>
                  </a:lnTo>
                  <a:lnTo>
                    <a:pt x="119" y="260"/>
                  </a:lnTo>
                  <a:lnTo>
                    <a:pt x="118" y="261"/>
                  </a:lnTo>
                  <a:lnTo>
                    <a:pt x="121" y="263"/>
                  </a:lnTo>
                  <a:lnTo>
                    <a:pt x="126" y="260"/>
                  </a:lnTo>
                  <a:lnTo>
                    <a:pt x="126" y="260"/>
                  </a:lnTo>
                  <a:lnTo>
                    <a:pt x="128" y="260"/>
                  </a:lnTo>
                  <a:lnTo>
                    <a:pt x="126" y="261"/>
                  </a:lnTo>
                  <a:lnTo>
                    <a:pt x="124" y="264"/>
                  </a:lnTo>
                  <a:lnTo>
                    <a:pt x="116" y="271"/>
                  </a:lnTo>
                  <a:lnTo>
                    <a:pt x="116" y="271"/>
                  </a:lnTo>
                  <a:lnTo>
                    <a:pt x="112" y="274"/>
                  </a:lnTo>
                  <a:lnTo>
                    <a:pt x="111" y="277"/>
                  </a:lnTo>
                  <a:lnTo>
                    <a:pt x="109" y="280"/>
                  </a:lnTo>
                  <a:lnTo>
                    <a:pt x="109" y="280"/>
                  </a:lnTo>
                  <a:lnTo>
                    <a:pt x="109" y="283"/>
                  </a:lnTo>
                  <a:lnTo>
                    <a:pt x="106" y="283"/>
                  </a:lnTo>
                  <a:lnTo>
                    <a:pt x="103" y="281"/>
                  </a:lnTo>
                  <a:lnTo>
                    <a:pt x="99" y="281"/>
                  </a:lnTo>
                  <a:lnTo>
                    <a:pt x="99" y="281"/>
                  </a:lnTo>
                  <a:lnTo>
                    <a:pt x="98" y="281"/>
                  </a:lnTo>
                  <a:lnTo>
                    <a:pt x="96" y="284"/>
                  </a:lnTo>
                  <a:lnTo>
                    <a:pt x="92" y="290"/>
                  </a:lnTo>
                  <a:lnTo>
                    <a:pt x="86" y="300"/>
                  </a:lnTo>
                  <a:lnTo>
                    <a:pt x="86" y="300"/>
                  </a:lnTo>
                  <a:lnTo>
                    <a:pt x="77" y="312"/>
                  </a:lnTo>
                  <a:lnTo>
                    <a:pt x="77" y="312"/>
                  </a:lnTo>
                  <a:lnTo>
                    <a:pt x="79" y="315"/>
                  </a:lnTo>
                  <a:lnTo>
                    <a:pt x="82" y="316"/>
                  </a:lnTo>
                  <a:lnTo>
                    <a:pt x="89" y="318"/>
                  </a:lnTo>
                  <a:lnTo>
                    <a:pt x="89" y="318"/>
                  </a:lnTo>
                  <a:lnTo>
                    <a:pt x="92" y="318"/>
                  </a:lnTo>
                  <a:lnTo>
                    <a:pt x="96" y="316"/>
                  </a:lnTo>
                  <a:lnTo>
                    <a:pt x="103" y="312"/>
                  </a:lnTo>
                  <a:lnTo>
                    <a:pt x="103" y="312"/>
                  </a:lnTo>
                  <a:lnTo>
                    <a:pt x="99" y="318"/>
                  </a:lnTo>
                  <a:lnTo>
                    <a:pt x="93" y="322"/>
                  </a:lnTo>
                  <a:lnTo>
                    <a:pt x="89" y="325"/>
                  </a:lnTo>
                  <a:lnTo>
                    <a:pt x="89" y="325"/>
                  </a:lnTo>
                  <a:lnTo>
                    <a:pt x="86" y="325"/>
                  </a:lnTo>
                  <a:lnTo>
                    <a:pt x="84" y="323"/>
                  </a:lnTo>
                  <a:lnTo>
                    <a:pt x="83" y="322"/>
                  </a:lnTo>
                  <a:lnTo>
                    <a:pt x="82" y="320"/>
                  </a:lnTo>
                  <a:lnTo>
                    <a:pt x="82" y="320"/>
                  </a:lnTo>
                  <a:lnTo>
                    <a:pt x="80" y="322"/>
                  </a:lnTo>
                  <a:lnTo>
                    <a:pt x="79" y="323"/>
                  </a:lnTo>
                  <a:lnTo>
                    <a:pt x="76" y="328"/>
                  </a:lnTo>
                  <a:lnTo>
                    <a:pt x="76" y="328"/>
                  </a:lnTo>
                  <a:lnTo>
                    <a:pt x="74" y="328"/>
                  </a:lnTo>
                  <a:lnTo>
                    <a:pt x="70" y="329"/>
                  </a:lnTo>
                  <a:lnTo>
                    <a:pt x="67" y="329"/>
                  </a:lnTo>
                  <a:lnTo>
                    <a:pt x="63" y="329"/>
                  </a:lnTo>
                  <a:lnTo>
                    <a:pt x="63" y="329"/>
                  </a:lnTo>
                  <a:lnTo>
                    <a:pt x="60" y="334"/>
                  </a:lnTo>
                  <a:lnTo>
                    <a:pt x="58" y="336"/>
                  </a:lnTo>
                  <a:lnTo>
                    <a:pt x="60" y="339"/>
                  </a:lnTo>
                  <a:lnTo>
                    <a:pt x="60" y="339"/>
                  </a:lnTo>
                  <a:lnTo>
                    <a:pt x="61" y="342"/>
                  </a:lnTo>
                  <a:lnTo>
                    <a:pt x="61" y="344"/>
                  </a:lnTo>
                  <a:lnTo>
                    <a:pt x="61" y="349"/>
                  </a:lnTo>
                  <a:lnTo>
                    <a:pt x="61" y="349"/>
                  </a:lnTo>
                  <a:lnTo>
                    <a:pt x="61" y="351"/>
                  </a:lnTo>
                  <a:lnTo>
                    <a:pt x="60" y="351"/>
                  </a:lnTo>
                  <a:lnTo>
                    <a:pt x="57" y="348"/>
                  </a:lnTo>
                  <a:lnTo>
                    <a:pt x="53" y="347"/>
                  </a:lnTo>
                  <a:lnTo>
                    <a:pt x="53" y="347"/>
                  </a:lnTo>
                  <a:lnTo>
                    <a:pt x="50" y="347"/>
                  </a:lnTo>
                  <a:lnTo>
                    <a:pt x="47" y="348"/>
                  </a:lnTo>
                  <a:lnTo>
                    <a:pt x="45" y="349"/>
                  </a:lnTo>
                  <a:lnTo>
                    <a:pt x="44" y="352"/>
                  </a:lnTo>
                  <a:lnTo>
                    <a:pt x="44" y="352"/>
                  </a:lnTo>
                  <a:lnTo>
                    <a:pt x="40" y="354"/>
                  </a:lnTo>
                  <a:lnTo>
                    <a:pt x="35" y="354"/>
                  </a:lnTo>
                  <a:lnTo>
                    <a:pt x="31" y="355"/>
                  </a:lnTo>
                  <a:lnTo>
                    <a:pt x="28" y="355"/>
                  </a:lnTo>
                  <a:lnTo>
                    <a:pt x="28" y="355"/>
                  </a:lnTo>
                  <a:lnTo>
                    <a:pt x="27" y="357"/>
                  </a:lnTo>
                  <a:lnTo>
                    <a:pt x="28" y="358"/>
                  </a:lnTo>
                  <a:lnTo>
                    <a:pt x="32" y="362"/>
                  </a:lnTo>
                  <a:lnTo>
                    <a:pt x="32" y="362"/>
                  </a:lnTo>
                  <a:lnTo>
                    <a:pt x="34" y="364"/>
                  </a:lnTo>
                  <a:lnTo>
                    <a:pt x="32" y="364"/>
                  </a:lnTo>
                  <a:lnTo>
                    <a:pt x="24" y="362"/>
                  </a:lnTo>
                  <a:lnTo>
                    <a:pt x="24" y="362"/>
                  </a:lnTo>
                  <a:lnTo>
                    <a:pt x="21" y="362"/>
                  </a:lnTo>
                  <a:lnTo>
                    <a:pt x="19" y="364"/>
                  </a:lnTo>
                  <a:lnTo>
                    <a:pt x="19" y="370"/>
                  </a:lnTo>
                  <a:lnTo>
                    <a:pt x="19" y="370"/>
                  </a:lnTo>
                  <a:lnTo>
                    <a:pt x="18" y="371"/>
                  </a:lnTo>
                  <a:lnTo>
                    <a:pt x="15" y="373"/>
                  </a:lnTo>
                  <a:lnTo>
                    <a:pt x="12" y="373"/>
                  </a:lnTo>
                  <a:lnTo>
                    <a:pt x="9" y="374"/>
                  </a:lnTo>
                  <a:lnTo>
                    <a:pt x="9" y="374"/>
                  </a:lnTo>
                  <a:lnTo>
                    <a:pt x="9" y="376"/>
                  </a:lnTo>
                  <a:lnTo>
                    <a:pt x="11" y="377"/>
                  </a:lnTo>
                  <a:lnTo>
                    <a:pt x="12" y="378"/>
                  </a:lnTo>
                  <a:lnTo>
                    <a:pt x="11" y="378"/>
                  </a:lnTo>
                  <a:lnTo>
                    <a:pt x="11" y="378"/>
                  </a:lnTo>
                  <a:lnTo>
                    <a:pt x="8" y="380"/>
                  </a:lnTo>
                  <a:lnTo>
                    <a:pt x="5" y="381"/>
                  </a:lnTo>
                  <a:lnTo>
                    <a:pt x="2" y="383"/>
                  </a:lnTo>
                  <a:lnTo>
                    <a:pt x="3" y="386"/>
                  </a:lnTo>
                  <a:lnTo>
                    <a:pt x="3" y="386"/>
                  </a:lnTo>
                  <a:lnTo>
                    <a:pt x="8" y="391"/>
                  </a:lnTo>
                  <a:lnTo>
                    <a:pt x="11" y="400"/>
                  </a:lnTo>
                  <a:lnTo>
                    <a:pt x="11" y="400"/>
                  </a:lnTo>
                  <a:lnTo>
                    <a:pt x="14" y="405"/>
                  </a:lnTo>
                  <a:lnTo>
                    <a:pt x="15" y="406"/>
                  </a:lnTo>
                  <a:lnTo>
                    <a:pt x="12" y="406"/>
                  </a:lnTo>
                  <a:lnTo>
                    <a:pt x="12" y="406"/>
                  </a:lnTo>
                  <a:lnTo>
                    <a:pt x="8" y="406"/>
                  </a:lnTo>
                  <a:lnTo>
                    <a:pt x="6" y="407"/>
                  </a:lnTo>
                  <a:lnTo>
                    <a:pt x="8" y="410"/>
                  </a:lnTo>
                  <a:lnTo>
                    <a:pt x="9" y="413"/>
                  </a:lnTo>
                  <a:lnTo>
                    <a:pt x="9" y="413"/>
                  </a:lnTo>
                  <a:lnTo>
                    <a:pt x="11" y="416"/>
                  </a:lnTo>
                  <a:lnTo>
                    <a:pt x="11" y="418"/>
                  </a:lnTo>
                  <a:lnTo>
                    <a:pt x="3" y="419"/>
                  </a:lnTo>
                  <a:lnTo>
                    <a:pt x="3" y="419"/>
                  </a:lnTo>
                  <a:lnTo>
                    <a:pt x="0" y="422"/>
                  </a:lnTo>
                  <a:lnTo>
                    <a:pt x="2" y="423"/>
                  </a:lnTo>
                  <a:lnTo>
                    <a:pt x="5" y="425"/>
                  </a:lnTo>
                  <a:lnTo>
                    <a:pt x="8" y="426"/>
                  </a:lnTo>
                  <a:lnTo>
                    <a:pt x="8" y="426"/>
                  </a:lnTo>
                  <a:lnTo>
                    <a:pt x="9" y="429"/>
                  </a:lnTo>
                  <a:lnTo>
                    <a:pt x="8" y="431"/>
                  </a:lnTo>
                  <a:lnTo>
                    <a:pt x="8" y="432"/>
                  </a:lnTo>
                  <a:lnTo>
                    <a:pt x="9" y="433"/>
                  </a:lnTo>
                  <a:lnTo>
                    <a:pt x="9" y="433"/>
                  </a:lnTo>
                  <a:lnTo>
                    <a:pt x="11" y="435"/>
                  </a:lnTo>
                  <a:lnTo>
                    <a:pt x="11" y="435"/>
                  </a:lnTo>
                  <a:lnTo>
                    <a:pt x="9" y="438"/>
                  </a:lnTo>
                  <a:lnTo>
                    <a:pt x="8" y="441"/>
                  </a:lnTo>
                  <a:lnTo>
                    <a:pt x="8" y="444"/>
                  </a:lnTo>
                  <a:lnTo>
                    <a:pt x="9" y="445"/>
                  </a:lnTo>
                  <a:lnTo>
                    <a:pt x="9" y="445"/>
                  </a:lnTo>
                  <a:lnTo>
                    <a:pt x="12" y="447"/>
                  </a:lnTo>
                  <a:lnTo>
                    <a:pt x="15" y="445"/>
                  </a:lnTo>
                  <a:lnTo>
                    <a:pt x="19" y="439"/>
                  </a:lnTo>
                  <a:lnTo>
                    <a:pt x="19" y="439"/>
                  </a:lnTo>
                  <a:lnTo>
                    <a:pt x="21" y="438"/>
                  </a:lnTo>
                  <a:lnTo>
                    <a:pt x="21" y="441"/>
                  </a:lnTo>
                  <a:lnTo>
                    <a:pt x="16" y="451"/>
                  </a:lnTo>
                  <a:lnTo>
                    <a:pt x="16" y="451"/>
                  </a:lnTo>
                  <a:lnTo>
                    <a:pt x="14" y="452"/>
                  </a:lnTo>
                  <a:lnTo>
                    <a:pt x="12" y="452"/>
                  </a:lnTo>
                  <a:lnTo>
                    <a:pt x="9" y="451"/>
                  </a:lnTo>
                  <a:lnTo>
                    <a:pt x="6" y="451"/>
                  </a:lnTo>
                  <a:lnTo>
                    <a:pt x="6" y="451"/>
                  </a:lnTo>
                  <a:lnTo>
                    <a:pt x="3" y="451"/>
                  </a:lnTo>
                  <a:lnTo>
                    <a:pt x="3" y="452"/>
                  </a:lnTo>
                  <a:lnTo>
                    <a:pt x="5" y="455"/>
                  </a:lnTo>
                  <a:lnTo>
                    <a:pt x="8" y="460"/>
                  </a:lnTo>
                  <a:lnTo>
                    <a:pt x="9" y="464"/>
                  </a:lnTo>
                  <a:lnTo>
                    <a:pt x="9" y="464"/>
                  </a:lnTo>
                  <a:lnTo>
                    <a:pt x="11" y="470"/>
                  </a:lnTo>
                  <a:lnTo>
                    <a:pt x="15" y="470"/>
                  </a:lnTo>
                  <a:lnTo>
                    <a:pt x="15" y="470"/>
                  </a:lnTo>
                  <a:lnTo>
                    <a:pt x="18" y="468"/>
                  </a:lnTo>
                  <a:lnTo>
                    <a:pt x="19" y="468"/>
                  </a:lnTo>
                  <a:lnTo>
                    <a:pt x="22" y="464"/>
                  </a:lnTo>
                  <a:lnTo>
                    <a:pt x="22" y="464"/>
                  </a:lnTo>
                  <a:lnTo>
                    <a:pt x="24" y="462"/>
                  </a:lnTo>
                  <a:lnTo>
                    <a:pt x="24" y="464"/>
                  </a:lnTo>
                  <a:lnTo>
                    <a:pt x="24" y="467"/>
                  </a:lnTo>
                  <a:lnTo>
                    <a:pt x="22" y="471"/>
                  </a:lnTo>
                  <a:lnTo>
                    <a:pt x="24" y="477"/>
                  </a:lnTo>
                  <a:lnTo>
                    <a:pt x="24" y="477"/>
                  </a:lnTo>
                  <a:lnTo>
                    <a:pt x="24" y="478"/>
                  </a:lnTo>
                  <a:lnTo>
                    <a:pt x="21" y="478"/>
                  </a:lnTo>
                  <a:lnTo>
                    <a:pt x="18" y="477"/>
                  </a:lnTo>
                  <a:lnTo>
                    <a:pt x="15" y="478"/>
                  </a:lnTo>
                  <a:lnTo>
                    <a:pt x="15" y="478"/>
                  </a:lnTo>
                  <a:lnTo>
                    <a:pt x="12" y="481"/>
                  </a:lnTo>
                  <a:lnTo>
                    <a:pt x="14" y="484"/>
                  </a:lnTo>
                  <a:lnTo>
                    <a:pt x="15" y="487"/>
                  </a:lnTo>
                  <a:lnTo>
                    <a:pt x="16" y="490"/>
                  </a:lnTo>
                  <a:lnTo>
                    <a:pt x="16" y="490"/>
                  </a:lnTo>
                  <a:lnTo>
                    <a:pt x="31" y="503"/>
                  </a:lnTo>
                  <a:lnTo>
                    <a:pt x="31" y="503"/>
                  </a:lnTo>
                  <a:lnTo>
                    <a:pt x="35" y="504"/>
                  </a:lnTo>
                  <a:lnTo>
                    <a:pt x="40" y="506"/>
                  </a:lnTo>
                  <a:lnTo>
                    <a:pt x="48" y="503"/>
                  </a:lnTo>
                  <a:lnTo>
                    <a:pt x="48" y="503"/>
                  </a:lnTo>
                  <a:lnTo>
                    <a:pt x="51" y="503"/>
                  </a:lnTo>
                  <a:lnTo>
                    <a:pt x="54" y="503"/>
                  </a:lnTo>
                  <a:lnTo>
                    <a:pt x="56" y="504"/>
                  </a:lnTo>
                  <a:lnTo>
                    <a:pt x="58" y="503"/>
                  </a:lnTo>
                  <a:lnTo>
                    <a:pt x="58" y="503"/>
                  </a:lnTo>
                  <a:lnTo>
                    <a:pt x="66" y="494"/>
                  </a:lnTo>
                  <a:lnTo>
                    <a:pt x="71" y="489"/>
                  </a:lnTo>
                  <a:lnTo>
                    <a:pt x="76" y="481"/>
                  </a:lnTo>
                  <a:lnTo>
                    <a:pt x="76" y="481"/>
                  </a:lnTo>
                  <a:lnTo>
                    <a:pt x="80" y="475"/>
                  </a:lnTo>
                  <a:lnTo>
                    <a:pt x="83" y="471"/>
                  </a:lnTo>
                  <a:lnTo>
                    <a:pt x="86" y="471"/>
                  </a:lnTo>
                  <a:lnTo>
                    <a:pt x="89" y="470"/>
                  </a:lnTo>
                  <a:lnTo>
                    <a:pt x="89" y="470"/>
                  </a:lnTo>
                  <a:lnTo>
                    <a:pt x="92" y="470"/>
                  </a:lnTo>
                  <a:lnTo>
                    <a:pt x="95" y="467"/>
                  </a:lnTo>
                  <a:lnTo>
                    <a:pt x="95" y="460"/>
                  </a:lnTo>
                  <a:lnTo>
                    <a:pt x="95" y="460"/>
                  </a:lnTo>
                  <a:lnTo>
                    <a:pt x="95" y="458"/>
                  </a:lnTo>
                  <a:lnTo>
                    <a:pt x="95" y="458"/>
                  </a:lnTo>
                  <a:lnTo>
                    <a:pt x="96" y="462"/>
                  </a:lnTo>
                  <a:lnTo>
                    <a:pt x="100" y="474"/>
                  </a:lnTo>
                  <a:lnTo>
                    <a:pt x="100" y="474"/>
                  </a:lnTo>
                  <a:lnTo>
                    <a:pt x="111" y="478"/>
                  </a:lnTo>
                  <a:lnTo>
                    <a:pt x="111" y="478"/>
                  </a:lnTo>
                  <a:lnTo>
                    <a:pt x="113" y="478"/>
                  </a:lnTo>
                  <a:lnTo>
                    <a:pt x="115" y="477"/>
                  </a:lnTo>
                  <a:lnTo>
                    <a:pt x="116" y="473"/>
                  </a:lnTo>
                  <a:lnTo>
                    <a:pt x="118" y="460"/>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55" name="Freeform 726"/>
            <p:cNvSpPr>
              <a:spLocks/>
            </p:cNvSpPr>
            <p:nvPr/>
          </p:nvSpPr>
          <p:spPr bwMode="auto">
            <a:xfrm>
              <a:off x="4427538" y="2149904"/>
              <a:ext cx="665163" cy="803275"/>
            </a:xfrm>
            <a:custGeom>
              <a:avLst/>
              <a:gdLst>
                <a:gd name="T0" fmla="*/ 126 w 419"/>
                <a:gd name="T1" fmla="*/ 415 h 506"/>
                <a:gd name="T2" fmla="*/ 124 w 419"/>
                <a:gd name="T3" fmla="*/ 331 h 506"/>
                <a:gd name="T4" fmla="*/ 151 w 419"/>
                <a:gd name="T5" fmla="*/ 277 h 506"/>
                <a:gd name="T6" fmla="*/ 168 w 419"/>
                <a:gd name="T7" fmla="*/ 222 h 506"/>
                <a:gd name="T8" fmla="*/ 200 w 419"/>
                <a:gd name="T9" fmla="*/ 144 h 506"/>
                <a:gd name="T10" fmla="*/ 216 w 419"/>
                <a:gd name="T11" fmla="*/ 124 h 506"/>
                <a:gd name="T12" fmla="*/ 261 w 419"/>
                <a:gd name="T13" fmla="*/ 99 h 506"/>
                <a:gd name="T14" fmla="*/ 286 w 419"/>
                <a:gd name="T15" fmla="*/ 112 h 506"/>
                <a:gd name="T16" fmla="*/ 331 w 419"/>
                <a:gd name="T17" fmla="*/ 110 h 506"/>
                <a:gd name="T18" fmla="*/ 360 w 419"/>
                <a:gd name="T19" fmla="*/ 60 h 506"/>
                <a:gd name="T20" fmla="*/ 393 w 419"/>
                <a:gd name="T21" fmla="*/ 77 h 506"/>
                <a:gd name="T22" fmla="*/ 397 w 419"/>
                <a:gd name="T23" fmla="*/ 95 h 506"/>
                <a:gd name="T24" fmla="*/ 402 w 419"/>
                <a:gd name="T25" fmla="*/ 64 h 506"/>
                <a:gd name="T26" fmla="*/ 396 w 419"/>
                <a:gd name="T27" fmla="*/ 51 h 506"/>
                <a:gd name="T28" fmla="*/ 415 w 419"/>
                <a:gd name="T29" fmla="*/ 32 h 506"/>
                <a:gd name="T30" fmla="*/ 392 w 419"/>
                <a:gd name="T31" fmla="*/ 19 h 506"/>
                <a:gd name="T32" fmla="*/ 371 w 419"/>
                <a:gd name="T33" fmla="*/ 29 h 506"/>
                <a:gd name="T34" fmla="*/ 374 w 419"/>
                <a:gd name="T35" fmla="*/ 13 h 506"/>
                <a:gd name="T36" fmla="*/ 358 w 419"/>
                <a:gd name="T37" fmla="*/ 6 h 506"/>
                <a:gd name="T38" fmla="*/ 351 w 419"/>
                <a:gd name="T39" fmla="*/ 0 h 506"/>
                <a:gd name="T40" fmla="*/ 322 w 419"/>
                <a:gd name="T41" fmla="*/ 51 h 506"/>
                <a:gd name="T42" fmla="*/ 335 w 419"/>
                <a:gd name="T43" fmla="*/ 11 h 506"/>
                <a:gd name="T44" fmla="*/ 315 w 419"/>
                <a:gd name="T45" fmla="*/ 2 h 506"/>
                <a:gd name="T46" fmla="*/ 309 w 419"/>
                <a:gd name="T47" fmla="*/ 22 h 506"/>
                <a:gd name="T48" fmla="*/ 297 w 419"/>
                <a:gd name="T49" fmla="*/ 25 h 506"/>
                <a:gd name="T50" fmla="*/ 294 w 419"/>
                <a:gd name="T51" fmla="*/ 50 h 506"/>
                <a:gd name="T52" fmla="*/ 286 w 419"/>
                <a:gd name="T53" fmla="*/ 51 h 506"/>
                <a:gd name="T54" fmla="*/ 271 w 419"/>
                <a:gd name="T55" fmla="*/ 37 h 506"/>
                <a:gd name="T56" fmla="*/ 274 w 419"/>
                <a:gd name="T57" fmla="*/ 60 h 506"/>
                <a:gd name="T58" fmla="*/ 261 w 419"/>
                <a:gd name="T59" fmla="*/ 66 h 506"/>
                <a:gd name="T60" fmla="*/ 250 w 419"/>
                <a:gd name="T61" fmla="*/ 66 h 506"/>
                <a:gd name="T62" fmla="*/ 239 w 419"/>
                <a:gd name="T63" fmla="*/ 58 h 506"/>
                <a:gd name="T64" fmla="*/ 221 w 419"/>
                <a:gd name="T65" fmla="*/ 58 h 506"/>
                <a:gd name="T66" fmla="*/ 221 w 419"/>
                <a:gd name="T67" fmla="*/ 79 h 506"/>
                <a:gd name="T68" fmla="*/ 209 w 419"/>
                <a:gd name="T69" fmla="*/ 97 h 506"/>
                <a:gd name="T70" fmla="*/ 197 w 419"/>
                <a:gd name="T71" fmla="*/ 109 h 506"/>
                <a:gd name="T72" fmla="*/ 173 w 419"/>
                <a:gd name="T73" fmla="*/ 119 h 506"/>
                <a:gd name="T74" fmla="*/ 174 w 419"/>
                <a:gd name="T75" fmla="*/ 138 h 506"/>
                <a:gd name="T76" fmla="*/ 167 w 419"/>
                <a:gd name="T77" fmla="*/ 154 h 506"/>
                <a:gd name="T78" fmla="*/ 161 w 419"/>
                <a:gd name="T79" fmla="*/ 166 h 506"/>
                <a:gd name="T80" fmla="*/ 154 w 419"/>
                <a:gd name="T81" fmla="*/ 181 h 506"/>
                <a:gd name="T82" fmla="*/ 132 w 419"/>
                <a:gd name="T83" fmla="*/ 210 h 506"/>
                <a:gd name="T84" fmla="*/ 131 w 419"/>
                <a:gd name="T85" fmla="*/ 225 h 506"/>
                <a:gd name="T86" fmla="*/ 125 w 419"/>
                <a:gd name="T87" fmla="*/ 252 h 506"/>
                <a:gd name="T88" fmla="*/ 112 w 419"/>
                <a:gd name="T89" fmla="*/ 274 h 506"/>
                <a:gd name="T90" fmla="*/ 86 w 419"/>
                <a:gd name="T91" fmla="*/ 300 h 506"/>
                <a:gd name="T92" fmla="*/ 99 w 419"/>
                <a:gd name="T93" fmla="*/ 318 h 506"/>
                <a:gd name="T94" fmla="*/ 76 w 419"/>
                <a:gd name="T95" fmla="*/ 328 h 506"/>
                <a:gd name="T96" fmla="*/ 61 w 419"/>
                <a:gd name="T97" fmla="*/ 349 h 506"/>
                <a:gd name="T98" fmla="*/ 40 w 419"/>
                <a:gd name="T99" fmla="*/ 354 h 506"/>
                <a:gd name="T100" fmla="*/ 24 w 419"/>
                <a:gd name="T101" fmla="*/ 362 h 506"/>
                <a:gd name="T102" fmla="*/ 12 w 419"/>
                <a:gd name="T103" fmla="*/ 378 h 506"/>
                <a:gd name="T104" fmla="*/ 15 w 419"/>
                <a:gd name="T105" fmla="*/ 406 h 506"/>
                <a:gd name="T106" fmla="*/ 0 w 419"/>
                <a:gd name="T107" fmla="*/ 422 h 506"/>
                <a:gd name="T108" fmla="*/ 9 w 419"/>
                <a:gd name="T109" fmla="*/ 438 h 506"/>
                <a:gd name="T110" fmla="*/ 16 w 419"/>
                <a:gd name="T111" fmla="*/ 451 h 506"/>
                <a:gd name="T112" fmla="*/ 11 w 419"/>
                <a:gd name="T113" fmla="*/ 470 h 506"/>
                <a:gd name="T114" fmla="*/ 24 w 419"/>
                <a:gd name="T115" fmla="*/ 477 h 506"/>
                <a:gd name="T116" fmla="*/ 31 w 419"/>
                <a:gd name="T117" fmla="*/ 503 h 506"/>
                <a:gd name="T118" fmla="*/ 76 w 419"/>
                <a:gd name="T119" fmla="*/ 481 h 506"/>
                <a:gd name="T120" fmla="*/ 95 w 419"/>
                <a:gd name="T121" fmla="*/ 458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9" h="506">
                  <a:moveTo>
                    <a:pt x="118" y="460"/>
                  </a:moveTo>
                  <a:lnTo>
                    <a:pt x="118" y="460"/>
                  </a:lnTo>
                  <a:lnTo>
                    <a:pt x="119" y="454"/>
                  </a:lnTo>
                  <a:lnTo>
                    <a:pt x="121" y="449"/>
                  </a:lnTo>
                  <a:lnTo>
                    <a:pt x="126" y="441"/>
                  </a:lnTo>
                  <a:lnTo>
                    <a:pt x="126" y="441"/>
                  </a:lnTo>
                  <a:lnTo>
                    <a:pt x="128" y="438"/>
                  </a:lnTo>
                  <a:lnTo>
                    <a:pt x="129" y="435"/>
                  </a:lnTo>
                  <a:lnTo>
                    <a:pt x="128" y="429"/>
                  </a:lnTo>
                  <a:lnTo>
                    <a:pt x="126" y="422"/>
                  </a:lnTo>
                  <a:lnTo>
                    <a:pt x="126" y="415"/>
                  </a:lnTo>
                  <a:lnTo>
                    <a:pt x="126" y="415"/>
                  </a:lnTo>
                  <a:lnTo>
                    <a:pt x="126" y="410"/>
                  </a:lnTo>
                  <a:lnTo>
                    <a:pt x="128" y="409"/>
                  </a:lnTo>
                  <a:lnTo>
                    <a:pt x="132" y="406"/>
                  </a:lnTo>
                  <a:lnTo>
                    <a:pt x="132" y="406"/>
                  </a:lnTo>
                  <a:lnTo>
                    <a:pt x="132" y="406"/>
                  </a:lnTo>
                  <a:lnTo>
                    <a:pt x="132" y="405"/>
                  </a:lnTo>
                  <a:lnTo>
                    <a:pt x="131" y="400"/>
                  </a:lnTo>
                  <a:lnTo>
                    <a:pt x="125" y="394"/>
                  </a:lnTo>
                  <a:lnTo>
                    <a:pt x="125" y="394"/>
                  </a:lnTo>
                  <a:lnTo>
                    <a:pt x="124" y="384"/>
                  </a:lnTo>
                  <a:lnTo>
                    <a:pt x="124" y="365"/>
                  </a:lnTo>
                  <a:lnTo>
                    <a:pt x="124" y="331"/>
                  </a:lnTo>
                  <a:lnTo>
                    <a:pt x="124" y="331"/>
                  </a:lnTo>
                  <a:lnTo>
                    <a:pt x="125" y="322"/>
                  </a:lnTo>
                  <a:lnTo>
                    <a:pt x="126" y="313"/>
                  </a:lnTo>
                  <a:lnTo>
                    <a:pt x="131" y="303"/>
                  </a:lnTo>
                  <a:lnTo>
                    <a:pt x="131" y="303"/>
                  </a:lnTo>
                  <a:lnTo>
                    <a:pt x="138" y="299"/>
                  </a:lnTo>
                  <a:lnTo>
                    <a:pt x="150" y="293"/>
                  </a:lnTo>
                  <a:lnTo>
                    <a:pt x="150" y="293"/>
                  </a:lnTo>
                  <a:lnTo>
                    <a:pt x="153" y="292"/>
                  </a:lnTo>
                  <a:lnTo>
                    <a:pt x="154" y="289"/>
                  </a:lnTo>
                  <a:lnTo>
                    <a:pt x="153" y="283"/>
                  </a:lnTo>
                  <a:lnTo>
                    <a:pt x="151" y="277"/>
                  </a:lnTo>
                  <a:lnTo>
                    <a:pt x="151" y="274"/>
                  </a:lnTo>
                  <a:lnTo>
                    <a:pt x="151" y="271"/>
                  </a:lnTo>
                  <a:lnTo>
                    <a:pt x="151" y="271"/>
                  </a:lnTo>
                  <a:lnTo>
                    <a:pt x="154" y="267"/>
                  </a:lnTo>
                  <a:lnTo>
                    <a:pt x="155" y="258"/>
                  </a:lnTo>
                  <a:lnTo>
                    <a:pt x="157" y="242"/>
                  </a:lnTo>
                  <a:lnTo>
                    <a:pt x="157" y="242"/>
                  </a:lnTo>
                  <a:lnTo>
                    <a:pt x="160" y="234"/>
                  </a:lnTo>
                  <a:lnTo>
                    <a:pt x="161" y="229"/>
                  </a:lnTo>
                  <a:lnTo>
                    <a:pt x="166" y="226"/>
                  </a:lnTo>
                  <a:lnTo>
                    <a:pt x="166" y="226"/>
                  </a:lnTo>
                  <a:lnTo>
                    <a:pt x="168" y="222"/>
                  </a:lnTo>
                  <a:lnTo>
                    <a:pt x="171" y="218"/>
                  </a:lnTo>
                  <a:lnTo>
                    <a:pt x="176" y="209"/>
                  </a:lnTo>
                  <a:lnTo>
                    <a:pt x="176" y="209"/>
                  </a:lnTo>
                  <a:lnTo>
                    <a:pt x="179" y="200"/>
                  </a:lnTo>
                  <a:lnTo>
                    <a:pt x="182" y="187"/>
                  </a:lnTo>
                  <a:lnTo>
                    <a:pt x="184" y="174"/>
                  </a:lnTo>
                  <a:lnTo>
                    <a:pt x="186" y="167"/>
                  </a:lnTo>
                  <a:lnTo>
                    <a:pt x="186" y="167"/>
                  </a:lnTo>
                  <a:lnTo>
                    <a:pt x="192" y="155"/>
                  </a:lnTo>
                  <a:lnTo>
                    <a:pt x="196" y="150"/>
                  </a:lnTo>
                  <a:lnTo>
                    <a:pt x="200" y="144"/>
                  </a:lnTo>
                  <a:lnTo>
                    <a:pt x="200" y="144"/>
                  </a:lnTo>
                  <a:lnTo>
                    <a:pt x="203" y="141"/>
                  </a:lnTo>
                  <a:lnTo>
                    <a:pt x="206" y="142"/>
                  </a:lnTo>
                  <a:lnTo>
                    <a:pt x="208" y="144"/>
                  </a:lnTo>
                  <a:lnTo>
                    <a:pt x="212" y="144"/>
                  </a:lnTo>
                  <a:lnTo>
                    <a:pt x="212" y="144"/>
                  </a:lnTo>
                  <a:lnTo>
                    <a:pt x="215" y="144"/>
                  </a:lnTo>
                  <a:lnTo>
                    <a:pt x="216" y="141"/>
                  </a:lnTo>
                  <a:lnTo>
                    <a:pt x="216" y="134"/>
                  </a:lnTo>
                  <a:lnTo>
                    <a:pt x="216" y="128"/>
                  </a:lnTo>
                  <a:lnTo>
                    <a:pt x="216" y="125"/>
                  </a:lnTo>
                  <a:lnTo>
                    <a:pt x="216" y="124"/>
                  </a:lnTo>
                  <a:lnTo>
                    <a:pt x="216" y="124"/>
                  </a:lnTo>
                  <a:lnTo>
                    <a:pt x="222" y="122"/>
                  </a:lnTo>
                  <a:lnTo>
                    <a:pt x="229" y="125"/>
                  </a:lnTo>
                  <a:lnTo>
                    <a:pt x="245" y="129"/>
                  </a:lnTo>
                  <a:lnTo>
                    <a:pt x="245" y="129"/>
                  </a:lnTo>
                  <a:lnTo>
                    <a:pt x="248" y="128"/>
                  </a:lnTo>
                  <a:lnTo>
                    <a:pt x="250" y="125"/>
                  </a:lnTo>
                  <a:lnTo>
                    <a:pt x="250" y="115"/>
                  </a:lnTo>
                  <a:lnTo>
                    <a:pt x="250" y="100"/>
                  </a:lnTo>
                  <a:lnTo>
                    <a:pt x="250" y="100"/>
                  </a:lnTo>
                  <a:lnTo>
                    <a:pt x="252" y="100"/>
                  </a:lnTo>
                  <a:lnTo>
                    <a:pt x="261" y="99"/>
                  </a:lnTo>
                  <a:lnTo>
                    <a:pt x="261" y="99"/>
                  </a:lnTo>
                  <a:lnTo>
                    <a:pt x="263" y="99"/>
                  </a:lnTo>
                  <a:lnTo>
                    <a:pt x="264" y="97"/>
                  </a:lnTo>
                  <a:lnTo>
                    <a:pt x="264" y="93"/>
                  </a:lnTo>
                  <a:lnTo>
                    <a:pt x="264" y="90"/>
                  </a:lnTo>
                  <a:lnTo>
                    <a:pt x="264" y="90"/>
                  </a:lnTo>
                  <a:lnTo>
                    <a:pt x="266" y="90"/>
                  </a:lnTo>
                  <a:lnTo>
                    <a:pt x="266" y="90"/>
                  </a:lnTo>
                  <a:lnTo>
                    <a:pt x="270" y="95"/>
                  </a:lnTo>
                  <a:lnTo>
                    <a:pt x="276" y="100"/>
                  </a:lnTo>
                  <a:lnTo>
                    <a:pt x="280" y="108"/>
                  </a:lnTo>
                  <a:lnTo>
                    <a:pt x="286" y="112"/>
                  </a:lnTo>
                  <a:lnTo>
                    <a:pt x="286" y="112"/>
                  </a:lnTo>
                  <a:lnTo>
                    <a:pt x="289" y="113"/>
                  </a:lnTo>
                  <a:lnTo>
                    <a:pt x="292" y="113"/>
                  </a:lnTo>
                  <a:lnTo>
                    <a:pt x="299" y="112"/>
                  </a:lnTo>
                  <a:lnTo>
                    <a:pt x="309" y="109"/>
                  </a:lnTo>
                  <a:lnTo>
                    <a:pt x="309" y="109"/>
                  </a:lnTo>
                  <a:lnTo>
                    <a:pt x="312" y="109"/>
                  </a:lnTo>
                  <a:lnTo>
                    <a:pt x="315" y="112"/>
                  </a:lnTo>
                  <a:lnTo>
                    <a:pt x="319" y="113"/>
                  </a:lnTo>
                  <a:lnTo>
                    <a:pt x="323" y="115"/>
                  </a:lnTo>
                  <a:lnTo>
                    <a:pt x="323" y="115"/>
                  </a:lnTo>
                  <a:lnTo>
                    <a:pt x="326" y="113"/>
                  </a:lnTo>
                  <a:lnTo>
                    <a:pt x="331" y="110"/>
                  </a:lnTo>
                  <a:lnTo>
                    <a:pt x="336" y="105"/>
                  </a:lnTo>
                  <a:lnTo>
                    <a:pt x="336" y="105"/>
                  </a:lnTo>
                  <a:lnTo>
                    <a:pt x="338" y="102"/>
                  </a:lnTo>
                  <a:lnTo>
                    <a:pt x="341" y="95"/>
                  </a:lnTo>
                  <a:lnTo>
                    <a:pt x="344" y="80"/>
                  </a:lnTo>
                  <a:lnTo>
                    <a:pt x="344" y="80"/>
                  </a:lnTo>
                  <a:lnTo>
                    <a:pt x="347" y="68"/>
                  </a:lnTo>
                  <a:lnTo>
                    <a:pt x="350" y="63"/>
                  </a:lnTo>
                  <a:lnTo>
                    <a:pt x="352" y="61"/>
                  </a:lnTo>
                  <a:lnTo>
                    <a:pt x="352" y="61"/>
                  </a:lnTo>
                  <a:lnTo>
                    <a:pt x="355" y="61"/>
                  </a:lnTo>
                  <a:lnTo>
                    <a:pt x="360" y="60"/>
                  </a:lnTo>
                  <a:lnTo>
                    <a:pt x="364" y="57"/>
                  </a:lnTo>
                  <a:lnTo>
                    <a:pt x="364" y="57"/>
                  </a:lnTo>
                  <a:lnTo>
                    <a:pt x="368" y="57"/>
                  </a:lnTo>
                  <a:lnTo>
                    <a:pt x="371" y="58"/>
                  </a:lnTo>
                  <a:lnTo>
                    <a:pt x="376" y="61"/>
                  </a:lnTo>
                  <a:lnTo>
                    <a:pt x="378" y="64"/>
                  </a:lnTo>
                  <a:lnTo>
                    <a:pt x="378" y="64"/>
                  </a:lnTo>
                  <a:lnTo>
                    <a:pt x="381" y="67"/>
                  </a:lnTo>
                  <a:lnTo>
                    <a:pt x="386" y="70"/>
                  </a:lnTo>
                  <a:lnTo>
                    <a:pt x="390" y="71"/>
                  </a:lnTo>
                  <a:lnTo>
                    <a:pt x="392" y="74"/>
                  </a:lnTo>
                  <a:lnTo>
                    <a:pt x="393" y="77"/>
                  </a:lnTo>
                  <a:lnTo>
                    <a:pt x="393" y="77"/>
                  </a:lnTo>
                  <a:lnTo>
                    <a:pt x="393" y="83"/>
                  </a:lnTo>
                  <a:lnTo>
                    <a:pt x="392" y="87"/>
                  </a:lnTo>
                  <a:lnTo>
                    <a:pt x="387" y="95"/>
                  </a:lnTo>
                  <a:lnTo>
                    <a:pt x="387" y="95"/>
                  </a:lnTo>
                  <a:lnTo>
                    <a:pt x="386" y="96"/>
                  </a:lnTo>
                  <a:lnTo>
                    <a:pt x="386" y="100"/>
                  </a:lnTo>
                  <a:lnTo>
                    <a:pt x="387" y="106"/>
                  </a:lnTo>
                  <a:lnTo>
                    <a:pt x="387" y="106"/>
                  </a:lnTo>
                  <a:lnTo>
                    <a:pt x="393" y="100"/>
                  </a:lnTo>
                  <a:lnTo>
                    <a:pt x="397" y="95"/>
                  </a:lnTo>
                  <a:lnTo>
                    <a:pt x="397" y="95"/>
                  </a:lnTo>
                  <a:lnTo>
                    <a:pt x="400" y="89"/>
                  </a:lnTo>
                  <a:lnTo>
                    <a:pt x="403" y="87"/>
                  </a:lnTo>
                  <a:lnTo>
                    <a:pt x="406" y="86"/>
                  </a:lnTo>
                  <a:lnTo>
                    <a:pt x="406" y="86"/>
                  </a:lnTo>
                  <a:lnTo>
                    <a:pt x="409" y="83"/>
                  </a:lnTo>
                  <a:lnTo>
                    <a:pt x="410" y="79"/>
                  </a:lnTo>
                  <a:lnTo>
                    <a:pt x="416" y="67"/>
                  </a:lnTo>
                  <a:lnTo>
                    <a:pt x="416" y="67"/>
                  </a:lnTo>
                  <a:lnTo>
                    <a:pt x="413" y="67"/>
                  </a:lnTo>
                  <a:lnTo>
                    <a:pt x="413" y="67"/>
                  </a:lnTo>
                  <a:lnTo>
                    <a:pt x="407" y="66"/>
                  </a:lnTo>
                  <a:lnTo>
                    <a:pt x="402" y="64"/>
                  </a:lnTo>
                  <a:lnTo>
                    <a:pt x="399" y="61"/>
                  </a:lnTo>
                  <a:lnTo>
                    <a:pt x="397" y="60"/>
                  </a:lnTo>
                  <a:lnTo>
                    <a:pt x="397" y="60"/>
                  </a:lnTo>
                  <a:lnTo>
                    <a:pt x="396" y="57"/>
                  </a:lnTo>
                  <a:lnTo>
                    <a:pt x="392" y="55"/>
                  </a:lnTo>
                  <a:lnTo>
                    <a:pt x="386" y="53"/>
                  </a:lnTo>
                  <a:lnTo>
                    <a:pt x="381" y="51"/>
                  </a:lnTo>
                  <a:lnTo>
                    <a:pt x="381" y="51"/>
                  </a:lnTo>
                  <a:lnTo>
                    <a:pt x="381" y="50"/>
                  </a:lnTo>
                  <a:lnTo>
                    <a:pt x="381" y="50"/>
                  </a:lnTo>
                  <a:lnTo>
                    <a:pt x="386" y="50"/>
                  </a:lnTo>
                  <a:lnTo>
                    <a:pt x="396" y="51"/>
                  </a:lnTo>
                  <a:lnTo>
                    <a:pt x="396" y="51"/>
                  </a:lnTo>
                  <a:lnTo>
                    <a:pt x="403" y="51"/>
                  </a:lnTo>
                  <a:lnTo>
                    <a:pt x="407" y="50"/>
                  </a:lnTo>
                  <a:lnTo>
                    <a:pt x="407" y="50"/>
                  </a:lnTo>
                  <a:lnTo>
                    <a:pt x="413" y="45"/>
                  </a:lnTo>
                  <a:lnTo>
                    <a:pt x="419" y="39"/>
                  </a:lnTo>
                  <a:lnTo>
                    <a:pt x="419" y="39"/>
                  </a:lnTo>
                  <a:lnTo>
                    <a:pt x="419" y="37"/>
                  </a:lnTo>
                  <a:lnTo>
                    <a:pt x="419" y="35"/>
                  </a:lnTo>
                  <a:lnTo>
                    <a:pt x="418" y="32"/>
                  </a:lnTo>
                  <a:lnTo>
                    <a:pt x="415" y="32"/>
                  </a:lnTo>
                  <a:lnTo>
                    <a:pt x="415" y="32"/>
                  </a:lnTo>
                  <a:lnTo>
                    <a:pt x="412" y="31"/>
                  </a:lnTo>
                  <a:lnTo>
                    <a:pt x="409" y="29"/>
                  </a:lnTo>
                  <a:lnTo>
                    <a:pt x="406" y="26"/>
                  </a:lnTo>
                  <a:lnTo>
                    <a:pt x="403" y="25"/>
                  </a:lnTo>
                  <a:lnTo>
                    <a:pt x="403" y="25"/>
                  </a:lnTo>
                  <a:lnTo>
                    <a:pt x="400" y="24"/>
                  </a:lnTo>
                  <a:lnTo>
                    <a:pt x="399" y="22"/>
                  </a:lnTo>
                  <a:lnTo>
                    <a:pt x="397" y="22"/>
                  </a:lnTo>
                  <a:lnTo>
                    <a:pt x="394" y="22"/>
                  </a:lnTo>
                  <a:lnTo>
                    <a:pt x="394" y="22"/>
                  </a:lnTo>
                  <a:lnTo>
                    <a:pt x="393" y="22"/>
                  </a:lnTo>
                  <a:lnTo>
                    <a:pt x="392" y="19"/>
                  </a:lnTo>
                  <a:lnTo>
                    <a:pt x="392" y="16"/>
                  </a:lnTo>
                  <a:lnTo>
                    <a:pt x="389" y="12"/>
                  </a:lnTo>
                  <a:lnTo>
                    <a:pt x="389" y="12"/>
                  </a:lnTo>
                  <a:lnTo>
                    <a:pt x="386" y="11"/>
                  </a:lnTo>
                  <a:lnTo>
                    <a:pt x="383" y="12"/>
                  </a:lnTo>
                  <a:lnTo>
                    <a:pt x="380" y="18"/>
                  </a:lnTo>
                  <a:lnTo>
                    <a:pt x="380" y="18"/>
                  </a:lnTo>
                  <a:lnTo>
                    <a:pt x="377" y="24"/>
                  </a:lnTo>
                  <a:lnTo>
                    <a:pt x="376" y="26"/>
                  </a:lnTo>
                  <a:lnTo>
                    <a:pt x="374" y="29"/>
                  </a:lnTo>
                  <a:lnTo>
                    <a:pt x="374" y="29"/>
                  </a:lnTo>
                  <a:lnTo>
                    <a:pt x="371" y="29"/>
                  </a:lnTo>
                  <a:lnTo>
                    <a:pt x="371" y="28"/>
                  </a:lnTo>
                  <a:lnTo>
                    <a:pt x="374" y="24"/>
                  </a:lnTo>
                  <a:lnTo>
                    <a:pt x="374" y="24"/>
                  </a:lnTo>
                  <a:lnTo>
                    <a:pt x="374" y="24"/>
                  </a:lnTo>
                  <a:lnTo>
                    <a:pt x="373" y="22"/>
                  </a:lnTo>
                  <a:lnTo>
                    <a:pt x="370" y="24"/>
                  </a:lnTo>
                  <a:lnTo>
                    <a:pt x="370" y="24"/>
                  </a:lnTo>
                  <a:lnTo>
                    <a:pt x="368" y="22"/>
                  </a:lnTo>
                  <a:lnTo>
                    <a:pt x="367" y="22"/>
                  </a:lnTo>
                  <a:lnTo>
                    <a:pt x="370" y="18"/>
                  </a:lnTo>
                  <a:lnTo>
                    <a:pt x="370" y="18"/>
                  </a:lnTo>
                  <a:lnTo>
                    <a:pt x="374" y="13"/>
                  </a:lnTo>
                  <a:lnTo>
                    <a:pt x="377" y="8"/>
                  </a:lnTo>
                  <a:lnTo>
                    <a:pt x="377" y="8"/>
                  </a:lnTo>
                  <a:lnTo>
                    <a:pt x="374" y="3"/>
                  </a:lnTo>
                  <a:lnTo>
                    <a:pt x="373" y="2"/>
                  </a:lnTo>
                  <a:lnTo>
                    <a:pt x="371" y="2"/>
                  </a:lnTo>
                  <a:lnTo>
                    <a:pt x="371" y="2"/>
                  </a:lnTo>
                  <a:lnTo>
                    <a:pt x="368" y="3"/>
                  </a:lnTo>
                  <a:lnTo>
                    <a:pt x="365" y="2"/>
                  </a:lnTo>
                  <a:lnTo>
                    <a:pt x="363" y="2"/>
                  </a:lnTo>
                  <a:lnTo>
                    <a:pt x="361" y="3"/>
                  </a:lnTo>
                  <a:lnTo>
                    <a:pt x="361" y="3"/>
                  </a:lnTo>
                  <a:lnTo>
                    <a:pt x="358" y="6"/>
                  </a:lnTo>
                  <a:lnTo>
                    <a:pt x="357" y="12"/>
                  </a:lnTo>
                  <a:lnTo>
                    <a:pt x="354" y="24"/>
                  </a:lnTo>
                  <a:lnTo>
                    <a:pt x="354" y="24"/>
                  </a:lnTo>
                  <a:lnTo>
                    <a:pt x="354" y="26"/>
                  </a:lnTo>
                  <a:lnTo>
                    <a:pt x="352" y="28"/>
                  </a:lnTo>
                  <a:lnTo>
                    <a:pt x="348" y="29"/>
                  </a:lnTo>
                  <a:lnTo>
                    <a:pt x="348" y="29"/>
                  </a:lnTo>
                  <a:lnTo>
                    <a:pt x="347" y="28"/>
                  </a:lnTo>
                  <a:lnTo>
                    <a:pt x="347" y="25"/>
                  </a:lnTo>
                  <a:lnTo>
                    <a:pt x="348" y="16"/>
                  </a:lnTo>
                  <a:lnTo>
                    <a:pt x="351" y="0"/>
                  </a:lnTo>
                  <a:lnTo>
                    <a:pt x="351" y="0"/>
                  </a:lnTo>
                  <a:lnTo>
                    <a:pt x="351" y="0"/>
                  </a:lnTo>
                  <a:lnTo>
                    <a:pt x="348" y="2"/>
                  </a:lnTo>
                  <a:lnTo>
                    <a:pt x="342" y="9"/>
                  </a:lnTo>
                  <a:lnTo>
                    <a:pt x="342" y="9"/>
                  </a:lnTo>
                  <a:lnTo>
                    <a:pt x="336" y="18"/>
                  </a:lnTo>
                  <a:lnTo>
                    <a:pt x="332" y="26"/>
                  </a:lnTo>
                  <a:lnTo>
                    <a:pt x="332" y="26"/>
                  </a:lnTo>
                  <a:lnTo>
                    <a:pt x="328" y="38"/>
                  </a:lnTo>
                  <a:lnTo>
                    <a:pt x="326" y="44"/>
                  </a:lnTo>
                  <a:lnTo>
                    <a:pt x="323" y="50"/>
                  </a:lnTo>
                  <a:lnTo>
                    <a:pt x="323" y="50"/>
                  </a:lnTo>
                  <a:lnTo>
                    <a:pt x="322" y="51"/>
                  </a:lnTo>
                  <a:lnTo>
                    <a:pt x="321" y="50"/>
                  </a:lnTo>
                  <a:lnTo>
                    <a:pt x="321" y="45"/>
                  </a:lnTo>
                  <a:lnTo>
                    <a:pt x="322" y="39"/>
                  </a:lnTo>
                  <a:lnTo>
                    <a:pt x="323" y="35"/>
                  </a:lnTo>
                  <a:lnTo>
                    <a:pt x="323" y="35"/>
                  </a:lnTo>
                  <a:lnTo>
                    <a:pt x="325" y="32"/>
                  </a:lnTo>
                  <a:lnTo>
                    <a:pt x="326" y="28"/>
                  </a:lnTo>
                  <a:lnTo>
                    <a:pt x="328" y="22"/>
                  </a:lnTo>
                  <a:lnTo>
                    <a:pt x="329" y="19"/>
                  </a:lnTo>
                  <a:lnTo>
                    <a:pt x="329" y="19"/>
                  </a:lnTo>
                  <a:lnTo>
                    <a:pt x="334" y="13"/>
                  </a:lnTo>
                  <a:lnTo>
                    <a:pt x="335" y="11"/>
                  </a:lnTo>
                  <a:lnTo>
                    <a:pt x="334" y="9"/>
                  </a:lnTo>
                  <a:lnTo>
                    <a:pt x="334" y="9"/>
                  </a:lnTo>
                  <a:lnTo>
                    <a:pt x="334" y="9"/>
                  </a:lnTo>
                  <a:lnTo>
                    <a:pt x="329" y="9"/>
                  </a:lnTo>
                  <a:lnTo>
                    <a:pt x="328" y="6"/>
                  </a:lnTo>
                  <a:lnTo>
                    <a:pt x="325" y="5"/>
                  </a:lnTo>
                  <a:lnTo>
                    <a:pt x="322" y="6"/>
                  </a:lnTo>
                  <a:lnTo>
                    <a:pt x="322" y="6"/>
                  </a:lnTo>
                  <a:lnTo>
                    <a:pt x="319" y="6"/>
                  </a:lnTo>
                  <a:lnTo>
                    <a:pt x="318" y="6"/>
                  </a:lnTo>
                  <a:lnTo>
                    <a:pt x="315" y="2"/>
                  </a:lnTo>
                  <a:lnTo>
                    <a:pt x="315" y="2"/>
                  </a:lnTo>
                  <a:lnTo>
                    <a:pt x="313" y="2"/>
                  </a:lnTo>
                  <a:lnTo>
                    <a:pt x="312" y="3"/>
                  </a:lnTo>
                  <a:lnTo>
                    <a:pt x="312" y="5"/>
                  </a:lnTo>
                  <a:lnTo>
                    <a:pt x="313" y="12"/>
                  </a:lnTo>
                  <a:lnTo>
                    <a:pt x="313" y="12"/>
                  </a:lnTo>
                  <a:lnTo>
                    <a:pt x="313" y="13"/>
                  </a:lnTo>
                  <a:lnTo>
                    <a:pt x="312" y="16"/>
                  </a:lnTo>
                  <a:lnTo>
                    <a:pt x="310" y="18"/>
                  </a:lnTo>
                  <a:lnTo>
                    <a:pt x="310" y="21"/>
                  </a:lnTo>
                  <a:lnTo>
                    <a:pt x="310" y="21"/>
                  </a:lnTo>
                  <a:lnTo>
                    <a:pt x="310" y="22"/>
                  </a:lnTo>
                  <a:lnTo>
                    <a:pt x="309" y="22"/>
                  </a:lnTo>
                  <a:lnTo>
                    <a:pt x="306" y="19"/>
                  </a:lnTo>
                  <a:lnTo>
                    <a:pt x="306" y="19"/>
                  </a:lnTo>
                  <a:lnTo>
                    <a:pt x="305" y="21"/>
                  </a:lnTo>
                  <a:lnTo>
                    <a:pt x="305" y="24"/>
                  </a:lnTo>
                  <a:lnTo>
                    <a:pt x="306" y="29"/>
                  </a:lnTo>
                  <a:lnTo>
                    <a:pt x="306" y="29"/>
                  </a:lnTo>
                  <a:lnTo>
                    <a:pt x="306" y="31"/>
                  </a:lnTo>
                  <a:lnTo>
                    <a:pt x="305" y="29"/>
                  </a:lnTo>
                  <a:lnTo>
                    <a:pt x="300" y="25"/>
                  </a:lnTo>
                  <a:lnTo>
                    <a:pt x="300" y="25"/>
                  </a:lnTo>
                  <a:lnTo>
                    <a:pt x="299" y="24"/>
                  </a:lnTo>
                  <a:lnTo>
                    <a:pt x="297" y="25"/>
                  </a:lnTo>
                  <a:lnTo>
                    <a:pt x="293" y="26"/>
                  </a:lnTo>
                  <a:lnTo>
                    <a:pt x="293" y="26"/>
                  </a:lnTo>
                  <a:lnTo>
                    <a:pt x="290" y="26"/>
                  </a:lnTo>
                  <a:lnTo>
                    <a:pt x="290" y="28"/>
                  </a:lnTo>
                  <a:lnTo>
                    <a:pt x="289" y="32"/>
                  </a:lnTo>
                  <a:lnTo>
                    <a:pt x="289" y="32"/>
                  </a:lnTo>
                  <a:lnTo>
                    <a:pt x="290" y="37"/>
                  </a:lnTo>
                  <a:lnTo>
                    <a:pt x="293" y="39"/>
                  </a:lnTo>
                  <a:lnTo>
                    <a:pt x="296" y="42"/>
                  </a:lnTo>
                  <a:lnTo>
                    <a:pt x="296" y="44"/>
                  </a:lnTo>
                  <a:lnTo>
                    <a:pt x="296" y="44"/>
                  </a:lnTo>
                  <a:lnTo>
                    <a:pt x="294" y="50"/>
                  </a:lnTo>
                  <a:lnTo>
                    <a:pt x="294" y="58"/>
                  </a:lnTo>
                  <a:lnTo>
                    <a:pt x="294" y="58"/>
                  </a:lnTo>
                  <a:lnTo>
                    <a:pt x="294" y="60"/>
                  </a:lnTo>
                  <a:lnTo>
                    <a:pt x="294" y="60"/>
                  </a:lnTo>
                  <a:lnTo>
                    <a:pt x="292" y="57"/>
                  </a:lnTo>
                  <a:lnTo>
                    <a:pt x="289" y="54"/>
                  </a:lnTo>
                  <a:lnTo>
                    <a:pt x="289" y="54"/>
                  </a:lnTo>
                  <a:lnTo>
                    <a:pt x="287" y="54"/>
                  </a:lnTo>
                  <a:lnTo>
                    <a:pt x="287" y="54"/>
                  </a:lnTo>
                  <a:lnTo>
                    <a:pt x="287" y="55"/>
                  </a:lnTo>
                  <a:lnTo>
                    <a:pt x="286" y="54"/>
                  </a:lnTo>
                  <a:lnTo>
                    <a:pt x="286" y="51"/>
                  </a:lnTo>
                  <a:lnTo>
                    <a:pt x="284" y="48"/>
                  </a:lnTo>
                  <a:lnTo>
                    <a:pt x="286" y="45"/>
                  </a:lnTo>
                  <a:lnTo>
                    <a:pt x="286" y="45"/>
                  </a:lnTo>
                  <a:lnTo>
                    <a:pt x="287" y="42"/>
                  </a:lnTo>
                  <a:lnTo>
                    <a:pt x="286" y="39"/>
                  </a:lnTo>
                  <a:lnTo>
                    <a:pt x="284" y="38"/>
                  </a:lnTo>
                  <a:lnTo>
                    <a:pt x="281" y="39"/>
                  </a:lnTo>
                  <a:lnTo>
                    <a:pt x="281" y="39"/>
                  </a:lnTo>
                  <a:lnTo>
                    <a:pt x="279" y="41"/>
                  </a:lnTo>
                  <a:lnTo>
                    <a:pt x="277" y="39"/>
                  </a:lnTo>
                  <a:lnTo>
                    <a:pt x="276" y="37"/>
                  </a:lnTo>
                  <a:lnTo>
                    <a:pt x="271" y="37"/>
                  </a:lnTo>
                  <a:lnTo>
                    <a:pt x="271" y="37"/>
                  </a:lnTo>
                  <a:lnTo>
                    <a:pt x="261" y="41"/>
                  </a:lnTo>
                  <a:lnTo>
                    <a:pt x="258" y="42"/>
                  </a:lnTo>
                  <a:lnTo>
                    <a:pt x="257" y="45"/>
                  </a:lnTo>
                  <a:lnTo>
                    <a:pt x="257" y="45"/>
                  </a:lnTo>
                  <a:lnTo>
                    <a:pt x="257" y="47"/>
                  </a:lnTo>
                  <a:lnTo>
                    <a:pt x="258" y="48"/>
                  </a:lnTo>
                  <a:lnTo>
                    <a:pt x="263" y="50"/>
                  </a:lnTo>
                  <a:lnTo>
                    <a:pt x="271" y="54"/>
                  </a:lnTo>
                  <a:lnTo>
                    <a:pt x="271" y="54"/>
                  </a:lnTo>
                  <a:lnTo>
                    <a:pt x="274" y="57"/>
                  </a:lnTo>
                  <a:lnTo>
                    <a:pt x="274" y="60"/>
                  </a:lnTo>
                  <a:lnTo>
                    <a:pt x="274" y="63"/>
                  </a:lnTo>
                  <a:lnTo>
                    <a:pt x="274" y="64"/>
                  </a:lnTo>
                  <a:lnTo>
                    <a:pt x="274" y="64"/>
                  </a:lnTo>
                  <a:lnTo>
                    <a:pt x="270" y="61"/>
                  </a:lnTo>
                  <a:lnTo>
                    <a:pt x="266" y="58"/>
                  </a:lnTo>
                  <a:lnTo>
                    <a:pt x="263" y="55"/>
                  </a:lnTo>
                  <a:lnTo>
                    <a:pt x="263" y="55"/>
                  </a:lnTo>
                  <a:lnTo>
                    <a:pt x="260" y="57"/>
                  </a:lnTo>
                  <a:lnTo>
                    <a:pt x="260" y="58"/>
                  </a:lnTo>
                  <a:lnTo>
                    <a:pt x="261" y="66"/>
                  </a:lnTo>
                  <a:lnTo>
                    <a:pt x="261" y="66"/>
                  </a:lnTo>
                  <a:lnTo>
                    <a:pt x="261" y="66"/>
                  </a:lnTo>
                  <a:lnTo>
                    <a:pt x="260" y="64"/>
                  </a:lnTo>
                  <a:lnTo>
                    <a:pt x="257" y="60"/>
                  </a:lnTo>
                  <a:lnTo>
                    <a:pt x="257" y="60"/>
                  </a:lnTo>
                  <a:lnTo>
                    <a:pt x="255" y="58"/>
                  </a:lnTo>
                  <a:lnTo>
                    <a:pt x="255" y="60"/>
                  </a:lnTo>
                  <a:lnTo>
                    <a:pt x="254" y="63"/>
                  </a:lnTo>
                  <a:lnTo>
                    <a:pt x="254" y="67"/>
                  </a:lnTo>
                  <a:lnTo>
                    <a:pt x="251" y="70"/>
                  </a:lnTo>
                  <a:lnTo>
                    <a:pt x="251" y="70"/>
                  </a:lnTo>
                  <a:lnTo>
                    <a:pt x="250" y="70"/>
                  </a:lnTo>
                  <a:lnTo>
                    <a:pt x="250" y="68"/>
                  </a:lnTo>
                  <a:lnTo>
                    <a:pt x="250" y="66"/>
                  </a:lnTo>
                  <a:lnTo>
                    <a:pt x="250" y="60"/>
                  </a:lnTo>
                  <a:lnTo>
                    <a:pt x="250" y="60"/>
                  </a:lnTo>
                  <a:lnTo>
                    <a:pt x="250" y="58"/>
                  </a:lnTo>
                  <a:lnTo>
                    <a:pt x="248" y="61"/>
                  </a:lnTo>
                  <a:lnTo>
                    <a:pt x="244" y="67"/>
                  </a:lnTo>
                  <a:lnTo>
                    <a:pt x="244" y="67"/>
                  </a:lnTo>
                  <a:lnTo>
                    <a:pt x="242" y="70"/>
                  </a:lnTo>
                  <a:lnTo>
                    <a:pt x="241" y="68"/>
                  </a:lnTo>
                  <a:lnTo>
                    <a:pt x="242" y="63"/>
                  </a:lnTo>
                  <a:lnTo>
                    <a:pt x="242" y="63"/>
                  </a:lnTo>
                  <a:lnTo>
                    <a:pt x="241" y="60"/>
                  </a:lnTo>
                  <a:lnTo>
                    <a:pt x="239" y="58"/>
                  </a:lnTo>
                  <a:lnTo>
                    <a:pt x="237" y="57"/>
                  </a:lnTo>
                  <a:lnTo>
                    <a:pt x="232" y="57"/>
                  </a:lnTo>
                  <a:lnTo>
                    <a:pt x="232" y="57"/>
                  </a:lnTo>
                  <a:lnTo>
                    <a:pt x="229" y="55"/>
                  </a:lnTo>
                  <a:lnTo>
                    <a:pt x="229" y="53"/>
                  </a:lnTo>
                  <a:lnTo>
                    <a:pt x="231" y="45"/>
                  </a:lnTo>
                  <a:lnTo>
                    <a:pt x="231" y="45"/>
                  </a:lnTo>
                  <a:lnTo>
                    <a:pt x="229" y="44"/>
                  </a:lnTo>
                  <a:lnTo>
                    <a:pt x="228" y="45"/>
                  </a:lnTo>
                  <a:lnTo>
                    <a:pt x="224" y="53"/>
                  </a:lnTo>
                  <a:lnTo>
                    <a:pt x="224" y="53"/>
                  </a:lnTo>
                  <a:lnTo>
                    <a:pt x="221" y="58"/>
                  </a:lnTo>
                  <a:lnTo>
                    <a:pt x="222" y="64"/>
                  </a:lnTo>
                  <a:lnTo>
                    <a:pt x="222" y="64"/>
                  </a:lnTo>
                  <a:lnTo>
                    <a:pt x="222" y="67"/>
                  </a:lnTo>
                  <a:lnTo>
                    <a:pt x="222" y="68"/>
                  </a:lnTo>
                  <a:lnTo>
                    <a:pt x="219" y="70"/>
                  </a:lnTo>
                  <a:lnTo>
                    <a:pt x="216" y="70"/>
                  </a:lnTo>
                  <a:lnTo>
                    <a:pt x="213" y="71"/>
                  </a:lnTo>
                  <a:lnTo>
                    <a:pt x="213" y="71"/>
                  </a:lnTo>
                  <a:lnTo>
                    <a:pt x="213" y="74"/>
                  </a:lnTo>
                  <a:lnTo>
                    <a:pt x="215" y="76"/>
                  </a:lnTo>
                  <a:lnTo>
                    <a:pt x="221" y="79"/>
                  </a:lnTo>
                  <a:lnTo>
                    <a:pt x="221" y="79"/>
                  </a:lnTo>
                  <a:lnTo>
                    <a:pt x="222" y="81"/>
                  </a:lnTo>
                  <a:lnTo>
                    <a:pt x="224" y="84"/>
                  </a:lnTo>
                  <a:lnTo>
                    <a:pt x="224" y="90"/>
                  </a:lnTo>
                  <a:lnTo>
                    <a:pt x="224" y="90"/>
                  </a:lnTo>
                  <a:lnTo>
                    <a:pt x="222" y="90"/>
                  </a:lnTo>
                  <a:lnTo>
                    <a:pt x="219" y="90"/>
                  </a:lnTo>
                  <a:lnTo>
                    <a:pt x="215" y="90"/>
                  </a:lnTo>
                  <a:lnTo>
                    <a:pt x="213" y="92"/>
                  </a:lnTo>
                  <a:lnTo>
                    <a:pt x="212" y="92"/>
                  </a:lnTo>
                  <a:lnTo>
                    <a:pt x="212" y="92"/>
                  </a:lnTo>
                  <a:lnTo>
                    <a:pt x="212" y="95"/>
                  </a:lnTo>
                  <a:lnTo>
                    <a:pt x="209" y="97"/>
                  </a:lnTo>
                  <a:lnTo>
                    <a:pt x="205" y="99"/>
                  </a:lnTo>
                  <a:lnTo>
                    <a:pt x="205" y="99"/>
                  </a:lnTo>
                  <a:lnTo>
                    <a:pt x="202" y="100"/>
                  </a:lnTo>
                  <a:lnTo>
                    <a:pt x="202" y="102"/>
                  </a:lnTo>
                  <a:lnTo>
                    <a:pt x="205" y="105"/>
                  </a:lnTo>
                  <a:lnTo>
                    <a:pt x="205" y="105"/>
                  </a:lnTo>
                  <a:lnTo>
                    <a:pt x="206" y="108"/>
                  </a:lnTo>
                  <a:lnTo>
                    <a:pt x="206" y="108"/>
                  </a:lnTo>
                  <a:lnTo>
                    <a:pt x="202" y="108"/>
                  </a:lnTo>
                  <a:lnTo>
                    <a:pt x="202" y="108"/>
                  </a:lnTo>
                  <a:lnTo>
                    <a:pt x="200" y="108"/>
                  </a:lnTo>
                  <a:lnTo>
                    <a:pt x="197" y="109"/>
                  </a:lnTo>
                  <a:lnTo>
                    <a:pt x="192" y="113"/>
                  </a:lnTo>
                  <a:lnTo>
                    <a:pt x="192" y="113"/>
                  </a:lnTo>
                  <a:lnTo>
                    <a:pt x="186" y="115"/>
                  </a:lnTo>
                  <a:lnTo>
                    <a:pt x="184" y="115"/>
                  </a:lnTo>
                  <a:lnTo>
                    <a:pt x="182" y="113"/>
                  </a:lnTo>
                  <a:lnTo>
                    <a:pt x="182" y="113"/>
                  </a:lnTo>
                  <a:lnTo>
                    <a:pt x="180" y="112"/>
                  </a:lnTo>
                  <a:lnTo>
                    <a:pt x="177" y="112"/>
                  </a:lnTo>
                  <a:lnTo>
                    <a:pt x="174" y="113"/>
                  </a:lnTo>
                  <a:lnTo>
                    <a:pt x="174" y="116"/>
                  </a:lnTo>
                  <a:lnTo>
                    <a:pt x="174" y="116"/>
                  </a:lnTo>
                  <a:lnTo>
                    <a:pt x="173" y="119"/>
                  </a:lnTo>
                  <a:lnTo>
                    <a:pt x="171" y="122"/>
                  </a:lnTo>
                  <a:lnTo>
                    <a:pt x="168" y="125"/>
                  </a:lnTo>
                  <a:lnTo>
                    <a:pt x="167" y="128"/>
                  </a:lnTo>
                  <a:lnTo>
                    <a:pt x="167" y="128"/>
                  </a:lnTo>
                  <a:lnTo>
                    <a:pt x="168" y="129"/>
                  </a:lnTo>
                  <a:lnTo>
                    <a:pt x="171" y="129"/>
                  </a:lnTo>
                  <a:lnTo>
                    <a:pt x="179" y="128"/>
                  </a:lnTo>
                  <a:lnTo>
                    <a:pt x="179" y="128"/>
                  </a:lnTo>
                  <a:lnTo>
                    <a:pt x="180" y="129"/>
                  </a:lnTo>
                  <a:lnTo>
                    <a:pt x="180" y="131"/>
                  </a:lnTo>
                  <a:lnTo>
                    <a:pt x="174" y="138"/>
                  </a:lnTo>
                  <a:lnTo>
                    <a:pt x="174" y="138"/>
                  </a:lnTo>
                  <a:lnTo>
                    <a:pt x="173" y="141"/>
                  </a:lnTo>
                  <a:lnTo>
                    <a:pt x="174" y="141"/>
                  </a:lnTo>
                  <a:lnTo>
                    <a:pt x="180" y="139"/>
                  </a:lnTo>
                  <a:lnTo>
                    <a:pt x="180" y="139"/>
                  </a:lnTo>
                  <a:lnTo>
                    <a:pt x="183" y="139"/>
                  </a:lnTo>
                  <a:lnTo>
                    <a:pt x="183" y="141"/>
                  </a:lnTo>
                  <a:lnTo>
                    <a:pt x="182" y="144"/>
                  </a:lnTo>
                  <a:lnTo>
                    <a:pt x="179" y="145"/>
                  </a:lnTo>
                  <a:lnTo>
                    <a:pt x="179" y="145"/>
                  </a:lnTo>
                  <a:lnTo>
                    <a:pt x="171" y="148"/>
                  </a:lnTo>
                  <a:lnTo>
                    <a:pt x="168" y="150"/>
                  </a:lnTo>
                  <a:lnTo>
                    <a:pt x="167" y="154"/>
                  </a:lnTo>
                  <a:lnTo>
                    <a:pt x="167" y="154"/>
                  </a:lnTo>
                  <a:lnTo>
                    <a:pt x="166" y="155"/>
                  </a:lnTo>
                  <a:lnTo>
                    <a:pt x="166" y="157"/>
                  </a:lnTo>
                  <a:lnTo>
                    <a:pt x="168" y="158"/>
                  </a:lnTo>
                  <a:lnTo>
                    <a:pt x="179" y="160"/>
                  </a:lnTo>
                  <a:lnTo>
                    <a:pt x="179" y="160"/>
                  </a:lnTo>
                  <a:lnTo>
                    <a:pt x="171" y="160"/>
                  </a:lnTo>
                  <a:lnTo>
                    <a:pt x="163" y="160"/>
                  </a:lnTo>
                  <a:lnTo>
                    <a:pt x="161" y="161"/>
                  </a:lnTo>
                  <a:lnTo>
                    <a:pt x="160" y="163"/>
                  </a:lnTo>
                  <a:lnTo>
                    <a:pt x="160" y="163"/>
                  </a:lnTo>
                  <a:lnTo>
                    <a:pt x="161" y="166"/>
                  </a:lnTo>
                  <a:lnTo>
                    <a:pt x="158" y="168"/>
                  </a:lnTo>
                  <a:lnTo>
                    <a:pt x="157" y="171"/>
                  </a:lnTo>
                  <a:lnTo>
                    <a:pt x="155" y="174"/>
                  </a:lnTo>
                  <a:lnTo>
                    <a:pt x="155" y="174"/>
                  </a:lnTo>
                  <a:lnTo>
                    <a:pt x="157" y="176"/>
                  </a:lnTo>
                  <a:lnTo>
                    <a:pt x="160" y="176"/>
                  </a:lnTo>
                  <a:lnTo>
                    <a:pt x="166" y="176"/>
                  </a:lnTo>
                  <a:lnTo>
                    <a:pt x="166" y="176"/>
                  </a:lnTo>
                  <a:lnTo>
                    <a:pt x="167" y="176"/>
                  </a:lnTo>
                  <a:lnTo>
                    <a:pt x="166" y="177"/>
                  </a:lnTo>
                  <a:lnTo>
                    <a:pt x="163" y="179"/>
                  </a:lnTo>
                  <a:lnTo>
                    <a:pt x="154" y="181"/>
                  </a:lnTo>
                  <a:lnTo>
                    <a:pt x="154" y="181"/>
                  </a:lnTo>
                  <a:lnTo>
                    <a:pt x="151" y="183"/>
                  </a:lnTo>
                  <a:lnTo>
                    <a:pt x="148" y="186"/>
                  </a:lnTo>
                  <a:lnTo>
                    <a:pt x="145" y="189"/>
                  </a:lnTo>
                  <a:lnTo>
                    <a:pt x="145" y="192"/>
                  </a:lnTo>
                  <a:lnTo>
                    <a:pt x="145" y="192"/>
                  </a:lnTo>
                  <a:lnTo>
                    <a:pt x="144" y="196"/>
                  </a:lnTo>
                  <a:lnTo>
                    <a:pt x="142" y="199"/>
                  </a:lnTo>
                  <a:lnTo>
                    <a:pt x="137" y="203"/>
                  </a:lnTo>
                  <a:lnTo>
                    <a:pt x="137" y="203"/>
                  </a:lnTo>
                  <a:lnTo>
                    <a:pt x="134" y="206"/>
                  </a:lnTo>
                  <a:lnTo>
                    <a:pt x="132" y="210"/>
                  </a:lnTo>
                  <a:lnTo>
                    <a:pt x="131" y="218"/>
                  </a:lnTo>
                  <a:lnTo>
                    <a:pt x="131" y="218"/>
                  </a:lnTo>
                  <a:lnTo>
                    <a:pt x="132" y="219"/>
                  </a:lnTo>
                  <a:lnTo>
                    <a:pt x="134" y="219"/>
                  </a:lnTo>
                  <a:lnTo>
                    <a:pt x="137" y="221"/>
                  </a:lnTo>
                  <a:lnTo>
                    <a:pt x="141" y="223"/>
                  </a:lnTo>
                  <a:lnTo>
                    <a:pt x="141" y="223"/>
                  </a:lnTo>
                  <a:lnTo>
                    <a:pt x="144" y="226"/>
                  </a:lnTo>
                  <a:lnTo>
                    <a:pt x="141" y="225"/>
                  </a:lnTo>
                  <a:lnTo>
                    <a:pt x="135" y="225"/>
                  </a:lnTo>
                  <a:lnTo>
                    <a:pt x="131" y="225"/>
                  </a:lnTo>
                  <a:lnTo>
                    <a:pt x="131" y="225"/>
                  </a:lnTo>
                  <a:lnTo>
                    <a:pt x="128" y="226"/>
                  </a:lnTo>
                  <a:lnTo>
                    <a:pt x="126" y="228"/>
                  </a:lnTo>
                  <a:lnTo>
                    <a:pt x="125" y="231"/>
                  </a:lnTo>
                  <a:lnTo>
                    <a:pt x="126" y="234"/>
                  </a:lnTo>
                  <a:lnTo>
                    <a:pt x="126" y="234"/>
                  </a:lnTo>
                  <a:lnTo>
                    <a:pt x="129" y="235"/>
                  </a:lnTo>
                  <a:lnTo>
                    <a:pt x="129" y="236"/>
                  </a:lnTo>
                  <a:lnTo>
                    <a:pt x="128" y="239"/>
                  </a:lnTo>
                  <a:lnTo>
                    <a:pt x="128" y="244"/>
                  </a:lnTo>
                  <a:lnTo>
                    <a:pt x="128" y="244"/>
                  </a:lnTo>
                  <a:lnTo>
                    <a:pt x="128" y="248"/>
                  </a:lnTo>
                  <a:lnTo>
                    <a:pt x="125" y="252"/>
                  </a:lnTo>
                  <a:lnTo>
                    <a:pt x="119" y="260"/>
                  </a:lnTo>
                  <a:lnTo>
                    <a:pt x="119" y="260"/>
                  </a:lnTo>
                  <a:lnTo>
                    <a:pt x="118" y="261"/>
                  </a:lnTo>
                  <a:lnTo>
                    <a:pt x="121" y="263"/>
                  </a:lnTo>
                  <a:lnTo>
                    <a:pt x="126" y="260"/>
                  </a:lnTo>
                  <a:lnTo>
                    <a:pt x="126" y="260"/>
                  </a:lnTo>
                  <a:lnTo>
                    <a:pt x="128" y="260"/>
                  </a:lnTo>
                  <a:lnTo>
                    <a:pt x="126" y="261"/>
                  </a:lnTo>
                  <a:lnTo>
                    <a:pt x="124" y="264"/>
                  </a:lnTo>
                  <a:lnTo>
                    <a:pt x="116" y="271"/>
                  </a:lnTo>
                  <a:lnTo>
                    <a:pt x="116" y="271"/>
                  </a:lnTo>
                  <a:lnTo>
                    <a:pt x="112" y="274"/>
                  </a:lnTo>
                  <a:lnTo>
                    <a:pt x="111" y="277"/>
                  </a:lnTo>
                  <a:lnTo>
                    <a:pt x="109" y="280"/>
                  </a:lnTo>
                  <a:lnTo>
                    <a:pt x="109" y="280"/>
                  </a:lnTo>
                  <a:lnTo>
                    <a:pt x="109" y="283"/>
                  </a:lnTo>
                  <a:lnTo>
                    <a:pt x="106" y="283"/>
                  </a:lnTo>
                  <a:lnTo>
                    <a:pt x="103" y="281"/>
                  </a:lnTo>
                  <a:lnTo>
                    <a:pt x="99" y="281"/>
                  </a:lnTo>
                  <a:lnTo>
                    <a:pt x="99" y="281"/>
                  </a:lnTo>
                  <a:lnTo>
                    <a:pt x="98" y="281"/>
                  </a:lnTo>
                  <a:lnTo>
                    <a:pt x="96" y="284"/>
                  </a:lnTo>
                  <a:lnTo>
                    <a:pt x="92" y="290"/>
                  </a:lnTo>
                  <a:lnTo>
                    <a:pt x="86" y="300"/>
                  </a:lnTo>
                  <a:lnTo>
                    <a:pt x="86" y="300"/>
                  </a:lnTo>
                  <a:lnTo>
                    <a:pt x="77" y="312"/>
                  </a:lnTo>
                  <a:lnTo>
                    <a:pt x="77" y="312"/>
                  </a:lnTo>
                  <a:lnTo>
                    <a:pt x="79" y="315"/>
                  </a:lnTo>
                  <a:lnTo>
                    <a:pt x="82" y="316"/>
                  </a:lnTo>
                  <a:lnTo>
                    <a:pt x="89" y="318"/>
                  </a:lnTo>
                  <a:lnTo>
                    <a:pt x="89" y="318"/>
                  </a:lnTo>
                  <a:lnTo>
                    <a:pt x="92" y="318"/>
                  </a:lnTo>
                  <a:lnTo>
                    <a:pt x="96" y="316"/>
                  </a:lnTo>
                  <a:lnTo>
                    <a:pt x="103" y="312"/>
                  </a:lnTo>
                  <a:lnTo>
                    <a:pt x="103" y="312"/>
                  </a:lnTo>
                  <a:lnTo>
                    <a:pt x="99" y="318"/>
                  </a:lnTo>
                  <a:lnTo>
                    <a:pt x="93" y="322"/>
                  </a:lnTo>
                  <a:lnTo>
                    <a:pt x="89" y="325"/>
                  </a:lnTo>
                  <a:lnTo>
                    <a:pt x="89" y="325"/>
                  </a:lnTo>
                  <a:lnTo>
                    <a:pt x="86" y="325"/>
                  </a:lnTo>
                  <a:lnTo>
                    <a:pt x="84" y="323"/>
                  </a:lnTo>
                  <a:lnTo>
                    <a:pt x="83" y="322"/>
                  </a:lnTo>
                  <a:lnTo>
                    <a:pt x="82" y="320"/>
                  </a:lnTo>
                  <a:lnTo>
                    <a:pt x="82" y="320"/>
                  </a:lnTo>
                  <a:lnTo>
                    <a:pt x="80" y="322"/>
                  </a:lnTo>
                  <a:lnTo>
                    <a:pt x="79" y="323"/>
                  </a:lnTo>
                  <a:lnTo>
                    <a:pt x="76" y="328"/>
                  </a:lnTo>
                  <a:lnTo>
                    <a:pt x="76" y="328"/>
                  </a:lnTo>
                  <a:lnTo>
                    <a:pt x="74" y="328"/>
                  </a:lnTo>
                  <a:lnTo>
                    <a:pt x="70" y="329"/>
                  </a:lnTo>
                  <a:lnTo>
                    <a:pt x="67" y="329"/>
                  </a:lnTo>
                  <a:lnTo>
                    <a:pt x="63" y="329"/>
                  </a:lnTo>
                  <a:lnTo>
                    <a:pt x="63" y="329"/>
                  </a:lnTo>
                  <a:lnTo>
                    <a:pt x="60" y="334"/>
                  </a:lnTo>
                  <a:lnTo>
                    <a:pt x="58" y="336"/>
                  </a:lnTo>
                  <a:lnTo>
                    <a:pt x="60" y="339"/>
                  </a:lnTo>
                  <a:lnTo>
                    <a:pt x="60" y="339"/>
                  </a:lnTo>
                  <a:lnTo>
                    <a:pt x="61" y="342"/>
                  </a:lnTo>
                  <a:lnTo>
                    <a:pt x="61" y="344"/>
                  </a:lnTo>
                  <a:lnTo>
                    <a:pt x="61" y="349"/>
                  </a:lnTo>
                  <a:lnTo>
                    <a:pt x="61" y="349"/>
                  </a:lnTo>
                  <a:lnTo>
                    <a:pt x="61" y="351"/>
                  </a:lnTo>
                  <a:lnTo>
                    <a:pt x="60" y="351"/>
                  </a:lnTo>
                  <a:lnTo>
                    <a:pt x="57" y="348"/>
                  </a:lnTo>
                  <a:lnTo>
                    <a:pt x="53" y="347"/>
                  </a:lnTo>
                  <a:lnTo>
                    <a:pt x="53" y="347"/>
                  </a:lnTo>
                  <a:lnTo>
                    <a:pt x="50" y="347"/>
                  </a:lnTo>
                  <a:lnTo>
                    <a:pt x="47" y="348"/>
                  </a:lnTo>
                  <a:lnTo>
                    <a:pt x="45" y="349"/>
                  </a:lnTo>
                  <a:lnTo>
                    <a:pt x="44" y="352"/>
                  </a:lnTo>
                  <a:lnTo>
                    <a:pt x="44" y="352"/>
                  </a:lnTo>
                  <a:lnTo>
                    <a:pt x="40" y="354"/>
                  </a:lnTo>
                  <a:lnTo>
                    <a:pt x="35" y="354"/>
                  </a:lnTo>
                  <a:lnTo>
                    <a:pt x="31" y="355"/>
                  </a:lnTo>
                  <a:lnTo>
                    <a:pt x="28" y="355"/>
                  </a:lnTo>
                  <a:lnTo>
                    <a:pt x="28" y="355"/>
                  </a:lnTo>
                  <a:lnTo>
                    <a:pt x="27" y="357"/>
                  </a:lnTo>
                  <a:lnTo>
                    <a:pt x="28" y="358"/>
                  </a:lnTo>
                  <a:lnTo>
                    <a:pt x="32" y="362"/>
                  </a:lnTo>
                  <a:lnTo>
                    <a:pt x="32" y="362"/>
                  </a:lnTo>
                  <a:lnTo>
                    <a:pt x="34" y="364"/>
                  </a:lnTo>
                  <a:lnTo>
                    <a:pt x="32" y="364"/>
                  </a:lnTo>
                  <a:lnTo>
                    <a:pt x="24" y="362"/>
                  </a:lnTo>
                  <a:lnTo>
                    <a:pt x="24" y="362"/>
                  </a:lnTo>
                  <a:lnTo>
                    <a:pt x="21" y="362"/>
                  </a:lnTo>
                  <a:lnTo>
                    <a:pt x="19" y="364"/>
                  </a:lnTo>
                  <a:lnTo>
                    <a:pt x="19" y="370"/>
                  </a:lnTo>
                  <a:lnTo>
                    <a:pt x="19" y="370"/>
                  </a:lnTo>
                  <a:lnTo>
                    <a:pt x="18" y="371"/>
                  </a:lnTo>
                  <a:lnTo>
                    <a:pt x="15" y="373"/>
                  </a:lnTo>
                  <a:lnTo>
                    <a:pt x="12" y="373"/>
                  </a:lnTo>
                  <a:lnTo>
                    <a:pt x="9" y="374"/>
                  </a:lnTo>
                  <a:lnTo>
                    <a:pt x="9" y="374"/>
                  </a:lnTo>
                  <a:lnTo>
                    <a:pt x="9" y="376"/>
                  </a:lnTo>
                  <a:lnTo>
                    <a:pt x="11" y="377"/>
                  </a:lnTo>
                  <a:lnTo>
                    <a:pt x="12" y="378"/>
                  </a:lnTo>
                  <a:lnTo>
                    <a:pt x="11" y="378"/>
                  </a:lnTo>
                  <a:lnTo>
                    <a:pt x="11" y="378"/>
                  </a:lnTo>
                  <a:lnTo>
                    <a:pt x="8" y="380"/>
                  </a:lnTo>
                  <a:lnTo>
                    <a:pt x="5" y="381"/>
                  </a:lnTo>
                  <a:lnTo>
                    <a:pt x="2" y="383"/>
                  </a:lnTo>
                  <a:lnTo>
                    <a:pt x="3" y="386"/>
                  </a:lnTo>
                  <a:lnTo>
                    <a:pt x="3" y="386"/>
                  </a:lnTo>
                  <a:lnTo>
                    <a:pt x="8" y="391"/>
                  </a:lnTo>
                  <a:lnTo>
                    <a:pt x="11" y="400"/>
                  </a:lnTo>
                  <a:lnTo>
                    <a:pt x="11" y="400"/>
                  </a:lnTo>
                  <a:lnTo>
                    <a:pt x="14" y="405"/>
                  </a:lnTo>
                  <a:lnTo>
                    <a:pt x="15" y="406"/>
                  </a:lnTo>
                  <a:lnTo>
                    <a:pt x="12" y="406"/>
                  </a:lnTo>
                  <a:lnTo>
                    <a:pt x="12" y="406"/>
                  </a:lnTo>
                  <a:lnTo>
                    <a:pt x="8" y="406"/>
                  </a:lnTo>
                  <a:lnTo>
                    <a:pt x="6" y="407"/>
                  </a:lnTo>
                  <a:lnTo>
                    <a:pt x="8" y="410"/>
                  </a:lnTo>
                  <a:lnTo>
                    <a:pt x="9" y="413"/>
                  </a:lnTo>
                  <a:lnTo>
                    <a:pt x="9" y="413"/>
                  </a:lnTo>
                  <a:lnTo>
                    <a:pt x="11" y="416"/>
                  </a:lnTo>
                  <a:lnTo>
                    <a:pt x="11" y="418"/>
                  </a:lnTo>
                  <a:lnTo>
                    <a:pt x="3" y="419"/>
                  </a:lnTo>
                  <a:lnTo>
                    <a:pt x="3" y="419"/>
                  </a:lnTo>
                  <a:lnTo>
                    <a:pt x="0" y="422"/>
                  </a:lnTo>
                  <a:lnTo>
                    <a:pt x="2" y="423"/>
                  </a:lnTo>
                  <a:lnTo>
                    <a:pt x="5" y="425"/>
                  </a:lnTo>
                  <a:lnTo>
                    <a:pt x="8" y="426"/>
                  </a:lnTo>
                  <a:lnTo>
                    <a:pt x="8" y="426"/>
                  </a:lnTo>
                  <a:lnTo>
                    <a:pt x="9" y="429"/>
                  </a:lnTo>
                  <a:lnTo>
                    <a:pt x="8" y="431"/>
                  </a:lnTo>
                  <a:lnTo>
                    <a:pt x="8" y="432"/>
                  </a:lnTo>
                  <a:lnTo>
                    <a:pt x="9" y="433"/>
                  </a:lnTo>
                  <a:lnTo>
                    <a:pt x="9" y="433"/>
                  </a:lnTo>
                  <a:lnTo>
                    <a:pt x="11" y="435"/>
                  </a:lnTo>
                  <a:lnTo>
                    <a:pt x="11" y="435"/>
                  </a:lnTo>
                  <a:lnTo>
                    <a:pt x="9" y="438"/>
                  </a:lnTo>
                  <a:lnTo>
                    <a:pt x="8" y="441"/>
                  </a:lnTo>
                  <a:lnTo>
                    <a:pt x="8" y="444"/>
                  </a:lnTo>
                  <a:lnTo>
                    <a:pt x="9" y="445"/>
                  </a:lnTo>
                  <a:lnTo>
                    <a:pt x="9" y="445"/>
                  </a:lnTo>
                  <a:lnTo>
                    <a:pt x="12" y="447"/>
                  </a:lnTo>
                  <a:lnTo>
                    <a:pt x="15" y="445"/>
                  </a:lnTo>
                  <a:lnTo>
                    <a:pt x="19" y="439"/>
                  </a:lnTo>
                  <a:lnTo>
                    <a:pt x="19" y="439"/>
                  </a:lnTo>
                  <a:lnTo>
                    <a:pt x="21" y="438"/>
                  </a:lnTo>
                  <a:lnTo>
                    <a:pt x="21" y="441"/>
                  </a:lnTo>
                  <a:lnTo>
                    <a:pt x="16" y="451"/>
                  </a:lnTo>
                  <a:lnTo>
                    <a:pt x="16" y="451"/>
                  </a:lnTo>
                  <a:lnTo>
                    <a:pt x="14" y="452"/>
                  </a:lnTo>
                  <a:lnTo>
                    <a:pt x="12" y="452"/>
                  </a:lnTo>
                  <a:lnTo>
                    <a:pt x="9" y="451"/>
                  </a:lnTo>
                  <a:lnTo>
                    <a:pt x="6" y="451"/>
                  </a:lnTo>
                  <a:lnTo>
                    <a:pt x="6" y="451"/>
                  </a:lnTo>
                  <a:lnTo>
                    <a:pt x="3" y="451"/>
                  </a:lnTo>
                  <a:lnTo>
                    <a:pt x="3" y="452"/>
                  </a:lnTo>
                  <a:lnTo>
                    <a:pt x="5" y="455"/>
                  </a:lnTo>
                  <a:lnTo>
                    <a:pt x="8" y="460"/>
                  </a:lnTo>
                  <a:lnTo>
                    <a:pt x="9" y="464"/>
                  </a:lnTo>
                  <a:lnTo>
                    <a:pt x="9" y="464"/>
                  </a:lnTo>
                  <a:lnTo>
                    <a:pt x="11" y="470"/>
                  </a:lnTo>
                  <a:lnTo>
                    <a:pt x="15" y="470"/>
                  </a:lnTo>
                  <a:lnTo>
                    <a:pt x="15" y="470"/>
                  </a:lnTo>
                  <a:lnTo>
                    <a:pt x="18" y="468"/>
                  </a:lnTo>
                  <a:lnTo>
                    <a:pt x="19" y="468"/>
                  </a:lnTo>
                  <a:lnTo>
                    <a:pt x="22" y="464"/>
                  </a:lnTo>
                  <a:lnTo>
                    <a:pt x="22" y="464"/>
                  </a:lnTo>
                  <a:lnTo>
                    <a:pt x="24" y="462"/>
                  </a:lnTo>
                  <a:lnTo>
                    <a:pt x="24" y="464"/>
                  </a:lnTo>
                  <a:lnTo>
                    <a:pt x="24" y="467"/>
                  </a:lnTo>
                  <a:lnTo>
                    <a:pt x="22" y="471"/>
                  </a:lnTo>
                  <a:lnTo>
                    <a:pt x="24" y="477"/>
                  </a:lnTo>
                  <a:lnTo>
                    <a:pt x="24" y="477"/>
                  </a:lnTo>
                  <a:lnTo>
                    <a:pt x="24" y="478"/>
                  </a:lnTo>
                  <a:lnTo>
                    <a:pt x="21" y="478"/>
                  </a:lnTo>
                  <a:lnTo>
                    <a:pt x="18" y="477"/>
                  </a:lnTo>
                  <a:lnTo>
                    <a:pt x="15" y="478"/>
                  </a:lnTo>
                  <a:lnTo>
                    <a:pt x="15" y="478"/>
                  </a:lnTo>
                  <a:lnTo>
                    <a:pt x="12" y="481"/>
                  </a:lnTo>
                  <a:lnTo>
                    <a:pt x="14" y="484"/>
                  </a:lnTo>
                  <a:lnTo>
                    <a:pt x="15" y="487"/>
                  </a:lnTo>
                  <a:lnTo>
                    <a:pt x="16" y="490"/>
                  </a:lnTo>
                  <a:lnTo>
                    <a:pt x="16" y="490"/>
                  </a:lnTo>
                  <a:lnTo>
                    <a:pt x="31" y="503"/>
                  </a:lnTo>
                  <a:lnTo>
                    <a:pt x="31" y="503"/>
                  </a:lnTo>
                  <a:lnTo>
                    <a:pt x="35" y="504"/>
                  </a:lnTo>
                  <a:lnTo>
                    <a:pt x="40" y="506"/>
                  </a:lnTo>
                  <a:lnTo>
                    <a:pt x="48" y="503"/>
                  </a:lnTo>
                  <a:lnTo>
                    <a:pt x="48" y="503"/>
                  </a:lnTo>
                  <a:lnTo>
                    <a:pt x="51" y="503"/>
                  </a:lnTo>
                  <a:lnTo>
                    <a:pt x="54" y="503"/>
                  </a:lnTo>
                  <a:lnTo>
                    <a:pt x="56" y="504"/>
                  </a:lnTo>
                  <a:lnTo>
                    <a:pt x="58" y="503"/>
                  </a:lnTo>
                  <a:lnTo>
                    <a:pt x="58" y="503"/>
                  </a:lnTo>
                  <a:lnTo>
                    <a:pt x="66" y="494"/>
                  </a:lnTo>
                  <a:lnTo>
                    <a:pt x="71" y="489"/>
                  </a:lnTo>
                  <a:lnTo>
                    <a:pt x="76" y="481"/>
                  </a:lnTo>
                  <a:lnTo>
                    <a:pt x="76" y="481"/>
                  </a:lnTo>
                  <a:lnTo>
                    <a:pt x="80" y="475"/>
                  </a:lnTo>
                  <a:lnTo>
                    <a:pt x="83" y="471"/>
                  </a:lnTo>
                  <a:lnTo>
                    <a:pt x="86" y="471"/>
                  </a:lnTo>
                  <a:lnTo>
                    <a:pt x="89" y="470"/>
                  </a:lnTo>
                  <a:lnTo>
                    <a:pt x="89" y="470"/>
                  </a:lnTo>
                  <a:lnTo>
                    <a:pt x="92" y="470"/>
                  </a:lnTo>
                  <a:lnTo>
                    <a:pt x="95" y="467"/>
                  </a:lnTo>
                  <a:lnTo>
                    <a:pt x="95" y="460"/>
                  </a:lnTo>
                  <a:lnTo>
                    <a:pt x="95" y="460"/>
                  </a:lnTo>
                  <a:lnTo>
                    <a:pt x="95" y="458"/>
                  </a:lnTo>
                  <a:lnTo>
                    <a:pt x="95" y="458"/>
                  </a:lnTo>
                  <a:lnTo>
                    <a:pt x="96" y="462"/>
                  </a:lnTo>
                  <a:lnTo>
                    <a:pt x="100" y="474"/>
                  </a:lnTo>
                  <a:lnTo>
                    <a:pt x="100" y="474"/>
                  </a:lnTo>
                  <a:lnTo>
                    <a:pt x="111" y="478"/>
                  </a:lnTo>
                  <a:lnTo>
                    <a:pt x="111" y="478"/>
                  </a:lnTo>
                  <a:lnTo>
                    <a:pt x="113" y="478"/>
                  </a:lnTo>
                  <a:lnTo>
                    <a:pt x="115" y="477"/>
                  </a:lnTo>
                  <a:lnTo>
                    <a:pt x="116" y="473"/>
                  </a:lnTo>
                  <a:lnTo>
                    <a:pt x="118" y="4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56" name="Freeform 727"/>
            <p:cNvSpPr>
              <a:spLocks/>
            </p:cNvSpPr>
            <p:nvPr/>
          </p:nvSpPr>
          <p:spPr bwMode="auto">
            <a:xfrm>
              <a:off x="4824413" y="2240392"/>
              <a:ext cx="274638" cy="614363"/>
            </a:xfrm>
            <a:custGeom>
              <a:avLst/>
              <a:gdLst>
                <a:gd name="T0" fmla="*/ 163 w 173"/>
                <a:gd name="T1" fmla="*/ 265 h 387"/>
                <a:gd name="T2" fmla="*/ 166 w 173"/>
                <a:gd name="T3" fmla="*/ 248 h 387"/>
                <a:gd name="T4" fmla="*/ 160 w 173"/>
                <a:gd name="T5" fmla="*/ 236 h 387"/>
                <a:gd name="T6" fmla="*/ 156 w 173"/>
                <a:gd name="T7" fmla="*/ 223 h 387"/>
                <a:gd name="T8" fmla="*/ 153 w 173"/>
                <a:gd name="T9" fmla="*/ 190 h 387"/>
                <a:gd name="T10" fmla="*/ 160 w 173"/>
                <a:gd name="T11" fmla="*/ 178 h 387"/>
                <a:gd name="T12" fmla="*/ 142 w 173"/>
                <a:gd name="T13" fmla="*/ 129 h 387"/>
                <a:gd name="T14" fmla="*/ 152 w 173"/>
                <a:gd name="T15" fmla="*/ 110 h 387"/>
                <a:gd name="T16" fmla="*/ 149 w 173"/>
                <a:gd name="T17" fmla="*/ 97 h 387"/>
                <a:gd name="T18" fmla="*/ 130 w 173"/>
                <a:gd name="T19" fmla="*/ 74 h 387"/>
                <a:gd name="T20" fmla="*/ 136 w 173"/>
                <a:gd name="T21" fmla="*/ 58 h 387"/>
                <a:gd name="T22" fmla="*/ 137 w 173"/>
                <a:gd name="T23" fmla="*/ 49 h 387"/>
                <a:gd name="T24" fmla="*/ 137 w 173"/>
                <a:gd name="T25" fmla="*/ 38 h 387"/>
                <a:gd name="T26" fmla="*/ 143 w 173"/>
                <a:gd name="T27" fmla="*/ 20 h 387"/>
                <a:gd name="T28" fmla="*/ 131 w 173"/>
                <a:gd name="T29" fmla="*/ 10 h 387"/>
                <a:gd name="T30" fmla="*/ 121 w 173"/>
                <a:gd name="T31" fmla="*/ 1 h 387"/>
                <a:gd name="T32" fmla="*/ 110 w 173"/>
                <a:gd name="T33" fmla="*/ 3 h 387"/>
                <a:gd name="T34" fmla="*/ 100 w 173"/>
                <a:gd name="T35" fmla="*/ 6 h 387"/>
                <a:gd name="T36" fmla="*/ 91 w 173"/>
                <a:gd name="T37" fmla="*/ 38 h 387"/>
                <a:gd name="T38" fmla="*/ 81 w 173"/>
                <a:gd name="T39" fmla="*/ 53 h 387"/>
                <a:gd name="T40" fmla="*/ 69 w 173"/>
                <a:gd name="T41" fmla="*/ 56 h 387"/>
                <a:gd name="T42" fmla="*/ 59 w 173"/>
                <a:gd name="T43" fmla="*/ 52 h 387"/>
                <a:gd name="T44" fmla="*/ 36 w 173"/>
                <a:gd name="T45" fmla="*/ 55 h 387"/>
                <a:gd name="T46" fmla="*/ 16 w 173"/>
                <a:gd name="T47" fmla="*/ 33 h 387"/>
                <a:gd name="T48" fmla="*/ 14 w 173"/>
                <a:gd name="T49" fmla="*/ 36 h 387"/>
                <a:gd name="T50" fmla="*/ 11 w 173"/>
                <a:gd name="T51" fmla="*/ 42 h 387"/>
                <a:gd name="T52" fmla="*/ 0 w 173"/>
                <a:gd name="T53" fmla="*/ 49 h 387"/>
                <a:gd name="T54" fmla="*/ 21 w 173"/>
                <a:gd name="T55" fmla="*/ 56 h 387"/>
                <a:gd name="T56" fmla="*/ 42 w 173"/>
                <a:gd name="T57" fmla="*/ 71 h 387"/>
                <a:gd name="T58" fmla="*/ 53 w 173"/>
                <a:gd name="T59" fmla="*/ 93 h 387"/>
                <a:gd name="T60" fmla="*/ 53 w 173"/>
                <a:gd name="T61" fmla="*/ 107 h 387"/>
                <a:gd name="T62" fmla="*/ 55 w 173"/>
                <a:gd name="T63" fmla="*/ 123 h 387"/>
                <a:gd name="T64" fmla="*/ 62 w 173"/>
                <a:gd name="T65" fmla="*/ 135 h 387"/>
                <a:gd name="T66" fmla="*/ 59 w 173"/>
                <a:gd name="T67" fmla="*/ 151 h 387"/>
                <a:gd name="T68" fmla="*/ 58 w 173"/>
                <a:gd name="T69" fmla="*/ 166 h 387"/>
                <a:gd name="T70" fmla="*/ 63 w 173"/>
                <a:gd name="T71" fmla="*/ 182 h 387"/>
                <a:gd name="T72" fmla="*/ 75 w 173"/>
                <a:gd name="T73" fmla="*/ 193 h 387"/>
                <a:gd name="T74" fmla="*/ 75 w 173"/>
                <a:gd name="T75" fmla="*/ 210 h 387"/>
                <a:gd name="T76" fmla="*/ 63 w 173"/>
                <a:gd name="T77" fmla="*/ 223 h 387"/>
                <a:gd name="T78" fmla="*/ 46 w 173"/>
                <a:gd name="T79" fmla="*/ 250 h 387"/>
                <a:gd name="T80" fmla="*/ 31 w 173"/>
                <a:gd name="T81" fmla="*/ 271 h 387"/>
                <a:gd name="T82" fmla="*/ 13 w 173"/>
                <a:gd name="T83" fmla="*/ 294 h 387"/>
                <a:gd name="T84" fmla="*/ 20 w 173"/>
                <a:gd name="T85" fmla="*/ 324 h 387"/>
                <a:gd name="T86" fmla="*/ 18 w 173"/>
                <a:gd name="T87" fmla="*/ 349 h 387"/>
                <a:gd name="T88" fmla="*/ 20 w 173"/>
                <a:gd name="T89" fmla="*/ 363 h 387"/>
                <a:gd name="T90" fmla="*/ 29 w 173"/>
                <a:gd name="T91" fmla="*/ 368 h 387"/>
                <a:gd name="T92" fmla="*/ 36 w 173"/>
                <a:gd name="T93" fmla="*/ 376 h 387"/>
                <a:gd name="T94" fmla="*/ 42 w 173"/>
                <a:gd name="T95" fmla="*/ 385 h 387"/>
                <a:gd name="T96" fmla="*/ 60 w 173"/>
                <a:gd name="T97" fmla="*/ 385 h 387"/>
                <a:gd name="T98" fmla="*/ 76 w 173"/>
                <a:gd name="T99" fmla="*/ 379 h 387"/>
                <a:gd name="T100" fmla="*/ 101 w 173"/>
                <a:gd name="T101" fmla="*/ 374 h 387"/>
                <a:gd name="T102" fmla="*/ 111 w 173"/>
                <a:gd name="T103" fmla="*/ 371 h 387"/>
                <a:gd name="T104" fmla="*/ 121 w 173"/>
                <a:gd name="T105" fmla="*/ 371 h 387"/>
                <a:gd name="T106" fmla="*/ 166 w 173"/>
                <a:gd name="T107" fmla="*/ 313 h 387"/>
                <a:gd name="T108" fmla="*/ 172 w 173"/>
                <a:gd name="T109" fmla="*/ 27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3" h="387">
                  <a:moveTo>
                    <a:pt x="170" y="271"/>
                  </a:moveTo>
                  <a:lnTo>
                    <a:pt x="170" y="271"/>
                  </a:lnTo>
                  <a:lnTo>
                    <a:pt x="168" y="268"/>
                  </a:lnTo>
                  <a:lnTo>
                    <a:pt x="163" y="265"/>
                  </a:lnTo>
                  <a:lnTo>
                    <a:pt x="162" y="262"/>
                  </a:lnTo>
                  <a:lnTo>
                    <a:pt x="162" y="256"/>
                  </a:lnTo>
                  <a:lnTo>
                    <a:pt x="162" y="256"/>
                  </a:lnTo>
                  <a:lnTo>
                    <a:pt x="166" y="248"/>
                  </a:lnTo>
                  <a:lnTo>
                    <a:pt x="168" y="243"/>
                  </a:lnTo>
                  <a:lnTo>
                    <a:pt x="165" y="240"/>
                  </a:lnTo>
                  <a:lnTo>
                    <a:pt x="165" y="240"/>
                  </a:lnTo>
                  <a:lnTo>
                    <a:pt x="160" y="236"/>
                  </a:lnTo>
                  <a:lnTo>
                    <a:pt x="159" y="233"/>
                  </a:lnTo>
                  <a:lnTo>
                    <a:pt x="157" y="227"/>
                  </a:lnTo>
                  <a:lnTo>
                    <a:pt x="156" y="223"/>
                  </a:lnTo>
                  <a:lnTo>
                    <a:pt x="156" y="223"/>
                  </a:lnTo>
                  <a:lnTo>
                    <a:pt x="153" y="207"/>
                  </a:lnTo>
                  <a:lnTo>
                    <a:pt x="152" y="197"/>
                  </a:lnTo>
                  <a:lnTo>
                    <a:pt x="152" y="193"/>
                  </a:lnTo>
                  <a:lnTo>
                    <a:pt x="153" y="190"/>
                  </a:lnTo>
                  <a:lnTo>
                    <a:pt x="153" y="190"/>
                  </a:lnTo>
                  <a:lnTo>
                    <a:pt x="157" y="184"/>
                  </a:lnTo>
                  <a:lnTo>
                    <a:pt x="160" y="178"/>
                  </a:lnTo>
                  <a:lnTo>
                    <a:pt x="160" y="178"/>
                  </a:lnTo>
                  <a:lnTo>
                    <a:pt x="156" y="168"/>
                  </a:lnTo>
                  <a:lnTo>
                    <a:pt x="149" y="152"/>
                  </a:lnTo>
                  <a:lnTo>
                    <a:pt x="143" y="136"/>
                  </a:lnTo>
                  <a:lnTo>
                    <a:pt x="142" y="129"/>
                  </a:lnTo>
                  <a:lnTo>
                    <a:pt x="142" y="126"/>
                  </a:lnTo>
                  <a:lnTo>
                    <a:pt x="142" y="126"/>
                  </a:lnTo>
                  <a:lnTo>
                    <a:pt x="149" y="116"/>
                  </a:lnTo>
                  <a:lnTo>
                    <a:pt x="152" y="110"/>
                  </a:lnTo>
                  <a:lnTo>
                    <a:pt x="152" y="104"/>
                  </a:lnTo>
                  <a:lnTo>
                    <a:pt x="152" y="104"/>
                  </a:lnTo>
                  <a:lnTo>
                    <a:pt x="150" y="101"/>
                  </a:lnTo>
                  <a:lnTo>
                    <a:pt x="149" y="97"/>
                  </a:lnTo>
                  <a:lnTo>
                    <a:pt x="140" y="90"/>
                  </a:lnTo>
                  <a:lnTo>
                    <a:pt x="133" y="81"/>
                  </a:lnTo>
                  <a:lnTo>
                    <a:pt x="131" y="78"/>
                  </a:lnTo>
                  <a:lnTo>
                    <a:pt x="130" y="74"/>
                  </a:lnTo>
                  <a:lnTo>
                    <a:pt x="130" y="74"/>
                  </a:lnTo>
                  <a:lnTo>
                    <a:pt x="131" y="68"/>
                  </a:lnTo>
                  <a:lnTo>
                    <a:pt x="134" y="62"/>
                  </a:lnTo>
                  <a:lnTo>
                    <a:pt x="136" y="58"/>
                  </a:lnTo>
                  <a:lnTo>
                    <a:pt x="137" y="53"/>
                  </a:lnTo>
                  <a:lnTo>
                    <a:pt x="137" y="53"/>
                  </a:lnTo>
                  <a:lnTo>
                    <a:pt x="137" y="49"/>
                  </a:lnTo>
                  <a:lnTo>
                    <a:pt x="137" y="49"/>
                  </a:lnTo>
                  <a:lnTo>
                    <a:pt x="136" y="43"/>
                  </a:lnTo>
                  <a:lnTo>
                    <a:pt x="136" y="39"/>
                  </a:lnTo>
                  <a:lnTo>
                    <a:pt x="137" y="38"/>
                  </a:lnTo>
                  <a:lnTo>
                    <a:pt x="137" y="38"/>
                  </a:lnTo>
                  <a:lnTo>
                    <a:pt x="142" y="30"/>
                  </a:lnTo>
                  <a:lnTo>
                    <a:pt x="143" y="26"/>
                  </a:lnTo>
                  <a:lnTo>
                    <a:pt x="143" y="20"/>
                  </a:lnTo>
                  <a:lnTo>
                    <a:pt x="143" y="20"/>
                  </a:lnTo>
                  <a:lnTo>
                    <a:pt x="142" y="17"/>
                  </a:lnTo>
                  <a:lnTo>
                    <a:pt x="140" y="14"/>
                  </a:lnTo>
                  <a:lnTo>
                    <a:pt x="136" y="13"/>
                  </a:lnTo>
                  <a:lnTo>
                    <a:pt x="131" y="10"/>
                  </a:lnTo>
                  <a:lnTo>
                    <a:pt x="128" y="7"/>
                  </a:lnTo>
                  <a:lnTo>
                    <a:pt x="128" y="7"/>
                  </a:lnTo>
                  <a:lnTo>
                    <a:pt x="126" y="4"/>
                  </a:lnTo>
                  <a:lnTo>
                    <a:pt x="121" y="1"/>
                  </a:lnTo>
                  <a:lnTo>
                    <a:pt x="118" y="0"/>
                  </a:lnTo>
                  <a:lnTo>
                    <a:pt x="114" y="0"/>
                  </a:lnTo>
                  <a:lnTo>
                    <a:pt x="114" y="0"/>
                  </a:lnTo>
                  <a:lnTo>
                    <a:pt x="110" y="3"/>
                  </a:lnTo>
                  <a:lnTo>
                    <a:pt x="105" y="4"/>
                  </a:lnTo>
                  <a:lnTo>
                    <a:pt x="102" y="4"/>
                  </a:lnTo>
                  <a:lnTo>
                    <a:pt x="102" y="4"/>
                  </a:lnTo>
                  <a:lnTo>
                    <a:pt x="100" y="6"/>
                  </a:lnTo>
                  <a:lnTo>
                    <a:pt x="97" y="11"/>
                  </a:lnTo>
                  <a:lnTo>
                    <a:pt x="94" y="23"/>
                  </a:lnTo>
                  <a:lnTo>
                    <a:pt x="94" y="23"/>
                  </a:lnTo>
                  <a:lnTo>
                    <a:pt x="91" y="38"/>
                  </a:lnTo>
                  <a:lnTo>
                    <a:pt x="88" y="45"/>
                  </a:lnTo>
                  <a:lnTo>
                    <a:pt x="86" y="48"/>
                  </a:lnTo>
                  <a:lnTo>
                    <a:pt x="86" y="48"/>
                  </a:lnTo>
                  <a:lnTo>
                    <a:pt x="81" y="53"/>
                  </a:lnTo>
                  <a:lnTo>
                    <a:pt x="76" y="56"/>
                  </a:lnTo>
                  <a:lnTo>
                    <a:pt x="73" y="58"/>
                  </a:lnTo>
                  <a:lnTo>
                    <a:pt x="73" y="58"/>
                  </a:lnTo>
                  <a:lnTo>
                    <a:pt x="69" y="56"/>
                  </a:lnTo>
                  <a:lnTo>
                    <a:pt x="65" y="55"/>
                  </a:lnTo>
                  <a:lnTo>
                    <a:pt x="62" y="52"/>
                  </a:lnTo>
                  <a:lnTo>
                    <a:pt x="59" y="52"/>
                  </a:lnTo>
                  <a:lnTo>
                    <a:pt x="59" y="52"/>
                  </a:lnTo>
                  <a:lnTo>
                    <a:pt x="49" y="55"/>
                  </a:lnTo>
                  <a:lnTo>
                    <a:pt x="42" y="56"/>
                  </a:lnTo>
                  <a:lnTo>
                    <a:pt x="36" y="55"/>
                  </a:lnTo>
                  <a:lnTo>
                    <a:pt x="36" y="55"/>
                  </a:lnTo>
                  <a:lnTo>
                    <a:pt x="30" y="51"/>
                  </a:lnTo>
                  <a:lnTo>
                    <a:pt x="26" y="43"/>
                  </a:lnTo>
                  <a:lnTo>
                    <a:pt x="20" y="38"/>
                  </a:lnTo>
                  <a:lnTo>
                    <a:pt x="16" y="33"/>
                  </a:lnTo>
                  <a:lnTo>
                    <a:pt x="16" y="33"/>
                  </a:lnTo>
                  <a:lnTo>
                    <a:pt x="14" y="33"/>
                  </a:lnTo>
                  <a:lnTo>
                    <a:pt x="14" y="33"/>
                  </a:lnTo>
                  <a:lnTo>
                    <a:pt x="14" y="36"/>
                  </a:lnTo>
                  <a:lnTo>
                    <a:pt x="14" y="40"/>
                  </a:lnTo>
                  <a:lnTo>
                    <a:pt x="13" y="42"/>
                  </a:lnTo>
                  <a:lnTo>
                    <a:pt x="11" y="42"/>
                  </a:lnTo>
                  <a:lnTo>
                    <a:pt x="11" y="42"/>
                  </a:lnTo>
                  <a:lnTo>
                    <a:pt x="2" y="43"/>
                  </a:lnTo>
                  <a:lnTo>
                    <a:pt x="0" y="43"/>
                  </a:lnTo>
                  <a:lnTo>
                    <a:pt x="0" y="43"/>
                  </a:lnTo>
                  <a:lnTo>
                    <a:pt x="0" y="49"/>
                  </a:lnTo>
                  <a:lnTo>
                    <a:pt x="0" y="49"/>
                  </a:lnTo>
                  <a:lnTo>
                    <a:pt x="13" y="53"/>
                  </a:lnTo>
                  <a:lnTo>
                    <a:pt x="21" y="56"/>
                  </a:lnTo>
                  <a:lnTo>
                    <a:pt x="21" y="56"/>
                  </a:lnTo>
                  <a:lnTo>
                    <a:pt x="30" y="62"/>
                  </a:lnTo>
                  <a:lnTo>
                    <a:pt x="37" y="67"/>
                  </a:lnTo>
                  <a:lnTo>
                    <a:pt x="37" y="67"/>
                  </a:lnTo>
                  <a:lnTo>
                    <a:pt x="42" y="71"/>
                  </a:lnTo>
                  <a:lnTo>
                    <a:pt x="44" y="77"/>
                  </a:lnTo>
                  <a:lnTo>
                    <a:pt x="52" y="88"/>
                  </a:lnTo>
                  <a:lnTo>
                    <a:pt x="52" y="88"/>
                  </a:lnTo>
                  <a:lnTo>
                    <a:pt x="53" y="93"/>
                  </a:lnTo>
                  <a:lnTo>
                    <a:pt x="53" y="95"/>
                  </a:lnTo>
                  <a:lnTo>
                    <a:pt x="53" y="101"/>
                  </a:lnTo>
                  <a:lnTo>
                    <a:pt x="53" y="101"/>
                  </a:lnTo>
                  <a:lnTo>
                    <a:pt x="53" y="107"/>
                  </a:lnTo>
                  <a:lnTo>
                    <a:pt x="55" y="113"/>
                  </a:lnTo>
                  <a:lnTo>
                    <a:pt x="55" y="113"/>
                  </a:lnTo>
                  <a:lnTo>
                    <a:pt x="56" y="117"/>
                  </a:lnTo>
                  <a:lnTo>
                    <a:pt x="55" y="123"/>
                  </a:lnTo>
                  <a:lnTo>
                    <a:pt x="55" y="123"/>
                  </a:lnTo>
                  <a:lnTo>
                    <a:pt x="56" y="127"/>
                  </a:lnTo>
                  <a:lnTo>
                    <a:pt x="59" y="130"/>
                  </a:lnTo>
                  <a:lnTo>
                    <a:pt x="62" y="135"/>
                  </a:lnTo>
                  <a:lnTo>
                    <a:pt x="63" y="139"/>
                  </a:lnTo>
                  <a:lnTo>
                    <a:pt x="63" y="139"/>
                  </a:lnTo>
                  <a:lnTo>
                    <a:pt x="62" y="145"/>
                  </a:lnTo>
                  <a:lnTo>
                    <a:pt x="59" y="151"/>
                  </a:lnTo>
                  <a:lnTo>
                    <a:pt x="56" y="161"/>
                  </a:lnTo>
                  <a:lnTo>
                    <a:pt x="56" y="161"/>
                  </a:lnTo>
                  <a:lnTo>
                    <a:pt x="58" y="164"/>
                  </a:lnTo>
                  <a:lnTo>
                    <a:pt x="58" y="166"/>
                  </a:lnTo>
                  <a:lnTo>
                    <a:pt x="58" y="166"/>
                  </a:lnTo>
                  <a:lnTo>
                    <a:pt x="62" y="182"/>
                  </a:lnTo>
                  <a:lnTo>
                    <a:pt x="62" y="182"/>
                  </a:lnTo>
                  <a:lnTo>
                    <a:pt x="63" y="182"/>
                  </a:lnTo>
                  <a:lnTo>
                    <a:pt x="63" y="182"/>
                  </a:lnTo>
                  <a:lnTo>
                    <a:pt x="68" y="182"/>
                  </a:lnTo>
                  <a:lnTo>
                    <a:pt x="71" y="185"/>
                  </a:lnTo>
                  <a:lnTo>
                    <a:pt x="75" y="193"/>
                  </a:lnTo>
                  <a:lnTo>
                    <a:pt x="75" y="193"/>
                  </a:lnTo>
                  <a:lnTo>
                    <a:pt x="76" y="198"/>
                  </a:lnTo>
                  <a:lnTo>
                    <a:pt x="76" y="204"/>
                  </a:lnTo>
                  <a:lnTo>
                    <a:pt x="75" y="210"/>
                  </a:lnTo>
                  <a:lnTo>
                    <a:pt x="72" y="213"/>
                  </a:lnTo>
                  <a:lnTo>
                    <a:pt x="72" y="213"/>
                  </a:lnTo>
                  <a:lnTo>
                    <a:pt x="68" y="216"/>
                  </a:lnTo>
                  <a:lnTo>
                    <a:pt x="63" y="223"/>
                  </a:lnTo>
                  <a:lnTo>
                    <a:pt x="56" y="236"/>
                  </a:lnTo>
                  <a:lnTo>
                    <a:pt x="56" y="236"/>
                  </a:lnTo>
                  <a:lnTo>
                    <a:pt x="52" y="242"/>
                  </a:lnTo>
                  <a:lnTo>
                    <a:pt x="46" y="250"/>
                  </a:lnTo>
                  <a:lnTo>
                    <a:pt x="39" y="258"/>
                  </a:lnTo>
                  <a:lnTo>
                    <a:pt x="36" y="263"/>
                  </a:lnTo>
                  <a:lnTo>
                    <a:pt x="36" y="263"/>
                  </a:lnTo>
                  <a:lnTo>
                    <a:pt x="31" y="271"/>
                  </a:lnTo>
                  <a:lnTo>
                    <a:pt x="26" y="278"/>
                  </a:lnTo>
                  <a:lnTo>
                    <a:pt x="14" y="291"/>
                  </a:lnTo>
                  <a:lnTo>
                    <a:pt x="14" y="291"/>
                  </a:lnTo>
                  <a:lnTo>
                    <a:pt x="13" y="294"/>
                  </a:lnTo>
                  <a:lnTo>
                    <a:pt x="13" y="297"/>
                  </a:lnTo>
                  <a:lnTo>
                    <a:pt x="16" y="304"/>
                  </a:lnTo>
                  <a:lnTo>
                    <a:pt x="16" y="304"/>
                  </a:lnTo>
                  <a:lnTo>
                    <a:pt x="20" y="324"/>
                  </a:lnTo>
                  <a:lnTo>
                    <a:pt x="21" y="333"/>
                  </a:lnTo>
                  <a:lnTo>
                    <a:pt x="21" y="340"/>
                  </a:lnTo>
                  <a:lnTo>
                    <a:pt x="21" y="340"/>
                  </a:lnTo>
                  <a:lnTo>
                    <a:pt x="18" y="349"/>
                  </a:lnTo>
                  <a:lnTo>
                    <a:pt x="17" y="358"/>
                  </a:lnTo>
                  <a:lnTo>
                    <a:pt x="17" y="358"/>
                  </a:lnTo>
                  <a:lnTo>
                    <a:pt x="18" y="361"/>
                  </a:lnTo>
                  <a:lnTo>
                    <a:pt x="20" y="363"/>
                  </a:lnTo>
                  <a:lnTo>
                    <a:pt x="21" y="366"/>
                  </a:lnTo>
                  <a:lnTo>
                    <a:pt x="24" y="368"/>
                  </a:lnTo>
                  <a:lnTo>
                    <a:pt x="24" y="368"/>
                  </a:lnTo>
                  <a:lnTo>
                    <a:pt x="29" y="368"/>
                  </a:lnTo>
                  <a:lnTo>
                    <a:pt x="31" y="371"/>
                  </a:lnTo>
                  <a:lnTo>
                    <a:pt x="34" y="374"/>
                  </a:lnTo>
                  <a:lnTo>
                    <a:pt x="36" y="376"/>
                  </a:lnTo>
                  <a:lnTo>
                    <a:pt x="36" y="376"/>
                  </a:lnTo>
                  <a:lnTo>
                    <a:pt x="37" y="381"/>
                  </a:lnTo>
                  <a:lnTo>
                    <a:pt x="39" y="384"/>
                  </a:lnTo>
                  <a:lnTo>
                    <a:pt x="42" y="385"/>
                  </a:lnTo>
                  <a:lnTo>
                    <a:pt x="42" y="385"/>
                  </a:lnTo>
                  <a:lnTo>
                    <a:pt x="46" y="387"/>
                  </a:lnTo>
                  <a:lnTo>
                    <a:pt x="52" y="387"/>
                  </a:lnTo>
                  <a:lnTo>
                    <a:pt x="58" y="387"/>
                  </a:lnTo>
                  <a:lnTo>
                    <a:pt x="60" y="385"/>
                  </a:lnTo>
                  <a:lnTo>
                    <a:pt x="60" y="385"/>
                  </a:lnTo>
                  <a:lnTo>
                    <a:pt x="66" y="382"/>
                  </a:lnTo>
                  <a:lnTo>
                    <a:pt x="71" y="381"/>
                  </a:lnTo>
                  <a:lnTo>
                    <a:pt x="76" y="379"/>
                  </a:lnTo>
                  <a:lnTo>
                    <a:pt x="76" y="379"/>
                  </a:lnTo>
                  <a:lnTo>
                    <a:pt x="91" y="376"/>
                  </a:lnTo>
                  <a:lnTo>
                    <a:pt x="97" y="375"/>
                  </a:lnTo>
                  <a:lnTo>
                    <a:pt x="101" y="374"/>
                  </a:lnTo>
                  <a:lnTo>
                    <a:pt x="101" y="374"/>
                  </a:lnTo>
                  <a:lnTo>
                    <a:pt x="104" y="371"/>
                  </a:lnTo>
                  <a:lnTo>
                    <a:pt x="107" y="371"/>
                  </a:lnTo>
                  <a:lnTo>
                    <a:pt x="111" y="371"/>
                  </a:lnTo>
                  <a:lnTo>
                    <a:pt x="111" y="371"/>
                  </a:lnTo>
                  <a:lnTo>
                    <a:pt x="115" y="372"/>
                  </a:lnTo>
                  <a:lnTo>
                    <a:pt x="121" y="371"/>
                  </a:lnTo>
                  <a:lnTo>
                    <a:pt x="121" y="371"/>
                  </a:lnTo>
                  <a:lnTo>
                    <a:pt x="149" y="339"/>
                  </a:lnTo>
                  <a:lnTo>
                    <a:pt x="160" y="324"/>
                  </a:lnTo>
                  <a:lnTo>
                    <a:pt x="166" y="313"/>
                  </a:lnTo>
                  <a:lnTo>
                    <a:pt x="166" y="313"/>
                  </a:lnTo>
                  <a:lnTo>
                    <a:pt x="170" y="303"/>
                  </a:lnTo>
                  <a:lnTo>
                    <a:pt x="172" y="290"/>
                  </a:lnTo>
                  <a:lnTo>
                    <a:pt x="173" y="279"/>
                  </a:lnTo>
                  <a:lnTo>
                    <a:pt x="172" y="275"/>
                  </a:lnTo>
                  <a:lnTo>
                    <a:pt x="170" y="271"/>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57" name="Freeform 728"/>
            <p:cNvSpPr>
              <a:spLocks/>
            </p:cNvSpPr>
            <p:nvPr/>
          </p:nvSpPr>
          <p:spPr bwMode="auto">
            <a:xfrm>
              <a:off x="4824413" y="2240392"/>
              <a:ext cx="274638" cy="614363"/>
            </a:xfrm>
            <a:custGeom>
              <a:avLst/>
              <a:gdLst>
                <a:gd name="T0" fmla="*/ 163 w 173"/>
                <a:gd name="T1" fmla="*/ 265 h 387"/>
                <a:gd name="T2" fmla="*/ 166 w 173"/>
                <a:gd name="T3" fmla="*/ 248 h 387"/>
                <a:gd name="T4" fmla="*/ 160 w 173"/>
                <a:gd name="T5" fmla="*/ 236 h 387"/>
                <a:gd name="T6" fmla="*/ 156 w 173"/>
                <a:gd name="T7" fmla="*/ 223 h 387"/>
                <a:gd name="T8" fmla="*/ 153 w 173"/>
                <a:gd name="T9" fmla="*/ 190 h 387"/>
                <a:gd name="T10" fmla="*/ 160 w 173"/>
                <a:gd name="T11" fmla="*/ 178 h 387"/>
                <a:gd name="T12" fmla="*/ 142 w 173"/>
                <a:gd name="T13" fmla="*/ 129 h 387"/>
                <a:gd name="T14" fmla="*/ 152 w 173"/>
                <a:gd name="T15" fmla="*/ 110 h 387"/>
                <a:gd name="T16" fmla="*/ 149 w 173"/>
                <a:gd name="T17" fmla="*/ 97 h 387"/>
                <a:gd name="T18" fmla="*/ 130 w 173"/>
                <a:gd name="T19" fmla="*/ 74 h 387"/>
                <a:gd name="T20" fmla="*/ 136 w 173"/>
                <a:gd name="T21" fmla="*/ 58 h 387"/>
                <a:gd name="T22" fmla="*/ 137 w 173"/>
                <a:gd name="T23" fmla="*/ 49 h 387"/>
                <a:gd name="T24" fmla="*/ 137 w 173"/>
                <a:gd name="T25" fmla="*/ 38 h 387"/>
                <a:gd name="T26" fmla="*/ 143 w 173"/>
                <a:gd name="T27" fmla="*/ 20 h 387"/>
                <a:gd name="T28" fmla="*/ 131 w 173"/>
                <a:gd name="T29" fmla="*/ 10 h 387"/>
                <a:gd name="T30" fmla="*/ 121 w 173"/>
                <a:gd name="T31" fmla="*/ 1 h 387"/>
                <a:gd name="T32" fmla="*/ 110 w 173"/>
                <a:gd name="T33" fmla="*/ 3 h 387"/>
                <a:gd name="T34" fmla="*/ 100 w 173"/>
                <a:gd name="T35" fmla="*/ 6 h 387"/>
                <a:gd name="T36" fmla="*/ 91 w 173"/>
                <a:gd name="T37" fmla="*/ 38 h 387"/>
                <a:gd name="T38" fmla="*/ 81 w 173"/>
                <a:gd name="T39" fmla="*/ 53 h 387"/>
                <a:gd name="T40" fmla="*/ 69 w 173"/>
                <a:gd name="T41" fmla="*/ 56 h 387"/>
                <a:gd name="T42" fmla="*/ 59 w 173"/>
                <a:gd name="T43" fmla="*/ 52 h 387"/>
                <a:gd name="T44" fmla="*/ 36 w 173"/>
                <a:gd name="T45" fmla="*/ 55 h 387"/>
                <a:gd name="T46" fmla="*/ 16 w 173"/>
                <a:gd name="T47" fmla="*/ 33 h 387"/>
                <a:gd name="T48" fmla="*/ 14 w 173"/>
                <a:gd name="T49" fmla="*/ 36 h 387"/>
                <a:gd name="T50" fmla="*/ 11 w 173"/>
                <a:gd name="T51" fmla="*/ 42 h 387"/>
                <a:gd name="T52" fmla="*/ 0 w 173"/>
                <a:gd name="T53" fmla="*/ 49 h 387"/>
                <a:gd name="T54" fmla="*/ 21 w 173"/>
                <a:gd name="T55" fmla="*/ 56 h 387"/>
                <a:gd name="T56" fmla="*/ 42 w 173"/>
                <a:gd name="T57" fmla="*/ 71 h 387"/>
                <a:gd name="T58" fmla="*/ 53 w 173"/>
                <a:gd name="T59" fmla="*/ 93 h 387"/>
                <a:gd name="T60" fmla="*/ 53 w 173"/>
                <a:gd name="T61" fmla="*/ 107 h 387"/>
                <a:gd name="T62" fmla="*/ 55 w 173"/>
                <a:gd name="T63" fmla="*/ 123 h 387"/>
                <a:gd name="T64" fmla="*/ 62 w 173"/>
                <a:gd name="T65" fmla="*/ 135 h 387"/>
                <a:gd name="T66" fmla="*/ 59 w 173"/>
                <a:gd name="T67" fmla="*/ 151 h 387"/>
                <a:gd name="T68" fmla="*/ 58 w 173"/>
                <a:gd name="T69" fmla="*/ 166 h 387"/>
                <a:gd name="T70" fmla="*/ 63 w 173"/>
                <a:gd name="T71" fmla="*/ 182 h 387"/>
                <a:gd name="T72" fmla="*/ 75 w 173"/>
                <a:gd name="T73" fmla="*/ 193 h 387"/>
                <a:gd name="T74" fmla="*/ 75 w 173"/>
                <a:gd name="T75" fmla="*/ 210 h 387"/>
                <a:gd name="T76" fmla="*/ 63 w 173"/>
                <a:gd name="T77" fmla="*/ 223 h 387"/>
                <a:gd name="T78" fmla="*/ 46 w 173"/>
                <a:gd name="T79" fmla="*/ 250 h 387"/>
                <a:gd name="T80" fmla="*/ 31 w 173"/>
                <a:gd name="T81" fmla="*/ 271 h 387"/>
                <a:gd name="T82" fmla="*/ 13 w 173"/>
                <a:gd name="T83" fmla="*/ 294 h 387"/>
                <a:gd name="T84" fmla="*/ 20 w 173"/>
                <a:gd name="T85" fmla="*/ 324 h 387"/>
                <a:gd name="T86" fmla="*/ 18 w 173"/>
                <a:gd name="T87" fmla="*/ 349 h 387"/>
                <a:gd name="T88" fmla="*/ 20 w 173"/>
                <a:gd name="T89" fmla="*/ 363 h 387"/>
                <a:gd name="T90" fmla="*/ 29 w 173"/>
                <a:gd name="T91" fmla="*/ 368 h 387"/>
                <a:gd name="T92" fmla="*/ 36 w 173"/>
                <a:gd name="T93" fmla="*/ 376 h 387"/>
                <a:gd name="T94" fmla="*/ 42 w 173"/>
                <a:gd name="T95" fmla="*/ 385 h 387"/>
                <a:gd name="T96" fmla="*/ 60 w 173"/>
                <a:gd name="T97" fmla="*/ 385 h 387"/>
                <a:gd name="T98" fmla="*/ 76 w 173"/>
                <a:gd name="T99" fmla="*/ 379 h 387"/>
                <a:gd name="T100" fmla="*/ 101 w 173"/>
                <a:gd name="T101" fmla="*/ 374 h 387"/>
                <a:gd name="T102" fmla="*/ 111 w 173"/>
                <a:gd name="T103" fmla="*/ 371 h 387"/>
                <a:gd name="T104" fmla="*/ 121 w 173"/>
                <a:gd name="T105" fmla="*/ 371 h 387"/>
                <a:gd name="T106" fmla="*/ 166 w 173"/>
                <a:gd name="T107" fmla="*/ 313 h 387"/>
                <a:gd name="T108" fmla="*/ 172 w 173"/>
                <a:gd name="T109" fmla="*/ 27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3" h="387">
                  <a:moveTo>
                    <a:pt x="170" y="271"/>
                  </a:moveTo>
                  <a:lnTo>
                    <a:pt x="170" y="271"/>
                  </a:lnTo>
                  <a:lnTo>
                    <a:pt x="168" y="268"/>
                  </a:lnTo>
                  <a:lnTo>
                    <a:pt x="163" y="265"/>
                  </a:lnTo>
                  <a:lnTo>
                    <a:pt x="162" y="262"/>
                  </a:lnTo>
                  <a:lnTo>
                    <a:pt x="162" y="256"/>
                  </a:lnTo>
                  <a:lnTo>
                    <a:pt x="162" y="256"/>
                  </a:lnTo>
                  <a:lnTo>
                    <a:pt x="166" y="248"/>
                  </a:lnTo>
                  <a:lnTo>
                    <a:pt x="168" y="243"/>
                  </a:lnTo>
                  <a:lnTo>
                    <a:pt x="165" y="240"/>
                  </a:lnTo>
                  <a:lnTo>
                    <a:pt x="165" y="240"/>
                  </a:lnTo>
                  <a:lnTo>
                    <a:pt x="160" y="236"/>
                  </a:lnTo>
                  <a:lnTo>
                    <a:pt x="159" y="233"/>
                  </a:lnTo>
                  <a:lnTo>
                    <a:pt x="157" y="227"/>
                  </a:lnTo>
                  <a:lnTo>
                    <a:pt x="156" y="223"/>
                  </a:lnTo>
                  <a:lnTo>
                    <a:pt x="156" y="223"/>
                  </a:lnTo>
                  <a:lnTo>
                    <a:pt x="153" y="207"/>
                  </a:lnTo>
                  <a:lnTo>
                    <a:pt x="152" y="197"/>
                  </a:lnTo>
                  <a:lnTo>
                    <a:pt x="152" y="193"/>
                  </a:lnTo>
                  <a:lnTo>
                    <a:pt x="153" y="190"/>
                  </a:lnTo>
                  <a:lnTo>
                    <a:pt x="153" y="190"/>
                  </a:lnTo>
                  <a:lnTo>
                    <a:pt x="157" y="184"/>
                  </a:lnTo>
                  <a:lnTo>
                    <a:pt x="160" y="178"/>
                  </a:lnTo>
                  <a:lnTo>
                    <a:pt x="160" y="178"/>
                  </a:lnTo>
                  <a:lnTo>
                    <a:pt x="156" y="168"/>
                  </a:lnTo>
                  <a:lnTo>
                    <a:pt x="149" y="152"/>
                  </a:lnTo>
                  <a:lnTo>
                    <a:pt x="143" y="136"/>
                  </a:lnTo>
                  <a:lnTo>
                    <a:pt x="142" y="129"/>
                  </a:lnTo>
                  <a:lnTo>
                    <a:pt x="142" y="126"/>
                  </a:lnTo>
                  <a:lnTo>
                    <a:pt x="142" y="126"/>
                  </a:lnTo>
                  <a:lnTo>
                    <a:pt x="149" y="116"/>
                  </a:lnTo>
                  <a:lnTo>
                    <a:pt x="152" y="110"/>
                  </a:lnTo>
                  <a:lnTo>
                    <a:pt x="152" y="104"/>
                  </a:lnTo>
                  <a:lnTo>
                    <a:pt x="152" y="104"/>
                  </a:lnTo>
                  <a:lnTo>
                    <a:pt x="150" y="101"/>
                  </a:lnTo>
                  <a:lnTo>
                    <a:pt x="149" y="97"/>
                  </a:lnTo>
                  <a:lnTo>
                    <a:pt x="140" y="90"/>
                  </a:lnTo>
                  <a:lnTo>
                    <a:pt x="133" y="81"/>
                  </a:lnTo>
                  <a:lnTo>
                    <a:pt x="131" y="78"/>
                  </a:lnTo>
                  <a:lnTo>
                    <a:pt x="130" y="74"/>
                  </a:lnTo>
                  <a:lnTo>
                    <a:pt x="130" y="74"/>
                  </a:lnTo>
                  <a:lnTo>
                    <a:pt x="131" y="68"/>
                  </a:lnTo>
                  <a:lnTo>
                    <a:pt x="134" y="62"/>
                  </a:lnTo>
                  <a:lnTo>
                    <a:pt x="136" y="58"/>
                  </a:lnTo>
                  <a:lnTo>
                    <a:pt x="137" y="53"/>
                  </a:lnTo>
                  <a:lnTo>
                    <a:pt x="137" y="53"/>
                  </a:lnTo>
                  <a:lnTo>
                    <a:pt x="137" y="49"/>
                  </a:lnTo>
                  <a:lnTo>
                    <a:pt x="137" y="49"/>
                  </a:lnTo>
                  <a:lnTo>
                    <a:pt x="136" y="43"/>
                  </a:lnTo>
                  <a:lnTo>
                    <a:pt x="136" y="39"/>
                  </a:lnTo>
                  <a:lnTo>
                    <a:pt x="137" y="38"/>
                  </a:lnTo>
                  <a:lnTo>
                    <a:pt x="137" y="38"/>
                  </a:lnTo>
                  <a:lnTo>
                    <a:pt x="142" y="30"/>
                  </a:lnTo>
                  <a:lnTo>
                    <a:pt x="143" y="26"/>
                  </a:lnTo>
                  <a:lnTo>
                    <a:pt x="143" y="20"/>
                  </a:lnTo>
                  <a:lnTo>
                    <a:pt x="143" y="20"/>
                  </a:lnTo>
                  <a:lnTo>
                    <a:pt x="142" y="17"/>
                  </a:lnTo>
                  <a:lnTo>
                    <a:pt x="140" y="14"/>
                  </a:lnTo>
                  <a:lnTo>
                    <a:pt x="136" y="13"/>
                  </a:lnTo>
                  <a:lnTo>
                    <a:pt x="131" y="10"/>
                  </a:lnTo>
                  <a:lnTo>
                    <a:pt x="128" y="7"/>
                  </a:lnTo>
                  <a:lnTo>
                    <a:pt x="128" y="7"/>
                  </a:lnTo>
                  <a:lnTo>
                    <a:pt x="126" y="4"/>
                  </a:lnTo>
                  <a:lnTo>
                    <a:pt x="121" y="1"/>
                  </a:lnTo>
                  <a:lnTo>
                    <a:pt x="118" y="0"/>
                  </a:lnTo>
                  <a:lnTo>
                    <a:pt x="114" y="0"/>
                  </a:lnTo>
                  <a:lnTo>
                    <a:pt x="114" y="0"/>
                  </a:lnTo>
                  <a:lnTo>
                    <a:pt x="110" y="3"/>
                  </a:lnTo>
                  <a:lnTo>
                    <a:pt x="105" y="4"/>
                  </a:lnTo>
                  <a:lnTo>
                    <a:pt x="102" y="4"/>
                  </a:lnTo>
                  <a:lnTo>
                    <a:pt x="102" y="4"/>
                  </a:lnTo>
                  <a:lnTo>
                    <a:pt x="100" y="6"/>
                  </a:lnTo>
                  <a:lnTo>
                    <a:pt x="97" y="11"/>
                  </a:lnTo>
                  <a:lnTo>
                    <a:pt x="94" y="23"/>
                  </a:lnTo>
                  <a:lnTo>
                    <a:pt x="94" y="23"/>
                  </a:lnTo>
                  <a:lnTo>
                    <a:pt x="91" y="38"/>
                  </a:lnTo>
                  <a:lnTo>
                    <a:pt x="88" y="45"/>
                  </a:lnTo>
                  <a:lnTo>
                    <a:pt x="86" y="48"/>
                  </a:lnTo>
                  <a:lnTo>
                    <a:pt x="86" y="48"/>
                  </a:lnTo>
                  <a:lnTo>
                    <a:pt x="81" y="53"/>
                  </a:lnTo>
                  <a:lnTo>
                    <a:pt x="76" y="56"/>
                  </a:lnTo>
                  <a:lnTo>
                    <a:pt x="73" y="58"/>
                  </a:lnTo>
                  <a:lnTo>
                    <a:pt x="73" y="58"/>
                  </a:lnTo>
                  <a:lnTo>
                    <a:pt x="69" y="56"/>
                  </a:lnTo>
                  <a:lnTo>
                    <a:pt x="65" y="55"/>
                  </a:lnTo>
                  <a:lnTo>
                    <a:pt x="62" y="52"/>
                  </a:lnTo>
                  <a:lnTo>
                    <a:pt x="59" y="52"/>
                  </a:lnTo>
                  <a:lnTo>
                    <a:pt x="59" y="52"/>
                  </a:lnTo>
                  <a:lnTo>
                    <a:pt x="49" y="55"/>
                  </a:lnTo>
                  <a:lnTo>
                    <a:pt x="42" y="56"/>
                  </a:lnTo>
                  <a:lnTo>
                    <a:pt x="36" y="55"/>
                  </a:lnTo>
                  <a:lnTo>
                    <a:pt x="36" y="55"/>
                  </a:lnTo>
                  <a:lnTo>
                    <a:pt x="30" y="51"/>
                  </a:lnTo>
                  <a:lnTo>
                    <a:pt x="26" y="43"/>
                  </a:lnTo>
                  <a:lnTo>
                    <a:pt x="20" y="38"/>
                  </a:lnTo>
                  <a:lnTo>
                    <a:pt x="16" y="33"/>
                  </a:lnTo>
                  <a:lnTo>
                    <a:pt x="16" y="33"/>
                  </a:lnTo>
                  <a:lnTo>
                    <a:pt x="14" y="33"/>
                  </a:lnTo>
                  <a:lnTo>
                    <a:pt x="14" y="33"/>
                  </a:lnTo>
                  <a:lnTo>
                    <a:pt x="14" y="36"/>
                  </a:lnTo>
                  <a:lnTo>
                    <a:pt x="14" y="40"/>
                  </a:lnTo>
                  <a:lnTo>
                    <a:pt x="13" y="42"/>
                  </a:lnTo>
                  <a:lnTo>
                    <a:pt x="11" y="42"/>
                  </a:lnTo>
                  <a:lnTo>
                    <a:pt x="11" y="42"/>
                  </a:lnTo>
                  <a:lnTo>
                    <a:pt x="2" y="43"/>
                  </a:lnTo>
                  <a:lnTo>
                    <a:pt x="0" y="43"/>
                  </a:lnTo>
                  <a:lnTo>
                    <a:pt x="0" y="43"/>
                  </a:lnTo>
                  <a:lnTo>
                    <a:pt x="0" y="49"/>
                  </a:lnTo>
                  <a:lnTo>
                    <a:pt x="0" y="49"/>
                  </a:lnTo>
                  <a:lnTo>
                    <a:pt x="13" y="53"/>
                  </a:lnTo>
                  <a:lnTo>
                    <a:pt x="21" y="56"/>
                  </a:lnTo>
                  <a:lnTo>
                    <a:pt x="21" y="56"/>
                  </a:lnTo>
                  <a:lnTo>
                    <a:pt x="30" y="62"/>
                  </a:lnTo>
                  <a:lnTo>
                    <a:pt x="37" y="67"/>
                  </a:lnTo>
                  <a:lnTo>
                    <a:pt x="37" y="67"/>
                  </a:lnTo>
                  <a:lnTo>
                    <a:pt x="42" y="71"/>
                  </a:lnTo>
                  <a:lnTo>
                    <a:pt x="44" y="77"/>
                  </a:lnTo>
                  <a:lnTo>
                    <a:pt x="52" y="88"/>
                  </a:lnTo>
                  <a:lnTo>
                    <a:pt x="52" y="88"/>
                  </a:lnTo>
                  <a:lnTo>
                    <a:pt x="53" y="93"/>
                  </a:lnTo>
                  <a:lnTo>
                    <a:pt x="53" y="95"/>
                  </a:lnTo>
                  <a:lnTo>
                    <a:pt x="53" y="101"/>
                  </a:lnTo>
                  <a:lnTo>
                    <a:pt x="53" y="101"/>
                  </a:lnTo>
                  <a:lnTo>
                    <a:pt x="53" y="107"/>
                  </a:lnTo>
                  <a:lnTo>
                    <a:pt x="55" y="113"/>
                  </a:lnTo>
                  <a:lnTo>
                    <a:pt x="55" y="113"/>
                  </a:lnTo>
                  <a:lnTo>
                    <a:pt x="56" y="117"/>
                  </a:lnTo>
                  <a:lnTo>
                    <a:pt x="55" y="123"/>
                  </a:lnTo>
                  <a:lnTo>
                    <a:pt x="55" y="123"/>
                  </a:lnTo>
                  <a:lnTo>
                    <a:pt x="56" y="127"/>
                  </a:lnTo>
                  <a:lnTo>
                    <a:pt x="59" y="130"/>
                  </a:lnTo>
                  <a:lnTo>
                    <a:pt x="62" y="135"/>
                  </a:lnTo>
                  <a:lnTo>
                    <a:pt x="63" y="139"/>
                  </a:lnTo>
                  <a:lnTo>
                    <a:pt x="63" y="139"/>
                  </a:lnTo>
                  <a:lnTo>
                    <a:pt x="62" y="145"/>
                  </a:lnTo>
                  <a:lnTo>
                    <a:pt x="59" y="151"/>
                  </a:lnTo>
                  <a:lnTo>
                    <a:pt x="56" y="161"/>
                  </a:lnTo>
                  <a:lnTo>
                    <a:pt x="56" y="161"/>
                  </a:lnTo>
                  <a:lnTo>
                    <a:pt x="58" y="164"/>
                  </a:lnTo>
                  <a:lnTo>
                    <a:pt x="58" y="166"/>
                  </a:lnTo>
                  <a:lnTo>
                    <a:pt x="58" y="166"/>
                  </a:lnTo>
                  <a:lnTo>
                    <a:pt x="62" y="182"/>
                  </a:lnTo>
                  <a:lnTo>
                    <a:pt x="62" y="182"/>
                  </a:lnTo>
                  <a:lnTo>
                    <a:pt x="63" y="182"/>
                  </a:lnTo>
                  <a:lnTo>
                    <a:pt x="63" y="182"/>
                  </a:lnTo>
                  <a:lnTo>
                    <a:pt x="68" y="182"/>
                  </a:lnTo>
                  <a:lnTo>
                    <a:pt x="71" y="185"/>
                  </a:lnTo>
                  <a:lnTo>
                    <a:pt x="75" y="193"/>
                  </a:lnTo>
                  <a:lnTo>
                    <a:pt x="75" y="193"/>
                  </a:lnTo>
                  <a:lnTo>
                    <a:pt x="76" y="198"/>
                  </a:lnTo>
                  <a:lnTo>
                    <a:pt x="76" y="204"/>
                  </a:lnTo>
                  <a:lnTo>
                    <a:pt x="75" y="210"/>
                  </a:lnTo>
                  <a:lnTo>
                    <a:pt x="72" y="213"/>
                  </a:lnTo>
                  <a:lnTo>
                    <a:pt x="72" y="213"/>
                  </a:lnTo>
                  <a:lnTo>
                    <a:pt x="68" y="216"/>
                  </a:lnTo>
                  <a:lnTo>
                    <a:pt x="63" y="223"/>
                  </a:lnTo>
                  <a:lnTo>
                    <a:pt x="56" y="236"/>
                  </a:lnTo>
                  <a:lnTo>
                    <a:pt x="56" y="236"/>
                  </a:lnTo>
                  <a:lnTo>
                    <a:pt x="52" y="242"/>
                  </a:lnTo>
                  <a:lnTo>
                    <a:pt x="46" y="250"/>
                  </a:lnTo>
                  <a:lnTo>
                    <a:pt x="39" y="258"/>
                  </a:lnTo>
                  <a:lnTo>
                    <a:pt x="36" y="263"/>
                  </a:lnTo>
                  <a:lnTo>
                    <a:pt x="36" y="263"/>
                  </a:lnTo>
                  <a:lnTo>
                    <a:pt x="31" y="271"/>
                  </a:lnTo>
                  <a:lnTo>
                    <a:pt x="26" y="278"/>
                  </a:lnTo>
                  <a:lnTo>
                    <a:pt x="14" y="291"/>
                  </a:lnTo>
                  <a:lnTo>
                    <a:pt x="14" y="291"/>
                  </a:lnTo>
                  <a:lnTo>
                    <a:pt x="13" y="294"/>
                  </a:lnTo>
                  <a:lnTo>
                    <a:pt x="13" y="297"/>
                  </a:lnTo>
                  <a:lnTo>
                    <a:pt x="16" y="304"/>
                  </a:lnTo>
                  <a:lnTo>
                    <a:pt x="16" y="304"/>
                  </a:lnTo>
                  <a:lnTo>
                    <a:pt x="20" y="324"/>
                  </a:lnTo>
                  <a:lnTo>
                    <a:pt x="21" y="333"/>
                  </a:lnTo>
                  <a:lnTo>
                    <a:pt x="21" y="340"/>
                  </a:lnTo>
                  <a:lnTo>
                    <a:pt x="21" y="340"/>
                  </a:lnTo>
                  <a:lnTo>
                    <a:pt x="18" y="349"/>
                  </a:lnTo>
                  <a:lnTo>
                    <a:pt x="17" y="358"/>
                  </a:lnTo>
                  <a:lnTo>
                    <a:pt x="17" y="358"/>
                  </a:lnTo>
                  <a:lnTo>
                    <a:pt x="18" y="361"/>
                  </a:lnTo>
                  <a:lnTo>
                    <a:pt x="20" y="363"/>
                  </a:lnTo>
                  <a:lnTo>
                    <a:pt x="21" y="366"/>
                  </a:lnTo>
                  <a:lnTo>
                    <a:pt x="24" y="368"/>
                  </a:lnTo>
                  <a:lnTo>
                    <a:pt x="24" y="368"/>
                  </a:lnTo>
                  <a:lnTo>
                    <a:pt x="29" y="368"/>
                  </a:lnTo>
                  <a:lnTo>
                    <a:pt x="31" y="371"/>
                  </a:lnTo>
                  <a:lnTo>
                    <a:pt x="34" y="374"/>
                  </a:lnTo>
                  <a:lnTo>
                    <a:pt x="36" y="376"/>
                  </a:lnTo>
                  <a:lnTo>
                    <a:pt x="36" y="376"/>
                  </a:lnTo>
                  <a:lnTo>
                    <a:pt x="37" y="381"/>
                  </a:lnTo>
                  <a:lnTo>
                    <a:pt x="39" y="384"/>
                  </a:lnTo>
                  <a:lnTo>
                    <a:pt x="42" y="385"/>
                  </a:lnTo>
                  <a:lnTo>
                    <a:pt x="42" y="385"/>
                  </a:lnTo>
                  <a:lnTo>
                    <a:pt x="46" y="387"/>
                  </a:lnTo>
                  <a:lnTo>
                    <a:pt x="52" y="387"/>
                  </a:lnTo>
                  <a:lnTo>
                    <a:pt x="58" y="387"/>
                  </a:lnTo>
                  <a:lnTo>
                    <a:pt x="60" y="385"/>
                  </a:lnTo>
                  <a:lnTo>
                    <a:pt x="60" y="385"/>
                  </a:lnTo>
                  <a:lnTo>
                    <a:pt x="66" y="382"/>
                  </a:lnTo>
                  <a:lnTo>
                    <a:pt x="71" y="381"/>
                  </a:lnTo>
                  <a:lnTo>
                    <a:pt x="76" y="379"/>
                  </a:lnTo>
                  <a:lnTo>
                    <a:pt x="76" y="379"/>
                  </a:lnTo>
                  <a:lnTo>
                    <a:pt x="91" y="376"/>
                  </a:lnTo>
                  <a:lnTo>
                    <a:pt x="97" y="375"/>
                  </a:lnTo>
                  <a:lnTo>
                    <a:pt x="101" y="374"/>
                  </a:lnTo>
                  <a:lnTo>
                    <a:pt x="101" y="374"/>
                  </a:lnTo>
                  <a:lnTo>
                    <a:pt x="104" y="371"/>
                  </a:lnTo>
                  <a:lnTo>
                    <a:pt x="107" y="371"/>
                  </a:lnTo>
                  <a:lnTo>
                    <a:pt x="111" y="371"/>
                  </a:lnTo>
                  <a:lnTo>
                    <a:pt x="111" y="371"/>
                  </a:lnTo>
                  <a:lnTo>
                    <a:pt x="115" y="372"/>
                  </a:lnTo>
                  <a:lnTo>
                    <a:pt x="121" y="371"/>
                  </a:lnTo>
                  <a:lnTo>
                    <a:pt x="121" y="371"/>
                  </a:lnTo>
                  <a:lnTo>
                    <a:pt x="149" y="339"/>
                  </a:lnTo>
                  <a:lnTo>
                    <a:pt x="160" y="324"/>
                  </a:lnTo>
                  <a:lnTo>
                    <a:pt x="166" y="313"/>
                  </a:lnTo>
                  <a:lnTo>
                    <a:pt x="166" y="313"/>
                  </a:lnTo>
                  <a:lnTo>
                    <a:pt x="170" y="303"/>
                  </a:lnTo>
                  <a:lnTo>
                    <a:pt x="172" y="290"/>
                  </a:lnTo>
                  <a:lnTo>
                    <a:pt x="173" y="279"/>
                  </a:lnTo>
                  <a:lnTo>
                    <a:pt x="172" y="275"/>
                  </a:lnTo>
                  <a:lnTo>
                    <a:pt x="170" y="2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58" name="Freeform 729"/>
            <p:cNvSpPr>
              <a:spLocks/>
            </p:cNvSpPr>
            <p:nvPr/>
          </p:nvSpPr>
          <p:spPr bwMode="auto">
            <a:xfrm>
              <a:off x="5205413" y="3916792"/>
              <a:ext cx="527050" cy="457200"/>
            </a:xfrm>
            <a:custGeom>
              <a:avLst/>
              <a:gdLst>
                <a:gd name="T0" fmla="*/ 142 w 332"/>
                <a:gd name="T1" fmla="*/ 255 h 288"/>
                <a:gd name="T2" fmla="*/ 156 w 332"/>
                <a:gd name="T3" fmla="*/ 258 h 288"/>
                <a:gd name="T4" fmla="*/ 169 w 332"/>
                <a:gd name="T5" fmla="*/ 259 h 288"/>
                <a:gd name="T6" fmla="*/ 177 w 332"/>
                <a:gd name="T7" fmla="*/ 265 h 288"/>
                <a:gd name="T8" fmla="*/ 177 w 332"/>
                <a:gd name="T9" fmla="*/ 288 h 288"/>
                <a:gd name="T10" fmla="*/ 246 w 332"/>
                <a:gd name="T11" fmla="*/ 246 h 288"/>
                <a:gd name="T12" fmla="*/ 264 w 332"/>
                <a:gd name="T13" fmla="*/ 237 h 288"/>
                <a:gd name="T14" fmla="*/ 301 w 332"/>
                <a:gd name="T15" fmla="*/ 224 h 288"/>
                <a:gd name="T16" fmla="*/ 322 w 332"/>
                <a:gd name="T17" fmla="*/ 210 h 288"/>
                <a:gd name="T18" fmla="*/ 329 w 332"/>
                <a:gd name="T19" fmla="*/ 188 h 288"/>
                <a:gd name="T20" fmla="*/ 330 w 332"/>
                <a:gd name="T21" fmla="*/ 166 h 288"/>
                <a:gd name="T22" fmla="*/ 322 w 332"/>
                <a:gd name="T23" fmla="*/ 161 h 288"/>
                <a:gd name="T24" fmla="*/ 280 w 332"/>
                <a:gd name="T25" fmla="*/ 161 h 288"/>
                <a:gd name="T26" fmla="*/ 272 w 332"/>
                <a:gd name="T27" fmla="*/ 158 h 288"/>
                <a:gd name="T28" fmla="*/ 265 w 332"/>
                <a:gd name="T29" fmla="*/ 145 h 288"/>
                <a:gd name="T30" fmla="*/ 259 w 332"/>
                <a:gd name="T31" fmla="*/ 137 h 288"/>
                <a:gd name="T32" fmla="*/ 256 w 332"/>
                <a:gd name="T33" fmla="*/ 124 h 288"/>
                <a:gd name="T34" fmla="*/ 253 w 332"/>
                <a:gd name="T35" fmla="*/ 120 h 288"/>
                <a:gd name="T36" fmla="*/ 253 w 332"/>
                <a:gd name="T37" fmla="*/ 108 h 288"/>
                <a:gd name="T38" fmla="*/ 249 w 332"/>
                <a:gd name="T39" fmla="*/ 98 h 288"/>
                <a:gd name="T40" fmla="*/ 243 w 332"/>
                <a:gd name="T41" fmla="*/ 84 h 288"/>
                <a:gd name="T42" fmla="*/ 230 w 332"/>
                <a:gd name="T43" fmla="*/ 71 h 288"/>
                <a:gd name="T44" fmla="*/ 225 w 332"/>
                <a:gd name="T45" fmla="*/ 62 h 288"/>
                <a:gd name="T46" fmla="*/ 214 w 332"/>
                <a:gd name="T47" fmla="*/ 64 h 288"/>
                <a:gd name="T48" fmla="*/ 206 w 332"/>
                <a:gd name="T49" fmla="*/ 68 h 288"/>
                <a:gd name="T50" fmla="*/ 198 w 332"/>
                <a:gd name="T51" fmla="*/ 56 h 288"/>
                <a:gd name="T52" fmla="*/ 194 w 332"/>
                <a:gd name="T53" fmla="*/ 50 h 288"/>
                <a:gd name="T54" fmla="*/ 146 w 332"/>
                <a:gd name="T55" fmla="*/ 37 h 288"/>
                <a:gd name="T56" fmla="*/ 141 w 332"/>
                <a:gd name="T57" fmla="*/ 27 h 288"/>
                <a:gd name="T58" fmla="*/ 132 w 332"/>
                <a:gd name="T59" fmla="*/ 16 h 288"/>
                <a:gd name="T60" fmla="*/ 70 w 332"/>
                <a:gd name="T61" fmla="*/ 1 h 288"/>
                <a:gd name="T62" fmla="*/ 55 w 332"/>
                <a:gd name="T63" fmla="*/ 0 h 288"/>
                <a:gd name="T64" fmla="*/ 36 w 332"/>
                <a:gd name="T65" fmla="*/ 11 h 288"/>
                <a:gd name="T66" fmla="*/ 35 w 332"/>
                <a:gd name="T67" fmla="*/ 19 h 288"/>
                <a:gd name="T68" fmla="*/ 43 w 332"/>
                <a:gd name="T69" fmla="*/ 33 h 288"/>
                <a:gd name="T70" fmla="*/ 39 w 332"/>
                <a:gd name="T71" fmla="*/ 39 h 288"/>
                <a:gd name="T72" fmla="*/ 22 w 332"/>
                <a:gd name="T73" fmla="*/ 46 h 288"/>
                <a:gd name="T74" fmla="*/ 0 w 332"/>
                <a:gd name="T75" fmla="*/ 66 h 288"/>
                <a:gd name="T76" fmla="*/ 3 w 332"/>
                <a:gd name="T77" fmla="*/ 66 h 288"/>
                <a:gd name="T78" fmla="*/ 22 w 332"/>
                <a:gd name="T79" fmla="*/ 95 h 288"/>
                <a:gd name="T80" fmla="*/ 30 w 332"/>
                <a:gd name="T81" fmla="*/ 107 h 288"/>
                <a:gd name="T82" fmla="*/ 41 w 332"/>
                <a:gd name="T83" fmla="*/ 116 h 288"/>
                <a:gd name="T84" fmla="*/ 36 w 332"/>
                <a:gd name="T85" fmla="*/ 123 h 288"/>
                <a:gd name="T86" fmla="*/ 41 w 332"/>
                <a:gd name="T87" fmla="*/ 129 h 288"/>
                <a:gd name="T88" fmla="*/ 54 w 332"/>
                <a:gd name="T89" fmla="*/ 139 h 288"/>
                <a:gd name="T90" fmla="*/ 71 w 332"/>
                <a:gd name="T91" fmla="*/ 166 h 288"/>
                <a:gd name="T92" fmla="*/ 68 w 332"/>
                <a:gd name="T93" fmla="*/ 174 h 288"/>
                <a:gd name="T94" fmla="*/ 71 w 332"/>
                <a:gd name="T95" fmla="*/ 187 h 288"/>
                <a:gd name="T96" fmla="*/ 81 w 332"/>
                <a:gd name="T97" fmla="*/ 205 h 288"/>
                <a:gd name="T98" fmla="*/ 93 w 332"/>
                <a:gd name="T99" fmla="*/ 213 h 288"/>
                <a:gd name="T100" fmla="*/ 107 w 332"/>
                <a:gd name="T101" fmla="*/ 232 h 288"/>
                <a:gd name="T102" fmla="*/ 126 w 332"/>
                <a:gd name="T103" fmla="*/ 268 h 288"/>
                <a:gd name="T104" fmla="*/ 132 w 332"/>
                <a:gd name="T105" fmla="*/ 26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2" h="288">
                  <a:moveTo>
                    <a:pt x="139" y="256"/>
                  </a:moveTo>
                  <a:lnTo>
                    <a:pt x="139" y="256"/>
                  </a:lnTo>
                  <a:lnTo>
                    <a:pt x="142" y="255"/>
                  </a:lnTo>
                  <a:lnTo>
                    <a:pt x="146" y="256"/>
                  </a:lnTo>
                  <a:lnTo>
                    <a:pt x="152" y="256"/>
                  </a:lnTo>
                  <a:lnTo>
                    <a:pt x="156" y="258"/>
                  </a:lnTo>
                  <a:lnTo>
                    <a:pt x="156" y="258"/>
                  </a:lnTo>
                  <a:lnTo>
                    <a:pt x="164" y="258"/>
                  </a:lnTo>
                  <a:lnTo>
                    <a:pt x="169" y="259"/>
                  </a:lnTo>
                  <a:lnTo>
                    <a:pt x="175" y="262"/>
                  </a:lnTo>
                  <a:lnTo>
                    <a:pt x="177" y="263"/>
                  </a:lnTo>
                  <a:lnTo>
                    <a:pt x="177" y="265"/>
                  </a:lnTo>
                  <a:lnTo>
                    <a:pt x="177" y="265"/>
                  </a:lnTo>
                  <a:lnTo>
                    <a:pt x="178" y="279"/>
                  </a:lnTo>
                  <a:lnTo>
                    <a:pt x="177" y="288"/>
                  </a:lnTo>
                  <a:lnTo>
                    <a:pt x="177" y="288"/>
                  </a:lnTo>
                  <a:lnTo>
                    <a:pt x="217" y="263"/>
                  </a:lnTo>
                  <a:lnTo>
                    <a:pt x="246" y="246"/>
                  </a:lnTo>
                  <a:lnTo>
                    <a:pt x="258" y="240"/>
                  </a:lnTo>
                  <a:lnTo>
                    <a:pt x="264" y="237"/>
                  </a:lnTo>
                  <a:lnTo>
                    <a:pt x="264" y="237"/>
                  </a:lnTo>
                  <a:lnTo>
                    <a:pt x="275" y="234"/>
                  </a:lnTo>
                  <a:lnTo>
                    <a:pt x="293" y="229"/>
                  </a:lnTo>
                  <a:lnTo>
                    <a:pt x="301" y="224"/>
                  </a:lnTo>
                  <a:lnTo>
                    <a:pt x="310" y="220"/>
                  </a:lnTo>
                  <a:lnTo>
                    <a:pt x="317" y="216"/>
                  </a:lnTo>
                  <a:lnTo>
                    <a:pt x="322" y="210"/>
                  </a:lnTo>
                  <a:lnTo>
                    <a:pt x="322" y="210"/>
                  </a:lnTo>
                  <a:lnTo>
                    <a:pt x="327" y="197"/>
                  </a:lnTo>
                  <a:lnTo>
                    <a:pt x="329" y="188"/>
                  </a:lnTo>
                  <a:lnTo>
                    <a:pt x="330" y="181"/>
                  </a:lnTo>
                  <a:lnTo>
                    <a:pt x="332" y="172"/>
                  </a:lnTo>
                  <a:lnTo>
                    <a:pt x="330" y="166"/>
                  </a:lnTo>
                  <a:lnTo>
                    <a:pt x="327" y="162"/>
                  </a:lnTo>
                  <a:lnTo>
                    <a:pt x="324" y="162"/>
                  </a:lnTo>
                  <a:lnTo>
                    <a:pt x="322" y="161"/>
                  </a:lnTo>
                  <a:lnTo>
                    <a:pt x="322" y="161"/>
                  </a:lnTo>
                  <a:lnTo>
                    <a:pt x="291" y="162"/>
                  </a:lnTo>
                  <a:lnTo>
                    <a:pt x="280" y="161"/>
                  </a:lnTo>
                  <a:lnTo>
                    <a:pt x="275" y="159"/>
                  </a:lnTo>
                  <a:lnTo>
                    <a:pt x="272" y="158"/>
                  </a:lnTo>
                  <a:lnTo>
                    <a:pt x="272" y="158"/>
                  </a:lnTo>
                  <a:lnTo>
                    <a:pt x="269" y="153"/>
                  </a:lnTo>
                  <a:lnTo>
                    <a:pt x="267" y="149"/>
                  </a:lnTo>
                  <a:lnTo>
                    <a:pt x="265" y="145"/>
                  </a:lnTo>
                  <a:lnTo>
                    <a:pt x="262" y="140"/>
                  </a:lnTo>
                  <a:lnTo>
                    <a:pt x="262" y="140"/>
                  </a:lnTo>
                  <a:lnTo>
                    <a:pt x="259" y="137"/>
                  </a:lnTo>
                  <a:lnTo>
                    <a:pt x="256" y="133"/>
                  </a:lnTo>
                  <a:lnTo>
                    <a:pt x="255" y="129"/>
                  </a:lnTo>
                  <a:lnTo>
                    <a:pt x="256" y="124"/>
                  </a:lnTo>
                  <a:lnTo>
                    <a:pt x="256" y="124"/>
                  </a:lnTo>
                  <a:lnTo>
                    <a:pt x="253" y="120"/>
                  </a:lnTo>
                  <a:lnTo>
                    <a:pt x="253" y="120"/>
                  </a:lnTo>
                  <a:lnTo>
                    <a:pt x="253" y="114"/>
                  </a:lnTo>
                  <a:lnTo>
                    <a:pt x="253" y="108"/>
                  </a:lnTo>
                  <a:lnTo>
                    <a:pt x="253" y="108"/>
                  </a:lnTo>
                  <a:lnTo>
                    <a:pt x="251" y="106"/>
                  </a:lnTo>
                  <a:lnTo>
                    <a:pt x="251" y="106"/>
                  </a:lnTo>
                  <a:lnTo>
                    <a:pt x="249" y="98"/>
                  </a:lnTo>
                  <a:lnTo>
                    <a:pt x="248" y="91"/>
                  </a:lnTo>
                  <a:lnTo>
                    <a:pt x="248" y="91"/>
                  </a:lnTo>
                  <a:lnTo>
                    <a:pt x="243" y="84"/>
                  </a:lnTo>
                  <a:lnTo>
                    <a:pt x="238" y="77"/>
                  </a:lnTo>
                  <a:lnTo>
                    <a:pt x="238" y="77"/>
                  </a:lnTo>
                  <a:lnTo>
                    <a:pt x="230" y="71"/>
                  </a:lnTo>
                  <a:lnTo>
                    <a:pt x="227" y="66"/>
                  </a:lnTo>
                  <a:lnTo>
                    <a:pt x="225" y="62"/>
                  </a:lnTo>
                  <a:lnTo>
                    <a:pt x="225" y="62"/>
                  </a:lnTo>
                  <a:lnTo>
                    <a:pt x="223" y="59"/>
                  </a:lnTo>
                  <a:lnTo>
                    <a:pt x="223" y="59"/>
                  </a:lnTo>
                  <a:lnTo>
                    <a:pt x="214" y="64"/>
                  </a:lnTo>
                  <a:lnTo>
                    <a:pt x="214" y="64"/>
                  </a:lnTo>
                  <a:lnTo>
                    <a:pt x="209" y="66"/>
                  </a:lnTo>
                  <a:lnTo>
                    <a:pt x="206" y="68"/>
                  </a:lnTo>
                  <a:lnTo>
                    <a:pt x="203" y="66"/>
                  </a:lnTo>
                  <a:lnTo>
                    <a:pt x="203" y="66"/>
                  </a:lnTo>
                  <a:lnTo>
                    <a:pt x="198" y="56"/>
                  </a:lnTo>
                  <a:lnTo>
                    <a:pt x="197" y="53"/>
                  </a:lnTo>
                  <a:lnTo>
                    <a:pt x="194" y="50"/>
                  </a:lnTo>
                  <a:lnTo>
                    <a:pt x="194" y="50"/>
                  </a:lnTo>
                  <a:lnTo>
                    <a:pt x="169" y="45"/>
                  </a:lnTo>
                  <a:lnTo>
                    <a:pt x="154" y="40"/>
                  </a:lnTo>
                  <a:lnTo>
                    <a:pt x="146" y="37"/>
                  </a:lnTo>
                  <a:lnTo>
                    <a:pt x="146" y="37"/>
                  </a:lnTo>
                  <a:lnTo>
                    <a:pt x="143" y="33"/>
                  </a:lnTo>
                  <a:lnTo>
                    <a:pt x="141" y="27"/>
                  </a:lnTo>
                  <a:lnTo>
                    <a:pt x="136" y="20"/>
                  </a:lnTo>
                  <a:lnTo>
                    <a:pt x="132" y="16"/>
                  </a:lnTo>
                  <a:lnTo>
                    <a:pt x="132" y="16"/>
                  </a:lnTo>
                  <a:lnTo>
                    <a:pt x="117" y="11"/>
                  </a:lnTo>
                  <a:lnTo>
                    <a:pt x="94" y="6"/>
                  </a:lnTo>
                  <a:lnTo>
                    <a:pt x="70" y="1"/>
                  </a:lnTo>
                  <a:lnTo>
                    <a:pt x="59" y="0"/>
                  </a:lnTo>
                  <a:lnTo>
                    <a:pt x="55" y="0"/>
                  </a:lnTo>
                  <a:lnTo>
                    <a:pt x="55" y="0"/>
                  </a:lnTo>
                  <a:lnTo>
                    <a:pt x="48" y="3"/>
                  </a:lnTo>
                  <a:lnTo>
                    <a:pt x="41" y="7"/>
                  </a:lnTo>
                  <a:lnTo>
                    <a:pt x="36" y="11"/>
                  </a:lnTo>
                  <a:lnTo>
                    <a:pt x="33" y="14"/>
                  </a:lnTo>
                  <a:lnTo>
                    <a:pt x="33" y="14"/>
                  </a:lnTo>
                  <a:lnTo>
                    <a:pt x="35" y="19"/>
                  </a:lnTo>
                  <a:lnTo>
                    <a:pt x="39" y="24"/>
                  </a:lnTo>
                  <a:lnTo>
                    <a:pt x="42" y="30"/>
                  </a:lnTo>
                  <a:lnTo>
                    <a:pt x="43" y="33"/>
                  </a:lnTo>
                  <a:lnTo>
                    <a:pt x="42" y="35"/>
                  </a:lnTo>
                  <a:lnTo>
                    <a:pt x="42" y="35"/>
                  </a:lnTo>
                  <a:lnTo>
                    <a:pt x="39" y="39"/>
                  </a:lnTo>
                  <a:lnTo>
                    <a:pt x="33" y="42"/>
                  </a:lnTo>
                  <a:lnTo>
                    <a:pt x="28" y="45"/>
                  </a:lnTo>
                  <a:lnTo>
                    <a:pt x="22" y="46"/>
                  </a:lnTo>
                  <a:lnTo>
                    <a:pt x="1" y="46"/>
                  </a:lnTo>
                  <a:lnTo>
                    <a:pt x="1" y="46"/>
                  </a:lnTo>
                  <a:lnTo>
                    <a:pt x="0" y="66"/>
                  </a:lnTo>
                  <a:lnTo>
                    <a:pt x="1" y="66"/>
                  </a:lnTo>
                  <a:lnTo>
                    <a:pt x="1" y="66"/>
                  </a:lnTo>
                  <a:lnTo>
                    <a:pt x="3" y="66"/>
                  </a:lnTo>
                  <a:lnTo>
                    <a:pt x="6" y="69"/>
                  </a:lnTo>
                  <a:lnTo>
                    <a:pt x="12" y="78"/>
                  </a:lnTo>
                  <a:lnTo>
                    <a:pt x="22" y="95"/>
                  </a:lnTo>
                  <a:lnTo>
                    <a:pt x="22" y="95"/>
                  </a:lnTo>
                  <a:lnTo>
                    <a:pt x="26" y="101"/>
                  </a:lnTo>
                  <a:lnTo>
                    <a:pt x="30" y="107"/>
                  </a:lnTo>
                  <a:lnTo>
                    <a:pt x="39" y="114"/>
                  </a:lnTo>
                  <a:lnTo>
                    <a:pt x="39" y="114"/>
                  </a:lnTo>
                  <a:lnTo>
                    <a:pt x="41" y="116"/>
                  </a:lnTo>
                  <a:lnTo>
                    <a:pt x="39" y="117"/>
                  </a:lnTo>
                  <a:lnTo>
                    <a:pt x="38" y="120"/>
                  </a:lnTo>
                  <a:lnTo>
                    <a:pt x="36" y="123"/>
                  </a:lnTo>
                  <a:lnTo>
                    <a:pt x="36" y="123"/>
                  </a:lnTo>
                  <a:lnTo>
                    <a:pt x="38" y="126"/>
                  </a:lnTo>
                  <a:lnTo>
                    <a:pt x="41" y="129"/>
                  </a:lnTo>
                  <a:lnTo>
                    <a:pt x="48" y="133"/>
                  </a:lnTo>
                  <a:lnTo>
                    <a:pt x="48" y="133"/>
                  </a:lnTo>
                  <a:lnTo>
                    <a:pt x="54" y="139"/>
                  </a:lnTo>
                  <a:lnTo>
                    <a:pt x="61" y="150"/>
                  </a:lnTo>
                  <a:lnTo>
                    <a:pt x="71" y="166"/>
                  </a:lnTo>
                  <a:lnTo>
                    <a:pt x="71" y="166"/>
                  </a:lnTo>
                  <a:lnTo>
                    <a:pt x="71" y="169"/>
                  </a:lnTo>
                  <a:lnTo>
                    <a:pt x="71" y="171"/>
                  </a:lnTo>
                  <a:lnTo>
                    <a:pt x="68" y="174"/>
                  </a:lnTo>
                  <a:lnTo>
                    <a:pt x="68" y="174"/>
                  </a:lnTo>
                  <a:lnTo>
                    <a:pt x="70" y="179"/>
                  </a:lnTo>
                  <a:lnTo>
                    <a:pt x="71" y="187"/>
                  </a:lnTo>
                  <a:lnTo>
                    <a:pt x="78" y="201"/>
                  </a:lnTo>
                  <a:lnTo>
                    <a:pt x="78" y="201"/>
                  </a:lnTo>
                  <a:lnTo>
                    <a:pt x="81" y="205"/>
                  </a:lnTo>
                  <a:lnTo>
                    <a:pt x="85" y="207"/>
                  </a:lnTo>
                  <a:lnTo>
                    <a:pt x="93" y="213"/>
                  </a:lnTo>
                  <a:lnTo>
                    <a:pt x="93" y="213"/>
                  </a:lnTo>
                  <a:lnTo>
                    <a:pt x="100" y="220"/>
                  </a:lnTo>
                  <a:lnTo>
                    <a:pt x="107" y="232"/>
                  </a:lnTo>
                  <a:lnTo>
                    <a:pt x="107" y="232"/>
                  </a:lnTo>
                  <a:lnTo>
                    <a:pt x="123" y="262"/>
                  </a:lnTo>
                  <a:lnTo>
                    <a:pt x="123" y="262"/>
                  </a:lnTo>
                  <a:lnTo>
                    <a:pt x="126" y="268"/>
                  </a:lnTo>
                  <a:lnTo>
                    <a:pt x="125" y="271"/>
                  </a:lnTo>
                  <a:lnTo>
                    <a:pt x="125" y="271"/>
                  </a:lnTo>
                  <a:lnTo>
                    <a:pt x="132" y="262"/>
                  </a:lnTo>
                  <a:lnTo>
                    <a:pt x="136" y="258"/>
                  </a:lnTo>
                  <a:lnTo>
                    <a:pt x="139" y="256"/>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59" name="Freeform 730"/>
            <p:cNvSpPr>
              <a:spLocks/>
            </p:cNvSpPr>
            <p:nvPr/>
          </p:nvSpPr>
          <p:spPr bwMode="auto">
            <a:xfrm>
              <a:off x="5205413" y="3916792"/>
              <a:ext cx="527050" cy="457200"/>
            </a:xfrm>
            <a:custGeom>
              <a:avLst/>
              <a:gdLst>
                <a:gd name="T0" fmla="*/ 142 w 332"/>
                <a:gd name="T1" fmla="*/ 255 h 288"/>
                <a:gd name="T2" fmla="*/ 156 w 332"/>
                <a:gd name="T3" fmla="*/ 258 h 288"/>
                <a:gd name="T4" fmla="*/ 169 w 332"/>
                <a:gd name="T5" fmla="*/ 259 h 288"/>
                <a:gd name="T6" fmla="*/ 177 w 332"/>
                <a:gd name="T7" fmla="*/ 265 h 288"/>
                <a:gd name="T8" fmla="*/ 177 w 332"/>
                <a:gd name="T9" fmla="*/ 288 h 288"/>
                <a:gd name="T10" fmla="*/ 246 w 332"/>
                <a:gd name="T11" fmla="*/ 246 h 288"/>
                <a:gd name="T12" fmla="*/ 264 w 332"/>
                <a:gd name="T13" fmla="*/ 237 h 288"/>
                <a:gd name="T14" fmla="*/ 301 w 332"/>
                <a:gd name="T15" fmla="*/ 224 h 288"/>
                <a:gd name="T16" fmla="*/ 322 w 332"/>
                <a:gd name="T17" fmla="*/ 210 h 288"/>
                <a:gd name="T18" fmla="*/ 329 w 332"/>
                <a:gd name="T19" fmla="*/ 188 h 288"/>
                <a:gd name="T20" fmla="*/ 330 w 332"/>
                <a:gd name="T21" fmla="*/ 166 h 288"/>
                <a:gd name="T22" fmla="*/ 322 w 332"/>
                <a:gd name="T23" fmla="*/ 161 h 288"/>
                <a:gd name="T24" fmla="*/ 280 w 332"/>
                <a:gd name="T25" fmla="*/ 161 h 288"/>
                <a:gd name="T26" fmla="*/ 272 w 332"/>
                <a:gd name="T27" fmla="*/ 158 h 288"/>
                <a:gd name="T28" fmla="*/ 265 w 332"/>
                <a:gd name="T29" fmla="*/ 145 h 288"/>
                <a:gd name="T30" fmla="*/ 259 w 332"/>
                <a:gd name="T31" fmla="*/ 137 h 288"/>
                <a:gd name="T32" fmla="*/ 256 w 332"/>
                <a:gd name="T33" fmla="*/ 124 h 288"/>
                <a:gd name="T34" fmla="*/ 253 w 332"/>
                <a:gd name="T35" fmla="*/ 120 h 288"/>
                <a:gd name="T36" fmla="*/ 253 w 332"/>
                <a:gd name="T37" fmla="*/ 108 h 288"/>
                <a:gd name="T38" fmla="*/ 249 w 332"/>
                <a:gd name="T39" fmla="*/ 98 h 288"/>
                <a:gd name="T40" fmla="*/ 243 w 332"/>
                <a:gd name="T41" fmla="*/ 84 h 288"/>
                <a:gd name="T42" fmla="*/ 230 w 332"/>
                <a:gd name="T43" fmla="*/ 71 h 288"/>
                <a:gd name="T44" fmla="*/ 225 w 332"/>
                <a:gd name="T45" fmla="*/ 62 h 288"/>
                <a:gd name="T46" fmla="*/ 214 w 332"/>
                <a:gd name="T47" fmla="*/ 64 h 288"/>
                <a:gd name="T48" fmla="*/ 206 w 332"/>
                <a:gd name="T49" fmla="*/ 68 h 288"/>
                <a:gd name="T50" fmla="*/ 198 w 332"/>
                <a:gd name="T51" fmla="*/ 56 h 288"/>
                <a:gd name="T52" fmla="*/ 194 w 332"/>
                <a:gd name="T53" fmla="*/ 50 h 288"/>
                <a:gd name="T54" fmla="*/ 146 w 332"/>
                <a:gd name="T55" fmla="*/ 37 h 288"/>
                <a:gd name="T56" fmla="*/ 141 w 332"/>
                <a:gd name="T57" fmla="*/ 27 h 288"/>
                <a:gd name="T58" fmla="*/ 132 w 332"/>
                <a:gd name="T59" fmla="*/ 16 h 288"/>
                <a:gd name="T60" fmla="*/ 70 w 332"/>
                <a:gd name="T61" fmla="*/ 1 h 288"/>
                <a:gd name="T62" fmla="*/ 55 w 332"/>
                <a:gd name="T63" fmla="*/ 0 h 288"/>
                <a:gd name="T64" fmla="*/ 36 w 332"/>
                <a:gd name="T65" fmla="*/ 11 h 288"/>
                <a:gd name="T66" fmla="*/ 35 w 332"/>
                <a:gd name="T67" fmla="*/ 19 h 288"/>
                <a:gd name="T68" fmla="*/ 43 w 332"/>
                <a:gd name="T69" fmla="*/ 33 h 288"/>
                <a:gd name="T70" fmla="*/ 39 w 332"/>
                <a:gd name="T71" fmla="*/ 39 h 288"/>
                <a:gd name="T72" fmla="*/ 22 w 332"/>
                <a:gd name="T73" fmla="*/ 46 h 288"/>
                <a:gd name="T74" fmla="*/ 0 w 332"/>
                <a:gd name="T75" fmla="*/ 66 h 288"/>
                <a:gd name="T76" fmla="*/ 3 w 332"/>
                <a:gd name="T77" fmla="*/ 66 h 288"/>
                <a:gd name="T78" fmla="*/ 22 w 332"/>
                <a:gd name="T79" fmla="*/ 95 h 288"/>
                <a:gd name="T80" fmla="*/ 30 w 332"/>
                <a:gd name="T81" fmla="*/ 107 h 288"/>
                <a:gd name="T82" fmla="*/ 41 w 332"/>
                <a:gd name="T83" fmla="*/ 116 h 288"/>
                <a:gd name="T84" fmla="*/ 36 w 332"/>
                <a:gd name="T85" fmla="*/ 123 h 288"/>
                <a:gd name="T86" fmla="*/ 41 w 332"/>
                <a:gd name="T87" fmla="*/ 129 h 288"/>
                <a:gd name="T88" fmla="*/ 54 w 332"/>
                <a:gd name="T89" fmla="*/ 139 h 288"/>
                <a:gd name="T90" fmla="*/ 71 w 332"/>
                <a:gd name="T91" fmla="*/ 166 h 288"/>
                <a:gd name="T92" fmla="*/ 68 w 332"/>
                <a:gd name="T93" fmla="*/ 174 h 288"/>
                <a:gd name="T94" fmla="*/ 71 w 332"/>
                <a:gd name="T95" fmla="*/ 187 h 288"/>
                <a:gd name="T96" fmla="*/ 81 w 332"/>
                <a:gd name="T97" fmla="*/ 205 h 288"/>
                <a:gd name="T98" fmla="*/ 93 w 332"/>
                <a:gd name="T99" fmla="*/ 213 h 288"/>
                <a:gd name="T100" fmla="*/ 107 w 332"/>
                <a:gd name="T101" fmla="*/ 232 h 288"/>
                <a:gd name="T102" fmla="*/ 126 w 332"/>
                <a:gd name="T103" fmla="*/ 268 h 288"/>
                <a:gd name="T104" fmla="*/ 132 w 332"/>
                <a:gd name="T105" fmla="*/ 26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2" h="288">
                  <a:moveTo>
                    <a:pt x="139" y="256"/>
                  </a:moveTo>
                  <a:lnTo>
                    <a:pt x="139" y="256"/>
                  </a:lnTo>
                  <a:lnTo>
                    <a:pt x="142" y="255"/>
                  </a:lnTo>
                  <a:lnTo>
                    <a:pt x="146" y="256"/>
                  </a:lnTo>
                  <a:lnTo>
                    <a:pt x="152" y="256"/>
                  </a:lnTo>
                  <a:lnTo>
                    <a:pt x="156" y="258"/>
                  </a:lnTo>
                  <a:lnTo>
                    <a:pt x="156" y="258"/>
                  </a:lnTo>
                  <a:lnTo>
                    <a:pt x="164" y="258"/>
                  </a:lnTo>
                  <a:lnTo>
                    <a:pt x="169" y="259"/>
                  </a:lnTo>
                  <a:lnTo>
                    <a:pt x="175" y="262"/>
                  </a:lnTo>
                  <a:lnTo>
                    <a:pt x="177" y="263"/>
                  </a:lnTo>
                  <a:lnTo>
                    <a:pt x="177" y="265"/>
                  </a:lnTo>
                  <a:lnTo>
                    <a:pt x="177" y="265"/>
                  </a:lnTo>
                  <a:lnTo>
                    <a:pt x="178" y="279"/>
                  </a:lnTo>
                  <a:lnTo>
                    <a:pt x="177" y="288"/>
                  </a:lnTo>
                  <a:lnTo>
                    <a:pt x="177" y="288"/>
                  </a:lnTo>
                  <a:lnTo>
                    <a:pt x="217" y="263"/>
                  </a:lnTo>
                  <a:lnTo>
                    <a:pt x="246" y="246"/>
                  </a:lnTo>
                  <a:lnTo>
                    <a:pt x="258" y="240"/>
                  </a:lnTo>
                  <a:lnTo>
                    <a:pt x="264" y="237"/>
                  </a:lnTo>
                  <a:lnTo>
                    <a:pt x="264" y="237"/>
                  </a:lnTo>
                  <a:lnTo>
                    <a:pt x="275" y="234"/>
                  </a:lnTo>
                  <a:lnTo>
                    <a:pt x="293" y="229"/>
                  </a:lnTo>
                  <a:lnTo>
                    <a:pt x="301" y="224"/>
                  </a:lnTo>
                  <a:lnTo>
                    <a:pt x="310" y="220"/>
                  </a:lnTo>
                  <a:lnTo>
                    <a:pt x="317" y="216"/>
                  </a:lnTo>
                  <a:lnTo>
                    <a:pt x="322" y="210"/>
                  </a:lnTo>
                  <a:lnTo>
                    <a:pt x="322" y="210"/>
                  </a:lnTo>
                  <a:lnTo>
                    <a:pt x="327" y="197"/>
                  </a:lnTo>
                  <a:lnTo>
                    <a:pt x="329" y="188"/>
                  </a:lnTo>
                  <a:lnTo>
                    <a:pt x="330" y="181"/>
                  </a:lnTo>
                  <a:lnTo>
                    <a:pt x="332" y="172"/>
                  </a:lnTo>
                  <a:lnTo>
                    <a:pt x="330" y="166"/>
                  </a:lnTo>
                  <a:lnTo>
                    <a:pt x="327" y="162"/>
                  </a:lnTo>
                  <a:lnTo>
                    <a:pt x="324" y="162"/>
                  </a:lnTo>
                  <a:lnTo>
                    <a:pt x="322" y="161"/>
                  </a:lnTo>
                  <a:lnTo>
                    <a:pt x="322" y="161"/>
                  </a:lnTo>
                  <a:lnTo>
                    <a:pt x="291" y="162"/>
                  </a:lnTo>
                  <a:lnTo>
                    <a:pt x="280" y="161"/>
                  </a:lnTo>
                  <a:lnTo>
                    <a:pt x="275" y="159"/>
                  </a:lnTo>
                  <a:lnTo>
                    <a:pt x="272" y="158"/>
                  </a:lnTo>
                  <a:lnTo>
                    <a:pt x="272" y="158"/>
                  </a:lnTo>
                  <a:lnTo>
                    <a:pt x="269" y="153"/>
                  </a:lnTo>
                  <a:lnTo>
                    <a:pt x="267" y="149"/>
                  </a:lnTo>
                  <a:lnTo>
                    <a:pt x="265" y="145"/>
                  </a:lnTo>
                  <a:lnTo>
                    <a:pt x="262" y="140"/>
                  </a:lnTo>
                  <a:lnTo>
                    <a:pt x="262" y="140"/>
                  </a:lnTo>
                  <a:lnTo>
                    <a:pt x="259" y="137"/>
                  </a:lnTo>
                  <a:lnTo>
                    <a:pt x="256" y="133"/>
                  </a:lnTo>
                  <a:lnTo>
                    <a:pt x="255" y="129"/>
                  </a:lnTo>
                  <a:lnTo>
                    <a:pt x="256" y="124"/>
                  </a:lnTo>
                  <a:lnTo>
                    <a:pt x="256" y="124"/>
                  </a:lnTo>
                  <a:lnTo>
                    <a:pt x="253" y="120"/>
                  </a:lnTo>
                  <a:lnTo>
                    <a:pt x="253" y="120"/>
                  </a:lnTo>
                  <a:lnTo>
                    <a:pt x="253" y="114"/>
                  </a:lnTo>
                  <a:lnTo>
                    <a:pt x="253" y="108"/>
                  </a:lnTo>
                  <a:lnTo>
                    <a:pt x="253" y="108"/>
                  </a:lnTo>
                  <a:lnTo>
                    <a:pt x="251" y="106"/>
                  </a:lnTo>
                  <a:lnTo>
                    <a:pt x="251" y="106"/>
                  </a:lnTo>
                  <a:lnTo>
                    <a:pt x="249" y="98"/>
                  </a:lnTo>
                  <a:lnTo>
                    <a:pt x="248" y="91"/>
                  </a:lnTo>
                  <a:lnTo>
                    <a:pt x="248" y="91"/>
                  </a:lnTo>
                  <a:lnTo>
                    <a:pt x="243" y="84"/>
                  </a:lnTo>
                  <a:lnTo>
                    <a:pt x="238" y="77"/>
                  </a:lnTo>
                  <a:lnTo>
                    <a:pt x="238" y="77"/>
                  </a:lnTo>
                  <a:lnTo>
                    <a:pt x="230" y="71"/>
                  </a:lnTo>
                  <a:lnTo>
                    <a:pt x="227" y="66"/>
                  </a:lnTo>
                  <a:lnTo>
                    <a:pt x="225" y="62"/>
                  </a:lnTo>
                  <a:lnTo>
                    <a:pt x="225" y="62"/>
                  </a:lnTo>
                  <a:lnTo>
                    <a:pt x="223" y="59"/>
                  </a:lnTo>
                  <a:lnTo>
                    <a:pt x="223" y="59"/>
                  </a:lnTo>
                  <a:lnTo>
                    <a:pt x="214" y="64"/>
                  </a:lnTo>
                  <a:lnTo>
                    <a:pt x="214" y="64"/>
                  </a:lnTo>
                  <a:lnTo>
                    <a:pt x="209" y="66"/>
                  </a:lnTo>
                  <a:lnTo>
                    <a:pt x="206" y="68"/>
                  </a:lnTo>
                  <a:lnTo>
                    <a:pt x="203" y="66"/>
                  </a:lnTo>
                  <a:lnTo>
                    <a:pt x="203" y="66"/>
                  </a:lnTo>
                  <a:lnTo>
                    <a:pt x="198" y="56"/>
                  </a:lnTo>
                  <a:lnTo>
                    <a:pt x="197" y="53"/>
                  </a:lnTo>
                  <a:lnTo>
                    <a:pt x="194" y="50"/>
                  </a:lnTo>
                  <a:lnTo>
                    <a:pt x="194" y="50"/>
                  </a:lnTo>
                  <a:lnTo>
                    <a:pt x="169" y="45"/>
                  </a:lnTo>
                  <a:lnTo>
                    <a:pt x="154" y="40"/>
                  </a:lnTo>
                  <a:lnTo>
                    <a:pt x="146" y="37"/>
                  </a:lnTo>
                  <a:lnTo>
                    <a:pt x="146" y="37"/>
                  </a:lnTo>
                  <a:lnTo>
                    <a:pt x="143" y="33"/>
                  </a:lnTo>
                  <a:lnTo>
                    <a:pt x="141" y="27"/>
                  </a:lnTo>
                  <a:lnTo>
                    <a:pt x="136" y="20"/>
                  </a:lnTo>
                  <a:lnTo>
                    <a:pt x="132" y="16"/>
                  </a:lnTo>
                  <a:lnTo>
                    <a:pt x="132" y="16"/>
                  </a:lnTo>
                  <a:lnTo>
                    <a:pt x="117" y="11"/>
                  </a:lnTo>
                  <a:lnTo>
                    <a:pt x="94" y="6"/>
                  </a:lnTo>
                  <a:lnTo>
                    <a:pt x="70" y="1"/>
                  </a:lnTo>
                  <a:lnTo>
                    <a:pt x="59" y="0"/>
                  </a:lnTo>
                  <a:lnTo>
                    <a:pt x="55" y="0"/>
                  </a:lnTo>
                  <a:lnTo>
                    <a:pt x="55" y="0"/>
                  </a:lnTo>
                  <a:lnTo>
                    <a:pt x="48" y="3"/>
                  </a:lnTo>
                  <a:lnTo>
                    <a:pt x="41" y="7"/>
                  </a:lnTo>
                  <a:lnTo>
                    <a:pt x="36" y="11"/>
                  </a:lnTo>
                  <a:lnTo>
                    <a:pt x="33" y="14"/>
                  </a:lnTo>
                  <a:lnTo>
                    <a:pt x="33" y="14"/>
                  </a:lnTo>
                  <a:lnTo>
                    <a:pt x="35" y="19"/>
                  </a:lnTo>
                  <a:lnTo>
                    <a:pt x="39" y="24"/>
                  </a:lnTo>
                  <a:lnTo>
                    <a:pt x="42" y="30"/>
                  </a:lnTo>
                  <a:lnTo>
                    <a:pt x="43" y="33"/>
                  </a:lnTo>
                  <a:lnTo>
                    <a:pt x="42" y="35"/>
                  </a:lnTo>
                  <a:lnTo>
                    <a:pt x="42" y="35"/>
                  </a:lnTo>
                  <a:lnTo>
                    <a:pt x="39" y="39"/>
                  </a:lnTo>
                  <a:lnTo>
                    <a:pt x="33" y="42"/>
                  </a:lnTo>
                  <a:lnTo>
                    <a:pt x="28" y="45"/>
                  </a:lnTo>
                  <a:lnTo>
                    <a:pt x="22" y="46"/>
                  </a:lnTo>
                  <a:lnTo>
                    <a:pt x="1" y="46"/>
                  </a:lnTo>
                  <a:lnTo>
                    <a:pt x="1" y="46"/>
                  </a:lnTo>
                  <a:lnTo>
                    <a:pt x="0" y="66"/>
                  </a:lnTo>
                  <a:lnTo>
                    <a:pt x="1" y="66"/>
                  </a:lnTo>
                  <a:lnTo>
                    <a:pt x="1" y="66"/>
                  </a:lnTo>
                  <a:lnTo>
                    <a:pt x="3" y="66"/>
                  </a:lnTo>
                  <a:lnTo>
                    <a:pt x="6" y="69"/>
                  </a:lnTo>
                  <a:lnTo>
                    <a:pt x="12" y="78"/>
                  </a:lnTo>
                  <a:lnTo>
                    <a:pt x="22" y="95"/>
                  </a:lnTo>
                  <a:lnTo>
                    <a:pt x="22" y="95"/>
                  </a:lnTo>
                  <a:lnTo>
                    <a:pt x="26" y="101"/>
                  </a:lnTo>
                  <a:lnTo>
                    <a:pt x="30" y="107"/>
                  </a:lnTo>
                  <a:lnTo>
                    <a:pt x="39" y="114"/>
                  </a:lnTo>
                  <a:lnTo>
                    <a:pt x="39" y="114"/>
                  </a:lnTo>
                  <a:lnTo>
                    <a:pt x="41" y="116"/>
                  </a:lnTo>
                  <a:lnTo>
                    <a:pt x="39" y="117"/>
                  </a:lnTo>
                  <a:lnTo>
                    <a:pt x="38" y="120"/>
                  </a:lnTo>
                  <a:lnTo>
                    <a:pt x="36" y="123"/>
                  </a:lnTo>
                  <a:lnTo>
                    <a:pt x="36" y="123"/>
                  </a:lnTo>
                  <a:lnTo>
                    <a:pt x="38" y="126"/>
                  </a:lnTo>
                  <a:lnTo>
                    <a:pt x="41" y="129"/>
                  </a:lnTo>
                  <a:lnTo>
                    <a:pt x="48" y="133"/>
                  </a:lnTo>
                  <a:lnTo>
                    <a:pt x="48" y="133"/>
                  </a:lnTo>
                  <a:lnTo>
                    <a:pt x="54" y="139"/>
                  </a:lnTo>
                  <a:lnTo>
                    <a:pt x="61" y="150"/>
                  </a:lnTo>
                  <a:lnTo>
                    <a:pt x="71" y="166"/>
                  </a:lnTo>
                  <a:lnTo>
                    <a:pt x="71" y="166"/>
                  </a:lnTo>
                  <a:lnTo>
                    <a:pt x="71" y="169"/>
                  </a:lnTo>
                  <a:lnTo>
                    <a:pt x="71" y="171"/>
                  </a:lnTo>
                  <a:lnTo>
                    <a:pt x="68" y="174"/>
                  </a:lnTo>
                  <a:lnTo>
                    <a:pt x="68" y="174"/>
                  </a:lnTo>
                  <a:lnTo>
                    <a:pt x="70" y="179"/>
                  </a:lnTo>
                  <a:lnTo>
                    <a:pt x="71" y="187"/>
                  </a:lnTo>
                  <a:lnTo>
                    <a:pt x="78" y="201"/>
                  </a:lnTo>
                  <a:lnTo>
                    <a:pt x="78" y="201"/>
                  </a:lnTo>
                  <a:lnTo>
                    <a:pt x="81" y="205"/>
                  </a:lnTo>
                  <a:lnTo>
                    <a:pt x="85" y="207"/>
                  </a:lnTo>
                  <a:lnTo>
                    <a:pt x="93" y="213"/>
                  </a:lnTo>
                  <a:lnTo>
                    <a:pt x="93" y="213"/>
                  </a:lnTo>
                  <a:lnTo>
                    <a:pt x="100" y="220"/>
                  </a:lnTo>
                  <a:lnTo>
                    <a:pt x="107" y="232"/>
                  </a:lnTo>
                  <a:lnTo>
                    <a:pt x="107" y="232"/>
                  </a:lnTo>
                  <a:lnTo>
                    <a:pt x="123" y="262"/>
                  </a:lnTo>
                  <a:lnTo>
                    <a:pt x="123" y="262"/>
                  </a:lnTo>
                  <a:lnTo>
                    <a:pt x="126" y="268"/>
                  </a:lnTo>
                  <a:lnTo>
                    <a:pt x="125" y="271"/>
                  </a:lnTo>
                  <a:lnTo>
                    <a:pt x="125" y="271"/>
                  </a:lnTo>
                  <a:lnTo>
                    <a:pt x="132" y="262"/>
                  </a:lnTo>
                  <a:lnTo>
                    <a:pt x="136" y="258"/>
                  </a:lnTo>
                  <a:lnTo>
                    <a:pt x="139" y="25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60" name="Freeform 731"/>
            <p:cNvSpPr>
              <a:spLocks/>
            </p:cNvSpPr>
            <p:nvPr/>
          </p:nvSpPr>
          <p:spPr bwMode="auto">
            <a:xfrm>
              <a:off x="5403851" y="4286679"/>
              <a:ext cx="261938" cy="149225"/>
            </a:xfrm>
            <a:custGeom>
              <a:avLst/>
              <a:gdLst>
                <a:gd name="T0" fmla="*/ 139 w 165"/>
                <a:gd name="T1" fmla="*/ 4 h 94"/>
                <a:gd name="T2" fmla="*/ 139 w 165"/>
                <a:gd name="T3" fmla="*/ 4 h 94"/>
                <a:gd name="T4" fmla="*/ 133 w 165"/>
                <a:gd name="T5" fmla="*/ 7 h 94"/>
                <a:gd name="T6" fmla="*/ 121 w 165"/>
                <a:gd name="T7" fmla="*/ 13 h 94"/>
                <a:gd name="T8" fmla="*/ 92 w 165"/>
                <a:gd name="T9" fmla="*/ 30 h 94"/>
                <a:gd name="T10" fmla="*/ 52 w 165"/>
                <a:gd name="T11" fmla="*/ 55 h 94"/>
                <a:gd name="T12" fmla="*/ 52 w 165"/>
                <a:gd name="T13" fmla="*/ 55 h 94"/>
                <a:gd name="T14" fmla="*/ 53 w 165"/>
                <a:gd name="T15" fmla="*/ 46 h 94"/>
                <a:gd name="T16" fmla="*/ 52 w 165"/>
                <a:gd name="T17" fmla="*/ 32 h 94"/>
                <a:gd name="T18" fmla="*/ 52 w 165"/>
                <a:gd name="T19" fmla="*/ 32 h 94"/>
                <a:gd name="T20" fmla="*/ 52 w 165"/>
                <a:gd name="T21" fmla="*/ 30 h 94"/>
                <a:gd name="T22" fmla="*/ 50 w 165"/>
                <a:gd name="T23" fmla="*/ 29 h 94"/>
                <a:gd name="T24" fmla="*/ 44 w 165"/>
                <a:gd name="T25" fmla="*/ 26 h 94"/>
                <a:gd name="T26" fmla="*/ 39 w 165"/>
                <a:gd name="T27" fmla="*/ 25 h 94"/>
                <a:gd name="T28" fmla="*/ 31 w 165"/>
                <a:gd name="T29" fmla="*/ 25 h 94"/>
                <a:gd name="T30" fmla="*/ 31 w 165"/>
                <a:gd name="T31" fmla="*/ 25 h 94"/>
                <a:gd name="T32" fmla="*/ 27 w 165"/>
                <a:gd name="T33" fmla="*/ 23 h 94"/>
                <a:gd name="T34" fmla="*/ 21 w 165"/>
                <a:gd name="T35" fmla="*/ 23 h 94"/>
                <a:gd name="T36" fmla="*/ 17 w 165"/>
                <a:gd name="T37" fmla="*/ 22 h 94"/>
                <a:gd name="T38" fmla="*/ 14 w 165"/>
                <a:gd name="T39" fmla="*/ 23 h 94"/>
                <a:gd name="T40" fmla="*/ 14 w 165"/>
                <a:gd name="T41" fmla="*/ 23 h 94"/>
                <a:gd name="T42" fmla="*/ 11 w 165"/>
                <a:gd name="T43" fmla="*/ 25 h 94"/>
                <a:gd name="T44" fmla="*/ 7 w 165"/>
                <a:gd name="T45" fmla="*/ 29 h 94"/>
                <a:gd name="T46" fmla="*/ 0 w 165"/>
                <a:gd name="T47" fmla="*/ 38 h 94"/>
                <a:gd name="T48" fmla="*/ 0 w 165"/>
                <a:gd name="T49" fmla="*/ 38 h 94"/>
                <a:gd name="T50" fmla="*/ 0 w 165"/>
                <a:gd name="T51" fmla="*/ 42 h 94"/>
                <a:gd name="T52" fmla="*/ 0 w 165"/>
                <a:gd name="T53" fmla="*/ 42 h 94"/>
                <a:gd name="T54" fmla="*/ 5 w 165"/>
                <a:gd name="T55" fmla="*/ 62 h 94"/>
                <a:gd name="T56" fmla="*/ 10 w 165"/>
                <a:gd name="T57" fmla="*/ 74 h 94"/>
                <a:gd name="T58" fmla="*/ 11 w 165"/>
                <a:gd name="T59" fmla="*/ 83 h 94"/>
                <a:gd name="T60" fmla="*/ 11 w 165"/>
                <a:gd name="T61" fmla="*/ 83 h 94"/>
                <a:gd name="T62" fmla="*/ 13 w 165"/>
                <a:gd name="T63" fmla="*/ 87 h 94"/>
                <a:gd name="T64" fmla="*/ 14 w 165"/>
                <a:gd name="T65" fmla="*/ 90 h 94"/>
                <a:gd name="T66" fmla="*/ 18 w 165"/>
                <a:gd name="T67" fmla="*/ 93 h 94"/>
                <a:gd name="T68" fmla="*/ 21 w 165"/>
                <a:gd name="T69" fmla="*/ 94 h 94"/>
                <a:gd name="T70" fmla="*/ 21 w 165"/>
                <a:gd name="T71" fmla="*/ 94 h 94"/>
                <a:gd name="T72" fmla="*/ 26 w 165"/>
                <a:gd name="T73" fmla="*/ 94 h 94"/>
                <a:gd name="T74" fmla="*/ 31 w 165"/>
                <a:gd name="T75" fmla="*/ 91 h 94"/>
                <a:gd name="T76" fmla="*/ 42 w 165"/>
                <a:gd name="T77" fmla="*/ 87 h 94"/>
                <a:gd name="T78" fmla="*/ 42 w 165"/>
                <a:gd name="T79" fmla="*/ 87 h 94"/>
                <a:gd name="T80" fmla="*/ 47 w 165"/>
                <a:gd name="T81" fmla="*/ 85 h 94"/>
                <a:gd name="T82" fmla="*/ 55 w 165"/>
                <a:gd name="T83" fmla="*/ 84 h 94"/>
                <a:gd name="T84" fmla="*/ 71 w 165"/>
                <a:gd name="T85" fmla="*/ 83 h 94"/>
                <a:gd name="T86" fmla="*/ 71 w 165"/>
                <a:gd name="T87" fmla="*/ 83 h 94"/>
                <a:gd name="T88" fmla="*/ 81 w 165"/>
                <a:gd name="T89" fmla="*/ 81 h 94"/>
                <a:gd name="T90" fmla="*/ 94 w 165"/>
                <a:gd name="T91" fmla="*/ 75 h 94"/>
                <a:gd name="T92" fmla="*/ 107 w 165"/>
                <a:gd name="T93" fmla="*/ 68 h 94"/>
                <a:gd name="T94" fmla="*/ 115 w 165"/>
                <a:gd name="T95" fmla="*/ 62 h 94"/>
                <a:gd name="T96" fmla="*/ 115 w 165"/>
                <a:gd name="T97" fmla="*/ 62 h 94"/>
                <a:gd name="T98" fmla="*/ 124 w 165"/>
                <a:gd name="T99" fmla="*/ 58 h 94"/>
                <a:gd name="T100" fmla="*/ 136 w 165"/>
                <a:gd name="T101" fmla="*/ 55 h 94"/>
                <a:gd name="T102" fmla="*/ 152 w 165"/>
                <a:gd name="T103" fmla="*/ 49 h 94"/>
                <a:gd name="T104" fmla="*/ 152 w 165"/>
                <a:gd name="T105" fmla="*/ 49 h 94"/>
                <a:gd name="T106" fmla="*/ 155 w 165"/>
                <a:gd name="T107" fmla="*/ 48 h 94"/>
                <a:gd name="T108" fmla="*/ 156 w 165"/>
                <a:gd name="T109" fmla="*/ 43 h 94"/>
                <a:gd name="T110" fmla="*/ 157 w 165"/>
                <a:gd name="T111" fmla="*/ 38 h 94"/>
                <a:gd name="T112" fmla="*/ 160 w 165"/>
                <a:gd name="T113" fmla="*/ 35 h 94"/>
                <a:gd name="T114" fmla="*/ 160 w 165"/>
                <a:gd name="T115" fmla="*/ 35 h 94"/>
                <a:gd name="T116" fmla="*/ 165 w 165"/>
                <a:gd name="T117" fmla="*/ 32 h 94"/>
                <a:gd name="T118" fmla="*/ 165 w 165"/>
                <a:gd name="T119" fmla="*/ 32 h 94"/>
                <a:gd name="T120" fmla="*/ 155 w 165"/>
                <a:gd name="T121" fmla="*/ 0 h 94"/>
                <a:gd name="T122" fmla="*/ 155 w 165"/>
                <a:gd name="T123" fmla="*/ 0 h 94"/>
                <a:gd name="T124" fmla="*/ 139 w 165"/>
                <a:gd name="T125" fmla="*/ 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5" h="94">
                  <a:moveTo>
                    <a:pt x="139" y="4"/>
                  </a:moveTo>
                  <a:lnTo>
                    <a:pt x="139" y="4"/>
                  </a:lnTo>
                  <a:lnTo>
                    <a:pt x="133" y="7"/>
                  </a:lnTo>
                  <a:lnTo>
                    <a:pt x="121" y="13"/>
                  </a:lnTo>
                  <a:lnTo>
                    <a:pt x="92" y="30"/>
                  </a:lnTo>
                  <a:lnTo>
                    <a:pt x="52" y="55"/>
                  </a:lnTo>
                  <a:lnTo>
                    <a:pt x="52" y="55"/>
                  </a:lnTo>
                  <a:lnTo>
                    <a:pt x="53" y="46"/>
                  </a:lnTo>
                  <a:lnTo>
                    <a:pt x="52" y="32"/>
                  </a:lnTo>
                  <a:lnTo>
                    <a:pt x="52" y="32"/>
                  </a:lnTo>
                  <a:lnTo>
                    <a:pt x="52" y="30"/>
                  </a:lnTo>
                  <a:lnTo>
                    <a:pt x="50" y="29"/>
                  </a:lnTo>
                  <a:lnTo>
                    <a:pt x="44" y="26"/>
                  </a:lnTo>
                  <a:lnTo>
                    <a:pt x="39" y="25"/>
                  </a:lnTo>
                  <a:lnTo>
                    <a:pt x="31" y="25"/>
                  </a:lnTo>
                  <a:lnTo>
                    <a:pt x="31" y="25"/>
                  </a:lnTo>
                  <a:lnTo>
                    <a:pt x="27" y="23"/>
                  </a:lnTo>
                  <a:lnTo>
                    <a:pt x="21" y="23"/>
                  </a:lnTo>
                  <a:lnTo>
                    <a:pt x="17" y="22"/>
                  </a:lnTo>
                  <a:lnTo>
                    <a:pt x="14" y="23"/>
                  </a:lnTo>
                  <a:lnTo>
                    <a:pt x="14" y="23"/>
                  </a:lnTo>
                  <a:lnTo>
                    <a:pt x="11" y="25"/>
                  </a:lnTo>
                  <a:lnTo>
                    <a:pt x="7" y="29"/>
                  </a:lnTo>
                  <a:lnTo>
                    <a:pt x="0" y="38"/>
                  </a:lnTo>
                  <a:lnTo>
                    <a:pt x="0" y="38"/>
                  </a:lnTo>
                  <a:lnTo>
                    <a:pt x="0" y="42"/>
                  </a:lnTo>
                  <a:lnTo>
                    <a:pt x="0" y="42"/>
                  </a:lnTo>
                  <a:lnTo>
                    <a:pt x="5" y="62"/>
                  </a:lnTo>
                  <a:lnTo>
                    <a:pt x="10" y="74"/>
                  </a:lnTo>
                  <a:lnTo>
                    <a:pt x="11" y="83"/>
                  </a:lnTo>
                  <a:lnTo>
                    <a:pt x="11" y="83"/>
                  </a:lnTo>
                  <a:lnTo>
                    <a:pt x="13" y="87"/>
                  </a:lnTo>
                  <a:lnTo>
                    <a:pt x="14" y="90"/>
                  </a:lnTo>
                  <a:lnTo>
                    <a:pt x="18" y="93"/>
                  </a:lnTo>
                  <a:lnTo>
                    <a:pt x="21" y="94"/>
                  </a:lnTo>
                  <a:lnTo>
                    <a:pt x="21" y="94"/>
                  </a:lnTo>
                  <a:lnTo>
                    <a:pt x="26" y="94"/>
                  </a:lnTo>
                  <a:lnTo>
                    <a:pt x="31" y="91"/>
                  </a:lnTo>
                  <a:lnTo>
                    <a:pt x="42" y="87"/>
                  </a:lnTo>
                  <a:lnTo>
                    <a:pt x="42" y="87"/>
                  </a:lnTo>
                  <a:lnTo>
                    <a:pt x="47" y="85"/>
                  </a:lnTo>
                  <a:lnTo>
                    <a:pt x="55" y="84"/>
                  </a:lnTo>
                  <a:lnTo>
                    <a:pt x="71" y="83"/>
                  </a:lnTo>
                  <a:lnTo>
                    <a:pt x="71" y="83"/>
                  </a:lnTo>
                  <a:lnTo>
                    <a:pt x="81" y="81"/>
                  </a:lnTo>
                  <a:lnTo>
                    <a:pt x="94" y="75"/>
                  </a:lnTo>
                  <a:lnTo>
                    <a:pt x="107" y="68"/>
                  </a:lnTo>
                  <a:lnTo>
                    <a:pt x="115" y="62"/>
                  </a:lnTo>
                  <a:lnTo>
                    <a:pt x="115" y="62"/>
                  </a:lnTo>
                  <a:lnTo>
                    <a:pt x="124" y="58"/>
                  </a:lnTo>
                  <a:lnTo>
                    <a:pt x="136" y="55"/>
                  </a:lnTo>
                  <a:lnTo>
                    <a:pt x="152" y="49"/>
                  </a:lnTo>
                  <a:lnTo>
                    <a:pt x="152" y="49"/>
                  </a:lnTo>
                  <a:lnTo>
                    <a:pt x="155" y="48"/>
                  </a:lnTo>
                  <a:lnTo>
                    <a:pt x="156" y="43"/>
                  </a:lnTo>
                  <a:lnTo>
                    <a:pt x="157" y="38"/>
                  </a:lnTo>
                  <a:lnTo>
                    <a:pt x="160" y="35"/>
                  </a:lnTo>
                  <a:lnTo>
                    <a:pt x="160" y="35"/>
                  </a:lnTo>
                  <a:lnTo>
                    <a:pt x="165" y="32"/>
                  </a:lnTo>
                  <a:lnTo>
                    <a:pt x="165" y="32"/>
                  </a:lnTo>
                  <a:lnTo>
                    <a:pt x="155" y="0"/>
                  </a:lnTo>
                  <a:lnTo>
                    <a:pt x="155" y="0"/>
                  </a:lnTo>
                  <a:lnTo>
                    <a:pt x="139" y="4"/>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61" name="Freeform 732"/>
            <p:cNvSpPr>
              <a:spLocks/>
            </p:cNvSpPr>
            <p:nvPr/>
          </p:nvSpPr>
          <p:spPr bwMode="auto">
            <a:xfrm>
              <a:off x="5403851" y="4286679"/>
              <a:ext cx="261938" cy="149225"/>
            </a:xfrm>
            <a:custGeom>
              <a:avLst/>
              <a:gdLst>
                <a:gd name="T0" fmla="*/ 139 w 165"/>
                <a:gd name="T1" fmla="*/ 4 h 94"/>
                <a:gd name="T2" fmla="*/ 139 w 165"/>
                <a:gd name="T3" fmla="*/ 4 h 94"/>
                <a:gd name="T4" fmla="*/ 133 w 165"/>
                <a:gd name="T5" fmla="*/ 7 h 94"/>
                <a:gd name="T6" fmla="*/ 121 w 165"/>
                <a:gd name="T7" fmla="*/ 13 h 94"/>
                <a:gd name="T8" fmla="*/ 92 w 165"/>
                <a:gd name="T9" fmla="*/ 30 h 94"/>
                <a:gd name="T10" fmla="*/ 52 w 165"/>
                <a:gd name="T11" fmla="*/ 55 h 94"/>
                <a:gd name="T12" fmla="*/ 52 w 165"/>
                <a:gd name="T13" fmla="*/ 55 h 94"/>
                <a:gd name="T14" fmla="*/ 53 w 165"/>
                <a:gd name="T15" fmla="*/ 46 h 94"/>
                <a:gd name="T16" fmla="*/ 52 w 165"/>
                <a:gd name="T17" fmla="*/ 32 h 94"/>
                <a:gd name="T18" fmla="*/ 52 w 165"/>
                <a:gd name="T19" fmla="*/ 32 h 94"/>
                <a:gd name="T20" fmla="*/ 52 w 165"/>
                <a:gd name="T21" fmla="*/ 30 h 94"/>
                <a:gd name="T22" fmla="*/ 50 w 165"/>
                <a:gd name="T23" fmla="*/ 29 h 94"/>
                <a:gd name="T24" fmla="*/ 44 w 165"/>
                <a:gd name="T25" fmla="*/ 26 h 94"/>
                <a:gd name="T26" fmla="*/ 39 w 165"/>
                <a:gd name="T27" fmla="*/ 25 h 94"/>
                <a:gd name="T28" fmla="*/ 31 w 165"/>
                <a:gd name="T29" fmla="*/ 25 h 94"/>
                <a:gd name="T30" fmla="*/ 31 w 165"/>
                <a:gd name="T31" fmla="*/ 25 h 94"/>
                <a:gd name="T32" fmla="*/ 27 w 165"/>
                <a:gd name="T33" fmla="*/ 23 h 94"/>
                <a:gd name="T34" fmla="*/ 21 w 165"/>
                <a:gd name="T35" fmla="*/ 23 h 94"/>
                <a:gd name="T36" fmla="*/ 17 w 165"/>
                <a:gd name="T37" fmla="*/ 22 h 94"/>
                <a:gd name="T38" fmla="*/ 14 w 165"/>
                <a:gd name="T39" fmla="*/ 23 h 94"/>
                <a:gd name="T40" fmla="*/ 14 w 165"/>
                <a:gd name="T41" fmla="*/ 23 h 94"/>
                <a:gd name="T42" fmla="*/ 11 w 165"/>
                <a:gd name="T43" fmla="*/ 25 h 94"/>
                <a:gd name="T44" fmla="*/ 7 w 165"/>
                <a:gd name="T45" fmla="*/ 29 h 94"/>
                <a:gd name="T46" fmla="*/ 0 w 165"/>
                <a:gd name="T47" fmla="*/ 38 h 94"/>
                <a:gd name="T48" fmla="*/ 0 w 165"/>
                <a:gd name="T49" fmla="*/ 38 h 94"/>
                <a:gd name="T50" fmla="*/ 0 w 165"/>
                <a:gd name="T51" fmla="*/ 42 h 94"/>
                <a:gd name="T52" fmla="*/ 0 w 165"/>
                <a:gd name="T53" fmla="*/ 42 h 94"/>
                <a:gd name="T54" fmla="*/ 5 w 165"/>
                <a:gd name="T55" fmla="*/ 62 h 94"/>
                <a:gd name="T56" fmla="*/ 10 w 165"/>
                <a:gd name="T57" fmla="*/ 74 h 94"/>
                <a:gd name="T58" fmla="*/ 11 w 165"/>
                <a:gd name="T59" fmla="*/ 83 h 94"/>
                <a:gd name="T60" fmla="*/ 11 w 165"/>
                <a:gd name="T61" fmla="*/ 83 h 94"/>
                <a:gd name="T62" fmla="*/ 13 w 165"/>
                <a:gd name="T63" fmla="*/ 87 h 94"/>
                <a:gd name="T64" fmla="*/ 14 w 165"/>
                <a:gd name="T65" fmla="*/ 90 h 94"/>
                <a:gd name="T66" fmla="*/ 18 w 165"/>
                <a:gd name="T67" fmla="*/ 93 h 94"/>
                <a:gd name="T68" fmla="*/ 21 w 165"/>
                <a:gd name="T69" fmla="*/ 94 h 94"/>
                <a:gd name="T70" fmla="*/ 21 w 165"/>
                <a:gd name="T71" fmla="*/ 94 h 94"/>
                <a:gd name="T72" fmla="*/ 26 w 165"/>
                <a:gd name="T73" fmla="*/ 94 h 94"/>
                <a:gd name="T74" fmla="*/ 31 w 165"/>
                <a:gd name="T75" fmla="*/ 91 h 94"/>
                <a:gd name="T76" fmla="*/ 42 w 165"/>
                <a:gd name="T77" fmla="*/ 87 h 94"/>
                <a:gd name="T78" fmla="*/ 42 w 165"/>
                <a:gd name="T79" fmla="*/ 87 h 94"/>
                <a:gd name="T80" fmla="*/ 47 w 165"/>
                <a:gd name="T81" fmla="*/ 85 h 94"/>
                <a:gd name="T82" fmla="*/ 55 w 165"/>
                <a:gd name="T83" fmla="*/ 84 h 94"/>
                <a:gd name="T84" fmla="*/ 71 w 165"/>
                <a:gd name="T85" fmla="*/ 83 h 94"/>
                <a:gd name="T86" fmla="*/ 71 w 165"/>
                <a:gd name="T87" fmla="*/ 83 h 94"/>
                <a:gd name="T88" fmla="*/ 81 w 165"/>
                <a:gd name="T89" fmla="*/ 81 h 94"/>
                <a:gd name="T90" fmla="*/ 94 w 165"/>
                <a:gd name="T91" fmla="*/ 75 h 94"/>
                <a:gd name="T92" fmla="*/ 107 w 165"/>
                <a:gd name="T93" fmla="*/ 68 h 94"/>
                <a:gd name="T94" fmla="*/ 115 w 165"/>
                <a:gd name="T95" fmla="*/ 62 h 94"/>
                <a:gd name="T96" fmla="*/ 115 w 165"/>
                <a:gd name="T97" fmla="*/ 62 h 94"/>
                <a:gd name="T98" fmla="*/ 124 w 165"/>
                <a:gd name="T99" fmla="*/ 58 h 94"/>
                <a:gd name="T100" fmla="*/ 136 w 165"/>
                <a:gd name="T101" fmla="*/ 55 h 94"/>
                <a:gd name="T102" fmla="*/ 152 w 165"/>
                <a:gd name="T103" fmla="*/ 49 h 94"/>
                <a:gd name="T104" fmla="*/ 152 w 165"/>
                <a:gd name="T105" fmla="*/ 49 h 94"/>
                <a:gd name="T106" fmla="*/ 155 w 165"/>
                <a:gd name="T107" fmla="*/ 48 h 94"/>
                <a:gd name="T108" fmla="*/ 156 w 165"/>
                <a:gd name="T109" fmla="*/ 43 h 94"/>
                <a:gd name="T110" fmla="*/ 157 w 165"/>
                <a:gd name="T111" fmla="*/ 38 h 94"/>
                <a:gd name="T112" fmla="*/ 160 w 165"/>
                <a:gd name="T113" fmla="*/ 35 h 94"/>
                <a:gd name="T114" fmla="*/ 160 w 165"/>
                <a:gd name="T115" fmla="*/ 35 h 94"/>
                <a:gd name="T116" fmla="*/ 165 w 165"/>
                <a:gd name="T117" fmla="*/ 32 h 94"/>
                <a:gd name="T118" fmla="*/ 165 w 165"/>
                <a:gd name="T119" fmla="*/ 32 h 94"/>
                <a:gd name="T120" fmla="*/ 155 w 165"/>
                <a:gd name="T121" fmla="*/ 0 h 94"/>
                <a:gd name="T122" fmla="*/ 155 w 165"/>
                <a:gd name="T123" fmla="*/ 0 h 94"/>
                <a:gd name="T124" fmla="*/ 139 w 165"/>
                <a:gd name="T125" fmla="*/ 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5" h="94">
                  <a:moveTo>
                    <a:pt x="139" y="4"/>
                  </a:moveTo>
                  <a:lnTo>
                    <a:pt x="139" y="4"/>
                  </a:lnTo>
                  <a:lnTo>
                    <a:pt x="133" y="7"/>
                  </a:lnTo>
                  <a:lnTo>
                    <a:pt x="121" y="13"/>
                  </a:lnTo>
                  <a:lnTo>
                    <a:pt x="92" y="30"/>
                  </a:lnTo>
                  <a:lnTo>
                    <a:pt x="52" y="55"/>
                  </a:lnTo>
                  <a:lnTo>
                    <a:pt x="52" y="55"/>
                  </a:lnTo>
                  <a:lnTo>
                    <a:pt x="53" y="46"/>
                  </a:lnTo>
                  <a:lnTo>
                    <a:pt x="52" y="32"/>
                  </a:lnTo>
                  <a:lnTo>
                    <a:pt x="52" y="32"/>
                  </a:lnTo>
                  <a:lnTo>
                    <a:pt x="52" y="30"/>
                  </a:lnTo>
                  <a:lnTo>
                    <a:pt x="50" y="29"/>
                  </a:lnTo>
                  <a:lnTo>
                    <a:pt x="44" y="26"/>
                  </a:lnTo>
                  <a:lnTo>
                    <a:pt x="39" y="25"/>
                  </a:lnTo>
                  <a:lnTo>
                    <a:pt x="31" y="25"/>
                  </a:lnTo>
                  <a:lnTo>
                    <a:pt x="31" y="25"/>
                  </a:lnTo>
                  <a:lnTo>
                    <a:pt x="27" y="23"/>
                  </a:lnTo>
                  <a:lnTo>
                    <a:pt x="21" y="23"/>
                  </a:lnTo>
                  <a:lnTo>
                    <a:pt x="17" y="22"/>
                  </a:lnTo>
                  <a:lnTo>
                    <a:pt x="14" y="23"/>
                  </a:lnTo>
                  <a:lnTo>
                    <a:pt x="14" y="23"/>
                  </a:lnTo>
                  <a:lnTo>
                    <a:pt x="11" y="25"/>
                  </a:lnTo>
                  <a:lnTo>
                    <a:pt x="7" y="29"/>
                  </a:lnTo>
                  <a:lnTo>
                    <a:pt x="0" y="38"/>
                  </a:lnTo>
                  <a:lnTo>
                    <a:pt x="0" y="38"/>
                  </a:lnTo>
                  <a:lnTo>
                    <a:pt x="0" y="42"/>
                  </a:lnTo>
                  <a:lnTo>
                    <a:pt x="0" y="42"/>
                  </a:lnTo>
                  <a:lnTo>
                    <a:pt x="5" y="62"/>
                  </a:lnTo>
                  <a:lnTo>
                    <a:pt x="10" y="74"/>
                  </a:lnTo>
                  <a:lnTo>
                    <a:pt x="11" y="83"/>
                  </a:lnTo>
                  <a:lnTo>
                    <a:pt x="11" y="83"/>
                  </a:lnTo>
                  <a:lnTo>
                    <a:pt x="13" y="87"/>
                  </a:lnTo>
                  <a:lnTo>
                    <a:pt x="14" y="90"/>
                  </a:lnTo>
                  <a:lnTo>
                    <a:pt x="18" y="93"/>
                  </a:lnTo>
                  <a:lnTo>
                    <a:pt x="21" y="94"/>
                  </a:lnTo>
                  <a:lnTo>
                    <a:pt x="21" y="94"/>
                  </a:lnTo>
                  <a:lnTo>
                    <a:pt x="26" y="94"/>
                  </a:lnTo>
                  <a:lnTo>
                    <a:pt x="31" y="91"/>
                  </a:lnTo>
                  <a:lnTo>
                    <a:pt x="42" y="87"/>
                  </a:lnTo>
                  <a:lnTo>
                    <a:pt x="42" y="87"/>
                  </a:lnTo>
                  <a:lnTo>
                    <a:pt x="47" y="85"/>
                  </a:lnTo>
                  <a:lnTo>
                    <a:pt x="55" y="84"/>
                  </a:lnTo>
                  <a:lnTo>
                    <a:pt x="71" y="83"/>
                  </a:lnTo>
                  <a:lnTo>
                    <a:pt x="71" y="83"/>
                  </a:lnTo>
                  <a:lnTo>
                    <a:pt x="81" y="81"/>
                  </a:lnTo>
                  <a:lnTo>
                    <a:pt x="94" y="75"/>
                  </a:lnTo>
                  <a:lnTo>
                    <a:pt x="107" y="68"/>
                  </a:lnTo>
                  <a:lnTo>
                    <a:pt x="115" y="62"/>
                  </a:lnTo>
                  <a:lnTo>
                    <a:pt x="115" y="62"/>
                  </a:lnTo>
                  <a:lnTo>
                    <a:pt x="124" y="58"/>
                  </a:lnTo>
                  <a:lnTo>
                    <a:pt x="136" y="55"/>
                  </a:lnTo>
                  <a:lnTo>
                    <a:pt x="152" y="49"/>
                  </a:lnTo>
                  <a:lnTo>
                    <a:pt x="152" y="49"/>
                  </a:lnTo>
                  <a:lnTo>
                    <a:pt x="155" y="48"/>
                  </a:lnTo>
                  <a:lnTo>
                    <a:pt x="156" y="43"/>
                  </a:lnTo>
                  <a:lnTo>
                    <a:pt x="157" y="38"/>
                  </a:lnTo>
                  <a:lnTo>
                    <a:pt x="160" y="35"/>
                  </a:lnTo>
                  <a:lnTo>
                    <a:pt x="160" y="35"/>
                  </a:lnTo>
                  <a:lnTo>
                    <a:pt x="165" y="32"/>
                  </a:lnTo>
                  <a:lnTo>
                    <a:pt x="165" y="32"/>
                  </a:lnTo>
                  <a:lnTo>
                    <a:pt x="155" y="0"/>
                  </a:lnTo>
                  <a:lnTo>
                    <a:pt x="155" y="0"/>
                  </a:lnTo>
                  <a:lnTo>
                    <a:pt x="139"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62" name="Freeform 733"/>
            <p:cNvSpPr>
              <a:spLocks/>
            </p:cNvSpPr>
            <p:nvPr/>
          </p:nvSpPr>
          <p:spPr bwMode="auto">
            <a:xfrm>
              <a:off x="5649913" y="4113642"/>
              <a:ext cx="190500" cy="223838"/>
            </a:xfrm>
            <a:custGeom>
              <a:avLst/>
              <a:gdLst>
                <a:gd name="T0" fmla="*/ 115 w 120"/>
                <a:gd name="T1" fmla="*/ 38 h 141"/>
                <a:gd name="T2" fmla="*/ 110 w 120"/>
                <a:gd name="T3" fmla="*/ 32 h 141"/>
                <a:gd name="T4" fmla="*/ 104 w 120"/>
                <a:gd name="T5" fmla="*/ 25 h 141"/>
                <a:gd name="T6" fmla="*/ 94 w 120"/>
                <a:gd name="T7" fmla="*/ 19 h 141"/>
                <a:gd name="T8" fmla="*/ 82 w 120"/>
                <a:gd name="T9" fmla="*/ 19 h 141"/>
                <a:gd name="T10" fmla="*/ 73 w 120"/>
                <a:gd name="T11" fmla="*/ 12 h 141"/>
                <a:gd name="T12" fmla="*/ 68 w 120"/>
                <a:gd name="T13" fmla="*/ 0 h 141"/>
                <a:gd name="T14" fmla="*/ 60 w 120"/>
                <a:gd name="T15" fmla="*/ 3 h 141"/>
                <a:gd name="T16" fmla="*/ 59 w 120"/>
                <a:gd name="T17" fmla="*/ 8 h 141"/>
                <a:gd name="T18" fmla="*/ 56 w 120"/>
                <a:gd name="T19" fmla="*/ 18 h 141"/>
                <a:gd name="T20" fmla="*/ 46 w 120"/>
                <a:gd name="T21" fmla="*/ 38 h 141"/>
                <a:gd name="T22" fmla="*/ 49 w 120"/>
                <a:gd name="T23" fmla="*/ 41 h 141"/>
                <a:gd name="T24" fmla="*/ 52 w 120"/>
                <a:gd name="T25" fmla="*/ 53 h 141"/>
                <a:gd name="T26" fmla="*/ 46 w 120"/>
                <a:gd name="T27" fmla="*/ 74 h 141"/>
                <a:gd name="T28" fmla="*/ 42 w 120"/>
                <a:gd name="T29" fmla="*/ 86 h 141"/>
                <a:gd name="T30" fmla="*/ 34 w 120"/>
                <a:gd name="T31" fmla="*/ 93 h 141"/>
                <a:gd name="T32" fmla="*/ 11 w 120"/>
                <a:gd name="T33" fmla="*/ 105 h 141"/>
                <a:gd name="T34" fmla="*/ 0 w 120"/>
                <a:gd name="T35" fmla="*/ 109 h 141"/>
                <a:gd name="T36" fmla="*/ 10 w 120"/>
                <a:gd name="T37" fmla="*/ 141 h 141"/>
                <a:gd name="T38" fmla="*/ 34 w 120"/>
                <a:gd name="T39" fmla="*/ 134 h 141"/>
                <a:gd name="T40" fmla="*/ 46 w 120"/>
                <a:gd name="T41" fmla="*/ 132 h 141"/>
                <a:gd name="T42" fmla="*/ 53 w 120"/>
                <a:gd name="T43" fmla="*/ 126 h 141"/>
                <a:gd name="T44" fmla="*/ 53 w 120"/>
                <a:gd name="T45" fmla="*/ 123 h 141"/>
                <a:gd name="T46" fmla="*/ 57 w 120"/>
                <a:gd name="T47" fmla="*/ 119 h 141"/>
                <a:gd name="T48" fmla="*/ 60 w 120"/>
                <a:gd name="T49" fmla="*/ 118 h 141"/>
                <a:gd name="T50" fmla="*/ 66 w 120"/>
                <a:gd name="T51" fmla="*/ 113 h 141"/>
                <a:gd name="T52" fmla="*/ 69 w 120"/>
                <a:gd name="T53" fmla="*/ 108 h 141"/>
                <a:gd name="T54" fmla="*/ 76 w 120"/>
                <a:gd name="T55" fmla="*/ 105 h 141"/>
                <a:gd name="T56" fmla="*/ 85 w 120"/>
                <a:gd name="T57" fmla="*/ 102 h 141"/>
                <a:gd name="T58" fmla="*/ 89 w 120"/>
                <a:gd name="T59" fmla="*/ 97 h 141"/>
                <a:gd name="T60" fmla="*/ 88 w 120"/>
                <a:gd name="T61" fmla="*/ 90 h 141"/>
                <a:gd name="T62" fmla="*/ 91 w 120"/>
                <a:gd name="T63" fmla="*/ 74 h 141"/>
                <a:gd name="T64" fmla="*/ 92 w 120"/>
                <a:gd name="T65" fmla="*/ 71 h 141"/>
                <a:gd name="T66" fmla="*/ 95 w 120"/>
                <a:gd name="T67" fmla="*/ 74 h 141"/>
                <a:gd name="T68" fmla="*/ 97 w 120"/>
                <a:gd name="T69" fmla="*/ 76 h 141"/>
                <a:gd name="T70" fmla="*/ 99 w 120"/>
                <a:gd name="T71" fmla="*/ 76 h 141"/>
                <a:gd name="T72" fmla="*/ 105 w 120"/>
                <a:gd name="T73" fmla="*/ 67 h 141"/>
                <a:gd name="T74" fmla="*/ 107 w 120"/>
                <a:gd name="T75" fmla="*/ 64 h 141"/>
                <a:gd name="T76" fmla="*/ 113 w 120"/>
                <a:gd name="T77" fmla="*/ 57 h 141"/>
                <a:gd name="T78" fmla="*/ 117 w 120"/>
                <a:gd name="T79" fmla="*/ 47 h 141"/>
                <a:gd name="T80" fmla="*/ 118 w 120"/>
                <a:gd name="T81" fmla="*/ 3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0" h="141">
                  <a:moveTo>
                    <a:pt x="115" y="38"/>
                  </a:moveTo>
                  <a:lnTo>
                    <a:pt x="115" y="38"/>
                  </a:lnTo>
                  <a:lnTo>
                    <a:pt x="113" y="35"/>
                  </a:lnTo>
                  <a:lnTo>
                    <a:pt x="110" y="32"/>
                  </a:lnTo>
                  <a:lnTo>
                    <a:pt x="104" y="25"/>
                  </a:lnTo>
                  <a:lnTo>
                    <a:pt x="104" y="25"/>
                  </a:lnTo>
                  <a:lnTo>
                    <a:pt x="99" y="22"/>
                  </a:lnTo>
                  <a:lnTo>
                    <a:pt x="94" y="19"/>
                  </a:lnTo>
                  <a:lnTo>
                    <a:pt x="82" y="19"/>
                  </a:lnTo>
                  <a:lnTo>
                    <a:pt x="82" y="19"/>
                  </a:lnTo>
                  <a:lnTo>
                    <a:pt x="78" y="16"/>
                  </a:lnTo>
                  <a:lnTo>
                    <a:pt x="73" y="12"/>
                  </a:lnTo>
                  <a:lnTo>
                    <a:pt x="68" y="0"/>
                  </a:lnTo>
                  <a:lnTo>
                    <a:pt x="68" y="0"/>
                  </a:lnTo>
                  <a:lnTo>
                    <a:pt x="60" y="3"/>
                  </a:lnTo>
                  <a:lnTo>
                    <a:pt x="60" y="3"/>
                  </a:lnTo>
                  <a:lnTo>
                    <a:pt x="59" y="5"/>
                  </a:lnTo>
                  <a:lnTo>
                    <a:pt x="59" y="8"/>
                  </a:lnTo>
                  <a:lnTo>
                    <a:pt x="57" y="12"/>
                  </a:lnTo>
                  <a:lnTo>
                    <a:pt x="56" y="18"/>
                  </a:lnTo>
                  <a:lnTo>
                    <a:pt x="56" y="18"/>
                  </a:lnTo>
                  <a:lnTo>
                    <a:pt x="46" y="38"/>
                  </a:lnTo>
                  <a:lnTo>
                    <a:pt x="46" y="38"/>
                  </a:lnTo>
                  <a:lnTo>
                    <a:pt x="49" y="41"/>
                  </a:lnTo>
                  <a:lnTo>
                    <a:pt x="50" y="47"/>
                  </a:lnTo>
                  <a:lnTo>
                    <a:pt x="52" y="53"/>
                  </a:lnTo>
                  <a:lnTo>
                    <a:pt x="50" y="60"/>
                  </a:lnTo>
                  <a:lnTo>
                    <a:pt x="46" y="74"/>
                  </a:lnTo>
                  <a:lnTo>
                    <a:pt x="42" y="86"/>
                  </a:lnTo>
                  <a:lnTo>
                    <a:pt x="42" y="86"/>
                  </a:lnTo>
                  <a:lnTo>
                    <a:pt x="39" y="90"/>
                  </a:lnTo>
                  <a:lnTo>
                    <a:pt x="34" y="93"/>
                  </a:lnTo>
                  <a:lnTo>
                    <a:pt x="24" y="100"/>
                  </a:lnTo>
                  <a:lnTo>
                    <a:pt x="11" y="105"/>
                  </a:lnTo>
                  <a:lnTo>
                    <a:pt x="0" y="109"/>
                  </a:lnTo>
                  <a:lnTo>
                    <a:pt x="0" y="109"/>
                  </a:lnTo>
                  <a:lnTo>
                    <a:pt x="10" y="141"/>
                  </a:lnTo>
                  <a:lnTo>
                    <a:pt x="10" y="141"/>
                  </a:lnTo>
                  <a:lnTo>
                    <a:pt x="23" y="137"/>
                  </a:lnTo>
                  <a:lnTo>
                    <a:pt x="34" y="134"/>
                  </a:lnTo>
                  <a:lnTo>
                    <a:pt x="34" y="134"/>
                  </a:lnTo>
                  <a:lnTo>
                    <a:pt x="46" y="132"/>
                  </a:lnTo>
                  <a:lnTo>
                    <a:pt x="50" y="129"/>
                  </a:lnTo>
                  <a:lnTo>
                    <a:pt x="53" y="126"/>
                  </a:lnTo>
                  <a:lnTo>
                    <a:pt x="53" y="126"/>
                  </a:lnTo>
                  <a:lnTo>
                    <a:pt x="53" y="123"/>
                  </a:lnTo>
                  <a:lnTo>
                    <a:pt x="55" y="121"/>
                  </a:lnTo>
                  <a:lnTo>
                    <a:pt x="57" y="119"/>
                  </a:lnTo>
                  <a:lnTo>
                    <a:pt x="60" y="118"/>
                  </a:lnTo>
                  <a:lnTo>
                    <a:pt x="60" y="118"/>
                  </a:lnTo>
                  <a:lnTo>
                    <a:pt x="65" y="116"/>
                  </a:lnTo>
                  <a:lnTo>
                    <a:pt x="66" y="113"/>
                  </a:lnTo>
                  <a:lnTo>
                    <a:pt x="69" y="108"/>
                  </a:lnTo>
                  <a:lnTo>
                    <a:pt x="69" y="108"/>
                  </a:lnTo>
                  <a:lnTo>
                    <a:pt x="72" y="106"/>
                  </a:lnTo>
                  <a:lnTo>
                    <a:pt x="76" y="105"/>
                  </a:lnTo>
                  <a:lnTo>
                    <a:pt x="85" y="102"/>
                  </a:lnTo>
                  <a:lnTo>
                    <a:pt x="85" y="102"/>
                  </a:lnTo>
                  <a:lnTo>
                    <a:pt x="88" y="100"/>
                  </a:lnTo>
                  <a:lnTo>
                    <a:pt x="89" y="97"/>
                  </a:lnTo>
                  <a:lnTo>
                    <a:pt x="88" y="90"/>
                  </a:lnTo>
                  <a:lnTo>
                    <a:pt x="88" y="90"/>
                  </a:lnTo>
                  <a:lnTo>
                    <a:pt x="89" y="84"/>
                  </a:lnTo>
                  <a:lnTo>
                    <a:pt x="91" y="74"/>
                  </a:lnTo>
                  <a:lnTo>
                    <a:pt x="91" y="74"/>
                  </a:lnTo>
                  <a:lnTo>
                    <a:pt x="92" y="71"/>
                  </a:lnTo>
                  <a:lnTo>
                    <a:pt x="94" y="71"/>
                  </a:lnTo>
                  <a:lnTo>
                    <a:pt x="95" y="74"/>
                  </a:lnTo>
                  <a:lnTo>
                    <a:pt x="97" y="76"/>
                  </a:lnTo>
                  <a:lnTo>
                    <a:pt x="97" y="76"/>
                  </a:lnTo>
                  <a:lnTo>
                    <a:pt x="98" y="76"/>
                  </a:lnTo>
                  <a:lnTo>
                    <a:pt x="99" y="76"/>
                  </a:lnTo>
                  <a:lnTo>
                    <a:pt x="102" y="71"/>
                  </a:lnTo>
                  <a:lnTo>
                    <a:pt x="105" y="67"/>
                  </a:lnTo>
                  <a:lnTo>
                    <a:pt x="107" y="64"/>
                  </a:lnTo>
                  <a:lnTo>
                    <a:pt x="107" y="64"/>
                  </a:lnTo>
                  <a:lnTo>
                    <a:pt x="110" y="61"/>
                  </a:lnTo>
                  <a:lnTo>
                    <a:pt x="113" y="57"/>
                  </a:lnTo>
                  <a:lnTo>
                    <a:pt x="117" y="47"/>
                  </a:lnTo>
                  <a:lnTo>
                    <a:pt x="117" y="47"/>
                  </a:lnTo>
                  <a:lnTo>
                    <a:pt x="120" y="41"/>
                  </a:lnTo>
                  <a:lnTo>
                    <a:pt x="118" y="38"/>
                  </a:lnTo>
                  <a:lnTo>
                    <a:pt x="115" y="38"/>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63" name="Freeform 734"/>
            <p:cNvSpPr>
              <a:spLocks/>
            </p:cNvSpPr>
            <p:nvPr/>
          </p:nvSpPr>
          <p:spPr bwMode="auto">
            <a:xfrm>
              <a:off x="5649913" y="4113642"/>
              <a:ext cx="190500" cy="223838"/>
            </a:xfrm>
            <a:custGeom>
              <a:avLst/>
              <a:gdLst>
                <a:gd name="T0" fmla="*/ 115 w 120"/>
                <a:gd name="T1" fmla="*/ 38 h 141"/>
                <a:gd name="T2" fmla="*/ 110 w 120"/>
                <a:gd name="T3" fmla="*/ 32 h 141"/>
                <a:gd name="T4" fmla="*/ 104 w 120"/>
                <a:gd name="T5" fmla="*/ 25 h 141"/>
                <a:gd name="T6" fmla="*/ 94 w 120"/>
                <a:gd name="T7" fmla="*/ 19 h 141"/>
                <a:gd name="T8" fmla="*/ 82 w 120"/>
                <a:gd name="T9" fmla="*/ 19 h 141"/>
                <a:gd name="T10" fmla="*/ 73 w 120"/>
                <a:gd name="T11" fmla="*/ 12 h 141"/>
                <a:gd name="T12" fmla="*/ 68 w 120"/>
                <a:gd name="T13" fmla="*/ 0 h 141"/>
                <a:gd name="T14" fmla="*/ 60 w 120"/>
                <a:gd name="T15" fmla="*/ 3 h 141"/>
                <a:gd name="T16" fmla="*/ 59 w 120"/>
                <a:gd name="T17" fmla="*/ 8 h 141"/>
                <a:gd name="T18" fmla="*/ 56 w 120"/>
                <a:gd name="T19" fmla="*/ 18 h 141"/>
                <a:gd name="T20" fmla="*/ 46 w 120"/>
                <a:gd name="T21" fmla="*/ 38 h 141"/>
                <a:gd name="T22" fmla="*/ 49 w 120"/>
                <a:gd name="T23" fmla="*/ 41 h 141"/>
                <a:gd name="T24" fmla="*/ 52 w 120"/>
                <a:gd name="T25" fmla="*/ 53 h 141"/>
                <a:gd name="T26" fmla="*/ 46 w 120"/>
                <a:gd name="T27" fmla="*/ 74 h 141"/>
                <a:gd name="T28" fmla="*/ 42 w 120"/>
                <a:gd name="T29" fmla="*/ 86 h 141"/>
                <a:gd name="T30" fmla="*/ 34 w 120"/>
                <a:gd name="T31" fmla="*/ 93 h 141"/>
                <a:gd name="T32" fmla="*/ 11 w 120"/>
                <a:gd name="T33" fmla="*/ 105 h 141"/>
                <a:gd name="T34" fmla="*/ 0 w 120"/>
                <a:gd name="T35" fmla="*/ 109 h 141"/>
                <a:gd name="T36" fmla="*/ 10 w 120"/>
                <a:gd name="T37" fmla="*/ 141 h 141"/>
                <a:gd name="T38" fmla="*/ 34 w 120"/>
                <a:gd name="T39" fmla="*/ 134 h 141"/>
                <a:gd name="T40" fmla="*/ 46 w 120"/>
                <a:gd name="T41" fmla="*/ 132 h 141"/>
                <a:gd name="T42" fmla="*/ 53 w 120"/>
                <a:gd name="T43" fmla="*/ 126 h 141"/>
                <a:gd name="T44" fmla="*/ 53 w 120"/>
                <a:gd name="T45" fmla="*/ 123 h 141"/>
                <a:gd name="T46" fmla="*/ 57 w 120"/>
                <a:gd name="T47" fmla="*/ 119 h 141"/>
                <a:gd name="T48" fmla="*/ 60 w 120"/>
                <a:gd name="T49" fmla="*/ 118 h 141"/>
                <a:gd name="T50" fmla="*/ 66 w 120"/>
                <a:gd name="T51" fmla="*/ 113 h 141"/>
                <a:gd name="T52" fmla="*/ 69 w 120"/>
                <a:gd name="T53" fmla="*/ 108 h 141"/>
                <a:gd name="T54" fmla="*/ 76 w 120"/>
                <a:gd name="T55" fmla="*/ 105 h 141"/>
                <a:gd name="T56" fmla="*/ 85 w 120"/>
                <a:gd name="T57" fmla="*/ 102 h 141"/>
                <a:gd name="T58" fmla="*/ 89 w 120"/>
                <a:gd name="T59" fmla="*/ 97 h 141"/>
                <a:gd name="T60" fmla="*/ 88 w 120"/>
                <a:gd name="T61" fmla="*/ 90 h 141"/>
                <a:gd name="T62" fmla="*/ 91 w 120"/>
                <a:gd name="T63" fmla="*/ 74 h 141"/>
                <a:gd name="T64" fmla="*/ 92 w 120"/>
                <a:gd name="T65" fmla="*/ 71 h 141"/>
                <a:gd name="T66" fmla="*/ 95 w 120"/>
                <a:gd name="T67" fmla="*/ 74 h 141"/>
                <a:gd name="T68" fmla="*/ 97 w 120"/>
                <a:gd name="T69" fmla="*/ 76 h 141"/>
                <a:gd name="T70" fmla="*/ 99 w 120"/>
                <a:gd name="T71" fmla="*/ 76 h 141"/>
                <a:gd name="T72" fmla="*/ 105 w 120"/>
                <a:gd name="T73" fmla="*/ 67 h 141"/>
                <a:gd name="T74" fmla="*/ 107 w 120"/>
                <a:gd name="T75" fmla="*/ 64 h 141"/>
                <a:gd name="T76" fmla="*/ 113 w 120"/>
                <a:gd name="T77" fmla="*/ 57 h 141"/>
                <a:gd name="T78" fmla="*/ 117 w 120"/>
                <a:gd name="T79" fmla="*/ 47 h 141"/>
                <a:gd name="T80" fmla="*/ 118 w 120"/>
                <a:gd name="T81" fmla="*/ 3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0" h="141">
                  <a:moveTo>
                    <a:pt x="115" y="38"/>
                  </a:moveTo>
                  <a:lnTo>
                    <a:pt x="115" y="38"/>
                  </a:lnTo>
                  <a:lnTo>
                    <a:pt x="113" y="35"/>
                  </a:lnTo>
                  <a:lnTo>
                    <a:pt x="110" y="32"/>
                  </a:lnTo>
                  <a:lnTo>
                    <a:pt x="104" y="25"/>
                  </a:lnTo>
                  <a:lnTo>
                    <a:pt x="104" y="25"/>
                  </a:lnTo>
                  <a:lnTo>
                    <a:pt x="99" y="22"/>
                  </a:lnTo>
                  <a:lnTo>
                    <a:pt x="94" y="19"/>
                  </a:lnTo>
                  <a:lnTo>
                    <a:pt x="82" y="19"/>
                  </a:lnTo>
                  <a:lnTo>
                    <a:pt x="82" y="19"/>
                  </a:lnTo>
                  <a:lnTo>
                    <a:pt x="78" y="16"/>
                  </a:lnTo>
                  <a:lnTo>
                    <a:pt x="73" y="12"/>
                  </a:lnTo>
                  <a:lnTo>
                    <a:pt x="68" y="0"/>
                  </a:lnTo>
                  <a:lnTo>
                    <a:pt x="68" y="0"/>
                  </a:lnTo>
                  <a:lnTo>
                    <a:pt x="60" y="3"/>
                  </a:lnTo>
                  <a:lnTo>
                    <a:pt x="60" y="3"/>
                  </a:lnTo>
                  <a:lnTo>
                    <a:pt x="59" y="5"/>
                  </a:lnTo>
                  <a:lnTo>
                    <a:pt x="59" y="8"/>
                  </a:lnTo>
                  <a:lnTo>
                    <a:pt x="57" y="12"/>
                  </a:lnTo>
                  <a:lnTo>
                    <a:pt x="56" y="18"/>
                  </a:lnTo>
                  <a:lnTo>
                    <a:pt x="56" y="18"/>
                  </a:lnTo>
                  <a:lnTo>
                    <a:pt x="46" y="38"/>
                  </a:lnTo>
                  <a:lnTo>
                    <a:pt x="46" y="38"/>
                  </a:lnTo>
                  <a:lnTo>
                    <a:pt x="49" y="41"/>
                  </a:lnTo>
                  <a:lnTo>
                    <a:pt x="50" y="47"/>
                  </a:lnTo>
                  <a:lnTo>
                    <a:pt x="52" y="53"/>
                  </a:lnTo>
                  <a:lnTo>
                    <a:pt x="50" y="60"/>
                  </a:lnTo>
                  <a:lnTo>
                    <a:pt x="46" y="74"/>
                  </a:lnTo>
                  <a:lnTo>
                    <a:pt x="42" y="86"/>
                  </a:lnTo>
                  <a:lnTo>
                    <a:pt x="42" y="86"/>
                  </a:lnTo>
                  <a:lnTo>
                    <a:pt x="39" y="90"/>
                  </a:lnTo>
                  <a:lnTo>
                    <a:pt x="34" y="93"/>
                  </a:lnTo>
                  <a:lnTo>
                    <a:pt x="24" y="100"/>
                  </a:lnTo>
                  <a:lnTo>
                    <a:pt x="11" y="105"/>
                  </a:lnTo>
                  <a:lnTo>
                    <a:pt x="0" y="109"/>
                  </a:lnTo>
                  <a:lnTo>
                    <a:pt x="0" y="109"/>
                  </a:lnTo>
                  <a:lnTo>
                    <a:pt x="10" y="141"/>
                  </a:lnTo>
                  <a:lnTo>
                    <a:pt x="10" y="141"/>
                  </a:lnTo>
                  <a:lnTo>
                    <a:pt x="23" y="137"/>
                  </a:lnTo>
                  <a:lnTo>
                    <a:pt x="34" y="134"/>
                  </a:lnTo>
                  <a:lnTo>
                    <a:pt x="34" y="134"/>
                  </a:lnTo>
                  <a:lnTo>
                    <a:pt x="46" y="132"/>
                  </a:lnTo>
                  <a:lnTo>
                    <a:pt x="50" y="129"/>
                  </a:lnTo>
                  <a:lnTo>
                    <a:pt x="53" y="126"/>
                  </a:lnTo>
                  <a:lnTo>
                    <a:pt x="53" y="126"/>
                  </a:lnTo>
                  <a:lnTo>
                    <a:pt x="53" y="123"/>
                  </a:lnTo>
                  <a:lnTo>
                    <a:pt x="55" y="121"/>
                  </a:lnTo>
                  <a:lnTo>
                    <a:pt x="57" y="119"/>
                  </a:lnTo>
                  <a:lnTo>
                    <a:pt x="60" y="118"/>
                  </a:lnTo>
                  <a:lnTo>
                    <a:pt x="60" y="118"/>
                  </a:lnTo>
                  <a:lnTo>
                    <a:pt x="65" y="116"/>
                  </a:lnTo>
                  <a:lnTo>
                    <a:pt x="66" y="113"/>
                  </a:lnTo>
                  <a:lnTo>
                    <a:pt x="69" y="108"/>
                  </a:lnTo>
                  <a:lnTo>
                    <a:pt x="69" y="108"/>
                  </a:lnTo>
                  <a:lnTo>
                    <a:pt x="72" y="106"/>
                  </a:lnTo>
                  <a:lnTo>
                    <a:pt x="76" y="105"/>
                  </a:lnTo>
                  <a:lnTo>
                    <a:pt x="85" y="102"/>
                  </a:lnTo>
                  <a:lnTo>
                    <a:pt x="85" y="102"/>
                  </a:lnTo>
                  <a:lnTo>
                    <a:pt x="88" y="100"/>
                  </a:lnTo>
                  <a:lnTo>
                    <a:pt x="89" y="97"/>
                  </a:lnTo>
                  <a:lnTo>
                    <a:pt x="88" y="90"/>
                  </a:lnTo>
                  <a:lnTo>
                    <a:pt x="88" y="90"/>
                  </a:lnTo>
                  <a:lnTo>
                    <a:pt x="89" y="84"/>
                  </a:lnTo>
                  <a:lnTo>
                    <a:pt x="91" y="74"/>
                  </a:lnTo>
                  <a:lnTo>
                    <a:pt x="91" y="74"/>
                  </a:lnTo>
                  <a:lnTo>
                    <a:pt x="92" y="71"/>
                  </a:lnTo>
                  <a:lnTo>
                    <a:pt x="94" y="71"/>
                  </a:lnTo>
                  <a:lnTo>
                    <a:pt x="95" y="74"/>
                  </a:lnTo>
                  <a:lnTo>
                    <a:pt x="97" y="76"/>
                  </a:lnTo>
                  <a:lnTo>
                    <a:pt x="97" y="76"/>
                  </a:lnTo>
                  <a:lnTo>
                    <a:pt x="98" y="76"/>
                  </a:lnTo>
                  <a:lnTo>
                    <a:pt x="99" y="76"/>
                  </a:lnTo>
                  <a:lnTo>
                    <a:pt x="102" y="71"/>
                  </a:lnTo>
                  <a:lnTo>
                    <a:pt x="105" y="67"/>
                  </a:lnTo>
                  <a:lnTo>
                    <a:pt x="107" y="64"/>
                  </a:lnTo>
                  <a:lnTo>
                    <a:pt x="107" y="64"/>
                  </a:lnTo>
                  <a:lnTo>
                    <a:pt x="110" y="61"/>
                  </a:lnTo>
                  <a:lnTo>
                    <a:pt x="113" y="57"/>
                  </a:lnTo>
                  <a:lnTo>
                    <a:pt x="117" y="47"/>
                  </a:lnTo>
                  <a:lnTo>
                    <a:pt x="117" y="47"/>
                  </a:lnTo>
                  <a:lnTo>
                    <a:pt x="120" y="41"/>
                  </a:lnTo>
                  <a:lnTo>
                    <a:pt x="118" y="38"/>
                  </a:lnTo>
                  <a:lnTo>
                    <a:pt x="115" y="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64" name="Freeform 735"/>
            <p:cNvSpPr>
              <a:spLocks/>
            </p:cNvSpPr>
            <p:nvPr/>
          </p:nvSpPr>
          <p:spPr bwMode="auto">
            <a:xfrm>
              <a:off x="5610226" y="4081892"/>
              <a:ext cx="149225" cy="92075"/>
            </a:xfrm>
            <a:custGeom>
              <a:avLst/>
              <a:gdLst>
                <a:gd name="T0" fmla="*/ 85 w 94"/>
                <a:gd name="T1" fmla="*/ 23 h 58"/>
                <a:gd name="T2" fmla="*/ 85 w 94"/>
                <a:gd name="T3" fmla="*/ 23 h 58"/>
                <a:gd name="T4" fmla="*/ 93 w 94"/>
                <a:gd name="T5" fmla="*/ 20 h 58"/>
                <a:gd name="T6" fmla="*/ 93 w 94"/>
                <a:gd name="T7" fmla="*/ 20 h 58"/>
                <a:gd name="T8" fmla="*/ 91 w 94"/>
                <a:gd name="T9" fmla="*/ 13 h 58"/>
                <a:gd name="T10" fmla="*/ 91 w 94"/>
                <a:gd name="T11" fmla="*/ 13 h 58"/>
                <a:gd name="T12" fmla="*/ 90 w 94"/>
                <a:gd name="T13" fmla="*/ 7 h 58"/>
                <a:gd name="T14" fmla="*/ 93 w 94"/>
                <a:gd name="T15" fmla="*/ 3 h 58"/>
                <a:gd name="T16" fmla="*/ 93 w 94"/>
                <a:gd name="T17" fmla="*/ 0 h 58"/>
                <a:gd name="T18" fmla="*/ 94 w 94"/>
                <a:gd name="T19" fmla="*/ 0 h 58"/>
                <a:gd name="T20" fmla="*/ 93 w 94"/>
                <a:gd name="T21" fmla="*/ 0 h 58"/>
                <a:gd name="T22" fmla="*/ 93 w 94"/>
                <a:gd name="T23" fmla="*/ 0 h 58"/>
                <a:gd name="T24" fmla="*/ 87 w 94"/>
                <a:gd name="T25" fmla="*/ 4 h 58"/>
                <a:gd name="T26" fmla="*/ 77 w 94"/>
                <a:gd name="T27" fmla="*/ 13 h 58"/>
                <a:gd name="T28" fmla="*/ 67 w 94"/>
                <a:gd name="T29" fmla="*/ 23 h 58"/>
                <a:gd name="T30" fmla="*/ 61 w 94"/>
                <a:gd name="T31" fmla="*/ 29 h 58"/>
                <a:gd name="T32" fmla="*/ 61 w 94"/>
                <a:gd name="T33" fmla="*/ 29 h 58"/>
                <a:gd name="T34" fmla="*/ 59 w 94"/>
                <a:gd name="T35" fmla="*/ 31 h 58"/>
                <a:gd name="T36" fmla="*/ 58 w 94"/>
                <a:gd name="T37" fmla="*/ 32 h 58"/>
                <a:gd name="T38" fmla="*/ 51 w 94"/>
                <a:gd name="T39" fmla="*/ 32 h 58"/>
                <a:gd name="T40" fmla="*/ 36 w 94"/>
                <a:gd name="T41" fmla="*/ 32 h 58"/>
                <a:gd name="T42" fmla="*/ 36 w 94"/>
                <a:gd name="T43" fmla="*/ 32 h 58"/>
                <a:gd name="T44" fmla="*/ 27 w 94"/>
                <a:gd name="T45" fmla="*/ 33 h 58"/>
                <a:gd name="T46" fmla="*/ 20 w 94"/>
                <a:gd name="T47" fmla="*/ 32 h 58"/>
                <a:gd name="T48" fmla="*/ 20 w 94"/>
                <a:gd name="T49" fmla="*/ 32 h 58"/>
                <a:gd name="T50" fmla="*/ 14 w 94"/>
                <a:gd name="T51" fmla="*/ 29 h 58"/>
                <a:gd name="T52" fmla="*/ 12 w 94"/>
                <a:gd name="T53" fmla="*/ 25 h 58"/>
                <a:gd name="T54" fmla="*/ 12 w 94"/>
                <a:gd name="T55" fmla="*/ 25 h 58"/>
                <a:gd name="T56" fmla="*/ 6 w 94"/>
                <a:gd name="T57" fmla="*/ 23 h 58"/>
                <a:gd name="T58" fmla="*/ 1 w 94"/>
                <a:gd name="T59" fmla="*/ 20 h 58"/>
                <a:gd name="T60" fmla="*/ 1 w 94"/>
                <a:gd name="T61" fmla="*/ 20 h 58"/>
                <a:gd name="T62" fmla="*/ 0 w 94"/>
                <a:gd name="T63" fmla="*/ 25 h 58"/>
                <a:gd name="T64" fmla="*/ 1 w 94"/>
                <a:gd name="T65" fmla="*/ 29 h 58"/>
                <a:gd name="T66" fmla="*/ 4 w 94"/>
                <a:gd name="T67" fmla="*/ 33 h 58"/>
                <a:gd name="T68" fmla="*/ 7 w 94"/>
                <a:gd name="T69" fmla="*/ 36 h 58"/>
                <a:gd name="T70" fmla="*/ 7 w 94"/>
                <a:gd name="T71" fmla="*/ 36 h 58"/>
                <a:gd name="T72" fmla="*/ 10 w 94"/>
                <a:gd name="T73" fmla="*/ 41 h 58"/>
                <a:gd name="T74" fmla="*/ 12 w 94"/>
                <a:gd name="T75" fmla="*/ 45 h 58"/>
                <a:gd name="T76" fmla="*/ 14 w 94"/>
                <a:gd name="T77" fmla="*/ 49 h 58"/>
                <a:gd name="T78" fmla="*/ 17 w 94"/>
                <a:gd name="T79" fmla="*/ 54 h 58"/>
                <a:gd name="T80" fmla="*/ 17 w 94"/>
                <a:gd name="T81" fmla="*/ 54 h 58"/>
                <a:gd name="T82" fmla="*/ 20 w 94"/>
                <a:gd name="T83" fmla="*/ 55 h 58"/>
                <a:gd name="T84" fmla="*/ 25 w 94"/>
                <a:gd name="T85" fmla="*/ 57 h 58"/>
                <a:gd name="T86" fmla="*/ 36 w 94"/>
                <a:gd name="T87" fmla="*/ 58 h 58"/>
                <a:gd name="T88" fmla="*/ 67 w 94"/>
                <a:gd name="T89" fmla="*/ 57 h 58"/>
                <a:gd name="T90" fmla="*/ 67 w 94"/>
                <a:gd name="T91" fmla="*/ 57 h 58"/>
                <a:gd name="T92" fmla="*/ 71 w 94"/>
                <a:gd name="T93" fmla="*/ 58 h 58"/>
                <a:gd name="T94" fmla="*/ 71 w 94"/>
                <a:gd name="T95" fmla="*/ 58 h 58"/>
                <a:gd name="T96" fmla="*/ 81 w 94"/>
                <a:gd name="T97" fmla="*/ 38 h 58"/>
                <a:gd name="T98" fmla="*/ 81 w 94"/>
                <a:gd name="T99" fmla="*/ 38 h 58"/>
                <a:gd name="T100" fmla="*/ 82 w 94"/>
                <a:gd name="T101" fmla="*/ 32 h 58"/>
                <a:gd name="T102" fmla="*/ 84 w 94"/>
                <a:gd name="T103" fmla="*/ 28 h 58"/>
                <a:gd name="T104" fmla="*/ 84 w 94"/>
                <a:gd name="T105" fmla="*/ 25 h 58"/>
                <a:gd name="T106" fmla="*/ 85 w 94"/>
                <a:gd name="T107" fmla="*/ 2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4" h="58">
                  <a:moveTo>
                    <a:pt x="85" y="23"/>
                  </a:moveTo>
                  <a:lnTo>
                    <a:pt x="85" y="23"/>
                  </a:lnTo>
                  <a:lnTo>
                    <a:pt x="93" y="20"/>
                  </a:lnTo>
                  <a:lnTo>
                    <a:pt x="93" y="20"/>
                  </a:lnTo>
                  <a:lnTo>
                    <a:pt x="91" y="13"/>
                  </a:lnTo>
                  <a:lnTo>
                    <a:pt x="91" y="13"/>
                  </a:lnTo>
                  <a:lnTo>
                    <a:pt x="90" y="7"/>
                  </a:lnTo>
                  <a:lnTo>
                    <a:pt x="93" y="3"/>
                  </a:lnTo>
                  <a:lnTo>
                    <a:pt x="93" y="0"/>
                  </a:lnTo>
                  <a:lnTo>
                    <a:pt x="94" y="0"/>
                  </a:lnTo>
                  <a:lnTo>
                    <a:pt x="93" y="0"/>
                  </a:lnTo>
                  <a:lnTo>
                    <a:pt x="93" y="0"/>
                  </a:lnTo>
                  <a:lnTo>
                    <a:pt x="87" y="4"/>
                  </a:lnTo>
                  <a:lnTo>
                    <a:pt x="77" y="13"/>
                  </a:lnTo>
                  <a:lnTo>
                    <a:pt x="67" y="23"/>
                  </a:lnTo>
                  <a:lnTo>
                    <a:pt x="61" y="29"/>
                  </a:lnTo>
                  <a:lnTo>
                    <a:pt x="61" y="29"/>
                  </a:lnTo>
                  <a:lnTo>
                    <a:pt x="59" y="31"/>
                  </a:lnTo>
                  <a:lnTo>
                    <a:pt x="58" y="32"/>
                  </a:lnTo>
                  <a:lnTo>
                    <a:pt x="51" y="32"/>
                  </a:lnTo>
                  <a:lnTo>
                    <a:pt x="36" y="32"/>
                  </a:lnTo>
                  <a:lnTo>
                    <a:pt x="36" y="32"/>
                  </a:lnTo>
                  <a:lnTo>
                    <a:pt x="27" y="33"/>
                  </a:lnTo>
                  <a:lnTo>
                    <a:pt x="20" y="32"/>
                  </a:lnTo>
                  <a:lnTo>
                    <a:pt x="20" y="32"/>
                  </a:lnTo>
                  <a:lnTo>
                    <a:pt x="14" y="29"/>
                  </a:lnTo>
                  <a:lnTo>
                    <a:pt x="12" y="25"/>
                  </a:lnTo>
                  <a:lnTo>
                    <a:pt x="12" y="25"/>
                  </a:lnTo>
                  <a:lnTo>
                    <a:pt x="6" y="23"/>
                  </a:lnTo>
                  <a:lnTo>
                    <a:pt x="1" y="20"/>
                  </a:lnTo>
                  <a:lnTo>
                    <a:pt x="1" y="20"/>
                  </a:lnTo>
                  <a:lnTo>
                    <a:pt x="0" y="25"/>
                  </a:lnTo>
                  <a:lnTo>
                    <a:pt x="1" y="29"/>
                  </a:lnTo>
                  <a:lnTo>
                    <a:pt x="4" y="33"/>
                  </a:lnTo>
                  <a:lnTo>
                    <a:pt x="7" y="36"/>
                  </a:lnTo>
                  <a:lnTo>
                    <a:pt x="7" y="36"/>
                  </a:lnTo>
                  <a:lnTo>
                    <a:pt x="10" y="41"/>
                  </a:lnTo>
                  <a:lnTo>
                    <a:pt x="12" y="45"/>
                  </a:lnTo>
                  <a:lnTo>
                    <a:pt x="14" y="49"/>
                  </a:lnTo>
                  <a:lnTo>
                    <a:pt x="17" y="54"/>
                  </a:lnTo>
                  <a:lnTo>
                    <a:pt x="17" y="54"/>
                  </a:lnTo>
                  <a:lnTo>
                    <a:pt x="20" y="55"/>
                  </a:lnTo>
                  <a:lnTo>
                    <a:pt x="25" y="57"/>
                  </a:lnTo>
                  <a:lnTo>
                    <a:pt x="36" y="58"/>
                  </a:lnTo>
                  <a:lnTo>
                    <a:pt x="67" y="57"/>
                  </a:lnTo>
                  <a:lnTo>
                    <a:pt x="67" y="57"/>
                  </a:lnTo>
                  <a:lnTo>
                    <a:pt x="71" y="58"/>
                  </a:lnTo>
                  <a:lnTo>
                    <a:pt x="71" y="58"/>
                  </a:lnTo>
                  <a:lnTo>
                    <a:pt x="81" y="38"/>
                  </a:lnTo>
                  <a:lnTo>
                    <a:pt x="81" y="38"/>
                  </a:lnTo>
                  <a:lnTo>
                    <a:pt x="82" y="32"/>
                  </a:lnTo>
                  <a:lnTo>
                    <a:pt x="84" y="28"/>
                  </a:lnTo>
                  <a:lnTo>
                    <a:pt x="84" y="25"/>
                  </a:lnTo>
                  <a:lnTo>
                    <a:pt x="85" y="23"/>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65" name="Freeform 736"/>
            <p:cNvSpPr>
              <a:spLocks/>
            </p:cNvSpPr>
            <p:nvPr/>
          </p:nvSpPr>
          <p:spPr bwMode="auto">
            <a:xfrm>
              <a:off x="5610226" y="4081892"/>
              <a:ext cx="149225" cy="92075"/>
            </a:xfrm>
            <a:custGeom>
              <a:avLst/>
              <a:gdLst>
                <a:gd name="T0" fmla="*/ 85 w 94"/>
                <a:gd name="T1" fmla="*/ 23 h 58"/>
                <a:gd name="T2" fmla="*/ 85 w 94"/>
                <a:gd name="T3" fmla="*/ 23 h 58"/>
                <a:gd name="T4" fmla="*/ 93 w 94"/>
                <a:gd name="T5" fmla="*/ 20 h 58"/>
                <a:gd name="T6" fmla="*/ 93 w 94"/>
                <a:gd name="T7" fmla="*/ 20 h 58"/>
                <a:gd name="T8" fmla="*/ 91 w 94"/>
                <a:gd name="T9" fmla="*/ 13 h 58"/>
                <a:gd name="T10" fmla="*/ 91 w 94"/>
                <a:gd name="T11" fmla="*/ 13 h 58"/>
                <a:gd name="T12" fmla="*/ 90 w 94"/>
                <a:gd name="T13" fmla="*/ 7 h 58"/>
                <a:gd name="T14" fmla="*/ 93 w 94"/>
                <a:gd name="T15" fmla="*/ 3 h 58"/>
                <a:gd name="T16" fmla="*/ 93 w 94"/>
                <a:gd name="T17" fmla="*/ 0 h 58"/>
                <a:gd name="T18" fmla="*/ 94 w 94"/>
                <a:gd name="T19" fmla="*/ 0 h 58"/>
                <a:gd name="T20" fmla="*/ 93 w 94"/>
                <a:gd name="T21" fmla="*/ 0 h 58"/>
                <a:gd name="T22" fmla="*/ 93 w 94"/>
                <a:gd name="T23" fmla="*/ 0 h 58"/>
                <a:gd name="T24" fmla="*/ 87 w 94"/>
                <a:gd name="T25" fmla="*/ 4 h 58"/>
                <a:gd name="T26" fmla="*/ 77 w 94"/>
                <a:gd name="T27" fmla="*/ 13 h 58"/>
                <a:gd name="T28" fmla="*/ 67 w 94"/>
                <a:gd name="T29" fmla="*/ 23 h 58"/>
                <a:gd name="T30" fmla="*/ 61 w 94"/>
                <a:gd name="T31" fmla="*/ 29 h 58"/>
                <a:gd name="T32" fmla="*/ 61 w 94"/>
                <a:gd name="T33" fmla="*/ 29 h 58"/>
                <a:gd name="T34" fmla="*/ 59 w 94"/>
                <a:gd name="T35" fmla="*/ 31 h 58"/>
                <a:gd name="T36" fmla="*/ 58 w 94"/>
                <a:gd name="T37" fmla="*/ 32 h 58"/>
                <a:gd name="T38" fmla="*/ 51 w 94"/>
                <a:gd name="T39" fmla="*/ 32 h 58"/>
                <a:gd name="T40" fmla="*/ 36 w 94"/>
                <a:gd name="T41" fmla="*/ 32 h 58"/>
                <a:gd name="T42" fmla="*/ 36 w 94"/>
                <a:gd name="T43" fmla="*/ 32 h 58"/>
                <a:gd name="T44" fmla="*/ 27 w 94"/>
                <a:gd name="T45" fmla="*/ 33 h 58"/>
                <a:gd name="T46" fmla="*/ 20 w 94"/>
                <a:gd name="T47" fmla="*/ 32 h 58"/>
                <a:gd name="T48" fmla="*/ 20 w 94"/>
                <a:gd name="T49" fmla="*/ 32 h 58"/>
                <a:gd name="T50" fmla="*/ 14 w 94"/>
                <a:gd name="T51" fmla="*/ 29 h 58"/>
                <a:gd name="T52" fmla="*/ 12 w 94"/>
                <a:gd name="T53" fmla="*/ 25 h 58"/>
                <a:gd name="T54" fmla="*/ 12 w 94"/>
                <a:gd name="T55" fmla="*/ 25 h 58"/>
                <a:gd name="T56" fmla="*/ 6 w 94"/>
                <a:gd name="T57" fmla="*/ 23 h 58"/>
                <a:gd name="T58" fmla="*/ 1 w 94"/>
                <a:gd name="T59" fmla="*/ 20 h 58"/>
                <a:gd name="T60" fmla="*/ 1 w 94"/>
                <a:gd name="T61" fmla="*/ 20 h 58"/>
                <a:gd name="T62" fmla="*/ 0 w 94"/>
                <a:gd name="T63" fmla="*/ 25 h 58"/>
                <a:gd name="T64" fmla="*/ 1 w 94"/>
                <a:gd name="T65" fmla="*/ 29 h 58"/>
                <a:gd name="T66" fmla="*/ 4 w 94"/>
                <a:gd name="T67" fmla="*/ 33 h 58"/>
                <a:gd name="T68" fmla="*/ 7 w 94"/>
                <a:gd name="T69" fmla="*/ 36 h 58"/>
                <a:gd name="T70" fmla="*/ 7 w 94"/>
                <a:gd name="T71" fmla="*/ 36 h 58"/>
                <a:gd name="T72" fmla="*/ 10 w 94"/>
                <a:gd name="T73" fmla="*/ 41 h 58"/>
                <a:gd name="T74" fmla="*/ 12 w 94"/>
                <a:gd name="T75" fmla="*/ 45 h 58"/>
                <a:gd name="T76" fmla="*/ 14 w 94"/>
                <a:gd name="T77" fmla="*/ 49 h 58"/>
                <a:gd name="T78" fmla="*/ 17 w 94"/>
                <a:gd name="T79" fmla="*/ 54 h 58"/>
                <a:gd name="T80" fmla="*/ 17 w 94"/>
                <a:gd name="T81" fmla="*/ 54 h 58"/>
                <a:gd name="T82" fmla="*/ 20 w 94"/>
                <a:gd name="T83" fmla="*/ 55 h 58"/>
                <a:gd name="T84" fmla="*/ 25 w 94"/>
                <a:gd name="T85" fmla="*/ 57 h 58"/>
                <a:gd name="T86" fmla="*/ 36 w 94"/>
                <a:gd name="T87" fmla="*/ 58 h 58"/>
                <a:gd name="T88" fmla="*/ 67 w 94"/>
                <a:gd name="T89" fmla="*/ 57 h 58"/>
                <a:gd name="T90" fmla="*/ 67 w 94"/>
                <a:gd name="T91" fmla="*/ 57 h 58"/>
                <a:gd name="T92" fmla="*/ 71 w 94"/>
                <a:gd name="T93" fmla="*/ 58 h 58"/>
                <a:gd name="T94" fmla="*/ 71 w 94"/>
                <a:gd name="T95" fmla="*/ 58 h 58"/>
                <a:gd name="T96" fmla="*/ 81 w 94"/>
                <a:gd name="T97" fmla="*/ 38 h 58"/>
                <a:gd name="T98" fmla="*/ 81 w 94"/>
                <a:gd name="T99" fmla="*/ 38 h 58"/>
                <a:gd name="T100" fmla="*/ 82 w 94"/>
                <a:gd name="T101" fmla="*/ 32 h 58"/>
                <a:gd name="T102" fmla="*/ 84 w 94"/>
                <a:gd name="T103" fmla="*/ 28 h 58"/>
                <a:gd name="T104" fmla="*/ 84 w 94"/>
                <a:gd name="T105" fmla="*/ 25 h 58"/>
                <a:gd name="T106" fmla="*/ 85 w 94"/>
                <a:gd name="T107" fmla="*/ 2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4" h="58">
                  <a:moveTo>
                    <a:pt x="85" y="23"/>
                  </a:moveTo>
                  <a:lnTo>
                    <a:pt x="85" y="23"/>
                  </a:lnTo>
                  <a:lnTo>
                    <a:pt x="93" y="20"/>
                  </a:lnTo>
                  <a:lnTo>
                    <a:pt x="93" y="20"/>
                  </a:lnTo>
                  <a:lnTo>
                    <a:pt x="91" y="13"/>
                  </a:lnTo>
                  <a:lnTo>
                    <a:pt x="91" y="13"/>
                  </a:lnTo>
                  <a:lnTo>
                    <a:pt x="90" y="7"/>
                  </a:lnTo>
                  <a:lnTo>
                    <a:pt x="93" y="3"/>
                  </a:lnTo>
                  <a:lnTo>
                    <a:pt x="93" y="0"/>
                  </a:lnTo>
                  <a:lnTo>
                    <a:pt x="94" y="0"/>
                  </a:lnTo>
                  <a:lnTo>
                    <a:pt x="93" y="0"/>
                  </a:lnTo>
                  <a:lnTo>
                    <a:pt x="93" y="0"/>
                  </a:lnTo>
                  <a:lnTo>
                    <a:pt x="87" y="4"/>
                  </a:lnTo>
                  <a:lnTo>
                    <a:pt x="77" y="13"/>
                  </a:lnTo>
                  <a:lnTo>
                    <a:pt x="67" y="23"/>
                  </a:lnTo>
                  <a:lnTo>
                    <a:pt x="61" y="29"/>
                  </a:lnTo>
                  <a:lnTo>
                    <a:pt x="61" y="29"/>
                  </a:lnTo>
                  <a:lnTo>
                    <a:pt x="59" y="31"/>
                  </a:lnTo>
                  <a:lnTo>
                    <a:pt x="58" y="32"/>
                  </a:lnTo>
                  <a:lnTo>
                    <a:pt x="51" y="32"/>
                  </a:lnTo>
                  <a:lnTo>
                    <a:pt x="36" y="32"/>
                  </a:lnTo>
                  <a:lnTo>
                    <a:pt x="36" y="32"/>
                  </a:lnTo>
                  <a:lnTo>
                    <a:pt x="27" y="33"/>
                  </a:lnTo>
                  <a:lnTo>
                    <a:pt x="20" y="32"/>
                  </a:lnTo>
                  <a:lnTo>
                    <a:pt x="20" y="32"/>
                  </a:lnTo>
                  <a:lnTo>
                    <a:pt x="14" y="29"/>
                  </a:lnTo>
                  <a:lnTo>
                    <a:pt x="12" y="25"/>
                  </a:lnTo>
                  <a:lnTo>
                    <a:pt x="12" y="25"/>
                  </a:lnTo>
                  <a:lnTo>
                    <a:pt x="6" y="23"/>
                  </a:lnTo>
                  <a:lnTo>
                    <a:pt x="1" y="20"/>
                  </a:lnTo>
                  <a:lnTo>
                    <a:pt x="1" y="20"/>
                  </a:lnTo>
                  <a:lnTo>
                    <a:pt x="0" y="25"/>
                  </a:lnTo>
                  <a:lnTo>
                    <a:pt x="1" y="29"/>
                  </a:lnTo>
                  <a:lnTo>
                    <a:pt x="4" y="33"/>
                  </a:lnTo>
                  <a:lnTo>
                    <a:pt x="7" y="36"/>
                  </a:lnTo>
                  <a:lnTo>
                    <a:pt x="7" y="36"/>
                  </a:lnTo>
                  <a:lnTo>
                    <a:pt x="10" y="41"/>
                  </a:lnTo>
                  <a:lnTo>
                    <a:pt x="12" y="45"/>
                  </a:lnTo>
                  <a:lnTo>
                    <a:pt x="14" y="49"/>
                  </a:lnTo>
                  <a:lnTo>
                    <a:pt x="17" y="54"/>
                  </a:lnTo>
                  <a:lnTo>
                    <a:pt x="17" y="54"/>
                  </a:lnTo>
                  <a:lnTo>
                    <a:pt x="20" y="55"/>
                  </a:lnTo>
                  <a:lnTo>
                    <a:pt x="25" y="57"/>
                  </a:lnTo>
                  <a:lnTo>
                    <a:pt x="36" y="58"/>
                  </a:lnTo>
                  <a:lnTo>
                    <a:pt x="67" y="57"/>
                  </a:lnTo>
                  <a:lnTo>
                    <a:pt x="67" y="57"/>
                  </a:lnTo>
                  <a:lnTo>
                    <a:pt x="71" y="58"/>
                  </a:lnTo>
                  <a:lnTo>
                    <a:pt x="71" y="58"/>
                  </a:lnTo>
                  <a:lnTo>
                    <a:pt x="81" y="38"/>
                  </a:lnTo>
                  <a:lnTo>
                    <a:pt x="81" y="38"/>
                  </a:lnTo>
                  <a:lnTo>
                    <a:pt x="82" y="32"/>
                  </a:lnTo>
                  <a:lnTo>
                    <a:pt x="84" y="28"/>
                  </a:lnTo>
                  <a:lnTo>
                    <a:pt x="84" y="25"/>
                  </a:lnTo>
                  <a:lnTo>
                    <a:pt x="85"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66" name="Freeform 737"/>
            <p:cNvSpPr>
              <a:spLocks/>
            </p:cNvSpPr>
            <p:nvPr/>
          </p:nvSpPr>
          <p:spPr bwMode="auto">
            <a:xfrm>
              <a:off x="5337176" y="3532617"/>
              <a:ext cx="180975" cy="98425"/>
            </a:xfrm>
            <a:custGeom>
              <a:avLst/>
              <a:gdLst>
                <a:gd name="T0" fmla="*/ 94 w 114"/>
                <a:gd name="T1" fmla="*/ 53 h 62"/>
                <a:gd name="T2" fmla="*/ 94 w 114"/>
                <a:gd name="T3" fmla="*/ 53 h 62"/>
                <a:gd name="T4" fmla="*/ 104 w 114"/>
                <a:gd name="T5" fmla="*/ 56 h 62"/>
                <a:gd name="T6" fmla="*/ 108 w 114"/>
                <a:gd name="T7" fmla="*/ 58 h 62"/>
                <a:gd name="T8" fmla="*/ 113 w 114"/>
                <a:gd name="T9" fmla="*/ 56 h 62"/>
                <a:gd name="T10" fmla="*/ 113 w 114"/>
                <a:gd name="T11" fmla="*/ 56 h 62"/>
                <a:gd name="T12" fmla="*/ 113 w 114"/>
                <a:gd name="T13" fmla="*/ 53 h 62"/>
                <a:gd name="T14" fmla="*/ 113 w 114"/>
                <a:gd name="T15" fmla="*/ 49 h 62"/>
                <a:gd name="T16" fmla="*/ 113 w 114"/>
                <a:gd name="T17" fmla="*/ 43 h 62"/>
                <a:gd name="T18" fmla="*/ 114 w 114"/>
                <a:gd name="T19" fmla="*/ 39 h 62"/>
                <a:gd name="T20" fmla="*/ 114 w 114"/>
                <a:gd name="T21" fmla="*/ 39 h 62"/>
                <a:gd name="T22" fmla="*/ 105 w 114"/>
                <a:gd name="T23" fmla="*/ 33 h 62"/>
                <a:gd name="T24" fmla="*/ 97 w 114"/>
                <a:gd name="T25" fmla="*/ 29 h 62"/>
                <a:gd name="T26" fmla="*/ 97 w 114"/>
                <a:gd name="T27" fmla="*/ 29 h 62"/>
                <a:gd name="T28" fmla="*/ 68 w 114"/>
                <a:gd name="T29" fmla="*/ 20 h 62"/>
                <a:gd name="T30" fmla="*/ 50 w 114"/>
                <a:gd name="T31" fmla="*/ 16 h 62"/>
                <a:gd name="T32" fmla="*/ 40 w 114"/>
                <a:gd name="T33" fmla="*/ 11 h 62"/>
                <a:gd name="T34" fmla="*/ 40 w 114"/>
                <a:gd name="T35" fmla="*/ 11 h 62"/>
                <a:gd name="T36" fmla="*/ 24 w 114"/>
                <a:gd name="T37" fmla="*/ 3 h 62"/>
                <a:gd name="T38" fmla="*/ 18 w 114"/>
                <a:gd name="T39" fmla="*/ 0 h 62"/>
                <a:gd name="T40" fmla="*/ 13 w 114"/>
                <a:gd name="T41" fmla="*/ 0 h 62"/>
                <a:gd name="T42" fmla="*/ 13 w 114"/>
                <a:gd name="T43" fmla="*/ 0 h 62"/>
                <a:gd name="T44" fmla="*/ 0 w 114"/>
                <a:gd name="T45" fmla="*/ 6 h 62"/>
                <a:gd name="T46" fmla="*/ 0 w 114"/>
                <a:gd name="T47" fmla="*/ 6 h 62"/>
                <a:gd name="T48" fmla="*/ 1 w 114"/>
                <a:gd name="T49" fmla="*/ 9 h 62"/>
                <a:gd name="T50" fmla="*/ 4 w 114"/>
                <a:gd name="T51" fmla="*/ 10 h 62"/>
                <a:gd name="T52" fmla="*/ 13 w 114"/>
                <a:gd name="T53" fmla="*/ 11 h 62"/>
                <a:gd name="T54" fmla="*/ 13 w 114"/>
                <a:gd name="T55" fmla="*/ 11 h 62"/>
                <a:gd name="T56" fmla="*/ 17 w 114"/>
                <a:gd name="T57" fmla="*/ 11 h 62"/>
                <a:gd name="T58" fmla="*/ 18 w 114"/>
                <a:gd name="T59" fmla="*/ 14 h 62"/>
                <a:gd name="T60" fmla="*/ 21 w 114"/>
                <a:gd name="T61" fmla="*/ 23 h 62"/>
                <a:gd name="T62" fmla="*/ 21 w 114"/>
                <a:gd name="T63" fmla="*/ 23 h 62"/>
                <a:gd name="T64" fmla="*/ 27 w 114"/>
                <a:gd name="T65" fmla="*/ 32 h 62"/>
                <a:gd name="T66" fmla="*/ 29 w 114"/>
                <a:gd name="T67" fmla="*/ 36 h 62"/>
                <a:gd name="T68" fmla="*/ 29 w 114"/>
                <a:gd name="T69" fmla="*/ 40 h 62"/>
                <a:gd name="T70" fmla="*/ 29 w 114"/>
                <a:gd name="T71" fmla="*/ 40 h 62"/>
                <a:gd name="T72" fmla="*/ 27 w 114"/>
                <a:gd name="T73" fmla="*/ 45 h 62"/>
                <a:gd name="T74" fmla="*/ 27 w 114"/>
                <a:gd name="T75" fmla="*/ 45 h 62"/>
                <a:gd name="T76" fmla="*/ 40 w 114"/>
                <a:gd name="T77" fmla="*/ 51 h 62"/>
                <a:gd name="T78" fmla="*/ 40 w 114"/>
                <a:gd name="T79" fmla="*/ 51 h 62"/>
                <a:gd name="T80" fmla="*/ 50 w 114"/>
                <a:gd name="T81" fmla="*/ 56 h 62"/>
                <a:gd name="T82" fmla="*/ 55 w 114"/>
                <a:gd name="T83" fmla="*/ 59 h 62"/>
                <a:gd name="T84" fmla="*/ 56 w 114"/>
                <a:gd name="T85" fmla="*/ 62 h 62"/>
                <a:gd name="T86" fmla="*/ 56 w 114"/>
                <a:gd name="T87" fmla="*/ 62 h 62"/>
                <a:gd name="T88" fmla="*/ 68 w 114"/>
                <a:gd name="T89" fmla="*/ 59 h 62"/>
                <a:gd name="T90" fmla="*/ 78 w 114"/>
                <a:gd name="T91" fmla="*/ 58 h 62"/>
                <a:gd name="T92" fmla="*/ 78 w 114"/>
                <a:gd name="T93" fmla="*/ 58 h 62"/>
                <a:gd name="T94" fmla="*/ 82 w 114"/>
                <a:gd name="T95" fmla="*/ 58 h 62"/>
                <a:gd name="T96" fmla="*/ 86 w 114"/>
                <a:gd name="T97" fmla="*/ 56 h 62"/>
                <a:gd name="T98" fmla="*/ 86 w 114"/>
                <a:gd name="T99" fmla="*/ 56 h 62"/>
                <a:gd name="T100" fmla="*/ 89 w 114"/>
                <a:gd name="T101" fmla="*/ 55 h 62"/>
                <a:gd name="T102" fmla="*/ 94 w 114"/>
                <a:gd name="T103"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4" h="62">
                  <a:moveTo>
                    <a:pt x="94" y="53"/>
                  </a:moveTo>
                  <a:lnTo>
                    <a:pt x="94" y="53"/>
                  </a:lnTo>
                  <a:lnTo>
                    <a:pt x="104" y="56"/>
                  </a:lnTo>
                  <a:lnTo>
                    <a:pt x="108" y="58"/>
                  </a:lnTo>
                  <a:lnTo>
                    <a:pt x="113" y="56"/>
                  </a:lnTo>
                  <a:lnTo>
                    <a:pt x="113" y="56"/>
                  </a:lnTo>
                  <a:lnTo>
                    <a:pt x="113" y="53"/>
                  </a:lnTo>
                  <a:lnTo>
                    <a:pt x="113" y="49"/>
                  </a:lnTo>
                  <a:lnTo>
                    <a:pt x="113" y="43"/>
                  </a:lnTo>
                  <a:lnTo>
                    <a:pt x="114" y="39"/>
                  </a:lnTo>
                  <a:lnTo>
                    <a:pt x="114" y="39"/>
                  </a:lnTo>
                  <a:lnTo>
                    <a:pt x="105" y="33"/>
                  </a:lnTo>
                  <a:lnTo>
                    <a:pt x="97" y="29"/>
                  </a:lnTo>
                  <a:lnTo>
                    <a:pt x="97" y="29"/>
                  </a:lnTo>
                  <a:lnTo>
                    <a:pt x="68" y="20"/>
                  </a:lnTo>
                  <a:lnTo>
                    <a:pt x="50" y="16"/>
                  </a:lnTo>
                  <a:lnTo>
                    <a:pt x="40" y="11"/>
                  </a:lnTo>
                  <a:lnTo>
                    <a:pt x="40" y="11"/>
                  </a:lnTo>
                  <a:lnTo>
                    <a:pt x="24" y="3"/>
                  </a:lnTo>
                  <a:lnTo>
                    <a:pt x="18" y="0"/>
                  </a:lnTo>
                  <a:lnTo>
                    <a:pt x="13" y="0"/>
                  </a:lnTo>
                  <a:lnTo>
                    <a:pt x="13" y="0"/>
                  </a:lnTo>
                  <a:lnTo>
                    <a:pt x="0" y="6"/>
                  </a:lnTo>
                  <a:lnTo>
                    <a:pt x="0" y="6"/>
                  </a:lnTo>
                  <a:lnTo>
                    <a:pt x="1" y="9"/>
                  </a:lnTo>
                  <a:lnTo>
                    <a:pt x="4" y="10"/>
                  </a:lnTo>
                  <a:lnTo>
                    <a:pt x="13" y="11"/>
                  </a:lnTo>
                  <a:lnTo>
                    <a:pt x="13" y="11"/>
                  </a:lnTo>
                  <a:lnTo>
                    <a:pt x="17" y="11"/>
                  </a:lnTo>
                  <a:lnTo>
                    <a:pt x="18" y="14"/>
                  </a:lnTo>
                  <a:lnTo>
                    <a:pt x="21" y="23"/>
                  </a:lnTo>
                  <a:lnTo>
                    <a:pt x="21" y="23"/>
                  </a:lnTo>
                  <a:lnTo>
                    <a:pt x="27" y="32"/>
                  </a:lnTo>
                  <a:lnTo>
                    <a:pt x="29" y="36"/>
                  </a:lnTo>
                  <a:lnTo>
                    <a:pt x="29" y="40"/>
                  </a:lnTo>
                  <a:lnTo>
                    <a:pt x="29" y="40"/>
                  </a:lnTo>
                  <a:lnTo>
                    <a:pt x="27" y="45"/>
                  </a:lnTo>
                  <a:lnTo>
                    <a:pt x="27" y="45"/>
                  </a:lnTo>
                  <a:lnTo>
                    <a:pt x="40" y="51"/>
                  </a:lnTo>
                  <a:lnTo>
                    <a:pt x="40" y="51"/>
                  </a:lnTo>
                  <a:lnTo>
                    <a:pt x="50" y="56"/>
                  </a:lnTo>
                  <a:lnTo>
                    <a:pt x="55" y="59"/>
                  </a:lnTo>
                  <a:lnTo>
                    <a:pt x="56" y="62"/>
                  </a:lnTo>
                  <a:lnTo>
                    <a:pt x="56" y="62"/>
                  </a:lnTo>
                  <a:lnTo>
                    <a:pt x="68" y="59"/>
                  </a:lnTo>
                  <a:lnTo>
                    <a:pt x="78" y="58"/>
                  </a:lnTo>
                  <a:lnTo>
                    <a:pt x="78" y="58"/>
                  </a:lnTo>
                  <a:lnTo>
                    <a:pt x="82" y="58"/>
                  </a:lnTo>
                  <a:lnTo>
                    <a:pt x="86" y="56"/>
                  </a:lnTo>
                  <a:lnTo>
                    <a:pt x="86" y="56"/>
                  </a:lnTo>
                  <a:lnTo>
                    <a:pt x="89" y="55"/>
                  </a:lnTo>
                  <a:lnTo>
                    <a:pt x="94" y="53"/>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67" name="Freeform 738"/>
            <p:cNvSpPr>
              <a:spLocks/>
            </p:cNvSpPr>
            <p:nvPr/>
          </p:nvSpPr>
          <p:spPr bwMode="auto">
            <a:xfrm>
              <a:off x="5337176" y="3532617"/>
              <a:ext cx="180975" cy="98425"/>
            </a:xfrm>
            <a:custGeom>
              <a:avLst/>
              <a:gdLst>
                <a:gd name="T0" fmla="*/ 94 w 114"/>
                <a:gd name="T1" fmla="*/ 53 h 62"/>
                <a:gd name="T2" fmla="*/ 94 w 114"/>
                <a:gd name="T3" fmla="*/ 53 h 62"/>
                <a:gd name="T4" fmla="*/ 104 w 114"/>
                <a:gd name="T5" fmla="*/ 56 h 62"/>
                <a:gd name="T6" fmla="*/ 108 w 114"/>
                <a:gd name="T7" fmla="*/ 58 h 62"/>
                <a:gd name="T8" fmla="*/ 113 w 114"/>
                <a:gd name="T9" fmla="*/ 56 h 62"/>
                <a:gd name="T10" fmla="*/ 113 w 114"/>
                <a:gd name="T11" fmla="*/ 56 h 62"/>
                <a:gd name="T12" fmla="*/ 113 w 114"/>
                <a:gd name="T13" fmla="*/ 53 h 62"/>
                <a:gd name="T14" fmla="*/ 113 w 114"/>
                <a:gd name="T15" fmla="*/ 49 h 62"/>
                <a:gd name="T16" fmla="*/ 113 w 114"/>
                <a:gd name="T17" fmla="*/ 43 h 62"/>
                <a:gd name="T18" fmla="*/ 114 w 114"/>
                <a:gd name="T19" fmla="*/ 39 h 62"/>
                <a:gd name="T20" fmla="*/ 114 w 114"/>
                <a:gd name="T21" fmla="*/ 39 h 62"/>
                <a:gd name="T22" fmla="*/ 105 w 114"/>
                <a:gd name="T23" fmla="*/ 33 h 62"/>
                <a:gd name="T24" fmla="*/ 97 w 114"/>
                <a:gd name="T25" fmla="*/ 29 h 62"/>
                <a:gd name="T26" fmla="*/ 97 w 114"/>
                <a:gd name="T27" fmla="*/ 29 h 62"/>
                <a:gd name="T28" fmla="*/ 68 w 114"/>
                <a:gd name="T29" fmla="*/ 20 h 62"/>
                <a:gd name="T30" fmla="*/ 50 w 114"/>
                <a:gd name="T31" fmla="*/ 16 h 62"/>
                <a:gd name="T32" fmla="*/ 40 w 114"/>
                <a:gd name="T33" fmla="*/ 11 h 62"/>
                <a:gd name="T34" fmla="*/ 40 w 114"/>
                <a:gd name="T35" fmla="*/ 11 h 62"/>
                <a:gd name="T36" fmla="*/ 24 w 114"/>
                <a:gd name="T37" fmla="*/ 3 h 62"/>
                <a:gd name="T38" fmla="*/ 18 w 114"/>
                <a:gd name="T39" fmla="*/ 0 h 62"/>
                <a:gd name="T40" fmla="*/ 13 w 114"/>
                <a:gd name="T41" fmla="*/ 0 h 62"/>
                <a:gd name="T42" fmla="*/ 13 w 114"/>
                <a:gd name="T43" fmla="*/ 0 h 62"/>
                <a:gd name="T44" fmla="*/ 0 w 114"/>
                <a:gd name="T45" fmla="*/ 6 h 62"/>
                <a:gd name="T46" fmla="*/ 0 w 114"/>
                <a:gd name="T47" fmla="*/ 6 h 62"/>
                <a:gd name="T48" fmla="*/ 1 w 114"/>
                <a:gd name="T49" fmla="*/ 9 h 62"/>
                <a:gd name="T50" fmla="*/ 4 w 114"/>
                <a:gd name="T51" fmla="*/ 10 h 62"/>
                <a:gd name="T52" fmla="*/ 13 w 114"/>
                <a:gd name="T53" fmla="*/ 11 h 62"/>
                <a:gd name="T54" fmla="*/ 13 w 114"/>
                <a:gd name="T55" fmla="*/ 11 h 62"/>
                <a:gd name="T56" fmla="*/ 17 w 114"/>
                <a:gd name="T57" fmla="*/ 11 h 62"/>
                <a:gd name="T58" fmla="*/ 18 w 114"/>
                <a:gd name="T59" fmla="*/ 14 h 62"/>
                <a:gd name="T60" fmla="*/ 21 w 114"/>
                <a:gd name="T61" fmla="*/ 23 h 62"/>
                <a:gd name="T62" fmla="*/ 21 w 114"/>
                <a:gd name="T63" fmla="*/ 23 h 62"/>
                <a:gd name="T64" fmla="*/ 27 w 114"/>
                <a:gd name="T65" fmla="*/ 32 h 62"/>
                <a:gd name="T66" fmla="*/ 29 w 114"/>
                <a:gd name="T67" fmla="*/ 36 h 62"/>
                <a:gd name="T68" fmla="*/ 29 w 114"/>
                <a:gd name="T69" fmla="*/ 40 h 62"/>
                <a:gd name="T70" fmla="*/ 29 w 114"/>
                <a:gd name="T71" fmla="*/ 40 h 62"/>
                <a:gd name="T72" fmla="*/ 27 w 114"/>
                <a:gd name="T73" fmla="*/ 45 h 62"/>
                <a:gd name="T74" fmla="*/ 27 w 114"/>
                <a:gd name="T75" fmla="*/ 45 h 62"/>
                <a:gd name="T76" fmla="*/ 40 w 114"/>
                <a:gd name="T77" fmla="*/ 51 h 62"/>
                <a:gd name="T78" fmla="*/ 40 w 114"/>
                <a:gd name="T79" fmla="*/ 51 h 62"/>
                <a:gd name="T80" fmla="*/ 50 w 114"/>
                <a:gd name="T81" fmla="*/ 56 h 62"/>
                <a:gd name="T82" fmla="*/ 55 w 114"/>
                <a:gd name="T83" fmla="*/ 59 h 62"/>
                <a:gd name="T84" fmla="*/ 56 w 114"/>
                <a:gd name="T85" fmla="*/ 62 h 62"/>
                <a:gd name="T86" fmla="*/ 56 w 114"/>
                <a:gd name="T87" fmla="*/ 62 h 62"/>
                <a:gd name="T88" fmla="*/ 68 w 114"/>
                <a:gd name="T89" fmla="*/ 59 h 62"/>
                <a:gd name="T90" fmla="*/ 78 w 114"/>
                <a:gd name="T91" fmla="*/ 58 h 62"/>
                <a:gd name="T92" fmla="*/ 78 w 114"/>
                <a:gd name="T93" fmla="*/ 58 h 62"/>
                <a:gd name="T94" fmla="*/ 82 w 114"/>
                <a:gd name="T95" fmla="*/ 58 h 62"/>
                <a:gd name="T96" fmla="*/ 86 w 114"/>
                <a:gd name="T97" fmla="*/ 56 h 62"/>
                <a:gd name="T98" fmla="*/ 86 w 114"/>
                <a:gd name="T99" fmla="*/ 56 h 62"/>
                <a:gd name="T100" fmla="*/ 89 w 114"/>
                <a:gd name="T101" fmla="*/ 55 h 62"/>
                <a:gd name="T102" fmla="*/ 94 w 114"/>
                <a:gd name="T103"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4" h="62">
                  <a:moveTo>
                    <a:pt x="94" y="53"/>
                  </a:moveTo>
                  <a:lnTo>
                    <a:pt x="94" y="53"/>
                  </a:lnTo>
                  <a:lnTo>
                    <a:pt x="104" y="56"/>
                  </a:lnTo>
                  <a:lnTo>
                    <a:pt x="108" y="58"/>
                  </a:lnTo>
                  <a:lnTo>
                    <a:pt x="113" y="56"/>
                  </a:lnTo>
                  <a:lnTo>
                    <a:pt x="113" y="56"/>
                  </a:lnTo>
                  <a:lnTo>
                    <a:pt x="113" y="53"/>
                  </a:lnTo>
                  <a:lnTo>
                    <a:pt x="113" y="49"/>
                  </a:lnTo>
                  <a:lnTo>
                    <a:pt x="113" y="43"/>
                  </a:lnTo>
                  <a:lnTo>
                    <a:pt x="114" y="39"/>
                  </a:lnTo>
                  <a:lnTo>
                    <a:pt x="114" y="39"/>
                  </a:lnTo>
                  <a:lnTo>
                    <a:pt x="105" y="33"/>
                  </a:lnTo>
                  <a:lnTo>
                    <a:pt x="97" y="29"/>
                  </a:lnTo>
                  <a:lnTo>
                    <a:pt x="97" y="29"/>
                  </a:lnTo>
                  <a:lnTo>
                    <a:pt x="68" y="20"/>
                  </a:lnTo>
                  <a:lnTo>
                    <a:pt x="50" y="16"/>
                  </a:lnTo>
                  <a:lnTo>
                    <a:pt x="40" y="11"/>
                  </a:lnTo>
                  <a:lnTo>
                    <a:pt x="40" y="11"/>
                  </a:lnTo>
                  <a:lnTo>
                    <a:pt x="24" y="3"/>
                  </a:lnTo>
                  <a:lnTo>
                    <a:pt x="18" y="0"/>
                  </a:lnTo>
                  <a:lnTo>
                    <a:pt x="13" y="0"/>
                  </a:lnTo>
                  <a:lnTo>
                    <a:pt x="13" y="0"/>
                  </a:lnTo>
                  <a:lnTo>
                    <a:pt x="0" y="6"/>
                  </a:lnTo>
                  <a:lnTo>
                    <a:pt x="0" y="6"/>
                  </a:lnTo>
                  <a:lnTo>
                    <a:pt x="1" y="9"/>
                  </a:lnTo>
                  <a:lnTo>
                    <a:pt x="4" y="10"/>
                  </a:lnTo>
                  <a:lnTo>
                    <a:pt x="13" y="11"/>
                  </a:lnTo>
                  <a:lnTo>
                    <a:pt x="13" y="11"/>
                  </a:lnTo>
                  <a:lnTo>
                    <a:pt x="17" y="11"/>
                  </a:lnTo>
                  <a:lnTo>
                    <a:pt x="18" y="14"/>
                  </a:lnTo>
                  <a:lnTo>
                    <a:pt x="21" y="23"/>
                  </a:lnTo>
                  <a:lnTo>
                    <a:pt x="21" y="23"/>
                  </a:lnTo>
                  <a:lnTo>
                    <a:pt x="27" y="32"/>
                  </a:lnTo>
                  <a:lnTo>
                    <a:pt x="29" y="36"/>
                  </a:lnTo>
                  <a:lnTo>
                    <a:pt x="29" y="40"/>
                  </a:lnTo>
                  <a:lnTo>
                    <a:pt x="29" y="40"/>
                  </a:lnTo>
                  <a:lnTo>
                    <a:pt x="27" y="45"/>
                  </a:lnTo>
                  <a:lnTo>
                    <a:pt x="27" y="45"/>
                  </a:lnTo>
                  <a:lnTo>
                    <a:pt x="40" y="51"/>
                  </a:lnTo>
                  <a:lnTo>
                    <a:pt x="40" y="51"/>
                  </a:lnTo>
                  <a:lnTo>
                    <a:pt x="50" y="56"/>
                  </a:lnTo>
                  <a:lnTo>
                    <a:pt x="55" y="59"/>
                  </a:lnTo>
                  <a:lnTo>
                    <a:pt x="56" y="62"/>
                  </a:lnTo>
                  <a:lnTo>
                    <a:pt x="56" y="62"/>
                  </a:lnTo>
                  <a:lnTo>
                    <a:pt x="68" y="59"/>
                  </a:lnTo>
                  <a:lnTo>
                    <a:pt x="78" y="58"/>
                  </a:lnTo>
                  <a:lnTo>
                    <a:pt x="78" y="58"/>
                  </a:lnTo>
                  <a:lnTo>
                    <a:pt x="82" y="58"/>
                  </a:lnTo>
                  <a:lnTo>
                    <a:pt x="86" y="56"/>
                  </a:lnTo>
                  <a:lnTo>
                    <a:pt x="86" y="56"/>
                  </a:lnTo>
                  <a:lnTo>
                    <a:pt x="89" y="55"/>
                  </a:lnTo>
                  <a:lnTo>
                    <a:pt x="94" y="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68" name="Freeform 739"/>
            <p:cNvSpPr>
              <a:spLocks/>
            </p:cNvSpPr>
            <p:nvPr/>
          </p:nvSpPr>
          <p:spPr bwMode="auto">
            <a:xfrm>
              <a:off x="5426076" y="3621517"/>
              <a:ext cx="85725" cy="76200"/>
            </a:xfrm>
            <a:custGeom>
              <a:avLst/>
              <a:gdLst>
                <a:gd name="T0" fmla="*/ 48 w 54"/>
                <a:gd name="T1" fmla="*/ 48 h 48"/>
                <a:gd name="T2" fmla="*/ 48 w 54"/>
                <a:gd name="T3" fmla="*/ 48 h 48"/>
                <a:gd name="T4" fmla="*/ 46 w 54"/>
                <a:gd name="T5" fmla="*/ 48 h 48"/>
                <a:gd name="T6" fmla="*/ 46 w 54"/>
                <a:gd name="T7" fmla="*/ 48 h 48"/>
                <a:gd name="T8" fmla="*/ 32 w 54"/>
                <a:gd name="T9" fmla="*/ 41 h 48"/>
                <a:gd name="T10" fmla="*/ 23 w 54"/>
                <a:gd name="T11" fmla="*/ 35 h 48"/>
                <a:gd name="T12" fmla="*/ 17 w 54"/>
                <a:gd name="T13" fmla="*/ 29 h 48"/>
                <a:gd name="T14" fmla="*/ 17 w 54"/>
                <a:gd name="T15" fmla="*/ 29 h 48"/>
                <a:gd name="T16" fmla="*/ 16 w 54"/>
                <a:gd name="T17" fmla="*/ 28 h 48"/>
                <a:gd name="T18" fmla="*/ 16 w 54"/>
                <a:gd name="T19" fmla="*/ 28 h 48"/>
                <a:gd name="T20" fmla="*/ 7 w 54"/>
                <a:gd name="T21" fmla="*/ 18 h 48"/>
                <a:gd name="T22" fmla="*/ 3 w 54"/>
                <a:gd name="T23" fmla="*/ 13 h 48"/>
                <a:gd name="T24" fmla="*/ 2 w 54"/>
                <a:gd name="T25" fmla="*/ 11 h 48"/>
                <a:gd name="T26" fmla="*/ 2 w 54"/>
                <a:gd name="T27" fmla="*/ 11 h 48"/>
                <a:gd name="T28" fmla="*/ 0 w 54"/>
                <a:gd name="T29" fmla="*/ 6 h 48"/>
                <a:gd name="T30" fmla="*/ 0 w 54"/>
                <a:gd name="T31" fmla="*/ 6 h 48"/>
                <a:gd name="T32" fmla="*/ 2 w 54"/>
                <a:gd name="T33" fmla="*/ 6 h 48"/>
                <a:gd name="T34" fmla="*/ 2 w 54"/>
                <a:gd name="T35" fmla="*/ 6 h 48"/>
                <a:gd name="T36" fmla="*/ 2 w 54"/>
                <a:gd name="T37" fmla="*/ 6 h 48"/>
                <a:gd name="T38" fmla="*/ 2 w 54"/>
                <a:gd name="T39" fmla="*/ 6 h 48"/>
                <a:gd name="T40" fmla="*/ 2 w 54"/>
                <a:gd name="T41" fmla="*/ 6 h 48"/>
                <a:gd name="T42" fmla="*/ 2 w 54"/>
                <a:gd name="T43" fmla="*/ 6 h 48"/>
                <a:gd name="T44" fmla="*/ 2 w 54"/>
                <a:gd name="T45" fmla="*/ 6 h 48"/>
                <a:gd name="T46" fmla="*/ 2 w 54"/>
                <a:gd name="T47" fmla="*/ 6 h 48"/>
                <a:gd name="T48" fmla="*/ 2 w 54"/>
                <a:gd name="T49" fmla="*/ 6 h 48"/>
                <a:gd name="T50" fmla="*/ 2 w 54"/>
                <a:gd name="T51" fmla="*/ 6 h 48"/>
                <a:gd name="T52" fmla="*/ 2 w 54"/>
                <a:gd name="T53" fmla="*/ 6 h 48"/>
                <a:gd name="T54" fmla="*/ 2 w 54"/>
                <a:gd name="T55" fmla="*/ 6 h 48"/>
                <a:gd name="T56" fmla="*/ 3 w 54"/>
                <a:gd name="T57" fmla="*/ 6 h 48"/>
                <a:gd name="T58" fmla="*/ 3 w 54"/>
                <a:gd name="T59" fmla="*/ 6 h 48"/>
                <a:gd name="T60" fmla="*/ 4 w 54"/>
                <a:gd name="T61" fmla="*/ 5 h 48"/>
                <a:gd name="T62" fmla="*/ 4 w 54"/>
                <a:gd name="T63" fmla="*/ 5 h 48"/>
                <a:gd name="T64" fmla="*/ 4 w 54"/>
                <a:gd name="T65" fmla="*/ 5 h 48"/>
                <a:gd name="T66" fmla="*/ 4 w 54"/>
                <a:gd name="T67" fmla="*/ 5 h 48"/>
                <a:gd name="T68" fmla="*/ 4 w 54"/>
                <a:gd name="T69" fmla="*/ 5 h 48"/>
                <a:gd name="T70" fmla="*/ 17 w 54"/>
                <a:gd name="T71" fmla="*/ 2 h 48"/>
                <a:gd name="T72" fmla="*/ 17 w 54"/>
                <a:gd name="T73" fmla="*/ 2 h 48"/>
                <a:gd name="T74" fmla="*/ 19 w 54"/>
                <a:gd name="T75" fmla="*/ 2 h 48"/>
                <a:gd name="T76" fmla="*/ 19 w 54"/>
                <a:gd name="T77" fmla="*/ 2 h 48"/>
                <a:gd name="T78" fmla="*/ 20 w 54"/>
                <a:gd name="T79" fmla="*/ 2 h 48"/>
                <a:gd name="T80" fmla="*/ 20 w 54"/>
                <a:gd name="T81" fmla="*/ 2 h 48"/>
                <a:gd name="T82" fmla="*/ 20 w 54"/>
                <a:gd name="T83" fmla="*/ 2 h 48"/>
                <a:gd name="T84" fmla="*/ 20 w 54"/>
                <a:gd name="T85" fmla="*/ 2 h 48"/>
                <a:gd name="T86" fmla="*/ 22 w 54"/>
                <a:gd name="T87" fmla="*/ 2 h 48"/>
                <a:gd name="T88" fmla="*/ 22 w 54"/>
                <a:gd name="T89" fmla="*/ 2 h 48"/>
                <a:gd name="T90" fmla="*/ 23 w 54"/>
                <a:gd name="T91" fmla="*/ 2 h 48"/>
                <a:gd name="T92" fmla="*/ 23 w 54"/>
                <a:gd name="T93" fmla="*/ 2 h 48"/>
                <a:gd name="T94" fmla="*/ 26 w 54"/>
                <a:gd name="T95" fmla="*/ 2 h 48"/>
                <a:gd name="T96" fmla="*/ 29 w 54"/>
                <a:gd name="T97" fmla="*/ 0 h 48"/>
                <a:gd name="T98" fmla="*/ 29 w 54"/>
                <a:gd name="T99" fmla="*/ 0 h 48"/>
                <a:gd name="T100" fmla="*/ 35 w 54"/>
                <a:gd name="T101" fmla="*/ 9 h 48"/>
                <a:gd name="T102" fmla="*/ 41 w 54"/>
                <a:gd name="T103" fmla="*/ 16 h 48"/>
                <a:gd name="T104" fmla="*/ 49 w 54"/>
                <a:gd name="T105" fmla="*/ 25 h 48"/>
                <a:gd name="T106" fmla="*/ 49 w 54"/>
                <a:gd name="T107" fmla="*/ 25 h 48"/>
                <a:gd name="T108" fmla="*/ 52 w 54"/>
                <a:gd name="T109" fmla="*/ 29 h 48"/>
                <a:gd name="T110" fmla="*/ 52 w 54"/>
                <a:gd name="T111" fmla="*/ 34 h 48"/>
                <a:gd name="T112" fmla="*/ 54 w 54"/>
                <a:gd name="T113" fmla="*/ 47 h 48"/>
                <a:gd name="T114" fmla="*/ 54 w 54"/>
                <a:gd name="T115" fmla="*/ 47 h 48"/>
                <a:gd name="T116" fmla="*/ 48 w 54"/>
                <a:gd name="T1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4" h="48">
                  <a:moveTo>
                    <a:pt x="48" y="48"/>
                  </a:moveTo>
                  <a:lnTo>
                    <a:pt x="48" y="48"/>
                  </a:lnTo>
                  <a:lnTo>
                    <a:pt x="46" y="48"/>
                  </a:lnTo>
                  <a:lnTo>
                    <a:pt x="46" y="48"/>
                  </a:lnTo>
                  <a:lnTo>
                    <a:pt x="32" y="41"/>
                  </a:lnTo>
                  <a:lnTo>
                    <a:pt x="23" y="35"/>
                  </a:lnTo>
                  <a:lnTo>
                    <a:pt x="17" y="29"/>
                  </a:lnTo>
                  <a:lnTo>
                    <a:pt x="17" y="29"/>
                  </a:lnTo>
                  <a:lnTo>
                    <a:pt x="16" y="28"/>
                  </a:lnTo>
                  <a:lnTo>
                    <a:pt x="16" y="28"/>
                  </a:lnTo>
                  <a:lnTo>
                    <a:pt x="7" y="18"/>
                  </a:lnTo>
                  <a:lnTo>
                    <a:pt x="3" y="13"/>
                  </a:lnTo>
                  <a:lnTo>
                    <a:pt x="2" y="11"/>
                  </a:lnTo>
                  <a:lnTo>
                    <a:pt x="2" y="11"/>
                  </a:lnTo>
                  <a:lnTo>
                    <a:pt x="0" y="6"/>
                  </a:lnTo>
                  <a:lnTo>
                    <a:pt x="0" y="6"/>
                  </a:lnTo>
                  <a:lnTo>
                    <a:pt x="2" y="6"/>
                  </a:lnTo>
                  <a:lnTo>
                    <a:pt x="2" y="6"/>
                  </a:lnTo>
                  <a:lnTo>
                    <a:pt x="2" y="6"/>
                  </a:lnTo>
                  <a:lnTo>
                    <a:pt x="2" y="6"/>
                  </a:lnTo>
                  <a:lnTo>
                    <a:pt x="2" y="6"/>
                  </a:lnTo>
                  <a:lnTo>
                    <a:pt x="2" y="6"/>
                  </a:lnTo>
                  <a:lnTo>
                    <a:pt x="2" y="6"/>
                  </a:lnTo>
                  <a:lnTo>
                    <a:pt x="2" y="6"/>
                  </a:lnTo>
                  <a:lnTo>
                    <a:pt x="2" y="6"/>
                  </a:lnTo>
                  <a:lnTo>
                    <a:pt x="2" y="6"/>
                  </a:lnTo>
                  <a:lnTo>
                    <a:pt x="2" y="6"/>
                  </a:lnTo>
                  <a:lnTo>
                    <a:pt x="2" y="6"/>
                  </a:lnTo>
                  <a:lnTo>
                    <a:pt x="3" y="6"/>
                  </a:lnTo>
                  <a:lnTo>
                    <a:pt x="3" y="6"/>
                  </a:lnTo>
                  <a:lnTo>
                    <a:pt x="4" y="5"/>
                  </a:lnTo>
                  <a:lnTo>
                    <a:pt x="4" y="5"/>
                  </a:lnTo>
                  <a:lnTo>
                    <a:pt x="4" y="5"/>
                  </a:lnTo>
                  <a:lnTo>
                    <a:pt x="4" y="5"/>
                  </a:lnTo>
                  <a:lnTo>
                    <a:pt x="4" y="5"/>
                  </a:lnTo>
                  <a:lnTo>
                    <a:pt x="17" y="2"/>
                  </a:lnTo>
                  <a:lnTo>
                    <a:pt x="17" y="2"/>
                  </a:lnTo>
                  <a:lnTo>
                    <a:pt x="19" y="2"/>
                  </a:lnTo>
                  <a:lnTo>
                    <a:pt x="19" y="2"/>
                  </a:lnTo>
                  <a:lnTo>
                    <a:pt x="20" y="2"/>
                  </a:lnTo>
                  <a:lnTo>
                    <a:pt x="20" y="2"/>
                  </a:lnTo>
                  <a:lnTo>
                    <a:pt x="20" y="2"/>
                  </a:lnTo>
                  <a:lnTo>
                    <a:pt x="20" y="2"/>
                  </a:lnTo>
                  <a:lnTo>
                    <a:pt x="22" y="2"/>
                  </a:lnTo>
                  <a:lnTo>
                    <a:pt x="22" y="2"/>
                  </a:lnTo>
                  <a:lnTo>
                    <a:pt x="23" y="2"/>
                  </a:lnTo>
                  <a:lnTo>
                    <a:pt x="23" y="2"/>
                  </a:lnTo>
                  <a:lnTo>
                    <a:pt x="26" y="2"/>
                  </a:lnTo>
                  <a:lnTo>
                    <a:pt x="29" y="0"/>
                  </a:lnTo>
                  <a:lnTo>
                    <a:pt x="29" y="0"/>
                  </a:lnTo>
                  <a:lnTo>
                    <a:pt x="35" y="9"/>
                  </a:lnTo>
                  <a:lnTo>
                    <a:pt x="41" y="16"/>
                  </a:lnTo>
                  <a:lnTo>
                    <a:pt x="49" y="25"/>
                  </a:lnTo>
                  <a:lnTo>
                    <a:pt x="49" y="25"/>
                  </a:lnTo>
                  <a:lnTo>
                    <a:pt x="52" y="29"/>
                  </a:lnTo>
                  <a:lnTo>
                    <a:pt x="52" y="34"/>
                  </a:lnTo>
                  <a:lnTo>
                    <a:pt x="54" y="47"/>
                  </a:lnTo>
                  <a:lnTo>
                    <a:pt x="54" y="47"/>
                  </a:lnTo>
                  <a:lnTo>
                    <a:pt x="48" y="48"/>
                  </a:lnTo>
                  <a:close/>
                </a:path>
              </a:pathLst>
            </a:custGeom>
            <a:solidFill>
              <a:srgbClr val="D9DA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69" name="Freeform 740"/>
            <p:cNvSpPr>
              <a:spLocks/>
            </p:cNvSpPr>
            <p:nvPr/>
          </p:nvSpPr>
          <p:spPr bwMode="auto">
            <a:xfrm>
              <a:off x="5426076" y="3621517"/>
              <a:ext cx="85725" cy="76200"/>
            </a:xfrm>
            <a:custGeom>
              <a:avLst/>
              <a:gdLst>
                <a:gd name="T0" fmla="*/ 48 w 54"/>
                <a:gd name="T1" fmla="*/ 48 h 48"/>
                <a:gd name="T2" fmla="*/ 48 w 54"/>
                <a:gd name="T3" fmla="*/ 48 h 48"/>
                <a:gd name="T4" fmla="*/ 46 w 54"/>
                <a:gd name="T5" fmla="*/ 48 h 48"/>
                <a:gd name="T6" fmla="*/ 46 w 54"/>
                <a:gd name="T7" fmla="*/ 48 h 48"/>
                <a:gd name="T8" fmla="*/ 32 w 54"/>
                <a:gd name="T9" fmla="*/ 41 h 48"/>
                <a:gd name="T10" fmla="*/ 23 w 54"/>
                <a:gd name="T11" fmla="*/ 35 h 48"/>
                <a:gd name="T12" fmla="*/ 17 w 54"/>
                <a:gd name="T13" fmla="*/ 29 h 48"/>
                <a:gd name="T14" fmla="*/ 17 w 54"/>
                <a:gd name="T15" fmla="*/ 29 h 48"/>
                <a:gd name="T16" fmla="*/ 16 w 54"/>
                <a:gd name="T17" fmla="*/ 28 h 48"/>
                <a:gd name="T18" fmla="*/ 16 w 54"/>
                <a:gd name="T19" fmla="*/ 28 h 48"/>
                <a:gd name="T20" fmla="*/ 7 w 54"/>
                <a:gd name="T21" fmla="*/ 18 h 48"/>
                <a:gd name="T22" fmla="*/ 3 w 54"/>
                <a:gd name="T23" fmla="*/ 13 h 48"/>
                <a:gd name="T24" fmla="*/ 2 w 54"/>
                <a:gd name="T25" fmla="*/ 11 h 48"/>
                <a:gd name="T26" fmla="*/ 2 w 54"/>
                <a:gd name="T27" fmla="*/ 11 h 48"/>
                <a:gd name="T28" fmla="*/ 0 w 54"/>
                <a:gd name="T29" fmla="*/ 6 h 48"/>
                <a:gd name="T30" fmla="*/ 0 w 54"/>
                <a:gd name="T31" fmla="*/ 6 h 48"/>
                <a:gd name="T32" fmla="*/ 2 w 54"/>
                <a:gd name="T33" fmla="*/ 6 h 48"/>
                <a:gd name="T34" fmla="*/ 2 w 54"/>
                <a:gd name="T35" fmla="*/ 6 h 48"/>
                <a:gd name="T36" fmla="*/ 2 w 54"/>
                <a:gd name="T37" fmla="*/ 6 h 48"/>
                <a:gd name="T38" fmla="*/ 2 w 54"/>
                <a:gd name="T39" fmla="*/ 6 h 48"/>
                <a:gd name="T40" fmla="*/ 2 w 54"/>
                <a:gd name="T41" fmla="*/ 6 h 48"/>
                <a:gd name="T42" fmla="*/ 2 w 54"/>
                <a:gd name="T43" fmla="*/ 6 h 48"/>
                <a:gd name="T44" fmla="*/ 2 w 54"/>
                <a:gd name="T45" fmla="*/ 6 h 48"/>
                <a:gd name="T46" fmla="*/ 2 w 54"/>
                <a:gd name="T47" fmla="*/ 6 h 48"/>
                <a:gd name="T48" fmla="*/ 2 w 54"/>
                <a:gd name="T49" fmla="*/ 6 h 48"/>
                <a:gd name="T50" fmla="*/ 2 w 54"/>
                <a:gd name="T51" fmla="*/ 6 h 48"/>
                <a:gd name="T52" fmla="*/ 2 w 54"/>
                <a:gd name="T53" fmla="*/ 6 h 48"/>
                <a:gd name="T54" fmla="*/ 2 w 54"/>
                <a:gd name="T55" fmla="*/ 6 h 48"/>
                <a:gd name="T56" fmla="*/ 3 w 54"/>
                <a:gd name="T57" fmla="*/ 6 h 48"/>
                <a:gd name="T58" fmla="*/ 3 w 54"/>
                <a:gd name="T59" fmla="*/ 6 h 48"/>
                <a:gd name="T60" fmla="*/ 4 w 54"/>
                <a:gd name="T61" fmla="*/ 5 h 48"/>
                <a:gd name="T62" fmla="*/ 4 w 54"/>
                <a:gd name="T63" fmla="*/ 5 h 48"/>
                <a:gd name="T64" fmla="*/ 4 w 54"/>
                <a:gd name="T65" fmla="*/ 5 h 48"/>
                <a:gd name="T66" fmla="*/ 4 w 54"/>
                <a:gd name="T67" fmla="*/ 5 h 48"/>
                <a:gd name="T68" fmla="*/ 4 w 54"/>
                <a:gd name="T69" fmla="*/ 5 h 48"/>
                <a:gd name="T70" fmla="*/ 17 w 54"/>
                <a:gd name="T71" fmla="*/ 2 h 48"/>
                <a:gd name="T72" fmla="*/ 17 w 54"/>
                <a:gd name="T73" fmla="*/ 2 h 48"/>
                <a:gd name="T74" fmla="*/ 19 w 54"/>
                <a:gd name="T75" fmla="*/ 2 h 48"/>
                <a:gd name="T76" fmla="*/ 19 w 54"/>
                <a:gd name="T77" fmla="*/ 2 h 48"/>
                <a:gd name="T78" fmla="*/ 20 w 54"/>
                <a:gd name="T79" fmla="*/ 2 h 48"/>
                <a:gd name="T80" fmla="*/ 20 w 54"/>
                <a:gd name="T81" fmla="*/ 2 h 48"/>
                <a:gd name="T82" fmla="*/ 20 w 54"/>
                <a:gd name="T83" fmla="*/ 2 h 48"/>
                <a:gd name="T84" fmla="*/ 20 w 54"/>
                <a:gd name="T85" fmla="*/ 2 h 48"/>
                <a:gd name="T86" fmla="*/ 22 w 54"/>
                <a:gd name="T87" fmla="*/ 2 h 48"/>
                <a:gd name="T88" fmla="*/ 22 w 54"/>
                <a:gd name="T89" fmla="*/ 2 h 48"/>
                <a:gd name="T90" fmla="*/ 23 w 54"/>
                <a:gd name="T91" fmla="*/ 2 h 48"/>
                <a:gd name="T92" fmla="*/ 23 w 54"/>
                <a:gd name="T93" fmla="*/ 2 h 48"/>
                <a:gd name="T94" fmla="*/ 26 w 54"/>
                <a:gd name="T95" fmla="*/ 2 h 48"/>
                <a:gd name="T96" fmla="*/ 29 w 54"/>
                <a:gd name="T97" fmla="*/ 0 h 48"/>
                <a:gd name="T98" fmla="*/ 29 w 54"/>
                <a:gd name="T99" fmla="*/ 0 h 48"/>
                <a:gd name="T100" fmla="*/ 35 w 54"/>
                <a:gd name="T101" fmla="*/ 9 h 48"/>
                <a:gd name="T102" fmla="*/ 41 w 54"/>
                <a:gd name="T103" fmla="*/ 16 h 48"/>
                <a:gd name="T104" fmla="*/ 49 w 54"/>
                <a:gd name="T105" fmla="*/ 25 h 48"/>
                <a:gd name="T106" fmla="*/ 49 w 54"/>
                <a:gd name="T107" fmla="*/ 25 h 48"/>
                <a:gd name="T108" fmla="*/ 52 w 54"/>
                <a:gd name="T109" fmla="*/ 29 h 48"/>
                <a:gd name="T110" fmla="*/ 52 w 54"/>
                <a:gd name="T111" fmla="*/ 34 h 48"/>
                <a:gd name="T112" fmla="*/ 54 w 54"/>
                <a:gd name="T113" fmla="*/ 47 h 48"/>
                <a:gd name="T114" fmla="*/ 54 w 54"/>
                <a:gd name="T115" fmla="*/ 47 h 48"/>
                <a:gd name="T116" fmla="*/ 48 w 54"/>
                <a:gd name="T1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4" h="48">
                  <a:moveTo>
                    <a:pt x="48" y="48"/>
                  </a:moveTo>
                  <a:lnTo>
                    <a:pt x="48" y="48"/>
                  </a:lnTo>
                  <a:lnTo>
                    <a:pt x="46" y="48"/>
                  </a:lnTo>
                  <a:lnTo>
                    <a:pt x="46" y="48"/>
                  </a:lnTo>
                  <a:lnTo>
                    <a:pt x="32" y="41"/>
                  </a:lnTo>
                  <a:lnTo>
                    <a:pt x="23" y="35"/>
                  </a:lnTo>
                  <a:lnTo>
                    <a:pt x="17" y="29"/>
                  </a:lnTo>
                  <a:lnTo>
                    <a:pt x="17" y="29"/>
                  </a:lnTo>
                  <a:lnTo>
                    <a:pt x="16" y="28"/>
                  </a:lnTo>
                  <a:lnTo>
                    <a:pt x="16" y="28"/>
                  </a:lnTo>
                  <a:lnTo>
                    <a:pt x="7" y="18"/>
                  </a:lnTo>
                  <a:lnTo>
                    <a:pt x="3" y="13"/>
                  </a:lnTo>
                  <a:lnTo>
                    <a:pt x="2" y="11"/>
                  </a:lnTo>
                  <a:lnTo>
                    <a:pt x="2" y="11"/>
                  </a:lnTo>
                  <a:lnTo>
                    <a:pt x="0" y="6"/>
                  </a:lnTo>
                  <a:lnTo>
                    <a:pt x="0" y="6"/>
                  </a:lnTo>
                  <a:lnTo>
                    <a:pt x="2" y="6"/>
                  </a:lnTo>
                  <a:lnTo>
                    <a:pt x="2" y="6"/>
                  </a:lnTo>
                  <a:lnTo>
                    <a:pt x="2" y="6"/>
                  </a:lnTo>
                  <a:lnTo>
                    <a:pt x="2" y="6"/>
                  </a:lnTo>
                  <a:lnTo>
                    <a:pt x="2" y="6"/>
                  </a:lnTo>
                  <a:lnTo>
                    <a:pt x="2" y="6"/>
                  </a:lnTo>
                  <a:lnTo>
                    <a:pt x="2" y="6"/>
                  </a:lnTo>
                  <a:lnTo>
                    <a:pt x="2" y="6"/>
                  </a:lnTo>
                  <a:lnTo>
                    <a:pt x="2" y="6"/>
                  </a:lnTo>
                  <a:lnTo>
                    <a:pt x="2" y="6"/>
                  </a:lnTo>
                  <a:lnTo>
                    <a:pt x="2" y="6"/>
                  </a:lnTo>
                  <a:lnTo>
                    <a:pt x="2" y="6"/>
                  </a:lnTo>
                  <a:lnTo>
                    <a:pt x="3" y="6"/>
                  </a:lnTo>
                  <a:lnTo>
                    <a:pt x="3" y="6"/>
                  </a:lnTo>
                  <a:lnTo>
                    <a:pt x="4" y="5"/>
                  </a:lnTo>
                  <a:lnTo>
                    <a:pt x="4" y="5"/>
                  </a:lnTo>
                  <a:lnTo>
                    <a:pt x="4" y="5"/>
                  </a:lnTo>
                  <a:lnTo>
                    <a:pt x="4" y="5"/>
                  </a:lnTo>
                  <a:lnTo>
                    <a:pt x="4" y="5"/>
                  </a:lnTo>
                  <a:lnTo>
                    <a:pt x="17" y="2"/>
                  </a:lnTo>
                  <a:lnTo>
                    <a:pt x="17" y="2"/>
                  </a:lnTo>
                  <a:lnTo>
                    <a:pt x="19" y="2"/>
                  </a:lnTo>
                  <a:lnTo>
                    <a:pt x="19" y="2"/>
                  </a:lnTo>
                  <a:lnTo>
                    <a:pt x="20" y="2"/>
                  </a:lnTo>
                  <a:lnTo>
                    <a:pt x="20" y="2"/>
                  </a:lnTo>
                  <a:lnTo>
                    <a:pt x="20" y="2"/>
                  </a:lnTo>
                  <a:lnTo>
                    <a:pt x="20" y="2"/>
                  </a:lnTo>
                  <a:lnTo>
                    <a:pt x="22" y="2"/>
                  </a:lnTo>
                  <a:lnTo>
                    <a:pt x="22" y="2"/>
                  </a:lnTo>
                  <a:lnTo>
                    <a:pt x="23" y="2"/>
                  </a:lnTo>
                  <a:lnTo>
                    <a:pt x="23" y="2"/>
                  </a:lnTo>
                  <a:lnTo>
                    <a:pt x="26" y="2"/>
                  </a:lnTo>
                  <a:lnTo>
                    <a:pt x="29" y="0"/>
                  </a:lnTo>
                  <a:lnTo>
                    <a:pt x="29" y="0"/>
                  </a:lnTo>
                  <a:lnTo>
                    <a:pt x="35" y="9"/>
                  </a:lnTo>
                  <a:lnTo>
                    <a:pt x="41" y="16"/>
                  </a:lnTo>
                  <a:lnTo>
                    <a:pt x="49" y="25"/>
                  </a:lnTo>
                  <a:lnTo>
                    <a:pt x="49" y="25"/>
                  </a:lnTo>
                  <a:lnTo>
                    <a:pt x="52" y="29"/>
                  </a:lnTo>
                  <a:lnTo>
                    <a:pt x="52" y="34"/>
                  </a:lnTo>
                  <a:lnTo>
                    <a:pt x="54" y="47"/>
                  </a:lnTo>
                  <a:lnTo>
                    <a:pt x="54" y="47"/>
                  </a:lnTo>
                  <a:lnTo>
                    <a:pt x="48" y="4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70" name="Freeform 741"/>
            <p:cNvSpPr>
              <a:spLocks/>
            </p:cNvSpPr>
            <p:nvPr/>
          </p:nvSpPr>
          <p:spPr bwMode="auto">
            <a:xfrm>
              <a:off x="5451476" y="3665967"/>
              <a:ext cx="47625" cy="31750"/>
            </a:xfrm>
            <a:custGeom>
              <a:avLst/>
              <a:gdLst>
                <a:gd name="T0" fmla="*/ 30 w 30"/>
                <a:gd name="T1" fmla="*/ 20 h 20"/>
                <a:gd name="T2" fmla="*/ 30 w 30"/>
                <a:gd name="T3" fmla="*/ 20 h 20"/>
                <a:gd name="T4" fmla="*/ 30 w 30"/>
                <a:gd name="T5" fmla="*/ 20 h 20"/>
                <a:gd name="T6" fmla="*/ 16 w 30"/>
                <a:gd name="T7" fmla="*/ 13 h 20"/>
                <a:gd name="T8" fmla="*/ 7 w 30"/>
                <a:gd name="T9" fmla="*/ 7 h 20"/>
                <a:gd name="T10" fmla="*/ 1 w 30"/>
                <a:gd name="T11" fmla="*/ 1 h 20"/>
                <a:gd name="T12" fmla="*/ 1 w 30"/>
                <a:gd name="T13" fmla="*/ 1 h 20"/>
                <a:gd name="T14" fmla="*/ 0 w 30"/>
                <a:gd name="T15" fmla="*/ 0 h 20"/>
                <a:gd name="T16" fmla="*/ 0 w 30"/>
                <a:gd name="T17" fmla="*/ 0 h 20"/>
                <a:gd name="T18" fmla="*/ 1 w 30"/>
                <a:gd name="T19" fmla="*/ 1 h 20"/>
                <a:gd name="T20" fmla="*/ 1 w 30"/>
                <a:gd name="T21" fmla="*/ 1 h 20"/>
                <a:gd name="T22" fmla="*/ 7 w 30"/>
                <a:gd name="T23" fmla="*/ 7 h 20"/>
                <a:gd name="T24" fmla="*/ 16 w 30"/>
                <a:gd name="T25" fmla="*/ 13 h 20"/>
                <a:gd name="T26" fmla="*/ 30 w 30"/>
                <a:gd name="T2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0">
                  <a:moveTo>
                    <a:pt x="30" y="20"/>
                  </a:moveTo>
                  <a:lnTo>
                    <a:pt x="30" y="20"/>
                  </a:lnTo>
                  <a:lnTo>
                    <a:pt x="30" y="20"/>
                  </a:lnTo>
                  <a:lnTo>
                    <a:pt x="16" y="13"/>
                  </a:lnTo>
                  <a:lnTo>
                    <a:pt x="7" y="7"/>
                  </a:lnTo>
                  <a:lnTo>
                    <a:pt x="1" y="1"/>
                  </a:lnTo>
                  <a:lnTo>
                    <a:pt x="1" y="1"/>
                  </a:lnTo>
                  <a:lnTo>
                    <a:pt x="0" y="0"/>
                  </a:lnTo>
                  <a:lnTo>
                    <a:pt x="0" y="0"/>
                  </a:lnTo>
                  <a:lnTo>
                    <a:pt x="1" y="1"/>
                  </a:lnTo>
                  <a:lnTo>
                    <a:pt x="1" y="1"/>
                  </a:lnTo>
                  <a:lnTo>
                    <a:pt x="7" y="7"/>
                  </a:lnTo>
                  <a:lnTo>
                    <a:pt x="16" y="13"/>
                  </a:lnTo>
                  <a:lnTo>
                    <a:pt x="30" y="20"/>
                  </a:lnTo>
                  <a:close/>
                </a:path>
              </a:pathLst>
            </a:custGeom>
            <a:solidFill>
              <a:srgbClr val="CD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71" name="Freeform 742"/>
            <p:cNvSpPr>
              <a:spLocks/>
            </p:cNvSpPr>
            <p:nvPr/>
          </p:nvSpPr>
          <p:spPr bwMode="auto">
            <a:xfrm>
              <a:off x="5451476" y="3665967"/>
              <a:ext cx="47625" cy="31750"/>
            </a:xfrm>
            <a:custGeom>
              <a:avLst/>
              <a:gdLst>
                <a:gd name="T0" fmla="*/ 30 w 30"/>
                <a:gd name="T1" fmla="*/ 20 h 20"/>
                <a:gd name="T2" fmla="*/ 30 w 30"/>
                <a:gd name="T3" fmla="*/ 20 h 20"/>
                <a:gd name="T4" fmla="*/ 30 w 30"/>
                <a:gd name="T5" fmla="*/ 20 h 20"/>
                <a:gd name="T6" fmla="*/ 16 w 30"/>
                <a:gd name="T7" fmla="*/ 13 h 20"/>
                <a:gd name="T8" fmla="*/ 7 w 30"/>
                <a:gd name="T9" fmla="*/ 7 h 20"/>
                <a:gd name="T10" fmla="*/ 1 w 30"/>
                <a:gd name="T11" fmla="*/ 1 h 20"/>
                <a:gd name="T12" fmla="*/ 1 w 30"/>
                <a:gd name="T13" fmla="*/ 1 h 20"/>
                <a:gd name="T14" fmla="*/ 0 w 30"/>
                <a:gd name="T15" fmla="*/ 0 h 20"/>
                <a:gd name="T16" fmla="*/ 0 w 30"/>
                <a:gd name="T17" fmla="*/ 0 h 20"/>
                <a:gd name="T18" fmla="*/ 1 w 30"/>
                <a:gd name="T19" fmla="*/ 1 h 20"/>
                <a:gd name="T20" fmla="*/ 1 w 30"/>
                <a:gd name="T21" fmla="*/ 1 h 20"/>
                <a:gd name="T22" fmla="*/ 7 w 30"/>
                <a:gd name="T23" fmla="*/ 7 h 20"/>
                <a:gd name="T24" fmla="*/ 16 w 30"/>
                <a:gd name="T25" fmla="*/ 13 h 20"/>
                <a:gd name="T26" fmla="*/ 30 w 30"/>
                <a:gd name="T2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0">
                  <a:moveTo>
                    <a:pt x="30" y="20"/>
                  </a:moveTo>
                  <a:lnTo>
                    <a:pt x="30" y="20"/>
                  </a:lnTo>
                  <a:lnTo>
                    <a:pt x="30" y="20"/>
                  </a:lnTo>
                  <a:lnTo>
                    <a:pt x="16" y="13"/>
                  </a:lnTo>
                  <a:lnTo>
                    <a:pt x="7" y="7"/>
                  </a:lnTo>
                  <a:lnTo>
                    <a:pt x="1" y="1"/>
                  </a:lnTo>
                  <a:lnTo>
                    <a:pt x="1" y="1"/>
                  </a:lnTo>
                  <a:lnTo>
                    <a:pt x="0" y="0"/>
                  </a:lnTo>
                  <a:lnTo>
                    <a:pt x="0" y="0"/>
                  </a:lnTo>
                  <a:lnTo>
                    <a:pt x="1" y="1"/>
                  </a:lnTo>
                  <a:lnTo>
                    <a:pt x="1" y="1"/>
                  </a:lnTo>
                  <a:lnTo>
                    <a:pt x="7" y="7"/>
                  </a:lnTo>
                  <a:lnTo>
                    <a:pt x="16" y="13"/>
                  </a:lnTo>
                  <a:lnTo>
                    <a:pt x="30"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72" name="Freeform 743"/>
            <p:cNvSpPr>
              <a:spLocks noEditPoints="1"/>
            </p:cNvSpPr>
            <p:nvPr/>
          </p:nvSpPr>
          <p:spPr bwMode="auto">
            <a:xfrm>
              <a:off x="5426076" y="3621517"/>
              <a:ext cx="46038" cy="9525"/>
            </a:xfrm>
            <a:custGeom>
              <a:avLst/>
              <a:gdLst>
                <a:gd name="T0" fmla="*/ 20 w 29"/>
                <a:gd name="T1" fmla="*/ 2 h 6"/>
                <a:gd name="T2" fmla="*/ 20 w 29"/>
                <a:gd name="T3" fmla="*/ 2 h 6"/>
                <a:gd name="T4" fmla="*/ 22 w 29"/>
                <a:gd name="T5" fmla="*/ 2 h 6"/>
                <a:gd name="T6" fmla="*/ 22 w 29"/>
                <a:gd name="T7" fmla="*/ 2 h 6"/>
                <a:gd name="T8" fmla="*/ 20 w 29"/>
                <a:gd name="T9" fmla="*/ 2 h 6"/>
                <a:gd name="T10" fmla="*/ 20 w 29"/>
                <a:gd name="T11" fmla="*/ 2 h 6"/>
                <a:gd name="T12" fmla="*/ 22 w 29"/>
                <a:gd name="T13" fmla="*/ 2 h 6"/>
                <a:gd name="T14" fmla="*/ 23 w 29"/>
                <a:gd name="T15" fmla="*/ 2 h 6"/>
                <a:gd name="T16" fmla="*/ 23 w 29"/>
                <a:gd name="T17" fmla="*/ 2 h 6"/>
                <a:gd name="T18" fmla="*/ 22 w 29"/>
                <a:gd name="T19" fmla="*/ 2 h 6"/>
                <a:gd name="T20" fmla="*/ 22 w 29"/>
                <a:gd name="T21" fmla="*/ 2 h 6"/>
                <a:gd name="T22" fmla="*/ 23 w 29"/>
                <a:gd name="T23" fmla="*/ 2 h 6"/>
                <a:gd name="T24" fmla="*/ 23 w 29"/>
                <a:gd name="T25" fmla="*/ 2 h 6"/>
                <a:gd name="T26" fmla="*/ 26 w 29"/>
                <a:gd name="T27" fmla="*/ 2 h 6"/>
                <a:gd name="T28" fmla="*/ 29 w 29"/>
                <a:gd name="T29" fmla="*/ 0 h 6"/>
                <a:gd name="T30" fmla="*/ 29 w 29"/>
                <a:gd name="T31" fmla="*/ 0 h 6"/>
                <a:gd name="T32" fmla="*/ 29 w 29"/>
                <a:gd name="T33" fmla="*/ 0 h 6"/>
                <a:gd name="T34" fmla="*/ 29 w 29"/>
                <a:gd name="T35" fmla="*/ 0 h 6"/>
                <a:gd name="T36" fmla="*/ 26 w 29"/>
                <a:gd name="T37" fmla="*/ 2 h 6"/>
                <a:gd name="T38" fmla="*/ 23 w 29"/>
                <a:gd name="T39" fmla="*/ 2 h 6"/>
                <a:gd name="T40" fmla="*/ 17 w 29"/>
                <a:gd name="T41" fmla="*/ 2 h 6"/>
                <a:gd name="T42" fmla="*/ 17 w 29"/>
                <a:gd name="T43" fmla="*/ 2 h 6"/>
                <a:gd name="T44" fmla="*/ 19 w 29"/>
                <a:gd name="T45" fmla="*/ 2 h 6"/>
                <a:gd name="T46" fmla="*/ 19 w 29"/>
                <a:gd name="T47" fmla="*/ 2 h 6"/>
                <a:gd name="T48" fmla="*/ 17 w 29"/>
                <a:gd name="T49" fmla="*/ 2 h 6"/>
                <a:gd name="T50" fmla="*/ 4 w 29"/>
                <a:gd name="T51" fmla="*/ 5 h 6"/>
                <a:gd name="T52" fmla="*/ 4 w 29"/>
                <a:gd name="T53" fmla="*/ 5 h 6"/>
                <a:gd name="T54" fmla="*/ 17 w 29"/>
                <a:gd name="T55" fmla="*/ 2 h 6"/>
                <a:gd name="T56" fmla="*/ 17 w 29"/>
                <a:gd name="T57" fmla="*/ 2 h 6"/>
                <a:gd name="T58" fmla="*/ 4 w 29"/>
                <a:gd name="T59" fmla="*/ 5 h 6"/>
                <a:gd name="T60" fmla="*/ 4 w 29"/>
                <a:gd name="T61" fmla="*/ 5 h 6"/>
                <a:gd name="T62" fmla="*/ 4 w 29"/>
                <a:gd name="T63" fmla="*/ 5 h 6"/>
                <a:gd name="T64" fmla="*/ 2 w 29"/>
                <a:gd name="T65" fmla="*/ 6 h 6"/>
                <a:gd name="T66" fmla="*/ 2 w 29"/>
                <a:gd name="T67" fmla="*/ 6 h 6"/>
                <a:gd name="T68" fmla="*/ 3 w 29"/>
                <a:gd name="T69" fmla="*/ 6 h 6"/>
                <a:gd name="T70" fmla="*/ 3 w 29"/>
                <a:gd name="T71" fmla="*/ 6 h 6"/>
                <a:gd name="T72" fmla="*/ 2 w 29"/>
                <a:gd name="T73" fmla="*/ 6 h 6"/>
                <a:gd name="T74" fmla="*/ 2 w 29"/>
                <a:gd name="T75" fmla="*/ 6 h 6"/>
                <a:gd name="T76" fmla="*/ 2 w 29"/>
                <a:gd name="T77" fmla="*/ 6 h 6"/>
                <a:gd name="T78" fmla="*/ 2 w 29"/>
                <a:gd name="T79" fmla="*/ 6 h 6"/>
                <a:gd name="T80" fmla="*/ 2 w 29"/>
                <a:gd name="T81" fmla="*/ 6 h 6"/>
                <a:gd name="T82" fmla="*/ 2 w 29"/>
                <a:gd name="T83" fmla="*/ 6 h 6"/>
                <a:gd name="T84" fmla="*/ 2 w 29"/>
                <a:gd name="T85" fmla="*/ 6 h 6"/>
                <a:gd name="T86" fmla="*/ 2 w 29"/>
                <a:gd name="T87" fmla="*/ 6 h 6"/>
                <a:gd name="T88" fmla="*/ 2 w 29"/>
                <a:gd name="T89" fmla="*/ 6 h 6"/>
                <a:gd name="T90" fmla="*/ 2 w 29"/>
                <a:gd name="T91" fmla="*/ 6 h 6"/>
                <a:gd name="T92" fmla="*/ 2 w 29"/>
                <a:gd name="T93" fmla="*/ 6 h 6"/>
                <a:gd name="T94" fmla="*/ 0 w 29"/>
                <a:gd name="T95" fmla="*/ 6 h 6"/>
                <a:gd name="T96" fmla="*/ 0 w 29"/>
                <a:gd name="T97" fmla="*/ 6 h 6"/>
                <a:gd name="T98" fmla="*/ 2 w 29"/>
                <a:gd name="T99" fmla="*/ 6 h 6"/>
                <a:gd name="T100" fmla="*/ 2 w 29"/>
                <a:gd name="T101" fmla="*/ 6 h 6"/>
                <a:gd name="T102" fmla="*/ 0 w 29"/>
                <a:gd name="T10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 h="6">
                  <a:moveTo>
                    <a:pt x="20" y="2"/>
                  </a:moveTo>
                  <a:lnTo>
                    <a:pt x="20" y="2"/>
                  </a:lnTo>
                  <a:close/>
                  <a:moveTo>
                    <a:pt x="22" y="2"/>
                  </a:moveTo>
                  <a:lnTo>
                    <a:pt x="22" y="2"/>
                  </a:lnTo>
                  <a:lnTo>
                    <a:pt x="20" y="2"/>
                  </a:lnTo>
                  <a:lnTo>
                    <a:pt x="20" y="2"/>
                  </a:lnTo>
                  <a:lnTo>
                    <a:pt x="22" y="2"/>
                  </a:lnTo>
                  <a:close/>
                  <a:moveTo>
                    <a:pt x="23" y="2"/>
                  </a:moveTo>
                  <a:lnTo>
                    <a:pt x="23" y="2"/>
                  </a:lnTo>
                  <a:lnTo>
                    <a:pt x="22" y="2"/>
                  </a:lnTo>
                  <a:lnTo>
                    <a:pt x="22" y="2"/>
                  </a:lnTo>
                  <a:lnTo>
                    <a:pt x="23" y="2"/>
                  </a:lnTo>
                  <a:lnTo>
                    <a:pt x="23" y="2"/>
                  </a:lnTo>
                  <a:lnTo>
                    <a:pt x="26" y="2"/>
                  </a:lnTo>
                  <a:lnTo>
                    <a:pt x="29" y="0"/>
                  </a:lnTo>
                  <a:lnTo>
                    <a:pt x="29" y="0"/>
                  </a:lnTo>
                  <a:lnTo>
                    <a:pt x="29" y="0"/>
                  </a:lnTo>
                  <a:lnTo>
                    <a:pt x="29" y="0"/>
                  </a:lnTo>
                  <a:lnTo>
                    <a:pt x="26" y="2"/>
                  </a:lnTo>
                  <a:lnTo>
                    <a:pt x="23" y="2"/>
                  </a:lnTo>
                  <a:close/>
                  <a:moveTo>
                    <a:pt x="17" y="2"/>
                  </a:moveTo>
                  <a:lnTo>
                    <a:pt x="17" y="2"/>
                  </a:lnTo>
                  <a:lnTo>
                    <a:pt x="19" y="2"/>
                  </a:lnTo>
                  <a:lnTo>
                    <a:pt x="19" y="2"/>
                  </a:lnTo>
                  <a:lnTo>
                    <a:pt x="17" y="2"/>
                  </a:lnTo>
                  <a:close/>
                  <a:moveTo>
                    <a:pt x="4" y="5"/>
                  </a:moveTo>
                  <a:lnTo>
                    <a:pt x="4" y="5"/>
                  </a:lnTo>
                  <a:lnTo>
                    <a:pt x="17" y="2"/>
                  </a:lnTo>
                  <a:lnTo>
                    <a:pt x="17" y="2"/>
                  </a:lnTo>
                  <a:lnTo>
                    <a:pt x="4" y="5"/>
                  </a:lnTo>
                  <a:close/>
                  <a:moveTo>
                    <a:pt x="4" y="5"/>
                  </a:moveTo>
                  <a:lnTo>
                    <a:pt x="4" y="5"/>
                  </a:lnTo>
                  <a:close/>
                  <a:moveTo>
                    <a:pt x="2" y="6"/>
                  </a:moveTo>
                  <a:lnTo>
                    <a:pt x="2" y="6"/>
                  </a:lnTo>
                  <a:lnTo>
                    <a:pt x="3" y="6"/>
                  </a:lnTo>
                  <a:lnTo>
                    <a:pt x="3" y="6"/>
                  </a:lnTo>
                  <a:lnTo>
                    <a:pt x="2" y="6"/>
                  </a:lnTo>
                  <a:close/>
                  <a:moveTo>
                    <a:pt x="2" y="6"/>
                  </a:moveTo>
                  <a:lnTo>
                    <a:pt x="2" y="6"/>
                  </a:lnTo>
                  <a:lnTo>
                    <a:pt x="2" y="6"/>
                  </a:lnTo>
                  <a:lnTo>
                    <a:pt x="2" y="6"/>
                  </a:lnTo>
                  <a:lnTo>
                    <a:pt x="2" y="6"/>
                  </a:lnTo>
                  <a:close/>
                  <a:moveTo>
                    <a:pt x="2" y="6"/>
                  </a:moveTo>
                  <a:lnTo>
                    <a:pt x="2" y="6"/>
                  </a:lnTo>
                  <a:lnTo>
                    <a:pt x="2" y="6"/>
                  </a:lnTo>
                  <a:lnTo>
                    <a:pt x="2" y="6"/>
                  </a:lnTo>
                  <a:lnTo>
                    <a:pt x="2" y="6"/>
                  </a:lnTo>
                  <a:close/>
                  <a:moveTo>
                    <a:pt x="0" y="6"/>
                  </a:moveTo>
                  <a:lnTo>
                    <a:pt x="0" y="6"/>
                  </a:lnTo>
                  <a:lnTo>
                    <a:pt x="2" y="6"/>
                  </a:lnTo>
                  <a:lnTo>
                    <a:pt x="2" y="6"/>
                  </a:lnTo>
                  <a:lnTo>
                    <a:pt x="0" y="6"/>
                  </a:lnTo>
                  <a:close/>
                </a:path>
              </a:pathLst>
            </a:custGeom>
            <a:solidFill>
              <a:srgbClr val="70B3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73" name="Line 744"/>
            <p:cNvSpPr>
              <a:spLocks noChangeShapeType="1"/>
            </p:cNvSpPr>
            <p:nvPr/>
          </p:nvSpPr>
          <p:spPr bwMode="auto">
            <a:xfrm>
              <a:off x="5457826" y="362469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74" name="Rectangle 745"/>
            <p:cNvSpPr>
              <a:spLocks noChangeArrowheads="1"/>
            </p:cNvSpPr>
            <p:nvPr/>
          </p:nvSpPr>
          <p:spPr bwMode="auto">
            <a:xfrm>
              <a:off x="5457826" y="3624692"/>
              <a:ext cx="3175"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75" name="Freeform 746"/>
            <p:cNvSpPr>
              <a:spLocks/>
            </p:cNvSpPr>
            <p:nvPr/>
          </p:nvSpPr>
          <p:spPr bwMode="auto">
            <a:xfrm>
              <a:off x="5461001" y="3621517"/>
              <a:ext cx="11113" cy="3175"/>
            </a:xfrm>
            <a:custGeom>
              <a:avLst/>
              <a:gdLst>
                <a:gd name="T0" fmla="*/ 1 w 7"/>
                <a:gd name="T1" fmla="*/ 2 h 2"/>
                <a:gd name="T2" fmla="*/ 1 w 7"/>
                <a:gd name="T3" fmla="*/ 2 h 2"/>
                <a:gd name="T4" fmla="*/ 0 w 7"/>
                <a:gd name="T5" fmla="*/ 2 h 2"/>
                <a:gd name="T6" fmla="*/ 0 w 7"/>
                <a:gd name="T7" fmla="*/ 2 h 2"/>
                <a:gd name="T8" fmla="*/ 1 w 7"/>
                <a:gd name="T9" fmla="*/ 2 h 2"/>
                <a:gd name="T10" fmla="*/ 1 w 7"/>
                <a:gd name="T11" fmla="*/ 2 h 2"/>
                <a:gd name="T12" fmla="*/ 4 w 7"/>
                <a:gd name="T13" fmla="*/ 2 h 2"/>
                <a:gd name="T14" fmla="*/ 7 w 7"/>
                <a:gd name="T15" fmla="*/ 0 h 2"/>
                <a:gd name="T16" fmla="*/ 7 w 7"/>
                <a:gd name="T17" fmla="*/ 0 h 2"/>
                <a:gd name="T18" fmla="*/ 7 w 7"/>
                <a:gd name="T19" fmla="*/ 0 h 2"/>
                <a:gd name="T20" fmla="*/ 7 w 7"/>
                <a:gd name="T21" fmla="*/ 0 h 2"/>
                <a:gd name="T22" fmla="*/ 4 w 7"/>
                <a:gd name="T23" fmla="*/ 2 h 2"/>
                <a:gd name="T24" fmla="*/ 1 w 7"/>
                <a:gd name="T2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2">
                  <a:moveTo>
                    <a:pt x="1" y="2"/>
                  </a:moveTo>
                  <a:lnTo>
                    <a:pt x="1" y="2"/>
                  </a:lnTo>
                  <a:lnTo>
                    <a:pt x="0" y="2"/>
                  </a:lnTo>
                  <a:lnTo>
                    <a:pt x="0" y="2"/>
                  </a:lnTo>
                  <a:lnTo>
                    <a:pt x="1" y="2"/>
                  </a:lnTo>
                  <a:lnTo>
                    <a:pt x="1" y="2"/>
                  </a:lnTo>
                  <a:lnTo>
                    <a:pt x="4" y="2"/>
                  </a:lnTo>
                  <a:lnTo>
                    <a:pt x="7" y="0"/>
                  </a:lnTo>
                  <a:lnTo>
                    <a:pt x="7" y="0"/>
                  </a:lnTo>
                  <a:lnTo>
                    <a:pt x="7" y="0"/>
                  </a:lnTo>
                  <a:lnTo>
                    <a:pt x="7" y="0"/>
                  </a:lnTo>
                  <a:lnTo>
                    <a:pt x="4" y="2"/>
                  </a:lnTo>
                  <a:lnTo>
                    <a:pt x="1"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76" name="Rectangle 747"/>
            <p:cNvSpPr>
              <a:spLocks noChangeArrowheads="1"/>
            </p:cNvSpPr>
            <p:nvPr/>
          </p:nvSpPr>
          <p:spPr bwMode="auto">
            <a:xfrm>
              <a:off x="5453063" y="3624692"/>
              <a:ext cx="3175"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77" name="Freeform 748"/>
            <p:cNvSpPr>
              <a:spLocks/>
            </p:cNvSpPr>
            <p:nvPr/>
          </p:nvSpPr>
          <p:spPr bwMode="auto">
            <a:xfrm>
              <a:off x="5432426" y="3624692"/>
              <a:ext cx="20638" cy="4763"/>
            </a:xfrm>
            <a:custGeom>
              <a:avLst/>
              <a:gdLst>
                <a:gd name="T0" fmla="*/ 0 w 13"/>
                <a:gd name="T1" fmla="*/ 3 h 3"/>
                <a:gd name="T2" fmla="*/ 0 w 13"/>
                <a:gd name="T3" fmla="*/ 3 h 3"/>
                <a:gd name="T4" fmla="*/ 13 w 13"/>
                <a:gd name="T5" fmla="*/ 0 h 3"/>
                <a:gd name="T6" fmla="*/ 13 w 13"/>
                <a:gd name="T7" fmla="*/ 0 h 3"/>
                <a:gd name="T8" fmla="*/ 0 w 13"/>
                <a:gd name="T9" fmla="*/ 3 h 3"/>
              </a:gdLst>
              <a:ahLst/>
              <a:cxnLst>
                <a:cxn ang="0">
                  <a:pos x="T0" y="T1"/>
                </a:cxn>
                <a:cxn ang="0">
                  <a:pos x="T2" y="T3"/>
                </a:cxn>
                <a:cxn ang="0">
                  <a:pos x="T4" y="T5"/>
                </a:cxn>
                <a:cxn ang="0">
                  <a:pos x="T6" y="T7"/>
                </a:cxn>
                <a:cxn ang="0">
                  <a:pos x="T8" y="T9"/>
                </a:cxn>
              </a:cxnLst>
              <a:rect l="0" t="0" r="r" b="b"/>
              <a:pathLst>
                <a:path w="13" h="3">
                  <a:moveTo>
                    <a:pt x="0" y="3"/>
                  </a:moveTo>
                  <a:lnTo>
                    <a:pt x="0" y="3"/>
                  </a:lnTo>
                  <a:lnTo>
                    <a:pt x="13" y="0"/>
                  </a:lnTo>
                  <a:lnTo>
                    <a:pt x="13"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78" name="Line 749"/>
            <p:cNvSpPr>
              <a:spLocks noChangeShapeType="1"/>
            </p:cNvSpPr>
            <p:nvPr/>
          </p:nvSpPr>
          <p:spPr bwMode="auto">
            <a:xfrm>
              <a:off x="5432426" y="362945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79" name="Rectangle 750"/>
            <p:cNvSpPr>
              <a:spLocks noChangeArrowheads="1"/>
            </p:cNvSpPr>
            <p:nvPr/>
          </p:nvSpPr>
          <p:spPr bwMode="auto">
            <a:xfrm>
              <a:off x="5429251" y="3631042"/>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80" name="Rectangle 751"/>
            <p:cNvSpPr>
              <a:spLocks noChangeArrowheads="1"/>
            </p:cNvSpPr>
            <p:nvPr/>
          </p:nvSpPr>
          <p:spPr bwMode="auto">
            <a:xfrm>
              <a:off x="5429251" y="3631042"/>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81" name="Rectangle 752"/>
            <p:cNvSpPr>
              <a:spLocks noChangeArrowheads="1"/>
            </p:cNvSpPr>
            <p:nvPr/>
          </p:nvSpPr>
          <p:spPr bwMode="auto">
            <a:xfrm>
              <a:off x="5429251" y="3631042"/>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82" name="Rectangle 753"/>
            <p:cNvSpPr>
              <a:spLocks noChangeArrowheads="1"/>
            </p:cNvSpPr>
            <p:nvPr/>
          </p:nvSpPr>
          <p:spPr bwMode="auto">
            <a:xfrm>
              <a:off x="5426076" y="3631042"/>
              <a:ext cx="3175"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83" name="Freeform 754"/>
            <p:cNvSpPr>
              <a:spLocks/>
            </p:cNvSpPr>
            <p:nvPr/>
          </p:nvSpPr>
          <p:spPr bwMode="auto">
            <a:xfrm>
              <a:off x="5472113" y="3594529"/>
              <a:ext cx="119063" cy="114300"/>
            </a:xfrm>
            <a:custGeom>
              <a:avLst/>
              <a:gdLst>
                <a:gd name="T0" fmla="*/ 70 w 75"/>
                <a:gd name="T1" fmla="*/ 20 h 72"/>
                <a:gd name="T2" fmla="*/ 65 w 75"/>
                <a:gd name="T3" fmla="*/ 14 h 72"/>
                <a:gd name="T4" fmla="*/ 61 w 75"/>
                <a:gd name="T5" fmla="*/ 4 h 72"/>
                <a:gd name="T6" fmla="*/ 61 w 75"/>
                <a:gd name="T7" fmla="*/ 3 h 72"/>
                <a:gd name="T8" fmla="*/ 49 w 75"/>
                <a:gd name="T9" fmla="*/ 9 h 72"/>
                <a:gd name="T10" fmla="*/ 41 w 75"/>
                <a:gd name="T11" fmla="*/ 7 h 72"/>
                <a:gd name="T12" fmla="*/ 29 w 75"/>
                <a:gd name="T13" fmla="*/ 0 h 72"/>
                <a:gd name="T14" fmla="*/ 28 w 75"/>
                <a:gd name="T15" fmla="*/ 4 h 72"/>
                <a:gd name="T16" fmla="*/ 28 w 75"/>
                <a:gd name="T17" fmla="*/ 14 h 72"/>
                <a:gd name="T18" fmla="*/ 28 w 75"/>
                <a:gd name="T19" fmla="*/ 17 h 72"/>
                <a:gd name="T20" fmla="*/ 19 w 75"/>
                <a:gd name="T21" fmla="*/ 17 h 72"/>
                <a:gd name="T22" fmla="*/ 9 w 75"/>
                <a:gd name="T23" fmla="*/ 14 h 72"/>
                <a:gd name="T24" fmla="*/ 0 w 75"/>
                <a:gd name="T25" fmla="*/ 17 h 72"/>
                <a:gd name="T26" fmla="*/ 6 w 75"/>
                <a:gd name="T27" fmla="*/ 26 h 72"/>
                <a:gd name="T28" fmla="*/ 20 w 75"/>
                <a:gd name="T29" fmla="*/ 42 h 72"/>
                <a:gd name="T30" fmla="*/ 23 w 75"/>
                <a:gd name="T31" fmla="*/ 46 h 72"/>
                <a:gd name="T32" fmla="*/ 25 w 75"/>
                <a:gd name="T33" fmla="*/ 64 h 72"/>
                <a:gd name="T34" fmla="*/ 36 w 75"/>
                <a:gd name="T35" fmla="*/ 57 h 72"/>
                <a:gd name="T36" fmla="*/ 46 w 75"/>
                <a:gd name="T37" fmla="*/ 52 h 72"/>
                <a:gd name="T38" fmla="*/ 48 w 75"/>
                <a:gd name="T39" fmla="*/ 51 h 72"/>
                <a:gd name="T40" fmla="*/ 49 w 75"/>
                <a:gd name="T41" fmla="*/ 57 h 72"/>
                <a:gd name="T42" fmla="*/ 49 w 75"/>
                <a:gd name="T43" fmla="*/ 68 h 72"/>
                <a:gd name="T44" fmla="*/ 52 w 75"/>
                <a:gd name="T45" fmla="*/ 71 h 72"/>
                <a:gd name="T46" fmla="*/ 61 w 75"/>
                <a:gd name="T47" fmla="*/ 72 h 72"/>
                <a:gd name="T48" fmla="*/ 61 w 75"/>
                <a:gd name="T49" fmla="*/ 64 h 72"/>
                <a:gd name="T50" fmla="*/ 59 w 75"/>
                <a:gd name="T51" fmla="*/ 59 h 72"/>
                <a:gd name="T52" fmla="*/ 59 w 75"/>
                <a:gd name="T53" fmla="*/ 55 h 72"/>
                <a:gd name="T54" fmla="*/ 62 w 75"/>
                <a:gd name="T55" fmla="*/ 54 h 72"/>
                <a:gd name="T56" fmla="*/ 65 w 75"/>
                <a:gd name="T57" fmla="*/ 51 h 72"/>
                <a:gd name="T58" fmla="*/ 72 w 75"/>
                <a:gd name="T59" fmla="*/ 39 h 72"/>
                <a:gd name="T60" fmla="*/ 75 w 75"/>
                <a:gd name="T61" fmla="*/ 35 h 72"/>
                <a:gd name="T62" fmla="*/ 75 w 75"/>
                <a:gd name="T63" fmla="*/ 32 h 72"/>
                <a:gd name="T64" fmla="*/ 71 w 75"/>
                <a:gd name="T65"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5" h="72">
                  <a:moveTo>
                    <a:pt x="70" y="20"/>
                  </a:moveTo>
                  <a:lnTo>
                    <a:pt x="70" y="20"/>
                  </a:lnTo>
                  <a:lnTo>
                    <a:pt x="68" y="17"/>
                  </a:lnTo>
                  <a:lnTo>
                    <a:pt x="65" y="14"/>
                  </a:lnTo>
                  <a:lnTo>
                    <a:pt x="62" y="10"/>
                  </a:lnTo>
                  <a:lnTo>
                    <a:pt x="61" y="4"/>
                  </a:lnTo>
                  <a:lnTo>
                    <a:pt x="61" y="4"/>
                  </a:lnTo>
                  <a:lnTo>
                    <a:pt x="61" y="3"/>
                  </a:lnTo>
                  <a:lnTo>
                    <a:pt x="61" y="3"/>
                  </a:lnTo>
                  <a:lnTo>
                    <a:pt x="49" y="9"/>
                  </a:lnTo>
                  <a:lnTo>
                    <a:pt x="43" y="9"/>
                  </a:lnTo>
                  <a:lnTo>
                    <a:pt x="41" y="7"/>
                  </a:lnTo>
                  <a:lnTo>
                    <a:pt x="41" y="7"/>
                  </a:lnTo>
                  <a:lnTo>
                    <a:pt x="29" y="0"/>
                  </a:lnTo>
                  <a:lnTo>
                    <a:pt x="29" y="0"/>
                  </a:lnTo>
                  <a:lnTo>
                    <a:pt x="28" y="4"/>
                  </a:lnTo>
                  <a:lnTo>
                    <a:pt x="28" y="10"/>
                  </a:lnTo>
                  <a:lnTo>
                    <a:pt x="28" y="14"/>
                  </a:lnTo>
                  <a:lnTo>
                    <a:pt x="28" y="17"/>
                  </a:lnTo>
                  <a:lnTo>
                    <a:pt x="28" y="17"/>
                  </a:lnTo>
                  <a:lnTo>
                    <a:pt x="23" y="19"/>
                  </a:lnTo>
                  <a:lnTo>
                    <a:pt x="19" y="17"/>
                  </a:lnTo>
                  <a:lnTo>
                    <a:pt x="9" y="14"/>
                  </a:lnTo>
                  <a:lnTo>
                    <a:pt x="9" y="14"/>
                  </a:lnTo>
                  <a:lnTo>
                    <a:pt x="4" y="16"/>
                  </a:lnTo>
                  <a:lnTo>
                    <a:pt x="0" y="17"/>
                  </a:lnTo>
                  <a:lnTo>
                    <a:pt x="0" y="17"/>
                  </a:lnTo>
                  <a:lnTo>
                    <a:pt x="6" y="26"/>
                  </a:lnTo>
                  <a:lnTo>
                    <a:pt x="12" y="33"/>
                  </a:lnTo>
                  <a:lnTo>
                    <a:pt x="20" y="42"/>
                  </a:lnTo>
                  <a:lnTo>
                    <a:pt x="20" y="42"/>
                  </a:lnTo>
                  <a:lnTo>
                    <a:pt x="23" y="46"/>
                  </a:lnTo>
                  <a:lnTo>
                    <a:pt x="23" y="51"/>
                  </a:lnTo>
                  <a:lnTo>
                    <a:pt x="25" y="64"/>
                  </a:lnTo>
                  <a:lnTo>
                    <a:pt x="25" y="64"/>
                  </a:lnTo>
                  <a:lnTo>
                    <a:pt x="36" y="57"/>
                  </a:lnTo>
                  <a:lnTo>
                    <a:pt x="41" y="54"/>
                  </a:lnTo>
                  <a:lnTo>
                    <a:pt x="46" y="52"/>
                  </a:lnTo>
                  <a:lnTo>
                    <a:pt x="46" y="52"/>
                  </a:lnTo>
                  <a:lnTo>
                    <a:pt x="48" y="51"/>
                  </a:lnTo>
                  <a:lnTo>
                    <a:pt x="49" y="52"/>
                  </a:lnTo>
                  <a:lnTo>
                    <a:pt x="49" y="57"/>
                  </a:lnTo>
                  <a:lnTo>
                    <a:pt x="49" y="61"/>
                  </a:lnTo>
                  <a:lnTo>
                    <a:pt x="49" y="68"/>
                  </a:lnTo>
                  <a:lnTo>
                    <a:pt x="49" y="68"/>
                  </a:lnTo>
                  <a:lnTo>
                    <a:pt x="52" y="71"/>
                  </a:lnTo>
                  <a:lnTo>
                    <a:pt x="54" y="72"/>
                  </a:lnTo>
                  <a:lnTo>
                    <a:pt x="61" y="72"/>
                  </a:lnTo>
                  <a:lnTo>
                    <a:pt x="61" y="72"/>
                  </a:lnTo>
                  <a:lnTo>
                    <a:pt x="61" y="64"/>
                  </a:lnTo>
                  <a:lnTo>
                    <a:pt x="61" y="64"/>
                  </a:lnTo>
                  <a:lnTo>
                    <a:pt x="59" y="59"/>
                  </a:lnTo>
                  <a:lnTo>
                    <a:pt x="59" y="57"/>
                  </a:lnTo>
                  <a:lnTo>
                    <a:pt x="59" y="55"/>
                  </a:lnTo>
                  <a:lnTo>
                    <a:pt x="62" y="54"/>
                  </a:lnTo>
                  <a:lnTo>
                    <a:pt x="62" y="54"/>
                  </a:lnTo>
                  <a:lnTo>
                    <a:pt x="64" y="54"/>
                  </a:lnTo>
                  <a:lnTo>
                    <a:pt x="65" y="51"/>
                  </a:lnTo>
                  <a:lnTo>
                    <a:pt x="70" y="45"/>
                  </a:lnTo>
                  <a:lnTo>
                    <a:pt x="72" y="39"/>
                  </a:lnTo>
                  <a:lnTo>
                    <a:pt x="75" y="35"/>
                  </a:lnTo>
                  <a:lnTo>
                    <a:pt x="75" y="35"/>
                  </a:lnTo>
                  <a:lnTo>
                    <a:pt x="75" y="33"/>
                  </a:lnTo>
                  <a:lnTo>
                    <a:pt x="75" y="32"/>
                  </a:lnTo>
                  <a:lnTo>
                    <a:pt x="74" y="29"/>
                  </a:lnTo>
                  <a:lnTo>
                    <a:pt x="71" y="25"/>
                  </a:lnTo>
                  <a:lnTo>
                    <a:pt x="70" y="20"/>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84" name="Freeform 755"/>
            <p:cNvSpPr>
              <a:spLocks/>
            </p:cNvSpPr>
            <p:nvPr/>
          </p:nvSpPr>
          <p:spPr bwMode="auto">
            <a:xfrm>
              <a:off x="5472113" y="3594529"/>
              <a:ext cx="119063" cy="114300"/>
            </a:xfrm>
            <a:custGeom>
              <a:avLst/>
              <a:gdLst>
                <a:gd name="T0" fmla="*/ 70 w 75"/>
                <a:gd name="T1" fmla="*/ 20 h 72"/>
                <a:gd name="T2" fmla="*/ 65 w 75"/>
                <a:gd name="T3" fmla="*/ 14 h 72"/>
                <a:gd name="T4" fmla="*/ 61 w 75"/>
                <a:gd name="T5" fmla="*/ 4 h 72"/>
                <a:gd name="T6" fmla="*/ 61 w 75"/>
                <a:gd name="T7" fmla="*/ 3 h 72"/>
                <a:gd name="T8" fmla="*/ 49 w 75"/>
                <a:gd name="T9" fmla="*/ 9 h 72"/>
                <a:gd name="T10" fmla="*/ 41 w 75"/>
                <a:gd name="T11" fmla="*/ 7 h 72"/>
                <a:gd name="T12" fmla="*/ 29 w 75"/>
                <a:gd name="T13" fmla="*/ 0 h 72"/>
                <a:gd name="T14" fmla="*/ 28 w 75"/>
                <a:gd name="T15" fmla="*/ 4 h 72"/>
                <a:gd name="T16" fmla="*/ 28 w 75"/>
                <a:gd name="T17" fmla="*/ 14 h 72"/>
                <a:gd name="T18" fmla="*/ 28 w 75"/>
                <a:gd name="T19" fmla="*/ 17 h 72"/>
                <a:gd name="T20" fmla="*/ 19 w 75"/>
                <a:gd name="T21" fmla="*/ 17 h 72"/>
                <a:gd name="T22" fmla="*/ 9 w 75"/>
                <a:gd name="T23" fmla="*/ 14 h 72"/>
                <a:gd name="T24" fmla="*/ 0 w 75"/>
                <a:gd name="T25" fmla="*/ 17 h 72"/>
                <a:gd name="T26" fmla="*/ 6 w 75"/>
                <a:gd name="T27" fmla="*/ 26 h 72"/>
                <a:gd name="T28" fmla="*/ 20 w 75"/>
                <a:gd name="T29" fmla="*/ 42 h 72"/>
                <a:gd name="T30" fmla="*/ 23 w 75"/>
                <a:gd name="T31" fmla="*/ 46 h 72"/>
                <a:gd name="T32" fmla="*/ 25 w 75"/>
                <a:gd name="T33" fmla="*/ 64 h 72"/>
                <a:gd name="T34" fmla="*/ 36 w 75"/>
                <a:gd name="T35" fmla="*/ 57 h 72"/>
                <a:gd name="T36" fmla="*/ 46 w 75"/>
                <a:gd name="T37" fmla="*/ 52 h 72"/>
                <a:gd name="T38" fmla="*/ 48 w 75"/>
                <a:gd name="T39" fmla="*/ 51 h 72"/>
                <a:gd name="T40" fmla="*/ 49 w 75"/>
                <a:gd name="T41" fmla="*/ 57 h 72"/>
                <a:gd name="T42" fmla="*/ 49 w 75"/>
                <a:gd name="T43" fmla="*/ 68 h 72"/>
                <a:gd name="T44" fmla="*/ 52 w 75"/>
                <a:gd name="T45" fmla="*/ 71 h 72"/>
                <a:gd name="T46" fmla="*/ 61 w 75"/>
                <a:gd name="T47" fmla="*/ 72 h 72"/>
                <a:gd name="T48" fmla="*/ 61 w 75"/>
                <a:gd name="T49" fmla="*/ 64 h 72"/>
                <a:gd name="T50" fmla="*/ 59 w 75"/>
                <a:gd name="T51" fmla="*/ 59 h 72"/>
                <a:gd name="T52" fmla="*/ 59 w 75"/>
                <a:gd name="T53" fmla="*/ 55 h 72"/>
                <a:gd name="T54" fmla="*/ 62 w 75"/>
                <a:gd name="T55" fmla="*/ 54 h 72"/>
                <a:gd name="T56" fmla="*/ 65 w 75"/>
                <a:gd name="T57" fmla="*/ 51 h 72"/>
                <a:gd name="T58" fmla="*/ 72 w 75"/>
                <a:gd name="T59" fmla="*/ 39 h 72"/>
                <a:gd name="T60" fmla="*/ 75 w 75"/>
                <a:gd name="T61" fmla="*/ 35 h 72"/>
                <a:gd name="T62" fmla="*/ 75 w 75"/>
                <a:gd name="T63" fmla="*/ 32 h 72"/>
                <a:gd name="T64" fmla="*/ 71 w 75"/>
                <a:gd name="T65"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5" h="72">
                  <a:moveTo>
                    <a:pt x="70" y="20"/>
                  </a:moveTo>
                  <a:lnTo>
                    <a:pt x="70" y="20"/>
                  </a:lnTo>
                  <a:lnTo>
                    <a:pt x="68" y="17"/>
                  </a:lnTo>
                  <a:lnTo>
                    <a:pt x="65" y="14"/>
                  </a:lnTo>
                  <a:lnTo>
                    <a:pt x="62" y="10"/>
                  </a:lnTo>
                  <a:lnTo>
                    <a:pt x="61" y="4"/>
                  </a:lnTo>
                  <a:lnTo>
                    <a:pt x="61" y="4"/>
                  </a:lnTo>
                  <a:lnTo>
                    <a:pt x="61" y="3"/>
                  </a:lnTo>
                  <a:lnTo>
                    <a:pt x="61" y="3"/>
                  </a:lnTo>
                  <a:lnTo>
                    <a:pt x="49" y="9"/>
                  </a:lnTo>
                  <a:lnTo>
                    <a:pt x="43" y="9"/>
                  </a:lnTo>
                  <a:lnTo>
                    <a:pt x="41" y="7"/>
                  </a:lnTo>
                  <a:lnTo>
                    <a:pt x="41" y="7"/>
                  </a:lnTo>
                  <a:lnTo>
                    <a:pt x="29" y="0"/>
                  </a:lnTo>
                  <a:lnTo>
                    <a:pt x="29" y="0"/>
                  </a:lnTo>
                  <a:lnTo>
                    <a:pt x="28" y="4"/>
                  </a:lnTo>
                  <a:lnTo>
                    <a:pt x="28" y="10"/>
                  </a:lnTo>
                  <a:lnTo>
                    <a:pt x="28" y="14"/>
                  </a:lnTo>
                  <a:lnTo>
                    <a:pt x="28" y="17"/>
                  </a:lnTo>
                  <a:lnTo>
                    <a:pt x="28" y="17"/>
                  </a:lnTo>
                  <a:lnTo>
                    <a:pt x="23" y="19"/>
                  </a:lnTo>
                  <a:lnTo>
                    <a:pt x="19" y="17"/>
                  </a:lnTo>
                  <a:lnTo>
                    <a:pt x="9" y="14"/>
                  </a:lnTo>
                  <a:lnTo>
                    <a:pt x="9" y="14"/>
                  </a:lnTo>
                  <a:lnTo>
                    <a:pt x="4" y="16"/>
                  </a:lnTo>
                  <a:lnTo>
                    <a:pt x="0" y="17"/>
                  </a:lnTo>
                  <a:lnTo>
                    <a:pt x="0" y="17"/>
                  </a:lnTo>
                  <a:lnTo>
                    <a:pt x="6" y="26"/>
                  </a:lnTo>
                  <a:lnTo>
                    <a:pt x="12" y="33"/>
                  </a:lnTo>
                  <a:lnTo>
                    <a:pt x="20" y="42"/>
                  </a:lnTo>
                  <a:lnTo>
                    <a:pt x="20" y="42"/>
                  </a:lnTo>
                  <a:lnTo>
                    <a:pt x="23" y="46"/>
                  </a:lnTo>
                  <a:lnTo>
                    <a:pt x="23" y="51"/>
                  </a:lnTo>
                  <a:lnTo>
                    <a:pt x="25" y="64"/>
                  </a:lnTo>
                  <a:lnTo>
                    <a:pt x="25" y="64"/>
                  </a:lnTo>
                  <a:lnTo>
                    <a:pt x="36" y="57"/>
                  </a:lnTo>
                  <a:lnTo>
                    <a:pt x="41" y="54"/>
                  </a:lnTo>
                  <a:lnTo>
                    <a:pt x="46" y="52"/>
                  </a:lnTo>
                  <a:lnTo>
                    <a:pt x="46" y="52"/>
                  </a:lnTo>
                  <a:lnTo>
                    <a:pt x="48" y="51"/>
                  </a:lnTo>
                  <a:lnTo>
                    <a:pt x="49" y="52"/>
                  </a:lnTo>
                  <a:lnTo>
                    <a:pt x="49" y="57"/>
                  </a:lnTo>
                  <a:lnTo>
                    <a:pt x="49" y="61"/>
                  </a:lnTo>
                  <a:lnTo>
                    <a:pt x="49" y="68"/>
                  </a:lnTo>
                  <a:lnTo>
                    <a:pt x="49" y="68"/>
                  </a:lnTo>
                  <a:lnTo>
                    <a:pt x="52" y="71"/>
                  </a:lnTo>
                  <a:lnTo>
                    <a:pt x="54" y="72"/>
                  </a:lnTo>
                  <a:lnTo>
                    <a:pt x="61" y="72"/>
                  </a:lnTo>
                  <a:lnTo>
                    <a:pt x="61" y="72"/>
                  </a:lnTo>
                  <a:lnTo>
                    <a:pt x="61" y="64"/>
                  </a:lnTo>
                  <a:lnTo>
                    <a:pt x="61" y="64"/>
                  </a:lnTo>
                  <a:lnTo>
                    <a:pt x="59" y="59"/>
                  </a:lnTo>
                  <a:lnTo>
                    <a:pt x="59" y="57"/>
                  </a:lnTo>
                  <a:lnTo>
                    <a:pt x="59" y="55"/>
                  </a:lnTo>
                  <a:lnTo>
                    <a:pt x="62" y="54"/>
                  </a:lnTo>
                  <a:lnTo>
                    <a:pt x="62" y="54"/>
                  </a:lnTo>
                  <a:lnTo>
                    <a:pt x="64" y="54"/>
                  </a:lnTo>
                  <a:lnTo>
                    <a:pt x="65" y="51"/>
                  </a:lnTo>
                  <a:lnTo>
                    <a:pt x="70" y="45"/>
                  </a:lnTo>
                  <a:lnTo>
                    <a:pt x="72" y="39"/>
                  </a:lnTo>
                  <a:lnTo>
                    <a:pt x="75" y="35"/>
                  </a:lnTo>
                  <a:lnTo>
                    <a:pt x="75" y="35"/>
                  </a:lnTo>
                  <a:lnTo>
                    <a:pt x="75" y="33"/>
                  </a:lnTo>
                  <a:lnTo>
                    <a:pt x="75" y="32"/>
                  </a:lnTo>
                  <a:lnTo>
                    <a:pt x="74" y="29"/>
                  </a:lnTo>
                  <a:lnTo>
                    <a:pt x="71" y="25"/>
                  </a:lnTo>
                  <a:lnTo>
                    <a:pt x="70"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85" name="Freeform 756"/>
            <p:cNvSpPr>
              <a:spLocks/>
            </p:cNvSpPr>
            <p:nvPr/>
          </p:nvSpPr>
          <p:spPr bwMode="auto">
            <a:xfrm>
              <a:off x="5211763" y="3829479"/>
              <a:ext cx="39688" cy="52388"/>
            </a:xfrm>
            <a:custGeom>
              <a:avLst/>
              <a:gdLst>
                <a:gd name="T0" fmla="*/ 24 w 25"/>
                <a:gd name="T1" fmla="*/ 3 h 33"/>
                <a:gd name="T2" fmla="*/ 24 w 25"/>
                <a:gd name="T3" fmla="*/ 3 h 33"/>
                <a:gd name="T4" fmla="*/ 19 w 25"/>
                <a:gd name="T5" fmla="*/ 1 h 33"/>
                <a:gd name="T6" fmla="*/ 12 w 25"/>
                <a:gd name="T7" fmla="*/ 0 h 33"/>
                <a:gd name="T8" fmla="*/ 12 w 25"/>
                <a:gd name="T9" fmla="*/ 0 h 33"/>
                <a:gd name="T10" fmla="*/ 8 w 25"/>
                <a:gd name="T11" fmla="*/ 4 h 33"/>
                <a:gd name="T12" fmla="*/ 6 w 25"/>
                <a:gd name="T13" fmla="*/ 6 h 33"/>
                <a:gd name="T14" fmla="*/ 6 w 25"/>
                <a:gd name="T15" fmla="*/ 8 h 33"/>
                <a:gd name="T16" fmla="*/ 6 w 25"/>
                <a:gd name="T17" fmla="*/ 8 h 33"/>
                <a:gd name="T18" fmla="*/ 5 w 25"/>
                <a:gd name="T19" fmla="*/ 17 h 33"/>
                <a:gd name="T20" fmla="*/ 0 w 25"/>
                <a:gd name="T21" fmla="*/ 30 h 33"/>
                <a:gd name="T22" fmla="*/ 0 w 25"/>
                <a:gd name="T23" fmla="*/ 30 h 33"/>
                <a:gd name="T24" fmla="*/ 10 w 25"/>
                <a:gd name="T25" fmla="*/ 33 h 33"/>
                <a:gd name="T26" fmla="*/ 10 w 25"/>
                <a:gd name="T27" fmla="*/ 33 h 33"/>
                <a:gd name="T28" fmla="*/ 13 w 25"/>
                <a:gd name="T29" fmla="*/ 24 h 33"/>
                <a:gd name="T30" fmla="*/ 19 w 25"/>
                <a:gd name="T31" fmla="*/ 16 h 33"/>
                <a:gd name="T32" fmla="*/ 24 w 25"/>
                <a:gd name="T33" fmla="*/ 8 h 33"/>
                <a:gd name="T34" fmla="*/ 25 w 25"/>
                <a:gd name="T35" fmla="*/ 6 h 33"/>
                <a:gd name="T36" fmla="*/ 24 w 25"/>
                <a:gd name="T37" fmla="*/ 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33">
                  <a:moveTo>
                    <a:pt x="24" y="3"/>
                  </a:moveTo>
                  <a:lnTo>
                    <a:pt x="24" y="3"/>
                  </a:lnTo>
                  <a:lnTo>
                    <a:pt x="19" y="1"/>
                  </a:lnTo>
                  <a:lnTo>
                    <a:pt x="12" y="0"/>
                  </a:lnTo>
                  <a:lnTo>
                    <a:pt x="12" y="0"/>
                  </a:lnTo>
                  <a:lnTo>
                    <a:pt x="8" y="4"/>
                  </a:lnTo>
                  <a:lnTo>
                    <a:pt x="6" y="6"/>
                  </a:lnTo>
                  <a:lnTo>
                    <a:pt x="6" y="8"/>
                  </a:lnTo>
                  <a:lnTo>
                    <a:pt x="6" y="8"/>
                  </a:lnTo>
                  <a:lnTo>
                    <a:pt x="5" y="17"/>
                  </a:lnTo>
                  <a:lnTo>
                    <a:pt x="0" y="30"/>
                  </a:lnTo>
                  <a:lnTo>
                    <a:pt x="0" y="30"/>
                  </a:lnTo>
                  <a:lnTo>
                    <a:pt x="10" y="33"/>
                  </a:lnTo>
                  <a:lnTo>
                    <a:pt x="10" y="33"/>
                  </a:lnTo>
                  <a:lnTo>
                    <a:pt x="13" y="24"/>
                  </a:lnTo>
                  <a:lnTo>
                    <a:pt x="19" y="16"/>
                  </a:lnTo>
                  <a:lnTo>
                    <a:pt x="24" y="8"/>
                  </a:lnTo>
                  <a:lnTo>
                    <a:pt x="25" y="6"/>
                  </a:lnTo>
                  <a:lnTo>
                    <a:pt x="24" y="3"/>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86" name="Freeform 757"/>
            <p:cNvSpPr>
              <a:spLocks/>
            </p:cNvSpPr>
            <p:nvPr/>
          </p:nvSpPr>
          <p:spPr bwMode="auto">
            <a:xfrm>
              <a:off x="5211763" y="3829479"/>
              <a:ext cx="39688" cy="52388"/>
            </a:xfrm>
            <a:custGeom>
              <a:avLst/>
              <a:gdLst>
                <a:gd name="T0" fmla="*/ 24 w 25"/>
                <a:gd name="T1" fmla="*/ 3 h 33"/>
                <a:gd name="T2" fmla="*/ 24 w 25"/>
                <a:gd name="T3" fmla="*/ 3 h 33"/>
                <a:gd name="T4" fmla="*/ 19 w 25"/>
                <a:gd name="T5" fmla="*/ 1 h 33"/>
                <a:gd name="T6" fmla="*/ 12 w 25"/>
                <a:gd name="T7" fmla="*/ 0 h 33"/>
                <a:gd name="T8" fmla="*/ 12 w 25"/>
                <a:gd name="T9" fmla="*/ 0 h 33"/>
                <a:gd name="T10" fmla="*/ 8 w 25"/>
                <a:gd name="T11" fmla="*/ 4 h 33"/>
                <a:gd name="T12" fmla="*/ 6 w 25"/>
                <a:gd name="T13" fmla="*/ 6 h 33"/>
                <a:gd name="T14" fmla="*/ 6 w 25"/>
                <a:gd name="T15" fmla="*/ 8 h 33"/>
                <a:gd name="T16" fmla="*/ 6 w 25"/>
                <a:gd name="T17" fmla="*/ 8 h 33"/>
                <a:gd name="T18" fmla="*/ 5 w 25"/>
                <a:gd name="T19" fmla="*/ 17 h 33"/>
                <a:gd name="T20" fmla="*/ 0 w 25"/>
                <a:gd name="T21" fmla="*/ 30 h 33"/>
                <a:gd name="T22" fmla="*/ 0 w 25"/>
                <a:gd name="T23" fmla="*/ 30 h 33"/>
                <a:gd name="T24" fmla="*/ 10 w 25"/>
                <a:gd name="T25" fmla="*/ 33 h 33"/>
                <a:gd name="T26" fmla="*/ 10 w 25"/>
                <a:gd name="T27" fmla="*/ 33 h 33"/>
                <a:gd name="T28" fmla="*/ 13 w 25"/>
                <a:gd name="T29" fmla="*/ 24 h 33"/>
                <a:gd name="T30" fmla="*/ 19 w 25"/>
                <a:gd name="T31" fmla="*/ 16 h 33"/>
                <a:gd name="T32" fmla="*/ 24 w 25"/>
                <a:gd name="T33" fmla="*/ 8 h 33"/>
                <a:gd name="T34" fmla="*/ 25 w 25"/>
                <a:gd name="T35" fmla="*/ 6 h 33"/>
                <a:gd name="T36" fmla="*/ 24 w 25"/>
                <a:gd name="T37" fmla="*/ 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33">
                  <a:moveTo>
                    <a:pt x="24" y="3"/>
                  </a:moveTo>
                  <a:lnTo>
                    <a:pt x="24" y="3"/>
                  </a:lnTo>
                  <a:lnTo>
                    <a:pt x="19" y="1"/>
                  </a:lnTo>
                  <a:lnTo>
                    <a:pt x="12" y="0"/>
                  </a:lnTo>
                  <a:lnTo>
                    <a:pt x="12" y="0"/>
                  </a:lnTo>
                  <a:lnTo>
                    <a:pt x="8" y="4"/>
                  </a:lnTo>
                  <a:lnTo>
                    <a:pt x="6" y="6"/>
                  </a:lnTo>
                  <a:lnTo>
                    <a:pt x="6" y="8"/>
                  </a:lnTo>
                  <a:lnTo>
                    <a:pt x="6" y="8"/>
                  </a:lnTo>
                  <a:lnTo>
                    <a:pt x="5" y="17"/>
                  </a:lnTo>
                  <a:lnTo>
                    <a:pt x="0" y="30"/>
                  </a:lnTo>
                  <a:lnTo>
                    <a:pt x="0" y="30"/>
                  </a:lnTo>
                  <a:lnTo>
                    <a:pt x="10" y="33"/>
                  </a:lnTo>
                  <a:lnTo>
                    <a:pt x="10" y="33"/>
                  </a:lnTo>
                  <a:lnTo>
                    <a:pt x="13" y="24"/>
                  </a:lnTo>
                  <a:lnTo>
                    <a:pt x="19" y="16"/>
                  </a:lnTo>
                  <a:lnTo>
                    <a:pt x="24" y="8"/>
                  </a:lnTo>
                  <a:lnTo>
                    <a:pt x="25" y="6"/>
                  </a:lnTo>
                  <a:lnTo>
                    <a:pt x="24"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87" name="Freeform 758"/>
            <p:cNvSpPr>
              <a:spLocks/>
            </p:cNvSpPr>
            <p:nvPr/>
          </p:nvSpPr>
          <p:spPr bwMode="auto">
            <a:xfrm>
              <a:off x="5207001" y="3881867"/>
              <a:ext cx="104775" cy="107950"/>
            </a:xfrm>
            <a:custGeom>
              <a:avLst/>
              <a:gdLst>
                <a:gd name="T0" fmla="*/ 38 w 66"/>
                <a:gd name="T1" fmla="*/ 10 h 68"/>
                <a:gd name="T2" fmla="*/ 38 w 66"/>
                <a:gd name="T3" fmla="*/ 10 h 68"/>
                <a:gd name="T4" fmla="*/ 34 w 66"/>
                <a:gd name="T5" fmla="*/ 12 h 68"/>
                <a:gd name="T6" fmla="*/ 27 w 66"/>
                <a:gd name="T7" fmla="*/ 12 h 68"/>
                <a:gd name="T8" fmla="*/ 12 w 66"/>
                <a:gd name="T9" fmla="*/ 12 h 68"/>
                <a:gd name="T10" fmla="*/ 12 w 66"/>
                <a:gd name="T11" fmla="*/ 12 h 68"/>
                <a:gd name="T12" fmla="*/ 11 w 66"/>
                <a:gd name="T13" fmla="*/ 30 h 68"/>
                <a:gd name="T14" fmla="*/ 9 w 66"/>
                <a:gd name="T15" fmla="*/ 44 h 68"/>
                <a:gd name="T16" fmla="*/ 9 w 66"/>
                <a:gd name="T17" fmla="*/ 44 h 68"/>
                <a:gd name="T18" fmla="*/ 2 w 66"/>
                <a:gd name="T19" fmla="*/ 61 h 68"/>
                <a:gd name="T20" fmla="*/ 2 w 66"/>
                <a:gd name="T21" fmla="*/ 61 h 68"/>
                <a:gd name="T22" fmla="*/ 0 w 66"/>
                <a:gd name="T23" fmla="*/ 68 h 68"/>
                <a:gd name="T24" fmla="*/ 21 w 66"/>
                <a:gd name="T25" fmla="*/ 68 h 68"/>
                <a:gd name="T26" fmla="*/ 21 w 66"/>
                <a:gd name="T27" fmla="*/ 68 h 68"/>
                <a:gd name="T28" fmla="*/ 27 w 66"/>
                <a:gd name="T29" fmla="*/ 67 h 68"/>
                <a:gd name="T30" fmla="*/ 32 w 66"/>
                <a:gd name="T31" fmla="*/ 64 h 68"/>
                <a:gd name="T32" fmla="*/ 38 w 66"/>
                <a:gd name="T33" fmla="*/ 61 h 68"/>
                <a:gd name="T34" fmla="*/ 41 w 66"/>
                <a:gd name="T35" fmla="*/ 57 h 68"/>
                <a:gd name="T36" fmla="*/ 41 w 66"/>
                <a:gd name="T37" fmla="*/ 57 h 68"/>
                <a:gd name="T38" fmla="*/ 42 w 66"/>
                <a:gd name="T39" fmla="*/ 55 h 68"/>
                <a:gd name="T40" fmla="*/ 41 w 66"/>
                <a:gd name="T41" fmla="*/ 52 h 68"/>
                <a:gd name="T42" fmla="*/ 38 w 66"/>
                <a:gd name="T43" fmla="*/ 46 h 68"/>
                <a:gd name="T44" fmla="*/ 34 w 66"/>
                <a:gd name="T45" fmla="*/ 41 h 68"/>
                <a:gd name="T46" fmla="*/ 32 w 66"/>
                <a:gd name="T47" fmla="*/ 36 h 68"/>
                <a:gd name="T48" fmla="*/ 32 w 66"/>
                <a:gd name="T49" fmla="*/ 36 h 68"/>
                <a:gd name="T50" fmla="*/ 35 w 66"/>
                <a:gd name="T51" fmla="*/ 33 h 68"/>
                <a:gd name="T52" fmla="*/ 40 w 66"/>
                <a:gd name="T53" fmla="*/ 29 h 68"/>
                <a:gd name="T54" fmla="*/ 47 w 66"/>
                <a:gd name="T55" fmla="*/ 25 h 68"/>
                <a:gd name="T56" fmla="*/ 54 w 66"/>
                <a:gd name="T57" fmla="*/ 22 h 68"/>
                <a:gd name="T58" fmla="*/ 54 w 66"/>
                <a:gd name="T59" fmla="*/ 22 h 68"/>
                <a:gd name="T60" fmla="*/ 58 w 66"/>
                <a:gd name="T61" fmla="*/ 22 h 68"/>
                <a:gd name="T62" fmla="*/ 66 w 66"/>
                <a:gd name="T63" fmla="*/ 22 h 68"/>
                <a:gd name="T64" fmla="*/ 66 w 66"/>
                <a:gd name="T65" fmla="*/ 22 h 68"/>
                <a:gd name="T66" fmla="*/ 53 w 66"/>
                <a:gd name="T67" fmla="*/ 0 h 68"/>
                <a:gd name="T68" fmla="*/ 53 w 66"/>
                <a:gd name="T69" fmla="*/ 0 h 68"/>
                <a:gd name="T70" fmla="*/ 38 w 66"/>
                <a:gd name="T71" fmla="*/ 1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6" h="68">
                  <a:moveTo>
                    <a:pt x="38" y="10"/>
                  </a:moveTo>
                  <a:lnTo>
                    <a:pt x="38" y="10"/>
                  </a:lnTo>
                  <a:lnTo>
                    <a:pt x="34" y="12"/>
                  </a:lnTo>
                  <a:lnTo>
                    <a:pt x="27" y="12"/>
                  </a:lnTo>
                  <a:lnTo>
                    <a:pt x="12" y="12"/>
                  </a:lnTo>
                  <a:lnTo>
                    <a:pt x="12" y="12"/>
                  </a:lnTo>
                  <a:lnTo>
                    <a:pt x="11" y="30"/>
                  </a:lnTo>
                  <a:lnTo>
                    <a:pt x="9" y="44"/>
                  </a:lnTo>
                  <a:lnTo>
                    <a:pt x="9" y="44"/>
                  </a:lnTo>
                  <a:lnTo>
                    <a:pt x="2" y="61"/>
                  </a:lnTo>
                  <a:lnTo>
                    <a:pt x="2" y="61"/>
                  </a:lnTo>
                  <a:lnTo>
                    <a:pt x="0" y="68"/>
                  </a:lnTo>
                  <a:lnTo>
                    <a:pt x="21" y="68"/>
                  </a:lnTo>
                  <a:lnTo>
                    <a:pt x="21" y="68"/>
                  </a:lnTo>
                  <a:lnTo>
                    <a:pt x="27" y="67"/>
                  </a:lnTo>
                  <a:lnTo>
                    <a:pt x="32" y="64"/>
                  </a:lnTo>
                  <a:lnTo>
                    <a:pt x="38" y="61"/>
                  </a:lnTo>
                  <a:lnTo>
                    <a:pt x="41" y="57"/>
                  </a:lnTo>
                  <a:lnTo>
                    <a:pt x="41" y="57"/>
                  </a:lnTo>
                  <a:lnTo>
                    <a:pt x="42" y="55"/>
                  </a:lnTo>
                  <a:lnTo>
                    <a:pt x="41" y="52"/>
                  </a:lnTo>
                  <a:lnTo>
                    <a:pt x="38" y="46"/>
                  </a:lnTo>
                  <a:lnTo>
                    <a:pt x="34" y="41"/>
                  </a:lnTo>
                  <a:lnTo>
                    <a:pt x="32" y="36"/>
                  </a:lnTo>
                  <a:lnTo>
                    <a:pt x="32" y="36"/>
                  </a:lnTo>
                  <a:lnTo>
                    <a:pt x="35" y="33"/>
                  </a:lnTo>
                  <a:lnTo>
                    <a:pt x="40" y="29"/>
                  </a:lnTo>
                  <a:lnTo>
                    <a:pt x="47" y="25"/>
                  </a:lnTo>
                  <a:lnTo>
                    <a:pt x="54" y="22"/>
                  </a:lnTo>
                  <a:lnTo>
                    <a:pt x="54" y="22"/>
                  </a:lnTo>
                  <a:lnTo>
                    <a:pt x="58" y="22"/>
                  </a:lnTo>
                  <a:lnTo>
                    <a:pt x="66" y="22"/>
                  </a:lnTo>
                  <a:lnTo>
                    <a:pt x="66" y="22"/>
                  </a:lnTo>
                  <a:lnTo>
                    <a:pt x="53" y="0"/>
                  </a:lnTo>
                  <a:lnTo>
                    <a:pt x="53" y="0"/>
                  </a:lnTo>
                  <a:lnTo>
                    <a:pt x="38" y="10"/>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88" name="Freeform 759"/>
            <p:cNvSpPr>
              <a:spLocks/>
            </p:cNvSpPr>
            <p:nvPr/>
          </p:nvSpPr>
          <p:spPr bwMode="auto">
            <a:xfrm>
              <a:off x="5207001" y="3881867"/>
              <a:ext cx="104775" cy="107950"/>
            </a:xfrm>
            <a:custGeom>
              <a:avLst/>
              <a:gdLst>
                <a:gd name="T0" fmla="*/ 38 w 66"/>
                <a:gd name="T1" fmla="*/ 10 h 68"/>
                <a:gd name="T2" fmla="*/ 38 w 66"/>
                <a:gd name="T3" fmla="*/ 10 h 68"/>
                <a:gd name="T4" fmla="*/ 34 w 66"/>
                <a:gd name="T5" fmla="*/ 12 h 68"/>
                <a:gd name="T6" fmla="*/ 27 w 66"/>
                <a:gd name="T7" fmla="*/ 12 h 68"/>
                <a:gd name="T8" fmla="*/ 12 w 66"/>
                <a:gd name="T9" fmla="*/ 12 h 68"/>
                <a:gd name="T10" fmla="*/ 12 w 66"/>
                <a:gd name="T11" fmla="*/ 12 h 68"/>
                <a:gd name="T12" fmla="*/ 11 w 66"/>
                <a:gd name="T13" fmla="*/ 30 h 68"/>
                <a:gd name="T14" fmla="*/ 9 w 66"/>
                <a:gd name="T15" fmla="*/ 44 h 68"/>
                <a:gd name="T16" fmla="*/ 9 w 66"/>
                <a:gd name="T17" fmla="*/ 44 h 68"/>
                <a:gd name="T18" fmla="*/ 2 w 66"/>
                <a:gd name="T19" fmla="*/ 61 h 68"/>
                <a:gd name="T20" fmla="*/ 2 w 66"/>
                <a:gd name="T21" fmla="*/ 61 h 68"/>
                <a:gd name="T22" fmla="*/ 0 w 66"/>
                <a:gd name="T23" fmla="*/ 68 h 68"/>
                <a:gd name="T24" fmla="*/ 21 w 66"/>
                <a:gd name="T25" fmla="*/ 68 h 68"/>
                <a:gd name="T26" fmla="*/ 21 w 66"/>
                <a:gd name="T27" fmla="*/ 68 h 68"/>
                <a:gd name="T28" fmla="*/ 27 w 66"/>
                <a:gd name="T29" fmla="*/ 67 h 68"/>
                <a:gd name="T30" fmla="*/ 32 w 66"/>
                <a:gd name="T31" fmla="*/ 64 h 68"/>
                <a:gd name="T32" fmla="*/ 38 w 66"/>
                <a:gd name="T33" fmla="*/ 61 h 68"/>
                <a:gd name="T34" fmla="*/ 41 w 66"/>
                <a:gd name="T35" fmla="*/ 57 h 68"/>
                <a:gd name="T36" fmla="*/ 41 w 66"/>
                <a:gd name="T37" fmla="*/ 57 h 68"/>
                <a:gd name="T38" fmla="*/ 42 w 66"/>
                <a:gd name="T39" fmla="*/ 55 h 68"/>
                <a:gd name="T40" fmla="*/ 41 w 66"/>
                <a:gd name="T41" fmla="*/ 52 h 68"/>
                <a:gd name="T42" fmla="*/ 38 w 66"/>
                <a:gd name="T43" fmla="*/ 46 h 68"/>
                <a:gd name="T44" fmla="*/ 34 w 66"/>
                <a:gd name="T45" fmla="*/ 41 h 68"/>
                <a:gd name="T46" fmla="*/ 32 w 66"/>
                <a:gd name="T47" fmla="*/ 36 h 68"/>
                <a:gd name="T48" fmla="*/ 32 w 66"/>
                <a:gd name="T49" fmla="*/ 36 h 68"/>
                <a:gd name="T50" fmla="*/ 35 w 66"/>
                <a:gd name="T51" fmla="*/ 33 h 68"/>
                <a:gd name="T52" fmla="*/ 40 w 66"/>
                <a:gd name="T53" fmla="*/ 29 h 68"/>
                <a:gd name="T54" fmla="*/ 47 w 66"/>
                <a:gd name="T55" fmla="*/ 25 h 68"/>
                <a:gd name="T56" fmla="*/ 54 w 66"/>
                <a:gd name="T57" fmla="*/ 22 h 68"/>
                <a:gd name="T58" fmla="*/ 54 w 66"/>
                <a:gd name="T59" fmla="*/ 22 h 68"/>
                <a:gd name="T60" fmla="*/ 58 w 66"/>
                <a:gd name="T61" fmla="*/ 22 h 68"/>
                <a:gd name="T62" fmla="*/ 66 w 66"/>
                <a:gd name="T63" fmla="*/ 22 h 68"/>
                <a:gd name="T64" fmla="*/ 66 w 66"/>
                <a:gd name="T65" fmla="*/ 22 h 68"/>
                <a:gd name="T66" fmla="*/ 53 w 66"/>
                <a:gd name="T67" fmla="*/ 0 h 68"/>
                <a:gd name="T68" fmla="*/ 53 w 66"/>
                <a:gd name="T69" fmla="*/ 0 h 68"/>
                <a:gd name="T70" fmla="*/ 38 w 66"/>
                <a:gd name="T71" fmla="*/ 1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6" h="68">
                  <a:moveTo>
                    <a:pt x="38" y="10"/>
                  </a:moveTo>
                  <a:lnTo>
                    <a:pt x="38" y="10"/>
                  </a:lnTo>
                  <a:lnTo>
                    <a:pt x="34" y="12"/>
                  </a:lnTo>
                  <a:lnTo>
                    <a:pt x="27" y="12"/>
                  </a:lnTo>
                  <a:lnTo>
                    <a:pt x="12" y="12"/>
                  </a:lnTo>
                  <a:lnTo>
                    <a:pt x="12" y="12"/>
                  </a:lnTo>
                  <a:lnTo>
                    <a:pt x="11" y="30"/>
                  </a:lnTo>
                  <a:lnTo>
                    <a:pt x="9" y="44"/>
                  </a:lnTo>
                  <a:lnTo>
                    <a:pt x="9" y="44"/>
                  </a:lnTo>
                  <a:lnTo>
                    <a:pt x="2" y="61"/>
                  </a:lnTo>
                  <a:lnTo>
                    <a:pt x="2" y="61"/>
                  </a:lnTo>
                  <a:lnTo>
                    <a:pt x="0" y="68"/>
                  </a:lnTo>
                  <a:lnTo>
                    <a:pt x="21" y="68"/>
                  </a:lnTo>
                  <a:lnTo>
                    <a:pt x="21" y="68"/>
                  </a:lnTo>
                  <a:lnTo>
                    <a:pt x="27" y="67"/>
                  </a:lnTo>
                  <a:lnTo>
                    <a:pt x="32" y="64"/>
                  </a:lnTo>
                  <a:lnTo>
                    <a:pt x="38" y="61"/>
                  </a:lnTo>
                  <a:lnTo>
                    <a:pt x="41" y="57"/>
                  </a:lnTo>
                  <a:lnTo>
                    <a:pt x="41" y="57"/>
                  </a:lnTo>
                  <a:lnTo>
                    <a:pt x="42" y="55"/>
                  </a:lnTo>
                  <a:lnTo>
                    <a:pt x="41" y="52"/>
                  </a:lnTo>
                  <a:lnTo>
                    <a:pt x="38" y="46"/>
                  </a:lnTo>
                  <a:lnTo>
                    <a:pt x="34" y="41"/>
                  </a:lnTo>
                  <a:lnTo>
                    <a:pt x="32" y="36"/>
                  </a:lnTo>
                  <a:lnTo>
                    <a:pt x="32" y="36"/>
                  </a:lnTo>
                  <a:lnTo>
                    <a:pt x="35" y="33"/>
                  </a:lnTo>
                  <a:lnTo>
                    <a:pt x="40" y="29"/>
                  </a:lnTo>
                  <a:lnTo>
                    <a:pt x="47" y="25"/>
                  </a:lnTo>
                  <a:lnTo>
                    <a:pt x="54" y="22"/>
                  </a:lnTo>
                  <a:lnTo>
                    <a:pt x="54" y="22"/>
                  </a:lnTo>
                  <a:lnTo>
                    <a:pt x="58" y="22"/>
                  </a:lnTo>
                  <a:lnTo>
                    <a:pt x="66" y="22"/>
                  </a:lnTo>
                  <a:lnTo>
                    <a:pt x="66" y="22"/>
                  </a:lnTo>
                  <a:lnTo>
                    <a:pt x="53" y="0"/>
                  </a:lnTo>
                  <a:lnTo>
                    <a:pt x="53" y="0"/>
                  </a:lnTo>
                  <a:lnTo>
                    <a:pt x="38"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89" name="Freeform 760"/>
            <p:cNvSpPr>
              <a:spLocks/>
            </p:cNvSpPr>
            <p:nvPr/>
          </p:nvSpPr>
          <p:spPr bwMode="auto">
            <a:xfrm>
              <a:off x="5291138" y="3758042"/>
              <a:ext cx="274638" cy="234950"/>
            </a:xfrm>
            <a:custGeom>
              <a:avLst/>
              <a:gdLst>
                <a:gd name="T0" fmla="*/ 163 w 173"/>
                <a:gd name="T1" fmla="*/ 116 h 148"/>
                <a:gd name="T2" fmla="*/ 165 w 173"/>
                <a:gd name="T3" fmla="*/ 101 h 148"/>
                <a:gd name="T4" fmla="*/ 162 w 173"/>
                <a:gd name="T5" fmla="*/ 97 h 148"/>
                <a:gd name="T6" fmla="*/ 126 w 173"/>
                <a:gd name="T7" fmla="*/ 55 h 148"/>
                <a:gd name="T8" fmla="*/ 120 w 173"/>
                <a:gd name="T9" fmla="*/ 45 h 148"/>
                <a:gd name="T10" fmla="*/ 123 w 173"/>
                <a:gd name="T11" fmla="*/ 40 h 148"/>
                <a:gd name="T12" fmla="*/ 130 w 173"/>
                <a:gd name="T13" fmla="*/ 32 h 148"/>
                <a:gd name="T14" fmla="*/ 131 w 173"/>
                <a:gd name="T15" fmla="*/ 27 h 148"/>
                <a:gd name="T16" fmla="*/ 126 w 173"/>
                <a:gd name="T17" fmla="*/ 22 h 148"/>
                <a:gd name="T18" fmla="*/ 118 w 173"/>
                <a:gd name="T19" fmla="*/ 11 h 148"/>
                <a:gd name="T20" fmla="*/ 108 w 173"/>
                <a:gd name="T21" fmla="*/ 9 h 148"/>
                <a:gd name="T22" fmla="*/ 95 w 173"/>
                <a:gd name="T23" fmla="*/ 4 h 148"/>
                <a:gd name="T24" fmla="*/ 91 w 173"/>
                <a:gd name="T25" fmla="*/ 3 h 148"/>
                <a:gd name="T26" fmla="*/ 72 w 173"/>
                <a:gd name="T27" fmla="*/ 0 h 148"/>
                <a:gd name="T28" fmla="*/ 68 w 173"/>
                <a:gd name="T29" fmla="*/ 6 h 148"/>
                <a:gd name="T30" fmla="*/ 56 w 173"/>
                <a:gd name="T31" fmla="*/ 22 h 148"/>
                <a:gd name="T32" fmla="*/ 49 w 173"/>
                <a:gd name="T33" fmla="*/ 39 h 148"/>
                <a:gd name="T34" fmla="*/ 47 w 173"/>
                <a:gd name="T35" fmla="*/ 42 h 148"/>
                <a:gd name="T36" fmla="*/ 31 w 173"/>
                <a:gd name="T37" fmla="*/ 55 h 148"/>
                <a:gd name="T38" fmla="*/ 0 w 173"/>
                <a:gd name="T39" fmla="*/ 78 h 148"/>
                <a:gd name="T40" fmla="*/ 13 w 173"/>
                <a:gd name="T41" fmla="*/ 100 h 148"/>
                <a:gd name="T42" fmla="*/ 50 w 173"/>
                <a:gd name="T43" fmla="*/ 108 h 148"/>
                <a:gd name="T44" fmla="*/ 78 w 173"/>
                <a:gd name="T45" fmla="*/ 116 h 148"/>
                <a:gd name="T46" fmla="*/ 82 w 173"/>
                <a:gd name="T47" fmla="*/ 120 h 148"/>
                <a:gd name="T48" fmla="*/ 89 w 173"/>
                <a:gd name="T49" fmla="*/ 133 h 148"/>
                <a:gd name="T50" fmla="*/ 92 w 173"/>
                <a:gd name="T51" fmla="*/ 137 h 148"/>
                <a:gd name="T52" fmla="*/ 131 w 173"/>
                <a:gd name="T53" fmla="*/ 148 h 148"/>
                <a:gd name="T54" fmla="*/ 143 w 173"/>
                <a:gd name="T55" fmla="*/ 137 h 148"/>
                <a:gd name="T56" fmla="*/ 160 w 173"/>
                <a:gd name="T57" fmla="*/ 139 h 148"/>
                <a:gd name="T58" fmla="*/ 160 w 173"/>
                <a:gd name="T59" fmla="*/ 136 h 148"/>
                <a:gd name="T60" fmla="*/ 165 w 173"/>
                <a:gd name="T61" fmla="*/ 135 h 148"/>
                <a:gd name="T62" fmla="*/ 172 w 173"/>
                <a:gd name="T63" fmla="*/ 133 h 148"/>
                <a:gd name="T64" fmla="*/ 173 w 173"/>
                <a:gd name="T65" fmla="*/ 133 h 148"/>
                <a:gd name="T66" fmla="*/ 163 w 173"/>
                <a:gd name="T67" fmla="*/ 116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3" h="148">
                  <a:moveTo>
                    <a:pt x="163" y="116"/>
                  </a:moveTo>
                  <a:lnTo>
                    <a:pt x="163" y="116"/>
                  </a:lnTo>
                  <a:lnTo>
                    <a:pt x="165" y="107"/>
                  </a:lnTo>
                  <a:lnTo>
                    <a:pt x="165" y="101"/>
                  </a:lnTo>
                  <a:lnTo>
                    <a:pt x="162" y="97"/>
                  </a:lnTo>
                  <a:lnTo>
                    <a:pt x="162" y="97"/>
                  </a:lnTo>
                  <a:lnTo>
                    <a:pt x="139" y="71"/>
                  </a:lnTo>
                  <a:lnTo>
                    <a:pt x="126" y="55"/>
                  </a:lnTo>
                  <a:lnTo>
                    <a:pt x="121" y="48"/>
                  </a:lnTo>
                  <a:lnTo>
                    <a:pt x="120" y="45"/>
                  </a:lnTo>
                  <a:lnTo>
                    <a:pt x="120" y="45"/>
                  </a:lnTo>
                  <a:lnTo>
                    <a:pt x="123" y="40"/>
                  </a:lnTo>
                  <a:lnTo>
                    <a:pt x="127" y="36"/>
                  </a:lnTo>
                  <a:lnTo>
                    <a:pt x="130" y="32"/>
                  </a:lnTo>
                  <a:lnTo>
                    <a:pt x="131" y="29"/>
                  </a:lnTo>
                  <a:lnTo>
                    <a:pt x="131" y="27"/>
                  </a:lnTo>
                  <a:lnTo>
                    <a:pt x="131" y="27"/>
                  </a:lnTo>
                  <a:lnTo>
                    <a:pt x="126" y="22"/>
                  </a:lnTo>
                  <a:lnTo>
                    <a:pt x="118" y="11"/>
                  </a:lnTo>
                  <a:lnTo>
                    <a:pt x="118" y="11"/>
                  </a:lnTo>
                  <a:lnTo>
                    <a:pt x="108" y="9"/>
                  </a:lnTo>
                  <a:lnTo>
                    <a:pt x="108" y="9"/>
                  </a:lnTo>
                  <a:lnTo>
                    <a:pt x="100" y="7"/>
                  </a:lnTo>
                  <a:lnTo>
                    <a:pt x="95" y="4"/>
                  </a:lnTo>
                  <a:lnTo>
                    <a:pt x="91" y="3"/>
                  </a:lnTo>
                  <a:lnTo>
                    <a:pt x="91" y="3"/>
                  </a:lnTo>
                  <a:lnTo>
                    <a:pt x="85" y="1"/>
                  </a:lnTo>
                  <a:lnTo>
                    <a:pt x="72" y="0"/>
                  </a:lnTo>
                  <a:lnTo>
                    <a:pt x="72" y="0"/>
                  </a:lnTo>
                  <a:lnTo>
                    <a:pt x="68" y="6"/>
                  </a:lnTo>
                  <a:lnTo>
                    <a:pt x="63" y="10"/>
                  </a:lnTo>
                  <a:lnTo>
                    <a:pt x="56" y="22"/>
                  </a:lnTo>
                  <a:lnTo>
                    <a:pt x="50" y="33"/>
                  </a:lnTo>
                  <a:lnTo>
                    <a:pt x="49" y="39"/>
                  </a:lnTo>
                  <a:lnTo>
                    <a:pt x="49" y="39"/>
                  </a:lnTo>
                  <a:lnTo>
                    <a:pt x="47" y="42"/>
                  </a:lnTo>
                  <a:lnTo>
                    <a:pt x="45" y="45"/>
                  </a:lnTo>
                  <a:lnTo>
                    <a:pt x="31" y="55"/>
                  </a:lnTo>
                  <a:lnTo>
                    <a:pt x="0" y="78"/>
                  </a:lnTo>
                  <a:lnTo>
                    <a:pt x="0" y="78"/>
                  </a:lnTo>
                  <a:lnTo>
                    <a:pt x="13" y="100"/>
                  </a:lnTo>
                  <a:lnTo>
                    <a:pt x="13" y="100"/>
                  </a:lnTo>
                  <a:lnTo>
                    <a:pt x="31" y="104"/>
                  </a:lnTo>
                  <a:lnTo>
                    <a:pt x="50" y="108"/>
                  </a:lnTo>
                  <a:lnTo>
                    <a:pt x="68" y="113"/>
                  </a:lnTo>
                  <a:lnTo>
                    <a:pt x="78" y="116"/>
                  </a:lnTo>
                  <a:lnTo>
                    <a:pt x="78" y="116"/>
                  </a:lnTo>
                  <a:lnTo>
                    <a:pt x="82" y="120"/>
                  </a:lnTo>
                  <a:lnTo>
                    <a:pt x="87" y="127"/>
                  </a:lnTo>
                  <a:lnTo>
                    <a:pt x="89" y="133"/>
                  </a:lnTo>
                  <a:lnTo>
                    <a:pt x="92" y="137"/>
                  </a:lnTo>
                  <a:lnTo>
                    <a:pt x="92" y="137"/>
                  </a:lnTo>
                  <a:lnTo>
                    <a:pt x="107" y="142"/>
                  </a:lnTo>
                  <a:lnTo>
                    <a:pt x="131" y="148"/>
                  </a:lnTo>
                  <a:lnTo>
                    <a:pt x="143" y="137"/>
                  </a:lnTo>
                  <a:lnTo>
                    <a:pt x="143" y="137"/>
                  </a:lnTo>
                  <a:lnTo>
                    <a:pt x="160" y="139"/>
                  </a:lnTo>
                  <a:lnTo>
                    <a:pt x="160" y="139"/>
                  </a:lnTo>
                  <a:lnTo>
                    <a:pt x="160" y="136"/>
                  </a:lnTo>
                  <a:lnTo>
                    <a:pt x="160" y="136"/>
                  </a:lnTo>
                  <a:lnTo>
                    <a:pt x="162" y="135"/>
                  </a:lnTo>
                  <a:lnTo>
                    <a:pt x="165" y="135"/>
                  </a:lnTo>
                  <a:lnTo>
                    <a:pt x="172" y="133"/>
                  </a:lnTo>
                  <a:lnTo>
                    <a:pt x="172" y="133"/>
                  </a:lnTo>
                  <a:lnTo>
                    <a:pt x="173" y="133"/>
                  </a:lnTo>
                  <a:lnTo>
                    <a:pt x="173" y="133"/>
                  </a:lnTo>
                  <a:lnTo>
                    <a:pt x="168" y="124"/>
                  </a:lnTo>
                  <a:lnTo>
                    <a:pt x="163" y="116"/>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90" name="Freeform 761"/>
            <p:cNvSpPr>
              <a:spLocks/>
            </p:cNvSpPr>
            <p:nvPr/>
          </p:nvSpPr>
          <p:spPr bwMode="auto">
            <a:xfrm>
              <a:off x="5291138" y="3758042"/>
              <a:ext cx="274638" cy="234950"/>
            </a:xfrm>
            <a:custGeom>
              <a:avLst/>
              <a:gdLst>
                <a:gd name="T0" fmla="*/ 163 w 173"/>
                <a:gd name="T1" fmla="*/ 116 h 148"/>
                <a:gd name="T2" fmla="*/ 165 w 173"/>
                <a:gd name="T3" fmla="*/ 101 h 148"/>
                <a:gd name="T4" fmla="*/ 162 w 173"/>
                <a:gd name="T5" fmla="*/ 97 h 148"/>
                <a:gd name="T6" fmla="*/ 126 w 173"/>
                <a:gd name="T7" fmla="*/ 55 h 148"/>
                <a:gd name="T8" fmla="*/ 120 w 173"/>
                <a:gd name="T9" fmla="*/ 45 h 148"/>
                <a:gd name="T10" fmla="*/ 123 w 173"/>
                <a:gd name="T11" fmla="*/ 40 h 148"/>
                <a:gd name="T12" fmla="*/ 130 w 173"/>
                <a:gd name="T13" fmla="*/ 32 h 148"/>
                <a:gd name="T14" fmla="*/ 131 w 173"/>
                <a:gd name="T15" fmla="*/ 27 h 148"/>
                <a:gd name="T16" fmla="*/ 126 w 173"/>
                <a:gd name="T17" fmla="*/ 22 h 148"/>
                <a:gd name="T18" fmla="*/ 118 w 173"/>
                <a:gd name="T19" fmla="*/ 11 h 148"/>
                <a:gd name="T20" fmla="*/ 108 w 173"/>
                <a:gd name="T21" fmla="*/ 9 h 148"/>
                <a:gd name="T22" fmla="*/ 95 w 173"/>
                <a:gd name="T23" fmla="*/ 4 h 148"/>
                <a:gd name="T24" fmla="*/ 91 w 173"/>
                <a:gd name="T25" fmla="*/ 3 h 148"/>
                <a:gd name="T26" fmla="*/ 72 w 173"/>
                <a:gd name="T27" fmla="*/ 0 h 148"/>
                <a:gd name="T28" fmla="*/ 68 w 173"/>
                <a:gd name="T29" fmla="*/ 6 h 148"/>
                <a:gd name="T30" fmla="*/ 56 w 173"/>
                <a:gd name="T31" fmla="*/ 22 h 148"/>
                <a:gd name="T32" fmla="*/ 49 w 173"/>
                <a:gd name="T33" fmla="*/ 39 h 148"/>
                <a:gd name="T34" fmla="*/ 47 w 173"/>
                <a:gd name="T35" fmla="*/ 42 h 148"/>
                <a:gd name="T36" fmla="*/ 31 w 173"/>
                <a:gd name="T37" fmla="*/ 55 h 148"/>
                <a:gd name="T38" fmla="*/ 0 w 173"/>
                <a:gd name="T39" fmla="*/ 78 h 148"/>
                <a:gd name="T40" fmla="*/ 13 w 173"/>
                <a:gd name="T41" fmla="*/ 100 h 148"/>
                <a:gd name="T42" fmla="*/ 50 w 173"/>
                <a:gd name="T43" fmla="*/ 108 h 148"/>
                <a:gd name="T44" fmla="*/ 78 w 173"/>
                <a:gd name="T45" fmla="*/ 116 h 148"/>
                <a:gd name="T46" fmla="*/ 82 w 173"/>
                <a:gd name="T47" fmla="*/ 120 h 148"/>
                <a:gd name="T48" fmla="*/ 89 w 173"/>
                <a:gd name="T49" fmla="*/ 133 h 148"/>
                <a:gd name="T50" fmla="*/ 92 w 173"/>
                <a:gd name="T51" fmla="*/ 137 h 148"/>
                <a:gd name="T52" fmla="*/ 131 w 173"/>
                <a:gd name="T53" fmla="*/ 148 h 148"/>
                <a:gd name="T54" fmla="*/ 143 w 173"/>
                <a:gd name="T55" fmla="*/ 137 h 148"/>
                <a:gd name="T56" fmla="*/ 160 w 173"/>
                <a:gd name="T57" fmla="*/ 139 h 148"/>
                <a:gd name="T58" fmla="*/ 160 w 173"/>
                <a:gd name="T59" fmla="*/ 136 h 148"/>
                <a:gd name="T60" fmla="*/ 165 w 173"/>
                <a:gd name="T61" fmla="*/ 135 h 148"/>
                <a:gd name="T62" fmla="*/ 172 w 173"/>
                <a:gd name="T63" fmla="*/ 133 h 148"/>
                <a:gd name="T64" fmla="*/ 173 w 173"/>
                <a:gd name="T65" fmla="*/ 133 h 148"/>
                <a:gd name="T66" fmla="*/ 163 w 173"/>
                <a:gd name="T67" fmla="*/ 116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3" h="148">
                  <a:moveTo>
                    <a:pt x="163" y="116"/>
                  </a:moveTo>
                  <a:lnTo>
                    <a:pt x="163" y="116"/>
                  </a:lnTo>
                  <a:lnTo>
                    <a:pt x="165" y="107"/>
                  </a:lnTo>
                  <a:lnTo>
                    <a:pt x="165" y="101"/>
                  </a:lnTo>
                  <a:lnTo>
                    <a:pt x="162" y="97"/>
                  </a:lnTo>
                  <a:lnTo>
                    <a:pt x="162" y="97"/>
                  </a:lnTo>
                  <a:lnTo>
                    <a:pt x="139" y="71"/>
                  </a:lnTo>
                  <a:lnTo>
                    <a:pt x="126" y="55"/>
                  </a:lnTo>
                  <a:lnTo>
                    <a:pt x="121" y="48"/>
                  </a:lnTo>
                  <a:lnTo>
                    <a:pt x="120" y="45"/>
                  </a:lnTo>
                  <a:lnTo>
                    <a:pt x="120" y="45"/>
                  </a:lnTo>
                  <a:lnTo>
                    <a:pt x="123" y="40"/>
                  </a:lnTo>
                  <a:lnTo>
                    <a:pt x="127" y="36"/>
                  </a:lnTo>
                  <a:lnTo>
                    <a:pt x="130" y="32"/>
                  </a:lnTo>
                  <a:lnTo>
                    <a:pt x="131" y="29"/>
                  </a:lnTo>
                  <a:lnTo>
                    <a:pt x="131" y="27"/>
                  </a:lnTo>
                  <a:lnTo>
                    <a:pt x="131" y="27"/>
                  </a:lnTo>
                  <a:lnTo>
                    <a:pt x="126" y="22"/>
                  </a:lnTo>
                  <a:lnTo>
                    <a:pt x="118" y="11"/>
                  </a:lnTo>
                  <a:lnTo>
                    <a:pt x="118" y="11"/>
                  </a:lnTo>
                  <a:lnTo>
                    <a:pt x="108" y="9"/>
                  </a:lnTo>
                  <a:lnTo>
                    <a:pt x="108" y="9"/>
                  </a:lnTo>
                  <a:lnTo>
                    <a:pt x="100" y="7"/>
                  </a:lnTo>
                  <a:lnTo>
                    <a:pt x="95" y="4"/>
                  </a:lnTo>
                  <a:lnTo>
                    <a:pt x="91" y="3"/>
                  </a:lnTo>
                  <a:lnTo>
                    <a:pt x="91" y="3"/>
                  </a:lnTo>
                  <a:lnTo>
                    <a:pt x="85" y="1"/>
                  </a:lnTo>
                  <a:lnTo>
                    <a:pt x="72" y="0"/>
                  </a:lnTo>
                  <a:lnTo>
                    <a:pt x="72" y="0"/>
                  </a:lnTo>
                  <a:lnTo>
                    <a:pt x="68" y="6"/>
                  </a:lnTo>
                  <a:lnTo>
                    <a:pt x="63" y="10"/>
                  </a:lnTo>
                  <a:lnTo>
                    <a:pt x="56" y="22"/>
                  </a:lnTo>
                  <a:lnTo>
                    <a:pt x="50" y="33"/>
                  </a:lnTo>
                  <a:lnTo>
                    <a:pt x="49" y="39"/>
                  </a:lnTo>
                  <a:lnTo>
                    <a:pt x="49" y="39"/>
                  </a:lnTo>
                  <a:lnTo>
                    <a:pt x="47" y="42"/>
                  </a:lnTo>
                  <a:lnTo>
                    <a:pt x="45" y="45"/>
                  </a:lnTo>
                  <a:lnTo>
                    <a:pt x="31" y="55"/>
                  </a:lnTo>
                  <a:lnTo>
                    <a:pt x="0" y="78"/>
                  </a:lnTo>
                  <a:lnTo>
                    <a:pt x="0" y="78"/>
                  </a:lnTo>
                  <a:lnTo>
                    <a:pt x="13" y="100"/>
                  </a:lnTo>
                  <a:lnTo>
                    <a:pt x="13" y="100"/>
                  </a:lnTo>
                  <a:lnTo>
                    <a:pt x="31" y="104"/>
                  </a:lnTo>
                  <a:lnTo>
                    <a:pt x="50" y="108"/>
                  </a:lnTo>
                  <a:lnTo>
                    <a:pt x="68" y="113"/>
                  </a:lnTo>
                  <a:lnTo>
                    <a:pt x="78" y="116"/>
                  </a:lnTo>
                  <a:lnTo>
                    <a:pt x="78" y="116"/>
                  </a:lnTo>
                  <a:lnTo>
                    <a:pt x="82" y="120"/>
                  </a:lnTo>
                  <a:lnTo>
                    <a:pt x="87" y="127"/>
                  </a:lnTo>
                  <a:lnTo>
                    <a:pt x="89" y="133"/>
                  </a:lnTo>
                  <a:lnTo>
                    <a:pt x="92" y="137"/>
                  </a:lnTo>
                  <a:lnTo>
                    <a:pt x="92" y="137"/>
                  </a:lnTo>
                  <a:lnTo>
                    <a:pt x="107" y="142"/>
                  </a:lnTo>
                  <a:lnTo>
                    <a:pt x="131" y="148"/>
                  </a:lnTo>
                  <a:lnTo>
                    <a:pt x="143" y="137"/>
                  </a:lnTo>
                  <a:lnTo>
                    <a:pt x="143" y="137"/>
                  </a:lnTo>
                  <a:lnTo>
                    <a:pt x="160" y="139"/>
                  </a:lnTo>
                  <a:lnTo>
                    <a:pt x="160" y="139"/>
                  </a:lnTo>
                  <a:lnTo>
                    <a:pt x="160" y="136"/>
                  </a:lnTo>
                  <a:lnTo>
                    <a:pt x="160" y="136"/>
                  </a:lnTo>
                  <a:lnTo>
                    <a:pt x="162" y="135"/>
                  </a:lnTo>
                  <a:lnTo>
                    <a:pt x="165" y="135"/>
                  </a:lnTo>
                  <a:lnTo>
                    <a:pt x="172" y="133"/>
                  </a:lnTo>
                  <a:lnTo>
                    <a:pt x="172" y="133"/>
                  </a:lnTo>
                  <a:lnTo>
                    <a:pt x="173" y="133"/>
                  </a:lnTo>
                  <a:lnTo>
                    <a:pt x="173" y="133"/>
                  </a:lnTo>
                  <a:lnTo>
                    <a:pt x="168" y="124"/>
                  </a:lnTo>
                  <a:lnTo>
                    <a:pt x="163" y="1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91" name="Freeform 762"/>
            <p:cNvSpPr>
              <a:spLocks noEditPoints="1"/>
            </p:cNvSpPr>
            <p:nvPr/>
          </p:nvSpPr>
          <p:spPr bwMode="auto">
            <a:xfrm>
              <a:off x="5511801" y="3080179"/>
              <a:ext cx="1042988" cy="554038"/>
            </a:xfrm>
            <a:custGeom>
              <a:avLst/>
              <a:gdLst>
                <a:gd name="T0" fmla="*/ 576 w 657"/>
                <a:gd name="T1" fmla="*/ 124 h 349"/>
                <a:gd name="T2" fmla="*/ 531 w 657"/>
                <a:gd name="T3" fmla="*/ 108 h 349"/>
                <a:gd name="T4" fmla="*/ 476 w 657"/>
                <a:gd name="T5" fmla="*/ 42 h 349"/>
                <a:gd name="T6" fmla="*/ 433 w 657"/>
                <a:gd name="T7" fmla="*/ 59 h 349"/>
                <a:gd name="T8" fmla="*/ 423 w 657"/>
                <a:gd name="T9" fmla="*/ 30 h 349"/>
                <a:gd name="T10" fmla="*/ 385 w 657"/>
                <a:gd name="T11" fmla="*/ 11 h 349"/>
                <a:gd name="T12" fmla="*/ 357 w 657"/>
                <a:gd name="T13" fmla="*/ 1 h 349"/>
                <a:gd name="T14" fmla="*/ 291 w 657"/>
                <a:gd name="T15" fmla="*/ 15 h 349"/>
                <a:gd name="T16" fmla="*/ 253 w 657"/>
                <a:gd name="T17" fmla="*/ 29 h 349"/>
                <a:gd name="T18" fmla="*/ 223 w 657"/>
                <a:gd name="T19" fmla="*/ 75 h 349"/>
                <a:gd name="T20" fmla="*/ 215 w 657"/>
                <a:gd name="T21" fmla="*/ 97 h 349"/>
                <a:gd name="T22" fmla="*/ 181 w 657"/>
                <a:gd name="T23" fmla="*/ 104 h 349"/>
                <a:gd name="T24" fmla="*/ 136 w 657"/>
                <a:gd name="T25" fmla="*/ 94 h 349"/>
                <a:gd name="T26" fmla="*/ 118 w 657"/>
                <a:gd name="T27" fmla="*/ 102 h 349"/>
                <a:gd name="T28" fmla="*/ 75 w 657"/>
                <a:gd name="T29" fmla="*/ 82 h 349"/>
                <a:gd name="T30" fmla="*/ 52 w 657"/>
                <a:gd name="T31" fmla="*/ 105 h 349"/>
                <a:gd name="T32" fmla="*/ 11 w 657"/>
                <a:gd name="T33" fmla="*/ 134 h 349"/>
                <a:gd name="T34" fmla="*/ 8 w 657"/>
                <a:gd name="T35" fmla="*/ 185 h 349"/>
                <a:gd name="T36" fmla="*/ 26 w 657"/>
                <a:gd name="T37" fmla="*/ 211 h 349"/>
                <a:gd name="T38" fmla="*/ 58 w 657"/>
                <a:gd name="T39" fmla="*/ 208 h 349"/>
                <a:gd name="T40" fmla="*/ 102 w 657"/>
                <a:gd name="T41" fmla="*/ 211 h 349"/>
                <a:gd name="T42" fmla="*/ 91 w 657"/>
                <a:gd name="T43" fmla="*/ 243 h 349"/>
                <a:gd name="T44" fmla="*/ 72 w 657"/>
                <a:gd name="T45" fmla="*/ 257 h 349"/>
                <a:gd name="T46" fmla="*/ 63 w 657"/>
                <a:gd name="T47" fmla="*/ 265 h 349"/>
                <a:gd name="T48" fmla="*/ 69 w 657"/>
                <a:gd name="T49" fmla="*/ 278 h 349"/>
                <a:gd name="T50" fmla="*/ 85 w 657"/>
                <a:gd name="T51" fmla="*/ 304 h 349"/>
                <a:gd name="T52" fmla="*/ 91 w 657"/>
                <a:gd name="T53" fmla="*/ 325 h 349"/>
                <a:gd name="T54" fmla="*/ 101 w 657"/>
                <a:gd name="T55" fmla="*/ 323 h 349"/>
                <a:gd name="T56" fmla="*/ 116 w 657"/>
                <a:gd name="T57" fmla="*/ 315 h 349"/>
                <a:gd name="T58" fmla="*/ 137 w 657"/>
                <a:gd name="T59" fmla="*/ 333 h 349"/>
                <a:gd name="T60" fmla="*/ 195 w 657"/>
                <a:gd name="T61" fmla="*/ 228 h 349"/>
                <a:gd name="T62" fmla="*/ 205 w 657"/>
                <a:gd name="T63" fmla="*/ 221 h 349"/>
                <a:gd name="T64" fmla="*/ 217 w 657"/>
                <a:gd name="T65" fmla="*/ 218 h 349"/>
                <a:gd name="T66" fmla="*/ 226 w 657"/>
                <a:gd name="T67" fmla="*/ 228 h 349"/>
                <a:gd name="T68" fmla="*/ 228 w 657"/>
                <a:gd name="T69" fmla="*/ 275 h 349"/>
                <a:gd name="T70" fmla="*/ 269 w 657"/>
                <a:gd name="T71" fmla="*/ 288 h 349"/>
                <a:gd name="T72" fmla="*/ 291 w 657"/>
                <a:gd name="T73" fmla="*/ 310 h 349"/>
                <a:gd name="T74" fmla="*/ 294 w 657"/>
                <a:gd name="T75" fmla="*/ 331 h 349"/>
                <a:gd name="T76" fmla="*/ 324 w 657"/>
                <a:gd name="T77" fmla="*/ 349 h 349"/>
                <a:gd name="T78" fmla="*/ 346 w 657"/>
                <a:gd name="T79" fmla="*/ 330 h 349"/>
                <a:gd name="T80" fmla="*/ 389 w 657"/>
                <a:gd name="T81" fmla="*/ 311 h 349"/>
                <a:gd name="T82" fmla="*/ 444 w 657"/>
                <a:gd name="T83" fmla="*/ 292 h 349"/>
                <a:gd name="T84" fmla="*/ 537 w 657"/>
                <a:gd name="T85" fmla="*/ 311 h 349"/>
                <a:gd name="T86" fmla="*/ 541 w 657"/>
                <a:gd name="T87" fmla="*/ 272 h 349"/>
                <a:gd name="T88" fmla="*/ 551 w 657"/>
                <a:gd name="T89" fmla="*/ 247 h 349"/>
                <a:gd name="T90" fmla="*/ 573 w 657"/>
                <a:gd name="T91" fmla="*/ 236 h 349"/>
                <a:gd name="T92" fmla="*/ 580 w 657"/>
                <a:gd name="T93" fmla="*/ 210 h 349"/>
                <a:gd name="T94" fmla="*/ 620 w 657"/>
                <a:gd name="T95" fmla="*/ 207 h 349"/>
                <a:gd name="T96" fmla="*/ 630 w 657"/>
                <a:gd name="T97" fmla="*/ 176 h 349"/>
                <a:gd name="T98" fmla="*/ 657 w 657"/>
                <a:gd name="T99" fmla="*/ 155 h 349"/>
                <a:gd name="T100" fmla="*/ 494 w 657"/>
                <a:gd name="T101" fmla="*/ 227 h 349"/>
                <a:gd name="T102" fmla="*/ 452 w 657"/>
                <a:gd name="T103" fmla="*/ 237 h 349"/>
                <a:gd name="T104" fmla="*/ 441 w 657"/>
                <a:gd name="T105" fmla="*/ 256 h 349"/>
                <a:gd name="T106" fmla="*/ 433 w 657"/>
                <a:gd name="T107" fmla="*/ 234 h 349"/>
                <a:gd name="T108" fmla="*/ 454 w 657"/>
                <a:gd name="T109" fmla="*/ 217 h 349"/>
                <a:gd name="T110" fmla="*/ 512 w 657"/>
                <a:gd name="T111" fmla="*/ 218 h 349"/>
                <a:gd name="T112" fmla="*/ 598 w 657"/>
                <a:gd name="T113" fmla="*/ 195 h 349"/>
                <a:gd name="T114" fmla="*/ 585 w 657"/>
                <a:gd name="T115" fmla="*/ 170 h 349"/>
                <a:gd name="T116" fmla="*/ 602 w 657"/>
                <a:gd name="T117" fmla="*/ 184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57" h="349">
                  <a:moveTo>
                    <a:pt x="656" y="153"/>
                  </a:moveTo>
                  <a:lnTo>
                    <a:pt x="656" y="153"/>
                  </a:lnTo>
                  <a:lnTo>
                    <a:pt x="643" y="146"/>
                  </a:lnTo>
                  <a:lnTo>
                    <a:pt x="622" y="136"/>
                  </a:lnTo>
                  <a:lnTo>
                    <a:pt x="601" y="127"/>
                  </a:lnTo>
                  <a:lnTo>
                    <a:pt x="593" y="124"/>
                  </a:lnTo>
                  <a:lnTo>
                    <a:pt x="588" y="123"/>
                  </a:lnTo>
                  <a:lnTo>
                    <a:pt x="588" y="123"/>
                  </a:lnTo>
                  <a:lnTo>
                    <a:pt x="576" y="124"/>
                  </a:lnTo>
                  <a:lnTo>
                    <a:pt x="570" y="124"/>
                  </a:lnTo>
                  <a:lnTo>
                    <a:pt x="564" y="121"/>
                  </a:lnTo>
                  <a:lnTo>
                    <a:pt x="564" y="121"/>
                  </a:lnTo>
                  <a:lnTo>
                    <a:pt x="554" y="114"/>
                  </a:lnTo>
                  <a:lnTo>
                    <a:pt x="550" y="111"/>
                  </a:lnTo>
                  <a:lnTo>
                    <a:pt x="546" y="110"/>
                  </a:lnTo>
                  <a:lnTo>
                    <a:pt x="546" y="110"/>
                  </a:lnTo>
                  <a:lnTo>
                    <a:pt x="538" y="110"/>
                  </a:lnTo>
                  <a:lnTo>
                    <a:pt x="531" y="108"/>
                  </a:lnTo>
                  <a:lnTo>
                    <a:pt x="525" y="104"/>
                  </a:lnTo>
                  <a:lnTo>
                    <a:pt x="522" y="102"/>
                  </a:lnTo>
                  <a:lnTo>
                    <a:pt x="520" y="98"/>
                  </a:lnTo>
                  <a:lnTo>
                    <a:pt x="520" y="98"/>
                  </a:lnTo>
                  <a:lnTo>
                    <a:pt x="512" y="85"/>
                  </a:lnTo>
                  <a:lnTo>
                    <a:pt x="501" y="66"/>
                  </a:lnTo>
                  <a:lnTo>
                    <a:pt x="486" y="49"/>
                  </a:lnTo>
                  <a:lnTo>
                    <a:pt x="480" y="43"/>
                  </a:lnTo>
                  <a:lnTo>
                    <a:pt x="476" y="42"/>
                  </a:lnTo>
                  <a:lnTo>
                    <a:pt x="476" y="42"/>
                  </a:lnTo>
                  <a:lnTo>
                    <a:pt x="472" y="43"/>
                  </a:lnTo>
                  <a:lnTo>
                    <a:pt x="466" y="44"/>
                  </a:lnTo>
                  <a:lnTo>
                    <a:pt x="456" y="53"/>
                  </a:lnTo>
                  <a:lnTo>
                    <a:pt x="447" y="60"/>
                  </a:lnTo>
                  <a:lnTo>
                    <a:pt x="443" y="62"/>
                  </a:lnTo>
                  <a:lnTo>
                    <a:pt x="438" y="62"/>
                  </a:lnTo>
                  <a:lnTo>
                    <a:pt x="438" y="62"/>
                  </a:lnTo>
                  <a:lnTo>
                    <a:pt x="433" y="59"/>
                  </a:lnTo>
                  <a:lnTo>
                    <a:pt x="427" y="53"/>
                  </a:lnTo>
                  <a:lnTo>
                    <a:pt x="424" y="49"/>
                  </a:lnTo>
                  <a:lnTo>
                    <a:pt x="423" y="46"/>
                  </a:lnTo>
                  <a:lnTo>
                    <a:pt x="423" y="43"/>
                  </a:lnTo>
                  <a:lnTo>
                    <a:pt x="423" y="43"/>
                  </a:lnTo>
                  <a:lnTo>
                    <a:pt x="424" y="36"/>
                  </a:lnTo>
                  <a:lnTo>
                    <a:pt x="424" y="33"/>
                  </a:lnTo>
                  <a:lnTo>
                    <a:pt x="423" y="30"/>
                  </a:lnTo>
                  <a:lnTo>
                    <a:pt x="423" y="30"/>
                  </a:lnTo>
                  <a:lnTo>
                    <a:pt x="420" y="29"/>
                  </a:lnTo>
                  <a:lnTo>
                    <a:pt x="415" y="27"/>
                  </a:lnTo>
                  <a:lnTo>
                    <a:pt x="402" y="27"/>
                  </a:lnTo>
                  <a:lnTo>
                    <a:pt x="391" y="26"/>
                  </a:lnTo>
                  <a:lnTo>
                    <a:pt x="386" y="26"/>
                  </a:lnTo>
                  <a:lnTo>
                    <a:pt x="383" y="24"/>
                  </a:lnTo>
                  <a:lnTo>
                    <a:pt x="383" y="24"/>
                  </a:lnTo>
                  <a:lnTo>
                    <a:pt x="383" y="18"/>
                  </a:lnTo>
                  <a:lnTo>
                    <a:pt x="385" y="11"/>
                  </a:lnTo>
                  <a:lnTo>
                    <a:pt x="385" y="5"/>
                  </a:lnTo>
                  <a:lnTo>
                    <a:pt x="385" y="2"/>
                  </a:lnTo>
                  <a:lnTo>
                    <a:pt x="383" y="2"/>
                  </a:lnTo>
                  <a:lnTo>
                    <a:pt x="383" y="2"/>
                  </a:lnTo>
                  <a:lnTo>
                    <a:pt x="376" y="4"/>
                  </a:lnTo>
                  <a:lnTo>
                    <a:pt x="373" y="4"/>
                  </a:lnTo>
                  <a:lnTo>
                    <a:pt x="368" y="4"/>
                  </a:lnTo>
                  <a:lnTo>
                    <a:pt x="368" y="4"/>
                  </a:lnTo>
                  <a:lnTo>
                    <a:pt x="357" y="1"/>
                  </a:lnTo>
                  <a:lnTo>
                    <a:pt x="354" y="1"/>
                  </a:lnTo>
                  <a:lnTo>
                    <a:pt x="352" y="0"/>
                  </a:lnTo>
                  <a:lnTo>
                    <a:pt x="352" y="0"/>
                  </a:lnTo>
                  <a:lnTo>
                    <a:pt x="331" y="8"/>
                  </a:lnTo>
                  <a:lnTo>
                    <a:pt x="318" y="13"/>
                  </a:lnTo>
                  <a:lnTo>
                    <a:pt x="310" y="15"/>
                  </a:lnTo>
                  <a:lnTo>
                    <a:pt x="310" y="15"/>
                  </a:lnTo>
                  <a:lnTo>
                    <a:pt x="297" y="15"/>
                  </a:lnTo>
                  <a:lnTo>
                    <a:pt x="291" y="15"/>
                  </a:lnTo>
                  <a:lnTo>
                    <a:pt x="286" y="17"/>
                  </a:lnTo>
                  <a:lnTo>
                    <a:pt x="286" y="17"/>
                  </a:lnTo>
                  <a:lnTo>
                    <a:pt x="285" y="20"/>
                  </a:lnTo>
                  <a:lnTo>
                    <a:pt x="284" y="21"/>
                  </a:lnTo>
                  <a:lnTo>
                    <a:pt x="281" y="21"/>
                  </a:lnTo>
                  <a:lnTo>
                    <a:pt x="281" y="21"/>
                  </a:lnTo>
                  <a:lnTo>
                    <a:pt x="273" y="23"/>
                  </a:lnTo>
                  <a:lnTo>
                    <a:pt x="263" y="26"/>
                  </a:lnTo>
                  <a:lnTo>
                    <a:pt x="253" y="29"/>
                  </a:lnTo>
                  <a:lnTo>
                    <a:pt x="247" y="33"/>
                  </a:lnTo>
                  <a:lnTo>
                    <a:pt x="247" y="33"/>
                  </a:lnTo>
                  <a:lnTo>
                    <a:pt x="243" y="40"/>
                  </a:lnTo>
                  <a:lnTo>
                    <a:pt x="240" y="47"/>
                  </a:lnTo>
                  <a:lnTo>
                    <a:pt x="237" y="56"/>
                  </a:lnTo>
                  <a:lnTo>
                    <a:pt x="234" y="62"/>
                  </a:lnTo>
                  <a:lnTo>
                    <a:pt x="234" y="62"/>
                  </a:lnTo>
                  <a:lnTo>
                    <a:pt x="227" y="71"/>
                  </a:lnTo>
                  <a:lnTo>
                    <a:pt x="223" y="75"/>
                  </a:lnTo>
                  <a:lnTo>
                    <a:pt x="217" y="78"/>
                  </a:lnTo>
                  <a:lnTo>
                    <a:pt x="217" y="78"/>
                  </a:lnTo>
                  <a:lnTo>
                    <a:pt x="211" y="81"/>
                  </a:lnTo>
                  <a:lnTo>
                    <a:pt x="210" y="85"/>
                  </a:lnTo>
                  <a:lnTo>
                    <a:pt x="210" y="88"/>
                  </a:lnTo>
                  <a:lnTo>
                    <a:pt x="211" y="91"/>
                  </a:lnTo>
                  <a:lnTo>
                    <a:pt x="211" y="91"/>
                  </a:lnTo>
                  <a:lnTo>
                    <a:pt x="214" y="94"/>
                  </a:lnTo>
                  <a:lnTo>
                    <a:pt x="215" y="97"/>
                  </a:lnTo>
                  <a:lnTo>
                    <a:pt x="214" y="101"/>
                  </a:lnTo>
                  <a:lnTo>
                    <a:pt x="213" y="102"/>
                  </a:lnTo>
                  <a:lnTo>
                    <a:pt x="213" y="102"/>
                  </a:lnTo>
                  <a:lnTo>
                    <a:pt x="207" y="102"/>
                  </a:lnTo>
                  <a:lnTo>
                    <a:pt x="201" y="101"/>
                  </a:lnTo>
                  <a:lnTo>
                    <a:pt x="191" y="98"/>
                  </a:lnTo>
                  <a:lnTo>
                    <a:pt x="191" y="98"/>
                  </a:lnTo>
                  <a:lnTo>
                    <a:pt x="185" y="102"/>
                  </a:lnTo>
                  <a:lnTo>
                    <a:pt x="181" y="104"/>
                  </a:lnTo>
                  <a:lnTo>
                    <a:pt x="178" y="104"/>
                  </a:lnTo>
                  <a:lnTo>
                    <a:pt x="178" y="104"/>
                  </a:lnTo>
                  <a:lnTo>
                    <a:pt x="163" y="98"/>
                  </a:lnTo>
                  <a:lnTo>
                    <a:pt x="147" y="89"/>
                  </a:lnTo>
                  <a:lnTo>
                    <a:pt x="147" y="89"/>
                  </a:lnTo>
                  <a:lnTo>
                    <a:pt x="143" y="88"/>
                  </a:lnTo>
                  <a:lnTo>
                    <a:pt x="140" y="88"/>
                  </a:lnTo>
                  <a:lnTo>
                    <a:pt x="137" y="91"/>
                  </a:lnTo>
                  <a:lnTo>
                    <a:pt x="136" y="94"/>
                  </a:lnTo>
                  <a:lnTo>
                    <a:pt x="136" y="94"/>
                  </a:lnTo>
                  <a:lnTo>
                    <a:pt x="136" y="98"/>
                  </a:lnTo>
                  <a:lnTo>
                    <a:pt x="134" y="102"/>
                  </a:lnTo>
                  <a:lnTo>
                    <a:pt x="131" y="105"/>
                  </a:lnTo>
                  <a:lnTo>
                    <a:pt x="130" y="107"/>
                  </a:lnTo>
                  <a:lnTo>
                    <a:pt x="126" y="107"/>
                  </a:lnTo>
                  <a:lnTo>
                    <a:pt x="126" y="107"/>
                  </a:lnTo>
                  <a:lnTo>
                    <a:pt x="123" y="107"/>
                  </a:lnTo>
                  <a:lnTo>
                    <a:pt x="118" y="102"/>
                  </a:lnTo>
                  <a:lnTo>
                    <a:pt x="111" y="94"/>
                  </a:lnTo>
                  <a:lnTo>
                    <a:pt x="100" y="78"/>
                  </a:lnTo>
                  <a:lnTo>
                    <a:pt x="100" y="78"/>
                  </a:lnTo>
                  <a:lnTo>
                    <a:pt x="98" y="78"/>
                  </a:lnTo>
                  <a:lnTo>
                    <a:pt x="95" y="81"/>
                  </a:lnTo>
                  <a:lnTo>
                    <a:pt x="91" y="82"/>
                  </a:lnTo>
                  <a:lnTo>
                    <a:pt x="87" y="84"/>
                  </a:lnTo>
                  <a:lnTo>
                    <a:pt x="87" y="84"/>
                  </a:lnTo>
                  <a:lnTo>
                    <a:pt x="75" y="82"/>
                  </a:lnTo>
                  <a:lnTo>
                    <a:pt x="69" y="82"/>
                  </a:lnTo>
                  <a:lnTo>
                    <a:pt x="65" y="84"/>
                  </a:lnTo>
                  <a:lnTo>
                    <a:pt x="65" y="84"/>
                  </a:lnTo>
                  <a:lnTo>
                    <a:pt x="63" y="88"/>
                  </a:lnTo>
                  <a:lnTo>
                    <a:pt x="60" y="95"/>
                  </a:lnTo>
                  <a:lnTo>
                    <a:pt x="56" y="102"/>
                  </a:lnTo>
                  <a:lnTo>
                    <a:pt x="55" y="104"/>
                  </a:lnTo>
                  <a:lnTo>
                    <a:pt x="52" y="105"/>
                  </a:lnTo>
                  <a:lnTo>
                    <a:pt x="52" y="105"/>
                  </a:lnTo>
                  <a:lnTo>
                    <a:pt x="36" y="107"/>
                  </a:lnTo>
                  <a:lnTo>
                    <a:pt x="27" y="107"/>
                  </a:lnTo>
                  <a:lnTo>
                    <a:pt x="23" y="108"/>
                  </a:lnTo>
                  <a:lnTo>
                    <a:pt x="23" y="108"/>
                  </a:lnTo>
                  <a:lnTo>
                    <a:pt x="20" y="113"/>
                  </a:lnTo>
                  <a:lnTo>
                    <a:pt x="18" y="118"/>
                  </a:lnTo>
                  <a:lnTo>
                    <a:pt x="17" y="126"/>
                  </a:lnTo>
                  <a:lnTo>
                    <a:pt x="17" y="126"/>
                  </a:lnTo>
                  <a:lnTo>
                    <a:pt x="11" y="134"/>
                  </a:lnTo>
                  <a:lnTo>
                    <a:pt x="7" y="142"/>
                  </a:lnTo>
                  <a:lnTo>
                    <a:pt x="3" y="149"/>
                  </a:lnTo>
                  <a:lnTo>
                    <a:pt x="3" y="149"/>
                  </a:lnTo>
                  <a:lnTo>
                    <a:pt x="1" y="156"/>
                  </a:lnTo>
                  <a:lnTo>
                    <a:pt x="0" y="163"/>
                  </a:lnTo>
                  <a:lnTo>
                    <a:pt x="0" y="169"/>
                  </a:lnTo>
                  <a:lnTo>
                    <a:pt x="1" y="175"/>
                  </a:lnTo>
                  <a:lnTo>
                    <a:pt x="1" y="175"/>
                  </a:lnTo>
                  <a:lnTo>
                    <a:pt x="8" y="185"/>
                  </a:lnTo>
                  <a:lnTo>
                    <a:pt x="13" y="189"/>
                  </a:lnTo>
                  <a:lnTo>
                    <a:pt x="18" y="191"/>
                  </a:lnTo>
                  <a:lnTo>
                    <a:pt x="18" y="191"/>
                  </a:lnTo>
                  <a:lnTo>
                    <a:pt x="27" y="194"/>
                  </a:lnTo>
                  <a:lnTo>
                    <a:pt x="29" y="194"/>
                  </a:lnTo>
                  <a:lnTo>
                    <a:pt x="29" y="197"/>
                  </a:lnTo>
                  <a:lnTo>
                    <a:pt x="29" y="197"/>
                  </a:lnTo>
                  <a:lnTo>
                    <a:pt x="27" y="207"/>
                  </a:lnTo>
                  <a:lnTo>
                    <a:pt x="26" y="211"/>
                  </a:lnTo>
                  <a:lnTo>
                    <a:pt x="27" y="214"/>
                  </a:lnTo>
                  <a:lnTo>
                    <a:pt x="27" y="214"/>
                  </a:lnTo>
                  <a:lnTo>
                    <a:pt x="33" y="221"/>
                  </a:lnTo>
                  <a:lnTo>
                    <a:pt x="33" y="221"/>
                  </a:lnTo>
                  <a:lnTo>
                    <a:pt x="40" y="218"/>
                  </a:lnTo>
                  <a:lnTo>
                    <a:pt x="40" y="218"/>
                  </a:lnTo>
                  <a:lnTo>
                    <a:pt x="47" y="214"/>
                  </a:lnTo>
                  <a:lnTo>
                    <a:pt x="53" y="210"/>
                  </a:lnTo>
                  <a:lnTo>
                    <a:pt x="58" y="208"/>
                  </a:lnTo>
                  <a:lnTo>
                    <a:pt x="58" y="208"/>
                  </a:lnTo>
                  <a:lnTo>
                    <a:pt x="68" y="205"/>
                  </a:lnTo>
                  <a:lnTo>
                    <a:pt x="78" y="205"/>
                  </a:lnTo>
                  <a:lnTo>
                    <a:pt x="78" y="205"/>
                  </a:lnTo>
                  <a:lnTo>
                    <a:pt x="89" y="205"/>
                  </a:lnTo>
                  <a:lnTo>
                    <a:pt x="94" y="205"/>
                  </a:lnTo>
                  <a:lnTo>
                    <a:pt x="98" y="207"/>
                  </a:lnTo>
                  <a:lnTo>
                    <a:pt x="98" y="207"/>
                  </a:lnTo>
                  <a:lnTo>
                    <a:pt x="102" y="211"/>
                  </a:lnTo>
                  <a:lnTo>
                    <a:pt x="104" y="215"/>
                  </a:lnTo>
                  <a:lnTo>
                    <a:pt x="105" y="220"/>
                  </a:lnTo>
                  <a:lnTo>
                    <a:pt x="104" y="224"/>
                  </a:lnTo>
                  <a:lnTo>
                    <a:pt x="104" y="224"/>
                  </a:lnTo>
                  <a:lnTo>
                    <a:pt x="100" y="233"/>
                  </a:lnTo>
                  <a:lnTo>
                    <a:pt x="95" y="240"/>
                  </a:lnTo>
                  <a:lnTo>
                    <a:pt x="95" y="240"/>
                  </a:lnTo>
                  <a:lnTo>
                    <a:pt x="94" y="241"/>
                  </a:lnTo>
                  <a:lnTo>
                    <a:pt x="91" y="243"/>
                  </a:lnTo>
                  <a:lnTo>
                    <a:pt x="84" y="244"/>
                  </a:lnTo>
                  <a:lnTo>
                    <a:pt x="84" y="244"/>
                  </a:lnTo>
                  <a:lnTo>
                    <a:pt x="76" y="243"/>
                  </a:lnTo>
                  <a:lnTo>
                    <a:pt x="74" y="243"/>
                  </a:lnTo>
                  <a:lnTo>
                    <a:pt x="72" y="246"/>
                  </a:lnTo>
                  <a:lnTo>
                    <a:pt x="72" y="246"/>
                  </a:lnTo>
                  <a:lnTo>
                    <a:pt x="71" y="249"/>
                  </a:lnTo>
                  <a:lnTo>
                    <a:pt x="72" y="253"/>
                  </a:lnTo>
                  <a:lnTo>
                    <a:pt x="72" y="257"/>
                  </a:lnTo>
                  <a:lnTo>
                    <a:pt x="71" y="259"/>
                  </a:lnTo>
                  <a:lnTo>
                    <a:pt x="71" y="259"/>
                  </a:lnTo>
                  <a:lnTo>
                    <a:pt x="69" y="259"/>
                  </a:lnTo>
                  <a:lnTo>
                    <a:pt x="69" y="262"/>
                  </a:lnTo>
                  <a:lnTo>
                    <a:pt x="71" y="265"/>
                  </a:lnTo>
                  <a:lnTo>
                    <a:pt x="69" y="266"/>
                  </a:lnTo>
                  <a:lnTo>
                    <a:pt x="69" y="266"/>
                  </a:lnTo>
                  <a:lnTo>
                    <a:pt x="66" y="265"/>
                  </a:lnTo>
                  <a:lnTo>
                    <a:pt x="63" y="265"/>
                  </a:lnTo>
                  <a:lnTo>
                    <a:pt x="60" y="263"/>
                  </a:lnTo>
                  <a:lnTo>
                    <a:pt x="59" y="266"/>
                  </a:lnTo>
                  <a:lnTo>
                    <a:pt x="59" y="266"/>
                  </a:lnTo>
                  <a:lnTo>
                    <a:pt x="58" y="269"/>
                  </a:lnTo>
                  <a:lnTo>
                    <a:pt x="62" y="272"/>
                  </a:lnTo>
                  <a:lnTo>
                    <a:pt x="62" y="272"/>
                  </a:lnTo>
                  <a:lnTo>
                    <a:pt x="65" y="273"/>
                  </a:lnTo>
                  <a:lnTo>
                    <a:pt x="66" y="275"/>
                  </a:lnTo>
                  <a:lnTo>
                    <a:pt x="69" y="278"/>
                  </a:lnTo>
                  <a:lnTo>
                    <a:pt x="69" y="283"/>
                  </a:lnTo>
                  <a:lnTo>
                    <a:pt x="69" y="283"/>
                  </a:lnTo>
                  <a:lnTo>
                    <a:pt x="72" y="291"/>
                  </a:lnTo>
                  <a:lnTo>
                    <a:pt x="74" y="294"/>
                  </a:lnTo>
                  <a:lnTo>
                    <a:pt x="76" y="294"/>
                  </a:lnTo>
                  <a:lnTo>
                    <a:pt x="76" y="294"/>
                  </a:lnTo>
                  <a:lnTo>
                    <a:pt x="81" y="298"/>
                  </a:lnTo>
                  <a:lnTo>
                    <a:pt x="85" y="304"/>
                  </a:lnTo>
                  <a:lnTo>
                    <a:pt x="85" y="304"/>
                  </a:lnTo>
                  <a:lnTo>
                    <a:pt x="87" y="305"/>
                  </a:lnTo>
                  <a:lnTo>
                    <a:pt x="88" y="305"/>
                  </a:lnTo>
                  <a:lnTo>
                    <a:pt x="89" y="305"/>
                  </a:lnTo>
                  <a:lnTo>
                    <a:pt x="89" y="307"/>
                  </a:lnTo>
                  <a:lnTo>
                    <a:pt x="89" y="307"/>
                  </a:lnTo>
                  <a:lnTo>
                    <a:pt x="89" y="317"/>
                  </a:lnTo>
                  <a:lnTo>
                    <a:pt x="89" y="323"/>
                  </a:lnTo>
                  <a:lnTo>
                    <a:pt x="91" y="325"/>
                  </a:lnTo>
                  <a:lnTo>
                    <a:pt x="91" y="325"/>
                  </a:lnTo>
                  <a:lnTo>
                    <a:pt x="95" y="333"/>
                  </a:lnTo>
                  <a:lnTo>
                    <a:pt x="97" y="334"/>
                  </a:lnTo>
                  <a:lnTo>
                    <a:pt x="98" y="336"/>
                  </a:lnTo>
                  <a:lnTo>
                    <a:pt x="98" y="334"/>
                  </a:lnTo>
                  <a:lnTo>
                    <a:pt x="98" y="334"/>
                  </a:lnTo>
                  <a:lnTo>
                    <a:pt x="100" y="330"/>
                  </a:lnTo>
                  <a:lnTo>
                    <a:pt x="100" y="327"/>
                  </a:lnTo>
                  <a:lnTo>
                    <a:pt x="101" y="323"/>
                  </a:lnTo>
                  <a:lnTo>
                    <a:pt x="101" y="323"/>
                  </a:lnTo>
                  <a:lnTo>
                    <a:pt x="105" y="318"/>
                  </a:lnTo>
                  <a:lnTo>
                    <a:pt x="107" y="317"/>
                  </a:lnTo>
                  <a:lnTo>
                    <a:pt x="110" y="318"/>
                  </a:lnTo>
                  <a:lnTo>
                    <a:pt x="110" y="318"/>
                  </a:lnTo>
                  <a:lnTo>
                    <a:pt x="111" y="318"/>
                  </a:lnTo>
                  <a:lnTo>
                    <a:pt x="114" y="317"/>
                  </a:lnTo>
                  <a:lnTo>
                    <a:pt x="116" y="315"/>
                  </a:lnTo>
                  <a:lnTo>
                    <a:pt x="116" y="315"/>
                  </a:lnTo>
                  <a:lnTo>
                    <a:pt x="116" y="315"/>
                  </a:lnTo>
                  <a:lnTo>
                    <a:pt x="116" y="317"/>
                  </a:lnTo>
                  <a:lnTo>
                    <a:pt x="116" y="317"/>
                  </a:lnTo>
                  <a:lnTo>
                    <a:pt x="118" y="315"/>
                  </a:lnTo>
                  <a:lnTo>
                    <a:pt x="120" y="314"/>
                  </a:lnTo>
                  <a:lnTo>
                    <a:pt x="120" y="314"/>
                  </a:lnTo>
                  <a:lnTo>
                    <a:pt x="124" y="317"/>
                  </a:lnTo>
                  <a:lnTo>
                    <a:pt x="129" y="323"/>
                  </a:lnTo>
                  <a:lnTo>
                    <a:pt x="137" y="333"/>
                  </a:lnTo>
                  <a:lnTo>
                    <a:pt x="137" y="333"/>
                  </a:lnTo>
                  <a:lnTo>
                    <a:pt x="142" y="337"/>
                  </a:lnTo>
                  <a:lnTo>
                    <a:pt x="150" y="341"/>
                  </a:lnTo>
                  <a:lnTo>
                    <a:pt x="149" y="253"/>
                  </a:lnTo>
                  <a:lnTo>
                    <a:pt x="188" y="240"/>
                  </a:lnTo>
                  <a:lnTo>
                    <a:pt x="188" y="240"/>
                  </a:lnTo>
                  <a:lnTo>
                    <a:pt x="191" y="233"/>
                  </a:lnTo>
                  <a:lnTo>
                    <a:pt x="192" y="230"/>
                  </a:lnTo>
                  <a:lnTo>
                    <a:pt x="195" y="228"/>
                  </a:lnTo>
                  <a:lnTo>
                    <a:pt x="195" y="228"/>
                  </a:lnTo>
                  <a:lnTo>
                    <a:pt x="197" y="230"/>
                  </a:lnTo>
                  <a:lnTo>
                    <a:pt x="198" y="231"/>
                  </a:lnTo>
                  <a:lnTo>
                    <a:pt x="200" y="231"/>
                  </a:lnTo>
                  <a:lnTo>
                    <a:pt x="201" y="231"/>
                  </a:lnTo>
                  <a:lnTo>
                    <a:pt x="201" y="231"/>
                  </a:lnTo>
                  <a:lnTo>
                    <a:pt x="202" y="227"/>
                  </a:lnTo>
                  <a:lnTo>
                    <a:pt x="202" y="224"/>
                  </a:lnTo>
                  <a:lnTo>
                    <a:pt x="204" y="223"/>
                  </a:lnTo>
                  <a:lnTo>
                    <a:pt x="205" y="221"/>
                  </a:lnTo>
                  <a:lnTo>
                    <a:pt x="205" y="221"/>
                  </a:lnTo>
                  <a:lnTo>
                    <a:pt x="213" y="224"/>
                  </a:lnTo>
                  <a:lnTo>
                    <a:pt x="215" y="224"/>
                  </a:lnTo>
                  <a:lnTo>
                    <a:pt x="215" y="223"/>
                  </a:lnTo>
                  <a:lnTo>
                    <a:pt x="215" y="223"/>
                  </a:lnTo>
                  <a:lnTo>
                    <a:pt x="213" y="220"/>
                  </a:lnTo>
                  <a:lnTo>
                    <a:pt x="214" y="218"/>
                  </a:lnTo>
                  <a:lnTo>
                    <a:pt x="217" y="218"/>
                  </a:lnTo>
                  <a:lnTo>
                    <a:pt x="217" y="218"/>
                  </a:lnTo>
                  <a:lnTo>
                    <a:pt x="223" y="217"/>
                  </a:lnTo>
                  <a:lnTo>
                    <a:pt x="226" y="217"/>
                  </a:lnTo>
                  <a:lnTo>
                    <a:pt x="227" y="218"/>
                  </a:lnTo>
                  <a:lnTo>
                    <a:pt x="227" y="218"/>
                  </a:lnTo>
                  <a:lnTo>
                    <a:pt x="227" y="220"/>
                  </a:lnTo>
                  <a:lnTo>
                    <a:pt x="226" y="221"/>
                  </a:lnTo>
                  <a:lnTo>
                    <a:pt x="224" y="224"/>
                  </a:lnTo>
                  <a:lnTo>
                    <a:pt x="226" y="228"/>
                  </a:lnTo>
                  <a:lnTo>
                    <a:pt x="226" y="228"/>
                  </a:lnTo>
                  <a:lnTo>
                    <a:pt x="228" y="239"/>
                  </a:lnTo>
                  <a:lnTo>
                    <a:pt x="230" y="246"/>
                  </a:lnTo>
                  <a:lnTo>
                    <a:pt x="230" y="246"/>
                  </a:lnTo>
                  <a:lnTo>
                    <a:pt x="228" y="259"/>
                  </a:lnTo>
                  <a:lnTo>
                    <a:pt x="227" y="266"/>
                  </a:lnTo>
                  <a:lnTo>
                    <a:pt x="224" y="270"/>
                  </a:lnTo>
                  <a:lnTo>
                    <a:pt x="224" y="270"/>
                  </a:lnTo>
                  <a:lnTo>
                    <a:pt x="224" y="270"/>
                  </a:lnTo>
                  <a:lnTo>
                    <a:pt x="228" y="275"/>
                  </a:lnTo>
                  <a:lnTo>
                    <a:pt x="233" y="279"/>
                  </a:lnTo>
                  <a:lnTo>
                    <a:pt x="243" y="285"/>
                  </a:lnTo>
                  <a:lnTo>
                    <a:pt x="257" y="291"/>
                  </a:lnTo>
                  <a:lnTo>
                    <a:pt x="257" y="291"/>
                  </a:lnTo>
                  <a:lnTo>
                    <a:pt x="262" y="292"/>
                  </a:lnTo>
                  <a:lnTo>
                    <a:pt x="265" y="292"/>
                  </a:lnTo>
                  <a:lnTo>
                    <a:pt x="268" y="291"/>
                  </a:lnTo>
                  <a:lnTo>
                    <a:pt x="269" y="288"/>
                  </a:lnTo>
                  <a:lnTo>
                    <a:pt x="269" y="288"/>
                  </a:lnTo>
                  <a:lnTo>
                    <a:pt x="278" y="281"/>
                  </a:lnTo>
                  <a:lnTo>
                    <a:pt x="282" y="278"/>
                  </a:lnTo>
                  <a:lnTo>
                    <a:pt x="286" y="275"/>
                  </a:lnTo>
                  <a:lnTo>
                    <a:pt x="286" y="275"/>
                  </a:lnTo>
                  <a:lnTo>
                    <a:pt x="286" y="276"/>
                  </a:lnTo>
                  <a:lnTo>
                    <a:pt x="288" y="281"/>
                  </a:lnTo>
                  <a:lnTo>
                    <a:pt x="289" y="291"/>
                  </a:lnTo>
                  <a:lnTo>
                    <a:pt x="291" y="310"/>
                  </a:lnTo>
                  <a:lnTo>
                    <a:pt x="291" y="310"/>
                  </a:lnTo>
                  <a:lnTo>
                    <a:pt x="292" y="312"/>
                  </a:lnTo>
                  <a:lnTo>
                    <a:pt x="295" y="317"/>
                  </a:lnTo>
                  <a:lnTo>
                    <a:pt x="301" y="324"/>
                  </a:lnTo>
                  <a:lnTo>
                    <a:pt x="301" y="324"/>
                  </a:lnTo>
                  <a:lnTo>
                    <a:pt x="301" y="327"/>
                  </a:lnTo>
                  <a:lnTo>
                    <a:pt x="299" y="328"/>
                  </a:lnTo>
                  <a:lnTo>
                    <a:pt x="295" y="330"/>
                  </a:lnTo>
                  <a:lnTo>
                    <a:pt x="294" y="331"/>
                  </a:lnTo>
                  <a:lnTo>
                    <a:pt x="294" y="331"/>
                  </a:lnTo>
                  <a:lnTo>
                    <a:pt x="294" y="331"/>
                  </a:lnTo>
                  <a:lnTo>
                    <a:pt x="294" y="333"/>
                  </a:lnTo>
                  <a:lnTo>
                    <a:pt x="298" y="334"/>
                  </a:lnTo>
                  <a:lnTo>
                    <a:pt x="308" y="336"/>
                  </a:lnTo>
                  <a:lnTo>
                    <a:pt x="308" y="336"/>
                  </a:lnTo>
                  <a:lnTo>
                    <a:pt x="311" y="338"/>
                  </a:lnTo>
                  <a:lnTo>
                    <a:pt x="315" y="341"/>
                  </a:lnTo>
                  <a:lnTo>
                    <a:pt x="320" y="346"/>
                  </a:lnTo>
                  <a:lnTo>
                    <a:pt x="324" y="349"/>
                  </a:lnTo>
                  <a:lnTo>
                    <a:pt x="324" y="349"/>
                  </a:lnTo>
                  <a:lnTo>
                    <a:pt x="328" y="349"/>
                  </a:lnTo>
                  <a:lnTo>
                    <a:pt x="333" y="347"/>
                  </a:lnTo>
                  <a:lnTo>
                    <a:pt x="337" y="344"/>
                  </a:lnTo>
                  <a:lnTo>
                    <a:pt x="339" y="338"/>
                  </a:lnTo>
                  <a:lnTo>
                    <a:pt x="339" y="338"/>
                  </a:lnTo>
                  <a:lnTo>
                    <a:pt x="341" y="333"/>
                  </a:lnTo>
                  <a:lnTo>
                    <a:pt x="346" y="330"/>
                  </a:lnTo>
                  <a:lnTo>
                    <a:pt x="346" y="330"/>
                  </a:lnTo>
                  <a:lnTo>
                    <a:pt x="353" y="330"/>
                  </a:lnTo>
                  <a:lnTo>
                    <a:pt x="363" y="330"/>
                  </a:lnTo>
                  <a:lnTo>
                    <a:pt x="363" y="330"/>
                  </a:lnTo>
                  <a:lnTo>
                    <a:pt x="373" y="328"/>
                  </a:lnTo>
                  <a:lnTo>
                    <a:pt x="383" y="325"/>
                  </a:lnTo>
                  <a:lnTo>
                    <a:pt x="383" y="325"/>
                  </a:lnTo>
                  <a:lnTo>
                    <a:pt x="385" y="323"/>
                  </a:lnTo>
                  <a:lnTo>
                    <a:pt x="386" y="318"/>
                  </a:lnTo>
                  <a:lnTo>
                    <a:pt x="389" y="311"/>
                  </a:lnTo>
                  <a:lnTo>
                    <a:pt x="389" y="311"/>
                  </a:lnTo>
                  <a:lnTo>
                    <a:pt x="392" y="308"/>
                  </a:lnTo>
                  <a:lnTo>
                    <a:pt x="398" y="307"/>
                  </a:lnTo>
                  <a:lnTo>
                    <a:pt x="410" y="304"/>
                  </a:lnTo>
                  <a:lnTo>
                    <a:pt x="410" y="304"/>
                  </a:lnTo>
                  <a:lnTo>
                    <a:pt x="425" y="298"/>
                  </a:lnTo>
                  <a:lnTo>
                    <a:pt x="440" y="292"/>
                  </a:lnTo>
                  <a:lnTo>
                    <a:pt x="440" y="292"/>
                  </a:lnTo>
                  <a:lnTo>
                    <a:pt x="444" y="292"/>
                  </a:lnTo>
                  <a:lnTo>
                    <a:pt x="454" y="292"/>
                  </a:lnTo>
                  <a:lnTo>
                    <a:pt x="473" y="295"/>
                  </a:lnTo>
                  <a:lnTo>
                    <a:pt x="473" y="295"/>
                  </a:lnTo>
                  <a:lnTo>
                    <a:pt x="501" y="301"/>
                  </a:lnTo>
                  <a:lnTo>
                    <a:pt x="515" y="304"/>
                  </a:lnTo>
                  <a:lnTo>
                    <a:pt x="524" y="307"/>
                  </a:lnTo>
                  <a:lnTo>
                    <a:pt x="524" y="307"/>
                  </a:lnTo>
                  <a:lnTo>
                    <a:pt x="530" y="310"/>
                  </a:lnTo>
                  <a:lnTo>
                    <a:pt x="537" y="311"/>
                  </a:lnTo>
                  <a:lnTo>
                    <a:pt x="537" y="311"/>
                  </a:lnTo>
                  <a:lnTo>
                    <a:pt x="538" y="304"/>
                  </a:lnTo>
                  <a:lnTo>
                    <a:pt x="540" y="301"/>
                  </a:lnTo>
                  <a:lnTo>
                    <a:pt x="541" y="301"/>
                  </a:lnTo>
                  <a:lnTo>
                    <a:pt x="541" y="301"/>
                  </a:lnTo>
                  <a:lnTo>
                    <a:pt x="541" y="299"/>
                  </a:lnTo>
                  <a:lnTo>
                    <a:pt x="543" y="295"/>
                  </a:lnTo>
                  <a:lnTo>
                    <a:pt x="543" y="286"/>
                  </a:lnTo>
                  <a:lnTo>
                    <a:pt x="541" y="272"/>
                  </a:lnTo>
                  <a:lnTo>
                    <a:pt x="541" y="272"/>
                  </a:lnTo>
                  <a:lnTo>
                    <a:pt x="540" y="265"/>
                  </a:lnTo>
                  <a:lnTo>
                    <a:pt x="540" y="260"/>
                  </a:lnTo>
                  <a:lnTo>
                    <a:pt x="540" y="257"/>
                  </a:lnTo>
                  <a:lnTo>
                    <a:pt x="540" y="257"/>
                  </a:lnTo>
                  <a:lnTo>
                    <a:pt x="543" y="254"/>
                  </a:lnTo>
                  <a:lnTo>
                    <a:pt x="546" y="252"/>
                  </a:lnTo>
                  <a:lnTo>
                    <a:pt x="551" y="247"/>
                  </a:lnTo>
                  <a:lnTo>
                    <a:pt x="551" y="247"/>
                  </a:lnTo>
                  <a:lnTo>
                    <a:pt x="556" y="247"/>
                  </a:lnTo>
                  <a:lnTo>
                    <a:pt x="562" y="247"/>
                  </a:lnTo>
                  <a:lnTo>
                    <a:pt x="567" y="246"/>
                  </a:lnTo>
                  <a:lnTo>
                    <a:pt x="573" y="246"/>
                  </a:lnTo>
                  <a:lnTo>
                    <a:pt x="573" y="246"/>
                  </a:lnTo>
                  <a:lnTo>
                    <a:pt x="576" y="243"/>
                  </a:lnTo>
                  <a:lnTo>
                    <a:pt x="576" y="241"/>
                  </a:lnTo>
                  <a:lnTo>
                    <a:pt x="573" y="236"/>
                  </a:lnTo>
                  <a:lnTo>
                    <a:pt x="573" y="236"/>
                  </a:lnTo>
                  <a:lnTo>
                    <a:pt x="572" y="233"/>
                  </a:lnTo>
                  <a:lnTo>
                    <a:pt x="573" y="230"/>
                  </a:lnTo>
                  <a:lnTo>
                    <a:pt x="576" y="226"/>
                  </a:lnTo>
                  <a:lnTo>
                    <a:pt x="576" y="226"/>
                  </a:lnTo>
                  <a:lnTo>
                    <a:pt x="576" y="223"/>
                  </a:lnTo>
                  <a:lnTo>
                    <a:pt x="578" y="220"/>
                  </a:lnTo>
                  <a:lnTo>
                    <a:pt x="579" y="215"/>
                  </a:lnTo>
                  <a:lnTo>
                    <a:pt x="580" y="210"/>
                  </a:lnTo>
                  <a:lnTo>
                    <a:pt x="580" y="210"/>
                  </a:lnTo>
                  <a:lnTo>
                    <a:pt x="583" y="207"/>
                  </a:lnTo>
                  <a:lnTo>
                    <a:pt x="585" y="207"/>
                  </a:lnTo>
                  <a:lnTo>
                    <a:pt x="591" y="210"/>
                  </a:lnTo>
                  <a:lnTo>
                    <a:pt x="591" y="210"/>
                  </a:lnTo>
                  <a:lnTo>
                    <a:pt x="595" y="211"/>
                  </a:lnTo>
                  <a:lnTo>
                    <a:pt x="601" y="210"/>
                  </a:lnTo>
                  <a:lnTo>
                    <a:pt x="612" y="208"/>
                  </a:lnTo>
                  <a:lnTo>
                    <a:pt x="612" y="208"/>
                  </a:lnTo>
                  <a:lnTo>
                    <a:pt x="620" y="207"/>
                  </a:lnTo>
                  <a:lnTo>
                    <a:pt x="622" y="207"/>
                  </a:lnTo>
                  <a:lnTo>
                    <a:pt x="624" y="204"/>
                  </a:lnTo>
                  <a:lnTo>
                    <a:pt x="624" y="204"/>
                  </a:lnTo>
                  <a:lnTo>
                    <a:pt x="625" y="201"/>
                  </a:lnTo>
                  <a:lnTo>
                    <a:pt x="624" y="194"/>
                  </a:lnTo>
                  <a:lnTo>
                    <a:pt x="624" y="184"/>
                  </a:lnTo>
                  <a:lnTo>
                    <a:pt x="624" y="184"/>
                  </a:lnTo>
                  <a:lnTo>
                    <a:pt x="625" y="179"/>
                  </a:lnTo>
                  <a:lnTo>
                    <a:pt x="630" y="176"/>
                  </a:lnTo>
                  <a:lnTo>
                    <a:pt x="638" y="169"/>
                  </a:lnTo>
                  <a:lnTo>
                    <a:pt x="638" y="169"/>
                  </a:lnTo>
                  <a:lnTo>
                    <a:pt x="641" y="166"/>
                  </a:lnTo>
                  <a:lnTo>
                    <a:pt x="646" y="163"/>
                  </a:lnTo>
                  <a:lnTo>
                    <a:pt x="653" y="160"/>
                  </a:lnTo>
                  <a:lnTo>
                    <a:pt x="653" y="160"/>
                  </a:lnTo>
                  <a:lnTo>
                    <a:pt x="656" y="159"/>
                  </a:lnTo>
                  <a:lnTo>
                    <a:pt x="657" y="155"/>
                  </a:lnTo>
                  <a:lnTo>
                    <a:pt x="657" y="155"/>
                  </a:lnTo>
                  <a:lnTo>
                    <a:pt x="656" y="153"/>
                  </a:lnTo>
                  <a:close/>
                  <a:moveTo>
                    <a:pt x="518" y="218"/>
                  </a:moveTo>
                  <a:lnTo>
                    <a:pt x="518" y="218"/>
                  </a:lnTo>
                  <a:lnTo>
                    <a:pt x="515" y="223"/>
                  </a:lnTo>
                  <a:lnTo>
                    <a:pt x="514" y="224"/>
                  </a:lnTo>
                  <a:lnTo>
                    <a:pt x="512" y="224"/>
                  </a:lnTo>
                  <a:lnTo>
                    <a:pt x="512" y="224"/>
                  </a:lnTo>
                  <a:lnTo>
                    <a:pt x="494" y="227"/>
                  </a:lnTo>
                  <a:lnTo>
                    <a:pt x="494" y="227"/>
                  </a:lnTo>
                  <a:lnTo>
                    <a:pt x="479" y="224"/>
                  </a:lnTo>
                  <a:lnTo>
                    <a:pt x="469" y="224"/>
                  </a:lnTo>
                  <a:lnTo>
                    <a:pt x="463" y="224"/>
                  </a:lnTo>
                  <a:lnTo>
                    <a:pt x="463" y="224"/>
                  </a:lnTo>
                  <a:lnTo>
                    <a:pt x="459" y="227"/>
                  </a:lnTo>
                  <a:lnTo>
                    <a:pt x="456" y="228"/>
                  </a:lnTo>
                  <a:lnTo>
                    <a:pt x="454" y="231"/>
                  </a:lnTo>
                  <a:lnTo>
                    <a:pt x="454" y="231"/>
                  </a:lnTo>
                  <a:lnTo>
                    <a:pt x="452" y="237"/>
                  </a:lnTo>
                  <a:lnTo>
                    <a:pt x="450" y="240"/>
                  </a:lnTo>
                  <a:lnTo>
                    <a:pt x="447" y="241"/>
                  </a:lnTo>
                  <a:lnTo>
                    <a:pt x="447" y="241"/>
                  </a:lnTo>
                  <a:lnTo>
                    <a:pt x="447" y="243"/>
                  </a:lnTo>
                  <a:lnTo>
                    <a:pt x="447" y="244"/>
                  </a:lnTo>
                  <a:lnTo>
                    <a:pt x="446" y="252"/>
                  </a:lnTo>
                  <a:lnTo>
                    <a:pt x="446" y="253"/>
                  </a:lnTo>
                  <a:lnTo>
                    <a:pt x="444" y="256"/>
                  </a:lnTo>
                  <a:lnTo>
                    <a:pt x="441" y="256"/>
                  </a:lnTo>
                  <a:lnTo>
                    <a:pt x="438" y="253"/>
                  </a:lnTo>
                  <a:lnTo>
                    <a:pt x="438" y="253"/>
                  </a:lnTo>
                  <a:lnTo>
                    <a:pt x="434" y="252"/>
                  </a:lnTo>
                  <a:lnTo>
                    <a:pt x="431" y="250"/>
                  </a:lnTo>
                  <a:lnTo>
                    <a:pt x="430" y="247"/>
                  </a:lnTo>
                  <a:lnTo>
                    <a:pt x="430" y="247"/>
                  </a:lnTo>
                  <a:lnTo>
                    <a:pt x="430" y="243"/>
                  </a:lnTo>
                  <a:lnTo>
                    <a:pt x="431" y="239"/>
                  </a:lnTo>
                  <a:lnTo>
                    <a:pt x="433" y="234"/>
                  </a:lnTo>
                  <a:lnTo>
                    <a:pt x="433" y="230"/>
                  </a:lnTo>
                  <a:lnTo>
                    <a:pt x="433" y="230"/>
                  </a:lnTo>
                  <a:lnTo>
                    <a:pt x="433" y="227"/>
                  </a:lnTo>
                  <a:lnTo>
                    <a:pt x="436" y="224"/>
                  </a:lnTo>
                  <a:lnTo>
                    <a:pt x="443" y="221"/>
                  </a:lnTo>
                  <a:lnTo>
                    <a:pt x="443" y="221"/>
                  </a:lnTo>
                  <a:lnTo>
                    <a:pt x="449" y="218"/>
                  </a:lnTo>
                  <a:lnTo>
                    <a:pt x="452" y="217"/>
                  </a:lnTo>
                  <a:lnTo>
                    <a:pt x="454" y="217"/>
                  </a:lnTo>
                  <a:lnTo>
                    <a:pt x="454" y="217"/>
                  </a:lnTo>
                  <a:lnTo>
                    <a:pt x="463" y="218"/>
                  </a:lnTo>
                  <a:lnTo>
                    <a:pt x="472" y="218"/>
                  </a:lnTo>
                  <a:lnTo>
                    <a:pt x="472" y="218"/>
                  </a:lnTo>
                  <a:lnTo>
                    <a:pt x="488" y="220"/>
                  </a:lnTo>
                  <a:lnTo>
                    <a:pt x="495" y="221"/>
                  </a:lnTo>
                  <a:lnTo>
                    <a:pt x="501" y="221"/>
                  </a:lnTo>
                  <a:lnTo>
                    <a:pt x="501" y="221"/>
                  </a:lnTo>
                  <a:lnTo>
                    <a:pt x="512" y="218"/>
                  </a:lnTo>
                  <a:lnTo>
                    <a:pt x="517" y="218"/>
                  </a:lnTo>
                  <a:lnTo>
                    <a:pt x="518" y="218"/>
                  </a:lnTo>
                  <a:lnTo>
                    <a:pt x="518" y="218"/>
                  </a:lnTo>
                  <a:close/>
                  <a:moveTo>
                    <a:pt x="615" y="189"/>
                  </a:moveTo>
                  <a:lnTo>
                    <a:pt x="615" y="189"/>
                  </a:lnTo>
                  <a:lnTo>
                    <a:pt x="611" y="192"/>
                  </a:lnTo>
                  <a:lnTo>
                    <a:pt x="606" y="195"/>
                  </a:lnTo>
                  <a:lnTo>
                    <a:pt x="604" y="197"/>
                  </a:lnTo>
                  <a:lnTo>
                    <a:pt x="598" y="195"/>
                  </a:lnTo>
                  <a:lnTo>
                    <a:pt x="598" y="195"/>
                  </a:lnTo>
                  <a:lnTo>
                    <a:pt x="586" y="188"/>
                  </a:lnTo>
                  <a:lnTo>
                    <a:pt x="582" y="184"/>
                  </a:lnTo>
                  <a:lnTo>
                    <a:pt x="582" y="182"/>
                  </a:lnTo>
                  <a:lnTo>
                    <a:pt x="582" y="181"/>
                  </a:lnTo>
                  <a:lnTo>
                    <a:pt x="582" y="181"/>
                  </a:lnTo>
                  <a:lnTo>
                    <a:pt x="583" y="178"/>
                  </a:lnTo>
                  <a:lnTo>
                    <a:pt x="583" y="173"/>
                  </a:lnTo>
                  <a:lnTo>
                    <a:pt x="585" y="170"/>
                  </a:lnTo>
                  <a:lnTo>
                    <a:pt x="586" y="169"/>
                  </a:lnTo>
                  <a:lnTo>
                    <a:pt x="588" y="169"/>
                  </a:lnTo>
                  <a:lnTo>
                    <a:pt x="588" y="169"/>
                  </a:lnTo>
                  <a:lnTo>
                    <a:pt x="591" y="172"/>
                  </a:lnTo>
                  <a:lnTo>
                    <a:pt x="592" y="175"/>
                  </a:lnTo>
                  <a:lnTo>
                    <a:pt x="593" y="178"/>
                  </a:lnTo>
                  <a:lnTo>
                    <a:pt x="596" y="181"/>
                  </a:lnTo>
                  <a:lnTo>
                    <a:pt x="596" y="181"/>
                  </a:lnTo>
                  <a:lnTo>
                    <a:pt x="602" y="184"/>
                  </a:lnTo>
                  <a:lnTo>
                    <a:pt x="609" y="186"/>
                  </a:lnTo>
                  <a:lnTo>
                    <a:pt x="615" y="188"/>
                  </a:lnTo>
                  <a:lnTo>
                    <a:pt x="617" y="189"/>
                  </a:lnTo>
                  <a:lnTo>
                    <a:pt x="615" y="189"/>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92" name="Freeform 763"/>
            <p:cNvSpPr>
              <a:spLocks/>
            </p:cNvSpPr>
            <p:nvPr/>
          </p:nvSpPr>
          <p:spPr bwMode="auto">
            <a:xfrm>
              <a:off x="5511801" y="3080179"/>
              <a:ext cx="1042988" cy="554038"/>
            </a:xfrm>
            <a:custGeom>
              <a:avLst/>
              <a:gdLst>
                <a:gd name="T0" fmla="*/ 588 w 657"/>
                <a:gd name="T1" fmla="*/ 123 h 349"/>
                <a:gd name="T2" fmla="*/ 546 w 657"/>
                <a:gd name="T3" fmla="*/ 110 h 349"/>
                <a:gd name="T4" fmla="*/ 501 w 657"/>
                <a:gd name="T5" fmla="*/ 66 h 349"/>
                <a:gd name="T6" fmla="*/ 447 w 657"/>
                <a:gd name="T7" fmla="*/ 60 h 349"/>
                <a:gd name="T8" fmla="*/ 423 w 657"/>
                <a:gd name="T9" fmla="*/ 43 h 349"/>
                <a:gd name="T10" fmla="*/ 402 w 657"/>
                <a:gd name="T11" fmla="*/ 27 h 349"/>
                <a:gd name="T12" fmla="*/ 385 w 657"/>
                <a:gd name="T13" fmla="*/ 2 h 349"/>
                <a:gd name="T14" fmla="*/ 354 w 657"/>
                <a:gd name="T15" fmla="*/ 1 h 349"/>
                <a:gd name="T16" fmla="*/ 291 w 657"/>
                <a:gd name="T17" fmla="*/ 15 h 349"/>
                <a:gd name="T18" fmla="*/ 263 w 657"/>
                <a:gd name="T19" fmla="*/ 26 h 349"/>
                <a:gd name="T20" fmla="*/ 234 w 657"/>
                <a:gd name="T21" fmla="*/ 62 h 349"/>
                <a:gd name="T22" fmla="*/ 211 w 657"/>
                <a:gd name="T23" fmla="*/ 91 h 349"/>
                <a:gd name="T24" fmla="*/ 201 w 657"/>
                <a:gd name="T25" fmla="*/ 101 h 349"/>
                <a:gd name="T26" fmla="*/ 147 w 657"/>
                <a:gd name="T27" fmla="*/ 89 h 349"/>
                <a:gd name="T28" fmla="*/ 134 w 657"/>
                <a:gd name="T29" fmla="*/ 102 h 349"/>
                <a:gd name="T30" fmla="*/ 100 w 657"/>
                <a:gd name="T31" fmla="*/ 78 h 349"/>
                <a:gd name="T32" fmla="*/ 69 w 657"/>
                <a:gd name="T33" fmla="*/ 82 h 349"/>
                <a:gd name="T34" fmla="*/ 52 w 657"/>
                <a:gd name="T35" fmla="*/ 105 h 349"/>
                <a:gd name="T36" fmla="*/ 17 w 657"/>
                <a:gd name="T37" fmla="*/ 126 h 349"/>
                <a:gd name="T38" fmla="*/ 1 w 657"/>
                <a:gd name="T39" fmla="*/ 175 h 349"/>
                <a:gd name="T40" fmla="*/ 29 w 657"/>
                <a:gd name="T41" fmla="*/ 197 h 349"/>
                <a:gd name="T42" fmla="*/ 40 w 657"/>
                <a:gd name="T43" fmla="*/ 218 h 349"/>
                <a:gd name="T44" fmla="*/ 78 w 657"/>
                <a:gd name="T45" fmla="*/ 205 h 349"/>
                <a:gd name="T46" fmla="*/ 104 w 657"/>
                <a:gd name="T47" fmla="*/ 224 h 349"/>
                <a:gd name="T48" fmla="*/ 84 w 657"/>
                <a:gd name="T49" fmla="*/ 244 h 349"/>
                <a:gd name="T50" fmla="*/ 71 w 657"/>
                <a:gd name="T51" fmla="*/ 259 h 349"/>
                <a:gd name="T52" fmla="*/ 63 w 657"/>
                <a:gd name="T53" fmla="*/ 265 h 349"/>
                <a:gd name="T54" fmla="*/ 66 w 657"/>
                <a:gd name="T55" fmla="*/ 275 h 349"/>
                <a:gd name="T56" fmla="*/ 81 w 657"/>
                <a:gd name="T57" fmla="*/ 298 h 349"/>
                <a:gd name="T58" fmla="*/ 89 w 657"/>
                <a:gd name="T59" fmla="*/ 317 h 349"/>
                <a:gd name="T60" fmla="*/ 98 w 657"/>
                <a:gd name="T61" fmla="*/ 334 h 349"/>
                <a:gd name="T62" fmla="*/ 110 w 657"/>
                <a:gd name="T63" fmla="*/ 318 h 349"/>
                <a:gd name="T64" fmla="*/ 118 w 657"/>
                <a:gd name="T65" fmla="*/ 315 h 349"/>
                <a:gd name="T66" fmla="*/ 150 w 657"/>
                <a:gd name="T67" fmla="*/ 341 h 349"/>
                <a:gd name="T68" fmla="*/ 197 w 657"/>
                <a:gd name="T69" fmla="*/ 230 h 349"/>
                <a:gd name="T70" fmla="*/ 205 w 657"/>
                <a:gd name="T71" fmla="*/ 221 h 349"/>
                <a:gd name="T72" fmla="*/ 217 w 657"/>
                <a:gd name="T73" fmla="*/ 218 h 349"/>
                <a:gd name="T74" fmla="*/ 224 w 657"/>
                <a:gd name="T75" fmla="*/ 224 h 349"/>
                <a:gd name="T76" fmla="*/ 224 w 657"/>
                <a:gd name="T77" fmla="*/ 270 h 349"/>
                <a:gd name="T78" fmla="*/ 262 w 657"/>
                <a:gd name="T79" fmla="*/ 292 h 349"/>
                <a:gd name="T80" fmla="*/ 286 w 657"/>
                <a:gd name="T81" fmla="*/ 275 h 349"/>
                <a:gd name="T82" fmla="*/ 301 w 657"/>
                <a:gd name="T83" fmla="*/ 324 h 349"/>
                <a:gd name="T84" fmla="*/ 294 w 657"/>
                <a:gd name="T85" fmla="*/ 333 h 349"/>
                <a:gd name="T86" fmla="*/ 324 w 657"/>
                <a:gd name="T87" fmla="*/ 349 h 349"/>
                <a:gd name="T88" fmla="*/ 346 w 657"/>
                <a:gd name="T89" fmla="*/ 330 h 349"/>
                <a:gd name="T90" fmla="*/ 386 w 657"/>
                <a:gd name="T91" fmla="*/ 318 h 349"/>
                <a:gd name="T92" fmla="*/ 440 w 657"/>
                <a:gd name="T93" fmla="*/ 292 h 349"/>
                <a:gd name="T94" fmla="*/ 524 w 657"/>
                <a:gd name="T95" fmla="*/ 307 h 349"/>
                <a:gd name="T96" fmla="*/ 541 w 657"/>
                <a:gd name="T97" fmla="*/ 301 h 349"/>
                <a:gd name="T98" fmla="*/ 540 w 657"/>
                <a:gd name="T99" fmla="*/ 257 h 349"/>
                <a:gd name="T100" fmla="*/ 567 w 657"/>
                <a:gd name="T101" fmla="*/ 246 h 349"/>
                <a:gd name="T102" fmla="*/ 573 w 657"/>
                <a:gd name="T103" fmla="*/ 230 h 349"/>
                <a:gd name="T104" fmla="*/ 583 w 657"/>
                <a:gd name="T105" fmla="*/ 207 h 349"/>
                <a:gd name="T106" fmla="*/ 620 w 657"/>
                <a:gd name="T107" fmla="*/ 207 h 349"/>
                <a:gd name="T108" fmla="*/ 625 w 657"/>
                <a:gd name="T109" fmla="*/ 179 h 349"/>
                <a:gd name="T110" fmla="*/ 656 w 657"/>
                <a:gd name="T111" fmla="*/ 159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57" h="349">
                  <a:moveTo>
                    <a:pt x="656" y="153"/>
                  </a:moveTo>
                  <a:lnTo>
                    <a:pt x="656" y="153"/>
                  </a:lnTo>
                  <a:lnTo>
                    <a:pt x="643" y="146"/>
                  </a:lnTo>
                  <a:lnTo>
                    <a:pt x="622" y="136"/>
                  </a:lnTo>
                  <a:lnTo>
                    <a:pt x="601" y="127"/>
                  </a:lnTo>
                  <a:lnTo>
                    <a:pt x="593" y="124"/>
                  </a:lnTo>
                  <a:lnTo>
                    <a:pt x="588" y="123"/>
                  </a:lnTo>
                  <a:lnTo>
                    <a:pt x="588" y="123"/>
                  </a:lnTo>
                  <a:lnTo>
                    <a:pt x="576" y="124"/>
                  </a:lnTo>
                  <a:lnTo>
                    <a:pt x="570" y="124"/>
                  </a:lnTo>
                  <a:lnTo>
                    <a:pt x="564" y="121"/>
                  </a:lnTo>
                  <a:lnTo>
                    <a:pt x="564" y="121"/>
                  </a:lnTo>
                  <a:lnTo>
                    <a:pt x="554" y="114"/>
                  </a:lnTo>
                  <a:lnTo>
                    <a:pt x="550" y="111"/>
                  </a:lnTo>
                  <a:lnTo>
                    <a:pt x="546" y="110"/>
                  </a:lnTo>
                  <a:lnTo>
                    <a:pt x="546" y="110"/>
                  </a:lnTo>
                  <a:lnTo>
                    <a:pt x="538" y="110"/>
                  </a:lnTo>
                  <a:lnTo>
                    <a:pt x="531" y="108"/>
                  </a:lnTo>
                  <a:lnTo>
                    <a:pt x="525" y="104"/>
                  </a:lnTo>
                  <a:lnTo>
                    <a:pt x="522" y="102"/>
                  </a:lnTo>
                  <a:lnTo>
                    <a:pt x="520" y="98"/>
                  </a:lnTo>
                  <a:lnTo>
                    <a:pt x="520" y="98"/>
                  </a:lnTo>
                  <a:lnTo>
                    <a:pt x="512" y="85"/>
                  </a:lnTo>
                  <a:lnTo>
                    <a:pt x="501" y="66"/>
                  </a:lnTo>
                  <a:lnTo>
                    <a:pt x="486" y="49"/>
                  </a:lnTo>
                  <a:lnTo>
                    <a:pt x="480" y="43"/>
                  </a:lnTo>
                  <a:lnTo>
                    <a:pt x="476" y="42"/>
                  </a:lnTo>
                  <a:lnTo>
                    <a:pt x="476" y="42"/>
                  </a:lnTo>
                  <a:lnTo>
                    <a:pt x="472" y="43"/>
                  </a:lnTo>
                  <a:lnTo>
                    <a:pt x="466" y="44"/>
                  </a:lnTo>
                  <a:lnTo>
                    <a:pt x="456" y="53"/>
                  </a:lnTo>
                  <a:lnTo>
                    <a:pt x="447" y="60"/>
                  </a:lnTo>
                  <a:lnTo>
                    <a:pt x="443" y="62"/>
                  </a:lnTo>
                  <a:lnTo>
                    <a:pt x="438" y="62"/>
                  </a:lnTo>
                  <a:lnTo>
                    <a:pt x="438" y="62"/>
                  </a:lnTo>
                  <a:lnTo>
                    <a:pt x="433" y="59"/>
                  </a:lnTo>
                  <a:lnTo>
                    <a:pt x="427" y="53"/>
                  </a:lnTo>
                  <a:lnTo>
                    <a:pt x="424" y="49"/>
                  </a:lnTo>
                  <a:lnTo>
                    <a:pt x="423" y="46"/>
                  </a:lnTo>
                  <a:lnTo>
                    <a:pt x="423" y="43"/>
                  </a:lnTo>
                  <a:lnTo>
                    <a:pt x="423" y="43"/>
                  </a:lnTo>
                  <a:lnTo>
                    <a:pt x="424" y="36"/>
                  </a:lnTo>
                  <a:lnTo>
                    <a:pt x="424" y="33"/>
                  </a:lnTo>
                  <a:lnTo>
                    <a:pt x="423" y="30"/>
                  </a:lnTo>
                  <a:lnTo>
                    <a:pt x="423" y="30"/>
                  </a:lnTo>
                  <a:lnTo>
                    <a:pt x="420" y="29"/>
                  </a:lnTo>
                  <a:lnTo>
                    <a:pt x="415" y="27"/>
                  </a:lnTo>
                  <a:lnTo>
                    <a:pt x="402" y="27"/>
                  </a:lnTo>
                  <a:lnTo>
                    <a:pt x="391" y="26"/>
                  </a:lnTo>
                  <a:lnTo>
                    <a:pt x="386" y="26"/>
                  </a:lnTo>
                  <a:lnTo>
                    <a:pt x="383" y="24"/>
                  </a:lnTo>
                  <a:lnTo>
                    <a:pt x="383" y="24"/>
                  </a:lnTo>
                  <a:lnTo>
                    <a:pt x="383" y="18"/>
                  </a:lnTo>
                  <a:lnTo>
                    <a:pt x="385" y="11"/>
                  </a:lnTo>
                  <a:lnTo>
                    <a:pt x="385" y="5"/>
                  </a:lnTo>
                  <a:lnTo>
                    <a:pt x="385" y="2"/>
                  </a:lnTo>
                  <a:lnTo>
                    <a:pt x="383" y="2"/>
                  </a:lnTo>
                  <a:lnTo>
                    <a:pt x="383" y="2"/>
                  </a:lnTo>
                  <a:lnTo>
                    <a:pt x="376" y="4"/>
                  </a:lnTo>
                  <a:lnTo>
                    <a:pt x="373" y="4"/>
                  </a:lnTo>
                  <a:lnTo>
                    <a:pt x="368" y="4"/>
                  </a:lnTo>
                  <a:lnTo>
                    <a:pt x="368" y="4"/>
                  </a:lnTo>
                  <a:lnTo>
                    <a:pt x="357" y="1"/>
                  </a:lnTo>
                  <a:lnTo>
                    <a:pt x="354" y="1"/>
                  </a:lnTo>
                  <a:lnTo>
                    <a:pt x="352" y="0"/>
                  </a:lnTo>
                  <a:lnTo>
                    <a:pt x="352" y="0"/>
                  </a:lnTo>
                  <a:lnTo>
                    <a:pt x="331" y="8"/>
                  </a:lnTo>
                  <a:lnTo>
                    <a:pt x="318" y="13"/>
                  </a:lnTo>
                  <a:lnTo>
                    <a:pt x="310" y="15"/>
                  </a:lnTo>
                  <a:lnTo>
                    <a:pt x="310" y="15"/>
                  </a:lnTo>
                  <a:lnTo>
                    <a:pt x="297" y="15"/>
                  </a:lnTo>
                  <a:lnTo>
                    <a:pt x="291" y="15"/>
                  </a:lnTo>
                  <a:lnTo>
                    <a:pt x="286" y="17"/>
                  </a:lnTo>
                  <a:lnTo>
                    <a:pt x="286" y="17"/>
                  </a:lnTo>
                  <a:lnTo>
                    <a:pt x="285" y="20"/>
                  </a:lnTo>
                  <a:lnTo>
                    <a:pt x="284" y="21"/>
                  </a:lnTo>
                  <a:lnTo>
                    <a:pt x="281" y="21"/>
                  </a:lnTo>
                  <a:lnTo>
                    <a:pt x="281" y="21"/>
                  </a:lnTo>
                  <a:lnTo>
                    <a:pt x="273" y="23"/>
                  </a:lnTo>
                  <a:lnTo>
                    <a:pt x="263" y="26"/>
                  </a:lnTo>
                  <a:lnTo>
                    <a:pt x="253" y="29"/>
                  </a:lnTo>
                  <a:lnTo>
                    <a:pt x="247" y="33"/>
                  </a:lnTo>
                  <a:lnTo>
                    <a:pt x="247" y="33"/>
                  </a:lnTo>
                  <a:lnTo>
                    <a:pt x="243" y="40"/>
                  </a:lnTo>
                  <a:lnTo>
                    <a:pt x="240" y="47"/>
                  </a:lnTo>
                  <a:lnTo>
                    <a:pt x="237" y="56"/>
                  </a:lnTo>
                  <a:lnTo>
                    <a:pt x="234" y="62"/>
                  </a:lnTo>
                  <a:lnTo>
                    <a:pt x="234" y="62"/>
                  </a:lnTo>
                  <a:lnTo>
                    <a:pt x="227" y="71"/>
                  </a:lnTo>
                  <a:lnTo>
                    <a:pt x="223" y="75"/>
                  </a:lnTo>
                  <a:lnTo>
                    <a:pt x="217" y="78"/>
                  </a:lnTo>
                  <a:lnTo>
                    <a:pt x="217" y="78"/>
                  </a:lnTo>
                  <a:lnTo>
                    <a:pt x="211" y="81"/>
                  </a:lnTo>
                  <a:lnTo>
                    <a:pt x="210" y="85"/>
                  </a:lnTo>
                  <a:lnTo>
                    <a:pt x="210" y="88"/>
                  </a:lnTo>
                  <a:lnTo>
                    <a:pt x="211" y="91"/>
                  </a:lnTo>
                  <a:lnTo>
                    <a:pt x="211" y="91"/>
                  </a:lnTo>
                  <a:lnTo>
                    <a:pt x="214" y="94"/>
                  </a:lnTo>
                  <a:lnTo>
                    <a:pt x="215" y="97"/>
                  </a:lnTo>
                  <a:lnTo>
                    <a:pt x="214" y="101"/>
                  </a:lnTo>
                  <a:lnTo>
                    <a:pt x="213" y="102"/>
                  </a:lnTo>
                  <a:lnTo>
                    <a:pt x="213" y="102"/>
                  </a:lnTo>
                  <a:lnTo>
                    <a:pt x="207" y="102"/>
                  </a:lnTo>
                  <a:lnTo>
                    <a:pt x="201" y="101"/>
                  </a:lnTo>
                  <a:lnTo>
                    <a:pt x="191" y="98"/>
                  </a:lnTo>
                  <a:lnTo>
                    <a:pt x="191" y="98"/>
                  </a:lnTo>
                  <a:lnTo>
                    <a:pt x="185" y="102"/>
                  </a:lnTo>
                  <a:lnTo>
                    <a:pt x="181" y="104"/>
                  </a:lnTo>
                  <a:lnTo>
                    <a:pt x="178" y="104"/>
                  </a:lnTo>
                  <a:lnTo>
                    <a:pt x="178" y="104"/>
                  </a:lnTo>
                  <a:lnTo>
                    <a:pt x="163" y="98"/>
                  </a:lnTo>
                  <a:lnTo>
                    <a:pt x="147" y="89"/>
                  </a:lnTo>
                  <a:lnTo>
                    <a:pt x="147" y="89"/>
                  </a:lnTo>
                  <a:lnTo>
                    <a:pt x="143" y="88"/>
                  </a:lnTo>
                  <a:lnTo>
                    <a:pt x="140" y="88"/>
                  </a:lnTo>
                  <a:lnTo>
                    <a:pt x="137" y="91"/>
                  </a:lnTo>
                  <a:lnTo>
                    <a:pt x="136" y="94"/>
                  </a:lnTo>
                  <a:lnTo>
                    <a:pt x="136" y="94"/>
                  </a:lnTo>
                  <a:lnTo>
                    <a:pt x="136" y="98"/>
                  </a:lnTo>
                  <a:lnTo>
                    <a:pt x="134" y="102"/>
                  </a:lnTo>
                  <a:lnTo>
                    <a:pt x="131" y="105"/>
                  </a:lnTo>
                  <a:lnTo>
                    <a:pt x="130" y="107"/>
                  </a:lnTo>
                  <a:lnTo>
                    <a:pt x="126" y="107"/>
                  </a:lnTo>
                  <a:lnTo>
                    <a:pt x="126" y="107"/>
                  </a:lnTo>
                  <a:lnTo>
                    <a:pt x="123" y="107"/>
                  </a:lnTo>
                  <a:lnTo>
                    <a:pt x="118" y="102"/>
                  </a:lnTo>
                  <a:lnTo>
                    <a:pt x="111" y="94"/>
                  </a:lnTo>
                  <a:lnTo>
                    <a:pt x="100" y="78"/>
                  </a:lnTo>
                  <a:lnTo>
                    <a:pt x="100" y="78"/>
                  </a:lnTo>
                  <a:lnTo>
                    <a:pt x="98" y="78"/>
                  </a:lnTo>
                  <a:lnTo>
                    <a:pt x="95" y="81"/>
                  </a:lnTo>
                  <a:lnTo>
                    <a:pt x="91" y="82"/>
                  </a:lnTo>
                  <a:lnTo>
                    <a:pt x="87" y="84"/>
                  </a:lnTo>
                  <a:lnTo>
                    <a:pt x="87" y="84"/>
                  </a:lnTo>
                  <a:lnTo>
                    <a:pt x="75" y="82"/>
                  </a:lnTo>
                  <a:lnTo>
                    <a:pt x="69" y="82"/>
                  </a:lnTo>
                  <a:lnTo>
                    <a:pt x="65" y="84"/>
                  </a:lnTo>
                  <a:lnTo>
                    <a:pt x="65" y="84"/>
                  </a:lnTo>
                  <a:lnTo>
                    <a:pt x="63" y="88"/>
                  </a:lnTo>
                  <a:lnTo>
                    <a:pt x="60" y="95"/>
                  </a:lnTo>
                  <a:lnTo>
                    <a:pt x="56" y="102"/>
                  </a:lnTo>
                  <a:lnTo>
                    <a:pt x="55" y="104"/>
                  </a:lnTo>
                  <a:lnTo>
                    <a:pt x="52" y="105"/>
                  </a:lnTo>
                  <a:lnTo>
                    <a:pt x="52" y="105"/>
                  </a:lnTo>
                  <a:lnTo>
                    <a:pt x="36" y="107"/>
                  </a:lnTo>
                  <a:lnTo>
                    <a:pt x="27" y="107"/>
                  </a:lnTo>
                  <a:lnTo>
                    <a:pt x="23" y="108"/>
                  </a:lnTo>
                  <a:lnTo>
                    <a:pt x="23" y="108"/>
                  </a:lnTo>
                  <a:lnTo>
                    <a:pt x="20" y="113"/>
                  </a:lnTo>
                  <a:lnTo>
                    <a:pt x="18" y="118"/>
                  </a:lnTo>
                  <a:lnTo>
                    <a:pt x="17" y="126"/>
                  </a:lnTo>
                  <a:lnTo>
                    <a:pt x="17" y="126"/>
                  </a:lnTo>
                  <a:lnTo>
                    <a:pt x="11" y="134"/>
                  </a:lnTo>
                  <a:lnTo>
                    <a:pt x="7" y="142"/>
                  </a:lnTo>
                  <a:lnTo>
                    <a:pt x="3" y="149"/>
                  </a:lnTo>
                  <a:lnTo>
                    <a:pt x="3" y="149"/>
                  </a:lnTo>
                  <a:lnTo>
                    <a:pt x="1" y="156"/>
                  </a:lnTo>
                  <a:lnTo>
                    <a:pt x="0" y="163"/>
                  </a:lnTo>
                  <a:lnTo>
                    <a:pt x="0" y="169"/>
                  </a:lnTo>
                  <a:lnTo>
                    <a:pt x="1" y="175"/>
                  </a:lnTo>
                  <a:lnTo>
                    <a:pt x="1" y="175"/>
                  </a:lnTo>
                  <a:lnTo>
                    <a:pt x="8" y="185"/>
                  </a:lnTo>
                  <a:lnTo>
                    <a:pt x="13" y="189"/>
                  </a:lnTo>
                  <a:lnTo>
                    <a:pt x="18" y="191"/>
                  </a:lnTo>
                  <a:lnTo>
                    <a:pt x="18" y="191"/>
                  </a:lnTo>
                  <a:lnTo>
                    <a:pt x="27" y="194"/>
                  </a:lnTo>
                  <a:lnTo>
                    <a:pt x="29" y="194"/>
                  </a:lnTo>
                  <a:lnTo>
                    <a:pt x="29" y="197"/>
                  </a:lnTo>
                  <a:lnTo>
                    <a:pt x="29" y="197"/>
                  </a:lnTo>
                  <a:lnTo>
                    <a:pt x="27" y="207"/>
                  </a:lnTo>
                  <a:lnTo>
                    <a:pt x="26" y="211"/>
                  </a:lnTo>
                  <a:lnTo>
                    <a:pt x="27" y="214"/>
                  </a:lnTo>
                  <a:lnTo>
                    <a:pt x="27" y="214"/>
                  </a:lnTo>
                  <a:lnTo>
                    <a:pt x="33" y="221"/>
                  </a:lnTo>
                  <a:lnTo>
                    <a:pt x="33" y="221"/>
                  </a:lnTo>
                  <a:lnTo>
                    <a:pt x="40" y="218"/>
                  </a:lnTo>
                  <a:lnTo>
                    <a:pt x="40" y="218"/>
                  </a:lnTo>
                  <a:lnTo>
                    <a:pt x="47" y="214"/>
                  </a:lnTo>
                  <a:lnTo>
                    <a:pt x="53" y="210"/>
                  </a:lnTo>
                  <a:lnTo>
                    <a:pt x="58" y="208"/>
                  </a:lnTo>
                  <a:lnTo>
                    <a:pt x="58" y="208"/>
                  </a:lnTo>
                  <a:lnTo>
                    <a:pt x="68" y="205"/>
                  </a:lnTo>
                  <a:lnTo>
                    <a:pt x="78" y="205"/>
                  </a:lnTo>
                  <a:lnTo>
                    <a:pt x="78" y="205"/>
                  </a:lnTo>
                  <a:lnTo>
                    <a:pt x="89" y="205"/>
                  </a:lnTo>
                  <a:lnTo>
                    <a:pt x="94" y="205"/>
                  </a:lnTo>
                  <a:lnTo>
                    <a:pt x="98" y="207"/>
                  </a:lnTo>
                  <a:lnTo>
                    <a:pt x="98" y="207"/>
                  </a:lnTo>
                  <a:lnTo>
                    <a:pt x="102" y="211"/>
                  </a:lnTo>
                  <a:lnTo>
                    <a:pt x="104" y="215"/>
                  </a:lnTo>
                  <a:lnTo>
                    <a:pt x="105" y="220"/>
                  </a:lnTo>
                  <a:lnTo>
                    <a:pt x="104" y="224"/>
                  </a:lnTo>
                  <a:lnTo>
                    <a:pt x="104" y="224"/>
                  </a:lnTo>
                  <a:lnTo>
                    <a:pt x="100" y="233"/>
                  </a:lnTo>
                  <a:lnTo>
                    <a:pt x="95" y="240"/>
                  </a:lnTo>
                  <a:lnTo>
                    <a:pt x="95" y="240"/>
                  </a:lnTo>
                  <a:lnTo>
                    <a:pt x="94" y="241"/>
                  </a:lnTo>
                  <a:lnTo>
                    <a:pt x="91" y="243"/>
                  </a:lnTo>
                  <a:lnTo>
                    <a:pt x="84" y="244"/>
                  </a:lnTo>
                  <a:lnTo>
                    <a:pt x="84" y="244"/>
                  </a:lnTo>
                  <a:lnTo>
                    <a:pt x="76" y="243"/>
                  </a:lnTo>
                  <a:lnTo>
                    <a:pt x="74" y="243"/>
                  </a:lnTo>
                  <a:lnTo>
                    <a:pt x="72" y="246"/>
                  </a:lnTo>
                  <a:lnTo>
                    <a:pt x="72" y="246"/>
                  </a:lnTo>
                  <a:lnTo>
                    <a:pt x="71" y="249"/>
                  </a:lnTo>
                  <a:lnTo>
                    <a:pt x="72" y="253"/>
                  </a:lnTo>
                  <a:lnTo>
                    <a:pt x="72" y="257"/>
                  </a:lnTo>
                  <a:lnTo>
                    <a:pt x="71" y="259"/>
                  </a:lnTo>
                  <a:lnTo>
                    <a:pt x="71" y="259"/>
                  </a:lnTo>
                  <a:lnTo>
                    <a:pt x="69" y="259"/>
                  </a:lnTo>
                  <a:lnTo>
                    <a:pt x="69" y="262"/>
                  </a:lnTo>
                  <a:lnTo>
                    <a:pt x="71" y="265"/>
                  </a:lnTo>
                  <a:lnTo>
                    <a:pt x="69" y="266"/>
                  </a:lnTo>
                  <a:lnTo>
                    <a:pt x="69" y="266"/>
                  </a:lnTo>
                  <a:lnTo>
                    <a:pt x="66" y="265"/>
                  </a:lnTo>
                  <a:lnTo>
                    <a:pt x="63" y="265"/>
                  </a:lnTo>
                  <a:lnTo>
                    <a:pt x="60" y="263"/>
                  </a:lnTo>
                  <a:lnTo>
                    <a:pt x="59" y="266"/>
                  </a:lnTo>
                  <a:lnTo>
                    <a:pt x="59" y="266"/>
                  </a:lnTo>
                  <a:lnTo>
                    <a:pt x="58" y="269"/>
                  </a:lnTo>
                  <a:lnTo>
                    <a:pt x="62" y="272"/>
                  </a:lnTo>
                  <a:lnTo>
                    <a:pt x="62" y="272"/>
                  </a:lnTo>
                  <a:lnTo>
                    <a:pt x="65" y="273"/>
                  </a:lnTo>
                  <a:lnTo>
                    <a:pt x="66" y="275"/>
                  </a:lnTo>
                  <a:lnTo>
                    <a:pt x="69" y="278"/>
                  </a:lnTo>
                  <a:lnTo>
                    <a:pt x="69" y="283"/>
                  </a:lnTo>
                  <a:lnTo>
                    <a:pt x="69" y="283"/>
                  </a:lnTo>
                  <a:lnTo>
                    <a:pt x="72" y="291"/>
                  </a:lnTo>
                  <a:lnTo>
                    <a:pt x="74" y="294"/>
                  </a:lnTo>
                  <a:lnTo>
                    <a:pt x="76" y="294"/>
                  </a:lnTo>
                  <a:lnTo>
                    <a:pt x="76" y="294"/>
                  </a:lnTo>
                  <a:lnTo>
                    <a:pt x="81" y="298"/>
                  </a:lnTo>
                  <a:lnTo>
                    <a:pt x="85" y="304"/>
                  </a:lnTo>
                  <a:lnTo>
                    <a:pt x="85" y="304"/>
                  </a:lnTo>
                  <a:lnTo>
                    <a:pt x="87" y="305"/>
                  </a:lnTo>
                  <a:lnTo>
                    <a:pt x="88" y="305"/>
                  </a:lnTo>
                  <a:lnTo>
                    <a:pt x="89" y="305"/>
                  </a:lnTo>
                  <a:lnTo>
                    <a:pt x="89" y="307"/>
                  </a:lnTo>
                  <a:lnTo>
                    <a:pt x="89" y="307"/>
                  </a:lnTo>
                  <a:lnTo>
                    <a:pt x="89" y="317"/>
                  </a:lnTo>
                  <a:lnTo>
                    <a:pt x="89" y="323"/>
                  </a:lnTo>
                  <a:lnTo>
                    <a:pt x="91" y="325"/>
                  </a:lnTo>
                  <a:lnTo>
                    <a:pt x="91" y="325"/>
                  </a:lnTo>
                  <a:lnTo>
                    <a:pt x="95" y="333"/>
                  </a:lnTo>
                  <a:lnTo>
                    <a:pt x="97" y="334"/>
                  </a:lnTo>
                  <a:lnTo>
                    <a:pt x="98" y="336"/>
                  </a:lnTo>
                  <a:lnTo>
                    <a:pt x="98" y="334"/>
                  </a:lnTo>
                  <a:lnTo>
                    <a:pt x="98" y="334"/>
                  </a:lnTo>
                  <a:lnTo>
                    <a:pt x="100" y="330"/>
                  </a:lnTo>
                  <a:lnTo>
                    <a:pt x="100" y="327"/>
                  </a:lnTo>
                  <a:lnTo>
                    <a:pt x="101" y="323"/>
                  </a:lnTo>
                  <a:lnTo>
                    <a:pt x="101" y="323"/>
                  </a:lnTo>
                  <a:lnTo>
                    <a:pt x="105" y="318"/>
                  </a:lnTo>
                  <a:lnTo>
                    <a:pt x="107" y="317"/>
                  </a:lnTo>
                  <a:lnTo>
                    <a:pt x="110" y="318"/>
                  </a:lnTo>
                  <a:lnTo>
                    <a:pt x="110" y="318"/>
                  </a:lnTo>
                  <a:lnTo>
                    <a:pt x="111" y="318"/>
                  </a:lnTo>
                  <a:lnTo>
                    <a:pt x="114" y="317"/>
                  </a:lnTo>
                  <a:lnTo>
                    <a:pt x="116" y="315"/>
                  </a:lnTo>
                  <a:lnTo>
                    <a:pt x="116" y="315"/>
                  </a:lnTo>
                  <a:lnTo>
                    <a:pt x="116" y="315"/>
                  </a:lnTo>
                  <a:lnTo>
                    <a:pt x="116" y="317"/>
                  </a:lnTo>
                  <a:lnTo>
                    <a:pt x="116" y="317"/>
                  </a:lnTo>
                  <a:lnTo>
                    <a:pt x="118" y="315"/>
                  </a:lnTo>
                  <a:lnTo>
                    <a:pt x="120" y="314"/>
                  </a:lnTo>
                  <a:lnTo>
                    <a:pt x="120" y="314"/>
                  </a:lnTo>
                  <a:lnTo>
                    <a:pt x="124" y="317"/>
                  </a:lnTo>
                  <a:lnTo>
                    <a:pt x="129" y="323"/>
                  </a:lnTo>
                  <a:lnTo>
                    <a:pt x="137" y="333"/>
                  </a:lnTo>
                  <a:lnTo>
                    <a:pt x="137" y="333"/>
                  </a:lnTo>
                  <a:lnTo>
                    <a:pt x="142" y="337"/>
                  </a:lnTo>
                  <a:lnTo>
                    <a:pt x="150" y="341"/>
                  </a:lnTo>
                  <a:lnTo>
                    <a:pt x="149" y="253"/>
                  </a:lnTo>
                  <a:lnTo>
                    <a:pt x="188" y="240"/>
                  </a:lnTo>
                  <a:lnTo>
                    <a:pt x="188" y="240"/>
                  </a:lnTo>
                  <a:lnTo>
                    <a:pt x="191" y="233"/>
                  </a:lnTo>
                  <a:lnTo>
                    <a:pt x="192" y="230"/>
                  </a:lnTo>
                  <a:lnTo>
                    <a:pt x="195" y="228"/>
                  </a:lnTo>
                  <a:lnTo>
                    <a:pt x="195" y="228"/>
                  </a:lnTo>
                  <a:lnTo>
                    <a:pt x="197" y="230"/>
                  </a:lnTo>
                  <a:lnTo>
                    <a:pt x="198" y="231"/>
                  </a:lnTo>
                  <a:lnTo>
                    <a:pt x="200" y="231"/>
                  </a:lnTo>
                  <a:lnTo>
                    <a:pt x="201" y="231"/>
                  </a:lnTo>
                  <a:lnTo>
                    <a:pt x="201" y="231"/>
                  </a:lnTo>
                  <a:lnTo>
                    <a:pt x="202" y="227"/>
                  </a:lnTo>
                  <a:lnTo>
                    <a:pt x="202" y="224"/>
                  </a:lnTo>
                  <a:lnTo>
                    <a:pt x="204" y="223"/>
                  </a:lnTo>
                  <a:lnTo>
                    <a:pt x="205" y="221"/>
                  </a:lnTo>
                  <a:lnTo>
                    <a:pt x="205" y="221"/>
                  </a:lnTo>
                  <a:lnTo>
                    <a:pt x="213" y="224"/>
                  </a:lnTo>
                  <a:lnTo>
                    <a:pt x="215" y="224"/>
                  </a:lnTo>
                  <a:lnTo>
                    <a:pt x="215" y="223"/>
                  </a:lnTo>
                  <a:lnTo>
                    <a:pt x="215" y="223"/>
                  </a:lnTo>
                  <a:lnTo>
                    <a:pt x="213" y="220"/>
                  </a:lnTo>
                  <a:lnTo>
                    <a:pt x="214" y="218"/>
                  </a:lnTo>
                  <a:lnTo>
                    <a:pt x="217" y="218"/>
                  </a:lnTo>
                  <a:lnTo>
                    <a:pt x="217" y="218"/>
                  </a:lnTo>
                  <a:lnTo>
                    <a:pt x="223" y="217"/>
                  </a:lnTo>
                  <a:lnTo>
                    <a:pt x="226" y="217"/>
                  </a:lnTo>
                  <a:lnTo>
                    <a:pt x="227" y="218"/>
                  </a:lnTo>
                  <a:lnTo>
                    <a:pt x="227" y="218"/>
                  </a:lnTo>
                  <a:lnTo>
                    <a:pt x="227" y="220"/>
                  </a:lnTo>
                  <a:lnTo>
                    <a:pt x="226" y="221"/>
                  </a:lnTo>
                  <a:lnTo>
                    <a:pt x="224" y="224"/>
                  </a:lnTo>
                  <a:lnTo>
                    <a:pt x="226" y="228"/>
                  </a:lnTo>
                  <a:lnTo>
                    <a:pt x="226" y="228"/>
                  </a:lnTo>
                  <a:lnTo>
                    <a:pt x="228" y="239"/>
                  </a:lnTo>
                  <a:lnTo>
                    <a:pt x="230" y="246"/>
                  </a:lnTo>
                  <a:lnTo>
                    <a:pt x="230" y="246"/>
                  </a:lnTo>
                  <a:lnTo>
                    <a:pt x="228" y="259"/>
                  </a:lnTo>
                  <a:lnTo>
                    <a:pt x="227" y="266"/>
                  </a:lnTo>
                  <a:lnTo>
                    <a:pt x="224" y="270"/>
                  </a:lnTo>
                  <a:lnTo>
                    <a:pt x="224" y="270"/>
                  </a:lnTo>
                  <a:lnTo>
                    <a:pt x="224" y="270"/>
                  </a:lnTo>
                  <a:lnTo>
                    <a:pt x="228" y="275"/>
                  </a:lnTo>
                  <a:lnTo>
                    <a:pt x="233" y="279"/>
                  </a:lnTo>
                  <a:lnTo>
                    <a:pt x="243" y="285"/>
                  </a:lnTo>
                  <a:lnTo>
                    <a:pt x="257" y="291"/>
                  </a:lnTo>
                  <a:lnTo>
                    <a:pt x="257" y="291"/>
                  </a:lnTo>
                  <a:lnTo>
                    <a:pt x="262" y="292"/>
                  </a:lnTo>
                  <a:lnTo>
                    <a:pt x="265" y="292"/>
                  </a:lnTo>
                  <a:lnTo>
                    <a:pt x="268" y="291"/>
                  </a:lnTo>
                  <a:lnTo>
                    <a:pt x="269" y="288"/>
                  </a:lnTo>
                  <a:lnTo>
                    <a:pt x="269" y="288"/>
                  </a:lnTo>
                  <a:lnTo>
                    <a:pt x="278" y="281"/>
                  </a:lnTo>
                  <a:lnTo>
                    <a:pt x="282" y="278"/>
                  </a:lnTo>
                  <a:lnTo>
                    <a:pt x="286" y="275"/>
                  </a:lnTo>
                  <a:lnTo>
                    <a:pt x="286" y="275"/>
                  </a:lnTo>
                  <a:lnTo>
                    <a:pt x="286" y="276"/>
                  </a:lnTo>
                  <a:lnTo>
                    <a:pt x="288" y="281"/>
                  </a:lnTo>
                  <a:lnTo>
                    <a:pt x="289" y="291"/>
                  </a:lnTo>
                  <a:lnTo>
                    <a:pt x="291" y="310"/>
                  </a:lnTo>
                  <a:lnTo>
                    <a:pt x="291" y="310"/>
                  </a:lnTo>
                  <a:lnTo>
                    <a:pt x="292" y="312"/>
                  </a:lnTo>
                  <a:lnTo>
                    <a:pt x="295" y="317"/>
                  </a:lnTo>
                  <a:lnTo>
                    <a:pt x="301" y="324"/>
                  </a:lnTo>
                  <a:lnTo>
                    <a:pt x="301" y="324"/>
                  </a:lnTo>
                  <a:lnTo>
                    <a:pt x="301" y="327"/>
                  </a:lnTo>
                  <a:lnTo>
                    <a:pt x="299" y="328"/>
                  </a:lnTo>
                  <a:lnTo>
                    <a:pt x="295" y="330"/>
                  </a:lnTo>
                  <a:lnTo>
                    <a:pt x="294" y="331"/>
                  </a:lnTo>
                  <a:lnTo>
                    <a:pt x="294" y="331"/>
                  </a:lnTo>
                  <a:lnTo>
                    <a:pt x="294" y="331"/>
                  </a:lnTo>
                  <a:lnTo>
                    <a:pt x="294" y="333"/>
                  </a:lnTo>
                  <a:lnTo>
                    <a:pt x="298" y="334"/>
                  </a:lnTo>
                  <a:lnTo>
                    <a:pt x="308" y="336"/>
                  </a:lnTo>
                  <a:lnTo>
                    <a:pt x="308" y="336"/>
                  </a:lnTo>
                  <a:lnTo>
                    <a:pt x="311" y="338"/>
                  </a:lnTo>
                  <a:lnTo>
                    <a:pt x="315" y="341"/>
                  </a:lnTo>
                  <a:lnTo>
                    <a:pt x="320" y="346"/>
                  </a:lnTo>
                  <a:lnTo>
                    <a:pt x="324" y="349"/>
                  </a:lnTo>
                  <a:lnTo>
                    <a:pt x="324" y="349"/>
                  </a:lnTo>
                  <a:lnTo>
                    <a:pt x="328" y="349"/>
                  </a:lnTo>
                  <a:lnTo>
                    <a:pt x="333" y="347"/>
                  </a:lnTo>
                  <a:lnTo>
                    <a:pt x="337" y="344"/>
                  </a:lnTo>
                  <a:lnTo>
                    <a:pt x="339" y="338"/>
                  </a:lnTo>
                  <a:lnTo>
                    <a:pt x="339" y="338"/>
                  </a:lnTo>
                  <a:lnTo>
                    <a:pt x="341" y="333"/>
                  </a:lnTo>
                  <a:lnTo>
                    <a:pt x="346" y="330"/>
                  </a:lnTo>
                  <a:lnTo>
                    <a:pt x="346" y="330"/>
                  </a:lnTo>
                  <a:lnTo>
                    <a:pt x="353" y="330"/>
                  </a:lnTo>
                  <a:lnTo>
                    <a:pt x="363" y="330"/>
                  </a:lnTo>
                  <a:lnTo>
                    <a:pt x="363" y="330"/>
                  </a:lnTo>
                  <a:lnTo>
                    <a:pt x="373" y="328"/>
                  </a:lnTo>
                  <a:lnTo>
                    <a:pt x="383" y="325"/>
                  </a:lnTo>
                  <a:lnTo>
                    <a:pt x="383" y="325"/>
                  </a:lnTo>
                  <a:lnTo>
                    <a:pt x="385" y="323"/>
                  </a:lnTo>
                  <a:lnTo>
                    <a:pt x="386" y="318"/>
                  </a:lnTo>
                  <a:lnTo>
                    <a:pt x="389" y="311"/>
                  </a:lnTo>
                  <a:lnTo>
                    <a:pt x="389" y="311"/>
                  </a:lnTo>
                  <a:lnTo>
                    <a:pt x="392" y="308"/>
                  </a:lnTo>
                  <a:lnTo>
                    <a:pt x="398" y="307"/>
                  </a:lnTo>
                  <a:lnTo>
                    <a:pt x="410" y="304"/>
                  </a:lnTo>
                  <a:lnTo>
                    <a:pt x="410" y="304"/>
                  </a:lnTo>
                  <a:lnTo>
                    <a:pt x="425" y="298"/>
                  </a:lnTo>
                  <a:lnTo>
                    <a:pt x="440" y="292"/>
                  </a:lnTo>
                  <a:lnTo>
                    <a:pt x="440" y="292"/>
                  </a:lnTo>
                  <a:lnTo>
                    <a:pt x="444" y="292"/>
                  </a:lnTo>
                  <a:lnTo>
                    <a:pt x="454" y="292"/>
                  </a:lnTo>
                  <a:lnTo>
                    <a:pt x="473" y="295"/>
                  </a:lnTo>
                  <a:lnTo>
                    <a:pt x="473" y="295"/>
                  </a:lnTo>
                  <a:lnTo>
                    <a:pt x="501" y="301"/>
                  </a:lnTo>
                  <a:lnTo>
                    <a:pt x="515" y="304"/>
                  </a:lnTo>
                  <a:lnTo>
                    <a:pt x="524" y="307"/>
                  </a:lnTo>
                  <a:lnTo>
                    <a:pt x="524" y="307"/>
                  </a:lnTo>
                  <a:lnTo>
                    <a:pt x="530" y="310"/>
                  </a:lnTo>
                  <a:lnTo>
                    <a:pt x="537" y="311"/>
                  </a:lnTo>
                  <a:lnTo>
                    <a:pt x="537" y="311"/>
                  </a:lnTo>
                  <a:lnTo>
                    <a:pt x="538" y="304"/>
                  </a:lnTo>
                  <a:lnTo>
                    <a:pt x="540" y="301"/>
                  </a:lnTo>
                  <a:lnTo>
                    <a:pt x="541" y="301"/>
                  </a:lnTo>
                  <a:lnTo>
                    <a:pt x="541" y="301"/>
                  </a:lnTo>
                  <a:lnTo>
                    <a:pt x="541" y="299"/>
                  </a:lnTo>
                  <a:lnTo>
                    <a:pt x="543" y="295"/>
                  </a:lnTo>
                  <a:lnTo>
                    <a:pt x="543" y="286"/>
                  </a:lnTo>
                  <a:lnTo>
                    <a:pt x="541" y="272"/>
                  </a:lnTo>
                  <a:lnTo>
                    <a:pt x="541" y="272"/>
                  </a:lnTo>
                  <a:lnTo>
                    <a:pt x="540" y="265"/>
                  </a:lnTo>
                  <a:lnTo>
                    <a:pt x="540" y="260"/>
                  </a:lnTo>
                  <a:lnTo>
                    <a:pt x="540" y="257"/>
                  </a:lnTo>
                  <a:lnTo>
                    <a:pt x="540" y="257"/>
                  </a:lnTo>
                  <a:lnTo>
                    <a:pt x="543" y="254"/>
                  </a:lnTo>
                  <a:lnTo>
                    <a:pt x="546" y="252"/>
                  </a:lnTo>
                  <a:lnTo>
                    <a:pt x="551" y="247"/>
                  </a:lnTo>
                  <a:lnTo>
                    <a:pt x="551" y="247"/>
                  </a:lnTo>
                  <a:lnTo>
                    <a:pt x="556" y="247"/>
                  </a:lnTo>
                  <a:lnTo>
                    <a:pt x="562" y="247"/>
                  </a:lnTo>
                  <a:lnTo>
                    <a:pt x="567" y="246"/>
                  </a:lnTo>
                  <a:lnTo>
                    <a:pt x="573" y="246"/>
                  </a:lnTo>
                  <a:lnTo>
                    <a:pt x="573" y="246"/>
                  </a:lnTo>
                  <a:lnTo>
                    <a:pt x="576" y="243"/>
                  </a:lnTo>
                  <a:lnTo>
                    <a:pt x="576" y="241"/>
                  </a:lnTo>
                  <a:lnTo>
                    <a:pt x="573" y="236"/>
                  </a:lnTo>
                  <a:lnTo>
                    <a:pt x="573" y="236"/>
                  </a:lnTo>
                  <a:lnTo>
                    <a:pt x="572" y="233"/>
                  </a:lnTo>
                  <a:lnTo>
                    <a:pt x="573" y="230"/>
                  </a:lnTo>
                  <a:lnTo>
                    <a:pt x="576" y="226"/>
                  </a:lnTo>
                  <a:lnTo>
                    <a:pt x="576" y="226"/>
                  </a:lnTo>
                  <a:lnTo>
                    <a:pt x="576" y="223"/>
                  </a:lnTo>
                  <a:lnTo>
                    <a:pt x="578" y="220"/>
                  </a:lnTo>
                  <a:lnTo>
                    <a:pt x="579" y="215"/>
                  </a:lnTo>
                  <a:lnTo>
                    <a:pt x="580" y="210"/>
                  </a:lnTo>
                  <a:lnTo>
                    <a:pt x="580" y="210"/>
                  </a:lnTo>
                  <a:lnTo>
                    <a:pt x="583" y="207"/>
                  </a:lnTo>
                  <a:lnTo>
                    <a:pt x="585" y="207"/>
                  </a:lnTo>
                  <a:lnTo>
                    <a:pt x="591" y="210"/>
                  </a:lnTo>
                  <a:lnTo>
                    <a:pt x="591" y="210"/>
                  </a:lnTo>
                  <a:lnTo>
                    <a:pt x="595" y="211"/>
                  </a:lnTo>
                  <a:lnTo>
                    <a:pt x="601" y="210"/>
                  </a:lnTo>
                  <a:lnTo>
                    <a:pt x="612" y="208"/>
                  </a:lnTo>
                  <a:lnTo>
                    <a:pt x="612" y="208"/>
                  </a:lnTo>
                  <a:lnTo>
                    <a:pt x="620" y="207"/>
                  </a:lnTo>
                  <a:lnTo>
                    <a:pt x="622" y="207"/>
                  </a:lnTo>
                  <a:lnTo>
                    <a:pt x="624" y="204"/>
                  </a:lnTo>
                  <a:lnTo>
                    <a:pt x="624" y="204"/>
                  </a:lnTo>
                  <a:lnTo>
                    <a:pt x="625" y="201"/>
                  </a:lnTo>
                  <a:lnTo>
                    <a:pt x="624" y="194"/>
                  </a:lnTo>
                  <a:lnTo>
                    <a:pt x="624" y="184"/>
                  </a:lnTo>
                  <a:lnTo>
                    <a:pt x="624" y="184"/>
                  </a:lnTo>
                  <a:lnTo>
                    <a:pt x="625" y="179"/>
                  </a:lnTo>
                  <a:lnTo>
                    <a:pt x="630" y="176"/>
                  </a:lnTo>
                  <a:lnTo>
                    <a:pt x="638" y="169"/>
                  </a:lnTo>
                  <a:lnTo>
                    <a:pt x="638" y="169"/>
                  </a:lnTo>
                  <a:lnTo>
                    <a:pt x="641" y="166"/>
                  </a:lnTo>
                  <a:lnTo>
                    <a:pt x="646" y="163"/>
                  </a:lnTo>
                  <a:lnTo>
                    <a:pt x="653" y="160"/>
                  </a:lnTo>
                  <a:lnTo>
                    <a:pt x="653" y="160"/>
                  </a:lnTo>
                  <a:lnTo>
                    <a:pt x="656" y="159"/>
                  </a:lnTo>
                  <a:lnTo>
                    <a:pt x="657" y="155"/>
                  </a:lnTo>
                  <a:lnTo>
                    <a:pt x="657" y="155"/>
                  </a:lnTo>
                  <a:lnTo>
                    <a:pt x="656" y="1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93" name="Freeform 764"/>
            <p:cNvSpPr>
              <a:spLocks/>
            </p:cNvSpPr>
            <p:nvPr/>
          </p:nvSpPr>
          <p:spPr bwMode="auto">
            <a:xfrm>
              <a:off x="6194426" y="3424667"/>
              <a:ext cx="139700" cy="61913"/>
            </a:xfrm>
            <a:custGeom>
              <a:avLst/>
              <a:gdLst>
                <a:gd name="T0" fmla="*/ 88 w 88"/>
                <a:gd name="T1" fmla="*/ 1 h 39"/>
                <a:gd name="T2" fmla="*/ 88 w 88"/>
                <a:gd name="T3" fmla="*/ 1 h 39"/>
                <a:gd name="T4" fmla="*/ 85 w 88"/>
                <a:gd name="T5" fmla="*/ 6 h 39"/>
                <a:gd name="T6" fmla="*/ 84 w 88"/>
                <a:gd name="T7" fmla="*/ 7 h 39"/>
                <a:gd name="T8" fmla="*/ 82 w 88"/>
                <a:gd name="T9" fmla="*/ 7 h 39"/>
                <a:gd name="T10" fmla="*/ 82 w 88"/>
                <a:gd name="T11" fmla="*/ 7 h 39"/>
                <a:gd name="T12" fmla="*/ 64 w 88"/>
                <a:gd name="T13" fmla="*/ 10 h 39"/>
                <a:gd name="T14" fmla="*/ 64 w 88"/>
                <a:gd name="T15" fmla="*/ 10 h 39"/>
                <a:gd name="T16" fmla="*/ 49 w 88"/>
                <a:gd name="T17" fmla="*/ 7 h 39"/>
                <a:gd name="T18" fmla="*/ 39 w 88"/>
                <a:gd name="T19" fmla="*/ 7 h 39"/>
                <a:gd name="T20" fmla="*/ 33 w 88"/>
                <a:gd name="T21" fmla="*/ 7 h 39"/>
                <a:gd name="T22" fmla="*/ 33 w 88"/>
                <a:gd name="T23" fmla="*/ 7 h 39"/>
                <a:gd name="T24" fmla="*/ 29 w 88"/>
                <a:gd name="T25" fmla="*/ 10 h 39"/>
                <a:gd name="T26" fmla="*/ 26 w 88"/>
                <a:gd name="T27" fmla="*/ 11 h 39"/>
                <a:gd name="T28" fmla="*/ 24 w 88"/>
                <a:gd name="T29" fmla="*/ 14 h 39"/>
                <a:gd name="T30" fmla="*/ 24 w 88"/>
                <a:gd name="T31" fmla="*/ 14 h 39"/>
                <a:gd name="T32" fmla="*/ 22 w 88"/>
                <a:gd name="T33" fmla="*/ 20 h 39"/>
                <a:gd name="T34" fmla="*/ 20 w 88"/>
                <a:gd name="T35" fmla="*/ 23 h 39"/>
                <a:gd name="T36" fmla="*/ 17 w 88"/>
                <a:gd name="T37" fmla="*/ 24 h 39"/>
                <a:gd name="T38" fmla="*/ 17 w 88"/>
                <a:gd name="T39" fmla="*/ 24 h 39"/>
                <a:gd name="T40" fmla="*/ 17 w 88"/>
                <a:gd name="T41" fmla="*/ 26 h 39"/>
                <a:gd name="T42" fmla="*/ 17 w 88"/>
                <a:gd name="T43" fmla="*/ 27 h 39"/>
                <a:gd name="T44" fmla="*/ 16 w 88"/>
                <a:gd name="T45" fmla="*/ 35 h 39"/>
                <a:gd name="T46" fmla="*/ 16 w 88"/>
                <a:gd name="T47" fmla="*/ 36 h 39"/>
                <a:gd name="T48" fmla="*/ 14 w 88"/>
                <a:gd name="T49" fmla="*/ 39 h 39"/>
                <a:gd name="T50" fmla="*/ 11 w 88"/>
                <a:gd name="T51" fmla="*/ 39 h 39"/>
                <a:gd name="T52" fmla="*/ 8 w 88"/>
                <a:gd name="T53" fmla="*/ 36 h 39"/>
                <a:gd name="T54" fmla="*/ 8 w 88"/>
                <a:gd name="T55" fmla="*/ 36 h 39"/>
                <a:gd name="T56" fmla="*/ 4 w 88"/>
                <a:gd name="T57" fmla="*/ 35 h 39"/>
                <a:gd name="T58" fmla="*/ 1 w 88"/>
                <a:gd name="T59" fmla="*/ 33 h 39"/>
                <a:gd name="T60" fmla="*/ 0 w 88"/>
                <a:gd name="T61" fmla="*/ 30 h 39"/>
                <a:gd name="T62" fmla="*/ 0 w 88"/>
                <a:gd name="T63" fmla="*/ 30 h 39"/>
                <a:gd name="T64" fmla="*/ 0 w 88"/>
                <a:gd name="T65" fmla="*/ 26 h 39"/>
                <a:gd name="T66" fmla="*/ 1 w 88"/>
                <a:gd name="T67" fmla="*/ 22 h 39"/>
                <a:gd name="T68" fmla="*/ 3 w 88"/>
                <a:gd name="T69" fmla="*/ 17 h 39"/>
                <a:gd name="T70" fmla="*/ 3 w 88"/>
                <a:gd name="T71" fmla="*/ 13 h 39"/>
                <a:gd name="T72" fmla="*/ 3 w 88"/>
                <a:gd name="T73" fmla="*/ 13 h 39"/>
                <a:gd name="T74" fmla="*/ 3 w 88"/>
                <a:gd name="T75" fmla="*/ 10 h 39"/>
                <a:gd name="T76" fmla="*/ 6 w 88"/>
                <a:gd name="T77" fmla="*/ 7 h 39"/>
                <a:gd name="T78" fmla="*/ 13 w 88"/>
                <a:gd name="T79" fmla="*/ 4 h 39"/>
                <a:gd name="T80" fmla="*/ 13 w 88"/>
                <a:gd name="T81" fmla="*/ 4 h 39"/>
                <a:gd name="T82" fmla="*/ 19 w 88"/>
                <a:gd name="T83" fmla="*/ 1 h 39"/>
                <a:gd name="T84" fmla="*/ 22 w 88"/>
                <a:gd name="T85" fmla="*/ 0 h 39"/>
                <a:gd name="T86" fmla="*/ 24 w 88"/>
                <a:gd name="T87" fmla="*/ 0 h 39"/>
                <a:gd name="T88" fmla="*/ 24 w 88"/>
                <a:gd name="T89" fmla="*/ 0 h 39"/>
                <a:gd name="T90" fmla="*/ 33 w 88"/>
                <a:gd name="T91" fmla="*/ 1 h 39"/>
                <a:gd name="T92" fmla="*/ 42 w 88"/>
                <a:gd name="T93" fmla="*/ 1 h 39"/>
                <a:gd name="T94" fmla="*/ 42 w 88"/>
                <a:gd name="T95" fmla="*/ 1 h 39"/>
                <a:gd name="T96" fmla="*/ 58 w 88"/>
                <a:gd name="T97" fmla="*/ 3 h 39"/>
                <a:gd name="T98" fmla="*/ 65 w 88"/>
                <a:gd name="T99" fmla="*/ 4 h 39"/>
                <a:gd name="T100" fmla="*/ 71 w 88"/>
                <a:gd name="T101" fmla="*/ 4 h 39"/>
                <a:gd name="T102" fmla="*/ 71 w 88"/>
                <a:gd name="T103" fmla="*/ 4 h 39"/>
                <a:gd name="T104" fmla="*/ 82 w 88"/>
                <a:gd name="T105" fmla="*/ 1 h 39"/>
                <a:gd name="T106" fmla="*/ 87 w 88"/>
                <a:gd name="T107" fmla="*/ 1 h 39"/>
                <a:gd name="T108" fmla="*/ 88 w 88"/>
                <a:gd name="T109" fmla="*/ 1 h 39"/>
                <a:gd name="T110" fmla="*/ 88 w 88"/>
                <a:gd name="T111" fmla="*/ 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8" h="39">
                  <a:moveTo>
                    <a:pt x="88" y="1"/>
                  </a:moveTo>
                  <a:lnTo>
                    <a:pt x="88" y="1"/>
                  </a:lnTo>
                  <a:lnTo>
                    <a:pt x="85" y="6"/>
                  </a:lnTo>
                  <a:lnTo>
                    <a:pt x="84" y="7"/>
                  </a:lnTo>
                  <a:lnTo>
                    <a:pt x="82" y="7"/>
                  </a:lnTo>
                  <a:lnTo>
                    <a:pt x="82" y="7"/>
                  </a:lnTo>
                  <a:lnTo>
                    <a:pt x="64" y="10"/>
                  </a:lnTo>
                  <a:lnTo>
                    <a:pt x="64" y="10"/>
                  </a:lnTo>
                  <a:lnTo>
                    <a:pt x="49" y="7"/>
                  </a:lnTo>
                  <a:lnTo>
                    <a:pt x="39" y="7"/>
                  </a:lnTo>
                  <a:lnTo>
                    <a:pt x="33" y="7"/>
                  </a:lnTo>
                  <a:lnTo>
                    <a:pt x="33" y="7"/>
                  </a:lnTo>
                  <a:lnTo>
                    <a:pt x="29" y="10"/>
                  </a:lnTo>
                  <a:lnTo>
                    <a:pt x="26" y="11"/>
                  </a:lnTo>
                  <a:lnTo>
                    <a:pt x="24" y="14"/>
                  </a:lnTo>
                  <a:lnTo>
                    <a:pt x="24" y="14"/>
                  </a:lnTo>
                  <a:lnTo>
                    <a:pt x="22" y="20"/>
                  </a:lnTo>
                  <a:lnTo>
                    <a:pt x="20" y="23"/>
                  </a:lnTo>
                  <a:lnTo>
                    <a:pt x="17" y="24"/>
                  </a:lnTo>
                  <a:lnTo>
                    <a:pt x="17" y="24"/>
                  </a:lnTo>
                  <a:lnTo>
                    <a:pt x="17" y="26"/>
                  </a:lnTo>
                  <a:lnTo>
                    <a:pt x="17" y="27"/>
                  </a:lnTo>
                  <a:lnTo>
                    <a:pt x="16" y="35"/>
                  </a:lnTo>
                  <a:lnTo>
                    <a:pt x="16" y="36"/>
                  </a:lnTo>
                  <a:lnTo>
                    <a:pt x="14" y="39"/>
                  </a:lnTo>
                  <a:lnTo>
                    <a:pt x="11" y="39"/>
                  </a:lnTo>
                  <a:lnTo>
                    <a:pt x="8" y="36"/>
                  </a:lnTo>
                  <a:lnTo>
                    <a:pt x="8" y="36"/>
                  </a:lnTo>
                  <a:lnTo>
                    <a:pt x="4" y="35"/>
                  </a:lnTo>
                  <a:lnTo>
                    <a:pt x="1" y="33"/>
                  </a:lnTo>
                  <a:lnTo>
                    <a:pt x="0" y="30"/>
                  </a:lnTo>
                  <a:lnTo>
                    <a:pt x="0" y="30"/>
                  </a:lnTo>
                  <a:lnTo>
                    <a:pt x="0" y="26"/>
                  </a:lnTo>
                  <a:lnTo>
                    <a:pt x="1" y="22"/>
                  </a:lnTo>
                  <a:lnTo>
                    <a:pt x="3" y="17"/>
                  </a:lnTo>
                  <a:lnTo>
                    <a:pt x="3" y="13"/>
                  </a:lnTo>
                  <a:lnTo>
                    <a:pt x="3" y="13"/>
                  </a:lnTo>
                  <a:lnTo>
                    <a:pt x="3" y="10"/>
                  </a:lnTo>
                  <a:lnTo>
                    <a:pt x="6" y="7"/>
                  </a:lnTo>
                  <a:lnTo>
                    <a:pt x="13" y="4"/>
                  </a:lnTo>
                  <a:lnTo>
                    <a:pt x="13" y="4"/>
                  </a:lnTo>
                  <a:lnTo>
                    <a:pt x="19" y="1"/>
                  </a:lnTo>
                  <a:lnTo>
                    <a:pt x="22" y="0"/>
                  </a:lnTo>
                  <a:lnTo>
                    <a:pt x="24" y="0"/>
                  </a:lnTo>
                  <a:lnTo>
                    <a:pt x="24" y="0"/>
                  </a:lnTo>
                  <a:lnTo>
                    <a:pt x="33" y="1"/>
                  </a:lnTo>
                  <a:lnTo>
                    <a:pt x="42" y="1"/>
                  </a:lnTo>
                  <a:lnTo>
                    <a:pt x="42" y="1"/>
                  </a:lnTo>
                  <a:lnTo>
                    <a:pt x="58" y="3"/>
                  </a:lnTo>
                  <a:lnTo>
                    <a:pt x="65" y="4"/>
                  </a:lnTo>
                  <a:lnTo>
                    <a:pt x="71" y="4"/>
                  </a:lnTo>
                  <a:lnTo>
                    <a:pt x="71" y="4"/>
                  </a:lnTo>
                  <a:lnTo>
                    <a:pt x="82" y="1"/>
                  </a:lnTo>
                  <a:lnTo>
                    <a:pt x="87" y="1"/>
                  </a:lnTo>
                  <a:lnTo>
                    <a:pt x="88" y="1"/>
                  </a:lnTo>
                  <a:lnTo>
                    <a:pt x="88"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94" name="Freeform 765"/>
            <p:cNvSpPr>
              <a:spLocks/>
            </p:cNvSpPr>
            <p:nvPr/>
          </p:nvSpPr>
          <p:spPr bwMode="auto">
            <a:xfrm>
              <a:off x="6435726" y="3348467"/>
              <a:ext cx="55563" cy="44450"/>
            </a:xfrm>
            <a:custGeom>
              <a:avLst/>
              <a:gdLst>
                <a:gd name="T0" fmla="*/ 33 w 35"/>
                <a:gd name="T1" fmla="*/ 20 h 28"/>
                <a:gd name="T2" fmla="*/ 33 w 35"/>
                <a:gd name="T3" fmla="*/ 20 h 28"/>
                <a:gd name="T4" fmla="*/ 29 w 35"/>
                <a:gd name="T5" fmla="*/ 23 h 28"/>
                <a:gd name="T6" fmla="*/ 24 w 35"/>
                <a:gd name="T7" fmla="*/ 26 h 28"/>
                <a:gd name="T8" fmla="*/ 22 w 35"/>
                <a:gd name="T9" fmla="*/ 28 h 28"/>
                <a:gd name="T10" fmla="*/ 16 w 35"/>
                <a:gd name="T11" fmla="*/ 26 h 28"/>
                <a:gd name="T12" fmla="*/ 16 w 35"/>
                <a:gd name="T13" fmla="*/ 26 h 28"/>
                <a:gd name="T14" fmla="*/ 4 w 35"/>
                <a:gd name="T15" fmla="*/ 19 h 28"/>
                <a:gd name="T16" fmla="*/ 0 w 35"/>
                <a:gd name="T17" fmla="*/ 15 h 28"/>
                <a:gd name="T18" fmla="*/ 0 w 35"/>
                <a:gd name="T19" fmla="*/ 13 h 28"/>
                <a:gd name="T20" fmla="*/ 0 w 35"/>
                <a:gd name="T21" fmla="*/ 12 h 28"/>
                <a:gd name="T22" fmla="*/ 0 w 35"/>
                <a:gd name="T23" fmla="*/ 12 h 28"/>
                <a:gd name="T24" fmla="*/ 1 w 35"/>
                <a:gd name="T25" fmla="*/ 9 h 28"/>
                <a:gd name="T26" fmla="*/ 1 w 35"/>
                <a:gd name="T27" fmla="*/ 4 h 28"/>
                <a:gd name="T28" fmla="*/ 3 w 35"/>
                <a:gd name="T29" fmla="*/ 1 h 28"/>
                <a:gd name="T30" fmla="*/ 4 w 35"/>
                <a:gd name="T31" fmla="*/ 0 h 28"/>
                <a:gd name="T32" fmla="*/ 6 w 35"/>
                <a:gd name="T33" fmla="*/ 0 h 28"/>
                <a:gd name="T34" fmla="*/ 6 w 35"/>
                <a:gd name="T35" fmla="*/ 0 h 28"/>
                <a:gd name="T36" fmla="*/ 9 w 35"/>
                <a:gd name="T37" fmla="*/ 3 h 28"/>
                <a:gd name="T38" fmla="*/ 10 w 35"/>
                <a:gd name="T39" fmla="*/ 6 h 28"/>
                <a:gd name="T40" fmla="*/ 11 w 35"/>
                <a:gd name="T41" fmla="*/ 9 h 28"/>
                <a:gd name="T42" fmla="*/ 14 w 35"/>
                <a:gd name="T43" fmla="*/ 12 h 28"/>
                <a:gd name="T44" fmla="*/ 14 w 35"/>
                <a:gd name="T45" fmla="*/ 12 h 28"/>
                <a:gd name="T46" fmla="*/ 20 w 35"/>
                <a:gd name="T47" fmla="*/ 15 h 28"/>
                <a:gd name="T48" fmla="*/ 27 w 35"/>
                <a:gd name="T49" fmla="*/ 17 h 28"/>
                <a:gd name="T50" fmla="*/ 33 w 35"/>
                <a:gd name="T51" fmla="*/ 19 h 28"/>
                <a:gd name="T52" fmla="*/ 35 w 35"/>
                <a:gd name="T53" fmla="*/ 20 h 28"/>
                <a:gd name="T54" fmla="*/ 33 w 35"/>
                <a:gd name="T55"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8">
                  <a:moveTo>
                    <a:pt x="33" y="20"/>
                  </a:moveTo>
                  <a:lnTo>
                    <a:pt x="33" y="20"/>
                  </a:lnTo>
                  <a:lnTo>
                    <a:pt x="29" y="23"/>
                  </a:lnTo>
                  <a:lnTo>
                    <a:pt x="24" y="26"/>
                  </a:lnTo>
                  <a:lnTo>
                    <a:pt x="22" y="28"/>
                  </a:lnTo>
                  <a:lnTo>
                    <a:pt x="16" y="26"/>
                  </a:lnTo>
                  <a:lnTo>
                    <a:pt x="16" y="26"/>
                  </a:lnTo>
                  <a:lnTo>
                    <a:pt x="4" y="19"/>
                  </a:lnTo>
                  <a:lnTo>
                    <a:pt x="0" y="15"/>
                  </a:lnTo>
                  <a:lnTo>
                    <a:pt x="0" y="13"/>
                  </a:lnTo>
                  <a:lnTo>
                    <a:pt x="0" y="12"/>
                  </a:lnTo>
                  <a:lnTo>
                    <a:pt x="0" y="12"/>
                  </a:lnTo>
                  <a:lnTo>
                    <a:pt x="1" y="9"/>
                  </a:lnTo>
                  <a:lnTo>
                    <a:pt x="1" y="4"/>
                  </a:lnTo>
                  <a:lnTo>
                    <a:pt x="3" y="1"/>
                  </a:lnTo>
                  <a:lnTo>
                    <a:pt x="4" y="0"/>
                  </a:lnTo>
                  <a:lnTo>
                    <a:pt x="6" y="0"/>
                  </a:lnTo>
                  <a:lnTo>
                    <a:pt x="6" y="0"/>
                  </a:lnTo>
                  <a:lnTo>
                    <a:pt x="9" y="3"/>
                  </a:lnTo>
                  <a:lnTo>
                    <a:pt x="10" y="6"/>
                  </a:lnTo>
                  <a:lnTo>
                    <a:pt x="11" y="9"/>
                  </a:lnTo>
                  <a:lnTo>
                    <a:pt x="14" y="12"/>
                  </a:lnTo>
                  <a:lnTo>
                    <a:pt x="14" y="12"/>
                  </a:lnTo>
                  <a:lnTo>
                    <a:pt x="20" y="15"/>
                  </a:lnTo>
                  <a:lnTo>
                    <a:pt x="27" y="17"/>
                  </a:lnTo>
                  <a:lnTo>
                    <a:pt x="33" y="19"/>
                  </a:lnTo>
                  <a:lnTo>
                    <a:pt x="35" y="20"/>
                  </a:lnTo>
                  <a:lnTo>
                    <a:pt x="33"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95" name="Freeform 774"/>
            <p:cNvSpPr>
              <a:spLocks/>
            </p:cNvSpPr>
            <p:nvPr/>
          </p:nvSpPr>
          <p:spPr bwMode="auto">
            <a:xfrm>
              <a:off x="5876926" y="3754867"/>
              <a:ext cx="404813" cy="388938"/>
            </a:xfrm>
            <a:custGeom>
              <a:avLst/>
              <a:gdLst>
                <a:gd name="T0" fmla="*/ 175 w 255"/>
                <a:gd name="T1" fmla="*/ 9 h 245"/>
                <a:gd name="T2" fmla="*/ 165 w 255"/>
                <a:gd name="T3" fmla="*/ 16 h 245"/>
                <a:gd name="T4" fmla="*/ 166 w 255"/>
                <a:gd name="T5" fmla="*/ 26 h 245"/>
                <a:gd name="T6" fmla="*/ 168 w 255"/>
                <a:gd name="T7" fmla="*/ 34 h 245"/>
                <a:gd name="T8" fmla="*/ 164 w 255"/>
                <a:gd name="T9" fmla="*/ 41 h 245"/>
                <a:gd name="T10" fmla="*/ 162 w 255"/>
                <a:gd name="T11" fmla="*/ 48 h 245"/>
                <a:gd name="T12" fmla="*/ 164 w 255"/>
                <a:gd name="T13" fmla="*/ 61 h 245"/>
                <a:gd name="T14" fmla="*/ 156 w 255"/>
                <a:gd name="T15" fmla="*/ 68 h 245"/>
                <a:gd name="T16" fmla="*/ 148 w 255"/>
                <a:gd name="T17" fmla="*/ 73 h 245"/>
                <a:gd name="T18" fmla="*/ 139 w 255"/>
                <a:gd name="T19" fmla="*/ 80 h 245"/>
                <a:gd name="T20" fmla="*/ 132 w 255"/>
                <a:gd name="T21" fmla="*/ 97 h 245"/>
                <a:gd name="T22" fmla="*/ 129 w 255"/>
                <a:gd name="T23" fmla="*/ 99 h 245"/>
                <a:gd name="T24" fmla="*/ 116 w 255"/>
                <a:gd name="T25" fmla="*/ 99 h 245"/>
                <a:gd name="T26" fmla="*/ 103 w 255"/>
                <a:gd name="T27" fmla="*/ 108 h 245"/>
                <a:gd name="T28" fmla="*/ 103 w 255"/>
                <a:gd name="T29" fmla="*/ 112 h 245"/>
                <a:gd name="T30" fmla="*/ 97 w 255"/>
                <a:gd name="T31" fmla="*/ 115 h 245"/>
                <a:gd name="T32" fmla="*/ 82 w 255"/>
                <a:gd name="T33" fmla="*/ 121 h 245"/>
                <a:gd name="T34" fmla="*/ 69 w 255"/>
                <a:gd name="T35" fmla="*/ 139 h 245"/>
                <a:gd name="T36" fmla="*/ 65 w 255"/>
                <a:gd name="T37" fmla="*/ 142 h 245"/>
                <a:gd name="T38" fmla="*/ 27 w 255"/>
                <a:gd name="T39" fmla="*/ 142 h 245"/>
                <a:gd name="T40" fmla="*/ 4 w 255"/>
                <a:gd name="T41" fmla="*/ 151 h 245"/>
                <a:gd name="T42" fmla="*/ 19 w 255"/>
                <a:gd name="T43" fmla="*/ 164 h 245"/>
                <a:gd name="T44" fmla="*/ 23 w 255"/>
                <a:gd name="T45" fmla="*/ 171 h 245"/>
                <a:gd name="T46" fmla="*/ 26 w 255"/>
                <a:gd name="T47" fmla="*/ 183 h 245"/>
                <a:gd name="T48" fmla="*/ 32 w 255"/>
                <a:gd name="T49" fmla="*/ 192 h 245"/>
                <a:gd name="T50" fmla="*/ 30 w 255"/>
                <a:gd name="T51" fmla="*/ 193 h 245"/>
                <a:gd name="T52" fmla="*/ 23 w 255"/>
                <a:gd name="T53" fmla="*/ 193 h 245"/>
                <a:gd name="T54" fmla="*/ 14 w 255"/>
                <a:gd name="T55" fmla="*/ 197 h 245"/>
                <a:gd name="T56" fmla="*/ 6 w 255"/>
                <a:gd name="T57" fmla="*/ 221 h 245"/>
                <a:gd name="T58" fmla="*/ 23 w 255"/>
                <a:gd name="T59" fmla="*/ 221 h 245"/>
                <a:gd name="T60" fmla="*/ 43 w 255"/>
                <a:gd name="T61" fmla="*/ 218 h 245"/>
                <a:gd name="T62" fmla="*/ 52 w 255"/>
                <a:gd name="T63" fmla="*/ 221 h 245"/>
                <a:gd name="T64" fmla="*/ 71 w 255"/>
                <a:gd name="T65" fmla="*/ 219 h 245"/>
                <a:gd name="T66" fmla="*/ 85 w 255"/>
                <a:gd name="T67" fmla="*/ 216 h 245"/>
                <a:gd name="T68" fmla="*/ 91 w 255"/>
                <a:gd name="T69" fmla="*/ 223 h 245"/>
                <a:gd name="T70" fmla="*/ 96 w 255"/>
                <a:gd name="T71" fmla="*/ 231 h 245"/>
                <a:gd name="T72" fmla="*/ 98 w 255"/>
                <a:gd name="T73" fmla="*/ 241 h 245"/>
                <a:gd name="T74" fmla="*/ 107 w 255"/>
                <a:gd name="T75" fmla="*/ 245 h 245"/>
                <a:gd name="T76" fmla="*/ 116 w 255"/>
                <a:gd name="T77" fmla="*/ 245 h 245"/>
                <a:gd name="T78" fmla="*/ 124 w 255"/>
                <a:gd name="T79" fmla="*/ 238 h 245"/>
                <a:gd name="T80" fmla="*/ 151 w 255"/>
                <a:gd name="T81" fmla="*/ 237 h 245"/>
                <a:gd name="T82" fmla="*/ 156 w 255"/>
                <a:gd name="T83" fmla="*/ 234 h 245"/>
                <a:gd name="T84" fmla="*/ 155 w 255"/>
                <a:gd name="T85" fmla="*/ 190 h 245"/>
                <a:gd name="T86" fmla="*/ 156 w 255"/>
                <a:gd name="T87" fmla="*/ 180 h 245"/>
                <a:gd name="T88" fmla="*/ 162 w 255"/>
                <a:gd name="T89" fmla="*/ 174 h 245"/>
                <a:gd name="T90" fmla="*/ 182 w 255"/>
                <a:gd name="T91" fmla="*/ 163 h 245"/>
                <a:gd name="T92" fmla="*/ 208 w 255"/>
                <a:gd name="T93" fmla="*/ 132 h 245"/>
                <a:gd name="T94" fmla="*/ 222 w 255"/>
                <a:gd name="T95" fmla="*/ 119 h 245"/>
                <a:gd name="T96" fmla="*/ 227 w 255"/>
                <a:gd name="T97" fmla="*/ 109 h 245"/>
                <a:gd name="T98" fmla="*/ 249 w 255"/>
                <a:gd name="T99" fmla="*/ 90 h 245"/>
                <a:gd name="T100" fmla="*/ 248 w 255"/>
                <a:gd name="T101" fmla="*/ 86 h 245"/>
                <a:gd name="T102" fmla="*/ 226 w 255"/>
                <a:gd name="T103" fmla="*/ 74 h 245"/>
                <a:gd name="T104" fmla="*/ 222 w 255"/>
                <a:gd name="T105" fmla="*/ 66 h 245"/>
                <a:gd name="T106" fmla="*/ 223 w 255"/>
                <a:gd name="T107" fmla="*/ 57 h 245"/>
                <a:gd name="T108" fmla="*/ 253 w 255"/>
                <a:gd name="T109" fmla="*/ 47 h 245"/>
                <a:gd name="T110" fmla="*/ 253 w 255"/>
                <a:gd name="T111" fmla="*/ 40 h 245"/>
                <a:gd name="T112" fmla="*/ 250 w 255"/>
                <a:gd name="T113" fmla="*/ 35 h 245"/>
                <a:gd name="T114" fmla="*/ 230 w 255"/>
                <a:gd name="T115" fmla="*/ 35 h 245"/>
                <a:gd name="T116" fmla="*/ 227 w 255"/>
                <a:gd name="T117" fmla="*/ 32 h 245"/>
                <a:gd name="T118" fmla="*/ 224 w 255"/>
                <a:gd name="T119" fmla="*/ 16 h 245"/>
                <a:gd name="T120" fmla="*/ 213 w 255"/>
                <a:gd name="T121" fmla="*/ 2 h 245"/>
                <a:gd name="T122" fmla="*/ 201 w 255"/>
                <a:gd name="T123" fmla="*/ 2 h 245"/>
                <a:gd name="T124" fmla="*/ 182 w 255"/>
                <a:gd name="T125" fmla="*/ 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5" h="245">
                  <a:moveTo>
                    <a:pt x="178" y="6"/>
                  </a:moveTo>
                  <a:lnTo>
                    <a:pt x="178" y="6"/>
                  </a:lnTo>
                  <a:lnTo>
                    <a:pt x="175" y="9"/>
                  </a:lnTo>
                  <a:lnTo>
                    <a:pt x="169" y="12"/>
                  </a:lnTo>
                  <a:lnTo>
                    <a:pt x="165" y="15"/>
                  </a:lnTo>
                  <a:lnTo>
                    <a:pt x="165" y="16"/>
                  </a:lnTo>
                  <a:lnTo>
                    <a:pt x="164" y="18"/>
                  </a:lnTo>
                  <a:lnTo>
                    <a:pt x="164" y="18"/>
                  </a:lnTo>
                  <a:lnTo>
                    <a:pt x="166" y="26"/>
                  </a:lnTo>
                  <a:lnTo>
                    <a:pt x="168" y="31"/>
                  </a:lnTo>
                  <a:lnTo>
                    <a:pt x="168" y="34"/>
                  </a:lnTo>
                  <a:lnTo>
                    <a:pt x="168" y="34"/>
                  </a:lnTo>
                  <a:lnTo>
                    <a:pt x="168" y="37"/>
                  </a:lnTo>
                  <a:lnTo>
                    <a:pt x="165" y="38"/>
                  </a:lnTo>
                  <a:lnTo>
                    <a:pt x="164" y="41"/>
                  </a:lnTo>
                  <a:lnTo>
                    <a:pt x="162" y="44"/>
                  </a:lnTo>
                  <a:lnTo>
                    <a:pt x="162" y="44"/>
                  </a:lnTo>
                  <a:lnTo>
                    <a:pt x="162" y="48"/>
                  </a:lnTo>
                  <a:lnTo>
                    <a:pt x="162" y="53"/>
                  </a:lnTo>
                  <a:lnTo>
                    <a:pt x="164" y="57"/>
                  </a:lnTo>
                  <a:lnTo>
                    <a:pt x="164" y="61"/>
                  </a:lnTo>
                  <a:lnTo>
                    <a:pt x="164" y="61"/>
                  </a:lnTo>
                  <a:lnTo>
                    <a:pt x="159" y="67"/>
                  </a:lnTo>
                  <a:lnTo>
                    <a:pt x="156" y="68"/>
                  </a:lnTo>
                  <a:lnTo>
                    <a:pt x="152" y="71"/>
                  </a:lnTo>
                  <a:lnTo>
                    <a:pt x="152" y="71"/>
                  </a:lnTo>
                  <a:lnTo>
                    <a:pt x="148" y="73"/>
                  </a:lnTo>
                  <a:lnTo>
                    <a:pt x="145" y="74"/>
                  </a:lnTo>
                  <a:lnTo>
                    <a:pt x="139" y="80"/>
                  </a:lnTo>
                  <a:lnTo>
                    <a:pt x="139" y="80"/>
                  </a:lnTo>
                  <a:lnTo>
                    <a:pt x="136" y="86"/>
                  </a:lnTo>
                  <a:lnTo>
                    <a:pt x="135" y="92"/>
                  </a:lnTo>
                  <a:lnTo>
                    <a:pt x="132" y="97"/>
                  </a:lnTo>
                  <a:lnTo>
                    <a:pt x="130" y="99"/>
                  </a:lnTo>
                  <a:lnTo>
                    <a:pt x="129" y="99"/>
                  </a:lnTo>
                  <a:lnTo>
                    <a:pt x="129" y="99"/>
                  </a:lnTo>
                  <a:lnTo>
                    <a:pt x="122" y="99"/>
                  </a:lnTo>
                  <a:lnTo>
                    <a:pt x="116" y="99"/>
                  </a:lnTo>
                  <a:lnTo>
                    <a:pt x="116" y="99"/>
                  </a:lnTo>
                  <a:lnTo>
                    <a:pt x="110" y="102"/>
                  </a:lnTo>
                  <a:lnTo>
                    <a:pt x="106" y="105"/>
                  </a:lnTo>
                  <a:lnTo>
                    <a:pt x="103" y="108"/>
                  </a:lnTo>
                  <a:lnTo>
                    <a:pt x="103" y="109"/>
                  </a:lnTo>
                  <a:lnTo>
                    <a:pt x="103" y="109"/>
                  </a:lnTo>
                  <a:lnTo>
                    <a:pt x="103" y="112"/>
                  </a:lnTo>
                  <a:lnTo>
                    <a:pt x="101" y="113"/>
                  </a:lnTo>
                  <a:lnTo>
                    <a:pt x="97" y="115"/>
                  </a:lnTo>
                  <a:lnTo>
                    <a:pt x="97" y="115"/>
                  </a:lnTo>
                  <a:lnTo>
                    <a:pt x="88" y="115"/>
                  </a:lnTo>
                  <a:lnTo>
                    <a:pt x="85" y="116"/>
                  </a:lnTo>
                  <a:lnTo>
                    <a:pt x="82" y="121"/>
                  </a:lnTo>
                  <a:lnTo>
                    <a:pt x="82" y="121"/>
                  </a:lnTo>
                  <a:lnTo>
                    <a:pt x="74" y="134"/>
                  </a:lnTo>
                  <a:lnTo>
                    <a:pt x="69" y="139"/>
                  </a:lnTo>
                  <a:lnTo>
                    <a:pt x="68" y="142"/>
                  </a:lnTo>
                  <a:lnTo>
                    <a:pt x="65" y="142"/>
                  </a:lnTo>
                  <a:lnTo>
                    <a:pt x="65" y="142"/>
                  </a:lnTo>
                  <a:lnTo>
                    <a:pt x="46" y="142"/>
                  </a:lnTo>
                  <a:lnTo>
                    <a:pt x="27" y="142"/>
                  </a:lnTo>
                  <a:lnTo>
                    <a:pt x="27" y="142"/>
                  </a:lnTo>
                  <a:lnTo>
                    <a:pt x="0" y="145"/>
                  </a:lnTo>
                  <a:lnTo>
                    <a:pt x="0" y="145"/>
                  </a:lnTo>
                  <a:lnTo>
                    <a:pt x="4" y="151"/>
                  </a:lnTo>
                  <a:lnTo>
                    <a:pt x="4" y="151"/>
                  </a:lnTo>
                  <a:lnTo>
                    <a:pt x="9" y="157"/>
                  </a:lnTo>
                  <a:lnTo>
                    <a:pt x="19" y="164"/>
                  </a:lnTo>
                  <a:lnTo>
                    <a:pt x="19" y="164"/>
                  </a:lnTo>
                  <a:lnTo>
                    <a:pt x="22" y="168"/>
                  </a:lnTo>
                  <a:lnTo>
                    <a:pt x="23" y="171"/>
                  </a:lnTo>
                  <a:lnTo>
                    <a:pt x="25" y="179"/>
                  </a:lnTo>
                  <a:lnTo>
                    <a:pt x="25" y="179"/>
                  </a:lnTo>
                  <a:lnTo>
                    <a:pt x="26" y="183"/>
                  </a:lnTo>
                  <a:lnTo>
                    <a:pt x="29" y="186"/>
                  </a:lnTo>
                  <a:lnTo>
                    <a:pt x="30" y="189"/>
                  </a:lnTo>
                  <a:lnTo>
                    <a:pt x="32" y="192"/>
                  </a:lnTo>
                  <a:lnTo>
                    <a:pt x="32" y="192"/>
                  </a:lnTo>
                  <a:lnTo>
                    <a:pt x="32" y="192"/>
                  </a:lnTo>
                  <a:lnTo>
                    <a:pt x="30" y="193"/>
                  </a:lnTo>
                  <a:lnTo>
                    <a:pt x="27" y="193"/>
                  </a:lnTo>
                  <a:lnTo>
                    <a:pt x="27" y="193"/>
                  </a:lnTo>
                  <a:lnTo>
                    <a:pt x="23" y="193"/>
                  </a:lnTo>
                  <a:lnTo>
                    <a:pt x="19" y="195"/>
                  </a:lnTo>
                  <a:lnTo>
                    <a:pt x="19" y="195"/>
                  </a:lnTo>
                  <a:lnTo>
                    <a:pt x="14" y="197"/>
                  </a:lnTo>
                  <a:lnTo>
                    <a:pt x="12" y="205"/>
                  </a:lnTo>
                  <a:lnTo>
                    <a:pt x="6" y="221"/>
                  </a:lnTo>
                  <a:lnTo>
                    <a:pt x="6" y="221"/>
                  </a:lnTo>
                  <a:lnTo>
                    <a:pt x="14" y="222"/>
                  </a:lnTo>
                  <a:lnTo>
                    <a:pt x="23" y="221"/>
                  </a:lnTo>
                  <a:lnTo>
                    <a:pt x="23" y="221"/>
                  </a:lnTo>
                  <a:lnTo>
                    <a:pt x="40" y="218"/>
                  </a:lnTo>
                  <a:lnTo>
                    <a:pt x="40" y="218"/>
                  </a:lnTo>
                  <a:lnTo>
                    <a:pt x="43" y="218"/>
                  </a:lnTo>
                  <a:lnTo>
                    <a:pt x="45" y="219"/>
                  </a:lnTo>
                  <a:lnTo>
                    <a:pt x="48" y="219"/>
                  </a:lnTo>
                  <a:lnTo>
                    <a:pt x="52" y="221"/>
                  </a:lnTo>
                  <a:lnTo>
                    <a:pt x="52" y="221"/>
                  </a:lnTo>
                  <a:lnTo>
                    <a:pt x="61" y="221"/>
                  </a:lnTo>
                  <a:lnTo>
                    <a:pt x="71" y="219"/>
                  </a:lnTo>
                  <a:lnTo>
                    <a:pt x="71" y="219"/>
                  </a:lnTo>
                  <a:lnTo>
                    <a:pt x="80" y="218"/>
                  </a:lnTo>
                  <a:lnTo>
                    <a:pt x="85" y="216"/>
                  </a:lnTo>
                  <a:lnTo>
                    <a:pt x="85" y="216"/>
                  </a:lnTo>
                  <a:lnTo>
                    <a:pt x="88" y="219"/>
                  </a:lnTo>
                  <a:lnTo>
                    <a:pt x="91" y="223"/>
                  </a:lnTo>
                  <a:lnTo>
                    <a:pt x="94" y="228"/>
                  </a:lnTo>
                  <a:lnTo>
                    <a:pt x="96" y="231"/>
                  </a:lnTo>
                  <a:lnTo>
                    <a:pt x="96" y="231"/>
                  </a:lnTo>
                  <a:lnTo>
                    <a:pt x="97" y="234"/>
                  </a:lnTo>
                  <a:lnTo>
                    <a:pt x="97" y="237"/>
                  </a:lnTo>
                  <a:lnTo>
                    <a:pt x="98" y="241"/>
                  </a:lnTo>
                  <a:lnTo>
                    <a:pt x="103" y="244"/>
                  </a:lnTo>
                  <a:lnTo>
                    <a:pt x="103" y="244"/>
                  </a:lnTo>
                  <a:lnTo>
                    <a:pt x="107" y="245"/>
                  </a:lnTo>
                  <a:lnTo>
                    <a:pt x="110" y="245"/>
                  </a:lnTo>
                  <a:lnTo>
                    <a:pt x="116" y="245"/>
                  </a:lnTo>
                  <a:lnTo>
                    <a:pt x="116" y="245"/>
                  </a:lnTo>
                  <a:lnTo>
                    <a:pt x="120" y="239"/>
                  </a:lnTo>
                  <a:lnTo>
                    <a:pt x="122" y="238"/>
                  </a:lnTo>
                  <a:lnTo>
                    <a:pt x="124" y="238"/>
                  </a:lnTo>
                  <a:lnTo>
                    <a:pt x="124" y="238"/>
                  </a:lnTo>
                  <a:lnTo>
                    <a:pt x="142" y="238"/>
                  </a:lnTo>
                  <a:lnTo>
                    <a:pt x="151" y="237"/>
                  </a:lnTo>
                  <a:lnTo>
                    <a:pt x="153" y="235"/>
                  </a:lnTo>
                  <a:lnTo>
                    <a:pt x="156" y="234"/>
                  </a:lnTo>
                  <a:lnTo>
                    <a:pt x="156" y="234"/>
                  </a:lnTo>
                  <a:lnTo>
                    <a:pt x="156" y="225"/>
                  </a:lnTo>
                  <a:lnTo>
                    <a:pt x="156" y="213"/>
                  </a:lnTo>
                  <a:lnTo>
                    <a:pt x="155" y="190"/>
                  </a:lnTo>
                  <a:lnTo>
                    <a:pt x="155" y="190"/>
                  </a:lnTo>
                  <a:lnTo>
                    <a:pt x="155" y="186"/>
                  </a:lnTo>
                  <a:lnTo>
                    <a:pt x="156" y="180"/>
                  </a:lnTo>
                  <a:lnTo>
                    <a:pt x="158" y="177"/>
                  </a:lnTo>
                  <a:lnTo>
                    <a:pt x="162" y="174"/>
                  </a:lnTo>
                  <a:lnTo>
                    <a:pt x="162" y="174"/>
                  </a:lnTo>
                  <a:lnTo>
                    <a:pt x="171" y="171"/>
                  </a:lnTo>
                  <a:lnTo>
                    <a:pt x="177" y="168"/>
                  </a:lnTo>
                  <a:lnTo>
                    <a:pt x="182" y="163"/>
                  </a:lnTo>
                  <a:lnTo>
                    <a:pt x="182" y="163"/>
                  </a:lnTo>
                  <a:lnTo>
                    <a:pt x="200" y="142"/>
                  </a:lnTo>
                  <a:lnTo>
                    <a:pt x="208" y="132"/>
                  </a:lnTo>
                  <a:lnTo>
                    <a:pt x="214" y="126"/>
                  </a:lnTo>
                  <a:lnTo>
                    <a:pt x="214" y="126"/>
                  </a:lnTo>
                  <a:lnTo>
                    <a:pt x="222" y="119"/>
                  </a:lnTo>
                  <a:lnTo>
                    <a:pt x="224" y="115"/>
                  </a:lnTo>
                  <a:lnTo>
                    <a:pt x="227" y="109"/>
                  </a:lnTo>
                  <a:lnTo>
                    <a:pt x="227" y="109"/>
                  </a:lnTo>
                  <a:lnTo>
                    <a:pt x="232" y="103"/>
                  </a:lnTo>
                  <a:lnTo>
                    <a:pt x="239" y="97"/>
                  </a:lnTo>
                  <a:lnTo>
                    <a:pt x="249" y="90"/>
                  </a:lnTo>
                  <a:lnTo>
                    <a:pt x="249" y="90"/>
                  </a:lnTo>
                  <a:lnTo>
                    <a:pt x="249" y="89"/>
                  </a:lnTo>
                  <a:lnTo>
                    <a:pt x="248" y="86"/>
                  </a:lnTo>
                  <a:lnTo>
                    <a:pt x="239" y="82"/>
                  </a:lnTo>
                  <a:lnTo>
                    <a:pt x="232" y="77"/>
                  </a:lnTo>
                  <a:lnTo>
                    <a:pt x="226" y="74"/>
                  </a:lnTo>
                  <a:lnTo>
                    <a:pt x="226" y="74"/>
                  </a:lnTo>
                  <a:lnTo>
                    <a:pt x="223" y="70"/>
                  </a:lnTo>
                  <a:lnTo>
                    <a:pt x="222" y="66"/>
                  </a:lnTo>
                  <a:lnTo>
                    <a:pt x="222" y="60"/>
                  </a:lnTo>
                  <a:lnTo>
                    <a:pt x="223" y="57"/>
                  </a:lnTo>
                  <a:lnTo>
                    <a:pt x="223" y="57"/>
                  </a:lnTo>
                  <a:lnTo>
                    <a:pt x="227" y="54"/>
                  </a:lnTo>
                  <a:lnTo>
                    <a:pt x="235" y="53"/>
                  </a:lnTo>
                  <a:lnTo>
                    <a:pt x="253" y="47"/>
                  </a:lnTo>
                  <a:lnTo>
                    <a:pt x="253" y="47"/>
                  </a:lnTo>
                  <a:lnTo>
                    <a:pt x="255" y="42"/>
                  </a:lnTo>
                  <a:lnTo>
                    <a:pt x="253" y="40"/>
                  </a:lnTo>
                  <a:lnTo>
                    <a:pt x="252" y="37"/>
                  </a:lnTo>
                  <a:lnTo>
                    <a:pt x="252" y="37"/>
                  </a:lnTo>
                  <a:lnTo>
                    <a:pt x="250" y="35"/>
                  </a:lnTo>
                  <a:lnTo>
                    <a:pt x="249" y="34"/>
                  </a:lnTo>
                  <a:lnTo>
                    <a:pt x="242" y="34"/>
                  </a:lnTo>
                  <a:lnTo>
                    <a:pt x="230" y="35"/>
                  </a:lnTo>
                  <a:lnTo>
                    <a:pt x="230" y="35"/>
                  </a:lnTo>
                  <a:lnTo>
                    <a:pt x="227" y="34"/>
                  </a:lnTo>
                  <a:lnTo>
                    <a:pt x="227" y="32"/>
                  </a:lnTo>
                  <a:lnTo>
                    <a:pt x="226" y="24"/>
                  </a:lnTo>
                  <a:lnTo>
                    <a:pt x="226" y="24"/>
                  </a:lnTo>
                  <a:lnTo>
                    <a:pt x="224" y="16"/>
                  </a:lnTo>
                  <a:lnTo>
                    <a:pt x="222" y="11"/>
                  </a:lnTo>
                  <a:lnTo>
                    <a:pt x="217" y="6"/>
                  </a:lnTo>
                  <a:lnTo>
                    <a:pt x="213" y="2"/>
                  </a:lnTo>
                  <a:lnTo>
                    <a:pt x="213" y="0"/>
                  </a:lnTo>
                  <a:lnTo>
                    <a:pt x="213" y="0"/>
                  </a:lnTo>
                  <a:lnTo>
                    <a:pt x="201" y="2"/>
                  </a:lnTo>
                  <a:lnTo>
                    <a:pt x="201" y="2"/>
                  </a:lnTo>
                  <a:lnTo>
                    <a:pt x="188" y="2"/>
                  </a:lnTo>
                  <a:lnTo>
                    <a:pt x="182" y="3"/>
                  </a:lnTo>
                  <a:lnTo>
                    <a:pt x="178" y="6"/>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96" name="Freeform 775"/>
            <p:cNvSpPr>
              <a:spLocks/>
            </p:cNvSpPr>
            <p:nvPr/>
          </p:nvSpPr>
          <p:spPr bwMode="auto">
            <a:xfrm>
              <a:off x="5876926" y="3754867"/>
              <a:ext cx="404813" cy="388938"/>
            </a:xfrm>
            <a:custGeom>
              <a:avLst/>
              <a:gdLst>
                <a:gd name="T0" fmla="*/ 175 w 255"/>
                <a:gd name="T1" fmla="*/ 9 h 245"/>
                <a:gd name="T2" fmla="*/ 165 w 255"/>
                <a:gd name="T3" fmla="*/ 16 h 245"/>
                <a:gd name="T4" fmla="*/ 166 w 255"/>
                <a:gd name="T5" fmla="*/ 26 h 245"/>
                <a:gd name="T6" fmla="*/ 168 w 255"/>
                <a:gd name="T7" fmla="*/ 34 h 245"/>
                <a:gd name="T8" fmla="*/ 164 w 255"/>
                <a:gd name="T9" fmla="*/ 41 h 245"/>
                <a:gd name="T10" fmla="*/ 162 w 255"/>
                <a:gd name="T11" fmla="*/ 48 h 245"/>
                <a:gd name="T12" fmla="*/ 164 w 255"/>
                <a:gd name="T13" fmla="*/ 61 h 245"/>
                <a:gd name="T14" fmla="*/ 156 w 255"/>
                <a:gd name="T15" fmla="*/ 68 h 245"/>
                <a:gd name="T16" fmla="*/ 148 w 255"/>
                <a:gd name="T17" fmla="*/ 73 h 245"/>
                <a:gd name="T18" fmla="*/ 139 w 255"/>
                <a:gd name="T19" fmla="*/ 80 h 245"/>
                <a:gd name="T20" fmla="*/ 132 w 255"/>
                <a:gd name="T21" fmla="*/ 97 h 245"/>
                <a:gd name="T22" fmla="*/ 129 w 255"/>
                <a:gd name="T23" fmla="*/ 99 h 245"/>
                <a:gd name="T24" fmla="*/ 116 w 255"/>
                <a:gd name="T25" fmla="*/ 99 h 245"/>
                <a:gd name="T26" fmla="*/ 103 w 255"/>
                <a:gd name="T27" fmla="*/ 108 h 245"/>
                <a:gd name="T28" fmla="*/ 103 w 255"/>
                <a:gd name="T29" fmla="*/ 112 h 245"/>
                <a:gd name="T30" fmla="*/ 97 w 255"/>
                <a:gd name="T31" fmla="*/ 115 h 245"/>
                <a:gd name="T32" fmla="*/ 82 w 255"/>
                <a:gd name="T33" fmla="*/ 121 h 245"/>
                <a:gd name="T34" fmla="*/ 69 w 255"/>
                <a:gd name="T35" fmla="*/ 139 h 245"/>
                <a:gd name="T36" fmla="*/ 65 w 255"/>
                <a:gd name="T37" fmla="*/ 142 h 245"/>
                <a:gd name="T38" fmla="*/ 27 w 255"/>
                <a:gd name="T39" fmla="*/ 142 h 245"/>
                <a:gd name="T40" fmla="*/ 4 w 255"/>
                <a:gd name="T41" fmla="*/ 151 h 245"/>
                <a:gd name="T42" fmla="*/ 19 w 255"/>
                <a:gd name="T43" fmla="*/ 164 h 245"/>
                <a:gd name="T44" fmla="*/ 23 w 255"/>
                <a:gd name="T45" fmla="*/ 171 h 245"/>
                <a:gd name="T46" fmla="*/ 26 w 255"/>
                <a:gd name="T47" fmla="*/ 183 h 245"/>
                <a:gd name="T48" fmla="*/ 32 w 255"/>
                <a:gd name="T49" fmla="*/ 192 h 245"/>
                <a:gd name="T50" fmla="*/ 30 w 255"/>
                <a:gd name="T51" fmla="*/ 193 h 245"/>
                <a:gd name="T52" fmla="*/ 23 w 255"/>
                <a:gd name="T53" fmla="*/ 193 h 245"/>
                <a:gd name="T54" fmla="*/ 14 w 255"/>
                <a:gd name="T55" fmla="*/ 197 h 245"/>
                <a:gd name="T56" fmla="*/ 6 w 255"/>
                <a:gd name="T57" fmla="*/ 221 h 245"/>
                <a:gd name="T58" fmla="*/ 23 w 255"/>
                <a:gd name="T59" fmla="*/ 221 h 245"/>
                <a:gd name="T60" fmla="*/ 43 w 255"/>
                <a:gd name="T61" fmla="*/ 218 h 245"/>
                <a:gd name="T62" fmla="*/ 52 w 255"/>
                <a:gd name="T63" fmla="*/ 221 h 245"/>
                <a:gd name="T64" fmla="*/ 71 w 255"/>
                <a:gd name="T65" fmla="*/ 219 h 245"/>
                <a:gd name="T66" fmla="*/ 85 w 255"/>
                <a:gd name="T67" fmla="*/ 216 h 245"/>
                <a:gd name="T68" fmla="*/ 91 w 255"/>
                <a:gd name="T69" fmla="*/ 223 h 245"/>
                <a:gd name="T70" fmla="*/ 96 w 255"/>
                <a:gd name="T71" fmla="*/ 231 h 245"/>
                <a:gd name="T72" fmla="*/ 98 w 255"/>
                <a:gd name="T73" fmla="*/ 241 h 245"/>
                <a:gd name="T74" fmla="*/ 107 w 255"/>
                <a:gd name="T75" fmla="*/ 245 h 245"/>
                <a:gd name="T76" fmla="*/ 116 w 255"/>
                <a:gd name="T77" fmla="*/ 245 h 245"/>
                <a:gd name="T78" fmla="*/ 124 w 255"/>
                <a:gd name="T79" fmla="*/ 238 h 245"/>
                <a:gd name="T80" fmla="*/ 151 w 255"/>
                <a:gd name="T81" fmla="*/ 237 h 245"/>
                <a:gd name="T82" fmla="*/ 156 w 255"/>
                <a:gd name="T83" fmla="*/ 234 h 245"/>
                <a:gd name="T84" fmla="*/ 155 w 255"/>
                <a:gd name="T85" fmla="*/ 190 h 245"/>
                <a:gd name="T86" fmla="*/ 156 w 255"/>
                <a:gd name="T87" fmla="*/ 180 h 245"/>
                <a:gd name="T88" fmla="*/ 162 w 255"/>
                <a:gd name="T89" fmla="*/ 174 h 245"/>
                <a:gd name="T90" fmla="*/ 182 w 255"/>
                <a:gd name="T91" fmla="*/ 163 h 245"/>
                <a:gd name="T92" fmla="*/ 208 w 255"/>
                <a:gd name="T93" fmla="*/ 132 h 245"/>
                <a:gd name="T94" fmla="*/ 222 w 255"/>
                <a:gd name="T95" fmla="*/ 119 h 245"/>
                <a:gd name="T96" fmla="*/ 227 w 255"/>
                <a:gd name="T97" fmla="*/ 109 h 245"/>
                <a:gd name="T98" fmla="*/ 249 w 255"/>
                <a:gd name="T99" fmla="*/ 90 h 245"/>
                <a:gd name="T100" fmla="*/ 248 w 255"/>
                <a:gd name="T101" fmla="*/ 86 h 245"/>
                <a:gd name="T102" fmla="*/ 226 w 255"/>
                <a:gd name="T103" fmla="*/ 74 h 245"/>
                <a:gd name="T104" fmla="*/ 222 w 255"/>
                <a:gd name="T105" fmla="*/ 66 h 245"/>
                <a:gd name="T106" fmla="*/ 223 w 255"/>
                <a:gd name="T107" fmla="*/ 57 h 245"/>
                <a:gd name="T108" fmla="*/ 253 w 255"/>
                <a:gd name="T109" fmla="*/ 47 h 245"/>
                <a:gd name="T110" fmla="*/ 253 w 255"/>
                <a:gd name="T111" fmla="*/ 40 h 245"/>
                <a:gd name="T112" fmla="*/ 250 w 255"/>
                <a:gd name="T113" fmla="*/ 35 h 245"/>
                <a:gd name="T114" fmla="*/ 230 w 255"/>
                <a:gd name="T115" fmla="*/ 35 h 245"/>
                <a:gd name="T116" fmla="*/ 227 w 255"/>
                <a:gd name="T117" fmla="*/ 32 h 245"/>
                <a:gd name="T118" fmla="*/ 224 w 255"/>
                <a:gd name="T119" fmla="*/ 16 h 245"/>
                <a:gd name="T120" fmla="*/ 213 w 255"/>
                <a:gd name="T121" fmla="*/ 2 h 245"/>
                <a:gd name="T122" fmla="*/ 201 w 255"/>
                <a:gd name="T123" fmla="*/ 2 h 245"/>
                <a:gd name="T124" fmla="*/ 182 w 255"/>
                <a:gd name="T125" fmla="*/ 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5" h="245">
                  <a:moveTo>
                    <a:pt x="178" y="6"/>
                  </a:moveTo>
                  <a:lnTo>
                    <a:pt x="178" y="6"/>
                  </a:lnTo>
                  <a:lnTo>
                    <a:pt x="175" y="9"/>
                  </a:lnTo>
                  <a:lnTo>
                    <a:pt x="169" y="12"/>
                  </a:lnTo>
                  <a:lnTo>
                    <a:pt x="165" y="15"/>
                  </a:lnTo>
                  <a:lnTo>
                    <a:pt x="165" y="16"/>
                  </a:lnTo>
                  <a:lnTo>
                    <a:pt x="164" y="18"/>
                  </a:lnTo>
                  <a:lnTo>
                    <a:pt x="164" y="18"/>
                  </a:lnTo>
                  <a:lnTo>
                    <a:pt x="166" y="26"/>
                  </a:lnTo>
                  <a:lnTo>
                    <a:pt x="168" y="31"/>
                  </a:lnTo>
                  <a:lnTo>
                    <a:pt x="168" y="34"/>
                  </a:lnTo>
                  <a:lnTo>
                    <a:pt x="168" y="34"/>
                  </a:lnTo>
                  <a:lnTo>
                    <a:pt x="168" y="37"/>
                  </a:lnTo>
                  <a:lnTo>
                    <a:pt x="165" y="38"/>
                  </a:lnTo>
                  <a:lnTo>
                    <a:pt x="164" y="41"/>
                  </a:lnTo>
                  <a:lnTo>
                    <a:pt x="162" y="44"/>
                  </a:lnTo>
                  <a:lnTo>
                    <a:pt x="162" y="44"/>
                  </a:lnTo>
                  <a:lnTo>
                    <a:pt x="162" y="48"/>
                  </a:lnTo>
                  <a:lnTo>
                    <a:pt x="162" y="53"/>
                  </a:lnTo>
                  <a:lnTo>
                    <a:pt x="164" y="57"/>
                  </a:lnTo>
                  <a:lnTo>
                    <a:pt x="164" y="61"/>
                  </a:lnTo>
                  <a:lnTo>
                    <a:pt x="164" y="61"/>
                  </a:lnTo>
                  <a:lnTo>
                    <a:pt x="159" y="67"/>
                  </a:lnTo>
                  <a:lnTo>
                    <a:pt x="156" y="68"/>
                  </a:lnTo>
                  <a:lnTo>
                    <a:pt x="152" y="71"/>
                  </a:lnTo>
                  <a:lnTo>
                    <a:pt x="152" y="71"/>
                  </a:lnTo>
                  <a:lnTo>
                    <a:pt x="148" y="73"/>
                  </a:lnTo>
                  <a:lnTo>
                    <a:pt x="145" y="74"/>
                  </a:lnTo>
                  <a:lnTo>
                    <a:pt x="139" y="80"/>
                  </a:lnTo>
                  <a:lnTo>
                    <a:pt x="139" y="80"/>
                  </a:lnTo>
                  <a:lnTo>
                    <a:pt x="136" y="86"/>
                  </a:lnTo>
                  <a:lnTo>
                    <a:pt x="135" y="92"/>
                  </a:lnTo>
                  <a:lnTo>
                    <a:pt x="132" y="97"/>
                  </a:lnTo>
                  <a:lnTo>
                    <a:pt x="130" y="99"/>
                  </a:lnTo>
                  <a:lnTo>
                    <a:pt x="129" y="99"/>
                  </a:lnTo>
                  <a:lnTo>
                    <a:pt x="129" y="99"/>
                  </a:lnTo>
                  <a:lnTo>
                    <a:pt x="122" y="99"/>
                  </a:lnTo>
                  <a:lnTo>
                    <a:pt x="116" y="99"/>
                  </a:lnTo>
                  <a:lnTo>
                    <a:pt x="116" y="99"/>
                  </a:lnTo>
                  <a:lnTo>
                    <a:pt x="110" y="102"/>
                  </a:lnTo>
                  <a:lnTo>
                    <a:pt x="106" y="105"/>
                  </a:lnTo>
                  <a:lnTo>
                    <a:pt x="103" y="108"/>
                  </a:lnTo>
                  <a:lnTo>
                    <a:pt x="103" y="109"/>
                  </a:lnTo>
                  <a:lnTo>
                    <a:pt x="103" y="109"/>
                  </a:lnTo>
                  <a:lnTo>
                    <a:pt x="103" y="112"/>
                  </a:lnTo>
                  <a:lnTo>
                    <a:pt x="101" y="113"/>
                  </a:lnTo>
                  <a:lnTo>
                    <a:pt x="97" y="115"/>
                  </a:lnTo>
                  <a:lnTo>
                    <a:pt x="97" y="115"/>
                  </a:lnTo>
                  <a:lnTo>
                    <a:pt x="88" y="115"/>
                  </a:lnTo>
                  <a:lnTo>
                    <a:pt x="85" y="116"/>
                  </a:lnTo>
                  <a:lnTo>
                    <a:pt x="82" y="121"/>
                  </a:lnTo>
                  <a:lnTo>
                    <a:pt x="82" y="121"/>
                  </a:lnTo>
                  <a:lnTo>
                    <a:pt x="74" y="134"/>
                  </a:lnTo>
                  <a:lnTo>
                    <a:pt x="69" y="139"/>
                  </a:lnTo>
                  <a:lnTo>
                    <a:pt x="68" y="142"/>
                  </a:lnTo>
                  <a:lnTo>
                    <a:pt x="65" y="142"/>
                  </a:lnTo>
                  <a:lnTo>
                    <a:pt x="65" y="142"/>
                  </a:lnTo>
                  <a:lnTo>
                    <a:pt x="46" y="142"/>
                  </a:lnTo>
                  <a:lnTo>
                    <a:pt x="27" y="142"/>
                  </a:lnTo>
                  <a:lnTo>
                    <a:pt x="27" y="142"/>
                  </a:lnTo>
                  <a:lnTo>
                    <a:pt x="0" y="145"/>
                  </a:lnTo>
                  <a:lnTo>
                    <a:pt x="0" y="145"/>
                  </a:lnTo>
                  <a:lnTo>
                    <a:pt x="4" y="151"/>
                  </a:lnTo>
                  <a:lnTo>
                    <a:pt x="4" y="151"/>
                  </a:lnTo>
                  <a:lnTo>
                    <a:pt x="9" y="157"/>
                  </a:lnTo>
                  <a:lnTo>
                    <a:pt x="19" y="164"/>
                  </a:lnTo>
                  <a:lnTo>
                    <a:pt x="19" y="164"/>
                  </a:lnTo>
                  <a:lnTo>
                    <a:pt x="22" y="168"/>
                  </a:lnTo>
                  <a:lnTo>
                    <a:pt x="23" y="171"/>
                  </a:lnTo>
                  <a:lnTo>
                    <a:pt x="25" y="179"/>
                  </a:lnTo>
                  <a:lnTo>
                    <a:pt x="25" y="179"/>
                  </a:lnTo>
                  <a:lnTo>
                    <a:pt x="26" y="183"/>
                  </a:lnTo>
                  <a:lnTo>
                    <a:pt x="29" y="186"/>
                  </a:lnTo>
                  <a:lnTo>
                    <a:pt x="30" y="189"/>
                  </a:lnTo>
                  <a:lnTo>
                    <a:pt x="32" y="192"/>
                  </a:lnTo>
                  <a:lnTo>
                    <a:pt x="32" y="192"/>
                  </a:lnTo>
                  <a:lnTo>
                    <a:pt x="32" y="192"/>
                  </a:lnTo>
                  <a:lnTo>
                    <a:pt x="30" y="193"/>
                  </a:lnTo>
                  <a:lnTo>
                    <a:pt x="27" y="193"/>
                  </a:lnTo>
                  <a:lnTo>
                    <a:pt x="27" y="193"/>
                  </a:lnTo>
                  <a:lnTo>
                    <a:pt x="23" y="193"/>
                  </a:lnTo>
                  <a:lnTo>
                    <a:pt x="19" y="195"/>
                  </a:lnTo>
                  <a:lnTo>
                    <a:pt x="19" y="195"/>
                  </a:lnTo>
                  <a:lnTo>
                    <a:pt x="14" y="197"/>
                  </a:lnTo>
                  <a:lnTo>
                    <a:pt x="12" y="205"/>
                  </a:lnTo>
                  <a:lnTo>
                    <a:pt x="6" y="221"/>
                  </a:lnTo>
                  <a:lnTo>
                    <a:pt x="6" y="221"/>
                  </a:lnTo>
                  <a:lnTo>
                    <a:pt x="14" y="222"/>
                  </a:lnTo>
                  <a:lnTo>
                    <a:pt x="23" y="221"/>
                  </a:lnTo>
                  <a:lnTo>
                    <a:pt x="23" y="221"/>
                  </a:lnTo>
                  <a:lnTo>
                    <a:pt x="40" y="218"/>
                  </a:lnTo>
                  <a:lnTo>
                    <a:pt x="40" y="218"/>
                  </a:lnTo>
                  <a:lnTo>
                    <a:pt x="43" y="218"/>
                  </a:lnTo>
                  <a:lnTo>
                    <a:pt x="45" y="219"/>
                  </a:lnTo>
                  <a:lnTo>
                    <a:pt x="48" y="219"/>
                  </a:lnTo>
                  <a:lnTo>
                    <a:pt x="52" y="221"/>
                  </a:lnTo>
                  <a:lnTo>
                    <a:pt x="52" y="221"/>
                  </a:lnTo>
                  <a:lnTo>
                    <a:pt x="61" y="221"/>
                  </a:lnTo>
                  <a:lnTo>
                    <a:pt x="71" y="219"/>
                  </a:lnTo>
                  <a:lnTo>
                    <a:pt x="71" y="219"/>
                  </a:lnTo>
                  <a:lnTo>
                    <a:pt x="80" y="218"/>
                  </a:lnTo>
                  <a:lnTo>
                    <a:pt x="85" y="216"/>
                  </a:lnTo>
                  <a:lnTo>
                    <a:pt x="85" y="216"/>
                  </a:lnTo>
                  <a:lnTo>
                    <a:pt x="88" y="219"/>
                  </a:lnTo>
                  <a:lnTo>
                    <a:pt x="91" y="223"/>
                  </a:lnTo>
                  <a:lnTo>
                    <a:pt x="94" y="228"/>
                  </a:lnTo>
                  <a:lnTo>
                    <a:pt x="96" y="231"/>
                  </a:lnTo>
                  <a:lnTo>
                    <a:pt x="96" y="231"/>
                  </a:lnTo>
                  <a:lnTo>
                    <a:pt x="97" y="234"/>
                  </a:lnTo>
                  <a:lnTo>
                    <a:pt x="97" y="237"/>
                  </a:lnTo>
                  <a:lnTo>
                    <a:pt x="98" y="241"/>
                  </a:lnTo>
                  <a:lnTo>
                    <a:pt x="103" y="244"/>
                  </a:lnTo>
                  <a:lnTo>
                    <a:pt x="103" y="244"/>
                  </a:lnTo>
                  <a:lnTo>
                    <a:pt x="107" y="245"/>
                  </a:lnTo>
                  <a:lnTo>
                    <a:pt x="110" y="245"/>
                  </a:lnTo>
                  <a:lnTo>
                    <a:pt x="116" y="245"/>
                  </a:lnTo>
                  <a:lnTo>
                    <a:pt x="116" y="245"/>
                  </a:lnTo>
                  <a:lnTo>
                    <a:pt x="120" y="239"/>
                  </a:lnTo>
                  <a:lnTo>
                    <a:pt x="122" y="238"/>
                  </a:lnTo>
                  <a:lnTo>
                    <a:pt x="124" y="238"/>
                  </a:lnTo>
                  <a:lnTo>
                    <a:pt x="124" y="238"/>
                  </a:lnTo>
                  <a:lnTo>
                    <a:pt x="142" y="238"/>
                  </a:lnTo>
                  <a:lnTo>
                    <a:pt x="151" y="237"/>
                  </a:lnTo>
                  <a:lnTo>
                    <a:pt x="153" y="235"/>
                  </a:lnTo>
                  <a:lnTo>
                    <a:pt x="156" y="234"/>
                  </a:lnTo>
                  <a:lnTo>
                    <a:pt x="156" y="234"/>
                  </a:lnTo>
                  <a:lnTo>
                    <a:pt x="156" y="225"/>
                  </a:lnTo>
                  <a:lnTo>
                    <a:pt x="156" y="213"/>
                  </a:lnTo>
                  <a:lnTo>
                    <a:pt x="155" y="190"/>
                  </a:lnTo>
                  <a:lnTo>
                    <a:pt x="155" y="190"/>
                  </a:lnTo>
                  <a:lnTo>
                    <a:pt x="155" y="186"/>
                  </a:lnTo>
                  <a:lnTo>
                    <a:pt x="156" y="180"/>
                  </a:lnTo>
                  <a:lnTo>
                    <a:pt x="158" y="177"/>
                  </a:lnTo>
                  <a:lnTo>
                    <a:pt x="162" y="174"/>
                  </a:lnTo>
                  <a:lnTo>
                    <a:pt x="162" y="174"/>
                  </a:lnTo>
                  <a:lnTo>
                    <a:pt x="171" y="171"/>
                  </a:lnTo>
                  <a:lnTo>
                    <a:pt x="177" y="168"/>
                  </a:lnTo>
                  <a:lnTo>
                    <a:pt x="182" y="163"/>
                  </a:lnTo>
                  <a:lnTo>
                    <a:pt x="182" y="163"/>
                  </a:lnTo>
                  <a:lnTo>
                    <a:pt x="200" y="142"/>
                  </a:lnTo>
                  <a:lnTo>
                    <a:pt x="208" y="132"/>
                  </a:lnTo>
                  <a:lnTo>
                    <a:pt x="214" y="126"/>
                  </a:lnTo>
                  <a:lnTo>
                    <a:pt x="214" y="126"/>
                  </a:lnTo>
                  <a:lnTo>
                    <a:pt x="222" y="119"/>
                  </a:lnTo>
                  <a:lnTo>
                    <a:pt x="224" y="115"/>
                  </a:lnTo>
                  <a:lnTo>
                    <a:pt x="227" y="109"/>
                  </a:lnTo>
                  <a:lnTo>
                    <a:pt x="227" y="109"/>
                  </a:lnTo>
                  <a:lnTo>
                    <a:pt x="232" y="103"/>
                  </a:lnTo>
                  <a:lnTo>
                    <a:pt x="239" y="97"/>
                  </a:lnTo>
                  <a:lnTo>
                    <a:pt x="249" y="90"/>
                  </a:lnTo>
                  <a:lnTo>
                    <a:pt x="249" y="90"/>
                  </a:lnTo>
                  <a:lnTo>
                    <a:pt x="249" y="89"/>
                  </a:lnTo>
                  <a:lnTo>
                    <a:pt x="248" y="86"/>
                  </a:lnTo>
                  <a:lnTo>
                    <a:pt x="239" y="82"/>
                  </a:lnTo>
                  <a:lnTo>
                    <a:pt x="232" y="77"/>
                  </a:lnTo>
                  <a:lnTo>
                    <a:pt x="226" y="74"/>
                  </a:lnTo>
                  <a:lnTo>
                    <a:pt x="226" y="74"/>
                  </a:lnTo>
                  <a:lnTo>
                    <a:pt x="223" y="70"/>
                  </a:lnTo>
                  <a:lnTo>
                    <a:pt x="222" y="66"/>
                  </a:lnTo>
                  <a:lnTo>
                    <a:pt x="222" y="60"/>
                  </a:lnTo>
                  <a:lnTo>
                    <a:pt x="223" y="57"/>
                  </a:lnTo>
                  <a:lnTo>
                    <a:pt x="223" y="57"/>
                  </a:lnTo>
                  <a:lnTo>
                    <a:pt x="227" y="54"/>
                  </a:lnTo>
                  <a:lnTo>
                    <a:pt x="235" y="53"/>
                  </a:lnTo>
                  <a:lnTo>
                    <a:pt x="253" y="47"/>
                  </a:lnTo>
                  <a:lnTo>
                    <a:pt x="253" y="47"/>
                  </a:lnTo>
                  <a:lnTo>
                    <a:pt x="255" y="42"/>
                  </a:lnTo>
                  <a:lnTo>
                    <a:pt x="253" y="40"/>
                  </a:lnTo>
                  <a:lnTo>
                    <a:pt x="252" y="37"/>
                  </a:lnTo>
                  <a:lnTo>
                    <a:pt x="252" y="37"/>
                  </a:lnTo>
                  <a:lnTo>
                    <a:pt x="250" y="35"/>
                  </a:lnTo>
                  <a:lnTo>
                    <a:pt x="249" y="34"/>
                  </a:lnTo>
                  <a:lnTo>
                    <a:pt x="242" y="34"/>
                  </a:lnTo>
                  <a:lnTo>
                    <a:pt x="230" y="35"/>
                  </a:lnTo>
                  <a:lnTo>
                    <a:pt x="230" y="35"/>
                  </a:lnTo>
                  <a:lnTo>
                    <a:pt x="227" y="34"/>
                  </a:lnTo>
                  <a:lnTo>
                    <a:pt x="227" y="32"/>
                  </a:lnTo>
                  <a:lnTo>
                    <a:pt x="226" y="24"/>
                  </a:lnTo>
                  <a:lnTo>
                    <a:pt x="226" y="24"/>
                  </a:lnTo>
                  <a:lnTo>
                    <a:pt x="224" y="16"/>
                  </a:lnTo>
                  <a:lnTo>
                    <a:pt x="222" y="11"/>
                  </a:lnTo>
                  <a:lnTo>
                    <a:pt x="217" y="6"/>
                  </a:lnTo>
                  <a:lnTo>
                    <a:pt x="213" y="2"/>
                  </a:lnTo>
                  <a:lnTo>
                    <a:pt x="213" y="0"/>
                  </a:lnTo>
                  <a:lnTo>
                    <a:pt x="213" y="0"/>
                  </a:lnTo>
                  <a:lnTo>
                    <a:pt x="201" y="2"/>
                  </a:lnTo>
                  <a:lnTo>
                    <a:pt x="201" y="2"/>
                  </a:lnTo>
                  <a:lnTo>
                    <a:pt x="188" y="2"/>
                  </a:lnTo>
                  <a:lnTo>
                    <a:pt x="182" y="3"/>
                  </a:lnTo>
                  <a:lnTo>
                    <a:pt x="178"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97" name="Freeform 776"/>
            <p:cNvSpPr>
              <a:spLocks/>
            </p:cNvSpPr>
            <p:nvPr/>
          </p:nvSpPr>
          <p:spPr bwMode="auto">
            <a:xfrm>
              <a:off x="5862638" y="3708829"/>
              <a:ext cx="354013" cy="276225"/>
            </a:xfrm>
            <a:custGeom>
              <a:avLst/>
              <a:gdLst>
                <a:gd name="T0" fmla="*/ 6 w 223"/>
                <a:gd name="T1" fmla="*/ 167 h 174"/>
                <a:gd name="T2" fmla="*/ 7 w 223"/>
                <a:gd name="T3" fmla="*/ 164 h 174"/>
                <a:gd name="T4" fmla="*/ 7 w 223"/>
                <a:gd name="T5" fmla="*/ 164 h 174"/>
                <a:gd name="T6" fmla="*/ 7 w 223"/>
                <a:gd name="T7" fmla="*/ 164 h 174"/>
                <a:gd name="T8" fmla="*/ 18 w 223"/>
                <a:gd name="T9" fmla="*/ 147 h 174"/>
                <a:gd name="T10" fmla="*/ 10 w 223"/>
                <a:gd name="T11" fmla="*/ 139 h 174"/>
                <a:gd name="T12" fmla="*/ 2 w 223"/>
                <a:gd name="T13" fmla="*/ 128 h 174"/>
                <a:gd name="T14" fmla="*/ 6 w 223"/>
                <a:gd name="T15" fmla="*/ 100 h 174"/>
                <a:gd name="T16" fmla="*/ 3 w 223"/>
                <a:gd name="T17" fmla="*/ 89 h 174"/>
                <a:gd name="T18" fmla="*/ 2 w 223"/>
                <a:gd name="T19" fmla="*/ 77 h 174"/>
                <a:gd name="T20" fmla="*/ 10 w 223"/>
                <a:gd name="T21" fmla="*/ 66 h 174"/>
                <a:gd name="T22" fmla="*/ 10 w 223"/>
                <a:gd name="T23" fmla="*/ 64 h 174"/>
                <a:gd name="T24" fmla="*/ 22 w 223"/>
                <a:gd name="T25" fmla="*/ 60 h 174"/>
                <a:gd name="T26" fmla="*/ 32 w 223"/>
                <a:gd name="T27" fmla="*/ 63 h 174"/>
                <a:gd name="T28" fmla="*/ 34 w 223"/>
                <a:gd name="T29" fmla="*/ 63 h 174"/>
                <a:gd name="T30" fmla="*/ 41 w 223"/>
                <a:gd name="T31" fmla="*/ 57 h 174"/>
                <a:gd name="T32" fmla="*/ 42 w 223"/>
                <a:gd name="T33" fmla="*/ 57 h 174"/>
                <a:gd name="T34" fmla="*/ 42 w 223"/>
                <a:gd name="T35" fmla="*/ 55 h 174"/>
                <a:gd name="T36" fmla="*/ 63 w 223"/>
                <a:gd name="T37" fmla="*/ 42 h 174"/>
                <a:gd name="T38" fmla="*/ 67 w 223"/>
                <a:gd name="T39" fmla="*/ 29 h 174"/>
                <a:gd name="T40" fmla="*/ 78 w 223"/>
                <a:gd name="T41" fmla="*/ 22 h 174"/>
                <a:gd name="T42" fmla="*/ 90 w 223"/>
                <a:gd name="T43" fmla="*/ 19 h 174"/>
                <a:gd name="T44" fmla="*/ 113 w 223"/>
                <a:gd name="T45" fmla="*/ 21 h 174"/>
                <a:gd name="T46" fmla="*/ 125 w 223"/>
                <a:gd name="T47" fmla="*/ 24 h 174"/>
                <a:gd name="T48" fmla="*/ 132 w 223"/>
                <a:gd name="T49" fmla="*/ 21 h 174"/>
                <a:gd name="T50" fmla="*/ 152 w 223"/>
                <a:gd name="T51" fmla="*/ 18 h 174"/>
                <a:gd name="T52" fmla="*/ 158 w 223"/>
                <a:gd name="T53" fmla="*/ 6 h 174"/>
                <a:gd name="T54" fmla="*/ 173 w 223"/>
                <a:gd name="T55" fmla="*/ 0 h 174"/>
                <a:gd name="T56" fmla="*/ 175 w 223"/>
                <a:gd name="T57" fmla="*/ 25 h 174"/>
                <a:gd name="T58" fmla="*/ 178 w 223"/>
                <a:gd name="T59" fmla="*/ 28 h 174"/>
                <a:gd name="T60" fmla="*/ 206 w 223"/>
                <a:gd name="T61" fmla="*/ 24 h 174"/>
                <a:gd name="T62" fmla="*/ 220 w 223"/>
                <a:gd name="T63" fmla="*/ 27 h 174"/>
                <a:gd name="T64" fmla="*/ 210 w 223"/>
                <a:gd name="T65" fmla="*/ 31 h 174"/>
                <a:gd name="T66" fmla="*/ 187 w 223"/>
                <a:gd name="T67" fmla="*/ 35 h 174"/>
                <a:gd name="T68" fmla="*/ 175 w 223"/>
                <a:gd name="T69" fmla="*/ 44 h 174"/>
                <a:gd name="T70" fmla="*/ 173 w 223"/>
                <a:gd name="T71" fmla="*/ 47 h 174"/>
                <a:gd name="T72" fmla="*/ 177 w 223"/>
                <a:gd name="T73" fmla="*/ 63 h 174"/>
                <a:gd name="T74" fmla="*/ 173 w 223"/>
                <a:gd name="T75" fmla="*/ 70 h 174"/>
                <a:gd name="T76" fmla="*/ 170 w 223"/>
                <a:gd name="T77" fmla="*/ 76 h 174"/>
                <a:gd name="T78" fmla="*/ 173 w 223"/>
                <a:gd name="T79" fmla="*/ 90 h 174"/>
                <a:gd name="T80" fmla="*/ 161 w 223"/>
                <a:gd name="T81" fmla="*/ 100 h 174"/>
                <a:gd name="T82" fmla="*/ 148 w 223"/>
                <a:gd name="T83" fmla="*/ 109 h 174"/>
                <a:gd name="T84" fmla="*/ 141 w 223"/>
                <a:gd name="T85" fmla="*/ 126 h 174"/>
                <a:gd name="T86" fmla="*/ 133 w 223"/>
                <a:gd name="T87" fmla="*/ 128 h 174"/>
                <a:gd name="T88" fmla="*/ 131 w 223"/>
                <a:gd name="T89" fmla="*/ 128 h 174"/>
                <a:gd name="T90" fmla="*/ 125 w 223"/>
                <a:gd name="T91" fmla="*/ 128 h 174"/>
                <a:gd name="T92" fmla="*/ 112 w 223"/>
                <a:gd name="T93" fmla="*/ 137 h 174"/>
                <a:gd name="T94" fmla="*/ 112 w 223"/>
                <a:gd name="T95" fmla="*/ 141 h 174"/>
                <a:gd name="T96" fmla="*/ 97 w 223"/>
                <a:gd name="T97" fmla="*/ 144 h 174"/>
                <a:gd name="T98" fmla="*/ 83 w 223"/>
                <a:gd name="T99" fmla="*/ 163 h 174"/>
                <a:gd name="T100" fmla="*/ 74 w 223"/>
                <a:gd name="T101" fmla="*/ 171 h 174"/>
                <a:gd name="T102" fmla="*/ 48 w 223"/>
                <a:gd name="T103" fmla="*/ 171 h 174"/>
                <a:gd name="T104" fmla="*/ 36 w 223"/>
                <a:gd name="T105" fmla="*/ 171 h 174"/>
                <a:gd name="T106" fmla="*/ 36 w 223"/>
                <a:gd name="T107" fmla="*/ 171 h 174"/>
                <a:gd name="T108" fmla="*/ 36 w 223"/>
                <a:gd name="T109" fmla="*/ 171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3" h="174">
                  <a:moveTo>
                    <a:pt x="9" y="174"/>
                  </a:moveTo>
                  <a:lnTo>
                    <a:pt x="9" y="174"/>
                  </a:lnTo>
                  <a:lnTo>
                    <a:pt x="7" y="168"/>
                  </a:lnTo>
                  <a:lnTo>
                    <a:pt x="6" y="167"/>
                  </a:lnTo>
                  <a:lnTo>
                    <a:pt x="7" y="164"/>
                  </a:lnTo>
                  <a:lnTo>
                    <a:pt x="7" y="164"/>
                  </a:lnTo>
                  <a:lnTo>
                    <a:pt x="7" y="164"/>
                  </a:lnTo>
                  <a:lnTo>
                    <a:pt x="7" y="164"/>
                  </a:lnTo>
                  <a:lnTo>
                    <a:pt x="7" y="164"/>
                  </a:lnTo>
                  <a:lnTo>
                    <a:pt x="7" y="164"/>
                  </a:lnTo>
                  <a:lnTo>
                    <a:pt x="7" y="164"/>
                  </a:lnTo>
                  <a:lnTo>
                    <a:pt x="7" y="164"/>
                  </a:lnTo>
                  <a:lnTo>
                    <a:pt x="7" y="164"/>
                  </a:lnTo>
                  <a:lnTo>
                    <a:pt x="7" y="164"/>
                  </a:lnTo>
                  <a:lnTo>
                    <a:pt x="7" y="164"/>
                  </a:lnTo>
                  <a:lnTo>
                    <a:pt x="7" y="164"/>
                  </a:lnTo>
                  <a:lnTo>
                    <a:pt x="13" y="155"/>
                  </a:lnTo>
                  <a:lnTo>
                    <a:pt x="16" y="151"/>
                  </a:lnTo>
                  <a:lnTo>
                    <a:pt x="18" y="147"/>
                  </a:lnTo>
                  <a:lnTo>
                    <a:pt x="18" y="147"/>
                  </a:lnTo>
                  <a:lnTo>
                    <a:pt x="18" y="145"/>
                  </a:lnTo>
                  <a:lnTo>
                    <a:pt x="16" y="144"/>
                  </a:lnTo>
                  <a:lnTo>
                    <a:pt x="16" y="144"/>
                  </a:lnTo>
                  <a:lnTo>
                    <a:pt x="10" y="139"/>
                  </a:lnTo>
                  <a:lnTo>
                    <a:pt x="7" y="137"/>
                  </a:lnTo>
                  <a:lnTo>
                    <a:pt x="3" y="132"/>
                  </a:lnTo>
                  <a:lnTo>
                    <a:pt x="3" y="132"/>
                  </a:lnTo>
                  <a:lnTo>
                    <a:pt x="2" y="128"/>
                  </a:lnTo>
                  <a:lnTo>
                    <a:pt x="2" y="124"/>
                  </a:lnTo>
                  <a:lnTo>
                    <a:pt x="2" y="124"/>
                  </a:lnTo>
                  <a:lnTo>
                    <a:pt x="3" y="109"/>
                  </a:lnTo>
                  <a:lnTo>
                    <a:pt x="6" y="100"/>
                  </a:lnTo>
                  <a:lnTo>
                    <a:pt x="6" y="100"/>
                  </a:lnTo>
                  <a:lnTo>
                    <a:pt x="6" y="99"/>
                  </a:lnTo>
                  <a:lnTo>
                    <a:pt x="6" y="99"/>
                  </a:lnTo>
                  <a:lnTo>
                    <a:pt x="3" y="89"/>
                  </a:lnTo>
                  <a:lnTo>
                    <a:pt x="2" y="84"/>
                  </a:lnTo>
                  <a:lnTo>
                    <a:pt x="0" y="79"/>
                  </a:lnTo>
                  <a:lnTo>
                    <a:pt x="0" y="79"/>
                  </a:lnTo>
                  <a:lnTo>
                    <a:pt x="2" y="77"/>
                  </a:lnTo>
                  <a:lnTo>
                    <a:pt x="2" y="77"/>
                  </a:lnTo>
                  <a:lnTo>
                    <a:pt x="7" y="71"/>
                  </a:lnTo>
                  <a:lnTo>
                    <a:pt x="10" y="66"/>
                  </a:lnTo>
                  <a:lnTo>
                    <a:pt x="10" y="66"/>
                  </a:lnTo>
                  <a:lnTo>
                    <a:pt x="10" y="64"/>
                  </a:lnTo>
                  <a:lnTo>
                    <a:pt x="10" y="64"/>
                  </a:lnTo>
                  <a:lnTo>
                    <a:pt x="10" y="64"/>
                  </a:lnTo>
                  <a:lnTo>
                    <a:pt x="10" y="64"/>
                  </a:lnTo>
                  <a:lnTo>
                    <a:pt x="10" y="64"/>
                  </a:lnTo>
                  <a:lnTo>
                    <a:pt x="10" y="55"/>
                  </a:lnTo>
                  <a:lnTo>
                    <a:pt x="10" y="55"/>
                  </a:lnTo>
                  <a:lnTo>
                    <a:pt x="22" y="60"/>
                  </a:lnTo>
                  <a:lnTo>
                    <a:pt x="31" y="63"/>
                  </a:lnTo>
                  <a:lnTo>
                    <a:pt x="31" y="63"/>
                  </a:lnTo>
                  <a:lnTo>
                    <a:pt x="32" y="63"/>
                  </a:lnTo>
                  <a:lnTo>
                    <a:pt x="32" y="63"/>
                  </a:lnTo>
                  <a:lnTo>
                    <a:pt x="34" y="63"/>
                  </a:lnTo>
                  <a:lnTo>
                    <a:pt x="34" y="63"/>
                  </a:lnTo>
                  <a:lnTo>
                    <a:pt x="34" y="63"/>
                  </a:lnTo>
                  <a:lnTo>
                    <a:pt x="34" y="63"/>
                  </a:lnTo>
                  <a:lnTo>
                    <a:pt x="38" y="61"/>
                  </a:lnTo>
                  <a:lnTo>
                    <a:pt x="41" y="57"/>
                  </a:lnTo>
                  <a:lnTo>
                    <a:pt x="41" y="57"/>
                  </a:lnTo>
                  <a:lnTo>
                    <a:pt x="41" y="57"/>
                  </a:lnTo>
                  <a:lnTo>
                    <a:pt x="41" y="57"/>
                  </a:lnTo>
                  <a:lnTo>
                    <a:pt x="41" y="57"/>
                  </a:lnTo>
                  <a:lnTo>
                    <a:pt x="41" y="57"/>
                  </a:lnTo>
                  <a:lnTo>
                    <a:pt x="42" y="57"/>
                  </a:lnTo>
                  <a:lnTo>
                    <a:pt x="42" y="57"/>
                  </a:lnTo>
                  <a:lnTo>
                    <a:pt x="42" y="57"/>
                  </a:lnTo>
                  <a:lnTo>
                    <a:pt x="42" y="57"/>
                  </a:lnTo>
                  <a:lnTo>
                    <a:pt x="42" y="55"/>
                  </a:lnTo>
                  <a:lnTo>
                    <a:pt x="42" y="55"/>
                  </a:lnTo>
                  <a:lnTo>
                    <a:pt x="45" y="53"/>
                  </a:lnTo>
                  <a:lnTo>
                    <a:pt x="52" y="48"/>
                  </a:lnTo>
                  <a:lnTo>
                    <a:pt x="63" y="42"/>
                  </a:lnTo>
                  <a:lnTo>
                    <a:pt x="63" y="42"/>
                  </a:lnTo>
                  <a:lnTo>
                    <a:pt x="64" y="40"/>
                  </a:lnTo>
                  <a:lnTo>
                    <a:pt x="65" y="34"/>
                  </a:lnTo>
                  <a:lnTo>
                    <a:pt x="67" y="29"/>
                  </a:lnTo>
                  <a:lnTo>
                    <a:pt x="70" y="25"/>
                  </a:lnTo>
                  <a:lnTo>
                    <a:pt x="70" y="25"/>
                  </a:lnTo>
                  <a:lnTo>
                    <a:pt x="73" y="24"/>
                  </a:lnTo>
                  <a:lnTo>
                    <a:pt x="78" y="22"/>
                  </a:lnTo>
                  <a:lnTo>
                    <a:pt x="87" y="21"/>
                  </a:lnTo>
                  <a:lnTo>
                    <a:pt x="87" y="21"/>
                  </a:lnTo>
                  <a:lnTo>
                    <a:pt x="90" y="19"/>
                  </a:lnTo>
                  <a:lnTo>
                    <a:pt x="90" y="19"/>
                  </a:lnTo>
                  <a:lnTo>
                    <a:pt x="106" y="18"/>
                  </a:lnTo>
                  <a:lnTo>
                    <a:pt x="106" y="18"/>
                  </a:lnTo>
                  <a:lnTo>
                    <a:pt x="109" y="18"/>
                  </a:lnTo>
                  <a:lnTo>
                    <a:pt x="113" y="21"/>
                  </a:lnTo>
                  <a:lnTo>
                    <a:pt x="116" y="22"/>
                  </a:lnTo>
                  <a:lnTo>
                    <a:pt x="120" y="24"/>
                  </a:lnTo>
                  <a:lnTo>
                    <a:pt x="120" y="24"/>
                  </a:lnTo>
                  <a:lnTo>
                    <a:pt x="125" y="24"/>
                  </a:lnTo>
                  <a:lnTo>
                    <a:pt x="125" y="24"/>
                  </a:lnTo>
                  <a:lnTo>
                    <a:pt x="128" y="24"/>
                  </a:lnTo>
                  <a:lnTo>
                    <a:pt x="132" y="21"/>
                  </a:lnTo>
                  <a:lnTo>
                    <a:pt x="132" y="21"/>
                  </a:lnTo>
                  <a:lnTo>
                    <a:pt x="142" y="19"/>
                  </a:lnTo>
                  <a:lnTo>
                    <a:pt x="151" y="18"/>
                  </a:lnTo>
                  <a:lnTo>
                    <a:pt x="151" y="18"/>
                  </a:lnTo>
                  <a:lnTo>
                    <a:pt x="152" y="18"/>
                  </a:lnTo>
                  <a:lnTo>
                    <a:pt x="154" y="15"/>
                  </a:lnTo>
                  <a:lnTo>
                    <a:pt x="155" y="9"/>
                  </a:lnTo>
                  <a:lnTo>
                    <a:pt x="155" y="9"/>
                  </a:lnTo>
                  <a:lnTo>
                    <a:pt x="158" y="6"/>
                  </a:lnTo>
                  <a:lnTo>
                    <a:pt x="162" y="3"/>
                  </a:lnTo>
                  <a:lnTo>
                    <a:pt x="168" y="2"/>
                  </a:lnTo>
                  <a:lnTo>
                    <a:pt x="173" y="0"/>
                  </a:lnTo>
                  <a:lnTo>
                    <a:pt x="173" y="0"/>
                  </a:lnTo>
                  <a:lnTo>
                    <a:pt x="174" y="2"/>
                  </a:lnTo>
                  <a:lnTo>
                    <a:pt x="175" y="3"/>
                  </a:lnTo>
                  <a:lnTo>
                    <a:pt x="175" y="12"/>
                  </a:lnTo>
                  <a:lnTo>
                    <a:pt x="175" y="25"/>
                  </a:lnTo>
                  <a:lnTo>
                    <a:pt x="175" y="25"/>
                  </a:lnTo>
                  <a:lnTo>
                    <a:pt x="175" y="28"/>
                  </a:lnTo>
                  <a:lnTo>
                    <a:pt x="178" y="28"/>
                  </a:lnTo>
                  <a:lnTo>
                    <a:pt x="178" y="28"/>
                  </a:lnTo>
                  <a:lnTo>
                    <a:pt x="187" y="28"/>
                  </a:lnTo>
                  <a:lnTo>
                    <a:pt x="187" y="28"/>
                  </a:lnTo>
                  <a:lnTo>
                    <a:pt x="197" y="25"/>
                  </a:lnTo>
                  <a:lnTo>
                    <a:pt x="206" y="24"/>
                  </a:lnTo>
                  <a:lnTo>
                    <a:pt x="206" y="24"/>
                  </a:lnTo>
                  <a:lnTo>
                    <a:pt x="223" y="22"/>
                  </a:lnTo>
                  <a:lnTo>
                    <a:pt x="223" y="22"/>
                  </a:lnTo>
                  <a:lnTo>
                    <a:pt x="220" y="27"/>
                  </a:lnTo>
                  <a:lnTo>
                    <a:pt x="220" y="28"/>
                  </a:lnTo>
                  <a:lnTo>
                    <a:pt x="222" y="29"/>
                  </a:lnTo>
                  <a:lnTo>
                    <a:pt x="222" y="29"/>
                  </a:lnTo>
                  <a:lnTo>
                    <a:pt x="210" y="31"/>
                  </a:lnTo>
                  <a:lnTo>
                    <a:pt x="210" y="31"/>
                  </a:lnTo>
                  <a:lnTo>
                    <a:pt x="197" y="31"/>
                  </a:lnTo>
                  <a:lnTo>
                    <a:pt x="191" y="32"/>
                  </a:lnTo>
                  <a:lnTo>
                    <a:pt x="187" y="35"/>
                  </a:lnTo>
                  <a:lnTo>
                    <a:pt x="187" y="35"/>
                  </a:lnTo>
                  <a:lnTo>
                    <a:pt x="184" y="38"/>
                  </a:lnTo>
                  <a:lnTo>
                    <a:pt x="180" y="41"/>
                  </a:lnTo>
                  <a:lnTo>
                    <a:pt x="175" y="44"/>
                  </a:lnTo>
                  <a:lnTo>
                    <a:pt x="173" y="47"/>
                  </a:lnTo>
                  <a:lnTo>
                    <a:pt x="173" y="47"/>
                  </a:lnTo>
                  <a:lnTo>
                    <a:pt x="173" y="47"/>
                  </a:lnTo>
                  <a:lnTo>
                    <a:pt x="173" y="47"/>
                  </a:lnTo>
                  <a:lnTo>
                    <a:pt x="175" y="54"/>
                  </a:lnTo>
                  <a:lnTo>
                    <a:pt x="177" y="63"/>
                  </a:lnTo>
                  <a:lnTo>
                    <a:pt x="177" y="63"/>
                  </a:lnTo>
                  <a:lnTo>
                    <a:pt x="177" y="63"/>
                  </a:lnTo>
                  <a:lnTo>
                    <a:pt x="177" y="63"/>
                  </a:lnTo>
                  <a:lnTo>
                    <a:pt x="177" y="66"/>
                  </a:lnTo>
                  <a:lnTo>
                    <a:pt x="174" y="67"/>
                  </a:lnTo>
                  <a:lnTo>
                    <a:pt x="173" y="70"/>
                  </a:lnTo>
                  <a:lnTo>
                    <a:pt x="171" y="73"/>
                  </a:lnTo>
                  <a:lnTo>
                    <a:pt x="171" y="73"/>
                  </a:lnTo>
                  <a:lnTo>
                    <a:pt x="170" y="76"/>
                  </a:lnTo>
                  <a:lnTo>
                    <a:pt x="170" y="76"/>
                  </a:lnTo>
                  <a:lnTo>
                    <a:pt x="171" y="82"/>
                  </a:lnTo>
                  <a:lnTo>
                    <a:pt x="173" y="87"/>
                  </a:lnTo>
                  <a:lnTo>
                    <a:pt x="173" y="87"/>
                  </a:lnTo>
                  <a:lnTo>
                    <a:pt x="173" y="90"/>
                  </a:lnTo>
                  <a:lnTo>
                    <a:pt x="173" y="90"/>
                  </a:lnTo>
                  <a:lnTo>
                    <a:pt x="168" y="96"/>
                  </a:lnTo>
                  <a:lnTo>
                    <a:pt x="165" y="97"/>
                  </a:lnTo>
                  <a:lnTo>
                    <a:pt x="161" y="100"/>
                  </a:lnTo>
                  <a:lnTo>
                    <a:pt x="161" y="100"/>
                  </a:lnTo>
                  <a:lnTo>
                    <a:pt x="157" y="102"/>
                  </a:lnTo>
                  <a:lnTo>
                    <a:pt x="154" y="103"/>
                  </a:lnTo>
                  <a:lnTo>
                    <a:pt x="148" y="109"/>
                  </a:lnTo>
                  <a:lnTo>
                    <a:pt x="148" y="109"/>
                  </a:lnTo>
                  <a:lnTo>
                    <a:pt x="145" y="115"/>
                  </a:lnTo>
                  <a:lnTo>
                    <a:pt x="144" y="121"/>
                  </a:lnTo>
                  <a:lnTo>
                    <a:pt x="141" y="126"/>
                  </a:lnTo>
                  <a:lnTo>
                    <a:pt x="139" y="128"/>
                  </a:lnTo>
                  <a:lnTo>
                    <a:pt x="138" y="128"/>
                  </a:lnTo>
                  <a:lnTo>
                    <a:pt x="138" y="128"/>
                  </a:lnTo>
                  <a:lnTo>
                    <a:pt x="133" y="128"/>
                  </a:lnTo>
                  <a:lnTo>
                    <a:pt x="133" y="128"/>
                  </a:lnTo>
                  <a:lnTo>
                    <a:pt x="131" y="128"/>
                  </a:lnTo>
                  <a:lnTo>
                    <a:pt x="131" y="128"/>
                  </a:lnTo>
                  <a:lnTo>
                    <a:pt x="131" y="128"/>
                  </a:lnTo>
                  <a:lnTo>
                    <a:pt x="131" y="128"/>
                  </a:lnTo>
                  <a:lnTo>
                    <a:pt x="125" y="128"/>
                  </a:lnTo>
                  <a:lnTo>
                    <a:pt x="125" y="128"/>
                  </a:lnTo>
                  <a:lnTo>
                    <a:pt x="125" y="128"/>
                  </a:lnTo>
                  <a:lnTo>
                    <a:pt x="125" y="128"/>
                  </a:lnTo>
                  <a:lnTo>
                    <a:pt x="119" y="131"/>
                  </a:lnTo>
                  <a:lnTo>
                    <a:pt x="115" y="134"/>
                  </a:lnTo>
                  <a:lnTo>
                    <a:pt x="112" y="137"/>
                  </a:lnTo>
                  <a:lnTo>
                    <a:pt x="112" y="138"/>
                  </a:lnTo>
                  <a:lnTo>
                    <a:pt x="112" y="138"/>
                  </a:lnTo>
                  <a:lnTo>
                    <a:pt x="112" y="141"/>
                  </a:lnTo>
                  <a:lnTo>
                    <a:pt x="112" y="141"/>
                  </a:lnTo>
                  <a:lnTo>
                    <a:pt x="110" y="142"/>
                  </a:lnTo>
                  <a:lnTo>
                    <a:pt x="106" y="144"/>
                  </a:lnTo>
                  <a:lnTo>
                    <a:pt x="106" y="144"/>
                  </a:lnTo>
                  <a:lnTo>
                    <a:pt x="97" y="144"/>
                  </a:lnTo>
                  <a:lnTo>
                    <a:pt x="94" y="145"/>
                  </a:lnTo>
                  <a:lnTo>
                    <a:pt x="91" y="150"/>
                  </a:lnTo>
                  <a:lnTo>
                    <a:pt x="91" y="150"/>
                  </a:lnTo>
                  <a:lnTo>
                    <a:pt x="83" y="163"/>
                  </a:lnTo>
                  <a:lnTo>
                    <a:pt x="78" y="168"/>
                  </a:lnTo>
                  <a:lnTo>
                    <a:pt x="77" y="171"/>
                  </a:lnTo>
                  <a:lnTo>
                    <a:pt x="74" y="171"/>
                  </a:lnTo>
                  <a:lnTo>
                    <a:pt x="74" y="171"/>
                  </a:lnTo>
                  <a:lnTo>
                    <a:pt x="64" y="171"/>
                  </a:lnTo>
                  <a:lnTo>
                    <a:pt x="64" y="171"/>
                  </a:lnTo>
                  <a:lnTo>
                    <a:pt x="48" y="171"/>
                  </a:lnTo>
                  <a:lnTo>
                    <a:pt x="48" y="171"/>
                  </a:lnTo>
                  <a:lnTo>
                    <a:pt x="48" y="171"/>
                  </a:lnTo>
                  <a:lnTo>
                    <a:pt x="48" y="171"/>
                  </a:lnTo>
                  <a:lnTo>
                    <a:pt x="36" y="171"/>
                  </a:lnTo>
                  <a:lnTo>
                    <a:pt x="36" y="171"/>
                  </a:lnTo>
                  <a:lnTo>
                    <a:pt x="36" y="171"/>
                  </a:lnTo>
                  <a:lnTo>
                    <a:pt x="36" y="171"/>
                  </a:lnTo>
                  <a:lnTo>
                    <a:pt x="36" y="171"/>
                  </a:lnTo>
                  <a:lnTo>
                    <a:pt x="36" y="171"/>
                  </a:lnTo>
                  <a:lnTo>
                    <a:pt x="36" y="171"/>
                  </a:lnTo>
                  <a:lnTo>
                    <a:pt x="36" y="171"/>
                  </a:lnTo>
                  <a:lnTo>
                    <a:pt x="36" y="171"/>
                  </a:lnTo>
                  <a:lnTo>
                    <a:pt x="36" y="171"/>
                  </a:lnTo>
                  <a:lnTo>
                    <a:pt x="9" y="174"/>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98" name="Freeform 777"/>
            <p:cNvSpPr>
              <a:spLocks/>
            </p:cNvSpPr>
            <p:nvPr/>
          </p:nvSpPr>
          <p:spPr bwMode="auto">
            <a:xfrm>
              <a:off x="5862638" y="3708829"/>
              <a:ext cx="354013" cy="276225"/>
            </a:xfrm>
            <a:custGeom>
              <a:avLst/>
              <a:gdLst>
                <a:gd name="T0" fmla="*/ 6 w 223"/>
                <a:gd name="T1" fmla="*/ 167 h 174"/>
                <a:gd name="T2" fmla="*/ 7 w 223"/>
                <a:gd name="T3" fmla="*/ 164 h 174"/>
                <a:gd name="T4" fmla="*/ 7 w 223"/>
                <a:gd name="T5" fmla="*/ 164 h 174"/>
                <a:gd name="T6" fmla="*/ 7 w 223"/>
                <a:gd name="T7" fmla="*/ 164 h 174"/>
                <a:gd name="T8" fmla="*/ 18 w 223"/>
                <a:gd name="T9" fmla="*/ 147 h 174"/>
                <a:gd name="T10" fmla="*/ 10 w 223"/>
                <a:gd name="T11" fmla="*/ 139 h 174"/>
                <a:gd name="T12" fmla="*/ 2 w 223"/>
                <a:gd name="T13" fmla="*/ 128 h 174"/>
                <a:gd name="T14" fmla="*/ 6 w 223"/>
                <a:gd name="T15" fmla="*/ 100 h 174"/>
                <a:gd name="T16" fmla="*/ 3 w 223"/>
                <a:gd name="T17" fmla="*/ 89 h 174"/>
                <a:gd name="T18" fmla="*/ 2 w 223"/>
                <a:gd name="T19" fmla="*/ 77 h 174"/>
                <a:gd name="T20" fmla="*/ 10 w 223"/>
                <a:gd name="T21" fmla="*/ 66 h 174"/>
                <a:gd name="T22" fmla="*/ 10 w 223"/>
                <a:gd name="T23" fmla="*/ 64 h 174"/>
                <a:gd name="T24" fmla="*/ 22 w 223"/>
                <a:gd name="T25" fmla="*/ 60 h 174"/>
                <a:gd name="T26" fmla="*/ 32 w 223"/>
                <a:gd name="T27" fmla="*/ 63 h 174"/>
                <a:gd name="T28" fmla="*/ 34 w 223"/>
                <a:gd name="T29" fmla="*/ 63 h 174"/>
                <a:gd name="T30" fmla="*/ 41 w 223"/>
                <a:gd name="T31" fmla="*/ 57 h 174"/>
                <a:gd name="T32" fmla="*/ 42 w 223"/>
                <a:gd name="T33" fmla="*/ 57 h 174"/>
                <a:gd name="T34" fmla="*/ 42 w 223"/>
                <a:gd name="T35" fmla="*/ 55 h 174"/>
                <a:gd name="T36" fmla="*/ 63 w 223"/>
                <a:gd name="T37" fmla="*/ 42 h 174"/>
                <a:gd name="T38" fmla="*/ 67 w 223"/>
                <a:gd name="T39" fmla="*/ 29 h 174"/>
                <a:gd name="T40" fmla="*/ 78 w 223"/>
                <a:gd name="T41" fmla="*/ 22 h 174"/>
                <a:gd name="T42" fmla="*/ 90 w 223"/>
                <a:gd name="T43" fmla="*/ 19 h 174"/>
                <a:gd name="T44" fmla="*/ 113 w 223"/>
                <a:gd name="T45" fmla="*/ 21 h 174"/>
                <a:gd name="T46" fmla="*/ 125 w 223"/>
                <a:gd name="T47" fmla="*/ 24 h 174"/>
                <a:gd name="T48" fmla="*/ 132 w 223"/>
                <a:gd name="T49" fmla="*/ 21 h 174"/>
                <a:gd name="T50" fmla="*/ 152 w 223"/>
                <a:gd name="T51" fmla="*/ 18 h 174"/>
                <a:gd name="T52" fmla="*/ 158 w 223"/>
                <a:gd name="T53" fmla="*/ 6 h 174"/>
                <a:gd name="T54" fmla="*/ 173 w 223"/>
                <a:gd name="T55" fmla="*/ 0 h 174"/>
                <a:gd name="T56" fmla="*/ 175 w 223"/>
                <a:gd name="T57" fmla="*/ 25 h 174"/>
                <a:gd name="T58" fmla="*/ 178 w 223"/>
                <a:gd name="T59" fmla="*/ 28 h 174"/>
                <a:gd name="T60" fmla="*/ 206 w 223"/>
                <a:gd name="T61" fmla="*/ 24 h 174"/>
                <a:gd name="T62" fmla="*/ 220 w 223"/>
                <a:gd name="T63" fmla="*/ 27 h 174"/>
                <a:gd name="T64" fmla="*/ 210 w 223"/>
                <a:gd name="T65" fmla="*/ 31 h 174"/>
                <a:gd name="T66" fmla="*/ 187 w 223"/>
                <a:gd name="T67" fmla="*/ 35 h 174"/>
                <a:gd name="T68" fmla="*/ 175 w 223"/>
                <a:gd name="T69" fmla="*/ 44 h 174"/>
                <a:gd name="T70" fmla="*/ 173 w 223"/>
                <a:gd name="T71" fmla="*/ 47 h 174"/>
                <a:gd name="T72" fmla="*/ 177 w 223"/>
                <a:gd name="T73" fmla="*/ 63 h 174"/>
                <a:gd name="T74" fmla="*/ 173 w 223"/>
                <a:gd name="T75" fmla="*/ 70 h 174"/>
                <a:gd name="T76" fmla="*/ 170 w 223"/>
                <a:gd name="T77" fmla="*/ 76 h 174"/>
                <a:gd name="T78" fmla="*/ 173 w 223"/>
                <a:gd name="T79" fmla="*/ 90 h 174"/>
                <a:gd name="T80" fmla="*/ 161 w 223"/>
                <a:gd name="T81" fmla="*/ 100 h 174"/>
                <a:gd name="T82" fmla="*/ 148 w 223"/>
                <a:gd name="T83" fmla="*/ 109 h 174"/>
                <a:gd name="T84" fmla="*/ 141 w 223"/>
                <a:gd name="T85" fmla="*/ 126 h 174"/>
                <a:gd name="T86" fmla="*/ 133 w 223"/>
                <a:gd name="T87" fmla="*/ 128 h 174"/>
                <a:gd name="T88" fmla="*/ 131 w 223"/>
                <a:gd name="T89" fmla="*/ 128 h 174"/>
                <a:gd name="T90" fmla="*/ 125 w 223"/>
                <a:gd name="T91" fmla="*/ 128 h 174"/>
                <a:gd name="T92" fmla="*/ 112 w 223"/>
                <a:gd name="T93" fmla="*/ 137 h 174"/>
                <a:gd name="T94" fmla="*/ 112 w 223"/>
                <a:gd name="T95" fmla="*/ 141 h 174"/>
                <a:gd name="T96" fmla="*/ 97 w 223"/>
                <a:gd name="T97" fmla="*/ 144 h 174"/>
                <a:gd name="T98" fmla="*/ 83 w 223"/>
                <a:gd name="T99" fmla="*/ 163 h 174"/>
                <a:gd name="T100" fmla="*/ 74 w 223"/>
                <a:gd name="T101" fmla="*/ 171 h 174"/>
                <a:gd name="T102" fmla="*/ 48 w 223"/>
                <a:gd name="T103" fmla="*/ 171 h 174"/>
                <a:gd name="T104" fmla="*/ 36 w 223"/>
                <a:gd name="T105" fmla="*/ 171 h 174"/>
                <a:gd name="T106" fmla="*/ 36 w 223"/>
                <a:gd name="T107" fmla="*/ 171 h 174"/>
                <a:gd name="T108" fmla="*/ 36 w 223"/>
                <a:gd name="T109" fmla="*/ 171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3" h="174">
                  <a:moveTo>
                    <a:pt x="9" y="174"/>
                  </a:moveTo>
                  <a:lnTo>
                    <a:pt x="9" y="174"/>
                  </a:lnTo>
                  <a:lnTo>
                    <a:pt x="7" y="168"/>
                  </a:lnTo>
                  <a:lnTo>
                    <a:pt x="6" y="167"/>
                  </a:lnTo>
                  <a:lnTo>
                    <a:pt x="7" y="164"/>
                  </a:lnTo>
                  <a:lnTo>
                    <a:pt x="7" y="164"/>
                  </a:lnTo>
                  <a:lnTo>
                    <a:pt x="7" y="164"/>
                  </a:lnTo>
                  <a:lnTo>
                    <a:pt x="7" y="164"/>
                  </a:lnTo>
                  <a:lnTo>
                    <a:pt x="7" y="164"/>
                  </a:lnTo>
                  <a:lnTo>
                    <a:pt x="7" y="164"/>
                  </a:lnTo>
                  <a:lnTo>
                    <a:pt x="7" y="164"/>
                  </a:lnTo>
                  <a:lnTo>
                    <a:pt x="7" y="164"/>
                  </a:lnTo>
                  <a:lnTo>
                    <a:pt x="7" y="164"/>
                  </a:lnTo>
                  <a:lnTo>
                    <a:pt x="7" y="164"/>
                  </a:lnTo>
                  <a:lnTo>
                    <a:pt x="7" y="164"/>
                  </a:lnTo>
                  <a:lnTo>
                    <a:pt x="7" y="164"/>
                  </a:lnTo>
                  <a:lnTo>
                    <a:pt x="13" y="155"/>
                  </a:lnTo>
                  <a:lnTo>
                    <a:pt x="16" y="151"/>
                  </a:lnTo>
                  <a:lnTo>
                    <a:pt x="18" y="147"/>
                  </a:lnTo>
                  <a:lnTo>
                    <a:pt x="18" y="147"/>
                  </a:lnTo>
                  <a:lnTo>
                    <a:pt x="18" y="145"/>
                  </a:lnTo>
                  <a:lnTo>
                    <a:pt x="16" y="144"/>
                  </a:lnTo>
                  <a:lnTo>
                    <a:pt x="16" y="144"/>
                  </a:lnTo>
                  <a:lnTo>
                    <a:pt x="10" y="139"/>
                  </a:lnTo>
                  <a:lnTo>
                    <a:pt x="7" y="137"/>
                  </a:lnTo>
                  <a:lnTo>
                    <a:pt x="3" y="132"/>
                  </a:lnTo>
                  <a:lnTo>
                    <a:pt x="3" y="132"/>
                  </a:lnTo>
                  <a:lnTo>
                    <a:pt x="2" y="128"/>
                  </a:lnTo>
                  <a:lnTo>
                    <a:pt x="2" y="124"/>
                  </a:lnTo>
                  <a:lnTo>
                    <a:pt x="2" y="124"/>
                  </a:lnTo>
                  <a:lnTo>
                    <a:pt x="3" y="109"/>
                  </a:lnTo>
                  <a:lnTo>
                    <a:pt x="6" y="100"/>
                  </a:lnTo>
                  <a:lnTo>
                    <a:pt x="6" y="100"/>
                  </a:lnTo>
                  <a:lnTo>
                    <a:pt x="6" y="99"/>
                  </a:lnTo>
                  <a:lnTo>
                    <a:pt x="6" y="99"/>
                  </a:lnTo>
                  <a:lnTo>
                    <a:pt x="3" y="89"/>
                  </a:lnTo>
                  <a:lnTo>
                    <a:pt x="2" y="84"/>
                  </a:lnTo>
                  <a:lnTo>
                    <a:pt x="0" y="79"/>
                  </a:lnTo>
                  <a:lnTo>
                    <a:pt x="0" y="79"/>
                  </a:lnTo>
                  <a:lnTo>
                    <a:pt x="2" y="77"/>
                  </a:lnTo>
                  <a:lnTo>
                    <a:pt x="2" y="77"/>
                  </a:lnTo>
                  <a:lnTo>
                    <a:pt x="7" y="71"/>
                  </a:lnTo>
                  <a:lnTo>
                    <a:pt x="10" y="66"/>
                  </a:lnTo>
                  <a:lnTo>
                    <a:pt x="10" y="66"/>
                  </a:lnTo>
                  <a:lnTo>
                    <a:pt x="10" y="64"/>
                  </a:lnTo>
                  <a:lnTo>
                    <a:pt x="10" y="64"/>
                  </a:lnTo>
                  <a:lnTo>
                    <a:pt x="10" y="64"/>
                  </a:lnTo>
                  <a:lnTo>
                    <a:pt x="10" y="64"/>
                  </a:lnTo>
                  <a:lnTo>
                    <a:pt x="10" y="64"/>
                  </a:lnTo>
                  <a:lnTo>
                    <a:pt x="10" y="55"/>
                  </a:lnTo>
                  <a:lnTo>
                    <a:pt x="10" y="55"/>
                  </a:lnTo>
                  <a:lnTo>
                    <a:pt x="22" y="60"/>
                  </a:lnTo>
                  <a:lnTo>
                    <a:pt x="31" y="63"/>
                  </a:lnTo>
                  <a:lnTo>
                    <a:pt x="31" y="63"/>
                  </a:lnTo>
                  <a:lnTo>
                    <a:pt x="32" y="63"/>
                  </a:lnTo>
                  <a:lnTo>
                    <a:pt x="32" y="63"/>
                  </a:lnTo>
                  <a:lnTo>
                    <a:pt x="34" y="63"/>
                  </a:lnTo>
                  <a:lnTo>
                    <a:pt x="34" y="63"/>
                  </a:lnTo>
                  <a:lnTo>
                    <a:pt x="34" y="63"/>
                  </a:lnTo>
                  <a:lnTo>
                    <a:pt x="34" y="63"/>
                  </a:lnTo>
                  <a:lnTo>
                    <a:pt x="38" y="61"/>
                  </a:lnTo>
                  <a:lnTo>
                    <a:pt x="41" y="57"/>
                  </a:lnTo>
                  <a:lnTo>
                    <a:pt x="41" y="57"/>
                  </a:lnTo>
                  <a:lnTo>
                    <a:pt x="41" y="57"/>
                  </a:lnTo>
                  <a:lnTo>
                    <a:pt x="41" y="57"/>
                  </a:lnTo>
                  <a:lnTo>
                    <a:pt x="41" y="57"/>
                  </a:lnTo>
                  <a:lnTo>
                    <a:pt x="41" y="57"/>
                  </a:lnTo>
                  <a:lnTo>
                    <a:pt x="42" y="57"/>
                  </a:lnTo>
                  <a:lnTo>
                    <a:pt x="42" y="57"/>
                  </a:lnTo>
                  <a:lnTo>
                    <a:pt x="42" y="57"/>
                  </a:lnTo>
                  <a:lnTo>
                    <a:pt x="42" y="57"/>
                  </a:lnTo>
                  <a:lnTo>
                    <a:pt x="42" y="55"/>
                  </a:lnTo>
                  <a:lnTo>
                    <a:pt x="42" y="55"/>
                  </a:lnTo>
                  <a:lnTo>
                    <a:pt x="45" y="53"/>
                  </a:lnTo>
                  <a:lnTo>
                    <a:pt x="52" y="48"/>
                  </a:lnTo>
                  <a:lnTo>
                    <a:pt x="63" y="42"/>
                  </a:lnTo>
                  <a:lnTo>
                    <a:pt x="63" y="42"/>
                  </a:lnTo>
                  <a:lnTo>
                    <a:pt x="64" y="40"/>
                  </a:lnTo>
                  <a:lnTo>
                    <a:pt x="65" y="34"/>
                  </a:lnTo>
                  <a:lnTo>
                    <a:pt x="67" y="29"/>
                  </a:lnTo>
                  <a:lnTo>
                    <a:pt x="70" y="25"/>
                  </a:lnTo>
                  <a:lnTo>
                    <a:pt x="70" y="25"/>
                  </a:lnTo>
                  <a:lnTo>
                    <a:pt x="73" y="24"/>
                  </a:lnTo>
                  <a:lnTo>
                    <a:pt x="78" y="22"/>
                  </a:lnTo>
                  <a:lnTo>
                    <a:pt x="87" y="21"/>
                  </a:lnTo>
                  <a:lnTo>
                    <a:pt x="87" y="21"/>
                  </a:lnTo>
                  <a:lnTo>
                    <a:pt x="90" y="19"/>
                  </a:lnTo>
                  <a:lnTo>
                    <a:pt x="90" y="19"/>
                  </a:lnTo>
                  <a:lnTo>
                    <a:pt x="106" y="18"/>
                  </a:lnTo>
                  <a:lnTo>
                    <a:pt x="106" y="18"/>
                  </a:lnTo>
                  <a:lnTo>
                    <a:pt x="109" y="18"/>
                  </a:lnTo>
                  <a:lnTo>
                    <a:pt x="113" y="21"/>
                  </a:lnTo>
                  <a:lnTo>
                    <a:pt x="116" y="22"/>
                  </a:lnTo>
                  <a:lnTo>
                    <a:pt x="120" y="24"/>
                  </a:lnTo>
                  <a:lnTo>
                    <a:pt x="120" y="24"/>
                  </a:lnTo>
                  <a:lnTo>
                    <a:pt x="125" y="24"/>
                  </a:lnTo>
                  <a:lnTo>
                    <a:pt x="125" y="24"/>
                  </a:lnTo>
                  <a:lnTo>
                    <a:pt x="128" y="24"/>
                  </a:lnTo>
                  <a:lnTo>
                    <a:pt x="132" y="21"/>
                  </a:lnTo>
                  <a:lnTo>
                    <a:pt x="132" y="21"/>
                  </a:lnTo>
                  <a:lnTo>
                    <a:pt x="142" y="19"/>
                  </a:lnTo>
                  <a:lnTo>
                    <a:pt x="151" y="18"/>
                  </a:lnTo>
                  <a:lnTo>
                    <a:pt x="151" y="18"/>
                  </a:lnTo>
                  <a:lnTo>
                    <a:pt x="152" y="18"/>
                  </a:lnTo>
                  <a:lnTo>
                    <a:pt x="154" y="15"/>
                  </a:lnTo>
                  <a:lnTo>
                    <a:pt x="155" y="9"/>
                  </a:lnTo>
                  <a:lnTo>
                    <a:pt x="155" y="9"/>
                  </a:lnTo>
                  <a:lnTo>
                    <a:pt x="158" y="6"/>
                  </a:lnTo>
                  <a:lnTo>
                    <a:pt x="162" y="3"/>
                  </a:lnTo>
                  <a:lnTo>
                    <a:pt x="168" y="2"/>
                  </a:lnTo>
                  <a:lnTo>
                    <a:pt x="173" y="0"/>
                  </a:lnTo>
                  <a:lnTo>
                    <a:pt x="173" y="0"/>
                  </a:lnTo>
                  <a:lnTo>
                    <a:pt x="174" y="2"/>
                  </a:lnTo>
                  <a:lnTo>
                    <a:pt x="175" y="3"/>
                  </a:lnTo>
                  <a:lnTo>
                    <a:pt x="175" y="12"/>
                  </a:lnTo>
                  <a:lnTo>
                    <a:pt x="175" y="25"/>
                  </a:lnTo>
                  <a:lnTo>
                    <a:pt x="175" y="25"/>
                  </a:lnTo>
                  <a:lnTo>
                    <a:pt x="175" y="28"/>
                  </a:lnTo>
                  <a:lnTo>
                    <a:pt x="178" y="28"/>
                  </a:lnTo>
                  <a:lnTo>
                    <a:pt x="178" y="28"/>
                  </a:lnTo>
                  <a:lnTo>
                    <a:pt x="187" y="28"/>
                  </a:lnTo>
                  <a:lnTo>
                    <a:pt x="187" y="28"/>
                  </a:lnTo>
                  <a:lnTo>
                    <a:pt x="197" y="25"/>
                  </a:lnTo>
                  <a:lnTo>
                    <a:pt x="206" y="24"/>
                  </a:lnTo>
                  <a:lnTo>
                    <a:pt x="206" y="24"/>
                  </a:lnTo>
                  <a:lnTo>
                    <a:pt x="223" y="22"/>
                  </a:lnTo>
                  <a:lnTo>
                    <a:pt x="223" y="22"/>
                  </a:lnTo>
                  <a:lnTo>
                    <a:pt x="220" y="27"/>
                  </a:lnTo>
                  <a:lnTo>
                    <a:pt x="220" y="28"/>
                  </a:lnTo>
                  <a:lnTo>
                    <a:pt x="222" y="29"/>
                  </a:lnTo>
                  <a:lnTo>
                    <a:pt x="222" y="29"/>
                  </a:lnTo>
                  <a:lnTo>
                    <a:pt x="210" y="31"/>
                  </a:lnTo>
                  <a:lnTo>
                    <a:pt x="210" y="31"/>
                  </a:lnTo>
                  <a:lnTo>
                    <a:pt x="197" y="31"/>
                  </a:lnTo>
                  <a:lnTo>
                    <a:pt x="191" y="32"/>
                  </a:lnTo>
                  <a:lnTo>
                    <a:pt x="187" y="35"/>
                  </a:lnTo>
                  <a:lnTo>
                    <a:pt x="187" y="35"/>
                  </a:lnTo>
                  <a:lnTo>
                    <a:pt x="184" y="38"/>
                  </a:lnTo>
                  <a:lnTo>
                    <a:pt x="180" y="41"/>
                  </a:lnTo>
                  <a:lnTo>
                    <a:pt x="175" y="44"/>
                  </a:lnTo>
                  <a:lnTo>
                    <a:pt x="173" y="47"/>
                  </a:lnTo>
                  <a:lnTo>
                    <a:pt x="173" y="47"/>
                  </a:lnTo>
                  <a:lnTo>
                    <a:pt x="173" y="47"/>
                  </a:lnTo>
                  <a:lnTo>
                    <a:pt x="173" y="47"/>
                  </a:lnTo>
                  <a:lnTo>
                    <a:pt x="175" y="54"/>
                  </a:lnTo>
                  <a:lnTo>
                    <a:pt x="177" y="63"/>
                  </a:lnTo>
                  <a:lnTo>
                    <a:pt x="177" y="63"/>
                  </a:lnTo>
                  <a:lnTo>
                    <a:pt x="177" y="63"/>
                  </a:lnTo>
                  <a:lnTo>
                    <a:pt x="177" y="63"/>
                  </a:lnTo>
                  <a:lnTo>
                    <a:pt x="177" y="66"/>
                  </a:lnTo>
                  <a:lnTo>
                    <a:pt x="174" y="67"/>
                  </a:lnTo>
                  <a:lnTo>
                    <a:pt x="173" y="70"/>
                  </a:lnTo>
                  <a:lnTo>
                    <a:pt x="171" y="73"/>
                  </a:lnTo>
                  <a:lnTo>
                    <a:pt x="171" y="73"/>
                  </a:lnTo>
                  <a:lnTo>
                    <a:pt x="170" y="76"/>
                  </a:lnTo>
                  <a:lnTo>
                    <a:pt x="170" y="76"/>
                  </a:lnTo>
                  <a:lnTo>
                    <a:pt x="171" y="82"/>
                  </a:lnTo>
                  <a:lnTo>
                    <a:pt x="173" y="87"/>
                  </a:lnTo>
                  <a:lnTo>
                    <a:pt x="173" y="87"/>
                  </a:lnTo>
                  <a:lnTo>
                    <a:pt x="173" y="90"/>
                  </a:lnTo>
                  <a:lnTo>
                    <a:pt x="173" y="90"/>
                  </a:lnTo>
                  <a:lnTo>
                    <a:pt x="168" y="96"/>
                  </a:lnTo>
                  <a:lnTo>
                    <a:pt x="165" y="97"/>
                  </a:lnTo>
                  <a:lnTo>
                    <a:pt x="161" y="100"/>
                  </a:lnTo>
                  <a:lnTo>
                    <a:pt x="161" y="100"/>
                  </a:lnTo>
                  <a:lnTo>
                    <a:pt x="157" y="102"/>
                  </a:lnTo>
                  <a:lnTo>
                    <a:pt x="154" y="103"/>
                  </a:lnTo>
                  <a:lnTo>
                    <a:pt x="148" y="109"/>
                  </a:lnTo>
                  <a:lnTo>
                    <a:pt x="148" y="109"/>
                  </a:lnTo>
                  <a:lnTo>
                    <a:pt x="145" y="115"/>
                  </a:lnTo>
                  <a:lnTo>
                    <a:pt x="144" y="121"/>
                  </a:lnTo>
                  <a:lnTo>
                    <a:pt x="141" y="126"/>
                  </a:lnTo>
                  <a:lnTo>
                    <a:pt x="139" y="128"/>
                  </a:lnTo>
                  <a:lnTo>
                    <a:pt x="138" y="128"/>
                  </a:lnTo>
                  <a:lnTo>
                    <a:pt x="138" y="128"/>
                  </a:lnTo>
                  <a:lnTo>
                    <a:pt x="133" y="128"/>
                  </a:lnTo>
                  <a:lnTo>
                    <a:pt x="133" y="128"/>
                  </a:lnTo>
                  <a:lnTo>
                    <a:pt x="131" y="128"/>
                  </a:lnTo>
                  <a:lnTo>
                    <a:pt x="131" y="128"/>
                  </a:lnTo>
                  <a:lnTo>
                    <a:pt x="131" y="128"/>
                  </a:lnTo>
                  <a:lnTo>
                    <a:pt x="131" y="128"/>
                  </a:lnTo>
                  <a:lnTo>
                    <a:pt x="125" y="128"/>
                  </a:lnTo>
                  <a:lnTo>
                    <a:pt x="125" y="128"/>
                  </a:lnTo>
                  <a:lnTo>
                    <a:pt x="125" y="128"/>
                  </a:lnTo>
                  <a:lnTo>
                    <a:pt x="125" y="128"/>
                  </a:lnTo>
                  <a:lnTo>
                    <a:pt x="119" y="131"/>
                  </a:lnTo>
                  <a:lnTo>
                    <a:pt x="115" y="134"/>
                  </a:lnTo>
                  <a:lnTo>
                    <a:pt x="112" y="137"/>
                  </a:lnTo>
                  <a:lnTo>
                    <a:pt x="112" y="138"/>
                  </a:lnTo>
                  <a:lnTo>
                    <a:pt x="112" y="138"/>
                  </a:lnTo>
                  <a:lnTo>
                    <a:pt x="112" y="141"/>
                  </a:lnTo>
                  <a:lnTo>
                    <a:pt x="112" y="141"/>
                  </a:lnTo>
                  <a:lnTo>
                    <a:pt x="110" y="142"/>
                  </a:lnTo>
                  <a:lnTo>
                    <a:pt x="106" y="144"/>
                  </a:lnTo>
                  <a:lnTo>
                    <a:pt x="106" y="144"/>
                  </a:lnTo>
                  <a:lnTo>
                    <a:pt x="97" y="144"/>
                  </a:lnTo>
                  <a:lnTo>
                    <a:pt x="94" y="145"/>
                  </a:lnTo>
                  <a:lnTo>
                    <a:pt x="91" y="150"/>
                  </a:lnTo>
                  <a:lnTo>
                    <a:pt x="91" y="150"/>
                  </a:lnTo>
                  <a:lnTo>
                    <a:pt x="83" y="163"/>
                  </a:lnTo>
                  <a:lnTo>
                    <a:pt x="78" y="168"/>
                  </a:lnTo>
                  <a:lnTo>
                    <a:pt x="77" y="171"/>
                  </a:lnTo>
                  <a:lnTo>
                    <a:pt x="74" y="171"/>
                  </a:lnTo>
                  <a:lnTo>
                    <a:pt x="74" y="171"/>
                  </a:lnTo>
                  <a:lnTo>
                    <a:pt x="64" y="171"/>
                  </a:lnTo>
                  <a:lnTo>
                    <a:pt x="64" y="171"/>
                  </a:lnTo>
                  <a:lnTo>
                    <a:pt x="48" y="171"/>
                  </a:lnTo>
                  <a:lnTo>
                    <a:pt x="48" y="171"/>
                  </a:lnTo>
                  <a:lnTo>
                    <a:pt x="48" y="171"/>
                  </a:lnTo>
                  <a:lnTo>
                    <a:pt x="48" y="171"/>
                  </a:lnTo>
                  <a:lnTo>
                    <a:pt x="36" y="171"/>
                  </a:lnTo>
                  <a:lnTo>
                    <a:pt x="36" y="171"/>
                  </a:lnTo>
                  <a:lnTo>
                    <a:pt x="36" y="171"/>
                  </a:lnTo>
                  <a:lnTo>
                    <a:pt x="36" y="171"/>
                  </a:lnTo>
                  <a:lnTo>
                    <a:pt x="36" y="171"/>
                  </a:lnTo>
                  <a:lnTo>
                    <a:pt x="36" y="171"/>
                  </a:lnTo>
                  <a:lnTo>
                    <a:pt x="36" y="171"/>
                  </a:lnTo>
                  <a:lnTo>
                    <a:pt x="36" y="171"/>
                  </a:lnTo>
                  <a:lnTo>
                    <a:pt x="36" y="171"/>
                  </a:lnTo>
                  <a:lnTo>
                    <a:pt x="36" y="171"/>
                  </a:lnTo>
                  <a:lnTo>
                    <a:pt x="9" y="1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99" name="Freeform 778"/>
            <p:cNvSpPr>
              <a:spLocks noEditPoints="1"/>
            </p:cNvSpPr>
            <p:nvPr/>
          </p:nvSpPr>
          <p:spPr bwMode="auto">
            <a:xfrm>
              <a:off x="5911851" y="3738992"/>
              <a:ext cx="93663" cy="69850"/>
            </a:xfrm>
            <a:custGeom>
              <a:avLst/>
              <a:gdLst>
                <a:gd name="T0" fmla="*/ 56 w 59"/>
                <a:gd name="T1" fmla="*/ 2 h 44"/>
                <a:gd name="T2" fmla="*/ 56 w 59"/>
                <a:gd name="T3" fmla="*/ 2 h 44"/>
                <a:gd name="T4" fmla="*/ 59 w 59"/>
                <a:gd name="T5" fmla="*/ 0 h 44"/>
                <a:gd name="T6" fmla="*/ 59 w 59"/>
                <a:gd name="T7" fmla="*/ 0 h 44"/>
                <a:gd name="T8" fmla="*/ 59 w 59"/>
                <a:gd name="T9" fmla="*/ 0 h 44"/>
                <a:gd name="T10" fmla="*/ 59 w 59"/>
                <a:gd name="T11" fmla="*/ 0 h 44"/>
                <a:gd name="T12" fmla="*/ 56 w 59"/>
                <a:gd name="T13" fmla="*/ 2 h 44"/>
                <a:gd name="T14" fmla="*/ 11 w 59"/>
                <a:gd name="T15" fmla="*/ 38 h 44"/>
                <a:gd name="T16" fmla="*/ 11 w 59"/>
                <a:gd name="T17" fmla="*/ 38 h 44"/>
                <a:gd name="T18" fmla="*/ 11 w 59"/>
                <a:gd name="T19" fmla="*/ 38 h 44"/>
                <a:gd name="T20" fmla="*/ 11 w 59"/>
                <a:gd name="T21" fmla="*/ 38 h 44"/>
                <a:gd name="T22" fmla="*/ 11 w 59"/>
                <a:gd name="T23" fmla="*/ 38 h 44"/>
                <a:gd name="T24" fmla="*/ 10 w 59"/>
                <a:gd name="T25" fmla="*/ 38 h 44"/>
                <a:gd name="T26" fmla="*/ 10 w 59"/>
                <a:gd name="T27" fmla="*/ 38 h 44"/>
                <a:gd name="T28" fmla="*/ 10 w 59"/>
                <a:gd name="T29" fmla="*/ 38 h 44"/>
                <a:gd name="T30" fmla="*/ 10 w 59"/>
                <a:gd name="T31" fmla="*/ 38 h 44"/>
                <a:gd name="T32" fmla="*/ 10 w 59"/>
                <a:gd name="T33" fmla="*/ 38 h 44"/>
                <a:gd name="T34" fmla="*/ 1 w 59"/>
                <a:gd name="T35" fmla="*/ 44 h 44"/>
                <a:gd name="T36" fmla="*/ 1 w 59"/>
                <a:gd name="T37" fmla="*/ 44 h 44"/>
                <a:gd name="T38" fmla="*/ 0 w 59"/>
                <a:gd name="T39" fmla="*/ 44 h 44"/>
                <a:gd name="T40" fmla="*/ 0 w 59"/>
                <a:gd name="T41" fmla="*/ 44 h 44"/>
                <a:gd name="T42" fmla="*/ 1 w 59"/>
                <a:gd name="T43" fmla="*/ 44 h 44"/>
                <a:gd name="T44" fmla="*/ 3 w 59"/>
                <a:gd name="T45" fmla="*/ 44 h 44"/>
                <a:gd name="T46" fmla="*/ 3 w 59"/>
                <a:gd name="T47" fmla="*/ 44 h 44"/>
                <a:gd name="T48" fmla="*/ 7 w 59"/>
                <a:gd name="T49" fmla="*/ 42 h 44"/>
                <a:gd name="T50" fmla="*/ 10 w 59"/>
                <a:gd name="T51" fmla="*/ 38 h 44"/>
                <a:gd name="T52" fmla="*/ 10 w 59"/>
                <a:gd name="T53" fmla="*/ 38 h 44"/>
                <a:gd name="T54" fmla="*/ 7 w 59"/>
                <a:gd name="T55" fmla="*/ 42 h 44"/>
                <a:gd name="T56" fmla="*/ 3 w 59"/>
                <a:gd name="T57" fmla="*/ 44 h 44"/>
                <a:gd name="T58" fmla="*/ 3 w 59"/>
                <a:gd name="T59" fmla="*/ 44 h 44"/>
                <a:gd name="T60" fmla="*/ 3 w 59"/>
                <a:gd name="T61" fmla="*/ 44 h 44"/>
                <a:gd name="T62" fmla="*/ 3 w 59"/>
                <a:gd name="T6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9" h="44">
                  <a:moveTo>
                    <a:pt x="56" y="2"/>
                  </a:moveTo>
                  <a:lnTo>
                    <a:pt x="56" y="2"/>
                  </a:lnTo>
                  <a:lnTo>
                    <a:pt x="59" y="0"/>
                  </a:lnTo>
                  <a:lnTo>
                    <a:pt x="59" y="0"/>
                  </a:lnTo>
                  <a:lnTo>
                    <a:pt x="59" y="0"/>
                  </a:lnTo>
                  <a:lnTo>
                    <a:pt x="59" y="0"/>
                  </a:lnTo>
                  <a:lnTo>
                    <a:pt x="56" y="2"/>
                  </a:lnTo>
                  <a:close/>
                  <a:moveTo>
                    <a:pt x="11" y="38"/>
                  </a:moveTo>
                  <a:lnTo>
                    <a:pt x="11" y="38"/>
                  </a:lnTo>
                  <a:lnTo>
                    <a:pt x="11" y="38"/>
                  </a:lnTo>
                  <a:lnTo>
                    <a:pt x="11" y="38"/>
                  </a:lnTo>
                  <a:lnTo>
                    <a:pt x="11" y="38"/>
                  </a:lnTo>
                  <a:close/>
                  <a:moveTo>
                    <a:pt x="10" y="38"/>
                  </a:moveTo>
                  <a:lnTo>
                    <a:pt x="10" y="38"/>
                  </a:lnTo>
                  <a:lnTo>
                    <a:pt x="10" y="38"/>
                  </a:lnTo>
                  <a:lnTo>
                    <a:pt x="10" y="38"/>
                  </a:lnTo>
                  <a:lnTo>
                    <a:pt x="10" y="38"/>
                  </a:lnTo>
                  <a:close/>
                  <a:moveTo>
                    <a:pt x="1" y="44"/>
                  </a:moveTo>
                  <a:lnTo>
                    <a:pt x="1" y="44"/>
                  </a:lnTo>
                  <a:lnTo>
                    <a:pt x="0" y="44"/>
                  </a:lnTo>
                  <a:lnTo>
                    <a:pt x="0" y="44"/>
                  </a:lnTo>
                  <a:lnTo>
                    <a:pt x="1" y="44"/>
                  </a:lnTo>
                  <a:close/>
                  <a:moveTo>
                    <a:pt x="3" y="44"/>
                  </a:moveTo>
                  <a:lnTo>
                    <a:pt x="3" y="44"/>
                  </a:lnTo>
                  <a:lnTo>
                    <a:pt x="7" y="42"/>
                  </a:lnTo>
                  <a:lnTo>
                    <a:pt x="10" y="38"/>
                  </a:lnTo>
                  <a:lnTo>
                    <a:pt x="10" y="38"/>
                  </a:lnTo>
                  <a:lnTo>
                    <a:pt x="7" y="42"/>
                  </a:lnTo>
                  <a:lnTo>
                    <a:pt x="3" y="44"/>
                  </a:lnTo>
                  <a:close/>
                  <a:moveTo>
                    <a:pt x="3" y="44"/>
                  </a:moveTo>
                  <a:lnTo>
                    <a:pt x="3" y="44"/>
                  </a:lnTo>
                  <a:lnTo>
                    <a:pt x="3" y="44"/>
                  </a:lnTo>
                  <a:close/>
                </a:path>
              </a:pathLst>
            </a:custGeom>
            <a:solidFill>
              <a:srgbClr val="60B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00" name="Freeform 779"/>
            <p:cNvSpPr>
              <a:spLocks/>
            </p:cNvSpPr>
            <p:nvPr/>
          </p:nvSpPr>
          <p:spPr bwMode="auto">
            <a:xfrm>
              <a:off x="6000751" y="3738992"/>
              <a:ext cx="4763" cy="3175"/>
            </a:xfrm>
            <a:custGeom>
              <a:avLst/>
              <a:gdLst>
                <a:gd name="T0" fmla="*/ 0 w 3"/>
                <a:gd name="T1" fmla="*/ 2 h 2"/>
                <a:gd name="T2" fmla="*/ 0 w 3"/>
                <a:gd name="T3" fmla="*/ 2 h 2"/>
                <a:gd name="T4" fmla="*/ 3 w 3"/>
                <a:gd name="T5" fmla="*/ 0 h 2"/>
                <a:gd name="T6" fmla="*/ 3 w 3"/>
                <a:gd name="T7" fmla="*/ 0 h 2"/>
                <a:gd name="T8" fmla="*/ 3 w 3"/>
                <a:gd name="T9" fmla="*/ 0 h 2"/>
                <a:gd name="T10" fmla="*/ 3 w 3"/>
                <a:gd name="T11" fmla="*/ 0 h 2"/>
                <a:gd name="T12" fmla="*/ 0 w 3"/>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0" y="2"/>
                  </a:moveTo>
                  <a:lnTo>
                    <a:pt x="0" y="2"/>
                  </a:lnTo>
                  <a:lnTo>
                    <a:pt x="3" y="0"/>
                  </a:lnTo>
                  <a:lnTo>
                    <a:pt x="3" y="0"/>
                  </a:lnTo>
                  <a:lnTo>
                    <a:pt x="3" y="0"/>
                  </a:lnTo>
                  <a:lnTo>
                    <a:pt x="3"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01" name="Rectangle 780"/>
            <p:cNvSpPr>
              <a:spLocks noChangeArrowheads="1"/>
            </p:cNvSpPr>
            <p:nvPr/>
          </p:nvSpPr>
          <p:spPr bwMode="auto">
            <a:xfrm>
              <a:off x="5929313" y="3799317"/>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02" name="Rectangle 781"/>
            <p:cNvSpPr>
              <a:spLocks noChangeArrowheads="1"/>
            </p:cNvSpPr>
            <p:nvPr/>
          </p:nvSpPr>
          <p:spPr bwMode="auto">
            <a:xfrm>
              <a:off x="5927726" y="3799317"/>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03" name="Rectangle 782"/>
            <p:cNvSpPr>
              <a:spLocks noChangeArrowheads="1"/>
            </p:cNvSpPr>
            <p:nvPr/>
          </p:nvSpPr>
          <p:spPr bwMode="auto">
            <a:xfrm>
              <a:off x="5911851" y="3808842"/>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04" name="Freeform 783"/>
            <p:cNvSpPr>
              <a:spLocks/>
            </p:cNvSpPr>
            <p:nvPr/>
          </p:nvSpPr>
          <p:spPr bwMode="auto">
            <a:xfrm>
              <a:off x="5916613" y="3799317"/>
              <a:ext cx="11113" cy="9525"/>
            </a:xfrm>
            <a:custGeom>
              <a:avLst/>
              <a:gdLst>
                <a:gd name="T0" fmla="*/ 0 w 7"/>
                <a:gd name="T1" fmla="*/ 6 h 6"/>
                <a:gd name="T2" fmla="*/ 0 w 7"/>
                <a:gd name="T3" fmla="*/ 6 h 6"/>
                <a:gd name="T4" fmla="*/ 4 w 7"/>
                <a:gd name="T5" fmla="*/ 4 h 6"/>
                <a:gd name="T6" fmla="*/ 7 w 7"/>
                <a:gd name="T7" fmla="*/ 0 h 6"/>
                <a:gd name="T8" fmla="*/ 7 w 7"/>
                <a:gd name="T9" fmla="*/ 0 h 6"/>
                <a:gd name="T10" fmla="*/ 4 w 7"/>
                <a:gd name="T11" fmla="*/ 4 h 6"/>
                <a:gd name="T12" fmla="*/ 0 w 7"/>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0" y="6"/>
                  </a:moveTo>
                  <a:lnTo>
                    <a:pt x="0" y="6"/>
                  </a:lnTo>
                  <a:lnTo>
                    <a:pt x="4" y="4"/>
                  </a:lnTo>
                  <a:lnTo>
                    <a:pt x="7" y="0"/>
                  </a:lnTo>
                  <a:lnTo>
                    <a:pt x="7" y="0"/>
                  </a:lnTo>
                  <a:lnTo>
                    <a:pt x="4" y="4"/>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05" name="Freeform 784"/>
            <p:cNvSpPr>
              <a:spLocks/>
            </p:cNvSpPr>
            <p:nvPr/>
          </p:nvSpPr>
          <p:spPr bwMode="auto">
            <a:xfrm>
              <a:off x="5916613" y="3808842"/>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06" name="Freeform 785"/>
            <p:cNvSpPr>
              <a:spLocks noEditPoints="1"/>
            </p:cNvSpPr>
            <p:nvPr/>
          </p:nvSpPr>
          <p:spPr bwMode="auto">
            <a:xfrm>
              <a:off x="5862638" y="3796142"/>
              <a:ext cx="28575" cy="173038"/>
            </a:xfrm>
            <a:custGeom>
              <a:avLst/>
              <a:gdLst>
                <a:gd name="T0" fmla="*/ 10 w 18"/>
                <a:gd name="T1" fmla="*/ 9 h 109"/>
                <a:gd name="T2" fmla="*/ 10 w 18"/>
                <a:gd name="T3" fmla="*/ 9 h 109"/>
                <a:gd name="T4" fmla="*/ 10 w 18"/>
                <a:gd name="T5" fmla="*/ 0 h 109"/>
                <a:gd name="T6" fmla="*/ 10 w 18"/>
                <a:gd name="T7" fmla="*/ 0 h 109"/>
                <a:gd name="T8" fmla="*/ 10 w 18"/>
                <a:gd name="T9" fmla="*/ 0 h 109"/>
                <a:gd name="T10" fmla="*/ 10 w 18"/>
                <a:gd name="T11" fmla="*/ 9 h 109"/>
                <a:gd name="T12" fmla="*/ 10 w 18"/>
                <a:gd name="T13" fmla="*/ 9 h 109"/>
                <a:gd name="T14" fmla="*/ 10 w 18"/>
                <a:gd name="T15" fmla="*/ 9 h 109"/>
                <a:gd name="T16" fmla="*/ 10 w 18"/>
                <a:gd name="T17" fmla="*/ 9 h 109"/>
                <a:gd name="T18" fmla="*/ 6 w 18"/>
                <a:gd name="T19" fmla="*/ 44 h 109"/>
                <a:gd name="T20" fmla="*/ 6 w 18"/>
                <a:gd name="T21" fmla="*/ 44 h 109"/>
                <a:gd name="T22" fmla="*/ 3 w 18"/>
                <a:gd name="T23" fmla="*/ 34 h 109"/>
                <a:gd name="T24" fmla="*/ 2 w 18"/>
                <a:gd name="T25" fmla="*/ 29 h 109"/>
                <a:gd name="T26" fmla="*/ 0 w 18"/>
                <a:gd name="T27" fmla="*/ 24 h 109"/>
                <a:gd name="T28" fmla="*/ 0 w 18"/>
                <a:gd name="T29" fmla="*/ 24 h 109"/>
                <a:gd name="T30" fmla="*/ 2 w 18"/>
                <a:gd name="T31" fmla="*/ 29 h 109"/>
                <a:gd name="T32" fmla="*/ 3 w 18"/>
                <a:gd name="T33" fmla="*/ 34 h 109"/>
                <a:gd name="T34" fmla="*/ 6 w 18"/>
                <a:gd name="T35" fmla="*/ 44 h 109"/>
                <a:gd name="T36" fmla="*/ 18 w 18"/>
                <a:gd name="T37" fmla="*/ 92 h 109"/>
                <a:gd name="T38" fmla="*/ 18 w 18"/>
                <a:gd name="T39" fmla="*/ 92 h 109"/>
                <a:gd name="T40" fmla="*/ 18 w 18"/>
                <a:gd name="T41" fmla="*/ 90 h 109"/>
                <a:gd name="T42" fmla="*/ 16 w 18"/>
                <a:gd name="T43" fmla="*/ 89 h 109"/>
                <a:gd name="T44" fmla="*/ 16 w 18"/>
                <a:gd name="T45" fmla="*/ 89 h 109"/>
                <a:gd name="T46" fmla="*/ 10 w 18"/>
                <a:gd name="T47" fmla="*/ 84 h 109"/>
                <a:gd name="T48" fmla="*/ 7 w 18"/>
                <a:gd name="T49" fmla="*/ 82 h 109"/>
                <a:gd name="T50" fmla="*/ 3 w 18"/>
                <a:gd name="T51" fmla="*/ 77 h 109"/>
                <a:gd name="T52" fmla="*/ 3 w 18"/>
                <a:gd name="T53" fmla="*/ 77 h 109"/>
                <a:gd name="T54" fmla="*/ 2 w 18"/>
                <a:gd name="T55" fmla="*/ 73 h 109"/>
                <a:gd name="T56" fmla="*/ 2 w 18"/>
                <a:gd name="T57" fmla="*/ 69 h 109"/>
                <a:gd name="T58" fmla="*/ 2 w 18"/>
                <a:gd name="T59" fmla="*/ 69 h 109"/>
                <a:gd name="T60" fmla="*/ 2 w 18"/>
                <a:gd name="T61" fmla="*/ 73 h 109"/>
                <a:gd name="T62" fmla="*/ 3 w 18"/>
                <a:gd name="T63" fmla="*/ 77 h 109"/>
                <a:gd name="T64" fmla="*/ 3 w 18"/>
                <a:gd name="T65" fmla="*/ 77 h 109"/>
                <a:gd name="T66" fmla="*/ 7 w 18"/>
                <a:gd name="T67" fmla="*/ 82 h 109"/>
                <a:gd name="T68" fmla="*/ 10 w 18"/>
                <a:gd name="T69" fmla="*/ 84 h 109"/>
                <a:gd name="T70" fmla="*/ 16 w 18"/>
                <a:gd name="T71" fmla="*/ 89 h 109"/>
                <a:gd name="T72" fmla="*/ 16 w 18"/>
                <a:gd name="T73" fmla="*/ 89 h 109"/>
                <a:gd name="T74" fmla="*/ 18 w 18"/>
                <a:gd name="T75" fmla="*/ 90 h 109"/>
                <a:gd name="T76" fmla="*/ 18 w 18"/>
                <a:gd name="T77" fmla="*/ 92 h 109"/>
                <a:gd name="T78" fmla="*/ 7 w 18"/>
                <a:gd name="T79" fmla="*/ 109 h 109"/>
                <a:gd name="T80" fmla="*/ 7 w 18"/>
                <a:gd name="T81" fmla="*/ 109 h 109"/>
                <a:gd name="T82" fmla="*/ 7 w 18"/>
                <a:gd name="T83" fmla="*/ 109 h 109"/>
                <a:gd name="T84" fmla="*/ 7 w 18"/>
                <a:gd name="T85" fmla="*/ 109 h 109"/>
                <a:gd name="T86" fmla="*/ 7 w 18"/>
                <a:gd name="T87" fmla="*/ 109 h 109"/>
                <a:gd name="T88" fmla="*/ 7 w 18"/>
                <a:gd name="T89" fmla="*/ 109 h 109"/>
                <a:gd name="T90" fmla="*/ 7 w 18"/>
                <a:gd name="T91" fmla="*/ 109 h 109"/>
                <a:gd name="T92" fmla="*/ 7 w 18"/>
                <a:gd name="T93" fmla="*/ 109 h 109"/>
                <a:gd name="T94" fmla="*/ 7 w 18"/>
                <a:gd name="T95" fmla="*/ 109 h 109"/>
                <a:gd name="T96" fmla="*/ 7 w 18"/>
                <a:gd name="T97" fmla="*/ 109 h 109"/>
                <a:gd name="T98" fmla="*/ 7 w 18"/>
                <a:gd name="T99" fmla="*/ 109 h 109"/>
                <a:gd name="T100" fmla="*/ 7 w 18"/>
                <a:gd name="T101"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 h="109">
                  <a:moveTo>
                    <a:pt x="10" y="9"/>
                  </a:moveTo>
                  <a:lnTo>
                    <a:pt x="10" y="9"/>
                  </a:lnTo>
                  <a:lnTo>
                    <a:pt x="10" y="0"/>
                  </a:lnTo>
                  <a:lnTo>
                    <a:pt x="10" y="0"/>
                  </a:lnTo>
                  <a:lnTo>
                    <a:pt x="10" y="0"/>
                  </a:lnTo>
                  <a:lnTo>
                    <a:pt x="10" y="9"/>
                  </a:lnTo>
                  <a:close/>
                  <a:moveTo>
                    <a:pt x="10" y="9"/>
                  </a:moveTo>
                  <a:lnTo>
                    <a:pt x="10" y="9"/>
                  </a:lnTo>
                  <a:lnTo>
                    <a:pt x="10" y="9"/>
                  </a:lnTo>
                  <a:close/>
                  <a:moveTo>
                    <a:pt x="6" y="44"/>
                  </a:moveTo>
                  <a:lnTo>
                    <a:pt x="6" y="44"/>
                  </a:lnTo>
                  <a:lnTo>
                    <a:pt x="3" y="34"/>
                  </a:lnTo>
                  <a:lnTo>
                    <a:pt x="2" y="29"/>
                  </a:lnTo>
                  <a:lnTo>
                    <a:pt x="0" y="24"/>
                  </a:lnTo>
                  <a:lnTo>
                    <a:pt x="0" y="24"/>
                  </a:lnTo>
                  <a:lnTo>
                    <a:pt x="2" y="29"/>
                  </a:lnTo>
                  <a:lnTo>
                    <a:pt x="3" y="34"/>
                  </a:lnTo>
                  <a:lnTo>
                    <a:pt x="6" y="44"/>
                  </a:lnTo>
                  <a:close/>
                  <a:moveTo>
                    <a:pt x="18" y="92"/>
                  </a:moveTo>
                  <a:lnTo>
                    <a:pt x="18" y="92"/>
                  </a:lnTo>
                  <a:lnTo>
                    <a:pt x="18" y="90"/>
                  </a:lnTo>
                  <a:lnTo>
                    <a:pt x="16" y="89"/>
                  </a:lnTo>
                  <a:lnTo>
                    <a:pt x="16" y="89"/>
                  </a:lnTo>
                  <a:lnTo>
                    <a:pt x="10" y="84"/>
                  </a:lnTo>
                  <a:lnTo>
                    <a:pt x="7" y="82"/>
                  </a:lnTo>
                  <a:lnTo>
                    <a:pt x="3" y="77"/>
                  </a:lnTo>
                  <a:lnTo>
                    <a:pt x="3" y="77"/>
                  </a:lnTo>
                  <a:lnTo>
                    <a:pt x="2" y="73"/>
                  </a:lnTo>
                  <a:lnTo>
                    <a:pt x="2" y="69"/>
                  </a:lnTo>
                  <a:lnTo>
                    <a:pt x="2" y="69"/>
                  </a:lnTo>
                  <a:lnTo>
                    <a:pt x="2" y="73"/>
                  </a:lnTo>
                  <a:lnTo>
                    <a:pt x="3" y="77"/>
                  </a:lnTo>
                  <a:lnTo>
                    <a:pt x="3" y="77"/>
                  </a:lnTo>
                  <a:lnTo>
                    <a:pt x="7" y="82"/>
                  </a:lnTo>
                  <a:lnTo>
                    <a:pt x="10" y="84"/>
                  </a:lnTo>
                  <a:lnTo>
                    <a:pt x="16" y="89"/>
                  </a:lnTo>
                  <a:lnTo>
                    <a:pt x="16" y="89"/>
                  </a:lnTo>
                  <a:lnTo>
                    <a:pt x="18" y="90"/>
                  </a:lnTo>
                  <a:lnTo>
                    <a:pt x="18" y="92"/>
                  </a:lnTo>
                  <a:close/>
                  <a:moveTo>
                    <a:pt x="7" y="109"/>
                  </a:moveTo>
                  <a:lnTo>
                    <a:pt x="7" y="109"/>
                  </a:lnTo>
                  <a:lnTo>
                    <a:pt x="7" y="109"/>
                  </a:lnTo>
                  <a:lnTo>
                    <a:pt x="7" y="109"/>
                  </a:lnTo>
                  <a:lnTo>
                    <a:pt x="7" y="109"/>
                  </a:lnTo>
                  <a:close/>
                  <a:moveTo>
                    <a:pt x="7" y="109"/>
                  </a:moveTo>
                  <a:lnTo>
                    <a:pt x="7" y="109"/>
                  </a:lnTo>
                  <a:lnTo>
                    <a:pt x="7" y="109"/>
                  </a:lnTo>
                  <a:lnTo>
                    <a:pt x="7" y="109"/>
                  </a:lnTo>
                  <a:lnTo>
                    <a:pt x="7" y="109"/>
                  </a:lnTo>
                  <a:close/>
                  <a:moveTo>
                    <a:pt x="7" y="109"/>
                  </a:moveTo>
                  <a:lnTo>
                    <a:pt x="7" y="109"/>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07" name="Freeform 786"/>
            <p:cNvSpPr>
              <a:spLocks/>
            </p:cNvSpPr>
            <p:nvPr/>
          </p:nvSpPr>
          <p:spPr bwMode="auto">
            <a:xfrm>
              <a:off x="5878513" y="3796142"/>
              <a:ext cx="0" cy="14288"/>
            </a:xfrm>
            <a:custGeom>
              <a:avLst/>
              <a:gdLst>
                <a:gd name="T0" fmla="*/ 9 h 9"/>
                <a:gd name="T1" fmla="*/ 9 h 9"/>
                <a:gd name="T2" fmla="*/ 0 h 9"/>
                <a:gd name="T3" fmla="*/ 0 h 9"/>
                <a:gd name="T4" fmla="*/ 0 h 9"/>
                <a:gd name="T5" fmla="*/ 9 h 9"/>
              </a:gdLst>
              <a:ahLst/>
              <a:cxnLst>
                <a:cxn ang="0">
                  <a:pos x="0" y="T0"/>
                </a:cxn>
                <a:cxn ang="0">
                  <a:pos x="0" y="T1"/>
                </a:cxn>
                <a:cxn ang="0">
                  <a:pos x="0" y="T2"/>
                </a:cxn>
                <a:cxn ang="0">
                  <a:pos x="0" y="T3"/>
                </a:cxn>
                <a:cxn ang="0">
                  <a:pos x="0" y="T4"/>
                </a:cxn>
                <a:cxn ang="0">
                  <a:pos x="0" y="T5"/>
                </a:cxn>
              </a:cxnLst>
              <a:rect l="0" t="0" r="r" b="b"/>
              <a:pathLst>
                <a:path h="9">
                  <a:moveTo>
                    <a:pt x="0" y="9"/>
                  </a:moveTo>
                  <a:lnTo>
                    <a:pt x="0" y="9"/>
                  </a:lnTo>
                  <a:lnTo>
                    <a:pt x="0" y="0"/>
                  </a:lnTo>
                  <a:lnTo>
                    <a:pt x="0" y="0"/>
                  </a:lnTo>
                  <a:lnTo>
                    <a:pt x="0" y="0"/>
                  </a:lnTo>
                  <a:lnTo>
                    <a:pt x="0"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08" name="Freeform 787"/>
            <p:cNvSpPr>
              <a:spLocks/>
            </p:cNvSpPr>
            <p:nvPr/>
          </p:nvSpPr>
          <p:spPr bwMode="auto">
            <a:xfrm>
              <a:off x="5878513" y="381042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09" name="Freeform 788"/>
            <p:cNvSpPr>
              <a:spLocks/>
            </p:cNvSpPr>
            <p:nvPr/>
          </p:nvSpPr>
          <p:spPr bwMode="auto">
            <a:xfrm>
              <a:off x="5862638" y="3834242"/>
              <a:ext cx="9525" cy="31750"/>
            </a:xfrm>
            <a:custGeom>
              <a:avLst/>
              <a:gdLst>
                <a:gd name="T0" fmla="*/ 6 w 6"/>
                <a:gd name="T1" fmla="*/ 20 h 20"/>
                <a:gd name="T2" fmla="*/ 6 w 6"/>
                <a:gd name="T3" fmla="*/ 20 h 20"/>
                <a:gd name="T4" fmla="*/ 3 w 6"/>
                <a:gd name="T5" fmla="*/ 10 h 20"/>
                <a:gd name="T6" fmla="*/ 2 w 6"/>
                <a:gd name="T7" fmla="*/ 5 h 20"/>
                <a:gd name="T8" fmla="*/ 0 w 6"/>
                <a:gd name="T9" fmla="*/ 0 h 20"/>
                <a:gd name="T10" fmla="*/ 0 w 6"/>
                <a:gd name="T11" fmla="*/ 0 h 20"/>
                <a:gd name="T12" fmla="*/ 2 w 6"/>
                <a:gd name="T13" fmla="*/ 5 h 20"/>
                <a:gd name="T14" fmla="*/ 3 w 6"/>
                <a:gd name="T15" fmla="*/ 10 h 20"/>
                <a:gd name="T16" fmla="*/ 6 w 6"/>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0">
                  <a:moveTo>
                    <a:pt x="6" y="20"/>
                  </a:moveTo>
                  <a:lnTo>
                    <a:pt x="6" y="20"/>
                  </a:lnTo>
                  <a:lnTo>
                    <a:pt x="3" y="10"/>
                  </a:lnTo>
                  <a:lnTo>
                    <a:pt x="2" y="5"/>
                  </a:lnTo>
                  <a:lnTo>
                    <a:pt x="0" y="0"/>
                  </a:lnTo>
                  <a:lnTo>
                    <a:pt x="0" y="0"/>
                  </a:lnTo>
                  <a:lnTo>
                    <a:pt x="2" y="5"/>
                  </a:lnTo>
                  <a:lnTo>
                    <a:pt x="3" y="10"/>
                  </a:lnTo>
                  <a:lnTo>
                    <a:pt x="6"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10" name="Freeform 789"/>
            <p:cNvSpPr>
              <a:spLocks/>
            </p:cNvSpPr>
            <p:nvPr/>
          </p:nvSpPr>
          <p:spPr bwMode="auto">
            <a:xfrm>
              <a:off x="5865813" y="3905679"/>
              <a:ext cx="25400" cy="36513"/>
            </a:xfrm>
            <a:custGeom>
              <a:avLst/>
              <a:gdLst>
                <a:gd name="T0" fmla="*/ 16 w 16"/>
                <a:gd name="T1" fmla="*/ 23 h 23"/>
                <a:gd name="T2" fmla="*/ 16 w 16"/>
                <a:gd name="T3" fmla="*/ 23 h 23"/>
                <a:gd name="T4" fmla="*/ 16 w 16"/>
                <a:gd name="T5" fmla="*/ 21 h 23"/>
                <a:gd name="T6" fmla="*/ 14 w 16"/>
                <a:gd name="T7" fmla="*/ 20 h 23"/>
                <a:gd name="T8" fmla="*/ 14 w 16"/>
                <a:gd name="T9" fmla="*/ 20 h 23"/>
                <a:gd name="T10" fmla="*/ 8 w 16"/>
                <a:gd name="T11" fmla="*/ 15 h 23"/>
                <a:gd name="T12" fmla="*/ 5 w 16"/>
                <a:gd name="T13" fmla="*/ 13 h 23"/>
                <a:gd name="T14" fmla="*/ 1 w 16"/>
                <a:gd name="T15" fmla="*/ 8 h 23"/>
                <a:gd name="T16" fmla="*/ 1 w 16"/>
                <a:gd name="T17" fmla="*/ 8 h 23"/>
                <a:gd name="T18" fmla="*/ 0 w 16"/>
                <a:gd name="T19" fmla="*/ 4 h 23"/>
                <a:gd name="T20" fmla="*/ 0 w 16"/>
                <a:gd name="T21" fmla="*/ 0 h 23"/>
                <a:gd name="T22" fmla="*/ 0 w 16"/>
                <a:gd name="T23" fmla="*/ 0 h 23"/>
                <a:gd name="T24" fmla="*/ 0 w 16"/>
                <a:gd name="T25" fmla="*/ 4 h 23"/>
                <a:gd name="T26" fmla="*/ 1 w 16"/>
                <a:gd name="T27" fmla="*/ 8 h 23"/>
                <a:gd name="T28" fmla="*/ 1 w 16"/>
                <a:gd name="T29" fmla="*/ 8 h 23"/>
                <a:gd name="T30" fmla="*/ 5 w 16"/>
                <a:gd name="T31" fmla="*/ 13 h 23"/>
                <a:gd name="T32" fmla="*/ 8 w 16"/>
                <a:gd name="T33" fmla="*/ 15 h 23"/>
                <a:gd name="T34" fmla="*/ 14 w 16"/>
                <a:gd name="T35" fmla="*/ 20 h 23"/>
                <a:gd name="T36" fmla="*/ 14 w 16"/>
                <a:gd name="T37" fmla="*/ 20 h 23"/>
                <a:gd name="T38" fmla="*/ 16 w 16"/>
                <a:gd name="T39" fmla="*/ 21 h 23"/>
                <a:gd name="T40" fmla="*/ 16 w 16"/>
                <a:gd name="T4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3">
                  <a:moveTo>
                    <a:pt x="16" y="23"/>
                  </a:moveTo>
                  <a:lnTo>
                    <a:pt x="16" y="23"/>
                  </a:lnTo>
                  <a:lnTo>
                    <a:pt x="16" y="21"/>
                  </a:lnTo>
                  <a:lnTo>
                    <a:pt x="14" y="20"/>
                  </a:lnTo>
                  <a:lnTo>
                    <a:pt x="14" y="20"/>
                  </a:lnTo>
                  <a:lnTo>
                    <a:pt x="8" y="15"/>
                  </a:lnTo>
                  <a:lnTo>
                    <a:pt x="5" y="13"/>
                  </a:lnTo>
                  <a:lnTo>
                    <a:pt x="1" y="8"/>
                  </a:lnTo>
                  <a:lnTo>
                    <a:pt x="1" y="8"/>
                  </a:lnTo>
                  <a:lnTo>
                    <a:pt x="0" y="4"/>
                  </a:lnTo>
                  <a:lnTo>
                    <a:pt x="0" y="0"/>
                  </a:lnTo>
                  <a:lnTo>
                    <a:pt x="0" y="0"/>
                  </a:lnTo>
                  <a:lnTo>
                    <a:pt x="0" y="4"/>
                  </a:lnTo>
                  <a:lnTo>
                    <a:pt x="1" y="8"/>
                  </a:lnTo>
                  <a:lnTo>
                    <a:pt x="1" y="8"/>
                  </a:lnTo>
                  <a:lnTo>
                    <a:pt x="5" y="13"/>
                  </a:lnTo>
                  <a:lnTo>
                    <a:pt x="8" y="15"/>
                  </a:lnTo>
                  <a:lnTo>
                    <a:pt x="14" y="20"/>
                  </a:lnTo>
                  <a:lnTo>
                    <a:pt x="14" y="20"/>
                  </a:lnTo>
                  <a:lnTo>
                    <a:pt x="16" y="21"/>
                  </a:lnTo>
                  <a:lnTo>
                    <a:pt x="16"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11" name="Rectangle 790"/>
            <p:cNvSpPr>
              <a:spLocks noChangeArrowheads="1"/>
            </p:cNvSpPr>
            <p:nvPr/>
          </p:nvSpPr>
          <p:spPr bwMode="auto">
            <a:xfrm>
              <a:off x="5873751" y="3969179"/>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12" name="Rectangle 791"/>
            <p:cNvSpPr>
              <a:spLocks noChangeArrowheads="1"/>
            </p:cNvSpPr>
            <p:nvPr/>
          </p:nvSpPr>
          <p:spPr bwMode="auto">
            <a:xfrm>
              <a:off x="5873751" y="3969179"/>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13" name="Line 792"/>
            <p:cNvSpPr>
              <a:spLocks noChangeShapeType="1"/>
            </p:cNvSpPr>
            <p:nvPr/>
          </p:nvSpPr>
          <p:spPr bwMode="auto">
            <a:xfrm>
              <a:off x="5873751" y="39691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14" name="Freeform 793"/>
            <p:cNvSpPr>
              <a:spLocks noEditPoints="1"/>
            </p:cNvSpPr>
            <p:nvPr/>
          </p:nvSpPr>
          <p:spPr bwMode="auto">
            <a:xfrm>
              <a:off x="5876926" y="3754867"/>
              <a:ext cx="338138" cy="230188"/>
            </a:xfrm>
            <a:custGeom>
              <a:avLst/>
              <a:gdLst>
                <a:gd name="T0" fmla="*/ 166 w 213"/>
                <a:gd name="T1" fmla="*/ 15 h 145"/>
                <a:gd name="T2" fmla="*/ 178 w 213"/>
                <a:gd name="T3" fmla="*/ 6 h 145"/>
                <a:gd name="T4" fmla="*/ 188 w 213"/>
                <a:gd name="T5" fmla="*/ 2 h 145"/>
                <a:gd name="T6" fmla="*/ 213 w 213"/>
                <a:gd name="T7" fmla="*/ 0 h 145"/>
                <a:gd name="T8" fmla="*/ 201 w 213"/>
                <a:gd name="T9" fmla="*/ 2 h 145"/>
                <a:gd name="T10" fmla="*/ 178 w 213"/>
                <a:gd name="T11" fmla="*/ 6 h 145"/>
                <a:gd name="T12" fmla="*/ 171 w 213"/>
                <a:gd name="T13" fmla="*/ 12 h 145"/>
                <a:gd name="T14" fmla="*/ 161 w 213"/>
                <a:gd name="T15" fmla="*/ 47 h 145"/>
                <a:gd name="T16" fmla="*/ 162 w 213"/>
                <a:gd name="T17" fmla="*/ 44 h 145"/>
                <a:gd name="T18" fmla="*/ 168 w 213"/>
                <a:gd name="T19" fmla="*/ 37 h 145"/>
                <a:gd name="T20" fmla="*/ 168 w 213"/>
                <a:gd name="T21" fmla="*/ 34 h 145"/>
                <a:gd name="T22" fmla="*/ 168 w 213"/>
                <a:gd name="T23" fmla="*/ 34 h 145"/>
                <a:gd name="T24" fmla="*/ 164 w 213"/>
                <a:gd name="T25" fmla="*/ 41 h 145"/>
                <a:gd name="T26" fmla="*/ 161 w 213"/>
                <a:gd name="T27" fmla="*/ 47 h 145"/>
                <a:gd name="T28" fmla="*/ 122 w 213"/>
                <a:gd name="T29" fmla="*/ 99 h 145"/>
                <a:gd name="T30" fmla="*/ 124 w 213"/>
                <a:gd name="T31" fmla="*/ 99 h 145"/>
                <a:gd name="T32" fmla="*/ 129 w 213"/>
                <a:gd name="T33" fmla="*/ 99 h 145"/>
                <a:gd name="T34" fmla="*/ 135 w 213"/>
                <a:gd name="T35" fmla="*/ 92 h 145"/>
                <a:gd name="T36" fmla="*/ 139 w 213"/>
                <a:gd name="T37" fmla="*/ 80 h 145"/>
                <a:gd name="T38" fmla="*/ 152 w 213"/>
                <a:gd name="T39" fmla="*/ 71 h 145"/>
                <a:gd name="T40" fmla="*/ 159 w 213"/>
                <a:gd name="T41" fmla="*/ 67 h 145"/>
                <a:gd name="T42" fmla="*/ 164 w 213"/>
                <a:gd name="T43" fmla="*/ 58 h 145"/>
                <a:gd name="T44" fmla="*/ 164 w 213"/>
                <a:gd name="T45" fmla="*/ 61 h 145"/>
                <a:gd name="T46" fmla="*/ 152 w 213"/>
                <a:gd name="T47" fmla="*/ 71 h 145"/>
                <a:gd name="T48" fmla="*/ 145 w 213"/>
                <a:gd name="T49" fmla="*/ 74 h 145"/>
                <a:gd name="T50" fmla="*/ 136 w 213"/>
                <a:gd name="T51" fmla="*/ 86 h 145"/>
                <a:gd name="T52" fmla="*/ 130 w 213"/>
                <a:gd name="T53" fmla="*/ 99 h 145"/>
                <a:gd name="T54" fmla="*/ 116 w 213"/>
                <a:gd name="T55" fmla="*/ 99 h 145"/>
                <a:gd name="T56" fmla="*/ 116 w 213"/>
                <a:gd name="T57" fmla="*/ 99 h 145"/>
                <a:gd name="T58" fmla="*/ 103 w 213"/>
                <a:gd name="T59" fmla="*/ 109 h 145"/>
                <a:gd name="T60" fmla="*/ 110 w 213"/>
                <a:gd name="T61" fmla="*/ 102 h 145"/>
                <a:gd name="T62" fmla="*/ 110 w 213"/>
                <a:gd name="T63" fmla="*/ 102 h 145"/>
                <a:gd name="T64" fmla="*/ 103 w 213"/>
                <a:gd name="T65" fmla="*/ 109 h 145"/>
                <a:gd name="T66" fmla="*/ 39 w 213"/>
                <a:gd name="T67" fmla="*/ 142 h 145"/>
                <a:gd name="T68" fmla="*/ 39 w 213"/>
                <a:gd name="T69" fmla="*/ 142 h 145"/>
                <a:gd name="T70" fmla="*/ 27 w 213"/>
                <a:gd name="T71" fmla="*/ 142 h 145"/>
                <a:gd name="T72" fmla="*/ 27 w 213"/>
                <a:gd name="T73" fmla="*/ 142 h 145"/>
                <a:gd name="T74" fmla="*/ 65 w 213"/>
                <a:gd name="T75" fmla="*/ 142 h 145"/>
                <a:gd name="T76" fmla="*/ 65 w 213"/>
                <a:gd name="T77" fmla="*/ 142 h 145"/>
                <a:gd name="T78" fmla="*/ 69 w 213"/>
                <a:gd name="T79" fmla="*/ 139 h 145"/>
                <a:gd name="T80" fmla="*/ 82 w 213"/>
                <a:gd name="T81" fmla="*/ 121 h 145"/>
                <a:gd name="T82" fmla="*/ 97 w 213"/>
                <a:gd name="T83" fmla="*/ 115 h 145"/>
                <a:gd name="T84" fmla="*/ 103 w 213"/>
                <a:gd name="T85" fmla="*/ 112 h 145"/>
                <a:gd name="T86" fmla="*/ 97 w 213"/>
                <a:gd name="T87" fmla="*/ 115 h 145"/>
                <a:gd name="T88" fmla="*/ 85 w 213"/>
                <a:gd name="T89" fmla="*/ 116 h 145"/>
                <a:gd name="T90" fmla="*/ 74 w 213"/>
                <a:gd name="T91" fmla="*/ 134 h 145"/>
                <a:gd name="T92" fmla="*/ 65 w 213"/>
                <a:gd name="T93" fmla="*/ 142 h 145"/>
                <a:gd name="T94" fmla="*/ 0 w 213"/>
                <a:gd name="T95" fmla="*/ 145 h 145"/>
                <a:gd name="T96" fmla="*/ 27 w 213"/>
                <a:gd name="T97" fmla="*/ 142 h 145"/>
                <a:gd name="T98" fmla="*/ 27 w 213"/>
                <a:gd name="T99" fmla="*/ 14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3" h="145">
                  <a:moveTo>
                    <a:pt x="164" y="18"/>
                  </a:moveTo>
                  <a:lnTo>
                    <a:pt x="164" y="18"/>
                  </a:lnTo>
                  <a:lnTo>
                    <a:pt x="166" y="15"/>
                  </a:lnTo>
                  <a:lnTo>
                    <a:pt x="171" y="12"/>
                  </a:lnTo>
                  <a:lnTo>
                    <a:pt x="175" y="9"/>
                  </a:lnTo>
                  <a:lnTo>
                    <a:pt x="178" y="6"/>
                  </a:lnTo>
                  <a:lnTo>
                    <a:pt x="178" y="6"/>
                  </a:lnTo>
                  <a:lnTo>
                    <a:pt x="182" y="3"/>
                  </a:lnTo>
                  <a:lnTo>
                    <a:pt x="188" y="2"/>
                  </a:lnTo>
                  <a:lnTo>
                    <a:pt x="201" y="2"/>
                  </a:lnTo>
                  <a:lnTo>
                    <a:pt x="201" y="2"/>
                  </a:lnTo>
                  <a:lnTo>
                    <a:pt x="213" y="0"/>
                  </a:lnTo>
                  <a:lnTo>
                    <a:pt x="213" y="0"/>
                  </a:lnTo>
                  <a:lnTo>
                    <a:pt x="201" y="2"/>
                  </a:lnTo>
                  <a:lnTo>
                    <a:pt x="201" y="2"/>
                  </a:lnTo>
                  <a:lnTo>
                    <a:pt x="188" y="2"/>
                  </a:lnTo>
                  <a:lnTo>
                    <a:pt x="182" y="3"/>
                  </a:lnTo>
                  <a:lnTo>
                    <a:pt x="178" y="6"/>
                  </a:lnTo>
                  <a:lnTo>
                    <a:pt x="178" y="6"/>
                  </a:lnTo>
                  <a:lnTo>
                    <a:pt x="175" y="9"/>
                  </a:lnTo>
                  <a:lnTo>
                    <a:pt x="171" y="12"/>
                  </a:lnTo>
                  <a:lnTo>
                    <a:pt x="166" y="15"/>
                  </a:lnTo>
                  <a:lnTo>
                    <a:pt x="164" y="18"/>
                  </a:lnTo>
                  <a:close/>
                  <a:moveTo>
                    <a:pt x="161" y="47"/>
                  </a:moveTo>
                  <a:lnTo>
                    <a:pt x="161" y="47"/>
                  </a:lnTo>
                  <a:lnTo>
                    <a:pt x="162" y="44"/>
                  </a:lnTo>
                  <a:lnTo>
                    <a:pt x="162" y="44"/>
                  </a:lnTo>
                  <a:lnTo>
                    <a:pt x="164" y="41"/>
                  </a:lnTo>
                  <a:lnTo>
                    <a:pt x="165" y="38"/>
                  </a:lnTo>
                  <a:lnTo>
                    <a:pt x="168" y="37"/>
                  </a:lnTo>
                  <a:lnTo>
                    <a:pt x="168" y="34"/>
                  </a:lnTo>
                  <a:lnTo>
                    <a:pt x="168" y="34"/>
                  </a:lnTo>
                  <a:lnTo>
                    <a:pt x="168" y="34"/>
                  </a:lnTo>
                  <a:lnTo>
                    <a:pt x="168" y="34"/>
                  </a:lnTo>
                  <a:lnTo>
                    <a:pt x="168" y="34"/>
                  </a:lnTo>
                  <a:lnTo>
                    <a:pt x="168" y="34"/>
                  </a:lnTo>
                  <a:lnTo>
                    <a:pt x="168" y="37"/>
                  </a:lnTo>
                  <a:lnTo>
                    <a:pt x="165" y="38"/>
                  </a:lnTo>
                  <a:lnTo>
                    <a:pt x="164" y="41"/>
                  </a:lnTo>
                  <a:lnTo>
                    <a:pt x="162" y="44"/>
                  </a:lnTo>
                  <a:lnTo>
                    <a:pt x="162" y="44"/>
                  </a:lnTo>
                  <a:lnTo>
                    <a:pt x="161" y="47"/>
                  </a:lnTo>
                  <a:close/>
                  <a:moveTo>
                    <a:pt x="122" y="99"/>
                  </a:moveTo>
                  <a:lnTo>
                    <a:pt x="122" y="99"/>
                  </a:lnTo>
                  <a:lnTo>
                    <a:pt x="122" y="99"/>
                  </a:lnTo>
                  <a:close/>
                  <a:moveTo>
                    <a:pt x="129" y="99"/>
                  </a:moveTo>
                  <a:lnTo>
                    <a:pt x="129" y="99"/>
                  </a:lnTo>
                  <a:lnTo>
                    <a:pt x="124" y="99"/>
                  </a:lnTo>
                  <a:lnTo>
                    <a:pt x="124" y="99"/>
                  </a:lnTo>
                  <a:lnTo>
                    <a:pt x="129" y="99"/>
                  </a:lnTo>
                  <a:lnTo>
                    <a:pt x="129" y="99"/>
                  </a:lnTo>
                  <a:lnTo>
                    <a:pt x="130" y="99"/>
                  </a:lnTo>
                  <a:lnTo>
                    <a:pt x="132" y="97"/>
                  </a:lnTo>
                  <a:lnTo>
                    <a:pt x="135" y="92"/>
                  </a:lnTo>
                  <a:lnTo>
                    <a:pt x="136" y="86"/>
                  </a:lnTo>
                  <a:lnTo>
                    <a:pt x="139" y="80"/>
                  </a:lnTo>
                  <a:lnTo>
                    <a:pt x="139" y="80"/>
                  </a:lnTo>
                  <a:lnTo>
                    <a:pt x="145" y="74"/>
                  </a:lnTo>
                  <a:lnTo>
                    <a:pt x="148" y="73"/>
                  </a:lnTo>
                  <a:lnTo>
                    <a:pt x="152" y="71"/>
                  </a:lnTo>
                  <a:lnTo>
                    <a:pt x="152" y="71"/>
                  </a:lnTo>
                  <a:lnTo>
                    <a:pt x="156" y="68"/>
                  </a:lnTo>
                  <a:lnTo>
                    <a:pt x="159" y="67"/>
                  </a:lnTo>
                  <a:lnTo>
                    <a:pt x="164" y="61"/>
                  </a:lnTo>
                  <a:lnTo>
                    <a:pt x="164" y="61"/>
                  </a:lnTo>
                  <a:lnTo>
                    <a:pt x="164" y="58"/>
                  </a:lnTo>
                  <a:lnTo>
                    <a:pt x="164" y="58"/>
                  </a:lnTo>
                  <a:lnTo>
                    <a:pt x="164" y="61"/>
                  </a:lnTo>
                  <a:lnTo>
                    <a:pt x="164" y="61"/>
                  </a:lnTo>
                  <a:lnTo>
                    <a:pt x="159" y="67"/>
                  </a:lnTo>
                  <a:lnTo>
                    <a:pt x="156" y="68"/>
                  </a:lnTo>
                  <a:lnTo>
                    <a:pt x="152" y="71"/>
                  </a:lnTo>
                  <a:lnTo>
                    <a:pt x="152" y="71"/>
                  </a:lnTo>
                  <a:lnTo>
                    <a:pt x="148" y="73"/>
                  </a:lnTo>
                  <a:lnTo>
                    <a:pt x="145" y="74"/>
                  </a:lnTo>
                  <a:lnTo>
                    <a:pt x="139" y="80"/>
                  </a:lnTo>
                  <a:lnTo>
                    <a:pt x="139" y="80"/>
                  </a:lnTo>
                  <a:lnTo>
                    <a:pt x="136" y="86"/>
                  </a:lnTo>
                  <a:lnTo>
                    <a:pt x="135" y="92"/>
                  </a:lnTo>
                  <a:lnTo>
                    <a:pt x="132" y="97"/>
                  </a:lnTo>
                  <a:lnTo>
                    <a:pt x="130" y="99"/>
                  </a:lnTo>
                  <a:lnTo>
                    <a:pt x="129" y="99"/>
                  </a:lnTo>
                  <a:close/>
                  <a:moveTo>
                    <a:pt x="116" y="99"/>
                  </a:moveTo>
                  <a:lnTo>
                    <a:pt x="116" y="99"/>
                  </a:lnTo>
                  <a:lnTo>
                    <a:pt x="122" y="99"/>
                  </a:lnTo>
                  <a:lnTo>
                    <a:pt x="122" y="99"/>
                  </a:lnTo>
                  <a:lnTo>
                    <a:pt x="116" y="99"/>
                  </a:lnTo>
                  <a:close/>
                  <a:moveTo>
                    <a:pt x="103" y="109"/>
                  </a:moveTo>
                  <a:lnTo>
                    <a:pt x="103" y="109"/>
                  </a:lnTo>
                  <a:lnTo>
                    <a:pt x="103" y="109"/>
                  </a:lnTo>
                  <a:lnTo>
                    <a:pt x="103" y="108"/>
                  </a:lnTo>
                  <a:lnTo>
                    <a:pt x="106" y="105"/>
                  </a:lnTo>
                  <a:lnTo>
                    <a:pt x="110" y="102"/>
                  </a:lnTo>
                  <a:lnTo>
                    <a:pt x="116" y="99"/>
                  </a:lnTo>
                  <a:lnTo>
                    <a:pt x="116" y="99"/>
                  </a:lnTo>
                  <a:lnTo>
                    <a:pt x="110" y="102"/>
                  </a:lnTo>
                  <a:lnTo>
                    <a:pt x="106" y="105"/>
                  </a:lnTo>
                  <a:lnTo>
                    <a:pt x="103" y="108"/>
                  </a:lnTo>
                  <a:lnTo>
                    <a:pt x="103" y="109"/>
                  </a:lnTo>
                  <a:close/>
                  <a:moveTo>
                    <a:pt x="39" y="142"/>
                  </a:moveTo>
                  <a:lnTo>
                    <a:pt x="39" y="142"/>
                  </a:lnTo>
                  <a:lnTo>
                    <a:pt x="39" y="142"/>
                  </a:lnTo>
                  <a:close/>
                  <a:moveTo>
                    <a:pt x="27" y="142"/>
                  </a:moveTo>
                  <a:lnTo>
                    <a:pt x="27" y="142"/>
                  </a:lnTo>
                  <a:lnTo>
                    <a:pt x="39" y="142"/>
                  </a:lnTo>
                  <a:lnTo>
                    <a:pt x="39" y="142"/>
                  </a:lnTo>
                  <a:lnTo>
                    <a:pt x="27" y="142"/>
                  </a:lnTo>
                  <a:close/>
                  <a:moveTo>
                    <a:pt x="27" y="142"/>
                  </a:moveTo>
                  <a:lnTo>
                    <a:pt x="27" y="142"/>
                  </a:lnTo>
                  <a:lnTo>
                    <a:pt x="27" y="142"/>
                  </a:lnTo>
                  <a:lnTo>
                    <a:pt x="27" y="142"/>
                  </a:lnTo>
                  <a:lnTo>
                    <a:pt x="27" y="142"/>
                  </a:lnTo>
                  <a:close/>
                  <a:moveTo>
                    <a:pt x="65" y="142"/>
                  </a:moveTo>
                  <a:lnTo>
                    <a:pt x="65" y="142"/>
                  </a:lnTo>
                  <a:lnTo>
                    <a:pt x="55" y="142"/>
                  </a:lnTo>
                  <a:lnTo>
                    <a:pt x="55" y="142"/>
                  </a:lnTo>
                  <a:lnTo>
                    <a:pt x="65" y="142"/>
                  </a:lnTo>
                  <a:lnTo>
                    <a:pt x="65" y="142"/>
                  </a:lnTo>
                  <a:lnTo>
                    <a:pt x="68" y="142"/>
                  </a:lnTo>
                  <a:lnTo>
                    <a:pt x="69" y="139"/>
                  </a:lnTo>
                  <a:lnTo>
                    <a:pt x="74" y="134"/>
                  </a:lnTo>
                  <a:lnTo>
                    <a:pt x="82" y="121"/>
                  </a:lnTo>
                  <a:lnTo>
                    <a:pt x="82" y="121"/>
                  </a:lnTo>
                  <a:lnTo>
                    <a:pt x="85" y="116"/>
                  </a:lnTo>
                  <a:lnTo>
                    <a:pt x="88" y="115"/>
                  </a:lnTo>
                  <a:lnTo>
                    <a:pt x="97" y="115"/>
                  </a:lnTo>
                  <a:lnTo>
                    <a:pt x="97" y="115"/>
                  </a:lnTo>
                  <a:lnTo>
                    <a:pt x="101" y="113"/>
                  </a:lnTo>
                  <a:lnTo>
                    <a:pt x="103" y="112"/>
                  </a:lnTo>
                  <a:lnTo>
                    <a:pt x="103" y="112"/>
                  </a:lnTo>
                  <a:lnTo>
                    <a:pt x="101" y="113"/>
                  </a:lnTo>
                  <a:lnTo>
                    <a:pt x="97" y="115"/>
                  </a:lnTo>
                  <a:lnTo>
                    <a:pt x="97" y="115"/>
                  </a:lnTo>
                  <a:lnTo>
                    <a:pt x="88" y="115"/>
                  </a:lnTo>
                  <a:lnTo>
                    <a:pt x="85" y="116"/>
                  </a:lnTo>
                  <a:lnTo>
                    <a:pt x="82" y="121"/>
                  </a:lnTo>
                  <a:lnTo>
                    <a:pt x="82" y="121"/>
                  </a:lnTo>
                  <a:lnTo>
                    <a:pt x="74" y="134"/>
                  </a:lnTo>
                  <a:lnTo>
                    <a:pt x="69" y="139"/>
                  </a:lnTo>
                  <a:lnTo>
                    <a:pt x="68" y="142"/>
                  </a:lnTo>
                  <a:lnTo>
                    <a:pt x="65" y="142"/>
                  </a:lnTo>
                  <a:close/>
                  <a:moveTo>
                    <a:pt x="0" y="145"/>
                  </a:moveTo>
                  <a:lnTo>
                    <a:pt x="0" y="145"/>
                  </a:lnTo>
                  <a:lnTo>
                    <a:pt x="0" y="145"/>
                  </a:lnTo>
                  <a:lnTo>
                    <a:pt x="27" y="142"/>
                  </a:lnTo>
                  <a:lnTo>
                    <a:pt x="27" y="142"/>
                  </a:lnTo>
                  <a:lnTo>
                    <a:pt x="27" y="142"/>
                  </a:lnTo>
                  <a:lnTo>
                    <a:pt x="27" y="142"/>
                  </a:lnTo>
                  <a:lnTo>
                    <a:pt x="27" y="142"/>
                  </a:lnTo>
                  <a:lnTo>
                    <a:pt x="27" y="142"/>
                  </a:lnTo>
                  <a:lnTo>
                    <a:pt x="0" y="145"/>
                  </a:lnTo>
                  <a:close/>
                </a:path>
              </a:pathLst>
            </a:custGeom>
            <a:solidFill>
              <a:srgbClr val="60B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15" name="Freeform 794"/>
            <p:cNvSpPr>
              <a:spLocks/>
            </p:cNvSpPr>
            <p:nvPr/>
          </p:nvSpPr>
          <p:spPr bwMode="auto">
            <a:xfrm>
              <a:off x="6137276" y="3754867"/>
              <a:ext cx="77788" cy="28575"/>
            </a:xfrm>
            <a:custGeom>
              <a:avLst/>
              <a:gdLst>
                <a:gd name="T0" fmla="*/ 0 w 49"/>
                <a:gd name="T1" fmla="*/ 18 h 18"/>
                <a:gd name="T2" fmla="*/ 0 w 49"/>
                <a:gd name="T3" fmla="*/ 18 h 18"/>
                <a:gd name="T4" fmla="*/ 2 w 49"/>
                <a:gd name="T5" fmla="*/ 15 h 18"/>
                <a:gd name="T6" fmla="*/ 7 w 49"/>
                <a:gd name="T7" fmla="*/ 12 h 18"/>
                <a:gd name="T8" fmla="*/ 11 w 49"/>
                <a:gd name="T9" fmla="*/ 9 h 18"/>
                <a:gd name="T10" fmla="*/ 14 w 49"/>
                <a:gd name="T11" fmla="*/ 6 h 18"/>
                <a:gd name="T12" fmla="*/ 14 w 49"/>
                <a:gd name="T13" fmla="*/ 6 h 18"/>
                <a:gd name="T14" fmla="*/ 18 w 49"/>
                <a:gd name="T15" fmla="*/ 3 h 18"/>
                <a:gd name="T16" fmla="*/ 24 w 49"/>
                <a:gd name="T17" fmla="*/ 2 h 18"/>
                <a:gd name="T18" fmla="*/ 37 w 49"/>
                <a:gd name="T19" fmla="*/ 2 h 18"/>
                <a:gd name="T20" fmla="*/ 37 w 49"/>
                <a:gd name="T21" fmla="*/ 2 h 18"/>
                <a:gd name="T22" fmla="*/ 49 w 49"/>
                <a:gd name="T23" fmla="*/ 0 h 18"/>
                <a:gd name="T24" fmla="*/ 49 w 49"/>
                <a:gd name="T25" fmla="*/ 0 h 18"/>
                <a:gd name="T26" fmla="*/ 37 w 49"/>
                <a:gd name="T27" fmla="*/ 2 h 18"/>
                <a:gd name="T28" fmla="*/ 37 w 49"/>
                <a:gd name="T29" fmla="*/ 2 h 18"/>
                <a:gd name="T30" fmla="*/ 24 w 49"/>
                <a:gd name="T31" fmla="*/ 2 h 18"/>
                <a:gd name="T32" fmla="*/ 18 w 49"/>
                <a:gd name="T33" fmla="*/ 3 h 18"/>
                <a:gd name="T34" fmla="*/ 14 w 49"/>
                <a:gd name="T35" fmla="*/ 6 h 18"/>
                <a:gd name="T36" fmla="*/ 14 w 49"/>
                <a:gd name="T37" fmla="*/ 6 h 18"/>
                <a:gd name="T38" fmla="*/ 11 w 49"/>
                <a:gd name="T39" fmla="*/ 9 h 18"/>
                <a:gd name="T40" fmla="*/ 7 w 49"/>
                <a:gd name="T41" fmla="*/ 12 h 18"/>
                <a:gd name="T42" fmla="*/ 2 w 49"/>
                <a:gd name="T43" fmla="*/ 15 h 18"/>
                <a:gd name="T44" fmla="*/ 0 w 49"/>
                <a:gd name="T4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 h="18">
                  <a:moveTo>
                    <a:pt x="0" y="18"/>
                  </a:moveTo>
                  <a:lnTo>
                    <a:pt x="0" y="18"/>
                  </a:lnTo>
                  <a:lnTo>
                    <a:pt x="2" y="15"/>
                  </a:lnTo>
                  <a:lnTo>
                    <a:pt x="7" y="12"/>
                  </a:lnTo>
                  <a:lnTo>
                    <a:pt x="11" y="9"/>
                  </a:lnTo>
                  <a:lnTo>
                    <a:pt x="14" y="6"/>
                  </a:lnTo>
                  <a:lnTo>
                    <a:pt x="14" y="6"/>
                  </a:lnTo>
                  <a:lnTo>
                    <a:pt x="18" y="3"/>
                  </a:lnTo>
                  <a:lnTo>
                    <a:pt x="24" y="2"/>
                  </a:lnTo>
                  <a:lnTo>
                    <a:pt x="37" y="2"/>
                  </a:lnTo>
                  <a:lnTo>
                    <a:pt x="37" y="2"/>
                  </a:lnTo>
                  <a:lnTo>
                    <a:pt x="49" y="0"/>
                  </a:lnTo>
                  <a:lnTo>
                    <a:pt x="49" y="0"/>
                  </a:lnTo>
                  <a:lnTo>
                    <a:pt x="37" y="2"/>
                  </a:lnTo>
                  <a:lnTo>
                    <a:pt x="37" y="2"/>
                  </a:lnTo>
                  <a:lnTo>
                    <a:pt x="24" y="2"/>
                  </a:lnTo>
                  <a:lnTo>
                    <a:pt x="18" y="3"/>
                  </a:lnTo>
                  <a:lnTo>
                    <a:pt x="14" y="6"/>
                  </a:lnTo>
                  <a:lnTo>
                    <a:pt x="14" y="6"/>
                  </a:lnTo>
                  <a:lnTo>
                    <a:pt x="11" y="9"/>
                  </a:lnTo>
                  <a:lnTo>
                    <a:pt x="7" y="12"/>
                  </a:lnTo>
                  <a:lnTo>
                    <a:pt x="2" y="15"/>
                  </a:lnTo>
                  <a:lnTo>
                    <a:pt x="0"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16" name="Freeform 795"/>
            <p:cNvSpPr>
              <a:spLocks/>
            </p:cNvSpPr>
            <p:nvPr/>
          </p:nvSpPr>
          <p:spPr bwMode="auto">
            <a:xfrm>
              <a:off x="6132513" y="3808842"/>
              <a:ext cx="11113" cy="20638"/>
            </a:xfrm>
            <a:custGeom>
              <a:avLst/>
              <a:gdLst>
                <a:gd name="T0" fmla="*/ 0 w 7"/>
                <a:gd name="T1" fmla="*/ 13 h 13"/>
                <a:gd name="T2" fmla="*/ 0 w 7"/>
                <a:gd name="T3" fmla="*/ 13 h 13"/>
                <a:gd name="T4" fmla="*/ 1 w 7"/>
                <a:gd name="T5" fmla="*/ 10 h 13"/>
                <a:gd name="T6" fmla="*/ 1 w 7"/>
                <a:gd name="T7" fmla="*/ 10 h 13"/>
                <a:gd name="T8" fmla="*/ 3 w 7"/>
                <a:gd name="T9" fmla="*/ 7 h 13"/>
                <a:gd name="T10" fmla="*/ 4 w 7"/>
                <a:gd name="T11" fmla="*/ 4 h 13"/>
                <a:gd name="T12" fmla="*/ 7 w 7"/>
                <a:gd name="T13" fmla="*/ 3 h 13"/>
                <a:gd name="T14" fmla="*/ 7 w 7"/>
                <a:gd name="T15" fmla="*/ 0 h 13"/>
                <a:gd name="T16" fmla="*/ 7 w 7"/>
                <a:gd name="T17" fmla="*/ 0 h 13"/>
                <a:gd name="T18" fmla="*/ 7 w 7"/>
                <a:gd name="T19" fmla="*/ 0 h 13"/>
                <a:gd name="T20" fmla="*/ 7 w 7"/>
                <a:gd name="T21" fmla="*/ 0 h 13"/>
                <a:gd name="T22" fmla="*/ 7 w 7"/>
                <a:gd name="T23" fmla="*/ 0 h 13"/>
                <a:gd name="T24" fmla="*/ 7 w 7"/>
                <a:gd name="T25" fmla="*/ 0 h 13"/>
                <a:gd name="T26" fmla="*/ 7 w 7"/>
                <a:gd name="T27" fmla="*/ 3 h 13"/>
                <a:gd name="T28" fmla="*/ 4 w 7"/>
                <a:gd name="T29" fmla="*/ 4 h 13"/>
                <a:gd name="T30" fmla="*/ 3 w 7"/>
                <a:gd name="T31" fmla="*/ 7 h 13"/>
                <a:gd name="T32" fmla="*/ 1 w 7"/>
                <a:gd name="T33" fmla="*/ 10 h 13"/>
                <a:gd name="T34" fmla="*/ 1 w 7"/>
                <a:gd name="T35" fmla="*/ 10 h 13"/>
                <a:gd name="T36" fmla="*/ 0 w 7"/>
                <a:gd name="T3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3">
                  <a:moveTo>
                    <a:pt x="0" y="13"/>
                  </a:moveTo>
                  <a:lnTo>
                    <a:pt x="0" y="13"/>
                  </a:lnTo>
                  <a:lnTo>
                    <a:pt x="1" y="10"/>
                  </a:lnTo>
                  <a:lnTo>
                    <a:pt x="1" y="10"/>
                  </a:lnTo>
                  <a:lnTo>
                    <a:pt x="3" y="7"/>
                  </a:lnTo>
                  <a:lnTo>
                    <a:pt x="4" y="4"/>
                  </a:lnTo>
                  <a:lnTo>
                    <a:pt x="7" y="3"/>
                  </a:lnTo>
                  <a:lnTo>
                    <a:pt x="7" y="0"/>
                  </a:lnTo>
                  <a:lnTo>
                    <a:pt x="7" y="0"/>
                  </a:lnTo>
                  <a:lnTo>
                    <a:pt x="7" y="0"/>
                  </a:lnTo>
                  <a:lnTo>
                    <a:pt x="7" y="0"/>
                  </a:lnTo>
                  <a:lnTo>
                    <a:pt x="7" y="0"/>
                  </a:lnTo>
                  <a:lnTo>
                    <a:pt x="7" y="0"/>
                  </a:lnTo>
                  <a:lnTo>
                    <a:pt x="7" y="3"/>
                  </a:lnTo>
                  <a:lnTo>
                    <a:pt x="4" y="4"/>
                  </a:lnTo>
                  <a:lnTo>
                    <a:pt x="3" y="7"/>
                  </a:lnTo>
                  <a:lnTo>
                    <a:pt x="1" y="10"/>
                  </a:lnTo>
                  <a:lnTo>
                    <a:pt x="1" y="1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17" name="Freeform 796"/>
            <p:cNvSpPr>
              <a:spLocks/>
            </p:cNvSpPr>
            <p:nvPr/>
          </p:nvSpPr>
          <p:spPr bwMode="auto">
            <a:xfrm>
              <a:off x="6070601" y="391202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18" name="Freeform 797"/>
            <p:cNvSpPr>
              <a:spLocks/>
            </p:cNvSpPr>
            <p:nvPr/>
          </p:nvSpPr>
          <p:spPr bwMode="auto">
            <a:xfrm>
              <a:off x="6073776" y="3846942"/>
              <a:ext cx="63500" cy="65088"/>
            </a:xfrm>
            <a:custGeom>
              <a:avLst/>
              <a:gdLst>
                <a:gd name="T0" fmla="*/ 5 w 40"/>
                <a:gd name="T1" fmla="*/ 41 h 41"/>
                <a:gd name="T2" fmla="*/ 5 w 40"/>
                <a:gd name="T3" fmla="*/ 41 h 41"/>
                <a:gd name="T4" fmla="*/ 0 w 40"/>
                <a:gd name="T5" fmla="*/ 41 h 41"/>
                <a:gd name="T6" fmla="*/ 0 w 40"/>
                <a:gd name="T7" fmla="*/ 41 h 41"/>
                <a:gd name="T8" fmla="*/ 5 w 40"/>
                <a:gd name="T9" fmla="*/ 41 h 41"/>
                <a:gd name="T10" fmla="*/ 5 w 40"/>
                <a:gd name="T11" fmla="*/ 41 h 41"/>
                <a:gd name="T12" fmla="*/ 6 w 40"/>
                <a:gd name="T13" fmla="*/ 41 h 41"/>
                <a:gd name="T14" fmla="*/ 8 w 40"/>
                <a:gd name="T15" fmla="*/ 39 h 41"/>
                <a:gd name="T16" fmla="*/ 11 w 40"/>
                <a:gd name="T17" fmla="*/ 34 h 41"/>
                <a:gd name="T18" fmla="*/ 12 w 40"/>
                <a:gd name="T19" fmla="*/ 28 h 41"/>
                <a:gd name="T20" fmla="*/ 15 w 40"/>
                <a:gd name="T21" fmla="*/ 22 h 41"/>
                <a:gd name="T22" fmla="*/ 15 w 40"/>
                <a:gd name="T23" fmla="*/ 22 h 41"/>
                <a:gd name="T24" fmla="*/ 21 w 40"/>
                <a:gd name="T25" fmla="*/ 16 h 41"/>
                <a:gd name="T26" fmla="*/ 24 w 40"/>
                <a:gd name="T27" fmla="*/ 15 h 41"/>
                <a:gd name="T28" fmla="*/ 28 w 40"/>
                <a:gd name="T29" fmla="*/ 13 h 41"/>
                <a:gd name="T30" fmla="*/ 28 w 40"/>
                <a:gd name="T31" fmla="*/ 13 h 41"/>
                <a:gd name="T32" fmla="*/ 32 w 40"/>
                <a:gd name="T33" fmla="*/ 10 h 41"/>
                <a:gd name="T34" fmla="*/ 35 w 40"/>
                <a:gd name="T35" fmla="*/ 9 h 41"/>
                <a:gd name="T36" fmla="*/ 40 w 40"/>
                <a:gd name="T37" fmla="*/ 3 h 41"/>
                <a:gd name="T38" fmla="*/ 40 w 40"/>
                <a:gd name="T39" fmla="*/ 3 h 41"/>
                <a:gd name="T40" fmla="*/ 40 w 40"/>
                <a:gd name="T41" fmla="*/ 0 h 41"/>
                <a:gd name="T42" fmla="*/ 40 w 40"/>
                <a:gd name="T43" fmla="*/ 0 h 41"/>
                <a:gd name="T44" fmla="*/ 40 w 40"/>
                <a:gd name="T45" fmla="*/ 3 h 41"/>
                <a:gd name="T46" fmla="*/ 40 w 40"/>
                <a:gd name="T47" fmla="*/ 3 h 41"/>
                <a:gd name="T48" fmla="*/ 35 w 40"/>
                <a:gd name="T49" fmla="*/ 9 h 41"/>
                <a:gd name="T50" fmla="*/ 32 w 40"/>
                <a:gd name="T51" fmla="*/ 10 h 41"/>
                <a:gd name="T52" fmla="*/ 28 w 40"/>
                <a:gd name="T53" fmla="*/ 13 h 41"/>
                <a:gd name="T54" fmla="*/ 28 w 40"/>
                <a:gd name="T55" fmla="*/ 13 h 41"/>
                <a:gd name="T56" fmla="*/ 24 w 40"/>
                <a:gd name="T57" fmla="*/ 15 h 41"/>
                <a:gd name="T58" fmla="*/ 21 w 40"/>
                <a:gd name="T59" fmla="*/ 16 h 41"/>
                <a:gd name="T60" fmla="*/ 15 w 40"/>
                <a:gd name="T61" fmla="*/ 22 h 41"/>
                <a:gd name="T62" fmla="*/ 15 w 40"/>
                <a:gd name="T63" fmla="*/ 22 h 41"/>
                <a:gd name="T64" fmla="*/ 12 w 40"/>
                <a:gd name="T65" fmla="*/ 28 h 41"/>
                <a:gd name="T66" fmla="*/ 11 w 40"/>
                <a:gd name="T67" fmla="*/ 34 h 41"/>
                <a:gd name="T68" fmla="*/ 8 w 40"/>
                <a:gd name="T69" fmla="*/ 39 h 41"/>
                <a:gd name="T70" fmla="*/ 6 w 40"/>
                <a:gd name="T71" fmla="*/ 41 h 41"/>
                <a:gd name="T72" fmla="*/ 5 w 40"/>
                <a:gd name="T73"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41">
                  <a:moveTo>
                    <a:pt x="5" y="41"/>
                  </a:moveTo>
                  <a:lnTo>
                    <a:pt x="5" y="41"/>
                  </a:lnTo>
                  <a:lnTo>
                    <a:pt x="0" y="41"/>
                  </a:lnTo>
                  <a:lnTo>
                    <a:pt x="0" y="41"/>
                  </a:lnTo>
                  <a:lnTo>
                    <a:pt x="5" y="41"/>
                  </a:lnTo>
                  <a:lnTo>
                    <a:pt x="5" y="41"/>
                  </a:lnTo>
                  <a:lnTo>
                    <a:pt x="6" y="41"/>
                  </a:lnTo>
                  <a:lnTo>
                    <a:pt x="8" y="39"/>
                  </a:lnTo>
                  <a:lnTo>
                    <a:pt x="11" y="34"/>
                  </a:lnTo>
                  <a:lnTo>
                    <a:pt x="12" y="28"/>
                  </a:lnTo>
                  <a:lnTo>
                    <a:pt x="15" y="22"/>
                  </a:lnTo>
                  <a:lnTo>
                    <a:pt x="15" y="22"/>
                  </a:lnTo>
                  <a:lnTo>
                    <a:pt x="21" y="16"/>
                  </a:lnTo>
                  <a:lnTo>
                    <a:pt x="24" y="15"/>
                  </a:lnTo>
                  <a:lnTo>
                    <a:pt x="28" y="13"/>
                  </a:lnTo>
                  <a:lnTo>
                    <a:pt x="28" y="13"/>
                  </a:lnTo>
                  <a:lnTo>
                    <a:pt x="32" y="10"/>
                  </a:lnTo>
                  <a:lnTo>
                    <a:pt x="35" y="9"/>
                  </a:lnTo>
                  <a:lnTo>
                    <a:pt x="40" y="3"/>
                  </a:lnTo>
                  <a:lnTo>
                    <a:pt x="40" y="3"/>
                  </a:lnTo>
                  <a:lnTo>
                    <a:pt x="40" y="0"/>
                  </a:lnTo>
                  <a:lnTo>
                    <a:pt x="40" y="0"/>
                  </a:lnTo>
                  <a:lnTo>
                    <a:pt x="40" y="3"/>
                  </a:lnTo>
                  <a:lnTo>
                    <a:pt x="40" y="3"/>
                  </a:lnTo>
                  <a:lnTo>
                    <a:pt x="35" y="9"/>
                  </a:lnTo>
                  <a:lnTo>
                    <a:pt x="32" y="10"/>
                  </a:lnTo>
                  <a:lnTo>
                    <a:pt x="28" y="13"/>
                  </a:lnTo>
                  <a:lnTo>
                    <a:pt x="28" y="13"/>
                  </a:lnTo>
                  <a:lnTo>
                    <a:pt x="24" y="15"/>
                  </a:lnTo>
                  <a:lnTo>
                    <a:pt x="21" y="16"/>
                  </a:lnTo>
                  <a:lnTo>
                    <a:pt x="15" y="22"/>
                  </a:lnTo>
                  <a:lnTo>
                    <a:pt x="15" y="22"/>
                  </a:lnTo>
                  <a:lnTo>
                    <a:pt x="12" y="28"/>
                  </a:lnTo>
                  <a:lnTo>
                    <a:pt x="11" y="34"/>
                  </a:lnTo>
                  <a:lnTo>
                    <a:pt x="8" y="39"/>
                  </a:lnTo>
                  <a:lnTo>
                    <a:pt x="6" y="41"/>
                  </a:lnTo>
                  <a:lnTo>
                    <a:pt x="5" y="4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19" name="Rectangle 798"/>
            <p:cNvSpPr>
              <a:spLocks noChangeArrowheads="1"/>
            </p:cNvSpPr>
            <p:nvPr/>
          </p:nvSpPr>
          <p:spPr bwMode="auto">
            <a:xfrm>
              <a:off x="6061076" y="3912029"/>
              <a:ext cx="9525"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20" name="Freeform 799"/>
            <p:cNvSpPr>
              <a:spLocks/>
            </p:cNvSpPr>
            <p:nvPr/>
          </p:nvSpPr>
          <p:spPr bwMode="auto">
            <a:xfrm>
              <a:off x="6040438" y="3912029"/>
              <a:ext cx="20638" cy="15875"/>
            </a:xfrm>
            <a:custGeom>
              <a:avLst/>
              <a:gdLst>
                <a:gd name="T0" fmla="*/ 0 w 13"/>
                <a:gd name="T1" fmla="*/ 10 h 10"/>
                <a:gd name="T2" fmla="*/ 0 w 13"/>
                <a:gd name="T3" fmla="*/ 10 h 10"/>
                <a:gd name="T4" fmla="*/ 0 w 13"/>
                <a:gd name="T5" fmla="*/ 10 h 10"/>
                <a:gd name="T6" fmla="*/ 0 w 13"/>
                <a:gd name="T7" fmla="*/ 9 h 10"/>
                <a:gd name="T8" fmla="*/ 3 w 13"/>
                <a:gd name="T9" fmla="*/ 6 h 10"/>
                <a:gd name="T10" fmla="*/ 7 w 13"/>
                <a:gd name="T11" fmla="*/ 3 h 10"/>
                <a:gd name="T12" fmla="*/ 13 w 13"/>
                <a:gd name="T13" fmla="*/ 0 h 10"/>
                <a:gd name="T14" fmla="*/ 13 w 13"/>
                <a:gd name="T15" fmla="*/ 0 h 10"/>
                <a:gd name="T16" fmla="*/ 7 w 13"/>
                <a:gd name="T17" fmla="*/ 3 h 10"/>
                <a:gd name="T18" fmla="*/ 3 w 13"/>
                <a:gd name="T19" fmla="*/ 6 h 10"/>
                <a:gd name="T20" fmla="*/ 0 w 13"/>
                <a:gd name="T21" fmla="*/ 9 h 10"/>
                <a:gd name="T22" fmla="*/ 0 w 13"/>
                <a:gd name="T2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0">
                  <a:moveTo>
                    <a:pt x="0" y="10"/>
                  </a:moveTo>
                  <a:lnTo>
                    <a:pt x="0" y="10"/>
                  </a:lnTo>
                  <a:lnTo>
                    <a:pt x="0" y="10"/>
                  </a:lnTo>
                  <a:lnTo>
                    <a:pt x="0" y="9"/>
                  </a:lnTo>
                  <a:lnTo>
                    <a:pt x="3" y="6"/>
                  </a:lnTo>
                  <a:lnTo>
                    <a:pt x="7" y="3"/>
                  </a:lnTo>
                  <a:lnTo>
                    <a:pt x="13" y="0"/>
                  </a:lnTo>
                  <a:lnTo>
                    <a:pt x="13" y="0"/>
                  </a:lnTo>
                  <a:lnTo>
                    <a:pt x="7" y="3"/>
                  </a:lnTo>
                  <a:lnTo>
                    <a:pt x="3" y="6"/>
                  </a:lnTo>
                  <a:lnTo>
                    <a:pt x="0" y="9"/>
                  </a:lnTo>
                  <a:lnTo>
                    <a:pt x="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21" name="Freeform 800"/>
            <p:cNvSpPr>
              <a:spLocks/>
            </p:cNvSpPr>
            <p:nvPr/>
          </p:nvSpPr>
          <p:spPr bwMode="auto">
            <a:xfrm>
              <a:off x="5938838" y="3980292"/>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22" name="Rectangle 801"/>
            <p:cNvSpPr>
              <a:spLocks noChangeArrowheads="1"/>
            </p:cNvSpPr>
            <p:nvPr/>
          </p:nvSpPr>
          <p:spPr bwMode="auto">
            <a:xfrm>
              <a:off x="5919788" y="3980292"/>
              <a:ext cx="19050"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23" name="Rectangle 802"/>
            <p:cNvSpPr>
              <a:spLocks noChangeArrowheads="1"/>
            </p:cNvSpPr>
            <p:nvPr/>
          </p:nvSpPr>
          <p:spPr bwMode="auto">
            <a:xfrm>
              <a:off x="5919788" y="3980292"/>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24" name="Freeform 803"/>
            <p:cNvSpPr>
              <a:spLocks/>
            </p:cNvSpPr>
            <p:nvPr/>
          </p:nvSpPr>
          <p:spPr bwMode="auto">
            <a:xfrm>
              <a:off x="5964238" y="3932667"/>
              <a:ext cx="76200" cy="47625"/>
            </a:xfrm>
            <a:custGeom>
              <a:avLst/>
              <a:gdLst>
                <a:gd name="T0" fmla="*/ 10 w 48"/>
                <a:gd name="T1" fmla="*/ 30 h 30"/>
                <a:gd name="T2" fmla="*/ 10 w 48"/>
                <a:gd name="T3" fmla="*/ 30 h 30"/>
                <a:gd name="T4" fmla="*/ 0 w 48"/>
                <a:gd name="T5" fmla="*/ 30 h 30"/>
                <a:gd name="T6" fmla="*/ 0 w 48"/>
                <a:gd name="T7" fmla="*/ 30 h 30"/>
                <a:gd name="T8" fmla="*/ 10 w 48"/>
                <a:gd name="T9" fmla="*/ 30 h 30"/>
                <a:gd name="T10" fmla="*/ 10 w 48"/>
                <a:gd name="T11" fmla="*/ 30 h 30"/>
                <a:gd name="T12" fmla="*/ 13 w 48"/>
                <a:gd name="T13" fmla="*/ 30 h 30"/>
                <a:gd name="T14" fmla="*/ 14 w 48"/>
                <a:gd name="T15" fmla="*/ 27 h 30"/>
                <a:gd name="T16" fmla="*/ 19 w 48"/>
                <a:gd name="T17" fmla="*/ 22 h 30"/>
                <a:gd name="T18" fmla="*/ 27 w 48"/>
                <a:gd name="T19" fmla="*/ 9 h 30"/>
                <a:gd name="T20" fmla="*/ 27 w 48"/>
                <a:gd name="T21" fmla="*/ 9 h 30"/>
                <a:gd name="T22" fmla="*/ 30 w 48"/>
                <a:gd name="T23" fmla="*/ 4 h 30"/>
                <a:gd name="T24" fmla="*/ 33 w 48"/>
                <a:gd name="T25" fmla="*/ 3 h 30"/>
                <a:gd name="T26" fmla="*/ 42 w 48"/>
                <a:gd name="T27" fmla="*/ 3 h 30"/>
                <a:gd name="T28" fmla="*/ 42 w 48"/>
                <a:gd name="T29" fmla="*/ 3 h 30"/>
                <a:gd name="T30" fmla="*/ 46 w 48"/>
                <a:gd name="T31" fmla="*/ 1 h 30"/>
                <a:gd name="T32" fmla="*/ 48 w 48"/>
                <a:gd name="T33" fmla="*/ 0 h 30"/>
                <a:gd name="T34" fmla="*/ 48 w 48"/>
                <a:gd name="T35" fmla="*/ 0 h 30"/>
                <a:gd name="T36" fmla="*/ 46 w 48"/>
                <a:gd name="T37" fmla="*/ 1 h 30"/>
                <a:gd name="T38" fmla="*/ 42 w 48"/>
                <a:gd name="T39" fmla="*/ 3 h 30"/>
                <a:gd name="T40" fmla="*/ 42 w 48"/>
                <a:gd name="T41" fmla="*/ 3 h 30"/>
                <a:gd name="T42" fmla="*/ 33 w 48"/>
                <a:gd name="T43" fmla="*/ 3 h 30"/>
                <a:gd name="T44" fmla="*/ 30 w 48"/>
                <a:gd name="T45" fmla="*/ 4 h 30"/>
                <a:gd name="T46" fmla="*/ 27 w 48"/>
                <a:gd name="T47" fmla="*/ 9 h 30"/>
                <a:gd name="T48" fmla="*/ 27 w 48"/>
                <a:gd name="T49" fmla="*/ 9 h 30"/>
                <a:gd name="T50" fmla="*/ 19 w 48"/>
                <a:gd name="T51" fmla="*/ 22 h 30"/>
                <a:gd name="T52" fmla="*/ 14 w 48"/>
                <a:gd name="T53" fmla="*/ 27 h 30"/>
                <a:gd name="T54" fmla="*/ 13 w 48"/>
                <a:gd name="T55" fmla="*/ 30 h 30"/>
                <a:gd name="T56" fmla="*/ 10 w 48"/>
                <a:gd name="T5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0">
                  <a:moveTo>
                    <a:pt x="10" y="30"/>
                  </a:moveTo>
                  <a:lnTo>
                    <a:pt x="10" y="30"/>
                  </a:lnTo>
                  <a:lnTo>
                    <a:pt x="0" y="30"/>
                  </a:lnTo>
                  <a:lnTo>
                    <a:pt x="0" y="30"/>
                  </a:lnTo>
                  <a:lnTo>
                    <a:pt x="10" y="30"/>
                  </a:lnTo>
                  <a:lnTo>
                    <a:pt x="10" y="30"/>
                  </a:lnTo>
                  <a:lnTo>
                    <a:pt x="13" y="30"/>
                  </a:lnTo>
                  <a:lnTo>
                    <a:pt x="14" y="27"/>
                  </a:lnTo>
                  <a:lnTo>
                    <a:pt x="19" y="22"/>
                  </a:lnTo>
                  <a:lnTo>
                    <a:pt x="27" y="9"/>
                  </a:lnTo>
                  <a:lnTo>
                    <a:pt x="27" y="9"/>
                  </a:lnTo>
                  <a:lnTo>
                    <a:pt x="30" y="4"/>
                  </a:lnTo>
                  <a:lnTo>
                    <a:pt x="33" y="3"/>
                  </a:lnTo>
                  <a:lnTo>
                    <a:pt x="42" y="3"/>
                  </a:lnTo>
                  <a:lnTo>
                    <a:pt x="42" y="3"/>
                  </a:lnTo>
                  <a:lnTo>
                    <a:pt x="46" y="1"/>
                  </a:lnTo>
                  <a:lnTo>
                    <a:pt x="48" y="0"/>
                  </a:lnTo>
                  <a:lnTo>
                    <a:pt x="48" y="0"/>
                  </a:lnTo>
                  <a:lnTo>
                    <a:pt x="46" y="1"/>
                  </a:lnTo>
                  <a:lnTo>
                    <a:pt x="42" y="3"/>
                  </a:lnTo>
                  <a:lnTo>
                    <a:pt x="42" y="3"/>
                  </a:lnTo>
                  <a:lnTo>
                    <a:pt x="33" y="3"/>
                  </a:lnTo>
                  <a:lnTo>
                    <a:pt x="30" y="4"/>
                  </a:lnTo>
                  <a:lnTo>
                    <a:pt x="27" y="9"/>
                  </a:lnTo>
                  <a:lnTo>
                    <a:pt x="27" y="9"/>
                  </a:lnTo>
                  <a:lnTo>
                    <a:pt x="19" y="22"/>
                  </a:lnTo>
                  <a:lnTo>
                    <a:pt x="14" y="27"/>
                  </a:lnTo>
                  <a:lnTo>
                    <a:pt x="13" y="30"/>
                  </a:lnTo>
                  <a:lnTo>
                    <a:pt x="10" y="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25" name="Freeform 804"/>
            <p:cNvSpPr>
              <a:spLocks/>
            </p:cNvSpPr>
            <p:nvPr/>
          </p:nvSpPr>
          <p:spPr bwMode="auto">
            <a:xfrm>
              <a:off x="5876926" y="3980292"/>
              <a:ext cx="42863" cy="4763"/>
            </a:xfrm>
            <a:custGeom>
              <a:avLst/>
              <a:gdLst>
                <a:gd name="T0" fmla="*/ 0 w 27"/>
                <a:gd name="T1" fmla="*/ 3 h 3"/>
                <a:gd name="T2" fmla="*/ 0 w 27"/>
                <a:gd name="T3" fmla="*/ 3 h 3"/>
                <a:gd name="T4" fmla="*/ 0 w 27"/>
                <a:gd name="T5" fmla="*/ 3 h 3"/>
                <a:gd name="T6" fmla="*/ 27 w 27"/>
                <a:gd name="T7" fmla="*/ 0 h 3"/>
                <a:gd name="T8" fmla="*/ 27 w 27"/>
                <a:gd name="T9" fmla="*/ 0 h 3"/>
                <a:gd name="T10" fmla="*/ 27 w 27"/>
                <a:gd name="T11" fmla="*/ 0 h 3"/>
                <a:gd name="T12" fmla="*/ 27 w 27"/>
                <a:gd name="T13" fmla="*/ 0 h 3"/>
                <a:gd name="T14" fmla="*/ 27 w 27"/>
                <a:gd name="T15" fmla="*/ 0 h 3"/>
                <a:gd name="T16" fmla="*/ 27 w 27"/>
                <a:gd name="T17" fmla="*/ 0 h 3"/>
                <a:gd name="T18" fmla="*/ 0 w 27"/>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3">
                  <a:moveTo>
                    <a:pt x="0" y="3"/>
                  </a:moveTo>
                  <a:lnTo>
                    <a:pt x="0" y="3"/>
                  </a:lnTo>
                  <a:lnTo>
                    <a:pt x="0" y="3"/>
                  </a:lnTo>
                  <a:lnTo>
                    <a:pt x="27" y="0"/>
                  </a:lnTo>
                  <a:lnTo>
                    <a:pt x="27" y="0"/>
                  </a:lnTo>
                  <a:lnTo>
                    <a:pt x="27" y="0"/>
                  </a:lnTo>
                  <a:lnTo>
                    <a:pt x="27" y="0"/>
                  </a:lnTo>
                  <a:lnTo>
                    <a:pt x="27" y="0"/>
                  </a:lnTo>
                  <a:lnTo>
                    <a:pt x="27"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26" name="Freeform 805"/>
            <p:cNvSpPr>
              <a:spLocks/>
            </p:cNvSpPr>
            <p:nvPr/>
          </p:nvSpPr>
          <p:spPr bwMode="auto">
            <a:xfrm>
              <a:off x="5748338" y="3461179"/>
              <a:ext cx="425450" cy="277813"/>
            </a:xfrm>
            <a:custGeom>
              <a:avLst/>
              <a:gdLst>
                <a:gd name="T0" fmla="*/ 203 w 268"/>
                <a:gd name="T1" fmla="*/ 122 h 175"/>
                <a:gd name="T2" fmla="*/ 216 w 268"/>
                <a:gd name="T3" fmla="*/ 106 h 175"/>
                <a:gd name="T4" fmla="*/ 233 w 268"/>
                <a:gd name="T5" fmla="*/ 100 h 175"/>
                <a:gd name="T6" fmla="*/ 236 w 268"/>
                <a:gd name="T7" fmla="*/ 101 h 175"/>
                <a:gd name="T8" fmla="*/ 232 w 268"/>
                <a:gd name="T9" fmla="*/ 117 h 175"/>
                <a:gd name="T10" fmla="*/ 233 w 268"/>
                <a:gd name="T11" fmla="*/ 119 h 175"/>
                <a:gd name="T12" fmla="*/ 255 w 268"/>
                <a:gd name="T13" fmla="*/ 123 h 175"/>
                <a:gd name="T14" fmla="*/ 268 w 268"/>
                <a:gd name="T15" fmla="*/ 117 h 175"/>
                <a:gd name="T16" fmla="*/ 268 w 268"/>
                <a:gd name="T17" fmla="*/ 113 h 175"/>
                <a:gd name="T18" fmla="*/ 253 w 268"/>
                <a:gd name="T19" fmla="*/ 96 h 175"/>
                <a:gd name="T20" fmla="*/ 242 w 268"/>
                <a:gd name="T21" fmla="*/ 93 h 175"/>
                <a:gd name="T22" fmla="*/ 236 w 268"/>
                <a:gd name="T23" fmla="*/ 90 h 175"/>
                <a:gd name="T24" fmla="*/ 234 w 268"/>
                <a:gd name="T25" fmla="*/ 85 h 175"/>
                <a:gd name="T26" fmla="*/ 214 w 268"/>
                <a:gd name="T27" fmla="*/ 90 h 175"/>
                <a:gd name="T28" fmla="*/ 197 w 268"/>
                <a:gd name="T29" fmla="*/ 90 h 175"/>
                <a:gd name="T30" fmla="*/ 190 w 268"/>
                <a:gd name="T31" fmla="*/ 98 h 175"/>
                <a:gd name="T32" fmla="*/ 184 w 268"/>
                <a:gd name="T33" fmla="*/ 107 h 175"/>
                <a:gd name="T34" fmla="*/ 175 w 268"/>
                <a:gd name="T35" fmla="*/ 109 h 175"/>
                <a:gd name="T36" fmla="*/ 162 w 268"/>
                <a:gd name="T37" fmla="*/ 98 h 175"/>
                <a:gd name="T38" fmla="*/ 149 w 268"/>
                <a:gd name="T39" fmla="*/ 94 h 175"/>
                <a:gd name="T40" fmla="*/ 145 w 268"/>
                <a:gd name="T41" fmla="*/ 91 h 175"/>
                <a:gd name="T42" fmla="*/ 150 w 268"/>
                <a:gd name="T43" fmla="*/ 88 h 175"/>
                <a:gd name="T44" fmla="*/ 152 w 268"/>
                <a:gd name="T45" fmla="*/ 84 h 175"/>
                <a:gd name="T46" fmla="*/ 142 w 268"/>
                <a:gd name="T47" fmla="*/ 70 h 175"/>
                <a:gd name="T48" fmla="*/ 139 w 268"/>
                <a:gd name="T49" fmla="*/ 41 h 175"/>
                <a:gd name="T50" fmla="*/ 137 w 268"/>
                <a:gd name="T51" fmla="*/ 35 h 175"/>
                <a:gd name="T52" fmla="*/ 120 w 268"/>
                <a:gd name="T53" fmla="*/ 48 h 175"/>
                <a:gd name="T54" fmla="*/ 116 w 268"/>
                <a:gd name="T55" fmla="*/ 52 h 175"/>
                <a:gd name="T56" fmla="*/ 108 w 268"/>
                <a:gd name="T57" fmla="*/ 51 h 175"/>
                <a:gd name="T58" fmla="*/ 79 w 268"/>
                <a:gd name="T59" fmla="*/ 35 h 175"/>
                <a:gd name="T60" fmla="*/ 71 w 268"/>
                <a:gd name="T61" fmla="*/ 33 h 175"/>
                <a:gd name="T62" fmla="*/ 68 w 268"/>
                <a:gd name="T63" fmla="*/ 38 h 175"/>
                <a:gd name="T64" fmla="*/ 58 w 268"/>
                <a:gd name="T65" fmla="*/ 43 h 175"/>
                <a:gd name="T66" fmla="*/ 42 w 268"/>
                <a:gd name="T67" fmla="*/ 43 h 175"/>
                <a:gd name="T68" fmla="*/ 35 w 268"/>
                <a:gd name="T69" fmla="*/ 38 h 175"/>
                <a:gd name="T70" fmla="*/ 35 w 268"/>
                <a:gd name="T71" fmla="*/ 19 h 175"/>
                <a:gd name="T72" fmla="*/ 37 w 268"/>
                <a:gd name="T73" fmla="*/ 12 h 175"/>
                <a:gd name="T74" fmla="*/ 37 w 268"/>
                <a:gd name="T75" fmla="*/ 6 h 175"/>
                <a:gd name="T76" fmla="*/ 0 w 268"/>
                <a:gd name="T77" fmla="*/ 13 h 175"/>
                <a:gd name="T78" fmla="*/ 7 w 268"/>
                <a:gd name="T79" fmla="*/ 103 h 175"/>
                <a:gd name="T80" fmla="*/ 14 w 268"/>
                <a:gd name="T81" fmla="*/ 100 h 175"/>
                <a:gd name="T82" fmla="*/ 20 w 268"/>
                <a:gd name="T83" fmla="*/ 85 h 175"/>
                <a:gd name="T84" fmla="*/ 33 w 268"/>
                <a:gd name="T85" fmla="*/ 70 h 175"/>
                <a:gd name="T86" fmla="*/ 40 w 268"/>
                <a:gd name="T87" fmla="*/ 65 h 175"/>
                <a:gd name="T88" fmla="*/ 49 w 268"/>
                <a:gd name="T89" fmla="*/ 67 h 175"/>
                <a:gd name="T90" fmla="*/ 66 w 268"/>
                <a:gd name="T91" fmla="*/ 88 h 175"/>
                <a:gd name="T92" fmla="*/ 81 w 268"/>
                <a:gd name="T93" fmla="*/ 103 h 175"/>
                <a:gd name="T94" fmla="*/ 90 w 268"/>
                <a:gd name="T95" fmla="*/ 112 h 175"/>
                <a:gd name="T96" fmla="*/ 101 w 268"/>
                <a:gd name="T97" fmla="*/ 133 h 175"/>
                <a:gd name="T98" fmla="*/ 114 w 268"/>
                <a:gd name="T99" fmla="*/ 141 h 175"/>
                <a:gd name="T100" fmla="*/ 143 w 268"/>
                <a:gd name="T101" fmla="*/ 154 h 175"/>
                <a:gd name="T102" fmla="*/ 158 w 268"/>
                <a:gd name="T103" fmla="*/ 164 h 175"/>
                <a:gd name="T104" fmla="*/ 162 w 268"/>
                <a:gd name="T105" fmla="*/ 175 h 175"/>
                <a:gd name="T106" fmla="*/ 175 w 268"/>
                <a:gd name="T107" fmla="*/ 174 h 175"/>
                <a:gd name="T108" fmla="*/ 178 w 268"/>
                <a:gd name="T109" fmla="*/ 135 h 175"/>
                <a:gd name="T110" fmla="*/ 187 w 268"/>
                <a:gd name="T111" fmla="*/ 132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8" h="175">
                  <a:moveTo>
                    <a:pt x="198" y="127"/>
                  </a:moveTo>
                  <a:lnTo>
                    <a:pt x="198" y="127"/>
                  </a:lnTo>
                  <a:lnTo>
                    <a:pt x="203" y="122"/>
                  </a:lnTo>
                  <a:lnTo>
                    <a:pt x="207" y="116"/>
                  </a:lnTo>
                  <a:lnTo>
                    <a:pt x="211" y="110"/>
                  </a:lnTo>
                  <a:lnTo>
                    <a:pt x="216" y="106"/>
                  </a:lnTo>
                  <a:lnTo>
                    <a:pt x="216" y="106"/>
                  </a:lnTo>
                  <a:lnTo>
                    <a:pt x="227" y="101"/>
                  </a:lnTo>
                  <a:lnTo>
                    <a:pt x="233" y="100"/>
                  </a:lnTo>
                  <a:lnTo>
                    <a:pt x="236" y="100"/>
                  </a:lnTo>
                  <a:lnTo>
                    <a:pt x="236" y="101"/>
                  </a:lnTo>
                  <a:lnTo>
                    <a:pt x="236" y="101"/>
                  </a:lnTo>
                  <a:lnTo>
                    <a:pt x="236" y="106"/>
                  </a:lnTo>
                  <a:lnTo>
                    <a:pt x="233" y="112"/>
                  </a:lnTo>
                  <a:lnTo>
                    <a:pt x="232" y="117"/>
                  </a:lnTo>
                  <a:lnTo>
                    <a:pt x="232" y="119"/>
                  </a:lnTo>
                  <a:lnTo>
                    <a:pt x="233" y="119"/>
                  </a:lnTo>
                  <a:lnTo>
                    <a:pt x="233" y="119"/>
                  </a:lnTo>
                  <a:lnTo>
                    <a:pt x="245" y="120"/>
                  </a:lnTo>
                  <a:lnTo>
                    <a:pt x="255" y="123"/>
                  </a:lnTo>
                  <a:lnTo>
                    <a:pt x="255" y="123"/>
                  </a:lnTo>
                  <a:lnTo>
                    <a:pt x="259" y="122"/>
                  </a:lnTo>
                  <a:lnTo>
                    <a:pt x="263" y="120"/>
                  </a:lnTo>
                  <a:lnTo>
                    <a:pt x="268" y="117"/>
                  </a:lnTo>
                  <a:lnTo>
                    <a:pt x="268" y="116"/>
                  </a:lnTo>
                  <a:lnTo>
                    <a:pt x="268" y="113"/>
                  </a:lnTo>
                  <a:lnTo>
                    <a:pt x="268" y="113"/>
                  </a:lnTo>
                  <a:lnTo>
                    <a:pt x="263" y="103"/>
                  </a:lnTo>
                  <a:lnTo>
                    <a:pt x="259" y="98"/>
                  </a:lnTo>
                  <a:lnTo>
                    <a:pt x="253" y="96"/>
                  </a:lnTo>
                  <a:lnTo>
                    <a:pt x="253" y="96"/>
                  </a:lnTo>
                  <a:lnTo>
                    <a:pt x="246" y="93"/>
                  </a:lnTo>
                  <a:lnTo>
                    <a:pt x="242" y="93"/>
                  </a:lnTo>
                  <a:lnTo>
                    <a:pt x="237" y="91"/>
                  </a:lnTo>
                  <a:lnTo>
                    <a:pt x="236" y="90"/>
                  </a:lnTo>
                  <a:lnTo>
                    <a:pt x="236" y="90"/>
                  </a:lnTo>
                  <a:lnTo>
                    <a:pt x="234" y="84"/>
                  </a:lnTo>
                  <a:lnTo>
                    <a:pt x="234" y="84"/>
                  </a:lnTo>
                  <a:lnTo>
                    <a:pt x="234" y="85"/>
                  </a:lnTo>
                  <a:lnTo>
                    <a:pt x="234" y="85"/>
                  </a:lnTo>
                  <a:lnTo>
                    <a:pt x="224" y="88"/>
                  </a:lnTo>
                  <a:lnTo>
                    <a:pt x="214" y="90"/>
                  </a:lnTo>
                  <a:lnTo>
                    <a:pt x="214" y="90"/>
                  </a:lnTo>
                  <a:lnTo>
                    <a:pt x="204" y="90"/>
                  </a:lnTo>
                  <a:lnTo>
                    <a:pt x="197" y="90"/>
                  </a:lnTo>
                  <a:lnTo>
                    <a:pt x="197" y="90"/>
                  </a:lnTo>
                  <a:lnTo>
                    <a:pt x="192" y="93"/>
                  </a:lnTo>
                  <a:lnTo>
                    <a:pt x="190" y="98"/>
                  </a:lnTo>
                  <a:lnTo>
                    <a:pt x="190" y="98"/>
                  </a:lnTo>
                  <a:lnTo>
                    <a:pt x="188" y="104"/>
                  </a:lnTo>
                  <a:lnTo>
                    <a:pt x="184" y="107"/>
                  </a:lnTo>
                  <a:lnTo>
                    <a:pt x="179" y="109"/>
                  </a:lnTo>
                  <a:lnTo>
                    <a:pt x="175" y="109"/>
                  </a:lnTo>
                  <a:lnTo>
                    <a:pt x="175" y="109"/>
                  </a:lnTo>
                  <a:lnTo>
                    <a:pt x="171" y="106"/>
                  </a:lnTo>
                  <a:lnTo>
                    <a:pt x="166" y="101"/>
                  </a:lnTo>
                  <a:lnTo>
                    <a:pt x="162" y="98"/>
                  </a:lnTo>
                  <a:lnTo>
                    <a:pt x="159" y="96"/>
                  </a:lnTo>
                  <a:lnTo>
                    <a:pt x="159" y="96"/>
                  </a:lnTo>
                  <a:lnTo>
                    <a:pt x="149" y="94"/>
                  </a:lnTo>
                  <a:lnTo>
                    <a:pt x="145" y="93"/>
                  </a:lnTo>
                  <a:lnTo>
                    <a:pt x="145" y="91"/>
                  </a:lnTo>
                  <a:lnTo>
                    <a:pt x="145" y="91"/>
                  </a:lnTo>
                  <a:lnTo>
                    <a:pt x="145" y="91"/>
                  </a:lnTo>
                  <a:lnTo>
                    <a:pt x="146" y="90"/>
                  </a:lnTo>
                  <a:lnTo>
                    <a:pt x="150" y="88"/>
                  </a:lnTo>
                  <a:lnTo>
                    <a:pt x="152" y="87"/>
                  </a:lnTo>
                  <a:lnTo>
                    <a:pt x="152" y="84"/>
                  </a:lnTo>
                  <a:lnTo>
                    <a:pt x="152" y="84"/>
                  </a:lnTo>
                  <a:lnTo>
                    <a:pt x="146" y="77"/>
                  </a:lnTo>
                  <a:lnTo>
                    <a:pt x="143" y="72"/>
                  </a:lnTo>
                  <a:lnTo>
                    <a:pt x="142" y="70"/>
                  </a:lnTo>
                  <a:lnTo>
                    <a:pt x="142" y="70"/>
                  </a:lnTo>
                  <a:lnTo>
                    <a:pt x="140" y="51"/>
                  </a:lnTo>
                  <a:lnTo>
                    <a:pt x="139" y="41"/>
                  </a:lnTo>
                  <a:lnTo>
                    <a:pt x="137" y="36"/>
                  </a:lnTo>
                  <a:lnTo>
                    <a:pt x="137" y="35"/>
                  </a:lnTo>
                  <a:lnTo>
                    <a:pt x="137" y="35"/>
                  </a:lnTo>
                  <a:lnTo>
                    <a:pt x="133" y="38"/>
                  </a:lnTo>
                  <a:lnTo>
                    <a:pt x="129" y="41"/>
                  </a:lnTo>
                  <a:lnTo>
                    <a:pt x="120" y="48"/>
                  </a:lnTo>
                  <a:lnTo>
                    <a:pt x="120" y="48"/>
                  </a:lnTo>
                  <a:lnTo>
                    <a:pt x="117" y="51"/>
                  </a:lnTo>
                  <a:lnTo>
                    <a:pt x="116" y="52"/>
                  </a:lnTo>
                  <a:lnTo>
                    <a:pt x="113" y="52"/>
                  </a:lnTo>
                  <a:lnTo>
                    <a:pt x="108" y="51"/>
                  </a:lnTo>
                  <a:lnTo>
                    <a:pt x="108" y="51"/>
                  </a:lnTo>
                  <a:lnTo>
                    <a:pt x="94" y="45"/>
                  </a:lnTo>
                  <a:lnTo>
                    <a:pt x="84" y="39"/>
                  </a:lnTo>
                  <a:lnTo>
                    <a:pt x="79" y="35"/>
                  </a:lnTo>
                  <a:lnTo>
                    <a:pt x="75" y="30"/>
                  </a:lnTo>
                  <a:lnTo>
                    <a:pt x="75" y="30"/>
                  </a:lnTo>
                  <a:lnTo>
                    <a:pt x="71" y="33"/>
                  </a:lnTo>
                  <a:lnTo>
                    <a:pt x="69" y="35"/>
                  </a:lnTo>
                  <a:lnTo>
                    <a:pt x="68" y="38"/>
                  </a:lnTo>
                  <a:lnTo>
                    <a:pt x="68" y="38"/>
                  </a:lnTo>
                  <a:lnTo>
                    <a:pt x="66" y="39"/>
                  </a:lnTo>
                  <a:lnTo>
                    <a:pt x="64" y="42"/>
                  </a:lnTo>
                  <a:lnTo>
                    <a:pt x="58" y="43"/>
                  </a:lnTo>
                  <a:lnTo>
                    <a:pt x="49" y="42"/>
                  </a:lnTo>
                  <a:lnTo>
                    <a:pt x="49" y="42"/>
                  </a:lnTo>
                  <a:lnTo>
                    <a:pt x="42" y="43"/>
                  </a:lnTo>
                  <a:lnTo>
                    <a:pt x="37" y="42"/>
                  </a:lnTo>
                  <a:lnTo>
                    <a:pt x="36" y="41"/>
                  </a:lnTo>
                  <a:lnTo>
                    <a:pt x="35" y="38"/>
                  </a:lnTo>
                  <a:lnTo>
                    <a:pt x="35" y="38"/>
                  </a:lnTo>
                  <a:lnTo>
                    <a:pt x="33" y="25"/>
                  </a:lnTo>
                  <a:lnTo>
                    <a:pt x="35" y="19"/>
                  </a:lnTo>
                  <a:lnTo>
                    <a:pt x="36" y="14"/>
                  </a:lnTo>
                  <a:lnTo>
                    <a:pt x="36" y="14"/>
                  </a:lnTo>
                  <a:lnTo>
                    <a:pt x="37" y="12"/>
                  </a:lnTo>
                  <a:lnTo>
                    <a:pt x="37" y="10"/>
                  </a:lnTo>
                  <a:lnTo>
                    <a:pt x="36" y="7"/>
                  </a:lnTo>
                  <a:lnTo>
                    <a:pt x="37" y="6"/>
                  </a:lnTo>
                  <a:lnTo>
                    <a:pt x="37" y="6"/>
                  </a:lnTo>
                  <a:lnTo>
                    <a:pt x="39" y="0"/>
                  </a:lnTo>
                  <a:lnTo>
                    <a:pt x="0" y="13"/>
                  </a:lnTo>
                  <a:lnTo>
                    <a:pt x="1" y="101"/>
                  </a:lnTo>
                  <a:lnTo>
                    <a:pt x="1" y="101"/>
                  </a:lnTo>
                  <a:lnTo>
                    <a:pt x="7" y="103"/>
                  </a:lnTo>
                  <a:lnTo>
                    <a:pt x="11" y="103"/>
                  </a:lnTo>
                  <a:lnTo>
                    <a:pt x="11" y="103"/>
                  </a:lnTo>
                  <a:lnTo>
                    <a:pt x="14" y="100"/>
                  </a:lnTo>
                  <a:lnTo>
                    <a:pt x="16" y="96"/>
                  </a:lnTo>
                  <a:lnTo>
                    <a:pt x="17" y="90"/>
                  </a:lnTo>
                  <a:lnTo>
                    <a:pt x="20" y="85"/>
                  </a:lnTo>
                  <a:lnTo>
                    <a:pt x="20" y="85"/>
                  </a:lnTo>
                  <a:lnTo>
                    <a:pt x="27" y="77"/>
                  </a:lnTo>
                  <a:lnTo>
                    <a:pt x="33" y="70"/>
                  </a:lnTo>
                  <a:lnTo>
                    <a:pt x="33" y="70"/>
                  </a:lnTo>
                  <a:lnTo>
                    <a:pt x="36" y="68"/>
                  </a:lnTo>
                  <a:lnTo>
                    <a:pt x="40" y="65"/>
                  </a:lnTo>
                  <a:lnTo>
                    <a:pt x="45" y="65"/>
                  </a:lnTo>
                  <a:lnTo>
                    <a:pt x="48" y="65"/>
                  </a:lnTo>
                  <a:lnTo>
                    <a:pt x="49" y="67"/>
                  </a:lnTo>
                  <a:lnTo>
                    <a:pt x="49" y="67"/>
                  </a:lnTo>
                  <a:lnTo>
                    <a:pt x="59" y="80"/>
                  </a:lnTo>
                  <a:lnTo>
                    <a:pt x="66" y="88"/>
                  </a:lnTo>
                  <a:lnTo>
                    <a:pt x="72" y="96"/>
                  </a:lnTo>
                  <a:lnTo>
                    <a:pt x="72" y="96"/>
                  </a:lnTo>
                  <a:lnTo>
                    <a:pt x="81" y="103"/>
                  </a:lnTo>
                  <a:lnTo>
                    <a:pt x="85" y="107"/>
                  </a:lnTo>
                  <a:lnTo>
                    <a:pt x="90" y="112"/>
                  </a:lnTo>
                  <a:lnTo>
                    <a:pt x="90" y="112"/>
                  </a:lnTo>
                  <a:lnTo>
                    <a:pt x="94" y="120"/>
                  </a:lnTo>
                  <a:lnTo>
                    <a:pt x="98" y="127"/>
                  </a:lnTo>
                  <a:lnTo>
                    <a:pt x="101" y="133"/>
                  </a:lnTo>
                  <a:lnTo>
                    <a:pt x="104" y="138"/>
                  </a:lnTo>
                  <a:lnTo>
                    <a:pt x="104" y="138"/>
                  </a:lnTo>
                  <a:lnTo>
                    <a:pt x="114" y="141"/>
                  </a:lnTo>
                  <a:lnTo>
                    <a:pt x="124" y="145"/>
                  </a:lnTo>
                  <a:lnTo>
                    <a:pt x="124" y="145"/>
                  </a:lnTo>
                  <a:lnTo>
                    <a:pt x="143" y="154"/>
                  </a:lnTo>
                  <a:lnTo>
                    <a:pt x="152" y="159"/>
                  </a:lnTo>
                  <a:lnTo>
                    <a:pt x="158" y="164"/>
                  </a:lnTo>
                  <a:lnTo>
                    <a:pt x="158" y="164"/>
                  </a:lnTo>
                  <a:lnTo>
                    <a:pt x="161" y="169"/>
                  </a:lnTo>
                  <a:lnTo>
                    <a:pt x="162" y="172"/>
                  </a:lnTo>
                  <a:lnTo>
                    <a:pt x="162" y="175"/>
                  </a:lnTo>
                  <a:lnTo>
                    <a:pt x="162" y="175"/>
                  </a:lnTo>
                  <a:lnTo>
                    <a:pt x="175" y="174"/>
                  </a:lnTo>
                  <a:lnTo>
                    <a:pt x="175" y="174"/>
                  </a:lnTo>
                  <a:lnTo>
                    <a:pt x="177" y="149"/>
                  </a:lnTo>
                  <a:lnTo>
                    <a:pt x="177" y="139"/>
                  </a:lnTo>
                  <a:lnTo>
                    <a:pt x="178" y="135"/>
                  </a:lnTo>
                  <a:lnTo>
                    <a:pt x="178" y="135"/>
                  </a:lnTo>
                  <a:lnTo>
                    <a:pt x="181" y="132"/>
                  </a:lnTo>
                  <a:lnTo>
                    <a:pt x="187" y="132"/>
                  </a:lnTo>
                  <a:lnTo>
                    <a:pt x="194" y="130"/>
                  </a:lnTo>
                  <a:lnTo>
                    <a:pt x="198" y="127"/>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27" name="Freeform 806"/>
            <p:cNvSpPr>
              <a:spLocks/>
            </p:cNvSpPr>
            <p:nvPr/>
          </p:nvSpPr>
          <p:spPr bwMode="auto">
            <a:xfrm>
              <a:off x="5748338" y="3461179"/>
              <a:ext cx="425450" cy="277813"/>
            </a:xfrm>
            <a:custGeom>
              <a:avLst/>
              <a:gdLst>
                <a:gd name="T0" fmla="*/ 203 w 268"/>
                <a:gd name="T1" fmla="*/ 122 h 175"/>
                <a:gd name="T2" fmla="*/ 216 w 268"/>
                <a:gd name="T3" fmla="*/ 106 h 175"/>
                <a:gd name="T4" fmla="*/ 233 w 268"/>
                <a:gd name="T5" fmla="*/ 100 h 175"/>
                <a:gd name="T6" fmla="*/ 236 w 268"/>
                <a:gd name="T7" fmla="*/ 101 h 175"/>
                <a:gd name="T8" fmla="*/ 232 w 268"/>
                <a:gd name="T9" fmla="*/ 117 h 175"/>
                <a:gd name="T10" fmla="*/ 233 w 268"/>
                <a:gd name="T11" fmla="*/ 119 h 175"/>
                <a:gd name="T12" fmla="*/ 255 w 268"/>
                <a:gd name="T13" fmla="*/ 123 h 175"/>
                <a:gd name="T14" fmla="*/ 268 w 268"/>
                <a:gd name="T15" fmla="*/ 117 h 175"/>
                <a:gd name="T16" fmla="*/ 268 w 268"/>
                <a:gd name="T17" fmla="*/ 113 h 175"/>
                <a:gd name="T18" fmla="*/ 253 w 268"/>
                <a:gd name="T19" fmla="*/ 96 h 175"/>
                <a:gd name="T20" fmla="*/ 242 w 268"/>
                <a:gd name="T21" fmla="*/ 93 h 175"/>
                <a:gd name="T22" fmla="*/ 236 w 268"/>
                <a:gd name="T23" fmla="*/ 90 h 175"/>
                <a:gd name="T24" fmla="*/ 234 w 268"/>
                <a:gd name="T25" fmla="*/ 85 h 175"/>
                <a:gd name="T26" fmla="*/ 214 w 268"/>
                <a:gd name="T27" fmla="*/ 90 h 175"/>
                <a:gd name="T28" fmla="*/ 197 w 268"/>
                <a:gd name="T29" fmla="*/ 90 h 175"/>
                <a:gd name="T30" fmla="*/ 190 w 268"/>
                <a:gd name="T31" fmla="*/ 98 h 175"/>
                <a:gd name="T32" fmla="*/ 184 w 268"/>
                <a:gd name="T33" fmla="*/ 107 h 175"/>
                <a:gd name="T34" fmla="*/ 175 w 268"/>
                <a:gd name="T35" fmla="*/ 109 h 175"/>
                <a:gd name="T36" fmla="*/ 162 w 268"/>
                <a:gd name="T37" fmla="*/ 98 h 175"/>
                <a:gd name="T38" fmla="*/ 149 w 268"/>
                <a:gd name="T39" fmla="*/ 94 h 175"/>
                <a:gd name="T40" fmla="*/ 145 w 268"/>
                <a:gd name="T41" fmla="*/ 91 h 175"/>
                <a:gd name="T42" fmla="*/ 150 w 268"/>
                <a:gd name="T43" fmla="*/ 88 h 175"/>
                <a:gd name="T44" fmla="*/ 152 w 268"/>
                <a:gd name="T45" fmla="*/ 84 h 175"/>
                <a:gd name="T46" fmla="*/ 142 w 268"/>
                <a:gd name="T47" fmla="*/ 70 h 175"/>
                <a:gd name="T48" fmla="*/ 139 w 268"/>
                <a:gd name="T49" fmla="*/ 41 h 175"/>
                <a:gd name="T50" fmla="*/ 137 w 268"/>
                <a:gd name="T51" fmla="*/ 35 h 175"/>
                <a:gd name="T52" fmla="*/ 120 w 268"/>
                <a:gd name="T53" fmla="*/ 48 h 175"/>
                <a:gd name="T54" fmla="*/ 116 w 268"/>
                <a:gd name="T55" fmla="*/ 52 h 175"/>
                <a:gd name="T56" fmla="*/ 108 w 268"/>
                <a:gd name="T57" fmla="*/ 51 h 175"/>
                <a:gd name="T58" fmla="*/ 79 w 268"/>
                <a:gd name="T59" fmla="*/ 35 h 175"/>
                <a:gd name="T60" fmla="*/ 71 w 268"/>
                <a:gd name="T61" fmla="*/ 33 h 175"/>
                <a:gd name="T62" fmla="*/ 68 w 268"/>
                <a:gd name="T63" fmla="*/ 38 h 175"/>
                <a:gd name="T64" fmla="*/ 58 w 268"/>
                <a:gd name="T65" fmla="*/ 43 h 175"/>
                <a:gd name="T66" fmla="*/ 42 w 268"/>
                <a:gd name="T67" fmla="*/ 43 h 175"/>
                <a:gd name="T68" fmla="*/ 35 w 268"/>
                <a:gd name="T69" fmla="*/ 38 h 175"/>
                <a:gd name="T70" fmla="*/ 35 w 268"/>
                <a:gd name="T71" fmla="*/ 19 h 175"/>
                <a:gd name="T72" fmla="*/ 37 w 268"/>
                <a:gd name="T73" fmla="*/ 12 h 175"/>
                <a:gd name="T74" fmla="*/ 37 w 268"/>
                <a:gd name="T75" fmla="*/ 6 h 175"/>
                <a:gd name="T76" fmla="*/ 0 w 268"/>
                <a:gd name="T77" fmla="*/ 13 h 175"/>
                <a:gd name="T78" fmla="*/ 7 w 268"/>
                <a:gd name="T79" fmla="*/ 103 h 175"/>
                <a:gd name="T80" fmla="*/ 14 w 268"/>
                <a:gd name="T81" fmla="*/ 100 h 175"/>
                <a:gd name="T82" fmla="*/ 20 w 268"/>
                <a:gd name="T83" fmla="*/ 85 h 175"/>
                <a:gd name="T84" fmla="*/ 33 w 268"/>
                <a:gd name="T85" fmla="*/ 70 h 175"/>
                <a:gd name="T86" fmla="*/ 40 w 268"/>
                <a:gd name="T87" fmla="*/ 65 h 175"/>
                <a:gd name="T88" fmla="*/ 49 w 268"/>
                <a:gd name="T89" fmla="*/ 67 h 175"/>
                <a:gd name="T90" fmla="*/ 66 w 268"/>
                <a:gd name="T91" fmla="*/ 88 h 175"/>
                <a:gd name="T92" fmla="*/ 81 w 268"/>
                <a:gd name="T93" fmla="*/ 103 h 175"/>
                <a:gd name="T94" fmla="*/ 90 w 268"/>
                <a:gd name="T95" fmla="*/ 112 h 175"/>
                <a:gd name="T96" fmla="*/ 101 w 268"/>
                <a:gd name="T97" fmla="*/ 133 h 175"/>
                <a:gd name="T98" fmla="*/ 114 w 268"/>
                <a:gd name="T99" fmla="*/ 141 h 175"/>
                <a:gd name="T100" fmla="*/ 143 w 268"/>
                <a:gd name="T101" fmla="*/ 154 h 175"/>
                <a:gd name="T102" fmla="*/ 158 w 268"/>
                <a:gd name="T103" fmla="*/ 164 h 175"/>
                <a:gd name="T104" fmla="*/ 162 w 268"/>
                <a:gd name="T105" fmla="*/ 175 h 175"/>
                <a:gd name="T106" fmla="*/ 175 w 268"/>
                <a:gd name="T107" fmla="*/ 174 h 175"/>
                <a:gd name="T108" fmla="*/ 178 w 268"/>
                <a:gd name="T109" fmla="*/ 135 h 175"/>
                <a:gd name="T110" fmla="*/ 187 w 268"/>
                <a:gd name="T111" fmla="*/ 132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8" h="175">
                  <a:moveTo>
                    <a:pt x="198" y="127"/>
                  </a:moveTo>
                  <a:lnTo>
                    <a:pt x="198" y="127"/>
                  </a:lnTo>
                  <a:lnTo>
                    <a:pt x="203" y="122"/>
                  </a:lnTo>
                  <a:lnTo>
                    <a:pt x="207" y="116"/>
                  </a:lnTo>
                  <a:lnTo>
                    <a:pt x="211" y="110"/>
                  </a:lnTo>
                  <a:lnTo>
                    <a:pt x="216" y="106"/>
                  </a:lnTo>
                  <a:lnTo>
                    <a:pt x="216" y="106"/>
                  </a:lnTo>
                  <a:lnTo>
                    <a:pt x="227" y="101"/>
                  </a:lnTo>
                  <a:lnTo>
                    <a:pt x="233" y="100"/>
                  </a:lnTo>
                  <a:lnTo>
                    <a:pt x="236" y="100"/>
                  </a:lnTo>
                  <a:lnTo>
                    <a:pt x="236" y="101"/>
                  </a:lnTo>
                  <a:lnTo>
                    <a:pt x="236" y="101"/>
                  </a:lnTo>
                  <a:lnTo>
                    <a:pt x="236" y="106"/>
                  </a:lnTo>
                  <a:lnTo>
                    <a:pt x="233" y="112"/>
                  </a:lnTo>
                  <a:lnTo>
                    <a:pt x="232" y="117"/>
                  </a:lnTo>
                  <a:lnTo>
                    <a:pt x="232" y="119"/>
                  </a:lnTo>
                  <a:lnTo>
                    <a:pt x="233" y="119"/>
                  </a:lnTo>
                  <a:lnTo>
                    <a:pt x="233" y="119"/>
                  </a:lnTo>
                  <a:lnTo>
                    <a:pt x="245" y="120"/>
                  </a:lnTo>
                  <a:lnTo>
                    <a:pt x="255" y="123"/>
                  </a:lnTo>
                  <a:lnTo>
                    <a:pt x="255" y="123"/>
                  </a:lnTo>
                  <a:lnTo>
                    <a:pt x="259" y="122"/>
                  </a:lnTo>
                  <a:lnTo>
                    <a:pt x="263" y="120"/>
                  </a:lnTo>
                  <a:lnTo>
                    <a:pt x="268" y="117"/>
                  </a:lnTo>
                  <a:lnTo>
                    <a:pt x="268" y="116"/>
                  </a:lnTo>
                  <a:lnTo>
                    <a:pt x="268" y="113"/>
                  </a:lnTo>
                  <a:lnTo>
                    <a:pt x="268" y="113"/>
                  </a:lnTo>
                  <a:lnTo>
                    <a:pt x="263" y="103"/>
                  </a:lnTo>
                  <a:lnTo>
                    <a:pt x="259" y="98"/>
                  </a:lnTo>
                  <a:lnTo>
                    <a:pt x="253" y="96"/>
                  </a:lnTo>
                  <a:lnTo>
                    <a:pt x="253" y="96"/>
                  </a:lnTo>
                  <a:lnTo>
                    <a:pt x="246" y="93"/>
                  </a:lnTo>
                  <a:lnTo>
                    <a:pt x="242" y="93"/>
                  </a:lnTo>
                  <a:lnTo>
                    <a:pt x="237" y="91"/>
                  </a:lnTo>
                  <a:lnTo>
                    <a:pt x="236" y="90"/>
                  </a:lnTo>
                  <a:lnTo>
                    <a:pt x="236" y="90"/>
                  </a:lnTo>
                  <a:lnTo>
                    <a:pt x="234" y="84"/>
                  </a:lnTo>
                  <a:lnTo>
                    <a:pt x="234" y="84"/>
                  </a:lnTo>
                  <a:lnTo>
                    <a:pt x="234" y="85"/>
                  </a:lnTo>
                  <a:lnTo>
                    <a:pt x="234" y="85"/>
                  </a:lnTo>
                  <a:lnTo>
                    <a:pt x="224" y="88"/>
                  </a:lnTo>
                  <a:lnTo>
                    <a:pt x="214" y="90"/>
                  </a:lnTo>
                  <a:lnTo>
                    <a:pt x="214" y="90"/>
                  </a:lnTo>
                  <a:lnTo>
                    <a:pt x="204" y="90"/>
                  </a:lnTo>
                  <a:lnTo>
                    <a:pt x="197" y="90"/>
                  </a:lnTo>
                  <a:lnTo>
                    <a:pt x="197" y="90"/>
                  </a:lnTo>
                  <a:lnTo>
                    <a:pt x="192" y="93"/>
                  </a:lnTo>
                  <a:lnTo>
                    <a:pt x="190" y="98"/>
                  </a:lnTo>
                  <a:lnTo>
                    <a:pt x="190" y="98"/>
                  </a:lnTo>
                  <a:lnTo>
                    <a:pt x="188" y="104"/>
                  </a:lnTo>
                  <a:lnTo>
                    <a:pt x="184" y="107"/>
                  </a:lnTo>
                  <a:lnTo>
                    <a:pt x="179" y="109"/>
                  </a:lnTo>
                  <a:lnTo>
                    <a:pt x="175" y="109"/>
                  </a:lnTo>
                  <a:lnTo>
                    <a:pt x="175" y="109"/>
                  </a:lnTo>
                  <a:lnTo>
                    <a:pt x="171" y="106"/>
                  </a:lnTo>
                  <a:lnTo>
                    <a:pt x="166" y="101"/>
                  </a:lnTo>
                  <a:lnTo>
                    <a:pt x="162" y="98"/>
                  </a:lnTo>
                  <a:lnTo>
                    <a:pt x="159" y="96"/>
                  </a:lnTo>
                  <a:lnTo>
                    <a:pt x="159" y="96"/>
                  </a:lnTo>
                  <a:lnTo>
                    <a:pt x="149" y="94"/>
                  </a:lnTo>
                  <a:lnTo>
                    <a:pt x="145" y="93"/>
                  </a:lnTo>
                  <a:lnTo>
                    <a:pt x="145" y="91"/>
                  </a:lnTo>
                  <a:lnTo>
                    <a:pt x="145" y="91"/>
                  </a:lnTo>
                  <a:lnTo>
                    <a:pt x="145" y="91"/>
                  </a:lnTo>
                  <a:lnTo>
                    <a:pt x="146" y="90"/>
                  </a:lnTo>
                  <a:lnTo>
                    <a:pt x="150" y="88"/>
                  </a:lnTo>
                  <a:lnTo>
                    <a:pt x="152" y="87"/>
                  </a:lnTo>
                  <a:lnTo>
                    <a:pt x="152" y="84"/>
                  </a:lnTo>
                  <a:lnTo>
                    <a:pt x="152" y="84"/>
                  </a:lnTo>
                  <a:lnTo>
                    <a:pt x="146" y="77"/>
                  </a:lnTo>
                  <a:lnTo>
                    <a:pt x="143" y="72"/>
                  </a:lnTo>
                  <a:lnTo>
                    <a:pt x="142" y="70"/>
                  </a:lnTo>
                  <a:lnTo>
                    <a:pt x="142" y="70"/>
                  </a:lnTo>
                  <a:lnTo>
                    <a:pt x="140" y="51"/>
                  </a:lnTo>
                  <a:lnTo>
                    <a:pt x="139" y="41"/>
                  </a:lnTo>
                  <a:lnTo>
                    <a:pt x="137" y="36"/>
                  </a:lnTo>
                  <a:lnTo>
                    <a:pt x="137" y="35"/>
                  </a:lnTo>
                  <a:lnTo>
                    <a:pt x="137" y="35"/>
                  </a:lnTo>
                  <a:lnTo>
                    <a:pt x="133" y="38"/>
                  </a:lnTo>
                  <a:lnTo>
                    <a:pt x="129" y="41"/>
                  </a:lnTo>
                  <a:lnTo>
                    <a:pt x="120" y="48"/>
                  </a:lnTo>
                  <a:lnTo>
                    <a:pt x="120" y="48"/>
                  </a:lnTo>
                  <a:lnTo>
                    <a:pt x="117" y="51"/>
                  </a:lnTo>
                  <a:lnTo>
                    <a:pt x="116" y="52"/>
                  </a:lnTo>
                  <a:lnTo>
                    <a:pt x="113" y="52"/>
                  </a:lnTo>
                  <a:lnTo>
                    <a:pt x="108" y="51"/>
                  </a:lnTo>
                  <a:lnTo>
                    <a:pt x="108" y="51"/>
                  </a:lnTo>
                  <a:lnTo>
                    <a:pt x="94" y="45"/>
                  </a:lnTo>
                  <a:lnTo>
                    <a:pt x="84" y="39"/>
                  </a:lnTo>
                  <a:lnTo>
                    <a:pt x="79" y="35"/>
                  </a:lnTo>
                  <a:lnTo>
                    <a:pt x="75" y="30"/>
                  </a:lnTo>
                  <a:lnTo>
                    <a:pt x="75" y="30"/>
                  </a:lnTo>
                  <a:lnTo>
                    <a:pt x="71" y="33"/>
                  </a:lnTo>
                  <a:lnTo>
                    <a:pt x="69" y="35"/>
                  </a:lnTo>
                  <a:lnTo>
                    <a:pt x="68" y="38"/>
                  </a:lnTo>
                  <a:lnTo>
                    <a:pt x="68" y="38"/>
                  </a:lnTo>
                  <a:lnTo>
                    <a:pt x="66" y="39"/>
                  </a:lnTo>
                  <a:lnTo>
                    <a:pt x="64" y="42"/>
                  </a:lnTo>
                  <a:lnTo>
                    <a:pt x="58" y="43"/>
                  </a:lnTo>
                  <a:lnTo>
                    <a:pt x="49" y="42"/>
                  </a:lnTo>
                  <a:lnTo>
                    <a:pt x="49" y="42"/>
                  </a:lnTo>
                  <a:lnTo>
                    <a:pt x="42" y="43"/>
                  </a:lnTo>
                  <a:lnTo>
                    <a:pt x="37" y="42"/>
                  </a:lnTo>
                  <a:lnTo>
                    <a:pt x="36" y="41"/>
                  </a:lnTo>
                  <a:lnTo>
                    <a:pt x="35" y="38"/>
                  </a:lnTo>
                  <a:lnTo>
                    <a:pt x="35" y="38"/>
                  </a:lnTo>
                  <a:lnTo>
                    <a:pt x="33" y="25"/>
                  </a:lnTo>
                  <a:lnTo>
                    <a:pt x="35" y="19"/>
                  </a:lnTo>
                  <a:lnTo>
                    <a:pt x="36" y="14"/>
                  </a:lnTo>
                  <a:lnTo>
                    <a:pt x="36" y="14"/>
                  </a:lnTo>
                  <a:lnTo>
                    <a:pt x="37" y="12"/>
                  </a:lnTo>
                  <a:lnTo>
                    <a:pt x="37" y="10"/>
                  </a:lnTo>
                  <a:lnTo>
                    <a:pt x="36" y="7"/>
                  </a:lnTo>
                  <a:lnTo>
                    <a:pt x="37" y="6"/>
                  </a:lnTo>
                  <a:lnTo>
                    <a:pt x="37" y="6"/>
                  </a:lnTo>
                  <a:lnTo>
                    <a:pt x="39" y="0"/>
                  </a:lnTo>
                  <a:lnTo>
                    <a:pt x="0" y="13"/>
                  </a:lnTo>
                  <a:lnTo>
                    <a:pt x="1" y="101"/>
                  </a:lnTo>
                  <a:lnTo>
                    <a:pt x="1" y="101"/>
                  </a:lnTo>
                  <a:lnTo>
                    <a:pt x="7" y="103"/>
                  </a:lnTo>
                  <a:lnTo>
                    <a:pt x="11" y="103"/>
                  </a:lnTo>
                  <a:lnTo>
                    <a:pt x="11" y="103"/>
                  </a:lnTo>
                  <a:lnTo>
                    <a:pt x="14" y="100"/>
                  </a:lnTo>
                  <a:lnTo>
                    <a:pt x="16" y="96"/>
                  </a:lnTo>
                  <a:lnTo>
                    <a:pt x="17" y="90"/>
                  </a:lnTo>
                  <a:lnTo>
                    <a:pt x="20" y="85"/>
                  </a:lnTo>
                  <a:lnTo>
                    <a:pt x="20" y="85"/>
                  </a:lnTo>
                  <a:lnTo>
                    <a:pt x="27" y="77"/>
                  </a:lnTo>
                  <a:lnTo>
                    <a:pt x="33" y="70"/>
                  </a:lnTo>
                  <a:lnTo>
                    <a:pt x="33" y="70"/>
                  </a:lnTo>
                  <a:lnTo>
                    <a:pt x="36" y="68"/>
                  </a:lnTo>
                  <a:lnTo>
                    <a:pt x="40" y="65"/>
                  </a:lnTo>
                  <a:lnTo>
                    <a:pt x="45" y="65"/>
                  </a:lnTo>
                  <a:lnTo>
                    <a:pt x="48" y="65"/>
                  </a:lnTo>
                  <a:lnTo>
                    <a:pt x="49" y="67"/>
                  </a:lnTo>
                  <a:lnTo>
                    <a:pt x="49" y="67"/>
                  </a:lnTo>
                  <a:lnTo>
                    <a:pt x="59" y="80"/>
                  </a:lnTo>
                  <a:lnTo>
                    <a:pt x="66" y="88"/>
                  </a:lnTo>
                  <a:lnTo>
                    <a:pt x="72" y="96"/>
                  </a:lnTo>
                  <a:lnTo>
                    <a:pt x="72" y="96"/>
                  </a:lnTo>
                  <a:lnTo>
                    <a:pt x="81" y="103"/>
                  </a:lnTo>
                  <a:lnTo>
                    <a:pt x="85" y="107"/>
                  </a:lnTo>
                  <a:lnTo>
                    <a:pt x="90" y="112"/>
                  </a:lnTo>
                  <a:lnTo>
                    <a:pt x="90" y="112"/>
                  </a:lnTo>
                  <a:lnTo>
                    <a:pt x="94" y="120"/>
                  </a:lnTo>
                  <a:lnTo>
                    <a:pt x="98" y="127"/>
                  </a:lnTo>
                  <a:lnTo>
                    <a:pt x="101" y="133"/>
                  </a:lnTo>
                  <a:lnTo>
                    <a:pt x="104" y="138"/>
                  </a:lnTo>
                  <a:lnTo>
                    <a:pt x="104" y="138"/>
                  </a:lnTo>
                  <a:lnTo>
                    <a:pt x="114" y="141"/>
                  </a:lnTo>
                  <a:lnTo>
                    <a:pt x="124" y="145"/>
                  </a:lnTo>
                  <a:lnTo>
                    <a:pt x="124" y="145"/>
                  </a:lnTo>
                  <a:lnTo>
                    <a:pt x="143" y="154"/>
                  </a:lnTo>
                  <a:lnTo>
                    <a:pt x="152" y="159"/>
                  </a:lnTo>
                  <a:lnTo>
                    <a:pt x="158" y="164"/>
                  </a:lnTo>
                  <a:lnTo>
                    <a:pt x="158" y="164"/>
                  </a:lnTo>
                  <a:lnTo>
                    <a:pt x="161" y="169"/>
                  </a:lnTo>
                  <a:lnTo>
                    <a:pt x="162" y="172"/>
                  </a:lnTo>
                  <a:lnTo>
                    <a:pt x="162" y="175"/>
                  </a:lnTo>
                  <a:lnTo>
                    <a:pt x="162" y="175"/>
                  </a:lnTo>
                  <a:lnTo>
                    <a:pt x="175" y="174"/>
                  </a:lnTo>
                  <a:lnTo>
                    <a:pt x="175" y="174"/>
                  </a:lnTo>
                  <a:lnTo>
                    <a:pt x="177" y="149"/>
                  </a:lnTo>
                  <a:lnTo>
                    <a:pt x="177" y="139"/>
                  </a:lnTo>
                  <a:lnTo>
                    <a:pt x="178" y="135"/>
                  </a:lnTo>
                  <a:lnTo>
                    <a:pt x="178" y="135"/>
                  </a:lnTo>
                  <a:lnTo>
                    <a:pt x="181" y="132"/>
                  </a:lnTo>
                  <a:lnTo>
                    <a:pt x="187" y="132"/>
                  </a:lnTo>
                  <a:lnTo>
                    <a:pt x="194" y="130"/>
                  </a:lnTo>
                  <a:lnTo>
                    <a:pt x="198" y="1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28" name="Freeform 807"/>
            <p:cNvSpPr>
              <a:spLocks/>
            </p:cNvSpPr>
            <p:nvPr/>
          </p:nvSpPr>
          <p:spPr bwMode="auto">
            <a:xfrm>
              <a:off x="6026151" y="3619929"/>
              <a:ext cx="206375" cy="133350"/>
            </a:xfrm>
            <a:custGeom>
              <a:avLst/>
              <a:gdLst>
                <a:gd name="T0" fmla="*/ 77 w 130"/>
                <a:gd name="T1" fmla="*/ 38 h 84"/>
                <a:gd name="T2" fmla="*/ 81 w 130"/>
                <a:gd name="T3" fmla="*/ 23 h 84"/>
                <a:gd name="T4" fmla="*/ 80 w 130"/>
                <a:gd name="T5" fmla="*/ 23 h 84"/>
                <a:gd name="T6" fmla="*/ 70 w 130"/>
                <a:gd name="T7" fmla="*/ 20 h 84"/>
                <a:gd name="T8" fmla="*/ 58 w 130"/>
                <a:gd name="T9" fmla="*/ 19 h 84"/>
                <a:gd name="T10" fmla="*/ 57 w 130"/>
                <a:gd name="T11" fmla="*/ 17 h 84"/>
                <a:gd name="T12" fmla="*/ 61 w 130"/>
                <a:gd name="T13" fmla="*/ 6 h 84"/>
                <a:gd name="T14" fmla="*/ 61 w 130"/>
                <a:gd name="T15" fmla="*/ 1 h 84"/>
                <a:gd name="T16" fmla="*/ 58 w 130"/>
                <a:gd name="T17" fmla="*/ 0 h 84"/>
                <a:gd name="T18" fmla="*/ 41 w 130"/>
                <a:gd name="T19" fmla="*/ 6 h 84"/>
                <a:gd name="T20" fmla="*/ 36 w 130"/>
                <a:gd name="T21" fmla="*/ 10 h 84"/>
                <a:gd name="T22" fmla="*/ 28 w 130"/>
                <a:gd name="T23" fmla="*/ 22 h 84"/>
                <a:gd name="T24" fmla="*/ 23 w 130"/>
                <a:gd name="T25" fmla="*/ 27 h 84"/>
                <a:gd name="T26" fmla="*/ 12 w 130"/>
                <a:gd name="T27" fmla="*/ 32 h 84"/>
                <a:gd name="T28" fmla="*/ 3 w 130"/>
                <a:gd name="T29" fmla="*/ 35 h 84"/>
                <a:gd name="T30" fmla="*/ 2 w 130"/>
                <a:gd name="T31" fmla="*/ 39 h 84"/>
                <a:gd name="T32" fmla="*/ 0 w 130"/>
                <a:gd name="T33" fmla="*/ 74 h 84"/>
                <a:gd name="T34" fmla="*/ 3 w 130"/>
                <a:gd name="T35" fmla="*/ 74 h 84"/>
                <a:gd name="T36" fmla="*/ 6 w 130"/>
                <a:gd name="T37" fmla="*/ 74 h 84"/>
                <a:gd name="T38" fmla="*/ 13 w 130"/>
                <a:gd name="T39" fmla="*/ 78 h 84"/>
                <a:gd name="T40" fmla="*/ 17 w 130"/>
                <a:gd name="T41" fmla="*/ 80 h 84"/>
                <a:gd name="T42" fmla="*/ 23 w 130"/>
                <a:gd name="T43" fmla="*/ 80 h 84"/>
                <a:gd name="T44" fmla="*/ 29 w 130"/>
                <a:gd name="T45" fmla="*/ 77 h 84"/>
                <a:gd name="T46" fmla="*/ 39 w 130"/>
                <a:gd name="T47" fmla="*/ 75 h 84"/>
                <a:gd name="T48" fmla="*/ 48 w 130"/>
                <a:gd name="T49" fmla="*/ 74 h 84"/>
                <a:gd name="T50" fmla="*/ 51 w 130"/>
                <a:gd name="T51" fmla="*/ 71 h 84"/>
                <a:gd name="T52" fmla="*/ 52 w 130"/>
                <a:gd name="T53" fmla="*/ 65 h 84"/>
                <a:gd name="T54" fmla="*/ 59 w 130"/>
                <a:gd name="T55" fmla="*/ 59 h 84"/>
                <a:gd name="T56" fmla="*/ 70 w 130"/>
                <a:gd name="T57" fmla="*/ 56 h 84"/>
                <a:gd name="T58" fmla="*/ 71 w 130"/>
                <a:gd name="T59" fmla="*/ 58 h 84"/>
                <a:gd name="T60" fmla="*/ 72 w 130"/>
                <a:gd name="T61" fmla="*/ 68 h 84"/>
                <a:gd name="T62" fmla="*/ 72 w 130"/>
                <a:gd name="T63" fmla="*/ 81 h 84"/>
                <a:gd name="T64" fmla="*/ 75 w 130"/>
                <a:gd name="T65" fmla="*/ 84 h 84"/>
                <a:gd name="T66" fmla="*/ 84 w 130"/>
                <a:gd name="T67" fmla="*/ 84 h 84"/>
                <a:gd name="T68" fmla="*/ 103 w 130"/>
                <a:gd name="T69" fmla="*/ 80 h 84"/>
                <a:gd name="T70" fmla="*/ 120 w 130"/>
                <a:gd name="T71" fmla="*/ 78 h 84"/>
                <a:gd name="T72" fmla="*/ 120 w 130"/>
                <a:gd name="T73" fmla="*/ 78 h 84"/>
                <a:gd name="T74" fmla="*/ 123 w 130"/>
                <a:gd name="T75" fmla="*/ 75 h 84"/>
                <a:gd name="T76" fmla="*/ 128 w 130"/>
                <a:gd name="T77" fmla="*/ 74 h 84"/>
                <a:gd name="T78" fmla="*/ 129 w 130"/>
                <a:gd name="T79" fmla="*/ 69 h 84"/>
                <a:gd name="T80" fmla="*/ 130 w 130"/>
                <a:gd name="T81" fmla="*/ 61 h 84"/>
                <a:gd name="T82" fmla="*/ 129 w 130"/>
                <a:gd name="T83" fmla="*/ 56 h 84"/>
                <a:gd name="T84" fmla="*/ 123 w 130"/>
                <a:gd name="T85" fmla="*/ 48 h 84"/>
                <a:gd name="T86" fmla="*/ 113 w 130"/>
                <a:gd name="T87" fmla="*/ 42 h 84"/>
                <a:gd name="T88" fmla="*/ 110 w 130"/>
                <a:gd name="T89" fmla="*/ 39 h 84"/>
                <a:gd name="T90" fmla="*/ 109 w 130"/>
                <a:gd name="T91" fmla="*/ 36 h 84"/>
                <a:gd name="T92" fmla="*/ 80 w 130"/>
                <a:gd name="T93" fmla="*/ 41 h 84"/>
                <a:gd name="T94" fmla="*/ 77 w 130"/>
                <a:gd name="T95" fmla="*/ 3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0" h="84">
                  <a:moveTo>
                    <a:pt x="77" y="38"/>
                  </a:moveTo>
                  <a:lnTo>
                    <a:pt x="77" y="38"/>
                  </a:lnTo>
                  <a:lnTo>
                    <a:pt x="78" y="30"/>
                  </a:lnTo>
                  <a:lnTo>
                    <a:pt x="81" y="23"/>
                  </a:lnTo>
                  <a:lnTo>
                    <a:pt x="81" y="23"/>
                  </a:lnTo>
                  <a:lnTo>
                    <a:pt x="80" y="23"/>
                  </a:lnTo>
                  <a:lnTo>
                    <a:pt x="80" y="23"/>
                  </a:lnTo>
                  <a:lnTo>
                    <a:pt x="70" y="20"/>
                  </a:lnTo>
                  <a:lnTo>
                    <a:pt x="58" y="19"/>
                  </a:lnTo>
                  <a:lnTo>
                    <a:pt x="58" y="19"/>
                  </a:lnTo>
                  <a:lnTo>
                    <a:pt x="57" y="19"/>
                  </a:lnTo>
                  <a:lnTo>
                    <a:pt x="57" y="17"/>
                  </a:lnTo>
                  <a:lnTo>
                    <a:pt x="58" y="12"/>
                  </a:lnTo>
                  <a:lnTo>
                    <a:pt x="61" y="6"/>
                  </a:lnTo>
                  <a:lnTo>
                    <a:pt x="61" y="1"/>
                  </a:lnTo>
                  <a:lnTo>
                    <a:pt x="61" y="1"/>
                  </a:lnTo>
                  <a:lnTo>
                    <a:pt x="61" y="0"/>
                  </a:lnTo>
                  <a:lnTo>
                    <a:pt x="58" y="0"/>
                  </a:lnTo>
                  <a:lnTo>
                    <a:pt x="52" y="1"/>
                  </a:lnTo>
                  <a:lnTo>
                    <a:pt x="41" y="6"/>
                  </a:lnTo>
                  <a:lnTo>
                    <a:pt x="41" y="6"/>
                  </a:lnTo>
                  <a:lnTo>
                    <a:pt x="36" y="10"/>
                  </a:lnTo>
                  <a:lnTo>
                    <a:pt x="32" y="16"/>
                  </a:lnTo>
                  <a:lnTo>
                    <a:pt x="28" y="22"/>
                  </a:lnTo>
                  <a:lnTo>
                    <a:pt x="23" y="27"/>
                  </a:lnTo>
                  <a:lnTo>
                    <a:pt x="23" y="27"/>
                  </a:lnTo>
                  <a:lnTo>
                    <a:pt x="19" y="30"/>
                  </a:lnTo>
                  <a:lnTo>
                    <a:pt x="12" y="32"/>
                  </a:lnTo>
                  <a:lnTo>
                    <a:pt x="6" y="32"/>
                  </a:lnTo>
                  <a:lnTo>
                    <a:pt x="3" y="35"/>
                  </a:lnTo>
                  <a:lnTo>
                    <a:pt x="3" y="35"/>
                  </a:lnTo>
                  <a:lnTo>
                    <a:pt x="2" y="39"/>
                  </a:lnTo>
                  <a:lnTo>
                    <a:pt x="0" y="49"/>
                  </a:lnTo>
                  <a:lnTo>
                    <a:pt x="0" y="74"/>
                  </a:lnTo>
                  <a:lnTo>
                    <a:pt x="0" y="74"/>
                  </a:lnTo>
                  <a:lnTo>
                    <a:pt x="3" y="74"/>
                  </a:lnTo>
                  <a:lnTo>
                    <a:pt x="3" y="74"/>
                  </a:lnTo>
                  <a:lnTo>
                    <a:pt x="6" y="74"/>
                  </a:lnTo>
                  <a:lnTo>
                    <a:pt x="10" y="77"/>
                  </a:lnTo>
                  <a:lnTo>
                    <a:pt x="13" y="78"/>
                  </a:lnTo>
                  <a:lnTo>
                    <a:pt x="17" y="80"/>
                  </a:lnTo>
                  <a:lnTo>
                    <a:pt x="17" y="80"/>
                  </a:lnTo>
                  <a:lnTo>
                    <a:pt x="22" y="80"/>
                  </a:lnTo>
                  <a:lnTo>
                    <a:pt x="23" y="80"/>
                  </a:lnTo>
                  <a:lnTo>
                    <a:pt x="26" y="78"/>
                  </a:lnTo>
                  <a:lnTo>
                    <a:pt x="29" y="77"/>
                  </a:lnTo>
                  <a:lnTo>
                    <a:pt x="29" y="77"/>
                  </a:lnTo>
                  <a:lnTo>
                    <a:pt x="39" y="75"/>
                  </a:lnTo>
                  <a:lnTo>
                    <a:pt x="48" y="74"/>
                  </a:lnTo>
                  <a:lnTo>
                    <a:pt x="48" y="74"/>
                  </a:lnTo>
                  <a:lnTo>
                    <a:pt x="49" y="74"/>
                  </a:lnTo>
                  <a:lnTo>
                    <a:pt x="51" y="71"/>
                  </a:lnTo>
                  <a:lnTo>
                    <a:pt x="52" y="65"/>
                  </a:lnTo>
                  <a:lnTo>
                    <a:pt x="52" y="65"/>
                  </a:lnTo>
                  <a:lnTo>
                    <a:pt x="55" y="62"/>
                  </a:lnTo>
                  <a:lnTo>
                    <a:pt x="59" y="59"/>
                  </a:lnTo>
                  <a:lnTo>
                    <a:pt x="65" y="58"/>
                  </a:lnTo>
                  <a:lnTo>
                    <a:pt x="70" y="56"/>
                  </a:lnTo>
                  <a:lnTo>
                    <a:pt x="70" y="56"/>
                  </a:lnTo>
                  <a:lnTo>
                    <a:pt x="71" y="58"/>
                  </a:lnTo>
                  <a:lnTo>
                    <a:pt x="72" y="59"/>
                  </a:lnTo>
                  <a:lnTo>
                    <a:pt x="72" y="68"/>
                  </a:lnTo>
                  <a:lnTo>
                    <a:pt x="72" y="81"/>
                  </a:lnTo>
                  <a:lnTo>
                    <a:pt x="72" y="81"/>
                  </a:lnTo>
                  <a:lnTo>
                    <a:pt x="72" y="84"/>
                  </a:lnTo>
                  <a:lnTo>
                    <a:pt x="75" y="84"/>
                  </a:lnTo>
                  <a:lnTo>
                    <a:pt x="84" y="84"/>
                  </a:lnTo>
                  <a:lnTo>
                    <a:pt x="84" y="84"/>
                  </a:lnTo>
                  <a:lnTo>
                    <a:pt x="94" y="81"/>
                  </a:lnTo>
                  <a:lnTo>
                    <a:pt x="103" y="80"/>
                  </a:lnTo>
                  <a:lnTo>
                    <a:pt x="103" y="80"/>
                  </a:lnTo>
                  <a:lnTo>
                    <a:pt x="120" y="78"/>
                  </a:lnTo>
                  <a:lnTo>
                    <a:pt x="120" y="78"/>
                  </a:lnTo>
                  <a:lnTo>
                    <a:pt x="120" y="78"/>
                  </a:lnTo>
                  <a:lnTo>
                    <a:pt x="122" y="77"/>
                  </a:lnTo>
                  <a:lnTo>
                    <a:pt x="123" y="75"/>
                  </a:lnTo>
                  <a:lnTo>
                    <a:pt x="126" y="75"/>
                  </a:lnTo>
                  <a:lnTo>
                    <a:pt x="128" y="74"/>
                  </a:lnTo>
                  <a:lnTo>
                    <a:pt x="128" y="74"/>
                  </a:lnTo>
                  <a:lnTo>
                    <a:pt x="129" y="69"/>
                  </a:lnTo>
                  <a:lnTo>
                    <a:pt x="130" y="65"/>
                  </a:lnTo>
                  <a:lnTo>
                    <a:pt x="130" y="61"/>
                  </a:lnTo>
                  <a:lnTo>
                    <a:pt x="129" y="56"/>
                  </a:lnTo>
                  <a:lnTo>
                    <a:pt x="129" y="56"/>
                  </a:lnTo>
                  <a:lnTo>
                    <a:pt x="126" y="52"/>
                  </a:lnTo>
                  <a:lnTo>
                    <a:pt x="123" y="48"/>
                  </a:lnTo>
                  <a:lnTo>
                    <a:pt x="119" y="45"/>
                  </a:lnTo>
                  <a:lnTo>
                    <a:pt x="113" y="42"/>
                  </a:lnTo>
                  <a:lnTo>
                    <a:pt x="113" y="42"/>
                  </a:lnTo>
                  <a:lnTo>
                    <a:pt x="110" y="39"/>
                  </a:lnTo>
                  <a:lnTo>
                    <a:pt x="109" y="36"/>
                  </a:lnTo>
                  <a:lnTo>
                    <a:pt x="109" y="36"/>
                  </a:lnTo>
                  <a:lnTo>
                    <a:pt x="88" y="41"/>
                  </a:lnTo>
                  <a:lnTo>
                    <a:pt x="80" y="41"/>
                  </a:lnTo>
                  <a:lnTo>
                    <a:pt x="78" y="39"/>
                  </a:lnTo>
                  <a:lnTo>
                    <a:pt x="77" y="38"/>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29" name="Freeform 809"/>
            <p:cNvSpPr>
              <a:spLocks/>
            </p:cNvSpPr>
            <p:nvPr/>
          </p:nvSpPr>
          <p:spPr bwMode="auto">
            <a:xfrm>
              <a:off x="6026151" y="3619929"/>
              <a:ext cx="206375" cy="133350"/>
            </a:xfrm>
            <a:custGeom>
              <a:avLst/>
              <a:gdLst>
                <a:gd name="T0" fmla="*/ 77 w 130"/>
                <a:gd name="T1" fmla="*/ 38 h 84"/>
                <a:gd name="T2" fmla="*/ 81 w 130"/>
                <a:gd name="T3" fmla="*/ 23 h 84"/>
                <a:gd name="T4" fmla="*/ 80 w 130"/>
                <a:gd name="T5" fmla="*/ 23 h 84"/>
                <a:gd name="T6" fmla="*/ 70 w 130"/>
                <a:gd name="T7" fmla="*/ 20 h 84"/>
                <a:gd name="T8" fmla="*/ 58 w 130"/>
                <a:gd name="T9" fmla="*/ 19 h 84"/>
                <a:gd name="T10" fmla="*/ 57 w 130"/>
                <a:gd name="T11" fmla="*/ 17 h 84"/>
                <a:gd name="T12" fmla="*/ 61 w 130"/>
                <a:gd name="T13" fmla="*/ 6 h 84"/>
                <a:gd name="T14" fmla="*/ 61 w 130"/>
                <a:gd name="T15" fmla="*/ 1 h 84"/>
                <a:gd name="T16" fmla="*/ 58 w 130"/>
                <a:gd name="T17" fmla="*/ 0 h 84"/>
                <a:gd name="T18" fmla="*/ 41 w 130"/>
                <a:gd name="T19" fmla="*/ 6 h 84"/>
                <a:gd name="T20" fmla="*/ 36 w 130"/>
                <a:gd name="T21" fmla="*/ 10 h 84"/>
                <a:gd name="T22" fmla="*/ 28 w 130"/>
                <a:gd name="T23" fmla="*/ 22 h 84"/>
                <a:gd name="T24" fmla="*/ 23 w 130"/>
                <a:gd name="T25" fmla="*/ 27 h 84"/>
                <a:gd name="T26" fmla="*/ 12 w 130"/>
                <a:gd name="T27" fmla="*/ 32 h 84"/>
                <a:gd name="T28" fmla="*/ 3 w 130"/>
                <a:gd name="T29" fmla="*/ 35 h 84"/>
                <a:gd name="T30" fmla="*/ 2 w 130"/>
                <a:gd name="T31" fmla="*/ 39 h 84"/>
                <a:gd name="T32" fmla="*/ 0 w 130"/>
                <a:gd name="T33" fmla="*/ 74 h 84"/>
                <a:gd name="T34" fmla="*/ 3 w 130"/>
                <a:gd name="T35" fmla="*/ 74 h 84"/>
                <a:gd name="T36" fmla="*/ 6 w 130"/>
                <a:gd name="T37" fmla="*/ 74 h 84"/>
                <a:gd name="T38" fmla="*/ 13 w 130"/>
                <a:gd name="T39" fmla="*/ 78 h 84"/>
                <a:gd name="T40" fmla="*/ 17 w 130"/>
                <a:gd name="T41" fmla="*/ 80 h 84"/>
                <a:gd name="T42" fmla="*/ 23 w 130"/>
                <a:gd name="T43" fmla="*/ 80 h 84"/>
                <a:gd name="T44" fmla="*/ 29 w 130"/>
                <a:gd name="T45" fmla="*/ 77 h 84"/>
                <a:gd name="T46" fmla="*/ 39 w 130"/>
                <a:gd name="T47" fmla="*/ 75 h 84"/>
                <a:gd name="T48" fmla="*/ 48 w 130"/>
                <a:gd name="T49" fmla="*/ 74 h 84"/>
                <a:gd name="T50" fmla="*/ 51 w 130"/>
                <a:gd name="T51" fmla="*/ 71 h 84"/>
                <a:gd name="T52" fmla="*/ 52 w 130"/>
                <a:gd name="T53" fmla="*/ 65 h 84"/>
                <a:gd name="T54" fmla="*/ 59 w 130"/>
                <a:gd name="T55" fmla="*/ 59 h 84"/>
                <a:gd name="T56" fmla="*/ 70 w 130"/>
                <a:gd name="T57" fmla="*/ 56 h 84"/>
                <a:gd name="T58" fmla="*/ 71 w 130"/>
                <a:gd name="T59" fmla="*/ 58 h 84"/>
                <a:gd name="T60" fmla="*/ 72 w 130"/>
                <a:gd name="T61" fmla="*/ 68 h 84"/>
                <a:gd name="T62" fmla="*/ 72 w 130"/>
                <a:gd name="T63" fmla="*/ 81 h 84"/>
                <a:gd name="T64" fmla="*/ 75 w 130"/>
                <a:gd name="T65" fmla="*/ 84 h 84"/>
                <a:gd name="T66" fmla="*/ 84 w 130"/>
                <a:gd name="T67" fmla="*/ 84 h 84"/>
                <a:gd name="T68" fmla="*/ 103 w 130"/>
                <a:gd name="T69" fmla="*/ 80 h 84"/>
                <a:gd name="T70" fmla="*/ 120 w 130"/>
                <a:gd name="T71" fmla="*/ 78 h 84"/>
                <a:gd name="T72" fmla="*/ 120 w 130"/>
                <a:gd name="T73" fmla="*/ 78 h 84"/>
                <a:gd name="T74" fmla="*/ 123 w 130"/>
                <a:gd name="T75" fmla="*/ 75 h 84"/>
                <a:gd name="T76" fmla="*/ 128 w 130"/>
                <a:gd name="T77" fmla="*/ 74 h 84"/>
                <a:gd name="T78" fmla="*/ 129 w 130"/>
                <a:gd name="T79" fmla="*/ 69 h 84"/>
                <a:gd name="T80" fmla="*/ 130 w 130"/>
                <a:gd name="T81" fmla="*/ 61 h 84"/>
                <a:gd name="T82" fmla="*/ 129 w 130"/>
                <a:gd name="T83" fmla="*/ 56 h 84"/>
                <a:gd name="T84" fmla="*/ 123 w 130"/>
                <a:gd name="T85" fmla="*/ 48 h 84"/>
                <a:gd name="T86" fmla="*/ 113 w 130"/>
                <a:gd name="T87" fmla="*/ 42 h 84"/>
                <a:gd name="T88" fmla="*/ 110 w 130"/>
                <a:gd name="T89" fmla="*/ 39 h 84"/>
                <a:gd name="T90" fmla="*/ 109 w 130"/>
                <a:gd name="T91" fmla="*/ 36 h 84"/>
                <a:gd name="T92" fmla="*/ 80 w 130"/>
                <a:gd name="T93" fmla="*/ 41 h 84"/>
                <a:gd name="T94" fmla="*/ 77 w 130"/>
                <a:gd name="T95" fmla="*/ 3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0" h="84">
                  <a:moveTo>
                    <a:pt x="77" y="38"/>
                  </a:moveTo>
                  <a:lnTo>
                    <a:pt x="77" y="38"/>
                  </a:lnTo>
                  <a:lnTo>
                    <a:pt x="78" y="30"/>
                  </a:lnTo>
                  <a:lnTo>
                    <a:pt x="81" y="23"/>
                  </a:lnTo>
                  <a:lnTo>
                    <a:pt x="81" y="23"/>
                  </a:lnTo>
                  <a:lnTo>
                    <a:pt x="80" y="23"/>
                  </a:lnTo>
                  <a:lnTo>
                    <a:pt x="80" y="23"/>
                  </a:lnTo>
                  <a:lnTo>
                    <a:pt x="70" y="20"/>
                  </a:lnTo>
                  <a:lnTo>
                    <a:pt x="58" y="19"/>
                  </a:lnTo>
                  <a:lnTo>
                    <a:pt x="58" y="19"/>
                  </a:lnTo>
                  <a:lnTo>
                    <a:pt x="57" y="19"/>
                  </a:lnTo>
                  <a:lnTo>
                    <a:pt x="57" y="17"/>
                  </a:lnTo>
                  <a:lnTo>
                    <a:pt x="58" y="12"/>
                  </a:lnTo>
                  <a:lnTo>
                    <a:pt x="61" y="6"/>
                  </a:lnTo>
                  <a:lnTo>
                    <a:pt x="61" y="1"/>
                  </a:lnTo>
                  <a:lnTo>
                    <a:pt x="61" y="1"/>
                  </a:lnTo>
                  <a:lnTo>
                    <a:pt x="61" y="0"/>
                  </a:lnTo>
                  <a:lnTo>
                    <a:pt x="58" y="0"/>
                  </a:lnTo>
                  <a:lnTo>
                    <a:pt x="52" y="1"/>
                  </a:lnTo>
                  <a:lnTo>
                    <a:pt x="41" y="6"/>
                  </a:lnTo>
                  <a:lnTo>
                    <a:pt x="41" y="6"/>
                  </a:lnTo>
                  <a:lnTo>
                    <a:pt x="36" y="10"/>
                  </a:lnTo>
                  <a:lnTo>
                    <a:pt x="32" y="16"/>
                  </a:lnTo>
                  <a:lnTo>
                    <a:pt x="28" y="22"/>
                  </a:lnTo>
                  <a:lnTo>
                    <a:pt x="23" y="27"/>
                  </a:lnTo>
                  <a:lnTo>
                    <a:pt x="23" y="27"/>
                  </a:lnTo>
                  <a:lnTo>
                    <a:pt x="19" y="30"/>
                  </a:lnTo>
                  <a:lnTo>
                    <a:pt x="12" y="32"/>
                  </a:lnTo>
                  <a:lnTo>
                    <a:pt x="6" y="32"/>
                  </a:lnTo>
                  <a:lnTo>
                    <a:pt x="3" y="35"/>
                  </a:lnTo>
                  <a:lnTo>
                    <a:pt x="3" y="35"/>
                  </a:lnTo>
                  <a:lnTo>
                    <a:pt x="2" y="39"/>
                  </a:lnTo>
                  <a:lnTo>
                    <a:pt x="0" y="49"/>
                  </a:lnTo>
                  <a:lnTo>
                    <a:pt x="0" y="74"/>
                  </a:lnTo>
                  <a:lnTo>
                    <a:pt x="0" y="74"/>
                  </a:lnTo>
                  <a:lnTo>
                    <a:pt x="3" y="74"/>
                  </a:lnTo>
                  <a:lnTo>
                    <a:pt x="3" y="74"/>
                  </a:lnTo>
                  <a:lnTo>
                    <a:pt x="6" y="74"/>
                  </a:lnTo>
                  <a:lnTo>
                    <a:pt x="10" y="77"/>
                  </a:lnTo>
                  <a:lnTo>
                    <a:pt x="13" y="78"/>
                  </a:lnTo>
                  <a:lnTo>
                    <a:pt x="17" y="80"/>
                  </a:lnTo>
                  <a:lnTo>
                    <a:pt x="17" y="80"/>
                  </a:lnTo>
                  <a:lnTo>
                    <a:pt x="22" y="80"/>
                  </a:lnTo>
                  <a:lnTo>
                    <a:pt x="23" y="80"/>
                  </a:lnTo>
                  <a:lnTo>
                    <a:pt x="26" y="78"/>
                  </a:lnTo>
                  <a:lnTo>
                    <a:pt x="29" y="77"/>
                  </a:lnTo>
                  <a:lnTo>
                    <a:pt x="29" y="77"/>
                  </a:lnTo>
                  <a:lnTo>
                    <a:pt x="39" y="75"/>
                  </a:lnTo>
                  <a:lnTo>
                    <a:pt x="48" y="74"/>
                  </a:lnTo>
                  <a:lnTo>
                    <a:pt x="48" y="74"/>
                  </a:lnTo>
                  <a:lnTo>
                    <a:pt x="49" y="74"/>
                  </a:lnTo>
                  <a:lnTo>
                    <a:pt x="51" y="71"/>
                  </a:lnTo>
                  <a:lnTo>
                    <a:pt x="52" y="65"/>
                  </a:lnTo>
                  <a:lnTo>
                    <a:pt x="52" y="65"/>
                  </a:lnTo>
                  <a:lnTo>
                    <a:pt x="55" y="62"/>
                  </a:lnTo>
                  <a:lnTo>
                    <a:pt x="59" y="59"/>
                  </a:lnTo>
                  <a:lnTo>
                    <a:pt x="65" y="58"/>
                  </a:lnTo>
                  <a:lnTo>
                    <a:pt x="70" y="56"/>
                  </a:lnTo>
                  <a:lnTo>
                    <a:pt x="70" y="56"/>
                  </a:lnTo>
                  <a:lnTo>
                    <a:pt x="71" y="58"/>
                  </a:lnTo>
                  <a:lnTo>
                    <a:pt x="72" y="59"/>
                  </a:lnTo>
                  <a:lnTo>
                    <a:pt x="72" y="68"/>
                  </a:lnTo>
                  <a:lnTo>
                    <a:pt x="72" y="81"/>
                  </a:lnTo>
                  <a:lnTo>
                    <a:pt x="72" y="81"/>
                  </a:lnTo>
                  <a:lnTo>
                    <a:pt x="72" y="84"/>
                  </a:lnTo>
                  <a:lnTo>
                    <a:pt x="75" y="84"/>
                  </a:lnTo>
                  <a:lnTo>
                    <a:pt x="84" y="84"/>
                  </a:lnTo>
                  <a:lnTo>
                    <a:pt x="84" y="84"/>
                  </a:lnTo>
                  <a:lnTo>
                    <a:pt x="94" y="81"/>
                  </a:lnTo>
                  <a:lnTo>
                    <a:pt x="103" y="80"/>
                  </a:lnTo>
                  <a:lnTo>
                    <a:pt x="103" y="80"/>
                  </a:lnTo>
                  <a:lnTo>
                    <a:pt x="120" y="78"/>
                  </a:lnTo>
                  <a:lnTo>
                    <a:pt x="120" y="78"/>
                  </a:lnTo>
                  <a:lnTo>
                    <a:pt x="120" y="78"/>
                  </a:lnTo>
                  <a:lnTo>
                    <a:pt x="122" y="77"/>
                  </a:lnTo>
                  <a:lnTo>
                    <a:pt x="123" y="75"/>
                  </a:lnTo>
                  <a:lnTo>
                    <a:pt x="126" y="75"/>
                  </a:lnTo>
                  <a:lnTo>
                    <a:pt x="128" y="74"/>
                  </a:lnTo>
                  <a:lnTo>
                    <a:pt x="128" y="74"/>
                  </a:lnTo>
                  <a:lnTo>
                    <a:pt x="129" y="69"/>
                  </a:lnTo>
                  <a:lnTo>
                    <a:pt x="130" y="65"/>
                  </a:lnTo>
                  <a:lnTo>
                    <a:pt x="130" y="61"/>
                  </a:lnTo>
                  <a:lnTo>
                    <a:pt x="129" y="56"/>
                  </a:lnTo>
                  <a:lnTo>
                    <a:pt x="129" y="56"/>
                  </a:lnTo>
                  <a:lnTo>
                    <a:pt x="126" y="52"/>
                  </a:lnTo>
                  <a:lnTo>
                    <a:pt x="123" y="48"/>
                  </a:lnTo>
                  <a:lnTo>
                    <a:pt x="119" y="45"/>
                  </a:lnTo>
                  <a:lnTo>
                    <a:pt x="113" y="42"/>
                  </a:lnTo>
                  <a:lnTo>
                    <a:pt x="113" y="42"/>
                  </a:lnTo>
                  <a:lnTo>
                    <a:pt x="110" y="39"/>
                  </a:lnTo>
                  <a:lnTo>
                    <a:pt x="109" y="36"/>
                  </a:lnTo>
                  <a:lnTo>
                    <a:pt x="109" y="36"/>
                  </a:lnTo>
                  <a:lnTo>
                    <a:pt x="88" y="41"/>
                  </a:lnTo>
                  <a:lnTo>
                    <a:pt x="80" y="41"/>
                  </a:lnTo>
                  <a:lnTo>
                    <a:pt x="78" y="39"/>
                  </a:lnTo>
                  <a:lnTo>
                    <a:pt x="77" y="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30" name="Freeform 810"/>
            <p:cNvSpPr>
              <a:spLocks noEditPoints="1"/>
            </p:cNvSpPr>
            <p:nvPr/>
          </p:nvSpPr>
          <p:spPr bwMode="auto">
            <a:xfrm>
              <a:off x="6119813" y="3543729"/>
              <a:ext cx="244475" cy="141288"/>
            </a:xfrm>
            <a:custGeom>
              <a:avLst/>
              <a:gdLst>
                <a:gd name="T0" fmla="*/ 141 w 154"/>
                <a:gd name="T1" fmla="*/ 15 h 89"/>
                <a:gd name="T2" fmla="*/ 118 w 154"/>
                <a:gd name="T3" fmla="*/ 9 h 89"/>
                <a:gd name="T4" fmla="*/ 90 w 154"/>
                <a:gd name="T5" fmla="*/ 3 h 89"/>
                <a:gd name="T6" fmla="*/ 61 w 154"/>
                <a:gd name="T7" fmla="*/ 0 h 89"/>
                <a:gd name="T8" fmla="*/ 57 w 154"/>
                <a:gd name="T9" fmla="*/ 0 h 89"/>
                <a:gd name="T10" fmla="*/ 27 w 154"/>
                <a:gd name="T11" fmla="*/ 12 h 89"/>
                <a:gd name="T12" fmla="*/ 15 w 154"/>
                <a:gd name="T13" fmla="*/ 15 h 89"/>
                <a:gd name="T14" fmla="*/ 6 w 154"/>
                <a:gd name="T15" fmla="*/ 19 h 89"/>
                <a:gd name="T16" fmla="*/ 3 w 154"/>
                <a:gd name="T17" fmla="*/ 25 h 89"/>
                <a:gd name="T18" fmla="*/ 0 w 154"/>
                <a:gd name="T19" fmla="*/ 32 h 89"/>
                <a:gd name="T20" fmla="*/ 2 w 154"/>
                <a:gd name="T21" fmla="*/ 38 h 89"/>
                <a:gd name="T22" fmla="*/ 8 w 154"/>
                <a:gd name="T23" fmla="*/ 41 h 89"/>
                <a:gd name="T24" fmla="*/ 19 w 154"/>
                <a:gd name="T25" fmla="*/ 44 h 89"/>
                <a:gd name="T26" fmla="*/ 25 w 154"/>
                <a:gd name="T27" fmla="*/ 46 h 89"/>
                <a:gd name="T28" fmla="*/ 34 w 154"/>
                <a:gd name="T29" fmla="*/ 61 h 89"/>
                <a:gd name="T30" fmla="*/ 34 w 154"/>
                <a:gd name="T31" fmla="*/ 62 h 89"/>
                <a:gd name="T32" fmla="*/ 31 w 154"/>
                <a:gd name="T33" fmla="*/ 68 h 89"/>
                <a:gd name="T34" fmla="*/ 22 w 154"/>
                <a:gd name="T35" fmla="*/ 71 h 89"/>
                <a:gd name="T36" fmla="*/ 19 w 154"/>
                <a:gd name="T37" fmla="*/ 78 h 89"/>
                <a:gd name="T38" fmla="*/ 18 w 154"/>
                <a:gd name="T39" fmla="*/ 86 h 89"/>
                <a:gd name="T40" fmla="*/ 21 w 154"/>
                <a:gd name="T41" fmla="*/ 89 h 89"/>
                <a:gd name="T42" fmla="*/ 50 w 154"/>
                <a:gd name="T43" fmla="*/ 84 h 89"/>
                <a:gd name="T44" fmla="*/ 51 w 154"/>
                <a:gd name="T45" fmla="*/ 83 h 89"/>
                <a:gd name="T46" fmla="*/ 53 w 154"/>
                <a:gd name="T47" fmla="*/ 81 h 89"/>
                <a:gd name="T48" fmla="*/ 57 w 154"/>
                <a:gd name="T49" fmla="*/ 75 h 89"/>
                <a:gd name="T50" fmla="*/ 63 w 154"/>
                <a:gd name="T51" fmla="*/ 71 h 89"/>
                <a:gd name="T52" fmla="*/ 67 w 154"/>
                <a:gd name="T53" fmla="*/ 70 h 89"/>
                <a:gd name="T54" fmla="*/ 71 w 154"/>
                <a:gd name="T55" fmla="*/ 67 h 89"/>
                <a:gd name="T56" fmla="*/ 74 w 154"/>
                <a:gd name="T57" fmla="*/ 64 h 89"/>
                <a:gd name="T58" fmla="*/ 79 w 154"/>
                <a:gd name="T59" fmla="*/ 62 h 89"/>
                <a:gd name="T60" fmla="*/ 80 w 154"/>
                <a:gd name="T61" fmla="*/ 64 h 89"/>
                <a:gd name="T62" fmla="*/ 93 w 154"/>
                <a:gd name="T63" fmla="*/ 68 h 89"/>
                <a:gd name="T64" fmla="*/ 96 w 154"/>
                <a:gd name="T65" fmla="*/ 67 h 89"/>
                <a:gd name="T66" fmla="*/ 100 w 154"/>
                <a:gd name="T67" fmla="*/ 60 h 89"/>
                <a:gd name="T68" fmla="*/ 103 w 154"/>
                <a:gd name="T69" fmla="*/ 55 h 89"/>
                <a:gd name="T70" fmla="*/ 113 w 154"/>
                <a:gd name="T71" fmla="*/ 49 h 89"/>
                <a:gd name="T72" fmla="*/ 124 w 154"/>
                <a:gd name="T73" fmla="*/ 46 h 89"/>
                <a:gd name="T74" fmla="*/ 132 w 154"/>
                <a:gd name="T75" fmla="*/ 41 h 89"/>
                <a:gd name="T76" fmla="*/ 142 w 154"/>
                <a:gd name="T77" fmla="*/ 33 h 89"/>
                <a:gd name="T78" fmla="*/ 150 w 154"/>
                <a:gd name="T79" fmla="*/ 31 h 89"/>
                <a:gd name="T80" fmla="*/ 153 w 154"/>
                <a:gd name="T81" fmla="*/ 25 h 89"/>
                <a:gd name="T82" fmla="*/ 154 w 154"/>
                <a:gd name="T83" fmla="*/ 19 h 89"/>
                <a:gd name="T84" fmla="*/ 147 w 154"/>
                <a:gd name="T85" fmla="*/ 18 h 89"/>
                <a:gd name="T86" fmla="*/ 124 w 154"/>
                <a:gd name="T87" fmla="*/ 19 h 89"/>
                <a:gd name="T88" fmla="*/ 118 w 154"/>
                <a:gd name="T89" fmla="*/ 25 h 89"/>
                <a:gd name="T90" fmla="*/ 109 w 154"/>
                <a:gd name="T91" fmla="*/ 26 h 89"/>
                <a:gd name="T92" fmla="*/ 96 w 154"/>
                <a:gd name="T93" fmla="*/ 25 h 89"/>
                <a:gd name="T94" fmla="*/ 93 w 154"/>
                <a:gd name="T95" fmla="*/ 23 h 89"/>
                <a:gd name="T96" fmla="*/ 96 w 154"/>
                <a:gd name="T97" fmla="*/ 22 h 89"/>
                <a:gd name="T98" fmla="*/ 113 w 154"/>
                <a:gd name="T99" fmla="*/ 19 h 89"/>
                <a:gd name="T100" fmla="*/ 124 w 154"/>
                <a:gd name="T101" fmla="*/ 1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4" h="89">
                  <a:moveTo>
                    <a:pt x="141" y="15"/>
                  </a:moveTo>
                  <a:lnTo>
                    <a:pt x="141" y="15"/>
                  </a:lnTo>
                  <a:lnTo>
                    <a:pt x="132" y="12"/>
                  </a:lnTo>
                  <a:lnTo>
                    <a:pt x="118" y="9"/>
                  </a:lnTo>
                  <a:lnTo>
                    <a:pt x="90" y="3"/>
                  </a:lnTo>
                  <a:lnTo>
                    <a:pt x="90" y="3"/>
                  </a:lnTo>
                  <a:lnTo>
                    <a:pt x="71" y="0"/>
                  </a:lnTo>
                  <a:lnTo>
                    <a:pt x="61" y="0"/>
                  </a:lnTo>
                  <a:lnTo>
                    <a:pt x="57" y="0"/>
                  </a:lnTo>
                  <a:lnTo>
                    <a:pt x="57" y="0"/>
                  </a:lnTo>
                  <a:lnTo>
                    <a:pt x="42" y="6"/>
                  </a:lnTo>
                  <a:lnTo>
                    <a:pt x="27" y="12"/>
                  </a:lnTo>
                  <a:lnTo>
                    <a:pt x="27" y="12"/>
                  </a:lnTo>
                  <a:lnTo>
                    <a:pt x="15" y="15"/>
                  </a:lnTo>
                  <a:lnTo>
                    <a:pt x="9" y="16"/>
                  </a:lnTo>
                  <a:lnTo>
                    <a:pt x="6" y="19"/>
                  </a:lnTo>
                  <a:lnTo>
                    <a:pt x="6" y="19"/>
                  </a:lnTo>
                  <a:lnTo>
                    <a:pt x="3" y="25"/>
                  </a:lnTo>
                  <a:lnTo>
                    <a:pt x="0" y="32"/>
                  </a:lnTo>
                  <a:lnTo>
                    <a:pt x="0" y="32"/>
                  </a:lnTo>
                  <a:lnTo>
                    <a:pt x="2" y="38"/>
                  </a:lnTo>
                  <a:lnTo>
                    <a:pt x="2" y="38"/>
                  </a:lnTo>
                  <a:lnTo>
                    <a:pt x="3" y="39"/>
                  </a:lnTo>
                  <a:lnTo>
                    <a:pt x="8" y="41"/>
                  </a:lnTo>
                  <a:lnTo>
                    <a:pt x="12" y="41"/>
                  </a:lnTo>
                  <a:lnTo>
                    <a:pt x="19" y="44"/>
                  </a:lnTo>
                  <a:lnTo>
                    <a:pt x="19" y="44"/>
                  </a:lnTo>
                  <a:lnTo>
                    <a:pt x="25" y="46"/>
                  </a:lnTo>
                  <a:lnTo>
                    <a:pt x="29" y="51"/>
                  </a:lnTo>
                  <a:lnTo>
                    <a:pt x="34" y="61"/>
                  </a:lnTo>
                  <a:lnTo>
                    <a:pt x="34" y="61"/>
                  </a:lnTo>
                  <a:lnTo>
                    <a:pt x="34" y="62"/>
                  </a:lnTo>
                  <a:lnTo>
                    <a:pt x="34" y="65"/>
                  </a:lnTo>
                  <a:lnTo>
                    <a:pt x="31" y="68"/>
                  </a:lnTo>
                  <a:lnTo>
                    <a:pt x="27" y="70"/>
                  </a:lnTo>
                  <a:lnTo>
                    <a:pt x="22" y="71"/>
                  </a:lnTo>
                  <a:lnTo>
                    <a:pt x="22" y="71"/>
                  </a:lnTo>
                  <a:lnTo>
                    <a:pt x="19" y="78"/>
                  </a:lnTo>
                  <a:lnTo>
                    <a:pt x="18" y="86"/>
                  </a:lnTo>
                  <a:lnTo>
                    <a:pt x="18" y="86"/>
                  </a:lnTo>
                  <a:lnTo>
                    <a:pt x="19" y="87"/>
                  </a:lnTo>
                  <a:lnTo>
                    <a:pt x="21" y="89"/>
                  </a:lnTo>
                  <a:lnTo>
                    <a:pt x="29" y="89"/>
                  </a:lnTo>
                  <a:lnTo>
                    <a:pt x="50" y="84"/>
                  </a:lnTo>
                  <a:lnTo>
                    <a:pt x="50" y="84"/>
                  </a:lnTo>
                  <a:lnTo>
                    <a:pt x="51" y="83"/>
                  </a:lnTo>
                  <a:lnTo>
                    <a:pt x="53" y="81"/>
                  </a:lnTo>
                  <a:lnTo>
                    <a:pt x="53" y="81"/>
                  </a:lnTo>
                  <a:lnTo>
                    <a:pt x="54" y="80"/>
                  </a:lnTo>
                  <a:lnTo>
                    <a:pt x="57" y="75"/>
                  </a:lnTo>
                  <a:lnTo>
                    <a:pt x="58" y="73"/>
                  </a:lnTo>
                  <a:lnTo>
                    <a:pt x="63" y="71"/>
                  </a:lnTo>
                  <a:lnTo>
                    <a:pt x="63" y="71"/>
                  </a:lnTo>
                  <a:lnTo>
                    <a:pt x="67" y="70"/>
                  </a:lnTo>
                  <a:lnTo>
                    <a:pt x="70" y="70"/>
                  </a:lnTo>
                  <a:lnTo>
                    <a:pt x="71" y="67"/>
                  </a:lnTo>
                  <a:lnTo>
                    <a:pt x="71" y="67"/>
                  </a:lnTo>
                  <a:lnTo>
                    <a:pt x="74" y="64"/>
                  </a:lnTo>
                  <a:lnTo>
                    <a:pt x="76" y="62"/>
                  </a:lnTo>
                  <a:lnTo>
                    <a:pt x="79" y="62"/>
                  </a:lnTo>
                  <a:lnTo>
                    <a:pt x="80" y="64"/>
                  </a:lnTo>
                  <a:lnTo>
                    <a:pt x="80" y="64"/>
                  </a:lnTo>
                  <a:lnTo>
                    <a:pt x="84" y="67"/>
                  </a:lnTo>
                  <a:lnTo>
                    <a:pt x="93" y="68"/>
                  </a:lnTo>
                  <a:lnTo>
                    <a:pt x="93" y="68"/>
                  </a:lnTo>
                  <a:lnTo>
                    <a:pt x="96" y="67"/>
                  </a:lnTo>
                  <a:lnTo>
                    <a:pt x="99" y="62"/>
                  </a:lnTo>
                  <a:lnTo>
                    <a:pt x="100" y="60"/>
                  </a:lnTo>
                  <a:lnTo>
                    <a:pt x="103" y="55"/>
                  </a:lnTo>
                  <a:lnTo>
                    <a:pt x="103" y="55"/>
                  </a:lnTo>
                  <a:lnTo>
                    <a:pt x="108" y="52"/>
                  </a:lnTo>
                  <a:lnTo>
                    <a:pt x="113" y="49"/>
                  </a:lnTo>
                  <a:lnTo>
                    <a:pt x="124" y="46"/>
                  </a:lnTo>
                  <a:lnTo>
                    <a:pt x="124" y="46"/>
                  </a:lnTo>
                  <a:lnTo>
                    <a:pt x="126" y="45"/>
                  </a:lnTo>
                  <a:lnTo>
                    <a:pt x="132" y="41"/>
                  </a:lnTo>
                  <a:lnTo>
                    <a:pt x="137" y="36"/>
                  </a:lnTo>
                  <a:lnTo>
                    <a:pt x="142" y="33"/>
                  </a:lnTo>
                  <a:lnTo>
                    <a:pt x="142" y="33"/>
                  </a:lnTo>
                  <a:lnTo>
                    <a:pt x="150" y="31"/>
                  </a:lnTo>
                  <a:lnTo>
                    <a:pt x="153" y="29"/>
                  </a:lnTo>
                  <a:lnTo>
                    <a:pt x="153" y="25"/>
                  </a:lnTo>
                  <a:lnTo>
                    <a:pt x="153" y="25"/>
                  </a:lnTo>
                  <a:lnTo>
                    <a:pt x="154" y="19"/>
                  </a:lnTo>
                  <a:lnTo>
                    <a:pt x="154" y="19"/>
                  </a:lnTo>
                  <a:lnTo>
                    <a:pt x="147" y="18"/>
                  </a:lnTo>
                  <a:lnTo>
                    <a:pt x="141" y="15"/>
                  </a:lnTo>
                  <a:close/>
                  <a:moveTo>
                    <a:pt x="124" y="19"/>
                  </a:moveTo>
                  <a:lnTo>
                    <a:pt x="124" y="19"/>
                  </a:lnTo>
                  <a:lnTo>
                    <a:pt x="118" y="25"/>
                  </a:lnTo>
                  <a:lnTo>
                    <a:pt x="113" y="26"/>
                  </a:lnTo>
                  <a:lnTo>
                    <a:pt x="109" y="26"/>
                  </a:lnTo>
                  <a:lnTo>
                    <a:pt x="109" y="26"/>
                  </a:lnTo>
                  <a:lnTo>
                    <a:pt x="96" y="25"/>
                  </a:lnTo>
                  <a:lnTo>
                    <a:pt x="93" y="23"/>
                  </a:lnTo>
                  <a:lnTo>
                    <a:pt x="93" y="23"/>
                  </a:lnTo>
                  <a:lnTo>
                    <a:pt x="96" y="22"/>
                  </a:lnTo>
                  <a:lnTo>
                    <a:pt x="96" y="22"/>
                  </a:lnTo>
                  <a:lnTo>
                    <a:pt x="103" y="19"/>
                  </a:lnTo>
                  <a:lnTo>
                    <a:pt x="113" y="19"/>
                  </a:lnTo>
                  <a:lnTo>
                    <a:pt x="122" y="18"/>
                  </a:lnTo>
                  <a:lnTo>
                    <a:pt x="124" y="19"/>
                  </a:lnTo>
                  <a:lnTo>
                    <a:pt x="124" y="19"/>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31" name="Freeform 811"/>
            <p:cNvSpPr>
              <a:spLocks/>
            </p:cNvSpPr>
            <p:nvPr/>
          </p:nvSpPr>
          <p:spPr bwMode="auto">
            <a:xfrm>
              <a:off x="6119813" y="3543729"/>
              <a:ext cx="244475" cy="141288"/>
            </a:xfrm>
            <a:custGeom>
              <a:avLst/>
              <a:gdLst>
                <a:gd name="T0" fmla="*/ 141 w 154"/>
                <a:gd name="T1" fmla="*/ 15 h 89"/>
                <a:gd name="T2" fmla="*/ 118 w 154"/>
                <a:gd name="T3" fmla="*/ 9 h 89"/>
                <a:gd name="T4" fmla="*/ 90 w 154"/>
                <a:gd name="T5" fmla="*/ 3 h 89"/>
                <a:gd name="T6" fmla="*/ 61 w 154"/>
                <a:gd name="T7" fmla="*/ 0 h 89"/>
                <a:gd name="T8" fmla="*/ 57 w 154"/>
                <a:gd name="T9" fmla="*/ 0 h 89"/>
                <a:gd name="T10" fmla="*/ 27 w 154"/>
                <a:gd name="T11" fmla="*/ 12 h 89"/>
                <a:gd name="T12" fmla="*/ 15 w 154"/>
                <a:gd name="T13" fmla="*/ 15 h 89"/>
                <a:gd name="T14" fmla="*/ 6 w 154"/>
                <a:gd name="T15" fmla="*/ 19 h 89"/>
                <a:gd name="T16" fmla="*/ 3 w 154"/>
                <a:gd name="T17" fmla="*/ 25 h 89"/>
                <a:gd name="T18" fmla="*/ 0 w 154"/>
                <a:gd name="T19" fmla="*/ 32 h 89"/>
                <a:gd name="T20" fmla="*/ 2 w 154"/>
                <a:gd name="T21" fmla="*/ 38 h 89"/>
                <a:gd name="T22" fmla="*/ 8 w 154"/>
                <a:gd name="T23" fmla="*/ 41 h 89"/>
                <a:gd name="T24" fmla="*/ 19 w 154"/>
                <a:gd name="T25" fmla="*/ 44 h 89"/>
                <a:gd name="T26" fmla="*/ 25 w 154"/>
                <a:gd name="T27" fmla="*/ 46 h 89"/>
                <a:gd name="T28" fmla="*/ 34 w 154"/>
                <a:gd name="T29" fmla="*/ 61 h 89"/>
                <a:gd name="T30" fmla="*/ 34 w 154"/>
                <a:gd name="T31" fmla="*/ 62 h 89"/>
                <a:gd name="T32" fmla="*/ 31 w 154"/>
                <a:gd name="T33" fmla="*/ 68 h 89"/>
                <a:gd name="T34" fmla="*/ 22 w 154"/>
                <a:gd name="T35" fmla="*/ 71 h 89"/>
                <a:gd name="T36" fmla="*/ 19 w 154"/>
                <a:gd name="T37" fmla="*/ 78 h 89"/>
                <a:gd name="T38" fmla="*/ 18 w 154"/>
                <a:gd name="T39" fmla="*/ 86 h 89"/>
                <a:gd name="T40" fmla="*/ 21 w 154"/>
                <a:gd name="T41" fmla="*/ 89 h 89"/>
                <a:gd name="T42" fmla="*/ 50 w 154"/>
                <a:gd name="T43" fmla="*/ 84 h 89"/>
                <a:gd name="T44" fmla="*/ 51 w 154"/>
                <a:gd name="T45" fmla="*/ 83 h 89"/>
                <a:gd name="T46" fmla="*/ 53 w 154"/>
                <a:gd name="T47" fmla="*/ 81 h 89"/>
                <a:gd name="T48" fmla="*/ 57 w 154"/>
                <a:gd name="T49" fmla="*/ 75 h 89"/>
                <a:gd name="T50" fmla="*/ 63 w 154"/>
                <a:gd name="T51" fmla="*/ 71 h 89"/>
                <a:gd name="T52" fmla="*/ 67 w 154"/>
                <a:gd name="T53" fmla="*/ 70 h 89"/>
                <a:gd name="T54" fmla="*/ 71 w 154"/>
                <a:gd name="T55" fmla="*/ 67 h 89"/>
                <a:gd name="T56" fmla="*/ 74 w 154"/>
                <a:gd name="T57" fmla="*/ 64 h 89"/>
                <a:gd name="T58" fmla="*/ 79 w 154"/>
                <a:gd name="T59" fmla="*/ 62 h 89"/>
                <a:gd name="T60" fmla="*/ 80 w 154"/>
                <a:gd name="T61" fmla="*/ 64 h 89"/>
                <a:gd name="T62" fmla="*/ 93 w 154"/>
                <a:gd name="T63" fmla="*/ 68 h 89"/>
                <a:gd name="T64" fmla="*/ 96 w 154"/>
                <a:gd name="T65" fmla="*/ 67 h 89"/>
                <a:gd name="T66" fmla="*/ 100 w 154"/>
                <a:gd name="T67" fmla="*/ 60 h 89"/>
                <a:gd name="T68" fmla="*/ 103 w 154"/>
                <a:gd name="T69" fmla="*/ 55 h 89"/>
                <a:gd name="T70" fmla="*/ 113 w 154"/>
                <a:gd name="T71" fmla="*/ 49 h 89"/>
                <a:gd name="T72" fmla="*/ 124 w 154"/>
                <a:gd name="T73" fmla="*/ 46 h 89"/>
                <a:gd name="T74" fmla="*/ 132 w 154"/>
                <a:gd name="T75" fmla="*/ 41 h 89"/>
                <a:gd name="T76" fmla="*/ 142 w 154"/>
                <a:gd name="T77" fmla="*/ 33 h 89"/>
                <a:gd name="T78" fmla="*/ 150 w 154"/>
                <a:gd name="T79" fmla="*/ 31 h 89"/>
                <a:gd name="T80" fmla="*/ 153 w 154"/>
                <a:gd name="T81" fmla="*/ 25 h 89"/>
                <a:gd name="T82" fmla="*/ 154 w 154"/>
                <a:gd name="T83" fmla="*/ 19 h 89"/>
                <a:gd name="T84" fmla="*/ 147 w 154"/>
                <a:gd name="T85" fmla="*/ 1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4" h="89">
                  <a:moveTo>
                    <a:pt x="141" y="15"/>
                  </a:moveTo>
                  <a:lnTo>
                    <a:pt x="141" y="15"/>
                  </a:lnTo>
                  <a:lnTo>
                    <a:pt x="132" y="12"/>
                  </a:lnTo>
                  <a:lnTo>
                    <a:pt x="118" y="9"/>
                  </a:lnTo>
                  <a:lnTo>
                    <a:pt x="90" y="3"/>
                  </a:lnTo>
                  <a:lnTo>
                    <a:pt x="90" y="3"/>
                  </a:lnTo>
                  <a:lnTo>
                    <a:pt x="71" y="0"/>
                  </a:lnTo>
                  <a:lnTo>
                    <a:pt x="61" y="0"/>
                  </a:lnTo>
                  <a:lnTo>
                    <a:pt x="57" y="0"/>
                  </a:lnTo>
                  <a:lnTo>
                    <a:pt x="57" y="0"/>
                  </a:lnTo>
                  <a:lnTo>
                    <a:pt x="42" y="6"/>
                  </a:lnTo>
                  <a:lnTo>
                    <a:pt x="27" y="12"/>
                  </a:lnTo>
                  <a:lnTo>
                    <a:pt x="27" y="12"/>
                  </a:lnTo>
                  <a:lnTo>
                    <a:pt x="15" y="15"/>
                  </a:lnTo>
                  <a:lnTo>
                    <a:pt x="9" y="16"/>
                  </a:lnTo>
                  <a:lnTo>
                    <a:pt x="6" y="19"/>
                  </a:lnTo>
                  <a:lnTo>
                    <a:pt x="6" y="19"/>
                  </a:lnTo>
                  <a:lnTo>
                    <a:pt x="3" y="25"/>
                  </a:lnTo>
                  <a:lnTo>
                    <a:pt x="0" y="32"/>
                  </a:lnTo>
                  <a:lnTo>
                    <a:pt x="0" y="32"/>
                  </a:lnTo>
                  <a:lnTo>
                    <a:pt x="2" y="38"/>
                  </a:lnTo>
                  <a:lnTo>
                    <a:pt x="2" y="38"/>
                  </a:lnTo>
                  <a:lnTo>
                    <a:pt x="3" y="39"/>
                  </a:lnTo>
                  <a:lnTo>
                    <a:pt x="8" y="41"/>
                  </a:lnTo>
                  <a:lnTo>
                    <a:pt x="12" y="41"/>
                  </a:lnTo>
                  <a:lnTo>
                    <a:pt x="19" y="44"/>
                  </a:lnTo>
                  <a:lnTo>
                    <a:pt x="19" y="44"/>
                  </a:lnTo>
                  <a:lnTo>
                    <a:pt x="25" y="46"/>
                  </a:lnTo>
                  <a:lnTo>
                    <a:pt x="29" y="51"/>
                  </a:lnTo>
                  <a:lnTo>
                    <a:pt x="34" y="61"/>
                  </a:lnTo>
                  <a:lnTo>
                    <a:pt x="34" y="61"/>
                  </a:lnTo>
                  <a:lnTo>
                    <a:pt x="34" y="62"/>
                  </a:lnTo>
                  <a:lnTo>
                    <a:pt x="34" y="65"/>
                  </a:lnTo>
                  <a:lnTo>
                    <a:pt x="31" y="68"/>
                  </a:lnTo>
                  <a:lnTo>
                    <a:pt x="27" y="70"/>
                  </a:lnTo>
                  <a:lnTo>
                    <a:pt x="22" y="71"/>
                  </a:lnTo>
                  <a:lnTo>
                    <a:pt x="22" y="71"/>
                  </a:lnTo>
                  <a:lnTo>
                    <a:pt x="19" y="78"/>
                  </a:lnTo>
                  <a:lnTo>
                    <a:pt x="18" y="86"/>
                  </a:lnTo>
                  <a:lnTo>
                    <a:pt x="18" y="86"/>
                  </a:lnTo>
                  <a:lnTo>
                    <a:pt x="19" y="87"/>
                  </a:lnTo>
                  <a:lnTo>
                    <a:pt x="21" y="89"/>
                  </a:lnTo>
                  <a:lnTo>
                    <a:pt x="29" y="89"/>
                  </a:lnTo>
                  <a:lnTo>
                    <a:pt x="50" y="84"/>
                  </a:lnTo>
                  <a:lnTo>
                    <a:pt x="50" y="84"/>
                  </a:lnTo>
                  <a:lnTo>
                    <a:pt x="51" y="83"/>
                  </a:lnTo>
                  <a:lnTo>
                    <a:pt x="53" y="81"/>
                  </a:lnTo>
                  <a:lnTo>
                    <a:pt x="53" y="81"/>
                  </a:lnTo>
                  <a:lnTo>
                    <a:pt x="54" y="80"/>
                  </a:lnTo>
                  <a:lnTo>
                    <a:pt x="57" y="75"/>
                  </a:lnTo>
                  <a:lnTo>
                    <a:pt x="58" y="73"/>
                  </a:lnTo>
                  <a:lnTo>
                    <a:pt x="63" y="71"/>
                  </a:lnTo>
                  <a:lnTo>
                    <a:pt x="63" y="71"/>
                  </a:lnTo>
                  <a:lnTo>
                    <a:pt x="67" y="70"/>
                  </a:lnTo>
                  <a:lnTo>
                    <a:pt x="70" y="70"/>
                  </a:lnTo>
                  <a:lnTo>
                    <a:pt x="71" y="67"/>
                  </a:lnTo>
                  <a:lnTo>
                    <a:pt x="71" y="67"/>
                  </a:lnTo>
                  <a:lnTo>
                    <a:pt x="74" y="64"/>
                  </a:lnTo>
                  <a:lnTo>
                    <a:pt x="76" y="62"/>
                  </a:lnTo>
                  <a:lnTo>
                    <a:pt x="79" y="62"/>
                  </a:lnTo>
                  <a:lnTo>
                    <a:pt x="80" y="64"/>
                  </a:lnTo>
                  <a:lnTo>
                    <a:pt x="80" y="64"/>
                  </a:lnTo>
                  <a:lnTo>
                    <a:pt x="84" y="67"/>
                  </a:lnTo>
                  <a:lnTo>
                    <a:pt x="93" y="68"/>
                  </a:lnTo>
                  <a:lnTo>
                    <a:pt x="93" y="68"/>
                  </a:lnTo>
                  <a:lnTo>
                    <a:pt x="96" y="67"/>
                  </a:lnTo>
                  <a:lnTo>
                    <a:pt x="99" y="62"/>
                  </a:lnTo>
                  <a:lnTo>
                    <a:pt x="100" y="60"/>
                  </a:lnTo>
                  <a:lnTo>
                    <a:pt x="103" y="55"/>
                  </a:lnTo>
                  <a:lnTo>
                    <a:pt x="103" y="55"/>
                  </a:lnTo>
                  <a:lnTo>
                    <a:pt x="108" y="52"/>
                  </a:lnTo>
                  <a:lnTo>
                    <a:pt x="113" y="49"/>
                  </a:lnTo>
                  <a:lnTo>
                    <a:pt x="124" y="46"/>
                  </a:lnTo>
                  <a:lnTo>
                    <a:pt x="124" y="46"/>
                  </a:lnTo>
                  <a:lnTo>
                    <a:pt x="126" y="45"/>
                  </a:lnTo>
                  <a:lnTo>
                    <a:pt x="132" y="41"/>
                  </a:lnTo>
                  <a:lnTo>
                    <a:pt x="137" y="36"/>
                  </a:lnTo>
                  <a:lnTo>
                    <a:pt x="142" y="33"/>
                  </a:lnTo>
                  <a:lnTo>
                    <a:pt x="142" y="33"/>
                  </a:lnTo>
                  <a:lnTo>
                    <a:pt x="150" y="31"/>
                  </a:lnTo>
                  <a:lnTo>
                    <a:pt x="153" y="29"/>
                  </a:lnTo>
                  <a:lnTo>
                    <a:pt x="153" y="25"/>
                  </a:lnTo>
                  <a:lnTo>
                    <a:pt x="153" y="25"/>
                  </a:lnTo>
                  <a:lnTo>
                    <a:pt x="154" y="19"/>
                  </a:lnTo>
                  <a:lnTo>
                    <a:pt x="154" y="19"/>
                  </a:lnTo>
                  <a:lnTo>
                    <a:pt x="147" y="18"/>
                  </a:lnTo>
                  <a:lnTo>
                    <a:pt x="141"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32" name="Freeform 812"/>
            <p:cNvSpPr>
              <a:spLocks/>
            </p:cNvSpPr>
            <p:nvPr/>
          </p:nvSpPr>
          <p:spPr bwMode="auto">
            <a:xfrm>
              <a:off x="6267451" y="3572304"/>
              <a:ext cx="49213" cy="12700"/>
            </a:xfrm>
            <a:custGeom>
              <a:avLst/>
              <a:gdLst>
                <a:gd name="T0" fmla="*/ 31 w 31"/>
                <a:gd name="T1" fmla="*/ 1 h 8"/>
                <a:gd name="T2" fmla="*/ 31 w 31"/>
                <a:gd name="T3" fmla="*/ 1 h 8"/>
                <a:gd name="T4" fmla="*/ 25 w 31"/>
                <a:gd name="T5" fmla="*/ 7 h 8"/>
                <a:gd name="T6" fmla="*/ 20 w 31"/>
                <a:gd name="T7" fmla="*/ 8 h 8"/>
                <a:gd name="T8" fmla="*/ 16 w 31"/>
                <a:gd name="T9" fmla="*/ 8 h 8"/>
                <a:gd name="T10" fmla="*/ 16 w 31"/>
                <a:gd name="T11" fmla="*/ 8 h 8"/>
                <a:gd name="T12" fmla="*/ 3 w 31"/>
                <a:gd name="T13" fmla="*/ 7 h 8"/>
                <a:gd name="T14" fmla="*/ 0 w 31"/>
                <a:gd name="T15" fmla="*/ 5 h 8"/>
                <a:gd name="T16" fmla="*/ 0 w 31"/>
                <a:gd name="T17" fmla="*/ 5 h 8"/>
                <a:gd name="T18" fmla="*/ 3 w 31"/>
                <a:gd name="T19" fmla="*/ 4 h 8"/>
                <a:gd name="T20" fmla="*/ 3 w 31"/>
                <a:gd name="T21" fmla="*/ 4 h 8"/>
                <a:gd name="T22" fmla="*/ 10 w 31"/>
                <a:gd name="T23" fmla="*/ 1 h 8"/>
                <a:gd name="T24" fmla="*/ 20 w 31"/>
                <a:gd name="T25" fmla="*/ 1 h 8"/>
                <a:gd name="T26" fmla="*/ 29 w 31"/>
                <a:gd name="T27" fmla="*/ 0 h 8"/>
                <a:gd name="T28" fmla="*/ 31 w 31"/>
                <a:gd name="T29" fmla="*/ 1 h 8"/>
                <a:gd name="T30" fmla="*/ 31 w 31"/>
                <a:gd name="T31"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8">
                  <a:moveTo>
                    <a:pt x="31" y="1"/>
                  </a:moveTo>
                  <a:lnTo>
                    <a:pt x="31" y="1"/>
                  </a:lnTo>
                  <a:lnTo>
                    <a:pt x="25" y="7"/>
                  </a:lnTo>
                  <a:lnTo>
                    <a:pt x="20" y="8"/>
                  </a:lnTo>
                  <a:lnTo>
                    <a:pt x="16" y="8"/>
                  </a:lnTo>
                  <a:lnTo>
                    <a:pt x="16" y="8"/>
                  </a:lnTo>
                  <a:lnTo>
                    <a:pt x="3" y="7"/>
                  </a:lnTo>
                  <a:lnTo>
                    <a:pt x="0" y="5"/>
                  </a:lnTo>
                  <a:lnTo>
                    <a:pt x="0" y="5"/>
                  </a:lnTo>
                  <a:lnTo>
                    <a:pt x="3" y="4"/>
                  </a:lnTo>
                  <a:lnTo>
                    <a:pt x="3" y="4"/>
                  </a:lnTo>
                  <a:lnTo>
                    <a:pt x="10" y="1"/>
                  </a:lnTo>
                  <a:lnTo>
                    <a:pt x="20" y="1"/>
                  </a:lnTo>
                  <a:lnTo>
                    <a:pt x="29" y="0"/>
                  </a:lnTo>
                  <a:lnTo>
                    <a:pt x="31" y="1"/>
                  </a:lnTo>
                  <a:lnTo>
                    <a:pt x="31"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33" name="Freeform 814"/>
            <p:cNvSpPr>
              <a:spLocks/>
            </p:cNvSpPr>
            <p:nvPr/>
          </p:nvSpPr>
          <p:spPr bwMode="auto">
            <a:xfrm>
              <a:off x="7539038" y="381995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34" name="Freeform 815"/>
            <p:cNvSpPr>
              <a:spLocks/>
            </p:cNvSpPr>
            <p:nvPr/>
          </p:nvSpPr>
          <p:spPr bwMode="auto">
            <a:xfrm>
              <a:off x="7539038" y="3707242"/>
              <a:ext cx="71438" cy="131763"/>
            </a:xfrm>
            <a:custGeom>
              <a:avLst/>
              <a:gdLst>
                <a:gd name="T0" fmla="*/ 4 w 45"/>
                <a:gd name="T1" fmla="*/ 83 h 83"/>
                <a:gd name="T2" fmla="*/ 3 w 45"/>
                <a:gd name="T3" fmla="*/ 83 h 83"/>
                <a:gd name="T4" fmla="*/ 0 w 45"/>
                <a:gd name="T5" fmla="*/ 72 h 83"/>
                <a:gd name="T6" fmla="*/ 0 w 45"/>
                <a:gd name="T7" fmla="*/ 71 h 83"/>
                <a:gd name="T8" fmla="*/ 0 w 45"/>
                <a:gd name="T9" fmla="*/ 71 h 83"/>
                <a:gd name="T10" fmla="*/ 4 w 45"/>
                <a:gd name="T11" fmla="*/ 64 h 83"/>
                <a:gd name="T12" fmla="*/ 7 w 45"/>
                <a:gd name="T13" fmla="*/ 58 h 83"/>
                <a:gd name="T14" fmla="*/ 7 w 45"/>
                <a:gd name="T15" fmla="*/ 54 h 83"/>
                <a:gd name="T16" fmla="*/ 7 w 45"/>
                <a:gd name="T17" fmla="*/ 51 h 83"/>
                <a:gd name="T18" fmla="*/ 4 w 45"/>
                <a:gd name="T19" fmla="*/ 43 h 83"/>
                <a:gd name="T20" fmla="*/ 2 w 45"/>
                <a:gd name="T21" fmla="*/ 35 h 83"/>
                <a:gd name="T22" fmla="*/ 2 w 45"/>
                <a:gd name="T23" fmla="*/ 35 h 83"/>
                <a:gd name="T24" fmla="*/ 4 w 45"/>
                <a:gd name="T25" fmla="*/ 35 h 83"/>
                <a:gd name="T26" fmla="*/ 7 w 45"/>
                <a:gd name="T27" fmla="*/ 36 h 83"/>
                <a:gd name="T28" fmla="*/ 7 w 45"/>
                <a:gd name="T29" fmla="*/ 36 h 83"/>
                <a:gd name="T30" fmla="*/ 9 w 45"/>
                <a:gd name="T31" fmla="*/ 36 h 83"/>
                <a:gd name="T32" fmla="*/ 10 w 45"/>
                <a:gd name="T33" fmla="*/ 33 h 83"/>
                <a:gd name="T34" fmla="*/ 12 w 45"/>
                <a:gd name="T35" fmla="*/ 30 h 83"/>
                <a:gd name="T36" fmla="*/ 9 w 45"/>
                <a:gd name="T37" fmla="*/ 23 h 83"/>
                <a:gd name="T38" fmla="*/ 7 w 45"/>
                <a:gd name="T39" fmla="*/ 19 h 83"/>
                <a:gd name="T40" fmla="*/ 4 w 45"/>
                <a:gd name="T41" fmla="*/ 16 h 83"/>
                <a:gd name="T42" fmla="*/ 4 w 45"/>
                <a:gd name="T43" fmla="*/ 16 h 83"/>
                <a:gd name="T44" fmla="*/ 3 w 45"/>
                <a:gd name="T45" fmla="*/ 16 h 83"/>
                <a:gd name="T46" fmla="*/ 15 w 45"/>
                <a:gd name="T47" fmla="*/ 7 h 83"/>
                <a:gd name="T48" fmla="*/ 22 w 45"/>
                <a:gd name="T49" fmla="*/ 4 h 83"/>
                <a:gd name="T50" fmla="*/ 26 w 45"/>
                <a:gd name="T51" fmla="*/ 3 h 83"/>
                <a:gd name="T52" fmla="*/ 30 w 45"/>
                <a:gd name="T53" fmla="*/ 0 h 83"/>
                <a:gd name="T54" fmla="*/ 33 w 45"/>
                <a:gd name="T55" fmla="*/ 6 h 83"/>
                <a:gd name="T56" fmla="*/ 39 w 45"/>
                <a:gd name="T57" fmla="*/ 16 h 83"/>
                <a:gd name="T58" fmla="*/ 41 w 45"/>
                <a:gd name="T59" fmla="*/ 22 h 83"/>
                <a:gd name="T60" fmla="*/ 41 w 45"/>
                <a:gd name="T61" fmla="*/ 33 h 83"/>
                <a:gd name="T62" fmla="*/ 42 w 45"/>
                <a:gd name="T63" fmla="*/ 43 h 83"/>
                <a:gd name="T64" fmla="*/ 45 w 45"/>
                <a:gd name="T65" fmla="*/ 56 h 83"/>
                <a:gd name="T66" fmla="*/ 45 w 45"/>
                <a:gd name="T67" fmla="*/ 61 h 83"/>
                <a:gd name="T68" fmla="*/ 38 w 45"/>
                <a:gd name="T69" fmla="*/ 68 h 83"/>
                <a:gd name="T70" fmla="*/ 35 w 45"/>
                <a:gd name="T71" fmla="*/ 71 h 83"/>
                <a:gd name="T72" fmla="*/ 33 w 45"/>
                <a:gd name="T73" fmla="*/ 72 h 83"/>
                <a:gd name="T74" fmla="*/ 33 w 45"/>
                <a:gd name="T75" fmla="*/ 72 h 83"/>
                <a:gd name="T76" fmla="*/ 28 w 45"/>
                <a:gd name="T77" fmla="*/ 72 h 83"/>
                <a:gd name="T78" fmla="*/ 19 w 45"/>
                <a:gd name="T79" fmla="*/ 72 h 83"/>
                <a:gd name="T80" fmla="*/ 16 w 45"/>
                <a:gd name="T81" fmla="*/ 75 h 83"/>
                <a:gd name="T82" fmla="*/ 9 w 45"/>
                <a:gd name="T83" fmla="*/ 81 h 83"/>
                <a:gd name="T84" fmla="*/ 4 w 45"/>
                <a:gd name="T8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83">
                  <a:moveTo>
                    <a:pt x="4" y="83"/>
                  </a:moveTo>
                  <a:lnTo>
                    <a:pt x="4" y="83"/>
                  </a:lnTo>
                  <a:lnTo>
                    <a:pt x="3" y="83"/>
                  </a:lnTo>
                  <a:lnTo>
                    <a:pt x="3" y="83"/>
                  </a:lnTo>
                  <a:lnTo>
                    <a:pt x="2" y="78"/>
                  </a:lnTo>
                  <a:lnTo>
                    <a:pt x="0" y="72"/>
                  </a:lnTo>
                  <a:lnTo>
                    <a:pt x="0" y="72"/>
                  </a:lnTo>
                  <a:lnTo>
                    <a:pt x="0" y="71"/>
                  </a:lnTo>
                  <a:lnTo>
                    <a:pt x="0" y="71"/>
                  </a:lnTo>
                  <a:lnTo>
                    <a:pt x="0" y="71"/>
                  </a:lnTo>
                  <a:lnTo>
                    <a:pt x="4" y="64"/>
                  </a:lnTo>
                  <a:lnTo>
                    <a:pt x="4" y="64"/>
                  </a:lnTo>
                  <a:lnTo>
                    <a:pt x="7" y="58"/>
                  </a:lnTo>
                  <a:lnTo>
                    <a:pt x="7" y="58"/>
                  </a:lnTo>
                  <a:lnTo>
                    <a:pt x="7" y="54"/>
                  </a:lnTo>
                  <a:lnTo>
                    <a:pt x="7" y="54"/>
                  </a:lnTo>
                  <a:lnTo>
                    <a:pt x="7" y="51"/>
                  </a:lnTo>
                  <a:lnTo>
                    <a:pt x="7" y="51"/>
                  </a:lnTo>
                  <a:lnTo>
                    <a:pt x="4" y="43"/>
                  </a:lnTo>
                  <a:lnTo>
                    <a:pt x="4" y="43"/>
                  </a:lnTo>
                  <a:lnTo>
                    <a:pt x="2" y="35"/>
                  </a:lnTo>
                  <a:lnTo>
                    <a:pt x="2" y="35"/>
                  </a:lnTo>
                  <a:lnTo>
                    <a:pt x="2" y="35"/>
                  </a:lnTo>
                  <a:lnTo>
                    <a:pt x="2" y="35"/>
                  </a:lnTo>
                  <a:lnTo>
                    <a:pt x="2" y="35"/>
                  </a:lnTo>
                  <a:lnTo>
                    <a:pt x="4" y="35"/>
                  </a:lnTo>
                  <a:lnTo>
                    <a:pt x="4" y="35"/>
                  </a:lnTo>
                  <a:lnTo>
                    <a:pt x="7" y="36"/>
                  </a:lnTo>
                  <a:lnTo>
                    <a:pt x="7" y="36"/>
                  </a:lnTo>
                  <a:lnTo>
                    <a:pt x="7" y="36"/>
                  </a:lnTo>
                  <a:lnTo>
                    <a:pt x="9" y="36"/>
                  </a:lnTo>
                  <a:lnTo>
                    <a:pt x="9" y="36"/>
                  </a:lnTo>
                  <a:lnTo>
                    <a:pt x="10" y="33"/>
                  </a:lnTo>
                  <a:lnTo>
                    <a:pt x="10" y="33"/>
                  </a:lnTo>
                  <a:lnTo>
                    <a:pt x="12" y="30"/>
                  </a:lnTo>
                  <a:lnTo>
                    <a:pt x="12" y="30"/>
                  </a:lnTo>
                  <a:lnTo>
                    <a:pt x="10" y="28"/>
                  </a:lnTo>
                  <a:lnTo>
                    <a:pt x="9" y="23"/>
                  </a:lnTo>
                  <a:lnTo>
                    <a:pt x="9" y="23"/>
                  </a:lnTo>
                  <a:lnTo>
                    <a:pt x="7" y="19"/>
                  </a:lnTo>
                  <a:lnTo>
                    <a:pt x="7" y="19"/>
                  </a:lnTo>
                  <a:lnTo>
                    <a:pt x="4" y="16"/>
                  </a:lnTo>
                  <a:lnTo>
                    <a:pt x="4" y="16"/>
                  </a:lnTo>
                  <a:lnTo>
                    <a:pt x="4" y="16"/>
                  </a:lnTo>
                  <a:lnTo>
                    <a:pt x="4" y="16"/>
                  </a:lnTo>
                  <a:lnTo>
                    <a:pt x="3" y="16"/>
                  </a:lnTo>
                  <a:lnTo>
                    <a:pt x="3" y="16"/>
                  </a:lnTo>
                  <a:lnTo>
                    <a:pt x="15" y="7"/>
                  </a:lnTo>
                  <a:lnTo>
                    <a:pt x="19" y="6"/>
                  </a:lnTo>
                  <a:lnTo>
                    <a:pt x="22" y="4"/>
                  </a:lnTo>
                  <a:lnTo>
                    <a:pt x="22" y="4"/>
                  </a:lnTo>
                  <a:lnTo>
                    <a:pt x="26" y="3"/>
                  </a:lnTo>
                  <a:lnTo>
                    <a:pt x="30" y="0"/>
                  </a:lnTo>
                  <a:lnTo>
                    <a:pt x="30" y="0"/>
                  </a:lnTo>
                  <a:lnTo>
                    <a:pt x="33" y="6"/>
                  </a:lnTo>
                  <a:lnTo>
                    <a:pt x="33" y="6"/>
                  </a:lnTo>
                  <a:lnTo>
                    <a:pt x="39" y="16"/>
                  </a:lnTo>
                  <a:lnTo>
                    <a:pt x="39" y="16"/>
                  </a:lnTo>
                  <a:lnTo>
                    <a:pt x="41" y="22"/>
                  </a:lnTo>
                  <a:lnTo>
                    <a:pt x="41" y="22"/>
                  </a:lnTo>
                  <a:lnTo>
                    <a:pt x="41" y="33"/>
                  </a:lnTo>
                  <a:lnTo>
                    <a:pt x="41" y="33"/>
                  </a:lnTo>
                  <a:lnTo>
                    <a:pt x="42" y="43"/>
                  </a:lnTo>
                  <a:lnTo>
                    <a:pt x="42" y="43"/>
                  </a:lnTo>
                  <a:lnTo>
                    <a:pt x="45" y="51"/>
                  </a:lnTo>
                  <a:lnTo>
                    <a:pt x="45" y="56"/>
                  </a:lnTo>
                  <a:lnTo>
                    <a:pt x="45" y="56"/>
                  </a:lnTo>
                  <a:lnTo>
                    <a:pt x="45" y="61"/>
                  </a:lnTo>
                  <a:lnTo>
                    <a:pt x="45" y="61"/>
                  </a:lnTo>
                  <a:lnTo>
                    <a:pt x="38" y="68"/>
                  </a:lnTo>
                  <a:lnTo>
                    <a:pt x="38" y="68"/>
                  </a:lnTo>
                  <a:lnTo>
                    <a:pt x="35" y="71"/>
                  </a:lnTo>
                  <a:lnTo>
                    <a:pt x="35" y="72"/>
                  </a:lnTo>
                  <a:lnTo>
                    <a:pt x="33" y="72"/>
                  </a:lnTo>
                  <a:lnTo>
                    <a:pt x="33" y="72"/>
                  </a:lnTo>
                  <a:lnTo>
                    <a:pt x="33" y="72"/>
                  </a:lnTo>
                  <a:lnTo>
                    <a:pt x="28" y="72"/>
                  </a:lnTo>
                  <a:lnTo>
                    <a:pt x="28" y="72"/>
                  </a:lnTo>
                  <a:lnTo>
                    <a:pt x="19" y="72"/>
                  </a:lnTo>
                  <a:lnTo>
                    <a:pt x="19" y="72"/>
                  </a:lnTo>
                  <a:lnTo>
                    <a:pt x="16" y="75"/>
                  </a:lnTo>
                  <a:lnTo>
                    <a:pt x="16" y="75"/>
                  </a:lnTo>
                  <a:lnTo>
                    <a:pt x="9" y="81"/>
                  </a:lnTo>
                  <a:lnTo>
                    <a:pt x="9" y="81"/>
                  </a:lnTo>
                  <a:lnTo>
                    <a:pt x="6" y="83"/>
                  </a:lnTo>
                  <a:lnTo>
                    <a:pt x="4" y="83"/>
                  </a:lnTo>
                  <a:lnTo>
                    <a:pt x="4"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35" name="Freeform 816"/>
            <p:cNvSpPr>
              <a:spLocks/>
            </p:cNvSpPr>
            <p:nvPr/>
          </p:nvSpPr>
          <p:spPr bwMode="auto">
            <a:xfrm>
              <a:off x="3686175" y="2491217"/>
              <a:ext cx="277813" cy="184150"/>
            </a:xfrm>
            <a:custGeom>
              <a:avLst/>
              <a:gdLst>
                <a:gd name="T0" fmla="*/ 74 w 175"/>
                <a:gd name="T1" fmla="*/ 114 h 116"/>
                <a:gd name="T2" fmla="*/ 58 w 175"/>
                <a:gd name="T3" fmla="*/ 107 h 116"/>
                <a:gd name="T4" fmla="*/ 27 w 175"/>
                <a:gd name="T5" fmla="*/ 100 h 116"/>
                <a:gd name="T6" fmla="*/ 26 w 175"/>
                <a:gd name="T7" fmla="*/ 95 h 116"/>
                <a:gd name="T8" fmla="*/ 43 w 175"/>
                <a:gd name="T9" fmla="*/ 91 h 116"/>
                <a:gd name="T10" fmla="*/ 42 w 175"/>
                <a:gd name="T11" fmla="*/ 78 h 116"/>
                <a:gd name="T12" fmla="*/ 36 w 175"/>
                <a:gd name="T13" fmla="*/ 75 h 116"/>
                <a:gd name="T14" fmla="*/ 27 w 175"/>
                <a:gd name="T15" fmla="*/ 66 h 116"/>
                <a:gd name="T16" fmla="*/ 10 w 175"/>
                <a:gd name="T17" fmla="*/ 62 h 116"/>
                <a:gd name="T18" fmla="*/ 30 w 175"/>
                <a:gd name="T19" fmla="*/ 61 h 116"/>
                <a:gd name="T20" fmla="*/ 45 w 175"/>
                <a:gd name="T21" fmla="*/ 58 h 116"/>
                <a:gd name="T22" fmla="*/ 37 w 175"/>
                <a:gd name="T23" fmla="*/ 52 h 116"/>
                <a:gd name="T24" fmla="*/ 36 w 175"/>
                <a:gd name="T25" fmla="*/ 49 h 116"/>
                <a:gd name="T26" fmla="*/ 39 w 175"/>
                <a:gd name="T27" fmla="*/ 43 h 116"/>
                <a:gd name="T28" fmla="*/ 11 w 175"/>
                <a:gd name="T29" fmla="*/ 43 h 116"/>
                <a:gd name="T30" fmla="*/ 1 w 175"/>
                <a:gd name="T31" fmla="*/ 39 h 116"/>
                <a:gd name="T32" fmla="*/ 11 w 175"/>
                <a:gd name="T33" fmla="*/ 36 h 116"/>
                <a:gd name="T34" fmla="*/ 10 w 175"/>
                <a:gd name="T35" fmla="*/ 32 h 116"/>
                <a:gd name="T36" fmla="*/ 7 w 175"/>
                <a:gd name="T37" fmla="*/ 29 h 116"/>
                <a:gd name="T38" fmla="*/ 20 w 175"/>
                <a:gd name="T39" fmla="*/ 32 h 116"/>
                <a:gd name="T40" fmla="*/ 17 w 175"/>
                <a:gd name="T41" fmla="*/ 23 h 116"/>
                <a:gd name="T42" fmla="*/ 18 w 175"/>
                <a:gd name="T43" fmla="*/ 17 h 116"/>
                <a:gd name="T44" fmla="*/ 33 w 175"/>
                <a:gd name="T45" fmla="*/ 26 h 116"/>
                <a:gd name="T46" fmla="*/ 32 w 175"/>
                <a:gd name="T47" fmla="*/ 20 h 116"/>
                <a:gd name="T48" fmla="*/ 23 w 175"/>
                <a:gd name="T49" fmla="*/ 8 h 116"/>
                <a:gd name="T50" fmla="*/ 39 w 175"/>
                <a:gd name="T51" fmla="*/ 11 h 116"/>
                <a:gd name="T52" fmla="*/ 46 w 175"/>
                <a:gd name="T53" fmla="*/ 23 h 116"/>
                <a:gd name="T54" fmla="*/ 50 w 175"/>
                <a:gd name="T55" fmla="*/ 27 h 116"/>
                <a:gd name="T56" fmla="*/ 55 w 175"/>
                <a:gd name="T57" fmla="*/ 48 h 116"/>
                <a:gd name="T58" fmla="*/ 59 w 175"/>
                <a:gd name="T59" fmla="*/ 36 h 116"/>
                <a:gd name="T60" fmla="*/ 63 w 175"/>
                <a:gd name="T61" fmla="*/ 33 h 116"/>
                <a:gd name="T62" fmla="*/ 66 w 175"/>
                <a:gd name="T63" fmla="*/ 29 h 116"/>
                <a:gd name="T64" fmla="*/ 68 w 175"/>
                <a:gd name="T65" fmla="*/ 20 h 116"/>
                <a:gd name="T66" fmla="*/ 79 w 175"/>
                <a:gd name="T67" fmla="*/ 32 h 116"/>
                <a:gd name="T68" fmla="*/ 84 w 175"/>
                <a:gd name="T69" fmla="*/ 26 h 116"/>
                <a:gd name="T70" fmla="*/ 87 w 175"/>
                <a:gd name="T71" fmla="*/ 17 h 116"/>
                <a:gd name="T72" fmla="*/ 97 w 175"/>
                <a:gd name="T73" fmla="*/ 23 h 116"/>
                <a:gd name="T74" fmla="*/ 104 w 175"/>
                <a:gd name="T75" fmla="*/ 32 h 116"/>
                <a:gd name="T76" fmla="*/ 103 w 175"/>
                <a:gd name="T77" fmla="*/ 19 h 116"/>
                <a:gd name="T78" fmla="*/ 110 w 175"/>
                <a:gd name="T79" fmla="*/ 20 h 116"/>
                <a:gd name="T80" fmla="*/ 117 w 175"/>
                <a:gd name="T81" fmla="*/ 19 h 116"/>
                <a:gd name="T82" fmla="*/ 121 w 175"/>
                <a:gd name="T83" fmla="*/ 14 h 116"/>
                <a:gd name="T84" fmla="*/ 127 w 175"/>
                <a:gd name="T85" fmla="*/ 8 h 116"/>
                <a:gd name="T86" fmla="*/ 130 w 175"/>
                <a:gd name="T87" fmla="*/ 0 h 116"/>
                <a:gd name="T88" fmla="*/ 136 w 175"/>
                <a:gd name="T89" fmla="*/ 1 h 116"/>
                <a:gd name="T90" fmla="*/ 142 w 175"/>
                <a:gd name="T91" fmla="*/ 11 h 116"/>
                <a:gd name="T92" fmla="*/ 147 w 175"/>
                <a:gd name="T93" fmla="*/ 6 h 116"/>
                <a:gd name="T94" fmla="*/ 155 w 175"/>
                <a:gd name="T95" fmla="*/ 4 h 116"/>
                <a:gd name="T96" fmla="*/ 150 w 175"/>
                <a:gd name="T97" fmla="*/ 14 h 116"/>
                <a:gd name="T98" fmla="*/ 155 w 175"/>
                <a:gd name="T99" fmla="*/ 20 h 116"/>
                <a:gd name="T100" fmla="*/ 159 w 175"/>
                <a:gd name="T101" fmla="*/ 30 h 116"/>
                <a:gd name="T102" fmla="*/ 169 w 175"/>
                <a:gd name="T103" fmla="*/ 37 h 116"/>
                <a:gd name="T104" fmla="*/ 173 w 175"/>
                <a:gd name="T105" fmla="*/ 50 h 116"/>
                <a:gd name="T106" fmla="*/ 173 w 175"/>
                <a:gd name="T107" fmla="*/ 56 h 116"/>
                <a:gd name="T108" fmla="*/ 159 w 175"/>
                <a:gd name="T109" fmla="*/ 69 h 116"/>
                <a:gd name="T110" fmla="*/ 150 w 175"/>
                <a:gd name="T111" fmla="*/ 85 h 116"/>
                <a:gd name="T112" fmla="*/ 133 w 175"/>
                <a:gd name="T113" fmla="*/ 90 h 116"/>
                <a:gd name="T114" fmla="*/ 118 w 175"/>
                <a:gd name="T115" fmla="*/ 103 h 116"/>
                <a:gd name="T116" fmla="*/ 103 w 175"/>
                <a:gd name="T117" fmla="*/ 105 h 116"/>
                <a:gd name="T118" fmla="*/ 91 w 175"/>
                <a:gd name="T119"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5" h="116">
                  <a:moveTo>
                    <a:pt x="91" y="116"/>
                  </a:moveTo>
                  <a:lnTo>
                    <a:pt x="91" y="116"/>
                  </a:lnTo>
                  <a:lnTo>
                    <a:pt x="82" y="116"/>
                  </a:lnTo>
                  <a:lnTo>
                    <a:pt x="74" y="114"/>
                  </a:lnTo>
                  <a:lnTo>
                    <a:pt x="66" y="113"/>
                  </a:lnTo>
                  <a:lnTo>
                    <a:pt x="62" y="110"/>
                  </a:lnTo>
                  <a:lnTo>
                    <a:pt x="62" y="110"/>
                  </a:lnTo>
                  <a:lnTo>
                    <a:pt x="58" y="107"/>
                  </a:lnTo>
                  <a:lnTo>
                    <a:pt x="50" y="105"/>
                  </a:lnTo>
                  <a:lnTo>
                    <a:pt x="39" y="103"/>
                  </a:lnTo>
                  <a:lnTo>
                    <a:pt x="39" y="103"/>
                  </a:lnTo>
                  <a:lnTo>
                    <a:pt x="27" y="100"/>
                  </a:lnTo>
                  <a:lnTo>
                    <a:pt x="24" y="97"/>
                  </a:lnTo>
                  <a:lnTo>
                    <a:pt x="24" y="95"/>
                  </a:lnTo>
                  <a:lnTo>
                    <a:pt x="26" y="95"/>
                  </a:lnTo>
                  <a:lnTo>
                    <a:pt x="26" y="95"/>
                  </a:lnTo>
                  <a:lnTo>
                    <a:pt x="32" y="94"/>
                  </a:lnTo>
                  <a:lnTo>
                    <a:pt x="39" y="94"/>
                  </a:lnTo>
                  <a:lnTo>
                    <a:pt x="42" y="92"/>
                  </a:lnTo>
                  <a:lnTo>
                    <a:pt x="43" y="91"/>
                  </a:lnTo>
                  <a:lnTo>
                    <a:pt x="45" y="90"/>
                  </a:lnTo>
                  <a:lnTo>
                    <a:pt x="43" y="87"/>
                  </a:lnTo>
                  <a:lnTo>
                    <a:pt x="43" y="87"/>
                  </a:lnTo>
                  <a:lnTo>
                    <a:pt x="42" y="78"/>
                  </a:lnTo>
                  <a:lnTo>
                    <a:pt x="40" y="77"/>
                  </a:lnTo>
                  <a:lnTo>
                    <a:pt x="39" y="77"/>
                  </a:lnTo>
                  <a:lnTo>
                    <a:pt x="39" y="77"/>
                  </a:lnTo>
                  <a:lnTo>
                    <a:pt x="36" y="75"/>
                  </a:lnTo>
                  <a:lnTo>
                    <a:pt x="33" y="72"/>
                  </a:lnTo>
                  <a:lnTo>
                    <a:pt x="30" y="68"/>
                  </a:lnTo>
                  <a:lnTo>
                    <a:pt x="27" y="66"/>
                  </a:lnTo>
                  <a:lnTo>
                    <a:pt x="27" y="66"/>
                  </a:lnTo>
                  <a:lnTo>
                    <a:pt x="14" y="66"/>
                  </a:lnTo>
                  <a:lnTo>
                    <a:pt x="10" y="65"/>
                  </a:lnTo>
                  <a:lnTo>
                    <a:pt x="8" y="65"/>
                  </a:lnTo>
                  <a:lnTo>
                    <a:pt x="10" y="62"/>
                  </a:lnTo>
                  <a:lnTo>
                    <a:pt x="10" y="62"/>
                  </a:lnTo>
                  <a:lnTo>
                    <a:pt x="13" y="61"/>
                  </a:lnTo>
                  <a:lnTo>
                    <a:pt x="18" y="61"/>
                  </a:lnTo>
                  <a:lnTo>
                    <a:pt x="30" y="61"/>
                  </a:lnTo>
                  <a:lnTo>
                    <a:pt x="40" y="59"/>
                  </a:lnTo>
                  <a:lnTo>
                    <a:pt x="43" y="59"/>
                  </a:lnTo>
                  <a:lnTo>
                    <a:pt x="45" y="58"/>
                  </a:lnTo>
                  <a:lnTo>
                    <a:pt x="45" y="58"/>
                  </a:lnTo>
                  <a:lnTo>
                    <a:pt x="43" y="55"/>
                  </a:lnTo>
                  <a:lnTo>
                    <a:pt x="42" y="53"/>
                  </a:lnTo>
                  <a:lnTo>
                    <a:pt x="37" y="52"/>
                  </a:lnTo>
                  <a:lnTo>
                    <a:pt x="37" y="52"/>
                  </a:lnTo>
                  <a:lnTo>
                    <a:pt x="33" y="52"/>
                  </a:lnTo>
                  <a:lnTo>
                    <a:pt x="33" y="50"/>
                  </a:lnTo>
                  <a:lnTo>
                    <a:pt x="36" y="49"/>
                  </a:lnTo>
                  <a:lnTo>
                    <a:pt x="36" y="49"/>
                  </a:lnTo>
                  <a:lnTo>
                    <a:pt x="42" y="45"/>
                  </a:lnTo>
                  <a:lnTo>
                    <a:pt x="42" y="45"/>
                  </a:lnTo>
                  <a:lnTo>
                    <a:pt x="39" y="43"/>
                  </a:lnTo>
                  <a:lnTo>
                    <a:pt x="39" y="43"/>
                  </a:lnTo>
                  <a:lnTo>
                    <a:pt x="33" y="42"/>
                  </a:lnTo>
                  <a:lnTo>
                    <a:pt x="26" y="42"/>
                  </a:lnTo>
                  <a:lnTo>
                    <a:pt x="11" y="43"/>
                  </a:lnTo>
                  <a:lnTo>
                    <a:pt x="11" y="43"/>
                  </a:lnTo>
                  <a:lnTo>
                    <a:pt x="3" y="43"/>
                  </a:lnTo>
                  <a:lnTo>
                    <a:pt x="0" y="42"/>
                  </a:lnTo>
                  <a:lnTo>
                    <a:pt x="0" y="40"/>
                  </a:lnTo>
                  <a:lnTo>
                    <a:pt x="1" y="39"/>
                  </a:lnTo>
                  <a:lnTo>
                    <a:pt x="1" y="39"/>
                  </a:lnTo>
                  <a:lnTo>
                    <a:pt x="4" y="37"/>
                  </a:lnTo>
                  <a:lnTo>
                    <a:pt x="8" y="36"/>
                  </a:lnTo>
                  <a:lnTo>
                    <a:pt x="11" y="36"/>
                  </a:lnTo>
                  <a:lnTo>
                    <a:pt x="13" y="35"/>
                  </a:lnTo>
                  <a:lnTo>
                    <a:pt x="11" y="35"/>
                  </a:lnTo>
                  <a:lnTo>
                    <a:pt x="11" y="35"/>
                  </a:lnTo>
                  <a:lnTo>
                    <a:pt x="10" y="32"/>
                  </a:lnTo>
                  <a:lnTo>
                    <a:pt x="7" y="30"/>
                  </a:lnTo>
                  <a:lnTo>
                    <a:pt x="4" y="30"/>
                  </a:lnTo>
                  <a:lnTo>
                    <a:pt x="7" y="29"/>
                  </a:lnTo>
                  <a:lnTo>
                    <a:pt x="7" y="29"/>
                  </a:lnTo>
                  <a:lnTo>
                    <a:pt x="11" y="29"/>
                  </a:lnTo>
                  <a:lnTo>
                    <a:pt x="16" y="30"/>
                  </a:lnTo>
                  <a:lnTo>
                    <a:pt x="18" y="32"/>
                  </a:lnTo>
                  <a:lnTo>
                    <a:pt x="20" y="32"/>
                  </a:lnTo>
                  <a:lnTo>
                    <a:pt x="20" y="30"/>
                  </a:lnTo>
                  <a:lnTo>
                    <a:pt x="20" y="30"/>
                  </a:lnTo>
                  <a:lnTo>
                    <a:pt x="20" y="27"/>
                  </a:lnTo>
                  <a:lnTo>
                    <a:pt x="17" y="23"/>
                  </a:lnTo>
                  <a:lnTo>
                    <a:pt x="17" y="20"/>
                  </a:lnTo>
                  <a:lnTo>
                    <a:pt x="17" y="17"/>
                  </a:lnTo>
                  <a:lnTo>
                    <a:pt x="17" y="17"/>
                  </a:lnTo>
                  <a:lnTo>
                    <a:pt x="18" y="17"/>
                  </a:lnTo>
                  <a:lnTo>
                    <a:pt x="21" y="19"/>
                  </a:lnTo>
                  <a:lnTo>
                    <a:pt x="27" y="21"/>
                  </a:lnTo>
                  <a:lnTo>
                    <a:pt x="32" y="26"/>
                  </a:lnTo>
                  <a:lnTo>
                    <a:pt x="33" y="26"/>
                  </a:lnTo>
                  <a:lnTo>
                    <a:pt x="33" y="24"/>
                  </a:lnTo>
                  <a:lnTo>
                    <a:pt x="33" y="24"/>
                  </a:lnTo>
                  <a:lnTo>
                    <a:pt x="33" y="23"/>
                  </a:lnTo>
                  <a:lnTo>
                    <a:pt x="32" y="20"/>
                  </a:lnTo>
                  <a:lnTo>
                    <a:pt x="26" y="16"/>
                  </a:lnTo>
                  <a:lnTo>
                    <a:pt x="23" y="11"/>
                  </a:lnTo>
                  <a:lnTo>
                    <a:pt x="23" y="10"/>
                  </a:lnTo>
                  <a:lnTo>
                    <a:pt x="23" y="8"/>
                  </a:lnTo>
                  <a:lnTo>
                    <a:pt x="23" y="8"/>
                  </a:lnTo>
                  <a:lnTo>
                    <a:pt x="29" y="7"/>
                  </a:lnTo>
                  <a:lnTo>
                    <a:pt x="34" y="8"/>
                  </a:lnTo>
                  <a:lnTo>
                    <a:pt x="39" y="11"/>
                  </a:lnTo>
                  <a:lnTo>
                    <a:pt x="42" y="14"/>
                  </a:lnTo>
                  <a:lnTo>
                    <a:pt x="42" y="14"/>
                  </a:lnTo>
                  <a:lnTo>
                    <a:pt x="45" y="20"/>
                  </a:lnTo>
                  <a:lnTo>
                    <a:pt x="46" y="23"/>
                  </a:lnTo>
                  <a:lnTo>
                    <a:pt x="49" y="23"/>
                  </a:lnTo>
                  <a:lnTo>
                    <a:pt x="49" y="23"/>
                  </a:lnTo>
                  <a:lnTo>
                    <a:pt x="50" y="24"/>
                  </a:lnTo>
                  <a:lnTo>
                    <a:pt x="50" y="27"/>
                  </a:lnTo>
                  <a:lnTo>
                    <a:pt x="52" y="36"/>
                  </a:lnTo>
                  <a:lnTo>
                    <a:pt x="52" y="45"/>
                  </a:lnTo>
                  <a:lnTo>
                    <a:pt x="53" y="48"/>
                  </a:lnTo>
                  <a:lnTo>
                    <a:pt x="55" y="48"/>
                  </a:lnTo>
                  <a:lnTo>
                    <a:pt x="55" y="48"/>
                  </a:lnTo>
                  <a:lnTo>
                    <a:pt x="56" y="46"/>
                  </a:lnTo>
                  <a:lnTo>
                    <a:pt x="58" y="40"/>
                  </a:lnTo>
                  <a:lnTo>
                    <a:pt x="59" y="36"/>
                  </a:lnTo>
                  <a:lnTo>
                    <a:pt x="60" y="33"/>
                  </a:lnTo>
                  <a:lnTo>
                    <a:pt x="60" y="33"/>
                  </a:lnTo>
                  <a:lnTo>
                    <a:pt x="62" y="32"/>
                  </a:lnTo>
                  <a:lnTo>
                    <a:pt x="63" y="33"/>
                  </a:lnTo>
                  <a:lnTo>
                    <a:pt x="65" y="33"/>
                  </a:lnTo>
                  <a:lnTo>
                    <a:pt x="66" y="32"/>
                  </a:lnTo>
                  <a:lnTo>
                    <a:pt x="66" y="32"/>
                  </a:lnTo>
                  <a:lnTo>
                    <a:pt x="66" y="29"/>
                  </a:lnTo>
                  <a:lnTo>
                    <a:pt x="66" y="24"/>
                  </a:lnTo>
                  <a:lnTo>
                    <a:pt x="66" y="21"/>
                  </a:lnTo>
                  <a:lnTo>
                    <a:pt x="68" y="20"/>
                  </a:lnTo>
                  <a:lnTo>
                    <a:pt x="68" y="20"/>
                  </a:lnTo>
                  <a:lnTo>
                    <a:pt x="69" y="20"/>
                  </a:lnTo>
                  <a:lnTo>
                    <a:pt x="72" y="23"/>
                  </a:lnTo>
                  <a:lnTo>
                    <a:pt x="75" y="27"/>
                  </a:lnTo>
                  <a:lnTo>
                    <a:pt x="79" y="32"/>
                  </a:lnTo>
                  <a:lnTo>
                    <a:pt x="81" y="32"/>
                  </a:lnTo>
                  <a:lnTo>
                    <a:pt x="82" y="30"/>
                  </a:lnTo>
                  <a:lnTo>
                    <a:pt x="82" y="30"/>
                  </a:lnTo>
                  <a:lnTo>
                    <a:pt x="84" y="26"/>
                  </a:lnTo>
                  <a:lnTo>
                    <a:pt x="84" y="23"/>
                  </a:lnTo>
                  <a:lnTo>
                    <a:pt x="84" y="20"/>
                  </a:lnTo>
                  <a:lnTo>
                    <a:pt x="87" y="17"/>
                  </a:lnTo>
                  <a:lnTo>
                    <a:pt x="87" y="17"/>
                  </a:lnTo>
                  <a:lnTo>
                    <a:pt x="89" y="16"/>
                  </a:lnTo>
                  <a:lnTo>
                    <a:pt x="92" y="17"/>
                  </a:lnTo>
                  <a:lnTo>
                    <a:pt x="94" y="19"/>
                  </a:lnTo>
                  <a:lnTo>
                    <a:pt x="97" y="23"/>
                  </a:lnTo>
                  <a:lnTo>
                    <a:pt x="97" y="23"/>
                  </a:lnTo>
                  <a:lnTo>
                    <a:pt x="100" y="27"/>
                  </a:lnTo>
                  <a:lnTo>
                    <a:pt x="103" y="30"/>
                  </a:lnTo>
                  <a:lnTo>
                    <a:pt x="104" y="32"/>
                  </a:lnTo>
                  <a:lnTo>
                    <a:pt x="105" y="30"/>
                  </a:lnTo>
                  <a:lnTo>
                    <a:pt x="105" y="30"/>
                  </a:lnTo>
                  <a:lnTo>
                    <a:pt x="103" y="21"/>
                  </a:lnTo>
                  <a:lnTo>
                    <a:pt x="103" y="19"/>
                  </a:lnTo>
                  <a:lnTo>
                    <a:pt x="104" y="17"/>
                  </a:lnTo>
                  <a:lnTo>
                    <a:pt x="104" y="17"/>
                  </a:lnTo>
                  <a:lnTo>
                    <a:pt x="107" y="19"/>
                  </a:lnTo>
                  <a:lnTo>
                    <a:pt x="110" y="20"/>
                  </a:lnTo>
                  <a:lnTo>
                    <a:pt x="113" y="21"/>
                  </a:lnTo>
                  <a:lnTo>
                    <a:pt x="116" y="21"/>
                  </a:lnTo>
                  <a:lnTo>
                    <a:pt x="116" y="21"/>
                  </a:lnTo>
                  <a:lnTo>
                    <a:pt x="117" y="19"/>
                  </a:lnTo>
                  <a:lnTo>
                    <a:pt x="117" y="17"/>
                  </a:lnTo>
                  <a:lnTo>
                    <a:pt x="118" y="16"/>
                  </a:lnTo>
                  <a:lnTo>
                    <a:pt x="121" y="14"/>
                  </a:lnTo>
                  <a:lnTo>
                    <a:pt x="121" y="14"/>
                  </a:lnTo>
                  <a:lnTo>
                    <a:pt x="124" y="14"/>
                  </a:lnTo>
                  <a:lnTo>
                    <a:pt x="127" y="13"/>
                  </a:lnTo>
                  <a:lnTo>
                    <a:pt x="129" y="11"/>
                  </a:lnTo>
                  <a:lnTo>
                    <a:pt x="127" y="8"/>
                  </a:lnTo>
                  <a:lnTo>
                    <a:pt x="127" y="8"/>
                  </a:lnTo>
                  <a:lnTo>
                    <a:pt x="127" y="6"/>
                  </a:lnTo>
                  <a:lnTo>
                    <a:pt x="129" y="3"/>
                  </a:lnTo>
                  <a:lnTo>
                    <a:pt x="130" y="0"/>
                  </a:lnTo>
                  <a:lnTo>
                    <a:pt x="133" y="0"/>
                  </a:lnTo>
                  <a:lnTo>
                    <a:pt x="133" y="0"/>
                  </a:lnTo>
                  <a:lnTo>
                    <a:pt x="134" y="0"/>
                  </a:lnTo>
                  <a:lnTo>
                    <a:pt x="136" y="1"/>
                  </a:lnTo>
                  <a:lnTo>
                    <a:pt x="137" y="6"/>
                  </a:lnTo>
                  <a:lnTo>
                    <a:pt x="139" y="10"/>
                  </a:lnTo>
                  <a:lnTo>
                    <a:pt x="140" y="11"/>
                  </a:lnTo>
                  <a:lnTo>
                    <a:pt x="142" y="11"/>
                  </a:lnTo>
                  <a:lnTo>
                    <a:pt x="142" y="11"/>
                  </a:lnTo>
                  <a:lnTo>
                    <a:pt x="143" y="10"/>
                  </a:lnTo>
                  <a:lnTo>
                    <a:pt x="146" y="8"/>
                  </a:lnTo>
                  <a:lnTo>
                    <a:pt x="147" y="6"/>
                  </a:lnTo>
                  <a:lnTo>
                    <a:pt x="150" y="4"/>
                  </a:lnTo>
                  <a:lnTo>
                    <a:pt x="150" y="4"/>
                  </a:lnTo>
                  <a:lnTo>
                    <a:pt x="153" y="4"/>
                  </a:lnTo>
                  <a:lnTo>
                    <a:pt x="155" y="4"/>
                  </a:lnTo>
                  <a:lnTo>
                    <a:pt x="155" y="7"/>
                  </a:lnTo>
                  <a:lnTo>
                    <a:pt x="153" y="10"/>
                  </a:lnTo>
                  <a:lnTo>
                    <a:pt x="153" y="10"/>
                  </a:lnTo>
                  <a:lnTo>
                    <a:pt x="150" y="14"/>
                  </a:lnTo>
                  <a:lnTo>
                    <a:pt x="150" y="16"/>
                  </a:lnTo>
                  <a:lnTo>
                    <a:pt x="153" y="19"/>
                  </a:lnTo>
                  <a:lnTo>
                    <a:pt x="153" y="19"/>
                  </a:lnTo>
                  <a:lnTo>
                    <a:pt x="155" y="20"/>
                  </a:lnTo>
                  <a:lnTo>
                    <a:pt x="155" y="24"/>
                  </a:lnTo>
                  <a:lnTo>
                    <a:pt x="156" y="27"/>
                  </a:lnTo>
                  <a:lnTo>
                    <a:pt x="158" y="29"/>
                  </a:lnTo>
                  <a:lnTo>
                    <a:pt x="159" y="30"/>
                  </a:lnTo>
                  <a:lnTo>
                    <a:pt x="159" y="30"/>
                  </a:lnTo>
                  <a:lnTo>
                    <a:pt x="163" y="32"/>
                  </a:lnTo>
                  <a:lnTo>
                    <a:pt x="168" y="35"/>
                  </a:lnTo>
                  <a:lnTo>
                    <a:pt x="169" y="37"/>
                  </a:lnTo>
                  <a:lnTo>
                    <a:pt x="171" y="42"/>
                  </a:lnTo>
                  <a:lnTo>
                    <a:pt x="171" y="42"/>
                  </a:lnTo>
                  <a:lnTo>
                    <a:pt x="172" y="46"/>
                  </a:lnTo>
                  <a:lnTo>
                    <a:pt x="173" y="50"/>
                  </a:lnTo>
                  <a:lnTo>
                    <a:pt x="175" y="53"/>
                  </a:lnTo>
                  <a:lnTo>
                    <a:pt x="175" y="55"/>
                  </a:lnTo>
                  <a:lnTo>
                    <a:pt x="173" y="56"/>
                  </a:lnTo>
                  <a:lnTo>
                    <a:pt x="173" y="56"/>
                  </a:lnTo>
                  <a:lnTo>
                    <a:pt x="168" y="58"/>
                  </a:lnTo>
                  <a:lnTo>
                    <a:pt x="163" y="62"/>
                  </a:lnTo>
                  <a:lnTo>
                    <a:pt x="160" y="65"/>
                  </a:lnTo>
                  <a:lnTo>
                    <a:pt x="159" y="69"/>
                  </a:lnTo>
                  <a:lnTo>
                    <a:pt x="159" y="69"/>
                  </a:lnTo>
                  <a:lnTo>
                    <a:pt x="156" y="79"/>
                  </a:lnTo>
                  <a:lnTo>
                    <a:pt x="153" y="82"/>
                  </a:lnTo>
                  <a:lnTo>
                    <a:pt x="150" y="85"/>
                  </a:lnTo>
                  <a:lnTo>
                    <a:pt x="150" y="85"/>
                  </a:lnTo>
                  <a:lnTo>
                    <a:pt x="142" y="85"/>
                  </a:lnTo>
                  <a:lnTo>
                    <a:pt x="137" y="87"/>
                  </a:lnTo>
                  <a:lnTo>
                    <a:pt x="133" y="90"/>
                  </a:lnTo>
                  <a:lnTo>
                    <a:pt x="133" y="90"/>
                  </a:lnTo>
                  <a:lnTo>
                    <a:pt x="127" y="97"/>
                  </a:lnTo>
                  <a:lnTo>
                    <a:pt x="123" y="101"/>
                  </a:lnTo>
                  <a:lnTo>
                    <a:pt x="118" y="103"/>
                  </a:lnTo>
                  <a:lnTo>
                    <a:pt x="118" y="103"/>
                  </a:lnTo>
                  <a:lnTo>
                    <a:pt x="110" y="103"/>
                  </a:lnTo>
                  <a:lnTo>
                    <a:pt x="105" y="104"/>
                  </a:lnTo>
                  <a:lnTo>
                    <a:pt x="103" y="105"/>
                  </a:lnTo>
                  <a:lnTo>
                    <a:pt x="103" y="105"/>
                  </a:lnTo>
                  <a:lnTo>
                    <a:pt x="97" y="111"/>
                  </a:lnTo>
                  <a:lnTo>
                    <a:pt x="94" y="114"/>
                  </a:lnTo>
                  <a:lnTo>
                    <a:pt x="91" y="116"/>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36" name="Freeform 817"/>
            <p:cNvSpPr>
              <a:spLocks/>
            </p:cNvSpPr>
            <p:nvPr/>
          </p:nvSpPr>
          <p:spPr bwMode="auto">
            <a:xfrm>
              <a:off x="3686175" y="2491217"/>
              <a:ext cx="277813" cy="184150"/>
            </a:xfrm>
            <a:custGeom>
              <a:avLst/>
              <a:gdLst>
                <a:gd name="T0" fmla="*/ 74 w 175"/>
                <a:gd name="T1" fmla="*/ 114 h 116"/>
                <a:gd name="T2" fmla="*/ 58 w 175"/>
                <a:gd name="T3" fmla="*/ 107 h 116"/>
                <a:gd name="T4" fmla="*/ 27 w 175"/>
                <a:gd name="T5" fmla="*/ 100 h 116"/>
                <a:gd name="T6" fmla="*/ 26 w 175"/>
                <a:gd name="T7" fmla="*/ 95 h 116"/>
                <a:gd name="T8" fmla="*/ 43 w 175"/>
                <a:gd name="T9" fmla="*/ 91 h 116"/>
                <a:gd name="T10" fmla="*/ 42 w 175"/>
                <a:gd name="T11" fmla="*/ 78 h 116"/>
                <a:gd name="T12" fmla="*/ 36 w 175"/>
                <a:gd name="T13" fmla="*/ 75 h 116"/>
                <a:gd name="T14" fmla="*/ 27 w 175"/>
                <a:gd name="T15" fmla="*/ 66 h 116"/>
                <a:gd name="T16" fmla="*/ 10 w 175"/>
                <a:gd name="T17" fmla="*/ 62 h 116"/>
                <a:gd name="T18" fmla="*/ 30 w 175"/>
                <a:gd name="T19" fmla="*/ 61 h 116"/>
                <a:gd name="T20" fmla="*/ 45 w 175"/>
                <a:gd name="T21" fmla="*/ 58 h 116"/>
                <a:gd name="T22" fmla="*/ 37 w 175"/>
                <a:gd name="T23" fmla="*/ 52 h 116"/>
                <a:gd name="T24" fmla="*/ 36 w 175"/>
                <a:gd name="T25" fmla="*/ 49 h 116"/>
                <a:gd name="T26" fmla="*/ 39 w 175"/>
                <a:gd name="T27" fmla="*/ 43 h 116"/>
                <a:gd name="T28" fmla="*/ 11 w 175"/>
                <a:gd name="T29" fmla="*/ 43 h 116"/>
                <a:gd name="T30" fmla="*/ 1 w 175"/>
                <a:gd name="T31" fmla="*/ 39 h 116"/>
                <a:gd name="T32" fmla="*/ 11 w 175"/>
                <a:gd name="T33" fmla="*/ 36 h 116"/>
                <a:gd name="T34" fmla="*/ 10 w 175"/>
                <a:gd name="T35" fmla="*/ 32 h 116"/>
                <a:gd name="T36" fmla="*/ 7 w 175"/>
                <a:gd name="T37" fmla="*/ 29 h 116"/>
                <a:gd name="T38" fmla="*/ 20 w 175"/>
                <a:gd name="T39" fmla="*/ 32 h 116"/>
                <a:gd name="T40" fmla="*/ 17 w 175"/>
                <a:gd name="T41" fmla="*/ 23 h 116"/>
                <a:gd name="T42" fmla="*/ 18 w 175"/>
                <a:gd name="T43" fmla="*/ 17 h 116"/>
                <a:gd name="T44" fmla="*/ 33 w 175"/>
                <a:gd name="T45" fmla="*/ 26 h 116"/>
                <a:gd name="T46" fmla="*/ 32 w 175"/>
                <a:gd name="T47" fmla="*/ 20 h 116"/>
                <a:gd name="T48" fmla="*/ 23 w 175"/>
                <a:gd name="T49" fmla="*/ 8 h 116"/>
                <a:gd name="T50" fmla="*/ 39 w 175"/>
                <a:gd name="T51" fmla="*/ 11 h 116"/>
                <a:gd name="T52" fmla="*/ 46 w 175"/>
                <a:gd name="T53" fmla="*/ 23 h 116"/>
                <a:gd name="T54" fmla="*/ 50 w 175"/>
                <a:gd name="T55" fmla="*/ 27 h 116"/>
                <a:gd name="T56" fmla="*/ 55 w 175"/>
                <a:gd name="T57" fmla="*/ 48 h 116"/>
                <a:gd name="T58" fmla="*/ 59 w 175"/>
                <a:gd name="T59" fmla="*/ 36 h 116"/>
                <a:gd name="T60" fmla="*/ 63 w 175"/>
                <a:gd name="T61" fmla="*/ 33 h 116"/>
                <a:gd name="T62" fmla="*/ 66 w 175"/>
                <a:gd name="T63" fmla="*/ 29 h 116"/>
                <a:gd name="T64" fmla="*/ 68 w 175"/>
                <a:gd name="T65" fmla="*/ 20 h 116"/>
                <a:gd name="T66" fmla="*/ 79 w 175"/>
                <a:gd name="T67" fmla="*/ 32 h 116"/>
                <a:gd name="T68" fmla="*/ 84 w 175"/>
                <a:gd name="T69" fmla="*/ 26 h 116"/>
                <a:gd name="T70" fmla="*/ 87 w 175"/>
                <a:gd name="T71" fmla="*/ 17 h 116"/>
                <a:gd name="T72" fmla="*/ 97 w 175"/>
                <a:gd name="T73" fmla="*/ 23 h 116"/>
                <a:gd name="T74" fmla="*/ 104 w 175"/>
                <a:gd name="T75" fmla="*/ 32 h 116"/>
                <a:gd name="T76" fmla="*/ 103 w 175"/>
                <a:gd name="T77" fmla="*/ 19 h 116"/>
                <a:gd name="T78" fmla="*/ 110 w 175"/>
                <a:gd name="T79" fmla="*/ 20 h 116"/>
                <a:gd name="T80" fmla="*/ 117 w 175"/>
                <a:gd name="T81" fmla="*/ 19 h 116"/>
                <a:gd name="T82" fmla="*/ 121 w 175"/>
                <a:gd name="T83" fmla="*/ 14 h 116"/>
                <a:gd name="T84" fmla="*/ 127 w 175"/>
                <a:gd name="T85" fmla="*/ 8 h 116"/>
                <a:gd name="T86" fmla="*/ 130 w 175"/>
                <a:gd name="T87" fmla="*/ 0 h 116"/>
                <a:gd name="T88" fmla="*/ 136 w 175"/>
                <a:gd name="T89" fmla="*/ 1 h 116"/>
                <a:gd name="T90" fmla="*/ 142 w 175"/>
                <a:gd name="T91" fmla="*/ 11 h 116"/>
                <a:gd name="T92" fmla="*/ 147 w 175"/>
                <a:gd name="T93" fmla="*/ 6 h 116"/>
                <a:gd name="T94" fmla="*/ 155 w 175"/>
                <a:gd name="T95" fmla="*/ 4 h 116"/>
                <a:gd name="T96" fmla="*/ 150 w 175"/>
                <a:gd name="T97" fmla="*/ 14 h 116"/>
                <a:gd name="T98" fmla="*/ 155 w 175"/>
                <a:gd name="T99" fmla="*/ 20 h 116"/>
                <a:gd name="T100" fmla="*/ 159 w 175"/>
                <a:gd name="T101" fmla="*/ 30 h 116"/>
                <a:gd name="T102" fmla="*/ 169 w 175"/>
                <a:gd name="T103" fmla="*/ 37 h 116"/>
                <a:gd name="T104" fmla="*/ 173 w 175"/>
                <a:gd name="T105" fmla="*/ 50 h 116"/>
                <a:gd name="T106" fmla="*/ 173 w 175"/>
                <a:gd name="T107" fmla="*/ 56 h 116"/>
                <a:gd name="T108" fmla="*/ 159 w 175"/>
                <a:gd name="T109" fmla="*/ 69 h 116"/>
                <a:gd name="T110" fmla="*/ 150 w 175"/>
                <a:gd name="T111" fmla="*/ 85 h 116"/>
                <a:gd name="T112" fmla="*/ 133 w 175"/>
                <a:gd name="T113" fmla="*/ 90 h 116"/>
                <a:gd name="T114" fmla="*/ 118 w 175"/>
                <a:gd name="T115" fmla="*/ 103 h 116"/>
                <a:gd name="T116" fmla="*/ 103 w 175"/>
                <a:gd name="T117" fmla="*/ 105 h 116"/>
                <a:gd name="T118" fmla="*/ 91 w 175"/>
                <a:gd name="T119"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5" h="116">
                  <a:moveTo>
                    <a:pt x="91" y="116"/>
                  </a:moveTo>
                  <a:lnTo>
                    <a:pt x="91" y="116"/>
                  </a:lnTo>
                  <a:lnTo>
                    <a:pt x="82" y="116"/>
                  </a:lnTo>
                  <a:lnTo>
                    <a:pt x="74" y="114"/>
                  </a:lnTo>
                  <a:lnTo>
                    <a:pt x="66" y="113"/>
                  </a:lnTo>
                  <a:lnTo>
                    <a:pt x="62" y="110"/>
                  </a:lnTo>
                  <a:lnTo>
                    <a:pt x="62" y="110"/>
                  </a:lnTo>
                  <a:lnTo>
                    <a:pt x="58" y="107"/>
                  </a:lnTo>
                  <a:lnTo>
                    <a:pt x="50" y="105"/>
                  </a:lnTo>
                  <a:lnTo>
                    <a:pt x="39" y="103"/>
                  </a:lnTo>
                  <a:lnTo>
                    <a:pt x="39" y="103"/>
                  </a:lnTo>
                  <a:lnTo>
                    <a:pt x="27" y="100"/>
                  </a:lnTo>
                  <a:lnTo>
                    <a:pt x="24" y="97"/>
                  </a:lnTo>
                  <a:lnTo>
                    <a:pt x="24" y="95"/>
                  </a:lnTo>
                  <a:lnTo>
                    <a:pt x="26" y="95"/>
                  </a:lnTo>
                  <a:lnTo>
                    <a:pt x="26" y="95"/>
                  </a:lnTo>
                  <a:lnTo>
                    <a:pt x="32" y="94"/>
                  </a:lnTo>
                  <a:lnTo>
                    <a:pt x="39" y="94"/>
                  </a:lnTo>
                  <a:lnTo>
                    <a:pt x="42" y="92"/>
                  </a:lnTo>
                  <a:lnTo>
                    <a:pt x="43" y="91"/>
                  </a:lnTo>
                  <a:lnTo>
                    <a:pt x="45" y="90"/>
                  </a:lnTo>
                  <a:lnTo>
                    <a:pt x="43" y="87"/>
                  </a:lnTo>
                  <a:lnTo>
                    <a:pt x="43" y="87"/>
                  </a:lnTo>
                  <a:lnTo>
                    <a:pt x="42" y="78"/>
                  </a:lnTo>
                  <a:lnTo>
                    <a:pt x="40" y="77"/>
                  </a:lnTo>
                  <a:lnTo>
                    <a:pt x="39" y="77"/>
                  </a:lnTo>
                  <a:lnTo>
                    <a:pt x="39" y="77"/>
                  </a:lnTo>
                  <a:lnTo>
                    <a:pt x="36" y="75"/>
                  </a:lnTo>
                  <a:lnTo>
                    <a:pt x="33" y="72"/>
                  </a:lnTo>
                  <a:lnTo>
                    <a:pt x="30" y="68"/>
                  </a:lnTo>
                  <a:lnTo>
                    <a:pt x="27" y="66"/>
                  </a:lnTo>
                  <a:lnTo>
                    <a:pt x="27" y="66"/>
                  </a:lnTo>
                  <a:lnTo>
                    <a:pt x="14" y="66"/>
                  </a:lnTo>
                  <a:lnTo>
                    <a:pt x="10" y="65"/>
                  </a:lnTo>
                  <a:lnTo>
                    <a:pt x="8" y="65"/>
                  </a:lnTo>
                  <a:lnTo>
                    <a:pt x="10" y="62"/>
                  </a:lnTo>
                  <a:lnTo>
                    <a:pt x="10" y="62"/>
                  </a:lnTo>
                  <a:lnTo>
                    <a:pt x="13" y="61"/>
                  </a:lnTo>
                  <a:lnTo>
                    <a:pt x="18" y="61"/>
                  </a:lnTo>
                  <a:lnTo>
                    <a:pt x="30" y="61"/>
                  </a:lnTo>
                  <a:lnTo>
                    <a:pt x="40" y="59"/>
                  </a:lnTo>
                  <a:lnTo>
                    <a:pt x="43" y="59"/>
                  </a:lnTo>
                  <a:lnTo>
                    <a:pt x="45" y="58"/>
                  </a:lnTo>
                  <a:lnTo>
                    <a:pt x="45" y="58"/>
                  </a:lnTo>
                  <a:lnTo>
                    <a:pt x="43" y="55"/>
                  </a:lnTo>
                  <a:lnTo>
                    <a:pt x="42" y="53"/>
                  </a:lnTo>
                  <a:lnTo>
                    <a:pt x="37" y="52"/>
                  </a:lnTo>
                  <a:lnTo>
                    <a:pt x="37" y="52"/>
                  </a:lnTo>
                  <a:lnTo>
                    <a:pt x="33" y="52"/>
                  </a:lnTo>
                  <a:lnTo>
                    <a:pt x="33" y="50"/>
                  </a:lnTo>
                  <a:lnTo>
                    <a:pt x="36" y="49"/>
                  </a:lnTo>
                  <a:lnTo>
                    <a:pt x="36" y="49"/>
                  </a:lnTo>
                  <a:lnTo>
                    <a:pt x="42" y="45"/>
                  </a:lnTo>
                  <a:lnTo>
                    <a:pt x="42" y="45"/>
                  </a:lnTo>
                  <a:lnTo>
                    <a:pt x="39" y="43"/>
                  </a:lnTo>
                  <a:lnTo>
                    <a:pt x="39" y="43"/>
                  </a:lnTo>
                  <a:lnTo>
                    <a:pt x="33" y="42"/>
                  </a:lnTo>
                  <a:lnTo>
                    <a:pt x="26" y="42"/>
                  </a:lnTo>
                  <a:lnTo>
                    <a:pt x="11" y="43"/>
                  </a:lnTo>
                  <a:lnTo>
                    <a:pt x="11" y="43"/>
                  </a:lnTo>
                  <a:lnTo>
                    <a:pt x="3" y="43"/>
                  </a:lnTo>
                  <a:lnTo>
                    <a:pt x="0" y="42"/>
                  </a:lnTo>
                  <a:lnTo>
                    <a:pt x="0" y="40"/>
                  </a:lnTo>
                  <a:lnTo>
                    <a:pt x="1" y="39"/>
                  </a:lnTo>
                  <a:lnTo>
                    <a:pt x="1" y="39"/>
                  </a:lnTo>
                  <a:lnTo>
                    <a:pt x="4" y="37"/>
                  </a:lnTo>
                  <a:lnTo>
                    <a:pt x="8" y="36"/>
                  </a:lnTo>
                  <a:lnTo>
                    <a:pt x="11" y="36"/>
                  </a:lnTo>
                  <a:lnTo>
                    <a:pt x="13" y="35"/>
                  </a:lnTo>
                  <a:lnTo>
                    <a:pt x="11" y="35"/>
                  </a:lnTo>
                  <a:lnTo>
                    <a:pt x="11" y="35"/>
                  </a:lnTo>
                  <a:lnTo>
                    <a:pt x="10" y="32"/>
                  </a:lnTo>
                  <a:lnTo>
                    <a:pt x="7" y="30"/>
                  </a:lnTo>
                  <a:lnTo>
                    <a:pt x="4" y="30"/>
                  </a:lnTo>
                  <a:lnTo>
                    <a:pt x="7" y="29"/>
                  </a:lnTo>
                  <a:lnTo>
                    <a:pt x="7" y="29"/>
                  </a:lnTo>
                  <a:lnTo>
                    <a:pt x="11" y="29"/>
                  </a:lnTo>
                  <a:lnTo>
                    <a:pt x="16" y="30"/>
                  </a:lnTo>
                  <a:lnTo>
                    <a:pt x="18" y="32"/>
                  </a:lnTo>
                  <a:lnTo>
                    <a:pt x="20" y="32"/>
                  </a:lnTo>
                  <a:lnTo>
                    <a:pt x="20" y="30"/>
                  </a:lnTo>
                  <a:lnTo>
                    <a:pt x="20" y="30"/>
                  </a:lnTo>
                  <a:lnTo>
                    <a:pt x="20" y="27"/>
                  </a:lnTo>
                  <a:lnTo>
                    <a:pt x="17" y="23"/>
                  </a:lnTo>
                  <a:lnTo>
                    <a:pt x="17" y="20"/>
                  </a:lnTo>
                  <a:lnTo>
                    <a:pt x="17" y="17"/>
                  </a:lnTo>
                  <a:lnTo>
                    <a:pt x="17" y="17"/>
                  </a:lnTo>
                  <a:lnTo>
                    <a:pt x="18" y="17"/>
                  </a:lnTo>
                  <a:lnTo>
                    <a:pt x="21" y="19"/>
                  </a:lnTo>
                  <a:lnTo>
                    <a:pt x="27" y="21"/>
                  </a:lnTo>
                  <a:lnTo>
                    <a:pt x="32" y="26"/>
                  </a:lnTo>
                  <a:lnTo>
                    <a:pt x="33" y="26"/>
                  </a:lnTo>
                  <a:lnTo>
                    <a:pt x="33" y="24"/>
                  </a:lnTo>
                  <a:lnTo>
                    <a:pt x="33" y="24"/>
                  </a:lnTo>
                  <a:lnTo>
                    <a:pt x="33" y="23"/>
                  </a:lnTo>
                  <a:lnTo>
                    <a:pt x="32" y="20"/>
                  </a:lnTo>
                  <a:lnTo>
                    <a:pt x="26" y="16"/>
                  </a:lnTo>
                  <a:lnTo>
                    <a:pt x="23" y="11"/>
                  </a:lnTo>
                  <a:lnTo>
                    <a:pt x="23" y="10"/>
                  </a:lnTo>
                  <a:lnTo>
                    <a:pt x="23" y="8"/>
                  </a:lnTo>
                  <a:lnTo>
                    <a:pt x="23" y="8"/>
                  </a:lnTo>
                  <a:lnTo>
                    <a:pt x="29" y="7"/>
                  </a:lnTo>
                  <a:lnTo>
                    <a:pt x="34" y="8"/>
                  </a:lnTo>
                  <a:lnTo>
                    <a:pt x="39" y="11"/>
                  </a:lnTo>
                  <a:lnTo>
                    <a:pt x="42" y="14"/>
                  </a:lnTo>
                  <a:lnTo>
                    <a:pt x="42" y="14"/>
                  </a:lnTo>
                  <a:lnTo>
                    <a:pt x="45" y="20"/>
                  </a:lnTo>
                  <a:lnTo>
                    <a:pt x="46" y="23"/>
                  </a:lnTo>
                  <a:lnTo>
                    <a:pt x="49" y="23"/>
                  </a:lnTo>
                  <a:lnTo>
                    <a:pt x="49" y="23"/>
                  </a:lnTo>
                  <a:lnTo>
                    <a:pt x="50" y="24"/>
                  </a:lnTo>
                  <a:lnTo>
                    <a:pt x="50" y="27"/>
                  </a:lnTo>
                  <a:lnTo>
                    <a:pt x="52" y="36"/>
                  </a:lnTo>
                  <a:lnTo>
                    <a:pt x="52" y="45"/>
                  </a:lnTo>
                  <a:lnTo>
                    <a:pt x="53" y="48"/>
                  </a:lnTo>
                  <a:lnTo>
                    <a:pt x="55" y="48"/>
                  </a:lnTo>
                  <a:lnTo>
                    <a:pt x="55" y="48"/>
                  </a:lnTo>
                  <a:lnTo>
                    <a:pt x="56" y="46"/>
                  </a:lnTo>
                  <a:lnTo>
                    <a:pt x="58" y="40"/>
                  </a:lnTo>
                  <a:lnTo>
                    <a:pt x="59" y="36"/>
                  </a:lnTo>
                  <a:lnTo>
                    <a:pt x="60" y="33"/>
                  </a:lnTo>
                  <a:lnTo>
                    <a:pt x="60" y="33"/>
                  </a:lnTo>
                  <a:lnTo>
                    <a:pt x="62" y="32"/>
                  </a:lnTo>
                  <a:lnTo>
                    <a:pt x="63" y="33"/>
                  </a:lnTo>
                  <a:lnTo>
                    <a:pt x="65" y="33"/>
                  </a:lnTo>
                  <a:lnTo>
                    <a:pt x="66" y="32"/>
                  </a:lnTo>
                  <a:lnTo>
                    <a:pt x="66" y="32"/>
                  </a:lnTo>
                  <a:lnTo>
                    <a:pt x="66" y="29"/>
                  </a:lnTo>
                  <a:lnTo>
                    <a:pt x="66" y="24"/>
                  </a:lnTo>
                  <a:lnTo>
                    <a:pt x="66" y="21"/>
                  </a:lnTo>
                  <a:lnTo>
                    <a:pt x="68" y="20"/>
                  </a:lnTo>
                  <a:lnTo>
                    <a:pt x="68" y="20"/>
                  </a:lnTo>
                  <a:lnTo>
                    <a:pt x="69" y="20"/>
                  </a:lnTo>
                  <a:lnTo>
                    <a:pt x="72" y="23"/>
                  </a:lnTo>
                  <a:lnTo>
                    <a:pt x="75" y="27"/>
                  </a:lnTo>
                  <a:lnTo>
                    <a:pt x="79" y="32"/>
                  </a:lnTo>
                  <a:lnTo>
                    <a:pt x="81" y="32"/>
                  </a:lnTo>
                  <a:lnTo>
                    <a:pt x="82" y="30"/>
                  </a:lnTo>
                  <a:lnTo>
                    <a:pt x="82" y="30"/>
                  </a:lnTo>
                  <a:lnTo>
                    <a:pt x="84" y="26"/>
                  </a:lnTo>
                  <a:lnTo>
                    <a:pt x="84" y="23"/>
                  </a:lnTo>
                  <a:lnTo>
                    <a:pt x="84" y="20"/>
                  </a:lnTo>
                  <a:lnTo>
                    <a:pt x="87" y="17"/>
                  </a:lnTo>
                  <a:lnTo>
                    <a:pt x="87" y="17"/>
                  </a:lnTo>
                  <a:lnTo>
                    <a:pt x="89" y="16"/>
                  </a:lnTo>
                  <a:lnTo>
                    <a:pt x="92" y="17"/>
                  </a:lnTo>
                  <a:lnTo>
                    <a:pt x="94" y="19"/>
                  </a:lnTo>
                  <a:lnTo>
                    <a:pt x="97" y="23"/>
                  </a:lnTo>
                  <a:lnTo>
                    <a:pt x="97" y="23"/>
                  </a:lnTo>
                  <a:lnTo>
                    <a:pt x="100" y="27"/>
                  </a:lnTo>
                  <a:lnTo>
                    <a:pt x="103" y="30"/>
                  </a:lnTo>
                  <a:lnTo>
                    <a:pt x="104" y="32"/>
                  </a:lnTo>
                  <a:lnTo>
                    <a:pt x="105" y="30"/>
                  </a:lnTo>
                  <a:lnTo>
                    <a:pt x="105" y="30"/>
                  </a:lnTo>
                  <a:lnTo>
                    <a:pt x="103" y="21"/>
                  </a:lnTo>
                  <a:lnTo>
                    <a:pt x="103" y="19"/>
                  </a:lnTo>
                  <a:lnTo>
                    <a:pt x="104" y="17"/>
                  </a:lnTo>
                  <a:lnTo>
                    <a:pt x="104" y="17"/>
                  </a:lnTo>
                  <a:lnTo>
                    <a:pt x="107" y="19"/>
                  </a:lnTo>
                  <a:lnTo>
                    <a:pt x="110" y="20"/>
                  </a:lnTo>
                  <a:lnTo>
                    <a:pt x="113" y="21"/>
                  </a:lnTo>
                  <a:lnTo>
                    <a:pt x="116" y="21"/>
                  </a:lnTo>
                  <a:lnTo>
                    <a:pt x="116" y="21"/>
                  </a:lnTo>
                  <a:lnTo>
                    <a:pt x="117" y="19"/>
                  </a:lnTo>
                  <a:lnTo>
                    <a:pt x="117" y="17"/>
                  </a:lnTo>
                  <a:lnTo>
                    <a:pt x="118" y="16"/>
                  </a:lnTo>
                  <a:lnTo>
                    <a:pt x="121" y="14"/>
                  </a:lnTo>
                  <a:lnTo>
                    <a:pt x="121" y="14"/>
                  </a:lnTo>
                  <a:lnTo>
                    <a:pt x="124" y="14"/>
                  </a:lnTo>
                  <a:lnTo>
                    <a:pt x="127" y="13"/>
                  </a:lnTo>
                  <a:lnTo>
                    <a:pt x="129" y="11"/>
                  </a:lnTo>
                  <a:lnTo>
                    <a:pt x="127" y="8"/>
                  </a:lnTo>
                  <a:lnTo>
                    <a:pt x="127" y="8"/>
                  </a:lnTo>
                  <a:lnTo>
                    <a:pt x="127" y="6"/>
                  </a:lnTo>
                  <a:lnTo>
                    <a:pt x="129" y="3"/>
                  </a:lnTo>
                  <a:lnTo>
                    <a:pt x="130" y="0"/>
                  </a:lnTo>
                  <a:lnTo>
                    <a:pt x="133" y="0"/>
                  </a:lnTo>
                  <a:lnTo>
                    <a:pt x="133" y="0"/>
                  </a:lnTo>
                  <a:lnTo>
                    <a:pt x="134" y="0"/>
                  </a:lnTo>
                  <a:lnTo>
                    <a:pt x="136" y="1"/>
                  </a:lnTo>
                  <a:lnTo>
                    <a:pt x="137" y="6"/>
                  </a:lnTo>
                  <a:lnTo>
                    <a:pt x="139" y="10"/>
                  </a:lnTo>
                  <a:lnTo>
                    <a:pt x="140" y="11"/>
                  </a:lnTo>
                  <a:lnTo>
                    <a:pt x="142" y="11"/>
                  </a:lnTo>
                  <a:lnTo>
                    <a:pt x="142" y="11"/>
                  </a:lnTo>
                  <a:lnTo>
                    <a:pt x="143" y="10"/>
                  </a:lnTo>
                  <a:lnTo>
                    <a:pt x="146" y="8"/>
                  </a:lnTo>
                  <a:lnTo>
                    <a:pt x="147" y="6"/>
                  </a:lnTo>
                  <a:lnTo>
                    <a:pt x="150" y="4"/>
                  </a:lnTo>
                  <a:lnTo>
                    <a:pt x="150" y="4"/>
                  </a:lnTo>
                  <a:lnTo>
                    <a:pt x="153" y="4"/>
                  </a:lnTo>
                  <a:lnTo>
                    <a:pt x="155" y="4"/>
                  </a:lnTo>
                  <a:lnTo>
                    <a:pt x="155" y="7"/>
                  </a:lnTo>
                  <a:lnTo>
                    <a:pt x="153" y="10"/>
                  </a:lnTo>
                  <a:lnTo>
                    <a:pt x="153" y="10"/>
                  </a:lnTo>
                  <a:lnTo>
                    <a:pt x="150" y="14"/>
                  </a:lnTo>
                  <a:lnTo>
                    <a:pt x="150" y="16"/>
                  </a:lnTo>
                  <a:lnTo>
                    <a:pt x="153" y="19"/>
                  </a:lnTo>
                  <a:lnTo>
                    <a:pt x="153" y="19"/>
                  </a:lnTo>
                  <a:lnTo>
                    <a:pt x="155" y="20"/>
                  </a:lnTo>
                  <a:lnTo>
                    <a:pt x="155" y="24"/>
                  </a:lnTo>
                  <a:lnTo>
                    <a:pt x="156" y="27"/>
                  </a:lnTo>
                  <a:lnTo>
                    <a:pt x="158" y="29"/>
                  </a:lnTo>
                  <a:lnTo>
                    <a:pt x="159" y="30"/>
                  </a:lnTo>
                  <a:lnTo>
                    <a:pt x="159" y="30"/>
                  </a:lnTo>
                  <a:lnTo>
                    <a:pt x="163" y="32"/>
                  </a:lnTo>
                  <a:lnTo>
                    <a:pt x="168" y="35"/>
                  </a:lnTo>
                  <a:lnTo>
                    <a:pt x="169" y="37"/>
                  </a:lnTo>
                  <a:lnTo>
                    <a:pt x="171" y="42"/>
                  </a:lnTo>
                  <a:lnTo>
                    <a:pt x="171" y="42"/>
                  </a:lnTo>
                  <a:lnTo>
                    <a:pt x="172" y="46"/>
                  </a:lnTo>
                  <a:lnTo>
                    <a:pt x="173" y="50"/>
                  </a:lnTo>
                  <a:lnTo>
                    <a:pt x="175" y="53"/>
                  </a:lnTo>
                  <a:lnTo>
                    <a:pt x="175" y="55"/>
                  </a:lnTo>
                  <a:lnTo>
                    <a:pt x="173" y="56"/>
                  </a:lnTo>
                  <a:lnTo>
                    <a:pt x="173" y="56"/>
                  </a:lnTo>
                  <a:lnTo>
                    <a:pt x="168" y="58"/>
                  </a:lnTo>
                  <a:lnTo>
                    <a:pt x="163" y="62"/>
                  </a:lnTo>
                  <a:lnTo>
                    <a:pt x="160" y="65"/>
                  </a:lnTo>
                  <a:lnTo>
                    <a:pt x="159" y="69"/>
                  </a:lnTo>
                  <a:lnTo>
                    <a:pt x="159" y="69"/>
                  </a:lnTo>
                  <a:lnTo>
                    <a:pt x="156" y="79"/>
                  </a:lnTo>
                  <a:lnTo>
                    <a:pt x="153" y="82"/>
                  </a:lnTo>
                  <a:lnTo>
                    <a:pt x="150" y="85"/>
                  </a:lnTo>
                  <a:lnTo>
                    <a:pt x="150" y="85"/>
                  </a:lnTo>
                  <a:lnTo>
                    <a:pt x="142" y="85"/>
                  </a:lnTo>
                  <a:lnTo>
                    <a:pt x="137" y="87"/>
                  </a:lnTo>
                  <a:lnTo>
                    <a:pt x="133" y="90"/>
                  </a:lnTo>
                  <a:lnTo>
                    <a:pt x="133" y="90"/>
                  </a:lnTo>
                  <a:lnTo>
                    <a:pt x="127" y="97"/>
                  </a:lnTo>
                  <a:lnTo>
                    <a:pt x="123" y="101"/>
                  </a:lnTo>
                  <a:lnTo>
                    <a:pt x="118" y="103"/>
                  </a:lnTo>
                  <a:lnTo>
                    <a:pt x="118" y="103"/>
                  </a:lnTo>
                  <a:lnTo>
                    <a:pt x="110" y="103"/>
                  </a:lnTo>
                  <a:lnTo>
                    <a:pt x="105" y="104"/>
                  </a:lnTo>
                  <a:lnTo>
                    <a:pt x="103" y="105"/>
                  </a:lnTo>
                  <a:lnTo>
                    <a:pt x="103" y="105"/>
                  </a:lnTo>
                  <a:lnTo>
                    <a:pt x="97" y="111"/>
                  </a:lnTo>
                  <a:lnTo>
                    <a:pt x="94" y="114"/>
                  </a:lnTo>
                  <a:lnTo>
                    <a:pt x="91" y="1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37" name="Freeform 818"/>
            <p:cNvSpPr>
              <a:spLocks/>
            </p:cNvSpPr>
            <p:nvPr/>
          </p:nvSpPr>
          <p:spPr bwMode="auto">
            <a:xfrm>
              <a:off x="4138613" y="2921429"/>
              <a:ext cx="219075" cy="376238"/>
            </a:xfrm>
            <a:custGeom>
              <a:avLst/>
              <a:gdLst>
                <a:gd name="T0" fmla="*/ 58 w 138"/>
                <a:gd name="T1" fmla="*/ 29 h 237"/>
                <a:gd name="T2" fmla="*/ 39 w 138"/>
                <a:gd name="T3" fmla="*/ 36 h 237"/>
                <a:gd name="T4" fmla="*/ 42 w 138"/>
                <a:gd name="T5" fmla="*/ 26 h 237"/>
                <a:gd name="T6" fmla="*/ 55 w 138"/>
                <a:gd name="T7" fmla="*/ 7 h 237"/>
                <a:gd name="T8" fmla="*/ 55 w 138"/>
                <a:gd name="T9" fmla="*/ 0 h 237"/>
                <a:gd name="T10" fmla="*/ 30 w 138"/>
                <a:gd name="T11" fmla="*/ 1 h 237"/>
                <a:gd name="T12" fmla="*/ 19 w 138"/>
                <a:gd name="T13" fmla="*/ 8 h 237"/>
                <a:gd name="T14" fmla="*/ 17 w 138"/>
                <a:gd name="T15" fmla="*/ 16 h 237"/>
                <a:gd name="T16" fmla="*/ 22 w 138"/>
                <a:gd name="T17" fmla="*/ 23 h 237"/>
                <a:gd name="T18" fmla="*/ 13 w 138"/>
                <a:gd name="T19" fmla="*/ 33 h 237"/>
                <a:gd name="T20" fmla="*/ 13 w 138"/>
                <a:gd name="T21" fmla="*/ 42 h 237"/>
                <a:gd name="T22" fmla="*/ 7 w 138"/>
                <a:gd name="T23" fmla="*/ 40 h 237"/>
                <a:gd name="T24" fmla="*/ 1 w 138"/>
                <a:gd name="T25" fmla="*/ 42 h 237"/>
                <a:gd name="T26" fmla="*/ 4 w 138"/>
                <a:gd name="T27" fmla="*/ 52 h 237"/>
                <a:gd name="T28" fmla="*/ 16 w 138"/>
                <a:gd name="T29" fmla="*/ 53 h 237"/>
                <a:gd name="T30" fmla="*/ 17 w 138"/>
                <a:gd name="T31" fmla="*/ 59 h 237"/>
                <a:gd name="T32" fmla="*/ 12 w 138"/>
                <a:gd name="T33" fmla="*/ 63 h 237"/>
                <a:gd name="T34" fmla="*/ 10 w 138"/>
                <a:gd name="T35" fmla="*/ 71 h 237"/>
                <a:gd name="T36" fmla="*/ 22 w 138"/>
                <a:gd name="T37" fmla="*/ 66 h 237"/>
                <a:gd name="T38" fmla="*/ 23 w 138"/>
                <a:gd name="T39" fmla="*/ 71 h 237"/>
                <a:gd name="T40" fmla="*/ 28 w 138"/>
                <a:gd name="T41" fmla="*/ 81 h 237"/>
                <a:gd name="T42" fmla="*/ 26 w 138"/>
                <a:gd name="T43" fmla="*/ 102 h 237"/>
                <a:gd name="T44" fmla="*/ 33 w 138"/>
                <a:gd name="T45" fmla="*/ 114 h 237"/>
                <a:gd name="T46" fmla="*/ 46 w 138"/>
                <a:gd name="T47" fmla="*/ 110 h 237"/>
                <a:gd name="T48" fmla="*/ 49 w 138"/>
                <a:gd name="T49" fmla="*/ 120 h 237"/>
                <a:gd name="T50" fmla="*/ 58 w 138"/>
                <a:gd name="T51" fmla="*/ 134 h 237"/>
                <a:gd name="T52" fmla="*/ 56 w 138"/>
                <a:gd name="T53" fmla="*/ 144 h 237"/>
                <a:gd name="T54" fmla="*/ 45 w 138"/>
                <a:gd name="T55" fmla="*/ 153 h 237"/>
                <a:gd name="T56" fmla="*/ 32 w 138"/>
                <a:gd name="T57" fmla="*/ 157 h 237"/>
                <a:gd name="T58" fmla="*/ 36 w 138"/>
                <a:gd name="T59" fmla="*/ 168 h 237"/>
                <a:gd name="T60" fmla="*/ 42 w 138"/>
                <a:gd name="T61" fmla="*/ 171 h 237"/>
                <a:gd name="T62" fmla="*/ 29 w 138"/>
                <a:gd name="T63" fmla="*/ 184 h 237"/>
                <a:gd name="T64" fmla="*/ 25 w 138"/>
                <a:gd name="T65" fmla="*/ 192 h 237"/>
                <a:gd name="T66" fmla="*/ 51 w 138"/>
                <a:gd name="T67" fmla="*/ 201 h 237"/>
                <a:gd name="T68" fmla="*/ 48 w 138"/>
                <a:gd name="T69" fmla="*/ 207 h 237"/>
                <a:gd name="T70" fmla="*/ 33 w 138"/>
                <a:gd name="T71" fmla="*/ 218 h 237"/>
                <a:gd name="T72" fmla="*/ 20 w 138"/>
                <a:gd name="T73" fmla="*/ 234 h 237"/>
                <a:gd name="T74" fmla="*/ 26 w 138"/>
                <a:gd name="T75" fmla="*/ 236 h 237"/>
                <a:gd name="T76" fmla="*/ 41 w 138"/>
                <a:gd name="T77" fmla="*/ 230 h 237"/>
                <a:gd name="T78" fmla="*/ 54 w 138"/>
                <a:gd name="T79" fmla="*/ 228 h 237"/>
                <a:gd name="T80" fmla="*/ 64 w 138"/>
                <a:gd name="T81" fmla="*/ 218 h 237"/>
                <a:gd name="T82" fmla="*/ 81 w 138"/>
                <a:gd name="T83" fmla="*/ 221 h 237"/>
                <a:gd name="T84" fmla="*/ 106 w 138"/>
                <a:gd name="T85" fmla="*/ 215 h 237"/>
                <a:gd name="T86" fmla="*/ 129 w 138"/>
                <a:gd name="T87" fmla="*/ 207 h 237"/>
                <a:gd name="T88" fmla="*/ 120 w 138"/>
                <a:gd name="T89" fmla="*/ 198 h 237"/>
                <a:gd name="T90" fmla="*/ 136 w 138"/>
                <a:gd name="T91" fmla="*/ 176 h 237"/>
                <a:gd name="T92" fmla="*/ 130 w 138"/>
                <a:gd name="T93" fmla="*/ 166 h 237"/>
                <a:gd name="T94" fmla="*/ 114 w 138"/>
                <a:gd name="T95" fmla="*/ 165 h 237"/>
                <a:gd name="T96" fmla="*/ 113 w 138"/>
                <a:gd name="T97" fmla="*/ 156 h 237"/>
                <a:gd name="T98" fmla="*/ 107 w 138"/>
                <a:gd name="T99" fmla="*/ 142 h 237"/>
                <a:gd name="T100" fmla="*/ 97 w 138"/>
                <a:gd name="T101" fmla="*/ 123 h 237"/>
                <a:gd name="T102" fmla="*/ 80 w 138"/>
                <a:gd name="T103" fmla="*/ 104 h 237"/>
                <a:gd name="T104" fmla="*/ 71 w 138"/>
                <a:gd name="T105" fmla="*/ 81 h 237"/>
                <a:gd name="T106" fmla="*/ 62 w 138"/>
                <a:gd name="T107" fmla="*/ 68 h 237"/>
                <a:gd name="T108" fmla="*/ 74 w 138"/>
                <a:gd name="T109" fmla="*/ 47 h 237"/>
                <a:gd name="T110" fmla="*/ 78 w 138"/>
                <a:gd name="T111" fmla="*/ 33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8" h="237">
                  <a:moveTo>
                    <a:pt x="75" y="31"/>
                  </a:moveTo>
                  <a:lnTo>
                    <a:pt x="75" y="31"/>
                  </a:lnTo>
                  <a:lnTo>
                    <a:pt x="67" y="29"/>
                  </a:lnTo>
                  <a:lnTo>
                    <a:pt x="58" y="29"/>
                  </a:lnTo>
                  <a:lnTo>
                    <a:pt x="58" y="29"/>
                  </a:lnTo>
                  <a:lnTo>
                    <a:pt x="54" y="30"/>
                  </a:lnTo>
                  <a:lnTo>
                    <a:pt x="46" y="33"/>
                  </a:lnTo>
                  <a:lnTo>
                    <a:pt x="39" y="36"/>
                  </a:lnTo>
                  <a:lnTo>
                    <a:pt x="38" y="36"/>
                  </a:lnTo>
                  <a:lnTo>
                    <a:pt x="36" y="36"/>
                  </a:lnTo>
                  <a:lnTo>
                    <a:pt x="36" y="36"/>
                  </a:lnTo>
                  <a:lnTo>
                    <a:pt x="42" y="26"/>
                  </a:lnTo>
                  <a:lnTo>
                    <a:pt x="48" y="17"/>
                  </a:lnTo>
                  <a:lnTo>
                    <a:pt x="48" y="17"/>
                  </a:lnTo>
                  <a:lnTo>
                    <a:pt x="54" y="10"/>
                  </a:lnTo>
                  <a:lnTo>
                    <a:pt x="55" y="7"/>
                  </a:lnTo>
                  <a:lnTo>
                    <a:pt x="56" y="3"/>
                  </a:lnTo>
                  <a:lnTo>
                    <a:pt x="56" y="3"/>
                  </a:lnTo>
                  <a:lnTo>
                    <a:pt x="56" y="1"/>
                  </a:lnTo>
                  <a:lnTo>
                    <a:pt x="55" y="0"/>
                  </a:lnTo>
                  <a:lnTo>
                    <a:pt x="52" y="0"/>
                  </a:lnTo>
                  <a:lnTo>
                    <a:pt x="42" y="1"/>
                  </a:lnTo>
                  <a:lnTo>
                    <a:pt x="42" y="1"/>
                  </a:lnTo>
                  <a:lnTo>
                    <a:pt x="30" y="1"/>
                  </a:lnTo>
                  <a:lnTo>
                    <a:pt x="20" y="1"/>
                  </a:lnTo>
                  <a:lnTo>
                    <a:pt x="20" y="1"/>
                  </a:lnTo>
                  <a:lnTo>
                    <a:pt x="19" y="4"/>
                  </a:lnTo>
                  <a:lnTo>
                    <a:pt x="19" y="8"/>
                  </a:lnTo>
                  <a:lnTo>
                    <a:pt x="17" y="11"/>
                  </a:lnTo>
                  <a:lnTo>
                    <a:pt x="16" y="14"/>
                  </a:lnTo>
                  <a:lnTo>
                    <a:pt x="16" y="14"/>
                  </a:lnTo>
                  <a:lnTo>
                    <a:pt x="17" y="16"/>
                  </a:lnTo>
                  <a:lnTo>
                    <a:pt x="19" y="17"/>
                  </a:lnTo>
                  <a:lnTo>
                    <a:pt x="22" y="20"/>
                  </a:lnTo>
                  <a:lnTo>
                    <a:pt x="22" y="21"/>
                  </a:lnTo>
                  <a:lnTo>
                    <a:pt x="22" y="23"/>
                  </a:lnTo>
                  <a:lnTo>
                    <a:pt x="22" y="23"/>
                  </a:lnTo>
                  <a:lnTo>
                    <a:pt x="16" y="29"/>
                  </a:lnTo>
                  <a:lnTo>
                    <a:pt x="13" y="31"/>
                  </a:lnTo>
                  <a:lnTo>
                    <a:pt x="13" y="33"/>
                  </a:lnTo>
                  <a:lnTo>
                    <a:pt x="13" y="33"/>
                  </a:lnTo>
                  <a:lnTo>
                    <a:pt x="14" y="36"/>
                  </a:lnTo>
                  <a:lnTo>
                    <a:pt x="14" y="39"/>
                  </a:lnTo>
                  <a:lnTo>
                    <a:pt x="13" y="42"/>
                  </a:lnTo>
                  <a:lnTo>
                    <a:pt x="10" y="43"/>
                  </a:lnTo>
                  <a:lnTo>
                    <a:pt x="10" y="43"/>
                  </a:lnTo>
                  <a:lnTo>
                    <a:pt x="9" y="42"/>
                  </a:lnTo>
                  <a:lnTo>
                    <a:pt x="7" y="40"/>
                  </a:lnTo>
                  <a:lnTo>
                    <a:pt x="6" y="37"/>
                  </a:lnTo>
                  <a:lnTo>
                    <a:pt x="4" y="37"/>
                  </a:lnTo>
                  <a:lnTo>
                    <a:pt x="4" y="37"/>
                  </a:lnTo>
                  <a:lnTo>
                    <a:pt x="1" y="42"/>
                  </a:lnTo>
                  <a:lnTo>
                    <a:pt x="0" y="45"/>
                  </a:lnTo>
                  <a:lnTo>
                    <a:pt x="0" y="46"/>
                  </a:lnTo>
                  <a:lnTo>
                    <a:pt x="0" y="46"/>
                  </a:lnTo>
                  <a:lnTo>
                    <a:pt x="4" y="52"/>
                  </a:lnTo>
                  <a:lnTo>
                    <a:pt x="7" y="55"/>
                  </a:lnTo>
                  <a:lnTo>
                    <a:pt x="10" y="55"/>
                  </a:lnTo>
                  <a:lnTo>
                    <a:pt x="10" y="55"/>
                  </a:lnTo>
                  <a:lnTo>
                    <a:pt x="16" y="53"/>
                  </a:lnTo>
                  <a:lnTo>
                    <a:pt x="17" y="53"/>
                  </a:lnTo>
                  <a:lnTo>
                    <a:pt x="17" y="55"/>
                  </a:lnTo>
                  <a:lnTo>
                    <a:pt x="17" y="55"/>
                  </a:lnTo>
                  <a:lnTo>
                    <a:pt x="17" y="59"/>
                  </a:lnTo>
                  <a:lnTo>
                    <a:pt x="16" y="60"/>
                  </a:lnTo>
                  <a:lnTo>
                    <a:pt x="14" y="62"/>
                  </a:lnTo>
                  <a:lnTo>
                    <a:pt x="14" y="62"/>
                  </a:lnTo>
                  <a:lnTo>
                    <a:pt x="12" y="63"/>
                  </a:lnTo>
                  <a:lnTo>
                    <a:pt x="10" y="66"/>
                  </a:lnTo>
                  <a:lnTo>
                    <a:pt x="9" y="69"/>
                  </a:lnTo>
                  <a:lnTo>
                    <a:pt x="10" y="71"/>
                  </a:lnTo>
                  <a:lnTo>
                    <a:pt x="10" y="71"/>
                  </a:lnTo>
                  <a:lnTo>
                    <a:pt x="13" y="71"/>
                  </a:lnTo>
                  <a:lnTo>
                    <a:pt x="17" y="68"/>
                  </a:lnTo>
                  <a:lnTo>
                    <a:pt x="20" y="66"/>
                  </a:lnTo>
                  <a:lnTo>
                    <a:pt x="22" y="66"/>
                  </a:lnTo>
                  <a:lnTo>
                    <a:pt x="22" y="66"/>
                  </a:lnTo>
                  <a:lnTo>
                    <a:pt x="22" y="66"/>
                  </a:lnTo>
                  <a:lnTo>
                    <a:pt x="22" y="69"/>
                  </a:lnTo>
                  <a:lnTo>
                    <a:pt x="23" y="71"/>
                  </a:lnTo>
                  <a:lnTo>
                    <a:pt x="26" y="75"/>
                  </a:lnTo>
                  <a:lnTo>
                    <a:pt x="26" y="75"/>
                  </a:lnTo>
                  <a:lnTo>
                    <a:pt x="26" y="78"/>
                  </a:lnTo>
                  <a:lnTo>
                    <a:pt x="28" y="81"/>
                  </a:lnTo>
                  <a:lnTo>
                    <a:pt x="28" y="87"/>
                  </a:lnTo>
                  <a:lnTo>
                    <a:pt x="28" y="87"/>
                  </a:lnTo>
                  <a:lnTo>
                    <a:pt x="26" y="102"/>
                  </a:lnTo>
                  <a:lnTo>
                    <a:pt x="26" y="102"/>
                  </a:lnTo>
                  <a:lnTo>
                    <a:pt x="26" y="105"/>
                  </a:lnTo>
                  <a:lnTo>
                    <a:pt x="28" y="110"/>
                  </a:lnTo>
                  <a:lnTo>
                    <a:pt x="29" y="113"/>
                  </a:lnTo>
                  <a:lnTo>
                    <a:pt x="33" y="114"/>
                  </a:lnTo>
                  <a:lnTo>
                    <a:pt x="33" y="114"/>
                  </a:lnTo>
                  <a:lnTo>
                    <a:pt x="38" y="113"/>
                  </a:lnTo>
                  <a:lnTo>
                    <a:pt x="42" y="111"/>
                  </a:lnTo>
                  <a:lnTo>
                    <a:pt x="46" y="110"/>
                  </a:lnTo>
                  <a:lnTo>
                    <a:pt x="48" y="110"/>
                  </a:lnTo>
                  <a:lnTo>
                    <a:pt x="48" y="111"/>
                  </a:lnTo>
                  <a:lnTo>
                    <a:pt x="48" y="111"/>
                  </a:lnTo>
                  <a:lnTo>
                    <a:pt x="49" y="120"/>
                  </a:lnTo>
                  <a:lnTo>
                    <a:pt x="51" y="124"/>
                  </a:lnTo>
                  <a:lnTo>
                    <a:pt x="54" y="129"/>
                  </a:lnTo>
                  <a:lnTo>
                    <a:pt x="54" y="129"/>
                  </a:lnTo>
                  <a:lnTo>
                    <a:pt x="58" y="134"/>
                  </a:lnTo>
                  <a:lnTo>
                    <a:pt x="59" y="137"/>
                  </a:lnTo>
                  <a:lnTo>
                    <a:pt x="58" y="142"/>
                  </a:lnTo>
                  <a:lnTo>
                    <a:pt x="58" y="142"/>
                  </a:lnTo>
                  <a:lnTo>
                    <a:pt x="56" y="144"/>
                  </a:lnTo>
                  <a:lnTo>
                    <a:pt x="52" y="149"/>
                  </a:lnTo>
                  <a:lnTo>
                    <a:pt x="48" y="152"/>
                  </a:lnTo>
                  <a:lnTo>
                    <a:pt x="45" y="153"/>
                  </a:lnTo>
                  <a:lnTo>
                    <a:pt x="45" y="153"/>
                  </a:lnTo>
                  <a:lnTo>
                    <a:pt x="38" y="155"/>
                  </a:lnTo>
                  <a:lnTo>
                    <a:pt x="35" y="155"/>
                  </a:lnTo>
                  <a:lnTo>
                    <a:pt x="32" y="157"/>
                  </a:lnTo>
                  <a:lnTo>
                    <a:pt x="32" y="157"/>
                  </a:lnTo>
                  <a:lnTo>
                    <a:pt x="32" y="160"/>
                  </a:lnTo>
                  <a:lnTo>
                    <a:pt x="33" y="165"/>
                  </a:lnTo>
                  <a:lnTo>
                    <a:pt x="35" y="168"/>
                  </a:lnTo>
                  <a:lnTo>
                    <a:pt x="36" y="168"/>
                  </a:lnTo>
                  <a:lnTo>
                    <a:pt x="36" y="168"/>
                  </a:lnTo>
                  <a:lnTo>
                    <a:pt x="39" y="168"/>
                  </a:lnTo>
                  <a:lnTo>
                    <a:pt x="42" y="168"/>
                  </a:lnTo>
                  <a:lnTo>
                    <a:pt x="42" y="171"/>
                  </a:lnTo>
                  <a:lnTo>
                    <a:pt x="41" y="175"/>
                  </a:lnTo>
                  <a:lnTo>
                    <a:pt x="41" y="175"/>
                  </a:lnTo>
                  <a:lnTo>
                    <a:pt x="35" y="179"/>
                  </a:lnTo>
                  <a:lnTo>
                    <a:pt x="29" y="184"/>
                  </a:lnTo>
                  <a:lnTo>
                    <a:pt x="25" y="188"/>
                  </a:lnTo>
                  <a:lnTo>
                    <a:pt x="23" y="189"/>
                  </a:lnTo>
                  <a:lnTo>
                    <a:pt x="23" y="189"/>
                  </a:lnTo>
                  <a:lnTo>
                    <a:pt x="25" y="192"/>
                  </a:lnTo>
                  <a:lnTo>
                    <a:pt x="29" y="194"/>
                  </a:lnTo>
                  <a:lnTo>
                    <a:pt x="41" y="198"/>
                  </a:lnTo>
                  <a:lnTo>
                    <a:pt x="41" y="198"/>
                  </a:lnTo>
                  <a:lnTo>
                    <a:pt x="51" y="201"/>
                  </a:lnTo>
                  <a:lnTo>
                    <a:pt x="55" y="202"/>
                  </a:lnTo>
                  <a:lnTo>
                    <a:pt x="56" y="202"/>
                  </a:lnTo>
                  <a:lnTo>
                    <a:pt x="56" y="202"/>
                  </a:lnTo>
                  <a:lnTo>
                    <a:pt x="48" y="207"/>
                  </a:lnTo>
                  <a:lnTo>
                    <a:pt x="42" y="208"/>
                  </a:lnTo>
                  <a:lnTo>
                    <a:pt x="38" y="211"/>
                  </a:lnTo>
                  <a:lnTo>
                    <a:pt x="38" y="211"/>
                  </a:lnTo>
                  <a:lnTo>
                    <a:pt x="33" y="218"/>
                  </a:lnTo>
                  <a:lnTo>
                    <a:pt x="30" y="226"/>
                  </a:lnTo>
                  <a:lnTo>
                    <a:pt x="30" y="226"/>
                  </a:lnTo>
                  <a:lnTo>
                    <a:pt x="23" y="231"/>
                  </a:lnTo>
                  <a:lnTo>
                    <a:pt x="20" y="234"/>
                  </a:lnTo>
                  <a:lnTo>
                    <a:pt x="20" y="236"/>
                  </a:lnTo>
                  <a:lnTo>
                    <a:pt x="22" y="237"/>
                  </a:lnTo>
                  <a:lnTo>
                    <a:pt x="22" y="237"/>
                  </a:lnTo>
                  <a:lnTo>
                    <a:pt x="26" y="236"/>
                  </a:lnTo>
                  <a:lnTo>
                    <a:pt x="32" y="234"/>
                  </a:lnTo>
                  <a:lnTo>
                    <a:pt x="36" y="231"/>
                  </a:lnTo>
                  <a:lnTo>
                    <a:pt x="41" y="230"/>
                  </a:lnTo>
                  <a:lnTo>
                    <a:pt x="41" y="230"/>
                  </a:lnTo>
                  <a:lnTo>
                    <a:pt x="48" y="231"/>
                  </a:lnTo>
                  <a:lnTo>
                    <a:pt x="51" y="231"/>
                  </a:lnTo>
                  <a:lnTo>
                    <a:pt x="54" y="228"/>
                  </a:lnTo>
                  <a:lnTo>
                    <a:pt x="54" y="228"/>
                  </a:lnTo>
                  <a:lnTo>
                    <a:pt x="59" y="221"/>
                  </a:lnTo>
                  <a:lnTo>
                    <a:pt x="62" y="218"/>
                  </a:lnTo>
                  <a:lnTo>
                    <a:pt x="64" y="218"/>
                  </a:lnTo>
                  <a:lnTo>
                    <a:pt x="64" y="218"/>
                  </a:lnTo>
                  <a:lnTo>
                    <a:pt x="71" y="223"/>
                  </a:lnTo>
                  <a:lnTo>
                    <a:pt x="75" y="223"/>
                  </a:lnTo>
                  <a:lnTo>
                    <a:pt x="81" y="221"/>
                  </a:lnTo>
                  <a:lnTo>
                    <a:pt x="81" y="221"/>
                  </a:lnTo>
                  <a:lnTo>
                    <a:pt x="87" y="217"/>
                  </a:lnTo>
                  <a:lnTo>
                    <a:pt x="94" y="215"/>
                  </a:lnTo>
                  <a:lnTo>
                    <a:pt x="106" y="215"/>
                  </a:lnTo>
                  <a:lnTo>
                    <a:pt x="106" y="215"/>
                  </a:lnTo>
                  <a:lnTo>
                    <a:pt x="122" y="211"/>
                  </a:lnTo>
                  <a:lnTo>
                    <a:pt x="127" y="208"/>
                  </a:lnTo>
                  <a:lnTo>
                    <a:pt x="129" y="208"/>
                  </a:lnTo>
                  <a:lnTo>
                    <a:pt x="129" y="207"/>
                  </a:lnTo>
                  <a:lnTo>
                    <a:pt x="129" y="207"/>
                  </a:lnTo>
                  <a:lnTo>
                    <a:pt x="122" y="202"/>
                  </a:lnTo>
                  <a:lnTo>
                    <a:pt x="119" y="200"/>
                  </a:lnTo>
                  <a:lnTo>
                    <a:pt x="120" y="198"/>
                  </a:lnTo>
                  <a:lnTo>
                    <a:pt x="120" y="195"/>
                  </a:lnTo>
                  <a:lnTo>
                    <a:pt x="120" y="195"/>
                  </a:lnTo>
                  <a:lnTo>
                    <a:pt x="132" y="184"/>
                  </a:lnTo>
                  <a:lnTo>
                    <a:pt x="136" y="176"/>
                  </a:lnTo>
                  <a:lnTo>
                    <a:pt x="138" y="173"/>
                  </a:lnTo>
                  <a:lnTo>
                    <a:pt x="136" y="171"/>
                  </a:lnTo>
                  <a:lnTo>
                    <a:pt x="136" y="171"/>
                  </a:lnTo>
                  <a:lnTo>
                    <a:pt x="130" y="166"/>
                  </a:lnTo>
                  <a:lnTo>
                    <a:pt x="125" y="165"/>
                  </a:lnTo>
                  <a:lnTo>
                    <a:pt x="119" y="163"/>
                  </a:lnTo>
                  <a:lnTo>
                    <a:pt x="114" y="165"/>
                  </a:lnTo>
                  <a:lnTo>
                    <a:pt x="114" y="165"/>
                  </a:lnTo>
                  <a:lnTo>
                    <a:pt x="112" y="165"/>
                  </a:lnTo>
                  <a:lnTo>
                    <a:pt x="112" y="162"/>
                  </a:lnTo>
                  <a:lnTo>
                    <a:pt x="112" y="159"/>
                  </a:lnTo>
                  <a:lnTo>
                    <a:pt x="113" y="156"/>
                  </a:lnTo>
                  <a:lnTo>
                    <a:pt x="113" y="156"/>
                  </a:lnTo>
                  <a:lnTo>
                    <a:pt x="110" y="150"/>
                  </a:lnTo>
                  <a:lnTo>
                    <a:pt x="107" y="142"/>
                  </a:lnTo>
                  <a:lnTo>
                    <a:pt x="107" y="142"/>
                  </a:lnTo>
                  <a:lnTo>
                    <a:pt x="107" y="137"/>
                  </a:lnTo>
                  <a:lnTo>
                    <a:pt x="104" y="131"/>
                  </a:lnTo>
                  <a:lnTo>
                    <a:pt x="100" y="126"/>
                  </a:lnTo>
                  <a:lnTo>
                    <a:pt x="97" y="123"/>
                  </a:lnTo>
                  <a:lnTo>
                    <a:pt x="97" y="123"/>
                  </a:lnTo>
                  <a:lnTo>
                    <a:pt x="87" y="115"/>
                  </a:lnTo>
                  <a:lnTo>
                    <a:pt x="83" y="110"/>
                  </a:lnTo>
                  <a:lnTo>
                    <a:pt x="80" y="104"/>
                  </a:lnTo>
                  <a:lnTo>
                    <a:pt x="80" y="104"/>
                  </a:lnTo>
                  <a:lnTo>
                    <a:pt x="77" y="91"/>
                  </a:lnTo>
                  <a:lnTo>
                    <a:pt x="75" y="85"/>
                  </a:lnTo>
                  <a:lnTo>
                    <a:pt x="71" y="81"/>
                  </a:lnTo>
                  <a:lnTo>
                    <a:pt x="71" y="81"/>
                  </a:lnTo>
                  <a:lnTo>
                    <a:pt x="62" y="75"/>
                  </a:lnTo>
                  <a:lnTo>
                    <a:pt x="61" y="72"/>
                  </a:lnTo>
                  <a:lnTo>
                    <a:pt x="62" y="68"/>
                  </a:lnTo>
                  <a:lnTo>
                    <a:pt x="62" y="68"/>
                  </a:lnTo>
                  <a:lnTo>
                    <a:pt x="65" y="63"/>
                  </a:lnTo>
                  <a:lnTo>
                    <a:pt x="70" y="58"/>
                  </a:lnTo>
                  <a:lnTo>
                    <a:pt x="74" y="47"/>
                  </a:lnTo>
                  <a:lnTo>
                    <a:pt x="74" y="47"/>
                  </a:lnTo>
                  <a:lnTo>
                    <a:pt x="78" y="37"/>
                  </a:lnTo>
                  <a:lnTo>
                    <a:pt x="80" y="34"/>
                  </a:lnTo>
                  <a:lnTo>
                    <a:pt x="78" y="33"/>
                  </a:lnTo>
                  <a:lnTo>
                    <a:pt x="75" y="31"/>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38" name="Freeform 819"/>
            <p:cNvSpPr>
              <a:spLocks/>
            </p:cNvSpPr>
            <p:nvPr/>
          </p:nvSpPr>
          <p:spPr bwMode="auto">
            <a:xfrm>
              <a:off x="4138613" y="2921429"/>
              <a:ext cx="219075" cy="376238"/>
            </a:xfrm>
            <a:custGeom>
              <a:avLst/>
              <a:gdLst>
                <a:gd name="T0" fmla="*/ 58 w 138"/>
                <a:gd name="T1" fmla="*/ 29 h 237"/>
                <a:gd name="T2" fmla="*/ 39 w 138"/>
                <a:gd name="T3" fmla="*/ 36 h 237"/>
                <a:gd name="T4" fmla="*/ 42 w 138"/>
                <a:gd name="T5" fmla="*/ 26 h 237"/>
                <a:gd name="T6" fmla="*/ 55 w 138"/>
                <a:gd name="T7" fmla="*/ 7 h 237"/>
                <a:gd name="T8" fmla="*/ 55 w 138"/>
                <a:gd name="T9" fmla="*/ 0 h 237"/>
                <a:gd name="T10" fmla="*/ 30 w 138"/>
                <a:gd name="T11" fmla="*/ 1 h 237"/>
                <a:gd name="T12" fmla="*/ 19 w 138"/>
                <a:gd name="T13" fmla="*/ 8 h 237"/>
                <a:gd name="T14" fmla="*/ 17 w 138"/>
                <a:gd name="T15" fmla="*/ 16 h 237"/>
                <a:gd name="T16" fmla="*/ 22 w 138"/>
                <a:gd name="T17" fmla="*/ 23 h 237"/>
                <a:gd name="T18" fmla="*/ 13 w 138"/>
                <a:gd name="T19" fmla="*/ 33 h 237"/>
                <a:gd name="T20" fmla="*/ 13 w 138"/>
                <a:gd name="T21" fmla="*/ 42 h 237"/>
                <a:gd name="T22" fmla="*/ 7 w 138"/>
                <a:gd name="T23" fmla="*/ 40 h 237"/>
                <a:gd name="T24" fmla="*/ 1 w 138"/>
                <a:gd name="T25" fmla="*/ 42 h 237"/>
                <a:gd name="T26" fmla="*/ 4 w 138"/>
                <a:gd name="T27" fmla="*/ 52 h 237"/>
                <a:gd name="T28" fmla="*/ 16 w 138"/>
                <a:gd name="T29" fmla="*/ 53 h 237"/>
                <a:gd name="T30" fmla="*/ 17 w 138"/>
                <a:gd name="T31" fmla="*/ 59 h 237"/>
                <a:gd name="T32" fmla="*/ 12 w 138"/>
                <a:gd name="T33" fmla="*/ 63 h 237"/>
                <a:gd name="T34" fmla="*/ 10 w 138"/>
                <a:gd name="T35" fmla="*/ 71 h 237"/>
                <a:gd name="T36" fmla="*/ 22 w 138"/>
                <a:gd name="T37" fmla="*/ 66 h 237"/>
                <a:gd name="T38" fmla="*/ 23 w 138"/>
                <a:gd name="T39" fmla="*/ 71 h 237"/>
                <a:gd name="T40" fmla="*/ 28 w 138"/>
                <a:gd name="T41" fmla="*/ 81 h 237"/>
                <a:gd name="T42" fmla="*/ 26 w 138"/>
                <a:gd name="T43" fmla="*/ 102 h 237"/>
                <a:gd name="T44" fmla="*/ 33 w 138"/>
                <a:gd name="T45" fmla="*/ 114 h 237"/>
                <a:gd name="T46" fmla="*/ 46 w 138"/>
                <a:gd name="T47" fmla="*/ 110 h 237"/>
                <a:gd name="T48" fmla="*/ 49 w 138"/>
                <a:gd name="T49" fmla="*/ 120 h 237"/>
                <a:gd name="T50" fmla="*/ 58 w 138"/>
                <a:gd name="T51" fmla="*/ 134 h 237"/>
                <a:gd name="T52" fmla="*/ 56 w 138"/>
                <a:gd name="T53" fmla="*/ 144 h 237"/>
                <a:gd name="T54" fmla="*/ 45 w 138"/>
                <a:gd name="T55" fmla="*/ 153 h 237"/>
                <a:gd name="T56" fmla="*/ 32 w 138"/>
                <a:gd name="T57" fmla="*/ 157 h 237"/>
                <a:gd name="T58" fmla="*/ 36 w 138"/>
                <a:gd name="T59" fmla="*/ 168 h 237"/>
                <a:gd name="T60" fmla="*/ 42 w 138"/>
                <a:gd name="T61" fmla="*/ 171 h 237"/>
                <a:gd name="T62" fmla="*/ 29 w 138"/>
                <a:gd name="T63" fmla="*/ 184 h 237"/>
                <a:gd name="T64" fmla="*/ 25 w 138"/>
                <a:gd name="T65" fmla="*/ 192 h 237"/>
                <a:gd name="T66" fmla="*/ 51 w 138"/>
                <a:gd name="T67" fmla="*/ 201 h 237"/>
                <a:gd name="T68" fmla="*/ 48 w 138"/>
                <a:gd name="T69" fmla="*/ 207 h 237"/>
                <a:gd name="T70" fmla="*/ 33 w 138"/>
                <a:gd name="T71" fmla="*/ 218 h 237"/>
                <a:gd name="T72" fmla="*/ 20 w 138"/>
                <a:gd name="T73" fmla="*/ 234 h 237"/>
                <a:gd name="T74" fmla="*/ 26 w 138"/>
                <a:gd name="T75" fmla="*/ 236 h 237"/>
                <a:gd name="T76" fmla="*/ 41 w 138"/>
                <a:gd name="T77" fmla="*/ 230 h 237"/>
                <a:gd name="T78" fmla="*/ 54 w 138"/>
                <a:gd name="T79" fmla="*/ 228 h 237"/>
                <a:gd name="T80" fmla="*/ 64 w 138"/>
                <a:gd name="T81" fmla="*/ 218 h 237"/>
                <a:gd name="T82" fmla="*/ 81 w 138"/>
                <a:gd name="T83" fmla="*/ 221 h 237"/>
                <a:gd name="T84" fmla="*/ 106 w 138"/>
                <a:gd name="T85" fmla="*/ 215 h 237"/>
                <a:gd name="T86" fmla="*/ 129 w 138"/>
                <a:gd name="T87" fmla="*/ 207 h 237"/>
                <a:gd name="T88" fmla="*/ 120 w 138"/>
                <a:gd name="T89" fmla="*/ 198 h 237"/>
                <a:gd name="T90" fmla="*/ 136 w 138"/>
                <a:gd name="T91" fmla="*/ 176 h 237"/>
                <a:gd name="T92" fmla="*/ 130 w 138"/>
                <a:gd name="T93" fmla="*/ 166 h 237"/>
                <a:gd name="T94" fmla="*/ 114 w 138"/>
                <a:gd name="T95" fmla="*/ 165 h 237"/>
                <a:gd name="T96" fmla="*/ 113 w 138"/>
                <a:gd name="T97" fmla="*/ 156 h 237"/>
                <a:gd name="T98" fmla="*/ 107 w 138"/>
                <a:gd name="T99" fmla="*/ 142 h 237"/>
                <a:gd name="T100" fmla="*/ 97 w 138"/>
                <a:gd name="T101" fmla="*/ 123 h 237"/>
                <a:gd name="T102" fmla="*/ 80 w 138"/>
                <a:gd name="T103" fmla="*/ 104 h 237"/>
                <a:gd name="T104" fmla="*/ 71 w 138"/>
                <a:gd name="T105" fmla="*/ 81 h 237"/>
                <a:gd name="T106" fmla="*/ 62 w 138"/>
                <a:gd name="T107" fmla="*/ 68 h 237"/>
                <a:gd name="T108" fmla="*/ 74 w 138"/>
                <a:gd name="T109" fmla="*/ 47 h 237"/>
                <a:gd name="T110" fmla="*/ 78 w 138"/>
                <a:gd name="T111" fmla="*/ 33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8" h="237">
                  <a:moveTo>
                    <a:pt x="75" y="31"/>
                  </a:moveTo>
                  <a:lnTo>
                    <a:pt x="75" y="31"/>
                  </a:lnTo>
                  <a:lnTo>
                    <a:pt x="67" y="29"/>
                  </a:lnTo>
                  <a:lnTo>
                    <a:pt x="58" y="29"/>
                  </a:lnTo>
                  <a:lnTo>
                    <a:pt x="58" y="29"/>
                  </a:lnTo>
                  <a:lnTo>
                    <a:pt x="54" y="30"/>
                  </a:lnTo>
                  <a:lnTo>
                    <a:pt x="46" y="33"/>
                  </a:lnTo>
                  <a:lnTo>
                    <a:pt x="39" y="36"/>
                  </a:lnTo>
                  <a:lnTo>
                    <a:pt x="38" y="36"/>
                  </a:lnTo>
                  <a:lnTo>
                    <a:pt x="36" y="36"/>
                  </a:lnTo>
                  <a:lnTo>
                    <a:pt x="36" y="36"/>
                  </a:lnTo>
                  <a:lnTo>
                    <a:pt x="42" y="26"/>
                  </a:lnTo>
                  <a:lnTo>
                    <a:pt x="48" y="17"/>
                  </a:lnTo>
                  <a:lnTo>
                    <a:pt x="48" y="17"/>
                  </a:lnTo>
                  <a:lnTo>
                    <a:pt x="54" y="10"/>
                  </a:lnTo>
                  <a:lnTo>
                    <a:pt x="55" y="7"/>
                  </a:lnTo>
                  <a:lnTo>
                    <a:pt x="56" y="3"/>
                  </a:lnTo>
                  <a:lnTo>
                    <a:pt x="56" y="3"/>
                  </a:lnTo>
                  <a:lnTo>
                    <a:pt x="56" y="1"/>
                  </a:lnTo>
                  <a:lnTo>
                    <a:pt x="55" y="0"/>
                  </a:lnTo>
                  <a:lnTo>
                    <a:pt x="52" y="0"/>
                  </a:lnTo>
                  <a:lnTo>
                    <a:pt x="42" y="1"/>
                  </a:lnTo>
                  <a:lnTo>
                    <a:pt x="42" y="1"/>
                  </a:lnTo>
                  <a:lnTo>
                    <a:pt x="30" y="1"/>
                  </a:lnTo>
                  <a:lnTo>
                    <a:pt x="20" y="1"/>
                  </a:lnTo>
                  <a:lnTo>
                    <a:pt x="20" y="1"/>
                  </a:lnTo>
                  <a:lnTo>
                    <a:pt x="19" y="4"/>
                  </a:lnTo>
                  <a:lnTo>
                    <a:pt x="19" y="8"/>
                  </a:lnTo>
                  <a:lnTo>
                    <a:pt x="17" y="11"/>
                  </a:lnTo>
                  <a:lnTo>
                    <a:pt x="16" y="14"/>
                  </a:lnTo>
                  <a:lnTo>
                    <a:pt x="16" y="14"/>
                  </a:lnTo>
                  <a:lnTo>
                    <a:pt x="17" y="16"/>
                  </a:lnTo>
                  <a:lnTo>
                    <a:pt x="19" y="17"/>
                  </a:lnTo>
                  <a:lnTo>
                    <a:pt x="22" y="20"/>
                  </a:lnTo>
                  <a:lnTo>
                    <a:pt x="22" y="21"/>
                  </a:lnTo>
                  <a:lnTo>
                    <a:pt x="22" y="23"/>
                  </a:lnTo>
                  <a:lnTo>
                    <a:pt x="22" y="23"/>
                  </a:lnTo>
                  <a:lnTo>
                    <a:pt x="16" y="29"/>
                  </a:lnTo>
                  <a:lnTo>
                    <a:pt x="13" y="31"/>
                  </a:lnTo>
                  <a:lnTo>
                    <a:pt x="13" y="33"/>
                  </a:lnTo>
                  <a:lnTo>
                    <a:pt x="13" y="33"/>
                  </a:lnTo>
                  <a:lnTo>
                    <a:pt x="14" y="36"/>
                  </a:lnTo>
                  <a:lnTo>
                    <a:pt x="14" y="39"/>
                  </a:lnTo>
                  <a:lnTo>
                    <a:pt x="13" y="42"/>
                  </a:lnTo>
                  <a:lnTo>
                    <a:pt x="10" y="43"/>
                  </a:lnTo>
                  <a:lnTo>
                    <a:pt x="10" y="43"/>
                  </a:lnTo>
                  <a:lnTo>
                    <a:pt x="9" y="42"/>
                  </a:lnTo>
                  <a:lnTo>
                    <a:pt x="7" y="40"/>
                  </a:lnTo>
                  <a:lnTo>
                    <a:pt x="6" y="37"/>
                  </a:lnTo>
                  <a:lnTo>
                    <a:pt x="4" y="37"/>
                  </a:lnTo>
                  <a:lnTo>
                    <a:pt x="4" y="37"/>
                  </a:lnTo>
                  <a:lnTo>
                    <a:pt x="1" y="42"/>
                  </a:lnTo>
                  <a:lnTo>
                    <a:pt x="0" y="45"/>
                  </a:lnTo>
                  <a:lnTo>
                    <a:pt x="0" y="46"/>
                  </a:lnTo>
                  <a:lnTo>
                    <a:pt x="0" y="46"/>
                  </a:lnTo>
                  <a:lnTo>
                    <a:pt x="4" y="52"/>
                  </a:lnTo>
                  <a:lnTo>
                    <a:pt x="7" y="55"/>
                  </a:lnTo>
                  <a:lnTo>
                    <a:pt x="10" y="55"/>
                  </a:lnTo>
                  <a:lnTo>
                    <a:pt x="10" y="55"/>
                  </a:lnTo>
                  <a:lnTo>
                    <a:pt x="16" y="53"/>
                  </a:lnTo>
                  <a:lnTo>
                    <a:pt x="17" y="53"/>
                  </a:lnTo>
                  <a:lnTo>
                    <a:pt x="17" y="55"/>
                  </a:lnTo>
                  <a:lnTo>
                    <a:pt x="17" y="55"/>
                  </a:lnTo>
                  <a:lnTo>
                    <a:pt x="17" y="59"/>
                  </a:lnTo>
                  <a:lnTo>
                    <a:pt x="16" y="60"/>
                  </a:lnTo>
                  <a:lnTo>
                    <a:pt x="14" y="62"/>
                  </a:lnTo>
                  <a:lnTo>
                    <a:pt x="14" y="62"/>
                  </a:lnTo>
                  <a:lnTo>
                    <a:pt x="12" y="63"/>
                  </a:lnTo>
                  <a:lnTo>
                    <a:pt x="10" y="66"/>
                  </a:lnTo>
                  <a:lnTo>
                    <a:pt x="9" y="69"/>
                  </a:lnTo>
                  <a:lnTo>
                    <a:pt x="10" y="71"/>
                  </a:lnTo>
                  <a:lnTo>
                    <a:pt x="10" y="71"/>
                  </a:lnTo>
                  <a:lnTo>
                    <a:pt x="13" y="71"/>
                  </a:lnTo>
                  <a:lnTo>
                    <a:pt x="17" y="68"/>
                  </a:lnTo>
                  <a:lnTo>
                    <a:pt x="20" y="66"/>
                  </a:lnTo>
                  <a:lnTo>
                    <a:pt x="22" y="66"/>
                  </a:lnTo>
                  <a:lnTo>
                    <a:pt x="22" y="66"/>
                  </a:lnTo>
                  <a:lnTo>
                    <a:pt x="22" y="66"/>
                  </a:lnTo>
                  <a:lnTo>
                    <a:pt x="22" y="69"/>
                  </a:lnTo>
                  <a:lnTo>
                    <a:pt x="23" y="71"/>
                  </a:lnTo>
                  <a:lnTo>
                    <a:pt x="26" y="75"/>
                  </a:lnTo>
                  <a:lnTo>
                    <a:pt x="26" y="75"/>
                  </a:lnTo>
                  <a:lnTo>
                    <a:pt x="26" y="78"/>
                  </a:lnTo>
                  <a:lnTo>
                    <a:pt x="28" y="81"/>
                  </a:lnTo>
                  <a:lnTo>
                    <a:pt x="28" y="87"/>
                  </a:lnTo>
                  <a:lnTo>
                    <a:pt x="28" y="87"/>
                  </a:lnTo>
                  <a:lnTo>
                    <a:pt x="26" y="102"/>
                  </a:lnTo>
                  <a:lnTo>
                    <a:pt x="26" y="102"/>
                  </a:lnTo>
                  <a:lnTo>
                    <a:pt x="26" y="105"/>
                  </a:lnTo>
                  <a:lnTo>
                    <a:pt x="28" y="110"/>
                  </a:lnTo>
                  <a:lnTo>
                    <a:pt x="29" y="113"/>
                  </a:lnTo>
                  <a:lnTo>
                    <a:pt x="33" y="114"/>
                  </a:lnTo>
                  <a:lnTo>
                    <a:pt x="33" y="114"/>
                  </a:lnTo>
                  <a:lnTo>
                    <a:pt x="38" y="113"/>
                  </a:lnTo>
                  <a:lnTo>
                    <a:pt x="42" y="111"/>
                  </a:lnTo>
                  <a:lnTo>
                    <a:pt x="46" y="110"/>
                  </a:lnTo>
                  <a:lnTo>
                    <a:pt x="48" y="110"/>
                  </a:lnTo>
                  <a:lnTo>
                    <a:pt x="48" y="111"/>
                  </a:lnTo>
                  <a:lnTo>
                    <a:pt x="48" y="111"/>
                  </a:lnTo>
                  <a:lnTo>
                    <a:pt x="49" y="120"/>
                  </a:lnTo>
                  <a:lnTo>
                    <a:pt x="51" y="124"/>
                  </a:lnTo>
                  <a:lnTo>
                    <a:pt x="54" y="129"/>
                  </a:lnTo>
                  <a:lnTo>
                    <a:pt x="54" y="129"/>
                  </a:lnTo>
                  <a:lnTo>
                    <a:pt x="58" y="134"/>
                  </a:lnTo>
                  <a:lnTo>
                    <a:pt x="59" y="137"/>
                  </a:lnTo>
                  <a:lnTo>
                    <a:pt x="58" y="142"/>
                  </a:lnTo>
                  <a:lnTo>
                    <a:pt x="58" y="142"/>
                  </a:lnTo>
                  <a:lnTo>
                    <a:pt x="56" y="144"/>
                  </a:lnTo>
                  <a:lnTo>
                    <a:pt x="52" y="149"/>
                  </a:lnTo>
                  <a:lnTo>
                    <a:pt x="48" y="152"/>
                  </a:lnTo>
                  <a:lnTo>
                    <a:pt x="45" y="153"/>
                  </a:lnTo>
                  <a:lnTo>
                    <a:pt x="45" y="153"/>
                  </a:lnTo>
                  <a:lnTo>
                    <a:pt x="38" y="155"/>
                  </a:lnTo>
                  <a:lnTo>
                    <a:pt x="35" y="155"/>
                  </a:lnTo>
                  <a:lnTo>
                    <a:pt x="32" y="157"/>
                  </a:lnTo>
                  <a:lnTo>
                    <a:pt x="32" y="157"/>
                  </a:lnTo>
                  <a:lnTo>
                    <a:pt x="32" y="160"/>
                  </a:lnTo>
                  <a:lnTo>
                    <a:pt x="33" y="165"/>
                  </a:lnTo>
                  <a:lnTo>
                    <a:pt x="35" y="168"/>
                  </a:lnTo>
                  <a:lnTo>
                    <a:pt x="36" y="168"/>
                  </a:lnTo>
                  <a:lnTo>
                    <a:pt x="36" y="168"/>
                  </a:lnTo>
                  <a:lnTo>
                    <a:pt x="39" y="168"/>
                  </a:lnTo>
                  <a:lnTo>
                    <a:pt x="42" y="168"/>
                  </a:lnTo>
                  <a:lnTo>
                    <a:pt x="42" y="171"/>
                  </a:lnTo>
                  <a:lnTo>
                    <a:pt x="41" y="175"/>
                  </a:lnTo>
                  <a:lnTo>
                    <a:pt x="41" y="175"/>
                  </a:lnTo>
                  <a:lnTo>
                    <a:pt x="35" y="179"/>
                  </a:lnTo>
                  <a:lnTo>
                    <a:pt x="29" y="184"/>
                  </a:lnTo>
                  <a:lnTo>
                    <a:pt x="25" y="188"/>
                  </a:lnTo>
                  <a:lnTo>
                    <a:pt x="23" y="189"/>
                  </a:lnTo>
                  <a:lnTo>
                    <a:pt x="23" y="189"/>
                  </a:lnTo>
                  <a:lnTo>
                    <a:pt x="25" y="192"/>
                  </a:lnTo>
                  <a:lnTo>
                    <a:pt x="29" y="194"/>
                  </a:lnTo>
                  <a:lnTo>
                    <a:pt x="41" y="198"/>
                  </a:lnTo>
                  <a:lnTo>
                    <a:pt x="41" y="198"/>
                  </a:lnTo>
                  <a:lnTo>
                    <a:pt x="51" y="201"/>
                  </a:lnTo>
                  <a:lnTo>
                    <a:pt x="55" y="202"/>
                  </a:lnTo>
                  <a:lnTo>
                    <a:pt x="56" y="202"/>
                  </a:lnTo>
                  <a:lnTo>
                    <a:pt x="56" y="202"/>
                  </a:lnTo>
                  <a:lnTo>
                    <a:pt x="48" y="207"/>
                  </a:lnTo>
                  <a:lnTo>
                    <a:pt x="42" y="208"/>
                  </a:lnTo>
                  <a:lnTo>
                    <a:pt x="38" y="211"/>
                  </a:lnTo>
                  <a:lnTo>
                    <a:pt x="38" y="211"/>
                  </a:lnTo>
                  <a:lnTo>
                    <a:pt x="33" y="218"/>
                  </a:lnTo>
                  <a:lnTo>
                    <a:pt x="30" y="226"/>
                  </a:lnTo>
                  <a:lnTo>
                    <a:pt x="30" y="226"/>
                  </a:lnTo>
                  <a:lnTo>
                    <a:pt x="23" y="231"/>
                  </a:lnTo>
                  <a:lnTo>
                    <a:pt x="20" y="234"/>
                  </a:lnTo>
                  <a:lnTo>
                    <a:pt x="20" y="236"/>
                  </a:lnTo>
                  <a:lnTo>
                    <a:pt x="22" y="237"/>
                  </a:lnTo>
                  <a:lnTo>
                    <a:pt x="22" y="237"/>
                  </a:lnTo>
                  <a:lnTo>
                    <a:pt x="26" y="236"/>
                  </a:lnTo>
                  <a:lnTo>
                    <a:pt x="32" y="234"/>
                  </a:lnTo>
                  <a:lnTo>
                    <a:pt x="36" y="231"/>
                  </a:lnTo>
                  <a:lnTo>
                    <a:pt x="41" y="230"/>
                  </a:lnTo>
                  <a:lnTo>
                    <a:pt x="41" y="230"/>
                  </a:lnTo>
                  <a:lnTo>
                    <a:pt x="48" y="231"/>
                  </a:lnTo>
                  <a:lnTo>
                    <a:pt x="51" y="231"/>
                  </a:lnTo>
                  <a:lnTo>
                    <a:pt x="54" y="228"/>
                  </a:lnTo>
                  <a:lnTo>
                    <a:pt x="54" y="228"/>
                  </a:lnTo>
                  <a:lnTo>
                    <a:pt x="59" y="221"/>
                  </a:lnTo>
                  <a:lnTo>
                    <a:pt x="62" y="218"/>
                  </a:lnTo>
                  <a:lnTo>
                    <a:pt x="64" y="218"/>
                  </a:lnTo>
                  <a:lnTo>
                    <a:pt x="64" y="218"/>
                  </a:lnTo>
                  <a:lnTo>
                    <a:pt x="71" y="223"/>
                  </a:lnTo>
                  <a:lnTo>
                    <a:pt x="75" y="223"/>
                  </a:lnTo>
                  <a:lnTo>
                    <a:pt x="81" y="221"/>
                  </a:lnTo>
                  <a:lnTo>
                    <a:pt x="81" y="221"/>
                  </a:lnTo>
                  <a:lnTo>
                    <a:pt x="87" y="217"/>
                  </a:lnTo>
                  <a:lnTo>
                    <a:pt x="94" y="215"/>
                  </a:lnTo>
                  <a:lnTo>
                    <a:pt x="106" y="215"/>
                  </a:lnTo>
                  <a:lnTo>
                    <a:pt x="106" y="215"/>
                  </a:lnTo>
                  <a:lnTo>
                    <a:pt x="122" y="211"/>
                  </a:lnTo>
                  <a:lnTo>
                    <a:pt x="127" y="208"/>
                  </a:lnTo>
                  <a:lnTo>
                    <a:pt x="129" y="208"/>
                  </a:lnTo>
                  <a:lnTo>
                    <a:pt x="129" y="207"/>
                  </a:lnTo>
                  <a:lnTo>
                    <a:pt x="129" y="207"/>
                  </a:lnTo>
                  <a:lnTo>
                    <a:pt x="122" y="202"/>
                  </a:lnTo>
                  <a:lnTo>
                    <a:pt x="119" y="200"/>
                  </a:lnTo>
                  <a:lnTo>
                    <a:pt x="120" y="198"/>
                  </a:lnTo>
                  <a:lnTo>
                    <a:pt x="120" y="195"/>
                  </a:lnTo>
                  <a:lnTo>
                    <a:pt x="120" y="195"/>
                  </a:lnTo>
                  <a:lnTo>
                    <a:pt x="132" y="184"/>
                  </a:lnTo>
                  <a:lnTo>
                    <a:pt x="136" y="176"/>
                  </a:lnTo>
                  <a:lnTo>
                    <a:pt x="138" y="173"/>
                  </a:lnTo>
                  <a:lnTo>
                    <a:pt x="136" y="171"/>
                  </a:lnTo>
                  <a:lnTo>
                    <a:pt x="136" y="171"/>
                  </a:lnTo>
                  <a:lnTo>
                    <a:pt x="130" y="166"/>
                  </a:lnTo>
                  <a:lnTo>
                    <a:pt x="125" y="165"/>
                  </a:lnTo>
                  <a:lnTo>
                    <a:pt x="119" y="163"/>
                  </a:lnTo>
                  <a:lnTo>
                    <a:pt x="114" y="165"/>
                  </a:lnTo>
                  <a:lnTo>
                    <a:pt x="114" y="165"/>
                  </a:lnTo>
                  <a:lnTo>
                    <a:pt x="112" y="165"/>
                  </a:lnTo>
                  <a:lnTo>
                    <a:pt x="112" y="162"/>
                  </a:lnTo>
                  <a:lnTo>
                    <a:pt x="112" y="159"/>
                  </a:lnTo>
                  <a:lnTo>
                    <a:pt x="113" y="156"/>
                  </a:lnTo>
                  <a:lnTo>
                    <a:pt x="113" y="156"/>
                  </a:lnTo>
                  <a:lnTo>
                    <a:pt x="110" y="150"/>
                  </a:lnTo>
                  <a:lnTo>
                    <a:pt x="107" y="142"/>
                  </a:lnTo>
                  <a:lnTo>
                    <a:pt x="107" y="142"/>
                  </a:lnTo>
                  <a:lnTo>
                    <a:pt x="107" y="137"/>
                  </a:lnTo>
                  <a:lnTo>
                    <a:pt x="104" y="131"/>
                  </a:lnTo>
                  <a:lnTo>
                    <a:pt x="100" y="126"/>
                  </a:lnTo>
                  <a:lnTo>
                    <a:pt x="97" y="123"/>
                  </a:lnTo>
                  <a:lnTo>
                    <a:pt x="97" y="123"/>
                  </a:lnTo>
                  <a:lnTo>
                    <a:pt x="87" y="115"/>
                  </a:lnTo>
                  <a:lnTo>
                    <a:pt x="83" y="110"/>
                  </a:lnTo>
                  <a:lnTo>
                    <a:pt x="80" y="104"/>
                  </a:lnTo>
                  <a:lnTo>
                    <a:pt x="80" y="104"/>
                  </a:lnTo>
                  <a:lnTo>
                    <a:pt x="77" y="91"/>
                  </a:lnTo>
                  <a:lnTo>
                    <a:pt x="75" y="85"/>
                  </a:lnTo>
                  <a:lnTo>
                    <a:pt x="71" y="81"/>
                  </a:lnTo>
                  <a:lnTo>
                    <a:pt x="71" y="81"/>
                  </a:lnTo>
                  <a:lnTo>
                    <a:pt x="62" y="75"/>
                  </a:lnTo>
                  <a:lnTo>
                    <a:pt x="61" y="72"/>
                  </a:lnTo>
                  <a:lnTo>
                    <a:pt x="62" y="68"/>
                  </a:lnTo>
                  <a:lnTo>
                    <a:pt x="62" y="68"/>
                  </a:lnTo>
                  <a:lnTo>
                    <a:pt x="65" y="63"/>
                  </a:lnTo>
                  <a:lnTo>
                    <a:pt x="70" y="58"/>
                  </a:lnTo>
                  <a:lnTo>
                    <a:pt x="74" y="47"/>
                  </a:lnTo>
                  <a:lnTo>
                    <a:pt x="74" y="47"/>
                  </a:lnTo>
                  <a:lnTo>
                    <a:pt x="78" y="37"/>
                  </a:lnTo>
                  <a:lnTo>
                    <a:pt x="80" y="34"/>
                  </a:lnTo>
                  <a:lnTo>
                    <a:pt x="78" y="33"/>
                  </a:lnTo>
                  <a:lnTo>
                    <a:pt x="75" y="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39" name="Freeform 820"/>
            <p:cNvSpPr>
              <a:spLocks/>
            </p:cNvSpPr>
            <p:nvPr/>
          </p:nvSpPr>
          <p:spPr bwMode="auto">
            <a:xfrm>
              <a:off x="4103688" y="3086529"/>
              <a:ext cx="55563" cy="47625"/>
            </a:xfrm>
            <a:custGeom>
              <a:avLst/>
              <a:gdLst>
                <a:gd name="T0" fmla="*/ 9 w 35"/>
                <a:gd name="T1" fmla="*/ 6 h 30"/>
                <a:gd name="T2" fmla="*/ 9 w 35"/>
                <a:gd name="T3" fmla="*/ 6 h 30"/>
                <a:gd name="T4" fmla="*/ 8 w 35"/>
                <a:gd name="T5" fmla="*/ 11 h 30"/>
                <a:gd name="T6" fmla="*/ 6 w 35"/>
                <a:gd name="T7" fmla="*/ 13 h 30"/>
                <a:gd name="T8" fmla="*/ 3 w 35"/>
                <a:gd name="T9" fmla="*/ 14 h 30"/>
                <a:gd name="T10" fmla="*/ 0 w 35"/>
                <a:gd name="T11" fmla="*/ 16 h 30"/>
                <a:gd name="T12" fmla="*/ 0 w 35"/>
                <a:gd name="T13" fmla="*/ 16 h 30"/>
                <a:gd name="T14" fmla="*/ 0 w 35"/>
                <a:gd name="T15" fmla="*/ 17 h 30"/>
                <a:gd name="T16" fmla="*/ 2 w 35"/>
                <a:gd name="T17" fmla="*/ 20 h 30"/>
                <a:gd name="T18" fmla="*/ 6 w 35"/>
                <a:gd name="T19" fmla="*/ 25 h 30"/>
                <a:gd name="T20" fmla="*/ 13 w 35"/>
                <a:gd name="T21" fmla="*/ 27 h 30"/>
                <a:gd name="T22" fmla="*/ 19 w 35"/>
                <a:gd name="T23" fmla="*/ 30 h 30"/>
                <a:gd name="T24" fmla="*/ 19 w 35"/>
                <a:gd name="T25" fmla="*/ 30 h 30"/>
                <a:gd name="T26" fmla="*/ 25 w 35"/>
                <a:gd name="T27" fmla="*/ 29 h 30"/>
                <a:gd name="T28" fmla="*/ 32 w 35"/>
                <a:gd name="T29" fmla="*/ 27 h 30"/>
                <a:gd name="T30" fmla="*/ 32 w 35"/>
                <a:gd name="T31" fmla="*/ 27 h 30"/>
                <a:gd name="T32" fmla="*/ 35 w 35"/>
                <a:gd name="T33" fmla="*/ 14 h 30"/>
                <a:gd name="T34" fmla="*/ 35 w 35"/>
                <a:gd name="T35" fmla="*/ 9 h 30"/>
                <a:gd name="T36" fmla="*/ 35 w 35"/>
                <a:gd name="T37" fmla="*/ 4 h 30"/>
                <a:gd name="T38" fmla="*/ 35 w 35"/>
                <a:gd name="T39" fmla="*/ 4 h 30"/>
                <a:gd name="T40" fmla="*/ 31 w 35"/>
                <a:gd name="T41" fmla="*/ 3 h 30"/>
                <a:gd name="T42" fmla="*/ 25 w 35"/>
                <a:gd name="T43" fmla="*/ 1 h 30"/>
                <a:gd name="T44" fmla="*/ 9 w 35"/>
                <a:gd name="T45" fmla="*/ 0 h 30"/>
                <a:gd name="T46" fmla="*/ 9 w 35"/>
                <a:gd name="T47" fmla="*/ 0 h 30"/>
                <a:gd name="T48" fmla="*/ 9 w 35"/>
                <a:gd name="T49"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30">
                  <a:moveTo>
                    <a:pt x="9" y="6"/>
                  </a:moveTo>
                  <a:lnTo>
                    <a:pt x="9" y="6"/>
                  </a:lnTo>
                  <a:lnTo>
                    <a:pt x="8" y="11"/>
                  </a:lnTo>
                  <a:lnTo>
                    <a:pt x="6" y="13"/>
                  </a:lnTo>
                  <a:lnTo>
                    <a:pt x="3" y="14"/>
                  </a:lnTo>
                  <a:lnTo>
                    <a:pt x="0" y="16"/>
                  </a:lnTo>
                  <a:lnTo>
                    <a:pt x="0" y="16"/>
                  </a:lnTo>
                  <a:lnTo>
                    <a:pt x="0" y="17"/>
                  </a:lnTo>
                  <a:lnTo>
                    <a:pt x="2" y="20"/>
                  </a:lnTo>
                  <a:lnTo>
                    <a:pt x="6" y="25"/>
                  </a:lnTo>
                  <a:lnTo>
                    <a:pt x="13" y="27"/>
                  </a:lnTo>
                  <a:lnTo>
                    <a:pt x="19" y="30"/>
                  </a:lnTo>
                  <a:lnTo>
                    <a:pt x="19" y="30"/>
                  </a:lnTo>
                  <a:lnTo>
                    <a:pt x="25" y="29"/>
                  </a:lnTo>
                  <a:lnTo>
                    <a:pt x="32" y="27"/>
                  </a:lnTo>
                  <a:lnTo>
                    <a:pt x="32" y="27"/>
                  </a:lnTo>
                  <a:lnTo>
                    <a:pt x="35" y="14"/>
                  </a:lnTo>
                  <a:lnTo>
                    <a:pt x="35" y="9"/>
                  </a:lnTo>
                  <a:lnTo>
                    <a:pt x="35" y="4"/>
                  </a:lnTo>
                  <a:lnTo>
                    <a:pt x="35" y="4"/>
                  </a:lnTo>
                  <a:lnTo>
                    <a:pt x="31" y="3"/>
                  </a:lnTo>
                  <a:lnTo>
                    <a:pt x="25" y="1"/>
                  </a:lnTo>
                  <a:lnTo>
                    <a:pt x="9" y="0"/>
                  </a:lnTo>
                  <a:lnTo>
                    <a:pt x="9" y="0"/>
                  </a:lnTo>
                  <a:lnTo>
                    <a:pt x="9" y="6"/>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40" name="Freeform 821"/>
            <p:cNvSpPr>
              <a:spLocks/>
            </p:cNvSpPr>
            <p:nvPr/>
          </p:nvSpPr>
          <p:spPr bwMode="auto">
            <a:xfrm>
              <a:off x="4103688" y="3086529"/>
              <a:ext cx="55563" cy="47625"/>
            </a:xfrm>
            <a:custGeom>
              <a:avLst/>
              <a:gdLst>
                <a:gd name="T0" fmla="*/ 9 w 35"/>
                <a:gd name="T1" fmla="*/ 6 h 30"/>
                <a:gd name="T2" fmla="*/ 9 w 35"/>
                <a:gd name="T3" fmla="*/ 6 h 30"/>
                <a:gd name="T4" fmla="*/ 8 w 35"/>
                <a:gd name="T5" fmla="*/ 11 h 30"/>
                <a:gd name="T6" fmla="*/ 6 w 35"/>
                <a:gd name="T7" fmla="*/ 13 h 30"/>
                <a:gd name="T8" fmla="*/ 3 w 35"/>
                <a:gd name="T9" fmla="*/ 14 h 30"/>
                <a:gd name="T10" fmla="*/ 0 w 35"/>
                <a:gd name="T11" fmla="*/ 16 h 30"/>
                <a:gd name="T12" fmla="*/ 0 w 35"/>
                <a:gd name="T13" fmla="*/ 16 h 30"/>
                <a:gd name="T14" fmla="*/ 0 w 35"/>
                <a:gd name="T15" fmla="*/ 17 h 30"/>
                <a:gd name="T16" fmla="*/ 2 w 35"/>
                <a:gd name="T17" fmla="*/ 20 h 30"/>
                <a:gd name="T18" fmla="*/ 6 w 35"/>
                <a:gd name="T19" fmla="*/ 25 h 30"/>
                <a:gd name="T20" fmla="*/ 13 w 35"/>
                <a:gd name="T21" fmla="*/ 27 h 30"/>
                <a:gd name="T22" fmla="*/ 19 w 35"/>
                <a:gd name="T23" fmla="*/ 30 h 30"/>
                <a:gd name="T24" fmla="*/ 19 w 35"/>
                <a:gd name="T25" fmla="*/ 30 h 30"/>
                <a:gd name="T26" fmla="*/ 25 w 35"/>
                <a:gd name="T27" fmla="*/ 29 h 30"/>
                <a:gd name="T28" fmla="*/ 32 w 35"/>
                <a:gd name="T29" fmla="*/ 27 h 30"/>
                <a:gd name="T30" fmla="*/ 32 w 35"/>
                <a:gd name="T31" fmla="*/ 27 h 30"/>
                <a:gd name="T32" fmla="*/ 35 w 35"/>
                <a:gd name="T33" fmla="*/ 14 h 30"/>
                <a:gd name="T34" fmla="*/ 35 w 35"/>
                <a:gd name="T35" fmla="*/ 9 h 30"/>
                <a:gd name="T36" fmla="*/ 35 w 35"/>
                <a:gd name="T37" fmla="*/ 4 h 30"/>
                <a:gd name="T38" fmla="*/ 35 w 35"/>
                <a:gd name="T39" fmla="*/ 4 h 30"/>
                <a:gd name="T40" fmla="*/ 31 w 35"/>
                <a:gd name="T41" fmla="*/ 3 h 30"/>
                <a:gd name="T42" fmla="*/ 25 w 35"/>
                <a:gd name="T43" fmla="*/ 1 h 30"/>
                <a:gd name="T44" fmla="*/ 9 w 35"/>
                <a:gd name="T45" fmla="*/ 0 h 30"/>
                <a:gd name="T46" fmla="*/ 9 w 35"/>
                <a:gd name="T47" fmla="*/ 0 h 30"/>
                <a:gd name="T48" fmla="*/ 9 w 35"/>
                <a:gd name="T49"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30">
                  <a:moveTo>
                    <a:pt x="9" y="6"/>
                  </a:moveTo>
                  <a:lnTo>
                    <a:pt x="9" y="6"/>
                  </a:lnTo>
                  <a:lnTo>
                    <a:pt x="8" y="11"/>
                  </a:lnTo>
                  <a:lnTo>
                    <a:pt x="6" y="13"/>
                  </a:lnTo>
                  <a:lnTo>
                    <a:pt x="3" y="14"/>
                  </a:lnTo>
                  <a:lnTo>
                    <a:pt x="0" y="16"/>
                  </a:lnTo>
                  <a:lnTo>
                    <a:pt x="0" y="16"/>
                  </a:lnTo>
                  <a:lnTo>
                    <a:pt x="0" y="17"/>
                  </a:lnTo>
                  <a:lnTo>
                    <a:pt x="2" y="20"/>
                  </a:lnTo>
                  <a:lnTo>
                    <a:pt x="6" y="25"/>
                  </a:lnTo>
                  <a:lnTo>
                    <a:pt x="13" y="27"/>
                  </a:lnTo>
                  <a:lnTo>
                    <a:pt x="19" y="30"/>
                  </a:lnTo>
                  <a:lnTo>
                    <a:pt x="19" y="30"/>
                  </a:lnTo>
                  <a:lnTo>
                    <a:pt x="25" y="29"/>
                  </a:lnTo>
                  <a:lnTo>
                    <a:pt x="32" y="27"/>
                  </a:lnTo>
                  <a:lnTo>
                    <a:pt x="32" y="27"/>
                  </a:lnTo>
                  <a:lnTo>
                    <a:pt x="35" y="14"/>
                  </a:lnTo>
                  <a:lnTo>
                    <a:pt x="35" y="9"/>
                  </a:lnTo>
                  <a:lnTo>
                    <a:pt x="35" y="4"/>
                  </a:lnTo>
                  <a:lnTo>
                    <a:pt x="35" y="4"/>
                  </a:lnTo>
                  <a:lnTo>
                    <a:pt x="31" y="3"/>
                  </a:lnTo>
                  <a:lnTo>
                    <a:pt x="25" y="1"/>
                  </a:lnTo>
                  <a:lnTo>
                    <a:pt x="9" y="0"/>
                  </a:lnTo>
                  <a:lnTo>
                    <a:pt x="9" y="0"/>
                  </a:lnTo>
                  <a:lnTo>
                    <a:pt x="9"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41" name="Freeform 822"/>
            <p:cNvSpPr>
              <a:spLocks/>
            </p:cNvSpPr>
            <p:nvPr/>
          </p:nvSpPr>
          <p:spPr bwMode="auto">
            <a:xfrm>
              <a:off x="4041775" y="3086529"/>
              <a:ext cx="117475" cy="149225"/>
            </a:xfrm>
            <a:custGeom>
              <a:avLst/>
              <a:gdLst>
                <a:gd name="T0" fmla="*/ 70 w 74"/>
                <a:gd name="T1" fmla="*/ 29 h 94"/>
                <a:gd name="T2" fmla="*/ 71 w 74"/>
                <a:gd name="T3" fmla="*/ 27 h 94"/>
                <a:gd name="T4" fmla="*/ 58 w 74"/>
                <a:gd name="T5" fmla="*/ 30 h 94"/>
                <a:gd name="T6" fmla="*/ 52 w 74"/>
                <a:gd name="T7" fmla="*/ 27 h 94"/>
                <a:gd name="T8" fmla="*/ 41 w 74"/>
                <a:gd name="T9" fmla="*/ 20 h 94"/>
                <a:gd name="T10" fmla="*/ 39 w 74"/>
                <a:gd name="T11" fmla="*/ 16 h 94"/>
                <a:gd name="T12" fmla="*/ 42 w 74"/>
                <a:gd name="T13" fmla="*/ 14 h 94"/>
                <a:gd name="T14" fmla="*/ 47 w 74"/>
                <a:gd name="T15" fmla="*/ 11 h 94"/>
                <a:gd name="T16" fmla="*/ 48 w 74"/>
                <a:gd name="T17" fmla="*/ 6 h 94"/>
                <a:gd name="T18" fmla="*/ 48 w 74"/>
                <a:gd name="T19" fmla="*/ 0 h 94"/>
                <a:gd name="T20" fmla="*/ 45 w 74"/>
                <a:gd name="T21" fmla="*/ 0 h 94"/>
                <a:gd name="T22" fmla="*/ 35 w 74"/>
                <a:gd name="T23" fmla="*/ 6 h 94"/>
                <a:gd name="T24" fmla="*/ 29 w 74"/>
                <a:gd name="T25" fmla="*/ 11 h 94"/>
                <a:gd name="T26" fmla="*/ 31 w 74"/>
                <a:gd name="T27" fmla="*/ 17 h 94"/>
                <a:gd name="T28" fmla="*/ 32 w 74"/>
                <a:gd name="T29" fmla="*/ 23 h 94"/>
                <a:gd name="T30" fmla="*/ 29 w 74"/>
                <a:gd name="T31" fmla="*/ 23 h 94"/>
                <a:gd name="T32" fmla="*/ 10 w 74"/>
                <a:gd name="T33" fmla="*/ 25 h 94"/>
                <a:gd name="T34" fmla="*/ 6 w 74"/>
                <a:gd name="T35" fmla="*/ 26 h 94"/>
                <a:gd name="T36" fmla="*/ 12 w 74"/>
                <a:gd name="T37" fmla="*/ 29 h 94"/>
                <a:gd name="T38" fmla="*/ 16 w 74"/>
                <a:gd name="T39" fmla="*/ 33 h 94"/>
                <a:gd name="T40" fmla="*/ 18 w 74"/>
                <a:gd name="T41" fmla="*/ 38 h 94"/>
                <a:gd name="T42" fmla="*/ 10 w 74"/>
                <a:gd name="T43" fmla="*/ 43 h 94"/>
                <a:gd name="T44" fmla="*/ 7 w 74"/>
                <a:gd name="T45" fmla="*/ 46 h 94"/>
                <a:gd name="T46" fmla="*/ 18 w 74"/>
                <a:gd name="T47" fmla="*/ 48 h 94"/>
                <a:gd name="T48" fmla="*/ 23 w 74"/>
                <a:gd name="T49" fmla="*/ 49 h 94"/>
                <a:gd name="T50" fmla="*/ 25 w 74"/>
                <a:gd name="T51" fmla="*/ 51 h 94"/>
                <a:gd name="T52" fmla="*/ 22 w 74"/>
                <a:gd name="T53" fmla="*/ 53 h 94"/>
                <a:gd name="T54" fmla="*/ 18 w 74"/>
                <a:gd name="T55" fmla="*/ 61 h 94"/>
                <a:gd name="T56" fmla="*/ 16 w 74"/>
                <a:gd name="T57" fmla="*/ 65 h 94"/>
                <a:gd name="T58" fmla="*/ 18 w 74"/>
                <a:gd name="T59" fmla="*/ 67 h 94"/>
                <a:gd name="T60" fmla="*/ 22 w 74"/>
                <a:gd name="T61" fmla="*/ 67 h 94"/>
                <a:gd name="T62" fmla="*/ 20 w 74"/>
                <a:gd name="T63" fmla="*/ 69 h 94"/>
                <a:gd name="T64" fmla="*/ 3 w 74"/>
                <a:gd name="T65" fmla="*/ 78 h 94"/>
                <a:gd name="T66" fmla="*/ 0 w 74"/>
                <a:gd name="T67" fmla="*/ 81 h 94"/>
                <a:gd name="T68" fmla="*/ 3 w 74"/>
                <a:gd name="T69" fmla="*/ 85 h 94"/>
                <a:gd name="T70" fmla="*/ 13 w 74"/>
                <a:gd name="T71" fmla="*/ 93 h 94"/>
                <a:gd name="T72" fmla="*/ 20 w 74"/>
                <a:gd name="T73" fmla="*/ 94 h 94"/>
                <a:gd name="T74" fmla="*/ 35 w 74"/>
                <a:gd name="T75" fmla="*/ 88 h 94"/>
                <a:gd name="T76" fmla="*/ 45 w 74"/>
                <a:gd name="T77" fmla="*/ 81 h 94"/>
                <a:gd name="T78" fmla="*/ 55 w 74"/>
                <a:gd name="T79" fmla="*/ 78 h 94"/>
                <a:gd name="T80" fmla="*/ 65 w 74"/>
                <a:gd name="T81" fmla="*/ 77 h 94"/>
                <a:gd name="T82" fmla="*/ 68 w 74"/>
                <a:gd name="T83" fmla="*/ 72 h 94"/>
                <a:gd name="T84" fmla="*/ 73 w 74"/>
                <a:gd name="T85" fmla="*/ 56 h 94"/>
                <a:gd name="T86" fmla="*/ 74 w 74"/>
                <a:gd name="T87" fmla="*/ 49 h 94"/>
                <a:gd name="T88" fmla="*/ 70 w 74"/>
                <a:gd name="T89" fmla="*/ 3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94">
                  <a:moveTo>
                    <a:pt x="70" y="29"/>
                  </a:moveTo>
                  <a:lnTo>
                    <a:pt x="70" y="29"/>
                  </a:lnTo>
                  <a:lnTo>
                    <a:pt x="71" y="27"/>
                  </a:lnTo>
                  <a:lnTo>
                    <a:pt x="71" y="27"/>
                  </a:lnTo>
                  <a:lnTo>
                    <a:pt x="64" y="29"/>
                  </a:lnTo>
                  <a:lnTo>
                    <a:pt x="58" y="30"/>
                  </a:lnTo>
                  <a:lnTo>
                    <a:pt x="58" y="30"/>
                  </a:lnTo>
                  <a:lnTo>
                    <a:pt x="52" y="27"/>
                  </a:lnTo>
                  <a:lnTo>
                    <a:pt x="45" y="25"/>
                  </a:lnTo>
                  <a:lnTo>
                    <a:pt x="41" y="20"/>
                  </a:lnTo>
                  <a:lnTo>
                    <a:pt x="39" y="17"/>
                  </a:lnTo>
                  <a:lnTo>
                    <a:pt x="39" y="16"/>
                  </a:lnTo>
                  <a:lnTo>
                    <a:pt x="39" y="16"/>
                  </a:lnTo>
                  <a:lnTo>
                    <a:pt x="42" y="14"/>
                  </a:lnTo>
                  <a:lnTo>
                    <a:pt x="45" y="13"/>
                  </a:lnTo>
                  <a:lnTo>
                    <a:pt x="47" y="11"/>
                  </a:lnTo>
                  <a:lnTo>
                    <a:pt x="48" y="6"/>
                  </a:lnTo>
                  <a:lnTo>
                    <a:pt x="48" y="6"/>
                  </a:lnTo>
                  <a:lnTo>
                    <a:pt x="48" y="0"/>
                  </a:lnTo>
                  <a:lnTo>
                    <a:pt x="48" y="0"/>
                  </a:lnTo>
                  <a:lnTo>
                    <a:pt x="45" y="0"/>
                  </a:lnTo>
                  <a:lnTo>
                    <a:pt x="45" y="0"/>
                  </a:lnTo>
                  <a:lnTo>
                    <a:pt x="39" y="1"/>
                  </a:lnTo>
                  <a:lnTo>
                    <a:pt x="35" y="6"/>
                  </a:lnTo>
                  <a:lnTo>
                    <a:pt x="29" y="11"/>
                  </a:lnTo>
                  <a:lnTo>
                    <a:pt x="29" y="11"/>
                  </a:lnTo>
                  <a:lnTo>
                    <a:pt x="29" y="14"/>
                  </a:lnTo>
                  <a:lnTo>
                    <a:pt x="31" y="17"/>
                  </a:lnTo>
                  <a:lnTo>
                    <a:pt x="32" y="20"/>
                  </a:lnTo>
                  <a:lnTo>
                    <a:pt x="32" y="23"/>
                  </a:lnTo>
                  <a:lnTo>
                    <a:pt x="32" y="23"/>
                  </a:lnTo>
                  <a:lnTo>
                    <a:pt x="29" y="23"/>
                  </a:lnTo>
                  <a:lnTo>
                    <a:pt x="23" y="23"/>
                  </a:lnTo>
                  <a:lnTo>
                    <a:pt x="10" y="25"/>
                  </a:lnTo>
                  <a:lnTo>
                    <a:pt x="10" y="25"/>
                  </a:lnTo>
                  <a:lnTo>
                    <a:pt x="6" y="26"/>
                  </a:lnTo>
                  <a:lnTo>
                    <a:pt x="7" y="27"/>
                  </a:lnTo>
                  <a:lnTo>
                    <a:pt x="12" y="29"/>
                  </a:lnTo>
                  <a:lnTo>
                    <a:pt x="16" y="33"/>
                  </a:lnTo>
                  <a:lnTo>
                    <a:pt x="16" y="33"/>
                  </a:lnTo>
                  <a:lnTo>
                    <a:pt x="18" y="36"/>
                  </a:lnTo>
                  <a:lnTo>
                    <a:pt x="18" y="38"/>
                  </a:lnTo>
                  <a:lnTo>
                    <a:pt x="10" y="43"/>
                  </a:lnTo>
                  <a:lnTo>
                    <a:pt x="10" y="43"/>
                  </a:lnTo>
                  <a:lnTo>
                    <a:pt x="7" y="46"/>
                  </a:lnTo>
                  <a:lnTo>
                    <a:pt x="7" y="46"/>
                  </a:lnTo>
                  <a:lnTo>
                    <a:pt x="9" y="46"/>
                  </a:lnTo>
                  <a:lnTo>
                    <a:pt x="18" y="48"/>
                  </a:lnTo>
                  <a:lnTo>
                    <a:pt x="18" y="48"/>
                  </a:lnTo>
                  <a:lnTo>
                    <a:pt x="23" y="49"/>
                  </a:lnTo>
                  <a:lnTo>
                    <a:pt x="25" y="49"/>
                  </a:lnTo>
                  <a:lnTo>
                    <a:pt x="25" y="51"/>
                  </a:lnTo>
                  <a:lnTo>
                    <a:pt x="22" y="53"/>
                  </a:lnTo>
                  <a:lnTo>
                    <a:pt x="22" y="53"/>
                  </a:lnTo>
                  <a:lnTo>
                    <a:pt x="19" y="56"/>
                  </a:lnTo>
                  <a:lnTo>
                    <a:pt x="18" y="61"/>
                  </a:lnTo>
                  <a:lnTo>
                    <a:pt x="16" y="65"/>
                  </a:lnTo>
                  <a:lnTo>
                    <a:pt x="16" y="65"/>
                  </a:lnTo>
                  <a:lnTo>
                    <a:pt x="18" y="67"/>
                  </a:lnTo>
                  <a:lnTo>
                    <a:pt x="18" y="67"/>
                  </a:lnTo>
                  <a:lnTo>
                    <a:pt x="20" y="67"/>
                  </a:lnTo>
                  <a:lnTo>
                    <a:pt x="22" y="67"/>
                  </a:lnTo>
                  <a:lnTo>
                    <a:pt x="22" y="68"/>
                  </a:lnTo>
                  <a:lnTo>
                    <a:pt x="20" y="69"/>
                  </a:lnTo>
                  <a:lnTo>
                    <a:pt x="20" y="69"/>
                  </a:lnTo>
                  <a:lnTo>
                    <a:pt x="3" y="78"/>
                  </a:lnTo>
                  <a:lnTo>
                    <a:pt x="3" y="78"/>
                  </a:lnTo>
                  <a:lnTo>
                    <a:pt x="0" y="81"/>
                  </a:lnTo>
                  <a:lnTo>
                    <a:pt x="2" y="82"/>
                  </a:lnTo>
                  <a:lnTo>
                    <a:pt x="3" y="85"/>
                  </a:lnTo>
                  <a:lnTo>
                    <a:pt x="6" y="88"/>
                  </a:lnTo>
                  <a:lnTo>
                    <a:pt x="13" y="93"/>
                  </a:lnTo>
                  <a:lnTo>
                    <a:pt x="20" y="94"/>
                  </a:lnTo>
                  <a:lnTo>
                    <a:pt x="20" y="94"/>
                  </a:lnTo>
                  <a:lnTo>
                    <a:pt x="28" y="93"/>
                  </a:lnTo>
                  <a:lnTo>
                    <a:pt x="35" y="88"/>
                  </a:lnTo>
                  <a:lnTo>
                    <a:pt x="45" y="81"/>
                  </a:lnTo>
                  <a:lnTo>
                    <a:pt x="45" y="81"/>
                  </a:lnTo>
                  <a:lnTo>
                    <a:pt x="49" y="80"/>
                  </a:lnTo>
                  <a:lnTo>
                    <a:pt x="55" y="78"/>
                  </a:lnTo>
                  <a:lnTo>
                    <a:pt x="65" y="77"/>
                  </a:lnTo>
                  <a:lnTo>
                    <a:pt x="65" y="77"/>
                  </a:lnTo>
                  <a:lnTo>
                    <a:pt x="67" y="75"/>
                  </a:lnTo>
                  <a:lnTo>
                    <a:pt x="68" y="72"/>
                  </a:lnTo>
                  <a:lnTo>
                    <a:pt x="71" y="65"/>
                  </a:lnTo>
                  <a:lnTo>
                    <a:pt x="73" y="56"/>
                  </a:lnTo>
                  <a:lnTo>
                    <a:pt x="74" y="49"/>
                  </a:lnTo>
                  <a:lnTo>
                    <a:pt x="74" y="49"/>
                  </a:lnTo>
                  <a:lnTo>
                    <a:pt x="71" y="39"/>
                  </a:lnTo>
                  <a:lnTo>
                    <a:pt x="70" y="33"/>
                  </a:lnTo>
                  <a:lnTo>
                    <a:pt x="70" y="29"/>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42" name="Freeform 823"/>
            <p:cNvSpPr>
              <a:spLocks/>
            </p:cNvSpPr>
            <p:nvPr/>
          </p:nvSpPr>
          <p:spPr bwMode="auto">
            <a:xfrm>
              <a:off x="4041775" y="3086529"/>
              <a:ext cx="117475" cy="149225"/>
            </a:xfrm>
            <a:custGeom>
              <a:avLst/>
              <a:gdLst>
                <a:gd name="T0" fmla="*/ 70 w 74"/>
                <a:gd name="T1" fmla="*/ 29 h 94"/>
                <a:gd name="T2" fmla="*/ 71 w 74"/>
                <a:gd name="T3" fmla="*/ 27 h 94"/>
                <a:gd name="T4" fmla="*/ 58 w 74"/>
                <a:gd name="T5" fmla="*/ 30 h 94"/>
                <a:gd name="T6" fmla="*/ 52 w 74"/>
                <a:gd name="T7" fmla="*/ 27 h 94"/>
                <a:gd name="T8" fmla="*/ 41 w 74"/>
                <a:gd name="T9" fmla="*/ 20 h 94"/>
                <a:gd name="T10" fmla="*/ 39 w 74"/>
                <a:gd name="T11" fmla="*/ 16 h 94"/>
                <a:gd name="T12" fmla="*/ 42 w 74"/>
                <a:gd name="T13" fmla="*/ 14 h 94"/>
                <a:gd name="T14" fmla="*/ 47 w 74"/>
                <a:gd name="T15" fmla="*/ 11 h 94"/>
                <a:gd name="T16" fmla="*/ 48 w 74"/>
                <a:gd name="T17" fmla="*/ 6 h 94"/>
                <a:gd name="T18" fmla="*/ 48 w 74"/>
                <a:gd name="T19" fmla="*/ 0 h 94"/>
                <a:gd name="T20" fmla="*/ 45 w 74"/>
                <a:gd name="T21" fmla="*/ 0 h 94"/>
                <a:gd name="T22" fmla="*/ 35 w 74"/>
                <a:gd name="T23" fmla="*/ 6 h 94"/>
                <a:gd name="T24" fmla="*/ 29 w 74"/>
                <a:gd name="T25" fmla="*/ 11 h 94"/>
                <a:gd name="T26" fmla="*/ 31 w 74"/>
                <a:gd name="T27" fmla="*/ 17 h 94"/>
                <a:gd name="T28" fmla="*/ 32 w 74"/>
                <a:gd name="T29" fmla="*/ 23 h 94"/>
                <a:gd name="T30" fmla="*/ 29 w 74"/>
                <a:gd name="T31" fmla="*/ 23 h 94"/>
                <a:gd name="T32" fmla="*/ 10 w 74"/>
                <a:gd name="T33" fmla="*/ 25 h 94"/>
                <a:gd name="T34" fmla="*/ 6 w 74"/>
                <a:gd name="T35" fmla="*/ 26 h 94"/>
                <a:gd name="T36" fmla="*/ 12 w 74"/>
                <a:gd name="T37" fmla="*/ 29 h 94"/>
                <a:gd name="T38" fmla="*/ 16 w 74"/>
                <a:gd name="T39" fmla="*/ 33 h 94"/>
                <a:gd name="T40" fmla="*/ 18 w 74"/>
                <a:gd name="T41" fmla="*/ 38 h 94"/>
                <a:gd name="T42" fmla="*/ 10 w 74"/>
                <a:gd name="T43" fmla="*/ 43 h 94"/>
                <a:gd name="T44" fmla="*/ 7 w 74"/>
                <a:gd name="T45" fmla="*/ 46 h 94"/>
                <a:gd name="T46" fmla="*/ 18 w 74"/>
                <a:gd name="T47" fmla="*/ 48 h 94"/>
                <a:gd name="T48" fmla="*/ 23 w 74"/>
                <a:gd name="T49" fmla="*/ 49 h 94"/>
                <a:gd name="T50" fmla="*/ 25 w 74"/>
                <a:gd name="T51" fmla="*/ 51 h 94"/>
                <a:gd name="T52" fmla="*/ 22 w 74"/>
                <a:gd name="T53" fmla="*/ 53 h 94"/>
                <a:gd name="T54" fmla="*/ 18 w 74"/>
                <a:gd name="T55" fmla="*/ 61 h 94"/>
                <a:gd name="T56" fmla="*/ 16 w 74"/>
                <a:gd name="T57" fmla="*/ 65 h 94"/>
                <a:gd name="T58" fmla="*/ 18 w 74"/>
                <a:gd name="T59" fmla="*/ 67 h 94"/>
                <a:gd name="T60" fmla="*/ 22 w 74"/>
                <a:gd name="T61" fmla="*/ 67 h 94"/>
                <a:gd name="T62" fmla="*/ 20 w 74"/>
                <a:gd name="T63" fmla="*/ 69 h 94"/>
                <a:gd name="T64" fmla="*/ 3 w 74"/>
                <a:gd name="T65" fmla="*/ 78 h 94"/>
                <a:gd name="T66" fmla="*/ 0 w 74"/>
                <a:gd name="T67" fmla="*/ 81 h 94"/>
                <a:gd name="T68" fmla="*/ 3 w 74"/>
                <a:gd name="T69" fmla="*/ 85 h 94"/>
                <a:gd name="T70" fmla="*/ 13 w 74"/>
                <a:gd name="T71" fmla="*/ 93 h 94"/>
                <a:gd name="T72" fmla="*/ 20 w 74"/>
                <a:gd name="T73" fmla="*/ 94 h 94"/>
                <a:gd name="T74" fmla="*/ 35 w 74"/>
                <a:gd name="T75" fmla="*/ 88 h 94"/>
                <a:gd name="T76" fmla="*/ 45 w 74"/>
                <a:gd name="T77" fmla="*/ 81 h 94"/>
                <a:gd name="T78" fmla="*/ 55 w 74"/>
                <a:gd name="T79" fmla="*/ 78 h 94"/>
                <a:gd name="T80" fmla="*/ 65 w 74"/>
                <a:gd name="T81" fmla="*/ 77 h 94"/>
                <a:gd name="T82" fmla="*/ 68 w 74"/>
                <a:gd name="T83" fmla="*/ 72 h 94"/>
                <a:gd name="T84" fmla="*/ 73 w 74"/>
                <a:gd name="T85" fmla="*/ 56 h 94"/>
                <a:gd name="T86" fmla="*/ 74 w 74"/>
                <a:gd name="T87" fmla="*/ 49 h 94"/>
                <a:gd name="T88" fmla="*/ 70 w 74"/>
                <a:gd name="T89" fmla="*/ 3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94">
                  <a:moveTo>
                    <a:pt x="70" y="29"/>
                  </a:moveTo>
                  <a:lnTo>
                    <a:pt x="70" y="29"/>
                  </a:lnTo>
                  <a:lnTo>
                    <a:pt x="71" y="27"/>
                  </a:lnTo>
                  <a:lnTo>
                    <a:pt x="71" y="27"/>
                  </a:lnTo>
                  <a:lnTo>
                    <a:pt x="64" y="29"/>
                  </a:lnTo>
                  <a:lnTo>
                    <a:pt x="58" y="30"/>
                  </a:lnTo>
                  <a:lnTo>
                    <a:pt x="58" y="30"/>
                  </a:lnTo>
                  <a:lnTo>
                    <a:pt x="52" y="27"/>
                  </a:lnTo>
                  <a:lnTo>
                    <a:pt x="45" y="25"/>
                  </a:lnTo>
                  <a:lnTo>
                    <a:pt x="41" y="20"/>
                  </a:lnTo>
                  <a:lnTo>
                    <a:pt x="39" y="17"/>
                  </a:lnTo>
                  <a:lnTo>
                    <a:pt x="39" y="16"/>
                  </a:lnTo>
                  <a:lnTo>
                    <a:pt x="39" y="16"/>
                  </a:lnTo>
                  <a:lnTo>
                    <a:pt x="42" y="14"/>
                  </a:lnTo>
                  <a:lnTo>
                    <a:pt x="45" y="13"/>
                  </a:lnTo>
                  <a:lnTo>
                    <a:pt x="47" y="11"/>
                  </a:lnTo>
                  <a:lnTo>
                    <a:pt x="48" y="6"/>
                  </a:lnTo>
                  <a:lnTo>
                    <a:pt x="48" y="6"/>
                  </a:lnTo>
                  <a:lnTo>
                    <a:pt x="48" y="0"/>
                  </a:lnTo>
                  <a:lnTo>
                    <a:pt x="48" y="0"/>
                  </a:lnTo>
                  <a:lnTo>
                    <a:pt x="45" y="0"/>
                  </a:lnTo>
                  <a:lnTo>
                    <a:pt x="45" y="0"/>
                  </a:lnTo>
                  <a:lnTo>
                    <a:pt x="39" y="1"/>
                  </a:lnTo>
                  <a:lnTo>
                    <a:pt x="35" y="6"/>
                  </a:lnTo>
                  <a:lnTo>
                    <a:pt x="29" y="11"/>
                  </a:lnTo>
                  <a:lnTo>
                    <a:pt x="29" y="11"/>
                  </a:lnTo>
                  <a:lnTo>
                    <a:pt x="29" y="14"/>
                  </a:lnTo>
                  <a:lnTo>
                    <a:pt x="31" y="17"/>
                  </a:lnTo>
                  <a:lnTo>
                    <a:pt x="32" y="20"/>
                  </a:lnTo>
                  <a:lnTo>
                    <a:pt x="32" y="23"/>
                  </a:lnTo>
                  <a:lnTo>
                    <a:pt x="32" y="23"/>
                  </a:lnTo>
                  <a:lnTo>
                    <a:pt x="29" y="23"/>
                  </a:lnTo>
                  <a:lnTo>
                    <a:pt x="23" y="23"/>
                  </a:lnTo>
                  <a:lnTo>
                    <a:pt x="10" y="25"/>
                  </a:lnTo>
                  <a:lnTo>
                    <a:pt x="10" y="25"/>
                  </a:lnTo>
                  <a:lnTo>
                    <a:pt x="6" y="26"/>
                  </a:lnTo>
                  <a:lnTo>
                    <a:pt x="7" y="27"/>
                  </a:lnTo>
                  <a:lnTo>
                    <a:pt x="12" y="29"/>
                  </a:lnTo>
                  <a:lnTo>
                    <a:pt x="16" y="33"/>
                  </a:lnTo>
                  <a:lnTo>
                    <a:pt x="16" y="33"/>
                  </a:lnTo>
                  <a:lnTo>
                    <a:pt x="18" y="36"/>
                  </a:lnTo>
                  <a:lnTo>
                    <a:pt x="18" y="38"/>
                  </a:lnTo>
                  <a:lnTo>
                    <a:pt x="10" y="43"/>
                  </a:lnTo>
                  <a:lnTo>
                    <a:pt x="10" y="43"/>
                  </a:lnTo>
                  <a:lnTo>
                    <a:pt x="7" y="46"/>
                  </a:lnTo>
                  <a:lnTo>
                    <a:pt x="7" y="46"/>
                  </a:lnTo>
                  <a:lnTo>
                    <a:pt x="9" y="46"/>
                  </a:lnTo>
                  <a:lnTo>
                    <a:pt x="18" y="48"/>
                  </a:lnTo>
                  <a:lnTo>
                    <a:pt x="18" y="48"/>
                  </a:lnTo>
                  <a:lnTo>
                    <a:pt x="23" y="49"/>
                  </a:lnTo>
                  <a:lnTo>
                    <a:pt x="25" y="49"/>
                  </a:lnTo>
                  <a:lnTo>
                    <a:pt x="25" y="51"/>
                  </a:lnTo>
                  <a:lnTo>
                    <a:pt x="22" y="53"/>
                  </a:lnTo>
                  <a:lnTo>
                    <a:pt x="22" y="53"/>
                  </a:lnTo>
                  <a:lnTo>
                    <a:pt x="19" y="56"/>
                  </a:lnTo>
                  <a:lnTo>
                    <a:pt x="18" y="61"/>
                  </a:lnTo>
                  <a:lnTo>
                    <a:pt x="16" y="65"/>
                  </a:lnTo>
                  <a:lnTo>
                    <a:pt x="16" y="65"/>
                  </a:lnTo>
                  <a:lnTo>
                    <a:pt x="18" y="67"/>
                  </a:lnTo>
                  <a:lnTo>
                    <a:pt x="18" y="67"/>
                  </a:lnTo>
                  <a:lnTo>
                    <a:pt x="20" y="67"/>
                  </a:lnTo>
                  <a:lnTo>
                    <a:pt x="22" y="67"/>
                  </a:lnTo>
                  <a:lnTo>
                    <a:pt x="22" y="68"/>
                  </a:lnTo>
                  <a:lnTo>
                    <a:pt x="20" y="69"/>
                  </a:lnTo>
                  <a:lnTo>
                    <a:pt x="20" y="69"/>
                  </a:lnTo>
                  <a:lnTo>
                    <a:pt x="3" y="78"/>
                  </a:lnTo>
                  <a:lnTo>
                    <a:pt x="3" y="78"/>
                  </a:lnTo>
                  <a:lnTo>
                    <a:pt x="0" y="81"/>
                  </a:lnTo>
                  <a:lnTo>
                    <a:pt x="2" y="82"/>
                  </a:lnTo>
                  <a:lnTo>
                    <a:pt x="3" y="85"/>
                  </a:lnTo>
                  <a:lnTo>
                    <a:pt x="6" y="88"/>
                  </a:lnTo>
                  <a:lnTo>
                    <a:pt x="13" y="93"/>
                  </a:lnTo>
                  <a:lnTo>
                    <a:pt x="20" y="94"/>
                  </a:lnTo>
                  <a:lnTo>
                    <a:pt x="20" y="94"/>
                  </a:lnTo>
                  <a:lnTo>
                    <a:pt x="28" y="93"/>
                  </a:lnTo>
                  <a:lnTo>
                    <a:pt x="35" y="88"/>
                  </a:lnTo>
                  <a:lnTo>
                    <a:pt x="45" y="81"/>
                  </a:lnTo>
                  <a:lnTo>
                    <a:pt x="45" y="81"/>
                  </a:lnTo>
                  <a:lnTo>
                    <a:pt x="49" y="80"/>
                  </a:lnTo>
                  <a:lnTo>
                    <a:pt x="55" y="78"/>
                  </a:lnTo>
                  <a:lnTo>
                    <a:pt x="65" y="77"/>
                  </a:lnTo>
                  <a:lnTo>
                    <a:pt x="65" y="77"/>
                  </a:lnTo>
                  <a:lnTo>
                    <a:pt x="67" y="75"/>
                  </a:lnTo>
                  <a:lnTo>
                    <a:pt x="68" y="72"/>
                  </a:lnTo>
                  <a:lnTo>
                    <a:pt x="71" y="65"/>
                  </a:lnTo>
                  <a:lnTo>
                    <a:pt x="73" y="56"/>
                  </a:lnTo>
                  <a:lnTo>
                    <a:pt x="74" y="49"/>
                  </a:lnTo>
                  <a:lnTo>
                    <a:pt x="74" y="49"/>
                  </a:lnTo>
                  <a:lnTo>
                    <a:pt x="71" y="39"/>
                  </a:lnTo>
                  <a:lnTo>
                    <a:pt x="70" y="33"/>
                  </a:lnTo>
                  <a:lnTo>
                    <a:pt x="70" y="2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43" name="Freeform 824"/>
            <p:cNvSpPr>
              <a:spLocks/>
            </p:cNvSpPr>
            <p:nvPr/>
          </p:nvSpPr>
          <p:spPr bwMode="auto">
            <a:xfrm>
              <a:off x="4124325" y="2937304"/>
              <a:ext cx="25400" cy="31750"/>
            </a:xfrm>
            <a:custGeom>
              <a:avLst/>
              <a:gdLst>
                <a:gd name="T0" fmla="*/ 16 w 16"/>
                <a:gd name="T1" fmla="*/ 0 h 20"/>
                <a:gd name="T2" fmla="*/ 16 w 16"/>
                <a:gd name="T3" fmla="*/ 0 h 20"/>
                <a:gd name="T4" fmla="*/ 6 w 16"/>
                <a:gd name="T5" fmla="*/ 6 h 20"/>
                <a:gd name="T6" fmla="*/ 2 w 16"/>
                <a:gd name="T7" fmla="*/ 8 h 20"/>
                <a:gd name="T8" fmla="*/ 0 w 16"/>
                <a:gd name="T9" fmla="*/ 11 h 20"/>
                <a:gd name="T10" fmla="*/ 0 w 16"/>
                <a:gd name="T11" fmla="*/ 11 h 20"/>
                <a:gd name="T12" fmla="*/ 2 w 16"/>
                <a:gd name="T13" fmla="*/ 19 h 20"/>
                <a:gd name="T14" fmla="*/ 3 w 16"/>
                <a:gd name="T15" fmla="*/ 20 h 20"/>
                <a:gd name="T16" fmla="*/ 6 w 16"/>
                <a:gd name="T17" fmla="*/ 19 h 20"/>
                <a:gd name="T18" fmla="*/ 6 w 16"/>
                <a:gd name="T19" fmla="*/ 19 h 20"/>
                <a:gd name="T20" fmla="*/ 10 w 16"/>
                <a:gd name="T21" fmla="*/ 14 h 20"/>
                <a:gd name="T22" fmla="*/ 15 w 16"/>
                <a:gd name="T23" fmla="*/ 7 h 20"/>
                <a:gd name="T24" fmla="*/ 16 w 16"/>
                <a:gd name="T25" fmla="*/ 1 h 20"/>
                <a:gd name="T26" fmla="*/ 16 w 16"/>
                <a:gd name="T27" fmla="*/ 0 h 20"/>
                <a:gd name="T28" fmla="*/ 16 w 16"/>
                <a:gd name="T2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0">
                  <a:moveTo>
                    <a:pt x="16" y="0"/>
                  </a:moveTo>
                  <a:lnTo>
                    <a:pt x="16" y="0"/>
                  </a:lnTo>
                  <a:lnTo>
                    <a:pt x="6" y="6"/>
                  </a:lnTo>
                  <a:lnTo>
                    <a:pt x="2" y="8"/>
                  </a:lnTo>
                  <a:lnTo>
                    <a:pt x="0" y="11"/>
                  </a:lnTo>
                  <a:lnTo>
                    <a:pt x="0" y="11"/>
                  </a:lnTo>
                  <a:lnTo>
                    <a:pt x="2" y="19"/>
                  </a:lnTo>
                  <a:lnTo>
                    <a:pt x="3" y="20"/>
                  </a:lnTo>
                  <a:lnTo>
                    <a:pt x="6" y="19"/>
                  </a:lnTo>
                  <a:lnTo>
                    <a:pt x="6" y="19"/>
                  </a:lnTo>
                  <a:lnTo>
                    <a:pt x="10" y="14"/>
                  </a:lnTo>
                  <a:lnTo>
                    <a:pt x="15" y="7"/>
                  </a:lnTo>
                  <a:lnTo>
                    <a:pt x="16" y="1"/>
                  </a:lnTo>
                  <a:lnTo>
                    <a:pt x="16" y="0"/>
                  </a:lnTo>
                  <a:lnTo>
                    <a:pt x="16" y="0"/>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44" name="Freeform 825"/>
            <p:cNvSpPr>
              <a:spLocks/>
            </p:cNvSpPr>
            <p:nvPr/>
          </p:nvSpPr>
          <p:spPr bwMode="auto">
            <a:xfrm>
              <a:off x="4124325" y="2937304"/>
              <a:ext cx="25400" cy="31750"/>
            </a:xfrm>
            <a:custGeom>
              <a:avLst/>
              <a:gdLst>
                <a:gd name="T0" fmla="*/ 16 w 16"/>
                <a:gd name="T1" fmla="*/ 0 h 20"/>
                <a:gd name="T2" fmla="*/ 16 w 16"/>
                <a:gd name="T3" fmla="*/ 0 h 20"/>
                <a:gd name="T4" fmla="*/ 6 w 16"/>
                <a:gd name="T5" fmla="*/ 6 h 20"/>
                <a:gd name="T6" fmla="*/ 2 w 16"/>
                <a:gd name="T7" fmla="*/ 8 h 20"/>
                <a:gd name="T8" fmla="*/ 0 w 16"/>
                <a:gd name="T9" fmla="*/ 11 h 20"/>
                <a:gd name="T10" fmla="*/ 0 w 16"/>
                <a:gd name="T11" fmla="*/ 11 h 20"/>
                <a:gd name="T12" fmla="*/ 2 w 16"/>
                <a:gd name="T13" fmla="*/ 19 h 20"/>
                <a:gd name="T14" fmla="*/ 3 w 16"/>
                <a:gd name="T15" fmla="*/ 20 h 20"/>
                <a:gd name="T16" fmla="*/ 6 w 16"/>
                <a:gd name="T17" fmla="*/ 19 h 20"/>
                <a:gd name="T18" fmla="*/ 6 w 16"/>
                <a:gd name="T19" fmla="*/ 19 h 20"/>
                <a:gd name="T20" fmla="*/ 10 w 16"/>
                <a:gd name="T21" fmla="*/ 14 h 20"/>
                <a:gd name="T22" fmla="*/ 15 w 16"/>
                <a:gd name="T23" fmla="*/ 7 h 20"/>
                <a:gd name="T24" fmla="*/ 16 w 16"/>
                <a:gd name="T25" fmla="*/ 1 h 20"/>
                <a:gd name="T26" fmla="*/ 16 w 16"/>
                <a:gd name="T27" fmla="*/ 0 h 20"/>
                <a:gd name="T28" fmla="*/ 16 w 16"/>
                <a:gd name="T2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0">
                  <a:moveTo>
                    <a:pt x="16" y="0"/>
                  </a:moveTo>
                  <a:lnTo>
                    <a:pt x="16" y="0"/>
                  </a:lnTo>
                  <a:lnTo>
                    <a:pt x="6" y="6"/>
                  </a:lnTo>
                  <a:lnTo>
                    <a:pt x="2" y="8"/>
                  </a:lnTo>
                  <a:lnTo>
                    <a:pt x="0" y="11"/>
                  </a:lnTo>
                  <a:lnTo>
                    <a:pt x="0" y="11"/>
                  </a:lnTo>
                  <a:lnTo>
                    <a:pt x="2" y="19"/>
                  </a:lnTo>
                  <a:lnTo>
                    <a:pt x="3" y="20"/>
                  </a:lnTo>
                  <a:lnTo>
                    <a:pt x="6" y="19"/>
                  </a:lnTo>
                  <a:lnTo>
                    <a:pt x="6" y="19"/>
                  </a:lnTo>
                  <a:lnTo>
                    <a:pt x="10" y="14"/>
                  </a:lnTo>
                  <a:lnTo>
                    <a:pt x="15" y="7"/>
                  </a:lnTo>
                  <a:lnTo>
                    <a:pt x="16" y="1"/>
                  </a:lnTo>
                  <a:lnTo>
                    <a:pt x="16"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45" name="Freeform 826"/>
            <p:cNvSpPr>
              <a:spLocks/>
            </p:cNvSpPr>
            <p:nvPr/>
          </p:nvSpPr>
          <p:spPr bwMode="auto">
            <a:xfrm>
              <a:off x="4532313" y="3559604"/>
              <a:ext cx="26988" cy="55563"/>
            </a:xfrm>
            <a:custGeom>
              <a:avLst/>
              <a:gdLst>
                <a:gd name="T0" fmla="*/ 14 w 17"/>
                <a:gd name="T1" fmla="*/ 0 h 35"/>
                <a:gd name="T2" fmla="*/ 14 w 17"/>
                <a:gd name="T3" fmla="*/ 0 h 35"/>
                <a:gd name="T4" fmla="*/ 7 w 17"/>
                <a:gd name="T5" fmla="*/ 5 h 35"/>
                <a:gd name="T6" fmla="*/ 1 w 17"/>
                <a:gd name="T7" fmla="*/ 12 h 35"/>
                <a:gd name="T8" fmla="*/ 1 w 17"/>
                <a:gd name="T9" fmla="*/ 12 h 35"/>
                <a:gd name="T10" fmla="*/ 0 w 17"/>
                <a:gd name="T11" fmla="*/ 15 h 35"/>
                <a:gd name="T12" fmla="*/ 0 w 17"/>
                <a:gd name="T13" fmla="*/ 18 h 35"/>
                <a:gd name="T14" fmla="*/ 1 w 17"/>
                <a:gd name="T15" fmla="*/ 25 h 35"/>
                <a:gd name="T16" fmla="*/ 4 w 17"/>
                <a:gd name="T17" fmla="*/ 32 h 35"/>
                <a:gd name="T18" fmla="*/ 5 w 17"/>
                <a:gd name="T19" fmla="*/ 34 h 35"/>
                <a:gd name="T20" fmla="*/ 7 w 17"/>
                <a:gd name="T21" fmla="*/ 35 h 35"/>
                <a:gd name="T22" fmla="*/ 7 w 17"/>
                <a:gd name="T23" fmla="*/ 35 h 35"/>
                <a:gd name="T24" fmla="*/ 10 w 17"/>
                <a:gd name="T25" fmla="*/ 34 h 35"/>
                <a:gd name="T26" fmla="*/ 13 w 17"/>
                <a:gd name="T27" fmla="*/ 29 h 35"/>
                <a:gd name="T28" fmla="*/ 16 w 17"/>
                <a:gd name="T29" fmla="*/ 23 h 35"/>
                <a:gd name="T30" fmla="*/ 16 w 17"/>
                <a:gd name="T31" fmla="*/ 19 h 35"/>
                <a:gd name="T32" fmla="*/ 16 w 17"/>
                <a:gd name="T33" fmla="*/ 19 h 35"/>
                <a:gd name="T34" fmla="*/ 17 w 17"/>
                <a:gd name="T35" fmla="*/ 6 h 35"/>
                <a:gd name="T36" fmla="*/ 16 w 17"/>
                <a:gd name="T37" fmla="*/ 2 h 35"/>
                <a:gd name="T38" fmla="*/ 16 w 17"/>
                <a:gd name="T39" fmla="*/ 0 h 35"/>
                <a:gd name="T40" fmla="*/ 14 w 17"/>
                <a:gd name="T4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5">
                  <a:moveTo>
                    <a:pt x="14" y="0"/>
                  </a:moveTo>
                  <a:lnTo>
                    <a:pt x="14" y="0"/>
                  </a:lnTo>
                  <a:lnTo>
                    <a:pt x="7" y="5"/>
                  </a:lnTo>
                  <a:lnTo>
                    <a:pt x="1" y="12"/>
                  </a:lnTo>
                  <a:lnTo>
                    <a:pt x="1" y="12"/>
                  </a:lnTo>
                  <a:lnTo>
                    <a:pt x="0" y="15"/>
                  </a:lnTo>
                  <a:lnTo>
                    <a:pt x="0" y="18"/>
                  </a:lnTo>
                  <a:lnTo>
                    <a:pt x="1" y="25"/>
                  </a:lnTo>
                  <a:lnTo>
                    <a:pt x="4" y="32"/>
                  </a:lnTo>
                  <a:lnTo>
                    <a:pt x="5" y="34"/>
                  </a:lnTo>
                  <a:lnTo>
                    <a:pt x="7" y="35"/>
                  </a:lnTo>
                  <a:lnTo>
                    <a:pt x="7" y="35"/>
                  </a:lnTo>
                  <a:lnTo>
                    <a:pt x="10" y="34"/>
                  </a:lnTo>
                  <a:lnTo>
                    <a:pt x="13" y="29"/>
                  </a:lnTo>
                  <a:lnTo>
                    <a:pt x="16" y="23"/>
                  </a:lnTo>
                  <a:lnTo>
                    <a:pt x="16" y="19"/>
                  </a:lnTo>
                  <a:lnTo>
                    <a:pt x="16" y="19"/>
                  </a:lnTo>
                  <a:lnTo>
                    <a:pt x="17" y="6"/>
                  </a:lnTo>
                  <a:lnTo>
                    <a:pt x="16" y="2"/>
                  </a:lnTo>
                  <a:lnTo>
                    <a:pt x="16" y="0"/>
                  </a:lnTo>
                  <a:lnTo>
                    <a:pt x="14" y="0"/>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46" name="Freeform 827"/>
            <p:cNvSpPr>
              <a:spLocks/>
            </p:cNvSpPr>
            <p:nvPr/>
          </p:nvSpPr>
          <p:spPr bwMode="auto">
            <a:xfrm>
              <a:off x="4532313" y="3559604"/>
              <a:ext cx="26988" cy="55563"/>
            </a:xfrm>
            <a:custGeom>
              <a:avLst/>
              <a:gdLst>
                <a:gd name="T0" fmla="*/ 14 w 17"/>
                <a:gd name="T1" fmla="*/ 0 h 35"/>
                <a:gd name="T2" fmla="*/ 14 w 17"/>
                <a:gd name="T3" fmla="*/ 0 h 35"/>
                <a:gd name="T4" fmla="*/ 7 w 17"/>
                <a:gd name="T5" fmla="*/ 5 h 35"/>
                <a:gd name="T6" fmla="*/ 1 w 17"/>
                <a:gd name="T7" fmla="*/ 12 h 35"/>
                <a:gd name="T8" fmla="*/ 1 w 17"/>
                <a:gd name="T9" fmla="*/ 12 h 35"/>
                <a:gd name="T10" fmla="*/ 0 w 17"/>
                <a:gd name="T11" fmla="*/ 15 h 35"/>
                <a:gd name="T12" fmla="*/ 0 w 17"/>
                <a:gd name="T13" fmla="*/ 18 h 35"/>
                <a:gd name="T14" fmla="*/ 1 w 17"/>
                <a:gd name="T15" fmla="*/ 25 h 35"/>
                <a:gd name="T16" fmla="*/ 4 w 17"/>
                <a:gd name="T17" fmla="*/ 32 h 35"/>
                <a:gd name="T18" fmla="*/ 5 w 17"/>
                <a:gd name="T19" fmla="*/ 34 h 35"/>
                <a:gd name="T20" fmla="*/ 7 w 17"/>
                <a:gd name="T21" fmla="*/ 35 h 35"/>
                <a:gd name="T22" fmla="*/ 7 w 17"/>
                <a:gd name="T23" fmla="*/ 35 h 35"/>
                <a:gd name="T24" fmla="*/ 10 w 17"/>
                <a:gd name="T25" fmla="*/ 34 h 35"/>
                <a:gd name="T26" fmla="*/ 13 w 17"/>
                <a:gd name="T27" fmla="*/ 29 h 35"/>
                <a:gd name="T28" fmla="*/ 16 w 17"/>
                <a:gd name="T29" fmla="*/ 23 h 35"/>
                <a:gd name="T30" fmla="*/ 16 w 17"/>
                <a:gd name="T31" fmla="*/ 19 h 35"/>
                <a:gd name="T32" fmla="*/ 16 w 17"/>
                <a:gd name="T33" fmla="*/ 19 h 35"/>
                <a:gd name="T34" fmla="*/ 17 w 17"/>
                <a:gd name="T35" fmla="*/ 6 h 35"/>
                <a:gd name="T36" fmla="*/ 16 w 17"/>
                <a:gd name="T37" fmla="*/ 2 h 35"/>
                <a:gd name="T38" fmla="*/ 16 w 17"/>
                <a:gd name="T39" fmla="*/ 0 h 35"/>
                <a:gd name="T40" fmla="*/ 14 w 17"/>
                <a:gd name="T4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5">
                  <a:moveTo>
                    <a:pt x="14" y="0"/>
                  </a:moveTo>
                  <a:lnTo>
                    <a:pt x="14" y="0"/>
                  </a:lnTo>
                  <a:lnTo>
                    <a:pt x="7" y="5"/>
                  </a:lnTo>
                  <a:lnTo>
                    <a:pt x="1" y="12"/>
                  </a:lnTo>
                  <a:lnTo>
                    <a:pt x="1" y="12"/>
                  </a:lnTo>
                  <a:lnTo>
                    <a:pt x="0" y="15"/>
                  </a:lnTo>
                  <a:lnTo>
                    <a:pt x="0" y="18"/>
                  </a:lnTo>
                  <a:lnTo>
                    <a:pt x="1" y="25"/>
                  </a:lnTo>
                  <a:lnTo>
                    <a:pt x="4" y="32"/>
                  </a:lnTo>
                  <a:lnTo>
                    <a:pt x="5" y="34"/>
                  </a:lnTo>
                  <a:lnTo>
                    <a:pt x="7" y="35"/>
                  </a:lnTo>
                  <a:lnTo>
                    <a:pt x="7" y="35"/>
                  </a:lnTo>
                  <a:lnTo>
                    <a:pt x="10" y="34"/>
                  </a:lnTo>
                  <a:lnTo>
                    <a:pt x="13" y="29"/>
                  </a:lnTo>
                  <a:lnTo>
                    <a:pt x="16" y="23"/>
                  </a:lnTo>
                  <a:lnTo>
                    <a:pt x="16" y="19"/>
                  </a:lnTo>
                  <a:lnTo>
                    <a:pt x="16" y="19"/>
                  </a:lnTo>
                  <a:lnTo>
                    <a:pt x="17" y="6"/>
                  </a:lnTo>
                  <a:lnTo>
                    <a:pt x="16" y="2"/>
                  </a:lnTo>
                  <a:lnTo>
                    <a:pt x="16"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47" name="Freeform 828"/>
            <p:cNvSpPr>
              <a:spLocks/>
            </p:cNvSpPr>
            <p:nvPr/>
          </p:nvSpPr>
          <p:spPr bwMode="auto">
            <a:xfrm>
              <a:off x="4529138" y="3621517"/>
              <a:ext cx="31750" cy="74613"/>
            </a:xfrm>
            <a:custGeom>
              <a:avLst/>
              <a:gdLst>
                <a:gd name="T0" fmla="*/ 12 w 20"/>
                <a:gd name="T1" fmla="*/ 2 h 47"/>
                <a:gd name="T2" fmla="*/ 12 w 20"/>
                <a:gd name="T3" fmla="*/ 2 h 47"/>
                <a:gd name="T4" fmla="*/ 9 w 20"/>
                <a:gd name="T5" fmla="*/ 6 h 47"/>
                <a:gd name="T6" fmla="*/ 5 w 20"/>
                <a:gd name="T7" fmla="*/ 12 h 47"/>
                <a:gd name="T8" fmla="*/ 2 w 20"/>
                <a:gd name="T9" fmla="*/ 18 h 47"/>
                <a:gd name="T10" fmla="*/ 0 w 20"/>
                <a:gd name="T11" fmla="*/ 21 h 47"/>
                <a:gd name="T12" fmla="*/ 0 w 20"/>
                <a:gd name="T13" fmla="*/ 21 h 47"/>
                <a:gd name="T14" fmla="*/ 0 w 20"/>
                <a:gd name="T15" fmla="*/ 34 h 47"/>
                <a:gd name="T16" fmla="*/ 0 w 20"/>
                <a:gd name="T17" fmla="*/ 41 h 47"/>
                <a:gd name="T18" fmla="*/ 0 w 20"/>
                <a:gd name="T19" fmla="*/ 44 h 47"/>
                <a:gd name="T20" fmla="*/ 2 w 20"/>
                <a:gd name="T21" fmla="*/ 45 h 47"/>
                <a:gd name="T22" fmla="*/ 2 w 20"/>
                <a:gd name="T23" fmla="*/ 45 h 47"/>
                <a:gd name="T24" fmla="*/ 5 w 20"/>
                <a:gd name="T25" fmla="*/ 47 h 47"/>
                <a:gd name="T26" fmla="*/ 7 w 20"/>
                <a:gd name="T27" fmla="*/ 47 h 47"/>
                <a:gd name="T28" fmla="*/ 12 w 20"/>
                <a:gd name="T29" fmla="*/ 44 h 47"/>
                <a:gd name="T30" fmla="*/ 18 w 20"/>
                <a:gd name="T31" fmla="*/ 40 h 47"/>
                <a:gd name="T32" fmla="*/ 19 w 20"/>
                <a:gd name="T33" fmla="*/ 35 h 47"/>
                <a:gd name="T34" fmla="*/ 19 w 20"/>
                <a:gd name="T35" fmla="*/ 35 h 47"/>
                <a:gd name="T36" fmla="*/ 20 w 20"/>
                <a:gd name="T37" fmla="*/ 26 h 47"/>
                <a:gd name="T38" fmla="*/ 20 w 20"/>
                <a:gd name="T39" fmla="*/ 13 h 47"/>
                <a:gd name="T40" fmla="*/ 20 w 20"/>
                <a:gd name="T41" fmla="*/ 8 h 47"/>
                <a:gd name="T42" fmla="*/ 19 w 20"/>
                <a:gd name="T43" fmla="*/ 3 h 47"/>
                <a:gd name="T44" fmla="*/ 16 w 20"/>
                <a:gd name="T45" fmla="*/ 0 h 47"/>
                <a:gd name="T46" fmla="*/ 12 w 20"/>
                <a:gd name="T47" fmla="*/ 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47">
                  <a:moveTo>
                    <a:pt x="12" y="2"/>
                  </a:moveTo>
                  <a:lnTo>
                    <a:pt x="12" y="2"/>
                  </a:lnTo>
                  <a:lnTo>
                    <a:pt x="9" y="6"/>
                  </a:lnTo>
                  <a:lnTo>
                    <a:pt x="5" y="12"/>
                  </a:lnTo>
                  <a:lnTo>
                    <a:pt x="2" y="18"/>
                  </a:lnTo>
                  <a:lnTo>
                    <a:pt x="0" y="21"/>
                  </a:lnTo>
                  <a:lnTo>
                    <a:pt x="0" y="21"/>
                  </a:lnTo>
                  <a:lnTo>
                    <a:pt x="0" y="34"/>
                  </a:lnTo>
                  <a:lnTo>
                    <a:pt x="0" y="41"/>
                  </a:lnTo>
                  <a:lnTo>
                    <a:pt x="0" y="44"/>
                  </a:lnTo>
                  <a:lnTo>
                    <a:pt x="2" y="45"/>
                  </a:lnTo>
                  <a:lnTo>
                    <a:pt x="2" y="45"/>
                  </a:lnTo>
                  <a:lnTo>
                    <a:pt x="5" y="47"/>
                  </a:lnTo>
                  <a:lnTo>
                    <a:pt x="7" y="47"/>
                  </a:lnTo>
                  <a:lnTo>
                    <a:pt x="12" y="44"/>
                  </a:lnTo>
                  <a:lnTo>
                    <a:pt x="18" y="40"/>
                  </a:lnTo>
                  <a:lnTo>
                    <a:pt x="19" y="35"/>
                  </a:lnTo>
                  <a:lnTo>
                    <a:pt x="19" y="35"/>
                  </a:lnTo>
                  <a:lnTo>
                    <a:pt x="20" y="26"/>
                  </a:lnTo>
                  <a:lnTo>
                    <a:pt x="20" y="13"/>
                  </a:lnTo>
                  <a:lnTo>
                    <a:pt x="20" y="8"/>
                  </a:lnTo>
                  <a:lnTo>
                    <a:pt x="19" y="3"/>
                  </a:lnTo>
                  <a:lnTo>
                    <a:pt x="16" y="0"/>
                  </a:lnTo>
                  <a:lnTo>
                    <a:pt x="12" y="2"/>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48" name="Freeform 829"/>
            <p:cNvSpPr>
              <a:spLocks/>
            </p:cNvSpPr>
            <p:nvPr/>
          </p:nvSpPr>
          <p:spPr bwMode="auto">
            <a:xfrm>
              <a:off x="4529138" y="3621517"/>
              <a:ext cx="31750" cy="74613"/>
            </a:xfrm>
            <a:custGeom>
              <a:avLst/>
              <a:gdLst>
                <a:gd name="T0" fmla="*/ 12 w 20"/>
                <a:gd name="T1" fmla="*/ 2 h 47"/>
                <a:gd name="T2" fmla="*/ 12 w 20"/>
                <a:gd name="T3" fmla="*/ 2 h 47"/>
                <a:gd name="T4" fmla="*/ 9 w 20"/>
                <a:gd name="T5" fmla="*/ 6 h 47"/>
                <a:gd name="T6" fmla="*/ 5 w 20"/>
                <a:gd name="T7" fmla="*/ 12 h 47"/>
                <a:gd name="T8" fmla="*/ 2 w 20"/>
                <a:gd name="T9" fmla="*/ 18 h 47"/>
                <a:gd name="T10" fmla="*/ 0 w 20"/>
                <a:gd name="T11" fmla="*/ 21 h 47"/>
                <a:gd name="T12" fmla="*/ 0 w 20"/>
                <a:gd name="T13" fmla="*/ 21 h 47"/>
                <a:gd name="T14" fmla="*/ 0 w 20"/>
                <a:gd name="T15" fmla="*/ 34 h 47"/>
                <a:gd name="T16" fmla="*/ 0 w 20"/>
                <a:gd name="T17" fmla="*/ 41 h 47"/>
                <a:gd name="T18" fmla="*/ 0 w 20"/>
                <a:gd name="T19" fmla="*/ 44 h 47"/>
                <a:gd name="T20" fmla="*/ 2 w 20"/>
                <a:gd name="T21" fmla="*/ 45 h 47"/>
                <a:gd name="T22" fmla="*/ 2 w 20"/>
                <a:gd name="T23" fmla="*/ 45 h 47"/>
                <a:gd name="T24" fmla="*/ 5 w 20"/>
                <a:gd name="T25" fmla="*/ 47 h 47"/>
                <a:gd name="T26" fmla="*/ 7 w 20"/>
                <a:gd name="T27" fmla="*/ 47 h 47"/>
                <a:gd name="T28" fmla="*/ 12 w 20"/>
                <a:gd name="T29" fmla="*/ 44 h 47"/>
                <a:gd name="T30" fmla="*/ 18 w 20"/>
                <a:gd name="T31" fmla="*/ 40 h 47"/>
                <a:gd name="T32" fmla="*/ 19 w 20"/>
                <a:gd name="T33" fmla="*/ 35 h 47"/>
                <a:gd name="T34" fmla="*/ 19 w 20"/>
                <a:gd name="T35" fmla="*/ 35 h 47"/>
                <a:gd name="T36" fmla="*/ 20 w 20"/>
                <a:gd name="T37" fmla="*/ 26 h 47"/>
                <a:gd name="T38" fmla="*/ 20 w 20"/>
                <a:gd name="T39" fmla="*/ 13 h 47"/>
                <a:gd name="T40" fmla="*/ 20 w 20"/>
                <a:gd name="T41" fmla="*/ 8 h 47"/>
                <a:gd name="T42" fmla="*/ 19 w 20"/>
                <a:gd name="T43" fmla="*/ 3 h 47"/>
                <a:gd name="T44" fmla="*/ 16 w 20"/>
                <a:gd name="T45" fmla="*/ 0 h 47"/>
                <a:gd name="T46" fmla="*/ 12 w 20"/>
                <a:gd name="T47" fmla="*/ 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47">
                  <a:moveTo>
                    <a:pt x="12" y="2"/>
                  </a:moveTo>
                  <a:lnTo>
                    <a:pt x="12" y="2"/>
                  </a:lnTo>
                  <a:lnTo>
                    <a:pt x="9" y="6"/>
                  </a:lnTo>
                  <a:lnTo>
                    <a:pt x="5" y="12"/>
                  </a:lnTo>
                  <a:lnTo>
                    <a:pt x="2" y="18"/>
                  </a:lnTo>
                  <a:lnTo>
                    <a:pt x="0" y="21"/>
                  </a:lnTo>
                  <a:lnTo>
                    <a:pt x="0" y="21"/>
                  </a:lnTo>
                  <a:lnTo>
                    <a:pt x="0" y="34"/>
                  </a:lnTo>
                  <a:lnTo>
                    <a:pt x="0" y="41"/>
                  </a:lnTo>
                  <a:lnTo>
                    <a:pt x="0" y="44"/>
                  </a:lnTo>
                  <a:lnTo>
                    <a:pt x="2" y="45"/>
                  </a:lnTo>
                  <a:lnTo>
                    <a:pt x="2" y="45"/>
                  </a:lnTo>
                  <a:lnTo>
                    <a:pt x="5" y="47"/>
                  </a:lnTo>
                  <a:lnTo>
                    <a:pt x="7" y="47"/>
                  </a:lnTo>
                  <a:lnTo>
                    <a:pt x="12" y="44"/>
                  </a:lnTo>
                  <a:lnTo>
                    <a:pt x="18" y="40"/>
                  </a:lnTo>
                  <a:lnTo>
                    <a:pt x="19" y="35"/>
                  </a:lnTo>
                  <a:lnTo>
                    <a:pt x="19" y="35"/>
                  </a:lnTo>
                  <a:lnTo>
                    <a:pt x="20" y="26"/>
                  </a:lnTo>
                  <a:lnTo>
                    <a:pt x="20" y="13"/>
                  </a:lnTo>
                  <a:lnTo>
                    <a:pt x="20" y="8"/>
                  </a:lnTo>
                  <a:lnTo>
                    <a:pt x="19" y="3"/>
                  </a:lnTo>
                  <a:lnTo>
                    <a:pt x="16" y="0"/>
                  </a:lnTo>
                  <a:lnTo>
                    <a:pt x="1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49" name="Freeform 830"/>
            <p:cNvSpPr>
              <a:spLocks/>
            </p:cNvSpPr>
            <p:nvPr/>
          </p:nvSpPr>
          <p:spPr bwMode="auto">
            <a:xfrm>
              <a:off x="4632326" y="3726292"/>
              <a:ext cx="74613" cy="42863"/>
            </a:xfrm>
            <a:custGeom>
              <a:avLst/>
              <a:gdLst>
                <a:gd name="T0" fmla="*/ 39 w 47"/>
                <a:gd name="T1" fmla="*/ 26 h 27"/>
                <a:gd name="T2" fmla="*/ 39 w 47"/>
                <a:gd name="T3" fmla="*/ 26 h 27"/>
                <a:gd name="T4" fmla="*/ 32 w 47"/>
                <a:gd name="T5" fmla="*/ 23 h 27"/>
                <a:gd name="T6" fmla="*/ 28 w 47"/>
                <a:gd name="T7" fmla="*/ 20 h 27"/>
                <a:gd name="T8" fmla="*/ 19 w 47"/>
                <a:gd name="T9" fmla="*/ 14 h 27"/>
                <a:gd name="T10" fmla="*/ 19 w 47"/>
                <a:gd name="T11" fmla="*/ 14 h 27"/>
                <a:gd name="T12" fmla="*/ 8 w 47"/>
                <a:gd name="T13" fmla="*/ 10 h 27"/>
                <a:gd name="T14" fmla="*/ 2 w 47"/>
                <a:gd name="T15" fmla="*/ 7 h 27"/>
                <a:gd name="T16" fmla="*/ 0 w 47"/>
                <a:gd name="T17" fmla="*/ 5 h 27"/>
                <a:gd name="T18" fmla="*/ 0 w 47"/>
                <a:gd name="T19" fmla="*/ 4 h 27"/>
                <a:gd name="T20" fmla="*/ 0 w 47"/>
                <a:gd name="T21" fmla="*/ 4 h 27"/>
                <a:gd name="T22" fmla="*/ 5 w 47"/>
                <a:gd name="T23" fmla="*/ 1 h 27"/>
                <a:gd name="T24" fmla="*/ 8 w 47"/>
                <a:gd name="T25" fmla="*/ 0 h 27"/>
                <a:gd name="T26" fmla="*/ 12 w 47"/>
                <a:gd name="T27" fmla="*/ 1 h 27"/>
                <a:gd name="T28" fmla="*/ 12 w 47"/>
                <a:gd name="T29" fmla="*/ 1 h 27"/>
                <a:gd name="T30" fmla="*/ 22 w 47"/>
                <a:gd name="T31" fmla="*/ 4 h 27"/>
                <a:gd name="T32" fmla="*/ 26 w 47"/>
                <a:gd name="T33" fmla="*/ 4 h 27"/>
                <a:gd name="T34" fmla="*/ 31 w 47"/>
                <a:gd name="T35" fmla="*/ 2 h 27"/>
                <a:gd name="T36" fmla="*/ 31 w 47"/>
                <a:gd name="T37" fmla="*/ 2 h 27"/>
                <a:gd name="T38" fmla="*/ 41 w 47"/>
                <a:gd name="T39" fmla="*/ 1 h 27"/>
                <a:gd name="T40" fmla="*/ 45 w 47"/>
                <a:gd name="T41" fmla="*/ 1 h 27"/>
                <a:gd name="T42" fmla="*/ 47 w 47"/>
                <a:gd name="T43" fmla="*/ 1 h 27"/>
                <a:gd name="T44" fmla="*/ 47 w 47"/>
                <a:gd name="T45" fmla="*/ 1 h 27"/>
                <a:gd name="T46" fmla="*/ 47 w 47"/>
                <a:gd name="T47" fmla="*/ 1 h 27"/>
                <a:gd name="T48" fmla="*/ 45 w 47"/>
                <a:gd name="T49" fmla="*/ 7 h 27"/>
                <a:gd name="T50" fmla="*/ 44 w 47"/>
                <a:gd name="T51" fmla="*/ 10 h 27"/>
                <a:gd name="T52" fmla="*/ 45 w 47"/>
                <a:gd name="T53" fmla="*/ 14 h 27"/>
                <a:gd name="T54" fmla="*/ 45 w 47"/>
                <a:gd name="T55" fmla="*/ 14 h 27"/>
                <a:gd name="T56" fmla="*/ 45 w 47"/>
                <a:gd name="T57" fmla="*/ 18 h 27"/>
                <a:gd name="T58" fmla="*/ 45 w 47"/>
                <a:gd name="T59" fmla="*/ 23 h 27"/>
                <a:gd name="T60" fmla="*/ 45 w 47"/>
                <a:gd name="T61" fmla="*/ 24 h 27"/>
                <a:gd name="T62" fmla="*/ 44 w 47"/>
                <a:gd name="T63" fmla="*/ 26 h 27"/>
                <a:gd name="T64" fmla="*/ 42 w 47"/>
                <a:gd name="T65" fmla="*/ 27 h 27"/>
                <a:gd name="T66" fmla="*/ 39 w 47"/>
                <a:gd name="T6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7" h="27">
                  <a:moveTo>
                    <a:pt x="39" y="26"/>
                  </a:moveTo>
                  <a:lnTo>
                    <a:pt x="39" y="26"/>
                  </a:lnTo>
                  <a:lnTo>
                    <a:pt x="32" y="23"/>
                  </a:lnTo>
                  <a:lnTo>
                    <a:pt x="28" y="20"/>
                  </a:lnTo>
                  <a:lnTo>
                    <a:pt x="19" y="14"/>
                  </a:lnTo>
                  <a:lnTo>
                    <a:pt x="19" y="14"/>
                  </a:lnTo>
                  <a:lnTo>
                    <a:pt x="8" y="10"/>
                  </a:lnTo>
                  <a:lnTo>
                    <a:pt x="2" y="7"/>
                  </a:lnTo>
                  <a:lnTo>
                    <a:pt x="0" y="5"/>
                  </a:lnTo>
                  <a:lnTo>
                    <a:pt x="0" y="4"/>
                  </a:lnTo>
                  <a:lnTo>
                    <a:pt x="0" y="4"/>
                  </a:lnTo>
                  <a:lnTo>
                    <a:pt x="5" y="1"/>
                  </a:lnTo>
                  <a:lnTo>
                    <a:pt x="8" y="0"/>
                  </a:lnTo>
                  <a:lnTo>
                    <a:pt x="12" y="1"/>
                  </a:lnTo>
                  <a:lnTo>
                    <a:pt x="12" y="1"/>
                  </a:lnTo>
                  <a:lnTo>
                    <a:pt x="22" y="4"/>
                  </a:lnTo>
                  <a:lnTo>
                    <a:pt x="26" y="4"/>
                  </a:lnTo>
                  <a:lnTo>
                    <a:pt x="31" y="2"/>
                  </a:lnTo>
                  <a:lnTo>
                    <a:pt x="31" y="2"/>
                  </a:lnTo>
                  <a:lnTo>
                    <a:pt x="41" y="1"/>
                  </a:lnTo>
                  <a:lnTo>
                    <a:pt x="45" y="1"/>
                  </a:lnTo>
                  <a:lnTo>
                    <a:pt x="47" y="1"/>
                  </a:lnTo>
                  <a:lnTo>
                    <a:pt x="47" y="1"/>
                  </a:lnTo>
                  <a:lnTo>
                    <a:pt x="47" y="1"/>
                  </a:lnTo>
                  <a:lnTo>
                    <a:pt x="45" y="7"/>
                  </a:lnTo>
                  <a:lnTo>
                    <a:pt x="44" y="10"/>
                  </a:lnTo>
                  <a:lnTo>
                    <a:pt x="45" y="14"/>
                  </a:lnTo>
                  <a:lnTo>
                    <a:pt x="45" y="14"/>
                  </a:lnTo>
                  <a:lnTo>
                    <a:pt x="45" y="18"/>
                  </a:lnTo>
                  <a:lnTo>
                    <a:pt x="45" y="23"/>
                  </a:lnTo>
                  <a:lnTo>
                    <a:pt x="45" y="24"/>
                  </a:lnTo>
                  <a:lnTo>
                    <a:pt x="44" y="26"/>
                  </a:lnTo>
                  <a:lnTo>
                    <a:pt x="42" y="27"/>
                  </a:lnTo>
                  <a:lnTo>
                    <a:pt x="39" y="26"/>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50" name="Freeform 831"/>
            <p:cNvSpPr>
              <a:spLocks/>
            </p:cNvSpPr>
            <p:nvPr/>
          </p:nvSpPr>
          <p:spPr bwMode="auto">
            <a:xfrm>
              <a:off x="4632326" y="3726292"/>
              <a:ext cx="74613" cy="42863"/>
            </a:xfrm>
            <a:custGeom>
              <a:avLst/>
              <a:gdLst>
                <a:gd name="T0" fmla="*/ 39 w 47"/>
                <a:gd name="T1" fmla="*/ 26 h 27"/>
                <a:gd name="T2" fmla="*/ 39 w 47"/>
                <a:gd name="T3" fmla="*/ 26 h 27"/>
                <a:gd name="T4" fmla="*/ 32 w 47"/>
                <a:gd name="T5" fmla="*/ 23 h 27"/>
                <a:gd name="T6" fmla="*/ 28 w 47"/>
                <a:gd name="T7" fmla="*/ 20 h 27"/>
                <a:gd name="T8" fmla="*/ 19 w 47"/>
                <a:gd name="T9" fmla="*/ 14 h 27"/>
                <a:gd name="T10" fmla="*/ 19 w 47"/>
                <a:gd name="T11" fmla="*/ 14 h 27"/>
                <a:gd name="T12" fmla="*/ 8 w 47"/>
                <a:gd name="T13" fmla="*/ 10 h 27"/>
                <a:gd name="T14" fmla="*/ 2 w 47"/>
                <a:gd name="T15" fmla="*/ 7 h 27"/>
                <a:gd name="T16" fmla="*/ 0 w 47"/>
                <a:gd name="T17" fmla="*/ 5 h 27"/>
                <a:gd name="T18" fmla="*/ 0 w 47"/>
                <a:gd name="T19" fmla="*/ 4 h 27"/>
                <a:gd name="T20" fmla="*/ 0 w 47"/>
                <a:gd name="T21" fmla="*/ 4 h 27"/>
                <a:gd name="T22" fmla="*/ 5 w 47"/>
                <a:gd name="T23" fmla="*/ 1 h 27"/>
                <a:gd name="T24" fmla="*/ 8 w 47"/>
                <a:gd name="T25" fmla="*/ 0 h 27"/>
                <a:gd name="T26" fmla="*/ 12 w 47"/>
                <a:gd name="T27" fmla="*/ 1 h 27"/>
                <a:gd name="T28" fmla="*/ 12 w 47"/>
                <a:gd name="T29" fmla="*/ 1 h 27"/>
                <a:gd name="T30" fmla="*/ 22 w 47"/>
                <a:gd name="T31" fmla="*/ 4 h 27"/>
                <a:gd name="T32" fmla="*/ 26 w 47"/>
                <a:gd name="T33" fmla="*/ 4 h 27"/>
                <a:gd name="T34" fmla="*/ 31 w 47"/>
                <a:gd name="T35" fmla="*/ 2 h 27"/>
                <a:gd name="T36" fmla="*/ 31 w 47"/>
                <a:gd name="T37" fmla="*/ 2 h 27"/>
                <a:gd name="T38" fmla="*/ 41 w 47"/>
                <a:gd name="T39" fmla="*/ 1 h 27"/>
                <a:gd name="T40" fmla="*/ 45 w 47"/>
                <a:gd name="T41" fmla="*/ 1 h 27"/>
                <a:gd name="T42" fmla="*/ 47 w 47"/>
                <a:gd name="T43" fmla="*/ 1 h 27"/>
                <a:gd name="T44" fmla="*/ 47 w 47"/>
                <a:gd name="T45" fmla="*/ 1 h 27"/>
                <a:gd name="T46" fmla="*/ 47 w 47"/>
                <a:gd name="T47" fmla="*/ 1 h 27"/>
                <a:gd name="T48" fmla="*/ 45 w 47"/>
                <a:gd name="T49" fmla="*/ 7 h 27"/>
                <a:gd name="T50" fmla="*/ 44 w 47"/>
                <a:gd name="T51" fmla="*/ 10 h 27"/>
                <a:gd name="T52" fmla="*/ 45 w 47"/>
                <a:gd name="T53" fmla="*/ 14 h 27"/>
                <a:gd name="T54" fmla="*/ 45 w 47"/>
                <a:gd name="T55" fmla="*/ 14 h 27"/>
                <a:gd name="T56" fmla="*/ 45 w 47"/>
                <a:gd name="T57" fmla="*/ 18 h 27"/>
                <a:gd name="T58" fmla="*/ 45 w 47"/>
                <a:gd name="T59" fmla="*/ 23 h 27"/>
                <a:gd name="T60" fmla="*/ 45 w 47"/>
                <a:gd name="T61" fmla="*/ 24 h 27"/>
                <a:gd name="T62" fmla="*/ 44 w 47"/>
                <a:gd name="T63" fmla="*/ 26 h 27"/>
                <a:gd name="T64" fmla="*/ 42 w 47"/>
                <a:gd name="T65" fmla="*/ 27 h 27"/>
                <a:gd name="T66" fmla="*/ 39 w 47"/>
                <a:gd name="T6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7" h="27">
                  <a:moveTo>
                    <a:pt x="39" y="26"/>
                  </a:moveTo>
                  <a:lnTo>
                    <a:pt x="39" y="26"/>
                  </a:lnTo>
                  <a:lnTo>
                    <a:pt x="32" y="23"/>
                  </a:lnTo>
                  <a:lnTo>
                    <a:pt x="28" y="20"/>
                  </a:lnTo>
                  <a:lnTo>
                    <a:pt x="19" y="14"/>
                  </a:lnTo>
                  <a:lnTo>
                    <a:pt x="19" y="14"/>
                  </a:lnTo>
                  <a:lnTo>
                    <a:pt x="8" y="10"/>
                  </a:lnTo>
                  <a:lnTo>
                    <a:pt x="2" y="7"/>
                  </a:lnTo>
                  <a:lnTo>
                    <a:pt x="0" y="5"/>
                  </a:lnTo>
                  <a:lnTo>
                    <a:pt x="0" y="4"/>
                  </a:lnTo>
                  <a:lnTo>
                    <a:pt x="0" y="4"/>
                  </a:lnTo>
                  <a:lnTo>
                    <a:pt x="5" y="1"/>
                  </a:lnTo>
                  <a:lnTo>
                    <a:pt x="8" y="0"/>
                  </a:lnTo>
                  <a:lnTo>
                    <a:pt x="12" y="1"/>
                  </a:lnTo>
                  <a:lnTo>
                    <a:pt x="12" y="1"/>
                  </a:lnTo>
                  <a:lnTo>
                    <a:pt x="22" y="4"/>
                  </a:lnTo>
                  <a:lnTo>
                    <a:pt x="26" y="4"/>
                  </a:lnTo>
                  <a:lnTo>
                    <a:pt x="31" y="2"/>
                  </a:lnTo>
                  <a:lnTo>
                    <a:pt x="31" y="2"/>
                  </a:lnTo>
                  <a:lnTo>
                    <a:pt x="41" y="1"/>
                  </a:lnTo>
                  <a:lnTo>
                    <a:pt x="45" y="1"/>
                  </a:lnTo>
                  <a:lnTo>
                    <a:pt x="47" y="1"/>
                  </a:lnTo>
                  <a:lnTo>
                    <a:pt x="47" y="1"/>
                  </a:lnTo>
                  <a:lnTo>
                    <a:pt x="47" y="1"/>
                  </a:lnTo>
                  <a:lnTo>
                    <a:pt x="45" y="7"/>
                  </a:lnTo>
                  <a:lnTo>
                    <a:pt x="44" y="10"/>
                  </a:lnTo>
                  <a:lnTo>
                    <a:pt x="45" y="14"/>
                  </a:lnTo>
                  <a:lnTo>
                    <a:pt x="45" y="14"/>
                  </a:lnTo>
                  <a:lnTo>
                    <a:pt x="45" y="18"/>
                  </a:lnTo>
                  <a:lnTo>
                    <a:pt x="45" y="23"/>
                  </a:lnTo>
                  <a:lnTo>
                    <a:pt x="45" y="24"/>
                  </a:lnTo>
                  <a:lnTo>
                    <a:pt x="44" y="26"/>
                  </a:lnTo>
                  <a:lnTo>
                    <a:pt x="42" y="27"/>
                  </a:lnTo>
                  <a:lnTo>
                    <a:pt x="39"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51" name="Freeform 832"/>
            <p:cNvSpPr>
              <a:spLocks/>
            </p:cNvSpPr>
            <p:nvPr/>
          </p:nvSpPr>
          <p:spPr bwMode="auto">
            <a:xfrm>
              <a:off x="4918076" y="3800904"/>
              <a:ext cx="71438" cy="14288"/>
            </a:xfrm>
            <a:custGeom>
              <a:avLst/>
              <a:gdLst>
                <a:gd name="T0" fmla="*/ 43 w 45"/>
                <a:gd name="T1" fmla="*/ 9 h 9"/>
                <a:gd name="T2" fmla="*/ 43 w 45"/>
                <a:gd name="T3" fmla="*/ 9 h 9"/>
                <a:gd name="T4" fmla="*/ 27 w 45"/>
                <a:gd name="T5" fmla="*/ 9 h 9"/>
                <a:gd name="T6" fmla="*/ 17 w 45"/>
                <a:gd name="T7" fmla="*/ 8 h 9"/>
                <a:gd name="T8" fmla="*/ 17 w 45"/>
                <a:gd name="T9" fmla="*/ 8 h 9"/>
                <a:gd name="T10" fmla="*/ 6 w 45"/>
                <a:gd name="T11" fmla="*/ 5 h 9"/>
                <a:gd name="T12" fmla="*/ 0 w 45"/>
                <a:gd name="T13" fmla="*/ 5 h 9"/>
                <a:gd name="T14" fmla="*/ 0 w 45"/>
                <a:gd name="T15" fmla="*/ 3 h 9"/>
                <a:gd name="T16" fmla="*/ 0 w 45"/>
                <a:gd name="T17" fmla="*/ 3 h 9"/>
                <a:gd name="T18" fmla="*/ 0 w 45"/>
                <a:gd name="T19" fmla="*/ 3 h 9"/>
                <a:gd name="T20" fmla="*/ 1 w 45"/>
                <a:gd name="T21" fmla="*/ 2 h 9"/>
                <a:gd name="T22" fmla="*/ 6 w 45"/>
                <a:gd name="T23" fmla="*/ 0 h 9"/>
                <a:gd name="T24" fmla="*/ 17 w 45"/>
                <a:gd name="T25" fmla="*/ 0 h 9"/>
                <a:gd name="T26" fmla="*/ 17 w 45"/>
                <a:gd name="T27" fmla="*/ 0 h 9"/>
                <a:gd name="T28" fmla="*/ 36 w 45"/>
                <a:gd name="T29" fmla="*/ 5 h 9"/>
                <a:gd name="T30" fmla="*/ 45 w 45"/>
                <a:gd name="T31" fmla="*/ 8 h 9"/>
                <a:gd name="T32" fmla="*/ 45 w 45"/>
                <a:gd name="T33" fmla="*/ 9 h 9"/>
                <a:gd name="T34" fmla="*/ 43 w 45"/>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 h="9">
                  <a:moveTo>
                    <a:pt x="43" y="9"/>
                  </a:moveTo>
                  <a:lnTo>
                    <a:pt x="43" y="9"/>
                  </a:lnTo>
                  <a:lnTo>
                    <a:pt x="27" y="9"/>
                  </a:lnTo>
                  <a:lnTo>
                    <a:pt x="17" y="8"/>
                  </a:lnTo>
                  <a:lnTo>
                    <a:pt x="17" y="8"/>
                  </a:lnTo>
                  <a:lnTo>
                    <a:pt x="6" y="5"/>
                  </a:lnTo>
                  <a:lnTo>
                    <a:pt x="0" y="5"/>
                  </a:lnTo>
                  <a:lnTo>
                    <a:pt x="0" y="3"/>
                  </a:lnTo>
                  <a:lnTo>
                    <a:pt x="0" y="3"/>
                  </a:lnTo>
                  <a:lnTo>
                    <a:pt x="0" y="3"/>
                  </a:lnTo>
                  <a:lnTo>
                    <a:pt x="1" y="2"/>
                  </a:lnTo>
                  <a:lnTo>
                    <a:pt x="6" y="0"/>
                  </a:lnTo>
                  <a:lnTo>
                    <a:pt x="17" y="0"/>
                  </a:lnTo>
                  <a:lnTo>
                    <a:pt x="17" y="0"/>
                  </a:lnTo>
                  <a:lnTo>
                    <a:pt x="36" y="5"/>
                  </a:lnTo>
                  <a:lnTo>
                    <a:pt x="45" y="8"/>
                  </a:lnTo>
                  <a:lnTo>
                    <a:pt x="45" y="9"/>
                  </a:lnTo>
                  <a:lnTo>
                    <a:pt x="43" y="9"/>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52" name="Freeform 833"/>
            <p:cNvSpPr>
              <a:spLocks/>
            </p:cNvSpPr>
            <p:nvPr/>
          </p:nvSpPr>
          <p:spPr bwMode="auto">
            <a:xfrm>
              <a:off x="4918076" y="3800904"/>
              <a:ext cx="71438" cy="14288"/>
            </a:xfrm>
            <a:custGeom>
              <a:avLst/>
              <a:gdLst>
                <a:gd name="T0" fmla="*/ 43 w 45"/>
                <a:gd name="T1" fmla="*/ 9 h 9"/>
                <a:gd name="T2" fmla="*/ 43 w 45"/>
                <a:gd name="T3" fmla="*/ 9 h 9"/>
                <a:gd name="T4" fmla="*/ 27 w 45"/>
                <a:gd name="T5" fmla="*/ 9 h 9"/>
                <a:gd name="T6" fmla="*/ 17 w 45"/>
                <a:gd name="T7" fmla="*/ 8 h 9"/>
                <a:gd name="T8" fmla="*/ 17 w 45"/>
                <a:gd name="T9" fmla="*/ 8 h 9"/>
                <a:gd name="T10" fmla="*/ 6 w 45"/>
                <a:gd name="T11" fmla="*/ 5 h 9"/>
                <a:gd name="T12" fmla="*/ 0 w 45"/>
                <a:gd name="T13" fmla="*/ 5 h 9"/>
                <a:gd name="T14" fmla="*/ 0 w 45"/>
                <a:gd name="T15" fmla="*/ 3 h 9"/>
                <a:gd name="T16" fmla="*/ 0 w 45"/>
                <a:gd name="T17" fmla="*/ 3 h 9"/>
                <a:gd name="T18" fmla="*/ 0 w 45"/>
                <a:gd name="T19" fmla="*/ 3 h 9"/>
                <a:gd name="T20" fmla="*/ 1 w 45"/>
                <a:gd name="T21" fmla="*/ 2 h 9"/>
                <a:gd name="T22" fmla="*/ 6 w 45"/>
                <a:gd name="T23" fmla="*/ 0 h 9"/>
                <a:gd name="T24" fmla="*/ 17 w 45"/>
                <a:gd name="T25" fmla="*/ 0 h 9"/>
                <a:gd name="T26" fmla="*/ 17 w 45"/>
                <a:gd name="T27" fmla="*/ 0 h 9"/>
                <a:gd name="T28" fmla="*/ 36 w 45"/>
                <a:gd name="T29" fmla="*/ 5 h 9"/>
                <a:gd name="T30" fmla="*/ 45 w 45"/>
                <a:gd name="T31" fmla="*/ 8 h 9"/>
                <a:gd name="T32" fmla="*/ 45 w 45"/>
                <a:gd name="T33" fmla="*/ 9 h 9"/>
                <a:gd name="T34" fmla="*/ 43 w 45"/>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 h="9">
                  <a:moveTo>
                    <a:pt x="43" y="9"/>
                  </a:moveTo>
                  <a:lnTo>
                    <a:pt x="43" y="9"/>
                  </a:lnTo>
                  <a:lnTo>
                    <a:pt x="27" y="9"/>
                  </a:lnTo>
                  <a:lnTo>
                    <a:pt x="17" y="8"/>
                  </a:lnTo>
                  <a:lnTo>
                    <a:pt x="17" y="8"/>
                  </a:lnTo>
                  <a:lnTo>
                    <a:pt x="6" y="5"/>
                  </a:lnTo>
                  <a:lnTo>
                    <a:pt x="0" y="5"/>
                  </a:lnTo>
                  <a:lnTo>
                    <a:pt x="0" y="3"/>
                  </a:lnTo>
                  <a:lnTo>
                    <a:pt x="0" y="3"/>
                  </a:lnTo>
                  <a:lnTo>
                    <a:pt x="0" y="3"/>
                  </a:lnTo>
                  <a:lnTo>
                    <a:pt x="1" y="2"/>
                  </a:lnTo>
                  <a:lnTo>
                    <a:pt x="6" y="0"/>
                  </a:lnTo>
                  <a:lnTo>
                    <a:pt x="17" y="0"/>
                  </a:lnTo>
                  <a:lnTo>
                    <a:pt x="17" y="0"/>
                  </a:lnTo>
                  <a:lnTo>
                    <a:pt x="36" y="5"/>
                  </a:lnTo>
                  <a:lnTo>
                    <a:pt x="45" y="8"/>
                  </a:lnTo>
                  <a:lnTo>
                    <a:pt x="45" y="9"/>
                  </a:lnTo>
                  <a:lnTo>
                    <a:pt x="43"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53" name="Freeform 834"/>
            <p:cNvSpPr>
              <a:spLocks/>
            </p:cNvSpPr>
            <p:nvPr/>
          </p:nvSpPr>
          <p:spPr bwMode="auto">
            <a:xfrm>
              <a:off x="5429251" y="5075667"/>
              <a:ext cx="185738" cy="363538"/>
            </a:xfrm>
            <a:custGeom>
              <a:avLst/>
              <a:gdLst>
                <a:gd name="T0" fmla="*/ 30 w 117"/>
                <a:gd name="T1" fmla="*/ 229 h 229"/>
                <a:gd name="T2" fmla="*/ 24 w 117"/>
                <a:gd name="T3" fmla="*/ 224 h 229"/>
                <a:gd name="T4" fmla="*/ 20 w 117"/>
                <a:gd name="T5" fmla="*/ 220 h 229"/>
                <a:gd name="T6" fmla="*/ 11 w 117"/>
                <a:gd name="T7" fmla="*/ 216 h 229"/>
                <a:gd name="T8" fmla="*/ 8 w 117"/>
                <a:gd name="T9" fmla="*/ 195 h 229"/>
                <a:gd name="T10" fmla="*/ 7 w 117"/>
                <a:gd name="T11" fmla="*/ 182 h 229"/>
                <a:gd name="T12" fmla="*/ 7 w 117"/>
                <a:gd name="T13" fmla="*/ 179 h 229"/>
                <a:gd name="T14" fmla="*/ 1 w 117"/>
                <a:gd name="T15" fmla="*/ 174 h 229"/>
                <a:gd name="T16" fmla="*/ 1 w 117"/>
                <a:gd name="T17" fmla="*/ 163 h 229"/>
                <a:gd name="T18" fmla="*/ 11 w 117"/>
                <a:gd name="T19" fmla="*/ 148 h 229"/>
                <a:gd name="T20" fmla="*/ 24 w 117"/>
                <a:gd name="T21" fmla="*/ 133 h 229"/>
                <a:gd name="T22" fmla="*/ 23 w 117"/>
                <a:gd name="T23" fmla="*/ 129 h 229"/>
                <a:gd name="T24" fmla="*/ 13 w 117"/>
                <a:gd name="T25" fmla="*/ 87 h 229"/>
                <a:gd name="T26" fmla="*/ 20 w 117"/>
                <a:gd name="T27" fmla="*/ 75 h 229"/>
                <a:gd name="T28" fmla="*/ 24 w 117"/>
                <a:gd name="T29" fmla="*/ 68 h 229"/>
                <a:gd name="T30" fmla="*/ 31 w 117"/>
                <a:gd name="T31" fmla="*/ 64 h 229"/>
                <a:gd name="T32" fmla="*/ 39 w 117"/>
                <a:gd name="T33" fmla="*/ 58 h 229"/>
                <a:gd name="T34" fmla="*/ 43 w 117"/>
                <a:gd name="T35" fmla="*/ 59 h 229"/>
                <a:gd name="T36" fmla="*/ 49 w 117"/>
                <a:gd name="T37" fmla="*/ 61 h 229"/>
                <a:gd name="T38" fmla="*/ 53 w 117"/>
                <a:gd name="T39" fmla="*/ 59 h 229"/>
                <a:gd name="T40" fmla="*/ 63 w 117"/>
                <a:gd name="T41" fmla="*/ 51 h 229"/>
                <a:gd name="T42" fmla="*/ 72 w 117"/>
                <a:gd name="T43" fmla="*/ 45 h 229"/>
                <a:gd name="T44" fmla="*/ 68 w 117"/>
                <a:gd name="T45" fmla="*/ 40 h 229"/>
                <a:gd name="T46" fmla="*/ 70 w 117"/>
                <a:gd name="T47" fmla="*/ 36 h 229"/>
                <a:gd name="T48" fmla="*/ 79 w 117"/>
                <a:gd name="T49" fmla="*/ 30 h 229"/>
                <a:gd name="T50" fmla="*/ 82 w 117"/>
                <a:gd name="T51" fmla="*/ 26 h 229"/>
                <a:gd name="T52" fmla="*/ 89 w 117"/>
                <a:gd name="T53" fmla="*/ 19 h 229"/>
                <a:gd name="T54" fmla="*/ 91 w 117"/>
                <a:gd name="T55" fmla="*/ 13 h 229"/>
                <a:gd name="T56" fmla="*/ 92 w 117"/>
                <a:gd name="T57" fmla="*/ 0 h 229"/>
                <a:gd name="T58" fmla="*/ 98 w 117"/>
                <a:gd name="T59" fmla="*/ 1 h 229"/>
                <a:gd name="T60" fmla="*/ 112 w 117"/>
                <a:gd name="T61" fmla="*/ 19 h 229"/>
                <a:gd name="T62" fmla="*/ 117 w 117"/>
                <a:gd name="T63" fmla="*/ 55 h 229"/>
                <a:gd name="T64" fmla="*/ 115 w 117"/>
                <a:gd name="T65" fmla="*/ 61 h 229"/>
                <a:gd name="T66" fmla="*/ 112 w 117"/>
                <a:gd name="T67" fmla="*/ 59 h 229"/>
                <a:gd name="T68" fmla="*/ 108 w 117"/>
                <a:gd name="T69" fmla="*/ 56 h 229"/>
                <a:gd name="T70" fmla="*/ 108 w 117"/>
                <a:gd name="T71" fmla="*/ 56 h 229"/>
                <a:gd name="T72" fmla="*/ 107 w 117"/>
                <a:gd name="T73" fmla="*/ 71 h 229"/>
                <a:gd name="T74" fmla="*/ 94 w 117"/>
                <a:gd name="T75" fmla="*/ 113 h 229"/>
                <a:gd name="T76" fmla="*/ 82 w 117"/>
                <a:gd name="T77" fmla="*/ 161 h 229"/>
                <a:gd name="T78" fmla="*/ 75 w 117"/>
                <a:gd name="T79" fmla="*/ 182 h 229"/>
                <a:gd name="T80" fmla="*/ 65 w 117"/>
                <a:gd name="T81" fmla="*/ 210 h 229"/>
                <a:gd name="T82" fmla="*/ 56 w 117"/>
                <a:gd name="T83" fmla="*/ 219 h 229"/>
                <a:gd name="T84" fmla="*/ 37 w 117"/>
                <a:gd name="T85" fmla="*/ 22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7" h="229">
                  <a:moveTo>
                    <a:pt x="31" y="229"/>
                  </a:moveTo>
                  <a:lnTo>
                    <a:pt x="31" y="229"/>
                  </a:lnTo>
                  <a:lnTo>
                    <a:pt x="30" y="229"/>
                  </a:lnTo>
                  <a:lnTo>
                    <a:pt x="30" y="229"/>
                  </a:lnTo>
                  <a:lnTo>
                    <a:pt x="27" y="227"/>
                  </a:lnTo>
                  <a:lnTo>
                    <a:pt x="24" y="224"/>
                  </a:lnTo>
                  <a:lnTo>
                    <a:pt x="23" y="221"/>
                  </a:lnTo>
                  <a:lnTo>
                    <a:pt x="20" y="220"/>
                  </a:lnTo>
                  <a:lnTo>
                    <a:pt x="20" y="220"/>
                  </a:lnTo>
                  <a:lnTo>
                    <a:pt x="17" y="220"/>
                  </a:lnTo>
                  <a:lnTo>
                    <a:pt x="14" y="219"/>
                  </a:lnTo>
                  <a:lnTo>
                    <a:pt x="11" y="216"/>
                  </a:lnTo>
                  <a:lnTo>
                    <a:pt x="10" y="210"/>
                  </a:lnTo>
                  <a:lnTo>
                    <a:pt x="10" y="210"/>
                  </a:lnTo>
                  <a:lnTo>
                    <a:pt x="8" y="195"/>
                  </a:lnTo>
                  <a:lnTo>
                    <a:pt x="8" y="187"/>
                  </a:lnTo>
                  <a:lnTo>
                    <a:pt x="7" y="182"/>
                  </a:lnTo>
                  <a:lnTo>
                    <a:pt x="7" y="182"/>
                  </a:lnTo>
                  <a:lnTo>
                    <a:pt x="5" y="181"/>
                  </a:lnTo>
                  <a:lnTo>
                    <a:pt x="7" y="181"/>
                  </a:lnTo>
                  <a:lnTo>
                    <a:pt x="7" y="179"/>
                  </a:lnTo>
                  <a:lnTo>
                    <a:pt x="5" y="178"/>
                  </a:lnTo>
                  <a:lnTo>
                    <a:pt x="5" y="178"/>
                  </a:lnTo>
                  <a:lnTo>
                    <a:pt x="1" y="174"/>
                  </a:lnTo>
                  <a:lnTo>
                    <a:pt x="0" y="168"/>
                  </a:lnTo>
                  <a:lnTo>
                    <a:pt x="0" y="168"/>
                  </a:lnTo>
                  <a:lnTo>
                    <a:pt x="1" y="163"/>
                  </a:lnTo>
                  <a:lnTo>
                    <a:pt x="2" y="159"/>
                  </a:lnTo>
                  <a:lnTo>
                    <a:pt x="5" y="153"/>
                  </a:lnTo>
                  <a:lnTo>
                    <a:pt x="11" y="148"/>
                  </a:lnTo>
                  <a:lnTo>
                    <a:pt x="11" y="148"/>
                  </a:lnTo>
                  <a:lnTo>
                    <a:pt x="21" y="137"/>
                  </a:lnTo>
                  <a:lnTo>
                    <a:pt x="24" y="133"/>
                  </a:lnTo>
                  <a:lnTo>
                    <a:pt x="24" y="132"/>
                  </a:lnTo>
                  <a:lnTo>
                    <a:pt x="23" y="129"/>
                  </a:lnTo>
                  <a:lnTo>
                    <a:pt x="23" y="129"/>
                  </a:lnTo>
                  <a:lnTo>
                    <a:pt x="17" y="107"/>
                  </a:lnTo>
                  <a:lnTo>
                    <a:pt x="14" y="95"/>
                  </a:lnTo>
                  <a:lnTo>
                    <a:pt x="13" y="87"/>
                  </a:lnTo>
                  <a:lnTo>
                    <a:pt x="13" y="87"/>
                  </a:lnTo>
                  <a:lnTo>
                    <a:pt x="15" y="81"/>
                  </a:lnTo>
                  <a:lnTo>
                    <a:pt x="20" y="75"/>
                  </a:lnTo>
                  <a:lnTo>
                    <a:pt x="23" y="71"/>
                  </a:lnTo>
                  <a:lnTo>
                    <a:pt x="24" y="68"/>
                  </a:lnTo>
                  <a:lnTo>
                    <a:pt x="24" y="68"/>
                  </a:lnTo>
                  <a:lnTo>
                    <a:pt x="24" y="66"/>
                  </a:lnTo>
                  <a:lnTo>
                    <a:pt x="26" y="65"/>
                  </a:lnTo>
                  <a:lnTo>
                    <a:pt x="31" y="64"/>
                  </a:lnTo>
                  <a:lnTo>
                    <a:pt x="31" y="64"/>
                  </a:lnTo>
                  <a:lnTo>
                    <a:pt x="36" y="59"/>
                  </a:lnTo>
                  <a:lnTo>
                    <a:pt x="39" y="58"/>
                  </a:lnTo>
                  <a:lnTo>
                    <a:pt x="40" y="58"/>
                  </a:lnTo>
                  <a:lnTo>
                    <a:pt x="40" y="58"/>
                  </a:lnTo>
                  <a:lnTo>
                    <a:pt x="43" y="59"/>
                  </a:lnTo>
                  <a:lnTo>
                    <a:pt x="43" y="59"/>
                  </a:lnTo>
                  <a:lnTo>
                    <a:pt x="46" y="61"/>
                  </a:lnTo>
                  <a:lnTo>
                    <a:pt x="49" y="61"/>
                  </a:lnTo>
                  <a:lnTo>
                    <a:pt x="49" y="61"/>
                  </a:lnTo>
                  <a:lnTo>
                    <a:pt x="50" y="61"/>
                  </a:lnTo>
                  <a:lnTo>
                    <a:pt x="53" y="59"/>
                  </a:lnTo>
                  <a:lnTo>
                    <a:pt x="53" y="59"/>
                  </a:lnTo>
                  <a:lnTo>
                    <a:pt x="57" y="55"/>
                  </a:lnTo>
                  <a:lnTo>
                    <a:pt x="63" y="51"/>
                  </a:lnTo>
                  <a:lnTo>
                    <a:pt x="63" y="51"/>
                  </a:lnTo>
                  <a:lnTo>
                    <a:pt x="70" y="46"/>
                  </a:lnTo>
                  <a:lnTo>
                    <a:pt x="72" y="45"/>
                  </a:lnTo>
                  <a:lnTo>
                    <a:pt x="72" y="43"/>
                  </a:lnTo>
                  <a:lnTo>
                    <a:pt x="72" y="43"/>
                  </a:lnTo>
                  <a:lnTo>
                    <a:pt x="68" y="40"/>
                  </a:lnTo>
                  <a:lnTo>
                    <a:pt x="68" y="37"/>
                  </a:lnTo>
                  <a:lnTo>
                    <a:pt x="70" y="36"/>
                  </a:lnTo>
                  <a:lnTo>
                    <a:pt x="70" y="36"/>
                  </a:lnTo>
                  <a:lnTo>
                    <a:pt x="78" y="33"/>
                  </a:lnTo>
                  <a:lnTo>
                    <a:pt x="79" y="32"/>
                  </a:lnTo>
                  <a:lnTo>
                    <a:pt x="79" y="30"/>
                  </a:lnTo>
                  <a:lnTo>
                    <a:pt x="79" y="30"/>
                  </a:lnTo>
                  <a:lnTo>
                    <a:pt x="79" y="29"/>
                  </a:lnTo>
                  <a:lnTo>
                    <a:pt x="82" y="26"/>
                  </a:lnTo>
                  <a:lnTo>
                    <a:pt x="86" y="23"/>
                  </a:lnTo>
                  <a:lnTo>
                    <a:pt x="86" y="23"/>
                  </a:lnTo>
                  <a:lnTo>
                    <a:pt x="89" y="19"/>
                  </a:lnTo>
                  <a:lnTo>
                    <a:pt x="91" y="16"/>
                  </a:lnTo>
                  <a:lnTo>
                    <a:pt x="91" y="13"/>
                  </a:lnTo>
                  <a:lnTo>
                    <a:pt x="91" y="13"/>
                  </a:lnTo>
                  <a:lnTo>
                    <a:pt x="91" y="6"/>
                  </a:lnTo>
                  <a:lnTo>
                    <a:pt x="91" y="1"/>
                  </a:lnTo>
                  <a:lnTo>
                    <a:pt x="92" y="0"/>
                  </a:lnTo>
                  <a:lnTo>
                    <a:pt x="94" y="0"/>
                  </a:lnTo>
                  <a:lnTo>
                    <a:pt x="94" y="0"/>
                  </a:lnTo>
                  <a:lnTo>
                    <a:pt x="98" y="1"/>
                  </a:lnTo>
                  <a:lnTo>
                    <a:pt x="105" y="7"/>
                  </a:lnTo>
                  <a:lnTo>
                    <a:pt x="111" y="13"/>
                  </a:lnTo>
                  <a:lnTo>
                    <a:pt x="112" y="19"/>
                  </a:lnTo>
                  <a:lnTo>
                    <a:pt x="112" y="19"/>
                  </a:lnTo>
                  <a:lnTo>
                    <a:pt x="117" y="42"/>
                  </a:lnTo>
                  <a:lnTo>
                    <a:pt x="117" y="55"/>
                  </a:lnTo>
                  <a:lnTo>
                    <a:pt x="117" y="58"/>
                  </a:lnTo>
                  <a:lnTo>
                    <a:pt x="115" y="61"/>
                  </a:lnTo>
                  <a:lnTo>
                    <a:pt x="115" y="61"/>
                  </a:lnTo>
                  <a:lnTo>
                    <a:pt x="115" y="61"/>
                  </a:lnTo>
                  <a:lnTo>
                    <a:pt x="115" y="61"/>
                  </a:lnTo>
                  <a:lnTo>
                    <a:pt x="112" y="59"/>
                  </a:lnTo>
                  <a:lnTo>
                    <a:pt x="111" y="58"/>
                  </a:lnTo>
                  <a:lnTo>
                    <a:pt x="111" y="58"/>
                  </a:lnTo>
                  <a:lnTo>
                    <a:pt x="108" y="56"/>
                  </a:lnTo>
                  <a:lnTo>
                    <a:pt x="108" y="56"/>
                  </a:lnTo>
                  <a:lnTo>
                    <a:pt x="108" y="56"/>
                  </a:lnTo>
                  <a:lnTo>
                    <a:pt x="108" y="56"/>
                  </a:lnTo>
                  <a:lnTo>
                    <a:pt x="107" y="61"/>
                  </a:lnTo>
                  <a:lnTo>
                    <a:pt x="107" y="65"/>
                  </a:lnTo>
                  <a:lnTo>
                    <a:pt x="107" y="71"/>
                  </a:lnTo>
                  <a:lnTo>
                    <a:pt x="107" y="74"/>
                  </a:lnTo>
                  <a:lnTo>
                    <a:pt x="107" y="74"/>
                  </a:lnTo>
                  <a:lnTo>
                    <a:pt x="94" y="113"/>
                  </a:lnTo>
                  <a:lnTo>
                    <a:pt x="94" y="113"/>
                  </a:lnTo>
                  <a:lnTo>
                    <a:pt x="88" y="143"/>
                  </a:lnTo>
                  <a:lnTo>
                    <a:pt x="82" y="161"/>
                  </a:lnTo>
                  <a:lnTo>
                    <a:pt x="79" y="172"/>
                  </a:lnTo>
                  <a:lnTo>
                    <a:pt x="79" y="172"/>
                  </a:lnTo>
                  <a:lnTo>
                    <a:pt x="75" y="182"/>
                  </a:lnTo>
                  <a:lnTo>
                    <a:pt x="70" y="194"/>
                  </a:lnTo>
                  <a:lnTo>
                    <a:pt x="68" y="204"/>
                  </a:lnTo>
                  <a:lnTo>
                    <a:pt x="65" y="210"/>
                  </a:lnTo>
                  <a:lnTo>
                    <a:pt x="65" y="210"/>
                  </a:lnTo>
                  <a:lnTo>
                    <a:pt x="60" y="214"/>
                  </a:lnTo>
                  <a:lnTo>
                    <a:pt x="56" y="219"/>
                  </a:lnTo>
                  <a:lnTo>
                    <a:pt x="56" y="219"/>
                  </a:lnTo>
                  <a:lnTo>
                    <a:pt x="44" y="224"/>
                  </a:lnTo>
                  <a:lnTo>
                    <a:pt x="37" y="227"/>
                  </a:lnTo>
                  <a:lnTo>
                    <a:pt x="31" y="229"/>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54" name="Freeform 835"/>
            <p:cNvSpPr>
              <a:spLocks/>
            </p:cNvSpPr>
            <p:nvPr/>
          </p:nvSpPr>
          <p:spPr bwMode="auto">
            <a:xfrm>
              <a:off x="5429251" y="5075667"/>
              <a:ext cx="185738" cy="363538"/>
            </a:xfrm>
            <a:custGeom>
              <a:avLst/>
              <a:gdLst>
                <a:gd name="T0" fmla="*/ 30 w 117"/>
                <a:gd name="T1" fmla="*/ 229 h 229"/>
                <a:gd name="T2" fmla="*/ 24 w 117"/>
                <a:gd name="T3" fmla="*/ 224 h 229"/>
                <a:gd name="T4" fmla="*/ 20 w 117"/>
                <a:gd name="T5" fmla="*/ 220 h 229"/>
                <a:gd name="T6" fmla="*/ 11 w 117"/>
                <a:gd name="T7" fmla="*/ 216 h 229"/>
                <a:gd name="T8" fmla="*/ 8 w 117"/>
                <a:gd name="T9" fmla="*/ 195 h 229"/>
                <a:gd name="T10" fmla="*/ 7 w 117"/>
                <a:gd name="T11" fmla="*/ 182 h 229"/>
                <a:gd name="T12" fmla="*/ 7 w 117"/>
                <a:gd name="T13" fmla="*/ 179 h 229"/>
                <a:gd name="T14" fmla="*/ 1 w 117"/>
                <a:gd name="T15" fmla="*/ 174 h 229"/>
                <a:gd name="T16" fmla="*/ 1 w 117"/>
                <a:gd name="T17" fmla="*/ 163 h 229"/>
                <a:gd name="T18" fmla="*/ 11 w 117"/>
                <a:gd name="T19" fmla="*/ 148 h 229"/>
                <a:gd name="T20" fmla="*/ 24 w 117"/>
                <a:gd name="T21" fmla="*/ 133 h 229"/>
                <a:gd name="T22" fmla="*/ 23 w 117"/>
                <a:gd name="T23" fmla="*/ 129 h 229"/>
                <a:gd name="T24" fmla="*/ 13 w 117"/>
                <a:gd name="T25" fmla="*/ 87 h 229"/>
                <a:gd name="T26" fmla="*/ 20 w 117"/>
                <a:gd name="T27" fmla="*/ 75 h 229"/>
                <a:gd name="T28" fmla="*/ 24 w 117"/>
                <a:gd name="T29" fmla="*/ 68 h 229"/>
                <a:gd name="T30" fmla="*/ 31 w 117"/>
                <a:gd name="T31" fmla="*/ 64 h 229"/>
                <a:gd name="T32" fmla="*/ 39 w 117"/>
                <a:gd name="T33" fmla="*/ 58 h 229"/>
                <a:gd name="T34" fmla="*/ 43 w 117"/>
                <a:gd name="T35" fmla="*/ 59 h 229"/>
                <a:gd name="T36" fmla="*/ 49 w 117"/>
                <a:gd name="T37" fmla="*/ 61 h 229"/>
                <a:gd name="T38" fmla="*/ 53 w 117"/>
                <a:gd name="T39" fmla="*/ 59 h 229"/>
                <a:gd name="T40" fmla="*/ 63 w 117"/>
                <a:gd name="T41" fmla="*/ 51 h 229"/>
                <a:gd name="T42" fmla="*/ 72 w 117"/>
                <a:gd name="T43" fmla="*/ 45 h 229"/>
                <a:gd name="T44" fmla="*/ 68 w 117"/>
                <a:gd name="T45" fmla="*/ 40 h 229"/>
                <a:gd name="T46" fmla="*/ 70 w 117"/>
                <a:gd name="T47" fmla="*/ 36 h 229"/>
                <a:gd name="T48" fmla="*/ 79 w 117"/>
                <a:gd name="T49" fmla="*/ 30 h 229"/>
                <a:gd name="T50" fmla="*/ 82 w 117"/>
                <a:gd name="T51" fmla="*/ 26 h 229"/>
                <a:gd name="T52" fmla="*/ 89 w 117"/>
                <a:gd name="T53" fmla="*/ 19 h 229"/>
                <a:gd name="T54" fmla="*/ 91 w 117"/>
                <a:gd name="T55" fmla="*/ 13 h 229"/>
                <a:gd name="T56" fmla="*/ 92 w 117"/>
                <a:gd name="T57" fmla="*/ 0 h 229"/>
                <a:gd name="T58" fmla="*/ 98 w 117"/>
                <a:gd name="T59" fmla="*/ 1 h 229"/>
                <a:gd name="T60" fmla="*/ 112 w 117"/>
                <a:gd name="T61" fmla="*/ 19 h 229"/>
                <a:gd name="T62" fmla="*/ 117 w 117"/>
                <a:gd name="T63" fmla="*/ 55 h 229"/>
                <a:gd name="T64" fmla="*/ 115 w 117"/>
                <a:gd name="T65" fmla="*/ 61 h 229"/>
                <a:gd name="T66" fmla="*/ 112 w 117"/>
                <a:gd name="T67" fmla="*/ 59 h 229"/>
                <a:gd name="T68" fmla="*/ 108 w 117"/>
                <a:gd name="T69" fmla="*/ 56 h 229"/>
                <a:gd name="T70" fmla="*/ 108 w 117"/>
                <a:gd name="T71" fmla="*/ 56 h 229"/>
                <a:gd name="T72" fmla="*/ 107 w 117"/>
                <a:gd name="T73" fmla="*/ 71 h 229"/>
                <a:gd name="T74" fmla="*/ 94 w 117"/>
                <a:gd name="T75" fmla="*/ 113 h 229"/>
                <a:gd name="T76" fmla="*/ 82 w 117"/>
                <a:gd name="T77" fmla="*/ 161 h 229"/>
                <a:gd name="T78" fmla="*/ 75 w 117"/>
                <a:gd name="T79" fmla="*/ 182 h 229"/>
                <a:gd name="T80" fmla="*/ 65 w 117"/>
                <a:gd name="T81" fmla="*/ 210 h 229"/>
                <a:gd name="T82" fmla="*/ 56 w 117"/>
                <a:gd name="T83" fmla="*/ 219 h 229"/>
                <a:gd name="T84" fmla="*/ 37 w 117"/>
                <a:gd name="T85" fmla="*/ 22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7" h="229">
                  <a:moveTo>
                    <a:pt x="31" y="229"/>
                  </a:moveTo>
                  <a:lnTo>
                    <a:pt x="31" y="229"/>
                  </a:lnTo>
                  <a:lnTo>
                    <a:pt x="30" y="229"/>
                  </a:lnTo>
                  <a:lnTo>
                    <a:pt x="30" y="229"/>
                  </a:lnTo>
                  <a:lnTo>
                    <a:pt x="27" y="227"/>
                  </a:lnTo>
                  <a:lnTo>
                    <a:pt x="24" y="224"/>
                  </a:lnTo>
                  <a:lnTo>
                    <a:pt x="23" y="221"/>
                  </a:lnTo>
                  <a:lnTo>
                    <a:pt x="20" y="220"/>
                  </a:lnTo>
                  <a:lnTo>
                    <a:pt x="20" y="220"/>
                  </a:lnTo>
                  <a:lnTo>
                    <a:pt x="17" y="220"/>
                  </a:lnTo>
                  <a:lnTo>
                    <a:pt x="14" y="219"/>
                  </a:lnTo>
                  <a:lnTo>
                    <a:pt x="11" y="216"/>
                  </a:lnTo>
                  <a:lnTo>
                    <a:pt x="10" y="210"/>
                  </a:lnTo>
                  <a:lnTo>
                    <a:pt x="10" y="210"/>
                  </a:lnTo>
                  <a:lnTo>
                    <a:pt x="8" y="195"/>
                  </a:lnTo>
                  <a:lnTo>
                    <a:pt x="8" y="187"/>
                  </a:lnTo>
                  <a:lnTo>
                    <a:pt x="7" y="182"/>
                  </a:lnTo>
                  <a:lnTo>
                    <a:pt x="7" y="182"/>
                  </a:lnTo>
                  <a:lnTo>
                    <a:pt x="5" y="181"/>
                  </a:lnTo>
                  <a:lnTo>
                    <a:pt x="7" y="181"/>
                  </a:lnTo>
                  <a:lnTo>
                    <a:pt x="7" y="179"/>
                  </a:lnTo>
                  <a:lnTo>
                    <a:pt x="5" y="178"/>
                  </a:lnTo>
                  <a:lnTo>
                    <a:pt x="5" y="178"/>
                  </a:lnTo>
                  <a:lnTo>
                    <a:pt x="1" y="174"/>
                  </a:lnTo>
                  <a:lnTo>
                    <a:pt x="0" y="168"/>
                  </a:lnTo>
                  <a:lnTo>
                    <a:pt x="0" y="168"/>
                  </a:lnTo>
                  <a:lnTo>
                    <a:pt x="1" y="163"/>
                  </a:lnTo>
                  <a:lnTo>
                    <a:pt x="2" y="159"/>
                  </a:lnTo>
                  <a:lnTo>
                    <a:pt x="5" y="153"/>
                  </a:lnTo>
                  <a:lnTo>
                    <a:pt x="11" y="148"/>
                  </a:lnTo>
                  <a:lnTo>
                    <a:pt x="11" y="148"/>
                  </a:lnTo>
                  <a:lnTo>
                    <a:pt x="21" y="137"/>
                  </a:lnTo>
                  <a:lnTo>
                    <a:pt x="24" y="133"/>
                  </a:lnTo>
                  <a:lnTo>
                    <a:pt x="24" y="132"/>
                  </a:lnTo>
                  <a:lnTo>
                    <a:pt x="23" y="129"/>
                  </a:lnTo>
                  <a:lnTo>
                    <a:pt x="23" y="129"/>
                  </a:lnTo>
                  <a:lnTo>
                    <a:pt x="17" y="107"/>
                  </a:lnTo>
                  <a:lnTo>
                    <a:pt x="14" y="95"/>
                  </a:lnTo>
                  <a:lnTo>
                    <a:pt x="13" y="87"/>
                  </a:lnTo>
                  <a:lnTo>
                    <a:pt x="13" y="87"/>
                  </a:lnTo>
                  <a:lnTo>
                    <a:pt x="15" y="81"/>
                  </a:lnTo>
                  <a:lnTo>
                    <a:pt x="20" y="75"/>
                  </a:lnTo>
                  <a:lnTo>
                    <a:pt x="23" y="71"/>
                  </a:lnTo>
                  <a:lnTo>
                    <a:pt x="24" y="68"/>
                  </a:lnTo>
                  <a:lnTo>
                    <a:pt x="24" y="68"/>
                  </a:lnTo>
                  <a:lnTo>
                    <a:pt x="24" y="66"/>
                  </a:lnTo>
                  <a:lnTo>
                    <a:pt x="26" y="65"/>
                  </a:lnTo>
                  <a:lnTo>
                    <a:pt x="31" y="64"/>
                  </a:lnTo>
                  <a:lnTo>
                    <a:pt x="31" y="64"/>
                  </a:lnTo>
                  <a:lnTo>
                    <a:pt x="36" y="59"/>
                  </a:lnTo>
                  <a:lnTo>
                    <a:pt x="39" y="58"/>
                  </a:lnTo>
                  <a:lnTo>
                    <a:pt x="40" y="58"/>
                  </a:lnTo>
                  <a:lnTo>
                    <a:pt x="40" y="58"/>
                  </a:lnTo>
                  <a:lnTo>
                    <a:pt x="43" y="59"/>
                  </a:lnTo>
                  <a:lnTo>
                    <a:pt x="43" y="59"/>
                  </a:lnTo>
                  <a:lnTo>
                    <a:pt x="46" y="61"/>
                  </a:lnTo>
                  <a:lnTo>
                    <a:pt x="49" y="61"/>
                  </a:lnTo>
                  <a:lnTo>
                    <a:pt x="49" y="61"/>
                  </a:lnTo>
                  <a:lnTo>
                    <a:pt x="50" y="61"/>
                  </a:lnTo>
                  <a:lnTo>
                    <a:pt x="53" y="59"/>
                  </a:lnTo>
                  <a:lnTo>
                    <a:pt x="53" y="59"/>
                  </a:lnTo>
                  <a:lnTo>
                    <a:pt x="57" y="55"/>
                  </a:lnTo>
                  <a:lnTo>
                    <a:pt x="63" y="51"/>
                  </a:lnTo>
                  <a:lnTo>
                    <a:pt x="63" y="51"/>
                  </a:lnTo>
                  <a:lnTo>
                    <a:pt x="70" y="46"/>
                  </a:lnTo>
                  <a:lnTo>
                    <a:pt x="72" y="45"/>
                  </a:lnTo>
                  <a:lnTo>
                    <a:pt x="72" y="43"/>
                  </a:lnTo>
                  <a:lnTo>
                    <a:pt x="72" y="43"/>
                  </a:lnTo>
                  <a:lnTo>
                    <a:pt x="68" y="40"/>
                  </a:lnTo>
                  <a:lnTo>
                    <a:pt x="68" y="37"/>
                  </a:lnTo>
                  <a:lnTo>
                    <a:pt x="70" y="36"/>
                  </a:lnTo>
                  <a:lnTo>
                    <a:pt x="70" y="36"/>
                  </a:lnTo>
                  <a:lnTo>
                    <a:pt x="78" y="33"/>
                  </a:lnTo>
                  <a:lnTo>
                    <a:pt x="79" y="32"/>
                  </a:lnTo>
                  <a:lnTo>
                    <a:pt x="79" y="30"/>
                  </a:lnTo>
                  <a:lnTo>
                    <a:pt x="79" y="30"/>
                  </a:lnTo>
                  <a:lnTo>
                    <a:pt x="79" y="29"/>
                  </a:lnTo>
                  <a:lnTo>
                    <a:pt x="82" y="26"/>
                  </a:lnTo>
                  <a:lnTo>
                    <a:pt x="86" y="23"/>
                  </a:lnTo>
                  <a:lnTo>
                    <a:pt x="86" y="23"/>
                  </a:lnTo>
                  <a:lnTo>
                    <a:pt x="89" y="19"/>
                  </a:lnTo>
                  <a:lnTo>
                    <a:pt x="91" y="16"/>
                  </a:lnTo>
                  <a:lnTo>
                    <a:pt x="91" y="13"/>
                  </a:lnTo>
                  <a:lnTo>
                    <a:pt x="91" y="13"/>
                  </a:lnTo>
                  <a:lnTo>
                    <a:pt x="91" y="6"/>
                  </a:lnTo>
                  <a:lnTo>
                    <a:pt x="91" y="1"/>
                  </a:lnTo>
                  <a:lnTo>
                    <a:pt x="92" y="0"/>
                  </a:lnTo>
                  <a:lnTo>
                    <a:pt x="94" y="0"/>
                  </a:lnTo>
                  <a:lnTo>
                    <a:pt x="94" y="0"/>
                  </a:lnTo>
                  <a:lnTo>
                    <a:pt x="98" y="1"/>
                  </a:lnTo>
                  <a:lnTo>
                    <a:pt x="105" y="7"/>
                  </a:lnTo>
                  <a:lnTo>
                    <a:pt x="111" y="13"/>
                  </a:lnTo>
                  <a:lnTo>
                    <a:pt x="112" y="19"/>
                  </a:lnTo>
                  <a:lnTo>
                    <a:pt x="112" y="19"/>
                  </a:lnTo>
                  <a:lnTo>
                    <a:pt x="117" y="42"/>
                  </a:lnTo>
                  <a:lnTo>
                    <a:pt x="117" y="55"/>
                  </a:lnTo>
                  <a:lnTo>
                    <a:pt x="117" y="58"/>
                  </a:lnTo>
                  <a:lnTo>
                    <a:pt x="115" y="61"/>
                  </a:lnTo>
                  <a:lnTo>
                    <a:pt x="115" y="61"/>
                  </a:lnTo>
                  <a:lnTo>
                    <a:pt x="115" y="61"/>
                  </a:lnTo>
                  <a:lnTo>
                    <a:pt x="115" y="61"/>
                  </a:lnTo>
                  <a:lnTo>
                    <a:pt x="112" y="59"/>
                  </a:lnTo>
                  <a:lnTo>
                    <a:pt x="111" y="58"/>
                  </a:lnTo>
                  <a:lnTo>
                    <a:pt x="111" y="58"/>
                  </a:lnTo>
                  <a:lnTo>
                    <a:pt x="108" y="56"/>
                  </a:lnTo>
                  <a:lnTo>
                    <a:pt x="108" y="56"/>
                  </a:lnTo>
                  <a:lnTo>
                    <a:pt x="108" y="56"/>
                  </a:lnTo>
                  <a:lnTo>
                    <a:pt x="108" y="56"/>
                  </a:lnTo>
                  <a:lnTo>
                    <a:pt x="107" y="61"/>
                  </a:lnTo>
                  <a:lnTo>
                    <a:pt x="107" y="65"/>
                  </a:lnTo>
                  <a:lnTo>
                    <a:pt x="107" y="71"/>
                  </a:lnTo>
                  <a:lnTo>
                    <a:pt x="107" y="74"/>
                  </a:lnTo>
                  <a:lnTo>
                    <a:pt x="107" y="74"/>
                  </a:lnTo>
                  <a:lnTo>
                    <a:pt x="94" y="113"/>
                  </a:lnTo>
                  <a:lnTo>
                    <a:pt x="94" y="113"/>
                  </a:lnTo>
                  <a:lnTo>
                    <a:pt x="88" y="143"/>
                  </a:lnTo>
                  <a:lnTo>
                    <a:pt x="82" y="161"/>
                  </a:lnTo>
                  <a:lnTo>
                    <a:pt x="79" y="172"/>
                  </a:lnTo>
                  <a:lnTo>
                    <a:pt x="79" y="172"/>
                  </a:lnTo>
                  <a:lnTo>
                    <a:pt x="75" y="182"/>
                  </a:lnTo>
                  <a:lnTo>
                    <a:pt x="70" y="194"/>
                  </a:lnTo>
                  <a:lnTo>
                    <a:pt x="68" y="204"/>
                  </a:lnTo>
                  <a:lnTo>
                    <a:pt x="65" y="210"/>
                  </a:lnTo>
                  <a:lnTo>
                    <a:pt x="65" y="210"/>
                  </a:lnTo>
                  <a:lnTo>
                    <a:pt x="60" y="214"/>
                  </a:lnTo>
                  <a:lnTo>
                    <a:pt x="56" y="219"/>
                  </a:lnTo>
                  <a:lnTo>
                    <a:pt x="56" y="219"/>
                  </a:lnTo>
                  <a:lnTo>
                    <a:pt x="44" y="224"/>
                  </a:lnTo>
                  <a:lnTo>
                    <a:pt x="37" y="227"/>
                  </a:lnTo>
                  <a:lnTo>
                    <a:pt x="31" y="22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55" name="Freeform 867"/>
            <p:cNvSpPr>
              <a:spLocks/>
            </p:cNvSpPr>
            <p:nvPr/>
          </p:nvSpPr>
          <p:spPr bwMode="auto">
            <a:xfrm>
              <a:off x="7883526" y="3475467"/>
              <a:ext cx="147638" cy="138113"/>
            </a:xfrm>
            <a:custGeom>
              <a:avLst/>
              <a:gdLst>
                <a:gd name="T0" fmla="*/ 13 w 93"/>
                <a:gd name="T1" fmla="*/ 81 h 87"/>
                <a:gd name="T2" fmla="*/ 6 w 93"/>
                <a:gd name="T3" fmla="*/ 87 h 87"/>
                <a:gd name="T4" fmla="*/ 5 w 93"/>
                <a:gd name="T5" fmla="*/ 85 h 87"/>
                <a:gd name="T6" fmla="*/ 2 w 93"/>
                <a:gd name="T7" fmla="*/ 81 h 87"/>
                <a:gd name="T8" fmla="*/ 2 w 93"/>
                <a:gd name="T9" fmla="*/ 79 h 87"/>
                <a:gd name="T10" fmla="*/ 5 w 93"/>
                <a:gd name="T11" fmla="*/ 76 h 87"/>
                <a:gd name="T12" fmla="*/ 5 w 93"/>
                <a:gd name="T13" fmla="*/ 75 h 87"/>
                <a:gd name="T14" fmla="*/ 0 w 93"/>
                <a:gd name="T15" fmla="*/ 66 h 87"/>
                <a:gd name="T16" fmla="*/ 0 w 93"/>
                <a:gd name="T17" fmla="*/ 63 h 87"/>
                <a:gd name="T18" fmla="*/ 5 w 93"/>
                <a:gd name="T19" fmla="*/ 59 h 87"/>
                <a:gd name="T20" fmla="*/ 9 w 93"/>
                <a:gd name="T21" fmla="*/ 56 h 87"/>
                <a:gd name="T22" fmla="*/ 10 w 93"/>
                <a:gd name="T23" fmla="*/ 52 h 87"/>
                <a:gd name="T24" fmla="*/ 13 w 93"/>
                <a:gd name="T25" fmla="*/ 49 h 87"/>
                <a:gd name="T26" fmla="*/ 18 w 93"/>
                <a:gd name="T27" fmla="*/ 52 h 87"/>
                <a:gd name="T28" fmla="*/ 22 w 93"/>
                <a:gd name="T29" fmla="*/ 52 h 87"/>
                <a:gd name="T30" fmla="*/ 26 w 93"/>
                <a:gd name="T31" fmla="*/ 47 h 87"/>
                <a:gd name="T32" fmla="*/ 28 w 93"/>
                <a:gd name="T33" fmla="*/ 42 h 87"/>
                <a:gd name="T34" fmla="*/ 28 w 93"/>
                <a:gd name="T35" fmla="*/ 39 h 87"/>
                <a:gd name="T36" fmla="*/ 31 w 93"/>
                <a:gd name="T37" fmla="*/ 30 h 87"/>
                <a:gd name="T38" fmla="*/ 32 w 93"/>
                <a:gd name="T39" fmla="*/ 20 h 87"/>
                <a:gd name="T40" fmla="*/ 31 w 93"/>
                <a:gd name="T41" fmla="*/ 10 h 87"/>
                <a:gd name="T42" fmla="*/ 31 w 93"/>
                <a:gd name="T43" fmla="*/ 5 h 87"/>
                <a:gd name="T44" fmla="*/ 32 w 93"/>
                <a:gd name="T45" fmla="*/ 1 h 87"/>
                <a:gd name="T46" fmla="*/ 37 w 93"/>
                <a:gd name="T47" fmla="*/ 0 h 87"/>
                <a:gd name="T48" fmla="*/ 37 w 93"/>
                <a:gd name="T49" fmla="*/ 0 h 87"/>
                <a:gd name="T50" fmla="*/ 48 w 93"/>
                <a:gd name="T51" fmla="*/ 16 h 87"/>
                <a:gd name="T52" fmla="*/ 57 w 93"/>
                <a:gd name="T53" fmla="*/ 21 h 87"/>
                <a:gd name="T54" fmla="*/ 64 w 93"/>
                <a:gd name="T55" fmla="*/ 26 h 87"/>
                <a:gd name="T56" fmla="*/ 68 w 93"/>
                <a:gd name="T57" fmla="*/ 24 h 87"/>
                <a:gd name="T58" fmla="*/ 71 w 93"/>
                <a:gd name="T59" fmla="*/ 24 h 87"/>
                <a:gd name="T60" fmla="*/ 71 w 93"/>
                <a:gd name="T61" fmla="*/ 29 h 87"/>
                <a:gd name="T62" fmla="*/ 74 w 93"/>
                <a:gd name="T63" fmla="*/ 30 h 87"/>
                <a:gd name="T64" fmla="*/ 80 w 93"/>
                <a:gd name="T65" fmla="*/ 27 h 87"/>
                <a:gd name="T66" fmla="*/ 84 w 93"/>
                <a:gd name="T67" fmla="*/ 27 h 87"/>
                <a:gd name="T68" fmla="*/ 84 w 93"/>
                <a:gd name="T69" fmla="*/ 36 h 87"/>
                <a:gd name="T70" fmla="*/ 86 w 93"/>
                <a:gd name="T71" fmla="*/ 40 h 87"/>
                <a:gd name="T72" fmla="*/ 87 w 93"/>
                <a:gd name="T73" fmla="*/ 43 h 87"/>
                <a:gd name="T74" fmla="*/ 92 w 93"/>
                <a:gd name="T75" fmla="*/ 43 h 87"/>
                <a:gd name="T76" fmla="*/ 93 w 93"/>
                <a:gd name="T77" fmla="*/ 45 h 87"/>
                <a:gd name="T78" fmla="*/ 84 w 93"/>
                <a:gd name="T79" fmla="*/ 47 h 87"/>
                <a:gd name="T80" fmla="*/ 73 w 93"/>
                <a:gd name="T81" fmla="*/ 50 h 87"/>
                <a:gd name="T82" fmla="*/ 64 w 93"/>
                <a:gd name="T83" fmla="*/ 58 h 87"/>
                <a:gd name="T84" fmla="*/ 58 w 93"/>
                <a:gd name="T85" fmla="*/ 65 h 87"/>
                <a:gd name="T86" fmla="*/ 57 w 93"/>
                <a:gd name="T87" fmla="*/ 74 h 87"/>
                <a:gd name="T88" fmla="*/ 52 w 93"/>
                <a:gd name="T89" fmla="*/ 75 h 87"/>
                <a:gd name="T90" fmla="*/ 45 w 93"/>
                <a:gd name="T91" fmla="*/ 69 h 87"/>
                <a:gd name="T92" fmla="*/ 37 w 93"/>
                <a:gd name="T93" fmla="*/ 65 h 87"/>
                <a:gd name="T94" fmla="*/ 35 w 93"/>
                <a:gd name="T95" fmla="*/ 65 h 87"/>
                <a:gd name="T96" fmla="*/ 29 w 93"/>
                <a:gd name="T97" fmla="*/ 62 h 87"/>
                <a:gd name="T98" fmla="*/ 28 w 93"/>
                <a:gd name="T99" fmla="*/ 62 h 87"/>
                <a:gd name="T100" fmla="*/ 19 w 93"/>
                <a:gd name="T101" fmla="*/ 68 h 87"/>
                <a:gd name="T102" fmla="*/ 18 w 93"/>
                <a:gd name="T103" fmla="*/ 68 h 87"/>
                <a:gd name="T104" fmla="*/ 13 w 93"/>
                <a:gd name="T105" fmla="*/ 62 h 87"/>
                <a:gd name="T106" fmla="*/ 12 w 93"/>
                <a:gd name="T107" fmla="*/ 61 h 87"/>
                <a:gd name="T108" fmla="*/ 8 w 93"/>
                <a:gd name="T109" fmla="*/ 68 h 87"/>
                <a:gd name="T110" fmla="*/ 9 w 93"/>
                <a:gd name="T111" fmla="*/ 69 h 87"/>
                <a:gd name="T112" fmla="*/ 16 w 93"/>
                <a:gd name="T113" fmla="*/ 71 h 87"/>
                <a:gd name="T114" fmla="*/ 21 w 93"/>
                <a:gd name="T115" fmla="*/ 75 h 87"/>
                <a:gd name="T116" fmla="*/ 19 w 93"/>
                <a:gd name="T117" fmla="*/ 76 h 87"/>
                <a:gd name="T118" fmla="*/ 16 w 93"/>
                <a:gd name="T119" fmla="*/ 7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 h="87">
                  <a:moveTo>
                    <a:pt x="13" y="81"/>
                  </a:moveTo>
                  <a:lnTo>
                    <a:pt x="13" y="81"/>
                  </a:lnTo>
                  <a:lnTo>
                    <a:pt x="9" y="85"/>
                  </a:lnTo>
                  <a:lnTo>
                    <a:pt x="6" y="87"/>
                  </a:lnTo>
                  <a:lnTo>
                    <a:pt x="5" y="85"/>
                  </a:lnTo>
                  <a:lnTo>
                    <a:pt x="5" y="85"/>
                  </a:lnTo>
                  <a:lnTo>
                    <a:pt x="2" y="82"/>
                  </a:lnTo>
                  <a:lnTo>
                    <a:pt x="2" y="81"/>
                  </a:lnTo>
                  <a:lnTo>
                    <a:pt x="2" y="79"/>
                  </a:lnTo>
                  <a:lnTo>
                    <a:pt x="2" y="79"/>
                  </a:lnTo>
                  <a:lnTo>
                    <a:pt x="5" y="76"/>
                  </a:lnTo>
                  <a:lnTo>
                    <a:pt x="5" y="76"/>
                  </a:lnTo>
                  <a:lnTo>
                    <a:pt x="5" y="75"/>
                  </a:lnTo>
                  <a:lnTo>
                    <a:pt x="5" y="75"/>
                  </a:lnTo>
                  <a:lnTo>
                    <a:pt x="2" y="69"/>
                  </a:lnTo>
                  <a:lnTo>
                    <a:pt x="0" y="66"/>
                  </a:lnTo>
                  <a:lnTo>
                    <a:pt x="0" y="63"/>
                  </a:lnTo>
                  <a:lnTo>
                    <a:pt x="0" y="63"/>
                  </a:lnTo>
                  <a:lnTo>
                    <a:pt x="2" y="62"/>
                  </a:lnTo>
                  <a:lnTo>
                    <a:pt x="5" y="59"/>
                  </a:lnTo>
                  <a:lnTo>
                    <a:pt x="9" y="56"/>
                  </a:lnTo>
                  <a:lnTo>
                    <a:pt x="9" y="56"/>
                  </a:lnTo>
                  <a:lnTo>
                    <a:pt x="10" y="55"/>
                  </a:lnTo>
                  <a:lnTo>
                    <a:pt x="10" y="52"/>
                  </a:lnTo>
                  <a:lnTo>
                    <a:pt x="10" y="50"/>
                  </a:lnTo>
                  <a:lnTo>
                    <a:pt x="13" y="49"/>
                  </a:lnTo>
                  <a:lnTo>
                    <a:pt x="13" y="49"/>
                  </a:lnTo>
                  <a:lnTo>
                    <a:pt x="18" y="52"/>
                  </a:lnTo>
                  <a:lnTo>
                    <a:pt x="21" y="52"/>
                  </a:lnTo>
                  <a:lnTo>
                    <a:pt x="22" y="52"/>
                  </a:lnTo>
                  <a:lnTo>
                    <a:pt x="22" y="52"/>
                  </a:lnTo>
                  <a:lnTo>
                    <a:pt x="26" y="47"/>
                  </a:lnTo>
                  <a:lnTo>
                    <a:pt x="28" y="45"/>
                  </a:lnTo>
                  <a:lnTo>
                    <a:pt x="28" y="42"/>
                  </a:lnTo>
                  <a:lnTo>
                    <a:pt x="28" y="42"/>
                  </a:lnTo>
                  <a:lnTo>
                    <a:pt x="28" y="39"/>
                  </a:lnTo>
                  <a:lnTo>
                    <a:pt x="28" y="36"/>
                  </a:lnTo>
                  <a:lnTo>
                    <a:pt x="31" y="30"/>
                  </a:lnTo>
                  <a:lnTo>
                    <a:pt x="31" y="30"/>
                  </a:lnTo>
                  <a:lnTo>
                    <a:pt x="32" y="20"/>
                  </a:lnTo>
                  <a:lnTo>
                    <a:pt x="32" y="13"/>
                  </a:lnTo>
                  <a:lnTo>
                    <a:pt x="31" y="10"/>
                  </a:lnTo>
                  <a:lnTo>
                    <a:pt x="31" y="10"/>
                  </a:lnTo>
                  <a:lnTo>
                    <a:pt x="31" y="5"/>
                  </a:lnTo>
                  <a:lnTo>
                    <a:pt x="32" y="1"/>
                  </a:lnTo>
                  <a:lnTo>
                    <a:pt x="32" y="1"/>
                  </a:lnTo>
                  <a:lnTo>
                    <a:pt x="35" y="0"/>
                  </a:lnTo>
                  <a:lnTo>
                    <a:pt x="37" y="0"/>
                  </a:lnTo>
                  <a:lnTo>
                    <a:pt x="37" y="0"/>
                  </a:lnTo>
                  <a:lnTo>
                    <a:pt x="37" y="0"/>
                  </a:lnTo>
                  <a:lnTo>
                    <a:pt x="41" y="7"/>
                  </a:lnTo>
                  <a:lnTo>
                    <a:pt x="48" y="16"/>
                  </a:lnTo>
                  <a:lnTo>
                    <a:pt x="48" y="16"/>
                  </a:lnTo>
                  <a:lnTo>
                    <a:pt x="57" y="21"/>
                  </a:lnTo>
                  <a:lnTo>
                    <a:pt x="60" y="24"/>
                  </a:lnTo>
                  <a:lnTo>
                    <a:pt x="64" y="26"/>
                  </a:lnTo>
                  <a:lnTo>
                    <a:pt x="64" y="26"/>
                  </a:lnTo>
                  <a:lnTo>
                    <a:pt x="68" y="24"/>
                  </a:lnTo>
                  <a:lnTo>
                    <a:pt x="70" y="23"/>
                  </a:lnTo>
                  <a:lnTo>
                    <a:pt x="71" y="24"/>
                  </a:lnTo>
                  <a:lnTo>
                    <a:pt x="71" y="24"/>
                  </a:lnTo>
                  <a:lnTo>
                    <a:pt x="71" y="29"/>
                  </a:lnTo>
                  <a:lnTo>
                    <a:pt x="73" y="29"/>
                  </a:lnTo>
                  <a:lnTo>
                    <a:pt x="74" y="30"/>
                  </a:lnTo>
                  <a:lnTo>
                    <a:pt x="74" y="30"/>
                  </a:lnTo>
                  <a:lnTo>
                    <a:pt x="80" y="27"/>
                  </a:lnTo>
                  <a:lnTo>
                    <a:pt x="83" y="27"/>
                  </a:lnTo>
                  <a:lnTo>
                    <a:pt x="84" y="27"/>
                  </a:lnTo>
                  <a:lnTo>
                    <a:pt x="84" y="27"/>
                  </a:lnTo>
                  <a:lnTo>
                    <a:pt x="84" y="36"/>
                  </a:lnTo>
                  <a:lnTo>
                    <a:pt x="84" y="36"/>
                  </a:lnTo>
                  <a:lnTo>
                    <a:pt x="86" y="40"/>
                  </a:lnTo>
                  <a:lnTo>
                    <a:pt x="86" y="43"/>
                  </a:lnTo>
                  <a:lnTo>
                    <a:pt x="87" y="43"/>
                  </a:lnTo>
                  <a:lnTo>
                    <a:pt x="87" y="43"/>
                  </a:lnTo>
                  <a:lnTo>
                    <a:pt x="92" y="43"/>
                  </a:lnTo>
                  <a:lnTo>
                    <a:pt x="93" y="45"/>
                  </a:lnTo>
                  <a:lnTo>
                    <a:pt x="93" y="45"/>
                  </a:lnTo>
                  <a:lnTo>
                    <a:pt x="93" y="45"/>
                  </a:lnTo>
                  <a:lnTo>
                    <a:pt x="84" y="47"/>
                  </a:lnTo>
                  <a:lnTo>
                    <a:pt x="73" y="50"/>
                  </a:lnTo>
                  <a:lnTo>
                    <a:pt x="73" y="50"/>
                  </a:lnTo>
                  <a:lnTo>
                    <a:pt x="68" y="53"/>
                  </a:lnTo>
                  <a:lnTo>
                    <a:pt x="64" y="58"/>
                  </a:lnTo>
                  <a:lnTo>
                    <a:pt x="61" y="61"/>
                  </a:lnTo>
                  <a:lnTo>
                    <a:pt x="58" y="65"/>
                  </a:lnTo>
                  <a:lnTo>
                    <a:pt x="58" y="65"/>
                  </a:lnTo>
                  <a:lnTo>
                    <a:pt x="57" y="74"/>
                  </a:lnTo>
                  <a:lnTo>
                    <a:pt x="55" y="75"/>
                  </a:lnTo>
                  <a:lnTo>
                    <a:pt x="52" y="75"/>
                  </a:lnTo>
                  <a:lnTo>
                    <a:pt x="52" y="75"/>
                  </a:lnTo>
                  <a:lnTo>
                    <a:pt x="45" y="69"/>
                  </a:lnTo>
                  <a:lnTo>
                    <a:pt x="41" y="66"/>
                  </a:lnTo>
                  <a:lnTo>
                    <a:pt x="37" y="65"/>
                  </a:lnTo>
                  <a:lnTo>
                    <a:pt x="37" y="65"/>
                  </a:lnTo>
                  <a:lnTo>
                    <a:pt x="35" y="65"/>
                  </a:lnTo>
                  <a:lnTo>
                    <a:pt x="32" y="63"/>
                  </a:lnTo>
                  <a:lnTo>
                    <a:pt x="29" y="62"/>
                  </a:lnTo>
                  <a:lnTo>
                    <a:pt x="28" y="62"/>
                  </a:lnTo>
                  <a:lnTo>
                    <a:pt x="28" y="62"/>
                  </a:lnTo>
                  <a:lnTo>
                    <a:pt x="22" y="66"/>
                  </a:lnTo>
                  <a:lnTo>
                    <a:pt x="19" y="68"/>
                  </a:lnTo>
                  <a:lnTo>
                    <a:pt x="18" y="68"/>
                  </a:lnTo>
                  <a:lnTo>
                    <a:pt x="18" y="68"/>
                  </a:lnTo>
                  <a:lnTo>
                    <a:pt x="15" y="63"/>
                  </a:lnTo>
                  <a:lnTo>
                    <a:pt x="13" y="62"/>
                  </a:lnTo>
                  <a:lnTo>
                    <a:pt x="12" y="61"/>
                  </a:lnTo>
                  <a:lnTo>
                    <a:pt x="12" y="61"/>
                  </a:lnTo>
                  <a:lnTo>
                    <a:pt x="9" y="65"/>
                  </a:lnTo>
                  <a:lnTo>
                    <a:pt x="8" y="68"/>
                  </a:lnTo>
                  <a:lnTo>
                    <a:pt x="9" y="69"/>
                  </a:lnTo>
                  <a:lnTo>
                    <a:pt x="9" y="69"/>
                  </a:lnTo>
                  <a:lnTo>
                    <a:pt x="16" y="71"/>
                  </a:lnTo>
                  <a:lnTo>
                    <a:pt x="16" y="71"/>
                  </a:lnTo>
                  <a:lnTo>
                    <a:pt x="19" y="72"/>
                  </a:lnTo>
                  <a:lnTo>
                    <a:pt x="21" y="75"/>
                  </a:lnTo>
                  <a:lnTo>
                    <a:pt x="21" y="76"/>
                  </a:lnTo>
                  <a:lnTo>
                    <a:pt x="19" y="76"/>
                  </a:lnTo>
                  <a:lnTo>
                    <a:pt x="19" y="76"/>
                  </a:lnTo>
                  <a:lnTo>
                    <a:pt x="16" y="79"/>
                  </a:lnTo>
                  <a:lnTo>
                    <a:pt x="13" y="8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56" name="Freeform 868"/>
            <p:cNvSpPr>
              <a:spLocks/>
            </p:cNvSpPr>
            <p:nvPr/>
          </p:nvSpPr>
          <p:spPr bwMode="auto">
            <a:xfrm>
              <a:off x="7920038" y="3113517"/>
              <a:ext cx="85725" cy="333375"/>
            </a:xfrm>
            <a:custGeom>
              <a:avLst/>
              <a:gdLst>
                <a:gd name="T0" fmla="*/ 48 w 54"/>
                <a:gd name="T1" fmla="*/ 136 h 210"/>
                <a:gd name="T2" fmla="*/ 45 w 54"/>
                <a:gd name="T3" fmla="*/ 116 h 210"/>
                <a:gd name="T4" fmla="*/ 45 w 54"/>
                <a:gd name="T5" fmla="*/ 109 h 210"/>
                <a:gd name="T6" fmla="*/ 45 w 54"/>
                <a:gd name="T7" fmla="*/ 105 h 210"/>
                <a:gd name="T8" fmla="*/ 37 w 54"/>
                <a:gd name="T9" fmla="*/ 93 h 210"/>
                <a:gd name="T10" fmla="*/ 35 w 54"/>
                <a:gd name="T11" fmla="*/ 86 h 210"/>
                <a:gd name="T12" fmla="*/ 32 w 54"/>
                <a:gd name="T13" fmla="*/ 65 h 210"/>
                <a:gd name="T14" fmla="*/ 29 w 54"/>
                <a:gd name="T15" fmla="*/ 58 h 210"/>
                <a:gd name="T16" fmla="*/ 25 w 54"/>
                <a:gd name="T17" fmla="*/ 51 h 210"/>
                <a:gd name="T18" fmla="*/ 25 w 54"/>
                <a:gd name="T19" fmla="*/ 47 h 210"/>
                <a:gd name="T20" fmla="*/ 24 w 54"/>
                <a:gd name="T21" fmla="*/ 31 h 210"/>
                <a:gd name="T22" fmla="*/ 21 w 54"/>
                <a:gd name="T23" fmla="*/ 16 h 210"/>
                <a:gd name="T24" fmla="*/ 21 w 54"/>
                <a:gd name="T25" fmla="*/ 10 h 210"/>
                <a:gd name="T26" fmla="*/ 21 w 54"/>
                <a:gd name="T27" fmla="*/ 5 h 210"/>
                <a:gd name="T28" fmla="*/ 19 w 54"/>
                <a:gd name="T29" fmla="*/ 3 h 210"/>
                <a:gd name="T30" fmla="*/ 9 w 54"/>
                <a:gd name="T31" fmla="*/ 0 h 210"/>
                <a:gd name="T32" fmla="*/ 5 w 54"/>
                <a:gd name="T33" fmla="*/ 2 h 210"/>
                <a:gd name="T34" fmla="*/ 3 w 54"/>
                <a:gd name="T35" fmla="*/ 3 h 210"/>
                <a:gd name="T36" fmla="*/ 11 w 54"/>
                <a:gd name="T37" fmla="*/ 12 h 210"/>
                <a:gd name="T38" fmla="*/ 14 w 54"/>
                <a:gd name="T39" fmla="*/ 15 h 210"/>
                <a:gd name="T40" fmla="*/ 11 w 54"/>
                <a:gd name="T41" fmla="*/ 19 h 210"/>
                <a:gd name="T42" fmla="*/ 3 w 54"/>
                <a:gd name="T43" fmla="*/ 22 h 210"/>
                <a:gd name="T44" fmla="*/ 0 w 54"/>
                <a:gd name="T45" fmla="*/ 25 h 210"/>
                <a:gd name="T46" fmla="*/ 2 w 54"/>
                <a:gd name="T47" fmla="*/ 34 h 210"/>
                <a:gd name="T48" fmla="*/ 3 w 54"/>
                <a:gd name="T49" fmla="*/ 39 h 210"/>
                <a:gd name="T50" fmla="*/ 5 w 54"/>
                <a:gd name="T51" fmla="*/ 47 h 210"/>
                <a:gd name="T52" fmla="*/ 8 w 54"/>
                <a:gd name="T53" fmla="*/ 57 h 210"/>
                <a:gd name="T54" fmla="*/ 11 w 54"/>
                <a:gd name="T55" fmla="*/ 79 h 210"/>
                <a:gd name="T56" fmla="*/ 12 w 54"/>
                <a:gd name="T57" fmla="*/ 83 h 210"/>
                <a:gd name="T58" fmla="*/ 14 w 54"/>
                <a:gd name="T59" fmla="*/ 90 h 210"/>
                <a:gd name="T60" fmla="*/ 12 w 54"/>
                <a:gd name="T61" fmla="*/ 99 h 210"/>
                <a:gd name="T62" fmla="*/ 11 w 54"/>
                <a:gd name="T63" fmla="*/ 116 h 210"/>
                <a:gd name="T64" fmla="*/ 9 w 54"/>
                <a:gd name="T65" fmla="*/ 134 h 210"/>
                <a:gd name="T66" fmla="*/ 9 w 54"/>
                <a:gd name="T67" fmla="*/ 151 h 210"/>
                <a:gd name="T68" fmla="*/ 12 w 54"/>
                <a:gd name="T69" fmla="*/ 167 h 210"/>
                <a:gd name="T70" fmla="*/ 9 w 54"/>
                <a:gd name="T71" fmla="*/ 203 h 210"/>
                <a:gd name="T72" fmla="*/ 11 w 54"/>
                <a:gd name="T73" fmla="*/ 210 h 210"/>
                <a:gd name="T74" fmla="*/ 12 w 54"/>
                <a:gd name="T75" fmla="*/ 210 h 210"/>
                <a:gd name="T76" fmla="*/ 16 w 54"/>
                <a:gd name="T77" fmla="*/ 206 h 210"/>
                <a:gd name="T78" fmla="*/ 19 w 54"/>
                <a:gd name="T79" fmla="*/ 199 h 210"/>
                <a:gd name="T80" fmla="*/ 22 w 54"/>
                <a:gd name="T81" fmla="*/ 200 h 210"/>
                <a:gd name="T82" fmla="*/ 29 w 54"/>
                <a:gd name="T83" fmla="*/ 206 h 210"/>
                <a:gd name="T84" fmla="*/ 34 w 54"/>
                <a:gd name="T85" fmla="*/ 209 h 210"/>
                <a:gd name="T86" fmla="*/ 37 w 54"/>
                <a:gd name="T87" fmla="*/ 207 h 210"/>
                <a:gd name="T88" fmla="*/ 31 w 54"/>
                <a:gd name="T89" fmla="*/ 189 h 210"/>
                <a:gd name="T90" fmla="*/ 28 w 54"/>
                <a:gd name="T91" fmla="*/ 180 h 210"/>
                <a:gd name="T92" fmla="*/ 24 w 54"/>
                <a:gd name="T93" fmla="*/ 171 h 210"/>
                <a:gd name="T94" fmla="*/ 24 w 54"/>
                <a:gd name="T95" fmla="*/ 161 h 210"/>
                <a:gd name="T96" fmla="*/ 27 w 54"/>
                <a:gd name="T97" fmla="*/ 152 h 210"/>
                <a:gd name="T98" fmla="*/ 31 w 54"/>
                <a:gd name="T99" fmla="*/ 139 h 210"/>
                <a:gd name="T100" fmla="*/ 32 w 54"/>
                <a:gd name="T101" fmla="*/ 136 h 210"/>
                <a:gd name="T102" fmla="*/ 42 w 54"/>
                <a:gd name="T103" fmla="*/ 142 h 210"/>
                <a:gd name="T104" fmla="*/ 53 w 54"/>
                <a:gd name="T105" fmla="*/ 148 h 210"/>
                <a:gd name="T106" fmla="*/ 54 w 54"/>
                <a:gd name="T107" fmla="*/ 148 h 210"/>
                <a:gd name="T108" fmla="*/ 48 w 54"/>
                <a:gd name="T109" fmla="*/ 13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4" h="210">
                  <a:moveTo>
                    <a:pt x="48" y="136"/>
                  </a:moveTo>
                  <a:lnTo>
                    <a:pt x="48" y="136"/>
                  </a:lnTo>
                  <a:lnTo>
                    <a:pt x="47" y="128"/>
                  </a:lnTo>
                  <a:lnTo>
                    <a:pt x="45" y="116"/>
                  </a:lnTo>
                  <a:lnTo>
                    <a:pt x="45" y="116"/>
                  </a:lnTo>
                  <a:lnTo>
                    <a:pt x="45" y="109"/>
                  </a:lnTo>
                  <a:lnTo>
                    <a:pt x="45" y="109"/>
                  </a:lnTo>
                  <a:lnTo>
                    <a:pt x="45" y="105"/>
                  </a:lnTo>
                  <a:lnTo>
                    <a:pt x="42" y="100"/>
                  </a:lnTo>
                  <a:lnTo>
                    <a:pt x="37" y="93"/>
                  </a:lnTo>
                  <a:lnTo>
                    <a:pt x="37" y="93"/>
                  </a:lnTo>
                  <a:lnTo>
                    <a:pt x="35" y="86"/>
                  </a:lnTo>
                  <a:lnTo>
                    <a:pt x="34" y="76"/>
                  </a:lnTo>
                  <a:lnTo>
                    <a:pt x="32" y="65"/>
                  </a:lnTo>
                  <a:lnTo>
                    <a:pt x="29" y="58"/>
                  </a:lnTo>
                  <a:lnTo>
                    <a:pt x="29" y="58"/>
                  </a:lnTo>
                  <a:lnTo>
                    <a:pt x="27" y="54"/>
                  </a:lnTo>
                  <a:lnTo>
                    <a:pt x="25" y="51"/>
                  </a:lnTo>
                  <a:lnTo>
                    <a:pt x="25" y="47"/>
                  </a:lnTo>
                  <a:lnTo>
                    <a:pt x="25" y="47"/>
                  </a:lnTo>
                  <a:lnTo>
                    <a:pt x="25" y="39"/>
                  </a:lnTo>
                  <a:lnTo>
                    <a:pt x="24" y="31"/>
                  </a:lnTo>
                  <a:lnTo>
                    <a:pt x="21" y="16"/>
                  </a:lnTo>
                  <a:lnTo>
                    <a:pt x="21" y="16"/>
                  </a:lnTo>
                  <a:lnTo>
                    <a:pt x="21" y="13"/>
                  </a:lnTo>
                  <a:lnTo>
                    <a:pt x="21" y="10"/>
                  </a:lnTo>
                  <a:lnTo>
                    <a:pt x="21" y="5"/>
                  </a:lnTo>
                  <a:lnTo>
                    <a:pt x="21" y="5"/>
                  </a:lnTo>
                  <a:lnTo>
                    <a:pt x="21" y="3"/>
                  </a:lnTo>
                  <a:lnTo>
                    <a:pt x="19" y="3"/>
                  </a:lnTo>
                  <a:lnTo>
                    <a:pt x="15" y="2"/>
                  </a:lnTo>
                  <a:lnTo>
                    <a:pt x="9" y="0"/>
                  </a:lnTo>
                  <a:lnTo>
                    <a:pt x="5" y="2"/>
                  </a:lnTo>
                  <a:lnTo>
                    <a:pt x="5" y="2"/>
                  </a:lnTo>
                  <a:lnTo>
                    <a:pt x="3" y="3"/>
                  </a:lnTo>
                  <a:lnTo>
                    <a:pt x="3" y="3"/>
                  </a:lnTo>
                  <a:lnTo>
                    <a:pt x="6" y="8"/>
                  </a:lnTo>
                  <a:lnTo>
                    <a:pt x="11" y="12"/>
                  </a:lnTo>
                  <a:lnTo>
                    <a:pt x="14" y="15"/>
                  </a:lnTo>
                  <a:lnTo>
                    <a:pt x="14" y="15"/>
                  </a:lnTo>
                  <a:lnTo>
                    <a:pt x="12" y="18"/>
                  </a:lnTo>
                  <a:lnTo>
                    <a:pt x="11" y="19"/>
                  </a:lnTo>
                  <a:lnTo>
                    <a:pt x="3" y="22"/>
                  </a:lnTo>
                  <a:lnTo>
                    <a:pt x="3" y="22"/>
                  </a:lnTo>
                  <a:lnTo>
                    <a:pt x="2" y="23"/>
                  </a:lnTo>
                  <a:lnTo>
                    <a:pt x="0" y="25"/>
                  </a:lnTo>
                  <a:lnTo>
                    <a:pt x="2" y="29"/>
                  </a:lnTo>
                  <a:lnTo>
                    <a:pt x="2" y="34"/>
                  </a:lnTo>
                  <a:lnTo>
                    <a:pt x="3" y="39"/>
                  </a:lnTo>
                  <a:lnTo>
                    <a:pt x="3" y="39"/>
                  </a:lnTo>
                  <a:lnTo>
                    <a:pt x="3" y="44"/>
                  </a:lnTo>
                  <a:lnTo>
                    <a:pt x="5" y="47"/>
                  </a:lnTo>
                  <a:lnTo>
                    <a:pt x="8" y="57"/>
                  </a:lnTo>
                  <a:lnTo>
                    <a:pt x="8" y="57"/>
                  </a:lnTo>
                  <a:lnTo>
                    <a:pt x="9" y="71"/>
                  </a:lnTo>
                  <a:lnTo>
                    <a:pt x="11" y="79"/>
                  </a:lnTo>
                  <a:lnTo>
                    <a:pt x="12" y="83"/>
                  </a:lnTo>
                  <a:lnTo>
                    <a:pt x="12" y="83"/>
                  </a:lnTo>
                  <a:lnTo>
                    <a:pt x="12" y="86"/>
                  </a:lnTo>
                  <a:lnTo>
                    <a:pt x="14" y="90"/>
                  </a:lnTo>
                  <a:lnTo>
                    <a:pt x="12" y="99"/>
                  </a:lnTo>
                  <a:lnTo>
                    <a:pt x="12" y="99"/>
                  </a:lnTo>
                  <a:lnTo>
                    <a:pt x="11" y="116"/>
                  </a:lnTo>
                  <a:lnTo>
                    <a:pt x="11" y="116"/>
                  </a:lnTo>
                  <a:lnTo>
                    <a:pt x="9" y="134"/>
                  </a:lnTo>
                  <a:lnTo>
                    <a:pt x="9" y="134"/>
                  </a:lnTo>
                  <a:lnTo>
                    <a:pt x="9" y="141"/>
                  </a:lnTo>
                  <a:lnTo>
                    <a:pt x="9" y="151"/>
                  </a:lnTo>
                  <a:lnTo>
                    <a:pt x="12" y="167"/>
                  </a:lnTo>
                  <a:lnTo>
                    <a:pt x="12" y="167"/>
                  </a:lnTo>
                  <a:lnTo>
                    <a:pt x="9" y="190"/>
                  </a:lnTo>
                  <a:lnTo>
                    <a:pt x="9" y="203"/>
                  </a:lnTo>
                  <a:lnTo>
                    <a:pt x="9" y="209"/>
                  </a:lnTo>
                  <a:lnTo>
                    <a:pt x="11" y="210"/>
                  </a:lnTo>
                  <a:lnTo>
                    <a:pt x="11" y="210"/>
                  </a:lnTo>
                  <a:lnTo>
                    <a:pt x="12" y="210"/>
                  </a:lnTo>
                  <a:lnTo>
                    <a:pt x="14" y="210"/>
                  </a:lnTo>
                  <a:lnTo>
                    <a:pt x="16" y="206"/>
                  </a:lnTo>
                  <a:lnTo>
                    <a:pt x="18" y="202"/>
                  </a:lnTo>
                  <a:lnTo>
                    <a:pt x="19" y="199"/>
                  </a:lnTo>
                  <a:lnTo>
                    <a:pt x="19" y="199"/>
                  </a:lnTo>
                  <a:lnTo>
                    <a:pt x="22" y="200"/>
                  </a:lnTo>
                  <a:lnTo>
                    <a:pt x="25" y="203"/>
                  </a:lnTo>
                  <a:lnTo>
                    <a:pt x="29" y="206"/>
                  </a:lnTo>
                  <a:lnTo>
                    <a:pt x="34" y="209"/>
                  </a:lnTo>
                  <a:lnTo>
                    <a:pt x="34" y="209"/>
                  </a:lnTo>
                  <a:lnTo>
                    <a:pt x="37" y="209"/>
                  </a:lnTo>
                  <a:lnTo>
                    <a:pt x="37" y="207"/>
                  </a:lnTo>
                  <a:lnTo>
                    <a:pt x="35" y="200"/>
                  </a:lnTo>
                  <a:lnTo>
                    <a:pt x="31" y="189"/>
                  </a:lnTo>
                  <a:lnTo>
                    <a:pt x="31" y="189"/>
                  </a:lnTo>
                  <a:lnTo>
                    <a:pt x="28" y="180"/>
                  </a:lnTo>
                  <a:lnTo>
                    <a:pt x="24" y="171"/>
                  </a:lnTo>
                  <a:lnTo>
                    <a:pt x="24" y="171"/>
                  </a:lnTo>
                  <a:lnTo>
                    <a:pt x="22" y="167"/>
                  </a:lnTo>
                  <a:lnTo>
                    <a:pt x="24" y="161"/>
                  </a:lnTo>
                  <a:lnTo>
                    <a:pt x="27" y="152"/>
                  </a:lnTo>
                  <a:lnTo>
                    <a:pt x="27" y="152"/>
                  </a:lnTo>
                  <a:lnTo>
                    <a:pt x="29" y="144"/>
                  </a:lnTo>
                  <a:lnTo>
                    <a:pt x="31" y="139"/>
                  </a:lnTo>
                  <a:lnTo>
                    <a:pt x="32" y="136"/>
                  </a:lnTo>
                  <a:lnTo>
                    <a:pt x="32" y="136"/>
                  </a:lnTo>
                  <a:lnTo>
                    <a:pt x="37" y="138"/>
                  </a:lnTo>
                  <a:lnTo>
                    <a:pt x="42" y="142"/>
                  </a:lnTo>
                  <a:lnTo>
                    <a:pt x="53" y="148"/>
                  </a:lnTo>
                  <a:lnTo>
                    <a:pt x="53" y="148"/>
                  </a:lnTo>
                  <a:lnTo>
                    <a:pt x="53" y="148"/>
                  </a:lnTo>
                  <a:lnTo>
                    <a:pt x="54" y="148"/>
                  </a:lnTo>
                  <a:lnTo>
                    <a:pt x="53" y="145"/>
                  </a:lnTo>
                  <a:lnTo>
                    <a:pt x="48" y="136"/>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57" name="Freeform 869"/>
            <p:cNvSpPr>
              <a:spLocks/>
            </p:cNvSpPr>
            <p:nvPr/>
          </p:nvSpPr>
          <p:spPr bwMode="auto">
            <a:xfrm>
              <a:off x="7920038" y="3113517"/>
              <a:ext cx="85725" cy="333375"/>
            </a:xfrm>
            <a:custGeom>
              <a:avLst/>
              <a:gdLst>
                <a:gd name="T0" fmla="*/ 48 w 54"/>
                <a:gd name="T1" fmla="*/ 136 h 210"/>
                <a:gd name="T2" fmla="*/ 45 w 54"/>
                <a:gd name="T3" fmla="*/ 116 h 210"/>
                <a:gd name="T4" fmla="*/ 45 w 54"/>
                <a:gd name="T5" fmla="*/ 109 h 210"/>
                <a:gd name="T6" fmla="*/ 45 w 54"/>
                <a:gd name="T7" fmla="*/ 105 h 210"/>
                <a:gd name="T8" fmla="*/ 37 w 54"/>
                <a:gd name="T9" fmla="*/ 93 h 210"/>
                <a:gd name="T10" fmla="*/ 35 w 54"/>
                <a:gd name="T11" fmla="*/ 86 h 210"/>
                <a:gd name="T12" fmla="*/ 32 w 54"/>
                <a:gd name="T13" fmla="*/ 65 h 210"/>
                <a:gd name="T14" fmla="*/ 29 w 54"/>
                <a:gd name="T15" fmla="*/ 58 h 210"/>
                <a:gd name="T16" fmla="*/ 25 w 54"/>
                <a:gd name="T17" fmla="*/ 51 h 210"/>
                <a:gd name="T18" fmla="*/ 25 w 54"/>
                <a:gd name="T19" fmla="*/ 47 h 210"/>
                <a:gd name="T20" fmla="*/ 24 w 54"/>
                <a:gd name="T21" fmla="*/ 31 h 210"/>
                <a:gd name="T22" fmla="*/ 21 w 54"/>
                <a:gd name="T23" fmla="*/ 16 h 210"/>
                <a:gd name="T24" fmla="*/ 21 w 54"/>
                <a:gd name="T25" fmla="*/ 10 h 210"/>
                <a:gd name="T26" fmla="*/ 21 w 54"/>
                <a:gd name="T27" fmla="*/ 5 h 210"/>
                <a:gd name="T28" fmla="*/ 19 w 54"/>
                <a:gd name="T29" fmla="*/ 3 h 210"/>
                <a:gd name="T30" fmla="*/ 9 w 54"/>
                <a:gd name="T31" fmla="*/ 0 h 210"/>
                <a:gd name="T32" fmla="*/ 5 w 54"/>
                <a:gd name="T33" fmla="*/ 2 h 210"/>
                <a:gd name="T34" fmla="*/ 3 w 54"/>
                <a:gd name="T35" fmla="*/ 3 h 210"/>
                <a:gd name="T36" fmla="*/ 11 w 54"/>
                <a:gd name="T37" fmla="*/ 12 h 210"/>
                <a:gd name="T38" fmla="*/ 14 w 54"/>
                <a:gd name="T39" fmla="*/ 15 h 210"/>
                <a:gd name="T40" fmla="*/ 11 w 54"/>
                <a:gd name="T41" fmla="*/ 19 h 210"/>
                <a:gd name="T42" fmla="*/ 3 w 54"/>
                <a:gd name="T43" fmla="*/ 22 h 210"/>
                <a:gd name="T44" fmla="*/ 0 w 54"/>
                <a:gd name="T45" fmla="*/ 25 h 210"/>
                <a:gd name="T46" fmla="*/ 2 w 54"/>
                <a:gd name="T47" fmla="*/ 34 h 210"/>
                <a:gd name="T48" fmla="*/ 3 w 54"/>
                <a:gd name="T49" fmla="*/ 39 h 210"/>
                <a:gd name="T50" fmla="*/ 5 w 54"/>
                <a:gd name="T51" fmla="*/ 47 h 210"/>
                <a:gd name="T52" fmla="*/ 8 w 54"/>
                <a:gd name="T53" fmla="*/ 57 h 210"/>
                <a:gd name="T54" fmla="*/ 11 w 54"/>
                <a:gd name="T55" fmla="*/ 79 h 210"/>
                <a:gd name="T56" fmla="*/ 12 w 54"/>
                <a:gd name="T57" fmla="*/ 83 h 210"/>
                <a:gd name="T58" fmla="*/ 14 w 54"/>
                <a:gd name="T59" fmla="*/ 90 h 210"/>
                <a:gd name="T60" fmla="*/ 12 w 54"/>
                <a:gd name="T61" fmla="*/ 99 h 210"/>
                <a:gd name="T62" fmla="*/ 11 w 54"/>
                <a:gd name="T63" fmla="*/ 116 h 210"/>
                <a:gd name="T64" fmla="*/ 9 w 54"/>
                <a:gd name="T65" fmla="*/ 134 h 210"/>
                <a:gd name="T66" fmla="*/ 9 w 54"/>
                <a:gd name="T67" fmla="*/ 151 h 210"/>
                <a:gd name="T68" fmla="*/ 12 w 54"/>
                <a:gd name="T69" fmla="*/ 167 h 210"/>
                <a:gd name="T70" fmla="*/ 9 w 54"/>
                <a:gd name="T71" fmla="*/ 203 h 210"/>
                <a:gd name="T72" fmla="*/ 11 w 54"/>
                <a:gd name="T73" fmla="*/ 210 h 210"/>
                <a:gd name="T74" fmla="*/ 12 w 54"/>
                <a:gd name="T75" fmla="*/ 210 h 210"/>
                <a:gd name="T76" fmla="*/ 16 w 54"/>
                <a:gd name="T77" fmla="*/ 206 h 210"/>
                <a:gd name="T78" fmla="*/ 19 w 54"/>
                <a:gd name="T79" fmla="*/ 199 h 210"/>
                <a:gd name="T80" fmla="*/ 22 w 54"/>
                <a:gd name="T81" fmla="*/ 200 h 210"/>
                <a:gd name="T82" fmla="*/ 29 w 54"/>
                <a:gd name="T83" fmla="*/ 206 h 210"/>
                <a:gd name="T84" fmla="*/ 34 w 54"/>
                <a:gd name="T85" fmla="*/ 209 h 210"/>
                <a:gd name="T86" fmla="*/ 37 w 54"/>
                <a:gd name="T87" fmla="*/ 207 h 210"/>
                <a:gd name="T88" fmla="*/ 31 w 54"/>
                <a:gd name="T89" fmla="*/ 189 h 210"/>
                <a:gd name="T90" fmla="*/ 28 w 54"/>
                <a:gd name="T91" fmla="*/ 180 h 210"/>
                <a:gd name="T92" fmla="*/ 24 w 54"/>
                <a:gd name="T93" fmla="*/ 171 h 210"/>
                <a:gd name="T94" fmla="*/ 24 w 54"/>
                <a:gd name="T95" fmla="*/ 161 h 210"/>
                <a:gd name="T96" fmla="*/ 27 w 54"/>
                <a:gd name="T97" fmla="*/ 152 h 210"/>
                <a:gd name="T98" fmla="*/ 31 w 54"/>
                <a:gd name="T99" fmla="*/ 139 h 210"/>
                <a:gd name="T100" fmla="*/ 32 w 54"/>
                <a:gd name="T101" fmla="*/ 136 h 210"/>
                <a:gd name="T102" fmla="*/ 42 w 54"/>
                <a:gd name="T103" fmla="*/ 142 h 210"/>
                <a:gd name="T104" fmla="*/ 53 w 54"/>
                <a:gd name="T105" fmla="*/ 148 h 210"/>
                <a:gd name="T106" fmla="*/ 54 w 54"/>
                <a:gd name="T107" fmla="*/ 148 h 210"/>
                <a:gd name="T108" fmla="*/ 48 w 54"/>
                <a:gd name="T109" fmla="*/ 13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4" h="210">
                  <a:moveTo>
                    <a:pt x="48" y="136"/>
                  </a:moveTo>
                  <a:lnTo>
                    <a:pt x="48" y="136"/>
                  </a:lnTo>
                  <a:lnTo>
                    <a:pt x="47" y="128"/>
                  </a:lnTo>
                  <a:lnTo>
                    <a:pt x="45" y="116"/>
                  </a:lnTo>
                  <a:lnTo>
                    <a:pt x="45" y="116"/>
                  </a:lnTo>
                  <a:lnTo>
                    <a:pt x="45" y="109"/>
                  </a:lnTo>
                  <a:lnTo>
                    <a:pt x="45" y="109"/>
                  </a:lnTo>
                  <a:lnTo>
                    <a:pt x="45" y="105"/>
                  </a:lnTo>
                  <a:lnTo>
                    <a:pt x="42" y="100"/>
                  </a:lnTo>
                  <a:lnTo>
                    <a:pt x="37" y="93"/>
                  </a:lnTo>
                  <a:lnTo>
                    <a:pt x="37" y="93"/>
                  </a:lnTo>
                  <a:lnTo>
                    <a:pt x="35" y="86"/>
                  </a:lnTo>
                  <a:lnTo>
                    <a:pt x="34" y="76"/>
                  </a:lnTo>
                  <a:lnTo>
                    <a:pt x="32" y="65"/>
                  </a:lnTo>
                  <a:lnTo>
                    <a:pt x="29" y="58"/>
                  </a:lnTo>
                  <a:lnTo>
                    <a:pt x="29" y="58"/>
                  </a:lnTo>
                  <a:lnTo>
                    <a:pt x="27" y="54"/>
                  </a:lnTo>
                  <a:lnTo>
                    <a:pt x="25" y="51"/>
                  </a:lnTo>
                  <a:lnTo>
                    <a:pt x="25" y="47"/>
                  </a:lnTo>
                  <a:lnTo>
                    <a:pt x="25" y="47"/>
                  </a:lnTo>
                  <a:lnTo>
                    <a:pt x="25" y="39"/>
                  </a:lnTo>
                  <a:lnTo>
                    <a:pt x="24" y="31"/>
                  </a:lnTo>
                  <a:lnTo>
                    <a:pt x="21" y="16"/>
                  </a:lnTo>
                  <a:lnTo>
                    <a:pt x="21" y="16"/>
                  </a:lnTo>
                  <a:lnTo>
                    <a:pt x="21" y="13"/>
                  </a:lnTo>
                  <a:lnTo>
                    <a:pt x="21" y="10"/>
                  </a:lnTo>
                  <a:lnTo>
                    <a:pt x="21" y="5"/>
                  </a:lnTo>
                  <a:lnTo>
                    <a:pt x="21" y="5"/>
                  </a:lnTo>
                  <a:lnTo>
                    <a:pt x="21" y="3"/>
                  </a:lnTo>
                  <a:lnTo>
                    <a:pt x="19" y="3"/>
                  </a:lnTo>
                  <a:lnTo>
                    <a:pt x="15" y="2"/>
                  </a:lnTo>
                  <a:lnTo>
                    <a:pt x="9" y="0"/>
                  </a:lnTo>
                  <a:lnTo>
                    <a:pt x="5" y="2"/>
                  </a:lnTo>
                  <a:lnTo>
                    <a:pt x="5" y="2"/>
                  </a:lnTo>
                  <a:lnTo>
                    <a:pt x="3" y="3"/>
                  </a:lnTo>
                  <a:lnTo>
                    <a:pt x="3" y="3"/>
                  </a:lnTo>
                  <a:lnTo>
                    <a:pt x="6" y="8"/>
                  </a:lnTo>
                  <a:lnTo>
                    <a:pt x="11" y="12"/>
                  </a:lnTo>
                  <a:lnTo>
                    <a:pt x="14" y="15"/>
                  </a:lnTo>
                  <a:lnTo>
                    <a:pt x="14" y="15"/>
                  </a:lnTo>
                  <a:lnTo>
                    <a:pt x="12" y="18"/>
                  </a:lnTo>
                  <a:lnTo>
                    <a:pt x="11" y="19"/>
                  </a:lnTo>
                  <a:lnTo>
                    <a:pt x="3" y="22"/>
                  </a:lnTo>
                  <a:lnTo>
                    <a:pt x="3" y="22"/>
                  </a:lnTo>
                  <a:lnTo>
                    <a:pt x="2" y="23"/>
                  </a:lnTo>
                  <a:lnTo>
                    <a:pt x="0" y="25"/>
                  </a:lnTo>
                  <a:lnTo>
                    <a:pt x="2" y="29"/>
                  </a:lnTo>
                  <a:lnTo>
                    <a:pt x="2" y="34"/>
                  </a:lnTo>
                  <a:lnTo>
                    <a:pt x="3" y="39"/>
                  </a:lnTo>
                  <a:lnTo>
                    <a:pt x="3" y="39"/>
                  </a:lnTo>
                  <a:lnTo>
                    <a:pt x="3" y="44"/>
                  </a:lnTo>
                  <a:lnTo>
                    <a:pt x="5" y="47"/>
                  </a:lnTo>
                  <a:lnTo>
                    <a:pt x="8" y="57"/>
                  </a:lnTo>
                  <a:lnTo>
                    <a:pt x="8" y="57"/>
                  </a:lnTo>
                  <a:lnTo>
                    <a:pt x="9" y="71"/>
                  </a:lnTo>
                  <a:lnTo>
                    <a:pt x="11" y="79"/>
                  </a:lnTo>
                  <a:lnTo>
                    <a:pt x="12" y="83"/>
                  </a:lnTo>
                  <a:lnTo>
                    <a:pt x="12" y="83"/>
                  </a:lnTo>
                  <a:lnTo>
                    <a:pt x="12" y="86"/>
                  </a:lnTo>
                  <a:lnTo>
                    <a:pt x="14" y="90"/>
                  </a:lnTo>
                  <a:lnTo>
                    <a:pt x="12" y="99"/>
                  </a:lnTo>
                  <a:lnTo>
                    <a:pt x="12" y="99"/>
                  </a:lnTo>
                  <a:lnTo>
                    <a:pt x="11" y="116"/>
                  </a:lnTo>
                  <a:lnTo>
                    <a:pt x="11" y="116"/>
                  </a:lnTo>
                  <a:lnTo>
                    <a:pt x="9" y="134"/>
                  </a:lnTo>
                  <a:lnTo>
                    <a:pt x="9" y="134"/>
                  </a:lnTo>
                  <a:lnTo>
                    <a:pt x="9" y="141"/>
                  </a:lnTo>
                  <a:lnTo>
                    <a:pt x="9" y="151"/>
                  </a:lnTo>
                  <a:lnTo>
                    <a:pt x="12" y="167"/>
                  </a:lnTo>
                  <a:lnTo>
                    <a:pt x="12" y="167"/>
                  </a:lnTo>
                  <a:lnTo>
                    <a:pt x="9" y="190"/>
                  </a:lnTo>
                  <a:lnTo>
                    <a:pt x="9" y="203"/>
                  </a:lnTo>
                  <a:lnTo>
                    <a:pt x="9" y="209"/>
                  </a:lnTo>
                  <a:lnTo>
                    <a:pt x="11" y="210"/>
                  </a:lnTo>
                  <a:lnTo>
                    <a:pt x="11" y="210"/>
                  </a:lnTo>
                  <a:lnTo>
                    <a:pt x="12" y="210"/>
                  </a:lnTo>
                  <a:lnTo>
                    <a:pt x="14" y="210"/>
                  </a:lnTo>
                  <a:lnTo>
                    <a:pt x="16" y="206"/>
                  </a:lnTo>
                  <a:lnTo>
                    <a:pt x="18" y="202"/>
                  </a:lnTo>
                  <a:lnTo>
                    <a:pt x="19" y="199"/>
                  </a:lnTo>
                  <a:lnTo>
                    <a:pt x="19" y="199"/>
                  </a:lnTo>
                  <a:lnTo>
                    <a:pt x="22" y="200"/>
                  </a:lnTo>
                  <a:lnTo>
                    <a:pt x="25" y="203"/>
                  </a:lnTo>
                  <a:lnTo>
                    <a:pt x="29" y="206"/>
                  </a:lnTo>
                  <a:lnTo>
                    <a:pt x="34" y="209"/>
                  </a:lnTo>
                  <a:lnTo>
                    <a:pt x="34" y="209"/>
                  </a:lnTo>
                  <a:lnTo>
                    <a:pt x="37" y="209"/>
                  </a:lnTo>
                  <a:lnTo>
                    <a:pt x="37" y="207"/>
                  </a:lnTo>
                  <a:lnTo>
                    <a:pt x="35" y="200"/>
                  </a:lnTo>
                  <a:lnTo>
                    <a:pt x="31" y="189"/>
                  </a:lnTo>
                  <a:lnTo>
                    <a:pt x="31" y="189"/>
                  </a:lnTo>
                  <a:lnTo>
                    <a:pt x="28" y="180"/>
                  </a:lnTo>
                  <a:lnTo>
                    <a:pt x="24" y="171"/>
                  </a:lnTo>
                  <a:lnTo>
                    <a:pt x="24" y="171"/>
                  </a:lnTo>
                  <a:lnTo>
                    <a:pt x="22" y="167"/>
                  </a:lnTo>
                  <a:lnTo>
                    <a:pt x="24" y="161"/>
                  </a:lnTo>
                  <a:lnTo>
                    <a:pt x="27" y="152"/>
                  </a:lnTo>
                  <a:lnTo>
                    <a:pt x="27" y="152"/>
                  </a:lnTo>
                  <a:lnTo>
                    <a:pt x="29" y="144"/>
                  </a:lnTo>
                  <a:lnTo>
                    <a:pt x="31" y="139"/>
                  </a:lnTo>
                  <a:lnTo>
                    <a:pt x="32" y="136"/>
                  </a:lnTo>
                  <a:lnTo>
                    <a:pt x="32" y="136"/>
                  </a:lnTo>
                  <a:lnTo>
                    <a:pt x="37" y="138"/>
                  </a:lnTo>
                  <a:lnTo>
                    <a:pt x="42" y="142"/>
                  </a:lnTo>
                  <a:lnTo>
                    <a:pt x="53" y="148"/>
                  </a:lnTo>
                  <a:lnTo>
                    <a:pt x="53" y="148"/>
                  </a:lnTo>
                  <a:lnTo>
                    <a:pt x="53" y="148"/>
                  </a:lnTo>
                  <a:lnTo>
                    <a:pt x="54" y="148"/>
                  </a:lnTo>
                  <a:lnTo>
                    <a:pt x="53" y="145"/>
                  </a:lnTo>
                  <a:lnTo>
                    <a:pt x="48"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58" name="Freeform 940"/>
            <p:cNvSpPr>
              <a:spLocks/>
            </p:cNvSpPr>
            <p:nvPr/>
          </p:nvSpPr>
          <p:spPr bwMode="auto">
            <a:xfrm>
              <a:off x="2641600" y="3897742"/>
              <a:ext cx="9525" cy="11113"/>
            </a:xfrm>
            <a:custGeom>
              <a:avLst/>
              <a:gdLst>
                <a:gd name="T0" fmla="*/ 2 w 6"/>
                <a:gd name="T1" fmla="*/ 7 h 7"/>
                <a:gd name="T2" fmla="*/ 2 w 6"/>
                <a:gd name="T3" fmla="*/ 7 h 7"/>
                <a:gd name="T4" fmla="*/ 0 w 6"/>
                <a:gd name="T5" fmla="*/ 7 h 7"/>
                <a:gd name="T6" fmla="*/ 0 w 6"/>
                <a:gd name="T7" fmla="*/ 5 h 7"/>
                <a:gd name="T8" fmla="*/ 2 w 6"/>
                <a:gd name="T9" fmla="*/ 3 h 7"/>
                <a:gd name="T10" fmla="*/ 3 w 6"/>
                <a:gd name="T11" fmla="*/ 0 h 7"/>
                <a:gd name="T12" fmla="*/ 3 w 6"/>
                <a:gd name="T13" fmla="*/ 0 h 7"/>
                <a:gd name="T14" fmla="*/ 6 w 6"/>
                <a:gd name="T15" fmla="*/ 0 h 7"/>
                <a:gd name="T16" fmla="*/ 6 w 6"/>
                <a:gd name="T17" fmla="*/ 3 h 7"/>
                <a:gd name="T18" fmla="*/ 4 w 6"/>
                <a:gd name="T19" fmla="*/ 5 h 7"/>
                <a:gd name="T20" fmla="*/ 2 w 6"/>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7">
                  <a:moveTo>
                    <a:pt x="2" y="7"/>
                  </a:moveTo>
                  <a:lnTo>
                    <a:pt x="2" y="7"/>
                  </a:lnTo>
                  <a:lnTo>
                    <a:pt x="0" y="7"/>
                  </a:lnTo>
                  <a:lnTo>
                    <a:pt x="0" y="5"/>
                  </a:lnTo>
                  <a:lnTo>
                    <a:pt x="2" y="3"/>
                  </a:lnTo>
                  <a:lnTo>
                    <a:pt x="3" y="0"/>
                  </a:lnTo>
                  <a:lnTo>
                    <a:pt x="3" y="0"/>
                  </a:lnTo>
                  <a:lnTo>
                    <a:pt x="6" y="0"/>
                  </a:lnTo>
                  <a:lnTo>
                    <a:pt x="6" y="3"/>
                  </a:lnTo>
                  <a:lnTo>
                    <a:pt x="4" y="5"/>
                  </a:lnTo>
                  <a:lnTo>
                    <a:pt x="2" y="7"/>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59" name="Freeform 941"/>
            <p:cNvSpPr>
              <a:spLocks/>
            </p:cNvSpPr>
            <p:nvPr/>
          </p:nvSpPr>
          <p:spPr bwMode="auto">
            <a:xfrm>
              <a:off x="2641600" y="3897742"/>
              <a:ext cx="9525" cy="11113"/>
            </a:xfrm>
            <a:custGeom>
              <a:avLst/>
              <a:gdLst>
                <a:gd name="T0" fmla="*/ 2 w 6"/>
                <a:gd name="T1" fmla="*/ 7 h 7"/>
                <a:gd name="T2" fmla="*/ 2 w 6"/>
                <a:gd name="T3" fmla="*/ 7 h 7"/>
                <a:gd name="T4" fmla="*/ 0 w 6"/>
                <a:gd name="T5" fmla="*/ 7 h 7"/>
                <a:gd name="T6" fmla="*/ 0 w 6"/>
                <a:gd name="T7" fmla="*/ 5 h 7"/>
                <a:gd name="T8" fmla="*/ 2 w 6"/>
                <a:gd name="T9" fmla="*/ 3 h 7"/>
                <a:gd name="T10" fmla="*/ 3 w 6"/>
                <a:gd name="T11" fmla="*/ 0 h 7"/>
                <a:gd name="T12" fmla="*/ 3 w 6"/>
                <a:gd name="T13" fmla="*/ 0 h 7"/>
                <a:gd name="T14" fmla="*/ 6 w 6"/>
                <a:gd name="T15" fmla="*/ 0 h 7"/>
                <a:gd name="T16" fmla="*/ 6 w 6"/>
                <a:gd name="T17" fmla="*/ 3 h 7"/>
                <a:gd name="T18" fmla="*/ 4 w 6"/>
                <a:gd name="T19" fmla="*/ 5 h 7"/>
                <a:gd name="T20" fmla="*/ 2 w 6"/>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7">
                  <a:moveTo>
                    <a:pt x="2" y="7"/>
                  </a:moveTo>
                  <a:lnTo>
                    <a:pt x="2" y="7"/>
                  </a:lnTo>
                  <a:lnTo>
                    <a:pt x="0" y="7"/>
                  </a:lnTo>
                  <a:lnTo>
                    <a:pt x="0" y="5"/>
                  </a:lnTo>
                  <a:lnTo>
                    <a:pt x="2" y="3"/>
                  </a:lnTo>
                  <a:lnTo>
                    <a:pt x="3" y="0"/>
                  </a:lnTo>
                  <a:lnTo>
                    <a:pt x="3" y="0"/>
                  </a:lnTo>
                  <a:lnTo>
                    <a:pt x="6" y="0"/>
                  </a:lnTo>
                  <a:lnTo>
                    <a:pt x="6" y="3"/>
                  </a:lnTo>
                  <a:lnTo>
                    <a:pt x="4" y="5"/>
                  </a:lnTo>
                  <a:lnTo>
                    <a:pt x="2"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60" name="Freeform 980"/>
            <p:cNvSpPr>
              <a:spLocks/>
            </p:cNvSpPr>
            <p:nvPr/>
          </p:nvSpPr>
          <p:spPr bwMode="auto">
            <a:xfrm>
              <a:off x="6729413" y="1665717"/>
              <a:ext cx="44450" cy="25400"/>
            </a:xfrm>
            <a:custGeom>
              <a:avLst/>
              <a:gdLst>
                <a:gd name="T0" fmla="*/ 23 w 28"/>
                <a:gd name="T1" fmla="*/ 13 h 16"/>
                <a:gd name="T2" fmla="*/ 23 w 28"/>
                <a:gd name="T3" fmla="*/ 13 h 16"/>
                <a:gd name="T4" fmla="*/ 7 w 28"/>
                <a:gd name="T5" fmla="*/ 14 h 16"/>
                <a:gd name="T6" fmla="*/ 2 w 28"/>
                <a:gd name="T7" fmla="*/ 16 h 16"/>
                <a:gd name="T8" fmla="*/ 0 w 28"/>
                <a:gd name="T9" fmla="*/ 14 h 16"/>
                <a:gd name="T10" fmla="*/ 0 w 28"/>
                <a:gd name="T11" fmla="*/ 13 h 16"/>
                <a:gd name="T12" fmla="*/ 0 w 28"/>
                <a:gd name="T13" fmla="*/ 13 h 16"/>
                <a:gd name="T14" fmla="*/ 5 w 28"/>
                <a:gd name="T15" fmla="*/ 7 h 16"/>
                <a:gd name="T16" fmla="*/ 6 w 28"/>
                <a:gd name="T17" fmla="*/ 6 h 16"/>
                <a:gd name="T18" fmla="*/ 9 w 28"/>
                <a:gd name="T19" fmla="*/ 6 h 16"/>
                <a:gd name="T20" fmla="*/ 9 w 28"/>
                <a:gd name="T21" fmla="*/ 6 h 16"/>
                <a:gd name="T22" fmla="*/ 13 w 28"/>
                <a:gd name="T23" fmla="*/ 6 h 16"/>
                <a:gd name="T24" fmla="*/ 19 w 28"/>
                <a:gd name="T25" fmla="*/ 4 h 16"/>
                <a:gd name="T26" fmla="*/ 26 w 28"/>
                <a:gd name="T27" fmla="*/ 0 h 16"/>
                <a:gd name="T28" fmla="*/ 26 w 28"/>
                <a:gd name="T29" fmla="*/ 0 h 16"/>
                <a:gd name="T30" fmla="*/ 28 w 28"/>
                <a:gd name="T31" fmla="*/ 0 h 16"/>
                <a:gd name="T32" fmla="*/ 28 w 28"/>
                <a:gd name="T33" fmla="*/ 1 h 16"/>
                <a:gd name="T34" fmla="*/ 28 w 28"/>
                <a:gd name="T35" fmla="*/ 6 h 16"/>
                <a:gd name="T36" fmla="*/ 26 w 28"/>
                <a:gd name="T37" fmla="*/ 10 h 16"/>
                <a:gd name="T38" fmla="*/ 25 w 28"/>
                <a:gd name="T39" fmla="*/ 11 h 16"/>
                <a:gd name="T40" fmla="*/ 23 w 28"/>
                <a:gd name="T41"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16">
                  <a:moveTo>
                    <a:pt x="23" y="13"/>
                  </a:moveTo>
                  <a:lnTo>
                    <a:pt x="23" y="13"/>
                  </a:lnTo>
                  <a:lnTo>
                    <a:pt x="7" y="14"/>
                  </a:lnTo>
                  <a:lnTo>
                    <a:pt x="2" y="16"/>
                  </a:lnTo>
                  <a:lnTo>
                    <a:pt x="0" y="14"/>
                  </a:lnTo>
                  <a:lnTo>
                    <a:pt x="0" y="13"/>
                  </a:lnTo>
                  <a:lnTo>
                    <a:pt x="0" y="13"/>
                  </a:lnTo>
                  <a:lnTo>
                    <a:pt x="5" y="7"/>
                  </a:lnTo>
                  <a:lnTo>
                    <a:pt x="6" y="6"/>
                  </a:lnTo>
                  <a:lnTo>
                    <a:pt x="9" y="6"/>
                  </a:lnTo>
                  <a:lnTo>
                    <a:pt x="9" y="6"/>
                  </a:lnTo>
                  <a:lnTo>
                    <a:pt x="13" y="6"/>
                  </a:lnTo>
                  <a:lnTo>
                    <a:pt x="19" y="4"/>
                  </a:lnTo>
                  <a:lnTo>
                    <a:pt x="26" y="0"/>
                  </a:lnTo>
                  <a:lnTo>
                    <a:pt x="26" y="0"/>
                  </a:lnTo>
                  <a:lnTo>
                    <a:pt x="28" y="0"/>
                  </a:lnTo>
                  <a:lnTo>
                    <a:pt x="28" y="1"/>
                  </a:lnTo>
                  <a:lnTo>
                    <a:pt x="28" y="6"/>
                  </a:lnTo>
                  <a:lnTo>
                    <a:pt x="26" y="10"/>
                  </a:lnTo>
                  <a:lnTo>
                    <a:pt x="25" y="11"/>
                  </a:lnTo>
                  <a:lnTo>
                    <a:pt x="23" y="13"/>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61" name="Freeform 981"/>
            <p:cNvSpPr>
              <a:spLocks/>
            </p:cNvSpPr>
            <p:nvPr/>
          </p:nvSpPr>
          <p:spPr bwMode="auto">
            <a:xfrm>
              <a:off x="6729413" y="1665717"/>
              <a:ext cx="44450" cy="25400"/>
            </a:xfrm>
            <a:custGeom>
              <a:avLst/>
              <a:gdLst>
                <a:gd name="T0" fmla="*/ 23 w 28"/>
                <a:gd name="T1" fmla="*/ 13 h 16"/>
                <a:gd name="T2" fmla="*/ 23 w 28"/>
                <a:gd name="T3" fmla="*/ 13 h 16"/>
                <a:gd name="T4" fmla="*/ 7 w 28"/>
                <a:gd name="T5" fmla="*/ 14 h 16"/>
                <a:gd name="T6" fmla="*/ 2 w 28"/>
                <a:gd name="T7" fmla="*/ 16 h 16"/>
                <a:gd name="T8" fmla="*/ 0 w 28"/>
                <a:gd name="T9" fmla="*/ 14 h 16"/>
                <a:gd name="T10" fmla="*/ 0 w 28"/>
                <a:gd name="T11" fmla="*/ 13 h 16"/>
                <a:gd name="T12" fmla="*/ 0 w 28"/>
                <a:gd name="T13" fmla="*/ 13 h 16"/>
                <a:gd name="T14" fmla="*/ 5 w 28"/>
                <a:gd name="T15" fmla="*/ 7 h 16"/>
                <a:gd name="T16" fmla="*/ 6 w 28"/>
                <a:gd name="T17" fmla="*/ 6 h 16"/>
                <a:gd name="T18" fmla="*/ 9 w 28"/>
                <a:gd name="T19" fmla="*/ 6 h 16"/>
                <a:gd name="T20" fmla="*/ 9 w 28"/>
                <a:gd name="T21" fmla="*/ 6 h 16"/>
                <a:gd name="T22" fmla="*/ 13 w 28"/>
                <a:gd name="T23" fmla="*/ 6 h 16"/>
                <a:gd name="T24" fmla="*/ 19 w 28"/>
                <a:gd name="T25" fmla="*/ 4 h 16"/>
                <a:gd name="T26" fmla="*/ 26 w 28"/>
                <a:gd name="T27" fmla="*/ 0 h 16"/>
                <a:gd name="T28" fmla="*/ 26 w 28"/>
                <a:gd name="T29" fmla="*/ 0 h 16"/>
                <a:gd name="T30" fmla="*/ 28 w 28"/>
                <a:gd name="T31" fmla="*/ 0 h 16"/>
                <a:gd name="T32" fmla="*/ 28 w 28"/>
                <a:gd name="T33" fmla="*/ 1 h 16"/>
                <a:gd name="T34" fmla="*/ 28 w 28"/>
                <a:gd name="T35" fmla="*/ 6 h 16"/>
                <a:gd name="T36" fmla="*/ 26 w 28"/>
                <a:gd name="T37" fmla="*/ 10 h 16"/>
                <a:gd name="T38" fmla="*/ 25 w 28"/>
                <a:gd name="T39" fmla="*/ 11 h 16"/>
                <a:gd name="T40" fmla="*/ 23 w 28"/>
                <a:gd name="T41"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16">
                  <a:moveTo>
                    <a:pt x="23" y="13"/>
                  </a:moveTo>
                  <a:lnTo>
                    <a:pt x="23" y="13"/>
                  </a:lnTo>
                  <a:lnTo>
                    <a:pt x="7" y="14"/>
                  </a:lnTo>
                  <a:lnTo>
                    <a:pt x="2" y="16"/>
                  </a:lnTo>
                  <a:lnTo>
                    <a:pt x="0" y="14"/>
                  </a:lnTo>
                  <a:lnTo>
                    <a:pt x="0" y="13"/>
                  </a:lnTo>
                  <a:lnTo>
                    <a:pt x="0" y="13"/>
                  </a:lnTo>
                  <a:lnTo>
                    <a:pt x="5" y="7"/>
                  </a:lnTo>
                  <a:lnTo>
                    <a:pt x="6" y="6"/>
                  </a:lnTo>
                  <a:lnTo>
                    <a:pt x="9" y="6"/>
                  </a:lnTo>
                  <a:lnTo>
                    <a:pt x="9" y="6"/>
                  </a:lnTo>
                  <a:lnTo>
                    <a:pt x="13" y="6"/>
                  </a:lnTo>
                  <a:lnTo>
                    <a:pt x="19" y="4"/>
                  </a:lnTo>
                  <a:lnTo>
                    <a:pt x="26" y="0"/>
                  </a:lnTo>
                  <a:lnTo>
                    <a:pt x="26" y="0"/>
                  </a:lnTo>
                  <a:lnTo>
                    <a:pt x="28" y="0"/>
                  </a:lnTo>
                  <a:lnTo>
                    <a:pt x="28" y="1"/>
                  </a:lnTo>
                  <a:lnTo>
                    <a:pt x="28" y="6"/>
                  </a:lnTo>
                  <a:lnTo>
                    <a:pt x="26" y="10"/>
                  </a:lnTo>
                  <a:lnTo>
                    <a:pt x="25" y="11"/>
                  </a:lnTo>
                  <a:lnTo>
                    <a:pt x="23"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62" name="Freeform 982"/>
            <p:cNvSpPr>
              <a:spLocks/>
            </p:cNvSpPr>
            <p:nvPr/>
          </p:nvSpPr>
          <p:spPr bwMode="auto">
            <a:xfrm>
              <a:off x="6727826" y="1591104"/>
              <a:ext cx="34925" cy="25400"/>
            </a:xfrm>
            <a:custGeom>
              <a:avLst/>
              <a:gdLst>
                <a:gd name="T0" fmla="*/ 16 w 22"/>
                <a:gd name="T1" fmla="*/ 15 h 16"/>
                <a:gd name="T2" fmla="*/ 16 w 22"/>
                <a:gd name="T3" fmla="*/ 15 h 16"/>
                <a:gd name="T4" fmla="*/ 6 w 22"/>
                <a:gd name="T5" fmla="*/ 16 h 16"/>
                <a:gd name="T6" fmla="*/ 0 w 22"/>
                <a:gd name="T7" fmla="*/ 16 h 16"/>
                <a:gd name="T8" fmla="*/ 0 w 22"/>
                <a:gd name="T9" fmla="*/ 16 h 16"/>
                <a:gd name="T10" fmla="*/ 0 w 22"/>
                <a:gd name="T11" fmla="*/ 15 h 16"/>
                <a:gd name="T12" fmla="*/ 0 w 22"/>
                <a:gd name="T13" fmla="*/ 15 h 16"/>
                <a:gd name="T14" fmla="*/ 4 w 22"/>
                <a:gd name="T15" fmla="*/ 13 h 16"/>
                <a:gd name="T16" fmla="*/ 7 w 22"/>
                <a:gd name="T17" fmla="*/ 12 h 16"/>
                <a:gd name="T18" fmla="*/ 10 w 22"/>
                <a:gd name="T19" fmla="*/ 11 h 16"/>
                <a:gd name="T20" fmla="*/ 14 w 22"/>
                <a:gd name="T21" fmla="*/ 8 h 16"/>
                <a:gd name="T22" fmla="*/ 14 w 22"/>
                <a:gd name="T23" fmla="*/ 8 h 16"/>
                <a:gd name="T24" fmla="*/ 20 w 22"/>
                <a:gd name="T25" fmla="*/ 2 h 16"/>
                <a:gd name="T26" fmla="*/ 22 w 22"/>
                <a:gd name="T27" fmla="*/ 0 h 16"/>
                <a:gd name="T28" fmla="*/ 22 w 22"/>
                <a:gd name="T29" fmla="*/ 2 h 16"/>
                <a:gd name="T30" fmla="*/ 22 w 22"/>
                <a:gd name="T31" fmla="*/ 2 h 16"/>
                <a:gd name="T32" fmla="*/ 20 w 22"/>
                <a:gd name="T33" fmla="*/ 9 h 16"/>
                <a:gd name="T34" fmla="*/ 19 w 22"/>
                <a:gd name="T35" fmla="*/ 13 h 16"/>
                <a:gd name="T36" fmla="*/ 16 w 22"/>
                <a:gd name="T37"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6">
                  <a:moveTo>
                    <a:pt x="16" y="15"/>
                  </a:moveTo>
                  <a:lnTo>
                    <a:pt x="16" y="15"/>
                  </a:lnTo>
                  <a:lnTo>
                    <a:pt x="6" y="16"/>
                  </a:lnTo>
                  <a:lnTo>
                    <a:pt x="0" y="16"/>
                  </a:lnTo>
                  <a:lnTo>
                    <a:pt x="0" y="16"/>
                  </a:lnTo>
                  <a:lnTo>
                    <a:pt x="0" y="15"/>
                  </a:lnTo>
                  <a:lnTo>
                    <a:pt x="0" y="15"/>
                  </a:lnTo>
                  <a:lnTo>
                    <a:pt x="4" y="13"/>
                  </a:lnTo>
                  <a:lnTo>
                    <a:pt x="7" y="12"/>
                  </a:lnTo>
                  <a:lnTo>
                    <a:pt x="10" y="11"/>
                  </a:lnTo>
                  <a:lnTo>
                    <a:pt x="14" y="8"/>
                  </a:lnTo>
                  <a:lnTo>
                    <a:pt x="14" y="8"/>
                  </a:lnTo>
                  <a:lnTo>
                    <a:pt x="20" y="2"/>
                  </a:lnTo>
                  <a:lnTo>
                    <a:pt x="22" y="0"/>
                  </a:lnTo>
                  <a:lnTo>
                    <a:pt x="22" y="2"/>
                  </a:lnTo>
                  <a:lnTo>
                    <a:pt x="22" y="2"/>
                  </a:lnTo>
                  <a:lnTo>
                    <a:pt x="20" y="9"/>
                  </a:lnTo>
                  <a:lnTo>
                    <a:pt x="19" y="13"/>
                  </a:lnTo>
                  <a:lnTo>
                    <a:pt x="16" y="15"/>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63" name="Freeform 983"/>
            <p:cNvSpPr>
              <a:spLocks/>
            </p:cNvSpPr>
            <p:nvPr/>
          </p:nvSpPr>
          <p:spPr bwMode="auto">
            <a:xfrm>
              <a:off x="6727826" y="1591104"/>
              <a:ext cx="34925" cy="25400"/>
            </a:xfrm>
            <a:custGeom>
              <a:avLst/>
              <a:gdLst>
                <a:gd name="T0" fmla="*/ 16 w 22"/>
                <a:gd name="T1" fmla="*/ 15 h 16"/>
                <a:gd name="T2" fmla="*/ 16 w 22"/>
                <a:gd name="T3" fmla="*/ 15 h 16"/>
                <a:gd name="T4" fmla="*/ 6 w 22"/>
                <a:gd name="T5" fmla="*/ 16 h 16"/>
                <a:gd name="T6" fmla="*/ 0 w 22"/>
                <a:gd name="T7" fmla="*/ 16 h 16"/>
                <a:gd name="T8" fmla="*/ 0 w 22"/>
                <a:gd name="T9" fmla="*/ 16 h 16"/>
                <a:gd name="T10" fmla="*/ 0 w 22"/>
                <a:gd name="T11" fmla="*/ 15 h 16"/>
                <a:gd name="T12" fmla="*/ 0 w 22"/>
                <a:gd name="T13" fmla="*/ 15 h 16"/>
                <a:gd name="T14" fmla="*/ 4 w 22"/>
                <a:gd name="T15" fmla="*/ 13 h 16"/>
                <a:gd name="T16" fmla="*/ 7 w 22"/>
                <a:gd name="T17" fmla="*/ 12 h 16"/>
                <a:gd name="T18" fmla="*/ 10 w 22"/>
                <a:gd name="T19" fmla="*/ 11 h 16"/>
                <a:gd name="T20" fmla="*/ 14 w 22"/>
                <a:gd name="T21" fmla="*/ 8 h 16"/>
                <a:gd name="T22" fmla="*/ 14 w 22"/>
                <a:gd name="T23" fmla="*/ 8 h 16"/>
                <a:gd name="T24" fmla="*/ 20 w 22"/>
                <a:gd name="T25" fmla="*/ 2 h 16"/>
                <a:gd name="T26" fmla="*/ 22 w 22"/>
                <a:gd name="T27" fmla="*/ 0 h 16"/>
                <a:gd name="T28" fmla="*/ 22 w 22"/>
                <a:gd name="T29" fmla="*/ 2 h 16"/>
                <a:gd name="T30" fmla="*/ 22 w 22"/>
                <a:gd name="T31" fmla="*/ 2 h 16"/>
                <a:gd name="T32" fmla="*/ 20 w 22"/>
                <a:gd name="T33" fmla="*/ 9 h 16"/>
                <a:gd name="T34" fmla="*/ 19 w 22"/>
                <a:gd name="T35" fmla="*/ 13 h 16"/>
                <a:gd name="T36" fmla="*/ 16 w 22"/>
                <a:gd name="T37"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6">
                  <a:moveTo>
                    <a:pt x="16" y="15"/>
                  </a:moveTo>
                  <a:lnTo>
                    <a:pt x="16" y="15"/>
                  </a:lnTo>
                  <a:lnTo>
                    <a:pt x="6" y="16"/>
                  </a:lnTo>
                  <a:lnTo>
                    <a:pt x="0" y="16"/>
                  </a:lnTo>
                  <a:lnTo>
                    <a:pt x="0" y="16"/>
                  </a:lnTo>
                  <a:lnTo>
                    <a:pt x="0" y="15"/>
                  </a:lnTo>
                  <a:lnTo>
                    <a:pt x="0" y="15"/>
                  </a:lnTo>
                  <a:lnTo>
                    <a:pt x="4" y="13"/>
                  </a:lnTo>
                  <a:lnTo>
                    <a:pt x="7" y="12"/>
                  </a:lnTo>
                  <a:lnTo>
                    <a:pt x="10" y="11"/>
                  </a:lnTo>
                  <a:lnTo>
                    <a:pt x="14" y="8"/>
                  </a:lnTo>
                  <a:lnTo>
                    <a:pt x="14" y="8"/>
                  </a:lnTo>
                  <a:lnTo>
                    <a:pt x="20" y="2"/>
                  </a:lnTo>
                  <a:lnTo>
                    <a:pt x="22" y="0"/>
                  </a:lnTo>
                  <a:lnTo>
                    <a:pt x="22" y="2"/>
                  </a:lnTo>
                  <a:lnTo>
                    <a:pt x="22" y="2"/>
                  </a:lnTo>
                  <a:lnTo>
                    <a:pt x="20" y="9"/>
                  </a:lnTo>
                  <a:lnTo>
                    <a:pt x="19" y="13"/>
                  </a:lnTo>
                  <a:lnTo>
                    <a:pt x="16"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64" name="Freeform 984"/>
            <p:cNvSpPr>
              <a:spLocks/>
            </p:cNvSpPr>
            <p:nvPr/>
          </p:nvSpPr>
          <p:spPr bwMode="auto">
            <a:xfrm>
              <a:off x="5540376" y="2272142"/>
              <a:ext cx="42863" cy="50800"/>
            </a:xfrm>
            <a:custGeom>
              <a:avLst/>
              <a:gdLst>
                <a:gd name="T0" fmla="*/ 9 w 27"/>
                <a:gd name="T1" fmla="*/ 32 h 32"/>
                <a:gd name="T2" fmla="*/ 9 w 27"/>
                <a:gd name="T3" fmla="*/ 32 h 32"/>
                <a:gd name="T4" fmla="*/ 6 w 27"/>
                <a:gd name="T5" fmla="*/ 32 h 32"/>
                <a:gd name="T6" fmla="*/ 3 w 27"/>
                <a:gd name="T7" fmla="*/ 29 h 32"/>
                <a:gd name="T8" fmla="*/ 2 w 27"/>
                <a:gd name="T9" fmla="*/ 26 h 32"/>
                <a:gd name="T10" fmla="*/ 0 w 27"/>
                <a:gd name="T11" fmla="*/ 22 h 32"/>
                <a:gd name="T12" fmla="*/ 0 w 27"/>
                <a:gd name="T13" fmla="*/ 12 h 32"/>
                <a:gd name="T14" fmla="*/ 2 w 27"/>
                <a:gd name="T15" fmla="*/ 4 h 32"/>
                <a:gd name="T16" fmla="*/ 2 w 27"/>
                <a:gd name="T17" fmla="*/ 4 h 32"/>
                <a:gd name="T18" fmla="*/ 2 w 27"/>
                <a:gd name="T19" fmla="*/ 3 h 32"/>
                <a:gd name="T20" fmla="*/ 3 w 27"/>
                <a:gd name="T21" fmla="*/ 2 h 32"/>
                <a:gd name="T22" fmla="*/ 8 w 27"/>
                <a:gd name="T23" fmla="*/ 0 h 32"/>
                <a:gd name="T24" fmla="*/ 12 w 27"/>
                <a:gd name="T25" fmla="*/ 0 h 32"/>
                <a:gd name="T26" fmla="*/ 16 w 27"/>
                <a:gd name="T27" fmla="*/ 2 h 32"/>
                <a:gd name="T28" fmla="*/ 16 w 27"/>
                <a:gd name="T29" fmla="*/ 2 h 32"/>
                <a:gd name="T30" fmla="*/ 22 w 27"/>
                <a:gd name="T31" fmla="*/ 6 h 32"/>
                <a:gd name="T32" fmla="*/ 25 w 27"/>
                <a:gd name="T33" fmla="*/ 10 h 32"/>
                <a:gd name="T34" fmla="*/ 27 w 27"/>
                <a:gd name="T35" fmla="*/ 13 h 32"/>
                <a:gd name="T36" fmla="*/ 27 w 27"/>
                <a:gd name="T37" fmla="*/ 13 h 32"/>
                <a:gd name="T38" fmla="*/ 25 w 27"/>
                <a:gd name="T39" fmla="*/ 18 h 32"/>
                <a:gd name="T40" fmla="*/ 19 w 27"/>
                <a:gd name="T41" fmla="*/ 23 h 32"/>
                <a:gd name="T42" fmla="*/ 15 w 27"/>
                <a:gd name="T43" fmla="*/ 29 h 32"/>
                <a:gd name="T44" fmla="*/ 9 w 27"/>
                <a:gd name="T4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32">
                  <a:moveTo>
                    <a:pt x="9" y="32"/>
                  </a:moveTo>
                  <a:lnTo>
                    <a:pt x="9" y="32"/>
                  </a:lnTo>
                  <a:lnTo>
                    <a:pt x="6" y="32"/>
                  </a:lnTo>
                  <a:lnTo>
                    <a:pt x="3" y="29"/>
                  </a:lnTo>
                  <a:lnTo>
                    <a:pt x="2" y="26"/>
                  </a:lnTo>
                  <a:lnTo>
                    <a:pt x="0" y="22"/>
                  </a:lnTo>
                  <a:lnTo>
                    <a:pt x="0" y="12"/>
                  </a:lnTo>
                  <a:lnTo>
                    <a:pt x="2" y="4"/>
                  </a:lnTo>
                  <a:lnTo>
                    <a:pt x="2" y="4"/>
                  </a:lnTo>
                  <a:lnTo>
                    <a:pt x="2" y="3"/>
                  </a:lnTo>
                  <a:lnTo>
                    <a:pt x="3" y="2"/>
                  </a:lnTo>
                  <a:lnTo>
                    <a:pt x="8" y="0"/>
                  </a:lnTo>
                  <a:lnTo>
                    <a:pt x="12" y="0"/>
                  </a:lnTo>
                  <a:lnTo>
                    <a:pt x="16" y="2"/>
                  </a:lnTo>
                  <a:lnTo>
                    <a:pt x="16" y="2"/>
                  </a:lnTo>
                  <a:lnTo>
                    <a:pt x="22" y="6"/>
                  </a:lnTo>
                  <a:lnTo>
                    <a:pt x="25" y="10"/>
                  </a:lnTo>
                  <a:lnTo>
                    <a:pt x="27" y="13"/>
                  </a:lnTo>
                  <a:lnTo>
                    <a:pt x="27" y="13"/>
                  </a:lnTo>
                  <a:lnTo>
                    <a:pt x="25" y="18"/>
                  </a:lnTo>
                  <a:lnTo>
                    <a:pt x="19" y="23"/>
                  </a:lnTo>
                  <a:lnTo>
                    <a:pt x="15" y="29"/>
                  </a:lnTo>
                  <a:lnTo>
                    <a:pt x="9" y="32"/>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65" name="Freeform 985"/>
            <p:cNvSpPr>
              <a:spLocks/>
            </p:cNvSpPr>
            <p:nvPr/>
          </p:nvSpPr>
          <p:spPr bwMode="auto">
            <a:xfrm>
              <a:off x="5540376" y="2272142"/>
              <a:ext cx="42863" cy="50800"/>
            </a:xfrm>
            <a:custGeom>
              <a:avLst/>
              <a:gdLst>
                <a:gd name="T0" fmla="*/ 9 w 27"/>
                <a:gd name="T1" fmla="*/ 32 h 32"/>
                <a:gd name="T2" fmla="*/ 9 w 27"/>
                <a:gd name="T3" fmla="*/ 32 h 32"/>
                <a:gd name="T4" fmla="*/ 6 w 27"/>
                <a:gd name="T5" fmla="*/ 32 h 32"/>
                <a:gd name="T6" fmla="*/ 3 w 27"/>
                <a:gd name="T7" fmla="*/ 29 h 32"/>
                <a:gd name="T8" fmla="*/ 2 w 27"/>
                <a:gd name="T9" fmla="*/ 26 h 32"/>
                <a:gd name="T10" fmla="*/ 0 w 27"/>
                <a:gd name="T11" fmla="*/ 22 h 32"/>
                <a:gd name="T12" fmla="*/ 0 w 27"/>
                <a:gd name="T13" fmla="*/ 12 h 32"/>
                <a:gd name="T14" fmla="*/ 2 w 27"/>
                <a:gd name="T15" fmla="*/ 4 h 32"/>
                <a:gd name="T16" fmla="*/ 2 w 27"/>
                <a:gd name="T17" fmla="*/ 4 h 32"/>
                <a:gd name="T18" fmla="*/ 2 w 27"/>
                <a:gd name="T19" fmla="*/ 3 h 32"/>
                <a:gd name="T20" fmla="*/ 3 w 27"/>
                <a:gd name="T21" fmla="*/ 2 h 32"/>
                <a:gd name="T22" fmla="*/ 8 w 27"/>
                <a:gd name="T23" fmla="*/ 0 h 32"/>
                <a:gd name="T24" fmla="*/ 12 w 27"/>
                <a:gd name="T25" fmla="*/ 0 h 32"/>
                <a:gd name="T26" fmla="*/ 16 w 27"/>
                <a:gd name="T27" fmla="*/ 2 h 32"/>
                <a:gd name="T28" fmla="*/ 16 w 27"/>
                <a:gd name="T29" fmla="*/ 2 h 32"/>
                <a:gd name="T30" fmla="*/ 22 w 27"/>
                <a:gd name="T31" fmla="*/ 6 h 32"/>
                <a:gd name="T32" fmla="*/ 25 w 27"/>
                <a:gd name="T33" fmla="*/ 10 h 32"/>
                <a:gd name="T34" fmla="*/ 27 w 27"/>
                <a:gd name="T35" fmla="*/ 13 h 32"/>
                <a:gd name="T36" fmla="*/ 27 w 27"/>
                <a:gd name="T37" fmla="*/ 13 h 32"/>
                <a:gd name="T38" fmla="*/ 25 w 27"/>
                <a:gd name="T39" fmla="*/ 18 h 32"/>
                <a:gd name="T40" fmla="*/ 19 w 27"/>
                <a:gd name="T41" fmla="*/ 23 h 32"/>
                <a:gd name="T42" fmla="*/ 15 w 27"/>
                <a:gd name="T43" fmla="*/ 29 h 32"/>
                <a:gd name="T44" fmla="*/ 9 w 27"/>
                <a:gd name="T4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32">
                  <a:moveTo>
                    <a:pt x="9" y="32"/>
                  </a:moveTo>
                  <a:lnTo>
                    <a:pt x="9" y="32"/>
                  </a:lnTo>
                  <a:lnTo>
                    <a:pt x="6" y="32"/>
                  </a:lnTo>
                  <a:lnTo>
                    <a:pt x="3" y="29"/>
                  </a:lnTo>
                  <a:lnTo>
                    <a:pt x="2" y="26"/>
                  </a:lnTo>
                  <a:lnTo>
                    <a:pt x="0" y="22"/>
                  </a:lnTo>
                  <a:lnTo>
                    <a:pt x="0" y="12"/>
                  </a:lnTo>
                  <a:lnTo>
                    <a:pt x="2" y="4"/>
                  </a:lnTo>
                  <a:lnTo>
                    <a:pt x="2" y="4"/>
                  </a:lnTo>
                  <a:lnTo>
                    <a:pt x="2" y="3"/>
                  </a:lnTo>
                  <a:lnTo>
                    <a:pt x="3" y="2"/>
                  </a:lnTo>
                  <a:lnTo>
                    <a:pt x="8" y="0"/>
                  </a:lnTo>
                  <a:lnTo>
                    <a:pt x="12" y="0"/>
                  </a:lnTo>
                  <a:lnTo>
                    <a:pt x="16" y="2"/>
                  </a:lnTo>
                  <a:lnTo>
                    <a:pt x="16" y="2"/>
                  </a:lnTo>
                  <a:lnTo>
                    <a:pt x="22" y="6"/>
                  </a:lnTo>
                  <a:lnTo>
                    <a:pt x="25" y="10"/>
                  </a:lnTo>
                  <a:lnTo>
                    <a:pt x="27" y="13"/>
                  </a:lnTo>
                  <a:lnTo>
                    <a:pt x="27" y="13"/>
                  </a:lnTo>
                  <a:lnTo>
                    <a:pt x="25" y="18"/>
                  </a:lnTo>
                  <a:lnTo>
                    <a:pt x="19" y="23"/>
                  </a:lnTo>
                  <a:lnTo>
                    <a:pt x="15" y="29"/>
                  </a:lnTo>
                  <a:lnTo>
                    <a:pt x="9" y="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66" name="Freeform 986"/>
            <p:cNvSpPr>
              <a:spLocks/>
            </p:cNvSpPr>
            <p:nvPr/>
          </p:nvSpPr>
          <p:spPr bwMode="auto">
            <a:xfrm>
              <a:off x="5799138" y="2195942"/>
              <a:ext cx="42863" cy="58738"/>
            </a:xfrm>
            <a:custGeom>
              <a:avLst/>
              <a:gdLst>
                <a:gd name="T0" fmla="*/ 19 w 27"/>
                <a:gd name="T1" fmla="*/ 37 h 37"/>
                <a:gd name="T2" fmla="*/ 19 w 27"/>
                <a:gd name="T3" fmla="*/ 37 h 37"/>
                <a:gd name="T4" fmla="*/ 16 w 27"/>
                <a:gd name="T5" fmla="*/ 37 h 37"/>
                <a:gd name="T6" fmla="*/ 14 w 27"/>
                <a:gd name="T7" fmla="*/ 34 h 37"/>
                <a:gd name="T8" fmla="*/ 13 w 27"/>
                <a:gd name="T9" fmla="*/ 31 h 37"/>
                <a:gd name="T10" fmla="*/ 10 w 27"/>
                <a:gd name="T11" fmla="*/ 29 h 37"/>
                <a:gd name="T12" fmla="*/ 10 w 27"/>
                <a:gd name="T13" fmla="*/ 29 h 37"/>
                <a:gd name="T14" fmla="*/ 5 w 27"/>
                <a:gd name="T15" fmla="*/ 26 h 37"/>
                <a:gd name="T16" fmla="*/ 1 w 27"/>
                <a:gd name="T17" fmla="*/ 22 h 37"/>
                <a:gd name="T18" fmla="*/ 0 w 27"/>
                <a:gd name="T19" fmla="*/ 16 h 37"/>
                <a:gd name="T20" fmla="*/ 0 w 27"/>
                <a:gd name="T21" fmla="*/ 13 h 37"/>
                <a:gd name="T22" fmla="*/ 0 w 27"/>
                <a:gd name="T23" fmla="*/ 13 h 37"/>
                <a:gd name="T24" fmla="*/ 4 w 27"/>
                <a:gd name="T25" fmla="*/ 5 h 37"/>
                <a:gd name="T26" fmla="*/ 7 w 27"/>
                <a:gd name="T27" fmla="*/ 0 h 37"/>
                <a:gd name="T28" fmla="*/ 7 w 27"/>
                <a:gd name="T29" fmla="*/ 0 h 37"/>
                <a:gd name="T30" fmla="*/ 8 w 27"/>
                <a:gd name="T31" fmla="*/ 2 h 37"/>
                <a:gd name="T32" fmla="*/ 8 w 27"/>
                <a:gd name="T33" fmla="*/ 2 h 37"/>
                <a:gd name="T34" fmla="*/ 13 w 27"/>
                <a:gd name="T35" fmla="*/ 8 h 37"/>
                <a:gd name="T36" fmla="*/ 19 w 27"/>
                <a:gd name="T37" fmla="*/ 15 h 37"/>
                <a:gd name="T38" fmla="*/ 19 w 27"/>
                <a:gd name="T39" fmla="*/ 15 h 37"/>
                <a:gd name="T40" fmla="*/ 24 w 27"/>
                <a:gd name="T41" fmla="*/ 21 h 37"/>
                <a:gd name="T42" fmla="*/ 27 w 27"/>
                <a:gd name="T43" fmla="*/ 26 h 37"/>
                <a:gd name="T44" fmla="*/ 27 w 27"/>
                <a:gd name="T45" fmla="*/ 26 h 37"/>
                <a:gd name="T46" fmla="*/ 27 w 27"/>
                <a:gd name="T47" fmla="*/ 31 h 37"/>
                <a:gd name="T48" fmla="*/ 27 w 27"/>
                <a:gd name="T49" fmla="*/ 34 h 37"/>
                <a:gd name="T50" fmla="*/ 24 w 27"/>
                <a:gd name="T51" fmla="*/ 37 h 37"/>
                <a:gd name="T52" fmla="*/ 19 w 27"/>
                <a:gd name="T5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37">
                  <a:moveTo>
                    <a:pt x="19" y="37"/>
                  </a:moveTo>
                  <a:lnTo>
                    <a:pt x="19" y="37"/>
                  </a:lnTo>
                  <a:lnTo>
                    <a:pt x="16" y="37"/>
                  </a:lnTo>
                  <a:lnTo>
                    <a:pt x="14" y="34"/>
                  </a:lnTo>
                  <a:lnTo>
                    <a:pt x="13" y="31"/>
                  </a:lnTo>
                  <a:lnTo>
                    <a:pt x="10" y="29"/>
                  </a:lnTo>
                  <a:lnTo>
                    <a:pt x="10" y="29"/>
                  </a:lnTo>
                  <a:lnTo>
                    <a:pt x="5" y="26"/>
                  </a:lnTo>
                  <a:lnTo>
                    <a:pt x="1" y="22"/>
                  </a:lnTo>
                  <a:lnTo>
                    <a:pt x="0" y="16"/>
                  </a:lnTo>
                  <a:lnTo>
                    <a:pt x="0" y="13"/>
                  </a:lnTo>
                  <a:lnTo>
                    <a:pt x="0" y="13"/>
                  </a:lnTo>
                  <a:lnTo>
                    <a:pt x="4" y="5"/>
                  </a:lnTo>
                  <a:lnTo>
                    <a:pt x="7" y="0"/>
                  </a:lnTo>
                  <a:lnTo>
                    <a:pt x="7" y="0"/>
                  </a:lnTo>
                  <a:lnTo>
                    <a:pt x="8" y="2"/>
                  </a:lnTo>
                  <a:lnTo>
                    <a:pt x="8" y="2"/>
                  </a:lnTo>
                  <a:lnTo>
                    <a:pt x="13" y="8"/>
                  </a:lnTo>
                  <a:lnTo>
                    <a:pt x="19" y="15"/>
                  </a:lnTo>
                  <a:lnTo>
                    <a:pt x="19" y="15"/>
                  </a:lnTo>
                  <a:lnTo>
                    <a:pt x="24" y="21"/>
                  </a:lnTo>
                  <a:lnTo>
                    <a:pt x="27" y="26"/>
                  </a:lnTo>
                  <a:lnTo>
                    <a:pt x="27" y="26"/>
                  </a:lnTo>
                  <a:lnTo>
                    <a:pt x="27" y="31"/>
                  </a:lnTo>
                  <a:lnTo>
                    <a:pt x="27" y="34"/>
                  </a:lnTo>
                  <a:lnTo>
                    <a:pt x="24" y="37"/>
                  </a:lnTo>
                  <a:lnTo>
                    <a:pt x="19" y="37"/>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67" name="Freeform 987"/>
            <p:cNvSpPr>
              <a:spLocks/>
            </p:cNvSpPr>
            <p:nvPr/>
          </p:nvSpPr>
          <p:spPr bwMode="auto">
            <a:xfrm>
              <a:off x="5799138" y="2195942"/>
              <a:ext cx="42863" cy="58738"/>
            </a:xfrm>
            <a:custGeom>
              <a:avLst/>
              <a:gdLst>
                <a:gd name="T0" fmla="*/ 19 w 27"/>
                <a:gd name="T1" fmla="*/ 37 h 37"/>
                <a:gd name="T2" fmla="*/ 19 w 27"/>
                <a:gd name="T3" fmla="*/ 37 h 37"/>
                <a:gd name="T4" fmla="*/ 16 w 27"/>
                <a:gd name="T5" fmla="*/ 37 h 37"/>
                <a:gd name="T6" fmla="*/ 14 w 27"/>
                <a:gd name="T7" fmla="*/ 34 h 37"/>
                <a:gd name="T8" fmla="*/ 13 w 27"/>
                <a:gd name="T9" fmla="*/ 31 h 37"/>
                <a:gd name="T10" fmla="*/ 10 w 27"/>
                <a:gd name="T11" fmla="*/ 29 h 37"/>
                <a:gd name="T12" fmla="*/ 10 w 27"/>
                <a:gd name="T13" fmla="*/ 29 h 37"/>
                <a:gd name="T14" fmla="*/ 5 w 27"/>
                <a:gd name="T15" fmla="*/ 26 h 37"/>
                <a:gd name="T16" fmla="*/ 1 w 27"/>
                <a:gd name="T17" fmla="*/ 22 h 37"/>
                <a:gd name="T18" fmla="*/ 0 w 27"/>
                <a:gd name="T19" fmla="*/ 16 h 37"/>
                <a:gd name="T20" fmla="*/ 0 w 27"/>
                <a:gd name="T21" fmla="*/ 13 h 37"/>
                <a:gd name="T22" fmla="*/ 0 w 27"/>
                <a:gd name="T23" fmla="*/ 13 h 37"/>
                <a:gd name="T24" fmla="*/ 4 w 27"/>
                <a:gd name="T25" fmla="*/ 5 h 37"/>
                <a:gd name="T26" fmla="*/ 7 w 27"/>
                <a:gd name="T27" fmla="*/ 0 h 37"/>
                <a:gd name="T28" fmla="*/ 7 w 27"/>
                <a:gd name="T29" fmla="*/ 0 h 37"/>
                <a:gd name="T30" fmla="*/ 8 w 27"/>
                <a:gd name="T31" fmla="*/ 2 h 37"/>
                <a:gd name="T32" fmla="*/ 8 w 27"/>
                <a:gd name="T33" fmla="*/ 2 h 37"/>
                <a:gd name="T34" fmla="*/ 13 w 27"/>
                <a:gd name="T35" fmla="*/ 8 h 37"/>
                <a:gd name="T36" fmla="*/ 19 w 27"/>
                <a:gd name="T37" fmla="*/ 15 h 37"/>
                <a:gd name="T38" fmla="*/ 19 w 27"/>
                <a:gd name="T39" fmla="*/ 15 h 37"/>
                <a:gd name="T40" fmla="*/ 24 w 27"/>
                <a:gd name="T41" fmla="*/ 21 h 37"/>
                <a:gd name="T42" fmla="*/ 27 w 27"/>
                <a:gd name="T43" fmla="*/ 26 h 37"/>
                <a:gd name="T44" fmla="*/ 27 w 27"/>
                <a:gd name="T45" fmla="*/ 26 h 37"/>
                <a:gd name="T46" fmla="*/ 27 w 27"/>
                <a:gd name="T47" fmla="*/ 31 h 37"/>
                <a:gd name="T48" fmla="*/ 27 w 27"/>
                <a:gd name="T49" fmla="*/ 34 h 37"/>
                <a:gd name="T50" fmla="*/ 24 w 27"/>
                <a:gd name="T51" fmla="*/ 37 h 37"/>
                <a:gd name="T52" fmla="*/ 19 w 27"/>
                <a:gd name="T5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37">
                  <a:moveTo>
                    <a:pt x="19" y="37"/>
                  </a:moveTo>
                  <a:lnTo>
                    <a:pt x="19" y="37"/>
                  </a:lnTo>
                  <a:lnTo>
                    <a:pt x="16" y="37"/>
                  </a:lnTo>
                  <a:lnTo>
                    <a:pt x="14" y="34"/>
                  </a:lnTo>
                  <a:lnTo>
                    <a:pt x="13" y="31"/>
                  </a:lnTo>
                  <a:lnTo>
                    <a:pt x="10" y="29"/>
                  </a:lnTo>
                  <a:lnTo>
                    <a:pt x="10" y="29"/>
                  </a:lnTo>
                  <a:lnTo>
                    <a:pt x="5" y="26"/>
                  </a:lnTo>
                  <a:lnTo>
                    <a:pt x="1" y="22"/>
                  </a:lnTo>
                  <a:lnTo>
                    <a:pt x="0" y="16"/>
                  </a:lnTo>
                  <a:lnTo>
                    <a:pt x="0" y="13"/>
                  </a:lnTo>
                  <a:lnTo>
                    <a:pt x="0" y="13"/>
                  </a:lnTo>
                  <a:lnTo>
                    <a:pt x="4" y="5"/>
                  </a:lnTo>
                  <a:lnTo>
                    <a:pt x="7" y="0"/>
                  </a:lnTo>
                  <a:lnTo>
                    <a:pt x="7" y="0"/>
                  </a:lnTo>
                  <a:lnTo>
                    <a:pt x="8" y="2"/>
                  </a:lnTo>
                  <a:lnTo>
                    <a:pt x="8" y="2"/>
                  </a:lnTo>
                  <a:lnTo>
                    <a:pt x="13" y="8"/>
                  </a:lnTo>
                  <a:lnTo>
                    <a:pt x="19" y="15"/>
                  </a:lnTo>
                  <a:lnTo>
                    <a:pt x="19" y="15"/>
                  </a:lnTo>
                  <a:lnTo>
                    <a:pt x="24" y="21"/>
                  </a:lnTo>
                  <a:lnTo>
                    <a:pt x="27" y="26"/>
                  </a:lnTo>
                  <a:lnTo>
                    <a:pt x="27" y="26"/>
                  </a:lnTo>
                  <a:lnTo>
                    <a:pt x="27" y="31"/>
                  </a:lnTo>
                  <a:lnTo>
                    <a:pt x="27" y="34"/>
                  </a:lnTo>
                  <a:lnTo>
                    <a:pt x="24" y="37"/>
                  </a:lnTo>
                  <a:lnTo>
                    <a:pt x="19" y="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68" name="Freeform 988"/>
            <p:cNvSpPr>
              <a:spLocks/>
            </p:cNvSpPr>
            <p:nvPr/>
          </p:nvSpPr>
          <p:spPr bwMode="auto">
            <a:xfrm>
              <a:off x="6097588" y="1945117"/>
              <a:ext cx="41275" cy="50800"/>
            </a:xfrm>
            <a:custGeom>
              <a:avLst/>
              <a:gdLst>
                <a:gd name="T0" fmla="*/ 14 w 26"/>
                <a:gd name="T1" fmla="*/ 29 h 32"/>
                <a:gd name="T2" fmla="*/ 14 w 26"/>
                <a:gd name="T3" fmla="*/ 29 h 32"/>
                <a:gd name="T4" fmla="*/ 12 w 26"/>
                <a:gd name="T5" fmla="*/ 28 h 32"/>
                <a:gd name="T6" fmla="*/ 10 w 26"/>
                <a:gd name="T7" fmla="*/ 27 h 32"/>
                <a:gd name="T8" fmla="*/ 7 w 26"/>
                <a:gd name="T9" fmla="*/ 25 h 32"/>
                <a:gd name="T10" fmla="*/ 6 w 26"/>
                <a:gd name="T11" fmla="*/ 27 h 32"/>
                <a:gd name="T12" fmla="*/ 6 w 26"/>
                <a:gd name="T13" fmla="*/ 27 h 32"/>
                <a:gd name="T14" fmla="*/ 3 w 26"/>
                <a:gd name="T15" fmla="*/ 32 h 32"/>
                <a:gd name="T16" fmla="*/ 1 w 26"/>
                <a:gd name="T17" fmla="*/ 32 h 32"/>
                <a:gd name="T18" fmla="*/ 0 w 26"/>
                <a:gd name="T19" fmla="*/ 31 h 32"/>
                <a:gd name="T20" fmla="*/ 0 w 26"/>
                <a:gd name="T21" fmla="*/ 31 h 32"/>
                <a:gd name="T22" fmla="*/ 0 w 26"/>
                <a:gd name="T23" fmla="*/ 25 h 32"/>
                <a:gd name="T24" fmla="*/ 0 w 26"/>
                <a:gd name="T25" fmla="*/ 18 h 32"/>
                <a:gd name="T26" fmla="*/ 1 w 26"/>
                <a:gd name="T27" fmla="*/ 12 h 32"/>
                <a:gd name="T28" fmla="*/ 4 w 26"/>
                <a:gd name="T29" fmla="*/ 8 h 32"/>
                <a:gd name="T30" fmla="*/ 4 w 26"/>
                <a:gd name="T31" fmla="*/ 8 h 32"/>
                <a:gd name="T32" fmla="*/ 10 w 26"/>
                <a:gd name="T33" fmla="*/ 2 h 32"/>
                <a:gd name="T34" fmla="*/ 14 w 26"/>
                <a:gd name="T35" fmla="*/ 0 h 32"/>
                <a:gd name="T36" fmla="*/ 17 w 26"/>
                <a:gd name="T37" fmla="*/ 2 h 32"/>
                <a:gd name="T38" fmla="*/ 17 w 26"/>
                <a:gd name="T39" fmla="*/ 2 h 32"/>
                <a:gd name="T40" fmla="*/ 22 w 26"/>
                <a:gd name="T41" fmla="*/ 6 h 32"/>
                <a:gd name="T42" fmla="*/ 25 w 26"/>
                <a:gd name="T43" fmla="*/ 12 h 32"/>
                <a:gd name="T44" fmla="*/ 25 w 26"/>
                <a:gd name="T45" fmla="*/ 12 h 32"/>
                <a:gd name="T46" fmla="*/ 26 w 26"/>
                <a:gd name="T47" fmla="*/ 16 h 32"/>
                <a:gd name="T48" fmla="*/ 25 w 26"/>
                <a:gd name="T49" fmla="*/ 22 h 32"/>
                <a:gd name="T50" fmla="*/ 23 w 26"/>
                <a:gd name="T51" fmla="*/ 25 h 32"/>
                <a:gd name="T52" fmla="*/ 22 w 26"/>
                <a:gd name="T53" fmla="*/ 27 h 32"/>
                <a:gd name="T54" fmla="*/ 19 w 26"/>
                <a:gd name="T55" fmla="*/ 28 h 32"/>
                <a:gd name="T56" fmla="*/ 14 w 26"/>
                <a:gd name="T57" fmla="*/ 2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32">
                  <a:moveTo>
                    <a:pt x="14" y="29"/>
                  </a:moveTo>
                  <a:lnTo>
                    <a:pt x="14" y="29"/>
                  </a:lnTo>
                  <a:lnTo>
                    <a:pt x="12" y="28"/>
                  </a:lnTo>
                  <a:lnTo>
                    <a:pt x="10" y="27"/>
                  </a:lnTo>
                  <a:lnTo>
                    <a:pt x="7" y="25"/>
                  </a:lnTo>
                  <a:lnTo>
                    <a:pt x="6" y="27"/>
                  </a:lnTo>
                  <a:lnTo>
                    <a:pt x="6" y="27"/>
                  </a:lnTo>
                  <a:lnTo>
                    <a:pt x="3" y="32"/>
                  </a:lnTo>
                  <a:lnTo>
                    <a:pt x="1" y="32"/>
                  </a:lnTo>
                  <a:lnTo>
                    <a:pt x="0" y="31"/>
                  </a:lnTo>
                  <a:lnTo>
                    <a:pt x="0" y="31"/>
                  </a:lnTo>
                  <a:lnTo>
                    <a:pt x="0" y="25"/>
                  </a:lnTo>
                  <a:lnTo>
                    <a:pt x="0" y="18"/>
                  </a:lnTo>
                  <a:lnTo>
                    <a:pt x="1" y="12"/>
                  </a:lnTo>
                  <a:lnTo>
                    <a:pt x="4" y="8"/>
                  </a:lnTo>
                  <a:lnTo>
                    <a:pt x="4" y="8"/>
                  </a:lnTo>
                  <a:lnTo>
                    <a:pt x="10" y="2"/>
                  </a:lnTo>
                  <a:lnTo>
                    <a:pt x="14" y="0"/>
                  </a:lnTo>
                  <a:lnTo>
                    <a:pt x="17" y="2"/>
                  </a:lnTo>
                  <a:lnTo>
                    <a:pt x="17" y="2"/>
                  </a:lnTo>
                  <a:lnTo>
                    <a:pt x="22" y="6"/>
                  </a:lnTo>
                  <a:lnTo>
                    <a:pt x="25" y="12"/>
                  </a:lnTo>
                  <a:lnTo>
                    <a:pt x="25" y="12"/>
                  </a:lnTo>
                  <a:lnTo>
                    <a:pt x="26" y="16"/>
                  </a:lnTo>
                  <a:lnTo>
                    <a:pt x="25" y="22"/>
                  </a:lnTo>
                  <a:lnTo>
                    <a:pt x="23" y="25"/>
                  </a:lnTo>
                  <a:lnTo>
                    <a:pt x="22" y="27"/>
                  </a:lnTo>
                  <a:lnTo>
                    <a:pt x="19" y="28"/>
                  </a:lnTo>
                  <a:lnTo>
                    <a:pt x="14" y="29"/>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69" name="Freeform 989"/>
            <p:cNvSpPr>
              <a:spLocks/>
            </p:cNvSpPr>
            <p:nvPr/>
          </p:nvSpPr>
          <p:spPr bwMode="auto">
            <a:xfrm>
              <a:off x="6097588" y="1945117"/>
              <a:ext cx="41275" cy="50800"/>
            </a:xfrm>
            <a:custGeom>
              <a:avLst/>
              <a:gdLst>
                <a:gd name="T0" fmla="*/ 14 w 26"/>
                <a:gd name="T1" fmla="*/ 29 h 32"/>
                <a:gd name="T2" fmla="*/ 14 w 26"/>
                <a:gd name="T3" fmla="*/ 29 h 32"/>
                <a:gd name="T4" fmla="*/ 12 w 26"/>
                <a:gd name="T5" fmla="*/ 28 h 32"/>
                <a:gd name="T6" fmla="*/ 10 w 26"/>
                <a:gd name="T7" fmla="*/ 27 h 32"/>
                <a:gd name="T8" fmla="*/ 7 w 26"/>
                <a:gd name="T9" fmla="*/ 25 h 32"/>
                <a:gd name="T10" fmla="*/ 6 w 26"/>
                <a:gd name="T11" fmla="*/ 27 h 32"/>
                <a:gd name="T12" fmla="*/ 6 w 26"/>
                <a:gd name="T13" fmla="*/ 27 h 32"/>
                <a:gd name="T14" fmla="*/ 3 w 26"/>
                <a:gd name="T15" fmla="*/ 32 h 32"/>
                <a:gd name="T16" fmla="*/ 1 w 26"/>
                <a:gd name="T17" fmla="*/ 32 h 32"/>
                <a:gd name="T18" fmla="*/ 0 w 26"/>
                <a:gd name="T19" fmla="*/ 31 h 32"/>
                <a:gd name="T20" fmla="*/ 0 w 26"/>
                <a:gd name="T21" fmla="*/ 31 h 32"/>
                <a:gd name="T22" fmla="*/ 0 w 26"/>
                <a:gd name="T23" fmla="*/ 25 h 32"/>
                <a:gd name="T24" fmla="*/ 0 w 26"/>
                <a:gd name="T25" fmla="*/ 18 h 32"/>
                <a:gd name="T26" fmla="*/ 1 w 26"/>
                <a:gd name="T27" fmla="*/ 12 h 32"/>
                <a:gd name="T28" fmla="*/ 4 w 26"/>
                <a:gd name="T29" fmla="*/ 8 h 32"/>
                <a:gd name="T30" fmla="*/ 4 w 26"/>
                <a:gd name="T31" fmla="*/ 8 h 32"/>
                <a:gd name="T32" fmla="*/ 10 w 26"/>
                <a:gd name="T33" fmla="*/ 2 h 32"/>
                <a:gd name="T34" fmla="*/ 14 w 26"/>
                <a:gd name="T35" fmla="*/ 0 h 32"/>
                <a:gd name="T36" fmla="*/ 17 w 26"/>
                <a:gd name="T37" fmla="*/ 2 h 32"/>
                <a:gd name="T38" fmla="*/ 17 w 26"/>
                <a:gd name="T39" fmla="*/ 2 h 32"/>
                <a:gd name="T40" fmla="*/ 22 w 26"/>
                <a:gd name="T41" fmla="*/ 6 h 32"/>
                <a:gd name="T42" fmla="*/ 25 w 26"/>
                <a:gd name="T43" fmla="*/ 12 h 32"/>
                <a:gd name="T44" fmla="*/ 25 w 26"/>
                <a:gd name="T45" fmla="*/ 12 h 32"/>
                <a:gd name="T46" fmla="*/ 26 w 26"/>
                <a:gd name="T47" fmla="*/ 16 h 32"/>
                <a:gd name="T48" fmla="*/ 25 w 26"/>
                <a:gd name="T49" fmla="*/ 22 h 32"/>
                <a:gd name="T50" fmla="*/ 23 w 26"/>
                <a:gd name="T51" fmla="*/ 25 h 32"/>
                <a:gd name="T52" fmla="*/ 22 w 26"/>
                <a:gd name="T53" fmla="*/ 27 h 32"/>
                <a:gd name="T54" fmla="*/ 19 w 26"/>
                <a:gd name="T55" fmla="*/ 28 h 32"/>
                <a:gd name="T56" fmla="*/ 14 w 26"/>
                <a:gd name="T57" fmla="*/ 2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32">
                  <a:moveTo>
                    <a:pt x="14" y="29"/>
                  </a:moveTo>
                  <a:lnTo>
                    <a:pt x="14" y="29"/>
                  </a:lnTo>
                  <a:lnTo>
                    <a:pt x="12" y="28"/>
                  </a:lnTo>
                  <a:lnTo>
                    <a:pt x="10" y="27"/>
                  </a:lnTo>
                  <a:lnTo>
                    <a:pt x="7" y="25"/>
                  </a:lnTo>
                  <a:lnTo>
                    <a:pt x="6" y="27"/>
                  </a:lnTo>
                  <a:lnTo>
                    <a:pt x="6" y="27"/>
                  </a:lnTo>
                  <a:lnTo>
                    <a:pt x="3" y="32"/>
                  </a:lnTo>
                  <a:lnTo>
                    <a:pt x="1" y="32"/>
                  </a:lnTo>
                  <a:lnTo>
                    <a:pt x="0" y="31"/>
                  </a:lnTo>
                  <a:lnTo>
                    <a:pt x="0" y="31"/>
                  </a:lnTo>
                  <a:lnTo>
                    <a:pt x="0" y="25"/>
                  </a:lnTo>
                  <a:lnTo>
                    <a:pt x="0" y="18"/>
                  </a:lnTo>
                  <a:lnTo>
                    <a:pt x="1" y="12"/>
                  </a:lnTo>
                  <a:lnTo>
                    <a:pt x="4" y="8"/>
                  </a:lnTo>
                  <a:lnTo>
                    <a:pt x="4" y="8"/>
                  </a:lnTo>
                  <a:lnTo>
                    <a:pt x="10" y="2"/>
                  </a:lnTo>
                  <a:lnTo>
                    <a:pt x="14" y="0"/>
                  </a:lnTo>
                  <a:lnTo>
                    <a:pt x="17" y="2"/>
                  </a:lnTo>
                  <a:lnTo>
                    <a:pt x="17" y="2"/>
                  </a:lnTo>
                  <a:lnTo>
                    <a:pt x="22" y="6"/>
                  </a:lnTo>
                  <a:lnTo>
                    <a:pt x="25" y="12"/>
                  </a:lnTo>
                  <a:lnTo>
                    <a:pt x="25" y="12"/>
                  </a:lnTo>
                  <a:lnTo>
                    <a:pt x="26" y="16"/>
                  </a:lnTo>
                  <a:lnTo>
                    <a:pt x="25" y="22"/>
                  </a:lnTo>
                  <a:lnTo>
                    <a:pt x="23" y="25"/>
                  </a:lnTo>
                  <a:lnTo>
                    <a:pt x="22" y="27"/>
                  </a:lnTo>
                  <a:lnTo>
                    <a:pt x="19" y="28"/>
                  </a:lnTo>
                  <a:lnTo>
                    <a:pt x="14" y="2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70" name="Freeform 990"/>
            <p:cNvSpPr>
              <a:spLocks/>
            </p:cNvSpPr>
            <p:nvPr/>
          </p:nvSpPr>
          <p:spPr bwMode="auto">
            <a:xfrm>
              <a:off x="6203951" y="1968929"/>
              <a:ext cx="15875" cy="22225"/>
            </a:xfrm>
            <a:custGeom>
              <a:avLst/>
              <a:gdLst>
                <a:gd name="T0" fmla="*/ 5 w 10"/>
                <a:gd name="T1" fmla="*/ 14 h 14"/>
                <a:gd name="T2" fmla="*/ 5 w 10"/>
                <a:gd name="T3" fmla="*/ 14 h 14"/>
                <a:gd name="T4" fmla="*/ 4 w 10"/>
                <a:gd name="T5" fmla="*/ 14 h 14"/>
                <a:gd name="T6" fmla="*/ 2 w 10"/>
                <a:gd name="T7" fmla="*/ 14 h 14"/>
                <a:gd name="T8" fmla="*/ 0 w 10"/>
                <a:gd name="T9" fmla="*/ 10 h 14"/>
                <a:gd name="T10" fmla="*/ 0 w 10"/>
                <a:gd name="T11" fmla="*/ 6 h 14"/>
                <a:gd name="T12" fmla="*/ 1 w 10"/>
                <a:gd name="T13" fmla="*/ 3 h 14"/>
                <a:gd name="T14" fmla="*/ 1 w 10"/>
                <a:gd name="T15" fmla="*/ 3 h 14"/>
                <a:gd name="T16" fmla="*/ 4 w 10"/>
                <a:gd name="T17" fmla="*/ 0 h 14"/>
                <a:gd name="T18" fmla="*/ 5 w 10"/>
                <a:gd name="T19" fmla="*/ 0 h 14"/>
                <a:gd name="T20" fmla="*/ 8 w 10"/>
                <a:gd name="T21" fmla="*/ 0 h 14"/>
                <a:gd name="T22" fmla="*/ 10 w 10"/>
                <a:gd name="T23" fmla="*/ 1 h 14"/>
                <a:gd name="T24" fmla="*/ 10 w 10"/>
                <a:gd name="T25" fmla="*/ 1 h 14"/>
                <a:gd name="T26" fmla="*/ 10 w 10"/>
                <a:gd name="T27" fmla="*/ 6 h 14"/>
                <a:gd name="T28" fmla="*/ 8 w 10"/>
                <a:gd name="T29" fmla="*/ 9 h 14"/>
                <a:gd name="T30" fmla="*/ 7 w 10"/>
                <a:gd name="T31" fmla="*/ 12 h 14"/>
                <a:gd name="T32" fmla="*/ 5 w 10"/>
                <a:gd name="T3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14">
                  <a:moveTo>
                    <a:pt x="5" y="14"/>
                  </a:moveTo>
                  <a:lnTo>
                    <a:pt x="5" y="14"/>
                  </a:lnTo>
                  <a:lnTo>
                    <a:pt x="4" y="14"/>
                  </a:lnTo>
                  <a:lnTo>
                    <a:pt x="2" y="14"/>
                  </a:lnTo>
                  <a:lnTo>
                    <a:pt x="0" y="10"/>
                  </a:lnTo>
                  <a:lnTo>
                    <a:pt x="0" y="6"/>
                  </a:lnTo>
                  <a:lnTo>
                    <a:pt x="1" y="3"/>
                  </a:lnTo>
                  <a:lnTo>
                    <a:pt x="1" y="3"/>
                  </a:lnTo>
                  <a:lnTo>
                    <a:pt x="4" y="0"/>
                  </a:lnTo>
                  <a:lnTo>
                    <a:pt x="5" y="0"/>
                  </a:lnTo>
                  <a:lnTo>
                    <a:pt x="8" y="0"/>
                  </a:lnTo>
                  <a:lnTo>
                    <a:pt x="10" y="1"/>
                  </a:lnTo>
                  <a:lnTo>
                    <a:pt x="10" y="1"/>
                  </a:lnTo>
                  <a:lnTo>
                    <a:pt x="10" y="6"/>
                  </a:lnTo>
                  <a:lnTo>
                    <a:pt x="8" y="9"/>
                  </a:lnTo>
                  <a:lnTo>
                    <a:pt x="7" y="12"/>
                  </a:lnTo>
                  <a:lnTo>
                    <a:pt x="5" y="14"/>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71" name="Freeform 991"/>
            <p:cNvSpPr>
              <a:spLocks/>
            </p:cNvSpPr>
            <p:nvPr/>
          </p:nvSpPr>
          <p:spPr bwMode="auto">
            <a:xfrm>
              <a:off x="6203951" y="1968929"/>
              <a:ext cx="15875" cy="22225"/>
            </a:xfrm>
            <a:custGeom>
              <a:avLst/>
              <a:gdLst>
                <a:gd name="T0" fmla="*/ 5 w 10"/>
                <a:gd name="T1" fmla="*/ 14 h 14"/>
                <a:gd name="T2" fmla="*/ 5 w 10"/>
                <a:gd name="T3" fmla="*/ 14 h 14"/>
                <a:gd name="T4" fmla="*/ 4 w 10"/>
                <a:gd name="T5" fmla="*/ 14 h 14"/>
                <a:gd name="T6" fmla="*/ 2 w 10"/>
                <a:gd name="T7" fmla="*/ 14 h 14"/>
                <a:gd name="T8" fmla="*/ 0 w 10"/>
                <a:gd name="T9" fmla="*/ 10 h 14"/>
                <a:gd name="T10" fmla="*/ 0 w 10"/>
                <a:gd name="T11" fmla="*/ 6 h 14"/>
                <a:gd name="T12" fmla="*/ 1 w 10"/>
                <a:gd name="T13" fmla="*/ 3 h 14"/>
                <a:gd name="T14" fmla="*/ 1 w 10"/>
                <a:gd name="T15" fmla="*/ 3 h 14"/>
                <a:gd name="T16" fmla="*/ 4 w 10"/>
                <a:gd name="T17" fmla="*/ 0 h 14"/>
                <a:gd name="T18" fmla="*/ 5 w 10"/>
                <a:gd name="T19" fmla="*/ 0 h 14"/>
                <a:gd name="T20" fmla="*/ 8 w 10"/>
                <a:gd name="T21" fmla="*/ 0 h 14"/>
                <a:gd name="T22" fmla="*/ 10 w 10"/>
                <a:gd name="T23" fmla="*/ 1 h 14"/>
                <a:gd name="T24" fmla="*/ 10 w 10"/>
                <a:gd name="T25" fmla="*/ 1 h 14"/>
                <a:gd name="T26" fmla="*/ 10 w 10"/>
                <a:gd name="T27" fmla="*/ 6 h 14"/>
                <a:gd name="T28" fmla="*/ 8 w 10"/>
                <a:gd name="T29" fmla="*/ 9 h 14"/>
                <a:gd name="T30" fmla="*/ 7 w 10"/>
                <a:gd name="T31" fmla="*/ 12 h 14"/>
                <a:gd name="T32" fmla="*/ 5 w 10"/>
                <a:gd name="T3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14">
                  <a:moveTo>
                    <a:pt x="5" y="14"/>
                  </a:moveTo>
                  <a:lnTo>
                    <a:pt x="5" y="14"/>
                  </a:lnTo>
                  <a:lnTo>
                    <a:pt x="4" y="14"/>
                  </a:lnTo>
                  <a:lnTo>
                    <a:pt x="2" y="14"/>
                  </a:lnTo>
                  <a:lnTo>
                    <a:pt x="0" y="10"/>
                  </a:lnTo>
                  <a:lnTo>
                    <a:pt x="0" y="6"/>
                  </a:lnTo>
                  <a:lnTo>
                    <a:pt x="1" y="3"/>
                  </a:lnTo>
                  <a:lnTo>
                    <a:pt x="1" y="3"/>
                  </a:lnTo>
                  <a:lnTo>
                    <a:pt x="4" y="0"/>
                  </a:lnTo>
                  <a:lnTo>
                    <a:pt x="5" y="0"/>
                  </a:lnTo>
                  <a:lnTo>
                    <a:pt x="8" y="0"/>
                  </a:lnTo>
                  <a:lnTo>
                    <a:pt x="10" y="1"/>
                  </a:lnTo>
                  <a:lnTo>
                    <a:pt x="10" y="1"/>
                  </a:lnTo>
                  <a:lnTo>
                    <a:pt x="10" y="6"/>
                  </a:lnTo>
                  <a:lnTo>
                    <a:pt x="8" y="9"/>
                  </a:lnTo>
                  <a:lnTo>
                    <a:pt x="7" y="12"/>
                  </a:lnTo>
                  <a:lnTo>
                    <a:pt x="5"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72" name="Freeform 992"/>
            <p:cNvSpPr>
              <a:spLocks/>
            </p:cNvSpPr>
            <p:nvPr/>
          </p:nvSpPr>
          <p:spPr bwMode="auto">
            <a:xfrm>
              <a:off x="6281738" y="1987979"/>
              <a:ext cx="20638" cy="22225"/>
            </a:xfrm>
            <a:custGeom>
              <a:avLst/>
              <a:gdLst>
                <a:gd name="T0" fmla="*/ 10 w 13"/>
                <a:gd name="T1" fmla="*/ 14 h 14"/>
                <a:gd name="T2" fmla="*/ 10 w 13"/>
                <a:gd name="T3" fmla="*/ 14 h 14"/>
                <a:gd name="T4" fmla="*/ 3 w 13"/>
                <a:gd name="T5" fmla="*/ 13 h 14"/>
                <a:gd name="T6" fmla="*/ 1 w 13"/>
                <a:gd name="T7" fmla="*/ 11 h 14"/>
                <a:gd name="T8" fmla="*/ 0 w 13"/>
                <a:gd name="T9" fmla="*/ 10 h 14"/>
                <a:gd name="T10" fmla="*/ 0 w 13"/>
                <a:gd name="T11" fmla="*/ 10 h 14"/>
                <a:gd name="T12" fmla="*/ 0 w 13"/>
                <a:gd name="T13" fmla="*/ 5 h 14"/>
                <a:gd name="T14" fmla="*/ 3 w 13"/>
                <a:gd name="T15" fmla="*/ 2 h 14"/>
                <a:gd name="T16" fmla="*/ 4 w 13"/>
                <a:gd name="T17" fmla="*/ 0 h 14"/>
                <a:gd name="T18" fmla="*/ 7 w 13"/>
                <a:gd name="T19" fmla="*/ 0 h 14"/>
                <a:gd name="T20" fmla="*/ 7 w 13"/>
                <a:gd name="T21" fmla="*/ 0 h 14"/>
                <a:gd name="T22" fmla="*/ 10 w 13"/>
                <a:gd name="T23" fmla="*/ 1 h 14"/>
                <a:gd name="T24" fmla="*/ 13 w 13"/>
                <a:gd name="T25" fmla="*/ 7 h 14"/>
                <a:gd name="T26" fmla="*/ 13 w 13"/>
                <a:gd name="T27" fmla="*/ 11 h 14"/>
                <a:gd name="T28" fmla="*/ 11 w 13"/>
                <a:gd name="T29" fmla="*/ 13 h 14"/>
                <a:gd name="T30" fmla="*/ 10 w 13"/>
                <a:gd name="T3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4">
                  <a:moveTo>
                    <a:pt x="10" y="14"/>
                  </a:moveTo>
                  <a:lnTo>
                    <a:pt x="10" y="14"/>
                  </a:lnTo>
                  <a:lnTo>
                    <a:pt x="3" y="13"/>
                  </a:lnTo>
                  <a:lnTo>
                    <a:pt x="1" y="11"/>
                  </a:lnTo>
                  <a:lnTo>
                    <a:pt x="0" y="10"/>
                  </a:lnTo>
                  <a:lnTo>
                    <a:pt x="0" y="10"/>
                  </a:lnTo>
                  <a:lnTo>
                    <a:pt x="0" y="5"/>
                  </a:lnTo>
                  <a:lnTo>
                    <a:pt x="3" y="2"/>
                  </a:lnTo>
                  <a:lnTo>
                    <a:pt x="4" y="0"/>
                  </a:lnTo>
                  <a:lnTo>
                    <a:pt x="7" y="0"/>
                  </a:lnTo>
                  <a:lnTo>
                    <a:pt x="7" y="0"/>
                  </a:lnTo>
                  <a:lnTo>
                    <a:pt x="10" y="1"/>
                  </a:lnTo>
                  <a:lnTo>
                    <a:pt x="13" y="7"/>
                  </a:lnTo>
                  <a:lnTo>
                    <a:pt x="13" y="11"/>
                  </a:lnTo>
                  <a:lnTo>
                    <a:pt x="11" y="13"/>
                  </a:lnTo>
                  <a:lnTo>
                    <a:pt x="10" y="14"/>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73" name="Freeform 993"/>
            <p:cNvSpPr>
              <a:spLocks/>
            </p:cNvSpPr>
            <p:nvPr/>
          </p:nvSpPr>
          <p:spPr bwMode="auto">
            <a:xfrm>
              <a:off x="6281738" y="1987979"/>
              <a:ext cx="20638" cy="22225"/>
            </a:xfrm>
            <a:custGeom>
              <a:avLst/>
              <a:gdLst>
                <a:gd name="T0" fmla="*/ 10 w 13"/>
                <a:gd name="T1" fmla="*/ 14 h 14"/>
                <a:gd name="T2" fmla="*/ 10 w 13"/>
                <a:gd name="T3" fmla="*/ 14 h 14"/>
                <a:gd name="T4" fmla="*/ 3 w 13"/>
                <a:gd name="T5" fmla="*/ 13 h 14"/>
                <a:gd name="T6" fmla="*/ 1 w 13"/>
                <a:gd name="T7" fmla="*/ 11 h 14"/>
                <a:gd name="T8" fmla="*/ 0 w 13"/>
                <a:gd name="T9" fmla="*/ 10 h 14"/>
                <a:gd name="T10" fmla="*/ 0 w 13"/>
                <a:gd name="T11" fmla="*/ 10 h 14"/>
                <a:gd name="T12" fmla="*/ 0 w 13"/>
                <a:gd name="T13" fmla="*/ 5 h 14"/>
                <a:gd name="T14" fmla="*/ 3 w 13"/>
                <a:gd name="T15" fmla="*/ 2 h 14"/>
                <a:gd name="T16" fmla="*/ 4 w 13"/>
                <a:gd name="T17" fmla="*/ 0 h 14"/>
                <a:gd name="T18" fmla="*/ 7 w 13"/>
                <a:gd name="T19" fmla="*/ 0 h 14"/>
                <a:gd name="T20" fmla="*/ 7 w 13"/>
                <a:gd name="T21" fmla="*/ 0 h 14"/>
                <a:gd name="T22" fmla="*/ 10 w 13"/>
                <a:gd name="T23" fmla="*/ 1 h 14"/>
                <a:gd name="T24" fmla="*/ 13 w 13"/>
                <a:gd name="T25" fmla="*/ 7 h 14"/>
                <a:gd name="T26" fmla="*/ 13 w 13"/>
                <a:gd name="T27" fmla="*/ 11 h 14"/>
                <a:gd name="T28" fmla="*/ 11 w 13"/>
                <a:gd name="T29" fmla="*/ 13 h 14"/>
                <a:gd name="T30" fmla="*/ 10 w 13"/>
                <a:gd name="T3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4">
                  <a:moveTo>
                    <a:pt x="10" y="14"/>
                  </a:moveTo>
                  <a:lnTo>
                    <a:pt x="10" y="14"/>
                  </a:lnTo>
                  <a:lnTo>
                    <a:pt x="3" y="13"/>
                  </a:lnTo>
                  <a:lnTo>
                    <a:pt x="1" y="11"/>
                  </a:lnTo>
                  <a:lnTo>
                    <a:pt x="0" y="10"/>
                  </a:lnTo>
                  <a:lnTo>
                    <a:pt x="0" y="10"/>
                  </a:lnTo>
                  <a:lnTo>
                    <a:pt x="0" y="5"/>
                  </a:lnTo>
                  <a:lnTo>
                    <a:pt x="3" y="2"/>
                  </a:lnTo>
                  <a:lnTo>
                    <a:pt x="4" y="0"/>
                  </a:lnTo>
                  <a:lnTo>
                    <a:pt x="7" y="0"/>
                  </a:lnTo>
                  <a:lnTo>
                    <a:pt x="7" y="0"/>
                  </a:lnTo>
                  <a:lnTo>
                    <a:pt x="10" y="1"/>
                  </a:lnTo>
                  <a:lnTo>
                    <a:pt x="13" y="7"/>
                  </a:lnTo>
                  <a:lnTo>
                    <a:pt x="13" y="11"/>
                  </a:lnTo>
                  <a:lnTo>
                    <a:pt x="11" y="13"/>
                  </a:lnTo>
                  <a:lnTo>
                    <a:pt x="10"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74" name="Freeform 994"/>
            <p:cNvSpPr>
              <a:spLocks/>
            </p:cNvSpPr>
            <p:nvPr/>
          </p:nvSpPr>
          <p:spPr bwMode="auto">
            <a:xfrm>
              <a:off x="6313488" y="1954642"/>
              <a:ext cx="20638" cy="28575"/>
            </a:xfrm>
            <a:custGeom>
              <a:avLst/>
              <a:gdLst>
                <a:gd name="T0" fmla="*/ 7 w 13"/>
                <a:gd name="T1" fmla="*/ 18 h 18"/>
                <a:gd name="T2" fmla="*/ 7 w 13"/>
                <a:gd name="T3" fmla="*/ 18 h 18"/>
                <a:gd name="T4" fmla="*/ 4 w 13"/>
                <a:gd name="T5" fmla="*/ 18 h 18"/>
                <a:gd name="T6" fmla="*/ 2 w 13"/>
                <a:gd name="T7" fmla="*/ 16 h 18"/>
                <a:gd name="T8" fmla="*/ 0 w 13"/>
                <a:gd name="T9" fmla="*/ 13 h 18"/>
                <a:gd name="T10" fmla="*/ 0 w 13"/>
                <a:gd name="T11" fmla="*/ 10 h 18"/>
                <a:gd name="T12" fmla="*/ 0 w 13"/>
                <a:gd name="T13" fmla="*/ 10 h 18"/>
                <a:gd name="T14" fmla="*/ 7 w 13"/>
                <a:gd name="T15" fmla="*/ 3 h 18"/>
                <a:gd name="T16" fmla="*/ 10 w 13"/>
                <a:gd name="T17" fmla="*/ 0 h 18"/>
                <a:gd name="T18" fmla="*/ 12 w 13"/>
                <a:gd name="T19" fmla="*/ 0 h 18"/>
                <a:gd name="T20" fmla="*/ 12 w 13"/>
                <a:gd name="T21" fmla="*/ 0 h 18"/>
                <a:gd name="T22" fmla="*/ 13 w 13"/>
                <a:gd name="T23" fmla="*/ 10 h 18"/>
                <a:gd name="T24" fmla="*/ 12 w 13"/>
                <a:gd name="T25" fmla="*/ 16 h 18"/>
                <a:gd name="T26" fmla="*/ 10 w 13"/>
                <a:gd name="T27" fmla="*/ 18 h 18"/>
                <a:gd name="T28" fmla="*/ 7 w 13"/>
                <a:gd name="T2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8">
                  <a:moveTo>
                    <a:pt x="7" y="18"/>
                  </a:moveTo>
                  <a:lnTo>
                    <a:pt x="7" y="18"/>
                  </a:lnTo>
                  <a:lnTo>
                    <a:pt x="4" y="18"/>
                  </a:lnTo>
                  <a:lnTo>
                    <a:pt x="2" y="16"/>
                  </a:lnTo>
                  <a:lnTo>
                    <a:pt x="0" y="13"/>
                  </a:lnTo>
                  <a:lnTo>
                    <a:pt x="0" y="10"/>
                  </a:lnTo>
                  <a:lnTo>
                    <a:pt x="0" y="10"/>
                  </a:lnTo>
                  <a:lnTo>
                    <a:pt x="7" y="3"/>
                  </a:lnTo>
                  <a:lnTo>
                    <a:pt x="10" y="0"/>
                  </a:lnTo>
                  <a:lnTo>
                    <a:pt x="12" y="0"/>
                  </a:lnTo>
                  <a:lnTo>
                    <a:pt x="12" y="0"/>
                  </a:lnTo>
                  <a:lnTo>
                    <a:pt x="13" y="10"/>
                  </a:lnTo>
                  <a:lnTo>
                    <a:pt x="12" y="16"/>
                  </a:lnTo>
                  <a:lnTo>
                    <a:pt x="10" y="18"/>
                  </a:lnTo>
                  <a:lnTo>
                    <a:pt x="7" y="18"/>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75" name="Freeform 995"/>
            <p:cNvSpPr>
              <a:spLocks/>
            </p:cNvSpPr>
            <p:nvPr/>
          </p:nvSpPr>
          <p:spPr bwMode="auto">
            <a:xfrm>
              <a:off x="6313488" y="1954642"/>
              <a:ext cx="20638" cy="28575"/>
            </a:xfrm>
            <a:custGeom>
              <a:avLst/>
              <a:gdLst>
                <a:gd name="T0" fmla="*/ 7 w 13"/>
                <a:gd name="T1" fmla="*/ 18 h 18"/>
                <a:gd name="T2" fmla="*/ 7 w 13"/>
                <a:gd name="T3" fmla="*/ 18 h 18"/>
                <a:gd name="T4" fmla="*/ 4 w 13"/>
                <a:gd name="T5" fmla="*/ 18 h 18"/>
                <a:gd name="T6" fmla="*/ 2 w 13"/>
                <a:gd name="T7" fmla="*/ 16 h 18"/>
                <a:gd name="T8" fmla="*/ 0 w 13"/>
                <a:gd name="T9" fmla="*/ 13 h 18"/>
                <a:gd name="T10" fmla="*/ 0 w 13"/>
                <a:gd name="T11" fmla="*/ 10 h 18"/>
                <a:gd name="T12" fmla="*/ 0 w 13"/>
                <a:gd name="T13" fmla="*/ 10 h 18"/>
                <a:gd name="T14" fmla="*/ 7 w 13"/>
                <a:gd name="T15" fmla="*/ 3 h 18"/>
                <a:gd name="T16" fmla="*/ 10 w 13"/>
                <a:gd name="T17" fmla="*/ 0 h 18"/>
                <a:gd name="T18" fmla="*/ 12 w 13"/>
                <a:gd name="T19" fmla="*/ 0 h 18"/>
                <a:gd name="T20" fmla="*/ 12 w 13"/>
                <a:gd name="T21" fmla="*/ 0 h 18"/>
                <a:gd name="T22" fmla="*/ 13 w 13"/>
                <a:gd name="T23" fmla="*/ 10 h 18"/>
                <a:gd name="T24" fmla="*/ 12 w 13"/>
                <a:gd name="T25" fmla="*/ 16 h 18"/>
                <a:gd name="T26" fmla="*/ 10 w 13"/>
                <a:gd name="T27" fmla="*/ 18 h 18"/>
                <a:gd name="T28" fmla="*/ 7 w 13"/>
                <a:gd name="T2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8">
                  <a:moveTo>
                    <a:pt x="7" y="18"/>
                  </a:moveTo>
                  <a:lnTo>
                    <a:pt x="7" y="18"/>
                  </a:lnTo>
                  <a:lnTo>
                    <a:pt x="4" y="18"/>
                  </a:lnTo>
                  <a:lnTo>
                    <a:pt x="2" y="16"/>
                  </a:lnTo>
                  <a:lnTo>
                    <a:pt x="0" y="13"/>
                  </a:lnTo>
                  <a:lnTo>
                    <a:pt x="0" y="10"/>
                  </a:lnTo>
                  <a:lnTo>
                    <a:pt x="0" y="10"/>
                  </a:lnTo>
                  <a:lnTo>
                    <a:pt x="7" y="3"/>
                  </a:lnTo>
                  <a:lnTo>
                    <a:pt x="10" y="0"/>
                  </a:lnTo>
                  <a:lnTo>
                    <a:pt x="12" y="0"/>
                  </a:lnTo>
                  <a:lnTo>
                    <a:pt x="12" y="0"/>
                  </a:lnTo>
                  <a:lnTo>
                    <a:pt x="13" y="10"/>
                  </a:lnTo>
                  <a:lnTo>
                    <a:pt x="12" y="16"/>
                  </a:lnTo>
                  <a:lnTo>
                    <a:pt x="10" y="18"/>
                  </a:lnTo>
                  <a:lnTo>
                    <a:pt x="7"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76" name="Freeform 996"/>
            <p:cNvSpPr>
              <a:spLocks/>
            </p:cNvSpPr>
            <p:nvPr/>
          </p:nvSpPr>
          <p:spPr bwMode="auto">
            <a:xfrm>
              <a:off x="7143751" y="1851454"/>
              <a:ext cx="36513" cy="26988"/>
            </a:xfrm>
            <a:custGeom>
              <a:avLst/>
              <a:gdLst>
                <a:gd name="T0" fmla="*/ 22 w 23"/>
                <a:gd name="T1" fmla="*/ 16 h 17"/>
                <a:gd name="T2" fmla="*/ 22 w 23"/>
                <a:gd name="T3" fmla="*/ 16 h 17"/>
                <a:gd name="T4" fmla="*/ 9 w 23"/>
                <a:gd name="T5" fmla="*/ 17 h 17"/>
                <a:gd name="T6" fmla="*/ 1 w 23"/>
                <a:gd name="T7" fmla="*/ 16 h 17"/>
                <a:gd name="T8" fmla="*/ 0 w 23"/>
                <a:gd name="T9" fmla="*/ 15 h 17"/>
                <a:gd name="T10" fmla="*/ 0 w 23"/>
                <a:gd name="T11" fmla="*/ 13 h 17"/>
                <a:gd name="T12" fmla="*/ 0 w 23"/>
                <a:gd name="T13" fmla="*/ 13 h 17"/>
                <a:gd name="T14" fmla="*/ 3 w 23"/>
                <a:gd name="T15" fmla="*/ 4 h 17"/>
                <a:gd name="T16" fmla="*/ 4 w 23"/>
                <a:gd name="T17" fmla="*/ 2 h 17"/>
                <a:gd name="T18" fmla="*/ 6 w 23"/>
                <a:gd name="T19" fmla="*/ 0 h 17"/>
                <a:gd name="T20" fmla="*/ 6 w 23"/>
                <a:gd name="T21" fmla="*/ 0 h 17"/>
                <a:gd name="T22" fmla="*/ 14 w 23"/>
                <a:gd name="T23" fmla="*/ 0 h 17"/>
                <a:gd name="T24" fmla="*/ 19 w 23"/>
                <a:gd name="T25" fmla="*/ 0 h 17"/>
                <a:gd name="T26" fmla="*/ 20 w 23"/>
                <a:gd name="T27" fmla="*/ 2 h 17"/>
                <a:gd name="T28" fmla="*/ 22 w 23"/>
                <a:gd name="T29" fmla="*/ 3 h 17"/>
                <a:gd name="T30" fmla="*/ 22 w 23"/>
                <a:gd name="T31" fmla="*/ 3 h 17"/>
                <a:gd name="T32" fmla="*/ 23 w 23"/>
                <a:gd name="T33" fmla="*/ 12 h 17"/>
                <a:gd name="T34" fmla="*/ 23 w 23"/>
                <a:gd name="T35" fmla="*/ 15 h 17"/>
                <a:gd name="T36" fmla="*/ 23 w 23"/>
                <a:gd name="T37" fmla="*/ 16 h 17"/>
                <a:gd name="T38" fmla="*/ 22 w 23"/>
                <a:gd name="T39"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 h="17">
                  <a:moveTo>
                    <a:pt x="22" y="16"/>
                  </a:moveTo>
                  <a:lnTo>
                    <a:pt x="22" y="16"/>
                  </a:lnTo>
                  <a:lnTo>
                    <a:pt x="9" y="17"/>
                  </a:lnTo>
                  <a:lnTo>
                    <a:pt x="1" y="16"/>
                  </a:lnTo>
                  <a:lnTo>
                    <a:pt x="0" y="15"/>
                  </a:lnTo>
                  <a:lnTo>
                    <a:pt x="0" y="13"/>
                  </a:lnTo>
                  <a:lnTo>
                    <a:pt x="0" y="13"/>
                  </a:lnTo>
                  <a:lnTo>
                    <a:pt x="3" y="4"/>
                  </a:lnTo>
                  <a:lnTo>
                    <a:pt x="4" y="2"/>
                  </a:lnTo>
                  <a:lnTo>
                    <a:pt x="6" y="0"/>
                  </a:lnTo>
                  <a:lnTo>
                    <a:pt x="6" y="0"/>
                  </a:lnTo>
                  <a:lnTo>
                    <a:pt x="14" y="0"/>
                  </a:lnTo>
                  <a:lnTo>
                    <a:pt x="19" y="0"/>
                  </a:lnTo>
                  <a:lnTo>
                    <a:pt x="20" y="2"/>
                  </a:lnTo>
                  <a:lnTo>
                    <a:pt x="22" y="3"/>
                  </a:lnTo>
                  <a:lnTo>
                    <a:pt x="22" y="3"/>
                  </a:lnTo>
                  <a:lnTo>
                    <a:pt x="23" y="12"/>
                  </a:lnTo>
                  <a:lnTo>
                    <a:pt x="23" y="15"/>
                  </a:lnTo>
                  <a:lnTo>
                    <a:pt x="23" y="16"/>
                  </a:lnTo>
                  <a:lnTo>
                    <a:pt x="22" y="16"/>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77" name="Freeform 997"/>
            <p:cNvSpPr>
              <a:spLocks/>
            </p:cNvSpPr>
            <p:nvPr/>
          </p:nvSpPr>
          <p:spPr bwMode="auto">
            <a:xfrm>
              <a:off x="7143751" y="1851454"/>
              <a:ext cx="36513" cy="26988"/>
            </a:xfrm>
            <a:custGeom>
              <a:avLst/>
              <a:gdLst>
                <a:gd name="T0" fmla="*/ 22 w 23"/>
                <a:gd name="T1" fmla="*/ 16 h 17"/>
                <a:gd name="T2" fmla="*/ 22 w 23"/>
                <a:gd name="T3" fmla="*/ 16 h 17"/>
                <a:gd name="T4" fmla="*/ 9 w 23"/>
                <a:gd name="T5" fmla="*/ 17 h 17"/>
                <a:gd name="T6" fmla="*/ 1 w 23"/>
                <a:gd name="T7" fmla="*/ 16 h 17"/>
                <a:gd name="T8" fmla="*/ 0 w 23"/>
                <a:gd name="T9" fmla="*/ 15 h 17"/>
                <a:gd name="T10" fmla="*/ 0 w 23"/>
                <a:gd name="T11" fmla="*/ 13 h 17"/>
                <a:gd name="T12" fmla="*/ 0 w 23"/>
                <a:gd name="T13" fmla="*/ 13 h 17"/>
                <a:gd name="T14" fmla="*/ 3 w 23"/>
                <a:gd name="T15" fmla="*/ 4 h 17"/>
                <a:gd name="T16" fmla="*/ 4 w 23"/>
                <a:gd name="T17" fmla="*/ 2 h 17"/>
                <a:gd name="T18" fmla="*/ 6 w 23"/>
                <a:gd name="T19" fmla="*/ 0 h 17"/>
                <a:gd name="T20" fmla="*/ 6 w 23"/>
                <a:gd name="T21" fmla="*/ 0 h 17"/>
                <a:gd name="T22" fmla="*/ 14 w 23"/>
                <a:gd name="T23" fmla="*/ 0 h 17"/>
                <a:gd name="T24" fmla="*/ 19 w 23"/>
                <a:gd name="T25" fmla="*/ 0 h 17"/>
                <a:gd name="T26" fmla="*/ 20 w 23"/>
                <a:gd name="T27" fmla="*/ 2 h 17"/>
                <a:gd name="T28" fmla="*/ 22 w 23"/>
                <a:gd name="T29" fmla="*/ 3 h 17"/>
                <a:gd name="T30" fmla="*/ 22 w 23"/>
                <a:gd name="T31" fmla="*/ 3 h 17"/>
                <a:gd name="T32" fmla="*/ 23 w 23"/>
                <a:gd name="T33" fmla="*/ 12 h 17"/>
                <a:gd name="T34" fmla="*/ 23 w 23"/>
                <a:gd name="T35" fmla="*/ 15 h 17"/>
                <a:gd name="T36" fmla="*/ 23 w 23"/>
                <a:gd name="T37" fmla="*/ 16 h 17"/>
                <a:gd name="T38" fmla="*/ 22 w 23"/>
                <a:gd name="T39"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 h="17">
                  <a:moveTo>
                    <a:pt x="22" y="16"/>
                  </a:moveTo>
                  <a:lnTo>
                    <a:pt x="22" y="16"/>
                  </a:lnTo>
                  <a:lnTo>
                    <a:pt x="9" y="17"/>
                  </a:lnTo>
                  <a:lnTo>
                    <a:pt x="1" y="16"/>
                  </a:lnTo>
                  <a:lnTo>
                    <a:pt x="0" y="15"/>
                  </a:lnTo>
                  <a:lnTo>
                    <a:pt x="0" y="13"/>
                  </a:lnTo>
                  <a:lnTo>
                    <a:pt x="0" y="13"/>
                  </a:lnTo>
                  <a:lnTo>
                    <a:pt x="3" y="4"/>
                  </a:lnTo>
                  <a:lnTo>
                    <a:pt x="4" y="2"/>
                  </a:lnTo>
                  <a:lnTo>
                    <a:pt x="6" y="0"/>
                  </a:lnTo>
                  <a:lnTo>
                    <a:pt x="6" y="0"/>
                  </a:lnTo>
                  <a:lnTo>
                    <a:pt x="14" y="0"/>
                  </a:lnTo>
                  <a:lnTo>
                    <a:pt x="19" y="0"/>
                  </a:lnTo>
                  <a:lnTo>
                    <a:pt x="20" y="2"/>
                  </a:lnTo>
                  <a:lnTo>
                    <a:pt x="22" y="3"/>
                  </a:lnTo>
                  <a:lnTo>
                    <a:pt x="22" y="3"/>
                  </a:lnTo>
                  <a:lnTo>
                    <a:pt x="23" y="12"/>
                  </a:lnTo>
                  <a:lnTo>
                    <a:pt x="23" y="15"/>
                  </a:lnTo>
                  <a:lnTo>
                    <a:pt x="23" y="16"/>
                  </a:lnTo>
                  <a:lnTo>
                    <a:pt x="22"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78" name="Freeform 998"/>
            <p:cNvSpPr>
              <a:spLocks/>
            </p:cNvSpPr>
            <p:nvPr/>
          </p:nvSpPr>
          <p:spPr bwMode="auto">
            <a:xfrm>
              <a:off x="7856538" y="1924479"/>
              <a:ext cx="87313" cy="65088"/>
            </a:xfrm>
            <a:custGeom>
              <a:avLst/>
              <a:gdLst>
                <a:gd name="T0" fmla="*/ 54 w 55"/>
                <a:gd name="T1" fmla="*/ 41 h 41"/>
                <a:gd name="T2" fmla="*/ 54 w 55"/>
                <a:gd name="T3" fmla="*/ 41 h 41"/>
                <a:gd name="T4" fmla="*/ 30 w 55"/>
                <a:gd name="T5" fmla="*/ 34 h 41"/>
                <a:gd name="T6" fmla="*/ 10 w 55"/>
                <a:gd name="T7" fmla="*/ 31 h 41"/>
                <a:gd name="T8" fmla="*/ 10 w 55"/>
                <a:gd name="T9" fmla="*/ 31 h 41"/>
                <a:gd name="T10" fmla="*/ 1 w 55"/>
                <a:gd name="T11" fmla="*/ 32 h 41"/>
                <a:gd name="T12" fmla="*/ 0 w 55"/>
                <a:gd name="T13" fmla="*/ 32 h 41"/>
                <a:gd name="T14" fmla="*/ 0 w 55"/>
                <a:gd name="T15" fmla="*/ 31 h 41"/>
                <a:gd name="T16" fmla="*/ 0 w 55"/>
                <a:gd name="T17" fmla="*/ 31 h 41"/>
                <a:gd name="T18" fmla="*/ 3 w 55"/>
                <a:gd name="T19" fmla="*/ 27 h 41"/>
                <a:gd name="T20" fmla="*/ 7 w 55"/>
                <a:gd name="T21" fmla="*/ 24 h 41"/>
                <a:gd name="T22" fmla="*/ 10 w 55"/>
                <a:gd name="T23" fmla="*/ 19 h 41"/>
                <a:gd name="T24" fmla="*/ 12 w 55"/>
                <a:gd name="T25" fmla="*/ 16 h 41"/>
                <a:gd name="T26" fmla="*/ 12 w 55"/>
                <a:gd name="T27" fmla="*/ 16 h 41"/>
                <a:gd name="T28" fmla="*/ 13 w 55"/>
                <a:gd name="T29" fmla="*/ 8 h 41"/>
                <a:gd name="T30" fmla="*/ 16 w 55"/>
                <a:gd name="T31" fmla="*/ 5 h 41"/>
                <a:gd name="T32" fmla="*/ 17 w 55"/>
                <a:gd name="T33" fmla="*/ 3 h 41"/>
                <a:gd name="T34" fmla="*/ 17 w 55"/>
                <a:gd name="T35" fmla="*/ 3 h 41"/>
                <a:gd name="T36" fmla="*/ 23 w 55"/>
                <a:gd name="T37" fmla="*/ 2 h 41"/>
                <a:gd name="T38" fmla="*/ 26 w 55"/>
                <a:gd name="T39" fmla="*/ 0 h 41"/>
                <a:gd name="T40" fmla="*/ 30 w 55"/>
                <a:gd name="T41" fmla="*/ 2 h 41"/>
                <a:gd name="T42" fmla="*/ 30 w 55"/>
                <a:gd name="T43" fmla="*/ 2 h 41"/>
                <a:gd name="T44" fmla="*/ 38 w 55"/>
                <a:gd name="T45" fmla="*/ 3 h 41"/>
                <a:gd name="T46" fmla="*/ 42 w 55"/>
                <a:gd name="T47" fmla="*/ 6 h 41"/>
                <a:gd name="T48" fmla="*/ 46 w 55"/>
                <a:gd name="T49" fmla="*/ 9 h 41"/>
                <a:gd name="T50" fmla="*/ 46 w 55"/>
                <a:gd name="T51" fmla="*/ 9 h 41"/>
                <a:gd name="T52" fmla="*/ 51 w 55"/>
                <a:gd name="T53" fmla="*/ 16 h 41"/>
                <a:gd name="T54" fmla="*/ 54 w 55"/>
                <a:gd name="T55" fmla="*/ 28 h 41"/>
                <a:gd name="T56" fmla="*/ 55 w 55"/>
                <a:gd name="T57" fmla="*/ 37 h 41"/>
                <a:gd name="T58" fmla="*/ 55 w 55"/>
                <a:gd name="T59" fmla="*/ 40 h 41"/>
                <a:gd name="T60" fmla="*/ 54 w 55"/>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41">
                  <a:moveTo>
                    <a:pt x="54" y="41"/>
                  </a:moveTo>
                  <a:lnTo>
                    <a:pt x="54" y="41"/>
                  </a:lnTo>
                  <a:lnTo>
                    <a:pt x="30" y="34"/>
                  </a:lnTo>
                  <a:lnTo>
                    <a:pt x="10" y="31"/>
                  </a:lnTo>
                  <a:lnTo>
                    <a:pt x="10" y="31"/>
                  </a:lnTo>
                  <a:lnTo>
                    <a:pt x="1" y="32"/>
                  </a:lnTo>
                  <a:lnTo>
                    <a:pt x="0" y="32"/>
                  </a:lnTo>
                  <a:lnTo>
                    <a:pt x="0" y="31"/>
                  </a:lnTo>
                  <a:lnTo>
                    <a:pt x="0" y="31"/>
                  </a:lnTo>
                  <a:lnTo>
                    <a:pt x="3" y="27"/>
                  </a:lnTo>
                  <a:lnTo>
                    <a:pt x="7" y="24"/>
                  </a:lnTo>
                  <a:lnTo>
                    <a:pt x="10" y="19"/>
                  </a:lnTo>
                  <a:lnTo>
                    <a:pt x="12" y="16"/>
                  </a:lnTo>
                  <a:lnTo>
                    <a:pt x="12" y="16"/>
                  </a:lnTo>
                  <a:lnTo>
                    <a:pt x="13" y="8"/>
                  </a:lnTo>
                  <a:lnTo>
                    <a:pt x="16" y="5"/>
                  </a:lnTo>
                  <a:lnTo>
                    <a:pt x="17" y="3"/>
                  </a:lnTo>
                  <a:lnTo>
                    <a:pt x="17" y="3"/>
                  </a:lnTo>
                  <a:lnTo>
                    <a:pt x="23" y="2"/>
                  </a:lnTo>
                  <a:lnTo>
                    <a:pt x="26" y="0"/>
                  </a:lnTo>
                  <a:lnTo>
                    <a:pt x="30" y="2"/>
                  </a:lnTo>
                  <a:lnTo>
                    <a:pt x="30" y="2"/>
                  </a:lnTo>
                  <a:lnTo>
                    <a:pt x="38" y="3"/>
                  </a:lnTo>
                  <a:lnTo>
                    <a:pt x="42" y="6"/>
                  </a:lnTo>
                  <a:lnTo>
                    <a:pt x="46" y="9"/>
                  </a:lnTo>
                  <a:lnTo>
                    <a:pt x="46" y="9"/>
                  </a:lnTo>
                  <a:lnTo>
                    <a:pt x="51" y="16"/>
                  </a:lnTo>
                  <a:lnTo>
                    <a:pt x="54" y="28"/>
                  </a:lnTo>
                  <a:lnTo>
                    <a:pt x="55" y="37"/>
                  </a:lnTo>
                  <a:lnTo>
                    <a:pt x="55" y="40"/>
                  </a:lnTo>
                  <a:lnTo>
                    <a:pt x="54" y="41"/>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79" name="Freeform 999"/>
            <p:cNvSpPr>
              <a:spLocks/>
            </p:cNvSpPr>
            <p:nvPr/>
          </p:nvSpPr>
          <p:spPr bwMode="auto">
            <a:xfrm>
              <a:off x="7856538" y="1924479"/>
              <a:ext cx="87313" cy="65088"/>
            </a:xfrm>
            <a:custGeom>
              <a:avLst/>
              <a:gdLst>
                <a:gd name="T0" fmla="*/ 54 w 55"/>
                <a:gd name="T1" fmla="*/ 41 h 41"/>
                <a:gd name="T2" fmla="*/ 54 w 55"/>
                <a:gd name="T3" fmla="*/ 41 h 41"/>
                <a:gd name="T4" fmla="*/ 30 w 55"/>
                <a:gd name="T5" fmla="*/ 34 h 41"/>
                <a:gd name="T6" fmla="*/ 10 w 55"/>
                <a:gd name="T7" fmla="*/ 31 h 41"/>
                <a:gd name="T8" fmla="*/ 10 w 55"/>
                <a:gd name="T9" fmla="*/ 31 h 41"/>
                <a:gd name="T10" fmla="*/ 1 w 55"/>
                <a:gd name="T11" fmla="*/ 32 h 41"/>
                <a:gd name="T12" fmla="*/ 0 w 55"/>
                <a:gd name="T13" fmla="*/ 32 h 41"/>
                <a:gd name="T14" fmla="*/ 0 w 55"/>
                <a:gd name="T15" fmla="*/ 31 h 41"/>
                <a:gd name="T16" fmla="*/ 0 w 55"/>
                <a:gd name="T17" fmla="*/ 31 h 41"/>
                <a:gd name="T18" fmla="*/ 3 w 55"/>
                <a:gd name="T19" fmla="*/ 27 h 41"/>
                <a:gd name="T20" fmla="*/ 7 w 55"/>
                <a:gd name="T21" fmla="*/ 24 h 41"/>
                <a:gd name="T22" fmla="*/ 10 w 55"/>
                <a:gd name="T23" fmla="*/ 19 h 41"/>
                <a:gd name="T24" fmla="*/ 12 w 55"/>
                <a:gd name="T25" fmla="*/ 16 h 41"/>
                <a:gd name="T26" fmla="*/ 12 w 55"/>
                <a:gd name="T27" fmla="*/ 16 h 41"/>
                <a:gd name="T28" fmla="*/ 13 w 55"/>
                <a:gd name="T29" fmla="*/ 8 h 41"/>
                <a:gd name="T30" fmla="*/ 16 w 55"/>
                <a:gd name="T31" fmla="*/ 5 h 41"/>
                <a:gd name="T32" fmla="*/ 17 w 55"/>
                <a:gd name="T33" fmla="*/ 3 h 41"/>
                <a:gd name="T34" fmla="*/ 17 w 55"/>
                <a:gd name="T35" fmla="*/ 3 h 41"/>
                <a:gd name="T36" fmla="*/ 23 w 55"/>
                <a:gd name="T37" fmla="*/ 2 h 41"/>
                <a:gd name="T38" fmla="*/ 26 w 55"/>
                <a:gd name="T39" fmla="*/ 0 h 41"/>
                <a:gd name="T40" fmla="*/ 30 w 55"/>
                <a:gd name="T41" fmla="*/ 2 h 41"/>
                <a:gd name="T42" fmla="*/ 30 w 55"/>
                <a:gd name="T43" fmla="*/ 2 h 41"/>
                <a:gd name="T44" fmla="*/ 38 w 55"/>
                <a:gd name="T45" fmla="*/ 3 h 41"/>
                <a:gd name="T46" fmla="*/ 42 w 55"/>
                <a:gd name="T47" fmla="*/ 6 h 41"/>
                <a:gd name="T48" fmla="*/ 46 w 55"/>
                <a:gd name="T49" fmla="*/ 9 h 41"/>
                <a:gd name="T50" fmla="*/ 46 w 55"/>
                <a:gd name="T51" fmla="*/ 9 h 41"/>
                <a:gd name="T52" fmla="*/ 51 w 55"/>
                <a:gd name="T53" fmla="*/ 16 h 41"/>
                <a:gd name="T54" fmla="*/ 54 w 55"/>
                <a:gd name="T55" fmla="*/ 28 h 41"/>
                <a:gd name="T56" fmla="*/ 55 w 55"/>
                <a:gd name="T57" fmla="*/ 37 h 41"/>
                <a:gd name="T58" fmla="*/ 55 w 55"/>
                <a:gd name="T59" fmla="*/ 40 h 41"/>
                <a:gd name="T60" fmla="*/ 54 w 55"/>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41">
                  <a:moveTo>
                    <a:pt x="54" y="41"/>
                  </a:moveTo>
                  <a:lnTo>
                    <a:pt x="54" y="41"/>
                  </a:lnTo>
                  <a:lnTo>
                    <a:pt x="30" y="34"/>
                  </a:lnTo>
                  <a:lnTo>
                    <a:pt x="10" y="31"/>
                  </a:lnTo>
                  <a:lnTo>
                    <a:pt x="10" y="31"/>
                  </a:lnTo>
                  <a:lnTo>
                    <a:pt x="1" y="32"/>
                  </a:lnTo>
                  <a:lnTo>
                    <a:pt x="0" y="32"/>
                  </a:lnTo>
                  <a:lnTo>
                    <a:pt x="0" y="31"/>
                  </a:lnTo>
                  <a:lnTo>
                    <a:pt x="0" y="31"/>
                  </a:lnTo>
                  <a:lnTo>
                    <a:pt x="3" y="27"/>
                  </a:lnTo>
                  <a:lnTo>
                    <a:pt x="7" y="24"/>
                  </a:lnTo>
                  <a:lnTo>
                    <a:pt x="10" y="19"/>
                  </a:lnTo>
                  <a:lnTo>
                    <a:pt x="12" y="16"/>
                  </a:lnTo>
                  <a:lnTo>
                    <a:pt x="12" y="16"/>
                  </a:lnTo>
                  <a:lnTo>
                    <a:pt x="13" y="8"/>
                  </a:lnTo>
                  <a:lnTo>
                    <a:pt x="16" y="5"/>
                  </a:lnTo>
                  <a:lnTo>
                    <a:pt x="17" y="3"/>
                  </a:lnTo>
                  <a:lnTo>
                    <a:pt x="17" y="3"/>
                  </a:lnTo>
                  <a:lnTo>
                    <a:pt x="23" y="2"/>
                  </a:lnTo>
                  <a:lnTo>
                    <a:pt x="26" y="0"/>
                  </a:lnTo>
                  <a:lnTo>
                    <a:pt x="30" y="2"/>
                  </a:lnTo>
                  <a:lnTo>
                    <a:pt x="30" y="2"/>
                  </a:lnTo>
                  <a:lnTo>
                    <a:pt x="38" y="3"/>
                  </a:lnTo>
                  <a:lnTo>
                    <a:pt x="42" y="6"/>
                  </a:lnTo>
                  <a:lnTo>
                    <a:pt x="46" y="9"/>
                  </a:lnTo>
                  <a:lnTo>
                    <a:pt x="46" y="9"/>
                  </a:lnTo>
                  <a:lnTo>
                    <a:pt x="51" y="16"/>
                  </a:lnTo>
                  <a:lnTo>
                    <a:pt x="54" y="28"/>
                  </a:lnTo>
                  <a:lnTo>
                    <a:pt x="55" y="37"/>
                  </a:lnTo>
                  <a:lnTo>
                    <a:pt x="55" y="40"/>
                  </a:lnTo>
                  <a:lnTo>
                    <a:pt x="54" y="4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80" name="Freeform 1000"/>
            <p:cNvSpPr>
              <a:spLocks/>
            </p:cNvSpPr>
            <p:nvPr/>
          </p:nvSpPr>
          <p:spPr bwMode="auto">
            <a:xfrm>
              <a:off x="7856538" y="1895904"/>
              <a:ext cx="25400" cy="28575"/>
            </a:xfrm>
            <a:custGeom>
              <a:avLst/>
              <a:gdLst>
                <a:gd name="T0" fmla="*/ 3 w 16"/>
                <a:gd name="T1" fmla="*/ 18 h 18"/>
                <a:gd name="T2" fmla="*/ 3 w 16"/>
                <a:gd name="T3" fmla="*/ 18 h 18"/>
                <a:gd name="T4" fmla="*/ 1 w 16"/>
                <a:gd name="T5" fmla="*/ 16 h 18"/>
                <a:gd name="T6" fmla="*/ 0 w 16"/>
                <a:gd name="T7" fmla="*/ 14 h 18"/>
                <a:gd name="T8" fmla="*/ 1 w 16"/>
                <a:gd name="T9" fmla="*/ 7 h 18"/>
                <a:gd name="T10" fmla="*/ 4 w 16"/>
                <a:gd name="T11" fmla="*/ 3 h 18"/>
                <a:gd name="T12" fmla="*/ 9 w 16"/>
                <a:gd name="T13" fmla="*/ 0 h 18"/>
                <a:gd name="T14" fmla="*/ 9 w 16"/>
                <a:gd name="T15" fmla="*/ 0 h 18"/>
                <a:gd name="T16" fmla="*/ 12 w 16"/>
                <a:gd name="T17" fmla="*/ 0 h 18"/>
                <a:gd name="T18" fmla="*/ 13 w 16"/>
                <a:gd name="T19" fmla="*/ 1 h 18"/>
                <a:gd name="T20" fmla="*/ 16 w 16"/>
                <a:gd name="T21" fmla="*/ 5 h 18"/>
                <a:gd name="T22" fmla="*/ 16 w 16"/>
                <a:gd name="T23" fmla="*/ 5 h 18"/>
                <a:gd name="T24" fmla="*/ 14 w 16"/>
                <a:gd name="T25" fmla="*/ 8 h 18"/>
                <a:gd name="T26" fmla="*/ 12 w 16"/>
                <a:gd name="T27" fmla="*/ 14 h 18"/>
                <a:gd name="T28" fmla="*/ 9 w 16"/>
                <a:gd name="T29" fmla="*/ 18 h 18"/>
                <a:gd name="T30" fmla="*/ 6 w 16"/>
                <a:gd name="T31" fmla="*/ 18 h 18"/>
                <a:gd name="T32" fmla="*/ 3 w 16"/>
                <a:gd name="T3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8">
                  <a:moveTo>
                    <a:pt x="3" y="18"/>
                  </a:moveTo>
                  <a:lnTo>
                    <a:pt x="3" y="18"/>
                  </a:lnTo>
                  <a:lnTo>
                    <a:pt x="1" y="16"/>
                  </a:lnTo>
                  <a:lnTo>
                    <a:pt x="0" y="14"/>
                  </a:lnTo>
                  <a:lnTo>
                    <a:pt x="1" y="7"/>
                  </a:lnTo>
                  <a:lnTo>
                    <a:pt x="4" y="3"/>
                  </a:lnTo>
                  <a:lnTo>
                    <a:pt x="9" y="0"/>
                  </a:lnTo>
                  <a:lnTo>
                    <a:pt x="9" y="0"/>
                  </a:lnTo>
                  <a:lnTo>
                    <a:pt x="12" y="0"/>
                  </a:lnTo>
                  <a:lnTo>
                    <a:pt x="13" y="1"/>
                  </a:lnTo>
                  <a:lnTo>
                    <a:pt x="16" y="5"/>
                  </a:lnTo>
                  <a:lnTo>
                    <a:pt x="16" y="5"/>
                  </a:lnTo>
                  <a:lnTo>
                    <a:pt x="14" y="8"/>
                  </a:lnTo>
                  <a:lnTo>
                    <a:pt x="12" y="14"/>
                  </a:lnTo>
                  <a:lnTo>
                    <a:pt x="9" y="18"/>
                  </a:lnTo>
                  <a:lnTo>
                    <a:pt x="6" y="18"/>
                  </a:lnTo>
                  <a:lnTo>
                    <a:pt x="3" y="18"/>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81" name="Freeform 1001"/>
            <p:cNvSpPr>
              <a:spLocks/>
            </p:cNvSpPr>
            <p:nvPr/>
          </p:nvSpPr>
          <p:spPr bwMode="auto">
            <a:xfrm>
              <a:off x="7856538" y="1895904"/>
              <a:ext cx="25400" cy="28575"/>
            </a:xfrm>
            <a:custGeom>
              <a:avLst/>
              <a:gdLst>
                <a:gd name="T0" fmla="*/ 3 w 16"/>
                <a:gd name="T1" fmla="*/ 18 h 18"/>
                <a:gd name="T2" fmla="*/ 3 w 16"/>
                <a:gd name="T3" fmla="*/ 18 h 18"/>
                <a:gd name="T4" fmla="*/ 1 w 16"/>
                <a:gd name="T5" fmla="*/ 16 h 18"/>
                <a:gd name="T6" fmla="*/ 0 w 16"/>
                <a:gd name="T7" fmla="*/ 14 h 18"/>
                <a:gd name="T8" fmla="*/ 1 w 16"/>
                <a:gd name="T9" fmla="*/ 7 h 18"/>
                <a:gd name="T10" fmla="*/ 4 w 16"/>
                <a:gd name="T11" fmla="*/ 3 h 18"/>
                <a:gd name="T12" fmla="*/ 9 w 16"/>
                <a:gd name="T13" fmla="*/ 0 h 18"/>
                <a:gd name="T14" fmla="*/ 9 w 16"/>
                <a:gd name="T15" fmla="*/ 0 h 18"/>
                <a:gd name="T16" fmla="*/ 12 w 16"/>
                <a:gd name="T17" fmla="*/ 0 h 18"/>
                <a:gd name="T18" fmla="*/ 13 w 16"/>
                <a:gd name="T19" fmla="*/ 1 h 18"/>
                <a:gd name="T20" fmla="*/ 16 w 16"/>
                <a:gd name="T21" fmla="*/ 5 h 18"/>
                <a:gd name="T22" fmla="*/ 16 w 16"/>
                <a:gd name="T23" fmla="*/ 5 h 18"/>
                <a:gd name="T24" fmla="*/ 14 w 16"/>
                <a:gd name="T25" fmla="*/ 8 h 18"/>
                <a:gd name="T26" fmla="*/ 12 w 16"/>
                <a:gd name="T27" fmla="*/ 14 h 18"/>
                <a:gd name="T28" fmla="*/ 9 w 16"/>
                <a:gd name="T29" fmla="*/ 18 h 18"/>
                <a:gd name="T30" fmla="*/ 6 w 16"/>
                <a:gd name="T31" fmla="*/ 18 h 18"/>
                <a:gd name="T32" fmla="*/ 3 w 16"/>
                <a:gd name="T3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8">
                  <a:moveTo>
                    <a:pt x="3" y="18"/>
                  </a:moveTo>
                  <a:lnTo>
                    <a:pt x="3" y="18"/>
                  </a:lnTo>
                  <a:lnTo>
                    <a:pt x="1" y="16"/>
                  </a:lnTo>
                  <a:lnTo>
                    <a:pt x="0" y="14"/>
                  </a:lnTo>
                  <a:lnTo>
                    <a:pt x="1" y="7"/>
                  </a:lnTo>
                  <a:lnTo>
                    <a:pt x="4" y="3"/>
                  </a:lnTo>
                  <a:lnTo>
                    <a:pt x="9" y="0"/>
                  </a:lnTo>
                  <a:lnTo>
                    <a:pt x="9" y="0"/>
                  </a:lnTo>
                  <a:lnTo>
                    <a:pt x="12" y="0"/>
                  </a:lnTo>
                  <a:lnTo>
                    <a:pt x="13" y="1"/>
                  </a:lnTo>
                  <a:lnTo>
                    <a:pt x="16" y="5"/>
                  </a:lnTo>
                  <a:lnTo>
                    <a:pt x="16" y="5"/>
                  </a:lnTo>
                  <a:lnTo>
                    <a:pt x="14" y="8"/>
                  </a:lnTo>
                  <a:lnTo>
                    <a:pt x="12" y="14"/>
                  </a:lnTo>
                  <a:lnTo>
                    <a:pt x="9" y="18"/>
                  </a:lnTo>
                  <a:lnTo>
                    <a:pt x="6" y="18"/>
                  </a:lnTo>
                  <a:lnTo>
                    <a:pt x="3"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82" name="Freeform 1002"/>
            <p:cNvSpPr>
              <a:spLocks/>
            </p:cNvSpPr>
            <p:nvPr/>
          </p:nvSpPr>
          <p:spPr bwMode="auto">
            <a:xfrm>
              <a:off x="7773988" y="1706992"/>
              <a:ext cx="220663" cy="147638"/>
            </a:xfrm>
            <a:custGeom>
              <a:avLst/>
              <a:gdLst>
                <a:gd name="T0" fmla="*/ 87 w 139"/>
                <a:gd name="T1" fmla="*/ 81 h 93"/>
                <a:gd name="T2" fmla="*/ 84 w 139"/>
                <a:gd name="T3" fmla="*/ 75 h 93"/>
                <a:gd name="T4" fmla="*/ 78 w 139"/>
                <a:gd name="T5" fmla="*/ 75 h 93"/>
                <a:gd name="T6" fmla="*/ 66 w 139"/>
                <a:gd name="T7" fmla="*/ 79 h 93"/>
                <a:gd name="T8" fmla="*/ 55 w 139"/>
                <a:gd name="T9" fmla="*/ 78 h 93"/>
                <a:gd name="T10" fmla="*/ 48 w 139"/>
                <a:gd name="T11" fmla="*/ 74 h 93"/>
                <a:gd name="T12" fmla="*/ 43 w 139"/>
                <a:gd name="T13" fmla="*/ 74 h 93"/>
                <a:gd name="T14" fmla="*/ 42 w 139"/>
                <a:gd name="T15" fmla="*/ 82 h 93"/>
                <a:gd name="T16" fmla="*/ 36 w 139"/>
                <a:gd name="T17" fmla="*/ 93 h 93"/>
                <a:gd name="T18" fmla="*/ 26 w 139"/>
                <a:gd name="T19" fmla="*/ 91 h 93"/>
                <a:gd name="T20" fmla="*/ 20 w 139"/>
                <a:gd name="T21" fmla="*/ 84 h 93"/>
                <a:gd name="T22" fmla="*/ 8 w 139"/>
                <a:gd name="T23" fmla="*/ 68 h 93"/>
                <a:gd name="T24" fmla="*/ 0 w 139"/>
                <a:gd name="T25" fmla="*/ 53 h 93"/>
                <a:gd name="T26" fmla="*/ 0 w 139"/>
                <a:gd name="T27" fmla="*/ 51 h 93"/>
                <a:gd name="T28" fmla="*/ 8 w 139"/>
                <a:gd name="T29" fmla="*/ 52 h 93"/>
                <a:gd name="T30" fmla="*/ 8 w 139"/>
                <a:gd name="T31" fmla="*/ 46 h 93"/>
                <a:gd name="T32" fmla="*/ 6 w 139"/>
                <a:gd name="T33" fmla="*/ 32 h 93"/>
                <a:gd name="T34" fmla="*/ 8 w 139"/>
                <a:gd name="T35" fmla="*/ 29 h 93"/>
                <a:gd name="T36" fmla="*/ 10 w 139"/>
                <a:gd name="T37" fmla="*/ 27 h 93"/>
                <a:gd name="T38" fmla="*/ 10 w 139"/>
                <a:gd name="T39" fmla="*/ 13 h 93"/>
                <a:gd name="T40" fmla="*/ 26 w 139"/>
                <a:gd name="T41" fmla="*/ 4 h 93"/>
                <a:gd name="T42" fmla="*/ 32 w 139"/>
                <a:gd name="T43" fmla="*/ 0 h 93"/>
                <a:gd name="T44" fmla="*/ 37 w 139"/>
                <a:gd name="T45" fmla="*/ 4 h 93"/>
                <a:gd name="T46" fmla="*/ 48 w 139"/>
                <a:gd name="T47" fmla="*/ 16 h 93"/>
                <a:gd name="T48" fmla="*/ 50 w 139"/>
                <a:gd name="T49" fmla="*/ 23 h 93"/>
                <a:gd name="T50" fmla="*/ 59 w 139"/>
                <a:gd name="T51" fmla="*/ 23 h 93"/>
                <a:gd name="T52" fmla="*/ 61 w 139"/>
                <a:gd name="T53" fmla="*/ 24 h 93"/>
                <a:gd name="T54" fmla="*/ 65 w 139"/>
                <a:gd name="T55" fmla="*/ 35 h 93"/>
                <a:gd name="T56" fmla="*/ 69 w 139"/>
                <a:gd name="T57" fmla="*/ 32 h 93"/>
                <a:gd name="T58" fmla="*/ 69 w 139"/>
                <a:gd name="T59" fmla="*/ 16 h 93"/>
                <a:gd name="T60" fmla="*/ 74 w 139"/>
                <a:gd name="T61" fmla="*/ 9 h 93"/>
                <a:gd name="T62" fmla="*/ 74 w 139"/>
                <a:gd name="T63" fmla="*/ 3 h 93"/>
                <a:gd name="T64" fmla="*/ 78 w 139"/>
                <a:gd name="T65" fmla="*/ 3 h 93"/>
                <a:gd name="T66" fmla="*/ 85 w 139"/>
                <a:gd name="T67" fmla="*/ 11 h 93"/>
                <a:gd name="T68" fmla="*/ 100 w 139"/>
                <a:gd name="T69" fmla="*/ 23 h 93"/>
                <a:gd name="T70" fmla="*/ 114 w 139"/>
                <a:gd name="T71" fmla="*/ 23 h 93"/>
                <a:gd name="T72" fmla="*/ 132 w 139"/>
                <a:gd name="T73" fmla="*/ 35 h 93"/>
                <a:gd name="T74" fmla="*/ 137 w 139"/>
                <a:gd name="T75" fmla="*/ 40 h 93"/>
                <a:gd name="T76" fmla="*/ 130 w 139"/>
                <a:gd name="T77" fmla="*/ 45 h 93"/>
                <a:gd name="T78" fmla="*/ 130 w 139"/>
                <a:gd name="T79" fmla="*/ 55 h 93"/>
                <a:gd name="T80" fmla="*/ 129 w 139"/>
                <a:gd name="T81" fmla="*/ 62 h 93"/>
                <a:gd name="T82" fmla="*/ 116 w 139"/>
                <a:gd name="T83" fmla="*/ 72 h 93"/>
                <a:gd name="T84" fmla="*/ 104 w 139"/>
                <a:gd name="T85" fmla="*/ 68 h 93"/>
                <a:gd name="T86" fmla="*/ 97 w 139"/>
                <a:gd name="T87" fmla="*/ 62 h 93"/>
                <a:gd name="T88" fmla="*/ 94 w 139"/>
                <a:gd name="T89" fmla="*/ 45 h 93"/>
                <a:gd name="T90" fmla="*/ 98 w 139"/>
                <a:gd name="T91" fmla="*/ 35 h 93"/>
                <a:gd name="T92" fmla="*/ 92 w 139"/>
                <a:gd name="T93" fmla="*/ 32 h 93"/>
                <a:gd name="T94" fmla="*/ 87 w 139"/>
                <a:gd name="T95" fmla="*/ 35 h 93"/>
                <a:gd name="T96" fmla="*/ 85 w 139"/>
                <a:gd name="T97" fmla="*/ 46 h 93"/>
                <a:gd name="T98" fmla="*/ 94 w 139"/>
                <a:gd name="T99" fmla="*/ 68 h 93"/>
                <a:gd name="T100" fmla="*/ 100 w 139"/>
                <a:gd name="T101" fmla="*/ 72 h 93"/>
                <a:gd name="T102" fmla="*/ 108 w 139"/>
                <a:gd name="T103" fmla="*/ 78 h 93"/>
                <a:gd name="T104" fmla="*/ 100 w 139"/>
                <a:gd name="T105" fmla="*/ 7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9" h="93">
                  <a:moveTo>
                    <a:pt x="90" y="81"/>
                  </a:moveTo>
                  <a:lnTo>
                    <a:pt x="90" y="81"/>
                  </a:lnTo>
                  <a:lnTo>
                    <a:pt x="87" y="81"/>
                  </a:lnTo>
                  <a:lnTo>
                    <a:pt x="85" y="79"/>
                  </a:lnTo>
                  <a:lnTo>
                    <a:pt x="84" y="75"/>
                  </a:lnTo>
                  <a:lnTo>
                    <a:pt x="84" y="75"/>
                  </a:lnTo>
                  <a:lnTo>
                    <a:pt x="84" y="74"/>
                  </a:lnTo>
                  <a:lnTo>
                    <a:pt x="84" y="74"/>
                  </a:lnTo>
                  <a:lnTo>
                    <a:pt x="78" y="75"/>
                  </a:lnTo>
                  <a:lnTo>
                    <a:pt x="78" y="75"/>
                  </a:lnTo>
                  <a:lnTo>
                    <a:pt x="72" y="78"/>
                  </a:lnTo>
                  <a:lnTo>
                    <a:pt x="66" y="79"/>
                  </a:lnTo>
                  <a:lnTo>
                    <a:pt x="59" y="79"/>
                  </a:lnTo>
                  <a:lnTo>
                    <a:pt x="55" y="78"/>
                  </a:lnTo>
                  <a:lnTo>
                    <a:pt x="55" y="78"/>
                  </a:lnTo>
                  <a:lnTo>
                    <a:pt x="52" y="77"/>
                  </a:lnTo>
                  <a:lnTo>
                    <a:pt x="49" y="75"/>
                  </a:lnTo>
                  <a:lnTo>
                    <a:pt x="48" y="74"/>
                  </a:lnTo>
                  <a:lnTo>
                    <a:pt x="46" y="74"/>
                  </a:lnTo>
                  <a:lnTo>
                    <a:pt x="46" y="74"/>
                  </a:lnTo>
                  <a:lnTo>
                    <a:pt x="43" y="74"/>
                  </a:lnTo>
                  <a:lnTo>
                    <a:pt x="43" y="77"/>
                  </a:lnTo>
                  <a:lnTo>
                    <a:pt x="42" y="82"/>
                  </a:lnTo>
                  <a:lnTo>
                    <a:pt x="42" y="82"/>
                  </a:lnTo>
                  <a:lnTo>
                    <a:pt x="42" y="90"/>
                  </a:lnTo>
                  <a:lnTo>
                    <a:pt x="40" y="93"/>
                  </a:lnTo>
                  <a:lnTo>
                    <a:pt x="36" y="93"/>
                  </a:lnTo>
                  <a:lnTo>
                    <a:pt x="36" y="93"/>
                  </a:lnTo>
                  <a:lnTo>
                    <a:pt x="30" y="93"/>
                  </a:lnTo>
                  <a:lnTo>
                    <a:pt x="26" y="91"/>
                  </a:lnTo>
                  <a:lnTo>
                    <a:pt x="23" y="88"/>
                  </a:lnTo>
                  <a:lnTo>
                    <a:pt x="20" y="84"/>
                  </a:lnTo>
                  <a:lnTo>
                    <a:pt x="20" y="84"/>
                  </a:lnTo>
                  <a:lnTo>
                    <a:pt x="19" y="79"/>
                  </a:lnTo>
                  <a:lnTo>
                    <a:pt x="16" y="75"/>
                  </a:lnTo>
                  <a:lnTo>
                    <a:pt x="8" y="68"/>
                  </a:lnTo>
                  <a:lnTo>
                    <a:pt x="8" y="68"/>
                  </a:lnTo>
                  <a:lnTo>
                    <a:pt x="1" y="58"/>
                  </a:lnTo>
                  <a:lnTo>
                    <a:pt x="0" y="53"/>
                  </a:lnTo>
                  <a:lnTo>
                    <a:pt x="0" y="52"/>
                  </a:lnTo>
                  <a:lnTo>
                    <a:pt x="0" y="51"/>
                  </a:lnTo>
                  <a:lnTo>
                    <a:pt x="0" y="51"/>
                  </a:lnTo>
                  <a:lnTo>
                    <a:pt x="4" y="51"/>
                  </a:lnTo>
                  <a:lnTo>
                    <a:pt x="6" y="52"/>
                  </a:lnTo>
                  <a:lnTo>
                    <a:pt x="8" y="52"/>
                  </a:lnTo>
                  <a:lnTo>
                    <a:pt x="8" y="51"/>
                  </a:lnTo>
                  <a:lnTo>
                    <a:pt x="8" y="51"/>
                  </a:lnTo>
                  <a:lnTo>
                    <a:pt x="8" y="46"/>
                  </a:lnTo>
                  <a:lnTo>
                    <a:pt x="7" y="40"/>
                  </a:lnTo>
                  <a:lnTo>
                    <a:pt x="6" y="35"/>
                  </a:lnTo>
                  <a:lnTo>
                    <a:pt x="6" y="32"/>
                  </a:lnTo>
                  <a:lnTo>
                    <a:pt x="7" y="30"/>
                  </a:lnTo>
                  <a:lnTo>
                    <a:pt x="7" y="30"/>
                  </a:lnTo>
                  <a:lnTo>
                    <a:pt x="8" y="29"/>
                  </a:lnTo>
                  <a:lnTo>
                    <a:pt x="10" y="29"/>
                  </a:lnTo>
                  <a:lnTo>
                    <a:pt x="10" y="27"/>
                  </a:lnTo>
                  <a:lnTo>
                    <a:pt x="10" y="27"/>
                  </a:lnTo>
                  <a:lnTo>
                    <a:pt x="8" y="19"/>
                  </a:lnTo>
                  <a:lnTo>
                    <a:pt x="8" y="16"/>
                  </a:lnTo>
                  <a:lnTo>
                    <a:pt x="10" y="13"/>
                  </a:lnTo>
                  <a:lnTo>
                    <a:pt x="10" y="13"/>
                  </a:lnTo>
                  <a:lnTo>
                    <a:pt x="17" y="9"/>
                  </a:lnTo>
                  <a:lnTo>
                    <a:pt x="26" y="4"/>
                  </a:lnTo>
                  <a:lnTo>
                    <a:pt x="26" y="4"/>
                  </a:lnTo>
                  <a:lnTo>
                    <a:pt x="30" y="1"/>
                  </a:lnTo>
                  <a:lnTo>
                    <a:pt x="32" y="0"/>
                  </a:lnTo>
                  <a:lnTo>
                    <a:pt x="35" y="1"/>
                  </a:lnTo>
                  <a:lnTo>
                    <a:pt x="37" y="4"/>
                  </a:lnTo>
                  <a:lnTo>
                    <a:pt x="37" y="4"/>
                  </a:lnTo>
                  <a:lnTo>
                    <a:pt x="43" y="10"/>
                  </a:lnTo>
                  <a:lnTo>
                    <a:pt x="46" y="13"/>
                  </a:lnTo>
                  <a:lnTo>
                    <a:pt x="48" y="16"/>
                  </a:lnTo>
                  <a:lnTo>
                    <a:pt x="48" y="16"/>
                  </a:lnTo>
                  <a:lnTo>
                    <a:pt x="49" y="22"/>
                  </a:lnTo>
                  <a:lnTo>
                    <a:pt x="50" y="23"/>
                  </a:lnTo>
                  <a:lnTo>
                    <a:pt x="53" y="24"/>
                  </a:lnTo>
                  <a:lnTo>
                    <a:pt x="53" y="24"/>
                  </a:lnTo>
                  <a:lnTo>
                    <a:pt x="59" y="23"/>
                  </a:lnTo>
                  <a:lnTo>
                    <a:pt x="61" y="23"/>
                  </a:lnTo>
                  <a:lnTo>
                    <a:pt x="61" y="24"/>
                  </a:lnTo>
                  <a:lnTo>
                    <a:pt x="61" y="24"/>
                  </a:lnTo>
                  <a:lnTo>
                    <a:pt x="62" y="32"/>
                  </a:lnTo>
                  <a:lnTo>
                    <a:pt x="64" y="33"/>
                  </a:lnTo>
                  <a:lnTo>
                    <a:pt x="65" y="35"/>
                  </a:lnTo>
                  <a:lnTo>
                    <a:pt x="65" y="35"/>
                  </a:lnTo>
                  <a:lnTo>
                    <a:pt x="68" y="33"/>
                  </a:lnTo>
                  <a:lnTo>
                    <a:pt x="69" y="32"/>
                  </a:lnTo>
                  <a:lnTo>
                    <a:pt x="69" y="24"/>
                  </a:lnTo>
                  <a:lnTo>
                    <a:pt x="69" y="24"/>
                  </a:lnTo>
                  <a:lnTo>
                    <a:pt x="69" y="16"/>
                  </a:lnTo>
                  <a:lnTo>
                    <a:pt x="71" y="11"/>
                  </a:lnTo>
                  <a:lnTo>
                    <a:pt x="74" y="9"/>
                  </a:lnTo>
                  <a:lnTo>
                    <a:pt x="74" y="9"/>
                  </a:lnTo>
                  <a:lnTo>
                    <a:pt x="75" y="7"/>
                  </a:lnTo>
                  <a:lnTo>
                    <a:pt x="74" y="4"/>
                  </a:lnTo>
                  <a:lnTo>
                    <a:pt x="74" y="3"/>
                  </a:lnTo>
                  <a:lnTo>
                    <a:pt x="75" y="1"/>
                  </a:lnTo>
                  <a:lnTo>
                    <a:pt x="75" y="1"/>
                  </a:lnTo>
                  <a:lnTo>
                    <a:pt x="78" y="3"/>
                  </a:lnTo>
                  <a:lnTo>
                    <a:pt x="79" y="6"/>
                  </a:lnTo>
                  <a:lnTo>
                    <a:pt x="85" y="11"/>
                  </a:lnTo>
                  <a:lnTo>
                    <a:pt x="85" y="11"/>
                  </a:lnTo>
                  <a:lnTo>
                    <a:pt x="92" y="19"/>
                  </a:lnTo>
                  <a:lnTo>
                    <a:pt x="95" y="22"/>
                  </a:lnTo>
                  <a:lnTo>
                    <a:pt x="100" y="23"/>
                  </a:lnTo>
                  <a:lnTo>
                    <a:pt x="100" y="23"/>
                  </a:lnTo>
                  <a:lnTo>
                    <a:pt x="110" y="22"/>
                  </a:lnTo>
                  <a:lnTo>
                    <a:pt x="114" y="23"/>
                  </a:lnTo>
                  <a:lnTo>
                    <a:pt x="119" y="24"/>
                  </a:lnTo>
                  <a:lnTo>
                    <a:pt x="119" y="24"/>
                  </a:lnTo>
                  <a:lnTo>
                    <a:pt x="132" y="35"/>
                  </a:lnTo>
                  <a:lnTo>
                    <a:pt x="137" y="37"/>
                  </a:lnTo>
                  <a:lnTo>
                    <a:pt x="139" y="39"/>
                  </a:lnTo>
                  <a:lnTo>
                    <a:pt x="137" y="40"/>
                  </a:lnTo>
                  <a:lnTo>
                    <a:pt x="137" y="40"/>
                  </a:lnTo>
                  <a:lnTo>
                    <a:pt x="133" y="43"/>
                  </a:lnTo>
                  <a:lnTo>
                    <a:pt x="130" y="45"/>
                  </a:lnTo>
                  <a:lnTo>
                    <a:pt x="129" y="46"/>
                  </a:lnTo>
                  <a:lnTo>
                    <a:pt x="129" y="46"/>
                  </a:lnTo>
                  <a:lnTo>
                    <a:pt x="130" y="55"/>
                  </a:lnTo>
                  <a:lnTo>
                    <a:pt x="130" y="59"/>
                  </a:lnTo>
                  <a:lnTo>
                    <a:pt x="129" y="62"/>
                  </a:lnTo>
                  <a:lnTo>
                    <a:pt x="129" y="62"/>
                  </a:lnTo>
                  <a:lnTo>
                    <a:pt x="121" y="69"/>
                  </a:lnTo>
                  <a:lnTo>
                    <a:pt x="119" y="72"/>
                  </a:lnTo>
                  <a:lnTo>
                    <a:pt x="116" y="72"/>
                  </a:lnTo>
                  <a:lnTo>
                    <a:pt x="116" y="72"/>
                  </a:lnTo>
                  <a:lnTo>
                    <a:pt x="108" y="69"/>
                  </a:lnTo>
                  <a:lnTo>
                    <a:pt x="104" y="68"/>
                  </a:lnTo>
                  <a:lnTo>
                    <a:pt x="100" y="66"/>
                  </a:lnTo>
                  <a:lnTo>
                    <a:pt x="100" y="66"/>
                  </a:lnTo>
                  <a:lnTo>
                    <a:pt x="97" y="62"/>
                  </a:lnTo>
                  <a:lnTo>
                    <a:pt x="95" y="55"/>
                  </a:lnTo>
                  <a:lnTo>
                    <a:pt x="94" y="49"/>
                  </a:lnTo>
                  <a:lnTo>
                    <a:pt x="94" y="45"/>
                  </a:lnTo>
                  <a:lnTo>
                    <a:pt x="94" y="45"/>
                  </a:lnTo>
                  <a:lnTo>
                    <a:pt x="97" y="37"/>
                  </a:lnTo>
                  <a:lnTo>
                    <a:pt x="98" y="35"/>
                  </a:lnTo>
                  <a:lnTo>
                    <a:pt x="98" y="33"/>
                  </a:lnTo>
                  <a:lnTo>
                    <a:pt x="98" y="33"/>
                  </a:lnTo>
                  <a:lnTo>
                    <a:pt x="92" y="32"/>
                  </a:lnTo>
                  <a:lnTo>
                    <a:pt x="90" y="33"/>
                  </a:lnTo>
                  <a:lnTo>
                    <a:pt x="87" y="35"/>
                  </a:lnTo>
                  <a:lnTo>
                    <a:pt x="87" y="35"/>
                  </a:lnTo>
                  <a:lnTo>
                    <a:pt x="85" y="36"/>
                  </a:lnTo>
                  <a:lnTo>
                    <a:pt x="85" y="40"/>
                  </a:lnTo>
                  <a:lnTo>
                    <a:pt x="85" y="46"/>
                  </a:lnTo>
                  <a:lnTo>
                    <a:pt x="85" y="46"/>
                  </a:lnTo>
                  <a:lnTo>
                    <a:pt x="90" y="59"/>
                  </a:lnTo>
                  <a:lnTo>
                    <a:pt x="94" y="68"/>
                  </a:lnTo>
                  <a:lnTo>
                    <a:pt x="97" y="71"/>
                  </a:lnTo>
                  <a:lnTo>
                    <a:pt x="100" y="72"/>
                  </a:lnTo>
                  <a:lnTo>
                    <a:pt x="100" y="72"/>
                  </a:lnTo>
                  <a:lnTo>
                    <a:pt x="108" y="77"/>
                  </a:lnTo>
                  <a:lnTo>
                    <a:pt x="110" y="77"/>
                  </a:lnTo>
                  <a:lnTo>
                    <a:pt x="108" y="78"/>
                  </a:lnTo>
                  <a:lnTo>
                    <a:pt x="108" y="78"/>
                  </a:lnTo>
                  <a:lnTo>
                    <a:pt x="106" y="79"/>
                  </a:lnTo>
                  <a:lnTo>
                    <a:pt x="100" y="79"/>
                  </a:lnTo>
                  <a:lnTo>
                    <a:pt x="90" y="81"/>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83" name="Freeform 1003"/>
            <p:cNvSpPr>
              <a:spLocks/>
            </p:cNvSpPr>
            <p:nvPr/>
          </p:nvSpPr>
          <p:spPr bwMode="auto">
            <a:xfrm>
              <a:off x="7773988" y="1706992"/>
              <a:ext cx="220663" cy="147638"/>
            </a:xfrm>
            <a:custGeom>
              <a:avLst/>
              <a:gdLst>
                <a:gd name="T0" fmla="*/ 87 w 139"/>
                <a:gd name="T1" fmla="*/ 81 h 93"/>
                <a:gd name="T2" fmla="*/ 84 w 139"/>
                <a:gd name="T3" fmla="*/ 75 h 93"/>
                <a:gd name="T4" fmla="*/ 78 w 139"/>
                <a:gd name="T5" fmla="*/ 75 h 93"/>
                <a:gd name="T6" fmla="*/ 66 w 139"/>
                <a:gd name="T7" fmla="*/ 79 h 93"/>
                <a:gd name="T8" fmla="*/ 55 w 139"/>
                <a:gd name="T9" fmla="*/ 78 h 93"/>
                <a:gd name="T10" fmla="*/ 48 w 139"/>
                <a:gd name="T11" fmla="*/ 74 h 93"/>
                <a:gd name="T12" fmla="*/ 43 w 139"/>
                <a:gd name="T13" fmla="*/ 74 h 93"/>
                <a:gd name="T14" fmla="*/ 42 w 139"/>
                <a:gd name="T15" fmla="*/ 82 h 93"/>
                <a:gd name="T16" fmla="*/ 36 w 139"/>
                <a:gd name="T17" fmla="*/ 93 h 93"/>
                <a:gd name="T18" fmla="*/ 26 w 139"/>
                <a:gd name="T19" fmla="*/ 91 h 93"/>
                <a:gd name="T20" fmla="*/ 20 w 139"/>
                <a:gd name="T21" fmla="*/ 84 h 93"/>
                <a:gd name="T22" fmla="*/ 8 w 139"/>
                <a:gd name="T23" fmla="*/ 68 h 93"/>
                <a:gd name="T24" fmla="*/ 0 w 139"/>
                <a:gd name="T25" fmla="*/ 53 h 93"/>
                <a:gd name="T26" fmla="*/ 0 w 139"/>
                <a:gd name="T27" fmla="*/ 51 h 93"/>
                <a:gd name="T28" fmla="*/ 8 w 139"/>
                <a:gd name="T29" fmla="*/ 52 h 93"/>
                <a:gd name="T30" fmla="*/ 8 w 139"/>
                <a:gd name="T31" fmla="*/ 46 h 93"/>
                <a:gd name="T32" fmla="*/ 6 w 139"/>
                <a:gd name="T33" fmla="*/ 32 h 93"/>
                <a:gd name="T34" fmla="*/ 8 w 139"/>
                <a:gd name="T35" fmla="*/ 29 h 93"/>
                <a:gd name="T36" fmla="*/ 10 w 139"/>
                <a:gd name="T37" fmla="*/ 27 h 93"/>
                <a:gd name="T38" fmla="*/ 10 w 139"/>
                <a:gd name="T39" fmla="*/ 13 h 93"/>
                <a:gd name="T40" fmla="*/ 26 w 139"/>
                <a:gd name="T41" fmla="*/ 4 h 93"/>
                <a:gd name="T42" fmla="*/ 32 w 139"/>
                <a:gd name="T43" fmla="*/ 0 h 93"/>
                <a:gd name="T44" fmla="*/ 37 w 139"/>
                <a:gd name="T45" fmla="*/ 4 h 93"/>
                <a:gd name="T46" fmla="*/ 48 w 139"/>
                <a:gd name="T47" fmla="*/ 16 h 93"/>
                <a:gd name="T48" fmla="*/ 50 w 139"/>
                <a:gd name="T49" fmla="*/ 23 h 93"/>
                <a:gd name="T50" fmla="*/ 59 w 139"/>
                <a:gd name="T51" fmla="*/ 23 h 93"/>
                <a:gd name="T52" fmla="*/ 61 w 139"/>
                <a:gd name="T53" fmla="*/ 24 h 93"/>
                <a:gd name="T54" fmla="*/ 65 w 139"/>
                <a:gd name="T55" fmla="*/ 35 h 93"/>
                <a:gd name="T56" fmla="*/ 69 w 139"/>
                <a:gd name="T57" fmla="*/ 32 h 93"/>
                <a:gd name="T58" fmla="*/ 69 w 139"/>
                <a:gd name="T59" fmla="*/ 16 h 93"/>
                <a:gd name="T60" fmla="*/ 74 w 139"/>
                <a:gd name="T61" fmla="*/ 9 h 93"/>
                <a:gd name="T62" fmla="*/ 74 w 139"/>
                <a:gd name="T63" fmla="*/ 3 h 93"/>
                <a:gd name="T64" fmla="*/ 78 w 139"/>
                <a:gd name="T65" fmla="*/ 3 h 93"/>
                <a:gd name="T66" fmla="*/ 85 w 139"/>
                <a:gd name="T67" fmla="*/ 11 h 93"/>
                <a:gd name="T68" fmla="*/ 100 w 139"/>
                <a:gd name="T69" fmla="*/ 23 h 93"/>
                <a:gd name="T70" fmla="*/ 114 w 139"/>
                <a:gd name="T71" fmla="*/ 23 h 93"/>
                <a:gd name="T72" fmla="*/ 132 w 139"/>
                <a:gd name="T73" fmla="*/ 35 h 93"/>
                <a:gd name="T74" fmla="*/ 137 w 139"/>
                <a:gd name="T75" fmla="*/ 40 h 93"/>
                <a:gd name="T76" fmla="*/ 130 w 139"/>
                <a:gd name="T77" fmla="*/ 45 h 93"/>
                <a:gd name="T78" fmla="*/ 130 w 139"/>
                <a:gd name="T79" fmla="*/ 55 h 93"/>
                <a:gd name="T80" fmla="*/ 129 w 139"/>
                <a:gd name="T81" fmla="*/ 62 h 93"/>
                <a:gd name="T82" fmla="*/ 116 w 139"/>
                <a:gd name="T83" fmla="*/ 72 h 93"/>
                <a:gd name="T84" fmla="*/ 104 w 139"/>
                <a:gd name="T85" fmla="*/ 68 h 93"/>
                <a:gd name="T86" fmla="*/ 97 w 139"/>
                <a:gd name="T87" fmla="*/ 62 h 93"/>
                <a:gd name="T88" fmla="*/ 94 w 139"/>
                <a:gd name="T89" fmla="*/ 45 h 93"/>
                <a:gd name="T90" fmla="*/ 98 w 139"/>
                <a:gd name="T91" fmla="*/ 35 h 93"/>
                <a:gd name="T92" fmla="*/ 92 w 139"/>
                <a:gd name="T93" fmla="*/ 32 h 93"/>
                <a:gd name="T94" fmla="*/ 87 w 139"/>
                <a:gd name="T95" fmla="*/ 35 h 93"/>
                <a:gd name="T96" fmla="*/ 85 w 139"/>
                <a:gd name="T97" fmla="*/ 46 h 93"/>
                <a:gd name="T98" fmla="*/ 94 w 139"/>
                <a:gd name="T99" fmla="*/ 68 h 93"/>
                <a:gd name="T100" fmla="*/ 100 w 139"/>
                <a:gd name="T101" fmla="*/ 72 h 93"/>
                <a:gd name="T102" fmla="*/ 108 w 139"/>
                <a:gd name="T103" fmla="*/ 78 h 93"/>
                <a:gd name="T104" fmla="*/ 100 w 139"/>
                <a:gd name="T105" fmla="*/ 7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9" h="93">
                  <a:moveTo>
                    <a:pt x="90" y="81"/>
                  </a:moveTo>
                  <a:lnTo>
                    <a:pt x="90" y="81"/>
                  </a:lnTo>
                  <a:lnTo>
                    <a:pt x="87" y="81"/>
                  </a:lnTo>
                  <a:lnTo>
                    <a:pt x="85" y="79"/>
                  </a:lnTo>
                  <a:lnTo>
                    <a:pt x="84" y="75"/>
                  </a:lnTo>
                  <a:lnTo>
                    <a:pt x="84" y="75"/>
                  </a:lnTo>
                  <a:lnTo>
                    <a:pt x="84" y="74"/>
                  </a:lnTo>
                  <a:lnTo>
                    <a:pt x="84" y="74"/>
                  </a:lnTo>
                  <a:lnTo>
                    <a:pt x="78" y="75"/>
                  </a:lnTo>
                  <a:lnTo>
                    <a:pt x="78" y="75"/>
                  </a:lnTo>
                  <a:lnTo>
                    <a:pt x="72" y="78"/>
                  </a:lnTo>
                  <a:lnTo>
                    <a:pt x="66" y="79"/>
                  </a:lnTo>
                  <a:lnTo>
                    <a:pt x="59" y="79"/>
                  </a:lnTo>
                  <a:lnTo>
                    <a:pt x="55" y="78"/>
                  </a:lnTo>
                  <a:lnTo>
                    <a:pt x="55" y="78"/>
                  </a:lnTo>
                  <a:lnTo>
                    <a:pt x="52" y="77"/>
                  </a:lnTo>
                  <a:lnTo>
                    <a:pt x="49" y="75"/>
                  </a:lnTo>
                  <a:lnTo>
                    <a:pt x="48" y="74"/>
                  </a:lnTo>
                  <a:lnTo>
                    <a:pt x="46" y="74"/>
                  </a:lnTo>
                  <a:lnTo>
                    <a:pt x="46" y="74"/>
                  </a:lnTo>
                  <a:lnTo>
                    <a:pt x="43" y="74"/>
                  </a:lnTo>
                  <a:lnTo>
                    <a:pt x="43" y="77"/>
                  </a:lnTo>
                  <a:lnTo>
                    <a:pt x="42" y="82"/>
                  </a:lnTo>
                  <a:lnTo>
                    <a:pt x="42" y="82"/>
                  </a:lnTo>
                  <a:lnTo>
                    <a:pt x="42" y="90"/>
                  </a:lnTo>
                  <a:lnTo>
                    <a:pt x="40" y="93"/>
                  </a:lnTo>
                  <a:lnTo>
                    <a:pt x="36" y="93"/>
                  </a:lnTo>
                  <a:lnTo>
                    <a:pt x="36" y="93"/>
                  </a:lnTo>
                  <a:lnTo>
                    <a:pt x="30" y="93"/>
                  </a:lnTo>
                  <a:lnTo>
                    <a:pt x="26" y="91"/>
                  </a:lnTo>
                  <a:lnTo>
                    <a:pt x="23" y="88"/>
                  </a:lnTo>
                  <a:lnTo>
                    <a:pt x="20" y="84"/>
                  </a:lnTo>
                  <a:lnTo>
                    <a:pt x="20" y="84"/>
                  </a:lnTo>
                  <a:lnTo>
                    <a:pt x="19" y="79"/>
                  </a:lnTo>
                  <a:lnTo>
                    <a:pt x="16" y="75"/>
                  </a:lnTo>
                  <a:lnTo>
                    <a:pt x="8" y="68"/>
                  </a:lnTo>
                  <a:lnTo>
                    <a:pt x="8" y="68"/>
                  </a:lnTo>
                  <a:lnTo>
                    <a:pt x="1" y="58"/>
                  </a:lnTo>
                  <a:lnTo>
                    <a:pt x="0" y="53"/>
                  </a:lnTo>
                  <a:lnTo>
                    <a:pt x="0" y="52"/>
                  </a:lnTo>
                  <a:lnTo>
                    <a:pt x="0" y="51"/>
                  </a:lnTo>
                  <a:lnTo>
                    <a:pt x="0" y="51"/>
                  </a:lnTo>
                  <a:lnTo>
                    <a:pt x="4" y="51"/>
                  </a:lnTo>
                  <a:lnTo>
                    <a:pt x="6" y="52"/>
                  </a:lnTo>
                  <a:lnTo>
                    <a:pt x="8" y="52"/>
                  </a:lnTo>
                  <a:lnTo>
                    <a:pt x="8" y="51"/>
                  </a:lnTo>
                  <a:lnTo>
                    <a:pt x="8" y="51"/>
                  </a:lnTo>
                  <a:lnTo>
                    <a:pt x="8" y="46"/>
                  </a:lnTo>
                  <a:lnTo>
                    <a:pt x="7" y="40"/>
                  </a:lnTo>
                  <a:lnTo>
                    <a:pt x="6" y="35"/>
                  </a:lnTo>
                  <a:lnTo>
                    <a:pt x="6" y="32"/>
                  </a:lnTo>
                  <a:lnTo>
                    <a:pt x="7" y="30"/>
                  </a:lnTo>
                  <a:lnTo>
                    <a:pt x="7" y="30"/>
                  </a:lnTo>
                  <a:lnTo>
                    <a:pt x="8" y="29"/>
                  </a:lnTo>
                  <a:lnTo>
                    <a:pt x="10" y="29"/>
                  </a:lnTo>
                  <a:lnTo>
                    <a:pt x="10" y="27"/>
                  </a:lnTo>
                  <a:lnTo>
                    <a:pt x="10" y="27"/>
                  </a:lnTo>
                  <a:lnTo>
                    <a:pt x="8" y="19"/>
                  </a:lnTo>
                  <a:lnTo>
                    <a:pt x="8" y="16"/>
                  </a:lnTo>
                  <a:lnTo>
                    <a:pt x="10" y="13"/>
                  </a:lnTo>
                  <a:lnTo>
                    <a:pt x="10" y="13"/>
                  </a:lnTo>
                  <a:lnTo>
                    <a:pt x="17" y="9"/>
                  </a:lnTo>
                  <a:lnTo>
                    <a:pt x="26" y="4"/>
                  </a:lnTo>
                  <a:lnTo>
                    <a:pt x="26" y="4"/>
                  </a:lnTo>
                  <a:lnTo>
                    <a:pt x="30" y="1"/>
                  </a:lnTo>
                  <a:lnTo>
                    <a:pt x="32" y="0"/>
                  </a:lnTo>
                  <a:lnTo>
                    <a:pt x="35" y="1"/>
                  </a:lnTo>
                  <a:lnTo>
                    <a:pt x="37" y="4"/>
                  </a:lnTo>
                  <a:lnTo>
                    <a:pt x="37" y="4"/>
                  </a:lnTo>
                  <a:lnTo>
                    <a:pt x="43" y="10"/>
                  </a:lnTo>
                  <a:lnTo>
                    <a:pt x="46" y="13"/>
                  </a:lnTo>
                  <a:lnTo>
                    <a:pt x="48" y="16"/>
                  </a:lnTo>
                  <a:lnTo>
                    <a:pt x="48" y="16"/>
                  </a:lnTo>
                  <a:lnTo>
                    <a:pt x="49" y="22"/>
                  </a:lnTo>
                  <a:lnTo>
                    <a:pt x="50" y="23"/>
                  </a:lnTo>
                  <a:lnTo>
                    <a:pt x="53" y="24"/>
                  </a:lnTo>
                  <a:lnTo>
                    <a:pt x="53" y="24"/>
                  </a:lnTo>
                  <a:lnTo>
                    <a:pt x="59" y="23"/>
                  </a:lnTo>
                  <a:lnTo>
                    <a:pt x="61" y="23"/>
                  </a:lnTo>
                  <a:lnTo>
                    <a:pt x="61" y="24"/>
                  </a:lnTo>
                  <a:lnTo>
                    <a:pt x="61" y="24"/>
                  </a:lnTo>
                  <a:lnTo>
                    <a:pt x="62" y="32"/>
                  </a:lnTo>
                  <a:lnTo>
                    <a:pt x="64" y="33"/>
                  </a:lnTo>
                  <a:lnTo>
                    <a:pt x="65" y="35"/>
                  </a:lnTo>
                  <a:lnTo>
                    <a:pt x="65" y="35"/>
                  </a:lnTo>
                  <a:lnTo>
                    <a:pt x="68" y="33"/>
                  </a:lnTo>
                  <a:lnTo>
                    <a:pt x="69" y="32"/>
                  </a:lnTo>
                  <a:lnTo>
                    <a:pt x="69" y="24"/>
                  </a:lnTo>
                  <a:lnTo>
                    <a:pt x="69" y="24"/>
                  </a:lnTo>
                  <a:lnTo>
                    <a:pt x="69" y="16"/>
                  </a:lnTo>
                  <a:lnTo>
                    <a:pt x="71" y="11"/>
                  </a:lnTo>
                  <a:lnTo>
                    <a:pt x="74" y="9"/>
                  </a:lnTo>
                  <a:lnTo>
                    <a:pt x="74" y="9"/>
                  </a:lnTo>
                  <a:lnTo>
                    <a:pt x="75" y="7"/>
                  </a:lnTo>
                  <a:lnTo>
                    <a:pt x="74" y="4"/>
                  </a:lnTo>
                  <a:lnTo>
                    <a:pt x="74" y="3"/>
                  </a:lnTo>
                  <a:lnTo>
                    <a:pt x="75" y="1"/>
                  </a:lnTo>
                  <a:lnTo>
                    <a:pt x="75" y="1"/>
                  </a:lnTo>
                  <a:lnTo>
                    <a:pt x="78" y="3"/>
                  </a:lnTo>
                  <a:lnTo>
                    <a:pt x="79" y="6"/>
                  </a:lnTo>
                  <a:lnTo>
                    <a:pt x="85" y="11"/>
                  </a:lnTo>
                  <a:lnTo>
                    <a:pt x="85" y="11"/>
                  </a:lnTo>
                  <a:lnTo>
                    <a:pt x="92" y="19"/>
                  </a:lnTo>
                  <a:lnTo>
                    <a:pt x="95" y="22"/>
                  </a:lnTo>
                  <a:lnTo>
                    <a:pt x="100" y="23"/>
                  </a:lnTo>
                  <a:lnTo>
                    <a:pt x="100" y="23"/>
                  </a:lnTo>
                  <a:lnTo>
                    <a:pt x="110" y="22"/>
                  </a:lnTo>
                  <a:lnTo>
                    <a:pt x="114" y="23"/>
                  </a:lnTo>
                  <a:lnTo>
                    <a:pt x="119" y="24"/>
                  </a:lnTo>
                  <a:lnTo>
                    <a:pt x="119" y="24"/>
                  </a:lnTo>
                  <a:lnTo>
                    <a:pt x="132" y="35"/>
                  </a:lnTo>
                  <a:lnTo>
                    <a:pt x="137" y="37"/>
                  </a:lnTo>
                  <a:lnTo>
                    <a:pt x="139" y="39"/>
                  </a:lnTo>
                  <a:lnTo>
                    <a:pt x="137" y="40"/>
                  </a:lnTo>
                  <a:lnTo>
                    <a:pt x="137" y="40"/>
                  </a:lnTo>
                  <a:lnTo>
                    <a:pt x="133" y="43"/>
                  </a:lnTo>
                  <a:lnTo>
                    <a:pt x="130" y="45"/>
                  </a:lnTo>
                  <a:lnTo>
                    <a:pt x="129" y="46"/>
                  </a:lnTo>
                  <a:lnTo>
                    <a:pt x="129" y="46"/>
                  </a:lnTo>
                  <a:lnTo>
                    <a:pt x="130" y="55"/>
                  </a:lnTo>
                  <a:lnTo>
                    <a:pt x="130" y="59"/>
                  </a:lnTo>
                  <a:lnTo>
                    <a:pt x="129" y="62"/>
                  </a:lnTo>
                  <a:lnTo>
                    <a:pt x="129" y="62"/>
                  </a:lnTo>
                  <a:lnTo>
                    <a:pt x="121" y="69"/>
                  </a:lnTo>
                  <a:lnTo>
                    <a:pt x="119" y="72"/>
                  </a:lnTo>
                  <a:lnTo>
                    <a:pt x="116" y="72"/>
                  </a:lnTo>
                  <a:lnTo>
                    <a:pt x="116" y="72"/>
                  </a:lnTo>
                  <a:lnTo>
                    <a:pt x="108" y="69"/>
                  </a:lnTo>
                  <a:lnTo>
                    <a:pt x="104" y="68"/>
                  </a:lnTo>
                  <a:lnTo>
                    <a:pt x="100" y="66"/>
                  </a:lnTo>
                  <a:lnTo>
                    <a:pt x="100" y="66"/>
                  </a:lnTo>
                  <a:lnTo>
                    <a:pt x="97" y="62"/>
                  </a:lnTo>
                  <a:lnTo>
                    <a:pt x="95" y="55"/>
                  </a:lnTo>
                  <a:lnTo>
                    <a:pt x="94" y="49"/>
                  </a:lnTo>
                  <a:lnTo>
                    <a:pt x="94" y="45"/>
                  </a:lnTo>
                  <a:lnTo>
                    <a:pt x="94" y="45"/>
                  </a:lnTo>
                  <a:lnTo>
                    <a:pt x="97" y="37"/>
                  </a:lnTo>
                  <a:lnTo>
                    <a:pt x="98" y="35"/>
                  </a:lnTo>
                  <a:lnTo>
                    <a:pt x="98" y="33"/>
                  </a:lnTo>
                  <a:lnTo>
                    <a:pt x="98" y="33"/>
                  </a:lnTo>
                  <a:lnTo>
                    <a:pt x="92" y="32"/>
                  </a:lnTo>
                  <a:lnTo>
                    <a:pt x="90" y="33"/>
                  </a:lnTo>
                  <a:lnTo>
                    <a:pt x="87" y="35"/>
                  </a:lnTo>
                  <a:lnTo>
                    <a:pt x="87" y="35"/>
                  </a:lnTo>
                  <a:lnTo>
                    <a:pt x="85" y="36"/>
                  </a:lnTo>
                  <a:lnTo>
                    <a:pt x="85" y="40"/>
                  </a:lnTo>
                  <a:lnTo>
                    <a:pt x="85" y="46"/>
                  </a:lnTo>
                  <a:lnTo>
                    <a:pt x="85" y="46"/>
                  </a:lnTo>
                  <a:lnTo>
                    <a:pt x="90" y="59"/>
                  </a:lnTo>
                  <a:lnTo>
                    <a:pt x="94" y="68"/>
                  </a:lnTo>
                  <a:lnTo>
                    <a:pt x="97" y="71"/>
                  </a:lnTo>
                  <a:lnTo>
                    <a:pt x="100" y="72"/>
                  </a:lnTo>
                  <a:lnTo>
                    <a:pt x="100" y="72"/>
                  </a:lnTo>
                  <a:lnTo>
                    <a:pt x="108" y="77"/>
                  </a:lnTo>
                  <a:lnTo>
                    <a:pt x="110" y="77"/>
                  </a:lnTo>
                  <a:lnTo>
                    <a:pt x="108" y="78"/>
                  </a:lnTo>
                  <a:lnTo>
                    <a:pt x="108" y="78"/>
                  </a:lnTo>
                  <a:lnTo>
                    <a:pt x="106" y="79"/>
                  </a:lnTo>
                  <a:lnTo>
                    <a:pt x="100" y="79"/>
                  </a:lnTo>
                  <a:lnTo>
                    <a:pt x="90" y="8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84" name="Freeform 1004"/>
            <p:cNvSpPr>
              <a:spLocks/>
            </p:cNvSpPr>
            <p:nvPr/>
          </p:nvSpPr>
          <p:spPr bwMode="auto">
            <a:xfrm>
              <a:off x="8016876" y="1778429"/>
              <a:ext cx="112713" cy="76200"/>
            </a:xfrm>
            <a:custGeom>
              <a:avLst/>
              <a:gdLst>
                <a:gd name="T0" fmla="*/ 44 w 71"/>
                <a:gd name="T1" fmla="*/ 48 h 48"/>
                <a:gd name="T2" fmla="*/ 44 w 71"/>
                <a:gd name="T3" fmla="*/ 48 h 48"/>
                <a:gd name="T4" fmla="*/ 42 w 71"/>
                <a:gd name="T5" fmla="*/ 46 h 48"/>
                <a:gd name="T6" fmla="*/ 39 w 71"/>
                <a:gd name="T7" fmla="*/ 43 h 48"/>
                <a:gd name="T8" fmla="*/ 38 w 71"/>
                <a:gd name="T9" fmla="*/ 42 h 48"/>
                <a:gd name="T10" fmla="*/ 35 w 71"/>
                <a:gd name="T11" fmla="*/ 40 h 48"/>
                <a:gd name="T12" fmla="*/ 35 w 71"/>
                <a:gd name="T13" fmla="*/ 40 h 48"/>
                <a:gd name="T14" fmla="*/ 29 w 71"/>
                <a:gd name="T15" fmla="*/ 37 h 48"/>
                <a:gd name="T16" fmla="*/ 23 w 71"/>
                <a:gd name="T17" fmla="*/ 33 h 48"/>
                <a:gd name="T18" fmla="*/ 16 w 71"/>
                <a:gd name="T19" fmla="*/ 27 h 48"/>
                <a:gd name="T20" fmla="*/ 16 w 71"/>
                <a:gd name="T21" fmla="*/ 27 h 48"/>
                <a:gd name="T22" fmla="*/ 15 w 71"/>
                <a:gd name="T23" fmla="*/ 26 h 48"/>
                <a:gd name="T24" fmla="*/ 12 w 71"/>
                <a:gd name="T25" fmla="*/ 21 h 48"/>
                <a:gd name="T26" fmla="*/ 8 w 71"/>
                <a:gd name="T27" fmla="*/ 14 h 48"/>
                <a:gd name="T28" fmla="*/ 8 w 71"/>
                <a:gd name="T29" fmla="*/ 14 h 48"/>
                <a:gd name="T30" fmla="*/ 2 w 71"/>
                <a:gd name="T31" fmla="*/ 6 h 48"/>
                <a:gd name="T32" fmla="*/ 0 w 71"/>
                <a:gd name="T33" fmla="*/ 3 h 48"/>
                <a:gd name="T34" fmla="*/ 0 w 71"/>
                <a:gd name="T35" fmla="*/ 0 h 48"/>
                <a:gd name="T36" fmla="*/ 0 w 71"/>
                <a:gd name="T37" fmla="*/ 0 h 48"/>
                <a:gd name="T38" fmla="*/ 2 w 71"/>
                <a:gd name="T39" fmla="*/ 0 h 48"/>
                <a:gd name="T40" fmla="*/ 5 w 71"/>
                <a:gd name="T41" fmla="*/ 3 h 48"/>
                <a:gd name="T42" fmla="*/ 8 w 71"/>
                <a:gd name="T43" fmla="*/ 6 h 48"/>
                <a:gd name="T44" fmla="*/ 12 w 71"/>
                <a:gd name="T45" fmla="*/ 7 h 48"/>
                <a:gd name="T46" fmla="*/ 12 w 71"/>
                <a:gd name="T47" fmla="*/ 7 h 48"/>
                <a:gd name="T48" fmla="*/ 26 w 71"/>
                <a:gd name="T49" fmla="*/ 6 h 48"/>
                <a:gd name="T50" fmla="*/ 26 w 71"/>
                <a:gd name="T51" fmla="*/ 6 h 48"/>
                <a:gd name="T52" fmla="*/ 35 w 71"/>
                <a:gd name="T53" fmla="*/ 6 h 48"/>
                <a:gd name="T54" fmla="*/ 37 w 71"/>
                <a:gd name="T55" fmla="*/ 7 h 48"/>
                <a:gd name="T56" fmla="*/ 35 w 71"/>
                <a:gd name="T57" fmla="*/ 8 h 48"/>
                <a:gd name="T58" fmla="*/ 35 w 71"/>
                <a:gd name="T59" fmla="*/ 8 h 48"/>
                <a:gd name="T60" fmla="*/ 32 w 71"/>
                <a:gd name="T61" fmla="*/ 13 h 48"/>
                <a:gd name="T62" fmla="*/ 34 w 71"/>
                <a:gd name="T63" fmla="*/ 14 h 48"/>
                <a:gd name="T64" fmla="*/ 37 w 71"/>
                <a:gd name="T65" fmla="*/ 16 h 48"/>
                <a:gd name="T66" fmla="*/ 37 w 71"/>
                <a:gd name="T67" fmla="*/ 16 h 48"/>
                <a:gd name="T68" fmla="*/ 39 w 71"/>
                <a:gd name="T69" fmla="*/ 14 h 48"/>
                <a:gd name="T70" fmla="*/ 41 w 71"/>
                <a:gd name="T71" fmla="*/ 13 h 48"/>
                <a:gd name="T72" fmla="*/ 42 w 71"/>
                <a:gd name="T73" fmla="*/ 13 h 48"/>
                <a:gd name="T74" fmla="*/ 47 w 71"/>
                <a:gd name="T75" fmla="*/ 14 h 48"/>
                <a:gd name="T76" fmla="*/ 47 w 71"/>
                <a:gd name="T77" fmla="*/ 14 h 48"/>
                <a:gd name="T78" fmla="*/ 58 w 71"/>
                <a:gd name="T79" fmla="*/ 20 h 48"/>
                <a:gd name="T80" fmla="*/ 63 w 71"/>
                <a:gd name="T81" fmla="*/ 23 h 48"/>
                <a:gd name="T82" fmla="*/ 65 w 71"/>
                <a:gd name="T83" fmla="*/ 23 h 48"/>
                <a:gd name="T84" fmla="*/ 65 w 71"/>
                <a:gd name="T85" fmla="*/ 23 h 48"/>
                <a:gd name="T86" fmla="*/ 68 w 71"/>
                <a:gd name="T87" fmla="*/ 24 h 48"/>
                <a:gd name="T88" fmla="*/ 70 w 71"/>
                <a:gd name="T89" fmla="*/ 26 h 48"/>
                <a:gd name="T90" fmla="*/ 71 w 71"/>
                <a:gd name="T91" fmla="*/ 27 h 48"/>
                <a:gd name="T92" fmla="*/ 70 w 71"/>
                <a:gd name="T93" fmla="*/ 30 h 48"/>
                <a:gd name="T94" fmla="*/ 70 w 71"/>
                <a:gd name="T95" fmla="*/ 30 h 48"/>
                <a:gd name="T96" fmla="*/ 64 w 71"/>
                <a:gd name="T97" fmla="*/ 39 h 48"/>
                <a:gd name="T98" fmla="*/ 61 w 71"/>
                <a:gd name="T99" fmla="*/ 43 h 48"/>
                <a:gd name="T100" fmla="*/ 57 w 71"/>
                <a:gd name="T101" fmla="*/ 45 h 48"/>
                <a:gd name="T102" fmla="*/ 57 w 71"/>
                <a:gd name="T103" fmla="*/ 45 h 48"/>
                <a:gd name="T104" fmla="*/ 54 w 71"/>
                <a:gd name="T105" fmla="*/ 45 h 48"/>
                <a:gd name="T106" fmla="*/ 51 w 71"/>
                <a:gd name="T107" fmla="*/ 43 h 48"/>
                <a:gd name="T108" fmla="*/ 48 w 71"/>
                <a:gd name="T109" fmla="*/ 42 h 48"/>
                <a:gd name="T110" fmla="*/ 48 w 71"/>
                <a:gd name="T111" fmla="*/ 42 h 48"/>
                <a:gd name="T112" fmla="*/ 47 w 71"/>
                <a:gd name="T113" fmla="*/ 43 h 48"/>
                <a:gd name="T114" fmla="*/ 47 w 71"/>
                <a:gd name="T115" fmla="*/ 45 h 48"/>
                <a:gd name="T116" fmla="*/ 47 w 71"/>
                <a:gd name="T117" fmla="*/ 46 h 48"/>
                <a:gd name="T118" fmla="*/ 44 w 71"/>
                <a:gd name="T1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1" h="48">
                  <a:moveTo>
                    <a:pt x="44" y="48"/>
                  </a:moveTo>
                  <a:lnTo>
                    <a:pt x="44" y="48"/>
                  </a:lnTo>
                  <a:lnTo>
                    <a:pt x="42" y="46"/>
                  </a:lnTo>
                  <a:lnTo>
                    <a:pt x="39" y="43"/>
                  </a:lnTo>
                  <a:lnTo>
                    <a:pt x="38" y="42"/>
                  </a:lnTo>
                  <a:lnTo>
                    <a:pt x="35" y="40"/>
                  </a:lnTo>
                  <a:lnTo>
                    <a:pt x="35" y="40"/>
                  </a:lnTo>
                  <a:lnTo>
                    <a:pt x="29" y="37"/>
                  </a:lnTo>
                  <a:lnTo>
                    <a:pt x="23" y="33"/>
                  </a:lnTo>
                  <a:lnTo>
                    <a:pt x="16" y="27"/>
                  </a:lnTo>
                  <a:lnTo>
                    <a:pt x="16" y="27"/>
                  </a:lnTo>
                  <a:lnTo>
                    <a:pt x="15" y="26"/>
                  </a:lnTo>
                  <a:lnTo>
                    <a:pt x="12" y="21"/>
                  </a:lnTo>
                  <a:lnTo>
                    <a:pt x="8" y="14"/>
                  </a:lnTo>
                  <a:lnTo>
                    <a:pt x="8" y="14"/>
                  </a:lnTo>
                  <a:lnTo>
                    <a:pt x="2" y="6"/>
                  </a:lnTo>
                  <a:lnTo>
                    <a:pt x="0" y="3"/>
                  </a:lnTo>
                  <a:lnTo>
                    <a:pt x="0" y="0"/>
                  </a:lnTo>
                  <a:lnTo>
                    <a:pt x="0" y="0"/>
                  </a:lnTo>
                  <a:lnTo>
                    <a:pt x="2" y="0"/>
                  </a:lnTo>
                  <a:lnTo>
                    <a:pt x="5" y="3"/>
                  </a:lnTo>
                  <a:lnTo>
                    <a:pt x="8" y="6"/>
                  </a:lnTo>
                  <a:lnTo>
                    <a:pt x="12" y="7"/>
                  </a:lnTo>
                  <a:lnTo>
                    <a:pt x="12" y="7"/>
                  </a:lnTo>
                  <a:lnTo>
                    <a:pt x="26" y="6"/>
                  </a:lnTo>
                  <a:lnTo>
                    <a:pt x="26" y="6"/>
                  </a:lnTo>
                  <a:lnTo>
                    <a:pt x="35" y="6"/>
                  </a:lnTo>
                  <a:lnTo>
                    <a:pt x="37" y="7"/>
                  </a:lnTo>
                  <a:lnTo>
                    <a:pt x="35" y="8"/>
                  </a:lnTo>
                  <a:lnTo>
                    <a:pt x="35" y="8"/>
                  </a:lnTo>
                  <a:lnTo>
                    <a:pt x="32" y="13"/>
                  </a:lnTo>
                  <a:lnTo>
                    <a:pt x="34" y="14"/>
                  </a:lnTo>
                  <a:lnTo>
                    <a:pt x="37" y="16"/>
                  </a:lnTo>
                  <a:lnTo>
                    <a:pt x="37" y="16"/>
                  </a:lnTo>
                  <a:lnTo>
                    <a:pt x="39" y="14"/>
                  </a:lnTo>
                  <a:lnTo>
                    <a:pt x="41" y="13"/>
                  </a:lnTo>
                  <a:lnTo>
                    <a:pt x="42" y="13"/>
                  </a:lnTo>
                  <a:lnTo>
                    <a:pt x="47" y="14"/>
                  </a:lnTo>
                  <a:lnTo>
                    <a:pt x="47" y="14"/>
                  </a:lnTo>
                  <a:lnTo>
                    <a:pt x="58" y="20"/>
                  </a:lnTo>
                  <a:lnTo>
                    <a:pt x="63" y="23"/>
                  </a:lnTo>
                  <a:lnTo>
                    <a:pt x="65" y="23"/>
                  </a:lnTo>
                  <a:lnTo>
                    <a:pt x="65" y="23"/>
                  </a:lnTo>
                  <a:lnTo>
                    <a:pt x="68" y="24"/>
                  </a:lnTo>
                  <a:lnTo>
                    <a:pt x="70" y="26"/>
                  </a:lnTo>
                  <a:lnTo>
                    <a:pt x="71" y="27"/>
                  </a:lnTo>
                  <a:lnTo>
                    <a:pt x="70" y="30"/>
                  </a:lnTo>
                  <a:lnTo>
                    <a:pt x="70" y="30"/>
                  </a:lnTo>
                  <a:lnTo>
                    <a:pt x="64" y="39"/>
                  </a:lnTo>
                  <a:lnTo>
                    <a:pt x="61" y="43"/>
                  </a:lnTo>
                  <a:lnTo>
                    <a:pt x="57" y="45"/>
                  </a:lnTo>
                  <a:lnTo>
                    <a:pt x="57" y="45"/>
                  </a:lnTo>
                  <a:lnTo>
                    <a:pt x="54" y="45"/>
                  </a:lnTo>
                  <a:lnTo>
                    <a:pt x="51" y="43"/>
                  </a:lnTo>
                  <a:lnTo>
                    <a:pt x="48" y="42"/>
                  </a:lnTo>
                  <a:lnTo>
                    <a:pt x="48" y="42"/>
                  </a:lnTo>
                  <a:lnTo>
                    <a:pt x="47" y="43"/>
                  </a:lnTo>
                  <a:lnTo>
                    <a:pt x="47" y="45"/>
                  </a:lnTo>
                  <a:lnTo>
                    <a:pt x="47" y="46"/>
                  </a:lnTo>
                  <a:lnTo>
                    <a:pt x="44" y="48"/>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85" name="Freeform 1005"/>
            <p:cNvSpPr>
              <a:spLocks/>
            </p:cNvSpPr>
            <p:nvPr/>
          </p:nvSpPr>
          <p:spPr bwMode="auto">
            <a:xfrm>
              <a:off x="8016876" y="1778429"/>
              <a:ext cx="112713" cy="76200"/>
            </a:xfrm>
            <a:custGeom>
              <a:avLst/>
              <a:gdLst>
                <a:gd name="T0" fmla="*/ 44 w 71"/>
                <a:gd name="T1" fmla="*/ 48 h 48"/>
                <a:gd name="T2" fmla="*/ 44 w 71"/>
                <a:gd name="T3" fmla="*/ 48 h 48"/>
                <a:gd name="T4" fmla="*/ 42 w 71"/>
                <a:gd name="T5" fmla="*/ 46 h 48"/>
                <a:gd name="T6" fmla="*/ 39 w 71"/>
                <a:gd name="T7" fmla="*/ 43 h 48"/>
                <a:gd name="T8" fmla="*/ 38 w 71"/>
                <a:gd name="T9" fmla="*/ 42 h 48"/>
                <a:gd name="T10" fmla="*/ 35 w 71"/>
                <a:gd name="T11" fmla="*/ 40 h 48"/>
                <a:gd name="T12" fmla="*/ 35 w 71"/>
                <a:gd name="T13" fmla="*/ 40 h 48"/>
                <a:gd name="T14" fmla="*/ 29 w 71"/>
                <a:gd name="T15" fmla="*/ 37 h 48"/>
                <a:gd name="T16" fmla="*/ 23 w 71"/>
                <a:gd name="T17" fmla="*/ 33 h 48"/>
                <a:gd name="T18" fmla="*/ 16 w 71"/>
                <a:gd name="T19" fmla="*/ 27 h 48"/>
                <a:gd name="T20" fmla="*/ 16 w 71"/>
                <a:gd name="T21" fmla="*/ 27 h 48"/>
                <a:gd name="T22" fmla="*/ 15 w 71"/>
                <a:gd name="T23" fmla="*/ 26 h 48"/>
                <a:gd name="T24" fmla="*/ 12 w 71"/>
                <a:gd name="T25" fmla="*/ 21 h 48"/>
                <a:gd name="T26" fmla="*/ 8 w 71"/>
                <a:gd name="T27" fmla="*/ 14 h 48"/>
                <a:gd name="T28" fmla="*/ 8 w 71"/>
                <a:gd name="T29" fmla="*/ 14 h 48"/>
                <a:gd name="T30" fmla="*/ 2 w 71"/>
                <a:gd name="T31" fmla="*/ 6 h 48"/>
                <a:gd name="T32" fmla="*/ 0 w 71"/>
                <a:gd name="T33" fmla="*/ 3 h 48"/>
                <a:gd name="T34" fmla="*/ 0 w 71"/>
                <a:gd name="T35" fmla="*/ 0 h 48"/>
                <a:gd name="T36" fmla="*/ 0 w 71"/>
                <a:gd name="T37" fmla="*/ 0 h 48"/>
                <a:gd name="T38" fmla="*/ 2 w 71"/>
                <a:gd name="T39" fmla="*/ 0 h 48"/>
                <a:gd name="T40" fmla="*/ 5 w 71"/>
                <a:gd name="T41" fmla="*/ 3 h 48"/>
                <a:gd name="T42" fmla="*/ 8 w 71"/>
                <a:gd name="T43" fmla="*/ 6 h 48"/>
                <a:gd name="T44" fmla="*/ 12 w 71"/>
                <a:gd name="T45" fmla="*/ 7 h 48"/>
                <a:gd name="T46" fmla="*/ 12 w 71"/>
                <a:gd name="T47" fmla="*/ 7 h 48"/>
                <a:gd name="T48" fmla="*/ 26 w 71"/>
                <a:gd name="T49" fmla="*/ 6 h 48"/>
                <a:gd name="T50" fmla="*/ 26 w 71"/>
                <a:gd name="T51" fmla="*/ 6 h 48"/>
                <a:gd name="T52" fmla="*/ 35 w 71"/>
                <a:gd name="T53" fmla="*/ 6 h 48"/>
                <a:gd name="T54" fmla="*/ 37 w 71"/>
                <a:gd name="T55" fmla="*/ 7 h 48"/>
                <a:gd name="T56" fmla="*/ 35 w 71"/>
                <a:gd name="T57" fmla="*/ 8 h 48"/>
                <a:gd name="T58" fmla="*/ 35 w 71"/>
                <a:gd name="T59" fmla="*/ 8 h 48"/>
                <a:gd name="T60" fmla="*/ 32 w 71"/>
                <a:gd name="T61" fmla="*/ 13 h 48"/>
                <a:gd name="T62" fmla="*/ 34 w 71"/>
                <a:gd name="T63" fmla="*/ 14 h 48"/>
                <a:gd name="T64" fmla="*/ 37 w 71"/>
                <a:gd name="T65" fmla="*/ 16 h 48"/>
                <a:gd name="T66" fmla="*/ 37 w 71"/>
                <a:gd name="T67" fmla="*/ 16 h 48"/>
                <a:gd name="T68" fmla="*/ 39 w 71"/>
                <a:gd name="T69" fmla="*/ 14 h 48"/>
                <a:gd name="T70" fmla="*/ 41 w 71"/>
                <a:gd name="T71" fmla="*/ 13 h 48"/>
                <a:gd name="T72" fmla="*/ 42 w 71"/>
                <a:gd name="T73" fmla="*/ 13 h 48"/>
                <a:gd name="T74" fmla="*/ 47 w 71"/>
                <a:gd name="T75" fmla="*/ 14 h 48"/>
                <a:gd name="T76" fmla="*/ 47 w 71"/>
                <a:gd name="T77" fmla="*/ 14 h 48"/>
                <a:gd name="T78" fmla="*/ 58 w 71"/>
                <a:gd name="T79" fmla="*/ 20 h 48"/>
                <a:gd name="T80" fmla="*/ 63 w 71"/>
                <a:gd name="T81" fmla="*/ 23 h 48"/>
                <a:gd name="T82" fmla="*/ 65 w 71"/>
                <a:gd name="T83" fmla="*/ 23 h 48"/>
                <a:gd name="T84" fmla="*/ 65 w 71"/>
                <a:gd name="T85" fmla="*/ 23 h 48"/>
                <a:gd name="T86" fmla="*/ 68 w 71"/>
                <a:gd name="T87" fmla="*/ 24 h 48"/>
                <a:gd name="T88" fmla="*/ 70 w 71"/>
                <a:gd name="T89" fmla="*/ 26 h 48"/>
                <a:gd name="T90" fmla="*/ 71 w 71"/>
                <a:gd name="T91" fmla="*/ 27 h 48"/>
                <a:gd name="T92" fmla="*/ 70 w 71"/>
                <a:gd name="T93" fmla="*/ 30 h 48"/>
                <a:gd name="T94" fmla="*/ 70 w 71"/>
                <a:gd name="T95" fmla="*/ 30 h 48"/>
                <a:gd name="T96" fmla="*/ 64 w 71"/>
                <a:gd name="T97" fmla="*/ 39 h 48"/>
                <a:gd name="T98" fmla="*/ 61 w 71"/>
                <a:gd name="T99" fmla="*/ 43 h 48"/>
                <a:gd name="T100" fmla="*/ 57 w 71"/>
                <a:gd name="T101" fmla="*/ 45 h 48"/>
                <a:gd name="T102" fmla="*/ 57 w 71"/>
                <a:gd name="T103" fmla="*/ 45 h 48"/>
                <a:gd name="T104" fmla="*/ 54 w 71"/>
                <a:gd name="T105" fmla="*/ 45 h 48"/>
                <a:gd name="T106" fmla="*/ 51 w 71"/>
                <a:gd name="T107" fmla="*/ 43 h 48"/>
                <a:gd name="T108" fmla="*/ 48 w 71"/>
                <a:gd name="T109" fmla="*/ 42 h 48"/>
                <a:gd name="T110" fmla="*/ 48 w 71"/>
                <a:gd name="T111" fmla="*/ 42 h 48"/>
                <a:gd name="T112" fmla="*/ 47 w 71"/>
                <a:gd name="T113" fmla="*/ 43 h 48"/>
                <a:gd name="T114" fmla="*/ 47 w 71"/>
                <a:gd name="T115" fmla="*/ 45 h 48"/>
                <a:gd name="T116" fmla="*/ 47 w 71"/>
                <a:gd name="T117" fmla="*/ 46 h 48"/>
                <a:gd name="T118" fmla="*/ 44 w 71"/>
                <a:gd name="T1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1" h="48">
                  <a:moveTo>
                    <a:pt x="44" y="48"/>
                  </a:moveTo>
                  <a:lnTo>
                    <a:pt x="44" y="48"/>
                  </a:lnTo>
                  <a:lnTo>
                    <a:pt x="42" y="46"/>
                  </a:lnTo>
                  <a:lnTo>
                    <a:pt x="39" y="43"/>
                  </a:lnTo>
                  <a:lnTo>
                    <a:pt x="38" y="42"/>
                  </a:lnTo>
                  <a:lnTo>
                    <a:pt x="35" y="40"/>
                  </a:lnTo>
                  <a:lnTo>
                    <a:pt x="35" y="40"/>
                  </a:lnTo>
                  <a:lnTo>
                    <a:pt x="29" y="37"/>
                  </a:lnTo>
                  <a:lnTo>
                    <a:pt x="23" y="33"/>
                  </a:lnTo>
                  <a:lnTo>
                    <a:pt x="16" y="27"/>
                  </a:lnTo>
                  <a:lnTo>
                    <a:pt x="16" y="27"/>
                  </a:lnTo>
                  <a:lnTo>
                    <a:pt x="15" y="26"/>
                  </a:lnTo>
                  <a:lnTo>
                    <a:pt x="12" y="21"/>
                  </a:lnTo>
                  <a:lnTo>
                    <a:pt x="8" y="14"/>
                  </a:lnTo>
                  <a:lnTo>
                    <a:pt x="8" y="14"/>
                  </a:lnTo>
                  <a:lnTo>
                    <a:pt x="2" y="6"/>
                  </a:lnTo>
                  <a:lnTo>
                    <a:pt x="0" y="3"/>
                  </a:lnTo>
                  <a:lnTo>
                    <a:pt x="0" y="0"/>
                  </a:lnTo>
                  <a:lnTo>
                    <a:pt x="0" y="0"/>
                  </a:lnTo>
                  <a:lnTo>
                    <a:pt x="2" y="0"/>
                  </a:lnTo>
                  <a:lnTo>
                    <a:pt x="5" y="3"/>
                  </a:lnTo>
                  <a:lnTo>
                    <a:pt x="8" y="6"/>
                  </a:lnTo>
                  <a:lnTo>
                    <a:pt x="12" y="7"/>
                  </a:lnTo>
                  <a:lnTo>
                    <a:pt x="12" y="7"/>
                  </a:lnTo>
                  <a:lnTo>
                    <a:pt x="26" y="6"/>
                  </a:lnTo>
                  <a:lnTo>
                    <a:pt x="26" y="6"/>
                  </a:lnTo>
                  <a:lnTo>
                    <a:pt x="35" y="6"/>
                  </a:lnTo>
                  <a:lnTo>
                    <a:pt x="37" y="7"/>
                  </a:lnTo>
                  <a:lnTo>
                    <a:pt x="35" y="8"/>
                  </a:lnTo>
                  <a:lnTo>
                    <a:pt x="35" y="8"/>
                  </a:lnTo>
                  <a:lnTo>
                    <a:pt x="32" y="13"/>
                  </a:lnTo>
                  <a:lnTo>
                    <a:pt x="34" y="14"/>
                  </a:lnTo>
                  <a:lnTo>
                    <a:pt x="37" y="16"/>
                  </a:lnTo>
                  <a:lnTo>
                    <a:pt x="37" y="16"/>
                  </a:lnTo>
                  <a:lnTo>
                    <a:pt x="39" y="14"/>
                  </a:lnTo>
                  <a:lnTo>
                    <a:pt x="41" y="13"/>
                  </a:lnTo>
                  <a:lnTo>
                    <a:pt x="42" y="13"/>
                  </a:lnTo>
                  <a:lnTo>
                    <a:pt x="47" y="14"/>
                  </a:lnTo>
                  <a:lnTo>
                    <a:pt x="47" y="14"/>
                  </a:lnTo>
                  <a:lnTo>
                    <a:pt x="58" y="20"/>
                  </a:lnTo>
                  <a:lnTo>
                    <a:pt x="63" y="23"/>
                  </a:lnTo>
                  <a:lnTo>
                    <a:pt x="65" y="23"/>
                  </a:lnTo>
                  <a:lnTo>
                    <a:pt x="65" y="23"/>
                  </a:lnTo>
                  <a:lnTo>
                    <a:pt x="68" y="24"/>
                  </a:lnTo>
                  <a:lnTo>
                    <a:pt x="70" y="26"/>
                  </a:lnTo>
                  <a:lnTo>
                    <a:pt x="71" y="27"/>
                  </a:lnTo>
                  <a:lnTo>
                    <a:pt x="70" y="30"/>
                  </a:lnTo>
                  <a:lnTo>
                    <a:pt x="70" y="30"/>
                  </a:lnTo>
                  <a:lnTo>
                    <a:pt x="64" y="39"/>
                  </a:lnTo>
                  <a:lnTo>
                    <a:pt x="61" y="43"/>
                  </a:lnTo>
                  <a:lnTo>
                    <a:pt x="57" y="45"/>
                  </a:lnTo>
                  <a:lnTo>
                    <a:pt x="57" y="45"/>
                  </a:lnTo>
                  <a:lnTo>
                    <a:pt x="54" y="45"/>
                  </a:lnTo>
                  <a:lnTo>
                    <a:pt x="51" y="43"/>
                  </a:lnTo>
                  <a:lnTo>
                    <a:pt x="48" y="42"/>
                  </a:lnTo>
                  <a:lnTo>
                    <a:pt x="48" y="42"/>
                  </a:lnTo>
                  <a:lnTo>
                    <a:pt x="47" y="43"/>
                  </a:lnTo>
                  <a:lnTo>
                    <a:pt x="47" y="45"/>
                  </a:lnTo>
                  <a:lnTo>
                    <a:pt x="47" y="46"/>
                  </a:lnTo>
                  <a:lnTo>
                    <a:pt x="44" y="4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86" name="Freeform 1006"/>
            <p:cNvSpPr>
              <a:spLocks/>
            </p:cNvSpPr>
            <p:nvPr/>
          </p:nvSpPr>
          <p:spPr bwMode="auto">
            <a:xfrm>
              <a:off x="7742238" y="1897492"/>
              <a:ext cx="17463" cy="34925"/>
            </a:xfrm>
            <a:custGeom>
              <a:avLst/>
              <a:gdLst>
                <a:gd name="T0" fmla="*/ 11 w 11"/>
                <a:gd name="T1" fmla="*/ 22 h 22"/>
                <a:gd name="T2" fmla="*/ 11 w 11"/>
                <a:gd name="T3" fmla="*/ 22 h 22"/>
                <a:gd name="T4" fmla="*/ 8 w 11"/>
                <a:gd name="T5" fmla="*/ 20 h 22"/>
                <a:gd name="T6" fmla="*/ 5 w 11"/>
                <a:gd name="T7" fmla="*/ 19 h 22"/>
                <a:gd name="T8" fmla="*/ 1 w 11"/>
                <a:gd name="T9" fmla="*/ 12 h 22"/>
                <a:gd name="T10" fmla="*/ 0 w 11"/>
                <a:gd name="T11" fmla="*/ 3 h 22"/>
                <a:gd name="T12" fmla="*/ 0 w 11"/>
                <a:gd name="T13" fmla="*/ 0 h 22"/>
                <a:gd name="T14" fmla="*/ 1 w 11"/>
                <a:gd name="T15" fmla="*/ 0 h 22"/>
                <a:gd name="T16" fmla="*/ 1 w 11"/>
                <a:gd name="T17" fmla="*/ 0 h 22"/>
                <a:gd name="T18" fmla="*/ 2 w 11"/>
                <a:gd name="T19" fmla="*/ 0 h 22"/>
                <a:gd name="T20" fmla="*/ 5 w 11"/>
                <a:gd name="T21" fmla="*/ 3 h 22"/>
                <a:gd name="T22" fmla="*/ 10 w 11"/>
                <a:gd name="T23" fmla="*/ 10 h 22"/>
                <a:gd name="T24" fmla="*/ 11 w 11"/>
                <a:gd name="T25" fmla="*/ 17 h 22"/>
                <a:gd name="T26" fmla="*/ 11 w 11"/>
                <a:gd name="T27" fmla="*/ 20 h 22"/>
                <a:gd name="T28" fmla="*/ 11 w 11"/>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22">
                  <a:moveTo>
                    <a:pt x="11" y="22"/>
                  </a:moveTo>
                  <a:lnTo>
                    <a:pt x="11" y="22"/>
                  </a:lnTo>
                  <a:lnTo>
                    <a:pt x="8" y="20"/>
                  </a:lnTo>
                  <a:lnTo>
                    <a:pt x="5" y="19"/>
                  </a:lnTo>
                  <a:lnTo>
                    <a:pt x="1" y="12"/>
                  </a:lnTo>
                  <a:lnTo>
                    <a:pt x="0" y="3"/>
                  </a:lnTo>
                  <a:lnTo>
                    <a:pt x="0" y="0"/>
                  </a:lnTo>
                  <a:lnTo>
                    <a:pt x="1" y="0"/>
                  </a:lnTo>
                  <a:lnTo>
                    <a:pt x="1" y="0"/>
                  </a:lnTo>
                  <a:lnTo>
                    <a:pt x="2" y="0"/>
                  </a:lnTo>
                  <a:lnTo>
                    <a:pt x="5" y="3"/>
                  </a:lnTo>
                  <a:lnTo>
                    <a:pt x="10" y="10"/>
                  </a:lnTo>
                  <a:lnTo>
                    <a:pt x="11" y="17"/>
                  </a:lnTo>
                  <a:lnTo>
                    <a:pt x="11" y="20"/>
                  </a:lnTo>
                  <a:lnTo>
                    <a:pt x="11" y="22"/>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87" name="Freeform 1007"/>
            <p:cNvSpPr>
              <a:spLocks/>
            </p:cNvSpPr>
            <p:nvPr/>
          </p:nvSpPr>
          <p:spPr bwMode="auto">
            <a:xfrm>
              <a:off x="7742238" y="1897492"/>
              <a:ext cx="17463" cy="34925"/>
            </a:xfrm>
            <a:custGeom>
              <a:avLst/>
              <a:gdLst>
                <a:gd name="T0" fmla="*/ 11 w 11"/>
                <a:gd name="T1" fmla="*/ 22 h 22"/>
                <a:gd name="T2" fmla="*/ 11 w 11"/>
                <a:gd name="T3" fmla="*/ 22 h 22"/>
                <a:gd name="T4" fmla="*/ 8 w 11"/>
                <a:gd name="T5" fmla="*/ 20 h 22"/>
                <a:gd name="T6" fmla="*/ 5 w 11"/>
                <a:gd name="T7" fmla="*/ 19 h 22"/>
                <a:gd name="T8" fmla="*/ 1 w 11"/>
                <a:gd name="T9" fmla="*/ 12 h 22"/>
                <a:gd name="T10" fmla="*/ 0 w 11"/>
                <a:gd name="T11" fmla="*/ 3 h 22"/>
                <a:gd name="T12" fmla="*/ 0 w 11"/>
                <a:gd name="T13" fmla="*/ 0 h 22"/>
                <a:gd name="T14" fmla="*/ 1 w 11"/>
                <a:gd name="T15" fmla="*/ 0 h 22"/>
                <a:gd name="T16" fmla="*/ 1 w 11"/>
                <a:gd name="T17" fmla="*/ 0 h 22"/>
                <a:gd name="T18" fmla="*/ 2 w 11"/>
                <a:gd name="T19" fmla="*/ 0 h 22"/>
                <a:gd name="T20" fmla="*/ 5 w 11"/>
                <a:gd name="T21" fmla="*/ 3 h 22"/>
                <a:gd name="T22" fmla="*/ 10 w 11"/>
                <a:gd name="T23" fmla="*/ 10 h 22"/>
                <a:gd name="T24" fmla="*/ 11 w 11"/>
                <a:gd name="T25" fmla="*/ 17 h 22"/>
                <a:gd name="T26" fmla="*/ 11 w 11"/>
                <a:gd name="T27" fmla="*/ 20 h 22"/>
                <a:gd name="T28" fmla="*/ 11 w 11"/>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22">
                  <a:moveTo>
                    <a:pt x="11" y="22"/>
                  </a:moveTo>
                  <a:lnTo>
                    <a:pt x="11" y="22"/>
                  </a:lnTo>
                  <a:lnTo>
                    <a:pt x="8" y="20"/>
                  </a:lnTo>
                  <a:lnTo>
                    <a:pt x="5" y="19"/>
                  </a:lnTo>
                  <a:lnTo>
                    <a:pt x="1" y="12"/>
                  </a:lnTo>
                  <a:lnTo>
                    <a:pt x="0" y="3"/>
                  </a:lnTo>
                  <a:lnTo>
                    <a:pt x="0" y="0"/>
                  </a:lnTo>
                  <a:lnTo>
                    <a:pt x="1" y="0"/>
                  </a:lnTo>
                  <a:lnTo>
                    <a:pt x="1" y="0"/>
                  </a:lnTo>
                  <a:lnTo>
                    <a:pt x="2" y="0"/>
                  </a:lnTo>
                  <a:lnTo>
                    <a:pt x="5" y="3"/>
                  </a:lnTo>
                  <a:lnTo>
                    <a:pt x="10" y="10"/>
                  </a:lnTo>
                  <a:lnTo>
                    <a:pt x="11" y="17"/>
                  </a:lnTo>
                  <a:lnTo>
                    <a:pt x="11" y="20"/>
                  </a:lnTo>
                  <a:lnTo>
                    <a:pt x="11"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88" name="Freeform 1008"/>
            <p:cNvSpPr>
              <a:spLocks/>
            </p:cNvSpPr>
            <p:nvPr/>
          </p:nvSpPr>
          <p:spPr bwMode="auto">
            <a:xfrm>
              <a:off x="8574088" y="2237217"/>
              <a:ext cx="30163" cy="33338"/>
            </a:xfrm>
            <a:custGeom>
              <a:avLst/>
              <a:gdLst>
                <a:gd name="T0" fmla="*/ 9 w 19"/>
                <a:gd name="T1" fmla="*/ 21 h 21"/>
                <a:gd name="T2" fmla="*/ 9 w 19"/>
                <a:gd name="T3" fmla="*/ 21 h 21"/>
                <a:gd name="T4" fmla="*/ 6 w 19"/>
                <a:gd name="T5" fmla="*/ 18 h 21"/>
                <a:gd name="T6" fmla="*/ 4 w 19"/>
                <a:gd name="T7" fmla="*/ 13 h 21"/>
                <a:gd name="T8" fmla="*/ 3 w 19"/>
                <a:gd name="T9" fmla="*/ 9 h 21"/>
                <a:gd name="T10" fmla="*/ 1 w 19"/>
                <a:gd name="T11" fmla="*/ 6 h 21"/>
                <a:gd name="T12" fmla="*/ 1 w 19"/>
                <a:gd name="T13" fmla="*/ 6 h 21"/>
                <a:gd name="T14" fmla="*/ 0 w 19"/>
                <a:gd name="T15" fmla="*/ 5 h 21"/>
                <a:gd name="T16" fmla="*/ 0 w 19"/>
                <a:gd name="T17" fmla="*/ 3 h 21"/>
                <a:gd name="T18" fmla="*/ 1 w 19"/>
                <a:gd name="T19" fmla="*/ 2 h 21"/>
                <a:gd name="T20" fmla="*/ 6 w 19"/>
                <a:gd name="T21" fmla="*/ 2 h 21"/>
                <a:gd name="T22" fmla="*/ 6 w 19"/>
                <a:gd name="T23" fmla="*/ 2 h 21"/>
                <a:gd name="T24" fmla="*/ 14 w 19"/>
                <a:gd name="T25" fmla="*/ 0 h 21"/>
                <a:gd name="T26" fmla="*/ 17 w 19"/>
                <a:gd name="T27" fmla="*/ 0 h 21"/>
                <a:gd name="T28" fmla="*/ 19 w 19"/>
                <a:gd name="T29" fmla="*/ 2 h 21"/>
                <a:gd name="T30" fmla="*/ 17 w 19"/>
                <a:gd name="T31" fmla="*/ 2 h 21"/>
                <a:gd name="T32" fmla="*/ 17 w 19"/>
                <a:gd name="T33" fmla="*/ 2 h 21"/>
                <a:gd name="T34" fmla="*/ 14 w 19"/>
                <a:gd name="T35" fmla="*/ 13 h 21"/>
                <a:gd name="T36" fmla="*/ 13 w 19"/>
                <a:gd name="T37" fmla="*/ 19 h 21"/>
                <a:gd name="T38" fmla="*/ 11 w 19"/>
                <a:gd name="T39" fmla="*/ 21 h 21"/>
                <a:gd name="T40" fmla="*/ 9 w 19"/>
                <a:gd name="T41"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21">
                  <a:moveTo>
                    <a:pt x="9" y="21"/>
                  </a:moveTo>
                  <a:lnTo>
                    <a:pt x="9" y="21"/>
                  </a:lnTo>
                  <a:lnTo>
                    <a:pt x="6" y="18"/>
                  </a:lnTo>
                  <a:lnTo>
                    <a:pt x="4" y="13"/>
                  </a:lnTo>
                  <a:lnTo>
                    <a:pt x="3" y="9"/>
                  </a:lnTo>
                  <a:lnTo>
                    <a:pt x="1" y="6"/>
                  </a:lnTo>
                  <a:lnTo>
                    <a:pt x="1" y="6"/>
                  </a:lnTo>
                  <a:lnTo>
                    <a:pt x="0" y="5"/>
                  </a:lnTo>
                  <a:lnTo>
                    <a:pt x="0" y="3"/>
                  </a:lnTo>
                  <a:lnTo>
                    <a:pt x="1" y="2"/>
                  </a:lnTo>
                  <a:lnTo>
                    <a:pt x="6" y="2"/>
                  </a:lnTo>
                  <a:lnTo>
                    <a:pt x="6" y="2"/>
                  </a:lnTo>
                  <a:lnTo>
                    <a:pt x="14" y="0"/>
                  </a:lnTo>
                  <a:lnTo>
                    <a:pt x="17" y="0"/>
                  </a:lnTo>
                  <a:lnTo>
                    <a:pt x="19" y="2"/>
                  </a:lnTo>
                  <a:lnTo>
                    <a:pt x="17" y="2"/>
                  </a:lnTo>
                  <a:lnTo>
                    <a:pt x="17" y="2"/>
                  </a:lnTo>
                  <a:lnTo>
                    <a:pt x="14" y="13"/>
                  </a:lnTo>
                  <a:lnTo>
                    <a:pt x="13" y="19"/>
                  </a:lnTo>
                  <a:lnTo>
                    <a:pt x="11" y="21"/>
                  </a:lnTo>
                  <a:lnTo>
                    <a:pt x="9" y="21"/>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89" name="Freeform 1010"/>
            <p:cNvSpPr>
              <a:spLocks/>
            </p:cNvSpPr>
            <p:nvPr/>
          </p:nvSpPr>
          <p:spPr bwMode="auto">
            <a:xfrm>
              <a:off x="8574088" y="2237217"/>
              <a:ext cx="30163" cy="33338"/>
            </a:xfrm>
            <a:custGeom>
              <a:avLst/>
              <a:gdLst>
                <a:gd name="T0" fmla="*/ 9 w 19"/>
                <a:gd name="T1" fmla="*/ 21 h 21"/>
                <a:gd name="T2" fmla="*/ 9 w 19"/>
                <a:gd name="T3" fmla="*/ 21 h 21"/>
                <a:gd name="T4" fmla="*/ 6 w 19"/>
                <a:gd name="T5" fmla="*/ 18 h 21"/>
                <a:gd name="T6" fmla="*/ 4 w 19"/>
                <a:gd name="T7" fmla="*/ 13 h 21"/>
                <a:gd name="T8" fmla="*/ 3 w 19"/>
                <a:gd name="T9" fmla="*/ 9 h 21"/>
                <a:gd name="T10" fmla="*/ 1 w 19"/>
                <a:gd name="T11" fmla="*/ 6 h 21"/>
                <a:gd name="T12" fmla="*/ 1 w 19"/>
                <a:gd name="T13" fmla="*/ 6 h 21"/>
                <a:gd name="T14" fmla="*/ 0 w 19"/>
                <a:gd name="T15" fmla="*/ 5 h 21"/>
                <a:gd name="T16" fmla="*/ 0 w 19"/>
                <a:gd name="T17" fmla="*/ 3 h 21"/>
                <a:gd name="T18" fmla="*/ 1 w 19"/>
                <a:gd name="T19" fmla="*/ 2 h 21"/>
                <a:gd name="T20" fmla="*/ 6 w 19"/>
                <a:gd name="T21" fmla="*/ 2 h 21"/>
                <a:gd name="T22" fmla="*/ 6 w 19"/>
                <a:gd name="T23" fmla="*/ 2 h 21"/>
                <a:gd name="T24" fmla="*/ 14 w 19"/>
                <a:gd name="T25" fmla="*/ 0 h 21"/>
                <a:gd name="T26" fmla="*/ 17 w 19"/>
                <a:gd name="T27" fmla="*/ 0 h 21"/>
                <a:gd name="T28" fmla="*/ 19 w 19"/>
                <a:gd name="T29" fmla="*/ 2 h 21"/>
                <a:gd name="T30" fmla="*/ 17 w 19"/>
                <a:gd name="T31" fmla="*/ 2 h 21"/>
                <a:gd name="T32" fmla="*/ 17 w 19"/>
                <a:gd name="T33" fmla="*/ 2 h 21"/>
                <a:gd name="T34" fmla="*/ 14 w 19"/>
                <a:gd name="T35" fmla="*/ 13 h 21"/>
                <a:gd name="T36" fmla="*/ 13 w 19"/>
                <a:gd name="T37" fmla="*/ 19 h 21"/>
                <a:gd name="T38" fmla="*/ 11 w 19"/>
                <a:gd name="T39" fmla="*/ 21 h 21"/>
                <a:gd name="T40" fmla="*/ 9 w 19"/>
                <a:gd name="T41"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21">
                  <a:moveTo>
                    <a:pt x="9" y="21"/>
                  </a:moveTo>
                  <a:lnTo>
                    <a:pt x="9" y="21"/>
                  </a:lnTo>
                  <a:lnTo>
                    <a:pt x="6" y="18"/>
                  </a:lnTo>
                  <a:lnTo>
                    <a:pt x="4" y="13"/>
                  </a:lnTo>
                  <a:lnTo>
                    <a:pt x="3" y="9"/>
                  </a:lnTo>
                  <a:lnTo>
                    <a:pt x="1" y="6"/>
                  </a:lnTo>
                  <a:lnTo>
                    <a:pt x="1" y="6"/>
                  </a:lnTo>
                  <a:lnTo>
                    <a:pt x="0" y="5"/>
                  </a:lnTo>
                  <a:lnTo>
                    <a:pt x="0" y="3"/>
                  </a:lnTo>
                  <a:lnTo>
                    <a:pt x="1" y="2"/>
                  </a:lnTo>
                  <a:lnTo>
                    <a:pt x="6" y="2"/>
                  </a:lnTo>
                  <a:lnTo>
                    <a:pt x="6" y="2"/>
                  </a:lnTo>
                  <a:lnTo>
                    <a:pt x="14" y="0"/>
                  </a:lnTo>
                  <a:lnTo>
                    <a:pt x="17" y="0"/>
                  </a:lnTo>
                  <a:lnTo>
                    <a:pt x="19" y="2"/>
                  </a:lnTo>
                  <a:lnTo>
                    <a:pt x="17" y="2"/>
                  </a:lnTo>
                  <a:lnTo>
                    <a:pt x="17" y="2"/>
                  </a:lnTo>
                  <a:lnTo>
                    <a:pt x="14" y="13"/>
                  </a:lnTo>
                  <a:lnTo>
                    <a:pt x="13" y="19"/>
                  </a:lnTo>
                  <a:lnTo>
                    <a:pt x="11" y="21"/>
                  </a:lnTo>
                  <a:lnTo>
                    <a:pt x="9"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90" name="Freeform 1011"/>
            <p:cNvSpPr>
              <a:spLocks/>
            </p:cNvSpPr>
            <p:nvPr/>
          </p:nvSpPr>
          <p:spPr bwMode="auto">
            <a:xfrm>
              <a:off x="8856663" y="2137204"/>
              <a:ext cx="77788" cy="26988"/>
            </a:xfrm>
            <a:custGeom>
              <a:avLst/>
              <a:gdLst>
                <a:gd name="T0" fmla="*/ 39 w 49"/>
                <a:gd name="T1" fmla="*/ 16 h 17"/>
                <a:gd name="T2" fmla="*/ 39 w 49"/>
                <a:gd name="T3" fmla="*/ 16 h 17"/>
                <a:gd name="T4" fmla="*/ 25 w 49"/>
                <a:gd name="T5" fmla="*/ 17 h 17"/>
                <a:gd name="T6" fmla="*/ 16 w 49"/>
                <a:gd name="T7" fmla="*/ 16 h 17"/>
                <a:gd name="T8" fmla="*/ 7 w 49"/>
                <a:gd name="T9" fmla="*/ 14 h 17"/>
                <a:gd name="T10" fmla="*/ 7 w 49"/>
                <a:gd name="T11" fmla="*/ 14 h 17"/>
                <a:gd name="T12" fmla="*/ 3 w 49"/>
                <a:gd name="T13" fmla="*/ 11 h 17"/>
                <a:gd name="T14" fmla="*/ 0 w 49"/>
                <a:gd name="T15" fmla="*/ 8 h 17"/>
                <a:gd name="T16" fmla="*/ 0 w 49"/>
                <a:gd name="T17" fmla="*/ 7 h 17"/>
                <a:gd name="T18" fmla="*/ 0 w 49"/>
                <a:gd name="T19" fmla="*/ 5 h 17"/>
                <a:gd name="T20" fmla="*/ 4 w 49"/>
                <a:gd name="T21" fmla="*/ 3 h 17"/>
                <a:gd name="T22" fmla="*/ 4 w 49"/>
                <a:gd name="T23" fmla="*/ 3 h 17"/>
                <a:gd name="T24" fmla="*/ 10 w 49"/>
                <a:gd name="T25" fmla="*/ 1 h 17"/>
                <a:gd name="T26" fmla="*/ 16 w 49"/>
                <a:gd name="T27" fmla="*/ 0 h 17"/>
                <a:gd name="T28" fmla="*/ 22 w 49"/>
                <a:gd name="T29" fmla="*/ 0 h 17"/>
                <a:gd name="T30" fmla="*/ 29 w 49"/>
                <a:gd name="T31" fmla="*/ 3 h 17"/>
                <a:gd name="T32" fmla="*/ 29 w 49"/>
                <a:gd name="T33" fmla="*/ 3 h 17"/>
                <a:gd name="T34" fmla="*/ 36 w 49"/>
                <a:gd name="T35" fmla="*/ 4 h 17"/>
                <a:gd name="T36" fmla="*/ 43 w 49"/>
                <a:gd name="T37" fmla="*/ 4 h 17"/>
                <a:gd name="T38" fmla="*/ 48 w 49"/>
                <a:gd name="T39" fmla="*/ 4 h 17"/>
                <a:gd name="T40" fmla="*/ 48 w 49"/>
                <a:gd name="T41" fmla="*/ 5 h 17"/>
                <a:gd name="T42" fmla="*/ 49 w 49"/>
                <a:gd name="T43" fmla="*/ 5 h 17"/>
                <a:gd name="T44" fmla="*/ 49 w 49"/>
                <a:gd name="T45" fmla="*/ 5 h 17"/>
                <a:gd name="T46" fmla="*/ 48 w 49"/>
                <a:gd name="T47" fmla="*/ 8 h 17"/>
                <a:gd name="T48" fmla="*/ 46 w 49"/>
                <a:gd name="T49" fmla="*/ 11 h 17"/>
                <a:gd name="T50" fmla="*/ 45 w 49"/>
                <a:gd name="T51" fmla="*/ 14 h 17"/>
                <a:gd name="T52" fmla="*/ 39 w 49"/>
                <a:gd name="T53"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17">
                  <a:moveTo>
                    <a:pt x="39" y="16"/>
                  </a:moveTo>
                  <a:lnTo>
                    <a:pt x="39" y="16"/>
                  </a:lnTo>
                  <a:lnTo>
                    <a:pt x="25" y="17"/>
                  </a:lnTo>
                  <a:lnTo>
                    <a:pt x="16" y="16"/>
                  </a:lnTo>
                  <a:lnTo>
                    <a:pt x="7" y="14"/>
                  </a:lnTo>
                  <a:lnTo>
                    <a:pt x="7" y="14"/>
                  </a:lnTo>
                  <a:lnTo>
                    <a:pt x="3" y="11"/>
                  </a:lnTo>
                  <a:lnTo>
                    <a:pt x="0" y="8"/>
                  </a:lnTo>
                  <a:lnTo>
                    <a:pt x="0" y="7"/>
                  </a:lnTo>
                  <a:lnTo>
                    <a:pt x="0" y="5"/>
                  </a:lnTo>
                  <a:lnTo>
                    <a:pt x="4" y="3"/>
                  </a:lnTo>
                  <a:lnTo>
                    <a:pt x="4" y="3"/>
                  </a:lnTo>
                  <a:lnTo>
                    <a:pt x="10" y="1"/>
                  </a:lnTo>
                  <a:lnTo>
                    <a:pt x="16" y="0"/>
                  </a:lnTo>
                  <a:lnTo>
                    <a:pt x="22" y="0"/>
                  </a:lnTo>
                  <a:lnTo>
                    <a:pt x="29" y="3"/>
                  </a:lnTo>
                  <a:lnTo>
                    <a:pt x="29" y="3"/>
                  </a:lnTo>
                  <a:lnTo>
                    <a:pt x="36" y="4"/>
                  </a:lnTo>
                  <a:lnTo>
                    <a:pt x="43" y="4"/>
                  </a:lnTo>
                  <a:lnTo>
                    <a:pt x="48" y="4"/>
                  </a:lnTo>
                  <a:lnTo>
                    <a:pt x="48" y="5"/>
                  </a:lnTo>
                  <a:lnTo>
                    <a:pt x="49" y="5"/>
                  </a:lnTo>
                  <a:lnTo>
                    <a:pt x="49" y="5"/>
                  </a:lnTo>
                  <a:lnTo>
                    <a:pt x="48" y="8"/>
                  </a:lnTo>
                  <a:lnTo>
                    <a:pt x="46" y="11"/>
                  </a:lnTo>
                  <a:lnTo>
                    <a:pt x="45" y="14"/>
                  </a:lnTo>
                  <a:lnTo>
                    <a:pt x="39" y="16"/>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91" name="Freeform 1012"/>
            <p:cNvSpPr>
              <a:spLocks/>
            </p:cNvSpPr>
            <p:nvPr/>
          </p:nvSpPr>
          <p:spPr bwMode="auto">
            <a:xfrm>
              <a:off x="8856663" y="2137204"/>
              <a:ext cx="77788" cy="26988"/>
            </a:xfrm>
            <a:custGeom>
              <a:avLst/>
              <a:gdLst>
                <a:gd name="T0" fmla="*/ 39 w 49"/>
                <a:gd name="T1" fmla="*/ 16 h 17"/>
                <a:gd name="T2" fmla="*/ 39 w 49"/>
                <a:gd name="T3" fmla="*/ 16 h 17"/>
                <a:gd name="T4" fmla="*/ 25 w 49"/>
                <a:gd name="T5" fmla="*/ 17 h 17"/>
                <a:gd name="T6" fmla="*/ 16 w 49"/>
                <a:gd name="T7" fmla="*/ 16 h 17"/>
                <a:gd name="T8" fmla="*/ 7 w 49"/>
                <a:gd name="T9" fmla="*/ 14 h 17"/>
                <a:gd name="T10" fmla="*/ 7 w 49"/>
                <a:gd name="T11" fmla="*/ 14 h 17"/>
                <a:gd name="T12" fmla="*/ 3 w 49"/>
                <a:gd name="T13" fmla="*/ 11 h 17"/>
                <a:gd name="T14" fmla="*/ 0 w 49"/>
                <a:gd name="T15" fmla="*/ 8 h 17"/>
                <a:gd name="T16" fmla="*/ 0 w 49"/>
                <a:gd name="T17" fmla="*/ 7 h 17"/>
                <a:gd name="T18" fmla="*/ 0 w 49"/>
                <a:gd name="T19" fmla="*/ 5 h 17"/>
                <a:gd name="T20" fmla="*/ 4 w 49"/>
                <a:gd name="T21" fmla="*/ 3 h 17"/>
                <a:gd name="T22" fmla="*/ 4 w 49"/>
                <a:gd name="T23" fmla="*/ 3 h 17"/>
                <a:gd name="T24" fmla="*/ 10 w 49"/>
                <a:gd name="T25" fmla="*/ 1 h 17"/>
                <a:gd name="T26" fmla="*/ 16 w 49"/>
                <a:gd name="T27" fmla="*/ 0 h 17"/>
                <a:gd name="T28" fmla="*/ 22 w 49"/>
                <a:gd name="T29" fmla="*/ 0 h 17"/>
                <a:gd name="T30" fmla="*/ 29 w 49"/>
                <a:gd name="T31" fmla="*/ 3 h 17"/>
                <a:gd name="T32" fmla="*/ 29 w 49"/>
                <a:gd name="T33" fmla="*/ 3 h 17"/>
                <a:gd name="T34" fmla="*/ 36 w 49"/>
                <a:gd name="T35" fmla="*/ 4 h 17"/>
                <a:gd name="T36" fmla="*/ 43 w 49"/>
                <a:gd name="T37" fmla="*/ 4 h 17"/>
                <a:gd name="T38" fmla="*/ 48 w 49"/>
                <a:gd name="T39" fmla="*/ 4 h 17"/>
                <a:gd name="T40" fmla="*/ 48 w 49"/>
                <a:gd name="T41" fmla="*/ 5 h 17"/>
                <a:gd name="T42" fmla="*/ 49 w 49"/>
                <a:gd name="T43" fmla="*/ 5 h 17"/>
                <a:gd name="T44" fmla="*/ 49 w 49"/>
                <a:gd name="T45" fmla="*/ 5 h 17"/>
                <a:gd name="T46" fmla="*/ 48 w 49"/>
                <a:gd name="T47" fmla="*/ 8 h 17"/>
                <a:gd name="T48" fmla="*/ 46 w 49"/>
                <a:gd name="T49" fmla="*/ 11 h 17"/>
                <a:gd name="T50" fmla="*/ 45 w 49"/>
                <a:gd name="T51" fmla="*/ 14 h 17"/>
                <a:gd name="T52" fmla="*/ 39 w 49"/>
                <a:gd name="T53"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17">
                  <a:moveTo>
                    <a:pt x="39" y="16"/>
                  </a:moveTo>
                  <a:lnTo>
                    <a:pt x="39" y="16"/>
                  </a:lnTo>
                  <a:lnTo>
                    <a:pt x="25" y="17"/>
                  </a:lnTo>
                  <a:lnTo>
                    <a:pt x="16" y="16"/>
                  </a:lnTo>
                  <a:lnTo>
                    <a:pt x="7" y="14"/>
                  </a:lnTo>
                  <a:lnTo>
                    <a:pt x="7" y="14"/>
                  </a:lnTo>
                  <a:lnTo>
                    <a:pt x="3" y="11"/>
                  </a:lnTo>
                  <a:lnTo>
                    <a:pt x="0" y="8"/>
                  </a:lnTo>
                  <a:lnTo>
                    <a:pt x="0" y="7"/>
                  </a:lnTo>
                  <a:lnTo>
                    <a:pt x="0" y="5"/>
                  </a:lnTo>
                  <a:lnTo>
                    <a:pt x="4" y="3"/>
                  </a:lnTo>
                  <a:lnTo>
                    <a:pt x="4" y="3"/>
                  </a:lnTo>
                  <a:lnTo>
                    <a:pt x="10" y="1"/>
                  </a:lnTo>
                  <a:lnTo>
                    <a:pt x="16" y="0"/>
                  </a:lnTo>
                  <a:lnTo>
                    <a:pt x="22" y="0"/>
                  </a:lnTo>
                  <a:lnTo>
                    <a:pt x="29" y="3"/>
                  </a:lnTo>
                  <a:lnTo>
                    <a:pt x="29" y="3"/>
                  </a:lnTo>
                  <a:lnTo>
                    <a:pt x="36" y="4"/>
                  </a:lnTo>
                  <a:lnTo>
                    <a:pt x="43" y="4"/>
                  </a:lnTo>
                  <a:lnTo>
                    <a:pt x="48" y="4"/>
                  </a:lnTo>
                  <a:lnTo>
                    <a:pt x="48" y="5"/>
                  </a:lnTo>
                  <a:lnTo>
                    <a:pt x="49" y="5"/>
                  </a:lnTo>
                  <a:lnTo>
                    <a:pt x="49" y="5"/>
                  </a:lnTo>
                  <a:lnTo>
                    <a:pt x="48" y="8"/>
                  </a:lnTo>
                  <a:lnTo>
                    <a:pt x="46" y="11"/>
                  </a:lnTo>
                  <a:lnTo>
                    <a:pt x="45" y="14"/>
                  </a:lnTo>
                  <a:lnTo>
                    <a:pt x="39"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92" name="Freeform 1013"/>
            <p:cNvSpPr>
              <a:spLocks/>
            </p:cNvSpPr>
            <p:nvPr/>
          </p:nvSpPr>
          <p:spPr bwMode="auto">
            <a:xfrm>
              <a:off x="5621338" y="1943529"/>
              <a:ext cx="149225" cy="241300"/>
            </a:xfrm>
            <a:custGeom>
              <a:avLst/>
              <a:gdLst>
                <a:gd name="T0" fmla="*/ 87 w 94"/>
                <a:gd name="T1" fmla="*/ 151 h 152"/>
                <a:gd name="T2" fmla="*/ 80 w 94"/>
                <a:gd name="T3" fmla="*/ 149 h 152"/>
                <a:gd name="T4" fmla="*/ 74 w 94"/>
                <a:gd name="T5" fmla="*/ 152 h 152"/>
                <a:gd name="T6" fmla="*/ 65 w 94"/>
                <a:gd name="T7" fmla="*/ 143 h 152"/>
                <a:gd name="T8" fmla="*/ 62 w 94"/>
                <a:gd name="T9" fmla="*/ 148 h 152"/>
                <a:gd name="T10" fmla="*/ 54 w 94"/>
                <a:gd name="T11" fmla="*/ 143 h 152"/>
                <a:gd name="T12" fmla="*/ 33 w 94"/>
                <a:gd name="T13" fmla="*/ 139 h 152"/>
                <a:gd name="T14" fmla="*/ 35 w 94"/>
                <a:gd name="T15" fmla="*/ 127 h 152"/>
                <a:gd name="T16" fmla="*/ 35 w 94"/>
                <a:gd name="T17" fmla="*/ 117 h 152"/>
                <a:gd name="T18" fmla="*/ 32 w 94"/>
                <a:gd name="T19" fmla="*/ 112 h 152"/>
                <a:gd name="T20" fmla="*/ 26 w 94"/>
                <a:gd name="T21" fmla="*/ 114 h 152"/>
                <a:gd name="T22" fmla="*/ 20 w 94"/>
                <a:gd name="T23" fmla="*/ 110 h 152"/>
                <a:gd name="T24" fmla="*/ 6 w 94"/>
                <a:gd name="T25" fmla="*/ 106 h 152"/>
                <a:gd name="T26" fmla="*/ 0 w 94"/>
                <a:gd name="T27" fmla="*/ 96 h 152"/>
                <a:gd name="T28" fmla="*/ 5 w 94"/>
                <a:gd name="T29" fmla="*/ 77 h 152"/>
                <a:gd name="T30" fmla="*/ 9 w 94"/>
                <a:gd name="T31" fmla="*/ 74 h 152"/>
                <a:gd name="T32" fmla="*/ 12 w 94"/>
                <a:gd name="T33" fmla="*/ 72 h 152"/>
                <a:gd name="T34" fmla="*/ 19 w 94"/>
                <a:gd name="T35" fmla="*/ 75 h 152"/>
                <a:gd name="T36" fmla="*/ 18 w 94"/>
                <a:gd name="T37" fmla="*/ 64 h 152"/>
                <a:gd name="T38" fmla="*/ 25 w 94"/>
                <a:gd name="T39" fmla="*/ 46 h 152"/>
                <a:gd name="T40" fmla="*/ 20 w 94"/>
                <a:gd name="T41" fmla="*/ 43 h 152"/>
                <a:gd name="T42" fmla="*/ 15 w 94"/>
                <a:gd name="T43" fmla="*/ 39 h 152"/>
                <a:gd name="T44" fmla="*/ 18 w 94"/>
                <a:gd name="T45" fmla="*/ 33 h 152"/>
                <a:gd name="T46" fmla="*/ 25 w 94"/>
                <a:gd name="T47" fmla="*/ 32 h 152"/>
                <a:gd name="T48" fmla="*/ 26 w 94"/>
                <a:gd name="T49" fmla="*/ 25 h 152"/>
                <a:gd name="T50" fmla="*/ 35 w 94"/>
                <a:gd name="T51" fmla="*/ 23 h 152"/>
                <a:gd name="T52" fmla="*/ 41 w 94"/>
                <a:gd name="T53" fmla="*/ 6 h 152"/>
                <a:gd name="T54" fmla="*/ 51 w 94"/>
                <a:gd name="T55" fmla="*/ 7 h 152"/>
                <a:gd name="T56" fmla="*/ 51 w 94"/>
                <a:gd name="T57" fmla="*/ 0 h 152"/>
                <a:gd name="T58" fmla="*/ 57 w 94"/>
                <a:gd name="T59" fmla="*/ 3 h 152"/>
                <a:gd name="T60" fmla="*/ 67 w 94"/>
                <a:gd name="T61" fmla="*/ 6 h 152"/>
                <a:gd name="T62" fmla="*/ 80 w 94"/>
                <a:gd name="T63" fmla="*/ 13 h 152"/>
                <a:gd name="T64" fmla="*/ 78 w 94"/>
                <a:gd name="T65" fmla="*/ 23 h 152"/>
                <a:gd name="T66" fmla="*/ 74 w 94"/>
                <a:gd name="T67" fmla="*/ 29 h 152"/>
                <a:gd name="T68" fmla="*/ 74 w 94"/>
                <a:gd name="T69" fmla="*/ 35 h 152"/>
                <a:gd name="T70" fmla="*/ 67 w 94"/>
                <a:gd name="T71" fmla="*/ 33 h 152"/>
                <a:gd name="T72" fmla="*/ 68 w 94"/>
                <a:gd name="T73" fmla="*/ 42 h 152"/>
                <a:gd name="T74" fmla="*/ 61 w 94"/>
                <a:gd name="T75" fmla="*/ 55 h 152"/>
                <a:gd name="T76" fmla="*/ 61 w 94"/>
                <a:gd name="T77" fmla="*/ 68 h 152"/>
                <a:gd name="T78" fmla="*/ 67 w 94"/>
                <a:gd name="T79" fmla="*/ 72 h 152"/>
                <a:gd name="T80" fmla="*/ 61 w 94"/>
                <a:gd name="T81" fmla="*/ 84 h 152"/>
                <a:gd name="T82" fmla="*/ 65 w 94"/>
                <a:gd name="T83" fmla="*/ 99 h 152"/>
                <a:gd name="T84" fmla="*/ 73 w 94"/>
                <a:gd name="T85" fmla="*/ 113 h 152"/>
                <a:gd name="T86" fmla="*/ 74 w 94"/>
                <a:gd name="T87" fmla="*/ 122 h 152"/>
                <a:gd name="T88" fmla="*/ 84 w 94"/>
                <a:gd name="T89" fmla="*/ 133 h 152"/>
                <a:gd name="T90" fmla="*/ 89 w 94"/>
                <a:gd name="T91" fmla="*/ 136 h 152"/>
                <a:gd name="T92" fmla="*/ 91 w 94"/>
                <a:gd name="T93" fmla="*/ 142 h 152"/>
                <a:gd name="T94" fmla="*/ 94 w 94"/>
                <a:gd name="T95" fmla="*/ 1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 h="152">
                  <a:moveTo>
                    <a:pt x="93" y="148"/>
                  </a:moveTo>
                  <a:lnTo>
                    <a:pt x="93" y="148"/>
                  </a:lnTo>
                  <a:lnTo>
                    <a:pt x="90" y="149"/>
                  </a:lnTo>
                  <a:lnTo>
                    <a:pt x="87" y="151"/>
                  </a:lnTo>
                  <a:lnTo>
                    <a:pt x="87" y="151"/>
                  </a:lnTo>
                  <a:lnTo>
                    <a:pt x="83" y="149"/>
                  </a:lnTo>
                  <a:lnTo>
                    <a:pt x="80" y="149"/>
                  </a:lnTo>
                  <a:lnTo>
                    <a:pt x="80" y="149"/>
                  </a:lnTo>
                  <a:lnTo>
                    <a:pt x="77" y="151"/>
                  </a:lnTo>
                  <a:lnTo>
                    <a:pt x="75" y="152"/>
                  </a:lnTo>
                  <a:lnTo>
                    <a:pt x="74" y="152"/>
                  </a:lnTo>
                  <a:lnTo>
                    <a:pt x="74" y="152"/>
                  </a:lnTo>
                  <a:lnTo>
                    <a:pt x="70" y="146"/>
                  </a:lnTo>
                  <a:lnTo>
                    <a:pt x="67" y="145"/>
                  </a:lnTo>
                  <a:lnTo>
                    <a:pt x="65" y="143"/>
                  </a:lnTo>
                  <a:lnTo>
                    <a:pt x="65" y="143"/>
                  </a:lnTo>
                  <a:lnTo>
                    <a:pt x="65" y="145"/>
                  </a:lnTo>
                  <a:lnTo>
                    <a:pt x="64" y="146"/>
                  </a:lnTo>
                  <a:lnTo>
                    <a:pt x="64" y="148"/>
                  </a:lnTo>
                  <a:lnTo>
                    <a:pt x="62" y="148"/>
                  </a:lnTo>
                  <a:lnTo>
                    <a:pt x="62" y="148"/>
                  </a:lnTo>
                  <a:lnTo>
                    <a:pt x="57" y="145"/>
                  </a:lnTo>
                  <a:lnTo>
                    <a:pt x="54" y="143"/>
                  </a:lnTo>
                  <a:lnTo>
                    <a:pt x="54" y="143"/>
                  </a:lnTo>
                  <a:lnTo>
                    <a:pt x="42" y="142"/>
                  </a:lnTo>
                  <a:lnTo>
                    <a:pt x="36" y="141"/>
                  </a:lnTo>
                  <a:lnTo>
                    <a:pt x="33" y="139"/>
                  </a:lnTo>
                  <a:lnTo>
                    <a:pt x="33" y="139"/>
                  </a:lnTo>
                  <a:lnTo>
                    <a:pt x="35" y="133"/>
                  </a:lnTo>
                  <a:lnTo>
                    <a:pt x="36" y="130"/>
                  </a:lnTo>
                  <a:lnTo>
                    <a:pt x="35" y="127"/>
                  </a:lnTo>
                  <a:lnTo>
                    <a:pt x="35" y="127"/>
                  </a:lnTo>
                  <a:lnTo>
                    <a:pt x="35" y="125"/>
                  </a:lnTo>
                  <a:lnTo>
                    <a:pt x="35" y="122"/>
                  </a:lnTo>
                  <a:lnTo>
                    <a:pt x="36" y="120"/>
                  </a:lnTo>
                  <a:lnTo>
                    <a:pt x="35" y="117"/>
                  </a:lnTo>
                  <a:lnTo>
                    <a:pt x="35" y="117"/>
                  </a:lnTo>
                  <a:lnTo>
                    <a:pt x="33" y="116"/>
                  </a:lnTo>
                  <a:lnTo>
                    <a:pt x="32" y="113"/>
                  </a:lnTo>
                  <a:lnTo>
                    <a:pt x="32" y="112"/>
                  </a:lnTo>
                  <a:lnTo>
                    <a:pt x="31" y="112"/>
                  </a:lnTo>
                  <a:lnTo>
                    <a:pt x="31" y="112"/>
                  </a:lnTo>
                  <a:lnTo>
                    <a:pt x="26" y="114"/>
                  </a:lnTo>
                  <a:lnTo>
                    <a:pt x="26" y="114"/>
                  </a:lnTo>
                  <a:lnTo>
                    <a:pt x="23" y="114"/>
                  </a:lnTo>
                  <a:lnTo>
                    <a:pt x="23" y="114"/>
                  </a:lnTo>
                  <a:lnTo>
                    <a:pt x="22" y="112"/>
                  </a:lnTo>
                  <a:lnTo>
                    <a:pt x="20" y="110"/>
                  </a:lnTo>
                  <a:lnTo>
                    <a:pt x="20" y="110"/>
                  </a:lnTo>
                  <a:lnTo>
                    <a:pt x="13" y="109"/>
                  </a:lnTo>
                  <a:lnTo>
                    <a:pt x="6" y="106"/>
                  </a:lnTo>
                  <a:lnTo>
                    <a:pt x="6" y="106"/>
                  </a:lnTo>
                  <a:lnTo>
                    <a:pt x="2" y="103"/>
                  </a:lnTo>
                  <a:lnTo>
                    <a:pt x="0" y="99"/>
                  </a:lnTo>
                  <a:lnTo>
                    <a:pt x="0" y="96"/>
                  </a:lnTo>
                  <a:lnTo>
                    <a:pt x="0" y="96"/>
                  </a:lnTo>
                  <a:lnTo>
                    <a:pt x="2" y="84"/>
                  </a:lnTo>
                  <a:lnTo>
                    <a:pt x="3" y="80"/>
                  </a:lnTo>
                  <a:lnTo>
                    <a:pt x="5" y="77"/>
                  </a:lnTo>
                  <a:lnTo>
                    <a:pt x="5" y="77"/>
                  </a:lnTo>
                  <a:lnTo>
                    <a:pt x="7" y="77"/>
                  </a:lnTo>
                  <a:lnTo>
                    <a:pt x="9" y="75"/>
                  </a:lnTo>
                  <a:lnTo>
                    <a:pt x="9" y="75"/>
                  </a:lnTo>
                  <a:lnTo>
                    <a:pt x="9" y="74"/>
                  </a:lnTo>
                  <a:lnTo>
                    <a:pt x="10" y="72"/>
                  </a:lnTo>
                  <a:lnTo>
                    <a:pt x="10" y="71"/>
                  </a:lnTo>
                  <a:lnTo>
                    <a:pt x="12" y="72"/>
                  </a:lnTo>
                  <a:lnTo>
                    <a:pt x="12" y="72"/>
                  </a:lnTo>
                  <a:lnTo>
                    <a:pt x="18" y="75"/>
                  </a:lnTo>
                  <a:lnTo>
                    <a:pt x="19" y="75"/>
                  </a:lnTo>
                  <a:lnTo>
                    <a:pt x="19" y="75"/>
                  </a:lnTo>
                  <a:lnTo>
                    <a:pt x="19" y="75"/>
                  </a:lnTo>
                  <a:lnTo>
                    <a:pt x="18" y="72"/>
                  </a:lnTo>
                  <a:lnTo>
                    <a:pt x="16" y="68"/>
                  </a:lnTo>
                  <a:lnTo>
                    <a:pt x="16" y="68"/>
                  </a:lnTo>
                  <a:lnTo>
                    <a:pt x="18" y="64"/>
                  </a:lnTo>
                  <a:lnTo>
                    <a:pt x="19" y="58"/>
                  </a:lnTo>
                  <a:lnTo>
                    <a:pt x="22" y="51"/>
                  </a:lnTo>
                  <a:lnTo>
                    <a:pt x="22" y="51"/>
                  </a:lnTo>
                  <a:lnTo>
                    <a:pt x="25" y="46"/>
                  </a:lnTo>
                  <a:lnTo>
                    <a:pt x="26" y="45"/>
                  </a:lnTo>
                  <a:lnTo>
                    <a:pt x="25" y="43"/>
                  </a:lnTo>
                  <a:lnTo>
                    <a:pt x="25" y="43"/>
                  </a:lnTo>
                  <a:lnTo>
                    <a:pt x="20" y="43"/>
                  </a:lnTo>
                  <a:lnTo>
                    <a:pt x="19" y="43"/>
                  </a:lnTo>
                  <a:lnTo>
                    <a:pt x="16" y="41"/>
                  </a:lnTo>
                  <a:lnTo>
                    <a:pt x="16" y="41"/>
                  </a:lnTo>
                  <a:lnTo>
                    <a:pt x="15" y="39"/>
                  </a:lnTo>
                  <a:lnTo>
                    <a:pt x="15" y="36"/>
                  </a:lnTo>
                  <a:lnTo>
                    <a:pt x="15" y="35"/>
                  </a:lnTo>
                  <a:lnTo>
                    <a:pt x="18" y="33"/>
                  </a:lnTo>
                  <a:lnTo>
                    <a:pt x="18" y="33"/>
                  </a:lnTo>
                  <a:lnTo>
                    <a:pt x="22" y="33"/>
                  </a:lnTo>
                  <a:lnTo>
                    <a:pt x="23" y="33"/>
                  </a:lnTo>
                  <a:lnTo>
                    <a:pt x="25" y="32"/>
                  </a:lnTo>
                  <a:lnTo>
                    <a:pt x="25" y="32"/>
                  </a:lnTo>
                  <a:lnTo>
                    <a:pt x="23" y="28"/>
                  </a:lnTo>
                  <a:lnTo>
                    <a:pt x="25" y="26"/>
                  </a:lnTo>
                  <a:lnTo>
                    <a:pt x="26" y="25"/>
                  </a:lnTo>
                  <a:lnTo>
                    <a:pt x="26" y="25"/>
                  </a:lnTo>
                  <a:lnTo>
                    <a:pt x="31" y="25"/>
                  </a:lnTo>
                  <a:lnTo>
                    <a:pt x="33" y="25"/>
                  </a:lnTo>
                  <a:lnTo>
                    <a:pt x="35" y="23"/>
                  </a:lnTo>
                  <a:lnTo>
                    <a:pt x="35" y="23"/>
                  </a:lnTo>
                  <a:lnTo>
                    <a:pt x="36" y="20"/>
                  </a:lnTo>
                  <a:lnTo>
                    <a:pt x="38" y="15"/>
                  </a:lnTo>
                  <a:lnTo>
                    <a:pt x="39" y="9"/>
                  </a:lnTo>
                  <a:lnTo>
                    <a:pt x="41" y="6"/>
                  </a:lnTo>
                  <a:lnTo>
                    <a:pt x="41" y="6"/>
                  </a:lnTo>
                  <a:lnTo>
                    <a:pt x="44" y="6"/>
                  </a:lnTo>
                  <a:lnTo>
                    <a:pt x="48" y="6"/>
                  </a:lnTo>
                  <a:lnTo>
                    <a:pt x="51" y="7"/>
                  </a:lnTo>
                  <a:lnTo>
                    <a:pt x="52" y="6"/>
                  </a:lnTo>
                  <a:lnTo>
                    <a:pt x="52" y="6"/>
                  </a:lnTo>
                  <a:lnTo>
                    <a:pt x="51" y="1"/>
                  </a:lnTo>
                  <a:lnTo>
                    <a:pt x="51" y="0"/>
                  </a:lnTo>
                  <a:lnTo>
                    <a:pt x="52" y="0"/>
                  </a:lnTo>
                  <a:lnTo>
                    <a:pt x="52" y="0"/>
                  </a:lnTo>
                  <a:lnTo>
                    <a:pt x="55" y="0"/>
                  </a:lnTo>
                  <a:lnTo>
                    <a:pt x="57" y="3"/>
                  </a:lnTo>
                  <a:lnTo>
                    <a:pt x="60" y="4"/>
                  </a:lnTo>
                  <a:lnTo>
                    <a:pt x="62" y="4"/>
                  </a:lnTo>
                  <a:lnTo>
                    <a:pt x="62" y="4"/>
                  </a:lnTo>
                  <a:lnTo>
                    <a:pt x="67" y="6"/>
                  </a:lnTo>
                  <a:lnTo>
                    <a:pt x="71" y="9"/>
                  </a:lnTo>
                  <a:lnTo>
                    <a:pt x="71" y="9"/>
                  </a:lnTo>
                  <a:lnTo>
                    <a:pt x="77" y="12"/>
                  </a:lnTo>
                  <a:lnTo>
                    <a:pt x="80" y="13"/>
                  </a:lnTo>
                  <a:lnTo>
                    <a:pt x="80" y="13"/>
                  </a:lnTo>
                  <a:lnTo>
                    <a:pt x="80" y="17"/>
                  </a:lnTo>
                  <a:lnTo>
                    <a:pt x="80" y="22"/>
                  </a:lnTo>
                  <a:lnTo>
                    <a:pt x="78" y="23"/>
                  </a:lnTo>
                  <a:lnTo>
                    <a:pt x="78" y="23"/>
                  </a:lnTo>
                  <a:lnTo>
                    <a:pt x="75" y="26"/>
                  </a:lnTo>
                  <a:lnTo>
                    <a:pt x="74" y="29"/>
                  </a:lnTo>
                  <a:lnTo>
                    <a:pt x="74" y="29"/>
                  </a:lnTo>
                  <a:lnTo>
                    <a:pt x="75" y="33"/>
                  </a:lnTo>
                  <a:lnTo>
                    <a:pt x="75" y="35"/>
                  </a:lnTo>
                  <a:lnTo>
                    <a:pt x="74" y="35"/>
                  </a:lnTo>
                  <a:lnTo>
                    <a:pt x="74" y="35"/>
                  </a:lnTo>
                  <a:lnTo>
                    <a:pt x="70" y="33"/>
                  </a:lnTo>
                  <a:lnTo>
                    <a:pt x="67" y="32"/>
                  </a:lnTo>
                  <a:lnTo>
                    <a:pt x="67" y="33"/>
                  </a:lnTo>
                  <a:lnTo>
                    <a:pt x="67" y="33"/>
                  </a:lnTo>
                  <a:lnTo>
                    <a:pt x="67" y="36"/>
                  </a:lnTo>
                  <a:lnTo>
                    <a:pt x="67" y="38"/>
                  </a:lnTo>
                  <a:lnTo>
                    <a:pt x="68" y="42"/>
                  </a:lnTo>
                  <a:lnTo>
                    <a:pt x="68" y="42"/>
                  </a:lnTo>
                  <a:lnTo>
                    <a:pt x="65" y="48"/>
                  </a:lnTo>
                  <a:lnTo>
                    <a:pt x="61" y="54"/>
                  </a:lnTo>
                  <a:lnTo>
                    <a:pt x="61" y="54"/>
                  </a:lnTo>
                  <a:lnTo>
                    <a:pt x="61" y="55"/>
                  </a:lnTo>
                  <a:lnTo>
                    <a:pt x="62" y="58"/>
                  </a:lnTo>
                  <a:lnTo>
                    <a:pt x="62" y="58"/>
                  </a:lnTo>
                  <a:lnTo>
                    <a:pt x="61" y="65"/>
                  </a:lnTo>
                  <a:lnTo>
                    <a:pt x="61" y="68"/>
                  </a:lnTo>
                  <a:lnTo>
                    <a:pt x="62" y="70"/>
                  </a:lnTo>
                  <a:lnTo>
                    <a:pt x="62" y="70"/>
                  </a:lnTo>
                  <a:lnTo>
                    <a:pt x="65" y="71"/>
                  </a:lnTo>
                  <a:lnTo>
                    <a:pt x="67" y="72"/>
                  </a:lnTo>
                  <a:lnTo>
                    <a:pt x="65" y="75"/>
                  </a:lnTo>
                  <a:lnTo>
                    <a:pt x="65" y="75"/>
                  </a:lnTo>
                  <a:lnTo>
                    <a:pt x="62" y="81"/>
                  </a:lnTo>
                  <a:lnTo>
                    <a:pt x="61" y="84"/>
                  </a:lnTo>
                  <a:lnTo>
                    <a:pt x="61" y="87"/>
                  </a:lnTo>
                  <a:lnTo>
                    <a:pt x="61" y="87"/>
                  </a:lnTo>
                  <a:lnTo>
                    <a:pt x="65" y="99"/>
                  </a:lnTo>
                  <a:lnTo>
                    <a:pt x="65" y="99"/>
                  </a:lnTo>
                  <a:lnTo>
                    <a:pt x="68" y="106"/>
                  </a:lnTo>
                  <a:lnTo>
                    <a:pt x="71" y="110"/>
                  </a:lnTo>
                  <a:lnTo>
                    <a:pt x="73" y="113"/>
                  </a:lnTo>
                  <a:lnTo>
                    <a:pt x="73" y="113"/>
                  </a:lnTo>
                  <a:lnTo>
                    <a:pt x="73" y="114"/>
                  </a:lnTo>
                  <a:lnTo>
                    <a:pt x="73" y="117"/>
                  </a:lnTo>
                  <a:lnTo>
                    <a:pt x="74" y="122"/>
                  </a:lnTo>
                  <a:lnTo>
                    <a:pt x="74" y="122"/>
                  </a:lnTo>
                  <a:lnTo>
                    <a:pt x="75" y="125"/>
                  </a:lnTo>
                  <a:lnTo>
                    <a:pt x="78" y="127"/>
                  </a:lnTo>
                  <a:lnTo>
                    <a:pt x="81" y="130"/>
                  </a:lnTo>
                  <a:lnTo>
                    <a:pt x="84" y="133"/>
                  </a:lnTo>
                  <a:lnTo>
                    <a:pt x="84" y="133"/>
                  </a:lnTo>
                  <a:lnTo>
                    <a:pt x="86" y="135"/>
                  </a:lnTo>
                  <a:lnTo>
                    <a:pt x="87" y="136"/>
                  </a:lnTo>
                  <a:lnTo>
                    <a:pt x="89" y="136"/>
                  </a:lnTo>
                  <a:lnTo>
                    <a:pt x="90" y="138"/>
                  </a:lnTo>
                  <a:lnTo>
                    <a:pt x="90" y="138"/>
                  </a:lnTo>
                  <a:lnTo>
                    <a:pt x="91" y="141"/>
                  </a:lnTo>
                  <a:lnTo>
                    <a:pt x="91" y="142"/>
                  </a:lnTo>
                  <a:lnTo>
                    <a:pt x="93" y="142"/>
                  </a:lnTo>
                  <a:lnTo>
                    <a:pt x="93" y="142"/>
                  </a:lnTo>
                  <a:lnTo>
                    <a:pt x="94" y="142"/>
                  </a:lnTo>
                  <a:lnTo>
                    <a:pt x="94" y="143"/>
                  </a:lnTo>
                  <a:lnTo>
                    <a:pt x="94" y="146"/>
                  </a:lnTo>
                  <a:lnTo>
                    <a:pt x="93" y="148"/>
                  </a:lnTo>
                  <a:close/>
                </a:path>
              </a:pathLst>
            </a:custGeom>
            <a:solidFill>
              <a:srgbClr val="72C7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93" name="Freeform 1014"/>
            <p:cNvSpPr>
              <a:spLocks/>
            </p:cNvSpPr>
            <p:nvPr/>
          </p:nvSpPr>
          <p:spPr bwMode="auto">
            <a:xfrm>
              <a:off x="5621338" y="1943529"/>
              <a:ext cx="149225" cy="241300"/>
            </a:xfrm>
            <a:custGeom>
              <a:avLst/>
              <a:gdLst>
                <a:gd name="T0" fmla="*/ 87 w 94"/>
                <a:gd name="T1" fmla="*/ 151 h 152"/>
                <a:gd name="T2" fmla="*/ 80 w 94"/>
                <a:gd name="T3" fmla="*/ 149 h 152"/>
                <a:gd name="T4" fmla="*/ 74 w 94"/>
                <a:gd name="T5" fmla="*/ 152 h 152"/>
                <a:gd name="T6" fmla="*/ 65 w 94"/>
                <a:gd name="T7" fmla="*/ 143 h 152"/>
                <a:gd name="T8" fmla="*/ 62 w 94"/>
                <a:gd name="T9" fmla="*/ 148 h 152"/>
                <a:gd name="T10" fmla="*/ 54 w 94"/>
                <a:gd name="T11" fmla="*/ 143 h 152"/>
                <a:gd name="T12" fmla="*/ 33 w 94"/>
                <a:gd name="T13" fmla="*/ 139 h 152"/>
                <a:gd name="T14" fmla="*/ 35 w 94"/>
                <a:gd name="T15" fmla="*/ 127 h 152"/>
                <a:gd name="T16" fmla="*/ 35 w 94"/>
                <a:gd name="T17" fmla="*/ 117 h 152"/>
                <a:gd name="T18" fmla="*/ 32 w 94"/>
                <a:gd name="T19" fmla="*/ 112 h 152"/>
                <a:gd name="T20" fmla="*/ 26 w 94"/>
                <a:gd name="T21" fmla="*/ 114 h 152"/>
                <a:gd name="T22" fmla="*/ 20 w 94"/>
                <a:gd name="T23" fmla="*/ 110 h 152"/>
                <a:gd name="T24" fmla="*/ 6 w 94"/>
                <a:gd name="T25" fmla="*/ 106 h 152"/>
                <a:gd name="T26" fmla="*/ 0 w 94"/>
                <a:gd name="T27" fmla="*/ 96 h 152"/>
                <a:gd name="T28" fmla="*/ 5 w 94"/>
                <a:gd name="T29" fmla="*/ 77 h 152"/>
                <a:gd name="T30" fmla="*/ 9 w 94"/>
                <a:gd name="T31" fmla="*/ 74 h 152"/>
                <a:gd name="T32" fmla="*/ 12 w 94"/>
                <a:gd name="T33" fmla="*/ 72 h 152"/>
                <a:gd name="T34" fmla="*/ 19 w 94"/>
                <a:gd name="T35" fmla="*/ 75 h 152"/>
                <a:gd name="T36" fmla="*/ 18 w 94"/>
                <a:gd name="T37" fmla="*/ 64 h 152"/>
                <a:gd name="T38" fmla="*/ 25 w 94"/>
                <a:gd name="T39" fmla="*/ 46 h 152"/>
                <a:gd name="T40" fmla="*/ 20 w 94"/>
                <a:gd name="T41" fmla="*/ 43 h 152"/>
                <a:gd name="T42" fmla="*/ 15 w 94"/>
                <a:gd name="T43" fmla="*/ 39 h 152"/>
                <a:gd name="T44" fmla="*/ 18 w 94"/>
                <a:gd name="T45" fmla="*/ 33 h 152"/>
                <a:gd name="T46" fmla="*/ 25 w 94"/>
                <a:gd name="T47" fmla="*/ 32 h 152"/>
                <a:gd name="T48" fmla="*/ 26 w 94"/>
                <a:gd name="T49" fmla="*/ 25 h 152"/>
                <a:gd name="T50" fmla="*/ 35 w 94"/>
                <a:gd name="T51" fmla="*/ 23 h 152"/>
                <a:gd name="T52" fmla="*/ 41 w 94"/>
                <a:gd name="T53" fmla="*/ 6 h 152"/>
                <a:gd name="T54" fmla="*/ 51 w 94"/>
                <a:gd name="T55" fmla="*/ 7 h 152"/>
                <a:gd name="T56" fmla="*/ 51 w 94"/>
                <a:gd name="T57" fmla="*/ 0 h 152"/>
                <a:gd name="T58" fmla="*/ 57 w 94"/>
                <a:gd name="T59" fmla="*/ 3 h 152"/>
                <a:gd name="T60" fmla="*/ 67 w 94"/>
                <a:gd name="T61" fmla="*/ 6 h 152"/>
                <a:gd name="T62" fmla="*/ 80 w 94"/>
                <a:gd name="T63" fmla="*/ 13 h 152"/>
                <a:gd name="T64" fmla="*/ 78 w 94"/>
                <a:gd name="T65" fmla="*/ 23 h 152"/>
                <a:gd name="T66" fmla="*/ 74 w 94"/>
                <a:gd name="T67" fmla="*/ 29 h 152"/>
                <a:gd name="T68" fmla="*/ 74 w 94"/>
                <a:gd name="T69" fmla="*/ 35 h 152"/>
                <a:gd name="T70" fmla="*/ 67 w 94"/>
                <a:gd name="T71" fmla="*/ 33 h 152"/>
                <a:gd name="T72" fmla="*/ 68 w 94"/>
                <a:gd name="T73" fmla="*/ 42 h 152"/>
                <a:gd name="T74" fmla="*/ 61 w 94"/>
                <a:gd name="T75" fmla="*/ 55 h 152"/>
                <a:gd name="T76" fmla="*/ 61 w 94"/>
                <a:gd name="T77" fmla="*/ 68 h 152"/>
                <a:gd name="T78" fmla="*/ 67 w 94"/>
                <a:gd name="T79" fmla="*/ 72 h 152"/>
                <a:gd name="T80" fmla="*/ 61 w 94"/>
                <a:gd name="T81" fmla="*/ 84 h 152"/>
                <a:gd name="T82" fmla="*/ 65 w 94"/>
                <a:gd name="T83" fmla="*/ 99 h 152"/>
                <a:gd name="T84" fmla="*/ 73 w 94"/>
                <a:gd name="T85" fmla="*/ 113 h 152"/>
                <a:gd name="T86" fmla="*/ 74 w 94"/>
                <a:gd name="T87" fmla="*/ 122 h 152"/>
                <a:gd name="T88" fmla="*/ 84 w 94"/>
                <a:gd name="T89" fmla="*/ 133 h 152"/>
                <a:gd name="T90" fmla="*/ 89 w 94"/>
                <a:gd name="T91" fmla="*/ 136 h 152"/>
                <a:gd name="T92" fmla="*/ 91 w 94"/>
                <a:gd name="T93" fmla="*/ 142 h 152"/>
                <a:gd name="T94" fmla="*/ 94 w 94"/>
                <a:gd name="T95" fmla="*/ 1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 h="152">
                  <a:moveTo>
                    <a:pt x="93" y="148"/>
                  </a:moveTo>
                  <a:lnTo>
                    <a:pt x="93" y="148"/>
                  </a:lnTo>
                  <a:lnTo>
                    <a:pt x="90" y="149"/>
                  </a:lnTo>
                  <a:lnTo>
                    <a:pt x="87" y="151"/>
                  </a:lnTo>
                  <a:lnTo>
                    <a:pt x="87" y="151"/>
                  </a:lnTo>
                  <a:lnTo>
                    <a:pt x="83" y="149"/>
                  </a:lnTo>
                  <a:lnTo>
                    <a:pt x="80" y="149"/>
                  </a:lnTo>
                  <a:lnTo>
                    <a:pt x="80" y="149"/>
                  </a:lnTo>
                  <a:lnTo>
                    <a:pt x="77" y="151"/>
                  </a:lnTo>
                  <a:lnTo>
                    <a:pt x="75" y="152"/>
                  </a:lnTo>
                  <a:lnTo>
                    <a:pt x="74" y="152"/>
                  </a:lnTo>
                  <a:lnTo>
                    <a:pt x="74" y="152"/>
                  </a:lnTo>
                  <a:lnTo>
                    <a:pt x="70" y="146"/>
                  </a:lnTo>
                  <a:lnTo>
                    <a:pt x="67" y="145"/>
                  </a:lnTo>
                  <a:lnTo>
                    <a:pt x="65" y="143"/>
                  </a:lnTo>
                  <a:lnTo>
                    <a:pt x="65" y="143"/>
                  </a:lnTo>
                  <a:lnTo>
                    <a:pt x="65" y="145"/>
                  </a:lnTo>
                  <a:lnTo>
                    <a:pt x="64" y="146"/>
                  </a:lnTo>
                  <a:lnTo>
                    <a:pt x="64" y="148"/>
                  </a:lnTo>
                  <a:lnTo>
                    <a:pt x="62" y="148"/>
                  </a:lnTo>
                  <a:lnTo>
                    <a:pt x="62" y="148"/>
                  </a:lnTo>
                  <a:lnTo>
                    <a:pt x="57" y="145"/>
                  </a:lnTo>
                  <a:lnTo>
                    <a:pt x="54" y="143"/>
                  </a:lnTo>
                  <a:lnTo>
                    <a:pt x="54" y="143"/>
                  </a:lnTo>
                  <a:lnTo>
                    <a:pt x="42" y="142"/>
                  </a:lnTo>
                  <a:lnTo>
                    <a:pt x="36" y="141"/>
                  </a:lnTo>
                  <a:lnTo>
                    <a:pt x="33" y="139"/>
                  </a:lnTo>
                  <a:lnTo>
                    <a:pt x="33" y="139"/>
                  </a:lnTo>
                  <a:lnTo>
                    <a:pt x="35" y="133"/>
                  </a:lnTo>
                  <a:lnTo>
                    <a:pt x="36" y="130"/>
                  </a:lnTo>
                  <a:lnTo>
                    <a:pt x="35" y="127"/>
                  </a:lnTo>
                  <a:lnTo>
                    <a:pt x="35" y="127"/>
                  </a:lnTo>
                  <a:lnTo>
                    <a:pt x="35" y="125"/>
                  </a:lnTo>
                  <a:lnTo>
                    <a:pt x="35" y="122"/>
                  </a:lnTo>
                  <a:lnTo>
                    <a:pt x="36" y="120"/>
                  </a:lnTo>
                  <a:lnTo>
                    <a:pt x="35" y="117"/>
                  </a:lnTo>
                  <a:lnTo>
                    <a:pt x="35" y="117"/>
                  </a:lnTo>
                  <a:lnTo>
                    <a:pt x="33" y="116"/>
                  </a:lnTo>
                  <a:lnTo>
                    <a:pt x="32" y="113"/>
                  </a:lnTo>
                  <a:lnTo>
                    <a:pt x="32" y="112"/>
                  </a:lnTo>
                  <a:lnTo>
                    <a:pt x="31" y="112"/>
                  </a:lnTo>
                  <a:lnTo>
                    <a:pt x="31" y="112"/>
                  </a:lnTo>
                  <a:lnTo>
                    <a:pt x="26" y="114"/>
                  </a:lnTo>
                  <a:lnTo>
                    <a:pt x="26" y="114"/>
                  </a:lnTo>
                  <a:lnTo>
                    <a:pt x="23" y="114"/>
                  </a:lnTo>
                  <a:lnTo>
                    <a:pt x="23" y="114"/>
                  </a:lnTo>
                  <a:lnTo>
                    <a:pt x="22" y="112"/>
                  </a:lnTo>
                  <a:lnTo>
                    <a:pt x="20" y="110"/>
                  </a:lnTo>
                  <a:lnTo>
                    <a:pt x="20" y="110"/>
                  </a:lnTo>
                  <a:lnTo>
                    <a:pt x="13" y="109"/>
                  </a:lnTo>
                  <a:lnTo>
                    <a:pt x="6" y="106"/>
                  </a:lnTo>
                  <a:lnTo>
                    <a:pt x="6" y="106"/>
                  </a:lnTo>
                  <a:lnTo>
                    <a:pt x="2" y="103"/>
                  </a:lnTo>
                  <a:lnTo>
                    <a:pt x="0" y="99"/>
                  </a:lnTo>
                  <a:lnTo>
                    <a:pt x="0" y="96"/>
                  </a:lnTo>
                  <a:lnTo>
                    <a:pt x="0" y="96"/>
                  </a:lnTo>
                  <a:lnTo>
                    <a:pt x="2" y="84"/>
                  </a:lnTo>
                  <a:lnTo>
                    <a:pt x="3" y="80"/>
                  </a:lnTo>
                  <a:lnTo>
                    <a:pt x="5" y="77"/>
                  </a:lnTo>
                  <a:lnTo>
                    <a:pt x="5" y="77"/>
                  </a:lnTo>
                  <a:lnTo>
                    <a:pt x="7" y="77"/>
                  </a:lnTo>
                  <a:lnTo>
                    <a:pt x="9" y="75"/>
                  </a:lnTo>
                  <a:lnTo>
                    <a:pt x="9" y="75"/>
                  </a:lnTo>
                  <a:lnTo>
                    <a:pt x="9" y="74"/>
                  </a:lnTo>
                  <a:lnTo>
                    <a:pt x="10" y="72"/>
                  </a:lnTo>
                  <a:lnTo>
                    <a:pt x="10" y="71"/>
                  </a:lnTo>
                  <a:lnTo>
                    <a:pt x="12" y="72"/>
                  </a:lnTo>
                  <a:lnTo>
                    <a:pt x="12" y="72"/>
                  </a:lnTo>
                  <a:lnTo>
                    <a:pt x="18" y="75"/>
                  </a:lnTo>
                  <a:lnTo>
                    <a:pt x="19" y="75"/>
                  </a:lnTo>
                  <a:lnTo>
                    <a:pt x="19" y="75"/>
                  </a:lnTo>
                  <a:lnTo>
                    <a:pt x="19" y="75"/>
                  </a:lnTo>
                  <a:lnTo>
                    <a:pt x="18" y="72"/>
                  </a:lnTo>
                  <a:lnTo>
                    <a:pt x="16" y="68"/>
                  </a:lnTo>
                  <a:lnTo>
                    <a:pt x="16" y="68"/>
                  </a:lnTo>
                  <a:lnTo>
                    <a:pt x="18" y="64"/>
                  </a:lnTo>
                  <a:lnTo>
                    <a:pt x="19" y="58"/>
                  </a:lnTo>
                  <a:lnTo>
                    <a:pt x="22" y="51"/>
                  </a:lnTo>
                  <a:lnTo>
                    <a:pt x="22" y="51"/>
                  </a:lnTo>
                  <a:lnTo>
                    <a:pt x="25" y="46"/>
                  </a:lnTo>
                  <a:lnTo>
                    <a:pt x="26" y="45"/>
                  </a:lnTo>
                  <a:lnTo>
                    <a:pt x="25" y="43"/>
                  </a:lnTo>
                  <a:lnTo>
                    <a:pt x="25" y="43"/>
                  </a:lnTo>
                  <a:lnTo>
                    <a:pt x="20" y="43"/>
                  </a:lnTo>
                  <a:lnTo>
                    <a:pt x="19" y="43"/>
                  </a:lnTo>
                  <a:lnTo>
                    <a:pt x="16" y="41"/>
                  </a:lnTo>
                  <a:lnTo>
                    <a:pt x="16" y="41"/>
                  </a:lnTo>
                  <a:lnTo>
                    <a:pt x="15" y="39"/>
                  </a:lnTo>
                  <a:lnTo>
                    <a:pt x="15" y="36"/>
                  </a:lnTo>
                  <a:lnTo>
                    <a:pt x="15" y="35"/>
                  </a:lnTo>
                  <a:lnTo>
                    <a:pt x="18" y="33"/>
                  </a:lnTo>
                  <a:lnTo>
                    <a:pt x="18" y="33"/>
                  </a:lnTo>
                  <a:lnTo>
                    <a:pt x="22" y="33"/>
                  </a:lnTo>
                  <a:lnTo>
                    <a:pt x="23" y="33"/>
                  </a:lnTo>
                  <a:lnTo>
                    <a:pt x="25" y="32"/>
                  </a:lnTo>
                  <a:lnTo>
                    <a:pt x="25" y="32"/>
                  </a:lnTo>
                  <a:lnTo>
                    <a:pt x="23" y="28"/>
                  </a:lnTo>
                  <a:lnTo>
                    <a:pt x="25" y="26"/>
                  </a:lnTo>
                  <a:lnTo>
                    <a:pt x="26" y="25"/>
                  </a:lnTo>
                  <a:lnTo>
                    <a:pt x="26" y="25"/>
                  </a:lnTo>
                  <a:lnTo>
                    <a:pt x="31" y="25"/>
                  </a:lnTo>
                  <a:lnTo>
                    <a:pt x="33" y="25"/>
                  </a:lnTo>
                  <a:lnTo>
                    <a:pt x="35" y="23"/>
                  </a:lnTo>
                  <a:lnTo>
                    <a:pt x="35" y="23"/>
                  </a:lnTo>
                  <a:lnTo>
                    <a:pt x="36" y="20"/>
                  </a:lnTo>
                  <a:lnTo>
                    <a:pt x="38" y="15"/>
                  </a:lnTo>
                  <a:lnTo>
                    <a:pt x="39" y="9"/>
                  </a:lnTo>
                  <a:lnTo>
                    <a:pt x="41" y="6"/>
                  </a:lnTo>
                  <a:lnTo>
                    <a:pt x="41" y="6"/>
                  </a:lnTo>
                  <a:lnTo>
                    <a:pt x="44" y="6"/>
                  </a:lnTo>
                  <a:lnTo>
                    <a:pt x="48" y="6"/>
                  </a:lnTo>
                  <a:lnTo>
                    <a:pt x="51" y="7"/>
                  </a:lnTo>
                  <a:lnTo>
                    <a:pt x="52" y="6"/>
                  </a:lnTo>
                  <a:lnTo>
                    <a:pt x="52" y="6"/>
                  </a:lnTo>
                  <a:lnTo>
                    <a:pt x="51" y="1"/>
                  </a:lnTo>
                  <a:lnTo>
                    <a:pt x="51" y="0"/>
                  </a:lnTo>
                  <a:lnTo>
                    <a:pt x="52" y="0"/>
                  </a:lnTo>
                  <a:lnTo>
                    <a:pt x="52" y="0"/>
                  </a:lnTo>
                  <a:lnTo>
                    <a:pt x="55" y="0"/>
                  </a:lnTo>
                  <a:lnTo>
                    <a:pt x="57" y="3"/>
                  </a:lnTo>
                  <a:lnTo>
                    <a:pt x="60" y="4"/>
                  </a:lnTo>
                  <a:lnTo>
                    <a:pt x="62" y="4"/>
                  </a:lnTo>
                  <a:lnTo>
                    <a:pt x="62" y="4"/>
                  </a:lnTo>
                  <a:lnTo>
                    <a:pt x="67" y="6"/>
                  </a:lnTo>
                  <a:lnTo>
                    <a:pt x="71" y="9"/>
                  </a:lnTo>
                  <a:lnTo>
                    <a:pt x="71" y="9"/>
                  </a:lnTo>
                  <a:lnTo>
                    <a:pt x="77" y="12"/>
                  </a:lnTo>
                  <a:lnTo>
                    <a:pt x="80" y="13"/>
                  </a:lnTo>
                  <a:lnTo>
                    <a:pt x="80" y="13"/>
                  </a:lnTo>
                  <a:lnTo>
                    <a:pt x="80" y="17"/>
                  </a:lnTo>
                  <a:lnTo>
                    <a:pt x="80" y="22"/>
                  </a:lnTo>
                  <a:lnTo>
                    <a:pt x="78" y="23"/>
                  </a:lnTo>
                  <a:lnTo>
                    <a:pt x="78" y="23"/>
                  </a:lnTo>
                  <a:lnTo>
                    <a:pt x="75" y="26"/>
                  </a:lnTo>
                  <a:lnTo>
                    <a:pt x="74" y="29"/>
                  </a:lnTo>
                  <a:lnTo>
                    <a:pt x="74" y="29"/>
                  </a:lnTo>
                  <a:lnTo>
                    <a:pt x="75" y="33"/>
                  </a:lnTo>
                  <a:lnTo>
                    <a:pt x="75" y="35"/>
                  </a:lnTo>
                  <a:lnTo>
                    <a:pt x="74" y="35"/>
                  </a:lnTo>
                  <a:lnTo>
                    <a:pt x="74" y="35"/>
                  </a:lnTo>
                  <a:lnTo>
                    <a:pt x="70" y="33"/>
                  </a:lnTo>
                  <a:lnTo>
                    <a:pt x="67" y="32"/>
                  </a:lnTo>
                  <a:lnTo>
                    <a:pt x="67" y="33"/>
                  </a:lnTo>
                  <a:lnTo>
                    <a:pt x="67" y="33"/>
                  </a:lnTo>
                  <a:lnTo>
                    <a:pt x="67" y="36"/>
                  </a:lnTo>
                  <a:lnTo>
                    <a:pt x="67" y="38"/>
                  </a:lnTo>
                  <a:lnTo>
                    <a:pt x="68" y="42"/>
                  </a:lnTo>
                  <a:lnTo>
                    <a:pt x="68" y="42"/>
                  </a:lnTo>
                  <a:lnTo>
                    <a:pt x="65" y="48"/>
                  </a:lnTo>
                  <a:lnTo>
                    <a:pt x="61" y="54"/>
                  </a:lnTo>
                  <a:lnTo>
                    <a:pt x="61" y="54"/>
                  </a:lnTo>
                  <a:lnTo>
                    <a:pt x="61" y="55"/>
                  </a:lnTo>
                  <a:lnTo>
                    <a:pt x="62" y="58"/>
                  </a:lnTo>
                  <a:lnTo>
                    <a:pt x="62" y="58"/>
                  </a:lnTo>
                  <a:lnTo>
                    <a:pt x="61" y="65"/>
                  </a:lnTo>
                  <a:lnTo>
                    <a:pt x="61" y="68"/>
                  </a:lnTo>
                  <a:lnTo>
                    <a:pt x="62" y="70"/>
                  </a:lnTo>
                  <a:lnTo>
                    <a:pt x="62" y="70"/>
                  </a:lnTo>
                  <a:lnTo>
                    <a:pt x="65" y="71"/>
                  </a:lnTo>
                  <a:lnTo>
                    <a:pt x="67" y="72"/>
                  </a:lnTo>
                  <a:lnTo>
                    <a:pt x="65" y="75"/>
                  </a:lnTo>
                  <a:lnTo>
                    <a:pt x="65" y="75"/>
                  </a:lnTo>
                  <a:lnTo>
                    <a:pt x="62" y="81"/>
                  </a:lnTo>
                  <a:lnTo>
                    <a:pt x="61" y="84"/>
                  </a:lnTo>
                  <a:lnTo>
                    <a:pt x="61" y="87"/>
                  </a:lnTo>
                  <a:lnTo>
                    <a:pt x="61" y="87"/>
                  </a:lnTo>
                  <a:lnTo>
                    <a:pt x="65" y="99"/>
                  </a:lnTo>
                  <a:lnTo>
                    <a:pt x="65" y="99"/>
                  </a:lnTo>
                  <a:lnTo>
                    <a:pt x="68" y="106"/>
                  </a:lnTo>
                  <a:lnTo>
                    <a:pt x="71" y="110"/>
                  </a:lnTo>
                  <a:lnTo>
                    <a:pt x="73" y="113"/>
                  </a:lnTo>
                  <a:lnTo>
                    <a:pt x="73" y="113"/>
                  </a:lnTo>
                  <a:lnTo>
                    <a:pt x="73" y="114"/>
                  </a:lnTo>
                  <a:lnTo>
                    <a:pt x="73" y="117"/>
                  </a:lnTo>
                  <a:lnTo>
                    <a:pt x="74" y="122"/>
                  </a:lnTo>
                  <a:lnTo>
                    <a:pt x="74" y="122"/>
                  </a:lnTo>
                  <a:lnTo>
                    <a:pt x="75" y="125"/>
                  </a:lnTo>
                  <a:lnTo>
                    <a:pt x="78" y="127"/>
                  </a:lnTo>
                  <a:lnTo>
                    <a:pt x="81" y="130"/>
                  </a:lnTo>
                  <a:lnTo>
                    <a:pt x="84" y="133"/>
                  </a:lnTo>
                  <a:lnTo>
                    <a:pt x="84" y="133"/>
                  </a:lnTo>
                  <a:lnTo>
                    <a:pt x="86" y="135"/>
                  </a:lnTo>
                  <a:lnTo>
                    <a:pt x="87" y="136"/>
                  </a:lnTo>
                  <a:lnTo>
                    <a:pt x="89" y="136"/>
                  </a:lnTo>
                  <a:lnTo>
                    <a:pt x="90" y="138"/>
                  </a:lnTo>
                  <a:lnTo>
                    <a:pt x="90" y="138"/>
                  </a:lnTo>
                  <a:lnTo>
                    <a:pt x="91" y="141"/>
                  </a:lnTo>
                  <a:lnTo>
                    <a:pt x="91" y="142"/>
                  </a:lnTo>
                  <a:lnTo>
                    <a:pt x="93" y="142"/>
                  </a:lnTo>
                  <a:lnTo>
                    <a:pt x="93" y="142"/>
                  </a:lnTo>
                  <a:lnTo>
                    <a:pt x="94" y="142"/>
                  </a:lnTo>
                  <a:lnTo>
                    <a:pt x="94" y="143"/>
                  </a:lnTo>
                  <a:lnTo>
                    <a:pt x="94" y="146"/>
                  </a:lnTo>
                  <a:lnTo>
                    <a:pt x="93" y="14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94" name="Freeform 1015"/>
            <p:cNvSpPr>
              <a:spLocks/>
            </p:cNvSpPr>
            <p:nvPr/>
          </p:nvSpPr>
          <p:spPr bwMode="auto">
            <a:xfrm>
              <a:off x="5645151" y="2129267"/>
              <a:ext cx="17463" cy="28575"/>
            </a:xfrm>
            <a:custGeom>
              <a:avLst/>
              <a:gdLst>
                <a:gd name="T0" fmla="*/ 10 w 11"/>
                <a:gd name="T1" fmla="*/ 18 h 18"/>
                <a:gd name="T2" fmla="*/ 10 w 11"/>
                <a:gd name="T3" fmla="*/ 18 h 18"/>
                <a:gd name="T4" fmla="*/ 8 w 11"/>
                <a:gd name="T5" fmla="*/ 18 h 18"/>
                <a:gd name="T6" fmla="*/ 7 w 11"/>
                <a:gd name="T7" fmla="*/ 16 h 18"/>
                <a:gd name="T8" fmla="*/ 5 w 11"/>
                <a:gd name="T9" fmla="*/ 13 h 18"/>
                <a:gd name="T10" fmla="*/ 4 w 11"/>
                <a:gd name="T11" fmla="*/ 9 h 18"/>
                <a:gd name="T12" fmla="*/ 3 w 11"/>
                <a:gd name="T13" fmla="*/ 8 h 18"/>
                <a:gd name="T14" fmla="*/ 3 w 11"/>
                <a:gd name="T15" fmla="*/ 8 h 18"/>
                <a:gd name="T16" fmla="*/ 0 w 11"/>
                <a:gd name="T17" fmla="*/ 5 h 18"/>
                <a:gd name="T18" fmla="*/ 0 w 11"/>
                <a:gd name="T19" fmla="*/ 3 h 18"/>
                <a:gd name="T20" fmla="*/ 0 w 11"/>
                <a:gd name="T21" fmla="*/ 0 h 18"/>
                <a:gd name="T22" fmla="*/ 1 w 11"/>
                <a:gd name="T23" fmla="*/ 0 h 18"/>
                <a:gd name="T24" fmla="*/ 1 w 11"/>
                <a:gd name="T25" fmla="*/ 0 h 18"/>
                <a:gd name="T26" fmla="*/ 7 w 11"/>
                <a:gd name="T27" fmla="*/ 2 h 18"/>
                <a:gd name="T28" fmla="*/ 8 w 11"/>
                <a:gd name="T29" fmla="*/ 3 h 18"/>
                <a:gd name="T30" fmla="*/ 8 w 11"/>
                <a:gd name="T31" fmla="*/ 5 h 18"/>
                <a:gd name="T32" fmla="*/ 8 w 11"/>
                <a:gd name="T33" fmla="*/ 5 h 18"/>
                <a:gd name="T34" fmla="*/ 10 w 11"/>
                <a:gd name="T35" fmla="*/ 12 h 18"/>
                <a:gd name="T36" fmla="*/ 11 w 11"/>
                <a:gd name="T37" fmla="*/ 16 h 18"/>
                <a:gd name="T38" fmla="*/ 10 w 11"/>
                <a:gd name="T3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18">
                  <a:moveTo>
                    <a:pt x="10" y="18"/>
                  </a:moveTo>
                  <a:lnTo>
                    <a:pt x="10" y="18"/>
                  </a:lnTo>
                  <a:lnTo>
                    <a:pt x="8" y="18"/>
                  </a:lnTo>
                  <a:lnTo>
                    <a:pt x="7" y="16"/>
                  </a:lnTo>
                  <a:lnTo>
                    <a:pt x="5" y="13"/>
                  </a:lnTo>
                  <a:lnTo>
                    <a:pt x="4" y="9"/>
                  </a:lnTo>
                  <a:lnTo>
                    <a:pt x="3" y="8"/>
                  </a:lnTo>
                  <a:lnTo>
                    <a:pt x="3" y="8"/>
                  </a:lnTo>
                  <a:lnTo>
                    <a:pt x="0" y="5"/>
                  </a:lnTo>
                  <a:lnTo>
                    <a:pt x="0" y="3"/>
                  </a:lnTo>
                  <a:lnTo>
                    <a:pt x="0" y="0"/>
                  </a:lnTo>
                  <a:lnTo>
                    <a:pt x="1" y="0"/>
                  </a:lnTo>
                  <a:lnTo>
                    <a:pt x="1" y="0"/>
                  </a:lnTo>
                  <a:lnTo>
                    <a:pt x="7" y="2"/>
                  </a:lnTo>
                  <a:lnTo>
                    <a:pt x="8" y="3"/>
                  </a:lnTo>
                  <a:lnTo>
                    <a:pt x="8" y="5"/>
                  </a:lnTo>
                  <a:lnTo>
                    <a:pt x="8" y="5"/>
                  </a:lnTo>
                  <a:lnTo>
                    <a:pt x="10" y="12"/>
                  </a:lnTo>
                  <a:lnTo>
                    <a:pt x="11" y="16"/>
                  </a:lnTo>
                  <a:lnTo>
                    <a:pt x="10" y="18"/>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95" name="Freeform 1016"/>
            <p:cNvSpPr>
              <a:spLocks/>
            </p:cNvSpPr>
            <p:nvPr/>
          </p:nvSpPr>
          <p:spPr bwMode="auto">
            <a:xfrm>
              <a:off x="5645151" y="2129267"/>
              <a:ext cx="17463" cy="28575"/>
            </a:xfrm>
            <a:custGeom>
              <a:avLst/>
              <a:gdLst>
                <a:gd name="T0" fmla="*/ 10 w 11"/>
                <a:gd name="T1" fmla="*/ 18 h 18"/>
                <a:gd name="T2" fmla="*/ 10 w 11"/>
                <a:gd name="T3" fmla="*/ 18 h 18"/>
                <a:gd name="T4" fmla="*/ 8 w 11"/>
                <a:gd name="T5" fmla="*/ 18 h 18"/>
                <a:gd name="T6" fmla="*/ 7 w 11"/>
                <a:gd name="T7" fmla="*/ 16 h 18"/>
                <a:gd name="T8" fmla="*/ 5 w 11"/>
                <a:gd name="T9" fmla="*/ 13 h 18"/>
                <a:gd name="T10" fmla="*/ 4 w 11"/>
                <a:gd name="T11" fmla="*/ 9 h 18"/>
                <a:gd name="T12" fmla="*/ 3 w 11"/>
                <a:gd name="T13" fmla="*/ 8 h 18"/>
                <a:gd name="T14" fmla="*/ 3 w 11"/>
                <a:gd name="T15" fmla="*/ 8 h 18"/>
                <a:gd name="T16" fmla="*/ 0 w 11"/>
                <a:gd name="T17" fmla="*/ 5 h 18"/>
                <a:gd name="T18" fmla="*/ 0 w 11"/>
                <a:gd name="T19" fmla="*/ 3 h 18"/>
                <a:gd name="T20" fmla="*/ 0 w 11"/>
                <a:gd name="T21" fmla="*/ 0 h 18"/>
                <a:gd name="T22" fmla="*/ 1 w 11"/>
                <a:gd name="T23" fmla="*/ 0 h 18"/>
                <a:gd name="T24" fmla="*/ 1 w 11"/>
                <a:gd name="T25" fmla="*/ 0 h 18"/>
                <a:gd name="T26" fmla="*/ 7 w 11"/>
                <a:gd name="T27" fmla="*/ 2 h 18"/>
                <a:gd name="T28" fmla="*/ 8 w 11"/>
                <a:gd name="T29" fmla="*/ 3 h 18"/>
                <a:gd name="T30" fmla="*/ 8 w 11"/>
                <a:gd name="T31" fmla="*/ 5 h 18"/>
                <a:gd name="T32" fmla="*/ 8 w 11"/>
                <a:gd name="T33" fmla="*/ 5 h 18"/>
                <a:gd name="T34" fmla="*/ 10 w 11"/>
                <a:gd name="T35" fmla="*/ 12 h 18"/>
                <a:gd name="T36" fmla="*/ 11 w 11"/>
                <a:gd name="T37" fmla="*/ 16 h 18"/>
                <a:gd name="T38" fmla="*/ 10 w 11"/>
                <a:gd name="T3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18">
                  <a:moveTo>
                    <a:pt x="10" y="18"/>
                  </a:moveTo>
                  <a:lnTo>
                    <a:pt x="10" y="18"/>
                  </a:lnTo>
                  <a:lnTo>
                    <a:pt x="8" y="18"/>
                  </a:lnTo>
                  <a:lnTo>
                    <a:pt x="7" y="16"/>
                  </a:lnTo>
                  <a:lnTo>
                    <a:pt x="5" y="13"/>
                  </a:lnTo>
                  <a:lnTo>
                    <a:pt x="4" y="9"/>
                  </a:lnTo>
                  <a:lnTo>
                    <a:pt x="3" y="8"/>
                  </a:lnTo>
                  <a:lnTo>
                    <a:pt x="3" y="8"/>
                  </a:lnTo>
                  <a:lnTo>
                    <a:pt x="0" y="5"/>
                  </a:lnTo>
                  <a:lnTo>
                    <a:pt x="0" y="3"/>
                  </a:lnTo>
                  <a:lnTo>
                    <a:pt x="0" y="0"/>
                  </a:lnTo>
                  <a:lnTo>
                    <a:pt x="1" y="0"/>
                  </a:lnTo>
                  <a:lnTo>
                    <a:pt x="1" y="0"/>
                  </a:lnTo>
                  <a:lnTo>
                    <a:pt x="7" y="2"/>
                  </a:lnTo>
                  <a:lnTo>
                    <a:pt x="8" y="3"/>
                  </a:lnTo>
                  <a:lnTo>
                    <a:pt x="8" y="5"/>
                  </a:lnTo>
                  <a:lnTo>
                    <a:pt x="8" y="5"/>
                  </a:lnTo>
                  <a:lnTo>
                    <a:pt x="10" y="12"/>
                  </a:lnTo>
                  <a:lnTo>
                    <a:pt x="11" y="16"/>
                  </a:lnTo>
                  <a:lnTo>
                    <a:pt x="10"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96" name="Freeform 1017"/>
            <p:cNvSpPr>
              <a:spLocks/>
            </p:cNvSpPr>
            <p:nvPr/>
          </p:nvSpPr>
          <p:spPr bwMode="auto">
            <a:xfrm>
              <a:off x="5670551" y="1591104"/>
              <a:ext cx="395288" cy="363538"/>
            </a:xfrm>
            <a:custGeom>
              <a:avLst/>
              <a:gdLst>
                <a:gd name="T0" fmla="*/ 43 w 249"/>
                <a:gd name="T1" fmla="*/ 223 h 229"/>
                <a:gd name="T2" fmla="*/ 34 w 249"/>
                <a:gd name="T3" fmla="*/ 221 h 229"/>
                <a:gd name="T4" fmla="*/ 11 w 249"/>
                <a:gd name="T5" fmla="*/ 213 h 229"/>
                <a:gd name="T6" fmla="*/ 11 w 249"/>
                <a:gd name="T7" fmla="*/ 200 h 229"/>
                <a:gd name="T8" fmla="*/ 5 w 249"/>
                <a:gd name="T9" fmla="*/ 197 h 229"/>
                <a:gd name="T10" fmla="*/ 16 w 249"/>
                <a:gd name="T11" fmla="*/ 187 h 229"/>
                <a:gd name="T12" fmla="*/ 29 w 249"/>
                <a:gd name="T13" fmla="*/ 186 h 229"/>
                <a:gd name="T14" fmla="*/ 30 w 249"/>
                <a:gd name="T15" fmla="*/ 181 h 229"/>
                <a:gd name="T16" fmla="*/ 27 w 249"/>
                <a:gd name="T17" fmla="*/ 168 h 229"/>
                <a:gd name="T18" fmla="*/ 37 w 249"/>
                <a:gd name="T19" fmla="*/ 167 h 229"/>
                <a:gd name="T20" fmla="*/ 33 w 249"/>
                <a:gd name="T21" fmla="*/ 157 h 229"/>
                <a:gd name="T22" fmla="*/ 37 w 249"/>
                <a:gd name="T23" fmla="*/ 151 h 229"/>
                <a:gd name="T24" fmla="*/ 39 w 249"/>
                <a:gd name="T25" fmla="*/ 139 h 229"/>
                <a:gd name="T26" fmla="*/ 37 w 249"/>
                <a:gd name="T27" fmla="*/ 134 h 229"/>
                <a:gd name="T28" fmla="*/ 47 w 249"/>
                <a:gd name="T29" fmla="*/ 132 h 229"/>
                <a:gd name="T30" fmla="*/ 56 w 249"/>
                <a:gd name="T31" fmla="*/ 118 h 229"/>
                <a:gd name="T32" fmla="*/ 66 w 249"/>
                <a:gd name="T33" fmla="*/ 112 h 229"/>
                <a:gd name="T34" fmla="*/ 66 w 249"/>
                <a:gd name="T35" fmla="*/ 102 h 229"/>
                <a:gd name="T36" fmla="*/ 84 w 249"/>
                <a:gd name="T37" fmla="*/ 89 h 229"/>
                <a:gd name="T38" fmla="*/ 86 w 249"/>
                <a:gd name="T39" fmla="*/ 83 h 229"/>
                <a:gd name="T40" fmla="*/ 92 w 249"/>
                <a:gd name="T41" fmla="*/ 84 h 229"/>
                <a:gd name="T42" fmla="*/ 111 w 249"/>
                <a:gd name="T43" fmla="*/ 67 h 229"/>
                <a:gd name="T44" fmla="*/ 113 w 249"/>
                <a:gd name="T45" fmla="*/ 57 h 229"/>
                <a:gd name="T46" fmla="*/ 121 w 249"/>
                <a:gd name="T47" fmla="*/ 54 h 229"/>
                <a:gd name="T48" fmla="*/ 136 w 249"/>
                <a:gd name="T49" fmla="*/ 58 h 229"/>
                <a:gd name="T50" fmla="*/ 146 w 249"/>
                <a:gd name="T51" fmla="*/ 51 h 229"/>
                <a:gd name="T52" fmla="*/ 155 w 249"/>
                <a:gd name="T53" fmla="*/ 61 h 229"/>
                <a:gd name="T54" fmla="*/ 163 w 249"/>
                <a:gd name="T55" fmla="*/ 57 h 229"/>
                <a:gd name="T56" fmla="*/ 188 w 249"/>
                <a:gd name="T57" fmla="*/ 44 h 229"/>
                <a:gd name="T58" fmla="*/ 204 w 249"/>
                <a:gd name="T59" fmla="*/ 32 h 229"/>
                <a:gd name="T60" fmla="*/ 212 w 249"/>
                <a:gd name="T61" fmla="*/ 13 h 229"/>
                <a:gd name="T62" fmla="*/ 218 w 249"/>
                <a:gd name="T63" fmla="*/ 3 h 229"/>
                <a:gd name="T64" fmla="*/ 227 w 249"/>
                <a:gd name="T65" fmla="*/ 3 h 229"/>
                <a:gd name="T66" fmla="*/ 240 w 249"/>
                <a:gd name="T67" fmla="*/ 5 h 229"/>
                <a:gd name="T68" fmla="*/ 243 w 249"/>
                <a:gd name="T69" fmla="*/ 16 h 229"/>
                <a:gd name="T70" fmla="*/ 246 w 249"/>
                <a:gd name="T71" fmla="*/ 28 h 229"/>
                <a:gd name="T72" fmla="*/ 247 w 249"/>
                <a:gd name="T73" fmla="*/ 45 h 229"/>
                <a:gd name="T74" fmla="*/ 241 w 249"/>
                <a:gd name="T75" fmla="*/ 54 h 229"/>
                <a:gd name="T76" fmla="*/ 244 w 249"/>
                <a:gd name="T77" fmla="*/ 67 h 229"/>
                <a:gd name="T78" fmla="*/ 224 w 249"/>
                <a:gd name="T79" fmla="*/ 82 h 229"/>
                <a:gd name="T80" fmla="*/ 202 w 249"/>
                <a:gd name="T81" fmla="*/ 92 h 229"/>
                <a:gd name="T82" fmla="*/ 175 w 249"/>
                <a:gd name="T83" fmla="*/ 90 h 229"/>
                <a:gd name="T84" fmla="*/ 150 w 249"/>
                <a:gd name="T85" fmla="*/ 112 h 229"/>
                <a:gd name="T86" fmla="*/ 134 w 249"/>
                <a:gd name="T87" fmla="*/ 128 h 229"/>
                <a:gd name="T88" fmla="*/ 128 w 249"/>
                <a:gd name="T89" fmla="*/ 124 h 229"/>
                <a:gd name="T90" fmla="*/ 123 w 249"/>
                <a:gd name="T91" fmla="*/ 139 h 229"/>
                <a:gd name="T92" fmla="*/ 117 w 249"/>
                <a:gd name="T93" fmla="*/ 144 h 229"/>
                <a:gd name="T94" fmla="*/ 102 w 249"/>
                <a:gd name="T95" fmla="*/ 141 h 229"/>
                <a:gd name="T96" fmla="*/ 102 w 249"/>
                <a:gd name="T97" fmla="*/ 151 h 229"/>
                <a:gd name="T98" fmla="*/ 92 w 249"/>
                <a:gd name="T99" fmla="*/ 154 h 229"/>
                <a:gd name="T100" fmla="*/ 94 w 249"/>
                <a:gd name="T101" fmla="*/ 160 h 229"/>
                <a:gd name="T102" fmla="*/ 86 w 249"/>
                <a:gd name="T103" fmla="*/ 164 h 229"/>
                <a:gd name="T104" fmla="*/ 84 w 249"/>
                <a:gd name="T105" fmla="*/ 177 h 229"/>
                <a:gd name="T106" fmla="*/ 75 w 249"/>
                <a:gd name="T107" fmla="*/ 180 h 229"/>
                <a:gd name="T108" fmla="*/ 68 w 249"/>
                <a:gd name="T109" fmla="*/ 187 h 229"/>
                <a:gd name="T110" fmla="*/ 72 w 249"/>
                <a:gd name="T111" fmla="*/ 197 h 229"/>
                <a:gd name="T112" fmla="*/ 71 w 249"/>
                <a:gd name="T113" fmla="*/ 203 h 229"/>
                <a:gd name="T114" fmla="*/ 58 w 249"/>
                <a:gd name="T115" fmla="*/ 205 h 229"/>
                <a:gd name="T116" fmla="*/ 62 w 249"/>
                <a:gd name="T117" fmla="*/ 21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9" h="229">
                  <a:moveTo>
                    <a:pt x="55" y="229"/>
                  </a:moveTo>
                  <a:lnTo>
                    <a:pt x="55" y="229"/>
                  </a:lnTo>
                  <a:lnTo>
                    <a:pt x="50" y="229"/>
                  </a:lnTo>
                  <a:lnTo>
                    <a:pt x="47" y="228"/>
                  </a:lnTo>
                  <a:lnTo>
                    <a:pt x="44" y="225"/>
                  </a:lnTo>
                  <a:lnTo>
                    <a:pt x="43" y="223"/>
                  </a:lnTo>
                  <a:lnTo>
                    <a:pt x="43" y="223"/>
                  </a:lnTo>
                  <a:lnTo>
                    <a:pt x="42" y="222"/>
                  </a:lnTo>
                  <a:lnTo>
                    <a:pt x="39" y="222"/>
                  </a:lnTo>
                  <a:lnTo>
                    <a:pt x="36" y="221"/>
                  </a:lnTo>
                  <a:lnTo>
                    <a:pt x="34" y="221"/>
                  </a:lnTo>
                  <a:lnTo>
                    <a:pt x="34" y="221"/>
                  </a:lnTo>
                  <a:lnTo>
                    <a:pt x="30" y="218"/>
                  </a:lnTo>
                  <a:lnTo>
                    <a:pt x="24" y="215"/>
                  </a:lnTo>
                  <a:lnTo>
                    <a:pt x="24" y="215"/>
                  </a:lnTo>
                  <a:lnTo>
                    <a:pt x="17" y="215"/>
                  </a:lnTo>
                  <a:lnTo>
                    <a:pt x="13" y="213"/>
                  </a:lnTo>
                  <a:lnTo>
                    <a:pt x="11" y="213"/>
                  </a:lnTo>
                  <a:lnTo>
                    <a:pt x="11" y="213"/>
                  </a:lnTo>
                  <a:lnTo>
                    <a:pt x="13" y="206"/>
                  </a:lnTo>
                  <a:lnTo>
                    <a:pt x="13" y="202"/>
                  </a:lnTo>
                  <a:lnTo>
                    <a:pt x="13" y="200"/>
                  </a:lnTo>
                  <a:lnTo>
                    <a:pt x="11" y="200"/>
                  </a:lnTo>
                  <a:lnTo>
                    <a:pt x="11" y="200"/>
                  </a:lnTo>
                  <a:lnTo>
                    <a:pt x="2" y="206"/>
                  </a:lnTo>
                  <a:lnTo>
                    <a:pt x="0" y="208"/>
                  </a:lnTo>
                  <a:lnTo>
                    <a:pt x="0" y="206"/>
                  </a:lnTo>
                  <a:lnTo>
                    <a:pt x="0" y="205"/>
                  </a:lnTo>
                  <a:lnTo>
                    <a:pt x="0" y="205"/>
                  </a:lnTo>
                  <a:lnTo>
                    <a:pt x="5" y="197"/>
                  </a:lnTo>
                  <a:lnTo>
                    <a:pt x="8" y="196"/>
                  </a:lnTo>
                  <a:lnTo>
                    <a:pt x="11" y="195"/>
                  </a:lnTo>
                  <a:lnTo>
                    <a:pt x="11" y="195"/>
                  </a:lnTo>
                  <a:lnTo>
                    <a:pt x="14" y="193"/>
                  </a:lnTo>
                  <a:lnTo>
                    <a:pt x="16" y="192"/>
                  </a:lnTo>
                  <a:lnTo>
                    <a:pt x="16" y="187"/>
                  </a:lnTo>
                  <a:lnTo>
                    <a:pt x="16" y="187"/>
                  </a:lnTo>
                  <a:lnTo>
                    <a:pt x="18" y="183"/>
                  </a:lnTo>
                  <a:lnTo>
                    <a:pt x="23" y="183"/>
                  </a:lnTo>
                  <a:lnTo>
                    <a:pt x="23" y="183"/>
                  </a:lnTo>
                  <a:lnTo>
                    <a:pt x="26" y="183"/>
                  </a:lnTo>
                  <a:lnTo>
                    <a:pt x="29" y="186"/>
                  </a:lnTo>
                  <a:lnTo>
                    <a:pt x="31" y="187"/>
                  </a:lnTo>
                  <a:lnTo>
                    <a:pt x="31" y="187"/>
                  </a:lnTo>
                  <a:lnTo>
                    <a:pt x="33" y="187"/>
                  </a:lnTo>
                  <a:lnTo>
                    <a:pt x="33" y="187"/>
                  </a:lnTo>
                  <a:lnTo>
                    <a:pt x="31" y="184"/>
                  </a:lnTo>
                  <a:lnTo>
                    <a:pt x="30" y="181"/>
                  </a:lnTo>
                  <a:lnTo>
                    <a:pt x="29" y="180"/>
                  </a:lnTo>
                  <a:lnTo>
                    <a:pt x="30" y="177"/>
                  </a:lnTo>
                  <a:lnTo>
                    <a:pt x="30" y="177"/>
                  </a:lnTo>
                  <a:lnTo>
                    <a:pt x="30" y="174"/>
                  </a:lnTo>
                  <a:lnTo>
                    <a:pt x="29" y="171"/>
                  </a:lnTo>
                  <a:lnTo>
                    <a:pt x="27" y="168"/>
                  </a:lnTo>
                  <a:lnTo>
                    <a:pt x="27" y="168"/>
                  </a:lnTo>
                  <a:lnTo>
                    <a:pt x="29" y="167"/>
                  </a:lnTo>
                  <a:lnTo>
                    <a:pt x="29" y="167"/>
                  </a:lnTo>
                  <a:lnTo>
                    <a:pt x="31" y="167"/>
                  </a:lnTo>
                  <a:lnTo>
                    <a:pt x="36" y="167"/>
                  </a:lnTo>
                  <a:lnTo>
                    <a:pt x="37" y="167"/>
                  </a:lnTo>
                  <a:lnTo>
                    <a:pt x="37" y="166"/>
                  </a:lnTo>
                  <a:lnTo>
                    <a:pt x="37" y="166"/>
                  </a:lnTo>
                  <a:lnTo>
                    <a:pt x="33" y="161"/>
                  </a:lnTo>
                  <a:lnTo>
                    <a:pt x="31" y="158"/>
                  </a:lnTo>
                  <a:lnTo>
                    <a:pt x="33" y="157"/>
                  </a:lnTo>
                  <a:lnTo>
                    <a:pt x="33" y="157"/>
                  </a:lnTo>
                  <a:lnTo>
                    <a:pt x="37" y="155"/>
                  </a:lnTo>
                  <a:lnTo>
                    <a:pt x="40" y="155"/>
                  </a:lnTo>
                  <a:lnTo>
                    <a:pt x="42" y="154"/>
                  </a:lnTo>
                  <a:lnTo>
                    <a:pt x="42" y="154"/>
                  </a:lnTo>
                  <a:lnTo>
                    <a:pt x="40" y="152"/>
                  </a:lnTo>
                  <a:lnTo>
                    <a:pt x="37" y="151"/>
                  </a:lnTo>
                  <a:lnTo>
                    <a:pt x="36" y="148"/>
                  </a:lnTo>
                  <a:lnTo>
                    <a:pt x="36" y="147"/>
                  </a:lnTo>
                  <a:lnTo>
                    <a:pt x="36" y="147"/>
                  </a:lnTo>
                  <a:lnTo>
                    <a:pt x="39" y="142"/>
                  </a:lnTo>
                  <a:lnTo>
                    <a:pt x="40" y="139"/>
                  </a:lnTo>
                  <a:lnTo>
                    <a:pt x="39" y="139"/>
                  </a:lnTo>
                  <a:lnTo>
                    <a:pt x="39" y="139"/>
                  </a:lnTo>
                  <a:lnTo>
                    <a:pt x="36" y="138"/>
                  </a:lnTo>
                  <a:lnTo>
                    <a:pt x="34" y="138"/>
                  </a:lnTo>
                  <a:lnTo>
                    <a:pt x="36" y="137"/>
                  </a:lnTo>
                  <a:lnTo>
                    <a:pt x="36" y="137"/>
                  </a:lnTo>
                  <a:lnTo>
                    <a:pt x="37" y="134"/>
                  </a:lnTo>
                  <a:lnTo>
                    <a:pt x="40" y="132"/>
                  </a:lnTo>
                  <a:lnTo>
                    <a:pt x="42" y="132"/>
                  </a:lnTo>
                  <a:lnTo>
                    <a:pt x="42" y="132"/>
                  </a:lnTo>
                  <a:lnTo>
                    <a:pt x="44" y="134"/>
                  </a:lnTo>
                  <a:lnTo>
                    <a:pt x="46" y="134"/>
                  </a:lnTo>
                  <a:lnTo>
                    <a:pt x="47" y="132"/>
                  </a:lnTo>
                  <a:lnTo>
                    <a:pt x="47" y="132"/>
                  </a:lnTo>
                  <a:lnTo>
                    <a:pt x="53" y="124"/>
                  </a:lnTo>
                  <a:lnTo>
                    <a:pt x="56" y="119"/>
                  </a:lnTo>
                  <a:lnTo>
                    <a:pt x="56" y="118"/>
                  </a:lnTo>
                  <a:lnTo>
                    <a:pt x="56" y="118"/>
                  </a:lnTo>
                  <a:lnTo>
                    <a:pt x="56" y="118"/>
                  </a:lnTo>
                  <a:lnTo>
                    <a:pt x="55" y="116"/>
                  </a:lnTo>
                  <a:lnTo>
                    <a:pt x="56" y="115"/>
                  </a:lnTo>
                  <a:lnTo>
                    <a:pt x="62" y="112"/>
                  </a:lnTo>
                  <a:lnTo>
                    <a:pt x="62" y="112"/>
                  </a:lnTo>
                  <a:lnTo>
                    <a:pt x="65" y="112"/>
                  </a:lnTo>
                  <a:lnTo>
                    <a:pt x="66" y="112"/>
                  </a:lnTo>
                  <a:lnTo>
                    <a:pt x="66" y="110"/>
                  </a:lnTo>
                  <a:lnTo>
                    <a:pt x="66" y="110"/>
                  </a:lnTo>
                  <a:lnTo>
                    <a:pt x="66" y="109"/>
                  </a:lnTo>
                  <a:lnTo>
                    <a:pt x="65" y="106"/>
                  </a:lnTo>
                  <a:lnTo>
                    <a:pt x="63" y="105"/>
                  </a:lnTo>
                  <a:lnTo>
                    <a:pt x="66" y="102"/>
                  </a:lnTo>
                  <a:lnTo>
                    <a:pt x="66" y="102"/>
                  </a:lnTo>
                  <a:lnTo>
                    <a:pt x="78" y="96"/>
                  </a:lnTo>
                  <a:lnTo>
                    <a:pt x="78" y="96"/>
                  </a:lnTo>
                  <a:lnTo>
                    <a:pt x="82" y="92"/>
                  </a:lnTo>
                  <a:lnTo>
                    <a:pt x="84" y="90"/>
                  </a:lnTo>
                  <a:lnTo>
                    <a:pt x="84" y="89"/>
                  </a:lnTo>
                  <a:lnTo>
                    <a:pt x="84" y="89"/>
                  </a:lnTo>
                  <a:lnTo>
                    <a:pt x="84" y="84"/>
                  </a:lnTo>
                  <a:lnTo>
                    <a:pt x="84" y="83"/>
                  </a:lnTo>
                  <a:lnTo>
                    <a:pt x="85" y="82"/>
                  </a:lnTo>
                  <a:lnTo>
                    <a:pt x="85" y="82"/>
                  </a:lnTo>
                  <a:lnTo>
                    <a:pt x="86" y="83"/>
                  </a:lnTo>
                  <a:lnTo>
                    <a:pt x="86" y="84"/>
                  </a:lnTo>
                  <a:lnTo>
                    <a:pt x="88" y="86"/>
                  </a:lnTo>
                  <a:lnTo>
                    <a:pt x="89" y="87"/>
                  </a:lnTo>
                  <a:lnTo>
                    <a:pt x="89" y="87"/>
                  </a:lnTo>
                  <a:lnTo>
                    <a:pt x="91" y="86"/>
                  </a:lnTo>
                  <a:lnTo>
                    <a:pt x="92" y="84"/>
                  </a:lnTo>
                  <a:lnTo>
                    <a:pt x="92" y="84"/>
                  </a:lnTo>
                  <a:lnTo>
                    <a:pt x="95" y="83"/>
                  </a:lnTo>
                  <a:lnTo>
                    <a:pt x="95" y="83"/>
                  </a:lnTo>
                  <a:lnTo>
                    <a:pt x="98" y="80"/>
                  </a:lnTo>
                  <a:lnTo>
                    <a:pt x="104" y="76"/>
                  </a:lnTo>
                  <a:lnTo>
                    <a:pt x="111" y="67"/>
                  </a:lnTo>
                  <a:lnTo>
                    <a:pt x="111" y="67"/>
                  </a:lnTo>
                  <a:lnTo>
                    <a:pt x="115" y="63"/>
                  </a:lnTo>
                  <a:lnTo>
                    <a:pt x="115" y="61"/>
                  </a:lnTo>
                  <a:lnTo>
                    <a:pt x="115" y="60"/>
                  </a:lnTo>
                  <a:lnTo>
                    <a:pt x="115" y="60"/>
                  </a:lnTo>
                  <a:lnTo>
                    <a:pt x="113" y="57"/>
                  </a:lnTo>
                  <a:lnTo>
                    <a:pt x="113" y="55"/>
                  </a:lnTo>
                  <a:lnTo>
                    <a:pt x="115" y="55"/>
                  </a:lnTo>
                  <a:lnTo>
                    <a:pt x="115" y="55"/>
                  </a:lnTo>
                  <a:lnTo>
                    <a:pt x="120" y="55"/>
                  </a:lnTo>
                  <a:lnTo>
                    <a:pt x="121" y="54"/>
                  </a:lnTo>
                  <a:lnTo>
                    <a:pt x="121" y="54"/>
                  </a:lnTo>
                  <a:lnTo>
                    <a:pt x="126" y="51"/>
                  </a:lnTo>
                  <a:lnTo>
                    <a:pt x="127" y="50"/>
                  </a:lnTo>
                  <a:lnTo>
                    <a:pt x="128" y="51"/>
                  </a:lnTo>
                  <a:lnTo>
                    <a:pt x="128" y="51"/>
                  </a:lnTo>
                  <a:lnTo>
                    <a:pt x="133" y="55"/>
                  </a:lnTo>
                  <a:lnTo>
                    <a:pt x="136" y="58"/>
                  </a:lnTo>
                  <a:lnTo>
                    <a:pt x="139" y="58"/>
                  </a:lnTo>
                  <a:lnTo>
                    <a:pt x="139" y="58"/>
                  </a:lnTo>
                  <a:lnTo>
                    <a:pt x="142" y="57"/>
                  </a:lnTo>
                  <a:lnTo>
                    <a:pt x="144" y="55"/>
                  </a:lnTo>
                  <a:lnTo>
                    <a:pt x="144" y="55"/>
                  </a:lnTo>
                  <a:lnTo>
                    <a:pt x="146" y="51"/>
                  </a:lnTo>
                  <a:lnTo>
                    <a:pt x="147" y="50"/>
                  </a:lnTo>
                  <a:lnTo>
                    <a:pt x="147" y="51"/>
                  </a:lnTo>
                  <a:lnTo>
                    <a:pt x="147" y="51"/>
                  </a:lnTo>
                  <a:lnTo>
                    <a:pt x="150" y="58"/>
                  </a:lnTo>
                  <a:lnTo>
                    <a:pt x="152" y="60"/>
                  </a:lnTo>
                  <a:lnTo>
                    <a:pt x="155" y="61"/>
                  </a:lnTo>
                  <a:lnTo>
                    <a:pt x="155" y="61"/>
                  </a:lnTo>
                  <a:lnTo>
                    <a:pt x="156" y="60"/>
                  </a:lnTo>
                  <a:lnTo>
                    <a:pt x="157" y="58"/>
                  </a:lnTo>
                  <a:lnTo>
                    <a:pt x="159" y="57"/>
                  </a:lnTo>
                  <a:lnTo>
                    <a:pt x="163" y="57"/>
                  </a:lnTo>
                  <a:lnTo>
                    <a:pt x="163" y="57"/>
                  </a:lnTo>
                  <a:lnTo>
                    <a:pt x="169" y="57"/>
                  </a:lnTo>
                  <a:lnTo>
                    <a:pt x="175" y="55"/>
                  </a:lnTo>
                  <a:lnTo>
                    <a:pt x="179" y="53"/>
                  </a:lnTo>
                  <a:lnTo>
                    <a:pt x="184" y="50"/>
                  </a:lnTo>
                  <a:lnTo>
                    <a:pt x="184" y="50"/>
                  </a:lnTo>
                  <a:lnTo>
                    <a:pt x="188" y="44"/>
                  </a:lnTo>
                  <a:lnTo>
                    <a:pt x="191" y="42"/>
                  </a:lnTo>
                  <a:lnTo>
                    <a:pt x="194" y="41"/>
                  </a:lnTo>
                  <a:lnTo>
                    <a:pt x="194" y="41"/>
                  </a:lnTo>
                  <a:lnTo>
                    <a:pt x="197" y="40"/>
                  </a:lnTo>
                  <a:lnTo>
                    <a:pt x="201" y="37"/>
                  </a:lnTo>
                  <a:lnTo>
                    <a:pt x="204" y="32"/>
                  </a:lnTo>
                  <a:lnTo>
                    <a:pt x="205" y="28"/>
                  </a:lnTo>
                  <a:lnTo>
                    <a:pt x="205" y="28"/>
                  </a:lnTo>
                  <a:lnTo>
                    <a:pt x="207" y="24"/>
                  </a:lnTo>
                  <a:lnTo>
                    <a:pt x="210" y="21"/>
                  </a:lnTo>
                  <a:lnTo>
                    <a:pt x="211" y="16"/>
                  </a:lnTo>
                  <a:lnTo>
                    <a:pt x="212" y="13"/>
                  </a:lnTo>
                  <a:lnTo>
                    <a:pt x="212" y="13"/>
                  </a:lnTo>
                  <a:lnTo>
                    <a:pt x="212" y="9"/>
                  </a:lnTo>
                  <a:lnTo>
                    <a:pt x="211" y="6"/>
                  </a:lnTo>
                  <a:lnTo>
                    <a:pt x="212" y="5"/>
                  </a:lnTo>
                  <a:lnTo>
                    <a:pt x="212" y="5"/>
                  </a:lnTo>
                  <a:lnTo>
                    <a:pt x="218" y="3"/>
                  </a:lnTo>
                  <a:lnTo>
                    <a:pt x="221" y="2"/>
                  </a:lnTo>
                  <a:lnTo>
                    <a:pt x="223" y="2"/>
                  </a:lnTo>
                  <a:lnTo>
                    <a:pt x="223" y="2"/>
                  </a:lnTo>
                  <a:lnTo>
                    <a:pt x="224" y="5"/>
                  </a:lnTo>
                  <a:lnTo>
                    <a:pt x="226" y="5"/>
                  </a:lnTo>
                  <a:lnTo>
                    <a:pt x="227" y="3"/>
                  </a:lnTo>
                  <a:lnTo>
                    <a:pt x="227" y="3"/>
                  </a:lnTo>
                  <a:lnTo>
                    <a:pt x="228" y="2"/>
                  </a:lnTo>
                  <a:lnTo>
                    <a:pt x="230" y="0"/>
                  </a:lnTo>
                  <a:lnTo>
                    <a:pt x="233" y="2"/>
                  </a:lnTo>
                  <a:lnTo>
                    <a:pt x="233" y="2"/>
                  </a:lnTo>
                  <a:lnTo>
                    <a:pt x="240" y="5"/>
                  </a:lnTo>
                  <a:lnTo>
                    <a:pt x="241" y="6"/>
                  </a:lnTo>
                  <a:lnTo>
                    <a:pt x="241" y="8"/>
                  </a:lnTo>
                  <a:lnTo>
                    <a:pt x="241" y="8"/>
                  </a:lnTo>
                  <a:lnTo>
                    <a:pt x="241" y="12"/>
                  </a:lnTo>
                  <a:lnTo>
                    <a:pt x="241" y="13"/>
                  </a:lnTo>
                  <a:lnTo>
                    <a:pt x="243" y="16"/>
                  </a:lnTo>
                  <a:lnTo>
                    <a:pt x="243" y="16"/>
                  </a:lnTo>
                  <a:lnTo>
                    <a:pt x="247" y="21"/>
                  </a:lnTo>
                  <a:lnTo>
                    <a:pt x="249" y="24"/>
                  </a:lnTo>
                  <a:lnTo>
                    <a:pt x="249" y="25"/>
                  </a:lnTo>
                  <a:lnTo>
                    <a:pt x="249" y="25"/>
                  </a:lnTo>
                  <a:lnTo>
                    <a:pt x="246" y="28"/>
                  </a:lnTo>
                  <a:lnTo>
                    <a:pt x="244" y="29"/>
                  </a:lnTo>
                  <a:lnTo>
                    <a:pt x="244" y="31"/>
                  </a:lnTo>
                  <a:lnTo>
                    <a:pt x="244" y="31"/>
                  </a:lnTo>
                  <a:lnTo>
                    <a:pt x="244" y="38"/>
                  </a:lnTo>
                  <a:lnTo>
                    <a:pt x="246" y="42"/>
                  </a:lnTo>
                  <a:lnTo>
                    <a:pt x="247" y="45"/>
                  </a:lnTo>
                  <a:lnTo>
                    <a:pt x="247" y="45"/>
                  </a:lnTo>
                  <a:lnTo>
                    <a:pt x="247" y="47"/>
                  </a:lnTo>
                  <a:lnTo>
                    <a:pt x="247" y="47"/>
                  </a:lnTo>
                  <a:lnTo>
                    <a:pt x="244" y="50"/>
                  </a:lnTo>
                  <a:lnTo>
                    <a:pt x="244" y="50"/>
                  </a:lnTo>
                  <a:lnTo>
                    <a:pt x="241" y="54"/>
                  </a:lnTo>
                  <a:lnTo>
                    <a:pt x="240" y="60"/>
                  </a:lnTo>
                  <a:lnTo>
                    <a:pt x="240" y="60"/>
                  </a:lnTo>
                  <a:lnTo>
                    <a:pt x="241" y="64"/>
                  </a:lnTo>
                  <a:lnTo>
                    <a:pt x="243" y="66"/>
                  </a:lnTo>
                  <a:lnTo>
                    <a:pt x="244" y="67"/>
                  </a:lnTo>
                  <a:lnTo>
                    <a:pt x="244" y="67"/>
                  </a:lnTo>
                  <a:lnTo>
                    <a:pt x="243" y="68"/>
                  </a:lnTo>
                  <a:lnTo>
                    <a:pt x="237" y="73"/>
                  </a:lnTo>
                  <a:lnTo>
                    <a:pt x="237" y="73"/>
                  </a:lnTo>
                  <a:lnTo>
                    <a:pt x="231" y="76"/>
                  </a:lnTo>
                  <a:lnTo>
                    <a:pt x="224" y="82"/>
                  </a:lnTo>
                  <a:lnTo>
                    <a:pt x="224" y="82"/>
                  </a:lnTo>
                  <a:lnTo>
                    <a:pt x="221" y="84"/>
                  </a:lnTo>
                  <a:lnTo>
                    <a:pt x="217" y="89"/>
                  </a:lnTo>
                  <a:lnTo>
                    <a:pt x="217" y="89"/>
                  </a:lnTo>
                  <a:lnTo>
                    <a:pt x="210" y="92"/>
                  </a:lnTo>
                  <a:lnTo>
                    <a:pt x="205" y="92"/>
                  </a:lnTo>
                  <a:lnTo>
                    <a:pt x="202" y="92"/>
                  </a:lnTo>
                  <a:lnTo>
                    <a:pt x="202" y="92"/>
                  </a:lnTo>
                  <a:lnTo>
                    <a:pt x="194" y="89"/>
                  </a:lnTo>
                  <a:lnTo>
                    <a:pt x="186" y="86"/>
                  </a:lnTo>
                  <a:lnTo>
                    <a:pt x="186" y="86"/>
                  </a:lnTo>
                  <a:lnTo>
                    <a:pt x="179" y="89"/>
                  </a:lnTo>
                  <a:lnTo>
                    <a:pt x="175" y="90"/>
                  </a:lnTo>
                  <a:lnTo>
                    <a:pt x="172" y="95"/>
                  </a:lnTo>
                  <a:lnTo>
                    <a:pt x="172" y="95"/>
                  </a:lnTo>
                  <a:lnTo>
                    <a:pt x="166" y="102"/>
                  </a:lnTo>
                  <a:lnTo>
                    <a:pt x="159" y="106"/>
                  </a:lnTo>
                  <a:lnTo>
                    <a:pt x="159" y="106"/>
                  </a:lnTo>
                  <a:lnTo>
                    <a:pt x="150" y="112"/>
                  </a:lnTo>
                  <a:lnTo>
                    <a:pt x="143" y="119"/>
                  </a:lnTo>
                  <a:lnTo>
                    <a:pt x="143" y="119"/>
                  </a:lnTo>
                  <a:lnTo>
                    <a:pt x="139" y="122"/>
                  </a:lnTo>
                  <a:lnTo>
                    <a:pt x="139" y="122"/>
                  </a:lnTo>
                  <a:lnTo>
                    <a:pt x="136" y="126"/>
                  </a:lnTo>
                  <a:lnTo>
                    <a:pt x="134" y="128"/>
                  </a:lnTo>
                  <a:lnTo>
                    <a:pt x="133" y="126"/>
                  </a:lnTo>
                  <a:lnTo>
                    <a:pt x="133" y="126"/>
                  </a:lnTo>
                  <a:lnTo>
                    <a:pt x="131" y="124"/>
                  </a:lnTo>
                  <a:lnTo>
                    <a:pt x="130" y="124"/>
                  </a:lnTo>
                  <a:lnTo>
                    <a:pt x="128" y="124"/>
                  </a:lnTo>
                  <a:lnTo>
                    <a:pt x="128" y="124"/>
                  </a:lnTo>
                  <a:lnTo>
                    <a:pt x="128" y="128"/>
                  </a:lnTo>
                  <a:lnTo>
                    <a:pt x="127" y="132"/>
                  </a:lnTo>
                  <a:lnTo>
                    <a:pt x="126" y="137"/>
                  </a:lnTo>
                  <a:lnTo>
                    <a:pt x="124" y="139"/>
                  </a:lnTo>
                  <a:lnTo>
                    <a:pt x="124" y="139"/>
                  </a:lnTo>
                  <a:lnTo>
                    <a:pt x="123" y="139"/>
                  </a:lnTo>
                  <a:lnTo>
                    <a:pt x="121" y="139"/>
                  </a:lnTo>
                  <a:lnTo>
                    <a:pt x="120" y="138"/>
                  </a:lnTo>
                  <a:lnTo>
                    <a:pt x="118" y="139"/>
                  </a:lnTo>
                  <a:lnTo>
                    <a:pt x="118" y="139"/>
                  </a:lnTo>
                  <a:lnTo>
                    <a:pt x="118" y="142"/>
                  </a:lnTo>
                  <a:lnTo>
                    <a:pt x="117" y="144"/>
                  </a:lnTo>
                  <a:lnTo>
                    <a:pt x="114" y="144"/>
                  </a:lnTo>
                  <a:lnTo>
                    <a:pt x="114" y="144"/>
                  </a:lnTo>
                  <a:lnTo>
                    <a:pt x="107" y="141"/>
                  </a:lnTo>
                  <a:lnTo>
                    <a:pt x="104" y="139"/>
                  </a:lnTo>
                  <a:lnTo>
                    <a:pt x="102" y="139"/>
                  </a:lnTo>
                  <a:lnTo>
                    <a:pt x="102" y="141"/>
                  </a:lnTo>
                  <a:lnTo>
                    <a:pt x="102" y="141"/>
                  </a:lnTo>
                  <a:lnTo>
                    <a:pt x="104" y="145"/>
                  </a:lnTo>
                  <a:lnTo>
                    <a:pt x="105" y="148"/>
                  </a:lnTo>
                  <a:lnTo>
                    <a:pt x="104" y="150"/>
                  </a:lnTo>
                  <a:lnTo>
                    <a:pt x="104" y="150"/>
                  </a:lnTo>
                  <a:lnTo>
                    <a:pt x="102" y="151"/>
                  </a:lnTo>
                  <a:lnTo>
                    <a:pt x="101" y="151"/>
                  </a:lnTo>
                  <a:lnTo>
                    <a:pt x="98" y="151"/>
                  </a:lnTo>
                  <a:lnTo>
                    <a:pt x="98" y="151"/>
                  </a:lnTo>
                  <a:lnTo>
                    <a:pt x="95" y="152"/>
                  </a:lnTo>
                  <a:lnTo>
                    <a:pt x="92" y="154"/>
                  </a:lnTo>
                  <a:lnTo>
                    <a:pt x="92" y="154"/>
                  </a:lnTo>
                  <a:lnTo>
                    <a:pt x="89" y="155"/>
                  </a:lnTo>
                  <a:lnTo>
                    <a:pt x="88" y="157"/>
                  </a:lnTo>
                  <a:lnTo>
                    <a:pt x="88" y="157"/>
                  </a:lnTo>
                  <a:lnTo>
                    <a:pt x="89" y="158"/>
                  </a:lnTo>
                  <a:lnTo>
                    <a:pt x="91" y="160"/>
                  </a:lnTo>
                  <a:lnTo>
                    <a:pt x="94" y="160"/>
                  </a:lnTo>
                  <a:lnTo>
                    <a:pt x="94" y="161"/>
                  </a:lnTo>
                  <a:lnTo>
                    <a:pt x="94" y="161"/>
                  </a:lnTo>
                  <a:lnTo>
                    <a:pt x="94" y="163"/>
                  </a:lnTo>
                  <a:lnTo>
                    <a:pt x="91" y="163"/>
                  </a:lnTo>
                  <a:lnTo>
                    <a:pt x="86" y="164"/>
                  </a:lnTo>
                  <a:lnTo>
                    <a:pt x="86" y="164"/>
                  </a:lnTo>
                  <a:lnTo>
                    <a:pt x="85" y="164"/>
                  </a:lnTo>
                  <a:lnTo>
                    <a:pt x="85" y="167"/>
                  </a:lnTo>
                  <a:lnTo>
                    <a:pt x="86" y="174"/>
                  </a:lnTo>
                  <a:lnTo>
                    <a:pt x="86" y="174"/>
                  </a:lnTo>
                  <a:lnTo>
                    <a:pt x="85" y="176"/>
                  </a:lnTo>
                  <a:lnTo>
                    <a:pt x="84" y="177"/>
                  </a:lnTo>
                  <a:lnTo>
                    <a:pt x="81" y="179"/>
                  </a:lnTo>
                  <a:lnTo>
                    <a:pt x="81" y="179"/>
                  </a:lnTo>
                  <a:lnTo>
                    <a:pt x="76" y="179"/>
                  </a:lnTo>
                  <a:lnTo>
                    <a:pt x="75" y="179"/>
                  </a:lnTo>
                  <a:lnTo>
                    <a:pt x="75" y="180"/>
                  </a:lnTo>
                  <a:lnTo>
                    <a:pt x="75" y="180"/>
                  </a:lnTo>
                  <a:lnTo>
                    <a:pt x="78" y="183"/>
                  </a:lnTo>
                  <a:lnTo>
                    <a:pt x="78" y="184"/>
                  </a:lnTo>
                  <a:lnTo>
                    <a:pt x="76" y="186"/>
                  </a:lnTo>
                  <a:lnTo>
                    <a:pt x="76" y="186"/>
                  </a:lnTo>
                  <a:lnTo>
                    <a:pt x="71" y="186"/>
                  </a:lnTo>
                  <a:lnTo>
                    <a:pt x="68" y="187"/>
                  </a:lnTo>
                  <a:lnTo>
                    <a:pt x="69" y="189"/>
                  </a:lnTo>
                  <a:lnTo>
                    <a:pt x="69" y="189"/>
                  </a:lnTo>
                  <a:lnTo>
                    <a:pt x="72" y="193"/>
                  </a:lnTo>
                  <a:lnTo>
                    <a:pt x="73" y="197"/>
                  </a:lnTo>
                  <a:lnTo>
                    <a:pt x="73" y="197"/>
                  </a:lnTo>
                  <a:lnTo>
                    <a:pt x="72" y="197"/>
                  </a:lnTo>
                  <a:lnTo>
                    <a:pt x="71" y="197"/>
                  </a:lnTo>
                  <a:lnTo>
                    <a:pt x="69" y="196"/>
                  </a:lnTo>
                  <a:lnTo>
                    <a:pt x="68" y="197"/>
                  </a:lnTo>
                  <a:lnTo>
                    <a:pt x="68" y="197"/>
                  </a:lnTo>
                  <a:lnTo>
                    <a:pt x="69" y="202"/>
                  </a:lnTo>
                  <a:lnTo>
                    <a:pt x="71" y="203"/>
                  </a:lnTo>
                  <a:lnTo>
                    <a:pt x="71" y="205"/>
                  </a:lnTo>
                  <a:lnTo>
                    <a:pt x="71" y="205"/>
                  </a:lnTo>
                  <a:lnTo>
                    <a:pt x="68" y="206"/>
                  </a:lnTo>
                  <a:lnTo>
                    <a:pt x="63" y="206"/>
                  </a:lnTo>
                  <a:lnTo>
                    <a:pt x="58" y="205"/>
                  </a:lnTo>
                  <a:lnTo>
                    <a:pt x="58" y="205"/>
                  </a:lnTo>
                  <a:lnTo>
                    <a:pt x="58" y="206"/>
                  </a:lnTo>
                  <a:lnTo>
                    <a:pt x="59" y="208"/>
                  </a:lnTo>
                  <a:lnTo>
                    <a:pt x="62" y="210"/>
                  </a:lnTo>
                  <a:lnTo>
                    <a:pt x="62" y="210"/>
                  </a:lnTo>
                  <a:lnTo>
                    <a:pt x="63" y="212"/>
                  </a:lnTo>
                  <a:lnTo>
                    <a:pt x="62" y="216"/>
                  </a:lnTo>
                  <a:lnTo>
                    <a:pt x="60" y="222"/>
                  </a:lnTo>
                  <a:lnTo>
                    <a:pt x="60" y="222"/>
                  </a:lnTo>
                  <a:lnTo>
                    <a:pt x="59" y="226"/>
                  </a:lnTo>
                  <a:lnTo>
                    <a:pt x="56" y="228"/>
                  </a:lnTo>
                  <a:lnTo>
                    <a:pt x="55" y="229"/>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97" name="Freeform 1018"/>
            <p:cNvSpPr>
              <a:spLocks/>
            </p:cNvSpPr>
            <p:nvPr/>
          </p:nvSpPr>
          <p:spPr bwMode="auto">
            <a:xfrm>
              <a:off x="5670551" y="1591104"/>
              <a:ext cx="395288" cy="363538"/>
            </a:xfrm>
            <a:custGeom>
              <a:avLst/>
              <a:gdLst>
                <a:gd name="T0" fmla="*/ 43 w 249"/>
                <a:gd name="T1" fmla="*/ 223 h 229"/>
                <a:gd name="T2" fmla="*/ 34 w 249"/>
                <a:gd name="T3" fmla="*/ 221 h 229"/>
                <a:gd name="T4" fmla="*/ 11 w 249"/>
                <a:gd name="T5" fmla="*/ 213 h 229"/>
                <a:gd name="T6" fmla="*/ 11 w 249"/>
                <a:gd name="T7" fmla="*/ 200 h 229"/>
                <a:gd name="T8" fmla="*/ 5 w 249"/>
                <a:gd name="T9" fmla="*/ 197 h 229"/>
                <a:gd name="T10" fmla="*/ 16 w 249"/>
                <a:gd name="T11" fmla="*/ 187 h 229"/>
                <a:gd name="T12" fmla="*/ 29 w 249"/>
                <a:gd name="T13" fmla="*/ 186 h 229"/>
                <a:gd name="T14" fmla="*/ 30 w 249"/>
                <a:gd name="T15" fmla="*/ 181 h 229"/>
                <a:gd name="T16" fmla="*/ 27 w 249"/>
                <a:gd name="T17" fmla="*/ 168 h 229"/>
                <a:gd name="T18" fmla="*/ 37 w 249"/>
                <a:gd name="T19" fmla="*/ 167 h 229"/>
                <a:gd name="T20" fmla="*/ 33 w 249"/>
                <a:gd name="T21" fmla="*/ 157 h 229"/>
                <a:gd name="T22" fmla="*/ 37 w 249"/>
                <a:gd name="T23" fmla="*/ 151 h 229"/>
                <a:gd name="T24" fmla="*/ 39 w 249"/>
                <a:gd name="T25" fmla="*/ 139 h 229"/>
                <a:gd name="T26" fmla="*/ 37 w 249"/>
                <a:gd name="T27" fmla="*/ 134 h 229"/>
                <a:gd name="T28" fmla="*/ 47 w 249"/>
                <a:gd name="T29" fmla="*/ 132 h 229"/>
                <a:gd name="T30" fmla="*/ 56 w 249"/>
                <a:gd name="T31" fmla="*/ 118 h 229"/>
                <a:gd name="T32" fmla="*/ 66 w 249"/>
                <a:gd name="T33" fmla="*/ 112 h 229"/>
                <a:gd name="T34" fmla="*/ 66 w 249"/>
                <a:gd name="T35" fmla="*/ 102 h 229"/>
                <a:gd name="T36" fmla="*/ 84 w 249"/>
                <a:gd name="T37" fmla="*/ 89 h 229"/>
                <a:gd name="T38" fmla="*/ 86 w 249"/>
                <a:gd name="T39" fmla="*/ 83 h 229"/>
                <a:gd name="T40" fmla="*/ 92 w 249"/>
                <a:gd name="T41" fmla="*/ 84 h 229"/>
                <a:gd name="T42" fmla="*/ 111 w 249"/>
                <a:gd name="T43" fmla="*/ 67 h 229"/>
                <a:gd name="T44" fmla="*/ 113 w 249"/>
                <a:gd name="T45" fmla="*/ 57 h 229"/>
                <a:gd name="T46" fmla="*/ 121 w 249"/>
                <a:gd name="T47" fmla="*/ 54 h 229"/>
                <a:gd name="T48" fmla="*/ 136 w 249"/>
                <a:gd name="T49" fmla="*/ 58 h 229"/>
                <a:gd name="T50" fmla="*/ 146 w 249"/>
                <a:gd name="T51" fmla="*/ 51 h 229"/>
                <a:gd name="T52" fmla="*/ 155 w 249"/>
                <a:gd name="T53" fmla="*/ 61 h 229"/>
                <a:gd name="T54" fmla="*/ 163 w 249"/>
                <a:gd name="T55" fmla="*/ 57 h 229"/>
                <a:gd name="T56" fmla="*/ 188 w 249"/>
                <a:gd name="T57" fmla="*/ 44 h 229"/>
                <a:gd name="T58" fmla="*/ 204 w 249"/>
                <a:gd name="T59" fmla="*/ 32 h 229"/>
                <a:gd name="T60" fmla="*/ 212 w 249"/>
                <a:gd name="T61" fmla="*/ 13 h 229"/>
                <a:gd name="T62" fmla="*/ 218 w 249"/>
                <a:gd name="T63" fmla="*/ 3 h 229"/>
                <a:gd name="T64" fmla="*/ 227 w 249"/>
                <a:gd name="T65" fmla="*/ 3 h 229"/>
                <a:gd name="T66" fmla="*/ 240 w 249"/>
                <a:gd name="T67" fmla="*/ 5 h 229"/>
                <a:gd name="T68" fmla="*/ 243 w 249"/>
                <a:gd name="T69" fmla="*/ 16 h 229"/>
                <a:gd name="T70" fmla="*/ 246 w 249"/>
                <a:gd name="T71" fmla="*/ 28 h 229"/>
                <a:gd name="T72" fmla="*/ 247 w 249"/>
                <a:gd name="T73" fmla="*/ 45 h 229"/>
                <a:gd name="T74" fmla="*/ 241 w 249"/>
                <a:gd name="T75" fmla="*/ 54 h 229"/>
                <a:gd name="T76" fmla="*/ 244 w 249"/>
                <a:gd name="T77" fmla="*/ 67 h 229"/>
                <a:gd name="T78" fmla="*/ 224 w 249"/>
                <a:gd name="T79" fmla="*/ 82 h 229"/>
                <a:gd name="T80" fmla="*/ 202 w 249"/>
                <a:gd name="T81" fmla="*/ 92 h 229"/>
                <a:gd name="T82" fmla="*/ 175 w 249"/>
                <a:gd name="T83" fmla="*/ 90 h 229"/>
                <a:gd name="T84" fmla="*/ 150 w 249"/>
                <a:gd name="T85" fmla="*/ 112 h 229"/>
                <a:gd name="T86" fmla="*/ 134 w 249"/>
                <a:gd name="T87" fmla="*/ 128 h 229"/>
                <a:gd name="T88" fmla="*/ 128 w 249"/>
                <a:gd name="T89" fmla="*/ 124 h 229"/>
                <a:gd name="T90" fmla="*/ 123 w 249"/>
                <a:gd name="T91" fmla="*/ 139 h 229"/>
                <a:gd name="T92" fmla="*/ 117 w 249"/>
                <a:gd name="T93" fmla="*/ 144 h 229"/>
                <a:gd name="T94" fmla="*/ 102 w 249"/>
                <a:gd name="T95" fmla="*/ 141 h 229"/>
                <a:gd name="T96" fmla="*/ 102 w 249"/>
                <a:gd name="T97" fmla="*/ 151 h 229"/>
                <a:gd name="T98" fmla="*/ 92 w 249"/>
                <a:gd name="T99" fmla="*/ 154 h 229"/>
                <a:gd name="T100" fmla="*/ 94 w 249"/>
                <a:gd name="T101" fmla="*/ 160 h 229"/>
                <a:gd name="T102" fmla="*/ 86 w 249"/>
                <a:gd name="T103" fmla="*/ 164 h 229"/>
                <a:gd name="T104" fmla="*/ 84 w 249"/>
                <a:gd name="T105" fmla="*/ 177 h 229"/>
                <a:gd name="T106" fmla="*/ 75 w 249"/>
                <a:gd name="T107" fmla="*/ 180 h 229"/>
                <a:gd name="T108" fmla="*/ 68 w 249"/>
                <a:gd name="T109" fmla="*/ 187 h 229"/>
                <a:gd name="T110" fmla="*/ 72 w 249"/>
                <a:gd name="T111" fmla="*/ 197 h 229"/>
                <a:gd name="T112" fmla="*/ 71 w 249"/>
                <a:gd name="T113" fmla="*/ 203 h 229"/>
                <a:gd name="T114" fmla="*/ 58 w 249"/>
                <a:gd name="T115" fmla="*/ 205 h 229"/>
                <a:gd name="T116" fmla="*/ 62 w 249"/>
                <a:gd name="T117" fmla="*/ 21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9" h="229">
                  <a:moveTo>
                    <a:pt x="55" y="229"/>
                  </a:moveTo>
                  <a:lnTo>
                    <a:pt x="55" y="229"/>
                  </a:lnTo>
                  <a:lnTo>
                    <a:pt x="50" y="229"/>
                  </a:lnTo>
                  <a:lnTo>
                    <a:pt x="47" y="228"/>
                  </a:lnTo>
                  <a:lnTo>
                    <a:pt x="44" y="225"/>
                  </a:lnTo>
                  <a:lnTo>
                    <a:pt x="43" y="223"/>
                  </a:lnTo>
                  <a:lnTo>
                    <a:pt x="43" y="223"/>
                  </a:lnTo>
                  <a:lnTo>
                    <a:pt x="42" y="222"/>
                  </a:lnTo>
                  <a:lnTo>
                    <a:pt x="39" y="222"/>
                  </a:lnTo>
                  <a:lnTo>
                    <a:pt x="36" y="221"/>
                  </a:lnTo>
                  <a:lnTo>
                    <a:pt x="34" y="221"/>
                  </a:lnTo>
                  <a:lnTo>
                    <a:pt x="34" y="221"/>
                  </a:lnTo>
                  <a:lnTo>
                    <a:pt x="30" y="218"/>
                  </a:lnTo>
                  <a:lnTo>
                    <a:pt x="24" y="215"/>
                  </a:lnTo>
                  <a:lnTo>
                    <a:pt x="24" y="215"/>
                  </a:lnTo>
                  <a:lnTo>
                    <a:pt x="17" y="215"/>
                  </a:lnTo>
                  <a:lnTo>
                    <a:pt x="13" y="213"/>
                  </a:lnTo>
                  <a:lnTo>
                    <a:pt x="11" y="213"/>
                  </a:lnTo>
                  <a:lnTo>
                    <a:pt x="11" y="213"/>
                  </a:lnTo>
                  <a:lnTo>
                    <a:pt x="13" y="206"/>
                  </a:lnTo>
                  <a:lnTo>
                    <a:pt x="13" y="202"/>
                  </a:lnTo>
                  <a:lnTo>
                    <a:pt x="13" y="200"/>
                  </a:lnTo>
                  <a:lnTo>
                    <a:pt x="11" y="200"/>
                  </a:lnTo>
                  <a:lnTo>
                    <a:pt x="11" y="200"/>
                  </a:lnTo>
                  <a:lnTo>
                    <a:pt x="2" y="206"/>
                  </a:lnTo>
                  <a:lnTo>
                    <a:pt x="0" y="208"/>
                  </a:lnTo>
                  <a:lnTo>
                    <a:pt x="0" y="206"/>
                  </a:lnTo>
                  <a:lnTo>
                    <a:pt x="0" y="205"/>
                  </a:lnTo>
                  <a:lnTo>
                    <a:pt x="0" y="205"/>
                  </a:lnTo>
                  <a:lnTo>
                    <a:pt x="5" y="197"/>
                  </a:lnTo>
                  <a:lnTo>
                    <a:pt x="8" y="196"/>
                  </a:lnTo>
                  <a:lnTo>
                    <a:pt x="11" y="195"/>
                  </a:lnTo>
                  <a:lnTo>
                    <a:pt x="11" y="195"/>
                  </a:lnTo>
                  <a:lnTo>
                    <a:pt x="14" y="193"/>
                  </a:lnTo>
                  <a:lnTo>
                    <a:pt x="16" y="192"/>
                  </a:lnTo>
                  <a:lnTo>
                    <a:pt x="16" y="187"/>
                  </a:lnTo>
                  <a:lnTo>
                    <a:pt x="16" y="187"/>
                  </a:lnTo>
                  <a:lnTo>
                    <a:pt x="18" y="183"/>
                  </a:lnTo>
                  <a:lnTo>
                    <a:pt x="23" y="183"/>
                  </a:lnTo>
                  <a:lnTo>
                    <a:pt x="23" y="183"/>
                  </a:lnTo>
                  <a:lnTo>
                    <a:pt x="26" y="183"/>
                  </a:lnTo>
                  <a:lnTo>
                    <a:pt x="29" y="186"/>
                  </a:lnTo>
                  <a:lnTo>
                    <a:pt x="31" y="187"/>
                  </a:lnTo>
                  <a:lnTo>
                    <a:pt x="31" y="187"/>
                  </a:lnTo>
                  <a:lnTo>
                    <a:pt x="33" y="187"/>
                  </a:lnTo>
                  <a:lnTo>
                    <a:pt x="33" y="187"/>
                  </a:lnTo>
                  <a:lnTo>
                    <a:pt x="31" y="184"/>
                  </a:lnTo>
                  <a:lnTo>
                    <a:pt x="30" y="181"/>
                  </a:lnTo>
                  <a:lnTo>
                    <a:pt x="29" y="180"/>
                  </a:lnTo>
                  <a:lnTo>
                    <a:pt x="30" y="177"/>
                  </a:lnTo>
                  <a:lnTo>
                    <a:pt x="30" y="177"/>
                  </a:lnTo>
                  <a:lnTo>
                    <a:pt x="30" y="174"/>
                  </a:lnTo>
                  <a:lnTo>
                    <a:pt x="29" y="171"/>
                  </a:lnTo>
                  <a:lnTo>
                    <a:pt x="27" y="168"/>
                  </a:lnTo>
                  <a:lnTo>
                    <a:pt x="27" y="168"/>
                  </a:lnTo>
                  <a:lnTo>
                    <a:pt x="29" y="167"/>
                  </a:lnTo>
                  <a:lnTo>
                    <a:pt x="29" y="167"/>
                  </a:lnTo>
                  <a:lnTo>
                    <a:pt x="31" y="167"/>
                  </a:lnTo>
                  <a:lnTo>
                    <a:pt x="36" y="167"/>
                  </a:lnTo>
                  <a:lnTo>
                    <a:pt x="37" y="167"/>
                  </a:lnTo>
                  <a:lnTo>
                    <a:pt x="37" y="166"/>
                  </a:lnTo>
                  <a:lnTo>
                    <a:pt x="37" y="166"/>
                  </a:lnTo>
                  <a:lnTo>
                    <a:pt x="33" y="161"/>
                  </a:lnTo>
                  <a:lnTo>
                    <a:pt x="31" y="158"/>
                  </a:lnTo>
                  <a:lnTo>
                    <a:pt x="33" y="157"/>
                  </a:lnTo>
                  <a:lnTo>
                    <a:pt x="33" y="157"/>
                  </a:lnTo>
                  <a:lnTo>
                    <a:pt x="37" y="155"/>
                  </a:lnTo>
                  <a:lnTo>
                    <a:pt x="40" y="155"/>
                  </a:lnTo>
                  <a:lnTo>
                    <a:pt x="42" y="154"/>
                  </a:lnTo>
                  <a:lnTo>
                    <a:pt x="42" y="154"/>
                  </a:lnTo>
                  <a:lnTo>
                    <a:pt x="40" y="152"/>
                  </a:lnTo>
                  <a:lnTo>
                    <a:pt x="37" y="151"/>
                  </a:lnTo>
                  <a:lnTo>
                    <a:pt x="36" y="148"/>
                  </a:lnTo>
                  <a:lnTo>
                    <a:pt x="36" y="147"/>
                  </a:lnTo>
                  <a:lnTo>
                    <a:pt x="36" y="147"/>
                  </a:lnTo>
                  <a:lnTo>
                    <a:pt x="39" y="142"/>
                  </a:lnTo>
                  <a:lnTo>
                    <a:pt x="40" y="139"/>
                  </a:lnTo>
                  <a:lnTo>
                    <a:pt x="39" y="139"/>
                  </a:lnTo>
                  <a:lnTo>
                    <a:pt x="39" y="139"/>
                  </a:lnTo>
                  <a:lnTo>
                    <a:pt x="36" y="138"/>
                  </a:lnTo>
                  <a:lnTo>
                    <a:pt x="34" y="138"/>
                  </a:lnTo>
                  <a:lnTo>
                    <a:pt x="36" y="137"/>
                  </a:lnTo>
                  <a:lnTo>
                    <a:pt x="36" y="137"/>
                  </a:lnTo>
                  <a:lnTo>
                    <a:pt x="37" y="134"/>
                  </a:lnTo>
                  <a:lnTo>
                    <a:pt x="40" y="132"/>
                  </a:lnTo>
                  <a:lnTo>
                    <a:pt x="42" y="132"/>
                  </a:lnTo>
                  <a:lnTo>
                    <a:pt x="42" y="132"/>
                  </a:lnTo>
                  <a:lnTo>
                    <a:pt x="44" y="134"/>
                  </a:lnTo>
                  <a:lnTo>
                    <a:pt x="46" y="134"/>
                  </a:lnTo>
                  <a:lnTo>
                    <a:pt x="47" y="132"/>
                  </a:lnTo>
                  <a:lnTo>
                    <a:pt x="47" y="132"/>
                  </a:lnTo>
                  <a:lnTo>
                    <a:pt x="53" y="124"/>
                  </a:lnTo>
                  <a:lnTo>
                    <a:pt x="56" y="119"/>
                  </a:lnTo>
                  <a:lnTo>
                    <a:pt x="56" y="118"/>
                  </a:lnTo>
                  <a:lnTo>
                    <a:pt x="56" y="118"/>
                  </a:lnTo>
                  <a:lnTo>
                    <a:pt x="56" y="118"/>
                  </a:lnTo>
                  <a:lnTo>
                    <a:pt x="55" y="116"/>
                  </a:lnTo>
                  <a:lnTo>
                    <a:pt x="56" y="115"/>
                  </a:lnTo>
                  <a:lnTo>
                    <a:pt x="62" y="112"/>
                  </a:lnTo>
                  <a:lnTo>
                    <a:pt x="62" y="112"/>
                  </a:lnTo>
                  <a:lnTo>
                    <a:pt x="65" y="112"/>
                  </a:lnTo>
                  <a:lnTo>
                    <a:pt x="66" y="112"/>
                  </a:lnTo>
                  <a:lnTo>
                    <a:pt x="66" y="110"/>
                  </a:lnTo>
                  <a:lnTo>
                    <a:pt x="66" y="110"/>
                  </a:lnTo>
                  <a:lnTo>
                    <a:pt x="66" y="109"/>
                  </a:lnTo>
                  <a:lnTo>
                    <a:pt x="65" y="106"/>
                  </a:lnTo>
                  <a:lnTo>
                    <a:pt x="63" y="105"/>
                  </a:lnTo>
                  <a:lnTo>
                    <a:pt x="66" y="102"/>
                  </a:lnTo>
                  <a:lnTo>
                    <a:pt x="66" y="102"/>
                  </a:lnTo>
                  <a:lnTo>
                    <a:pt x="78" y="96"/>
                  </a:lnTo>
                  <a:lnTo>
                    <a:pt x="78" y="96"/>
                  </a:lnTo>
                  <a:lnTo>
                    <a:pt x="82" y="92"/>
                  </a:lnTo>
                  <a:lnTo>
                    <a:pt x="84" y="90"/>
                  </a:lnTo>
                  <a:lnTo>
                    <a:pt x="84" y="89"/>
                  </a:lnTo>
                  <a:lnTo>
                    <a:pt x="84" y="89"/>
                  </a:lnTo>
                  <a:lnTo>
                    <a:pt x="84" y="84"/>
                  </a:lnTo>
                  <a:lnTo>
                    <a:pt x="84" y="83"/>
                  </a:lnTo>
                  <a:lnTo>
                    <a:pt x="85" y="82"/>
                  </a:lnTo>
                  <a:lnTo>
                    <a:pt x="85" y="82"/>
                  </a:lnTo>
                  <a:lnTo>
                    <a:pt x="86" y="83"/>
                  </a:lnTo>
                  <a:lnTo>
                    <a:pt x="86" y="84"/>
                  </a:lnTo>
                  <a:lnTo>
                    <a:pt x="88" y="86"/>
                  </a:lnTo>
                  <a:lnTo>
                    <a:pt x="89" y="87"/>
                  </a:lnTo>
                  <a:lnTo>
                    <a:pt x="89" y="87"/>
                  </a:lnTo>
                  <a:lnTo>
                    <a:pt x="91" y="86"/>
                  </a:lnTo>
                  <a:lnTo>
                    <a:pt x="92" y="84"/>
                  </a:lnTo>
                  <a:lnTo>
                    <a:pt x="92" y="84"/>
                  </a:lnTo>
                  <a:lnTo>
                    <a:pt x="95" y="83"/>
                  </a:lnTo>
                  <a:lnTo>
                    <a:pt x="95" y="83"/>
                  </a:lnTo>
                  <a:lnTo>
                    <a:pt x="98" y="80"/>
                  </a:lnTo>
                  <a:lnTo>
                    <a:pt x="104" y="76"/>
                  </a:lnTo>
                  <a:lnTo>
                    <a:pt x="111" y="67"/>
                  </a:lnTo>
                  <a:lnTo>
                    <a:pt x="111" y="67"/>
                  </a:lnTo>
                  <a:lnTo>
                    <a:pt x="115" y="63"/>
                  </a:lnTo>
                  <a:lnTo>
                    <a:pt x="115" y="61"/>
                  </a:lnTo>
                  <a:lnTo>
                    <a:pt x="115" y="60"/>
                  </a:lnTo>
                  <a:lnTo>
                    <a:pt x="115" y="60"/>
                  </a:lnTo>
                  <a:lnTo>
                    <a:pt x="113" y="57"/>
                  </a:lnTo>
                  <a:lnTo>
                    <a:pt x="113" y="55"/>
                  </a:lnTo>
                  <a:lnTo>
                    <a:pt x="115" y="55"/>
                  </a:lnTo>
                  <a:lnTo>
                    <a:pt x="115" y="55"/>
                  </a:lnTo>
                  <a:lnTo>
                    <a:pt x="120" y="55"/>
                  </a:lnTo>
                  <a:lnTo>
                    <a:pt x="121" y="54"/>
                  </a:lnTo>
                  <a:lnTo>
                    <a:pt x="121" y="54"/>
                  </a:lnTo>
                  <a:lnTo>
                    <a:pt x="126" y="51"/>
                  </a:lnTo>
                  <a:lnTo>
                    <a:pt x="127" y="50"/>
                  </a:lnTo>
                  <a:lnTo>
                    <a:pt x="128" y="51"/>
                  </a:lnTo>
                  <a:lnTo>
                    <a:pt x="128" y="51"/>
                  </a:lnTo>
                  <a:lnTo>
                    <a:pt x="133" y="55"/>
                  </a:lnTo>
                  <a:lnTo>
                    <a:pt x="136" y="58"/>
                  </a:lnTo>
                  <a:lnTo>
                    <a:pt x="139" y="58"/>
                  </a:lnTo>
                  <a:lnTo>
                    <a:pt x="139" y="58"/>
                  </a:lnTo>
                  <a:lnTo>
                    <a:pt x="142" y="57"/>
                  </a:lnTo>
                  <a:lnTo>
                    <a:pt x="144" y="55"/>
                  </a:lnTo>
                  <a:lnTo>
                    <a:pt x="144" y="55"/>
                  </a:lnTo>
                  <a:lnTo>
                    <a:pt x="146" y="51"/>
                  </a:lnTo>
                  <a:lnTo>
                    <a:pt x="147" y="50"/>
                  </a:lnTo>
                  <a:lnTo>
                    <a:pt x="147" y="51"/>
                  </a:lnTo>
                  <a:lnTo>
                    <a:pt x="147" y="51"/>
                  </a:lnTo>
                  <a:lnTo>
                    <a:pt x="150" y="58"/>
                  </a:lnTo>
                  <a:lnTo>
                    <a:pt x="152" y="60"/>
                  </a:lnTo>
                  <a:lnTo>
                    <a:pt x="155" y="61"/>
                  </a:lnTo>
                  <a:lnTo>
                    <a:pt x="155" y="61"/>
                  </a:lnTo>
                  <a:lnTo>
                    <a:pt x="156" y="60"/>
                  </a:lnTo>
                  <a:lnTo>
                    <a:pt x="157" y="58"/>
                  </a:lnTo>
                  <a:lnTo>
                    <a:pt x="159" y="57"/>
                  </a:lnTo>
                  <a:lnTo>
                    <a:pt x="163" y="57"/>
                  </a:lnTo>
                  <a:lnTo>
                    <a:pt x="163" y="57"/>
                  </a:lnTo>
                  <a:lnTo>
                    <a:pt x="169" y="57"/>
                  </a:lnTo>
                  <a:lnTo>
                    <a:pt x="175" y="55"/>
                  </a:lnTo>
                  <a:lnTo>
                    <a:pt x="179" y="53"/>
                  </a:lnTo>
                  <a:lnTo>
                    <a:pt x="184" y="50"/>
                  </a:lnTo>
                  <a:lnTo>
                    <a:pt x="184" y="50"/>
                  </a:lnTo>
                  <a:lnTo>
                    <a:pt x="188" y="44"/>
                  </a:lnTo>
                  <a:lnTo>
                    <a:pt x="191" y="42"/>
                  </a:lnTo>
                  <a:lnTo>
                    <a:pt x="194" y="41"/>
                  </a:lnTo>
                  <a:lnTo>
                    <a:pt x="194" y="41"/>
                  </a:lnTo>
                  <a:lnTo>
                    <a:pt x="197" y="40"/>
                  </a:lnTo>
                  <a:lnTo>
                    <a:pt x="201" y="37"/>
                  </a:lnTo>
                  <a:lnTo>
                    <a:pt x="204" y="32"/>
                  </a:lnTo>
                  <a:lnTo>
                    <a:pt x="205" y="28"/>
                  </a:lnTo>
                  <a:lnTo>
                    <a:pt x="205" y="28"/>
                  </a:lnTo>
                  <a:lnTo>
                    <a:pt x="207" y="24"/>
                  </a:lnTo>
                  <a:lnTo>
                    <a:pt x="210" y="21"/>
                  </a:lnTo>
                  <a:lnTo>
                    <a:pt x="211" y="16"/>
                  </a:lnTo>
                  <a:lnTo>
                    <a:pt x="212" y="13"/>
                  </a:lnTo>
                  <a:lnTo>
                    <a:pt x="212" y="13"/>
                  </a:lnTo>
                  <a:lnTo>
                    <a:pt x="212" y="9"/>
                  </a:lnTo>
                  <a:lnTo>
                    <a:pt x="211" y="6"/>
                  </a:lnTo>
                  <a:lnTo>
                    <a:pt x="212" y="5"/>
                  </a:lnTo>
                  <a:lnTo>
                    <a:pt x="212" y="5"/>
                  </a:lnTo>
                  <a:lnTo>
                    <a:pt x="218" y="3"/>
                  </a:lnTo>
                  <a:lnTo>
                    <a:pt x="221" y="2"/>
                  </a:lnTo>
                  <a:lnTo>
                    <a:pt x="223" y="2"/>
                  </a:lnTo>
                  <a:lnTo>
                    <a:pt x="223" y="2"/>
                  </a:lnTo>
                  <a:lnTo>
                    <a:pt x="224" y="5"/>
                  </a:lnTo>
                  <a:lnTo>
                    <a:pt x="226" y="5"/>
                  </a:lnTo>
                  <a:lnTo>
                    <a:pt x="227" y="3"/>
                  </a:lnTo>
                  <a:lnTo>
                    <a:pt x="227" y="3"/>
                  </a:lnTo>
                  <a:lnTo>
                    <a:pt x="228" y="2"/>
                  </a:lnTo>
                  <a:lnTo>
                    <a:pt x="230" y="0"/>
                  </a:lnTo>
                  <a:lnTo>
                    <a:pt x="233" y="2"/>
                  </a:lnTo>
                  <a:lnTo>
                    <a:pt x="233" y="2"/>
                  </a:lnTo>
                  <a:lnTo>
                    <a:pt x="240" y="5"/>
                  </a:lnTo>
                  <a:lnTo>
                    <a:pt x="241" y="6"/>
                  </a:lnTo>
                  <a:lnTo>
                    <a:pt x="241" y="8"/>
                  </a:lnTo>
                  <a:lnTo>
                    <a:pt x="241" y="8"/>
                  </a:lnTo>
                  <a:lnTo>
                    <a:pt x="241" y="12"/>
                  </a:lnTo>
                  <a:lnTo>
                    <a:pt x="241" y="13"/>
                  </a:lnTo>
                  <a:lnTo>
                    <a:pt x="243" y="16"/>
                  </a:lnTo>
                  <a:lnTo>
                    <a:pt x="243" y="16"/>
                  </a:lnTo>
                  <a:lnTo>
                    <a:pt x="247" y="21"/>
                  </a:lnTo>
                  <a:lnTo>
                    <a:pt x="249" y="24"/>
                  </a:lnTo>
                  <a:lnTo>
                    <a:pt x="249" y="25"/>
                  </a:lnTo>
                  <a:lnTo>
                    <a:pt x="249" y="25"/>
                  </a:lnTo>
                  <a:lnTo>
                    <a:pt x="246" y="28"/>
                  </a:lnTo>
                  <a:lnTo>
                    <a:pt x="244" y="29"/>
                  </a:lnTo>
                  <a:lnTo>
                    <a:pt x="244" y="31"/>
                  </a:lnTo>
                  <a:lnTo>
                    <a:pt x="244" y="31"/>
                  </a:lnTo>
                  <a:lnTo>
                    <a:pt x="244" y="38"/>
                  </a:lnTo>
                  <a:lnTo>
                    <a:pt x="246" y="42"/>
                  </a:lnTo>
                  <a:lnTo>
                    <a:pt x="247" y="45"/>
                  </a:lnTo>
                  <a:lnTo>
                    <a:pt x="247" y="45"/>
                  </a:lnTo>
                  <a:lnTo>
                    <a:pt x="247" y="47"/>
                  </a:lnTo>
                  <a:lnTo>
                    <a:pt x="247" y="47"/>
                  </a:lnTo>
                  <a:lnTo>
                    <a:pt x="244" y="50"/>
                  </a:lnTo>
                  <a:lnTo>
                    <a:pt x="244" y="50"/>
                  </a:lnTo>
                  <a:lnTo>
                    <a:pt x="241" y="54"/>
                  </a:lnTo>
                  <a:lnTo>
                    <a:pt x="240" y="60"/>
                  </a:lnTo>
                  <a:lnTo>
                    <a:pt x="240" y="60"/>
                  </a:lnTo>
                  <a:lnTo>
                    <a:pt x="241" y="64"/>
                  </a:lnTo>
                  <a:lnTo>
                    <a:pt x="243" y="66"/>
                  </a:lnTo>
                  <a:lnTo>
                    <a:pt x="244" y="67"/>
                  </a:lnTo>
                  <a:lnTo>
                    <a:pt x="244" y="67"/>
                  </a:lnTo>
                  <a:lnTo>
                    <a:pt x="243" y="68"/>
                  </a:lnTo>
                  <a:lnTo>
                    <a:pt x="237" y="73"/>
                  </a:lnTo>
                  <a:lnTo>
                    <a:pt x="237" y="73"/>
                  </a:lnTo>
                  <a:lnTo>
                    <a:pt x="231" y="76"/>
                  </a:lnTo>
                  <a:lnTo>
                    <a:pt x="224" y="82"/>
                  </a:lnTo>
                  <a:lnTo>
                    <a:pt x="224" y="82"/>
                  </a:lnTo>
                  <a:lnTo>
                    <a:pt x="221" y="84"/>
                  </a:lnTo>
                  <a:lnTo>
                    <a:pt x="217" y="89"/>
                  </a:lnTo>
                  <a:lnTo>
                    <a:pt x="217" y="89"/>
                  </a:lnTo>
                  <a:lnTo>
                    <a:pt x="210" y="92"/>
                  </a:lnTo>
                  <a:lnTo>
                    <a:pt x="205" y="92"/>
                  </a:lnTo>
                  <a:lnTo>
                    <a:pt x="202" y="92"/>
                  </a:lnTo>
                  <a:lnTo>
                    <a:pt x="202" y="92"/>
                  </a:lnTo>
                  <a:lnTo>
                    <a:pt x="194" y="89"/>
                  </a:lnTo>
                  <a:lnTo>
                    <a:pt x="186" y="86"/>
                  </a:lnTo>
                  <a:lnTo>
                    <a:pt x="186" y="86"/>
                  </a:lnTo>
                  <a:lnTo>
                    <a:pt x="179" y="89"/>
                  </a:lnTo>
                  <a:lnTo>
                    <a:pt x="175" y="90"/>
                  </a:lnTo>
                  <a:lnTo>
                    <a:pt x="172" y="95"/>
                  </a:lnTo>
                  <a:lnTo>
                    <a:pt x="172" y="95"/>
                  </a:lnTo>
                  <a:lnTo>
                    <a:pt x="166" y="102"/>
                  </a:lnTo>
                  <a:lnTo>
                    <a:pt x="159" y="106"/>
                  </a:lnTo>
                  <a:lnTo>
                    <a:pt x="159" y="106"/>
                  </a:lnTo>
                  <a:lnTo>
                    <a:pt x="150" y="112"/>
                  </a:lnTo>
                  <a:lnTo>
                    <a:pt x="143" y="119"/>
                  </a:lnTo>
                  <a:lnTo>
                    <a:pt x="143" y="119"/>
                  </a:lnTo>
                  <a:lnTo>
                    <a:pt x="139" y="122"/>
                  </a:lnTo>
                  <a:lnTo>
                    <a:pt x="139" y="122"/>
                  </a:lnTo>
                  <a:lnTo>
                    <a:pt x="136" y="126"/>
                  </a:lnTo>
                  <a:lnTo>
                    <a:pt x="134" y="128"/>
                  </a:lnTo>
                  <a:lnTo>
                    <a:pt x="133" y="126"/>
                  </a:lnTo>
                  <a:lnTo>
                    <a:pt x="133" y="126"/>
                  </a:lnTo>
                  <a:lnTo>
                    <a:pt x="131" y="124"/>
                  </a:lnTo>
                  <a:lnTo>
                    <a:pt x="130" y="124"/>
                  </a:lnTo>
                  <a:lnTo>
                    <a:pt x="128" y="124"/>
                  </a:lnTo>
                  <a:lnTo>
                    <a:pt x="128" y="124"/>
                  </a:lnTo>
                  <a:lnTo>
                    <a:pt x="128" y="128"/>
                  </a:lnTo>
                  <a:lnTo>
                    <a:pt x="127" y="132"/>
                  </a:lnTo>
                  <a:lnTo>
                    <a:pt x="126" y="137"/>
                  </a:lnTo>
                  <a:lnTo>
                    <a:pt x="124" y="139"/>
                  </a:lnTo>
                  <a:lnTo>
                    <a:pt x="124" y="139"/>
                  </a:lnTo>
                  <a:lnTo>
                    <a:pt x="123" y="139"/>
                  </a:lnTo>
                  <a:lnTo>
                    <a:pt x="121" y="139"/>
                  </a:lnTo>
                  <a:lnTo>
                    <a:pt x="120" y="138"/>
                  </a:lnTo>
                  <a:lnTo>
                    <a:pt x="118" y="139"/>
                  </a:lnTo>
                  <a:lnTo>
                    <a:pt x="118" y="139"/>
                  </a:lnTo>
                  <a:lnTo>
                    <a:pt x="118" y="142"/>
                  </a:lnTo>
                  <a:lnTo>
                    <a:pt x="117" y="144"/>
                  </a:lnTo>
                  <a:lnTo>
                    <a:pt x="114" y="144"/>
                  </a:lnTo>
                  <a:lnTo>
                    <a:pt x="114" y="144"/>
                  </a:lnTo>
                  <a:lnTo>
                    <a:pt x="107" y="141"/>
                  </a:lnTo>
                  <a:lnTo>
                    <a:pt x="104" y="139"/>
                  </a:lnTo>
                  <a:lnTo>
                    <a:pt x="102" y="139"/>
                  </a:lnTo>
                  <a:lnTo>
                    <a:pt x="102" y="141"/>
                  </a:lnTo>
                  <a:lnTo>
                    <a:pt x="102" y="141"/>
                  </a:lnTo>
                  <a:lnTo>
                    <a:pt x="104" y="145"/>
                  </a:lnTo>
                  <a:lnTo>
                    <a:pt x="105" y="148"/>
                  </a:lnTo>
                  <a:lnTo>
                    <a:pt x="104" y="150"/>
                  </a:lnTo>
                  <a:lnTo>
                    <a:pt x="104" y="150"/>
                  </a:lnTo>
                  <a:lnTo>
                    <a:pt x="102" y="151"/>
                  </a:lnTo>
                  <a:lnTo>
                    <a:pt x="101" y="151"/>
                  </a:lnTo>
                  <a:lnTo>
                    <a:pt x="98" y="151"/>
                  </a:lnTo>
                  <a:lnTo>
                    <a:pt x="98" y="151"/>
                  </a:lnTo>
                  <a:lnTo>
                    <a:pt x="95" y="152"/>
                  </a:lnTo>
                  <a:lnTo>
                    <a:pt x="92" y="154"/>
                  </a:lnTo>
                  <a:lnTo>
                    <a:pt x="92" y="154"/>
                  </a:lnTo>
                  <a:lnTo>
                    <a:pt x="89" y="155"/>
                  </a:lnTo>
                  <a:lnTo>
                    <a:pt x="88" y="157"/>
                  </a:lnTo>
                  <a:lnTo>
                    <a:pt x="88" y="157"/>
                  </a:lnTo>
                  <a:lnTo>
                    <a:pt x="89" y="158"/>
                  </a:lnTo>
                  <a:lnTo>
                    <a:pt x="91" y="160"/>
                  </a:lnTo>
                  <a:lnTo>
                    <a:pt x="94" y="160"/>
                  </a:lnTo>
                  <a:lnTo>
                    <a:pt x="94" y="161"/>
                  </a:lnTo>
                  <a:lnTo>
                    <a:pt x="94" y="161"/>
                  </a:lnTo>
                  <a:lnTo>
                    <a:pt x="94" y="163"/>
                  </a:lnTo>
                  <a:lnTo>
                    <a:pt x="91" y="163"/>
                  </a:lnTo>
                  <a:lnTo>
                    <a:pt x="86" y="164"/>
                  </a:lnTo>
                  <a:lnTo>
                    <a:pt x="86" y="164"/>
                  </a:lnTo>
                  <a:lnTo>
                    <a:pt x="85" y="164"/>
                  </a:lnTo>
                  <a:lnTo>
                    <a:pt x="85" y="167"/>
                  </a:lnTo>
                  <a:lnTo>
                    <a:pt x="86" y="174"/>
                  </a:lnTo>
                  <a:lnTo>
                    <a:pt x="86" y="174"/>
                  </a:lnTo>
                  <a:lnTo>
                    <a:pt x="85" y="176"/>
                  </a:lnTo>
                  <a:lnTo>
                    <a:pt x="84" y="177"/>
                  </a:lnTo>
                  <a:lnTo>
                    <a:pt x="81" y="179"/>
                  </a:lnTo>
                  <a:lnTo>
                    <a:pt x="81" y="179"/>
                  </a:lnTo>
                  <a:lnTo>
                    <a:pt x="76" y="179"/>
                  </a:lnTo>
                  <a:lnTo>
                    <a:pt x="75" y="179"/>
                  </a:lnTo>
                  <a:lnTo>
                    <a:pt x="75" y="180"/>
                  </a:lnTo>
                  <a:lnTo>
                    <a:pt x="75" y="180"/>
                  </a:lnTo>
                  <a:lnTo>
                    <a:pt x="78" y="183"/>
                  </a:lnTo>
                  <a:lnTo>
                    <a:pt x="78" y="184"/>
                  </a:lnTo>
                  <a:lnTo>
                    <a:pt x="76" y="186"/>
                  </a:lnTo>
                  <a:lnTo>
                    <a:pt x="76" y="186"/>
                  </a:lnTo>
                  <a:lnTo>
                    <a:pt x="71" y="186"/>
                  </a:lnTo>
                  <a:lnTo>
                    <a:pt x="68" y="187"/>
                  </a:lnTo>
                  <a:lnTo>
                    <a:pt x="69" y="189"/>
                  </a:lnTo>
                  <a:lnTo>
                    <a:pt x="69" y="189"/>
                  </a:lnTo>
                  <a:lnTo>
                    <a:pt x="72" y="193"/>
                  </a:lnTo>
                  <a:lnTo>
                    <a:pt x="73" y="197"/>
                  </a:lnTo>
                  <a:lnTo>
                    <a:pt x="73" y="197"/>
                  </a:lnTo>
                  <a:lnTo>
                    <a:pt x="72" y="197"/>
                  </a:lnTo>
                  <a:lnTo>
                    <a:pt x="71" y="197"/>
                  </a:lnTo>
                  <a:lnTo>
                    <a:pt x="69" y="196"/>
                  </a:lnTo>
                  <a:lnTo>
                    <a:pt x="68" y="197"/>
                  </a:lnTo>
                  <a:lnTo>
                    <a:pt x="68" y="197"/>
                  </a:lnTo>
                  <a:lnTo>
                    <a:pt x="69" y="202"/>
                  </a:lnTo>
                  <a:lnTo>
                    <a:pt x="71" y="203"/>
                  </a:lnTo>
                  <a:lnTo>
                    <a:pt x="71" y="205"/>
                  </a:lnTo>
                  <a:lnTo>
                    <a:pt x="71" y="205"/>
                  </a:lnTo>
                  <a:lnTo>
                    <a:pt x="68" y="206"/>
                  </a:lnTo>
                  <a:lnTo>
                    <a:pt x="63" y="206"/>
                  </a:lnTo>
                  <a:lnTo>
                    <a:pt x="58" y="205"/>
                  </a:lnTo>
                  <a:lnTo>
                    <a:pt x="58" y="205"/>
                  </a:lnTo>
                  <a:lnTo>
                    <a:pt x="58" y="206"/>
                  </a:lnTo>
                  <a:lnTo>
                    <a:pt x="59" y="208"/>
                  </a:lnTo>
                  <a:lnTo>
                    <a:pt x="62" y="210"/>
                  </a:lnTo>
                  <a:lnTo>
                    <a:pt x="62" y="210"/>
                  </a:lnTo>
                  <a:lnTo>
                    <a:pt x="63" y="212"/>
                  </a:lnTo>
                  <a:lnTo>
                    <a:pt x="62" y="216"/>
                  </a:lnTo>
                  <a:lnTo>
                    <a:pt x="60" y="222"/>
                  </a:lnTo>
                  <a:lnTo>
                    <a:pt x="60" y="222"/>
                  </a:lnTo>
                  <a:lnTo>
                    <a:pt x="59" y="226"/>
                  </a:lnTo>
                  <a:lnTo>
                    <a:pt x="56" y="228"/>
                  </a:lnTo>
                  <a:lnTo>
                    <a:pt x="55" y="22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98" name="Freeform 1019"/>
            <p:cNvSpPr>
              <a:spLocks/>
            </p:cNvSpPr>
            <p:nvPr/>
          </p:nvSpPr>
          <p:spPr bwMode="auto">
            <a:xfrm>
              <a:off x="4862513" y="2159429"/>
              <a:ext cx="31750" cy="34925"/>
            </a:xfrm>
            <a:custGeom>
              <a:avLst/>
              <a:gdLst>
                <a:gd name="T0" fmla="*/ 20 w 20"/>
                <a:gd name="T1" fmla="*/ 9 h 22"/>
                <a:gd name="T2" fmla="*/ 20 w 20"/>
                <a:gd name="T3" fmla="*/ 9 h 22"/>
                <a:gd name="T4" fmla="*/ 20 w 20"/>
                <a:gd name="T5" fmla="*/ 2 h 22"/>
                <a:gd name="T6" fmla="*/ 20 w 20"/>
                <a:gd name="T7" fmla="*/ 0 h 22"/>
                <a:gd name="T8" fmla="*/ 18 w 20"/>
                <a:gd name="T9" fmla="*/ 0 h 22"/>
                <a:gd name="T10" fmla="*/ 18 w 20"/>
                <a:gd name="T11" fmla="*/ 0 h 22"/>
                <a:gd name="T12" fmla="*/ 9 w 20"/>
                <a:gd name="T13" fmla="*/ 6 h 22"/>
                <a:gd name="T14" fmla="*/ 3 w 20"/>
                <a:gd name="T15" fmla="*/ 9 h 22"/>
                <a:gd name="T16" fmla="*/ 2 w 20"/>
                <a:gd name="T17" fmla="*/ 12 h 22"/>
                <a:gd name="T18" fmla="*/ 2 w 20"/>
                <a:gd name="T19" fmla="*/ 12 h 22"/>
                <a:gd name="T20" fmla="*/ 0 w 20"/>
                <a:gd name="T21" fmla="*/ 18 h 22"/>
                <a:gd name="T22" fmla="*/ 0 w 20"/>
                <a:gd name="T23" fmla="*/ 20 h 22"/>
                <a:gd name="T24" fmla="*/ 2 w 20"/>
                <a:gd name="T25" fmla="*/ 22 h 22"/>
                <a:gd name="T26" fmla="*/ 2 w 20"/>
                <a:gd name="T27" fmla="*/ 22 h 22"/>
                <a:gd name="T28" fmla="*/ 7 w 20"/>
                <a:gd name="T29" fmla="*/ 20 h 22"/>
                <a:gd name="T30" fmla="*/ 13 w 20"/>
                <a:gd name="T31" fmla="*/ 16 h 22"/>
                <a:gd name="T32" fmla="*/ 19 w 20"/>
                <a:gd name="T33" fmla="*/ 13 h 22"/>
                <a:gd name="T34" fmla="*/ 20 w 20"/>
                <a:gd name="T35" fmla="*/ 12 h 22"/>
                <a:gd name="T36" fmla="*/ 20 w 20"/>
                <a:gd name="T37"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2">
                  <a:moveTo>
                    <a:pt x="20" y="9"/>
                  </a:moveTo>
                  <a:lnTo>
                    <a:pt x="20" y="9"/>
                  </a:lnTo>
                  <a:lnTo>
                    <a:pt x="20" y="2"/>
                  </a:lnTo>
                  <a:lnTo>
                    <a:pt x="20" y="0"/>
                  </a:lnTo>
                  <a:lnTo>
                    <a:pt x="18" y="0"/>
                  </a:lnTo>
                  <a:lnTo>
                    <a:pt x="18" y="0"/>
                  </a:lnTo>
                  <a:lnTo>
                    <a:pt x="9" y="6"/>
                  </a:lnTo>
                  <a:lnTo>
                    <a:pt x="3" y="9"/>
                  </a:lnTo>
                  <a:lnTo>
                    <a:pt x="2" y="12"/>
                  </a:lnTo>
                  <a:lnTo>
                    <a:pt x="2" y="12"/>
                  </a:lnTo>
                  <a:lnTo>
                    <a:pt x="0" y="18"/>
                  </a:lnTo>
                  <a:lnTo>
                    <a:pt x="0" y="20"/>
                  </a:lnTo>
                  <a:lnTo>
                    <a:pt x="2" y="22"/>
                  </a:lnTo>
                  <a:lnTo>
                    <a:pt x="2" y="22"/>
                  </a:lnTo>
                  <a:lnTo>
                    <a:pt x="7" y="20"/>
                  </a:lnTo>
                  <a:lnTo>
                    <a:pt x="13" y="16"/>
                  </a:lnTo>
                  <a:lnTo>
                    <a:pt x="19" y="13"/>
                  </a:lnTo>
                  <a:lnTo>
                    <a:pt x="20" y="12"/>
                  </a:lnTo>
                  <a:lnTo>
                    <a:pt x="20" y="9"/>
                  </a:lnTo>
                  <a:close/>
                </a:path>
              </a:pathLst>
            </a:custGeom>
            <a:solidFill>
              <a:srgbClr val="92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999" name="Freeform 1020"/>
            <p:cNvSpPr>
              <a:spLocks/>
            </p:cNvSpPr>
            <p:nvPr/>
          </p:nvSpPr>
          <p:spPr bwMode="auto">
            <a:xfrm>
              <a:off x="4862513" y="2159429"/>
              <a:ext cx="31750" cy="34925"/>
            </a:xfrm>
            <a:custGeom>
              <a:avLst/>
              <a:gdLst>
                <a:gd name="T0" fmla="*/ 20 w 20"/>
                <a:gd name="T1" fmla="*/ 9 h 22"/>
                <a:gd name="T2" fmla="*/ 20 w 20"/>
                <a:gd name="T3" fmla="*/ 9 h 22"/>
                <a:gd name="T4" fmla="*/ 20 w 20"/>
                <a:gd name="T5" fmla="*/ 2 h 22"/>
                <a:gd name="T6" fmla="*/ 20 w 20"/>
                <a:gd name="T7" fmla="*/ 0 h 22"/>
                <a:gd name="T8" fmla="*/ 18 w 20"/>
                <a:gd name="T9" fmla="*/ 0 h 22"/>
                <a:gd name="T10" fmla="*/ 18 w 20"/>
                <a:gd name="T11" fmla="*/ 0 h 22"/>
                <a:gd name="T12" fmla="*/ 9 w 20"/>
                <a:gd name="T13" fmla="*/ 6 h 22"/>
                <a:gd name="T14" fmla="*/ 3 w 20"/>
                <a:gd name="T15" fmla="*/ 9 h 22"/>
                <a:gd name="T16" fmla="*/ 2 w 20"/>
                <a:gd name="T17" fmla="*/ 12 h 22"/>
                <a:gd name="T18" fmla="*/ 2 w 20"/>
                <a:gd name="T19" fmla="*/ 12 h 22"/>
                <a:gd name="T20" fmla="*/ 0 w 20"/>
                <a:gd name="T21" fmla="*/ 18 h 22"/>
                <a:gd name="T22" fmla="*/ 0 w 20"/>
                <a:gd name="T23" fmla="*/ 20 h 22"/>
                <a:gd name="T24" fmla="*/ 2 w 20"/>
                <a:gd name="T25" fmla="*/ 22 h 22"/>
                <a:gd name="T26" fmla="*/ 2 w 20"/>
                <a:gd name="T27" fmla="*/ 22 h 22"/>
                <a:gd name="T28" fmla="*/ 7 w 20"/>
                <a:gd name="T29" fmla="*/ 20 h 22"/>
                <a:gd name="T30" fmla="*/ 13 w 20"/>
                <a:gd name="T31" fmla="*/ 16 h 22"/>
                <a:gd name="T32" fmla="*/ 19 w 20"/>
                <a:gd name="T33" fmla="*/ 13 h 22"/>
                <a:gd name="T34" fmla="*/ 20 w 20"/>
                <a:gd name="T35" fmla="*/ 12 h 22"/>
                <a:gd name="T36" fmla="*/ 20 w 20"/>
                <a:gd name="T37"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2">
                  <a:moveTo>
                    <a:pt x="20" y="9"/>
                  </a:moveTo>
                  <a:lnTo>
                    <a:pt x="20" y="9"/>
                  </a:lnTo>
                  <a:lnTo>
                    <a:pt x="20" y="2"/>
                  </a:lnTo>
                  <a:lnTo>
                    <a:pt x="20" y="0"/>
                  </a:lnTo>
                  <a:lnTo>
                    <a:pt x="18" y="0"/>
                  </a:lnTo>
                  <a:lnTo>
                    <a:pt x="18" y="0"/>
                  </a:lnTo>
                  <a:lnTo>
                    <a:pt x="9" y="6"/>
                  </a:lnTo>
                  <a:lnTo>
                    <a:pt x="3" y="9"/>
                  </a:lnTo>
                  <a:lnTo>
                    <a:pt x="2" y="12"/>
                  </a:lnTo>
                  <a:lnTo>
                    <a:pt x="2" y="12"/>
                  </a:lnTo>
                  <a:lnTo>
                    <a:pt x="0" y="18"/>
                  </a:lnTo>
                  <a:lnTo>
                    <a:pt x="0" y="20"/>
                  </a:lnTo>
                  <a:lnTo>
                    <a:pt x="2" y="22"/>
                  </a:lnTo>
                  <a:lnTo>
                    <a:pt x="2" y="22"/>
                  </a:lnTo>
                  <a:lnTo>
                    <a:pt x="7" y="20"/>
                  </a:lnTo>
                  <a:lnTo>
                    <a:pt x="13" y="16"/>
                  </a:lnTo>
                  <a:lnTo>
                    <a:pt x="19" y="13"/>
                  </a:lnTo>
                  <a:lnTo>
                    <a:pt x="20" y="12"/>
                  </a:lnTo>
                  <a:lnTo>
                    <a:pt x="20"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00" name="Freeform 1021"/>
            <p:cNvSpPr>
              <a:spLocks/>
            </p:cNvSpPr>
            <p:nvPr/>
          </p:nvSpPr>
          <p:spPr bwMode="auto">
            <a:xfrm>
              <a:off x="4732338" y="2270554"/>
              <a:ext cx="26988" cy="41275"/>
            </a:xfrm>
            <a:custGeom>
              <a:avLst/>
              <a:gdLst>
                <a:gd name="T0" fmla="*/ 17 w 17"/>
                <a:gd name="T1" fmla="*/ 8 h 26"/>
                <a:gd name="T2" fmla="*/ 17 w 17"/>
                <a:gd name="T3" fmla="*/ 8 h 26"/>
                <a:gd name="T4" fmla="*/ 14 w 17"/>
                <a:gd name="T5" fmla="*/ 3 h 26"/>
                <a:gd name="T6" fmla="*/ 13 w 17"/>
                <a:gd name="T7" fmla="*/ 0 h 26"/>
                <a:gd name="T8" fmla="*/ 10 w 17"/>
                <a:gd name="T9" fmla="*/ 0 h 26"/>
                <a:gd name="T10" fmla="*/ 10 w 17"/>
                <a:gd name="T11" fmla="*/ 0 h 26"/>
                <a:gd name="T12" fmla="*/ 8 w 17"/>
                <a:gd name="T13" fmla="*/ 3 h 26"/>
                <a:gd name="T14" fmla="*/ 8 w 17"/>
                <a:gd name="T15" fmla="*/ 7 h 26"/>
                <a:gd name="T16" fmla="*/ 7 w 17"/>
                <a:gd name="T17" fmla="*/ 11 h 26"/>
                <a:gd name="T18" fmla="*/ 5 w 17"/>
                <a:gd name="T19" fmla="*/ 14 h 26"/>
                <a:gd name="T20" fmla="*/ 5 w 17"/>
                <a:gd name="T21" fmla="*/ 14 h 26"/>
                <a:gd name="T22" fmla="*/ 1 w 17"/>
                <a:gd name="T23" fmla="*/ 23 h 26"/>
                <a:gd name="T24" fmla="*/ 0 w 17"/>
                <a:gd name="T25" fmla="*/ 26 h 26"/>
                <a:gd name="T26" fmla="*/ 1 w 17"/>
                <a:gd name="T27" fmla="*/ 24 h 26"/>
                <a:gd name="T28" fmla="*/ 1 w 17"/>
                <a:gd name="T29" fmla="*/ 24 h 26"/>
                <a:gd name="T30" fmla="*/ 11 w 17"/>
                <a:gd name="T31" fmla="*/ 16 h 26"/>
                <a:gd name="T32" fmla="*/ 16 w 17"/>
                <a:gd name="T33" fmla="*/ 11 h 26"/>
                <a:gd name="T34" fmla="*/ 17 w 17"/>
                <a:gd name="T35" fmla="*/ 8 h 26"/>
                <a:gd name="T36" fmla="*/ 17 w 17"/>
                <a:gd name="T37"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26">
                  <a:moveTo>
                    <a:pt x="17" y="8"/>
                  </a:moveTo>
                  <a:lnTo>
                    <a:pt x="17" y="8"/>
                  </a:lnTo>
                  <a:lnTo>
                    <a:pt x="14" y="3"/>
                  </a:lnTo>
                  <a:lnTo>
                    <a:pt x="13" y="0"/>
                  </a:lnTo>
                  <a:lnTo>
                    <a:pt x="10" y="0"/>
                  </a:lnTo>
                  <a:lnTo>
                    <a:pt x="10" y="0"/>
                  </a:lnTo>
                  <a:lnTo>
                    <a:pt x="8" y="3"/>
                  </a:lnTo>
                  <a:lnTo>
                    <a:pt x="8" y="7"/>
                  </a:lnTo>
                  <a:lnTo>
                    <a:pt x="7" y="11"/>
                  </a:lnTo>
                  <a:lnTo>
                    <a:pt x="5" y="14"/>
                  </a:lnTo>
                  <a:lnTo>
                    <a:pt x="5" y="14"/>
                  </a:lnTo>
                  <a:lnTo>
                    <a:pt x="1" y="23"/>
                  </a:lnTo>
                  <a:lnTo>
                    <a:pt x="0" y="26"/>
                  </a:lnTo>
                  <a:lnTo>
                    <a:pt x="1" y="24"/>
                  </a:lnTo>
                  <a:lnTo>
                    <a:pt x="1" y="24"/>
                  </a:lnTo>
                  <a:lnTo>
                    <a:pt x="11" y="16"/>
                  </a:lnTo>
                  <a:lnTo>
                    <a:pt x="16" y="11"/>
                  </a:lnTo>
                  <a:lnTo>
                    <a:pt x="17" y="8"/>
                  </a:lnTo>
                  <a:lnTo>
                    <a:pt x="17" y="8"/>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01" name="Freeform 1022"/>
            <p:cNvSpPr>
              <a:spLocks/>
            </p:cNvSpPr>
            <p:nvPr/>
          </p:nvSpPr>
          <p:spPr bwMode="auto">
            <a:xfrm>
              <a:off x="4732338" y="2270554"/>
              <a:ext cx="26988" cy="41275"/>
            </a:xfrm>
            <a:custGeom>
              <a:avLst/>
              <a:gdLst>
                <a:gd name="T0" fmla="*/ 17 w 17"/>
                <a:gd name="T1" fmla="*/ 8 h 26"/>
                <a:gd name="T2" fmla="*/ 17 w 17"/>
                <a:gd name="T3" fmla="*/ 8 h 26"/>
                <a:gd name="T4" fmla="*/ 14 w 17"/>
                <a:gd name="T5" fmla="*/ 3 h 26"/>
                <a:gd name="T6" fmla="*/ 13 w 17"/>
                <a:gd name="T7" fmla="*/ 0 h 26"/>
                <a:gd name="T8" fmla="*/ 10 w 17"/>
                <a:gd name="T9" fmla="*/ 0 h 26"/>
                <a:gd name="T10" fmla="*/ 10 w 17"/>
                <a:gd name="T11" fmla="*/ 0 h 26"/>
                <a:gd name="T12" fmla="*/ 8 w 17"/>
                <a:gd name="T13" fmla="*/ 3 h 26"/>
                <a:gd name="T14" fmla="*/ 8 w 17"/>
                <a:gd name="T15" fmla="*/ 7 h 26"/>
                <a:gd name="T16" fmla="*/ 7 w 17"/>
                <a:gd name="T17" fmla="*/ 11 h 26"/>
                <a:gd name="T18" fmla="*/ 5 w 17"/>
                <a:gd name="T19" fmla="*/ 14 h 26"/>
                <a:gd name="T20" fmla="*/ 5 w 17"/>
                <a:gd name="T21" fmla="*/ 14 h 26"/>
                <a:gd name="T22" fmla="*/ 1 w 17"/>
                <a:gd name="T23" fmla="*/ 23 h 26"/>
                <a:gd name="T24" fmla="*/ 0 w 17"/>
                <a:gd name="T25" fmla="*/ 26 h 26"/>
                <a:gd name="T26" fmla="*/ 1 w 17"/>
                <a:gd name="T27" fmla="*/ 24 h 26"/>
                <a:gd name="T28" fmla="*/ 1 w 17"/>
                <a:gd name="T29" fmla="*/ 24 h 26"/>
                <a:gd name="T30" fmla="*/ 11 w 17"/>
                <a:gd name="T31" fmla="*/ 16 h 26"/>
                <a:gd name="T32" fmla="*/ 16 w 17"/>
                <a:gd name="T33" fmla="*/ 11 h 26"/>
                <a:gd name="T34" fmla="*/ 17 w 17"/>
                <a:gd name="T35" fmla="*/ 8 h 26"/>
                <a:gd name="T36" fmla="*/ 17 w 17"/>
                <a:gd name="T37"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26">
                  <a:moveTo>
                    <a:pt x="17" y="8"/>
                  </a:moveTo>
                  <a:lnTo>
                    <a:pt x="17" y="8"/>
                  </a:lnTo>
                  <a:lnTo>
                    <a:pt x="14" y="3"/>
                  </a:lnTo>
                  <a:lnTo>
                    <a:pt x="13" y="0"/>
                  </a:lnTo>
                  <a:lnTo>
                    <a:pt x="10" y="0"/>
                  </a:lnTo>
                  <a:lnTo>
                    <a:pt x="10" y="0"/>
                  </a:lnTo>
                  <a:lnTo>
                    <a:pt x="8" y="3"/>
                  </a:lnTo>
                  <a:lnTo>
                    <a:pt x="8" y="7"/>
                  </a:lnTo>
                  <a:lnTo>
                    <a:pt x="7" y="11"/>
                  </a:lnTo>
                  <a:lnTo>
                    <a:pt x="5" y="14"/>
                  </a:lnTo>
                  <a:lnTo>
                    <a:pt x="5" y="14"/>
                  </a:lnTo>
                  <a:lnTo>
                    <a:pt x="1" y="23"/>
                  </a:lnTo>
                  <a:lnTo>
                    <a:pt x="0" y="26"/>
                  </a:lnTo>
                  <a:lnTo>
                    <a:pt x="1" y="24"/>
                  </a:lnTo>
                  <a:lnTo>
                    <a:pt x="1" y="24"/>
                  </a:lnTo>
                  <a:lnTo>
                    <a:pt x="11" y="16"/>
                  </a:lnTo>
                  <a:lnTo>
                    <a:pt x="16" y="11"/>
                  </a:lnTo>
                  <a:lnTo>
                    <a:pt x="17" y="8"/>
                  </a:lnTo>
                  <a:lnTo>
                    <a:pt x="17" y="8"/>
                  </a:lnTo>
                </a:path>
              </a:pathLst>
            </a:custGeom>
            <a:solidFill>
              <a:srgbClr val="92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02" name="Freeform 1023"/>
            <p:cNvSpPr>
              <a:spLocks/>
            </p:cNvSpPr>
            <p:nvPr/>
          </p:nvSpPr>
          <p:spPr bwMode="auto">
            <a:xfrm>
              <a:off x="5140326" y="3796142"/>
              <a:ext cx="53975" cy="25400"/>
            </a:xfrm>
            <a:custGeom>
              <a:avLst/>
              <a:gdLst>
                <a:gd name="T0" fmla="*/ 28 w 34"/>
                <a:gd name="T1" fmla="*/ 15 h 16"/>
                <a:gd name="T2" fmla="*/ 28 w 34"/>
                <a:gd name="T3" fmla="*/ 15 h 16"/>
                <a:gd name="T4" fmla="*/ 12 w 34"/>
                <a:gd name="T5" fmla="*/ 16 h 16"/>
                <a:gd name="T6" fmla="*/ 3 w 34"/>
                <a:gd name="T7" fmla="*/ 16 h 16"/>
                <a:gd name="T8" fmla="*/ 2 w 34"/>
                <a:gd name="T9" fmla="*/ 16 h 16"/>
                <a:gd name="T10" fmla="*/ 0 w 34"/>
                <a:gd name="T11" fmla="*/ 15 h 16"/>
                <a:gd name="T12" fmla="*/ 0 w 34"/>
                <a:gd name="T13" fmla="*/ 15 h 16"/>
                <a:gd name="T14" fmla="*/ 2 w 34"/>
                <a:gd name="T15" fmla="*/ 12 h 16"/>
                <a:gd name="T16" fmla="*/ 3 w 34"/>
                <a:gd name="T17" fmla="*/ 11 h 16"/>
                <a:gd name="T18" fmla="*/ 5 w 34"/>
                <a:gd name="T19" fmla="*/ 9 h 16"/>
                <a:gd name="T20" fmla="*/ 11 w 34"/>
                <a:gd name="T21" fmla="*/ 8 h 16"/>
                <a:gd name="T22" fmla="*/ 11 w 34"/>
                <a:gd name="T23" fmla="*/ 8 h 16"/>
                <a:gd name="T24" fmla="*/ 18 w 34"/>
                <a:gd name="T25" fmla="*/ 6 h 16"/>
                <a:gd name="T26" fmla="*/ 25 w 34"/>
                <a:gd name="T27" fmla="*/ 3 h 16"/>
                <a:gd name="T28" fmla="*/ 34 w 34"/>
                <a:gd name="T29" fmla="*/ 0 h 16"/>
                <a:gd name="T30" fmla="*/ 34 w 34"/>
                <a:gd name="T31" fmla="*/ 0 h 16"/>
                <a:gd name="T32" fmla="*/ 31 w 34"/>
                <a:gd name="T33" fmla="*/ 8 h 16"/>
                <a:gd name="T34" fmla="*/ 29 w 34"/>
                <a:gd name="T35" fmla="*/ 14 h 16"/>
                <a:gd name="T36" fmla="*/ 28 w 34"/>
                <a:gd name="T37"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16">
                  <a:moveTo>
                    <a:pt x="28" y="15"/>
                  </a:moveTo>
                  <a:lnTo>
                    <a:pt x="28" y="15"/>
                  </a:lnTo>
                  <a:lnTo>
                    <a:pt x="12" y="16"/>
                  </a:lnTo>
                  <a:lnTo>
                    <a:pt x="3" y="16"/>
                  </a:lnTo>
                  <a:lnTo>
                    <a:pt x="2" y="16"/>
                  </a:lnTo>
                  <a:lnTo>
                    <a:pt x="0" y="15"/>
                  </a:lnTo>
                  <a:lnTo>
                    <a:pt x="0" y="15"/>
                  </a:lnTo>
                  <a:lnTo>
                    <a:pt x="2" y="12"/>
                  </a:lnTo>
                  <a:lnTo>
                    <a:pt x="3" y="11"/>
                  </a:lnTo>
                  <a:lnTo>
                    <a:pt x="5" y="9"/>
                  </a:lnTo>
                  <a:lnTo>
                    <a:pt x="11" y="8"/>
                  </a:lnTo>
                  <a:lnTo>
                    <a:pt x="11" y="8"/>
                  </a:lnTo>
                  <a:lnTo>
                    <a:pt x="18" y="6"/>
                  </a:lnTo>
                  <a:lnTo>
                    <a:pt x="25" y="3"/>
                  </a:lnTo>
                  <a:lnTo>
                    <a:pt x="34" y="0"/>
                  </a:lnTo>
                  <a:lnTo>
                    <a:pt x="34" y="0"/>
                  </a:lnTo>
                  <a:lnTo>
                    <a:pt x="31" y="8"/>
                  </a:lnTo>
                  <a:lnTo>
                    <a:pt x="29" y="14"/>
                  </a:lnTo>
                  <a:lnTo>
                    <a:pt x="28" y="15"/>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03" name="Freeform 1024"/>
            <p:cNvSpPr>
              <a:spLocks/>
            </p:cNvSpPr>
            <p:nvPr/>
          </p:nvSpPr>
          <p:spPr bwMode="auto">
            <a:xfrm>
              <a:off x="5140326" y="3796142"/>
              <a:ext cx="53975" cy="25400"/>
            </a:xfrm>
            <a:custGeom>
              <a:avLst/>
              <a:gdLst>
                <a:gd name="T0" fmla="*/ 28 w 34"/>
                <a:gd name="T1" fmla="*/ 15 h 16"/>
                <a:gd name="T2" fmla="*/ 28 w 34"/>
                <a:gd name="T3" fmla="*/ 15 h 16"/>
                <a:gd name="T4" fmla="*/ 12 w 34"/>
                <a:gd name="T5" fmla="*/ 16 h 16"/>
                <a:gd name="T6" fmla="*/ 3 w 34"/>
                <a:gd name="T7" fmla="*/ 16 h 16"/>
                <a:gd name="T8" fmla="*/ 2 w 34"/>
                <a:gd name="T9" fmla="*/ 16 h 16"/>
                <a:gd name="T10" fmla="*/ 0 w 34"/>
                <a:gd name="T11" fmla="*/ 15 h 16"/>
                <a:gd name="T12" fmla="*/ 0 w 34"/>
                <a:gd name="T13" fmla="*/ 15 h 16"/>
                <a:gd name="T14" fmla="*/ 2 w 34"/>
                <a:gd name="T15" fmla="*/ 12 h 16"/>
                <a:gd name="T16" fmla="*/ 3 w 34"/>
                <a:gd name="T17" fmla="*/ 11 h 16"/>
                <a:gd name="T18" fmla="*/ 5 w 34"/>
                <a:gd name="T19" fmla="*/ 9 h 16"/>
                <a:gd name="T20" fmla="*/ 11 w 34"/>
                <a:gd name="T21" fmla="*/ 8 h 16"/>
                <a:gd name="T22" fmla="*/ 11 w 34"/>
                <a:gd name="T23" fmla="*/ 8 h 16"/>
                <a:gd name="T24" fmla="*/ 18 w 34"/>
                <a:gd name="T25" fmla="*/ 6 h 16"/>
                <a:gd name="T26" fmla="*/ 25 w 34"/>
                <a:gd name="T27" fmla="*/ 3 h 16"/>
                <a:gd name="T28" fmla="*/ 34 w 34"/>
                <a:gd name="T29" fmla="*/ 0 h 16"/>
                <a:gd name="T30" fmla="*/ 34 w 34"/>
                <a:gd name="T31" fmla="*/ 0 h 16"/>
                <a:gd name="T32" fmla="*/ 31 w 34"/>
                <a:gd name="T33" fmla="*/ 8 h 16"/>
                <a:gd name="T34" fmla="*/ 29 w 34"/>
                <a:gd name="T35" fmla="*/ 14 h 16"/>
                <a:gd name="T36" fmla="*/ 28 w 34"/>
                <a:gd name="T37"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16">
                  <a:moveTo>
                    <a:pt x="28" y="15"/>
                  </a:moveTo>
                  <a:lnTo>
                    <a:pt x="28" y="15"/>
                  </a:lnTo>
                  <a:lnTo>
                    <a:pt x="12" y="16"/>
                  </a:lnTo>
                  <a:lnTo>
                    <a:pt x="3" y="16"/>
                  </a:lnTo>
                  <a:lnTo>
                    <a:pt x="2" y="16"/>
                  </a:lnTo>
                  <a:lnTo>
                    <a:pt x="0" y="15"/>
                  </a:lnTo>
                  <a:lnTo>
                    <a:pt x="0" y="15"/>
                  </a:lnTo>
                  <a:lnTo>
                    <a:pt x="2" y="12"/>
                  </a:lnTo>
                  <a:lnTo>
                    <a:pt x="3" y="11"/>
                  </a:lnTo>
                  <a:lnTo>
                    <a:pt x="5" y="9"/>
                  </a:lnTo>
                  <a:lnTo>
                    <a:pt x="11" y="8"/>
                  </a:lnTo>
                  <a:lnTo>
                    <a:pt x="11" y="8"/>
                  </a:lnTo>
                  <a:lnTo>
                    <a:pt x="18" y="6"/>
                  </a:lnTo>
                  <a:lnTo>
                    <a:pt x="25" y="3"/>
                  </a:lnTo>
                  <a:lnTo>
                    <a:pt x="34" y="0"/>
                  </a:lnTo>
                  <a:lnTo>
                    <a:pt x="34" y="0"/>
                  </a:lnTo>
                  <a:lnTo>
                    <a:pt x="31" y="8"/>
                  </a:lnTo>
                  <a:lnTo>
                    <a:pt x="29" y="14"/>
                  </a:lnTo>
                  <a:lnTo>
                    <a:pt x="28" y="15"/>
                  </a:lnTo>
                </a:path>
              </a:pathLst>
            </a:custGeom>
            <a:solidFill>
              <a:srgbClr val="81BC00"/>
            </a:solidFill>
            <a:ln w="9525">
              <a:noFill/>
              <a:round/>
              <a:headEnd/>
              <a:tailEnd/>
            </a:ln>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04" name="Freeform 1026"/>
            <p:cNvSpPr>
              <a:spLocks/>
            </p:cNvSpPr>
            <p:nvPr/>
          </p:nvSpPr>
          <p:spPr bwMode="auto">
            <a:xfrm>
              <a:off x="7483476" y="3559604"/>
              <a:ext cx="161925" cy="173038"/>
            </a:xfrm>
            <a:custGeom>
              <a:avLst/>
              <a:gdLst>
                <a:gd name="T0" fmla="*/ 38 w 102"/>
                <a:gd name="T1" fmla="*/ 109 h 109"/>
                <a:gd name="T2" fmla="*/ 32 w 102"/>
                <a:gd name="T3" fmla="*/ 107 h 109"/>
                <a:gd name="T4" fmla="*/ 18 w 102"/>
                <a:gd name="T5" fmla="*/ 103 h 109"/>
                <a:gd name="T6" fmla="*/ 12 w 102"/>
                <a:gd name="T7" fmla="*/ 102 h 109"/>
                <a:gd name="T8" fmla="*/ 12 w 102"/>
                <a:gd name="T9" fmla="*/ 102 h 109"/>
                <a:gd name="T10" fmla="*/ 12 w 102"/>
                <a:gd name="T11" fmla="*/ 102 h 109"/>
                <a:gd name="T12" fmla="*/ 16 w 102"/>
                <a:gd name="T13" fmla="*/ 94 h 109"/>
                <a:gd name="T14" fmla="*/ 19 w 102"/>
                <a:gd name="T15" fmla="*/ 87 h 109"/>
                <a:gd name="T16" fmla="*/ 19 w 102"/>
                <a:gd name="T17" fmla="*/ 84 h 109"/>
                <a:gd name="T18" fmla="*/ 19 w 102"/>
                <a:gd name="T19" fmla="*/ 80 h 109"/>
                <a:gd name="T20" fmla="*/ 21 w 102"/>
                <a:gd name="T21" fmla="*/ 74 h 109"/>
                <a:gd name="T22" fmla="*/ 21 w 102"/>
                <a:gd name="T23" fmla="*/ 71 h 109"/>
                <a:gd name="T24" fmla="*/ 19 w 102"/>
                <a:gd name="T25" fmla="*/ 71 h 109"/>
                <a:gd name="T26" fmla="*/ 18 w 102"/>
                <a:gd name="T27" fmla="*/ 70 h 109"/>
                <a:gd name="T28" fmla="*/ 13 w 102"/>
                <a:gd name="T29" fmla="*/ 70 h 109"/>
                <a:gd name="T30" fmla="*/ 13 w 102"/>
                <a:gd name="T31" fmla="*/ 70 h 109"/>
                <a:gd name="T32" fmla="*/ 10 w 102"/>
                <a:gd name="T33" fmla="*/ 70 h 109"/>
                <a:gd name="T34" fmla="*/ 9 w 102"/>
                <a:gd name="T35" fmla="*/ 68 h 109"/>
                <a:gd name="T36" fmla="*/ 6 w 102"/>
                <a:gd name="T37" fmla="*/ 67 h 109"/>
                <a:gd name="T38" fmla="*/ 3 w 102"/>
                <a:gd name="T39" fmla="*/ 65 h 109"/>
                <a:gd name="T40" fmla="*/ 0 w 102"/>
                <a:gd name="T41" fmla="*/ 67 h 109"/>
                <a:gd name="T42" fmla="*/ 5 w 102"/>
                <a:gd name="T43" fmla="*/ 60 h 109"/>
                <a:gd name="T44" fmla="*/ 8 w 102"/>
                <a:gd name="T45" fmla="*/ 55 h 109"/>
                <a:gd name="T46" fmla="*/ 21 w 102"/>
                <a:gd name="T47" fmla="*/ 48 h 109"/>
                <a:gd name="T48" fmla="*/ 32 w 102"/>
                <a:gd name="T49" fmla="*/ 42 h 109"/>
                <a:gd name="T50" fmla="*/ 41 w 102"/>
                <a:gd name="T51" fmla="*/ 34 h 109"/>
                <a:gd name="T52" fmla="*/ 44 w 102"/>
                <a:gd name="T53" fmla="*/ 29 h 109"/>
                <a:gd name="T54" fmla="*/ 47 w 102"/>
                <a:gd name="T55" fmla="*/ 28 h 109"/>
                <a:gd name="T56" fmla="*/ 48 w 102"/>
                <a:gd name="T57" fmla="*/ 28 h 109"/>
                <a:gd name="T58" fmla="*/ 52 w 102"/>
                <a:gd name="T59" fmla="*/ 29 h 109"/>
                <a:gd name="T60" fmla="*/ 58 w 102"/>
                <a:gd name="T61" fmla="*/ 31 h 109"/>
                <a:gd name="T62" fmla="*/ 63 w 102"/>
                <a:gd name="T63" fmla="*/ 29 h 109"/>
                <a:gd name="T64" fmla="*/ 65 w 102"/>
                <a:gd name="T65" fmla="*/ 25 h 109"/>
                <a:gd name="T66" fmla="*/ 65 w 102"/>
                <a:gd name="T67" fmla="*/ 18 h 109"/>
                <a:gd name="T68" fmla="*/ 67 w 102"/>
                <a:gd name="T69" fmla="*/ 16 h 109"/>
                <a:gd name="T70" fmla="*/ 73 w 102"/>
                <a:gd name="T71" fmla="*/ 18 h 109"/>
                <a:gd name="T72" fmla="*/ 76 w 102"/>
                <a:gd name="T73" fmla="*/ 16 h 109"/>
                <a:gd name="T74" fmla="*/ 77 w 102"/>
                <a:gd name="T75" fmla="*/ 15 h 109"/>
                <a:gd name="T76" fmla="*/ 89 w 102"/>
                <a:gd name="T77" fmla="*/ 3 h 109"/>
                <a:gd name="T78" fmla="*/ 93 w 102"/>
                <a:gd name="T79" fmla="*/ 0 h 109"/>
                <a:gd name="T80" fmla="*/ 102 w 102"/>
                <a:gd name="T81" fmla="*/ 8 h 109"/>
                <a:gd name="T82" fmla="*/ 102 w 102"/>
                <a:gd name="T83" fmla="*/ 9 h 109"/>
                <a:gd name="T84" fmla="*/ 99 w 102"/>
                <a:gd name="T85" fmla="*/ 10 h 109"/>
                <a:gd name="T86" fmla="*/ 96 w 102"/>
                <a:gd name="T87" fmla="*/ 15 h 109"/>
                <a:gd name="T88" fmla="*/ 87 w 102"/>
                <a:gd name="T89" fmla="*/ 34 h 109"/>
                <a:gd name="T90" fmla="*/ 84 w 102"/>
                <a:gd name="T91" fmla="*/ 38 h 109"/>
                <a:gd name="T92" fmla="*/ 76 w 102"/>
                <a:gd name="T93" fmla="*/ 50 h 109"/>
                <a:gd name="T94" fmla="*/ 71 w 102"/>
                <a:gd name="T95" fmla="*/ 55 h 109"/>
                <a:gd name="T96" fmla="*/ 68 w 102"/>
                <a:gd name="T97" fmla="*/ 58 h 109"/>
                <a:gd name="T98" fmla="*/ 60 w 102"/>
                <a:gd name="T99" fmla="*/ 63 h 109"/>
                <a:gd name="T100" fmla="*/ 55 w 102"/>
                <a:gd name="T101" fmla="*/ 64 h 109"/>
                <a:gd name="T102" fmla="*/ 52 w 102"/>
                <a:gd name="T103" fmla="*/ 68 h 109"/>
                <a:gd name="T104" fmla="*/ 51 w 102"/>
                <a:gd name="T105" fmla="*/ 71 h 109"/>
                <a:gd name="T106" fmla="*/ 50 w 102"/>
                <a:gd name="T107" fmla="*/ 76 h 109"/>
                <a:gd name="T108" fmla="*/ 51 w 102"/>
                <a:gd name="T109" fmla="*/ 79 h 109"/>
                <a:gd name="T110" fmla="*/ 52 w 102"/>
                <a:gd name="T111" fmla="*/ 80 h 109"/>
                <a:gd name="T112" fmla="*/ 58 w 102"/>
                <a:gd name="T113" fmla="*/ 86 h 109"/>
                <a:gd name="T114" fmla="*/ 65 w 102"/>
                <a:gd name="T115" fmla="*/ 93 h 109"/>
                <a:gd name="T116" fmla="*/ 61 w 102"/>
                <a:gd name="T117" fmla="*/ 96 h 109"/>
                <a:gd name="T118" fmla="*/ 57 w 102"/>
                <a:gd name="T119" fmla="*/ 97 h 109"/>
                <a:gd name="T120" fmla="*/ 50 w 102"/>
                <a:gd name="T121" fmla="*/ 10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2" h="109">
                  <a:moveTo>
                    <a:pt x="38" y="109"/>
                  </a:moveTo>
                  <a:lnTo>
                    <a:pt x="38" y="109"/>
                  </a:lnTo>
                  <a:lnTo>
                    <a:pt x="32" y="107"/>
                  </a:lnTo>
                  <a:lnTo>
                    <a:pt x="32" y="107"/>
                  </a:lnTo>
                  <a:lnTo>
                    <a:pt x="18" y="103"/>
                  </a:lnTo>
                  <a:lnTo>
                    <a:pt x="18" y="103"/>
                  </a:lnTo>
                  <a:lnTo>
                    <a:pt x="12" y="102"/>
                  </a:lnTo>
                  <a:lnTo>
                    <a:pt x="12" y="102"/>
                  </a:lnTo>
                  <a:lnTo>
                    <a:pt x="12" y="102"/>
                  </a:lnTo>
                  <a:lnTo>
                    <a:pt x="12" y="102"/>
                  </a:lnTo>
                  <a:lnTo>
                    <a:pt x="12" y="102"/>
                  </a:lnTo>
                  <a:lnTo>
                    <a:pt x="12" y="102"/>
                  </a:lnTo>
                  <a:lnTo>
                    <a:pt x="16" y="94"/>
                  </a:lnTo>
                  <a:lnTo>
                    <a:pt x="16" y="94"/>
                  </a:lnTo>
                  <a:lnTo>
                    <a:pt x="18" y="92"/>
                  </a:lnTo>
                  <a:lnTo>
                    <a:pt x="19" y="87"/>
                  </a:lnTo>
                  <a:lnTo>
                    <a:pt x="19" y="86"/>
                  </a:lnTo>
                  <a:lnTo>
                    <a:pt x="19" y="84"/>
                  </a:lnTo>
                  <a:lnTo>
                    <a:pt x="19" y="84"/>
                  </a:lnTo>
                  <a:lnTo>
                    <a:pt x="19" y="80"/>
                  </a:lnTo>
                  <a:lnTo>
                    <a:pt x="19" y="80"/>
                  </a:lnTo>
                  <a:lnTo>
                    <a:pt x="21" y="74"/>
                  </a:lnTo>
                  <a:lnTo>
                    <a:pt x="21" y="74"/>
                  </a:lnTo>
                  <a:lnTo>
                    <a:pt x="21" y="71"/>
                  </a:lnTo>
                  <a:lnTo>
                    <a:pt x="21" y="71"/>
                  </a:lnTo>
                  <a:lnTo>
                    <a:pt x="19" y="71"/>
                  </a:lnTo>
                  <a:lnTo>
                    <a:pt x="19" y="71"/>
                  </a:lnTo>
                  <a:lnTo>
                    <a:pt x="18" y="70"/>
                  </a:lnTo>
                  <a:lnTo>
                    <a:pt x="18" y="70"/>
                  </a:lnTo>
                  <a:lnTo>
                    <a:pt x="13" y="70"/>
                  </a:lnTo>
                  <a:lnTo>
                    <a:pt x="13" y="70"/>
                  </a:lnTo>
                  <a:lnTo>
                    <a:pt x="13" y="70"/>
                  </a:lnTo>
                  <a:lnTo>
                    <a:pt x="13" y="70"/>
                  </a:lnTo>
                  <a:lnTo>
                    <a:pt x="10" y="70"/>
                  </a:lnTo>
                  <a:lnTo>
                    <a:pt x="10" y="70"/>
                  </a:lnTo>
                  <a:lnTo>
                    <a:pt x="9" y="68"/>
                  </a:lnTo>
                  <a:lnTo>
                    <a:pt x="9" y="68"/>
                  </a:lnTo>
                  <a:lnTo>
                    <a:pt x="6" y="67"/>
                  </a:lnTo>
                  <a:lnTo>
                    <a:pt x="6" y="67"/>
                  </a:lnTo>
                  <a:lnTo>
                    <a:pt x="3" y="65"/>
                  </a:lnTo>
                  <a:lnTo>
                    <a:pt x="3" y="65"/>
                  </a:lnTo>
                  <a:lnTo>
                    <a:pt x="0" y="67"/>
                  </a:lnTo>
                  <a:lnTo>
                    <a:pt x="0" y="67"/>
                  </a:lnTo>
                  <a:lnTo>
                    <a:pt x="5" y="60"/>
                  </a:lnTo>
                  <a:lnTo>
                    <a:pt x="8" y="55"/>
                  </a:lnTo>
                  <a:lnTo>
                    <a:pt x="8" y="55"/>
                  </a:lnTo>
                  <a:lnTo>
                    <a:pt x="13" y="51"/>
                  </a:lnTo>
                  <a:lnTo>
                    <a:pt x="21" y="48"/>
                  </a:lnTo>
                  <a:lnTo>
                    <a:pt x="21" y="48"/>
                  </a:lnTo>
                  <a:lnTo>
                    <a:pt x="32" y="42"/>
                  </a:lnTo>
                  <a:lnTo>
                    <a:pt x="38" y="38"/>
                  </a:lnTo>
                  <a:lnTo>
                    <a:pt x="41" y="34"/>
                  </a:lnTo>
                  <a:lnTo>
                    <a:pt x="41" y="34"/>
                  </a:lnTo>
                  <a:lnTo>
                    <a:pt x="44" y="29"/>
                  </a:lnTo>
                  <a:lnTo>
                    <a:pt x="45" y="28"/>
                  </a:lnTo>
                  <a:lnTo>
                    <a:pt x="47" y="28"/>
                  </a:lnTo>
                  <a:lnTo>
                    <a:pt x="47" y="28"/>
                  </a:lnTo>
                  <a:lnTo>
                    <a:pt x="48" y="28"/>
                  </a:lnTo>
                  <a:lnTo>
                    <a:pt x="48" y="28"/>
                  </a:lnTo>
                  <a:lnTo>
                    <a:pt x="52" y="29"/>
                  </a:lnTo>
                  <a:lnTo>
                    <a:pt x="58" y="31"/>
                  </a:lnTo>
                  <a:lnTo>
                    <a:pt x="58" y="31"/>
                  </a:lnTo>
                  <a:lnTo>
                    <a:pt x="63" y="29"/>
                  </a:lnTo>
                  <a:lnTo>
                    <a:pt x="63" y="29"/>
                  </a:lnTo>
                  <a:lnTo>
                    <a:pt x="64" y="28"/>
                  </a:lnTo>
                  <a:lnTo>
                    <a:pt x="65" y="25"/>
                  </a:lnTo>
                  <a:lnTo>
                    <a:pt x="65" y="21"/>
                  </a:lnTo>
                  <a:lnTo>
                    <a:pt x="65" y="18"/>
                  </a:lnTo>
                  <a:lnTo>
                    <a:pt x="65" y="16"/>
                  </a:lnTo>
                  <a:lnTo>
                    <a:pt x="67" y="16"/>
                  </a:lnTo>
                  <a:lnTo>
                    <a:pt x="67" y="16"/>
                  </a:lnTo>
                  <a:lnTo>
                    <a:pt x="73" y="18"/>
                  </a:lnTo>
                  <a:lnTo>
                    <a:pt x="73" y="18"/>
                  </a:lnTo>
                  <a:lnTo>
                    <a:pt x="76" y="16"/>
                  </a:lnTo>
                  <a:lnTo>
                    <a:pt x="77" y="15"/>
                  </a:lnTo>
                  <a:lnTo>
                    <a:pt x="77" y="15"/>
                  </a:lnTo>
                  <a:lnTo>
                    <a:pt x="84" y="8"/>
                  </a:lnTo>
                  <a:lnTo>
                    <a:pt x="89" y="3"/>
                  </a:lnTo>
                  <a:lnTo>
                    <a:pt x="93" y="0"/>
                  </a:lnTo>
                  <a:lnTo>
                    <a:pt x="93" y="0"/>
                  </a:lnTo>
                  <a:lnTo>
                    <a:pt x="100" y="0"/>
                  </a:lnTo>
                  <a:lnTo>
                    <a:pt x="102" y="8"/>
                  </a:lnTo>
                  <a:lnTo>
                    <a:pt x="102" y="8"/>
                  </a:lnTo>
                  <a:lnTo>
                    <a:pt x="102" y="9"/>
                  </a:lnTo>
                  <a:lnTo>
                    <a:pt x="102" y="9"/>
                  </a:lnTo>
                  <a:lnTo>
                    <a:pt x="99" y="10"/>
                  </a:lnTo>
                  <a:lnTo>
                    <a:pt x="99" y="10"/>
                  </a:lnTo>
                  <a:lnTo>
                    <a:pt x="96" y="15"/>
                  </a:lnTo>
                  <a:lnTo>
                    <a:pt x="96" y="15"/>
                  </a:lnTo>
                  <a:lnTo>
                    <a:pt x="87" y="34"/>
                  </a:lnTo>
                  <a:lnTo>
                    <a:pt x="87" y="34"/>
                  </a:lnTo>
                  <a:lnTo>
                    <a:pt x="84" y="38"/>
                  </a:lnTo>
                  <a:lnTo>
                    <a:pt x="84" y="38"/>
                  </a:lnTo>
                  <a:lnTo>
                    <a:pt x="76" y="50"/>
                  </a:lnTo>
                  <a:lnTo>
                    <a:pt x="76" y="50"/>
                  </a:lnTo>
                  <a:lnTo>
                    <a:pt x="71" y="55"/>
                  </a:lnTo>
                  <a:lnTo>
                    <a:pt x="71" y="55"/>
                  </a:lnTo>
                  <a:lnTo>
                    <a:pt x="68" y="58"/>
                  </a:lnTo>
                  <a:lnTo>
                    <a:pt x="68" y="58"/>
                  </a:lnTo>
                  <a:lnTo>
                    <a:pt x="60" y="63"/>
                  </a:lnTo>
                  <a:lnTo>
                    <a:pt x="60" y="63"/>
                  </a:lnTo>
                  <a:lnTo>
                    <a:pt x="55" y="64"/>
                  </a:lnTo>
                  <a:lnTo>
                    <a:pt x="55" y="64"/>
                  </a:lnTo>
                  <a:lnTo>
                    <a:pt x="52" y="68"/>
                  </a:lnTo>
                  <a:lnTo>
                    <a:pt x="52" y="68"/>
                  </a:lnTo>
                  <a:lnTo>
                    <a:pt x="51" y="71"/>
                  </a:lnTo>
                  <a:lnTo>
                    <a:pt x="51" y="71"/>
                  </a:lnTo>
                  <a:lnTo>
                    <a:pt x="50" y="76"/>
                  </a:lnTo>
                  <a:lnTo>
                    <a:pt x="50" y="76"/>
                  </a:lnTo>
                  <a:lnTo>
                    <a:pt x="51" y="79"/>
                  </a:lnTo>
                  <a:lnTo>
                    <a:pt x="52" y="80"/>
                  </a:lnTo>
                  <a:lnTo>
                    <a:pt x="52" y="80"/>
                  </a:lnTo>
                  <a:lnTo>
                    <a:pt x="58" y="86"/>
                  </a:lnTo>
                  <a:lnTo>
                    <a:pt x="58" y="86"/>
                  </a:lnTo>
                  <a:lnTo>
                    <a:pt x="63" y="89"/>
                  </a:lnTo>
                  <a:lnTo>
                    <a:pt x="65" y="93"/>
                  </a:lnTo>
                  <a:lnTo>
                    <a:pt x="65" y="93"/>
                  </a:lnTo>
                  <a:lnTo>
                    <a:pt x="61" y="96"/>
                  </a:lnTo>
                  <a:lnTo>
                    <a:pt x="57" y="97"/>
                  </a:lnTo>
                  <a:lnTo>
                    <a:pt x="57" y="97"/>
                  </a:lnTo>
                  <a:lnTo>
                    <a:pt x="54" y="97"/>
                  </a:lnTo>
                  <a:lnTo>
                    <a:pt x="50" y="100"/>
                  </a:lnTo>
                  <a:lnTo>
                    <a:pt x="38" y="10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05" name="Freeform 1027"/>
            <p:cNvSpPr>
              <a:spLocks/>
            </p:cNvSpPr>
            <p:nvPr/>
          </p:nvSpPr>
          <p:spPr bwMode="auto">
            <a:xfrm>
              <a:off x="5226051" y="3758042"/>
              <a:ext cx="179388" cy="142875"/>
            </a:xfrm>
            <a:custGeom>
              <a:avLst/>
              <a:gdLst>
                <a:gd name="T0" fmla="*/ 26 w 113"/>
                <a:gd name="T1" fmla="*/ 88 h 90"/>
                <a:gd name="T2" fmla="*/ 26 w 113"/>
                <a:gd name="T3" fmla="*/ 88 h 90"/>
                <a:gd name="T4" fmla="*/ 59 w 113"/>
                <a:gd name="T5" fmla="*/ 64 h 90"/>
                <a:gd name="T6" fmla="*/ 81 w 113"/>
                <a:gd name="T7" fmla="*/ 49 h 90"/>
                <a:gd name="T8" fmla="*/ 87 w 113"/>
                <a:gd name="T9" fmla="*/ 43 h 90"/>
                <a:gd name="T10" fmla="*/ 90 w 113"/>
                <a:gd name="T11" fmla="*/ 39 h 90"/>
                <a:gd name="T12" fmla="*/ 90 w 113"/>
                <a:gd name="T13" fmla="*/ 39 h 90"/>
                <a:gd name="T14" fmla="*/ 91 w 113"/>
                <a:gd name="T15" fmla="*/ 33 h 90"/>
                <a:gd name="T16" fmla="*/ 97 w 113"/>
                <a:gd name="T17" fmla="*/ 22 h 90"/>
                <a:gd name="T18" fmla="*/ 104 w 113"/>
                <a:gd name="T19" fmla="*/ 10 h 90"/>
                <a:gd name="T20" fmla="*/ 109 w 113"/>
                <a:gd name="T21" fmla="*/ 6 h 90"/>
                <a:gd name="T22" fmla="*/ 113 w 113"/>
                <a:gd name="T23" fmla="*/ 0 h 90"/>
                <a:gd name="T24" fmla="*/ 113 w 113"/>
                <a:gd name="T25" fmla="*/ 0 h 90"/>
                <a:gd name="T26" fmla="*/ 55 w 113"/>
                <a:gd name="T27" fmla="*/ 1 h 90"/>
                <a:gd name="T28" fmla="*/ 20 w 113"/>
                <a:gd name="T29" fmla="*/ 3 h 90"/>
                <a:gd name="T30" fmla="*/ 20 w 113"/>
                <a:gd name="T31" fmla="*/ 3 h 90"/>
                <a:gd name="T32" fmla="*/ 16 w 113"/>
                <a:gd name="T33" fmla="*/ 6 h 90"/>
                <a:gd name="T34" fmla="*/ 6 w 113"/>
                <a:gd name="T35" fmla="*/ 11 h 90"/>
                <a:gd name="T36" fmla="*/ 6 w 113"/>
                <a:gd name="T37" fmla="*/ 11 h 90"/>
                <a:gd name="T38" fmla="*/ 4 w 113"/>
                <a:gd name="T39" fmla="*/ 16 h 90"/>
                <a:gd name="T40" fmla="*/ 4 w 113"/>
                <a:gd name="T41" fmla="*/ 16 h 90"/>
                <a:gd name="T42" fmla="*/ 4 w 113"/>
                <a:gd name="T43" fmla="*/ 40 h 90"/>
                <a:gd name="T44" fmla="*/ 4 w 113"/>
                <a:gd name="T45" fmla="*/ 40 h 90"/>
                <a:gd name="T46" fmla="*/ 3 w 113"/>
                <a:gd name="T47" fmla="*/ 45 h 90"/>
                <a:gd name="T48" fmla="*/ 3 w 113"/>
                <a:gd name="T49" fmla="*/ 45 h 90"/>
                <a:gd name="T50" fmla="*/ 10 w 113"/>
                <a:gd name="T51" fmla="*/ 46 h 90"/>
                <a:gd name="T52" fmla="*/ 15 w 113"/>
                <a:gd name="T53" fmla="*/ 48 h 90"/>
                <a:gd name="T54" fmla="*/ 15 w 113"/>
                <a:gd name="T55" fmla="*/ 48 h 90"/>
                <a:gd name="T56" fmla="*/ 16 w 113"/>
                <a:gd name="T57" fmla="*/ 51 h 90"/>
                <a:gd name="T58" fmla="*/ 15 w 113"/>
                <a:gd name="T59" fmla="*/ 53 h 90"/>
                <a:gd name="T60" fmla="*/ 10 w 113"/>
                <a:gd name="T61" fmla="*/ 62 h 90"/>
                <a:gd name="T62" fmla="*/ 3 w 113"/>
                <a:gd name="T63" fmla="*/ 71 h 90"/>
                <a:gd name="T64" fmla="*/ 1 w 113"/>
                <a:gd name="T65" fmla="*/ 75 h 90"/>
                <a:gd name="T66" fmla="*/ 0 w 113"/>
                <a:gd name="T67" fmla="*/ 80 h 90"/>
                <a:gd name="T68" fmla="*/ 0 w 113"/>
                <a:gd name="T69" fmla="*/ 80 h 90"/>
                <a:gd name="T70" fmla="*/ 0 w 113"/>
                <a:gd name="T71" fmla="*/ 90 h 90"/>
                <a:gd name="T72" fmla="*/ 0 w 113"/>
                <a:gd name="T73" fmla="*/ 90 h 90"/>
                <a:gd name="T74" fmla="*/ 15 w 113"/>
                <a:gd name="T75" fmla="*/ 90 h 90"/>
                <a:gd name="T76" fmla="*/ 22 w 113"/>
                <a:gd name="T77" fmla="*/ 90 h 90"/>
                <a:gd name="T78" fmla="*/ 26 w 113"/>
                <a:gd name="T79" fmla="*/ 8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3" h="90">
                  <a:moveTo>
                    <a:pt x="26" y="88"/>
                  </a:moveTo>
                  <a:lnTo>
                    <a:pt x="26" y="88"/>
                  </a:lnTo>
                  <a:lnTo>
                    <a:pt x="59" y="64"/>
                  </a:lnTo>
                  <a:lnTo>
                    <a:pt x="81" y="49"/>
                  </a:lnTo>
                  <a:lnTo>
                    <a:pt x="87" y="43"/>
                  </a:lnTo>
                  <a:lnTo>
                    <a:pt x="90" y="39"/>
                  </a:lnTo>
                  <a:lnTo>
                    <a:pt x="90" y="39"/>
                  </a:lnTo>
                  <a:lnTo>
                    <a:pt x="91" y="33"/>
                  </a:lnTo>
                  <a:lnTo>
                    <a:pt x="97" y="22"/>
                  </a:lnTo>
                  <a:lnTo>
                    <a:pt x="104" y="10"/>
                  </a:lnTo>
                  <a:lnTo>
                    <a:pt x="109" y="6"/>
                  </a:lnTo>
                  <a:lnTo>
                    <a:pt x="113" y="0"/>
                  </a:lnTo>
                  <a:lnTo>
                    <a:pt x="113" y="0"/>
                  </a:lnTo>
                  <a:lnTo>
                    <a:pt x="55" y="1"/>
                  </a:lnTo>
                  <a:lnTo>
                    <a:pt x="20" y="3"/>
                  </a:lnTo>
                  <a:lnTo>
                    <a:pt x="20" y="3"/>
                  </a:lnTo>
                  <a:lnTo>
                    <a:pt x="16" y="6"/>
                  </a:lnTo>
                  <a:lnTo>
                    <a:pt x="6" y="11"/>
                  </a:lnTo>
                  <a:lnTo>
                    <a:pt x="6" y="11"/>
                  </a:lnTo>
                  <a:lnTo>
                    <a:pt x="4" y="16"/>
                  </a:lnTo>
                  <a:lnTo>
                    <a:pt x="4" y="16"/>
                  </a:lnTo>
                  <a:lnTo>
                    <a:pt x="4" y="40"/>
                  </a:lnTo>
                  <a:lnTo>
                    <a:pt x="4" y="40"/>
                  </a:lnTo>
                  <a:lnTo>
                    <a:pt x="3" y="45"/>
                  </a:lnTo>
                  <a:lnTo>
                    <a:pt x="3" y="45"/>
                  </a:lnTo>
                  <a:lnTo>
                    <a:pt x="10" y="46"/>
                  </a:lnTo>
                  <a:lnTo>
                    <a:pt x="15" y="48"/>
                  </a:lnTo>
                  <a:lnTo>
                    <a:pt x="15" y="48"/>
                  </a:lnTo>
                  <a:lnTo>
                    <a:pt x="16" y="51"/>
                  </a:lnTo>
                  <a:lnTo>
                    <a:pt x="15" y="53"/>
                  </a:lnTo>
                  <a:lnTo>
                    <a:pt x="10" y="62"/>
                  </a:lnTo>
                  <a:lnTo>
                    <a:pt x="3" y="71"/>
                  </a:lnTo>
                  <a:lnTo>
                    <a:pt x="1" y="75"/>
                  </a:lnTo>
                  <a:lnTo>
                    <a:pt x="0" y="80"/>
                  </a:lnTo>
                  <a:lnTo>
                    <a:pt x="0" y="80"/>
                  </a:lnTo>
                  <a:lnTo>
                    <a:pt x="0" y="90"/>
                  </a:lnTo>
                  <a:lnTo>
                    <a:pt x="0" y="90"/>
                  </a:lnTo>
                  <a:lnTo>
                    <a:pt x="15" y="90"/>
                  </a:lnTo>
                  <a:lnTo>
                    <a:pt x="22" y="90"/>
                  </a:lnTo>
                  <a:lnTo>
                    <a:pt x="26" y="88"/>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06" name="Freeform 1028"/>
            <p:cNvSpPr>
              <a:spLocks/>
            </p:cNvSpPr>
            <p:nvPr/>
          </p:nvSpPr>
          <p:spPr bwMode="auto">
            <a:xfrm>
              <a:off x="5226051" y="3758042"/>
              <a:ext cx="179388" cy="142875"/>
            </a:xfrm>
            <a:custGeom>
              <a:avLst/>
              <a:gdLst>
                <a:gd name="T0" fmla="*/ 26 w 113"/>
                <a:gd name="T1" fmla="*/ 88 h 90"/>
                <a:gd name="T2" fmla="*/ 26 w 113"/>
                <a:gd name="T3" fmla="*/ 88 h 90"/>
                <a:gd name="T4" fmla="*/ 59 w 113"/>
                <a:gd name="T5" fmla="*/ 64 h 90"/>
                <a:gd name="T6" fmla="*/ 81 w 113"/>
                <a:gd name="T7" fmla="*/ 49 h 90"/>
                <a:gd name="T8" fmla="*/ 87 w 113"/>
                <a:gd name="T9" fmla="*/ 43 h 90"/>
                <a:gd name="T10" fmla="*/ 90 w 113"/>
                <a:gd name="T11" fmla="*/ 39 h 90"/>
                <a:gd name="T12" fmla="*/ 90 w 113"/>
                <a:gd name="T13" fmla="*/ 39 h 90"/>
                <a:gd name="T14" fmla="*/ 91 w 113"/>
                <a:gd name="T15" fmla="*/ 33 h 90"/>
                <a:gd name="T16" fmla="*/ 97 w 113"/>
                <a:gd name="T17" fmla="*/ 22 h 90"/>
                <a:gd name="T18" fmla="*/ 104 w 113"/>
                <a:gd name="T19" fmla="*/ 10 h 90"/>
                <a:gd name="T20" fmla="*/ 109 w 113"/>
                <a:gd name="T21" fmla="*/ 6 h 90"/>
                <a:gd name="T22" fmla="*/ 113 w 113"/>
                <a:gd name="T23" fmla="*/ 0 h 90"/>
                <a:gd name="T24" fmla="*/ 113 w 113"/>
                <a:gd name="T25" fmla="*/ 0 h 90"/>
                <a:gd name="T26" fmla="*/ 55 w 113"/>
                <a:gd name="T27" fmla="*/ 1 h 90"/>
                <a:gd name="T28" fmla="*/ 20 w 113"/>
                <a:gd name="T29" fmla="*/ 3 h 90"/>
                <a:gd name="T30" fmla="*/ 20 w 113"/>
                <a:gd name="T31" fmla="*/ 3 h 90"/>
                <a:gd name="T32" fmla="*/ 16 w 113"/>
                <a:gd name="T33" fmla="*/ 6 h 90"/>
                <a:gd name="T34" fmla="*/ 6 w 113"/>
                <a:gd name="T35" fmla="*/ 11 h 90"/>
                <a:gd name="T36" fmla="*/ 6 w 113"/>
                <a:gd name="T37" fmla="*/ 11 h 90"/>
                <a:gd name="T38" fmla="*/ 4 w 113"/>
                <a:gd name="T39" fmla="*/ 16 h 90"/>
                <a:gd name="T40" fmla="*/ 4 w 113"/>
                <a:gd name="T41" fmla="*/ 16 h 90"/>
                <a:gd name="T42" fmla="*/ 4 w 113"/>
                <a:gd name="T43" fmla="*/ 40 h 90"/>
                <a:gd name="T44" fmla="*/ 4 w 113"/>
                <a:gd name="T45" fmla="*/ 40 h 90"/>
                <a:gd name="T46" fmla="*/ 3 w 113"/>
                <a:gd name="T47" fmla="*/ 45 h 90"/>
                <a:gd name="T48" fmla="*/ 3 w 113"/>
                <a:gd name="T49" fmla="*/ 45 h 90"/>
                <a:gd name="T50" fmla="*/ 10 w 113"/>
                <a:gd name="T51" fmla="*/ 46 h 90"/>
                <a:gd name="T52" fmla="*/ 15 w 113"/>
                <a:gd name="T53" fmla="*/ 48 h 90"/>
                <a:gd name="T54" fmla="*/ 15 w 113"/>
                <a:gd name="T55" fmla="*/ 48 h 90"/>
                <a:gd name="T56" fmla="*/ 16 w 113"/>
                <a:gd name="T57" fmla="*/ 51 h 90"/>
                <a:gd name="T58" fmla="*/ 15 w 113"/>
                <a:gd name="T59" fmla="*/ 53 h 90"/>
                <a:gd name="T60" fmla="*/ 10 w 113"/>
                <a:gd name="T61" fmla="*/ 62 h 90"/>
                <a:gd name="T62" fmla="*/ 3 w 113"/>
                <a:gd name="T63" fmla="*/ 71 h 90"/>
                <a:gd name="T64" fmla="*/ 1 w 113"/>
                <a:gd name="T65" fmla="*/ 75 h 90"/>
                <a:gd name="T66" fmla="*/ 0 w 113"/>
                <a:gd name="T67" fmla="*/ 80 h 90"/>
                <a:gd name="T68" fmla="*/ 0 w 113"/>
                <a:gd name="T69" fmla="*/ 80 h 90"/>
                <a:gd name="T70" fmla="*/ 0 w 113"/>
                <a:gd name="T71" fmla="*/ 90 h 90"/>
                <a:gd name="T72" fmla="*/ 0 w 113"/>
                <a:gd name="T73" fmla="*/ 90 h 90"/>
                <a:gd name="T74" fmla="*/ 15 w 113"/>
                <a:gd name="T75" fmla="*/ 90 h 90"/>
                <a:gd name="T76" fmla="*/ 22 w 113"/>
                <a:gd name="T77" fmla="*/ 90 h 90"/>
                <a:gd name="T78" fmla="*/ 26 w 113"/>
                <a:gd name="T79" fmla="*/ 8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3" h="90">
                  <a:moveTo>
                    <a:pt x="26" y="88"/>
                  </a:moveTo>
                  <a:lnTo>
                    <a:pt x="26" y="88"/>
                  </a:lnTo>
                  <a:lnTo>
                    <a:pt x="59" y="64"/>
                  </a:lnTo>
                  <a:lnTo>
                    <a:pt x="81" y="49"/>
                  </a:lnTo>
                  <a:lnTo>
                    <a:pt x="87" y="43"/>
                  </a:lnTo>
                  <a:lnTo>
                    <a:pt x="90" y="39"/>
                  </a:lnTo>
                  <a:lnTo>
                    <a:pt x="90" y="39"/>
                  </a:lnTo>
                  <a:lnTo>
                    <a:pt x="91" y="33"/>
                  </a:lnTo>
                  <a:lnTo>
                    <a:pt x="97" y="22"/>
                  </a:lnTo>
                  <a:lnTo>
                    <a:pt x="104" y="10"/>
                  </a:lnTo>
                  <a:lnTo>
                    <a:pt x="109" y="6"/>
                  </a:lnTo>
                  <a:lnTo>
                    <a:pt x="113" y="0"/>
                  </a:lnTo>
                  <a:lnTo>
                    <a:pt x="113" y="0"/>
                  </a:lnTo>
                  <a:lnTo>
                    <a:pt x="55" y="1"/>
                  </a:lnTo>
                  <a:lnTo>
                    <a:pt x="20" y="3"/>
                  </a:lnTo>
                  <a:lnTo>
                    <a:pt x="20" y="3"/>
                  </a:lnTo>
                  <a:lnTo>
                    <a:pt x="16" y="6"/>
                  </a:lnTo>
                  <a:lnTo>
                    <a:pt x="6" y="11"/>
                  </a:lnTo>
                  <a:lnTo>
                    <a:pt x="6" y="11"/>
                  </a:lnTo>
                  <a:lnTo>
                    <a:pt x="4" y="16"/>
                  </a:lnTo>
                  <a:lnTo>
                    <a:pt x="4" y="16"/>
                  </a:lnTo>
                  <a:lnTo>
                    <a:pt x="4" y="40"/>
                  </a:lnTo>
                  <a:lnTo>
                    <a:pt x="4" y="40"/>
                  </a:lnTo>
                  <a:lnTo>
                    <a:pt x="3" y="45"/>
                  </a:lnTo>
                  <a:lnTo>
                    <a:pt x="3" y="45"/>
                  </a:lnTo>
                  <a:lnTo>
                    <a:pt x="10" y="46"/>
                  </a:lnTo>
                  <a:lnTo>
                    <a:pt x="15" y="48"/>
                  </a:lnTo>
                  <a:lnTo>
                    <a:pt x="15" y="48"/>
                  </a:lnTo>
                  <a:lnTo>
                    <a:pt x="16" y="51"/>
                  </a:lnTo>
                  <a:lnTo>
                    <a:pt x="15" y="53"/>
                  </a:lnTo>
                  <a:lnTo>
                    <a:pt x="10" y="62"/>
                  </a:lnTo>
                  <a:lnTo>
                    <a:pt x="3" y="71"/>
                  </a:lnTo>
                  <a:lnTo>
                    <a:pt x="1" y="75"/>
                  </a:lnTo>
                  <a:lnTo>
                    <a:pt x="0" y="80"/>
                  </a:lnTo>
                  <a:lnTo>
                    <a:pt x="0" y="80"/>
                  </a:lnTo>
                  <a:lnTo>
                    <a:pt x="0" y="90"/>
                  </a:lnTo>
                  <a:lnTo>
                    <a:pt x="0" y="90"/>
                  </a:lnTo>
                  <a:lnTo>
                    <a:pt x="15" y="90"/>
                  </a:lnTo>
                  <a:lnTo>
                    <a:pt x="22" y="90"/>
                  </a:lnTo>
                  <a:lnTo>
                    <a:pt x="26" y="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07" name="Freeform 1029"/>
            <p:cNvSpPr>
              <a:spLocks/>
            </p:cNvSpPr>
            <p:nvPr/>
          </p:nvSpPr>
          <p:spPr bwMode="auto">
            <a:xfrm>
              <a:off x="4973638" y="3588179"/>
              <a:ext cx="504825" cy="192088"/>
            </a:xfrm>
            <a:custGeom>
              <a:avLst/>
              <a:gdLst>
                <a:gd name="T0" fmla="*/ 295 w 318"/>
                <a:gd name="T1" fmla="*/ 111 h 121"/>
                <a:gd name="T2" fmla="*/ 308 w 318"/>
                <a:gd name="T3" fmla="*/ 116 h 121"/>
                <a:gd name="T4" fmla="*/ 313 w 318"/>
                <a:gd name="T5" fmla="*/ 111 h 121"/>
                <a:gd name="T6" fmla="*/ 304 w 318"/>
                <a:gd name="T7" fmla="*/ 95 h 121"/>
                <a:gd name="T8" fmla="*/ 297 w 318"/>
                <a:gd name="T9" fmla="*/ 63 h 121"/>
                <a:gd name="T10" fmla="*/ 298 w 318"/>
                <a:gd name="T11" fmla="*/ 46 h 121"/>
                <a:gd name="T12" fmla="*/ 287 w 318"/>
                <a:gd name="T13" fmla="*/ 32 h 121"/>
                <a:gd name="T14" fmla="*/ 282 w 318"/>
                <a:gd name="T15" fmla="*/ 23 h 121"/>
                <a:gd name="T16" fmla="*/ 269 w 318"/>
                <a:gd name="T17" fmla="*/ 16 h 121"/>
                <a:gd name="T18" fmla="*/ 252 w 318"/>
                <a:gd name="T19" fmla="*/ 13 h 121"/>
                <a:gd name="T20" fmla="*/ 236 w 318"/>
                <a:gd name="T21" fmla="*/ 21 h 121"/>
                <a:gd name="T22" fmla="*/ 224 w 318"/>
                <a:gd name="T23" fmla="*/ 21 h 121"/>
                <a:gd name="T24" fmla="*/ 213 w 318"/>
                <a:gd name="T25" fmla="*/ 23 h 121"/>
                <a:gd name="T26" fmla="*/ 194 w 318"/>
                <a:gd name="T27" fmla="*/ 23 h 121"/>
                <a:gd name="T28" fmla="*/ 172 w 318"/>
                <a:gd name="T29" fmla="*/ 14 h 121"/>
                <a:gd name="T30" fmla="*/ 162 w 318"/>
                <a:gd name="T31" fmla="*/ 7 h 121"/>
                <a:gd name="T32" fmla="*/ 150 w 318"/>
                <a:gd name="T33" fmla="*/ 4 h 121"/>
                <a:gd name="T34" fmla="*/ 124 w 318"/>
                <a:gd name="T35" fmla="*/ 0 h 121"/>
                <a:gd name="T36" fmla="*/ 107 w 318"/>
                <a:gd name="T37" fmla="*/ 3 h 121"/>
                <a:gd name="T38" fmla="*/ 94 w 318"/>
                <a:gd name="T39" fmla="*/ 11 h 121"/>
                <a:gd name="T40" fmla="*/ 74 w 318"/>
                <a:gd name="T41" fmla="*/ 17 h 121"/>
                <a:gd name="T42" fmla="*/ 53 w 318"/>
                <a:gd name="T43" fmla="*/ 18 h 121"/>
                <a:gd name="T44" fmla="*/ 59 w 318"/>
                <a:gd name="T45" fmla="*/ 26 h 121"/>
                <a:gd name="T46" fmla="*/ 56 w 318"/>
                <a:gd name="T47" fmla="*/ 29 h 121"/>
                <a:gd name="T48" fmla="*/ 50 w 318"/>
                <a:gd name="T49" fmla="*/ 30 h 121"/>
                <a:gd name="T50" fmla="*/ 49 w 318"/>
                <a:gd name="T51" fmla="*/ 33 h 121"/>
                <a:gd name="T52" fmla="*/ 36 w 318"/>
                <a:gd name="T53" fmla="*/ 34 h 121"/>
                <a:gd name="T54" fmla="*/ 19 w 318"/>
                <a:gd name="T55" fmla="*/ 36 h 121"/>
                <a:gd name="T56" fmla="*/ 11 w 318"/>
                <a:gd name="T57" fmla="*/ 46 h 121"/>
                <a:gd name="T58" fmla="*/ 16 w 318"/>
                <a:gd name="T59" fmla="*/ 59 h 121"/>
                <a:gd name="T60" fmla="*/ 17 w 318"/>
                <a:gd name="T61" fmla="*/ 66 h 121"/>
                <a:gd name="T62" fmla="*/ 14 w 318"/>
                <a:gd name="T63" fmla="*/ 72 h 121"/>
                <a:gd name="T64" fmla="*/ 1 w 318"/>
                <a:gd name="T65" fmla="*/ 72 h 121"/>
                <a:gd name="T66" fmla="*/ 1 w 318"/>
                <a:gd name="T67" fmla="*/ 75 h 121"/>
                <a:gd name="T68" fmla="*/ 11 w 318"/>
                <a:gd name="T69" fmla="*/ 81 h 121"/>
                <a:gd name="T70" fmla="*/ 20 w 318"/>
                <a:gd name="T71" fmla="*/ 81 h 121"/>
                <a:gd name="T72" fmla="*/ 20 w 318"/>
                <a:gd name="T73" fmla="*/ 87 h 121"/>
                <a:gd name="T74" fmla="*/ 20 w 318"/>
                <a:gd name="T75" fmla="*/ 91 h 121"/>
                <a:gd name="T76" fmla="*/ 26 w 318"/>
                <a:gd name="T77" fmla="*/ 100 h 121"/>
                <a:gd name="T78" fmla="*/ 30 w 318"/>
                <a:gd name="T79" fmla="*/ 103 h 121"/>
                <a:gd name="T80" fmla="*/ 49 w 318"/>
                <a:gd name="T81" fmla="*/ 110 h 121"/>
                <a:gd name="T82" fmla="*/ 59 w 318"/>
                <a:gd name="T83" fmla="*/ 117 h 121"/>
                <a:gd name="T84" fmla="*/ 72 w 318"/>
                <a:gd name="T85" fmla="*/ 121 h 121"/>
                <a:gd name="T86" fmla="*/ 79 w 318"/>
                <a:gd name="T87" fmla="*/ 110 h 121"/>
                <a:gd name="T88" fmla="*/ 90 w 318"/>
                <a:gd name="T89" fmla="*/ 111 h 121"/>
                <a:gd name="T90" fmla="*/ 104 w 318"/>
                <a:gd name="T91" fmla="*/ 118 h 121"/>
                <a:gd name="T92" fmla="*/ 129 w 318"/>
                <a:gd name="T93" fmla="*/ 120 h 121"/>
                <a:gd name="T94" fmla="*/ 139 w 318"/>
                <a:gd name="T95" fmla="*/ 114 h 121"/>
                <a:gd name="T96" fmla="*/ 145 w 318"/>
                <a:gd name="T97" fmla="*/ 107 h 121"/>
                <a:gd name="T98" fmla="*/ 153 w 318"/>
                <a:gd name="T99" fmla="*/ 107 h 121"/>
                <a:gd name="T100" fmla="*/ 159 w 318"/>
                <a:gd name="T101" fmla="*/ 111 h 121"/>
                <a:gd name="T102" fmla="*/ 163 w 318"/>
                <a:gd name="T103" fmla="*/ 111 h 121"/>
                <a:gd name="T104" fmla="*/ 166 w 318"/>
                <a:gd name="T105" fmla="*/ 113 h 121"/>
                <a:gd name="T106" fmla="*/ 175 w 318"/>
                <a:gd name="T107" fmla="*/ 113 h 121"/>
                <a:gd name="T108" fmla="*/ 233 w 318"/>
                <a:gd name="T109" fmla="*/ 108 h 121"/>
                <a:gd name="T110" fmla="*/ 291 w 318"/>
                <a:gd name="T111"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121">
                  <a:moveTo>
                    <a:pt x="291" y="110"/>
                  </a:moveTo>
                  <a:lnTo>
                    <a:pt x="291" y="110"/>
                  </a:lnTo>
                  <a:lnTo>
                    <a:pt x="295" y="111"/>
                  </a:lnTo>
                  <a:lnTo>
                    <a:pt x="300" y="114"/>
                  </a:lnTo>
                  <a:lnTo>
                    <a:pt x="308" y="116"/>
                  </a:lnTo>
                  <a:lnTo>
                    <a:pt x="308" y="116"/>
                  </a:lnTo>
                  <a:lnTo>
                    <a:pt x="318" y="118"/>
                  </a:lnTo>
                  <a:lnTo>
                    <a:pt x="318" y="118"/>
                  </a:lnTo>
                  <a:lnTo>
                    <a:pt x="313" y="111"/>
                  </a:lnTo>
                  <a:lnTo>
                    <a:pt x="308" y="105"/>
                  </a:lnTo>
                  <a:lnTo>
                    <a:pt x="308" y="105"/>
                  </a:lnTo>
                  <a:lnTo>
                    <a:pt x="304" y="95"/>
                  </a:lnTo>
                  <a:lnTo>
                    <a:pt x="301" y="82"/>
                  </a:lnTo>
                  <a:lnTo>
                    <a:pt x="298" y="71"/>
                  </a:lnTo>
                  <a:lnTo>
                    <a:pt x="297" y="63"/>
                  </a:lnTo>
                  <a:lnTo>
                    <a:pt x="297" y="63"/>
                  </a:lnTo>
                  <a:lnTo>
                    <a:pt x="298" y="46"/>
                  </a:lnTo>
                  <a:lnTo>
                    <a:pt x="298" y="46"/>
                  </a:lnTo>
                  <a:lnTo>
                    <a:pt x="291" y="37"/>
                  </a:lnTo>
                  <a:lnTo>
                    <a:pt x="288" y="34"/>
                  </a:lnTo>
                  <a:lnTo>
                    <a:pt x="287" y="32"/>
                  </a:lnTo>
                  <a:lnTo>
                    <a:pt x="287" y="32"/>
                  </a:lnTo>
                  <a:lnTo>
                    <a:pt x="285" y="27"/>
                  </a:lnTo>
                  <a:lnTo>
                    <a:pt x="282" y="23"/>
                  </a:lnTo>
                  <a:lnTo>
                    <a:pt x="276" y="18"/>
                  </a:lnTo>
                  <a:lnTo>
                    <a:pt x="269" y="16"/>
                  </a:lnTo>
                  <a:lnTo>
                    <a:pt x="269" y="16"/>
                  </a:lnTo>
                  <a:lnTo>
                    <a:pt x="256" y="10"/>
                  </a:lnTo>
                  <a:lnTo>
                    <a:pt x="256" y="10"/>
                  </a:lnTo>
                  <a:lnTo>
                    <a:pt x="252" y="13"/>
                  </a:lnTo>
                  <a:lnTo>
                    <a:pt x="247" y="17"/>
                  </a:lnTo>
                  <a:lnTo>
                    <a:pt x="236" y="21"/>
                  </a:lnTo>
                  <a:lnTo>
                    <a:pt x="236" y="21"/>
                  </a:lnTo>
                  <a:lnTo>
                    <a:pt x="230" y="23"/>
                  </a:lnTo>
                  <a:lnTo>
                    <a:pt x="226" y="23"/>
                  </a:lnTo>
                  <a:lnTo>
                    <a:pt x="224" y="21"/>
                  </a:lnTo>
                  <a:lnTo>
                    <a:pt x="220" y="21"/>
                  </a:lnTo>
                  <a:lnTo>
                    <a:pt x="220" y="21"/>
                  </a:lnTo>
                  <a:lnTo>
                    <a:pt x="213" y="23"/>
                  </a:lnTo>
                  <a:lnTo>
                    <a:pt x="202" y="24"/>
                  </a:lnTo>
                  <a:lnTo>
                    <a:pt x="202" y="24"/>
                  </a:lnTo>
                  <a:lnTo>
                    <a:pt x="194" y="23"/>
                  </a:lnTo>
                  <a:lnTo>
                    <a:pt x="185" y="20"/>
                  </a:lnTo>
                  <a:lnTo>
                    <a:pt x="172" y="14"/>
                  </a:lnTo>
                  <a:lnTo>
                    <a:pt x="172" y="14"/>
                  </a:lnTo>
                  <a:lnTo>
                    <a:pt x="168" y="13"/>
                  </a:lnTo>
                  <a:lnTo>
                    <a:pt x="166" y="10"/>
                  </a:lnTo>
                  <a:lnTo>
                    <a:pt x="162" y="7"/>
                  </a:lnTo>
                  <a:lnTo>
                    <a:pt x="156" y="5"/>
                  </a:lnTo>
                  <a:lnTo>
                    <a:pt x="156" y="5"/>
                  </a:lnTo>
                  <a:lnTo>
                    <a:pt x="150" y="4"/>
                  </a:lnTo>
                  <a:lnTo>
                    <a:pt x="143" y="3"/>
                  </a:lnTo>
                  <a:lnTo>
                    <a:pt x="136" y="1"/>
                  </a:lnTo>
                  <a:lnTo>
                    <a:pt x="124" y="0"/>
                  </a:lnTo>
                  <a:lnTo>
                    <a:pt x="124" y="0"/>
                  </a:lnTo>
                  <a:lnTo>
                    <a:pt x="114" y="0"/>
                  </a:lnTo>
                  <a:lnTo>
                    <a:pt x="107" y="3"/>
                  </a:lnTo>
                  <a:lnTo>
                    <a:pt x="101" y="7"/>
                  </a:lnTo>
                  <a:lnTo>
                    <a:pt x="94" y="11"/>
                  </a:lnTo>
                  <a:lnTo>
                    <a:pt x="94" y="11"/>
                  </a:lnTo>
                  <a:lnTo>
                    <a:pt x="90" y="14"/>
                  </a:lnTo>
                  <a:lnTo>
                    <a:pt x="84" y="16"/>
                  </a:lnTo>
                  <a:lnTo>
                    <a:pt x="74" y="17"/>
                  </a:lnTo>
                  <a:lnTo>
                    <a:pt x="58" y="17"/>
                  </a:lnTo>
                  <a:lnTo>
                    <a:pt x="58" y="17"/>
                  </a:lnTo>
                  <a:lnTo>
                    <a:pt x="53" y="18"/>
                  </a:lnTo>
                  <a:lnTo>
                    <a:pt x="55" y="20"/>
                  </a:lnTo>
                  <a:lnTo>
                    <a:pt x="59" y="26"/>
                  </a:lnTo>
                  <a:lnTo>
                    <a:pt x="59" y="26"/>
                  </a:lnTo>
                  <a:lnTo>
                    <a:pt x="59" y="27"/>
                  </a:lnTo>
                  <a:lnTo>
                    <a:pt x="58" y="29"/>
                  </a:lnTo>
                  <a:lnTo>
                    <a:pt x="56" y="29"/>
                  </a:lnTo>
                  <a:lnTo>
                    <a:pt x="52" y="29"/>
                  </a:lnTo>
                  <a:lnTo>
                    <a:pt x="52" y="29"/>
                  </a:lnTo>
                  <a:lnTo>
                    <a:pt x="50" y="30"/>
                  </a:lnTo>
                  <a:lnTo>
                    <a:pt x="49" y="32"/>
                  </a:lnTo>
                  <a:lnTo>
                    <a:pt x="50" y="32"/>
                  </a:lnTo>
                  <a:lnTo>
                    <a:pt x="49" y="33"/>
                  </a:lnTo>
                  <a:lnTo>
                    <a:pt x="49" y="33"/>
                  </a:lnTo>
                  <a:lnTo>
                    <a:pt x="45" y="34"/>
                  </a:lnTo>
                  <a:lnTo>
                    <a:pt x="36" y="34"/>
                  </a:lnTo>
                  <a:lnTo>
                    <a:pt x="23" y="34"/>
                  </a:lnTo>
                  <a:lnTo>
                    <a:pt x="23" y="34"/>
                  </a:lnTo>
                  <a:lnTo>
                    <a:pt x="19" y="36"/>
                  </a:lnTo>
                  <a:lnTo>
                    <a:pt x="16" y="39"/>
                  </a:lnTo>
                  <a:lnTo>
                    <a:pt x="11" y="46"/>
                  </a:lnTo>
                  <a:lnTo>
                    <a:pt x="11" y="46"/>
                  </a:lnTo>
                  <a:lnTo>
                    <a:pt x="11" y="49"/>
                  </a:lnTo>
                  <a:lnTo>
                    <a:pt x="11" y="52"/>
                  </a:lnTo>
                  <a:lnTo>
                    <a:pt x="16" y="59"/>
                  </a:lnTo>
                  <a:lnTo>
                    <a:pt x="16" y="59"/>
                  </a:lnTo>
                  <a:lnTo>
                    <a:pt x="17" y="63"/>
                  </a:lnTo>
                  <a:lnTo>
                    <a:pt x="17" y="66"/>
                  </a:lnTo>
                  <a:lnTo>
                    <a:pt x="17" y="69"/>
                  </a:lnTo>
                  <a:lnTo>
                    <a:pt x="14" y="72"/>
                  </a:lnTo>
                  <a:lnTo>
                    <a:pt x="14" y="72"/>
                  </a:lnTo>
                  <a:lnTo>
                    <a:pt x="11" y="72"/>
                  </a:lnTo>
                  <a:lnTo>
                    <a:pt x="8" y="72"/>
                  </a:lnTo>
                  <a:lnTo>
                    <a:pt x="1" y="72"/>
                  </a:lnTo>
                  <a:lnTo>
                    <a:pt x="1" y="72"/>
                  </a:lnTo>
                  <a:lnTo>
                    <a:pt x="0" y="72"/>
                  </a:lnTo>
                  <a:lnTo>
                    <a:pt x="1" y="75"/>
                  </a:lnTo>
                  <a:lnTo>
                    <a:pt x="7" y="79"/>
                  </a:lnTo>
                  <a:lnTo>
                    <a:pt x="7" y="79"/>
                  </a:lnTo>
                  <a:lnTo>
                    <a:pt x="11" y="81"/>
                  </a:lnTo>
                  <a:lnTo>
                    <a:pt x="14" y="81"/>
                  </a:lnTo>
                  <a:lnTo>
                    <a:pt x="20" y="81"/>
                  </a:lnTo>
                  <a:lnTo>
                    <a:pt x="20" y="81"/>
                  </a:lnTo>
                  <a:lnTo>
                    <a:pt x="21" y="81"/>
                  </a:lnTo>
                  <a:lnTo>
                    <a:pt x="23" y="82"/>
                  </a:lnTo>
                  <a:lnTo>
                    <a:pt x="20" y="87"/>
                  </a:lnTo>
                  <a:lnTo>
                    <a:pt x="20" y="87"/>
                  </a:lnTo>
                  <a:lnTo>
                    <a:pt x="20" y="89"/>
                  </a:lnTo>
                  <a:lnTo>
                    <a:pt x="20" y="91"/>
                  </a:lnTo>
                  <a:lnTo>
                    <a:pt x="23" y="95"/>
                  </a:lnTo>
                  <a:lnTo>
                    <a:pt x="23" y="95"/>
                  </a:lnTo>
                  <a:lnTo>
                    <a:pt x="26" y="100"/>
                  </a:lnTo>
                  <a:lnTo>
                    <a:pt x="27" y="101"/>
                  </a:lnTo>
                  <a:lnTo>
                    <a:pt x="30" y="103"/>
                  </a:lnTo>
                  <a:lnTo>
                    <a:pt x="30" y="103"/>
                  </a:lnTo>
                  <a:lnTo>
                    <a:pt x="43" y="108"/>
                  </a:lnTo>
                  <a:lnTo>
                    <a:pt x="43" y="108"/>
                  </a:lnTo>
                  <a:lnTo>
                    <a:pt x="49" y="110"/>
                  </a:lnTo>
                  <a:lnTo>
                    <a:pt x="56" y="114"/>
                  </a:lnTo>
                  <a:lnTo>
                    <a:pt x="56" y="114"/>
                  </a:lnTo>
                  <a:lnTo>
                    <a:pt x="59" y="117"/>
                  </a:lnTo>
                  <a:lnTo>
                    <a:pt x="65" y="120"/>
                  </a:lnTo>
                  <a:lnTo>
                    <a:pt x="72" y="121"/>
                  </a:lnTo>
                  <a:lnTo>
                    <a:pt x="72" y="121"/>
                  </a:lnTo>
                  <a:lnTo>
                    <a:pt x="75" y="120"/>
                  </a:lnTo>
                  <a:lnTo>
                    <a:pt x="78" y="116"/>
                  </a:lnTo>
                  <a:lnTo>
                    <a:pt x="79" y="110"/>
                  </a:lnTo>
                  <a:lnTo>
                    <a:pt x="79" y="110"/>
                  </a:lnTo>
                  <a:lnTo>
                    <a:pt x="82" y="110"/>
                  </a:lnTo>
                  <a:lnTo>
                    <a:pt x="90" y="111"/>
                  </a:lnTo>
                  <a:lnTo>
                    <a:pt x="97" y="114"/>
                  </a:lnTo>
                  <a:lnTo>
                    <a:pt x="104" y="118"/>
                  </a:lnTo>
                  <a:lnTo>
                    <a:pt x="104" y="118"/>
                  </a:lnTo>
                  <a:lnTo>
                    <a:pt x="110" y="121"/>
                  </a:lnTo>
                  <a:lnTo>
                    <a:pt x="116" y="121"/>
                  </a:lnTo>
                  <a:lnTo>
                    <a:pt x="129" y="120"/>
                  </a:lnTo>
                  <a:lnTo>
                    <a:pt x="129" y="120"/>
                  </a:lnTo>
                  <a:lnTo>
                    <a:pt x="134" y="118"/>
                  </a:lnTo>
                  <a:lnTo>
                    <a:pt x="139" y="114"/>
                  </a:lnTo>
                  <a:lnTo>
                    <a:pt x="143" y="108"/>
                  </a:lnTo>
                  <a:lnTo>
                    <a:pt x="143" y="108"/>
                  </a:lnTo>
                  <a:lnTo>
                    <a:pt x="145" y="107"/>
                  </a:lnTo>
                  <a:lnTo>
                    <a:pt x="147" y="107"/>
                  </a:lnTo>
                  <a:lnTo>
                    <a:pt x="153" y="107"/>
                  </a:lnTo>
                  <a:lnTo>
                    <a:pt x="153" y="107"/>
                  </a:lnTo>
                  <a:lnTo>
                    <a:pt x="155" y="107"/>
                  </a:lnTo>
                  <a:lnTo>
                    <a:pt x="156" y="108"/>
                  </a:lnTo>
                  <a:lnTo>
                    <a:pt x="159" y="111"/>
                  </a:lnTo>
                  <a:lnTo>
                    <a:pt x="159" y="111"/>
                  </a:lnTo>
                  <a:lnTo>
                    <a:pt x="162" y="111"/>
                  </a:lnTo>
                  <a:lnTo>
                    <a:pt x="163" y="111"/>
                  </a:lnTo>
                  <a:lnTo>
                    <a:pt x="166" y="110"/>
                  </a:lnTo>
                  <a:lnTo>
                    <a:pt x="166" y="110"/>
                  </a:lnTo>
                  <a:lnTo>
                    <a:pt x="166" y="113"/>
                  </a:lnTo>
                  <a:lnTo>
                    <a:pt x="165" y="118"/>
                  </a:lnTo>
                  <a:lnTo>
                    <a:pt x="165" y="118"/>
                  </a:lnTo>
                  <a:lnTo>
                    <a:pt x="175" y="113"/>
                  </a:lnTo>
                  <a:lnTo>
                    <a:pt x="179" y="110"/>
                  </a:lnTo>
                  <a:lnTo>
                    <a:pt x="179" y="110"/>
                  </a:lnTo>
                  <a:lnTo>
                    <a:pt x="233" y="108"/>
                  </a:lnTo>
                  <a:lnTo>
                    <a:pt x="271" y="107"/>
                  </a:lnTo>
                  <a:lnTo>
                    <a:pt x="284" y="108"/>
                  </a:lnTo>
                  <a:lnTo>
                    <a:pt x="291" y="110"/>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08" name="Freeform 1030"/>
            <p:cNvSpPr>
              <a:spLocks/>
            </p:cNvSpPr>
            <p:nvPr/>
          </p:nvSpPr>
          <p:spPr bwMode="auto">
            <a:xfrm>
              <a:off x="4973638" y="3588179"/>
              <a:ext cx="504825" cy="192088"/>
            </a:xfrm>
            <a:custGeom>
              <a:avLst/>
              <a:gdLst>
                <a:gd name="T0" fmla="*/ 295 w 318"/>
                <a:gd name="T1" fmla="*/ 111 h 121"/>
                <a:gd name="T2" fmla="*/ 308 w 318"/>
                <a:gd name="T3" fmla="*/ 116 h 121"/>
                <a:gd name="T4" fmla="*/ 313 w 318"/>
                <a:gd name="T5" fmla="*/ 111 h 121"/>
                <a:gd name="T6" fmla="*/ 304 w 318"/>
                <a:gd name="T7" fmla="*/ 95 h 121"/>
                <a:gd name="T8" fmla="*/ 297 w 318"/>
                <a:gd name="T9" fmla="*/ 63 h 121"/>
                <a:gd name="T10" fmla="*/ 298 w 318"/>
                <a:gd name="T11" fmla="*/ 46 h 121"/>
                <a:gd name="T12" fmla="*/ 287 w 318"/>
                <a:gd name="T13" fmla="*/ 32 h 121"/>
                <a:gd name="T14" fmla="*/ 282 w 318"/>
                <a:gd name="T15" fmla="*/ 23 h 121"/>
                <a:gd name="T16" fmla="*/ 269 w 318"/>
                <a:gd name="T17" fmla="*/ 16 h 121"/>
                <a:gd name="T18" fmla="*/ 252 w 318"/>
                <a:gd name="T19" fmla="*/ 13 h 121"/>
                <a:gd name="T20" fmla="*/ 236 w 318"/>
                <a:gd name="T21" fmla="*/ 21 h 121"/>
                <a:gd name="T22" fmla="*/ 224 w 318"/>
                <a:gd name="T23" fmla="*/ 21 h 121"/>
                <a:gd name="T24" fmla="*/ 213 w 318"/>
                <a:gd name="T25" fmla="*/ 23 h 121"/>
                <a:gd name="T26" fmla="*/ 194 w 318"/>
                <a:gd name="T27" fmla="*/ 23 h 121"/>
                <a:gd name="T28" fmla="*/ 172 w 318"/>
                <a:gd name="T29" fmla="*/ 14 h 121"/>
                <a:gd name="T30" fmla="*/ 162 w 318"/>
                <a:gd name="T31" fmla="*/ 7 h 121"/>
                <a:gd name="T32" fmla="*/ 150 w 318"/>
                <a:gd name="T33" fmla="*/ 4 h 121"/>
                <a:gd name="T34" fmla="*/ 124 w 318"/>
                <a:gd name="T35" fmla="*/ 0 h 121"/>
                <a:gd name="T36" fmla="*/ 107 w 318"/>
                <a:gd name="T37" fmla="*/ 3 h 121"/>
                <a:gd name="T38" fmla="*/ 94 w 318"/>
                <a:gd name="T39" fmla="*/ 11 h 121"/>
                <a:gd name="T40" fmla="*/ 74 w 318"/>
                <a:gd name="T41" fmla="*/ 17 h 121"/>
                <a:gd name="T42" fmla="*/ 53 w 318"/>
                <a:gd name="T43" fmla="*/ 18 h 121"/>
                <a:gd name="T44" fmla="*/ 59 w 318"/>
                <a:gd name="T45" fmla="*/ 26 h 121"/>
                <a:gd name="T46" fmla="*/ 56 w 318"/>
                <a:gd name="T47" fmla="*/ 29 h 121"/>
                <a:gd name="T48" fmla="*/ 50 w 318"/>
                <a:gd name="T49" fmla="*/ 30 h 121"/>
                <a:gd name="T50" fmla="*/ 49 w 318"/>
                <a:gd name="T51" fmla="*/ 33 h 121"/>
                <a:gd name="T52" fmla="*/ 36 w 318"/>
                <a:gd name="T53" fmla="*/ 34 h 121"/>
                <a:gd name="T54" fmla="*/ 19 w 318"/>
                <a:gd name="T55" fmla="*/ 36 h 121"/>
                <a:gd name="T56" fmla="*/ 11 w 318"/>
                <a:gd name="T57" fmla="*/ 46 h 121"/>
                <a:gd name="T58" fmla="*/ 16 w 318"/>
                <a:gd name="T59" fmla="*/ 59 h 121"/>
                <a:gd name="T60" fmla="*/ 17 w 318"/>
                <a:gd name="T61" fmla="*/ 66 h 121"/>
                <a:gd name="T62" fmla="*/ 14 w 318"/>
                <a:gd name="T63" fmla="*/ 72 h 121"/>
                <a:gd name="T64" fmla="*/ 1 w 318"/>
                <a:gd name="T65" fmla="*/ 72 h 121"/>
                <a:gd name="T66" fmla="*/ 1 w 318"/>
                <a:gd name="T67" fmla="*/ 75 h 121"/>
                <a:gd name="T68" fmla="*/ 11 w 318"/>
                <a:gd name="T69" fmla="*/ 81 h 121"/>
                <a:gd name="T70" fmla="*/ 20 w 318"/>
                <a:gd name="T71" fmla="*/ 81 h 121"/>
                <a:gd name="T72" fmla="*/ 20 w 318"/>
                <a:gd name="T73" fmla="*/ 87 h 121"/>
                <a:gd name="T74" fmla="*/ 20 w 318"/>
                <a:gd name="T75" fmla="*/ 91 h 121"/>
                <a:gd name="T76" fmla="*/ 26 w 318"/>
                <a:gd name="T77" fmla="*/ 100 h 121"/>
                <a:gd name="T78" fmla="*/ 30 w 318"/>
                <a:gd name="T79" fmla="*/ 103 h 121"/>
                <a:gd name="T80" fmla="*/ 49 w 318"/>
                <a:gd name="T81" fmla="*/ 110 h 121"/>
                <a:gd name="T82" fmla="*/ 59 w 318"/>
                <a:gd name="T83" fmla="*/ 117 h 121"/>
                <a:gd name="T84" fmla="*/ 72 w 318"/>
                <a:gd name="T85" fmla="*/ 121 h 121"/>
                <a:gd name="T86" fmla="*/ 79 w 318"/>
                <a:gd name="T87" fmla="*/ 110 h 121"/>
                <a:gd name="T88" fmla="*/ 90 w 318"/>
                <a:gd name="T89" fmla="*/ 111 h 121"/>
                <a:gd name="T90" fmla="*/ 104 w 318"/>
                <a:gd name="T91" fmla="*/ 118 h 121"/>
                <a:gd name="T92" fmla="*/ 129 w 318"/>
                <a:gd name="T93" fmla="*/ 120 h 121"/>
                <a:gd name="T94" fmla="*/ 139 w 318"/>
                <a:gd name="T95" fmla="*/ 114 h 121"/>
                <a:gd name="T96" fmla="*/ 145 w 318"/>
                <a:gd name="T97" fmla="*/ 107 h 121"/>
                <a:gd name="T98" fmla="*/ 153 w 318"/>
                <a:gd name="T99" fmla="*/ 107 h 121"/>
                <a:gd name="T100" fmla="*/ 159 w 318"/>
                <a:gd name="T101" fmla="*/ 111 h 121"/>
                <a:gd name="T102" fmla="*/ 163 w 318"/>
                <a:gd name="T103" fmla="*/ 111 h 121"/>
                <a:gd name="T104" fmla="*/ 166 w 318"/>
                <a:gd name="T105" fmla="*/ 113 h 121"/>
                <a:gd name="T106" fmla="*/ 175 w 318"/>
                <a:gd name="T107" fmla="*/ 113 h 121"/>
                <a:gd name="T108" fmla="*/ 233 w 318"/>
                <a:gd name="T109" fmla="*/ 108 h 121"/>
                <a:gd name="T110" fmla="*/ 291 w 318"/>
                <a:gd name="T111"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121">
                  <a:moveTo>
                    <a:pt x="291" y="110"/>
                  </a:moveTo>
                  <a:lnTo>
                    <a:pt x="291" y="110"/>
                  </a:lnTo>
                  <a:lnTo>
                    <a:pt x="295" y="111"/>
                  </a:lnTo>
                  <a:lnTo>
                    <a:pt x="300" y="114"/>
                  </a:lnTo>
                  <a:lnTo>
                    <a:pt x="308" y="116"/>
                  </a:lnTo>
                  <a:lnTo>
                    <a:pt x="308" y="116"/>
                  </a:lnTo>
                  <a:lnTo>
                    <a:pt x="318" y="118"/>
                  </a:lnTo>
                  <a:lnTo>
                    <a:pt x="318" y="118"/>
                  </a:lnTo>
                  <a:lnTo>
                    <a:pt x="313" y="111"/>
                  </a:lnTo>
                  <a:lnTo>
                    <a:pt x="308" y="105"/>
                  </a:lnTo>
                  <a:lnTo>
                    <a:pt x="308" y="105"/>
                  </a:lnTo>
                  <a:lnTo>
                    <a:pt x="304" y="95"/>
                  </a:lnTo>
                  <a:lnTo>
                    <a:pt x="301" y="82"/>
                  </a:lnTo>
                  <a:lnTo>
                    <a:pt x="298" y="71"/>
                  </a:lnTo>
                  <a:lnTo>
                    <a:pt x="297" y="63"/>
                  </a:lnTo>
                  <a:lnTo>
                    <a:pt x="297" y="63"/>
                  </a:lnTo>
                  <a:lnTo>
                    <a:pt x="298" y="46"/>
                  </a:lnTo>
                  <a:lnTo>
                    <a:pt x="298" y="46"/>
                  </a:lnTo>
                  <a:lnTo>
                    <a:pt x="291" y="37"/>
                  </a:lnTo>
                  <a:lnTo>
                    <a:pt x="288" y="34"/>
                  </a:lnTo>
                  <a:lnTo>
                    <a:pt x="287" y="32"/>
                  </a:lnTo>
                  <a:lnTo>
                    <a:pt x="287" y="32"/>
                  </a:lnTo>
                  <a:lnTo>
                    <a:pt x="285" y="27"/>
                  </a:lnTo>
                  <a:lnTo>
                    <a:pt x="282" y="23"/>
                  </a:lnTo>
                  <a:lnTo>
                    <a:pt x="276" y="18"/>
                  </a:lnTo>
                  <a:lnTo>
                    <a:pt x="269" y="16"/>
                  </a:lnTo>
                  <a:lnTo>
                    <a:pt x="269" y="16"/>
                  </a:lnTo>
                  <a:lnTo>
                    <a:pt x="256" y="10"/>
                  </a:lnTo>
                  <a:lnTo>
                    <a:pt x="256" y="10"/>
                  </a:lnTo>
                  <a:lnTo>
                    <a:pt x="252" y="13"/>
                  </a:lnTo>
                  <a:lnTo>
                    <a:pt x="247" y="17"/>
                  </a:lnTo>
                  <a:lnTo>
                    <a:pt x="236" y="21"/>
                  </a:lnTo>
                  <a:lnTo>
                    <a:pt x="236" y="21"/>
                  </a:lnTo>
                  <a:lnTo>
                    <a:pt x="230" y="23"/>
                  </a:lnTo>
                  <a:lnTo>
                    <a:pt x="226" y="23"/>
                  </a:lnTo>
                  <a:lnTo>
                    <a:pt x="224" y="21"/>
                  </a:lnTo>
                  <a:lnTo>
                    <a:pt x="220" y="21"/>
                  </a:lnTo>
                  <a:lnTo>
                    <a:pt x="220" y="21"/>
                  </a:lnTo>
                  <a:lnTo>
                    <a:pt x="213" y="23"/>
                  </a:lnTo>
                  <a:lnTo>
                    <a:pt x="202" y="24"/>
                  </a:lnTo>
                  <a:lnTo>
                    <a:pt x="202" y="24"/>
                  </a:lnTo>
                  <a:lnTo>
                    <a:pt x="194" y="23"/>
                  </a:lnTo>
                  <a:lnTo>
                    <a:pt x="185" y="20"/>
                  </a:lnTo>
                  <a:lnTo>
                    <a:pt x="172" y="14"/>
                  </a:lnTo>
                  <a:lnTo>
                    <a:pt x="172" y="14"/>
                  </a:lnTo>
                  <a:lnTo>
                    <a:pt x="168" y="13"/>
                  </a:lnTo>
                  <a:lnTo>
                    <a:pt x="166" y="10"/>
                  </a:lnTo>
                  <a:lnTo>
                    <a:pt x="162" y="7"/>
                  </a:lnTo>
                  <a:lnTo>
                    <a:pt x="156" y="5"/>
                  </a:lnTo>
                  <a:lnTo>
                    <a:pt x="156" y="5"/>
                  </a:lnTo>
                  <a:lnTo>
                    <a:pt x="150" y="4"/>
                  </a:lnTo>
                  <a:lnTo>
                    <a:pt x="143" y="3"/>
                  </a:lnTo>
                  <a:lnTo>
                    <a:pt x="136" y="1"/>
                  </a:lnTo>
                  <a:lnTo>
                    <a:pt x="124" y="0"/>
                  </a:lnTo>
                  <a:lnTo>
                    <a:pt x="124" y="0"/>
                  </a:lnTo>
                  <a:lnTo>
                    <a:pt x="114" y="0"/>
                  </a:lnTo>
                  <a:lnTo>
                    <a:pt x="107" y="3"/>
                  </a:lnTo>
                  <a:lnTo>
                    <a:pt x="101" y="7"/>
                  </a:lnTo>
                  <a:lnTo>
                    <a:pt x="94" y="11"/>
                  </a:lnTo>
                  <a:lnTo>
                    <a:pt x="94" y="11"/>
                  </a:lnTo>
                  <a:lnTo>
                    <a:pt x="90" y="14"/>
                  </a:lnTo>
                  <a:lnTo>
                    <a:pt x="84" y="16"/>
                  </a:lnTo>
                  <a:lnTo>
                    <a:pt x="74" y="17"/>
                  </a:lnTo>
                  <a:lnTo>
                    <a:pt x="58" y="17"/>
                  </a:lnTo>
                  <a:lnTo>
                    <a:pt x="58" y="17"/>
                  </a:lnTo>
                  <a:lnTo>
                    <a:pt x="53" y="18"/>
                  </a:lnTo>
                  <a:lnTo>
                    <a:pt x="55" y="20"/>
                  </a:lnTo>
                  <a:lnTo>
                    <a:pt x="59" y="26"/>
                  </a:lnTo>
                  <a:lnTo>
                    <a:pt x="59" y="26"/>
                  </a:lnTo>
                  <a:lnTo>
                    <a:pt x="59" y="27"/>
                  </a:lnTo>
                  <a:lnTo>
                    <a:pt x="58" y="29"/>
                  </a:lnTo>
                  <a:lnTo>
                    <a:pt x="56" y="29"/>
                  </a:lnTo>
                  <a:lnTo>
                    <a:pt x="52" y="29"/>
                  </a:lnTo>
                  <a:lnTo>
                    <a:pt x="52" y="29"/>
                  </a:lnTo>
                  <a:lnTo>
                    <a:pt x="50" y="30"/>
                  </a:lnTo>
                  <a:lnTo>
                    <a:pt x="49" y="32"/>
                  </a:lnTo>
                  <a:lnTo>
                    <a:pt x="50" y="32"/>
                  </a:lnTo>
                  <a:lnTo>
                    <a:pt x="49" y="33"/>
                  </a:lnTo>
                  <a:lnTo>
                    <a:pt x="49" y="33"/>
                  </a:lnTo>
                  <a:lnTo>
                    <a:pt x="45" y="34"/>
                  </a:lnTo>
                  <a:lnTo>
                    <a:pt x="36" y="34"/>
                  </a:lnTo>
                  <a:lnTo>
                    <a:pt x="23" y="34"/>
                  </a:lnTo>
                  <a:lnTo>
                    <a:pt x="23" y="34"/>
                  </a:lnTo>
                  <a:lnTo>
                    <a:pt x="19" y="36"/>
                  </a:lnTo>
                  <a:lnTo>
                    <a:pt x="16" y="39"/>
                  </a:lnTo>
                  <a:lnTo>
                    <a:pt x="11" y="46"/>
                  </a:lnTo>
                  <a:lnTo>
                    <a:pt x="11" y="46"/>
                  </a:lnTo>
                  <a:lnTo>
                    <a:pt x="11" y="49"/>
                  </a:lnTo>
                  <a:lnTo>
                    <a:pt x="11" y="52"/>
                  </a:lnTo>
                  <a:lnTo>
                    <a:pt x="16" y="59"/>
                  </a:lnTo>
                  <a:lnTo>
                    <a:pt x="16" y="59"/>
                  </a:lnTo>
                  <a:lnTo>
                    <a:pt x="17" y="63"/>
                  </a:lnTo>
                  <a:lnTo>
                    <a:pt x="17" y="66"/>
                  </a:lnTo>
                  <a:lnTo>
                    <a:pt x="17" y="69"/>
                  </a:lnTo>
                  <a:lnTo>
                    <a:pt x="14" y="72"/>
                  </a:lnTo>
                  <a:lnTo>
                    <a:pt x="14" y="72"/>
                  </a:lnTo>
                  <a:lnTo>
                    <a:pt x="11" y="72"/>
                  </a:lnTo>
                  <a:lnTo>
                    <a:pt x="8" y="72"/>
                  </a:lnTo>
                  <a:lnTo>
                    <a:pt x="1" y="72"/>
                  </a:lnTo>
                  <a:lnTo>
                    <a:pt x="1" y="72"/>
                  </a:lnTo>
                  <a:lnTo>
                    <a:pt x="0" y="72"/>
                  </a:lnTo>
                  <a:lnTo>
                    <a:pt x="1" y="75"/>
                  </a:lnTo>
                  <a:lnTo>
                    <a:pt x="7" y="79"/>
                  </a:lnTo>
                  <a:lnTo>
                    <a:pt x="7" y="79"/>
                  </a:lnTo>
                  <a:lnTo>
                    <a:pt x="11" y="81"/>
                  </a:lnTo>
                  <a:lnTo>
                    <a:pt x="14" y="81"/>
                  </a:lnTo>
                  <a:lnTo>
                    <a:pt x="20" y="81"/>
                  </a:lnTo>
                  <a:lnTo>
                    <a:pt x="20" y="81"/>
                  </a:lnTo>
                  <a:lnTo>
                    <a:pt x="21" y="81"/>
                  </a:lnTo>
                  <a:lnTo>
                    <a:pt x="23" y="82"/>
                  </a:lnTo>
                  <a:lnTo>
                    <a:pt x="20" y="87"/>
                  </a:lnTo>
                  <a:lnTo>
                    <a:pt x="20" y="87"/>
                  </a:lnTo>
                  <a:lnTo>
                    <a:pt x="20" y="89"/>
                  </a:lnTo>
                  <a:lnTo>
                    <a:pt x="20" y="91"/>
                  </a:lnTo>
                  <a:lnTo>
                    <a:pt x="23" y="95"/>
                  </a:lnTo>
                  <a:lnTo>
                    <a:pt x="23" y="95"/>
                  </a:lnTo>
                  <a:lnTo>
                    <a:pt x="26" y="100"/>
                  </a:lnTo>
                  <a:lnTo>
                    <a:pt x="27" y="101"/>
                  </a:lnTo>
                  <a:lnTo>
                    <a:pt x="30" y="103"/>
                  </a:lnTo>
                  <a:lnTo>
                    <a:pt x="30" y="103"/>
                  </a:lnTo>
                  <a:lnTo>
                    <a:pt x="43" y="108"/>
                  </a:lnTo>
                  <a:lnTo>
                    <a:pt x="43" y="108"/>
                  </a:lnTo>
                  <a:lnTo>
                    <a:pt x="49" y="110"/>
                  </a:lnTo>
                  <a:lnTo>
                    <a:pt x="56" y="114"/>
                  </a:lnTo>
                  <a:lnTo>
                    <a:pt x="56" y="114"/>
                  </a:lnTo>
                  <a:lnTo>
                    <a:pt x="59" y="117"/>
                  </a:lnTo>
                  <a:lnTo>
                    <a:pt x="65" y="120"/>
                  </a:lnTo>
                  <a:lnTo>
                    <a:pt x="72" y="121"/>
                  </a:lnTo>
                  <a:lnTo>
                    <a:pt x="72" y="121"/>
                  </a:lnTo>
                  <a:lnTo>
                    <a:pt x="75" y="120"/>
                  </a:lnTo>
                  <a:lnTo>
                    <a:pt x="78" y="116"/>
                  </a:lnTo>
                  <a:lnTo>
                    <a:pt x="79" y="110"/>
                  </a:lnTo>
                  <a:lnTo>
                    <a:pt x="79" y="110"/>
                  </a:lnTo>
                  <a:lnTo>
                    <a:pt x="82" y="110"/>
                  </a:lnTo>
                  <a:lnTo>
                    <a:pt x="90" y="111"/>
                  </a:lnTo>
                  <a:lnTo>
                    <a:pt x="97" y="114"/>
                  </a:lnTo>
                  <a:lnTo>
                    <a:pt x="104" y="118"/>
                  </a:lnTo>
                  <a:lnTo>
                    <a:pt x="104" y="118"/>
                  </a:lnTo>
                  <a:lnTo>
                    <a:pt x="110" y="121"/>
                  </a:lnTo>
                  <a:lnTo>
                    <a:pt x="116" y="121"/>
                  </a:lnTo>
                  <a:lnTo>
                    <a:pt x="129" y="120"/>
                  </a:lnTo>
                  <a:lnTo>
                    <a:pt x="129" y="120"/>
                  </a:lnTo>
                  <a:lnTo>
                    <a:pt x="134" y="118"/>
                  </a:lnTo>
                  <a:lnTo>
                    <a:pt x="139" y="114"/>
                  </a:lnTo>
                  <a:lnTo>
                    <a:pt x="143" y="108"/>
                  </a:lnTo>
                  <a:lnTo>
                    <a:pt x="143" y="108"/>
                  </a:lnTo>
                  <a:lnTo>
                    <a:pt x="145" y="107"/>
                  </a:lnTo>
                  <a:lnTo>
                    <a:pt x="147" y="107"/>
                  </a:lnTo>
                  <a:lnTo>
                    <a:pt x="153" y="107"/>
                  </a:lnTo>
                  <a:lnTo>
                    <a:pt x="153" y="107"/>
                  </a:lnTo>
                  <a:lnTo>
                    <a:pt x="155" y="107"/>
                  </a:lnTo>
                  <a:lnTo>
                    <a:pt x="156" y="108"/>
                  </a:lnTo>
                  <a:lnTo>
                    <a:pt x="159" y="111"/>
                  </a:lnTo>
                  <a:lnTo>
                    <a:pt x="159" y="111"/>
                  </a:lnTo>
                  <a:lnTo>
                    <a:pt x="162" y="111"/>
                  </a:lnTo>
                  <a:lnTo>
                    <a:pt x="163" y="111"/>
                  </a:lnTo>
                  <a:lnTo>
                    <a:pt x="166" y="110"/>
                  </a:lnTo>
                  <a:lnTo>
                    <a:pt x="166" y="110"/>
                  </a:lnTo>
                  <a:lnTo>
                    <a:pt x="166" y="113"/>
                  </a:lnTo>
                  <a:lnTo>
                    <a:pt x="165" y="118"/>
                  </a:lnTo>
                  <a:lnTo>
                    <a:pt x="165" y="118"/>
                  </a:lnTo>
                  <a:lnTo>
                    <a:pt x="175" y="113"/>
                  </a:lnTo>
                  <a:lnTo>
                    <a:pt x="179" y="110"/>
                  </a:lnTo>
                  <a:lnTo>
                    <a:pt x="179" y="110"/>
                  </a:lnTo>
                  <a:lnTo>
                    <a:pt x="233" y="108"/>
                  </a:lnTo>
                  <a:lnTo>
                    <a:pt x="271" y="107"/>
                  </a:lnTo>
                  <a:lnTo>
                    <a:pt x="284" y="108"/>
                  </a:lnTo>
                  <a:lnTo>
                    <a:pt x="291" y="1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09" name="Freeform 1059"/>
            <p:cNvSpPr>
              <a:spLocks/>
            </p:cNvSpPr>
            <p:nvPr/>
          </p:nvSpPr>
          <p:spPr bwMode="auto">
            <a:xfrm>
              <a:off x="9072563" y="2637267"/>
              <a:ext cx="71438" cy="38100"/>
            </a:xfrm>
            <a:custGeom>
              <a:avLst/>
              <a:gdLst>
                <a:gd name="T0" fmla="*/ 33 w 45"/>
                <a:gd name="T1" fmla="*/ 24 h 24"/>
                <a:gd name="T2" fmla="*/ 33 w 45"/>
                <a:gd name="T3" fmla="*/ 24 h 24"/>
                <a:gd name="T4" fmla="*/ 28 w 45"/>
                <a:gd name="T5" fmla="*/ 22 h 24"/>
                <a:gd name="T6" fmla="*/ 22 w 45"/>
                <a:gd name="T7" fmla="*/ 18 h 24"/>
                <a:gd name="T8" fmla="*/ 16 w 45"/>
                <a:gd name="T9" fmla="*/ 13 h 24"/>
                <a:gd name="T10" fmla="*/ 13 w 45"/>
                <a:gd name="T11" fmla="*/ 12 h 24"/>
                <a:gd name="T12" fmla="*/ 13 w 45"/>
                <a:gd name="T13" fmla="*/ 12 h 24"/>
                <a:gd name="T14" fmla="*/ 12 w 45"/>
                <a:gd name="T15" fmla="*/ 13 h 24"/>
                <a:gd name="T16" fmla="*/ 9 w 45"/>
                <a:gd name="T17" fmla="*/ 15 h 24"/>
                <a:gd name="T18" fmla="*/ 6 w 45"/>
                <a:gd name="T19" fmla="*/ 16 h 24"/>
                <a:gd name="T20" fmla="*/ 3 w 45"/>
                <a:gd name="T21" fmla="*/ 15 h 24"/>
                <a:gd name="T22" fmla="*/ 3 w 45"/>
                <a:gd name="T23" fmla="*/ 15 h 24"/>
                <a:gd name="T24" fmla="*/ 2 w 45"/>
                <a:gd name="T25" fmla="*/ 11 h 24"/>
                <a:gd name="T26" fmla="*/ 0 w 45"/>
                <a:gd name="T27" fmla="*/ 6 h 24"/>
                <a:gd name="T28" fmla="*/ 0 w 45"/>
                <a:gd name="T29" fmla="*/ 3 h 24"/>
                <a:gd name="T30" fmla="*/ 2 w 45"/>
                <a:gd name="T31" fmla="*/ 2 h 24"/>
                <a:gd name="T32" fmla="*/ 3 w 45"/>
                <a:gd name="T33" fmla="*/ 2 h 24"/>
                <a:gd name="T34" fmla="*/ 3 w 45"/>
                <a:gd name="T35" fmla="*/ 2 h 24"/>
                <a:gd name="T36" fmla="*/ 9 w 45"/>
                <a:gd name="T37" fmla="*/ 5 h 24"/>
                <a:gd name="T38" fmla="*/ 13 w 45"/>
                <a:gd name="T39" fmla="*/ 6 h 24"/>
                <a:gd name="T40" fmla="*/ 16 w 45"/>
                <a:gd name="T41" fmla="*/ 6 h 24"/>
                <a:gd name="T42" fmla="*/ 16 w 45"/>
                <a:gd name="T43" fmla="*/ 6 h 24"/>
                <a:gd name="T44" fmla="*/ 19 w 45"/>
                <a:gd name="T45" fmla="*/ 5 h 24"/>
                <a:gd name="T46" fmla="*/ 23 w 45"/>
                <a:gd name="T47" fmla="*/ 3 h 24"/>
                <a:gd name="T48" fmla="*/ 26 w 45"/>
                <a:gd name="T49" fmla="*/ 0 h 24"/>
                <a:gd name="T50" fmla="*/ 28 w 45"/>
                <a:gd name="T51" fmla="*/ 2 h 24"/>
                <a:gd name="T52" fmla="*/ 29 w 45"/>
                <a:gd name="T53" fmla="*/ 2 h 24"/>
                <a:gd name="T54" fmla="*/ 29 w 45"/>
                <a:gd name="T55" fmla="*/ 2 h 24"/>
                <a:gd name="T56" fmla="*/ 39 w 45"/>
                <a:gd name="T57" fmla="*/ 11 h 24"/>
                <a:gd name="T58" fmla="*/ 44 w 45"/>
                <a:gd name="T59" fmla="*/ 16 h 24"/>
                <a:gd name="T60" fmla="*/ 45 w 45"/>
                <a:gd name="T61" fmla="*/ 18 h 24"/>
                <a:gd name="T62" fmla="*/ 45 w 45"/>
                <a:gd name="T63" fmla="*/ 18 h 24"/>
                <a:gd name="T64" fmla="*/ 39 w 45"/>
                <a:gd name="T65" fmla="*/ 22 h 24"/>
                <a:gd name="T66" fmla="*/ 36 w 45"/>
                <a:gd name="T67" fmla="*/ 24 h 24"/>
                <a:gd name="T68" fmla="*/ 33 w 45"/>
                <a:gd name="T6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 h="24">
                  <a:moveTo>
                    <a:pt x="33" y="24"/>
                  </a:moveTo>
                  <a:lnTo>
                    <a:pt x="33" y="24"/>
                  </a:lnTo>
                  <a:lnTo>
                    <a:pt x="28" y="22"/>
                  </a:lnTo>
                  <a:lnTo>
                    <a:pt x="22" y="18"/>
                  </a:lnTo>
                  <a:lnTo>
                    <a:pt x="16" y="13"/>
                  </a:lnTo>
                  <a:lnTo>
                    <a:pt x="13" y="12"/>
                  </a:lnTo>
                  <a:lnTo>
                    <a:pt x="13" y="12"/>
                  </a:lnTo>
                  <a:lnTo>
                    <a:pt x="12" y="13"/>
                  </a:lnTo>
                  <a:lnTo>
                    <a:pt x="9" y="15"/>
                  </a:lnTo>
                  <a:lnTo>
                    <a:pt x="6" y="16"/>
                  </a:lnTo>
                  <a:lnTo>
                    <a:pt x="3" y="15"/>
                  </a:lnTo>
                  <a:lnTo>
                    <a:pt x="3" y="15"/>
                  </a:lnTo>
                  <a:lnTo>
                    <a:pt x="2" y="11"/>
                  </a:lnTo>
                  <a:lnTo>
                    <a:pt x="0" y="6"/>
                  </a:lnTo>
                  <a:lnTo>
                    <a:pt x="0" y="3"/>
                  </a:lnTo>
                  <a:lnTo>
                    <a:pt x="2" y="2"/>
                  </a:lnTo>
                  <a:lnTo>
                    <a:pt x="3" y="2"/>
                  </a:lnTo>
                  <a:lnTo>
                    <a:pt x="3" y="2"/>
                  </a:lnTo>
                  <a:lnTo>
                    <a:pt x="9" y="5"/>
                  </a:lnTo>
                  <a:lnTo>
                    <a:pt x="13" y="6"/>
                  </a:lnTo>
                  <a:lnTo>
                    <a:pt x="16" y="6"/>
                  </a:lnTo>
                  <a:lnTo>
                    <a:pt x="16" y="6"/>
                  </a:lnTo>
                  <a:lnTo>
                    <a:pt x="19" y="5"/>
                  </a:lnTo>
                  <a:lnTo>
                    <a:pt x="23" y="3"/>
                  </a:lnTo>
                  <a:lnTo>
                    <a:pt x="26" y="0"/>
                  </a:lnTo>
                  <a:lnTo>
                    <a:pt x="28" y="2"/>
                  </a:lnTo>
                  <a:lnTo>
                    <a:pt x="29" y="2"/>
                  </a:lnTo>
                  <a:lnTo>
                    <a:pt x="29" y="2"/>
                  </a:lnTo>
                  <a:lnTo>
                    <a:pt x="39" y="11"/>
                  </a:lnTo>
                  <a:lnTo>
                    <a:pt x="44" y="16"/>
                  </a:lnTo>
                  <a:lnTo>
                    <a:pt x="45" y="18"/>
                  </a:lnTo>
                  <a:lnTo>
                    <a:pt x="45" y="18"/>
                  </a:lnTo>
                  <a:lnTo>
                    <a:pt x="39" y="22"/>
                  </a:lnTo>
                  <a:lnTo>
                    <a:pt x="36" y="24"/>
                  </a:lnTo>
                  <a:lnTo>
                    <a:pt x="33" y="24"/>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10" name="Freeform 1060"/>
            <p:cNvSpPr>
              <a:spLocks/>
            </p:cNvSpPr>
            <p:nvPr/>
          </p:nvSpPr>
          <p:spPr bwMode="auto">
            <a:xfrm>
              <a:off x="9072563" y="2637267"/>
              <a:ext cx="71438" cy="38100"/>
            </a:xfrm>
            <a:custGeom>
              <a:avLst/>
              <a:gdLst>
                <a:gd name="T0" fmla="*/ 33 w 45"/>
                <a:gd name="T1" fmla="*/ 24 h 24"/>
                <a:gd name="T2" fmla="*/ 33 w 45"/>
                <a:gd name="T3" fmla="*/ 24 h 24"/>
                <a:gd name="T4" fmla="*/ 28 w 45"/>
                <a:gd name="T5" fmla="*/ 22 h 24"/>
                <a:gd name="T6" fmla="*/ 22 w 45"/>
                <a:gd name="T7" fmla="*/ 18 h 24"/>
                <a:gd name="T8" fmla="*/ 16 w 45"/>
                <a:gd name="T9" fmla="*/ 13 h 24"/>
                <a:gd name="T10" fmla="*/ 13 w 45"/>
                <a:gd name="T11" fmla="*/ 12 h 24"/>
                <a:gd name="T12" fmla="*/ 13 w 45"/>
                <a:gd name="T13" fmla="*/ 12 h 24"/>
                <a:gd name="T14" fmla="*/ 12 w 45"/>
                <a:gd name="T15" fmla="*/ 13 h 24"/>
                <a:gd name="T16" fmla="*/ 9 w 45"/>
                <a:gd name="T17" fmla="*/ 15 h 24"/>
                <a:gd name="T18" fmla="*/ 6 w 45"/>
                <a:gd name="T19" fmla="*/ 16 h 24"/>
                <a:gd name="T20" fmla="*/ 3 w 45"/>
                <a:gd name="T21" fmla="*/ 15 h 24"/>
                <a:gd name="T22" fmla="*/ 3 w 45"/>
                <a:gd name="T23" fmla="*/ 15 h 24"/>
                <a:gd name="T24" fmla="*/ 2 w 45"/>
                <a:gd name="T25" fmla="*/ 11 h 24"/>
                <a:gd name="T26" fmla="*/ 0 w 45"/>
                <a:gd name="T27" fmla="*/ 6 h 24"/>
                <a:gd name="T28" fmla="*/ 0 w 45"/>
                <a:gd name="T29" fmla="*/ 3 h 24"/>
                <a:gd name="T30" fmla="*/ 2 w 45"/>
                <a:gd name="T31" fmla="*/ 2 h 24"/>
                <a:gd name="T32" fmla="*/ 3 w 45"/>
                <a:gd name="T33" fmla="*/ 2 h 24"/>
                <a:gd name="T34" fmla="*/ 3 w 45"/>
                <a:gd name="T35" fmla="*/ 2 h 24"/>
                <a:gd name="T36" fmla="*/ 9 w 45"/>
                <a:gd name="T37" fmla="*/ 5 h 24"/>
                <a:gd name="T38" fmla="*/ 13 w 45"/>
                <a:gd name="T39" fmla="*/ 6 h 24"/>
                <a:gd name="T40" fmla="*/ 16 w 45"/>
                <a:gd name="T41" fmla="*/ 6 h 24"/>
                <a:gd name="T42" fmla="*/ 16 w 45"/>
                <a:gd name="T43" fmla="*/ 6 h 24"/>
                <a:gd name="T44" fmla="*/ 19 w 45"/>
                <a:gd name="T45" fmla="*/ 5 h 24"/>
                <a:gd name="T46" fmla="*/ 23 w 45"/>
                <a:gd name="T47" fmla="*/ 3 h 24"/>
                <a:gd name="T48" fmla="*/ 26 w 45"/>
                <a:gd name="T49" fmla="*/ 0 h 24"/>
                <a:gd name="T50" fmla="*/ 28 w 45"/>
                <a:gd name="T51" fmla="*/ 2 h 24"/>
                <a:gd name="T52" fmla="*/ 29 w 45"/>
                <a:gd name="T53" fmla="*/ 2 h 24"/>
                <a:gd name="T54" fmla="*/ 29 w 45"/>
                <a:gd name="T55" fmla="*/ 2 h 24"/>
                <a:gd name="T56" fmla="*/ 39 w 45"/>
                <a:gd name="T57" fmla="*/ 11 h 24"/>
                <a:gd name="T58" fmla="*/ 44 w 45"/>
                <a:gd name="T59" fmla="*/ 16 h 24"/>
                <a:gd name="T60" fmla="*/ 45 w 45"/>
                <a:gd name="T61" fmla="*/ 18 h 24"/>
                <a:gd name="T62" fmla="*/ 45 w 45"/>
                <a:gd name="T63" fmla="*/ 18 h 24"/>
                <a:gd name="T64" fmla="*/ 39 w 45"/>
                <a:gd name="T65" fmla="*/ 22 h 24"/>
                <a:gd name="T66" fmla="*/ 36 w 45"/>
                <a:gd name="T67" fmla="*/ 24 h 24"/>
                <a:gd name="T68" fmla="*/ 33 w 45"/>
                <a:gd name="T6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 h="24">
                  <a:moveTo>
                    <a:pt x="33" y="24"/>
                  </a:moveTo>
                  <a:lnTo>
                    <a:pt x="33" y="24"/>
                  </a:lnTo>
                  <a:lnTo>
                    <a:pt x="28" y="22"/>
                  </a:lnTo>
                  <a:lnTo>
                    <a:pt x="22" y="18"/>
                  </a:lnTo>
                  <a:lnTo>
                    <a:pt x="16" y="13"/>
                  </a:lnTo>
                  <a:lnTo>
                    <a:pt x="13" y="12"/>
                  </a:lnTo>
                  <a:lnTo>
                    <a:pt x="13" y="12"/>
                  </a:lnTo>
                  <a:lnTo>
                    <a:pt x="12" y="13"/>
                  </a:lnTo>
                  <a:lnTo>
                    <a:pt x="9" y="15"/>
                  </a:lnTo>
                  <a:lnTo>
                    <a:pt x="6" y="16"/>
                  </a:lnTo>
                  <a:lnTo>
                    <a:pt x="3" y="15"/>
                  </a:lnTo>
                  <a:lnTo>
                    <a:pt x="3" y="15"/>
                  </a:lnTo>
                  <a:lnTo>
                    <a:pt x="2" y="11"/>
                  </a:lnTo>
                  <a:lnTo>
                    <a:pt x="0" y="6"/>
                  </a:lnTo>
                  <a:lnTo>
                    <a:pt x="0" y="3"/>
                  </a:lnTo>
                  <a:lnTo>
                    <a:pt x="2" y="2"/>
                  </a:lnTo>
                  <a:lnTo>
                    <a:pt x="3" y="2"/>
                  </a:lnTo>
                  <a:lnTo>
                    <a:pt x="3" y="2"/>
                  </a:lnTo>
                  <a:lnTo>
                    <a:pt x="9" y="5"/>
                  </a:lnTo>
                  <a:lnTo>
                    <a:pt x="13" y="6"/>
                  </a:lnTo>
                  <a:lnTo>
                    <a:pt x="16" y="6"/>
                  </a:lnTo>
                  <a:lnTo>
                    <a:pt x="16" y="6"/>
                  </a:lnTo>
                  <a:lnTo>
                    <a:pt x="19" y="5"/>
                  </a:lnTo>
                  <a:lnTo>
                    <a:pt x="23" y="3"/>
                  </a:lnTo>
                  <a:lnTo>
                    <a:pt x="26" y="0"/>
                  </a:lnTo>
                  <a:lnTo>
                    <a:pt x="28" y="2"/>
                  </a:lnTo>
                  <a:lnTo>
                    <a:pt x="29" y="2"/>
                  </a:lnTo>
                  <a:lnTo>
                    <a:pt x="29" y="2"/>
                  </a:lnTo>
                  <a:lnTo>
                    <a:pt x="39" y="11"/>
                  </a:lnTo>
                  <a:lnTo>
                    <a:pt x="44" y="16"/>
                  </a:lnTo>
                  <a:lnTo>
                    <a:pt x="45" y="18"/>
                  </a:lnTo>
                  <a:lnTo>
                    <a:pt x="45" y="18"/>
                  </a:lnTo>
                  <a:lnTo>
                    <a:pt x="39" y="22"/>
                  </a:lnTo>
                  <a:lnTo>
                    <a:pt x="36" y="24"/>
                  </a:lnTo>
                  <a:lnTo>
                    <a:pt x="33"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11" name="Freeform 1065"/>
            <p:cNvSpPr>
              <a:spLocks/>
            </p:cNvSpPr>
            <p:nvPr/>
          </p:nvSpPr>
          <p:spPr bwMode="auto">
            <a:xfrm>
              <a:off x="4579938" y="3045254"/>
              <a:ext cx="44450" cy="42863"/>
            </a:xfrm>
            <a:custGeom>
              <a:avLst/>
              <a:gdLst>
                <a:gd name="T0" fmla="*/ 17 w 28"/>
                <a:gd name="T1" fmla="*/ 27 h 27"/>
                <a:gd name="T2" fmla="*/ 17 w 28"/>
                <a:gd name="T3" fmla="*/ 27 h 27"/>
                <a:gd name="T4" fmla="*/ 15 w 28"/>
                <a:gd name="T5" fmla="*/ 26 h 27"/>
                <a:gd name="T6" fmla="*/ 13 w 28"/>
                <a:gd name="T7" fmla="*/ 23 h 27"/>
                <a:gd name="T8" fmla="*/ 12 w 28"/>
                <a:gd name="T9" fmla="*/ 20 h 27"/>
                <a:gd name="T10" fmla="*/ 7 w 28"/>
                <a:gd name="T11" fmla="*/ 17 h 27"/>
                <a:gd name="T12" fmla="*/ 7 w 28"/>
                <a:gd name="T13" fmla="*/ 17 h 27"/>
                <a:gd name="T14" fmla="*/ 3 w 28"/>
                <a:gd name="T15" fmla="*/ 14 h 27"/>
                <a:gd name="T16" fmla="*/ 0 w 28"/>
                <a:gd name="T17" fmla="*/ 11 h 27"/>
                <a:gd name="T18" fmla="*/ 0 w 28"/>
                <a:gd name="T19" fmla="*/ 9 h 27"/>
                <a:gd name="T20" fmla="*/ 2 w 28"/>
                <a:gd name="T21" fmla="*/ 9 h 27"/>
                <a:gd name="T22" fmla="*/ 2 w 28"/>
                <a:gd name="T23" fmla="*/ 9 h 27"/>
                <a:gd name="T24" fmla="*/ 9 w 28"/>
                <a:gd name="T25" fmla="*/ 9 h 27"/>
                <a:gd name="T26" fmla="*/ 12 w 28"/>
                <a:gd name="T27" fmla="*/ 7 h 27"/>
                <a:gd name="T28" fmla="*/ 15 w 28"/>
                <a:gd name="T29" fmla="*/ 6 h 27"/>
                <a:gd name="T30" fmla="*/ 15 w 28"/>
                <a:gd name="T31" fmla="*/ 6 h 27"/>
                <a:gd name="T32" fmla="*/ 23 w 28"/>
                <a:gd name="T33" fmla="*/ 1 h 27"/>
                <a:gd name="T34" fmla="*/ 26 w 28"/>
                <a:gd name="T35" fmla="*/ 0 h 27"/>
                <a:gd name="T36" fmla="*/ 28 w 28"/>
                <a:gd name="T37" fmla="*/ 0 h 27"/>
                <a:gd name="T38" fmla="*/ 28 w 28"/>
                <a:gd name="T39" fmla="*/ 0 h 27"/>
                <a:gd name="T40" fmla="*/ 28 w 28"/>
                <a:gd name="T41" fmla="*/ 0 h 27"/>
                <a:gd name="T42" fmla="*/ 25 w 28"/>
                <a:gd name="T43" fmla="*/ 6 h 27"/>
                <a:gd name="T44" fmla="*/ 25 w 28"/>
                <a:gd name="T45" fmla="*/ 11 h 27"/>
                <a:gd name="T46" fmla="*/ 25 w 28"/>
                <a:gd name="T47" fmla="*/ 11 h 27"/>
                <a:gd name="T48" fmla="*/ 28 w 28"/>
                <a:gd name="T49" fmla="*/ 20 h 27"/>
                <a:gd name="T50" fmla="*/ 28 w 28"/>
                <a:gd name="T51" fmla="*/ 24 h 27"/>
                <a:gd name="T52" fmla="*/ 28 w 28"/>
                <a:gd name="T53" fmla="*/ 26 h 27"/>
                <a:gd name="T54" fmla="*/ 26 w 28"/>
                <a:gd name="T55" fmla="*/ 26 h 27"/>
                <a:gd name="T56" fmla="*/ 26 w 28"/>
                <a:gd name="T57" fmla="*/ 26 h 27"/>
                <a:gd name="T58" fmla="*/ 23 w 28"/>
                <a:gd name="T59" fmla="*/ 27 h 27"/>
                <a:gd name="T60" fmla="*/ 20 w 28"/>
                <a:gd name="T61" fmla="*/ 27 h 27"/>
                <a:gd name="T62" fmla="*/ 17 w 28"/>
                <a:gd name="T63"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 h="27">
                  <a:moveTo>
                    <a:pt x="17" y="27"/>
                  </a:moveTo>
                  <a:lnTo>
                    <a:pt x="17" y="27"/>
                  </a:lnTo>
                  <a:lnTo>
                    <a:pt x="15" y="26"/>
                  </a:lnTo>
                  <a:lnTo>
                    <a:pt x="13" y="23"/>
                  </a:lnTo>
                  <a:lnTo>
                    <a:pt x="12" y="20"/>
                  </a:lnTo>
                  <a:lnTo>
                    <a:pt x="7" y="17"/>
                  </a:lnTo>
                  <a:lnTo>
                    <a:pt x="7" y="17"/>
                  </a:lnTo>
                  <a:lnTo>
                    <a:pt x="3" y="14"/>
                  </a:lnTo>
                  <a:lnTo>
                    <a:pt x="0" y="11"/>
                  </a:lnTo>
                  <a:lnTo>
                    <a:pt x="0" y="9"/>
                  </a:lnTo>
                  <a:lnTo>
                    <a:pt x="2" y="9"/>
                  </a:lnTo>
                  <a:lnTo>
                    <a:pt x="2" y="9"/>
                  </a:lnTo>
                  <a:lnTo>
                    <a:pt x="9" y="9"/>
                  </a:lnTo>
                  <a:lnTo>
                    <a:pt x="12" y="7"/>
                  </a:lnTo>
                  <a:lnTo>
                    <a:pt x="15" y="6"/>
                  </a:lnTo>
                  <a:lnTo>
                    <a:pt x="15" y="6"/>
                  </a:lnTo>
                  <a:lnTo>
                    <a:pt x="23" y="1"/>
                  </a:lnTo>
                  <a:lnTo>
                    <a:pt x="26" y="0"/>
                  </a:lnTo>
                  <a:lnTo>
                    <a:pt x="28" y="0"/>
                  </a:lnTo>
                  <a:lnTo>
                    <a:pt x="28" y="0"/>
                  </a:lnTo>
                  <a:lnTo>
                    <a:pt x="28" y="0"/>
                  </a:lnTo>
                  <a:lnTo>
                    <a:pt x="25" y="6"/>
                  </a:lnTo>
                  <a:lnTo>
                    <a:pt x="25" y="11"/>
                  </a:lnTo>
                  <a:lnTo>
                    <a:pt x="25" y="11"/>
                  </a:lnTo>
                  <a:lnTo>
                    <a:pt x="28" y="20"/>
                  </a:lnTo>
                  <a:lnTo>
                    <a:pt x="28" y="24"/>
                  </a:lnTo>
                  <a:lnTo>
                    <a:pt x="28" y="26"/>
                  </a:lnTo>
                  <a:lnTo>
                    <a:pt x="26" y="26"/>
                  </a:lnTo>
                  <a:lnTo>
                    <a:pt x="26" y="26"/>
                  </a:lnTo>
                  <a:lnTo>
                    <a:pt x="23" y="27"/>
                  </a:lnTo>
                  <a:lnTo>
                    <a:pt x="20" y="27"/>
                  </a:lnTo>
                  <a:lnTo>
                    <a:pt x="17" y="27"/>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12" name="Freeform 1066"/>
            <p:cNvSpPr>
              <a:spLocks/>
            </p:cNvSpPr>
            <p:nvPr/>
          </p:nvSpPr>
          <p:spPr bwMode="auto">
            <a:xfrm>
              <a:off x="4579938" y="3045254"/>
              <a:ext cx="44450" cy="42863"/>
            </a:xfrm>
            <a:custGeom>
              <a:avLst/>
              <a:gdLst>
                <a:gd name="T0" fmla="*/ 17 w 28"/>
                <a:gd name="T1" fmla="*/ 27 h 27"/>
                <a:gd name="T2" fmla="*/ 17 w 28"/>
                <a:gd name="T3" fmla="*/ 27 h 27"/>
                <a:gd name="T4" fmla="*/ 15 w 28"/>
                <a:gd name="T5" fmla="*/ 26 h 27"/>
                <a:gd name="T6" fmla="*/ 13 w 28"/>
                <a:gd name="T7" fmla="*/ 23 h 27"/>
                <a:gd name="T8" fmla="*/ 12 w 28"/>
                <a:gd name="T9" fmla="*/ 20 h 27"/>
                <a:gd name="T10" fmla="*/ 7 w 28"/>
                <a:gd name="T11" fmla="*/ 17 h 27"/>
                <a:gd name="T12" fmla="*/ 7 w 28"/>
                <a:gd name="T13" fmla="*/ 17 h 27"/>
                <a:gd name="T14" fmla="*/ 3 w 28"/>
                <a:gd name="T15" fmla="*/ 14 h 27"/>
                <a:gd name="T16" fmla="*/ 0 w 28"/>
                <a:gd name="T17" fmla="*/ 11 h 27"/>
                <a:gd name="T18" fmla="*/ 0 w 28"/>
                <a:gd name="T19" fmla="*/ 9 h 27"/>
                <a:gd name="T20" fmla="*/ 2 w 28"/>
                <a:gd name="T21" fmla="*/ 9 h 27"/>
                <a:gd name="T22" fmla="*/ 2 w 28"/>
                <a:gd name="T23" fmla="*/ 9 h 27"/>
                <a:gd name="T24" fmla="*/ 9 w 28"/>
                <a:gd name="T25" fmla="*/ 9 h 27"/>
                <a:gd name="T26" fmla="*/ 12 w 28"/>
                <a:gd name="T27" fmla="*/ 7 h 27"/>
                <a:gd name="T28" fmla="*/ 15 w 28"/>
                <a:gd name="T29" fmla="*/ 6 h 27"/>
                <a:gd name="T30" fmla="*/ 15 w 28"/>
                <a:gd name="T31" fmla="*/ 6 h 27"/>
                <a:gd name="T32" fmla="*/ 23 w 28"/>
                <a:gd name="T33" fmla="*/ 1 h 27"/>
                <a:gd name="T34" fmla="*/ 26 w 28"/>
                <a:gd name="T35" fmla="*/ 0 h 27"/>
                <a:gd name="T36" fmla="*/ 28 w 28"/>
                <a:gd name="T37" fmla="*/ 0 h 27"/>
                <a:gd name="T38" fmla="*/ 28 w 28"/>
                <a:gd name="T39" fmla="*/ 0 h 27"/>
                <a:gd name="T40" fmla="*/ 28 w 28"/>
                <a:gd name="T41" fmla="*/ 0 h 27"/>
                <a:gd name="T42" fmla="*/ 25 w 28"/>
                <a:gd name="T43" fmla="*/ 6 h 27"/>
                <a:gd name="T44" fmla="*/ 25 w 28"/>
                <a:gd name="T45" fmla="*/ 11 h 27"/>
                <a:gd name="T46" fmla="*/ 25 w 28"/>
                <a:gd name="T47" fmla="*/ 11 h 27"/>
                <a:gd name="T48" fmla="*/ 28 w 28"/>
                <a:gd name="T49" fmla="*/ 20 h 27"/>
                <a:gd name="T50" fmla="*/ 28 w 28"/>
                <a:gd name="T51" fmla="*/ 24 h 27"/>
                <a:gd name="T52" fmla="*/ 28 w 28"/>
                <a:gd name="T53" fmla="*/ 26 h 27"/>
                <a:gd name="T54" fmla="*/ 26 w 28"/>
                <a:gd name="T55" fmla="*/ 26 h 27"/>
                <a:gd name="T56" fmla="*/ 26 w 28"/>
                <a:gd name="T57" fmla="*/ 26 h 27"/>
                <a:gd name="T58" fmla="*/ 23 w 28"/>
                <a:gd name="T59" fmla="*/ 27 h 27"/>
                <a:gd name="T60" fmla="*/ 20 w 28"/>
                <a:gd name="T61" fmla="*/ 27 h 27"/>
                <a:gd name="T62" fmla="*/ 17 w 28"/>
                <a:gd name="T63"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 h="27">
                  <a:moveTo>
                    <a:pt x="17" y="27"/>
                  </a:moveTo>
                  <a:lnTo>
                    <a:pt x="17" y="27"/>
                  </a:lnTo>
                  <a:lnTo>
                    <a:pt x="15" y="26"/>
                  </a:lnTo>
                  <a:lnTo>
                    <a:pt x="13" y="23"/>
                  </a:lnTo>
                  <a:lnTo>
                    <a:pt x="12" y="20"/>
                  </a:lnTo>
                  <a:lnTo>
                    <a:pt x="7" y="17"/>
                  </a:lnTo>
                  <a:lnTo>
                    <a:pt x="7" y="17"/>
                  </a:lnTo>
                  <a:lnTo>
                    <a:pt x="3" y="14"/>
                  </a:lnTo>
                  <a:lnTo>
                    <a:pt x="0" y="11"/>
                  </a:lnTo>
                  <a:lnTo>
                    <a:pt x="0" y="9"/>
                  </a:lnTo>
                  <a:lnTo>
                    <a:pt x="2" y="9"/>
                  </a:lnTo>
                  <a:lnTo>
                    <a:pt x="2" y="9"/>
                  </a:lnTo>
                  <a:lnTo>
                    <a:pt x="9" y="9"/>
                  </a:lnTo>
                  <a:lnTo>
                    <a:pt x="12" y="7"/>
                  </a:lnTo>
                  <a:lnTo>
                    <a:pt x="15" y="6"/>
                  </a:lnTo>
                  <a:lnTo>
                    <a:pt x="15" y="6"/>
                  </a:lnTo>
                  <a:lnTo>
                    <a:pt x="23" y="1"/>
                  </a:lnTo>
                  <a:lnTo>
                    <a:pt x="26" y="0"/>
                  </a:lnTo>
                  <a:lnTo>
                    <a:pt x="28" y="0"/>
                  </a:lnTo>
                  <a:lnTo>
                    <a:pt x="28" y="0"/>
                  </a:lnTo>
                  <a:lnTo>
                    <a:pt x="28" y="0"/>
                  </a:lnTo>
                  <a:lnTo>
                    <a:pt x="25" y="6"/>
                  </a:lnTo>
                  <a:lnTo>
                    <a:pt x="25" y="11"/>
                  </a:lnTo>
                  <a:lnTo>
                    <a:pt x="25" y="11"/>
                  </a:lnTo>
                  <a:lnTo>
                    <a:pt x="28" y="20"/>
                  </a:lnTo>
                  <a:lnTo>
                    <a:pt x="28" y="24"/>
                  </a:lnTo>
                  <a:lnTo>
                    <a:pt x="28" y="26"/>
                  </a:lnTo>
                  <a:lnTo>
                    <a:pt x="26" y="26"/>
                  </a:lnTo>
                  <a:lnTo>
                    <a:pt x="26" y="26"/>
                  </a:lnTo>
                  <a:lnTo>
                    <a:pt x="23" y="27"/>
                  </a:lnTo>
                  <a:lnTo>
                    <a:pt x="20" y="27"/>
                  </a:lnTo>
                  <a:lnTo>
                    <a:pt x="17" y="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13" name="Freeform 1067"/>
            <p:cNvSpPr>
              <a:spLocks/>
            </p:cNvSpPr>
            <p:nvPr/>
          </p:nvSpPr>
          <p:spPr bwMode="auto">
            <a:xfrm>
              <a:off x="4773613" y="2959529"/>
              <a:ext cx="26988" cy="46038"/>
            </a:xfrm>
            <a:custGeom>
              <a:avLst/>
              <a:gdLst>
                <a:gd name="T0" fmla="*/ 1 w 17"/>
                <a:gd name="T1" fmla="*/ 28 h 29"/>
                <a:gd name="T2" fmla="*/ 1 w 17"/>
                <a:gd name="T3" fmla="*/ 28 h 29"/>
                <a:gd name="T4" fmla="*/ 0 w 17"/>
                <a:gd name="T5" fmla="*/ 23 h 29"/>
                <a:gd name="T6" fmla="*/ 0 w 17"/>
                <a:gd name="T7" fmla="*/ 18 h 29"/>
                <a:gd name="T8" fmla="*/ 1 w 17"/>
                <a:gd name="T9" fmla="*/ 12 h 29"/>
                <a:gd name="T10" fmla="*/ 4 w 17"/>
                <a:gd name="T11" fmla="*/ 7 h 29"/>
                <a:gd name="T12" fmla="*/ 4 w 17"/>
                <a:gd name="T13" fmla="*/ 7 h 29"/>
                <a:gd name="T14" fmla="*/ 14 w 17"/>
                <a:gd name="T15" fmla="*/ 2 h 29"/>
                <a:gd name="T16" fmla="*/ 17 w 17"/>
                <a:gd name="T17" fmla="*/ 0 h 29"/>
                <a:gd name="T18" fmla="*/ 17 w 17"/>
                <a:gd name="T19" fmla="*/ 0 h 29"/>
                <a:gd name="T20" fmla="*/ 17 w 17"/>
                <a:gd name="T21" fmla="*/ 2 h 29"/>
                <a:gd name="T22" fmla="*/ 17 w 17"/>
                <a:gd name="T23" fmla="*/ 2 h 29"/>
                <a:gd name="T24" fmla="*/ 16 w 17"/>
                <a:gd name="T25" fmla="*/ 6 h 29"/>
                <a:gd name="T26" fmla="*/ 14 w 17"/>
                <a:gd name="T27" fmla="*/ 9 h 29"/>
                <a:gd name="T28" fmla="*/ 13 w 17"/>
                <a:gd name="T29" fmla="*/ 16 h 29"/>
                <a:gd name="T30" fmla="*/ 13 w 17"/>
                <a:gd name="T31" fmla="*/ 16 h 29"/>
                <a:gd name="T32" fmla="*/ 7 w 17"/>
                <a:gd name="T33" fmla="*/ 23 h 29"/>
                <a:gd name="T34" fmla="*/ 4 w 17"/>
                <a:gd name="T35" fmla="*/ 28 h 29"/>
                <a:gd name="T36" fmla="*/ 3 w 17"/>
                <a:gd name="T37" fmla="*/ 29 h 29"/>
                <a:gd name="T38" fmla="*/ 1 w 17"/>
                <a:gd name="T39"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 h="29">
                  <a:moveTo>
                    <a:pt x="1" y="28"/>
                  </a:moveTo>
                  <a:lnTo>
                    <a:pt x="1" y="28"/>
                  </a:lnTo>
                  <a:lnTo>
                    <a:pt x="0" y="23"/>
                  </a:lnTo>
                  <a:lnTo>
                    <a:pt x="0" y="18"/>
                  </a:lnTo>
                  <a:lnTo>
                    <a:pt x="1" y="12"/>
                  </a:lnTo>
                  <a:lnTo>
                    <a:pt x="4" y="7"/>
                  </a:lnTo>
                  <a:lnTo>
                    <a:pt x="4" y="7"/>
                  </a:lnTo>
                  <a:lnTo>
                    <a:pt x="14" y="2"/>
                  </a:lnTo>
                  <a:lnTo>
                    <a:pt x="17" y="0"/>
                  </a:lnTo>
                  <a:lnTo>
                    <a:pt x="17" y="0"/>
                  </a:lnTo>
                  <a:lnTo>
                    <a:pt x="17" y="2"/>
                  </a:lnTo>
                  <a:lnTo>
                    <a:pt x="17" y="2"/>
                  </a:lnTo>
                  <a:lnTo>
                    <a:pt x="16" y="6"/>
                  </a:lnTo>
                  <a:lnTo>
                    <a:pt x="14" y="9"/>
                  </a:lnTo>
                  <a:lnTo>
                    <a:pt x="13" y="16"/>
                  </a:lnTo>
                  <a:lnTo>
                    <a:pt x="13" y="16"/>
                  </a:lnTo>
                  <a:lnTo>
                    <a:pt x="7" y="23"/>
                  </a:lnTo>
                  <a:lnTo>
                    <a:pt x="4" y="28"/>
                  </a:lnTo>
                  <a:lnTo>
                    <a:pt x="3" y="29"/>
                  </a:lnTo>
                  <a:lnTo>
                    <a:pt x="1" y="28"/>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14" name="Freeform 1068"/>
            <p:cNvSpPr>
              <a:spLocks/>
            </p:cNvSpPr>
            <p:nvPr/>
          </p:nvSpPr>
          <p:spPr bwMode="auto">
            <a:xfrm>
              <a:off x="4773613" y="2959529"/>
              <a:ext cx="26988" cy="46038"/>
            </a:xfrm>
            <a:custGeom>
              <a:avLst/>
              <a:gdLst>
                <a:gd name="T0" fmla="*/ 1 w 17"/>
                <a:gd name="T1" fmla="*/ 28 h 29"/>
                <a:gd name="T2" fmla="*/ 1 w 17"/>
                <a:gd name="T3" fmla="*/ 28 h 29"/>
                <a:gd name="T4" fmla="*/ 0 w 17"/>
                <a:gd name="T5" fmla="*/ 23 h 29"/>
                <a:gd name="T6" fmla="*/ 0 w 17"/>
                <a:gd name="T7" fmla="*/ 18 h 29"/>
                <a:gd name="T8" fmla="*/ 1 w 17"/>
                <a:gd name="T9" fmla="*/ 12 h 29"/>
                <a:gd name="T10" fmla="*/ 4 w 17"/>
                <a:gd name="T11" fmla="*/ 7 h 29"/>
                <a:gd name="T12" fmla="*/ 4 w 17"/>
                <a:gd name="T13" fmla="*/ 7 h 29"/>
                <a:gd name="T14" fmla="*/ 14 w 17"/>
                <a:gd name="T15" fmla="*/ 2 h 29"/>
                <a:gd name="T16" fmla="*/ 17 w 17"/>
                <a:gd name="T17" fmla="*/ 0 h 29"/>
                <a:gd name="T18" fmla="*/ 17 w 17"/>
                <a:gd name="T19" fmla="*/ 0 h 29"/>
                <a:gd name="T20" fmla="*/ 17 w 17"/>
                <a:gd name="T21" fmla="*/ 2 h 29"/>
                <a:gd name="T22" fmla="*/ 17 w 17"/>
                <a:gd name="T23" fmla="*/ 2 h 29"/>
                <a:gd name="T24" fmla="*/ 16 w 17"/>
                <a:gd name="T25" fmla="*/ 6 h 29"/>
                <a:gd name="T26" fmla="*/ 14 w 17"/>
                <a:gd name="T27" fmla="*/ 9 h 29"/>
                <a:gd name="T28" fmla="*/ 13 w 17"/>
                <a:gd name="T29" fmla="*/ 16 h 29"/>
                <a:gd name="T30" fmla="*/ 13 w 17"/>
                <a:gd name="T31" fmla="*/ 16 h 29"/>
                <a:gd name="T32" fmla="*/ 7 w 17"/>
                <a:gd name="T33" fmla="*/ 23 h 29"/>
                <a:gd name="T34" fmla="*/ 4 w 17"/>
                <a:gd name="T35" fmla="*/ 28 h 29"/>
                <a:gd name="T36" fmla="*/ 3 w 17"/>
                <a:gd name="T37" fmla="*/ 29 h 29"/>
                <a:gd name="T38" fmla="*/ 1 w 17"/>
                <a:gd name="T39"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 h="29">
                  <a:moveTo>
                    <a:pt x="1" y="28"/>
                  </a:moveTo>
                  <a:lnTo>
                    <a:pt x="1" y="28"/>
                  </a:lnTo>
                  <a:lnTo>
                    <a:pt x="0" y="23"/>
                  </a:lnTo>
                  <a:lnTo>
                    <a:pt x="0" y="18"/>
                  </a:lnTo>
                  <a:lnTo>
                    <a:pt x="1" y="12"/>
                  </a:lnTo>
                  <a:lnTo>
                    <a:pt x="4" y="7"/>
                  </a:lnTo>
                  <a:lnTo>
                    <a:pt x="4" y="7"/>
                  </a:lnTo>
                  <a:lnTo>
                    <a:pt x="14" y="2"/>
                  </a:lnTo>
                  <a:lnTo>
                    <a:pt x="17" y="0"/>
                  </a:lnTo>
                  <a:lnTo>
                    <a:pt x="17" y="0"/>
                  </a:lnTo>
                  <a:lnTo>
                    <a:pt x="17" y="2"/>
                  </a:lnTo>
                  <a:lnTo>
                    <a:pt x="17" y="2"/>
                  </a:lnTo>
                  <a:lnTo>
                    <a:pt x="16" y="6"/>
                  </a:lnTo>
                  <a:lnTo>
                    <a:pt x="14" y="9"/>
                  </a:lnTo>
                  <a:lnTo>
                    <a:pt x="13" y="16"/>
                  </a:lnTo>
                  <a:lnTo>
                    <a:pt x="13" y="16"/>
                  </a:lnTo>
                  <a:lnTo>
                    <a:pt x="7" y="23"/>
                  </a:lnTo>
                  <a:lnTo>
                    <a:pt x="4" y="28"/>
                  </a:lnTo>
                  <a:lnTo>
                    <a:pt x="3" y="29"/>
                  </a:lnTo>
                  <a:lnTo>
                    <a:pt x="1"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15" name="Freeform 1069"/>
            <p:cNvSpPr>
              <a:spLocks/>
            </p:cNvSpPr>
            <p:nvPr/>
          </p:nvSpPr>
          <p:spPr bwMode="auto">
            <a:xfrm>
              <a:off x="4862513" y="2926192"/>
              <a:ext cx="31750" cy="23813"/>
            </a:xfrm>
            <a:custGeom>
              <a:avLst/>
              <a:gdLst>
                <a:gd name="T0" fmla="*/ 7 w 20"/>
                <a:gd name="T1" fmla="*/ 15 h 15"/>
                <a:gd name="T2" fmla="*/ 7 w 20"/>
                <a:gd name="T3" fmla="*/ 15 h 15"/>
                <a:gd name="T4" fmla="*/ 6 w 20"/>
                <a:gd name="T5" fmla="*/ 14 h 15"/>
                <a:gd name="T6" fmla="*/ 3 w 20"/>
                <a:gd name="T7" fmla="*/ 14 h 15"/>
                <a:gd name="T8" fmla="*/ 2 w 20"/>
                <a:gd name="T9" fmla="*/ 10 h 15"/>
                <a:gd name="T10" fmla="*/ 0 w 20"/>
                <a:gd name="T11" fmla="*/ 5 h 15"/>
                <a:gd name="T12" fmla="*/ 2 w 20"/>
                <a:gd name="T13" fmla="*/ 2 h 15"/>
                <a:gd name="T14" fmla="*/ 2 w 20"/>
                <a:gd name="T15" fmla="*/ 2 h 15"/>
                <a:gd name="T16" fmla="*/ 7 w 20"/>
                <a:gd name="T17" fmla="*/ 1 h 15"/>
                <a:gd name="T18" fmla="*/ 15 w 20"/>
                <a:gd name="T19" fmla="*/ 0 h 15"/>
                <a:gd name="T20" fmla="*/ 15 w 20"/>
                <a:gd name="T21" fmla="*/ 0 h 15"/>
                <a:gd name="T22" fmla="*/ 18 w 20"/>
                <a:gd name="T23" fmla="*/ 0 h 15"/>
                <a:gd name="T24" fmla="*/ 20 w 20"/>
                <a:gd name="T25" fmla="*/ 0 h 15"/>
                <a:gd name="T26" fmla="*/ 20 w 20"/>
                <a:gd name="T27" fmla="*/ 1 h 15"/>
                <a:gd name="T28" fmla="*/ 20 w 20"/>
                <a:gd name="T29" fmla="*/ 4 h 15"/>
                <a:gd name="T30" fmla="*/ 20 w 20"/>
                <a:gd name="T31" fmla="*/ 4 h 15"/>
                <a:gd name="T32" fmla="*/ 16 w 20"/>
                <a:gd name="T33" fmla="*/ 10 h 15"/>
                <a:gd name="T34" fmla="*/ 12 w 20"/>
                <a:gd name="T35" fmla="*/ 13 h 15"/>
                <a:gd name="T36" fmla="*/ 7 w 20"/>
                <a:gd name="T3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15">
                  <a:moveTo>
                    <a:pt x="7" y="15"/>
                  </a:moveTo>
                  <a:lnTo>
                    <a:pt x="7" y="15"/>
                  </a:lnTo>
                  <a:lnTo>
                    <a:pt x="6" y="14"/>
                  </a:lnTo>
                  <a:lnTo>
                    <a:pt x="3" y="14"/>
                  </a:lnTo>
                  <a:lnTo>
                    <a:pt x="2" y="10"/>
                  </a:lnTo>
                  <a:lnTo>
                    <a:pt x="0" y="5"/>
                  </a:lnTo>
                  <a:lnTo>
                    <a:pt x="2" y="2"/>
                  </a:lnTo>
                  <a:lnTo>
                    <a:pt x="2" y="2"/>
                  </a:lnTo>
                  <a:lnTo>
                    <a:pt x="7" y="1"/>
                  </a:lnTo>
                  <a:lnTo>
                    <a:pt x="15" y="0"/>
                  </a:lnTo>
                  <a:lnTo>
                    <a:pt x="15" y="0"/>
                  </a:lnTo>
                  <a:lnTo>
                    <a:pt x="18" y="0"/>
                  </a:lnTo>
                  <a:lnTo>
                    <a:pt x="20" y="0"/>
                  </a:lnTo>
                  <a:lnTo>
                    <a:pt x="20" y="1"/>
                  </a:lnTo>
                  <a:lnTo>
                    <a:pt x="20" y="4"/>
                  </a:lnTo>
                  <a:lnTo>
                    <a:pt x="20" y="4"/>
                  </a:lnTo>
                  <a:lnTo>
                    <a:pt x="16" y="10"/>
                  </a:lnTo>
                  <a:lnTo>
                    <a:pt x="12" y="13"/>
                  </a:lnTo>
                  <a:lnTo>
                    <a:pt x="7" y="15"/>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16" name="Freeform 1070"/>
            <p:cNvSpPr>
              <a:spLocks/>
            </p:cNvSpPr>
            <p:nvPr/>
          </p:nvSpPr>
          <p:spPr bwMode="auto">
            <a:xfrm>
              <a:off x="4862513" y="2926192"/>
              <a:ext cx="31750" cy="23813"/>
            </a:xfrm>
            <a:custGeom>
              <a:avLst/>
              <a:gdLst>
                <a:gd name="T0" fmla="*/ 7 w 20"/>
                <a:gd name="T1" fmla="*/ 15 h 15"/>
                <a:gd name="T2" fmla="*/ 7 w 20"/>
                <a:gd name="T3" fmla="*/ 15 h 15"/>
                <a:gd name="T4" fmla="*/ 6 w 20"/>
                <a:gd name="T5" fmla="*/ 14 h 15"/>
                <a:gd name="T6" fmla="*/ 3 w 20"/>
                <a:gd name="T7" fmla="*/ 14 h 15"/>
                <a:gd name="T8" fmla="*/ 2 w 20"/>
                <a:gd name="T9" fmla="*/ 10 h 15"/>
                <a:gd name="T10" fmla="*/ 0 w 20"/>
                <a:gd name="T11" fmla="*/ 5 h 15"/>
                <a:gd name="T12" fmla="*/ 2 w 20"/>
                <a:gd name="T13" fmla="*/ 2 h 15"/>
                <a:gd name="T14" fmla="*/ 2 w 20"/>
                <a:gd name="T15" fmla="*/ 2 h 15"/>
                <a:gd name="T16" fmla="*/ 7 w 20"/>
                <a:gd name="T17" fmla="*/ 1 h 15"/>
                <a:gd name="T18" fmla="*/ 15 w 20"/>
                <a:gd name="T19" fmla="*/ 0 h 15"/>
                <a:gd name="T20" fmla="*/ 15 w 20"/>
                <a:gd name="T21" fmla="*/ 0 h 15"/>
                <a:gd name="T22" fmla="*/ 18 w 20"/>
                <a:gd name="T23" fmla="*/ 0 h 15"/>
                <a:gd name="T24" fmla="*/ 20 w 20"/>
                <a:gd name="T25" fmla="*/ 0 h 15"/>
                <a:gd name="T26" fmla="*/ 20 w 20"/>
                <a:gd name="T27" fmla="*/ 1 h 15"/>
                <a:gd name="T28" fmla="*/ 20 w 20"/>
                <a:gd name="T29" fmla="*/ 4 h 15"/>
                <a:gd name="T30" fmla="*/ 20 w 20"/>
                <a:gd name="T31" fmla="*/ 4 h 15"/>
                <a:gd name="T32" fmla="*/ 16 w 20"/>
                <a:gd name="T33" fmla="*/ 10 h 15"/>
                <a:gd name="T34" fmla="*/ 12 w 20"/>
                <a:gd name="T35" fmla="*/ 13 h 15"/>
                <a:gd name="T36" fmla="*/ 7 w 20"/>
                <a:gd name="T3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15">
                  <a:moveTo>
                    <a:pt x="7" y="15"/>
                  </a:moveTo>
                  <a:lnTo>
                    <a:pt x="7" y="15"/>
                  </a:lnTo>
                  <a:lnTo>
                    <a:pt x="6" y="14"/>
                  </a:lnTo>
                  <a:lnTo>
                    <a:pt x="3" y="14"/>
                  </a:lnTo>
                  <a:lnTo>
                    <a:pt x="2" y="10"/>
                  </a:lnTo>
                  <a:lnTo>
                    <a:pt x="0" y="5"/>
                  </a:lnTo>
                  <a:lnTo>
                    <a:pt x="2" y="2"/>
                  </a:lnTo>
                  <a:lnTo>
                    <a:pt x="2" y="2"/>
                  </a:lnTo>
                  <a:lnTo>
                    <a:pt x="7" y="1"/>
                  </a:lnTo>
                  <a:lnTo>
                    <a:pt x="15" y="0"/>
                  </a:lnTo>
                  <a:lnTo>
                    <a:pt x="15" y="0"/>
                  </a:lnTo>
                  <a:lnTo>
                    <a:pt x="18" y="0"/>
                  </a:lnTo>
                  <a:lnTo>
                    <a:pt x="20" y="0"/>
                  </a:lnTo>
                  <a:lnTo>
                    <a:pt x="20" y="1"/>
                  </a:lnTo>
                  <a:lnTo>
                    <a:pt x="20" y="4"/>
                  </a:lnTo>
                  <a:lnTo>
                    <a:pt x="20" y="4"/>
                  </a:lnTo>
                  <a:lnTo>
                    <a:pt x="16" y="10"/>
                  </a:lnTo>
                  <a:lnTo>
                    <a:pt x="12" y="13"/>
                  </a:lnTo>
                  <a:lnTo>
                    <a:pt x="7" y="15"/>
                  </a:lnTo>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17" name="Freeform 1071"/>
            <p:cNvSpPr>
              <a:spLocks/>
            </p:cNvSpPr>
            <p:nvPr/>
          </p:nvSpPr>
          <p:spPr bwMode="auto">
            <a:xfrm>
              <a:off x="4873626" y="2902379"/>
              <a:ext cx="12700" cy="11113"/>
            </a:xfrm>
            <a:custGeom>
              <a:avLst/>
              <a:gdLst>
                <a:gd name="T0" fmla="*/ 5 w 8"/>
                <a:gd name="T1" fmla="*/ 0 h 7"/>
                <a:gd name="T2" fmla="*/ 5 w 8"/>
                <a:gd name="T3" fmla="*/ 0 h 7"/>
                <a:gd name="T4" fmla="*/ 6 w 8"/>
                <a:gd name="T5" fmla="*/ 1 h 7"/>
                <a:gd name="T6" fmla="*/ 8 w 8"/>
                <a:gd name="T7" fmla="*/ 3 h 7"/>
                <a:gd name="T8" fmla="*/ 6 w 8"/>
                <a:gd name="T9" fmla="*/ 6 h 7"/>
                <a:gd name="T10" fmla="*/ 2 w 8"/>
                <a:gd name="T11" fmla="*/ 7 h 7"/>
                <a:gd name="T12" fmla="*/ 2 w 8"/>
                <a:gd name="T13" fmla="*/ 7 h 7"/>
                <a:gd name="T14" fmla="*/ 0 w 8"/>
                <a:gd name="T15" fmla="*/ 6 h 7"/>
                <a:gd name="T16" fmla="*/ 0 w 8"/>
                <a:gd name="T17" fmla="*/ 4 h 7"/>
                <a:gd name="T18" fmla="*/ 5 w 8"/>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7">
                  <a:moveTo>
                    <a:pt x="5" y="0"/>
                  </a:moveTo>
                  <a:lnTo>
                    <a:pt x="5" y="0"/>
                  </a:lnTo>
                  <a:lnTo>
                    <a:pt x="6" y="1"/>
                  </a:lnTo>
                  <a:lnTo>
                    <a:pt x="8" y="3"/>
                  </a:lnTo>
                  <a:lnTo>
                    <a:pt x="6" y="6"/>
                  </a:lnTo>
                  <a:lnTo>
                    <a:pt x="2" y="7"/>
                  </a:lnTo>
                  <a:lnTo>
                    <a:pt x="2" y="7"/>
                  </a:lnTo>
                  <a:lnTo>
                    <a:pt x="0" y="6"/>
                  </a:lnTo>
                  <a:lnTo>
                    <a:pt x="0" y="4"/>
                  </a:lnTo>
                  <a:lnTo>
                    <a:pt x="5" y="0"/>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18" name="Freeform 1072"/>
            <p:cNvSpPr>
              <a:spLocks/>
            </p:cNvSpPr>
            <p:nvPr/>
          </p:nvSpPr>
          <p:spPr bwMode="auto">
            <a:xfrm>
              <a:off x="4873626" y="2902379"/>
              <a:ext cx="12700" cy="11113"/>
            </a:xfrm>
            <a:custGeom>
              <a:avLst/>
              <a:gdLst>
                <a:gd name="T0" fmla="*/ 5 w 8"/>
                <a:gd name="T1" fmla="*/ 0 h 7"/>
                <a:gd name="T2" fmla="*/ 5 w 8"/>
                <a:gd name="T3" fmla="*/ 0 h 7"/>
                <a:gd name="T4" fmla="*/ 6 w 8"/>
                <a:gd name="T5" fmla="*/ 1 h 7"/>
                <a:gd name="T6" fmla="*/ 8 w 8"/>
                <a:gd name="T7" fmla="*/ 3 h 7"/>
                <a:gd name="T8" fmla="*/ 6 w 8"/>
                <a:gd name="T9" fmla="*/ 6 h 7"/>
                <a:gd name="T10" fmla="*/ 2 w 8"/>
                <a:gd name="T11" fmla="*/ 7 h 7"/>
                <a:gd name="T12" fmla="*/ 2 w 8"/>
                <a:gd name="T13" fmla="*/ 7 h 7"/>
                <a:gd name="T14" fmla="*/ 0 w 8"/>
                <a:gd name="T15" fmla="*/ 6 h 7"/>
                <a:gd name="T16" fmla="*/ 0 w 8"/>
                <a:gd name="T17" fmla="*/ 4 h 7"/>
                <a:gd name="T18" fmla="*/ 5 w 8"/>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7">
                  <a:moveTo>
                    <a:pt x="5" y="0"/>
                  </a:moveTo>
                  <a:lnTo>
                    <a:pt x="5" y="0"/>
                  </a:lnTo>
                  <a:lnTo>
                    <a:pt x="6" y="1"/>
                  </a:lnTo>
                  <a:lnTo>
                    <a:pt x="8" y="3"/>
                  </a:lnTo>
                  <a:lnTo>
                    <a:pt x="6" y="6"/>
                  </a:lnTo>
                  <a:lnTo>
                    <a:pt x="2" y="7"/>
                  </a:lnTo>
                  <a:lnTo>
                    <a:pt x="2" y="7"/>
                  </a:lnTo>
                  <a:lnTo>
                    <a:pt x="0" y="6"/>
                  </a:lnTo>
                  <a:lnTo>
                    <a:pt x="0" y="4"/>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19" name="Freeform 1073"/>
            <p:cNvSpPr>
              <a:spLocks/>
            </p:cNvSpPr>
            <p:nvPr/>
          </p:nvSpPr>
          <p:spPr bwMode="auto">
            <a:xfrm>
              <a:off x="5062538" y="4661329"/>
              <a:ext cx="144463" cy="139700"/>
            </a:xfrm>
            <a:custGeom>
              <a:avLst/>
              <a:gdLst>
                <a:gd name="T0" fmla="*/ 80 w 91"/>
                <a:gd name="T1" fmla="*/ 0 h 88"/>
                <a:gd name="T2" fmla="*/ 80 w 91"/>
                <a:gd name="T3" fmla="*/ 0 h 88"/>
                <a:gd name="T4" fmla="*/ 74 w 91"/>
                <a:gd name="T5" fmla="*/ 2 h 88"/>
                <a:gd name="T6" fmla="*/ 68 w 91"/>
                <a:gd name="T7" fmla="*/ 4 h 88"/>
                <a:gd name="T8" fmla="*/ 68 w 91"/>
                <a:gd name="T9" fmla="*/ 4 h 88"/>
                <a:gd name="T10" fmla="*/ 62 w 91"/>
                <a:gd name="T11" fmla="*/ 7 h 88"/>
                <a:gd name="T12" fmla="*/ 55 w 91"/>
                <a:gd name="T13" fmla="*/ 7 h 88"/>
                <a:gd name="T14" fmla="*/ 36 w 91"/>
                <a:gd name="T15" fmla="*/ 6 h 88"/>
                <a:gd name="T16" fmla="*/ 36 w 91"/>
                <a:gd name="T17" fmla="*/ 6 h 88"/>
                <a:gd name="T18" fmla="*/ 35 w 91"/>
                <a:gd name="T19" fmla="*/ 25 h 88"/>
                <a:gd name="T20" fmla="*/ 35 w 91"/>
                <a:gd name="T21" fmla="*/ 25 h 88"/>
                <a:gd name="T22" fmla="*/ 34 w 91"/>
                <a:gd name="T23" fmla="*/ 32 h 88"/>
                <a:gd name="T24" fmla="*/ 31 w 91"/>
                <a:gd name="T25" fmla="*/ 39 h 88"/>
                <a:gd name="T26" fmla="*/ 26 w 91"/>
                <a:gd name="T27" fmla="*/ 45 h 88"/>
                <a:gd name="T28" fmla="*/ 19 w 91"/>
                <a:gd name="T29" fmla="*/ 51 h 88"/>
                <a:gd name="T30" fmla="*/ 19 w 91"/>
                <a:gd name="T31" fmla="*/ 51 h 88"/>
                <a:gd name="T32" fmla="*/ 15 w 91"/>
                <a:gd name="T33" fmla="*/ 55 h 88"/>
                <a:gd name="T34" fmla="*/ 12 w 91"/>
                <a:gd name="T35" fmla="*/ 58 h 88"/>
                <a:gd name="T36" fmla="*/ 12 w 91"/>
                <a:gd name="T37" fmla="*/ 62 h 88"/>
                <a:gd name="T38" fmla="*/ 12 w 91"/>
                <a:gd name="T39" fmla="*/ 67 h 88"/>
                <a:gd name="T40" fmla="*/ 12 w 91"/>
                <a:gd name="T41" fmla="*/ 67 h 88"/>
                <a:gd name="T42" fmla="*/ 12 w 91"/>
                <a:gd name="T43" fmla="*/ 70 h 88"/>
                <a:gd name="T44" fmla="*/ 9 w 91"/>
                <a:gd name="T45" fmla="*/ 71 h 88"/>
                <a:gd name="T46" fmla="*/ 6 w 91"/>
                <a:gd name="T47" fmla="*/ 74 h 88"/>
                <a:gd name="T48" fmla="*/ 3 w 91"/>
                <a:gd name="T49" fmla="*/ 78 h 88"/>
                <a:gd name="T50" fmla="*/ 3 w 91"/>
                <a:gd name="T51" fmla="*/ 78 h 88"/>
                <a:gd name="T52" fmla="*/ 0 w 91"/>
                <a:gd name="T53" fmla="*/ 86 h 88"/>
                <a:gd name="T54" fmla="*/ 0 w 91"/>
                <a:gd name="T55" fmla="*/ 86 h 88"/>
                <a:gd name="T56" fmla="*/ 7 w 91"/>
                <a:gd name="T57" fmla="*/ 87 h 88"/>
                <a:gd name="T58" fmla="*/ 12 w 91"/>
                <a:gd name="T59" fmla="*/ 88 h 88"/>
                <a:gd name="T60" fmla="*/ 12 w 91"/>
                <a:gd name="T61" fmla="*/ 88 h 88"/>
                <a:gd name="T62" fmla="*/ 16 w 91"/>
                <a:gd name="T63" fmla="*/ 87 h 88"/>
                <a:gd name="T64" fmla="*/ 22 w 91"/>
                <a:gd name="T65" fmla="*/ 86 h 88"/>
                <a:gd name="T66" fmla="*/ 34 w 91"/>
                <a:gd name="T67" fmla="*/ 80 h 88"/>
                <a:gd name="T68" fmla="*/ 34 w 91"/>
                <a:gd name="T69" fmla="*/ 80 h 88"/>
                <a:gd name="T70" fmla="*/ 38 w 91"/>
                <a:gd name="T71" fmla="*/ 78 h 88"/>
                <a:gd name="T72" fmla="*/ 41 w 91"/>
                <a:gd name="T73" fmla="*/ 77 h 88"/>
                <a:gd name="T74" fmla="*/ 48 w 91"/>
                <a:gd name="T75" fmla="*/ 77 h 88"/>
                <a:gd name="T76" fmla="*/ 48 w 91"/>
                <a:gd name="T77" fmla="*/ 77 h 88"/>
                <a:gd name="T78" fmla="*/ 49 w 91"/>
                <a:gd name="T79" fmla="*/ 73 h 88"/>
                <a:gd name="T80" fmla="*/ 52 w 91"/>
                <a:gd name="T81" fmla="*/ 68 h 88"/>
                <a:gd name="T82" fmla="*/ 55 w 91"/>
                <a:gd name="T83" fmla="*/ 65 h 88"/>
                <a:gd name="T84" fmla="*/ 60 w 91"/>
                <a:gd name="T85" fmla="*/ 64 h 88"/>
                <a:gd name="T86" fmla="*/ 60 w 91"/>
                <a:gd name="T87" fmla="*/ 64 h 88"/>
                <a:gd name="T88" fmla="*/ 65 w 91"/>
                <a:gd name="T89" fmla="*/ 62 h 88"/>
                <a:gd name="T90" fmla="*/ 70 w 91"/>
                <a:gd name="T91" fmla="*/ 59 h 88"/>
                <a:gd name="T92" fmla="*/ 74 w 91"/>
                <a:gd name="T93" fmla="*/ 58 h 88"/>
                <a:gd name="T94" fmla="*/ 77 w 91"/>
                <a:gd name="T95" fmla="*/ 59 h 88"/>
                <a:gd name="T96" fmla="*/ 78 w 91"/>
                <a:gd name="T97" fmla="*/ 59 h 88"/>
                <a:gd name="T98" fmla="*/ 78 w 91"/>
                <a:gd name="T99" fmla="*/ 59 h 88"/>
                <a:gd name="T100" fmla="*/ 81 w 91"/>
                <a:gd name="T101" fmla="*/ 62 h 88"/>
                <a:gd name="T102" fmla="*/ 81 w 91"/>
                <a:gd name="T103" fmla="*/ 62 h 88"/>
                <a:gd name="T104" fmla="*/ 87 w 91"/>
                <a:gd name="T105" fmla="*/ 48 h 88"/>
                <a:gd name="T106" fmla="*/ 91 w 91"/>
                <a:gd name="T107" fmla="*/ 33 h 88"/>
                <a:gd name="T108" fmla="*/ 91 w 91"/>
                <a:gd name="T109" fmla="*/ 33 h 88"/>
                <a:gd name="T110" fmla="*/ 91 w 91"/>
                <a:gd name="T111" fmla="*/ 26 h 88"/>
                <a:gd name="T112" fmla="*/ 89 w 91"/>
                <a:gd name="T113" fmla="*/ 17 h 88"/>
                <a:gd name="T114" fmla="*/ 86 w 91"/>
                <a:gd name="T115" fmla="*/ 7 h 88"/>
                <a:gd name="T116" fmla="*/ 80 w 91"/>
                <a:gd name="T11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 h="88">
                  <a:moveTo>
                    <a:pt x="80" y="0"/>
                  </a:moveTo>
                  <a:lnTo>
                    <a:pt x="80" y="0"/>
                  </a:lnTo>
                  <a:lnTo>
                    <a:pt x="74" y="2"/>
                  </a:lnTo>
                  <a:lnTo>
                    <a:pt x="68" y="4"/>
                  </a:lnTo>
                  <a:lnTo>
                    <a:pt x="68" y="4"/>
                  </a:lnTo>
                  <a:lnTo>
                    <a:pt x="62" y="7"/>
                  </a:lnTo>
                  <a:lnTo>
                    <a:pt x="55" y="7"/>
                  </a:lnTo>
                  <a:lnTo>
                    <a:pt x="36" y="6"/>
                  </a:lnTo>
                  <a:lnTo>
                    <a:pt x="36" y="6"/>
                  </a:lnTo>
                  <a:lnTo>
                    <a:pt x="35" y="25"/>
                  </a:lnTo>
                  <a:lnTo>
                    <a:pt x="35" y="25"/>
                  </a:lnTo>
                  <a:lnTo>
                    <a:pt x="34" y="32"/>
                  </a:lnTo>
                  <a:lnTo>
                    <a:pt x="31" y="39"/>
                  </a:lnTo>
                  <a:lnTo>
                    <a:pt x="26" y="45"/>
                  </a:lnTo>
                  <a:lnTo>
                    <a:pt x="19" y="51"/>
                  </a:lnTo>
                  <a:lnTo>
                    <a:pt x="19" y="51"/>
                  </a:lnTo>
                  <a:lnTo>
                    <a:pt x="15" y="55"/>
                  </a:lnTo>
                  <a:lnTo>
                    <a:pt x="12" y="58"/>
                  </a:lnTo>
                  <a:lnTo>
                    <a:pt x="12" y="62"/>
                  </a:lnTo>
                  <a:lnTo>
                    <a:pt x="12" y="67"/>
                  </a:lnTo>
                  <a:lnTo>
                    <a:pt x="12" y="67"/>
                  </a:lnTo>
                  <a:lnTo>
                    <a:pt x="12" y="70"/>
                  </a:lnTo>
                  <a:lnTo>
                    <a:pt x="9" y="71"/>
                  </a:lnTo>
                  <a:lnTo>
                    <a:pt x="6" y="74"/>
                  </a:lnTo>
                  <a:lnTo>
                    <a:pt x="3" y="78"/>
                  </a:lnTo>
                  <a:lnTo>
                    <a:pt x="3" y="78"/>
                  </a:lnTo>
                  <a:lnTo>
                    <a:pt x="0" y="86"/>
                  </a:lnTo>
                  <a:lnTo>
                    <a:pt x="0" y="86"/>
                  </a:lnTo>
                  <a:lnTo>
                    <a:pt x="7" y="87"/>
                  </a:lnTo>
                  <a:lnTo>
                    <a:pt x="12" y="88"/>
                  </a:lnTo>
                  <a:lnTo>
                    <a:pt x="12" y="88"/>
                  </a:lnTo>
                  <a:lnTo>
                    <a:pt x="16" y="87"/>
                  </a:lnTo>
                  <a:lnTo>
                    <a:pt x="22" y="86"/>
                  </a:lnTo>
                  <a:lnTo>
                    <a:pt x="34" y="80"/>
                  </a:lnTo>
                  <a:lnTo>
                    <a:pt x="34" y="80"/>
                  </a:lnTo>
                  <a:lnTo>
                    <a:pt x="38" y="78"/>
                  </a:lnTo>
                  <a:lnTo>
                    <a:pt x="41" y="77"/>
                  </a:lnTo>
                  <a:lnTo>
                    <a:pt x="48" y="77"/>
                  </a:lnTo>
                  <a:lnTo>
                    <a:pt x="48" y="77"/>
                  </a:lnTo>
                  <a:lnTo>
                    <a:pt x="49" y="73"/>
                  </a:lnTo>
                  <a:lnTo>
                    <a:pt x="52" y="68"/>
                  </a:lnTo>
                  <a:lnTo>
                    <a:pt x="55" y="65"/>
                  </a:lnTo>
                  <a:lnTo>
                    <a:pt x="60" y="64"/>
                  </a:lnTo>
                  <a:lnTo>
                    <a:pt x="60" y="64"/>
                  </a:lnTo>
                  <a:lnTo>
                    <a:pt x="65" y="62"/>
                  </a:lnTo>
                  <a:lnTo>
                    <a:pt x="70" y="59"/>
                  </a:lnTo>
                  <a:lnTo>
                    <a:pt x="74" y="58"/>
                  </a:lnTo>
                  <a:lnTo>
                    <a:pt x="77" y="59"/>
                  </a:lnTo>
                  <a:lnTo>
                    <a:pt x="78" y="59"/>
                  </a:lnTo>
                  <a:lnTo>
                    <a:pt x="78" y="59"/>
                  </a:lnTo>
                  <a:lnTo>
                    <a:pt x="81" y="62"/>
                  </a:lnTo>
                  <a:lnTo>
                    <a:pt x="81" y="62"/>
                  </a:lnTo>
                  <a:lnTo>
                    <a:pt x="87" y="48"/>
                  </a:lnTo>
                  <a:lnTo>
                    <a:pt x="91" y="33"/>
                  </a:lnTo>
                  <a:lnTo>
                    <a:pt x="91" y="33"/>
                  </a:lnTo>
                  <a:lnTo>
                    <a:pt x="91" y="26"/>
                  </a:lnTo>
                  <a:lnTo>
                    <a:pt x="89" y="17"/>
                  </a:lnTo>
                  <a:lnTo>
                    <a:pt x="86" y="7"/>
                  </a:lnTo>
                  <a:lnTo>
                    <a:pt x="80" y="0"/>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20" name="Freeform 1074"/>
            <p:cNvSpPr>
              <a:spLocks/>
            </p:cNvSpPr>
            <p:nvPr/>
          </p:nvSpPr>
          <p:spPr bwMode="auto">
            <a:xfrm>
              <a:off x="5062538" y="4661329"/>
              <a:ext cx="144463" cy="139700"/>
            </a:xfrm>
            <a:custGeom>
              <a:avLst/>
              <a:gdLst>
                <a:gd name="T0" fmla="*/ 80 w 91"/>
                <a:gd name="T1" fmla="*/ 0 h 88"/>
                <a:gd name="T2" fmla="*/ 80 w 91"/>
                <a:gd name="T3" fmla="*/ 0 h 88"/>
                <a:gd name="T4" fmla="*/ 74 w 91"/>
                <a:gd name="T5" fmla="*/ 2 h 88"/>
                <a:gd name="T6" fmla="*/ 68 w 91"/>
                <a:gd name="T7" fmla="*/ 4 h 88"/>
                <a:gd name="T8" fmla="*/ 68 w 91"/>
                <a:gd name="T9" fmla="*/ 4 h 88"/>
                <a:gd name="T10" fmla="*/ 62 w 91"/>
                <a:gd name="T11" fmla="*/ 7 h 88"/>
                <a:gd name="T12" fmla="*/ 55 w 91"/>
                <a:gd name="T13" fmla="*/ 7 h 88"/>
                <a:gd name="T14" fmla="*/ 36 w 91"/>
                <a:gd name="T15" fmla="*/ 6 h 88"/>
                <a:gd name="T16" fmla="*/ 36 w 91"/>
                <a:gd name="T17" fmla="*/ 6 h 88"/>
                <a:gd name="T18" fmla="*/ 35 w 91"/>
                <a:gd name="T19" fmla="*/ 25 h 88"/>
                <a:gd name="T20" fmla="*/ 35 w 91"/>
                <a:gd name="T21" fmla="*/ 25 h 88"/>
                <a:gd name="T22" fmla="*/ 34 w 91"/>
                <a:gd name="T23" fmla="*/ 32 h 88"/>
                <a:gd name="T24" fmla="*/ 31 w 91"/>
                <a:gd name="T25" fmla="*/ 39 h 88"/>
                <a:gd name="T26" fmla="*/ 26 w 91"/>
                <a:gd name="T27" fmla="*/ 45 h 88"/>
                <a:gd name="T28" fmla="*/ 19 w 91"/>
                <a:gd name="T29" fmla="*/ 51 h 88"/>
                <a:gd name="T30" fmla="*/ 19 w 91"/>
                <a:gd name="T31" fmla="*/ 51 h 88"/>
                <a:gd name="T32" fmla="*/ 15 w 91"/>
                <a:gd name="T33" fmla="*/ 55 h 88"/>
                <a:gd name="T34" fmla="*/ 12 w 91"/>
                <a:gd name="T35" fmla="*/ 58 h 88"/>
                <a:gd name="T36" fmla="*/ 12 w 91"/>
                <a:gd name="T37" fmla="*/ 62 h 88"/>
                <a:gd name="T38" fmla="*/ 12 w 91"/>
                <a:gd name="T39" fmla="*/ 67 h 88"/>
                <a:gd name="T40" fmla="*/ 12 w 91"/>
                <a:gd name="T41" fmla="*/ 67 h 88"/>
                <a:gd name="T42" fmla="*/ 12 w 91"/>
                <a:gd name="T43" fmla="*/ 70 h 88"/>
                <a:gd name="T44" fmla="*/ 9 w 91"/>
                <a:gd name="T45" fmla="*/ 71 h 88"/>
                <a:gd name="T46" fmla="*/ 6 w 91"/>
                <a:gd name="T47" fmla="*/ 74 h 88"/>
                <a:gd name="T48" fmla="*/ 3 w 91"/>
                <a:gd name="T49" fmla="*/ 78 h 88"/>
                <a:gd name="T50" fmla="*/ 3 w 91"/>
                <a:gd name="T51" fmla="*/ 78 h 88"/>
                <a:gd name="T52" fmla="*/ 0 w 91"/>
                <a:gd name="T53" fmla="*/ 86 h 88"/>
                <a:gd name="T54" fmla="*/ 0 w 91"/>
                <a:gd name="T55" fmla="*/ 86 h 88"/>
                <a:gd name="T56" fmla="*/ 7 w 91"/>
                <a:gd name="T57" fmla="*/ 87 h 88"/>
                <a:gd name="T58" fmla="*/ 12 w 91"/>
                <a:gd name="T59" fmla="*/ 88 h 88"/>
                <a:gd name="T60" fmla="*/ 12 w 91"/>
                <a:gd name="T61" fmla="*/ 88 h 88"/>
                <a:gd name="T62" fmla="*/ 16 w 91"/>
                <a:gd name="T63" fmla="*/ 87 h 88"/>
                <a:gd name="T64" fmla="*/ 22 w 91"/>
                <a:gd name="T65" fmla="*/ 86 h 88"/>
                <a:gd name="T66" fmla="*/ 34 w 91"/>
                <a:gd name="T67" fmla="*/ 80 h 88"/>
                <a:gd name="T68" fmla="*/ 34 w 91"/>
                <a:gd name="T69" fmla="*/ 80 h 88"/>
                <a:gd name="T70" fmla="*/ 38 w 91"/>
                <a:gd name="T71" fmla="*/ 78 h 88"/>
                <a:gd name="T72" fmla="*/ 41 w 91"/>
                <a:gd name="T73" fmla="*/ 77 h 88"/>
                <a:gd name="T74" fmla="*/ 48 w 91"/>
                <a:gd name="T75" fmla="*/ 77 h 88"/>
                <a:gd name="T76" fmla="*/ 48 w 91"/>
                <a:gd name="T77" fmla="*/ 77 h 88"/>
                <a:gd name="T78" fmla="*/ 49 w 91"/>
                <a:gd name="T79" fmla="*/ 73 h 88"/>
                <a:gd name="T80" fmla="*/ 52 w 91"/>
                <a:gd name="T81" fmla="*/ 68 h 88"/>
                <a:gd name="T82" fmla="*/ 55 w 91"/>
                <a:gd name="T83" fmla="*/ 65 h 88"/>
                <a:gd name="T84" fmla="*/ 60 w 91"/>
                <a:gd name="T85" fmla="*/ 64 h 88"/>
                <a:gd name="T86" fmla="*/ 60 w 91"/>
                <a:gd name="T87" fmla="*/ 64 h 88"/>
                <a:gd name="T88" fmla="*/ 65 w 91"/>
                <a:gd name="T89" fmla="*/ 62 h 88"/>
                <a:gd name="T90" fmla="*/ 70 w 91"/>
                <a:gd name="T91" fmla="*/ 59 h 88"/>
                <a:gd name="T92" fmla="*/ 74 w 91"/>
                <a:gd name="T93" fmla="*/ 58 h 88"/>
                <a:gd name="T94" fmla="*/ 77 w 91"/>
                <a:gd name="T95" fmla="*/ 59 h 88"/>
                <a:gd name="T96" fmla="*/ 78 w 91"/>
                <a:gd name="T97" fmla="*/ 59 h 88"/>
                <a:gd name="T98" fmla="*/ 78 w 91"/>
                <a:gd name="T99" fmla="*/ 59 h 88"/>
                <a:gd name="T100" fmla="*/ 81 w 91"/>
                <a:gd name="T101" fmla="*/ 62 h 88"/>
                <a:gd name="T102" fmla="*/ 81 w 91"/>
                <a:gd name="T103" fmla="*/ 62 h 88"/>
                <a:gd name="T104" fmla="*/ 87 w 91"/>
                <a:gd name="T105" fmla="*/ 48 h 88"/>
                <a:gd name="T106" fmla="*/ 91 w 91"/>
                <a:gd name="T107" fmla="*/ 33 h 88"/>
                <a:gd name="T108" fmla="*/ 91 w 91"/>
                <a:gd name="T109" fmla="*/ 33 h 88"/>
                <a:gd name="T110" fmla="*/ 91 w 91"/>
                <a:gd name="T111" fmla="*/ 26 h 88"/>
                <a:gd name="T112" fmla="*/ 89 w 91"/>
                <a:gd name="T113" fmla="*/ 17 h 88"/>
                <a:gd name="T114" fmla="*/ 86 w 91"/>
                <a:gd name="T115" fmla="*/ 7 h 88"/>
                <a:gd name="T116" fmla="*/ 80 w 91"/>
                <a:gd name="T11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 h="88">
                  <a:moveTo>
                    <a:pt x="80" y="0"/>
                  </a:moveTo>
                  <a:lnTo>
                    <a:pt x="80" y="0"/>
                  </a:lnTo>
                  <a:lnTo>
                    <a:pt x="74" y="2"/>
                  </a:lnTo>
                  <a:lnTo>
                    <a:pt x="68" y="4"/>
                  </a:lnTo>
                  <a:lnTo>
                    <a:pt x="68" y="4"/>
                  </a:lnTo>
                  <a:lnTo>
                    <a:pt x="62" y="7"/>
                  </a:lnTo>
                  <a:lnTo>
                    <a:pt x="55" y="7"/>
                  </a:lnTo>
                  <a:lnTo>
                    <a:pt x="36" y="6"/>
                  </a:lnTo>
                  <a:lnTo>
                    <a:pt x="36" y="6"/>
                  </a:lnTo>
                  <a:lnTo>
                    <a:pt x="35" y="25"/>
                  </a:lnTo>
                  <a:lnTo>
                    <a:pt x="35" y="25"/>
                  </a:lnTo>
                  <a:lnTo>
                    <a:pt x="34" y="32"/>
                  </a:lnTo>
                  <a:lnTo>
                    <a:pt x="31" y="39"/>
                  </a:lnTo>
                  <a:lnTo>
                    <a:pt x="26" y="45"/>
                  </a:lnTo>
                  <a:lnTo>
                    <a:pt x="19" y="51"/>
                  </a:lnTo>
                  <a:lnTo>
                    <a:pt x="19" y="51"/>
                  </a:lnTo>
                  <a:lnTo>
                    <a:pt x="15" y="55"/>
                  </a:lnTo>
                  <a:lnTo>
                    <a:pt x="12" y="58"/>
                  </a:lnTo>
                  <a:lnTo>
                    <a:pt x="12" y="62"/>
                  </a:lnTo>
                  <a:lnTo>
                    <a:pt x="12" y="67"/>
                  </a:lnTo>
                  <a:lnTo>
                    <a:pt x="12" y="67"/>
                  </a:lnTo>
                  <a:lnTo>
                    <a:pt x="12" y="70"/>
                  </a:lnTo>
                  <a:lnTo>
                    <a:pt x="9" y="71"/>
                  </a:lnTo>
                  <a:lnTo>
                    <a:pt x="6" y="74"/>
                  </a:lnTo>
                  <a:lnTo>
                    <a:pt x="3" y="78"/>
                  </a:lnTo>
                  <a:lnTo>
                    <a:pt x="3" y="78"/>
                  </a:lnTo>
                  <a:lnTo>
                    <a:pt x="0" y="86"/>
                  </a:lnTo>
                  <a:lnTo>
                    <a:pt x="0" y="86"/>
                  </a:lnTo>
                  <a:lnTo>
                    <a:pt x="7" y="87"/>
                  </a:lnTo>
                  <a:lnTo>
                    <a:pt x="12" y="88"/>
                  </a:lnTo>
                  <a:lnTo>
                    <a:pt x="12" y="88"/>
                  </a:lnTo>
                  <a:lnTo>
                    <a:pt x="16" y="87"/>
                  </a:lnTo>
                  <a:lnTo>
                    <a:pt x="22" y="86"/>
                  </a:lnTo>
                  <a:lnTo>
                    <a:pt x="34" y="80"/>
                  </a:lnTo>
                  <a:lnTo>
                    <a:pt x="34" y="80"/>
                  </a:lnTo>
                  <a:lnTo>
                    <a:pt x="38" y="78"/>
                  </a:lnTo>
                  <a:lnTo>
                    <a:pt x="41" y="77"/>
                  </a:lnTo>
                  <a:lnTo>
                    <a:pt x="48" y="77"/>
                  </a:lnTo>
                  <a:lnTo>
                    <a:pt x="48" y="77"/>
                  </a:lnTo>
                  <a:lnTo>
                    <a:pt x="49" y="73"/>
                  </a:lnTo>
                  <a:lnTo>
                    <a:pt x="52" y="68"/>
                  </a:lnTo>
                  <a:lnTo>
                    <a:pt x="55" y="65"/>
                  </a:lnTo>
                  <a:lnTo>
                    <a:pt x="60" y="64"/>
                  </a:lnTo>
                  <a:lnTo>
                    <a:pt x="60" y="64"/>
                  </a:lnTo>
                  <a:lnTo>
                    <a:pt x="65" y="62"/>
                  </a:lnTo>
                  <a:lnTo>
                    <a:pt x="70" y="59"/>
                  </a:lnTo>
                  <a:lnTo>
                    <a:pt x="74" y="58"/>
                  </a:lnTo>
                  <a:lnTo>
                    <a:pt x="77" y="59"/>
                  </a:lnTo>
                  <a:lnTo>
                    <a:pt x="78" y="59"/>
                  </a:lnTo>
                  <a:lnTo>
                    <a:pt x="78" y="59"/>
                  </a:lnTo>
                  <a:lnTo>
                    <a:pt x="81" y="62"/>
                  </a:lnTo>
                  <a:lnTo>
                    <a:pt x="81" y="62"/>
                  </a:lnTo>
                  <a:lnTo>
                    <a:pt x="87" y="48"/>
                  </a:lnTo>
                  <a:lnTo>
                    <a:pt x="91" y="33"/>
                  </a:lnTo>
                  <a:lnTo>
                    <a:pt x="91" y="33"/>
                  </a:lnTo>
                  <a:lnTo>
                    <a:pt x="91" y="26"/>
                  </a:lnTo>
                  <a:lnTo>
                    <a:pt x="89" y="17"/>
                  </a:lnTo>
                  <a:lnTo>
                    <a:pt x="86" y="7"/>
                  </a:lnTo>
                  <a:lnTo>
                    <a:pt x="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21" name="Freeform 1075"/>
            <p:cNvSpPr>
              <a:spLocks/>
            </p:cNvSpPr>
            <p:nvPr/>
          </p:nvSpPr>
          <p:spPr bwMode="auto">
            <a:xfrm>
              <a:off x="5189538" y="4650217"/>
              <a:ext cx="200025" cy="227013"/>
            </a:xfrm>
            <a:custGeom>
              <a:avLst/>
              <a:gdLst>
                <a:gd name="T0" fmla="*/ 126 w 126"/>
                <a:gd name="T1" fmla="*/ 6 h 143"/>
                <a:gd name="T2" fmla="*/ 114 w 126"/>
                <a:gd name="T3" fmla="*/ 4 h 143"/>
                <a:gd name="T4" fmla="*/ 106 w 126"/>
                <a:gd name="T5" fmla="*/ 3 h 143"/>
                <a:gd name="T6" fmla="*/ 100 w 126"/>
                <a:gd name="T7" fmla="*/ 4 h 143"/>
                <a:gd name="T8" fmla="*/ 94 w 126"/>
                <a:gd name="T9" fmla="*/ 10 h 143"/>
                <a:gd name="T10" fmla="*/ 85 w 126"/>
                <a:gd name="T11" fmla="*/ 13 h 143"/>
                <a:gd name="T12" fmla="*/ 72 w 126"/>
                <a:gd name="T13" fmla="*/ 13 h 143"/>
                <a:gd name="T14" fmla="*/ 45 w 126"/>
                <a:gd name="T15" fmla="*/ 1 h 143"/>
                <a:gd name="T16" fmla="*/ 38 w 126"/>
                <a:gd name="T17" fmla="*/ 0 h 143"/>
                <a:gd name="T18" fmla="*/ 20 w 126"/>
                <a:gd name="T19" fmla="*/ 1 h 143"/>
                <a:gd name="T20" fmla="*/ 11 w 126"/>
                <a:gd name="T21" fmla="*/ 3 h 143"/>
                <a:gd name="T22" fmla="*/ 0 w 126"/>
                <a:gd name="T23" fmla="*/ 7 h 143"/>
                <a:gd name="T24" fmla="*/ 9 w 126"/>
                <a:gd name="T25" fmla="*/ 24 h 143"/>
                <a:gd name="T26" fmla="*/ 11 w 126"/>
                <a:gd name="T27" fmla="*/ 40 h 143"/>
                <a:gd name="T28" fmla="*/ 7 w 126"/>
                <a:gd name="T29" fmla="*/ 55 h 143"/>
                <a:gd name="T30" fmla="*/ 1 w 126"/>
                <a:gd name="T31" fmla="*/ 69 h 143"/>
                <a:gd name="T32" fmla="*/ 4 w 126"/>
                <a:gd name="T33" fmla="*/ 74 h 143"/>
                <a:gd name="T34" fmla="*/ 9 w 126"/>
                <a:gd name="T35" fmla="*/ 75 h 143"/>
                <a:gd name="T36" fmla="*/ 16 w 126"/>
                <a:gd name="T37" fmla="*/ 77 h 143"/>
                <a:gd name="T38" fmla="*/ 10 w 126"/>
                <a:gd name="T39" fmla="*/ 82 h 143"/>
                <a:gd name="T40" fmla="*/ 7 w 126"/>
                <a:gd name="T41" fmla="*/ 84 h 143"/>
                <a:gd name="T42" fmla="*/ 4 w 126"/>
                <a:gd name="T43" fmla="*/ 88 h 143"/>
                <a:gd name="T44" fmla="*/ 6 w 126"/>
                <a:gd name="T45" fmla="*/ 91 h 143"/>
                <a:gd name="T46" fmla="*/ 52 w 126"/>
                <a:gd name="T47" fmla="*/ 116 h 143"/>
                <a:gd name="T48" fmla="*/ 61 w 126"/>
                <a:gd name="T49" fmla="*/ 122 h 143"/>
                <a:gd name="T50" fmla="*/ 65 w 126"/>
                <a:gd name="T51" fmla="*/ 126 h 143"/>
                <a:gd name="T52" fmla="*/ 88 w 126"/>
                <a:gd name="T53" fmla="*/ 143 h 143"/>
                <a:gd name="T54" fmla="*/ 94 w 126"/>
                <a:gd name="T55" fmla="*/ 133 h 143"/>
                <a:gd name="T56" fmla="*/ 103 w 126"/>
                <a:gd name="T57" fmla="*/ 119 h 143"/>
                <a:gd name="T58" fmla="*/ 110 w 126"/>
                <a:gd name="T59" fmla="*/ 106 h 143"/>
                <a:gd name="T60" fmla="*/ 114 w 126"/>
                <a:gd name="T61" fmla="*/ 103 h 143"/>
                <a:gd name="T62" fmla="*/ 113 w 126"/>
                <a:gd name="T63" fmla="*/ 9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6" h="143">
                  <a:moveTo>
                    <a:pt x="113" y="24"/>
                  </a:moveTo>
                  <a:lnTo>
                    <a:pt x="126" y="6"/>
                  </a:lnTo>
                  <a:lnTo>
                    <a:pt x="126" y="6"/>
                  </a:lnTo>
                  <a:lnTo>
                    <a:pt x="114" y="4"/>
                  </a:lnTo>
                  <a:lnTo>
                    <a:pt x="106" y="3"/>
                  </a:lnTo>
                  <a:lnTo>
                    <a:pt x="106" y="3"/>
                  </a:lnTo>
                  <a:lnTo>
                    <a:pt x="103" y="4"/>
                  </a:lnTo>
                  <a:lnTo>
                    <a:pt x="100" y="4"/>
                  </a:lnTo>
                  <a:lnTo>
                    <a:pt x="98" y="7"/>
                  </a:lnTo>
                  <a:lnTo>
                    <a:pt x="94" y="10"/>
                  </a:lnTo>
                  <a:lnTo>
                    <a:pt x="91" y="11"/>
                  </a:lnTo>
                  <a:lnTo>
                    <a:pt x="85" y="13"/>
                  </a:lnTo>
                  <a:lnTo>
                    <a:pt x="85" y="13"/>
                  </a:lnTo>
                  <a:lnTo>
                    <a:pt x="72" y="13"/>
                  </a:lnTo>
                  <a:lnTo>
                    <a:pt x="62" y="10"/>
                  </a:lnTo>
                  <a:lnTo>
                    <a:pt x="45" y="1"/>
                  </a:lnTo>
                  <a:lnTo>
                    <a:pt x="45" y="1"/>
                  </a:lnTo>
                  <a:lnTo>
                    <a:pt x="38" y="0"/>
                  </a:lnTo>
                  <a:lnTo>
                    <a:pt x="32" y="0"/>
                  </a:lnTo>
                  <a:lnTo>
                    <a:pt x="20" y="1"/>
                  </a:lnTo>
                  <a:lnTo>
                    <a:pt x="20" y="1"/>
                  </a:lnTo>
                  <a:lnTo>
                    <a:pt x="11" y="3"/>
                  </a:lnTo>
                  <a:lnTo>
                    <a:pt x="0" y="7"/>
                  </a:lnTo>
                  <a:lnTo>
                    <a:pt x="0" y="7"/>
                  </a:lnTo>
                  <a:lnTo>
                    <a:pt x="6" y="14"/>
                  </a:lnTo>
                  <a:lnTo>
                    <a:pt x="9" y="24"/>
                  </a:lnTo>
                  <a:lnTo>
                    <a:pt x="11" y="33"/>
                  </a:lnTo>
                  <a:lnTo>
                    <a:pt x="11" y="40"/>
                  </a:lnTo>
                  <a:lnTo>
                    <a:pt x="11" y="40"/>
                  </a:lnTo>
                  <a:lnTo>
                    <a:pt x="7" y="55"/>
                  </a:lnTo>
                  <a:lnTo>
                    <a:pt x="1" y="69"/>
                  </a:lnTo>
                  <a:lnTo>
                    <a:pt x="1" y="69"/>
                  </a:lnTo>
                  <a:lnTo>
                    <a:pt x="3" y="74"/>
                  </a:lnTo>
                  <a:lnTo>
                    <a:pt x="4" y="74"/>
                  </a:lnTo>
                  <a:lnTo>
                    <a:pt x="9" y="75"/>
                  </a:lnTo>
                  <a:lnTo>
                    <a:pt x="9" y="75"/>
                  </a:lnTo>
                  <a:lnTo>
                    <a:pt x="13" y="75"/>
                  </a:lnTo>
                  <a:lnTo>
                    <a:pt x="16" y="77"/>
                  </a:lnTo>
                  <a:lnTo>
                    <a:pt x="14" y="80"/>
                  </a:lnTo>
                  <a:lnTo>
                    <a:pt x="10" y="82"/>
                  </a:lnTo>
                  <a:lnTo>
                    <a:pt x="10" y="82"/>
                  </a:lnTo>
                  <a:lnTo>
                    <a:pt x="7" y="84"/>
                  </a:lnTo>
                  <a:lnTo>
                    <a:pt x="4" y="87"/>
                  </a:lnTo>
                  <a:lnTo>
                    <a:pt x="4" y="88"/>
                  </a:lnTo>
                  <a:lnTo>
                    <a:pt x="6" y="91"/>
                  </a:lnTo>
                  <a:lnTo>
                    <a:pt x="6" y="91"/>
                  </a:lnTo>
                  <a:lnTo>
                    <a:pt x="38" y="107"/>
                  </a:lnTo>
                  <a:lnTo>
                    <a:pt x="52" y="116"/>
                  </a:lnTo>
                  <a:lnTo>
                    <a:pt x="58" y="119"/>
                  </a:lnTo>
                  <a:lnTo>
                    <a:pt x="61" y="122"/>
                  </a:lnTo>
                  <a:lnTo>
                    <a:pt x="61" y="122"/>
                  </a:lnTo>
                  <a:lnTo>
                    <a:pt x="65" y="126"/>
                  </a:lnTo>
                  <a:lnTo>
                    <a:pt x="72" y="132"/>
                  </a:lnTo>
                  <a:lnTo>
                    <a:pt x="88" y="143"/>
                  </a:lnTo>
                  <a:lnTo>
                    <a:pt x="88" y="143"/>
                  </a:lnTo>
                  <a:lnTo>
                    <a:pt x="94" y="133"/>
                  </a:lnTo>
                  <a:lnTo>
                    <a:pt x="94" y="133"/>
                  </a:lnTo>
                  <a:lnTo>
                    <a:pt x="103" y="119"/>
                  </a:lnTo>
                  <a:lnTo>
                    <a:pt x="110" y="106"/>
                  </a:lnTo>
                  <a:lnTo>
                    <a:pt x="110" y="106"/>
                  </a:lnTo>
                  <a:lnTo>
                    <a:pt x="111" y="104"/>
                  </a:lnTo>
                  <a:lnTo>
                    <a:pt x="114" y="103"/>
                  </a:lnTo>
                  <a:lnTo>
                    <a:pt x="120" y="103"/>
                  </a:lnTo>
                  <a:lnTo>
                    <a:pt x="113" y="95"/>
                  </a:lnTo>
                  <a:lnTo>
                    <a:pt x="113" y="24"/>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22" name="Freeform 1076"/>
            <p:cNvSpPr>
              <a:spLocks/>
            </p:cNvSpPr>
            <p:nvPr/>
          </p:nvSpPr>
          <p:spPr bwMode="auto">
            <a:xfrm>
              <a:off x="3883025" y="4042204"/>
              <a:ext cx="220663" cy="177800"/>
            </a:xfrm>
            <a:custGeom>
              <a:avLst/>
              <a:gdLst>
                <a:gd name="T0" fmla="*/ 65 w 139"/>
                <a:gd name="T1" fmla="*/ 112 h 112"/>
                <a:gd name="T2" fmla="*/ 0 w 139"/>
                <a:gd name="T3" fmla="*/ 112 h 112"/>
                <a:gd name="T4" fmla="*/ 0 w 139"/>
                <a:gd name="T5" fmla="*/ 112 h 112"/>
                <a:gd name="T6" fmla="*/ 0 w 139"/>
                <a:gd name="T7" fmla="*/ 111 h 112"/>
                <a:gd name="T8" fmla="*/ 0 w 139"/>
                <a:gd name="T9" fmla="*/ 111 h 112"/>
                <a:gd name="T10" fmla="*/ 2 w 139"/>
                <a:gd name="T11" fmla="*/ 103 h 112"/>
                <a:gd name="T12" fmla="*/ 2 w 139"/>
                <a:gd name="T13" fmla="*/ 103 h 112"/>
                <a:gd name="T14" fmla="*/ 3 w 139"/>
                <a:gd name="T15" fmla="*/ 100 h 112"/>
                <a:gd name="T16" fmla="*/ 3 w 139"/>
                <a:gd name="T17" fmla="*/ 100 h 112"/>
                <a:gd name="T18" fmla="*/ 3 w 139"/>
                <a:gd name="T19" fmla="*/ 99 h 112"/>
                <a:gd name="T20" fmla="*/ 3 w 139"/>
                <a:gd name="T21" fmla="*/ 99 h 112"/>
                <a:gd name="T22" fmla="*/ 7 w 139"/>
                <a:gd name="T23" fmla="*/ 95 h 112"/>
                <a:gd name="T24" fmla="*/ 10 w 139"/>
                <a:gd name="T25" fmla="*/ 90 h 112"/>
                <a:gd name="T26" fmla="*/ 10 w 139"/>
                <a:gd name="T27" fmla="*/ 90 h 112"/>
                <a:gd name="T28" fmla="*/ 13 w 139"/>
                <a:gd name="T29" fmla="*/ 83 h 112"/>
                <a:gd name="T30" fmla="*/ 16 w 139"/>
                <a:gd name="T31" fmla="*/ 76 h 112"/>
                <a:gd name="T32" fmla="*/ 16 w 139"/>
                <a:gd name="T33" fmla="*/ 76 h 112"/>
                <a:gd name="T34" fmla="*/ 19 w 139"/>
                <a:gd name="T35" fmla="*/ 70 h 112"/>
                <a:gd name="T36" fmla="*/ 19 w 139"/>
                <a:gd name="T37" fmla="*/ 70 h 112"/>
                <a:gd name="T38" fmla="*/ 31 w 139"/>
                <a:gd name="T39" fmla="*/ 58 h 112"/>
                <a:gd name="T40" fmla="*/ 31 w 139"/>
                <a:gd name="T41" fmla="*/ 58 h 112"/>
                <a:gd name="T42" fmla="*/ 35 w 139"/>
                <a:gd name="T43" fmla="*/ 54 h 112"/>
                <a:gd name="T44" fmla="*/ 35 w 139"/>
                <a:gd name="T45" fmla="*/ 54 h 112"/>
                <a:gd name="T46" fmla="*/ 36 w 139"/>
                <a:gd name="T47" fmla="*/ 51 h 112"/>
                <a:gd name="T48" fmla="*/ 36 w 139"/>
                <a:gd name="T49" fmla="*/ 51 h 112"/>
                <a:gd name="T50" fmla="*/ 38 w 139"/>
                <a:gd name="T51" fmla="*/ 48 h 112"/>
                <a:gd name="T52" fmla="*/ 38 w 139"/>
                <a:gd name="T53" fmla="*/ 48 h 112"/>
                <a:gd name="T54" fmla="*/ 38 w 139"/>
                <a:gd name="T55" fmla="*/ 44 h 112"/>
                <a:gd name="T56" fmla="*/ 38 w 139"/>
                <a:gd name="T57" fmla="*/ 44 h 112"/>
                <a:gd name="T58" fmla="*/ 42 w 139"/>
                <a:gd name="T59" fmla="*/ 31 h 112"/>
                <a:gd name="T60" fmla="*/ 42 w 139"/>
                <a:gd name="T61" fmla="*/ 31 h 112"/>
                <a:gd name="T62" fmla="*/ 45 w 139"/>
                <a:gd name="T63" fmla="*/ 25 h 112"/>
                <a:gd name="T64" fmla="*/ 48 w 139"/>
                <a:gd name="T65" fmla="*/ 22 h 112"/>
                <a:gd name="T66" fmla="*/ 48 w 139"/>
                <a:gd name="T67" fmla="*/ 22 h 112"/>
                <a:gd name="T68" fmla="*/ 54 w 139"/>
                <a:gd name="T69" fmla="*/ 18 h 112"/>
                <a:gd name="T70" fmla="*/ 57 w 139"/>
                <a:gd name="T71" fmla="*/ 14 h 112"/>
                <a:gd name="T72" fmla="*/ 57 w 139"/>
                <a:gd name="T73" fmla="*/ 14 h 112"/>
                <a:gd name="T74" fmla="*/ 61 w 139"/>
                <a:gd name="T75" fmla="*/ 3 h 112"/>
                <a:gd name="T76" fmla="*/ 61 w 139"/>
                <a:gd name="T77" fmla="*/ 3 h 112"/>
                <a:gd name="T78" fmla="*/ 64 w 139"/>
                <a:gd name="T79" fmla="*/ 0 h 112"/>
                <a:gd name="T80" fmla="*/ 139 w 139"/>
                <a:gd name="T81" fmla="*/ 0 h 112"/>
                <a:gd name="T82" fmla="*/ 139 w 139"/>
                <a:gd name="T83" fmla="*/ 31 h 112"/>
                <a:gd name="T84" fmla="*/ 78 w 139"/>
                <a:gd name="T85" fmla="*/ 31 h 112"/>
                <a:gd name="T86" fmla="*/ 78 w 139"/>
                <a:gd name="T87" fmla="*/ 74 h 112"/>
                <a:gd name="T88" fmla="*/ 67 w 139"/>
                <a:gd name="T89" fmla="*/ 90 h 112"/>
                <a:gd name="T90" fmla="*/ 65 w 139"/>
                <a:gd name="T91"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9" h="112">
                  <a:moveTo>
                    <a:pt x="65" y="112"/>
                  </a:moveTo>
                  <a:lnTo>
                    <a:pt x="0" y="112"/>
                  </a:lnTo>
                  <a:lnTo>
                    <a:pt x="0" y="112"/>
                  </a:lnTo>
                  <a:lnTo>
                    <a:pt x="0" y="111"/>
                  </a:lnTo>
                  <a:lnTo>
                    <a:pt x="0" y="111"/>
                  </a:lnTo>
                  <a:lnTo>
                    <a:pt x="2" y="103"/>
                  </a:lnTo>
                  <a:lnTo>
                    <a:pt x="2" y="103"/>
                  </a:lnTo>
                  <a:lnTo>
                    <a:pt x="3" y="100"/>
                  </a:lnTo>
                  <a:lnTo>
                    <a:pt x="3" y="100"/>
                  </a:lnTo>
                  <a:lnTo>
                    <a:pt x="3" y="99"/>
                  </a:lnTo>
                  <a:lnTo>
                    <a:pt x="3" y="99"/>
                  </a:lnTo>
                  <a:lnTo>
                    <a:pt x="7" y="95"/>
                  </a:lnTo>
                  <a:lnTo>
                    <a:pt x="10" y="90"/>
                  </a:lnTo>
                  <a:lnTo>
                    <a:pt x="10" y="90"/>
                  </a:lnTo>
                  <a:lnTo>
                    <a:pt x="13" y="83"/>
                  </a:lnTo>
                  <a:lnTo>
                    <a:pt x="16" y="76"/>
                  </a:lnTo>
                  <a:lnTo>
                    <a:pt x="16" y="76"/>
                  </a:lnTo>
                  <a:lnTo>
                    <a:pt x="19" y="70"/>
                  </a:lnTo>
                  <a:lnTo>
                    <a:pt x="19" y="70"/>
                  </a:lnTo>
                  <a:lnTo>
                    <a:pt x="31" y="58"/>
                  </a:lnTo>
                  <a:lnTo>
                    <a:pt x="31" y="58"/>
                  </a:lnTo>
                  <a:lnTo>
                    <a:pt x="35" y="54"/>
                  </a:lnTo>
                  <a:lnTo>
                    <a:pt x="35" y="54"/>
                  </a:lnTo>
                  <a:lnTo>
                    <a:pt x="36" y="51"/>
                  </a:lnTo>
                  <a:lnTo>
                    <a:pt x="36" y="51"/>
                  </a:lnTo>
                  <a:lnTo>
                    <a:pt x="38" y="48"/>
                  </a:lnTo>
                  <a:lnTo>
                    <a:pt x="38" y="48"/>
                  </a:lnTo>
                  <a:lnTo>
                    <a:pt x="38" y="44"/>
                  </a:lnTo>
                  <a:lnTo>
                    <a:pt x="38" y="44"/>
                  </a:lnTo>
                  <a:lnTo>
                    <a:pt x="42" y="31"/>
                  </a:lnTo>
                  <a:lnTo>
                    <a:pt x="42" y="31"/>
                  </a:lnTo>
                  <a:lnTo>
                    <a:pt x="45" y="25"/>
                  </a:lnTo>
                  <a:lnTo>
                    <a:pt x="48" y="22"/>
                  </a:lnTo>
                  <a:lnTo>
                    <a:pt x="48" y="22"/>
                  </a:lnTo>
                  <a:lnTo>
                    <a:pt x="54" y="18"/>
                  </a:lnTo>
                  <a:lnTo>
                    <a:pt x="57" y="14"/>
                  </a:lnTo>
                  <a:lnTo>
                    <a:pt x="57" y="14"/>
                  </a:lnTo>
                  <a:lnTo>
                    <a:pt x="61" y="3"/>
                  </a:lnTo>
                  <a:lnTo>
                    <a:pt x="61" y="3"/>
                  </a:lnTo>
                  <a:lnTo>
                    <a:pt x="64" y="0"/>
                  </a:lnTo>
                  <a:lnTo>
                    <a:pt x="139" y="0"/>
                  </a:lnTo>
                  <a:lnTo>
                    <a:pt x="139" y="31"/>
                  </a:lnTo>
                  <a:lnTo>
                    <a:pt x="78" y="31"/>
                  </a:lnTo>
                  <a:lnTo>
                    <a:pt x="78" y="74"/>
                  </a:lnTo>
                  <a:lnTo>
                    <a:pt x="67" y="90"/>
                  </a:lnTo>
                  <a:lnTo>
                    <a:pt x="65" y="112"/>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23" name="Freeform 1077"/>
            <p:cNvSpPr>
              <a:spLocks/>
            </p:cNvSpPr>
            <p:nvPr/>
          </p:nvSpPr>
          <p:spPr bwMode="auto">
            <a:xfrm>
              <a:off x="3883025" y="4042204"/>
              <a:ext cx="220663" cy="177800"/>
            </a:xfrm>
            <a:custGeom>
              <a:avLst/>
              <a:gdLst>
                <a:gd name="T0" fmla="*/ 65 w 139"/>
                <a:gd name="T1" fmla="*/ 112 h 112"/>
                <a:gd name="T2" fmla="*/ 0 w 139"/>
                <a:gd name="T3" fmla="*/ 112 h 112"/>
                <a:gd name="T4" fmla="*/ 0 w 139"/>
                <a:gd name="T5" fmla="*/ 112 h 112"/>
                <a:gd name="T6" fmla="*/ 0 w 139"/>
                <a:gd name="T7" fmla="*/ 111 h 112"/>
                <a:gd name="T8" fmla="*/ 0 w 139"/>
                <a:gd name="T9" fmla="*/ 111 h 112"/>
                <a:gd name="T10" fmla="*/ 2 w 139"/>
                <a:gd name="T11" fmla="*/ 103 h 112"/>
                <a:gd name="T12" fmla="*/ 2 w 139"/>
                <a:gd name="T13" fmla="*/ 103 h 112"/>
                <a:gd name="T14" fmla="*/ 3 w 139"/>
                <a:gd name="T15" fmla="*/ 100 h 112"/>
                <a:gd name="T16" fmla="*/ 3 w 139"/>
                <a:gd name="T17" fmla="*/ 100 h 112"/>
                <a:gd name="T18" fmla="*/ 3 w 139"/>
                <a:gd name="T19" fmla="*/ 99 h 112"/>
                <a:gd name="T20" fmla="*/ 3 w 139"/>
                <a:gd name="T21" fmla="*/ 99 h 112"/>
                <a:gd name="T22" fmla="*/ 7 w 139"/>
                <a:gd name="T23" fmla="*/ 95 h 112"/>
                <a:gd name="T24" fmla="*/ 10 w 139"/>
                <a:gd name="T25" fmla="*/ 90 h 112"/>
                <a:gd name="T26" fmla="*/ 10 w 139"/>
                <a:gd name="T27" fmla="*/ 90 h 112"/>
                <a:gd name="T28" fmla="*/ 13 w 139"/>
                <a:gd name="T29" fmla="*/ 83 h 112"/>
                <a:gd name="T30" fmla="*/ 16 w 139"/>
                <a:gd name="T31" fmla="*/ 76 h 112"/>
                <a:gd name="T32" fmla="*/ 16 w 139"/>
                <a:gd name="T33" fmla="*/ 76 h 112"/>
                <a:gd name="T34" fmla="*/ 19 w 139"/>
                <a:gd name="T35" fmla="*/ 70 h 112"/>
                <a:gd name="T36" fmla="*/ 19 w 139"/>
                <a:gd name="T37" fmla="*/ 70 h 112"/>
                <a:gd name="T38" fmla="*/ 31 w 139"/>
                <a:gd name="T39" fmla="*/ 58 h 112"/>
                <a:gd name="T40" fmla="*/ 31 w 139"/>
                <a:gd name="T41" fmla="*/ 58 h 112"/>
                <a:gd name="T42" fmla="*/ 35 w 139"/>
                <a:gd name="T43" fmla="*/ 54 h 112"/>
                <a:gd name="T44" fmla="*/ 35 w 139"/>
                <a:gd name="T45" fmla="*/ 54 h 112"/>
                <a:gd name="T46" fmla="*/ 36 w 139"/>
                <a:gd name="T47" fmla="*/ 51 h 112"/>
                <a:gd name="T48" fmla="*/ 36 w 139"/>
                <a:gd name="T49" fmla="*/ 51 h 112"/>
                <a:gd name="T50" fmla="*/ 38 w 139"/>
                <a:gd name="T51" fmla="*/ 48 h 112"/>
                <a:gd name="T52" fmla="*/ 38 w 139"/>
                <a:gd name="T53" fmla="*/ 48 h 112"/>
                <a:gd name="T54" fmla="*/ 38 w 139"/>
                <a:gd name="T55" fmla="*/ 44 h 112"/>
                <a:gd name="T56" fmla="*/ 38 w 139"/>
                <a:gd name="T57" fmla="*/ 44 h 112"/>
                <a:gd name="T58" fmla="*/ 42 w 139"/>
                <a:gd name="T59" fmla="*/ 31 h 112"/>
                <a:gd name="T60" fmla="*/ 42 w 139"/>
                <a:gd name="T61" fmla="*/ 31 h 112"/>
                <a:gd name="T62" fmla="*/ 45 w 139"/>
                <a:gd name="T63" fmla="*/ 25 h 112"/>
                <a:gd name="T64" fmla="*/ 48 w 139"/>
                <a:gd name="T65" fmla="*/ 22 h 112"/>
                <a:gd name="T66" fmla="*/ 48 w 139"/>
                <a:gd name="T67" fmla="*/ 22 h 112"/>
                <a:gd name="T68" fmla="*/ 54 w 139"/>
                <a:gd name="T69" fmla="*/ 18 h 112"/>
                <a:gd name="T70" fmla="*/ 57 w 139"/>
                <a:gd name="T71" fmla="*/ 14 h 112"/>
                <a:gd name="T72" fmla="*/ 57 w 139"/>
                <a:gd name="T73" fmla="*/ 14 h 112"/>
                <a:gd name="T74" fmla="*/ 61 w 139"/>
                <a:gd name="T75" fmla="*/ 3 h 112"/>
                <a:gd name="T76" fmla="*/ 61 w 139"/>
                <a:gd name="T77" fmla="*/ 3 h 112"/>
                <a:gd name="T78" fmla="*/ 64 w 139"/>
                <a:gd name="T79" fmla="*/ 0 h 112"/>
                <a:gd name="T80" fmla="*/ 139 w 139"/>
                <a:gd name="T81" fmla="*/ 0 h 112"/>
                <a:gd name="T82" fmla="*/ 139 w 139"/>
                <a:gd name="T83" fmla="*/ 31 h 112"/>
                <a:gd name="T84" fmla="*/ 78 w 139"/>
                <a:gd name="T85" fmla="*/ 31 h 112"/>
                <a:gd name="T86" fmla="*/ 78 w 139"/>
                <a:gd name="T87" fmla="*/ 74 h 112"/>
                <a:gd name="T88" fmla="*/ 67 w 139"/>
                <a:gd name="T89" fmla="*/ 90 h 112"/>
                <a:gd name="T90" fmla="*/ 65 w 139"/>
                <a:gd name="T91"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9" h="112">
                  <a:moveTo>
                    <a:pt x="65" y="112"/>
                  </a:moveTo>
                  <a:lnTo>
                    <a:pt x="0" y="112"/>
                  </a:lnTo>
                  <a:lnTo>
                    <a:pt x="0" y="112"/>
                  </a:lnTo>
                  <a:lnTo>
                    <a:pt x="0" y="111"/>
                  </a:lnTo>
                  <a:lnTo>
                    <a:pt x="0" y="111"/>
                  </a:lnTo>
                  <a:lnTo>
                    <a:pt x="2" y="103"/>
                  </a:lnTo>
                  <a:lnTo>
                    <a:pt x="2" y="103"/>
                  </a:lnTo>
                  <a:lnTo>
                    <a:pt x="3" y="100"/>
                  </a:lnTo>
                  <a:lnTo>
                    <a:pt x="3" y="100"/>
                  </a:lnTo>
                  <a:lnTo>
                    <a:pt x="3" y="99"/>
                  </a:lnTo>
                  <a:lnTo>
                    <a:pt x="3" y="99"/>
                  </a:lnTo>
                  <a:lnTo>
                    <a:pt x="7" y="95"/>
                  </a:lnTo>
                  <a:lnTo>
                    <a:pt x="10" y="90"/>
                  </a:lnTo>
                  <a:lnTo>
                    <a:pt x="10" y="90"/>
                  </a:lnTo>
                  <a:lnTo>
                    <a:pt x="13" y="83"/>
                  </a:lnTo>
                  <a:lnTo>
                    <a:pt x="16" y="76"/>
                  </a:lnTo>
                  <a:lnTo>
                    <a:pt x="16" y="76"/>
                  </a:lnTo>
                  <a:lnTo>
                    <a:pt x="19" y="70"/>
                  </a:lnTo>
                  <a:lnTo>
                    <a:pt x="19" y="70"/>
                  </a:lnTo>
                  <a:lnTo>
                    <a:pt x="31" y="58"/>
                  </a:lnTo>
                  <a:lnTo>
                    <a:pt x="31" y="58"/>
                  </a:lnTo>
                  <a:lnTo>
                    <a:pt x="35" y="54"/>
                  </a:lnTo>
                  <a:lnTo>
                    <a:pt x="35" y="54"/>
                  </a:lnTo>
                  <a:lnTo>
                    <a:pt x="36" y="51"/>
                  </a:lnTo>
                  <a:lnTo>
                    <a:pt x="36" y="51"/>
                  </a:lnTo>
                  <a:lnTo>
                    <a:pt x="38" y="48"/>
                  </a:lnTo>
                  <a:lnTo>
                    <a:pt x="38" y="48"/>
                  </a:lnTo>
                  <a:lnTo>
                    <a:pt x="38" y="44"/>
                  </a:lnTo>
                  <a:lnTo>
                    <a:pt x="38" y="44"/>
                  </a:lnTo>
                  <a:lnTo>
                    <a:pt x="42" y="31"/>
                  </a:lnTo>
                  <a:lnTo>
                    <a:pt x="42" y="31"/>
                  </a:lnTo>
                  <a:lnTo>
                    <a:pt x="45" y="25"/>
                  </a:lnTo>
                  <a:lnTo>
                    <a:pt x="48" y="22"/>
                  </a:lnTo>
                  <a:lnTo>
                    <a:pt x="48" y="22"/>
                  </a:lnTo>
                  <a:lnTo>
                    <a:pt x="54" y="18"/>
                  </a:lnTo>
                  <a:lnTo>
                    <a:pt x="57" y="14"/>
                  </a:lnTo>
                  <a:lnTo>
                    <a:pt x="57" y="14"/>
                  </a:lnTo>
                  <a:lnTo>
                    <a:pt x="61" y="3"/>
                  </a:lnTo>
                  <a:lnTo>
                    <a:pt x="61" y="3"/>
                  </a:lnTo>
                  <a:lnTo>
                    <a:pt x="64" y="0"/>
                  </a:lnTo>
                  <a:lnTo>
                    <a:pt x="139" y="0"/>
                  </a:lnTo>
                  <a:lnTo>
                    <a:pt x="139" y="31"/>
                  </a:lnTo>
                  <a:lnTo>
                    <a:pt x="78" y="31"/>
                  </a:lnTo>
                  <a:lnTo>
                    <a:pt x="78" y="74"/>
                  </a:lnTo>
                  <a:lnTo>
                    <a:pt x="67" y="90"/>
                  </a:lnTo>
                  <a:lnTo>
                    <a:pt x="65" y="1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24" name="Freeform 1078"/>
            <p:cNvSpPr>
              <a:spLocks/>
            </p:cNvSpPr>
            <p:nvPr/>
          </p:nvSpPr>
          <p:spPr bwMode="auto">
            <a:xfrm>
              <a:off x="3979863" y="3796142"/>
              <a:ext cx="314325" cy="246063"/>
            </a:xfrm>
            <a:custGeom>
              <a:avLst/>
              <a:gdLst>
                <a:gd name="T0" fmla="*/ 198 w 198"/>
                <a:gd name="T1" fmla="*/ 64 h 155"/>
                <a:gd name="T2" fmla="*/ 191 w 198"/>
                <a:gd name="T3" fmla="*/ 47 h 155"/>
                <a:gd name="T4" fmla="*/ 190 w 198"/>
                <a:gd name="T5" fmla="*/ 40 h 155"/>
                <a:gd name="T6" fmla="*/ 183 w 198"/>
                <a:gd name="T7" fmla="*/ 14 h 155"/>
                <a:gd name="T8" fmla="*/ 181 w 198"/>
                <a:gd name="T9" fmla="*/ 15 h 155"/>
                <a:gd name="T10" fmla="*/ 175 w 198"/>
                <a:gd name="T11" fmla="*/ 15 h 155"/>
                <a:gd name="T12" fmla="*/ 170 w 198"/>
                <a:gd name="T13" fmla="*/ 12 h 155"/>
                <a:gd name="T14" fmla="*/ 156 w 198"/>
                <a:gd name="T15" fmla="*/ 11 h 155"/>
                <a:gd name="T16" fmla="*/ 142 w 198"/>
                <a:gd name="T17" fmla="*/ 11 h 155"/>
                <a:gd name="T18" fmla="*/ 130 w 198"/>
                <a:gd name="T19" fmla="*/ 6 h 155"/>
                <a:gd name="T20" fmla="*/ 123 w 198"/>
                <a:gd name="T21" fmla="*/ 0 h 155"/>
                <a:gd name="T22" fmla="*/ 120 w 198"/>
                <a:gd name="T23" fmla="*/ 2 h 155"/>
                <a:gd name="T24" fmla="*/ 113 w 198"/>
                <a:gd name="T25" fmla="*/ 11 h 155"/>
                <a:gd name="T26" fmla="*/ 112 w 198"/>
                <a:gd name="T27" fmla="*/ 15 h 155"/>
                <a:gd name="T28" fmla="*/ 106 w 198"/>
                <a:gd name="T29" fmla="*/ 28 h 155"/>
                <a:gd name="T30" fmla="*/ 94 w 198"/>
                <a:gd name="T31" fmla="*/ 41 h 155"/>
                <a:gd name="T32" fmla="*/ 88 w 198"/>
                <a:gd name="T33" fmla="*/ 45 h 155"/>
                <a:gd name="T34" fmla="*/ 78 w 198"/>
                <a:gd name="T35" fmla="*/ 47 h 155"/>
                <a:gd name="T36" fmla="*/ 74 w 198"/>
                <a:gd name="T37" fmla="*/ 50 h 155"/>
                <a:gd name="T38" fmla="*/ 65 w 198"/>
                <a:gd name="T39" fmla="*/ 63 h 155"/>
                <a:gd name="T40" fmla="*/ 62 w 198"/>
                <a:gd name="T41" fmla="*/ 67 h 155"/>
                <a:gd name="T42" fmla="*/ 59 w 198"/>
                <a:gd name="T43" fmla="*/ 73 h 155"/>
                <a:gd name="T44" fmla="*/ 54 w 198"/>
                <a:gd name="T45" fmla="*/ 79 h 155"/>
                <a:gd name="T46" fmla="*/ 52 w 198"/>
                <a:gd name="T47" fmla="*/ 84 h 155"/>
                <a:gd name="T48" fmla="*/ 54 w 198"/>
                <a:gd name="T49" fmla="*/ 112 h 155"/>
                <a:gd name="T50" fmla="*/ 52 w 198"/>
                <a:gd name="T51" fmla="*/ 118 h 155"/>
                <a:gd name="T52" fmla="*/ 46 w 198"/>
                <a:gd name="T53" fmla="*/ 126 h 155"/>
                <a:gd name="T54" fmla="*/ 32 w 198"/>
                <a:gd name="T55" fmla="*/ 138 h 155"/>
                <a:gd name="T56" fmla="*/ 22 w 198"/>
                <a:gd name="T57" fmla="*/ 141 h 155"/>
                <a:gd name="T58" fmla="*/ 0 w 198"/>
                <a:gd name="T59" fmla="*/ 155 h 155"/>
                <a:gd name="T60" fmla="*/ 78 w 198"/>
                <a:gd name="T61" fmla="*/ 135 h 155"/>
                <a:gd name="T62" fmla="*/ 88 w 198"/>
                <a:gd name="T63" fmla="*/ 131 h 155"/>
                <a:gd name="T64" fmla="*/ 107 w 198"/>
                <a:gd name="T65" fmla="*/ 126 h 155"/>
                <a:gd name="T66" fmla="*/ 112 w 198"/>
                <a:gd name="T67" fmla="*/ 126 h 155"/>
                <a:gd name="T68" fmla="*/ 126 w 198"/>
                <a:gd name="T69" fmla="*/ 119 h 155"/>
                <a:gd name="T70" fmla="*/ 138 w 198"/>
                <a:gd name="T71" fmla="*/ 108 h 155"/>
                <a:gd name="T72" fmla="*/ 139 w 198"/>
                <a:gd name="T73" fmla="*/ 105 h 155"/>
                <a:gd name="T74" fmla="*/ 146 w 198"/>
                <a:gd name="T75" fmla="*/ 102 h 155"/>
                <a:gd name="T76" fmla="*/ 159 w 198"/>
                <a:gd name="T77" fmla="*/ 96 h 155"/>
                <a:gd name="T78" fmla="*/ 164 w 198"/>
                <a:gd name="T79" fmla="*/ 93 h 155"/>
                <a:gd name="T80" fmla="*/ 170 w 198"/>
                <a:gd name="T81" fmla="*/ 82 h 155"/>
                <a:gd name="T82" fmla="*/ 177 w 198"/>
                <a:gd name="T83" fmla="*/ 73 h 155"/>
                <a:gd name="T84" fmla="*/ 180 w 198"/>
                <a:gd name="T85" fmla="*/ 71 h 155"/>
                <a:gd name="T86" fmla="*/ 197 w 198"/>
                <a:gd name="T87" fmla="*/ 67 h 155"/>
                <a:gd name="T88" fmla="*/ 198 w 198"/>
                <a:gd name="T89" fmla="*/ 6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8" h="155">
                  <a:moveTo>
                    <a:pt x="198" y="64"/>
                  </a:moveTo>
                  <a:lnTo>
                    <a:pt x="198" y="64"/>
                  </a:lnTo>
                  <a:lnTo>
                    <a:pt x="193" y="54"/>
                  </a:lnTo>
                  <a:lnTo>
                    <a:pt x="191" y="47"/>
                  </a:lnTo>
                  <a:lnTo>
                    <a:pt x="190" y="40"/>
                  </a:lnTo>
                  <a:lnTo>
                    <a:pt x="190" y="40"/>
                  </a:lnTo>
                  <a:lnTo>
                    <a:pt x="188" y="28"/>
                  </a:lnTo>
                  <a:lnTo>
                    <a:pt x="183" y="14"/>
                  </a:lnTo>
                  <a:lnTo>
                    <a:pt x="181" y="15"/>
                  </a:lnTo>
                  <a:lnTo>
                    <a:pt x="181" y="15"/>
                  </a:lnTo>
                  <a:lnTo>
                    <a:pt x="178" y="15"/>
                  </a:lnTo>
                  <a:lnTo>
                    <a:pt x="175" y="15"/>
                  </a:lnTo>
                  <a:lnTo>
                    <a:pt x="170" y="12"/>
                  </a:lnTo>
                  <a:lnTo>
                    <a:pt x="170" y="12"/>
                  </a:lnTo>
                  <a:lnTo>
                    <a:pt x="165" y="11"/>
                  </a:lnTo>
                  <a:lnTo>
                    <a:pt x="156" y="11"/>
                  </a:lnTo>
                  <a:lnTo>
                    <a:pt x="142" y="11"/>
                  </a:lnTo>
                  <a:lnTo>
                    <a:pt x="142" y="11"/>
                  </a:lnTo>
                  <a:lnTo>
                    <a:pt x="136" y="9"/>
                  </a:lnTo>
                  <a:lnTo>
                    <a:pt x="130" y="6"/>
                  </a:lnTo>
                  <a:lnTo>
                    <a:pt x="126" y="2"/>
                  </a:lnTo>
                  <a:lnTo>
                    <a:pt x="123" y="0"/>
                  </a:lnTo>
                  <a:lnTo>
                    <a:pt x="123" y="0"/>
                  </a:lnTo>
                  <a:lnTo>
                    <a:pt x="120" y="2"/>
                  </a:lnTo>
                  <a:lnTo>
                    <a:pt x="117" y="5"/>
                  </a:lnTo>
                  <a:lnTo>
                    <a:pt x="113" y="11"/>
                  </a:lnTo>
                  <a:lnTo>
                    <a:pt x="112" y="15"/>
                  </a:lnTo>
                  <a:lnTo>
                    <a:pt x="112" y="15"/>
                  </a:lnTo>
                  <a:lnTo>
                    <a:pt x="109" y="21"/>
                  </a:lnTo>
                  <a:lnTo>
                    <a:pt x="106" y="28"/>
                  </a:lnTo>
                  <a:lnTo>
                    <a:pt x="100" y="35"/>
                  </a:lnTo>
                  <a:lnTo>
                    <a:pt x="94" y="41"/>
                  </a:lnTo>
                  <a:lnTo>
                    <a:pt x="94" y="41"/>
                  </a:lnTo>
                  <a:lnTo>
                    <a:pt x="88" y="45"/>
                  </a:lnTo>
                  <a:lnTo>
                    <a:pt x="83" y="47"/>
                  </a:lnTo>
                  <a:lnTo>
                    <a:pt x="78" y="47"/>
                  </a:lnTo>
                  <a:lnTo>
                    <a:pt x="74" y="50"/>
                  </a:lnTo>
                  <a:lnTo>
                    <a:pt x="74" y="50"/>
                  </a:lnTo>
                  <a:lnTo>
                    <a:pt x="68" y="57"/>
                  </a:lnTo>
                  <a:lnTo>
                    <a:pt x="65" y="63"/>
                  </a:lnTo>
                  <a:lnTo>
                    <a:pt x="62" y="67"/>
                  </a:lnTo>
                  <a:lnTo>
                    <a:pt x="62" y="67"/>
                  </a:lnTo>
                  <a:lnTo>
                    <a:pt x="61" y="71"/>
                  </a:lnTo>
                  <a:lnTo>
                    <a:pt x="59" y="73"/>
                  </a:lnTo>
                  <a:lnTo>
                    <a:pt x="57" y="76"/>
                  </a:lnTo>
                  <a:lnTo>
                    <a:pt x="54" y="79"/>
                  </a:lnTo>
                  <a:lnTo>
                    <a:pt x="54" y="79"/>
                  </a:lnTo>
                  <a:lnTo>
                    <a:pt x="52" y="84"/>
                  </a:lnTo>
                  <a:lnTo>
                    <a:pt x="52" y="92"/>
                  </a:lnTo>
                  <a:lnTo>
                    <a:pt x="54" y="112"/>
                  </a:lnTo>
                  <a:lnTo>
                    <a:pt x="54" y="112"/>
                  </a:lnTo>
                  <a:lnTo>
                    <a:pt x="52" y="118"/>
                  </a:lnTo>
                  <a:lnTo>
                    <a:pt x="51" y="122"/>
                  </a:lnTo>
                  <a:lnTo>
                    <a:pt x="46" y="126"/>
                  </a:lnTo>
                  <a:lnTo>
                    <a:pt x="42" y="131"/>
                  </a:lnTo>
                  <a:lnTo>
                    <a:pt x="32" y="138"/>
                  </a:lnTo>
                  <a:lnTo>
                    <a:pt x="22" y="141"/>
                  </a:lnTo>
                  <a:lnTo>
                    <a:pt x="22" y="141"/>
                  </a:lnTo>
                  <a:lnTo>
                    <a:pt x="10" y="148"/>
                  </a:lnTo>
                  <a:lnTo>
                    <a:pt x="0" y="155"/>
                  </a:lnTo>
                  <a:lnTo>
                    <a:pt x="78" y="155"/>
                  </a:lnTo>
                  <a:lnTo>
                    <a:pt x="78" y="135"/>
                  </a:lnTo>
                  <a:lnTo>
                    <a:pt x="78" y="135"/>
                  </a:lnTo>
                  <a:lnTo>
                    <a:pt x="88" y="131"/>
                  </a:lnTo>
                  <a:lnTo>
                    <a:pt x="97" y="128"/>
                  </a:lnTo>
                  <a:lnTo>
                    <a:pt x="107" y="126"/>
                  </a:lnTo>
                  <a:lnTo>
                    <a:pt x="107" y="126"/>
                  </a:lnTo>
                  <a:lnTo>
                    <a:pt x="112" y="126"/>
                  </a:lnTo>
                  <a:lnTo>
                    <a:pt x="117" y="125"/>
                  </a:lnTo>
                  <a:lnTo>
                    <a:pt x="126" y="119"/>
                  </a:lnTo>
                  <a:lnTo>
                    <a:pt x="133" y="113"/>
                  </a:lnTo>
                  <a:lnTo>
                    <a:pt x="138" y="108"/>
                  </a:lnTo>
                  <a:lnTo>
                    <a:pt x="138" y="108"/>
                  </a:lnTo>
                  <a:lnTo>
                    <a:pt x="139" y="105"/>
                  </a:lnTo>
                  <a:lnTo>
                    <a:pt x="141" y="103"/>
                  </a:lnTo>
                  <a:lnTo>
                    <a:pt x="146" y="102"/>
                  </a:lnTo>
                  <a:lnTo>
                    <a:pt x="152" y="100"/>
                  </a:lnTo>
                  <a:lnTo>
                    <a:pt x="159" y="96"/>
                  </a:lnTo>
                  <a:lnTo>
                    <a:pt x="159" y="96"/>
                  </a:lnTo>
                  <a:lnTo>
                    <a:pt x="164" y="93"/>
                  </a:lnTo>
                  <a:lnTo>
                    <a:pt x="165" y="89"/>
                  </a:lnTo>
                  <a:lnTo>
                    <a:pt x="170" y="82"/>
                  </a:lnTo>
                  <a:lnTo>
                    <a:pt x="174" y="74"/>
                  </a:lnTo>
                  <a:lnTo>
                    <a:pt x="177" y="73"/>
                  </a:lnTo>
                  <a:lnTo>
                    <a:pt x="180" y="71"/>
                  </a:lnTo>
                  <a:lnTo>
                    <a:pt x="180" y="71"/>
                  </a:lnTo>
                  <a:lnTo>
                    <a:pt x="193" y="69"/>
                  </a:lnTo>
                  <a:lnTo>
                    <a:pt x="197" y="67"/>
                  </a:lnTo>
                  <a:lnTo>
                    <a:pt x="198" y="66"/>
                  </a:lnTo>
                  <a:lnTo>
                    <a:pt x="198" y="64"/>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25" name="Freeform 1079"/>
            <p:cNvSpPr>
              <a:spLocks/>
            </p:cNvSpPr>
            <p:nvPr/>
          </p:nvSpPr>
          <p:spPr bwMode="auto">
            <a:xfrm>
              <a:off x="3979863" y="3796142"/>
              <a:ext cx="314325" cy="246063"/>
            </a:xfrm>
            <a:custGeom>
              <a:avLst/>
              <a:gdLst>
                <a:gd name="T0" fmla="*/ 198 w 198"/>
                <a:gd name="T1" fmla="*/ 64 h 155"/>
                <a:gd name="T2" fmla="*/ 191 w 198"/>
                <a:gd name="T3" fmla="*/ 47 h 155"/>
                <a:gd name="T4" fmla="*/ 190 w 198"/>
                <a:gd name="T5" fmla="*/ 40 h 155"/>
                <a:gd name="T6" fmla="*/ 183 w 198"/>
                <a:gd name="T7" fmla="*/ 14 h 155"/>
                <a:gd name="T8" fmla="*/ 181 w 198"/>
                <a:gd name="T9" fmla="*/ 15 h 155"/>
                <a:gd name="T10" fmla="*/ 175 w 198"/>
                <a:gd name="T11" fmla="*/ 15 h 155"/>
                <a:gd name="T12" fmla="*/ 170 w 198"/>
                <a:gd name="T13" fmla="*/ 12 h 155"/>
                <a:gd name="T14" fmla="*/ 156 w 198"/>
                <a:gd name="T15" fmla="*/ 11 h 155"/>
                <a:gd name="T16" fmla="*/ 142 w 198"/>
                <a:gd name="T17" fmla="*/ 11 h 155"/>
                <a:gd name="T18" fmla="*/ 130 w 198"/>
                <a:gd name="T19" fmla="*/ 6 h 155"/>
                <a:gd name="T20" fmla="*/ 123 w 198"/>
                <a:gd name="T21" fmla="*/ 0 h 155"/>
                <a:gd name="T22" fmla="*/ 120 w 198"/>
                <a:gd name="T23" fmla="*/ 2 h 155"/>
                <a:gd name="T24" fmla="*/ 113 w 198"/>
                <a:gd name="T25" fmla="*/ 11 h 155"/>
                <a:gd name="T26" fmla="*/ 112 w 198"/>
                <a:gd name="T27" fmla="*/ 15 h 155"/>
                <a:gd name="T28" fmla="*/ 106 w 198"/>
                <a:gd name="T29" fmla="*/ 28 h 155"/>
                <a:gd name="T30" fmla="*/ 94 w 198"/>
                <a:gd name="T31" fmla="*/ 41 h 155"/>
                <a:gd name="T32" fmla="*/ 88 w 198"/>
                <a:gd name="T33" fmla="*/ 45 h 155"/>
                <a:gd name="T34" fmla="*/ 78 w 198"/>
                <a:gd name="T35" fmla="*/ 47 h 155"/>
                <a:gd name="T36" fmla="*/ 74 w 198"/>
                <a:gd name="T37" fmla="*/ 50 h 155"/>
                <a:gd name="T38" fmla="*/ 65 w 198"/>
                <a:gd name="T39" fmla="*/ 63 h 155"/>
                <a:gd name="T40" fmla="*/ 62 w 198"/>
                <a:gd name="T41" fmla="*/ 67 h 155"/>
                <a:gd name="T42" fmla="*/ 59 w 198"/>
                <a:gd name="T43" fmla="*/ 73 h 155"/>
                <a:gd name="T44" fmla="*/ 54 w 198"/>
                <a:gd name="T45" fmla="*/ 79 h 155"/>
                <a:gd name="T46" fmla="*/ 52 w 198"/>
                <a:gd name="T47" fmla="*/ 84 h 155"/>
                <a:gd name="T48" fmla="*/ 54 w 198"/>
                <a:gd name="T49" fmla="*/ 112 h 155"/>
                <a:gd name="T50" fmla="*/ 52 w 198"/>
                <a:gd name="T51" fmla="*/ 118 h 155"/>
                <a:gd name="T52" fmla="*/ 46 w 198"/>
                <a:gd name="T53" fmla="*/ 126 h 155"/>
                <a:gd name="T54" fmla="*/ 32 w 198"/>
                <a:gd name="T55" fmla="*/ 138 h 155"/>
                <a:gd name="T56" fmla="*/ 22 w 198"/>
                <a:gd name="T57" fmla="*/ 141 h 155"/>
                <a:gd name="T58" fmla="*/ 0 w 198"/>
                <a:gd name="T59" fmla="*/ 155 h 155"/>
                <a:gd name="T60" fmla="*/ 78 w 198"/>
                <a:gd name="T61" fmla="*/ 135 h 155"/>
                <a:gd name="T62" fmla="*/ 88 w 198"/>
                <a:gd name="T63" fmla="*/ 131 h 155"/>
                <a:gd name="T64" fmla="*/ 107 w 198"/>
                <a:gd name="T65" fmla="*/ 126 h 155"/>
                <a:gd name="T66" fmla="*/ 112 w 198"/>
                <a:gd name="T67" fmla="*/ 126 h 155"/>
                <a:gd name="T68" fmla="*/ 126 w 198"/>
                <a:gd name="T69" fmla="*/ 119 h 155"/>
                <a:gd name="T70" fmla="*/ 138 w 198"/>
                <a:gd name="T71" fmla="*/ 108 h 155"/>
                <a:gd name="T72" fmla="*/ 139 w 198"/>
                <a:gd name="T73" fmla="*/ 105 h 155"/>
                <a:gd name="T74" fmla="*/ 146 w 198"/>
                <a:gd name="T75" fmla="*/ 102 h 155"/>
                <a:gd name="T76" fmla="*/ 159 w 198"/>
                <a:gd name="T77" fmla="*/ 96 h 155"/>
                <a:gd name="T78" fmla="*/ 164 w 198"/>
                <a:gd name="T79" fmla="*/ 93 h 155"/>
                <a:gd name="T80" fmla="*/ 170 w 198"/>
                <a:gd name="T81" fmla="*/ 82 h 155"/>
                <a:gd name="T82" fmla="*/ 177 w 198"/>
                <a:gd name="T83" fmla="*/ 73 h 155"/>
                <a:gd name="T84" fmla="*/ 180 w 198"/>
                <a:gd name="T85" fmla="*/ 71 h 155"/>
                <a:gd name="T86" fmla="*/ 197 w 198"/>
                <a:gd name="T87" fmla="*/ 67 h 155"/>
                <a:gd name="T88" fmla="*/ 198 w 198"/>
                <a:gd name="T89" fmla="*/ 6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8" h="155">
                  <a:moveTo>
                    <a:pt x="198" y="64"/>
                  </a:moveTo>
                  <a:lnTo>
                    <a:pt x="198" y="64"/>
                  </a:lnTo>
                  <a:lnTo>
                    <a:pt x="193" y="54"/>
                  </a:lnTo>
                  <a:lnTo>
                    <a:pt x="191" y="47"/>
                  </a:lnTo>
                  <a:lnTo>
                    <a:pt x="190" y="40"/>
                  </a:lnTo>
                  <a:lnTo>
                    <a:pt x="190" y="40"/>
                  </a:lnTo>
                  <a:lnTo>
                    <a:pt x="188" y="28"/>
                  </a:lnTo>
                  <a:lnTo>
                    <a:pt x="183" y="14"/>
                  </a:lnTo>
                  <a:lnTo>
                    <a:pt x="181" y="15"/>
                  </a:lnTo>
                  <a:lnTo>
                    <a:pt x="181" y="15"/>
                  </a:lnTo>
                  <a:lnTo>
                    <a:pt x="178" y="15"/>
                  </a:lnTo>
                  <a:lnTo>
                    <a:pt x="175" y="15"/>
                  </a:lnTo>
                  <a:lnTo>
                    <a:pt x="170" y="12"/>
                  </a:lnTo>
                  <a:lnTo>
                    <a:pt x="170" y="12"/>
                  </a:lnTo>
                  <a:lnTo>
                    <a:pt x="165" y="11"/>
                  </a:lnTo>
                  <a:lnTo>
                    <a:pt x="156" y="11"/>
                  </a:lnTo>
                  <a:lnTo>
                    <a:pt x="142" y="11"/>
                  </a:lnTo>
                  <a:lnTo>
                    <a:pt x="142" y="11"/>
                  </a:lnTo>
                  <a:lnTo>
                    <a:pt x="136" y="9"/>
                  </a:lnTo>
                  <a:lnTo>
                    <a:pt x="130" y="6"/>
                  </a:lnTo>
                  <a:lnTo>
                    <a:pt x="126" y="2"/>
                  </a:lnTo>
                  <a:lnTo>
                    <a:pt x="123" y="0"/>
                  </a:lnTo>
                  <a:lnTo>
                    <a:pt x="123" y="0"/>
                  </a:lnTo>
                  <a:lnTo>
                    <a:pt x="120" y="2"/>
                  </a:lnTo>
                  <a:lnTo>
                    <a:pt x="117" y="5"/>
                  </a:lnTo>
                  <a:lnTo>
                    <a:pt x="113" y="11"/>
                  </a:lnTo>
                  <a:lnTo>
                    <a:pt x="112" y="15"/>
                  </a:lnTo>
                  <a:lnTo>
                    <a:pt x="112" y="15"/>
                  </a:lnTo>
                  <a:lnTo>
                    <a:pt x="109" y="21"/>
                  </a:lnTo>
                  <a:lnTo>
                    <a:pt x="106" y="28"/>
                  </a:lnTo>
                  <a:lnTo>
                    <a:pt x="100" y="35"/>
                  </a:lnTo>
                  <a:lnTo>
                    <a:pt x="94" y="41"/>
                  </a:lnTo>
                  <a:lnTo>
                    <a:pt x="94" y="41"/>
                  </a:lnTo>
                  <a:lnTo>
                    <a:pt x="88" y="45"/>
                  </a:lnTo>
                  <a:lnTo>
                    <a:pt x="83" y="47"/>
                  </a:lnTo>
                  <a:lnTo>
                    <a:pt x="78" y="47"/>
                  </a:lnTo>
                  <a:lnTo>
                    <a:pt x="74" y="50"/>
                  </a:lnTo>
                  <a:lnTo>
                    <a:pt x="74" y="50"/>
                  </a:lnTo>
                  <a:lnTo>
                    <a:pt x="68" y="57"/>
                  </a:lnTo>
                  <a:lnTo>
                    <a:pt x="65" y="63"/>
                  </a:lnTo>
                  <a:lnTo>
                    <a:pt x="62" y="67"/>
                  </a:lnTo>
                  <a:lnTo>
                    <a:pt x="62" y="67"/>
                  </a:lnTo>
                  <a:lnTo>
                    <a:pt x="61" y="71"/>
                  </a:lnTo>
                  <a:lnTo>
                    <a:pt x="59" y="73"/>
                  </a:lnTo>
                  <a:lnTo>
                    <a:pt x="57" y="76"/>
                  </a:lnTo>
                  <a:lnTo>
                    <a:pt x="54" y="79"/>
                  </a:lnTo>
                  <a:lnTo>
                    <a:pt x="54" y="79"/>
                  </a:lnTo>
                  <a:lnTo>
                    <a:pt x="52" y="84"/>
                  </a:lnTo>
                  <a:lnTo>
                    <a:pt x="52" y="92"/>
                  </a:lnTo>
                  <a:lnTo>
                    <a:pt x="54" y="112"/>
                  </a:lnTo>
                  <a:lnTo>
                    <a:pt x="54" y="112"/>
                  </a:lnTo>
                  <a:lnTo>
                    <a:pt x="52" y="118"/>
                  </a:lnTo>
                  <a:lnTo>
                    <a:pt x="51" y="122"/>
                  </a:lnTo>
                  <a:lnTo>
                    <a:pt x="46" y="126"/>
                  </a:lnTo>
                  <a:lnTo>
                    <a:pt x="42" y="131"/>
                  </a:lnTo>
                  <a:lnTo>
                    <a:pt x="32" y="138"/>
                  </a:lnTo>
                  <a:lnTo>
                    <a:pt x="22" y="141"/>
                  </a:lnTo>
                  <a:lnTo>
                    <a:pt x="22" y="141"/>
                  </a:lnTo>
                  <a:lnTo>
                    <a:pt x="10" y="148"/>
                  </a:lnTo>
                  <a:lnTo>
                    <a:pt x="0" y="155"/>
                  </a:lnTo>
                  <a:lnTo>
                    <a:pt x="78" y="155"/>
                  </a:lnTo>
                  <a:lnTo>
                    <a:pt x="78" y="135"/>
                  </a:lnTo>
                  <a:lnTo>
                    <a:pt x="78" y="135"/>
                  </a:lnTo>
                  <a:lnTo>
                    <a:pt x="88" y="131"/>
                  </a:lnTo>
                  <a:lnTo>
                    <a:pt x="97" y="128"/>
                  </a:lnTo>
                  <a:lnTo>
                    <a:pt x="107" y="126"/>
                  </a:lnTo>
                  <a:lnTo>
                    <a:pt x="107" y="126"/>
                  </a:lnTo>
                  <a:lnTo>
                    <a:pt x="112" y="126"/>
                  </a:lnTo>
                  <a:lnTo>
                    <a:pt x="117" y="125"/>
                  </a:lnTo>
                  <a:lnTo>
                    <a:pt x="126" y="119"/>
                  </a:lnTo>
                  <a:lnTo>
                    <a:pt x="133" y="113"/>
                  </a:lnTo>
                  <a:lnTo>
                    <a:pt x="138" y="108"/>
                  </a:lnTo>
                  <a:lnTo>
                    <a:pt x="138" y="108"/>
                  </a:lnTo>
                  <a:lnTo>
                    <a:pt x="139" y="105"/>
                  </a:lnTo>
                  <a:lnTo>
                    <a:pt x="141" y="103"/>
                  </a:lnTo>
                  <a:lnTo>
                    <a:pt x="146" y="102"/>
                  </a:lnTo>
                  <a:lnTo>
                    <a:pt x="152" y="100"/>
                  </a:lnTo>
                  <a:lnTo>
                    <a:pt x="159" y="96"/>
                  </a:lnTo>
                  <a:lnTo>
                    <a:pt x="159" y="96"/>
                  </a:lnTo>
                  <a:lnTo>
                    <a:pt x="164" y="93"/>
                  </a:lnTo>
                  <a:lnTo>
                    <a:pt x="165" y="89"/>
                  </a:lnTo>
                  <a:lnTo>
                    <a:pt x="170" y="82"/>
                  </a:lnTo>
                  <a:lnTo>
                    <a:pt x="174" y="74"/>
                  </a:lnTo>
                  <a:lnTo>
                    <a:pt x="177" y="73"/>
                  </a:lnTo>
                  <a:lnTo>
                    <a:pt x="180" y="71"/>
                  </a:lnTo>
                  <a:lnTo>
                    <a:pt x="180" y="71"/>
                  </a:lnTo>
                  <a:lnTo>
                    <a:pt x="193" y="69"/>
                  </a:lnTo>
                  <a:lnTo>
                    <a:pt x="197" y="67"/>
                  </a:lnTo>
                  <a:lnTo>
                    <a:pt x="198" y="66"/>
                  </a:lnTo>
                  <a:lnTo>
                    <a:pt x="198"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26" name="Freeform 1080"/>
            <p:cNvSpPr>
              <a:spLocks/>
            </p:cNvSpPr>
            <p:nvPr/>
          </p:nvSpPr>
          <p:spPr bwMode="auto">
            <a:xfrm>
              <a:off x="4365625" y="3238929"/>
              <a:ext cx="111125" cy="79375"/>
            </a:xfrm>
            <a:custGeom>
              <a:avLst/>
              <a:gdLst>
                <a:gd name="T0" fmla="*/ 44 w 70"/>
                <a:gd name="T1" fmla="*/ 47 h 50"/>
                <a:gd name="T2" fmla="*/ 44 w 70"/>
                <a:gd name="T3" fmla="*/ 47 h 50"/>
                <a:gd name="T4" fmla="*/ 51 w 70"/>
                <a:gd name="T5" fmla="*/ 50 h 50"/>
                <a:gd name="T6" fmla="*/ 60 w 70"/>
                <a:gd name="T7" fmla="*/ 50 h 50"/>
                <a:gd name="T8" fmla="*/ 60 w 70"/>
                <a:gd name="T9" fmla="*/ 50 h 50"/>
                <a:gd name="T10" fmla="*/ 60 w 70"/>
                <a:gd name="T11" fmla="*/ 50 h 50"/>
                <a:gd name="T12" fmla="*/ 57 w 70"/>
                <a:gd name="T13" fmla="*/ 47 h 50"/>
                <a:gd name="T14" fmla="*/ 57 w 70"/>
                <a:gd name="T15" fmla="*/ 46 h 50"/>
                <a:gd name="T16" fmla="*/ 61 w 70"/>
                <a:gd name="T17" fmla="*/ 42 h 50"/>
                <a:gd name="T18" fmla="*/ 67 w 70"/>
                <a:gd name="T19" fmla="*/ 36 h 50"/>
                <a:gd name="T20" fmla="*/ 68 w 70"/>
                <a:gd name="T21" fmla="*/ 31 h 50"/>
                <a:gd name="T22" fmla="*/ 70 w 70"/>
                <a:gd name="T23" fmla="*/ 28 h 50"/>
                <a:gd name="T24" fmla="*/ 70 w 70"/>
                <a:gd name="T25" fmla="*/ 28 h 50"/>
                <a:gd name="T26" fmla="*/ 68 w 70"/>
                <a:gd name="T27" fmla="*/ 21 h 50"/>
                <a:gd name="T28" fmla="*/ 66 w 70"/>
                <a:gd name="T29" fmla="*/ 14 h 50"/>
                <a:gd name="T30" fmla="*/ 57 w 70"/>
                <a:gd name="T31" fmla="*/ 5 h 50"/>
                <a:gd name="T32" fmla="*/ 57 w 70"/>
                <a:gd name="T33" fmla="*/ 5 h 50"/>
                <a:gd name="T34" fmla="*/ 53 w 70"/>
                <a:gd name="T35" fmla="*/ 2 h 50"/>
                <a:gd name="T36" fmla="*/ 47 w 70"/>
                <a:gd name="T37" fmla="*/ 2 h 50"/>
                <a:gd name="T38" fmla="*/ 37 w 70"/>
                <a:gd name="T39" fmla="*/ 4 h 50"/>
                <a:gd name="T40" fmla="*/ 37 w 70"/>
                <a:gd name="T41" fmla="*/ 4 h 50"/>
                <a:gd name="T42" fmla="*/ 31 w 70"/>
                <a:gd name="T43" fmla="*/ 4 h 50"/>
                <a:gd name="T44" fmla="*/ 25 w 70"/>
                <a:gd name="T45" fmla="*/ 0 h 50"/>
                <a:gd name="T46" fmla="*/ 25 w 70"/>
                <a:gd name="T47" fmla="*/ 0 h 50"/>
                <a:gd name="T48" fmla="*/ 19 w 70"/>
                <a:gd name="T49" fmla="*/ 2 h 50"/>
                <a:gd name="T50" fmla="*/ 15 w 70"/>
                <a:gd name="T51" fmla="*/ 4 h 50"/>
                <a:gd name="T52" fmla="*/ 15 w 70"/>
                <a:gd name="T53" fmla="*/ 4 h 50"/>
                <a:gd name="T54" fmla="*/ 5 w 70"/>
                <a:gd name="T55" fmla="*/ 4 h 50"/>
                <a:gd name="T56" fmla="*/ 5 w 70"/>
                <a:gd name="T57" fmla="*/ 4 h 50"/>
                <a:gd name="T58" fmla="*/ 0 w 70"/>
                <a:gd name="T59" fmla="*/ 4 h 50"/>
                <a:gd name="T60" fmla="*/ 0 w 70"/>
                <a:gd name="T61" fmla="*/ 4 h 50"/>
                <a:gd name="T62" fmla="*/ 24 w 70"/>
                <a:gd name="T63" fmla="*/ 30 h 50"/>
                <a:gd name="T64" fmla="*/ 35 w 70"/>
                <a:gd name="T65" fmla="*/ 40 h 50"/>
                <a:gd name="T66" fmla="*/ 44 w 70"/>
                <a:gd name="T67" fmla="*/ 4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0" h="50">
                  <a:moveTo>
                    <a:pt x="44" y="47"/>
                  </a:moveTo>
                  <a:lnTo>
                    <a:pt x="44" y="47"/>
                  </a:lnTo>
                  <a:lnTo>
                    <a:pt x="51" y="50"/>
                  </a:lnTo>
                  <a:lnTo>
                    <a:pt x="60" y="50"/>
                  </a:lnTo>
                  <a:lnTo>
                    <a:pt x="60" y="50"/>
                  </a:lnTo>
                  <a:lnTo>
                    <a:pt x="60" y="50"/>
                  </a:lnTo>
                  <a:lnTo>
                    <a:pt x="57" y="47"/>
                  </a:lnTo>
                  <a:lnTo>
                    <a:pt x="57" y="46"/>
                  </a:lnTo>
                  <a:lnTo>
                    <a:pt x="61" y="42"/>
                  </a:lnTo>
                  <a:lnTo>
                    <a:pt x="67" y="36"/>
                  </a:lnTo>
                  <a:lnTo>
                    <a:pt x="68" y="31"/>
                  </a:lnTo>
                  <a:lnTo>
                    <a:pt x="70" y="28"/>
                  </a:lnTo>
                  <a:lnTo>
                    <a:pt x="70" y="28"/>
                  </a:lnTo>
                  <a:lnTo>
                    <a:pt x="68" y="21"/>
                  </a:lnTo>
                  <a:lnTo>
                    <a:pt x="66" y="14"/>
                  </a:lnTo>
                  <a:lnTo>
                    <a:pt x="57" y="5"/>
                  </a:lnTo>
                  <a:lnTo>
                    <a:pt x="57" y="5"/>
                  </a:lnTo>
                  <a:lnTo>
                    <a:pt x="53" y="2"/>
                  </a:lnTo>
                  <a:lnTo>
                    <a:pt x="47" y="2"/>
                  </a:lnTo>
                  <a:lnTo>
                    <a:pt x="37" y="4"/>
                  </a:lnTo>
                  <a:lnTo>
                    <a:pt x="37" y="4"/>
                  </a:lnTo>
                  <a:lnTo>
                    <a:pt x="31" y="4"/>
                  </a:lnTo>
                  <a:lnTo>
                    <a:pt x="25" y="0"/>
                  </a:lnTo>
                  <a:lnTo>
                    <a:pt x="25" y="0"/>
                  </a:lnTo>
                  <a:lnTo>
                    <a:pt x="19" y="2"/>
                  </a:lnTo>
                  <a:lnTo>
                    <a:pt x="15" y="4"/>
                  </a:lnTo>
                  <a:lnTo>
                    <a:pt x="15" y="4"/>
                  </a:lnTo>
                  <a:lnTo>
                    <a:pt x="5" y="4"/>
                  </a:lnTo>
                  <a:lnTo>
                    <a:pt x="5" y="4"/>
                  </a:lnTo>
                  <a:lnTo>
                    <a:pt x="0" y="4"/>
                  </a:lnTo>
                  <a:lnTo>
                    <a:pt x="0" y="4"/>
                  </a:lnTo>
                  <a:lnTo>
                    <a:pt x="24" y="30"/>
                  </a:lnTo>
                  <a:lnTo>
                    <a:pt x="35" y="40"/>
                  </a:lnTo>
                  <a:lnTo>
                    <a:pt x="44" y="47"/>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27" name="Freeform 1081"/>
            <p:cNvSpPr>
              <a:spLocks/>
            </p:cNvSpPr>
            <p:nvPr/>
          </p:nvSpPr>
          <p:spPr bwMode="auto">
            <a:xfrm>
              <a:off x="4365625" y="3238929"/>
              <a:ext cx="111125" cy="79375"/>
            </a:xfrm>
            <a:custGeom>
              <a:avLst/>
              <a:gdLst>
                <a:gd name="T0" fmla="*/ 44 w 70"/>
                <a:gd name="T1" fmla="*/ 47 h 50"/>
                <a:gd name="T2" fmla="*/ 44 w 70"/>
                <a:gd name="T3" fmla="*/ 47 h 50"/>
                <a:gd name="T4" fmla="*/ 51 w 70"/>
                <a:gd name="T5" fmla="*/ 50 h 50"/>
                <a:gd name="T6" fmla="*/ 60 w 70"/>
                <a:gd name="T7" fmla="*/ 50 h 50"/>
                <a:gd name="T8" fmla="*/ 60 w 70"/>
                <a:gd name="T9" fmla="*/ 50 h 50"/>
                <a:gd name="T10" fmla="*/ 60 w 70"/>
                <a:gd name="T11" fmla="*/ 50 h 50"/>
                <a:gd name="T12" fmla="*/ 57 w 70"/>
                <a:gd name="T13" fmla="*/ 47 h 50"/>
                <a:gd name="T14" fmla="*/ 57 w 70"/>
                <a:gd name="T15" fmla="*/ 46 h 50"/>
                <a:gd name="T16" fmla="*/ 61 w 70"/>
                <a:gd name="T17" fmla="*/ 42 h 50"/>
                <a:gd name="T18" fmla="*/ 67 w 70"/>
                <a:gd name="T19" fmla="*/ 36 h 50"/>
                <a:gd name="T20" fmla="*/ 68 w 70"/>
                <a:gd name="T21" fmla="*/ 31 h 50"/>
                <a:gd name="T22" fmla="*/ 70 w 70"/>
                <a:gd name="T23" fmla="*/ 28 h 50"/>
                <a:gd name="T24" fmla="*/ 70 w 70"/>
                <a:gd name="T25" fmla="*/ 28 h 50"/>
                <a:gd name="T26" fmla="*/ 68 w 70"/>
                <a:gd name="T27" fmla="*/ 21 h 50"/>
                <a:gd name="T28" fmla="*/ 66 w 70"/>
                <a:gd name="T29" fmla="*/ 14 h 50"/>
                <a:gd name="T30" fmla="*/ 57 w 70"/>
                <a:gd name="T31" fmla="*/ 5 h 50"/>
                <a:gd name="T32" fmla="*/ 57 w 70"/>
                <a:gd name="T33" fmla="*/ 5 h 50"/>
                <a:gd name="T34" fmla="*/ 53 w 70"/>
                <a:gd name="T35" fmla="*/ 2 h 50"/>
                <a:gd name="T36" fmla="*/ 47 w 70"/>
                <a:gd name="T37" fmla="*/ 2 h 50"/>
                <a:gd name="T38" fmla="*/ 37 w 70"/>
                <a:gd name="T39" fmla="*/ 4 h 50"/>
                <a:gd name="T40" fmla="*/ 37 w 70"/>
                <a:gd name="T41" fmla="*/ 4 h 50"/>
                <a:gd name="T42" fmla="*/ 31 w 70"/>
                <a:gd name="T43" fmla="*/ 4 h 50"/>
                <a:gd name="T44" fmla="*/ 25 w 70"/>
                <a:gd name="T45" fmla="*/ 0 h 50"/>
                <a:gd name="T46" fmla="*/ 25 w 70"/>
                <a:gd name="T47" fmla="*/ 0 h 50"/>
                <a:gd name="T48" fmla="*/ 19 w 70"/>
                <a:gd name="T49" fmla="*/ 2 h 50"/>
                <a:gd name="T50" fmla="*/ 15 w 70"/>
                <a:gd name="T51" fmla="*/ 4 h 50"/>
                <a:gd name="T52" fmla="*/ 15 w 70"/>
                <a:gd name="T53" fmla="*/ 4 h 50"/>
                <a:gd name="T54" fmla="*/ 5 w 70"/>
                <a:gd name="T55" fmla="*/ 4 h 50"/>
                <a:gd name="T56" fmla="*/ 5 w 70"/>
                <a:gd name="T57" fmla="*/ 4 h 50"/>
                <a:gd name="T58" fmla="*/ 0 w 70"/>
                <a:gd name="T59" fmla="*/ 4 h 50"/>
                <a:gd name="T60" fmla="*/ 0 w 70"/>
                <a:gd name="T61" fmla="*/ 4 h 50"/>
                <a:gd name="T62" fmla="*/ 24 w 70"/>
                <a:gd name="T63" fmla="*/ 30 h 50"/>
                <a:gd name="T64" fmla="*/ 35 w 70"/>
                <a:gd name="T65" fmla="*/ 40 h 50"/>
                <a:gd name="T66" fmla="*/ 44 w 70"/>
                <a:gd name="T67" fmla="*/ 4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0" h="50">
                  <a:moveTo>
                    <a:pt x="44" y="47"/>
                  </a:moveTo>
                  <a:lnTo>
                    <a:pt x="44" y="47"/>
                  </a:lnTo>
                  <a:lnTo>
                    <a:pt x="51" y="50"/>
                  </a:lnTo>
                  <a:lnTo>
                    <a:pt x="60" y="50"/>
                  </a:lnTo>
                  <a:lnTo>
                    <a:pt x="60" y="50"/>
                  </a:lnTo>
                  <a:lnTo>
                    <a:pt x="60" y="50"/>
                  </a:lnTo>
                  <a:lnTo>
                    <a:pt x="57" y="47"/>
                  </a:lnTo>
                  <a:lnTo>
                    <a:pt x="57" y="46"/>
                  </a:lnTo>
                  <a:lnTo>
                    <a:pt x="61" y="42"/>
                  </a:lnTo>
                  <a:lnTo>
                    <a:pt x="67" y="36"/>
                  </a:lnTo>
                  <a:lnTo>
                    <a:pt x="68" y="31"/>
                  </a:lnTo>
                  <a:lnTo>
                    <a:pt x="70" y="28"/>
                  </a:lnTo>
                  <a:lnTo>
                    <a:pt x="70" y="28"/>
                  </a:lnTo>
                  <a:lnTo>
                    <a:pt x="68" y="21"/>
                  </a:lnTo>
                  <a:lnTo>
                    <a:pt x="66" y="14"/>
                  </a:lnTo>
                  <a:lnTo>
                    <a:pt x="57" y="5"/>
                  </a:lnTo>
                  <a:lnTo>
                    <a:pt x="57" y="5"/>
                  </a:lnTo>
                  <a:lnTo>
                    <a:pt x="53" y="2"/>
                  </a:lnTo>
                  <a:lnTo>
                    <a:pt x="47" y="2"/>
                  </a:lnTo>
                  <a:lnTo>
                    <a:pt x="37" y="4"/>
                  </a:lnTo>
                  <a:lnTo>
                    <a:pt x="37" y="4"/>
                  </a:lnTo>
                  <a:lnTo>
                    <a:pt x="31" y="4"/>
                  </a:lnTo>
                  <a:lnTo>
                    <a:pt x="25" y="0"/>
                  </a:lnTo>
                  <a:lnTo>
                    <a:pt x="25" y="0"/>
                  </a:lnTo>
                  <a:lnTo>
                    <a:pt x="19" y="2"/>
                  </a:lnTo>
                  <a:lnTo>
                    <a:pt x="15" y="4"/>
                  </a:lnTo>
                  <a:lnTo>
                    <a:pt x="15" y="4"/>
                  </a:lnTo>
                  <a:lnTo>
                    <a:pt x="5" y="4"/>
                  </a:lnTo>
                  <a:lnTo>
                    <a:pt x="5" y="4"/>
                  </a:lnTo>
                  <a:lnTo>
                    <a:pt x="0" y="4"/>
                  </a:lnTo>
                  <a:lnTo>
                    <a:pt x="0" y="4"/>
                  </a:lnTo>
                  <a:lnTo>
                    <a:pt x="24" y="30"/>
                  </a:lnTo>
                  <a:lnTo>
                    <a:pt x="35" y="40"/>
                  </a:lnTo>
                  <a:lnTo>
                    <a:pt x="44" y="4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28" name="Freeform 1082"/>
            <p:cNvSpPr>
              <a:spLocks/>
            </p:cNvSpPr>
            <p:nvPr/>
          </p:nvSpPr>
          <p:spPr bwMode="auto">
            <a:xfrm>
              <a:off x="4456113" y="3296079"/>
              <a:ext cx="17463" cy="25400"/>
            </a:xfrm>
            <a:custGeom>
              <a:avLst/>
              <a:gdLst>
                <a:gd name="T0" fmla="*/ 10 w 11"/>
                <a:gd name="T1" fmla="*/ 16 h 16"/>
                <a:gd name="T2" fmla="*/ 10 w 11"/>
                <a:gd name="T3" fmla="*/ 16 h 16"/>
                <a:gd name="T4" fmla="*/ 3 w 11"/>
                <a:gd name="T5" fmla="*/ 14 h 16"/>
                <a:gd name="T6" fmla="*/ 3 w 11"/>
                <a:gd name="T7" fmla="*/ 14 h 16"/>
                <a:gd name="T8" fmla="*/ 3 w 11"/>
                <a:gd name="T9" fmla="*/ 14 h 16"/>
                <a:gd name="T10" fmla="*/ 3 w 11"/>
                <a:gd name="T11" fmla="*/ 14 h 16"/>
                <a:gd name="T12" fmla="*/ 3 w 11"/>
                <a:gd name="T13" fmla="*/ 14 h 16"/>
                <a:gd name="T14" fmla="*/ 3 w 11"/>
                <a:gd name="T15" fmla="*/ 14 h 16"/>
                <a:gd name="T16" fmla="*/ 3 w 11"/>
                <a:gd name="T17" fmla="*/ 14 h 16"/>
                <a:gd name="T18" fmla="*/ 3 w 11"/>
                <a:gd name="T19" fmla="*/ 13 h 16"/>
                <a:gd name="T20" fmla="*/ 3 w 11"/>
                <a:gd name="T21" fmla="*/ 13 h 16"/>
                <a:gd name="T22" fmla="*/ 3 w 11"/>
                <a:gd name="T23" fmla="*/ 13 h 16"/>
                <a:gd name="T24" fmla="*/ 3 w 11"/>
                <a:gd name="T25" fmla="*/ 13 h 16"/>
                <a:gd name="T26" fmla="*/ 3 w 11"/>
                <a:gd name="T27" fmla="*/ 13 h 16"/>
                <a:gd name="T28" fmla="*/ 3 w 11"/>
                <a:gd name="T29" fmla="*/ 13 h 16"/>
                <a:gd name="T30" fmla="*/ 3 w 11"/>
                <a:gd name="T31" fmla="*/ 13 h 16"/>
                <a:gd name="T32" fmla="*/ 3 w 11"/>
                <a:gd name="T33" fmla="*/ 13 h 16"/>
                <a:gd name="T34" fmla="*/ 3 w 11"/>
                <a:gd name="T35" fmla="*/ 13 h 16"/>
                <a:gd name="T36" fmla="*/ 3 w 11"/>
                <a:gd name="T37" fmla="*/ 13 h 16"/>
                <a:gd name="T38" fmla="*/ 3 w 11"/>
                <a:gd name="T39" fmla="*/ 13 h 16"/>
                <a:gd name="T40" fmla="*/ 1 w 11"/>
                <a:gd name="T41" fmla="*/ 13 h 16"/>
                <a:gd name="T42" fmla="*/ 1 w 11"/>
                <a:gd name="T43" fmla="*/ 13 h 16"/>
                <a:gd name="T44" fmla="*/ 1 w 11"/>
                <a:gd name="T45" fmla="*/ 13 h 16"/>
                <a:gd name="T46" fmla="*/ 1 w 11"/>
                <a:gd name="T47" fmla="*/ 13 h 16"/>
                <a:gd name="T48" fmla="*/ 1 w 11"/>
                <a:gd name="T49" fmla="*/ 13 h 16"/>
                <a:gd name="T50" fmla="*/ 1 w 11"/>
                <a:gd name="T51" fmla="*/ 13 h 16"/>
                <a:gd name="T52" fmla="*/ 1 w 11"/>
                <a:gd name="T53" fmla="*/ 13 h 16"/>
                <a:gd name="T54" fmla="*/ 1 w 11"/>
                <a:gd name="T55" fmla="*/ 13 h 16"/>
                <a:gd name="T56" fmla="*/ 1 w 11"/>
                <a:gd name="T57" fmla="*/ 13 h 16"/>
                <a:gd name="T58" fmla="*/ 1 w 11"/>
                <a:gd name="T59" fmla="*/ 13 h 16"/>
                <a:gd name="T60" fmla="*/ 1 w 11"/>
                <a:gd name="T61" fmla="*/ 13 h 16"/>
                <a:gd name="T62" fmla="*/ 1 w 11"/>
                <a:gd name="T63" fmla="*/ 13 h 16"/>
                <a:gd name="T64" fmla="*/ 1 w 11"/>
                <a:gd name="T65" fmla="*/ 13 h 16"/>
                <a:gd name="T66" fmla="*/ 1 w 11"/>
                <a:gd name="T67" fmla="*/ 13 h 16"/>
                <a:gd name="T68" fmla="*/ 1 w 11"/>
                <a:gd name="T69" fmla="*/ 13 h 16"/>
                <a:gd name="T70" fmla="*/ 1 w 11"/>
                <a:gd name="T71" fmla="*/ 13 h 16"/>
                <a:gd name="T72" fmla="*/ 1 w 11"/>
                <a:gd name="T73" fmla="*/ 13 h 16"/>
                <a:gd name="T74" fmla="*/ 1 w 11"/>
                <a:gd name="T75" fmla="*/ 13 h 16"/>
                <a:gd name="T76" fmla="*/ 1 w 11"/>
                <a:gd name="T77" fmla="*/ 13 h 16"/>
                <a:gd name="T78" fmla="*/ 1 w 11"/>
                <a:gd name="T79" fmla="*/ 13 h 16"/>
                <a:gd name="T80" fmla="*/ 1 w 11"/>
                <a:gd name="T81" fmla="*/ 13 h 16"/>
                <a:gd name="T82" fmla="*/ 1 w 11"/>
                <a:gd name="T83" fmla="*/ 13 h 16"/>
                <a:gd name="T84" fmla="*/ 1 w 11"/>
                <a:gd name="T85" fmla="*/ 13 h 16"/>
                <a:gd name="T86" fmla="*/ 1 w 11"/>
                <a:gd name="T87" fmla="*/ 13 h 16"/>
                <a:gd name="T88" fmla="*/ 1 w 11"/>
                <a:gd name="T89" fmla="*/ 13 h 16"/>
                <a:gd name="T90" fmla="*/ 1 w 11"/>
                <a:gd name="T91" fmla="*/ 13 h 16"/>
                <a:gd name="T92" fmla="*/ 1 w 11"/>
                <a:gd name="T93" fmla="*/ 13 h 16"/>
                <a:gd name="T94" fmla="*/ 1 w 11"/>
                <a:gd name="T95" fmla="*/ 13 h 16"/>
                <a:gd name="T96" fmla="*/ 1 w 11"/>
                <a:gd name="T97" fmla="*/ 13 h 16"/>
                <a:gd name="T98" fmla="*/ 0 w 11"/>
                <a:gd name="T99" fmla="*/ 11 h 16"/>
                <a:gd name="T100" fmla="*/ 0 w 11"/>
                <a:gd name="T101" fmla="*/ 11 h 16"/>
                <a:gd name="T102" fmla="*/ 1 w 11"/>
                <a:gd name="T103" fmla="*/ 7 h 16"/>
                <a:gd name="T104" fmla="*/ 9 w 11"/>
                <a:gd name="T105" fmla="*/ 0 h 16"/>
                <a:gd name="T106" fmla="*/ 9 w 11"/>
                <a:gd name="T107" fmla="*/ 0 h 16"/>
                <a:gd name="T108" fmla="*/ 11 w 11"/>
                <a:gd name="T109" fmla="*/ 7 h 16"/>
                <a:gd name="T110" fmla="*/ 10 w 11"/>
                <a:gd name="T11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 h="16">
                  <a:moveTo>
                    <a:pt x="10" y="16"/>
                  </a:moveTo>
                  <a:lnTo>
                    <a:pt x="10" y="16"/>
                  </a:lnTo>
                  <a:lnTo>
                    <a:pt x="3" y="14"/>
                  </a:lnTo>
                  <a:lnTo>
                    <a:pt x="3" y="14"/>
                  </a:lnTo>
                  <a:lnTo>
                    <a:pt x="3" y="14"/>
                  </a:lnTo>
                  <a:lnTo>
                    <a:pt x="3" y="14"/>
                  </a:lnTo>
                  <a:lnTo>
                    <a:pt x="3" y="14"/>
                  </a:lnTo>
                  <a:lnTo>
                    <a:pt x="3" y="14"/>
                  </a:lnTo>
                  <a:lnTo>
                    <a:pt x="3" y="14"/>
                  </a:lnTo>
                  <a:lnTo>
                    <a:pt x="3" y="13"/>
                  </a:lnTo>
                  <a:lnTo>
                    <a:pt x="3" y="13"/>
                  </a:lnTo>
                  <a:lnTo>
                    <a:pt x="3" y="13"/>
                  </a:lnTo>
                  <a:lnTo>
                    <a:pt x="3" y="13"/>
                  </a:lnTo>
                  <a:lnTo>
                    <a:pt x="3" y="13"/>
                  </a:lnTo>
                  <a:lnTo>
                    <a:pt x="3" y="13"/>
                  </a:lnTo>
                  <a:lnTo>
                    <a:pt x="3" y="13"/>
                  </a:lnTo>
                  <a:lnTo>
                    <a:pt x="3" y="13"/>
                  </a:lnTo>
                  <a:lnTo>
                    <a:pt x="3" y="13"/>
                  </a:lnTo>
                  <a:lnTo>
                    <a:pt x="3" y="13"/>
                  </a:lnTo>
                  <a:lnTo>
                    <a:pt x="3"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0" y="11"/>
                  </a:lnTo>
                  <a:lnTo>
                    <a:pt x="0" y="11"/>
                  </a:lnTo>
                  <a:lnTo>
                    <a:pt x="1" y="7"/>
                  </a:lnTo>
                  <a:lnTo>
                    <a:pt x="9" y="0"/>
                  </a:lnTo>
                  <a:lnTo>
                    <a:pt x="9" y="0"/>
                  </a:lnTo>
                  <a:lnTo>
                    <a:pt x="11" y="7"/>
                  </a:lnTo>
                  <a:lnTo>
                    <a:pt x="10" y="16"/>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29" name="Freeform 1083"/>
            <p:cNvSpPr>
              <a:spLocks/>
            </p:cNvSpPr>
            <p:nvPr/>
          </p:nvSpPr>
          <p:spPr bwMode="auto">
            <a:xfrm>
              <a:off x="4456113" y="3296079"/>
              <a:ext cx="17463" cy="25400"/>
            </a:xfrm>
            <a:custGeom>
              <a:avLst/>
              <a:gdLst>
                <a:gd name="T0" fmla="*/ 10 w 11"/>
                <a:gd name="T1" fmla="*/ 16 h 16"/>
                <a:gd name="T2" fmla="*/ 10 w 11"/>
                <a:gd name="T3" fmla="*/ 16 h 16"/>
                <a:gd name="T4" fmla="*/ 3 w 11"/>
                <a:gd name="T5" fmla="*/ 14 h 16"/>
                <a:gd name="T6" fmla="*/ 3 w 11"/>
                <a:gd name="T7" fmla="*/ 14 h 16"/>
                <a:gd name="T8" fmla="*/ 3 w 11"/>
                <a:gd name="T9" fmla="*/ 14 h 16"/>
                <a:gd name="T10" fmla="*/ 3 w 11"/>
                <a:gd name="T11" fmla="*/ 14 h 16"/>
                <a:gd name="T12" fmla="*/ 3 w 11"/>
                <a:gd name="T13" fmla="*/ 14 h 16"/>
                <a:gd name="T14" fmla="*/ 3 w 11"/>
                <a:gd name="T15" fmla="*/ 14 h 16"/>
                <a:gd name="T16" fmla="*/ 3 w 11"/>
                <a:gd name="T17" fmla="*/ 14 h 16"/>
                <a:gd name="T18" fmla="*/ 3 w 11"/>
                <a:gd name="T19" fmla="*/ 13 h 16"/>
                <a:gd name="T20" fmla="*/ 3 w 11"/>
                <a:gd name="T21" fmla="*/ 13 h 16"/>
                <a:gd name="T22" fmla="*/ 3 w 11"/>
                <a:gd name="T23" fmla="*/ 13 h 16"/>
                <a:gd name="T24" fmla="*/ 3 w 11"/>
                <a:gd name="T25" fmla="*/ 13 h 16"/>
                <a:gd name="T26" fmla="*/ 3 w 11"/>
                <a:gd name="T27" fmla="*/ 13 h 16"/>
                <a:gd name="T28" fmla="*/ 3 w 11"/>
                <a:gd name="T29" fmla="*/ 13 h 16"/>
                <a:gd name="T30" fmla="*/ 3 w 11"/>
                <a:gd name="T31" fmla="*/ 13 h 16"/>
                <a:gd name="T32" fmla="*/ 3 w 11"/>
                <a:gd name="T33" fmla="*/ 13 h 16"/>
                <a:gd name="T34" fmla="*/ 3 w 11"/>
                <a:gd name="T35" fmla="*/ 13 h 16"/>
                <a:gd name="T36" fmla="*/ 3 w 11"/>
                <a:gd name="T37" fmla="*/ 13 h 16"/>
                <a:gd name="T38" fmla="*/ 3 w 11"/>
                <a:gd name="T39" fmla="*/ 13 h 16"/>
                <a:gd name="T40" fmla="*/ 1 w 11"/>
                <a:gd name="T41" fmla="*/ 13 h 16"/>
                <a:gd name="T42" fmla="*/ 1 w 11"/>
                <a:gd name="T43" fmla="*/ 13 h 16"/>
                <a:gd name="T44" fmla="*/ 1 w 11"/>
                <a:gd name="T45" fmla="*/ 13 h 16"/>
                <a:gd name="T46" fmla="*/ 1 w 11"/>
                <a:gd name="T47" fmla="*/ 13 h 16"/>
                <a:gd name="T48" fmla="*/ 1 w 11"/>
                <a:gd name="T49" fmla="*/ 13 h 16"/>
                <a:gd name="T50" fmla="*/ 1 w 11"/>
                <a:gd name="T51" fmla="*/ 13 h 16"/>
                <a:gd name="T52" fmla="*/ 1 w 11"/>
                <a:gd name="T53" fmla="*/ 13 h 16"/>
                <a:gd name="T54" fmla="*/ 1 w 11"/>
                <a:gd name="T55" fmla="*/ 13 h 16"/>
                <a:gd name="T56" fmla="*/ 1 w 11"/>
                <a:gd name="T57" fmla="*/ 13 h 16"/>
                <a:gd name="T58" fmla="*/ 1 w 11"/>
                <a:gd name="T59" fmla="*/ 13 h 16"/>
                <a:gd name="T60" fmla="*/ 1 w 11"/>
                <a:gd name="T61" fmla="*/ 13 h 16"/>
                <a:gd name="T62" fmla="*/ 1 w 11"/>
                <a:gd name="T63" fmla="*/ 13 h 16"/>
                <a:gd name="T64" fmla="*/ 1 w 11"/>
                <a:gd name="T65" fmla="*/ 13 h 16"/>
                <a:gd name="T66" fmla="*/ 1 w 11"/>
                <a:gd name="T67" fmla="*/ 13 h 16"/>
                <a:gd name="T68" fmla="*/ 1 w 11"/>
                <a:gd name="T69" fmla="*/ 13 h 16"/>
                <a:gd name="T70" fmla="*/ 1 w 11"/>
                <a:gd name="T71" fmla="*/ 13 h 16"/>
                <a:gd name="T72" fmla="*/ 1 w 11"/>
                <a:gd name="T73" fmla="*/ 13 h 16"/>
                <a:gd name="T74" fmla="*/ 1 w 11"/>
                <a:gd name="T75" fmla="*/ 13 h 16"/>
                <a:gd name="T76" fmla="*/ 1 w 11"/>
                <a:gd name="T77" fmla="*/ 13 h 16"/>
                <a:gd name="T78" fmla="*/ 1 w 11"/>
                <a:gd name="T79" fmla="*/ 13 h 16"/>
                <a:gd name="T80" fmla="*/ 1 w 11"/>
                <a:gd name="T81" fmla="*/ 13 h 16"/>
                <a:gd name="T82" fmla="*/ 1 w 11"/>
                <a:gd name="T83" fmla="*/ 13 h 16"/>
                <a:gd name="T84" fmla="*/ 1 w 11"/>
                <a:gd name="T85" fmla="*/ 13 h 16"/>
                <a:gd name="T86" fmla="*/ 1 w 11"/>
                <a:gd name="T87" fmla="*/ 13 h 16"/>
                <a:gd name="T88" fmla="*/ 1 w 11"/>
                <a:gd name="T89" fmla="*/ 13 h 16"/>
                <a:gd name="T90" fmla="*/ 1 w 11"/>
                <a:gd name="T91" fmla="*/ 13 h 16"/>
                <a:gd name="T92" fmla="*/ 1 w 11"/>
                <a:gd name="T93" fmla="*/ 13 h 16"/>
                <a:gd name="T94" fmla="*/ 1 w 11"/>
                <a:gd name="T95" fmla="*/ 13 h 16"/>
                <a:gd name="T96" fmla="*/ 1 w 11"/>
                <a:gd name="T97" fmla="*/ 13 h 16"/>
                <a:gd name="T98" fmla="*/ 0 w 11"/>
                <a:gd name="T99" fmla="*/ 11 h 16"/>
                <a:gd name="T100" fmla="*/ 0 w 11"/>
                <a:gd name="T101" fmla="*/ 11 h 16"/>
                <a:gd name="T102" fmla="*/ 1 w 11"/>
                <a:gd name="T103" fmla="*/ 7 h 16"/>
                <a:gd name="T104" fmla="*/ 9 w 11"/>
                <a:gd name="T105" fmla="*/ 0 h 16"/>
                <a:gd name="T106" fmla="*/ 9 w 11"/>
                <a:gd name="T107" fmla="*/ 0 h 16"/>
                <a:gd name="T108" fmla="*/ 11 w 11"/>
                <a:gd name="T109" fmla="*/ 7 h 16"/>
                <a:gd name="T110" fmla="*/ 10 w 11"/>
                <a:gd name="T11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 h="16">
                  <a:moveTo>
                    <a:pt x="10" y="16"/>
                  </a:moveTo>
                  <a:lnTo>
                    <a:pt x="10" y="16"/>
                  </a:lnTo>
                  <a:lnTo>
                    <a:pt x="3" y="14"/>
                  </a:lnTo>
                  <a:lnTo>
                    <a:pt x="3" y="14"/>
                  </a:lnTo>
                  <a:lnTo>
                    <a:pt x="3" y="14"/>
                  </a:lnTo>
                  <a:lnTo>
                    <a:pt x="3" y="14"/>
                  </a:lnTo>
                  <a:lnTo>
                    <a:pt x="3" y="14"/>
                  </a:lnTo>
                  <a:lnTo>
                    <a:pt x="3" y="14"/>
                  </a:lnTo>
                  <a:lnTo>
                    <a:pt x="3" y="14"/>
                  </a:lnTo>
                  <a:lnTo>
                    <a:pt x="3" y="13"/>
                  </a:lnTo>
                  <a:lnTo>
                    <a:pt x="3" y="13"/>
                  </a:lnTo>
                  <a:lnTo>
                    <a:pt x="3" y="13"/>
                  </a:lnTo>
                  <a:lnTo>
                    <a:pt x="3" y="13"/>
                  </a:lnTo>
                  <a:lnTo>
                    <a:pt x="3" y="13"/>
                  </a:lnTo>
                  <a:lnTo>
                    <a:pt x="3" y="13"/>
                  </a:lnTo>
                  <a:lnTo>
                    <a:pt x="3" y="13"/>
                  </a:lnTo>
                  <a:lnTo>
                    <a:pt x="3" y="13"/>
                  </a:lnTo>
                  <a:lnTo>
                    <a:pt x="3" y="13"/>
                  </a:lnTo>
                  <a:lnTo>
                    <a:pt x="3" y="13"/>
                  </a:lnTo>
                  <a:lnTo>
                    <a:pt x="3"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0" y="11"/>
                  </a:lnTo>
                  <a:lnTo>
                    <a:pt x="0" y="11"/>
                  </a:lnTo>
                  <a:lnTo>
                    <a:pt x="1" y="7"/>
                  </a:lnTo>
                  <a:lnTo>
                    <a:pt x="9" y="0"/>
                  </a:lnTo>
                  <a:lnTo>
                    <a:pt x="9" y="0"/>
                  </a:lnTo>
                  <a:lnTo>
                    <a:pt x="11" y="7"/>
                  </a:lnTo>
                  <a:lnTo>
                    <a:pt x="10"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30" name="Freeform 1084"/>
            <p:cNvSpPr>
              <a:spLocks noEditPoints="1"/>
            </p:cNvSpPr>
            <p:nvPr/>
          </p:nvSpPr>
          <p:spPr bwMode="auto">
            <a:xfrm>
              <a:off x="4456113" y="3296079"/>
              <a:ext cx="14288" cy="22225"/>
            </a:xfrm>
            <a:custGeom>
              <a:avLst/>
              <a:gdLst>
                <a:gd name="T0" fmla="*/ 1 w 9"/>
                <a:gd name="T1" fmla="*/ 13 h 14"/>
                <a:gd name="T2" fmla="*/ 0 w 9"/>
                <a:gd name="T3" fmla="*/ 11 h 14"/>
                <a:gd name="T4" fmla="*/ 9 w 9"/>
                <a:gd name="T5" fmla="*/ 0 h 14"/>
                <a:gd name="T6" fmla="*/ 9 w 9"/>
                <a:gd name="T7" fmla="*/ 0 h 14"/>
                <a:gd name="T8" fmla="*/ 1 w 9"/>
                <a:gd name="T9" fmla="*/ 7 h 14"/>
                <a:gd name="T10" fmla="*/ 0 w 9"/>
                <a:gd name="T11" fmla="*/ 11 h 14"/>
                <a:gd name="T12" fmla="*/ 1 w 9"/>
                <a:gd name="T13" fmla="*/ 13 h 14"/>
                <a:gd name="T14" fmla="*/ 1 w 9"/>
                <a:gd name="T15" fmla="*/ 13 h 14"/>
                <a:gd name="T16" fmla="*/ 1 w 9"/>
                <a:gd name="T17" fmla="*/ 13 h 14"/>
                <a:gd name="T18" fmla="*/ 1 w 9"/>
                <a:gd name="T19" fmla="*/ 13 h 14"/>
                <a:gd name="T20" fmla="*/ 1 w 9"/>
                <a:gd name="T21" fmla="*/ 13 h 14"/>
                <a:gd name="T22" fmla="*/ 1 w 9"/>
                <a:gd name="T23" fmla="*/ 13 h 14"/>
                <a:gd name="T24" fmla="*/ 1 w 9"/>
                <a:gd name="T25" fmla="*/ 13 h 14"/>
                <a:gd name="T26" fmla="*/ 1 w 9"/>
                <a:gd name="T27" fmla="*/ 13 h 14"/>
                <a:gd name="T28" fmla="*/ 1 w 9"/>
                <a:gd name="T29" fmla="*/ 13 h 14"/>
                <a:gd name="T30" fmla="*/ 1 w 9"/>
                <a:gd name="T31" fmla="*/ 13 h 14"/>
                <a:gd name="T32" fmla="*/ 1 w 9"/>
                <a:gd name="T33" fmla="*/ 13 h 14"/>
                <a:gd name="T34" fmla="*/ 1 w 9"/>
                <a:gd name="T35" fmla="*/ 13 h 14"/>
                <a:gd name="T36" fmla="*/ 1 w 9"/>
                <a:gd name="T37" fmla="*/ 13 h 14"/>
                <a:gd name="T38" fmla="*/ 1 w 9"/>
                <a:gd name="T39" fmla="*/ 13 h 14"/>
                <a:gd name="T40" fmla="*/ 1 w 9"/>
                <a:gd name="T41" fmla="*/ 13 h 14"/>
                <a:gd name="T42" fmla="*/ 1 w 9"/>
                <a:gd name="T43" fmla="*/ 13 h 14"/>
                <a:gd name="T44" fmla="*/ 1 w 9"/>
                <a:gd name="T45" fmla="*/ 13 h 14"/>
                <a:gd name="T46" fmla="*/ 1 w 9"/>
                <a:gd name="T47" fmla="*/ 13 h 14"/>
                <a:gd name="T48" fmla="*/ 3 w 9"/>
                <a:gd name="T49" fmla="*/ 13 h 14"/>
                <a:gd name="T50" fmla="*/ 1 w 9"/>
                <a:gd name="T51" fmla="*/ 13 h 14"/>
                <a:gd name="T52" fmla="*/ 3 w 9"/>
                <a:gd name="T53" fmla="*/ 13 h 14"/>
                <a:gd name="T54" fmla="*/ 3 w 9"/>
                <a:gd name="T55" fmla="*/ 13 h 14"/>
                <a:gd name="T56" fmla="*/ 3 w 9"/>
                <a:gd name="T57" fmla="*/ 13 h 14"/>
                <a:gd name="T58" fmla="*/ 3 w 9"/>
                <a:gd name="T59" fmla="*/ 13 h 14"/>
                <a:gd name="T60" fmla="*/ 3 w 9"/>
                <a:gd name="T61" fmla="*/ 13 h 14"/>
                <a:gd name="T62" fmla="*/ 3 w 9"/>
                <a:gd name="T63" fmla="*/ 13 h 14"/>
                <a:gd name="T64" fmla="*/ 3 w 9"/>
                <a:gd name="T65" fmla="*/ 13 h 14"/>
                <a:gd name="T66" fmla="*/ 3 w 9"/>
                <a:gd name="T67" fmla="*/ 13 h 14"/>
                <a:gd name="T68" fmla="*/ 3 w 9"/>
                <a:gd name="T69" fmla="*/ 14 h 14"/>
                <a:gd name="T70" fmla="*/ 3 w 9"/>
                <a:gd name="T71" fmla="*/ 14 h 14"/>
                <a:gd name="T72" fmla="*/ 3 w 9"/>
                <a:gd name="T7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 h="14">
                  <a:moveTo>
                    <a:pt x="1" y="13"/>
                  </a:moveTo>
                  <a:lnTo>
                    <a:pt x="1" y="13"/>
                  </a:lnTo>
                  <a:lnTo>
                    <a:pt x="0" y="11"/>
                  </a:lnTo>
                  <a:lnTo>
                    <a:pt x="0" y="11"/>
                  </a:lnTo>
                  <a:lnTo>
                    <a:pt x="1" y="7"/>
                  </a:lnTo>
                  <a:lnTo>
                    <a:pt x="9" y="0"/>
                  </a:lnTo>
                  <a:lnTo>
                    <a:pt x="9" y="0"/>
                  </a:lnTo>
                  <a:lnTo>
                    <a:pt x="9" y="0"/>
                  </a:lnTo>
                  <a:lnTo>
                    <a:pt x="9" y="0"/>
                  </a:lnTo>
                  <a:lnTo>
                    <a:pt x="1" y="7"/>
                  </a:lnTo>
                  <a:lnTo>
                    <a:pt x="0" y="11"/>
                  </a:lnTo>
                  <a:lnTo>
                    <a:pt x="0" y="11"/>
                  </a:lnTo>
                  <a:lnTo>
                    <a:pt x="1" y="13"/>
                  </a:lnTo>
                  <a:close/>
                  <a:moveTo>
                    <a:pt x="1" y="13"/>
                  </a:moveTo>
                  <a:lnTo>
                    <a:pt x="1" y="13"/>
                  </a:lnTo>
                  <a:lnTo>
                    <a:pt x="1" y="13"/>
                  </a:lnTo>
                  <a:lnTo>
                    <a:pt x="1" y="13"/>
                  </a:lnTo>
                  <a:lnTo>
                    <a:pt x="1" y="13"/>
                  </a:lnTo>
                  <a:close/>
                  <a:moveTo>
                    <a:pt x="1" y="13"/>
                  </a:moveTo>
                  <a:lnTo>
                    <a:pt x="1" y="13"/>
                  </a:lnTo>
                  <a:lnTo>
                    <a:pt x="1" y="13"/>
                  </a:lnTo>
                  <a:lnTo>
                    <a:pt x="1" y="13"/>
                  </a:lnTo>
                  <a:lnTo>
                    <a:pt x="1" y="13"/>
                  </a:lnTo>
                  <a:close/>
                  <a:moveTo>
                    <a:pt x="1" y="13"/>
                  </a:moveTo>
                  <a:lnTo>
                    <a:pt x="1" y="13"/>
                  </a:lnTo>
                  <a:lnTo>
                    <a:pt x="1" y="13"/>
                  </a:lnTo>
                  <a:lnTo>
                    <a:pt x="1" y="13"/>
                  </a:lnTo>
                  <a:lnTo>
                    <a:pt x="1" y="13"/>
                  </a:lnTo>
                  <a:close/>
                  <a:moveTo>
                    <a:pt x="1" y="13"/>
                  </a:moveTo>
                  <a:lnTo>
                    <a:pt x="1" y="13"/>
                  </a:lnTo>
                  <a:lnTo>
                    <a:pt x="1" y="13"/>
                  </a:lnTo>
                  <a:lnTo>
                    <a:pt x="1" y="13"/>
                  </a:lnTo>
                  <a:lnTo>
                    <a:pt x="1" y="13"/>
                  </a:lnTo>
                  <a:close/>
                  <a:moveTo>
                    <a:pt x="1" y="13"/>
                  </a:moveTo>
                  <a:lnTo>
                    <a:pt x="1" y="13"/>
                  </a:lnTo>
                  <a:lnTo>
                    <a:pt x="1" y="13"/>
                  </a:lnTo>
                  <a:lnTo>
                    <a:pt x="1" y="13"/>
                  </a:lnTo>
                  <a:lnTo>
                    <a:pt x="1" y="13"/>
                  </a:lnTo>
                  <a:close/>
                  <a:moveTo>
                    <a:pt x="1" y="13"/>
                  </a:moveTo>
                  <a:lnTo>
                    <a:pt x="1" y="13"/>
                  </a:lnTo>
                  <a:lnTo>
                    <a:pt x="1" y="13"/>
                  </a:lnTo>
                  <a:lnTo>
                    <a:pt x="1" y="13"/>
                  </a:lnTo>
                  <a:lnTo>
                    <a:pt x="1" y="13"/>
                  </a:lnTo>
                  <a:close/>
                  <a:moveTo>
                    <a:pt x="1" y="13"/>
                  </a:moveTo>
                  <a:lnTo>
                    <a:pt x="1" y="13"/>
                  </a:lnTo>
                  <a:lnTo>
                    <a:pt x="1" y="13"/>
                  </a:lnTo>
                  <a:lnTo>
                    <a:pt x="1" y="13"/>
                  </a:lnTo>
                  <a:lnTo>
                    <a:pt x="1" y="13"/>
                  </a:lnTo>
                  <a:close/>
                  <a:moveTo>
                    <a:pt x="3" y="13"/>
                  </a:moveTo>
                  <a:lnTo>
                    <a:pt x="3" y="13"/>
                  </a:lnTo>
                  <a:lnTo>
                    <a:pt x="1" y="13"/>
                  </a:lnTo>
                  <a:lnTo>
                    <a:pt x="1" y="13"/>
                  </a:lnTo>
                  <a:lnTo>
                    <a:pt x="3" y="13"/>
                  </a:lnTo>
                  <a:close/>
                  <a:moveTo>
                    <a:pt x="3" y="13"/>
                  </a:moveTo>
                  <a:lnTo>
                    <a:pt x="3" y="13"/>
                  </a:lnTo>
                  <a:lnTo>
                    <a:pt x="3" y="13"/>
                  </a:lnTo>
                  <a:lnTo>
                    <a:pt x="3" y="13"/>
                  </a:lnTo>
                  <a:lnTo>
                    <a:pt x="3" y="13"/>
                  </a:lnTo>
                  <a:close/>
                  <a:moveTo>
                    <a:pt x="3" y="13"/>
                  </a:moveTo>
                  <a:lnTo>
                    <a:pt x="3" y="13"/>
                  </a:lnTo>
                  <a:lnTo>
                    <a:pt x="3" y="13"/>
                  </a:lnTo>
                  <a:lnTo>
                    <a:pt x="3" y="13"/>
                  </a:lnTo>
                  <a:lnTo>
                    <a:pt x="3" y="13"/>
                  </a:lnTo>
                  <a:close/>
                  <a:moveTo>
                    <a:pt x="3" y="13"/>
                  </a:moveTo>
                  <a:lnTo>
                    <a:pt x="3" y="13"/>
                  </a:lnTo>
                  <a:lnTo>
                    <a:pt x="3" y="13"/>
                  </a:lnTo>
                  <a:lnTo>
                    <a:pt x="3" y="13"/>
                  </a:lnTo>
                  <a:lnTo>
                    <a:pt x="3" y="13"/>
                  </a:lnTo>
                  <a:close/>
                  <a:moveTo>
                    <a:pt x="3" y="14"/>
                  </a:moveTo>
                  <a:lnTo>
                    <a:pt x="3" y="14"/>
                  </a:lnTo>
                  <a:lnTo>
                    <a:pt x="3" y="14"/>
                  </a:lnTo>
                  <a:lnTo>
                    <a:pt x="3" y="14"/>
                  </a:lnTo>
                  <a:lnTo>
                    <a:pt x="3" y="14"/>
                  </a:lnTo>
                  <a:lnTo>
                    <a:pt x="3" y="14"/>
                  </a:lnTo>
                  <a:close/>
                </a:path>
              </a:pathLst>
            </a:custGeom>
            <a:solidFill>
              <a:srgbClr val="60B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31" name="Freeform 1085"/>
            <p:cNvSpPr>
              <a:spLocks/>
            </p:cNvSpPr>
            <p:nvPr/>
          </p:nvSpPr>
          <p:spPr bwMode="auto">
            <a:xfrm>
              <a:off x="4456113" y="3296079"/>
              <a:ext cx="14288" cy="20638"/>
            </a:xfrm>
            <a:custGeom>
              <a:avLst/>
              <a:gdLst>
                <a:gd name="T0" fmla="*/ 1 w 9"/>
                <a:gd name="T1" fmla="*/ 13 h 13"/>
                <a:gd name="T2" fmla="*/ 1 w 9"/>
                <a:gd name="T3" fmla="*/ 13 h 13"/>
                <a:gd name="T4" fmla="*/ 0 w 9"/>
                <a:gd name="T5" fmla="*/ 11 h 13"/>
                <a:gd name="T6" fmla="*/ 0 w 9"/>
                <a:gd name="T7" fmla="*/ 11 h 13"/>
                <a:gd name="T8" fmla="*/ 1 w 9"/>
                <a:gd name="T9" fmla="*/ 7 h 13"/>
                <a:gd name="T10" fmla="*/ 9 w 9"/>
                <a:gd name="T11" fmla="*/ 0 h 13"/>
                <a:gd name="T12" fmla="*/ 9 w 9"/>
                <a:gd name="T13" fmla="*/ 0 h 13"/>
                <a:gd name="T14" fmla="*/ 9 w 9"/>
                <a:gd name="T15" fmla="*/ 0 h 13"/>
                <a:gd name="T16" fmla="*/ 9 w 9"/>
                <a:gd name="T17" fmla="*/ 0 h 13"/>
                <a:gd name="T18" fmla="*/ 1 w 9"/>
                <a:gd name="T19" fmla="*/ 7 h 13"/>
                <a:gd name="T20" fmla="*/ 0 w 9"/>
                <a:gd name="T21" fmla="*/ 11 h 13"/>
                <a:gd name="T22" fmla="*/ 0 w 9"/>
                <a:gd name="T23" fmla="*/ 11 h 13"/>
                <a:gd name="T24" fmla="*/ 1 w 9"/>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3">
                  <a:moveTo>
                    <a:pt x="1" y="13"/>
                  </a:moveTo>
                  <a:lnTo>
                    <a:pt x="1" y="13"/>
                  </a:lnTo>
                  <a:lnTo>
                    <a:pt x="0" y="11"/>
                  </a:lnTo>
                  <a:lnTo>
                    <a:pt x="0" y="11"/>
                  </a:lnTo>
                  <a:lnTo>
                    <a:pt x="1" y="7"/>
                  </a:lnTo>
                  <a:lnTo>
                    <a:pt x="9" y="0"/>
                  </a:lnTo>
                  <a:lnTo>
                    <a:pt x="9" y="0"/>
                  </a:lnTo>
                  <a:lnTo>
                    <a:pt x="9" y="0"/>
                  </a:lnTo>
                  <a:lnTo>
                    <a:pt x="9" y="0"/>
                  </a:lnTo>
                  <a:lnTo>
                    <a:pt x="1" y="7"/>
                  </a:lnTo>
                  <a:lnTo>
                    <a:pt x="0" y="11"/>
                  </a:lnTo>
                  <a:lnTo>
                    <a:pt x="0" y="11"/>
                  </a:lnTo>
                  <a:lnTo>
                    <a:pt x="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32" name="Rectangle 1086"/>
            <p:cNvSpPr>
              <a:spLocks noChangeArrowheads="1"/>
            </p:cNvSpPr>
            <p:nvPr/>
          </p:nvSpPr>
          <p:spPr bwMode="auto">
            <a:xfrm>
              <a:off x="4457700" y="3316717"/>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33" name="Rectangle 1087"/>
            <p:cNvSpPr>
              <a:spLocks noChangeArrowheads="1"/>
            </p:cNvSpPr>
            <p:nvPr/>
          </p:nvSpPr>
          <p:spPr bwMode="auto">
            <a:xfrm>
              <a:off x="4457700" y="3316717"/>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34" name="Rectangle 1088"/>
            <p:cNvSpPr>
              <a:spLocks noChangeArrowheads="1"/>
            </p:cNvSpPr>
            <p:nvPr/>
          </p:nvSpPr>
          <p:spPr bwMode="auto">
            <a:xfrm>
              <a:off x="4457700" y="3316717"/>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35" name="Rectangle 1089"/>
            <p:cNvSpPr>
              <a:spLocks noChangeArrowheads="1"/>
            </p:cNvSpPr>
            <p:nvPr/>
          </p:nvSpPr>
          <p:spPr bwMode="auto">
            <a:xfrm>
              <a:off x="4457700" y="3316717"/>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36" name="Rectangle 1090"/>
            <p:cNvSpPr>
              <a:spLocks noChangeArrowheads="1"/>
            </p:cNvSpPr>
            <p:nvPr/>
          </p:nvSpPr>
          <p:spPr bwMode="auto">
            <a:xfrm>
              <a:off x="4457700" y="3316717"/>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37" name="Rectangle 1091"/>
            <p:cNvSpPr>
              <a:spLocks noChangeArrowheads="1"/>
            </p:cNvSpPr>
            <p:nvPr/>
          </p:nvSpPr>
          <p:spPr bwMode="auto">
            <a:xfrm>
              <a:off x="4457700" y="3316717"/>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38" name="Rectangle 1092"/>
            <p:cNvSpPr>
              <a:spLocks noChangeArrowheads="1"/>
            </p:cNvSpPr>
            <p:nvPr/>
          </p:nvSpPr>
          <p:spPr bwMode="auto">
            <a:xfrm>
              <a:off x="4457700" y="3316717"/>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39" name="Rectangle 1093"/>
            <p:cNvSpPr>
              <a:spLocks noChangeArrowheads="1"/>
            </p:cNvSpPr>
            <p:nvPr/>
          </p:nvSpPr>
          <p:spPr bwMode="auto">
            <a:xfrm>
              <a:off x="4457700" y="3316717"/>
              <a:ext cx="3175"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40" name="Rectangle 1094"/>
            <p:cNvSpPr>
              <a:spLocks noChangeArrowheads="1"/>
            </p:cNvSpPr>
            <p:nvPr/>
          </p:nvSpPr>
          <p:spPr bwMode="auto">
            <a:xfrm>
              <a:off x="4460875" y="3316717"/>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41" name="Rectangle 1095"/>
            <p:cNvSpPr>
              <a:spLocks noChangeArrowheads="1"/>
            </p:cNvSpPr>
            <p:nvPr/>
          </p:nvSpPr>
          <p:spPr bwMode="auto">
            <a:xfrm>
              <a:off x="4460875" y="3316717"/>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42" name="Rectangle 1096"/>
            <p:cNvSpPr>
              <a:spLocks noChangeArrowheads="1"/>
            </p:cNvSpPr>
            <p:nvPr/>
          </p:nvSpPr>
          <p:spPr bwMode="auto">
            <a:xfrm>
              <a:off x="4460875" y="3316717"/>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43" name="Freeform 1097"/>
            <p:cNvSpPr>
              <a:spLocks/>
            </p:cNvSpPr>
            <p:nvPr/>
          </p:nvSpPr>
          <p:spPr bwMode="auto">
            <a:xfrm>
              <a:off x="4460875" y="3318304"/>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44" name="Freeform 1098"/>
            <p:cNvSpPr>
              <a:spLocks/>
            </p:cNvSpPr>
            <p:nvPr/>
          </p:nvSpPr>
          <p:spPr bwMode="auto">
            <a:xfrm>
              <a:off x="4462463" y="3096054"/>
              <a:ext cx="228600" cy="307975"/>
            </a:xfrm>
            <a:custGeom>
              <a:avLst/>
              <a:gdLst>
                <a:gd name="T0" fmla="*/ 139 w 144"/>
                <a:gd name="T1" fmla="*/ 98 h 194"/>
                <a:gd name="T2" fmla="*/ 144 w 144"/>
                <a:gd name="T3" fmla="*/ 91 h 194"/>
                <a:gd name="T4" fmla="*/ 136 w 144"/>
                <a:gd name="T5" fmla="*/ 56 h 194"/>
                <a:gd name="T6" fmla="*/ 135 w 144"/>
                <a:gd name="T7" fmla="*/ 42 h 194"/>
                <a:gd name="T8" fmla="*/ 132 w 144"/>
                <a:gd name="T9" fmla="*/ 21 h 194"/>
                <a:gd name="T10" fmla="*/ 129 w 144"/>
                <a:gd name="T11" fmla="*/ 20 h 194"/>
                <a:gd name="T12" fmla="*/ 125 w 144"/>
                <a:gd name="T13" fmla="*/ 10 h 194"/>
                <a:gd name="T14" fmla="*/ 119 w 144"/>
                <a:gd name="T15" fmla="*/ 17 h 194"/>
                <a:gd name="T16" fmla="*/ 118 w 144"/>
                <a:gd name="T17" fmla="*/ 19 h 194"/>
                <a:gd name="T18" fmla="*/ 107 w 144"/>
                <a:gd name="T19" fmla="*/ 11 h 194"/>
                <a:gd name="T20" fmla="*/ 97 w 144"/>
                <a:gd name="T21" fmla="*/ 16 h 194"/>
                <a:gd name="T22" fmla="*/ 87 w 144"/>
                <a:gd name="T23" fmla="*/ 21 h 194"/>
                <a:gd name="T24" fmla="*/ 84 w 144"/>
                <a:gd name="T25" fmla="*/ 19 h 194"/>
                <a:gd name="T26" fmla="*/ 84 w 144"/>
                <a:gd name="T27" fmla="*/ 11 h 194"/>
                <a:gd name="T28" fmla="*/ 77 w 144"/>
                <a:gd name="T29" fmla="*/ 13 h 194"/>
                <a:gd name="T30" fmla="*/ 68 w 144"/>
                <a:gd name="T31" fmla="*/ 17 h 194"/>
                <a:gd name="T32" fmla="*/ 67 w 144"/>
                <a:gd name="T33" fmla="*/ 8 h 194"/>
                <a:gd name="T34" fmla="*/ 67 w 144"/>
                <a:gd name="T35" fmla="*/ 5 h 194"/>
                <a:gd name="T36" fmla="*/ 41 w 144"/>
                <a:gd name="T37" fmla="*/ 0 h 194"/>
                <a:gd name="T38" fmla="*/ 45 w 144"/>
                <a:gd name="T39" fmla="*/ 23 h 194"/>
                <a:gd name="T40" fmla="*/ 41 w 144"/>
                <a:gd name="T41" fmla="*/ 34 h 194"/>
                <a:gd name="T42" fmla="*/ 36 w 144"/>
                <a:gd name="T43" fmla="*/ 34 h 194"/>
                <a:gd name="T44" fmla="*/ 23 w 144"/>
                <a:gd name="T45" fmla="*/ 29 h 194"/>
                <a:gd name="T46" fmla="*/ 16 w 144"/>
                <a:gd name="T47" fmla="*/ 36 h 194"/>
                <a:gd name="T48" fmla="*/ 19 w 144"/>
                <a:gd name="T49" fmla="*/ 55 h 194"/>
                <a:gd name="T50" fmla="*/ 16 w 144"/>
                <a:gd name="T51" fmla="*/ 65 h 194"/>
                <a:gd name="T52" fmla="*/ 12 w 144"/>
                <a:gd name="T53" fmla="*/ 75 h 194"/>
                <a:gd name="T54" fmla="*/ 6 w 144"/>
                <a:gd name="T55" fmla="*/ 79 h 194"/>
                <a:gd name="T56" fmla="*/ 5 w 144"/>
                <a:gd name="T57" fmla="*/ 90 h 194"/>
                <a:gd name="T58" fmla="*/ 0 w 144"/>
                <a:gd name="T59" fmla="*/ 100 h 194"/>
                <a:gd name="T60" fmla="*/ 7 w 144"/>
                <a:gd name="T61" fmla="*/ 113 h 194"/>
                <a:gd name="T62" fmla="*/ 7 w 144"/>
                <a:gd name="T63" fmla="*/ 121 h 194"/>
                <a:gd name="T64" fmla="*/ 7 w 144"/>
                <a:gd name="T65" fmla="*/ 133 h 194"/>
                <a:gd name="T66" fmla="*/ 12 w 144"/>
                <a:gd name="T67" fmla="*/ 143 h 194"/>
                <a:gd name="T68" fmla="*/ 26 w 144"/>
                <a:gd name="T69" fmla="*/ 149 h 194"/>
                <a:gd name="T70" fmla="*/ 35 w 144"/>
                <a:gd name="T71" fmla="*/ 152 h 194"/>
                <a:gd name="T72" fmla="*/ 32 w 144"/>
                <a:gd name="T73" fmla="*/ 166 h 194"/>
                <a:gd name="T74" fmla="*/ 28 w 144"/>
                <a:gd name="T75" fmla="*/ 182 h 194"/>
                <a:gd name="T76" fmla="*/ 47 w 144"/>
                <a:gd name="T77" fmla="*/ 189 h 194"/>
                <a:gd name="T78" fmla="*/ 71 w 144"/>
                <a:gd name="T79" fmla="*/ 189 h 194"/>
                <a:gd name="T80" fmla="*/ 100 w 144"/>
                <a:gd name="T81" fmla="*/ 185 h 194"/>
                <a:gd name="T82" fmla="*/ 116 w 144"/>
                <a:gd name="T83" fmla="*/ 179 h 194"/>
                <a:gd name="T84" fmla="*/ 123 w 144"/>
                <a:gd name="T85" fmla="*/ 166 h 194"/>
                <a:gd name="T86" fmla="*/ 133 w 144"/>
                <a:gd name="T87" fmla="*/ 155 h 194"/>
                <a:gd name="T88" fmla="*/ 118 w 144"/>
                <a:gd name="T89" fmla="*/ 145 h 194"/>
                <a:gd name="T90" fmla="*/ 103 w 144"/>
                <a:gd name="T91" fmla="*/ 127 h 194"/>
                <a:gd name="T92" fmla="*/ 103 w 144"/>
                <a:gd name="T93" fmla="*/ 124 h 194"/>
                <a:gd name="T94" fmla="*/ 122 w 144"/>
                <a:gd name="T95" fmla="*/ 11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4" h="194">
                  <a:moveTo>
                    <a:pt x="129" y="105"/>
                  </a:moveTo>
                  <a:lnTo>
                    <a:pt x="129" y="105"/>
                  </a:lnTo>
                  <a:lnTo>
                    <a:pt x="139" y="98"/>
                  </a:lnTo>
                  <a:lnTo>
                    <a:pt x="142" y="94"/>
                  </a:lnTo>
                  <a:lnTo>
                    <a:pt x="144" y="91"/>
                  </a:lnTo>
                  <a:lnTo>
                    <a:pt x="144" y="91"/>
                  </a:lnTo>
                  <a:lnTo>
                    <a:pt x="142" y="74"/>
                  </a:lnTo>
                  <a:lnTo>
                    <a:pt x="141" y="63"/>
                  </a:lnTo>
                  <a:lnTo>
                    <a:pt x="136" y="56"/>
                  </a:lnTo>
                  <a:lnTo>
                    <a:pt x="136" y="56"/>
                  </a:lnTo>
                  <a:lnTo>
                    <a:pt x="135" y="50"/>
                  </a:lnTo>
                  <a:lnTo>
                    <a:pt x="135" y="42"/>
                  </a:lnTo>
                  <a:lnTo>
                    <a:pt x="135" y="21"/>
                  </a:lnTo>
                  <a:lnTo>
                    <a:pt x="135" y="21"/>
                  </a:lnTo>
                  <a:lnTo>
                    <a:pt x="132" y="21"/>
                  </a:lnTo>
                  <a:lnTo>
                    <a:pt x="132" y="21"/>
                  </a:lnTo>
                  <a:lnTo>
                    <a:pt x="131" y="21"/>
                  </a:lnTo>
                  <a:lnTo>
                    <a:pt x="129" y="20"/>
                  </a:lnTo>
                  <a:lnTo>
                    <a:pt x="126" y="17"/>
                  </a:lnTo>
                  <a:lnTo>
                    <a:pt x="125" y="10"/>
                  </a:lnTo>
                  <a:lnTo>
                    <a:pt x="125" y="10"/>
                  </a:lnTo>
                  <a:lnTo>
                    <a:pt x="125" y="10"/>
                  </a:lnTo>
                  <a:lnTo>
                    <a:pt x="123" y="13"/>
                  </a:lnTo>
                  <a:lnTo>
                    <a:pt x="119" y="17"/>
                  </a:lnTo>
                  <a:lnTo>
                    <a:pt x="119" y="17"/>
                  </a:lnTo>
                  <a:lnTo>
                    <a:pt x="118" y="19"/>
                  </a:lnTo>
                  <a:lnTo>
                    <a:pt x="118" y="19"/>
                  </a:lnTo>
                  <a:lnTo>
                    <a:pt x="115" y="16"/>
                  </a:lnTo>
                  <a:lnTo>
                    <a:pt x="112" y="13"/>
                  </a:lnTo>
                  <a:lnTo>
                    <a:pt x="107" y="11"/>
                  </a:lnTo>
                  <a:lnTo>
                    <a:pt x="107" y="11"/>
                  </a:lnTo>
                  <a:lnTo>
                    <a:pt x="102" y="13"/>
                  </a:lnTo>
                  <a:lnTo>
                    <a:pt x="97" y="16"/>
                  </a:lnTo>
                  <a:lnTo>
                    <a:pt x="91" y="20"/>
                  </a:lnTo>
                  <a:lnTo>
                    <a:pt x="87" y="21"/>
                  </a:lnTo>
                  <a:lnTo>
                    <a:pt x="87" y="21"/>
                  </a:lnTo>
                  <a:lnTo>
                    <a:pt x="86" y="21"/>
                  </a:lnTo>
                  <a:lnTo>
                    <a:pt x="84" y="21"/>
                  </a:lnTo>
                  <a:lnTo>
                    <a:pt x="84" y="19"/>
                  </a:lnTo>
                  <a:lnTo>
                    <a:pt x="86" y="14"/>
                  </a:lnTo>
                  <a:lnTo>
                    <a:pt x="84" y="11"/>
                  </a:lnTo>
                  <a:lnTo>
                    <a:pt x="84" y="11"/>
                  </a:lnTo>
                  <a:lnTo>
                    <a:pt x="84" y="11"/>
                  </a:lnTo>
                  <a:lnTo>
                    <a:pt x="81" y="11"/>
                  </a:lnTo>
                  <a:lnTo>
                    <a:pt x="77" y="13"/>
                  </a:lnTo>
                  <a:lnTo>
                    <a:pt x="71" y="16"/>
                  </a:lnTo>
                  <a:lnTo>
                    <a:pt x="68" y="17"/>
                  </a:lnTo>
                  <a:lnTo>
                    <a:pt x="68" y="17"/>
                  </a:lnTo>
                  <a:lnTo>
                    <a:pt x="65" y="13"/>
                  </a:lnTo>
                  <a:lnTo>
                    <a:pt x="65" y="10"/>
                  </a:lnTo>
                  <a:lnTo>
                    <a:pt x="67" y="8"/>
                  </a:lnTo>
                  <a:lnTo>
                    <a:pt x="67" y="8"/>
                  </a:lnTo>
                  <a:lnTo>
                    <a:pt x="67" y="7"/>
                  </a:lnTo>
                  <a:lnTo>
                    <a:pt x="67" y="5"/>
                  </a:lnTo>
                  <a:lnTo>
                    <a:pt x="64" y="0"/>
                  </a:lnTo>
                  <a:lnTo>
                    <a:pt x="41" y="0"/>
                  </a:lnTo>
                  <a:lnTo>
                    <a:pt x="41" y="0"/>
                  </a:lnTo>
                  <a:lnTo>
                    <a:pt x="44" y="13"/>
                  </a:lnTo>
                  <a:lnTo>
                    <a:pt x="45" y="23"/>
                  </a:lnTo>
                  <a:lnTo>
                    <a:pt x="45" y="23"/>
                  </a:lnTo>
                  <a:lnTo>
                    <a:pt x="45" y="29"/>
                  </a:lnTo>
                  <a:lnTo>
                    <a:pt x="42" y="32"/>
                  </a:lnTo>
                  <a:lnTo>
                    <a:pt x="41" y="34"/>
                  </a:lnTo>
                  <a:lnTo>
                    <a:pt x="41" y="34"/>
                  </a:lnTo>
                  <a:lnTo>
                    <a:pt x="39" y="34"/>
                  </a:lnTo>
                  <a:lnTo>
                    <a:pt x="36" y="34"/>
                  </a:lnTo>
                  <a:lnTo>
                    <a:pt x="31" y="32"/>
                  </a:lnTo>
                  <a:lnTo>
                    <a:pt x="25" y="29"/>
                  </a:lnTo>
                  <a:lnTo>
                    <a:pt x="23" y="29"/>
                  </a:lnTo>
                  <a:lnTo>
                    <a:pt x="20" y="30"/>
                  </a:lnTo>
                  <a:lnTo>
                    <a:pt x="20" y="30"/>
                  </a:lnTo>
                  <a:lnTo>
                    <a:pt x="16" y="36"/>
                  </a:lnTo>
                  <a:lnTo>
                    <a:pt x="16" y="36"/>
                  </a:lnTo>
                  <a:lnTo>
                    <a:pt x="18" y="46"/>
                  </a:lnTo>
                  <a:lnTo>
                    <a:pt x="19" y="55"/>
                  </a:lnTo>
                  <a:lnTo>
                    <a:pt x="18" y="61"/>
                  </a:lnTo>
                  <a:lnTo>
                    <a:pt x="16" y="65"/>
                  </a:lnTo>
                  <a:lnTo>
                    <a:pt x="16" y="65"/>
                  </a:lnTo>
                  <a:lnTo>
                    <a:pt x="15" y="68"/>
                  </a:lnTo>
                  <a:lnTo>
                    <a:pt x="13" y="72"/>
                  </a:lnTo>
                  <a:lnTo>
                    <a:pt x="12" y="75"/>
                  </a:lnTo>
                  <a:lnTo>
                    <a:pt x="9" y="76"/>
                  </a:lnTo>
                  <a:lnTo>
                    <a:pt x="9" y="76"/>
                  </a:lnTo>
                  <a:lnTo>
                    <a:pt x="6" y="79"/>
                  </a:lnTo>
                  <a:lnTo>
                    <a:pt x="5" y="82"/>
                  </a:lnTo>
                  <a:lnTo>
                    <a:pt x="5" y="87"/>
                  </a:lnTo>
                  <a:lnTo>
                    <a:pt x="5" y="90"/>
                  </a:lnTo>
                  <a:lnTo>
                    <a:pt x="5" y="90"/>
                  </a:lnTo>
                  <a:lnTo>
                    <a:pt x="3" y="95"/>
                  </a:lnTo>
                  <a:lnTo>
                    <a:pt x="0" y="100"/>
                  </a:lnTo>
                  <a:lnTo>
                    <a:pt x="0" y="100"/>
                  </a:lnTo>
                  <a:lnTo>
                    <a:pt x="6" y="108"/>
                  </a:lnTo>
                  <a:lnTo>
                    <a:pt x="7" y="113"/>
                  </a:lnTo>
                  <a:lnTo>
                    <a:pt x="9" y="118"/>
                  </a:lnTo>
                  <a:lnTo>
                    <a:pt x="9" y="118"/>
                  </a:lnTo>
                  <a:lnTo>
                    <a:pt x="7" y="121"/>
                  </a:lnTo>
                  <a:lnTo>
                    <a:pt x="5" y="126"/>
                  </a:lnTo>
                  <a:lnTo>
                    <a:pt x="5" y="126"/>
                  </a:lnTo>
                  <a:lnTo>
                    <a:pt x="7" y="133"/>
                  </a:lnTo>
                  <a:lnTo>
                    <a:pt x="6" y="142"/>
                  </a:lnTo>
                  <a:lnTo>
                    <a:pt x="6" y="142"/>
                  </a:lnTo>
                  <a:lnTo>
                    <a:pt x="12" y="143"/>
                  </a:lnTo>
                  <a:lnTo>
                    <a:pt x="16" y="145"/>
                  </a:lnTo>
                  <a:lnTo>
                    <a:pt x="16" y="145"/>
                  </a:lnTo>
                  <a:lnTo>
                    <a:pt x="26" y="149"/>
                  </a:lnTo>
                  <a:lnTo>
                    <a:pt x="31" y="150"/>
                  </a:lnTo>
                  <a:lnTo>
                    <a:pt x="35" y="152"/>
                  </a:lnTo>
                  <a:lnTo>
                    <a:pt x="35" y="152"/>
                  </a:lnTo>
                  <a:lnTo>
                    <a:pt x="35" y="155"/>
                  </a:lnTo>
                  <a:lnTo>
                    <a:pt x="35" y="158"/>
                  </a:lnTo>
                  <a:lnTo>
                    <a:pt x="32" y="166"/>
                  </a:lnTo>
                  <a:lnTo>
                    <a:pt x="29" y="176"/>
                  </a:lnTo>
                  <a:lnTo>
                    <a:pt x="28" y="182"/>
                  </a:lnTo>
                  <a:lnTo>
                    <a:pt x="28" y="182"/>
                  </a:lnTo>
                  <a:lnTo>
                    <a:pt x="26" y="187"/>
                  </a:lnTo>
                  <a:lnTo>
                    <a:pt x="26" y="187"/>
                  </a:lnTo>
                  <a:lnTo>
                    <a:pt x="47" y="189"/>
                  </a:lnTo>
                  <a:lnTo>
                    <a:pt x="62" y="194"/>
                  </a:lnTo>
                  <a:lnTo>
                    <a:pt x="62" y="194"/>
                  </a:lnTo>
                  <a:lnTo>
                    <a:pt x="71" y="189"/>
                  </a:lnTo>
                  <a:lnTo>
                    <a:pt x="80" y="188"/>
                  </a:lnTo>
                  <a:lnTo>
                    <a:pt x="80" y="188"/>
                  </a:lnTo>
                  <a:lnTo>
                    <a:pt x="100" y="185"/>
                  </a:lnTo>
                  <a:lnTo>
                    <a:pt x="110" y="182"/>
                  </a:lnTo>
                  <a:lnTo>
                    <a:pt x="116" y="179"/>
                  </a:lnTo>
                  <a:lnTo>
                    <a:pt x="116" y="179"/>
                  </a:lnTo>
                  <a:lnTo>
                    <a:pt x="118" y="174"/>
                  </a:lnTo>
                  <a:lnTo>
                    <a:pt x="120" y="169"/>
                  </a:lnTo>
                  <a:lnTo>
                    <a:pt x="123" y="166"/>
                  </a:lnTo>
                  <a:lnTo>
                    <a:pt x="123" y="166"/>
                  </a:lnTo>
                  <a:lnTo>
                    <a:pt x="129" y="162"/>
                  </a:lnTo>
                  <a:lnTo>
                    <a:pt x="133" y="155"/>
                  </a:lnTo>
                  <a:lnTo>
                    <a:pt x="133" y="155"/>
                  </a:lnTo>
                  <a:lnTo>
                    <a:pt x="125" y="150"/>
                  </a:lnTo>
                  <a:lnTo>
                    <a:pt x="118" y="145"/>
                  </a:lnTo>
                  <a:lnTo>
                    <a:pt x="118" y="145"/>
                  </a:lnTo>
                  <a:lnTo>
                    <a:pt x="106" y="133"/>
                  </a:lnTo>
                  <a:lnTo>
                    <a:pt x="103" y="127"/>
                  </a:lnTo>
                  <a:lnTo>
                    <a:pt x="102" y="126"/>
                  </a:lnTo>
                  <a:lnTo>
                    <a:pt x="103" y="124"/>
                  </a:lnTo>
                  <a:lnTo>
                    <a:pt x="103" y="124"/>
                  </a:lnTo>
                  <a:lnTo>
                    <a:pt x="107" y="120"/>
                  </a:lnTo>
                  <a:lnTo>
                    <a:pt x="115" y="116"/>
                  </a:lnTo>
                  <a:lnTo>
                    <a:pt x="122" y="110"/>
                  </a:lnTo>
                  <a:lnTo>
                    <a:pt x="129" y="105"/>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45" name="Freeform 1099"/>
            <p:cNvSpPr>
              <a:spLocks/>
            </p:cNvSpPr>
            <p:nvPr/>
          </p:nvSpPr>
          <p:spPr bwMode="auto">
            <a:xfrm>
              <a:off x="4462463" y="3096054"/>
              <a:ext cx="228600" cy="307975"/>
            </a:xfrm>
            <a:custGeom>
              <a:avLst/>
              <a:gdLst>
                <a:gd name="T0" fmla="*/ 139 w 144"/>
                <a:gd name="T1" fmla="*/ 98 h 194"/>
                <a:gd name="T2" fmla="*/ 144 w 144"/>
                <a:gd name="T3" fmla="*/ 91 h 194"/>
                <a:gd name="T4" fmla="*/ 136 w 144"/>
                <a:gd name="T5" fmla="*/ 56 h 194"/>
                <a:gd name="T6" fmla="*/ 135 w 144"/>
                <a:gd name="T7" fmla="*/ 42 h 194"/>
                <a:gd name="T8" fmla="*/ 132 w 144"/>
                <a:gd name="T9" fmla="*/ 21 h 194"/>
                <a:gd name="T10" fmla="*/ 129 w 144"/>
                <a:gd name="T11" fmla="*/ 20 h 194"/>
                <a:gd name="T12" fmla="*/ 125 w 144"/>
                <a:gd name="T13" fmla="*/ 10 h 194"/>
                <a:gd name="T14" fmla="*/ 119 w 144"/>
                <a:gd name="T15" fmla="*/ 17 h 194"/>
                <a:gd name="T16" fmla="*/ 118 w 144"/>
                <a:gd name="T17" fmla="*/ 19 h 194"/>
                <a:gd name="T18" fmla="*/ 107 w 144"/>
                <a:gd name="T19" fmla="*/ 11 h 194"/>
                <a:gd name="T20" fmla="*/ 97 w 144"/>
                <a:gd name="T21" fmla="*/ 16 h 194"/>
                <a:gd name="T22" fmla="*/ 87 w 144"/>
                <a:gd name="T23" fmla="*/ 21 h 194"/>
                <a:gd name="T24" fmla="*/ 84 w 144"/>
                <a:gd name="T25" fmla="*/ 19 h 194"/>
                <a:gd name="T26" fmla="*/ 84 w 144"/>
                <a:gd name="T27" fmla="*/ 11 h 194"/>
                <a:gd name="T28" fmla="*/ 77 w 144"/>
                <a:gd name="T29" fmla="*/ 13 h 194"/>
                <a:gd name="T30" fmla="*/ 68 w 144"/>
                <a:gd name="T31" fmla="*/ 17 h 194"/>
                <a:gd name="T32" fmla="*/ 67 w 144"/>
                <a:gd name="T33" fmla="*/ 8 h 194"/>
                <a:gd name="T34" fmla="*/ 67 w 144"/>
                <a:gd name="T35" fmla="*/ 5 h 194"/>
                <a:gd name="T36" fmla="*/ 41 w 144"/>
                <a:gd name="T37" fmla="*/ 0 h 194"/>
                <a:gd name="T38" fmla="*/ 45 w 144"/>
                <a:gd name="T39" fmla="*/ 23 h 194"/>
                <a:gd name="T40" fmla="*/ 41 w 144"/>
                <a:gd name="T41" fmla="*/ 34 h 194"/>
                <a:gd name="T42" fmla="*/ 36 w 144"/>
                <a:gd name="T43" fmla="*/ 34 h 194"/>
                <a:gd name="T44" fmla="*/ 23 w 144"/>
                <a:gd name="T45" fmla="*/ 29 h 194"/>
                <a:gd name="T46" fmla="*/ 16 w 144"/>
                <a:gd name="T47" fmla="*/ 36 h 194"/>
                <a:gd name="T48" fmla="*/ 19 w 144"/>
                <a:gd name="T49" fmla="*/ 55 h 194"/>
                <a:gd name="T50" fmla="*/ 16 w 144"/>
                <a:gd name="T51" fmla="*/ 65 h 194"/>
                <a:gd name="T52" fmla="*/ 12 w 144"/>
                <a:gd name="T53" fmla="*/ 75 h 194"/>
                <a:gd name="T54" fmla="*/ 6 w 144"/>
                <a:gd name="T55" fmla="*/ 79 h 194"/>
                <a:gd name="T56" fmla="*/ 5 w 144"/>
                <a:gd name="T57" fmla="*/ 90 h 194"/>
                <a:gd name="T58" fmla="*/ 0 w 144"/>
                <a:gd name="T59" fmla="*/ 100 h 194"/>
                <a:gd name="T60" fmla="*/ 7 w 144"/>
                <a:gd name="T61" fmla="*/ 113 h 194"/>
                <a:gd name="T62" fmla="*/ 7 w 144"/>
                <a:gd name="T63" fmla="*/ 121 h 194"/>
                <a:gd name="T64" fmla="*/ 7 w 144"/>
                <a:gd name="T65" fmla="*/ 133 h 194"/>
                <a:gd name="T66" fmla="*/ 12 w 144"/>
                <a:gd name="T67" fmla="*/ 143 h 194"/>
                <a:gd name="T68" fmla="*/ 26 w 144"/>
                <a:gd name="T69" fmla="*/ 149 h 194"/>
                <a:gd name="T70" fmla="*/ 35 w 144"/>
                <a:gd name="T71" fmla="*/ 152 h 194"/>
                <a:gd name="T72" fmla="*/ 32 w 144"/>
                <a:gd name="T73" fmla="*/ 166 h 194"/>
                <a:gd name="T74" fmla="*/ 28 w 144"/>
                <a:gd name="T75" fmla="*/ 182 h 194"/>
                <a:gd name="T76" fmla="*/ 47 w 144"/>
                <a:gd name="T77" fmla="*/ 189 h 194"/>
                <a:gd name="T78" fmla="*/ 71 w 144"/>
                <a:gd name="T79" fmla="*/ 189 h 194"/>
                <a:gd name="T80" fmla="*/ 100 w 144"/>
                <a:gd name="T81" fmla="*/ 185 h 194"/>
                <a:gd name="T82" fmla="*/ 116 w 144"/>
                <a:gd name="T83" fmla="*/ 179 h 194"/>
                <a:gd name="T84" fmla="*/ 123 w 144"/>
                <a:gd name="T85" fmla="*/ 166 h 194"/>
                <a:gd name="T86" fmla="*/ 133 w 144"/>
                <a:gd name="T87" fmla="*/ 155 h 194"/>
                <a:gd name="T88" fmla="*/ 118 w 144"/>
                <a:gd name="T89" fmla="*/ 145 h 194"/>
                <a:gd name="T90" fmla="*/ 103 w 144"/>
                <a:gd name="T91" fmla="*/ 127 h 194"/>
                <a:gd name="T92" fmla="*/ 103 w 144"/>
                <a:gd name="T93" fmla="*/ 124 h 194"/>
                <a:gd name="T94" fmla="*/ 122 w 144"/>
                <a:gd name="T95" fmla="*/ 11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4" h="194">
                  <a:moveTo>
                    <a:pt x="129" y="105"/>
                  </a:moveTo>
                  <a:lnTo>
                    <a:pt x="129" y="105"/>
                  </a:lnTo>
                  <a:lnTo>
                    <a:pt x="139" y="98"/>
                  </a:lnTo>
                  <a:lnTo>
                    <a:pt x="142" y="94"/>
                  </a:lnTo>
                  <a:lnTo>
                    <a:pt x="144" y="91"/>
                  </a:lnTo>
                  <a:lnTo>
                    <a:pt x="144" y="91"/>
                  </a:lnTo>
                  <a:lnTo>
                    <a:pt x="142" y="74"/>
                  </a:lnTo>
                  <a:lnTo>
                    <a:pt x="141" y="63"/>
                  </a:lnTo>
                  <a:lnTo>
                    <a:pt x="136" y="56"/>
                  </a:lnTo>
                  <a:lnTo>
                    <a:pt x="136" y="56"/>
                  </a:lnTo>
                  <a:lnTo>
                    <a:pt x="135" y="50"/>
                  </a:lnTo>
                  <a:lnTo>
                    <a:pt x="135" y="42"/>
                  </a:lnTo>
                  <a:lnTo>
                    <a:pt x="135" y="21"/>
                  </a:lnTo>
                  <a:lnTo>
                    <a:pt x="135" y="21"/>
                  </a:lnTo>
                  <a:lnTo>
                    <a:pt x="132" y="21"/>
                  </a:lnTo>
                  <a:lnTo>
                    <a:pt x="132" y="21"/>
                  </a:lnTo>
                  <a:lnTo>
                    <a:pt x="131" y="21"/>
                  </a:lnTo>
                  <a:lnTo>
                    <a:pt x="129" y="20"/>
                  </a:lnTo>
                  <a:lnTo>
                    <a:pt x="126" y="17"/>
                  </a:lnTo>
                  <a:lnTo>
                    <a:pt x="125" y="10"/>
                  </a:lnTo>
                  <a:lnTo>
                    <a:pt x="125" y="10"/>
                  </a:lnTo>
                  <a:lnTo>
                    <a:pt x="125" y="10"/>
                  </a:lnTo>
                  <a:lnTo>
                    <a:pt x="123" y="13"/>
                  </a:lnTo>
                  <a:lnTo>
                    <a:pt x="119" y="17"/>
                  </a:lnTo>
                  <a:lnTo>
                    <a:pt x="119" y="17"/>
                  </a:lnTo>
                  <a:lnTo>
                    <a:pt x="118" y="19"/>
                  </a:lnTo>
                  <a:lnTo>
                    <a:pt x="118" y="19"/>
                  </a:lnTo>
                  <a:lnTo>
                    <a:pt x="115" y="16"/>
                  </a:lnTo>
                  <a:lnTo>
                    <a:pt x="112" y="13"/>
                  </a:lnTo>
                  <a:lnTo>
                    <a:pt x="107" y="11"/>
                  </a:lnTo>
                  <a:lnTo>
                    <a:pt x="107" y="11"/>
                  </a:lnTo>
                  <a:lnTo>
                    <a:pt x="102" y="13"/>
                  </a:lnTo>
                  <a:lnTo>
                    <a:pt x="97" y="16"/>
                  </a:lnTo>
                  <a:lnTo>
                    <a:pt x="91" y="20"/>
                  </a:lnTo>
                  <a:lnTo>
                    <a:pt x="87" y="21"/>
                  </a:lnTo>
                  <a:lnTo>
                    <a:pt x="87" y="21"/>
                  </a:lnTo>
                  <a:lnTo>
                    <a:pt x="86" y="21"/>
                  </a:lnTo>
                  <a:lnTo>
                    <a:pt x="84" y="21"/>
                  </a:lnTo>
                  <a:lnTo>
                    <a:pt x="84" y="19"/>
                  </a:lnTo>
                  <a:lnTo>
                    <a:pt x="86" y="14"/>
                  </a:lnTo>
                  <a:lnTo>
                    <a:pt x="84" y="11"/>
                  </a:lnTo>
                  <a:lnTo>
                    <a:pt x="84" y="11"/>
                  </a:lnTo>
                  <a:lnTo>
                    <a:pt x="84" y="11"/>
                  </a:lnTo>
                  <a:lnTo>
                    <a:pt x="81" y="11"/>
                  </a:lnTo>
                  <a:lnTo>
                    <a:pt x="77" y="13"/>
                  </a:lnTo>
                  <a:lnTo>
                    <a:pt x="71" y="16"/>
                  </a:lnTo>
                  <a:lnTo>
                    <a:pt x="68" y="17"/>
                  </a:lnTo>
                  <a:lnTo>
                    <a:pt x="68" y="17"/>
                  </a:lnTo>
                  <a:lnTo>
                    <a:pt x="65" y="13"/>
                  </a:lnTo>
                  <a:lnTo>
                    <a:pt x="65" y="10"/>
                  </a:lnTo>
                  <a:lnTo>
                    <a:pt x="67" y="8"/>
                  </a:lnTo>
                  <a:lnTo>
                    <a:pt x="67" y="8"/>
                  </a:lnTo>
                  <a:lnTo>
                    <a:pt x="67" y="7"/>
                  </a:lnTo>
                  <a:lnTo>
                    <a:pt x="67" y="5"/>
                  </a:lnTo>
                  <a:lnTo>
                    <a:pt x="64" y="0"/>
                  </a:lnTo>
                  <a:lnTo>
                    <a:pt x="41" y="0"/>
                  </a:lnTo>
                  <a:lnTo>
                    <a:pt x="41" y="0"/>
                  </a:lnTo>
                  <a:lnTo>
                    <a:pt x="44" y="13"/>
                  </a:lnTo>
                  <a:lnTo>
                    <a:pt x="45" y="23"/>
                  </a:lnTo>
                  <a:lnTo>
                    <a:pt x="45" y="23"/>
                  </a:lnTo>
                  <a:lnTo>
                    <a:pt x="45" y="29"/>
                  </a:lnTo>
                  <a:lnTo>
                    <a:pt x="42" y="32"/>
                  </a:lnTo>
                  <a:lnTo>
                    <a:pt x="41" y="34"/>
                  </a:lnTo>
                  <a:lnTo>
                    <a:pt x="41" y="34"/>
                  </a:lnTo>
                  <a:lnTo>
                    <a:pt x="39" y="34"/>
                  </a:lnTo>
                  <a:lnTo>
                    <a:pt x="36" y="34"/>
                  </a:lnTo>
                  <a:lnTo>
                    <a:pt x="31" y="32"/>
                  </a:lnTo>
                  <a:lnTo>
                    <a:pt x="25" y="29"/>
                  </a:lnTo>
                  <a:lnTo>
                    <a:pt x="23" y="29"/>
                  </a:lnTo>
                  <a:lnTo>
                    <a:pt x="20" y="30"/>
                  </a:lnTo>
                  <a:lnTo>
                    <a:pt x="20" y="30"/>
                  </a:lnTo>
                  <a:lnTo>
                    <a:pt x="16" y="36"/>
                  </a:lnTo>
                  <a:lnTo>
                    <a:pt x="16" y="36"/>
                  </a:lnTo>
                  <a:lnTo>
                    <a:pt x="18" y="46"/>
                  </a:lnTo>
                  <a:lnTo>
                    <a:pt x="19" y="55"/>
                  </a:lnTo>
                  <a:lnTo>
                    <a:pt x="18" y="61"/>
                  </a:lnTo>
                  <a:lnTo>
                    <a:pt x="16" y="65"/>
                  </a:lnTo>
                  <a:lnTo>
                    <a:pt x="16" y="65"/>
                  </a:lnTo>
                  <a:lnTo>
                    <a:pt x="15" y="68"/>
                  </a:lnTo>
                  <a:lnTo>
                    <a:pt x="13" y="72"/>
                  </a:lnTo>
                  <a:lnTo>
                    <a:pt x="12" y="75"/>
                  </a:lnTo>
                  <a:lnTo>
                    <a:pt x="9" y="76"/>
                  </a:lnTo>
                  <a:lnTo>
                    <a:pt x="9" y="76"/>
                  </a:lnTo>
                  <a:lnTo>
                    <a:pt x="6" y="79"/>
                  </a:lnTo>
                  <a:lnTo>
                    <a:pt x="5" y="82"/>
                  </a:lnTo>
                  <a:lnTo>
                    <a:pt x="5" y="87"/>
                  </a:lnTo>
                  <a:lnTo>
                    <a:pt x="5" y="90"/>
                  </a:lnTo>
                  <a:lnTo>
                    <a:pt x="5" y="90"/>
                  </a:lnTo>
                  <a:lnTo>
                    <a:pt x="3" y="95"/>
                  </a:lnTo>
                  <a:lnTo>
                    <a:pt x="0" y="100"/>
                  </a:lnTo>
                  <a:lnTo>
                    <a:pt x="0" y="100"/>
                  </a:lnTo>
                  <a:lnTo>
                    <a:pt x="6" y="108"/>
                  </a:lnTo>
                  <a:lnTo>
                    <a:pt x="7" y="113"/>
                  </a:lnTo>
                  <a:lnTo>
                    <a:pt x="9" y="118"/>
                  </a:lnTo>
                  <a:lnTo>
                    <a:pt x="9" y="118"/>
                  </a:lnTo>
                  <a:lnTo>
                    <a:pt x="7" y="121"/>
                  </a:lnTo>
                  <a:lnTo>
                    <a:pt x="5" y="126"/>
                  </a:lnTo>
                  <a:lnTo>
                    <a:pt x="5" y="126"/>
                  </a:lnTo>
                  <a:lnTo>
                    <a:pt x="7" y="133"/>
                  </a:lnTo>
                  <a:lnTo>
                    <a:pt x="6" y="142"/>
                  </a:lnTo>
                  <a:lnTo>
                    <a:pt x="6" y="142"/>
                  </a:lnTo>
                  <a:lnTo>
                    <a:pt x="12" y="143"/>
                  </a:lnTo>
                  <a:lnTo>
                    <a:pt x="16" y="145"/>
                  </a:lnTo>
                  <a:lnTo>
                    <a:pt x="16" y="145"/>
                  </a:lnTo>
                  <a:lnTo>
                    <a:pt x="26" y="149"/>
                  </a:lnTo>
                  <a:lnTo>
                    <a:pt x="31" y="150"/>
                  </a:lnTo>
                  <a:lnTo>
                    <a:pt x="35" y="152"/>
                  </a:lnTo>
                  <a:lnTo>
                    <a:pt x="35" y="152"/>
                  </a:lnTo>
                  <a:lnTo>
                    <a:pt x="35" y="155"/>
                  </a:lnTo>
                  <a:lnTo>
                    <a:pt x="35" y="158"/>
                  </a:lnTo>
                  <a:lnTo>
                    <a:pt x="32" y="166"/>
                  </a:lnTo>
                  <a:lnTo>
                    <a:pt x="29" y="176"/>
                  </a:lnTo>
                  <a:lnTo>
                    <a:pt x="28" y="182"/>
                  </a:lnTo>
                  <a:lnTo>
                    <a:pt x="28" y="182"/>
                  </a:lnTo>
                  <a:lnTo>
                    <a:pt x="26" y="187"/>
                  </a:lnTo>
                  <a:lnTo>
                    <a:pt x="26" y="187"/>
                  </a:lnTo>
                  <a:lnTo>
                    <a:pt x="47" y="189"/>
                  </a:lnTo>
                  <a:lnTo>
                    <a:pt x="62" y="194"/>
                  </a:lnTo>
                  <a:lnTo>
                    <a:pt x="62" y="194"/>
                  </a:lnTo>
                  <a:lnTo>
                    <a:pt x="71" y="189"/>
                  </a:lnTo>
                  <a:lnTo>
                    <a:pt x="80" y="188"/>
                  </a:lnTo>
                  <a:lnTo>
                    <a:pt x="80" y="188"/>
                  </a:lnTo>
                  <a:lnTo>
                    <a:pt x="100" y="185"/>
                  </a:lnTo>
                  <a:lnTo>
                    <a:pt x="110" y="182"/>
                  </a:lnTo>
                  <a:lnTo>
                    <a:pt x="116" y="179"/>
                  </a:lnTo>
                  <a:lnTo>
                    <a:pt x="116" y="179"/>
                  </a:lnTo>
                  <a:lnTo>
                    <a:pt x="118" y="174"/>
                  </a:lnTo>
                  <a:lnTo>
                    <a:pt x="120" y="169"/>
                  </a:lnTo>
                  <a:lnTo>
                    <a:pt x="123" y="166"/>
                  </a:lnTo>
                  <a:lnTo>
                    <a:pt x="123" y="166"/>
                  </a:lnTo>
                  <a:lnTo>
                    <a:pt x="129" y="162"/>
                  </a:lnTo>
                  <a:lnTo>
                    <a:pt x="133" y="155"/>
                  </a:lnTo>
                  <a:lnTo>
                    <a:pt x="133" y="155"/>
                  </a:lnTo>
                  <a:lnTo>
                    <a:pt x="125" y="150"/>
                  </a:lnTo>
                  <a:lnTo>
                    <a:pt x="118" y="145"/>
                  </a:lnTo>
                  <a:lnTo>
                    <a:pt x="118" y="145"/>
                  </a:lnTo>
                  <a:lnTo>
                    <a:pt x="106" y="133"/>
                  </a:lnTo>
                  <a:lnTo>
                    <a:pt x="103" y="127"/>
                  </a:lnTo>
                  <a:lnTo>
                    <a:pt x="102" y="126"/>
                  </a:lnTo>
                  <a:lnTo>
                    <a:pt x="103" y="124"/>
                  </a:lnTo>
                  <a:lnTo>
                    <a:pt x="103" y="124"/>
                  </a:lnTo>
                  <a:lnTo>
                    <a:pt x="107" y="120"/>
                  </a:lnTo>
                  <a:lnTo>
                    <a:pt x="115" y="116"/>
                  </a:lnTo>
                  <a:lnTo>
                    <a:pt x="122" y="110"/>
                  </a:lnTo>
                  <a:lnTo>
                    <a:pt x="129" y="10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46" name="Freeform 1100"/>
            <p:cNvSpPr>
              <a:spLocks/>
            </p:cNvSpPr>
            <p:nvPr/>
          </p:nvSpPr>
          <p:spPr bwMode="auto">
            <a:xfrm>
              <a:off x="4343400" y="3569129"/>
              <a:ext cx="11113" cy="11113"/>
            </a:xfrm>
            <a:custGeom>
              <a:avLst/>
              <a:gdLst>
                <a:gd name="T0" fmla="*/ 3 w 7"/>
                <a:gd name="T1" fmla="*/ 7 h 7"/>
                <a:gd name="T2" fmla="*/ 3 w 7"/>
                <a:gd name="T3" fmla="*/ 7 h 7"/>
                <a:gd name="T4" fmla="*/ 7 w 7"/>
                <a:gd name="T5" fmla="*/ 6 h 7"/>
                <a:gd name="T6" fmla="*/ 7 w 7"/>
                <a:gd name="T7" fmla="*/ 6 h 7"/>
                <a:gd name="T8" fmla="*/ 4 w 7"/>
                <a:gd name="T9" fmla="*/ 3 h 7"/>
                <a:gd name="T10" fmla="*/ 3 w 7"/>
                <a:gd name="T11" fmla="*/ 2 h 7"/>
                <a:gd name="T12" fmla="*/ 0 w 7"/>
                <a:gd name="T13" fmla="*/ 0 h 7"/>
                <a:gd name="T14" fmla="*/ 0 w 7"/>
                <a:gd name="T15" fmla="*/ 0 h 7"/>
                <a:gd name="T16" fmla="*/ 1 w 7"/>
                <a:gd name="T17" fmla="*/ 6 h 7"/>
                <a:gd name="T18" fmla="*/ 3 w 7"/>
                <a:gd name="T19" fmla="*/ 7 h 7"/>
                <a:gd name="T20" fmla="*/ 3 w 7"/>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3" y="7"/>
                  </a:moveTo>
                  <a:lnTo>
                    <a:pt x="3" y="7"/>
                  </a:lnTo>
                  <a:lnTo>
                    <a:pt x="7" y="6"/>
                  </a:lnTo>
                  <a:lnTo>
                    <a:pt x="7" y="6"/>
                  </a:lnTo>
                  <a:lnTo>
                    <a:pt x="4" y="3"/>
                  </a:lnTo>
                  <a:lnTo>
                    <a:pt x="3" y="2"/>
                  </a:lnTo>
                  <a:lnTo>
                    <a:pt x="0" y="0"/>
                  </a:lnTo>
                  <a:lnTo>
                    <a:pt x="0" y="0"/>
                  </a:lnTo>
                  <a:lnTo>
                    <a:pt x="1" y="6"/>
                  </a:lnTo>
                  <a:lnTo>
                    <a:pt x="3" y="7"/>
                  </a:lnTo>
                  <a:lnTo>
                    <a:pt x="3" y="7"/>
                  </a:lnTo>
                  <a:close/>
                </a:path>
              </a:pathLst>
            </a:custGeom>
            <a:solidFill>
              <a:srgbClr val="BFBE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47" name="Freeform 1101"/>
            <p:cNvSpPr>
              <a:spLocks/>
            </p:cNvSpPr>
            <p:nvPr/>
          </p:nvSpPr>
          <p:spPr bwMode="auto">
            <a:xfrm>
              <a:off x="4343400" y="3569129"/>
              <a:ext cx="11113" cy="11113"/>
            </a:xfrm>
            <a:custGeom>
              <a:avLst/>
              <a:gdLst>
                <a:gd name="T0" fmla="*/ 3 w 7"/>
                <a:gd name="T1" fmla="*/ 7 h 7"/>
                <a:gd name="T2" fmla="*/ 3 w 7"/>
                <a:gd name="T3" fmla="*/ 7 h 7"/>
                <a:gd name="T4" fmla="*/ 7 w 7"/>
                <a:gd name="T5" fmla="*/ 6 h 7"/>
                <a:gd name="T6" fmla="*/ 7 w 7"/>
                <a:gd name="T7" fmla="*/ 6 h 7"/>
                <a:gd name="T8" fmla="*/ 4 w 7"/>
                <a:gd name="T9" fmla="*/ 3 h 7"/>
                <a:gd name="T10" fmla="*/ 3 w 7"/>
                <a:gd name="T11" fmla="*/ 2 h 7"/>
                <a:gd name="T12" fmla="*/ 0 w 7"/>
                <a:gd name="T13" fmla="*/ 0 h 7"/>
                <a:gd name="T14" fmla="*/ 0 w 7"/>
                <a:gd name="T15" fmla="*/ 0 h 7"/>
                <a:gd name="T16" fmla="*/ 1 w 7"/>
                <a:gd name="T17" fmla="*/ 6 h 7"/>
                <a:gd name="T18" fmla="*/ 3 w 7"/>
                <a:gd name="T19" fmla="*/ 7 h 7"/>
                <a:gd name="T20" fmla="*/ 3 w 7"/>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3" y="7"/>
                  </a:moveTo>
                  <a:lnTo>
                    <a:pt x="3" y="7"/>
                  </a:lnTo>
                  <a:lnTo>
                    <a:pt x="7" y="6"/>
                  </a:lnTo>
                  <a:lnTo>
                    <a:pt x="7" y="6"/>
                  </a:lnTo>
                  <a:lnTo>
                    <a:pt x="4" y="3"/>
                  </a:lnTo>
                  <a:lnTo>
                    <a:pt x="3" y="2"/>
                  </a:lnTo>
                  <a:lnTo>
                    <a:pt x="0" y="0"/>
                  </a:lnTo>
                  <a:lnTo>
                    <a:pt x="0" y="0"/>
                  </a:lnTo>
                  <a:lnTo>
                    <a:pt x="1" y="6"/>
                  </a:lnTo>
                  <a:lnTo>
                    <a:pt x="3" y="7"/>
                  </a:lnTo>
                  <a:lnTo>
                    <a:pt x="3"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48" name="Freeform 1102"/>
            <p:cNvSpPr>
              <a:spLocks/>
            </p:cNvSpPr>
            <p:nvPr/>
          </p:nvSpPr>
          <p:spPr bwMode="auto">
            <a:xfrm>
              <a:off x="4076700" y="3538967"/>
              <a:ext cx="317500" cy="250825"/>
            </a:xfrm>
            <a:custGeom>
              <a:avLst/>
              <a:gdLst>
                <a:gd name="T0" fmla="*/ 185 w 200"/>
                <a:gd name="T1" fmla="*/ 28 h 158"/>
                <a:gd name="T2" fmla="*/ 175 w 200"/>
                <a:gd name="T3" fmla="*/ 25 h 158"/>
                <a:gd name="T4" fmla="*/ 171 w 200"/>
                <a:gd name="T5" fmla="*/ 26 h 158"/>
                <a:gd name="T6" fmla="*/ 168 w 200"/>
                <a:gd name="T7" fmla="*/ 19 h 158"/>
                <a:gd name="T8" fmla="*/ 165 w 200"/>
                <a:gd name="T9" fmla="*/ 19 h 158"/>
                <a:gd name="T10" fmla="*/ 137 w 200"/>
                <a:gd name="T11" fmla="*/ 13 h 158"/>
                <a:gd name="T12" fmla="*/ 123 w 200"/>
                <a:gd name="T13" fmla="*/ 3 h 158"/>
                <a:gd name="T14" fmla="*/ 119 w 200"/>
                <a:gd name="T15" fmla="*/ 6 h 158"/>
                <a:gd name="T16" fmla="*/ 101 w 200"/>
                <a:gd name="T17" fmla="*/ 5 h 158"/>
                <a:gd name="T18" fmla="*/ 81 w 200"/>
                <a:gd name="T19" fmla="*/ 0 h 158"/>
                <a:gd name="T20" fmla="*/ 39 w 200"/>
                <a:gd name="T21" fmla="*/ 0 h 158"/>
                <a:gd name="T22" fmla="*/ 22 w 200"/>
                <a:gd name="T23" fmla="*/ 2 h 158"/>
                <a:gd name="T24" fmla="*/ 16 w 200"/>
                <a:gd name="T25" fmla="*/ 6 h 158"/>
                <a:gd name="T26" fmla="*/ 1 w 200"/>
                <a:gd name="T27" fmla="*/ 10 h 158"/>
                <a:gd name="T28" fmla="*/ 0 w 200"/>
                <a:gd name="T29" fmla="*/ 15 h 158"/>
                <a:gd name="T30" fmla="*/ 6 w 200"/>
                <a:gd name="T31" fmla="*/ 26 h 158"/>
                <a:gd name="T32" fmla="*/ 7 w 200"/>
                <a:gd name="T33" fmla="*/ 35 h 158"/>
                <a:gd name="T34" fmla="*/ 19 w 200"/>
                <a:gd name="T35" fmla="*/ 34 h 158"/>
                <a:gd name="T36" fmla="*/ 22 w 200"/>
                <a:gd name="T37" fmla="*/ 38 h 158"/>
                <a:gd name="T38" fmla="*/ 42 w 200"/>
                <a:gd name="T39" fmla="*/ 39 h 158"/>
                <a:gd name="T40" fmla="*/ 49 w 200"/>
                <a:gd name="T41" fmla="*/ 42 h 158"/>
                <a:gd name="T42" fmla="*/ 48 w 200"/>
                <a:gd name="T43" fmla="*/ 51 h 158"/>
                <a:gd name="T44" fmla="*/ 40 w 200"/>
                <a:gd name="T45" fmla="*/ 61 h 158"/>
                <a:gd name="T46" fmla="*/ 36 w 200"/>
                <a:gd name="T47" fmla="*/ 96 h 158"/>
                <a:gd name="T48" fmla="*/ 33 w 200"/>
                <a:gd name="T49" fmla="*/ 110 h 158"/>
                <a:gd name="T50" fmla="*/ 32 w 200"/>
                <a:gd name="T51" fmla="*/ 120 h 158"/>
                <a:gd name="T52" fmla="*/ 27 w 200"/>
                <a:gd name="T53" fmla="*/ 135 h 158"/>
                <a:gd name="T54" fmla="*/ 32 w 200"/>
                <a:gd name="T55" fmla="*/ 134 h 158"/>
                <a:gd name="T56" fmla="*/ 43 w 200"/>
                <a:gd name="T57" fmla="*/ 144 h 158"/>
                <a:gd name="T58" fmla="*/ 56 w 200"/>
                <a:gd name="T59" fmla="*/ 158 h 158"/>
                <a:gd name="T60" fmla="*/ 64 w 200"/>
                <a:gd name="T61" fmla="*/ 155 h 158"/>
                <a:gd name="T62" fmla="*/ 78 w 200"/>
                <a:gd name="T63" fmla="*/ 148 h 158"/>
                <a:gd name="T64" fmla="*/ 85 w 200"/>
                <a:gd name="T65" fmla="*/ 147 h 158"/>
                <a:gd name="T66" fmla="*/ 90 w 200"/>
                <a:gd name="T67" fmla="*/ 147 h 158"/>
                <a:gd name="T68" fmla="*/ 133 w 200"/>
                <a:gd name="T69" fmla="*/ 129 h 158"/>
                <a:gd name="T70" fmla="*/ 139 w 200"/>
                <a:gd name="T71" fmla="*/ 125 h 158"/>
                <a:gd name="T72" fmla="*/ 146 w 200"/>
                <a:gd name="T73" fmla="*/ 112 h 158"/>
                <a:gd name="T74" fmla="*/ 152 w 200"/>
                <a:gd name="T75" fmla="*/ 102 h 158"/>
                <a:gd name="T76" fmla="*/ 148 w 200"/>
                <a:gd name="T77" fmla="*/ 87 h 158"/>
                <a:gd name="T78" fmla="*/ 152 w 200"/>
                <a:gd name="T79" fmla="*/ 73 h 158"/>
                <a:gd name="T80" fmla="*/ 164 w 200"/>
                <a:gd name="T81" fmla="*/ 58 h 158"/>
                <a:gd name="T82" fmla="*/ 177 w 200"/>
                <a:gd name="T83" fmla="*/ 49 h 158"/>
                <a:gd name="T84" fmla="*/ 179 w 200"/>
                <a:gd name="T85" fmla="*/ 51 h 158"/>
                <a:gd name="T86" fmla="*/ 188 w 200"/>
                <a:gd name="T87" fmla="*/ 47 h 158"/>
                <a:gd name="T88" fmla="*/ 200 w 200"/>
                <a:gd name="T89" fmla="*/ 3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 h="158">
                  <a:moveTo>
                    <a:pt x="200" y="28"/>
                  </a:moveTo>
                  <a:lnTo>
                    <a:pt x="200" y="28"/>
                  </a:lnTo>
                  <a:lnTo>
                    <a:pt x="185" y="28"/>
                  </a:lnTo>
                  <a:lnTo>
                    <a:pt x="179" y="26"/>
                  </a:lnTo>
                  <a:lnTo>
                    <a:pt x="177" y="25"/>
                  </a:lnTo>
                  <a:lnTo>
                    <a:pt x="175" y="25"/>
                  </a:lnTo>
                  <a:lnTo>
                    <a:pt x="175" y="25"/>
                  </a:lnTo>
                  <a:lnTo>
                    <a:pt x="171" y="26"/>
                  </a:lnTo>
                  <a:lnTo>
                    <a:pt x="171" y="26"/>
                  </a:lnTo>
                  <a:lnTo>
                    <a:pt x="171" y="26"/>
                  </a:lnTo>
                  <a:lnTo>
                    <a:pt x="169" y="25"/>
                  </a:lnTo>
                  <a:lnTo>
                    <a:pt x="168" y="19"/>
                  </a:lnTo>
                  <a:lnTo>
                    <a:pt x="168" y="19"/>
                  </a:lnTo>
                  <a:lnTo>
                    <a:pt x="165" y="19"/>
                  </a:lnTo>
                  <a:lnTo>
                    <a:pt x="165" y="19"/>
                  </a:lnTo>
                  <a:lnTo>
                    <a:pt x="155" y="19"/>
                  </a:lnTo>
                  <a:lnTo>
                    <a:pt x="146" y="16"/>
                  </a:lnTo>
                  <a:lnTo>
                    <a:pt x="137" y="13"/>
                  </a:lnTo>
                  <a:lnTo>
                    <a:pt x="132" y="10"/>
                  </a:lnTo>
                  <a:lnTo>
                    <a:pt x="132" y="10"/>
                  </a:lnTo>
                  <a:lnTo>
                    <a:pt x="123" y="3"/>
                  </a:lnTo>
                  <a:lnTo>
                    <a:pt x="123" y="3"/>
                  </a:lnTo>
                  <a:lnTo>
                    <a:pt x="119" y="6"/>
                  </a:lnTo>
                  <a:lnTo>
                    <a:pt x="119" y="6"/>
                  </a:lnTo>
                  <a:lnTo>
                    <a:pt x="116" y="6"/>
                  </a:lnTo>
                  <a:lnTo>
                    <a:pt x="111" y="6"/>
                  </a:lnTo>
                  <a:lnTo>
                    <a:pt x="101" y="5"/>
                  </a:lnTo>
                  <a:lnTo>
                    <a:pt x="90" y="2"/>
                  </a:lnTo>
                  <a:lnTo>
                    <a:pt x="81" y="0"/>
                  </a:lnTo>
                  <a:lnTo>
                    <a:pt x="81" y="0"/>
                  </a:lnTo>
                  <a:lnTo>
                    <a:pt x="59" y="2"/>
                  </a:lnTo>
                  <a:lnTo>
                    <a:pt x="39" y="0"/>
                  </a:lnTo>
                  <a:lnTo>
                    <a:pt x="39" y="0"/>
                  </a:lnTo>
                  <a:lnTo>
                    <a:pt x="32" y="0"/>
                  </a:lnTo>
                  <a:lnTo>
                    <a:pt x="26" y="0"/>
                  </a:lnTo>
                  <a:lnTo>
                    <a:pt x="22" y="2"/>
                  </a:lnTo>
                  <a:lnTo>
                    <a:pt x="19" y="5"/>
                  </a:lnTo>
                  <a:lnTo>
                    <a:pt x="19" y="5"/>
                  </a:lnTo>
                  <a:lnTo>
                    <a:pt x="16" y="6"/>
                  </a:lnTo>
                  <a:lnTo>
                    <a:pt x="11" y="7"/>
                  </a:lnTo>
                  <a:lnTo>
                    <a:pt x="7" y="7"/>
                  </a:lnTo>
                  <a:lnTo>
                    <a:pt x="1" y="10"/>
                  </a:lnTo>
                  <a:lnTo>
                    <a:pt x="1" y="10"/>
                  </a:lnTo>
                  <a:lnTo>
                    <a:pt x="0" y="12"/>
                  </a:lnTo>
                  <a:lnTo>
                    <a:pt x="0" y="15"/>
                  </a:lnTo>
                  <a:lnTo>
                    <a:pt x="0" y="18"/>
                  </a:lnTo>
                  <a:lnTo>
                    <a:pt x="3" y="22"/>
                  </a:lnTo>
                  <a:lnTo>
                    <a:pt x="6" y="26"/>
                  </a:lnTo>
                  <a:lnTo>
                    <a:pt x="6" y="26"/>
                  </a:lnTo>
                  <a:lnTo>
                    <a:pt x="7" y="35"/>
                  </a:lnTo>
                  <a:lnTo>
                    <a:pt x="7" y="35"/>
                  </a:lnTo>
                  <a:lnTo>
                    <a:pt x="14" y="34"/>
                  </a:lnTo>
                  <a:lnTo>
                    <a:pt x="14" y="34"/>
                  </a:lnTo>
                  <a:lnTo>
                    <a:pt x="19" y="34"/>
                  </a:lnTo>
                  <a:lnTo>
                    <a:pt x="20" y="35"/>
                  </a:lnTo>
                  <a:lnTo>
                    <a:pt x="22" y="36"/>
                  </a:lnTo>
                  <a:lnTo>
                    <a:pt x="22" y="38"/>
                  </a:lnTo>
                  <a:lnTo>
                    <a:pt x="22" y="38"/>
                  </a:lnTo>
                  <a:lnTo>
                    <a:pt x="35" y="39"/>
                  </a:lnTo>
                  <a:lnTo>
                    <a:pt x="42" y="39"/>
                  </a:lnTo>
                  <a:lnTo>
                    <a:pt x="46" y="41"/>
                  </a:lnTo>
                  <a:lnTo>
                    <a:pt x="49" y="42"/>
                  </a:lnTo>
                  <a:lnTo>
                    <a:pt x="49" y="42"/>
                  </a:lnTo>
                  <a:lnTo>
                    <a:pt x="51" y="45"/>
                  </a:lnTo>
                  <a:lnTo>
                    <a:pt x="51" y="47"/>
                  </a:lnTo>
                  <a:lnTo>
                    <a:pt x="48" y="51"/>
                  </a:lnTo>
                  <a:lnTo>
                    <a:pt x="43" y="55"/>
                  </a:lnTo>
                  <a:lnTo>
                    <a:pt x="40" y="61"/>
                  </a:lnTo>
                  <a:lnTo>
                    <a:pt x="40" y="61"/>
                  </a:lnTo>
                  <a:lnTo>
                    <a:pt x="39" y="70"/>
                  </a:lnTo>
                  <a:lnTo>
                    <a:pt x="38" y="83"/>
                  </a:lnTo>
                  <a:lnTo>
                    <a:pt x="36" y="96"/>
                  </a:lnTo>
                  <a:lnTo>
                    <a:pt x="33" y="105"/>
                  </a:lnTo>
                  <a:lnTo>
                    <a:pt x="33" y="105"/>
                  </a:lnTo>
                  <a:lnTo>
                    <a:pt x="33" y="110"/>
                  </a:lnTo>
                  <a:lnTo>
                    <a:pt x="33" y="115"/>
                  </a:lnTo>
                  <a:lnTo>
                    <a:pt x="33" y="118"/>
                  </a:lnTo>
                  <a:lnTo>
                    <a:pt x="32" y="120"/>
                  </a:lnTo>
                  <a:lnTo>
                    <a:pt x="32" y="120"/>
                  </a:lnTo>
                  <a:lnTo>
                    <a:pt x="29" y="126"/>
                  </a:lnTo>
                  <a:lnTo>
                    <a:pt x="27" y="135"/>
                  </a:lnTo>
                  <a:lnTo>
                    <a:pt x="27" y="135"/>
                  </a:lnTo>
                  <a:lnTo>
                    <a:pt x="32" y="134"/>
                  </a:lnTo>
                  <a:lnTo>
                    <a:pt x="32" y="134"/>
                  </a:lnTo>
                  <a:lnTo>
                    <a:pt x="33" y="135"/>
                  </a:lnTo>
                  <a:lnTo>
                    <a:pt x="36" y="136"/>
                  </a:lnTo>
                  <a:lnTo>
                    <a:pt x="43" y="144"/>
                  </a:lnTo>
                  <a:lnTo>
                    <a:pt x="53" y="155"/>
                  </a:lnTo>
                  <a:lnTo>
                    <a:pt x="53" y="155"/>
                  </a:lnTo>
                  <a:lnTo>
                    <a:pt x="56" y="158"/>
                  </a:lnTo>
                  <a:lnTo>
                    <a:pt x="58" y="158"/>
                  </a:lnTo>
                  <a:lnTo>
                    <a:pt x="61" y="158"/>
                  </a:lnTo>
                  <a:lnTo>
                    <a:pt x="64" y="155"/>
                  </a:lnTo>
                  <a:lnTo>
                    <a:pt x="64" y="155"/>
                  </a:lnTo>
                  <a:lnTo>
                    <a:pt x="68" y="151"/>
                  </a:lnTo>
                  <a:lnTo>
                    <a:pt x="78" y="148"/>
                  </a:lnTo>
                  <a:lnTo>
                    <a:pt x="78" y="148"/>
                  </a:lnTo>
                  <a:lnTo>
                    <a:pt x="82" y="147"/>
                  </a:lnTo>
                  <a:lnTo>
                    <a:pt x="85" y="147"/>
                  </a:lnTo>
                  <a:lnTo>
                    <a:pt x="87" y="147"/>
                  </a:lnTo>
                  <a:lnTo>
                    <a:pt x="90" y="147"/>
                  </a:lnTo>
                  <a:lnTo>
                    <a:pt x="90" y="147"/>
                  </a:lnTo>
                  <a:lnTo>
                    <a:pt x="98" y="145"/>
                  </a:lnTo>
                  <a:lnTo>
                    <a:pt x="111" y="139"/>
                  </a:lnTo>
                  <a:lnTo>
                    <a:pt x="133" y="129"/>
                  </a:lnTo>
                  <a:lnTo>
                    <a:pt x="133" y="129"/>
                  </a:lnTo>
                  <a:lnTo>
                    <a:pt x="137" y="126"/>
                  </a:lnTo>
                  <a:lnTo>
                    <a:pt x="139" y="125"/>
                  </a:lnTo>
                  <a:lnTo>
                    <a:pt x="142" y="119"/>
                  </a:lnTo>
                  <a:lnTo>
                    <a:pt x="142" y="119"/>
                  </a:lnTo>
                  <a:lnTo>
                    <a:pt x="146" y="112"/>
                  </a:lnTo>
                  <a:lnTo>
                    <a:pt x="151" y="105"/>
                  </a:lnTo>
                  <a:lnTo>
                    <a:pt x="151" y="105"/>
                  </a:lnTo>
                  <a:lnTo>
                    <a:pt x="152" y="102"/>
                  </a:lnTo>
                  <a:lnTo>
                    <a:pt x="151" y="97"/>
                  </a:lnTo>
                  <a:lnTo>
                    <a:pt x="148" y="87"/>
                  </a:lnTo>
                  <a:lnTo>
                    <a:pt x="148" y="87"/>
                  </a:lnTo>
                  <a:lnTo>
                    <a:pt x="148" y="83"/>
                  </a:lnTo>
                  <a:lnTo>
                    <a:pt x="148" y="80"/>
                  </a:lnTo>
                  <a:lnTo>
                    <a:pt x="152" y="73"/>
                  </a:lnTo>
                  <a:lnTo>
                    <a:pt x="158" y="63"/>
                  </a:lnTo>
                  <a:lnTo>
                    <a:pt x="158" y="63"/>
                  </a:lnTo>
                  <a:lnTo>
                    <a:pt x="164" y="58"/>
                  </a:lnTo>
                  <a:lnTo>
                    <a:pt x="172" y="51"/>
                  </a:lnTo>
                  <a:lnTo>
                    <a:pt x="172" y="51"/>
                  </a:lnTo>
                  <a:lnTo>
                    <a:pt x="177" y="49"/>
                  </a:lnTo>
                  <a:lnTo>
                    <a:pt x="177" y="49"/>
                  </a:lnTo>
                  <a:lnTo>
                    <a:pt x="178" y="51"/>
                  </a:lnTo>
                  <a:lnTo>
                    <a:pt x="179" y="51"/>
                  </a:lnTo>
                  <a:lnTo>
                    <a:pt x="179" y="51"/>
                  </a:lnTo>
                  <a:lnTo>
                    <a:pt x="182" y="49"/>
                  </a:lnTo>
                  <a:lnTo>
                    <a:pt x="188" y="47"/>
                  </a:lnTo>
                  <a:lnTo>
                    <a:pt x="198" y="36"/>
                  </a:lnTo>
                  <a:lnTo>
                    <a:pt x="198" y="36"/>
                  </a:lnTo>
                  <a:lnTo>
                    <a:pt x="200" y="32"/>
                  </a:lnTo>
                  <a:lnTo>
                    <a:pt x="200" y="28"/>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49" name="Freeform 1103"/>
            <p:cNvSpPr>
              <a:spLocks/>
            </p:cNvSpPr>
            <p:nvPr/>
          </p:nvSpPr>
          <p:spPr bwMode="auto">
            <a:xfrm>
              <a:off x="4076700" y="3538967"/>
              <a:ext cx="317500" cy="250825"/>
            </a:xfrm>
            <a:custGeom>
              <a:avLst/>
              <a:gdLst>
                <a:gd name="T0" fmla="*/ 185 w 200"/>
                <a:gd name="T1" fmla="*/ 28 h 158"/>
                <a:gd name="T2" fmla="*/ 175 w 200"/>
                <a:gd name="T3" fmla="*/ 25 h 158"/>
                <a:gd name="T4" fmla="*/ 171 w 200"/>
                <a:gd name="T5" fmla="*/ 26 h 158"/>
                <a:gd name="T6" fmla="*/ 168 w 200"/>
                <a:gd name="T7" fmla="*/ 19 h 158"/>
                <a:gd name="T8" fmla="*/ 165 w 200"/>
                <a:gd name="T9" fmla="*/ 19 h 158"/>
                <a:gd name="T10" fmla="*/ 137 w 200"/>
                <a:gd name="T11" fmla="*/ 13 h 158"/>
                <a:gd name="T12" fmla="*/ 123 w 200"/>
                <a:gd name="T13" fmla="*/ 3 h 158"/>
                <a:gd name="T14" fmla="*/ 119 w 200"/>
                <a:gd name="T15" fmla="*/ 6 h 158"/>
                <a:gd name="T16" fmla="*/ 101 w 200"/>
                <a:gd name="T17" fmla="*/ 5 h 158"/>
                <a:gd name="T18" fmla="*/ 81 w 200"/>
                <a:gd name="T19" fmla="*/ 0 h 158"/>
                <a:gd name="T20" fmla="*/ 39 w 200"/>
                <a:gd name="T21" fmla="*/ 0 h 158"/>
                <a:gd name="T22" fmla="*/ 22 w 200"/>
                <a:gd name="T23" fmla="*/ 2 h 158"/>
                <a:gd name="T24" fmla="*/ 16 w 200"/>
                <a:gd name="T25" fmla="*/ 6 h 158"/>
                <a:gd name="T26" fmla="*/ 1 w 200"/>
                <a:gd name="T27" fmla="*/ 10 h 158"/>
                <a:gd name="T28" fmla="*/ 0 w 200"/>
                <a:gd name="T29" fmla="*/ 15 h 158"/>
                <a:gd name="T30" fmla="*/ 6 w 200"/>
                <a:gd name="T31" fmla="*/ 26 h 158"/>
                <a:gd name="T32" fmla="*/ 7 w 200"/>
                <a:gd name="T33" fmla="*/ 35 h 158"/>
                <a:gd name="T34" fmla="*/ 19 w 200"/>
                <a:gd name="T35" fmla="*/ 34 h 158"/>
                <a:gd name="T36" fmla="*/ 22 w 200"/>
                <a:gd name="T37" fmla="*/ 38 h 158"/>
                <a:gd name="T38" fmla="*/ 42 w 200"/>
                <a:gd name="T39" fmla="*/ 39 h 158"/>
                <a:gd name="T40" fmla="*/ 49 w 200"/>
                <a:gd name="T41" fmla="*/ 42 h 158"/>
                <a:gd name="T42" fmla="*/ 48 w 200"/>
                <a:gd name="T43" fmla="*/ 51 h 158"/>
                <a:gd name="T44" fmla="*/ 40 w 200"/>
                <a:gd name="T45" fmla="*/ 61 h 158"/>
                <a:gd name="T46" fmla="*/ 36 w 200"/>
                <a:gd name="T47" fmla="*/ 96 h 158"/>
                <a:gd name="T48" fmla="*/ 33 w 200"/>
                <a:gd name="T49" fmla="*/ 110 h 158"/>
                <a:gd name="T50" fmla="*/ 32 w 200"/>
                <a:gd name="T51" fmla="*/ 120 h 158"/>
                <a:gd name="T52" fmla="*/ 27 w 200"/>
                <a:gd name="T53" fmla="*/ 135 h 158"/>
                <a:gd name="T54" fmla="*/ 32 w 200"/>
                <a:gd name="T55" fmla="*/ 134 h 158"/>
                <a:gd name="T56" fmla="*/ 43 w 200"/>
                <a:gd name="T57" fmla="*/ 144 h 158"/>
                <a:gd name="T58" fmla="*/ 56 w 200"/>
                <a:gd name="T59" fmla="*/ 158 h 158"/>
                <a:gd name="T60" fmla="*/ 64 w 200"/>
                <a:gd name="T61" fmla="*/ 155 h 158"/>
                <a:gd name="T62" fmla="*/ 78 w 200"/>
                <a:gd name="T63" fmla="*/ 148 h 158"/>
                <a:gd name="T64" fmla="*/ 85 w 200"/>
                <a:gd name="T65" fmla="*/ 147 h 158"/>
                <a:gd name="T66" fmla="*/ 90 w 200"/>
                <a:gd name="T67" fmla="*/ 147 h 158"/>
                <a:gd name="T68" fmla="*/ 133 w 200"/>
                <a:gd name="T69" fmla="*/ 129 h 158"/>
                <a:gd name="T70" fmla="*/ 139 w 200"/>
                <a:gd name="T71" fmla="*/ 125 h 158"/>
                <a:gd name="T72" fmla="*/ 146 w 200"/>
                <a:gd name="T73" fmla="*/ 112 h 158"/>
                <a:gd name="T74" fmla="*/ 152 w 200"/>
                <a:gd name="T75" fmla="*/ 102 h 158"/>
                <a:gd name="T76" fmla="*/ 148 w 200"/>
                <a:gd name="T77" fmla="*/ 87 h 158"/>
                <a:gd name="T78" fmla="*/ 152 w 200"/>
                <a:gd name="T79" fmla="*/ 73 h 158"/>
                <a:gd name="T80" fmla="*/ 164 w 200"/>
                <a:gd name="T81" fmla="*/ 58 h 158"/>
                <a:gd name="T82" fmla="*/ 177 w 200"/>
                <a:gd name="T83" fmla="*/ 49 h 158"/>
                <a:gd name="T84" fmla="*/ 179 w 200"/>
                <a:gd name="T85" fmla="*/ 51 h 158"/>
                <a:gd name="T86" fmla="*/ 188 w 200"/>
                <a:gd name="T87" fmla="*/ 47 h 158"/>
                <a:gd name="T88" fmla="*/ 200 w 200"/>
                <a:gd name="T89" fmla="*/ 3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 h="158">
                  <a:moveTo>
                    <a:pt x="200" y="28"/>
                  </a:moveTo>
                  <a:lnTo>
                    <a:pt x="200" y="28"/>
                  </a:lnTo>
                  <a:lnTo>
                    <a:pt x="185" y="28"/>
                  </a:lnTo>
                  <a:lnTo>
                    <a:pt x="179" y="26"/>
                  </a:lnTo>
                  <a:lnTo>
                    <a:pt x="177" y="25"/>
                  </a:lnTo>
                  <a:lnTo>
                    <a:pt x="175" y="25"/>
                  </a:lnTo>
                  <a:lnTo>
                    <a:pt x="175" y="25"/>
                  </a:lnTo>
                  <a:lnTo>
                    <a:pt x="171" y="26"/>
                  </a:lnTo>
                  <a:lnTo>
                    <a:pt x="171" y="26"/>
                  </a:lnTo>
                  <a:lnTo>
                    <a:pt x="171" y="26"/>
                  </a:lnTo>
                  <a:lnTo>
                    <a:pt x="169" y="25"/>
                  </a:lnTo>
                  <a:lnTo>
                    <a:pt x="168" y="19"/>
                  </a:lnTo>
                  <a:lnTo>
                    <a:pt x="168" y="19"/>
                  </a:lnTo>
                  <a:lnTo>
                    <a:pt x="165" y="19"/>
                  </a:lnTo>
                  <a:lnTo>
                    <a:pt x="165" y="19"/>
                  </a:lnTo>
                  <a:lnTo>
                    <a:pt x="155" y="19"/>
                  </a:lnTo>
                  <a:lnTo>
                    <a:pt x="146" y="16"/>
                  </a:lnTo>
                  <a:lnTo>
                    <a:pt x="137" y="13"/>
                  </a:lnTo>
                  <a:lnTo>
                    <a:pt x="132" y="10"/>
                  </a:lnTo>
                  <a:lnTo>
                    <a:pt x="132" y="10"/>
                  </a:lnTo>
                  <a:lnTo>
                    <a:pt x="123" y="3"/>
                  </a:lnTo>
                  <a:lnTo>
                    <a:pt x="123" y="3"/>
                  </a:lnTo>
                  <a:lnTo>
                    <a:pt x="119" y="6"/>
                  </a:lnTo>
                  <a:lnTo>
                    <a:pt x="119" y="6"/>
                  </a:lnTo>
                  <a:lnTo>
                    <a:pt x="116" y="6"/>
                  </a:lnTo>
                  <a:lnTo>
                    <a:pt x="111" y="6"/>
                  </a:lnTo>
                  <a:lnTo>
                    <a:pt x="101" y="5"/>
                  </a:lnTo>
                  <a:lnTo>
                    <a:pt x="90" y="2"/>
                  </a:lnTo>
                  <a:lnTo>
                    <a:pt x="81" y="0"/>
                  </a:lnTo>
                  <a:lnTo>
                    <a:pt x="81" y="0"/>
                  </a:lnTo>
                  <a:lnTo>
                    <a:pt x="59" y="2"/>
                  </a:lnTo>
                  <a:lnTo>
                    <a:pt x="39" y="0"/>
                  </a:lnTo>
                  <a:lnTo>
                    <a:pt x="39" y="0"/>
                  </a:lnTo>
                  <a:lnTo>
                    <a:pt x="32" y="0"/>
                  </a:lnTo>
                  <a:lnTo>
                    <a:pt x="26" y="0"/>
                  </a:lnTo>
                  <a:lnTo>
                    <a:pt x="22" y="2"/>
                  </a:lnTo>
                  <a:lnTo>
                    <a:pt x="19" y="5"/>
                  </a:lnTo>
                  <a:lnTo>
                    <a:pt x="19" y="5"/>
                  </a:lnTo>
                  <a:lnTo>
                    <a:pt x="16" y="6"/>
                  </a:lnTo>
                  <a:lnTo>
                    <a:pt x="11" y="7"/>
                  </a:lnTo>
                  <a:lnTo>
                    <a:pt x="7" y="7"/>
                  </a:lnTo>
                  <a:lnTo>
                    <a:pt x="1" y="10"/>
                  </a:lnTo>
                  <a:lnTo>
                    <a:pt x="1" y="10"/>
                  </a:lnTo>
                  <a:lnTo>
                    <a:pt x="0" y="12"/>
                  </a:lnTo>
                  <a:lnTo>
                    <a:pt x="0" y="15"/>
                  </a:lnTo>
                  <a:lnTo>
                    <a:pt x="0" y="18"/>
                  </a:lnTo>
                  <a:lnTo>
                    <a:pt x="3" y="22"/>
                  </a:lnTo>
                  <a:lnTo>
                    <a:pt x="6" y="26"/>
                  </a:lnTo>
                  <a:lnTo>
                    <a:pt x="6" y="26"/>
                  </a:lnTo>
                  <a:lnTo>
                    <a:pt x="7" y="35"/>
                  </a:lnTo>
                  <a:lnTo>
                    <a:pt x="7" y="35"/>
                  </a:lnTo>
                  <a:lnTo>
                    <a:pt x="14" y="34"/>
                  </a:lnTo>
                  <a:lnTo>
                    <a:pt x="14" y="34"/>
                  </a:lnTo>
                  <a:lnTo>
                    <a:pt x="19" y="34"/>
                  </a:lnTo>
                  <a:lnTo>
                    <a:pt x="20" y="35"/>
                  </a:lnTo>
                  <a:lnTo>
                    <a:pt x="22" y="36"/>
                  </a:lnTo>
                  <a:lnTo>
                    <a:pt x="22" y="38"/>
                  </a:lnTo>
                  <a:lnTo>
                    <a:pt x="22" y="38"/>
                  </a:lnTo>
                  <a:lnTo>
                    <a:pt x="35" y="39"/>
                  </a:lnTo>
                  <a:lnTo>
                    <a:pt x="42" y="39"/>
                  </a:lnTo>
                  <a:lnTo>
                    <a:pt x="46" y="41"/>
                  </a:lnTo>
                  <a:lnTo>
                    <a:pt x="49" y="42"/>
                  </a:lnTo>
                  <a:lnTo>
                    <a:pt x="49" y="42"/>
                  </a:lnTo>
                  <a:lnTo>
                    <a:pt x="51" y="45"/>
                  </a:lnTo>
                  <a:lnTo>
                    <a:pt x="51" y="47"/>
                  </a:lnTo>
                  <a:lnTo>
                    <a:pt x="48" y="51"/>
                  </a:lnTo>
                  <a:lnTo>
                    <a:pt x="43" y="55"/>
                  </a:lnTo>
                  <a:lnTo>
                    <a:pt x="40" y="61"/>
                  </a:lnTo>
                  <a:lnTo>
                    <a:pt x="40" y="61"/>
                  </a:lnTo>
                  <a:lnTo>
                    <a:pt x="39" y="70"/>
                  </a:lnTo>
                  <a:lnTo>
                    <a:pt x="38" y="83"/>
                  </a:lnTo>
                  <a:lnTo>
                    <a:pt x="36" y="96"/>
                  </a:lnTo>
                  <a:lnTo>
                    <a:pt x="33" y="105"/>
                  </a:lnTo>
                  <a:lnTo>
                    <a:pt x="33" y="105"/>
                  </a:lnTo>
                  <a:lnTo>
                    <a:pt x="33" y="110"/>
                  </a:lnTo>
                  <a:lnTo>
                    <a:pt x="33" y="115"/>
                  </a:lnTo>
                  <a:lnTo>
                    <a:pt x="33" y="118"/>
                  </a:lnTo>
                  <a:lnTo>
                    <a:pt x="32" y="120"/>
                  </a:lnTo>
                  <a:lnTo>
                    <a:pt x="32" y="120"/>
                  </a:lnTo>
                  <a:lnTo>
                    <a:pt x="29" y="126"/>
                  </a:lnTo>
                  <a:lnTo>
                    <a:pt x="27" y="135"/>
                  </a:lnTo>
                  <a:lnTo>
                    <a:pt x="27" y="135"/>
                  </a:lnTo>
                  <a:lnTo>
                    <a:pt x="32" y="134"/>
                  </a:lnTo>
                  <a:lnTo>
                    <a:pt x="32" y="134"/>
                  </a:lnTo>
                  <a:lnTo>
                    <a:pt x="33" y="135"/>
                  </a:lnTo>
                  <a:lnTo>
                    <a:pt x="36" y="136"/>
                  </a:lnTo>
                  <a:lnTo>
                    <a:pt x="43" y="144"/>
                  </a:lnTo>
                  <a:lnTo>
                    <a:pt x="53" y="155"/>
                  </a:lnTo>
                  <a:lnTo>
                    <a:pt x="53" y="155"/>
                  </a:lnTo>
                  <a:lnTo>
                    <a:pt x="56" y="158"/>
                  </a:lnTo>
                  <a:lnTo>
                    <a:pt x="58" y="158"/>
                  </a:lnTo>
                  <a:lnTo>
                    <a:pt x="61" y="158"/>
                  </a:lnTo>
                  <a:lnTo>
                    <a:pt x="64" y="155"/>
                  </a:lnTo>
                  <a:lnTo>
                    <a:pt x="64" y="155"/>
                  </a:lnTo>
                  <a:lnTo>
                    <a:pt x="68" y="151"/>
                  </a:lnTo>
                  <a:lnTo>
                    <a:pt x="78" y="148"/>
                  </a:lnTo>
                  <a:lnTo>
                    <a:pt x="78" y="148"/>
                  </a:lnTo>
                  <a:lnTo>
                    <a:pt x="82" y="147"/>
                  </a:lnTo>
                  <a:lnTo>
                    <a:pt x="85" y="147"/>
                  </a:lnTo>
                  <a:lnTo>
                    <a:pt x="87" y="147"/>
                  </a:lnTo>
                  <a:lnTo>
                    <a:pt x="90" y="147"/>
                  </a:lnTo>
                  <a:lnTo>
                    <a:pt x="90" y="147"/>
                  </a:lnTo>
                  <a:lnTo>
                    <a:pt x="98" y="145"/>
                  </a:lnTo>
                  <a:lnTo>
                    <a:pt x="111" y="139"/>
                  </a:lnTo>
                  <a:lnTo>
                    <a:pt x="133" y="129"/>
                  </a:lnTo>
                  <a:lnTo>
                    <a:pt x="133" y="129"/>
                  </a:lnTo>
                  <a:lnTo>
                    <a:pt x="137" y="126"/>
                  </a:lnTo>
                  <a:lnTo>
                    <a:pt x="139" y="125"/>
                  </a:lnTo>
                  <a:lnTo>
                    <a:pt x="142" y="119"/>
                  </a:lnTo>
                  <a:lnTo>
                    <a:pt x="142" y="119"/>
                  </a:lnTo>
                  <a:lnTo>
                    <a:pt x="146" y="112"/>
                  </a:lnTo>
                  <a:lnTo>
                    <a:pt x="151" y="105"/>
                  </a:lnTo>
                  <a:lnTo>
                    <a:pt x="151" y="105"/>
                  </a:lnTo>
                  <a:lnTo>
                    <a:pt x="152" y="102"/>
                  </a:lnTo>
                  <a:lnTo>
                    <a:pt x="151" y="97"/>
                  </a:lnTo>
                  <a:lnTo>
                    <a:pt x="148" y="87"/>
                  </a:lnTo>
                  <a:lnTo>
                    <a:pt x="148" y="87"/>
                  </a:lnTo>
                  <a:lnTo>
                    <a:pt x="148" y="83"/>
                  </a:lnTo>
                  <a:lnTo>
                    <a:pt x="148" y="80"/>
                  </a:lnTo>
                  <a:lnTo>
                    <a:pt x="152" y="73"/>
                  </a:lnTo>
                  <a:lnTo>
                    <a:pt x="158" y="63"/>
                  </a:lnTo>
                  <a:lnTo>
                    <a:pt x="158" y="63"/>
                  </a:lnTo>
                  <a:lnTo>
                    <a:pt x="164" y="58"/>
                  </a:lnTo>
                  <a:lnTo>
                    <a:pt x="172" y="51"/>
                  </a:lnTo>
                  <a:lnTo>
                    <a:pt x="172" y="51"/>
                  </a:lnTo>
                  <a:lnTo>
                    <a:pt x="177" y="49"/>
                  </a:lnTo>
                  <a:lnTo>
                    <a:pt x="177" y="49"/>
                  </a:lnTo>
                  <a:lnTo>
                    <a:pt x="178" y="51"/>
                  </a:lnTo>
                  <a:lnTo>
                    <a:pt x="179" y="51"/>
                  </a:lnTo>
                  <a:lnTo>
                    <a:pt x="179" y="51"/>
                  </a:lnTo>
                  <a:lnTo>
                    <a:pt x="182" y="49"/>
                  </a:lnTo>
                  <a:lnTo>
                    <a:pt x="188" y="47"/>
                  </a:lnTo>
                  <a:lnTo>
                    <a:pt x="198" y="36"/>
                  </a:lnTo>
                  <a:lnTo>
                    <a:pt x="198" y="36"/>
                  </a:lnTo>
                  <a:lnTo>
                    <a:pt x="200" y="32"/>
                  </a:lnTo>
                  <a:lnTo>
                    <a:pt x="20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50" name="Freeform 1104"/>
            <p:cNvSpPr>
              <a:spLocks/>
            </p:cNvSpPr>
            <p:nvPr/>
          </p:nvSpPr>
          <p:spPr bwMode="auto">
            <a:xfrm>
              <a:off x="4191000" y="3245279"/>
              <a:ext cx="327025" cy="338138"/>
            </a:xfrm>
            <a:custGeom>
              <a:avLst/>
              <a:gdLst>
                <a:gd name="T0" fmla="*/ 200 w 206"/>
                <a:gd name="T1" fmla="*/ 82 h 213"/>
                <a:gd name="T2" fmla="*/ 206 w 206"/>
                <a:gd name="T3" fmla="*/ 61 h 213"/>
                <a:gd name="T4" fmla="*/ 202 w 206"/>
                <a:gd name="T5" fmla="*/ 56 h 213"/>
                <a:gd name="T6" fmla="*/ 187 w 206"/>
                <a:gd name="T7" fmla="*/ 51 h 213"/>
                <a:gd name="T8" fmla="*/ 170 w 206"/>
                <a:gd name="T9" fmla="*/ 46 h 213"/>
                <a:gd name="T10" fmla="*/ 154 w 206"/>
                <a:gd name="T11" fmla="*/ 43 h 213"/>
                <a:gd name="T12" fmla="*/ 134 w 206"/>
                <a:gd name="T13" fmla="*/ 26 h 213"/>
                <a:gd name="T14" fmla="*/ 106 w 206"/>
                <a:gd name="T15" fmla="*/ 1 h 213"/>
                <a:gd name="T16" fmla="*/ 102 w 206"/>
                <a:gd name="T17" fmla="*/ 10 h 213"/>
                <a:gd name="T18" fmla="*/ 102 w 206"/>
                <a:gd name="T19" fmla="*/ 23 h 213"/>
                <a:gd name="T20" fmla="*/ 94 w 206"/>
                <a:gd name="T21" fmla="*/ 35 h 213"/>
                <a:gd name="T22" fmla="*/ 86 w 206"/>
                <a:gd name="T23" fmla="*/ 38 h 213"/>
                <a:gd name="T24" fmla="*/ 80 w 206"/>
                <a:gd name="T25" fmla="*/ 42 h 213"/>
                <a:gd name="T26" fmla="*/ 73 w 206"/>
                <a:gd name="T27" fmla="*/ 52 h 213"/>
                <a:gd name="T28" fmla="*/ 64 w 206"/>
                <a:gd name="T29" fmla="*/ 52 h 213"/>
                <a:gd name="T30" fmla="*/ 52 w 206"/>
                <a:gd name="T31" fmla="*/ 46 h 213"/>
                <a:gd name="T32" fmla="*/ 48 w 206"/>
                <a:gd name="T33" fmla="*/ 49 h 213"/>
                <a:gd name="T34" fmla="*/ 54 w 206"/>
                <a:gd name="T35" fmla="*/ 65 h 213"/>
                <a:gd name="T36" fmla="*/ 42 w 206"/>
                <a:gd name="T37" fmla="*/ 71 h 213"/>
                <a:gd name="T38" fmla="*/ 31 w 206"/>
                <a:gd name="T39" fmla="*/ 68 h 213"/>
                <a:gd name="T40" fmla="*/ 19 w 206"/>
                <a:gd name="T41" fmla="*/ 65 h 213"/>
                <a:gd name="T42" fmla="*/ 3 w 206"/>
                <a:gd name="T43" fmla="*/ 68 h 213"/>
                <a:gd name="T44" fmla="*/ 0 w 206"/>
                <a:gd name="T45" fmla="*/ 71 h 213"/>
                <a:gd name="T46" fmla="*/ 5 w 206"/>
                <a:gd name="T47" fmla="*/ 84 h 213"/>
                <a:gd name="T48" fmla="*/ 10 w 206"/>
                <a:gd name="T49" fmla="*/ 90 h 213"/>
                <a:gd name="T50" fmla="*/ 39 w 206"/>
                <a:gd name="T51" fmla="*/ 101 h 213"/>
                <a:gd name="T52" fmla="*/ 42 w 206"/>
                <a:gd name="T53" fmla="*/ 108 h 213"/>
                <a:gd name="T54" fmla="*/ 45 w 206"/>
                <a:gd name="T55" fmla="*/ 116 h 213"/>
                <a:gd name="T56" fmla="*/ 58 w 206"/>
                <a:gd name="T57" fmla="*/ 140 h 213"/>
                <a:gd name="T58" fmla="*/ 58 w 206"/>
                <a:gd name="T59" fmla="*/ 161 h 213"/>
                <a:gd name="T60" fmla="*/ 55 w 206"/>
                <a:gd name="T61" fmla="*/ 172 h 213"/>
                <a:gd name="T62" fmla="*/ 51 w 206"/>
                <a:gd name="T63" fmla="*/ 188 h 213"/>
                <a:gd name="T64" fmla="*/ 60 w 206"/>
                <a:gd name="T65" fmla="*/ 195 h 213"/>
                <a:gd name="T66" fmla="*/ 83 w 206"/>
                <a:gd name="T67" fmla="*/ 204 h 213"/>
                <a:gd name="T68" fmla="*/ 99 w 206"/>
                <a:gd name="T69" fmla="*/ 206 h 213"/>
                <a:gd name="T70" fmla="*/ 105 w 206"/>
                <a:gd name="T71" fmla="*/ 210 h 213"/>
                <a:gd name="T72" fmla="*/ 113 w 206"/>
                <a:gd name="T73" fmla="*/ 213 h 213"/>
                <a:gd name="T74" fmla="*/ 125 w 206"/>
                <a:gd name="T75" fmla="*/ 207 h 213"/>
                <a:gd name="T76" fmla="*/ 134 w 206"/>
                <a:gd name="T77" fmla="*/ 195 h 213"/>
                <a:gd name="T78" fmla="*/ 145 w 206"/>
                <a:gd name="T79" fmla="*/ 187 h 213"/>
                <a:gd name="T80" fmla="*/ 160 w 206"/>
                <a:gd name="T81" fmla="*/ 190 h 213"/>
                <a:gd name="T82" fmla="*/ 176 w 206"/>
                <a:gd name="T83" fmla="*/ 194 h 213"/>
                <a:gd name="T84" fmla="*/ 181 w 206"/>
                <a:gd name="T85" fmla="*/ 187 h 213"/>
                <a:gd name="T86" fmla="*/ 183 w 206"/>
                <a:gd name="T87" fmla="*/ 182 h 213"/>
                <a:gd name="T88" fmla="*/ 190 w 206"/>
                <a:gd name="T89" fmla="*/ 188 h 213"/>
                <a:gd name="T90" fmla="*/ 194 w 206"/>
                <a:gd name="T91" fmla="*/ 184 h 213"/>
                <a:gd name="T92" fmla="*/ 189 w 206"/>
                <a:gd name="T93" fmla="*/ 165 h 213"/>
                <a:gd name="T94" fmla="*/ 181 w 206"/>
                <a:gd name="T95" fmla="*/ 152 h 213"/>
                <a:gd name="T96" fmla="*/ 187 w 206"/>
                <a:gd name="T97" fmla="*/ 145 h 213"/>
                <a:gd name="T98" fmla="*/ 190 w 206"/>
                <a:gd name="T99" fmla="*/ 140 h 213"/>
                <a:gd name="T100" fmla="*/ 186 w 206"/>
                <a:gd name="T101" fmla="*/ 124 h 213"/>
                <a:gd name="T102" fmla="*/ 176 w 206"/>
                <a:gd name="T103" fmla="*/ 119 h 213"/>
                <a:gd name="T104" fmla="*/ 189 w 206"/>
                <a:gd name="T105" fmla="*/ 104 h 213"/>
                <a:gd name="T106" fmla="*/ 199 w 206"/>
                <a:gd name="T107" fmla="*/ 8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213">
                  <a:moveTo>
                    <a:pt x="199" y="88"/>
                  </a:moveTo>
                  <a:lnTo>
                    <a:pt x="199" y="88"/>
                  </a:lnTo>
                  <a:lnTo>
                    <a:pt x="200" y="82"/>
                  </a:lnTo>
                  <a:lnTo>
                    <a:pt x="203" y="72"/>
                  </a:lnTo>
                  <a:lnTo>
                    <a:pt x="206" y="64"/>
                  </a:lnTo>
                  <a:lnTo>
                    <a:pt x="206" y="61"/>
                  </a:lnTo>
                  <a:lnTo>
                    <a:pt x="206" y="58"/>
                  </a:lnTo>
                  <a:lnTo>
                    <a:pt x="206" y="58"/>
                  </a:lnTo>
                  <a:lnTo>
                    <a:pt x="202" y="56"/>
                  </a:lnTo>
                  <a:lnTo>
                    <a:pt x="197" y="55"/>
                  </a:lnTo>
                  <a:lnTo>
                    <a:pt x="187" y="51"/>
                  </a:lnTo>
                  <a:lnTo>
                    <a:pt x="187" y="51"/>
                  </a:lnTo>
                  <a:lnTo>
                    <a:pt x="184" y="49"/>
                  </a:lnTo>
                  <a:lnTo>
                    <a:pt x="181" y="49"/>
                  </a:lnTo>
                  <a:lnTo>
                    <a:pt x="170" y="46"/>
                  </a:lnTo>
                  <a:lnTo>
                    <a:pt x="170" y="46"/>
                  </a:lnTo>
                  <a:lnTo>
                    <a:pt x="161" y="46"/>
                  </a:lnTo>
                  <a:lnTo>
                    <a:pt x="154" y="43"/>
                  </a:lnTo>
                  <a:lnTo>
                    <a:pt x="154" y="43"/>
                  </a:lnTo>
                  <a:lnTo>
                    <a:pt x="145" y="36"/>
                  </a:lnTo>
                  <a:lnTo>
                    <a:pt x="134" y="26"/>
                  </a:lnTo>
                  <a:lnTo>
                    <a:pt x="110" y="0"/>
                  </a:lnTo>
                  <a:lnTo>
                    <a:pt x="110" y="0"/>
                  </a:lnTo>
                  <a:lnTo>
                    <a:pt x="106" y="1"/>
                  </a:lnTo>
                  <a:lnTo>
                    <a:pt x="103" y="6"/>
                  </a:lnTo>
                  <a:lnTo>
                    <a:pt x="103" y="6"/>
                  </a:lnTo>
                  <a:lnTo>
                    <a:pt x="102" y="10"/>
                  </a:lnTo>
                  <a:lnTo>
                    <a:pt x="102" y="16"/>
                  </a:lnTo>
                  <a:lnTo>
                    <a:pt x="102" y="23"/>
                  </a:lnTo>
                  <a:lnTo>
                    <a:pt x="102" y="23"/>
                  </a:lnTo>
                  <a:lnTo>
                    <a:pt x="99" y="29"/>
                  </a:lnTo>
                  <a:lnTo>
                    <a:pt x="94" y="35"/>
                  </a:lnTo>
                  <a:lnTo>
                    <a:pt x="94" y="35"/>
                  </a:lnTo>
                  <a:lnTo>
                    <a:pt x="92" y="36"/>
                  </a:lnTo>
                  <a:lnTo>
                    <a:pt x="89" y="36"/>
                  </a:lnTo>
                  <a:lnTo>
                    <a:pt x="86" y="38"/>
                  </a:lnTo>
                  <a:lnTo>
                    <a:pt x="81" y="39"/>
                  </a:lnTo>
                  <a:lnTo>
                    <a:pt x="81" y="39"/>
                  </a:lnTo>
                  <a:lnTo>
                    <a:pt x="80" y="42"/>
                  </a:lnTo>
                  <a:lnTo>
                    <a:pt x="79" y="45"/>
                  </a:lnTo>
                  <a:lnTo>
                    <a:pt x="76" y="49"/>
                  </a:lnTo>
                  <a:lnTo>
                    <a:pt x="73" y="52"/>
                  </a:lnTo>
                  <a:lnTo>
                    <a:pt x="73" y="52"/>
                  </a:lnTo>
                  <a:lnTo>
                    <a:pt x="68" y="53"/>
                  </a:lnTo>
                  <a:lnTo>
                    <a:pt x="64" y="52"/>
                  </a:lnTo>
                  <a:lnTo>
                    <a:pt x="55" y="48"/>
                  </a:lnTo>
                  <a:lnTo>
                    <a:pt x="55" y="48"/>
                  </a:lnTo>
                  <a:lnTo>
                    <a:pt x="52" y="46"/>
                  </a:lnTo>
                  <a:lnTo>
                    <a:pt x="50" y="46"/>
                  </a:lnTo>
                  <a:lnTo>
                    <a:pt x="48" y="46"/>
                  </a:lnTo>
                  <a:lnTo>
                    <a:pt x="48" y="49"/>
                  </a:lnTo>
                  <a:lnTo>
                    <a:pt x="48" y="49"/>
                  </a:lnTo>
                  <a:lnTo>
                    <a:pt x="54" y="65"/>
                  </a:lnTo>
                  <a:lnTo>
                    <a:pt x="54" y="65"/>
                  </a:lnTo>
                  <a:lnTo>
                    <a:pt x="52" y="66"/>
                  </a:lnTo>
                  <a:lnTo>
                    <a:pt x="51" y="69"/>
                  </a:lnTo>
                  <a:lnTo>
                    <a:pt x="42" y="71"/>
                  </a:lnTo>
                  <a:lnTo>
                    <a:pt x="42" y="71"/>
                  </a:lnTo>
                  <a:lnTo>
                    <a:pt x="37" y="71"/>
                  </a:lnTo>
                  <a:lnTo>
                    <a:pt x="31" y="68"/>
                  </a:lnTo>
                  <a:lnTo>
                    <a:pt x="31" y="68"/>
                  </a:lnTo>
                  <a:lnTo>
                    <a:pt x="23" y="66"/>
                  </a:lnTo>
                  <a:lnTo>
                    <a:pt x="19" y="65"/>
                  </a:lnTo>
                  <a:lnTo>
                    <a:pt x="15" y="65"/>
                  </a:lnTo>
                  <a:lnTo>
                    <a:pt x="15" y="65"/>
                  </a:lnTo>
                  <a:lnTo>
                    <a:pt x="3" y="68"/>
                  </a:lnTo>
                  <a:lnTo>
                    <a:pt x="0" y="69"/>
                  </a:lnTo>
                  <a:lnTo>
                    <a:pt x="0" y="71"/>
                  </a:lnTo>
                  <a:lnTo>
                    <a:pt x="0" y="71"/>
                  </a:lnTo>
                  <a:lnTo>
                    <a:pt x="2" y="72"/>
                  </a:lnTo>
                  <a:lnTo>
                    <a:pt x="2" y="77"/>
                  </a:lnTo>
                  <a:lnTo>
                    <a:pt x="5" y="84"/>
                  </a:lnTo>
                  <a:lnTo>
                    <a:pt x="5" y="84"/>
                  </a:lnTo>
                  <a:lnTo>
                    <a:pt x="6" y="87"/>
                  </a:lnTo>
                  <a:lnTo>
                    <a:pt x="10" y="90"/>
                  </a:lnTo>
                  <a:lnTo>
                    <a:pt x="21" y="94"/>
                  </a:lnTo>
                  <a:lnTo>
                    <a:pt x="39" y="101"/>
                  </a:lnTo>
                  <a:lnTo>
                    <a:pt x="39" y="101"/>
                  </a:lnTo>
                  <a:lnTo>
                    <a:pt x="42" y="103"/>
                  </a:lnTo>
                  <a:lnTo>
                    <a:pt x="42" y="106"/>
                  </a:lnTo>
                  <a:lnTo>
                    <a:pt x="42" y="108"/>
                  </a:lnTo>
                  <a:lnTo>
                    <a:pt x="44" y="113"/>
                  </a:lnTo>
                  <a:lnTo>
                    <a:pt x="44" y="113"/>
                  </a:lnTo>
                  <a:lnTo>
                    <a:pt x="45" y="116"/>
                  </a:lnTo>
                  <a:lnTo>
                    <a:pt x="50" y="120"/>
                  </a:lnTo>
                  <a:lnTo>
                    <a:pt x="55" y="129"/>
                  </a:lnTo>
                  <a:lnTo>
                    <a:pt x="58" y="140"/>
                  </a:lnTo>
                  <a:lnTo>
                    <a:pt x="58" y="140"/>
                  </a:lnTo>
                  <a:lnTo>
                    <a:pt x="60" y="153"/>
                  </a:lnTo>
                  <a:lnTo>
                    <a:pt x="58" y="161"/>
                  </a:lnTo>
                  <a:lnTo>
                    <a:pt x="57" y="166"/>
                  </a:lnTo>
                  <a:lnTo>
                    <a:pt x="55" y="172"/>
                  </a:lnTo>
                  <a:lnTo>
                    <a:pt x="55" y="172"/>
                  </a:lnTo>
                  <a:lnTo>
                    <a:pt x="55" y="181"/>
                  </a:lnTo>
                  <a:lnTo>
                    <a:pt x="54" y="185"/>
                  </a:lnTo>
                  <a:lnTo>
                    <a:pt x="51" y="188"/>
                  </a:lnTo>
                  <a:lnTo>
                    <a:pt x="51" y="188"/>
                  </a:lnTo>
                  <a:lnTo>
                    <a:pt x="60" y="195"/>
                  </a:lnTo>
                  <a:lnTo>
                    <a:pt x="60" y="195"/>
                  </a:lnTo>
                  <a:lnTo>
                    <a:pt x="65" y="198"/>
                  </a:lnTo>
                  <a:lnTo>
                    <a:pt x="74" y="201"/>
                  </a:lnTo>
                  <a:lnTo>
                    <a:pt x="83" y="204"/>
                  </a:lnTo>
                  <a:lnTo>
                    <a:pt x="93" y="204"/>
                  </a:lnTo>
                  <a:lnTo>
                    <a:pt x="93" y="204"/>
                  </a:lnTo>
                  <a:lnTo>
                    <a:pt x="99" y="206"/>
                  </a:lnTo>
                  <a:lnTo>
                    <a:pt x="100" y="207"/>
                  </a:lnTo>
                  <a:lnTo>
                    <a:pt x="102" y="208"/>
                  </a:lnTo>
                  <a:lnTo>
                    <a:pt x="105" y="210"/>
                  </a:lnTo>
                  <a:lnTo>
                    <a:pt x="105" y="210"/>
                  </a:lnTo>
                  <a:lnTo>
                    <a:pt x="107" y="211"/>
                  </a:lnTo>
                  <a:lnTo>
                    <a:pt x="113" y="213"/>
                  </a:lnTo>
                  <a:lnTo>
                    <a:pt x="128" y="213"/>
                  </a:lnTo>
                  <a:lnTo>
                    <a:pt x="128" y="213"/>
                  </a:lnTo>
                  <a:lnTo>
                    <a:pt x="125" y="207"/>
                  </a:lnTo>
                  <a:lnTo>
                    <a:pt x="125" y="207"/>
                  </a:lnTo>
                  <a:lnTo>
                    <a:pt x="128" y="203"/>
                  </a:lnTo>
                  <a:lnTo>
                    <a:pt x="134" y="195"/>
                  </a:lnTo>
                  <a:lnTo>
                    <a:pt x="139" y="190"/>
                  </a:lnTo>
                  <a:lnTo>
                    <a:pt x="145" y="187"/>
                  </a:lnTo>
                  <a:lnTo>
                    <a:pt x="145" y="187"/>
                  </a:lnTo>
                  <a:lnTo>
                    <a:pt x="151" y="187"/>
                  </a:lnTo>
                  <a:lnTo>
                    <a:pt x="160" y="190"/>
                  </a:lnTo>
                  <a:lnTo>
                    <a:pt x="160" y="190"/>
                  </a:lnTo>
                  <a:lnTo>
                    <a:pt x="168" y="192"/>
                  </a:lnTo>
                  <a:lnTo>
                    <a:pt x="176" y="194"/>
                  </a:lnTo>
                  <a:lnTo>
                    <a:pt x="176" y="194"/>
                  </a:lnTo>
                  <a:lnTo>
                    <a:pt x="181" y="192"/>
                  </a:lnTo>
                  <a:lnTo>
                    <a:pt x="181" y="192"/>
                  </a:lnTo>
                  <a:lnTo>
                    <a:pt x="181" y="187"/>
                  </a:lnTo>
                  <a:lnTo>
                    <a:pt x="181" y="184"/>
                  </a:lnTo>
                  <a:lnTo>
                    <a:pt x="183" y="182"/>
                  </a:lnTo>
                  <a:lnTo>
                    <a:pt x="183" y="182"/>
                  </a:lnTo>
                  <a:lnTo>
                    <a:pt x="184" y="182"/>
                  </a:lnTo>
                  <a:lnTo>
                    <a:pt x="186" y="184"/>
                  </a:lnTo>
                  <a:lnTo>
                    <a:pt x="190" y="188"/>
                  </a:lnTo>
                  <a:lnTo>
                    <a:pt x="190" y="188"/>
                  </a:lnTo>
                  <a:lnTo>
                    <a:pt x="194" y="184"/>
                  </a:lnTo>
                  <a:lnTo>
                    <a:pt x="194" y="184"/>
                  </a:lnTo>
                  <a:lnTo>
                    <a:pt x="191" y="171"/>
                  </a:lnTo>
                  <a:lnTo>
                    <a:pt x="191" y="171"/>
                  </a:lnTo>
                  <a:lnTo>
                    <a:pt x="189" y="165"/>
                  </a:lnTo>
                  <a:lnTo>
                    <a:pt x="184" y="159"/>
                  </a:lnTo>
                  <a:lnTo>
                    <a:pt x="183" y="155"/>
                  </a:lnTo>
                  <a:lnTo>
                    <a:pt x="181" y="152"/>
                  </a:lnTo>
                  <a:lnTo>
                    <a:pt x="183" y="150"/>
                  </a:lnTo>
                  <a:lnTo>
                    <a:pt x="183" y="150"/>
                  </a:lnTo>
                  <a:lnTo>
                    <a:pt x="187" y="145"/>
                  </a:lnTo>
                  <a:lnTo>
                    <a:pt x="190" y="143"/>
                  </a:lnTo>
                  <a:lnTo>
                    <a:pt x="190" y="140"/>
                  </a:lnTo>
                  <a:lnTo>
                    <a:pt x="190" y="140"/>
                  </a:lnTo>
                  <a:lnTo>
                    <a:pt x="189" y="132"/>
                  </a:lnTo>
                  <a:lnTo>
                    <a:pt x="189" y="127"/>
                  </a:lnTo>
                  <a:lnTo>
                    <a:pt x="186" y="124"/>
                  </a:lnTo>
                  <a:lnTo>
                    <a:pt x="186" y="124"/>
                  </a:lnTo>
                  <a:lnTo>
                    <a:pt x="177" y="122"/>
                  </a:lnTo>
                  <a:lnTo>
                    <a:pt x="176" y="119"/>
                  </a:lnTo>
                  <a:lnTo>
                    <a:pt x="177" y="117"/>
                  </a:lnTo>
                  <a:lnTo>
                    <a:pt x="177" y="117"/>
                  </a:lnTo>
                  <a:lnTo>
                    <a:pt x="189" y="104"/>
                  </a:lnTo>
                  <a:lnTo>
                    <a:pt x="196" y="95"/>
                  </a:lnTo>
                  <a:lnTo>
                    <a:pt x="197" y="91"/>
                  </a:lnTo>
                  <a:lnTo>
                    <a:pt x="199" y="88"/>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51" name="Freeform 1105"/>
            <p:cNvSpPr>
              <a:spLocks/>
            </p:cNvSpPr>
            <p:nvPr/>
          </p:nvSpPr>
          <p:spPr bwMode="auto">
            <a:xfrm>
              <a:off x="4191000" y="3245279"/>
              <a:ext cx="327025" cy="338138"/>
            </a:xfrm>
            <a:custGeom>
              <a:avLst/>
              <a:gdLst>
                <a:gd name="T0" fmla="*/ 200 w 206"/>
                <a:gd name="T1" fmla="*/ 82 h 213"/>
                <a:gd name="T2" fmla="*/ 206 w 206"/>
                <a:gd name="T3" fmla="*/ 61 h 213"/>
                <a:gd name="T4" fmla="*/ 202 w 206"/>
                <a:gd name="T5" fmla="*/ 56 h 213"/>
                <a:gd name="T6" fmla="*/ 187 w 206"/>
                <a:gd name="T7" fmla="*/ 51 h 213"/>
                <a:gd name="T8" fmla="*/ 170 w 206"/>
                <a:gd name="T9" fmla="*/ 46 h 213"/>
                <a:gd name="T10" fmla="*/ 154 w 206"/>
                <a:gd name="T11" fmla="*/ 43 h 213"/>
                <a:gd name="T12" fmla="*/ 134 w 206"/>
                <a:gd name="T13" fmla="*/ 26 h 213"/>
                <a:gd name="T14" fmla="*/ 106 w 206"/>
                <a:gd name="T15" fmla="*/ 1 h 213"/>
                <a:gd name="T16" fmla="*/ 102 w 206"/>
                <a:gd name="T17" fmla="*/ 10 h 213"/>
                <a:gd name="T18" fmla="*/ 102 w 206"/>
                <a:gd name="T19" fmla="*/ 23 h 213"/>
                <a:gd name="T20" fmla="*/ 94 w 206"/>
                <a:gd name="T21" fmla="*/ 35 h 213"/>
                <a:gd name="T22" fmla="*/ 86 w 206"/>
                <a:gd name="T23" fmla="*/ 38 h 213"/>
                <a:gd name="T24" fmla="*/ 80 w 206"/>
                <a:gd name="T25" fmla="*/ 42 h 213"/>
                <a:gd name="T26" fmla="*/ 73 w 206"/>
                <a:gd name="T27" fmla="*/ 52 h 213"/>
                <a:gd name="T28" fmla="*/ 64 w 206"/>
                <a:gd name="T29" fmla="*/ 52 h 213"/>
                <a:gd name="T30" fmla="*/ 52 w 206"/>
                <a:gd name="T31" fmla="*/ 46 h 213"/>
                <a:gd name="T32" fmla="*/ 48 w 206"/>
                <a:gd name="T33" fmla="*/ 49 h 213"/>
                <a:gd name="T34" fmla="*/ 54 w 206"/>
                <a:gd name="T35" fmla="*/ 65 h 213"/>
                <a:gd name="T36" fmla="*/ 42 w 206"/>
                <a:gd name="T37" fmla="*/ 71 h 213"/>
                <a:gd name="T38" fmla="*/ 31 w 206"/>
                <a:gd name="T39" fmla="*/ 68 h 213"/>
                <a:gd name="T40" fmla="*/ 19 w 206"/>
                <a:gd name="T41" fmla="*/ 65 h 213"/>
                <a:gd name="T42" fmla="*/ 3 w 206"/>
                <a:gd name="T43" fmla="*/ 68 h 213"/>
                <a:gd name="T44" fmla="*/ 0 w 206"/>
                <a:gd name="T45" fmla="*/ 71 h 213"/>
                <a:gd name="T46" fmla="*/ 5 w 206"/>
                <a:gd name="T47" fmla="*/ 84 h 213"/>
                <a:gd name="T48" fmla="*/ 10 w 206"/>
                <a:gd name="T49" fmla="*/ 90 h 213"/>
                <a:gd name="T50" fmla="*/ 39 w 206"/>
                <a:gd name="T51" fmla="*/ 101 h 213"/>
                <a:gd name="T52" fmla="*/ 42 w 206"/>
                <a:gd name="T53" fmla="*/ 108 h 213"/>
                <a:gd name="T54" fmla="*/ 45 w 206"/>
                <a:gd name="T55" fmla="*/ 116 h 213"/>
                <a:gd name="T56" fmla="*/ 58 w 206"/>
                <a:gd name="T57" fmla="*/ 140 h 213"/>
                <a:gd name="T58" fmla="*/ 58 w 206"/>
                <a:gd name="T59" fmla="*/ 161 h 213"/>
                <a:gd name="T60" fmla="*/ 55 w 206"/>
                <a:gd name="T61" fmla="*/ 172 h 213"/>
                <a:gd name="T62" fmla="*/ 51 w 206"/>
                <a:gd name="T63" fmla="*/ 188 h 213"/>
                <a:gd name="T64" fmla="*/ 60 w 206"/>
                <a:gd name="T65" fmla="*/ 195 h 213"/>
                <a:gd name="T66" fmla="*/ 83 w 206"/>
                <a:gd name="T67" fmla="*/ 204 h 213"/>
                <a:gd name="T68" fmla="*/ 99 w 206"/>
                <a:gd name="T69" fmla="*/ 206 h 213"/>
                <a:gd name="T70" fmla="*/ 105 w 206"/>
                <a:gd name="T71" fmla="*/ 210 h 213"/>
                <a:gd name="T72" fmla="*/ 113 w 206"/>
                <a:gd name="T73" fmla="*/ 213 h 213"/>
                <a:gd name="T74" fmla="*/ 125 w 206"/>
                <a:gd name="T75" fmla="*/ 207 h 213"/>
                <a:gd name="T76" fmla="*/ 134 w 206"/>
                <a:gd name="T77" fmla="*/ 195 h 213"/>
                <a:gd name="T78" fmla="*/ 145 w 206"/>
                <a:gd name="T79" fmla="*/ 187 h 213"/>
                <a:gd name="T80" fmla="*/ 160 w 206"/>
                <a:gd name="T81" fmla="*/ 190 h 213"/>
                <a:gd name="T82" fmla="*/ 176 w 206"/>
                <a:gd name="T83" fmla="*/ 194 h 213"/>
                <a:gd name="T84" fmla="*/ 181 w 206"/>
                <a:gd name="T85" fmla="*/ 187 h 213"/>
                <a:gd name="T86" fmla="*/ 183 w 206"/>
                <a:gd name="T87" fmla="*/ 182 h 213"/>
                <a:gd name="T88" fmla="*/ 190 w 206"/>
                <a:gd name="T89" fmla="*/ 188 h 213"/>
                <a:gd name="T90" fmla="*/ 194 w 206"/>
                <a:gd name="T91" fmla="*/ 184 h 213"/>
                <a:gd name="T92" fmla="*/ 189 w 206"/>
                <a:gd name="T93" fmla="*/ 165 h 213"/>
                <a:gd name="T94" fmla="*/ 181 w 206"/>
                <a:gd name="T95" fmla="*/ 152 h 213"/>
                <a:gd name="T96" fmla="*/ 187 w 206"/>
                <a:gd name="T97" fmla="*/ 145 h 213"/>
                <a:gd name="T98" fmla="*/ 190 w 206"/>
                <a:gd name="T99" fmla="*/ 140 h 213"/>
                <a:gd name="T100" fmla="*/ 186 w 206"/>
                <a:gd name="T101" fmla="*/ 124 h 213"/>
                <a:gd name="T102" fmla="*/ 176 w 206"/>
                <a:gd name="T103" fmla="*/ 119 h 213"/>
                <a:gd name="T104" fmla="*/ 189 w 206"/>
                <a:gd name="T105" fmla="*/ 104 h 213"/>
                <a:gd name="T106" fmla="*/ 199 w 206"/>
                <a:gd name="T107" fmla="*/ 8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213">
                  <a:moveTo>
                    <a:pt x="199" y="88"/>
                  </a:moveTo>
                  <a:lnTo>
                    <a:pt x="199" y="88"/>
                  </a:lnTo>
                  <a:lnTo>
                    <a:pt x="200" y="82"/>
                  </a:lnTo>
                  <a:lnTo>
                    <a:pt x="203" y="72"/>
                  </a:lnTo>
                  <a:lnTo>
                    <a:pt x="206" y="64"/>
                  </a:lnTo>
                  <a:lnTo>
                    <a:pt x="206" y="61"/>
                  </a:lnTo>
                  <a:lnTo>
                    <a:pt x="206" y="58"/>
                  </a:lnTo>
                  <a:lnTo>
                    <a:pt x="206" y="58"/>
                  </a:lnTo>
                  <a:lnTo>
                    <a:pt x="202" y="56"/>
                  </a:lnTo>
                  <a:lnTo>
                    <a:pt x="197" y="55"/>
                  </a:lnTo>
                  <a:lnTo>
                    <a:pt x="187" y="51"/>
                  </a:lnTo>
                  <a:lnTo>
                    <a:pt x="187" y="51"/>
                  </a:lnTo>
                  <a:lnTo>
                    <a:pt x="184" y="49"/>
                  </a:lnTo>
                  <a:lnTo>
                    <a:pt x="181" y="49"/>
                  </a:lnTo>
                  <a:lnTo>
                    <a:pt x="170" y="46"/>
                  </a:lnTo>
                  <a:lnTo>
                    <a:pt x="170" y="46"/>
                  </a:lnTo>
                  <a:lnTo>
                    <a:pt x="161" y="46"/>
                  </a:lnTo>
                  <a:lnTo>
                    <a:pt x="154" y="43"/>
                  </a:lnTo>
                  <a:lnTo>
                    <a:pt x="154" y="43"/>
                  </a:lnTo>
                  <a:lnTo>
                    <a:pt x="145" y="36"/>
                  </a:lnTo>
                  <a:lnTo>
                    <a:pt x="134" y="26"/>
                  </a:lnTo>
                  <a:lnTo>
                    <a:pt x="110" y="0"/>
                  </a:lnTo>
                  <a:lnTo>
                    <a:pt x="110" y="0"/>
                  </a:lnTo>
                  <a:lnTo>
                    <a:pt x="106" y="1"/>
                  </a:lnTo>
                  <a:lnTo>
                    <a:pt x="103" y="6"/>
                  </a:lnTo>
                  <a:lnTo>
                    <a:pt x="103" y="6"/>
                  </a:lnTo>
                  <a:lnTo>
                    <a:pt x="102" y="10"/>
                  </a:lnTo>
                  <a:lnTo>
                    <a:pt x="102" y="16"/>
                  </a:lnTo>
                  <a:lnTo>
                    <a:pt x="102" y="23"/>
                  </a:lnTo>
                  <a:lnTo>
                    <a:pt x="102" y="23"/>
                  </a:lnTo>
                  <a:lnTo>
                    <a:pt x="99" y="29"/>
                  </a:lnTo>
                  <a:lnTo>
                    <a:pt x="94" y="35"/>
                  </a:lnTo>
                  <a:lnTo>
                    <a:pt x="94" y="35"/>
                  </a:lnTo>
                  <a:lnTo>
                    <a:pt x="92" y="36"/>
                  </a:lnTo>
                  <a:lnTo>
                    <a:pt x="89" y="36"/>
                  </a:lnTo>
                  <a:lnTo>
                    <a:pt x="86" y="38"/>
                  </a:lnTo>
                  <a:lnTo>
                    <a:pt x="81" y="39"/>
                  </a:lnTo>
                  <a:lnTo>
                    <a:pt x="81" y="39"/>
                  </a:lnTo>
                  <a:lnTo>
                    <a:pt x="80" y="42"/>
                  </a:lnTo>
                  <a:lnTo>
                    <a:pt x="79" y="45"/>
                  </a:lnTo>
                  <a:lnTo>
                    <a:pt x="76" y="49"/>
                  </a:lnTo>
                  <a:lnTo>
                    <a:pt x="73" y="52"/>
                  </a:lnTo>
                  <a:lnTo>
                    <a:pt x="73" y="52"/>
                  </a:lnTo>
                  <a:lnTo>
                    <a:pt x="68" y="53"/>
                  </a:lnTo>
                  <a:lnTo>
                    <a:pt x="64" y="52"/>
                  </a:lnTo>
                  <a:lnTo>
                    <a:pt x="55" y="48"/>
                  </a:lnTo>
                  <a:lnTo>
                    <a:pt x="55" y="48"/>
                  </a:lnTo>
                  <a:lnTo>
                    <a:pt x="52" y="46"/>
                  </a:lnTo>
                  <a:lnTo>
                    <a:pt x="50" y="46"/>
                  </a:lnTo>
                  <a:lnTo>
                    <a:pt x="48" y="46"/>
                  </a:lnTo>
                  <a:lnTo>
                    <a:pt x="48" y="49"/>
                  </a:lnTo>
                  <a:lnTo>
                    <a:pt x="48" y="49"/>
                  </a:lnTo>
                  <a:lnTo>
                    <a:pt x="54" y="65"/>
                  </a:lnTo>
                  <a:lnTo>
                    <a:pt x="54" y="65"/>
                  </a:lnTo>
                  <a:lnTo>
                    <a:pt x="52" y="66"/>
                  </a:lnTo>
                  <a:lnTo>
                    <a:pt x="51" y="69"/>
                  </a:lnTo>
                  <a:lnTo>
                    <a:pt x="42" y="71"/>
                  </a:lnTo>
                  <a:lnTo>
                    <a:pt x="42" y="71"/>
                  </a:lnTo>
                  <a:lnTo>
                    <a:pt x="37" y="71"/>
                  </a:lnTo>
                  <a:lnTo>
                    <a:pt x="31" y="68"/>
                  </a:lnTo>
                  <a:lnTo>
                    <a:pt x="31" y="68"/>
                  </a:lnTo>
                  <a:lnTo>
                    <a:pt x="23" y="66"/>
                  </a:lnTo>
                  <a:lnTo>
                    <a:pt x="19" y="65"/>
                  </a:lnTo>
                  <a:lnTo>
                    <a:pt x="15" y="65"/>
                  </a:lnTo>
                  <a:lnTo>
                    <a:pt x="15" y="65"/>
                  </a:lnTo>
                  <a:lnTo>
                    <a:pt x="3" y="68"/>
                  </a:lnTo>
                  <a:lnTo>
                    <a:pt x="0" y="69"/>
                  </a:lnTo>
                  <a:lnTo>
                    <a:pt x="0" y="71"/>
                  </a:lnTo>
                  <a:lnTo>
                    <a:pt x="0" y="71"/>
                  </a:lnTo>
                  <a:lnTo>
                    <a:pt x="2" y="72"/>
                  </a:lnTo>
                  <a:lnTo>
                    <a:pt x="2" y="77"/>
                  </a:lnTo>
                  <a:lnTo>
                    <a:pt x="5" y="84"/>
                  </a:lnTo>
                  <a:lnTo>
                    <a:pt x="5" y="84"/>
                  </a:lnTo>
                  <a:lnTo>
                    <a:pt x="6" y="87"/>
                  </a:lnTo>
                  <a:lnTo>
                    <a:pt x="10" y="90"/>
                  </a:lnTo>
                  <a:lnTo>
                    <a:pt x="21" y="94"/>
                  </a:lnTo>
                  <a:lnTo>
                    <a:pt x="39" y="101"/>
                  </a:lnTo>
                  <a:lnTo>
                    <a:pt x="39" y="101"/>
                  </a:lnTo>
                  <a:lnTo>
                    <a:pt x="42" y="103"/>
                  </a:lnTo>
                  <a:lnTo>
                    <a:pt x="42" y="106"/>
                  </a:lnTo>
                  <a:lnTo>
                    <a:pt x="42" y="108"/>
                  </a:lnTo>
                  <a:lnTo>
                    <a:pt x="44" y="113"/>
                  </a:lnTo>
                  <a:lnTo>
                    <a:pt x="44" y="113"/>
                  </a:lnTo>
                  <a:lnTo>
                    <a:pt x="45" y="116"/>
                  </a:lnTo>
                  <a:lnTo>
                    <a:pt x="50" y="120"/>
                  </a:lnTo>
                  <a:lnTo>
                    <a:pt x="55" y="129"/>
                  </a:lnTo>
                  <a:lnTo>
                    <a:pt x="58" y="140"/>
                  </a:lnTo>
                  <a:lnTo>
                    <a:pt x="58" y="140"/>
                  </a:lnTo>
                  <a:lnTo>
                    <a:pt x="60" y="153"/>
                  </a:lnTo>
                  <a:lnTo>
                    <a:pt x="58" y="161"/>
                  </a:lnTo>
                  <a:lnTo>
                    <a:pt x="57" y="166"/>
                  </a:lnTo>
                  <a:lnTo>
                    <a:pt x="55" y="172"/>
                  </a:lnTo>
                  <a:lnTo>
                    <a:pt x="55" y="172"/>
                  </a:lnTo>
                  <a:lnTo>
                    <a:pt x="55" y="181"/>
                  </a:lnTo>
                  <a:lnTo>
                    <a:pt x="54" y="185"/>
                  </a:lnTo>
                  <a:lnTo>
                    <a:pt x="51" y="188"/>
                  </a:lnTo>
                  <a:lnTo>
                    <a:pt x="51" y="188"/>
                  </a:lnTo>
                  <a:lnTo>
                    <a:pt x="60" y="195"/>
                  </a:lnTo>
                  <a:lnTo>
                    <a:pt x="60" y="195"/>
                  </a:lnTo>
                  <a:lnTo>
                    <a:pt x="65" y="198"/>
                  </a:lnTo>
                  <a:lnTo>
                    <a:pt x="74" y="201"/>
                  </a:lnTo>
                  <a:lnTo>
                    <a:pt x="83" y="204"/>
                  </a:lnTo>
                  <a:lnTo>
                    <a:pt x="93" y="204"/>
                  </a:lnTo>
                  <a:lnTo>
                    <a:pt x="93" y="204"/>
                  </a:lnTo>
                  <a:lnTo>
                    <a:pt x="99" y="206"/>
                  </a:lnTo>
                  <a:lnTo>
                    <a:pt x="100" y="207"/>
                  </a:lnTo>
                  <a:lnTo>
                    <a:pt x="102" y="208"/>
                  </a:lnTo>
                  <a:lnTo>
                    <a:pt x="105" y="210"/>
                  </a:lnTo>
                  <a:lnTo>
                    <a:pt x="105" y="210"/>
                  </a:lnTo>
                  <a:lnTo>
                    <a:pt x="107" y="211"/>
                  </a:lnTo>
                  <a:lnTo>
                    <a:pt x="113" y="213"/>
                  </a:lnTo>
                  <a:lnTo>
                    <a:pt x="128" y="213"/>
                  </a:lnTo>
                  <a:lnTo>
                    <a:pt x="128" y="213"/>
                  </a:lnTo>
                  <a:lnTo>
                    <a:pt x="125" y="207"/>
                  </a:lnTo>
                  <a:lnTo>
                    <a:pt x="125" y="207"/>
                  </a:lnTo>
                  <a:lnTo>
                    <a:pt x="128" y="203"/>
                  </a:lnTo>
                  <a:lnTo>
                    <a:pt x="134" y="195"/>
                  </a:lnTo>
                  <a:lnTo>
                    <a:pt x="139" y="190"/>
                  </a:lnTo>
                  <a:lnTo>
                    <a:pt x="145" y="187"/>
                  </a:lnTo>
                  <a:lnTo>
                    <a:pt x="145" y="187"/>
                  </a:lnTo>
                  <a:lnTo>
                    <a:pt x="151" y="187"/>
                  </a:lnTo>
                  <a:lnTo>
                    <a:pt x="160" y="190"/>
                  </a:lnTo>
                  <a:lnTo>
                    <a:pt x="160" y="190"/>
                  </a:lnTo>
                  <a:lnTo>
                    <a:pt x="168" y="192"/>
                  </a:lnTo>
                  <a:lnTo>
                    <a:pt x="176" y="194"/>
                  </a:lnTo>
                  <a:lnTo>
                    <a:pt x="176" y="194"/>
                  </a:lnTo>
                  <a:lnTo>
                    <a:pt x="181" y="192"/>
                  </a:lnTo>
                  <a:lnTo>
                    <a:pt x="181" y="192"/>
                  </a:lnTo>
                  <a:lnTo>
                    <a:pt x="181" y="187"/>
                  </a:lnTo>
                  <a:lnTo>
                    <a:pt x="181" y="184"/>
                  </a:lnTo>
                  <a:lnTo>
                    <a:pt x="183" y="182"/>
                  </a:lnTo>
                  <a:lnTo>
                    <a:pt x="183" y="182"/>
                  </a:lnTo>
                  <a:lnTo>
                    <a:pt x="184" y="182"/>
                  </a:lnTo>
                  <a:lnTo>
                    <a:pt x="186" y="184"/>
                  </a:lnTo>
                  <a:lnTo>
                    <a:pt x="190" y="188"/>
                  </a:lnTo>
                  <a:lnTo>
                    <a:pt x="190" y="188"/>
                  </a:lnTo>
                  <a:lnTo>
                    <a:pt x="194" y="184"/>
                  </a:lnTo>
                  <a:lnTo>
                    <a:pt x="194" y="184"/>
                  </a:lnTo>
                  <a:lnTo>
                    <a:pt x="191" y="171"/>
                  </a:lnTo>
                  <a:lnTo>
                    <a:pt x="191" y="171"/>
                  </a:lnTo>
                  <a:lnTo>
                    <a:pt x="189" y="165"/>
                  </a:lnTo>
                  <a:lnTo>
                    <a:pt x="184" y="159"/>
                  </a:lnTo>
                  <a:lnTo>
                    <a:pt x="183" y="155"/>
                  </a:lnTo>
                  <a:lnTo>
                    <a:pt x="181" y="152"/>
                  </a:lnTo>
                  <a:lnTo>
                    <a:pt x="183" y="150"/>
                  </a:lnTo>
                  <a:lnTo>
                    <a:pt x="183" y="150"/>
                  </a:lnTo>
                  <a:lnTo>
                    <a:pt x="187" y="145"/>
                  </a:lnTo>
                  <a:lnTo>
                    <a:pt x="190" y="143"/>
                  </a:lnTo>
                  <a:lnTo>
                    <a:pt x="190" y="140"/>
                  </a:lnTo>
                  <a:lnTo>
                    <a:pt x="190" y="140"/>
                  </a:lnTo>
                  <a:lnTo>
                    <a:pt x="189" y="132"/>
                  </a:lnTo>
                  <a:lnTo>
                    <a:pt x="189" y="127"/>
                  </a:lnTo>
                  <a:lnTo>
                    <a:pt x="186" y="124"/>
                  </a:lnTo>
                  <a:lnTo>
                    <a:pt x="186" y="124"/>
                  </a:lnTo>
                  <a:lnTo>
                    <a:pt x="177" y="122"/>
                  </a:lnTo>
                  <a:lnTo>
                    <a:pt x="176" y="119"/>
                  </a:lnTo>
                  <a:lnTo>
                    <a:pt x="177" y="117"/>
                  </a:lnTo>
                  <a:lnTo>
                    <a:pt x="177" y="117"/>
                  </a:lnTo>
                  <a:lnTo>
                    <a:pt x="189" y="104"/>
                  </a:lnTo>
                  <a:lnTo>
                    <a:pt x="196" y="95"/>
                  </a:lnTo>
                  <a:lnTo>
                    <a:pt x="197" y="91"/>
                  </a:lnTo>
                  <a:lnTo>
                    <a:pt x="199" y="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52" name="Freeform 1106"/>
            <p:cNvSpPr>
              <a:spLocks/>
            </p:cNvSpPr>
            <p:nvPr/>
          </p:nvSpPr>
          <p:spPr bwMode="auto">
            <a:xfrm>
              <a:off x="4478338" y="3534204"/>
              <a:ext cx="12700" cy="12700"/>
            </a:xfrm>
            <a:custGeom>
              <a:avLst/>
              <a:gdLst>
                <a:gd name="T0" fmla="*/ 0 w 8"/>
                <a:gd name="T1" fmla="*/ 8 h 8"/>
                <a:gd name="T2" fmla="*/ 0 w 8"/>
                <a:gd name="T3" fmla="*/ 8 h 8"/>
                <a:gd name="T4" fmla="*/ 0 w 8"/>
                <a:gd name="T5" fmla="*/ 3 h 8"/>
                <a:gd name="T6" fmla="*/ 2 w 8"/>
                <a:gd name="T7" fmla="*/ 0 h 8"/>
                <a:gd name="T8" fmla="*/ 2 w 8"/>
                <a:gd name="T9" fmla="*/ 0 h 8"/>
                <a:gd name="T10" fmla="*/ 2 w 8"/>
                <a:gd name="T11" fmla="*/ 0 h 8"/>
                <a:gd name="T12" fmla="*/ 2 w 8"/>
                <a:gd name="T13" fmla="*/ 0 h 8"/>
                <a:gd name="T14" fmla="*/ 3 w 8"/>
                <a:gd name="T15" fmla="*/ 0 h 8"/>
                <a:gd name="T16" fmla="*/ 3 w 8"/>
                <a:gd name="T17" fmla="*/ 0 h 8"/>
                <a:gd name="T18" fmla="*/ 3 w 8"/>
                <a:gd name="T19" fmla="*/ 0 h 8"/>
                <a:gd name="T20" fmla="*/ 3 w 8"/>
                <a:gd name="T21" fmla="*/ 0 h 8"/>
                <a:gd name="T22" fmla="*/ 5 w 8"/>
                <a:gd name="T23" fmla="*/ 2 h 8"/>
                <a:gd name="T24" fmla="*/ 8 w 8"/>
                <a:gd name="T25" fmla="*/ 3 h 8"/>
                <a:gd name="T26" fmla="*/ 8 w 8"/>
                <a:gd name="T27" fmla="*/ 3 h 8"/>
                <a:gd name="T28" fmla="*/ 2 w 8"/>
                <a:gd name="T29" fmla="*/ 8 h 8"/>
                <a:gd name="T30" fmla="*/ 2 w 8"/>
                <a:gd name="T31" fmla="*/ 8 h 8"/>
                <a:gd name="T32" fmla="*/ 0 w 8"/>
                <a:gd name="T3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8">
                  <a:moveTo>
                    <a:pt x="0" y="8"/>
                  </a:moveTo>
                  <a:lnTo>
                    <a:pt x="0" y="8"/>
                  </a:lnTo>
                  <a:lnTo>
                    <a:pt x="0" y="3"/>
                  </a:lnTo>
                  <a:lnTo>
                    <a:pt x="2" y="0"/>
                  </a:lnTo>
                  <a:lnTo>
                    <a:pt x="2" y="0"/>
                  </a:lnTo>
                  <a:lnTo>
                    <a:pt x="2" y="0"/>
                  </a:lnTo>
                  <a:lnTo>
                    <a:pt x="2" y="0"/>
                  </a:lnTo>
                  <a:lnTo>
                    <a:pt x="3" y="0"/>
                  </a:lnTo>
                  <a:lnTo>
                    <a:pt x="3" y="0"/>
                  </a:lnTo>
                  <a:lnTo>
                    <a:pt x="3" y="0"/>
                  </a:lnTo>
                  <a:lnTo>
                    <a:pt x="3" y="0"/>
                  </a:lnTo>
                  <a:lnTo>
                    <a:pt x="5" y="2"/>
                  </a:lnTo>
                  <a:lnTo>
                    <a:pt x="8" y="3"/>
                  </a:lnTo>
                  <a:lnTo>
                    <a:pt x="8" y="3"/>
                  </a:lnTo>
                  <a:lnTo>
                    <a:pt x="2" y="8"/>
                  </a:lnTo>
                  <a:lnTo>
                    <a:pt x="2" y="8"/>
                  </a:lnTo>
                  <a:lnTo>
                    <a:pt x="0" y="8"/>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53" name="Freeform 1107"/>
            <p:cNvSpPr>
              <a:spLocks/>
            </p:cNvSpPr>
            <p:nvPr/>
          </p:nvSpPr>
          <p:spPr bwMode="auto">
            <a:xfrm>
              <a:off x="4478338" y="3534204"/>
              <a:ext cx="12700" cy="12700"/>
            </a:xfrm>
            <a:custGeom>
              <a:avLst/>
              <a:gdLst>
                <a:gd name="T0" fmla="*/ 0 w 8"/>
                <a:gd name="T1" fmla="*/ 8 h 8"/>
                <a:gd name="T2" fmla="*/ 0 w 8"/>
                <a:gd name="T3" fmla="*/ 8 h 8"/>
                <a:gd name="T4" fmla="*/ 0 w 8"/>
                <a:gd name="T5" fmla="*/ 3 h 8"/>
                <a:gd name="T6" fmla="*/ 2 w 8"/>
                <a:gd name="T7" fmla="*/ 0 h 8"/>
                <a:gd name="T8" fmla="*/ 2 w 8"/>
                <a:gd name="T9" fmla="*/ 0 h 8"/>
                <a:gd name="T10" fmla="*/ 2 w 8"/>
                <a:gd name="T11" fmla="*/ 0 h 8"/>
                <a:gd name="T12" fmla="*/ 2 w 8"/>
                <a:gd name="T13" fmla="*/ 0 h 8"/>
                <a:gd name="T14" fmla="*/ 3 w 8"/>
                <a:gd name="T15" fmla="*/ 0 h 8"/>
                <a:gd name="T16" fmla="*/ 3 w 8"/>
                <a:gd name="T17" fmla="*/ 0 h 8"/>
                <a:gd name="T18" fmla="*/ 3 w 8"/>
                <a:gd name="T19" fmla="*/ 0 h 8"/>
                <a:gd name="T20" fmla="*/ 3 w 8"/>
                <a:gd name="T21" fmla="*/ 0 h 8"/>
                <a:gd name="T22" fmla="*/ 5 w 8"/>
                <a:gd name="T23" fmla="*/ 2 h 8"/>
                <a:gd name="T24" fmla="*/ 8 w 8"/>
                <a:gd name="T25" fmla="*/ 3 h 8"/>
                <a:gd name="T26" fmla="*/ 8 w 8"/>
                <a:gd name="T27" fmla="*/ 3 h 8"/>
                <a:gd name="T28" fmla="*/ 2 w 8"/>
                <a:gd name="T29" fmla="*/ 8 h 8"/>
                <a:gd name="T30" fmla="*/ 2 w 8"/>
                <a:gd name="T31" fmla="*/ 8 h 8"/>
                <a:gd name="T32" fmla="*/ 0 w 8"/>
                <a:gd name="T3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8">
                  <a:moveTo>
                    <a:pt x="0" y="8"/>
                  </a:moveTo>
                  <a:lnTo>
                    <a:pt x="0" y="8"/>
                  </a:lnTo>
                  <a:lnTo>
                    <a:pt x="0" y="3"/>
                  </a:lnTo>
                  <a:lnTo>
                    <a:pt x="2" y="0"/>
                  </a:lnTo>
                  <a:lnTo>
                    <a:pt x="2" y="0"/>
                  </a:lnTo>
                  <a:lnTo>
                    <a:pt x="2" y="0"/>
                  </a:lnTo>
                  <a:lnTo>
                    <a:pt x="2" y="0"/>
                  </a:lnTo>
                  <a:lnTo>
                    <a:pt x="3" y="0"/>
                  </a:lnTo>
                  <a:lnTo>
                    <a:pt x="3" y="0"/>
                  </a:lnTo>
                  <a:lnTo>
                    <a:pt x="3" y="0"/>
                  </a:lnTo>
                  <a:lnTo>
                    <a:pt x="3" y="0"/>
                  </a:lnTo>
                  <a:lnTo>
                    <a:pt x="5" y="2"/>
                  </a:lnTo>
                  <a:lnTo>
                    <a:pt x="8" y="3"/>
                  </a:lnTo>
                  <a:lnTo>
                    <a:pt x="8" y="3"/>
                  </a:lnTo>
                  <a:lnTo>
                    <a:pt x="2" y="8"/>
                  </a:lnTo>
                  <a:lnTo>
                    <a:pt x="2" y="8"/>
                  </a:lnTo>
                  <a:lnTo>
                    <a:pt x="0"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54" name="Freeform 1108"/>
            <p:cNvSpPr>
              <a:spLocks noEditPoints="1"/>
            </p:cNvSpPr>
            <p:nvPr/>
          </p:nvSpPr>
          <p:spPr bwMode="auto">
            <a:xfrm>
              <a:off x="4481513" y="3534204"/>
              <a:ext cx="1588" cy="0"/>
            </a:xfrm>
            <a:custGeom>
              <a:avLst/>
              <a:gdLst>
                <a:gd name="T0" fmla="*/ 1 w 1"/>
                <a:gd name="T1" fmla="*/ 1 w 1"/>
                <a:gd name="T2" fmla="*/ 1 w 1"/>
                <a:gd name="T3" fmla="*/ 0 w 1"/>
                <a:gd name="T4" fmla="*/ 0 w 1"/>
                <a:gd name="T5" fmla="*/ 1 w 1"/>
                <a:gd name="T6" fmla="*/ 1 w 1"/>
                <a:gd name="T7" fmla="*/ 0 w 1"/>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1">
                  <a:moveTo>
                    <a:pt x="1" y="0"/>
                  </a:moveTo>
                  <a:lnTo>
                    <a:pt x="1" y="0"/>
                  </a:lnTo>
                  <a:lnTo>
                    <a:pt x="1" y="0"/>
                  </a:lnTo>
                  <a:close/>
                  <a:moveTo>
                    <a:pt x="0" y="0"/>
                  </a:moveTo>
                  <a:lnTo>
                    <a:pt x="0" y="0"/>
                  </a:lnTo>
                  <a:lnTo>
                    <a:pt x="1" y="0"/>
                  </a:lnTo>
                  <a:lnTo>
                    <a:pt x="1" y="0"/>
                  </a:lnTo>
                  <a:lnTo>
                    <a:pt x="0" y="0"/>
                  </a:lnTo>
                  <a:close/>
                </a:path>
              </a:pathLst>
            </a:custGeom>
            <a:solidFill>
              <a:srgbClr val="60B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55" name="Freeform 1109"/>
            <p:cNvSpPr>
              <a:spLocks/>
            </p:cNvSpPr>
            <p:nvPr/>
          </p:nvSpPr>
          <p:spPr bwMode="auto">
            <a:xfrm>
              <a:off x="4483100" y="353420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56" name="Rectangle 1110"/>
            <p:cNvSpPr>
              <a:spLocks noChangeArrowheads="1"/>
            </p:cNvSpPr>
            <p:nvPr/>
          </p:nvSpPr>
          <p:spPr bwMode="auto">
            <a:xfrm>
              <a:off x="4481513" y="3534204"/>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57" name="Freeform 1111"/>
            <p:cNvSpPr>
              <a:spLocks/>
            </p:cNvSpPr>
            <p:nvPr/>
          </p:nvSpPr>
          <p:spPr bwMode="auto">
            <a:xfrm>
              <a:off x="4568825" y="3334179"/>
              <a:ext cx="171450" cy="100013"/>
            </a:xfrm>
            <a:custGeom>
              <a:avLst/>
              <a:gdLst>
                <a:gd name="T0" fmla="*/ 100 w 108"/>
                <a:gd name="T1" fmla="*/ 45 h 63"/>
                <a:gd name="T2" fmla="*/ 100 w 108"/>
                <a:gd name="T3" fmla="*/ 45 h 63"/>
                <a:gd name="T4" fmla="*/ 106 w 108"/>
                <a:gd name="T5" fmla="*/ 32 h 63"/>
                <a:gd name="T6" fmla="*/ 108 w 108"/>
                <a:gd name="T7" fmla="*/ 25 h 63"/>
                <a:gd name="T8" fmla="*/ 108 w 108"/>
                <a:gd name="T9" fmla="*/ 18 h 63"/>
                <a:gd name="T10" fmla="*/ 108 w 108"/>
                <a:gd name="T11" fmla="*/ 18 h 63"/>
                <a:gd name="T12" fmla="*/ 106 w 108"/>
                <a:gd name="T13" fmla="*/ 6 h 63"/>
                <a:gd name="T14" fmla="*/ 103 w 108"/>
                <a:gd name="T15" fmla="*/ 2 h 63"/>
                <a:gd name="T16" fmla="*/ 100 w 108"/>
                <a:gd name="T17" fmla="*/ 0 h 63"/>
                <a:gd name="T18" fmla="*/ 100 w 108"/>
                <a:gd name="T19" fmla="*/ 0 h 63"/>
                <a:gd name="T20" fmla="*/ 95 w 108"/>
                <a:gd name="T21" fmla="*/ 0 h 63"/>
                <a:gd name="T22" fmla="*/ 90 w 108"/>
                <a:gd name="T23" fmla="*/ 3 h 63"/>
                <a:gd name="T24" fmla="*/ 82 w 108"/>
                <a:gd name="T25" fmla="*/ 5 h 63"/>
                <a:gd name="T26" fmla="*/ 75 w 108"/>
                <a:gd name="T27" fmla="*/ 5 h 63"/>
                <a:gd name="T28" fmla="*/ 75 w 108"/>
                <a:gd name="T29" fmla="*/ 5 h 63"/>
                <a:gd name="T30" fmla="*/ 66 w 108"/>
                <a:gd name="T31" fmla="*/ 5 h 63"/>
                <a:gd name="T32" fmla="*/ 66 w 108"/>
                <a:gd name="T33" fmla="*/ 5 h 63"/>
                <a:gd name="T34" fmla="*/ 62 w 108"/>
                <a:gd name="T35" fmla="*/ 12 h 63"/>
                <a:gd name="T36" fmla="*/ 56 w 108"/>
                <a:gd name="T37" fmla="*/ 16 h 63"/>
                <a:gd name="T38" fmla="*/ 56 w 108"/>
                <a:gd name="T39" fmla="*/ 16 h 63"/>
                <a:gd name="T40" fmla="*/ 53 w 108"/>
                <a:gd name="T41" fmla="*/ 19 h 63"/>
                <a:gd name="T42" fmla="*/ 51 w 108"/>
                <a:gd name="T43" fmla="*/ 24 h 63"/>
                <a:gd name="T44" fmla="*/ 49 w 108"/>
                <a:gd name="T45" fmla="*/ 29 h 63"/>
                <a:gd name="T46" fmla="*/ 49 w 108"/>
                <a:gd name="T47" fmla="*/ 29 h 63"/>
                <a:gd name="T48" fmla="*/ 43 w 108"/>
                <a:gd name="T49" fmla="*/ 32 h 63"/>
                <a:gd name="T50" fmla="*/ 33 w 108"/>
                <a:gd name="T51" fmla="*/ 35 h 63"/>
                <a:gd name="T52" fmla="*/ 13 w 108"/>
                <a:gd name="T53" fmla="*/ 38 h 63"/>
                <a:gd name="T54" fmla="*/ 13 w 108"/>
                <a:gd name="T55" fmla="*/ 38 h 63"/>
                <a:gd name="T56" fmla="*/ 7 w 108"/>
                <a:gd name="T57" fmla="*/ 39 h 63"/>
                <a:gd name="T58" fmla="*/ 0 w 108"/>
                <a:gd name="T59" fmla="*/ 42 h 63"/>
                <a:gd name="T60" fmla="*/ 0 w 108"/>
                <a:gd name="T61" fmla="*/ 42 h 63"/>
                <a:gd name="T62" fmla="*/ 0 w 108"/>
                <a:gd name="T63" fmla="*/ 47 h 63"/>
                <a:gd name="T64" fmla="*/ 0 w 108"/>
                <a:gd name="T65" fmla="*/ 47 h 63"/>
                <a:gd name="T66" fmla="*/ 6 w 108"/>
                <a:gd name="T67" fmla="*/ 54 h 63"/>
                <a:gd name="T68" fmla="*/ 11 w 108"/>
                <a:gd name="T69" fmla="*/ 60 h 63"/>
                <a:gd name="T70" fmla="*/ 11 w 108"/>
                <a:gd name="T71" fmla="*/ 60 h 63"/>
                <a:gd name="T72" fmla="*/ 16 w 108"/>
                <a:gd name="T73" fmla="*/ 58 h 63"/>
                <a:gd name="T74" fmla="*/ 16 w 108"/>
                <a:gd name="T75" fmla="*/ 58 h 63"/>
                <a:gd name="T76" fmla="*/ 20 w 108"/>
                <a:gd name="T77" fmla="*/ 57 h 63"/>
                <a:gd name="T78" fmla="*/ 24 w 108"/>
                <a:gd name="T79" fmla="*/ 54 h 63"/>
                <a:gd name="T80" fmla="*/ 30 w 108"/>
                <a:gd name="T81" fmla="*/ 51 h 63"/>
                <a:gd name="T82" fmla="*/ 36 w 108"/>
                <a:gd name="T83" fmla="*/ 51 h 63"/>
                <a:gd name="T84" fmla="*/ 36 w 108"/>
                <a:gd name="T85" fmla="*/ 51 h 63"/>
                <a:gd name="T86" fmla="*/ 45 w 108"/>
                <a:gd name="T87" fmla="*/ 55 h 63"/>
                <a:gd name="T88" fmla="*/ 55 w 108"/>
                <a:gd name="T89" fmla="*/ 63 h 63"/>
                <a:gd name="T90" fmla="*/ 55 w 108"/>
                <a:gd name="T91" fmla="*/ 63 h 63"/>
                <a:gd name="T92" fmla="*/ 72 w 108"/>
                <a:gd name="T93" fmla="*/ 61 h 63"/>
                <a:gd name="T94" fmla="*/ 72 w 108"/>
                <a:gd name="T95" fmla="*/ 61 h 63"/>
                <a:gd name="T96" fmla="*/ 90 w 108"/>
                <a:gd name="T97" fmla="*/ 61 h 63"/>
                <a:gd name="T98" fmla="*/ 90 w 108"/>
                <a:gd name="T99" fmla="*/ 61 h 63"/>
                <a:gd name="T100" fmla="*/ 95 w 108"/>
                <a:gd name="T101" fmla="*/ 58 h 63"/>
                <a:gd name="T102" fmla="*/ 101 w 108"/>
                <a:gd name="T103" fmla="*/ 55 h 63"/>
                <a:gd name="T104" fmla="*/ 101 w 108"/>
                <a:gd name="T105" fmla="*/ 55 h 63"/>
                <a:gd name="T106" fmla="*/ 98 w 108"/>
                <a:gd name="T107" fmla="*/ 50 h 63"/>
                <a:gd name="T108" fmla="*/ 100 w 108"/>
                <a:gd name="T109" fmla="*/ 4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 h="63">
                  <a:moveTo>
                    <a:pt x="100" y="45"/>
                  </a:moveTo>
                  <a:lnTo>
                    <a:pt x="100" y="45"/>
                  </a:lnTo>
                  <a:lnTo>
                    <a:pt x="106" y="32"/>
                  </a:lnTo>
                  <a:lnTo>
                    <a:pt x="108" y="25"/>
                  </a:lnTo>
                  <a:lnTo>
                    <a:pt x="108" y="18"/>
                  </a:lnTo>
                  <a:lnTo>
                    <a:pt x="108" y="18"/>
                  </a:lnTo>
                  <a:lnTo>
                    <a:pt x="106" y="6"/>
                  </a:lnTo>
                  <a:lnTo>
                    <a:pt x="103" y="2"/>
                  </a:lnTo>
                  <a:lnTo>
                    <a:pt x="100" y="0"/>
                  </a:lnTo>
                  <a:lnTo>
                    <a:pt x="100" y="0"/>
                  </a:lnTo>
                  <a:lnTo>
                    <a:pt x="95" y="0"/>
                  </a:lnTo>
                  <a:lnTo>
                    <a:pt x="90" y="3"/>
                  </a:lnTo>
                  <a:lnTo>
                    <a:pt x="82" y="5"/>
                  </a:lnTo>
                  <a:lnTo>
                    <a:pt x="75" y="5"/>
                  </a:lnTo>
                  <a:lnTo>
                    <a:pt x="75" y="5"/>
                  </a:lnTo>
                  <a:lnTo>
                    <a:pt x="66" y="5"/>
                  </a:lnTo>
                  <a:lnTo>
                    <a:pt x="66" y="5"/>
                  </a:lnTo>
                  <a:lnTo>
                    <a:pt x="62" y="12"/>
                  </a:lnTo>
                  <a:lnTo>
                    <a:pt x="56" y="16"/>
                  </a:lnTo>
                  <a:lnTo>
                    <a:pt x="56" y="16"/>
                  </a:lnTo>
                  <a:lnTo>
                    <a:pt x="53" y="19"/>
                  </a:lnTo>
                  <a:lnTo>
                    <a:pt x="51" y="24"/>
                  </a:lnTo>
                  <a:lnTo>
                    <a:pt x="49" y="29"/>
                  </a:lnTo>
                  <a:lnTo>
                    <a:pt x="49" y="29"/>
                  </a:lnTo>
                  <a:lnTo>
                    <a:pt x="43" y="32"/>
                  </a:lnTo>
                  <a:lnTo>
                    <a:pt x="33" y="35"/>
                  </a:lnTo>
                  <a:lnTo>
                    <a:pt x="13" y="38"/>
                  </a:lnTo>
                  <a:lnTo>
                    <a:pt x="13" y="38"/>
                  </a:lnTo>
                  <a:lnTo>
                    <a:pt x="7" y="39"/>
                  </a:lnTo>
                  <a:lnTo>
                    <a:pt x="0" y="42"/>
                  </a:lnTo>
                  <a:lnTo>
                    <a:pt x="0" y="42"/>
                  </a:lnTo>
                  <a:lnTo>
                    <a:pt x="0" y="47"/>
                  </a:lnTo>
                  <a:lnTo>
                    <a:pt x="0" y="47"/>
                  </a:lnTo>
                  <a:lnTo>
                    <a:pt x="6" y="54"/>
                  </a:lnTo>
                  <a:lnTo>
                    <a:pt x="11" y="60"/>
                  </a:lnTo>
                  <a:lnTo>
                    <a:pt x="11" y="60"/>
                  </a:lnTo>
                  <a:lnTo>
                    <a:pt x="16" y="58"/>
                  </a:lnTo>
                  <a:lnTo>
                    <a:pt x="16" y="58"/>
                  </a:lnTo>
                  <a:lnTo>
                    <a:pt x="20" y="57"/>
                  </a:lnTo>
                  <a:lnTo>
                    <a:pt x="24" y="54"/>
                  </a:lnTo>
                  <a:lnTo>
                    <a:pt x="30" y="51"/>
                  </a:lnTo>
                  <a:lnTo>
                    <a:pt x="36" y="51"/>
                  </a:lnTo>
                  <a:lnTo>
                    <a:pt x="36" y="51"/>
                  </a:lnTo>
                  <a:lnTo>
                    <a:pt x="45" y="55"/>
                  </a:lnTo>
                  <a:lnTo>
                    <a:pt x="55" y="63"/>
                  </a:lnTo>
                  <a:lnTo>
                    <a:pt x="55" y="63"/>
                  </a:lnTo>
                  <a:lnTo>
                    <a:pt x="72" y="61"/>
                  </a:lnTo>
                  <a:lnTo>
                    <a:pt x="72" y="61"/>
                  </a:lnTo>
                  <a:lnTo>
                    <a:pt x="90" y="61"/>
                  </a:lnTo>
                  <a:lnTo>
                    <a:pt x="90" y="61"/>
                  </a:lnTo>
                  <a:lnTo>
                    <a:pt x="95" y="58"/>
                  </a:lnTo>
                  <a:lnTo>
                    <a:pt x="101" y="55"/>
                  </a:lnTo>
                  <a:lnTo>
                    <a:pt x="101" y="55"/>
                  </a:lnTo>
                  <a:lnTo>
                    <a:pt x="98" y="50"/>
                  </a:lnTo>
                  <a:lnTo>
                    <a:pt x="100" y="45"/>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58" name="Freeform 1112"/>
            <p:cNvSpPr>
              <a:spLocks/>
            </p:cNvSpPr>
            <p:nvPr/>
          </p:nvSpPr>
          <p:spPr bwMode="auto">
            <a:xfrm>
              <a:off x="4568825" y="3334179"/>
              <a:ext cx="171450" cy="100013"/>
            </a:xfrm>
            <a:custGeom>
              <a:avLst/>
              <a:gdLst>
                <a:gd name="T0" fmla="*/ 100 w 108"/>
                <a:gd name="T1" fmla="*/ 45 h 63"/>
                <a:gd name="T2" fmla="*/ 100 w 108"/>
                <a:gd name="T3" fmla="*/ 45 h 63"/>
                <a:gd name="T4" fmla="*/ 106 w 108"/>
                <a:gd name="T5" fmla="*/ 32 h 63"/>
                <a:gd name="T6" fmla="*/ 108 w 108"/>
                <a:gd name="T7" fmla="*/ 25 h 63"/>
                <a:gd name="T8" fmla="*/ 108 w 108"/>
                <a:gd name="T9" fmla="*/ 18 h 63"/>
                <a:gd name="T10" fmla="*/ 108 w 108"/>
                <a:gd name="T11" fmla="*/ 18 h 63"/>
                <a:gd name="T12" fmla="*/ 106 w 108"/>
                <a:gd name="T13" fmla="*/ 6 h 63"/>
                <a:gd name="T14" fmla="*/ 103 w 108"/>
                <a:gd name="T15" fmla="*/ 2 h 63"/>
                <a:gd name="T16" fmla="*/ 100 w 108"/>
                <a:gd name="T17" fmla="*/ 0 h 63"/>
                <a:gd name="T18" fmla="*/ 100 w 108"/>
                <a:gd name="T19" fmla="*/ 0 h 63"/>
                <a:gd name="T20" fmla="*/ 95 w 108"/>
                <a:gd name="T21" fmla="*/ 0 h 63"/>
                <a:gd name="T22" fmla="*/ 90 w 108"/>
                <a:gd name="T23" fmla="*/ 3 h 63"/>
                <a:gd name="T24" fmla="*/ 82 w 108"/>
                <a:gd name="T25" fmla="*/ 5 h 63"/>
                <a:gd name="T26" fmla="*/ 75 w 108"/>
                <a:gd name="T27" fmla="*/ 5 h 63"/>
                <a:gd name="T28" fmla="*/ 75 w 108"/>
                <a:gd name="T29" fmla="*/ 5 h 63"/>
                <a:gd name="T30" fmla="*/ 66 w 108"/>
                <a:gd name="T31" fmla="*/ 5 h 63"/>
                <a:gd name="T32" fmla="*/ 66 w 108"/>
                <a:gd name="T33" fmla="*/ 5 h 63"/>
                <a:gd name="T34" fmla="*/ 62 w 108"/>
                <a:gd name="T35" fmla="*/ 12 h 63"/>
                <a:gd name="T36" fmla="*/ 56 w 108"/>
                <a:gd name="T37" fmla="*/ 16 h 63"/>
                <a:gd name="T38" fmla="*/ 56 w 108"/>
                <a:gd name="T39" fmla="*/ 16 h 63"/>
                <a:gd name="T40" fmla="*/ 53 w 108"/>
                <a:gd name="T41" fmla="*/ 19 h 63"/>
                <a:gd name="T42" fmla="*/ 51 w 108"/>
                <a:gd name="T43" fmla="*/ 24 h 63"/>
                <a:gd name="T44" fmla="*/ 49 w 108"/>
                <a:gd name="T45" fmla="*/ 29 h 63"/>
                <a:gd name="T46" fmla="*/ 49 w 108"/>
                <a:gd name="T47" fmla="*/ 29 h 63"/>
                <a:gd name="T48" fmla="*/ 43 w 108"/>
                <a:gd name="T49" fmla="*/ 32 h 63"/>
                <a:gd name="T50" fmla="*/ 33 w 108"/>
                <a:gd name="T51" fmla="*/ 35 h 63"/>
                <a:gd name="T52" fmla="*/ 13 w 108"/>
                <a:gd name="T53" fmla="*/ 38 h 63"/>
                <a:gd name="T54" fmla="*/ 13 w 108"/>
                <a:gd name="T55" fmla="*/ 38 h 63"/>
                <a:gd name="T56" fmla="*/ 7 w 108"/>
                <a:gd name="T57" fmla="*/ 39 h 63"/>
                <a:gd name="T58" fmla="*/ 0 w 108"/>
                <a:gd name="T59" fmla="*/ 42 h 63"/>
                <a:gd name="T60" fmla="*/ 0 w 108"/>
                <a:gd name="T61" fmla="*/ 42 h 63"/>
                <a:gd name="T62" fmla="*/ 0 w 108"/>
                <a:gd name="T63" fmla="*/ 47 h 63"/>
                <a:gd name="T64" fmla="*/ 0 w 108"/>
                <a:gd name="T65" fmla="*/ 47 h 63"/>
                <a:gd name="T66" fmla="*/ 6 w 108"/>
                <a:gd name="T67" fmla="*/ 54 h 63"/>
                <a:gd name="T68" fmla="*/ 11 w 108"/>
                <a:gd name="T69" fmla="*/ 60 h 63"/>
                <a:gd name="T70" fmla="*/ 11 w 108"/>
                <a:gd name="T71" fmla="*/ 60 h 63"/>
                <a:gd name="T72" fmla="*/ 16 w 108"/>
                <a:gd name="T73" fmla="*/ 58 h 63"/>
                <a:gd name="T74" fmla="*/ 16 w 108"/>
                <a:gd name="T75" fmla="*/ 58 h 63"/>
                <a:gd name="T76" fmla="*/ 20 w 108"/>
                <a:gd name="T77" fmla="*/ 57 h 63"/>
                <a:gd name="T78" fmla="*/ 24 w 108"/>
                <a:gd name="T79" fmla="*/ 54 h 63"/>
                <a:gd name="T80" fmla="*/ 30 w 108"/>
                <a:gd name="T81" fmla="*/ 51 h 63"/>
                <a:gd name="T82" fmla="*/ 36 w 108"/>
                <a:gd name="T83" fmla="*/ 51 h 63"/>
                <a:gd name="T84" fmla="*/ 36 w 108"/>
                <a:gd name="T85" fmla="*/ 51 h 63"/>
                <a:gd name="T86" fmla="*/ 45 w 108"/>
                <a:gd name="T87" fmla="*/ 55 h 63"/>
                <a:gd name="T88" fmla="*/ 55 w 108"/>
                <a:gd name="T89" fmla="*/ 63 h 63"/>
                <a:gd name="T90" fmla="*/ 55 w 108"/>
                <a:gd name="T91" fmla="*/ 63 h 63"/>
                <a:gd name="T92" fmla="*/ 72 w 108"/>
                <a:gd name="T93" fmla="*/ 61 h 63"/>
                <a:gd name="T94" fmla="*/ 72 w 108"/>
                <a:gd name="T95" fmla="*/ 61 h 63"/>
                <a:gd name="T96" fmla="*/ 90 w 108"/>
                <a:gd name="T97" fmla="*/ 61 h 63"/>
                <a:gd name="T98" fmla="*/ 90 w 108"/>
                <a:gd name="T99" fmla="*/ 61 h 63"/>
                <a:gd name="T100" fmla="*/ 95 w 108"/>
                <a:gd name="T101" fmla="*/ 58 h 63"/>
                <a:gd name="T102" fmla="*/ 101 w 108"/>
                <a:gd name="T103" fmla="*/ 55 h 63"/>
                <a:gd name="T104" fmla="*/ 101 w 108"/>
                <a:gd name="T105" fmla="*/ 55 h 63"/>
                <a:gd name="T106" fmla="*/ 98 w 108"/>
                <a:gd name="T107" fmla="*/ 50 h 63"/>
                <a:gd name="T108" fmla="*/ 100 w 108"/>
                <a:gd name="T109" fmla="*/ 4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 h="63">
                  <a:moveTo>
                    <a:pt x="100" y="45"/>
                  </a:moveTo>
                  <a:lnTo>
                    <a:pt x="100" y="45"/>
                  </a:lnTo>
                  <a:lnTo>
                    <a:pt x="106" y="32"/>
                  </a:lnTo>
                  <a:lnTo>
                    <a:pt x="108" y="25"/>
                  </a:lnTo>
                  <a:lnTo>
                    <a:pt x="108" y="18"/>
                  </a:lnTo>
                  <a:lnTo>
                    <a:pt x="108" y="18"/>
                  </a:lnTo>
                  <a:lnTo>
                    <a:pt x="106" y="6"/>
                  </a:lnTo>
                  <a:lnTo>
                    <a:pt x="103" y="2"/>
                  </a:lnTo>
                  <a:lnTo>
                    <a:pt x="100" y="0"/>
                  </a:lnTo>
                  <a:lnTo>
                    <a:pt x="100" y="0"/>
                  </a:lnTo>
                  <a:lnTo>
                    <a:pt x="95" y="0"/>
                  </a:lnTo>
                  <a:lnTo>
                    <a:pt x="90" y="3"/>
                  </a:lnTo>
                  <a:lnTo>
                    <a:pt x="82" y="5"/>
                  </a:lnTo>
                  <a:lnTo>
                    <a:pt x="75" y="5"/>
                  </a:lnTo>
                  <a:lnTo>
                    <a:pt x="75" y="5"/>
                  </a:lnTo>
                  <a:lnTo>
                    <a:pt x="66" y="5"/>
                  </a:lnTo>
                  <a:lnTo>
                    <a:pt x="66" y="5"/>
                  </a:lnTo>
                  <a:lnTo>
                    <a:pt x="62" y="12"/>
                  </a:lnTo>
                  <a:lnTo>
                    <a:pt x="56" y="16"/>
                  </a:lnTo>
                  <a:lnTo>
                    <a:pt x="56" y="16"/>
                  </a:lnTo>
                  <a:lnTo>
                    <a:pt x="53" y="19"/>
                  </a:lnTo>
                  <a:lnTo>
                    <a:pt x="51" y="24"/>
                  </a:lnTo>
                  <a:lnTo>
                    <a:pt x="49" y="29"/>
                  </a:lnTo>
                  <a:lnTo>
                    <a:pt x="49" y="29"/>
                  </a:lnTo>
                  <a:lnTo>
                    <a:pt x="43" y="32"/>
                  </a:lnTo>
                  <a:lnTo>
                    <a:pt x="33" y="35"/>
                  </a:lnTo>
                  <a:lnTo>
                    <a:pt x="13" y="38"/>
                  </a:lnTo>
                  <a:lnTo>
                    <a:pt x="13" y="38"/>
                  </a:lnTo>
                  <a:lnTo>
                    <a:pt x="7" y="39"/>
                  </a:lnTo>
                  <a:lnTo>
                    <a:pt x="0" y="42"/>
                  </a:lnTo>
                  <a:lnTo>
                    <a:pt x="0" y="42"/>
                  </a:lnTo>
                  <a:lnTo>
                    <a:pt x="0" y="47"/>
                  </a:lnTo>
                  <a:lnTo>
                    <a:pt x="0" y="47"/>
                  </a:lnTo>
                  <a:lnTo>
                    <a:pt x="6" y="54"/>
                  </a:lnTo>
                  <a:lnTo>
                    <a:pt x="11" y="60"/>
                  </a:lnTo>
                  <a:lnTo>
                    <a:pt x="11" y="60"/>
                  </a:lnTo>
                  <a:lnTo>
                    <a:pt x="16" y="58"/>
                  </a:lnTo>
                  <a:lnTo>
                    <a:pt x="16" y="58"/>
                  </a:lnTo>
                  <a:lnTo>
                    <a:pt x="20" y="57"/>
                  </a:lnTo>
                  <a:lnTo>
                    <a:pt x="24" y="54"/>
                  </a:lnTo>
                  <a:lnTo>
                    <a:pt x="30" y="51"/>
                  </a:lnTo>
                  <a:lnTo>
                    <a:pt x="36" y="51"/>
                  </a:lnTo>
                  <a:lnTo>
                    <a:pt x="36" y="51"/>
                  </a:lnTo>
                  <a:lnTo>
                    <a:pt x="45" y="55"/>
                  </a:lnTo>
                  <a:lnTo>
                    <a:pt x="55" y="63"/>
                  </a:lnTo>
                  <a:lnTo>
                    <a:pt x="55" y="63"/>
                  </a:lnTo>
                  <a:lnTo>
                    <a:pt x="72" y="61"/>
                  </a:lnTo>
                  <a:lnTo>
                    <a:pt x="72" y="61"/>
                  </a:lnTo>
                  <a:lnTo>
                    <a:pt x="90" y="61"/>
                  </a:lnTo>
                  <a:lnTo>
                    <a:pt x="90" y="61"/>
                  </a:lnTo>
                  <a:lnTo>
                    <a:pt x="95" y="58"/>
                  </a:lnTo>
                  <a:lnTo>
                    <a:pt x="101" y="55"/>
                  </a:lnTo>
                  <a:lnTo>
                    <a:pt x="101" y="55"/>
                  </a:lnTo>
                  <a:lnTo>
                    <a:pt x="98" y="50"/>
                  </a:lnTo>
                  <a:lnTo>
                    <a:pt x="100" y="4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59" name="Freeform 1113"/>
            <p:cNvSpPr>
              <a:spLocks/>
            </p:cNvSpPr>
            <p:nvPr/>
          </p:nvSpPr>
          <p:spPr bwMode="auto">
            <a:xfrm>
              <a:off x="4560888" y="3400854"/>
              <a:ext cx="7938" cy="7938"/>
            </a:xfrm>
            <a:custGeom>
              <a:avLst/>
              <a:gdLst>
                <a:gd name="T0" fmla="*/ 5 w 5"/>
                <a:gd name="T1" fmla="*/ 0 h 5"/>
                <a:gd name="T2" fmla="*/ 5 w 5"/>
                <a:gd name="T3" fmla="*/ 0 h 5"/>
                <a:gd name="T4" fmla="*/ 0 w 5"/>
                <a:gd name="T5" fmla="*/ 2 h 5"/>
                <a:gd name="T6" fmla="*/ 0 w 5"/>
                <a:gd name="T7" fmla="*/ 2 h 5"/>
                <a:gd name="T8" fmla="*/ 2 w 5"/>
                <a:gd name="T9" fmla="*/ 3 h 5"/>
                <a:gd name="T10" fmla="*/ 2 w 5"/>
                <a:gd name="T11" fmla="*/ 3 h 5"/>
                <a:gd name="T12" fmla="*/ 5 w 5"/>
                <a:gd name="T13" fmla="*/ 5 h 5"/>
                <a:gd name="T14" fmla="*/ 5 w 5"/>
                <a:gd name="T15" fmla="*/ 5 h 5"/>
                <a:gd name="T16" fmla="*/ 5 w 5"/>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
                  <a:moveTo>
                    <a:pt x="5" y="0"/>
                  </a:moveTo>
                  <a:lnTo>
                    <a:pt x="5" y="0"/>
                  </a:lnTo>
                  <a:lnTo>
                    <a:pt x="0" y="2"/>
                  </a:lnTo>
                  <a:lnTo>
                    <a:pt x="0" y="2"/>
                  </a:lnTo>
                  <a:lnTo>
                    <a:pt x="2" y="3"/>
                  </a:lnTo>
                  <a:lnTo>
                    <a:pt x="2" y="3"/>
                  </a:lnTo>
                  <a:lnTo>
                    <a:pt x="5" y="5"/>
                  </a:lnTo>
                  <a:lnTo>
                    <a:pt x="5" y="5"/>
                  </a:lnTo>
                  <a:lnTo>
                    <a:pt x="5" y="0"/>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60" name="Freeform 1114"/>
            <p:cNvSpPr>
              <a:spLocks/>
            </p:cNvSpPr>
            <p:nvPr/>
          </p:nvSpPr>
          <p:spPr bwMode="auto">
            <a:xfrm>
              <a:off x="4560888" y="3400854"/>
              <a:ext cx="7938" cy="7938"/>
            </a:xfrm>
            <a:custGeom>
              <a:avLst/>
              <a:gdLst>
                <a:gd name="T0" fmla="*/ 5 w 5"/>
                <a:gd name="T1" fmla="*/ 0 h 5"/>
                <a:gd name="T2" fmla="*/ 5 w 5"/>
                <a:gd name="T3" fmla="*/ 0 h 5"/>
                <a:gd name="T4" fmla="*/ 0 w 5"/>
                <a:gd name="T5" fmla="*/ 2 h 5"/>
                <a:gd name="T6" fmla="*/ 0 w 5"/>
                <a:gd name="T7" fmla="*/ 2 h 5"/>
                <a:gd name="T8" fmla="*/ 2 w 5"/>
                <a:gd name="T9" fmla="*/ 3 h 5"/>
                <a:gd name="T10" fmla="*/ 2 w 5"/>
                <a:gd name="T11" fmla="*/ 3 h 5"/>
                <a:gd name="T12" fmla="*/ 5 w 5"/>
                <a:gd name="T13" fmla="*/ 5 h 5"/>
                <a:gd name="T14" fmla="*/ 5 w 5"/>
                <a:gd name="T15" fmla="*/ 5 h 5"/>
                <a:gd name="T16" fmla="*/ 5 w 5"/>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
                  <a:moveTo>
                    <a:pt x="5" y="0"/>
                  </a:moveTo>
                  <a:lnTo>
                    <a:pt x="5" y="0"/>
                  </a:lnTo>
                  <a:lnTo>
                    <a:pt x="0" y="2"/>
                  </a:lnTo>
                  <a:lnTo>
                    <a:pt x="0" y="2"/>
                  </a:lnTo>
                  <a:lnTo>
                    <a:pt x="2" y="3"/>
                  </a:lnTo>
                  <a:lnTo>
                    <a:pt x="2" y="3"/>
                  </a:lnTo>
                  <a:lnTo>
                    <a:pt x="5" y="5"/>
                  </a:lnTo>
                  <a:lnTo>
                    <a:pt x="5" y="5"/>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61" name="Freeform 1115"/>
            <p:cNvSpPr>
              <a:spLocks noEditPoints="1"/>
            </p:cNvSpPr>
            <p:nvPr/>
          </p:nvSpPr>
          <p:spPr bwMode="auto">
            <a:xfrm>
              <a:off x="4478338" y="3415142"/>
              <a:ext cx="307975" cy="317500"/>
            </a:xfrm>
            <a:custGeom>
              <a:avLst/>
              <a:gdLst>
                <a:gd name="T0" fmla="*/ 176 w 194"/>
                <a:gd name="T1" fmla="*/ 130 h 200"/>
                <a:gd name="T2" fmla="*/ 157 w 194"/>
                <a:gd name="T3" fmla="*/ 125 h 200"/>
                <a:gd name="T4" fmla="*/ 155 w 194"/>
                <a:gd name="T5" fmla="*/ 113 h 200"/>
                <a:gd name="T6" fmla="*/ 151 w 194"/>
                <a:gd name="T7" fmla="*/ 112 h 200"/>
                <a:gd name="T8" fmla="*/ 139 w 194"/>
                <a:gd name="T9" fmla="*/ 112 h 200"/>
                <a:gd name="T10" fmla="*/ 131 w 194"/>
                <a:gd name="T11" fmla="*/ 103 h 200"/>
                <a:gd name="T12" fmla="*/ 118 w 194"/>
                <a:gd name="T13" fmla="*/ 84 h 200"/>
                <a:gd name="T14" fmla="*/ 115 w 194"/>
                <a:gd name="T15" fmla="*/ 77 h 200"/>
                <a:gd name="T16" fmla="*/ 105 w 194"/>
                <a:gd name="T17" fmla="*/ 70 h 200"/>
                <a:gd name="T18" fmla="*/ 100 w 194"/>
                <a:gd name="T19" fmla="*/ 64 h 200"/>
                <a:gd name="T20" fmla="*/ 94 w 194"/>
                <a:gd name="T21" fmla="*/ 58 h 200"/>
                <a:gd name="T22" fmla="*/ 99 w 194"/>
                <a:gd name="T23" fmla="*/ 46 h 200"/>
                <a:gd name="T24" fmla="*/ 99 w 194"/>
                <a:gd name="T25" fmla="*/ 43 h 200"/>
                <a:gd name="T26" fmla="*/ 94 w 194"/>
                <a:gd name="T27" fmla="*/ 42 h 200"/>
                <a:gd name="T28" fmla="*/ 97 w 194"/>
                <a:gd name="T29" fmla="*/ 38 h 200"/>
                <a:gd name="T30" fmla="*/ 112 w 194"/>
                <a:gd name="T31" fmla="*/ 29 h 200"/>
                <a:gd name="T32" fmla="*/ 115 w 194"/>
                <a:gd name="T33" fmla="*/ 22 h 200"/>
                <a:gd name="T34" fmla="*/ 112 w 194"/>
                <a:gd name="T35" fmla="*/ 12 h 200"/>
                <a:gd name="T36" fmla="*/ 93 w 194"/>
                <a:gd name="T37" fmla="*/ 0 h 200"/>
                <a:gd name="T38" fmla="*/ 81 w 194"/>
                <a:gd name="T39" fmla="*/ 3 h 200"/>
                <a:gd name="T40" fmla="*/ 73 w 194"/>
                <a:gd name="T41" fmla="*/ 7 h 200"/>
                <a:gd name="T42" fmla="*/ 60 w 194"/>
                <a:gd name="T43" fmla="*/ 17 h 200"/>
                <a:gd name="T44" fmla="*/ 41 w 194"/>
                <a:gd name="T45" fmla="*/ 19 h 200"/>
                <a:gd name="T46" fmla="*/ 22 w 194"/>
                <a:gd name="T47" fmla="*/ 20 h 200"/>
                <a:gd name="T48" fmla="*/ 9 w 194"/>
                <a:gd name="T49" fmla="*/ 33 h 200"/>
                <a:gd name="T50" fmla="*/ 6 w 194"/>
                <a:gd name="T51" fmla="*/ 38 h 200"/>
                <a:gd name="T52" fmla="*/ 0 w 194"/>
                <a:gd name="T53" fmla="*/ 45 h 200"/>
                <a:gd name="T54" fmla="*/ 8 w 194"/>
                <a:gd name="T55" fmla="*/ 58 h 200"/>
                <a:gd name="T56" fmla="*/ 13 w 194"/>
                <a:gd name="T57" fmla="*/ 77 h 200"/>
                <a:gd name="T58" fmla="*/ 35 w 194"/>
                <a:gd name="T59" fmla="*/ 58 h 200"/>
                <a:gd name="T60" fmla="*/ 39 w 194"/>
                <a:gd name="T61" fmla="*/ 58 h 200"/>
                <a:gd name="T62" fmla="*/ 57 w 194"/>
                <a:gd name="T63" fmla="*/ 65 h 200"/>
                <a:gd name="T64" fmla="*/ 70 w 194"/>
                <a:gd name="T65" fmla="*/ 85 h 200"/>
                <a:gd name="T66" fmla="*/ 81 w 194"/>
                <a:gd name="T67" fmla="*/ 101 h 200"/>
                <a:gd name="T68" fmla="*/ 100 w 194"/>
                <a:gd name="T69" fmla="*/ 117 h 200"/>
                <a:gd name="T70" fmla="*/ 131 w 194"/>
                <a:gd name="T71" fmla="*/ 139 h 200"/>
                <a:gd name="T72" fmla="*/ 141 w 194"/>
                <a:gd name="T73" fmla="*/ 151 h 200"/>
                <a:gd name="T74" fmla="*/ 150 w 194"/>
                <a:gd name="T75" fmla="*/ 158 h 200"/>
                <a:gd name="T76" fmla="*/ 154 w 194"/>
                <a:gd name="T77" fmla="*/ 164 h 200"/>
                <a:gd name="T78" fmla="*/ 160 w 194"/>
                <a:gd name="T79" fmla="*/ 180 h 200"/>
                <a:gd name="T80" fmla="*/ 155 w 194"/>
                <a:gd name="T81" fmla="*/ 191 h 200"/>
                <a:gd name="T82" fmla="*/ 154 w 194"/>
                <a:gd name="T83" fmla="*/ 200 h 200"/>
                <a:gd name="T84" fmla="*/ 160 w 194"/>
                <a:gd name="T85" fmla="*/ 196 h 200"/>
                <a:gd name="T86" fmla="*/ 167 w 194"/>
                <a:gd name="T87" fmla="*/ 178 h 200"/>
                <a:gd name="T88" fmla="*/ 170 w 194"/>
                <a:gd name="T89" fmla="*/ 165 h 200"/>
                <a:gd name="T90" fmla="*/ 163 w 194"/>
                <a:gd name="T91" fmla="*/ 159 h 200"/>
                <a:gd name="T92" fmla="*/ 170 w 194"/>
                <a:gd name="T93" fmla="*/ 148 h 200"/>
                <a:gd name="T94" fmla="*/ 176 w 194"/>
                <a:gd name="T95" fmla="*/ 148 h 200"/>
                <a:gd name="T96" fmla="*/ 187 w 194"/>
                <a:gd name="T97" fmla="*/ 154 h 200"/>
                <a:gd name="T98" fmla="*/ 194 w 194"/>
                <a:gd name="T99" fmla="*/ 151 h 200"/>
                <a:gd name="T100" fmla="*/ 190 w 194"/>
                <a:gd name="T101" fmla="*/ 142 h 200"/>
                <a:gd name="T102" fmla="*/ 93 w 194"/>
                <a:gd name="T103" fmla="*/ 70 h 200"/>
                <a:gd name="T104" fmla="*/ 90 w 194"/>
                <a:gd name="T105" fmla="*/ 67 h 200"/>
                <a:gd name="T106" fmla="*/ 94 w 194"/>
                <a:gd name="T107" fmla="*/ 65 h 200"/>
                <a:gd name="T108" fmla="*/ 103 w 194"/>
                <a:gd name="T109" fmla="*/ 113 h 200"/>
                <a:gd name="T110" fmla="*/ 100 w 194"/>
                <a:gd name="T111" fmla="*/ 112 h 200"/>
                <a:gd name="T112" fmla="*/ 103 w 194"/>
                <a:gd name="T113" fmla="*/ 110 h 200"/>
                <a:gd name="T114" fmla="*/ 103 w 194"/>
                <a:gd name="T115" fmla="*/ 11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4" h="200">
                  <a:moveTo>
                    <a:pt x="181" y="133"/>
                  </a:moveTo>
                  <a:lnTo>
                    <a:pt x="181" y="133"/>
                  </a:lnTo>
                  <a:lnTo>
                    <a:pt x="176" y="130"/>
                  </a:lnTo>
                  <a:lnTo>
                    <a:pt x="168" y="127"/>
                  </a:lnTo>
                  <a:lnTo>
                    <a:pt x="157" y="125"/>
                  </a:lnTo>
                  <a:lnTo>
                    <a:pt x="157" y="125"/>
                  </a:lnTo>
                  <a:lnTo>
                    <a:pt x="154" y="123"/>
                  </a:lnTo>
                  <a:lnTo>
                    <a:pt x="154" y="120"/>
                  </a:lnTo>
                  <a:lnTo>
                    <a:pt x="155" y="113"/>
                  </a:lnTo>
                  <a:lnTo>
                    <a:pt x="155" y="113"/>
                  </a:lnTo>
                  <a:lnTo>
                    <a:pt x="154" y="112"/>
                  </a:lnTo>
                  <a:lnTo>
                    <a:pt x="151" y="112"/>
                  </a:lnTo>
                  <a:lnTo>
                    <a:pt x="142" y="112"/>
                  </a:lnTo>
                  <a:lnTo>
                    <a:pt x="142" y="112"/>
                  </a:lnTo>
                  <a:lnTo>
                    <a:pt x="139" y="112"/>
                  </a:lnTo>
                  <a:lnTo>
                    <a:pt x="136" y="110"/>
                  </a:lnTo>
                  <a:lnTo>
                    <a:pt x="131" y="103"/>
                  </a:lnTo>
                  <a:lnTo>
                    <a:pt x="131" y="103"/>
                  </a:lnTo>
                  <a:lnTo>
                    <a:pt x="126" y="99"/>
                  </a:lnTo>
                  <a:lnTo>
                    <a:pt x="122" y="91"/>
                  </a:lnTo>
                  <a:lnTo>
                    <a:pt x="118" y="84"/>
                  </a:lnTo>
                  <a:lnTo>
                    <a:pt x="116" y="80"/>
                  </a:lnTo>
                  <a:lnTo>
                    <a:pt x="116" y="80"/>
                  </a:lnTo>
                  <a:lnTo>
                    <a:pt x="115" y="77"/>
                  </a:lnTo>
                  <a:lnTo>
                    <a:pt x="112" y="74"/>
                  </a:lnTo>
                  <a:lnTo>
                    <a:pt x="109" y="71"/>
                  </a:lnTo>
                  <a:lnTo>
                    <a:pt x="105" y="70"/>
                  </a:lnTo>
                  <a:lnTo>
                    <a:pt x="105" y="70"/>
                  </a:lnTo>
                  <a:lnTo>
                    <a:pt x="102" y="68"/>
                  </a:lnTo>
                  <a:lnTo>
                    <a:pt x="100" y="64"/>
                  </a:lnTo>
                  <a:lnTo>
                    <a:pt x="97" y="59"/>
                  </a:lnTo>
                  <a:lnTo>
                    <a:pt x="94" y="58"/>
                  </a:lnTo>
                  <a:lnTo>
                    <a:pt x="94" y="58"/>
                  </a:lnTo>
                  <a:lnTo>
                    <a:pt x="93" y="57"/>
                  </a:lnTo>
                  <a:lnTo>
                    <a:pt x="94" y="54"/>
                  </a:lnTo>
                  <a:lnTo>
                    <a:pt x="99" y="46"/>
                  </a:lnTo>
                  <a:lnTo>
                    <a:pt x="99" y="46"/>
                  </a:lnTo>
                  <a:lnTo>
                    <a:pt x="100" y="45"/>
                  </a:lnTo>
                  <a:lnTo>
                    <a:pt x="99" y="43"/>
                  </a:lnTo>
                  <a:lnTo>
                    <a:pt x="97" y="43"/>
                  </a:lnTo>
                  <a:lnTo>
                    <a:pt x="94" y="42"/>
                  </a:lnTo>
                  <a:lnTo>
                    <a:pt x="94" y="42"/>
                  </a:lnTo>
                  <a:lnTo>
                    <a:pt x="93" y="41"/>
                  </a:lnTo>
                  <a:lnTo>
                    <a:pt x="93" y="39"/>
                  </a:lnTo>
                  <a:lnTo>
                    <a:pt x="97" y="38"/>
                  </a:lnTo>
                  <a:lnTo>
                    <a:pt x="97" y="38"/>
                  </a:lnTo>
                  <a:lnTo>
                    <a:pt x="105" y="32"/>
                  </a:lnTo>
                  <a:lnTo>
                    <a:pt x="112" y="29"/>
                  </a:lnTo>
                  <a:lnTo>
                    <a:pt x="112" y="29"/>
                  </a:lnTo>
                  <a:lnTo>
                    <a:pt x="112" y="29"/>
                  </a:lnTo>
                  <a:lnTo>
                    <a:pt x="115" y="22"/>
                  </a:lnTo>
                  <a:lnTo>
                    <a:pt x="116" y="16"/>
                  </a:lnTo>
                  <a:lnTo>
                    <a:pt x="116" y="16"/>
                  </a:lnTo>
                  <a:lnTo>
                    <a:pt x="112" y="12"/>
                  </a:lnTo>
                  <a:lnTo>
                    <a:pt x="106" y="7"/>
                  </a:lnTo>
                  <a:lnTo>
                    <a:pt x="99" y="3"/>
                  </a:lnTo>
                  <a:lnTo>
                    <a:pt x="93" y="0"/>
                  </a:lnTo>
                  <a:lnTo>
                    <a:pt x="93" y="0"/>
                  </a:lnTo>
                  <a:lnTo>
                    <a:pt x="87" y="0"/>
                  </a:lnTo>
                  <a:lnTo>
                    <a:pt x="81" y="3"/>
                  </a:lnTo>
                  <a:lnTo>
                    <a:pt x="77" y="6"/>
                  </a:lnTo>
                  <a:lnTo>
                    <a:pt x="73" y="7"/>
                  </a:lnTo>
                  <a:lnTo>
                    <a:pt x="73" y="7"/>
                  </a:lnTo>
                  <a:lnTo>
                    <a:pt x="68" y="9"/>
                  </a:lnTo>
                  <a:lnTo>
                    <a:pt x="64" y="13"/>
                  </a:lnTo>
                  <a:lnTo>
                    <a:pt x="60" y="17"/>
                  </a:lnTo>
                  <a:lnTo>
                    <a:pt x="57" y="19"/>
                  </a:lnTo>
                  <a:lnTo>
                    <a:pt x="57" y="19"/>
                  </a:lnTo>
                  <a:lnTo>
                    <a:pt x="41" y="19"/>
                  </a:lnTo>
                  <a:lnTo>
                    <a:pt x="29" y="19"/>
                  </a:lnTo>
                  <a:lnTo>
                    <a:pt x="22" y="20"/>
                  </a:lnTo>
                  <a:lnTo>
                    <a:pt x="22" y="20"/>
                  </a:lnTo>
                  <a:lnTo>
                    <a:pt x="8" y="22"/>
                  </a:lnTo>
                  <a:lnTo>
                    <a:pt x="8" y="22"/>
                  </a:lnTo>
                  <a:lnTo>
                    <a:pt x="9" y="33"/>
                  </a:lnTo>
                  <a:lnTo>
                    <a:pt x="9" y="33"/>
                  </a:lnTo>
                  <a:lnTo>
                    <a:pt x="9" y="36"/>
                  </a:lnTo>
                  <a:lnTo>
                    <a:pt x="6" y="38"/>
                  </a:lnTo>
                  <a:lnTo>
                    <a:pt x="2" y="43"/>
                  </a:lnTo>
                  <a:lnTo>
                    <a:pt x="2" y="43"/>
                  </a:lnTo>
                  <a:lnTo>
                    <a:pt x="0" y="45"/>
                  </a:lnTo>
                  <a:lnTo>
                    <a:pt x="2" y="48"/>
                  </a:lnTo>
                  <a:lnTo>
                    <a:pt x="3" y="52"/>
                  </a:lnTo>
                  <a:lnTo>
                    <a:pt x="8" y="58"/>
                  </a:lnTo>
                  <a:lnTo>
                    <a:pt x="10" y="64"/>
                  </a:lnTo>
                  <a:lnTo>
                    <a:pt x="10" y="64"/>
                  </a:lnTo>
                  <a:lnTo>
                    <a:pt x="13" y="77"/>
                  </a:lnTo>
                  <a:lnTo>
                    <a:pt x="13" y="77"/>
                  </a:lnTo>
                  <a:lnTo>
                    <a:pt x="28" y="65"/>
                  </a:lnTo>
                  <a:lnTo>
                    <a:pt x="35" y="58"/>
                  </a:lnTo>
                  <a:lnTo>
                    <a:pt x="35" y="58"/>
                  </a:lnTo>
                  <a:lnTo>
                    <a:pt x="38" y="58"/>
                  </a:lnTo>
                  <a:lnTo>
                    <a:pt x="39" y="58"/>
                  </a:lnTo>
                  <a:lnTo>
                    <a:pt x="45" y="59"/>
                  </a:lnTo>
                  <a:lnTo>
                    <a:pt x="57" y="65"/>
                  </a:lnTo>
                  <a:lnTo>
                    <a:pt x="57" y="65"/>
                  </a:lnTo>
                  <a:lnTo>
                    <a:pt x="60" y="68"/>
                  </a:lnTo>
                  <a:lnTo>
                    <a:pt x="63" y="72"/>
                  </a:lnTo>
                  <a:lnTo>
                    <a:pt x="70" y="85"/>
                  </a:lnTo>
                  <a:lnTo>
                    <a:pt x="70" y="85"/>
                  </a:lnTo>
                  <a:lnTo>
                    <a:pt x="74" y="94"/>
                  </a:lnTo>
                  <a:lnTo>
                    <a:pt x="81" y="101"/>
                  </a:lnTo>
                  <a:lnTo>
                    <a:pt x="93" y="113"/>
                  </a:lnTo>
                  <a:lnTo>
                    <a:pt x="93" y="113"/>
                  </a:lnTo>
                  <a:lnTo>
                    <a:pt x="100" y="117"/>
                  </a:lnTo>
                  <a:lnTo>
                    <a:pt x="112" y="126"/>
                  </a:lnTo>
                  <a:lnTo>
                    <a:pt x="131" y="139"/>
                  </a:lnTo>
                  <a:lnTo>
                    <a:pt x="131" y="139"/>
                  </a:lnTo>
                  <a:lnTo>
                    <a:pt x="135" y="142"/>
                  </a:lnTo>
                  <a:lnTo>
                    <a:pt x="138" y="148"/>
                  </a:lnTo>
                  <a:lnTo>
                    <a:pt x="141" y="151"/>
                  </a:lnTo>
                  <a:lnTo>
                    <a:pt x="144" y="154"/>
                  </a:lnTo>
                  <a:lnTo>
                    <a:pt x="144" y="154"/>
                  </a:lnTo>
                  <a:lnTo>
                    <a:pt x="150" y="158"/>
                  </a:lnTo>
                  <a:lnTo>
                    <a:pt x="152" y="161"/>
                  </a:lnTo>
                  <a:lnTo>
                    <a:pt x="154" y="164"/>
                  </a:lnTo>
                  <a:lnTo>
                    <a:pt x="154" y="164"/>
                  </a:lnTo>
                  <a:lnTo>
                    <a:pt x="158" y="171"/>
                  </a:lnTo>
                  <a:lnTo>
                    <a:pt x="158" y="175"/>
                  </a:lnTo>
                  <a:lnTo>
                    <a:pt x="160" y="180"/>
                  </a:lnTo>
                  <a:lnTo>
                    <a:pt x="160" y="180"/>
                  </a:lnTo>
                  <a:lnTo>
                    <a:pt x="158" y="184"/>
                  </a:lnTo>
                  <a:lnTo>
                    <a:pt x="155" y="191"/>
                  </a:lnTo>
                  <a:lnTo>
                    <a:pt x="152" y="197"/>
                  </a:lnTo>
                  <a:lnTo>
                    <a:pt x="154" y="200"/>
                  </a:lnTo>
                  <a:lnTo>
                    <a:pt x="154" y="200"/>
                  </a:lnTo>
                  <a:lnTo>
                    <a:pt x="154" y="200"/>
                  </a:lnTo>
                  <a:lnTo>
                    <a:pt x="155" y="200"/>
                  </a:lnTo>
                  <a:lnTo>
                    <a:pt x="160" y="196"/>
                  </a:lnTo>
                  <a:lnTo>
                    <a:pt x="164" y="187"/>
                  </a:lnTo>
                  <a:lnTo>
                    <a:pt x="164" y="187"/>
                  </a:lnTo>
                  <a:lnTo>
                    <a:pt x="167" y="178"/>
                  </a:lnTo>
                  <a:lnTo>
                    <a:pt x="170" y="170"/>
                  </a:lnTo>
                  <a:lnTo>
                    <a:pt x="170" y="170"/>
                  </a:lnTo>
                  <a:lnTo>
                    <a:pt x="170" y="165"/>
                  </a:lnTo>
                  <a:lnTo>
                    <a:pt x="167" y="164"/>
                  </a:lnTo>
                  <a:lnTo>
                    <a:pt x="163" y="159"/>
                  </a:lnTo>
                  <a:lnTo>
                    <a:pt x="163" y="159"/>
                  </a:lnTo>
                  <a:lnTo>
                    <a:pt x="163" y="156"/>
                  </a:lnTo>
                  <a:lnTo>
                    <a:pt x="165" y="152"/>
                  </a:lnTo>
                  <a:lnTo>
                    <a:pt x="170" y="148"/>
                  </a:lnTo>
                  <a:lnTo>
                    <a:pt x="170" y="148"/>
                  </a:lnTo>
                  <a:lnTo>
                    <a:pt x="171" y="148"/>
                  </a:lnTo>
                  <a:lnTo>
                    <a:pt x="176" y="148"/>
                  </a:lnTo>
                  <a:lnTo>
                    <a:pt x="183" y="152"/>
                  </a:lnTo>
                  <a:lnTo>
                    <a:pt x="183" y="152"/>
                  </a:lnTo>
                  <a:lnTo>
                    <a:pt x="187" y="154"/>
                  </a:lnTo>
                  <a:lnTo>
                    <a:pt x="190" y="154"/>
                  </a:lnTo>
                  <a:lnTo>
                    <a:pt x="193" y="152"/>
                  </a:lnTo>
                  <a:lnTo>
                    <a:pt x="194" y="151"/>
                  </a:lnTo>
                  <a:lnTo>
                    <a:pt x="194" y="151"/>
                  </a:lnTo>
                  <a:lnTo>
                    <a:pt x="193" y="148"/>
                  </a:lnTo>
                  <a:lnTo>
                    <a:pt x="190" y="142"/>
                  </a:lnTo>
                  <a:lnTo>
                    <a:pt x="181" y="133"/>
                  </a:lnTo>
                  <a:close/>
                  <a:moveTo>
                    <a:pt x="93" y="70"/>
                  </a:moveTo>
                  <a:lnTo>
                    <a:pt x="93" y="70"/>
                  </a:lnTo>
                  <a:lnTo>
                    <a:pt x="92" y="70"/>
                  </a:lnTo>
                  <a:lnTo>
                    <a:pt x="90" y="68"/>
                  </a:lnTo>
                  <a:lnTo>
                    <a:pt x="90" y="67"/>
                  </a:lnTo>
                  <a:lnTo>
                    <a:pt x="93" y="65"/>
                  </a:lnTo>
                  <a:lnTo>
                    <a:pt x="93" y="65"/>
                  </a:lnTo>
                  <a:lnTo>
                    <a:pt x="94" y="65"/>
                  </a:lnTo>
                  <a:lnTo>
                    <a:pt x="96" y="67"/>
                  </a:lnTo>
                  <a:lnTo>
                    <a:pt x="93" y="70"/>
                  </a:lnTo>
                  <a:close/>
                  <a:moveTo>
                    <a:pt x="103" y="113"/>
                  </a:moveTo>
                  <a:lnTo>
                    <a:pt x="103" y="113"/>
                  </a:lnTo>
                  <a:lnTo>
                    <a:pt x="102" y="113"/>
                  </a:lnTo>
                  <a:lnTo>
                    <a:pt x="100" y="112"/>
                  </a:lnTo>
                  <a:lnTo>
                    <a:pt x="102" y="109"/>
                  </a:lnTo>
                  <a:lnTo>
                    <a:pt x="102" y="109"/>
                  </a:lnTo>
                  <a:lnTo>
                    <a:pt x="103" y="110"/>
                  </a:lnTo>
                  <a:lnTo>
                    <a:pt x="103" y="112"/>
                  </a:lnTo>
                  <a:lnTo>
                    <a:pt x="103" y="113"/>
                  </a:lnTo>
                  <a:lnTo>
                    <a:pt x="103" y="113"/>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62" name="Freeform 1116"/>
            <p:cNvSpPr>
              <a:spLocks/>
            </p:cNvSpPr>
            <p:nvPr/>
          </p:nvSpPr>
          <p:spPr bwMode="auto">
            <a:xfrm>
              <a:off x="4478338" y="3415142"/>
              <a:ext cx="307975" cy="317500"/>
            </a:xfrm>
            <a:custGeom>
              <a:avLst/>
              <a:gdLst>
                <a:gd name="T0" fmla="*/ 176 w 194"/>
                <a:gd name="T1" fmla="*/ 130 h 200"/>
                <a:gd name="T2" fmla="*/ 157 w 194"/>
                <a:gd name="T3" fmla="*/ 125 h 200"/>
                <a:gd name="T4" fmla="*/ 155 w 194"/>
                <a:gd name="T5" fmla="*/ 113 h 200"/>
                <a:gd name="T6" fmla="*/ 151 w 194"/>
                <a:gd name="T7" fmla="*/ 112 h 200"/>
                <a:gd name="T8" fmla="*/ 139 w 194"/>
                <a:gd name="T9" fmla="*/ 112 h 200"/>
                <a:gd name="T10" fmla="*/ 131 w 194"/>
                <a:gd name="T11" fmla="*/ 103 h 200"/>
                <a:gd name="T12" fmla="*/ 118 w 194"/>
                <a:gd name="T13" fmla="*/ 84 h 200"/>
                <a:gd name="T14" fmla="*/ 115 w 194"/>
                <a:gd name="T15" fmla="*/ 77 h 200"/>
                <a:gd name="T16" fmla="*/ 105 w 194"/>
                <a:gd name="T17" fmla="*/ 70 h 200"/>
                <a:gd name="T18" fmla="*/ 100 w 194"/>
                <a:gd name="T19" fmla="*/ 64 h 200"/>
                <a:gd name="T20" fmla="*/ 94 w 194"/>
                <a:gd name="T21" fmla="*/ 58 h 200"/>
                <a:gd name="T22" fmla="*/ 99 w 194"/>
                <a:gd name="T23" fmla="*/ 46 h 200"/>
                <a:gd name="T24" fmla="*/ 99 w 194"/>
                <a:gd name="T25" fmla="*/ 43 h 200"/>
                <a:gd name="T26" fmla="*/ 94 w 194"/>
                <a:gd name="T27" fmla="*/ 42 h 200"/>
                <a:gd name="T28" fmla="*/ 97 w 194"/>
                <a:gd name="T29" fmla="*/ 38 h 200"/>
                <a:gd name="T30" fmla="*/ 112 w 194"/>
                <a:gd name="T31" fmla="*/ 29 h 200"/>
                <a:gd name="T32" fmla="*/ 115 w 194"/>
                <a:gd name="T33" fmla="*/ 22 h 200"/>
                <a:gd name="T34" fmla="*/ 112 w 194"/>
                <a:gd name="T35" fmla="*/ 12 h 200"/>
                <a:gd name="T36" fmla="*/ 93 w 194"/>
                <a:gd name="T37" fmla="*/ 0 h 200"/>
                <a:gd name="T38" fmla="*/ 81 w 194"/>
                <a:gd name="T39" fmla="*/ 3 h 200"/>
                <a:gd name="T40" fmla="*/ 73 w 194"/>
                <a:gd name="T41" fmla="*/ 7 h 200"/>
                <a:gd name="T42" fmla="*/ 60 w 194"/>
                <a:gd name="T43" fmla="*/ 17 h 200"/>
                <a:gd name="T44" fmla="*/ 41 w 194"/>
                <a:gd name="T45" fmla="*/ 19 h 200"/>
                <a:gd name="T46" fmla="*/ 22 w 194"/>
                <a:gd name="T47" fmla="*/ 20 h 200"/>
                <a:gd name="T48" fmla="*/ 9 w 194"/>
                <a:gd name="T49" fmla="*/ 33 h 200"/>
                <a:gd name="T50" fmla="*/ 6 w 194"/>
                <a:gd name="T51" fmla="*/ 38 h 200"/>
                <a:gd name="T52" fmla="*/ 0 w 194"/>
                <a:gd name="T53" fmla="*/ 45 h 200"/>
                <a:gd name="T54" fmla="*/ 8 w 194"/>
                <a:gd name="T55" fmla="*/ 58 h 200"/>
                <a:gd name="T56" fmla="*/ 13 w 194"/>
                <a:gd name="T57" fmla="*/ 77 h 200"/>
                <a:gd name="T58" fmla="*/ 35 w 194"/>
                <a:gd name="T59" fmla="*/ 58 h 200"/>
                <a:gd name="T60" fmla="*/ 39 w 194"/>
                <a:gd name="T61" fmla="*/ 58 h 200"/>
                <a:gd name="T62" fmla="*/ 57 w 194"/>
                <a:gd name="T63" fmla="*/ 65 h 200"/>
                <a:gd name="T64" fmla="*/ 70 w 194"/>
                <a:gd name="T65" fmla="*/ 85 h 200"/>
                <a:gd name="T66" fmla="*/ 81 w 194"/>
                <a:gd name="T67" fmla="*/ 101 h 200"/>
                <a:gd name="T68" fmla="*/ 100 w 194"/>
                <a:gd name="T69" fmla="*/ 117 h 200"/>
                <a:gd name="T70" fmla="*/ 131 w 194"/>
                <a:gd name="T71" fmla="*/ 139 h 200"/>
                <a:gd name="T72" fmla="*/ 141 w 194"/>
                <a:gd name="T73" fmla="*/ 151 h 200"/>
                <a:gd name="T74" fmla="*/ 150 w 194"/>
                <a:gd name="T75" fmla="*/ 158 h 200"/>
                <a:gd name="T76" fmla="*/ 154 w 194"/>
                <a:gd name="T77" fmla="*/ 164 h 200"/>
                <a:gd name="T78" fmla="*/ 160 w 194"/>
                <a:gd name="T79" fmla="*/ 180 h 200"/>
                <a:gd name="T80" fmla="*/ 155 w 194"/>
                <a:gd name="T81" fmla="*/ 191 h 200"/>
                <a:gd name="T82" fmla="*/ 154 w 194"/>
                <a:gd name="T83" fmla="*/ 200 h 200"/>
                <a:gd name="T84" fmla="*/ 160 w 194"/>
                <a:gd name="T85" fmla="*/ 196 h 200"/>
                <a:gd name="T86" fmla="*/ 167 w 194"/>
                <a:gd name="T87" fmla="*/ 178 h 200"/>
                <a:gd name="T88" fmla="*/ 170 w 194"/>
                <a:gd name="T89" fmla="*/ 165 h 200"/>
                <a:gd name="T90" fmla="*/ 163 w 194"/>
                <a:gd name="T91" fmla="*/ 159 h 200"/>
                <a:gd name="T92" fmla="*/ 170 w 194"/>
                <a:gd name="T93" fmla="*/ 148 h 200"/>
                <a:gd name="T94" fmla="*/ 176 w 194"/>
                <a:gd name="T95" fmla="*/ 148 h 200"/>
                <a:gd name="T96" fmla="*/ 187 w 194"/>
                <a:gd name="T97" fmla="*/ 154 h 200"/>
                <a:gd name="T98" fmla="*/ 194 w 194"/>
                <a:gd name="T99" fmla="*/ 151 h 200"/>
                <a:gd name="T100" fmla="*/ 190 w 194"/>
                <a:gd name="T101" fmla="*/ 14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4" h="200">
                  <a:moveTo>
                    <a:pt x="181" y="133"/>
                  </a:moveTo>
                  <a:lnTo>
                    <a:pt x="181" y="133"/>
                  </a:lnTo>
                  <a:lnTo>
                    <a:pt x="176" y="130"/>
                  </a:lnTo>
                  <a:lnTo>
                    <a:pt x="168" y="127"/>
                  </a:lnTo>
                  <a:lnTo>
                    <a:pt x="157" y="125"/>
                  </a:lnTo>
                  <a:lnTo>
                    <a:pt x="157" y="125"/>
                  </a:lnTo>
                  <a:lnTo>
                    <a:pt x="154" y="123"/>
                  </a:lnTo>
                  <a:lnTo>
                    <a:pt x="154" y="120"/>
                  </a:lnTo>
                  <a:lnTo>
                    <a:pt x="155" y="113"/>
                  </a:lnTo>
                  <a:lnTo>
                    <a:pt x="155" y="113"/>
                  </a:lnTo>
                  <a:lnTo>
                    <a:pt x="154" y="112"/>
                  </a:lnTo>
                  <a:lnTo>
                    <a:pt x="151" y="112"/>
                  </a:lnTo>
                  <a:lnTo>
                    <a:pt x="142" y="112"/>
                  </a:lnTo>
                  <a:lnTo>
                    <a:pt x="142" y="112"/>
                  </a:lnTo>
                  <a:lnTo>
                    <a:pt x="139" y="112"/>
                  </a:lnTo>
                  <a:lnTo>
                    <a:pt x="136" y="110"/>
                  </a:lnTo>
                  <a:lnTo>
                    <a:pt x="131" y="103"/>
                  </a:lnTo>
                  <a:lnTo>
                    <a:pt x="131" y="103"/>
                  </a:lnTo>
                  <a:lnTo>
                    <a:pt x="126" y="99"/>
                  </a:lnTo>
                  <a:lnTo>
                    <a:pt x="122" y="91"/>
                  </a:lnTo>
                  <a:lnTo>
                    <a:pt x="118" y="84"/>
                  </a:lnTo>
                  <a:lnTo>
                    <a:pt x="116" y="80"/>
                  </a:lnTo>
                  <a:lnTo>
                    <a:pt x="116" y="80"/>
                  </a:lnTo>
                  <a:lnTo>
                    <a:pt x="115" y="77"/>
                  </a:lnTo>
                  <a:lnTo>
                    <a:pt x="112" y="74"/>
                  </a:lnTo>
                  <a:lnTo>
                    <a:pt x="109" y="71"/>
                  </a:lnTo>
                  <a:lnTo>
                    <a:pt x="105" y="70"/>
                  </a:lnTo>
                  <a:lnTo>
                    <a:pt x="105" y="70"/>
                  </a:lnTo>
                  <a:lnTo>
                    <a:pt x="102" y="68"/>
                  </a:lnTo>
                  <a:lnTo>
                    <a:pt x="100" y="64"/>
                  </a:lnTo>
                  <a:lnTo>
                    <a:pt x="97" y="59"/>
                  </a:lnTo>
                  <a:lnTo>
                    <a:pt x="94" y="58"/>
                  </a:lnTo>
                  <a:lnTo>
                    <a:pt x="94" y="58"/>
                  </a:lnTo>
                  <a:lnTo>
                    <a:pt x="93" y="57"/>
                  </a:lnTo>
                  <a:lnTo>
                    <a:pt x="94" y="54"/>
                  </a:lnTo>
                  <a:lnTo>
                    <a:pt x="99" y="46"/>
                  </a:lnTo>
                  <a:lnTo>
                    <a:pt x="99" y="46"/>
                  </a:lnTo>
                  <a:lnTo>
                    <a:pt x="100" y="45"/>
                  </a:lnTo>
                  <a:lnTo>
                    <a:pt x="99" y="43"/>
                  </a:lnTo>
                  <a:lnTo>
                    <a:pt x="97" y="43"/>
                  </a:lnTo>
                  <a:lnTo>
                    <a:pt x="94" y="42"/>
                  </a:lnTo>
                  <a:lnTo>
                    <a:pt x="94" y="42"/>
                  </a:lnTo>
                  <a:lnTo>
                    <a:pt x="93" y="41"/>
                  </a:lnTo>
                  <a:lnTo>
                    <a:pt x="93" y="39"/>
                  </a:lnTo>
                  <a:lnTo>
                    <a:pt x="97" y="38"/>
                  </a:lnTo>
                  <a:lnTo>
                    <a:pt x="97" y="38"/>
                  </a:lnTo>
                  <a:lnTo>
                    <a:pt x="105" y="32"/>
                  </a:lnTo>
                  <a:lnTo>
                    <a:pt x="112" y="29"/>
                  </a:lnTo>
                  <a:lnTo>
                    <a:pt x="112" y="29"/>
                  </a:lnTo>
                  <a:lnTo>
                    <a:pt x="112" y="29"/>
                  </a:lnTo>
                  <a:lnTo>
                    <a:pt x="115" y="22"/>
                  </a:lnTo>
                  <a:lnTo>
                    <a:pt x="116" y="16"/>
                  </a:lnTo>
                  <a:lnTo>
                    <a:pt x="116" y="16"/>
                  </a:lnTo>
                  <a:lnTo>
                    <a:pt x="112" y="12"/>
                  </a:lnTo>
                  <a:lnTo>
                    <a:pt x="106" y="7"/>
                  </a:lnTo>
                  <a:lnTo>
                    <a:pt x="99" y="3"/>
                  </a:lnTo>
                  <a:lnTo>
                    <a:pt x="93" y="0"/>
                  </a:lnTo>
                  <a:lnTo>
                    <a:pt x="93" y="0"/>
                  </a:lnTo>
                  <a:lnTo>
                    <a:pt x="87" y="0"/>
                  </a:lnTo>
                  <a:lnTo>
                    <a:pt x="81" y="3"/>
                  </a:lnTo>
                  <a:lnTo>
                    <a:pt x="77" y="6"/>
                  </a:lnTo>
                  <a:lnTo>
                    <a:pt x="73" y="7"/>
                  </a:lnTo>
                  <a:lnTo>
                    <a:pt x="73" y="7"/>
                  </a:lnTo>
                  <a:lnTo>
                    <a:pt x="68" y="9"/>
                  </a:lnTo>
                  <a:lnTo>
                    <a:pt x="64" y="13"/>
                  </a:lnTo>
                  <a:lnTo>
                    <a:pt x="60" y="17"/>
                  </a:lnTo>
                  <a:lnTo>
                    <a:pt x="57" y="19"/>
                  </a:lnTo>
                  <a:lnTo>
                    <a:pt x="57" y="19"/>
                  </a:lnTo>
                  <a:lnTo>
                    <a:pt x="41" y="19"/>
                  </a:lnTo>
                  <a:lnTo>
                    <a:pt x="29" y="19"/>
                  </a:lnTo>
                  <a:lnTo>
                    <a:pt x="22" y="20"/>
                  </a:lnTo>
                  <a:lnTo>
                    <a:pt x="22" y="20"/>
                  </a:lnTo>
                  <a:lnTo>
                    <a:pt x="8" y="22"/>
                  </a:lnTo>
                  <a:lnTo>
                    <a:pt x="8" y="22"/>
                  </a:lnTo>
                  <a:lnTo>
                    <a:pt x="9" y="33"/>
                  </a:lnTo>
                  <a:lnTo>
                    <a:pt x="9" y="33"/>
                  </a:lnTo>
                  <a:lnTo>
                    <a:pt x="9" y="36"/>
                  </a:lnTo>
                  <a:lnTo>
                    <a:pt x="6" y="38"/>
                  </a:lnTo>
                  <a:lnTo>
                    <a:pt x="2" y="43"/>
                  </a:lnTo>
                  <a:lnTo>
                    <a:pt x="2" y="43"/>
                  </a:lnTo>
                  <a:lnTo>
                    <a:pt x="0" y="45"/>
                  </a:lnTo>
                  <a:lnTo>
                    <a:pt x="2" y="48"/>
                  </a:lnTo>
                  <a:lnTo>
                    <a:pt x="3" y="52"/>
                  </a:lnTo>
                  <a:lnTo>
                    <a:pt x="8" y="58"/>
                  </a:lnTo>
                  <a:lnTo>
                    <a:pt x="10" y="64"/>
                  </a:lnTo>
                  <a:lnTo>
                    <a:pt x="10" y="64"/>
                  </a:lnTo>
                  <a:lnTo>
                    <a:pt x="13" y="77"/>
                  </a:lnTo>
                  <a:lnTo>
                    <a:pt x="13" y="77"/>
                  </a:lnTo>
                  <a:lnTo>
                    <a:pt x="28" y="65"/>
                  </a:lnTo>
                  <a:lnTo>
                    <a:pt x="35" y="58"/>
                  </a:lnTo>
                  <a:lnTo>
                    <a:pt x="35" y="58"/>
                  </a:lnTo>
                  <a:lnTo>
                    <a:pt x="38" y="58"/>
                  </a:lnTo>
                  <a:lnTo>
                    <a:pt x="39" y="58"/>
                  </a:lnTo>
                  <a:lnTo>
                    <a:pt x="45" y="59"/>
                  </a:lnTo>
                  <a:lnTo>
                    <a:pt x="57" y="65"/>
                  </a:lnTo>
                  <a:lnTo>
                    <a:pt x="57" y="65"/>
                  </a:lnTo>
                  <a:lnTo>
                    <a:pt x="60" y="68"/>
                  </a:lnTo>
                  <a:lnTo>
                    <a:pt x="63" y="72"/>
                  </a:lnTo>
                  <a:lnTo>
                    <a:pt x="70" y="85"/>
                  </a:lnTo>
                  <a:lnTo>
                    <a:pt x="70" y="85"/>
                  </a:lnTo>
                  <a:lnTo>
                    <a:pt x="74" y="94"/>
                  </a:lnTo>
                  <a:lnTo>
                    <a:pt x="81" y="101"/>
                  </a:lnTo>
                  <a:lnTo>
                    <a:pt x="93" y="113"/>
                  </a:lnTo>
                  <a:lnTo>
                    <a:pt x="93" y="113"/>
                  </a:lnTo>
                  <a:lnTo>
                    <a:pt x="100" y="117"/>
                  </a:lnTo>
                  <a:lnTo>
                    <a:pt x="112" y="126"/>
                  </a:lnTo>
                  <a:lnTo>
                    <a:pt x="131" y="139"/>
                  </a:lnTo>
                  <a:lnTo>
                    <a:pt x="131" y="139"/>
                  </a:lnTo>
                  <a:lnTo>
                    <a:pt x="135" y="142"/>
                  </a:lnTo>
                  <a:lnTo>
                    <a:pt x="138" y="148"/>
                  </a:lnTo>
                  <a:lnTo>
                    <a:pt x="141" y="151"/>
                  </a:lnTo>
                  <a:lnTo>
                    <a:pt x="144" y="154"/>
                  </a:lnTo>
                  <a:lnTo>
                    <a:pt x="144" y="154"/>
                  </a:lnTo>
                  <a:lnTo>
                    <a:pt x="150" y="158"/>
                  </a:lnTo>
                  <a:lnTo>
                    <a:pt x="152" y="161"/>
                  </a:lnTo>
                  <a:lnTo>
                    <a:pt x="154" y="164"/>
                  </a:lnTo>
                  <a:lnTo>
                    <a:pt x="154" y="164"/>
                  </a:lnTo>
                  <a:lnTo>
                    <a:pt x="158" y="171"/>
                  </a:lnTo>
                  <a:lnTo>
                    <a:pt x="158" y="175"/>
                  </a:lnTo>
                  <a:lnTo>
                    <a:pt x="160" y="180"/>
                  </a:lnTo>
                  <a:lnTo>
                    <a:pt x="160" y="180"/>
                  </a:lnTo>
                  <a:lnTo>
                    <a:pt x="158" y="184"/>
                  </a:lnTo>
                  <a:lnTo>
                    <a:pt x="155" y="191"/>
                  </a:lnTo>
                  <a:lnTo>
                    <a:pt x="152" y="197"/>
                  </a:lnTo>
                  <a:lnTo>
                    <a:pt x="154" y="200"/>
                  </a:lnTo>
                  <a:lnTo>
                    <a:pt x="154" y="200"/>
                  </a:lnTo>
                  <a:lnTo>
                    <a:pt x="154" y="200"/>
                  </a:lnTo>
                  <a:lnTo>
                    <a:pt x="155" y="200"/>
                  </a:lnTo>
                  <a:lnTo>
                    <a:pt x="160" y="196"/>
                  </a:lnTo>
                  <a:lnTo>
                    <a:pt x="164" y="187"/>
                  </a:lnTo>
                  <a:lnTo>
                    <a:pt x="164" y="187"/>
                  </a:lnTo>
                  <a:lnTo>
                    <a:pt x="167" y="178"/>
                  </a:lnTo>
                  <a:lnTo>
                    <a:pt x="170" y="170"/>
                  </a:lnTo>
                  <a:lnTo>
                    <a:pt x="170" y="170"/>
                  </a:lnTo>
                  <a:lnTo>
                    <a:pt x="170" y="165"/>
                  </a:lnTo>
                  <a:lnTo>
                    <a:pt x="167" y="164"/>
                  </a:lnTo>
                  <a:lnTo>
                    <a:pt x="163" y="159"/>
                  </a:lnTo>
                  <a:lnTo>
                    <a:pt x="163" y="159"/>
                  </a:lnTo>
                  <a:lnTo>
                    <a:pt x="163" y="156"/>
                  </a:lnTo>
                  <a:lnTo>
                    <a:pt x="165" y="152"/>
                  </a:lnTo>
                  <a:lnTo>
                    <a:pt x="170" y="148"/>
                  </a:lnTo>
                  <a:lnTo>
                    <a:pt x="170" y="148"/>
                  </a:lnTo>
                  <a:lnTo>
                    <a:pt x="171" y="148"/>
                  </a:lnTo>
                  <a:lnTo>
                    <a:pt x="176" y="148"/>
                  </a:lnTo>
                  <a:lnTo>
                    <a:pt x="183" y="152"/>
                  </a:lnTo>
                  <a:lnTo>
                    <a:pt x="183" y="152"/>
                  </a:lnTo>
                  <a:lnTo>
                    <a:pt x="187" y="154"/>
                  </a:lnTo>
                  <a:lnTo>
                    <a:pt x="190" y="154"/>
                  </a:lnTo>
                  <a:lnTo>
                    <a:pt x="193" y="152"/>
                  </a:lnTo>
                  <a:lnTo>
                    <a:pt x="194" y="151"/>
                  </a:lnTo>
                  <a:lnTo>
                    <a:pt x="194" y="151"/>
                  </a:lnTo>
                  <a:lnTo>
                    <a:pt x="193" y="148"/>
                  </a:lnTo>
                  <a:lnTo>
                    <a:pt x="190" y="142"/>
                  </a:lnTo>
                  <a:lnTo>
                    <a:pt x="181" y="13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63" name="Freeform 1117"/>
            <p:cNvSpPr>
              <a:spLocks/>
            </p:cNvSpPr>
            <p:nvPr/>
          </p:nvSpPr>
          <p:spPr bwMode="auto">
            <a:xfrm>
              <a:off x="4621213" y="3518329"/>
              <a:ext cx="9525" cy="7938"/>
            </a:xfrm>
            <a:custGeom>
              <a:avLst/>
              <a:gdLst>
                <a:gd name="T0" fmla="*/ 3 w 6"/>
                <a:gd name="T1" fmla="*/ 5 h 5"/>
                <a:gd name="T2" fmla="*/ 3 w 6"/>
                <a:gd name="T3" fmla="*/ 5 h 5"/>
                <a:gd name="T4" fmla="*/ 2 w 6"/>
                <a:gd name="T5" fmla="*/ 5 h 5"/>
                <a:gd name="T6" fmla="*/ 0 w 6"/>
                <a:gd name="T7" fmla="*/ 3 h 5"/>
                <a:gd name="T8" fmla="*/ 0 w 6"/>
                <a:gd name="T9" fmla="*/ 2 h 5"/>
                <a:gd name="T10" fmla="*/ 3 w 6"/>
                <a:gd name="T11" fmla="*/ 0 h 5"/>
                <a:gd name="T12" fmla="*/ 3 w 6"/>
                <a:gd name="T13" fmla="*/ 0 h 5"/>
                <a:gd name="T14" fmla="*/ 4 w 6"/>
                <a:gd name="T15" fmla="*/ 0 h 5"/>
                <a:gd name="T16" fmla="*/ 6 w 6"/>
                <a:gd name="T17" fmla="*/ 2 h 5"/>
                <a:gd name="T18" fmla="*/ 3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3" y="5"/>
                  </a:moveTo>
                  <a:lnTo>
                    <a:pt x="3" y="5"/>
                  </a:lnTo>
                  <a:lnTo>
                    <a:pt x="2" y="5"/>
                  </a:lnTo>
                  <a:lnTo>
                    <a:pt x="0" y="3"/>
                  </a:lnTo>
                  <a:lnTo>
                    <a:pt x="0" y="2"/>
                  </a:lnTo>
                  <a:lnTo>
                    <a:pt x="3" y="0"/>
                  </a:lnTo>
                  <a:lnTo>
                    <a:pt x="3" y="0"/>
                  </a:lnTo>
                  <a:lnTo>
                    <a:pt x="4" y="0"/>
                  </a:lnTo>
                  <a:lnTo>
                    <a:pt x="6" y="2"/>
                  </a:lnTo>
                  <a:lnTo>
                    <a:pt x="3"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64" name="Freeform 1118"/>
            <p:cNvSpPr>
              <a:spLocks/>
            </p:cNvSpPr>
            <p:nvPr/>
          </p:nvSpPr>
          <p:spPr bwMode="auto">
            <a:xfrm>
              <a:off x="4637088" y="3588179"/>
              <a:ext cx="4763" cy="6350"/>
            </a:xfrm>
            <a:custGeom>
              <a:avLst/>
              <a:gdLst>
                <a:gd name="T0" fmla="*/ 3 w 3"/>
                <a:gd name="T1" fmla="*/ 4 h 4"/>
                <a:gd name="T2" fmla="*/ 3 w 3"/>
                <a:gd name="T3" fmla="*/ 4 h 4"/>
                <a:gd name="T4" fmla="*/ 2 w 3"/>
                <a:gd name="T5" fmla="*/ 4 h 4"/>
                <a:gd name="T6" fmla="*/ 0 w 3"/>
                <a:gd name="T7" fmla="*/ 3 h 4"/>
                <a:gd name="T8" fmla="*/ 2 w 3"/>
                <a:gd name="T9" fmla="*/ 0 h 4"/>
                <a:gd name="T10" fmla="*/ 2 w 3"/>
                <a:gd name="T11" fmla="*/ 0 h 4"/>
                <a:gd name="T12" fmla="*/ 3 w 3"/>
                <a:gd name="T13" fmla="*/ 1 h 4"/>
                <a:gd name="T14" fmla="*/ 3 w 3"/>
                <a:gd name="T15" fmla="*/ 3 h 4"/>
                <a:gd name="T16" fmla="*/ 3 w 3"/>
                <a:gd name="T17" fmla="*/ 4 h 4"/>
                <a:gd name="T18" fmla="*/ 3 w 3"/>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3" y="4"/>
                  </a:moveTo>
                  <a:lnTo>
                    <a:pt x="3" y="4"/>
                  </a:lnTo>
                  <a:lnTo>
                    <a:pt x="2" y="4"/>
                  </a:lnTo>
                  <a:lnTo>
                    <a:pt x="0" y="3"/>
                  </a:lnTo>
                  <a:lnTo>
                    <a:pt x="2" y="0"/>
                  </a:lnTo>
                  <a:lnTo>
                    <a:pt x="2" y="0"/>
                  </a:lnTo>
                  <a:lnTo>
                    <a:pt x="3" y="1"/>
                  </a:lnTo>
                  <a:lnTo>
                    <a:pt x="3" y="3"/>
                  </a:lnTo>
                  <a:lnTo>
                    <a:pt x="3" y="4"/>
                  </a:lnTo>
                  <a:lnTo>
                    <a:pt x="3"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65" name="Freeform 1119"/>
            <p:cNvSpPr>
              <a:spLocks/>
            </p:cNvSpPr>
            <p:nvPr/>
          </p:nvSpPr>
          <p:spPr bwMode="auto">
            <a:xfrm>
              <a:off x="4621213" y="3518329"/>
              <a:ext cx="9525" cy="7938"/>
            </a:xfrm>
            <a:custGeom>
              <a:avLst/>
              <a:gdLst>
                <a:gd name="T0" fmla="*/ 3 w 6"/>
                <a:gd name="T1" fmla="*/ 0 h 5"/>
                <a:gd name="T2" fmla="*/ 3 w 6"/>
                <a:gd name="T3" fmla="*/ 0 h 5"/>
                <a:gd name="T4" fmla="*/ 0 w 6"/>
                <a:gd name="T5" fmla="*/ 2 h 5"/>
                <a:gd name="T6" fmla="*/ 0 w 6"/>
                <a:gd name="T7" fmla="*/ 3 h 5"/>
                <a:gd name="T8" fmla="*/ 2 w 6"/>
                <a:gd name="T9" fmla="*/ 5 h 5"/>
                <a:gd name="T10" fmla="*/ 3 w 6"/>
                <a:gd name="T11" fmla="*/ 5 h 5"/>
                <a:gd name="T12" fmla="*/ 3 w 6"/>
                <a:gd name="T13" fmla="*/ 5 h 5"/>
                <a:gd name="T14" fmla="*/ 6 w 6"/>
                <a:gd name="T15" fmla="*/ 2 h 5"/>
                <a:gd name="T16" fmla="*/ 4 w 6"/>
                <a:gd name="T17" fmla="*/ 0 h 5"/>
                <a:gd name="T18" fmla="*/ 3 w 6"/>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3" y="0"/>
                  </a:moveTo>
                  <a:lnTo>
                    <a:pt x="3" y="0"/>
                  </a:lnTo>
                  <a:lnTo>
                    <a:pt x="0" y="2"/>
                  </a:lnTo>
                  <a:lnTo>
                    <a:pt x="0" y="3"/>
                  </a:lnTo>
                  <a:lnTo>
                    <a:pt x="2" y="5"/>
                  </a:lnTo>
                  <a:lnTo>
                    <a:pt x="3" y="5"/>
                  </a:lnTo>
                  <a:lnTo>
                    <a:pt x="3" y="5"/>
                  </a:lnTo>
                  <a:lnTo>
                    <a:pt x="6" y="2"/>
                  </a:lnTo>
                  <a:lnTo>
                    <a:pt x="4" y="0"/>
                  </a:lnTo>
                  <a:lnTo>
                    <a:pt x="3" y="0"/>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66" name="Freeform 1120"/>
            <p:cNvSpPr>
              <a:spLocks/>
            </p:cNvSpPr>
            <p:nvPr/>
          </p:nvSpPr>
          <p:spPr bwMode="auto">
            <a:xfrm>
              <a:off x="4621213" y="3518329"/>
              <a:ext cx="9525" cy="7938"/>
            </a:xfrm>
            <a:custGeom>
              <a:avLst/>
              <a:gdLst>
                <a:gd name="T0" fmla="*/ 3 w 6"/>
                <a:gd name="T1" fmla="*/ 0 h 5"/>
                <a:gd name="T2" fmla="*/ 3 w 6"/>
                <a:gd name="T3" fmla="*/ 0 h 5"/>
                <a:gd name="T4" fmla="*/ 0 w 6"/>
                <a:gd name="T5" fmla="*/ 2 h 5"/>
                <a:gd name="T6" fmla="*/ 0 w 6"/>
                <a:gd name="T7" fmla="*/ 3 h 5"/>
                <a:gd name="T8" fmla="*/ 2 w 6"/>
                <a:gd name="T9" fmla="*/ 5 h 5"/>
                <a:gd name="T10" fmla="*/ 3 w 6"/>
                <a:gd name="T11" fmla="*/ 5 h 5"/>
                <a:gd name="T12" fmla="*/ 3 w 6"/>
                <a:gd name="T13" fmla="*/ 5 h 5"/>
                <a:gd name="T14" fmla="*/ 6 w 6"/>
                <a:gd name="T15" fmla="*/ 2 h 5"/>
                <a:gd name="T16" fmla="*/ 4 w 6"/>
                <a:gd name="T17" fmla="*/ 0 h 5"/>
                <a:gd name="T18" fmla="*/ 3 w 6"/>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3" y="0"/>
                  </a:moveTo>
                  <a:lnTo>
                    <a:pt x="3" y="0"/>
                  </a:lnTo>
                  <a:lnTo>
                    <a:pt x="0" y="2"/>
                  </a:lnTo>
                  <a:lnTo>
                    <a:pt x="0" y="3"/>
                  </a:lnTo>
                  <a:lnTo>
                    <a:pt x="2" y="5"/>
                  </a:lnTo>
                  <a:lnTo>
                    <a:pt x="3" y="5"/>
                  </a:lnTo>
                  <a:lnTo>
                    <a:pt x="3" y="5"/>
                  </a:lnTo>
                  <a:lnTo>
                    <a:pt x="6" y="2"/>
                  </a:lnTo>
                  <a:lnTo>
                    <a:pt x="4"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67" name="Freeform 1121"/>
            <p:cNvSpPr>
              <a:spLocks/>
            </p:cNvSpPr>
            <p:nvPr/>
          </p:nvSpPr>
          <p:spPr bwMode="auto">
            <a:xfrm>
              <a:off x="4637088" y="3588179"/>
              <a:ext cx="4763" cy="6350"/>
            </a:xfrm>
            <a:custGeom>
              <a:avLst/>
              <a:gdLst>
                <a:gd name="T0" fmla="*/ 2 w 3"/>
                <a:gd name="T1" fmla="*/ 0 h 4"/>
                <a:gd name="T2" fmla="*/ 2 w 3"/>
                <a:gd name="T3" fmla="*/ 0 h 4"/>
                <a:gd name="T4" fmla="*/ 0 w 3"/>
                <a:gd name="T5" fmla="*/ 3 h 4"/>
                <a:gd name="T6" fmla="*/ 2 w 3"/>
                <a:gd name="T7" fmla="*/ 4 h 4"/>
                <a:gd name="T8" fmla="*/ 3 w 3"/>
                <a:gd name="T9" fmla="*/ 4 h 4"/>
                <a:gd name="T10" fmla="*/ 3 w 3"/>
                <a:gd name="T11" fmla="*/ 4 h 4"/>
                <a:gd name="T12" fmla="*/ 3 w 3"/>
                <a:gd name="T13" fmla="*/ 4 h 4"/>
                <a:gd name="T14" fmla="*/ 3 w 3"/>
                <a:gd name="T15" fmla="*/ 3 h 4"/>
                <a:gd name="T16" fmla="*/ 3 w 3"/>
                <a:gd name="T17" fmla="*/ 1 h 4"/>
                <a:gd name="T18" fmla="*/ 2 w 3"/>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2" y="0"/>
                  </a:moveTo>
                  <a:lnTo>
                    <a:pt x="2" y="0"/>
                  </a:lnTo>
                  <a:lnTo>
                    <a:pt x="0" y="3"/>
                  </a:lnTo>
                  <a:lnTo>
                    <a:pt x="2" y="4"/>
                  </a:lnTo>
                  <a:lnTo>
                    <a:pt x="3" y="4"/>
                  </a:lnTo>
                  <a:lnTo>
                    <a:pt x="3" y="4"/>
                  </a:lnTo>
                  <a:lnTo>
                    <a:pt x="3" y="4"/>
                  </a:lnTo>
                  <a:lnTo>
                    <a:pt x="3" y="3"/>
                  </a:lnTo>
                  <a:lnTo>
                    <a:pt x="3" y="1"/>
                  </a:lnTo>
                  <a:lnTo>
                    <a:pt x="2" y="0"/>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68" name="Freeform 1122"/>
            <p:cNvSpPr>
              <a:spLocks/>
            </p:cNvSpPr>
            <p:nvPr/>
          </p:nvSpPr>
          <p:spPr bwMode="auto">
            <a:xfrm>
              <a:off x="4637088" y="3588179"/>
              <a:ext cx="4763" cy="6350"/>
            </a:xfrm>
            <a:custGeom>
              <a:avLst/>
              <a:gdLst>
                <a:gd name="T0" fmla="*/ 2 w 3"/>
                <a:gd name="T1" fmla="*/ 0 h 4"/>
                <a:gd name="T2" fmla="*/ 2 w 3"/>
                <a:gd name="T3" fmla="*/ 0 h 4"/>
                <a:gd name="T4" fmla="*/ 0 w 3"/>
                <a:gd name="T5" fmla="*/ 3 h 4"/>
                <a:gd name="T6" fmla="*/ 2 w 3"/>
                <a:gd name="T7" fmla="*/ 4 h 4"/>
                <a:gd name="T8" fmla="*/ 3 w 3"/>
                <a:gd name="T9" fmla="*/ 4 h 4"/>
                <a:gd name="T10" fmla="*/ 3 w 3"/>
                <a:gd name="T11" fmla="*/ 4 h 4"/>
                <a:gd name="T12" fmla="*/ 3 w 3"/>
                <a:gd name="T13" fmla="*/ 4 h 4"/>
                <a:gd name="T14" fmla="*/ 3 w 3"/>
                <a:gd name="T15" fmla="*/ 3 h 4"/>
                <a:gd name="T16" fmla="*/ 3 w 3"/>
                <a:gd name="T17" fmla="*/ 1 h 4"/>
                <a:gd name="T18" fmla="*/ 2 w 3"/>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2" y="0"/>
                  </a:moveTo>
                  <a:lnTo>
                    <a:pt x="2" y="0"/>
                  </a:lnTo>
                  <a:lnTo>
                    <a:pt x="0" y="3"/>
                  </a:lnTo>
                  <a:lnTo>
                    <a:pt x="2" y="4"/>
                  </a:lnTo>
                  <a:lnTo>
                    <a:pt x="3" y="4"/>
                  </a:lnTo>
                  <a:lnTo>
                    <a:pt x="3" y="4"/>
                  </a:lnTo>
                  <a:lnTo>
                    <a:pt x="3" y="4"/>
                  </a:lnTo>
                  <a:lnTo>
                    <a:pt x="3" y="3"/>
                  </a:lnTo>
                  <a:lnTo>
                    <a:pt x="3"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69" name="Freeform 1123"/>
            <p:cNvSpPr>
              <a:spLocks/>
            </p:cNvSpPr>
            <p:nvPr/>
          </p:nvSpPr>
          <p:spPr bwMode="auto">
            <a:xfrm>
              <a:off x="5113338" y="5439204"/>
              <a:ext cx="39688" cy="50800"/>
            </a:xfrm>
            <a:custGeom>
              <a:avLst/>
              <a:gdLst>
                <a:gd name="T0" fmla="*/ 7 w 25"/>
                <a:gd name="T1" fmla="*/ 32 h 32"/>
                <a:gd name="T2" fmla="*/ 7 w 25"/>
                <a:gd name="T3" fmla="*/ 32 h 32"/>
                <a:gd name="T4" fmla="*/ 7 w 25"/>
                <a:gd name="T5" fmla="*/ 32 h 32"/>
                <a:gd name="T6" fmla="*/ 2 w 25"/>
                <a:gd name="T7" fmla="*/ 32 h 32"/>
                <a:gd name="T8" fmla="*/ 0 w 25"/>
                <a:gd name="T9" fmla="*/ 30 h 32"/>
                <a:gd name="T10" fmla="*/ 0 w 25"/>
                <a:gd name="T11" fmla="*/ 29 h 32"/>
                <a:gd name="T12" fmla="*/ 0 w 25"/>
                <a:gd name="T13" fmla="*/ 29 h 32"/>
                <a:gd name="T14" fmla="*/ 2 w 25"/>
                <a:gd name="T15" fmla="*/ 17 h 32"/>
                <a:gd name="T16" fmla="*/ 4 w 25"/>
                <a:gd name="T17" fmla="*/ 8 h 32"/>
                <a:gd name="T18" fmla="*/ 7 w 25"/>
                <a:gd name="T19" fmla="*/ 3 h 32"/>
                <a:gd name="T20" fmla="*/ 7 w 25"/>
                <a:gd name="T21" fmla="*/ 3 h 32"/>
                <a:gd name="T22" fmla="*/ 12 w 25"/>
                <a:gd name="T23" fmla="*/ 1 h 32"/>
                <a:gd name="T24" fmla="*/ 17 w 25"/>
                <a:gd name="T25" fmla="*/ 0 h 32"/>
                <a:gd name="T26" fmla="*/ 17 w 25"/>
                <a:gd name="T27" fmla="*/ 0 h 32"/>
                <a:gd name="T28" fmla="*/ 17 w 25"/>
                <a:gd name="T29" fmla="*/ 0 h 32"/>
                <a:gd name="T30" fmla="*/ 17 w 25"/>
                <a:gd name="T31" fmla="*/ 0 h 32"/>
                <a:gd name="T32" fmla="*/ 17 w 25"/>
                <a:gd name="T33" fmla="*/ 0 h 32"/>
                <a:gd name="T34" fmla="*/ 17 w 25"/>
                <a:gd name="T35" fmla="*/ 3 h 32"/>
                <a:gd name="T36" fmla="*/ 17 w 25"/>
                <a:gd name="T37" fmla="*/ 3 h 32"/>
                <a:gd name="T38" fmla="*/ 17 w 25"/>
                <a:gd name="T39" fmla="*/ 3 h 32"/>
                <a:gd name="T40" fmla="*/ 17 w 25"/>
                <a:gd name="T41" fmla="*/ 3 h 32"/>
                <a:gd name="T42" fmla="*/ 20 w 25"/>
                <a:gd name="T43" fmla="*/ 8 h 32"/>
                <a:gd name="T44" fmla="*/ 23 w 25"/>
                <a:gd name="T45" fmla="*/ 13 h 32"/>
                <a:gd name="T46" fmla="*/ 23 w 25"/>
                <a:gd name="T47" fmla="*/ 13 h 32"/>
                <a:gd name="T48" fmla="*/ 23 w 25"/>
                <a:gd name="T49" fmla="*/ 13 h 32"/>
                <a:gd name="T50" fmla="*/ 23 w 25"/>
                <a:gd name="T51" fmla="*/ 13 h 32"/>
                <a:gd name="T52" fmla="*/ 23 w 25"/>
                <a:gd name="T53" fmla="*/ 13 h 32"/>
                <a:gd name="T54" fmla="*/ 23 w 25"/>
                <a:gd name="T55" fmla="*/ 13 h 32"/>
                <a:gd name="T56" fmla="*/ 25 w 25"/>
                <a:gd name="T57" fmla="*/ 16 h 32"/>
                <a:gd name="T58" fmla="*/ 25 w 25"/>
                <a:gd name="T59" fmla="*/ 16 h 32"/>
                <a:gd name="T60" fmla="*/ 22 w 25"/>
                <a:gd name="T61" fmla="*/ 24 h 32"/>
                <a:gd name="T62" fmla="*/ 19 w 25"/>
                <a:gd name="T63" fmla="*/ 27 h 32"/>
                <a:gd name="T64" fmla="*/ 16 w 25"/>
                <a:gd name="T65" fmla="*/ 30 h 32"/>
                <a:gd name="T66" fmla="*/ 16 w 25"/>
                <a:gd name="T67" fmla="*/ 30 h 32"/>
                <a:gd name="T68" fmla="*/ 16 w 25"/>
                <a:gd name="T69" fmla="*/ 30 h 32"/>
                <a:gd name="T70" fmla="*/ 16 w 25"/>
                <a:gd name="T71" fmla="*/ 30 h 32"/>
                <a:gd name="T72" fmla="*/ 16 w 25"/>
                <a:gd name="T73" fmla="*/ 30 h 32"/>
                <a:gd name="T74" fmla="*/ 16 w 25"/>
                <a:gd name="T75" fmla="*/ 30 h 32"/>
                <a:gd name="T76" fmla="*/ 16 w 25"/>
                <a:gd name="T77" fmla="*/ 30 h 32"/>
                <a:gd name="T78" fmla="*/ 12 w 25"/>
                <a:gd name="T79" fmla="*/ 32 h 32"/>
                <a:gd name="T80" fmla="*/ 7 w 25"/>
                <a:gd name="T81" fmla="*/ 32 h 32"/>
                <a:gd name="T82" fmla="*/ 7 w 25"/>
                <a:gd name="T8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 h="32">
                  <a:moveTo>
                    <a:pt x="7" y="32"/>
                  </a:moveTo>
                  <a:lnTo>
                    <a:pt x="7" y="32"/>
                  </a:lnTo>
                  <a:lnTo>
                    <a:pt x="7" y="32"/>
                  </a:lnTo>
                  <a:lnTo>
                    <a:pt x="2" y="32"/>
                  </a:lnTo>
                  <a:lnTo>
                    <a:pt x="0" y="30"/>
                  </a:lnTo>
                  <a:lnTo>
                    <a:pt x="0" y="29"/>
                  </a:lnTo>
                  <a:lnTo>
                    <a:pt x="0" y="29"/>
                  </a:lnTo>
                  <a:lnTo>
                    <a:pt x="2" y="17"/>
                  </a:lnTo>
                  <a:lnTo>
                    <a:pt x="4" y="8"/>
                  </a:lnTo>
                  <a:lnTo>
                    <a:pt x="7" y="3"/>
                  </a:lnTo>
                  <a:lnTo>
                    <a:pt x="7" y="3"/>
                  </a:lnTo>
                  <a:lnTo>
                    <a:pt x="12" y="1"/>
                  </a:lnTo>
                  <a:lnTo>
                    <a:pt x="17" y="0"/>
                  </a:lnTo>
                  <a:lnTo>
                    <a:pt x="17" y="0"/>
                  </a:lnTo>
                  <a:lnTo>
                    <a:pt x="17" y="0"/>
                  </a:lnTo>
                  <a:lnTo>
                    <a:pt x="17" y="0"/>
                  </a:lnTo>
                  <a:lnTo>
                    <a:pt x="17" y="0"/>
                  </a:lnTo>
                  <a:lnTo>
                    <a:pt x="17" y="3"/>
                  </a:lnTo>
                  <a:lnTo>
                    <a:pt x="17" y="3"/>
                  </a:lnTo>
                  <a:lnTo>
                    <a:pt x="17" y="3"/>
                  </a:lnTo>
                  <a:lnTo>
                    <a:pt x="17" y="3"/>
                  </a:lnTo>
                  <a:lnTo>
                    <a:pt x="20" y="8"/>
                  </a:lnTo>
                  <a:lnTo>
                    <a:pt x="23" y="13"/>
                  </a:lnTo>
                  <a:lnTo>
                    <a:pt x="23" y="13"/>
                  </a:lnTo>
                  <a:lnTo>
                    <a:pt x="23" y="13"/>
                  </a:lnTo>
                  <a:lnTo>
                    <a:pt x="23" y="13"/>
                  </a:lnTo>
                  <a:lnTo>
                    <a:pt x="23" y="13"/>
                  </a:lnTo>
                  <a:lnTo>
                    <a:pt x="23" y="13"/>
                  </a:lnTo>
                  <a:lnTo>
                    <a:pt x="25" y="16"/>
                  </a:lnTo>
                  <a:lnTo>
                    <a:pt x="25" y="16"/>
                  </a:lnTo>
                  <a:lnTo>
                    <a:pt x="22" y="24"/>
                  </a:lnTo>
                  <a:lnTo>
                    <a:pt x="19" y="27"/>
                  </a:lnTo>
                  <a:lnTo>
                    <a:pt x="16" y="30"/>
                  </a:lnTo>
                  <a:lnTo>
                    <a:pt x="16" y="30"/>
                  </a:lnTo>
                  <a:lnTo>
                    <a:pt x="16" y="30"/>
                  </a:lnTo>
                  <a:lnTo>
                    <a:pt x="16" y="30"/>
                  </a:lnTo>
                  <a:lnTo>
                    <a:pt x="16" y="30"/>
                  </a:lnTo>
                  <a:lnTo>
                    <a:pt x="16" y="30"/>
                  </a:lnTo>
                  <a:lnTo>
                    <a:pt x="16" y="30"/>
                  </a:lnTo>
                  <a:lnTo>
                    <a:pt x="12" y="32"/>
                  </a:lnTo>
                  <a:lnTo>
                    <a:pt x="7" y="32"/>
                  </a:lnTo>
                  <a:lnTo>
                    <a:pt x="7" y="32"/>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70" name="Freeform 1124"/>
            <p:cNvSpPr>
              <a:spLocks/>
            </p:cNvSpPr>
            <p:nvPr/>
          </p:nvSpPr>
          <p:spPr bwMode="auto">
            <a:xfrm>
              <a:off x="5113338" y="5439204"/>
              <a:ext cx="39688" cy="50800"/>
            </a:xfrm>
            <a:custGeom>
              <a:avLst/>
              <a:gdLst>
                <a:gd name="T0" fmla="*/ 7 w 25"/>
                <a:gd name="T1" fmla="*/ 32 h 32"/>
                <a:gd name="T2" fmla="*/ 7 w 25"/>
                <a:gd name="T3" fmla="*/ 32 h 32"/>
                <a:gd name="T4" fmla="*/ 7 w 25"/>
                <a:gd name="T5" fmla="*/ 32 h 32"/>
                <a:gd name="T6" fmla="*/ 2 w 25"/>
                <a:gd name="T7" fmla="*/ 32 h 32"/>
                <a:gd name="T8" fmla="*/ 0 w 25"/>
                <a:gd name="T9" fmla="*/ 30 h 32"/>
                <a:gd name="T10" fmla="*/ 0 w 25"/>
                <a:gd name="T11" fmla="*/ 29 h 32"/>
                <a:gd name="T12" fmla="*/ 0 w 25"/>
                <a:gd name="T13" fmla="*/ 29 h 32"/>
                <a:gd name="T14" fmla="*/ 2 w 25"/>
                <a:gd name="T15" fmla="*/ 17 h 32"/>
                <a:gd name="T16" fmla="*/ 4 w 25"/>
                <a:gd name="T17" fmla="*/ 8 h 32"/>
                <a:gd name="T18" fmla="*/ 7 w 25"/>
                <a:gd name="T19" fmla="*/ 3 h 32"/>
                <a:gd name="T20" fmla="*/ 7 w 25"/>
                <a:gd name="T21" fmla="*/ 3 h 32"/>
                <a:gd name="T22" fmla="*/ 12 w 25"/>
                <a:gd name="T23" fmla="*/ 1 h 32"/>
                <a:gd name="T24" fmla="*/ 17 w 25"/>
                <a:gd name="T25" fmla="*/ 0 h 32"/>
                <a:gd name="T26" fmla="*/ 17 w 25"/>
                <a:gd name="T27" fmla="*/ 0 h 32"/>
                <a:gd name="T28" fmla="*/ 17 w 25"/>
                <a:gd name="T29" fmla="*/ 0 h 32"/>
                <a:gd name="T30" fmla="*/ 17 w 25"/>
                <a:gd name="T31" fmla="*/ 0 h 32"/>
                <a:gd name="T32" fmla="*/ 17 w 25"/>
                <a:gd name="T33" fmla="*/ 0 h 32"/>
                <a:gd name="T34" fmla="*/ 17 w 25"/>
                <a:gd name="T35" fmla="*/ 3 h 32"/>
                <a:gd name="T36" fmla="*/ 17 w 25"/>
                <a:gd name="T37" fmla="*/ 3 h 32"/>
                <a:gd name="T38" fmla="*/ 17 w 25"/>
                <a:gd name="T39" fmla="*/ 3 h 32"/>
                <a:gd name="T40" fmla="*/ 17 w 25"/>
                <a:gd name="T41" fmla="*/ 3 h 32"/>
                <a:gd name="T42" fmla="*/ 20 w 25"/>
                <a:gd name="T43" fmla="*/ 8 h 32"/>
                <a:gd name="T44" fmla="*/ 23 w 25"/>
                <a:gd name="T45" fmla="*/ 13 h 32"/>
                <a:gd name="T46" fmla="*/ 23 w 25"/>
                <a:gd name="T47" fmla="*/ 13 h 32"/>
                <a:gd name="T48" fmla="*/ 23 w 25"/>
                <a:gd name="T49" fmla="*/ 13 h 32"/>
                <a:gd name="T50" fmla="*/ 23 w 25"/>
                <a:gd name="T51" fmla="*/ 13 h 32"/>
                <a:gd name="T52" fmla="*/ 23 w 25"/>
                <a:gd name="T53" fmla="*/ 13 h 32"/>
                <a:gd name="T54" fmla="*/ 23 w 25"/>
                <a:gd name="T55" fmla="*/ 13 h 32"/>
                <a:gd name="T56" fmla="*/ 25 w 25"/>
                <a:gd name="T57" fmla="*/ 16 h 32"/>
                <a:gd name="T58" fmla="*/ 25 w 25"/>
                <a:gd name="T59" fmla="*/ 16 h 32"/>
                <a:gd name="T60" fmla="*/ 22 w 25"/>
                <a:gd name="T61" fmla="*/ 24 h 32"/>
                <a:gd name="T62" fmla="*/ 19 w 25"/>
                <a:gd name="T63" fmla="*/ 27 h 32"/>
                <a:gd name="T64" fmla="*/ 16 w 25"/>
                <a:gd name="T65" fmla="*/ 30 h 32"/>
                <a:gd name="T66" fmla="*/ 16 w 25"/>
                <a:gd name="T67" fmla="*/ 30 h 32"/>
                <a:gd name="T68" fmla="*/ 16 w 25"/>
                <a:gd name="T69" fmla="*/ 30 h 32"/>
                <a:gd name="T70" fmla="*/ 16 w 25"/>
                <a:gd name="T71" fmla="*/ 30 h 32"/>
                <a:gd name="T72" fmla="*/ 16 w 25"/>
                <a:gd name="T73" fmla="*/ 30 h 32"/>
                <a:gd name="T74" fmla="*/ 16 w 25"/>
                <a:gd name="T75" fmla="*/ 30 h 32"/>
                <a:gd name="T76" fmla="*/ 16 w 25"/>
                <a:gd name="T77" fmla="*/ 30 h 32"/>
                <a:gd name="T78" fmla="*/ 12 w 25"/>
                <a:gd name="T79" fmla="*/ 32 h 32"/>
                <a:gd name="T80" fmla="*/ 7 w 25"/>
                <a:gd name="T81" fmla="*/ 32 h 32"/>
                <a:gd name="T82" fmla="*/ 7 w 25"/>
                <a:gd name="T8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 h="32">
                  <a:moveTo>
                    <a:pt x="7" y="32"/>
                  </a:moveTo>
                  <a:lnTo>
                    <a:pt x="7" y="32"/>
                  </a:lnTo>
                  <a:lnTo>
                    <a:pt x="7" y="32"/>
                  </a:lnTo>
                  <a:lnTo>
                    <a:pt x="2" y="32"/>
                  </a:lnTo>
                  <a:lnTo>
                    <a:pt x="0" y="30"/>
                  </a:lnTo>
                  <a:lnTo>
                    <a:pt x="0" y="29"/>
                  </a:lnTo>
                  <a:lnTo>
                    <a:pt x="0" y="29"/>
                  </a:lnTo>
                  <a:lnTo>
                    <a:pt x="2" y="17"/>
                  </a:lnTo>
                  <a:lnTo>
                    <a:pt x="4" y="8"/>
                  </a:lnTo>
                  <a:lnTo>
                    <a:pt x="7" y="3"/>
                  </a:lnTo>
                  <a:lnTo>
                    <a:pt x="7" y="3"/>
                  </a:lnTo>
                  <a:lnTo>
                    <a:pt x="12" y="1"/>
                  </a:lnTo>
                  <a:lnTo>
                    <a:pt x="17" y="0"/>
                  </a:lnTo>
                  <a:lnTo>
                    <a:pt x="17" y="0"/>
                  </a:lnTo>
                  <a:lnTo>
                    <a:pt x="17" y="0"/>
                  </a:lnTo>
                  <a:lnTo>
                    <a:pt x="17" y="0"/>
                  </a:lnTo>
                  <a:lnTo>
                    <a:pt x="17" y="0"/>
                  </a:lnTo>
                  <a:lnTo>
                    <a:pt x="17" y="3"/>
                  </a:lnTo>
                  <a:lnTo>
                    <a:pt x="17" y="3"/>
                  </a:lnTo>
                  <a:lnTo>
                    <a:pt x="17" y="3"/>
                  </a:lnTo>
                  <a:lnTo>
                    <a:pt x="17" y="3"/>
                  </a:lnTo>
                  <a:lnTo>
                    <a:pt x="20" y="8"/>
                  </a:lnTo>
                  <a:lnTo>
                    <a:pt x="23" y="13"/>
                  </a:lnTo>
                  <a:lnTo>
                    <a:pt x="23" y="13"/>
                  </a:lnTo>
                  <a:lnTo>
                    <a:pt x="23" y="13"/>
                  </a:lnTo>
                  <a:lnTo>
                    <a:pt x="23" y="13"/>
                  </a:lnTo>
                  <a:lnTo>
                    <a:pt x="23" y="13"/>
                  </a:lnTo>
                  <a:lnTo>
                    <a:pt x="23" y="13"/>
                  </a:lnTo>
                  <a:lnTo>
                    <a:pt x="25" y="16"/>
                  </a:lnTo>
                  <a:lnTo>
                    <a:pt x="25" y="16"/>
                  </a:lnTo>
                  <a:lnTo>
                    <a:pt x="22" y="24"/>
                  </a:lnTo>
                  <a:lnTo>
                    <a:pt x="19" y="27"/>
                  </a:lnTo>
                  <a:lnTo>
                    <a:pt x="16" y="30"/>
                  </a:lnTo>
                  <a:lnTo>
                    <a:pt x="16" y="30"/>
                  </a:lnTo>
                  <a:lnTo>
                    <a:pt x="16" y="30"/>
                  </a:lnTo>
                  <a:lnTo>
                    <a:pt x="16" y="30"/>
                  </a:lnTo>
                  <a:lnTo>
                    <a:pt x="16" y="30"/>
                  </a:lnTo>
                  <a:lnTo>
                    <a:pt x="16" y="30"/>
                  </a:lnTo>
                  <a:lnTo>
                    <a:pt x="16" y="30"/>
                  </a:lnTo>
                  <a:lnTo>
                    <a:pt x="12" y="32"/>
                  </a:lnTo>
                  <a:lnTo>
                    <a:pt x="7" y="32"/>
                  </a:lnTo>
                  <a:lnTo>
                    <a:pt x="7" y="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71" name="Freeform 1125"/>
            <p:cNvSpPr>
              <a:spLocks noEditPoints="1"/>
            </p:cNvSpPr>
            <p:nvPr/>
          </p:nvSpPr>
          <p:spPr bwMode="auto">
            <a:xfrm>
              <a:off x="5140326" y="5439204"/>
              <a:ext cx="12700" cy="25400"/>
            </a:xfrm>
            <a:custGeom>
              <a:avLst/>
              <a:gdLst>
                <a:gd name="T0" fmla="*/ 0 w 8"/>
                <a:gd name="T1" fmla="*/ 3 h 16"/>
                <a:gd name="T2" fmla="*/ 0 w 8"/>
                <a:gd name="T3" fmla="*/ 3 h 16"/>
                <a:gd name="T4" fmla="*/ 0 w 8"/>
                <a:gd name="T5" fmla="*/ 0 h 16"/>
                <a:gd name="T6" fmla="*/ 0 w 8"/>
                <a:gd name="T7" fmla="*/ 0 h 16"/>
                <a:gd name="T8" fmla="*/ 0 w 8"/>
                <a:gd name="T9" fmla="*/ 0 h 16"/>
                <a:gd name="T10" fmla="*/ 0 w 8"/>
                <a:gd name="T11" fmla="*/ 3 h 16"/>
                <a:gd name="T12" fmla="*/ 6 w 8"/>
                <a:gd name="T13" fmla="*/ 13 h 16"/>
                <a:gd name="T14" fmla="*/ 6 w 8"/>
                <a:gd name="T15" fmla="*/ 13 h 16"/>
                <a:gd name="T16" fmla="*/ 6 w 8"/>
                <a:gd name="T17" fmla="*/ 13 h 16"/>
                <a:gd name="T18" fmla="*/ 6 w 8"/>
                <a:gd name="T19" fmla="*/ 13 h 16"/>
                <a:gd name="T20" fmla="*/ 6 w 8"/>
                <a:gd name="T21" fmla="*/ 13 h 16"/>
                <a:gd name="T22" fmla="*/ 8 w 8"/>
                <a:gd name="T23" fmla="*/ 16 h 16"/>
                <a:gd name="T24" fmla="*/ 8 w 8"/>
                <a:gd name="T25" fmla="*/ 16 h 16"/>
                <a:gd name="T26" fmla="*/ 6 w 8"/>
                <a:gd name="T27" fmla="*/ 13 h 16"/>
                <a:gd name="T28" fmla="*/ 6 w 8"/>
                <a:gd name="T29" fmla="*/ 13 h 16"/>
                <a:gd name="T30" fmla="*/ 8 w 8"/>
                <a:gd name="T3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6">
                  <a:moveTo>
                    <a:pt x="0" y="3"/>
                  </a:moveTo>
                  <a:lnTo>
                    <a:pt x="0" y="3"/>
                  </a:lnTo>
                  <a:lnTo>
                    <a:pt x="0" y="0"/>
                  </a:lnTo>
                  <a:lnTo>
                    <a:pt x="0" y="0"/>
                  </a:lnTo>
                  <a:lnTo>
                    <a:pt x="0" y="0"/>
                  </a:lnTo>
                  <a:lnTo>
                    <a:pt x="0" y="3"/>
                  </a:lnTo>
                  <a:close/>
                  <a:moveTo>
                    <a:pt x="6" y="13"/>
                  </a:moveTo>
                  <a:lnTo>
                    <a:pt x="6" y="13"/>
                  </a:lnTo>
                  <a:lnTo>
                    <a:pt x="6" y="13"/>
                  </a:lnTo>
                  <a:lnTo>
                    <a:pt x="6" y="13"/>
                  </a:lnTo>
                  <a:lnTo>
                    <a:pt x="6" y="13"/>
                  </a:lnTo>
                  <a:close/>
                  <a:moveTo>
                    <a:pt x="8" y="16"/>
                  </a:moveTo>
                  <a:lnTo>
                    <a:pt x="8" y="16"/>
                  </a:lnTo>
                  <a:lnTo>
                    <a:pt x="6" y="13"/>
                  </a:lnTo>
                  <a:lnTo>
                    <a:pt x="6" y="13"/>
                  </a:lnTo>
                  <a:lnTo>
                    <a:pt x="8" y="16"/>
                  </a:lnTo>
                  <a:close/>
                </a:path>
              </a:pathLst>
            </a:custGeom>
            <a:solidFill>
              <a:srgbClr val="60B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72" name="Freeform 1126"/>
            <p:cNvSpPr>
              <a:spLocks/>
            </p:cNvSpPr>
            <p:nvPr/>
          </p:nvSpPr>
          <p:spPr bwMode="auto">
            <a:xfrm>
              <a:off x="5140326" y="5439204"/>
              <a:ext cx="0" cy="4763"/>
            </a:xfrm>
            <a:custGeom>
              <a:avLst/>
              <a:gdLst>
                <a:gd name="T0" fmla="*/ 3 h 3"/>
                <a:gd name="T1" fmla="*/ 3 h 3"/>
                <a:gd name="T2" fmla="*/ 0 h 3"/>
                <a:gd name="T3" fmla="*/ 0 h 3"/>
                <a:gd name="T4" fmla="*/ 0 h 3"/>
                <a:gd name="T5" fmla="*/ 3 h 3"/>
              </a:gdLst>
              <a:ahLst/>
              <a:cxnLst>
                <a:cxn ang="0">
                  <a:pos x="0" y="T0"/>
                </a:cxn>
                <a:cxn ang="0">
                  <a:pos x="0" y="T1"/>
                </a:cxn>
                <a:cxn ang="0">
                  <a:pos x="0" y="T2"/>
                </a:cxn>
                <a:cxn ang="0">
                  <a:pos x="0" y="T3"/>
                </a:cxn>
                <a:cxn ang="0">
                  <a:pos x="0" y="T4"/>
                </a:cxn>
                <a:cxn ang="0">
                  <a:pos x="0" y="T5"/>
                </a:cxn>
              </a:cxnLst>
              <a:rect l="0" t="0" r="r" b="b"/>
              <a:pathLst>
                <a:path h="3">
                  <a:moveTo>
                    <a:pt x="0" y="3"/>
                  </a:moveTo>
                  <a:lnTo>
                    <a:pt x="0" y="3"/>
                  </a:lnTo>
                  <a:lnTo>
                    <a:pt x="0" y="0"/>
                  </a:lnTo>
                  <a:lnTo>
                    <a:pt x="0"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73" name="Rectangle 1127"/>
            <p:cNvSpPr>
              <a:spLocks noChangeArrowheads="1"/>
            </p:cNvSpPr>
            <p:nvPr/>
          </p:nvSpPr>
          <p:spPr bwMode="auto">
            <a:xfrm>
              <a:off x="5149851" y="5459842"/>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74" name="Freeform 1128"/>
            <p:cNvSpPr>
              <a:spLocks/>
            </p:cNvSpPr>
            <p:nvPr/>
          </p:nvSpPr>
          <p:spPr bwMode="auto">
            <a:xfrm>
              <a:off x="5149851" y="5459842"/>
              <a:ext cx="3175" cy="4763"/>
            </a:xfrm>
            <a:custGeom>
              <a:avLst/>
              <a:gdLst>
                <a:gd name="T0" fmla="*/ 2 w 2"/>
                <a:gd name="T1" fmla="*/ 3 h 3"/>
                <a:gd name="T2" fmla="*/ 2 w 2"/>
                <a:gd name="T3" fmla="*/ 3 h 3"/>
                <a:gd name="T4" fmla="*/ 0 w 2"/>
                <a:gd name="T5" fmla="*/ 0 h 3"/>
                <a:gd name="T6" fmla="*/ 0 w 2"/>
                <a:gd name="T7" fmla="*/ 0 h 3"/>
                <a:gd name="T8" fmla="*/ 2 w 2"/>
                <a:gd name="T9" fmla="*/ 3 h 3"/>
              </a:gdLst>
              <a:ahLst/>
              <a:cxnLst>
                <a:cxn ang="0">
                  <a:pos x="T0" y="T1"/>
                </a:cxn>
                <a:cxn ang="0">
                  <a:pos x="T2" y="T3"/>
                </a:cxn>
                <a:cxn ang="0">
                  <a:pos x="T4" y="T5"/>
                </a:cxn>
                <a:cxn ang="0">
                  <a:pos x="T6" y="T7"/>
                </a:cxn>
                <a:cxn ang="0">
                  <a:pos x="T8" y="T9"/>
                </a:cxn>
              </a:cxnLst>
              <a:rect l="0" t="0" r="r" b="b"/>
              <a:pathLst>
                <a:path w="2" h="3">
                  <a:moveTo>
                    <a:pt x="2" y="3"/>
                  </a:moveTo>
                  <a:lnTo>
                    <a:pt x="2" y="3"/>
                  </a:lnTo>
                  <a:lnTo>
                    <a:pt x="0" y="0"/>
                  </a:lnTo>
                  <a:lnTo>
                    <a:pt x="0" y="0"/>
                  </a:lnTo>
                  <a:lnTo>
                    <a:pt x="2"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75" name="Freeform 1129"/>
            <p:cNvSpPr>
              <a:spLocks noEditPoints="1"/>
            </p:cNvSpPr>
            <p:nvPr/>
          </p:nvSpPr>
          <p:spPr bwMode="auto">
            <a:xfrm>
              <a:off x="4740276" y="5339192"/>
              <a:ext cx="420688" cy="368300"/>
            </a:xfrm>
            <a:custGeom>
              <a:avLst/>
              <a:gdLst>
                <a:gd name="T0" fmla="*/ 254 w 265"/>
                <a:gd name="T1" fmla="*/ 90 h 232"/>
                <a:gd name="T2" fmla="*/ 241 w 265"/>
                <a:gd name="T3" fmla="*/ 95 h 232"/>
                <a:gd name="T4" fmla="*/ 237 w 265"/>
                <a:gd name="T5" fmla="*/ 80 h 232"/>
                <a:gd name="T6" fmla="*/ 247 w 265"/>
                <a:gd name="T7" fmla="*/ 64 h 232"/>
                <a:gd name="T8" fmla="*/ 252 w 265"/>
                <a:gd name="T9" fmla="*/ 38 h 232"/>
                <a:gd name="T10" fmla="*/ 251 w 265"/>
                <a:gd name="T11" fmla="*/ 18 h 232"/>
                <a:gd name="T12" fmla="*/ 235 w 265"/>
                <a:gd name="T13" fmla="*/ 5 h 232"/>
                <a:gd name="T14" fmla="*/ 213 w 265"/>
                <a:gd name="T15" fmla="*/ 0 h 232"/>
                <a:gd name="T16" fmla="*/ 176 w 265"/>
                <a:gd name="T17" fmla="*/ 21 h 232"/>
                <a:gd name="T18" fmla="*/ 150 w 265"/>
                <a:gd name="T19" fmla="*/ 63 h 232"/>
                <a:gd name="T20" fmla="*/ 128 w 265"/>
                <a:gd name="T21" fmla="*/ 64 h 232"/>
                <a:gd name="T22" fmla="*/ 116 w 265"/>
                <a:gd name="T23" fmla="*/ 57 h 232"/>
                <a:gd name="T24" fmla="*/ 109 w 265"/>
                <a:gd name="T25" fmla="*/ 61 h 232"/>
                <a:gd name="T26" fmla="*/ 90 w 265"/>
                <a:gd name="T27" fmla="*/ 82 h 232"/>
                <a:gd name="T28" fmla="*/ 73 w 265"/>
                <a:gd name="T29" fmla="*/ 76 h 232"/>
                <a:gd name="T30" fmla="*/ 58 w 265"/>
                <a:gd name="T31" fmla="*/ 106 h 232"/>
                <a:gd name="T32" fmla="*/ 45 w 265"/>
                <a:gd name="T33" fmla="*/ 121 h 232"/>
                <a:gd name="T34" fmla="*/ 32 w 265"/>
                <a:gd name="T35" fmla="*/ 119 h 232"/>
                <a:gd name="T36" fmla="*/ 12 w 265"/>
                <a:gd name="T37" fmla="*/ 109 h 232"/>
                <a:gd name="T38" fmla="*/ 3 w 265"/>
                <a:gd name="T39" fmla="*/ 118 h 232"/>
                <a:gd name="T40" fmla="*/ 15 w 265"/>
                <a:gd name="T41" fmla="*/ 138 h 232"/>
                <a:gd name="T42" fmla="*/ 11 w 265"/>
                <a:gd name="T43" fmla="*/ 144 h 232"/>
                <a:gd name="T44" fmla="*/ 9 w 265"/>
                <a:gd name="T45" fmla="*/ 155 h 232"/>
                <a:gd name="T46" fmla="*/ 19 w 265"/>
                <a:gd name="T47" fmla="*/ 181 h 232"/>
                <a:gd name="T48" fmla="*/ 15 w 265"/>
                <a:gd name="T49" fmla="*/ 196 h 232"/>
                <a:gd name="T50" fmla="*/ 22 w 265"/>
                <a:gd name="T51" fmla="*/ 213 h 232"/>
                <a:gd name="T52" fmla="*/ 27 w 265"/>
                <a:gd name="T53" fmla="*/ 223 h 232"/>
                <a:gd name="T54" fmla="*/ 38 w 265"/>
                <a:gd name="T55" fmla="*/ 228 h 232"/>
                <a:gd name="T56" fmla="*/ 50 w 265"/>
                <a:gd name="T57" fmla="*/ 232 h 232"/>
                <a:gd name="T58" fmla="*/ 58 w 265"/>
                <a:gd name="T59" fmla="*/ 225 h 232"/>
                <a:gd name="T60" fmla="*/ 71 w 265"/>
                <a:gd name="T61" fmla="*/ 225 h 232"/>
                <a:gd name="T62" fmla="*/ 84 w 265"/>
                <a:gd name="T63" fmla="*/ 216 h 232"/>
                <a:gd name="T64" fmla="*/ 105 w 265"/>
                <a:gd name="T65" fmla="*/ 216 h 232"/>
                <a:gd name="T66" fmla="*/ 122 w 265"/>
                <a:gd name="T67" fmla="*/ 218 h 232"/>
                <a:gd name="T68" fmla="*/ 137 w 265"/>
                <a:gd name="T69" fmla="*/ 216 h 232"/>
                <a:gd name="T70" fmla="*/ 163 w 265"/>
                <a:gd name="T71" fmla="*/ 206 h 232"/>
                <a:gd name="T72" fmla="*/ 192 w 265"/>
                <a:gd name="T73" fmla="*/ 183 h 232"/>
                <a:gd name="T74" fmla="*/ 218 w 265"/>
                <a:gd name="T75" fmla="*/ 152 h 232"/>
                <a:gd name="T76" fmla="*/ 229 w 265"/>
                <a:gd name="T77" fmla="*/ 148 h 232"/>
                <a:gd name="T78" fmla="*/ 248 w 265"/>
                <a:gd name="T79" fmla="*/ 122 h 232"/>
                <a:gd name="T80" fmla="*/ 260 w 265"/>
                <a:gd name="T81" fmla="*/ 106 h 232"/>
                <a:gd name="T82" fmla="*/ 265 w 265"/>
                <a:gd name="T83" fmla="*/ 84 h 232"/>
                <a:gd name="T84" fmla="*/ 202 w 265"/>
                <a:gd name="T85" fmla="*/ 142 h 232"/>
                <a:gd name="T86" fmla="*/ 186 w 265"/>
                <a:gd name="T87" fmla="*/ 147 h 232"/>
                <a:gd name="T88" fmla="*/ 179 w 265"/>
                <a:gd name="T89" fmla="*/ 139 h 232"/>
                <a:gd name="T90" fmla="*/ 183 w 265"/>
                <a:gd name="T91" fmla="*/ 125 h 232"/>
                <a:gd name="T92" fmla="*/ 205 w 265"/>
                <a:gd name="T93" fmla="*/ 116 h 232"/>
                <a:gd name="T94" fmla="*/ 208 w 265"/>
                <a:gd name="T95" fmla="*/ 128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5" h="232">
                  <a:moveTo>
                    <a:pt x="260" y="79"/>
                  </a:moveTo>
                  <a:lnTo>
                    <a:pt x="260" y="79"/>
                  </a:lnTo>
                  <a:lnTo>
                    <a:pt x="257" y="87"/>
                  </a:lnTo>
                  <a:lnTo>
                    <a:pt x="254" y="90"/>
                  </a:lnTo>
                  <a:lnTo>
                    <a:pt x="251" y="93"/>
                  </a:lnTo>
                  <a:lnTo>
                    <a:pt x="251" y="93"/>
                  </a:lnTo>
                  <a:lnTo>
                    <a:pt x="245" y="95"/>
                  </a:lnTo>
                  <a:lnTo>
                    <a:pt x="241" y="95"/>
                  </a:lnTo>
                  <a:lnTo>
                    <a:pt x="237" y="95"/>
                  </a:lnTo>
                  <a:lnTo>
                    <a:pt x="235" y="92"/>
                  </a:lnTo>
                  <a:lnTo>
                    <a:pt x="235" y="92"/>
                  </a:lnTo>
                  <a:lnTo>
                    <a:pt x="237" y="80"/>
                  </a:lnTo>
                  <a:lnTo>
                    <a:pt x="239" y="71"/>
                  </a:lnTo>
                  <a:lnTo>
                    <a:pt x="242" y="66"/>
                  </a:lnTo>
                  <a:lnTo>
                    <a:pt x="242" y="66"/>
                  </a:lnTo>
                  <a:lnTo>
                    <a:pt x="247" y="64"/>
                  </a:lnTo>
                  <a:lnTo>
                    <a:pt x="252" y="63"/>
                  </a:lnTo>
                  <a:lnTo>
                    <a:pt x="252" y="63"/>
                  </a:lnTo>
                  <a:lnTo>
                    <a:pt x="252" y="53"/>
                  </a:lnTo>
                  <a:lnTo>
                    <a:pt x="252" y="38"/>
                  </a:lnTo>
                  <a:lnTo>
                    <a:pt x="252" y="26"/>
                  </a:lnTo>
                  <a:lnTo>
                    <a:pt x="252" y="21"/>
                  </a:lnTo>
                  <a:lnTo>
                    <a:pt x="251" y="18"/>
                  </a:lnTo>
                  <a:lnTo>
                    <a:pt x="251" y="18"/>
                  </a:lnTo>
                  <a:lnTo>
                    <a:pt x="244" y="9"/>
                  </a:lnTo>
                  <a:lnTo>
                    <a:pt x="239" y="5"/>
                  </a:lnTo>
                  <a:lnTo>
                    <a:pt x="238" y="5"/>
                  </a:lnTo>
                  <a:lnTo>
                    <a:pt x="235" y="5"/>
                  </a:lnTo>
                  <a:lnTo>
                    <a:pt x="235" y="5"/>
                  </a:lnTo>
                  <a:lnTo>
                    <a:pt x="225" y="3"/>
                  </a:lnTo>
                  <a:lnTo>
                    <a:pt x="219" y="3"/>
                  </a:lnTo>
                  <a:lnTo>
                    <a:pt x="213" y="0"/>
                  </a:lnTo>
                  <a:lnTo>
                    <a:pt x="213" y="0"/>
                  </a:lnTo>
                  <a:lnTo>
                    <a:pt x="190" y="12"/>
                  </a:lnTo>
                  <a:lnTo>
                    <a:pt x="176" y="21"/>
                  </a:lnTo>
                  <a:lnTo>
                    <a:pt x="176" y="21"/>
                  </a:lnTo>
                  <a:lnTo>
                    <a:pt x="170" y="28"/>
                  </a:lnTo>
                  <a:lnTo>
                    <a:pt x="163" y="42"/>
                  </a:lnTo>
                  <a:lnTo>
                    <a:pt x="154" y="55"/>
                  </a:lnTo>
                  <a:lnTo>
                    <a:pt x="150" y="63"/>
                  </a:lnTo>
                  <a:lnTo>
                    <a:pt x="150" y="63"/>
                  </a:lnTo>
                  <a:lnTo>
                    <a:pt x="144" y="64"/>
                  </a:lnTo>
                  <a:lnTo>
                    <a:pt x="135" y="64"/>
                  </a:lnTo>
                  <a:lnTo>
                    <a:pt x="128" y="64"/>
                  </a:lnTo>
                  <a:lnTo>
                    <a:pt x="124" y="63"/>
                  </a:lnTo>
                  <a:lnTo>
                    <a:pt x="124" y="63"/>
                  </a:lnTo>
                  <a:lnTo>
                    <a:pt x="119" y="58"/>
                  </a:lnTo>
                  <a:lnTo>
                    <a:pt x="116" y="57"/>
                  </a:lnTo>
                  <a:lnTo>
                    <a:pt x="113" y="57"/>
                  </a:lnTo>
                  <a:lnTo>
                    <a:pt x="113" y="57"/>
                  </a:lnTo>
                  <a:lnTo>
                    <a:pt x="112" y="58"/>
                  </a:lnTo>
                  <a:lnTo>
                    <a:pt x="109" y="61"/>
                  </a:lnTo>
                  <a:lnTo>
                    <a:pt x="102" y="70"/>
                  </a:lnTo>
                  <a:lnTo>
                    <a:pt x="96" y="79"/>
                  </a:lnTo>
                  <a:lnTo>
                    <a:pt x="93" y="80"/>
                  </a:lnTo>
                  <a:lnTo>
                    <a:pt x="90" y="82"/>
                  </a:lnTo>
                  <a:lnTo>
                    <a:pt x="90" y="82"/>
                  </a:lnTo>
                  <a:lnTo>
                    <a:pt x="80" y="82"/>
                  </a:lnTo>
                  <a:lnTo>
                    <a:pt x="76" y="79"/>
                  </a:lnTo>
                  <a:lnTo>
                    <a:pt x="73" y="76"/>
                  </a:lnTo>
                  <a:lnTo>
                    <a:pt x="73" y="76"/>
                  </a:lnTo>
                  <a:lnTo>
                    <a:pt x="67" y="66"/>
                  </a:lnTo>
                  <a:lnTo>
                    <a:pt x="58" y="55"/>
                  </a:lnTo>
                  <a:lnTo>
                    <a:pt x="58" y="106"/>
                  </a:lnTo>
                  <a:lnTo>
                    <a:pt x="58" y="106"/>
                  </a:lnTo>
                  <a:lnTo>
                    <a:pt x="57" y="110"/>
                  </a:lnTo>
                  <a:lnTo>
                    <a:pt x="51" y="116"/>
                  </a:lnTo>
                  <a:lnTo>
                    <a:pt x="45" y="121"/>
                  </a:lnTo>
                  <a:lnTo>
                    <a:pt x="41" y="122"/>
                  </a:lnTo>
                  <a:lnTo>
                    <a:pt x="38" y="122"/>
                  </a:lnTo>
                  <a:lnTo>
                    <a:pt x="38" y="122"/>
                  </a:lnTo>
                  <a:lnTo>
                    <a:pt x="32" y="119"/>
                  </a:lnTo>
                  <a:lnTo>
                    <a:pt x="25" y="115"/>
                  </a:lnTo>
                  <a:lnTo>
                    <a:pt x="18" y="110"/>
                  </a:lnTo>
                  <a:lnTo>
                    <a:pt x="12" y="109"/>
                  </a:lnTo>
                  <a:lnTo>
                    <a:pt x="12" y="109"/>
                  </a:lnTo>
                  <a:lnTo>
                    <a:pt x="6" y="110"/>
                  </a:lnTo>
                  <a:lnTo>
                    <a:pt x="0" y="115"/>
                  </a:lnTo>
                  <a:lnTo>
                    <a:pt x="0" y="115"/>
                  </a:lnTo>
                  <a:lnTo>
                    <a:pt x="3" y="118"/>
                  </a:lnTo>
                  <a:lnTo>
                    <a:pt x="3" y="118"/>
                  </a:lnTo>
                  <a:lnTo>
                    <a:pt x="8" y="122"/>
                  </a:lnTo>
                  <a:lnTo>
                    <a:pt x="11" y="128"/>
                  </a:lnTo>
                  <a:lnTo>
                    <a:pt x="15" y="138"/>
                  </a:lnTo>
                  <a:lnTo>
                    <a:pt x="15" y="138"/>
                  </a:lnTo>
                  <a:lnTo>
                    <a:pt x="16" y="142"/>
                  </a:lnTo>
                  <a:lnTo>
                    <a:pt x="13" y="144"/>
                  </a:lnTo>
                  <a:lnTo>
                    <a:pt x="11" y="144"/>
                  </a:lnTo>
                  <a:lnTo>
                    <a:pt x="8" y="145"/>
                  </a:lnTo>
                  <a:lnTo>
                    <a:pt x="8" y="145"/>
                  </a:lnTo>
                  <a:lnTo>
                    <a:pt x="8" y="150"/>
                  </a:lnTo>
                  <a:lnTo>
                    <a:pt x="9" y="155"/>
                  </a:lnTo>
                  <a:lnTo>
                    <a:pt x="16" y="168"/>
                  </a:lnTo>
                  <a:lnTo>
                    <a:pt x="16" y="168"/>
                  </a:lnTo>
                  <a:lnTo>
                    <a:pt x="18" y="176"/>
                  </a:lnTo>
                  <a:lnTo>
                    <a:pt x="19" y="181"/>
                  </a:lnTo>
                  <a:lnTo>
                    <a:pt x="19" y="187"/>
                  </a:lnTo>
                  <a:lnTo>
                    <a:pt x="18" y="192"/>
                  </a:lnTo>
                  <a:lnTo>
                    <a:pt x="18" y="192"/>
                  </a:lnTo>
                  <a:lnTo>
                    <a:pt x="15" y="196"/>
                  </a:lnTo>
                  <a:lnTo>
                    <a:pt x="15" y="199"/>
                  </a:lnTo>
                  <a:lnTo>
                    <a:pt x="19" y="206"/>
                  </a:lnTo>
                  <a:lnTo>
                    <a:pt x="19" y="206"/>
                  </a:lnTo>
                  <a:lnTo>
                    <a:pt x="22" y="213"/>
                  </a:lnTo>
                  <a:lnTo>
                    <a:pt x="24" y="219"/>
                  </a:lnTo>
                  <a:lnTo>
                    <a:pt x="24" y="219"/>
                  </a:lnTo>
                  <a:lnTo>
                    <a:pt x="25" y="222"/>
                  </a:lnTo>
                  <a:lnTo>
                    <a:pt x="27" y="223"/>
                  </a:lnTo>
                  <a:lnTo>
                    <a:pt x="34" y="225"/>
                  </a:lnTo>
                  <a:lnTo>
                    <a:pt x="34" y="225"/>
                  </a:lnTo>
                  <a:lnTo>
                    <a:pt x="37" y="225"/>
                  </a:lnTo>
                  <a:lnTo>
                    <a:pt x="38" y="228"/>
                  </a:lnTo>
                  <a:lnTo>
                    <a:pt x="41" y="231"/>
                  </a:lnTo>
                  <a:lnTo>
                    <a:pt x="45" y="232"/>
                  </a:lnTo>
                  <a:lnTo>
                    <a:pt x="45" y="232"/>
                  </a:lnTo>
                  <a:lnTo>
                    <a:pt x="50" y="232"/>
                  </a:lnTo>
                  <a:lnTo>
                    <a:pt x="53" y="231"/>
                  </a:lnTo>
                  <a:lnTo>
                    <a:pt x="55" y="226"/>
                  </a:lnTo>
                  <a:lnTo>
                    <a:pt x="55" y="226"/>
                  </a:lnTo>
                  <a:lnTo>
                    <a:pt x="58" y="225"/>
                  </a:lnTo>
                  <a:lnTo>
                    <a:pt x="61" y="225"/>
                  </a:lnTo>
                  <a:lnTo>
                    <a:pt x="69" y="225"/>
                  </a:lnTo>
                  <a:lnTo>
                    <a:pt x="69" y="225"/>
                  </a:lnTo>
                  <a:lnTo>
                    <a:pt x="71" y="225"/>
                  </a:lnTo>
                  <a:lnTo>
                    <a:pt x="73" y="223"/>
                  </a:lnTo>
                  <a:lnTo>
                    <a:pt x="79" y="219"/>
                  </a:lnTo>
                  <a:lnTo>
                    <a:pt x="79" y="219"/>
                  </a:lnTo>
                  <a:lnTo>
                    <a:pt x="84" y="216"/>
                  </a:lnTo>
                  <a:lnTo>
                    <a:pt x="93" y="216"/>
                  </a:lnTo>
                  <a:lnTo>
                    <a:pt x="93" y="216"/>
                  </a:lnTo>
                  <a:lnTo>
                    <a:pt x="105" y="216"/>
                  </a:lnTo>
                  <a:lnTo>
                    <a:pt x="105" y="216"/>
                  </a:lnTo>
                  <a:lnTo>
                    <a:pt x="109" y="216"/>
                  </a:lnTo>
                  <a:lnTo>
                    <a:pt x="113" y="216"/>
                  </a:lnTo>
                  <a:lnTo>
                    <a:pt x="113" y="216"/>
                  </a:lnTo>
                  <a:lnTo>
                    <a:pt x="122" y="218"/>
                  </a:lnTo>
                  <a:lnTo>
                    <a:pt x="125" y="218"/>
                  </a:lnTo>
                  <a:lnTo>
                    <a:pt x="128" y="218"/>
                  </a:lnTo>
                  <a:lnTo>
                    <a:pt x="128" y="218"/>
                  </a:lnTo>
                  <a:lnTo>
                    <a:pt x="137" y="216"/>
                  </a:lnTo>
                  <a:lnTo>
                    <a:pt x="145" y="215"/>
                  </a:lnTo>
                  <a:lnTo>
                    <a:pt x="145" y="215"/>
                  </a:lnTo>
                  <a:lnTo>
                    <a:pt x="154" y="212"/>
                  </a:lnTo>
                  <a:lnTo>
                    <a:pt x="163" y="206"/>
                  </a:lnTo>
                  <a:lnTo>
                    <a:pt x="163" y="206"/>
                  </a:lnTo>
                  <a:lnTo>
                    <a:pt x="179" y="193"/>
                  </a:lnTo>
                  <a:lnTo>
                    <a:pt x="192" y="183"/>
                  </a:lnTo>
                  <a:lnTo>
                    <a:pt x="192" y="183"/>
                  </a:lnTo>
                  <a:lnTo>
                    <a:pt x="203" y="170"/>
                  </a:lnTo>
                  <a:lnTo>
                    <a:pt x="215" y="155"/>
                  </a:lnTo>
                  <a:lnTo>
                    <a:pt x="215" y="155"/>
                  </a:lnTo>
                  <a:lnTo>
                    <a:pt x="218" y="152"/>
                  </a:lnTo>
                  <a:lnTo>
                    <a:pt x="221" y="151"/>
                  </a:lnTo>
                  <a:lnTo>
                    <a:pt x="225" y="150"/>
                  </a:lnTo>
                  <a:lnTo>
                    <a:pt x="225" y="150"/>
                  </a:lnTo>
                  <a:lnTo>
                    <a:pt x="229" y="148"/>
                  </a:lnTo>
                  <a:lnTo>
                    <a:pt x="234" y="142"/>
                  </a:lnTo>
                  <a:lnTo>
                    <a:pt x="242" y="131"/>
                  </a:lnTo>
                  <a:lnTo>
                    <a:pt x="242" y="131"/>
                  </a:lnTo>
                  <a:lnTo>
                    <a:pt x="248" y="122"/>
                  </a:lnTo>
                  <a:lnTo>
                    <a:pt x="255" y="116"/>
                  </a:lnTo>
                  <a:lnTo>
                    <a:pt x="255" y="116"/>
                  </a:lnTo>
                  <a:lnTo>
                    <a:pt x="257" y="112"/>
                  </a:lnTo>
                  <a:lnTo>
                    <a:pt x="260" y="106"/>
                  </a:lnTo>
                  <a:lnTo>
                    <a:pt x="263" y="96"/>
                  </a:lnTo>
                  <a:lnTo>
                    <a:pt x="263" y="96"/>
                  </a:lnTo>
                  <a:lnTo>
                    <a:pt x="264" y="92"/>
                  </a:lnTo>
                  <a:lnTo>
                    <a:pt x="265" y="84"/>
                  </a:lnTo>
                  <a:lnTo>
                    <a:pt x="265" y="84"/>
                  </a:lnTo>
                  <a:lnTo>
                    <a:pt x="260" y="79"/>
                  </a:lnTo>
                  <a:close/>
                  <a:moveTo>
                    <a:pt x="202" y="142"/>
                  </a:moveTo>
                  <a:lnTo>
                    <a:pt x="202" y="142"/>
                  </a:lnTo>
                  <a:lnTo>
                    <a:pt x="199" y="144"/>
                  </a:lnTo>
                  <a:lnTo>
                    <a:pt x="196" y="147"/>
                  </a:lnTo>
                  <a:lnTo>
                    <a:pt x="192" y="147"/>
                  </a:lnTo>
                  <a:lnTo>
                    <a:pt x="186" y="147"/>
                  </a:lnTo>
                  <a:lnTo>
                    <a:pt x="186" y="147"/>
                  </a:lnTo>
                  <a:lnTo>
                    <a:pt x="183" y="147"/>
                  </a:lnTo>
                  <a:lnTo>
                    <a:pt x="181" y="144"/>
                  </a:lnTo>
                  <a:lnTo>
                    <a:pt x="179" y="139"/>
                  </a:lnTo>
                  <a:lnTo>
                    <a:pt x="177" y="134"/>
                  </a:lnTo>
                  <a:lnTo>
                    <a:pt x="179" y="129"/>
                  </a:lnTo>
                  <a:lnTo>
                    <a:pt x="179" y="129"/>
                  </a:lnTo>
                  <a:lnTo>
                    <a:pt x="183" y="125"/>
                  </a:lnTo>
                  <a:lnTo>
                    <a:pt x="190" y="119"/>
                  </a:lnTo>
                  <a:lnTo>
                    <a:pt x="199" y="116"/>
                  </a:lnTo>
                  <a:lnTo>
                    <a:pt x="202" y="116"/>
                  </a:lnTo>
                  <a:lnTo>
                    <a:pt x="205" y="116"/>
                  </a:lnTo>
                  <a:lnTo>
                    <a:pt x="205" y="116"/>
                  </a:lnTo>
                  <a:lnTo>
                    <a:pt x="206" y="119"/>
                  </a:lnTo>
                  <a:lnTo>
                    <a:pt x="206" y="122"/>
                  </a:lnTo>
                  <a:lnTo>
                    <a:pt x="208" y="128"/>
                  </a:lnTo>
                  <a:lnTo>
                    <a:pt x="205" y="137"/>
                  </a:lnTo>
                  <a:lnTo>
                    <a:pt x="202" y="142"/>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76" name="Freeform 1130"/>
            <p:cNvSpPr>
              <a:spLocks/>
            </p:cNvSpPr>
            <p:nvPr/>
          </p:nvSpPr>
          <p:spPr bwMode="auto">
            <a:xfrm>
              <a:off x="4740276" y="5339192"/>
              <a:ext cx="420688" cy="368300"/>
            </a:xfrm>
            <a:custGeom>
              <a:avLst/>
              <a:gdLst>
                <a:gd name="T0" fmla="*/ 257 w 265"/>
                <a:gd name="T1" fmla="*/ 87 h 232"/>
                <a:gd name="T2" fmla="*/ 251 w 265"/>
                <a:gd name="T3" fmla="*/ 93 h 232"/>
                <a:gd name="T4" fmla="*/ 237 w 265"/>
                <a:gd name="T5" fmla="*/ 95 h 232"/>
                <a:gd name="T6" fmla="*/ 237 w 265"/>
                <a:gd name="T7" fmla="*/ 80 h 232"/>
                <a:gd name="T8" fmla="*/ 242 w 265"/>
                <a:gd name="T9" fmla="*/ 66 h 232"/>
                <a:gd name="T10" fmla="*/ 252 w 265"/>
                <a:gd name="T11" fmla="*/ 63 h 232"/>
                <a:gd name="T12" fmla="*/ 252 w 265"/>
                <a:gd name="T13" fmla="*/ 26 h 232"/>
                <a:gd name="T14" fmla="*/ 251 w 265"/>
                <a:gd name="T15" fmla="*/ 18 h 232"/>
                <a:gd name="T16" fmla="*/ 238 w 265"/>
                <a:gd name="T17" fmla="*/ 5 h 232"/>
                <a:gd name="T18" fmla="*/ 225 w 265"/>
                <a:gd name="T19" fmla="*/ 3 h 232"/>
                <a:gd name="T20" fmla="*/ 213 w 265"/>
                <a:gd name="T21" fmla="*/ 0 h 232"/>
                <a:gd name="T22" fmla="*/ 176 w 265"/>
                <a:gd name="T23" fmla="*/ 21 h 232"/>
                <a:gd name="T24" fmla="*/ 154 w 265"/>
                <a:gd name="T25" fmla="*/ 55 h 232"/>
                <a:gd name="T26" fmla="*/ 144 w 265"/>
                <a:gd name="T27" fmla="*/ 64 h 232"/>
                <a:gd name="T28" fmla="*/ 124 w 265"/>
                <a:gd name="T29" fmla="*/ 63 h 232"/>
                <a:gd name="T30" fmla="*/ 116 w 265"/>
                <a:gd name="T31" fmla="*/ 57 h 232"/>
                <a:gd name="T32" fmla="*/ 112 w 265"/>
                <a:gd name="T33" fmla="*/ 58 h 232"/>
                <a:gd name="T34" fmla="*/ 96 w 265"/>
                <a:gd name="T35" fmla="*/ 79 h 232"/>
                <a:gd name="T36" fmla="*/ 90 w 265"/>
                <a:gd name="T37" fmla="*/ 82 h 232"/>
                <a:gd name="T38" fmla="*/ 73 w 265"/>
                <a:gd name="T39" fmla="*/ 76 h 232"/>
                <a:gd name="T40" fmla="*/ 58 w 265"/>
                <a:gd name="T41" fmla="*/ 55 h 232"/>
                <a:gd name="T42" fmla="*/ 57 w 265"/>
                <a:gd name="T43" fmla="*/ 110 h 232"/>
                <a:gd name="T44" fmla="*/ 41 w 265"/>
                <a:gd name="T45" fmla="*/ 122 h 232"/>
                <a:gd name="T46" fmla="*/ 32 w 265"/>
                <a:gd name="T47" fmla="*/ 119 h 232"/>
                <a:gd name="T48" fmla="*/ 12 w 265"/>
                <a:gd name="T49" fmla="*/ 109 h 232"/>
                <a:gd name="T50" fmla="*/ 0 w 265"/>
                <a:gd name="T51" fmla="*/ 115 h 232"/>
                <a:gd name="T52" fmla="*/ 3 w 265"/>
                <a:gd name="T53" fmla="*/ 118 h 232"/>
                <a:gd name="T54" fmla="*/ 15 w 265"/>
                <a:gd name="T55" fmla="*/ 138 h 232"/>
                <a:gd name="T56" fmla="*/ 13 w 265"/>
                <a:gd name="T57" fmla="*/ 144 h 232"/>
                <a:gd name="T58" fmla="*/ 8 w 265"/>
                <a:gd name="T59" fmla="*/ 145 h 232"/>
                <a:gd name="T60" fmla="*/ 16 w 265"/>
                <a:gd name="T61" fmla="*/ 168 h 232"/>
                <a:gd name="T62" fmla="*/ 19 w 265"/>
                <a:gd name="T63" fmla="*/ 181 h 232"/>
                <a:gd name="T64" fmla="*/ 18 w 265"/>
                <a:gd name="T65" fmla="*/ 192 h 232"/>
                <a:gd name="T66" fmla="*/ 19 w 265"/>
                <a:gd name="T67" fmla="*/ 206 h 232"/>
                <a:gd name="T68" fmla="*/ 24 w 265"/>
                <a:gd name="T69" fmla="*/ 219 h 232"/>
                <a:gd name="T70" fmla="*/ 27 w 265"/>
                <a:gd name="T71" fmla="*/ 223 h 232"/>
                <a:gd name="T72" fmla="*/ 37 w 265"/>
                <a:gd name="T73" fmla="*/ 225 h 232"/>
                <a:gd name="T74" fmla="*/ 45 w 265"/>
                <a:gd name="T75" fmla="*/ 232 h 232"/>
                <a:gd name="T76" fmla="*/ 53 w 265"/>
                <a:gd name="T77" fmla="*/ 231 h 232"/>
                <a:gd name="T78" fmla="*/ 58 w 265"/>
                <a:gd name="T79" fmla="*/ 225 h 232"/>
                <a:gd name="T80" fmla="*/ 69 w 265"/>
                <a:gd name="T81" fmla="*/ 225 h 232"/>
                <a:gd name="T82" fmla="*/ 79 w 265"/>
                <a:gd name="T83" fmla="*/ 219 h 232"/>
                <a:gd name="T84" fmla="*/ 93 w 265"/>
                <a:gd name="T85" fmla="*/ 216 h 232"/>
                <a:gd name="T86" fmla="*/ 105 w 265"/>
                <a:gd name="T87" fmla="*/ 216 h 232"/>
                <a:gd name="T88" fmla="*/ 113 w 265"/>
                <a:gd name="T89" fmla="*/ 216 h 232"/>
                <a:gd name="T90" fmla="*/ 128 w 265"/>
                <a:gd name="T91" fmla="*/ 218 h 232"/>
                <a:gd name="T92" fmla="*/ 145 w 265"/>
                <a:gd name="T93" fmla="*/ 215 h 232"/>
                <a:gd name="T94" fmla="*/ 163 w 265"/>
                <a:gd name="T95" fmla="*/ 206 h 232"/>
                <a:gd name="T96" fmla="*/ 192 w 265"/>
                <a:gd name="T97" fmla="*/ 183 h 232"/>
                <a:gd name="T98" fmla="*/ 215 w 265"/>
                <a:gd name="T99" fmla="*/ 155 h 232"/>
                <a:gd name="T100" fmla="*/ 221 w 265"/>
                <a:gd name="T101" fmla="*/ 151 h 232"/>
                <a:gd name="T102" fmla="*/ 229 w 265"/>
                <a:gd name="T103" fmla="*/ 148 h 232"/>
                <a:gd name="T104" fmla="*/ 242 w 265"/>
                <a:gd name="T105" fmla="*/ 131 h 232"/>
                <a:gd name="T106" fmla="*/ 255 w 265"/>
                <a:gd name="T107" fmla="*/ 116 h 232"/>
                <a:gd name="T108" fmla="*/ 263 w 265"/>
                <a:gd name="T109" fmla="*/ 96 h 232"/>
                <a:gd name="T110" fmla="*/ 265 w 265"/>
                <a:gd name="T111" fmla="*/ 8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5" h="232">
                  <a:moveTo>
                    <a:pt x="260" y="79"/>
                  </a:moveTo>
                  <a:lnTo>
                    <a:pt x="260" y="79"/>
                  </a:lnTo>
                  <a:lnTo>
                    <a:pt x="257" y="87"/>
                  </a:lnTo>
                  <a:lnTo>
                    <a:pt x="254" y="90"/>
                  </a:lnTo>
                  <a:lnTo>
                    <a:pt x="251" y="93"/>
                  </a:lnTo>
                  <a:lnTo>
                    <a:pt x="251" y="93"/>
                  </a:lnTo>
                  <a:lnTo>
                    <a:pt x="245" y="95"/>
                  </a:lnTo>
                  <a:lnTo>
                    <a:pt x="241" y="95"/>
                  </a:lnTo>
                  <a:lnTo>
                    <a:pt x="237" y="95"/>
                  </a:lnTo>
                  <a:lnTo>
                    <a:pt x="235" y="92"/>
                  </a:lnTo>
                  <a:lnTo>
                    <a:pt x="235" y="92"/>
                  </a:lnTo>
                  <a:lnTo>
                    <a:pt x="237" y="80"/>
                  </a:lnTo>
                  <a:lnTo>
                    <a:pt x="239" y="71"/>
                  </a:lnTo>
                  <a:lnTo>
                    <a:pt x="242" y="66"/>
                  </a:lnTo>
                  <a:lnTo>
                    <a:pt x="242" y="66"/>
                  </a:lnTo>
                  <a:lnTo>
                    <a:pt x="247" y="64"/>
                  </a:lnTo>
                  <a:lnTo>
                    <a:pt x="252" y="63"/>
                  </a:lnTo>
                  <a:lnTo>
                    <a:pt x="252" y="63"/>
                  </a:lnTo>
                  <a:lnTo>
                    <a:pt x="252" y="53"/>
                  </a:lnTo>
                  <a:lnTo>
                    <a:pt x="252" y="38"/>
                  </a:lnTo>
                  <a:lnTo>
                    <a:pt x="252" y="26"/>
                  </a:lnTo>
                  <a:lnTo>
                    <a:pt x="252" y="21"/>
                  </a:lnTo>
                  <a:lnTo>
                    <a:pt x="251" y="18"/>
                  </a:lnTo>
                  <a:lnTo>
                    <a:pt x="251" y="18"/>
                  </a:lnTo>
                  <a:lnTo>
                    <a:pt x="244" y="9"/>
                  </a:lnTo>
                  <a:lnTo>
                    <a:pt x="239" y="5"/>
                  </a:lnTo>
                  <a:lnTo>
                    <a:pt x="238" y="5"/>
                  </a:lnTo>
                  <a:lnTo>
                    <a:pt x="235" y="5"/>
                  </a:lnTo>
                  <a:lnTo>
                    <a:pt x="235" y="5"/>
                  </a:lnTo>
                  <a:lnTo>
                    <a:pt x="225" y="3"/>
                  </a:lnTo>
                  <a:lnTo>
                    <a:pt x="219" y="3"/>
                  </a:lnTo>
                  <a:lnTo>
                    <a:pt x="213" y="0"/>
                  </a:lnTo>
                  <a:lnTo>
                    <a:pt x="213" y="0"/>
                  </a:lnTo>
                  <a:lnTo>
                    <a:pt x="190" y="12"/>
                  </a:lnTo>
                  <a:lnTo>
                    <a:pt x="176" y="21"/>
                  </a:lnTo>
                  <a:lnTo>
                    <a:pt x="176" y="21"/>
                  </a:lnTo>
                  <a:lnTo>
                    <a:pt x="170" y="28"/>
                  </a:lnTo>
                  <a:lnTo>
                    <a:pt x="163" y="42"/>
                  </a:lnTo>
                  <a:lnTo>
                    <a:pt x="154" y="55"/>
                  </a:lnTo>
                  <a:lnTo>
                    <a:pt x="150" y="63"/>
                  </a:lnTo>
                  <a:lnTo>
                    <a:pt x="150" y="63"/>
                  </a:lnTo>
                  <a:lnTo>
                    <a:pt x="144" y="64"/>
                  </a:lnTo>
                  <a:lnTo>
                    <a:pt x="135" y="64"/>
                  </a:lnTo>
                  <a:lnTo>
                    <a:pt x="128" y="64"/>
                  </a:lnTo>
                  <a:lnTo>
                    <a:pt x="124" y="63"/>
                  </a:lnTo>
                  <a:lnTo>
                    <a:pt x="124" y="63"/>
                  </a:lnTo>
                  <a:lnTo>
                    <a:pt x="119" y="58"/>
                  </a:lnTo>
                  <a:lnTo>
                    <a:pt x="116" y="57"/>
                  </a:lnTo>
                  <a:lnTo>
                    <a:pt x="113" y="57"/>
                  </a:lnTo>
                  <a:lnTo>
                    <a:pt x="113" y="57"/>
                  </a:lnTo>
                  <a:lnTo>
                    <a:pt x="112" y="58"/>
                  </a:lnTo>
                  <a:lnTo>
                    <a:pt x="109" y="61"/>
                  </a:lnTo>
                  <a:lnTo>
                    <a:pt x="102" y="70"/>
                  </a:lnTo>
                  <a:lnTo>
                    <a:pt x="96" y="79"/>
                  </a:lnTo>
                  <a:lnTo>
                    <a:pt x="93" y="80"/>
                  </a:lnTo>
                  <a:lnTo>
                    <a:pt x="90" y="82"/>
                  </a:lnTo>
                  <a:lnTo>
                    <a:pt x="90" y="82"/>
                  </a:lnTo>
                  <a:lnTo>
                    <a:pt x="80" y="82"/>
                  </a:lnTo>
                  <a:lnTo>
                    <a:pt x="76" y="79"/>
                  </a:lnTo>
                  <a:lnTo>
                    <a:pt x="73" y="76"/>
                  </a:lnTo>
                  <a:lnTo>
                    <a:pt x="73" y="76"/>
                  </a:lnTo>
                  <a:lnTo>
                    <a:pt x="67" y="66"/>
                  </a:lnTo>
                  <a:lnTo>
                    <a:pt x="58" y="55"/>
                  </a:lnTo>
                  <a:lnTo>
                    <a:pt x="58" y="106"/>
                  </a:lnTo>
                  <a:lnTo>
                    <a:pt x="58" y="106"/>
                  </a:lnTo>
                  <a:lnTo>
                    <a:pt x="57" y="110"/>
                  </a:lnTo>
                  <a:lnTo>
                    <a:pt x="51" y="116"/>
                  </a:lnTo>
                  <a:lnTo>
                    <a:pt x="45" y="121"/>
                  </a:lnTo>
                  <a:lnTo>
                    <a:pt x="41" y="122"/>
                  </a:lnTo>
                  <a:lnTo>
                    <a:pt x="38" y="122"/>
                  </a:lnTo>
                  <a:lnTo>
                    <a:pt x="38" y="122"/>
                  </a:lnTo>
                  <a:lnTo>
                    <a:pt x="32" y="119"/>
                  </a:lnTo>
                  <a:lnTo>
                    <a:pt x="25" y="115"/>
                  </a:lnTo>
                  <a:lnTo>
                    <a:pt x="18" y="110"/>
                  </a:lnTo>
                  <a:lnTo>
                    <a:pt x="12" y="109"/>
                  </a:lnTo>
                  <a:lnTo>
                    <a:pt x="12" y="109"/>
                  </a:lnTo>
                  <a:lnTo>
                    <a:pt x="6" y="110"/>
                  </a:lnTo>
                  <a:lnTo>
                    <a:pt x="0" y="115"/>
                  </a:lnTo>
                  <a:lnTo>
                    <a:pt x="0" y="115"/>
                  </a:lnTo>
                  <a:lnTo>
                    <a:pt x="3" y="118"/>
                  </a:lnTo>
                  <a:lnTo>
                    <a:pt x="3" y="118"/>
                  </a:lnTo>
                  <a:lnTo>
                    <a:pt x="8" y="122"/>
                  </a:lnTo>
                  <a:lnTo>
                    <a:pt x="11" y="128"/>
                  </a:lnTo>
                  <a:lnTo>
                    <a:pt x="15" y="138"/>
                  </a:lnTo>
                  <a:lnTo>
                    <a:pt x="15" y="138"/>
                  </a:lnTo>
                  <a:lnTo>
                    <a:pt x="16" y="142"/>
                  </a:lnTo>
                  <a:lnTo>
                    <a:pt x="13" y="144"/>
                  </a:lnTo>
                  <a:lnTo>
                    <a:pt x="11" y="144"/>
                  </a:lnTo>
                  <a:lnTo>
                    <a:pt x="8" y="145"/>
                  </a:lnTo>
                  <a:lnTo>
                    <a:pt x="8" y="145"/>
                  </a:lnTo>
                  <a:lnTo>
                    <a:pt x="8" y="150"/>
                  </a:lnTo>
                  <a:lnTo>
                    <a:pt x="9" y="155"/>
                  </a:lnTo>
                  <a:lnTo>
                    <a:pt x="16" y="168"/>
                  </a:lnTo>
                  <a:lnTo>
                    <a:pt x="16" y="168"/>
                  </a:lnTo>
                  <a:lnTo>
                    <a:pt x="18" y="176"/>
                  </a:lnTo>
                  <a:lnTo>
                    <a:pt x="19" y="181"/>
                  </a:lnTo>
                  <a:lnTo>
                    <a:pt x="19" y="187"/>
                  </a:lnTo>
                  <a:lnTo>
                    <a:pt x="18" y="192"/>
                  </a:lnTo>
                  <a:lnTo>
                    <a:pt x="18" y="192"/>
                  </a:lnTo>
                  <a:lnTo>
                    <a:pt x="15" y="196"/>
                  </a:lnTo>
                  <a:lnTo>
                    <a:pt x="15" y="199"/>
                  </a:lnTo>
                  <a:lnTo>
                    <a:pt x="19" y="206"/>
                  </a:lnTo>
                  <a:lnTo>
                    <a:pt x="19" y="206"/>
                  </a:lnTo>
                  <a:lnTo>
                    <a:pt x="22" y="213"/>
                  </a:lnTo>
                  <a:lnTo>
                    <a:pt x="24" y="219"/>
                  </a:lnTo>
                  <a:lnTo>
                    <a:pt x="24" y="219"/>
                  </a:lnTo>
                  <a:lnTo>
                    <a:pt x="25" y="222"/>
                  </a:lnTo>
                  <a:lnTo>
                    <a:pt x="27" y="223"/>
                  </a:lnTo>
                  <a:lnTo>
                    <a:pt x="34" y="225"/>
                  </a:lnTo>
                  <a:lnTo>
                    <a:pt x="34" y="225"/>
                  </a:lnTo>
                  <a:lnTo>
                    <a:pt x="37" y="225"/>
                  </a:lnTo>
                  <a:lnTo>
                    <a:pt x="38" y="228"/>
                  </a:lnTo>
                  <a:lnTo>
                    <a:pt x="41" y="231"/>
                  </a:lnTo>
                  <a:lnTo>
                    <a:pt x="45" y="232"/>
                  </a:lnTo>
                  <a:lnTo>
                    <a:pt x="45" y="232"/>
                  </a:lnTo>
                  <a:lnTo>
                    <a:pt x="50" y="232"/>
                  </a:lnTo>
                  <a:lnTo>
                    <a:pt x="53" y="231"/>
                  </a:lnTo>
                  <a:lnTo>
                    <a:pt x="55" y="226"/>
                  </a:lnTo>
                  <a:lnTo>
                    <a:pt x="55" y="226"/>
                  </a:lnTo>
                  <a:lnTo>
                    <a:pt x="58" y="225"/>
                  </a:lnTo>
                  <a:lnTo>
                    <a:pt x="61" y="225"/>
                  </a:lnTo>
                  <a:lnTo>
                    <a:pt x="69" y="225"/>
                  </a:lnTo>
                  <a:lnTo>
                    <a:pt x="69" y="225"/>
                  </a:lnTo>
                  <a:lnTo>
                    <a:pt x="71" y="225"/>
                  </a:lnTo>
                  <a:lnTo>
                    <a:pt x="73" y="223"/>
                  </a:lnTo>
                  <a:lnTo>
                    <a:pt x="79" y="219"/>
                  </a:lnTo>
                  <a:lnTo>
                    <a:pt x="79" y="219"/>
                  </a:lnTo>
                  <a:lnTo>
                    <a:pt x="84" y="216"/>
                  </a:lnTo>
                  <a:lnTo>
                    <a:pt x="93" y="216"/>
                  </a:lnTo>
                  <a:lnTo>
                    <a:pt x="93" y="216"/>
                  </a:lnTo>
                  <a:lnTo>
                    <a:pt x="105" y="216"/>
                  </a:lnTo>
                  <a:lnTo>
                    <a:pt x="105" y="216"/>
                  </a:lnTo>
                  <a:lnTo>
                    <a:pt x="109" y="216"/>
                  </a:lnTo>
                  <a:lnTo>
                    <a:pt x="113" y="216"/>
                  </a:lnTo>
                  <a:lnTo>
                    <a:pt x="113" y="216"/>
                  </a:lnTo>
                  <a:lnTo>
                    <a:pt x="122" y="218"/>
                  </a:lnTo>
                  <a:lnTo>
                    <a:pt x="125" y="218"/>
                  </a:lnTo>
                  <a:lnTo>
                    <a:pt x="128" y="218"/>
                  </a:lnTo>
                  <a:lnTo>
                    <a:pt x="128" y="218"/>
                  </a:lnTo>
                  <a:lnTo>
                    <a:pt x="137" y="216"/>
                  </a:lnTo>
                  <a:lnTo>
                    <a:pt x="145" y="215"/>
                  </a:lnTo>
                  <a:lnTo>
                    <a:pt x="145" y="215"/>
                  </a:lnTo>
                  <a:lnTo>
                    <a:pt x="154" y="212"/>
                  </a:lnTo>
                  <a:lnTo>
                    <a:pt x="163" y="206"/>
                  </a:lnTo>
                  <a:lnTo>
                    <a:pt x="163" y="206"/>
                  </a:lnTo>
                  <a:lnTo>
                    <a:pt x="179" y="193"/>
                  </a:lnTo>
                  <a:lnTo>
                    <a:pt x="192" y="183"/>
                  </a:lnTo>
                  <a:lnTo>
                    <a:pt x="192" y="183"/>
                  </a:lnTo>
                  <a:lnTo>
                    <a:pt x="203" y="170"/>
                  </a:lnTo>
                  <a:lnTo>
                    <a:pt x="215" y="155"/>
                  </a:lnTo>
                  <a:lnTo>
                    <a:pt x="215" y="155"/>
                  </a:lnTo>
                  <a:lnTo>
                    <a:pt x="218" y="152"/>
                  </a:lnTo>
                  <a:lnTo>
                    <a:pt x="221" y="151"/>
                  </a:lnTo>
                  <a:lnTo>
                    <a:pt x="225" y="150"/>
                  </a:lnTo>
                  <a:lnTo>
                    <a:pt x="225" y="150"/>
                  </a:lnTo>
                  <a:lnTo>
                    <a:pt x="229" y="148"/>
                  </a:lnTo>
                  <a:lnTo>
                    <a:pt x="234" y="142"/>
                  </a:lnTo>
                  <a:lnTo>
                    <a:pt x="242" y="131"/>
                  </a:lnTo>
                  <a:lnTo>
                    <a:pt x="242" y="131"/>
                  </a:lnTo>
                  <a:lnTo>
                    <a:pt x="248" y="122"/>
                  </a:lnTo>
                  <a:lnTo>
                    <a:pt x="255" y="116"/>
                  </a:lnTo>
                  <a:lnTo>
                    <a:pt x="255" y="116"/>
                  </a:lnTo>
                  <a:lnTo>
                    <a:pt x="257" y="112"/>
                  </a:lnTo>
                  <a:lnTo>
                    <a:pt x="260" y="106"/>
                  </a:lnTo>
                  <a:lnTo>
                    <a:pt x="263" y="96"/>
                  </a:lnTo>
                  <a:lnTo>
                    <a:pt x="263" y="96"/>
                  </a:lnTo>
                  <a:lnTo>
                    <a:pt x="264" y="92"/>
                  </a:lnTo>
                  <a:lnTo>
                    <a:pt x="265" y="84"/>
                  </a:lnTo>
                  <a:lnTo>
                    <a:pt x="265" y="84"/>
                  </a:lnTo>
                  <a:lnTo>
                    <a:pt x="260" y="7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77" name="Freeform 1131"/>
            <p:cNvSpPr>
              <a:spLocks/>
            </p:cNvSpPr>
            <p:nvPr/>
          </p:nvSpPr>
          <p:spPr bwMode="auto">
            <a:xfrm>
              <a:off x="5021263" y="5523342"/>
              <a:ext cx="49213" cy="49213"/>
            </a:xfrm>
            <a:custGeom>
              <a:avLst/>
              <a:gdLst>
                <a:gd name="T0" fmla="*/ 25 w 31"/>
                <a:gd name="T1" fmla="*/ 26 h 31"/>
                <a:gd name="T2" fmla="*/ 25 w 31"/>
                <a:gd name="T3" fmla="*/ 26 h 31"/>
                <a:gd name="T4" fmla="*/ 22 w 31"/>
                <a:gd name="T5" fmla="*/ 28 h 31"/>
                <a:gd name="T6" fmla="*/ 19 w 31"/>
                <a:gd name="T7" fmla="*/ 31 h 31"/>
                <a:gd name="T8" fmla="*/ 15 w 31"/>
                <a:gd name="T9" fmla="*/ 31 h 31"/>
                <a:gd name="T10" fmla="*/ 9 w 31"/>
                <a:gd name="T11" fmla="*/ 31 h 31"/>
                <a:gd name="T12" fmla="*/ 9 w 31"/>
                <a:gd name="T13" fmla="*/ 31 h 31"/>
                <a:gd name="T14" fmla="*/ 6 w 31"/>
                <a:gd name="T15" fmla="*/ 31 h 31"/>
                <a:gd name="T16" fmla="*/ 4 w 31"/>
                <a:gd name="T17" fmla="*/ 28 h 31"/>
                <a:gd name="T18" fmla="*/ 2 w 31"/>
                <a:gd name="T19" fmla="*/ 23 h 31"/>
                <a:gd name="T20" fmla="*/ 0 w 31"/>
                <a:gd name="T21" fmla="*/ 18 h 31"/>
                <a:gd name="T22" fmla="*/ 2 w 31"/>
                <a:gd name="T23" fmla="*/ 13 h 31"/>
                <a:gd name="T24" fmla="*/ 2 w 31"/>
                <a:gd name="T25" fmla="*/ 13 h 31"/>
                <a:gd name="T26" fmla="*/ 6 w 31"/>
                <a:gd name="T27" fmla="*/ 9 h 31"/>
                <a:gd name="T28" fmla="*/ 13 w 31"/>
                <a:gd name="T29" fmla="*/ 3 h 31"/>
                <a:gd name="T30" fmla="*/ 22 w 31"/>
                <a:gd name="T31" fmla="*/ 0 h 31"/>
                <a:gd name="T32" fmla="*/ 25 w 31"/>
                <a:gd name="T33" fmla="*/ 0 h 31"/>
                <a:gd name="T34" fmla="*/ 28 w 31"/>
                <a:gd name="T35" fmla="*/ 0 h 31"/>
                <a:gd name="T36" fmla="*/ 28 w 31"/>
                <a:gd name="T37" fmla="*/ 0 h 31"/>
                <a:gd name="T38" fmla="*/ 29 w 31"/>
                <a:gd name="T39" fmla="*/ 3 h 31"/>
                <a:gd name="T40" fmla="*/ 29 w 31"/>
                <a:gd name="T41" fmla="*/ 6 h 31"/>
                <a:gd name="T42" fmla="*/ 31 w 31"/>
                <a:gd name="T43" fmla="*/ 12 h 31"/>
                <a:gd name="T44" fmla="*/ 28 w 31"/>
                <a:gd name="T45" fmla="*/ 21 h 31"/>
                <a:gd name="T46" fmla="*/ 25 w 31"/>
                <a:gd name="T47" fmla="*/ 2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31">
                  <a:moveTo>
                    <a:pt x="25" y="26"/>
                  </a:moveTo>
                  <a:lnTo>
                    <a:pt x="25" y="26"/>
                  </a:lnTo>
                  <a:lnTo>
                    <a:pt x="22" y="28"/>
                  </a:lnTo>
                  <a:lnTo>
                    <a:pt x="19" y="31"/>
                  </a:lnTo>
                  <a:lnTo>
                    <a:pt x="15" y="31"/>
                  </a:lnTo>
                  <a:lnTo>
                    <a:pt x="9" y="31"/>
                  </a:lnTo>
                  <a:lnTo>
                    <a:pt x="9" y="31"/>
                  </a:lnTo>
                  <a:lnTo>
                    <a:pt x="6" y="31"/>
                  </a:lnTo>
                  <a:lnTo>
                    <a:pt x="4" y="28"/>
                  </a:lnTo>
                  <a:lnTo>
                    <a:pt x="2" y="23"/>
                  </a:lnTo>
                  <a:lnTo>
                    <a:pt x="0" y="18"/>
                  </a:lnTo>
                  <a:lnTo>
                    <a:pt x="2" y="13"/>
                  </a:lnTo>
                  <a:lnTo>
                    <a:pt x="2" y="13"/>
                  </a:lnTo>
                  <a:lnTo>
                    <a:pt x="6" y="9"/>
                  </a:lnTo>
                  <a:lnTo>
                    <a:pt x="13" y="3"/>
                  </a:lnTo>
                  <a:lnTo>
                    <a:pt x="22" y="0"/>
                  </a:lnTo>
                  <a:lnTo>
                    <a:pt x="25" y="0"/>
                  </a:lnTo>
                  <a:lnTo>
                    <a:pt x="28" y="0"/>
                  </a:lnTo>
                  <a:lnTo>
                    <a:pt x="28" y="0"/>
                  </a:lnTo>
                  <a:lnTo>
                    <a:pt x="29" y="3"/>
                  </a:lnTo>
                  <a:lnTo>
                    <a:pt x="29" y="6"/>
                  </a:lnTo>
                  <a:lnTo>
                    <a:pt x="31" y="12"/>
                  </a:lnTo>
                  <a:lnTo>
                    <a:pt x="28" y="21"/>
                  </a:lnTo>
                  <a:lnTo>
                    <a:pt x="25"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78" name="Freeform 1138"/>
            <p:cNvSpPr>
              <a:spLocks/>
            </p:cNvSpPr>
            <p:nvPr/>
          </p:nvSpPr>
          <p:spPr bwMode="auto">
            <a:xfrm>
              <a:off x="4681538" y="3789792"/>
              <a:ext cx="11113" cy="9525"/>
            </a:xfrm>
            <a:custGeom>
              <a:avLst/>
              <a:gdLst>
                <a:gd name="T0" fmla="*/ 7 w 7"/>
                <a:gd name="T1" fmla="*/ 3 h 6"/>
                <a:gd name="T2" fmla="*/ 7 w 7"/>
                <a:gd name="T3" fmla="*/ 3 h 6"/>
                <a:gd name="T4" fmla="*/ 7 w 7"/>
                <a:gd name="T5" fmla="*/ 4 h 6"/>
                <a:gd name="T6" fmla="*/ 4 w 7"/>
                <a:gd name="T7" fmla="*/ 6 h 6"/>
                <a:gd name="T8" fmla="*/ 1 w 7"/>
                <a:gd name="T9" fmla="*/ 4 h 6"/>
                <a:gd name="T10" fmla="*/ 0 w 7"/>
                <a:gd name="T11" fmla="*/ 3 h 6"/>
                <a:gd name="T12" fmla="*/ 0 w 7"/>
                <a:gd name="T13" fmla="*/ 3 h 6"/>
                <a:gd name="T14" fmla="*/ 0 w 7"/>
                <a:gd name="T15" fmla="*/ 2 h 6"/>
                <a:gd name="T16" fmla="*/ 1 w 7"/>
                <a:gd name="T17" fmla="*/ 0 h 6"/>
                <a:gd name="T18" fmla="*/ 4 w 7"/>
                <a:gd name="T19" fmla="*/ 2 h 6"/>
                <a:gd name="T20" fmla="*/ 7 w 7"/>
                <a:gd name="T2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6">
                  <a:moveTo>
                    <a:pt x="7" y="3"/>
                  </a:moveTo>
                  <a:lnTo>
                    <a:pt x="7" y="3"/>
                  </a:lnTo>
                  <a:lnTo>
                    <a:pt x="7" y="4"/>
                  </a:lnTo>
                  <a:lnTo>
                    <a:pt x="4" y="6"/>
                  </a:lnTo>
                  <a:lnTo>
                    <a:pt x="1" y="4"/>
                  </a:lnTo>
                  <a:lnTo>
                    <a:pt x="0" y="3"/>
                  </a:lnTo>
                  <a:lnTo>
                    <a:pt x="0" y="3"/>
                  </a:lnTo>
                  <a:lnTo>
                    <a:pt x="0" y="2"/>
                  </a:lnTo>
                  <a:lnTo>
                    <a:pt x="1" y="0"/>
                  </a:lnTo>
                  <a:lnTo>
                    <a:pt x="4" y="2"/>
                  </a:lnTo>
                  <a:lnTo>
                    <a:pt x="7" y="3"/>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79" name="Freeform 1139"/>
            <p:cNvSpPr>
              <a:spLocks/>
            </p:cNvSpPr>
            <p:nvPr/>
          </p:nvSpPr>
          <p:spPr bwMode="auto">
            <a:xfrm>
              <a:off x="4681538" y="3789792"/>
              <a:ext cx="11113" cy="9525"/>
            </a:xfrm>
            <a:custGeom>
              <a:avLst/>
              <a:gdLst>
                <a:gd name="T0" fmla="*/ 7 w 7"/>
                <a:gd name="T1" fmla="*/ 3 h 6"/>
                <a:gd name="T2" fmla="*/ 7 w 7"/>
                <a:gd name="T3" fmla="*/ 3 h 6"/>
                <a:gd name="T4" fmla="*/ 7 w 7"/>
                <a:gd name="T5" fmla="*/ 4 h 6"/>
                <a:gd name="T6" fmla="*/ 4 w 7"/>
                <a:gd name="T7" fmla="*/ 6 h 6"/>
                <a:gd name="T8" fmla="*/ 1 w 7"/>
                <a:gd name="T9" fmla="*/ 4 h 6"/>
                <a:gd name="T10" fmla="*/ 0 w 7"/>
                <a:gd name="T11" fmla="*/ 3 h 6"/>
                <a:gd name="T12" fmla="*/ 0 w 7"/>
                <a:gd name="T13" fmla="*/ 3 h 6"/>
                <a:gd name="T14" fmla="*/ 0 w 7"/>
                <a:gd name="T15" fmla="*/ 2 h 6"/>
                <a:gd name="T16" fmla="*/ 1 w 7"/>
                <a:gd name="T17" fmla="*/ 0 h 6"/>
                <a:gd name="T18" fmla="*/ 4 w 7"/>
                <a:gd name="T19" fmla="*/ 2 h 6"/>
                <a:gd name="T20" fmla="*/ 7 w 7"/>
                <a:gd name="T2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6">
                  <a:moveTo>
                    <a:pt x="7" y="3"/>
                  </a:moveTo>
                  <a:lnTo>
                    <a:pt x="7" y="3"/>
                  </a:lnTo>
                  <a:lnTo>
                    <a:pt x="7" y="4"/>
                  </a:lnTo>
                  <a:lnTo>
                    <a:pt x="4" y="6"/>
                  </a:lnTo>
                  <a:lnTo>
                    <a:pt x="1" y="4"/>
                  </a:lnTo>
                  <a:lnTo>
                    <a:pt x="0" y="3"/>
                  </a:lnTo>
                  <a:lnTo>
                    <a:pt x="0" y="3"/>
                  </a:lnTo>
                  <a:lnTo>
                    <a:pt x="0" y="2"/>
                  </a:lnTo>
                  <a:lnTo>
                    <a:pt x="1" y="0"/>
                  </a:lnTo>
                  <a:lnTo>
                    <a:pt x="4" y="2"/>
                  </a:lnTo>
                  <a:lnTo>
                    <a:pt x="7"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80" name="Freeform 1140"/>
            <p:cNvSpPr>
              <a:spLocks/>
            </p:cNvSpPr>
            <p:nvPr/>
          </p:nvSpPr>
          <p:spPr bwMode="auto">
            <a:xfrm>
              <a:off x="4537075" y="4686729"/>
              <a:ext cx="7938" cy="9525"/>
            </a:xfrm>
            <a:custGeom>
              <a:avLst/>
              <a:gdLst>
                <a:gd name="T0" fmla="*/ 4 w 5"/>
                <a:gd name="T1" fmla="*/ 4 h 6"/>
                <a:gd name="T2" fmla="*/ 4 w 5"/>
                <a:gd name="T3" fmla="*/ 4 h 6"/>
                <a:gd name="T4" fmla="*/ 2 w 5"/>
                <a:gd name="T5" fmla="*/ 6 h 6"/>
                <a:gd name="T6" fmla="*/ 0 w 5"/>
                <a:gd name="T7" fmla="*/ 4 h 6"/>
                <a:gd name="T8" fmla="*/ 0 w 5"/>
                <a:gd name="T9" fmla="*/ 1 h 6"/>
                <a:gd name="T10" fmla="*/ 1 w 5"/>
                <a:gd name="T11" fmla="*/ 0 h 6"/>
                <a:gd name="T12" fmla="*/ 1 w 5"/>
                <a:gd name="T13" fmla="*/ 0 h 6"/>
                <a:gd name="T14" fmla="*/ 4 w 5"/>
                <a:gd name="T15" fmla="*/ 0 h 6"/>
                <a:gd name="T16" fmla="*/ 5 w 5"/>
                <a:gd name="T17" fmla="*/ 1 h 6"/>
                <a:gd name="T18" fmla="*/ 4 w 5"/>
                <a:gd name="T1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4" y="4"/>
                  </a:moveTo>
                  <a:lnTo>
                    <a:pt x="4" y="4"/>
                  </a:lnTo>
                  <a:lnTo>
                    <a:pt x="2" y="6"/>
                  </a:lnTo>
                  <a:lnTo>
                    <a:pt x="0" y="4"/>
                  </a:lnTo>
                  <a:lnTo>
                    <a:pt x="0" y="1"/>
                  </a:lnTo>
                  <a:lnTo>
                    <a:pt x="1" y="0"/>
                  </a:lnTo>
                  <a:lnTo>
                    <a:pt x="1" y="0"/>
                  </a:lnTo>
                  <a:lnTo>
                    <a:pt x="4" y="0"/>
                  </a:lnTo>
                  <a:lnTo>
                    <a:pt x="5" y="1"/>
                  </a:lnTo>
                  <a:lnTo>
                    <a:pt x="4" y="4"/>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81" name="Freeform 1141"/>
            <p:cNvSpPr>
              <a:spLocks/>
            </p:cNvSpPr>
            <p:nvPr/>
          </p:nvSpPr>
          <p:spPr bwMode="auto">
            <a:xfrm>
              <a:off x="4537075" y="4686729"/>
              <a:ext cx="7938" cy="9525"/>
            </a:xfrm>
            <a:custGeom>
              <a:avLst/>
              <a:gdLst>
                <a:gd name="T0" fmla="*/ 4 w 5"/>
                <a:gd name="T1" fmla="*/ 4 h 6"/>
                <a:gd name="T2" fmla="*/ 4 w 5"/>
                <a:gd name="T3" fmla="*/ 4 h 6"/>
                <a:gd name="T4" fmla="*/ 2 w 5"/>
                <a:gd name="T5" fmla="*/ 6 h 6"/>
                <a:gd name="T6" fmla="*/ 0 w 5"/>
                <a:gd name="T7" fmla="*/ 4 h 6"/>
                <a:gd name="T8" fmla="*/ 0 w 5"/>
                <a:gd name="T9" fmla="*/ 1 h 6"/>
                <a:gd name="T10" fmla="*/ 1 w 5"/>
                <a:gd name="T11" fmla="*/ 0 h 6"/>
                <a:gd name="T12" fmla="*/ 1 w 5"/>
                <a:gd name="T13" fmla="*/ 0 h 6"/>
                <a:gd name="T14" fmla="*/ 4 w 5"/>
                <a:gd name="T15" fmla="*/ 0 h 6"/>
                <a:gd name="T16" fmla="*/ 5 w 5"/>
                <a:gd name="T17" fmla="*/ 1 h 6"/>
                <a:gd name="T18" fmla="*/ 4 w 5"/>
                <a:gd name="T1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4" y="4"/>
                  </a:moveTo>
                  <a:lnTo>
                    <a:pt x="4" y="4"/>
                  </a:lnTo>
                  <a:lnTo>
                    <a:pt x="2" y="6"/>
                  </a:lnTo>
                  <a:lnTo>
                    <a:pt x="0" y="4"/>
                  </a:lnTo>
                  <a:lnTo>
                    <a:pt x="0" y="1"/>
                  </a:lnTo>
                  <a:lnTo>
                    <a:pt x="1" y="0"/>
                  </a:lnTo>
                  <a:lnTo>
                    <a:pt x="1" y="0"/>
                  </a:lnTo>
                  <a:lnTo>
                    <a:pt x="4" y="0"/>
                  </a:lnTo>
                  <a:lnTo>
                    <a:pt x="5" y="1"/>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82" name="Freeform 1142"/>
            <p:cNvSpPr>
              <a:spLocks/>
            </p:cNvSpPr>
            <p:nvPr/>
          </p:nvSpPr>
          <p:spPr bwMode="auto">
            <a:xfrm>
              <a:off x="4492625" y="4754992"/>
              <a:ext cx="6350" cy="4763"/>
            </a:xfrm>
            <a:custGeom>
              <a:avLst/>
              <a:gdLst>
                <a:gd name="T0" fmla="*/ 3 w 4"/>
                <a:gd name="T1" fmla="*/ 3 h 3"/>
                <a:gd name="T2" fmla="*/ 3 w 4"/>
                <a:gd name="T3" fmla="*/ 3 h 3"/>
                <a:gd name="T4" fmla="*/ 0 w 4"/>
                <a:gd name="T5" fmla="*/ 3 h 3"/>
                <a:gd name="T6" fmla="*/ 0 w 4"/>
                <a:gd name="T7" fmla="*/ 2 h 3"/>
                <a:gd name="T8" fmla="*/ 1 w 4"/>
                <a:gd name="T9" fmla="*/ 0 h 3"/>
                <a:gd name="T10" fmla="*/ 1 w 4"/>
                <a:gd name="T11" fmla="*/ 0 h 3"/>
                <a:gd name="T12" fmla="*/ 3 w 4"/>
                <a:gd name="T13" fmla="*/ 0 h 3"/>
                <a:gd name="T14" fmla="*/ 4 w 4"/>
                <a:gd name="T15" fmla="*/ 2 h 3"/>
                <a:gd name="T16" fmla="*/ 4 w 4"/>
                <a:gd name="T17" fmla="*/ 3 h 3"/>
                <a:gd name="T18" fmla="*/ 3 w 4"/>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3">
                  <a:moveTo>
                    <a:pt x="3" y="3"/>
                  </a:moveTo>
                  <a:lnTo>
                    <a:pt x="3" y="3"/>
                  </a:lnTo>
                  <a:lnTo>
                    <a:pt x="0" y="3"/>
                  </a:lnTo>
                  <a:lnTo>
                    <a:pt x="0" y="2"/>
                  </a:lnTo>
                  <a:lnTo>
                    <a:pt x="1" y="0"/>
                  </a:lnTo>
                  <a:lnTo>
                    <a:pt x="1" y="0"/>
                  </a:lnTo>
                  <a:lnTo>
                    <a:pt x="3" y="0"/>
                  </a:lnTo>
                  <a:lnTo>
                    <a:pt x="4" y="2"/>
                  </a:lnTo>
                  <a:lnTo>
                    <a:pt x="4" y="3"/>
                  </a:lnTo>
                  <a:lnTo>
                    <a:pt x="3" y="3"/>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83" name="Freeform 1143"/>
            <p:cNvSpPr>
              <a:spLocks/>
            </p:cNvSpPr>
            <p:nvPr/>
          </p:nvSpPr>
          <p:spPr bwMode="auto">
            <a:xfrm>
              <a:off x="4492625" y="4754992"/>
              <a:ext cx="6350" cy="4763"/>
            </a:xfrm>
            <a:custGeom>
              <a:avLst/>
              <a:gdLst>
                <a:gd name="T0" fmla="*/ 3 w 4"/>
                <a:gd name="T1" fmla="*/ 3 h 3"/>
                <a:gd name="T2" fmla="*/ 3 w 4"/>
                <a:gd name="T3" fmla="*/ 3 h 3"/>
                <a:gd name="T4" fmla="*/ 0 w 4"/>
                <a:gd name="T5" fmla="*/ 3 h 3"/>
                <a:gd name="T6" fmla="*/ 0 w 4"/>
                <a:gd name="T7" fmla="*/ 2 h 3"/>
                <a:gd name="T8" fmla="*/ 1 w 4"/>
                <a:gd name="T9" fmla="*/ 0 h 3"/>
                <a:gd name="T10" fmla="*/ 1 w 4"/>
                <a:gd name="T11" fmla="*/ 0 h 3"/>
                <a:gd name="T12" fmla="*/ 3 w 4"/>
                <a:gd name="T13" fmla="*/ 0 h 3"/>
                <a:gd name="T14" fmla="*/ 4 w 4"/>
                <a:gd name="T15" fmla="*/ 2 h 3"/>
                <a:gd name="T16" fmla="*/ 4 w 4"/>
                <a:gd name="T17" fmla="*/ 3 h 3"/>
                <a:gd name="T18" fmla="*/ 3 w 4"/>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3">
                  <a:moveTo>
                    <a:pt x="3" y="3"/>
                  </a:moveTo>
                  <a:lnTo>
                    <a:pt x="3" y="3"/>
                  </a:lnTo>
                  <a:lnTo>
                    <a:pt x="0" y="3"/>
                  </a:lnTo>
                  <a:lnTo>
                    <a:pt x="0" y="2"/>
                  </a:lnTo>
                  <a:lnTo>
                    <a:pt x="1" y="0"/>
                  </a:lnTo>
                  <a:lnTo>
                    <a:pt x="1" y="0"/>
                  </a:lnTo>
                  <a:lnTo>
                    <a:pt x="3" y="0"/>
                  </a:lnTo>
                  <a:lnTo>
                    <a:pt x="4" y="2"/>
                  </a:lnTo>
                  <a:lnTo>
                    <a:pt x="4" y="3"/>
                  </a:lnTo>
                  <a:lnTo>
                    <a:pt x="3"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84" name="Freeform 1144"/>
            <p:cNvSpPr>
              <a:spLocks noEditPoints="1"/>
            </p:cNvSpPr>
            <p:nvPr/>
          </p:nvSpPr>
          <p:spPr bwMode="auto">
            <a:xfrm>
              <a:off x="4235450" y="4491467"/>
              <a:ext cx="103188" cy="158750"/>
            </a:xfrm>
            <a:custGeom>
              <a:avLst/>
              <a:gdLst>
                <a:gd name="T0" fmla="*/ 61 w 65"/>
                <a:gd name="T1" fmla="*/ 61 h 100"/>
                <a:gd name="T2" fmla="*/ 62 w 65"/>
                <a:gd name="T3" fmla="*/ 48 h 100"/>
                <a:gd name="T4" fmla="*/ 62 w 65"/>
                <a:gd name="T5" fmla="*/ 32 h 100"/>
                <a:gd name="T6" fmla="*/ 58 w 65"/>
                <a:gd name="T7" fmla="*/ 17 h 100"/>
                <a:gd name="T8" fmla="*/ 52 w 65"/>
                <a:gd name="T9" fmla="*/ 0 h 100"/>
                <a:gd name="T10" fmla="*/ 45 w 65"/>
                <a:gd name="T11" fmla="*/ 1 h 100"/>
                <a:gd name="T12" fmla="*/ 20 w 65"/>
                <a:gd name="T13" fmla="*/ 1 h 100"/>
                <a:gd name="T14" fmla="*/ 13 w 65"/>
                <a:gd name="T15" fmla="*/ 3 h 100"/>
                <a:gd name="T16" fmla="*/ 9 w 65"/>
                <a:gd name="T17" fmla="*/ 7 h 100"/>
                <a:gd name="T18" fmla="*/ 9 w 65"/>
                <a:gd name="T19" fmla="*/ 20 h 100"/>
                <a:gd name="T20" fmla="*/ 10 w 65"/>
                <a:gd name="T21" fmla="*/ 27 h 100"/>
                <a:gd name="T22" fmla="*/ 11 w 65"/>
                <a:gd name="T23" fmla="*/ 43 h 100"/>
                <a:gd name="T24" fmla="*/ 9 w 65"/>
                <a:gd name="T25" fmla="*/ 52 h 100"/>
                <a:gd name="T26" fmla="*/ 7 w 65"/>
                <a:gd name="T27" fmla="*/ 55 h 100"/>
                <a:gd name="T28" fmla="*/ 0 w 65"/>
                <a:gd name="T29" fmla="*/ 62 h 100"/>
                <a:gd name="T30" fmla="*/ 0 w 65"/>
                <a:gd name="T31" fmla="*/ 72 h 100"/>
                <a:gd name="T32" fmla="*/ 3 w 65"/>
                <a:gd name="T33" fmla="*/ 82 h 100"/>
                <a:gd name="T34" fmla="*/ 4 w 65"/>
                <a:gd name="T35" fmla="*/ 96 h 100"/>
                <a:gd name="T36" fmla="*/ 22 w 65"/>
                <a:gd name="T37" fmla="*/ 100 h 100"/>
                <a:gd name="T38" fmla="*/ 40 w 65"/>
                <a:gd name="T39" fmla="*/ 96 h 100"/>
                <a:gd name="T40" fmla="*/ 65 w 65"/>
                <a:gd name="T41" fmla="*/ 84 h 100"/>
                <a:gd name="T42" fmla="*/ 53 w 65"/>
                <a:gd name="T43" fmla="*/ 72 h 100"/>
                <a:gd name="T44" fmla="*/ 51 w 65"/>
                <a:gd name="T45" fmla="*/ 69 h 100"/>
                <a:gd name="T46" fmla="*/ 46 w 65"/>
                <a:gd name="T47" fmla="*/ 64 h 100"/>
                <a:gd name="T48" fmla="*/ 48 w 65"/>
                <a:gd name="T49" fmla="*/ 62 h 100"/>
                <a:gd name="T50" fmla="*/ 52 w 65"/>
                <a:gd name="T51" fmla="*/ 58 h 100"/>
                <a:gd name="T52" fmla="*/ 51 w 65"/>
                <a:gd name="T53" fmla="*/ 51 h 100"/>
                <a:gd name="T54" fmla="*/ 46 w 65"/>
                <a:gd name="T55" fmla="*/ 43 h 100"/>
                <a:gd name="T56" fmla="*/ 40 w 65"/>
                <a:gd name="T57" fmla="*/ 39 h 100"/>
                <a:gd name="T58" fmla="*/ 33 w 65"/>
                <a:gd name="T59" fmla="*/ 39 h 100"/>
                <a:gd name="T60" fmla="*/ 30 w 65"/>
                <a:gd name="T61" fmla="*/ 36 h 100"/>
                <a:gd name="T62" fmla="*/ 33 w 65"/>
                <a:gd name="T63" fmla="*/ 36 h 100"/>
                <a:gd name="T64" fmla="*/ 37 w 65"/>
                <a:gd name="T65" fmla="*/ 35 h 100"/>
                <a:gd name="T66" fmla="*/ 39 w 65"/>
                <a:gd name="T67" fmla="*/ 35 h 100"/>
                <a:gd name="T68" fmla="*/ 35 w 65"/>
                <a:gd name="T69" fmla="*/ 29 h 100"/>
                <a:gd name="T70" fmla="*/ 37 w 65"/>
                <a:gd name="T71" fmla="*/ 27 h 100"/>
                <a:gd name="T72" fmla="*/ 43 w 65"/>
                <a:gd name="T73" fmla="*/ 29 h 100"/>
                <a:gd name="T74" fmla="*/ 55 w 65"/>
                <a:gd name="T75" fmla="*/ 42 h 100"/>
                <a:gd name="T76" fmla="*/ 56 w 65"/>
                <a:gd name="T77" fmla="*/ 46 h 100"/>
                <a:gd name="T78" fmla="*/ 56 w 65"/>
                <a:gd name="T79" fmla="*/ 61 h 100"/>
                <a:gd name="T80" fmla="*/ 58 w 65"/>
                <a:gd name="T81" fmla="*/ 69 h 100"/>
                <a:gd name="T82" fmla="*/ 56 w 65"/>
                <a:gd name="T83" fmla="*/ 7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5" h="100">
                  <a:moveTo>
                    <a:pt x="61" y="61"/>
                  </a:moveTo>
                  <a:lnTo>
                    <a:pt x="61" y="61"/>
                  </a:lnTo>
                  <a:lnTo>
                    <a:pt x="61" y="55"/>
                  </a:lnTo>
                  <a:lnTo>
                    <a:pt x="62" y="48"/>
                  </a:lnTo>
                  <a:lnTo>
                    <a:pt x="64" y="40"/>
                  </a:lnTo>
                  <a:lnTo>
                    <a:pt x="62" y="32"/>
                  </a:lnTo>
                  <a:lnTo>
                    <a:pt x="62" y="32"/>
                  </a:lnTo>
                  <a:lnTo>
                    <a:pt x="58" y="17"/>
                  </a:lnTo>
                  <a:lnTo>
                    <a:pt x="52" y="0"/>
                  </a:lnTo>
                  <a:lnTo>
                    <a:pt x="52" y="0"/>
                  </a:lnTo>
                  <a:lnTo>
                    <a:pt x="45" y="1"/>
                  </a:lnTo>
                  <a:lnTo>
                    <a:pt x="45" y="1"/>
                  </a:lnTo>
                  <a:lnTo>
                    <a:pt x="30" y="1"/>
                  </a:lnTo>
                  <a:lnTo>
                    <a:pt x="20" y="1"/>
                  </a:lnTo>
                  <a:lnTo>
                    <a:pt x="13" y="3"/>
                  </a:lnTo>
                  <a:lnTo>
                    <a:pt x="13" y="3"/>
                  </a:lnTo>
                  <a:lnTo>
                    <a:pt x="10" y="4"/>
                  </a:lnTo>
                  <a:lnTo>
                    <a:pt x="9" y="7"/>
                  </a:lnTo>
                  <a:lnTo>
                    <a:pt x="7" y="13"/>
                  </a:lnTo>
                  <a:lnTo>
                    <a:pt x="9" y="20"/>
                  </a:lnTo>
                  <a:lnTo>
                    <a:pt x="10" y="27"/>
                  </a:lnTo>
                  <a:lnTo>
                    <a:pt x="10" y="27"/>
                  </a:lnTo>
                  <a:lnTo>
                    <a:pt x="11" y="35"/>
                  </a:lnTo>
                  <a:lnTo>
                    <a:pt x="11" y="43"/>
                  </a:lnTo>
                  <a:lnTo>
                    <a:pt x="10" y="51"/>
                  </a:lnTo>
                  <a:lnTo>
                    <a:pt x="9" y="52"/>
                  </a:lnTo>
                  <a:lnTo>
                    <a:pt x="7" y="55"/>
                  </a:lnTo>
                  <a:lnTo>
                    <a:pt x="7" y="55"/>
                  </a:lnTo>
                  <a:lnTo>
                    <a:pt x="3" y="58"/>
                  </a:lnTo>
                  <a:lnTo>
                    <a:pt x="0" y="62"/>
                  </a:lnTo>
                  <a:lnTo>
                    <a:pt x="0" y="68"/>
                  </a:lnTo>
                  <a:lnTo>
                    <a:pt x="0" y="72"/>
                  </a:lnTo>
                  <a:lnTo>
                    <a:pt x="0" y="72"/>
                  </a:lnTo>
                  <a:lnTo>
                    <a:pt x="3" y="82"/>
                  </a:lnTo>
                  <a:lnTo>
                    <a:pt x="4" y="96"/>
                  </a:lnTo>
                  <a:lnTo>
                    <a:pt x="4" y="96"/>
                  </a:lnTo>
                  <a:lnTo>
                    <a:pt x="22" y="100"/>
                  </a:lnTo>
                  <a:lnTo>
                    <a:pt x="22" y="100"/>
                  </a:lnTo>
                  <a:lnTo>
                    <a:pt x="29" y="98"/>
                  </a:lnTo>
                  <a:lnTo>
                    <a:pt x="40" y="96"/>
                  </a:lnTo>
                  <a:lnTo>
                    <a:pt x="65" y="84"/>
                  </a:lnTo>
                  <a:lnTo>
                    <a:pt x="65" y="84"/>
                  </a:lnTo>
                  <a:lnTo>
                    <a:pt x="61" y="61"/>
                  </a:lnTo>
                  <a:close/>
                  <a:moveTo>
                    <a:pt x="53" y="72"/>
                  </a:moveTo>
                  <a:lnTo>
                    <a:pt x="53" y="72"/>
                  </a:lnTo>
                  <a:lnTo>
                    <a:pt x="51" y="69"/>
                  </a:lnTo>
                  <a:lnTo>
                    <a:pt x="48" y="67"/>
                  </a:lnTo>
                  <a:lnTo>
                    <a:pt x="46" y="64"/>
                  </a:lnTo>
                  <a:lnTo>
                    <a:pt x="48" y="62"/>
                  </a:lnTo>
                  <a:lnTo>
                    <a:pt x="48" y="62"/>
                  </a:lnTo>
                  <a:lnTo>
                    <a:pt x="51" y="61"/>
                  </a:lnTo>
                  <a:lnTo>
                    <a:pt x="52" y="58"/>
                  </a:lnTo>
                  <a:lnTo>
                    <a:pt x="52" y="55"/>
                  </a:lnTo>
                  <a:lnTo>
                    <a:pt x="51" y="51"/>
                  </a:lnTo>
                  <a:lnTo>
                    <a:pt x="51" y="51"/>
                  </a:lnTo>
                  <a:lnTo>
                    <a:pt x="46" y="43"/>
                  </a:lnTo>
                  <a:lnTo>
                    <a:pt x="45" y="40"/>
                  </a:lnTo>
                  <a:lnTo>
                    <a:pt x="40" y="39"/>
                  </a:lnTo>
                  <a:lnTo>
                    <a:pt x="40" y="39"/>
                  </a:lnTo>
                  <a:lnTo>
                    <a:pt x="33" y="39"/>
                  </a:lnTo>
                  <a:lnTo>
                    <a:pt x="30" y="38"/>
                  </a:lnTo>
                  <a:lnTo>
                    <a:pt x="30" y="36"/>
                  </a:lnTo>
                  <a:lnTo>
                    <a:pt x="30" y="36"/>
                  </a:lnTo>
                  <a:lnTo>
                    <a:pt x="33" y="36"/>
                  </a:lnTo>
                  <a:lnTo>
                    <a:pt x="36" y="36"/>
                  </a:lnTo>
                  <a:lnTo>
                    <a:pt x="37" y="35"/>
                  </a:lnTo>
                  <a:lnTo>
                    <a:pt x="39" y="35"/>
                  </a:lnTo>
                  <a:lnTo>
                    <a:pt x="39" y="35"/>
                  </a:lnTo>
                  <a:lnTo>
                    <a:pt x="37" y="32"/>
                  </a:lnTo>
                  <a:lnTo>
                    <a:pt x="35" y="29"/>
                  </a:lnTo>
                  <a:lnTo>
                    <a:pt x="33" y="27"/>
                  </a:lnTo>
                  <a:lnTo>
                    <a:pt x="37" y="27"/>
                  </a:lnTo>
                  <a:lnTo>
                    <a:pt x="37" y="27"/>
                  </a:lnTo>
                  <a:lnTo>
                    <a:pt x="43" y="29"/>
                  </a:lnTo>
                  <a:lnTo>
                    <a:pt x="48" y="33"/>
                  </a:lnTo>
                  <a:lnTo>
                    <a:pt x="55" y="42"/>
                  </a:lnTo>
                  <a:lnTo>
                    <a:pt x="55" y="42"/>
                  </a:lnTo>
                  <a:lnTo>
                    <a:pt x="56" y="46"/>
                  </a:lnTo>
                  <a:lnTo>
                    <a:pt x="58" y="52"/>
                  </a:lnTo>
                  <a:lnTo>
                    <a:pt x="56" y="61"/>
                  </a:lnTo>
                  <a:lnTo>
                    <a:pt x="56" y="61"/>
                  </a:lnTo>
                  <a:lnTo>
                    <a:pt x="58" y="69"/>
                  </a:lnTo>
                  <a:lnTo>
                    <a:pt x="58" y="72"/>
                  </a:lnTo>
                  <a:lnTo>
                    <a:pt x="56" y="72"/>
                  </a:lnTo>
                  <a:lnTo>
                    <a:pt x="53" y="72"/>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85" name="Freeform 1145"/>
            <p:cNvSpPr>
              <a:spLocks/>
            </p:cNvSpPr>
            <p:nvPr/>
          </p:nvSpPr>
          <p:spPr bwMode="auto">
            <a:xfrm>
              <a:off x="4235450" y="4491467"/>
              <a:ext cx="103188" cy="158750"/>
            </a:xfrm>
            <a:custGeom>
              <a:avLst/>
              <a:gdLst>
                <a:gd name="T0" fmla="*/ 61 w 65"/>
                <a:gd name="T1" fmla="*/ 61 h 100"/>
                <a:gd name="T2" fmla="*/ 61 w 65"/>
                <a:gd name="T3" fmla="*/ 61 h 100"/>
                <a:gd name="T4" fmla="*/ 61 w 65"/>
                <a:gd name="T5" fmla="*/ 55 h 100"/>
                <a:gd name="T6" fmla="*/ 62 w 65"/>
                <a:gd name="T7" fmla="*/ 48 h 100"/>
                <a:gd name="T8" fmla="*/ 64 w 65"/>
                <a:gd name="T9" fmla="*/ 40 h 100"/>
                <a:gd name="T10" fmla="*/ 62 w 65"/>
                <a:gd name="T11" fmla="*/ 32 h 100"/>
                <a:gd name="T12" fmla="*/ 62 w 65"/>
                <a:gd name="T13" fmla="*/ 32 h 100"/>
                <a:gd name="T14" fmla="*/ 58 w 65"/>
                <a:gd name="T15" fmla="*/ 17 h 100"/>
                <a:gd name="T16" fmla="*/ 52 w 65"/>
                <a:gd name="T17" fmla="*/ 0 h 100"/>
                <a:gd name="T18" fmla="*/ 52 w 65"/>
                <a:gd name="T19" fmla="*/ 0 h 100"/>
                <a:gd name="T20" fmla="*/ 45 w 65"/>
                <a:gd name="T21" fmla="*/ 1 h 100"/>
                <a:gd name="T22" fmla="*/ 45 w 65"/>
                <a:gd name="T23" fmla="*/ 1 h 100"/>
                <a:gd name="T24" fmla="*/ 30 w 65"/>
                <a:gd name="T25" fmla="*/ 1 h 100"/>
                <a:gd name="T26" fmla="*/ 20 w 65"/>
                <a:gd name="T27" fmla="*/ 1 h 100"/>
                <a:gd name="T28" fmla="*/ 13 w 65"/>
                <a:gd name="T29" fmla="*/ 3 h 100"/>
                <a:gd name="T30" fmla="*/ 13 w 65"/>
                <a:gd name="T31" fmla="*/ 3 h 100"/>
                <a:gd name="T32" fmla="*/ 10 w 65"/>
                <a:gd name="T33" fmla="*/ 4 h 100"/>
                <a:gd name="T34" fmla="*/ 9 w 65"/>
                <a:gd name="T35" fmla="*/ 7 h 100"/>
                <a:gd name="T36" fmla="*/ 7 w 65"/>
                <a:gd name="T37" fmla="*/ 13 h 100"/>
                <a:gd name="T38" fmla="*/ 9 w 65"/>
                <a:gd name="T39" fmla="*/ 20 h 100"/>
                <a:gd name="T40" fmla="*/ 10 w 65"/>
                <a:gd name="T41" fmla="*/ 27 h 100"/>
                <a:gd name="T42" fmla="*/ 10 w 65"/>
                <a:gd name="T43" fmla="*/ 27 h 100"/>
                <a:gd name="T44" fmla="*/ 11 w 65"/>
                <a:gd name="T45" fmla="*/ 35 h 100"/>
                <a:gd name="T46" fmla="*/ 11 w 65"/>
                <a:gd name="T47" fmla="*/ 43 h 100"/>
                <a:gd name="T48" fmla="*/ 10 w 65"/>
                <a:gd name="T49" fmla="*/ 51 h 100"/>
                <a:gd name="T50" fmla="*/ 9 w 65"/>
                <a:gd name="T51" fmla="*/ 52 h 100"/>
                <a:gd name="T52" fmla="*/ 7 w 65"/>
                <a:gd name="T53" fmla="*/ 55 h 100"/>
                <a:gd name="T54" fmla="*/ 7 w 65"/>
                <a:gd name="T55" fmla="*/ 55 h 100"/>
                <a:gd name="T56" fmla="*/ 3 w 65"/>
                <a:gd name="T57" fmla="*/ 58 h 100"/>
                <a:gd name="T58" fmla="*/ 0 w 65"/>
                <a:gd name="T59" fmla="*/ 62 h 100"/>
                <a:gd name="T60" fmla="*/ 0 w 65"/>
                <a:gd name="T61" fmla="*/ 68 h 100"/>
                <a:gd name="T62" fmla="*/ 0 w 65"/>
                <a:gd name="T63" fmla="*/ 72 h 100"/>
                <a:gd name="T64" fmla="*/ 0 w 65"/>
                <a:gd name="T65" fmla="*/ 72 h 100"/>
                <a:gd name="T66" fmla="*/ 3 w 65"/>
                <a:gd name="T67" fmla="*/ 82 h 100"/>
                <a:gd name="T68" fmla="*/ 4 w 65"/>
                <a:gd name="T69" fmla="*/ 96 h 100"/>
                <a:gd name="T70" fmla="*/ 4 w 65"/>
                <a:gd name="T71" fmla="*/ 96 h 100"/>
                <a:gd name="T72" fmla="*/ 22 w 65"/>
                <a:gd name="T73" fmla="*/ 100 h 100"/>
                <a:gd name="T74" fmla="*/ 22 w 65"/>
                <a:gd name="T75" fmla="*/ 100 h 100"/>
                <a:gd name="T76" fmla="*/ 29 w 65"/>
                <a:gd name="T77" fmla="*/ 98 h 100"/>
                <a:gd name="T78" fmla="*/ 40 w 65"/>
                <a:gd name="T79" fmla="*/ 96 h 100"/>
                <a:gd name="T80" fmla="*/ 65 w 65"/>
                <a:gd name="T81" fmla="*/ 84 h 100"/>
                <a:gd name="T82" fmla="*/ 65 w 65"/>
                <a:gd name="T83" fmla="*/ 84 h 100"/>
                <a:gd name="T84" fmla="*/ 61 w 65"/>
                <a:gd name="T85" fmla="*/ 6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5" h="100">
                  <a:moveTo>
                    <a:pt x="61" y="61"/>
                  </a:moveTo>
                  <a:lnTo>
                    <a:pt x="61" y="61"/>
                  </a:lnTo>
                  <a:lnTo>
                    <a:pt x="61" y="55"/>
                  </a:lnTo>
                  <a:lnTo>
                    <a:pt x="62" y="48"/>
                  </a:lnTo>
                  <a:lnTo>
                    <a:pt x="64" y="40"/>
                  </a:lnTo>
                  <a:lnTo>
                    <a:pt x="62" y="32"/>
                  </a:lnTo>
                  <a:lnTo>
                    <a:pt x="62" y="32"/>
                  </a:lnTo>
                  <a:lnTo>
                    <a:pt x="58" y="17"/>
                  </a:lnTo>
                  <a:lnTo>
                    <a:pt x="52" y="0"/>
                  </a:lnTo>
                  <a:lnTo>
                    <a:pt x="52" y="0"/>
                  </a:lnTo>
                  <a:lnTo>
                    <a:pt x="45" y="1"/>
                  </a:lnTo>
                  <a:lnTo>
                    <a:pt x="45" y="1"/>
                  </a:lnTo>
                  <a:lnTo>
                    <a:pt x="30" y="1"/>
                  </a:lnTo>
                  <a:lnTo>
                    <a:pt x="20" y="1"/>
                  </a:lnTo>
                  <a:lnTo>
                    <a:pt x="13" y="3"/>
                  </a:lnTo>
                  <a:lnTo>
                    <a:pt x="13" y="3"/>
                  </a:lnTo>
                  <a:lnTo>
                    <a:pt x="10" y="4"/>
                  </a:lnTo>
                  <a:lnTo>
                    <a:pt x="9" y="7"/>
                  </a:lnTo>
                  <a:lnTo>
                    <a:pt x="7" y="13"/>
                  </a:lnTo>
                  <a:lnTo>
                    <a:pt x="9" y="20"/>
                  </a:lnTo>
                  <a:lnTo>
                    <a:pt x="10" y="27"/>
                  </a:lnTo>
                  <a:lnTo>
                    <a:pt x="10" y="27"/>
                  </a:lnTo>
                  <a:lnTo>
                    <a:pt x="11" y="35"/>
                  </a:lnTo>
                  <a:lnTo>
                    <a:pt x="11" y="43"/>
                  </a:lnTo>
                  <a:lnTo>
                    <a:pt x="10" y="51"/>
                  </a:lnTo>
                  <a:lnTo>
                    <a:pt x="9" y="52"/>
                  </a:lnTo>
                  <a:lnTo>
                    <a:pt x="7" y="55"/>
                  </a:lnTo>
                  <a:lnTo>
                    <a:pt x="7" y="55"/>
                  </a:lnTo>
                  <a:lnTo>
                    <a:pt x="3" y="58"/>
                  </a:lnTo>
                  <a:lnTo>
                    <a:pt x="0" y="62"/>
                  </a:lnTo>
                  <a:lnTo>
                    <a:pt x="0" y="68"/>
                  </a:lnTo>
                  <a:lnTo>
                    <a:pt x="0" y="72"/>
                  </a:lnTo>
                  <a:lnTo>
                    <a:pt x="0" y="72"/>
                  </a:lnTo>
                  <a:lnTo>
                    <a:pt x="3" y="82"/>
                  </a:lnTo>
                  <a:lnTo>
                    <a:pt x="4" y="96"/>
                  </a:lnTo>
                  <a:lnTo>
                    <a:pt x="4" y="96"/>
                  </a:lnTo>
                  <a:lnTo>
                    <a:pt x="22" y="100"/>
                  </a:lnTo>
                  <a:lnTo>
                    <a:pt x="22" y="100"/>
                  </a:lnTo>
                  <a:lnTo>
                    <a:pt x="29" y="98"/>
                  </a:lnTo>
                  <a:lnTo>
                    <a:pt x="40" y="96"/>
                  </a:lnTo>
                  <a:lnTo>
                    <a:pt x="65" y="84"/>
                  </a:lnTo>
                  <a:lnTo>
                    <a:pt x="65" y="84"/>
                  </a:lnTo>
                  <a:lnTo>
                    <a:pt x="61" y="6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86" name="Freeform 1146"/>
            <p:cNvSpPr>
              <a:spLocks/>
            </p:cNvSpPr>
            <p:nvPr/>
          </p:nvSpPr>
          <p:spPr bwMode="auto">
            <a:xfrm>
              <a:off x="4283075" y="4534329"/>
              <a:ext cx="44450" cy="71438"/>
            </a:xfrm>
            <a:custGeom>
              <a:avLst/>
              <a:gdLst>
                <a:gd name="T0" fmla="*/ 23 w 28"/>
                <a:gd name="T1" fmla="*/ 45 h 45"/>
                <a:gd name="T2" fmla="*/ 23 w 28"/>
                <a:gd name="T3" fmla="*/ 45 h 45"/>
                <a:gd name="T4" fmla="*/ 21 w 28"/>
                <a:gd name="T5" fmla="*/ 42 h 45"/>
                <a:gd name="T6" fmla="*/ 18 w 28"/>
                <a:gd name="T7" fmla="*/ 40 h 45"/>
                <a:gd name="T8" fmla="*/ 16 w 28"/>
                <a:gd name="T9" fmla="*/ 37 h 45"/>
                <a:gd name="T10" fmla="*/ 18 w 28"/>
                <a:gd name="T11" fmla="*/ 35 h 45"/>
                <a:gd name="T12" fmla="*/ 18 w 28"/>
                <a:gd name="T13" fmla="*/ 35 h 45"/>
                <a:gd name="T14" fmla="*/ 21 w 28"/>
                <a:gd name="T15" fmla="*/ 34 h 45"/>
                <a:gd name="T16" fmla="*/ 22 w 28"/>
                <a:gd name="T17" fmla="*/ 31 h 45"/>
                <a:gd name="T18" fmla="*/ 22 w 28"/>
                <a:gd name="T19" fmla="*/ 28 h 45"/>
                <a:gd name="T20" fmla="*/ 21 w 28"/>
                <a:gd name="T21" fmla="*/ 24 h 45"/>
                <a:gd name="T22" fmla="*/ 21 w 28"/>
                <a:gd name="T23" fmla="*/ 24 h 45"/>
                <a:gd name="T24" fmla="*/ 16 w 28"/>
                <a:gd name="T25" fmla="*/ 16 h 45"/>
                <a:gd name="T26" fmla="*/ 15 w 28"/>
                <a:gd name="T27" fmla="*/ 13 h 45"/>
                <a:gd name="T28" fmla="*/ 10 w 28"/>
                <a:gd name="T29" fmla="*/ 12 h 45"/>
                <a:gd name="T30" fmla="*/ 10 w 28"/>
                <a:gd name="T31" fmla="*/ 12 h 45"/>
                <a:gd name="T32" fmla="*/ 3 w 28"/>
                <a:gd name="T33" fmla="*/ 12 h 45"/>
                <a:gd name="T34" fmla="*/ 0 w 28"/>
                <a:gd name="T35" fmla="*/ 11 h 45"/>
                <a:gd name="T36" fmla="*/ 0 w 28"/>
                <a:gd name="T37" fmla="*/ 9 h 45"/>
                <a:gd name="T38" fmla="*/ 0 w 28"/>
                <a:gd name="T39" fmla="*/ 9 h 45"/>
                <a:gd name="T40" fmla="*/ 3 w 28"/>
                <a:gd name="T41" fmla="*/ 9 h 45"/>
                <a:gd name="T42" fmla="*/ 6 w 28"/>
                <a:gd name="T43" fmla="*/ 9 h 45"/>
                <a:gd name="T44" fmla="*/ 7 w 28"/>
                <a:gd name="T45" fmla="*/ 8 h 45"/>
                <a:gd name="T46" fmla="*/ 9 w 28"/>
                <a:gd name="T47" fmla="*/ 8 h 45"/>
                <a:gd name="T48" fmla="*/ 9 w 28"/>
                <a:gd name="T49" fmla="*/ 8 h 45"/>
                <a:gd name="T50" fmla="*/ 7 w 28"/>
                <a:gd name="T51" fmla="*/ 5 h 45"/>
                <a:gd name="T52" fmla="*/ 5 w 28"/>
                <a:gd name="T53" fmla="*/ 2 h 45"/>
                <a:gd name="T54" fmla="*/ 3 w 28"/>
                <a:gd name="T55" fmla="*/ 0 h 45"/>
                <a:gd name="T56" fmla="*/ 7 w 28"/>
                <a:gd name="T57" fmla="*/ 0 h 45"/>
                <a:gd name="T58" fmla="*/ 7 w 28"/>
                <a:gd name="T59" fmla="*/ 0 h 45"/>
                <a:gd name="T60" fmla="*/ 13 w 28"/>
                <a:gd name="T61" fmla="*/ 2 h 45"/>
                <a:gd name="T62" fmla="*/ 18 w 28"/>
                <a:gd name="T63" fmla="*/ 6 h 45"/>
                <a:gd name="T64" fmla="*/ 25 w 28"/>
                <a:gd name="T65" fmla="*/ 15 h 45"/>
                <a:gd name="T66" fmla="*/ 25 w 28"/>
                <a:gd name="T67" fmla="*/ 15 h 45"/>
                <a:gd name="T68" fmla="*/ 26 w 28"/>
                <a:gd name="T69" fmla="*/ 19 h 45"/>
                <a:gd name="T70" fmla="*/ 28 w 28"/>
                <a:gd name="T71" fmla="*/ 25 h 45"/>
                <a:gd name="T72" fmla="*/ 26 w 28"/>
                <a:gd name="T73" fmla="*/ 34 h 45"/>
                <a:gd name="T74" fmla="*/ 26 w 28"/>
                <a:gd name="T75" fmla="*/ 34 h 45"/>
                <a:gd name="T76" fmla="*/ 28 w 28"/>
                <a:gd name="T77" fmla="*/ 42 h 45"/>
                <a:gd name="T78" fmla="*/ 28 w 28"/>
                <a:gd name="T79" fmla="*/ 45 h 45"/>
                <a:gd name="T80" fmla="*/ 26 w 28"/>
                <a:gd name="T81" fmla="*/ 45 h 45"/>
                <a:gd name="T82" fmla="*/ 23 w 28"/>
                <a:gd name="T8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 h="45">
                  <a:moveTo>
                    <a:pt x="23" y="45"/>
                  </a:moveTo>
                  <a:lnTo>
                    <a:pt x="23" y="45"/>
                  </a:lnTo>
                  <a:lnTo>
                    <a:pt x="21" y="42"/>
                  </a:lnTo>
                  <a:lnTo>
                    <a:pt x="18" y="40"/>
                  </a:lnTo>
                  <a:lnTo>
                    <a:pt x="16" y="37"/>
                  </a:lnTo>
                  <a:lnTo>
                    <a:pt x="18" y="35"/>
                  </a:lnTo>
                  <a:lnTo>
                    <a:pt x="18" y="35"/>
                  </a:lnTo>
                  <a:lnTo>
                    <a:pt x="21" y="34"/>
                  </a:lnTo>
                  <a:lnTo>
                    <a:pt x="22" y="31"/>
                  </a:lnTo>
                  <a:lnTo>
                    <a:pt x="22" y="28"/>
                  </a:lnTo>
                  <a:lnTo>
                    <a:pt x="21" y="24"/>
                  </a:lnTo>
                  <a:lnTo>
                    <a:pt x="21" y="24"/>
                  </a:lnTo>
                  <a:lnTo>
                    <a:pt x="16" y="16"/>
                  </a:lnTo>
                  <a:lnTo>
                    <a:pt x="15" y="13"/>
                  </a:lnTo>
                  <a:lnTo>
                    <a:pt x="10" y="12"/>
                  </a:lnTo>
                  <a:lnTo>
                    <a:pt x="10" y="12"/>
                  </a:lnTo>
                  <a:lnTo>
                    <a:pt x="3" y="12"/>
                  </a:lnTo>
                  <a:lnTo>
                    <a:pt x="0" y="11"/>
                  </a:lnTo>
                  <a:lnTo>
                    <a:pt x="0" y="9"/>
                  </a:lnTo>
                  <a:lnTo>
                    <a:pt x="0" y="9"/>
                  </a:lnTo>
                  <a:lnTo>
                    <a:pt x="3" y="9"/>
                  </a:lnTo>
                  <a:lnTo>
                    <a:pt x="6" y="9"/>
                  </a:lnTo>
                  <a:lnTo>
                    <a:pt x="7" y="8"/>
                  </a:lnTo>
                  <a:lnTo>
                    <a:pt x="9" y="8"/>
                  </a:lnTo>
                  <a:lnTo>
                    <a:pt x="9" y="8"/>
                  </a:lnTo>
                  <a:lnTo>
                    <a:pt x="7" y="5"/>
                  </a:lnTo>
                  <a:lnTo>
                    <a:pt x="5" y="2"/>
                  </a:lnTo>
                  <a:lnTo>
                    <a:pt x="3" y="0"/>
                  </a:lnTo>
                  <a:lnTo>
                    <a:pt x="7" y="0"/>
                  </a:lnTo>
                  <a:lnTo>
                    <a:pt x="7" y="0"/>
                  </a:lnTo>
                  <a:lnTo>
                    <a:pt x="13" y="2"/>
                  </a:lnTo>
                  <a:lnTo>
                    <a:pt x="18" y="6"/>
                  </a:lnTo>
                  <a:lnTo>
                    <a:pt x="25" y="15"/>
                  </a:lnTo>
                  <a:lnTo>
                    <a:pt x="25" y="15"/>
                  </a:lnTo>
                  <a:lnTo>
                    <a:pt x="26" y="19"/>
                  </a:lnTo>
                  <a:lnTo>
                    <a:pt x="28" y="25"/>
                  </a:lnTo>
                  <a:lnTo>
                    <a:pt x="26" y="34"/>
                  </a:lnTo>
                  <a:lnTo>
                    <a:pt x="26" y="34"/>
                  </a:lnTo>
                  <a:lnTo>
                    <a:pt x="28" y="42"/>
                  </a:lnTo>
                  <a:lnTo>
                    <a:pt x="28" y="45"/>
                  </a:lnTo>
                  <a:lnTo>
                    <a:pt x="26" y="45"/>
                  </a:lnTo>
                  <a:lnTo>
                    <a:pt x="23" y="4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87" name="Freeform 1147"/>
            <p:cNvSpPr>
              <a:spLocks/>
            </p:cNvSpPr>
            <p:nvPr/>
          </p:nvSpPr>
          <p:spPr bwMode="auto">
            <a:xfrm>
              <a:off x="4908551" y="2876979"/>
              <a:ext cx="111125" cy="93663"/>
            </a:xfrm>
            <a:custGeom>
              <a:avLst/>
              <a:gdLst>
                <a:gd name="T0" fmla="*/ 62 w 70"/>
                <a:gd name="T1" fmla="*/ 38 h 59"/>
                <a:gd name="T2" fmla="*/ 62 w 70"/>
                <a:gd name="T3" fmla="*/ 38 h 59"/>
                <a:gd name="T4" fmla="*/ 61 w 70"/>
                <a:gd name="T5" fmla="*/ 35 h 59"/>
                <a:gd name="T6" fmla="*/ 57 w 70"/>
                <a:gd name="T7" fmla="*/ 29 h 59"/>
                <a:gd name="T8" fmla="*/ 57 w 70"/>
                <a:gd name="T9" fmla="*/ 29 h 59"/>
                <a:gd name="T10" fmla="*/ 55 w 70"/>
                <a:gd name="T11" fmla="*/ 26 h 59"/>
                <a:gd name="T12" fmla="*/ 55 w 70"/>
                <a:gd name="T13" fmla="*/ 22 h 59"/>
                <a:gd name="T14" fmla="*/ 57 w 70"/>
                <a:gd name="T15" fmla="*/ 19 h 59"/>
                <a:gd name="T16" fmla="*/ 60 w 70"/>
                <a:gd name="T17" fmla="*/ 17 h 59"/>
                <a:gd name="T18" fmla="*/ 60 w 70"/>
                <a:gd name="T19" fmla="*/ 17 h 59"/>
                <a:gd name="T20" fmla="*/ 62 w 70"/>
                <a:gd name="T21" fmla="*/ 17 h 59"/>
                <a:gd name="T22" fmla="*/ 67 w 70"/>
                <a:gd name="T23" fmla="*/ 19 h 59"/>
                <a:gd name="T24" fmla="*/ 67 w 70"/>
                <a:gd name="T25" fmla="*/ 19 h 59"/>
                <a:gd name="T26" fmla="*/ 70 w 70"/>
                <a:gd name="T27" fmla="*/ 2 h 59"/>
                <a:gd name="T28" fmla="*/ 70 w 70"/>
                <a:gd name="T29" fmla="*/ 2 h 59"/>
                <a:gd name="T30" fmla="*/ 64 w 70"/>
                <a:gd name="T31" fmla="*/ 2 h 59"/>
                <a:gd name="T32" fmla="*/ 64 w 70"/>
                <a:gd name="T33" fmla="*/ 2 h 59"/>
                <a:gd name="T34" fmla="*/ 45 w 70"/>
                <a:gd name="T35" fmla="*/ 2 h 59"/>
                <a:gd name="T36" fmla="*/ 26 w 70"/>
                <a:gd name="T37" fmla="*/ 0 h 59"/>
                <a:gd name="T38" fmla="*/ 26 w 70"/>
                <a:gd name="T39" fmla="*/ 0 h 59"/>
                <a:gd name="T40" fmla="*/ 19 w 70"/>
                <a:gd name="T41" fmla="*/ 2 h 59"/>
                <a:gd name="T42" fmla="*/ 10 w 70"/>
                <a:gd name="T43" fmla="*/ 6 h 59"/>
                <a:gd name="T44" fmla="*/ 3 w 70"/>
                <a:gd name="T45" fmla="*/ 10 h 59"/>
                <a:gd name="T46" fmla="*/ 2 w 70"/>
                <a:gd name="T47" fmla="*/ 13 h 59"/>
                <a:gd name="T48" fmla="*/ 0 w 70"/>
                <a:gd name="T49" fmla="*/ 16 h 59"/>
                <a:gd name="T50" fmla="*/ 0 w 70"/>
                <a:gd name="T51" fmla="*/ 16 h 59"/>
                <a:gd name="T52" fmla="*/ 2 w 70"/>
                <a:gd name="T53" fmla="*/ 22 h 59"/>
                <a:gd name="T54" fmla="*/ 3 w 70"/>
                <a:gd name="T55" fmla="*/ 28 h 59"/>
                <a:gd name="T56" fmla="*/ 6 w 70"/>
                <a:gd name="T57" fmla="*/ 32 h 59"/>
                <a:gd name="T58" fmla="*/ 9 w 70"/>
                <a:gd name="T59" fmla="*/ 36 h 59"/>
                <a:gd name="T60" fmla="*/ 9 w 70"/>
                <a:gd name="T61" fmla="*/ 36 h 59"/>
                <a:gd name="T62" fmla="*/ 12 w 70"/>
                <a:gd name="T63" fmla="*/ 39 h 59"/>
                <a:gd name="T64" fmla="*/ 13 w 70"/>
                <a:gd name="T65" fmla="*/ 42 h 59"/>
                <a:gd name="T66" fmla="*/ 15 w 70"/>
                <a:gd name="T67" fmla="*/ 52 h 59"/>
                <a:gd name="T68" fmla="*/ 15 w 70"/>
                <a:gd name="T69" fmla="*/ 52 h 59"/>
                <a:gd name="T70" fmla="*/ 26 w 70"/>
                <a:gd name="T71" fmla="*/ 51 h 59"/>
                <a:gd name="T72" fmla="*/ 26 w 70"/>
                <a:gd name="T73" fmla="*/ 51 h 59"/>
                <a:gd name="T74" fmla="*/ 31 w 70"/>
                <a:gd name="T75" fmla="*/ 51 h 59"/>
                <a:gd name="T76" fmla="*/ 35 w 70"/>
                <a:gd name="T77" fmla="*/ 52 h 59"/>
                <a:gd name="T78" fmla="*/ 39 w 70"/>
                <a:gd name="T79" fmla="*/ 55 h 59"/>
                <a:gd name="T80" fmla="*/ 45 w 70"/>
                <a:gd name="T81" fmla="*/ 58 h 59"/>
                <a:gd name="T82" fmla="*/ 45 w 70"/>
                <a:gd name="T83" fmla="*/ 58 h 59"/>
                <a:gd name="T84" fmla="*/ 55 w 70"/>
                <a:gd name="T85" fmla="*/ 59 h 59"/>
                <a:gd name="T86" fmla="*/ 70 w 70"/>
                <a:gd name="T87" fmla="*/ 59 h 59"/>
                <a:gd name="T88" fmla="*/ 70 w 70"/>
                <a:gd name="T89" fmla="*/ 59 h 59"/>
                <a:gd name="T90" fmla="*/ 70 w 70"/>
                <a:gd name="T91" fmla="*/ 59 h 59"/>
                <a:gd name="T92" fmla="*/ 67 w 70"/>
                <a:gd name="T93" fmla="*/ 36 h 59"/>
                <a:gd name="T94" fmla="*/ 67 w 70"/>
                <a:gd name="T95" fmla="*/ 36 h 59"/>
                <a:gd name="T96" fmla="*/ 64 w 70"/>
                <a:gd name="T97" fmla="*/ 38 h 59"/>
                <a:gd name="T98" fmla="*/ 62 w 70"/>
                <a:gd name="T99" fmla="*/ 3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 h="59">
                  <a:moveTo>
                    <a:pt x="62" y="38"/>
                  </a:moveTo>
                  <a:lnTo>
                    <a:pt x="62" y="38"/>
                  </a:lnTo>
                  <a:lnTo>
                    <a:pt x="61" y="35"/>
                  </a:lnTo>
                  <a:lnTo>
                    <a:pt x="57" y="29"/>
                  </a:lnTo>
                  <a:lnTo>
                    <a:pt x="57" y="29"/>
                  </a:lnTo>
                  <a:lnTo>
                    <a:pt x="55" y="26"/>
                  </a:lnTo>
                  <a:lnTo>
                    <a:pt x="55" y="22"/>
                  </a:lnTo>
                  <a:lnTo>
                    <a:pt x="57" y="19"/>
                  </a:lnTo>
                  <a:lnTo>
                    <a:pt x="60" y="17"/>
                  </a:lnTo>
                  <a:lnTo>
                    <a:pt x="60" y="17"/>
                  </a:lnTo>
                  <a:lnTo>
                    <a:pt x="62" y="17"/>
                  </a:lnTo>
                  <a:lnTo>
                    <a:pt x="67" y="19"/>
                  </a:lnTo>
                  <a:lnTo>
                    <a:pt x="67" y="19"/>
                  </a:lnTo>
                  <a:lnTo>
                    <a:pt x="70" y="2"/>
                  </a:lnTo>
                  <a:lnTo>
                    <a:pt x="70" y="2"/>
                  </a:lnTo>
                  <a:lnTo>
                    <a:pt x="64" y="2"/>
                  </a:lnTo>
                  <a:lnTo>
                    <a:pt x="64" y="2"/>
                  </a:lnTo>
                  <a:lnTo>
                    <a:pt x="45" y="2"/>
                  </a:lnTo>
                  <a:lnTo>
                    <a:pt x="26" y="0"/>
                  </a:lnTo>
                  <a:lnTo>
                    <a:pt x="26" y="0"/>
                  </a:lnTo>
                  <a:lnTo>
                    <a:pt x="19" y="2"/>
                  </a:lnTo>
                  <a:lnTo>
                    <a:pt x="10" y="6"/>
                  </a:lnTo>
                  <a:lnTo>
                    <a:pt x="3" y="10"/>
                  </a:lnTo>
                  <a:lnTo>
                    <a:pt x="2" y="13"/>
                  </a:lnTo>
                  <a:lnTo>
                    <a:pt x="0" y="16"/>
                  </a:lnTo>
                  <a:lnTo>
                    <a:pt x="0" y="16"/>
                  </a:lnTo>
                  <a:lnTo>
                    <a:pt x="2" y="22"/>
                  </a:lnTo>
                  <a:lnTo>
                    <a:pt x="3" y="28"/>
                  </a:lnTo>
                  <a:lnTo>
                    <a:pt x="6" y="32"/>
                  </a:lnTo>
                  <a:lnTo>
                    <a:pt x="9" y="36"/>
                  </a:lnTo>
                  <a:lnTo>
                    <a:pt x="9" y="36"/>
                  </a:lnTo>
                  <a:lnTo>
                    <a:pt x="12" y="39"/>
                  </a:lnTo>
                  <a:lnTo>
                    <a:pt x="13" y="42"/>
                  </a:lnTo>
                  <a:lnTo>
                    <a:pt x="15" y="52"/>
                  </a:lnTo>
                  <a:lnTo>
                    <a:pt x="15" y="52"/>
                  </a:lnTo>
                  <a:lnTo>
                    <a:pt x="26" y="51"/>
                  </a:lnTo>
                  <a:lnTo>
                    <a:pt x="26" y="51"/>
                  </a:lnTo>
                  <a:lnTo>
                    <a:pt x="31" y="51"/>
                  </a:lnTo>
                  <a:lnTo>
                    <a:pt x="35" y="52"/>
                  </a:lnTo>
                  <a:lnTo>
                    <a:pt x="39" y="55"/>
                  </a:lnTo>
                  <a:lnTo>
                    <a:pt x="45" y="58"/>
                  </a:lnTo>
                  <a:lnTo>
                    <a:pt x="45" y="58"/>
                  </a:lnTo>
                  <a:lnTo>
                    <a:pt x="55" y="59"/>
                  </a:lnTo>
                  <a:lnTo>
                    <a:pt x="70" y="59"/>
                  </a:lnTo>
                  <a:lnTo>
                    <a:pt x="70" y="59"/>
                  </a:lnTo>
                  <a:lnTo>
                    <a:pt x="70" y="59"/>
                  </a:lnTo>
                  <a:lnTo>
                    <a:pt x="67" y="36"/>
                  </a:lnTo>
                  <a:lnTo>
                    <a:pt x="67" y="36"/>
                  </a:lnTo>
                  <a:lnTo>
                    <a:pt x="64" y="38"/>
                  </a:lnTo>
                  <a:lnTo>
                    <a:pt x="62" y="38"/>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88" name="Freeform 1148"/>
            <p:cNvSpPr>
              <a:spLocks/>
            </p:cNvSpPr>
            <p:nvPr/>
          </p:nvSpPr>
          <p:spPr bwMode="auto">
            <a:xfrm>
              <a:off x="4908551" y="2876979"/>
              <a:ext cx="111125" cy="93663"/>
            </a:xfrm>
            <a:custGeom>
              <a:avLst/>
              <a:gdLst>
                <a:gd name="T0" fmla="*/ 62 w 70"/>
                <a:gd name="T1" fmla="*/ 38 h 59"/>
                <a:gd name="T2" fmla="*/ 62 w 70"/>
                <a:gd name="T3" fmla="*/ 38 h 59"/>
                <a:gd name="T4" fmla="*/ 61 w 70"/>
                <a:gd name="T5" fmla="*/ 35 h 59"/>
                <a:gd name="T6" fmla="*/ 57 w 70"/>
                <a:gd name="T7" fmla="*/ 29 h 59"/>
                <a:gd name="T8" fmla="*/ 57 w 70"/>
                <a:gd name="T9" fmla="*/ 29 h 59"/>
                <a:gd name="T10" fmla="*/ 55 w 70"/>
                <a:gd name="T11" fmla="*/ 26 h 59"/>
                <a:gd name="T12" fmla="*/ 55 w 70"/>
                <a:gd name="T13" fmla="*/ 22 h 59"/>
                <a:gd name="T14" fmla="*/ 57 w 70"/>
                <a:gd name="T15" fmla="*/ 19 h 59"/>
                <a:gd name="T16" fmla="*/ 60 w 70"/>
                <a:gd name="T17" fmla="*/ 17 h 59"/>
                <a:gd name="T18" fmla="*/ 60 w 70"/>
                <a:gd name="T19" fmla="*/ 17 h 59"/>
                <a:gd name="T20" fmla="*/ 62 w 70"/>
                <a:gd name="T21" fmla="*/ 17 h 59"/>
                <a:gd name="T22" fmla="*/ 67 w 70"/>
                <a:gd name="T23" fmla="*/ 19 h 59"/>
                <a:gd name="T24" fmla="*/ 67 w 70"/>
                <a:gd name="T25" fmla="*/ 19 h 59"/>
                <a:gd name="T26" fmla="*/ 70 w 70"/>
                <a:gd name="T27" fmla="*/ 2 h 59"/>
                <a:gd name="T28" fmla="*/ 70 w 70"/>
                <a:gd name="T29" fmla="*/ 2 h 59"/>
                <a:gd name="T30" fmla="*/ 64 w 70"/>
                <a:gd name="T31" fmla="*/ 2 h 59"/>
                <a:gd name="T32" fmla="*/ 64 w 70"/>
                <a:gd name="T33" fmla="*/ 2 h 59"/>
                <a:gd name="T34" fmla="*/ 45 w 70"/>
                <a:gd name="T35" fmla="*/ 2 h 59"/>
                <a:gd name="T36" fmla="*/ 26 w 70"/>
                <a:gd name="T37" fmla="*/ 0 h 59"/>
                <a:gd name="T38" fmla="*/ 26 w 70"/>
                <a:gd name="T39" fmla="*/ 0 h 59"/>
                <a:gd name="T40" fmla="*/ 19 w 70"/>
                <a:gd name="T41" fmla="*/ 2 h 59"/>
                <a:gd name="T42" fmla="*/ 10 w 70"/>
                <a:gd name="T43" fmla="*/ 6 h 59"/>
                <a:gd name="T44" fmla="*/ 3 w 70"/>
                <a:gd name="T45" fmla="*/ 10 h 59"/>
                <a:gd name="T46" fmla="*/ 2 w 70"/>
                <a:gd name="T47" fmla="*/ 13 h 59"/>
                <a:gd name="T48" fmla="*/ 0 w 70"/>
                <a:gd name="T49" fmla="*/ 16 h 59"/>
                <a:gd name="T50" fmla="*/ 0 w 70"/>
                <a:gd name="T51" fmla="*/ 16 h 59"/>
                <a:gd name="T52" fmla="*/ 2 w 70"/>
                <a:gd name="T53" fmla="*/ 22 h 59"/>
                <a:gd name="T54" fmla="*/ 3 w 70"/>
                <a:gd name="T55" fmla="*/ 28 h 59"/>
                <a:gd name="T56" fmla="*/ 6 w 70"/>
                <a:gd name="T57" fmla="*/ 32 h 59"/>
                <a:gd name="T58" fmla="*/ 9 w 70"/>
                <a:gd name="T59" fmla="*/ 36 h 59"/>
                <a:gd name="T60" fmla="*/ 9 w 70"/>
                <a:gd name="T61" fmla="*/ 36 h 59"/>
                <a:gd name="T62" fmla="*/ 12 w 70"/>
                <a:gd name="T63" fmla="*/ 39 h 59"/>
                <a:gd name="T64" fmla="*/ 13 w 70"/>
                <a:gd name="T65" fmla="*/ 42 h 59"/>
                <a:gd name="T66" fmla="*/ 15 w 70"/>
                <a:gd name="T67" fmla="*/ 52 h 59"/>
                <a:gd name="T68" fmla="*/ 15 w 70"/>
                <a:gd name="T69" fmla="*/ 52 h 59"/>
                <a:gd name="T70" fmla="*/ 26 w 70"/>
                <a:gd name="T71" fmla="*/ 51 h 59"/>
                <a:gd name="T72" fmla="*/ 26 w 70"/>
                <a:gd name="T73" fmla="*/ 51 h 59"/>
                <a:gd name="T74" fmla="*/ 31 w 70"/>
                <a:gd name="T75" fmla="*/ 51 h 59"/>
                <a:gd name="T76" fmla="*/ 35 w 70"/>
                <a:gd name="T77" fmla="*/ 52 h 59"/>
                <a:gd name="T78" fmla="*/ 39 w 70"/>
                <a:gd name="T79" fmla="*/ 55 h 59"/>
                <a:gd name="T80" fmla="*/ 45 w 70"/>
                <a:gd name="T81" fmla="*/ 58 h 59"/>
                <a:gd name="T82" fmla="*/ 45 w 70"/>
                <a:gd name="T83" fmla="*/ 58 h 59"/>
                <a:gd name="T84" fmla="*/ 55 w 70"/>
                <a:gd name="T85" fmla="*/ 59 h 59"/>
                <a:gd name="T86" fmla="*/ 70 w 70"/>
                <a:gd name="T87" fmla="*/ 59 h 59"/>
                <a:gd name="T88" fmla="*/ 70 w 70"/>
                <a:gd name="T89" fmla="*/ 59 h 59"/>
                <a:gd name="T90" fmla="*/ 70 w 70"/>
                <a:gd name="T91" fmla="*/ 59 h 59"/>
                <a:gd name="T92" fmla="*/ 67 w 70"/>
                <a:gd name="T93" fmla="*/ 36 h 59"/>
                <a:gd name="T94" fmla="*/ 67 w 70"/>
                <a:gd name="T95" fmla="*/ 36 h 59"/>
                <a:gd name="T96" fmla="*/ 64 w 70"/>
                <a:gd name="T97" fmla="*/ 38 h 59"/>
                <a:gd name="T98" fmla="*/ 62 w 70"/>
                <a:gd name="T99" fmla="*/ 3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 h="59">
                  <a:moveTo>
                    <a:pt x="62" y="38"/>
                  </a:moveTo>
                  <a:lnTo>
                    <a:pt x="62" y="38"/>
                  </a:lnTo>
                  <a:lnTo>
                    <a:pt x="61" y="35"/>
                  </a:lnTo>
                  <a:lnTo>
                    <a:pt x="57" y="29"/>
                  </a:lnTo>
                  <a:lnTo>
                    <a:pt x="57" y="29"/>
                  </a:lnTo>
                  <a:lnTo>
                    <a:pt x="55" y="26"/>
                  </a:lnTo>
                  <a:lnTo>
                    <a:pt x="55" y="22"/>
                  </a:lnTo>
                  <a:lnTo>
                    <a:pt x="57" y="19"/>
                  </a:lnTo>
                  <a:lnTo>
                    <a:pt x="60" y="17"/>
                  </a:lnTo>
                  <a:lnTo>
                    <a:pt x="60" y="17"/>
                  </a:lnTo>
                  <a:lnTo>
                    <a:pt x="62" y="17"/>
                  </a:lnTo>
                  <a:lnTo>
                    <a:pt x="67" y="19"/>
                  </a:lnTo>
                  <a:lnTo>
                    <a:pt x="67" y="19"/>
                  </a:lnTo>
                  <a:lnTo>
                    <a:pt x="70" y="2"/>
                  </a:lnTo>
                  <a:lnTo>
                    <a:pt x="70" y="2"/>
                  </a:lnTo>
                  <a:lnTo>
                    <a:pt x="64" y="2"/>
                  </a:lnTo>
                  <a:lnTo>
                    <a:pt x="64" y="2"/>
                  </a:lnTo>
                  <a:lnTo>
                    <a:pt x="45" y="2"/>
                  </a:lnTo>
                  <a:lnTo>
                    <a:pt x="26" y="0"/>
                  </a:lnTo>
                  <a:lnTo>
                    <a:pt x="26" y="0"/>
                  </a:lnTo>
                  <a:lnTo>
                    <a:pt x="19" y="2"/>
                  </a:lnTo>
                  <a:lnTo>
                    <a:pt x="10" y="6"/>
                  </a:lnTo>
                  <a:lnTo>
                    <a:pt x="3" y="10"/>
                  </a:lnTo>
                  <a:lnTo>
                    <a:pt x="2" y="13"/>
                  </a:lnTo>
                  <a:lnTo>
                    <a:pt x="0" y="16"/>
                  </a:lnTo>
                  <a:lnTo>
                    <a:pt x="0" y="16"/>
                  </a:lnTo>
                  <a:lnTo>
                    <a:pt x="2" y="22"/>
                  </a:lnTo>
                  <a:lnTo>
                    <a:pt x="3" y="28"/>
                  </a:lnTo>
                  <a:lnTo>
                    <a:pt x="6" y="32"/>
                  </a:lnTo>
                  <a:lnTo>
                    <a:pt x="9" y="36"/>
                  </a:lnTo>
                  <a:lnTo>
                    <a:pt x="9" y="36"/>
                  </a:lnTo>
                  <a:lnTo>
                    <a:pt x="12" y="39"/>
                  </a:lnTo>
                  <a:lnTo>
                    <a:pt x="13" y="42"/>
                  </a:lnTo>
                  <a:lnTo>
                    <a:pt x="15" y="52"/>
                  </a:lnTo>
                  <a:lnTo>
                    <a:pt x="15" y="52"/>
                  </a:lnTo>
                  <a:lnTo>
                    <a:pt x="26" y="51"/>
                  </a:lnTo>
                  <a:lnTo>
                    <a:pt x="26" y="51"/>
                  </a:lnTo>
                  <a:lnTo>
                    <a:pt x="31" y="51"/>
                  </a:lnTo>
                  <a:lnTo>
                    <a:pt x="35" y="52"/>
                  </a:lnTo>
                  <a:lnTo>
                    <a:pt x="39" y="55"/>
                  </a:lnTo>
                  <a:lnTo>
                    <a:pt x="45" y="58"/>
                  </a:lnTo>
                  <a:lnTo>
                    <a:pt x="45" y="58"/>
                  </a:lnTo>
                  <a:lnTo>
                    <a:pt x="55" y="59"/>
                  </a:lnTo>
                  <a:lnTo>
                    <a:pt x="70" y="59"/>
                  </a:lnTo>
                  <a:lnTo>
                    <a:pt x="70" y="59"/>
                  </a:lnTo>
                  <a:lnTo>
                    <a:pt x="70" y="59"/>
                  </a:lnTo>
                  <a:lnTo>
                    <a:pt x="67" y="36"/>
                  </a:lnTo>
                  <a:lnTo>
                    <a:pt x="67" y="36"/>
                  </a:lnTo>
                  <a:lnTo>
                    <a:pt x="64" y="38"/>
                  </a:lnTo>
                  <a:lnTo>
                    <a:pt x="62" y="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89" name="Freeform 1149"/>
            <p:cNvSpPr>
              <a:spLocks noEditPoints="1"/>
            </p:cNvSpPr>
            <p:nvPr/>
          </p:nvSpPr>
          <p:spPr bwMode="auto">
            <a:xfrm>
              <a:off x="4586288" y="2318179"/>
              <a:ext cx="338138" cy="758825"/>
            </a:xfrm>
            <a:custGeom>
              <a:avLst/>
              <a:gdLst>
                <a:gd name="T0" fmla="*/ 209 w 213"/>
                <a:gd name="T1" fmla="*/ 102 h 478"/>
                <a:gd name="T2" fmla="*/ 206 w 213"/>
                <a:gd name="T3" fmla="*/ 78 h 478"/>
                <a:gd name="T4" fmla="*/ 203 w 213"/>
                <a:gd name="T5" fmla="*/ 58 h 478"/>
                <a:gd name="T6" fmla="*/ 202 w 213"/>
                <a:gd name="T7" fmla="*/ 39 h 478"/>
                <a:gd name="T8" fmla="*/ 171 w 213"/>
                <a:gd name="T9" fmla="*/ 7 h 478"/>
                <a:gd name="T10" fmla="*/ 148 w 213"/>
                <a:gd name="T11" fmla="*/ 20 h 478"/>
                <a:gd name="T12" fmla="*/ 116 w 213"/>
                <a:gd name="T13" fmla="*/ 18 h 478"/>
                <a:gd name="T14" fmla="*/ 115 w 213"/>
                <a:gd name="T15" fmla="*/ 38 h 478"/>
                <a:gd name="T16" fmla="*/ 100 w 213"/>
                <a:gd name="T17" fmla="*/ 38 h 478"/>
                <a:gd name="T18" fmla="*/ 84 w 213"/>
                <a:gd name="T19" fmla="*/ 68 h 478"/>
                <a:gd name="T20" fmla="*/ 68 w 213"/>
                <a:gd name="T21" fmla="*/ 116 h 478"/>
                <a:gd name="T22" fmla="*/ 57 w 213"/>
                <a:gd name="T23" fmla="*/ 136 h 478"/>
                <a:gd name="T24" fmla="*/ 51 w 213"/>
                <a:gd name="T25" fmla="*/ 171 h 478"/>
                <a:gd name="T26" fmla="*/ 38 w 213"/>
                <a:gd name="T27" fmla="*/ 193 h 478"/>
                <a:gd name="T28" fmla="*/ 24 w 213"/>
                <a:gd name="T29" fmla="*/ 225 h 478"/>
                <a:gd name="T30" fmla="*/ 32 w 213"/>
                <a:gd name="T31" fmla="*/ 299 h 478"/>
                <a:gd name="T32" fmla="*/ 26 w 213"/>
                <a:gd name="T33" fmla="*/ 309 h 478"/>
                <a:gd name="T34" fmla="*/ 26 w 213"/>
                <a:gd name="T35" fmla="*/ 335 h 478"/>
                <a:gd name="T36" fmla="*/ 16 w 213"/>
                <a:gd name="T37" fmla="*/ 367 h 478"/>
                <a:gd name="T38" fmla="*/ 0 w 213"/>
                <a:gd name="T39" fmla="*/ 368 h 478"/>
                <a:gd name="T40" fmla="*/ 6 w 213"/>
                <a:gd name="T41" fmla="*/ 394 h 478"/>
                <a:gd name="T42" fmla="*/ 16 w 213"/>
                <a:gd name="T43" fmla="*/ 394 h 478"/>
                <a:gd name="T44" fmla="*/ 15 w 213"/>
                <a:gd name="T45" fmla="*/ 420 h 478"/>
                <a:gd name="T46" fmla="*/ 31 w 213"/>
                <a:gd name="T47" fmla="*/ 456 h 478"/>
                <a:gd name="T48" fmla="*/ 29 w 213"/>
                <a:gd name="T49" fmla="*/ 474 h 478"/>
                <a:gd name="T50" fmla="*/ 54 w 213"/>
                <a:gd name="T51" fmla="*/ 475 h 478"/>
                <a:gd name="T52" fmla="*/ 64 w 213"/>
                <a:gd name="T53" fmla="*/ 456 h 478"/>
                <a:gd name="T54" fmla="*/ 83 w 213"/>
                <a:gd name="T55" fmla="*/ 449 h 478"/>
                <a:gd name="T56" fmla="*/ 95 w 213"/>
                <a:gd name="T57" fmla="*/ 396 h 478"/>
                <a:gd name="T58" fmla="*/ 112 w 213"/>
                <a:gd name="T59" fmla="*/ 371 h 478"/>
                <a:gd name="T60" fmla="*/ 121 w 213"/>
                <a:gd name="T61" fmla="*/ 358 h 478"/>
                <a:gd name="T62" fmla="*/ 128 w 213"/>
                <a:gd name="T63" fmla="*/ 336 h 478"/>
                <a:gd name="T64" fmla="*/ 110 w 213"/>
                <a:gd name="T65" fmla="*/ 319 h 478"/>
                <a:gd name="T66" fmla="*/ 97 w 213"/>
                <a:gd name="T67" fmla="*/ 301 h 478"/>
                <a:gd name="T68" fmla="*/ 105 w 213"/>
                <a:gd name="T69" fmla="*/ 275 h 478"/>
                <a:gd name="T70" fmla="*/ 99 w 213"/>
                <a:gd name="T71" fmla="*/ 251 h 478"/>
                <a:gd name="T72" fmla="*/ 110 w 213"/>
                <a:gd name="T73" fmla="*/ 254 h 478"/>
                <a:gd name="T74" fmla="*/ 131 w 213"/>
                <a:gd name="T75" fmla="*/ 217 h 478"/>
                <a:gd name="T76" fmla="*/ 154 w 213"/>
                <a:gd name="T77" fmla="*/ 204 h 478"/>
                <a:gd name="T78" fmla="*/ 171 w 213"/>
                <a:gd name="T79" fmla="*/ 180 h 478"/>
                <a:gd name="T80" fmla="*/ 164 w 213"/>
                <a:gd name="T81" fmla="*/ 164 h 478"/>
                <a:gd name="T82" fmla="*/ 171 w 213"/>
                <a:gd name="T83" fmla="*/ 152 h 478"/>
                <a:gd name="T84" fmla="*/ 181 w 213"/>
                <a:gd name="T85" fmla="*/ 138 h 478"/>
                <a:gd name="T86" fmla="*/ 196 w 213"/>
                <a:gd name="T87" fmla="*/ 135 h 478"/>
                <a:gd name="T88" fmla="*/ 38 w 213"/>
                <a:gd name="T89" fmla="*/ 383 h 478"/>
                <a:gd name="T90" fmla="*/ 28 w 213"/>
                <a:gd name="T91" fmla="*/ 385 h 478"/>
                <a:gd name="T92" fmla="*/ 29 w 213"/>
                <a:gd name="T93" fmla="*/ 368 h 478"/>
                <a:gd name="T94" fmla="*/ 37 w 213"/>
                <a:gd name="T95" fmla="*/ 371 h 478"/>
                <a:gd name="T96" fmla="*/ 45 w 213"/>
                <a:gd name="T97" fmla="*/ 361 h 478"/>
                <a:gd name="T98" fmla="*/ 51 w 213"/>
                <a:gd name="T99" fmla="*/ 374 h 478"/>
                <a:gd name="T100" fmla="*/ 66 w 213"/>
                <a:gd name="T101" fmla="*/ 388 h 478"/>
                <a:gd name="T102" fmla="*/ 53 w 213"/>
                <a:gd name="T103" fmla="*/ 400 h 478"/>
                <a:gd name="T104" fmla="*/ 64 w 213"/>
                <a:gd name="T105" fmla="*/ 378 h 478"/>
                <a:gd name="T106" fmla="*/ 105 w 213"/>
                <a:gd name="T107" fmla="*/ 355 h 478"/>
                <a:gd name="T108" fmla="*/ 112 w 213"/>
                <a:gd name="T109" fmla="*/ 355 h 478"/>
                <a:gd name="T110" fmla="*/ 103 w 213"/>
                <a:gd name="T111" fmla="*/ 359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3" h="478">
                  <a:moveTo>
                    <a:pt x="208" y="117"/>
                  </a:moveTo>
                  <a:lnTo>
                    <a:pt x="208" y="117"/>
                  </a:lnTo>
                  <a:lnTo>
                    <a:pt x="208" y="115"/>
                  </a:lnTo>
                  <a:lnTo>
                    <a:pt x="206" y="112"/>
                  </a:lnTo>
                  <a:lnTo>
                    <a:pt x="206" y="112"/>
                  </a:lnTo>
                  <a:lnTo>
                    <a:pt x="209" y="102"/>
                  </a:lnTo>
                  <a:lnTo>
                    <a:pt x="212" y="96"/>
                  </a:lnTo>
                  <a:lnTo>
                    <a:pt x="213" y="90"/>
                  </a:lnTo>
                  <a:lnTo>
                    <a:pt x="213" y="90"/>
                  </a:lnTo>
                  <a:lnTo>
                    <a:pt x="212" y="86"/>
                  </a:lnTo>
                  <a:lnTo>
                    <a:pt x="209" y="81"/>
                  </a:lnTo>
                  <a:lnTo>
                    <a:pt x="206" y="78"/>
                  </a:lnTo>
                  <a:lnTo>
                    <a:pt x="205" y="74"/>
                  </a:lnTo>
                  <a:lnTo>
                    <a:pt x="205" y="74"/>
                  </a:lnTo>
                  <a:lnTo>
                    <a:pt x="206" y="68"/>
                  </a:lnTo>
                  <a:lnTo>
                    <a:pt x="205" y="64"/>
                  </a:lnTo>
                  <a:lnTo>
                    <a:pt x="205" y="64"/>
                  </a:lnTo>
                  <a:lnTo>
                    <a:pt x="203" y="58"/>
                  </a:lnTo>
                  <a:lnTo>
                    <a:pt x="203" y="52"/>
                  </a:lnTo>
                  <a:lnTo>
                    <a:pt x="203" y="52"/>
                  </a:lnTo>
                  <a:lnTo>
                    <a:pt x="203" y="46"/>
                  </a:lnTo>
                  <a:lnTo>
                    <a:pt x="203" y="44"/>
                  </a:lnTo>
                  <a:lnTo>
                    <a:pt x="202" y="39"/>
                  </a:lnTo>
                  <a:lnTo>
                    <a:pt x="202" y="39"/>
                  </a:lnTo>
                  <a:lnTo>
                    <a:pt x="194" y="28"/>
                  </a:lnTo>
                  <a:lnTo>
                    <a:pt x="192" y="22"/>
                  </a:lnTo>
                  <a:lnTo>
                    <a:pt x="187" y="18"/>
                  </a:lnTo>
                  <a:lnTo>
                    <a:pt x="187" y="18"/>
                  </a:lnTo>
                  <a:lnTo>
                    <a:pt x="180" y="13"/>
                  </a:lnTo>
                  <a:lnTo>
                    <a:pt x="171" y="7"/>
                  </a:lnTo>
                  <a:lnTo>
                    <a:pt x="171" y="7"/>
                  </a:lnTo>
                  <a:lnTo>
                    <a:pt x="163" y="4"/>
                  </a:lnTo>
                  <a:lnTo>
                    <a:pt x="150" y="0"/>
                  </a:lnTo>
                  <a:lnTo>
                    <a:pt x="150" y="0"/>
                  </a:lnTo>
                  <a:lnTo>
                    <a:pt x="150" y="15"/>
                  </a:lnTo>
                  <a:lnTo>
                    <a:pt x="148" y="20"/>
                  </a:lnTo>
                  <a:lnTo>
                    <a:pt x="147" y="22"/>
                  </a:lnTo>
                  <a:lnTo>
                    <a:pt x="145" y="23"/>
                  </a:lnTo>
                  <a:lnTo>
                    <a:pt x="145" y="23"/>
                  </a:lnTo>
                  <a:lnTo>
                    <a:pt x="129" y="19"/>
                  </a:lnTo>
                  <a:lnTo>
                    <a:pt x="122" y="16"/>
                  </a:lnTo>
                  <a:lnTo>
                    <a:pt x="116" y="18"/>
                  </a:lnTo>
                  <a:lnTo>
                    <a:pt x="116" y="18"/>
                  </a:lnTo>
                  <a:lnTo>
                    <a:pt x="116" y="19"/>
                  </a:lnTo>
                  <a:lnTo>
                    <a:pt x="116" y="22"/>
                  </a:lnTo>
                  <a:lnTo>
                    <a:pt x="116" y="28"/>
                  </a:lnTo>
                  <a:lnTo>
                    <a:pt x="116" y="35"/>
                  </a:lnTo>
                  <a:lnTo>
                    <a:pt x="115" y="38"/>
                  </a:lnTo>
                  <a:lnTo>
                    <a:pt x="112" y="38"/>
                  </a:lnTo>
                  <a:lnTo>
                    <a:pt x="112" y="38"/>
                  </a:lnTo>
                  <a:lnTo>
                    <a:pt x="108" y="38"/>
                  </a:lnTo>
                  <a:lnTo>
                    <a:pt x="106" y="36"/>
                  </a:lnTo>
                  <a:lnTo>
                    <a:pt x="103" y="35"/>
                  </a:lnTo>
                  <a:lnTo>
                    <a:pt x="100" y="38"/>
                  </a:lnTo>
                  <a:lnTo>
                    <a:pt x="100" y="38"/>
                  </a:lnTo>
                  <a:lnTo>
                    <a:pt x="96" y="44"/>
                  </a:lnTo>
                  <a:lnTo>
                    <a:pt x="92" y="49"/>
                  </a:lnTo>
                  <a:lnTo>
                    <a:pt x="86" y="61"/>
                  </a:lnTo>
                  <a:lnTo>
                    <a:pt x="86" y="61"/>
                  </a:lnTo>
                  <a:lnTo>
                    <a:pt x="84" y="68"/>
                  </a:lnTo>
                  <a:lnTo>
                    <a:pt x="82" y="81"/>
                  </a:lnTo>
                  <a:lnTo>
                    <a:pt x="79" y="94"/>
                  </a:lnTo>
                  <a:lnTo>
                    <a:pt x="76" y="103"/>
                  </a:lnTo>
                  <a:lnTo>
                    <a:pt x="76" y="103"/>
                  </a:lnTo>
                  <a:lnTo>
                    <a:pt x="71" y="112"/>
                  </a:lnTo>
                  <a:lnTo>
                    <a:pt x="68" y="116"/>
                  </a:lnTo>
                  <a:lnTo>
                    <a:pt x="66" y="120"/>
                  </a:lnTo>
                  <a:lnTo>
                    <a:pt x="66" y="120"/>
                  </a:lnTo>
                  <a:lnTo>
                    <a:pt x="61" y="123"/>
                  </a:lnTo>
                  <a:lnTo>
                    <a:pt x="60" y="128"/>
                  </a:lnTo>
                  <a:lnTo>
                    <a:pt x="57" y="136"/>
                  </a:lnTo>
                  <a:lnTo>
                    <a:pt x="57" y="136"/>
                  </a:lnTo>
                  <a:lnTo>
                    <a:pt x="55" y="152"/>
                  </a:lnTo>
                  <a:lnTo>
                    <a:pt x="54" y="161"/>
                  </a:lnTo>
                  <a:lnTo>
                    <a:pt x="51" y="165"/>
                  </a:lnTo>
                  <a:lnTo>
                    <a:pt x="51" y="165"/>
                  </a:lnTo>
                  <a:lnTo>
                    <a:pt x="51" y="168"/>
                  </a:lnTo>
                  <a:lnTo>
                    <a:pt x="51" y="171"/>
                  </a:lnTo>
                  <a:lnTo>
                    <a:pt x="53" y="177"/>
                  </a:lnTo>
                  <a:lnTo>
                    <a:pt x="54" y="183"/>
                  </a:lnTo>
                  <a:lnTo>
                    <a:pt x="53" y="186"/>
                  </a:lnTo>
                  <a:lnTo>
                    <a:pt x="50" y="187"/>
                  </a:lnTo>
                  <a:lnTo>
                    <a:pt x="50" y="187"/>
                  </a:lnTo>
                  <a:lnTo>
                    <a:pt x="38" y="193"/>
                  </a:lnTo>
                  <a:lnTo>
                    <a:pt x="31" y="197"/>
                  </a:lnTo>
                  <a:lnTo>
                    <a:pt x="31" y="197"/>
                  </a:lnTo>
                  <a:lnTo>
                    <a:pt x="26" y="207"/>
                  </a:lnTo>
                  <a:lnTo>
                    <a:pt x="25" y="216"/>
                  </a:lnTo>
                  <a:lnTo>
                    <a:pt x="24" y="225"/>
                  </a:lnTo>
                  <a:lnTo>
                    <a:pt x="24" y="225"/>
                  </a:lnTo>
                  <a:lnTo>
                    <a:pt x="24" y="259"/>
                  </a:lnTo>
                  <a:lnTo>
                    <a:pt x="24" y="278"/>
                  </a:lnTo>
                  <a:lnTo>
                    <a:pt x="25" y="288"/>
                  </a:lnTo>
                  <a:lnTo>
                    <a:pt x="25" y="288"/>
                  </a:lnTo>
                  <a:lnTo>
                    <a:pt x="31" y="294"/>
                  </a:lnTo>
                  <a:lnTo>
                    <a:pt x="32" y="299"/>
                  </a:lnTo>
                  <a:lnTo>
                    <a:pt x="32" y="300"/>
                  </a:lnTo>
                  <a:lnTo>
                    <a:pt x="32" y="300"/>
                  </a:lnTo>
                  <a:lnTo>
                    <a:pt x="32" y="300"/>
                  </a:lnTo>
                  <a:lnTo>
                    <a:pt x="28" y="303"/>
                  </a:lnTo>
                  <a:lnTo>
                    <a:pt x="26" y="304"/>
                  </a:lnTo>
                  <a:lnTo>
                    <a:pt x="26" y="309"/>
                  </a:lnTo>
                  <a:lnTo>
                    <a:pt x="26" y="309"/>
                  </a:lnTo>
                  <a:lnTo>
                    <a:pt x="26" y="316"/>
                  </a:lnTo>
                  <a:lnTo>
                    <a:pt x="28" y="323"/>
                  </a:lnTo>
                  <a:lnTo>
                    <a:pt x="29" y="329"/>
                  </a:lnTo>
                  <a:lnTo>
                    <a:pt x="28" y="332"/>
                  </a:lnTo>
                  <a:lnTo>
                    <a:pt x="26" y="335"/>
                  </a:lnTo>
                  <a:lnTo>
                    <a:pt x="26" y="335"/>
                  </a:lnTo>
                  <a:lnTo>
                    <a:pt x="21" y="343"/>
                  </a:lnTo>
                  <a:lnTo>
                    <a:pt x="19" y="348"/>
                  </a:lnTo>
                  <a:lnTo>
                    <a:pt x="18" y="354"/>
                  </a:lnTo>
                  <a:lnTo>
                    <a:pt x="18" y="354"/>
                  </a:lnTo>
                  <a:lnTo>
                    <a:pt x="16" y="367"/>
                  </a:lnTo>
                  <a:lnTo>
                    <a:pt x="15" y="371"/>
                  </a:lnTo>
                  <a:lnTo>
                    <a:pt x="13" y="372"/>
                  </a:lnTo>
                  <a:lnTo>
                    <a:pt x="11" y="372"/>
                  </a:lnTo>
                  <a:lnTo>
                    <a:pt x="11" y="372"/>
                  </a:lnTo>
                  <a:lnTo>
                    <a:pt x="0" y="368"/>
                  </a:lnTo>
                  <a:lnTo>
                    <a:pt x="0" y="368"/>
                  </a:lnTo>
                  <a:lnTo>
                    <a:pt x="2" y="371"/>
                  </a:lnTo>
                  <a:lnTo>
                    <a:pt x="2" y="371"/>
                  </a:lnTo>
                  <a:lnTo>
                    <a:pt x="3" y="377"/>
                  </a:lnTo>
                  <a:lnTo>
                    <a:pt x="5" y="383"/>
                  </a:lnTo>
                  <a:lnTo>
                    <a:pt x="5" y="390"/>
                  </a:lnTo>
                  <a:lnTo>
                    <a:pt x="6" y="394"/>
                  </a:lnTo>
                  <a:lnTo>
                    <a:pt x="6" y="394"/>
                  </a:lnTo>
                  <a:lnTo>
                    <a:pt x="8" y="396"/>
                  </a:lnTo>
                  <a:lnTo>
                    <a:pt x="11" y="397"/>
                  </a:lnTo>
                  <a:lnTo>
                    <a:pt x="13" y="397"/>
                  </a:lnTo>
                  <a:lnTo>
                    <a:pt x="16" y="394"/>
                  </a:lnTo>
                  <a:lnTo>
                    <a:pt x="16" y="394"/>
                  </a:lnTo>
                  <a:lnTo>
                    <a:pt x="18" y="394"/>
                  </a:lnTo>
                  <a:lnTo>
                    <a:pt x="18" y="396"/>
                  </a:lnTo>
                  <a:lnTo>
                    <a:pt x="16" y="401"/>
                  </a:lnTo>
                  <a:lnTo>
                    <a:pt x="13" y="414"/>
                  </a:lnTo>
                  <a:lnTo>
                    <a:pt x="13" y="414"/>
                  </a:lnTo>
                  <a:lnTo>
                    <a:pt x="15" y="420"/>
                  </a:lnTo>
                  <a:lnTo>
                    <a:pt x="18" y="426"/>
                  </a:lnTo>
                  <a:lnTo>
                    <a:pt x="25" y="438"/>
                  </a:lnTo>
                  <a:lnTo>
                    <a:pt x="25" y="438"/>
                  </a:lnTo>
                  <a:lnTo>
                    <a:pt x="28" y="448"/>
                  </a:lnTo>
                  <a:lnTo>
                    <a:pt x="31" y="456"/>
                  </a:lnTo>
                  <a:lnTo>
                    <a:pt x="31" y="456"/>
                  </a:lnTo>
                  <a:lnTo>
                    <a:pt x="31" y="461"/>
                  </a:lnTo>
                  <a:lnTo>
                    <a:pt x="29" y="467"/>
                  </a:lnTo>
                  <a:lnTo>
                    <a:pt x="29" y="471"/>
                  </a:lnTo>
                  <a:lnTo>
                    <a:pt x="29" y="472"/>
                  </a:lnTo>
                  <a:lnTo>
                    <a:pt x="29" y="474"/>
                  </a:lnTo>
                  <a:lnTo>
                    <a:pt x="29" y="474"/>
                  </a:lnTo>
                  <a:lnTo>
                    <a:pt x="37" y="475"/>
                  </a:lnTo>
                  <a:lnTo>
                    <a:pt x="41" y="477"/>
                  </a:lnTo>
                  <a:lnTo>
                    <a:pt x="47" y="478"/>
                  </a:lnTo>
                  <a:lnTo>
                    <a:pt x="47" y="478"/>
                  </a:lnTo>
                  <a:lnTo>
                    <a:pt x="53" y="477"/>
                  </a:lnTo>
                  <a:lnTo>
                    <a:pt x="54" y="475"/>
                  </a:lnTo>
                  <a:lnTo>
                    <a:pt x="55" y="472"/>
                  </a:lnTo>
                  <a:lnTo>
                    <a:pt x="55" y="472"/>
                  </a:lnTo>
                  <a:lnTo>
                    <a:pt x="57" y="465"/>
                  </a:lnTo>
                  <a:lnTo>
                    <a:pt x="60" y="461"/>
                  </a:lnTo>
                  <a:lnTo>
                    <a:pt x="64" y="456"/>
                  </a:lnTo>
                  <a:lnTo>
                    <a:pt x="64" y="456"/>
                  </a:lnTo>
                  <a:lnTo>
                    <a:pt x="70" y="453"/>
                  </a:lnTo>
                  <a:lnTo>
                    <a:pt x="74" y="453"/>
                  </a:lnTo>
                  <a:lnTo>
                    <a:pt x="77" y="453"/>
                  </a:lnTo>
                  <a:lnTo>
                    <a:pt x="80" y="453"/>
                  </a:lnTo>
                  <a:lnTo>
                    <a:pt x="80" y="453"/>
                  </a:lnTo>
                  <a:lnTo>
                    <a:pt x="83" y="449"/>
                  </a:lnTo>
                  <a:lnTo>
                    <a:pt x="87" y="438"/>
                  </a:lnTo>
                  <a:lnTo>
                    <a:pt x="95" y="417"/>
                  </a:lnTo>
                  <a:lnTo>
                    <a:pt x="95" y="417"/>
                  </a:lnTo>
                  <a:lnTo>
                    <a:pt x="95" y="410"/>
                  </a:lnTo>
                  <a:lnTo>
                    <a:pt x="95" y="404"/>
                  </a:lnTo>
                  <a:lnTo>
                    <a:pt x="95" y="396"/>
                  </a:lnTo>
                  <a:lnTo>
                    <a:pt x="95" y="396"/>
                  </a:lnTo>
                  <a:lnTo>
                    <a:pt x="100" y="383"/>
                  </a:lnTo>
                  <a:lnTo>
                    <a:pt x="108" y="371"/>
                  </a:lnTo>
                  <a:lnTo>
                    <a:pt x="108" y="371"/>
                  </a:lnTo>
                  <a:lnTo>
                    <a:pt x="110" y="371"/>
                  </a:lnTo>
                  <a:lnTo>
                    <a:pt x="112" y="371"/>
                  </a:lnTo>
                  <a:lnTo>
                    <a:pt x="113" y="371"/>
                  </a:lnTo>
                  <a:lnTo>
                    <a:pt x="115" y="371"/>
                  </a:lnTo>
                  <a:lnTo>
                    <a:pt x="115" y="371"/>
                  </a:lnTo>
                  <a:lnTo>
                    <a:pt x="116" y="369"/>
                  </a:lnTo>
                  <a:lnTo>
                    <a:pt x="119" y="364"/>
                  </a:lnTo>
                  <a:lnTo>
                    <a:pt x="121" y="358"/>
                  </a:lnTo>
                  <a:lnTo>
                    <a:pt x="124" y="355"/>
                  </a:lnTo>
                  <a:lnTo>
                    <a:pt x="124" y="355"/>
                  </a:lnTo>
                  <a:lnTo>
                    <a:pt x="128" y="351"/>
                  </a:lnTo>
                  <a:lnTo>
                    <a:pt x="129" y="345"/>
                  </a:lnTo>
                  <a:lnTo>
                    <a:pt x="129" y="345"/>
                  </a:lnTo>
                  <a:lnTo>
                    <a:pt x="128" y="336"/>
                  </a:lnTo>
                  <a:lnTo>
                    <a:pt x="125" y="327"/>
                  </a:lnTo>
                  <a:lnTo>
                    <a:pt x="125" y="327"/>
                  </a:lnTo>
                  <a:lnTo>
                    <a:pt x="122" y="323"/>
                  </a:lnTo>
                  <a:lnTo>
                    <a:pt x="119" y="320"/>
                  </a:lnTo>
                  <a:lnTo>
                    <a:pt x="115" y="319"/>
                  </a:lnTo>
                  <a:lnTo>
                    <a:pt x="110" y="319"/>
                  </a:lnTo>
                  <a:lnTo>
                    <a:pt x="110" y="319"/>
                  </a:lnTo>
                  <a:lnTo>
                    <a:pt x="106" y="317"/>
                  </a:lnTo>
                  <a:lnTo>
                    <a:pt x="103" y="316"/>
                  </a:lnTo>
                  <a:lnTo>
                    <a:pt x="99" y="307"/>
                  </a:lnTo>
                  <a:lnTo>
                    <a:pt x="99" y="307"/>
                  </a:lnTo>
                  <a:lnTo>
                    <a:pt x="97" y="301"/>
                  </a:lnTo>
                  <a:lnTo>
                    <a:pt x="99" y="296"/>
                  </a:lnTo>
                  <a:lnTo>
                    <a:pt x="100" y="290"/>
                  </a:lnTo>
                  <a:lnTo>
                    <a:pt x="103" y="287"/>
                  </a:lnTo>
                  <a:lnTo>
                    <a:pt x="103" y="287"/>
                  </a:lnTo>
                  <a:lnTo>
                    <a:pt x="105" y="283"/>
                  </a:lnTo>
                  <a:lnTo>
                    <a:pt x="105" y="275"/>
                  </a:lnTo>
                  <a:lnTo>
                    <a:pt x="105" y="264"/>
                  </a:lnTo>
                  <a:lnTo>
                    <a:pt x="105" y="264"/>
                  </a:lnTo>
                  <a:lnTo>
                    <a:pt x="105" y="261"/>
                  </a:lnTo>
                  <a:lnTo>
                    <a:pt x="103" y="258"/>
                  </a:lnTo>
                  <a:lnTo>
                    <a:pt x="100" y="254"/>
                  </a:lnTo>
                  <a:lnTo>
                    <a:pt x="99" y="251"/>
                  </a:lnTo>
                  <a:lnTo>
                    <a:pt x="99" y="251"/>
                  </a:lnTo>
                  <a:lnTo>
                    <a:pt x="100" y="249"/>
                  </a:lnTo>
                  <a:lnTo>
                    <a:pt x="102" y="251"/>
                  </a:lnTo>
                  <a:lnTo>
                    <a:pt x="109" y="254"/>
                  </a:lnTo>
                  <a:lnTo>
                    <a:pt x="109" y="254"/>
                  </a:lnTo>
                  <a:lnTo>
                    <a:pt x="110" y="254"/>
                  </a:lnTo>
                  <a:lnTo>
                    <a:pt x="112" y="252"/>
                  </a:lnTo>
                  <a:lnTo>
                    <a:pt x="116" y="246"/>
                  </a:lnTo>
                  <a:lnTo>
                    <a:pt x="125" y="235"/>
                  </a:lnTo>
                  <a:lnTo>
                    <a:pt x="125" y="235"/>
                  </a:lnTo>
                  <a:lnTo>
                    <a:pt x="128" y="226"/>
                  </a:lnTo>
                  <a:lnTo>
                    <a:pt x="131" y="217"/>
                  </a:lnTo>
                  <a:lnTo>
                    <a:pt x="131" y="217"/>
                  </a:lnTo>
                  <a:lnTo>
                    <a:pt x="134" y="216"/>
                  </a:lnTo>
                  <a:lnTo>
                    <a:pt x="138" y="213"/>
                  </a:lnTo>
                  <a:lnTo>
                    <a:pt x="147" y="209"/>
                  </a:lnTo>
                  <a:lnTo>
                    <a:pt x="147" y="209"/>
                  </a:lnTo>
                  <a:lnTo>
                    <a:pt x="154" y="204"/>
                  </a:lnTo>
                  <a:lnTo>
                    <a:pt x="157" y="201"/>
                  </a:lnTo>
                  <a:lnTo>
                    <a:pt x="158" y="197"/>
                  </a:lnTo>
                  <a:lnTo>
                    <a:pt x="158" y="197"/>
                  </a:lnTo>
                  <a:lnTo>
                    <a:pt x="161" y="193"/>
                  </a:lnTo>
                  <a:lnTo>
                    <a:pt x="164" y="187"/>
                  </a:lnTo>
                  <a:lnTo>
                    <a:pt x="171" y="180"/>
                  </a:lnTo>
                  <a:lnTo>
                    <a:pt x="171" y="180"/>
                  </a:lnTo>
                  <a:lnTo>
                    <a:pt x="171" y="177"/>
                  </a:lnTo>
                  <a:lnTo>
                    <a:pt x="170" y="174"/>
                  </a:lnTo>
                  <a:lnTo>
                    <a:pt x="166" y="168"/>
                  </a:lnTo>
                  <a:lnTo>
                    <a:pt x="166" y="168"/>
                  </a:lnTo>
                  <a:lnTo>
                    <a:pt x="164" y="164"/>
                  </a:lnTo>
                  <a:lnTo>
                    <a:pt x="164" y="162"/>
                  </a:lnTo>
                  <a:lnTo>
                    <a:pt x="168" y="159"/>
                  </a:lnTo>
                  <a:lnTo>
                    <a:pt x="168" y="159"/>
                  </a:lnTo>
                  <a:lnTo>
                    <a:pt x="170" y="155"/>
                  </a:lnTo>
                  <a:lnTo>
                    <a:pt x="171" y="152"/>
                  </a:lnTo>
                  <a:lnTo>
                    <a:pt x="171" y="152"/>
                  </a:lnTo>
                  <a:lnTo>
                    <a:pt x="174" y="149"/>
                  </a:lnTo>
                  <a:lnTo>
                    <a:pt x="180" y="144"/>
                  </a:lnTo>
                  <a:lnTo>
                    <a:pt x="180" y="144"/>
                  </a:lnTo>
                  <a:lnTo>
                    <a:pt x="183" y="142"/>
                  </a:lnTo>
                  <a:lnTo>
                    <a:pt x="183" y="139"/>
                  </a:lnTo>
                  <a:lnTo>
                    <a:pt x="181" y="138"/>
                  </a:lnTo>
                  <a:lnTo>
                    <a:pt x="181" y="135"/>
                  </a:lnTo>
                  <a:lnTo>
                    <a:pt x="181" y="135"/>
                  </a:lnTo>
                  <a:lnTo>
                    <a:pt x="183" y="133"/>
                  </a:lnTo>
                  <a:lnTo>
                    <a:pt x="187" y="133"/>
                  </a:lnTo>
                  <a:lnTo>
                    <a:pt x="196" y="135"/>
                  </a:lnTo>
                  <a:lnTo>
                    <a:pt x="196" y="135"/>
                  </a:lnTo>
                  <a:lnTo>
                    <a:pt x="200" y="135"/>
                  </a:lnTo>
                  <a:lnTo>
                    <a:pt x="203" y="135"/>
                  </a:lnTo>
                  <a:lnTo>
                    <a:pt x="212" y="133"/>
                  </a:lnTo>
                  <a:lnTo>
                    <a:pt x="212" y="133"/>
                  </a:lnTo>
                  <a:lnTo>
                    <a:pt x="208" y="117"/>
                  </a:lnTo>
                  <a:close/>
                  <a:moveTo>
                    <a:pt x="38" y="383"/>
                  </a:moveTo>
                  <a:lnTo>
                    <a:pt x="38" y="383"/>
                  </a:lnTo>
                  <a:lnTo>
                    <a:pt x="35" y="383"/>
                  </a:lnTo>
                  <a:lnTo>
                    <a:pt x="32" y="384"/>
                  </a:lnTo>
                  <a:lnTo>
                    <a:pt x="29" y="385"/>
                  </a:lnTo>
                  <a:lnTo>
                    <a:pt x="28" y="385"/>
                  </a:lnTo>
                  <a:lnTo>
                    <a:pt x="28" y="385"/>
                  </a:lnTo>
                  <a:lnTo>
                    <a:pt x="28" y="385"/>
                  </a:lnTo>
                  <a:lnTo>
                    <a:pt x="28" y="381"/>
                  </a:lnTo>
                  <a:lnTo>
                    <a:pt x="28" y="377"/>
                  </a:lnTo>
                  <a:lnTo>
                    <a:pt x="28" y="371"/>
                  </a:lnTo>
                  <a:lnTo>
                    <a:pt x="29" y="368"/>
                  </a:lnTo>
                  <a:lnTo>
                    <a:pt x="29" y="368"/>
                  </a:lnTo>
                  <a:lnTo>
                    <a:pt x="31" y="368"/>
                  </a:lnTo>
                  <a:lnTo>
                    <a:pt x="32" y="369"/>
                  </a:lnTo>
                  <a:lnTo>
                    <a:pt x="34" y="371"/>
                  </a:lnTo>
                  <a:lnTo>
                    <a:pt x="35" y="371"/>
                  </a:lnTo>
                  <a:lnTo>
                    <a:pt x="35" y="371"/>
                  </a:lnTo>
                  <a:lnTo>
                    <a:pt x="37" y="371"/>
                  </a:lnTo>
                  <a:lnTo>
                    <a:pt x="38" y="368"/>
                  </a:lnTo>
                  <a:lnTo>
                    <a:pt x="38" y="367"/>
                  </a:lnTo>
                  <a:lnTo>
                    <a:pt x="40" y="365"/>
                  </a:lnTo>
                  <a:lnTo>
                    <a:pt x="40" y="365"/>
                  </a:lnTo>
                  <a:lnTo>
                    <a:pt x="44" y="362"/>
                  </a:lnTo>
                  <a:lnTo>
                    <a:pt x="45" y="361"/>
                  </a:lnTo>
                  <a:lnTo>
                    <a:pt x="48" y="361"/>
                  </a:lnTo>
                  <a:lnTo>
                    <a:pt x="48" y="361"/>
                  </a:lnTo>
                  <a:lnTo>
                    <a:pt x="51" y="367"/>
                  </a:lnTo>
                  <a:lnTo>
                    <a:pt x="53" y="371"/>
                  </a:lnTo>
                  <a:lnTo>
                    <a:pt x="53" y="371"/>
                  </a:lnTo>
                  <a:lnTo>
                    <a:pt x="51" y="374"/>
                  </a:lnTo>
                  <a:lnTo>
                    <a:pt x="47" y="378"/>
                  </a:lnTo>
                  <a:lnTo>
                    <a:pt x="41" y="383"/>
                  </a:lnTo>
                  <a:lnTo>
                    <a:pt x="40" y="383"/>
                  </a:lnTo>
                  <a:lnTo>
                    <a:pt x="38" y="383"/>
                  </a:lnTo>
                  <a:close/>
                  <a:moveTo>
                    <a:pt x="66" y="388"/>
                  </a:moveTo>
                  <a:lnTo>
                    <a:pt x="66" y="388"/>
                  </a:lnTo>
                  <a:lnTo>
                    <a:pt x="64" y="393"/>
                  </a:lnTo>
                  <a:lnTo>
                    <a:pt x="61" y="397"/>
                  </a:lnTo>
                  <a:lnTo>
                    <a:pt x="58" y="401"/>
                  </a:lnTo>
                  <a:lnTo>
                    <a:pt x="55" y="401"/>
                  </a:lnTo>
                  <a:lnTo>
                    <a:pt x="55" y="401"/>
                  </a:lnTo>
                  <a:lnTo>
                    <a:pt x="53" y="400"/>
                  </a:lnTo>
                  <a:lnTo>
                    <a:pt x="53" y="398"/>
                  </a:lnTo>
                  <a:lnTo>
                    <a:pt x="57" y="391"/>
                  </a:lnTo>
                  <a:lnTo>
                    <a:pt x="57" y="391"/>
                  </a:lnTo>
                  <a:lnTo>
                    <a:pt x="60" y="383"/>
                  </a:lnTo>
                  <a:lnTo>
                    <a:pt x="61" y="380"/>
                  </a:lnTo>
                  <a:lnTo>
                    <a:pt x="64" y="378"/>
                  </a:lnTo>
                  <a:lnTo>
                    <a:pt x="64" y="378"/>
                  </a:lnTo>
                  <a:lnTo>
                    <a:pt x="66" y="378"/>
                  </a:lnTo>
                  <a:lnTo>
                    <a:pt x="66" y="381"/>
                  </a:lnTo>
                  <a:lnTo>
                    <a:pt x="66" y="388"/>
                  </a:lnTo>
                  <a:close/>
                  <a:moveTo>
                    <a:pt x="105" y="355"/>
                  </a:moveTo>
                  <a:lnTo>
                    <a:pt x="105" y="355"/>
                  </a:lnTo>
                  <a:lnTo>
                    <a:pt x="106" y="354"/>
                  </a:lnTo>
                  <a:lnTo>
                    <a:pt x="108" y="351"/>
                  </a:lnTo>
                  <a:lnTo>
                    <a:pt x="108" y="349"/>
                  </a:lnTo>
                  <a:lnTo>
                    <a:pt x="109" y="349"/>
                  </a:lnTo>
                  <a:lnTo>
                    <a:pt x="109" y="349"/>
                  </a:lnTo>
                  <a:lnTo>
                    <a:pt x="112" y="355"/>
                  </a:lnTo>
                  <a:lnTo>
                    <a:pt x="113" y="358"/>
                  </a:lnTo>
                  <a:lnTo>
                    <a:pt x="113" y="359"/>
                  </a:lnTo>
                  <a:lnTo>
                    <a:pt x="112" y="359"/>
                  </a:lnTo>
                  <a:lnTo>
                    <a:pt x="112" y="359"/>
                  </a:lnTo>
                  <a:lnTo>
                    <a:pt x="106" y="361"/>
                  </a:lnTo>
                  <a:lnTo>
                    <a:pt x="103" y="359"/>
                  </a:lnTo>
                  <a:lnTo>
                    <a:pt x="100" y="358"/>
                  </a:lnTo>
                  <a:lnTo>
                    <a:pt x="100" y="358"/>
                  </a:lnTo>
                  <a:lnTo>
                    <a:pt x="99" y="358"/>
                  </a:lnTo>
                  <a:lnTo>
                    <a:pt x="100" y="356"/>
                  </a:lnTo>
                  <a:lnTo>
                    <a:pt x="105" y="355"/>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90" name="Freeform 1150"/>
            <p:cNvSpPr>
              <a:spLocks/>
            </p:cNvSpPr>
            <p:nvPr/>
          </p:nvSpPr>
          <p:spPr bwMode="auto">
            <a:xfrm>
              <a:off x="4586288" y="2318179"/>
              <a:ext cx="338138" cy="758825"/>
            </a:xfrm>
            <a:custGeom>
              <a:avLst/>
              <a:gdLst>
                <a:gd name="T0" fmla="*/ 206 w 213"/>
                <a:gd name="T1" fmla="*/ 112 h 478"/>
                <a:gd name="T2" fmla="*/ 212 w 213"/>
                <a:gd name="T3" fmla="*/ 86 h 478"/>
                <a:gd name="T4" fmla="*/ 206 w 213"/>
                <a:gd name="T5" fmla="*/ 68 h 478"/>
                <a:gd name="T6" fmla="*/ 203 w 213"/>
                <a:gd name="T7" fmla="*/ 52 h 478"/>
                <a:gd name="T8" fmla="*/ 194 w 213"/>
                <a:gd name="T9" fmla="*/ 28 h 478"/>
                <a:gd name="T10" fmla="*/ 171 w 213"/>
                <a:gd name="T11" fmla="*/ 7 h 478"/>
                <a:gd name="T12" fmla="*/ 150 w 213"/>
                <a:gd name="T13" fmla="*/ 15 h 478"/>
                <a:gd name="T14" fmla="*/ 129 w 213"/>
                <a:gd name="T15" fmla="*/ 19 h 478"/>
                <a:gd name="T16" fmla="*/ 116 w 213"/>
                <a:gd name="T17" fmla="*/ 22 h 478"/>
                <a:gd name="T18" fmla="*/ 112 w 213"/>
                <a:gd name="T19" fmla="*/ 38 h 478"/>
                <a:gd name="T20" fmla="*/ 100 w 213"/>
                <a:gd name="T21" fmla="*/ 38 h 478"/>
                <a:gd name="T22" fmla="*/ 84 w 213"/>
                <a:gd name="T23" fmla="*/ 68 h 478"/>
                <a:gd name="T24" fmla="*/ 71 w 213"/>
                <a:gd name="T25" fmla="*/ 112 h 478"/>
                <a:gd name="T26" fmla="*/ 60 w 213"/>
                <a:gd name="T27" fmla="*/ 128 h 478"/>
                <a:gd name="T28" fmla="*/ 51 w 213"/>
                <a:gd name="T29" fmla="*/ 165 h 478"/>
                <a:gd name="T30" fmla="*/ 54 w 213"/>
                <a:gd name="T31" fmla="*/ 183 h 478"/>
                <a:gd name="T32" fmla="*/ 31 w 213"/>
                <a:gd name="T33" fmla="*/ 197 h 478"/>
                <a:gd name="T34" fmla="*/ 24 w 213"/>
                <a:gd name="T35" fmla="*/ 225 h 478"/>
                <a:gd name="T36" fmla="*/ 31 w 213"/>
                <a:gd name="T37" fmla="*/ 294 h 478"/>
                <a:gd name="T38" fmla="*/ 28 w 213"/>
                <a:gd name="T39" fmla="*/ 303 h 478"/>
                <a:gd name="T40" fmla="*/ 28 w 213"/>
                <a:gd name="T41" fmla="*/ 323 h 478"/>
                <a:gd name="T42" fmla="*/ 21 w 213"/>
                <a:gd name="T43" fmla="*/ 343 h 478"/>
                <a:gd name="T44" fmla="*/ 15 w 213"/>
                <a:gd name="T45" fmla="*/ 371 h 478"/>
                <a:gd name="T46" fmla="*/ 0 w 213"/>
                <a:gd name="T47" fmla="*/ 368 h 478"/>
                <a:gd name="T48" fmla="*/ 5 w 213"/>
                <a:gd name="T49" fmla="*/ 390 h 478"/>
                <a:gd name="T50" fmla="*/ 13 w 213"/>
                <a:gd name="T51" fmla="*/ 397 h 478"/>
                <a:gd name="T52" fmla="*/ 16 w 213"/>
                <a:gd name="T53" fmla="*/ 401 h 478"/>
                <a:gd name="T54" fmla="*/ 25 w 213"/>
                <a:gd name="T55" fmla="*/ 438 h 478"/>
                <a:gd name="T56" fmla="*/ 31 w 213"/>
                <a:gd name="T57" fmla="*/ 461 h 478"/>
                <a:gd name="T58" fmla="*/ 29 w 213"/>
                <a:gd name="T59" fmla="*/ 474 h 478"/>
                <a:gd name="T60" fmla="*/ 53 w 213"/>
                <a:gd name="T61" fmla="*/ 477 h 478"/>
                <a:gd name="T62" fmla="*/ 60 w 213"/>
                <a:gd name="T63" fmla="*/ 461 h 478"/>
                <a:gd name="T64" fmla="*/ 77 w 213"/>
                <a:gd name="T65" fmla="*/ 453 h 478"/>
                <a:gd name="T66" fmla="*/ 95 w 213"/>
                <a:gd name="T67" fmla="*/ 417 h 478"/>
                <a:gd name="T68" fmla="*/ 95 w 213"/>
                <a:gd name="T69" fmla="*/ 396 h 478"/>
                <a:gd name="T70" fmla="*/ 112 w 213"/>
                <a:gd name="T71" fmla="*/ 371 h 478"/>
                <a:gd name="T72" fmla="*/ 119 w 213"/>
                <a:gd name="T73" fmla="*/ 364 h 478"/>
                <a:gd name="T74" fmla="*/ 129 w 213"/>
                <a:gd name="T75" fmla="*/ 345 h 478"/>
                <a:gd name="T76" fmla="*/ 122 w 213"/>
                <a:gd name="T77" fmla="*/ 323 h 478"/>
                <a:gd name="T78" fmla="*/ 106 w 213"/>
                <a:gd name="T79" fmla="*/ 317 h 478"/>
                <a:gd name="T80" fmla="*/ 99 w 213"/>
                <a:gd name="T81" fmla="*/ 296 h 478"/>
                <a:gd name="T82" fmla="*/ 105 w 213"/>
                <a:gd name="T83" fmla="*/ 275 h 478"/>
                <a:gd name="T84" fmla="*/ 100 w 213"/>
                <a:gd name="T85" fmla="*/ 254 h 478"/>
                <a:gd name="T86" fmla="*/ 109 w 213"/>
                <a:gd name="T87" fmla="*/ 254 h 478"/>
                <a:gd name="T88" fmla="*/ 125 w 213"/>
                <a:gd name="T89" fmla="*/ 235 h 478"/>
                <a:gd name="T90" fmla="*/ 134 w 213"/>
                <a:gd name="T91" fmla="*/ 216 h 478"/>
                <a:gd name="T92" fmla="*/ 157 w 213"/>
                <a:gd name="T93" fmla="*/ 201 h 478"/>
                <a:gd name="T94" fmla="*/ 171 w 213"/>
                <a:gd name="T95" fmla="*/ 180 h 478"/>
                <a:gd name="T96" fmla="*/ 166 w 213"/>
                <a:gd name="T97" fmla="*/ 168 h 478"/>
                <a:gd name="T98" fmla="*/ 170 w 213"/>
                <a:gd name="T99" fmla="*/ 155 h 478"/>
                <a:gd name="T100" fmla="*/ 180 w 213"/>
                <a:gd name="T101" fmla="*/ 144 h 478"/>
                <a:gd name="T102" fmla="*/ 181 w 213"/>
                <a:gd name="T103" fmla="*/ 135 h 478"/>
                <a:gd name="T104" fmla="*/ 200 w 213"/>
                <a:gd name="T105" fmla="*/ 135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3" h="478">
                  <a:moveTo>
                    <a:pt x="208" y="117"/>
                  </a:moveTo>
                  <a:lnTo>
                    <a:pt x="208" y="117"/>
                  </a:lnTo>
                  <a:lnTo>
                    <a:pt x="208" y="115"/>
                  </a:lnTo>
                  <a:lnTo>
                    <a:pt x="206" y="112"/>
                  </a:lnTo>
                  <a:lnTo>
                    <a:pt x="206" y="112"/>
                  </a:lnTo>
                  <a:lnTo>
                    <a:pt x="209" y="102"/>
                  </a:lnTo>
                  <a:lnTo>
                    <a:pt x="212" y="96"/>
                  </a:lnTo>
                  <a:lnTo>
                    <a:pt x="213" y="90"/>
                  </a:lnTo>
                  <a:lnTo>
                    <a:pt x="213" y="90"/>
                  </a:lnTo>
                  <a:lnTo>
                    <a:pt x="212" y="86"/>
                  </a:lnTo>
                  <a:lnTo>
                    <a:pt x="209" y="81"/>
                  </a:lnTo>
                  <a:lnTo>
                    <a:pt x="206" y="78"/>
                  </a:lnTo>
                  <a:lnTo>
                    <a:pt x="205" y="74"/>
                  </a:lnTo>
                  <a:lnTo>
                    <a:pt x="205" y="74"/>
                  </a:lnTo>
                  <a:lnTo>
                    <a:pt x="206" y="68"/>
                  </a:lnTo>
                  <a:lnTo>
                    <a:pt x="205" y="64"/>
                  </a:lnTo>
                  <a:lnTo>
                    <a:pt x="205" y="64"/>
                  </a:lnTo>
                  <a:lnTo>
                    <a:pt x="203" y="58"/>
                  </a:lnTo>
                  <a:lnTo>
                    <a:pt x="203" y="52"/>
                  </a:lnTo>
                  <a:lnTo>
                    <a:pt x="203" y="52"/>
                  </a:lnTo>
                  <a:lnTo>
                    <a:pt x="203" y="46"/>
                  </a:lnTo>
                  <a:lnTo>
                    <a:pt x="203" y="44"/>
                  </a:lnTo>
                  <a:lnTo>
                    <a:pt x="202" y="39"/>
                  </a:lnTo>
                  <a:lnTo>
                    <a:pt x="202" y="39"/>
                  </a:lnTo>
                  <a:lnTo>
                    <a:pt x="194" y="28"/>
                  </a:lnTo>
                  <a:lnTo>
                    <a:pt x="192" y="22"/>
                  </a:lnTo>
                  <a:lnTo>
                    <a:pt x="187" y="18"/>
                  </a:lnTo>
                  <a:lnTo>
                    <a:pt x="187" y="18"/>
                  </a:lnTo>
                  <a:lnTo>
                    <a:pt x="180" y="13"/>
                  </a:lnTo>
                  <a:lnTo>
                    <a:pt x="171" y="7"/>
                  </a:lnTo>
                  <a:lnTo>
                    <a:pt x="171" y="7"/>
                  </a:lnTo>
                  <a:lnTo>
                    <a:pt x="163" y="4"/>
                  </a:lnTo>
                  <a:lnTo>
                    <a:pt x="150" y="0"/>
                  </a:lnTo>
                  <a:lnTo>
                    <a:pt x="150" y="0"/>
                  </a:lnTo>
                  <a:lnTo>
                    <a:pt x="150" y="15"/>
                  </a:lnTo>
                  <a:lnTo>
                    <a:pt x="148" y="20"/>
                  </a:lnTo>
                  <a:lnTo>
                    <a:pt x="147" y="22"/>
                  </a:lnTo>
                  <a:lnTo>
                    <a:pt x="145" y="23"/>
                  </a:lnTo>
                  <a:lnTo>
                    <a:pt x="145" y="23"/>
                  </a:lnTo>
                  <a:lnTo>
                    <a:pt x="129" y="19"/>
                  </a:lnTo>
                  <a:lnTo>
                    <a:pt x="122" y="16"/>
                  </a:lnTo>
                  <a:lnTo>
                    <a:pt x="116" y="18"/>
                  </a:lnTo>
                  <a:lnTo>
                    <a:pt x="116" y="18"/>
                  </a:lnTo>
                  <a:lnTo>
                    <a:pt x="116" y="19"/>
                  </a:lnTo>
                  <a:lnTo>
                    <a:pt x="116" y="22"/>
                  </a:lnTo>
                  <a:lnTo>
                    <a:pt x="116" y="28"/>
                  </a:lnTo>
                  <a:lnTo>
                    <a:pt x="116" y="35"/>
                  </a:lnTo>
                  <a:lnTo>
                    <a:pt x="115" y="38"/>
                  </a:lnTo>
                  <a:lnTo>
                    <a:pt x="112" y="38"/>
                  </a:lnTo>
                  <a:lnTo>
                    <a:pt x="112" y="38"/>
                  </a:lnTo>
                  <a:lnTo>
                    <a:pt x="108" y="38"/>
                  </a:lnTo>
                  <a:lnTo>
                    <a:pt x="106" y="36"/>
                  </a:lnTo>
                  <a:lnTo>
                    <a:pt x="103" y="35"/>
                  </a:lnTo>
                  <a:lnTo>
                    <a:pt x="100" y="38"/>
                  </a:lnTo>
                  <a:lnTo>
                    <a:pt x="100" y="38"/>
                  </a:lnTo>
                  <a:lnTo>
                    <a:pt x="96" y="44"/>
                  </a:lnTo>
                  <a:lnTo>
                    <a:pt x="92" y="49"/>
                  </a:lnTo>
                  <a:lnTo>
                    <a:pt x="86" y="61"/>
                  </a:lnTo>
                  <a:lnTo>
                    <a:pt x="86" y="61"/>
                  </a:lnTo>
                  <a:lnTo>
                    <a:pt x="84" y="68"/>
                  </a:lnTo>
                  <a:lnTo>
                    <a:pt x="82" y="81"/>
                  </a:lnTo>
                  <a:lnTo>
                    <a:pt x="79" y="94"/>
                  </a:lnTo>
                  <a:lnTo>
                    <a:pt x="76" y="103"/>
                  </a:lnTo>
                  <a:lnTo>
                    <a:pt x="76" y="103"/>
                  </a:lnTo>
                  <a:lnTo>
                    <a:pt x="71" y="112"/>
                  </a:lnTo>
                  <a:lnTo>
                    <a:pt x="68" y="116"/>
                  </a:lnTo>
                  <a:lnTo>
                    <a:pt x="66" y="120"/>
                  </a:lnTo>
                  <a:lnTo>
                    <a:pt x="66" y="120"/>
                  </a:lnTo>
                  <a:lnTo>
                    <a:pt x="61" y="123"/>
                  </a:lnTo>
                  <a:lnTo>
                    <a:pt x="60" y="128"/>
                  </a:lnTo>
                  <a:lnTo>
                    <a:pt x="57" y="136"/>
                  </a:lnTo>
                  <a:lnTo>
                    <a:pt x="57" y="136"/>
                  </a:lnTo>
                  <a:lnTo>
                    <a:pt x="55" y="152"/>
                  </a:lnTo>
                  <a:lnTo>
                    <a:pt x="54" y="161"/>
                  </a:lnTo>
                  <a:lnTo>
                    <a:pt x="51" y="165"/>
                  </a:lnTo>
                  <a:lnTo>
                    <a:pt x="51" y="165"/>
                  </a:lnTo>
                  <a:lnTo>
                    <a:pt x="51" y="168"/>
                  </a:lnTo>
                  <a:lnTo>
                    <a:pt x="51" y="171"/>
                  </a:lnTo>
                  <a:lnTo>
                    <a:pt x="53" y="177"/>
                  </a:lnTo>
                  <a:lnTo>
                    <a:pt x="54" y="183"/>
                  </a:lnTo>
                  <a:lnTo>
                    <a:pt x="53" y="186"/>
                  </a:lnTo>
                  <a:lnTo>
                    <a:pt x="50" y="187"/>
                  </a:lnTo>
                  <a:lnTo>
                    <a:pt x="50" y="187"/>
                  </a:lnTo>
                  <a:lnTo>
                    <a:pt x="38" y="193"/>
                  </a:lnTo>
                  <a:lnTo>
                    <a:pt x="31" y="197"/>
                  </a:lnTo>
                  <a:lnTo>
                    <a:pt x="31" y="197"/>
                  </a:lnTo>
                  <a:lnTo>
                    <a:pt x="26" y="207"/>
                  </a:lnTo>
                  <a:lnTo>
                    <a:pt x="25" y="216"/>
                  </a:lnTo>
                  <a:lnTo>
                    <a:pt x="24" y="225"/>
                  </a:lnTo>
                  <a:lnTo>
                    <a:pt x="24" y="225"/>
                  </a:lnTo>
                  <a:lnTo>
                    <a:pt x="24" y="259"/>
                  </a:lnTo>
                  <a:lnTo>
                    <a:pt x="24" y="278"/>
                  </a:lnTo>
                  <a:lnTo>
                    <a:pt x="25" y="288"/>
                  </a:lnTo>
                  <a:lnTo>
                    <a:pt x="25" y="288"/>
                  </a:lnTo>
                  <a:lnTo>
                    <a:pt x="31" y="294"/>
                  </a:lnTo>
                  <a:lnTo>
                    <a:pt x="32" y="299"/>
                  </a:lnTo>
                  <a:lnTo>
                    <a:pt x="32" y="300"/>
                  </a:lnTo>
                  <a:lnTo>
                    <a:pt x="32" y="300"/>
                  </a:lnTo>
                  <a:lnTo>
                    <a:pt x="32" y="300"/>
                  </a:lnTo>
                  <a:lnTo>
                    <a:pt x="28" y="303"/>
                  </a:lnTo>
                  <a:lnTo>
                    <a:pt x="26" y="304"/>
                  </a:lnTo>
                  <a:lnTo>
                    <a:pt x="26" y="309"/>
                  </a:lnTo>
                  <a:lnTo>
                    <a:pt x="26" y="309"/>
                  </a:lnTo>
                  <a:lnTo>
                    <a:pt x="26" y="316"/>
                  </a:lnTo>
                  <a:lnTo>
                    <a:pt x="28" y="323"/>
                  </a:lnTo>
                  <a:lnTo>
                    <a:pt x="29" y="329"/>
                  </a:lnTo>
                  <a:lnTo>
                    <a:pt x="28" y="332"/>
                  </a:lnTo>
                  <a:lnTo>
                    <a:pt x="26" y="335"/>
                  </a:lnTo>
                  <a:lnTo>
                    <a:pt x="26" y="335"/>
                  </a:lnTo>
                  <a:lnTo>
                    <a:pt x="21" y="343"/>
                  </a:lnTo>
                  <a:lnTo>
                    <a:pt x="19" y="348"/>
                  </a:lnTo>
                  <a:lnTo>
                    <a:pt x="18" y="354"/>
                  </a:lnTo>
                  <a:lnTo>
                    <a:pt x="18" y="354"/>
                  </a:lnTo>
                  <a:lnTo>
                    <a:pt x="16" y="367"/>
                  </a:lnTo>
                  <a:lnTo>
                    <a:pt x="15" y="371"/>
                  </a:lnTo>
                  <a:lnTo>
                    <a:pt x="13" y="372"/>
                  </a:lnTo>
                  <a:lnTo>
                    <a:pt x="11" y="372"/>
                  </a:lnTo>
                  <a:lnTo>
                    <a:pt x="11" y="372"/>
                  </a:lnTo>
                  <a:lnTo>
                    <a:pt x="0" y="368"/>
                  </a:lnTo>
                  <a:lnTo>
                    <a:pt x="0" y="368"/>
                  </a:lnTo>
                  <a:lnTo>
                    <a:pt x="2" y="371"/>
                  </a:lnTo>
                  <a:lnTo>
                    <a:pt x="2" y="371"/>
                  </a:lnTo>
                  <a:lnTo>
                    <a:pt x="3" y="377"/>
                  </a:lnTo>
                  <a:lnTo>
                    <a:pt x="5" y="383"/>
                  </a:lnTo>
                  <a:lnTo>
                    <a:pt x="5" y="390"/>
                  </a:lnTo>
                  <a:lnTo>
                    <a:pt x="6" y="394"/>
                  </a:lnTo>
                  <a:lnTo>
                    <a:pt x="6" y="394"/>
                  </a:lnTo>
                  <a:lnTo>
                    <a:pt x="8" y="396"/>
                  </a:lnTo>
                  <a:lnTo>
                    <a:pt x="11" y="397"/>
                  </a:lnTo>
                  <a:lnTo>
                    <a:pt x="13" y="397"/>
                  </a:lnTo>
                  <a:lnTo>
                    <a:pt x="16" y="394"/>
                  </a:lnTo>
                  <a:lnTo>
                    <a:pt x="16" y="394"/>
                  </a:lnTo>
                  <a:lnTo>
                    <a:pt x="18" y="394"/>
                  </a:lnTo>
                  <a:lnTo>
                    <a:pt x="18" y="396"/>
                  </a:lnTo>
                  <a:lnTo>
                    <a:pt x="16" y="401"/>
                  </a:lnTo>
                  <a:lnTo>
                    <a:pt x="13" y="414"/>
                  </a:lnTo>
                  <a:lnTo>
                    <a:pt x="13" y="414"/>
                  </a:lnTo>
                  <a:lnTo>
                    <a:pt x="15" y="420"/>
                  </a:lnTo>
                  <a:lnTo>
                    <a:pt x="18" y="426"/>
                  </a:lnTo>
                  <a:lnTo>
                    <a:pt x="25" y="438"/>
                  </a:lnTo>
                  <a:lnTo>
                    <a:pt x="25" y="438"/>
                  </a:lnTo>
                  <a:lnTo>
                    <a:pt x="28" y="448"/>
                  </a:lnTo>
                  <a:lnTo>
                    <a:pt x="31" y="456"/>
                  </a:lnTo>
                  <a:lnTo>
                    <a:pt x="31" y="456"/>
                  </a:lnTo>
                  <a:lnTo>
                    <a:pt x="31" y="461"/>
                  </a:lnTo>
                  <a:lnTo>
                    <a:pt x="29" y="467"/>
                  </a:lnTo>
                  <a:lnTo>
                    <a:pt x="29" y="471"/>
                  </a:lnTo>
                  <a:lnTo>
                    <a:pt x="29" y="472"/>
                  </a:lnTo>
                  <a:lnTo>
                    <a:pt x="29" y="474"/>
                  </a:lnTo>
                  <a:lnTo>
                    <a:pt x="29" y="474"/>
                  </a:lnTo>
                  <a:lnTo>
                    <a:pt x="37" y="475"/>
                  </a:lnTo>
                  <a:lnTo>
                    <a:pt x="41" y="477"/>
                  </a:lnTo>
                  <a:lnTo>
                    <a:pt x="47" y="478"/>
                  </a:lnTo>
                  <a:lnTo>
                    <a:pt x="47" y="478"/>
                  </a:lnTo>
                  <a:lnTo>
                    <a:pt x="53" y="477"/>
                  </a:lnTo>
                  <a:lnTo>
                    <a:pt x="54" y="475"/>
                  </a:lnTo>
                  <a:lnTo>
                    <a:pt x="55" y="472"/>
                  </a:lnTo>
                  <a:lnTo>
                    <a:pt x="55" y="472"/>
                  </a:lnTo>
                  <a:lnTo>
                    <a:pt x="57" y="465"/>
                  </a:lnTo>
                  <a:lnTo>
                    <a:pt x="60" y="461"/>
                  </a:lnTo>
                  <a:lnTo>
                    <a:pt x="64" y="456"/>
                  </a:lnTo>
                  <a:lnTo>
                    <a:pt x="64" y="456"/>
                  </a:lnTo>
                  <a:lnTo>
                    <a:pt x="70" y="453"/>
                  </a:lnTo>
                  <a:lnTo>
                    <a:pt x="74" y="453"/>
                  </a:lnTo>
                  <a:lnTo>
                    <a:pt x="77" y="453"/>
                  </a:lnTo>
                  <a:lnTo>
                    <a:pt x="80" y="453"/>
                  </a:lnTo>
                  <a:lnTo>
                    <a:pt x="80" y="453"/>
                  </a:lnTo>
                  <a:lnTo>
                    <a:pt x="83" y="449"/>
                  </a:lnTo>
                  <a:lnTo>
                    <a:pt x="87" y="438"/>
                  </a:lnTo>
                  <a:lnTo>
                    <a:pt x="95" y="417"/>
                  </a:lnTo>
                  <a:lnTo>
                    <a:pt x="95" y="417"/>
                  </a:lnTo>
                  <a:lnTo>
                    <a:pt x="95" y="410"/>
                  </a:lnTo>
                  <a:lnTo>
                    <a:pt x="95" y="404"/>
                  </a:lnTo>
                  <a:lnTo>
                    <a:pt x="95" y="396"/>
                  </a:lnTo>
                  <a:lnTo>
                    <a:pt x="95" y="396"/>
                  </a:lnTo>
                  <a:lnTo>
                    <a:pt x="100" y="383"/>
                  </a:lnTo>
                  <a:lnTo>
                    <a:pt x="108" y="371"/>
                  </a:lnTo>
                  <a:lnTo>
                    <a:pt x="108" y="371"/>
                  </a:lnTo>
                  <a:lnTo>
                    <a:pt x="110" y="371"/>
                  </a:lnTo>
                  <a:lnTo>
                    <a:pt x="112" y="371"/>
                  </a:lnTo>
                  <a:lnTo>
                    <a:pt x="113" y="371"/>
                  </a:lnTo>
                  <a:lnTo>
                    <a:pt x="115" y="371"/>
                  </a:lnTo>
                  <a:lnTo>
                    <a:pt x="115" y="371"/>
                  </a:lnTo>
                  <a:lnTo>
                    <a:pt x="116" y="369"/>
                  </a:lnTo>
                  <a:lnTo>
                    <a:pt x="119" y="364"/>
                  </a:lnTo>
                  <a:lnTo>
                    <a:pt x="121" y="358"/>
                  </a:lnTo>
                  <a:lnTo>
                    <a:pt x="124" y="355"/>
                  </a:lnTo>
                  <a:lnTo>
                    <a:pt x="124" y="355"/>
                  </a:lnTo>
                  <a:lnTo>
                    <a:pt x="128" y="351"/>
                  </a:lnTo>
                  <a:lnTo>
                    <a:pt x="129" y="345"/>
                  </a:lnTo>
                  <a:lnTo>
                    <a:pt x="129" y="345"/>
                  </a:lnTo>
                  <a:lnTo>
                    <a:pt x="128" y="336"/>
                  </a:lnTo>
                  <a:lnTo>
                    <a:pt x="125" y="327"/>
                  </a:lnTo>
                  <a:lnTo>
                    <a:pt x="125" y="327"/>
                  </a:lnTo>
                  <a:lnTo>
                    <a:pt x="122" y="323"/>
                  </a:lnTo>
                  <a:lnTo>
                    <a:pt x="119" y="320"/>
                  </a:lnTo>
                  <a:lnTo>
                    <a:pt x="115" y="319"/>
                  </a:lnTo>
                  <a:lnTo>
                    <a:pt x="110" y="319"/>
                  </a:lnTo>
                  <a:lnTo>
                    <a:pt x="110" y="319"/>
                  </a:lnTo>
                  <a:lnTo>
                    <a:pt x="106" y="317"/>
                  </a:lnTo>
                  <a:lnTo>
                    <a:pt x="103" y="316"/>
                  </a:lnTo>
                  <a:lnTo>
                    <a:pt x="99" y="307"/>
                  </a:lnTo>
                  <a:lnTo>
                    <a:pt x="99" y="307"/>
                  </a:lnTo>
                  <a:lnTo>
                    <a:pt x="97" y="301"/>
                  </a:lnTo>
                  <a:lnTo>
                    <a:pt x="99" y="296"/>
                  </a:lnTo>
                  <a:lnTo>
                    <a:pt x="100" y="290"/>
                  </a:lnTo>
                  <a:lnTo>
                    <a:pt x="103" y="287"/>
                  </a:lnTo>
                  <a:lnTo>
                    <a:pt x="103" y="287"/>
                  </a:lnTo>
                  <a:lnTo>
                    <a:pt x="105" y="283"/>
                  </a:lnTo>
                  <a:lnTo>
                    <a:pt x="105" y="275"/>
                  </a:lnTo>
                  <a:lnTo>
                    <a:pt x="105" y="264"/>
                  </a:lnTo>
                  <a:lnTo>
                    <a:pt x="105" y="264"/>
                  </a:lnTo>
                  <a:lnTo>
                    <a:pt x="105" y="261"/>
                  </a:lnTo>
                  <a:lnTo>
                    <a:pt x="103" y="258"/>
                  </a:lnTo>
                  <a:lnTo>
                    <a:pt x="100" y="254"/>
                  </a:lnTo>
                  <a:lnTo>
                    <a:pt x="99" y="251"/>
                  </a:lnTo>
                  <a:lnTo>
                    <a:pt x="99" y="251"/>
                  </a:lnTo>
                  <a:lnTo>
                    <a:pt x="100" y="249"/>
                  </a:lnTo>
                  <a:lnTo>
                    <a:pt x="102" y="251"/>
                  </a:lnTo>
                  <a:lnTo>
                    <a:pt x="109" y="254"/>
                  </a:lnTo>
                  <a:lnTo>
                    <a:pt x="109" y="254"/>
                  </a:lnTo>
                  <a:lnTo>
                    <a:pt x="110" y="254"/>
                  </a:lnTo>
                  <a:lnTo>
                    <a:pt x="112" y="252"/>
                  </a:lnTo>
                  <a:lnTo>
                    <a:pt x="116" y="246"/>
                  </a:lnTo>
                  <a:lnTo>
                    <a:pt x="125" y="235"/>
                  </a:lnTo>
                  <a:lnTo>
                    <a:pt x="125" y="235"/>
                  </a:lnTo>
                  <a:lnTo>
                    <a:pt x="128" y="226"/>
                  </a:lnTo>
                  <a:lnTo>
                    <a:pt x="131" y="217"/>
                  </a:lnTo>
                  <a:lnTo>
                    <a:pt x="131" y="217"/>
                  </a:lnTo>
                  <a:lnTo>
                    <a:pt x="134" y="216"/>
                  </a:lnTo>
                  <a:lnTo>
                    <a:pt x="138" y="213"/>
                  </a:lnTo>
                  <a:lnTo>
                    <a:pt x="147" y="209"/>
                  </a:lnTo>
                  <a:lnTo>
                    <a:pt x="147" y="209"/>
                  </a:lnTo>
                  <a:lnTo>
                    <a:pt x="154" y="204"/>
                  </a:lnTo>
                  <a:lnTo>
                    <a:pt x="157" y="201"/>
                  </a:lnTo>
                  <a:lnTo>
                    <a:pt x="158" y="197"/>
                  </a:lnTo>
                  <a:lnTo>
                    <a:pt x="158" y="197"/>
                  </a:lnTo>
                  <a:lnTo>
                    <a:pt x="161" y="193"/>
                  </a:lnTo>
                  <a:lnTo>
                    <a:pt x="164" y="187"/>
                  </a:lnTo>
                  <a:lnTo>
                    <a:pt x="171" y="180"/>
                  </a:lnTo>
                  <a:lnTo>
                    <a:pt x="171" y="180"/>
                  </a:lnTo>
                  <a:lnTo>
                    <a:pt x="171" y="177"/>
                  </a:lnTo>
                  <a:lnTo>
                    <a:pt x="170" y="174"/>
                  </a:lnTo>
                  <a:lnTo>
                    <a:pt x="166" y="168"/>
                  </a:lnTo>
                  <a:lnTo>
                    <a:pt x="166" y="168"/>
                  </a:lnTo>
                  <a:lnTo>
                    <a:pt x="164" y="164"/>
                  </a:lnTo>
                  <a:lnTo>
                    <a:pt x="164" y="162"/>
                  </a:lnTo>
                  <a:lnTo>
                    <a:pt x="168" y="159"/>
                  </a:lnTo>
                  <a:lnTo>
                    <a:pt x="168" y="159"/>
                  </a:lnTo>
                  <a:lnTo>
                    <a:pt x="170" y="155"/>
                  </a:lnTo>
                  <a:lnTo>
                    <a:pt x="171" y="152"/>
                  </a:lnTo>
                  <a:lnTo>
                    <a:pt x="171" y="152"/>
                  </a:lnTo>
                  <a:lnTo>
                    <a:pt x="174" y="149"/>
                  </a:lnTo>
                  <a:lnTo>
                    <a:pt x="180" y="144"/>
                  </a:lnTo>
                  <a:lnTo>
                    <a:pt x="180" y="144"/>
                  </a:lnTo>
                  <a:lnTo>
                    <a:pt x="183" y="142"/>
                  </a:lnTo>
                  <a:lnTo>
                    <a:pt x="183" y="139"/>
                  </a:lnTo>
                  <a:lnTo>
                    <a:pt x="181" y="138"/>
                  </a:lnTo>
                  <a:lnTo>
                    <a:pt x="181" y="135"/>
                  </a:lnTo>
                  <a:lnTo>
                    <a:pt x="181" y="135"/>
                  </a:lnTo>
                  <a:lnTo>
                    <a:pt x="183" y="133"/>
                  </a:lnTo>
                  <a:lnTo>
                    <a:pt x="187" y="133"/>
                  </a:lnTo>
                  <a:lnTo>
                    <a:pt x="196" y="135"/>
                  </a:lnTo>
                  <a:lnTo>
                    <a:pt x="196" y="135"/>
                  </a:lnTo>
                  <a:lnTo>
                    <a:pt x="200" y="135"/>
                  </a:lnTo>
                  <a:lnTo>
                    <a:pt x="203" y="135"/>
                  </a:lnTo>
                  <a:lnTo>
                    <a:pt x="212" y="133"/>
                  </a:lnTo>
                  <a:lnTo>
                    <a:pt x="212" y="133"/>
                  </a:lnTo>
                  <a:lnTo>
                    <a:pt x="208" y="1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91" name="Freeform 1151"/>
            <p:cNvSpPr>
              <a:spLocks/>
            </p:cNvSpPr>
            <p:nvPr/>
          </p:nvSpPr>
          <p:spPr bwMode="auto">
            <a:xfrm>
              <a:off x="4630738" y="2891267"/>
              <a:ext cx="39688" cy="38100"/>
            </a:xfrm>
            <a:custGeom>
              <a:avLst/>
              <a:gdLst>
                <a:gd name="T0" fmla="*/ 10 w 25"/>
                <a:gd name="T1" fmla="*/ 22 h 24"/>
                <a:gd name="T2" fmla="*/ 10 w 25"/>
                <a:gd name="T3" fmla="*/ 22 h 24"/>
                <a:gd name="T4" fmla="*/ 7 w 25"/>
                <a:gd name="T5" fmla="*/ 22 h 24"/>
                <a:gd name="T6" fmla="*/ 4 w 25"/>
                <a:gd name="T7" fmla="*/ 23 h 24"/>
                <a:gd name="T8" fmla="*/ 1 w 25"/>
                <a:gd name="T9" fmla="*/ 24 h 24"/>
                <a:gd name="T10" fmla="*/ 0 w 25"/>
                <a:gd name="T11" fmla="*/ 24 h 24"/>
                <a:gd name="T12" fmla="*/ 0 w 25"/>
                <a:gd name="T13" fmla="*/ 24 h 24"/>
                <a:gd name="T14" fmla="*/ 0 w 25"/>
                <a:gd name="T15" fmla="*/ 24 h 24"/>
                <a:gd name="T16" fmla="*/ 0 w 25"/>
                <a:gd name="T17" fmla="*/ 20 h 24"/>
                <a:gd name="T18" fmla="*/ 0 w 25"/>
                <a:gd name="T19" fmla="*/ 16 h 24"/>
                <a:gd name="T20" fmla="*/ 0 w 25"/>
                <a:gd name="T21" fmla="*/ 10 h 24"/>
                <a:gd name="T22" fmla="*/ 1 w 25"/>
                <a:gd name="T23" fmla="*/ 7 h 24"/>
                <a:gd name="T24" fmla="*/ 1 w 25"/>
                <a:gd name="T25" fmla="*/ 7 h 24"/>
                <a:gd name="T26" fmla="*/ 3 w 25"/>
                <a:gd name="T27" fmla="*/ 7 h 24"/>
                <a:gd name="T28" fmla="*/ 4 w 25"/>
                <a:gd name="T29" fmla="*/ 8 h 24"/>
                <a:gd name="T30" fmla="*/ 6 w 25"/>
                <a:gd name="T31" fmla="*/ 10 h 24"/>
                <a:gd name="T32" fmla="*/ 7 w 25"/>
                <a:gd name="T33" fmla="*/ 10 h 24"/>
                <a:gd name="T34" fmla="*/ 7 w 25"/>
                <a:gd name="T35" fmla="*/ 10 h 24"/>
                <a:gd name="T36" fmla="*/ 9 w 25"/>
                <a:gd name="T37" fmla="*/ 10 h 24"/>
                <a:gd name="T38" fmla="*/ 10 w 25"/>
                <a:gd name="T39" fmla="*/ 7 h 24"/>
                <a:gd name="T40" fmla="*/ 10 w 25"/>
                <a:gd name="T41" fmla="*/ 6 h 24"/>
                <a:gd name="T42" fmla="*/ 12 w 25"/>
                <a:gd name="T43" fmla="*/ 4 h 24"/>
                <a:gd name="T44" fmla="*/ 12 w 25"/>
                <a:gd name="T45" fmla="*/ 4 h 24"/>
                <a:gd name="T46" fmla="*/ 16 w 25"/>
                <a:gd name="T47" fmla="*/ 1 h 24"/>
                <a:gd name="T48" fmla="*/ 17 w 25"/>
                <a:gd name="T49" fmla="*/ 0 h 24"/>
                <a:gd name="T50" fmla="*/ 20 w 25"/>
                <a:gd name="T51" fmla="*/ 0 h 24"/>
                <a:gd name="T52" fmla="*/ 20 w 25"/>
                <a:gd name="T53" fmla="*/ 0 h 24"/>
                <a:gd name="T54" fmla="*/ 23 w 25"/>
                <a:gd name="T55" fmla="*/ 6 h 24"/>
                <a:gd name="T56" fmla="*/ 25 w 25"/>
                <a:gd name="T57" fmla="*/ 10 h 24"/>
                <a:gd name="T58" fmla="*/ 25 w 25"/>
                <a:gd name="T59" fmla="*/ 10 h 24"/>
                <a:gd name="T60" fmla="*/ 23 w 25"/>
                <a:gd name="T61" fmla="*/ 13 h 24"/>
                <a:gd name="T62" fmla="*/ 19 w 25"/>
                <a:gd name="T63" fmla="*/ 17 h 24"/>
                <a:gd name="T64" fmla="*/ 13 w 25"/>
                <a:gd name="T65" fmla="*/ 22 h 24"/>
                <a:gd name="T66" fmla="*/ 12 w 25"/>
                <a:gd name="T67" fmla="*/ 22 h 24"/>
                <a:gd name="T68" fmla="*/ 10 w 25"/>
                <a:gd name="T69"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24">
                  <a:moveTo>
                    <a:pt x="10" y="22"/>
                  </a:moveTo>
                  <a:lnTo>
                    <a:pt x="10" y="22"/>
                  </a:lnTo>
                  <a:lnTo>
                    <a:pt x="7" y="22"/>
                  </a:lnTo>
                  <a:lnTo>
                    <a:pt x="4" y="23"/>
                  </a:lnTo>
                  <a:lnTo>
                    <a:pt x="1" y="24"/>
                  </a:lnTo>
                  <a:lnTo>
                    <a:pt x="0" y="24"/>
                  </a:lnTo>
                  <a:lnTo>
                    <a:pt x="0" y="24"/>
                  </a:lnTo>
                  <a:lnTo>
                    <a:pt x="0" y="24"/>
                  </a:lnTo>
                  <a:lnTo>
                    <a:pt x="0" y="20"/>
                  </a:lnTo>
                  <a:lnTo>
                    <a:pt x="0" y="16"/>
                  </a:lnTo>
                  <a:lnTo>
                    <a:pt x="0" y="10"/>
                  </a:lnTo>
                  <a:lnTo>
                    <a:pt x="1" y="7"/>
                  </a:lnTo>
                  <a:lnTo>
                    <a:pt x="1" y="7"/>
                  </a:lnTo>
                  <a:lnTo>
                    <a:pt x="3" y="7"/>
                  </a:lnTo>
                  <a:lnTo>
                    <a:pt x="4" y="8"/>
                  </a:lnTo>
                  <a:lnTo>
                    <a:pt x="6" y="10"/>
                  </a:lnTo>
                  <a:lnTo>
                    <a:pt x="7" y="10"/>
                  </a:lnTo>
                  <a:lnTo>
                    <a:pt x="7" y="10"/>
                  </a:lnTo>
                  <a:lnTo>
                    <a:pt x="9" y="10"/>
                  </a:lnTo>
                  <a:lnTo>
                    <a:pt x="10" y="7"/>
                  </a:lnTo>
                  <a:lnTo>
                    <a:pt x="10" y="6"/>
                  </a:lnTo>
                  <a:lnTo>
                    <a:pt x="12" y="4"/>
                  </a:lnTo>
                  <a:lnTo>
                    <a:pt x="12" y="4"/>
                  </a:lnTo>
                  <a:lnTo>
                    <a:pt x="16" y="1"/>
                  </a:lnTo>
                  <a:lnTo>
                    <a:pt x="17" y="0"/>
                  </a:lnTo>
                  <a:lnTo>
                    <a:pt x="20" y="0"/>
                  </a:lnTo>
                  <a:lnTo>
                    <a:pt x="20" y="0"/>
                  </a:lnTo>
                  <a:lnTo>
                    <a:pt x="23" y="6"/>
                  </a:lnTo>
                  <a:lnTo>
                    <a:pt x="25" y="10"/>
                  </a:lnTo>
                  <a:lnTo>
                    <a:pt x="25" y="10"/>
                  </a:lnTo>
                  <a:lnTo>
                    <a:pt x="23" y="13"/>
                  </a:lnTo>
                  <a:lnTo>
                    <a:pt x="19" y="17"/>
                  </a:lnTo>
                  <a:lnTo>
                    <a:pt x="13" y="22"/>
                  </a:lnTo>
                  <a:lnTo>
                    <a:pt x="12" y="22"/>
                  </a:lnTo>
                  <a:lnTo>
                    <a:pt x="1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92" name="Freeform 1152"/>
            <p:cNvSpPr>
              <a:spLocks/>
            </p:cNvSpPr>
            <p:nvPr/>
          </p:nvSpPr>
          <p:spPr bwMode="auto">
            <a:xfrm>
              <a:off x="4670426" y="2918254"/>
              <a:ext cx="20638" cy="36513"/>
            </a:xfrm>
            <a:custGeom>
              <a:avLst/>
              <a:gdLst>
                <a:gd name="T0" fmla="*/ 13 w 13"/>
                <a:gd name="T1" fmla="*/ 10 h 23"/>
                <a:gd name="T2" fmla="*/ 13 w 13"/>
                <a:gd name="T3" fmla="*/ 10 h 23"/>
                <a:gd name="T4" fmla="*/ 11 w 13"/>
                <a:gd name="T5" fmla="*/ 15 h 23"/>
                <a:gd name="T6" fmla="*/ 8 w 13"/>
                <a:gd name="T7" fmla="*/ 19 h 23"/>
                <a:gd name="T8" fmla="*/ 5 w 13"/>
                <a:gd name="T9" fmla="*/ 23 h 23"/>
                <a:gd name="T10" fmla="*/ 2 w 13"/>
                <a:gd name="T11" fmla="*/ 23 h 23"/>
                <a:gd name="T12" fmla="*/ 2 w 13"/>
                <a:gd name="T13" fmla="*/ 23 h 23"/>
                <a:gd name="T14" fmla="*/ 0 w 13"/>
                <a:gd name="T15" fmla="*/ 22 h 23"/>
                <a:gd name="T16" fmla="*/ 0 w 13"/>
                <a:gd name="T17" fmla="*/ 20 h 23"/>
                <a:gd name="T18" fmla="*/ 4 w 13"/>
                <a:gd name="T19" fmla="*/ 13 h 23"/>
                <a:gd name="T20" fmla="*/ 4 w 13"/>
                <a:gd name="T21" fmla="*/ 13 h 23"/>
                <a:gd name="T22" fmla="*/ 7 w 13"/>
                <a:gd name="T23" fmla="*/ 5 h 23"/>
                <a:gd name="T24" fmla="*/ 8 w 13"/>
                <a:gd name="T25" fmla="*/ 2 h 23"/>
                <a:gd name="T26" fmla="*/ 11 w 13"/>
                <a:gd name="T27" fmla="*/ 0 h 23"/>
                <a:gd name="T28" fmla="*/ 11 w 13"/>
                <a:gd name="T29" fmla="*/ 0 h 23"/>
                <a:gd name="T30" fmla="*/ 13 w 13"/>
                <a:gd name="T31" fmla="*/ 0 h 23"/>
                <a:gd name="T32" fmla="*/ 13 w 13"/>
                <a:gd name="T33" fmla="*/ 3 h 23"/>
                <a:gd name="T34" fmla="*/ 13 w 13"/>
                <a:gd name="T35" fmla="*/ 1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23">
                  <a:moveTo>
                    <a:pt x="13" y="10"/>
                  </a:moveTo>
                  <a:lnTo>
                    <a:pt x="13" y="10"/>
                  </a:lnTo>
                  <a:lnTo>
                    <a:pt x="11" y="15"/>
                  </a:lnTo>
                  <a:lnTo>
                    <a:pt x="8" y="19"/>
                  </a:lnTo>
                  <a:lnTo>
                    <a:pt x="5" y="23"/>
                  </a:lnTo>
                  <a:lnTo>
                    <a:pt x="2" y="23"/>
                  </a:lnTo>
                  <a:lnTo>
                    <a:pt x="2" y="23"/>
                  </a:lnTo>
                  <a:lnTo>
                    <a:pt x="0" y="22"/>
                  </a:lnTo>
                  <a:lnTo>
                    <a:pt x="0" y="20"/>
                  </a:lnTo>
                  <a:lnTo>
                    <a:pt x="4" y="13"/>
                  </a:lnTo>
                  <a:lnTo>
                    <a:pt x="4" y="13"/>
                  </a:lnTo>
                  <a:lnTo>
                    <a:pt x="7" y="5"/>
                  </a:lnTo>
                  <a:lnTo>
                    <a:pt x="8" y="2"/>
                  </a:lnTo>
                  <a:lnTo>
                    <a:pt x="11" y="0"/>
                  </a:lnTo>
                  <a:lnTo>
                    <a:pt x="11" y="0"/>
                  </a:lnTo>
                  <a:lnTo>
                    <a:pt x="13" y="0"/>
                  </a:lnTo>
                  <a:lnTo>
                    <a:pt x="13" y="3"/>
                  </a:lnTo>
                  <a:lnTo>
                    <a:pt x="13"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93" name="Freeform 1153"/>
            <p:cNvSpPr>
              <a:spLocks/>
            </p:cNvSpPr>
            <p:nvPr/>
          </p:nvSpPr>
          <p:spPr bwMode="auto">
            <a:xfrm>
              <a:off x="4743451" y="2872217"/>
              <a:ext cx="22225" cy="19050"/>
            </a:xfrm>
            <a:custGeom>
              <a:avLst/>
              <a:gdLst>
                <a:gd name="T0" fmla="*/ 6 w 14"/>
                <a:gd name="T1" fmla="*/ 6 h 12"/>
                <a:gd name="T2" fmla="*/ 6 w 14"/>
                <a:gd name="T3" fmla="*/ 6 h 12"/>
                <a:gd name="T4" fmla="*/ 7 w 14"/>
                <a:gd name="T5" fmla="*/ 5 h 12"/>
                <a:gd name="T6" fmla="*/ 9 w 14"/>
                <a:gd name="T7" fmla="*/ 2 h 12"/>
                <a:gd name="T8" fmla="*/ 9 w 14"/>
                <a:gd name="T9" fmla="*/ 0 h 12"/>
                <a:gd name="T10" fmla="*/ 10 w 14"/>
                <a:gd name="T11" fmla="*/ 0 h 12"/>
                <a:gd name="T12" fmla="*/ 10 w 14"/>
                <a:gd name="T13" fmla="*/ 0 h 12"/>
                <a:gd name="T14" fmla="*/ 13 w 14"/>
                <a:gd name="T15" fmla="*/ 6 h 12"/>
                <a:gd name="T16" fmla="*/ 14 w 14"/>
                <a:gd name="T17" fmla="*/ 9 h 12"/>
                <a:gd name="T18" fmla="*/ 14 w 14"/>
                <a:gd name="T19" fmla="*/ 10 h 12"/>
                <a:gd name="T20" fmla="*/ 13 w 14"/>
                <a:gd name="T21" fmla="*/ 10 h 12"/>
                <a:gd name="T22" fmla="*/ 13 w 14"/>
                <a:gd name="T23" fmla="*/ 10 h 12"/>
                <a:gd name="T24" fmla="*/ 7 w 14"/>
                <a:gd name="T25" fmla="*/ 12 h 12"/>
                <a:gd name="T26" fmla="*/ 4 w 14"/>
                <a:gd name="T27" fmla="*/ 10 h 12"/>
                <a:gd name="T28" fmla="*/ 1 w 14"/>
                <a:gd name="T29" fmla="*/ 9 h 12"/>
                <a:gd name="T30" fmla="*/ 1 w 14"/>
                <a:gd name="T31" fmla="*/ 9 h 12"/>
                <a:gd name="T32" fmla="*/ 0 w 14"/>
                <a:gd name="T33" fmla="*/ 9 h 12"/>
                <a:gd name="T34" fmla="*/ 1 w 14"/>
                <a:gd name="T35" fmla="*/ 7 h 12"/>
                <a:gd name="T36" fmla="*/ 6 w 14"/>
                <a:gd name="T37"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12">
                  <a:moveTo>
                    <a:pt x="6" y="6"/>
                  </a:moveTo>
                  <a:lnTo>
                    <a:pt x="6" y="6"/>
                  </a:lnTo>
                  <a:lnTo>
                    <a:pt x="7" y="5"/>
                  </a:lnTo>
                  <a:lnTo>
                    <a:pt x="9" y="2"/>
                  </a:lnTo>
                  <a:lnTo>
                    <a:pt x="9" y="0"/>
                  </a:lnTo>
                  <a:lnTo>
                    <a:pt x="10" y="0"/>
                  </a:lnTo>
                  <a:lnTo>
                    <a:pt x="10" y="0"/>
                  </a:lnTo>
                  <a:lnTo>
                    <a:pt x="13" y="6"/>
                  </a:lnTo>
                  <a:lnTo>
                    <a:pt x="14" y="9"/>
                  </a:lnTo>
                  <a:lnTo>
                    <a:pt x="14" y="10"/>
                  </a:lnTo>
                  <a:lnTo>
                    <a:pt x="13" y="10"/>
                  </a:lnTo>
                  <a:lnTo>
                    <a:pt x="13" y="10"/>
                  </a:lnTo>
                  <a:lnTo>
                    <a:pt x="7" y="12"/>
                  </a:lnTo>
                  <a:lnTo>
                    <a:pt x="4" y="10"/>
                  </a:lnTo>
                  <a:lnTo>
                    <a:pt x="1" y="9"/>
                  </a:lnTo>
                  <a:lnTo>
                    <a:pt x="1" y="9"/>
                  </a:lnTo>
                  <a:lnTo>
                    <a:pt x="0" y="9"/>
                  </a:lnTo>
                  <a:lnTo>
                    <a:pt x="1" y="7"/>
                  </a:lnTo>
                  <a:lnTo>
                    <a:pt x="6"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94" name="Freeform 1154"/>
            <p:cNvSpPr>
              <a:spLocks noEditPoints="1"/>
            </p:cNvSpPr>
            <p:nvPr/>
          </p:nvSpPr>
          <p:spPr bwMode="auto">
            <a:xfrm>
              <a:off x="5014913" y="1527604"/>
              <a:ext cx="4110038" cy="2081213"/>
            </a:xfrm>
            <a:custGeom>
              <a:avLst/>
              <a:gdLst>
                <a:gd name="T0" fmla="*/ 2433 w 2589"/>
                <a:gd name="T1" fmla="*/ 511 h 1311"/>
                <a:gd name="T2" fmla="*/ 2284 w 2589"/>
                <a:gd name="T3" fmla="*/ 488 h 1311"/>
                <a:gd name="T4" fmla="*/ 2139 w 2589"/>
                <a:gd name="T5" fmla="*/ 487 h 1311"/>
                <a:gd name="T6" fmla="*/ 1958 w 2589"/>
                <a:gd name="T7" fmla="*/ 366 h 1311"/>
                <a:gd name="T8" fmla="*/ 1806 w 2589"/>
                <a:gd name="T9" fmla="*/ 324 h 1311"/>
                <a:gd name="T10" fmla="*/ 1773 w 2589"/>
                <a:gd name="T11" fmla="*/ 388 h 1311"/>
                <a:gd name="T12" fmla="*/ 1645 w 2589"/>
                <a:gd name="T13" fmla="*/ 405 h 1311"/>
                <a:gd name="T14" fmla="*/ 1623 w 2589"/>
                <a:gd name="T15" fmla="*/ 349 h 1311"/>
                <a:gd name="T16" fmla="*/ 1528 w 2589"/>
                <a:gd name="T17" fmla="*/ 295 h 1311"/>
                <a:gd name="T18" fmla="*/ 1370 w 2589"/>
                <a:gd name="T19" fmla="*/ 305 h 1311"/>
                <a:gd name="T20" fmla="*/ 1325 w 2589"/>
                <a:gd name="T21" fmla="*/ 204 h 1311"/>
                <a:gd name="T22" fmla="*/ 1242 w 2589"/>
                <a:gd name="T23" fmla="*/ 53 h 1311"/>
                <a:gd name="T24" fmla="*/ 1156 w 2589"/>
                <a:gd name="T25" fmla="*/ 119 h 1311"/>
                <a:gd name="T26" fmla="*/ 1101 w 2589"/>
                <a:gd name="T27" fmla="*/ 108 h 1311"/>
                <a:gd name="T28" fmla="*/ 925 w 2589"/>
                <a:gd name="T29" fmla="*/ 235 h 1311"/>
                <a:gd name="T30" fmla="*/ 876 w 2589"/>
                <a:gd name="T31" fmla="*/ 403 h 1311"/>
                <a:gd name="T32" fmla="*/ 782 w 2589"/>
                <a:gd name="T33" fmla="*/ 337 h 1311"/>
                <a:gd name="T34" fmla="*/ 733 w 2589"/>
                <a:gd name="T35" fmla="*/ 385 h 1311"/>
                <a:gd name="T36" fmla="*/ 801 w 2589"/>
                <a:gd name="T37" fmla="*/ 578 h 1311"/>
                <a:gd name="T38" fmla="*/ 675 w 2589"/>
                <a:gd name="T39" fmla="*/ 607 h 1311"/>
                <a:gd name="T40" fmla="*/ 728 w 2589"/>
                <a:gd name="T41" fmla="*/ 311 h 1311"/>
                <a:gd name="T42" fmla="*/ 634 w 2589"/>
                <a:gd name="T43" fmla="*/ 468 h 1311"/>
                <a:gd name="T44" fmla="*/ 521 w 2589"/>
                <a:gd name="T45" fmla="*/ 505 h 1311"/>
                <a:gd name="T46" fmla="*/ 413 w 2589"/>
                <a:gd name="T47" fmla="*/ 540 h 1311"/>
                <a:gd name="T48" fmla="*/ 320 w 2589"/>
                <a:gd name="T49" fmla="*/ 582 h 1311"/>
                <a:gd name="T50" fmla="*/ 262 w 2589"/>
                <a:gd name="T51" fmla="*/ 614 h 1311"/>
                <a:gd name="T52" fmla="*/ 146 w 2589"/>
                <a:gd name="T53" fmla="*/ 656 h 1311"/>
                <a:gd name="T54" fmla="*/ 111 w 2589"/>
                <a:gd name="T55" fmla="*/ 627 h 1311"/>
                <a:gd name="T56" fmla="*/ 216 w 2589"/>
                <a:gd name="T57" fmla="*/ 566 h 1311"/>
                <a:gd name="T58" fmla="*/ 72 w 2589"/>
                <a:gd name="T59" fmla="*/ 468 h 1311"/>
                <a:gd name="T60" fmla="*/ 33 w 2589"/>
                <a:gd name="T61" fmla="*/ 656 h 1311"/>
                <a:gd name="T62" fmla="*/ 3 w 2589"/>
                <a:gd name="T63" fmla="*/ 872 h 1311"/>
                <a:gd name="T64" fmla="*/ 103 w 2589"/>
                <a:gd name="T65" fmla="*/ 1056 h 1311"/>
                <a:gd name="T66" fmla="*/ 152 w 2589"/>
                <a:gd name="T67" fmla="*/ 1227 h 1311"/>
                <a:gd name="T68" fmla="*/ 318 w 2589"/>
                <a:gd name="T69" fmla="*/ 1212 h 1311"/>
                <a:gd name="T70" fmla="*/ 413 w 2589"/>
                <a:gd name="T71" fmla="*/ 1056 h 1311"/>
                <a:gd name="T72" fmla="*/ 610 w 2589"/>
                <a:gd name="T73" fmla="*/ 993 h 1311"/>
                <a:gd name="T74" fmla="*/ 863 w 2589"/>
                <a:gd name="T75" fmla="*/ 1089 h 1311"/>
                <a:gd name="T76" fmla="*/ 1138 w 2589"/>
                <a:gd name="T77" fmla="*/ 1096 h 1311"/>
                <a:gd name="T78" fmla="*/ 1425 w 2589"/>
                <a:gd name="T79" fmla="*/ 1118 h 1311"/>
                <a:gd name="T80" fmla="*/ 1610 w 2589"/>
                <a:gd name="T81" fmla="*/ 1106 h 1311"/>
                <a:gd name="T82" fmla="*/ 1665 w 2589"/>
                <a:gd name="T83" fmla="*/ 1276 h 1311"/>
                <a:gd name="T84" fmla="*/ 1832 w 2589"/>
                <a:gd name="T85" fmla="*/ 1059 h 1311"/>
                <a:gd name="T86" fmla="*/ 1751 w 2589"/>
                <a:gd name="T87" fmla="*/ 999 h 1311"/>
                <a:gd name="T88" fmla="*/ 1948 w 2589"/>
                <a:gd name="T89" fmla="*/ 852 h 1311"/>
                <a:gd name="T90" fmla="*/ 2055 w 2589"/>
                <a:gd name="T91" fmla="*/ 860 h 1311"/>
                <a:gd name="T92" fmla="*/ 2145 w 2589"/>
                <a:gd name="T93" fmla="*/ 794 h 1311"/>
                <a:gd name="T94" fmla="*/ 2075 w 2589"/>
                <a:gd name="T95" fmla="*/ 907 h 1311"/>
                <a:gd name="T96" fmla="*/ 2117 w 2589"/>
                <a:gd name="T97" fmla="*/ 1031 h 1311"/>
                <a:gd name="T98" fmla="*/ 2171 w 2589"/>
                <a:gd name="T99" fmla="*/ 908 h 1311"/>
                <a:gd name="T100" fmla="*/ 2255 w 2589"/>
                <a:gd name="T101" fmla="*/ 812 h 1311"/>
                <a:gd name="T102" fmla="*/ 2414 w 2589"/>
                <a:gd name="T103" fmla="*/ 741 h 1311"/>
                <a:gd name="T104" fmla="*/ 2436 w 2589"/>
                <a:gd name="T105" fmla="*/ 637 h 1311"/>
                <a:gd name="T106" fmla="*/ 2542 w 2589"/>
                <a:gd name="T107" fmla="*/ 669 h 1311"/>
                <a:gd name="T108" fmla="*/ 688 w 2589"/>
                <a:gd name="T109" fmla="*/ 494 h 1311"/>
                <a:gd name="T110" fmla="*/ 53 w 2589"/>
                <a:gd name="T111" fmla="*/ 830 h 1311"/>
                <a:gd name="T112" fmla="*/ 129 w 2589"/>
                <a:gd name="T113" fmla="*/ 804 h 1311"/>
                <a:gd name="T114" fmla="*/ 139 w 2589"/>
                <a:gd name="T115" fmla="*/ 788 h 1311"/>
                <a:gd name="T116" fmla="*/ 182 w 2589"/>
                <a:gd name="T117" fmla="*/ 872 h 1311"/>
                <a:gd name="T118" fmla="*/ 963 w 2589"/>
                <a:gd name="T119" fmla="*/ 450 h 1311"/>
                <a:gd name="T120" fmla="*/ 1173 w 2589"/>
                <a:gd name="T121" fmla="*/ 236 h 1311"/>
                <a:gd name="T122" fmla="*/ 1177 w 2589"/>
                <a:gd name="T123" fmla="*/ 520 h 1311"/>
                <a:gd name="T124" fmla="*/ 1302 w 2589"/>
                <a:gd name="T125" fmla="*/ 1011 h 1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89" h="1311">
                  <a:moveTo>
                    <a:pt x="2581" y="611"/>
                  </a:moveTo>
                  <a:lnTo>
                    <a:pt x="2581" y="611"/>
                  </a:lnTo>
                  <a:lnTo>
                    <a:pt x="2576" y="607"/>
                  </a:lnTo>
                  <a:lnTo>
                    <a:pt x="2573" y="602"/>
                  </a:lnTo>
                  <a:lnTo>
                    <a:pt x="2572" y="594"/>
                  </a:lnTo>
                  <a:lnTo>
                    <a:pt x="2572" y="594"/>
                  </a:lnTo>
                  <a:lnTo>
                    <a:pt x="2571" y="591"/>
                  </a:lnTo>
                  <a:lnTo>
                    <a:pt x="2569" y="591"/>
                  </a:lnTo>
                  <a:lnTo>
                    <a:pt x="2565" y="594"/>
                  </a:lnTo>
                  <a:lnTo>
                    <a:pt x="2565" y="594"/>
                  </a:lnTo>
                  <a:lnTo>
                    <a:pt x="2563" y="594"/>
                  </a:lnTo>
                  <a:lnTo>
                    <a:pt x="2562" y="592"/>
                  </a:lnTo>
                  <a:lnTo>
                    <a:pt x="2560" y="586"/>
                  </a:lnTo>
                  <a:lnTo>
                    <a:pt x="2559" y="582"/>
                  </a:lnTo>
                  <a:lnTo>
                    <a:pt x="2558" y="581"/>
                  </a:lnTo>
                  <a:lnTo>
                    <a:pt x="2556" y="579"/>
                  </a:lnTo>
                  <a:lnTo>
                    <a:pt x="2556" y="579"/>
                  </a:lnTo>
                  <a:lnTo>
                    <a:pt x="2553" y="579"/>
                  </a:lnTo>
                  <a:lnTo>
                    <a:pt x="2549" y="578"/>
                  </a:lnTo>
                  <a:lnTo>
                    <a:pt x="2546" y="578"/>
                  </a:lnTo>
                  <a:lnTo>
                    <a:pt x="2543" y="578"/>
                  </a:lnTo>
                  <a:lnTo>
                    <a:pt x="2543" y="578"/>
                  </a:lnTo>
                  <a:lnTo>
                    <a:pt x="2536" y="576"/>
                  </a:lnTo>
                  <a:lnTo>
                    <a:pt x="2530" y="576"/>
                  </a:lnTo>
                  <a:lnTo>
                    <a:pt x="2527" y="578"/>
                  </a:lnTo>
                  <a:lnTo>
                    <a:pt x="2527" y="578"/>
                  </a:lnTo>
                  <a:lnTo>
                    <a:pt x="2524" y="582"/>
                  </a:lnTo>
                  <a:lnTo>
                    <a:pt x="2524" y="591"/>
                  </a:lnTo>
                  <a:lnTo>
                    <a:pt x="2523" y="598"/>
                  </a:lnTo>
                  <a:lnTo>
                    <a:pt x="2521" y="601"/>
                  </a:lnTo>
                  <a:lnTo>
                    <a:pt x="2521" y="602"/>
                  </a:lnTo>
                  <a:lnTo>
                    <a:pt x="2521" y="602"/>
                  </a:lnTo>
                  <a:lnTo>
                    <a:pt x="2520" y="601"/>
                  </a:lnTo>
                  <a:lnTo>
                    <a:pt x="2518" y="597"/>
                  </a:lnTo>
                  <a:lnTo>
                    <a:pt x="2518" y="585"/>
                  </a:lnTo>
                  <a:lnTo>
                    <a:pt x="2518" y="565"/>
                  </a:lnTo>
                  <a:lnTo>
                    <a:pt x="2518" y="565"/>
                  </a:lnTo>
                  <a:lnTo>
                    <a:pt x="2517" y="558"/>
                  </a:lnTo>
                  <a:lnTo>
                    <a:pt x="2516" y="553"/>
                  </a:lnTo>
                  <a:lnTo>
                    <a:pt x="2514" y="552"/>
                  </a:lnTo>
                  <a:lnTo>
                    <a:pt x="2514" y="552"/>
                  </a:lnTo>
                  <a:lnTo>
                    <a:pt x="2503" y="552"/>
                  </a:lnTo>
                  <a:lnTo>
                    <a:pt x="2488" y="550"/>
                  </a:lnTo>
                  <a:lnTo>
                    <a:pt x="2488" y="550"/>
                  </a:lnTo>
                  <a:lnTo>
                    <a:pt x="2485" y="549"/>
                  </a:lnTo>
                  <a:lnTo>
                    <a:pt x="2484" y="546"/>
                  </a:lnTo>
                  <a:lnTo>
                    <a:pt x="2479" y="542"/>
                  </a:lnTo>
                  <a:lnTo>
                    <a:pt x="2476" y="536"/>
                  </a:lnTo>
                  <a:lnTo>
                    <a:pt x="2475" y="533"/>
                  </a:lnTo>
                  <a:lnTo>
                    <a:pt x="2472" y="531"/>
                  </a:lnTo>
                  <a:lnTo>
                    <a:pt x="2472" y="531"/>
                  </a:lnTo>
                  <a:lnTo>
                    <a:pt x="2462" y="529"/>
                  </a:lnTo>
                  <a:lnTo>
                    <a:pt x="2456" y="526"/>
                  </a:lnTo>
                  <a:lnTo>
                    <a:pt x="2450" y="523"/>
                  </a:lnTo>
                  <a:lnTo>
                    <a:pt x="2450" y="523"/>
                  </a:lnTo>
                  <a:lnTo>
                    <a:pt x="2443" y="517"/>
                  </a:lnTo>
                  <a:lnTo>
                    <a:pt x="2433" y="511"/>
                  </a:lnTo>
                  <a:lnTo>
                    <a:pt x="2433" y="511"/>
                  </a:lnTo>
                  <a:lnTo>
                    <a:pt x="2427" y="507"/>
                  </a:lnTo>
                  <a:lnTo>
                    <a:pt x="2424" y="504"/>
                  </a:lnTo>
                  <a:lnTo>
                    <a:pt x="2419" y="497"/>
                  </a:lnTo>
                  <a:lnTo>
                    <a:pt x="2419" y="497"/>
                  </a:lnTo>
                  <a:lnTo>
                    <a:pt x="2416" y="494"/>
                  </a:lnTo>
                  <a:lnTo>
                    <a:pt x="2413" y="494"/>
                  </a:lnTo>
                  <a:lnTo>
                    <a:pt x="2410" y="494"/>
                  </a:lnTo>
                  <a:lnTo>
                    <a:pt x="2405" y="492"/>
                  </a:lnTo>
                  <a:lnTo>
                    <a:pt x="2405" y="492"/>
                  </a:lnTo>
                  <a:lnTo>
                    <a:pt x="2404" y="489"/>
                  </a:lnTo>
                  <a:lnTo>
                    <a:pt x="2403" y="485"/>
                  </a:lnTo>
                  <a:lnTo>
                    <a:pt x="2401" y="481"/>
                  </a:lnTo>
                  <a:lnTo>
                    <a:pt x="2400" y="478"/>
                  </a:lnTo>
                  <a:lnTo>
                    <a:pt x="2398" y="478"/>
                  </a:lnTo>
                  <a:lnTo>
                    <a:pt x="2398" y="478"/>
                  </a:lnTo>
                  <a:lnTo>
                    <a:pt x="2377" y="469"/>
                  </a:lnTo>
                  <a:lnTo>
                    <a:pt x="2377" y="469"/>
                  </a:lnTo>
                  <a:lnTo>
                    <a:pt x="2372" y="466"/>
                  </a:lnTo>
                  <a:lnTo>
                    <a:pt x="2371" y="462"/>
                  </a:lnTo>
                  <a:lnTo>
                    <a:pt x="2368" y="458"/>
                  </a:lnTo>
                  <a:lnTo>
                    <a:pt x="2362" y="453"/>
                  </a:lnTo>
                  <a:lnTo>
                    <a:pt x="2362" y="453"/>
                  </a:lnTo>
                  <a:lnTo>
                    <a:pt x="2356" y="452"/>
                  </a:lnTo>
                  <a:lnTo>
                    <a:pt x="2349" y="450"/>
                  </a:lnTo>
                  <a:lnTo>
                    <a:pt x="2333" y="450"/>
                  </a:lnTo>
                  <a:lnTo>
                    <a:pt x="2316" y="452"/>
                  </a:lnTo>
                  <a:lnTo>
                    <a:pt x="2303" y="452"/>
                  </a:lnTo>
                  <a:lnTo>
                    <a:pt x="2303" y="452"/>
                  </a:lnTo>
                  <a:lnTo>
                    <a:pt x="2294" y="449"/>
                  </a:lnTo>
                  <a:lnTo>
                    <a:pt x="2288" y="446"/>
                  </a:lnTo>
                  <a:lnTo>
                    <a:pt x="2284" y="443"/>
                  </a:lnTo>
                  <a:lnTo>
                    <a:pt x="2282" y="443"/>
                  </a:lnTo>
                  <a:lnTo>
                    <a:pt x="2281" y="445"/>
                  </a:lnTo>
                  <a:lnTo>
                    <a:pt x="2281" y="445"/>
                  </a:lnTo>
                  <a:lnTo>
                    <a:pt x="2279" y="447"/>
                  </a:lnTo>
                  <a:lnTo>
                    <a:pt x="2279" y="450"/>
                  </a:lnTo>
                  <a:lnTo>
                    <a:pt x="2284" y="455"/>
                  </a:lnTo>
                  <a:lnTo>
                    <a:pt x="2284" y="455"/>
                  </a:lnTo>
                  <a:lnTo>
                    <a:pt x="2284" y="455"/>
                  </a:lnTo>
                  <a:lnTo>
                    <a:pt x="2284" y="456"/>
                  </a:lnTo>
                  <a:lnTo>
                    <a:pt x="2281" y="456"/>
                  </a:lnTo>
                  <a:lnTo>
                    <a:pt x="2277" y="459"/>
                  </a:lnTo>
                  <a:lnTo>
                    <a:pt x="2275" y="460"/>
                  </a:lnTo>
                  <a:lnTo>
                    <a:pt x="2275" y="460"/>
                  </a:lnTo>
                  <a:lnTo>
                    <a:pt x="2275" y="463"/>
                  </a:lnTo>
                  <a:lnTo>
                    <a:pt x="2277" y="466"/>
                  </a:lnTo>
                  <a:lnTo>
                    <a:pt x="2278" y="469"/>
                  </a:lnTo>
                  <a:lnTo>
                    <a:pt x="2282" y="471"/>
                  </a:lnTo>
                  <a:lnTo>
                    <a:pt x="2282" y="471"/>
                  </a:lnTo>
                  <a:lnTo>
                    <a:pt x="2284" y="472"/>
                  </a:lnTo>
                  <a:lnTo>
                    <a:pt x="2285" y="473"/>
                  </a:lnTo>
                  <a:lnTo>
                    <a:pt x="2282" y="479"/>
                  </a:lnTo>
                  <a:lnTo>
                    <a:pt x="2282" y="479"/>
                  </a:lnTo>
                  <a:lnTo>
                    <a:pt x="2282" y="482"/>
                  </a:lnTo>
                  <a:lnTo>
                    <a:pt x="2282" y="485"/>
                  </a:lnTo>
                  <a:lnTo>
                    <a:pt x="2284" y="488"/>
                  </a:lnTo>
                  <a:lnTo>
                    <a:pt x="2285" y="489"/>
                  </a:lnTo>
                  <a:lnTo>
                    <a:pt x="2285" y="489"/>
                  </a:lnTo>
                  <a:lnTo>
                    <a:pt x="2287" y="492"/>
                  </a:lnTo>
                  <a:lnTo>
                    <a:pt x="2285" y="495"/>
                  </a:lnTo>
                  <a:lnTo>
                    <a:pt x="2281" y="498"/>
                  </a:lnTo>
                  <a:lnTo>
                    <a:pt x="2281" y="498"/>
                  </a:lnTo>
                  <a:lnTo>
                    <a:pt x="2279" y="500"/>
                  </a:lnTo>
                  <a:lnTo>
                    <a:pt x="2278" y="504"/>
                  </a:lnTo>
                  <a:lnTo>
                    <a:pt x="2277" y="508"/>
                  </a:lnTo>
                  <a:lnTo>
                    <a:pt x="2274" y="510"/>
                  </a:lnTo>
                  <a:lnTo>
                    <a:pt x="2274" y="510"/>
                  </a:lnTo>
                  <a:lnTo>
                    <a:pt x="2271" y="510"/>
                  </a:lnTo>
                  <a:lnTo>
                    <a:pt x="2269" y="507"/>
                  </a:lnTo>
                  <a:lnTo>
                    <a:pt x="2266" y="502"/>
                  </a:lnTo>
                  <a:lnTo>
                    <a:pt x="2266" y="502"/>
                  </a:lnTo>
                  <a:lnTo>
                    <a:pt x="2265" y="501"/>
                  </a:lnTo>
                  <a:lnTo>
                    <a:pt x="2265" y="502"/>
                  </a:lnTo>
                  <a:lnTo>
                    <a:pt x="2264" y="505"/>
                  </a:lnTo>
                  <a:lnTo>
                    <a:pt x="2264" y="513"/>
                  </a:lnTo>
                  <a:lnTo>
                    <a:pt x="2264" y="513"/>
                  </a:lnTo>
                  <a:lnTo>
                    <a:pt x="2262" y="511"/>
                  </a:lnTo>
                  <a:lnTo>
                    <a:pt x="2259" y="505"/>
                  </a:lnTo>
                  <a:lnTo>
                    <a:pt x="2258" y="498"/>
                  </a:lnTo>
                  <a:lnTo>
                    <a:pt x="2256" y="494"/>
                  </a:lnTo>
                  <a:lnTo>
                    <a:pt x="2256" y="494"/>
                  </a:lnTo>
                  <a:lnTo>
                    <a:pt x="2255" y="491"/>
                  </a:lnTo>
                  <a:lnTo>
                    <a:pt x="2251" y="487"/>
                  </a:lnTo>
                  <a:lnTo>
                    <a:pt x="2246" y="484"/>
                  </a:lnTo>
                  <a:lnTo>
                    <a:pt x="2243" y="479"/>
                  </a:lnTo>
                  <a:lnTo>
                    <a:pt x="2243" y="479"/>
                  </a:lnTo>
                  <a:lnTo>
                    <a:pt x="2242" y="473"/>
                  </a:lnTo>
                  <a:lnTo>
                    <a:pt x="2240" y="468"/>
                  </a:lnTo>
                  <a:lnTo>
                    <a:pt x="2239" y="462"/>
                  </a:lnTo>
                  <a:lnTo>
                    <a:pt x="2237" y="459"/>
                  </a:lnTo>
                  <a:lnTo>
                    <a:pt x="2237" y="459"/>
                  </a:lnTo>
                  <a:lnTo>
                    <a:pt x="2236" y="458"/>
                  </a:lnTo>
                  <a:lnTo>
                    <a:pt x="2235" y="459"/>
                  </a:lnTo>
                  <a:lnTo>
                    <a:pt x="2233" y="465"/>
                  </a:lnTo>
                  <a:lnTo>
                    <a:pt x="2233" y="465"/>
                  </a:lnTo>
                  <a:lnTo>
                    <a:pt x="2232" y="466"/>
                  </a:lnTo>
                  <a:lnTo>
                    <a:pt x="2227" y="466"/>
                  </a:lnTo>
                  <a:lnTo>
                    <a:pt x="2216" y="466"/>
                  </a:lnTo>
                  <a:lnTo>
                    <a:pt x="2203" y="465"/>
                  </a:lnTo>
                  <a:lnTo>
                    <a:pt x="2193" y="463"/>
                  </a:lnTo>
                  <a:lnTo>
                    <a:pt x="2193" y="463"/>
                  </a:lnTo>
                  <a:lnTo>
                    <a:pt x="2185" y="460"/>
                  </a:lnTo>
                  <a:lnTo>
                    <a:pt x="2174" y="459"/>
                  </a:lnTo>
                  <a:lnTo>
                    <a:pt x="2164" y="458"/>
                  </a:lnTo>
                  <a:lnTo>
                    <a:pt x="2156" y="459"/>
                  </a:lnTo>
                  <a:lnTo>
                    <a:pt x="2156" y="459"/>
                  </a:lnTo>
                  <a:lnTo>
                    <a:pt x="2151" y="462"/>
                  </a:lnTo>
                  <a:lnTo>
                    <a:pt x="2146" y="466"/>
                  </a:lnTo>
                  <a:lnTo>
                    <a:pt x="2143" y="471"/>
                  </a:lnTo>
                  <a:lnTo>
                    <a:pt x="2140" y="473"/>
                  </a:lnTo>
                  <a:lnTo>
                    <a:pt x="2140" y="473"/>
                  </a:lnTo>
                  <a:lnTo>
                    <a:pt x="2139" y="479"/>
                  </a:lnTo>
                  <a:lnTo>
                    <a:pt x="2139" y="487"/>
                  </a:lnTo>
                  <a:lnTo>
                    <a:pt x="2139" y="494"/>
                  </a:lnTo>
                  <a:lnTo>
                    <a:pt x="2138" y="498"/>
                  </a:lnTo>
                  <a:lnTo>
                    <a:pt x="2138" y="498"/>
                  </a:lnTo>
                  <a:lnTo>
                    <a:pt x="2136" y="498"/>
                  </a:lnTo>
                  <a:lnTo>
                    <a:pt x="2135" y="497"/>
                  </a:lnTo>
                  <a:lnTo>
                    <a:pt x="2133" y="491"/>
                  </a:lnTo>
                  <a:lnTo>
                    <a:pt x="2133" y="485"/>
                  </a:lnTo>
                  <a:lnTo>
                    <a:pt x="2133" y="479"/>
                  </a:lnTo>
                  <a:lnTo>
                    <a:pt x="2133" y="479"/>
                  </a:lnTo>
                  <a:lnTo>
                    <a:pt x="2133" y="478"/>
                  </a:lnTo>
                  <a:lnTo>
                    <a:pt x="2130" y="475"/>
                  </a:lnTo>
                  <a:lnTo>
                    <a:pt x="2127" y="473"/>
                  </a:lnTo>
                  <a:lnTo>
                    <a:pt x="2125" y="469"/>
                  </a:lnTo>
                  <a:lnTo>
                    <a:pt x="2125" y="469"/>
                  </a:lnTo>
                  <a:lnTo>
                    <a:pt x="2111" y="455"/>
                  </a:lnTo>
                  <a:lnTo>
                    <a:pt x="2111" y="455"/>
                  </a:lnTo>
                  <a:lnTo>
                    <a:pt x="2110" y="453"/>
                  </a:lnTo>
                  <a:lnTo>
                    <a:pt x="2110" y="452"/>
                  </a:lnTo>
                  <a:lnTo>
                    <a:pt x="2111" y="450"/>
                  </a:lnTo>
                  <a:lnTo>
                    <a:pt x="2111" y="447"/>
                  </a:lnTo>
                  <a:lnTo>
                    <a:pt x="2111" y="447"/>
                  </a:lnTo>
                  <a:lnTo>
                    <a:pt x="2113" y="445"/>
                  </a:lnTo>
                  <a:lnTo>
                    <a:pt x="2111" y="442"/>
                  </a:lnTo>
                  <a:lnTo>
                    <a:pt x="2107" y="431"/>
                  </a:lnTo>
                  <a:lnTo>
                    <a:pt x="2107" y="431"/>
                  </a:lnTo>
                  <a:lnTo>
                    <a:pt x="2106" y="426"/>
                  </a:lnTo>
                  <a:lnTo>
                    <a:pt x="2101" y="417"/>
                  </a:lnTo>
                  <a:lnTo>
                    <a:pt x="2096" y="410"/>
                  </a:lnTo>
                  <a:lnTo>
                    <a:pt x="2093" y="405"/>
                  </a:lnTo>
                  <a:lnTo>
                    <a:pt x="2090" y="404"/>
                  </a:lnTo>
                  <a:lnTo>
                    <a:pt x="2090" y="404"/>
                  </a:lnTo>
                  <a:lnTo>
                    <a:pt x="2085" y="403"/>
                  </a:lnTo>
                  <a:lnTo>
                    <a:pt x="2080" y="401"/>
                  </a:lnTo>
                  <a:lnTo>
                    <a:pt x="2065" y="401"/>
                  </a:lnTo>
                  <a:lnTo>
                    <a:pt x="2038" y="404"/>
                  </a:lnTo>
                  <a:lnTo>
                    <a:pt x="2038" y="404"/>
                  </a:lnTo>
                  <a:lnTo>
                    <a:pt x="2014" y="410"/>
                  </a:lnTo>
                  <a:lnTo>
                    <a:pt x="2004" y="411"/>
                  </a:lnTo>
                  <a:lnTo>
                    <a:pt x="1997" y="413"/>
                  </a:lnTo>
                  <a:lnTo>
                    <a:pt x="1997" y="413"/>
                  </a:lnTo>
                  <a:lnTo>
                    <a:pt x="1991" y="411"/>
                  </a:lnTo>
                  <a:lnTo>
                    <a:pt x="1985" y="408"/>
                  </a:lnTo>
                  <a:lnTo>
                    <a:pt x="1977" y="403"/>
                  </a:lnTo>
                  <a:lnTo>
                    <a:pt x="1977" y="403"/>
                  </a:lnTo>
                  <a:lnTo>
                    <a:pt x="1972" y="397"/>
                  </a:lnTo>
                  <a:lnTo>
                    <a:pt x="1967" y="389"/>
                  </a:lnTo>
                  <a:lnTo>
                    <a:pt x="1958" y="375"/>
                  </a:lnTo>
                  <a:lnTo>
                    <a:pt x="1958" y="375"/>
                  </a:lnTo>
                  <a:lnTo>
                    <a:pt x="1954" y="372"/>
                  </a:lnTo>
                  <a:lnTo>
                    <a:pt x="1951" y="371"/>
                  </a:lnTo>
                  <a:lnTo>
                    <a:pt x="1948" y="369"/>
                  </a:lnTo>
                  <a:lnTo>
                    <a:pt x="1946" y="366"/>
                  </a:lnTo>
                  <a:lnTo>
                    <a:pt x="1946" y="366"/>
                  </a:lnTo>
                  <a:lnTo>
                    <a:pt x="1949" y="365"/>
                  </a:lnTo>
                  <a:lnTo>
                    <a:pt x="1952" y="365"/>
                  </a:lnTo>
                  <a:lnTo>
                    <a:pt x="1958" y="366"/>
                  </a:lnTo>
                  <a:lnTo>
                    <a:pt x="1958" y="366"/>
                  </a:lnTo>
                  <a:lnTo>
                    <a:pt x="1958" y="365"/>
                  </a:lnTo>
                  <a:lnTo>
                    <a:pt x="1958" y="361"/>
                  </a:lnTo>
                  <a:lnTo>
                    <a:pt x="1956" y="350"/>
                  </a:lnTo>
                  <a:lnTo>
                    <a:pt x="1956" y="350"/>
                  </a:lnTo>
                  <a:lnTo>
                    <a:pt x="1954" y="347"/>
                  </a:lnTo>
                  <a:lnTo>
                    <a:pt x="1949" y="343"/>
                  </a:lnTo>
                  <a:lnTo>
                    <a:pt x="1943" y="340"/>
                  </a:lnTo>
                  <a:lnTo>
                    <a:pt x="1936" y="340"/>
                  </a:lnTo>
                  <a:lnTo>
                    <a:pt x="1936" y="340"/>
                  </a:lnTo>
                  <a:lnTo>
                    <a:pt x="1930" y="339"/>
                  </a:lnTo>
                  <a:lnTo>
                    <a:pt x="1926" y="337"/>
                  </a:lnTo>
                  <a:lnTo>
                    <a:pt x="1922" y="336"/>
                  </a:lnTo>
                  <a:lnTo>
                    <a:pt x="1917" y="336"/>
                  </a:lnTo>
                  <a:lnTo>
                    <a:pt x="1917" y="336"/>
                  </a:lnTo>
                  <a:lnTo>
                    <a:pt x="1913" y="336"/>
                  </a:lnTo>
                  <a:lnTo>
                    <a:pt x="1910" y="337"/>
                  </a:lnTo>
                  <a:lnTo>
                    <a:pt x="1910" y="337"/>
                  </a:lnTo>
                  <a:lnTo>
                    <a:pt x="1909" y="339"/>
                  </a:lnTo>
                  <a:lnTo>
                    <a:pt x="1909" y="339"/>
                  </a:lnTo>
                  <a:lnTo>
                    <a:pt x="1903" y="339"/>
                  </a:lnTo>
                  <a:lnTo>
                    <a:pt x="1897" y="337"/>
                  </a:lnTo>
                  <a:lnTo>
                    <a:pt x="1897" y="337"/>
                  </a:lnTo>
                  <a:lnTo>
                    <a:pt x="1893" y="339"/>
                  </a:lnTo>
                  <a:lnTo>
                    <a:pt x="1890" y="340"/>
                  </a:lnTo>
                  <a:lnTo>
                    <a:pt x="1884" y="346"/>
                  </a:lnTo>
                  <a:lnTo>
                    <a:pt x="1884" y="346"/>
                  </a:lnTo>
                  <a:lnTo>
                    <a:pt x="1880" y="346"/>
                  </a:lnTo>
                  <a:lnTo>
                    <a:pt x="1875" y="347"/>
                  </a:lnTo>
                  <a:lnTo>
                    <a:pt x="1864" y="346"/>
                  </a:lnTo>
                  <a:lnTo>
                    <a:pt x="1864" y="346"/>
                  </a:lnTo>
                  <a:lnTo>
                    <a:pt x="1861" y="346"/>
                  </a:lnTo>
                  <a:lnTo>
                    <a:pt x="1861" y="345"/>
                  </a:lnTo>
                  <a:lnTo>
                    <a:pt x="1867" y="340"/>
                  </a:lnTo>
                  <a:lnTo>
                    <a:pt x="1867" y="340"/>
                  </a:lnTo>
                  <a:lnTo>
                    <a:pt x="1868" y="337"/>
                  </a:lnTo>
                  <a:lnTo>
                    <a:pt x="1868" y="336"/>
                  </a:lnTo>
                  <a:lnTo>
                    <a:pt x="1867" y="332"/>
                  </a:lnTo>
                  <a:lnTo>
                    <a:pt x="1867" y="332"/>
                  </a:lnTo>
                  <a:lnTo>
                    <a:pt x="1867" y="330"/>
                  </a:lnTo>
                  <a:lnTo>
                    <a:pt x="1868" y="329"/>
                  </a:lnTo>
                  <a:lnTo>
                    <a:pt x="1874" y="327"/>
                  </a:lnTo>
                  <a:lnTo>
                    <a:pt x="1874" y="327"/>
                  </a:lnTo>
                  <a:lnTo>
                    <a:pt x="1890" y="332"/>
                  </a:lnTo>
                  <a:lnTo>
                    <a:pt x="1899" y="334"/>
                  </a:lnTo>
                  <a:lnTo>
                    <a:pt x="1906" y="334"/>
                  </a:lnTo>
                  <a:lnTo>
                    <a:pt x="1906" y="334"/>
                  </a:lnTo>
                  <a:lnTo>
                    <a:pt x="1906" y="333"/>
                  </a:lnTo>
                  <a:lnTo>
                    <a:pt x="1904" y="332"/>
                  </a:lnTo>
                  <a:lnTo>
                    <a:pt x="1893" y="327"/>
                  </a:lnTo>
                  <a:lnTo>
                    <a:pt x="1880" y="323"/>
                  </a:lnTo>
                  <a:lnTo>
                    <a:pt x="1867" y="321"/>
                  </a:lnTo>
                  <a:lnTo>
                    <a:pt x="1867" y="321"/>
                  </a:lnTo>
                  <a:lnTo>
                    <a:pt x="1842" y="319"/>
                  </a:lnTo>
                  <a:lnTo>
                    <a:pt x="1829" y="319"/>
                  </a:lnTo>
                  <a:lnTo>
                    <a:pt x="1822" y="319"/>
                  </a:lnTo>
                  <a:lnTo>
                    <a:pt x="1822" y="319"/>
                  </a:lnTo>
                  <a:lnTo>
                    <a:pt x="1806" y="324"/>
                  </a:lnTo>
                  <a:lnTo>
                    <a:pt x="1791" y="327"/>
                  </a:lnTo>
                  <a:lnTo>
                    <a:pt x="1791" y="327"/>
                  </a:lnTo>
                  <a:lnTo>
                    <a:pt x="1790" y="330"/>
                  </a:lnTo>
                  <a:lnTo>
                    <a:pt x="1787" y="333"/>
                  </a:lnTo>
                  <a:lnTo>
                    <a:pt x="1787" y="339"/>
                  </a:lnTo>
                  <a:lnTo>
                    <a:pt x="1787" y="343"/>
                  </a:lnTo>
                  <a:lnTo>
                    <a:pt x="1787" y="343"/>
                  </a:lnTo>
                  <a:lnTo>
                    <a:pt x="1788" y="346"/>
                  </a:lnTo>
                  <a:lnTo>
                    <a:pt x="1790" y="346"/>
                  </a:lnTo>
                  <a:lnTo>
                    <a:pt x="1793" y="342"/>
                  </a:lnTo>
                  <a:lnTo>
                    <a:pt x="1793" y="342"/>
                  </a:lnTo>
                  <a:lnTo>
                    <a:pt x="1796" y="342"/>
                  </a:lnTo>
                  <a:lnTo>
                    <a:pt x="1797" y="343"/>
                  </a:lnTo>
                  <a:lnTo>
                    <a:pt x="1799" y="345"/>
                  </a:lnTo>
                  <a:lnTo>
                    <a:pt x="1803" y="346"/>
                  </a:lnTo>
                  <a:lnTo>
                    <a:pt x="1803" y="346"/>
                  </a:lnTo>
                  <a:lnTo>
                    <a:pt x="1804" y="347"/>
                  </a:lnTo>
                  <a:lnTo>
                    <a:pt x="1802" y="347"/>
                  </a:lnTo>
                  <a:lnTo>
                    <a:pt x="1799" y="347"/>
                  </a:lnTo>
                  <a:lnTo>
                    <a:pt x="1797" y="349"/>
                  </a:lnTo>
                  <a:lnTo>
                    <a:pt x="1797" y="349"/>
                  </a:lnTo>
                  <a:lnTo>
                    <a:pt x="1797" y="350"/>
                  </a:lnTo>
                  <a:lnTo>
                    <a:pt x="1796" y="350"/>
                  </a:lnTo>
                  <a:lnTo>
                    <a:pt x="1791" y="356"/>
                  </a:lnTo>
                  <a:lnTo>
                    <a:pt x="1791" y="356"/>
                  </a:lnTo>
                  <a:lnTo>
                    <a:pt x="1791" y="358"/>
                  </a:lnTo>
                  <a:lnTo>
                    <a:pt x="1791" y="361"/>
                  </a:lnTo>
                  <a:lnTo>
                    <a:pt x="1796" y="366"/>
                  </a:lnTo>
                  <a:lnTo>
                    <a:pt x="1800" y="372"/>
                  </a:lnTo>
                  <a:lnTo>
                    <a:pt x="1802" y="376"/>
                  </a:lnTo>
                  <a:lnTo>
                    <a:pt x="1802" y="376"/>
                  </a:lnTo>
                  <a:lnTo>
                    <a:pt x="1802" y="378"/>
                  </a:lnTo>
                  <a:lnTo>
                    <a:pt x="1800" y="378"/>
                  </a:lnTo>
                  <a:lnTo>
                    <a:pt x="1796" y="376"/>
                  </a:lnTo>
                  <a:lnTo>
                    <a:pt x="1796" y="376"/>
                  </a:lnTo>
                  <a:lnTo>
                    <a:pt x="1794" y="378"/>
                  </a:lnTo>
                  <a:lnTo>
                    <a:pt x="1791" y="379"/>
                  </a:lnTo>
                  <a:lnTo>
                    <a:pt x="1788" y="382"/>
                  </a:lnTo>
                  <a:lnTo>
                    <a:pt x="1788" y="382"/>
                  </a:lnTo>
                  <a:lnTo>
                    <a:pt x="1787" y="382"/>
                  </a:lnTo>
                  <a:lnTo>
                    <a:pt x="1786" y="381"/>
                  </a:lnTo>
                  <a:lnTo>
                    <a:pt x="1784" y="378"/>
                  </a:lnTo>
                  <a:lnTo>
                    <a:pt x="1783" y="374"/>
                  </a:lnTo>
                  <a:lnTo>
                    <a:pt x="1783" y="371"/>
                  </a:lnTo>
                  <a:lnTo>
                    <a:pt x="1783" y="371"/>
                  </a:lnTo>
                  <a:lnTo>
                    <a:pt x="1781" y="371"/>
                  </a:lnTo>
                  <a:lnTo>
                    <a:pt x="1778" y="369"/>
                  </a:lnTo>
                  <a:lnTo>
                    <a:pt x="1774" y="369"/>
                  </a:lnTo>
                  <a:lnTo>
                    <a:pt x="1770" y="371"/>
                  </a:lnTo>
                  <a:lnTo>
                    <a:pt x="1770" y="371"/>
                  </a:lnTo>
                  <a:lnTo>
                    <a:pt x="1768" y="372"/>
                  </a:lnTo>
                  <a:lnTo>
                    <a:pt x="1768" y="374"/>
                  </a:lnTo>
                  <a:lnTo>
                    <a:pt x="1770" y="378"/>
                  </a:lnTo>
                  <a:lnTo>
                    <a:pt x="1774" y="385"/>
                  </a:lnTo>
                  <a:lnTo>
                    <a:pt x="1774" y="385"/>
                  </a:lnTo>
                  <a:lnTo>
                    <a:pt x="1774" y="387"/>
                  </a:lnTo>
                  <a:lnTo>
                    <a:pt x="1773" y="388"/>
                  </a:lnTo>
                  <a:lnTo>
                    <a:pt x="1768" y="387"/>
                  </a:lnTo>
                  <a:lnTo>
                    <a:pt x="1768" y="387"/>
                  </a:lnTo>
                  <a:lnTo>
                    <a:pt x="1767" y="388"/>
                  </a:lnTo>
                  <a:lnTo>
                    <a:pt x="1765" y="392"/>
                  </a:lnTo>
                  <a:lnTo>
                    <a:pt x="1765" y="397"/>
                  </a:lnTo>
                  <a:lnTo>
                    <a:pt x="1764" y="397"/>
                  </a:lnTo>
                  <a:lnTo>
                    <a:pt x="1764" y="398"/>
                  </a:lnTo>
                  <a:lnTo>
                    <a:pt x="1764" y="398"/>
                  </a:lnTo>
                  <a:lnTo>
                    <a:pt x="1761" y="395"/>
                  </a:lnTo>
                  <a:lnTo>
                    <a:pt x="1757" y="391"/>
                  </a:lnTo>
                  <a:lnTo>
                    <a:pt x="1752" y="385"/>
                  </a:lnTo>
                  <a:lnTo>
                    <a:pt x="1749" y="381"/>
                  </a:lnTo>
                  <a:lnTo>
                    <a:pt x="1749" y="381"/>
                  </a:lnTo>
                  <a:lnTo>
                    <a:pt x="1742" y="378"/>
                  </a:lnTo>
                  <a:lnTo>
                    <a:pt x="1739" y="376"/>
                  </a:lnTo>
                  <a:lnTo>
                    <a:pt x="1736" y="376"/>
                  </a:lnTo>
                  <a:lnTo>
                    <a:pt x="1736" y="376"/>
                  </a:lnTo>
                  <a:lnTo>
                    <a:pt x="1733" y="375"/>
                  </a:lnTo>
                  <a:lnTo>
                    <a:pt x="1731" y="374"/>
                  </a:lnTo>
                  <a:lnTo>
                    <a:pt x="1726" y="372"/>
                  </a:lnTo>
                  <a:lnTo>
                    <a:pt x="1722" y="371"/>
                  </a:lnTo>
                  <a:lnTo>
                    <a:pt x="1722" y="371"/>
                  </a:lnTo>
                  <a:lnTo>
                    <a:pt x="1718" y="371"/>
                  </a:lnTo>
                  <a:lnTo>
                    <a:pt x="1713" y="372"/>
                  </a:lnTo>
                  <a:lnTo>
                    <a:pt x="1709" y="376"/>
                  </a:lnTo>
                  <a:lnTo>
                    <a:pt x="1709" y="376"/>
                  </a:lnTo>
                  <a:lnTo>
                    <a:pt x="1703" y="379"/>
                  </a:lnTo>
                  <a:lnTo>
                    <a:pt x="1696" y="379"/>
                  </a:lnTo>
                  <a:lnTo>
                    <a:pt x="1696" y="379"/>
                  </a:lnTo>
                  <a:lnTo>
                    <a:pt x="1694" y="379"/>
                  </a:lnTo>
                  <a:lnTo>
                    <a:pt x="1693" y="376"/>
                  </a:lnTo>
                  <a:lnTo>
                    <a:pt x="1690" y="371"/>
                  </a:lnTo>
                  <a:lnTo>
                    <a:pt x="1684" y="358"/>
                  </a:lnTo>
                  <a:lnTo>
                    <a:pt x="1684" y="358"/>
                  </a:lnTo>
                  <a:lnTo>
                    <a:pt x="1681" y="355"/>
                  </a:lnTo>
                  <a:lnTo>
                    <a:pt x="1681" y="356"/>
                  </a:lnTo>
                  <a:lnTo>
                    <a:pt x="1680" y="361"/>
                  </a:lnTo>
                  <a:lnTo>
                    <a:pt x="1677" y="365"/>
                  </a:lnTo>
                  <a:lnTo>
                    <a:pt x="1677" y="365"/>
                  </a:lnTo>
                  <a:lnTo>
                    <a:pt x="1674" y="372"/>
                  </a:lnTo>
                  <a:lnTo>
                    <a:pt x="1671" y="378"/>
                  </a:lnTo>
                  <a:lnTo>
                    <a:pt x="1671" y="392"/>
                  </a:lnTo>
                  <a:lnTo>
                    <a:pt x="1671" y="392"/>
                  </a:lnTo>
                  <a:lnTo>
                    <a:pt x="1670" y="397"/>
                  </a:lnTo>
                  <a:lnTo>
                    <a:pt x="1668" y="401"/>
                  </a:lnTo>
                  <a:lnTo>
                    <a:pt x="1665" y="407"/>
                  </a:lnTo>
                  <a:lnTo>
                    <a:pt x="1658" y="416"/>
                  </a:lnTo>
                  <a:lnTo>
                    <a:pt x="1658" y="416"/>
                  </a:lnTo>
                  <a:lnTo>
                    <a:pt x="1657" y="416"/>
                  </a:lnTo>
                  <a:lnTo>
                    <a:pt x="1657" y="416"/>
                  </a:lnTo>
                  <a:lnTo>
                    <a:pt x="1655" y="413"/>
                  </a:lnTo>
                  <a:lnTo>
                    <a:pt x="1654" y="407"/>
                  </a:lnTo>
                  <a:lnTo>
                    <a:pt x="1654" y="407"/>
                  </a:lnTo>
                  <a:lnTo>
                    <a:pt x="1652" y="405"/>
                  </a:lnTo>
                  <a:lnTo>
                    <a:pt x="1649" y="405"/>
                  </a:lnTo>
                  <a:lnTo>
                    <a:pt x="1645" y="405"/>
                  </a:lnTo>
                  <a:lnTo>
                    <a:pt x="1645" y="405"/>
                  </a:lnTo>
                  <a:lnTo>
                    <a:pt x="1644" y="404"/>
                  </a:lnTo>
                  <a:lnTo>
                    <a:pt x="1642" y="401"/>
                  </a:lnTo>
                  <a:lnTo>
                    <a:pt x="1641" y="394"/>
                  </a:lnTo>
                  <a:lnTo>
                    <a:pt x="1641" y="394"/>
                  </a:lnTo>
                  <a:lnTo>
                    <a:pt x="1639" y="388"/>
                  </a:lnTo>
                  <a:lnTo>
                    <a:pt x="1636" y="384"/>
                  </a:lnTo>
                  <a:lnTo>
                    <a:pt x="1636" y="384"/>
                  </a:lnTo>
                  <a:lnTo>
                    <a:pt x="1634" y="378"/>
                  </a:lnTo>
                  <a:lnTo>
                    <a:pt x="1632" y="376"/>
                  </a:lnTo>
                  <a:lnTo>
                    <a:pt x="1628" y="374"/>
                  </a:lnTo>
                  <a:lnTo>
                    <a:pt x="1628" y="374"/>
                  </a:lnTo>
                  <a:lnTo>
                    <a:pt x="1625" y="371"/>
                  </a:lnTo>
                  <a:lnTo>
                    <a:pt x="1625" y="369"/>
                  </a:lnTo>
                  <a:lnTo>
                    <a:pt x="1625" y="366"/>
                  </a:lnTo>
                  <a:lnTo>
                    <a:pt x="1623" y="363"/>
                  </a:lnTo>
                  <a:lnTo>
                    <a:pt x="1623" y="363"/>
                  </a:lnTo>
                  <a:lnTo>
                    <a:pt x="1622" y="361"/>
                  </a:lnTo>
                  <a:lnTo>
                    <a:pt x="1620" y="361"/>
                  </a:lnTo>
                  <a:lnTo>
                    <a:pt x="1618" y="362"/>
                  </a:lnTo>
                  <a:lnTo>
                    <a:pt x="1618" y="362"/>
                  </a:lnTo>
                  <a:lnTo>
                    <a:pt x="1616" y="361"/>
                  </a:lnTo>
                  <a:lnTo>
                    <a:pt x="1615" y="359"/>
                  </a:lnTo>
                  <a:lnTo>
                    <a:pt x="1615" y="355"/>
                  </a:lnTo>
                  <a:lnTo>
                    <a:pt x="1615" y="355"/>
                  </a:lnTo>
                  <a:lnTo>
                    <a:pt x="1613" y="353"/>
                  </a:lnTo>
                  <a:lnTo>
                    <a:pt x="1612" y="353"/>
                  </a:lnTo>
                  <a:lnTo>
                    <a:pt x="1607" y="355"/>
                  </a:lnTo>
                  <a:lnTo>
                    <a:pt x="1607" y="355"/>
                  </a:lnTo>
                  <a:lnTo>
                    <a:pt x="1607" y="355"/>
                  </a:lnTo>
                  <a:lnTo>
                    <a:pt x="1606" y="353"/>
                  </a:lnTo>
                  <a:lnTo>
                    <a:pt x="1605" y="349"/>
                  </a:lnTo>
                  <a:lnTo>
                    <a:pt x="1603" y="343"/>
                  </a:lnTo>
                  <a:lnTo>
                    <a:pt x="1600" y="339"/>
                  </a:lnTo>
                  <a:lnTo>
                    <a:pt x="1600" y="339"/>
                  </a:lnTo>
                  <a:lnTo>
                    <a:pt x="1594" y="336"/>
                  </a:lnTo>
                  <a:lnTo>
                    <a:pt x="1590" y="334"/>
                  </a:lnTo>
                  <a:lnTo>
                    <a:pt x="1587" y="336"/>
                  </a:lnTo>
                  <a:lnTo>
                    <a:pt x="1587" y="336"/>
                  </a:lnTo>
                  <a:lnTo>
                    <a:pt x="1583" y="334"/>
                  </a:lnTo>
                  <a:lnTo>
                    <a:pt x="1580" y="332"/>
                  </a:lnTo>
                  <a:lnTo>
                    <a:pt x="1577" y="327"/>
                  </a:lnTo>
                  <a:lnTo>
                    <a:pt x="1577" y="324"/>
                  </a:lnTo>
                  <a:lnTo>
                    <a:pt x="1577" y="324"/>
                  </a:lnTo>
                  <a:lnTo>
                    <a:pt x="1577" y="323"/>
                  </a:lnTo>
                  <a:lnTo>
                    <a:pt x="1580" y="323"/>
                  </a:lnTo>
                  <a:lnTo>
                    <a:pt x="1587" y="326"/>
                  </a:lnTo>
                  <a:lnTo>
                    <a:pt x="1600" y="333"/>
                  </a:lnTo>
                  <a:lnTo>
                    <a:pt x="1600" y="333"/>
                  </a:lnTo>
                  <a:lnTo>
                    <a:pt x="1605" y="334"/>
                  </a:lnTo>
                  <a:lnTo>
                    <a:pt x="1607" y="339"/>
                  </a:lnTo>
                  <a:lnTo>
                    <a:pt x="1609" y="342"/>
                  </a:lnTo>
                  <a:lnTo>
                    <a:pt x="1612" y="346"/>
                  </a:lnTo>
                  <a:lnTo>
                    <a:pt x="1612" y="346"/>
                  </a:lnTo>
                  <a:lnTo>
                    <a:pt x="1616" y="349"/>
                  </a:lnTo>
                  <a:lnTo>
                    <a:pt x="1619" y="350"/>
                  </a:lnTo>
                  <a:lnTo>
                    <a:pt x="1622" y="350"/>
                  </a:lnTo>
                  <a:lnTo>
                    <a:pt x="1623" y="349"/>
                  </a:lnTo>
                  <a:lnTo>
                    <a:pt x="1623" y="349"/>
                  </a:lnTo>
                  <a:lnTo>
                    <a:pt x="1626" y="310"/>
                  </a:lnTo>
                  <a:lnTo>
                    <a:pt x="1626" y="310"/>
                  </a:lnTo>
                  <a:lnTo>
                    <a:pt x="1625" y="305"/>
                  </a:lnTo>
                  <a:lnTo>
                    <a:pt x="1622" y="303"/>
                  </a:lnTo>
                  <a:lnTo>
                    <a:pt x="1612" y="295"/>
                  </a:lnTo>
                  <a:lnTo>
                    <a:pt x="1612" y="295"/>
                  </a:lnTo>
                  <a:lnTo>
                    <a:pt x="1609" y="291"/>
                  </a:lnTo>
                  <a:lnTo>
                    <a:pt x="1609" y="287"/>
                  </a:lnTo>
                  <a:lnTo>
                    <a:pt x="1607" y="284"/>
                  </a:lnTo>
                  <a:lnTo>
                    <a:pt x="1605" y="281"/>
                  </a:lnTo>
                  <a:lnTo>
                    <a:pt x="1605" y="281"/>
                  </a:lnTo>
                  <a:lnTo>
                    <a:pt x="1602" y="279"/>
                  </a:lnTo>
                  <a:lnTo>
                    <a:pt x="1600" y="278"/>
                  </a:lnTo>
                  <a:lnTo>
                    <a:pt x="1599" y="277"/>
                  </a:lnTo>
                  <a:lnTo>
                    <a:pt x="1596" y="277"/>
                  </a:lnTo>
                  <a:lnTo>
                    <a:pt x="1596" y="277"/>
                  </a:lnTo>
                  <a:lnTo>
                    <a:pt x="1592" y="275"/>
                  </a:lnTo>
                  <a:lnTo>
                    <a:pt x="1589" y="274"/>
                  </a:lnTo>
                  <a:lnTo>
                    <a:pt x="1584" y="274"/>
                  </a:lnTo>
                  <a:lnTo>
                    <a:pt x="1581" y="274"/>
                  </a:lnTo>
                  <a:lnTo>
                    <a:pt x="1581" y="274"/>
                  </a:lnTo>
                  <a:lnTo>
                    <a:pt x="1580" y="275"/>
                  </a:lnTo>
                  <a:lnTo>
                    <a:pt x="1577" y="275"/>
                  </a:lnTo>
                  <a:lnTo>
                    <a:pt x="1568" y="274"/>
                  </a:lnTo>
                  <a:lnTo>
                    <a:pt x="1568" y="274"/>
                  </a:lnTo>
                  <a:lnTo>
                    <a:pt x="1558" y="272"/>
                  </a:lnTo>
                  <a:lnTo>
                    <a:pt x="1555" y="271"/>
                  </a:lnTo>
                  <a:lnTo>
                    <a:pt x="1552" y="268"/>
                  </a:lnTo>
                  <a:lnTo>
                    <a:pt x="1552" y="268"/>
                  </a:lnTo>
                  <a:lnTo>
                    <a:pt x="1548" y="262"/>
                  </a:lnTo>
                  <a:lnTo>
                    <a:pt x="1547" y="261"/>
                  </a:lnTo>
                  <a:lnTo>
                    <a:pt x="1542" y="261"/>
                  </a:lnTo>
                  <a:lnTo>
                    <a:pt x="1542" y="261"/>
                  </a:lnTo>
                  <a:lnTo>
                    <a:pt x="1539" y="259"/>
                  </a:lnTo>
                  <a:lnTo>
                    <a:pt x="1535" y="258"/>
                  </a:lnTo>
                  <a:lnTo>
                    <a:pt x="1534" y="256"/>
                  </a:lnTo>
                  <a:lnTo>
                    <a:pt x="1529" y="255"/>
                  </a:lnTo>
                  <a:lnTo>
                    <a:pt x="1529" y="255"/>
                  </a:lnTo>
                  <a:lnTo>
                    <a:pt x="1526" y="256"/>
                  </a:lnTo>
                  <a:lnTo>
                    <a:pt x="1523" y="259"/>
                  </a:lnTo>
                  <a:lnTo>
                    <a:pt x="1521" y="262"/>
                  </a:lnTo>
                  <a:lnTo>
                    <a:pt x="1519" y="266"/>
                  </a:lnTo>
                  <a:lnTo>
                    <a:pt x="1519" y="266"/>
                  </a:lnTo>
                  <a:lnTo>
                    <a:pt x="1519" y="269"/>
                  </a:lnTo>
                  <a:lnTo>
                    <a:pt x="1522" y="274"/>
                  </a:lnTo>
                  <a:lnTo>
                    <a:pt x="1528" y="279"/>
                  </a:lnTo>
                  <a:lnTo>
                    <a:pt x="1528" y="279"/>
                  </a:lnTo>
                  <a:lnTo>
                    <a:pt x="1529" y="282"/>
                  </a:lnTo>
                  <a:lnTo>
                    <a:pt x="1531" y="284"/>
                  </a:lnTo>
                  <a:lnTo>
                    <a:pt x="1529" y="285"/>
                  </a:lnTo>
                  <a:lnTo>
                    <a:pt x="1526" y="287"/>
                  </a:lnTo>
                  <a:lnTo>
                    <a:pt x="1526" y="287"/>
                  </a:lnTo>
                  <a:lnTo>
                    <a:pt x="1525" y="288"/>
                  </a:lnTo>
                  <a:lnTo>
                    <a:pt x="1523" y="290"/>
                  </a:lnTo>
                  <a:lnTo>
                    <a:pt x="1528" y="295"/>
                  </a:lnTo>
                  <a:lnTo>
                    <a:pt x="1528" y="295"/>
                  </a:lnTo>
                  <a:lnTo>
                    <a:pt x="1529" y="298"/>
                  </a:lnTo>
                  <a:lnTo>
                    <a:pt x="1529" y="300"/>
                  </a:lnTo>
                  <a:lnTo>
                    <a:pt x="1526" y="300"/>
                  </a:lnTo>
                  <a:lnTo>
                    <a:pt x="1523" y="301"/>
                  </a:lnTo>
                  <a:lnTo>
                    <a:pt x="1523" y="301"/>
                  </a:lnTo>
                  <a:lnTo>
                    <a:pt x="1523" y="303"/>
                  </a:lnTo>
                  <a:lnTo>
                    <a:pt x="1523" y="303"/>
                  </a:lnTo>
                  <a:lnTo>
                    <a:pt x="1523" y="305"/>
                  </a:lnTo>
                  <a:lnTo>
                    <a:pt x="1522" y="307"/>
                  </a:lnTo>
                  <a:lnTo>
                    <a:pt x="1516" y="307"/>
                  </a:lnTo>
                  <a:lnTo>
                    <a:pt x="1509" y="305"/>
                  </a:lnTo>
                  <a:lnTo>
                    <a:pt x="1502" y="303"/>
                  </a:lnTo>
                  <a:lnTo>
                    <a:pt x="1502" y="303"/>
                  </a:lnTo>
                  <a:lnTo>
                    <a:pt x="1494" y="301"/>
                  </a:lnTo>
                  <a:lnTo>
                    <a:pt x="1487" y="301"/>
                  </a:lnTo>
                  <a:lnTo>
                    <a:pt x="1477" y="304"/>
                  </a:lnTo>
                  <a:lnTo>
                    <a:pt x="1477" y="304"/>
                  </a:lnTo>
                  <a:lnTo>
                    <a:pt x="1476" y="303"/>
                  </a:lnTo>
                  <a:lnTo>
                    <a:pt x="1474" y="301"/>
                  </a:lnTo>
                  <a:lnTo>
                    <a:pt x="1471" y="294"/>
                  </a:lnTo>
                  <a:lnTo>
                    <a:pt x="1468" y="282"/>
                  </a:lnTo>
                  <a:lnTo>
                    <a:pt x="1468" y="282"/>
                  </a:lnTo>
                  <a:lnTo>
                    <a:pt x="1467" y="281"/>
                  </a:lnTo>
                  <a:lnTo>
                    <a:pt x="1461" y="279"/>
                  </a:lnTo>
                  <a:lnTo>
                    <a:pt x="1455" y="279"/>
                  </a:lnTo>
                  <a:lnTo>
                    <a:pt x="1448" y="279"/>
                  </a:lnTo>
                  <a:lnTo>
                    <a:pt x="1448" y="279"/>
                  </a:lnTo>
                  <a:lnTo>
                    <a:pt x="1441" y="279"/>
                  </a:lnTo>
                  <a:lnTo>
                    <a:pt x="1435" y="277"/>
                  </a:lnTo>
                  <a:lnTo>
                    <a:pt x="1425" y="271"/>
                  </a:lnTo>
                  <a:lnTo>
                    <a:pt x="1425" y="271"/>
                  </a:lnTo>
                  <a:lnTo>
                    <a:pt x="1424" y="269"/>
                  </a:lnTo>
                  <a:lnTo>
                    <a:pt x="1422" y="271"/>
                  </a:lnTo>
                  <a:lnTo>
                    <a:pt x="1419" y="274"/>
                  </a:lnTo>
                  <a:lnTo>
                    <a:pt x="1419" y="274"/>
                  </a:lnTo>
                  <a:lnTo>
                    <a:pt x="1418" y="275"/>
                  </a:lnTo>
                  <a:lnTo>
                    <a:pt x="1415" y="274"/>
                  </a:lnTo>
                  <a:lnTo>
                    <a:pt x="1408" y="269"/>
                  </a:lnTo>
                  <a:lnTo>
                    <a:pt x="1399" y="265"/>
                  </a:lnTo>
                  <a:lnTo>
                    <a:pt x="1393" y="263"/>
                  </a:lnTo>
                  <a:lnTo>
                    <a:pt x="1393" y="263"/>
                  </a:lnTo>
                  <a:lnTo>
                    <a:pt x="1383" y="262"/>
                  </a:lnTo>
                  <a:lnTo>
                    <a:pt x="1379" y="263"/>
                  </a:lnTo>
                  <a:lnTo>
                    <a:pt x="1376" y="266"/>
                  </a:lnTo>
                  <a:lnTo>
                    <a:pt x="1376" y="266"/>
                  </a:lnTo>
                  <a:lnTo>
                    <a:pt x="1376" y="269"/>
                  </a:lnTo>
                  <a:lnTo>
                    <a:pt x="1376" y="272"/>
                  </a:lnTo>
                  <a:lnTo>
                    <a:pt x="1379" y="278"/>
                  </a:lnTo>
                  <a:lnTo>
                    <a:pt x="1384" y="290"/>
                  </a:lnTo>
                  <a:lnTo>
                    <a:pt x="1384" y="290"/>
                  </a:lnTo>
                  <a:lnTo>
                    <a:pt x="1384" y="292"/>
                  </a:lnTo>
                  <a:lnTo>
                    <a:pt x="1383" y="294"/>
                  </a:lnTo>
                  <a:lnTo>
                    <a:pt x="1380" y="300"/>
                  </a:lnTo>
                  <a:lnTo>
                    <a:pt x="1370" y="305"/>
                  </a:lnTo>
                  <a:lnTo>
                    <a:pt x="1370" y="305"/>
                  </a:lnTo>
                  <a:lnTo>
                    <a:pt x="1370" y="305"/>
                  </a:lnTo>
                  <a:lnTo>
                    <a:pt x="1370" y="305"/>
                  </a:lnTo>
                  <a:lnTo>
                    <a:pt x="1370" y="301"/>
                  </a:lnTo>
                  <a:lnTo>
                    <a:pt x="1373" y="295"/>
                  </a:lnTo>
                  <a:lnTo>
                    <a:pt x="1373" y="291"/>
                  </a:lnTo>
                  <a:lnTo>
                    <a:pt x="1373" y="291"/>
                  </a:lnTo>
                  <a:lnTo>
                    <a:pt x="1370" y="271"/>
                  </a:lnTo>
                  <a:lnTo>
                    <a:pt x="1366" y="250"/>
                  </a:lnTo>
                  <a:lnTo>
                    <a:pt x="1366" y="250"/>
                  </a:lnTo>
                  <a:lnTo>
                    <a:pt x="1364" y="246"/>
                  </a:lnTo>
                  <a:lnTo>
                    <a:pt x="1361" y="245"/>
                  </a:lnTo>
                  <a:lnTo>
                    <a:pt x="1357" y="245"/>
                  </a:lnTo>
                  <a:lnTo>
                    <a:pt x="1353" y="246"/>
                  </a:lnTo>
                  <a:lnTo>
                    <a:pt x="1353" y="246"/>
                  </a:lnTo>
                  <a:lnTo>
                    <a:pt x="1350" y="246"/>
                  </a:lnTo>
                  <a:lnTo>
                    <a:pt x="1348" y="243"/>
                  </a:lnTo>
                  <a:lnTo>
                    <a:pt x="1347" y="237"/>
                  </a:lnTo>
                  <a:lnTo>
                    <a:pt x="1347" y="226"/>
                  </a:lnTo>
                  <a:lnTo>
                    <a:pt x="1347" y="226"/>
                  </a:lnTo>
                  <a:lnTo>
                    <a:pt x="1347" y="226"/>
                  </a:lnTo>
                  <a:lnTo>
                    <a:pt x="1347" y="226"/>
                  </a:lnTo>
                  <a:lnTo>
                    <a:pt x="1344" y="227"/>
                  </a:lnTo>
                  <a:lnTo>
                    <a:pt x="1341" y="230"/>
                  </a:lnTo>
                  <a:lnTo>
                    <a:pt x="1337" y="232"/>
                  </a:lnTo>
                  <a:lnTo>
                    <a:pt x="1337" y="232"/>
                  </a:lnTo>
                  <a:lnTo>
                    <a:pt x="1334" y="233"/>
                  </a:lnTo>
                  <a:lnTo>
                    <a:pt x="1331" y="235"/>
                  </a:lnTo>
                  <a:lnTo>
                    <a:pt x="1324" y="242"/>
                  </a:lnTo>
                  <a:lnTo>
                    <a:pt x="1324" y="242"/>
                  </a:lnTo>
                  <a:lnTo>
                    <a:pt x="1319" y="246"/>
                  </a:lnTo>
                  <a:lnTo>
                    <a:pt x="1315" y="249"/>
                  </a:lnTo>
                  <a:lnTo>
                    <a:pt x="1305" y="255"/>
                  </a:lnTo>
                  <a:lnTo>
                    <a:pt x="1305" y="255"/>
                  </a:lnTo>
                  <a:lnTo>
                    <a:pt x="1298" y="262"/>
                  </a:lnTo>
                  <a:lnTo>
                    <a:pt x="1289" y="274"/>
                  </a:lnTo>
                  <a:lnTo>
                    <a:pt x="1279" y="285"/>
                  </a:lnTo>
                  <a:lnTo>
                    <a:pt x="1271" y="294"/>
                  </a:lnTo>
                  <a:lnTo>
                    <a:pt x="1271" y="294"/>
                  </a:lnTo>
                  <a:lnTo>
                    <a:pt x="1270" y="294"/>
                  </a:lnTo>
                  <a:lnTo>
                    <a:pt x="1269" y="294"/>
                  </a:lnTo>
                  <a:lnTo>
                    <a:pt x="1269" y="287"/>
                  </a:lnTo>
                  <a:lnTo>
                    <a:pt x="1273" y="266"/>
                  </a:lnTo>
                  <a:lnTo>
                    <a:pt x="1273" y="266"/>
                  </a:lnTo>
                  <a:lnTo>
                    <a:pt x="1274" y="258"/>
                  </a:lnTo>
                  <a:lnTo>
                    <a:pt x="1273" y="252"/>
                  </a:lnTo>
                  <a:lnTo>
                    <a:pt x="1271" y="245"/>
                  </a:lnTo>
                  <a:lnTo>
                    <a:pt x="1271" y="245"/>
                  </a:lnTo>
                  <a:lnTo>
                    <a:pt x="1273" y="243"/>
                  </a:lnTo>
                  <a:lnTo>
                    <a:pt x="1273" y="243"/>
                  </a:lnTo>
                  <a:lnTo>
                    <a:pt x="1277" y="245"/>
                  </a:lnTo>
                  <a:lnTo>
                    <a:pt x="1282" y="246"/>
                  </a:lnTo>
                  <a:lnTo>
                    <a:pt x="1286" y="246"/>
                  </a:lnTo>
                  <a:lnTo>
                    <a:pt x="1286" y="246"/>
                  </a:lnTo>
                  <a:lnTo>
                    <a:pt x="1292" y="239"/>
                  </a:lnTo>
                  <a:lnTo>
                    <a:pt x="1302" y="227"/>
                  </a:lnTo>
                  <a:lnTo>
                    <a:pt x="1312" y="216"/>
                  </a:lnTo>
                  <a:lnTo>
                    <a:pt x="1318" y="210"/>
                  </a:lnTo>
                  <a:lnTo>
                    <a:pt x="1318" y="210"/>
                  </a:lnTo>
                  <a:lnTo>
                    <a:pt x="1325" y="204"/>
                  </a:lnTo>
                  <a:lnTo>
                    <a:pt x="1334" y="198"/>
                  </a:lnTo>
                  <a:lnTo>
                    <a:pt x="1334" y="198"/>
                  </a:lnTo>
                  <a:lnTo>
                    <a:pt x="1340" y="195"/>
                  </a:lnTo>
                  <a:lnTo>
                    <a:pt x="1345" y="192"/>
                  </a:lnTo>
                  <a:lnTo>
                    <a:pt x="1351" y="190"/>
                  </a:lnTo>
                  <a:lnTo>
                    <a:pt x="1358" y="185"/>
                  </a:lnTo>
                  <a:lnTo>
                    <a:pt x="1358" y="185"/>
                  </a:lnTo>
                  <a:lnTo>
                    <a:pt x="1363" y="181"/>
                  </a:lnTo>
                  <a:lnTo>
                    <a:pt x="1366" y="174"/>
                  </a:lnTo>
                  <a:lnTo>
                    <a:pt x="1368" y="159"/>
                  </a:lnTo>
                  <a:lnTo>
                    <a:pt x="1371" y="143"/>
                  </a:lnTo>
                  <a:lnTo>
                    <a:pt x="1373" y="132"/>
                  </a:lnTo>
                  <a:lnTo>
                    <a:pt x="1373" y="132"/>
                  </a:lnTo>
                  <a:lnTo>
                    <a:pt x="1374" y="116"/>
                  </a:lnTo>
                  <a:lnTo>
                    <a:pt x="1373" y="110"/>
                  </a:lnTo>
                  <a:lnTo>
                    <a:pt x="1371" y="106"/>
                  </a:lnTo>
                  <a:lnTo>
                    <a:pt x="1371" y="106"/>
                  </a:lnTo>
                  <a:lnTo>
                    <a:pt x="1368" y="101"/>
                  </a:lnTo>
                  <a:lnTo>
                    <a:pt x="1368" y="97"/>
                  </a:lnTo>
                  <a:lnTo>
                    <a:pt x="1368" y="93"/>
                  </a:lnTo>
                  <a:lnTo>
                    <a:pt x="1367" y="88"/>
                  </a:lnTo>
                  <a:lnTo>
                    <a:pt x="1367" y="88"/>
                  </a:lnTo>
                  <a:lnTo>
                    <a:pt x="1364" y="82"/>
                  </a:lnTo>
                  <a:lnTo>
                    <a:pt x="1361" y="80"/>
                  </a:lnTo>
                  <a:lnTo>
                    <a:pt x="1358" y="78"/>
                  </a:lnTo>
                  <a:lnTo>
                    <a:pt x="1354" y="78"/>
                  </a:lnTo>
                  <a:lnTo>
                    <a:pt x="1354" y="78"/>
                  </a:lnTo>
                  <a:lnTo>
                    <a:pt x="1351" y="77"/>
                  </a:lnTo>
                  <a:lnTo>
                    <a:pt x="1348" y="75"/>
                  </a:lnTo>
                  <a:lnTo>
                    <a:pt x="1344" y="72"/>
                  </a:lnTo>
                  <a:lnTo>
                    <a:pt x="1344" y="72"/>
                  </a:lnTo>
                  <a:lnTo>
                    <a:pt x="1332" y="78"/>
                  </a:lnTo>
                  <a:lnTo>
                    <a:pt x="1332" y="78"/>
                  </a:lnTo>
                  <a:lnTo>
                    <a:pt x="1324" y="78"/>
                  </a:lnTo>
                  <a:lnTo>
                    <a:pt x="1308" y="77"/>
                  </a:lnTo>
                  <a:lnTo>
                    <a:pt x="1290" y="75"/>
                  </a:lnTo>
                  <a:lnTo>
                    <a:pt x="1277" y="75"/>
                  </a:lnTo>
                  <a:lnTo>
                    <a:pt x="1277" y="75"/>
                  </a:lnTo>
                  <a:lnTo>
                    <a:pt x="1270" y="77"/>
                  </a:lnTo>
                  <a:lnTo>
                    <a:pt x="1267" y="80"/>
                  </a:lnTo>
                  <a:lnTo>
                    <a:pt x="1266" y="84"/>
                  </a:lnTo>
                  <a:lnTo>
                    <a:pt x="1261" y="87"/>
                  </a:lnTo>
                  <a:lnTo>
                    <a:pt x="1261" y="87"/>
                  </a:lnTo>
                  <a:lnTo>
                    <a:pt x="1245" y="98"/>
                  </a:lnTo>
                  <a:lnTo>
                    <a:pt x="1245" y="98"/>
                  </a:lnTo>
                  <a:lnTo>
                    <a:pt x="1245" y="98"/>
                  </a:lnTo>
                  <a:lnTo>
                    <a:pt x="1244" y="97"/>
                  </a:lnTo>
                  <a:lnTo>
                    <a:pt x="1244" y="93"/>
                  </a:lnTo>
                  <a:lnTo>
                    <a:pt x="1247" y="81"/>
                  </a:lnTo>
                  <a:lnTo>
                    <a:pt x="1247" y="81"/>
                  </a:lnTo>
                  <a:lnTo>
                    <a:pt x="1256" y="56"/>
                  </a:lnTo>
                  <a:lnTo>
                    <a:pt x="1256" y="56"/>
                  </a:lnTo>
                  <a:lnTo>
                    <a:pt x="1256" y="55"/>
                  </a:lnTo>
                  <a:lnTo>
                    <a:pt x="1256" y="53"/>
                  </a:lnTo>
                  <a:lnTo>
                    <a:pt x="1251" y="53"/>
                  </a:lnTo>
                  <a:lnTo>
                    <a:pt x="1242" y="53"/>
                  </a:lnTo>
                  <a:lnTo>
                    <a:pt x="1242" y="53"/>
                  </a:lnTo>
                  <a:lnTo>
                    <a:pt x="1241" y="52"/>
                  </a:lnTo>
                  <a:lnTo>
                    <a:pt x="1241" y="52"/>
                  </a:lnTo>
                  <a:lnTo>
                    <a:pt x="1244" y="48"/>
                  </a:lnTo>
                  <a:lnTo>
                    <a:pt x="1251" y="42"/>
                  </a:lnTo>
                  <a:lnTo>
                    <a:pt x="1251" y="42"/>
                  </a:lnTo>
                  <a:lnTo>
                    <a:pt x="1254" y="38"/>
                  </a:lnTo>
                  <a:lnTo>
                    <a:pt x="1256" y="35"/>
                  </a:lnTo>
                  <a:lnTo>
                    <a:pt x="1256" y="29"/>
                  </a:lnTo>
                  <a:lnTo>
                    <a:pt x="1256" y="29"/>
                  </a:lnTo>
                  <a:lnTo>
                    <a:pt x="1256" y="24"/>
                  </a:lnTo>
                  <a:lnTo>
                    <a:pt x="1256" y="22"/>
                  </a:lnTo>
                  <a:lnTo>
                    <a:pt x="1254" y="19"/>
                  </a:lnTo>
                  <a:lnTo>
                    <a:pt x="1250" y="17"/>
                  </a:lnTo>
                  <a:lnTo>
                    <a:pt x="1250" y="17"/>
                  </a:lnTo>
                  <a:lnTo>
                    <a:pt x="1244" y="14"/>
                  </a:lnTo>
                  <a:lnTo>
                    <a:pt x="1241" y="10"/>
                  </a:lnTo>
                  <a:lnTo>
                    <a:pt x="1238" y="7"/>
                  </a:lnTo>
                  <a:lnTo>
                    <a:pt x="1234" y="4"/>
                  </a:lnTo>
                  <a:lnTo>
                    <a:pt x="1234" y="4"/>
                  </a:lnTo>
                  <a:lnTo>
                    <a:pt x="1227" y="0"/>
                  </a:lnTo>
                  <a:lnTo>
                    <a:pt x="1222" y="0"/>
                  </a:lnTo>
                  <a:lnTo>
                    <a:pt x="1222" y="0"/>
                  </a:lnTo>
                  <a:lnTo>
                    <a:pt x="1219" y="0"/>
                  </a:lnTo>
                  <a:lnTo>
                    <a:pt x="1218" y="1"/>
                  </a:lnTo>
                  <a:lnTo>
                    <a:pt x="1216" y="3"/>
                  </a:lnTo>
                  <a:lnTo>
                    <a:pt x="1212" y="4"/>
                  </a:lnTo>
                  <a:lnTo>
                    <a:pt x="1212" y="4"/>
                  </a:lnTo>
                  <a:lnTo>
                    <a:pt x="1202" y="10"/>
                  </a:lnTo>
                  <a:lnTo>
                    <a:pt x="1196" y="14"/>
                  </a:lnTo>
                  <a:lnTo>
                    <a:pt x="1193" y="17"/>
                  </a:lnTo>
                  <a:lnTo>
                    <a:pt x="1193" y="17"/>
                  </a:lnTo>
                  <a:lnTo>
                    <a:pt x="1189" y="27"/>
                  </a:lnTo>
                  <a:lnTo>
                    <a:pt x="1187" y="33"/>
                  </a:lnTo>
                  <a:lnTo>
                    <a:pt x="1182" y="40"/>
                  </a:lnTo>
                  <a:lnTo>
                    <a:pt x="1182" y="40"/>
                  </a:lnTo>
                  <a:lnTo>
                    <a:pt x="1179" y="48"/>
                  </a:lnTo>
                  <a:lnTo>
                    <a:pt x="1177" y="55"/>
                  </a:lnTo>
                  <a:lnTo>
                    <a:pt x="1179" y="61"/>
                  </a:lnTo>
                  <a:lnTo>
                    <a:pt x="1177" y="69"/>
                  </a:lnTo>
                  <a:lnTo>
                    <a:pt x="1177" y="69"/>
                  </a:lnTo>
                  <a:lnTo>
                    <a:pt x="1176" y="78"/>
                  </a:lnTo>
                  <a:lnTo>
                    <a:pt x="1173" y="84"/>
                  </a:lnTo>
                  <a:lnTo>
                    <a:pt x="1167" y="87"/>
                  </a:lnTo>
                  <a:lnTo>
                    <a:pt x="1157" y="90"/>
                  </a:lnTo>
                  <a:lnTo>
                    <a:pt x="1157" y="90"/>
                  </a:lnTo>
                  <a:lnTo>
                    <a:pt x="1153" y="90"/>
                  </a:lnTo>
                  <a:lnTo>
                    <a:pt x="1150" y="90"/>
                  </a:lnTo>
                  <a:lnTo>
                    <a:pt x="1144" y="88"/>
                  </a:lnTo>
                  <a:lnTo>
                    <a:pt x="1141" y="88"/>
                  </a:lnTo>
                  <a:lnTo>
                    <a:pt x="1138" y="91"/>
                  </a:lnTo>
                  <a:lnTo>
                    <a:pt x="1138" y="91"/>
                  </a:lnTo>
                  <a:lnTo>
                    <a:pt x="1137" y="94"/>
                  </a:lnTo>
                  <a:lnTo>
                    <a:pt x="1135" y="97"/>
                  </a:lnTo>
                  <a:lnTo>
                    <a:pt x="1137" y="101"/>
                  </a:lnTo>
                  <a:lnTo>
                    <a:pt x="1138" y="104"/>
                  </a:lnTo>
                  <a:lnTo>
                    <a:pt x="1145" y="111"/>
                  </a:lnTo>
                  <a:lnTo>
                    <a:pt x="1156" y="119"/>
                  </a:lnTo>
                  <a:lnTo>
                    <a:pt x="1156" y="119"/>
                  </a:lnTo>
                  <a:lnTo>
                    <a:pt x="1164" y="124"/>
                  </a:lnTo>
                  <a:lnTo>
                    <a:pt x="1169" y="126"/>
                  </a:lnTo>
                  <a:lnTo>
                    <a:pt x="1170" y="127"/>
                  </a:lnTo>
                  <a:lnTo>
                    <a:pt x="1170" y="129"/>
                  </a:lnTo>
                  <a:lnTo>
                    <a:pt x="1170" y="129"/>
                  </a:lnTo>
                  <a:lnTo>
                    <a:pt x="1169" y="130"/>
                  </a:lnTo>
                  <a:lnTo>
                    <a:pt x="1167" y="130"/>
                  </a:lnTo>
                  <a:lnTo>
                    <a:pt x="1163" y="130"/>
                  </a:lnTo>
                  <a:lnTo>
                    <a:pt x="1158" y="130"/>
                  </a:lnTo>
                  <a:lnTo>
                    <a:pt x="1153" y="130"/>
                  </a:lnTo>
                  <a:lnTo>
                    <a:pt x="1153" y="130"/>
                  </a:lnTo>
                  <a:lnTo>
                    <a:pt x="1151" y="132"/>
                  </a:lnTo>
                  <a:lnTo>
                    <a:pt x="1153" y="133"/>
                  </a:lnTo>
                  <a:lnTo>
                    <a:pt x="1157" y="135"/>
                  </a:lnTo>
                  <a:lnTo>
                    <a:pt x="1160" y="136"/>
                  </a:lnTo>
                  <a:lnTo>
                    <a:pt x="1160" y="136"/>
                  </a:lnTo>
                  <a:lnTo>
                    <a:pt x="1163" y="136"/>
                  </a:lnTo>
                  <a:lnTo>
                    <a:pt x="1166" y="137"/>
                  </a:lnTo>
                  <a:lnTo>
                    <a:pt x="1170" y="146"/>
                  </a:lnTo>
                  <a:lnTo>
                    <a:pt x="1170" y="146"/>
                  </a:lnTo>
                  <a:lnTo>
                    <a:pt x="1170" y="152"/>
                  </a:lnTo>
                  <a:lnTo>
                    <a:pt x="1169" y="158"/>
                  </a:lnTo>
                  <a:lnTo>
                    <a:pt x="1164" y="165"/>
                  </a:lnTo>
                  <a:lnTo>
                    <a:pt x="1164" y="165"/>
                  </a:lnTo>
                  <a:lnTo>
                    <a:pt x="1164" y="166"/>
                  </a:lnTo>
                  <a:lnTo>
                    <a:pt x="1163" y="165"/>
                  </a:lnTo>
                  <a:lnTo>
                    <a:pt x="1164" y="161"/>
                  </a:lnTo>
                  <a:lnTo>
                    <a:pt x="1164" y="156"/>
                  </a:lnTo>
                  <a:lnTo>
                    <a:pt x="1163" y="150"/>
                  </a:lnTo>
                  <a:lnTo>
                    <a:pt x="1163" y="150"/>
                  </a:lnTo>
                  <a:lnTo>
                    <a:pt x="1161" y="148"/>
                  </a:lnTo>
                  <a:lnTo>
                    <a:pt x="1160" y="146"/>
                  </a:lnTo>
                  <a:lnTo>
                    <a:pt x="1156" y="146"/>
                  </a:lnTo>
                  <a:lnTo>
                    <a:pt x="1151" y="148"/>
                  </a:lnTo>
                  <a:lnTo>
                    <a:pt x="1151" y="148"/>
                  </a:lnTo>
                  <a:lnTo>
                    <a:pt x="1147" y="148"/>
                  </a:lnTo>
                  <a:lnTo>
                    <a:pt x="1144" y="146"/>
                  </a:lnTo>
                  <a:lnTo>
                    <a:pt x="1143" y="142"/>
                  </a:lnTo>
                  <a:lnTo>
                    <a:pt x="1141" y="137"/>
                  </a:lnTo>
                  <a:lnTo>
                    <a:pt x="1141" y="137"/>
                  </a:lnTo>
                  <a:lnTo>
                    <a:pt x="1138" y="133"/>
                  </a:lnTo>
                  <a:lnTo>
                    <a:pt x="1137" y="129"/>
                  </a:lnTo>
                  <a:lnTo>
                    <a:pt x="1132" y="124"/>
                  </a:lnTo>
                  <a:lnTo>
                    <a:pt x="1127" y="122"/>
                  </a:lnTo>
                  <a:lnTo>
                    <a:pt x="1127" y="122"/>
                  </a:lnTo>
                  <a:lnTo>
                    <a:pt x="1122" y="120"/>
                  </a:lnTo>
                  <a:lnTo>
                    <a:pt x="1119" y="120"/>
                  </a:lnTo>
                  <a:lnTo>
                    <a:pt x="1112" y="124"/>
                  </a:lnTo>
                  <a:lnTo>
                    <a:pt x="1112" y="124"/>
                  </a:lnTo>
                  <a:lnTo>
                    <a:pt x="1109" y="124"/>
                  </a:lnTo>
                  <a:lnTo>
                    <a:pt x="1108" y="124"/>
                  </a:lnTo>
                  <a:lnTo>
                    <a:pt x="1108" y="122"/>
                  </a:lnTo>
                  <a:lnTo>
                    <a:pt x="1106" y="117"/>
                  </a:lnTo>
                  <a:lnTo>
                    <a:pt x="1105" y="113"/>
                  </a:lnTo>
                  <a:lnTo>
                    <a:pt x="1105" y="113"/>
                  </a:lnTo>
                  <a:lnTo>
                    <a:pt x="1101" y="108"/>
                  </a:lnTo>
                  <a:lnTo>
                    <a:pt x="1099" y="107"/>
                  </a:lnTo>
                  <a:lnTo>
                    <a:pt x="1096" y="108"/>
                  </a:lnTo>
                  <a:lnTo>
                    <a:pt x="1096" y="108"/>
                  </a:lnTo>
                  <a:lnTo>
                    <a:pt x="1089" y="110"/>
                  </a:lnTo>
                  <a:lnTo>
                    <a:pt x="1080" y="111"/>
                  </a:lnTo>
                  <a:lnTo>
                    <a:pt x="1080" y="111"/>
                  </a:lnTo>
                  <a:lnTo>
                    <a:pt x="1074" y="111"/>
                  </a:lnTo>
                  <a:lnTo>
                    <a:pt x="1072" y="111"/>
                  </a:lnTo>
                  <a:lnTo>
                    <a:pt x="1069" y="113"/>
                  </a:lnTo>
                  <a:lnTo>
                    <a:pt x="1064" y="114"/>
                  </a:lnTo>
                  <a:lnTo>
                    <a:pt x="1064" y="114"/>
                  </a:lnTo>
                  <a:lnTo>
                    <a:pt x="1060" y="114"/>
                  </a:lnTo>
                  <a:lnTo>
                    <a:pt x="1060" y="111"/>
                  </a:lnTo>
                  <a:lnTo>
                    <a:pt x="1061" y="106"/>
                  </a:lnTo>
                  <a:lnTo>
                    <a:pt x="1061" y="106"/>
                  </a:lnTo>
                  <a:lnTo>
                    <a:pt x="1061" y="106"/>
                  </a:lnTo>
                  <a:lnTo>
                    <a:pt x="1061" y="106"/>
                  </a:lnTo>
                  <a:lnTo>
                    <a:pt x="1057" y="108"/>
                  </a:lnTo>
                  <a:lnTo>
                    <a:pt x="1053" y="111"/>
                  </a:lnTo>
                  <a:lnTo>
                    <a:pt x="1047" y="114"/>
                  </a:lnTo>
                  <a:lnTo>
                    <a:pt x="1047" y="114"/>
                  </a:lnTo>
                  <a:lnTo>
                    <a:pt x="1043" y="116"/>
                  </a:lnTo>
                  <a:lnTo>
                    <a:pt x="1037" y="119"/>
                  </a:lnTo>
                  <a:lnTo>
                    <a:pt x="1028" y="126"/>
                  </a:lnTo>
                  <a:lnTo>
                    <a:pt x="1028" y="126"/>
                  </a:lnTo>
                  <a:lnTo>
                    <a:pt x="1022" y="129"/>
                  </a:lnTo>
                  <a:lnTo>
                    <a:pt x="1012" y="133"/>
                  </a:lnTo>
                  <a:lnTo>
                    <a:pt x="1002" y="137"/>
                  </a:lnTo>
                  <a:lnTo>
                    <a:pt x="990" y="142"/>
                  </a:lnTo>
                  <a:lnTo>
                    <a:pt x="990" y="142"/>
                  </a:lnTo>
                  <a:lnTo>
                    <a:pt x="983" y="149"/>
                  </a:lnTo>
                  <a:lnTo>
                    <a:pt x="977" y="158"/>
                  </a:lnTo>
                  <a:lnTo>
                    <a:pt x="972" y="165"/>
                  </a:lnTo>
                  <a:lnTo>
                    <a:pt x="967" y="171"/>
                  </a:lnTo>
                  <a:lnTo>
                    <a:pt x="967" y="171"/>
                  </a:lnTo>
                  <a:lnTo>
                    <a:pt x="963" y="175"/>
                  </a:lnTo>
                  <a:lnTo>
                    <a:pt x="961" y="178"/>
                  </a:lnTo>
                  <a:lnTo>
                    <a:pt x="960" y="181"/>
                  </a:lnTo>
                  <a:lnTo>
                    <a:pt x="956" y="184"/>
                  </a:lnTo>
                  <a:lnTo>
                    <a:pt x="956" y="184"/>
                  </a:lnTo>
                  <a:lnTo>
                    <a:pt x="946" y="190"/>
                  </a:lnTo>
                  <a:lnTo>
                    <a:pt x="935" y="195"/>
                  </a:lnTo>
                  <a:lnTo>
                    <a:pt x="935" y="195"/>
                  </a:lnTo>
                  <a:lnTo>
                    <a:pt x="933" y="198"/>
                  </a:lnTo>
                  <a:lnTo>
                    <a:pt x="930" y="201"/>
                  </a:lnTo>
                  <a:lnTo>
                    <a:pt x="928" y="204"/>
                  </a:lnTo>
                  <a:lnTo>
                    <a:pt x="924" y="207"/>
                  </a:lnTo>
                  <a:lnTo>
                    <a:pt x="924" y="207"/>
                  </a:lnTo>
                  <a:lnTo>
                    <a:pt x="921" y="208"/>
                  </a:lnTo>
                  <a:lnTo>
                    <a:pt x="919" y="210"/>
                  </a:lnTo>
                  <a:lnTo>
                    <a:pt x="918" y="214"/>
                  </a:lnTo>
                  <a:lnTo>
                    <a:pt x="919" y="224"/>
                  </a:lnTo>
                  <a:lnTo>
                    <a:pt x="919" y="224"/>
                  </a:lnTo>
                  <a:lnTo>
                    <a:pt x="921" y="229"/>
                  </a:lnTo>
                  <a:lnTo>
                    <a:pt x="924" y="230"/>
                  </a:lnTo>
                  <a:lnTo>
                    <a:pt x="925" y="233"/>
                  </a:lnTo>
                  <a:lnTo>
                    <a:pt x="925" y="235"/>
                  </a:lnTo>
                  <a:lnTo>
                    <a:pt x="925" y="235"/>
                  </a:lnTo>
                  <a:lnTo>
                    <a:pt x="925" y="235"/>
                  </a:lnTo>
                  <a:lnTo>
                    <a:pt x="922" y="237"/>
                  </a:lnTo>
                  <a:lnTo>
                    <a:pt x="921" y="242"/>
                  </a:lnTo>
                  <a:lnTo>
                    <a:pt x="918" y="245"/>
                  </a:lnTo>
                  <a:lnTo>
                    <a:pt x="912" y="246"/>
                  </a:lnTo>
                  <a:lnTo>
                    <a:pt x="912" y="246"/>
                  </a:lnTo>
                  <a:lnTo>
                    <a:pt x="906" y="248"/>
                  </a:lnTo>
                  <a:lnTo>
                    <a:pt x="901" y="250"/>
                  </a:lnTo>
                  <a:lnTo>
                    <a:pt x="895" y="253"/>
                  </a:lnTo>
                  <a:lnTo>
                    <a:pt x="886" y="258"/>
                  </a:lnTo>
                  <a:lnTo>
                    <a:pt x="886" y="258"/>
                  </a:lnTo>
                  <a:lnTo>
                    <a:pt x="876" y="259"/>
                  </a:lnTo>
                  <a:lnTo>
                    <a:pt x="869" y="261"/>
                  </a:lnTo>
                  <a:lnTo>
                    <a:pt x="862" y="261"/>
                  </a:lnTo>
                  <a:lnTo>
                    <a:pt x="857" y="263"/>
                  </a:lnTo>
                  <a:lnTo>
                    <a:pt x="857" y="263"/>
                  </a:lnTo>
                  <a:lnTo>
                    <a:pt x="854" y="265"/>
                  </a:lnTo>
                  <a:lnTo>
                    <a:pt x="854" y="268"/>
                  </a:lnTo>
                  <a:lnTo>
                    <a:pt x="853" y="277"/>
                  </a:lnTo>
                  <a:lnTo>
                    <a:pt x="853" y="285"/>
                  </a:lnTo>
                  <a:lnTo>
                    <a:pt x="851" y="292"/>
                  </a:lnTo>
                  <a:lnTo>
                    <a:pt x="851" y="292"/>
                  </a:lnTo>
                  <a:lnTo>
                    <a:pt x="851" y="298"/>
                  </a:lnTo>
                  <a:lnTo>
                    <a:pt x="851" y="303"/>
                  </a:lnTo>
                  <a:lnTo>
                    <a:pt x="856" y="314"/>
                  </a:lnTo>
                  <a:lnTo>
                    <a:pt x="856" y="314"/>
                  </a:lnTo>
                  <a:lnTo>
                    <a:pt x="860" y="326"/>
                  </a:lnTo>
                  <a:lnTo>
                    <a:pt x="863" y="329"/>
                  </a:lnTo>
                  <a:lnTo>
                    <a:pt x="867" y="332"/>
                  </a:lnTo>
                  <a:lnTo>
                    <a:pt x="867" y="332"/>
                  </a:lnTo>
                  <a:lnTo>
                    <a:pt x="876" y="337"/>
                  </a:lnTo>
                  <a:lnTo>
                    <a:pt x="885" y="347"/>
                  </a:lnTo>
                  <a:lnTo>
                    <a:pt x="885" y="347"/>
                  </a:lnTo>
                  <a:lnTo>
                    <a:pt x="888" y="350"/>
                  </a:lnTo>
                  <a:lnTo>
                    <a:pt x="891" y="353"/>
                  </a:lnTo>
                  <a:lnTo>
                    <a:pt x="898" y="356"/>
                  </a:lnTo>
                  <a:lnTo>
                    <a:pt x="898" y="356"/>
                  </a:lnTo>
                  <a:lnTo>
                    <a:pt x="899" y="358"/>
                  </a:lnTo>
                  <a:lnTo>
                    <a:pt x="899" y="361"/>
                  </a:lnTo>
                  <a:lnTo>
                    <a:pt x="901" y="368"/>
                  </a:lnTo>
                  <a:lnTo>
                    <a:pt x="899" y="382"/>
                  </a:lnTo>
                  <a:lnTo>
                    <a:pt x="899" y="382"/>
                  </a:lnTo>
                  <a:lnTo>
                    <a:pt x="896" y="398"/>
                  </a:lnTo>
                  <a:lnTo>
                    <a:pt x="892" y="414"/>
                  </a:lnTo>
                  <a:lnTo>
                    <a:pt x="892" y="414"/>
                  </a:lnTo>
                  <a:lnTo>
                    <a:pt x="892" y="416"/>
                  </a:lnTo>
                  <a:lnTo>
                    <a:pt x="891" y="414"/>
                  </a:lnTo>
                  <a:lnTo>
                    <a:pt x="889" y="410"/>
                  </a:lnTo>
                  <a:lnTo>
                    <a:pt x="886" y="401"/>
                  </a:lnTo>
                  <a:lnTo>
                    <a:pt x="886" y="401"/>
                  </a:lnTo>
                  <a:lnTo>
                    <a:pt x="885" y="400"/>
                  </a:lnTo>
                  <a:lnTo>
                    <a:pt x="882" y="400"/>
                  </a:lnTo>
                  <a:lnTo>
                    <a:pt x="879" y="401"/>
                  </a:lnTo>
                  <a:lnTo>
                    <a:pt x="876" y="403"/>
                  </a:lnTo>
                  <a:lnTo>
                    <a:pt x="876" y="403"/>
                  </a:lnTo>
                  <a:lnTo>
                    <a:pt x="876" y="403"/>
                  </a:lnTo>
                  <a:lnTo>
                    <a:pt x="876" y="403"/>
                  </a:lnTo>
                  <a:lnTo>
                    <a:pt x="877" y="397"/>
                  </a:lnTo>
                  <a:lnTo>
                    <a:pt x="885" y="387"/>
                  </a:lnTo>
                  <a:lnTo>
                    <a:pt x="885" y="387"/>
                  </a:lnTo>
                  <a:lnTo>
                    <a:pt x="888" y="382"/>
                  </a:lnTo>
                  <a:lnTo>
                    <a:pt x="889" y="378"/>
                  </a:lnTo>
                  <a:lnTo>
                    <a:pt x="892" y="368"/>
                  </a:lnTo>
                  <a:lnTo>
                    <a:pt x="892" y="368"/>
                  </a:lnTo>
                  <a:lnTo>
                    <a:pt x="891" y="366"/>
                  </a:lnTo>
                  <a:lnTo>
                    <a:pt x="889" y="365"/>
                  </a:lnTo>
                  <a:lnTo>
                    <a:pt x="879" y="362"/>
                  </a:lnTo>
                  <a:lnTo>
                    <a:pt x="867" y="359"/>
                  </a:lnTo>
                  <a:lnTo>
                    <a:pt x="860" y="356"/>
                  </a:lnTo>
                  <a:lnTo>
                    <a:pt x="860" y="356"/>
                  </a:lnTo>
                  <a:lnTo>
                    <a:pt x="857" y="353"/>
                  </a:lnTo>
                  <a:lnTo>
                    <a:pt x="853" y="347"/>
                  </a:lnTo>
                  <a:lnTo>
                    <a:pt x="847" y="334"/>
                  </a:lnTo>
                  <a:lnTo>
                    <a:pt x="837" y="310"/>
                  </a:lnTo>
                  <a:lnTo>
                    <a:pt x="837" y="310"/>
                  </a:lnTo>
                  <a:lnTo>
                    <a:pt x="834" y="305"/>
                  </a:lnTo>
                  <a:lnTo>
                    <a:pt x="830" y="303"/>
                  </a:lnTo>
                  <a:lnTo>
                    <a:pt x="825" y="301"/>
                  </a:lnTo>
                  <a:lnTo>
                    <a:pt x="822" y="303"/>
                  </a:lnTo>
                  <a:lnTo>
                    <a:pt x="822" y="303"/>
                  </a:lnTo>
                  <a:lnTo>
                    <a:pt x="814" y="308"/>
                  </a:lnTo>
                  <a:lnTo>
                    <a:pt x="809" y="311"/>
                  </a:lnTo>
                  <a:lnTo>
                    <a:pt x="807" y="316"/>
                  </a:lnTo>
                  <a:lnTo>
                    <a:pt x="807" y="316"/>
                  </a:lnTo>
                  <a:lnTo>
                    <a:pt x="808" y="317"/>
                  </a:lnTo>
                  <a:lnTo>
                    <a:pt x="809" y="319"/>
                  </a:lnTo>
                  <a:lnTo>
                    <a:pt x="817" y="323"/>
                  </a:lnTo>
                  <a:lnTo>
                    <a:pt x="817" y="323"/>
                  </a:lnTo>
                  <a:lnTo>
                    <a:pt x="820" y="326"/>
                  </a:lnTo>
                  <a:lnTo>
                    <a:pt x="820" y="329"/>
                  </a:lnTo>
                  <a:lnTo>
                    <a:pt x="820" y="332"/>
                  </a:lnTo>
                  <a:lnTo>
                    <a:pt x="818" y="334"/>
                  </a:lnTo>
                  <a:lnTo>
                    <a:pt x="818" y="334"/>
                  </a:lnTo>
                  <a:lnTo>
                    <a:pt x="817" y="334"/>
                  </a:lnTo>
                  <a:lnTo>
                    <a:pt x="817" y="334"/>
                  </a:lnTo>
                  <a:lnTo>
                    <a:pt x="815" y="332"/>
                  </a:lnTo>
                  <a:lnTo>
                    <a:pt x="812" y="329"/>
                  </a:lnTo>
                  <a:lnTo>
                    <a:pt x="811" y="329"/>
                  </a:lnTo>
                  <a:lnTo>
                    <a:pt x="809" y="329"/>
                  </a:lnTo>
                  <a:lnTo>
                    <a:pt x="809" y="329"/>
                  </a:lnTo>
                  <a:lnTo>
                    <a:pt x="807" y="330"/>
                  </a:lnTo>
                  <a:lnTo>
                    <a:pt x="804" y="329"/>
                  </a:lnTo>
                  <a:lnTo>
                    <a:pt x="799" y="326"/>
                  </a:lnTo>
                  <a:lnTo>
                    <a:pt x="795" y="324"/>
                  </a:lnTo>
                  <a:lnTo>
                    <a:pt x="795" y="324"/>
                  </a:lnTo>
                  <a:lnTo>
                    <a:pt x="786" y="324"/>
                  </a:lnTo>
                  <a:lnTo>
                    <a:pt x="783" y="326"/>
                  </a:lnTo>
                  <a:lnTo>
                    <a:pt x="782" y="326"/>
                  </a:lnTo>
                  <a:lnTo>
                    <a:pt x="782" y="327"/>
                  </a:lnTo>
                  <a:lnTo>
                    <a:pt x="782" y="327"/>
                  </a:lnTo>
                  <a:lnTo>
                    <a:pt x="783" y="330"/>
                  </a:lnTo>
                  <a:lnTo>
                    <a:pt x="782" y="333"/>
                  </a:lnTo>
                  <a:lnTo>
                    <a:pt x="782" y="337"/>
                  </a:lnTo>
                  <a:lnTo>
                    <a:pt x="782" y="343"/>
                  </a:lnTo>
                  <a:lnTo>
                    <a:pt x="782" y="343"/>
                  </a:lnTo>
                  <a:lnTo>
                    <a:pt x="785" y="347"/>
                  </a:lnTo>
                  <a:lnTo>
                    <a:pt x="788" y="353"/>
                  </a:lnTo>
                  <a:lnTo>
                    <a:pt x="792" y="358"/>
                  </a:lnTo>
                  <a:lnTo>
                    <a:pt x="796" y="359"/>
                  </a:lnTo>
                  <a:lnTo>
                    <a:pt x="796" y="359"/>
                  </a:lnTo>
                  <a:lnTo>
                    <a:pt x="805" y="362"/>
                  </a:lnTo>
                  <a:lnTo>
                    <a:pt x="809" y="365"/>
                  </a:lnTo>
                  <a:lnTo>
                    <a:pt x="812" y="366"/>
                  </a:lnTo>
                  <a:lnTo>
                    <a:pt x="812" y="366"/>
                  </a:lnTo>
                  <a:lnTo>
                    <a:pt x="814" y="371"/>
                  </a:lnTo>
                  <a:lnTo>
                    <a:pt x="815" y="376"/>
                  </a:lnTo>
                  <a:lnTo>
                    <a:pt x="815" y="381"/>
                  </a:lnTo>
                  <a:lnTo>
                    <a:pt x="812" y="385"/>
                  </a:lnTo>
                  <a:lnTo>
                    <a:pt x="812" y="385"/>
                  </a:lnTo>
                  <a:lnTo>
                    <a:pt x="812" y="385"/>
                  </a:lnTo>
                  <a:lnTo>
                    <a:pt x="809" y="385"/>
                  </a:lnTo>
                  <a:lnTo>
                    <a:pt x="807" y="382"/>
                  </a:lnTo>
                  <a:lnTo>
                    <a:pt x="801" y="379"/>
                  </a:lnTo>
                  <a:lnTo>
                    <a:pt x="798" y="379"/>
                  </a:lnTo>
                  <a:lnTo>
                    <a:pt x="796" y="379"/>
                  </a:lnTo>
                  <a:lnTo>
                    <a:pt x="796" y="379"/>
                  </a:lnTo>
                  <a:lnTo>
                    <a:pt x="786" y="381"/>
                  </a:lnTo>
                  <a:lnTo>
                    <a:pt x="778" y="382"/>
                  </a:lnTo>
                  <a:lnTo>
                    <a:pt x="778" y="382"/>
                  </a:lnTo>
                  <a:lnTo>
                    <a:pt x="775" y="381"/>
                  </a:lnTo>
                  <a:lnTo>
                    <a:pt x="772" y="379"/>
                  </a:lnTo>
                  <a:lnTo>
                    <a:pt x="770" y="375"/>
                  </a:lnTo>
                  <a:lnTo>
                    <a:pt x="770" y="369"/>
                  </a:lnTo>
                  <a:lnTo>
                    <a:pt x="770" y="369"/>
                  </a:lnTo>
                  <a:lnTo>
                    <a:pt x="772" y="340"/>
                  </a:lnTo>
                  <a:lnTo>
                    <a:pt x="772" y="323"/>
                  </a:lnTo>
                  <a:lnTo>
                    <a:pt x="772" y="317"/>
                  </a:lnTo>
                  <a:lnTo>
                    <a:pt x="770" y="313"/>
                  </a:lnTo>
                  <a:lnTo>
                    <a:pt x="770" y="313"/>
                  </a:lnTo>
                  <a:lnTo>
                    <a:pt x="765" y="305"/>
                  </a:lnTo>
                  <a:lnTo>
                    <a:pt x="763" y="304"/>
                  </a:lnTo>
                  <a:lnTo>
                    <a:pt x="762" y="304"/>
                  </a:lnTo>
                  <a:lnTo>
                    <a:pt x="762" y="304"/>
                  </a:lnTo>
                  <a:lnTo>
                    <a:pt x="759" y="319"/>
                  </a:lnTo>
                  <a:lnTo>
                    <a:pt x="759" y="336"/>
                  </a:lnTo>
                  <a:lnTo>
                    <a:pt x="759" y="336"/>
                  </a:lnTo>
                  <a:lnTo>
                    <a:pt x="757" y="337"/>
                  </a:lnTo>
                  <a:lnTo>
                    <a:pt x="754" y="340"/>
                  </a:lnTo>
                  <a:lnTo>
                    <a:pt x="749" y="346"/>
                  </a:lnTo>
                  <a:lnTo>
                    <a:pt x="743" y="352"/>
                  </a:lnTo>
                  <a:lnTo>
                    <a:pt x="740" y="356"/>
                  </a:lnTo>
                  <a:lnTo>
                    <a:pt x="740" y="359"/>
                  </a:lnTo>
                  <a:lnTo>
                    <a:pt x="740" y="359"/>
                  </a:lnTo>
                  <a:lnTo>
                    <a:pt x="738" y="363"/>
                  </a:lnTo>
                  <a:lnTo>
                    <a:pt x="736" y="368"/>
                  </a:lnTo>
                  <a:lnTo>
                    <a:pt x="734" y="372"/>
                  </a:lnTo>
                  <a:lnTo>
                    <a:pt x="731" y="378"/>
                  </a:lnTo>
                  <a:lnTo>
                    <a:pt x="731" y="378"/>
                  </a:lnTo>
                  <a:lnTo>
                    <a:pt x="731" y="381"/>
                  </a:lnTo>
                  <a:lnTo>
                    <a:pt x="733" y="385"/>
                  </a:lnTo>
                  <a:lnTo>
                    <a:pt x="738" y="392"/>
                  </a:lnTo>
                  <a:lnTo>
                    <a:pt x="749" y="405"/>
                  </a:lnTo>
                  <a:lnTo>
                    <a:pt x="749" y="405"/>
                  </a:lnTo>
                  <a:lnTo>
                    <a:pt x="750" y="408"/>
                  </a:lnTo>
                  <a:lnTo>
                    <a:pt x="749" y="413"/>
                  </a:lnTo>
                  <a:lnTo>
                    <a:pt x="746" y="418"/>
                  </a:lnTo>
                  <a:lnTo>
                    <a:pt x="746" y="418"/>
                  </a:lnTo>
                  <a:lnTo>
                    <a:pt x="744" y="440"/>
                  </a:lnTo>
                  <a:lnTo>
                    <a:pt x="741" y="466"/>
                  </a:lnTo>
                  <a:lnTo>
                    <a:pt x="741" y="466"/>
                  </a:lnTo>
                  <a:lnTo>
                    <a:pt x="741" y="482"/>
                  </a:lnTo>
                  <a:lnTo>
                    <a:pt x="743" y="487"/>
                  </a:lnTo>
                  <a:lnTo>
                    <a:pt x="746" y="489"/>
                  </a:lnTo>
                  <a:lnTo>
                    <a:pt x="746" y="489"/>
                  </a:lnTo>
                  <a:lnTo>
                    <a:pt x="749" y="491"/>
                  </a:lnTo>
                  <a:lnTo>
                    <a:pt x="750" y="489"/>
                  </a:lnTo>
                  <a:lnTo>
                    <a:pt x="753" y="488"/>
                  </a:lnTo>
                  <a:lnTo>
                    <a:pt x="756" y="488"/>
                  </a:lnTo>
                  <a:lnTo>
                    <a:pt x="756" y="488"/>
                  </a:lnTo>
                  <a:lnTo>
                    <a:pt x="759" y="487"/>
                  </a:lnTo>
                  <a:lnTo>
                    <a:pt x="762" y="485"/>
                  </a:lnTo>
                  <a:lnTo>
                    <a:pt x="765" y="482"/>
                  </a:lnTo>
                  <a:lnTo>
                    <a:pt x="769" y="481"/>
                  </a:lnTo>
                  <a:lnTo>
                    <a:pt x="769" y="481"/>
                  </a:lnTo>
                  <a:lnTo>
                    <a:pt x="780" y="479"/>
                  </a:lnTo>
                  <a:lnTo>
                    <a:pt x="788" y="481"/>
                  </a:lnTo>
                  <a:lnTo>
                    <a:pt x="795" y="482"/>
                  </a:lnTo>
                  <a:lnTo>
                    <a:pt x="795" y="482"/>
                  </a:lnTo>
                  <a:lnTo>
                    <a:pt x="799" y="485"/>
                  </a:lnTo>
                  <a:lnTo>
                    <a:pt x="802" y="489"/>
                  </a:lnTo>
                  <a:lnTo>
                    <a:pt x="805" y="500"/>
                  </a:lnTo>
                  <a:lnTo>
                    <a:pt x="805" y="500"/>
                  </a:lnTo>
                  <a:lnTo>
                    <a:pt x="807" y="505"/>
                  </a:lnTo>
                  <a:lnTo>
                    <a:pt x="809" y="511"/>
                  </a:lnTo>
                  <a:lnTo>
                    <a:pt x="817" y="523"/>
                  </a:lnTo>
                  <a:lnTo>
                    <a:pt x="817" y="523"/>
                  </a:lnTo>
                  <a:lnTo>
                    <a:pt x="817" y="526"/>
                  </a:lnTo>
                  <a:lnTo>
                    <a:pt x="817" y="529"/>
                  </a:lnTo>
                  <a:lnTo>
                    <a:pt x="812" y="531"/>
                  </a:lnTo>
                  <a:lnTo>
                    <a:pt x="808" y="536"/>
                  </a:lnTo>
                  <a:lnTo>
                    <a:pt x="807" y="540"/>
                  </a:lnTo>
                  <a:lnTo>
                    <a:pt x="805" y="544"/>
                  </a:lnTo>
                  <a:lnTo>
                    <a:pt x="805" y="544"/>
                  </a:lnTo>
                  <a:lnTo>
                    <a:pt x="805" y="550"/>
                  </a:lnTo>
                  <a:lnTo>
                    <a:pt x="807" y="555"/>
                  </a:lnTo>
                  <a:lnTo>
                    <a:pt x="807" y="558"/>
                  </a:lnTo>
                  <a:lnTo>
                    <a:pt x="809" y="559"/>
                  </a:lnTo>
                  <a:lnTo>
                    <a:pt x="814" y="563"/>
                  </a:lnTo>
                  <a:lnTo>
                    <a:pt x="820" y="566"/>
                  </a:lnTo>
                  <a:lnTo>
                    <a:pt x="820" y="566"/>
                  </a:lnTo>
                  <a:lnTo>
                    <a:pt x="822" y="568"/>
                  </a:lnTo>
                  <a:lnTo>
                    <a:pt x="820" y="569"/>
                  </a:lnTo>
                  <a:lnTo>
                    <a:pt x="812" y="571"/>
                  </a:lnTo>
                  <a:lnTo>
                    <a:pt x="812" y="571"/>
                  </a:lnTo>
                  <a:lnTo>
                    <a:pt x="808" y="571"/>
                  </a:lnTo>
                  <a:lnTo>
                    <a:pt x="805" y="573"/>
                  </a:lnTo>
                  <a:lnTo>
                    <a:pt x="801" y="578"/>
                  </a:lnTo>
                  <a:lnTo>
                    <a:pt x="801" y="578"/>
                  </a:lnTo>
                  <a:lnTo>
                    <a:pt x="799" y="578"/>
                  </a:lnTo>
                  <a:lnTo>
                    <a:pt x="796" y="576"/>
                  </a:lnTo>
                  <a:lnTo>
                    <a:pt x="792" y="571"/>
                  </a:lnTo>
                  <a:lnTo>
                    <a:pt x="792" y="571"/>
                  </a:lnTo>
                  <a:lnTo>
                    <a:pt x="792" y="568"/>
                  </a:lnTo>
                  <a:lnTo>
                    <a:pt x="791" y="565"/>
                  </a:lnTo>
                  <a:lnTo>
                    <a:pt x="791" y="553"/>
                  </a:lnTo>
                  <a:lnTo>
                    <a:pt x="792" y="529"/>
                  </a:lnTo>
                  <a:lnTo>
                    <a:pt x="792" y="529"/>
                  </a:lnTo>
                  <a:lnTo>
                    <a:pt x="791" y="520"/>
                  </a:lnTo>
                  <a:lnTo>
                    <a:pt x="788" y="511"/>
                  </a:lnTo>
                  <a:lnTo>
                    <a:pt x="785" y="505"/>
                  </a:lnTo>
                  <a:lnTo>
                    <a:pt x="782" y="501"/>
                  </a:lnTo>
                  <a:lnTo>
                    <a:pt x="782" y="501"/>
                  </a:lnTo>
                  <a:lnTo>
                    <a:pt x="779" y="501"/>
                  </a:lnTo>
                  <a:lnTo>
                    <a:pt x="775" y="502"/>
                  </a:lnTo>
                  <a:lnTo>
                    <a:pt x="763" y="510"/>
                  </a:lnTo>
                  <a:lnTo>
                    <a:pt x="753" y="517"/>
                  </a:lnTo>
                  <a:lnTo>
                    <a:pt x="749" y="523"/>
                  </a:lnTo>
                  <a:lnTo>
                    <a:pt x="749" y="523"/>
                  </a:lnTo>
                  <a:lnTo>
                    <a:pt x="747" y="526"/>
                  </a:lnTo>
                  <a:lnTo>
                    <a:pt x="749" y="529"/>
                  </a:lnTo>
                  <a:lnTo>
                    <a:pt x="753" y="536"/>
                  </a:lnTo>
                  <a:lnTo>
                    <a:pt x="753" y="536"/>
                  </a:lnTo>
                  <a:lnTo>
                    <a:pt x="753" y="539"/>
                  </a:lnTo>
                  <a:lnTo>
                    <a:pt x="753" y="542"/>
                  </a:lnTo>
                  <a:lnTo>
                    <a:pt x="750" y="550"/>
                  </a:lnTo>
                  <a:lnTo>
                    <a:pt x="741" y="571"/>
                  </a:lnTo>
                  <a:lnTo>
                    <a:pt x="741" y="571"/>
                  </a:lnTo>
                  <a:lnTo>
                    <a:pt x="737" y="582"/>
                  </a:lnTo>
                  <a:lnTo>
                    <a:pt x="731" y="592"/>
                  </a:lnTo>
                  <a:lnTo>
                    <a:pt x="724" y="601"/>
                  </a:lnTo>
                  <a:lnTo>
                    <a:pt x="720" y="607"/>
                  </a:lnTo>
                  <a:lnTo>
                    <a:pt x="720" y="607"/>
                  </a:lnTo>
                  <a:lnTo>
                    <a:pt x="718" y="608"/>
                  </a:lnTo>
                  <a:lnTo>
                    <a:pt x="718" y="610"/>
                  </a:lnTo>
                  <a:lnTo>
                    <a:pt x="721" y="614"/>
                  </a:lnTo>
                  <a:lnTo>
                    <a:pt x="728" y="624"/>
                  </a:lnTo>
                  <a:lnTo>
                    <a:pt x="728" y="624"/>
                  </a:lnTo>
                  <a:lnTo>
                    <a:pt x="731" y="630"/>
                  </a:lnTo>
                  <a:lnTo>
                    <a:pt x="733" y="634"/>
                  </a:lnTo>
                  <a:lnTo>
                    <a:pt x="731" y="640"/>
                  </a:lnTo>
                  <a:lnTo>
                    <a:pt x="730" y="644"/>
                  </a:lnTo>
                  <a:lnTo>
                    <a:pt x="730" y="644"/>
                  </a:lnTo>
                  <a:lnTo>
                    <a:pt x="728" y="644"/>
                  </a:lnTo>
                  <a:lnTo>
                    <a:pt x="727" y="643"/>
                  </a:lnTo>
                  <a:lnTo>
                    <a:pt x="723" y="634"/>
                  </a:lnTo>
                  <a:lnTo>
                    <a:pt x="717" y="623"/>
                  </a:lnTo>
                  <a:lnTo>
                    <a:pt x="714" y="614"/>
                  </a:lnTo>
                  <a:lnTo>
                    <a:pt x="714" y="614"/>
                  </a:lnTo>
                  <a:lnTo>
                    <a:pt x="709" y="613"/>
                  </a:lnTo>
                  <a:lnTo>
                    <a:pt x="702" y="611"/>
                  </a:lnTo>
                  <a:lnTo>
                    <a:pt x="688" y="611"/>
                  </a:lnTo>
                  <a:lnTo>
                    <a:pt x="688" y="611"/>
                  </a:lnTo>
                  <a:lnTo>
                    <a:pt x="681" y="610"/>
                  </a:lnTo>
                  <a:lnTo>
                    <a:pt x="675" y="607"/>
                  </a:lnTo>
                  <a:lnTo>
                    <a:pt x="669" y="601"/>
                  </a:lnTo>
                  <a:lnTo>
                    <a:pt x="665" y="597"/>
                  </a:lnTo>
                  <a:lnTo>
                    <a:pt x="665" y="597"/>
                  </a:lnTo>
                  <a:lnTo>
                    <a:pt x="662" y="594"/>
                  </a:lnTo>
                  <a:lnTo>
                    <a:pt x="659" y="594"/>
                  </a:lnTo>
                  <a:lnTo>
                    <a:pt x="653" y="598"/>
                  </a:lnTo>
                  <a:lnTo>
                    <a:pt x="653" y="598"/>
                  </a:lnTo>
                  <a:lnTo>
                    <a:pt x="652" y="598"/>
                  </a:lnTo>
                  <a:lnTo>
                    <a:pt x="650" y="597"/>
                  </a:lnTo>
                  <a:lnTo>
                    <a:pt x="652" y="594"/>
                  </a:lnTo>
                  <a:lnTo>
                    <a:pt x="653" y="589"/>
                  </a:lnTo>
                  <a:lnTo>
                    <a:pt x="653" y="589"/>
                  </a:lnTo>
                  <a:lnTo>
                    <a:pt x="656" y="588"/>
                  </a:lnTo>
                  <a:lnTo>
                    <a:pt x="659" y="588"/>
                  </a:lnTo>
                  <a:lnTo>
                    <a:pt x="667" y="588"/>
                  </a:lnTo>
                  <a:lnTo>
                    <a:pt x="688" y="588"/>
                  </a:lnTo>
                  <a:lnTo>
                    <a:pt x="688" y="588"/>
                  </a:lnTo>
                  <a:lnTo>
                    <a:pt x="694" y="588"/>
                  </a:lnTo>
                  <a:lnTo>
                    <a:pt x="698" y="586"/>
                  </a:lnTo>
                  <a:lnTo>
                    <a:pt x="708" y="582"/>
                  </a:lnTo>
                  <a:lnTo>
                    <a:pt x="708" y="582"/>
                  </a:lnTo>
                  <a:lnTo>
                    <a:pt x="711" y="578"/>
                  </a:lnTo>
                  <a:lnTo>
                    <a:pt x="714" y="571"/>
                  </a:lnTo>
                  <a:lnTo>
                    <a:pt x="721" y="552"/>
                  </a:lnTo>
                  <a:lnTo>
                    <a:pt x="731" y="523"/>
                  </a:lnTo>
                  <a:lnTo>
                    <a:pt x="731" y="523"/>
                  </a:lnTo>
                  <a:lnTo>
                    <a:pt x="731" y="518"/>
                  </a:lnTo>
                  <a:lnTo>
                    <a:pt x="731" y="514"/>
                  </a:lnTo>
                  <a:lnTo>
                    <a:pt x="728" y="510"/>
                  </a:lnTo>
                  <a:lnTo>
                    <a:pt x="725" y="505"/>
                  </a:lnTo>
                  <a:lnTo>
                    <a:pt x="725" y="505"/>
                  </a:lnTo>
                  <a:lnTo>
                    <a:pt x="724" y="504"/>
                  </a:lnTo>
                  <a:lnTo>
                    <a:pt x="723" y="500"/>
                  </a:lnTo>
                  <a:lnTo>
                    <a:pt x="720" y="488"/>
                  </a:lnTo>
                  <a:lnTo>
                    <a:pt x="718" y="473"/>
                  </a:lnTo>
                  <a:lnTo>
                    <a:pt x="717" y="460"/>
                  </a:lnTo>
                  <a:lnTo>
                    <a:pt x="717" y="460"/>
                  </a:lnTo>
                  <a:lnTo>
                    <a:pt x="718" y="447"/>
                  </a:lnTo>
                  <a:lnTo>
                    <a:pt x="720" y="434"/>
                  </a:lnTo>
                  <a:lnTo>
                    <a:pt x="721" y="416"/>
                  </a:lnTo>
                  <a:lnTo>
                    <a:pt x="721" y="416"/>
                  </a:lnTo>
                  <a:lnTo>
                    <a:pt x="720" y="408"/>
                  </a:lnTo>
                  <a:lnTo>
                    <a:pt x="715" y="400"/>
                  </a:lnTo>
                  <a:lnTo>
                    <a:pt x="708" y="385"/>
                  </a:lnTo>
                  <a:lnTo>
                    <a:pt x="708" y="385"/>
                  </a:lnTo>
                  <a:lnTo>
                    <a:pt x="707" y="381"/>
                  </a:lnTo>
                  <a:lnTo>
                    <a:pt x="708" y="376"/>
                  </a:lnTo>
                  <a:lnTo>
                    <a:pt x="714" y="369"/>
                  </a:lnTo>
                  <a:lnTo>
                    <a:pt x="714" y="369"/>
                  </a:lnTo>
                  <a:lnTo>
                    <a:pt x="717" y="361"/>
                  </a:lnTo>
                  <a:lnTo>
                    <a:pt x="718" y="347"/>
                  </a:lnTo>
                  <a:lnTo>
                    <a:pt x="721" y="324"/>
                  </a:lnTo>
                  <a:lnTo>
                    <a:pt x="721" y="324"/>
                  </a:lnTo>
                  <a:lnTo>
                    <a:pt x="723" y="320"/>
                  </a:lnTo>
                  <a:lnTo>
                    <a:pt x="725" y="317"/>
                  </a:lnTo>
                  <a:lnTo>
                    <a:pt x="727" y="314"/>
                  </a:lnTo>
                  <a:lnTo>
                    <a:pt x="728" y="311"/>
                  </a:lnTo>
                  <a:lnTo>
                    <a:pt x="728" y="311"/>
                  </a:lnTo>
                  <a:lnTo>
                    <a:pt x="727" y="308"/>
                  </a:lnTo>
                  <a:lnTo>
                    <a:pt x="724" y="305"/>
                  </a:lnTo>
                  <a:lnTo>
                    <a:pt x="720" y="304"/>
                  </a:lnTo>
                  <a:lnTo>
                    <a:pt x="715" y="304"/>
                  </a:lnTo>
                  <a:lnTo>
                    <a:pt x="715" y="304"/>
                  </a:lnTo>
                  <a:lnTo>
                    <a:pt x="694" y="305"/>
                  </a:lnTo>
                  <a:lnTo>
                    <a:pt x="694" y="305"/>
                  </a:lnTo>
                  <a:lnTo>
                    <a:pt x="688" y="304"/>
                  </a:lnTo>
                  <a:lnTo>
                    <a:pt x="683" y="304"/>
                  </a:lnTo>
                  <a:lnTo>
                    <a:pt x="679" y="301"/>
                  </a:lnTo>
                  <a:lnTo>
                    <a:pt x="679" y="301"/>
                  </a:lnTo>
                  <a:lnTo>
                    <a:pt x="676" y="301"/>
                  </a:lnTo>
                  <a:lnTo>
                    <a:pt x="675" y="301"/>
                  </a:lnTo>
                  <a:lnTo>
                    <a:pt x="669" y="307"/>
                  </a:lnTo>
                  <a:lnTo>
                    <a:pt x="669" y="307"/>
                  </a:lnTo>
                  <a:lnTo>
                    <a:pt x="666" y="311"/>
                  </a:lnTo>
                  <a:lnTo>
                    <a:pt x="666" y="319"/>
                  </a:lnTo>
                  <a:lnTo>
                    <a:pt x="663" y="330"/>
                  </a:lnTo>
                  <a:lnTo>
                    <a:pt x="657" y="350"/>
                  </a:lnTo>
                  <a:lnTo>
                    <a:pt x="657" y="350"/>
                  </a:lnTo>
                  <a:lnTo>
                    <a:pt x="653" y="361"/>
                  </a:lnTo>
                  <a:lnTo>
                    <a:pt x="649" y="368"/>
                  </a:lnTo>
                  <a:lnTo>
                    <a:pt x="643" y="375"/>
                  </a:lnTo>
                  <a:lnTo>
                    <a:pt x="639" y="379"/>
                  </a:lnTo>
                  <a:lnTo>
                    <a:pt x="631" y="385"/>
                  </a:lnTo>
                  <a:lnTo>
                    <a:pt x="628" y="387"/>
                  </a:lnTo>
                  <a:lnTo>
                    <a:pt x="627" y="389"/>
                  </a:lnTo>
                  <a:lnTo>
                    <a:pt x="627" y="389"/>
                  </a:lnTo>
                  <a:lnTo>
                    <a:pt x="627" y="392"/>
                  </a:lnTo>
                  <a:lnTo>
                    <a:pt x="625" y="397"/>
                  </a:lnTo>
                  <a:lnTo>
                    <a:pt x="621" y="404"/>
                  </a:lnTo>
                  <a:lnTo>
                    <a:pt x="621" y="404"/>
                  </a:lnTo>
                  <a:lnTo>
                    <a:pt x="620" y="407"/>
                  </a:lnTo>
                  <a:lnTo>
                    <a:pt x="621" y="408"/>
                  </a:lnTo>
                  <a:lnTo>
                    <a:pt x="627" y="408"/>
                  </a:lnTo>
                  <a:lnTo>
                    <a:pt x="627" y="408"/>
                  </a:lnTo>
                  <a:lnTo>
                    <a:pt x="628" y="410"/>
                  </a:lnTo>
                  <a:lnTo>
                    <a:pt x="628" y="414"/>
                  </a:lnTo>
                  <a:lnTo>
                    <a:pt x="630" y="426"/>
                  </a:lnTo>
                  <a:lnTo>
                    <a:pt x="630" y="445"/>
                  </a:lnTo>
                  <a:lnTo>
                    <a:pt x="630" y="445"/>
                  </a:lnTo>
                  <a:lnTo>
                    <a:pt x="628" y="447"/>
                  </a:lnTo>
                  <a:lnTo>
                    <a:pt x="627" y="447"/>
                  </a:lnTo>
                  <a:lnTo>
                    <a:pt x="623" y="446"/>
                  </a:lnTo>
                  <a:lnTo>
                    <a:pt x="623" y="446"/>
                  </a:lnTo>
                  <a:lnTo>
                    <a:pt x="623" y="450"/>
                  </a:lnTo>
                  <a:lnTo>
                    <a:pt x="623" y="456"/>
                  </a:lnTo>
                  <a:lnTo>
                    <a:pt x="623" y="465"/>
                  </a:lnTo>
                  <a:lnTo>
                    <a:pt x="625" y="471"/>
                  </a:lnTo>
                  <a:lnTo>
                    <a:pt x="625" y="471"/>
                  </a:lnTo>
                  <a:lnTo>
                    <a:pt x="627" y="472"/>
                  </a:lnTo>
                  <a:lnTo>
                    <a:pt x="630" y="471"/>
                  </a:lnTo>
                  <a:lnTo>
                    <a:pt x="631" y="468"/>
                  </a:lnTo>
                  <a:lnTo>
                    <a:pt x="633" y="466"/>
                  </a:lnTo>
                  <a:lnTo>
                    <a:pt x="633" y="466"/>
                  </a:lnTo>
                  <a:lnTo>
                    <a:pt x="634" y="468"/>
                  </a:lnTo>
                  <a:lnTo>
                    <a:pt x="634" y="469"/>
                  </a:lnTo>
                  <a:lnTo>
                    <a:pt x="637" y="475"/>
                  </a:lnTo>
                  <a:lnTo>
                    <a:pt x="639" y="482"/>
                  </a:lnTo>
                  <a:lnTo>
                    <a:pt x="641" y="489"/>
                  </a:lnTo>
                  <a:lnTo>
                    <a:pt x="641" y="489"/>
                  </a:lnTo>
                  <a:lnTo>
                    <a:pt x="644" y="494"/>
                  </a:lnTo>
                  <a:lnTo>
                    <a:pt x="649" y="497"/>
                  </a:lnTo>
                  <a:lnTo>
                    <a:pt x="652" y="498"/>
                  </a:lnTo>
                  <a:lnTo>
                    <a:pt x="656" y="497"/>
                  </a:lnTo>
                  <a:lnTo>
                    <a:pt x="656" y="497"/>
                  </a:lnTo>
                  <a:lnTo>
                    <a:pt x="657" y="497"/>
                  </a:lnTo>
                  <a:lnTo>
                    <a:pt x="659" y="500"/>
                  </a:lnTo>
                  <a:lnTo>
                    <a:pt x="657" y="510"/>
                  </a:lnTo>
                  <a:lnTo>
                    <a:pt x="654" y="521"/>
                  </a:lnTo>
                  <a:lnTo>
                    <a:pt x="652" y="529"/>
                  </a:lnTo>
                  <a:lnTo>
                    <a:pt x="652" y="529"/>
                  </a:lnTo>
                  <a:lnTo>
                    <a:pt x="650" y="530"/>
                  </a:lnTo>
                  <a:lnTo>
                    <a:pt x="649" y="529"/>
                  </a:lnTo>
                  <a:lnTo>
                    <a:pt x="646" y="521"/>
                  </a:lnTo>
                  <a:lnTo>
                    <a:pt x="643" y="513"/>
                  </a:lnTo>
                  <a:lnTo>
                    <a:pt x="640" y="507"/>
                  </a:lnTo>
                  <a:lnTo>
                    <a:pt x="637" y="504"/>
                  </a:lnTo>
                  <a:lnTo>
                    <a:pt x="637" y="504"/>
                  </a:lnTo>
                  <a:lnTo>
                    <a:pt x="623" y="492"/>
                  </a:lnTo>
                  <a:lnTo>
                    <a:pt x="612" y="485"/>
                  </a:lnTo>
                  <a:lnTo>
                    <a:pt x="612" y="485"/>
                  </a:lnTo>
                  <a:lnTo>
                    <a:pt x="601" y="475"/>
                  </a:lnTo>
                  <a:lnTo>
                    <a:pt x="591" y="469"/>
                  </a:lnTo>
                  <a:lnTo>
                    <a:pt x="586" y="466"/>
                  </a:lnTo>
                  <a:lnTo>
                    <a:pt x="583" y="465"/>
                  </a:lnTo>
                  <a:lnTo>
                    <a:pt x="583" y="465"/>
                  </a:lnTo>
                  <a:lnTo>
                    <a:pt x="576" y="465"/>
                  </a:lnTo>
                  <a:lnTo>
                    <a:pt x="568" y="462"/>
                  </a:lnTo>
                  <a:lnTo>
                    <a:pt x="560" y="459"/>
                  </a:lnTo>
                  <a:lnTo>
                    <a:pt x="553" y="459"/>
                  </a:lnTo>
                  <a:lnTo>
                    <a:pt x="553" y="459"/>
                  </a:lnTo>
                  <a:lnTo>
                    <a:pt x="546" y="458"/>
                  </a:lnTo>
                  <a:lnTo>
                    <a:pt x="541" y="456"/>
                  </a:lnTo>
                  <a:lnTo>
                    <a:pt x="536" y="452"/>
                  </a:lnTo>
                  <a:lnTo>
                    <a:pt x="536" y="452"/>
                  </a:lnTo>
                  <a:lnTo>
                    <a:pt x="533" y="452"/>
                  </a:lnTo>
                  <a:lnTo>
                    <a:pt x="530" y="452"/>
                  </a:lnTo>
                  <a:lnTo>
                    <a:pt x="528" y="455"/>
                  </a:lnTo>
                  <a:lnTo>
                    <a:pt x="528" y="456"/>
                  </a:lnTo>
                  <a:lnTo>
                    <a:pt x="528" y="456"/>
                  </a:lnTo>
                  <a:lnTo>
                    <a:pt x="528" y="459"/>
                  </a:lnTo>
                  <a:lnTo>
                    <a:pt x="526" y="463"/>
                  </a:lnTo>
                  <a:lnTo>
                    <a:pt x="524" y="468"/>
                  </a:lnTo>
                  <a:lnTo>
                    <a:pt x="524" y="475"/>
                  </a:lnTo>
                  <a:lnTo>
                    <a:pt x="524" y="475"/>
                  </a:lnTo>
                  <a:lnTo>
                    <a:pt x="528" y="487"/>
                  </a:lnTo>
                  <a:lnTo>
                    <a:pt x="533" y="497"/>
                  </a:lnTo>
                  <a:lnTo>
                    <a:pt x="533" y="497"/>
                  </a:lnTo>
                  <a:lnTo>
                    <a:pt x="534" y="500"/>
                  </a:lnTo>
                  <a:lnTo>
                    <a:pt x="533" y="501"/>
                  </a:lnTo>
                  <a:lnTo>
                    <a:pt x="530" y="504"/>
                  </a:lnTo>
                  <a:lnTo>
                    <a:pt x="521" y="505"/>
                  </a:lnTo>
                  <a:lnTo>
                    <a:pt x="521" y="505"/>
                  </a:lnTo>
                  <a:lnTo>
                    <a:pt x="518" y="508"/>
                  </a:lnTo>
                  <a:lnTo>
                    <a:pt x="518" y="511"/>
                  </a:lnTo>
                  <a:lnTo>
                    <a:pt x="518" y="523"/>
                  </a:lnTo>
                  <a:lnTo>
                    <a:pt x="518" y="523"/>
                  </a:lnTo>
                  <a:lnTo>
                    <a:pt x="517" y="526"/>
                  </a:lnTo>
                  <a:lnTo>
                    <a:pt x="515" y="524"/>
                  </a:lnTo>
                  <a:lnTo>
                    <a:pt x="513" y="521"/>
                  </a:lnTo>
                  <a:lnTo>
                    <a:pt x="510" y="520"/>
                  </a:lnTo>
                  <a:lnTo>
                    <a:pt x="510" y="520"/>
                  </a:lnTo>
                  <a:lnTo>
                    <a:pt x="507" y="518"/>
                  </a:lnTo>
                  <a:lnTo>
                    <a:pt x="507" y="517"/>
                  </a:lnTo>
                  <a:lnTo>
                    <a:pt x="507" y="516"/>
                  </a:lnTo>
                  <a:lnTo>
                    <a:pt x="508" y="516"/>
                  </a:lnTo>
                  <a:lnTo>
                    <a:pt x="508" y="516"/>
                  </a:lnTo>
                  <a:lnTo>
                    <a:pt x="510" y="514"/>
                  </a:lnTo>
                  <a:lnTo>
                    <a:pt x="510" y="513"/>
                  </a:lnTo>
                  <a:lnTo>
                    <a:pt x="511" y="508"/>
                  </a:lnTo>
                  <a:lnTo>
                    <a:pt x="511" y="508"/>
                  </a:lnTo>
                  <a:lnTo>
                    <a:pt x="511" y="505"/>
                  </a:lnTo>
                  <a:lnTo>
                    <a:pt x="510" y="502"/>
                  </a:lnTo>
                  <a:lnTo>
                    <a:pt x="505" y="498"/>
                  </a:lnTo>
                  <a:lnTo>
                    <a:pt x="505" y="498"/>
                  </a:lnTo>
                  <a:lnTo>
                    <a:pt x="502" y="497"/>
                  </a:lnTo>
                  <a:lnTo>
                    <a:pt x="499" y="498"/>
                  </a:lnTo>
                  <a:lnTo>
                    <a:pt x="491" y="504"/>
                  </a:lnTo>
                  <a:lnTo>
                    <a:pt x="491" y="504"/>
                  </a:lnTo>
                  <a:lnTo>
                    <a:pt x="482" y="510"/>
                  </a:lnTo>
                  <a:lnTo>
                    <a:pt x="471" y="513"/>
                  </a:lnTo>
                  <a:lnTo>
                    <a:pt x="471" y="513"/>
                  </a:lnTo>
                  <a:lnTo>
                    <a:pt x="465" y="513"/>
                  </a:lnTo>
                  <a:lnTo>
                    <a:pt x="460" y="511"/>
                  </a:lnTo>
                  <a:lnTo>
                    <a:pt x="457" y="511"/>
                  </a:lnTo>
                  <a:lnTo>
                    <a:pt x="453" y="513"/>
                  </a:lnTo>
                  <a:lnTo>
                    <a:pt x="453" y="513"/>
                  </a:lnTo>
                  <a:lnTo>
                    <a:pt x="444" y="517"/>
                  </a:lnTo>
                  <a:lnTo>
                    <a:pt x="440" y="520"/>
                  </a:lnTo>
                  <a:lnTo>
                    <a:pt x="440" y="520"/>
                  </a:lnTo>
                  <a:lnTo>
                    <a:pt x="440" y="523"/>
                  </a:lnTo>
                  <a:lnTo>
                    <a:pt x="440" y="526"/>
                  </a:lnTo>
                  <a:lnTo>
                    <a:pt x="440" y="527"/>
                  </a:lnTo>
                  <a:lnTo>
                    <a:pt x="439" y="529"/>
                  </a:lnTo>
                  <a:lnTo>
                    <a:pt x="439" y="529"/>
                  </a:lnTo>
                  <a:lnTo>
                    <a:pt x="434" y="530"/>
                  </a:lnTo>
                  <a:lnTo>
                    <a:pt x="433" y="529"/>
                  </a:lnTo>
                  <a:lnTo>
                    <a:pt x="431" y="529"/>
                  </a:lnTo>
                  <a:lnTo>
                    <a:pt x="429" y="531"/>
                  </a:lnTo>
                  <a:lnTo>
                    <a:pt x="429" y="531"/>
                  </a:lnTo>
                  <a:lnTo>
                    <a:pt x="427" y="536"/>
                  </a:lnTo>
                  <a:lnTo>
                    <a:pt x="424" y="537"/>
                  </a:lnTo>
                  <a:lnTo>
                    <a:pt x="420" y="540"/>
                  </a:lnTo>
                  <a:lnTo>
                    <a:pt x="420" y="540"/>
                  </a:lnTo>
                  <a:lnTo>
                    <a:pt x="417" y="542"/>
                  </a:lnTo>
                  <a:lnTo>
                    <a:pt x="415" y="542"/>
                  </a:lnTo>
                  <a:lnTo>
                    <a:pt x="414" y="540"/>
                  </a:lnTo>
                  <a:lnTo>
                    <a:pt x="413" y="540"/>
                  </a:lnTo>
                  <a:lnTo>
                    <a:pt x="413" y="540"/>
                  </a:lnTo>
                  <a:lnTo>
                    <a:pt x="410" y="540"/>
                  </a:lnTo>
                  <a:lnTo>
                    <a:pt x="410" y="539"/>
                  </a:lnTo>
                  <a:lnTo>
                    <a:pt x="408" y="537"/>
                  </a:lnTo>
                  <a:lnTo>
                    <a:pt x="405" y="539"/>
                  </a:lnTo>
                  <a:lnTo>
                    <a:pt x="405" y="539"/>
                  </a:lnTo>
                  <a:lnTo>
                    <a:pt x="404" y="539"/>
                  </a:lnTo>
                  <a:lnTo>
                    <a:pt x="404" y="537"/>
                  </a:lnTo>
                  <a:lnTo>
                    <a:pt x="407" y="531"/>
                  </a:lnTo>
                  <a:lnTo>
                    <a:pt x="407" y="531"/>
                  </a:lnTo>
                  <a:lnTo>
                    <a:pt x="414" y="526"/>
                  </a:lnTo>
                  <a:lnTo>
                    <a:pt x="421" y="520"/>
                  </a:lnTo>
                  <a:lnTo>
                    <a:pt x="421" y="520"/>
                  </a:lnTo>
                  <a:lnTo>
                    <a:pt x="423" y="517"/>
                  </a:lnTo>
                  <a:lnTo>
                    <a:pt x="424" y="511"/>
                  </a:lnTo>
                  <a:lnTo>
                    <a:pt x="423" y="501"/>
                  </a:lnTo>
                  <a:lnTo>
                    <a:pt x="423" y="501"/>
                  </a:lnTo>
                  <a:lnTo>
                    <a:pt x="424" y="498"/>
                  </a:lnTo>
                  <a:lnTo>
                    <a:pt x="427" y="497"/>
                  </a:lnTo>
                  <a:lnTo>
                    <a:pt x="431" y="492"/>
                  </a:lnTo>
                  <a:lnTo>
                    <a:pt x="431" y="492"/>
                  </a:lnTo>
                  <a:lnTo>
                    <a:pt x="417" y="500"/>
                  </a:lnTo>
                  <a:lnTo>
                    <a:pt x="417" y="500"/>
                  </a:lnTo>
                  <a:lnTo>
                    <a:pt x="407" y="505"/>
                  </a:lnTo>
                  <a:lnTo>
                    <a:pt x="398" y="513"/>
                  </a:lnTo>
                  <a:lnTo>
                    <a:pt x="398" y="513"/>
                  </a:lnTo>
                  <a:lnTo>
                    <a:pt x="389" y="517"/>
                  </a:lnTo>
                  <a:lnTo>
                    <a:pt x="376" y="521"/>
                  </a:lnTo>
                  <a:lnTo>
                    <a:pt x="376" y="521"/>
                  </a:lnTo>
                  <a:lnTo>
                    <a:pt x="372" y="523"/>
                  </a:lnTo>
                  <a:lnTo>
                    <a:pt x="369" y="526"/>
                  </a:lnTo>
                  <a:lnTo>
                    <a:pt x="363" y="531"/>
                  </a:lnTo>
                  <a:lnTo>
                    <a:pt x="360" y="536"/>
                  </a:lnTo>
                  <a:lnTo>
                    <a:pt x="358" y="539"/>
                  </a:lnTo>
                  <a:lnTo>
                    <a:pt x="358" y="539"/>
                  </a:lnTo>
                  <a:lnTo>
                    <a:pt x="355" y="540"/>
                  </a:lnTo>
                  <a:lnTo>
                    <a:pt x="350" y="539"/>
                  </a:lnTo>
                  <a:lnTo>
                    <a:pt x="345" y="537"/>
                  </a:lnTo>
                  <a:lnTo>
                    <a:pt x="345" y="537"/>
                  </a:lnTo>
                  <a:lnTo>
                    <a:pt x="343" y="537"/>
                  </a:lnTo>
                  <a:lnTo>
                    <a:pt x="343" y="537"/>
                  </a:lnTo>
                  <a:lnTo>
                    <a:pt x="345" y="540"/>
                  </a:lnTo>
                  <a:lnTo>
                    <a:pt x="347" y="546"/>
                  </a:lnTo>
                  <a:lnTo>
                    <a:pt x="347" y="546"/>
                  </a:lnTo>
                  <a:lnTo>
                    <a:pt x="347" y="547"/>
                  </a:lnTo>
                  <a:lnTo>
                    <a:pt x="346" y="549"/>
                  </a:lnTo>
                  <a:lnTo>
                    <a:pt x="342" y="550"/>
                  </a:lnTo>
                  <a:lnTo>
                    <a:pt x="333" y="552"/>
                  </a:lnTo>
                  <a:lnTo>
                    <a:pt x="333" y="552"/>
                  </a:lnTo>
                  <a:lnTo>
                    <a:pt x="331" y="555"/>
                  </a:lnTo>
                  <a:lnTo>
                    <a:pt x="331" y="560"/>
                  </a:lnTo>
                  <a:lnTo>
                    <a:pt x="331" y="568"/>
                  </a:lnTo>
                  <a:lnTo>
                    <a:pt x="330" y="575"/>
                  </a:lnTo>
                  <a:lnTo>
                    <a:pt x="330" y="575"/>
                  </a:lnTo>
                  <a:lnTo>
                    <a:pt x="329" y="578"/>
                  </a:lnTo>
                  <a:lnTo>
                    <a:pt x="326" y="581"/>
                  </a:lnTo>
                  <a:lnTo>
                    <a:pt x="323" y="582"/>
                  </a:lnTo>
                  <a:lnTo>
                    <a:pt x="320" y="582"/>
                  </a:lnTo>
                  <a:lnTo>
                    <a:pt x="311" y="582"/>
                  </a:lnTo>
                  <a:lnTo>
                    <a:pt x="304" y="582"/>
                  </a:lnTo>
                  <a:lnTo>
                    <a:pt x="304" y="582"/>
                  </a:lnTo>
                  <a:lnTo>
                    <a:pt x="300" y="582"/>
                  </a:lnTo>
                  <a:lnTo>
                    <a:pt x="297" y="579"/>
                  </a:lnTo>
                  <a:lnTo>
                    <a:pt x="294" y="571"/>
                  </a:lnTo>
                  <a:lnTo>
                    <a:pt x="294" y="571"/>
                  </a:lnTo>
                  <a:lnTo>
                    <a:pt x="291" y="568"/>
                  </a:lnTo>
                  <a:lnTo>
                    <a:pt x="288" y="565"/>
                  </a:lnTo>
                  <a:lnTo>
                    <a:pt x="284" y="563"/>
                  </a:lnTo>
                  <a:lnTo>
                    <a:pt x="284" y="563"/>
                  </a:lnTo>
                  <a:lnTo>
                    <a:pt x="282" y="560"/>
                  </a:lnTo>
                  <a:lnTo>
                    <a:pt x="282" y="558"/>
                  </a:lnTo>
                  <a:lnTo>
                    <a:pt x="287" y="549"/>
                  </a:lnTo>
                  <a:lnTo>
                    <a:pt x="287" y="549"/>
                  </a:lnTo>
                  <a:lnTo>
                    <a:pt x="291" y="544"/>
                  </a:lnTo>
                  <a:lnTo>
                    <a:pt x="297" y="542"/>
                  </a:lnTo>
                  <a:lnTo>
                    <a:pt x="303" y="540"/>
                  </a:lnTo>
                  <a:lnTo>
                    <a:pt x="305" y="537"/>
                  </a:lnTo>
                  <a:lnTo>
                    <a:pt x="305" y="537"/>
                  </a:lnTo>
                  <a:lnTo>
                    <a:pt x="307" y="537"/>
                  </a:lnTo>
                  <a:lnTo>
                    <a:pt x="305" y="534"/>
                  </a:lnTo>
                  <a:lnTo>
                    <a:pt x="303" y="530"/>
                  </a:lnTo>
                  <a:lnTo>
                    <a:pt x="297" y="521"/>
                  </a:lnTo>
                  <a:lnTo>
                    <a:pt x="297" y="521"/>
                  </a:lnTo>
                  <a:lnTo>
                    <a:pt x="294" y="517"/>
                  </a:lnTo>
                  <a:lnTo>
                    <a:pt x="289" y="516"/>
                  </a:lnTo>
                  <a:lnTo>
                    <a:pt x="285" y="513"/>
                  </a:lnTo>
                  <a:lnTo>
                    <a:pt x="279" y="513"/>
                  </a:lnTo>
                  <a:lnTo>
                    <a:pt x="279" y="513"/>
                  </a:lnTo>
                  <a:lnTo>
                    <a:pt x="268" y="510"/>
                  </a:lnTo>
                  <a:lnTo>
                    <a:pt x="258" y="507"/>
                  </a:lnTo>
                  <a:lnTo>
                    <a:pt x="258" y="507"/>
                  </a:lnTo>
                  <a:lnTo>
                    <a:pt x="255" y="507"/>
                  </a:lnTo>
                  <a:lnTo>
                    <a:pt x="255" y="508"/>
                  </a:lnTo>
                  <a:lnTo>
                    <a:pt x="258" y="514"/>
                  </a:lnTo>
                  <a:lnTo>
                    <a:pt x="258" y="514"/>
                  </a:lnTo>
                  <a:lnTo>
                    <a:pt x="263" y="521"/>
                  </a:lnTo>
                  <a:lnTo>
                    <a:pt x="266" y="527"/>
                  </a:lnTo>
                  <a:lnTo>
                    <a:pt x="268" y="533"/>
                  </a:lnTo>
                  <a:lnTo>
                    <a:pt x="268" y="533"/>
                  </a:lnTo>
                  <a:lnTo>
                    <a:pt x="268" y="536"/>
                  </a:lnTo>
                  <a:lnTo>
                    <a:pt x="268" y="540"/>
                  </a:lnTo>
                  <a:lnTo>
                    <a:pt x="263" y="552"/>
                  </a:lnTo>
                  <a:lnTo>
                    <a:pt x="259" y="562"/>
                  </a:lnTo>
                  <a:lnTo>
                    <a:pt x="256" y="568"/>
                  </a:lnTo>
                  <a:lnTo>
                    <a:pt x="256" y="568"/>
                  </a:lnTo>
                  <a:lnTo>
                    <a:pt x="258" y="571"/>
                  </a:lnTo>
                  <a:lnTo>
                    <a:pt x="259" y="572"/>
                  </a:lnTo>
                  <a:lnTo>
                    <a:pt x="263" y="575"/>
                  </a:lnTo>
                  <a:lnTo>
                    <a:pt x="269" y="579"/>
                  </a:lnTo>
                  <a:lnTo>
                    <a:pt x="274" y="585"/>
                  </a:lnTo>
                  <a:lnTo>
                    <a:pt x="274" y="585"/>
                  </a:lnTo>
                  <a:lnTo>
                    <a:pt x="275" y="588"/>
                  </a:lnTo>
                  <a:lnTo>
                    <a:pt x="275" y="592"/>
                  </a:lnTo>
                  <a:lnTo>
                    <a:pt x="271" y="601"/>
                  </a:lnTo>
                  <a:lnTo>
                    <a:pt x="262" y="614"/>
                  </a:lnTo>
                  <a:lnTo>
                    <a:pt x="262" y="614"/>
                  </a:lnTo>
                  <a:lnTo>
                    <a:pt x="261" y="615"/>
                  </a:lnTo>
                  <a:lnTo>
                    <a:pt x="258" y="615"/>
                  </a:lnTo>
                  <a:lnTo>
                    <a:pt x="255" y="614"/>
                  </a:lnTo>
                  <a:lnTo>
                    <a:pt x="253" y="613"/>
                  </a:lnTo>
                  <a:lnTo>
                    <a:pt x="253" y="613"/>
                  </a:lnTo>
                  <a:lnTo>
                    <a:pt x="250" y="607"/>
                  </a:lnTo>
                  <a:lnTo>
                    <a:pt x="247" y="605"/>
                  </a:lnTo>
                  <a:lnTo>
                    <a:pt x="245" y="605"/>
                  </a:lnTo>
                  <a:lnTo>
                    <a:pt x="245" y="605"/>
                  </a:lnTo>
                  <a:lnTo>
                    <a:pt x="242" y="604"/>
                  </a:lnTo>
                  <a:lnTo>
                    <a:pt x="240" y="602"/>
                  </a:lnTo>
                  <a:lnTo>
                    <a:pt x="237" y="600"/>
                  </a:lnTo>
                  <a:lnTo>
                    <a:pt x="237" y="600"/>
                  </a:lnTo>
                  <a:lnTo>
                    <a:pt x="234" y="601"/>
                  </a:lnTo>
                  <a:lnTo>
                    <a:pt x="232" y="604"/>
                  </a:lnTo>
                  <a:lnTo>
                    <a:pt x="226" y="613"/>
                  </a:lnTo>
                  <a:lnTo>
                    <a:pt x="226" y="613"/>
                  </a:lnTo>
                  <a:lnTo>
                    <a:pt x="221" y="615"/>
                  </a:lnTo>
                  <a:lnTo>
                    <a:pt x="217" y="618"/>
                  </a:lnTo>
                  <a:lnTo>
                    <a:pt x="211" y="621"/>
                  </a:lnTo>
                  <a:lnTo>
                    <a:pt x="208" y="624"/>
                  </a:lnTo>
                  <a:lnTo>
                    <a:pt x="208" y="624"/>
                  </a:lnTo>
                  <a:lnTo>
                    <a:pt x="200" y="631"/>
                  </a:lnTo>
                  <a:lnTo>
                    <a:pt x="194" y="640"/>
                  </a:lnTo>
                  <a:lnTo>
                    <a:pt x="194" y="640"/>
                  </a:lnTo>
                  <a:lnTo>
                    <a:pt x="192" y="643"/>
                  </a:lnTo>
                  <a:lnTo>
                    <a:pt x="194" y="644"/>
                  </a:lnTo>
                  <a:lnTo>
                    <a:pt x="198" y="652"/>
                  </a:lnTo>
                  <a:lnTo>
                    <a:pt x="207" y="662"/>
                  </a:lnTo>
                  <a:lnTo>
                    <a:pt x="207" y="662"/>
                  </a:lnTo>
                  <a:lnTo>
                    <a:pt x="208" y="665"/>
                  </a:lnTo>
                  <a:lnTo>
                    <a:pt x="208" y="668"/>
                  </a:lnTo>
                  <a:lnTo>
                    <a:pt x="204" y="673"/>
                  </a:lnTo>
                  <a:lnTo>
                    <a:pt x="204" y="673"/>
                  </a:lnTo>
                  <a:lnTo>
                    <a:pt x="203" y="675"/>
                  </a:lnTo>
                  <a:lnTo>
                    <a:pt x="201" y="675"/>
                  </a:lnTo>
                  <a:lnTo>
                    <a:pt x="194" y="672"/>
                  </a:lnTo>
                  <a:lnTo>
                    <a:pt x="181" y="666"/>
                  </a:lnTo>
                  <a:lnTo>
                    <a:pt x="181" y="666"/>
                  </a:lnTo>
                  <a:lnTo>
                    <a:pt x="175" y="665"/>
                  </a:lnTo>
                  <a:lnTo>
                    <a:pt x="171" y="666"/>
                  </a:lnTo>
                  <a:lnTo>
                    <a:pt x="171" y="666"/>
                  </a:lnTo>
                  <a:lnTo>
                    <a:pt x="169" y="668"/>
                  </a:lnTo>
                  <a:lnTo>
                    <a:pt x="168" y="668"/>
                  </a:lnTo>
                  <a:lnTo>
                    <a:pt x="163" y="665"/>
                  </a:lnTo>
                  <a:lnTo>
                    <a:pt x="161" y="660"/>
                  </a:lnTo>
                  <a:lnTo>
                    <a:pt x="158" y="656"/>
                  </a:lnTo>
                  <a:lnTo>
                    <a:pt x="158" y="656"/>
                  </a:lnTo>
                  <a:lnTo>
                    <a:pt x="156" y="653"/>
                  </a:lnTo>
                  <a:lnTo>
                    <a:pt x="155" y="652"/>
                  </a:lnTo>
                  <a:lnTo>
                    <a:pt x="152" y="653"/>
                  </a:lnTo>
                  <a:lnTo>
                    <a:pt x="149" y="652"/>
                  </a:lnTo>
                  <a:lnTo>
                    <a:pt x="149" y="652"/>
                  </a:lnTo>
                  <a:lnTo>
                    <a:pt x="146" y="652"/>
                  </a:lnTo>
                  <a:lnTo>
                    <a:pt x="146" y="653"/>
                  </a:lnTo>
                  <a:lnTo>
                    <a:pt x="146" y="656"/>
                  </a:lnTo>
                  <a:lnTo>
                    <a:pt x="146" y="656"/>
                  </a:lnTo>
                  <a:lnTo>
                    <a:pt x="145" y="657"/>
                  </a:lnTo>
                  <a:lnTo>
                    <a:pt x="143" y="659"/>
                  </a:lnTo>
                  <a:lnTo>
                    <a:pt x="140" y="662"/>
                  </a:lnTo>
                  <a:lnTo>
                    <a:pt x="140" y="662"/>
                  </a:lnTo>
                  <a:lnTo>
                    <a:pt x="139" y="663"/>
                  </a:lnTo>
                  <a:lnTo>
                    <a:pt x="140" y="668"/>
                  </a:lnTo>
                  <a:lnTo>
                    <a:pt x="142" y="673"/>
                  </a:lnTo>
                  <a:lnTo>
                    <a:pt x="148" y="681"/>
                  </a:lnTo>
                  <a:lnTo>
                    <a:pt x="148" y="681"/>
                  </a:lnTo>
                  <a:lnTo>
                    <a:pt x="150" y="685"/>
                  </a:lnTo>
                  <a:lnTo>
                    <a:pt x="153" y="685"/>
                  </a:lnTo>
                  <a:lnTo>
                    <a:pt x="156" y="682"/>
                  </a:lnTo>
                  <a:lnTo>
                    <a:pt x="159" y="681"/>
                  </a:lnTo>
                  <a:lnTo>
                    <a:pt x="159" y="681"/>
                  </a:lnTo>
                  <a:lnTo>
                    <a:pt x="162" y="681"/>
                  </a:lnTo>
                  <a:lnTo>
                    <a:pt x="163" y="682"/>
                  </a:lnTo>
                  <a:lnTo>
                    <a:pt x="163" y="688"/>
                  </a:lnTo>
                  <a:lnTo>
                    <a:pt x="165" y="694"/>
                  </a:lnTo>
                  <a:lnTo>
                    <a:pt x="166" y="698"/>
                  </a:lnTo>
                  <a:lnTo>
                    <a:pt x="166" y="698"/>
                  </a:lnTo>
                  <a:lnTo>
                    <a:pt x="166" y="699"/>
                  </a:lnTo>
                  <a:lnTo>
                    <a:pt x="166" y="701"/>
                  </a:lnTo>
                  <a:lnTo>
                    <a:pt x="163" y="702"/>
                  </a:lnTo>
                  <a:lnTo>
                    <a:pt x="156" y="704"/>
                  </a:lnTo>
                  <a:lnTo>
                    <a:pt x="156" y="704"/>
                  </a:lnTo>
                  <a:lnTo>
                    <a:pt x="153" y="704"/>
                  </a:lnTo>
                  <a:lnTo>
                    <a:pt x="148" y="702"/>
                  </a:lnTo>
                  <a:lnTo>
                    <a:pt x="142" y="701"/>
                  </a:lnTo>
                  <a:lnTo>
                    <a:pt x="137" y="697"/>
                  </a:lnTo>
                  <a:lnTo>
                    <a:pt x="137" y="697"/>
                  </a:lnTo>
                  <a:lnTo>
                    <a:pt x="133" y="694"/>
                  </a:lnTo>
                  <a:lnTo>
                    <a:pt x="132" y="689"/>
                  </a:lnTo>
                  <a:lnTo>
                    <a:pt x="130" y="688"/>
                  </a:lnTo>
                  <a:lnTo>
                    <a:pt x="129" y="686"/>
                  </a:lnTo>
                  <a:lnTo>
                    <a:pt x="129" y="686"/>
                  </a:lnTo>
                  <a:lnTo>
                    <a:pt x="126" y="686"/>
                  </a:lnTo>
                  <a:lnTo>
                    <a:pt x="121" y="685"/>
                  </a:lnTo>
                  <a:lnTo>
                    <a:pt x="117" y="679"/>
                  </a:lnTo>
                  <a:lnTo>
                    <a:pt x="117" y="679"/>
                  </a:lnTo>
                  <a:lnTo>
                    <a:pt x="113" y="675"/>
                  </a:lnTo>
                  <a:lnTo>
                    <a:pt x="111" y="673"/>
                  </a:lnTo>
                  <a:lnTo>
                    <a:pt x="113" y="672"/>
                  </a:lnTo>
                  <a:lnTo>
                    <a:pt x="113" y="672"/>
                  </a:lnTo>
                  <a:lnTo>
                    <a:pt x="113" y="668"/>
                  </a:lnTo>
                  <a:lnTo>
                    <a:pt x="113" y="662"/>
                  </a:lnTo>
                  <a:lnTo>
                    <a:pt x="111" y="649"/>
                  </a:lnTo>
                  <a:lnTo>
                    <a:pt x="111" y="649"/>
                  </a:lnTo>
                  <a:lnTo>
                    <a:pt x="110" y="644"/>
                  </a:lnTo>
                  <a:lnTo>
                    <a:pt x="108" y="643"/>
                  </a:lnTo>
                  <a:lnTo>
                    <a:pt x="107" y="643"/>
                  </a:lnTo>
                  <a:lnTo>
                    <a:pt x="108" y="643"/>
                  </a:lnTo>
                  <a:lnTo>
                    <a:pt x="108" y="643"/>
                  </a:lnTo>
                  <a:lnTo>
                    <a:pt x="111" y="640"/>
                  </a:lnTo>
                  <a:lnTo>
                    <a:pt x="113" y="636"/>
                  </a:lnTo>
                  <a:lnTo>
                    <a:pt x="113" y="630"/>
                  </a:lnTo>
                  <a:lnTo>
                    <a:pt x="111" y="627"/>
                  </a:lnTo>
                  <a:lnTo>
                    <a:pt x="111" y="627"/>
                  </a:lnTo>
                  <a:lnTo>
                    <a:pt x="103" y="618"/>
                  </a:lnTo>
                  <a:lnTo>
                    <a:pt x="98" y="614"/>
                  </a:lnTo>
                  <a:lnTo>
                    <a:pt x="94" y="611"/>
                  </a:lnTo>
                  <a:lnTo>
                    <a:pt x="94" y="611"/>
                  </a:lnTo>
                  <a:lnTo>
                    <a:pt x="92" y="611"/>
                  </a:lnTo>
                  <a:lnTo>
                    <a:pt x="90" y="608"/>
                  </a:lnTo>
                  <a:lnTo>
                    <a:pt x="87" y="602"/>
                  </a:lnTo>
                  <a:lnTo>
                    <a:pt x="87" y="602"/>
                  </a:lnTo>
                  <a:lnTo>
                    <a:pt x="84" y="597"/>
                  </a:lnTo>
                  <a:lnTo>
                    <a:pt x="81" y="594"/>
                  </a:lnTo>
                  <a:lnTo>
                    <a:pt x="79" y="594"/>
                  </a:lnTo>
                  <a:lnTo>
                    <a:pt x="79" y="594"/>
                  </a:lnTo>
                  <a:lnTo>
                    <a:pt x="72" y="592"/>
                  </a:lnTo>
                  <a:lnTo>
                    <a:pt x="69" y="592"/>
                  </a:lnTo>
                  <a:lnTo>
                    <a:pt x="65" y="591"/>
                  </a:lnTo>
                  <a:lnTo>
                    <a:pt x="65" y="591"/>
                  </a:lnTo>
                  <a:lnTo>
                    <a:pt x="64" y="588"/>
                  </a:lnTo>
                  <a:lnTo>
                    <a:pt x="64" y="586"/>
                  </a:lnTo>
                  <a:lnTo>
                    <a:pt x="69" y="584"/>
                  </a:lnTo>
                  <a:lnTo>
                    <a:pt x="69" y="584"/>
                  </a:lnTo>
                  <a:lnTo>
                    <a:pt x="71" y="582"/>
                  </a:lnTo>
                  <a:lnTo>
                    <a:pt x="72" y="579"/>
                  </a:lnTo>
                  <a:lnTo>
                    <a:pt x="74" y="575"/>
                  </a:lnTo>
                  <a:lnTo>
                    <a:pt x="74" y="575"/>
                  </a:lnTo>
                  <a:lnTo>
                    <a:pt x="75" y="575"/>
                  </a:lnTo>
                  <a:lnTo>
                    <a:pt x="77" y="576"/>
                  </a:lnTo>
                  <a:lnTo>
                    <a:pt x="79" y="581"/>
                  </a:lnTo>
                  <a:lnTo>
                    <a:pt x="82" y="585"/>
                  </a:lnTo>
                  <a:lnTo>
                    <a:pt x="87" y="589"/>
                  </a:lnTo>
                  <a:lnTo>
                    <a:pt x="87" y="589"/>
                  </a:lnTo>
                  <a:lnTo>
                    <a:pt x="101" y="597"/>
                  </a:lnTo>
                  <a:lnTo>
                    <a:pt x="116" y="604"/>
                  </a:lnTo>
                  <a:lnTo>
                    <a:pt x="116" y="604"/>
                  </a:lnTo>
                  <a:lnTo>
                    <a:pt x="121" y="605"/>
                  </a:lnTo>
                  <a:lnTo>
                    <a:pt x="130" y="608"/>
                  </a:lnTo>
                  <a:lnTo>
                    <a:pt x="148" y="613"/>
                  </a:lnTo>
                  <a:lnTo>
                    <a:pt x="148" y="613"/>
                  </a:lnTo>
                  <a:lnTo>
                    <a:pt x="162" y="615"/>
                  </a:lnTo>
                  <a:lnTo>
                    <a:pt x="174" y="618"/>
                  </a:lnTo>
                  <a:lnTo>
                    <a:pt x="174" y="618"/>
                  </a:lnTo>
                  <a:lnTo>
                    <a:pt x="179" y="617"/>
                  </a:lnTo>
                  <a:lnTo>
                    <a:pt x="184" y="615"/>
                  </a:lnTo>
                  <a:lnTo>
                    <a:pt x="190" y="614"/>
                  </a:lnTo>
                  <a:lnTo>
                    <a:pt x="194" y="613"/>
                  </a:lnTo>
                  <a:lnTo>
                    <a:pt x="194" y="613"/>
                  </a:lnTo>
                  <a:lnTo>
                    <a:pt x="198" y="611"/>
                  </a:lnTo>
                  <a:lnTo>
                    <a:pt x="203" y="608"/>
                  </a:lnTo>
                  <a:lnTo>
                    <a:pt x="207" y="604"/>
                  </a:lnTo>
                  <a:lnTo>
                    <a:pt x="211" y="598"/>
                  </a:lnTo>
                  <a:lnTo>
                    <a:pt x="211" y="598"/>
                  </a:lnTo>
                  <a:lnTo>
                    <a:pt x="216" y="589"/>
                  </a:lnTo>
                  <a:lnTo>
                    <a:pt x="217" y="581"/>
                  </a:lnTo>
                  <a:lnTo>
                    <a:pt x="217" y="575"/>
                  </a:lnTo>
                  <a:lnTo>
                    <a:pt x="217" y="571"/>
                  </a:lnTo>
                  <a:lnTo>
                    <a:pt x="217" y="571"/>
                  </a:lnTo>
                  <a:lnTo>
                    <a:pt x="216" y="566"/>
                  </a:lnTo>
                  <a:lnTo>
                    <a:pt x="216" y="558"/>
                  </a:lnTo>
                  <a:lnTo>
                    <a:pt x="216" y="550"/>
                  </a:lnTo>
                  <a:lnTo>
                    <a:pt x="214" y="547"/>
                  </a:lnTo>
                  <a:lnTo>
                    <a:pt x="213" y="544"/>
                  </a:lnTo>
                  <a:lnTo>
                    <a:pt x="213" y="544"/>
                  </a:lnTo>
                  <a:lnTo>
                    <a:pt x="208" y="542"/>
                  </a:lnTo>
                  <a:lnTo>
                    <a:pt x="203" y="536"/>
                  </a:lnTo>
                  <a:lnTo>
                    <a:pt x="203" y="536"/>
                  </a:lnTo>
                  <a:lnTo>
                    <a:pt x="197" y="530"/>
                  </a:lnTo>
                  <a:lnTo>
                    <a:pt x="194" y="530"/>
                  </a:lnTo>
                  <a:lnTo>
                    <a:pt x="192" y="530"/>
                  </a:lnTo>
                  <a:lnTo>
                    <a:pt x="192" y="530"/>
                  </a:lnTo>
                  <a:lnTo>
                    <a:pt x="190" y="530"/>
                  </a:lnTo>
                  <a:lnTo>
                    <a:pt x="188" y="529"/>
                  </a:lnTo>
                  <a:lnTo>
                    <a:pt x="184" y="523"/>
                  </a:lnTo>
                  <a:lnTo>
                    <a:pt x="184" y="523"/>
                  </a:lnTo>
                  <a:lnTo>
                    <a:pt x="178" y="520"/>
                  </a:lnTo>
                  <a:lnTo>
                    <a:pt x="171" y="520"/>
                  </a:lnTo>
                  <a:lnTo>
                    <a:pt x="171" y="520"/>
                  </a:lnTo>
                  <a:lnTo>
                    <a:pt x="166" y="518"/>
                  </a:lnTo>
                  <a:lnTo>
                    <a:pt x="165" y="516"/>
                  </a:lnTo>
                  <a:lnTo>
                    <a:pt x="159" y="510"/>
                  </a:lnTo>
                  <a:lnTo>
                    <a:pt x="159" y="510"/>
                  </a:lnTo>
                  <a:lnTo>
                    <a:pt x="153" y="504"/>
                  </a:lnTo>
                  <a:lnTo>
                    <a:pt x="145" y="498"/>
                  </a:lnTo>
                  <a:lnTo>
                    <a:pt x="130" y="487"/>
                  </a:lnTo>
                  <a:lnTo>
                    <a:pt x="130" y="487"/>
                  </a:lnTo>
                  <a:lnTo>
                    <a:pt x="126" y="485"/>
                  </a:lnTo>
                  <a:lnTo>
                    <a:pt x="121" y="482"/>
                  </a:lnTo>
                  <a:lnTo>
                    <a:pt x="116" y="482"/>
                  </a:lnTo>
                  <a:lnTo>
                    <a:pt x="111" y="482"/>
                  </a:lnTo>
                  <a:lnTo>
                    <a:pt x="111" y="482"/>
                  </a:lnTo>
                  <a:lnTo>
                    <a:pt x="107" y="482"/>
                  </a:lnTo>
                  <a:lnTo>
                    <a:pt x="103" y="481"/>
                  </a:lnTo>
                  <a:lnTo>
                    <a:pt x="100" y="481"/>
                  </a:lnTo>
                  <a:lnTo>
                    <a:pt x="97" y="479"/>
                  </a:lnTo>
                  <a:lnTo>
                    <a:pt x="97" y="479"/>
                  </a:lnTo>
                  <a:lnTo>
                    <a:pt x="92" y="479"/>
                  </a:lnTo>
                  <a:lnTo>
                    <a:pt x="91" y="478"/>
                  </a:lnTo>
                  <a:lnTo>
                    <a:pt x="90" y="475"/>
                  </a:lnTo>
                  <a:lnTo>
                    <a:pt x="90" y="475"/>
                  </a:lnTo>
                  <a:lnTo>
                    <a:pt x="88" y="475"/>
                  </a:lnTo>
                  <a:lnTo>
                    <a:pt x="87" y="475"/>
                  </a:lnTo>
                  <a:lnTo>
                    <a:pt x="79" y="479"/>
                  </a:lnTo>
                  <a:lnTo>
                    <a:pt x="79" y="479"/>
                  </a:lnTo>
                  <a:lnTo>
                    <a:pt x="78" y="481"/>
                  </a:lnTo>
                  <a:lnTo>
                    <a:pt x="78" y="479"/>
                  </a:lnTo>
                  <a:lnTo>
                    <a:pt x="78" y="476"/>
                  </a:lnTo>
                  <a:lnTo>
                    <a:pt x="79" y="473"/>
                  </a:lnTo>
                  <a:lnTo>
                    <a:pt x="78" y="472"/>
                  </a:lnTo>
                  <a:lnTo>
                    <a:pt x="78" y="472"/>
                  </a:lnTo>
                  <a:lnTo>
                    <a:pt x="78" y="472"/>
                  </a:lnTo>
                  <a:lnTo>
                    <a:pt x="74" y="471"/>
                  </a:lnTo>
                  <a:lnTo>
                    <a:pt x="71" y="469"/>
                  </a:lnTo>
                  <a:lnTo>
                    <a:pt x="71" y="468"/>
                  </a:lnTo>
                  <a:lnTo>
                    <a:pt x="72" y="468"/>
                  </a:lnTo>
                  <a:lnTo>
                    <a:pt x="72" y="468"/>
                  </a:lnTo>
                  <a:lnTo>
                    <a:pt x="75" y="466"/>
                  </a:lnTo>
                  <a:lnTo>
                    <a:pt x="81" y="463"/>
                  </a:lnTo>
                  <a:lnTo>
                    <a:pt x="82" y="460"/>
                  </a:lnTo>
                  <a:lnTo>
                    <a:pt x="82" y="459"/>
                  </a:lnTo>
                  <a:lnTo>
                    <a:pt x="81" y="456"/>
                  </a:lnTo>
                  <a:lnTo>
                    <a:pt x="81" y="456"/>
                  </a:lnTo>
                  <a:lnTo>
                    <a:pt x="75" y="455"/>
                  </a:lnTo>
                  <a:lnTo>
                    <a:pt x="69" y="453"/>
                  </a:lnTo>
                  <a:lnTo>
                    <a:pt x="65" y="453"/>
                  </a:lnTo>
                  <a:lnTo>
                    <a:pt x="62" y="455"/>
                  </a:lnTo>
                  <a:lnTo>
                    <a:pt x="62" y="455"/>
                  </a:lnTo>
                  <a:lnTo>
                    <a:pt x="59" y="458"/>
                  </a:lnTo>
                  <a:lnTo>
                    <a:pt x="56" y="459"/>
                  </a:lnTo>
                  <a:lnTo>
                    <a:pt x="46" y="459"/>
                  </a:lnTo>
                  <a:lnTo>
                    <a:pt x="46" y="459"/>
                  </a:lnTo>
                  <a:lnTo>
                    <a:pt x="40" y="471"/>
                  </a:lnTo>
                  <a:lnTo>
                    <a:pt x="39" y="475"/>
                  </a:lnTo>
                  <a:lnTo>
                    <a:pt x="36" y="478"/>
                  </a:lnTo>
                  <a:lnTo>
                    <a:pt x="36" y="478"/>
                  </a:lnTo>
                  <a:lnTo>
                    <a:pt x="33" y="479"/>
                  </a:lnTo>
                  <a:lnTo>
                    <a:pt x="30" y="481"/>
                  </a:lnTo>
                  <a:lnTo>
                    <a:pt x="27" y="487"/>
                  </a:lnTo>
                  <a:lnTo>
                    <a:pt x="27" y="487"/>
                  </a:lnTo>
                  <a:lnTo>
                    <a:pt x="24" y="491"/>
                  </a:lnTo>
                  <a:lnTo>
                    <a:pt x="22" y="494"/>
                  </a:lnTo>
                  <a:lnTo>
                    <a:pt x="17" y="498"/>
                  </a:lnTo>
                  <a:lnTo>
                    <a:pt x="17" y="500"/>
                  </a:lnTo>
                  <a:lnTo>
                    <a:pt x="17" y="502"/>
                  </a:lnTo>
                  <a:lnTo>
                    <a:pt x="17" y="502"/>
                  </a:lnTo>
                  <a:lnTo>
                    <a:pt x="16" y="507"/>
                  </a:lnTo>
                  <a:lnTo>
                    <a:pt x="14" y="511"/>
                  </a:lnTo>
                  <a:lnTo>
                    <a:pt x="11" y="517"/>
                  </a:lnTo>
                  <a:lnTo>
                    <a:pt x="10" y="523"/>
                  </a:lnTo>
                  <a:lnTo>
                    <a:pt x="10" y="523"/>
                  </a:lnTo>
                  <a:lnTo>
                    <a:pt x="11" y="527"/>
                  </a:lnTo>
                  <a:lnTo>
                    <a:pt x="13" y="530"/>
                  </a:lnTo>
                  <a:lnTo>
                    <a:pt x="20" y="539"/>
                  </a:lnTo>
                  <a:lnTo>
                    <a:pt x="29" y="546"/>
                  </a:lnTo>
                  <a:lnTo>
                    <a:pt x="30" y="550"/>
                  </a:lnTo>
                  <a:lnTo>
                    <a:pt x="32" y="553"/>
                  </a:lnTo>
                  <a:lnTo>
                    <a:pt x="32" y="553"/>
                  </a:lnTo>
                  <a:lnTo>
                    <a:pt x="32" y="559"/>
                  </a:lnTo>
                  <a:lnTo>
                    <a:pt x="29" y="565"/>
                  </a:lnTo>
                  <a:lnTo>
                    <a:pt x="22" y="575"/>
                  </a:lnTo>
                  <a:lnTo>
                    <a:pt x="22" y="575"/>
                  </a:lnTo>
                  <a:lnTo>
                    <a:pt x="22" y="578"/>
                  </a:lnTo>
                  <a:lnTo>
                    <a:pt x="23" y="585"/>
                  </a:lnTo>
                  <a:lnTo>
                    <a:pt x="29" y="601"/>
                  </a:lnTo>
                  <a:lnTo>
                    <a:pt x="36" y="617"/>
                  </a:lnTo>
                  <a:lnTo>
                    <a:pt x="40" y="627"/>
                  </a:lnTo>
                  <a:lnTo>
                    <a:pt x="40" y="627"/>
                  </a:lnTo>
                  <a:lnTo>
                    <a:pt x="37" y="633"/>
                  </a:lnTo>
                  <a:lnTo>
                    <a:pt x="33" y="639"/>
                  </a:lnTo>
                  <a:lnTo>
                    <a:pt x="33" y="639"/>
                  </a:lnTo>
                  <a:lnTo>
                    <a:pt x="32" y="642"/>
                  </a:lnTo>
                  <a:lnTo>
                    <a:pt x="32" y="646"/>
                  </a:lnTo>
                  <a:lnTo>
                    <a:pt x="33" y="656"/>
                  </a:lnTo>
                  <a:lnTo>
                    <a:pt x="36" y="672"/>
                  </a:lnTo>
                  <a:lnTo>
                    <a:pt x="36" y="672"/>
                  </a:lnTo>
                  <a:lnTo>
                    <a:pt x="37" y="676"/>
                  </a:lnTo>
                  <a:lnTo>
                    <a:pt x="39" y="682"/>
                  </a:lnTo>
                  <a:lnTo>
                    <a:pt x="40" y="685"/>
                  </a:lnTo>
                  <a:lnTo>
                    <a:pt x="45" y="689"/>
                  </a:lnTo>
                  <a:lnTo>
                    <a:pt x="45" y="689"/>
                  </a:lnTo>
                  <a:lnTo>
                    <a:pt x="48" y="692"/>
                  </a:lnTo>
                  <a:lnTo>
                    <a:pt x="46" y="697"/>
                  </a:lnTo>
                  <a:lnTo>
                    <a:pt x="42" y="705"/>
                  </a:lnTo>
                  <a:lnTo>
                    <a:pt x="42" y="705"/>
                  </a:lnTo>
                  <a:lnTo>
                    <a:pt x="42" y="711"/>
                  </a:lnTo>
                  <a:lnTo>
                    <a:pt x="43" y="714"/>
                  </a:lnTo>
                  <a:lnTo>
                    <a:pt x="48" y="717"/>
                  </a:lnTo>
                  <a:lnTo>
                    <a:pt x="50" y="720"/>
                  </a:lnTo>
                  <a:lnTo>
                    <a:pt x="50" y="720"/>
                  </a:lnTo>
                  <a:lnTo>
                    <a:pt x="52" y="724"/>
                  </a:lnTo>
                  <a:lnTo>
                    <a:pt x="53" y="728"/>
                  </a:lnTo>
                  <a:lnTo>
                    <a:pt x="52" y="739"/>
                  </a:lnTo>
                  <a:lnTo>
                    <a:pt x="50" y="752"/>
                  </a:lnTo>
                  <a:lnTo>
                    <a:pt x="46" y="762"/>
                  </a:lnTo>
                  <a:lnTo>
                    <a:pt x="46" y="762"/>
                  </a:lnTo>
                  <a:lnTo>
                    <a:pt x="40" y="773"/>
                  </a:lnTo>
                  <a:lnTo>
                    <a:pt x="29" y="788"/>
                  </a:lnTo>
                  <a:lnTo>
                    <a:pt x="1" y="820"/>
                  </a:lnTo>
                  <a:lnTo>
                    <a:pt x="1" y="820"/>
                  </a:lnTo>
                  <a:lnTo>
                    <a:pt x="6" y="818"/>
                  </a:lnTo>
                  <a:lnTo>
                    <a:pt x="6" y="818"/>
                  </a:lnTo>
                  <a:lnTo>
                    <a:pt x="11" y="817"/>
                  </a:lnTo>
                  <a:lnTo>
                    <a:pt x="11" y="818"/>
                  </a:lnTo>
                  <a:lnTo>
                    <a:pt x="11" y="823"/>
                  </a:lnTo>
                  <a:lnTo>
                    <a:pt x="11" y="823"/>
                  </a:lnTo>
                  <a:lnTo>
                    <a:pt x="11" y="824"/>
                  </a:lnTo>
                  <a:lnTo>
                    <a:pt x="11" y="827"/>
                  </a:lnTo>
                  <a:lnTo>
                    <a:pt x="14" y="827"/>
                  </a:lnTo>
                  <a:lnTo>
                    <a:pt x="19" y="828"/>
                  </a:lnTo>
                  <a:lnTo>
                    <a:pt x="23" y="828"/>
                  </a:lnTo>
                  <a:lnTo>
                    <a:pt x="23" y="828"/>
                  </a:lnTo>
                  <a:lnTo>
                    <a:pt x="26" y="831"/>
                  </a:lnTo>
                  <a:lnTo>
                    <a:pt x="27" y="834"/>
                  </a:lnTo>
                  <a:lnTo>
                    <a:pt x="26" y="837"/>
                  </a:lnTo>
                  <a:lnTo>
                    <a:pt x="23" y="840"/>
                  </a:lnTo>
                  <a:lnTo>
                    <a:pt x="23" y="840"/>
                  </a:lnTo>
                  <a:lnTo>
                    <a:pt x="11" y="841"/>
                  </a:lnTo>
                  <a:lnTo>
                    <a:pt x="7" y="841"/>
                  </a:lnTo>
                  <a:lnTo>
                    <a:pt x="6" y="843"/>
                  </a:lnTo>
                  <a:lnTo>
                    <a:pt x="6" y="844"/>
                  </a:lnTo>
                  <a:lnTo>
                    <a:pt x="6" y="844"/>
                  </a:lnTo>
                  <a:lnTo>
                    <a:pt x="7" y="849"/>
                  </a:lnTo>
                  <a:lnTo>
                    <a:pt x="6" y="850"/>
                  </a:lnTo>
                  <a:lnTo>
                    <a:pt x="3" y="852"/>
                  </a:lnTo>
                  <a:lnTo>
                    <a:pt x="3" y="852"/>
                  </a:lnTo>
                  <a:lnTo>
                    <a:pt x="0" y="869"/>
                  </a:lnTo>
                  <a:lnTo>
                    <a:pt x="0" y="869"/>
                  </a:lnTo>
                  <a:lnTo>
                    <a:pt x="1" y="870"/>
                  </a:lnTo>
                  <a:lnTo>
                    <a:pt x="3" y="872"/>
                  </a:lnTo>
                  <a:lnTo>
                    <a:pt x="3" y="872"/>
                  </a:lnTo>
                  <a:lnTo>
                    <a:pt x="3" y="878"/>
                  </a:lnTo>
                  <a:lnTo>
                    <a:pt x="3" y="882"/>
                  </a:lnTo>
                  <a:lnTo>
                    <a:pt x="3" y="882"/>
                  </a:lnTo>
                  <a:lnTo>
                    <a:pt x="0" y="886"/>
                  </a:lnTo>
                  <a:lnTo>
                    <a:pt x="0" y="886"/>
                  </a:lnTo>
                  <a:lnTo>
                    <a:pt x="3" y="909"/>
                  </a:lnTo>
                  <a:lnTo>
                    <a:pt x="3" y="909"/>
                  </a:lnTo>
                  <a:lnTo>
                    <a:pt x="6" y="918"/>
                  </a:lnTo>
                  <a:lnTo>
                    <a:pt x="7" y="924"/>
                  </a:lnTo>
                  <a:lnTo>
                    <a:pt x="7" y="924"/>
                  </a:lnTo>
                  <a:lnTo>
                    <a:pt x="10" y="928"/>
                  </a:lnTo>
                  <a:lnTo>
                    <a:pt x="10" y="937"/>
                  </a:lnTo>
                  <a:lnTo>
                    <a:pt x="10" y="951"/>
                  </a:lnTo>
                  <a:lnTo>
                    <a:pt x="10" y="951"/>
                  </a:lnTo>
                  <a:lnTo>
                    <a:pt x="22" y="950"/>
                  </a:lnTo>
                  <a:lnTo>
                    <a:pt x="22" y="950"/>
                  </a:lnTo>
                  <a:lnTo>
                    <a:pt x="24" y="951"/>
                  </a:lnTo>
                  <a:lnTo>
                    <a:pt x="26" y="951"/>
                  </a:lnTo>
                  <a:lnTo>
                    <a:pt x="26" y="959"/>
                  </a:lnTo>
                  <a:lnTo>
                    <a:pt x="26" y="959"/>
                  </a:lnTo>
                  <a:lnTo>
                    <a:pt x="26" y="960"/>
                  </a:lnTo>
                  <a:lnTo>
                    <a:pt x="29" y="960"/>
                  </a:lnTo>
                  <a:lnTo>
                    <a:pt x="33" y="959"/>
                  </a:lnTo>
                  <a:lnTo>
                    <a:pt x="40" y="957"/>
                  </a:lnTo>
                  <a:lnTo>
                    <a:pt x="42" y="956"/>
                  </a:lnTo>
                  <a:lnTo>
                    <a:pt x="45" y="957"/>
                  </a:lnTo>
                  <a:lnTo>
                    <a:pt x="45" y="957"/>
                  </a:lnTo>
                  <a:lnTo>
                    <a:pt x="48" y="963"/>
                  </a:lnTo>
                  <a:lnTo>
                    <a:pt x="52" y="976"/>
                  </a:lnTo>
                  <a:lnTo>
                    <a:pt x="59" y="999"/>
                  </a:lnTo>
                  <a:lnTo>
                    <a:pt x="59" y="999"/>
                  </a:lnTo>
                  <a:lnTo>
                    <a:pt x="62" y="1005"/>
                  </a:lnTo>
                  <a:lnTo>
                    <a:pt x="66" y="1008"/>
                  </a:lnTo>
                  <a:lnTo>
                    <a:pt x="71" y="1012"/>
                  </a:lnTo>
                  <a:lnTo>
                    <a:pt x="75" y="1017"/>
                  </a:lnTo>
                  <a:lnTo>
                    <a:pt x="75" y="1017"/>
                  </a:lnTo>
                  <a:lnTo>
                    <a:pt x="75" y="1021"/>
                  </a:lnTo>
                  <a:lnTo>
                    <a:pt x="74" y="1024"/>
                  </a:lnTo>
                  <a:lnTo>
                    <a:pt x="69" y="1030"/>
                  </a:lnTo>
                  <a:lnTo>
                    <a:pt x="61" y="1038"/>
                  </a:lnTo>
                  <a:lnTo>
                    <a:pt x="61" y="1038"/>
                  </a:lnTo>
                  <a:lnTo>
                    <a:pt x="59" y="1047"/>
                  </a:lnTo>
                  <a:lnTo>
                    <a:pt x="59" y="1059"/>
                  </a:lnTo>
                  <a:lnTo>
                    <a:pt x="59" y="1059"/>
                  </a:lnTo>
                  <a:lnTo>
                    <a:pt x="64" y="1057"/>
                  </a:lnTo>
                  <a:lnTo>
                    <a:pt x="69" y="1056"/>
                  </a:lnTo>
                  <a:lnTo>
                    <a:pt x="78" y="1056"/>
                  </a:lnTo>
                  <a:lnTo>
                    <a:pt x="78" y="1056"/>
                  </a:lnTo>
                  <a:lnTo>
                    <a:pt x="87" y="1054"/>
                  </a:lnTo>
                  <a:lnTo>
                    <a:pt x="91" y="1053"/>
                  </a:lnTo>
                  <a:lnTo>
                    <a:pt x="94" y="1050"/>
                  </a:lnTo>
                  <a:lnTo>
                    <a:pt x="94" y="1050"/>
                  </a:lnTo>
                  <a:lnTo>
                    <a:pt x="97" y="1049"/>
                  </a:lnTo>
                  <a:lnTo>
                    <a:pt x="100" y="1049"/>
                  </a:lnTo>
                  <a:lnTo>
                    <a:pt x="101" y="1051"/>
                  </a:lnTo>
                  <a:lnTo>
                    <a:pt x="103" y="1056"/>
                  </a:lnTo>
                  <a:lnTo>
                    <a:pt x="103" y="1056"/>
                  </a:lnTo>
                  <a:lnTo>
                    <a:pt x="108" y="1069"/>
                  </a:lnTo>
                  <a:lnTo>
                    <a:pt x="111" y="1076"/>
                  </a:lnTo>
                  <a:lnTo>
                    <a:pt x="114" y="1080"/>
                  </a:lnTo>
                  <a:lnTo>
                    <a:pt x="114" y="1080"/>
                  </a:lnTo>
                  <a:lnTo>
                    <a:pt x="126" y="1091"/>
                  </a:lnTo>
                  <a:lnTo>
                    <a:pt x="136" y="1102"/>
                  </a:lnTo>
                  <a:lnTo>
                    <a:pt x="136" y="1102"/>
                  </a:lnTo>
                  <a:lnTo>
                    <a:pt x="137" y="1104"/>
                  </a:lnTo>
                  <a:lnTo>
                    <a:pt x="142" y="1105"/>
                  </a:lnTo>
                  <a:lnTo>
                    <a:pt x="150" y="1108"/>
                  </a:lnTo>
                  <a:lnTo>
                    <a:pt x="161" y="1109"/>
                  </a:lnTo>
                  <a:lnTo>
                    <a:pt x="168" y="1112"/>
                  </a:lnTo>
                  <a:lnTo>
                    <a:pt x="168" y="1112"/>
                  </a:lnTo>
                  <a:lnTo>
                    <a:pt x="178" y="1115"/>
                  </a:lnTo>
                  <a:lnTo>
                    <a:pt x="188" y="1117"/>
                  </a:lnTo>
                  <a:lnTo>
                    <a:pt x="188" y="1117"/>
                  </a:lnTo>
                  <a:lnTo>
                    <a:pt x="191" y="1117"/>
                  </a:lnTo>
                  <a:lnTo>
                    <a:pt x="194" y="1118"/>
                  </a:lnTo>
                  <a:lnTo>
                    <a:pt x="198" y="1122"/>
                  </a:lnTo>
                  <a:lnTo>
                    <a:pt x="201" y="1127"/>
                  </a:lnTo>
                  <a:lnTo>
                    <a:pt x="204" y="1133"/>
                  </a:lnTo>
                  <a:lnTo>
                    <a:pt x="204" y="1133"/>
                  </a:lnTo>
                  <a:lnTo>
                    <a:pt x="205" y="1137"/>
                  </a:lnTo>
                  <a:lnTo>
                    <a:pt x="204" y="1144"/>
                  </a:lnTo>
                  <a:lnTo>
                    <a:pt x="203" y="1159"/>
                  </a:lnTo>
                  <a:lnTo>
                    <a:pt x="203" y="1159"/>
                  </a:lnTo>
                  <a:lnTo>
                    <a:pt x="201" y="1164"/>
                  </a:lnTo>
                  <a:lnTo>
                    <a:pt x="197" y="1169"/>
                  </a:lnTo>
                  <a:lnTo>
                    <a:pt x="191" y="1173"/>
                  </a:lnTo>
                  <a:lnTo>
                    <a:pt x="184" y="1175"/>
                  </a:lnTo>
                  <a:lnTo>
                    <a:pt x="184" y="1175"/>
                  </a:lnTo>
                  <a:lnTo>
                    <a:pt x="182" y="1176"/>
                  </a:lnTo>
                  <a:lnTo>
                    <a:pt x="181" y="1177"/>
                  </a:lnTo>
                  <a:lnTo>
                    <a:pt x="179" y="1180"/>
                  </a:lnTo>
                  <a:lnTo>
                    <a:pt x="179" y="1180"/>
                  </a:lnTo>
                  <a:lnTo>
                    <a:pt x="184" y="1179"/>
                  </a:lnTo>
                  <a:lnTo>
                    <a:pt x="184" y="1179"/>
                  </a:lnTo>
                  <a:lnTo>
                    <a:pt x="188" y="1179"/>
                  </a:lnTo>
                  <a:lnTo>
                    <a:pt x="191" y="1180"/>
                  </a:lnTo>
                  <a:lnTo>
                    <a:pt x="191" y="1182"/>
                  </a:lnTo>
                  <a:lnTo>
                    <a:pt x="191" y="1182"/>
                  </a:lnTo>
                  <a:lnTo>
                    <a:pt x="188" y="1185"/>
                  </a:lnTo>
                  <a:lnTo>
                    <a:pt x="184" y="1188"/>
                  </a:lnTo>
                  <a:lnTo>
                    <a:pt x="175" y="1192"/>
                  </a:lnTo>
                  <a:lnTo>
                    <a:pt x="175" y="1192"/>
                  </a:lnTo>
                  <a:lnTo>
                    <a:pt x="169" y="1195"/>
                  </a:lnTo>
                  <a:lnTo>
                    <a:pt x="168" y="1196"/>
                  </a:lnTo>
                  <a:lnTo>
                    <a:pt x="168" y="1201"/>
                  </a:lnTo>
                  <a:lnTo>
                    <a:pt x="168" y="1201"/>
                  </a:lnTo>
                  <a:lnTo>
                    <a:pt x="168" y="1206"/>
                  </a:lnTo>
                  <a:lnTo>
                    <a:pt x="166" y="1212"/>
                  </a:lnTo>
                  <a:lnTo>
                    <a:pt x="165" y="1219"/>
                  </a:lnTo>
                  <a:lnTo>
                    <a:pt x="162" y="1224"/>
                  </a:lnTo>
                  <a:lnTo>
                    <a:pt x="162" y="1224"/>
                  </a:lnTo>
                  <a:lnTo>
                    <a:pt x="159" y="1225"/>
                  </a:lnTo>
                  <a:lnTo>
                    <a:pt x="156" y="1225"/>
                  </a:lnTo>
                  <a:lnTo>
                    <a:pt x="152" y="1227"/>
                  </a:lnTo>
                  <a:lnTo>
                    <a:pt x="152" y="1227"/>
                  </a:lnTo>
                  <a:lnTo>
                    <a:pt x="150" y="1227"/>
                  </a:lnTo>
                  <a:lnTo>
                    <a:pt x="150" y="1228"/>
                  </a:lnTo>
                  <a:lnTo>
                    <a:pt x="153" y="1231"/>
                  </a:lnTo>
                  <a:lnTo>
                    <a:pt x="162" y="1238"/>
                  </a:lnTo>
                  <a:lnTo>
                    <a:pt x="162" y="1238"/>
                  </a:lnTo>
                  <a:lnTo>
                    <a:pt x="166" y="1241"/>
                  </a:lnTo>
                  <a:lnTo>
                    <a:pt x="171" y="1241"/>
                  </a:lnTo>
                  <a:lnTo>
                    <a:pt x="175" y="1241"/>
                  </a:lnTo>
                  <a:lnTo>
                    <a:pt x="179" y="1243"/>
                  </a:lnTo>
                  <a:lnTo>
                    <a:pt x="179" y="1243"/>
                  </a:lnTo>
                  <a:lnTo>
                    <a:pt x="184" y="1247"/>
                  </a:lnTo>
                  <a:lnTo>
                    <a:pt x="191" y="1254"/>
                  </a:lnTo>
                  <a:lnTo>
                    <a:pt x="201" y="1267"/>
                  </a:lnTo>
                  <a:lnTo>
                    <a:pt x="201" y="1267"/>
                  </a:lnTo>
                  <a:lnTo>
                    <a:pt x="203" y="1269"/>
                  </a:lnTo>
                  <a:lnTo>
                    <a:pt x="203" y="1269"/>
                  </a:lnTo>
                  <a:lnTo>
                    <a:pt x="216" y="1263"/>
                  </a:lnTo>
                  <a:lnTo>
                    <a:pt x="216" y="1263"/>
                  </a:lnTo>
                  <a:lnTo>
                    <a:pt x="221" y="1263"/>
                  </a:lnTo>
                  <a:lnTo>
                    <a:pt x="227" y="1266"/>
                  </a:lnTo>
                  <a:lnTo>
                    <a:pt x="243" y="1274"/>
                  </a:lnTo>
                  <a:lnTo>
                    <a:pt x="243" y="1274"/>
                  </a:lnTo>
                  <a:lnTo>
                    <a:pt x="253" y="1279"/>
                  </a:lnTo>
                  <a:lnTo>
                    <a:pt x="271" y="1283"/>
                  </a:lnTo>
                  <a:lnTo>
                    <a:pt x="300" y="1292"/>
                  </a:lnTo>
                  <a:lnTo>
                    <a:pt x="300" y="1292"/>
                  </a:lnTo>
                  <a:lnTo>
                    <a:pt x="307" y="1295"/>
                  </a:lnTo>
                  <a:lnTo>
                    <a:pt x="316" y="1301"/>
                  </a:lnTo>
                  <a:lnTo>
                    <a:pt x="329" y="1309"/>
                  </a:lnTo>
                  <a:lnTo>
                    <a:pt x="329" y="1309"/>
                  </a:lnTo>
                  <a:lnTo>
                    <a:pt x="331" y="1311"/>
                  </a:lnTo>
                  <a:lnTo>
                    <a:pt x="337" y="1311"/>
                  </a:lnTo>
                  <a:lnTo>
                    <a:pt x="349" y="1305"/>
                  </a:lnTo>
                  <a:lnTo>
                    <a:pt x="349" y="1305"/>
                  </a:lnTo>
                  <a:lnTo>
                    <a:pt x="345" y="1299"/>
                  </a:lnTo>
                  <a:lnTo>
                    <a:pt x="339" y="1293"/>
                  </a:lnTo>
                  <a:lnTo>
                    <a:pt x="333" y="1288"/>
                  </a:lnTo>
                  <a:lnTo>
                    <a:pt x="330" y="1283"/>
                  </a:lnTo>
                  <a:lnTo>
                    <a:pt x="330" y="1283"/>
                  </a:lnTo>
                  <a:lnTo>
                    <a:pt x="327" y="1274"/>
                  </a:lnTo>
                  <a:lnTo>
                    <a:pt x="326" y="1264"/>
                  </a:lnTo>
                  <a:lnTo>
                    <a:pt x="326" y="1264"/>
                  </a:lnTo>
                  <a:lnTo>
                    <a:pt x="321" y="1254"/>
                  </a:lnTo>
                  <a:lnTo>
                    <a:pt x="318" y="1250"/>
                  </a:lnTo>
                  <a:lnTo>
                    <a:pt x="316" y="1248"/>
                  </a:lnTo>
                  <a:lnTo>
                    <a:pt x="316" y="1248"/>
                  </a:lnTo>
                  <a:lnTo>
                    <a:pt x="310" y="1247"/>
                  </a:lnTo>
                  <a:lnTo>
                    <a:pt x="310" y="1246"/>
                  </a:lnTo>
                  <a:lnTo>
                    <a:pt x="311" y="1243"/>
                  </a:lnTo>
                  <a:lnTo>
                    <a:pt x="311" y="1243"/>
                  </a:lnTo>
                  <a:lnTo>
                    <a:pt x="313" y="1240"/>
                  </a:lnTo>
                  <a:lnTo>
                    <a:pt x="314" y="1235"/>
                  </a:lnTo>
                  <a:lnTo>
                    <a:pt x="316" y="1227"/>
                  </a:lnTo>
                  <a:lnTo>
                    <a:pt x="317" y="1217"/>
                  </a:lnTo>
                  <a:lnTo>
                    <a:pt x="318" y="1212"/>
                  </a:lnTo>
                  <a:lnTo>
                    <a:pt x="318" y="1212"/>
                  </a:lnTo>
                  <a:lnTo>
                    <a:pt x="321" y="1209"/>
                  </a:lnTo>
                  <a:lnTo>
                    <a:pt x="323" y="1208"/>
                  </a:lnTo>
                  <a:lnTo>
                    <a:pt x="326" y="1208"/>
                  </a:lnTo>
                  <a:lnTo>
                    <a:pt x="329" y="1209"/>
                  </a:lnTo>
                  <a:lnTo>
                    <a:pt x="329" y="1209"/>
                  </a:lnTo>
                  <a:lnTo>
                    <a:pt x="330" y="1211"/>
                  </a:lnTo>
                  <a:lnTo>
                    <a:pt x="331" y="1211"/>
                  </a:lnTo>
                  <a:lnTo>
                    <a:pt x="334" y="1208"/>
                  </a:lnTo>
                  <a:lnTo>
                    <a:pt x="334" y="1208"/>
                  </a:lnTo>
                  <a:lnTo>
                    <a:pt x="346" y="1199"/>
                  </a:lnTo>
                  <a:lnTo>
                    <a:pt x="346" y="1199"/>
                  </a:lnTo>
                  <a:lnTo>
                    <a:pt x="340" y="1192"/>
                  </a:lnTo>
                  <a:lnTo>
                    <a:pt x="340" y="1192"/>
                  </a:lnTo>
                  <a:lnTo>
                    <a:pt x="339" y="1189"/>
                  </a:lnTo>
                  <a:lnTo>
                    <a:pt x="340" y="1185"/>
                  </a:lnTo>
                  <a:lnTo>
                    <a:pt x="342" y="1175"/>
                  </a:lnTo>
                  <a:lnTo>
                    <a:pt x="342" y="1175"/>
                  </a:lnTo>
                  <a:lnTo>
                    <a:pt x="342" y="1172"/>
                  </a:lnTo>
                  <a:lnTo>
                    <a:pt x="340" y="1172"/>
                  </a:lnTo>
                  <a:lnTo>
                    <a:pt x="331" y="1169"/>
                  </a:lnTo>
                  <a:lnTo>
                    <a:pt x="331" y="1169"/>
                  </a:lnTo>
                  <a:lnTo>
                    <a:pt x="326" y="1167"/>
                  </a:lnTo>
                  <a:lnTo>
                    <a:pt x="321" y="1163"/>
                  </a:lnTo>
                  <a:lnTo>
                    <a:pt x="314" y="1153"/>
                  </a:lnTo>
                  <a:lnTo>
                    <a:pt x="314" y="1153"/>
                  </a:lnTo>
                  <a:lnTo>
                    <a:pt x="313" y="1147"/>
                  </a:lnTo>
                  <a:lnTo>
                    <a:pt x="313" y="1141"/>
                  </a:lnTo>
                  <a:lnTo>
                    <a:pt x="314" y="1134"/>
                  </a:lnTo>
                  <a:lnTo>
                    <a:pt x="316" y="1127"/>
                  </a:lnTo>
                  <a:lnTo>
                    <a:pt x="316" y="1127"/>
                  </a:lnTo>
                  <a:lnTo>
                    <a:pt x="320" y="1120"/>
                  </a:lnTo>
                  <a:lnTo>
                    <a:pt x="324" y="1112"/>
                  </a:lnTo>
                  <a:lnTo>
                    <a:pt x="330" y="1104"/>
                  </a:lnTo>
                  <a:lnTo>
                    <a:pt x="330" y="1104"/>
                  </a:lnTo>
                  <a:lnTo>
                    <a:pt x="331" y="1096"/>
                  </a:lnTo>
                  <a:lnTo>
                    <a:pt x="333" y="1091"/>
                  </a:lnTo>
                  <a:lnTo>
                    <a:pt x="336" y="1086"/>
                  </a:lnTo>
                  <a:lnTo>
                    <a:pt x="336" y="1086"/>
                  </a:lnTo>
                  <a:lnTo>
                    <a:pt x="340" y="1085"/>
                  </a:lnTo>
                  <a:lnTo>
                    <a:pt x="349" y="1085"/>
                  </a:lnTo>
                  <a:lnTo>
                    <a:pt x="365" y="1083"/>
                  </a:lnTo>
                  <a:lnTo>
                    <a:pt x="365" y="1083"/>
                  </a:lnTo>
                  <a:lnTo>
                    <a:pt x="368" y="1082"/>
                  </a:lnTo>
                  <a:lnTo>
                    <a:pt x="369" y="1080"/>
                  </a:lnTo>
                  <a:lnTo>
                    <a:pt x="373" y="1073"/>
                  </a:lnTo>
                  <a:lnTo>
                    <a:pt x="376" y="1066"/>
                  </a:lnTo>
                  <a:lnTo>
                    <a:pt x="378" y="1062"/>
                  </a:lnTo>
                  <a:lnTo>
                    <a:pt x="378" y="1062"/>
                  </a:lnTo>
                  <a:lnTo>
                    <a:pt x="382" y="1060"/>
                  </a:lnTo>
                  <a:lnTo>
                    <a:pt x="388" y="1060"/>
                  </a:lnTo>
                  <a:lnTo>
                    <a:pt x="400" y="1062"/>
                  </a:lnTo>
                  <a:lnTo>
                    <a:pt x="400" y="1062"/>
                  </a:lnTo>
                  <a:lnTo>
                    <a:pt x="404" y="1060"/>
                  </a:lnTo>
                  <a:lnTo>
                    <a:pt x="408" y="1059"/>
                  </a:lnTo>
                  <a:lnTo>
                    <a:pt x="411" y="1056"/>
                  </a:lnTo>
                  <a:lnTo>
                    <a:pt x="413" y="1056"/>
                  </a:lnTo>
                  <a:lnTo>
                    <a:pt x="413" y="1056"/>
                  </a:lnTo>
                  <a:lnTo>
                    <a:pt x="424" y="1072"/>
                  </a:lnTo>
                  <a:lnTo>
                    <a:pt x="431" y="1080"/>
                  </a:lnTo>
                  <a:lnTo>
                    <a:pt x="436" y="1085"/>
                  </a:lnTo>
                  <a:lnTo>
                    <a:pt x="439" y="1085"/>
                  </a:lnTo>
                  <a:lnTo>
                    <a:pt x="439" y="1085"/>
                  </a:lnTo>
                  <a:lnTo>
                    <a:pt x="443" y="1085"/>
                  </a:lnTo>
                  <a:lnTo>
                    <a:pt x="444" y="1083"/>
                  </a:lnTo>
                  <a:lnTo>
                    <a:pt x="447" y="1080"/>
                  </a:lnTo>
                  <a:lnTo>
                    <a:pt x="449" y="1076"/>
                  </a:lnTo>
                  <a:lnTo>
                    <a:pt x="449" y="1072"/>
                  </a:lnTo>
                  <a:lnTo>
                    <a:pt x="449" y="1072"/>
                  </a:lnTo>
                  <a:lnTo>
                    <a:pt x="450" y="1069"/>
                  </a:lnTo>
                  <a:lnTo>
                    <a:pt x="453" y="1066"/>
                  </a:lnTo>
                  <a:lnTo>
                    <a:pt x="456" y="1066"/>
                  </a:lnTo>
                  <a:lnTo>
                    <a:pt x="460" y="1067"/>
                  </a:lnTo>
                  <a:lnTo>
                    <a:pt x="460" y="1067"/>
                  </a:lnTo>
                  <a:lnTo>
                    <a:pt x="476" y="1076"/>
                  </a:lnTo>
                  <a:lnTo>
                    <a:pt x="491" y="1082"/>
                  </a:lnTo>
                  <a:lnTo>
                    <a:pt x="491" y="1082"/>
                  </a:lnTo>
                  <a:lnTo>
                    <a:pt x="494" y="1082"/>
                  </a:lnTo>
                  <a:lnTo>
                    <a:pt x="498" y="1080"/>
                  </a:lnTo>
                  <a:lnTo>
                    <a:pt x="504" y="1076"/>
                  </a:lnTo>
                  <a:lnTo>
                    <a:pt x="504" y="1076"/>
                  </a:lnTo>
                  <a:lnTo>
                    <a:pt x="514" y="1079"/>
                  </a:lnTo>
                  <a:lnTo>
                    <a:pt x="520" y="1080"/>
                  </a:lnTo>
                  <a:lnTo>
                    <a:pt x="526" y="1080"/>
                  </a:lnTo>
                  <a:lnTo>
                    <a:pt x="526" y="1080"/>
                  </a:lnTo>
                  <a:lnTo>
                    <a:pt x="527" y="1079"/>
                  </a:lnTo>
                  <a:lnTo>
                    <a:pt x="528" y="1075"/>
                  </a:lnTo>
                  <a:lnTo>
                    <a:pt x="527" y="1072"/>
                  </a:lnTo>
                  <a:lnTo>
                    <a:pt x="524" y="1069"/>
                  </a:lnTo>
                  <a:lnTo>
                    <a:pt x="524" y="1069"/>
                  </a:lnTo>
                  <a:lnTo>
                    <a:pt x="523" y="1066"/>
                  </a:lnTo>
                  <a:lnTo>
                    <a:pt x="523" y="1063"/>
                  </a:lnTo>
                  <a:lnTo>
                    <a:pt x="524" y="1059"/>
                  </a:lnTo>
                  <a:lnTo>
                    <a:pt x="530" y="1056"/>
                  </a:lnTo>
                  <a:lnTo>
                    <a:pt x="530" y="1056"/>
                  </a:lnTo>
                  <a:lnTo>
                    <a:pt x="536" y="1053"/>
                  </a:lnTo>
                  <a:lnTo>
                    <a:pt x="540" y="1049"/>
                  </a:lnTo>
                  <a:lnTo>
                    <a:pt x="547" y="1040"/>
                  </a:lnTo>
                  <a:lnTo>
                    <a:pt x="547" y="1040"/>
                  </a:lnTo>
                  <a:lnTo>
                    <a:pt x="550" y="1034"/>
                  </a:lnTo>
                  <a:lnTo>
                    <a:pt x="553" y="1025"/>
                  </a:lnTo>
                  <a:lnTo>
                    <a:pt x="556" y="1018"/>
                  </a:lnTo>
                  <a:lnTo>
                    <a:pt x="560" y="1011"/>
                  </a:lnTo>
                  <a:lnTo>
                    <a:pt x="560" y="1011"/>
                  </a:lnTo>
                  <a:lnTo>
                    <a:pt x="566" y="1007"/>
                  </a:lnTo>
                  <a:lnTo>
                    <a:pt x="576" y="1004"/>
                  </a:lnTo>
                  <a:lnTo>
                    <a:pt x="586" y="1001"/>
                  </a:lnTo>
                  <a:lnTo>
                    <a:pt x="594" y="999"/>
                  </a:lnTo>
                  <a:lnTo>
                    <a:pt x="594" y="999"/>
                  </a:lnTo>
                  <a:lnTo>
                    <a:pt x="597" y="999"/>
                  </a:lnTo>
                  <a:lnTo>
                    <a:pt x="598" y="998"/>
                  </a:lnTo>
                  <a:lnTo>
                    <a:pt x="599" y="995"/>
                  </a:lnTo>
                  <a:lnTo>
                    <a:pt x="599" y="995"/>
                  </a:lnTo>
                  <a:lnTo>
                    <a:pt x="604" y="993"/>
                  </a:lnTo>
                  <a:lnTo>
                    <a:pt x="610" y="993"/>
                  </a:lnTo>
                  <a:lnTo>
                    <a:pt x="623" y="993"/>
                  </a:lnTo>
                  <a:lnTo>
                    <a:pt x="623" y="993"/>
                  </a:lnTo>
                  <a:lnTo>
                    <a:pt x="631" y="991"/>
                  </a:lnTo>
                  <a:lnTo>
                    <a:pt x="644" y="986"/>
                  </a:lnTo>
                  <a:lnTo>
                    <a:pt x="665" y="978"/>
                  </a:lnTo>
                  <a:lnTo>
                    <a:pt x="665" y="978"/>
                  </a:lnTo>
                  <a:lnTo>
                    <a:pt x="667" y="979"/>
                  </a:lnTo>
                  <a:lnTo>
                    <a:pt x="670" y="979"/>
                  </a:lnTo>
                  <a:lnTo>
                    <a:pt x="681" y="982"/>
                  </a:lnTo>
                  <a:lnTo>
                    <a:pt x="681" y="982"/>
                  </a:lnTo>
                  <a:lnTo>
                    <a:pt x="686" y="982"/>
                  </a:lnTo>
                  <a:lnTo>
                    <a:pt x="689" y="982"/>
                  </a:lnTo>
                  <a:lnTo>
                    <a:pt x="696" y="980"/>
                  </a:lnTo>
                  <a:lnTo>
                    <a:pt x="696" y="980"/>
                  </a:lnTo>
                  <a:lnTo>
                    <a:pt x="698" y="980"/>
                  </a:lnTo>
                  <a:lnTo>
                    <a:pt x="698" y="983"/>
                  </a:lnTo>
                  <a:lnTo>
                    <a:pt x="698" y="989"/>
                  </a:lnTo>
                  <a:lnTo>
                    <a:pt x="696" y="996"/>
                  </a:lnTo>
                  <a:lnTo>
                    <a:pt x="696" y="1002"/>
                  </a:lnTo>
                  <a:lnTo>
                    <a:pt x="696" y="1002"/>
                  </a:lnTo>
                  <a:lnTo>
                    <a:pt x="699" y="1004"/>
                  </a:lnTo>
                  <a:lnTo>
                    <a:pt x="704" y="1004"/>
                  </a:lnTo>
                  <a:lnTo>
                    <a:pt x="715" y="1005"/>
                  </a:lnTo>
                  <a:lnTo>
                    <a:pt x="728" y="1005"/>
                  </a:lnTo>
                  <a:lnTo>
                    <a:pt x="733" y="1007"/>
                  </a:lnTo>
                  <a:lnTo>
                    <a:pt x="736" y="1008"/>
                  </a:lnTo>
                  <a:lnTo>
                    <a:pt x="736" y="1008"/>
                  </a:lnTo>
                  <a:lnTo>
                    <a:pt x="737" y="1011"/>
                  </a:lnTo>
                  <a:lnTo>
                    <a:pt x="737" y="1014"/>
                  </a:lnTo>
                  <a:lnTo>
                    <a:pt x="736" y="1021"/>
                  </a:lnTo>
                  <a:lnTo>
                    <a:pt x="736" y="1021"/>
                  </a:lnTo>
                  <a:lnTo>
                    <a:pt x="736" y="1024"/>
                  </a:lnTo>
                  <a:lnTo>
                    <a:pt x="737" y="1027"/>
                  </a:lnTo>
                  <a:lnTo>
                    <a:pt x="740" y="1031"/>
                  </a:lnTo>
                  <a:lnTo>
                    <a:pt x="746" y="1037"/>
                  </a:lnTo>
                  <a:lnTo>
                    <a:pt x="751" y="1040"/>
                  </a:lnTo>
                  <a:lnTo>
                    <a:pt x="751" y="1040"/>
                  </a:lnTo>
                  <a:lnTo>
                    <a:pt x="756" y="1040"/>
                  </a:lnTo>
                  <a:lnTo>
                    <a:pt x="760" y="1038"/>
                  </a:lnTo>
                  <a:lnTo>
                    <a:pt x="769" y="1031"/>
                  </a:lnTo>
                  <a:lnTo>
                    <a:pt x="779" y="1022"/>
                  </a:lnTo>
                  <a:lnTo>
                    <a:pt x="785" y="1021"/>
                  </a:lnTo>
                  <a:lnTo>
                    <a:pt x="789" y="1020"/>
                  </a:lnTo>
                  <a:lnTo>
                    <a:pt x="789" y="1020"/>
                  </a:lnTo>
                  <a:lnTo>
                    <a:pt x="793" y="1021"/>
                  </a:lnTo>
                  <a:lnTo>
                    <a:pt x="799" y="1027"/>
                  </a:lnTo>
                  <a:lnTo>
                    <a:pt x="814" y="1044"/>
                  </a:lnTo>
                  <a:lnTo>
                    <a:pt x="825" y="1063"/>
                  </a:lnTo>
                  <a:lnTo>
                    <a:pt x="833" y="1076"/>
                  </a:lnTo>
                  <a:lnTo>
                    <a:pt x="833" y="1076"/>
                  </a:lnTo>
                  <a:lnTo>
                    <a:pt x="835" y="1080"/>
                  </a:lnTo>
                  <a:lnTo>
                    <a:pt x="838" y="1082"/>
                  </a:lnTo>
                  <a:lnTo>
                    <a:pt x="844" y="1086"/>
                  </a:lnTo>
                  <a:lnTo>
                    <a:pt x="851" y="1088"/>
                  </a:lnTo>
                  <a:lnTo>
                    <a:pt x="859" y="1088"/>
                  </a:lnTo>
                  <a:lnTo>
                    <a:pt x="859" y="1088"/>
                  </a:lnTo>
                  <a:lnTo>
                    <a:pt x="863" y="1089"/>
                  </a:lnTo>
                  <a:lnTo>
                    <a:pt x="867" y="1092"/>
                  </a:lnTo>
                  <a:lnTo>
                    <a:pt x="877" y="1099"/>
                  </a:lnTo>
                  <a:lnTo>
                    <a:pt x="877" y="1099"/>
                  </a:lnTo>
                  <a:lnTo>
                    <a:pt x="883" y="1102"/>
                  </a:lnTo>
                  <a:lnTo>
                    <a:pt x="889" y="1102"/>
                  </a:lnTo>
                  <a:lnTo>
                    <a:pt x="901" y="1101"/>
                  </a:lnTo>
                  <a:lnTo>
                    <a:pt x="901" y="1101"/>
                  </a:lnTo>
                  <a:lnTo>
                    <a:pt x="906" y="1102"/>
                  </a:lnTo>
                  <a:lnTo>
                    <a:pt x="914" y="1105"/>
                  </a:lnTo>
                  <a:lnTo>
                    <a:pt x="935" y="1114"/>
                  </a:lnTo>
                  <a:lnTo>
                    <a:pt x="956" y="1124"/>
                  </a:lnTo>
                  <a:lnTo>
                    <a:pt x="969" y="1131"/>
                  </a:lnTo>
                  <a:lnTo>
                    <a:pt x="969" y="1131"/>
                  </a:lnTo>
                  <a:lnTo>
                    <a:pt x="970" y="1133"/>
                  </a:lnTo>
                  <a:lnTo>
                    <a:pt x="973" y="1133"/>
                  </a:lnTo>
                  <a:lnTo>
                    <a:pt x="976" y="1131"/>
                  </a:lnTo>
                  <a:lnTo>
                    <a:pt x="979" y="1128"/>
                  </a:lnTo>
                  <a:lnTo>
                    <a:pt x="983" y="1128"/>
                  </a:lnTo>
                  <a:lnTo>
                    <a:pt x="983" y="1128"/>
                  </a:lnTo>
                  <a:lnTo>
                    <a:pt x="986" y="1128"/>
                  </a:lnTo>
                  <a:lnTo>
                    <a:pt x="990" y="1127"/>
                  </a:lnTo>
                  <a:lnTo>
                    <a:pt x="998" y="1124"/>
                  </a:lnTo>
                  <a:lnTo>
                    <a:pt x="998" y="1124"/>
                  </a:lnTo>
                  <a:lnTo>
                    <a:pt x="999" y="1122"/>
                  </a:lnTo>
                  <a:lnTo>
                    <a:pt x="999" y="1120"/>
                  </a:lnTo>
                  <a:lnTo>
                    <a:pt x="1001" y="1112"/>
                  </a:lnTo>
                  <a:lnTo>
                    <a:pt x="999" y="1105"/>
                  </a:lnTo>
                  <a:lnTo>
                    <a:pt x="1001" y="1101"/>
                  </a:lnTo>
                  <a:lnTo>
                    <a:pt x="1001" y="1101"/>
                  </a:lnTo>
                  <a:lnTo>
                    <a:pt x="1005" y="1099"/>
                  </a:lnTo>
                  <a:lnTo>
                    <a:pt x="1012" y="1098"/>
                  </a:lnTo>
                  <a:lnTo>
                    <a:pt x="1028" y="1096"/>
                  </a:lnTo>
                  <a:lnTo>
                    <a:pt x="1028" y="1096"/>
                  </a:lnTo>
                  <a:lnTo>
                    <a:pt x="1044" y="1093"/>
                  </a:lnTo>
                  <a:lnTo>
                    <a:pt x="1059" y="1089"/>
                  </a:lnTo>
                  <a:lnTo>
                    <a:pt x="1059" y="1089"/>
                  </a:lnTo>
                  <a:lnTo>
                    <a:pt x="1063" y="1089"/>
                  </a:lnTo>
                  <a:lnTo>
                    <a:pt x="1067" y="1089"/>
                  </a:lnTo>
                  <a:lnTo>
                    <a:pt x="1076" y="1093"/>
                  </a:lnTo>
                  <a:lnTo>
                    <a:pt x="1076" y="1093"/>
                  </a:lnTo>
                  <a:lnTo>
                    <a:pt x="1082" y="1095"/>
                  </a:lnTo>
                  <a:lnTo>
                    <a:pt x="1085" y="1096"/>
                  </a:lnTo>
                  <a:lnTo>
                    <a:pt x="1089" y="1098"/>
                  </a:lnTo>
                  <a:lnTo>
                    <a:pt x="1093" y="1099"/>
                  </a:lnTo>
                  <a:lnTo>
                    <a:pt x="1093" y="1099"/>
                  </a:lnTo>
                  <a:lnTo>
                    <a:pt x="1105" y="1108"/>
                  </a:lnTo>
                  <a:lnTo>
                    <a:pt x="1112" y="1114"/>
                  </a:lnTo>
                  <a:lnTo>
                    <a:pt x="1119" y="1117"/>
                  </a:lnTo>
                  <a:lnTo>
                    <a:pt x="1119" y="1117"/>
                  </a:lnTo>
                  <a:lnTo>
                    <a:pt x="1122" y="1117"/>
                  </a:lnTo>
                  <a:lnTo>
                    <a:pt x="1127" y="1117"/>
                  </a:lnTo>
                  <a:lnTo>
                    <a:pt x="1132" y="1112"/>
                  </a:lnTo>
                  <a:lnTo>
                    <a:pt x="1137" y="1106"/>
                  </a:lnTo>
                  <a:lnTo>
                    <a:pt x="1140" y="1102"/>
                  </a:lnTo>
                  <a:lnTo>
                    <a:pt x="1140" y="1102"/>
                  </a:lnTo>
                  <a:lnTo>
                    <a:pt x="1140" y="1098"/>
                  </a:lnTo>
                  <a:lnTo>
                    <a:pt x="1138" y="1096"/>
                  </a:lnTo>
                  <a:lnTo>
                    <a:pt x="1138" y="1096"/>
                  </a:lnTo>
                  <a:lnTo>
                    <a:pt x="1138" y="1092"/>
                  </a:lnTo>
                  <a:lnTo>
                    <a:pt x="1141" y="1086"/>
                  </a:lnTo>
                  <a:lnTo>
                    <a:pt x="1150" y="1073"/>
                  </a:lnTo>
                  <a:lnTo>
                    <a:pt x="1150" y="1073"/>
                  </a:lnTo>
                  <a:lnTo>
                    <a:pt x="1153" y="1069"/>
                  </a:lnTo>
                  <a:lnTo>
                    <a:pt x="1153" y="1066"/>
                  </a:lnTo>
                  <a:lnTo>
                    <a:pt x="1153" y="1066"/>
                  </a:lnTo>
                  <a:lnTo>
                    <a:pt x="1153" y="1063"/>
                  </a:lnTo>
                  <a:lnTo>
                    <a:pt x="1154" y="1063"/>
                  </a:lnTo>
                  <a:lnTo>
                    <a:pt x="1160" y="1066"/>
                  </a:lnTo>
                  <a:lnTo>
                    <a:pt x="1160" y="1066"/>
                  </a:lnTo>
                  <a:lnTo>
                    <a:pt x="1180" y="1075"/>
                  </a:lnTo>
                  <a:lnTo>
                    <a:pt x="1180" y="1075"/>
                  </a:lnTo>
                  <a:lnTo>
                    <a:pt x="1190" y="1078"/>
                  </a:lnTo>
                  <a:lnTo>
                    <a:pt x="1196" y="1080"/>
                  </a:lnTo>
                  <a:lnTo>
                    <a:pt x="1199" y="1083"/>
                  </a:lnTo>
                  <a:lnTo>
                    <a:pt x="1200" y="1086"/>
                  </a:lnTo>
                  <a:lnTo>
                    <a:pt x="1200" y="1086"/>
                  </a:lnTo>
                  <a:lnTo>
                    <a:pt x="1202" y="1093"/>
                  </a:lnTo>
                  <a:lnTo>
                    <a:pt x="1208" y="1101"/>
                  </a:lnTo>
                  <a:lnTo>
                    <a:pt x="1215" y="1105"/>
                  </a:lnTo>
                  <a:lnTo>
                    <a:pt x="1224" y="1108"/>
                  </a:lnTo>
                  <a:lnTo>
                    <a:pt x="1224" y="1108"/>
                  </a:lnTo>
                  <a:lnTo>
                    <a:pt x="1232" y="1108"/>
                  </a:lnTo>
                  <a:lnTo>
                    <a:pt x="1241" y="1108"/>
                  </a:lnTo>
                  <a:lnTo>
                    <a:pt x="1250" y="1106"/>
                  </a:lnTo>
                  <a:lnTo>
                    <a:pt x="1256" y="1104"/>
                  </a:lnTo>
                  <a:lnTo>
                    <a:pt x="1256" y="1104"/>
                  </a:lnTo>
                  <a:lnTo>
                    <a:pt x="1260" y="1104"/>
                  </a:lnTo>
                  <a:lnTo>
                    <a:pt x="1266" y="1104"/>
                  </a:lnTo>
                  <a:lnTo>
                    <a:pt x="1270" y="1105"/>
                  </a:lnTo>
                  <a:lnTo>
                    <a:pt x="1273" y="1108"/>
                  </a:lnTo>
                  <a:lnTo>
                    <a:pt x="1273" y="1108"/>
                  </a:lnTo>
                  <a:lnTo>
                    <a:pt x="1279" y="1114"/>
                  </a:lnTo>
                  <a:lnTo>
                    <a:pt x="1287" y="1117"/>
                  </a:lnTo>
                  <a:lnTo>
                    <a:pt x="1287" y="1117"/>
                  </a:lnTo>
                  <a:lnTo>
                    <a:pt x="1300" y="1122"/>
                  </a:lnTo>
                  <a:lnTo>
                    <a:pt x="1313" y="1128"/>
                  </a:lnTo>
                  <a:lnTo>
                    <a:pt x="1313" y="1128"/>
                  </a:lnTo>
                  <a:lnTo>
                    <a:pt x="1326" y="1131"/>
                  </a:lnTo>
                  <a:lnTo>
                    <a:pt x="1338" y="1134"/>
                  </a:lnTo>
                  <a:lnTo>
                    <a:pt x="1338" y="1134"/>
                  </a:lnTo>
                  <a:lnTo>
                    <a:pt x="1341" y="1133"/>
                  </a:lnTo>
                  <a:lnTo>
                    <a:pt x="1345" y="1131"/>
                  </a:lnTo>
                  <a:lnTo>
                    <a:pt x="1353" y="1128"/>
                  </a:lnTo>
                  <a:lnTo>
                    <a:pt x="1353" y="1128"/>
                  </a:lnTo>
                  <a:lnTo>
                    <a:pt x="1370" y="1121"/>
                  </a:lnTo>
                  <a:lnTo>
                    <a:pt x="1390" y="1111"/>
                  </a:lnTo>
                  <a:lnTo>
                    <a:pt x="1390" y="1111"/>
                  </a:lnTo>
                  <a:lnTo>
                    <a:pt x="1395" y="1109"/>
                  </a:lnTo>
                  <a:lnTo>
                    <a:pt x="1397" y="1108"/>
                  </a:lnTo>
                  <a:lnTo>
                    <a:pt x="1403" y="1111"/>
                  </a:lnTo>
                  <a:lnTo>
                    <a:pt x="1403" y="1111"/>
                  </a:lnTo>
                  <a:lnTo>
                    <a:pt x="1408" y="1114"/>
                  </a:lnTo>
                  <a:lnTo>
                    <a:pt x="1413" y="1115"/>
                  </a:lnTo>
                  <a:lnTo>
                    <a:pt x="1425" y="1118"/>
                  </a:lnTo>
                  <a:lnTo>
                    <a:pt x="1425" y="1118"/>
                  </a:lnTo>
                  <a:lnTo>
                    <a:pt x="1441" y="1121"/>
                  </a:lnTo>
                  <a:lnTo>
                    <a:pt x="1448" y="1121"/>
                  </a:lnTo>
                  <a:lnTo>
                    <a:pt x="1454" y="1121"/>
                  </a:lnTo>
                  <a:lnTo>
                    <a:pt x="1454" y="1121"/>
                  </a:lnTo>
                  <a:lnTo>
                    <a:pt x="1463" y="1115"/>
                  </a:lnTo>
                  <a:lnTo>
                    <a:pt x="1470" y="1108"/>
                  </a:lnTo>
                  <a:lnTo>
                    <a:pt x="1470" y="1108"/>
                  </a:lnTo>
                  <a:lnTo>
                    <a:pt x="1473" y="1101"/>
                  </a:lnTo>
                  <a:lnTo>
                    <a:pt x="1474" y="1091"/>
                  </a:lnTo>
                  <a:lnTo>
                    <a:pt x="1474" y="1091"/>
                  </a:lnTo>
                  <a:lnTo>
                    <a:pt x="1480" y="1080"/>
                  </a:lnTo>
                  <a:lnTo>
                    <a:pt x="1487" y="1070"/>
                  </a:lnTo>
                  <a:lnTo>
                    <a:pt x="1487" y="1070"/>
                  </a:lnTo>
                  <a:lnTo>
                    <a:pt x="1489" y="1067"/>
                  </a:lnTo>
                  <a:lnTo>
                    <a:pt x="1486" y="1064"/>
                  </a:lnTo>
                  <a:lnTo>
                    <a:pt x="1486" y="1064"/>
                  </a:lnTo>
                  <a:lnTo>
                    <a:pt x="1484" y="1062"/>
                  </a:lnTo>
                  <a:lnTo>
                    <a:pt x="1486" y="1059"/>
                  </a:lnTo>
                  <a:lnTo>
                    <a:pt x="1487" y="1054"/>
                  </a:lnTo>
                  <a:lnTo>
                    <a:pt x="1487" y="1050"/>
                  </a:lnTo>
                  <a:lnTo>
                    <a:pt x="1487" y="1050"/>
                  </a:lnTo>
                  <a:lnTo>
                    <a:pt x="1487" y="1047"/>
                  </a:lnTo>
                  <a:lnTo>
                    <a:pt x="1484" y="1046"/>
                  </a:lnTo>
                  <a:lnTo>
                    <a:pt x="1479" y="1043"/>
                  </a:lnTo>
                  <a:lnTo>
                    <a:pt x="1479" y="1043"/>
                  </a:lnTo>
                  <a:lnTo>
                    <a:pt x="1479" y="1041"/>
                  </a:lnTo>
                  <a:lnTo>
                    <a:pt x="1479" y="1038"/>
                  </a:lnTo>
                  <a:lnTo>
                    <a:pt x="1483" y="1033"/>
                  </a:lnTo>
                  <a:lnTo>
                    <a:pt x="1489" y="1027"/>
                  </a:lnTo>
                  <a:lnTo>
                    <a:pt x="1493" y="1022"/>
                  </a:lnTo>
                  <a:lnTo>
                    <a:pt x="1493" y="1022"/>
                  </a:lnTo>
                  <a:lnTo>
                    <a:pt x="1518" y="1020"/>
                  </a:lnTo>
                  <a:lnTo>
                    <a:pt x="1539" y="1018"/>
                  </a:lnTo>
                  <a:lnTo>
                    <a:pt x="1539" y="1018"/>
                  </a:lnTo>
                  <a:lnTo>
                    <a:pt x="1548" y="1020"/>
                  </a:lnTo>
                  <a:lnTo>
                    <a:pt x="1557" y="1024"/>
                  </a:lnTo>
                  <a:lnTo>
                    <a:pt x="1557" y="1024"/>
                  </a:lnTo>
                  <a:lnTo>
                    <a:pt x="1560" y="1024"/>
                  </a:lnTo>
                  <a:lnTo>
                    <a:pt x="1563" y="1024"/>
                  </a:lnTo>
                  <a:lnTo>
                    <a:pt x="1565" y="1022"/>
                  </a:lnTo>
                  <a:lnTo>
                    <a:pt x="1570" y="1024"/>
                  </a:lnTo>
                  <a:lnTo>
                    <a:pt x="1570" y="1024"/>
                  </a:lnTo>
                  <a:lnTo>
                    <a:pt x="1574" y="1027"/>
                  </a:lnTo>
                  <a:lnTo>
                    <a:pt x="1577" y="1033"/>
                  </a:lnTo>
                  <a:lnTo>
                    <a:pt x="1586" y="1046"/>
                  </a:lnTo>
                  <a:lnTo>
                    <a:pt x="1600" y="1070"/>
                  </a:lnTo>
                  <a:lnTo>
                    <a:pt x="1600" y="1070"/>
                  </a:lnTo>
                  <a:lnTo>
                    <a:pt x="1602" y="1073"/>
                  </a:lnTo>
                  <a:lnTo>
                    <a:pt x="1602" y="1076"/>
                  </a:lnTo>
                  <a:lnTo>
                    <a:pt x="1602" y="1082"/>
                  </a:lnTo>
                  <a:lnTo>
                    <a:pt x="1602" y="1082"/>
                  </a:lnTo>
                  <a:lnTo>
                    <a:pt x="1603" y="1086"/>
                  </a:lnTo>
                  <a:lnTo>
                    <a:pt x="1606" y="1093"/>
                  </a:lnTo>
                  <a:lnTo>
                    <a:pt x="1609" y="1101"/>
                  </a:lnTo>
                  <a:lnTo>
                    <a:pt x="1610" y="1106"/>
                  </a:lnTo>
                  <a:lnTo>
                    <a:pt x="1610" y="1106"/>
                  </a:lnTo>
                  <a:lnTo>
                    <a:pt x="1610" y="1111"/>
                  </a:lnTo>
                  <a:lnTo>
                    <a:pt x="1613" y="1114"/>
                  </a:lnTo>
                  <a:lnTo>
                    <a:pt x="1620" y="1117"/>
                  </a:lnTo>
                  <a:lnTo>
                    <a:pt x="1620" y="1117"/>
                  </a:lnTo>
                  <a:lnTo>
                    <a:pt x="1632" y="1121"/>
                  </a:lnTo>
                  <a:lnTo>
                    <a:pt x="1641" y="1128"/>
                  </a:lnTo>
                  <a:lnTo>
                    <a:pt x="1641" y="1128"/>
                  </a:lnTo>
                  <a:lnTo>
                    <a:pt x="1660" y="1143"/>
                  </a:lnTo>
                  <a:lnTo>
                    <a:pt x="1660" y="1143"/>
                  </a:lnTo>
                  <a:lnTo>
                    <a:pt x="1661" y="1146"/>
                  </a:lnTo>
                  <a:lnTo>
                    <a:pt x="1662" y="1150"/>
                  </a:lnTo>
                  <a:lnTo>
                    <a:pt x="1662" y="1159"/>
                  </a:lnTo>
                  <a:lnTo>
                    <a:pt x="1662" y="1159"/>
                  </a:lnTo>
                  <a:lnTo>
                    <a:pt x="1665" y="1162"/>
                  </a:lnTo>
                  <a:lnTo>
                    <a:pt x="1670" y="1164"/>
                  </a:lnTo>
                  <a:lnTo>
                    <a:pt x="1674" y="1167"/>
                  </a:lnTo>
                  <a:lnTo>
                    <a:pt x="1678" y="1167"/>
                  </a:lnTo>
                  <a:lnTo>
                    <a:pt x="1678" y="1167"/>
                  </a:lnTo>
                  <a:lnTo>
                    <a:pt x="1684" y="1166"/>
                  </a:lnTo>
                  <a:lnTo>
                    <a:pt x="1691" y="1163"/>
                  </a:lnTo>
                  <a:lnTo>
                    <a:pt x="1700" y="1160"/>
                  </a:lnTo>
                  <a:lnTo>
                    <a:pt x="1704" y="1159"/>
                  </a:lnTo>
                  <a:lnTo>
                    <a:pt x="1704" y="1159"/>
                  </a:lnTo>
                  <a:lnTo>
                    <a:pt x="1715" y="1157"/>
                  </a:lnTo>
                  <a:lnTo>
                    <a:pt x="1723" y="1154"/>
                  </a:lnTo>
                  <a:lnTo>
                    <a:pt x="1723" y="1154"/>
                  </a:lnTo>
                  <a:lnTo>
                    <a:pt x="1725" y="1154"/>
                  </a:lnTo>
                  <a:lnTo>
                    <a:pt x="1725" y="1156"/>
                  </a:lnTo>
                  <a:lnTo>
                    <a:pt x="1723" y="1162"/>
                  </a:lnTo>
                  <a:lnTo>
                    <a:pt x="1719" y="1176"/>
                  </a:lnTo>
                  <a:lnTo>
                    <a:pt x="1719" y="1176"/>
                  </a:lnTo>
                  <a:lnTo>
                    <a:pt x="1718" y="1189"/>
                  </a:lnTo>
                  <a:lnTo>
                    <a:pt x="1716" y="1198"/>
                  </a:lnTo>
                  <a:lnTo>
                    <a:pt x="1713" y="1206"/>
                  </a:lnTo>
                  <a:lnTo>
                    <a:pt x="1713" y="1206"/>
                  </a:lnTo>
                  <a:lnTo>
                    <a:pt x="1709" y="1214"/>
                  </a:lnTo>
                  <a:lnTo>
                    <a:pt x="1704" y="1222"/>
                  </a:lnTo>
                  <a:lnTo>
                    <a:pt x="1699" y="1228"/>
                  </a:lnTo>
                  <a:lnTo>
                    <a:pt x="1694" y="1232"/>
                  </a:lnTo>
                  <a:lnTo>
                    <a:pt x="1694" y="1232"/>
                  </a:lnTo>
                  <a:lnTo>
                    <a:pt x="1691" y="1234"/>
                  </a:lnTo>
                  <a:lnTo>
                    <a:pt x="1687" y="1232"/>
                  </a:lnTo>
                  <a:lnTo>
                    <a:pt x="1683" y="1231"/>
                  </a:lnTo>
                  <a:lnTo>
                    <a:pt x="1680" y="1231"/>
                  </a:lnTo>
                  <a:lnTo>
                    <a:pt x="1680" y="1231"/>
                  </a:lnTo>
                  <a:lnTo>
                    <a:pt x="1673" y="1235"/>
                  </a:lnTo>
                  <a:lnTo>
                    <a:pt x="1670" y="1237"/>
                  </a:lnTo>
                  <a:lnTo>
                    <a:pt x="1668" y="1238"/>
                  </a:lnTo>
                  <a:lnTo>
                    <a:pt x="1668" y="1238"/>
                  </a:lnTo>
                  <a:lnTo>
                    <a:pt x="1668" y="1241"/>
                  </a:lnTo>
                  <a:lnTo>
                    <a:pt x="1668" y="1244"/>
                  </a:lnTo>
                  <a:lnTo>
                    <a:pt x="1671" y="1253"/>
                  </a:lnTo>
                  <a:lnTo>
                    <a:pt x="1671" y="1253"/>
                  </a:lnTo>
                  <a:lnTo>
                    <a:pt x="1673" y="1257"/>
                  </a:lnTo>
                  <a:lnTo>
                    <a:pt x="1670" y="1264"/>
                  </a:lnTo>
                  <a:lnTo>
                    <a:pt x="1665" y="1276"/>
                  </a:lnTo>
                  <a:lnTo>
                    <a:pt x="1665" y="1276"/>
                  </a:lnTo>
                  <a:lnTo>
                    <a:pt x="1664" y="1279"/>
                  </a:lnTo>
                  <a:lnTo>
                    <a:pt x="1661" y="1279"/>
                  </a:lnTo>
                  <a:lnTo>
                    <a:pt x="1655" y="1280"/>
                  </a:lnTo>
                  <a:lnTo>
                    <a:pt x="1658" y="1290"/>
                  </a:lnTo>
                  <a:lnTo>
                    <a:pt x="1658" y="1290"/>
                  </a:lnTo>
                  <a:lnTo>
                    <a:pt x="1664" y="1288"/>
                  </a:lnTo>
                  <a:lnTo>
                    <a:pt x="1670" y="1285"/>
                  </a:lnTo>
                  <a:lnTo>
                    <a:pt x="1670" y="1285"/>
                  </a:lnTo>
                  <a:lnTo>
                    <a:pt x="1671" y="1283"/>
                  </a:lnTo>
                  <a:lnTo>
                    <a:pt x="1673" y="1280"/>
                  </a:lnTo>
                  <a:lnTo>
                    <a:pt x="1676" y="1276"/>
                  </a:lnTo>
                  <a:lnTo>
                    <a:pt x="1677" y="1273"/>
                  </a:lnTo>
                  <a:lnTo>
                    <a:pt x="1677" y="1273"/>
                  </a:lnTo>
                  <a:lnTo>
                    <a:pt x="1680" y="1274"/>
                  </a:lnTo>
                  <a:lnTo>
                    <a:pt x="1683" y="1276"/>
                  </a:lnTo>
                  <a:lnTo>
                    <a:pt x="1690" y="1285"/>
                  </a:lnTo>
                  <a:lnTo>
                    <a:pt x="1690" y="1285"/>
                  </a:lnTo>
                  <a:lnTo>
                    <a:pt x="1693" y="1285"/>
                  </a:lnTo>
                  <a:lnTo>
                    <a:pt x="1696" y="1285"/>
                  </a:lnTo>
                  <a:lnTo>
                    <a:pt x="1703" y="1285"/>
                  </a:lnTo>
                  <a:lnTo>
                    <a:pt x="1718" y="1279"/>
                  </a:lnTo>
                  <a:lnTo>
                    <a:pt x="1718" y="1279"/>
                  </a:lnTo>
                  <a:lnTo>
                    <a:pt x="1723" y="1276"/>
                  </a:lnTo>
                  <a:lnTo>
                    <a:pt x="1729" y="1269"/>
                  </a:lnTo>
                  <a:lnTo>
                    <a:pt x="1736" y="1259"/>
                  </a:lnTo>
                  <a:lnTo>
                    <a:pt x="1736" y="1259"/>
                  </a:lnTo>
                  <a:lnTo>
                    <a:pt x="1751" y="1240"/>
                  </a:lnTo>
                  <a:lnTo>
                    <a:pt x="1751" y="1240"/>
                  </a:lnTo>
                  <a:lnTo>
                    <a:pt x="1758" y="1234"/>
                  </a:lnTo>
                  <a:lnTo>
                    <a:pt x="1768" y="1227"/>
                  </a:lnTo>
                  <a:lnTo>
                    <a:pt x="1768" y="1227"/>
                  </a:lnTo>
                  <a:lnTo>
                    <a:pt x="1773" y="1222"/>
                  </a:lnTo>
                  <a:lnTo>
                    <a:pt x="1777" y="1215"/>
                  </a:lnTo>
                  <a:lnTo>
                    <a:pt x="1783" y="1202"/>
                  </a:lnTo>
                  <a:lnTo>
                    <a:pt x="1783" y="1202"/>
                  </a:lnTo>
                  <a:lnTo>
                    <a:pt x="1790" y="1190"/>
                  </a:lnTo>
                  <a:lnTo>
                    <a:pt x="1799" y="1175"/>
                  </a:lnTo>
                  <a:lnTo>
                    <a:pt x="1799" y="1175"/>
                  </a:lnTo>
                  <a:lnTo>
                    <a:pt x="1804" y="1167"/>
                  </a:lnTo>
                  <a:lnTo>
                    <a:pt x="1812" y="1162"/>
                  </a:lnTo>
                  <a:lnTo>
                    <a:pt x="1812" y="1162"/>
                  </a:lnTo>
                  <a:lnTo>
                    <a:pt x="1813" y="1159"/>
                  </a:lnTo>
                  <a:lnTo>
                    <a:pt x="1813" y="1154"/>
                  </a:lnTo>
                  <a:lnTo>
                    <a:pt x="1815" y="1143"/>
                  </a:lnTo>
                  <a:lnTo>
                    <a:pt x="1816" y="1130"/>
                  </a:lnTo>
                  <a:lnTo>
                    <a:pt x="1819" y="1117"/>
                  </a:lnTo>
                  <a:lnTo>
                    <a:pt x="1819" y="1117"/>
                  </a:lnTo>
                  <a:lnTo>
                    <a:pt x="1820" y="1108"/>
                  </a:lnTo>
                  <a:lnTo>
                    <a:pt x="1819" y="1101"/>
                  </a:lnTo>
                  <a:lnTo>
                    <a:pt x="1819" y="1096"/>
                  </a:lnTo>
                  <a:lnTo>
                    <a:pt x="1819" y="1091"/>
                  </a:lnTo>
                  <a:lnTo>
                    <a:pt x="1819" y="1091"/>
                  </a:lnTo>
                  <a:lnTo>
                    <a:pt x="1822" y="1083"/>
                  </a:lnTo>
                  <a:lnTo>
                    <a:pt x="1826" y="1075"/>
                  </a:lnTo>
                  <a:lnTo>
                    <a:pt x="1832" y="1062"/>
                  </a:lnTo>
                  <a:lnTo>
                    <a:pt x="1832" y="1062"/>
                  </a:lnTo>
                  <a:lnTo>
                    <a:pt x="1832" y="1059"/>
                  </a:lnTo>
                  <a:lnTo>
                    <a:pt x="1832" y="1056"/>
                  </a:lnTo>
                  <a:lnTo>
                    <a:pt x="1829" y="1053"/>
                  </a:lnTo>
                  <a:lnTo>
                    <a:pt x="1828" y="1053"/>
                  </a:lnTo>
                  <a:lnTo>
                    <a:pt x="1828" y="1053"/>
                  </a:lnTo>
                  <a:lnTo>
                    <a:pt x="1826" y="1053"/>
                  </a:lnTo>
                  <a:lnTo>
                    <a:pt x="1825" y="1051"/>
                  </a:lnTo>
                  <a:lnTo>
                    <a:pt x="1823" y="1047"/>
                  </a:lnTo>
                  <a:lnTo>
                    <a:pt x="1819" y="1035"/>
                  </a:lnTo>
                  <a:lnTo>
                    <a:pt x="1819" y="1035"/>
                  </a:lnTo>
                  <a:lnTo>
                    <a:pt x="1819" y="1034"/>
                  </a:lnTo>
                  <a:lnTo>
                    <a:pt x="1819" y="1034"/>
                  </a:lnTo>
                  <a:lnTo>
                    <a:pt x="1823" y="1031"/>
                  </a:lnTo>
                  <a:lnTo>
                    <a:pt x="1823" y="1031"/>
                  </a:lnTo>
                  <a:lnTo>
                    <a:pt x="1823" y="1030"/>
                  </a:lnTo>
                  <a:lnTo>
                    <a:pt x="1823" y="1028"/>
                  </a:lnTo>
                  <a:lnTo>
                    <a:pt x="1819" y="1024"/>
                  </a:lnTo>
                  <a:lnTo>
                    <a:pt x="1813" y="1021"/>
                  </a:lnTo>
                  <a:lnTo>
                    <a:pt x="1807" y="1018"/>
                  </a:lnTo>
                  <a:lnTo>
                    <a:pt x="1807" y="1018"/>
                  </a:lnTo>
                  <a:lnTo>
                    <a:pt x="1806" y="1017"/>
                  </a:lnTo>
                  <a:lnTo>
                    <a:pt x="1804" y="1015"/>
                  </a:lnTo>
                  <a:lnTo>
                    <a:pt x="1804" y="1011"/>
                  </a:lnTo>
                  <a:lnTo>
                    <a:pt x="1803" y="1008"/>
                  </a:lnTo>
                  <a:lnTo>
                    <a:pt x="1800" y="1005"/>
                  </a:lnTo>
                  <a:lnTo>
                    <a:pt x="1800" y="1005"/>
                  </a:lnTo>
                  <a:lnTo>
                    <a:pt x="1788" y="999"/>
                  </a:lnTo>
                  <a:lnTo>
                    <a:pt x="1783" y="998"/>
                  </a:lnTo>
                  <a:lnTo>
                    <a:pt x="1778" y="998"/>
                  </a:lnTo>
                  <a:lnTo>
                    <a:pt x="1778" y="998"/>
                  </a:lnTo>
                  <a:lnTo>
                    <a:pt x="1777" y="998"/>
                  </a:lnTo>
                  <a:lnTo>
                    <a:pt x="1777" y="999"/>
                  </a:lnTo>
                  <a:lnTo>
                    <a:pt x="1778" y="1004"/>
                  </a:lnTo>
                  <a:lnTo>
                    <a:pt x="1780" y="1008"/>
                  </a:lnTo>
                  <a:lnTo>
                    <a:pt x="1780" y="1009"/>
                  </a:lnTo>
                  <a:lnTo>
                    <a:pt x="1778" y="1009"/>
                  </a:lnTo>
                  <a:lnTo>
                    <a:pt x="1778" y="1009"/>
                  </a:lnTo>
                  <a:lnTo>
                    <a:pt x="1775" y="1011"/>
                  </a:lnTo>
                  <a:lnTo>
                    <a:pt x="1773" y="1012"/>
                  </a:lnTo>
                  <a:lnTo>
                    <a:pt x="1770" y="1015"/>
                  </a:lnTo>
                  <a:lnTo>
                    <a:pt x="1764" y="1015"/>
                  </a:lnTo>
                  <a:lnTo>
                    <a:pt x="1764" y="1015"/>
                  </a:lnTo>
                  <a:lnTo>
                    <a:pt x="1761" y="1014"/>
                  </a:lnTo>
                  <a:lnTo>
                    <a:pt x="1761" y="1012"/>
                  </a:lnTo>
                  <a:lnTo>
                    <a:pt x="1764" y="1011"/>
                  </a:lnTo>
                  <a:lnTo>
                    <a:pt x="1764" y="1009"/>
                  </a:lnTo>
                  <a:lnTo>
                    <a:pt x="1764" y="1009"/>
                  </a:lnTo>
                  <a:lnTo>
                    <a:pt x="1764" y="1008"/>
                  </a:lnTo>
                  <a:lnTo>
                    <a:pt x="1762" y="1008"/>
                  </a:lnTo>
                  <a:lnTo>
                    <a:pt x="1758" y="1009"/>
                  </a:lnTo>
                  <a:lnTo>
                    <a:pt x="1748" y="1012"/>
                  </a:lnTo>
                  <a:lnTo>
                    <a:pt x="1748" y="1012"/>
                  </a:lnTo>
                  <a:lnTo>
                    <a:pt x="1746" y="1012"/>
                  </a:lnTo>
                  <a:lnTo>
                    <a:pt x="1746" y="1011"/>
                  </a:lnTo>
                  <a:lnTo>
                    <a:pt x="1748" y="1008"/>
                  </a:lnTo>
                  <a:lnTo>
                    <a:pt x="1751" y="1001"/>
                  </a:lnTo>
                  <a:lnTo>
                    <a:pt x="1751" y="1001"/>
                  </a:lnTo>
                  <a:lnTo>
                    <a:pt x="1751" y="999"/>
                  </a:lnTo>
                  <a:lnTo>
                    <a:pt x="1749" y="999"/>
                  </a:lnTo>
                  <a:lnTo>
                    <a:pt x="1744" y="999"/>
                  </a:lnTo>
                  <a:lnTo>
                    <a:pt x="1744" y="999"/>
                  </a:lnTo>
                  <a:lnTo>
                    <a:pt x="1741" y="999"/>
                  </a:lnTo>
                  <a:lnTo>
                    <a:pt x="1736" y="996"/>
                  </a:lnTo>
                  <a:lnTo>
                    <a:pt x="1731" y="995"/>
                  </a:lnTo>
                  <a:lnTo>
                    <a:pt x="1726" y="993"/>
                  </a:lnTo>
                  <a:lnTo>
                    <a:pt x="1726" y="993"/>
                  </a:lnTo>
                  <a:lnTo>
                    <a:pt x="1723" y="993"/>
                  </a:lnTo>
                  <a:lnTo>
                    <a:pt x="1722" y="991"/>
                  </a:lnTo>
                  <a:lnTo>
                    <a:pt x="1723" y="986"/>
                  </a:lnTo>
                  <a:lnTo>
                    <a:pt x="1729" y="982"/>
                  </a:lnTo>
                  <a:lnTo>
                    <a:pt x="1729" y="982"/>
                  </a:lnTo>
                  <a:lnTo>
                    <a:pt x="1741" y="973"/>
                  </a:lnTo>
                  <a:lnTo>
                    <a:pt x="1752" y="962"/>
                  </a:lnTo>
                  <a:lnTo>
                    <a:pt x="1764" y="951"/>
                  </a:lnTo>
                  <a:lnTo>
                    <a:pt x="1770" y="944"/>
                  </a:lnTo>
                  <a:lnTo>
                    <a:pt x="1770" y="944"/>
                  </a:lnTo>
                  <a:lnTo>
                    <a:pt x="1774" y="938"/>
                  </a:lnTo>
                  <a:lnTo>
                    <a:pt x="1781" y="933"/>
                  </a:lnTo>
                  <a:lnTo>
                    <a:pt x="1794" y="924"/>
                  </a:lnTo>
                  <a:lnTo>
                    <a:pt x="1794" y="924"/>
                  </a:lnTo>
                  <a:lnTo>
                    <a:pt x="1799" y="918"/>
                  </a:lnTo>
                  <a:lnTo>
                    <a:pt x="1804" y="911"/>
                  </a:lnTo>
                  <a:lnTo>
                    <a:pt x="1815" y="896"/>
                  </a:lnTo>
                  <a:lnTo>
                    <a:pt x="1815" y="896"/>
                  </a:lnTo>
                  <a:lnTo>
                    <a:pt x="1819" y="891"/>
                  </a:lnTo>
                  <a:lnTo>
                    <a:pt x="1822" y="885"/>
                  </a:lnTo>
                  <a:lnTo>
                    <a:pt x="1826" y="878"/>
                  </a:lnTo>
                  <a:lnTo>
                    <a:pt x="1835" y="869"/>
                  </a:lnTo>
                  <a:lnTo>
                    <a:pt x="1835" y="869"/>
                  </a:lnTo>
                  <a:lnTo>
                    <a:pt x="1841" y="865"/>
                  </a:lnTo>
                  <a:lnTo>
                    <a:pt x="1849" y="862"/>
                  </a:lnTo>
                  <a:lnTo>
                    <a:pt x="1858" y="860"/>
                  </a:lnTo>
                  <a:lnTo>
                    <a:pt x="1867" y="860"/>
                  </a:lnTo>
                  <a:lnTo>
                    <a:pt x="1883" y="862"/>
                  </a:lnTo>
                  <a:lnTo>
                    <a:pt x="1893" y="863"/>
                  </a:lnTo>
                  <a:lnTo>
                    <a:pt x="1893" y="863"/>
                  </a:lnTo>
                  <a:lnTo>
                    <a:pt x="1906" y="865"/>
                  </a:lnTo>
                  <a:lnTo>
                    <a:pt x="1919" y="866"/>
                  </a:lnTo>
                  <a:lnTo>
                    <a:pt x="1919" y="866"/>
                  </a:lnTo>
                  <a:lnTo>
                    <a:pt x="1932" y="869"/>
                  </a:lnTo>
                  <a:lnTo>
                    <a:pt x="1939" y="869"/>
                  </a:lnTo>
                  <a:lnTo>
                    <a:pt x="1942" y="869"/>
                  </a:lnTo>
                  <a:lnTo>
                    <a:pt x="1943" y="867"/>
                  </a:lnTo>
                  <a:lnTo>
                    <a:pt x="1943" y="867"/>
                  </a:lnTo>
                  <a:lnTo>
                    <a:pt x="1946" y="865"/>
                  </a:lnTo>
                  <a:lnTo>
                    <a:pt x="1945" y="865"/>
                  </a:lnTo>
                  <a:lnTo>
                    <a:pt x="1936" y="863"/>
                  </a:lnTo>
                  <a:lnTo>
                    <a:pt x="1936" y="863"/>
                  </a:lnTo>
                  <a:lnTo>
                    <a:pt x="1933" y="862"/>
                  </a:lnTo>
                  <a:lnTo>
                    <a:pt x="1933" y="860"/>
                  </a:lnTo>
                  <a:lnTo>
                    <a:pt x="1938" y="859"/>
                  </a:lnTo>
                  <a:lnTo>
                    <a:pt x="1948" y="856"/>
                  </a:lnTo>
                  <a:lnTo>
                    <a:pt x="1948" y="856"/>
                  </a:lnTo>
                  <a:lnTo>
                    <a:pt x="1949" y="854"/>
                  </a:lnTo>
                  <a:lnTo>
                    <a:pt x="1948" y="852"/>
                  </a:lnTo>
                  <a:lnTo>
                    <a:pt x="1948" y="852"/>
                  </a:lnTo>
                  <a:lnTo>
                    <a:pt x="1948" y="852"/>
                  </a:lnTo>
                  <a:lnTo>
                    <a:pt x="1948" y="850"/>
                  </a:lnTo>
                  <a:lnTo>
                    <a:pt x="1954" y="850"/>
                  </a:lnTo>
                  <a:lnTo>
                    <a:pt x="1965" y="850"/>
                  </a:lnTo>
                  <a:lnTo>
                    <a:pt x="1965" y="850"/>
                  </a:lnTo>
                  <a:lnTo>
                    <a:pt x="1967" y="852"/>
                  </a:lnTo>
                  <a:lnTo>
                    <a:pt x="1968" y="853"/>
                  </a:lnTo>
                  <a:lnTo>
                    <a:pt x="1968" y="854"/>
                  </a:lnTo>
                  <a:lnTo>
                    <a:pt x="1968" y="856"/>
                  </a:lnTo>
                  <a:lnTo>
                    <a:pt x="1968" y="856"/>
                  </a:lnTo>
                  <a:lnTo>
                    <a:pt x="1970" y="856"/>
                  </a:lnTo>
                  <a:lnTo>
                    <a:pt x="1972" y="854"/>
                  </a:lnTo>
                  <a:lnTo>
                    <a:pt x="1978" y="852"/>
                  </a:lnTo>
                  <a:lnTo>
                    <a:pt x="1978" y="852"/>
                  </a:lnTo>
                  <a:lnTo>
                    <a:pt x="1978" y="852"/>
                  </a:lnTo>
                  <a:lnTo>
                    <a:pt x="1980" y="854"/>
                  </a:lnTo>
                  <a:lnTo>
                    <a:pt x="1978" y="860"/>
                  </a:lnTo>
                  <a:lnTo>
                    <a:pt x="1978" y="860"/>
                  </a:lnTo>
                  <a:lnTo>
                    <a:pt x="1980" y="862"/>
                  </a:lnTo>
                  <a:lnTo>
                    <a:pt x="1981" y="863"/>
                  </a:lnTo>
                  <a:lnTo>
                    <a:pt x="1988" y="869"/>
                  </a:lnTo>
                  <a:lnTo>
                    <a:pt x="1988" y="869"/>
                  </a:lnTo>
                  <a:lnTo>
                    <a:pt x="1988" y="870"/>
                  </a:lnTo>
                  <a:lnTo>
                    <a:pt x="1988" y="870"/>
                  </a:lnTo>
                  <a:lnTo>
                    <a:pt x="1985" y="872"/>
                  </a:lnTo>
                  <a:lnTo>
                    <a:pt x="1978" y="873"/>
                  </a:lnTo>
                  <a:lnTo>
                    <a:pt x="1978" y="873"/>
                  </a:lnTo>
                  <a:lnTo>
                    <a:pt x="1977" y="875"/>
                  </a:lnTo>
                  <a:lnTo>
                    <a:pt x="1977" y="876"/>
                  </a:lnTo>
                  <a:lnTo>
                    <a:pt x="1978" y="879"/>
                  </a:lnTo>
                  <a:lnTo>
                    <a:pt x="1981" y="882"/>
                  </a:lnTo>
                  <a:lnTo>
                    <a:pt x="1984" y="883"/>
                  </a:lnTo>
                  <a:lnTo>
                    <a:pt x="1984" y="883"/>
                  </a:lnTo>
                  <a:lnTo>
                    <a:pt x="1988" y="882"/>
                  </a:lnTo>
                  <a:lnTo>
                    <a:pt x="1996" y="879"/>
                  </a:lnTo>
                  <a:lnTo>
                    <a:pt x="2009" y="873"/>
                  </a:lnTo>
                  <a:lnTo>
                    <a:pt x="2009" y="873"/>
                  </a:lnTo>
                  <a:lnTo>
                    <a:pt x="2012" y="872"/>
                  </a:lnTo>
                  <a:lnTo>
                    <a:pt x="2014" y="870"/>
                  </a:lnTo>
                  <a:lnTo>
                    <a:pt x="2020" y="872"/>
                  </a:lnTo>
                  <a:lnTo>
                    <a:pt x="2020" y="872"/>
                  </a:lnTo>
                  <a:lnTo>
                    <a:pt x="2026" y="873"/>
                  </a:lnTo>
                  <a:lnTo>
                    <a:pt x="2029" y="873"/>
                  </a:lnTo>
                  <a:lnTo>
                    <a:pt x="2029" y="873"/>
                  </a:lnTo>
                  <a:lnTo>
                    <a:pt x="2033" y="872"/>
                  </a:lnTo>
                  <a:lnTo>
                    <a:pt x="2038" y="873"/>
                  </a:lnTo>
                  <a:lnTo>
                    <a:pt x="2038" y="873"/>
                  </a:lnTo>
                  <a:lnTo>
                    <a:pt x="2040" y="873"/>
                  </a:lnTo>
                  <a:lnTo>
                    <a:pt x="2043" y="872"/>
                  </a:lnTo>
                  <a:lnTo>
                    <a:pt x="2049" y="869"/>
                  </a:lnTo>
                  <a:lnTo>
                    <a:pt x="2049" y="869"/>
                  </a:lnTo>
                  <a:lnTo>
                    <a:pt x="2055" y="866"/>
                  </a:lnTo>
                  <a:lnTo>
                    <a:pt x="2056" y="865"/>
                  </a:lnTo>
                  <a:lnTo>
                    <a:pt x="2056" y="862"/>
                  </a:lnTo>
                  <a:lnTo>
                    <a:pt x="2056" y="862"/>
                  </a:lnTo>
                  <a:lnTo>
                    <a:pt x="2055" y="860"/>
                  </a:lnTo>
                  <a:lnTo>
                    <a:pt x="2054" y="859"/>
                  </a:lnTo>
                  <a:lnTo>
                    <a:pt x="2049" y="859"/>
                  </a:lnTo>
                  <a:lnTo>
                    <a:pt x="2038" y="859"/>
                  </a:lnTo>
                  <a:lnTo>
                    <a:pt x="2038" y="859"/>
                  </a:lnTo>
                  <a:lnTo>
                    <a:pt x="2036" y="859"/>
                  </a:lnTo>
                  <a:lnTo>
                    <a:pt x="2036" y="857"/>
                  </a:lnTo>
                  <a:lnTo>
                    <a:pt x="2038" y="854"/>
                  </a:lnTo>
                  <a:lnTo>
                    <a:pt x="2039" y="853"/>
                  </a:lnTo>
                  <a:lnTo>
                    <a:pt x="2039" y="853"/>
                  </a:lnTo>
                  <a:lnTo>
                    <a:pt x="2043" y="849"/>
                  </a:lnTo>
                  <a:lnTo>
                    <a:pt x="2046" y="844"/>
                  </a:lnTo>
                  <a:lnTo>
                    <a:pt x="2052" y="837"/>
                  </a:lnTo>
                  <a:lnTo>
                    <a:pt x="2052" y="837"/>
                  </a:lnTo>
                  <a:lnTo>
                    <a:pt x="2054" y="834"/>
                  </a:lnTo>
                  <a:lnTo>
                    <a:pt x="2058" y="833"/>
                  </a:lnTo>
                  <a:lnTo>
                    <a:pt x="2067" y="828"/>
                  </a:lnTo>
                  <a:lnTo>
                    <a:pt x="2067" y="828"/>
                  </a:lnTo>
                  <a:lnTo>
                    <a:pt x="2068" y="827"/>
                  </a:lnTo>
                  <a:lnTo>
                    <a:pt x="2071" y="823"/>
                  </a:lnTo>
                  <a:lnTo>
                    <a:pt x="2075" y="811"/>
                  </a:lnTo>
                  <a:lnTo>
                    <a:pt x="2080" y="799"/>
                  </a:lnTo>
                  <a:lnTo>
                    <a:pt x="2084" y="791"/>
                  </a:lnTo>
                  <a:lnTo>
                    <a:pt x="2084" y="791"/>
                  </a:lnTo>
                  <a:lnTo>
                    <a:pt x="2090" y="786"/>
                  </a:lnTo>
                  <a:lnTo>
                    <a:pt x="2097" y="783"/>
                  </a:lnTo>
                  <a:lnTo>
                    <a:pt x="2107" y="781"/>
                  </a:lnTo>
                  <a:lnTo>
                    <a:pt x="2107" y="781"/>
                  </a:lnTo>
                  <a:lnTo>
                    <a:pt x="2110" y="779"/>
                  </a:lnTo>
                  <a:lnTo>
                    <a:pt x="2111" y="779"/>
                  </a:lnTo>
                  <a:lnTo>
                    <a:pt x="2114" y="779"/>
                  </a:lnTo>
                  <a:lnTo>
                    <a:pt x="2119" y="779"/>
                  </a:lnTo>
                  <a:lnTo>
                    <a:pt x="2119" y="779"/>
                  </a:lnTo>
                  <a:lnTo>
                    <a:pt x="2123" y="776"/>
                  </a:lnTo>
                  <a:lnTo>
                    <a:pt x="2126" y="772"/>
                  </a:lnTo>
                  <a:lnTo>
                    <a:pt x="2129" y="768"/>
                  </a:lnTo>
                  <a:lnTo>
                    <a:pt x="2132" y="765"/>
                  </a:lnTo>
                  <a:lnTo>
                    <a:pt x="2132" y="765"/>
                  </a:lnTo>
                  <a:lnTo>
                    <a:pt x="2132" y="765"/>
                  </a:lnTo>
                  <a:lnTo>
                    <a:pt x="2132" y="766"/>
                  </a:lnTo>
                  <a:lnTo>
                    <a:pt x="2129" y="772"/>
                  </a:lnTo>
                  <a:lnTo>
                    <a:pt x="2126" y="779"/>
                  </a:lnTo>
                  <a:lnTo>
                    <a:pt x="2125" y="785"/>
                  </a:lnTo>
                  <a:lnTo>
                    <a:pt x="2125" y="785"/>
                  </a:lnTo>
                  <a:lnTo>
                    <a:pt x="2123" y="789"/>
                  </a:lnTo>
                  <a:lnTo>
                    <a:pt x="2120" y="794"/>
                  </a:lnTo>
                  <a:lnTo>
                    <a:pt x="2119" y="797"/>
                  </a:lnTo>
                  <a:lnTo>
                    <a:pt x="2117" y="801"/>
                  </a:lnTo>
                  <a:lnTo>
                    <a:pt x="2117" y="801"/>
                  </a:lnTo>
                  <a:lnTo>
                    <a:pt x="2117" y="805"/>
                  </a:lnTo>
                  <a:lnTo>
                    <a:pt x="2120" y="808"/>
                  </a:lnTo>
                  <a:lnTo>
                    <a:pt x="2127" y="811"/>
                  </a:lnTo>
                  <a:lnTo>
                    <a:pt x="2127" y="811"/>
                  </a:lnTo>
                  <a:lnTo>
                    <a:pt x="2129" y="812"/>
                  </a:lnTo>
                  <a:lnTo>
                    <a:pt x="2130" y="811"/>
                  </a:lnTo>
                  <a:lnTo>
                    <a:pt x="2135" y="805"/>
                  </a:lnTo>
                  <a:lnTo>
                    <a:pt x="2135" y="805"/>
                  </a:lnTo>
                  <a:lnTo>
                    <a:pt x="2145" y="794"/>
                  </a:lnTo>
                  <a:lnTo>
                    <a:pt x="2155" y="785"/>
                  </a:lnTo>
                  <a:lnTo>
                    <a:pt x="2155" y="785"/>
                  </a:lnTo>
                  <a:lnTo>
                    <a:pt x="2155" y="782"/>
                  </a:lnTo>
                  <a:lnTo>
                    <a:pt x="2155" y="778"/>
                  </a:lnTo>
                  <a:lnTo>
                    <a:pt x="2152" y="768"/>
                  </a:lnTo>
                  <a:lnTo>
                    <a:pt x="2152" y="768"/>
                  </a:lnTo>
                  <a:lnTo>
                    <a:pt x="2152" y="763"/>
                  </a:lnTo>
                  <a:lnTo>
                    <a:pt x="2153" y="760"/>
                  </a:lnTo>
                  <a:lnTo>
                    <a:pt x="2156" y="757"/>
                  </a:lnTo>
                  <a:lnTo>
                    <a:pt x="2161" y="756"/>
                  </a:lnTo>
                  <a:lnTo>
                    <a:pt x="2161" y="756"/>
                  </a:lnTo>
                  <a:lnTo>
                    <a:pt x="2167" y="753"/>
                  </a:lnTo>
                  <a:lnTo>
                    <a:pt x="2171" y="750"/>
                  </a:lnTo>
                  <a:lnTo>
                    <a:pt x="2171" y="750"/>
                  </a:lnTo>
                  <a:lnTo>
                    <a:pt x="2172" y="750"/>
                  </a:lnTo>
                  <a:lnTo>
                    <a:pt x="2172" y="753"/>
                  </a:lnTo>
                  <a:lnTo>
                    <a:pt x="2172" y="759"/>
                  </a:lnTo>
                  <a:lnTo>
                    <a:pt x="2172" y="759"/>
                  </a:lnTo>
                  <a:lnTo>
                    <a:pt x="2172" y="762"/>
                  </a:lnTo>
                  <a:lnTo>
                    <a:pt x="2169" y="766"/>
                  </a:lnTo>
                  <a:lnTo>
                    <a:pt x="2169" y="766"/>
                  </a:lnTo>
                  <a:lnTo>
                    <a:pt x="2167" y="772"/>
                  </a:lnTo>
                  <a:lnTo>
                    <a:pt x="2164" y="778"/>
                  </a:lnTo>
                  <a:lnTo>
                    <a:pt x="2162" y="789"/>
                  </a:lnTo>
                  <a:lnTo>
                    <a:pt x="2162" y="789"/>
                  </a:lnTo>
                  <a:lnTo>
                    <a:pt x="2164" y="794"/>
                  </a:lnTo>
                  <a:lnTo>
                    <a:pt x="2167" y="799"/>
                  </a:lnTo>
                  <a:lnTo>
                    <a:pt x="2167" y="799"/>
                  </a:lnTo>
                  <a:lnTo>
                    <a:pt x="2167" y="801"/>
                  </a:lnTo>
                  <a:lnTo>
                    <a:pt x="2165" y="802"/>
                  </a:lnTo>
                  <a:lnTo>
                    <a:pt x="2161" y="807"/>
                  </a:lnTo>
                  <a:lnTo>
                    <a:pt x="2161" y="807"/>
                  </a:lnTo>
                  <a:lnTo>
                    <a:pt x="2161" y="808"/>
                  </a:lnTo>
                  <a:lnTo>
                    <a:pt x="2161" y="810"/>
                  </a:lnTo>
                  <a:lnTo>
                    <a:pt x="2165" y="812"/>
                  </a:lnTo>
                  <a:lnTo>
                    <a:pt x="2165" y="812"/>
                  </a:lnTo>
                  <a:lnTo>
                    <a:pt x="2164" y="814"/>
                  </a:lnTo>
                  <a:lnTo>
                    <a:pt x="2162" y="815"/>
                  </a:lnTo>
                  <a:lnTo>
                    <a:pt x="2156" y="820"/>
                  </a:lnTo>
                  <a:lnTo>
                    <a:pt x="2151" y="825"/>
                  </a:lnTo>
                  <a:lnTo>
                    <a:pt x="2148" y="830"/>
                  </a:lnTo>
                  <a:lnTo>
                    <a:pt x="2148" y="830"/>
                  </a:lnTo>
                  <a:lnTo>
                    <a:pt x="2146" y="834"/>
                  </a:lnTo>
                  <a:lnTo>
                    <a:pt x="2143" y="837"/>
                  </a:lnTo>
                  <a:lnTo>
                    <a:pt x="2136" y="843"/>
                  </a:lnTo>
                  <a:lnTo>
                    <a:pt x="2136" y="843"/>
                  </a:lnTo>
                  <a:lnTo>
                    <a:pt x="2123" y="854"/>
                  </a:lnTo>
                  <a:lnTo>
                    <a:pt x="2109" y="869"/>
                  </a:lnTo>
                  <a:lnTo>
                    <a:pt x="2109" y="869"/>
                  </a:lnTo>
                  <a:lnTo>
                    <a:pt x="2104" y="876"/>
                  </a:lnTo>
                  <a:lnTo>
                    <a:pt x="2100" y="886"/>
                  </a:lnTo>
                  <a:lnTo>
                    <a:pt x="2093" y="901"/>
                  </a:lnTo>
                  <a:lnTo>
                    <a:pt x="2093" y="901"/>
                  </a:lnTo>
                  <a:lnTo>
                    <a:pt x="2090" y="904"/>
                  </a:lnTo>
                  <a:lnTo>
                    <a:pt x="2084" y="905"/>
                  </a:lnTo>
                  <a:lnTo>
                    <a:pt x="2075" y="907"/>
                  </a:lnTo>
                  <a:lnTo>
                    <a:pt x="2075" y="907"/>
                  </a:lnTo>
                  <a:lnTo>
                    <a:pt x="2074" y="909"/>
                  </a:lnTo>
                  <a:lnTo>
                    <a:pt x="2072" y="911"/>
                  </a:lnTo>
                  <a:lnTo>
                    <a:pt x="2071" y="918"/>
                  </a:lnTo>
                  <a:lnTo>
                    <a:pt x="2071" y="918"/>
                  </a:lnTo>
                  <a:lnTo>
                    <a:pt x="2068" y="925"/>
                  </a:lnTo>
                  <a:lnTo>
                    <a:pt x="2062" y="934"/>
                  </a:lnTo>
                  <a:lnTo>
                    <a:pt x="2051" y="950"/>
                  </a:lnTo>
                  <a:lnTo>
                    <a:pt x="2051" y="950"/>
                  </a:lnTo>
                  <a:lnTo>
                    <a:pt x="2049" y="957"/>
                  </a:lnTo>
                  <a:lnTo>
                    <a:pt x="2049" y="970"/>
                  </a:lnTo>
                  <a:lnTo>
                    <a:pt x="2049" y="985"/>
                  </a:lnTo>
                  <a:lnTo>
                    <a:pt x="2052" y="996"/>
                  </a:lnTo>
                  <a:lnTo>
                    <a:pt x="2052" y="996"/>
                  </a:lnTo>
                  <a:lnTo>
                    <a:pt x="2054" y="1005"/>
                  </a:lnTo>
                  <a:lnTo>
                    <a:pt x="2055" y="1017"/>
                  </a:lnTo>
                  <a:lnTo>
                    <a:pt x="2056" y="1035"/>
                  </a:lnTo>
                  <a:lnTo>
                    <a:pt x="2056" y="1035"/>
                  </a:lnTo>
                  <a:lnTo>
                    <a:pt x="2056" y="1043"/>
                  </a:lnTo>
                  <a:lnTo>
                    <a:pt x="2059" y="1049"/>
                  </a:lnTo>
                  <a:lnTo>
                    <a:pt x="2064" y="1056"/>
                  </a:lnTo>
                  <a:lnTo>
                    <a:pt x="2064" y="1056"/>
                  </a:lnTo>
                  <a:lnTo>
                    <a:pt x="2067" y="1062"/>
                  </a:lnTo>
                  <a:lnTo>
                    <a:pt x="2071" y="1070"/>
                  </a:lnTo>
                  <a:lnTo>
                    <a:pt x="2071" y="1070"/>
                  </a:lnTo>
                  <a:lnTo>
                    <a:pt x="2072" y="1082"/>
                  </a:lnTo>
                  <a:lnTo>
                    <a:pt x="2074" y="1089"/>
                  </a:lnTo>
                  <a:lnTo>
                    <a:pt x="2077" y="1095"/>
                  </a:lnTo>
                  <a:lnTo>
                    <a:pt x="2077" y="1095"/>
                  </a:lnTo>
                  <a:lnTo>
                    <a:pt x="2078" y="1096"/>
                  </a:lnTo>
                  <a:lnTo>
                    <a:pt x="2080" y="1095"/>
                  </a:lnTo>
                  <a:lnTo>
                    <a:pt x="2082" y="1091"/>
                  </a:lnTo>
                  <a:lnTo>
                    <a:pt x="2085" y="1085"/>
                  </a:lnTo>
                  <a:lnTo>
                    <a:pt x="2087" y="1082"/>
                  </a:lnTo>
                  <a:lnTo>
                    <a:pt x="2090" y="1080"/>
                  </a:lnTo>
                  <a:lnTo>
                    <a:pt x="2090" y="1080"/>
                  </a:lnTo>
                  <a:lnTo>
                    <a:pt x="2093" y="1078"/>
                  </a:lnTo>
                  <a:lnTo>
                    <a:pt x="2096" y="1073"/>
                  </a:lnTo>
                  <a:lnTo>
                    <a:pt x="2101" y="1063"/>
                  </a:lnTo>
                  <a:lnTo>
                    <a:pt x="2101" y="1063"/>
                  </a:lnTo>
                  <a:lnTo>
                    <a:pt x="2101" y="1060"/>
                  </a:lnTo>
                  <a:lnTo>
                    <a:pt x="2100" y="1059"/>
                  </a:lnTo>
                  <a:lnTo>
                    <a:pt x="2097" y="1057"/>
                  </a:lnTo>
                  <a:lnTo>
                    <a:pt x="2097" y="1056"/>
                  </a:lnTo>
                  <a:lnTo>
                    <a:pt x="2097" y="1056"/>
                  </a:lnTo>
                  <a:lnTo>
                    <a:pt x="2098" y="1053"/>
                  </a:lnTo>
                  <a:lnTo>
                    <a:pt x="2098" y="1051"/>
                  </a:lnTo>
                  <a:lnTo>
                    <a:pt x="2097" y="1046"/>
                  </a:lnTo>
                  <a:lnTo>
                    <a:pt x="2097" y="1046"/>
                  </a:lnTo>
                  <a:lnTo>
                    <a:pt x="2097" y="1043"/>
                  </a:lnTo>
                  <a:lnTo>
                    <a:pt x="2098" y="1038"/>
                  </a:lnTo>
                  <a:lnTo>
                    <a:pt x="2104" y="1033"/>
                  </a:lnTo>
                  <a:lnTo>
                    <a:pt x="2104" y="1033"/>
                  </a:lnTo>
                  <a:lnTo>
                    <a:pt x="2107" y="1033"/>
                  </a:lnTo>
                  <a:lnTo>
                    <a:pt x="2111" y="1033"/>
                  </a:lnTo>
                  <a:lnTo>
                    <a:pt x="2117" y="1033"/>
                  </a:lnTo>
                  <a:lnTo>
                    <a:pt x="2117" y="1033"/>
                  </a:lnTo>
                  <a:lnTo>
                    <a:pt x="2117" y="1031"/>
                  </a:lnTo>
                  <a:lnTo>
                    <a:pt x="2117" y="1025"/>
                  </a:lnTo>
                  <a:lnTo>
                    <a:pt x="2116" y="1020"/>
                  </a:lnTo>
                  <a:lnTo>
                    <a:pt x="2116" y="1014"/>
                  </a:lnTo>
                  <a:lnTo>
                    <a:pt x="2116" y="1014"/>
                  </a:lnTo>
                  <a:lnTo>
                    <a:pt x="2117" y="1009"/>
                  </a:lnTo>
                  <a:lnTo>
                    <a:pt x="2120" y="1007"/>
                  </a:lnTo>
                  <a:lnTo>
                    <a:pt x="2123" y="1004"/>
                  </a:lnTo>
                  <a:lnTo>
                    <a:pt x="2126" y="1001"/>
                  </a:lnTo>
                  <a:lnTo>
                    <a:pt x="2126" y="1001"/>
                  </a:lnTo>
                  <a:lnTo>
                    <a:pt x="2129" y="996"/>
                  </a:lnTo>
                  <a:lnTo>
                    <a:pt x="2135" y="993"/>
                  </a:lnTo>
                  <a:lnTo>
                    <a:pt x="2145" y="992"/>
                  </a:lnTo>
                  <a:lnTo>
                    <a:pt x="2145" y="992"/>
                  </a:lnTo>
                  <a:lnTo>
                    <a:pt x="2151" y="992"/>
                  </a:lnTo>
                  <a:lnTo>
                    <a:pt x="2153" y="991"/>
                  </a:lnTo>
                  <a:lnTo>
                    <a:pt x="2155" y="989"/>
                  </a:lnTo>
                  <a:lnTo>
                    <a:pt x="2155" y="989"/>
                  </a:lnTo>
                  <a:lnTo>
                    <a:pt x="2155" y="983"/>
                  </a:lnTo>
                  <a:lnTo>
                    <a:pt x="2155" y="980"/>
                  </a:lnTo>
                  <a:lnTo>
                    <a:pt x="2153" y="978"/>
                  </a:lnTo>
                  <a:lnTo>
                    <a:pt x="2153" y="978"/>
                  </a:lnTo>
                  <a:lnTo>
                    <a:pt x="2151" y="976"/>
                  </a:lnTo>
                  <a:lnTo>
                    <a:pt x="2151" y="973"/>
                  </a:lnTo>
                  <a:lnTo>
                    <a:pt x="2151" y="972"/>
                  </a:lnTo>
                  <a:lnTo>
                    <a:pt x="2152" y="969"/>
                  </a:lnTo>
                  <a:lnTo>
                    <a:pt x="2152" y="969"/>
                  </a:lnTo>
                  <a:lnTo>
                    <a:pt x="2153" y="966"/>
                  </a:lnTo>
                  <a:lnTo>
                    <a:pt x="2153" y="962"/>
                  </a:lnTo>
                  <a:lnTo>
                    <a:pt x="2153" y="962"/>
                  </a:lnTo>
                  <a:lnTo>
                    <a:pt x="2155" y="959"/>
                  </a:lnTo>
                  <a:lnTo>
                    <a:pt x="2156" y="956"/>
                  </a:lnTo>
                  <a:lnTo>
                    <a:pt x="2161" y="953"/>
                  </a:lnTo>
                  <a:lnTo>
                    <a:pt x="2164" y="951"/>
                  </a:lnTo>
                  <a:lnTo>
                    <a:pt x="2164" y="951"/>
                  </a:lnTo>
                  <a:lnTo>
                    <a:pt x="2167" y="951"/>
                  </a:lnTo>
                  <a:lnTo>
                    <a:pt x="2168" y="951"/>
                  </a:lnTo>
                  <a:lnTo>
                    <a:pt x="2169" y="953"/>
                  </a:lnTo>
                  <a:lnTo>
                    <a:pt x="2172" y="953"/>
                  </a:lnTo>
                  <a:lnTo>
                    <a:pt x="2172" y="953"/>
                  </a:lnTo>
                  <a:lnTo>
                    <a:pt x="2175" y="951"/>
                  </a:lnTo>
                  <a:lnTo>
                    <a:pt x="2177" y="949"/>
                  </a:lnTo>
                  <a:lnTo>
                    <a:pt x="2177" y="941"/>
                  </a:lnTo>
                  <a:lnTo>
                    <a:pt x="2177" y="941"/>
                  </a:lnTo>
                  <a:lnTo>
                    <a:pt x="2175" y="938"/>
                  </a:lnTo>
                  <a:lnTo>
                    <a:pt x="2174" y="937"/>
                  </a:lnTo>
                  <a:lnTo>
                    <a:pt x="2167" y="937"/>
                  </a:lnTo>
                  <a:lnTo>
                    <a:pt x="2167" y="937"/>
                  </a:lnTo>
                  <a:lnTo>
                    <a:pt x="2165" y="936"/>
                  </a:lnTo>
                  <a:lnTo>
                    <a:pt x="2162" y="933"/>
                  </a:lnTo>
                  <a:lnTo>
                    <a:pt x="2161" y="923"/>
                  </a:lnTo>
                  <a:lnTo>
                    <a:pt x="2161" y="923"/>
                  </a:lnTo>
                  <a:lnTo>
                    <a:pt x="2162" y="918"/>
                  </a:lnTo>
                  <a:lnTo>
                    <a:pt x="2165" y="915"/>
                  </a:lnTo>
                  <a:lnTo>
                    <a:pt x="2171" y="911"/>
                  </a:lnTo>
                  <a:lnTo>
                    <a:pt x="2171" y="911"/>
                  </a:lnTo>
                  <a:lnTo>
                    <a:pt x="2171" y="909"/>
                  </a:lnTo>
                  <a:lnTo>
                    <a:pt x="2171" y="908"/>
                  </a:lnTo>
                  <a:lnTo>
                    <a:pt x="2169" y="904"/>
                  </a:lnTo>
                  <a:lnTo>
                    <a:pt x="2167" y="901"/>
                  </a:lnTo>
                  <a:lnTo>
                    <a:pt x="2162" y="899"/>
                  </a:lnTo>
                  <a:lnTo>
                    <a:pt x="2162" y="899"/>
                  </a:lnTo>
                  <a:lnTo>
                    <a:pt x="2161" y="899"/>
                  </a:lnTo>
                  <a:lnTo>
                    <a:pt x="2159" y="899"/>
                  </a:lnTo>
                  <a:lnTo>
                    <a:pt x="2159" y="896"/>
                  </a:lnTo>
                  <a:lnTo>
                    <a:pt x="2161" y="895"/>
                  </a:lnTo>
                  <a:lnTo>
                    <a:pt x="2161" y="895"/>
                  </a:lnTo>
                  <a:lnTo>
                    <a:pt x="2161" y="892"/>
                  </a:lnTo>
                  <a:lnTo>
                    <a:pt x="2161" y="888"/>
                  </a:lnTo>
                  <a:lnTo>
                    <a:pt x="2159" y="882"/>
                  </a:lnTo>
                  <a:lnTo>
                    <a:pt x="2161" y="879"/>
                  </a:lnTo>
                  <a:lnTo>
                    <a:pt x="2161" y="879"/>
                  </a:lnTo>
                  <a:lnTo>
                    <a:pt x="2167" y="867"/>
                  </a:lnTo>
                  <a:lnTo>
                    <a:pt x="2171" y="862"/>
                  </a:lnTo>
                  <a:lnTo>
                    <a:pt x="2174" y="857"/>
                  </a:lnTo>
                  <a:lnTo>
                    <a:pt x="2174" y="857"/>
                  </a:lnTo>
                  <a:lnTo>
                    <a:pt x="2177" y="856"/>
                  </a:lnTo>
                  <a:lnTo>
                    <a:pt x="2178" y="853"/>
                  </a:lnTo>
                  <a:lnTo>
                    <a:pt x="2180" y="847"/>
                  </a:lnTo>
                  <a:lnTo>
                    <a:pt x="2180" y="847"/>
                  </a:lnTo>
                  <a:lnTo>
                    <a:pt x="2180" y="844"/>
                  </a:lnTo>
                  <a:lnTo>
                    <a:pt x="2182" y="841"/>
                  </a:lnTo>
                  <a:lnTo>
                    <a:pt x="2188" y="839"/>
                  </a:lnTo>
                  <a:lnTo>
                    <a:pt x="2188" y="839"/>
                  </a:lnTo>
                  <a:lnTo>
                    <a:pt x="2191" y="839"/>
                  </a:lnTo>
                  <a:lnTo>
                    <a:pt x="2193" y="839"/>
                  </a:lnTo>
                  <a:lnTo>
                    <a:pt x="2197" y="840"/>
                  </a:lnTo>
                  <a:lnTo>
                    <a:pt x="2197" y="840"/>
                  </a:lnTo>
                  <a:lnTo>
                    <a:pt x="2198" y="840"/>
                  </a:lnTo>
                  <a:lnTo>
                    <a:pt x="2200" y="839"/>
                  </a:lnTo>
                  <a:lnTo>
                    <a:pt x="2200" y="836"/>
                  </a:lnTo>
                  <a:lnTo>
                    <a:pt x="2201" y="833"/>
                  </a:lnTo>
                  <a:lnTo>
                    <a:pt x="2201" y="833"/>
                  </a:lnTo>
                  <a:lnTo>
                    <a:pt x="2204" y="830"/>
                  </a:lnTo>
                  <a:lnTo>
                    <a:pt x="2209" y="827"/>
                  </a:lnTo>
                  <a:lnTo>
                    <a:pt x="2217" y="824"/>
                  </a:lnTo>
                  <a:lnTo>
                    <a:pt x="2217" y="824"/>
                  </a:lnTo>
                  <a:lnTo>
                    <a:pt x="2219" y="825"/>
                  </a:lnTo>
                  <a:lnTo>
                    <a:pt x="2219" y="825"/>
                  </a:lnTo>
                  <a:lnTo>
                    <a:pt x="2217" y="830"/>
                  </a:lnTo>
                  <a:lnTo>
                    <a:pt x="2217" y="833"/>
                  </a:lnTo>
                  <a:lnTo>
                    <a:pt x="2217" y="836"/>
                  </a:lnTo>
                  <a:lnTo>
                    <a:pt x="2217" y="836"/>
                  </a:lnTo>
                  <a:lnTo>
                    <a:pt x="2219" y="836"/>
                  </a:lnTo>
                  <a:lnTo>
                    <a:pt x="2220" y="836"/>
                  </a:lnTo>
                  <a:lnTo>
                    <a:pt x="2226" y="831"/>
                  </a:lnTo>
                  <a:lnTo>
                    <a:pt x="2235" y="823"/>
                  </a:lnTo>
                  <a:lnTo>
                    <a:pt x="2235" y="823"/>
                  </a:lnTo>
                  <a:lnTo>
                    <a:pt x="2239" y="820"/>
                  </a:lnTo>
                  <a:lnTo>
                    <a:pt x="2240" y="815"/>
                  </a:lnTo>
                  <a:lnTo>
                    <a:pt x="2240" y="815"/>
                  </a:lnTo>
                  <a:lnTo>
                    <a:pt x="2243" y="814"/>
                  </a:lnTo>
                  <a:lnTo>
                    <a:pt x="2246" y="812"/>
                  </a:lnTo>
                  <a:lnTo>
                    <a:pt x="2255" y="812"/>
                  </a:lnTo>
                  <a:lnTo>
                    <a:pt x="2255" y="812"/>
                  </a:lnTo>
                  <a:lnTo>
                    <a:pt x="2258" y="815"/>
                  </a:lnTo>
                  <a:lnTo>
                    <a:pt x="2261" y="818"/>
                  </a:lnTo>
                  <a:lnTo>
                    <a:pt x="2264" y="828"/>
                  </a:lnTo>
                  <a:lnTo>
                    <a:pt x="2264" y="828"/>
                  </a:lnTo>
                  <a:lnTo>
                    <a:pt x="2265" y="831"/>
                  </a:lnTo>
                  <a:lnTo>
                    <a:pt x="2268" y="831"/>
                  </a:lnTo>
                  <a:lnTo>
                    <a:pt x="2271" y="830"/>
                  </a:lnTo>
                  <a:lnTo>
                    <a:pt x="2272" y="827"/>
                  </a:lnTo>
                  <a:lnTo>
                    <a:pt x="2272" y="827"/>
                  </a:lnTo>
                  <a:lnTo>
                    <a:pt x="2277" y="820"/>
                  </a:lnTo>
                  <a:lnTo>
                    <a:pt x="2281" y="814"/>
                  </a:lnTo>
                  <a:lnTo>
                    <a:pt x="2281" y="814"/>
                  </a:lnTo>
                  <a:lnTo>
                    <a:pt x="2285" y="811"/>
                  </a:lnTo>
                  <a:lnTo>
                    <a:pt x="2291" y="810"/>
                  </a:lnTo>
                  <a:lnTo>
                    <a:pt x="2291" y="810"/>
                  </a:lnTo>
                  <a:lnTo>
                    <a:pt x="2291" y="808"/>
                  </a:lnTo>
                  <a:lnTo>
                    <a:pt x="2291" y="805"/>
                  </a:lnTo>
                  <a:lnTo>
                    <a:pt x="2293" y="799"/>
                  </a:lnTo>
                  <a:lnTo>
                    <a:pt x="2293" y="799"/>
                  </a:lnTo>
                  <a:lnTo>
                    <a:pt x="2294" y="798"/>
                  </a:lnTo>
                  <a:lnTo>
                    <a:pt x="2295" y="798"/>
                  </a:lnTo>
                  <a:lnTo>
                    <a:pt x="2298" y="799"/>
                  </a:lnTo>
                  <a:lnTo>
                    <a:pt x="2301" y="799"/>
                  </a:lnTo>
                  <a:lnTo>
                    <a:pt x="2301" y="799"/>
                  </a:lnTo>
                  <a:lnTo>
                    <a:pt x="2301" y="798"/>
                  </a:lnTo>
                  <a:lnTo>
                    <a:pt x="2301" y="795"/>
                  </a:lnTo>
                  <a:lnTo>
                    <a:pt x="2298" y="789"/>
                  </a:lnTo>
                  <a:lnTo>
                    <a:pt x="2298" y="789"/>
                  </a:lnTo>
                  <a:lnTo>
                    <a:pt x="2298" y="789"/>
                  </a:lnTo>
                  <a:lnTo>
                    <a:pt x="2300" y="789"/>
                  </a:lnTo>
                  <a:lnTo>
                    <a:pt x="2304" y="791"/>
                  </a:lnTo>
                  <a:lnTo>
                    <a:pt x="2304" y="791"/>
                  </a:lnTo>
                  <a:lnTo>
                    <a:pt x="2308" y="788"/>
                  </a:lnTo>
                  <a:lnTo>
                    <a:pt x="2313" y="783"/>
                  </a:lnTo>
                  <a:lnTo>
                    <a:pt x="2313" y="783"/>
                  </a:lnTo>
                  <a:lnTo>
                    <a:pt x="2314" y="783"/>
                  </a:lnTo>
                  <a:lnTo>
                    <a:pt x="2316" y="783"/>
                  </a:lnTo>
                  <a:lnTo>
                    <a:pt x="2319" y="785"/>
                  </a:lnTo>
                  <a:lnTo>
                    <a:pt x="2319" y="785"/>
                  </a:lnTo>
                  <a:lnTo>
                    <a:pt x="2320" y="783"/>
                  </a:lnTo>
                  <a:lnTo>
                    <a:pt x="2326" y="778"/>
                  </a:lnTo>
                  <a:lnTo>
                    <a:pt x="2335" y="769"/>
                  </a:lnTo>
                  <a:lnTo>
                    <a:pt x="2346" y="757"/>
                  </a:lnTo>
                  <a:lnTo>
                    <a:pt x="2346" y="757"/>
                  </a:lnTo>
                  <a:lnTo>
                    <a:pt x="2353" y="752"/>
                  </a:lnTo>
                  <a:lnTo>
                    <a:pt x="2361" y="747"/>
                  </a:lnTo>
                  <a:lnTo>
                    <a:pt x="2374" y="743"/>
                  </a:lnTo>
                  <a:lnTo>
                    <a:pt x="2384" y="741"/>
                  </a:lnTo>
                  <a:lnTo>
                    <a:pt x="2390" y="741"/>
                  </a:lnTo>
                  <a:lnTo>
                    <a:pt x="2390" y="741"/>
                  </a:lnTo>
                  <a:lnTo>
                    <a:pt x="2392" y="741"/>
                  </a:lnTo>
                  <a:lnTo>
                    <a:pt x="2395" y="741"/>
                  </a:lnTo>
                  <a:lnTo>
                    <a:pt x="2403" y="746"/>
                  </a:lnTo>
                  <a:lnTo>
                    <a:pt x="2403" y="746"/>
                  </a:lnTo>
                  <a:lnTo>
                    <a:pt x="2407" y="747"/>
                  </a:lnTo>
                  <a:lnTo>
                    <a:pt x="2410" y="746"/>
                  </a:lnTo>
                  <a:lnTo>
                    <a:pt x="2414" y="741"/>
                  </a:lnTo>
                  <a:lnTo>
                    <a:pt x="2414" y="741"/>
                  </a:lnTo>
                  <a:lnTo>
                    <a:pt x="2416" y="740"/>
                  </a:lnTo>
                  <a:lnTo>
                    <a:pt x="2417" y="737"/>
                  </a:lnTo>
                  <a:lnTo>
                    <a:pt x="2417" y="731"/>
                  </a:lnTo>
                  <a:lnTo>
                    <a:pt x="2417" y="731"/>
                  </a:lnTo>
                  <a:lnTo>
                    <a:pt x="2416" y="723"/>
                  </a:lnTo>
                  <a:lnTo>
                    <a:pt x="2414" y="718"/>
                  </a:lnTo>
                  <a:lnTo>
                    <a:pt x="2411" y="715"/>
                  </a:lnTo>
                  <a:lnTo>
                    <a:pt x="2411" y="715"/>
                  </a:lnTo>
                  <a:lnTo>
                    <a:pt x="2408" y="714"/>
                  </a:lnTo>
                  <a:lnTo>
                    <a:pt x="2407" y="711"/>
                  </a:lnTo>
                  <a:lnTo>
                    <a:pt x="2405" y="707"/>
                  </a:lnTo>
                  <a:lnTo>
                    <a:pt x="2403" y="705"/>
                  </a:lnTo>
                  <a:lnTo>
                    <a:pt x="2403" y="705"/>
                  </a:lnTo>
                  <a:lnTo>
                    <a:pt x="2398" y="704"/>
                  </a:lnTo>
                  <a:lnTo>
                    <a:pt x="2398" y="701"/>
                  </a:lnTo>
                  <a:lnTo>
                    <a:pt x="2398" y="694"/>
                  </a:lnTo>
                  <a:lnTo>
                    <a:pt x="2398" y="694"/>
                  </a:lnTo>
                  <a:lnTo>
                    <a:pt x="2398" y="692"/>
                  </a:lnTo>
                  <a:lnTo>
                    <a:pt x="2397" y="692"/>
                  </a:lnTo>
                  <a:lnTo>
                    <a:pt x="2394" y="697"/>
                  </a:lnTo>
                  <a:lnTo>
                    <a:pt x="2394" y="697"/>
                  </a:lnTo>
                  <a:lnTo>
                    <a:pt x="2390" y="699"/>
                  </a:lnTo>
                  <a:lnTo>
                    <a:pt x="2381" y="698"/>
                  </a:lnTo>
                  <a:lnTo>
                    <a:pt x="2381" y="698"/>
                  </a:lnTo>
                  <a:lnTo>
                    <a:pt x="2378" y="697"/>
                  </a:lnTo>
                  <a:lnTo>
                    <a:pt x="2377" y="694"/>
                  </a:lnTo>
                  <a:lnTo>
                    <a:pt x="2375" y="691"/>
                  </a:lnTo>
                  <a:lnTo>
                    <a:pt x="2375" y="688"/>
                  </a:lnTo>
                  <a:lnTo>
                    <a:pt x="2377" y="681"/>
                  </a:lnTo>
                  <a:lnTo>
                    <a:pt x="2379" y="675"/>
                  </a:lnTo>
                  <a:lnTo>
                    <a:pt x="2379" y="675"/>
                  </a:lnTo>
                  <a:lnTo>
                    <a:pt x="2379" y="672"/>
                  </a:lnTo>
                  <a:lnTo>
                    <a:pt x="2379" y="670"/>
                  </a:lnTo>
                  <a:lnTo>
                    <a:pt x="2377" y="669"/>
                  </a:lnTo>
                  <a:lnTo>
                    <a:pt x="2372" y="668"/>
                  </a:lnTo>
                  <a:lnTo>
                    <a:pt x="2372" y="668"/>
                  </a:lnTo>
                  <a:lnTo>
                    <a:pt x="2369" y="665"/>
                  </a:lnTo>
                  <a:lnTo>
                    <a:pt x="2369" y="663"/>
                  </a:lnTo>
                  <a:lnTo>
                    <a:pt x="2372" y="662"/>
                  </a:lnTo>
                  <a:lnTo>
                    <a:pt x="2375" y="660"/>
                  </a:lnTo>
                  <a:lnTo>
                    <a:pt x="2375" y="660"/>
                  </a:lnTo>
                  <a:lnTo>
                    <a:pt x="2382" y="662"/>
                  </a:lnTo>
                  <a:lnTo>
                    <a:pt x="2391" y="663"/>
                  </a:lnTo>
                  <a:lnTo>
                    <a:pt x="2391" y="663"/>
                  </a:lnTo>
                  <a:lnTo>
                    <a:pt x="2394" y="665"/>
                  </a:lnTo>
                  <a:lnTo>
                    <a:pt x="2397" y="666"/>
                  </a:lnTo>
                  <a:lnTo>
                    <a:pt x="2400" y="666"/>
                  </a:lnTo>
                  <a:lnTo>
                    <a:pt x="2403" y="666"/>
                  </a:lnTo>
                  <a:lnTo>
                    <a:pt x="2403" y="666"/>
                  </a:lnTo>
                  <a:lnTo>
                    <a:pt x="2414" y="663"/>
                  </a:lnTo>
                  <a:lnTo>
                    <a:pt x="2426" y="657"/>
                  </a:lnTo>
                  <a:lnTo>
                    <a:pt x="2426" y="657"/>
                  </a:lnTo>
                  <a:lnTo>
                    <a:pt x="2430" y="653"/>
                  </a:lnTo>
                  <a:lnTo>
                    <a:pt x="2433" y="647"/>
                  </a:lnTo>
                  <a:lnTo>
                    <a:pt x="2434" y="642"/>
                  </a:lnTo>
                  <a:lnTo>
                    <a:pt x="2436" y="637"/>
                  </a:lnTo>
                  <a:lnTo>
                    <a:pt x="2436" y="637"/>
                  </a:lnTo>
                  <a:lnTo>
                    <a:pt x="2434" y="633"/>
                  </a:lnTo>
                  <a:lnTo>
                    <a:pt x="2433" y="630"/>
                  </a:lnTo>
                  <a:lnTo>
                    <a:pt x="2433" y="630"/>
                  </a:lnTo>
                  <a:lnTo>
                    <a:pt x="2432" y="627"/>
                  </a:lnTo>
                  <a:lnTo>
                    <a:pt x="2433" y="620"/>
                  </a:lnTo>
                  <a:lnTo>
                    <a:pt x="2436" y="608"/>
                  </a:lnTo>
                  <a:lnTo>
                    <a:pt x="2436" y="608"/>
                  </a:lnTo>
                  <a:lnTo>
                    <a:pt x="2437" y="608"/>
                  </a:lnTo>
                  <a:lnTo>
                    <a:pt x="2439" y="608"/>
                  </a:lnTo>
                  <a:lnTo>
                    <a:pt x="2443" y="613"/>
                  </a:lnTo>
                  <a:lnTo>
                    <a:pt x="2443" y="613"/>
                  </a:lnTo>
                  <a:lnTo>
                    <a:pt x="2446" y="615"/>
                  </a:lnTo>
                  <a:lnTo>
                    <a:pt x="2446" y="617"/>
                  </a:lnTo>
                  <a:lnTo>
                    <a:pt x="2445" y="618"/>
                  </a:lnTo>
                  <a:lnTo>
                    <a:pt x="2445" y="618"/>
                  </a:lnTo>
                  <a:lnTo>
                    <a:pt x="2443" y="621"/>
                  </a:lnTo>
                  <a:lnTo>
                    <a:pt x="2443" y="623"/>
                  </a:lnTo>
                  <a:lnTo>
                    <a:pt x="2445" y="628"/>
                  </a:lnTo>
                  <a:lnTo>
                    <a:pt x="2445" y="628"/>
                  </a:lnTo>
                  <a:lnTo>
                    <a:pt x="2447" y="634"/>
                  </a:lnTo>
                  <a:lnTo>
                    <a:pt x="2453" y="637"/>
                  </a:lnTo>
                  <a:lnTo>
                    <a:pt x="2453" y="637"/>
                  </a:lnTo>
                  <a:lnTo>
                    <a:pt x="2459" y="639"/>
                  </a:lnTo>
                  <a:lnTo>
                    <a:pt x="2469" y="640"/>
                  </a:lnTo>
                  <a:lnTo>
                    <a:pt x="2485" y="640"/>
                  </a:lnTo>
                  <a:lnTo>
                    <a:pt x="2485" y="640"/>
                  </a:lnTo>
                  <a:lnTo>
                    <a:pt x="2488" y="643"/>
                  </a:lnTo>
                  <a:lnTo>
                    <a:pt x="2491" y="647"/>
                  </a:lnTo>
                  <a:lnTo>
                    <a:pt x="2492" y="652"/>
                  </a:lnTo>
                  <a:lnTo>
                    <a:pt x="2492" y="655"/>
                  </a:lnTo>
                  <a:lnTo>
                    <a:pt x="2491" y="656"/>
                  </a:lnTo>
                  <a:lnTo>
                    <a:pt x="2491" y="656"/>
                  </a:lnTo>
                  <a:lnTo>
                    <a:pt x="2489" y="659"/>
                  </a:lnTo>
                  <a:lnTo>
                    <a:pt x="2491" y="662"/>
                  </a:lnTo>
                  <a:lnTo>
                    <a:pt x="2494" y="665"/>
                  </a:lnTo>
                  <a:lnTo>
                    <a:pt x="2495" y="666"/>
                  </a:lnTo>
                  <a:lnTo>
                    <a:pt x="2495" y="666"/>
                  </a:lnTo>
                  <a:lnTo>
                    <a:pt x="2500" y="668"/>
                  </a:lnTo>
                  <a:lnTo>
                    <a:pt x="2507" y="669"/>
                  </a:lnTo>
                  <a:lnTo>
                    <a:pt x="2520" y="670"/>
                  </a:lnTo>
                  <a:lnTo>
                    <a:pt x="2520" y="670"/>
                  </a:lnTo>
                  <a:lnTo>
                    <a:pt x="2523" y="673"/>
                  </a:lnTo>
                  <a:lnTo>
                    <a:pt x="2526" y="676"/>
                  </a:lnTo>
                  <a:lnTo>
                    <a:pt x="2529" y="679"/>
                  </a:lnTo>
                  <a:lnTo>
                    <a:pt x="2533" y="681"/>
                  </a:lnTo>
                  <a:lnTo>
                    <a:pt x="2533" y="681"/>
                  </a:lnTo>
                  <a:lnTo>
                    <a:pt x="2539" y="681"/>
                  </a:lnTo>
                  <a:lnTo>
                    <a:pt x="2545" y="679"/>
                  </a:lnTo>
                  <a:lnTo>
                    <a:pt x="2549" y="676"/>
                  </a:lnTo>
                  <a:lnTo>
                    <a:pt x="2550" y="673"/>
                  </a:lnTo>
                  <a:lnTo>
                    <a:pt x="2550" y="673"/>
                  </a:lnTo>
                  <a:lnTo>
                    <a:pt x="2549" y="670"/>
                  </a:lnTo>
                  <a:lnTo>
                    <a:pt x="2547" y="669"/>
                  </a:lnTo>
                  <a:lnTo>
                    <a:pt x="2545" y="669"/>
                  </a:lnTo>
                  <a:lnTo>
                    <a:pt x="2542" y="669"/>
                  </a:lnTo>
                  <a:lnTo>
                    <a:pt x="2542" y="669"/>
                  </a:lnTo>
                  <a:lnTo>
                    <a:pt x="2540" y="670"/>
                  </a:lnTo>
                  <a:lnTo>
                    <a:pt x="2539" y="669"/>
                  </a:lnTo>
                  <a:lnTo>
                    <a:pt x="2537" y="665"/>
                  </a:lnTo>
                  <a:lnTo>
                    <a:pt x="2537" y="665"/>
                  </a:lnTo>
                  <a:lnTo>
                    <a:pt x="2537" y="663"/>
                  </a:lnTo>
                  <a:lnTo>
                    <a:pt x="2540" y="662"/>
                  </a:lnTo>
                  <a:lnTo>
                    <a:pt x="2546" y="660"/>
                  </a:lnTo>
                  <a:lnTo>
                    <a:pt x="2546" y="660"/>
                  </a:lnTo>
                  <a:lnTo>
                    <a:pt x="2549" y="657"/>
                  </a:lnTo>
                  <a:lnTo>
                    <a:pt x="2549" y="653"/>
                  </a:lnTo>
                  <a:lnTo>
                    <a:pt x="2547" y="646"/>
                  </a:lnTo>
                  <a:lnTo>
                    <a:pt x="2547" y="646"/>
                  </a:lnTo>
                  <a:lnTo>
                    <a:pt x="2546" y="639"/>
                  </a:lnTo>
                  <a:lnTo>
                    <a:pt x="2546" y="636"/>
                  </a:lnTo>
                  <a:lnTo>
                    <a:pt x="2546" y="636"/>
                  </a:lnTo>
                  <a:lnTo>
                    <a:pt x="2546" y="636"/>
                  </a:lnTo>
                  <a:lnTo>
                    <a:pt x="2553" y="637"/>
                  </a:lnTo>
                  <a:lnTo>
                    <a:pt x="2563" y="637"/>
                  </a:lnTo>
                  <a:lnTo>
                    <a:pt x="2563" y="637"/>
                  </a:lnTo>
                  <a:lnTo>
                    <a:pt x="2565" y="637"/>
                  </a:lnTo>
                  <a:lnTo>
                    <a:pt x="2565" y="634"/>
                  </a:lnTo>
                  <a:lnTo>
                    <a:pt x="2563" y="628"/>
                  </a:lnTo>
                  <a:lnTo>
                    <a:pt x="2563" y="628"/>
                  </a:lnTo>
                  <a:lnTo>
                    <a:pt x="2563" y="627"/>
                  </a:lnTo>
                  <a:lnTo>
                    <a:pt x="2563" y="627"/>
                  </a:lnTo>
                  <a:lnTo>
                    <a:pt x="2566" y="628"/>
                  </a:lnTo>
                  <a:lnTo>
                    <a:pt x="2573" y="636"/>
                  </a:lnTo>
                  <a:lnTo>
                    <a:pt x="2573" y="636"/>
                  </a:lnTo>
                  <a:lnTo>
                    <a:pt x="2576" y="636"/>
                  </a:lnTo>
                  <a:lnTo>
                    <a:pt x="2576" y="634"/>
                  </a:lnTo>
                  <a:lnTo>
                    <a:pt x="2579" y="627"/>
                  </a:lnTo>
                  <a:lnTo>
                    <a:pt x="2579" y="627"/>
                  </a:lnTo>
                  <a:lnTo>
                    <a:pt x="2582" y="621"/>
                  </a:lnTo>
                  <a:lnTo>
                    <a:pt x="2588" y="618"/>
                  </a:lnTo>
                  <a:lnTo>
                    <a:pt x="2588" y="618"/>
                  </a:lnTo>
                  <a:lnTo>
                    <a:pt x="2589" y="617"/>
                  </a:lnTo>
                  <a:lnTo>
                    <a:pt x="2589" y="615"/>
                  </a:lnTo>
                  <a:lnTo>
                    <a:pt x="2587" y="613"/>
                  </a:lnTo>
                  <a:lnTo>
                    <a:pt x="2581" y="611"/>
                  </a:lnTo>
                  <a:close/>
                  <a:moveTo>
                    <a:pt x="685" y="494"/>
                  </a:moveTo>
                  <a:lnTo>
                    <a:pt x="685" y="494"/>
                  </a:lnTo>
                  <a:lnTo>
                    <a:pt x="683" y="492"/>
                  </a:lnTo>
                  <a:lnTo>
                    <a:pt x="683" y="491"/>
                  </a:lnTo>
                  <a:lnTo>
                    <a:pt x="683" y="488"/>
                  </a:lnTo>
                  <a:lnTo>
                    <a:pt x="683" y="488"/>
                  </a:lnTo>
                  <a:lnTo>
                    <a:pt x="681" y="482"/>
                  </a:lnTo>
                  <a:lnTo>
                    <a:pt x="681" y="481"/>
                  </a:lnTo>
                  <a:lnTo>
                    <a:pt x="682" y="479"/>
                  </a:lnTo>
                  <a:lnTo>
                    <a:pt x="682" y="479"/>
                  </a:lnTo>
                  <a:lnTo>
                    <a:pt x="685" y="479"/>
                  </a:lnTo>
                  <a:lnTo>
                    <a:pt x="689" y="481"/>
                  </a:lnTo>
                  <a:lnTo>
                    <a:pt x="694" y="484"/>
                  </a:lnTo>
                  <a:lnTo>
                    <a:pt x="695" y="485"/>
                  </a:lnTo>
                  <a:lnTo>
                    <a:pt x="695" y="485"/>
                  </a:lnTo>
                  <a:lnTo>
                    <a:pt x="694" y="489"/>
                  </a:lnTo>
                  <a:lnTo>
                    <a:pt x="691" y="492"/>
                  </a:lnTo>
                  <a:lnTo>
                    <a:pt x="688" y="494"/>
                  </a:lnTo>
                  <a:lnTo>
                    <a:pt x="685" y="494"/>
                  </a:lnTo>
                  <a:close/>
                  <a:moveTo>
                    <a:pt x="678" y="404"/>
                  </a:moveTo>
                  <a:lnTo>
                    <a:pt x="678" y="404"/>
                  </a:lnTo>
                  <a:lnTo>
                    <a:pt x="679" y="403"/>
                  </a:lnTo>
                  <a:lnTo>
                    <a:pt x="683" y="401"/>
                  </a:lnTo>
                  <a:lnTo>
                    <a:pt x="688" y="400"/>
                  </a:lnTo>
                  <a:lnTo>
                    <a:pt x="691" y="398"/>
                  </a:lnTo>
                  <a:lnTo>
                    <a:pt x="691" y="398"/>
                  </a:lnTo>
                  <a:lnTo>
                    <a:pt x="694" y="397"/>
                  </a:lnTo>
                  <a:lnTo>
                    <a:pt x="698" y="397"/>
                  </a:lnTo>
                  <a:lnTo>
                    <a:pt x="702" y="400"/>
                  </a:lnTo>
                  <a:lnTo>
                    <a:pt x="704" y="403"/>
                  </a:lnTo>
                  <a:lnTo>
                    <a:pt x="704" y="403"/>
                  </a:lnTo>
                  <a:lnTo>
                    <a:pt x="702" y="407"/>
                  </a:lnTo>
                  <a:lnTo>
                    <a:pt x="696" y="413"/>
                  </a:lnTo>
                  <a:lnTo>
                    <a:pt x="691" y="417"/>
                  </a:lnTo>
                  <a:lnTo>
                    <a:pt x="686" y="418"/>
                  </a:lnTo>
                  <a:lnTo>
                    <a:pt x="686" y="418"/>
                  </a:lnTo>
                  <a:lnTo>
                    <a:pt x="683" y="416"/>
                  </a:lnTo>
                  <a:lnTo>
                    <a:pt x="679" y="413"/>
                  </a:lnTo>
                  <a:lnTo>
                    <a:pt x="676" y="408"/>
                  </a:lnTo>
                  <a:lnTo>
                    <a:pt x="676" y="405"/>
                  </a:lnTo>
                  <a:lnTo>
                    <a:pt x="678" y="404"/>
                  </a:lnTo>
                  <a:close/>
                  <a:moveTo>
                    <a:pt x="53" y="891"/>
                  </a:moveTo>
                  <a:lnTo>
                    <a:pt x="53" y="891"/>
                  </a:lnTo>
                  <a:lnTo>
                    <a:pt x="53" y="889"/>
                  </a:lnTo>
                  <a:lnTo>
                    <a:pt x="53" y="888"/>
                  </a:lnTo>
                  <a:lnTo>
                    <a:pt x="59" y="883"/>
                  </a:lnTo>
                  <a:lnTo>
                    <a:pt x="59" y="883"/>
                  </a:lnTo>
                  <a:lnTo>
                    <a:pt x="61" y="883"/>
                  </a:lnTo>
                  <a:lnTo>
                    <a:pt x="62" y="885"/>
                  </a:lnTo>
                  <a:lnTo>
                    <a:pt x="64" y="886"/>
                  </a:lnTo>
                  <a:lnTo>
                    <a:pt x="64" y="886"/>
                  </a:lnTo>
                  <a:lnTo>
                    <a:pt x="62" y="889"/>
                  </a:lnTo>
                  <a:lnTo>
                    <a:pt x="59" y="891"/>
                  </a:lnTo>
                  <a:lnTo>
                    <a:pt x="56" y="892"/>
                  </a:lnTo>
                  <a:lnTo>
                    <a:pt x="53" y="891"/>
                  </a:lnTo>
                  <a:close/>
                  <a:moveTo>
                    <a:pt x="82" y="820"/>
                  </a:moveTo>
                  <a:lnTo>
                    <a:pt x="82" y="820"/>
                  </a:lnTo>
                  <a:lnTo>
                    <a:pt x="81" y="821"/>
                  </a:lnTo>
                  <a:lnTo>
                    <a:pt x="79" y="825"/>
                  </a:lnTo>
                  <a:lnTo>
                    <a:pt x="78" y="830"/>
                  </a:lnTo>
                  <a:lnTo>
                    <a:pt x="78" y="830"/>
                  </a:lnTo>
                  <a:lnTo>
                    <a:pt x="75" y="828"/>
                  </a:lnTo>
                  <a:lnTo>
                    <a:pt x="74" y="827"/>
                  </a:lnTo>
                  <a:lnTo>
                    <a:pt x="72" y="827"/>
                  </a:lnTo>
                  <a:lnTo>
                    <a:pt x="72" y="827"/>
                  </a:lnTo>
                  <a:lnTo>
                    <a:pt x="66" y="827"/>
                  </a:lnTo>
                  <a:lnTo>
                    <a:pt x="65" y="828"/>
                  </a:lnTo>
                  <a:lnTo>
                    <a:pt x="64" y="831"/>
                  </a:lnTo>
                  <a:lnTo>
                    <a:pt x="64" y="831"/>
                  </a:lnTo>
                  <a:lnTo>
                    <a:pt x="64" y="833"/>
                  </a:lnTo>
                  <a:lnTo>
                    <a:pt x="62" y="834"/>
                  </a:lnTo>
                  <a:lnTo>
                    <a:pt x="61" y="834"/>
                  </a:lnTo>
                  <a:lnTo>
                    <a:pt x="58" y="834"/>
                  </a:lnTo>
                  <a:lnTo>
                    <a:pt x="58" y="834"/>
                  </a:lnTo>
                  <a:lnTo>
                    <a:pt x="53" y="830"/>
                  </a:lnTo>
                  <a:lnTo>
                    <a:pt x="52" y="827"/>
                  </a:lnTo>
                  <a:lnTo>
                    <a:pt x="50" y="824"/>
                  </a:lnTo>
                  <a:lnTo>
                    <a:pt x="50" y="824"/>
                  </a:lnTo>
                  <a:lnTo>
                    <a:pt x="49" y="818"/>
                  </a:lnTo>
                  <a:lnTo>
                    <a:pt x="43" y="811"/>
                  </a:lnTo>
                  <a:lnTo>
                    <a:pt x="39" y="805"/>
                  </a:lnTo>
                  <a:lnTo>
                    <a:pt x="36" y="801"/>
                  </a:lnTo>
                  <a:lnTo>
                    <a:pt x="36" y="801"/>
                  </a:lnTo>
                  <a:lnTo>
                    <a:pt x="37" y="792"/>
                  </a:lnTo>
                  <a:lnTo>
                    <a:pt x="39" y="788"/>
                  </a:lnTo>
                  <a:lnTo>
                    <a:pt x="40" y="785"/>
                  </a:lnTo>
                  <a:lnTo>
                    <a:pt x="40" y="785"/>
                  </a:lnTo>
                  <a:lnTo>
                    <a:pt x="46" y="781"/>
                  </a:lnTo>
                  <a:lnTo>
                    <a:pt x="49" y="779"/>
                  </a:lnTo>
                  <a:lnTo>
                    <a:pt x="52" y="779"/>
                  </a:lnTo>
                  <a:lnTo>
                    <a:pt x="52" y="779"/>
                  </a:lnTo>
                  <a:lnTo>
                    <a:pt x="56" y="781"/>
                  </a:lnTo>
                  <a:lnTo>
                    <a:pt x="61" y="783"/>
                  </a:lnTo>
                  <a:lnTo>
                    <a:pt x="68" y="789"/>
                  </a:lnTo>
                  <a:lnTo>
                    <a:pt x="68" y="789"/>
                  </a:lnTo>
                  <a:lnTo>
                    <a:pt x="77" y="802"/>
                  </a:lnTo>
                  <a:lnTo>
                    <a:pt x="84" y="814"/>
                  </a:lnTo>
                  <a:lnTo>
                    <a:pt x="84" y="814"/>
                  </a:lnTo>
                  <a:lnTo>
                    <a:pt x="84" y="818"/>
                  </a:lnTo>
                  <a:lnTo>
                    <a:pt x="82" y="820"/>
                  </a:lnTo>
                  <a:close/>
                  <a:moveTo>
                    <a:pt x="181" y="788"/>
                  </a:moveTo>
                  <a:lnTo>
                    <a:pt x="181" y="788"/>
                  </a:lnTo>
                  <a:lnTo>
                    <a:pt x="181" y="789"/>
                  </a:lnTo>
                  <a:lnTo>
                    <a:pt x="179" y="792"/>
                  </a:lnTo>
                  <a:lnTo>
                    <a:pt x="176" y="794"/>
                  </a:lnTo>
                  <a:lnTo>
                    <a:pt x="175" y="795"/>
                  </a:lnTo>
                  <a:lnTo>
                    <a:pt x="175" y="795"/>
                  </a:lnTo>
                  <a:lnTo>
                    <a:pt x="174" y="792"/>
                  </a:lnTo>
                  <a:lnTo>
                    <a:pt x="172" y="788"/>
                  </a:lnTo>
                  <a:lnTo>
                    <a:pt x="174" y="786"/>
                  </a:lnTo>
                  <a:lnTo>
                    <a:pt x="175" y="786"/>
                  </a:lnTo>
                  <a:lnTo>
                    <a:pt x="176" y="786"/>
                  </a:lnTo>
                  <a:lnTo>
                    <a:pt x="181" y="788"/>
                  </a:lnTo>
                  <a:close/>
                  <a:moveTo>
                    <a:pt x="94" y="724"/>
                  </a:moveTo>
                  <a:lnTo>
                    <a:pt x="94" y="724"/>
                  </a:lnTo>
                  <a:lnTo>
                    <a:pt x="91" y="721"/>
                  </a:lnTo>
                  <a:lnTo>
                    <a:pt x="91" y="717"/>
                  </a:lnTo>
                  <a:lnTo>
                    <a:pt x="91" y="717"/>
                  </a:lnTo>
                  <a:lnTo>
                    <a:pt x="91" y="715"/>
                  </a:lnTo>
                  <a:lnTo>
                    <a:pt x="92" y="714"/>
                  </a:lnTo>
                  <a:lnTo>
                    <a:pt x="97" y="714"/>
                  </a:lnTo>
                  <a:lnTo>
                    <a:pt x="97" y="714"/>
                  </a:lnTo>
                  <a:lnTo>
                    <a:pt x="101" y="717"/>
                  </a:lnTo>
                  <a:lnTo>
                    <a:pt x="104" y="720"/>
                  </a:lnTo>
                  <a:lnTo>
                    <a:pt x="104" y="720"/>
                  </a:lnTo>
                  <a:lnTo>
                    <a:pt x="100" y="723"/>
                  </a:lnTo>
                  <a:lnTo>
                    <a:pt x="97" y="724"/>
                  </a:lnTo>
                  <a:lnTo>
                    <a:pt x="94" y="724"/>
                  </a:lnTo>
                  <a:close/>
                  <a:moveTo>
                    <a:pt x="139" y="792"/>
                  </a:moveTo>
                  <a:lnTo>
                    <a:pt x="139" y="792"/>
                  </a:lnTo>
                  <a:lnTo>
                    <a:pt x="133" y="801"/>
                  </a:lnTo>
                  <a:lnTo>
                    <a:pt x="129" y="804"/>
                  </a:lnTo>
                  <a:lnTo>
                    <a:pt x="129" y="804"/>
                  </a:lnTo>
                  <a:lnTo>
                    <a:pt x="127" y="804"/>
                  </a:lnTo>
                  <a:lnTo>
                    <a:pt x="126" y="802"/>
                  </a:lnTo>
                  <a:lnTo>
                    <a:pt x="126" y="798"/>
                  </a:lnTo>
                  <a:lnTo>
                    <a:pt x="126" y="798"/>
                  </a:lnTo>
                  <a:lnTo>
                    <a:pt x="126" y="795"/>
                  </a:lnTo>
                  <a:lnTo>
                    <a:pt x="124" y="792"/>
                  </a:lnTo>
                  <a:lnTo>
                    <a:pt x="121" y="789"/>
                  </a:lnTo>
                  <a:lnTo>
                    <a:pt x="117" y="786"/>
                  </a:lnTo>
                  <a:lnTo>
                    <a:pt x="117" y="786"/>
                  </a:lnTo>
                  <a:lnTo>
                    <a:pt x="107" y="779"/>
                  </a:lnTo>
                  <a:lnTo>
                    <a:pt x="103" y="776"/>
                  </a:lnTo>
                  <a:lnTo>
                    <a:pt x="103" y="775"/>
                  </a:lnTo>
                  <a:lnTo>
                    <a:pt x="103" y="773"/>
                  </a:lnTo>
                  <a:lnTo>
                    <a:pt x="103" y="773"/>
                  </a:lnTo>
                  <a:lnTo>
                    <a:pt x="104" y="772"/>
                  </a:lnTo>
                  <a:lnTo>
                    <a:pt x="106" y="772"/>
                  </a:lnTo>
                  <a:lnTo>
                    <a:pt x="107" y="772"/>
                  </a:lnTo>
                  <a:lnTo>
                    <a:pt x="108" y="769"/>
                  </a:lnTo>
                  <a:lnTo>
                    <a:pt x="108" y="769"/>
                  </a:lnTo>
                  <a:lnTo>
                    <a:pt x="108" y="766"/>
                  </a:lnTo>
                  <a:lnTo>
                    <a:pt x="107" y="763"/>
                  </a:lnTo>
                  <a:lnTo>
                    <a:pt x="106" y="762"/>
                  </a:lnTo>
                  <a:lnTo>
                    <a:pt x="106" y="759"/>
                  </a:lnTo>
                  <a:lnTo>
                    <a:pt x="106" y="759"/>
                  </a:lnTo>
                  <a:lnTo>
                    <a:pt x="106" y="757"/>
                  </a:lnTo>
                  <a:lnTo>
                    <a:pt x="108" y="756"/>
                  </a:lnTo>
                  <a:lnTo>
                    <a:pt x="111" y="754"/>
                  </a:lnTo>
                  <a:lnTo>
                    <a:pt x="111" y="754"/>
                  </a:lnTo>
                  <a:lnTo>
                    <a:pt x="110" y="750"/>
                  </a:lnTo>
                  <a:lnTo>
                    <a:pt x="110" y="749"/>
                  </a:lnTo>
                  <a:lnTo>
                    <a:pt x="111" y="749"/>
                  </a:lnTo>
                  <a:lnTo>
                    <a:pt x="111" y="749"/>
                  </a:lnTo>
                  <a:lnTo>
                    <a:pt x="114" y="752"/>
                  </a:lnTo>
                  <a:lnTo>
                    <a:pt x="119" y="756"/>
                  </a:lnTo>
                  <a:lnTo>
                    <a:pt x="123" y="759"/>
                  </a:lnTo>
                  <a:lnTo>
                    <a:pt x="124" y="760"/>
                  </a:lnTo>
                  <a:lnTo>
                    <a:pt x="124" y="759"/>
                  </a:lnTo>
                  <a:lnTo>
                    <a:pt x="124" y="759"/>
                  </a:lnTo>
                  <a:lnTo>
                    <a:pt x="124" y="756"/>
                  </a:lnTo>
                  <a:lnTo>
                    <a:pt x="121" y="753"/>
                  </a:lnTo>
                  <a:lnTo>
                    <a:pt x="117" y="747"/>
                  </a:lnTo>
                  <a:lnTo>
                    <a:pt x="113" y="741"/>
                  </a:lnTo>
                  <a:lnTo>
                    <a:pt x="111" y="739"/>
                  </a:lnTo>
                  <a:lnTo>
                    <a:pt x="111" y="739"/>
                  </a:lnTo>
                  <a:lnTo>
                    <a:pt x="111" y="739"/>
                  </a:lnTo>
                  <a:lnTo>
                    <a:pt x="116" y="740"/>
                  </a:lnTo>
                  <a:lnTo>
                    <a:pt x="123" y="746"/>
                  </a:lnTo>
                  <a:lnTo>
                    <a:pt x="129" y="753"/>
                  </a:lnTo>
                  <a:lnTo>
                    <a:pt x="132" y="757"/>
                  </a:lnTo>
                  <a:lnTo>
                    <a:pt x="132" y="757"/>
                  </a:lnTo>
                  <a:lnTo>
                    <a:pt x="129" y="763"/>
                  </a:lnTo>
                  <a:lnTo>
                    <a:pt x="129" y="766"/>
                  </a:lnTo>
                  <a:lnTo>
                    <a:pt x="130" y="770"/>
                  </a:lnTo>
                  <a:lnTo>
                    <a:pt x="130" y="770"/>
                  </a:lnTo>
                  <a:lnTo>
                    <a:pt x="137" y="782"/>
                  </a:lnTo>
                  <a:lnTo>
                    <a:pt x="139" y="788"/>
                  </a:lnTo>
                  <a:lnTo>
                    <a:pt x="140" y="789"/>
                  </a:lnTo>
                  <a:lnTo>
                    <a:pt x="139" y="792"/>
                  </a:lnTo>
                  <a:close/>
                  <a:moveTo>
                    <a:pt x="158" y="825"/>
                  </a:moveTo>
                  <a:lnTo>
                    <a:pt x="158" y="825"/>
                  </a:lnTo>
                  <a:lnTo>
                    <a:pt x="162" y="828"/>
                  </a:lnTo>
                  <a:lnTo>
                    <a:pt x="165" y="831"/>
                  </a:lnTo>
                  <a:lnTo>
                    <a:pt x="165" y="833"/>
                  </a:lnTo>
                  <a:lnTo>
                    <a:pt x="165" y="833"/>
                  </a:lnTo>
                  <a:lnTo>
                    <a:pt x="162" y="833"/>
                  </a:lnTo>
                  <a:lnTo>
                    <a:pt x="159" y="833"/>
                  </a:lnTo>
                  <a:lnTo>
                    <a:pt x="152" y="830"/>
                  </a:lnTo>
                  <a:lnTo>
                    <a:pt x="152" y="830"/>
                  </a:lnTo>
                  <a:lnTo>
                    <a:pt x="152" y="828"/>
                  </a:lnTo>
                  <a:lnTo>
                    <a:pt x="153" y="827"/>
                  </a:lnTo>
                  <a:lnTo>
                    <a:pt x="158" y="825"/>
                  </a:lnTo>
                  <a:close/>
                  <a:moveTo>
                    <a:pt x="190" y="886"/>
                  </a:moveTo>
                  <a:lnTo>
                    <a:pt x="190" y="886"/>
                  </a:lnTo>
                  <a:lnTo>
                    <a:pt x="187" y="886"/>
                  </a:lnTo>
                  <a:lnTo>
                    <a:pt x="184" y="886"/>
                  </a:lnTo>
                  <a:lnTo>
                    <a:pt x="179" y="888"/>
                  </a:lnTo>
                  <a:lnTo>
                    <a:pt x="175" y="889"/>
                  </a:lnTo>
                  <a:lnTo>
                    <a:pt x="175" y="889"/>
                  </a:lnTo>
                  <a:lnTo>
                    <a:pt x="172" y="894"/>
                  </a:lnTo>
                  <a:lnTo>
                    <a:pt x="171" y="896"/>
                  </a:lnTo>
                  <a:lnTo>
                    <a:pt x="171" y="898"/>
                  </a:lnTo>
                  <a:lnTo>
                    <a:pt x="168" y="898"/>
                  </a:lnTo>
                  <a:lnTo>
                    <a:pt x="168" y="898"/>
                  </a:lnTo>
                  <a:lnTo>
                    <a:pt x="166" y="895"/>
                  </a:lnTo>
                  <a:lnTo>
                    <a:pt x="166" y="892"/>
                  </a:lnTo>
                  <a:lnTo>
                    <a:pt x="166" y="889"/>
                  </a:lnTo>
                  <a:lnTo>
                    <a:pt x="165" y="886"/>
                  </a:lnTo>
                  <a:lnTo>
                    <a:pt x="165" y="886"/>
                  </a:lnTo>
                  <a:lnTo>
                    <a:pt x="159" y="882"/>
                  </a:lnTo>
                  <a:lnTo>
                    <a:pt x="156" y="879"/>
                  </a:lnTo>
                  <a:lnTo>
                    <a:pt x="156" y="878"/>
                  </a:lnTo>
                  <a:lnTo>
                    <a:pt x="156" y="876"/>
                  </a:lnTo>
                  <a:lnTo>
                    <a:pt x="156" y="876"/>
                  </a:lnTo>
                  <a:lnTo>
                    <a:pt x="158" y="876"/>
                  </a:lnTo>
                  <a:lnTo>
                    <a:pt x="159" y="876"/>
                  </a:lnTo>
                  <a:lnTo>
                    <a:pt x="162" y="878"/>
                  </a:lnTo>
                  <a:lnTo>
                    <a:pt x="165" y="879"/>
                  </a:lnTo>
                  <a:lnTo>
                    <a:pt x="166" y="879"/>
                  </a:lnTo>
                  <a:lnTo>
                    <a:pt x="168" y="878"/>
                  </a:lnTo>
                  <a:lnTo>
                    <a:pt x="168" y="878"/>
                  </a:lnTo>
                  <a:lnTo>
                    <a:pt x="171" y="875"/>
                  </a:lnTo>
                  <a:lnTo>
                    <a:pt x="171" y="872"/>
                  </a:lnTo>
                  <a:lnTo>
                    <a:pt x="169" y="869"/>
                  </a:lnTo>
                  <a:lnTo>
                    <a:pt x="168" y="867"/>
                  </a:lnTo>
                  <a:lnTo>
                    <a:pt x="168" y="867"/>
                  </a:lnTo>
                  <a:lnTo>
                    <a:pt x="165" y="866"/>
                  </a:lnTo>
                  <a:lnTo>
                    <a:pt x="163" y="863"/>
                  </a:lnTo>
                  <a:lnTo>
                    <a:pt x="165" y="860"/>
                  </a:lnTo>
                  <a:lnTo>
                    <a:pt x="168" y="860"/>
                  </a:lnTo>
                  <a:lnTo>
                    <a:pt x="168" y="860"/>
                  </a:lnTo>
                  <a:lnTo>
                    <a:pt x="171" y="860"/>
                  </a:lnTo>
                  <a:lnTo>
                    <a:pt x="174" y="863"/>
                  </a:lnTo>
                  <a:lnTo>
                    <a:pt x="182" y="872"/>
                  </a:lnTo>
                  <a:lnTo>
                    <a:pt x="188" y="881"/>
                  </a:lnTo>
                  <a:lnTo>
                    <a:pt x="190" y="883"/>
                  </a:lnTo>
                  <a:lnTo>
                    <a:pt x="190" y="886"/>
                  </a:lnTo>
                  <a:close/>
                  <a:moveTo>
                    <a:pt x="469" y="849"/>
                  </a:moveTo>
                  <a:lnTo>
                    <a:pt x="469" y="849"/>
                  </a:lnTo>
                  <a:lnTo>
                    <a:pt x="466" y="853"/>
                  </a:lnTo>
                  <a:lnTo>
                    <a:pt x="465" y="856"/>
                  </a:lnTo>
                  <a:lnTo>
                    <a:pt x="465" y="856"/>
                  </a:lnTo>
                  <a:lnTo>
                    <a:pt x="466" y="859"/>
                  </a:lnTo>
                  <a:lnTo>
                    <a:pt x="468" y="860"/>
                  </a:lnTo>
                  <a:lnTo>
                    <a:pt x="466" y="862"/>
                  </a:lnTo>
                  <a:lnTo>
                    <a:pt x="466" y="862"/>
                  </a:lnTo>
                  <a:lnTo>
                    <a:pt x="465" y="865"/>
                  </a:lnTo>
                  <a:lnTo>
                    <a:pt x="463" y="867"/>
                  </a:lnTo>
                  <a:lnTo>
                    <a:pt x="463" y="867"/>
                  </a:lnTo>
                  <a:lnTo>
                    <a:pt x="465" y="875"/>
                  </a:lnTo>
                  <a:lnTo>
                    <a:pt x="465" y="879"/>
                  </a:lnTo>
                  <a:lnTo>
                    <a:pt x="465" y="881"/>
                  </a:lnTo>
                  <a:lnTo>
                    <a:pt x="463" y="881"/>
                  </a:lnTo>
                  <a:lnTo>
                    <a:pt x="463" y="881"/>
                  </a:lnTo>
                  <a:lnTo>
                    <a:pt x="457" y="879"/>
                  </a:lnTo>
                  <a:lnTo>
                    <a:pt x="455" y="876"/>
                  </a:lnTo>
                  <a:lnTo>
                    <a:pt x="455" y="873"/>
                  </a:lnTo>
                  <a:lnTo>
                    <a:pt x="455" y="873"/>
                  </a:lnTo>
                  <a:lnTo>
                    <a:pt x="455" y="870"/>
                  </a:lnTo>
                  <a:lnTo>
                    <a:pt x="456" y="867"/>
                  </a:lnTo>
                  <a:lnTo>
                    <a:pt x="457" y="866"/>
                  </a:lnTo>
                  <a:lnTo>
                    <a:pt x="457" y="865"/>
                  </a:lnTo>
                  <a:lnTo>
                    <a:pt x="457" y="865"/>
                  </a:lnTo>
                  <a:lnTo>
                    <a:pt x="456" y="862"/>
                  </a:lnTo>
                  <a:lnTo>
                    <a:pt x="455" y="860"/>
                  </a:lnTo>
                  <a:lnTo>
                    <a:pt x="453" y="859"/>
                  </a:lnTo>
                  <a:lnTo>
                    <a:pt x="452" y="856"/>
                  </a:lnTo>
                  <a:lnTo>
                    <a:pt x="452" y="856"/>
                  </a:lnTo>
                  <a:lnTo>
                    <a:pt x="455" y="854"/>
                  </a:lnTo>
                  <a:lnTo>
                    <a:pt x="459" y="852"/>
                  </a:lnTo>
                  <a:lnTo>
                    <a:pt x="463" y="849"/>
                  </a:lnTo>
                  <a:lnTo>
                    <a:pt x="465" y="847"/>
                  </a:lnTo>
                  <a:lnTo>
                    <a:pt x="465" y="846"/>
                  </a:lnTo>
                  <a:lnTo>
                    <a:pt x="465" y="846"/>
                  </a:lnTo>
                  <a:lnTo>
                    <a:pt x="462" y="836"/>
                  </a:lnTo>
                  <a:lnTo>
                    <a:pt x="462" y="831"/>
                  </a:lnTo>
                  <a:lnTo>
                    <a:pt x="462" y="831"/>
                  </a:lnTo>
                  <a:lnTo>
                    <a:pt x="463" y="831"/>
                  </a:lnTo>
                  <a:lnTo>
                    <a:pt x="463" y="831"/>
                  </a:lnTo>
                  <a:lnTo>
                    <a:pt x="466" y="836"/>
                  </a:lnTo>
                  <a:lnTo>
                    <a:pt x="468" y="840"/>
                  </a:lnTo>
                  <a:lnTo>
                    <a:pt x="469" y="844"/>
                  </a:lnTo>
                  <a:lnTo>
                    <a:pt x="469" y="849"/>
                  </a:lnTo>
                  <a:close/>
                  <a:moveTo>
                    <a:pt x="967" y="473"/>
                  </a:moveTo>
                  <a:lnTo>
                    <a:pt x="967" y="473"/>
                  </a:lnTo>
                  <a:lnTo>
                    <a:pt x="966" y="472"/>
                  </a:lnTo>
                  <a:lnTo>
                    <a:pt x="964" y="471"/>
                  </a:lnTo>
                  <a:lnTo>
                    <a:pt x="963" y="465"/>
                  </a:lnTo>
                  <a:lnTo>
                    <a:pt x="963" y="452"/>
                  </a:lnTo>
                  <a:lnTo>
                    <a:pt x="963" y="452"/>
                  </a:lnTo>
                  <a:lnTo>
                    <a:pt x="963" y="450"/>
                  </a:lnTo>
                  <a:lnTo>
                    <a:pt x="964" y="449"/>
                  </a:lnTo>
                  <a:lnTo>
                    <a:pt x="967" y="447"/>
                  </a:lnTo>
                  <a:lnTo>
                    <a:pt x="970" y="449"/>
                  </a:lnTo>
                  <a:lnTo>
                    <a:pt x="972" y="450"/>
                  </a:lnTo>
                  <a:lnTo>
                    <a:pt x="972" y="450"/>
                  </a:lnTo>
                  <a:lnTo>
                    <a:pt x="970" y="462"/>
                  </a:lnTo>
                  <a:lnTo>
                    <a:pt x="969" y="469"/>
                  </a:lnTo>
                  <a:lnTo>
                    <a:pt x="969" y="472"/>
                  </a:lnTo>
                  <a:lnTo>
                    <a:pt x="967" y="473"/>
                  </a:lnTo>
                  <a:close/>
                  <a:moveTo>
                    <a:pt x="1144" y="255"/>
                  </a:moveTo>
                  <a:lnTo>
                    <a:pt x="1144" y="255"/>
                  </a:lnTo>
                  <a:lnTo>
                    <a:pt x="1143" y="250"/>
                  </a:lnTo>
                  <a:lnTo>
                    <a:pt x="1143" y="249"/>
                  </a:lnTo>
                  <a:lnTo>
                    <a:pt x="1144" y="246"/>
                  </a:lnTo>
                  <a:lnTo>
                    <a:pt x="1143" y="243"/>
                  </a:lnTo>
                  <a:lnTo>
                    <a:pt x="1143" y="243"/>
                  </a:lnTo>
                  <a:lnTo>
                    <a:pt x="1140" y="239"/>
                  </a:lnTo>
                  <a:lnTo>
                    <a:pt x="1138" y="239"/>
                  </a:lnTo>
                  <a:lnTo>
                    <a:pt x="1138" y="237"/>
                  </a:lnTo>
                  <a:lnTo>
                    <a:pt x="1138" y="237"/>
                  </a:lnTo>
                  <a:lnTo>
                    <a:pt x="1141" y="237"/>
                  </a:lnTo>
                  <a:lnTo>
                    <a:pt x="1147" y="237"/>
                  </a:lnTo>
                  <a:lnTo>
                    <a:pt x="1151" y="237"/>
                  </a:lnTo>
                  <a:lnTo>
                    <a:pt x="1156" y="236"/>
                  </a:lnTo>
                  <a:lnTo>
                    <a:pt x="1156" y="236"/>
                  </a:lnTo>
                  <a:lnTo>
                    <a:pt x="1157" y="233"/>
                  </a:lnTo>
                  <a:lnTo>
                    <a:pt x="1158" y="229"/>
                  </a:lnTo>
                  <a:lnTo>
                    <a:pt x="1158" y="224"/>
                  </a:lnTo>
                  <a:lnTo>
                    <a:pt x="1157" y="221"/>
                  </a:lnTo>
                  <a:lnTo>
                    <a:pt x="1157" y="221"/>
                  </a:lnTo>
                  <a:lnTo>
                    <a:pt x="1156" y="219"/>
                  </a:lnTo>
                  <a:lnTo>
                    <a:pt x="1156" y="214"/>
                  </a:lnTo>
                  <a:lnTo>
                    <a:pt x="1157" y="213"/>
                  </a:lnTo>
                  <a:lnTo>
                    <a:pt x="1160" y="213"/>
                  </a:lnTo>
                  <a:lnTo>
                    <a:pt x="1160" y="213"/>
                  </a:lnTo>
                  <a:lnTo>
                    <a:pt x="1163" y="213"/>
                  </a:lnTo>
                  <a:lnTo>
                    <a:pt x="1163" y="216"/>
                  </a:lnTo>
                  <a:lnTo>
                    <a:pt x="1164" y="220"/>
                  </a:lnTo>
                  <a:lnTo>
                    <a:pt x="1166" y="224"/>
                  </a:lnTo>
                  <a:lnTo>
                    <a:pt x="1167" y="227"/>
                  </a:lnTo>
                  <a:lnTo>
                    <a:pt x="1169" y="227"/>
                  </a:lnTo>
                  <a:lnTo>
                    <a:pt x="1169" y="227"/>
                  </a:lnTo>
                  <a:lnTo>
                    <a:pt x="1172" y="227"/>
                  </a:lnTo>
                  <a:lnTo>
                    <a:pt x="1176" y="227"/>
                  </a:lnTo>
                  <a:lnTo>
                    <a:pt x="1180" y="226"/>
                  </a:lnTo>
                  <a:lnTo>
                    <a:pt x="1182" y="227"/>
                  </a:lnTo>
                  <a:lnTo>
                    <a:pt x="1182" y="227"/>
                  </a:lnTo>
                  <a:lnTo>
                    <a:pt x="1183" y="235"/>
                  </a:lnTo>
                  <a:lnTo>
                    <a:pt x="1182" y="237"/>
                  </a:lnTo>
                  <a:lnTo>
                    <a:pt x="1182" y="239"/>
                  </a:lnTo>
                  <a:lnTo>
                    <a:pt x="1180" y="239"/>
                  </a:lnTo>
                  <a:lnTo>
                    <a:pt x="1180" y="239"/>
                  </a:lnTo>
                  <a:lnTo>
                    <a:pt x="1177" y="237"/>
                  </a:lnTo>
                  <a:lnTo>
                    <a:pt x="1176" y="236"/>
                  </a:lnTo>
                  <a:lnTo>
                    <a:pt x="1176" y="236"/>
                  </a:lnTo>
                  <a:lnTo>
                    <a:pt x="1173" y="236"/>
                  </a:lnTo>
                  <a:lnTo>
                    <a:pt x="1173" y="236"/>
                  </a:lnTo>
                  <a:lnTo>
                    <a:pt x="1172" y="237"/>
                  </a:lnTo>
                  <a:lnTo>
                    <a:pt x="1172" y="239"/>
                  </a:lnTo>
                  <a:lnTo>
                    <a:pt x="1172" y="242"/>
                  </a:lnTo>
                  <a:lnTo>
                    <a:pt x="1170" y="242"/>
                  </a:lnTo>
                  <a:lnTo>
                    <a:pt x="1170" y="242"/>
                  </a:lnTo>
                  <a:lnTo>
                    <a:pt x="1167" y="240"/>
                  </a:lnTo>
                  <a:lnTo>
                    <a:pt x="1166" y="239"/>
                  </a:lnTo>
                  <a:lnTo>
                    <a:pt x="1164" y="240"/>
                  </a:lnTo>
                  <a:lnTo>
                    <a:pt x="1164" y="240"/>
                  </a:lnTo>
                  <a:lnTo>
                    <a:pt x="1164" y="242"/>
                  </a:lnTo>
                  <a:lnTo>
                    <a:pt x="1164" y="245"/>
                  </a:lnTo>
                  <a:lnTo>
                    <a:pt x="1164" y="248"/>
                  </a:lnTo>
                  <a:lnTo>
                    <a:pt x="1163" y="248"/>
                  </a:lnTo>
                  <a:lnTo>
                    <a:pt x="1163" y="248"/>
                  </a:lnTo>
                  <a:lnTo>
                    <a:pt x="1157" y="250"/>
                  </a:lnTo>
                  <a:lnTo>
                    <a:pt x="1154" y="250"/>
                  </a:lnTo>
                  <a:lnTo>
                    <a:pt x="1153" y="250"/>
                  </a:lnTo>
                  <a:lnTo>
                    <a:pt x="1153" y="250"/>
                  </a:lnTo>
                  <a:lnTo>
                    <a:pt x="1153" y="249"/>
                  </a:lnTo>
                  <a:lnTo>
                    <a:pt x="1153" y="246"/>
                  </a:lnTo>
                  <a:lnTo>
                    <a:pt x="1154" y="245"/>
                  </a:lnTo>
                  <a:lnTo>
                    <a:pt x="1153" y="243"/>
                  </a:lnTo>
                  <a:lnTo>
                    <a:pt x="1153" y="243"/>
                  </a:lnTo>
                  <a:lnTo>
                    <a:pt x="1151" y="243"/>
                  </a:lnTo>
                  <a:lnTo>
                    <a:pt x="1150" y="246"/>
                  </a:lnTo>
                  <a:lnTo>
                    <a:pt x="1148" y="250"/>
                  </a:lnTo>
                  <a:lnTo>
                    <a:pt x="1145" y="255"/>
                  </a:lnTo>
                  <a:lnTo>
                    <a:pt x="1145" y="256"/>
                  </a:lnTo>
                  <a:lnTo>
                    <a:pt x="1144" y="255"/>
                  </a:lnTo>
                  <a:close/>
                  <a:moveTo>
                    <a:pt x="1153" y="569"/>
                  </a:moveTo>
                  <a:lnTo>
                    <a:pt x="1153" y="569"/>
                  </a:lnTo>
                  <a:lnTo>
                    <a:pt x="1150" y="569"/>
                  </a:lnTo>
                  <a:lnTo>
                    <a:pt x="1148" y="569"/>
                  </a:lnTo>
                  <a:lnTo>
                    <a:pt x="1147" y="566"/>
                  </a:lnTo>
                  <a:lnTo>
                    <a:pt x="1147" y="563"/>
                  </a:lnTo>
                  <a:lnTo>
                    <a:pt x="1147" y="563"/>
                  </a:lnTo>
                  <a:lnTo>
                    <a:pt x="1153" y="552"/>
                  </a:lnTo>
                  <a:lnTo>
                    <a:pt x="1156" y="546"/>
                  </a:lnTo>
                  <a:lnTo>
                    <a:pt x="1158" y="542"/>
                  </a:lnTo>
                  <a:lnTo>
                    <a:pt x="1158" y="542"/>
                  </a:lnTo>
                  <a:lnTo>
                    <a:pt x="1161" y="540"/>
                  </a:lnTo>
                  <a:lnTo>
                    <a:pt x="1164" y="540"/>
                  </a:lnTo>
                  <a:lnTo>
                    <a:pt x="1166" y="540"/>
                  </a:lnTo>
                  <a:lnTo>
                    <a:pt x="1167" y="542"/>
                  </a:lnTo>
                  <a:lnTo>
                    <a:pt x="1167" y="542"/>
                  </a:lnTo>
                  <a:lnTo>
                    <a:pt x="1166" y="549"/>
                  </a:lnTo>
                  <a:lnTo>
                    <a:pt x="1161" y="558"/>
                  </a:lnTo>
                  <a:lnTo>
                    <a:pt x="1156" y="566"/>
                  </a:lnTo>
                  <a:lnTo>
                    <a:pt x="1153" y="569"/>
                  </a:lnTo>
                  <a:close/>
                  <a:moveTo>
                    <a:pt x="1185" y="534"/>
                  </a:moveTo>
                  <a:lnTo>
                    <a:pt x="1185" y="534"/>
                  </a:lnTo>
                  <a:lnTo>
                    <a:pt x="1177" y="533"/>
                  </a:lnTo>
                  <a:lnTo>
                    <a:pt x="1176" y="533"/>
                  </a:lnTo>
                  <a:lnTo>
                    <a:pt x="1174" y="531"/>
                  </a:lnTo>
                  <a:lnTo>
                    <a:pt x="1174" y="531"/>
                  </a:lnTo>
                  <a:lnTo>
                    <a:pt x="1176" y="526"/>
                  </a:lnTo>
                  <a:lnTo>
                    <a:pt x="1177" y="520"/>
                  </a:lnTo>
                  <a:lnTo>
                    <a:pt x="1177" y="520"/>
                  </a:lnTo>
                  <a:lnTo>
                    <a:pt x="1179" y="517"/>
                  </a:lnTo>
                  <a:lnTo>
                    <a:pt x="1182" y="514"/>
                  </a:lnTo>
                  <a:lnTo>
                    <a:pt x="1185" y="513"/>
                  </a:lnTo>
                  <a:lnTo>
                    <a:pt x="1186" y="513"/>
                  </a:lnTo>
                  <a:lnTo>
                    <a:pt x="1186" y="513"/>
                  </a:lnTo>
                  <a:lnTo>
                    <a:pt x="1186" y="513"/>
                  </a:lnTo>
                  <a:lnTo>
                    <a:pt x="1186" y="516"/>
                  </a:lnTo>
                  <a:lnTo>
                    <a:pt x="1185" y="518"/>
                  </a:lnTo>
                  <a:lnTo>
                    <a:pt x="1183" y="520"/>
                  </a:lnTo>
                  <a:lnTo>
                    <a:pt x="1182" y="523"/>
                  </a:lnTo>
                  <a:lnTo>
                    <a:pt x="1182" y="523"/>
                  </a:lnTo>
                  <a:lnTo>
                    <a:pt x="1185" y="530"/>
                  </a:lnTo>
                  <a:lnTo>
                    <a:pt x="1185" y="533"/>
                  </a:lnTo>
                  <a:lnTo>
                    <a:pt x="1185" y="534"/>
                  </a:lnTo>
                  <a:lnTo>
                    <a:pt x="1185" y="534"/>
                  </a:lnTo>
                  <a:close/>
                  <a:moveTo>
                    <a:pt x="1185" y="498"/>
                  </a:moveTo>
                  <a:lnTo>
                    <a:pt x="1185" y="498"/>
                  </a:lnTo>
                  <a:lnTo>
                    <a:pt x="1176" y="498"/>
                  </a:lnTo>
                  <a:lnTo>
                    <a:pt x="1172" y="498"/>
                  </a:lnTo>
                  <a:lnTo>
                    <a:pt x="1169" y="497"/>
                  </a:lnTo>
                  <a:lnTo>
                    <a:pt x="1169" y="497"/>
                  </a:lnTo>
                  <a:lnTo>
                    <a:pt x="1167" y="494"/>
                  </a:lnTo>
                  <a:lnTo>
                    <a:pt x="1166" y="492"/>
                  </a:lnTo>
                  <a:lnTo>
                    <a:pt x="1167" y="491"/>
                  </a:lnTo>
                  <a:lnTo>
                    <a:pt x="1170" y="491"/>
                  </a:lnTo>
                  <a:lnTo>
                    <a:pt x="1170" y="491"/>
                  </a:lnTo>
                  <a:lnTo>
                    <a:pt x="1182" y="491"/>
                  </a:lnTo>
                  <a:lnTo>
                    <a:pt x="1186" y="491"/>
                  </a:lnTo>
                  <a:lnTo>
                    <a:pt x="1187" y="491"/>
                  </a:lnTo>
                  <a:lnTo>
                    <a:pt x="1189" y="492"/>
                  </a:lnTo>
                  <a:lnTo>
                    <a:pt x="1189" y="492"/>
                  </a:lnTo>
                  <a:lnTo>
                    <a:pt x="1187" y="497"/>
                  </a:lnTo>
                  <a:lnTo>
                    <a:pt x="1185" y="498"/>
                  </a:lnTo>
                  <a:close/>
                  <a:moveTo>
                    <a:pt x="1263" y="203"/>
                  </a:moveTo>
                  <a:lnTo>
                    <a:pt x="1263" y="203"/>
                  </a:lnTo>
                  <a:lnTo>
                    <a:pt x="1264" y="204"/>
                  </a:lnTo>
                  <a:lnTo>
                    <a:pt x="1267" y="207"/>
                  </a:lnTo>
                  <a:lnTo>
                    <a:pt x="1269" y="210"/>
                  </a:lnTo>
                  <a:lnTo>
                    <a:pt x="1269" y="213"/>
                  </a:lnTo>
                  <a:lnTo>
                    <a:pt x="1269" y="213"/>
                  </a:lnTo>
                  <a:lnTo>
                    <a:pt x="1264" y="216"/>
                  </a:lnTo>
                  <a:lnTo>
                    <a:pt x="1263" y="216"/>
                  </a:lnTo>
                  <a:lnTo>
                    <a:pt x="1260" y="214"/>
                  </a:lnTo>
                  <a:lnTo>
                    <a:pt x="1260" y="214"/>
                  </a:lnTo>
                  <a:lnTo>
                    <a:pt x="1258" y="211"/>
                  </a:lnTo>
                  <a:lnTo>
                    <a:pt x="1258" y="207"/>
                  </a:lnTo>
                  <a:lnTo>
                    <a:pt x="1260" y="204"/>
                  </a:lnTo>
                  <a:lnTo>
                    <a:pt x="1263" y="203"/>
                  </a:lnTo>
                  <a:close/>
                  <a:moveTo>
                    <a:pt x="1315" y="985"/>
                  </a:moveTo>
                  <a:lnTo>
                    <a:pt x="1315" y="985"/>
                  </a:lnTo>
                  <a:lnTo>
                    <a:pt x="1311" y="996"/>
                  </a:lnTo>
                  <a:lnTo>
                    <a:pt x="1309" y="1005"/>
                  </a:lnTo>
                  <a:lnTo>
                    <a:pt x="1309" y="1005"/>
                  </a:lnTo>
                  <a:lnTo>
                    <a:pt x="1309" y="1008"/>
                  </a:lnTo>
                  <a:lnTo>
                    <a:pt x="1308" y="1009"/>
                  </a:lnTo>
                  <a:lnTo>
                    <a:pt x="1302" y="1011"/>
                  </a:lnTo>
                  <a:lnTo>
                    <a:pt x="1302" y="1011"/>
                  </a:lnTo>
                  <a:lnTo>
                    <a:pt x="1299" y="1012"/>
                  </a:lnTo>
                  <a:lnTo>
                    <a:pt x="1299" y="1014"/>
                  </a:lnTo>
                  <a:lnTo>
                    <a:pt x="1302" y="1018"/>
                  </a:lnTo>
                  <a:lnTo>
                    <a:pt x="1302" y="1018"/>
                  </a:lnTo>
                  <a:lnTo>
                    <a:pt x="1303" y="1020"/>
                  </a:lnTo>
                  <a:lnTo>
                    <a:pt x="1302" y="1022"/>
                  </a:lnTo>
                  <a:lnTo>
                    <a:pt x="1296" y="1025"/>
                  </a:lnTo>
                  <a:lnTo>
                    <a:pt x="1296" y="1025"/>
                  </a:lnTo>
                  <a:lnTo>
                    <a:pt x="1292" y="1028"/>
                  </a:lnTo>
                  <a:lnTo>
                    <a:pt x="1286" y="1034"/>
                  </a:lnTo>
                  <a:lnTo>
                    <a:pt x="1280" y="1041"/>
                  </a:lnTo>
                  <a:lnTo>
                    <a:pt x="1274" y="1046"/>
                  </a:lnTo>
                  <a:lnTo>
                    <a:pt x="1274" y="1046"/>
                  </a:lnTo>
                  <a:lnTo>
                    <a:pt x="1267" y="1050"/>
                  </a:lnTo>
                  <a:lnTo>
                    <a:pt x="1263" y="1053"/>
                  </a:lnTo>
                  <a:lnTo>
                    <a:pt x="1258" y="1057"/>
                  </a:lnTo>
                  <a:lnTo>
                    <a:pt x="1257" y="1063"/>
                  </a:lnTo>
                  <a:lnTo>
                    <a:pt x="1257" y="1063"/>
                  </a:lnTo>
                  <a:lnTo>
                    <a:pt x="1256" y="1067"/>
                  </a:lnTo>
                  <a:lnTo>
                    <a:pt x="1253" y="1070"/>
                  </a:lnTo>
                  <a:lnTo>
                    <a:pt x="1245" y="1075"/>
                  </a:lnTo>
                  <a:lnTo>
                    <a:pt x="1245" y="1075"/>
                  </a:lnTo>
                  <a:lnTo>
                    <a:pt x="1240" y="1076"/>
                  </a:lnTo>
                  <a:lnTo>
                    <a:pt x="1235" y="1075"/>
                  </a:lnTo>
                  <a:lnTo>
                    <a:pt x="1228" y="1075"/>
                  </a:lnTo>
                  <a:lnTo>
                    <a:pt x="1228" y="1075"/>
                  </a:lnTo>
                  <a:lnTo>
                    <a:pt x="1228" y="1075"/>
                  </a:lnTo>
                  <a:lnTo>
                    <a:pt x="1228" y="1073"/>
                  </a:lnTo>
                  <a:lnTo>
                    <a:pt x="1231" y="1072"/>
                  </a:lnTo>
                  <a:lnTo>
                    <a:pt x="1240" y="1067"/>
                  </a:lnTo>
                  <a:lnTo>
                    <a:pt x="1240" y="1067"/>
                  </a:lnTo>
                  <a:lnTo>
                    <a:pt x="1242" y="1064"/>
                  </a:lnTo>
                  <a:lnTo>
                    <a:pt x="1247" y="1060"/>
                  </a:lnTo>
                  <a:lnTo>
                    <a:pt x="1254" y="1051"/>
                  </a:lnTo>
                  <a:lnTo>
                    <a:pt x="1254" y="1051"/>
                  </a:lnTo>
                  <a:lnTo>
                    <a:pt x="1261" y="1041"/>
                  </a:lnTo>
                  <a:lnTo>
                    <a:pt x="1269" y="1033"/>
                  </a:lnTo>
                  <a:lnTo>
                    <a:pt x="1269" y="1033"/>
                  </a:lnTo>
                  <a:lnTo>
                    <a:pt x="1274" y="1022"/>
                  </a:lnTo>
                  <a:lnTo>
                    <a:pt x="1279" y="1018"/>
                  </a:lnTo>
                  <a:lnTo>
                    <a:pt x="1284" y="1014"/>
                  </a:lnTo>
                  <a:lnTo>
                    <a:pt x="1284" y="1014"/>
                  </a:lnTo>
                  <a:lnTo>
                    <a:pt x="1290" y="1008"/>
                  </a:lnTo>
                  <a:lnTo>
                    <a:pt x="1298" y="998"/>
                  </a:lnTo>
                  <a:lnTo>
                    <a:pt x="1308" y="980"/>
                  </a:lnTo>
                  <a:lnTo>
                    <a:pt x="1308" y="980"/>
                  </a:lnTo>
                  <a:lnTo>
                    <a:pt x="1312" y="972"/>
                  </a:lnTo>
                  <a:lnTo>
                    <a:pt x="1315" y="967"/>
                  </a:lnTo>
                  <a:lnTo>
                    <a:pt x="1318" y="965"/>
                  </a:lnTo>
                  <a:lnTo>
                    <a:pt x="1318" y="965"/>
                  </a:lnTo>
                  <a:lnTo>
                    <a:pt x="1318" y="965"/>
                  </a:lnTo>
                  <a:lnTo>
                    <a:pt x="1319" y="966"/>
                  </a:lnTo>
                  <a:lnTo>
                    <a:pt x="1319" y="972"/>
                  </a:lnTo>
                  <a:lnTo>
                    <a:pt x="1318" y="979"/>
                  </a:lnTo>
                  <a:lnTo>
                    <a:pt x="1315" y="985"/>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baseline="-25000" dirty="0">
                <a:solidFill>
                  <a:prstClr val="black"/>
                </a:solidFill>
                <a:ea typeface="+mn-ea"/>
                <a:cs typeface="+mn-cs"/>
              </a:endParaRPr>
            </a:p>
          </p:txBody>
        </p:sp>
        <p:sp>
          <p:nvSpPr>
            <p:cNvPr id="1095" name="Freeform 1155"/>
            <p:cNvSpPr>
              <a:spLocks/>
            </p:cNvSpPr>
            <p:nvPr/>
          </p:nvSpPr>
          <p:spPr bwMode="auto">
            <a:xfrm>
              <a:off x="5014913" y="1527604"/>
              <a:ext cx="4110038" cy="2081213"/>
            </a:xfrm>
            <a:custGeom>
              <a:avLst/>
              <a:gdLst>
                <a:gd name="T0" fmla="*/ 2475 w 2589"/>
                <a:gd name="T1" fmla="*/ 533 h 1311"/>
                <a:gd name="T2" fmla="*/ 2284 w 2589"/>
                <a:gd name="T3" fmla="*/ 456 h 1311"/>
                <a:gd name="T4" fmla="*/ 2239 w 2589"/>
                <a:gd name="T5" fmla="*/ 462 h 1311"/>
                <a:gd name="T6" fmla="*/ 2107 w 2589"/>
                <a:gd name="T7" fmla="*/ 431 h 1311"/>
                <a:gd name="T8" fmla="*/ 1910 w 2589"/>
                <a:gd name="T9" fmla="*/ 337 h 1311"/>
                <a:gd name="T10" fmla="*/ 1790 w 2589"/>
                <a:gd name="T11" fmla="*/ 346 h 1311"/>
                <a:gd name="T12" fmla="*/ 1768 w 2589"/>
                <a:gd name="T13" fmla="*/ 387 h 1311"/>
                <a:gd name="T14" fmla="*/ 1657 w 2589"/>
                <a:gd name="T15" fmla="*/ 416 h 1311"/>
                <a:gd name="T16" fmla="*/ 1577 w 2589"/>
                <a:gd name="T17" fmla="*/ 324 h 1311"/>
                <a:gd name="T18" fmla="*/ 1542 w 2589"/>
                <a:gd name="T19" fmla="*/ 261 h 1311"/>
                <a:gd name="T20" fmla="*/ 1448 w 2589"/>
                <a:gd name="T21" fmla="*/ 279 h 1311"/>
                <a:gd name="T22" fmla="*/ 1347 w 2589"/>
                <a:gd name="T23" fmla="*/ 226 h 1311"/>
                <a:gd name="T24" fmla="*/ 1368 w 2589"/>
                <a:gd name="T25" fmla="*/ 159 h 1311"/>
                <a:gd name="T26" fmla="*/ 1241 w 2589"/>
                <a:gd name="T27" fmla="*/ 52 h 1311"/>
                <a:gd name="T28" fmla="*/ 1138 w 2589"/>
                <a:gd name="T29" fmla="*/ 91 h 1311"/>
                <a:gd name="T30" fmla="*/ 1137 w 2589"/>
                <a:gd name="T31" fmla="*/ 129 h 1311"/>
                <a:gd name="T32" fmla="*/ 967 w 2589"/>
                <a:gd name="T33" fmla="*/ 171 h 1311"/>
                <a:gd name="T34" fmla="*/ 856 w 2589"/>
                <a:gd name="T35" fmla="*/ 314 h 1311"/>
                <a:gd name="T36" fmla="*/ 837 w 2589"/>
                <a:gd name="T37" fmla="*/ 310 h 1311"/>
                <a:gd name="T38" fmla="*/ 812 w 2589"/>
                <a:gd name="T39" fmla="*/ 366 h 1311"/>
                <a:gd name="T40" fmla="*/ 749 w 2589"/>
                <a:gd name="T41" fmla="*/ 405 h 1311"/>
                <a:gd name="T42" fmla="*/ 820 w 2589"/>
                <a:gd name="T43" fmla="*/ 569 h 1311"/>
                <a:gd name="T44" fmla="*/ 730 w 2589"/>
                <a:gd name="T45" fmla="*/ 644 h 1311"/>
                <a:gd name="T46" fmla="*/ 717 w 2589"/>
                <a:gd name="T47" fmla="*/ 460 h 1311"/>
                <a:gd name="T48" fmla="*/ 627 w 2589"/>
                <a:gd name="T49" fmla="*/ 389 h 1311"/>
                <a:gd name="T50" fmla="*/ 643 w 2589"/>
                <a:gd name="T51" fmla="*/ 513 h 1311"/>
                <a:gd name="T52" fmla="*/ 507 w 2589"/>
                <a:gd name="T53" fmla="*/ 517 h 1311"/>
                <a:gd name="T54" fmla="*/ 405 w 2589"/>
                <a:gd name="T55" fmla="*/ 539 h 1311"/>
                <a:gd name="T56" fmla="*/ 330 w 2589"/>
                <a:gd name="T57" fmla="*/ 575 h 1311"/>
                <a:gd name="T58" fmla="*/ 259 w 2589"/>
                <a:gd name="T59" fmla="*/ 562 h 1311"/>
                <a:gd name="T60" fmla="*/ 201 w 2589"/>
                <a:gd name="T61" fmla="*/ 675 h 1311"/>
                <a:gd name="T62" fmla="*/ 142 w 2589"/>
                <a:gd name="T63" fmla="*/ 701 h 1311"/>
                <a:gd name="T64" fmla="*/ 69 w 2589"/>
                <a:gd name="T65" fmla="*/ 584 h 1311"/>
                <a:gd name="T66" fmla="*/ 190 w 2589"/>
                <a:gd name="T67" fmla="*/ 530 h 1311"/>
                <a:gd name="T68" fmla="*/ 81 w 2589"/>
                <a:gd name="T69" fmla="*/ 456 h 1311"/>
                <a:gd name="T70" fmla="*/ 33 w 2589"/>
                <a:gd name="T71" fmla="*/ 639 h 1311"/>
                <a:gd name="T72" fmla="*/ 6 w 2589"/>
                <a:gd name="T73" fmla="*/ 843 h 1311"/>
                <a:gd name="T74" fmla="*/ 74 w 2589"/>
                <a:gd name="T75" fmla="*/ 1024 h 1311"/>
                <a:gd name="T76" fmla="*/ 184 w 2589"/>
                <a:gd name="T77" fmla="*/ 1175 h 1311"/>
                <a:gd name="T78" fmla="*/ 243 w 2589"/>
                <a:gd name="T79" fmla="*/ 1274 h 1311"/>
                <a:gd name="T80" fmla="*/ 339 w 2589"/>
                <a:gd name="T81" fmla="*/ 1189 h 1311"/>
                <a:gd name="T82" fmla="*/ 443 w 2589"/>
                <a:gd name="T83" fmla="*/ 1085 h 1311"/>
                <a:gd name="T84" fmla="*/ 599 w 2589"/>
                <a:gd name="T85" fmla="*/ 995 h 1311"/>
                <a:gd name="T86" fmla="*/ 814 w 2589"/>
                <a:gd name="T87" fmla="*/ 1044 h 1311"/>
                <a:gd name="T88" fmla="*/ 1076 w 2589"/>
                <a:gd name="T89" fmla="*/ 1093 h 1311"/>
                <a:gd name="T90" fmla="*/ 1266 w 2589"/>
                <a:gd name="T91" fmla="*/ 1104 h 1311"/>
                <a:gd name="T92" fmla="*/ 1487 w 2589"/>
                <a:gd name="T93" fmla="*/ 1047 h 1311"/>
                <a:gd name="T94" fmla="*/ 1670 w 2589"/>
                <a:gd name="T95" fmla="*/ 1164 h 1311"/>
                <a:gd name="T96" fmla="*/ 1670 w 2589"/>
                <a:gd name="T97" fmla="*/ 1285 h 1311"/>
                <a:gd name="T98" fmla="*/ 1832 w 2589"/>
                <a:gd name="T99" fmla="*/ 1062 h 1311"/>
                <a:gd name="T100" fmla="*/ 1762 w 2589"/>
                <a:gd name="T101" fmla="*/ 1008 h 1311"/>
                <a:gd name="T102" fmla="*/ 1919 w 2589"/>
                <a:gd name="T103" fmla="*/ 866 h 1311"/>
                <a:gd name="T104" fmla="*/ 1981 w 2589"/>
                <a:gd name="T105" fmla="*/ 882 h 1311"/>
                <a:gd name="T106" fmla="*/ 2090 w 2589"/>
                <a:gd name="T107" fmla="*/ 786 h 1311"/>
                <a:gd name="T108" fmla="*/ 2172 w 2589"/>
                <a:gd name="T109" fmla="*/ 753 h 1311"/>
                <a:gd name="T110" fmla="*/ 2051 w 2589"/>
                <a:gd name="T111" fmla="*/ 950 h 1311"/>
                <a:gd name="T112" fmla="*/ 2117 w 2589"/>
                <a:gd name="T113" fmla="*/ 1031 h 1311"/>
                <a:gd name="T114" fmla="*/ 2162 w 2589"/>
                <a:gd name="T115" fmla="*/ 933 h 1311"/>
                <a:gd name="T116" fmla="*/ 2219 w 2589"/>
                <a:gd name="T117" fmla="*/ 825 h 1311"/>
                <a:gd name="T118" fmla="*/ 2308 w 2589"/>
                <a:gd name="T119" fmla="*/ 788 h 1311"/>
                <a:gd name="T120" fmla="*/ 2381 w 2589"/>
                <a:gd name="T121" fmla="*/ 698 h 1311"/>
                <a:gd name="T122" fmla="*/ 2443 w 2589"/>
                <a:gd name="T123" fmla="*/ 621 h 1311"/>
                <a:gd name="T124" fmla="*/ 2549 w 2589"/>
                <a:gd name="T125" fmla="*/ 657 h 1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89" h="1311">
                  <a:moveTo>
                    <a:pt x="2581" y="611"/>
                  </a:moveTo>
                  <a:lnTo>
                    <a:pt x="2581" y="611"/>
                  </a:lnTo>
                  <a:lnTo>
                    <a:pt x="2576" y="607"/>
                  </a:lnTo>
                  <a:lnTo>
                    <a:pt x="2573" y="602"/>
                  </a:lnTo>
                  <a:lnTo>
                    <a:pt x="2572" y="594"/>
                  </a:lnTo>
                  <a:lnTo>
                    <a:pt x="2572" y="594"/>
                  </a:lnTo>
                  <a:lnTo>
                    <a:pt x="2571" y="591"/>
                  </a:lnTo>
                  <a:lnTo>
                    <a:pt x="2569" y="591"/>
                  </a:lnTo>
                  <a:lnTo>
                    <a:pt x="2565" y="594"/>
                  </a:lnTo>
                  <a:lnTo>
                    <a:pt x="2565" y="594"/>
                  </a:lnTo>
                  <a:lnTo>
                    <a:pt x="2563" y="594"/>
                  </a:lnTo>
                  <a:lnTo>
                    <a:pt x="2562" y="592"/>
                  </a:lnTo>
                  <a:lnTo>
                    <a:pt x="2560" y="586"/>
                  </a:lnTo>
                  <a:lnTo>
                    <a:pt x="2559" y="582"/>
                  </a:lnTo>
                  <a:lnTo>
                    <a:pt x="2558" y="581"/>
                  </a:lnTo>
                  <a:lnTo>
                    <a:pt x="2556" y="579"/>
                  </a:lnTo>
                  <a:lnTo>
                    <a:pt x="2556" y="579"/>
                  </a:lnTo>
                  <a:lnTo>
                    <a:pt x="2553" y="579"/>
                  </a:lnTo>
                  <a:lnTo>
                    <a:pt x="2549" y="578"/>
                  </a:lnTo>
                  <a:lnTo>
                    <a:pt x="2546" y="578"/>
                  </a:lnTo>
                  <a:lnTo>
                    <a:pt x="2543" y="578"/>
                  </a:lnTo>
                  <a:lnTo>
                    <a:pt x="2543" y="578"/>
                  </a:lnTo>
                  <a:lnTo>
                    <a:pt x="2536" y="576"/>
                  </a:lnTo>
                  <a:lnTo>
                    <a:pt x="2530" y="576"/>
                  </a:lnTo>
                  <a:lnTo>
                    <a:pt x="2527" y="578"/>
                  </a:lnTo>
                  <a:lnTo>
                    <a:pt x="2527" y="578"/>
                  </a:lnTo>
                  <a:lnTo>
                    <a:pt x="2524" y="582"/>
                  </a:lnTo>
                  <a:lnTo>
                    <a:pt x="2524" y="591"/>
                  </a:lnTo>
                  <a:lnTo>
                    <a:pt x="2523" y="598"/>
                  </a:lnTo>
                  <a:lnTo>
                    <a:pt x="2521" y="601"/>
                  </a:lnTo>
                  <a:lnTo>
                    <a:pt x="2521" y="602"/>
                  </a:lnTo>
                  <a:lnTo>
                    <a:pt x="2521" y="602"/>
                  </a:lnTo>
                  <a:lnTo>
                    <a:pt x="2520" y="601"/>
                  </a:lnTo>
                  <a:lnTo>
                    <a:pt x="2518" y="597"/>
                  </a:lnTo>
                  <a:lnTo>
                    <a:pt x="2518" y="585"/>
                  </a:lnTo>
                  <a:lnTo>
                    <a:pt x="2518" y="565"/>
                  </a:lnTo>
                  <a:lnTo>
                    <a:pt x="2518" y="565"/>
                  </a:lnTo>
                  <a:lnTo>
                    <a:pt x="2517" y="558"/>
                  </a:lnTo>
                  <a:lnTo>
                    <a:pt x="2516" y="553"/>
                  </a:lnTo>
                  <a:lnTo>
                    <a:pt x="2514" y="552"/>
                  </a:lnTo>
                  <a:lnTo>
                    <a:pt x="2514" y="552"/>
                  </a:lnTo>
                  <a:lnTo>
                    <a:pt x="2503" y="552"/>
                  </a:lnTo>
                  <a:lnTo>
                    <a:pt x="2488" y="550"/>
                  </a:lnTo>
                  <a:lnTo>
                    <a:pt x="2488" y="550"/>
                  </a:lnTo>
                  <a:lnTo>
                    <a:pt x="2485" y="549"/>
                  </a:lnTo>
                  <a:lnTo>
                    <a:pt x="2484" y="546"/>
                  </a:lnTo>
                  <a:lnTo>
                    <a:pt x="2479" y="542"/>
                  </a:lnTo>
                  <a:lnTo>
                    <a:pt x="2476" y="536"/>
                  </a:lnTo>
                  <a:lnTo>
                    <a:pt x="2475" y="533"/>
                  </a:lnTo>
                  <a:lnTo>
                    <a:pt x="2472" y="531"/>
                  </a:lnTo>
                  <a:lnTo>
                    <a:pt x="2472" y="531"/>
                  </a:lnTo>
                  <a:lnTo>
                    <a:pt x="2462" y="529"/>
                  </a:lnTo>
                  <a:lnTo>
                    <a:pt x="2456" y="526"/>
                  </a:lnTo>
                  <a:lnTo>
                    <a:pt x="2450" y="523"/>
                  </a:lnTo>
                  <a:lnTo>
                    <a:pt x="2450" y="523"/>
                  </a:lnTo>
                  <a:lnTo>
                    <a:pt x="2443" y="517"/>
                  </a:lnTo>
                  <a:lnTo>
                    <a:pt x="2433" y="511"/>
                  </a:lnTo>
                  <a:lnTo>
                    <a:pt x="2433" y="511"/>
                  </a:lnTo>
                  <a:lnTo>
                    <a:pt x="2427" y="507"/>
                  </a:lnTo>
                  <a:lnTo>
                    <a:pt x="2424" y="504"/>
                  </a:lnTo>
                  <a:lnTo>
                    <a:pt x="2419" y="497"/>
                  </a:lnTo>
                  <a:lnTo>
                    <a:pt x="2419" y="497"/>
                  </a:lnTo>
                  <a:lnTo>
                    <a:pt x="2416" y="494"/>
                  </a:lnTo>
                  <a:lnTo>
                    <a:pt x="2413" y="494"/>
                  </a:lnTo>
                  <a:lnTo>
                    <a:pt x="2410" y="494"/>
                  </a:lnTo>
                  <a:lnTo>
                    <a:pt x="2405" y="492"/>
                  </a:lnTo>
                  <a:lnTo>
                    <a:pt x="2405" y="492"/>
                  </a:lnTo>
                  <a:lnTo>
                    <a:pt x="2404" y="489"/>
                  </a:lnTo>
                  <a:lnTo>
                    <a:pt x="2403" y="485"/>
                  </a:lnTo>
                  <a:lnTo>
                    <a:pt x="2401" y="481"/>
                  </a:lnTo>
                  <a:lnTo>
                    <a:pt x="2400" y="478"/>
                  </a:lnTo>
                  <a:lnTo>
                    <a:pt x="2398" y="478"/>
                  </a:lnTo>
                  <a:lnTo>
                    <a:pt x="2398" y="478"/>
                  </a:lnTo>
                  <a:lnTo>
                    <a:pt x="2377" y="469"/>
                  </a:lnTo>
                  <a:lnTo>
                    <a:pt x="2377" y="469"/>
                  </a:lnTo>
                  <a:lnTo>
                    <a:pt x="2372" y="466"/>
                  </a:lnTo>
                  <a:lnTo>
                    <a:pt x="2371" y="462"/>
                  </a:lnTo>
                  <a:lnTo>
                    <a:pt x="2368" y="458"/>
                  </a:lnTo>
                  <a:lnTo>
                    <a:pt x="2362" y="453"/>
                  </a:lnTo>
                  <a:lnTo>
                    <a:pt x="2362" y="453"/>
                  </a:lnTo>
                  <a:lnTo>
                    <a:pt x="2356" y="452"/>
                  </a:lnTo>
                  <a:lnTo>
                    <a:pt x="2349" y="450"/>
                  </a:lnTo>
                  <a:lnTo>
                    <a:pt x="2333" y="450"/>
                  </a:lnTo>
                  <a:lnTo>
                    <a:pt x="2316" y="452"/>
                  </a:lnTo>
                  <a:lnTo>
                    <a:pt x="2303" y="452"/>
                  </a:lnTo>
                  <a:lnTo>
                    <a:pt x="2303" y="452"/>
                  </a:lnTo>
                  <a:lnTo>
                    <a:pt x="2294" y="449"/>
                  </a:lnTo>
                  <a:lnTo>
                    <a:pt x="2288" y="446"/>
                  </a:lnTo>
                  <a:lnTo>
                    <a:pt x="2284" y="443"/>
                  </a:lnTo>
                  <a:lnTo>
                    <a:pt x="2282" y="443"/>
                  </a:lnTo>
                  <a:lnTo>
                    <a:pt x="2281" y="445"/>
                  </a:lnTo>
                  <a:lnTo>
                    <a:pt x="2281" y="445"/>
                  </a:lnTo>
                  <a:lnTo>
                    <a:pt x="2279" y="447"/>
                  </a:lnTo>
                  <a:lnTo>
                    <a:pt x="2279" y="450"/>
                  </a:lnTo>
                  <a:lnTo>
                    <a:pt x="2284" y="455"/>
                  </a:lnTo>
                  <a:lnTo>
                    <a:pt x="2284" y="455"/>
                  </a:lnTo>
                  <a:lnTo>
                    <a:pt x="2284" y="455"/>
                  </a:lnTo>
                  <a:lnTo>
                    <a:pt x="2284" y="456"/>
                  </a:lnTo>
                  <a:lnTo>
                    <a:pt x="2281" y="456"/>
                  </a:lnTo>
                  <a:lnTo>
                    <a:pt x="2277" y="459"/>
                  </a:lnTo>
                  <a:lnTo>
                    <a:pt x="2275" y="460"/>
                  </a:lnTo>
                  <a:lnTo>
                    <a:pt x="2275" y="460"/>
                  </a:lnTo>
                  <a:lnTo>
                    <a:pt x="2275" y="463"/>
                  </a:lnTo>
                  <a:lnTo>
                    <a:pt x="2277" y="466"/>
                  </a:lnTo>
                  <a:lnTo>
                    <a:pt x="2278" y="469"/>
                  </a:lnTo>
                  <a:lnTo>
                    <a:pt x="2282" y="471"/>
                  </a:lnTo>
                  <a:lnTo>
                    <a:pt x="2282" y="471"/>
                  </a:lnTo>
                  <a:lnTo>
                    <a:pt x="2284" y="472"/>
                  </a:lnTo>
                  <a:lnTo>
                    <a:pt x="2285" y="473"/>
                  </a:lnTo>
                  <a:lnTo>
                    <a:pt x="2282" y="479"/>
                  </a:lnTo>
                  <a:lnTo>
                    <a:pt x="2282" y="479"/>
                  </a:lnTo>
                  <a:lnTo>
                    <a:pt x="2282" y="482"/>
                  </a:lnTo>
                  <a:lnTo>
                    <a:pt x="2282" y="485"/>
                  </a:lnTo>
                  <a:lnTo>
                    <a:pt x="2284" y="488"/>
                  </a:lnTo>
                  <a:lnTo>
                    <a:pt x="2285" y="489"/>
                  </a:lnTo>
                  <a:lnTo>
                    <a:pt x="2285" y="489"/>
                  </a:lnTo>
                  <a:lnTo>
                    <a:pt x="2287" y="492"/>
                  </a:lnTo>
                  <a:lnTo>
                    <a:pt x="2285" y="495"/>
                  </a:lnTo>
                  <a:lnTo>
                    <a:pt x="2281" y="498"/>
                  </a:lnTo>
                  <a:lnTo>
                    <a:pt x="2281" y="498"/>
                  </a:lnTo>
                  <a:lnTo>
                    <a:pt x="2279" y="500"/>
                  </a:lnTo>
                  <a:lnTo>
                    <a:pt x="2278" y="504"/>
                  </a:lnTo>
                  <a:lnTo>
                    <a:pt x="2277" y="508"/>
                  </a:lnTo>
                  <a:lnTo>
                    <a:pt x="2274" y="510"/>
                  </a:lnTo>
                  <a:lnTo>
                    <a:pt x="2274" y="510"/>
                  </a:lnTo>
                  <a:lnTo>
                    <a:pt x="2271" y="510"/>
                  </a:lnTo>
                  <a:lnTo>
                    <a:pt x="2269" y="507"/>
                  </a:lnTo>
                  <a:lnTo>
                    <a:pt x="2266" y="502"/>
                  </a:lnTo>
                  <a:lnTo>
                    <a:pt x="2266" y="502"/>
                  </a:lnTo>
                  <a:lnTo>
                    <a:pt x="2265" y="501"/>
                  </a:lnTo>
                  <a:lnTo>
                    <a:pt x="2265" y="502"/>
                  </a:lnTo>
                  <a:lnTo>
                    <a:pt x="2264" y="505"/>
                  </a:lnTo>
                  <a:lnTo>
                    <a:pt x="2264" y="513"/>
                  </a:lnTo>
                  <a:lnTo>
                    <a:pt x="2264" y="513"/>
                  </a:lnTo>
                  <a:lnTo>
                    <a:pt x="2262" y="511"/>
                  </a:lnTo>
                  <a:lnTo>
                    <a:pt x="2259" y="505"/>
                  </a:lnTo>
                  <a:lnTo>
                    <a:pt x="2258" y="498"/>
                  </a:lnTo>
                  <a:lnTo>
                    <a:pt x="2256" y="494"/>
                  </a:lnTo>
                  <a:lnTo>
                    <a:pt x="2256" y="494"/>
                  </a:lnTo>
                  <a:lnTo>
                    <a:pt x="2255" y="491"/>
                  </a:lnTo>
                  <a:lnTo>
                    <a:pt x="2251" y="487"/>
                  </a:lnTo>
                  <a:lnTo>
                    <a:pt x="2246" y="484"/>
                  </a:lnTo>
                  <a:lnTo>
                    <a:pt x="2243" y="479"/>
                  </a:lnTo>
                  <a:lnTo>
                    <a:pt x="2243" y="479"/>
                  </a:lnTo>
                  <a:lnTo>
                    <a:pt x="2242" y="473"/>
                  </a:lnTo>
                  <a:lnTo>
                    <a:pt x="2240" y="468"/>
                  </a:lnTo>
                  <a:lnTo>
                    <a:pt x="2239" y="462"/>
                  </a:lnTo>
                  <a:lnTo>
                    <a:pt x="2237" y="459"/>
                  </a:lnTo>
                  <a:lnTo>
                    <a:pt x="2237" y="459"/>
                  </a:lnTo>
                  <a:lnTo>
                    <a:pt x="2236" y="458"/>
                  </a:lnTo>
                  <a:lnTo>
                    <a:pt x="2235" y="459"/>
                  </a:lnTo>
                  <a:lnTo>
                    <a:pt x="2233" y="465"/>
                  </a:lnTo>
                  <a:lnTo>
                    <a:pt x="2233" y="465"/>
                  </a:lnTo>
                  <a:lnTo>
                    <a:pt x="2232" y="466"/>
                  </a:lnTo>
                  <a:lnTo>
                    <a:pt x="2227" y="466"/>
                  </a:lnTo>
                  <a:lnTo>
                    <a:pt x="2216" y="466"/>
                  </a:lnTo>
                  <a:lnTo>
                    <a:pt x="2203" y="465"/>
                  </a:lnTo>
                  <a:lnTo>
                    <a:pt x="2193" y="463"/>
                  </a:lnTo>
                  <a:lnTo>
                    <a:pt x="2193" y="463"/>
                  </a:lnTo>
                  <a:lnTo>
                    <a:pt x="2185" y="460"/>
                  </a:lnTo>
                  <a:lnTo>
                    <a:pt x="2174" y="459"/>
                  </a:lnTo>
                  <a:lnTo>
                    <a:pt x="2164" y="458"/>
                  </a:lnTo>
                  <a:lnTo>
                    <a:pt x="2156" y="459"/>
                  </a:lnTo>
                  <a:lnTo>
                    <a:pt x="2156" y="459"/>
                  </a:lnTo>
                  <a:lnTo>
                    <a:pt x="2151" y="462"/>
                  </a:lnTo>
                  <a:lnTo>
                    <a:pt x="2146" y="466"/>
                  </a:lnTo>
                  <a:lnTo>
                    <a:pt x="2143" y="471"/>
                  </a:lnTo>
                  <a:lnTo>
                    <a:pt x="2140" y="473"/>
                  </a:lnTo>
                  <a:lnTo>
                    <a:pt x="2140" y="473"/>
                  </a:lnTo>
                  <a:lnTo>
                    <a:pt x="2139" y="479"/>
                  </a:lnTo>
                  <a:lnTo>
                    <a:pt x="2139" y="487"/>
                  </a:lnTo>
                  <a:lnTo>
                    <a:pt x="2139" y="494"/>
                  </a:lnTo>
                  <a:lnTo>
                    <a:pt x="2138" y="498"/>
                  </a:lnTo>
                  <a:lnTo>
                    <a:pt x="2138" y="498"/>
                  </a:lnTo>
                  <a:lnTo>
                    <a:pt x="2136" y="498"/>
                  </a:lnTo>
                  <a:lnTo>
                    <a:pt x="2135" y="497"/>
                  </a:lnTo>
                  <a:lnTo>
                    <a:pt x="2133" y="491"/>
                  </a:lnTo>
                  <a:lnTo>
                    <a:pt x="2133" y="485"/>
                  </a:lnTo>
                  <a:lnTo>
                    <a:pt x="2133" y="479"/>
                  </a:lnTo>
                  <a:lnTo>
                    <a:pt x="2133" y="479"/>
                  </a:lnTo>
                  <a:lnTo>
                    <a:pt x="2133" y="478"/>
                  </a:lnTo>
                  <a:lnTo>
                    <a:pt x="2130" y="475"/>
                  </a:lnTo>
                  <a:lnTo>
                    <a:pt x="2127" y="473"/>
                  </a:lnTo>
                  <a:lnTo>
                    <a:pt x="2125" y="469"/>
                  </a:lnTo>
                  <a:lnTo>
                    <a:pt x="2125" y="469"/>
                  </a:lnTo>
                  <a:lnTo>
                    <a:pt x="2111" y="455"/>
                  </a:lnTo>
                  <a:lnTo>
                    <a:pt x="2111" y="455"/>
                  </a:lnTo>
                  <a:lnTo>
                    <a:pt x="2110" y="453"/>
                  </a:lnTo>
                  <a:lnTo>
                    <a:pt x="2110" y="452"/>
                  </a:lnTo>
                  <a:lnTo>
                    <a:pt x="2111" y="450"/>
                  </a:lnTo>
                  <a:lnTo>
                    <a:pt x="2111" y="447"/>
                  </a:lnTo>
                  <a:lnTo>
                    <a:pt x="2111" y="447"/>
                  </a:lnTo>
                  <a:lnTo>
                    <a:pt x="2113" y="445"/>
                  </a:lnTo>
                  <a:lnTo>
                    <a:pt x="2111" y="442"/>
                  </a:lnTo>
                  <a:lnTo>
                    <a:pt x="2107" y="431"/>
                  </a:lnTo>
                  <a:lnTo>
                    <a:pt x="2107" y="431"/>
                  </a:lnTo>
                  <a:lnTo>
                    <a:pt x="2106" y="426"/>
                  </a:lnTo>
                  <a:lnTo>
                    <a:pt x="2101" y="417"/>
                  </a:lnTo>
                  <a:lnTo>
                    <a:pt x="2096" y="410"/>
                  </a:lnTo>
                  <a:lnTo>
                    <a:pt x="2093" y="405"/>
                  </a:lnTo>
                  <a:lnTo>
                    <a:pt x="2090" y="404"/>
                  </a:lnTo>
                  <a:lnTo>
                    <a:pt x="2090" y="404"/>
                  </a:lnTo>
                  <a:lnTo>
                    <a:pt x="2085" y="403"/>
                  </a:lnTo>
                  <a:lnTo>
                    <a:pt x="2080" y="401"/>
                  </a:lnTo>
                  <a:lnTo>
                    <a:pt x="2065" y="401"/>
                  </a:lnTo>
                  <a:lnTo>
                    <a:pt x="2038" y="404"/>
                  </a:lnTo>
                  <a:lnTo>
                    <a:pt x="2038" y="404"/>
                  </a:lnTo>
                  <a:lnTo>
                    <a:pt x="2014" y="410"/>
                  </a:lnTo>
                  <a:lnTo>
                    <a:pt x="2004" y="411"/>
                  </a:lnTo>
                  <a:lnTo>
                    <a:pt x="1997" y="413"/>
                  </a:lnTo>
                  <a:lnTo>
                    <a:pt x="1997" y="413"/>
                  </a:lnTo>
                  <a:lnTo>
                    <a:pt x="1991" y="411"/>
                  </a:lnTo>
                  <a:lnTo>
                    <a:pt x="1985" y="408"/>
                  </a:lnTo>
                  <a:lnTo>
                    <a:pt x="1977" y="403"/>
                  </a:lnTo>
                  <a:lnTo>
                    <a:pt x="1977" y="403"/>
                  </a:lnTo>
                  <a:lnTo>
                    <a:pt x="1972" y="397"/>
                  </a:lnTo>
                  <a:lnTo>
                    <a:pt x="1967" y="389"/>
                  </a:lnTo>
                  <a:lnTo>
                    <a:pt x="1958" y="375"/>
                  </a:lnTo>
                  <a:lnTo>
                    <a:pt x="1958" y="375"/>
                  </a:lnTo>
                  <a:lnTo>
                    <a:pt x="1954" y="372"/>
                  </a:lnTo>
                  <a:lnTo>
                    <a:pt x="1951" y="371"/>
                  </a:lnTo>
                  <a:lnTo>
                    <a:pt x="1948" y="369"/>
                  </a:lnTo>
                  <a:lnTo>
                    <a:pt x="1946" y="366"/>
                  </a:lnTo>
                  <a:lnTo>
                    <a:pt x="1946" y="366"/>
                  </a:lnTo>
                  <a:lnTo>
                    <a:pt x="1949" y="365"/>
                  </a:lnTo>
                  <a:lnTo>
                    <a:pt x="1952" y="365"/>
                  </a:lnTo>
                  <a:lnTo>
                    <a:pt x="1958" y="366"/>
                  </a:lnTo>
                  <a:lnTo>
                    <a:pt x="1958" y="366"/>
                  </a:lnTo>
                  <a:lnTo>
                    <a:pt x="1958" y="365"/>
                  </a:lnTo>
                  <a:lnTo>
                    <a:pt x="1958" y="361"/>
                  </a:lnTo>
                  <a:lnTo>
                    <a:pt x="1956" y="350"/>
                  </a:lnTo>
                  <a:lnTo>
                    <a:pt x="1956" y="350"/>
                  </a:lnTo>
                  <a:lnTo>
                    <a:pt x="1954" y="347"/>
                  </a:lnTo>
                  <a:lnTo>
                    <a:pt x="1949" y="343"/>
                  </a:lnTo>
                  <a:lnTo>
                    <a:pt x="1943" y="340"/>
                  </a:lnTo>
                  <a:lnTo>
                    <a:pt x="1936" y="340"/>
                  </a:lnTo>
                  <a:lnTo>
                    <a:pt x="1936" y="340"/>
                  </a:lnTo>
                  <a:lnTo>
                    <a:pt x="1930" y="339"/>
                  </a:lnTo>
                  <a:lnTo>
                    <a:pt x="1926" y="337"/>
                  </a:lnTo>
                  <a:lnTo>
                    <a:pt x="1922" y="336"/>
                  </a:lnTo>
                  <a:lnTo>
                    <a:pt x="1917" y="336"/>
                  </a:lnTo>
                  <a:lnTo>
                    <a:pt x="1917" y="336"/>
                  </a:lnTo>
                  <a:lnTo>
                    <a:pt x="1913" y="336"/>
                  </a:lnTo>
                  <a:lnTo>
                    <a:pt x="1910" y="337"/>
                  </a:lnTo>
                  <a:lnTo>
                    <a:pt x="1910" y="337"/>
                  </a:lnTo>
                  <a:lnTo>
                    <a:pt x="1909" y="339"/>
                  </a:lnTo>
                  <a:lnTo>
                    <a:pt x="1909" y="339"/>
                  </a:lnTo>
                  <a:lnTo>
                    <a:pt x="1903" y="339"/>
                  </a:lnTo>
                  <a:lnTo>
                    <a:pt x="1897" y="337"/>
                  </a:lnTo>
                  <a:lnTo>
                    <a:pt x="1897" y="337"/>
                  </a:lnTo>
                  <a:lnTo>
                    <a:pt x="1893" y="339"/>
                  </a:lnTo>
                  <a:lnTo>
                    <a:pt x="1890" y="340"/>
                  </a:lnTo>
                  <a:lnTo>
                    <a:pt x="1884" y="346"/>
                  </a:lnTo>
                  <a:lnTo>
                    <a:pt x="1884" y="346"/>
                  </a:lnTo>
                  <a:lnTo>
                    <a:pt x="1880" y="346"/>
                  </a:lnTo>
                  <a:lnTo>
                    <a:pt x="1875" y="347"/>
                  </a:lnTo>
                  <a:lnTo>
                    <a:pt x="1864" y="346"/>
                  </a:lnTo>
                  <a:lnTo>
                    <a:pt x="1864" y="346"/>
                  </a:lnTo>
                  <a:lnTo>
                    <a:pt x="1861" y="346"/>
                  </a:lnTo>
                  <a:lnTo>
                    <a:pt x="1861" y="345"/>
                  </a:lnTo>
                  <a:lnTo>
                    <a:pt x="1867" y="340"/>
                  </a:lnTo>
                  <a:lnTo>
                    <a:pt x="1867" y="340"/>
                  </a:lnTo>
                  <a:lnTo>
                    <a:pt x="1868" y="337"/>
                  </a:lnTo>
                  <a:lnTo>
                    <a:pt x="1868" y="336"/>
                  </a:lnTo>
                  <a:lnTo>
                    <a:pt x="1867" y="332"/>
                  </a:lnTo>
                  <a:lnTo>
                    <a:pt x="1867" y="332"/>
                  </a:lnTo>
                  <a:lnTo>
                    <a:pt x="1867" y="330"/>
                  </a:lnTo>
                  <a:lnTo>
                    <a:pt x="1868" y="329"/>
                  </a:lnTo>
                  <a:lnTo>
                    <a:pt x="1874" y="327"/>
                  </a:lnTo>
                  <a:lnTo>
                    <a:pt x="1874" y="327"/>
                  </a:lnTo>
                  <a:lnTo>
                    <a:pt x="1890" y="332"/>
                  </a:lnTo>
                  <a:lnTo>
                    <a:pt x="1899" y="334"/>
                  </a:lnTo>
                  <a:lnTo>
                    <a:pt x="1906" y="334"/>
                  </a:lnTo>
                  <a:lnTo>
                    <a:pt x="1906" y="334"/>
                  </a:lnTo>
                  <a:lnTo>
                    <a:pt x="1906" y="333"/>
                  </a:lnTo>
                  <a:lnTo>
                    <a:pt x="1904" y="332"/>
                  </a:lnTo>
                  <a:lnTo>
                    <a:pt x="1893" y="327"/>
                  </a:lnTo>
                  <a:lnTo>
                    <a:pt x="1880" y="323"/>
                  </a:lnTo>
                  <a:lnTo>
                    <a:pt x="1867" y="321"/>
                  </a:lnTo>
                  <a:lnTo>
                    <a:pt x="1867" y="321"/>
                  </a:lnTo>
                  <a:lnTo>
                    <a:pt x="1842" y="319"/>
                  </a:lnTo>
                  <a:lnTo>
                    <a:pt x="1829" y="319"/>
                  </a:lnTo>
                  <a:lnTo>
                    <a:pt x="1822" y="319"/>
                  </a:lnTo>
                  <a:lnTo>
                    <a:pt x="1822" y="319"/>
                  </a:lnTo>
                  <a:lnTo>
                    <a:pt x="1806" y="324"/>
                  </a:lnTo>
                  <a:lnTo>
                    <a:pt x="1791" y="327"/>
                  </a:lnTo>
                  <a:lnTo>
                    <a:pt x="1791" y="327"/>
                  </a:lnTo>
                  <a:lnTo>
                    <a:pt x="1790" y="330"/>
                  </a:lnTo>
                  <a:lnTo>
                    <a:pt x="1787" y="333"/>
                  </a:lnTo>
                  <a:lnTo>
                    <a:pt x="1787" y="339"/>
                  </a:lnTo>
                  <a:lnTo>
                    <a:pt x="1787" y="343"/>
                  </a:lnTo>
                  <a:lnTo>
                    <a:pt x="1787" y="343"/>
                  </a:lnTo>
                  <a:lnTo>
                    <a:pt x="1788" y="346"/>
                  </a:lnTo>
                  <a:lnTo>
                    <a:pt x="1790" y="346"/>
                  </a:lnTo>
                  <a:lnTo>
                    <a:pt x="1793" y="342"/>
                  </a:lnTo>
                  <a:lnTo>
                    <a:pt x="1793" y="342"/>
                  </a:lnTo>
                  <a:lnTo>
                    <a:pt x="1796" y="342"/>
                  </a:lnTo>
                  <a:lnTo>
                    <a:pt x="1797" y="343"/>
                  </a:lnTo>
                  <a:lnTo>
                    <a:pt x="1799" y="345"/>
                  </a:lnTo>
                  <a:lnTo>
                    <a:pt x="1803" y="346"/>
                  </a:lnTo>
                  <a:lnTo>
                    <a:pt x="1803" y="346"/>
                  </a:lnTo>
                  <a:lnTo>
                    <a:pt x="1804" y="347"/>
                  </a:lnTo>
                  <a:lnTo>
                    <a:pt x="1802" y="347"/>
                  </a:lnTo>
                  <a:lnTo>
                    <a:pt x="1799" y="347"/>
                  </a:lnTo>
                  <a:lnTo>
                    <a:pt x="1797" y="349"/>
                  </a:lnTo>
                  <a:lnTo>
                    <a:pt x="1797" y="349"/>
                  </a:lnTo>
                  <a:lnTo>
                    <a:pt x="1797" y="350"/>
                  </a:lnTo>
                  <a:lnTo>
                    <a:pt x="1796" y="350"/>
                  </a:lnTo>
                  <a:lnTo>
                    <a:pt x="1791" y="356"/>
                  </a:lnTo>
                  <a:lnTo>
                    <a:pt x="1791" y="356"/>
                  </a:lnTo>
                  <a:lnTo>
                    <a:pt x="1791" y="358"/>
                  </a:lnTo>
                  <a:lnTo>
                    <a:pt x="1791" y="361"/>
                  </a:lnTo>
                  <a:lnTo>
                    <a:pt x="1796" y="366"/>
                  </a:lnTo>
                  <a:lnTo>
                    <a:pt x="1800" y="372"/>
                  </a:lnTo>
                  <a:lnTo>
                    <a:pt x="1802" y="376"/>
                  </a:lnTo>
                  <a:lnTo>
                    <a:pt x="1802" y="376"/>
                  </a:lnTo>
                  <a:lnTo>
                    <a:pt x="1802" y="378"/>
                  </a:lnTo>
                  <a:lnTo>
                    <a:pt x="1800" y="378"/>
                  </a:lnTo>
                  <a:lnTo>
                    <a:pt x="1796" y="376"/>
                  </a:lnTo>
                  <a:lnTo>
                    <a:pt x="1796" y="376"/>
                  </a:lnTo>
                  <a:lnTo>
                    <a:pt x="1794" y="378"/>
                  </a:lnTo>
                  <a:lnTo>
                    <a:pt x="1791" y="379"/>
                  </a:lnTo>
                  <a:lnTo>
                    <a:pt x="1788" y="382"/>
                  </a:lnTo>
                  <a:lnTo>
                    <a:pt x="1788" y="382"/>
                  </a:lnTo>
                  <a:lnTo>
                    <a:pt x="1787" y="382"/>
                  </a:lnTo>
                  <a:lnTo>
                    <a:pt x="1786" y="381"/>
                  </a:lnTo>
                  <a:lnTo>
                    <a:pt x="1784" y="378"/>
                  </a:lnTo>
                  <a:lnTo>
                    <a:pt x="1783" y="374"/>
                  </a:lnTo>
                  <a:lnTo>
                    <a:pt x="1783" y="371"/>
                  </a:lnTo>
                  <a:lnTo>
                    <a:pt x="1783" y="371"/>
                  </a:lnTo>
                  <a:lnTo>
                    <a:pt x="1781" y="371"/>
                  </a:lnTo>
                  <a:lnTo>
                    <a:pt x="1778" y="369"/>
                  </a:lnTo>
                  <a:lnTo>
                    <a:pt x="1774" y="369"/>
                  </a:lnTo>
                  <a:lnTo>
                    <a:pt x="1770" y="371"/>
                  </a:lnTo>
                  <a:lnTo>
                    <a:pt x="1770" y="371"/>
                  </a:lnTo>
                  <a:lnTo>
                    <a:pt x="1768" y="372"/>
                  </a:lnTo>
                  <a:lnTo>
                    <a:pt x="1768" y="374"/>
                  </a:lnTo>
                  <a:lnTo>
                    <a:pt x="1770" y="378"/>
                  </a:lnTo>
                  <a:lnTo>
                    <a:pt x="1774" y="385"/>
                  </a:lnTo>
                  <a:lnTo>
                    <a:pt x="1774" y="385"/>
                  </a:lnTo>
                  <a:lnTo>
                    <a:pt x="1774" y="387"/>
                  </a:lnTo>
                  <a:lnTo>
                    <a:pt x="1773" y="388"/>
                  </a:lnTo>
                  <a:lnTo>
                    <a:pt x="1768" y="387"/>
                  </a:lnTo>
                  <a:lnTo>
                    <a:pt x="1768" y="387"/>
                  </a:lnTo>
                  <a:lnTo>
                    <a:pt x="1767" y="388"/>
                  </a:lnTo>
                  <a:lnTo>
                    <a:pt x="1765" y="392"/>
                  </a:lnTo>
                  <a:lnTo>
                    <a:pt x="1765" y="397"/>
                  </a:lnTo>
                  <a:lnTo>
                    <a:pt x="1764" y="397"/>
                  </a:lnTo>
                  <a:lnTo>
                    <a:pt x="1764" y="398"/>
                  </a:lnTo>
                  <a:lnTo>
                    <a:pt x="1764" y="398"/>
                  </a:lnTo>
                  <a:lnTo>
                    <a:pt x="1761" y="395"/>
                  </a:lnTo>
                  <a:lnTo>
                    <a:pt x="1757" y="391"/>
                  </a:lnTo>
                  <a:lnTo>
                    <a:pt x="1752" y="385"/>
                  </a:lnTo>
                  <a:lnTo>
                    <a:pt x="1749" y="381"/>
                  </a:lnTo>
                  <a:lnTo>
                    <a:pt x="1749" y="381"/>
                  </a:lnTo>
                  <a:lnTo>
                    <a:pt x="1742" y="378"/>
                  </a:lnTo>
                  <a:lnTo>
                    <a:pt x="1739" y="376"/>
                  </a:lnTo>
                  <a:lnTo>
                    <a:pt x="1736" y="376"/>
                  </a:lnTo>
                  <a:lnTo>
                    <a:pt x="1736" y="376"/>
                  </a:lnTo>
                  <a:lnTo>
                    <a:pt x="1733" y="375"/>
                  </a:lnTo>
                  <a:lnTo>
                    <a:pt x="1731" y="374"/>
                  </a:lnTo>
                  <a:lnTo>
                    <a:pt x="1726" y="372"/>
                  </a:lnTo>
                  <a:lnTo>
                    <a:pt x="1722" y="371"/>
                  </a:lnTo>
                  <a:lnTo>
                    <a:pt x="1722" y="371"/>
                  </a:lnTo>
                  <a:lnTo>
                    <a:pt x="1718" y="371"/>
                  </a:lnTo>
                  <a:lnTo>
                    <a:pt x="1713" y="372"/>
                  </a:lnTo>
                  <a:lnTo>
                    <a:pt x="1709" y="376"/>
                  </a:lnTo>
                  <a:lnTo>
                    <a:pt x="1709" y="376"/>
                  </a:lnTo>
                  <a:lnTo>
                    <a:pt x="1703" y="379"/>
                  </a:lnTo>
                  <a:lnTo>
                    <a:pt x="1696" y="379"/>
                  </a:lnTo>
                  <a:lnTo>
                    <a:pt x="1696" y="379"/>
                  </a:lnTo>
                  <a:lnTo>
                    <a:pt x="1694" y="379"/>
                  </a:lnTo>
                  <a:lnTo>
                    <a:pt x="1693" y="376"/>
                  </a:lnTo>
                  <a:lnTo>
                    <a:pt x="1690" y="371"/>
                  </a:lnTo>
                  <a:lnTo>
                    <a:pt x="1684" y="358"/>
                  </a:lnTo>
                  <a:lnTo>
                    <a:pt x="1684" y="358"/>
                  </a:lnTo>
                  <a:lnTo>
                    <a:pt x="1681" y="355"/>
                  </a:lnTo>
                  <a:lnTo>
                    <a:pt x="1681" y="356"/>
                  </a:lnTo>
                  <a:lnTo>
                    <a:pt x="1680" y="361"/>
                  </a:lnTo>
                  <a:lnTo>
                    <a:pt x="1677" y="365"/>
                  </a:lnTo>
                  <a:lnTo>
                    <a:pt x="1677" y="365"/>
                  </a:lnTo>
                  <a:lnTo>
                    <a:pt x="1674" y="372"/>
                  </a:lnTo>
                  <a:lnTo>
                    <a:pt x="1671" y="378"/>
                  </a:lnTo>
                  <a:lnTo>
                    <a:pt x="1671" y="392"/>
                  </a:lnTo>
                  <a:lnTo>
                    <a:pt x="1671" y="392"/>
                  </a:lnTo>
                  <a:lnTo>
                    <a:pt x="1670" y="397"/>
                  </a:lnTo>
                  <a:lnTo>
                    <a:pt x="1668" y="401"/>
                  </a:lnTo>
                  <a:lnTo>
                    <a:pt x="1665" y="407"/>
                  </a:lnTo>
                  <a:lnTo>
                    <a:pt x="1658" y="416"/>
                  </a:lnTo>
                  <a:lnTo>
                    <a:pt x="1658" y="416"/>
                  </a:lnTo>
                  <a:lnTo>
                    <a:pt x="1657" y="416"/>
                  </a:lnTo>
                  <a:lnTo>
                    <a:pt x="1657" y="416"/>
                  </a:lnTo>
                  <a:lnTo>
                    <a:pt x="1655" y="413"/>
                  </a:lnTo>
                  <a:lnTo>
                    <a:pt x="1654" y="407"/>
                  </a:lnTo>
                  <a:lnTo>
                    <a:pt x="1654" y="407"/>
                  </a:lnTo>
                  <a:lnTo>
                    <a:pt x="1652" y="405"/>
                  </a:lnTo>
                  <a:lnTo>
                    <a:pt x="1649" y="405"/>
                  </a:lnTo>
                  <a:lnTo>
                    <a:pt x="1645" y="405"/>
                  </a:lnTo>
                  <a:lnTo>
                    <a:pt x="1645" y="405"/>
                  </a:lnTo>
                  <a:lnTo>
                    <a:pt x="1644" y="404"/>
                  </a:lnTo>
                  <a:lnTo>
                    <a:pt x="1642" y="401"/>
                  </a:lnTo>
                  <a:lnTo>
                    <a:pt x="1641" y="394"/>
                  </a:lnTo>
                  <a:lnTo>
                    <a:pt x="1641" y="394"/>
                  </a:lnTo>
                  <a:lnTo>
                    <a:pt x="1639" y="388"/>
                  </a:lnTo>
                  <a:lnTo>
                    <a:pt x="1636" y="384"/>
                  </a:lnTo>
                  <a:lnTo>
                    <a:pt x="1636" y="384"/>
                  </a:lnTo>
                  <a:lnTo>
                    <a:pt x="1634" y="378"/>
                  </a:lnTo>
                  <a:lnTo>
                    <a:pt x="1632" y="376"/>
                  </a:lnTo>
                  <a:lnTo>
                    <a:pt x="1628" y="374"/>
                  </a:lnTo>
                  <a:lnTo>
                    <a:pt x="1628" y="374"/>
                  </a:lnTo>
                  <a:lnTo>
                    <a:pt x="1625" y="371"/>
                  </a:lnTo>
                  <a:lnTo>
                    <a:pt x="1625" y="369"/>
                  </a:lnTo>
                  <a:lnTo>
                    <a:pt x="1625" y="366"/>
                  </a:lnTo>
                  <a:lnTo>
                    <a:pt x="1623" y="363"/>
                  </a:lnTo>
                  <a:lnTo>
                    <a:pt x="1623" y="363"/>
                  </a:lnTo>
                  <a:lnTo>
                    <a:pt x="1622" y="361"/>
                  </a:lnTo>
                  <a:lnTo>
                    <a:pt x="1620" y="361"/>
                  </a:lnTo>
                  <a:lnTo>
                    <a:pt x="1618" y="362"/>
                  </a:lnTo>
                  <a:lnTo>
                    <a:pt x="1618" y="362"/>
                  </a:lnTo>
                  <a:lnTo>
                    <a:pt x="1616" y="361"/>
                  </a:lnTo>
                  <a:lnTo>
                    <a:pt x="1615" y="359"/>
                  </a:lnTo>
                  <a:lnTo>
                    <a:pt x="1615" y="355"/>
                  </a:lnTo>
                  <a:lnTo>
                    <a:pt x="1615" y="355"/>
                  </a:lnTo>
                  <a:lnTo>
                    <a:pt x="1613" y="353"/>
                  </a:lnTo>
                  <a:lnTo>
                    <a:pt x="1612" y="353"/>
                  </a:lnTo>
                  <a:lnTo>
                    <a:pt x="1607" y="355"/>
                  </a:lnTo>
                  <a:lnTo>
                    <a:pt x="1607" y="355"/>
                  </a:lnTo>
                  <a:lnTo>
                    <a:pt x="1607" y="355"/>
                  </a:lnTo>
                  <a:lnTo>
                    <a:pt x="1606" y="353"/>
                  </a:lnTo>
                  <a:lnTo>
                    <a:pt x="1605" y="349"/>
                  </a:lnTo>
                  <a:lnTo>
                    <a:pt x="1603" y="343"/>
                  </a:lnTo>
                  <a:lnTo>
                    <a:pt x="1600" y="339"/>
                  </a:lnTo>
                  <a:lnTo>
                    <a:pt x="1600" y="339"/>
                  </a:lnTo>
                  <a:lnTo>
                    <a:pt x="1594" y="336"/>
                  </a:lnTo>
                  <a:lnTo>
                    <a:pt x="1590" y="334"/>
                  </a:lnTo>
                  <a:lnTo>
                    <a:pt x="1587" y="336"/>
                  </a:lnTo>
                  <a:lnTo>
                    <a:pt x="1587" y="336"/>
                  </a:lnTo>
                  <a:lnTo>
                    <a:pt x="1583" y="334"/>
                  </a:lnTo>
                  <a:lnTo>
                    <a:pt x="1580" y="332"/>
                  </a:lnTo>
                  <a:lnTo>
                    <a:pt x="1577" y="327"/>
                  </a:lnTo>
                  <a:lnTo>
                    <a:pt x="1577" y="324"/>
                  </a:lnTo>
                  <a:lnTo>
                    <a:pt x="1577" y="324"/>
                  </a:lnTo>
                  <a:lnTo>
                    <a:pt x="1577" y="323"/>
                  </a:lnTo>
                  <a:lnTo>
                    <a:pt x="1580" y="323"/>
                  </a:lnTo>
                  <a:lnTo>
                    <a:pt x="1587" y="326"/>
                  </a:lnTo>
                  <a:lnTo>
                    <a:pt x="1600" y="333"/>
                  </a:lnTo>
                  <a:lnTo>
                    <a:pt x="1600" y="333"/>
                  </a:lnTo>
                  <a:lnTo>
                    <a:pt x="1605" y="334"/>
                  </a:lnTo>
                  <a:lnTo>
                    <a:pt x="1607" y="339"/>
                  </a:lnTo>
                  <a:lnTo>
                    <a:pt x="1609" y="342"/>
                  </a:lnTo>
                  <a:lnTo>
                    <a:pt x="1612" y="346"/>
                  </a:lnTo>
                  <a:lnTo>
                    <a:pt x="1612" y="346"/>
                  </a:lnTo>
                  <a:lnTo>
                    <a:pt x="1616" y="349"/>
                  </a:lnTo>
                  <a:lnTo>
                    <a:pt x="1619" y="350"/>
                  </a:lnTo>
                  <a:lnTo>
                    <a:pt x="1622" y="350"/>
                  </a:lnTo>
                  <a:lnTo>
                    <a:pt x="1623" y="349"/>
                  </a:lnTo>
                  <a:lnTo>
                    <a:pt x="1623" y="349"/>
                  </a:lnTo>
                  <a:lnTo>
                    <a:pt x="1626" y="310"/>
                  </a:lnTo>
                  <a:lnTo>
                    <a:pt x="1626" y="310"/>
                  </a:lnTo>
                  <a:lnTo>
                    <a:pt x="1625" y="305"/>
                  </a:lnTo>
                  <a:lnTo>
                    <a:pt x="1622" y="303"/>
                  </a:lnTo>
                  <a:lnTo>
                    <a:pt x="1612" y="295"/>
                  </a:lnTo>
                  <a:lnTo>
                    <a:pt x="1612" y="295"/>
                  </a:lnTo>
                  <a:lnTo>
                    <a:pt x="1609" y="291"/>
                  </a:lnTo>
                  <a:lnTo>
                    <a:pt x="1609" y="287"/>
                  </a:lnTo>
                  <a:lnTo>
                    <a:pt x="1607" y="284"/>
                  </a:lnTo>
                  <a:lnTo>
                    <a:pt x="1605" y="281"/>
                  </a:lnTo>
                  <a:lnTo>
                    <a:pt x="1605" y="281"/>
                  </a:lnTo>
                  <a:lnTo>
                    <a:pt x="1602" y="279"/>
                  </a:lnTo>
                  <a:lnTo>
                    <a:pt x="1600" y="278"/>
                  </a:lnTo>
                  <a:lnTo>
                    <a:pt x="1599" y="277"/>
                  </a:lnTo>
                  <a:lnTo>
                    <a:pt x="1596" y="277"/>
                  </a:lnTo>
                  <a:lnTo>
                    <a:pt x="1596" y="277"/>
                  </a:lnTo>
                  <a:lnTo>
                    <a:pt x="1592" y="275"/>
                  </a:lnTo>
                  <a:lnTo>
                    <a:pt x="1589" y="274"/>
                  </a:lnTo>
                  <a:lnTo>
                    <a:pt x="1584" y="274"/>
                  </a:lnTo>
                  <a:lnTo>
                    <a:pt x="1581" y="274"/>
                  </a:lnTo>
                  <a:lnTo>
                    <a:pt x="1581" y="274"/>
                  </a:lnTo>
                  <a:lnTo>
                    <a:pt x="1580" y="275"/>
                  </a:lnTo>
                  <a:lnTo>
                    <a:pt x="1577" y="275"/>
                  </a:lnTo>
                  <a:lnTo>
                    <a:pt x="1568" y="274"/>
                  </a:lnTo>
                  <a:lnTo>
                    <a:pt x="1568" y="274"/>
                  </a:lnTo>
                  <a:lnTo>
                    <a:pt x="1558" y="272"/>
                  </a:lnTo>
                  <a:lnTo>
                    <a:pt x="1555" y="271"/>
                  </a:lnTo>
                  <a:lnTo>
                    <a:pt x="1552" y="268"/>
                  </a:lnTo>
                  <a:lnTo>
                    <a:pt x="1552" y="268"/>
                  </a:lnTo>
                  <a:lnTo>
                    <a:pt x="1548" y="262"/>
                  </a:lnTo>
                  <a:lnTo>
                    <a:pt x="1547" y="261"/>
                  </a:lnTo>
                  <a:lnTo>
                    <a:pt x="1542" y="261"/>
                  </a:lnTo>
                  <a:lnTo>
                    <a:pt x="1542" y="261"/>
                  </a:lnTo>
                  <a:lnTo>
                    <a:pt x="1539" y="259"/>
                  </a:lnTo>
                  <a:lnTo>
                    <a:pt x="1535" y="258"/>
                  </a:lnTo>
                  <a:lnTo>
                    <a:pt x="1534" y="256"/>
                  </a:lnTo>
                  <a:lnTo>
                    <a:pt x="1529" y="255"/>
                  </a:lnTo>
                  <a:lnTo>
                    <a:pt x="1529" y="255"/>
                  </a:lnTo>
                  <a:lnTo>
                    <a:pt x="1526" y="256"/>
                  </a:lnTo>
                  <a:lnTo>
                    <a:pt x="1523" y="259"/>
                  </a:lnTo>
                  <a:lnTo>
                    <a:pt x="1521" y="262"/>
                  </a:lnTo>
                  <a:lnTo>
                    <a:pt x="1519" y="266"/>
                  </a:lnTo>
                  <a:lnTo>
                    <a:pt x="1519" y="266"/>
                  </a:lnTo>
                  <a:lnTo>
                    <a:pt x="1519" y="269"/>
                  </a:lnTo>
                  <a:lnTo>
                    <a:pt x="1522" y="274"/>
                  </a:lnTo>
                  <a:lnTo>
                    <a:pt x="1528" y="279"/>
                  </a:lnTo>
                  <a:lnTo>
                    <a:pt x="1528" y="279"/>
                  </a:lnTo>
                  <a:lnTo>
                    <a:pt x="1529" y="282"/>
                  </a:lnTo>
                  <a:lnTo>
                    <a:pt x="1531" y="284"/>
                  </a:lnTo>
                  <a:lnTo>
                    <a:pt x="1529" y="285"/>
                  </a:lnTo>
                  <a:lnTo>
                    <a:pt x="1526" y="287"/>
                  </a:lnTo>
                  <a:lnTo>
                    <a:pt x="1526" y="287"/>
                  </a:lnTo>
                  <a:lnTo>
                    <a:pt x="1525" y="288"/>
                  </a:lnTo>
                  <a:lnTo>
                    <a:pt x="1523" y="290"/>
                  </a:lnTo>
                  <a:lnTo>
                    <a:pt x="1528" y="295"/>
                  </a:lnTo>
                  <a:lnTo>
                    <a:pt x="1528" y="295"/>
                  </a:lnTo>
                  <a:lnTo>
                    <a:pt x="1529" y="298"/>
                  </a:lnTo>
                  <a:lnTo>
                    <a:pt x="1529" y="300"/>
                  </a:lnTo>
                  <a:lnTo>
                    <a:pt x="1526" y="300"/>
                  </a:lnTo>
                  <a:lnTo>
                    <a:pt x="1523" y="301"/>
                  </a:lnTo>
                  <a:lnTo>
                    <a:pt x="1523" y="301"/>
                  </a:lnTo>
                  <a:lnTo>
                    <a:pt x="1523" y="303"/>
                  </a:lnTo>
                  <a:lnTo>
                    <a:pt x="1523" y="303"/>
                  </a:lnTo>
                  <a:lnTo>
                    <a:pt x="1523" y="305"/>
                  </a:lnTo>
                  <a:lnTo>
                    <a:pt x="1522" y="307"/>
                  </a:lnTo>
                  <a:lnTo>
                    <a:pt x="1516" y="307"/>
                  </a:lnTo>
                  <a:lnTo>
                    <a:pt x="1509" y="305"/>
                  </a:lnTo>
                  <a:lnTo>
                    <a:pt x="1502" y="303"/>
                  </a:lnTo>
                  <a:lnTo>
                    <a:pt x="1502" y="303"/>
                  </a:lnTo>
                  <a:lnTo>
                    <a:pt x="1494" y="301"/>
                  </a:lnTo>
                  <a:lnTo>
                    <a:pt x="1487" y="301"/>
                  </a:lnTo>
                  <a:lnTo>
                    <a:pt x="1477" y="304"/>
                  </a:lnTo>
                  <a:lnTo>
                    <a:pt x="1477" y="304"/>
                  </a:lnTo>
                  <a:lnTo>
                    <a:pt x="1476" y="303"/>
                  </a:lnTo>
                  <a:lnTo>
                    <a:pt x="1474" y="301"/>
                  </a:lnTo>
                  <a:lnTo>
                    <a:pt x="1471" y="294"/>
                  </a:lnTo>
                  <a:lnTo>
                    <a:pt x="1468" y="282"/>
                  </a:lnTo>
                  <a:lnTo>
                    <a:pt x="1468" y="282"/>
                  </a:lnTo>
                  <a:lnTo>
                    <a:pt x="1467" y="281"/>
                  </a:lnTo>
                  <a:lnTo>
                    <a:pt x="1461" y="279"/>
                  </a:lnTo>
                  <a:lnTo>
                    <a:pt x="1455" y="279"/>
                  </a:lnTo>
                  <a:lnTo>
                    <a:pt x="1448" y="279"/>
                  </a:lnTo>
                  <a:lnTo>
                    <a:pt x="1448" y="279"/>
                  </a:lnTo>
                  <a:lnTo>
                    <a:pt x="1441" y="279"/>
                  </a:lnTo>
                  <a:lnTo>
                    <a:pt x="1435" y="277"/>
                  </a:lnTo>
                  <a:lnTo>
                    <a:pt x="1425" y="271"/>
                  </a:lnTo>
                  <a:lnTo>
                    <a:pt x="1425" y="271"/>
                  </a:lnTo>
                  <a:lnTo>
                    <a:pt x="1424" y="269"/>
                  </a:lnTo>
                  <a:lnTo>
                    <a:pt x="1422" y="271"/>
                  </a:lnTo>
                  <a:lnTo>
                    <a:pt x="1419" y="274"/>
                  </a:lnTo>
                  <a:lnTo>
                    <a:pt x="1419" y="274"/>
                  </a:lnTo>
                  <a:lnTo>
                    <a:pt x="1418" y="275"/>
                  </a:lnTo>
                  <a:lnTo>
                    <a:pt x="1415" y="274"/>
                  </a:lnTo>
                  <a:lnTo>
                    <a:pt x="1408" y="269"/>
                  </a:lnTo>
                  <a:lnTo>
                    <a:pt x="1399" y="265"/>
                  </a:lnTo>
                  <a:lnTo>
                    <a:pt x="1393" y="263"/>
                  </a:lnTo>
                  <a:lnTo>
                    <a:pt x="1393" y="263"/>
                  </a:lnTo>
                  <a:lnTo>
                    <a:pt x="1383" y="262"/>
                  </a:lnTo>
                  <a:lnTo>
                    <a:pt x="1379" y="263"/>
                  </a:lnTo>
                  <a:lnTo>
                    <a:pt x="1376" y="266"/>
                  </a:lnTo>
                  <a:lnTo>
                    <a:pt x="1376" y="266"/>
                  </a:lnTo>
                  <a:lnTo>
                    <a:pt x="1376" y="269"/>
                  </a:lnTo>
                  <a:lnTo>
                    <a:pt x="1376" y="272"/>
                  </a:lnTo>
                  <a:lnTo>
                    <a:pt x="1379" y="278"/>
                  </a:lnTo>
                  <a:lnTo>
                    <a:pt x="1384" y="290"/>
                  </a:lnTo>
                  <a:lnTo>
                    <a:pt x="1384" y="290"/>
                  </a:lnTo>
                  <a:lnTo>
                    <a:pt x="1384" y="292"/>
                  </a:lnTo>
                  <a:lnTo>
                    <a:pt x="1383" y="294"/>
                  </a:lnTo>
                  <a:lnTo>
                    <a:pt x="1380" y="300"/>
                  </a:lnTo>
                  <a:lnTo>
                    <a:pt x="1370" y="305"/>
                  </a:lnTo>
                  <a:lnTo>
                    <a:pt x="1370" y="305"/>
                  </a:lnTo>
                  <a:lnTo>
                    <a:pt x="1370" y="305"/>
                  </a:lnTo>
                  <a:lnTo>
                    <a:pt x="1370" y="305"/>
                  </a:lnTo>
                  <a:lnTo>
                    <a:pt x="1370" y="301"/>
                  </a:lnTo>
                  <a:lnTo>
                    <a:pt x="1373" y="295"/>
                  </a:lnTo>
                  <a:lnTo>
                    <a:pt x="1373" y="291"/>
                  </a:lnTo>
                  <a:lnTo>
                    <a:pt x="1373" y="291"/>
                  </a:lnTo>
                  <a:lnTo>
                    <a:pt x="1370" y="271"/>
                  </a:lnTo>
                  <a:lnTo>
                    <a:pt x="1366" y="250"/>
                  </a:lnTo>
                  <a:lnTo>
                    <a:pt x="1366" y="250"/>
                  </a:lnTo>
                  <a:lnTo>
                    <a:pt x="1364" y="246"/>
                  </a:lnTo>
                  <a:lnTo>
                    <a:pt x="1361" y="245"/>
                  </a:lnTo>
                  <a:lnTo>
                    <a:pt x="1357" y="245"/>
                  </a:lnTo>
                  <a:lnTo>
                    <a:pt x="1353" y="246"/>
                  </a:lnTo>
                  <a:lnTo>
                    <a:pt x="1353" y="246"/>
                  </a:lnTo>
                  <a:lnTo>
                    <a:pt x="1350" y="246"/>
                  </a:lnTo>
                  <a:lnTo>
                    <a:pt x="1348" y="243"/>
                  </a:lnTo>
                  <a:lnTo>
                    <a:pt x="1347" y="237"/>
                  </a:lnTo>
                  <a:lnTo>
                    <a:pt x="1347" y="226"/>
                  </a:lnTo>
                  <a:lnTo>
                    <a:pt x="1347" y="226"/>
                  </a:lnTo>
                  <a:lnTo>
                    <a:pt x="1347" y="226"/>
                  </a:lnTo>
                  <a:lnTo>
                    <a:pt x="1347" y="226"/>
                  </a:lnTo>
                  <a:lnTo>
                    <a:pt x="1344" y="227"/>
                  </a:lnTo>
                  <a:lnTo>
                    <a:pt x="1341" y="230"/>
                  </a:lnTo>
                  <a:lnTo>
                    <a:pt x="1337" y="232"/>
                  </a:lnTo>
                  <a:lnTo>
                    <a:pt x="1337" y="232"/>
                  </a:lnTo>
                  <a:lnTo>
                    <a:pt x="1334" y="233"/>
                  </a:lnTo>
                  <a:lnTo>
                    <a:pt x="1331" y="235"/>
                  </a:lnTo>
                  <a:lnTo>
                    <a:pt x="1324" y="242"/>
                  </a:lnTo>
                  <a:lnTo>
                    <a:pt x="1324" y="242"/>
                  </a:lnTo>
                  <a:lnTo>
                    <a:pt x="1319" y="246"/>
                  </a:lnTo>
                  <a:lnTo>
                    <a:pt x="1315" y="249"/>
                  </a:lnTo>
                  <a:lnTo>
                    <a:pt x="1305" y="255"/>
                  </a:lnTo>
                  <a:lnTo>
                    <a:pt x="1305" y="255"/>
                  </a:lnTo>
                  <a:lnTo>
                    <a:pt x="1298" y="262"/>
                  </a:lnTo>
                  <a:lnTo>
                    <a:pt x="1289" y="274"/>
                  </a:lnTo>
                  <a:lnTo>
                    <a:pt x="1279" y="285"/>
                  </a:lnTo>
                  <a:lnTo>
                    <a:pt x="1271" y="294"/>
                  </a:lnTo>
                  <a:lnTo>
                    <a:pt x="1271" y="294"/>
                  </a:lnTo>
                  <a:lnTo>
                    <a:pt x="1270" y="294"/>
                  </a:lnTo>
                  <a:lnTo>
                    <a:pt x="1269" y="294"/>
                  </a:lnTo>
                  <a:lnTo>
                    <a:pt x="1269" y="287"/>
                  </a:lnTo>
                  <a:lnTo>
                    <a:pt x="1273" y="266"/>
                  </a:lnTo>
                  <a:lnTo>
                    <a:pt x="1273" y="266"/>
                  </a:lnTo>
                  <a:lnTo>
                    <a:pt x="1274" y="258"/>
                  </a:lnTo>
                  <a:lnTo>
                    <a:pt x="1273" y="252"/>
                  </a:lnTo>
                  <a:lnTo>
                    <a:pt x="1271" y="245"/>
                  </a:lnTo>
                  <a:lnTo>
                    <a:pt x="1271" y="245"/>
                  </a:lnTo>
                  <a:lnTo>
                    <a:pt x="1273" y="243"/>
                  </a:lnTo>
                  <a:lnTo>
                    <a:pt x="1273" y="243"/>
                  </a:lnTo>
                  <a:lnTo>
                    <a:pt x="1277" y="245"/>
                  </a:lnTo>
                  <a:lnTo>
                    <a:pt x="1282" y="246"/>
                  </a:lnTo>
                  <a:lnTo>
                    <a:pt x="1286" y="246"/>
                  </a:lnTo>
                  <a:lnTo>
                    <a:pt x="1286" y="246"/>
                  </a:lnTo>
                  <a:lnTo>
                    <a:pt x="1292" y="239"/>
                  </a:lnTo>
                  <a:lnTo>
                    <a:pt x="1302" y="227"/>
                  </a:lnTo>
                  <a:lnTo>
                    <a:pt x="1312" y="216"/>
                  </a:lnTo>
                  <a:lnTo>
                    <a:pt x="1318" y="210"/>
                  </a:lnTo>
                  <a:lnTo>
                    <a:pt x="1318" y="210"/>
                  </a:lnTo>
                  <a:lnTo>
                    <a:pt x="1325" y="204"/>
                  </a:lnTo>
                  <a:lnTo>
                    <a:pt x="1334" y="198"/>
                  </a:lnTo>
                  <a:lnTo>
                    <a:pt x="1334" y="198"/>
                  </a:lnTo>
                  <a:lnTo>
                    <a:pt x="1340" y="195"/>
                  </a:lnTo>
                  <a:lnTo>
                    <a:pt x="1345" y="192"/>
                  </a:lnTo>
                  <a:lnTo>
                    <a:pt x="1351" y="190"/>
                  </a:lnTo>
                  <a:lnTo>
                    <a:pt x="1358" y="185"/>
                  </a:lnTo>
                  <a:lnTo>
                    <a:pt x="1358" y="185"/>
                  </a:lnTo>
                  <a:lnTo>
                    <a:pt x="1363" y="181"/>
                  </a:lnTo>
                  <a:lnTo>
                    <a:pt x="1366" y="174"/>
                  </a:lnTo>
                  <a:lnTo>
                    <a:pt x="1368" y="159"/>
                  </a:lnTo>
                  <a:lnTo>
                    <a:pt x="1371" y="143"/>
                  </a:lnTo>
                  <a:lnTo>
                    <a:pt x="1373" y="132"/>
                  </a:lnTo>
                  <a:lnTo>
                    <a:pt x="1373" y="132"/>
                  </a:lnTo>
                  <a:lnTo>
                    <a:pt x="1374" y="116"/>
                  </a:lnTo>
                  <a:lnTo>
                    <a:pt x="1373" y="110"/>
                  </a:lnTo>
                  <a:lnTo>
                    <a:pt x="1371" y="106"/>
                  </a:lnTo>
                  <a:lnTo>
                    <a:pt x="1371" y="106"/>
                  </a:lnTo>
                  <a:lnTo>
                    <a:pt x="1368" y="101"/>
                  </a:lnTo>
                  <a:lnTo>
                    <a:pt x="1368" y="97"/>
                  </a:lnTo>
                  <a:lnTo>
                    <a:pt x="1368" y="93"/>
                  </a:lnTo>
                  <a:lnTo>
                    <a:pt x="1367" y="88"/>
                  </a:lnTo>
                  <a:lnTo>
                    <a:pt x="1367" y="88"/>
                  </a:lnTo>
                  <a:lnTo>
                    <a:pt x="1364" y="82"/>
                  </a:lnTo>
                  <a:lnTo>
                    <a:pt x="1361" y="80"/>
                  </a:lnTo>
                  <a:lnTo>
                    <a:pt x="1358" y="78"/>
                  </a:lnTo>
                  <a:lnTo>
                    <a:pt x="1354" y="78"/>
                  </a:lnTo>
                  <a:lnTo>
                    <a:pt x="1354" y="78"/>
                  </a:lnTo>
                  <a:lnTo>
                    <a:pt x="1351" y="77"/>
                  </a:lnTo>
                  <a:lnTo>
                    <a:pt x="1348" y="75"/>
                  </a:lnTo>
                  <a:lnTo>
                    <a:pt x="1344" y="72"/>
                  </a:lnTo>
                  <a:lnTo>
                    <a:pt x="1344" y="72"/>
                  </a:lnTo>
                  <a:lnTo>
                    <a:pt x="1332" y="78"/>
                  </a:lnTo>
                  <a:lnTo>
                    <a:pt x="1332" y="78"/>
                  </a:lnTo>
                  <a:lnTo>
                    <a:pt x="1324" y="78"/>
                  </a:lnTo>
                  <a:lnTo>
                    <a:pt x="1308" y="77"/>
                  </a:lnTo>
                  <a:lnTo>
                    <a:pt x="1290" y="75"/>
                  </a:lnTo>
                  <a:lnTo>
                    <a:pt x="1277" y="75"/>
                  </a:lnTo>
                  <a:lnTo>
                    <a:pt x="1277" y="75"/>
                  </a:lnTo>
                  <a:lnTo>
                    <a:pt x="1270" y="77"/>
                  </a:lnTo>
                  <a:lnTo>
                    <a:pt x="1267" y="80"/>
                  </a:lnTo>
                  <a:lnTo>
                    <a:pt x="1266" y="84"/>
                  </a:lnTo>
                  <a:lnTo>
                    <a:pt x="1261" y="87"/>
                  </a:lnTo>
                  <a:lnTo>
                    <a:pt x="1261" y="87"/>
                  </a:lnTo>
                  <a:lnTo>
                    <a:pt x="1245" y="98"/>
                  </a:lnTo>
                  <a:lnTo>
                    <a:pt x="1245" y="98"/>
                  </a:lnTo>
                  <a:lnTo>
                    <a:pt x="1245" y="98"/>
                  </a:lnTo>
                  <a:lnTo>
                    <a:pt x="1244" y="97"/>
                  </a:lnTo>
                  <a:lnTo>
                    <a:pt x="1244" y="93"/>
                  </a:lnTo>
                  <a:lnTo>
                    <a:pt x="1247" y="81"/>
                  </a:lnTo>
                  <a:lnTo>
                    <a:pt x="1247" y="81"/>
                  </a:lnTo>
                  <a:lnTo>
                    <a:pt x="1256" y="56"/>
                  </a:lnTo>
                  <a:lnTo>
                    <a:pt x="1256" y="56"/>
                  </a:lnTo>
                  <a:lnTo>
                    <a:pt x="1256" y="55"/>
                  </a:lnTo>
                  <a:lnTo>
                    <a:pt x="1256" y="53"/>
                  </a:lnTo>
                  <a:lnTo>
                    <a:pt x="1251" y="53"/>
                  </a:lnTo>
                  <a:lnTo>
                    <a:pt x="1242" y="53"/>
                  </a:lnTo>
                  <a:lnTo>
                    <a:pt x="1242" y="53"/>
                  </a:lnTo>
                  <a:lnTo>
                    <a:pt x="1241" y="52"/>
                  </a:lnTo>
                  <a:lnTo>
                    <a:pt x="1241" y="52"/>
                  </a:lnTo>
                  <a:lnTo>
                    <a:pt x="1244" y="48"/>
                  </a:lnTo>
                  <a:lnTo>
                    <a:pt x="1251" y="42"/>
                  </a:lnTo>
                  <a:lnTo>
                    <a:pt x="1251" y="42"/>
                  </a:lnTo>
                  <a:lnTo>
                    <a:pt x="1254" y="38"/>
                  </a:lnTo>
                  <a:lnTo>
                    <a:pt x="1256" y="35"/>
                  </a:lnTo>
                  <a:lnTo>
                    <a:pt x="1256" y="29"/>
                  </a:lnTo>
                  <a:lnTo>
                    <a:pt x="1256" y="29"/>
                  </a:lnTo>
                  <a:lnTo>
                    <a:pt x="1256" y="24"/>
                  </a:lnTo>
                  <a:lnTo>
                    <a:pt x="1256" y="22"/>
                  </a:lnTo>
                  <a:lnTo>
                    <a:pt x="1254" y="19"/>
                  </a:lnTo>
                  <a:lnTo>
                    <a:pt x="1250" y="17"/>
                  </a:lnTo>
                  <a:lnTo>
                    <a:pt x="1250" y="17"/>
                  </a:lnTo>
                  <a:lnTo>
                    <a:pt x="1244" y="14"/>
                  </a:lnTo>
                  <a:lnTo>
                    <a:pt x="1241" y="10"/>
                  </a:lnTo>
                  <a:lnTo>
                    <a:pt x="1238" y="7"/>
                  </a:lnTo>
                  <a:lnTo>
                    <a:pt x="1234" y="4"/>
                  </a:lnTo>
                  <a:lnTo>
                    <a:pt x="1234" y="4"/>
                  </a:lnTo>
                  <a:lnTo>
                    <a:pt x="1227" y="0"/>
                  </a:lnTo>
                  <a:lnTo>
                    <a:pt x="1222" y="0"/>
                  </a:lnTo>
                  <a:lnTo>
                    <a:pt x="1222" y="0"/>
                  </a:lnTo>
                  <a:lnTo>
                    <a:pt x="1219" y="0"/>
                  </a:lnTo>
                  <a:lnTo>
                    <a:pt x="1218" y="1"/>
                  </a:lnTo>
                  <a:lnTo>
                    <a:pt x="1216" y="3"/>
                  </a:lnTo>
                  <a:lnTo>
                    <a:pt x="1212" y="4"/>
                  </a:lnTo>
                  <a:lnTo>
                    <a:pt x="1212" y="4"/>
                  </a:lnTo>
                  <a:lnTo>
                    <a:pt x="1202" y="10"/>
                  </a:lnTo>
                  <a:lnTo>
                    <a:pt x="1196" y="14"/>
                  </a:lnTo>
                  <a:lnTo>
                    <a:pt x="1193" y="17"/>
                  </a:lnTo>
                  <a:lnTo>
                    <a:pt x="1193" y="17"/>
                  </a:lnTo>
                  <a:lnTo>
                    <a:pt x="1189" y="27"/>
                  </a:lnTo>
                  <a:lnTo>
                    <a:pt x="1187" y="33"/>
                  </a:lnTo>
                  <a:lnTo>
                    <a:pt x="1182" y="40"/>
                  </a:lnTo>
                  <a:lnTo>
                    <a:pt x="1182" y="40"/>
                  </a:lnTo>
                  <a:lnTo>
                    <a:pt x="1179" y="48"/>
                  </a:lnTo>
                  <a:lnTo>
                    <a:pt x="1177" y="55"/>
                  </a:lnTo>
                  <a:lnTo>
                    <a:pt x="1179" y="61"/>
                  </a:lnTo>
                  <a:lnTo>
                    <a:pt x="1177" y="69"/>
                  </a:lnTo>
                  <a:lnTo>
                    <a:pt x="1177" y="69"/>
                  </a:lnTo>
                  <a:lnTo>
                    <a:pt x="1176" y="78"/>
                  </a:lnTo>
                  <a:lnTo>
                    <a:pt x="1173" y="84"/>
                  </a:lnTo>
                  <a:lnTo>
                    <a:pt x="1167" y="87"/>
                  </a:lnTo>
                  <a:lnTo>
                    <a:pt x="1157" y="90"/>
                  </a:lnTo>
                  <a:lnTo>
                    <a:pt x="1157" y="90"/>
                  </a:lnTo>
                  <a:lnTo>
                    <a:pt x="1153" y="90"/>
                  </a:lnTo>
                  <a:lnTo>
                    <a:pt x="1150" y="90"/>
                  </a:lnTo>
                  <a:lnTo>
                    <a:pt x="1144" y="88"/>
                  </a:lnTo>
                  <a:lnTo>
                    <a:pt x="1141" y="88"/>
                  </a:lnTo>
                  <a:lnTo>
                    <a:pt x="1138" y="91"/>
                  </a:lnTo>
                  <a:lnTo>
                    <a:pt x="1138" y="91"/>
                  </a:lnTo>
                  <a:lnTo>
                    <a:pt x="1137" y="94"/>
                  </a:lnTo>
                  <a:lnTo>
                    <a:pt x="1135" y="97"/>
                  </a:lnTo>
                  <a:lnTo>
                    <a:pt x="1137" y="101"/>
                  </a:lnTo>
                  <a:lnTo>
                    <a:pt x="1138" y="104"/>
                  </a:lnTo>
                  <a:lnTo>
                    <a:pt x="1145" y="111"/>
                  </a:lnTo>
                  <a:lnTo>
                    <a:pt x="1156" y="119"/>
                  </a:lnTo>
                  <a:lnTo>
                    <a:pt x="1156" y="119"/>
                  </a:lnTo>
                  <a:lnTo>
                    <a:pt x="1164" y="124"/>
                  </a:lnTo>
                  <a:lnTo>
                    <a:pt x="1169" y="126"/>
                  </a:lnTo>
                  <a:lnTo>
                    <a:pt x="1170" y="127"/>
                  </a:lnTo>
                  <a:lnTo>
                    <a:pt x="1170" y="129"/>
                  </a:lnTo>
                  <a:lnTo>
                    <a:pt x="1170" y="129"/>
                  </a:lnTo>
                  <a:lnTo>
                    <a:pt x="1169" y="130"/>
                  </a:lnTo>
                  <a:lnTo>
                    <a:pt x="1167" y="130"/>
                  </a:lnTo>
                  <a:lnTo>
                    <a:pt x="1163" y="130"/>
                  </a:lnTo>
                  <a:lnTo>
                    <a:pt x="1158" y="130"/>
                  </a:lnTo>
                  <a:lnTo>
                    <a:pt x="1153" y="130"/>
                  </a:lnTo>
                  <a:lnTo>
                    <a:pt x="1153" y="130"/>
                  </a:lnTo>
                  <a:lnTo>
                    <a:pt x="1151" y="132"/>
                  </a:lnTo>
                  <a:lnTo>
                    <a:pt x="1153" y="133"/>
                  </a:lnTo>
                  <a:lnTo>
                    <a:pt x="1157" y="135"/>
                  </a:lnTo>
                  <a:lnTo>
                    <a:pt x="1160" y="136"/>
                  </a:lnTo>
                  <a:lnTo>
                    <a:pt x="1160" y="136"/>
                  </a:lnTo>
                  <a:lnTo>
                    <a:pt x="1163" y="136"/>
                  </a:lnTo>
                  <a:lnTo>
                    <a:pt x="1166" y="137"/>
                  </a:lnTo>
                  <a:lnTo>
                    <a:pt x="1170" y="146"/>
                  </a:lnTo>
                  <a:lnTo>
                    <a:pt x="1170" y="146"/>
                  </a:lnTo>
                  <a:lnTo>
                    <a:pt x="1170" y="152"/>
                  </a:lnTo>
                  <a:lnTo>
                    <a:pt x="1169" y="158"/>
                  </a:lnTo>
                  <a:lnTo>
                    <a:pt x="1164" y="165"/>
                  </a:lnTo>
                  <a:lnTo>
                    <a:pt x="1164" y="165"/>
                  </a:lnTo>
                  <a:lnTo>
                    <a:pt x="1164" y="166"/>
                  </a:lnTo>
                  <a:lnTo>
                    <a:pt x="1163" y="165"/>
                  </a:lnTo>
                  <a:lnTo>
                    <a:pt x="1164" y="161"/>
                  </a:lnTo>
                  <a:lnTo>
                    <a:pt x="1164" y="156"/>
                  </a:lnTo>
                  <a:lnTo>
                    <a:pt x="1163" y="150"/>
                  </a:lnTo>
                  <a:lnTo>
                    <a:pt x="1163" y="150"/>
                  </a:lnTo>
                  <a:lnTo>
                    <a:pt x="1161" y="148"/>
                  </a:lnTo>
                  <a:lnTo>
                    <a:pt x="1160" y="146"/>
                  </a:lnTo>
                  <a:lnTo>
                    <a:pt x="1156" y="146"/>
                  </a:lnTo>
                  <a:lnTo>
                    <a:pt x="1151" y="148"/>
                  </a:lnTo>
                  <a:lnTo>
                    <a:pt x="1151" y="148"/>
                  </a:lnTo>
                  <a:lnTo>
                    <a:pt x="1147" y="148"/>
                  </a:lnTo>
                  <a:lnTo>
                    <a:pt x="1144" y="146"/>
                  </a:lnTo>
                  <a:lnTo>
                    <a:pt x="1143" y="142"/>
                  </a:lnTo>
                  <a:lnTo>
                    <a:pt x="1141" y="137"/>
                  </a:lnTo>
                  <a:lnTo>
                    <a:pt x="1141" y="137"/>
                  </a:lnTo>
                  <a:lnTo>
                    <a:pt x="1138" y="133"/>
                  </a:lnTo>
                  <a:lnTo>
                    <a:pt x="1137" y="129"/>
                  </a:lnTo>
                  <a:lnTo>
                    <a:pt x="1132" y="124"/>
                  </a:lnTo>
                  <a:lnTo>
                    <a:pt x="1127" y="122"/>
                  </a:lnTo>
                  <a:lnTo>
                    <a:pt x="1127" y="122"/>
                  </a:lnTo>
                  <a:lnTo>
                    <a:pt x="1122" y="120"/>
                  </a:lnTo>
                  <a:lnTo>
                    <a:pt x="1119" y="120"/>
                  </a:lnTo>
                  <a:lnTo>
                    <a:pt x="1112" y="124"/>
                  </a:lnTo>
                  <a:lnTo>
                    <a:pt x="1112" y="124"/>
                  </a:lnTo>
                  <a:lnTo>
                    <a:pt x="1109" y="124"/>
                  </a:lnTo>
                  <a:lnTo>
                    <a:pt x="1108" y="124"/>
                  </a:lnTo>
                  <a:lnTo>
                    <a:pt x="1108" y="122"/>
                  </a:lnTo>
                  <a:lnTo>
                    <a:pt x="1106" y="117"/>
                  </a:lnTo>
                  <a:lnTo>
                    <a:pt x="1105" y="113"/>
                  </a:lnTo>
                  <a:lnTo>
                    <a:pt x="1105" y="113"/>
                  </a:lnTo>
                  <a:lnTo>
                    <a:pt x="1101" y="108"/>
                  </a:lnTo>
                  <a:lnTo>
                    <a:pt x="1099" y="107"/>
                  </a:lnTo>
                  <a:lnTo>
                    <a:pt x="1096" y="108"/>
                  </a:lnTo>
                  <a:lnTo>
                    <a:pt x="1096" y="108"/>
                  </a:lnTo>
                  <a:lnTo>
                    <a:pt x="1089" y="110"/>
                  </a:lnTo>
                  <a:lnTo>
                    <a:pt x="1080" y="111"/>
                  </a:lnTo>
                  <a:lnTo>
                    <a:pt x="1080" y="111"/>
                  </a:lnTo>
                  <a:lnTo>
                    <a:pt x="1074" y="111"/>
                  </a:lnTo>
                  <a:lnTo>
                    <a:pt x="1072" y="111"/>
                  </a:lnTo>
                  <a:lnTo>
                    <a:pt x="1069" y="113"/>
                  </a:lnTo>
                  <a:lnTo>
                    <a:pt x="1064" y="114"/>
                  </a:lnTo>
                  <a:lnTo>
                    <a:pt x="1064" y="114"/>
                  </a:lnTo>
                  <a:lnTo>
                    <a:pt x="1060" y="114"/>
                  </a:lnTo>
                  <a:lnTo>
                    <a:pt x="1060" y="111"/>
                  </a:lnTo>
                  <a:lnTo>
                    <a:pt x="1061" y="106"/>
                  </a:lnTo>
                  <a:lnTo>
                    <a:pt x="1061" y="106"/>
                  </a:lnTo>
                  <a:lnTo>
                    <a:pt x="1061" y="106"/>
                  </a:lnTo>
                  <a:lnTo>
                    <a:pt x="1061" y="106"/>
                  </a:lnTo>
                  <a:lnTo>
                    <a:pt x="1057" y="108"/>
                  </a:lnTo>
                  <a:lnTo>
                    <a:pt x="1053" y="111"/>
                  </a:lnTo>
                  <a:lnTo>
                    <a:pt x="1047" y="114"/>
                  </a:lnTo>
                  <a:lnTo>
                    <a:pt x="1047" y="114"/>
                  </a:lnTo>
                  <a:lnTo>
                    <a:pt x="1043" y="116"/>
                  </a:lnTo>
                  <a:lnTo>
                    <a:pt x="1037" y="119"/>
                  </a:lnTo>
                  <a:lnTo>
                    <a:pt x="1028" y="126"/>
                  </a:lnTo>
                  <a:lnTo>
                    <a:pt x="1028" y="126"/>
                  </a:lnTo>
                  <a:lnTo>
                    <a:pt x="1022" y="129"/>
                  </a:lnTo>
                  <a:lnTo>
                    <a:pt x="1012" y="133"/>
                  </a:lnTo>
                  <a:lnTo>
                    <a:pt x="1002" y="137"/>
                  </a:lnTo>
                  <a:lnTo>
                    <a:pt x="990" y="142"/>
                  </a:lnTo>
                  <a:lnTo>
                    <a:pt x="990" y="142"/>
                  </a:lnTo>
                  <a:lnTo>
                    <a:pt x="983" y="149"/>
                  </a:lnTo>
                  <a:lnTo>
                    <a:pt x="977" y="158"/>
                  </a:lnTo>
                  <a:lnTo>
                    <a:pt x="972" y="165"/>
                  </a:lnTo>
                  <a:lnTo>
                    <a:pt x="967" y="171"/>
                  </a:lnTo>
                  <a:lnTo>
                    <a:pt x="967" y="171"/>
                  </a:lnTo>
                  <a:lnTo>
                    <a:pt x="963" y="175"/>
                  </a:lnTo>
                  <a:lnTo>
                    <a:pt x="961" y="178"/>
                  </a:lnTo>
                  <a:lnTo>
                    <a:pt x="960" y="181"/>
                  </a:lnTo>
                  <a:lnTo>
                    <a:pt x="956" y="184"/>
                  </a:lnTo>
                  <a:lnTo>
                    <a:pt x="956" y="184"/>
                  </a:lnTo>
                  <a:lnTo>
                    <a:pt x="946" y="190"/>
                  </a:lnTo>
                  <a:lnTo>
                    <a:pt x="935" y="195"/>
                  </a:lnTo>
                  <a:lnTo>
                    <a:pt x="935" y="195"/>
                  </a:lnTo>
                  <a:lnTo>
                    <a:pt x="933" y="198"/>
                  </a:lnTo>
                  <a:lnTo>
                    <a:pt x="930" y="201"/>
                  </a:lnTo>
                  <a:lnTo>
                    <a:pt x="928" y="204"/>
                  </a:lnTo>
                  <a:lnTo>
                    <a:pt x="924" y="207"/>
                  </a:lnTo>
                  <a:lnTo>
                    <a:pt x="924" y="207"/>
                  </a:lnTo>
                  <a:lnTo>
                    <a:pt x="921" y="208"/>
                  </a:lnTo>
                  <a:lnTo>
                    <a:pt x="919" y="210"/>
                  </a:lnTo>
                  <a:lnTo>
                    <a:pt x="918" y="214"/>
                  </a:lnTo>
                  <a:lnTo>
                    <a:pt x="919" y="224"/>
                  </a:lnTo>
                  <a:lnTo>
                    <a:pt x="919" y="224"/>
                  </a:lnTo>
                  <a:lnTo>
                    <a:pt x="921" y="229"/>
                  </a:lnTo>
                  <a:lnTo>
                    <a:pt x="924" y="230"/>
                  </a:lnTo>
                  <a:lnTo>
                    <a:pt x="925" y="233"/>
                  </a:lnTo>
                  <a:lnTo>
                    <a:pt x="925" y="235"/>
                  </a:lnTo>
                  <a:lnTo>
                    <a:pt x="925" y="235"/>
                  </a:lnTo>
                  <a:lnTo>
                    <a:pt x="925" y="235"/>
                  </a:lnTo>
                  <a:lnTo>
                    <a:pt x="922" y="237"/>
                  </a:lnTo>
                  <a:lnTo>
                    <a:pt x="921" y="242"/>
                  </a:lnTo>
                  <a:lnTo>
                    <a:pt x="918" y="245"/>
                  </a:lnTo>
                  <a:lnTo>
                    <a:pt x="912" y="246"/>
                  </a:lnTo>
                  <a:lnTo>
                    <a:pt x="912" y="246"/>
                  </a:lnTo>
                  <a:lnTo>
                    <a:pt x="906" y="248"/>
                  </a:lnTo>
                  <a:lnTo>
                    <a:pt x="901" y="250"/>
                  </a:lnTo>
                  <a:lnTo>
                    <a:pt x="895" y="253"/>
                  </a:lnTo>
                  <a:lnTo>
                    <a:pt x="886" y="258"/>
                  </a:lnTo>
                  <a:lnTo>
                    <a:pt x="886" y="258"/>
                  </a:lnTo>
                  <a:lnTo>
                    <a:pt x="876" y="259"/>
                  </a:lnTo>
                  <a:lnTo>
                    <a:pt x="869" y="261"/>
                  </a:lnTo>
                  <a:lnTo>
                    <a:pt x="862" y="261"/>
                  </a:lnTo>
                  <a:lnTo>
                    <a:pt x="857" y="263"/>
                  </a:lnTo>
                  <a:lnTo>
                    <a:pt x="857" y="263"/>
                  </a:lnTo>
                  <a:lnTo>
                    <a:pt x="854" y="265"/>
                  </a:lnTo>
                  <a:lnTo>
                    <a:pt x="854" y="268"/>
                  </a:lnTo>
                  <a:lnTo>
                    <a:pt x="853" y="277"/>
                  </a:lnTo>
                  <a:lnTo>
                    <a:pt x="853" y="285"/>
                  </a:lnTo>
                  <a:lnTo>
                    <a:pt x="851" y="292"/>
                  </a:lnTo>
                  <a:lnTo>
                    <a:pt x="851" y="292"/>
                  </a:lnTo>
                  <a:lnTo>
                    <a:pt x="851" y="298"/>
                  </a:lnTo>
                  <a:lnTo>
                    <a:pt x="851" y="303"/>
                  </a:lnTo>
                  <a:lnTo>
                    <a:pt x="856" y="314"/>
                  </a:lnTo>
                  <a:lnTo>
                    <a:pt x="856" y="314"/>
                  </a:lnTo>
                  <a:lnTo>
                    <a:pt x="860" y="326"/>
                  </a:lnTo>
                  <a:lnTo>
                    <a:pt x="863" y="329"/>
                  </a:lnTo>
                  <a:lnTo>
                    <a:pt x="867" y="332"/>
                  </a:lnTo>
                  <a:lnTo>
                    <a:pt x="867" y="332"/>
                  </a:lnTo>
                  <a:lnTo>
                    <a:pt x="876" y="337"/>
                  </a:lnTo>
                  <a:lnTo>
                    <a:pt x="885" y="347"/>
                  </a:lnTo>
                  <a:lnTo>
                    <a:pt x="885" y="347"/>
                  </a:lnTo>
                  <a:lnTo>
                    <a:pt x="888" y="350"/>
                  </a:lnTo>
                  <a:lnTo>
                    <a:pt x="891" y="353"/>
                  </a:lnTo>
                  <a:lnTo>
                    <a:pt x="898" y="356"/>
                  </a:lnTo>
                  <a:lnTo>
                    <a:pt x="898" y="356"/>
                  </a:lnTo>
                  <a:lnTo>
                    <a:pt x="899" y="358"/>
                  </a:lnTo>
                  <a:lnTo>
                    <a:pt x="899" y="361"/>
                  </a:lnTo>
                  <a:lnTo>
                    <a:pt x="901" y="368"/>
                  </a:lnTo>
                  <a:lnTo>
                    <a:pt x="899" y="382"/>
                  </a:lnTo>
                  <a:lnTo>
                    <a:pt x="899" y="382"/>
                  </a:lnTo>
                  <a:lnTo>
                    <a:pt x="896" y="398"/>
                  </a:lnTo>
                  <a:lnTo>
                    <a:pt x="892" y="414"/>
                  </a:lnTo>
                  <a:lnTo>
                    <a:pt x="892" y="414"/>
                  </a:lnTo>
                  <a:lnTo>
                    <a:pt x="892" y="416"/>
                  </a:lnTo>
                  <a:lnTo>
                    <a:pt x="891" y="414"/>
                  </a:lnTo>
                  <a:lnTo>
                    <a:pt x="889" y="410"/>
                  </a:lnTo>
                  <a:lnTo>
                    <a:pt x="886" y="401"/>
                  </a:lnTo>
                  <a:lnTo>
                    <a:pt x="886" y="401"/>
                  </a:lnTo>
                  <a:lnTo>
                    <a:pt x="885" y="400"/>
                  </a:lnTo>
                  <a:lnTo>
                    <a:pt x="882" y="400"/>
                  </a:lnTo>
                  <a:lnTo>
                    <a:pt x="879" y="401"/>
                  </a:lnTo>
                  <a:lnTo>
                    <a:pt x="876" y="403"/>
                  </a:lnTo>
                  <a:lnTo>
                    <a:pt x="876" y="403"/>
                  </a:lnTo>
                  <a:lnTo>
                    <a:pt x="876" y="403"/>
                  </a:lnTo>
                  <a:lnTo>
                    <a:pt x="876" y="403"/>
                  </a:lnTo>
                  <a:lnTo>
                    <a:pt x="877" y="397"/>
                  </a:lnTo>
                  <a:lnTo>
                    <a:pt x="885" y="387"/>
                  </a:lnTo>
                  <a:lnTo>
                    <a:pt x="885" y="387"/>
                  </a:lnTo>
                  <a:lnTo>
                    <a:pt x="888" y="382"/>
                  </a:lnTo>
                  <a:lnTo>
                    <a:pt x="889" y="378"/>
                  </a:lnTo>
                  <a:lnTo>
                    <a:pt x="892" y="368"/>
                  </a:lnTo>
                  <a:lnTo>
                    <a:pt x="892" y="368"/>
                  </a:lnTo>
                  <a:lnTo>
                    <a:pt x="891" y="366"/>
                  </a:lnTo>
                  <a:lnTo>
                    <a:pt x="889" y="365"/>
                  </a:lnTo>
                  <a:lnTo>
                    <a:pt x="879" y="362"/>
                  </a:lnTo>
                  <a:lnTo>
                    <a:pt x="867" y="359"/>
                  </a:lnTo>
                  <a:lnTo>
                    <a:pt x="860" y="356"/>
                  </a:lnTo>
                  <a:lnTo>
                    <a:pt x="860" y="356"/>
                  </a:lnTo>
                  <a:lnTo>
                    <a:pt x="857" y="353"/>
                  </a:lnTo>
                  <a:lnTo>
                    <a:pt x="853" y="347"/>
                  </a:lnTo>
                  <a:lnTo>
                    <a:pt x="847" y="334"/>
                  </a:lnTo>
                  <a:lnTo>
                    <a:pt x="837" y="310"/>
                  </a:lnTo>
                  <a:lnTo>
                    <a:pt x="837" y="310"/>
                  </a:lnTo>
                  <a:lnTo>
                    <a:pt x="834" y="305"/>
                  </a:lnTo>
                  <a:lnTo>
                    <a:pt x="830" y="303"/>
                  </a:lnTo>
                  <a:lnTo>
                    <a:pt x="825" y="301"/>
                  </a:lnTo>
                  <a:lnTo>
                    <a:pt x="822" y="303"/>
                  </a:lnTo>
                  <a:lnTo>
                    <a:pt x="822" y="303"/>
                  </a:lnTo>
                  <a:lnTo>
                    <a:pt x="814" y="308"/>
                  </a:lnTo>
                  <a:lnTo>
                    <a:pt x="809" y="311"/>
                  </a:lnTo>
                  <a:lnTo>
                    <a:pt x="807" y="316"/>
                  </a:lnTo>
                  <a:lnTo>
                    <a:pt x="807" y="316"/>
                  </a:lnTo>
                  <a:lnTo>
                    <a:pt x="808" y="317"/>
                  </a:lnTo>
                  <a:lnTo>
                    <a:pt x="809" y="319"/>
                  </a:lnTo>
                  <a:lnTo>
                    <a:pt x="817" y="323"/>
                  </a:lnTo>
                  <a:lnTo>
                    <a:pt x="817" y="323"/>
                  </a:lnTo>
                  <a:lnTo>
                    <a:pt x="820" y="326"/>
                  </a:lnTo>
                  <a:lnTo>
                    <a:pt x="820" y="329"/>
                  </a:lnTo>
                  <a:lnTo>
                    <a:pt x="820" y="332"/>
                  </a:lnTo>
                  <a:lnTo>
                    <a:pt x="818" y="334"/>
                  </a:lnTo>
                  <a:lnTo>
                    <a:pt x="818" y="334"/>
                  </a:lnTo>
                  <a:lnTo>
                    <a:pt x="817" y="334"/>
                  </a:lnTo>
                  <a:lnTo>
                    <a:pt x="817" y="334"/>
                  </a:lnTo>
                  <a:lnTo>
                    <a:pt x="815" y="332"/>
                  </a:lnTo>
                  <a:lnTo>
                    <a:pt x="812" y="329"/>
                  </a:lnTo>
                  <a:lnTo>
                    <a:pt x="811" y="329"/>
                  </a:lnTo>
                  <a:lnTo>
                    <a:pt x="809" y="329"/>
                  </a:lnTo>
                  <a:lnTo>
                    <a:pt x="809" y="329"/>
                  </a:lnTo>
                  <a:lnTo>
                    <a:pt x="807" y="330"/>
                  </a:lnTo>
                  <a:lnTo>
                    <a:pt x="804" y="329"/>
                  </a:lnTo>
                  <a:lnTo>
                    <a:pt x="799" y="326"/>
                  </a:lnTo>
                  <a:lnTo>
                    <a:pt x="795" y="324"/>
                  </a:lnTo>
                  <a:lnTo>
                    <a:pt x="795" y="324"/>
                  </a:lnTo>
                  <a:lnTo>
                    <a:pt x="786" y="324"/>
                  </a:lnTo>
                  <a:lnTo>
                    <a:pt x="783" y="326"/>
                  </a:lnTo>
                  <a:lnTo>
                    <a:pt x="782" y="326"/>
                  </a:lnTo>
                  <a:lnTo>
                    <a:pt x="782" y="327"/>
                  </a:lnTo>
                  <a:lnTo>
                    <a:pt x="782" y="327"/>
                  </a:lnTo>
                  <a:lnTo>
                    <a:pt x="783" y="330"/>
                  </a:lnTo>
                  <a:lnTo>
                    <a:pt x="782" y="333"/>
                  </a:lnTo>
                  <a:lnTo>
                    <a:pt x="782" y="337"/>
                  </a:lnTo>
                  <a:lnTo>
                    <a:pt x="782" y="343"/>
                  </a:lnTo>
                  <a:lnTo>
                    <a:pt x="782" y="343"/>
                  </a:lnTo>
                  <a:lnTo>
                    <a:pt x="785" y="347"/>
                  </a:lnTo>
                  <a:lnTo>
                    <a:pt x="788" y="353"/>
                  </a:lnTo>
                  <a:lnTo>
                    <a:pt x="792" y="358"/>
                  </a:lnTo>
                  <a:lnTo>
                    <a:pt x="796" y="359"/>
                  </a:lnTo>
                  <a:lnTo>
                    <a:pt x="796" y="359"/>
                  </a:lnTo>
                  <a:lnTo>
                    <a:pt x="805" y="362"/>
                  </a:lnTo>
                  <a:lnTo>
                    <a:pt x="809" y="365"/>
                  </a:lnTo>
                  <a:lnTo>
                    <a:pt x="812" y="366"/>
                  </a:lnTo>
                  <a:lnTo>
                    <a:pt x="812" y="366"/>
                  </a:lnTo>
                  <a:lnTo>
                    <a:pt x="814" y="371"/>
                  </a:lnTo>
                  <a:lnTo>
                    <a:pt x="815" y="376"/>
                  </a:lnTo>
                  <a:lnTo>
                    <a:pt x="815" y="381"/>
                  </a:lnTo>
                  <a:lnTo>
                    <a:pt x="812" y="385"/>
                  </a:lnTo>
                  <a:lnTo>
                    <a:pt x="812" y="385"/>
                  </a:lnTo>
                  <a:lnTo>
                    <a:pt x="812" y="385"/>
                  </a:lnTo>
                  <a:lnTo>
                    <a:pt x="809" y="385"/>
                  </a:lnTo>
                  <a:lnTo>
                    <a:pt x="807" y="382"/>
                  </a:lnTo>
                  <a:lnTo>
                    <a:pt x="801" y="379"/>
                  </a:lnTo>
                  <a:lnTo>
                    <a:pt x="798" y="379"/>
                  </a:lnTo>
                  <a:lnTo>
                    <a:pt x="796" y="379"/>
                  </a:lnTo>
                  <a:lnTo>
                    <a:pt x="796" y="379"/>
                  </a:lnTo>
                  <a:lnTo>
                    <a:pt x="786" y="381"/>
                  </a:lnTo>
                  <a:lnTo>
                    <a:pt x="778" y="382"/>
                  </a:lnTo>
                  <a:lnTo>
                    <a:pt x="778" y="382"/>
                  </a:lnTo>
                  <a:lnTo>
                    <a:pt x="775" y="381"/>
                  </a:lnTo>
                  <a:lnTo>
                    <a:pt x="772" y="379"/>
                  </a:lnTo>
                  <a:lnTo>
                    <a:pt x="770" y="375"/>
                  </a:lnTo>
                  <a:lnTo>
                    <a:pt x="770" y="369"/>
                  </a:lnTo>
                  <a:lnTo>
                    <a:pt x="770" y="369"/>
                  </a:lnTo>
                  <a:lnTo>
                    <a:pt x="772" y="340"/>
                  </a:lnTo>
                  <a:lnTo>
                    <a:pt x="772" y="323"/>
                  </a:lnTo>
                  <a:lnTo>
                    <a:pt x="772" y="317"/>
                  </a:lnTo>
                  <a:lnTo>
                    <a:pt x="770" y="313"/>
                  </a:lnTo>
                  <a:lnTo>
                    <a:pt x="770" y="313"/>
                  </a:lnTo>
                  <a:lnTo>
                    <a:pt x="765" y="305"/>
                  </a:lnTo>
                  <a:lnTo>
                    <a:pt x="763" y="304"/>
                  </a:lnTo>
                  <a:lnTo>
                    <a:pt x="762" y="304"/>
                  </a:lnTo>
                  <a:lnTo>
                    <a:pt x="762" y="304"/>
                  </a:lnTo>
                  <a:lnTo>
                    <a:pt x="759" y="319"/>
                  </a:lnTo>
                  <a:lnTo>
                    <a:pt x="759" y="336"/>
                  </a:lnTo>
                  <a:lnTo>
                    <a:pt x="759" y="336"/>
                  </a:lnTo>
                  <a:lnTo>
                    <a:pt x="757" y="337"/>
                  </a:lnTo>
                  <a:lnTo>
                    <a:pt x="754" y="340"/>
                  </a:lnTo>
                  <a:lnTo>
                    <a:pt x="749" y="346"/>
                  </a:lnTo>
                  <a:lnTo>
                    <a:pt x="743" y="352"/>
                  </a:lnTo>
                  <a:lnTo>
                    <a:pt x="740" y="356"/>
                  </a:lnTo>
                  <a:lnTo>
                    <a:pt x="740" y="359"/>
                  </a:lnTo>
                  <a:lnTo>
                    <a:pt x="740" y="359"/>
                  </a:lnTo>
                  <a:lnTo>
                    <a:pt x="738" y="363"/>
                  </a:lnTo>
                  <a:lnTo>
                    <a:pt x="736" y="368"/>
                  </a:lnTo>
                  <a:lnTo>
                    <a:pt x="734" y="372"/>
                  </a:lnTo>
                  <a:lnTo>
                    <a:pt x="731" y="378"/>
                  </a:lnTo>
                  <a:lnTo>
                    <a:pt x="731" y="378"/>
                  </a:lnTo>
                  <a:lnTo>
                    <a:pt x="731" y="381"/>
                  </a:lnTo>
                  <a:lnTo>
                    <a:pt x="733" y="385"/>
                  </a:lnTo>
                  <a:lnTo>
                    <a:pt x="738" y="392"/>
                  </a:lnTo>
                  <a:lnTo>
                    <a:pt x="749" y="405"/>
                  </a:lnTo>
                  <a:lnTo>
                    <a:pt x="749" y="405"/>
                  </a:lnTo>
                  <a:lnTo>
                    <a:pt x="750" y="408"/>
                  </a:lnTo>
                  <a:lnTo>
                    <a:pt x="749" y="413"/>
                  </a:lnTo>
                  <a:lnTo>
                    <a:pt x="746" y="418"/>
                  </a:lnTo>
                  <a:lnTo>
                    <a:pt x="746" y="418"/>
                  </a:lnTo>
                  <a:lnTo>
                    <a:pt x="744" y="440"/>
                  </a:lnTo>
                  <a:lnTo>
                    <a:pt x="741" y="466"/>
                  </a:lnTo>
                  <a:lnTo>
                    <a:pt x="741" y="466"/>
                  </a:lnTo>
                  <a:lnTo>
                    <a:pt x="741" y="482"/>
                  </a:lnTo>
                  <a:lnTo>
                    <a:pt x="743" y="487"/>
                  </a:lnTo>
                  <a:lnTo>
                    <a:pt x="746" y="489"/>
                  </a:lnTo>
                  <a:lnTo>
                    <a:pt x="746" y="489"/>
                  </a:lnTo>
                  <a:lnTo>
                    <a:pt x="749" y="491"/>
                  </a:lnTo>
                  <a:lnTo>
                    <a:pt x="750" y="489"/>
                  </a:lnTo>
                  <a:lnTo>
                    <a:pt x="753" y="488"/>
                  </a:lnTo>
                  <a:lnTo>
                    <a:pt x="756" y="488"/>
                  </a:lnTo>
                  <a:lnTo>
                    <a:pt x="756" y="488"/>
                  </a:lnTo>
                  <a:lnTo>
                    <a:pt x="759" y="487"/>
                  </a:lnTo>
                  <a:lnTo>
                    <a:pt x="762" y="485"/>
                  </a:lnTo>
                  <a:lnTo>
                    <a:pt x="765" y="482"/>
                  </a:lnTo>
                  <a:lnTo>
                    <a:pt x="769" y="481"/>
                  </a:lnTo>
                  <a:lnTo>
                    <a:pt x="769" y="481"/>
                  </a:lnTo>
                  <a:lnTo>
                    <a:pt x="780" y="479"/>
                  </a:lnTo>
                  <a:lnTo>
                    <a:pt x="788" y="481"/>
                  </a:lnTo>
                  <a:lnTo>
                    <a:pt x="795" y="482"/>
                  </a:lnTo>
                  <a:lnTo>
                    <a:pt x="795" y="482"/>
                  </a:lnTo>
                  <a:lnTo>
                    <a:pt x="799" y="485"/>
                  </a:lnTo>
                  <a:lnTo>
                    <a:pt x="802" y="489"/>
                  </a:lnTo>
                  <a:lnTo>
                    <a:pt x="805" y="500"/>
                  </a:lnTo>
                  <a:lnTo>
                    <a:pt x="805" y="500"/>
                  </a:lnTo>
                  <a:lnTo>
                    <a:pt x="807" y="505"/>
                  </a:lnTo>
                  <a:lnTo>
                    <a:pt x="809" y="511"/>
                  </a:lnTo>
                  <a:lnTo>
                    <a:pt x="817" y="523"/>
                  </a:lnTo>
                  <a:lnTo>
                    <a:pt x="817" y="523"/>
                  </a:lnTo>
                  <a:lnTo>
                    <a:pt x="817" y="526"/>
                  </a:lnTo>
                  <a:lnTo>
                    <a:pt x="817" y="529"/>
                  </a:lnTo>
                  <a:lnTo>
                    <a:pt x="812" y="531"/>
                  </a:lnTo>
                  <a:lnTo>
                    <a:pt x="808" y="536"/>
                  </a:lnTo>
                  <a:lnTo>
                    <a:pt x="807" y="540"/>
                  </a:lnTo>
                  <a:lnTo>
                    <a:pt x="805" y="544"/>
                  </a:lnTo>
                  <a:lnTo>
                    <a:pt x="805" y="544"/>
                  </a:lnTo>
                  <a:lnTo>
                    <a:pt x="805" y="550"/>
                  </a:lnTo>
                  <a:lnTo>
                    <a:pt x="807" y="555"/>
                  </a:lnTo>
                  <a:lnTo>
                    <a:pt x="807" y="558"/>
                  </a:lnTo>
                  <a:lnTo>
                    <a:pt x="809" y="559"/>
                  </a:lnTo>
                  <a:lnTo>
                    <a:pt x="814" y="563"/>
                  </a:lnTo>
                  <a:lnTo>
                    <a:pt x="820" y="566"/>
                  </a:lnTo>
                  <a:lnTo>
                    <a:pt x="820" y="566"/>
                  </a:lnTo>
                  <a:lnTo>
                    <a:pt x="822" y="568"/>
                  </a:lnTo>
                  <a:lnTo>
                    <a:pt x="820" y="569"/>
                  </a:lnTo>
                  <a:lnTo>
                    <a:pt x="812" y="571"/>
                  </a:lnTo>
                  <a:lnTo>
                    <a:pt x="812" y="571"/>
                  </a:lnTo>
                  <a:lnTo>
                    <a:pt x="808" y="571"/>
                  </a:lnTo>
                  <a:lnTo>
                    <a:pt x="805" y="573"/>
                  </a:lnTo>
                  <a:lnTo>
                    <a:pt x="801" y="578"/>
                  </a:lnTo>
                  <a:lnTo>
                    <a:pt x="801" y="578"/>
                  </a:lnTo>
                  <a:lnTo>
                    <a:pt x="799" y="578"/>
                  </a:lnTo>
                  <a:lnTo>
                    <a:pt x="796" y="576"/>
                  </a:lnTo>
                  <a:lnTo>
                    <a:pt x="792" y="571"/>
                  </a:lnTo>
                  <a:lnTo>
                    <a:pt x="792" y="571"/>
                  </a:lnTo>
                  <a:lnTo>
                    <a:pt x="792" y="568"/>
                  </a:lnTo>
                  <a:lnTo>
                    <a:pt x="791" y="565"/>
                  </a:lnTo>
                  <a:lnTo>
                    <a:pt x="791" y="553"/>
                  </a:lnTo>
                  <a:lnTo>
                    <a:pt x="792" y="529"/>
                  </a:lnTo>
                  <a:lnTo>
                    <a:pt x="792" y="529"/>
                  </a:lnTo>
                  <a:lnTo>
                    <a:pt x="791" y="520"/>
                  </a:lnTo>
                  <a:lnTo>
                    <a:pt x="788" y="511"/>
                  </a:lnTo>
                  <a:lnTo>
                    <a:pt x="785" y="505"/>
                  </a:lnTo>
                  <a:lnTo>
                    <a:pt x="782" y="501"/>
                  </a:lnTo>
                  <a:lnTo>
                    <a:pt x="782" y="501"/>
                  </a:lnTo>
                  <a:lnTo>
                    <a:pt x="779" y="501"/>
                  </a:lnTo>
                  <a:lnTo>
                    <a:pt x="775" y="502"/>
                  </a:lnTo>
                  <a:lnTo>
                    <a:pt x="763" y="510"/>
                  </a:lnTo>
                  <a:lnTo>
                    <a:pt x="753" y="517"/>
                  </a:lnTo>
                  <a:lnTo>
                    <a:pt x="749" y="523"/>
                  </a:lnTo>
                  <a:lnTo>
                    <a:pt x="749" y="523"/>
                  </a:lnTo>
                  <a:lnTo>
                    <a:pt x="747" y="526"/>
                  </a:lnTo>
                  <a:lnTo>
                    <a:pt x="749" y="529"/>
                  </a:lnTo>
                  <a:lnTo>
                    <a:pt x="753" y="536"/>
                  </a:lnTo>
                  <a:lnTo>
                    <a:pt x="753" y="536"/>
                  </a:lnTo>
                  <a:lnTo>
                    <a:pt x="753" y="539"/>
                  </a:lnTo>
                  <a:lnTo>
                    <a:pt x="753" y="542"/>
                  </a:lnTo>
                  <a:lnTo>
                    <a:pt x="750" y="550"/>
                  </a:lnTo>
                  <a:lnTo>
                    <a:pt x="741" y="571"/>
                  </a:lnTo>
                  <a:lnTo>
                    <a:pt x="741" y="571"/>
                  </a:lnTo>
                  <a:lnTo>
                    <a:pt x="737" y="582"/>
                  </a:lnTo>
                  <a:lnTo>
                    <a:pt x="731" y="592"/>
                  </a:lnTo>
                  <a:lnTo>
                    <a:pt x="724" y="601"/>
                  </a:lnTo>
                  <a:lnTo>
                    <a:pt x="720" y="607"/>
                  </a:lnTo>
                  <a:lnTo>
                    <a:pt x="720" y="607"/>
                  </a:lnTo>
                  <a:lnTo>
                    <a:pt x="718" y="608"/>
                  </a:lnTo>
                  <a:lnTo>
                    <a:pt x="718" y="610"/>
                  </a:lnTo>
                  <a:lnTo>
                    <a:pt x="721" y="614"/>
                  </a:lnTo>
                  <a:lnTo>
                    <a:pt x="728" y="624"/>
                  </a:lnTo>
                  <a:lnTo>
                    <a:pt x="728" y="624"/>
                  </a:lnTo>
                  <a:lnTo>
                    <a:pt x="731" y="630"/>
                  </a:lnTo>
                  <a:lnTo>
                    <a:pt x="733" y="634"/>
                  </a:lnTo>
                  <a:lnTo>
                    <a:pt x="731" y="640"/>
                  </a:lnTo>
                  <a:lnTo>
                    <a:pt x="730" y="644"/>
                  </a:lnTo>
                  <a:lnTo>
                    <a:pt x="730" y="644"/>
                  </a:lnTo>
                  <a:lnTo>
                    <a:pt x="728" y="644"/>
                  </a:lnTo>
                  <a:lnTo>
                    <a:pt x="727" y="643"/>
                  </a:lnTo>
                  <a:lnTo>
                    <a:pt x="723" y="634"/>
                  </a:lnTo>
                  <a:lnTo>
                    <a:pt x="717" y="623"/>
                  </a:lnTo>
                  <a:lnTo>
                    <a:pt x="714" y="614"/>
                  </a:lnTo>
                  <a:lnTo>
                    <a:pt x="714" y="614"/>
                  </a:lnTo>
                  <a:lnTo>
                    <a:pt x="709" y="613"/>
                  </a:lnTo>
                  <a:lnTo>
                    <a:pt x="702" y="611"/>
                  </a:lnTo>
                  <a:lnTo>
                    <a:pt x="688" y="611"/>
                  </a:lnTo>
                  <a:lnTo>
                    <a:pt x="688" y="611"/>
                  </a:lnTo>
                  <a:lnTo>
                    <a:pt x="681" y="610"/>
                  </a:lnTo>
                  <a:lnTo>
                    <a:pt x="675" y="607"/>
                  </a:lnTo>
                  <a:lnTo>
                    <a:pt x="669" y="601"/>
                  </a:lnTo>
                  <a:lnTo>
                    <a:pt x="665" y="597"/>
                  </a:lnTo>
                  <a:lnTo>
                    <a:pt x="665" y="597"/>
                  </a:lnTo>
                  <a:lnTo>
                    <a:pt x="662" y="594"/>
                  </a:lnTo>
                  <a:lnTo>
                    <a:pt x="659" y="594"/>
                  </a:lnTo>
                  <a:lnTo>
                    <a:pt x="653" y="598"/>
                  </a:lnTo>
                  <a:lnTo>
                    <a:pt x="653" y="598"/>
                  </a:lnTo>
                  <a:lnTo>
                    <a:pt x="652" y="598"/>
                  </a:lnTo>
                  <a:lnTo>
                    <a:pt x="650" y="597"/>
                  </a:lnTo>
                  <a:lnTo>
                    <a:pt x="652" y="594"/>
                  </a:lnTo>
                  <a:lnTo>
                    <a:pt x="653" y="589"/>
                  </a:lnTo>
                  <a:lnTo>
                    <a:pt x="653" y="589"/>
                  </a:lnTo>
                  <a:lnTo>
                    <a:pt x="656" y="588"/>
                  </a:lnTo>
                  <a:lnTo>
                    <a:pt x="659" y="588"/>
                  </a:lnTo>
                  <a:lnTo>
                    <a:pt x="667" y="588"/>
                  </a:lnTo>
                  <a:lnTo>
                    <a:pt x="688" y="588"/>
                  </a:lnTo>
                  <a:lnTo>
                    <a:pt x="688" y="588"/>
                  </a:lnTo>
                  <a:lnTo>
                    <a:pt x="694" y="588"/>
                  </a:lnTo>
                  <a:lnTo>
                    <a:pt x="698" y="586"/>
                  </a:lnTo>
                  <a:lnTo>
                    <a:pt x="708" y="582"/>
                  </a:lnTo>
                  <a:lnTo>
                    <a:pt x="708" y="582"/>
                  </a:lnTo>
                  <a:lnTo>
                    <a:pt x="711" y="578"/>
                  </a:lnTo>
                  <a:lnTo>
                    <a:pt x="714" y="571"/>
                  </a:lnTo>
                  <a:lnTo>
                    <a:pt x="721" y="552"/>
                  </a:lnTo>
                  <a:lnTo>
                    <a:pt x="731" y="523"/>
                  </a:lnTo>
                  <a:lnTo>
                    <a:pt x="731" y="523"/>
                  </a:lnTo>
                  <a:lnTo>
                    <a:pt x="731" y="518"/>
                  </a:lnTo>
                  <a:lnTo>
                    <a:pt x="731" y="514"/>
                  </a:lnTo>
                  <a:lnTo>
                    <a:pt x="728" y="510"/>
                  </a:lnTo>
                  <a:lnTo>
                    <a:pt x="725" y="505"/>
                  </a:lnTo>
                  <a:lnTo>
                    <a:pt x="725" y="505"/>
                  </a:lnTo>
                  <a:lnTo>
                    <a:pt x="724" y="504"/>
                  </a:lnTo>
                  <a:lnTo>
                    <a:pt x="723" y="500"/>
                  </a:lnTo>
                  <a:lnTo>
                    <a:pt x="720" y="488"/>
                  </a:lnTo>
                  <a:lnTo>
                    <a:pt x="718" y="473"/>
                  </a:lnTo>
                  <a:lnTo>
                    <a:pt x="717" y="460"/>
                  </a:lnTo>
                  <a:lnTo>
                    <a:pt x="717" y="460"/>
                  </a:lnTo>
                  <a:lnTo>
                    <a:pt x="718" y="447"/>
                  </a:lnTo>
                  <a:lnTo>
                    <a:pt x="720" y="434"/>
                  </a:lnTo>
                  <a:lnTo>
                    <a:pt x="721" y="416"/>
                  </a:lnTo>
                  <a:lnTo>
                    <a:pt x="721" y="416"/>
                  </a:lnTo>
                  <a:lnTo>
                    <a:pt x="720" y="408"/>
                  </a:lnTo>
                  <a:lnTo>
                    <a:pt x="715" y="400"/>
                  </a:lnTo>
                  <a:lnTo>
                    <a:pt x="708" y="385"/>
                  </a:lnTo>
                  <a:lnTo>
                    <a:pt x="708" y="385"/>
                  </a:lnTo>
                  <a:lnTo>
                    <a:pt x="707" y="381"/>
                  </a:lnTo>
                  <a:lnTo>
                    <a:pt x="708" y="376"/>
                  </a:lnTo>
                  <a:lnTo>
                    <a:pt x="714" y="369"/>
                  </a:lnTo>
                  <a:lnTo>
                    <a:pt x="714" y="369"/>
                  </a:lnTo>
                  <a:lnTo>
                    <a:pt x="717" y="361"/>
                  </a:lnTo>
                  <a:lnTo>
                    <a:pt x="718" y="347"/>
                  </a:lnTo>
                  <a:lnTo>
                    <a:pt x="721" y="324"/>
                  </a:lnTo>
                  <a:lnTo>
                    <a:pt x="721" y="324"/>
                  </a:lnTo>
                  <a:lnTo>
                    <a:pt x="723" y="320"/>
                  </a:lnTo>
                  <a:lnTo>
                    <a:pt x="725" y="317"/>
                  </a:lnTo>
                  <a:lnTo>
                    <a:pt x="727" y="314"/>
                  </a:lnTo>
                  <a:lnTo>
                    <a:pt x="728" y="311"/>
                  </a:lnTo>
                  <a:lnTo>
                    <a:pt x="728" y="311"/>
                  </a:lnTo>
                  <a:lnTo>
                    <a:pt x="727" y="308"/>
                  </a:lnTo>
                  <a:lnTo>
                    <a:pt x="724" y="305"/>
                  </a:lnTo>
                  <a:lnTo>
                    <a:pt x="720" y="304"/>
                  </a:lnTo>
                  <a:lnTo>
                    <a:pt x="715" y="304"/>
                  </a:lnTo>
                  <a:lnTo>
                    <a:pt x="715" y="304"/>
                  </a:lnTo>
                  <a:lnTo>
                    <a:pt x="694" y="305"/>
                  </a:lnTo>
                  <a:lnTo>
                    <a:pt x="694" y="305"/>
                  </a:lnTo>
                  <a:lnTo>
                    <a:pt x="688" y="304"/>
                  </a:lnTo>
                  <a:lnTo>
                    <a:pt x="683" y="304"/>
                  </a:lnTo>
                  <a:lnTo>
                    <a:pt x="679" y="301"/>
                  </a:lnTo>
                  <a:lnTo>
                    <a:pt x="679" y="301"/>
                  </a:lnTo>
                  <a:lnTo>
                    <a:pt x="676" y="301"/>
                  </a:lnTo>
                  <a:lnTo>
                    <a:pt x="675" y="301"/>
                  </a:lnTo>
                  <a:lnTo>
                    <a:pt x="669" y="307"/>
                  </a:lnTo>
                  <a:lnTo>
                    <a:pt x="669" y="307"/>
                  </a:lnTo>
                  <a:lnTo>
                    <a:pt x="666" y="311"/>
                  </a:lnTo>
                  <a:lnTo>
                    <a:pt x="666" y="319"/>
                  </a:lnTo>
                  <a:lnTo>
                    <a:pt x="663" y="330"/>
                  </a:lnTo>
                  <a:lnTo>
                    <a:pt x="657" y="350"/>
                  </a:lnTo>
                  <a:lnTo>
                    <a:pt x="657" y="350"/>
                  </a:lnTo>
                  <a:lnTo>
                    <a:pt x="653" y="361"/>
                  </a:lnTo>
                  <a:lnTo>
                    <a:pt x="649" y="368"/>
                  </a:lnTo>
                  <a:lnTo>
                    <a:pt x="643" y="375"/>
                  </a:lnTo>
                  <a:lnTo>
                    <a:pt x="639" y="379"/>
                  </a:lnTo>
                  <a:lnTo>
                    <a:pt x="631" y="385"/>
                  </a:lnTo>
                  <a:lnTo>
                    <a:pt x="628" y="387"/>
                  </a:lnTo>
                  <a:lnTo>
                    <a:pt x="627" y="389"/>
                  </a:lnTo>
                  <a:lnTo>
                    <a:pt x="627" y="389"/>
                  </a:lnTo>
                  <a:lnTo>
                    <a:pt x="627" y="392"/>
                  </a:lnTo>
                  <a:lnTo>
                    <a:pt x="625" y="397"/>
                  </a:lnTo>
                  <a:lnTo>
                    <a:pt x="621" y="404"/>
                  </a:lnTo>
                  <a:lnTo>
                    <a:pt x="621" y="404"/>
                  </a:lnTo>
                  <a:lnTo>
                    <a:pt x="620" y="407"/>
                  </a:lnTo>
                  <a:lnTo>
                    <a:pt x="621" y="408"/>
                  </a:lnTo>
                  <a:lnTo>
                    <a:pt x="627" y="408"/>
                  </a:lnTo>
                  <a:lnTo>
                    <a:pt x="627" y="408"/>
                  </a:lnTo>
                  <a:lnTo>
                    <a:pt x="628" y="410"/>
                  </a:lnTo>
                  <a:lnTo>
                    <a:pt x="628" y="414"/>
                  </a:lnTo>
                  <a:lnTo>
                    <a:pt x="630" y="426"/>
                  </a:lnTo>
                  <a:lnTo>
                    <a:pt x="630" y="445"/>
                  </a:lnTo>
                  <a:lnTo>
                    <a:pt x="630" y="445"/>
                  </a:lnTo>
                  <a:lnTo>
                    <a:pt x="628" y="447"/>
                  </a:lnTo>
                  <a:lnTo>
                    <a:pt x="627" y="447"/>
                  </a:lnTo>
                  <a:lnTo>
                    <a:pt x="623" y="446"/>
                  </a:lnTo>
                  <a:lnTo>
                    <a:pt x="623" y="446"/>
                  </a:lnTo>
                  <a:lnTo>
                    <a:pt x="623" y="450"/>
                  </a:lnTo>
                  <a:lnTo>
                    <a:pt x="623" y="456"/>
                  </a:lnTo>
                  <a:lnTo>
                    <a:pt x="623" y="465"/>
                  </a:lnTo>
                  <a:lnTo>
                    <a:pt x="625" y="471"/>
                  </a:lnTo>
                  <a:lnTo>
                    <a:pt x="625" y="471"/>
                  </a:lnTo>
                  <a:lnTo>
                    <a:pt x="627" y="472"/>
                  </a:lnTo>
                  <a:lnTo>
                    <a:pt x="630" y="471"/>
                  </a:lnTo>
                  <a:lnTo>
                    <a:pt x="631" y="468"/>
                  </a:lnTo>
                  <a:lnTo>
                    <a:pt x="633" y="466"/>
                  </a:lnTo>
                  <a:lnTo>
                    <a:pt x="633" y="466"/>
                  </a:lnTo>
                  <a:lnTo>
                    <a:pt x="634" y="468"/>
                  </a:lnTo>
                  <a:lnTo>
                    <a:pt x="634" y="469"/>
                  </a:lnTo>
                  <a:lnTo>
                    <a:pt x="637" y="475"/>
                  </a:lnTo>
                  <a:lnTo>
                    <a:pt x="639" y="482"/>
                  </a:lnTo>
                  <a:lnTo>
                    <a:pt x="641" y="489"/>
                  </a:lnTo>
                  <a:lnTo>
                    <a:pt x="641" y="489"/>
                  </a:lnTo>
                  <a:lnTo>
                    <a:pt x="644" y="494"/>
                  </a:lnTo>
                  <a:lnTo>
                    <a:pt x="649" y="497"/>
                  </a:lnTo>
                  <a:lnTo>
                    <a:pt x="652" y="498"/>
                  </a:lnTo>
                  <a:lnTo>
                    <a:pt x="656" y="497"/>
                  </a:lnTo>
                  <a:lnTo>
                    <a:pt x="656" y="497"/>
                  </a:lnTo>
                  <a:lnTo>
                    <a:pt x="657" y="497"/>
                  </a:lnTo>
                  <a:lnTo>
                    <a:pt x="659" y="500"/>
                  </a:lnTo>
                  <a:lnTo>
                    <a:pt x="657" y="510"/>
                  </a:lnTo>
                  <a:lnTo>
                    <a:pt x="654" y="521"/>
                  </a:lnTo>
                  <a:lnTo>
                    <a:pt x="652" y="529"/>
                  </a:lnTo>
                  <a:lnTo>
                    <a:pt x="652" y="529"/>
                  </a:lnTo>
                  <a:lnTo>
                    <a:pt x="650" y="530"/>
                  </a:lnTo>
                  <a:lnTo>
                    <a:pt x="649" y="529"/>
                  </a:lnTo>
                  <a:lnTo>
                    <a:pt x="646" y="521"/>
                  </a:lnTo>
                  <a:lnTo>
                    <a:pt x="643" y="513"/>
                  </a:lnTo>
                  <a:lnTo>
                    <a:pt x="640" y="507"/>
                  </a:lnTo>
                  <a:lnTo>
                    <a:pt x="637" y="504"/>
                  </a:lnTo>
                  <a:lnTo>
                    <a:pt x="637" y="504"/>
                  </a:lnTo>
                  <a:lnTo>
                    <a:pt x="623" y="492"/>
                  </a:lnTo>
                  <a:lnTo>
                    <a:pt x="612" y="485"/>
                  </a:lnTo>
                  <a:lnTo>
                    <a:pt x="612" y="485"/>
                  </a:lnTo>
                  <a:lnTo>
                    <a:pt x="601" y="475"/>
                  </a:lnTo>
                  <a:lnTo>
                    <a:pt x="591" y="469"/>
                  </a:lnTo>
                  <a:lnTo>
                    <a:pt x="586" y="466"/>
                  </a:lnTo>
                  <a:lnTo>
                    <a:pt x="583" y="465"/>
                  </a:lnTo>
                  <a:lnTo>
                    <a:pt x="583" y="465"/>
                  </a:lnTo>
                  <a:lnTo>
                    <a:pt x="576" y="465"/>
                  </a:lnTo>
                  <a:lnTo>
                    <a:pt x="568" y="462"/>
                  </a:lnTo>
                  <a:lnTo>
                    <a:pt x="560" y="459"/>
                  </a:lnTo>
                  <a:lnTo>
                    <a:pt x="553" y="459"/>
                  </a:lnTo>
                  <a:lnTo>
                    <a:pt x="553" y="459"/>
                  </a:lnTo>
                  <a:lnTo>
                    <a:pt x="546" y="458"/>
                  </a:lnTo>
                  <a:lnTo>
                    <a:pt x="541" y="456"/>
                  </a:lnTo>
                  <a:lnTo>
                    <a:pt x="536" y="452"/>
                  </a:lnTo>
                  <a:lnTo>
                    <a:pt x="536" y="452"/>
                  </a:lnTo>
                  <a:lnTo>
                    <a:pt x="533" y="452"/>
                  </a:lnTo>
                  <a:lnTo>
                    <a:pt x="530" y="452"/>
                  </a:lnTo>
                  <a:lnTo>
                    <a:pt x="528" y="455"/>
                  </a:lnTo>
                  <a:lnTo>
                    <a:pt x="528" y="456"/>
                  </a:lnTo>
                  <a:lnTo>
                    <a:pt x="528" y="456"/>
                  </a:lnTo>
                  <a:lnTo>
                    <a:pt x="528" y="459"/>
                  </a:lnTo>
                  <a:lnTo>
                    <a:pt x="526" y="463"/>
                  </a:lnTo>
                  <a:lnTo>
                    <a:pt x="524" y="468"/>
                  </a:lnTo>
                  <a:lnTo>
                    <a:pt x="524" y="475"/>
                  </a:lnTo>
                  <a:lnTo>
                    <a:pt x="524" y="475"/>
                  </a:lnTo>
                  <a:lnTo>
                    <a:pt x="528" y="487"/>
                  </a:lnTo>
                  <a:lnTo>
                    <a:pt x="533" y="497"/>
                  </a:lnTo>
                  <a:lnTo>
                    <a:pt x="533" y="497"/>
                  </a:lnTo>
                  <a:lnTo>
                    <a:pt x="534" y="500"/>
                  </a:lnTo>
                  <a:lnTo>
                    <a:pt x="533" y="501"/>
                  </a:lnTo>
                  <a:lnTo>
                    <a:pt x="530" y="504"/>
                  </a:lnTo>
                  <a:lnTo>
                    <a:pt x="521" y="505"/>
                  </a:lnTo>
                  <a:lnTo>
                    <a:pt x="521" y="505"/>
                  </a:lnTo>
                  <a:lnTo>
                    <a:pt x="518" y="508"/>
                  </a:lnTo>
                  <a:lnTo>
                    <a:pt x="518" y="511"/>
                  </a:lnTo>
                  <a:lnTo>
                    <a:pt x="518" y="523"/>
                  </a:lnTo>
                  <a:lnTo>
                    <a:pt x="518" y="523"/>
                  </a:lnTo>
                  <a:lnTo>
                    <a:pt x="517" y="526"/>
                  </a:lnTo>
                  <a:lnTo>
                    <a:pt x="515" y="524"/>
                  </a:lnTo>
                  <a:lnTo>
                    <a:pt x="513" y="521"/>
                  </a:lnTo>
                  <a:lnTo>
                    <a:pt x="510" y="520"/>
                  </a:lnTo>
                  <a:lnTo>
                    <a:pt x="510" y="520"/>
                  </a:lnTo>
                  <a:lnTo>
                    <a:pt x="507" y="518"/>
                  </a:lnTo>
                  <a:lnTo>
                    <a:pt x="507" y="517"/>
                  </a:lnTo>
                  <a:lnTo>
                    <a:pt x="507" y="516"/>
                  </a:lnTo>
                  <a:lnTo>
                    <a:pt x="508" y="516"/>
                  </a:lnTo>
                  <a:lnTo>
                    <a:pt x="508" y="516"/>
                  </a:lnTo>
                  <a:lnTo>
                    <a:pt x="510" y="514"/>
                  </a:lnTo>
                  <a:lnTo>
                    <a:pt x="510" y="513"/>
                  </a:lnTo>
                  <a:lnTo>
                    <a:pt x="511" y="508"/>
                  </a:lnTo>
                  <a:lnTo>
                    <a:pt x="511" y="508"/>
                  </a:lnTo>
                  <a:lnTo>
                    <a:pt x="511" y="505"/>
                  </a:lnTo>
                  <a:lnTo>
                    <a:pt x="510" y="502"/>
                  </a:lnTo>
                  <a:lnTo>
                    <a:pt x="505" y="498"/>
                  </a:lnTo>
                  <a:lnTo>
                    <a:pt x="505" y="498"/>
                  </a:lnTo>
                  <a:lnTo>
                    <a:pt x="502" y="497"/>
                  </a:lnTo>
                  <a:lnTo>
                    <a:pt x="499" y="498"/>
                  </a:lnTo>
                  <a:lnTo>
                    <a:pt x="491" y="504"/>
                  </a:lnTo>
                  <a:lnTo>
                    <a:pt x="491" y="504"/>
                  </a:lnTo>
                  <a:lnTo>
                    <a:pt x="482" y="510"/>
                  </a:lnTo>
                  <a:lnTo>
                    <a:pt x="471" y="513"/>
                  </a:lnTo>
                  <a:lnTo>
                    <a:pt x="471" y="513"/>
                  </a:lnTo>
                  <a:lnTo>
                    <a:pt x="465" y="513"/>
                  </a:lnTo>
                  <a:lnTo>
                    <a:pt x="460" y="511"/>
                  </a:lnTo>
                  <a:lnTo>
                    <a:pt x="457" y="511"/>
                  </a:lnTo>
                  <a:lnTo>
                    <a:pt x="453" y="513"/>
                  </a:lnTo>
                  <a:lnTo>
                    <a:pt x="453" y="513"/>
                  </a:lnTo>
                  <a:lnTo>
                    <a:pt x="444" y="517"/>
                  </a:lnTo>
                  <a:lnTo>
                    <a:pt x="440" y="520"/>
                  </a:lnTo>
                  <a:lnTo>
                    <a:pt x="440" y="520"/>
                  </a:lnTo>
                  <a:lnTo>
                    <a:pt x="440" y="523"/>
                  </a:lnTo>
                  <a:lnTo>
                    <a:pt x="440" y="526"/>
                  </a:lnTo>
                  <a:lnTo>
                    <a:pt x="440" y="527"/>
                  </a:lnTo>
                  <a:lnTo>
                    <a:pt x="439" y="529"/>
                  </a:lnTo>
                  <a:lnTo>
                    <a:pt x="439" y="529"/>
                  </a:lnTo>
                  <a:lnTo>
                    <a:pt x="434" y="530"/>
                  </a:lnTo>
                  <a:lnTo>
                    <a:pt x="433" y="529"/>
                  </a:lnTo>
                  <a:lnTo>
                    <a:pt x="431" y="529"/>
                  </a:lnTo>
                  <a:lnTo>
                    <a:pt x="429" y="531"/>
                  </a:lnTo>
                  <a:lnTo>
                    <a:pt x="429" y="531"/>
                  </a:lnTo>
                  <a:lnTo>
                    <a:pt x="427" y="536"/>
                  </a:lnTo>
                  <a:lnTo>
                    <a:pt x="424" y="537"/>
                  </a:lnTo>
                  <a:lnTo>
                    <a:pt x="420" y="540"/>
                  </a:lnTo>
                  <a:lnTo>
                    <a:pt x="420" y="540"/>
                  </a:lnTo>
                  <a:lnTo>
                    <a:pt x="417" y="542"/>
                  </a:lnTo>
                  <a:lnTo>
                    <a:pt x="415" y="542"/>
                  </a:lnTo>
                  <a:lnTo>
                    <a:pt x="414" y="540"/>
                  </a:lnTo>
                  <a:lnTo>
                    <a:pt x="413" y="540"/>
                  </a:lnTo>
                  <a:lnTo>
                    <a:pt x="413" y="540"/>
                  </a:lnTo>
                  <a:lnTo>
                    <a:pt x="410" y="540"/>
                  </a:lnTo>
                  <a:lnTo>
                    <a:pt x="410" y="539"/>
                  </a:lnTo>
                  <a:lnTo>
                    <a:pt x="408" y="537"/>
                  </a:lnTo>
                  <a:lnTo>
                    <a:pt x="405" y="539"/>
                  </a:lnTo>
                  <a:lnTo>
                    <a:pt x="405" y="539"/>
                  </a:lnTo>
                  <a:lnTo>
                    <a:pt x="404" y="539"/>
                  </a:lnTo>
                  <a:lnTo>
                    <a:pt x="404" y="537"/>
                  </a:lnTo>
                  <a:lnTo>
                    <a:pt x="407" y="531"/>
                  </a:lnTo>
                  <a:lnTo>
                    <a:pt x="407" y="531"/>
                  </a:lnTo>
                  <a:lnTo>
                    <a:pt x="414" y="526"/>
                  </a:lnTo>
                  <a:lnTo>
                    <a:pt x="421" y="520"/>
                  </a:lnTo>
                  <a:lnTo>
                    <a:pt x="421" y="520"/>
                  </a:lnTo>
                  <a:lnTo>
                    <a:pt x="423" y="517"/>
                  </a:lnTo>
                  <a:lnTo>
                    <a:pt x="424" y="511"/>
                  </a:lnTo>
                  <a:lnTo>
                    <a:pt x="423" y="501"/>
                  </a:lnTo>
                  <a:lnTo>
                    <a:pt x="423" y="501"/>
                  </a:lnTo>
                  <a:lnTo>
                    <a:pt x="424" y="498"/>
                  </a:lnTo>
                  <a:lnTo>
                    <a:pt x="427" y="497"/>
                  </a:lnTo>
                  <a:lnTo>
                    <a:pt x="431" y="492"/>
                  </a:lnTo>
                  <a:lnTo>
                    <a:pt x="431" y="492"/>
                  </a:lnTo>
                  <a:lnTo>
                    <a:pt x="417" y="500"/>
                  </a:lnTo>
                  <a:lnTo>
                    <a:pt x="417" y="500"/>
                  </a:lnTo>
                  <a:lnTo>
                    <a:pt x="407" y="505"/>
                  </a:lnTo>
                  <a:lnTo>
                    <a:pt x="398" y="513"/>
                  </a:lnTo>
                  <a:lnTo>
                    <a:pt x="398" y="513"/>
                  </a:lnTo>
                  <a:lnTo>
                    <a:pt x="389" y="517"/>
                  </a:lnTo>
                  <a:lnTo>
                    <a:pt x="376" y="521"/>
                  </a:lnTo>
                  <a:lnTo>
                    <a:pt x="376" y="521"/>
                  </a:lnTo>
                  <a:lnTo>
                    <a:pt x="372" y="523"/>
                  </a:lnTo>
                  <a:lnTo>
                    <a:pt x="369" y="526"/>
                  </a:lnTo>
                  <a:lnTo>
                    <a:pt x="363" y="531"/>
                  </a:lnTo>
                  <a:lnTo>
                    <a:pt x="360" y="536"/>
                  </a:lnTo>
                  <a:lnTo>
                    <a:pt x="358" y="539"/>
                  </a:lnTo>
                  <a:lnTo>
                    <a:pt x="358" y="539"/>
                  </a:lnTo>
                  <a:lnTo>
                    <a:pt x="355" y="540"/>
                  </a:lnTo>
                  <a:lnTo>
                    <a:pt x="350" y="539"/>
                  </a:lnTo>
                  <a:lnTo>
                    <a:pt x="345" y="537"/>
                  </a:lnTo>
                  <a:lnTo>
                    <a:pt x="345" y="537"/>
                  </a:lnTo>
                  <a:lnTo>
                    <a:pt x="343" y="537"/>
                  </a:lnTo>
                  <a:lnTo>
                    <a:pt x="343" y="537"/>
                  </a:lnTo>
                  <a:lnTo>
                    <a:pt x="345" y="540"/>
                  </a:lnTo>
                  <a:lnTo>
                    <a:pt x="347" y="546"/>
                  </a:lnTo>
                  <a:lnTo>
                    <a:pt x="347" y="546"/>
                  </a:lnTo>
                  <a:lnTo>
                    <a:pt x="347" y="547"/>
                  </a:lnTo>
                  <a:lnTo>
                    <a:pt x="346" y="549"/>
                  </a:lnTo>
                  <a:lnTo>
                    <a:pt x="342" y="550"/>
                  </a:lnTo>
                  <a:lnTo>
                    <a:pt x="333" y="552"/>
                  </a:lnTo>
                  <a:lnTo>
                    <a:pt x="333" y="552"/>
                  </a:lnTo>
                  <a:lnTo>
                    <a:pt x="331" y="555"/>
                  </a:lnTo>
                  <a:lnTo>
                    <a:pt x="331" y="560"/>
                  </a:lnTo>
                  <a:lnTo>
                    <a:pt x="331" y="568"/>
                  </a:lnTo>
                  <a:lnTo>
                    <a:pt x="330" y="575"/>
                  </a:lnTo>
                  <a:lnTo>
                    <a:pt x="330" y="575"/>
                  </a:lnTo>
                  <a:lnTo>
                    <a:pt x="329" y="578"/>
                  </a:lnTo>
                  <a:lnTo>
                    <a:pt x="326" y="581"/>
                  </a:lnTo>
                  <a:lnTo>
                    <a:pt x="323" y="582"/>
                  </a:lnTo>
                  <a:lnTo>
                    <a:pt x="320" y="582"/>
                  </a:lnTo>
                  <a:lnTo>
                    <a:pt x="311" y="582"/>
                  </a:lnTo>
                  <a:lnTo>
                    <a:pt x="304" y="582"/>
                  </a:lnTo>
                  <a:lnTo>
                    <a:pt x="304" y="582"/>
                  </a:lnTo>
                  <a:lnTo>
                    <a:pt x="300" y="582"/>
                  </a:lnTo>
                  <a:lnTo>
                    <a:pt x="297" y="579"/>
                  </a:lnTo>
                  <a:lnTo>
                    <a:pt x="294" y="571"/>
                  </a:lnTo>
                  <a:lnTo>
                    <a:pt x="294" y="571"/>
                  </a:lnTo>
                  <a:lnTo>
                    <a:pt x="291" y="568"/>
                  </a:lnTo>
                  <a:lnTo>
                    <a:pt x="288" y="565"/>
                  </a:lnTo>
                  <a:lnTo>
                    <a:pt x="284" y="563"/>
                  </a:lnTo>
                  <a:lnTo>
                    <a:pt x="284" y="563"/>
                  </a:lnTo>
                  <a:lnTo>
                    <a:pt x="282" y="560"/>
                  </a:lnTo>
                  <a:lnTo>
                    <a:pt x="282" y="558"/>
                  </a:lnTo>
                  <a:lnTo>
                    <a:pt x="287" y="549"/>
                  </a:lnTo>
                  <a:lnTo>
                    <a:pt x="287" y="549"/>
                  </a:lnTo>
                  <a:lnTo>
                    <a:pt x="291" y="544"/>
                  </a:lnTo>
                  <a:lnTo>
                    <a:pt x="297" y="542"/>
                  </a:lnTo>
                  <a:lnTo>
                    <a:pt x="303" y="540"/>
                  </a:lnTo>
                  <a:lnTo>
                    <a:pt x="305" y="537"/>
                  </a:lnTo>
                  <a:lnTo>
                    <a:pt x="305" y="537"/>
                  </a:lnTo>
                  <a:lnTo>
                    <a:pt x="307" y="537"/>
                  </a:lnTo>
                  <a:lnTo>
                    <a:pt x="305" y="534"/>
                  </a:lnTo>
                  <a:lnTo>
                    <a:pt x="303" y="530"/>
                  </a:lnTo>
                  <a:lnTo>
                    <a:pt x="297" y="521"/>
                  </a:lnTo>
                  <a:lnTo>
                    <a:pt x="297" y="521"/>
                  </a:lnTo>
                  <a:lnTo>
                    <a:pt x="294" y="517"/>
                  </a:lnTo>
                  <a:lnTo>
                    <a:pt x="289" y="516"/>
                  </a:lnTo>
                  <a:lnTo>
                    <a:pt x="285" y="513"/>
                  </a:lnTo>
                  <a:lnTo>
                    <a:pt x="279" y="513"/>
                  </a:lnTo>
                  <a:lnTo>
                    <a:pt x="279" y="513"/>
                  </a:lnTo>
                  <a:lnTo>
                    <a:pt x="268" y="510"/>
                  </a:lnTo>
                  <a:lnTo>
                    <a:pt x="258" y="507"/>
                  </a:lnTo>
                  <a:lnTo>
                    <a:pt x="258" y="507"/>
                  </a:lnTo>
                  <a:lnTo>
                    <a:pt x="255" y="507"/>
                  </a:lnTo>
                  <a:lnTo>
                    <a:pt x="255" y="508"/>
                  </a:lnTo>
                  <a:lnTo>
                    <a:pt x="258" y="514"/>
                  </a:lnTo>
                  <a:lnTo>
                    <a:pt x="258" y="514"/>
                  </a:lnTo>
                  <a:lnTo>
                    <a:pt x="263" y="521"/>
                  </a:lnTo>
                  <a:lnTo>
                    <a:pt x="266" y="527"/>
                  </a:lnTo>
                  <a:lnTo>
                    <a:pt x="268" y="533"/>
                  </a:lnTo>
                  <a:lnTo>
                    <a:pt x="268" y="533"/>
                  </a:lnTo>
                  <a:lnTo>
                    <a:pt x="268" y="536"/>
                  </a:lnTo>
                  <a:lnTo>
                    <a:pt x="268" y="540"/>
                  </a:lnTo>
                  <a:lnTo>
                    <a:pt x="263" y="552"/>
                  </a:lnTo>
                  <a:lnTo>
                    <a:pt x="259" y="562"/>
                  </a:lnTo>
                  <a:lnTo>
                    <a:pt x="256" y="568"/>
                  </a:lnTo>
                  <a:lnTo>
                    <a:pt x="256" y="568"/>
                  </a:lnTo>
                  <a:lnTo>
                    <a:pt x="258" y="571"/>
                  </a:lnTo>
                  <a:lnTo>
                    <a:pt x="259" y="572"/>
                  </a:lnTo>
                  <a:lnTo>
                    <a:pt x="263" y="575"/>
                  </a:lnTo>
                  <a:lnTo>
                    <a:pt x="269" y="579"/>
                  </a:lnTo>
                  <a:lnTo>
                    <a:pt x="274" y="585"/>
                  </a:lnTo>
                  <a:lnTo>
                    <a:pt x="274" y="585"/>
                  </a:lnTo>
                  <a:lnTo>
                    <a:pt x="275" y="588"/>
                  </a:lnTo>
                  <a:lnTo>
                    <a:pt x="275" y="592"/>
                  </a:lnTo>
                  <a:lnTo>
                    <a:pt x="271" y="601"/>
                  </a:lnTo>
                  <a:lnTo>
                    <a:pt x="262" y="614"/>
                  </a:lnTo>
                  <a:lnTo>
                    <a:pt x="262" y="614"/>
                  </a:lnTo>
                  <a:lnTo>
                    <a:pt x="261" y="615"/>
                  </a:lnTo>
                  <a:lnTo>
                    <a:pt x="258" y="615"/>
                  </a:lnTo>
                  <a:lnTo>
                    <a:pt x="255" y="614"/>
                  </a:lnTo>
                  <a:lnTo>
                    <a:pt x="253" y="613"/>
                  </a:lnTo>
                  <a:lnTo>
                    <a:pt x="253" y="613"/>
                  </a:lnTo>
                  <a:lnTo>
                    <a:pt x="250" y="607"/>
                  </a:lnTo>
                  <a:lnTo>
                    <a:pt x="247" y="605"/>
                  </a:lnTo>
                  <a:lnTo>
                    <a:pt x="245" y="605"/>
                  </a:lnTo>
                  <a:lnTo>
                    <a:pt x="245" y="605"/>
                  </a:lnTo>
                  <a:lnTo>
                    <a:pt x="242" y="604"/>
                  </a:lnTo>
                  <a:lnTo>
                    <a:pt x="240" y="602"/>
                  </a:lnTo>
                  <a:lnTo>
                    <a:pt x="237" y="600"/>
                  </a:lnTo>
                  <a:lnTo>
                    <a:pt x="237" y="600"/>
                  </a:lnTo>
                  <a:lnTo>
                    <a:pt x="234" y="601"/>
                  </a:lnTo>
                  <a:lnTo>
                    <a:pt x="232" y="604"/>
                  </a:lnTo>
                  <a:lnTo>
                    <a:pt x="226" y="613"/>
                  </a:lnTo>
                  <a:lnTo>
                    <a:pt x="226" y="613"/>
                  </a:lnTo>
                  <a:lnTo>
                    <a:pt x="221" y="615"/>
                  </a:lnTo>
                  <a:lnTo>
                    <a:pt x="217" y="618"/>
                  </a:lnTo>
                  <a:lnTo>
                    <a:pt x="211" y="621"/>
                  </a:lnTo>
                  <a:lnTo>
                    <a:pt x="208" y="624"/>
                  </a:lnTo>
                  <a:lnTo>
                    <a:pt x="208" y="624"/>
                  </a:lnTo>
                  <a:lnTo>
                    <a:pt x="200" y="631"/>
                  </a:lnTo>
                  <a:lnTo>
                    <a:pt x="194" y="640"/>
                  </a:lnTo>
                  <a:lnTo>
                    <a:pt x="194" y="640"/>
                  </a:lnTo>
                  <a:lnTo>
                    <a:pt x="192" y="643"/>
                  </a:lnTo>
                  <a:lnTo>
                    <a:pt x="194" y="644"/>
                  </a:lnTo>
                  <a:lnTo>
                    <a:pt x="198" y="652"/>
                  </a:lnTo>
                  <a:lnTo>
                    <a:pt x="207" y="662"/>
                  </a:lnTo>
                  <a:lnTo>
                    <a:pt x="207" y="662"/>
                  </a:lnTo>
                  <a:lnTo>
                    <a:pt x="208" y="665"/>
                  </a:lnTo>
                  <a:lnTo>
                    <a:pt x="208" y="668"/>
                  </a:lnTo>
                  <a:lnTo>
                    <a:pt x="204" y="673"/>
                  </a:lnTo>
                  <a:lnTo>
                    <a:pt x="204" y="673"/>
                  </a:lnTo>
                  <a:lnTo>
                    <a:pt x="203" y="675"/>
                  </a:lnTo>
                  <a:lnTo>
                    <a:pt x="201" y="675"/>
                  </a:lnTo>
                  <a:lnTo>
                    <a:pt x="194" y="672"/>
                  </a:lnTo>
                  <a:lnTo>
                    <a:pt x="181" y="666"/>
                  </a:lnTo>
                  <a:lnTo>
                    <a:pt x="181" y="666"/>
                  </a:lnTo>
                  <a:lnTo>
                    <a:pt x="175" y="665"/>
                  </a:lnTo>
                  <a:lnTo>
                    <a:pt x="171" y="666"/>
                  </a:lnTo>
                  <a:lnTo>
                    <a:pt x="171" y="666"/>
                  </a:lnTo>
                  <a:lnTo>
                    <a:pt x="169" y="668"/>
                  </a:lnTo>
                  <a:lnTo>
                    <a:pt x="168" y="668"/>
                  </a:lnTo>
                  <a:lnTo>
                    <a:pt x="163" y="665"/>
                  </a:lnTo>
                  <a:lnTo>
                    <a:pt x="161" y="660"/>
                  </a:lnTo>
                  <a:lnTo>
                    <a:pt x="158" y="656"/>
                  </a:lnTo>
                  <a:lnTo>
                    <a:pt x="158" y="656"/>
                  </a:lnTo>
                  <a:lnTo>
                    <a:pt x="156" y="653"/>
                  </a:lnTo>
                  <a:lnTo>
                    <a:pt x="155" y="652"/>
                  </a:lnTo>
                  <a:lnTo>
                    <a:pt x="152" y="653"/>
                  </a:lnTo>
                  <a:lnTo>
                    <a:pt x="149" y="652"/>
                  </a:lnTo>
                  <a:lnTo>
                    <a:pt x="149" y="652"/>
                  </a:lnTo>
                  <a:lnTo>
                    <a:pt x="146" y="652"/>
                  </a:lnTo>
                  <a:lnTo>
                    <a:pt x="146" y="653"/>
                  </a:lnTo>
                  <a:lnTo>
                    <a:pt x="146" y="656"/>
                  </a:lnTo>
                  <a:lnTo>
                    <a:pt x="146" y="656"/>
                  </a:lnTo>
                  <a:lnTo>
                    <a:pt x="145" y="657"/>
                  </a:lnTo>
                  <a:lnTo>
                    <a:pt x="143" y="659"/>
                  </a:lnTo>
                  <a:lnTo>
                    <a:pt x="140" y="662"/>
                  </a:lnTo>
                  <a:lnTo>
                    <a:pt x="140" y="662"/>
                  </a:lnTo>
                  <a:lnTo>
                    <a:pt x="139" y="663"/>
                  </a:lnTo>
                  <a:lnTo>
                    <a:pt x="140" y="668"/>
                  </a:lnTo>
                  <a:lnTo>
                    <a:pt x="142" y="673"/>
                  </a:lnTo>
                  <a:lnTo>
                    <a:pt x="148" y="681"/>
                  </a:lnTo>
                  <a:lnTo>
                    <a:pt x="148" y="681"/>
                  </a:lnTo>
                  <a:lnTo>
                    <a:pt x="150" y="685"/>
                  </a:lnTo>
                  <a:lnTo>
                    <a:pt x="153" y="685"/>
                  </a:lnTo>
                  <a:lnTo>
                    <a:pt x="156" y="682"/>
                  </a:lnTo>
                  <a:lnTo>
                    <a:pt x="159" y="681"/>
                  </a:lnTo>
                  <a:lnTo>
                    <a:pt x="159" y="681"/>
                  </a:lnTo>
                  <a:lnTo>
                    <a:pt x="162" y="681"/>
                  </a:lnTo>
                  <a:lnTo>
                    <a:pt x="163" y="682"/>
                  </a:lnTo>
                  <a:lnTo>
                    <a:pt x="163" y="688"/>
                  </a:lnTo>
                  <a:lnTo>
                    <a:pt x="165" y="694"/>
                  </a:lnTo>
                  <a:lnTo>
                    <a:pt x="166" y="698"/>
                  </a:lnTo>
                  <a:lnTo>
                    <a:pt x="166" y="698"/>
                  </a:lnTo>
                  <a:lnTo>
                    <a:pt x="166" y="699"/>
                  </a:lnTo>
                  <a:lnTo>
                    <a:pt x="166" y="701"/>
                  </a:lnTo>
                  <a:lnTo>
                    <a:pt x="163" y="702"/>
                  </a:lnTo>
                  <a:lnTo>
                    <a:pt x="156" y="704"/>
                  </a:lnTo>
                  <a:lnTo>
                    <a:pt x="156" y="704"/>
                  </a:lnTo>
                  <a:lnTo>
                    <a:pt x="153" y="704"/>
                  </a:lnTo>
                  <a:lnTo>
                    <a:pt x="148" y="702"/>
                  </a:lnTo>
                  <a:lnTo>
                    <a:pt x="142" y="701"/>
                  </a:lnTo>
                  <a:lnTo>
                    <a:pt x="137" y="697"/>
                  </a:lnTo>
                  <a:lnTo>
                    <a:pt x="137" y="697"/>
                  </a:lnTo>
                  <a:lnTo>
                    <a:pt x="133" y="694"/>
                  </a:lnTo>
                  <a:lnTo>
                    <a:pt x="132" y="689"/>
                  </a:lnTo>
                  <a:lnTo>
                    <a:pt x="130" y="688"/>
                  </a:lnTo>
                  <a:lnTo>
                    <a:pt x="129" y="686"/>
                  </a:lnTo>
                  <a:lnTo>
                    <a:pt x="129" y="686"/>
                  </a:lnTo>
                  <a:lnTo>
                    <a:pt x="126" y="686"/>
                  </a:lnTo>
                  <a:lnTo>
                    <a:pt x="121" y="685"/>
                  </a:lnTo>
                  <a:lnTo>
                    <a:pt x="117" y="679"/>
                  </a:lnTo>
                  <a:lnTo>
                    <a:pt x="117" y="679"/>
                  </a:lnTo>
                  <a:lnTo>
                    <a:pt x="113" y="675"/>
                  </a:lnTo>
                  <a:lnTo>
                    <a:pt x="111" y="673"/>
                  </a:lnTo>
                  <a:lnTo>
                    <a:pt x="113" y="672"/>
                  </a:lnTo>
                  <a:lnTo>
                    <a:pt x="113" y="672"/>
                  </a:lnTo>
                  <a:lnTo>
                    <a:pt x="113" y="668"/>
                  </a:lnTo>
                  <a:lnTo>
                    <a:pt x="113" y="662"/>
                  </a:lnTo>
                  <a:lnTo>
                    <a:pt x="111" y="649"/>
                  </a:lnTo>
                  <a:lnTo>
                    <a:pt x="111" y="649"/>
                  </a:lnTo>
                  <a:lnTo>
                    <a:pt x="110" y="644"/>
                  </a:lnTo>
                  <a:lnTo>
                    <a:pt x="108" y="643"/>
                  </a:lnTo>
                  <a:lnTo>
                    <a:pt x="107" y="643"/>
                  </a:lnTo>
                  <a:lnTo>
                    <a:pt x="108" y="643"/>
                  </a:lnTo>
                  <a:lnTo>
                    <a:pt x="108" y="643"/>
                  </a:lnTo>
                  <a:lnTo>
                    <a:pt x="111" y="640"/>
                  </a:lnTo>
                  <a:lnTo>
                    <a:pt x="113" y="636"/>
                  </a:lnTo>
                  <a:lnTo>
                    <a:pt x="113" y="630"/>
                  </a:lnTo>
                  <a:lnTo>
                    <a:pt x="111" y="627"/>
                  </a:lnTo>
                  <a:lnTo>
                    <a:pt x="111" y="627"/>
                  </a:lnTo>
                  <a:lnTo>
                    <a:pt x="103" y="618"/>
                  </a:lnTo>
                  <a:lnTo>
                    <a:pt x="98" y="614"/>
                  </a:lnTo>
                  <a:lnTo>
                    <a:pt x="94" y="611"/>
                  </a:lnTo>
                  <a:lnTo>
                    <a:pt x="94" y="611"/>
                  </a:lnTo>
                  <a:lnTo>
                    <a:pt x="92" y="611"/>
                  </a:lnTo>
                  <a:lnTo>
                    <a:pt x="90" y="608"/>
                  </a:lnTo>
                  <a:lnTo>
                    <a:pt x="87" y="602"/>
                  </a:lnTo>
                  <a:lnTo>
                    <a:pt x="87" y="602"/>
                  </a:lnTo>
                  <a:lnTo>
                    <a:pt x="84" y="597"/>
                  </a:lnTo>
                  <a:lnTo>
                    <a:pt x="81" y="594"/>
                  </a:lnTo>
                  <a:lnTo>
                    <a:pt x="79" y="594"/>
                  </a:lnTo>
                  <a:lnTo>
                    <a:pt x="79" y="594"/>
                  </a:lnTo>
                  <a:lnTo>
                    <a:pt x="72" y="592"/>
                  </a:lnTo>
                  <a:lnTo>
                    <a:pt x="69" y="592"/>
                  </a:lnTo>
                  <a:lnTo>
                    <a:pt x="65" y="591"/>
                  </a:lnTo>
                  <a:lnTo>
                    <a:pt x="65" y="591"/>
                  </a:lnTo>
                  <a:lnTo>
                    <a:pt x="64" y="588"/>
                  </a:lnTo>
                  <a:lnTo>
                    <a:pt x="64" y="586"/>
                  </a:lnTo>
                  <a:lnTo>
                    <a:pt x="69" y="584"/>
                  </a:lnTo>
                  <a:lnTo>
                    <a:pt x="69" y="584"/>
                  </a:lnTo>
                  <a:lnTo>
                    <a:pt x="71" y="582"/>
                  </a:lnTo>
                  <a:lnTo>
                    <a:pt x="72" y="579"/>
                  </a:lnTo>
                  <a:lnTo>
                    <a:pt x="74" y="575"/>
                  </a:lnTo>
                  <a:lnTo>
                    <a:pt x="74" y="575"/>
                  </a:lnTo>
                  <a:lnTo>
                    <a:pt x="75" y="575"/>
                  </a:lnTo>
                  <a:lnTo>
                    <a:pt x="77" y="576"/>
                  </a:lnTo>
                  <a:lnTo>
                    <a:pt x="79" y="581"/>
                  </a:lnTo>
                  <a:lnTo>
                    <a:pt x="82" y="585"/>
                  </a:lnTo>
                  <a:lnTo>
                    <a:pt x="87" y="589"/>
                  </a:lnTo>
                  <a:lnTo>
                    <a:pt x="87" y="589"/>
                  </a:lnTo>
                  <a:lnTo>
                    <a:pt x="101" y="597"/>
                  </a:lnTo>
                  <a:lnTo>
                    <a:pt x="116" y="604"/>
                  </a:lnTo>
                  <a:lnTo>
                    <a:pt x="116" y="604"/>
                  </a:lnTo>
                  <a:lnTo>
                    <a:pt x="121" y="605"/>
                  </a:lnTo>
                  <a:lnTo>
                    <a:pt x="130" y="608"/>
                  </a:lnTo>
                  <a:lnTo>
                    <a:pt x="148" y="613"/>
                  </a:lnTo>
                  <a:lnTo>
                    <a:pt x="148" y="613"/>
                  </a:lnTo>
                  <a:lnTo>
                    <a:pt x="162" y="615"/>
                  </a:lnTo>
                  <a:lnTo>
                    <a:pt x="174" y="618"/>
                  </a:lnTo>
                  <a:lnTo>
                    <a:pt x="174" y="618"/>
                  </a:lnTo>
                  <a:lnTo>
                    <a:pt x="179" y="617"/>
                  </a:lnTo>
                  <a:lnTo>
                    <a:pt x="184" y="615"/>
                  </a:lnTo>
                  <a:lnTo>
                    <a:pt x="190" y="614"/>
                  </a:lnTo>
                  <a:lnTo>
                    <a:pt x="194" y="613"/>
                  </a:lnTo>
                  <a:lnTo>
                    <a:pt x="194" y="613"/>
                  </a:lnTo>
                  <a:lnTo>
                    <a:pt x="198" y="611"/>
                  </a:lnTo>
                  <a:lnTo>
                    <a:pt x="203" y="608"/>
                  </a:lnTo>
                  <a:lnTo>
                    <a:pt x="207" y="604"/>
                  </a:lnTo>
                  <a:lnTo>
                    <a:pt x="211" y="598"/>
                  </a:lnTo>
                  <a:lnTo>
                    <a:pt x="211" y="598"/>
                  </a:lnTo>
                  <a:lnTo>
                    <a:pt x="216" y="589"/>
                  </a:lnTo>
                  <a:lnTo>
                    <a:pt x="217" y="581"/>
                  </a:lnTo>
                  <a:lnTo>
                    <a:pt x="217" y="575"/>
                  </a:lnTo>
                  <a:lnTo>
                    <a:pt x="217" y="571"/>
                  </a:lnTo>
                  <a:lnTo>
                    <a:pt x="217" y="571"/>
                  </a:lnTo>
                  <a:lnTo>
                    <a:pt x="216" y="566"/>
                  </a:lnTo>
                  <a:lnTo>
                    <a:pt x="216" y="558"/>
                  </a:lnTo>
                  <a:lnTo>
                    <a:pt x="216" y="550"/>
                  </a:lnTo>
                  <a:lnTo>
                    <a:pt x="214" y="547"/>
                  </a:lnTo>
                  <a:lnTo>
                    <a:pt x="213" y="544"/>
                  </a:lnTo>
                  <a:lnTo>
                    <a:pt x="213" y="544"/>
                  </a:lnTo>
                  <a:lnTo>
                    <a:pt x="208" y="542"/>
                  </a:lnTo>
                  <a:lnTo>
                    <a:pt x="203" y="536"/>
                  </a:lnTo>
                  <a:lnTo>
                    <a:pt x="203" y="536"/>
                  </a:lnTo>
                  <a:lnTo>
                    <a:pt x="197" y="530"/>
                  </a:lnTo>
                  <a:lnTo>
                    <a:pt x="194" y="530"/>
                  </a:lnTo>
                  <a:lnTo>
                    <a:pt x="192" y="530"/>
                  </a:lnTo>
                  <a:lnTo>
                    <a:pt x="192" y="530"/>
                  </a:lnTo>
                  <a:lnTo>
                    <a:pt x="190" y="530"/>
                  </a:lnTo>
                  <a:lnTo>
                    <a:pt x="188" y="529"/>
                  </a:lnTo>
                  <a:lnTo>
                    <a:pt x="184" y="523"/>
                  </a:lnTo>
                  <a:lnTo>
                    <a:pt x="184" y="523"/>
                  </a:lnTo>
                  <a:lnTo>
                    <a:pt x="178" y="520"/>
                  </a:lnTo>
                  <a:lnTo>
                    <a:pt x="171" y="520"/>
                  </a:lnTo>
                  <a:lnTo>
                    <a:pt x="171" y="520"/>
                  </a:lnTo>
                  <a:lnTo>
                    <a:pt x="166" y="518"/>
                  </a:lnTo>
                  <a:lnTo>
                    <a:pt x="165" y="516"/>
                  </a:lnTo>
                  <a:lnTo>
                    <a:pt x="159" y="510"/>
                  </a:lnTo>
                  <a:lnTo>
                    <a:pt x="159" y="510"/>
                  </a:lnTo>
                  <a:lnTo>
                    <a:pt x="153" y="504"/>
                  </a:lnTo>
                  <a:lnTo>
                    <a:pt x="145" y="498"/>
                  </a:lnTo>
                  <a:lnTo>
                    <a:pt x="130" y="487"/>
                  </a:lnTo>
                  <a:lnTo>
                    <a:pt x="130" y="487"/>
                  </a:lnTo>
                  <a:lnTo>
                    <a:pt x="126" y="485"/>
                  </a:lnTo>
                  <a:lnTo>
                    <a:pt x="121" y="482"/>
                  </a:lnTo>
                  <a:lnTo>
                    <a:pt x="116" y="482"/>
                  </a:lnTo>
                  <a:lnTo>
                    <a:pt x="111" y="482"/>
                  </a:lnTo>
                  <a:lnTo>
                    <a:pt x="111" y="482"/>
                  </a:lnTo>
                  <a:lnTo>
                    <a:pt x="107" y="482"/>
                  </a:lnTo>
                  <a:lnTo>
                    <a:pt x="103" y="481"/>
                  </a:lnTo>
                  <a:lnTo>
                    <a:pt x="100" y="481"/>
                  </a:lnTo>
                  <a:lnTo>
                    <a:pt x="97" y="479"/>
                  </a:lnTo>
                  <a:lnTo>
                    <a:pt x="97" y="479"/>
                  </a:lnTo>
                  <a:lnTo>
                    <a:pt x="92" y="479"/>
                  </a:lnTo>
                  <a:lnTo>
                    <a:pt x="91" y="478"/>
                  </a:lnTo>
                  <a:lnTo>
                    <a:pt x="90" y="475"/>
                  </a:lnTo>
                  <a:lnTo>
                    <a:pt x="90" y="475"/>
                  </a:lnTo>
                  <a:lnTo>
                    <a:pt x="88" y="475"/>
                  </a:lnTo>
                  <a:lnTo>
                    <a:pt x="87" y="475"/>
                  </a:lnTo>
                  <a:lnTo>
                    <a:pt x="79" y="479"/>
                  </a:lnTo>
                  <a:lnTo>
                    <a:pt x="79" y="479"/>
                  </a:lnTo>
                  <a:lnTo>
                    <a:pt x="78" y="481"/>
                  </a:lnTo>
                  <a:lnTo>
                    <a:pt x="78" y="479"/>
                  </a:lnTo>
                  <a:lnTo>
                    <a:pt x="78" y="476"/>
                  </a:lnTo>
                  <a:lnTo>
                    <a:pt x="79" y="473"/>
                  </a:lnTo>
                  <a:lnTo>
                    <a:pt x="78" y="472"/>
                  </a:lnTo>
                  <a:lnTo>
                    <a:pt x="78" y="472"/>
                  </a:lnTo>
                  <a:lnTo>
                    <a:pt x="78" y="472"/>
                  </a:lnTo>
                  <a:lnTo>
                    <a:pt x="74" y="471"/>
                  </a:lnTo>
                  <a:lnTo>
                    <a:pt x="71" y="469"/>
                  </a:lnTo>
                  <a:lnTo>
                    <a:pt x="71" y="468"/>
                  </a:lnTo>
                  <a:lnTo>
                    <a:pt x="72" y="468"/>
                  </a:lnTo>
                  <a:lnTo>
                    <a:pt x="72" y="468"/>
                  </a:lnTo>
                  <a:lnTo>
                    <a:pt x="75" y="466"/>
                  </a:lnTo>
                  <a:lnTo>
                    <a:pt x="81" y="463"/>
                  </a:lnTo>
                  <a:lnTo>
                    <a:pt x="82" y="460"/>
                  </a:lnTo>
                  <a:lnTo>
                    <a:pt x="82" y="459"/>
                  </a:lnTo>
                  <a:lnTo>
                    <a:pt x="81" y="456"/>
                  </a:lnTo>
                  <a:lnTo>
                    <a:pt x="81" y="456"/>
                  </a:lnTo>
                  <a:lnTo>
                    <a:pt x="75" y="455"/>
                  </a:lnTo>
                  <a:lnTo>
                    <a:pt x="69" y="453"/>
                  </a:lnTo>
                  <a:lnTo>
                    <a:pt x="65" y="453"/>
                  </a:lnTo>
                  <a:lnTo>
                    <a:pt x="62" y="455"/>
                  </a:lnTo>
                  <a:lnTo>
                    <a:pt x="62" y="455"/>
                  </a:lnTo>
                  <a:lnTo>
                    <a:pt x="59" y="458"/>
                  </a:lnTo>
                  <a:lnTo>
                    <a:pt x="56" y="459"/>
                  </a:lnTo>
                  <a:lnTo>
                    <a:pt x="46" y="459"/>
                  </a:lnTo>
                  <a:lnTo>
                    <a:pt x="46" y="459"/>
                  </a:lnTo>
                  <a:lnTo>
                    <a:pt x="40" y="471"/>
                  </a:lnTo>
                  <a:lnTo>
                    <a:pt x="39" y="475"/>
                  </a:lnTo>
                  <a:lnTo>
                    <a:pt x="36" y="478"/>
                  </a:lnTo>
                  <a:lnTo>
                    <a:pt x="36" y="478"/>
                  </a:lnTo>
                  <a:lnTo>
                    <a:pt x="33" y="479"/>
                  </a:lnTo>
                  <a:lnTo>
                    <a:pt x="30" y="481"/>
                  </a:lnTo>
                  <a:lnTo>
                    <a:pt x="27" y="487"/>
                  </a:lnTo>
                  <a:lnTo>
                    <a:pt x="27" y="487"/>
                  </a:lnTo>
                  <a:lnTo>
                    <a:pt x="24" y="491"/>
                  </a:lnTo>
                  <a:lnTo>
                    <a:pt x="22" y="494"/>
                  </a:lnTo>
                  <a:lnTo>
                    <a:pt x="17" y="498"/>
                  </a:lnTo>
                  <a:lnTo>
                    <a:pt x="17" y="500"/>
                  </a:lnTo>
                  <a:lnTo>
                    <a:pt x="17" y="502"/>
                  </a:lnTo>
                  <a:lnTo>
                    <a:pt x="17" y="502"/>
                  </a:lnTo>
                  <a:lnTo>
                    <a:pt x="16" y="507"/>
                  </a:lnTo>
                  <a:lnTo>
                    <a:pt x="14" y="511"/>
                  </a:lnTo>
                  <a:lnTo>
                    <a:pt x="11" y="517"/>
                  </a:lnTo>
                  <a:lnTo>
                    <a:pt x="10" y="523"/>
                  </a:lnTo>
                  <a:lnTo>
                    <a:pt x="10" y="523"/>
                  </a:lnTo>
                  <a:lnTo>
                    <a:pt x="11" y="527"/>
                  </a:lnTo>
                  <a:lnTo>
                    <a:pt x="13" y="530"/>
                  </a:lnTo>
                  <a:lnTo>
                    <a:pt x="20" y="539"/>
                  </a:lnTo>
                  <a:lnTo>
                    <a:pt x="29" y="546"/>
                  </a:lnTo>
                  <a:lnTo>
                    <a:pt x="30" y="550"/>
                  </a:lnTo>
                  <a:lnTo>
                    <a:pt x="32" y="553"/>
                  </a:lnTo>
                  <a:lnTo>
                    <a:pt x="32" y="553"/>
                  </a:lnTo>
                  <a:lnTo>
                    <a:pt x="32" y="559"/>
                  </a:lnTo>
                  <a:lnTo>
                    <a:pt x="29" y="565"/>
                  </a:lnTo>
                  <a:lnTo>
                    <a:pt x="22" y="575"/>
                  </a:lnTo>
                  <a:lnTo>
                    <a:pt x="22" y="575"/>
                  </a:lnTo>
                  <a:lnTo>
                    <a:pt x="22" y="578"/>
                  </a:lnTo>
                  <a:lnTo>
                    <a:pt x="23" y="585"/>
                  </a:lnTo>
                  <a:lnTo>
                    <a:pt x="29" y="601"/>
                  </a:lnTo>
                  <a:lnTo>
                    <a:pt x="36" y="617"/>
                  </a:lnTo>
                  <a:lnTo>
                    <a:pt x="40" y="627"/>
                  </a:lnTo>
                  <a:lnTo>
                    <a:pt x="40" y="627"/>
                  </a:lnTo>
                  <a:lnTo>
                    <a:pt x="37" y="633"/>
                  </a:lnTo>
                  <a:lnTo>
                    <a:pt x="33" y="639"/>
                  </a:lnTo>
                  <a:lnTo>
                    <a:pt x="33" y="639"/>
                  </a:lnTo>
                  <a:lnTo>
                    <a:pt x="32" y="642"/>
                  </a:lnTo>
                  <a:lnTo>
                    <a:pt x="32" y="646"/>
                  </a:lnTo>
                  <a:lnTo>
                    <a:pt x="33" y="656"/>
                  </a:lnTo>
                  <a:lnTo>
                    <a:pt x="36" y="672"/>
                  </a:lnTo>
                  <a:lnTo>
                    <a:pt x="36" y="672"/>
                  </a:lnTo>
                  <a:lnTo>
                    <a:pt x="37" y="676"/>
                  </a:lnTo>
                  <a:lnTo>
                    <a:pt x="39" y="682"/>
                  </a:lnTo>
                  <a:lnTo>
                    <a:pt x="40" y="685"/>
                  </a:lnTo>
                  <a:lnTo>
                    <a:pt x="45" y="689"/>
                  </a:lnTo>
                  <a:lnTo>
                    <a:pt x="45" y="689"/>
                  </a:lnTo>
                  <a:lnTo>
                    <a:pt x="48" y="692"/>
                  </a:lnTo>
                  <a:lnTo>
                    <a:pt x="46" y="697"/>
                  </a:lnTo>
                  <a:lnTo>
                    <a:pt x="42" y="705"/>
                  </a:lnTo>
                  <a:lnTo>
                    <a:pt x="42" y="705"/>
                  </a:lnTo>
                  <a:lnTo>
                    <a:pt x="42" y="711"/>
                  </a:lnTo>
                  <a:lnTo>
                    <a:pt x="43" y="714"/>
                  </a:lnTo>
                  <a:lnTo>
                    <a:pt x="48" y="717"/>
                  </a:lnTo>
                  <a:lnTo>
                    <a:pt x="50" y="720"/>
                  </a:lnTo>
                  <a:lnTo>
                    <a:pt x="50" y="720"/>
                  </a:lnTo>
                  <a:lnTo>
                    <a:pt x="52" y="724"/>
                  </a:lnTo>
                  <a:lnTo>
                    <a:pt x="53" y="728"/>
                  </a:lnTo>
                  <a:lnTo>
                    <a:pt x="52" y="739"/>
                  </a:lnTo>
                  <a:lnTo>
                    <a:pt x="50" y="752"/>
                  </a:lnTo>
                  <a:lnTo>
                    <a:pt x="46" y="762"/>
                  </a:lnTo>
                  <a:lnTo>
                    <a:pt x="46" y="762"/>
                  </a:lnTo>
                  <a:lnTo>
                    <a:pt x="40" y="773"/>
                  </a:lnTo>
                  <a:lnTo>
                    <a:pt x="29" y="788"/>
                  </a:lnTo>
                  <a:lnTo>
                    <a:pt x="1" y="820"/>
                  </a:lnTo>
                  <a:lnTo>
                    <a:pt x="1" y="820"/>
                  </a:lnTo>
                  <a:lnTo>
                    <a:pt x="6" y="818"/>
                  </a:lnTo>
                  <a:lnTo>
                    <a:pt x="6" y="818"/>
                  </a:lnTo>
                  <a:lnTo>
                    <a:pt x="11" y="817"/>
                  </a:lnTo>
                  <a:lnTo>
                    <a:pt x="11" y="818"/>
                  </a:lnTo>
                  <a:lnTo>
                    <a:pt x="11" y="823"/>
                  </a:lnTo>
                  <a:lnTo>
                    <a:pt x="11" y="823"/>
                  </a:lnTo>
                  <a:lnTo>
                    <a:pt x="11" y="824"/>
                  </a:lnTo>
                  <a:lnTo>
                    <a:pt x="11" y="827"/>
                  </a:lnTo>
                  <a:lnTo>
                    <a:pt x="14" y="827"/>
                  </a:lnTo>
                  <a:lnTo>
                    <a:pt x="19" y="828"/>
                  </a:lnTo>
                  <a:lnTo>
                    <a:pt x="23" y="828"/>
                  </a:lnTo>
                  <a:lnTo>
                    <a:pt x="23" y="828"/>
                  </a:lnTo>
                  <a:lnTo>
                    <a:pt x="26" y="831"/>
                  </a:lnTo>
                  <a:lnTo>
                    <a:pt x="27" y="834"/>
                  </a:lnTo>
                  <a:lnTo>
                    <a:pt x="26" y="837"/>
                  </a:lnTo>
                  <a:lnTo>
                    <a:pt x="23" y="840"/>
                  </a:lnTo>
                  <a:lnTo>
                    <a:pt x="23" y="840"/>
                  </a:lnTo>
                  <a:lnTo>
                    <a:pt x="11" y="841"/>
                  </a:lnTo>
                  <a:lnTo>
                    <a:pt x="7" y="841"/>
                  </a:lnTo>
                  <a:lnTo>
                    <a:pt x="6" y="843"/>
                  </a:lnTo>
                  <a:lnTo>
                    <a:pt x="6" y="844"/>
                  </a:lnTo>
                  <a:lnTo>
                    <a:pt x="6" y="844"/>
                  </a:lnTo>
                  <a:lnTo>
                    <a:pt x="7" y="849"/>
                  </a:lnTo>
                  <a:lnTo>
                    <a:pt x="6" y="850"/>
                  </a:lnTo>
                  <a:lnTo>
                    <a:pt x="3" y="852"/>
                  </a:lnTo>
                  <a:lnTo>
                    <a:pt x="3" y="852"/>
                  </a:lnTo>
                  <a:lnTo>
                    <a:pt x="0" y="869"/>
                  </a:lnTo>
                  <a:lnTo>
                    <a:pt x="0" y="869"/>
                  </a:lnTo>
                  <a:lnTo>
                    <a:pt x="1" y="870"/>
                  </a:lnTo>
                  <a:lnTo>
                    <a:pt x="3" y="872"/>
                  </a:lnTo>
                  <a:lnTo>
                    <a:pt x="3" y="872"/>
                  </a:lnTo>
                  <a:lnTo>
                    <a:pt x="3" y="878"/>
                  </a:lnTo>
                  <a:lnTo>
                    <a:pt x="3" y="882"/>
                  </a:lnTo>
                  <a:lnTo>
                    <a:pt x="3" y="882"/>
                  </a:lnTo>
                  <a:lnTo>
                    <a:pt x="0" y="886"/>
                  </a:lnTo>
                  <a:lnTo>
                    <a:pt x="0" y="886"/>
                  </a:lnTo>
                  <a:lnTo>
                    <a:pt x="3" y="909"/>
                  </a:lnTo>
                  <a:lnTo>
                    <a:pt x="3" y="909"/>
                  </a:lnTo>
                  <a:lnTo>
                    <a:pt x="6" y="918"/>
                  </a:lnTo>
                  <a:lnTo>
                    <a:pt x="7" y="924"/>
                  </a:lnTo>
                  <a:lnTo>
                    <a:pt x="7" y="924"/>
                  </a:lnTo>
                  <a:lnTo>
                    <a:pt x="10" y="928"/>
                  </a:lnTo>
                  <a:lnTo>
                    <a:pt x="10" y="937"/>
                  </a:lnTo>
                  <a:lnTo>
                    <a:pt x="10" y="951"/>
                  </a:lnTo>
                  <a:lnTo>
                    <a:pt x="10" y="951"/>
                  </a:lnTo>
                  <a:lnTo>
                    <a:pt x="22" y="950"/>
                  </a:lnTo>
                  <a:lnTo>
                    <a:pt x="22" y="950"/>
                  </a:lnTo>
                  <a:lnTo>
                    <a:pt x="24" y="951"/>
                  </a:lnTo>
                  <a:lnTo>
                    <a:pt x="26" y="951"/>
                  </a:lnTo>
                  <a:lnTo>
                    <a:pt x="26" y="959"/>
                  </a:lnTo>
                  <a:lnTo>
                    <a:pt x="26" y="959"/>
                  </a:lnTo>
                  <a:lnTo>
                    <a:pt x="26" y="960"/>
                  </a:lnTo>
                  <a:lnTo>
                    <a:pt x="29" y="960"/>
                  </a:lnTo>
                  <a:lnTo>
                    <a:pt x="33" y="959"/>
                  </a:lnTo>
                  <a:lnTo>
                    <a:pt x="40" y="957"/>
                  </a:lnTo>
                  <a:lnTo>
                    <a:pt x="42" y="956"/>
                  </a:lnTo>
                  <a:lnTo>
                    <a:pt x="45" y="957"/>
                  </a:lnTo>
                  <a:lnTo>
                    <a:pt x="45" y="957"/>
                  </a:lnTo>
                  <a:lnTo>
                    <a:pt x="48" y="963"/>
                  </a:lnTo>
                  <a:lnTo>
                    <a:pt x="52" y="976"/>
                  </a:lnTo>
                  <a:lnTo>
                    <a:pt x="59" y="999"/>
                  </a:lnTo>
                  <a:lnTo>
                    <a:pt x="59" y="999"/>
                  </a:lnTo>
                  <a:lnTo>
                    <a:pt x="62" y="1005"/>
                  </a:lnTo>
                  <a:lnTo>
                    <a:pt x="66" y="1008"/>
                  </a:lnTo>
                  <a:lnTo>
                    <a:pt x="71" y="1012"/>
                  </a:lnTo>
                  <a:lnTo>
                    <a:pt x="75" y="1017"/>
                  </a:lnTo>
                  <a:lnTo>
                    <a:pt x="75" y="1017"/>
                  </a:lnTo>
                  <a:lnTo>
                    <a:pt x="75" y="1021"/>
                  </a:lnTo>
                  <a:lnTo>
                    <a:pt x="74" y="1024"/>
                  </a:lnTo>
                  <a:lnTo>
                    <a:pt x="69" y="1030"/>
                  </a:lnTo>
                  <a:lnTo>
                    <a:pt x="61" y="1038"/>
                  </a:lnTo>
                  <a:lnTo>
                    <a:pt x="61" y="1038"/>
                  </a:lnTo>
                  <a:lnTo>
                    <a:pt x="59" y="1047"/>
                  </a:lnTo>
                  <a:lnTo>
                    <a:pt x="59" y="1059"/>
                  </a:lnTo>
                  <a:lnTo>
                    <a:pt x="59" y="1059"/>
                  </a:lnTo>
                  <a:lnTo>
                    <a:pt x="64" y="1057"/>
                  </a:lnTo>
                  <a:lnTo>
                    <a:pt x="69" y="1056"/>
                  </a:lnTo>
                  <a:lnTo>
                    <a:pt x="78" y="1056"/>
                  </a:lnTo>
                  <a:lnTo>
                    <a:pt x="78" y="1056"/>
                  </a:lnTo>
                  <a:lnTo>
                    <a:pt x="87" y="1054"/>
                  </a:lnTo>
                  <a:lnTo>
                    <a:pt x="91" y="1053"/>
                  </a:lnTo>
                  <a:lnTo>
                    <a:pt x="94" y="1050"/>
                  </a:lnTo>
                  <a:lnTo>
                    <a:pt x="94" y="1050"/>
                  </a:lnTo>
                  <a:lnTo>
                    <a:pt x="97" y="1049"/>
                  </a:lnTo>
                  <a:lnTo>
                    <a:pt x="100" y="1049"/>
                  </a:lnTo>
                  <a:lnTo>
                    <a:pt x="101" y="1051"/>
                  </a:lnTo>
                  <a:lnTo>
                    <a:pt x="103" y="1056"/>
                  </a:lnTo>
                  <a:lnTo>
                    <a:pt x="103" y="1056"/>
                  </a:lnTo>
                  <a:lnTo>
                    <a:pt x="108" y="1069"/>
                  </a:lnTo>
                  <a:lnTo>
                    <a:pt x="111" y="1076"/>
                  </a:lnTo>
                  <a:lnTo>
                    <a:pt x="114" y="1080"/>
                  </a:lnTo>
                  <a:lnTo>
                    <a:pt x="114" y="1080"/>
                  </a:lnTo>
                  <a:lnTo>
                    <a:pt x="126" y="1091"/>
                  </a:lnTo>
                  <a:lnTo>
                    <a:pt x="136" y="1102"/>
                  </a:lnTo>
                  <a:lnTo>
                    <a:pt x="136" y="1102"/>
                  </a:lnTo>
                  <a:lnTo>
                    <a:pt x="137" y="1104"/>
                  </a:lnTo>
                  <a:lnTo>
                    <a:pt x="142" y="1105"/>
                  </a:lnTo>
                  <a:lnTo>
                    <a:pt x="150" y="1108"/>
                  </a:lnTo>
                  <a:lnTo>
                    <a:pt x="161" y="1109"/>
                  </a:lnTo>
                  <a:lnTo>
                    <a:pt x="168" y="1112"/>
                  </a:lnTo>
                  <a:lnTo>
                    <a:pt x="168" y="1112"/>
                  </a:lnTo>
                  <a:lnTo>
                    <a:pt x="178" y="1115"/>
                  </a:lnTo>
                  <a:lnTo>
                    <a:pt x="188" y="1117"/>
                  </a:lnTo>
                  <a:lnTo>
                    <a:pt x="188" y="1117"/>
                  </a:lnTo>
                  <a:lnTo>
                    <a:pt x="191" y="1117"/>
                  </a:lnTo>
                  <a:lnTo>
                    <a:pt x="194" y="1118"/>
                  </a:lnTo>
                  <a:lnTo>
                    <a:pt x="198" y="1122"/>
                  </a:lnTo>
                  <a:lnTo>
                    <a:pt x="201" y="1127"/>
                  </a:lnTo>
                  <a:lnTo>
                    <a:pt x="204" y="1133"/>
                  </a:lnTo>
                  <a:lnTo>
                    <a:pt x="204" y="1133"/>
                  </a:lnTo>
                  <a:lnTo>
                    <a:pt x="205" y="1137"/>
                  </a:lnTo>
                  <a:lnTo>
                    <a:pt x="204" y="1144"/>
                  </a:lnTo>
                  <a:lnTo>
                    <a:pt x="203" y="1159"/>
                  </a:lnTo>
                  <a:lnTo>
                    <a:pt x="203" y="1159"/>
                  </a:lnTo>
                  <a:lnTo>
                    <a:pt x="201" y="1164"/>
                  </a:lnTo>
                  <a:lnTo>
                    <a:pt x="197" y="1169"/>
                  </a:lnTo>
                  <a:lnTo>
                    <a:pt x="191" y="1173"/>
                  </a:lnTo>
                  <a:lnTo>
                    <a:pt x="184" y="1175"/>
                  </a:lnTo>
                  <a:lnTo>
                    <a:pt x="184" y="1175"/>
                  </a:lnTo>
                  <a:lnTo>
                    <a:pt x="182" y="1176"/>
                  </a:lnTo>
                  <a:lnTo>
                    <a:pt x="181" y="1177"/>
                  </a:lnTo>
                  <a:lnTo>
                    <a:pt x="179" y="1180"/>
                  </a:lnTo>
                  <a:lnTo>
                    <a:pt x="179" y="1180"/>
                  </a:lnTo>
                  <a:lnTo>
                    <a:pt x="184" y="1179"/>
                  </a:lnTo>
                  <a:lnTo>
                    <a:pt x="184" y="1179"/>
                  </a:lnTo>
                  <a:lnTo>
                    <a:pt x="188" y="1179"/>
                  </a:lnTo>
                  <a:lnTo>
                    <a:pt x="191" y="1180"/>
                  </a:lnTo>
                  <a:lnTo>
                    <a:pt x="191" y="1182"/>
                  </a:lnTo>
                  <a:lnTo>
                    <a:pt x="191" y="1182"/>
                  </a:lnTo>
                  <a:lnTo>
                    <a:pt x="188" y="1185"/>
                  </a:lnTo>
                  <a:lnTo>
                    <a:pt x="184" y="1188"/>
                  </a:lnTo>
                  <a:lnTo>
                    <a:pt x="175" y="1192"/>
                  </a:lnTo>
                  <a:lnTo>
                    <a:pt x="175" y="1192"/>
                  </a:lnTo>
                  <a:lnTo>
                    <a:pt x="169" y="1195"/>
                  </a:lnTo>
                  <a:lnTo>
                    <a:pt x="168" y="1196"/>
                  </a:lnTo>
                  <a:lnTo>
                    <a:pt x="168" y="1201"/>
                  </a:lnTo>
                  <a:lnTo>
                    <a:pt x="168" y="1201"/>
                  </a:lnTo>
                  <a:lnTo>
                    <a:pt x="168" y="1206"/>
                  </a:lnTo>
                  <a:lnTo>
                    <a:pt x="166" y="1212"/>
                  </a:lnTo>
                  <a:lnTo>
                    <a:pt x="165" y="1219"/>
                  </a:lnTo>
                  <a:lnTo>
                    <a:pt x="162" y="1224"/>
                  </a:lnTo>
                  <a:lnTo>
                    <a:pt x="162" y="1224"/>
                  </a:lnTo>
                  <a:lnTo>
                    <a:pt x="159" y="1225"/>
                  </a:lnTo>
                  <a:lnTo>
                    <a:pt x="156" y="1225"/>
                  </a:lnTo>
                  <a:lnTo>
                    <a:pt x="152" y="1227"/>
                  </a:lnTo>
                  <a:lnTo>
                    <a:pt x="152" y="1227"/>
                  </a:lnTo>
                  <a:lnTo>
                    <a:pt x="150" y="1227"/>
                  </a:lnTo>
                  <a:lnTo>
                    <a:pt x="150" y="1228"/>
                  </a:lnTo>
                  <a:lnTo>
                    <a:pt x="153" y="1231"/>
                  </a:lnTo>
                  <a:lnTo>
                    <a:pt x="162" y="1238"/>
                  </a:lnTo>
                  <a:lnTo>
                    <a:pt x="162" y="1238"/>
                  </a:lnTo>
                  <a:lnTo>
                    <a:pt x="166" y="1241"/>
                  </a:lnTo>
                  <a:lnTo>
                    <a:pt x="171" y="1241"/>
                  </a:lnTo>
                  <a:lnTo>
                    <a:pt x="175" y="1241"/>
                  </a:lnTo>
                  <a:lnTo>
                    <a:pt x="179" y="1243"/>
                  </a:lnTo>
                  <a:lnTo>
                    <a:pt x="179" y="1243"/>
                  </a:lnTo>
                  <a:lnTo>
                    <a:pt x="184" y="1247"/>
                  </a:lnTo>
                  <a:lnTo>
                    <a:pt x="191" y="1254"/>
                  </a:lnTo>
                  <a:lnTo>
                    <a:pt x="201" y="1267"/>
                  </a:lnTo>
                  <a:lnTo>
                    <a:pt x="201" y="1267"/>
                  </a:lnTo>
                  <a:lnTo>
                    <a:pt x="203" y="1269"/>
                  </a:lnTo>
                  <a:lnTo>
                    <a:pt x="203" y="1269"/>
                  </a:lnTo>
                  <a:lnTo>
                    <a:pt x="216" y="1263"/>
                  </a:lnTo>
                  <a:lnTo>
                    <a:pt x="216" y="1263"/>
                  </a:lnTo>
                  <a:lnTo>
                    <a:pt x="221" y="1263"/>
                  </a:lnTo>
                  <a:lnTo>
                    <a:pt x="227" y="1266"/>
                  </a:lnTo>
                  <a:lnTo>
                    <a:pt x="243" y="1274"/>
                  </a:lnTo>
                  <a:lnTo>
                    <a:pt x="243" y="1274"/>
                  </a:lnTo>
                  <a:lnTo>
                    <a:pt x="253" y="1279"/>
                  </a:lnTo>
                  <a:lnTo>
                    <a:pt x="271" y="1283"/>
                  </a:lnTo>
                  <a:lnTo>
                    <a:pt x="300" y="1292"/>
                  </a:lnTo>
                  <a:lnTo>
                    <a:pt x="300" y="1292"/>
                  </a:lnTo>
                  <a:lnTo>
                    <a:pt x="307" y="1295"/>
                  </a:lnTo>
                  <a:lnTo>
                    <a:pt x="316" y="1301"/>
                  </a:lnTo>
                  <a:lnTo>
                    <a:pt x="329" y="1309"/>
                  </a:lnTo>
                  <a:lnTo>
                    <a:pt x="329" y="1309"/>
                  </a:lnTo>
                  <a:lnTo>
                    <a:pt x="331" y="1311"/>
                  </a:lnTo>
                  <a:lnTo>
                    <a:pt x="337" y="1311"/>
                  </a:lnTo>
                  <a:lnTo>
                    <a:pt x="349" y="1305"/>
                  </a:lnTo>
                  <a:lnTo>
                    <a:pt x="349" y="1305"/>
                  </a:lnTo>
                  <a:lnTo>
                    <a:pt x="345" y="1299"/>
                  </a:lnTo>
                  <a:lnTo>
                    <a:pt x="339" y="1293"/>
                  </a:lnTo>
                  <a:lnTo>
                    <a:pt x="333" y="1288"/>
                  </a:lnTo>
                  <a:lnTo>
                    <a:pt x="330" y="1283"/>
                  </a:lnTo>
                  <a:lnTo>
                    <a:pt x="330" y="1283"/>
                  </a:lnTo>
                  <a:lnTo>
                    <a:pt x="327" y="1274"/>
                  </a:lnTo>
                  <a:lnTo>
                    <a:pt x="326" y="1264"/>
                  </a:lnTo>
                  <a:lnTo>
                    <a:pt x="326" y="1264"/>
                  </a:lnTo>
                  <a:lnTo>
                    <a:pt x="321" y="1254"/>
                  </a:lnTo>
                  <a:lnTo>
                    <a:pt x="318" y="1250"/>
                  </a:lnTo>
                  <a:lnTo>
                    <a:pt x="316" y="1248"/>
                  </a:lnTo>
                  <a:lnTo>
                    <a:pt x="316" y="1248"/>
                  </a:lnTo>
                  <a:lnTo>
                    <a:pt x="310" y="1247"/>
                  </a:lnTo>
                  <a:lnTo>
                    <a:pt x="310" y="1246"/>
                  </a:lnTo>
                  <a:lnTo>
                    <a:pt x="311" y="1243"/>
                  </a:lnTo>
                  <a:lnTo>
                    <a:pt x="311" y="1243"/>
                  </a:lnTo>
                  <a:lnTo>
                    <a:pt x="313" y="1240"/>
                  </a:lnTo>
                  <a:lnTo>
                    <a:pt x="314" y="1235"/>
                  </a:lnTo>
                  <a:lnTo>
                    <a:pt x="316" y="1227"/>
                  </a:lnTo>
                  <a:lnTo>
                    <a:pt x="317" y="1217"/>
                  </a:lnTo>
                  <a:lnTo>
                    <a:pt x="318" y="1212"/>
                  </a:lnTo>
                  <a:lnTo>
                    <a:pt x="318" y="1212"/>
                  </a:lnTo>
                  <a:lnTo>
                    <a:pt x="321" y="1209"/>
                  </a:lnTo>
                  <a:lnTo>
                    <a:pt x="323" y="1208"/>
                  </a:lnTo>
                  <a:lnTo>
                    <a:pt x="326" y="1208"/>
                  </a:lnTo>
                  <a:lnTo>
                    <a:pt x="329" y="1209"/>
                  </a:lnTo>
                  <a:lnTo>
                    <a:pt x="329" y="1209"/>
                  </a:lnTo>
                  <a:lnTo>
                    <a:pt x="330" y="1211"/>
                  </a:lnTo>
                  <a:lnTo>
                    <a:pt x="331" y="1211"/>
                  </a:lnTo>
                  <a:lnTo>
                    <a:pt x="334" y="1208"/>
                  </a:lnTo>
                  <a:lnTo>
                    <a:pt x="334" y="1208"/>
                  </a:lnTo>
                  <a:lnTo>
                    <a:pt x="346" y="1199"/>
                  </a:lnTo>
                  <a:lnTo>
                    <a:pt x="346" y="1199"/>
                  </a:lnTo>
                  <a:lnTo>
                    <a:pt x="340" y="1192"/>
                  </a:lnTo>
                  <a:lnTo>
                    <a:pt x="340" y="1192"/>
                  </a:lnTo>
                  <a:lnTo>
                    <a:pt x="339" y="1189"/>
                  </a:lnTo>
                  <a:lnTo>
                    <a:pt x="340" y="1185"/>
                  </a:lnTo>
                  <a:lnTo>
                    <a:pt x="342" y="1175"/>
                  </a:lnTo>
                  <a:lnTo>
                    <a:pt x="342" y="1175"/>
                  </a:lnTo>
                  <a:lnTo>
                    <a:pt x="342" y="1172"/>
                  </a:lnTo>
                  <a:lnTo>
                    <a:pt x="340" y="1172"/>
                  </a:lnTo>
                  <a:lnTo>
                    <a:pt x="331" y="1169"/>
                  </a:lnTo>
                  <a:lnTo>
                    <a:pt x="331" y="1169"/>
                  </a:lnTo>
                  <a:lnTo>
                    <a:pt x="326" y="1167"/>
                  </a:lnTo>
                  <a:lnTo>
                    <a:pt x="321" y="1163"/>
                  </a:lnTo>
                  <a:lnTo>
                    <a:pt x="314" y="1153"/>
                  </a:lnTo>
                  <a:lnTo>
                    <a:pt x="314" y="1153"/>
                  </a:lnTo>
                  <a:lnTo>
                    <a:pt x="313" y="1147"/>
                  </a:lnTo>
                  <a:lnTo>
                    <a:pt x="313" y="1141"/>
                  </a:lnTo>
                  <a:lnTo>
                    <a:pt x="314" y="1134"/>
                  </a:lnTo>
                  <a:lnTo>
                    <a:pt x="316" y="1127"/>
                  </a:lnTo>
                  <a:lnTo>
                    <a:pt x="316" y="1127"/>
                  </a:lnTo>
                  <a:lnTo>
                    <a:pt x="320" y="1120"/>
                  </a:lnTo>
                  <a:lnTo>
                    <a:pt x="324" y="1112"/>
                  </a:lnTo>
                  <a:lnTo>
                    <a:pt x="330" y="1104"/>
                  </a:lnTo>
                  <a:lnTo>
                    <a:pt x="330" y="1104"/>
                  </a:lnTo>
                  <a:lnTo>
                    <a:pt x="331" y="1096"/>
                  </a:lnTo>
                  <a:lnTo>
                    <a:pt x="333" y="1091"/>
                  </a:lnTo>
                  <a:lnTo>
                    <a:pt x="336" y="1086"/>
                  </a:lnTo>
                  <a:lnTo>
                    <a:pt x="336" y="1086"/>
                  </a:lnTo>
                  <a:lnTo>
                    <a:pt x="340" y="1085"/>
                  </a:lnTo>
                  <a:lnTo>
                    <a:pt x="349" y="1085"/>
                  </a:lnTo>
                  <a:lnTo>
                    <a:pt x="365" y="1083"/>
                  </a:lnTo>
                  <a:lnTo>
                    <a:pt x="365" y="1083"/>
                  </a:lnTo>
                  <a:lnTo>
                    <a:pt x="368" y="1082"/>
                  </a:lnTo>
                  <a:lnTo>
                    <a:pt x="369" y="1080"/>
                  </a:lnTo>
                  <a:lnTo>
                    <a:pt x="373" y="1073"/>
                  </a:lnTo>
                  <a:lnTo>
                    <a:pt x="376" y="1066"/>
                  </a:lnTo>
                  <a:lnTo>
                    <a:pt x="378" y="1062"/>
                  </a:lnTo>
                  <a:lnTo>
                    <a:pt x="378" y="1062"/>
                  </a:lnTo>
                  <a:lnTo>
                    <a:pt x="382" y="1060"/>
                  </a:lnTo>
                  <a:lnTo>
                    <a:pt x="388" y="1060"/>
                  </a:lnTo>
                  <a:lnTo>
                    <a:pt x="400" y="1062"/>
                  </a:lnTo>
                  <a:lnTo>
                    <a:pt x="400" y="1062"/>
                  </a:lnTo>
                  <a:lnTo>
                    <a:pt x="404" y="1060"/>
                  </a:lnTo>
                  <a:lnTo>
                    <a:pt x="408" y="1059"/>
                  </a:lnTo>
                  <a:lnTo>
                    <a:pt x="411" y="1056"/>
                  </a:lnTo>
                  <a:lnTo>
                    <a:pt x="413" y="1056"/>
                  </a:lnTo>
                  <a:lnTo>
                    <a:pt x="413" y="1056"/>
                  </a:lnTo>
                  <a:lnTo>
                    <a:pt x="424" y="1072"/>
                  </a:lnTo>
                  <a:lnTo>
                    <a:pt x="431" y="1080"/>
                  </a:lnTo>
                  <a:lnTo>
                    <a:pt x="436" y="1085"/>
                  </a:lnTo>
                  <a:lnTo>
                    <a:pt x="439" y="1085"/>
                  </a:lnTo>
                  <a:lnTo>
                    <a:pt x="439" y="1085"/>
                  </a:lnTo>
                  <a:lnTo>
                    <a:pt x="443" y="1085"/>
                  </a:lnTo>
                  <a:lnTo>
                    <a:pt x="444" y="1083"/>
                  </a:lnTo>
                  <a:lnTo>
                    <a:pt x="447" y="1080"/>
                  </a:lnTo>
                  <a:lnTo>
                    <a:pt x="449" y="1076"/>
                  </a:lnTo>
                  <a:lnTo>
                    <a:pt x="449" y="1072"/>
                  </a:lnTo>
                  <a:lnTo>
                    <a:pt x="449" y="1072"/>
                  </a:lnTo>
                  <a:lnTo>
                    <a:pt x="450" y="1069"/>
                  </a:lnTo>
                  <a:lnTo>
                    <a:pt x="453" y="1066"/>
                  </a:lnTo>
                  <a:lnTo>
                    <a:pt x="456" y="1066"/>
                  </a:lnTo>
                  <a:lnTo>
                    <a:pt x="460" y="1067"/>
                  </a:lnTo>
                  <a:lnTo>
                    <a:pt x="460" y="1067"/>
                  </a:lnTo>
                  <a:lnTo>
                    <a:pt x="476" y="1076"/>
                  </a:lnTo>
                  <a:lnTo>
                    <a:pt x="491" y="1082"/>
                  </a:lnTo>
                  <a:lnTo>
                    <a:pt x="491" y="1082"/>
                  </a:lnTo>
                  <a:lnTo>
                    <a:pt x="494" y="1082"/>
                  </a:lnTo>
                  <a:lnTo>
                    <a:pt x="498" y="1080"/>
                  </a:lnTo>
                  <a:lnTo>
                    <a:pt x="504" y="1076"/>
                  </a:lnTo>
                  <a:lnTo>
                    <a:pt x="504" y="1076"/>
                  </a:lnTo>
                  <a:lnTo>
                    <a:pt x="514" y="1079"/>
                  </a:lnTo>
                  <a:lnTo>
                    <a:pt x="520" y="1080"/>
                  </a:lnTo>
                  <a:lnTo>
                    <a:pt x="526" y="1080"/>
                  </a:lnTo>
                  <a:lnTo>
                    <a:pt x="526" y="1080"/>
                  </a:lnTo>
                  <a:lnTo>
                    <a:pt x="527" y="1079"/>
                  </a:lnTo>
                  <a:lnTo>
                    <a:pt x="528" y="1075"/>
                  </a:lnTo>
                  <a:lnTo>
                    <a:pt x="527" y="1072"/>
                  </a:lnTo>
                  <a:lnTo>
                    <a:pt x="524" y="1069"/>
                  </a:lnTo>
                  <a:lnTo>
                    <a:pt x="524" y="1069"/>
                  </a:lnTo>
                  <a:lnTo>
                    <a:pt x="523" y="1066"/>
                  </a:lnTo>
                  <a:lnTo>
                    <a:pt x="523" y="1063"/>
                  </a:lnTo>
                  <a:lnTo>
                    <a:pt x="524" y="1059"/>
                  </a:lnTo>
                  <a:lnTo>
                    <a:pt x="530" y="1056"/>
                  </a:lnTo>
                  <a:lnTo>
                    <a:pt x="530" y="1056"/>
                  </a:lnTo>
                  <a:lnTo>
                    <a:pt x="536" y="1053"/>
                  </a:lnTo>
                  <a:lnTo>
                    <a:pt x="540" y="1049"/>
                  </a:lnTo>
                  <a:lnTo>
                    <a:pt x="547" y="1040"/>
                  </a:lnTo>
                  <a:lnTo>
                    <a:pt x="547" y="1040"/>
                  </a:lnTo>
                  <a:lnTo>
                    <a:pt x="550" y="1034"/>
                  </a:lnTo>
                  <a:lnTo>
                    <a:pt x="553" y="1025"/>
                  </a:lnTo>
                  <a:lnTo>
                    <a:pt x="556" y="1018"/>
                  </a:lnTo>
                  <a:lnTo>
                    <a:pt x="560" y="1011"/>
                  </a:lnTo>
                  <a:lnTo>
                    <a:pt x="560" y="1011"/>
                  </a:lnTo>
                  <a:lnTo>
                    <a:pt x="566" y="1007"/>
                  </a:lnTo>
                  <a:lnTo>
                    <a:pt x="576" y="1004"/>
                  </a:lnTo>
                  <a:lnTo>
                    <a:pt x="586" y="1001"/>
                  </a:lnTo>
                  <a:lnTo>
                    <a:pt x="594" y="999"/>
                  </a:lnTo>
                  <a:lnTo>
                    <a:pt x="594" y="999"/>
                  </a:lnTo>
                  <a:lnTo>
                    <a:pt x="597" y="999"/>
                  </a:lnTo>
                  <a:lnTo>
                    <a:pt x="598" y="998"/>
                  </a:lnTo>
                  <a:lnTo>
                    <a:pt x="599" y="995"/>
                  </a:lnTo>
                  <a:lnTo>
                    <a:pt x="599" y="995"/>
                  </a:lnTo>
                  <a:lnTo>
                    <a:pt x="604" y="993"/>
                  </a:lnTo>
                  <a:lnTo>
                    <a:pt x="610" y="993"/>
                  </a:lnTo>
                  <a:lnTo>
                    <a:pt x="623" y="993"/>
                  </a:lnTo>
                  <a:lnTo>
                    <a:pt x="623" y="993"/>
                  </a:lnTo>
                  <a:lnTo>
                    <a:pt x="631" y="991"/>
                  </a:lnTo>
                  <a:lnTo>
                    <a:pt x="644" y="986"/>
                  </a:lnTo>
                  <a:lnTo>
                    <a:pt x="665" y="978"/>
                  </a:lnTo>
                  <a:lnTo>
                    <a:pt x="665" y="978"/>
                  </a:lnTo>
                  <a:lnTo>
                    <a:pt x="667" y="979"/>
                  </a:lnTo>
                  <a:lnTo>
                    <a:pt x="670" y="979"/>
                  </a:lnTo>
                  <a:lnTo>
                    <a:pt x="681" y="982"/>
                  </a:lnTo>
                  <a:lnTo>
                    <a:pt x="681" y="982"/>
                  </a:lnTo>
                  <a:lnTo>
                    <a:pt x="686" y="982"/>
                  </a:lnTo>
                  <a:lnTo>
                    <a:pt x="689" y="982"/>
                  </a:lnTo>
                  <a:lnTo>
                    <a:pt x="696" y="980"/>
                  </a:lnTo>
                  <a:lnTo>
                    <a:pt x="696" y="980"/>
                  </a:lnTo>
                  <a:lnTo>
                    <a:pt x="698" y="980"/>
                  </a:lnTo>
                  <a:lnTo>
                    <a:pt x="698" y="983"/>
                  </a:lnTo>
                  <a:lnTo>
                    <a:pt x="698" y="989"/>
                  </a:lnTo>
                  <a:lnTo>
                    <a:pt x="696" y="996"/>
                  </a:lnTo>
                  <a:lnTo>
                    <a:pt x="696" y="1002"/>
                  </a:lnTo>
                  <a:lnTo>
                    <a:pt x="696" y="1002"/>
                  </a:lnTo>
                  <a:lnTo>
                    <a:pt x="699" y="1004"/>
                  </a:lnTo>
                  <a:lnTo>
                    <a:pt x="704" y="1004"/>
                  </a:lnTo>
                  <a:lnTo>
                    <a:pt x="715" y="1005"/>
                  </a:lnTo>
                  <a:lnTo>
                    <a:pt x="728" y="1005"/>
                  </a:lnTo>
                  <a:lnTo>
                    <a:pt x="733" y="1007"/>
                  </a:lnTo>
                  <a:lnTo>
                    <a:pt x="736" y="1008"/>
                  </a:lnTo>
                  <a:lnTo>
                    <a:pt x="736" y="1008"/>
                  </a:lnTo>
                  <a:lnTo>
                    <a:pt x="737" y="1011"/>
                  </a:lnTo>
                  <a:lnTo>
                    <a:pt x="737" y="1014"/>
                  </a:lnTo>
                  <a:lnTo>
                    <a:pt x="736" y="1021"/>
                  </a:lnTo>
                  <a:lnTo>
                    <a:pt x="736" y="1021"/>
                  </a:lnTo>
                  <a:lnTo>
                    <a:pt x="736" y="1024"/>
                  </a:lnTo>
                  <a:lnTo>
                    <a:pt x="737" y="1027"/>
                  </a:lnTo>
                  <a:lnTo>
                    <a:pt x="740" y="1031"/>
                  </a:lnTo>
                  <a:lnTo>
                    <a:pt x="746" y="1037"/>
                  </a:lnTo>
                  <a:lnTo>
                    <a:pt x="751" y="1040"/>
                  </a:lnTo>
                  <a:lnTo>
                    <a:pt x="751" y="1040"/>
                  </a:lnTo>
                  <a:lnTo>
                    <a:pt x="756" y="1040"/>
                  </a:lnTo>
                  <a:lnTo>
                    <a:pt x="760" y="1038"/>
                  </a:lnTo>
                  <a:lnTo>
                    <a:pt x="769" y="1031"/>
                  </a:lnTo>
                  <a:lnTo>
                    <a:pt x="779" y="1022"/>
                  </a:lnTo>
                  <a:lnTo>
                    <a:pt x="785" y="1021"/>
                  </a:lnTo>
                  <a:lnTo>
                    <a:pt x="789" y="1020"/>
                  </a:lnTo>
                  <a:lnTo>
                    <a:pt x="789" y="1020"/>
                  </a:lnTo>
                  <a:lnTo>
                    <a:pt x="793" y="1021"/>
                  </a:lnTo>
                  <a:lnTo>
                    <a:pt x="799" y="1027"/>
                  </a:lnTo>
                  <a:lnTo>
                    <a:pt x="814" y="1044"/>
                  </a:lnTo>
                  <a:lnTo>
                    <a:pt x="825" y="1063"/>
                  </a:lnTo>
                  <a:lnTo>
                    <a:pt x="833" y="1076"/>
                  </a:lnTo>
                  <a:lnTo>
                    <a:pt x="833" y="1076"/>
                  </a:lnTo>
                  <a:lnTo>
                    <a:pt x="835" y="1080"/>
                  </a:lnTo>
                  <a:lnTo>
                    <a:pt x="838" y="1082"/>
                  </a:lnTo>
                  <a:lnTo>
                    <a:pt x="844" y="1086"/>
                  </a:lnTo>
                  <a:lnTo>
                    <a:pt x="851" y="1088"/>
                  </a:lnTo>
                  <a:lnTo>
                    <a:pt x="859" y="1088"/>
                  </a:lnTo>
                  <a:lnTo>
                    <a:pt x="859" y="1088"/>
                  </a:lnTo>
                  <a:lnTo>
                    <a:pt x="863" y="1089"/>
                  </a:lnTo>
                  <a:lnTo>
                    <a:pt x="867" y="1092"/>
                  </a:lnTo>
                  <a:lnTo>
                    <a:pt x="877" y="1099"/>
                  </a:lnTo>
                  <a:lnTo>
                    <a:pt x="877" y="1099"/>
                  </a:lnTo>
                  <a:lnTo>
                    <a:pt x="883" y="1102"/>
                  </a:lnTo>
                  <a:lnTo>
                    <a:pt x="889" y="1102"/>
                  </a:lnTo>
                  <a:lnTo>
                    <a:pt x="901" y="1101"/>
                  </a:lnTo>
                  <a:lnTo>
                    <a:pt x="901" y="1101"/>
                  </a:lnTo>
                  <a:lnTo>
                    <a:pt x="906" y="1102"/>
                  </a:lnTo>
                  <a:lnTo>
                    <a:pt x="914" y="1105"/>
                  </a:lnTo>
                  <a:lnTo>
                    <a:pt x="935" y="1114"/>
                  </a:lnTo>
                  <a:lnTo>
                    <a:pt x="956" y="1124"/>
                  </a:lnTo>
                  <a:lnTo>
                    <a:pt x="969" y="1131"/>
                  </a:lnTo>
                  <a:lnTo>
                    <a:pt x="969" y="1131"/>
                  </a:lnTo>
                  <a:lnTo>
                    <a:pt x="970" y="1133"/>
                  </a:lnTo>
                  <a:lnTo>
                    <a:pt x="973" y="1133"/>
                  </a:lnTo>
                  <a:lnTo>
                    <a:pt x="976" y="1131"/>
                  </a:lnTo>
                  <a:lnTo>
                    <a:pt x="979" y="1128"/>
                  </a:lnTo>
                  <a:lnTo>
                    <a:pt x="983" y="1128"/>
                  </a:lnTo>
                  <a:lnTo>
                    <a:pt x="983" y="1128"/>
                  </a:lnTo>
                  <a:lnTo>
                    <a:pt x="986" y="1128"/>
                  </a:lnTo>
                  <a:lnTo>
                    <a:pt x="990" y="1127"/>
                  </a:lnTo>
                  <a:lnTo>
                    <a:pt x="998" y="1124"/>
                  </a:lnTo>
                  <a:lnTo>
                    <a:pt x="998" y="1124"/>
                  </a:lnTo>
                  <a:lnTo>
                    <a:pt x="999" y="1122"/>
                  </a:lnTo>
                  <a:lnTo>
                    <a:pt x="999" y="1120"/>
                  </a:lnTo>
                  <a:lnTo>
                    <a:pt x="1001" y="1112"/>
                  </a:lnTo>
                  <a:lnTo>
                    <a:pt x="999" y="1105"/>
                  </a:lnTo>
                  <a:lnTo>
                    <a:pt x="1001" y="1101"/>
                  </a:lnTo>
                  <a:lnTo>
                    <a:pt x="1001" y="1101"/>
                  </a:lnTo>
                  <a:lnTo>
                    <a:pt x="1005" y="1099"/>
                  </a:lnTo>
                  <a:lnTo>
                    <a:pt x="1012" y="1098"/>
                  </a:lnTo>
                  <a:lnTo>
                    <a:pt x="1028" y="1096"/>
                  </a:lnTo>
                  <a:lnTo>
                    <a:pt x="1028" y="1096"/>
                  </a:lnTo>
                  <a:lnTo>
                    <a:pt x="1044" y="1093"/>
                  </a:lnTo>
                  <a:lnTo>
                    <a:pt x="1059" y="1089"/>
                  </a:lnTo>
                  <a:lnTo>
                    <a:pt x="1059" y="1089"/>
                  </a:lnTo>
                  <a:lnTo>
                    <a:pt x="1063" y="1089"/>
                  </a:lnTo>
                  <a:lnTo>
                    <a:pt x="1067" y="1089"/>
                  </a:lnTo>
                  <a:lnTo>
                    <a:pt x="1076" y="1093"/>
                  </a:lnTo>
                  <a:lnTo>
                    <a:pt x="1076" y="1093"/>
                  </a:lnTo>
                  <a:lnTo>
                    <a:pt x="1082" y="1095"/>
                  </a:lnTo>
                  <a:lnTo>
                    <a:pt x="1085" y="1096"/>
                  </a:lnTo>
                  <a:lnTo>
                    <a:pt x="1089" y="1098"/>
                  </a:lnTo>
                  <a:lnTo>
                    <a:pt x="1093" y="1099"/>
                  </a:lnTo>
                  <a:lnTo>
                    <a:pt x="1093" y="1099"/>
                  </a:lnTo>
                  <a:lnTo>
                    <a:pt x="1105" y="1108"/>
                  </a:lnTo>
                  <a:lnTo>
                    <a:pt x="1112" y="1114"/>
                  </a:lnTo>
                  <a:lnTo>
                    <a:pt x="1119" y="1117"/>
                  </a:lnTo>
                  <a:lnTo>
                    <a:pt x="1119" y="1117"/>
                  </a:lnTo>
                  <a:lnTo>
                    <a:pt x="1122" y="1117"/>
                  </a:lnTo>
                  <a:lnTo>
                    <a:pt x="1127" y="1117"/>
                  </a:lnTo>
                  <a:lnTo>
                    <a:pt x="1132" y="1112"/>
                  </a:lnTo>
                  <a:lnTo>
                    <a:pt x="1137" y="1106"/>
                  </a:lnTo>
                  <a:lnTo>
                    <a:pt x="1140" y="1102"/>
                  </a:lnTo>
                  <a:lnTo>
                    <a:pt x="1140" y="1102"/>
                  </a:lnTo>
                  <a:lnTo>
                    <a:pt x="1140" y="1098"/>
                  </a:lnTo>
                  <a:lnTo>
                    <a:pt x="1138" y="1096"/>
                  </a:lnTo>
                  <a:lnTo>
                    <a:pt x="1138" y="1096"/>
                  </a:lnTo>
                  <a:lnTo>
                    <a:pt x="1138" y="1092"/>
                  </a:lnTo>
                  <a:lnTo>
                    <a:pt x="1141" y="1086"/>
                  </a:lnTo>
                  <a:lnTo>
                    <a:pt x="1150" y="1073"/>
                  </a:lnTo>
                  <a:lnTo>
                    <a:pt x="1150" y="1073"/>
                  </a:lnTo>
                  <a:lnTo>
                    <a:pt x="1153" y="1069"/>
                  </a:lnTo>
                  <a:lnTo>
                    <a:pt x="1153" y="1066"/>
                  </a:lnTo>
                  <a:lnTo>
                    <a:pt x="1153" y="1066"/>
                  </a:lnTo>
                  <a:lnTo>
                    <a:pt x="1153" y="1063"/>
                  </a:lnTo>
                  <a:lnTo>
                    <a:pt x="1154" y="1063"/>
                  </a:lnTo>
                  <a:lnTo>
                    <a:pt x="1160" y="1066"/>
                  </a:lnTo>
                  <a:lnTo>
                    <a:pt x="1160" y="1066"/>
                  </a:lnTo>
                  <a:lnTo>
                    <a:pt x="1180" y="1075"/>
                  </a:lnTo>
                  <a:lnTo>
                    <a:pt x="1180" y="1075"/>
                  </a:lnTo>
                  <a:lnTo>
                    <a:pt x="1190" y="1078"/>
                  </a:lnTo>
                  <a:lnTo>
                    <a:pt x="1196" y="1080"/>
                  </a:lnTo>
                  <a:lnTo>
                    <a:pt x="1199" y="1083"/>
                  </a:lnTo>
                  <a:lnTo>
                    <a:pt x="1200" y="1086"/>
                  </a:lnTo>
                  <a:lnTo>
                    <a:pt x="1200" y="1086"/>
                  </a:lnTo>
                  <a:lnTo>
                    <a:pt x="1202" y="1093"/>
                  </a:lnTo>
                  <a:lnTo>
                    <a:pt x="1208" y="1101"/>
                  </a:lnTo>
                  <a:lnTo>
                    <a:pt x="1215" y="1105"/>
                  </a:lnTo>
                  <a:lnTo>
                    <a:pt x="1224" y="1108"/>
                  </a:lnTo>
                  <a:lnTo>
                    <a:pt x="1224" y="1108"/>
                  </a:lnTo>
                  <a:lnTo>
                    <a:pt x="1232" y="1108"/>
                  </a:lnTo>
                  <a:lnTo>
                    <a:pt x="1241" y="1108"/>
                  </a:lnTo>
                  <a:lnTo>
                    <a:pt x="1250" y="1106"/>
                  </a:lnTo>
                  <a:lnTo>
                    <a:pt x="1256" y="1104"/>
                  </a:lnTo>
                  <a:lnTo>
                    <a:pt x="1256" y="1104"/>
                  </a:lnTo>
                  <a:lnTo>
                    <a:pt x="1260" y="1104"/>
                  </a:lnTo>
                  <a:lnTo>
                    <a:pt x="1266" y="1104"/>
                  </a:lnTo>
                  <a:lnTo>
                    <a:pt x="1270" y="1105"/>
                  </a:lnTo>
                  <a:lnTo>
                    <a:pt x="1273" y="1108"/>
                  </a:lnTo>
                  <a:lnTo>
                    <a:pt x="1273" y="1108"/>
                  </a:lnTo>
                  <a:lnTo>
                    <a:pt x="1279" y="1114"/>
                  </a:lnTo>
                  <a:lnTo>
                    <a:pt x="1287" y="1117"/>
                  </a:lnTo>
                  <a:lnTo>
                    <a:pt x="1287" y="1117"/>
                  </a:lnTo>
                  <a:lnTo>
                    <a:pt x="1300" y="1122"/>
                  </a:lnTo>
                  <a:lnTo>
                    <a:pt x="1313" y="1128"/>
                  </a:lnTo>
                  <a:lnTo>
                    <a:pt x="1313" y="1128"/>
                  </a:lnTo>
                  <a:lnTo>
                    <a:pt x="1326" y="1131"/>
                  </a:lnTo>
                  <a:lnTo>
                    <a:pt x="1338" y="1134"/>
                  </a:lnTo>
                  <a:lnTo>
                    <a:pt x="1338" y="1134"/>
                  </a:lnTo>
                  <a:lnTo>
                    <a:pt x="1341" y="1133"/>
                  </a:lnTo>
                  <a:lnTo>
                    <a:pt x="1345" y="1131"/>
                  </a:lnTo>
                  <a:lnTo>
                    <a:pt x="1353" y="1128"/>
                  </a:lnTo>
                  <a:lnTo>
                    <a:pt x="1353" y="1128"/>
                  </a:lnTo>
                  <a:lnTo>
                    <a:pt x="1370" y="1121"/>
                  </a:lnTo>
                  <a:lnTo>
                    <a:pt x="1390" y="1111"/>
                  </a:lnTo>
                  <a:lnTo>
                    <a:pt x="1390" y="1111"/>
                  </a:lnTo>
                  <a:lnTo>
                    <a:pt x="1395" y="1109"/>
                  </a:lnTo>
                  <a:lnTo>
                    <a:pt x="1397" y="1108"/>
                  </a:lnTo>
                  <a:lnTo>
                    <a:pt x="1403" y="1111"/>
                  </a:lnTo>
                  <a:lnTo>
                    <a:pt x="1403" y="1111"/>
                  </a:lnTo>
                  <a:lnTo>
                    <a:pt x="1408" y="1114"/>
                  </a:lnTo>
                  <a:lnTo>
                    <a:pt x="1413" y="1115"/>
                  </a:lnTo>
                  <a:lnTo>
                    <a:pt x="1425" y="1118"/>
                  </a:lnTo>
                  <a:lnTo>
                    <a:pt x="1425" y="1118"/>
                  </a:lnTo>
                  <a:lnTo>
                    <a:pt x="1441" y="1121"/>
                  </a:lnTo>
                  <a:lnTo>
                    <a:pt x="1448" y="1121"/>
                  </a:lnTo>
                  <a:lnTo>
                    <a:pt x="1454" y="1121"/>
                  </a:lnTo>
                  <a:lnTo>
                    <a:pt x="1454" y="1121"/>
                  </a:lnTo>
                  <a:lnTo>
                    <a:pt x="1463" y="1115"/>
                  </a:lnTo>
                  <a:lnTo>
                    <a:pt x="1470" y="1108"/>
                  </a:lnTo>
                  <a:lnTo>
                    <a:pt x="1470" y="1108"/>
                  </a:lnTo>
                  <a:lnTo>
                    <a:pt x="1473" y="1101"/>
                  </a:lnTo>
                  <a:lnTo>
                    <a:pt x="1474" y="1091"/>
                  </a:lnTo>
                  <a:lnTo>
                    <a:pt x="1474" y="1091"/>
                  </a:lnTo>
                  <a:lnTo>
                    <a:pt x="1480" y="1080"/>
                  </a:lnTo>
                  <a:lnTo>
                    <a:pt x="1487" y="1070"/>
                  </a:lnTo>
                  <a:lnTo>
                    <a:pt x="1487" y="1070"/>
                  </a:lnTo>
                  <a:lnTo>
                    <a:pt x="1489" y="1067"/>
                  </a:lnTo>
                  <a:lnTo>
                    <a:pt x="1486" y="1064"/>
                  </a:lnTo>
                  <a:lnTo>
                    <a:pt x="1486" y="1064"/>
                  </a:lnTo>
                  <a:lnTo>
                    <a:pt x="1484" y="1062"/>
                  </a:lnTo>
                  <a:lnTo>
                    <a:pt x="1486" y="1059"/>
                  </a:lnTo>
                  <a:lnTo>
                    <a:pt x="1487" y="1054"/>
                  </a:lnTo>
                  <a:lnTo>
                    <a:pt x="1487" y="1050"/>
                  </a:lnTo>
                  <a:lnTo>
                    <a:pt x="1487" y="1050"/>
                  </a:lnTo>
                  <a:lnTo>
                    <a:pt x="1487" y="1047"/>
                  </a:lnTo>
                  <a:lnTo>
                    <a:pt x="1484" y="1046"/>
                  </a:lnTo>
                  <a:lnTo>
                    <a:pt x="1479" y="1043"/>
                  </a:lnTo>
                  <a:lnTo>
                    <a:pt x="1479" y="1043"/>
                  </a:lnTo>
                  <a:lnTo>
                    <a:pt x="1479" y="1041"/>
                  </a:lnTo>
                  <a:lnTo>
                    <a:pt x="1479" y="1038"/>
                  </a:lnTo>
                  <a:lnTo>
                    <a:pt x="1483" y="1033"/>
                  </a:lnTo>
                  <a:lnTo>
                    <a:pt x="1489" y="1027"/>
                  </a:lnTo>
                  <a:lnTo>
                    <a:pt x="1493" y="1022"/>
                  </a:lnTo>
                  <a:lnTo>
                    <a:pt x="1493" y="1022"/>
                  </a:lnTo>
                  <a:lnTo>
                    <a:pt x="1518" y="1020"/>
                  </a:lnTo>
                  <a:lnTo>
                    <a:pt x="1539" y="1018"/>
                  </a:lnTo>
                  <a:lnTo>
                    <a:pt x="1539" y="1018"/>
                  </a:lnTo>
                  <a:lnTo>
                    <a:pt x="1548" y="1020"/>
                  </a:lnTo>
                  <a:lnTo>
                    <a:pt x="1557" y="1024"/>
                  </a:lnTo>
                  <a:lnTo>
                    <a:pt x="1557" y="1024"/>
                  </a:lnTo>
                  <a:lnTo>
                    <a:pt x="1560" y="1024"/>
                  </a:lnTo>
                  <a:lnTo>
                    <a:pt x="1563" y="1024"/>
                  </a:lnTo>
                  <a:lnTo>
                    <a:pt x="1565" y="1022"/>
                  </a:lnTo>
                  <a:lnTo>
                    <a:pt x="1570" y="1024"/>
                  </a:lnTo>
                  <a:lnTo>
                    <a:pt x="1570" y="1024"/>
                  </a:lnTo>
                  <a:lnTo>
                    <a:pt x="1574" y="1027"/>
                  </a:lnTo>
                  <a:lnTo>
                    <a:pt x="1577" y="1033"/>
                  </a:lnTo>
                  <a:lnTo>
                    <a:pt x="1586" y="1046"/>
                  </a:lnTo>
                  <a:lnTo>
                    <a:pt x="1600" y="1070"/>
                  </a:lnTo>
                  <a:lnTo>
                    <a:pt x="1600" y="1070"/>
                  </a:lnTo>
                  <a:lnTo>
                    <a:pt x="1602" y="1073"/>
                  </a:lnTo>
                  <a:lnTo>
                    <a:pt x="1602" y="1076"/>
                  </a:lnTo>
                  <a:lnTo>
                    <a:pt x="1602" y="1082"/>
                  </a:lnTo>
                  <a:lnTo>
                    <a:pt x="1602" y="1082"/>
                  </a:lnTo>
                  <a:lnTo>
                    <a:pt x="1603" y="1086"/>
                  </a:lnTo>
                  <a:lnTo>
                    <a:pt x="1606" y="1093"/>
                  </a:lnTo>
                  <a:lnTo>
                    <a:pt x="1609" y="1101"/>
                  </a:lnTo>
                  <a:lnTo>
                    <a:pt x="1610" y="1106"/>
                  </a:lnTo>
                  <a:lnTo>
                    <a:pt x="1610" y="1106"/>
                  </a:lnTo>
                  <a:lnTo>
                    <a:pt x="1610" y="1111"/>
                  </a:lnTo>
                  <a:lnTo>
                    <a:pt x="1613" y="1114"/>
                  </a:lnTo>
                  <a:lnTo>
                    <a:pt x="1620" y="1117"/>
                  </a:lnTo>
                  <a:lnTo>
                    <a:pt x="1620" y="1117"/>
                  </a:lnTo>
                  <a:lnTo>
                    <a:pt x="1632" y="1121"/>
                  </a:lnTo>
                  <a:lnTo>
                    <a:pt x="1641" y="1128"/>
                  </a:lnTo>
                  <a:lnTo>
                    <a:pt x="1641" y="1128"/>
                  </a:lnTo>
                  <a:lnTo>
                    <a:pt x="1660" y="1143"/>
                  </a:lnTo>
                  <a:lnTo>
                    <a:pt x="1660" y="1143"/>
                  </a:lnTo>
                  <a:lnTo>
                    <a:pt x="1661" y="1146"/>
                  </a:lnTo>
                  <a:lnTo>
                    <a:pt x="1662" y="1150"/>
                  </a:lnTo>
                  <a:lnTo>
                    <a:pt x="1662" y="1159"/>
                  </a:lnTo>
                  <a:lnTo>
                    <a:pt x="1662" y="1159"/>
                  </a:lnTo>
                  <a:lnTo>
                    <a:pt x="1665" y="1162"/>
                  </a:lnTo>
                  <a:lnTo>
                    <a:pt x="1670" y="1164"/>
                  </a:lnTo>
                  <a:lnTo>
                    <a:pt x="1674" y="1167"/>
                  </a:lnTo>
                  <a:lnTo>
                    <a:pt x="1678" y="1167"/>
                  </a:lnTo>
                  <a:lnTo>
                    <a:pt x="1678" y="1167"/>
                  </a:lnTo>
                  <a:lnTo>
                    <a:pt x="1684" y="1166"/>
                  </a:lnTo>
                  <a:lnTo>
                    <a:pt x="1691" y="1163"/>
                  </a:lnTo>
                  <a:lnTo>
                    <a:pt x="1700" y="1160"/>
                  </a:lnTo>
                  <a:lnTo>
                    <a:pt x="1704" y="1159"/>
                  </a:lnTo>
                  <a:lnTo>
                    <a:pt x="1704" y="1159"/>
                  </a:lnTo>
                  <a:lnTo>
                    <a:pt x="1715" y="1157"/>
                  </a:lnTo>
                  <a:lnTo>
                    <a:pt x="1723" y="1154"/>
                  </a:lnTo>
                  <a:lnTo>
                    <a:pt x="1723" y="1154"/>
                  </a:lnTo>
                  <a:lnTo>
                    <a:pt x="1725" y="1154"/>
                  </a:lnTo>
                  <a:lnTo>
                    <a:pt x="1725" y="1156"/>
                  </a:lnTo>
                  <a:lnTo>
                    <a:pt x="1723" y="1162"/>
                  </a:lnTo>
                  <a:lnTo>
                    <a:pt x="1719" y="1176"/>
                  </a:lnTo>
                  <a:lnTo>
                    <a:pt x="1719" y="1176"/>
                  </a:lnTo>
                  <a:lnTo>
                    <a:pt x="1718" y="1189"/>
                  </a:lnTo>
                  <a:lnTo>
                    <a:pt x="1716" y="1198"/>
                  </a:lnTo>
                  <a:lnTo>
                    <a:pt x="1713" y="1206"/>
                  </a:lnTo>
                  <a:lnTo>
                    <a:pt x="1713" y="1206"/>
                  </a:lnTo>
                  <a:lnTo>
                    <a:pt x="1709" y="1214"/>
                  </a:lnTo>
                  <a:lnTo>
                    <a:pt x="1704" y="1222"/>
                  </a:lnTo>
                  <a:lnTo>
                    <a:pt x="1699" y="1228"/>
                  </a:lnTo>
                  <a:lnTo>
                    <a:pt x="1694" y="1232"/>
                  </a:lnTo>
                  <a:lnTo>
                    <a:pt x="1694" y="1232"/>
                  </a:lnTo>
                  <a:lnTo>
                    <a:pt x="1691" y="1234"/>
                  </a:lnTo>
                  <a:lnTo>
                    <a:pt x="1687" y="1232"/>
                  </a:lnTo>
                  <a:lnTo>
                    <a:pt x="1683" y="1231"/>
                  </a:lnTo>
                  <a:lnTo>
                    <a:pt x="1680" y="1231"/>
                  </a:lnTo>
                  <a:lnTo>
                    <a:pt x="1680" y="1231"/>
                  </a:lnTo>
                  <a:lnTo>
                    <a:pt x="1673" y="1235"/>
                  </a:lnTo>
                  <a:lnTo>
                    <a:pt x="1670" y="1237"/>
                  </a:lnTo>
                  <a:lnTo>
                    <a:pt x="1668" y="1238"/>
                  </a:lnTo>
                  <a:lnTo>
                    <a:pt x="1668" y="1238"/>
                  </a:lnTo>
                  <a:lnTo>
                    <a:pt x="1668" y="1241"/>
                  </a:lnTo>
                  <a:lnTo>
                    <a:pt x="1668" y="1244"/>
                  </a:lnTo>
                  <a:lnTo>
                    <a:pt x="1671" y="1253"/>
                  </a:lnTo>
                  <a:lnTo>
                    <a:pt x="1671" y="1253"/>
                  </a:lnTo>
                  <a:lnTo>
                    <a:pt x="1673" y="1257"/>
                  </a:lnTo>
                  <a:lnTo>
                    <a:pt x="1670" y="1264"/>
                  </a:lnTo>
                  <a:lnTo>
                    <a:pt x="1665" y="1276"/>
                  </a:lnTo>
                  <a:lnTo>
                    <a:pt x="1665" y="1276"/>
                  </a:lnTo>
                  <a:lnTo>
                    <a:pt x="1664" y="1279"/>
                  </a:lnTo>
                  <a:lnTo>
                    <a:pt x="1661" y="1279"/>
                  </a:lnTo>
                  <a:lnTo>
                    <a:pt x="1655" y="1280"/>
                  </a:lnTo>
                  <a:lnTo>
                    <a:pt x="1658" y="1290"/>
                  </a:lnTo>
                  <a:lnTo>
                    <a:pt x="1658" y="1290"/>
                  </a:lnTo>
                  <a:lnTo>
                    <a:pt x="1664" y="1288"/>
                  </a:lnTo>
                  <a:lnTo>
                    <a:pt x="1670" y="1285"/>
                  </a:lnTo>
                  <a:lnTo>
                    <a:pt x="1670" y="1285"/>
                  </a:lnTo>
                  <a:lnTo>
                    <a:pt x="1671" y="1283"/>
                  </a:lnTo>
                  <a:lnTo>
                    <a:pt x="1673" y="1280"/>
                  </a:lnTo>
                  <a:lnTo>
                    <a:pt x="1676" y="1276"/>
                  </a:lnTo>
                  <a:lnTo>
                    <a:pt x="1677" y="1273"/>
                  </a:lnTo>
                  <a:lnTo>
                    <a:pt x="1677" y="1273"/>
                  </a:lnTo>
                  <a:lnTo>
                    <a:pt x="1680" y="1274"/>
                  </a:lnTo>
                  <a:lnTo>
                    <a:pt x="1683" y="1276"/>
                  </a:lnTo>
                  <a:lnTo>
                    <a:pt x="1690" y="1285"/>
                  </a:lnTo>
                  <a:lnTo>
                    <a:pt x="1690" y="1285"/>
                  </a:lnTo>
                  <a:lnTo>
                    <a:pt x="1693" y="1285"/>
                  </a:lnTo>
                  <a:lnTo>
                    <a:pt x="1696" y="1285"/>
                  </a:lnTo>
                  <a:lnTo>
                    <a:pt x="1703" y="1285"/>
                  </a:lnTo>
                  <a:lnTo>
                    <a:pt x="1718" y="1279"/>
                  </a:lnTo>
                  <a:lnTo>
                    <a:pt x="1718" y="1279"/>
                  </a:lnTo>
                  <a:lnTo>
                    <a:pt x="1723" y="1276"/>
                  </a:lnTo>
                  <a:lnTo>
                    <a:pt x="1729" y="1269"/>
                  </a:lnTo>
                  <a:lnTo>
                    <a:pt x="1736" y="1259"/>
                  </a:lnTo>
                  <a:lnTo>
                    <a:pt x="1736" y="1259"/>
                  </a:lnTo>
                  <a:lnTo>
                    <a:pt x="1751" y="1240"/>
                  </a:lnTo>
                  <a:lnTo>
                    <a:pt x="1751" y="1240"/>
                  </a:lnTo>
                  <a:lnTo>
                    <a:pt x="1758" y="1234"/>
                  </a:lnTo>
                  <a:lnTo>
                    <a:pt x="1768" y="1227"/>
                  </a:lnTo>
                  <a:lnTo>
                    <a:pt x="1768" y="1227"/>
                  </a:lnTo>
                  <a:lnTo>
                    <a:pt x="1773" y="1222"/>
                  </a:lnTo>
                  <a:lnTo>
                    <a:pt x="1777" y="1215"/>
                  </a:lnTo>
                  <a:lnTo>
                    <a:pt x="1783" y="1202"/>
                  </a:lnTo>
                  <a:lnTo>
                    <a:pt x="1783" y="1202"/>
                  </a:lnTo>
                  <a:lnTo>
                    <a:pt x="1790" y="1190"/>
                  </a:lnTo>
                  <a:lnTo>
                    <a:pt x="1799" y="1175"/>
                  </a:lnTo>
                  <a:lnTo>
                    <a:pt x="1799" y="1175"/>
                  </a:lnTo>
                  <a:lnTo>
                    <a:pt x="1804" y="1167"/>
                  </a:lnTo>
                  <a:lnTo>
                    <a:pt x="1812" y="1162"/>
                  </a:lnTo>
                  <a:lnTo>
                    <a:pt x="1812" y="1162"/>
                  </a:lnTo>
                  <a:lnTo>
                    <a:pt x="1813" y="1159"/>
                  </a:lnTo>
                  <a:lnTo>
                    <a:pt x="1813" y="1154"/>
                  </a:lnTo>
                  <a:lnTo>
                    <a:pt x="1815" y="1143"/>
                  </a:lnTo>
                  <a:lnTo>
                    <a:pt x="1816" y="1130"/>
                  </a:lnTo>
                  <a:lnTo>
                    <a:pt x="1819" y="1117"/>
                  </a:lnTo>
                  <a:lnTo>
                    <a:pt x="1819" y="1117"/>
                  </a:lnTo>
                  <a:lnTo>
                    <a:pt x="1820" y="1108"/>
                  </a:lnTo>
                  <a:lnTo>
                    <a:pt x="1819" y="1101"/>
                  </a:lnTo>
                  <a:lnTo>
                    <a:pt x="1819" y="1096"/>
                  </a:lnTo>
                  <a:lnTo>
                    <a:pt x="1819" y="1091"/>
                  </a:lnTo>
                  <a:lnTo>
                    <a:pt x="1819" y="1091"/>
                  </a:lnTo>
                  <a:lnTo>
                    <a:pt x="1822" y="1083"/>
                  </a:lnTo>
                  <a:lnTo>
                    <a:pt x="1826" y="1075"/>
                  </a:lnTo>
                  <a:lnTo>
                    <a:pt x="1832" y="1062"/>
                  </a:lnTo>
                  <a:lnTo>
                    <a:pt x="1832" y="1062"/>
                  </a:lnTo>
                  <a:lnTo>
                    <a:pt x="1832" y="1059"/>
                  </a:lnTo>
                  <a:lnTo>
                    <a:pt x="1832" y="1056"/>
                  </a:lnTo>
                  <a:lnTo>
                    <a:pt x="1829" y="1053"/>
                  </a:lnTo>
                  <a:lnTo>
                    <a:pt x="1828" y="1053"/>
                  </a:lnTo>
                  <a:lnTo>
                    <a:pt x="1828" y="1053"/>
                  </a:lnTo>
                  <a:lnTo>
                    <a:pt x="1826" y="1053"/>
                  </a:lnTo>
                  <a:lnTo>
                    <a:pt x="1825" y="1051"/>
                  </a:lnTo>
                  <a:lnTo>
                    <a:pt x="1823" y="1047"/>
                  </a:lnTo>
                  <a:lnTo>
                    <a:pt x="1819" y="1035"/>
                  </a:lnTo>
                  <a:lnTo>
                    <a:pt x="1819" y="1035"/>
                  </a:lnTo>
                  <a:lnTo>
                    <a:pt x="1819" y="1034"/>
                  </a:lnTo>
                  <a:lnTo>
                    <a:pt x="1819" y="1034"/>
                  </a:lnTo>
                  <a:lnTo>
                    <a:pt x="1823" y="1031"/>
                  </a:lnTo>
                  <a:lnTo>
                    <a:pt x="1823" y="1031"/>
                  </a:lnTo>
                  <a:lnTo>
                    <a:pt x="1823" y="1030"/>
                  </a:lnTo>
                  <a:lnTo>
                    <a:pt x="1823" y="1028"/>
                  </a:lnTo>
                  <a:lnTo>
                    <a:pt x="1819" y="1024"/>
                  </a:lnTo>
                  <a:lnTo>
                    <a:pt x="1813" y="1021"/>
                  </a:lnTo>
                  <a:lnTo>
                    <a:pt x="1807" y="1018"/>
                  </a:lnTo>
                  <a:lnTo>
                    <a:pt x="1807" y="1018"/>
                  </a:lnTo>
                  <a:lnTo>
                    <a:pt x="1806" y="1017"/>
                  </a:lnTo>
                  <a:lnTo>
                    <a:pt x="1804" y="1015"/>
                  </a:lnTo>
                  <a:lnTo>
                    <a:pt x="1804" y="1011"/>
                  </a:lnTo>
                  <a:lnTo>
                    <a:pt x="1803" y="1008"/>
                  </a:lnTo>
                  <a:lnTo>
                    <a:pt x="1800" y="1005"/>
                  </a:lnTo>
                  <a:lnTo>
                    <a:pt x="1800" y="1005"/>
                  </a:lnTo>
                  <a:lnTo>
                    <a:pt x="1788" y="999"/>
                  </a:lnTo>
                  <a:lnTo>
                    <a:pt x="1783" y="998"/>
                  </a:lnTo>
                  <a:lnTo>
                    <a:pt x="1778" y="998"/>
                  </a:lnTo>
                  <a:lnTo>
                    <a:pt x="1778" y="998"/>
                  </a:lnTo>
                  <a:lnTo>
                    <a:pt x="1777" y="998"/>
                  </a:lnTo>
                  <a:lnTo>
                    <a:pt x="1777" y="999"/>
                  </a:lnTo>
                  <a:lnTo>
                    <a:pt x="1778" y="1004"/>
                  </a:lnTo>
                  <a:lnTo>
                    <a:pt x="1780" y="1008"/>
                  </a:lnTo>
                  <a:lnTo>
                    <a:pt x="1780" y="1009"/>
                  </a:lnTo>
                  <a:lnTo>
                    <a:pt x="1778" y="1009"/>
                  </a:lnTo>
                  <a:lnTo>
                    <a:pt x="1778" y="1009"/>
                  </a:lnTo>
                  <a:lnTo>
                    <a:pt x="1775" y="1011"/>
                  </a:lnTo>
                  <a:lnTo>
                    <a:pt x="1773" y="1012"/>
                  </a:lnTo>
                  <a:lnTo>
                    <a:pt x="1770" y="1015"/>
                  </a:lnTo>
                  <a:lnTo>
                    <a:pt x="1764" y="1015"/>
                  </a:lnTo>
                  <a:lnTo>
                    <a:pt x="1764" y="1015"/>
                  </a:lnTo>
                  <a:lnTo>
                    <a:pt x="1761" y="1014"/>
                  </a:lnTo>
                  <a:lnTo>
                    <a:pt x="1761" y="1012"/>
                  </a:lnTo>
                  <a:lnTo>
                    <a:pt x="1764" y="1011"/>
                  </a:lnTo>
                  <a:lnTo>
                    <a:pt x="1764" y="1009"/>
                  </a:lnTo>
                  <a:lnTo>
                    <a:pt x="1764" y="1009"/>
                  </a:lnTo>
                  <a:lnTo>
                    <a:pt x="1764" y="1008"/>
                  </a:lnTo>
                  <a:lnTo>
                    <a:pt x="1762" y="1008"/>
                  </a:lnTo>
                  <a:lnTo>
                    <a:pt x="1758" y="1009"/>
                  </a:lnTo>
                  <a:lnTo>
                    <a:pt x="1748" y="1012"/>
                  </a:lnTo>
                  <a:lnTo>
                    <a:pt x="1748" y="1012"/>
                  </a:lnTo>
                  <a:lnTo>
                    <a:pt x="1746" y="1012"/>
                  </a:lnTo>
                  <a:lnTo>
                    <a:pt x="1746" y="1011"/>
                  </a:lnTo>
                  <a:lnTo>
                    <a:pt x="1748" y="1008"/>
                  </a:lnTo>
                  <a:lnTo>
                    <a:pt x="1751" y="1001"/>
                  </a:lnTo>
                  <a:lnTo>
                    <a:pt x="1751" y="1001"/>
                  </a:lnTo>
                  <a:lnTo>
                    <a:pt x="1751" y="999"/>
                  </a:lnTo>
                  <a:lnTo>
                    <a:pt x="1749" y="999"/>
                  </a:lnTo>
                  <a:lnTo>
                    <a:pt x="1744" y="999"/>
                  </a:lnTo>
                  <a:lnTo>
                    <a:pt x="1744" y="999"/>
                  </a:lnTo>
                  <a:lnTo>
                    <a:pt x="1741" y="999"/>
                  </a:lnTo>
                  <a:lnTo>
                    <a:pt x="1736" y="996"/>
                  </a:lnTo>
                  <a:lnTo>
                    <a:pt x="1731" y="995"/>
                  </a:lnTo>
                  <a:lnTo>
                    <a:pt x="1726" y="993"/>
                  </a:lnTo>
                  <a:lnTo>
                    <a:pt x="1726" y="993"/>
                  </a:lnTo>
                  <a:lnTo>
                    <a:pt x="1723" y="993"/>
                  </a:lnTo>
                  <a:lnTo>
                    <a:pt x="1722" y="991"/>
                  </a:lnTo>
                  <a:lnTo>
                    <a:pt x="1723" y="986"/>
                  </a:lnTo>
                  <a:lnTo>
                    <a:pt x="1729" y="982"/>
                  </a:lnTo>
                  <a:lnTo>
                    <a:pt x="1729" y="982"/>
                  </a:lnTo>
                  <a:lnTo>
                    <a:pt x="1741" y="973"/>
                  </a:lnTo>
                  <a:lnTo>
                    <a:pt x="1752" y="962"/>
                  </a:lnTo>
                  <a:lnTo>
                    <a:pt x="1764" y="951"/>
                  </a:lnTo>
                  <a:lnTo>
                    <a:pt x="1770" y="944"/>
                  </a:lnTo>
                  <a:lnTo>
                    <a:pt x="1770" y="944"/>
                  </a:lnTo>
                  <a:lnTo>
                    <a:pt x="1774" y="938"/>
                  </a:lnTo>
                  <a:lnTo>
                    <a:pt x="1781" y="933"/>
                  </a:lnTo>
                  <a:lnTo>
                    <a:pt x="1794" y="924"/>
                  </a:lnTo>
                  <a:lnTo>
                    <a:pt x="1794" y="924"/>
                  </a:lnTo>
                  <a:lnTo>
                    <a:pt x="1799" y="918"/>
                  </a:lnTo>
                  <a:lnTo>
                    <a:pt x="1804" y="911"/>
                  </a:lnTo>
                  <a:lnTo>
                    <a:pt x="1815" y="896"/>
                  </a:lnTo>
                  <a:lnTo>
                    <a:pt x="1815" y="896"/>
                  </a:lnTo>
                  <a:lnTo>
                    <a:pt x="1819" y="891"/>
                  </a:lnTo>
                  <a:lnTo>
                    <a:pt x="1822" y="885"/>
                  </a:lnTo>
                  <a:lnTo>
                    <a:pt x="1826" y="878"/>
                  </a:lnTo>
                  <a:lnTo>
                    <a:pt x="1835" y="869"/>
                  </a:lnTo>
                  <a:lnTo>
                    <a:pt x="1835" y="869"/>
                  </a:lnTo>
                  <a:lnTo>
                    <a:pt x="1841" y="865"/>
                  </a:lnTo>
                  <a:lnTo>
                    <a:pt x="1849" y="862"/>
                  </a:lnTo>
                  <a:lnTo>
                    <a:pt x="1858" y="860"/>
                  </a:lnTo>
                  <a:lnTo>
                    <a:pt x="1867" y="860"/>
                  </a:lnTo>
                  <a:lnTo>
                    <a:pt x="1883" y="862"/>
                  </a:lnTo>
                  <a:lnTo>
                    <a:pt x="1893" y="863"/>
                  </a:lnTo>
                  <a:lnTo>
                    <a:pt x="1893" y="863"/>
                  </a:lnTo>
                  <a:lnTo>
                    <a:pt x="1906" y="865"/>
                  </a:lnTo>
                  <a:lnTo>
                    <a:pt x="1919" y="866"/>
                  </a:lnTo>
                  <a:lnTo>
                    <a:pt x="1919" y="866"/>
                  </a:lnTo>
                  <a:lnTo>
                    <a:pt x="1932" y="869"/>
                  </a:lnTo>
                  <a:lnTo>
                    <a:pt x="1939" y="869"/>
                  </a:lnTo>
                  <a:lnTo>
                    <a:pt x="1942" y="869"/>
                  </a:lnTo>
                  <a:lnTo>
                    <a:pt x="1943" y="867"/>
                  </a:lnTo>
                  <a:lnTo>
                    <a:pt x="1943" y="867"/>
                  </a:lnTo>
                  <a:lnTo>
                    <a:pt x="1946" y="865"/>
                  </a:lnTo>
                  <a:lnTo>
                    <a:pt x="1945" y="865"/>
                  </a:lnTo>
                  <a:lnTo>
                    <a:pt x="1936" y="863"/>
                  </a:lnTo>
                  <a:lnTo>
                    <a:pt x="1936" y="863"/>
                  </a:lnTo>
                  <a:lnTo>
                    <a:pt x="1933" y="862"/>
                  </a:lnTo>
                  <a:lnTo>
                    <a:pt x="1933" y="860"/>
                  </a:lnTo>
                  <a:lnTo>
                    <a:pt x="1938" y="859"/>
                  </a:lnTo>
                  <a:lnTo>
                    <a:pt x="1948" y="856"/>
                  </a:lnTo>
                  <a:lnTo>
                    <a:pt x="1948" y="856"/>
                  </a:lnTo>
                  <a:lnTo>
                    <a:pt x="1949" y="854"/>
                  </a:lnTo>
                  <a:lnTo>
                    <a:pt x="1948" y="852"/>
                  </a:lnTo>
                  <a:lnTo>
                    <a:pt x="1948" y="852"/>
                  </a:lnTo>
                  <a:lnTo>
                    <a:pt x="1948" y="852"/>
                  </a:lnTo>
                  <a:lnTo>
                    <a:pt x="1948" y="850"/>
                  </a:lnTo>
                  <a:lnTo>
                    <a:pt x="1954" y="850"/>
                  </a:lnTo>
                  <a:lnTo>
                    <a:pt x="1965" y="850"/>
                  </a:lnTo>
                  <a:lnTo>
                    <a:pt x="1965" y="850"/>
                  </a:lnTo>
                  <a:lnTo>
                    <a:pt x="1967" y="852"/>
                  </a:lnTo>
                  <a:lnTo>
                    <a:pt x="1968" y="853"/>
                  </a:lnTo>
                  <a:lnTo>
                    <a:pt x="1968" y="854"/>
                  </a:lnTo>
                  <a:lnTo>
                    <a:pt x="1968" y="856"/>
                  </a:lnTo>
                  <a:lnTo>
                    <a:pt x="1968" y="856"/>
                  </a:lnTo>
                  <a:lnTo>
                    <a:pt x="1970" y="856"/>
                  </a:lnTo>
                  <a:lnTo>
                    <a:pt x="1972" y="854"/>
                  </a:lnTo>
                  <a:lnTo>
                    <a:pt x="1978" y="852"/>
                  </a:lnTo>
                  <a:lnTo>
                    <a:pt x="1978" y="852"/>
                  </a:lnTo>
                  <a:lnTo>
                    <a:pt x="1978" y="852"/>
                  </a:lnTo>
                  <a:lnTo>
                    <a:pt x="1980" y="854"/>
                  </a:lnTo>
                  <a:lnTo>
                    <a:pt x="1978" y="860"/>
                  </a:lnTo>
                  <a:lnTo>
                    <a:pt x="1978" y="860"/>
                  </a:lnTo>
                  <a:lnTo>
                    <a:pt x="1980" y="862"/>
                  </a:lnTo>
                  <a:lnTo>
                    <a:pt x="1981" y="863"/>
                  </a:lnTo>
                  <a:lnTo>
                    <a:pt x="1988" y="869"/>
                  </a:lnTo>
                  <a:lnTo>
                    <a:pt x="1988" y="869"/>
                  </a:lnTo>
                  <a:lnTo>
                    <a:pt x="1988" y="870"/>
                  </a:lnTo>
                  <a:lnTo>
                    <a:pt x="1988" y="870"/>
                  </a:lnTo>
                  <a:lnTo>
                    <a:pt x="1985" y="872"/>
                  </a:lnTo>
                  <a:lnTo>
                    <a:pt x="1978" y="873"/>
                  </a:lnTo>
                  <a:lnTo>
                    <a:pt x="1978" y="873"/>
                  </a:lnTo>
                  <a:lnTo>
                    <a:pt x="1977" y="875"/>
                  </a:lnTo>
                  <a:lnTo>
                    <a:pt x="1977" y="876"/>
                  </a:lnTo>
                  <a:lnTo>
                    <a:pt x="1978" y="879"/>
                  </a:lnTo>
                  <a:lnTo>
                    <a:pt x="1981" y="882"/>
                  </a:lnTo>
                  <a:lnTo>
                    <a:pt x="1984" y="883"/>
                  </a:lnTo>
                  <a:lnTo>
                    <a:pt x="1984" y="883"/>
                  </a:lnTo>
                  <a:lnTo>
                    <a:pt x="1988" y="882"/>
                  </a:lnTo>
                  <a:lnTo>
                    <a:pt x="1996" y="879"/>
                  </a:lnTo>
                  <a:lnTo>
                    <a:pt x="2009" y="873"/>
                  </a:lnTo>
                  <a:lnTo>
                    <a:pt x="2009" y="873"/>
                  </a:lnTo>
                  <a:lnTo>
                    <a:pt x="2012" y="872"/>
                  </a:lnTo>
                  <a:lnTo>
                    <a:pt x="2014" y="870"/>
                  </a:lnTo>
                  <a:lnTo>
                    <a:pt x="2020" y="872"/>
                  </a:lnTo>
                  <a:lnTo>
                    <a:pt x="2020" y="872"/>
                  </a:lnTo>
                  <a:lnTo>
                    <a:pt x="2026" y="873"/>
                  </a:lnTo>
                  <a:lnTo>
                    <a:pt x="2029" y="873"/>
                  </a:lnTo>
                  <a:lnTo>
                    <a:pt x="2029" y="873"/>
                  </a:lnTo>
                  <a:lnTo>
                    <a:pt x="2033" y="872"/>
                  </a:lnTo>
                  <a:lnTo>
                    <a:pt x="2038" y="873"/>
                  </a:lnTo>
                  <a:lnTo>
                    <a:pt x="2038" y="873"/>
                  </a:lnTo>
                  <a:lnTo>
                    <a:pt x="2040" y="873"/>
                  </a:lnTo>
                  <a:lnTo>
                    <a:pt x="2043" y="872"/>
                  </a:lnTo>
                  <a:lnTo>
                    <a:pt x="2049" y="869"/>
                  </a:lnTo>
                  <a:lnTo>
                    <a:pt x="2049" y="869"/>
                  </a:lnTo>
                  <a:lnTo>
                    <a:pt x="2055" y="866"/>
                  </a:lnTo>
                  <a:lnTo>
                    <a:pt x="2056" y="865"/>
                  </a:lnTo>
                  <a:lnTo>
                    <a:pt x="2056" y="862"/>
                  </a:lnTo>
                  <a:lnTo>
                    <a:pt x="2056" y="862"/>
                  </a:lnTo>
                  <a:lnTo>
                    <a:pt x="2055" y="860"/>
                  </a:lnTo>
                  <a:lnTo>
                    <a:pt x="2054" y="859"/>
                  </a:lnTo>
                  <a:lnTo>
                    <a:pt x="2049" y="859"/>
                  </a:lnTo>
                  <a:lnTo>
                    <a:pt x="2038" y="859"/>
                  </a:lnTo>
                  <a:lnTo>
                    <a:pt x="2038" y="859"/>
                  </a:lnTo>
                  <a:lnTo>
                    <a:pt x="2036" y="859"/>
                  </a:lnTo>
                  <a:lnTo>
                    <a:pt x="2036" y="857"/>
                  </a:lnTo>
                  <a:lnTo>
                    <a:pt x="2038" y="854"/>
                  </a:lnTo>
                  <a:lnTo>
                    <a:pt x="2039" y="853"/>
                  </a:lnTo>
                  <a:lnTo>
                    <a:pt x="2039" y="853"/>
                  </a:lnTo>
                  <a:lnTo>
                    <a:pt x="2043" y="849"/>
                  </a:lnTo>
                  <a:lnTo>
                    <a:pt x="2046" y="844"/>
                  </a:lnTo>
                  <a:lnTo>
                    <a:pt x="2052" y="837"/>
                  </a:lnTo>
                  <a:lnTo>
                    <a:pt x="2052" y="837"/>
                  </a:lnTo>
                  <a:lnTo>
                    <a:pt x="2054" y="834"/>
                  </a:lnTo>
                  <a:lnTo>
                    <a:pt x="2058" y="833"/>
                  </a:lnTo>
                  <a:lnTo>
                    <a:pt x="2067" y="828"/>
                  </a:lnTo>
                  <a:lnTo>
                    <a:pt x="2067" y="828"/>
                  </a:lnTo>
                  <a:lnTo>
                    <a:pt x="2068" y="827"/>
                  </a:lnTo>
                  <a:lnTo>
                    <a:pt x="2071" y="823"/>
                  </a:lnTo>
                  <a:lnTo>
                    <a:pt x="2075" y="811"/>
                  </a:lnTo>
                  <a:lnTo>
                    <a:pt x="2080" y="799"/>
                  </a:lnTo>
                  <a:lnTo>
                    <a:pt x="2084" y="791"/>
                  </a:lnTo>
                  <a:lnTo>
                    <a:pt x="2084" y="791"/>
                  </a:lnTo>
                  <a:lnTo>
                    <a:pt x="2090" y="786"/>
                  </a:lnTo>
                  <a:lnTo>
                    <a:pt x="2097" y="783"/>
                  </a:lnTo>
                  <a:lnTo>
                    <a:pt x="2107" y="781"/>
                  </a:lnTo>
                  <a:lnTo>
                    <a:pt x="2107" y="781"/>
                  </a:lnTo>
                  <a:lnTo>
                    <a:pt x="2110" y="779"/>
                  </a:lnTo>
                  <a:lnTo>
                    <a:pt x="2111" y="779"/>
                  </a:lnTo>
                  <a:lnTo>
                    <a:pt x="2114" y="779"/>
                  </a:lnTo>
                  <a:lnTo>
                    <a:pt x="2119" y="779"/>
                  </a:lnTo>
                  <a:lnTo>
                    <a:pt x="2119" y="779"/>
                  </a:lnTo>
                  <a:lnTo>
                    <a:pt x="2123" y="776"/>
                  </a:lnTo>
                  <a:lnTo>
                    <a:pt x="2126" y="772"/>
                  </a:lnTo>
                  <a:lnTo>
                    <a:pt x="2129" y="768"/>
                  </a:lnTo>
                  <a:lnTo>
                    <a:pt x="2132" y="765"/>
                  </a:lnTo>
                  <a:lnTo>
                    <a:pt x="2132" y="765"/>
                  </a:lnTo>
                  <a:lnTo>
                    <a:pt x="2132" y="765"/>
                  </a:lnTo>
                  <a:lnTo>
                    <a:pt x="2132" y="766"/>
                  </a:lnTo>
                  <a:lnTo>
                    <a:pt x="2129" y="772"/>
                  </a:lnTo>
                  <a:lnTo>
                    <a:pt x="2126" y="779"/>
                  </a:lnTo>
                  <a:lnTo>
                    <a:pt x="2125" y="785"/>
                  </a:lnTo>
                  <a:lnTo>
                    <a:pt x="2125" y="785"/>
                  </a:lnTo>
                  <a:lnTo>
                    <a:pt x="2123" y="789"/>
                  </a:lnTo>
                  <a:lnTo>
                    <a:pt x="2120" y="794"/>
                  </a:lnTo>
                  <a:lnTo>
                    <a:pt x="2119" y="797"/>
                  </a:lnTo>
                  <a:lnTo>
                    <a:pt x="2117" y="801"/>
                  </a:lnTo>
                  <a:lnTo>
                    <a:pt x="2117" y="801"/>
                  </a:lnTo>
                  <a:lnTo>
                    <a:pt x="2117" y="805"/>
                  </a:lnTo>
                  <a:lnTo>
                    <a:pt x="2120" y="808"/>
                  </a:lnTo>
                  <a:lnTo>
                    <a:pt x="2127" y="811"/>
                  </a:lnTo>
                  <a:lnTo>
                    <a:pt x="2127" y="811"/>
                  </a:lnTo>
                  <a:lnTo>
                    <a:pt x="2129" y="812"/>
                  </a:lnTo>
                  <a:lnTo>
                    <a:pt x="2130" y="811"/>
                  </a:lnTo>
                  <a:lnTo>
                    <a:pt x="2135" y="805"/>
                  </a:lnTo>
                  <a:lnTo>
                    <a:pt x="2135" y="805"/>
                  </a:lnTo>
                  <a:lnTo>
                    <a:pt x="2145" y="794"/>
                  </a:lnTo>
                  <a:lnTo>
                    <a:pt x="2155" y="785"/>
                  </a:lnTo>
                  <a:lnTo>
                    <a:pt x="2155" y="785"/>
                  </a:lnTo>
                  <a:lnTo>
                    <a:pt x="2155" y="782"/>
                  </a:lnTo>
                  <a:lnTo>
                    <a:pt x="2155" y="778"/>
                  </a:lnTo>
                  <a:lnTo>
                    <a:pt x="2152" y="768"/>
                  </a:lnTo>
                  <a:lnTo>
                    <a:pt x="2152" y="768"/>
                  </a:lnTo>
                  <a:lnTo>
                    <a:pt x="2152" y="763"/>
                  </a:lnTo>
                  <a:lnTo>
                    <a:pt x="2153" y="760"/>
                  </a:lnTo>
                  <a:lnTo>
                    <a:pt x="2156" y="757"/>
                  </a:lnTo>
                  <a:lnTo>
                    <a:pt x="2161" y="756"/>
                  </a:lnTo>
                  <a:lnTo>
                    <a:pt x="2161" y="756"/>
                  </a:lnTo>
                  <a:lnTo>
                    <a:pt x="2167" y="753"/>
                  </a:lnTo>
                  <a:lnTo>
                    <a:pt x="2171" y="750"/>
                  </a:lnTo>
                  <a:lnTo>
                    <a:pt x="2171" y="750"/>
                  </a:lnTo>
                  <a:lnTo>
                    <a:pt x="2172" y="750"/>
                  </a:lnTo>
                  <a:lnTo>
                    <a:pt x="2172" y="753"/>
                  </a:lnTo>
                  <a:lnTo>
                    <a:pt x="2172" y="759"/>
                  </a:lnTo>
                  <a:lnTo>
                    <a:pt x="2172" y="759"/>
                  </a:lnTo>
                  <a:lnTo>
                    <a:pt x="2172" y="762"/>
                  </a:lnTo>
                  <a:lnTo>
                    <a:pt x="2169" y="766"/>
                  </a:lnTo>
                  <a:lnTo>
                    <a:pt x="2169" y="766"/>
                  </a:lnTo>
                  <a:lnTo>
                    <a:pt x="2167" y="772"/>
                  </a:lnTo>
                  <a:lnTo>
                    <a:pt x="2164" y="778"/>
                  </a:lnTo>
                  <a:lnTo>
                    <a:pt x="2162" y="789"/>
                  </a:lnTo>
                  <a:lnTo>
                    <a:pt x="2162" y="789"/>
                  </a:lnTo>
                  <a:lnTo>
                    <a:pt x="2164" y="794"/>
                  </a:lnTo>
                  <a:lnTo>
                    <a:pt x="2167" y="799"/>
                  </a:lnTo>
                  <a:lnTo>
                    <a:pt x="2167" y="799"/>
                  </a:lnTo>
                  <a:lnTo>
                    <a:pt x="2167" y="801"/>
                  </a:lnTo>
                  <a:lnTo>
                    <a:pt x="2165" y="802"/>
                  </a:lnTo>
                  <a:lnTo>
                    <a:pt x="2161" y="807"/>
                  </a:lnTo>
                  <a:lnTo>
                    <a:pt x="2161" y="807"/>
                  </a:lnTo>
                  <a:lnTo>
                    <a:pt x="2161" y="808"/>
                  </a:lnTo>
                  <a:lnTo>
                    <a:pt x="2161" y="810"/>
                  </a:lnTo>
                  <a:lnTo>
                    <a:pt x="2165" y="812"/>
                  </a:lnTo>
                  <a:lnTo>
                    <a:pt x="2165" y="812"/>
                  </a:lnTo>
                  <a:lnTo>
                    <a:pt x="2164" y="814"/>
                  </a:lnTo>
                  <a:lnTo>
                    <a:pt x="2162" y="815"/>
                  </a:lnTo>
                  <a:lnTo>
                    <a:pt x="2156" y="820"/>
                  </a:lnTo>
                  <a:lnTo>
                    <a:pt x="2151" y="825"/>
                  </a:lnTo>
                  <a:lnTo>
                    <a:pt x="2148" y="830"/>
                  </a:lnTo>
                  <a:lnTo>
                    <a:pt x="2148" y="830"/>
                  </a:lnTo>
                  <a:lnTo>
                    <a:pt x="2146" y="834"/>
                  </a:lnTo>
                  <a:lnTo>
                    <a:pt x="2143" y="837"/>
                  </a:lnTo>
                  <a:lnTo>
                    <a:pt x="2136" y="843"/>
                  </a:lnTo>
                  <a:lnTo>
                    <a:pt x="2136" y="843"/>
                  </a:lnTo>
                  <a:lnTo>
                    <a:pt x="2123" y="854"/>
                  </a:lnTo>
                  <a:lnTo>
                    <a:pt x="2109" y="869"/>
                  </a:lnTo>
                  <a:lnTo>
                    <a:pt x="2109" y="869"/>
                  </a:lnTo>
                  <a:lnTo>
                    <a:pt x="2104" y="876"/>
                  </a:lnTo>
                  <a:lnTo>
                    <a:pt x="2100" y="886"/>
                  </a:lnTo>
                  <a:lnTo>
                    <a:pt x="2093" y="901"/>
                  </a:lnTo>
                  <a:lnTo>
                    <a:pt x="2093" y="901"/>
                  </a:lnTo>
                  <a:lnTo>
                    <a:pt x="2090" y="904"/>
                  </a:lnTo>
                  <a:lnTo>
                    <a:pt x="2084" y="905"/>
                  </a:lnTo>
                  <a:lnTo>
                    <a:pt x="2075" y="907"/>
                  </a:lnTo>
                  <a:lnTo>
                    <a:pt x="2075" y="907"/>
                  </a:lnTo>
                  <a:lnTo>
                    <a:pt x="2074" y="909"/>
                  </a:lnTo>
                  <a:lnTo>
                    <a:pt x="2072" y="911"/>
                  </a:lnTo>
                  <a:lnTo>
                    <a:pt x="2071" y="918"/>
                  </a:lnTo>
                  <a:lnTo>
                    <a:pt x="2071" y="918"/>
                  </a:lnTo>
                  <a:lnTo>
                    <a:pt x="2068" y="925"/>
                  </a:lnTo>
                  <a:lnTo>
                    <a:pt x="2062" y="934"/>
                  </a:lnTo>
                  <a:lnTo>
                    <a:pt x="2051" y="950"/>
                  </a:lnTo>
                  <a:lnTo>
                    <a:pt x="2051" y="950"/>
                  </a:lnTo>
                  <a:lnTo>
                    <a:pt x="2049" y="957"/>
                  </a:lnTo>
                  <a:lnTo>
                    <a:pt x="2049" y="970"/>
                  </a:lnTo>
                  <a:lnTo>
                    <a:pt x="2049" y="985"/>
                  </a:lnTo>
                  <a:lnTo>
                    <a:pt x="2052" y="996"/>
                  </a:lnTo>
                  <a:lnTo>
                    <a:pt x="2052" y="996"/>
                  </a:lnTo>
                  <a:lnTo>
                    <a:pt x="2054" y="1005"/>
                  </a:lnTo>
                  <a:lnTo>
                    <a:pt x="2055" y="1017"/>
                  </a:lnTo>
                  <a:lnTo>
                    <a:pt x="2056" y="1035"/>
                  </a:lnTo>
                  <a:lnTo>
                    <a:pt x="2056" y="1035"/>
                  </a:lnTo>
                  <a:lnTo>
                    <a:pt x="2056" y="1043"/>
                  </a:lnTo>
                  <a:lnTo>
                    <a:pt x="2059" y="1049"/>
                  </a:lnTo>
                  <a:lnTo>
                    <a:pt x="2064" y="1056"/>
                  </a:lnTo>
                  <a:lnTo>
                    <a:pt x="2064" y="1056"/>
                  </a:lnTo>
                  <a:lnTo>
                    <a:pt x="2067" y="1062"/>
                  </a:lnTo>
                  <a:lnTo>
                    <a:pt x="2071" y="1070"/>
                  </a:lnTo>
                  <a:lnTo>
                    <a:pt x="2071" y="1070"/>
                  </a:lnTo>
                  <a:lnTo>
                    <a:pt x="2072" y="1082"/>
                  </a:lnTo>
                  <a:lnTo>
                    <a:pt x="2074" y="1089"/>
                  </a:lnTo>
                  <a:lnTo>
                    <a:pt x="2077" y="1095"/>
                  </a:lnTo>
                  <a:lnTo>
                    <a:pt x="2077" y="1095"/>
                  </a:lnTo>
                  <a:lnTo>
                    <a:pt x="2078" y="1096"/>
                  </a:lnTo>
                  <a:lnTo>
                    <a:pt x="2080" y="1095"/>
                  </a:lnTo>
                  <a:lnTo>
                    <a:pt x="2082" y="1091"/>
                  </a:lnTo>
                  <a:lnTo>
                    <a:pt x="2085" y="1085"/>
                  </a:lnTo>
                  <a:lnTo>
                    <a:pt x="2087" y="1082"/>
                  </a:lnTo>
                  <a:lnTo>
                    <a:pt x="2090" y="1080"/>
                  </a:lnTo>
                  <a:lnTo>
                    <a:pt x="2090" y="1080"/>
                  </a:lnTo>
                  <a:lnTo>
                    <a:pt x="2093" y="1078"/>
                  </a:lnTo>
                  <a:lnTo>
                    <a:pt x="2096" y="1073"/>
                  </a:lnTo>
                  <a:lnTo>
                    <a:pt x="2101" y="1063"/>
                  </a:lnTo>
                  <a:lnTo>
                    <a:pt x="2101" y="1063"/>
                  </a:lnTo>
                  <a:lnTo>
                    <a:pt x="2101" y="1060"/>
                  </a:lnTo>
                  <a:lnTo>
                    <a:pt x="2100" y="1059"/>
                  </a:lnTo>
                  <a:lnTo>
                    <a:pt x="2097" y="1057"/>
                  </a:lnTo>
                  <a:lnTo>
                    <a:pt x="2097" y="1056"/>
                  </a:lnTo>
                  <a:lnTo>
                    <a:pt x="2097" y="1056"/>
                  </a:lnTo>
                  <a:lnTo>
                    <a:pt x="2098" y="1053"/>
                  </a:lnTo>
                  <a:lnTo>
                    <a:pt x="2098" y="1051"/>
                  </a:lnTo>
                  <a:lnTo>
                    <a:pt x="2097" y="1046"/>
                  </a:lnTo>
                  <a:lnTo>
                    <a:pt x="2097" y="1046"/>
                  </a:lnTo>
                  <a:lnTo>
                    <a:pt x="2097" y="1043"/>
                  </a:lnTo>
                  <a:lnTo>
                    <a:pt x="2098" y="1038"/>
                  </a:lnTo>
                  <a:lnTo>
                    <a:pt x="2104" y="1033"/>
                  </a:lnTo>
                  <a:lnTo>
                    <a:pt x="2104" y="1033"/>
                  </a:lnTo>
                  <a:lnTo>
                    <a:pt x="2107" y="1033"/>
                  </a:lnTo>
                  <a:lnTo>
                    <a:pt x="2111" y="1033"/>
                  </a:lnTo>
                  <a:lnTo>
                    <a:pt x="2117" y="1033"/>
                  </a:lnTo>
                  <a:lnTo>
                    <a:pt x="2117" y="1033"/>
                  </a:lnTo>
                  <a:lnTo>
                    <a:pt x="2117" y="1031"/>
                  </a:lnTo>
                  <a:lnTo>
                    <a:pt x="2117" y="1025"/>
                  </a:lnTo>
                  <a:lnTo>
                    <a:pt x="2116" y="1020"/>
                  </a:lnTo>
                  <a:lnTo>
                    <a:pt x="2116" y="1014"/>
                  </a:lnTo>
                  <a:lnTo>
                    <a:pt x="2116" y="1014"/>
                  </a:lnTo>
                  <a:lnTo>
                    <a:pt x="2117" y="1009"/>
                  </a:lnTo>
                  <a:lnTo>
                    <a:pt x="2120" y="1007"/>
                  </a:lnTo>
                  <a:lnTo>
                    <a:pt x="2123" y="1004"/>
                  </a:lnTo>
                  <a:lnTo>
                    <a:pt x="2126" y="1001"/>
                  </a:lnTo>
                  <a:lnTo>
                    <a:pt x="2126" y="1001"/>
                  </a:lnTo>
                  <a:lnTo>
                    <a:pt x="2129" y="996"/>
                  </a:lnTo>
                  <a:lnTo>
                    <a:pt x="2135" y="993"/>
                  </a:lnTo>
                  <a:lnTo>
                    <a:pt x="2145" y="992"/>
                  </a:lnTo>
                  <a:lnTo>
                    <a:pt x="2145" y="992"/>
                  </a:lnTo>
                  <a:lnTo>
                    <a:pt x="2151" y="992"/>
                  </a:lnTo>
                  <a:lnTo>
                    <a:pt x="2153" y="991"/>
                  </a:lnTo>
                  <a:lnTo>
                    <a:pt x="2155" y="989"/>
                  </a:lnTo>
                  <a:lnTo>
                    <a:pt x="2155" y="989"/>
                  </a:lnTo>
                  <a:lnTo>
                    <a:pt x="2155" y="983"/>
                  </a:lnTo>
                  <a:lnTo>
                    <a:pt x="2155" y="980"/>
                  </a:lnTo>
                  <a:lnTo>
                    <a:pt x="2153" y="978"/>
                  </a:lnTo>
                  <a:lnTo>
                    <a:pt x="2153" y="978"/>
                  </a:lnTo>
                  <a:lnTo>
                    <a:pt x="2151" y="976"/>
                  </a:lnTo>
                  <a:lnTo>
                    <a:pt x="2151" y="973"/>
                  </a:lnTo>
                  <a:lnTo>
                    <a:pt x="2151" y="972"/>
                  </a:lnTo>
                  <a:lnTo>
                    <a:pt x="2152" y="969"/>
                  </a:lnTo>
                  <a:lnTo>
                    <a:pt x="2152" y="969"/>
                  </a:lnTo>
                  <a:lnTo>
                    <a:pt x="2153" y="966"/>
                  </a:lnTo>
                  <a:lnTo>
                    <a:pt x="2153" y="962"/>
                  </a:lnTo>
                  <a:lnTo>
                    <a:pt x="2153" y="962"/>
                  </a:lnTo>
                  <a:lnTo>
                    <a:pt x="2155" y="959"/>
                  </a:lnTo>
                  <a:lnTo>
                    <a:pt x="2156" y="956"/>
                  </a:lnTo>
                  <a:lnTo>
                    <a:pt x="2161" y="953"/>
                  </a:lnTo>
                  <a:lnTo>
                    <a:pt x="2164" y="951"/>
                  </a:lnTo>
                  <a:lnTo>
                    <a:pt x="2164" y="951"/>
                  </a:lnTo>
                  <a:lnTo>
                    <a:pt x="2167" y="951"/>
                  </a:lnTo>
                  <a:lnTo>
                    <a:pt x="2168" y="951"/>
                  </a:lnTo>
                  <a:lnTo>
                    <a:pt x="2169" y="953"/>
                  </a:lnTo>
                  <a:lnTo>
                    <a:pt x="2172" y="953"/>
                  </a:lnTo>
                  <a:lnTo>
                    <a:pt x="2172" y="953"/>
                  </a:lnTo>
                  <a:lnTo>
                    <a:pt x="2175" y="951"/>
                  </a:lnTo>
                  <a:lnTo>
                    <a:pt x="2177" y="949"/>
                  </a:lnTo>
                  <a:lnTo>
                    <a:pt x="2177" y="941"/>
                  </a:lnTo>
                  <a:lnTo>
                    <a:pt x="2177" y="941"/>
                  </a:lnTo>
                  <a:lnTo>
                    <a:pt x="2175" y="938"/>
                  </a:lnTo>
                  <a:lnTo>
                    <a:pt x="2174" y="937"/>
                  </a:lnTo>
                  <a:lnTo>
                    <a:pt x="2167" y="937"/>
                  </a:lnTo>
                  <a:lnTo>
                    <a:pt x="2167" y="937"/>
                  </a:lnTo>
                  <a:lnTo>
                    <a:pt x="2165" y="936"/>
                  </a:lnTo>
                  <a:lnTo>
                    <a:pt x="2162" y="933"/>
                  </a:lnTo>
                  <a:lnTo>
                    <a:pt x="2161" y="923"/>
                  </a:lnTo>
                  <a:lnTo>
                    <a:pt x="2161" y="923"/>
                  </a:lnTo>
                  <a:lnTo>
                    <a:pt x="2162" y="918"/>
                  </a:lnTo>
                  <a:lnTo>
                    <a:pt x="2165" y="915"/>
                  </a:lnTo>
                  <a:lnTo>
                    <a:pt x="2171" y="911"/>
                  </a:lnTo>
                  <a:lnTo>
                    <a:pt x="2171" y="911"/>
                  </a:lnTo>
                  <a:lnTo>
                    <a:pt x="2171" y="909"/>
                  </a:lnTo>
                  <a:lnTo>
                    <a:pt x="2171" y="908"/>
                  </a:lnTo>
                  <a:lnTo>
                    <a:pt x="2169" y="904"/>
                  </a:lnTo>
                  <a:lnTo>
                    <a:pt x="2167" y="901"/>
                  </a:lnTo>
                  <a:lnTo>
                    <a:pt x="2162" y="899"/>
                  </a:lnTo>
                  <a:lnTo>
                    <a:pt x="2162" y="899"/>
                  </a:lnTo>
                  <a:lnTo>
                    <a:pt x="2161" y="899"/>
                  </a:lnTo>
                  <a:lnTo>
                    <a:pt x="2159" y="899"/>
                  </a:lnTo>
                  <a:lnTo>
                    <a:pt x="2159" y="896"/>
                  </a:lnTo>
                  <a:lnTo>
                    <a:pt x="2161" y="895"/>
                  </a:lnTo>
                  <a:lnTo>
                    <a:pt x="2161" y="895"/>
                  </a:lnTo>
                  <a:lnTo>
                    <a:pt x="2161" y="892"/>
                  </a:lnTo>
                  <a:lnTo>
                    <a:pt x="2161" y="888"/>
                  </a:lnTo>
                  <a:lnTo>
                    <a:pt x="2159" y="882"/>
                  </a:lnTo>
                  <a:lnTo>
                    <a:pt x="2161" y="879"/>
                  </a:lnTo>
                  <a:lnTo>
                    <a:pt x="2161" y="879"/>
                  </a:lnTo>
                  <a:lnTo>
                    <a:pt x="2167" y="867"/>
                  </a:lnTo>
                  <a:lnTo>
                    <a:pt x="2171" y="862"/>
                  </a:lnTo>
                  <a:lnTo>
                    <a:pt x="2174" y="857"/>
                  </a:lnTo>
                  <a:lnTo>
                    <a:pt x="2174" y="857"/>
                  </a:lnTo>
                  <a:lnTo>
                    <a:pt x="2177" y="856"/>
                  </a:lnTo>
                  <a:lnTo>
                    <a:pt x="2178" y="853"/>
                  </a:lnTo>
                  <a:lnTo>
                    <a:pt x="2180" y="847"/>
                  </a:lnTo>
                  <a:lnTo>
                    <a:pt x="2180" y="847"/>
                  </a:lnTo>
                  <a:lnTo>
                    <a:pt x="2180" y="844"/>
                  </a:lnTo>
                  <a:lnTo>
                    <a:pt x="2182" y="841"/>
                  </a:lnTo>
                  <a:lnTo>
                    <a:pt x="2188" y="839"/>
                  </a:lnTo>
                  <a:lnTo>
                    <a:pt x="2188" y="839"/>
                  </a:lnTo>
                  <a:lnTo>
                    <a:pt x="2191" y="839"/>
                  </a:lnTo>
                  <a:lnTo>
                    <a:pt x="2193" y="839"/>
                  </a:lnTo>
                  <a:lnTo>
                    <a:pt x="2197" y="840"/>
                  </a:lnTo>
                  <a:lnTo>
                    <a:pt x="2197" y="840"/>
                  </a:lnTo>
                  <a:lnTo>
                    <a:pt x="2198" y="840"/>
                  </a:lnTo>
                  <a:lnTo>
                    <a:pt x="2200" y="839"/>
                  </a:lnTo>
                  <a:lnTo>
                    <a:pt x="2200" y="836"/>
                  </a:lnTo>
                  <a:lnTo>
                    <a:pt x="2201" y="833"/>
                  </a:lnTo>
                  <a:lnTo>
                    <a:pt x="2201" y="833"/>
                  </a:lnTo>
                  <a:lnTo>
                    <a:pt x="2204" y="830"/>
                  </a:lnTo>
                  <a:lnTo>
                    <a:pt x="2209" y="827"/>
                  </a:lnTo>
                  <a:lnTo>
                    <a:pt x="2217" y="824"/>
                  </a:lnTo>
                  <a:lnTo>
                    <a:pt x="2217" y="824"/>
                  </a:lnTo>
                  <a:lnTo>
                    <a:pt x="2219" y="825"/>
                  </a:lnTo>
                  <a:lnTo>
                    <a:pt x="2219" y="825"/>
                  </a:lnTo>
                  <a:lnTo>
                    <a:pt x="2217" y="830"/>
                  </a:lnTo>
                  <a:lnTo>
                    <a:pt x="2217" y="833"/>
                  </a:lnTo>
                  <a:lnTo>
                    <a:pt x="2217" y="836"/>
                  </a:lnTo>
                  <a:lnTo>
                    <a:pt x="2217" y="836"/>
                  </a:lnTo>
                  <a:lnTo>
                    <a:pt x="2219" y="836"/>
                  </a:lnTo>
                  <a:lnTo>
                    <a:pt x="2220" y="836"/>
                  </a:lnTo>
                  <a:lnTo>
                    <a:pt x="2226" y="831"/>
                  </a:lnTo>
                  <a:lnTo>
                    <a:pt x="2235" y="823"/>
                  </a:lnTo>
                  <a:lnTo>
                    <a:pt x="2235" y="823"/>
                  </a:lnTo>
                  <a:lnTo>
                    <a:pt x="2239" y="820"/>
                  </a:lnTo>
                  <a:lnTo>
                    <a:pt x="2240" y="815"/>
                  </a:lnTo>
                  <a:lnTo>
                    <a:pt x="2240" y="815"/>
                  </a:lnTo>
                  <a:lnTo>
                    <a:pt x="2243" y="814"/>
                  </a:lnTo>
                  <a:lnTo>
                    <a:pt x="2246" y="812"/>
                  </a:lnTo>
                  <a:lnTo>
                    <a:pt x="2255" y="812"/>
                  </a:lnTo>
                  <a:lnTo>
                    <a:pt x="2255" y="812"/>
                  </a:lnTo>
                  <a:lnTo>
                    <a:pt x="2258" y="815"/>
                  </a:lnTo>
                  <a:lnTo>
                    <a:pt x="2261" y="818"/>
                  </a:lnTo>
                  <a:lnTo>
                    <a:pt x="2264" y="828"/>
                  </a:lnTo>
                  <a:lnTo>
                    <a:pt x="2264" y="828"/>
                  </a:lnTo>
                  <a:lnTo>
                    <a:pt x="2265" y="831"/>
                  </a:lnTo>
                  <a:lnTo>
                    <a:pt x="2268" y="831"/>
                  </a:lnTo>
                  <a:lnTo>
                    <a:pt x="2271" y="830"/>
                  </a:lnTo>
                  <a:lnTo>
                    <a:pt x="2272" y="827"/>
                  </a:lnTo>
                  <a:lnTo>
                    <a:pt x="2272" y="827"/>
                  </a:lnTo>
                  <a:lnTo>
                    <a:pt x="2277" y="820"/>
                  </a:lnTo>
                  <a:lnTo>
                    <a:pt x="2281" y="814"/>
                  </a:lnTo>
                  <a:lnTo>
                    <a:pt x="2281" y="814"/>
                  </a:lnTo>
                  <a:lnTo>
                    <a:pt x="2285" y="811"/>
                  </a:lnTo>
                  <a:lnTo>
                    <a:pt x="2291" y="810"/>
                  </a:lnTo>
                  <a:lnTo>
                    <a:pt x="2291" y="810"/>
                  </a:lnTo>
                  <a:lnTo>
                    <a:pt x="2291" y="808"/>
                  </a:lnTo>
                  <a:lnTo>
                    <a:pt x="2291" y="805"/>
                  </a:lnTo>
                  <a:lnTo>
                    <a:pt x="2293" y="799"/>
                  </a:lnTo>
                  <a:lnTo>
                    <a:pt x="2293" y="799"/>
                  </a:lnTo>
                  <a:lnTo>
                    <a:pt x="2294" y="798"/>
                  </a:lnTo>
                  <a:lnTo>
                    <a:pt x="2295" y="798"/>
                  </a:lnTo>
                  <a:lnTo>
                    <a:pt x="2298" y="799"/>
                  </a:lnTo>
                  <a:lnTo>
                    <a:pt x="2301" y="799"/>
                  </a:lnTo>
                  <a:lnTo>
                    <a:pt x="2301" y="799"/>
                  </a:lnTo>
                  <a:lnTo>
                    <a:pt x="2301" y="798"/>
                  </a:lnTo>
                  <a:lnTo>
                    <a:pt x="2301" y="795"/>
                  </a:lnTo>
                  <a:lnTo>
                    <a:pt x="2298" y="789"/>
                  </a:lnTo>
                  <a:lnTo>
                    <a:pt x="2298" y="789"/>
                  </a:lnTo>
                  <a:lnTo>
                    <a:pt x="2298" y="789"/>
                  </a:lnTo>
                  <a:lnTo>
                    <a:pt x="2300" y="789"/>
                  </a:lnTo>
                  <a:lnTo>
                    <a:pt x="2304" y="791"/>
                  </a:lnTo>
                  <a:lnTo>
                    <a:pt x="2304" y="791"/>
                  </a:lnTo>
                  <a:lnTo>
                    <a:pt x="2308" y="788"/>
                  </a:lnTo>
                  <a:lnTo>
                    <a:pt x="2313" y="783"/>
                  </a:lnTo>
                  <a:lnTo>
                    <a:pt x="2313" y="783"/>
                  </a:lnTo>
                  <a:lnTo>
                    <a:pt x="2314" y="783"/>
                  </a:lnTo>
                  <a:lnTo>
                    <a:pt x="2316" y="783"/>
                  </a:lnTo>
                  <a:lnTo>
                    <a:pt x="2319" y="785"/>
                  </a:lnTo>
                  <a:lnTo>
                    <a:pt x="2319" y="785"/>
                  </a:lnTo>
                  <a:lnTo>
                    <a:pt x="2320" y="783"/>
                  </a:lnTo>
                  <a:lnTo>
                    <a:pt x="2326" y="778"/>
                  </a:lnTo>
                  <a:lnTo>
                    <a:pt x="2335" y="769"/>
                  </a:lnTo>
                  <a:lnTo>
                    <a:pt x="2346" y="757"/>
                  </a:lnTo>
                  <a:lnTo>
                    <a:pt x="2346" y="757"/>
                  </a:lnTo>
                  <a:lnTo>
                    <a:pt x="2353" y="752"/>
                  </a:lnTo>
                  <a:lnTo>
                    <a:pt x="2361" y="747"/>
                  </a:lnTo>
                  <a:lnTo>
                    <a:pt x="2374" y="743"/>
                  </a:lnTo>
                  <a:lnTo>
                    <a:pt x="2384" y="741"/>
                  </a:lnTo>
                  <a:lnTo>
                    <a:pt x="2390" y="741"/>
                  </a:lnTo>
                  <a:lnTo>
                    <a:pt x="2390" y="741"/>
                  </a:lnTo>
                  <a:lnTo>
                    <a:pt x="2392" y="741"/>
                  </a:lnTo>
                  <a:lnTo>
                    <a:pt x="2395" y="741"/>
                  </a:lnTo>
                  <a:lnTo>
                    <a:pt x="2403" y="746"/>
                  </a:lnTo>
                  <a:lnTo>
                    <a:pt x="2403" y="746"/>
                  </a:lnTo>
                  <a:lnTo>
                    <a:pt x="2407" y="747"/>
                  </a:lnTo>
                  <a:lnTo>
                    <a:pt x="2410" y="746"/>
                  </a:lnTo>
                  <a:lnTo>
                    <a:pt x="2414" y="741"/>
                  </a:lnTo>
                  <a:lnTo>
                    <a:pt x="2414" y="741"/>
                  </a:lnTo>
                  <a:lnTo>
                    <a:pt x="2416" y="740"/>
                  </a:lnTo>
                  <a:lnTo>
                    <a:pt x="2417" y="737"/>
                  </a:lnTo>
                  <a:lnTo>
                    <a:pt x="2417" y="731"/>
                  </a:lnTo>
                  <a:lnTo>
                    <a:pt x="2417" y="731"/>
                  </a:lnTo>
                  <a:lnTo>
                    <a:pt x="2416" y="723"/>
                  </a:lnTo>
                  <a:lnTo>
                    <a:pt x="2414" y="718"/>
                  </a:lnTo>
                  <a:lnTo>
                    <a:pt x="2411" y="715"/>
                  </a:lnTo>
                  <a:lnTo>
                    <a:pt x="2411" y="715"/>
                  </a:lnTo>
                  <a:lnTo>
                    <a:pt x="2408" y="714"/>
                  </a:lnTo>
                  <a:lnTo>
                    <a:pt x="2407" y="711"/>
                  </a:lnTo>
                  <a:lnTo>
                    <a:pt x="2405" y="707"/>
                  </a:lnTo>
                  <a:lnTo>
                    <a:pt x="2403" y="705"/>
                  </a:lnTo>
                  <a:lnTo>
                    <a:pt x="2403" y="705"/>
                  </a:lnTo>
                  <a:lnTo>
                    <a:pt x="2398" y="704"/>
                  </a:lnTo>
                  <a:lnTo>
                    <a:pt x="2398" y="701"/>
                  </a:lnTo>
                  <a:lnTo>
                    <a:pt x="2398" y="694"/>
                  </a:lnTo>
                  <a:lnTo>
                    <a:pt x="2398" y="694"/>
                  </a:lnTo>
                  <a:lnTo>
                    <a:pt x="2398" y="692"/>
                  </a:lnTo>
                  <a:lnTo>
                    <a:pt x="2397" y="692"/>
                  </a:lnTo>
                  <a:lnTo>
                    <a:pt x="2394" y="697"/>
                  </a:lnTo>
                  <a:lnTo>
                    <a:pt x="2394" y="697"/>
                  </a:lnTo>
                  <a:lnTo>
                    <a:pt x="2390" y="699"/>
                  </a:lnTo>
                  <a:lnTo>
                    <a:pt x="2381" y="698"/>
                  </a:lnTo>
                  <a:lnTo>
                    <a:pt x="2381" y="698"/>
                  </a:lnTo>
                  <a:lnTo>
                    <a:pt x="2378" y="697"/>
                  </a:lnTo>
                  <a:lnTo>
                    <a:pt x="2377" y="694"/>
                  </a:lnTo>
                  <a:lnTo>
                    <a:pt x="2375" y="691"/>
                  </a:lnTo>
                  <a:lnTo>
                    <a:pt x="2375" y="688"/>
                  </a:lnTo>
                  <a:lnTo>
                    <a:pt x="2377" y="681"/>
                  </a:lnTo>
                  <a:lnTo>
                    <a:pt x="2379" y="675"/>
                  </a:lnTo>
                  <a:lnTo>
                    <a:pt x="2379" y="675"/>
                  </a:lnTo>
                  <a:lnTo>
                    <a:pt x="2379" y="672"/>
                  </a:lnTo>
                  <a:lnTo>
                    <a:pt x="2379" y="670"/>
                  </a:lnTo>
                  <a:lnTo>
                    <a:pt x="2377" y="669"/>
                  </a:lnTo>
                  <a:lnTo>
                    <a:pt x="2372" y="668"/>
                  </a:lnTo>
                  <a:lnTo>
                    <a:pt x="2372" y="668"/>
                  </a:lnTo>
                  <a:lnTo>
                    <a:pt x="2369" y="665"/>
                  </a:lnTo>
                  <a:lnTo>
                    <a:pt x="2369" y="663"/>
                  </a:lnTo>
                  <a:lnTo>
                    <a:pt x="2372" y="662"/>
                  </a:lnTo>
                  <a:lnTo>
                    <a:pt x="2375" y="660"/>
                  </a:lnTo>
                  <a:lnTo>
                    <a:pt x="2375" y="660"/>
                  </a:lnTo>
                  <a:lnTo>
                    <a:pt x="2382" y="662"/>
                  </a:lnTo>
                  <a:lnTo>
                    <a:pt x="2391" y="663"/>
                  </a:lnTo>
                  <a:lnTo>
                    <a:pt x="2391" y="663"/>
                  </a:lnTo>
                  <a:lnTo>
                    <a:pt x="2394" y="665"/>
                  </a:lnTo>
                  <a:lnTo>
                    <a:pt x="2397" y="666"/>
                  </a:lnTo>
                  <a:lnTo>
                    <a:pt x="2400" y="666"/>
                  </a:lnTo>
                  <a:lnTo>
                    <a:pt x="2403" y="666"/>
                  </a:lnTo>
                  <a:lnTo>
                    <a:pt x="2403" y="666"/>
                  </a:lnTo>
                  <a:lnTo>
                    <a:pt x="2414" y="663"/>
                  </a:lnTo>
                  <a:lnTo>
                    <a:pt x="2426" y="657"/>
                  </a:lnTo>
                  <a:lnTo>
                    <a:pt x="2426" y="657"/>
                  </a:lnTo>
                  <a:lnTo>
                    <a:pt x="2430" y="653"/>
                  </a:lnTo>
                  <a:lnTo>
                    <a:pt x="2433" y="647"/>
                  </a:lnTo>
                  <a:lnTo>
                    <a:pt x="2434" y="642"/>
                  </a:lnTo>
                  <a:lnTo>
                    <a:pt x="2436" y="637"/>
                  </a:lnTo>
                  <a:lnTo>
                    <a:pt x="2436" y="637"/>
                  </a:lnTo>
                  <a:lnTo>
                    <a:pt x="2434" y="633"/>
                  </a:lnTo>
                  <a:lnTo>
                    <a:pt x="2433" y="630"/>
                  </a:lnTo>
                  <a:lnTo>
                    <a:pt x="2433" y="630"/>
                  </a:lnTo>
                  <a:lnTo>
                    <a:pt x="2432" y="627"/>
                  </a:lnTo>
                  <a:lnTo>
                    <a:pt x="2433" y="620"/>
                  </a:lnTo>
                  <a:lnTo>
                    <a:pt x="2436" y="608"/>
                  </a:lnTo>
                  <a:lnTo>
                    <a:pt x="2436" y="608"/>
                  </a:lnTo>
                  <a:lnTo>
                    <a:pt x="2437" y="608"/>
                  </a:lnTo>
                  <a:lnTo>
                    <a:pt x="2439" y="608"/>
                  </a:lnTo>
                  <a:lnTo>
                    <a:pt x="2443" y="613"/>
                  </a:lnTo>
                  <a:lnTo>
                    <a:pt x="2443" y="613"/>
                  </a:lnTo>
                  <a:lnTo>
                    <a:pt x="2446" y="615"/>
                  </a:lnTo>
                  <a:lnTo>
                    <a:pt x="2446" y="617"/>
                  </a:lnTo>
                  <a:lnTo>
                    <a:pt x="2445" y="618"/>
                  </a:lnTo>
                  <a:lnTo>
                    <a:pt x="2445" y="618"/>
                  </a:lnTo>
                  <a:lnTo>
                    <a:pt x="2443" y="621"/>
                  </a:lnTo>
                  <a:lnTo>
                    <a:pt x="2443" y="623"/>
                  </a:lnTo>
                  <a:lnTo>
                    <a:pt x="2445" y="628"/>
                  </a:lnTo>
                  <a:lnTo>
                    <a:pt x="2445" y="628"/>
                  </a:lnTo>
                  <a:lnTo>
                    <a:pt x="2447" y="634"/>
                  </a:lnTo>
                  <a:lnTo>
                    <a:pt x="2453" y="637"/>
                  </a:lnTo>
                  <a:lnTo>
                    <a:pt x="2453" y="637"/>
                  </a:lnTo>
                  <a:lnTo>
                    <a:pt x="2459" y="639"/>
                  </a:lnTo>
                  <a:lnTo>
                    <a:pt x="2469" y="640"/>
                  </a:lnTo>
                  <a:lnTo>
                    <a:pt x="2485" y="640"/>
                  </a:lnTo>
                  <a:lnTo>
                    <a:pt x="2485" y="640"/>
                  </a:lnTo>
                  <a:lnTo>
                    <a:pt x="2488" y="643"/>
                  </a:lnTo>
                  <a:lnTo>
                    <a:pt x="2491" y="647"/>
                  </a:lnTo>
                  <a:lnTo>
                    <a:pt x="2492" y="652"/>
                  </a:lnTo>
                  <a:lnTo>
                    <a:pt x="2492" y="655"/>
                  </a:lnTo>
                  <a:lnTo>
                    <a:pt x="2491" y="656"/>
                  </a:lnTo>
                  <a:lnTo>
                    <a:pt x="2491" y="656"/>
                  </a:lnTo>
                  <a:lnTo>
                    <a:pt x="2489" y="659"/>
                  </a:lnTo>
                  <a:lnTo>
                    <a:pt x="2491" y="662"/>
                  </a:lnTo>
                  <a:lnTo>
                    <a:pt x="2494" y="665"/>
                  </a:lnTo>
                  <a:lnTo>
                    <a:pt x="2495" y="666"/>
                  </a:lnTo>
                  <a:lnTo>
                    <a:pt x="2495" y="666"/>
                  </a:lnTo>
                  <a:lnTo>
                    <a:pt x="2500" y="668"/>
                  </a:lnTo>
                  <a:lnTo>
                    <a:pt x="2507" y="669"/>
                  </a:lnTo>
                  <a:lnTo>
                    <a:pt x="2520" y="670"/>
                  </a:lnTo>
                  <a:lnTo>
                    <a:pt x="2520" y="670"/>
                  </a:lnTo>
                  <a:lnTo>
                    <a:pt x="2523" y="673"/>
                  </a:lnTo>
                  <a:lnTo>
                    <a:pt x="2526" y="676"/>
                  </a:lnTo>
                  <a:lnTo>
                    <a:pt x="2529" y="679"/>
                  </a:lnTo>
                  <a:lnTo>
                    <a:pt x="2533" y="681"/>
                  </a:lnTo>
                  <a:lnTo>
                    <a:pt x="2533" y="681"/>
                  </a:lnTo>
                  <a:lnTo>
                    <a:pt x="2539" y="681"/>
                  </a:lnTo>
                  <a:lnTo>
                    <a:pt x="2545" y="679"/>
                  </a:lnTo>
                  <a:lnTo>
                    <a:pt x="2549" y="676"/>
                  </a:lnTo>
                  <a:lnTo>
                    <a:pt x="2550" y="673"/>
                  </a:lnTo>
                  <a:lnTo>
                    <a:pt x="2550" y="673"/>
                  </a:lnTo>
                  <a:lnTo>
                    <a:pt x="2549" y="670"/>
                  </a:lnTo>
                  <a:lnTo>
                    <a:pt x="2547" y="669"/>
                  </a:lnTo>
                  <a:lnTo>
                    <a:pt x="2545" y="669"/>
                  </a:lnTo>
                  <a:lnTo>
                    <a:pt x="2542" y="669"/>
                  </a:lnTo>
                  <a:lnTo>
                    <a:pt x="2542" y="669"/>
                  </a:lnTo>
                  <a:lnTo>
                    <a:pt x="2540" y="670"/>
                  </a:lnTo>
                  <a:lnTo>
                    <a:pt x="2539" y="669"/>
                  </a:lnTo>
                  <a:lnTo>
                    <a:pt x="2537" y="665"/>
                  </a:lnTo>
                  <a:lnTo>
                    <a:pt x="2537" y="665"/>
                  </a:lnTo>
                  <a:lnTo>
                    <a:pt x="2537" y="663"/>
                  </a:lnTo>
                  <a:lnTo>
                    <a:pt x="2540" y="662"/>
                  </a:lnTo>
                  <a:lnTo>
                    <a:pt x="2546" y="660"/>
                  </a:lnTo>
                  <a:lnTo>
                    <a:pt x="2546" y="660"/>
                  </a:lnTo>
                  <a:lnTo>
                    <a:pt x="2549" y="657"/>
                  </a:lnTo>
                  <a:lnTo>
                    <a:pt x="2549" y="653"/>
                  </a:lnTo>
                  <a:lnTo>
                    <a:pt x="2547" y="646"/>
                  </a:lnTo>
                  <a:lnTo>
                    <a:pt x="2547" y="646"/>
                  </a:lnTo>
                  <a:lnTo>
                    <a:pt x="2546" y="639"/>
                  </a:lnTo>
                  <a:lnTo>
                    <a:pt x="2546" y="636"/>
                  </a:lnTo>
                  <a:lnTo>
                    <a:pt x="2546" y="636"/>
                  </a:lnTo>
                  <a:lnTo>
                    <a:pt x="2546" y="636"/>
                  </a:lnTo>
                  <a:lnTo>
                    <a:pt x="2553" y="637"/>
                  </a:lnTo>
                  <a:lnTo>
                    <a:pt x="2563" y="637"/>
                  </a:lnTo>
                  <a:lnTo>
                    <a:pt x="2563" y="637"/>
                  </a:lnTo>
                  <a:lnTo>
                    <a:pt x="2565" y="637"/>
                  </a:lnTo>
                  <a:lnTo>
                    <a:pt x="2565" y="634"/>
                  </a:lnTo>
                  <a:lnTo>
                    <a:pt x="2563" y="628"/>
                  </a:lnTo>
                  <a:lnTo>
                    <a:pt x="2563" y="628"/>
                  </a:lnTo>
                  <a:lnTo>
                    <a:pt x="2563" y="627"/>
                  </a:lnTo>
                  <a:lnTo>
                    <a:pt x="2563" y="627"/>
                  </a:lnTo>
                  <a:lnTo>
                    <a:pt x="2566" y="628"/>
                  </a:lnTo>
                  <a:lnTo>
                    <a:pt x="2573" y="636"/>
                  </a:lnTo>
                  <a:lnTo>
                    <a:pt x="2573" y="636"/>
                  </a:lnTo>
                  <a:lnTo>
                    <a:pt x="2576" y="636"/>
                  </a:lnTo>
                  <a:lnTo>
                    <a:pt x="2576" y="634"/>
                  </a:lnTo>
                  <a:lnTo>
                    <a:pt x="2579" y="627"/>
                  </a:lnTo>
                  <a:lnTo>
                    <a:pt x="2579" y="627"/>
                  </a:lnTo>
                  <a:lnTo>
                    <a:pt x="2582" y="621"/>
                  </a:lnTo>
                  <a:lnTo>
                    <a:pt x="2588" y="618"/>
                  </a:lnTo>
                  <a:lnTo>
                    <a:pt x="2588" y="618"/>
                  </a:lnTo>
                  <a:lnTo>
                    <a:pt x="2589" y="617"/>
                  </a:lnTo>
                  <a:lnTo>
                    <a:pt x="2589" y="615"/>
                  </a:lnTo>
                  <a:lnTo>
                    <a:pt x="2587" y="613"/>
                  </a:lnTo>
                  <a:lnTo>
                    <a:pt x="2581" y="6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96" name="Freeform 1156"/>
            <p:cNvSpPr>
              <a:spLocks/>
            </p:cNvSpPr>
            <p:nvPr/>
          </p:nvSpPr>
          <p:spPr bwMode="auto">
            <a:xfrm>
              <a:off x="6096001" y="2288017"/>
              <a:ext cx="22225" cy="23813"/>
            </a:xfrm>
            <a:custGeom>
              <a:avLst/>
              <a:gdLst>
                <a:gd name="T0" fmla="*/ 4 w 14"/>
                <a:gd name="T1" fmla="*/ 15 h 15"/>
                <a:gd name="T2" fmla="*/ 4 w 14"/>
                <a:gd name="T3" fmla="*/ 15 h 15"/>
                <a:gd name="T4" fmla="*/ 2 w 14"/>
                <a:gd name="T5" fmla="*/ 13 h 15"/>
                <a:gd name="T6" fmla="*/ 2 w 14"/>
                <a:gd name="T7" fmla="*/ 12 h 15"/>
                <a:gd name="T8" fmla="*/ 2 w 14"/>
                <a:gd name="T9" fmla="*/ 9 h 15"/>
                <a:gd name="T10" fmla="*/ 2 w 14"/>
                <a:gd name="T11" fmla="*/ 9 h 15"/>
                <a:gd name="T12" fmla="*/ 0 w 14"/>
                <a:gd name="T13" fmla="*/ 3 h 15"/>
                <a:gd name="T14" fmla="*/ 0 w 14"/>
                <a:gd name="T15" fmla="*/ 2 h 15"/>
                <a:gd name="T16" fmla="*/ 1 w 14"/>
                <a:gd name="T17" fmla="*/ 0 h 15"/>
                <a:gd name="T18" fmla="*/ 1 w 14"/>
                <a:gd name="T19" fmla="*/ 0 h 15"/>
                <a:gd name="T20" fmla="*/ 4 w 14"/>
                <a:gd name="T21" fmla="*/ 0 h 15"/>
                <a:gd name="T22" fmla="*/ 8 w 14"/>
                <a:gd name="T23" fmla="*/ 2 h 15"/>
                <a:gd name="T24" fmla="*/ 13 w 14"/>
                <a:gd name="T25" fmla="*/ 5 h 15"/>
                <a:gd name="T26" fmla="*/ 14 w 14"/>
                <a:gd name="T27" fmla="*/ 6 h 15"/>
                <a:gd name="T28" fmla="*/ 14 w 14"/>
                <a:gd name="T29" fmla="*/ 6 h 15"/>
                <a:gd name="T30" fmla="*/ 13 w 14"/>
                <a:gd name="T31" fmla="*/ 10 h 15"/>
                <a:gd name="T32" fmla="*/ 10 w 14"/>
                <a:gd name="T33" fmla="*/ 13 h 15"/>
                <a:gd name="T34" fmla="*/ 7 w 14"/>
                <a:gd name="T35" fmla="*/ 15 h 15"/>
                <a:gd name="T36" fmla="*/ 4 w 14"/>
                <a:gd name="T3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15">
                  <a:moveTo>
                    <a:pt x="4" y="15"/>
                  </a:moveTo>
                  <a:lnTo>
                    <a:pt x="4" y="15"/>
                  </a:lnTo>
                  <a:lnTo>
                    <a:pt x="2" y="13"/>
                  </a:lnTo>
                  <a:lnTo>
                    <a:pt x="2" y="12"/>
                  </a:lnTo>
                  <a:lnTo>
                    <a:pt x="2" y="9"/>
                  </a:lnTo>
                  <a:lnTo>
                    <a:pt x="2" y="9"/>
                  </a:lnTo>
                  <a:lnTo>
                    <a:pt x="0" y="3"/>
                  </a:lnTo>
                  <a:lnTo>
                    <a:pt x="0" y="2"/>
                  </a:lnTo>
                  <a:lnTo>
                    <a:pt x="1" y="0"/>
                  </a:lnTo>
                  <a:lnTo>
                    <a:pt x="1" y="0"/>
                  </a:lnTo>
                  <a:lnTo>
                    <a:pt x="4" y="0"/>
                  </a:lnTo>
                  <a:lnTo>
                    <a:pt x="8" y="2"/>
                  </a:lnTo>
                  <a:lnTo>
                    <a:pt x="13" y="5"/>
                  </a:lnTo>
                  <a:lnTo>
                    <a:pt x="14" y="6"/>
                  </a:lnTo>
                  <a:lnTo>
                    <a:pt x="14" y="6"/>
                  </a:lnTo>
                  <a:lnTo>
                    <a:pt x="13" y="10"/>
                  </a:lnTo>
                  <a:lnTo>
                    <a:pt x="10" y="13"/>
                  </a:lnTo>
                  <a:lnTo>
                    <a:pt x="7" y="15"/>
                  </a:lnTo>
                  <a:lnTo>
                    <a:pt x="4"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97" name="Freeform 1157"/>
            <p:cNvSpPr>
              <a:spLocks/>
            </p:cNvSpPr>
            <p:nvPr/>
          </p:nvSpPr>
          <p:spPr bwMode="auto">
            <a:xfrm>
              <a:off x="6088063" y="2157842"/>
              <a:ext cx="44450" cy="33338"/>
            </a:xfrm>
            <a:custGeom>
              <a:avLst/>
              <a:gdLst>
                <a:gd name="T0" fmla="*/ 2 w 28"/>
                <a:gd name="T1" fmla="*/ 7 h 21"/>
                <a:gd name="T2" fmla="*/ 2 w 28"/>
                <a:gd name="T3" fmla="*/ 7 h 21"/>
                <a:gd name="T4" fmla="*/ 3 w 28"/>
                <a:gd name="T5" fmla="*/ 6 h 21"/>
                <a:gd name="T6" fmla="*/ 7 w 28"/>
                <a:gd name="T7" fmla="*/ 4 h 21"/>
                <a:gd name="T8" fmla="*/ 12 w 28"/>
                <a:gd name="T9" fmla="*/ 3 h 21"/>
                <a:gd name="T10" fmla="*/ 15 w 28"/>
                <a:gd name="T11" fmla="*/ 1 h 21"/>
                <a:gd name="T12" fmla="*/ 15 w 28"/>
                <a:gd name="T13" fmla="*/ 1 h 21"/>
                <a:gd name="T14" fmla="*/ 18 w 28"/>
                <a:gd name="T15" fmla="*/ 0 h 21"/>
                <a:gd name="T16" fmla="*/ 22 w 28"/>
                <a:gd name="T17" fmla="*/ 0 h 21"/>
                <a:gd name="T18" fmla="*/ 26 w 28"/>
                <a:gd name="T19" fmla="*/ 3 h 21"/>
                <a:gd name="T20" fmla="*/ 28 w 28"/>
                <a:gd name="T21" fmla="*/ 6 h 21"/>
                <a:gd name="T22" fmla="*/ 28 w 28"/>
                <a:gd name="T23" fmla="*/ 6 h 21"/>
                <a:gd name="T24" fmla="*/ 26 w 28"/>
                <a:gd name="T25" fmla="*/ 10 h 21"/>
                <a:gd name="T26" fmla="*/ 20 w 28"/>
                <a:gd name="T27" fmla="*/ 16 h 21"/>
                <a:gd name="T28" fmla="*/ 15 w 28"/>
                <a:gd name="T29" fmla="*/ 20 h 21"/>
                <a:gd name="T30" fmla="*/ 10 w 28"/>
                <a:gd name="T31" fmla="*/ 21 h 21"/>
                <a:gd name="T32" fmla="*/ 10 w 28"/>
                <a:gd name="T33" fmla="*/ 21 h 21"/>
                <a:gd name="T34" fmla="*/ 7 w 28"/>
                <a:gd name="T35" fmla="*/ 19 h 21"/>
                <a:gd name="T36" fmla="*/ 3 w 28"/>
                <a:gd name="T37" fmla="*/ 16 h 21"/>
                <a:gd name="T38" fmla="*/ 0 w 28"/>
                <a:gd name="T39" fmla="*/ 11 h 21"/>
                <a:gd name="T40" fmla="*/ 0 w 28"/>
                <a:gd name="T41" fmla="*/ 8 h 21"/>
                <a:gd name="T42" fmla="*/ 2 w 28"/>
                <a:gd name="T43"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 h="21">
                  <a:moveTo>
                    <a:pt x="2" y="7"/>
                  </a:moveTo>
                  <a:lnTo>
                    <a:pt x="2" y="7"/>
                  </a:lnTo>
                  <a:lnTo>
                    <a:pt x="3" y="6"/>
                  </a:lnTo>
                  <a:lnTo>
                    <a:pt x="7" y="4"/>
                  </a:lnTo>
                  <a:lnTo>
                    <a:pt x="12" y="3"/>
                  </a:lnTo>
                  <a:lnTo>
                    <a:pt x="15" y="1"/>
                  </a:lnTo>
                  <a:lnTo>
                    <a:pt x="15" y="1"/>
                  </a:lnTo>
                  <a:lnTo>
                    <a:pt x="18" y="0"/>
                  </a:lnTo>
                  <a:lnTo>
                    <a:pt x="22" y="0"/>
                  </a:lnTo>
                  <a:lnTo>
                    <a:pt x="26" y="3"/>
                  </a:lnTo>
                  <a:lnTo>
                    <a:pt x="28" y="6"/>
                  </a:lnTo>
                  <a:lnTo>
                    <a:pt x="28" y="6"/>
                  </a:lnTo>
                  <a:lnTo>
                    <a:pt x="26" y="10"/>
                  </a:lnTo>
                  <a:lnTo>
                    <a:pt x="20" y="16"/>
                  </a:lnTo>
                  <a:lnTo>
                    <a:pt x="15" y="20"/>
                  </a:lnTo>
                  <a:lnTo>
                    <a:pt x="10" y="21"/>
                  </a:lnTo>
                  <a:lnTo>
                    <a:pt x="10" y="21"/>
                  </a:lnTo>
                  <a:lnTo>
                    <a:pt x="7" y="19"/>
                  </a:lnTo>
                  <a:lnTo>
                    <a:pt x="3" y="16"/>
                  </a:lnTo>
                  <a:lnTo>
                    <a:pt x="0" y="11"/>
                  </a:lnTo>
                  <a:lnTo>
                    <a:pt x="0" y="8"/>
                  </a:lnTo>
                  <a:lnTo>
                    <a:pt x="2"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98" name="Freeform 1158"/>
            <p:cNvSpPr>
              <a:spLocks/>
            </p:cNvSpPr>
            <p:nvPr/>
          </p:nvSpPr>
          <p:spPr bwMode="auto">
            <a:xfrm>
              <a:off x="5099051" y="2929367"/>
              <a:ext cx="17463" cy="14288"/>
            </a:xfrm>
            <a:custGeom>
              <a:avLst/>
              <a:gdLst>
                <a:gd name="T0" fmla="*/ 0 w 11"/>
                <a:gd name="T1" fmla="*/ 8 h 9"/>
                <a:gd name="T2" fmla="*/ 0 w 11"/>
                <a:gd name="T3" fmla="*/ 8 h 9"/>
                <a:gd name="T4" fmla="*/ 0 w 11"/>
                <a:gd name="T5" fmla="*/ 6 h 9"/>
                <a:gd name="T6" fmla="*/ 0 w 11"/>
                <a:gd name="T7" fmla="*/ 5 h 9"/>
                <a:gd name="T8" fmla="*/ 6 w 11"/>
                <a:gd name="T9" fmla="*/ 0 h 9"/>
                <a:gd name="T10" fmla="*/ 6 w 11"/>
                <a:gd name="T11" fmla="*/ 0 h 9"/>
                <a:gd name="T12" fmla="*/ 8 w 11"/>
                <a:gd name="T13" fmla="*/ 0 h 9"/>
                <a:gd name="T14" fmla="*/ 9 w 11"/>
                <a:gd name="T15" fmla="*/ 2 h 9"/>
                <a:gd name="T16" fmla="*/ 11 w 11"/>
                <a:gd name="T17" fmla="*/ 3 h 9"/>
                <a:gd name="T18" fmla="*/ 11 w 11"/>
                <a:gd name="T19" fmla="*/ 3 h 9"/>
                <a:gd name="T20" fmla="*/ 9 w 11"/>
                <a:gd name="T21" fmla="*/ 6 h 9"/>
                <a:gd name="T22" fmla="*/ 6 w 11"/>
                <a:gd name="T23" fmla="*/ 8 h 9"/>
                <a:gd name="T24" fmla="*/ 3 w 11"/>
                <a:gd name="T25" fmla="*/ 9 h 9"/>
                <a:gd name="T26" fmla="*/ 0 w 11"/>
                <a:gd name="T2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9">
                  <a:moveTo>
                    <a:pt x="0" y="8"/>
                  </a:moveTo>
                  <a:lnTo>
                    <a:pt x="0" y="8"/>
                  </a:lnTo>
                  <a:lnTo>
                    <a:pt x="0" y="6"/>
                  </a:lnTo>
                  <a:lnTo>
                    <a:pt x="0" y="5"/>
                  </a:lnTo>
                  <a:lnTo>
                    <a:pt x="6" y="0"/>
                  </a:lnTo>
                  <a:lnTo>
                    <a:pt x="6" y="0"/>
                  </a:lnTo>
                  <a:lnTo>
                    <a:pt x="8" y="0"/>
                  </a:lnTo>
                  <a:lnTo>
                    <a:pt x="9" y="2"/>
                  </a:lnTo>
                  <a:lnTo>
                    <a:pt x="11" y="3"/>
                  </a:lnTo>
                  <a:lnTo>
                    <a:pt x="11" y="3"/>
                  </a:lnTo>
                  <a:lnTo>
                    <a:pt x="9" y="6"/>
                  </a:lnTo>
                  <a:lnTo>
                    <a:pt x="6" y="8"/>
                  </a:lnTo>
                  <a:lnTo>
                    <a:pt x="3" y="9"/>
                  </a:lnTo>
                  <a:lnTo>
                    <a:pt x="0"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099" name="Freeform 1159"/>
            <p:cNvSpPr>
              <a:spLocks/>
            </p:cNvSpPr>
            <p:nvPr/>
          </p:nvSpPr>
          <p:spPr bwMode="auto">
            <a:xfrm>
              <a:off x="5072063" y="2764267"/>
              <a:ext cx="76200" cy="87313"/>
            </a:xfrm>
            <a:custGeom>
              <a:avLst/>
              <a:gdLst>
                <a:gd name="T0" fmla="*/ 46 w 48"/>
                <a:gd name="T1" fmla="*/ 41 h 55"/>
                <a:gd name="T2" fmla="*/ 46 w 48"/>
                <a:gd name="T3" fmla="*/ 41 h 55"/>
                <a:gd name="T4" fmla="*/ 45 w 48"/>
                <a:gd name="T5" fmla="*/ 42 h 55"/>
                <a:gd name="T6" fmla="*/ 43 w 48"/>
                <a:gd name="T7" fmla="*/ 46 h 55"/>
                <a:gd name="T8" fmla="*/ 42 w 48"/>
                <a:gd name="T9" fmla="*/ 51 h 55"/>
                <a:gd name="T10" fmla="*/ 42 w 48"/>
                <a:gd name="T11" fmla="*/ 51 h 55"/>
                <a:gd name="T12" fmla="*/ 39 w 48"/>
                <a:gd name="T13" fmla="*/ 49 h 55"/>
                <a:gd name="T14" fmla="*/ 38 w 48"/>
                <a:gd name="T15" fmla="*/ 48 h 55"/>
                <a:gd name="T16" fmla="*/ 36 w 48"/>
                <a:gd name="T17" fmla="*/ 48 h 55"/>
                <a:gd name="T18" fmla="*/ 36 w 48"/>
                <a:gd name="T19" fmla="*/ 48 h 55"/>
                <a:gd name="T20" fmla="*/ 30 w 48"/>
                <a:gd name="T21" fmla="*/ 48 h 55"/>
                <a:gd name="T22" fmla="*/ 29 w 48"/>
                <a:gd name="T23" fmla="*/ 49 h 55"/>
                <a:gd name="T24" fmla="*/ 28 w 48"/>
                <a:gd name="T25" fmla="*/ 52 h 55"/>
                <a:gd name="T26" fmla="*/ 28 w 48"/>
                <a:gd name="T27" fmla="*/ 52 h 55"/>
                <a:gd name="T28" fmla="*/ 28 w 48"/>
                <a:gd name="T29" fmla="*/ 54 h 55"/>
                <a:gd name="T30" fmla="*/ 26 w 48"/>
                <a:gd name="T31" fmla="*/ 55 h 55"/>
                <a:gd name="T32" fmla="*/ 25 w 48"/>
                <a:gd name="T33" fmla="*/ 55 h 55"/>
                <a:gd name="T34" fmla="*/ 22 w 48"/>
                <a:gd name="T35" fmla="*/ 55 h 55"/>
                <a:gd name="T36" fmla="*/ 22 w 48"/>
                <a:gd name="T37" fmla="*/ 55 h 55"/>
                <a:gd name="T38" fmla="*/ 17 w 48"/>
                <a:gd name="T39" fmla="*/ 51 h 55"/>
                <a:gd name="T40" fmla="*/ 16 w 48"/>
                <a:gd name="T41" fmla="*/ 48 h 55"/>
                <a:gd name="T42" fmla="*/ 14 w 48"/>
                <a:gd name="T43" fmla="*/ 45 h 55"/>
                <a:gd name="T44" fmla="*/ 14 w 48"/>
                <a:gd name="T45" fmla="*/ 45 h 55"/>
                <a:gd name="T46" fmla="*/ 13 w 48"/>
                <a:gd name="T47" fmla="*/ 39 h 55"/>
                <a:gd name="T48" fmla="*/ 7 w 48"/>
                <a:gd name="T49" fmla="*/ 32 h 55"/>
                <a:gd name="T50" fmla="*/ 3 w 48"/>
                <a:gd name="T51" fmla="*/ 26 h 55"/>
                <a:gd name="T52" fmla="*/ 0 w 48"/>
                <a:gd name="T53" fmla="*/ 22 h 55"/>
                <a:gd name="T54" fmla="*/ 0 w 48"/>
                <a:gd name="T55" fmla="*/ 22 h 55"/>
                <a:gd name="T56" fmla="*/ 1 w 48"/>
                <a:gd name="T57" fmla="*/ 13 h 55"/>
                <a:gd name="T58" fmla="*/ 3 w 48"/>
                <a:gd name="T59" fmla="*/ 9 h 55"/>
                <a:gd name="T60" fmla="*/ 4 w 48"/>
                <a:gd name="T61" fmla="*/ 6 h 55"/>
                <a:gd name="T62" fmla="*/ 4 w 48"/>
                <a:gd name="T63" fmla="*/ 6 h 55"/>
                <a:gd name="T64" fmla="*/ 10 w 48"/>
                <a:gd name="T65" fmla="*/ 2 h 55"/>
                <a:gd name="T66" fmla="*/ 13 w 48"/>
                <a:gd name="T67" fmla="*/ 0 h 55"/>
                <a:gd name="T68" fmla="*/ 16 w 48"/>
                <a:gd name="T69" fmla="*/ 0 h 55"/>
                <a:gd name="T70" fmla="*/ 16 w 48"/>
                <a:gd name="T71" fmla="*/ 0 h 55"/>
                <a:gd name="T72" fmla="*/ 20 w 48"/>
                <a:gd name="T73" fmla="*/ 2 h 55"/>
                <a:gd name="T74" fmla="*/ 25 w 48"/>
                <a:gd name="T75" fmla="*/ 4 h 55"/>
                <a:gd name="T76" fmla="*/ 32 w 48"/>
                <a:gd name="T77" fmla="*/ 10 h 55"/>
                <a:gd name="T78" fmla="*/ 32 w 48"/>
                <a:gd name="T79" fmla="*/ 10 h 55"/>
                <a:gd name="T80" fmla="*/ 41 w 48"/>
                <a:gd name="T81" fmla="*/ 23 h 55"/>
                <a:gd name="T82" fmla="*/ 48 w 48"/>
                <a:gd name="T83" fmla="*/ 35 h 55"/>
                <a:gd name="T84" fmla="*/ 48 w 48"/>
                <a:gd name="T85" fmla="*/ 35 h 55"/>
                <a:gd name="T86" fmla="*/ 48 w 48"/>
                <a:gd name="T87" fmla="*/ 39 h 55"/>
                <a:gd name="T88" fmla="*/ 46 w 48"/>
                <a:gd name="T89" fmla="*/ 4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 h="55">
                  <a:moveTo>
                    <a:pt x="46" y="41"/>
                  </a:moveTo>
                  <a:lnTo>
                    <a:pt x="46" y="41"/>
                  </a:lnTo>
                  <a:lnTo>
                    <a:pt x="45" y="42"/>
                  </a:lnTo>
                  <a:lnTo>
                    <a:pt x="43" y="46"/>
                  </a:lnTo>
                  <a:lnTo>
                    <a:pt x="42" y="51"/>
                  </a:lnTo>
                  <a:lnTo>
                    <a:pt x="42" y="51"/>
                  </a:lnTo>
                  <a:lnTo>
                    <a:pt x="39" y="49"/>
                  </a:lnTo>
                  <a:lnTo>
                    <a:pt x="38" y="48"/>
                  </a:lnTo>
                  <a:lnTo>
                    <a:pt x="36" y="48"/>
                  </a:lnTo>
                  <a:lnTo>
                    <a:pt x="36" y="48"/>
                  </a:lnTo>
                  <a:lnTo>
                    <a:pt x="30" y="48"/>
                  </a:lnTo>
                  <a:lnTo>
                    <a:pt x="29" y="49"/>
                  </a:lnTo>
                  <a:lnTo>
                    <a:pt x="28" y="52"/>
                  </a:lnTo>
                  <a:lnTo>
                    <a:pt x="28" y="52"/>
                  </a:lnTo>
                  <a:lnTo>
                    <a:pt x="28" y="54"/>
                  </a:lnTo>
                  <a:lnTo>
                    <a:pt x="26" y="55"/>
                  </a:lnTo>
                  <a:lnTo>
                    <a:pt x="25" y="55"/>
                  </a:lnTo>
                  <a:lnTo>
                    <a:pt x="22" y="55"/>
                  </a:lnTo>
                  <a:lnTo>
                    <a:pt x="22" y="55"/>
                  </a:lnTo>
                  <a:lnTo>
                    <a:pt x="17" y="51"/>
                  </a:lnTo>
                  <a:lnTo>
                    <a:pt x="16" y="48"/>
                  </a:lnTo>
                  <a:lnTo>
                    <a:pt x="14" y="45"/>
                  </a:lnTo>
                  <a:lnTo>
                    <a:pt x="14" y="45"/>
                  </a:lnTo>
                  <a:lnTo>
                    <a:pt x="13" y="39"/>
                  </a:lnTo>
                  <a:lnTo>
                    <a:pt x="7" y="32"/>
                  </a:lnTo>
                  <a:lnTo>
                    <a:pt x="3" y="26"/>
                  </a:lnTo>
                  <a:lnTo>
                    <a:pt x="0" y="22"/>
                  </a:lnTo>
                  <a:lnTo>
                    <a:pt x="0" y="22"/>
                  </a:lnTo>
                  <a:lnTo>
                    <a:pt x="1" y="13"/>
                  </a:lnTo>
                  <a:lnTo>
                    <a:pt x="3" y="9"/>
                  </a:lnTo>
                  <a:lnTo>
                    <a:pt x="4" y="6"/>
                  </a:lnTo>
                  <a:lnTo>
                    <a:pt x="4" y="6"/>
                  </a:lnTo>
                  <a:lnTo>
                    <a:pt x="10" y="2"/>
                  </a:lnTo>
                  <a:lnTo>
                    <a:pt x="13" y="0"/>
                  </a:lnTo>
                  <a:lnTo>
                    <a:pt x="16" y="0"/>
                  </a:lnTo>
                  <a:lnTo>
                    <a:pt x="16" y="0"/>
                  </a:lnTo>
                  <a:lnTo>
                    <a:pt x="20" y="2"/>
                  </a:lnTo>
                  <a:lnTo>
                    <a:pt x="25" y="4"/>
                  </a:lnTo>
                  <a:lnTo>
                    <a:pt x="32" y="10"/>
                  </a:lnTo>
                  <a:lnTo>
                    <a:pt x="32" y="10"/>
                  </a:lnTo>
                  <a:lnTo>
                    <a:pt x="41" y="23"/>
                  </a:lnTo>
                  <a:lnTo>
                    <a:pt x="48" y="35"/>
                  </a:lnTo>
                  <a:lnTo>
                    <a:pt x="48" y="35"/>
                  </a:lnTo>
                  <a:lnTo>
                    <a:pt x="48" y="39"/>
                  </a:lnTo>
                  <a:lnTo>
                    <a:pt x="46" y="4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00" name="Freeform 1160"/>
            <p:cNvSpPr>
              <a:spLocks/>
            </p:cNvSpPr>
            <p:nvPr/>
          </p:nvSpPr>
          <p:spPr bwMode="auto">
            <a:xfrm>
              <a:off x="5287963" y="2775379"/>
              <a:ext cx="14288" cy="14288"/>
            </a:xfrm>
            <a:custGeom>
              <a:avLst/>
              <a:gdLst>
                <a:gd name="T0" fmla="*/ 9 w 9"/>
                <a:gd name="T1" fmla="*/ 2 h 9"/>
                <a:gd name="T2" fmla="*/ 9 w 9"/>
                <a:gd name="T3" fmla="*/ 2 h 9"/>
                <a:gd name="T4" fmla="*/ 9 w 9"/>
                <a:gd name="T5" fmla="*/ 3 h 9"/>
                <a:gd name="T6" fmla="*/ 7 w 9"/>
                <a:gd name="T7" fmla="*/ 6 h 9"/>
                <a:gd name="T8" fmla="*/ 4 w 9"/>
                <a:gd name="T9" fmla="*/ 8 h 9"/>
                <a:gd name="T10" fmla="*/ 3 w 9"/>
                <a:gd name="T11" fmla="*/ 9 h 9"/>
                <a:gd name="T12" fmla="*/ 3 w 9"/>
                <a:gd name="T13" fmla="*/ 9 h 9"/>
                <a:gd name="T14" fmla="*/ 2 w 9"/>
                <a:gd name="T15" fmla="*/ 6 h 9"/>
                <a:gd name="T16" fmla="*/ 0 w 9"/>
                <a:gd name="T17" fmla="*/ 2 h 9"/>
                <a:gd name="T18" fmla="*/ 2 w 9"/>
                <a:gd name="T19" fmla="*/ 0 h 9"/>
                <a:gd name="T20" fmla="*/ 3 w 9"/>
                <a:gd name="T21" fmla="*/ 0 h 9"/>
                <a:gd name="T22" fmla="*/ 4 w 9"/>
                <a:gd name="T23" fmla="*/ 0 h 9"/>
                <a:gd name="T24" fmla="*/ 9 w 9"/>
                <a:gd name="T25"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9">
                  <a:moveTo>
                    <a:pt x="9" y="2"/>
                  </a:moveTo>
                  <a:lnTo>
                    <a:pt x="9" y="2"/>
                  </a:lnTo>
                  <a:lnTo>
                    <a:pt x="9" y="3"/>
                  </a:lnTo>
                  <a:lnTo>
                    <a:pt x="7" y="6"/>
                  </a:lnTo>
                  <a:lnTo>
                    <a:pt x="4" y="8"/>
                  </a:lnTo>
                  <a:lnTo>
                    <a:pt x="3" y="9"/>
                  </a:lnTo>
                  <a:lnTo>
                    <a:pt x="3" y="9"/>
                  </a:lnTo>
                  <a:lnTo>
                    <a:pt x="2" y="6"/>
                  </a:lnTo>
                  <a:lnTo>
                    <a:pt x="0" y="2"/>
                  </a:lnTo>
                  <a:lnTo>
                    <a:pt x="2" y="0"/>
                  </a:lnTo>
                  <a:lnTo>
                    <a:pt x="3" y="0"/>
                  </a:lnTo>
                  <a:lnTo>
                    <a:pt x="4" y="0"/>
                  </a:lnTo>
                  <a:lnTo>
                    <a:pt x="9"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01" name="Freeform 1161"/>
            <p:cNvSpPr>
              <a:spLocks/>
            </p:cNvSpPr>
            <p:nvPr/>
          </p:nvSpPr>
          <p:spPr bwMode="auto">
            <a:xfrm>
              <a:off x="5159376" y="2661079"/>
              <a:ext cx="20638" cy="15875"/>
            </a:xfrm>
            <a:custGeom>
              <a:avLst/>
              <a:gdLst>
                <a:gd name="T0" fmla="*/ 3 w 13"/>
                <a:gd name="T1" fmla="*/ 10 h 10"/>
                <a:gd name="T2" fmla="*/ 3 w 13"/>
                <a:gd name="T3" fmla="*/ 10 h 10"/>
                <a:gd name="T4" fmla="*/ 0 w 13"/>
                <a:gd name="T5" fmla="*/ 7 h 10"/>
                <a:gd name="T6" fmla="*/ 0 w 13"/>
                <a:gd name="T7" fmla="*/ 3 h 10"/>
                <a:gd name="T8" fmla="*/ 0 w 13"/>
                <a:gd name="T9" fmla="*/ 3 h 10"/>
                <a:gd name="T10" fmla="*/ 0 w 13"/>
                <a:gd name="T11" fmla="*/ 1 h 10"/>
                <a:gd name="T12" fmla="*/ 1 w 13"/>
                <a:gd name="T13" fmla="*/ 0 h 10"/>
                <a:gd name="T14" fmla="*/ 6 w 13"/>
                <a:gd name="T15" fmla="*/ 0 h 10"/>
                <a:gd name="T16" fmla="*/ 6 w 13"/>
                <a:gd name="T17" fmla="*/ 0 h 10"/>
                <a:gd name="T18" fmla="*/ 10 w 13"/>
                <a:gd name="T19" fmla="*/ 3 h 10"/>
                <a:gd name="T20" fmla="*/ 13 w 13"/>
                <a:gd name="T21" fmla="*/ 6 h 10"/>
                <a:gd name="T22" fmla="*/ 13 w 13"/>
                <a:gd name="T23" fmla="*/ 6 h 10"/>
                <a:gd name="T24" fmla="*/ 9 w 13"/>
                <a:gd name="T25" fmla="*/ 9 h 10"/>
                <a:gd name="T26" fmla="*/ 6 w 13"/>
                <a:gd name="T27" fmla="*/ 10 h 10"/>
                <a:gd name="T28" fmla="*/ 3 w 13"/>
                <a:gd name="T2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0">
                  <a:moveTo>
                    <a:pt x="3" y="10"/>
                  </a:moveTo>
                  <a:lnTo>
                    <a:pt x="3" y="10"/>
                  </a:lnTo>
                  <a:lnTo>
                    <a:pt x="0" y="7"/>
                  </a:lnTo>
                  <a:lnTo>
                    <a:pt x="0" y="3"/>
                  </a:lnTo>
                  <a:lnTo>
                    <a:pt x="0" y="3"/>
                  </a:lnTo>
                  <a:lnTo>
                    <a:pt x="0" y="1"/>
                  </a:lnTo>
                  <a:lnTo>
                    <a:pt x="1" y="0"/>
                  </a:lnTo>
                  <a:lnTo>
                    <a:pt x="6" y="0"/>
                  </a:lnTo>
                  <a:lnTo>
                    <a:pt x="6" y="0"/>
                  </a:lnTo>
                  <a:lnTo>
                    <a:pt x="10" y="3"/>
                  </a:lnTo>
                  <a:lnTo>
                    <a:pt x="13" y="6"/>
                  </a:lnTo>
                  <a:lnTo>
                    <a:pt x="13" y="6"/>
                  </a:lnTo>
                  <a:lnTo>
                    <a:pt x="9" y="9"/>
                  </a:lnTo>
                  <a:lnTo>
                    <a:pt x="6" y="10"/>
                  </a:lnTo>
                  <a:lnTo>
                    <a:pt x="3"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02" name="Freeform 1162"/>
            <p:cNvSpPr>
              <a:spLocks/>
            </p:cNvSpPr>
            <p:nvPr/>
          </p:nvSpPr>
          <p:spPr bwMode="auto">
            <a:xfrm>
              <a:off x="5178426" y="2700767"/>
              <a:ext cx="58738" cy="103188"/>
            </a:xfrm>
            <a:custGeom>
              <a:avLst/>
              <a:gdLst>
                <a:gd name="T0" fmla="*/ 36 w 37"/>
                <a:gd name="T1" fmla="*/ 53 h 65"/>
                <a:gd name="T2" fmla="*/ 36 w 37"/>
                <a:gd name="T3" fmla="*/ 53 h 65"/>
                <a:gd name="T4" fmla="*/ 30 w 37"/>
                <a:gd name="T5" fmla="*/ 62 h 65"/>
                <a:gd name="T6" fmla="*/ 26 w 37"/>
                <a:gd name="T7" fmla="*/ 65 h 65"/>
                <a:gd name="T8" fmla="*/ 26 w 37"/>
                <a:gd name="T9" fmla="*/ 65 h 65"/>
                <a:gd name="T10" fmla="*/ 24 w 37"/>
                <a:gd name="T11" fmla="*/ 65 h 65"/>
                <a:gd name="T12" fmla="*/ 23 w 37"/>
                <a:gd name="T13" fmla="*/ 63 h 65"/>
                <a:gd name="T14" fmla="*/ 23 w 37"/>
                <a:gd name="T15" fmla="*/ 59 h 65"/>
                <a:gd name="T16" fmla="*/ 23 w 37"/>
                <a:gd name="T17" fmla="*/ 59 h 65"/>
                <a:gd name="T18" fmla="*/ 23 w 37"/>
                <a:gd name="T19" fmla="*/ 56 h 65"/>
                <a:gd name="T20" fmla="*/ 21 w 37"/>
                <a:gd name="T21" fmla="*/ 53 h 65"/>
                <a:gd name="T22" fmla="*/ 18 w 37"/>
                <a:gd name="T23" fmla="*/ 50 h 65"/>
                <a:gd name="T24" fmla="*/ 14 w 37"/>
                <a:gd name="T25" fmla="*/ 47 h 65"/>
                <a:gd name="T26" fmla="*/ 14 w 37"/>
                <a:gd name="T27" fmla="*/ 47 h 65"/>
                <a:gd name="T28" fmla="*/ 4 w 37"/>
                <a:gd name="T29" fmla="*/ 40 h 65"/>
                <a:gd name="T30" fmla="*/ 0 w 37"/>
                <a:gd name="T31" fmla="*/ 37 h 65"/>
                <a:gd name="T32" fmla="*/ 0 w 37"/>
                <a:gd name="T33" fmla="*/ 36 h 65"/>
                <a:gd name="T34" fmla="*/ 0 w 37"/>
                <a:gd name="T35" fmla="*/ 34 h 65"/>
                <a:gd name="T36" fmla="*/ 0 w 37"/>
                <a:gd name="T37" fmla="*/ 34 h 65"/>
                <a:gd name="T38" fmla="*/ 1 w 37"/>
                <a:gd name="T39" fmla="*/ 33 h 65"/>
                <a:gd name="T40" fmla="*/ 3 w 37"/>
                <a:gd name="T41" fmla="*/ 33 h 65"/>
                <a:gd name="T42" fmla="*/ 4 w 37"/>
                <a:gd name="T43" fmla="*/ 33 h 65"/>
                <a:gd name="T44" fmla="*/ 5 w 37"/>
                <a:gd name="T45" fmla="*/ 30 h 65"/>
                <a:gd name="T46" fmla="*/ 5 w 37"/>
                <a:gd name="T47" fmla="*/ 30 h 65"/>
                <a:gd name="T48" fmla="*/ 5 w 37"/>
                <a:gd name="T49" fmla="*/ 27 h 65"/>
                <a:gd name="T50" fmla="*/ 4 w 37"/>
                <a:gd name="T51" fmla="*/ 24 h 65"/>
                <a:gd name="T52" fmla="*/ 3 w 37"/>
                <a:gd name="T53" fmla="*/ 23 h 65"/>
                <a:gd name="T54" fmla="*/ 3 w 37"/>
                <a:gd name="T55" fmla="*/ 20 h 65"/>
                <a:gd name="T56" fmla="*/ 3 w 37"/>
                <a:gd name="T57" fmla="*/ 20 h 65"/>
                <a:gd name="T58" fmla="*/ 3 w 37"/>
                <a:gd name="T59" fmla="*/ 18 h 65"/>
                <a:gd name="T60" fmla="*/ 5 w 37"/>
                <a:gd name="T61" fmla="*/ 17 h 65"/>
                <a:gd name="T62" fmla="*/ 8 w 37"/>
                <a:gd name="T63" fmla="*/ 15 h 65"/>
                <a:gd name="T64" fmla="*/ 8 w 37"/>
                <a:gd name="T65" fmla="*/ 15 h 65"/>
                <a:gd name="T66" fmla="*/ 7 w 37"/>
                <a:gd name="T67" fmla="*/ 11 h 65"/>
                <a:gd name="T68" fmla="*/ 7 w 37"/>
                <a:gd name="T69" fmla="*/ 10 h 65"/>
                <a:gd name="T70" fmla="*/ 8 w 37"/>
                <a:gd name="T71" fmla="*/ 10 h 65"/>
                <a:gd name="T72" fmla="*/ 8 w 37"/>
                <a:gd name="T73" fmla="*/ 10 h 65"/>
                <a:gd name="T74" fmla="*/ 11 w 37"/>
                <a:gd name="T75" fmla="*/ 13 h 65"/>
                <a:gd name="T76" fmla="*/ 16 w 37"/>
                <a:gd name="T77" fmla="*/ 17 h 65"/>
                <a:gd name="T78" fmla="*/ 20 w 37"/>
                <a:gd name="T79" fmla="*/ 20 h 65"/>
                <a:gd name="T80" fmla="*/ 21 w 37"/>
                <a:gd name="T81" fmla="*/ 21 h 65"/>
                <a:gd name="T82" fmla="*/ 21 w 37"/>
                <a:gd name="T83" fmla="*/ 20 h 65"/>
                <a:gd name="T84" fmla="*/ 21 w 37"/>
                <a:gd name="T85" fmla="*/ 20 h 65"/>
                <a:gd name="T86" fmla="*/ 21 w 37"/>
                <a:gd name="T87" fmla="*/ 17 h 65"/>
                <a:gd name="T88" fmla="*/ 18 w 37"/>
                <a:gd name="T89" fmla="*/ 14 h 65"/>
                <a:gd name="T90" fmla="*/ 14 w 37"/>
                <a:gd name="T91" fmla="*/ 8 h 65"/>
                <a:gd name="T92" fmla="*/ 10 w 37"/>
                <a:gd name="T93" fmla="*/ 2 h 65"/>
                <a:gd name="T94" fmla="*/ 8 w 37"/>
                <a:gd name="T95" fmla="*/ 0 h 65"/>
                <a:gd name="T96" fmla="*/ 8 w 37"/>
                <a:gd name="T97" fmla="*/ 0 h 65"/>
                <a:gd name="T98" fmla="*/ 8 w 37"/>
                <a:gd name="T99" fmla="*/ 0 h 65"/>
                <a:gd name="T100" fmla="*/ 13 w 37"/>
                <a:gd name="T101" fmla="*/ 1 h 65"/>
                <a:gd name="T102" fmla="*/ 20 w 37"/>
                <a:gd name="T103" fmla="*/ 7 h 65"/>
                <a:gd name="T104" fmla="*/ 26 w 37"/>
                <a:gd name="T105" fmla="*/ 14 h 65"/>
                <a:gd name="T106" fmla="*/ 29 w 37"/>
                <a:gd name="T107" fmla="*/ 18 h 65"/>
                <a:gd name="T108" fmla="*/ 29 w 37"/>
                <a:gd name="T109" fmla="*/ 18 h 65"/>
                <a:gd name="T110" fmla="*/ 26 w 37"/>
                <a:gd name="T111" fmla="*/ 24 h 65"/>
                <a:gd name="T112" fmla="*/ 26 w 37"/>
                <a:gd name="T113" fmla="*/ 27 h 65"/>
                <a:gd name="T114" fmla="*/ 27 w 37"/>
                <a:gd name="T115" fmla="*/ 31 h 65"/>
                <a:gd name="T116" fmla="*/ 27 w 37"/>
                <a:gd name="T117" fmla="*/ 31 h 65"/>
                <a:gd name="T118" fmla="*/ 34 w 37"/>
                <a:gd name="T119" fmla="*/ 43 h 65"/>
                <a:gd name="T120" fmla="*/ 36 w 37"/>
                <a:gd name="T121" fmla="*/ 49 h 65"/>
                <a:gd name="T122" fmla="*/ 37 w 37"/>
                <a:gd name="T123" fmla="*/ 50 h 65"/>
                <a:gd name="T124" fmla="*/ 36 w 37"/>
                <a:gd name="T125" fmla="*/ 5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 h="65">
                  <a:moveTo>
                    <a:pt x="36" y="53"/>
                  </a:moveTo>
                  <a:lnTo>
                    <a:pt x="36" y="53"/>
                  </a:lnTo>
                  <a:lnTo>
                    <a:pt x="30" y="62"/>
                  </a:lnTo>
                  <a:lnTo>
                    <a:pt x="26" y="65"/>
                  </a:lnTo>
                  <a:lnTo>
                    <a:pt x="26" y="65"/>
                  </a:lnTo>
                  <a:lnTo>
                    <a:pt x="24" y="65"/>
                  </a:lnTo>
                  <a:lnTo>
                    <a:pt x="23" y="63"/>
                  </a:lnTo>
                  <a:lnTo>
                    <a:pt x="23" y="59"/>
                  </a:lnTo>
                  <a:lnTo>
                    <a:pt x="23" y="59"/>
                  </a:lnTo>
                  <a:lnTo>
                    <a:pt x="23" y="56"/>
                  </a:lnTo>
                  <a:lnTo>
                    <a:pt x="21" y="53"/>
                  </a:lnTo>
                  <a:lnTo>
                    <a:pt x="18" y="50"/>
                  </a:lnTo>
                  <a:lnTo>
                    <a:pt x="14" y="47"/>
                  </a:lnTo>
                  <a:lnTo>
                    <a:pt x="14" y="47"/>
                  </a:lnTo>
                  <a:lnTo>
                    <a:pt x="4" y="40"/>
                  </a:lnTo>
                  <a:lnTo>
                    <a:pt x="0" y="37"/>
                  </a:lnTo>
                  <a:lnTo>
                    <a:pt x="0" y="36"/>
                  </a:lnTo>
                  <a:lnTo>
                    <a:pt x="0" y="34"/>
                  </a:lnTo>
                  <a:lnTo>
                    <a:pt x="0" y="34"/>
                  </a:lnTo>
                  <a:lnTo>
                    <a:pt x="1" y="33"/>
                  </a:lnTo>
                  <a:lnTo>
                    <a:pt x="3" y="33"/>
                  </a:lnTo>
                  <a:lnTo>
                    <a:pt x="4" y="33"/>
                  </a:lnTo>
                  <a:lnTo>
                    <a:pt x="5" y="30"/>
                  </a:lnTo>
                  <a:lnTo>
                    <a:pt x="5" y="30"/>
                  </a:lnTo>
                  <a:lnTo>
                    <a:pt x="5" y="27"/>
                  </a:lnTo>
                  <a:lnTo>
                    <a:pt x="4" y="24"/>
                  </a:lnTo>
                  <a:lnTo>
                    <a:pt x="3" y="23"/>
                  </a:lnTo>
                  <a:lnTo>
                    <a:pt x="3" y="20"/>
                  </a:lnTo>
                  <a:lnTo>
                    <a:pt x="3" y="20"/>
                  </a:lnTo>
                  <a:lnTo>
                    <a:pt x="3" y="18"/>
                  </a:lnTo>
                  <a:lnTo>
                    <a:pt x="5" y="17"/>
                  </a:lnTo>
                  <a:lnTo>
                    <a:pt x="8" y="15"/>
                  </a:lnTo>
                  <a:lnTo>
                    <a:pt x="8" y="15"/>
                  </a:lnTo>
                  <a:lnTo>
                    <a:pt x="7" y="11"/>
                  </a:lnTo>
                  <a:lnTo>
                    <a:pt x="7" y="10"/>
                  </a:lnTo>
                  <a:lnTo>
                    <a:pt x="8" y="10"/>
                  </a:lnTo>
                  <a:lnTo>
                    <a:pt x="8" y="10"/>
                  </a:lnTo>
                  <a:lnTo>
                    <a:pt x="11" y="13"/>
                  </a:lnTo>
                  <a:lnTo>
                    <a:pt x="16" y="17"/>
                  </a:lnTo>
                  <a:lnTo>
                    <a:pt x="20" y="20"/>
                  </a:lnTo>
                  <a:lnTo>
                    <a:pt x="21" y="21"/>
                  </a:lnTo>
                  <a:lnTo>
                    <a:pt x="21" y="20"/>
                  </a:lnTo>
                  <a:lnTo>
                    <a:pt x="21" y="20"/>
                  </a:lnTo>
                  <a:lnTo>
                    <a:pt x="21" y="17"/>
                  </a:lnTo>
                  <a:lnTo>
                    <a:pt x="18" y="14"/>
                  </a:lnTo>
                  <a:lnTo>
                    <a:pt x="14" y="8"/>
                  </a:lnTo>
                  <a:lnTo>
                    <a:pt x="10" y="2"/>
                  </a:lnTo>
                  <a:lnTo>
                    <a:pt x="8" y="0"/>
                  </a:lnTo>
                  <a:lnTo>
                    <a:pt x="8" y="0"/>
                  </a:lnTo>
                  <a:lnTo>
                    <a:pt x="8" y="0"/>
                  </a:lnTo>
                  <a:lnTo>
                    <a:pt x="13" y="1"/>
                  </a:lnTo>
                  <a:lnTo>
                    <a:pt x="20" y="7"/>
                  </a:lnTo>
                  <a:lnTo>
                    <a:pt x="26" y="14"/>
                  </a:lnTo>
                  <a:lnTo>
                    <a:pt x="29" y="18"/>
                  </a:lnTo>
                  <a:lnTo>
                    <a:pt x="29" y="18"/>
                  </a:lnTo>
                  <a:lnTo>
                    <a:pt x="26" y="24"/>
                  </a:lnTo>
                  <a:lnTo>
                    <a:pt x="26" y="27"/>
                  </a:lnTo>
                  <a:lnTo>
                    <a:pt x="27" y="31"/>
                  </a:lnTo>
                  <a:lnTo>
                    <a:pt x="27" y="31"/>
                  </a:lnTo>
                  <a:lnTo>
                    <a:pt x="34" y="43"/>
                  </a:lnTo>
                  <a:lnTo>
                    <a:pt x="36" y="49"/>
                  </a:lnTo>
                  <a:lnTo>
                    <a:pt x="37" y="50"/>
                  </a:lnTo>
                  <a:lnTo>
                    <a:pt x="36" y="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03" name="Freeform 1163"/>
            <p:cNvSpPr>
              <a:spLocks/>
            </p:cNvSpPr>
            <p:nvPr/>
          </p:nvSpPr>
          <p:spPr bwMode="auto">
            <a:xfrm>
              <a:off x="5256213" y="2837292"/>
              <a:ext cx="20638" cy="12700"/>
            </a:xfrm>
            <a:custGeom>
              <a:avLst/>
              <a:gdLst>
                <a:gd name="T0" fmla="*/ 6 w 13"/>
                <a:gd name="T1" fmla="*/ 0 h 8"/>
                <a:gd name="T2" fmla="*/ 6 w 13"/>
                <a:gd name="T3" fmla="*/ 0 h 8"/>
                <a:gd name="T4" fmla="*/ 10 w 13"/>
                <a:gd name="T5" fmla="*/ 3 h 8"/>
                <a:gd name="T6" fmla="*/ 13 w 13"/>
                <a:gd name="T7" fmla="*/ 6 h 8"/>
                <a:gd name="T8" fmla="*/ 13 w 13"/>
                <a:gd name="T9" fmla="*/ 8 h 8"/>
                <a:gd name="T10" fmla="*/ 13 w 13"/>
                <a:gd name="T11" fmla="*/ 8 h 8"/>
                <a:gd name="T12" fmla="*/ 10 w 13"/>
                <a:gd name="T13" fmla="*/ 8 h 8"/>
                <a:gd name="T14" fmla="*/ 7 w 13"/>
                <a:gd name="T15" fmla="*/ 8 h 8"/>
                <a:gd name="T16" fmla="*/ 0 w 13"/>
                <a:gd name="T17" fmla="*/ 5 h 8"/>
                <a:gd name="T18" fmla="*/ 0 w 13"/>
                <a:gd name="T19" fmla="*/ 5 h 8"/>
                <a:gd name="T20" fmla="*/ 0 w 13"/>
                <a:gd name="T21" fmla="*/ 3 h 8"/>
                <a:gd name="T22" fmla="*/ 1 w 13"/>
                <a:gd name="T23" fmla="*/ 2 h 8"/>
                <a:gd name="T24" fmla="*/ 6 w 13"/>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8">
                  <a:moveTo>
                    <a:pt x="6" y="0"/>
                  </a:moveTo>
                  <a:lnTo>
                    <a:pt x="6" y="0"/>
                  </a:lnTo>
                  <a:lnTo>
                    <a:pt x="10" y="3"/>
                  </a:lnTo>
                  <a:lnTo>
                    <a:pt x="13" y="6"/>
                  </a:lnTo>
                  <a:lnTo>
                    <a:pt x="13" y="8"/>
                  </a:lnTo>
                  <a:lnTo>
                    <a:pt x="13" y="8"/>
                  </a:lnTo>
                  <a:lnTo>
                    <a:pt x="10" y="8"/>
                  </a:lnTo>
                  <a:lnTo>
                    <a:pt x="7" y="8"/>
                  </a:lnTo>
                  <a:lnTo>
                    <a:pt x="0" y="5"/>
                  </a:lnTo>
                  <a:lnTo>
                    <a:pt x="0" y="5"/>
                  </a:lnTo>
                  <a:lnTo>
                    <a:pt x="0" y="3"/>
                  </a:lnTo>
                  <a:lnTo>
                    <a:pt x="1"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04" name="Freeform 1164"/>
            <p:cNvSpPr>
              <a:spLocks/>
            </p:cNvSpPr>
            <p:nvPr/>
          </p:nvSpPr>
          <p:spPr bwMode="auto">
            <a:xfrm>
              <a:off x="5262563" y="2892854"/>
              <a:ext cx="53975" cy="60325"/>
            </a:xfrm>
            <a:custGeom>
              <a:avLst/>
              <a:gdLst>
                <a:gd name="T0" fmla="*/ 34 w 34"/>
                <a:gd name="T1" fmla="*/ 26 h 38"/>
                <a:gd name="T2" fmla="*/ 34 w 34"/>
                <a:gd name="T3" fmla="*/ 26 h 38"/>
                <a:gd name="T4" fmla="*/ 31 w 34"/>
                <a:gd name="T5" fmla="*/ 26 h 38"/>
                <a:gd name="T6" fmla="*/ 28 w 34"/>
                <a:gd name="T7" fmla="*/ 26 h 38"/>
                <a:gd name="T8" fmla="*/ 23 w 34"/>
                <a:gd name="T9" fmla="*/ 28 h 38"/>
                <a:gd name="T10" fmla="*/ 19 w 34"/>
                <a:gd name="T11" fmla="*/ 29 h 38"/>
                <a:gd name="T12" fmla="*/ 19 w 34"/>
                <a:gd name="T13" fmla="*/ 29 h 38"/>
                <a:gd name="T14" fmla="*/ 16 w 34"/>
                <a:gd name="T15" fmla="*/ 34 h 38"/>
                <a:gd name="T16" fmla="*/ 15 w 34"/>
                <a:gd name="T17" fmla="*/ 36 h 38"/>
                <a:gd name="T18" fmla="*/ 15 w 34"/>
                <a:gd name="T19" fmla="*/ 38 h 38"/>
                <a:gd name="T20" fmla="*/ 12 w 34"/>
                <a:gd name="T21" fmla="*/ 38 h 38"/>
                <a:gd name="T22" fmla="*/ 12 w 34"/>
                <a:gd name="T23" fmla="*/ 38 h 38"/>
                <a:gd name="T24" fmla="*/ 10 w 34"/>
                <a:gd name="T25" fmla="*/ 35 h 38"/>
                <a:gd name="T26" fmla="*/ 10 w 34"/>
                <a:gd name="T27" fmla="*/ 32 h 38"/>
                <a:gd name="T28" fmla="*/ 10 w 34"/>
                <a:gd name="T29" fmla="*/ 29 h 38"/>
                <a:gd name="T30" fmla="*/ 9 w 34"/>
                <a:gd name="T31" fmla="*/ 26 h 38"/>
                <a:gd name="T32" fmla="*/ 9 w 34"/>
                <a:gd name="T33" fmla="*/ 26 h 38"/>
                <a:gd name="T34" fmla="*/ 3 w 34"/>
                <a:gd name="T35" fmla="*/ 22 h 38"/>
                <a:gd name="T36" fmla="*/ 0 w 34"/>
                <a:gd name="T37" fmla="*/ 19 h 38"/>
                <a:gd name="T38" fmla="*/ 0 w 34"/>
                <a:gd name="T39" fmla="*/ 18 h 38"/>
                <a:gd name="T40" fmla="*/ 0 w 34"/>
                <a:gd name="T41" fmla="*/ 16 h 38"/>
                <a:gd name="T42" fmla="*/ 0 w 34"/>
                <a:gd name="T43" fmla="*/ 16 h 38"/>
                <a:gd name="T44" fmla="*/ 2 w 34"/>
                <a:gd name="T45" fmla="*/ 16 h 38"/>
                <a:gd name="T46" fmla="*/ 3 w 34"/>
                <a:gd name="T47" fmla="*/ 16 h 38"/>
                <a:gd name="T48" fmla="*/ 6 w 34"/>
                <a:gd name="T49" fmla="*/ 18 h 38"/>
                <a:gd name="T50" fmla="*/ 9 w 34"/>
                <a:gd name="T51" fmla="*/ 19 h 38"/>
                <a:gd name="T52" fmla="*/ 10 w 34"/>
                <a:gd name="T53" fmla="*/ 19 h 38"/>
                <a:gd name="T54" fmla="*/ 12 w 34"/>
                <a:gd name="T55" fmla="*/ 18 h 38"/>
                <a:gd name="T56" fmla="*/ 12 w 34"/>
                <a:gd name="T57" fmla="*/ 18 h 38"/>
                <a:gd name="T58" fmla="*/ 15 w 34"/>
                <a:gd name="T59" fmla="*/ 15 h 38"/>
                <a:gd name="T60" fmla="*/ 15 w 34"/>
                <a:gd name="T61" fmla="*/ 12 h 38"/>
                <a:gd name="T62" fmla="*/ 13 w 34"/>
                <a:gd name="T63" fmla="*/ 9 h 38"/>
                <a:gd name="T64" fmla="*/ 12 w 34"/>
                <a:gd name="T65" fmla="*/ 7 h 38"/>
                <a:gd name="T66" fmla="*/ 12 w 34"/>
                <a:gd name="T67" fmla="*/ 7 h 38"/>
                <a:gd name="T68" fmla="*/ 9 w 34"/>
                <a:gd name="T69" fmla="*/ 6 h 38"/>
                <a:gd name="T70" fmla="*/ 7 w 34"/>
                <a:gd name="T71" fmla="*/ 3 h 38"/>
                <a:gd name="T72" fmla="*/ 9 w 34"/>
                <a:gd name="T73" fmla="*/ 0 h 38"/>
                <a:gd name="T74" fmla="*/ 12 w 34"/>
                <a:gd name="T75" fmla="*/ 0 h 38"/>
                <a:gd name="T76" fmla="*/ 12 w 34"/>
                <a:gd name="T77" fmla="*/ 0 h 38"/>
                <a:gd name="T78" fmla="*/ 15 w 34"/>
                <a:gd name="T79" fmla="*/ 0 h 38"/>
                <a:gd name="T80" fmla="*/ 18 w 34"/>
                <a:gd name="T81" fmla="*/ 3 h 38"/>
                <a:gd name="T82" fmla="*/ 26 w 34"/>
                <a:gd name="T83" fmla="*/ 12 h 38"/>
                <a:gd name="T84" fmla="*/ 32 w 34"/>
                <a:gd name="T85" fmla="*/ 21 h 38"/>
                <a:gd name="T86" fmla="*/ 34 w 34"/>
                <a:gd name="T87" fmla="*/ 23 h 38"/>
                <a:gd name="T88" fmla="*/ 34 w 34"/>
                <a:gd name="T89"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38">
                  <a:moveTo>
                    <a:pt x="34" y="26"/>
                  </a:moveTo>
                  <a:lnTo>
                    <a:pt x="34" y="26"/>
                  </a:lnTo>
                  <a:lnTo>
                    <a:pt x="31" y="26"/>
                  </a:lnTo>
                  <a:lnTo>
                    <a:pt x="28" y="26"/>
                  </a:lnTo>
                  <a:lnTo>
                    <a:pt x="23" y="28"/>
                  </a:lnTo>
                  <a:lnTo>
                    <a:pt x="19" y="29"/>
                  </a:lnTo>
                  <a:lnTo>
                    <a:pt x="19" y="29"/>
                  </a:lnTo>
                  <a:lnTo>
                    <a:pt x="16" y="34"/>
                  </a:lnTo>
                  <a:lnTo>
                    <a:pt x="15" y="36"/>
                  </a:lnTo>
                  <a:lnTo>
                    <a:pt x="15" y="38"/>
                  </a:lnTo>
                  <a:lnTo>
                    <a:pt x="12" y="38"/>
                  </a:lnTo>
                  <a:lnTo>
                    <a:pt x="12" y="38"/>
                  </a:lnTo>
                  <a:lnTo>
                    <a:pt x="10" y="35"/>
                  </a:lnTo>
                  <a:lnTo>
                    <a:pt x="10" y="32"/>
                  </a:lnTo>
                  <a:lnTo>
                    <a:pt x="10" y="29"/>
                  </a:lnTo>
                  <a:lnTo>
                    <a:pt x="9" y="26"/>
                  </a:lnTo>
                  <a:lnTo>
                    <a:pt x="9" y="26"/>
                  </a:lnTo>
                  <a:lnTo>
                    <a:pt x="3" y="22"/>
                  </a:lnTo>
                  <a:lnTo>
                    <a:pt x="0" y="19"/>
                  </a:lnTo>
                  <a:lnTo>
                    <a:pt x="0" y="18"/>
                  </a:lnTo>
                  <a:lnTo>
                    <a:pt x="0" y="16"/>
                  </a:lnTo>
                  <a:lnTo>
                    <a:pt x="0" y="16"/>
                  </a:lnTo>
                  <a:lnTo>
                    <a:pt x="2" y="16"/>
                  </a:lnTo>
                  <a:lnTo>
                    <a:pt x="3" y="16"/>
                  </a:lnTo>
                  <a:lnTo>
                    <a:pt x="6" y="18"/>
                  </a:lnTo>
                  <a:lnTo>
                    <a:pt x="9" y="19"/>
                  </a:lnTo>
                  <a:lnTo>
                    <a:pt x="10" y="19"/>
                  </a:lnTo>
                  <a:lnTo>
                    <a:pt x="12" y="18"/>
                  </a:lnTo>
                  <a:lnTo>
                    <a:pt x="12" y="18"/>
                  </a:lnTo>
                  <a:lnTo>
                    <a:pt x="15" y="15"/>
                  </a:lnTo>
                  <a:lnTo>
                    <a:pt x="15" y="12"/>
                  </a:lnTo>
                  <a:lnTo>
                    <a:pt x="13" y="9"/>
                  </a:lnTo>
                  <a:lnTo>
                    <a:pt x="12" y="7"/>
                  </a:lnTo>
                  <a:lnTo>
                    <a:pt x="12" y="7"/>
                  </a:lnTo>
                  <a:lnTo>
                    <a:pt x="9" y="6"/>
                  </a:lnTo>
                  <a:lnTo>
                    <a:pt x="7" y="3"/>
                  </a:lnTo>
                  <a:lnTo>
                    <a:pt x="9" y="0"/>
                  </a:lnTo>
                  <a:lnTo>
                    <a:pt x="12" y="0"/>
                  </a:lnTo>
                  <a:lnTo>
                    <a:pt x="12" y="0"/>
                  </a:lnTo>
                  <a:lnTo>
                    <a:pt x="15" y="0"/>
                  </a:lnTo>
                  <a:lnTo>
                    <a:pt x="18" y="3"/>
                  </a:lnTo>
                  <a:lnTo>
                    <a:pt x="26" y="12"/>
                  </a:lnTo>
                  <a:lnTo>
                    <a:pt x="32" y="21"/>
                  </a:lnTo>
                  <a:lnTo>
                    <a:pt x="34" y="23"/>
                  </a:lnTo>
                  <a:lnTo>
                    <a:pt x="34"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05" name="Freeform 1165"/>
            <p:cNvSpPr>
              <a:spLocks/>
            </p:cNvSpPr>
            <p:nvPr/>
          </p:nvSpPr>
          <p:spPr bwMode="auto">
            <a:xfrm>
              <a:off x="5732463" y="2846817"/>
              <a:ext cx="26988" cy="79375"/>
            </a:xfrm>
            <a:custGeom>
              <a:avLst/>
              <a:gdLst>
                <a:gd name="T0" fmla="*/ 17 w 17"/>
                <a:gd name="T1" fmla="*/ 18 h 50"/>
                <a:gd name="T2" fmla="*/ 17 w 17"/>
                <a:gd name="T3" fmla="*/ 18 h 50"/>
                <a:gd name="T4" fmla="*/ 14 w 17"/>
                <a:gd name="T5" fmla="*/ 22 h 50"/>
                <a:gd name="T6" fmla="*/ 13 w 17"/>
                <a:gd name="T7" fmla="*/ 25 h 50"/>
                <a:gd name="T8" fmla="*/ 13 w 17"/>
                <a:gd name="T9" fmla="*/ 25 h 50"/>
                <a:gd name="T10" fmla="*/ 14 w 17"/>
                <a:gd name="T11" fmla="*/ 28 h 50"/>
                <a:gd name="T12" fmla="*/ 16 w 17"/>
                <a:gd name="T13" fmla="*/ 29 h 50"/>
                <a:gd name="T14" fmla="*/ 14 w 17"/>
                <a:gd name="T15" fmla="*/ 31 h 50"/>
                <a:gd name="T16" fmla="*/ 14 w 17"/>
                <a:gd name="T17" fmla="*/ 31 h 50"/>
                <a:gd name="T18" fmla="*/ 13 w 17"/>
                <a:gd name="T19" fmla="*/ 34 h 50"/>
                <a:gd name="T20" fmla="*/ 11 w 17"/>
                <a:gd name="T21" fmla="*/ 36 h 50"/>
                <a:gd name="T22" fmla="*/ 11 w 17"/>
                <a:gd name="T23" fmla="*/ 36 h 50"/>
                <a:gd name="T24" fmla="*/ 13 w 17"/>
                <a:gd name="T25" fmla="*/ 44 h 50"/>
                <a:gd name="T26" fmla="*/ 13 w 17"/>
                <a:gd name="T27" fmla="*/ 48 h 50"/>
                <a:gd name="T28" fmla="*/ 13 w 17"/>
                <a:gd name="T29" fmla="*/ 50 h 50"/>
                <a:gd name="T30" fmla="*/ 11 w 17"/>
                <a:gd name="T31" fmla="*/ 50 h 50"/>
                <a:gd name="T32" fmla="*/ 11 w 17"/>
                <a:gd name="T33" fmla="*/ 50 h 50"/>
                <a:gd name="T34" fmla="*/ 5 w 17"/>
                <a:gd name="T35" fmla="*/ 48 h 50"/>
                <a:gd name="T36" fmla="*/ 3 w 17"/>
                <a:gd name="T37" fmla="*/ 45 h 50"/>
                <a:gd name="T38" fmla="*/ 3 w 17"/>
                <a:gd name="T39" fmla="*/ 42 h 50"/>
                <a:gd name="T40" fmla="*/ 3 w 17"/>
                <a:gd name="T41" fmla="*/ 42 h 50"/>
                <a:gd name="T42" fmla="*/ 3 w 17"/>
                <a:gd name="T43" fmla="*/ 39 h 50"/>
                <a:gd name="T44" fmla="*/ 4 w 17"/>
                <a:gd name="T45" fmla="*/ 36 h 50"/>
                <a:gd name="T46" fmla="*/ 5 w 17"/>
                <a:gd name="T47" fmla="*/ 35 h 50"/>
                <a:gd name="T48" fmla="*/ 5 w 17"/>
                <a:gd name="T49" fmla="*/ 34 h 50"/>
                <a:gd name="T50" fmla="*/ 5 w 17"/>
                <a:gd name="T51" fmla="*/ 34 h 50"/>
                <a:gd name="T52" fmla="*/ 4 w 17"/>
                <a:gd name="T53" fmla="*/ 31 h 50"/>
                <a:gd name="T54" fmla="*/ 3 w 17"/>
                <a:gd name="T55" fmla="*/ 29 h 50"/>
                <a:gd name="T56" fmla="*/ 1 w 17"/>
                <a:gd name="T57" fmla="*/ 28 h 50"/>
                <a:gd name="T58" fmla="*/ 0 w 17"/>
                <a:gd name="T59" fmla="*/ 25 h 50"/>
                <a:gd name="T60" fmla="*/ 0 w 17"/>
                <a:gd name="T61" fmla="*/ 25 h 50"/>
                <a:gd name="T62" fmla="*/ 3 w 17"/>
                <a:gd name="T63" fmla="*/ 23 h 50"/>
                <a:gd name="T64" fmla="*/ 7 w 17"/>
                <a:gd name="T65" fmla="*/ 21 h 50"/>
                <a:gd name="T66" fmla="*/ 11 w 17"/>
                <a:gd name="T67" fmla="*/ 18 h 50"/>
                <a:gd name="T68" fmla="*/ 13 w 17"/>
                <a:gd name="T69" fmla="*/ 16 h 50"/>
                <a:gd name="T70" fmla="*/ 13 w 17"/>
                <a:gd name="T71" fmla="*/ 15 h 50"/>
                <a:gd name="T72" fmla="*/ 13 w 17"/>
                <a:gd name="T73" fmla="*/ 15 h 50"/>
                <a:gd name="T74" fmla="*/ 10 w 17"/>
                <a:gd name="T75" fmla="*/ 5 h 50"/>
                <a:gd name="T76" fmla="*/ 10 w 17"/>
                <a:gd name="T77" fmla="*/ 0 h 50"/>
                <a:gd name="T78" fmla="*/ 10 w 17"/>
                <a:gd name="T79" fmla="*/ 0 h 50"/>
                <a:gd name="T80" fmla="*/ 11 w 17"/>
                <a:gd name="T81" fmla="*/ 0 h 50"/>
                <a:gd name="T82" fmla="*/ 11 w 17"/>
                <a:gd name="T83" fmla="*/ 0 h 50"/>
                <a:gd name="T84" fmla="*/ 14 w 17"/>
                <a:gd name="T85" fmla="*/ 5 h 50"/>
                <a:gd name="T86" fmla="*/ 16 w 17"/>
                <a:gd name="T87" fmla="*/ 9 h 50"/>
                <a:gd name="T88" fmla="*/ 17 w 17"/>
                <a:gd name="T89" fmla="*/ 13 h 50"/>
                <a:gd name="T90" fmla="*/ 17 w 17"/>
                <a:gd name="T91" fmla="*/ 1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 h="50">
                  <a:moveTo>
                    <a:pt x="17" y="18"/>
                  </a:moveTo>
                  <a:lnTo>
                    <a:pt x="17" y="18"/>
                  </a:lnTo>
                  <a:lnTo>
                    <a:pt x="14" y="22"/>
                  </a:lnTo>
                  <a:lnTo>
                    <a:pt x="13" y="25"/>
                  </a:lnTo>
                  <a:lnTo>
                    <a:pt x="13" y="25"/>
                  </a:lnTo>
                  <a:lnTo>
                    <a:pt x="14" y="28"/>
                  </a:lnTo>
                  <a:lnTo>
                    <a:pt x="16" y="29"/>
                  </a:lnTo>
                  <a:lnTo>
                    <a:pt x="14" y="31"/>
                  </a:lnTo>
                  <a:lnTo>
                    <a:pt x="14" y="31"/>
                  </a:lnTo>
                  <a:lnTo>
                    <a:pt x="13" y="34"/>
                  </a:lnTo>
                  <a:lnTo>
                    <a:pt x="11" y="36"/>
                  </a:lnTo>
                  <a:lnTo>
                    <a:pt x="11" y="36"/>
                  </a:lnTo>
                  <a:lnTo>
                    <a:pt x="13" y="44"/>
                  </a:lnTo>
                  <a:lnTo>
                    <a:pt x="13" y="48"/>
                  </a:lnTo>
                  <a:lnTo>
                    <a:pt x="13" y="50"/>
                  </a:lnTo>
                  <a:lnTo>
                    <a:pt x="11" y="50"/>
                  </a:lnTo>
                  <a:lnTo>
                    <a:pt x="11" y="50"/>
                  </a:lnTo>
                  <a:lnTo>
                    <a:pt x="5" y="48"/>
                  </a:lnTo>
                  <a:lnTo>
                    <a:pt x="3" y="45"/>
                  </a:lnTo>
                  <a:lnTo>
                    <a:pt x="3" y="42"/>
                  </a:lnTo>
                  <a:lnTo>
                    <a:pt x="3" y="42"/>
                  </a:lnTo>
                  <a:lnTo>
                    <a:pt x="3" y="39"/>
                  </a:lnTo>
                  <a:lnTo>
                    <a:pt x="4" y="36"/>
                  </a:lnTo>
                  <a:lnTo>
                    <a:pt x="5" y="35"/>
                  </a:lnTo>
                  <a:lnTo>
                    <a:pt x="5" y="34"/>
                  </a:lnTo>
                  <a:lnTo>
                    <a:pt x="5" y="34"/>
                  </a:lnTo>
                  <a:lnTo>
                    <a:pt x="4" y="31"/>
                  </a:lnTo>
                  <a:lnTo>
                    <a:pt x="3" y="29"/>
                  </a:lnTo>
                  <a:lnTo>
                    <a:pt x="1" y="28"/>
                  </a:lnTo>
                  <a:lnTo>
                    <a:pt x="0" y="25"/>
                  </a:lnTo>
                  <a:lnTo>
                    <a:pt x="0" y="25"/>
                  </a:lnTo>
                  <a:lnTo>
                    <a:pt x="3" y="23"/>
                  </a:lnTo>
                  <a:lnTo>
                    <a:pt x="7" y="21"/>
                  </a:lnTo>
                  <a:lnTo>
                    <a:pt x="11" y="18"/>
                  </a:lnTo>
                  <a:lnTo>
                    <a:pt x="13" y="16"/>
                  </a:lnTo>
                  <a:lnTo>
                    <a:pt x="13" y="15"/>
                  </a:lnTo>
                  <a:lnTo>
                    <a:pt x="13" y="15"/>
                  </a:lnTo>
                  <a:lnTo>
                    <a:pt x="10" y="5"/>
                  </a:lnTo>
                  <a:lnTo>
                    <a:pt x="10" y="0"/>
                  </a:lnTo>
                  <a:lnTo>
                    <a:pt x="10" y="0"/>
                  </a:lnTo>
                  <a:lnTo>
                    <a:pt x="11" y="0"/>
                  </a:lnTo>
                  <a:lnTo>
                    <a:pt x="11" y="0"/>
                  </a:lnTo>
                  <a:lnTo>
                    <a:pt x="14" y="5"/>
                  </a:lnTo>
                  <a:lnTo>
                    <a:pt x="16" y="9"/>
                  </a:lnTo>
                  <a:lnTo>
                    <a:pt x="17" y="13"/>
                  </a:lnTo>
                  <a:lnTo>
                    <a:pt x="17"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06" name="Freeform 1166"/>
            <p:cNvSpPr>
              <a:spLocks/>
            </p:cNvSpPr>
            <p:nvPr/>
          </p:nvSpPr>
          <p:spPr bwMode="auto">
            <a:xfrm>
              <a:off x="6543676" y="2237217"/>
              <a:ext cx="14288" cy="41275"/>
            </a:xfrm>
            <a:custGeom>
              <a:avLst/>
              <a:gdLst>
                <a:gd name="T0" fmla="*/ 4 w 9"/>
                <a:gd name="T1" fmla="*/ 26 h 26"/>
                <a:gd name="T2" fmla="*/ 4 w 9"/>
                <a:gd name="T3" fmla="*/ 26 h 26"/>
                <a:gd name="T4" fmla="*/ 3 w 9"/>
                <a:gd name="T5" fmla="*/ 25 h 26"/>
                <a:gd name="T6" fmla="*/ 1 w 9"/>
                <a:gd name="T7" fmla="*/ 24 h 26"/>
                <a:gd name="T8" fmla="*/ 0 w 9"/>
                <a:gd name="T9" fmla="*/ 18 h 26"/>
                <a:gd name="T10" fmla="*/ 0 w 9"/>
                <a:gd name="T11" fmla="*/ 5 h 26"/>
                <a:gd name="T12" fmla="*/ 0 w 9"/>
                <a:gd name="T13" fmla="*/ 5 h 26"/>
                <a:gd name="T14" fmla="*/ 0 w 9"/>
                <a:gd name="T15" fmla="*/ 3 h 26"/>
                <a:gd name="T16" fmla="*/ 1 w 9"/>
                <a:gd name="T17" fmla="*/ 2 h 26"/>
                <a:gd name="T18" fmla="*/ 4 w 9"/>
                <a:gd name="T19" fmla="*/ 0 h 26"/>
                <a:gd name="T20" fmla="*/ 7 w 9"/>
                <a:gd name="T21" fmla="*/ 2 h 26"/>
                <a:gd name="T22" fmla="*/ 9 w 9"/>
                <a:gd name="T23" fmla="*/ 3 h 26"/>
                <a:gd name="T24" fmla="*/ 9 w 9"/>
                <a:gd name="T25" fmla="*/ 3 h 26"/>
                <a:gd name="T26" fmla="*/ 7 w 9"/>
                <a:gd name="T27" fmla="*/ 15 h 26"/>
                <a:gd name="T28" fmla="*/ 6 w 9"/>
                <a:gd name="T29" fmla="*/ 22 h 26"/>
                <a:gd name="T30" fmla="*/ 6 w 9"/>
                <a:gd name="T31" fmla="*/ 25 h 26"/>
                <a:gd name="T32" fmla="*/ 4 w 9"/>
                <a:gd name="T3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26">
                  <a:moveTo>
                    <a:pt x="4" y="26"/>
                  </a:moveTo>
                  <a:lnTo>
                    <a:pt x="4" y="26"/>
                  </a:lnTo>
                  <a:lnTo>
                    <a:pt x="3" y="25"/>
                  </a:lnTo>
                  <a:lnTo>
                    <a:pt x="1" y="24"/>
                  </a:lnTo>
                  <a:lnTo>
                    <a:pt x="0" y="18"/>
                  </a:lnTo>
                  <a:lnTo>
                    <a:pt x="0" y="5"/>
                  </a:lnTo>
                  <a:lnTo>
                    <a:pt x="0" y="5"/>
                  </a:lnTo>
                  <a:lnTo>
                    <a:pt x="0" y="3"/>
                  </a:lnTo>
                  <a:lnTo>
                    <a:pt x="1" y="2"/>
                  </a:lnTo>
                  <a:lnTo>
                    <a:pt x="4" y="0"/>
                  </a:lnTo>
                  <a:lnTo>
                    <a:pt x="7" y="2"/>
                  </a:lnTo>
                  <a:lnTo>
                    <a:pt x="9" y="3"/>
                  </a:lnTo>
                  <a:lnTo>
                    <a:pt x="9" y="3"/>
                  </a:lnTo>
                  <a:lnTo>
                    <a:pt x="7" y="15"/>
                  </a:lnTo>
                  <a:lnTo>
                    <a:pt x="6" y="22"/>
                  </a:lnTo>
                  <a:lnTo>
                    <a:pt x="6" y="25"/>
                  </a:lnTo>
                  <a:lnTo>
                    <a:pt x="4"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07" name="Freeform 1167"/>
            <p:cNvSpPr>
              <a:spLocks/>
            </p:cNvSpPr>
            <p:nvPr/>
          </p:nvSpPr>
          <p:spPr bwMode="auto">
            <a:xfrm>
              <a:off x="6821488" y="1865742"/>
              <a:ext cx="71438" cy="68263"/>
            </a:xfrm>
            <a:custGeom>
              <a:avLst/>
              <a:gdLst>
                <a:gd name="T0" fmla="*/ 6 w 45"/>
                <a:gd name="T1" fmla="*/ 42 h 43"/>
                <a:gd name="T2" fmla="*/ 5 w 45"/>
                <a:gd name="T3" fmla="*/ 36 h 43"/>
                <a:gd name="T4" fmla="*/ 5 w 45"/>
                <a:gd name="T5" fmla="*/ 30 h 43"/>
                <a:gd name="T6" fmla="*/ 2 w 45"/>
                <a:gd name="T7" fmla="*/ 26 h 43"/>
                <a:gd name="T8" fmla="*/ 0 w 45"/>
                <a:gd name="T9" fmla="*/ 24 h 43"/>
                <a:gd name="T10" fmla="*/ 3 w 45"/>
                <a:gd name="T11" fmla="*/ 24 h 43"/>
                <a:gd name="T12" fmla="*/ 13 w 45"/>
                <a:gd name="T13" fmla="*/ 24 h 43"/>
                <a:gd name="T14" fmla="*/ 18 w 45"/>
                <a:gd name="T15" fmla="*/ 23 h 43"/>
                <a:gd name="T16" fmla="*/ 20 w 45"/>
                <a:gd name="T17" fmla="*/ 16 h 43"/>
                <a:gd name="T18" fmla="*/ 19 w 45"/>
                <a:gd name="T19" fmla="*/ 8 h 43"/>
                <a:gd name="T20" fmla="*/ 18 w 45"/>
                <a:gd name="T21" fmla="*/ 6 h 43"/>
                <a:gd name="T22" fmla="*/ 19 w 45"/>
                <a:gd name="T23" fmla="*/ 0 h 43"/>
                <a:gd name="T24" fmla="*/ 22 w 45"/>
                <a:gd name="T25" fmla="*/ 0 h 43"/>
                <a:gd name="T26" fmla="*/ 25 w 45"/>
                <a:gd name="T27" fmla="*/ 3 h 43"/>
                <a:gd name="T28" fmla="*/ 28 w 45"/>
                <a:gd name="T29" fmla="*/ 11 h 43"/>
                <a:gd name="T30" fmla="*/ 31 w 45"/>
                <a:gd name="T31" fmla="*/ 14 h 43"/>
                <a:gd name="T32" fmla="*/ 34 w 45"/>
                <a:gd name="T33" fmla="*/ 14 h 43"/>
                <a:gd name="T34" fmla="*/ 42 w 45"/>
                <a:gd name="T35" fmla="*/ 13 h 43"/>
                <a:gd name="T36" fmla="*/ 44 w 45"/>
                <a:gd name="T37" fmla="*/ 14 h 43"/>
                <a:gd name="T38" fmla="*/ 44 w 45"/>
                <a:gd name="T39" fmla="*/ 24 h 43"/>
                <a:gd name="T40" fmla="*/ 42 w 45"/>
                <a:gd name="T41" fmla="*/ 26 h 43"/>
                <a:gd name="T42" fmla="*/ 39 w 45"/>
                <a:gd name="T43" fmla="*/ 24 h 43"/>
                <a:gd name="T44" fmla="*/ 38 w 45"/>
                <a:gd name="T45" fmla="*/ 23 h 43"/>
                <a:gd name="T46" fmla="*/ 35 w 45"/>
                <a:gd name="T47" fmla="*/ 23 h 43"/>
                <a:gd name="T48" fmla="*/ 34 w 45"/>
                <a:gd name="T49" fmla="*/ 26 h 43"/>
                <a:gd name="T50" fmla="*/ 32 w 45"/>
                <a:gd name="T51" fmla="*/ 29 h 43"/>
                <a:gd name="T52" fmla="*/ 29 w 45"/>
                <a:gd name="T53" fmla="*/ 27 h 43"/>
                <a:gd name="T54" fmla="*/ 26 w 45"/>
                <a:gd name="T55" fmla="*/ 27 h 43"/>
                <a:gd name="T56" fmla="*/ 26 w 45"/>
                <a:gd name="T57" fmla="*/ 29 h 43"/>
                <a:gd name="T58" fmla="*/ 26 w 45"/>
                <a:gd name="T59" fmla="*/ 35 h 43"/>
                <a:gd name="T60" fmla="*/ 25 w 45"/>
                <a:gd name="T61" fmla="*/ 35 h 43"/>
                <a:gd name="T62" fmla="*/ 16 w 45"/>
                <a:gd name="T63" fmla="*/ 37 h 43"/>
                <a:gd name="T64" fmla="*/ 15 w 45"/>
                <a:gd name="T65" fmla="*/ 37 h 43"/>
                <a:gd name="T66" fmla="*/ 15 w 45"/>
                <a:gd name="T67" fmla="*/ 33 h 43"/>
                <a:gd name="T68" fmla="*/ 15 w 45"/>
                <a:gd name="T69" fmla="*/ 30 h 43"/>
                <a:gd name="T70" fmla="*/ 13 w 45"/>
                <a:gd name="T71" fmla="*/ 30 h 43"/>
                <a:gd name="T72" fmla="*/ 10 w 45"/>
                <a:gd name="T73" fmla="*/ 37 h 43"/>
                <a:gd name="T74" fmla="*/ 7 w 45"/>
                <a:gd name="T7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43">
                  <a:moveTo>
                    <a:pt x="6" y="42"/>
                  </a:moveTo>
                  <a:lnTo>
                    <a:pt x="6" y="42"/>
                  </a:lnTo>
                  <a:lnTo>
                    <a:pt x="5" y="37"/>
                  </a:lnTo>
                  <a:lnTo>
                    <a:pt x="5" y="36"/>
                  </a:lnTo>
                  <a:lnTo>
                    <a:pt x="6" y="33"/>
                  </a:lnTo>
                  <a:lnTo>
                    <a:pt x="5" y="30"/>
                  </a:lnTo>
                  <a:lnTo>
                    <a:pt x="5" y="30"/>
                  </a:lnTo>
                  <a:lnTo>
                    <a:pt x="2" y="26"/>
                  </a:lnTo>
                  <a:lnTo>
                    <a:pt x="0" y="26"/>
                  </a:lnTo>
                  <a:lnTo>
                    <a:pt x="0" y="24"/>
                  </a:lnTo>
                  <a:lnTo>
                    <a:pt x="0" y="24"/>
                  </a:lnTo>
                  <a:lnTo>
                    <a:pt x="3" y="24"/>
                  </a:lnTo>
                  <a:lnTo>
                    <a:pt x="9" y="24"/>
                  </a:lnTo>
                  <a:lnTo>
                    <a:pt x="13" y="24"/>
                  </a:lnTo>
                  <a:lnTo>
                    <a:pt x="18" y="23"/>
                  </a:lnTo>
                  <a:lnTo>
                    <a:pt x="18" y="23"/>
                  </a:lnTo>
                  <a:lnTo>
                    <a:pt x="19" y="20"/>
                  </a:lnTo>
                  <a:lnTo>
                    <a:pt x="20" y="16"/>
                  </a:lnTo>
                  <a:lnTo>
                    <a:pt x="20" y="11"/>
                  </a:lnTo>
                  <a:lnTo>
                    <a:pt x="19" y="8"/>
                  </a:lnTo>
                  <a:lnTo>
                    <a:pt x="19" y="8"/>
                  </a:lnTo>
                  <a:lnTo>
                    <a:pt x="18" y="6"/>
                  </a:lnTo>
                  <a:lnTo>
                    <a:pt x="18" y="1"/>
                  </a:lnTo>
                  <a:lnTo>
                    <a:pt x="19" y="0"/>
                  </a:lnTo>
                  <a:lnTo>
                    <a:pt x="22" y="0"/>
                  </a:lnTo>
                  <a:lnTo>
                    <a:pt x="22" y="0"/>
                  </a:lnTo>
                  <a:lnTo>
                    <a:pt x="25" y="0"/>
                  </a:lnTo>
                  <a:lnTo>
                    <a:pt x="25" y="3"/>
                  </a:lnTo>
                  <a:lnTo>
                    <a:pt x="26" y="7"/>
                  </a:lnTo>
                  <a:lnTo>
                    <a:pt x="28" y="11"/>
                  </a:lnTo>
                  <a:lnTo>
                    <a:pt x="29" y="14"/>
                  </a:lnTo>
                  <a:lnTo>
                    <a:pt x="31" y="14"/>
                  </a:lnTo>
                  <a:lnTo>
                    <a:pt x="31" y="14"/>
                  </a:lnTo>
                  <a:lnTo>
                    <a:pt x="34" y="14"/>
                  </a:lnTo>
                  <a:lnTo>
                    <a:pt x="38" y="14"/>
                  </a:lnTo>
                  <a:lnTo>
                    <a:pt x="42" y="13"/>
                  </a:lnTo>
                  <a:lnTo>
                    <a:pt x="44" y="14"/>
                  </a:lnTo>
                  <a:lnTo>
                    <a:pt x="44" y="14"/>
                  </a:lnTo>
                  <a:lnTo>
                    <a:pt x="45" y="22"/>
                  </a:lnTo>
                  <a:lnTo>
                    <a:pt x="44" y="24"/>
                  </a:lnTo>
                  <a:lnTo>
                    <a:pt x="44" y="26"/>
                  </a:lnTo>
                  <a:lnTo>
                    <a:pt x="42" y="26"/>
                  </a:lnTo>
                  <a:lnTo>
                    <a:pt x="42" y="26"/>
                  </a:lnTo>
                  <a:lnTo>
                    <a:pt x="39" y="24"/>
                  </a:lnTo>
                  <a:lnTo>
                    <a:pt x="38" y="23"/>
                  </a:lnTo>
                  <a:lnTo>
                    <a:pt x="38" y="23"/>
                  </a:lnTo>
                  <a:lnTo>
                    <a:pt x="35" y="23"/>
                  </a:lnTo>
                  <a:lnTo>
                    <a:pt x="35" y="23"/>
                  </a:lnTo>
                  <a:lnTo>
                    <a:pt x="34" y="24"/>
                  </a:lnTo>
                  <a:lnTo>
                    <a:pt x="34" y="26"/>
                  </a:lnTo>
                  <a:lnTo>
                    <a:pt x="34" y="29"/>
                  </a:lnTo>
                  <a:lnTo>
                    <a:pt x="32" y="29"/>
                  </a:lnTo>
                  <a:lnTo>
                    <a:pt x="32" y="29"/>
                  </a:lnTo>
                  <a:lnTo>
                    <a:pt x="29" y="27"/>
                  </a:lnTo>
                  <a:lnTo>
                    <a:pt x="28" y="26"/>
                  </a:lnTo>
                  <a:lnTo>
                    <a:pt x="26" y="27"/>
                  </a:lnTo>
                  <a:lnTo>
                    <a:pt x="26" y="27"/>
                  </a:lnTo>
                  <a:lnTo>
                    <a:pt x="26" y="29"/>
                  </a:lnTo>
                  <a:lnTo>
                    <a:pt x="26" y="32"/>
                  </a:lnTo>
                  <a:lnTo>
                    <a:pt x="26" y="35"/>
                  </a:lnTo>
                  <a:lnTo>
                    <a:pt x="25" y="35"/>
                  </a:lnTo>
                  <a:lnTo>
                    <a:pt x="25" y="35"/>
                  </a:lnTo>
                  <a:lnTo>
                    <a:pt x="19" y="37"/>
                  </a:lnTo>
                  <a:lnTo>
                    <a:pt x="16" y="37"/>
                  </a:lnTo>
                  <a:lnTo>
                    <a:pt x="15" y="37"/>
                  </a:lnTo>
                  <a:lnTo>
                    <a:pt x="15" y="37"/>
                  </a:lnTo>
                  <a:lnTo>
                    <a:pt x="15" y="36"/>
                  </a:lnTo>
                  <a:lnTo>
                    <a:pt x="15" y="33"/>
                  </a:lnTo>
                  <a:lnTo>
                    <a:pt x="16" y="32"/>
                  </a:lnTo>
                  <a:lnTo>
                    <a:pt x="15" y="30"/>
                  </a:lnTo>
                  <a:lnTo>
                    <a:pt x="15" y="30"/>
                  </a:lnTo>
                  <a:lnTo>
                    <a:pt x="13" y="30"/>
                  </a:lnTo>
                  <a:lnTo>
                    <a:pt x="12" y="33"/>
                  </a:lnTo>
                  <a:lnTo>
                    <a:pt x="10" y="37"/>
                  </a:lnTo>
                  <a:lnTo>
                    <a:pt x="7" y="42"/>
                  </a:lnTo>
                  <a:lnTo>
                    <a:pt x="7" y="43"/>
                  </a:lnTo>
                  <a:lnTo>
                    <a:pt x="6"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08" name="Freeform 1168"/>
            <p:cNvSpPr>
              <a:spLocks/>
            </p:cNvSpPr>
            <p:nvPr/>
          </p:nvSpPr>
          <p:spPr bwMode="auto">
            <a:xfrm>
              <a:off x="6835776" y="2384854"/>
              <a:ext cx="31750" cy="46038"/>
            </a:xfrm>
            <a:custGeom>
              <a:avLst/>
              <a:gdLst>
                <a:gd name="T0" fmla="*/ 6 w 20"/>
                <a:gd name="T1" fmla="*/ 29 h 29"/>
                <a:gd name="T2" fmla="*/ 6 w 20"/>
                <a:gd name="T3" fmla="*/ 29 h 29"/>
                <a:gd name="T4" fmla="*/ 3 w 20"/>
                <a:gd name="T5" fmla="*/ 29 h 29"/>
                <a:gd name="T6" fmla="*/ 1 w 20"/>
                <a:gd name="T7" fmla="*/ 29 h 29"/>
                <a:gd name="T8" fmla="*/ 0 w 20"/>
                <a:gd name="T9" fmla="*/ 26 h 29"/>
                <a:gd name="T10" fmla="*/ 0 w 20"/>
                <a:gd name="T11" fmla="*/ 23 h 29"/>
                <a:gd name="T12" fmla="*/ 0 w 20"/>
                <a:gd name="T13" fmla="*/ 23 h 29"/>
                <a:gd name="T14" fmla="*/ 6 w 20"/>
                <a:gd name="T15" fmla="*/ 12 h 29"/>
                <a:gd name="T16" fmla="*/ 9 w 20"/>
                <a:gd name="T17" fmla="*/ 6 h 29"/>
                <a:gd name="T18" fmla="*/ 11 w 20"/>
                <a:gd name="T19" fmla="*/ 2 h 29"/>
                <a:gd name="T20" fmla="*/ 11 w 20"/>
                <a:gd name="T21" fmla="*/ 2 h 29"/>
                <a:gd name="T22" fmla="*/ 14 w 20"/>
                <a:gd name="T23" fmla="*/ 0 h 29"/>
                <a:gd name="T24" fmla="*/ 17 w 20"/>
                <a:gd name="T25" fmla="*/ 0 h 29"/>
                <a:gd name="T26" fmla="*/ 19 w 20"/>
                <a:gd name="T27" fmla="*/ 0 h 29"/>
                <a:gd name="T28" fmla="*/ 20 w 20"/>
                <a:gd name="T29" fmla="*/ 2 h 29"/>
                <a:gd name="T30" fmla="*/ 20 w 20"/>
                <a:gd name="T31" fmla="*/ 2 h 29"/>
                <a:gd name="T32" fmla="*/ 19 w 20"/>
                <a:gd name="T33" fmla="*/ 9 h 29"/>
                <a:gd name="T34" fmla="*/ 14 w 20"/>
                <a:gd name="T35" fmla="*/ 18 h 29"/>
                <a:gd name="T36" fmla="*/ 9 w 20"/>
                <a:gd name="T37" fmla="*/ 26 h 29"/>
                <a:gd name="T38" fmla="*/ 6 w 20"/>
                <a:gd name="T3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29">
                  <a:moveTo>
                    <a:pt x="6" y="29"/>
                  </a:moveTo>
                  <a:lnTo>
                    <a:pt x="6" y="29"/>
                  </a:lnTo>
                  <a:lnTo>
                    <a:pt x="3" y="29"/>
                  </a:lnTo>
                  <a:lnTo>
                    <a:pt x="1" y="29"/>
                  </a:lnTo>
                  <a:lnTo>
                    <a:pt x="0" y="26"/>
                  </a:lnTo>
                  <a:lnTo>
                    <a:pt x="0" y="23"/>
                  </a:lnTo>
                  <a:lnTo>
                    <a:pt x="0" y="23"/>
                  </a:lnTo>
                  <a:lnTo>
                    <a:pt x="6" y="12"/>
                  </a:lnTo>
                  <a:lnTo>
                    <a:pt x="9" y="6"/>
                  </a:lnTo>
                  <a:lnTo>
                    <a:pt x="11" y="2"/>
                  </a:lnTo>
                  <a:lnTo>
                    <a:pt x="11" y="2"/>
                  </a:lnTo>
                  <a:lnTo>
                    <a:pt x="14" y="0"/>
                  </a:lnTo>
                  <a:lnTo>
                    <a:pt x="17" y="0"/>
                  </a:lnTo>
                  <a:lnTo>
                    <a:pt x="19" y="0"/>
                  </a:lnTo>
                  <a:lnTo>
                    <a:pt x="20" y="2"/>
                  </a:lnTo>
                  <a:lnTo>
                    <a:pt x="20" y="2"/>
                  </a:lnTo>
                  <a:lnTo>
                    <a:pt x="19" y="9"/>
                  </a:lnTo>
                  <a:lnTo>
                    <a:pt x="14" y="18"/>
                  </a:lnTo>
                  <a:lnTo>
                    <a:pt x="9" y="26"/>
                  </a:lnTo>
                  <a:lnTo>
                    <a:pt x="6" y="2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09" name="Freeform 1169"/>
            <p:cNvSpPr>
              <a:spLocks/>
            </p:cNvSpPr>
            <p:nvPr/>
          </p:nvSpPr>
          <p:spPr bwMode="auto">
            <a:xfrm>
              <a:off x="6878638" y="2341992"/>
              <a:ext cx="19050" cy="33338"/>
            </a:xfrm>
            <a:custGeom>
              <a:avLst/>
              <a:gdLst>
                <a:gd name="T0" fmla="*/ 11 w 12"/>
                <a:gd name="T1" fmla="*/ 21 h 21"/>
                <a:gd name="T2" fmla="*/ 11 w 12"/>
                <a:gd name="T3" fmla="*/ 21 h 21"/>
                <a:gd name="T4" fmla="*/ 3 w 12"/>
                <a:gd name="T5" fmla="*/ 20 h 21"/>
                <a:gd name="T6" fmla="*/ 2 w 12"/>
                <a:gd name="T7" fmla="*/ 20 h 21"/>
                <a:gd name="T8" fmla="*/ 0 w 12"/>
                <a:gd name="T9" fmla="*/ 18 h 21"/>
                <a:gd name="T10" fmla="*/ 0 w 12"/>
                <a:gd name="T11" fmla="*/ 18 h 21"/>
                <a:gd name="T12" fmla="*/ 2 w 12"/>
                <a:gd name="T13" fmla="*/ 13 h 21"/>
                <a:gd name="T14" fmla="*/ 3 w 12"/>
                <a:gd name="T15" fmla="*/ 7 h 21"/>
                <a:gd name="T16" fmla="*/ 3 w 12"/>
                <a:gd name="T17" fmla="*/ 7 h 21"/>
                <a:gd name="T18" fmla="*/ 5 w 12"/>
                <a:gd name="T19" fmla="*/ 4 h 21"/>
                <a:gd name="T20" fmla="*/ 8 w 12"/>
                <a:gd name="T21" fmla="*/ 1 h 21"/>
                <a:gd name="T22" fmla="*/ 11 w 12"/>
                <a:gd name="T23" fmla="*/ 0 h 21"/>
                <a:gd name="T24" fmla="*/ 12 w 12"/>
                <a:gd name="T25" fmla="*/ 0 h 21"/>
                <a:gd name="T26" fmla="*/ 12 w 12"/>
                <a:gd name="T27" fmla="*/ 0 h 21"/>
                <a:gd name="T28" fmla="*/ 12 w 12"/>
                <a:gd name="T29" fmla="*/ 0 h 21"/>
                <a:gd name="T30" fmla="*/ 12 w 12"/>
                <a:gd name="T31" fmla="*/ 3 h 21"/>
                <a:gd name="T32" fmla="*/ 11 w 12"/>
                <a:gd name="T33" fmla="*/ 5 h 21"/>
                <a:gd name="T34" fmla="*/ 9 w 12"/>
                <a:gd name="T35" fmla="*/ 7 h 21"/>
                <a:gd name="T36" fmla="*/ 8 w 12"/>
                <a:gd name="T37" fmla="*/ 10 h 21"/>
                <a:gd name="T38" fmla="*/ 8 w 12"/>
                <a:gd name="T39" fmla="*/ 10 h 21"/>
                <a:gd name="T40" fmla="*/ 11 w 12"/>
                <a:gd name="T41" fmla="*/ 17 h 21"/>
                <a:gd name="T42" fmla="*/ 11 w 12"/>
                <a:gd name="T43" fmla="*/ 20 h 21"/>
                <a:gd name="T44" fmla="*/ 11 w 12"/>
                <a:gd name="T45" fmla="*/ 21 h 21"/>
                <a:gd name="T46" fmla="*/ 11 w 12"/>
                <a:gd name="T4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 h="21">
                  <a:moveTo>
                    <a:pt x="11" y="21"/>
                  </a:moveTo>
                  <a:lnTo>
                    <a:pt x="11" y="21"/>
                  </a:lnTo>
                  <a:lnTo>
                    <a:pt x="3" y="20"/>
                  </a:lnTo>
                  <a:lnTo>
                    <a:pt x="2" y="20"/>
                  </a:lnTo>
                  <a:lnTo>
                    <a:pt x="0" y="18"/>
                  </a:lnTo>
                  <a:lnTo>
                    <a:pt x="0" y="18"/>
                  </a:lnTo>
                  <a:lnTo>
                    <a:pt x="2" y="13"/>
                  </a:lnTo>
                  <a:lnTo>
                    <a:pt x="3" y="7"/>
                  </a:lnTo>
                  <a:lnTo>
                    <a:pt x="3" y="7"/>
                  </a:lnTo>
                  <a:lnTo>
                    <a:pt x="5" y="4"/>
                  </a:lnTo>
                  <a:lnTo>
                    <a:pt x="8" y="1"/>
                  </a:lnTo>
                  <a:lnTo>
                    <a:pt x="11" y="0"/>
                  </a:lnTo>
                  <a:lnTo>
                    <a:pt x="12" y="0"/>
                  </a:lnTo>
                  <a:lnTo>
                    <a:pt x="12" y="0"/>
                  </a:lnTo>
                  <a:lnTo>
                    <a:pt x="12" y="0"/>
                  </a:lnTo>
                  <a:lnTo>
                    <a:pt x="12" y="3"/>
                  </a:lnTo>
                  <a:lnTo>
                    <a:pt x="11" y="5"/>
                  </a:lnTo>
                  <a:lnTo>
                    <a:pt x="9" y="7"/>
                  </a:lnTo>
                  <a:lnTo>
                    <a:pt x="8" y="10"/>
                  </a:lnTo>
                  <a:lnTo>
                    <a:pt x="8" y="10"/>
                  </a:lnTo>
                  <a:lnTo>
                    <a:pt x="11" y="17"/>
                  </a:lnTo>
                  <a:lnTo>
                    <a:pt x="11" y="20"/>
                  </a:lnTo>
                  <a:lnTo>
                    <a:pt x="11" y="21"/>
                  </a:lnTo>
                  <a:lnTo>
                    <a:pt x="11"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10" name="Freeform 1170"/>
            <p:cNvSpPr>
              <a:spLocks/>
            </p:cNvSpPr>
            <p:nvPr/>
          </p:nvSpPr>
          <p:spPr bwMode="auto">
            <a:xfrm>
              <a:off x="6865938" y="2307067"/>
              <a:ext cx="36513" cy="11113"/>
            </a:xfrm>
            <a:custGeom>
              <a:avLst/>
              <a:gdLst>
                <a:gd name="T0" fmla="*/ 19 w 23"/>
                <a:gd name="T1" fmla="*/ 7 h 7"/>
                <a:gd name="T2" fmla="*/ 19 w 23"/>
                <a:gd name="T3" fmla="*/ 7 h 7"/>
                <a:gd name="T4" fmla="*/ 10 w 23"/>
                <a:gd name="T5" fmla="*/ 7 h 7"/>
                <a:gd name="T6" fmla="*/ 6 w 23"/>
                <a:gd name="T7" fmla="*/ 7 h 7"/>
                <a:gd name="T8" fmla="*/ 3 w 23"/>
                <a:gd name="T9" fmla="*/ 6 h 7"/>
                <a:gd name="T10" fmla="*/ 3 w 23"/>
                <a:gd name="T11" fmla="*/ 6 h 7"/>
                <a:gd name="T12" fmla="*/ 1 w 23"/>
                <a:gd name="T13" fmla="*/ 3 h 7"/>
                <a:gd name="T14" fmla="*/ 0 w 23"/>
                <a:gd name="T15" fmla="*/ 1 h 7"/>
                <a:gd name="T16" fmla="*/ 1 w 23"/>
                <a:gd name="T17" fmla="*/ 0 h 7"/>
                <a:gd name="T18" fmla="*/ 4 w 23"/>
                <a:gd name="T19" fmla="*/ 0 h 7"/>
                <a:gd name="T20" fmla="*/ 4 w 23"/>
                <a:gd name="T21" fmla="*/ 0 h 7"/>
                <a:gd name="T22" fmla="*/ 16 w 23"/>
                <a:gd name="T23" fmla="*/ 0 h 7"/>
                <a:gd name="T24" fmla="*/ 20 w 23"/>
                <a:gd name="T25" fmla="*/ 0 h 7"/>
                <a:gd name="T26" fmla="*/ 21 w 23"/>
                <a:gd name="T27" fmla="*/ 0 h 7"/>
                <a:gd name="T28" fmla="*/ 23 w 23"/>
                <a:gd name="T29" fmla="*/ 1 h 7"/>
                <a:gd name="T30" fmla="*/ 23 w 23"/>
                <a:gd name="T31" fmla="*/ 1 h 7"/>
                <a:gd name="T32" fmla="*/ 21 w 23"/>
                <a:gd name="T33" fmla="*/ 6 h 7"/>
                <a:gd name="T34" fmla="*/ 19 w 23"/>
                <a:gd name="T3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7">
                  <a:moveTo>
                    <a:pt x="19" y="7"/>
                  </a:moveTo>
                  <a:lnTo>
                    <a:pt x="19" y="7"/>
                  </a:lnTo>
                  <a:lnTo>
                    <a:pt x="10" y="7"/>
                  </a:lnTo>
                  <a:lnTo>
                    <a:pt x="6" y="7"/>
                  </a:lnTo>
                  <a:lnTo>
                    <a:pt x="3" y="6"/>
                  </a:lnTo>
                  <a:lnTo>
                    <a:pt x="3" y="6"/>
                  </a:lnTo>
                  <a:lnTo>
                    <a:pt x="1" y="3"/>
                  </a:lnTo>
                  <a:lnTo>
                    <a:pt x="0" y="1"/>
                  </a:lnTo>
                  <a:lnTo>
                    <a:pt x="1" y="0"/>
                  </a:lnTo>
                  <a:lnTo>
                    <a:pt x="4" y="0"/>
                  </a:lnTo>
                  <a:lnTo>
                    <a:pt x="4" y="0"/>
                  </a:lnTo>
                  <a:lnTo>
                    <a:pt x="16" y="0"/>
                  </a:lnTo>
                  <a:lnTo>
                    <a:pt x="20" y="0"/>
                  </a:lnTo>
                  <a:lnTo>
                    <a:pt x="21" y="0"/>
                  </a:lnTo>
                  <a:lnTo>
                    <a:pt x="23" y="1"/>
                  </a:lnTo>
                  <a:lnTo>
                    <a:pt x="23" y="1"/>
                  </a:lnTo>
                  <a:lnTo>
                    <a:pt x="21" y="6"/>
                  </a:lnTo>
                  <a:lnTo>
                    <a:pt x="19"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11" name="Freeform 1171"/>
            <p:cNvSpPr>
              <a:spLocks/>
            </p:cNvSpPr>
            <p:nvPr/>
          </p:nvSpPr>
          <p:spPr bwMode="auto">
            <a:xfrm>
              <a:off x="7011988" y="1849867"/>
              <a:ext cx="17463" cy="20638"/>
            </a:xfrm>
            <a:custGeom>
              <a:avLst/>
              <a:gdLst>
                <a:gd name="T0" fmla="*/ 5 w 11"/>
                <a:gd name="T1" fmla="*/ 0 h 13"/>
                <a:gd name="T2" fmla="*/ 5 w 11"/>
                <a:gd name="T3" fmla="*/ 0 h 13"/>
                <a:gd name="T4" fmla="*/ 6 w 11"/>
                <a:gd name="T5" fmla="*/ 1 h 13"/>
                <a:gd name="T6" fmla="*/ 9 w 11"/>
                <a:gd name="T7" fmla="*/ 4 h 13"/>
                <a:gd name="T8" fmla="*/ 11 w 11"/>
                <a:gd name="T9" fmla="*/ 7 h 13"/>
                <a:gd name="T10" fmla="*/ 11 w 11"/>
                <a:gd name="T11" fmla="*/ 10 h 13"/>
                <a:gd name="T12" fmla="*/ 11 w 11"/>
                <a:gd name="T13" fmla="*/ 10 h 13"/>
                <a:gd name="T14" fmla="*/ 6 w 11"/>
                <a:gd name="T15" fmla="*/ 13 h 13"/>
                <a:gd name="T16" fmla="*/ 5 w 11"/>
                <a:gd name="T17" fmla="*/ 13 h 13"/>
                <a:gd name="T18" fmla="*/ 2 w 11"/>
                <a:gd name="T19" fmla="*/ 11 h 13"/>
                <a:gd name="T20" fmla="*/ 2 w 11"/>
                <a:gd name="T21" fmla="*/ 11 h 13"/>
                <a:gd name="T22" fmla="*/ 0 w 11"/>
                <a:gd name="T23" fmla="*/ 8 h 13"/>
                <a:gd name="T24" fmla="*/ 0 w 11"/>
                <a:gd name="T25" fmla="*/ 4 h 13"/>
                <a:gd name="T26" fmla="*/ 2 w 11"/>
                <a:gd name="T27" fmla="*/ 1 h 13"/>
                <a:gd name="T28" fmla="*/ 5 w 11"/>
                <a:gd name="T2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3">
                  <a:moveTo>
                    <a:pt x="5" y="0"/>
                  </a:moveTo>
                  <a:lnTo>
                    <a:pt x="5" y="0"/>
                  </a:lnTo>
                  <a:lnTo>
                    <a:pt x="6" y="1"/>
                  </a:lnTo>
                  <a:lnTo>
                    <a:pt x="9" y="4"/>
                  </a:lnTo>
                  <a:lnTo>
                    <a:pt x="11" y="7"/>
                  </a:lnTo>
                  <a:lnTo>
                    <a:pt x="11" y="10"/>
                  </a:lnTo>
                  <a:lnTo>
                    <a:pt x="11" y="10"/>
                  </a:lnTo>
                  <a:lnTo>
                    <a:pt x="6" y="13"/>
                  </a:lnTo>
                  <a:lnTo>
                    <a:pt x="5" y="13"/>
                  </a:lnTo>
                  <a:lnTo>
                    <a:pt x="2" y="11"/>
                  </a:lnTo>
                  <a:lnTo>
                    <a:pt x="2" y="11"/>
                  </a:lnTo>
                  <a:lnTo>
                    <a:pt x="0" y="8"/>
                  </a:lnTo>
                  <a:lnTo>
                    <a:pt x="0" y="4"/>
                  </a:lnTo>
                  <a:lnTo>
                    <a:pt x="2" y="1"/>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12" name="Freeform 1172"/>
            <p:cNvSpPr>
              <a:spLocks/>
            </p:cNvSpPr>
            <p:nvPr/>
          </p:nvSpPr>
          <p:spPr bwMode="auto">
            <a:xfrm>
              <a:off x="6964363" y="3059542"/>
              <a:ext cx="144463" cy="176213"/>
            </a:xfrm>
            <a:custGeom>
              <a:avLst/>
              <a:gdLst>
                <a:gd name="T0" fmla="*/ 87 w 91"/>
                <a:gd name="T1" fmla="*/ 20 h 111"/>
                <a:gd name="T2" fmla="*/ 81 w 91"/>
                <a:gd name="T3" fmla="*/ 40 h 111"/>
                <a:gd name="T4" fmla="*/ 81 w 91"/>
                <a:gd name="T5" fmla="*/ 43 h 111"/>
                <a:gd name="T6" fmla="*/ 74 w 91"/>
                <a:gd name="T7" fmla="*/ 46 h 111"/>
                <a:gd name="T8" fmla="*/ 71 w 91"/>
                <a:gd name="T9" fmla="*/ 47 h 111"/>
                <a:gd name="T10" fmla="*/ 74 w 91"/>
                <a:gd name="T11" fmla="*/ 53 h 111"/>
                <a:gd name="T12" fmla="*/ 75 w 91"/>
                <a:gd name="T13" fmla="*/ 55 h 111"/>
                <a:gd name="T14" fmla="*/ 68 w 91"/>
                <a:gd name="T15" fmla="*/ 60 h 111"/>
                <a:gd name="T16" fmla="*/ 64 w 91"/>
                <a:gd name="T17" fmla="*/ 63 h 111"/>
                <a:gd name="T18" fmla="*/ 52 w 91"/>
                <a:gd name="T19" fmla="*/ 76 h 111"/>
                <a:gd name="T20" fmla="*/ 46 w 91"/>
                <a:gd name="T21" fmla="*/ 81 h 111"/>
                <a:gd name="T22" fmla="*/ 35 w 91"/>
                <a:gd name="T23" fmla="*/ 88 h 111"/>
                <a:gd name="T24" fmla="*/ 29 w 91"/>
                <a:gd name="T25" fmla="*/ 98 h 111"/>
                <a:gd name="T26" fmla="*/ 28 w 91"/>
                <a:gd name="T27" fmla="*/ 102 h 111"/>
                <a:gd name="T28" fmla="*/ 17 w 91"/>
                <a:gd name="T29" fmla="*/ 110 h 111"/>
                <a:gd name="T30" fmla="*/ 12 w 91"/>
                <a:gd name="T31" fmla="*/ 111 h 111"/>
                <a:gd name="T32" fmla="*/ 0 w 91"/>
                <a:gd name="T33" fmla="*/ 110 h 111"/>
                <a:gd name="T34" fmla="*/ 0 w 91"/>
                <a:gd name="T35" fmla="*/ 110 h 111"/>
                <a:gd name="T36" fmla="*/ 3 w 91"/>
                <a:gd name="T37" fmla="*/ 107 h 111"/>
                <a:gd name="T38" fmla="*/ 12 w 91"/>
                <a:gd name="T39" fmla="*/ 102 h 111"/>
                <a:gd name="T40" fmla="*/ 19 w 91"/>
                <a:gd name="T41" fmla="*/ 95 h 111"/>
                <a:gd name="T42" fmla="*/ 26 w 91"/>
                <a:gd name="T43" fmla="*/ 86 h 111"/>
                <a:gd name="T44" fmla="*/ 41 w 91"/>
                <a:gd name="T45" fmla="*/ 68 h 111"/>
                <a:gd name="T46" fmla="*/ 46 w 91"/>
                <a:gd name="T47" fmla="*/ 57 h 111"/>
                <a:gd name="T48" fmla="*/ 56 w 91"/>
                <a:gd name="T49" fmla="*/ 49 h 111"/>
                <a:gd name="T50" fmla="*/ 62 w 91"/>
                <a:gd name="T51" fmla="*/ 43 h 111"/>
                <a:gd name="T52" fmla="*/ 80 w 91"/>
                <a:gd name="T53" fmla="*/ 15 h 111"/>
                <a:gd name="T54" fmla="*/ 84 w 91"/>
                <a:gd name="T55" fmla="*/ 7 h 111"/>
                <a:gd name="T56" fmla="*/ 90 w 91"/>
                <a:gd name="T57" fmla="*/ 0 h 111"/>
                <a:gd name="T58" fmla="*/ 90 w 91"/>
                <a:gd name="T59" fmla="*/ 0 h 111"/>
                <a:gd name="T60" fmla="*/ 91 w 91"/>
                <a:gd name="T61" fmla="*/ 7 h 111"/>
                <a:gd name="T62" fmla="*/ 87 w 91"/>
                <a:gd name="T63" fmla="*/ 2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111">
                  <a:moveTo>
                    <a:pt x="87" y="20"/>
                  </a:moveTo>
                  <a:lnTo>
                    <a:pt x="87" y="20"/>
                  </a:lnTo>
                  <a:lnTo>
                    <a:pt x="83" y="31"/>
                  </a:lnTo>
                  <a:lnTo>
                    <a:pt x="81" y="40"/>
                  </a:lnTo>
                  <a:lnTo>
                    <a:pt x="81" y="40"/>
                  </a:lnTo>
                  <a:lnTo>
                    <a:pt x="81" y="43"/>
                  </a:lnTo>
                  <a:lnTo>
                    <a:pt x="80" y="44"/>
                  </a:lnTo>
                  <a:lnTo>
                    <a:pt x="74" y="46"/>
                  </a:lnTo>
                  <a:lnTo>
                    <a:pt x="74" y="46"/>
                  </a:lnTo>
                  <a:lnTo>
                    <a:pt x="71" y="47"/>
                  </a:lnTo>
                  <a:lnTo>
                    <a:pt x="71" y="49"/>
                  </a:lnTo>
                  <a:lnTo>
                    <a:pt x="74" y="53"/>
                  </a:lnTo>
                  <a:lnTo>
                    <a:pt x="74" y="53"/>
                  </a:lnTo>
                  <a:lnTo>
                    <a:pt x="75" y="55"/>
                  </a:lnTo>
                  <a:lnTo>
                    <a:pt x="74" y="57"/>
                  </a:lnTo>
                  <a:lnTo>
                    <a:pt x="68" y="60"/>
                  </a:lnTo>
                  <a:lnTo>
                    <a:pt x="68" y="60"/>
                  </a:lnTo>
                  <a:lnTo>
                    <a:pt x="64" y="63"/>
                  </a:lnTo>
                  <a:lnTo>
                    <a:pt x="58" y="69"/>
                  </a:lnTo>
                  <a:lnTo>
                    <a:pt x="52" y="76"/>
                  </a:lnTo>
                  <a:lnTo>
                    <a:pt x="46" y="81"/>
                  </a:lnTo>
                  <a:lnTo>
                    <a:pt x="46" y="81"/>
                  </a:lnTo>
                  <a:lnTo>
                    <a:pt x="39" y="85"/>
                  </a:lnTo>
                  <a:lnTo>
                    <a:pt x="35" y="88"/>
                  </a:lnTo>
                  <a:lnTo>
                    <a:pt x="30" y="92"/>
                  </a:lnTo>
                  <a:lnTo>
                    <a:pt x="29" y="98"/>
                  </a:lnTo>
                  <a:lnTo>
                    <a:pt x="29" y="98"/>
                  </a:lnTo>
                  <a:lnTo>
                    <a:pt x="28" y="102"/>
                  </a:lnTo>
                  <a:lnTo>
                    <a:pt x="25" y="105"/>
                  </a:lnTo>
                  <a:lnTo>
                    <a:pt x="17" y="110"/>
                  </a:lnTo>
                  <a:lnTo>
                    <a:pt x="17" y="110"/>
                  </a:lnTo>
                  <a:lnTo>
                    <a:pt x="12" y="111"/>
                  </a:lnTo>
                  <a:lnTo>
                    <a:pt x="7" y="110"/>
                  </a:lnTo>
                  <a:lnTo>
                    <a:pt x="0" y="110"/>
                  </a:lnTo>
                  <a:lnTo>
                    <a:pt x="0" y="110"/>
                  </a:lnTo>
                  <a:lnTo>
                    <a:pt x="0" y="110"/>
                  </a:lnTo>
                  <a:lnTo>
                    <a:pt x="0" y="108"/>
                  </a:lnTo>
                  <a:lnTo>
                    <a:pt x="3" y="107"/>
                  </a:lnTo>
                  <a:lnTo>
                    <a:pt x="12" y="102"/>
                  </a:lnTo>
                  <a:lnTo>
                    <a:pt x="12" y="102"/>
                  </a:lnTo>
                  <a:lnTo>
                    <a:pt x="14" y="99"/>
                  </a:lnTo>
                  <a:lnTo>
                    <a:pt x="19" y="95"/>
                  </a:lnTo>
                  <a:lnTo>
                    <a:pt x="26" y="86"/>
                  </a:lnTo>
                  <a:lnTo>
                    <a:pt x="26" y="86"/>
                  </a:lnTo>
                  <a:lnTo>
                    <a:pt x="33" y="76"/>
                  </a:lnTo>
                  <a:lnTo>
                    <a:pt x="41" y="68"/>
                  </a:lnTo>
                  <a:lnTo>
                    <a:pt x="41" y="68"/>
                  </a:lnTo>
                  <a:lnTo>
                    <a:pt x="46" y="57"/>
                  </a:lnTo>
                  <a:lnTo>
                    <a:pt x="51" y="53"/>
                  </a:lnTo>
                  <a:lnTo>
                    <a:pt x="56" y="49"/>
                  </a:lnTo>
                  <a:lnTo>
                    <a:pt x="56" y="49"/>
                  </a:lnTo>
                  <a:lnTo>
                    <a:pt x="62" y="43"/>
                  </a:lnTo>
                  <a:lnTo>
                    <a:pt x="70" y="33"/>
                  </a:lnTo>
                  <a:lnTo>
                    <a:pt x="80" y="15"/>
                  </a:lnTo>
                  <a:lnTo>
                    <a:pt x="80" y="15"/>
                  </a:lnTo>
                  <a:lnTo>
                    <a:pt x="84" y="7"/>
                  </a:lnTo>
                  <a:lnTo>
                    <a:pt x="87" y="2"/>
                  </a:lnTo>
                  <a:lnTo>
                    <a:pt x="90" y="0"/>
                  </a:lnTo>
                  <a:lnTo>
                    <a:pt x="90" y="0"/>
                  </a:lnTo>
                  <a:lnTo>
                    <a:pt x="90" y="0"/>
                  </a:lnTo>
                  <a:lnTo>
                    <a:pt x="91" y="1"/>
                  </a:lnTo>
                  <a:lnTo>
                    <a:pt x="91" y="7"/>
                  </a:lnTo>
                  <a:lnTo>
                    <a:pt x="90" y="14"/>
                  </a:lnTo>
                  <a:lnTo>
                    <a:pt x="87"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13" name="Freeform 1173"/>
            <p:cNvSpPr>
              <a:spLocks noEditPoints="1"/>
            </p:cNvSpPr>
            <p:nvPr/>
          </p:nvSpPr>
          <p:spPr bwMode="auto">
            <a:xfrm>
              <a:off x="6586538" y="3215117"/>
              <a:ext cx="779463" cy="377825"/>
            </a:xfrm>
            <a:custGeom>
              <a:avLst/>
              <a:gdLst>
                <a:gd name="T0" fmla="*/ 22 w 491"/>
                <a:gd name="T1" fmla="*/ 90 h 238"/>
                <a:gd name="T2" fmla="*/ 18 w 491"/>
                <a:gd name="T3" fmla="*/ 106 h 238"/>
                <a:gd name="T4" fmla="*/ 50 w 491"/>
                <a:gd name="T5" fmla="*/ 126 h 238"/>
                <a:gd name="T6" fmla="*/ 55 w 491"/>
                <a:gd name="T7" fmla="*/ 149 h 238"/>
                <a:gd name="T8" fmla="*/ 60 w 491"/>
                <a:gd name="T9" fmla="*/ 172 h 238"/>
                <a:gd name="T10" fmla="*/ 84 w 491"/>
                <a:gd name="T11" fmla="*/ 178 h 238"/>
                <a:gd name="T12" fmla="*/ 97 w 491"/>
                <a:gd name="T13" fmla="*/ 188 h 238"/>
                <a:gd name="T14" fmla="*/ 90 w 491"/>
                <a:gd name="T15" fmla="*/ 200 h 238"/>
                <a:gd name="T16" fmla="*/ 105 w 491"/>
                <a:gd name="T17" fmla="*/ 219 h 238"/>
                <a:gd name="T18" fmla="*/ 141 w 491"/>
                <a:gd name="T19" fmla="*/ 217 h 238"/>
                <a:gd name="T20" fmla="*/ 163 w 491"/>
                <a:gd name="T21" fmla="*/ 214 h 238"/>
                <a:gd name="T22" fmla="*/ 182 w 491"/>
                <a:gd name="T23" fmla="*/ 222 h 238"/>
                <a:gd name="T24" fmla="*/ 205 w 491"/>
                <a:gd name="T25" fmla="*/ 225 h 238"/>
                <a:gd name="T26" fmla="*/ 225 w 491"/>
                <a:gd name="T27" fmla="*/ 238 h 238"/>
                <a:gd name="T28" fmla="*/ 263 w 491"/>
                <a:gd name="T29" fmla="*/ 232 h 238"/>
                <a:gd name="T30" fmla="*/ 308 w 491"/>
                <a:gd name="T31" fmla="*/ 216 h 238"/>
                <a:gd name="T32" fmla="*/ 336 w 491"/>
                <a:gd name="T33" fmla="*/ 209 h 238"/>
                <a:gd name="T34" fmla="*/ 384 w 491"/>
                <a:gd name="T35" fmla="*/ 152 h 238"/>
                <a:gd name="T36" fmla="*/ 393 w 491"/>
                <a:gd name="T37" fmla="*/ 142 h 238"/>
                <a:gd name="T38" fmla="*/ 400 w 491"/>
                <a:gd name="T39" fmla="*/ 146 h 238"/>
                <a:gd name="T40" fmla="*/ 415 w 491"/>
                <a:gd name="T41" fmla="*/ 164 h 238"/>
                <a:gd name="T42" fmla="*/ 438 w 491"/>
                <a:gd name="T43" fmla="*/ 154 h 238"/>
                <a:gd name="T44" fmla="*/ 473 w 491"/>
                <a:gd name="T45" fmla="*/ 135 h 238"/>
                <a:gd name="T46" fmla="*/ 489 w 491"/>
                <a:gd name="T47" fmla="*/ 132 h 238"/>
                <a:gd name="T48" fmla="*/ 491 w 491"/>
                <a:gd name="T49" fmla="*/ 109 h 238"/>
                <a:gd name="T50" fmla="*/ 468 w 491"/>
                <a:gd name="T51" fmla="*/ 100 h 238"/>
                <a:gd name="T52" fmla="*/ 455 w 491"/>
                <a:gd name="T53" fmla="*/ 104 h 238"/>
                <a:gd name="T54" fmla="*/ 444 w 491"/>
                <a:gd name="T55" fmla="*/ 109 h 238"/>
                <a:gd name="T56" fmla="*/ 434 w 491"/>
                <a:gd name="T57" fmla="*/ 85 h 238"/>
                <a:gd name="T58" fmla="*/ 442 w 491"/>
                <a:gd name="T59" fmla="*/ 55 h 238"/>
                <a:gd name="T60" fmla="*/ 423 w 491"/>
                <a:gd name="T61" fmla="*/ 52 h 238"/>
                <a:gd name="T62" fmla="*/ 407 w 491"/>
                <a:gd name="T63" fmla="*/ 45 h 238"/>
                <a:gd name="T64" fmla="*/ 380 w 491"/>
                <a:gd name="T65" fmla="*/ 58 h 238"/>
                <a:gd name="T66" fmla="*/ 351 w 491"/>
                <a:gd name="T67" fmla="*/ 70 h 238"/>
                <a:gd name="T68" fmla="*/ 323 w 491"/>
                <a:gd name="T69" fmla="*/ 65 h 238"/>
                <a:gd name="T70" fmla="*/ 297 w 491"/>
                <a:gd name="T71" fmla="*/ 54 h 238"/>
                <a:gd name="T72" fmla="*/ 280 w 491"/>
                <a:gd name="T73" fmla="*/ 42 h 238"/>
                <a:gd name="T74" fmla="*/ 266 w 491"/>
                <a:gd name="T75" fmla="*/ 41 h 238"/>
                <a:gd name="T76" fmla="*/ 234 w 491"/>
                <a:gd name="T77" fmla="*/ 45 h 238"/>
                <a:gd name="T78" fmla="*/ 212 w 491"/>
                <a:gd name="T79" fmla="*/ 30 h 238"/>
                <a:gd name="T80" fmla="*/ 206 w 491"/>
                <a:gd name="T81" fmla="*/ 17 h 238"/>
                <a:gd name="T82" fmla="*/ 170 w 491"/>
                <a:gd name="T83" fmla="*/ 3 h 238"/>
                <a:gd name="T84" fmla="*/ 163 w 491"/>
                <a:gd name="T85" fmla="*/ 3 h 238"/>
                <a:gd name="T86" fmla="*/ 160 w 491"/>
                <a:gd name="T87" fmla="*/ 10 h 238"/>
                <a:gd name="T88" fmla="*/ 148 w 491"/>
                <a:gd name="T89" fmla="*/ 33 h 238"/>
                <a:gd name="T90" fmla="*/ 147 w 491"/>
                <a:gd name="T91" fmla="*/ 43 h 238"/>
                <a:gd name="T92" fmla="*/ 129 w 491"/>
                <a:gd name="T93" fmla="*/ 54 h 238"/>
                <a:gd name="T94" fmla="*/ 103 w 491"/>
                <a:gd name="T95" fmla="*/ 36 h 238"/>
                <a:gd name="T96" fmla="*/ 92 w 491"/>
                <a:gd name="T97" fmla="*/ 32 h 238"/>
                <a:gd name="T98" fmla="*/ 73 w 491"/>
                <a:gd name="T99" fmla="*/ 26 h 238"/>
                <a:gd name="T100" fmla="*/ 38 w 491"/>
                <a:gd name="T101" fmla="*/ 33 h 238"/>
                <a:gd name="T102" fmla="*/ 11 w 491"/>
                <a:gd name="T103" fmla="*/ 38 h 238"/>
                <a:gd name="T104" fmla="*/ 9 w 491"/>
                <a:gd name="T105" fmla="*/ 57 h 238"/>
                <a:gd name="T106" fmla="*/ 0 w 491"/>
                <a:gd name="T107" fmla="*/ 64 h 238"/>
                <a:gd name="T108" fmla="*/ 5 w 491"/>
                <a:gd name="T109" fmla="*/ 74 h 238"/>
                <a:gd name="T110" fmla="*/ 55 w 491"/>
                <a:gd name="T111" fmla="*/ 38 h 238"/>
                <a:gd name="T112" fmla="*/ 64 w 491"/>
                <a:gd name="T113" fmla="*/ 45 h 238"/>
                <a:gd name="T114" fmla="*/ 58 w 491"/>
                <a:gd name="T115" fmla="*/ 54 h 238"/>
                <a:gd name="T116" fmla="*/ 48 w 491"/>
                <a:gd name="T117" fmla="*/ 48 h 238"/>
                <a:gd name="T118" fmla="*/ 51 w 491"/>
                <a:gd name="T119"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1" h="238">
                  <a:moveTo>
                    <a:pt x="21" y="84"/>
                  </a:moveTo>
                  <a:lnTo>
                    <a:pt x="21" y="84"/>
                  </a:lnTo>
                  <a:lnTo>
                    <a:pt x="22" y="87"/>
                  </a:lnTo>
                  <a:lnTo>
                    <a:pt x="22" y="90"/>
                  </a:lnTo>
                  <a:lnTo>
                    <a:pt x="16" y="99"/>
                  </a:lnTo>
                  <a:lnTo>
                    <a:pt x="16" y="99"/>
                  </a:lnTo>
                  <a:lnTo>
                    <a:pt x="16" y="101"/>
                  </a:lnTo>
                  <a:lnTo>
                    <a:pt x="18" y="106"/>
                  </a:lnTo>
                  <a:lnTo>
                    <a:pt x="22" y="109"/>
                  </a:lnTo>
                  <a:lnTo>
                    <a:pt x="28" y="113"/>
                  </a:lnTo>
                  <a:lnTo>
                    <a:pt x="41" y="120"/>
                  </a:lnTo>
                  <a:lnTo>
                    <a:pt x="50" y="126"/>
                  </a:lnTo>
                  <a:lnTo>
                    <a:pt x="50" y="126"/>
                  </a:lnTo>
                  <a:lnTo>
                    <a:pt x="53" y="130"/>
                  </a:lnTo>
                  <a:lnTo>
                    <a:pt x="54" y="135"/>
                  </a:lnTo>
                  <a:lnTo>
                    <a:pt x="55" y="149"/>
                  </a:lnTo>
                  <a:lnTo>
                    <a:pt x="57" y="169"/>
                  </a:lnTo>
                  <a:lnTo>
                    <a:pt x="57" y="169"/>
                  </a:lnTo>
                  <a:lnTo>
                    <a:pt x="58" y="172"/>
                  </a:lnTo>
                  <a:lnTo>
                    <a:pt x="60" y="172"/>
                  </a:lnTo>
                  <a:lnTo>
                    <a:pt x="69" y="175"/>
                  </a:lnTo>
                  <a:lnTo>
                    <a:pt x="79" y="177"/>
                  </a:lnTo>
                  <a:lnTo>
                    <a:pt x="84" y="178"/>
                  </a:lnTo>
                  <a:lnTo>
                    <a:pt x="84" y="178"/>
                  </a:lnTo>
                  <a:lnTo>
                    <a:pt x="92" y="183"/>
                  </a:lnTo>
                  <a:lnTo>
                    <a:pt x="97" y="187"/>
                  </a:lnTo>
                  <a:lnTo>
                    <a:pt x="97" y="187"/>
                  </a:lnTo>
                  <a:lnTo>
                    <a:pt x="97" y="188"/>
                  </a:lnTo>
                  <a:lnTo>
                    <a:pt x="95" y="191"/>
                  </a:lnTo>
                  <a:lnTo>
                    <a:pt x="90" y="198"/>
                  </a:lnTo>
                  <a:lnTo>
                    <a:pt x="90" y="198"/>
                  </a:lnTo>
                  <a:lnTo>
                    <a:pt x="90" y="200"/>
                  </a:lnTo>
                  <a:lnTo>
                    <a:pt x="90" y="203"/>
                  </a:lnTo>
                  <a:lnTo>
                    <a:pt x="95" y="209"/>
                  </a:lnTo>
                  <a:lnTo>
                    <a:pt x="105" y="219"/>
                  </a:lnTo>
                  <a:lnTo>
                    <a:pt x="105" y="219"/>
                  </a:lnTo>
                  <a:lnTo>
                    <a:pt x="108" y="220"/>
                  </a:lnTo>
                  <a:lnTo>
                    <a:pt x="113" y="220"/>
                  </a:lnTo>
                  <a:lnTo>
                    <a:pt x="126" y="220"/>
                  </a:lnTo>
                  <a:lnTo>
                    <a:pt x="141" y="217"/>
                  </a:lnTo>
                  <a:lnTo>
                    <a:pt x="150" y="216"/>
                  </a:lnTo>
                  <a:lnTo>
                    <a:pt x="150" y="216"/>
                  </a:lnTo>
                  <a:lnTo>
                    <a:pt x="155" y="214"/>
                  </a:lnTo>
                  <a:lnTo>
                    <a:pt x="163" y="214"/>
                  </a:lnTo>
                  <a:lnTo>
                    <a:pt x="168" y="216"/>
                  </a:lnTo>
                  <a:lnTo>
                    <a:pt x="174" y="217"/>
                  </a:lnTo>
                  <a:lnTo>
                    <a:pt x="174" y="217"/>
                  </a:lnTo>
                  <a:lnTo>
                    <a:pt x="182" y="222"/>
                  </a:lnTo>
                  <a:lnTo>
                    <a:pt x="196" y="222"/>
                  </a:lnTo>
                  <a:lnTo>
                    <a:pt x="196" y="222"/>
                  </a:lnTo>
                  <a:lnTo>
                    <a:pt x="202" y="223"/>
                  </a:lnTo>
                  <a:lnTo>
                    <a:pt x="205" y="225"/>
                  </a:lnTo>
                  <a:lnTo>
                    <a:pt x="212" y="229"/>
                  </a:lnTo>
                  <a:lnTo>
                    <a:pt x="218" y="233"/>
                  </a:lnTo>
                  <a:lnTo>
                    <a:pt x="222" y="236"/>
                  </a:lnTo>
                  <a:lnTo>
                    <a:pt x="225" y="238"/>
                  </a:lnTo>
                  <a:lnTo>
                    <a:pt x="225" y="238"/>
                  </a:lnTo>
                  <a:lnTo>
                    <a:pt x="232" y="238"/>
                  </a:lnTo>
                  <a:lnTo>
                    <a:pt x="241" y="236"/>
                  </a:lnTo>
                  <a:lnTo>
                    <a:pt x="263" y="232"/>
                  </a:lnTo>
                  <a:lnTo>
                    <a:pt x="286" y="225"/>
                  </a:lnTo>
                  <a:lnTo>
                    <a:pt x="300" y="219"/>
                  </a:lnTo>
                  <a:lnTo>
                    <a:pt x="300" y="219"/>
                  </a:lnTo>
                  <a:lnTo>
                    <a:pt x="308" y="216"/>
                  </a:lnTo>
                  <a:lnTo>
                    <a:pt x="313" y="214"/>
                  </a:lnTo>
                  <a:lnTo>
                    <a:pt x="331" y="211"/>
                  </a:lnTo>
                  <a:lnTo>
                    <a:pt x="331" y="211"/>
                  </a:lnTo>
                  <a:lnTo>
                    <a:pt x="336" y="209"/>
                  </a:lnTo>
                  <a:lnTo>
                    <a:pt x="344" y="203"/>
                  </a:lnTo>
                  <a:lnTo>
                    <a:pt x="361" y="184"/>
                  </a:lnTo>
                  <a:lnTo>
                    <a:pt x="376" y="165"/>
                  </a:lnTo>
                  <a:lnTo>
                    <a:pt x="384" y="152"/>
                  </a:lnTo>
                  <a:lnTo>
                    <a:pt x="384" y="152"/>
                  </a:lnTo>
                  <a:lnTo>
                    <a:pt x="387" y="148"/>
                  </a:lnTo>
                  <a:lnTo>
                    <a:pt x="390" y="145"/>
                  </a:lnTo>
                  <a:lnTo>
                    <a:pt x="393" y="142"/>
                  </a:lnTo>
                  <a:lnTo>
                    <a:pt x="397" y="143"/>
                  </a:lnTo>
                  <a:lnTo>
                    <a:pt x="397" y="143"/>
                  </a:lnTo>
                  <a:lnTo>
                    <a:pt x="399" y="143"/>
                  </a:lnTo>
                  <a:lnTo>
                    <a:pt x="400" y="146"/>
                  </a:lnTo>
                  <a:lnTo>
                    <a:pt x="405" y="154"/>
                  </a:lnTo>
                  <a:lnTo>
                    <a:pt x="409" y="159"/>
                  </a:lnTo>
                  <a:lnTo>
                    <a:pt x="410" y="162"/>
                  </a:lnTo>
                  <a:lnTo>
                    <a:pt x="415" y="164"/>
                  </a:lnTo>
                  <a:lnTo>
                    <a:pt x="415" y="164"/>
                  </a:lnTo>
                  <a:lnTo>
                    <a:pt x="418" y="164"/>
                  </a:lnTo>
                  <a:lnTo>
                    <a:pt x="423" y="162"/>
                  </a:lnTo>
                  <a:lnTo>
                    <a:pt x="438" y="154"/>
                  </a:lnTo>
                  <a:lnTo>
                    <a:pt x="460" y="138"/>
                  </a:lnTo>
                  <a:lnTo>
                    <a:pt x="460" y="138"/>
                  </a:lnTo>
                  <a:lnTo>
                    <a:pt x="465" y="136"/>
                  </a:lnTo>
                  <a:lnTo>
                    <a:pt x="473" y="135"/>
                  </a:lnTo>
                  <a:lnTo>
                    <a:pt x="480" y="135"/>
                  </a:lnTo>
                  <a:lnTo>
                    <a:pt x="486" y="133"/>
                  </a:lnTo>
                  <a:lnTo>
                    <a:pt x="486" y="133"/>
                  </a:lnTo>
                  <a:lnTo>
                    <a:pt x="489" y="132"/>
                  </a:lnTo>
                  <a:lnTo>
                    <a:pt x="490" y="129"/>
                  </a:lnTo>
                  <a:lnTo>
                    <a:pt x="491" y="122"/>
                  </a:lnTo>
                  <a:lnTo>
                    <a:pt x="491" y="114"/>
                  </a:lnTo>
                  <a:lnTo>
                    <a:pt x="491" y="109"/>
                  </a:lnTo>
                  <a:lnTo>
                    <a:pt x="491" y="109"/>
                  </a:lnTo>
                  <a:lnTo>
                    <a:pt x="489" y="107"/>
                  </a:lnTo>
                  <a:lnTo>
                    <a:pt x="481" y="104"/>
                  </a:lnTo>
                  <a:lnTo>
                    <a:pt x="468" y="100"/>
                  </a:lnTo>
                  <a:lnTo>
                    <a:pt x="468" y="100"/>
                  </a:lnTo>
                  <a:lnTo>
                    <a:pt x="464" y="100"/>
                  </a:lnTo>
                  <a:lnTo>
                    <a:pt x="461" y="101"/>
                  </a:lnTo>
                  <a:lnTo>
                    <a:pt x="455" y="104"/>
                  </a:lnTo>
                  <a:lnTo>
                    <a:pt x="449" y="107"/>
                  </a:lnTo>
                  <a:lnTo>
                    <a:pt x="445" y="109"/>
                  </a:lnTo>
                  <a:lnTo>
                    <a:pt x="445" y="109"/>
                  </a:lnTo>
                  <a:lnTo>
                    <a:pt x="444" y="109"/>
                  </a:lnTo>
                  <a:lnTo>
                    <a:pt x="442" y="107"/>
                  </a:lnTo>
                  <a:lnTo>
                    <a:pt x="439" y="101"/>
                  </a:lnTo>
                  <a:lnTo>
                    <a:pt x="436" y="94"/>
                  </a:lnTo>
                  <a:lnTo>
                    <a:pt x="434" y="85"/>
                  </a:lnTo>
                  <a:lnTo>
                    <a:pt x="434" y="85"/>
                  </a:lnTo>
                  <a:lnTo>
                    <a:pt x="434" y="80"/>
                  </a:lnTo>
                  <a:lnTo>
                    <a:pt x="435" y="71"/>
                  </a:lnTo>
                  <a:lnTo>
                    <a:pt x="442" y="55"/>
                  </a:lnTo>
                  <a:lnTo>
                    <a:pt x="442" y="55"/>
                  </a:lnTo>
                  <a:lnTo>
                    <a:pt x="435" y="55"/>
                  </a:lnTo>
                  <a:lnTo>
                    <a:pt x="435" y="55"/>
                  </a:lnTo>
                  <a:lnTo>
                    <a:pt x="423" y="52"/>
                  </a:lnTo>
                  <a:lnTo>
                    <a:pt x="418" y="51"/>
                  </a:lnTo>
                  <a:lnTo>
                    <a:pt x="413" y="48"/>
                  </a:lnTo>
                  <a:lnTo>
                    <a:pt x="413" y="48"/>
                  </a:lnTo>
                  <a:lnTo>
                    <a:pt x="407" y="45"/>
                  </a:lnTo>
                  <a:lnTo>
                    <a:pt x="405" y="46"/>
                  </a:lnTo>
                  <a:lnTo>
                    <a:pt x="400" y="48"/>
                  </a:lnTo>
                  <a:lnTo>
                    <a:pt x="400" y="48"/>
                  </a:lnTo>
                  <a:lnTo>
                    <a:pt x="380" y="58"/>
                  </a:lnTo>
                  <a:lnTo>
                    <a:pt x="363" y="65"/>
                  </a:lnTo>
                  <a:lnTo>
                    <a:pt x="363" y="65"/>
                  </a:lnTo>
                  <a:lnTo>
                    <a:pt x="355" y="68"/>
                  </a:lnTo>
                  <a:lnTo>
                    <a:pt x="351" y="70"/>
                  </a:lnTo>
                  <a:lnTo>
                    <a:pt x="348" y="71"/>
                  </a:lnTo>
                  <a:lnTo>
                    <a:pt x="348" y="71"/>
                  </a:lnTo>
                  <a:lnTo>
                    <a:pt x="336" y="68"/>
                  </a:lnTo>
                  <a:lnTo>
                    <a:pt x="323" y="65"/>
                  </a:lnTo>
                  <a:lnTo>
                    <a:pt x="323" y="65"/>
                  </a:lnTo>
                  <a:lnTo>
                    <a:pt x="310" y="59"/>
                  </a:lnTo>
                  <a:lnTo>
                    <a:pt x="297" y="54"/>
                  </a:lnTo>
                  <a:lnTo>
                    <a:pt x="297" y="54"/>
                  </a:lnTo>
                  <a:lnTo>
                    <a:pt x="289" y="51"/>
                  </a:lnTo>
                  <a:lnTo>
                    <a:pt x="283" y="45"/>
                  </a:lnTo>
                  <a:lnTo>
                    <a:pt x="283" y="45"/>
                  </a:lnTo>
                  <a:lnTo>
                    <a:pt x="280" y="42"/>
                  </a:lnTo>
                  <a:lnTo>
                    <a:pt x="276" y="41"/>
                  </a:lnTo>
                  <a:lnTo>
                    <a:pt x="270" y="41"/>
                  </a:lnTo>
                  <a:lnTo>
                    <a:pt x="266" y="41"/>
                  </a:lnTo>
                  <a:lnTo>
                    <a:pt x="266" y="41"/>
                  </a:lnTo>
                  <a:lnTo>
                    <a:pt x="260" y="43"/>
                  </a:lnTo>
                  <a:lnTo>
                    <a:pt x="251" y="45"/>
                  </a:lnTo>
                  <a:lnTo>
                    <a:pt x="242" y="45"/>
                  </a:lnTo>
                  <a:lnTo>
                    <a:pt x="234" y="45"/>
                  </a:lnTo>
                  <a:lnTo>
                    <a:pt x="234" y="45"/>
                  </a:lnTo>
                  <a:lnTo>
                    <a:pt x="225" y="42"/>
                  </a:lnTo>
                  <a:lnTo>
                    <a:pt x="218" y="38"/>
                  </a:lnTo>
                  <a:lnTo>
                    <a:pt x="212" y="30"/>
                  </a:lnTo>
                  <a:lnTo>
                    <a:pt x="210" y="23"/>
                  </a:lnTo>
                  <a:lnTo>
                    <a:pt x="210" y="23"/>
                  </a:lnTo>
                  <a:lnTo>
                    <a:pt x="209" y="20"/>
                  </a:lnTo>
                  <a:lnTo>
                    <a:pt x="206" y="17"/>
                  </a:lnTo>
                  <a:lnTo>
                    <a:pt x="200" y="15"/>
                  </a:lnTo>
                  <a:lnTo>
                    <a:pt x="190" y="12"/>
                  </a:lnTo>
                  <a:lnTo>
                    <a:pt x="190" y="12"/>
                  </a:lnTo>
                  <a:lnTo>
                    <a:pt x="170" y="3"/>
                  </a:lnTo>
                  <a:lnTo>
                    <a:pt x="170" y="3"/>
                  </a:lnTo>
                  <a:lnTo>
                    <a:pt x="164" y="0"/>
                  </a:lnTo>
                  <a:lnTo>
                    <a:pt x="163" y="0"/>
                  </a:lnTo>
                  <a:lnTo>
                    <a:pt x="163" y="3"/>
                  </a:lnTo>
                  <a:lnTo>
                    <a:pt x="163" y="3"/>
                  </a:lnTo>
                  <a:lnTo>
                    <a:pt x="163" y="6"/>
                  </a:lnTo>
                  <a:lnTo>
                    <a:pt x="160" y="10"/>
                  </a:lnTo>
                  <a:lnTo>
                    <a:pt x="160" y="10"/>
                  </a:lnTo>
                  <a:lnTo>
                    <a:pt x="151" y="23"/>
                  </a:lnTo>
                  <a:lnTo>
                    <a:pt x="148" y="29"/>
                  </a:lnTo>
                  <a:lnTo>
                    <a:pt x="148" y="33"/>
                  </a:lnTo>
                  <a:lnTo>
                    <a:pt x="148" y="33"/>
                  </a:lnTo>
                  <a:lnTo>
                    <a:pt x="150" y="35"/>
                  </a:lnTo>
                  <a:lnTo>
                    <a:pt x="150" y="39"/>
                  </a:lnTo>
                  <a:lnTo>
                    <a:pt x="150" y="39"/>
                  </a:lnTo>
                  <a:lnTo>
                    <a:pt x="147" y="43"/>
                  </a:lnTo>
                  <a:lnTo>
                    <a:pt x="142" y="49"/>
                  </a:lnTo>
                  <a:lnTo>
                    <a:pt x="137" y="54"/>
                  </a:lnTo>
                  <a:lnTo>
                    <a:pt x="132" y="54"/>
                  </a:lnTo>
                  <a:lnTo>
                    <a:pt x="129" y="54"/>
                  </a:lnTo>
                  <a:lnTo>
                    <a:pt x="129" y="54"/>
                  </a:lnTo>
                  <a:lnTo>
                    <a:pt x="122" y="51"/>
                  </a:lnTo>
                  <a:lnTo>
                    <a:pt x="115" y="45"/>
                  </a:lnTo>
                  <a:lnTo>
                    <a:pt x="103" y="36"/>
                  </a:lnTo>
                  <a:lnTo>
                    <a:pt x="103" y="36"/>
                  </a:lnTo>
                  <a:lnTo>
                    <a:pt x="99" y="35"/>
                  </a:lnTo>
                  <a:lnTo>
                    <a:pt x="95" y="33"/>
                  </a:lnTo>
                  <a:lnTo>
                    <a:pt x="92" y="32"/>
                  </a:lnTo>
                  <a:lnTo>
                    <a:pt x="86" y="30"/>
                  </a:lnTo>
                  <a:lnTo>
                    <a:pt x="86" y="30"/>
                  </a:lnTo>
                  <a:lnTo>
                    <a:pt x="77" y="26"/>
                  </a:lnTo>
                  <a:lnTo>
                    <a:pt x="73" y="26"/>
                  </a:lnTo>
                  <a:lnTo>
                    <a:pt x="69" y="26"/>
                  </a:lnTo>
                  <a:lnTo>
                    <a:pt x="69" y="26"/>
                  </a:lnTo>
                  <a:lnTo>
                    <a:pt x="54" y="30"/>
                  </a:lnTo>
                  <a:lnTo>
                    <a:pt x="38" y="33"/>
                  </a:lnTo>
                  <a:lnTo>
                    <a:pt x="38" y="33"/>
                  </a:lnTo>
                  <a:lnTo>
                    <a:pt x="22" y="35"/>
                  </a:lnTo>
                  <a:lnTo>
                    <a:pt x="15" y="36"/>
                  </a:lnTo>
                  <a:lnTo>
                    <a:pt x="11" y="38"/>
                  </a:lnTo>
                  <a:lnTo>
                    <a:pt x="11" y="38"/>
                  </a:lnTo>
                  <a:lnTo>
                    <a:pt x="9" y="42"/>
                  </a:lnTo>
                  <a:lnTo>
                    <a:pt x="11" y="49"/>
                  </a:lnTo>
                  <a:lnTo>
                    <a:pt x="9" y="57"/>
                  </a:lnTo>
                  <a:lnTo>
                    <a:pt x="9" y="59"/>
                  </a:lnTo>
                  <a:lnTo>
                    <a:pt x="8" y="61"/>
                  </a:lnTo>
                  <a:lnTo>
                    <a:pt x="8" y="61"/>
                  </a:lnTo>
                  <a:lnTo>
                    <a:pt x="0" y="64"/>
                  </a:lnTo>
                  <a:lnTo>
                    <a:pt x="0" y="64"/>
                  </a:lnTo>
                  <a:lnTo>
                    <a:pt x="2" y="71"/>
                  </a:lnTo>
                  <a:lnTo>
                    <a:pt x="2" y="71"/>
                  </a:lnTo>
                  <a:lnTo>
                    <a:pt x="5" y="74"/>
                  </a:lnTo>
                  <a:lnTo>
                    <a:pt x="11" y="78"/>
                  </a:lnTo>
                  <a:lnTo>
                    <a:pt x="16" y="81"/>
                  </a:lnTo>
                  <a:lnTo>
                    <a:pt x="21" y="84"/>
                  </a:lnTo>
                  <a:close/>
                  <a:moveTo>
                    <a:pt x="55" y="38"/>
                  </a:moveTo>
                  <a:lnTo>
                    <a:pt x="55" y="38"/>
                  </a:lnTo>
                  <a:lnTo>
                    <a:pt x="61" y="41"/>
                  </a:lnTo>
                  <a:lnTo>
                    <a:pt x="64" y="42"/>
                  </a:lnTo>
                  <a:lnTo>
                    <a:pt x="64" y="45"/>
                  </a:lnTo>
                  <a:lnTo>
                    <a:pt x="64" y="45"/>
                  </a:lnTo>
                  <a:lnTo>
                    <a:pt x="64" y="48"/>
                  </a:lnTo>
                  <a:lnTo>
                    <a:pt x="61" y="51"/>
                  </a:lnTo>
                  <a:lnTo>
                    <a:pt x="58" y="54"/>
                  </a:lnTo>
                  <a:lnTo>
                    <a:pt x="55" y="54"/>
                  </a:lnTo>
                  <a:lnTo>
                    <a:pt x="55" y="54"/>
                  </a:lnTo>
                  <a:lnTo>
                    <a:pt x="50" y="49"/>
                  </a:lnTo>
                  <a:lnTo>
                    <a:pt x="48" y="48"/>
                  </a:lnTo>
                  <a:lnTo>
                    <a:pt x="48" y="45"/>
                  </a:lnTo>
                  <a:lnTo>
                    <a:pt x="48" y="45"/>
                  </a:lnTo>
                  <a:lnTo>
                    <a:pt x="50" y="42"/>
                  </a:lnTo>
                  <a:lnTo>
                    <a:pt x="51" y="41"/>
                  </a:lnTo>
                  <a:lnTo>
                    <a:pt x="54" y="38"/>
                  </a:lnTo>
                  <a:lnTo>
                    <a:pt x="55" y="38"/>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14" name="Freeform 1174"/>
            <p:cNvSpPr>
              <a:spLocks/>
            </p:cNvSpPr>
            <p:nvPr/>
          </p:nvSpPr>
          <p:spPr bwMode="auto">
            <a:xfrm>
              <a:off x="6586538" y="3215117"/>
              <a:ext cx="779463" cy="377825"/>
            </a:xfrm>
            <a:custGeom>
              <a:avLst/>
              <a:gdLst>
                <a:gd name="T0" fmla="*/ 22 w 491"/>
                <a:gd name="T1" fmla="*/ 90 h 238"/>
                <a:gd name="T2" fmla="*/ 18 w 491"/>
                <a:gd name="T3" fmla="*/ 106 h 238"/>
                <a:gd name="T4" fmla="*/ 50 w 491"/>
                <a:gd name="T5" fmla="*/ 126 h 238"/>
                <a:gd name="T6" fmla="*/ 55 w 491"/>
                <a:gd name="T7" fmla="*/ 149 h 238"/>
                <a:gd name="T8" fmla="*/ 60 w 491"/>
                <a:gd name="T9" fmla="*/ 172 h 238"/>
                <a:gd name="T10" fmla="*/ 84 w 491"/>
                <a:gd name="T11" fmla="*/ 178 h 238"/>
                <a:gd name="T12" fmla="*/ 97 w 491"/>
                <a:gd name="T13" fmla="*/ 188 h 238"/>
                <a:gd name="T14" fmla="*/ 90 w 491"/>
                <a:gd name="T15" fmla="*/ 200 h 238"/>
                <a:gd name="T16" fmla="*/ 105 w 491"/>
                <a:gd name="T17" fmla="*/ 219 h 238"/>
                <a:gd name="T18" fmla="*/ 141 w 491"/>
                <a:gd name="T19" fmla="*/ 217 h 238"/>
                <a:gd name="T20" fmla="*/ 163 w 491"/>
                <a:gd name="T21" fmla="*/ 214 h 238"/>
                <a:gd name="T22" fmla="*/ 182 w 491"/>
                <a:gd name="T23" fmla="*/ 222 h 238"/>
                <a:gd name="T24" fmla="*/ 205 w 491"/>
                <a:gd name="T25" fmla="*/ 225 h 238"/>
                <a:gd name="T26" fmla="*/ 225 w 491"/>
                <a:gd name="T27" fmla="*/ 238 h 238"/>
                <a:gd name="T28" fmla="*/ 263 w 491"/>
                <a:gd name="T29" fmla="*/ 232 h 238"/>
                <a:gd name="T30" fmla="*/ 308 w 491"/>
                <a:gd name="T31" fmla="*/ 216 h 238"/>
                <a:gd name="T32" fmla="*/ 336 w 491"/>
                <a:gd name="T33" fmla="*/ 209 h 238"/>
                <a:gd name="T34" fmla="*/ 384 w 491"/>
                <a:gd name="T35" fmla="*/ 152 h 238"/>
                <a:gd name="T36" fmla="*/ 393 w 491"/>
                <a:gd name="T37" fmla="*/ 142 h 238"/>
                <a:gd name="T38" fmla="*/ 400 w 491"/>
                <a:gd name="T39" fmla="*/ 146 h 238"/>
                <a:gd name="T40" fmla="*/ 415 w 491"/>
                <a:gd name="T41" fmla="*/ 164 h 238"/>
                <a:gd name="T42" fmla="*/ 438 w 491"/>
                <a:gd name="T43" fmla="*/ 154 h 238"/>
                <a:gd name="T44" fmla="*/ 473 w 491"/>
                <a:gd name="T45" fmla="*/ 135 h 238"/>
                <a:gd name="T46" fmla="*/ 489 w 491"/>
                <a:gd name="T47" fmla="*/ 132 h 238"/>
                <a:gd name="T48" fmla="*/ 491 w 491"/>
                <a:gd name="T49" fmla="*/ 109 h 238"/>
                <a:gd name="T50" fmla="*/ 468 w 491"/>
                <a:gd name="T51" fmla="*/ 100 h 238"/>
                <a:gd name="T52" fmla="*/ 455 w 491"/>
                <a:gd name="T53" fmla="*/ 104 h 238"/>
                <a:gd name="T54" fmla="*/ 444 w 491"/>
                <a:gd name="T55" fmla="*/ 109 h 238"/>
                <a:gd name="T56" fmla="*/ 434 w 491"/>
                <a:gd name="T57" fmla="*/ 85 h 238"/>
                <a:gd name="T58" fmla="*/ 442 w 491"/>
                <a:gd name="T59" fmla="*/ 55 h 238"/>
                <a:gd name="T60" fmla="*/ 423 w 491"/>
                <a:gd name="T61" fmla="*/ 52 h 238"/>
                <a:gd name="T62" fmla="*/ 407 w 491"/>
                <a:gd name="T63" fmla="*/ 45 h 238"/>
                <a:gd name="T64" fmla="*/ 380 w 491"/>
                <a:gd name="T65" fmla="*/ 58 h 238"/>
                <a:gd name="T66" fmla="*/ 351 w 491"/>
                <a:gd name="T67" fmla="*/ 70 h 238"/>
                <a:gd name="T68" fmla="*/ 323 w 491"/>
                <a:gd name="T69" fmla="*/ 65 h 238"/>
                <a:gd name="T70" fmla="*/ 297 w 491"/>
                <a:gd name="T71" fmla="*/ 54 h 238"/>
                <a:gd name="T72" fmla="*/ 280 w 491"/>
                <a:gd name="T73" fmla="*/ 42 h 238"/>
                <a:gd name="T74" fmla="*/ 266 w 491"/>
                <a:gd name="T75" fmla="*/ 41 h 238"/>
                <a:gd name="T76" fmla="*/ 234 w 491"/>
                <a:gd name="T77" fmla="*/ 45 h 238"/>
                <a:gd name="T78" fmla="*/ 212 w 491"/>
                <a:gd name="T79" fmla="*/ 30 h 238"/>
                <a:gd name="T80" fmla="*/ 206 w 491"/>
                <a:gd name="T81" fmla="*/ 17 h 238"/>
                <a:gd name="T82" fmla="*/ 170 w 491"/>
                <a:gd name="T83" fmla="*/ 3 h 238"/>
                <a:gd name="T84" fmla="*/ 163 w 491"/>
                <a:gd name="T85" fmla="*/ 3 h 238"/>
                <a:gd name="T86" fmla="*/ 160 w 491"/>
                <a:gd name="T87" fmla="*/ 10 h 238"/>
                <a:gd name="T88" fmla="*/ 148 w 491"/>
                <a:gd name="T89" fmla="*/ 33 h 238"/>
                <a:gd name="T90" fmla="*/ 147 w 491"/>
                <a:gd name="T91" fmla="*/ 43 h 238"/>
                <a:gd name="T92" fmla="*/ 129 w 491"/>
                <a:gd name="T93" fmla="*/ 54 h 238"/>
                <a:gd name="T94" fmla="*/ 103 w 491"/>
                <a:gd name="T95" fmla="*/ 36 h 238"/>
                <a:gd name="T96" fmla="*/ 92 w 491"/>
                <a:gd name="T97" fmla="*/ 32 h 238"/>
                <a:gd name="T98" fmla="*/ 73 w 491"/>
                <a:gd name="T99" fmla="*/ 26 h 238"/>
                <a:gd name="T100" fmla="*/ 38 w 491"/>
                <a:gd name="T101" fmla="*/ 33 h 238"/>
                <a:gd name="T102" fmla="*/ 11 w 491"/>
                <a:gd name="T103" fmla="*/ 38 h 238"/>
                <a:gd name="T104" fmla="*/ 9 w 491"/>
                <a:gd name="T105" fmla="*/ 57 h 238"/>
                <a:gd name="T106" fmla="*/ 0 w 491"/>
                <a:gd name="T107" fmla="*/ 64 h 238"/>
                <a:gd name="T108" fmla="*/ 5 w 491"/>
                <a:gd name="T109" fmla="*/ 7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91" h="238">
                  <a:moveTo>
                    <a:pt x="21" y="84"/>
                  </a:moveTo>
                  <a:lnTo>
                    <a:pt x="21" y="84"/>
                  </a:lnTo>
                  <a:lnTo>
                    <a:pt x="22" y="87"/>
                  </a:lnTo>
                  <a:lnTo>
                    <a:pt x="22" y="90"/>
                  </a:lnTo>
                  <a:lnTo>
                    <a:pt x="16" y="99"/>
                  </a:lnTo>
                  <a:lnTo>
                    <a:pt x="16" y="99"/>
                  </a:lnTo>
                  <a:lnTo>
                    <a:pt x="16" y="101"/>
                  </a:lnTo>
                  <a:lnTo>
                    <a:pt x="18" y="106"/>
                  </a:lnTo>
                  <a:lnTo>
                    <a:pt x="22" y="109"/>
                  </a:lnTo>
                  <a:lnTo>
                    <a:pt x="28" y="113"/>
                  </a:lnTo>
                  <a:lnTo>
                    <a:pt x="41" y="120"/>
                  </a:lnTo>
                  <a:lnTo>
                    <a:pt x="50" y="126"/>
                  </a:lnTo>
                  <a:lnTo>
                    <a:pt x="50" y="126"/>
                  </a:lnTo>
                  <a:lnTo>
                    <a:pt x="53" y="130"/>
                  </a:lnTo>
                  <a:lnTo>
                    <a:pt x="54" y="135"/>
                  </a:lnTo>
                  <a:lnTo>
                    <a:pt x="55" y="149"/>
                  </a:lnTo>
                  <a:lnTo>
                    <a:pt x="57" y="169"/>
                  </a:lnTo>
                  <a:lnTo>
                    <a:pt x="57" y="169"/>
                  </a:lnTo>
                  <a:lnTo>
                    <a:pt x="58" y="172"/>
                  </a:lnTo>
                  <a:lnTo>
                    <a:pt x="60" y="172"/>
                  </a:lnTo>
                  <a:lnTo>
                    <a:pt x="69" y="175"/>
                  </a:lnTo>
                  <a:lnTo>
                    <a:pt x="79" y="177"/>
                  </a:lnTo>
                  <a:lnTo>
                    <a:pt x="84" y="178"/>
                  </a:lnTo>
                  <a:lnTo>
                    <a:pt x="84" y="178"/>
                  </a:lnTo>
                  <a:lnTo>
                    <a:pt x="92" y="183"/>
                  </a:lnTo>
                  <a:lnTo>
                    <a:pt x="97" y="187"/>
                  </a:lnTo>
                  <a:lnTo>
                    <a:pt x="97" y="187"/>
                  </a:lnTo>
                  <a:lnTo>
                    <a:pt x="97" y="188"/>
                  </a:lnTo>
                  <a:lnTo>
                    <a:pt x="95" y="191"/>
                  </a:lnTo>
                  <a:lnTo>
                    <a:pt x="90" y="198"/>
                  </a:lnTo>
                  <a:lnTo>
                    <a:pt x="90" y="198"/>
                  </a:lnTo>
                  <a:lnTo>
                    <a:pt x="90" y="200"/>
                  </a:lnTo>
                  <a:lnTo>
                    <a:pt x="90" y="203"/>
                  </a:lnTo>
                  <a:lnTo>
                    <a:pt x="95" y="209"/>
                  </a:lnTo>
                  <a:lnTo>
                    <a:pt x="105" y="219"/>
                  </a:lnTo>
                  <a:lnTo>
                    <a:pt x="105" y="219"/>
                  </a:lnTo>
                  <a:lnTo>
                    <a:pt x="108" y="220"/>
                  </a:lnTo>
                  <a:lnTo>
                    <a:pt x="113" y="220"/>
                  </a:lnTo>
                  <a:lnTo>
                    <a:pt x="126" y="220"/>
                  </a:lnTo>
                  <a:lnTo>
                    <a:pt x="141" y="217"/>
                  </a:lnTo>
                  <a:lnTo>
                    <a:pt x="150" y="216"/>
                  </a:lnTo>
                  <a:lnTo>
                    <a:pt x="150" y="216"/>
                  </a:lnTo>
                  <a:lnTo>
                    <a:pt x="155" y="214"/>
                  </a:lnTo>
                  <a:lnTo>
                    <a:pt x="163" y="214"/>
                  </a:lnTo>
                  <a:lnTo>
                    <a:pt x="168" y="216"/>
                  </a:lnTo>
                  <a:lnTo>
                    <a:pt x="174" y="217"/>
                  </a:lnTo>
                  <a:lnTo>
                    <a:pt x="174" y="217"/>
                  </a:lnTo>
                  <a:lnTo>
                    <a:pt x="182" y="222"/>
                  </a:lnTo>
                  <a:lnTo>
                    <a:pt x="196" y="222"/>
                  </a:lnTo>
                  <a:lnTo>
                    <a:pt x="196" y="222"/>
                  </a:lnTo>
                  <a:lnTo>
                    <a:pt x="202" y="223"/>
                  </a:lnTo>
                  <a:lnTo>
                    <a:pt x="205" y="225"/>
                  </a:lnTo>
                  <a:lnTo>
                    <a:pt x="212" y="229"/>
                  </a:lnTo>
                  <a:lnTo>
                    <a:pt x="218" y="233"/>
                  </a:lnTo>
                  <a:lnTo>
                    <a:pt x="222" y="236"/>
                  </a:lnTo>
                  <a:lnTo>
                    <a:pt x="225" y="238"/>
                  </a:lnTo>
                  <a:lnTo>
                    <a:pt x="225" y="238"/>
                  </a:lnTo>
                  <a:lnTo>
                    <a:pt x="232" y="238"/>
                  </a:lnTo>
                  <a:lnTo>
                    <a:pt x="241" y="236"/>
                  </a:lnTo>
                  <a:lnTo>
                    <a:pt x="263" y="232"/>
                  </a:lnTo>
                  <a:lnTo>
                    <a:pt x="286" y="225"/>
                  </a:lnTo>
                  <a:lnTo>
                    <a:pt x="300" y="219"/>
                  </a:lnTo>
                  <a:lnTo>
                    <a:pt x="300" y="219"/>
                  </a:lnTo>
                  <a:lnTo>
                    <a:pt x="308" y="216"/>
                  </a:lnTo>
                  <a:lnTo>
                    <a:pt x="313" y="214"/>
                  </a:lnTo>
                  <a:lnTo>
                    <a:pt x="331" y="211"/>
                  </a:lnTo>
                  <a:lnTo>
                    <a:pt x="331" y="211"/>
                  </a:lnTo>
                  <a:lnTo>
                    <a:pt x="336" y="209"/>
                  </a:lnTo>
                  <a:lnTo>
                    <a:pt x="344" y="203"/>
                  </a:lnTo>
                  <a:lnTo>
                    <a:pt x="361" y="184"/>
                  </a:lnTo>
                  <a:lnTo>
                    <a:pt x="376" y="165"/>
                  </a:lnTo>
                  <a:lnTo>
                    <a:pt x="384" y="152"/>
                  </a:lnTo>
                  <a:lnTo>
                    <a:pt x="384" y="152"/>
                  </a:lnTo>
                  <a:lnTo>
                    <a:pt x="387" y="148"/>
                  </a:lnTo>
                  <a:lnTo>
                    <a:pt x="390" y="145"/>
                  </a:lnTo>
                  <a:lnTo>
                    <a:pt x="393" y="142"/>
                  </a:lnTo>
                  <a:lnTo>
                    <a:pt x="397" y="143"/>
                  </a:lnTo>
                  <a:lnTo>
                    <a:pt x="397" y="143"/>
                  </a:lnTo>
                  <a:lnTo>
                    <a:pt x="399" y="143"/>
                  </a:lnTo>
                  <a:lnTo>
                    <a:pt x="400" y="146"/>
                  </a:lnTo>
                  <a:lnTo>
                    <a:pt x="405" y="154"/>
                  </a:lnTo>
                  <a:lnTo>
                    <a:pt x="409" y="159"/>
                  </a:lnTo>
                  <a:lnTo>
                    <a:pt x="410" y="162"/>
                  </a:lnTo>
                  <a:lnTo>
                    <a:pt x="415" y="164"/>
                  </a:lnTo>
                  <a:lnTo>
                    <a:pt x="415" y="164"/>
                  </a:lnTo>
                  <a:lnTo>
                    <a:pt x="418" y="164"/>
                  </a:lnTo>
                  <a:lnTo>
                    <a:pt x="423" y="162"/>
                  </a:lnTo>
                  <a:lnTo>
                    <a:pt x="438" y="154"/>
                  </a:lnTo>
                  <a:lnTo>
                    <a:pt x="460" y="138"/>
                  </a:lnTo>
                  <a:lnTo>
                    <a:pt x="460" y="138"/>
                  </a:lnTo>
                  <a:lnTo>
                    <a:pt x="465" y="136"/>
                  </a:lnTo>
                  <a:lnTo>
                    <a:pt x="473" y="135"/>
                  </a:lnTo>
                  <a:lnTo>
                    <a:pt x="480" y="135"/>
                  </a:lnTo>
                  <a:lnTo>
                    <a:pt x="486" y="133"/>
                  </a:lnTo>
                  <a:lnTo>
                    <a:pt x="486" y="133"/>
                  </a:lnTo>
                  <a:lnTo>
                    <a:pt x="489" y="132"/>
                  </a:lnTo>
                  <a:lnTo>
                    <a:pt x="490" y="129"/>
                  </a:lnTo>
                  <a:lnTo>
                    <a:pt x="491" y="122"/>
                  </a:lnTo>
                  <a:lnTo>
                    <a:pt x="491" y="114"/>
                  </a:lnTo>
                  <a:lnTo>
                    <a:pt x="491" y="109"/>
                  </a:lnTo>
                  <a:lnTo>
                    <a:pt x="491" y="109"/>
                  </a:lnTo>
                  <a:lnTo>
                    <a:pt x="489" y="107"/>
                  </a:lnTo>
                  <a:lnTo>
                    <a:pt x="481" y="104"/>
                  </a:lnTo>
                  <a:lnTo>
                    <a:pt x="468" y="100"/>
                  </a:lnTo>
                  <a:lnTo>
                    <a:pt x="468" y="100"/>
                  </a:lnTo>
                  <a:lnTo>
                    <a:pt x="464" y="100"/>
                  </a:lnTo>
                  <a:lnTo>
                    <a:pt x="461" y="101"/>
                  </a:lnTo>
                  <a:lnTo>
                    <a:pt x="455" y="104"/>
                  </a:lnTo>
                  <a:lnTo>
                    <a:pt x="449" y="107"/>
                  </a:lnTo>
                  <a:lnTo>
                    <a:pt x="445" y="109"/>
                  </a:lnTo>
                  <a:lnTo>
                    <a:pt x="445" y="109"/>
                  </a:lnTo>
                  <a:lnTo>
                    <a:pt x="444" y="109"/>
                  </a:lnTo>
                  <a:lnTo>
                    <a:pt x="442" y="107"/>
                  </a:lnTo>
                  <a:lnTo>
                    <a:pt x="439" y="101"/>
                  </a:lnTo>
                  <a:lnTo>
                    <a:pt x="436" y="94"/>
                  </a:lnTo>
                  <a:lnTo>
                    <a:pt x="434" y="85"/>
                  </a:lnTo>
                  <a:lnTo>
                    <a:pt x="434" y="85"/>
                  </a:lnTo>
                  <a:lnTo>
                    <a:pt x="434" y="80"/>
                  </a:lnTo>
                  <a:lnTo>
                    <a:pt x="435" y="71"/>
                  </a:lnTo>
                  <a:lnTo>
                    <a:pt x="442" y="55"/>
                  </a:lnTo>
                  <a:lnTo>
                    <a:pt x="442" y="55"/>
                  </a:lnTo>
                  <a:lnTo>
                    <a:pt x="435" y="55"/>
                  </a:lnTo>
                  <a:lnTo>
                    <a:pt x="435" y="55"/>
                  </a:lnTo>
                  <a:lnTo>
                    <a:pt x="423" y="52"/>
                  </a:lnTo>
                  <a:lnTo>
                    <a:pt x="418" y="51"/>
                  </a:lnTo>
                  <a:lnTo>
                    <a:pt x="413" y="48"/>
                  </a:lnTo>
                  <a:lnTo>
                    <a:pt x="413" y="48"/>
                  </a:lnTo>
                  <a:lnTo>
                    <a:pt x="407" y="45"/>
                  </a:lnTo>
                  <a:lnTo>
                    <a:pt x="405" y="46"/>
                  </a:lnTo>
                  <a:lnTo>
                    <a:pt x="400" y="48"/>
                  </a:lnTo>
                  <a:lnTo>
                    <a:pt x="400" y="48"/>
                  </a:lnTo>
                  <a:lnTo>
                    <a:pt x="380" y="58"/>
                  </a:lnTo>
                  <a:lnTo>
                    <a:pt x="363" y="65"/>
                  </a:lnTo>
                  <a:lnTo>
                    <a:pt x="363" y="65"/>
                  </a:lnTo>
                  <a:lnTo>
                    <a:pt x="355" y="68"/>
                  </a:lnTo>
                  <a:lnTo>
                    <a:pt x="351" y="70"/>
                  </a:lnTo>
                  <a:lnTo>
                    <a:pt x="348" y="71"/>
                  </a:lnTo>
                  <a:lnTo>
                    <a:pt x="348" y="71"/>
                  </a:lnTo>
                  <a:lnTo>
                    <a:pt x="336" y="68"/>
                  </a:lnTo>
                  <a:lnTo>
                    <a:pt x="323" y="65"/>
                  </a:lnTo>
                  <a:lnTo>
                    <a:pt x="323" y="65"/>
                  </a:lnTo>
                  <a:lnTo>
                    <a:pt x="310" y="59"/>
                  </a:lnTo>
                  <a:lnTo>
                    <a:pt x="297" y="54"/>
                  </a:lnTo>
                  <a:lnTo>
                    <a:pt x="297" y="54"/>
                  </a:lnTo>
                  <a:lnTo>
                    <a:pt x="289" y="51"/>
                  </a:lnTo>
                  <a:lnTo>
                    <a:pt x="283" y="45"/>
                  </a:lnTo>
                  <a:lnTo>
                    <a:pt x="283" y="45"/>
                  </a:lnTo>
                  <a:lnTo>
                    <a:pt x="280" y="42"/>
                  </a:lnTo>
                  <a:lnTo>
                    <a:pt x="276" y="41"/>
                  </a:lnTo>
                  <a:lnTo>
                    <a:pt x="270" y="41"/>
                  </a:lnTo>
                  <a:lnTo>
                    <a:pt x="266" y="41"/>
                  </a:lnTo>
                  <a:lnTo>
                    <a:pt x="266" y="41"/>
                  </a:lnTo>
                  <a:lnTo>
                    <a:pt x="260" y="43"/>
                  </a:lnTo>
                  <a:lnTo>
                    <a:pt x="251" y="45"/>
                  </a:lnTo>
                  <a:lnTo>
                    <a:pt x="242" y="45"/>
                  </a:lnTo>
                  <a:lnTo>
                    <a:pt x="234" y="45"/>
                  </a:lnTo>
                  <a:lnTo>
                    <a:pt x="234" y="45"/>
                  </a:lnTo>
                  <a:lnTo>
                    <a:pt x="225" y="42"/>
                  </a:lnTo>
                  <a:lnTo>
                    <a:pt x="218" y="38"/>
                  </a:lnTo>
                  <a:lnTo>
                    <a:pt x="212" y="30"/>
                  </a:lnTo>
                  <a:lnTo>
                    <a:pt x="210" y="23"/>
                  </a:lnTo>
                  <a:lnTo>
                    <a:pt x="210" y="23"/>
                  </a:lnTo>
                  <a:lnTo>
                    <a:pt x="209" y="20"/>
                  </a:lnTo>
                  <a:lnTo>
                    <a:pt x="206" y="17"/>
                  </a:lnTo>
                  <a:lnTo>
                    <a:pt x="200" y="15"/>
                  </a:lnTo>
                  <a:lnTo>
                    <a:pt x="190" y="12"/>
                  </a:lnTo>
                  <a:lnTo>
                    <a:pt x="190" y="12"/>
                  </a:lnTo>
                  <a:lnTo>
                    <a:pt x="170" y="3"/>
                  </a:lnTo>
                  <a:lnTo>
                    <a:pt x="170" y="3"/>
                  </a:lnTo>
                  <a:lnTo>
                    <a:pt x="164" y="0"/>
                  </a:lnTo>
                  <a:lnTo>
                    <a:pt x="163" y="0"/>
                  </a:lnTo>
                  <a:lnTo>
                    <a:pt x="163" y="3"/>
                  </a:lnTo>
                  <a:lnTo>
                    <a:pt x="163" y="3"/>
                  </a:lnTo>
                  <a:lnTo>
                    <a:pt x="163" y="6"/>
                  </a:lnTo>
                  <a:lnTo>
                    <a:pt x="160" y="10"/>
                  </a:lnTo>
                  <a:lnTo>
                    <a:pt x="160" y="10"/>
                  </a:lnTo>
                  <a:lnTo>
                    <a:pt x="151" y="23"/>
                  </a:lnTo>
                  <a:lnTo>
                    <a:pt x="148" y="29"/>
                  </a:lnTo>
                  <a:lnTo>
                    <a:pt x="148" y="33"/>
                  </a:lnTo>
                  <a:lnTo>
                    <a:pt x="148" y="33"/>
                  </a:lnTo>
                  <a:lnTo>
                    <a:pt x="150" y="35"/>
                  </a:lnTo>
                  <a:lnTo>
                    <a:pt x="150" y="39"/>
                  </a:lnTo>
                  <a:lnTo>
                    <a:pt x="150" y="39"/>
                  </a:lnTo>
                  <a:lnTo>
                    <a:pt x="147" y="43"/>
                  </a:lnTo>
                  <a:lnTo>
                    <a:pt x="142" y="49"/>
                  </a:lnTo>
                  <a:lnTo>
                    <a:pt x="137" y="54"/>
                  </a:lnTo>
                  <a:lnTo>
                    <a:pt x="132" y="54"/>
                  </a:lnTo>
                  <a:lnTo>
                    <a:pt x="129" y="54"/>
                  </a:lnTo>
                  <a:lnTo>
                    <a:pt x="129" y="54"/>
                  </a:lnTo>
                  <a:lnTo>
                    <a:pt x="122" y="51"/>
                  </a:lnTo>
                  <a:lnTo>
                    <a:pt x="115" y="45"/>
                  </a:lnTo>
                  <a:lnTo>
                    <a:pt x="103" y="36"/>
                  </a:lnTo>
                  <a:lnTo>
                    <a:pt x="103" y="36"/>
                  </a:lnTo>
                  <a:lnTo>
                    <a:pt x="99" y="35"/>
                  </a:lnTo>
                  <a:lnTo>
                    <a:pt x="95" y="33"/>
                  </a:lnTo>
                  <a:lnTo>
                    <a:pt x="92" y="32"/>
                  </a:lnTo>
                  <a:lnTo>
                    <a:pt x="86" y="30"/>
                  </a:lnTo>
                  <a:lnTo>
                    <a:pt x="86" y="30"/>
                  </a:lnTo>
                  <a:lnTo>
                    <a:pt x="77" y="26"/>
                  </a:lnTo>
                  <a:lnTo>
                    <a:pt x="73" y="26"/>
                  </a:lnTo>
                  <a:lnTo>
                    <a:pt x="69" y="26"/>
                  </a:lnTo>
                  <a:lnTo>
                    <a:pt x="69" y="26"/>
                  </a:lnTo>
                  <a:lnTo>
                    <a:pt x="54" y="30"/>
                  </a:lnTo>
                  <a:lnTo>
                    <a:pt x="38" y="33"/>
                  </a:lnTo>
                  <a:lnTo>
                    <a:pt x="38" y="33"/>
                  </a:lnTo>
                  <a:lnTo>
                    <a:pt x="22" y="35"/>
                  </a:lnTo>
                  <a:lnTo>
                    <a:pt x="15" y="36"/>
                  </a:lnTo>
                  <a:lnTo>
                    <a:pt x="11" y="38"/>
                  </a:lnTo>
                  <a:lnTo>
                    <a:pt x="11" y="38"/>
                  </a:lnTo>
                  <a:lnTo>
                    <a:pt x="9" y="42"/>
                  </a:lnTo>
                  <a:lnTo>
                    <a:pt x="11" y="49"/>
                  </a:lnTo>
                  <a:lnTo>
                    <a:pt x="9" y="57"/>
                  </a:lnTo>
                  <a:lnTo>
                    <a:pt x="9" y="59"/>
                  </a:lnTo>
                  <a:lnTo>
                    <a:pt x="8" y="61"/>
                  </a:lnTo>
                  <a:lnTo>
                    <a:pt x="8" y="61"/>
                  </a:lnTo>
                  <a:lnTo>
                    <a:pt x="0" y="64"/>
                  </a:lnTo>
                  <a:lnTo>
                    <a:pt x="0" y="64"/>
                  </a:lnTo>
                  <a:lnTo>
                    <a:pt x="2" y="71"/>
                  </a:lnTo>
                  <a:lnTo>
                    <a:pt x="2" y="71"/>
                  </a:lnTo>
                  <a:lnTo>
                    <a:pt x="5" y="74"/>
                  </a:lnTo>
                  <a:lnTo>
                    <a:pt x="11" y="78"/>
                  </a:lnTo>
                  <a:lnTo>
                    <a:pt x="16" y="81"/>
                  </a:lnTo>
                  <a:lnTo>
                    <a:pt x="21" y="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15" name="Freeform 1175"/>
            <p:cNvSpPr>
              <a:spLocks/>
            </p:cNvSpPr>
            <p:nvPr/>
          </p:nvSpPr>
          <p:spPr bwMode="auto">
            <a:xfrm>
              <a:off x="6662738" y="3275442"/>
              <a:ext cx="25400" cy="25400"/>
            </a:xfrm>
            <a:custGeom>
              <a:avLst/>
              <a:gdLst>
                <a:gd name="T0" fmla="*/ 7 w 16"/>
                <a:gd name="T1" fmla="*/ 0 h 16"/>
                <a:gd name="T2" fmla="*/ 7 w 16"/>
                <a:gd name="T3" fmla="*/ 0 h 16"/>
                <a:gd name="T4" fmla="*/ 13 w 16"/>
                <a:gd name="T5" fmla="*/ 3 h 16"/>
                <a:gd name="T6" fmla="*/ 16 w 16"/>
                <a:gd name="T7" fmla="*/ 4 h 16"/>
                <a:gd name="T8" fmla="*/ 16 w 16"/>
                <a:gd name="T9" fmla="*/ 7 h 16"/>
                <a:gd name="T10" fmla="*/ 16 w 16"/>
                <a:gd name="T11" fmla="*/ 7 h 16"/>
                <a:gd name="T12" fmla="*/ 16 w 16"/>
                <a:gd name="T13" fmla="*/ 10 h 16"/>
                <a:gd name="T14" fmla="*/ 13 w 16"/>
                <a:gd name="T15" fmla="*/ 13 h 16"/>
                <a:gd name="T16" fmla="*/ 10 w 16"/>
                <a:gd name="T17" fmla="*/ 16 h 16"/>
                <a:gd name="T18" fmla="*/ 7 w 16"/>
                <a:gd name="T19" fmla="*/ 16 h 16"/>
                <a:gd name="T20" fmla="*/ 7 w 16"/>
                <a:gd name="T21" fmla="*/ 16 h 16"/>
                <a:gd name="T22" fmla="*/ 2 w 16"/>
                <a:gd name="T23" fmla="*/ 11 h 16"/>
                <a:gd name="T24" fmla="*/ 0 w 16"/>
                <a:gd name="T25" fmla="*/ 10 h 16"/>
                <a:gd name="T26" fmla="*/ 0 w 16"/>
                <a:gd name="T27" fmla="*/ 7 h 16"/>
                <a:gd name="T28" fmla="*/ 0 w 16"/>
                <a:gd name="T29" fmla="*/ 7 h 16"/>
                <a:gd name="T30" fmla="*/ 2 w 16"/>
                <a:gd name="T31" fmla="*/ 4 h 16"/>
                <a:gd name="T32" fmla="*/ 3 w 16"/>
                <a:gd name="T33" fmla="*/ 3 h 16"/>
                <a:gd name="T34" fmla="*/ 6 w 16"/>
                <a:gd name="T35" fmla="*/ 0 h 16"/>
                <a:gd name="T36" fmla="*/ 7 w 16"/>
                <a:gd name="T3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16">
                  <a:moveTo>
                    <a:pt x="7" y="0"/>
                  </a:moveTo>
                  <a:lnTo>
                    <a:pt x="7" y="0"/>
                  </a:lnTo>
                  <a:lnTo>
                    <a:pt x="13" y="3"/>
                  </a:lnTo>
                  <a:lnTo>
                    <a:pt x="16" y="4"/>
                  </a:lnTo>
                  <a:lnTo>
                    <a:pt x="16" y="7"/>
                  </a:lnTo>
                  <a:lnTo>
                    <a:pt x="16" y="7"/>
                  </a:lnTo>
                  <a:lnTo>
                    <a:pt x="16" y="10"/>
                  </a:lnTo>
                  <a:lnTo>
                    <a:pt x="13" y="13"/>
                  </a:lnTo>
                  <a:lnTo>
                    <a:pt x="10" y="16"/>
                  </a:lnTo>
                  <a:lnTo>
                    <a:pt x="7" y="16"/>
                  </a:lnTo>
                  <a:lnTo>
                    <a:pt x="7" y="16"/>
                  </a:lnTo>
                  <a:lnTo>
                    <a:pt x="2" y="11"/>
                  </a:lnTo>
                  <a:lnTo>
                    <a:pt x="0" y="10"/>
                  </a:lnTo>
                  <a:lnTo>
                    <a:pt x="0" y="7"/>
                  </a:lnTo>
                  <a:lnTo>
                    <a:pt x="0" y="7"/>
                  </a:lnTo>
                  <a:lnTo>
                    <a:pt x="2" y="4"/>
                  </a:lnTo>
                  <a:lnTo>
                    <a:pt x="3" y="3"/>
                  </a:lnTo>
                  <a:lnTo>
                    <a:pt x="6" y="0"/>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16" name="Freeform 1182"/>
            <p:cNvSpPr>
              <a:spLocks/>
            </p:cNvSpPr>
            <p:nvPr/>
          </p:nvSpPr>
          <p:spPr bwMode="auto">
            <a:xfrm>
              <a:off x="1998663" y="1903842"/>
              <a:ext cx="730250" cy="854075"/>
            </a:xfrm>
            <a:custGeom>
              <a:avLst/>
              <a:gdLst>
                <a:gd name="T0" fmla="*/ 447 w 460"/>
                <a:gd name="T1" fmla="*/ 339 h 538"/>
                <a:gd name="T2" fmla="*/ 425 w 460"/>
                <a:gd name="T3" fmla="*/ 342 h 538"/>
                <a:gd name="T4" fmla="*/ 409 w 460"/>
                <a:gd name="T5" fmla="*/ 335 h 538"/>
                <a:gd name="T6" fmla="*/ 401 w 460"/>
                <a:gd name="T7" fmla="*/ 310 h 538"/>
                <a:gd name="T8" fmla="*/ 385 w 460"/>
                <a:gd name="T9" fmla="*/ 299 h 538"/>
                <a:gd name="T10" fmla="*/ 360 w 460"/>
                <a:gd name="T11" fmla="*/ 280 h 538"/>
                <a:gd name="T12" fmla="*/ 349 w 460"/>
                <a:gd name="T13" fmla="*/ 264 h 538"/>
                <a:gd name="T14" fmla="*/ 343 w 460"/>
                <a:gd name="T15" fmla="*/ 250 h 538"/>
                <a:gd name="T16" fmla="*/ 347 w 460"/>
                <a:gd name="T17" fmla="*/ 234 h 538"/>
                <a:gd name="T18" fmla="*/ 343 w 460"/>
                <a:gd name="T19" fmla="*/ 199 h 538"/>
                <a:gd name="T20" fmla="*/ 337 w 460"/>
                <a:gd name="T21" fmla="*/ 170 h 538"/>
                <a:gd name="T22" fmla="*/ 304 w 460"/>
                <a:gd name="T23" fmla="*/ 145 h 538"/>
                <a:gd name="T24" fmla="*/ 259 w 460"/>
                <a:gd name="T25" fmla="*/ 125 h 538"/>
                <a:gd name="T26" fmla="*/ 239 w 460"/>
                <a:gd name="T27" fmla="*/ 99 h 538"/>
                <a:gd name="T28" fmla="*/ 181 w 460"/>
                <a:gd name="T29" fmla="*/ 87 h 538"/>
                <a:gd name="T30" fmla="*/ 166 w 460"/>
                <a:gd name="T31" fmla="*/ 106 h 538"/>
                <a:gd name="T32" fmla="*/ 142 w 460"/>
                <a:gd name="T33" fmla="*/ 87 h 538"/>
                <a:gd name="T34" fmla="*/ 139 w 460"/>
                <a:gd name="T35" fmla="*/ 73 h 538"/>
                <a:gd name="T36" fmla="*/ 140 w 460"/>
                <a:gd name="T37" fmla="*/ 28 h 538"/>
                <a:gd name="T38" fmla="*/ 120 w 460"/>
                <a:gd name="T39" fmla="*/ 21 h 538"/>
                <a:gd name="T40" fmla="*/ 115 w 460"/>
                <a:gd name="T41" fmla="*/ 32 h 538"/>
                <a:gd name="T42" fmla="*/ 89 w 460"/>
                <a:gd name="T43" fmla="*/ 44 h 538"/>
                <a:gd name="T44" fmla="*/ 95 w 460"/>
                <a:gd name="T45" fmla="*/ 90 h 538"/>
                <a:gd name="T46" fmla="*/ 104 w 460"/>
                <a:gd name="T47" fmla="*/ 119 h 538"/>
                <a:gd name="T48" fmla="*/ 114 w 460"/>
                <a:gd name="T49" fmla="*/ 148 h 538"/>
                <a:gd name="T50" fmla="*/ 89 w 460"/>
                <a:gd name="T51" fmla="*/ 154 h 538"/>
                <a:gd name="T52" fmla="*/ 76 w 460"/>
                <a:gd name="T53" fmla="*/ 115 h 538"/>
                <a:gd name="T54" fmla="*/ 78 w 460"/>
                <a:gd name="T55" fmla="*/ 31 h 538"/>
                <a:gd name="T56" fmla="*/ 33 w 460"/>
                <a:gd name="T57" fmla="*/ 15 h 538"/>
                <a:gd name="T58" fmla="*/ 1 w 460"/>
                <a:gd name="T59" fmla="*/ 95 h 538"/>
                <a:gd name="T60" fmla="*/ 23 w 460"/>
                <a:gd name="T61" fmla="*/ 145 h 538"/>
                <a:gd name="T62" fmla="*/ 37 w 460"/>
                <a:gd name="T63" fmla="*/ 171 h 538"/>
                <a:gd name="T64" fmla="*/ 47 w 460"/>
                <a:gd name="T65" fmla="*/ 183 h 538"/>
                <a:gd name="T66" fmla="*/ 89 w 460"/>
                <a:gd name="T67" fmla="*/ 202 h 538"/>
                <a:gd name="T68" fmla="*/ 139 w 460"/>
                <a:gd name="T69" fmla="*/ 212 h 538"/>
                <a:gd name="T70" fmla="*/ 204 w 460"/>
                <a:gd name="T71" fmla="*/ 215 h 538"/>
                <a:gd name="T72" fmla="*/ 223 w 460"/>
                <a:gd name="T73" fmla="*/ 236 h 538"/>
                <a:gd name="T74" fmla="*/ 256 w 460"/>
                <a:gd name="T75" fmla="*/ 273 h 538"/>
                <a:gd name="T76" fmla="*/ 270 w 460"/>
                <a:gd name="T77" fmla="*/ 326 h 538"/>
                <a:gd name="T78" fmla="*/ 250 w 460"/>
                <a:gd name="T79" fmla="*/ 365 h 538"/>
                <a:gd name="T80" fmla="*/ 223 w 460"/>
                <a:gd name="T81" fmla="*/ 391 h 538"/>
                <a:gd name="T82" fmla="*/ 198 w 460"/>
                <a:gd name="T83" fmla="*/ 418 h 538"/>
                <a:gd name="T84" fmla="*/ 228 w 460"/>
                <a:gd name="T85" fmla="*/ 447 h 538"/>
                <a:gd name="T86" fmla="*/ 276 w 460"/>
                <a:gd name="T87" fmla="*/ 455 h 538"/>
                <a:gd name="T88" fmla="*/ 294 w 460"/>
                <a:gd name="T89" fmla="*/ 478 h 538"/>
                <a:gd name="T90" fmla="*/ 320 w 460"/>
                <a:gd name="T91" fmla="*/ 507 h 538"/>
                <a:gd name="T92" fmla="*/ 367 w 460"/>
                <a:gd name="T93" fmla="*/ 528 h 538"/>
                <a:gd name="T94" fmla="*/ 379 w 460"/>
                <a:gd name="T95" fmla="*/ 506 h 538"/>
                <a:gd name="T96" fmla="*/ 352 w 460"/>
                <a:gd name="T97" fmla="*/ 483 h 538"/>
                <a:gd name="T98" fmla="*/ 360 w 460"/>
                <a:gd name="T99" fmla="*/ 475 h 538"/>
                <a:gd name="T100" fmla="*/ 401 w 460"/>
                <a:gd name="T101" fmla="*/ 504 h 538"/>
                <a:gd name="T102" fmla="*/ 415 w 460"/>
                <a:gd name="T103" fmla="*/ 509 h 538"/>
                <a:gd name="T104" fmla="*/ 415 w 460"/>
                <a:gd name="T105" fmla="*/ 486 h 538"/>
                <a:gd name="T106" fmla="*/ 407 w 460"/>
                <a:gd name="T107" fmla="*/ 457 h 538"/>
                <a:gd name="T108" fmla="*/ 382 w 460"/>
                <a:gd name="T109" fmla="*/ 426 h 538"/>
                <a:gd name="T110" fmla="*/ 367 w 460"/>
                <a:gd name="T111" fmla="*/ 402 h 538"/>
                <a:gd name="T112" fmla="*/ 363 w 460"/>
                <a:gd name="T113" fmla="*/ 383 h 538"/>
                <a:gd name="T114" fmla="*/ 375 w 460"/>
                <a:gd name="T115" fmla="*/ 363 h 538"/>
                <a:gd name="T116" fmla="*/ 394 w 460"/>
                <a:gd name="T117" fmla="*/ 384 h 538"/>
                <a:gd name="T118" fmla="*/ 402 w 460"/>
                <a:gd name="T119" fmla="*/ 403 h 538"/>
                <a:gd name="T120" fmla="*/ 430 w 460"/>
                <a:gd name="T121" fmla="*/ 418 h 538"/>
                <a:gd name="T122" fmla="*/ 428 w 460"/>
                <a:gd name="T123" fmla="*/ 389 h 538"/>
                <a:gd name="T124" fmla="*/ 457 w 460"/>
                <a:gd name="T125" fmla="*/ 386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0" h="538">
                  <a:moveTo>
                    <a:pt x="451" y="360"/>
                  </a:moveTo>
                  <a:lnTo>
                    <a:pt x="451" y="360"/>
                  </a:lnTo>
                  <a:lnTo>
                    <a:pt x="456" y="360"/>
                  </a:lnTo>
                  <a:lnTo>
                    <a:pt x="457" y="357"/>
                  </a:lnTo>
                  <a:lnTo>
                    <a:pt x="460" y="352"/>
                  </a:lnTo>
                  <a:lnTo>
                    <a:pt x="460" y="352"/>
                  </a:lnTo>
                  <a:lnTo>
                    <a:pt x="460" y="351"/>
                  </a:lnTo>
                  <a:lnTo>
                    <a:pt x="460" y="349"/>
                  </a:lnTo>
                  <a:lnTo>
                    <a:pt x="456" y="349"/>
                  </a:lnTo>
                  <a:lnTo>
                    <a:pt x="456" y="349"/>
                  </a:lnTo>
                  <a:lnTo>
                    <a:pt x="454" y="348"/>
                  </a:lnTo>
                  <a:lnTo>
                    <a:pt x="451" y="344"/>
                  </a:lnTo>
                  <a:lnTo>
                    <a:pt x="450" y="341"/>
                  </a:lnTo>
                  <a:lnTo>
                    <a:pt x="449" y="338"/>
                  </a:lnTo>
                  <a:lnTo>
                    <a:pt x="449" y="338"/>
                  </a:lnTo>
                  <a:lnTo>
                    <a:pt x="447" y="339"/>
                  </a:lnTo>
                  <a:lnTo>
                    <a:pt x="446" y="341"/>
                  </a:lnTo>
                  <a:lnTo>
                    <a:pt x="446" y="347"/>
                  </a:lnTo>
                  <a:lnTo>
                    <a:pt x="446" y="347"/>
                  </a:lnTo>
                  <a:lnTo>
                    <a:pt x="444" y="347"/>
                  </a:lnTo>
                  <a:lnTo>
                    <a:pt x="441" y="347"/>
                  </a:lnTo>
                  <a:lnTo>
                    <a:pt x="434" y="345"/>
                  </a:lnTo>
                  <a:lnTo>
                    <a:pt x="434" y="345"/>
                  </a:lnTo>
                  <a:lnTo>
                    <a:pt x="433" y="344"/>
                  </a:lnTo>
                  <a:lnTo>
                    <a:pt x="434" y="339"/>
                  </a:lnTo>
                  <a:lnTo>
                    <a:pt x="436" y="334"/>
                  </a:lnTo>
                  <a:lnTo>
                    <a:pt x="436" y="334"/>
                  </a:lnTo>
                  <a:lnTo>
                    <a:pt x="434" y="334"/>
                  </a:lnTo>
                  <a:lnTo>
                    <a:pt x="431" y="335"/>
                  </a:lnTo>
                  <a:lnTo>
                    <a:pt x="427" y="341"/>
                  </a:lnTo>
                  <a:lnTo>
                    <a:pt x="427" y="341"/>
                  </a:lnTo>
                  <a:lnTo>
                    <a:pt x="425" y="342"/>
                  </a:lnTo>
                  <a:lnTo>
                    <a:pt x="424" y="339"/>
                  </a:lnTo>
                  <a:lnTo>
                    <a:pt x="424" y="338"/>
                  </a:lnTo>
                  <a:lnTo>
                    <a:pt x="423" y="336"/>
                  </a:lnTo>
                  <a:lnTo>
                    <a:pt x="423" y="336"/>
                  </a:lnTo>
                  <a:lnTo>
                    <a:pt x="420" y="336"/>
                  </a:lnTo>
                  <a:lnTo>
                    <a:pt x="417" y="339"/>
                  </a:lnTo>
                  <a:lnTo>
                    <a:pt x="408" y="347"/>
                  </a:lnTo>
                  <a:lnTo>
                    <a:pt x="408" y="347"/>
                  </a:lnTo>
                  <a:lnTo>
                    <a:pt x="407" y="347"/>
                  </a:lnTo>
                  <a:lnTo>
                    <a:pt x="405" y="347"/>
                  </a:lnTo>
                  <a:lnTo>
                    <a:pt x="407" y="344"/>
                  </a:lnTo>
                  <a:lnTo>
                    <a:pt x="408" y="341"/>
                  </a:lnTo>
                  <a:lnTo>
                    <a:pt x="409" y="339"/>
                  </a:lnTo>
                  <a:lnTo>
                    <a:pt x="409" y="339"/>
                  </a:lnTo>
                  <a:lnTo>
                    <a:pt x="411" y="338"/>
                  </a:lnTo>
                  <a:lnTo>
                    <a:pt x="409" y="335"/>
                  </a:lnTo>
                  <a:lnTo>
                    <a:pt x="408" y="331"/>
                  </a:lnTo>
                  <a:lnTo>
                    <a:pt x="408" y="331"/>
                  </a:lnTo>
                  <a:lnTo>
                    <a:pt x="408" y="329"/>
                  </a:lnTo>
                  <a:lnTo>
                    <a:pt x="411" y="329"/>
                  </a:lnTo>
                  <a:lnTo>
                    <a:pt x="415" y="329"/>
                  </a:lnTo>
                  <a:lnTo>
                    <a:pt x="415" y="329"/>
                  </a:lnTo>
                  <a:lnTo>
                    <a:pt x="415" y="326"/>
                  </a:lnTo>
                  <a:lnTo>
                    <a:pt x="415" y="322"/>
                  </a:lnTo>
                  <a:lnTo>
                    <a:pt x="412" y="315"/>
                  </a:lnTo>
                  <a:lnTo>
                    <a:pt x="409" y="310"/>
                  </a:lnTo>
                  <a:lnTo>
                    <a:pt x="409" y="310"/>
                  </a:lnTo>
                  <a:lnTo>
                    <a:pt x="408" y="309"/>
                  </a:lnTo>
                  <a:lnTo>
                    <a:pt x="407" y="309"/>
                  </a:lnTo>
                  <a:lnTo>
                    <a:pt x="404" y="310"/>
                  </a:lnTo>
                  <a:lnTo>
                    <a:pt x="402" y="310"/>
                  </a:lnTo>
                  <a:lnTo>
                    <a:pt x="401" y="310"/>
                  </a:lnTo>
                  <a:lnTo>
                    <a:pt x="399" y="310"/>
                  </a:lnTo>
                  <a:lnTo>
                    <a:pt x="399" y="310"/>
                  </a:lnTo>
                  <a:lnTo>
                    <a:pt x="398" y="306"/>
                  </a:lnTo>
                  <a:lnTo>
                    <a:pt x="399" y="303"/>
                  </a:lnTo>
                  <a:lnTo>
                    <a:pt x="401" y="299"/>
                  </a:lnTo>
                  <a:lnTo>
                    <a:pt x="401" y="297"/>
                  </a:lnTo>
                  <a:lnTo>
                    <a:pt x="401" y="297"/>
                  </a:lnTo>
                  <a:lnTo>
                    <a:pt x="401" y="297"/>
                  </a:lnTo>
                  <a:lnTo>
                    <a:pt x="398" y="297"/>
                  </a:lnTo>
                  <a:lnTo>
                    <a:pt x="394" y="302"/>
                  </a:lnTo>
                  <a:lnTo>
                    <a:pt x="394" y="302"/>
                  </a:lnTo>
                  <a:lnTo>
                    <a:pt x="391" y="303"/>
                  </a:lnTo>
                  <a:lnTo>
                    <a:pt x="389" y="302"/>
                  </a:lnTo>
                  <a:lnTo>
                    <a:pt x="388" y="300"/>
                  </a:lnTo>
                  <a:lnTo>
                    <a:pt x="385" y="299"/>
                  </a:lnTo>
                  <a:lnTo>
                    <a:pt x="385" y="299"/>
                  </a:lnTo>
                  <a:lnTo>
                    <a:pt x="382" y="299"/>
                  </a:lnTo>
                  <a:lnTo>
                    <a:pt x="379" y="296"/>
                  </a:lnTo>
                  <a:lnTo>
                    <a:pt x="378" y="293"/>
                  </a:lnTo>
                  <a:lnTo>
                    <a:pt x="375" y="292"/>
                  </a:lnTo>
                  <a:lnTo>
                    <a:pt x="375" y="292"/>
                  </a:lnTo>
                  <a:lnTo>
                    <a:pt x="373" y="290"/>
                  </a:lnTo>
                  <a:lnTo>
                    <a:pt x="372" y="289"/>
                  </a:lnTo>
                  <a:lnTo>
                    <a:pt x="376" y="287"/>
                  </a:lnTo>
                  <a:lnTo>
                    <a:pt x="376" y="287"/>
                  </a:lnTo>
                  <a:lnTo>
                    <a:pt x="376" y="286"/>
                  </a:lnTo>
                  <a:lnTo>
                    <a:pt x="376" y="286"/>
                  </a:lnTo>
                  <a:lnTo>
                    <a:pt x="375" y="283"/>
                  </a:lnTo>
                  <a:lnTo>
                    <a:pt x="370" y="281"/>
                  </a:lnTo>
                  <a:lnTo>
                    <a:pt x="367" y="280"/>
                  </a:lnTo>
                  <a:lnTo>
                    <a:pt x="367" y="280"/>
                  </a:lnTo>
                  <a:lnTo>
                    <a:pt x="360" y="280"/>
                  </a:lnTo>
                  <a:lnTo>
                    <a:pt x="353" y="277"/>
                  </a:lnTo>
                  <a:lnTo>
                    <a:pt x="353" y="277"/>
                  </a:lnTo>
                  <a:lnTo>
                    <a:pt x="347" y="274"/>
                  </a:lnTo>
                  <a:lnTo>
                    <a:pt x="344" y="274"/>
                  </a:lnTo>
                  <a:lnTo>
                    <a:pt x="344" y="273"/>
                  </a:lnTo>
                  <a:lnTo>
                    <a:pt x="344" y="273"/>
                  </a:lnTo>
                  <a:lnTo>
                    <a:pt x="346" y="271"/>
                  </a:lnTo>
                  <a:lnTo>
                    <a:pt x="349" y="271"/>
                  </a:lnTo>
                  <a:lnTo>
                    <a:pt x="357" y="273"/>
                  </a:lnTo>
                  <a:lnTo>
                    <a:pt x="357" y="273"/>
                  </a:lnTo>
                  <a:lnTo>
                    <a:pt x="359" y="273"/>
                  </a:lnTo>
                  <a:lnTo>
                    <a:pt x="359" y="271"/>
                  </a:lnTo>
                  <a:lnTo>
                    <a:pt x="356" y="268"/>
                  </a:lnTo>
                  <a:lnTo>
                    <a:pt x="350" y="264"/>
                  </a:lnTo>
                  <a:lnTo>
                    <a:pt x="350" y="264"/>
                  </a:lnTo>
                  <a:lnTo>
                    <a:pt x="349" y="264"/>
                  </a:lnTo>
                  <a:lnTo>
                    <a:pt x="349" y="263"/>
                  </a:lnTo>
                  <a:lnTo>
                    <a:pt x="353" y="261"/>
                  </a:lnTo>
                  <a:lnTo>
                    <a:pt x="353" y="261"/>
                  </a:lnTo>
                  <a:lnTo>
                    <a:pt x="354" y="261"/>
                  </a:lnTo>
                  <a:lnTo>
                    <a:pt x="354" y="260"/>
                  </a:lnTo>
                  <a:lnTo>
                    <a:pt x="353" y="258"/>
                  </a:lnTo>
                  <a:lnTo>
                    <a:pt x="352" y="257"/>
                  </a:lnTo>
                  <a:lnTo>
                    <a:pt x="352" y="257"/>
                  </a:lnTo>
                  <a:lnTo>
                    <a:pt x="353" y="255"/>
                  </a:lnTo>
                  <a:lnTo>
                    <a:pt x="353" y="255"/>
                  </a:lnTo>
                  <a:lnTo>
                    <a:pt x="353" y="255"/>
                  </a:lnTo>
                  <a:lnTo>
                    <a:pt x="353" y="254"/>
                  </a:lnTo>
                  <a:lnTo>
                    <a:pt x="352" y="252"/>
                  </a:lnTo>
                  <a:lnTo>
                    <a:pt x="343" y="250"/>
                  </a:lnTo>
                  <a:lnTo>
                    <a:pt x="343" y="250"/>
                  </a:lnTo>
                  <a:lnTo>
                    <a:pt x="343" y="250"/>
                  </a:lnTo>
                  <a:lnTo>
                    <a:pt x="344" y="250"/>
                  </a:lnTo>
                  <a:lnTo>
                    <a:pt x="349" y="248"/>
                  </a:lnTo>
                  <a:lnTo>
                    <a:pt x="360" y="248"/>
                  </a:lnTo>
                  <a:lnTo>
                    <a:pt x="360" y="248"/>
                  </a:lnTo>
                  <a:lnTo>
                    <a:pt x="363" y="248"/>
                  </a:lnTo>
                  <a:lnTo>
                    <a:pt x="366" y="247"/>
                  </a:lnTo>
                  <a:lnTo>
                    <a:pt x="369" y="245"/>
                  </a:lnTo>
                  <a:lnTo>
                    <a:pt x="370" y="242"/>
                  </a:lnTo>
                  <a:lnTo>
                    <a:pt x="370" y="242"/>
                  </a:lnTo>
                  <a:lnTo>
                    <a:pt x="369" y="241"/>
                  </a:lnTo>
                  <a:lnTo>
                    <a:pt x="367" y="239"/>
                  </a:lnTo>
                  <a:lnTo>
                    <a:pt x="362" y="238"/>
                  </a:lnTo>
                  <a:lnTo>
                    <a:pt x="349" y="235"/>
                  </a:lnTo>
                  <a:lnTo>
                    <a:pt x="349" y="235"/>
                  </a:lnTo>
                  <a:lnTo>
                    <a:pt x="347" y="235"/>
                  </a:lnTo>
                  <a:lnTo>
                    <a:pt x="347" y="234"/>
                  </a:lnTo>
                  <a:lnTo>
                    <a:pt x="349" y="231"/>
                  </a:lnTo>
                  <a:lnTo>
                    <a:pt x="356" y="225"/>
                  </a:lnTo>
                  <a:lnTo>
                    <a:pt x="356" y="225"/>
                  </a:lnTo>
                  <a:lnTo>
                    <a:pt x="360" y="221"/>
                  </a:lnTo>
                  <a:lnTo>
                    <a:pt x="365" y="219"/>
                  </a:lnTo>
                  <a:lnTo>
                    <a:pt x="365" y="219"/>
                  </a:lnTo>
                  <a:lnTo>
                    <a:pt x="366" y="219"/>
                  </a:lnTo>
                  <a:lnTo>
                    <a:pt x="366" y="216"/>
                  </a:lnTo>
                  <a:lnTo>
                    <a:pt x="365" y="209"/>
                  </a:lnTo>
                  <a:lnTo>
                    <a:pt x="362" y="194"/>
                  </a:lnTo>
                  <a:lnTo>
                    <a:pt x="362" y="194"/>
                  </a:lnTo>
                  <a:lnTo>
                    <a:pt x="360" y="192"/>
                  </a:lnTo>
                  <a:lnTo>
                    <a:pt x="357" y="192"/>
                  </a:lnTo>
                  <a:lnTo>
                    <a:pt x="350" y="196"/>
                  </a:lnTo>
                  <a:lnTo>
                    <a:pt x="350" y="196"/>
                  </a:lnTo>
                  <a:lnTo>
                    <a:pt x="343" y="199"/>
                  </a:lnTo>
                  <a:lnTo>
                    <a:pt x="333" y="199"/>
                  </a:lnTo>
                  <a:lnTo>
                    <a:pt x="333" y="199"/>
                  </a:lnTo>
                  <a:lnTo>
                    <a:pt x="328" y="197"/>
                  </a:lnTo>
                  <a:lnTo>
                    <a:pt x="330" y="196"/>
                  </a:lnTo>
                  <a:lnTo>
                    <a:pt x="337" y="192"/>
                  </a:lnTo>
                  <a:lnTo>
                    <a:pt x="337" y="192"/>
                  </a:lnTo>
                  <a:lnTo>
                    <a:pt x="341" y="190"/>
                  </a:lnTo>
                  <a:lnTo>
                    <a:pt x="346" y="186"/>
                  </a:lnTo>
                  <a:lnTo>
                    <a:pt x="350" y="180"/>
                  </a:lnTo>
                  <a:lnTo>
                    <a:pt x="350" y="180"/>
                  </a:lnTo>
                  <a:lnTo>
                    <a:pt x="350" y="179"/>
                  </a:lnTo>
                  <a:lnTo>
                    <a:pt x="349" y="177"/>
                  </a:lnTo>
                  <a:lnTo>
                    <a:pt x="344" y="174"/>
                  </a:lnTo>
                  <a:lnTo>
                    <a:pt x="344" y="174"/>
                  </a:lnTo>
                  <a:lnTo>
                    <a:pt x="341" y="173"/>
                  </a:lnTo>
                  <a:lnTo>
                    <a:pt x="337" y="170"/>
                  </a:lnTo>
                  <a:lnTo>
                    <a:pt x="334" y="168"/>
                  </a:lnTo>
                  <a:lnTo>
                    <a:pt x="330" y="167"/>
                  </a:lnTo>
                  <a:lnTo>
                    <a:pt x="330" y="167"/>
                  </a:lnTo>
                  <a:lnTo>
                    <a:pt x="323" y="166"/>
                  </a:lnTo>
                  <a:lnTo>
                    <a:pt x="318" y="164"/>
                  </a:lnTo>
                  <a:lnTo>
                    <a:pt x="315" y="161"/>
                  </a:lnTo>
                  <a:lnTo>
                    <a:pt x="315" y="161"/>
                  </a:lnTo>
                  <a:lnTo>
                    <a:pt x="312" y="158"/>
                  </a:lnTo>
                  <a:lnTo>
                    <a:pt x="311" y="157"/>
                  </a:lnTo>
                  <a:lnTo>
                    <a:pt x="310" y="157"/>
                  </a:lnTo>
                  <a:lnTo>
                    <a:pt x="310" y="157"/>
                  </a:lnTo>
                  <a:lnTo>
                    <a:pt x="307" y="155"/>
                  </a:lnTo>
                  <a:lnTo>
                    <a:pt x="305" y="154"/>
                  </a:lnTo>
                  <a:lnTo>
                    <a:pt x="304" y="150"/>
                  </a:lnTo>
                  <a:lnTo>
                    <a:pt x="304" y="150"/>
                  </a:lnTo>
                  <a:lnTo>
                    <a:pt x="304" y="145"/>
                  </a:lnTo>
                  <a:lnTo>
                    <a:pt x="304" y="142"/>
                  </a:lnTo>
                  <a:lnTo>
                    <a:pt x="302" y="139"/>
                  </a:lnTo>
                  <a:lnTo>
                    <a:pt x="302" y="139"/>
                  </a:lnTo>
                  <a:lnTo>
                    <a:pt x="298" y="137"/>
                  </a:lnTo>
                  <a:lnTo>
                    <a:pt x="295" y="137"/>
                  </a:lnTo>
                  <a:lnTo>
                    <a:pt x="286" y="139"/>
                  </a:lnTo>
                  <a:lnTo>
                    <a:pt x="286" y="139"/>
                  </a:lnTo>
                  <a:lnTo>
                    <a:pt x="282" y="138"/>
                  </a:lnTo>
                  <a:lnTo>
                    <a:pt x="276" y="135"/>
                  </a:lnTo>
                  <a:lnTo>
                    <a:pt x="269" y="132"/>
                  </a:lnTo>
                  <a:lnTo>
                    <a:pt x="265" y="131"/>
                  </a:lnTo>
                  <a:lnTo>
                    <a:pt x="265" y="131"/>
                  </a:lnTo>
                  <a:lnTo>
                    <a:pt x="262" y="129"/>
                  </a:lnTo>
                  <a:lnTo>
                    <a:pt x="260" y="129"/>
                  </a:lnTo>
                  <a:lnTo>
                    <a:pt x="259" y="125"/>
                  </a:lnTo>
                  <a:lnTo>
                    <a:pt x="259" y="125"/>
                  </a:lnTo>
                  <a:lnTo>
                    <a:pt x="257" y="124"/>
                  </a:lnTo>
                  <a:lnTo>
                    <a:pt x="255" y="124"/>
                  </a:lnTo>
                  <a:lnTo>
                    <a:pt x="252" y="122"/>
                  </a:lnTo>
                  <a:lnTo>
                    <a:pt x="252" y="122"/>
                  </a:lnTo>
                  <a:lnTo>
                    <a:pt x="250" y="122"/>
                  </a:lnTo>
                  <a:lnTo>
                    <a:pt x="250" y="121"/>
                  </a:lnTo>
                  <a:lnTo>
                    <a:pt x="250" y="116"/>
                  </a:lnTo>
                  <a:lnTo>
                    <a:pt x="250" y="116"/>
                  </a:lnTo>
                  <a:lnTo>
                    <a:pt x="246" y="113"/>
                  </a:lnTo>
                  <a:lnTo>
                    <a:pt x="241" y="110"/>
                  </a:lnTo>
                  <a:lnTo>
                    <a:pt x="241" y="110"/>
                  </a:lnTo>
                  <a:lnTo>
                    <a:pt x="239" y="109"/>
                  </a:lnTo>
                  <a:lnTo>
                    <a:pt x="239" y="105"/>
                  </a:lnTo>
                  <a:lnTo>
                    <a:pt x="239" y="102"/>
                  </a:lnTo>
                  <a:lnTo>
                    <a:pt x="239" y="99"/>
                  </a:lnTo>
                  <a:lnTo>
                    <a:pt x="239" y="99"/>
                  </a:lnTo>
                  <a:lnTo>
                    <a:pt x="233" y="92"/>
                  </a:lnTo>
                  <a:lnTo>
                    <a:pt x="228" y="89"/>
                  </a:lnTo>
                  <a:lnTo>
                    <a:pt x="224" y="86"/>
                  </a:lnTo>
                  <a:lnTo>
                    <a:pt x="224" y="86"/>
                  </a:lnTo>
                  <a:lnTo>
                    <a:pt x="220" y="84"/>
                  </a:lnTo>
                  <a:lnTo>
                    <a:pt x="214" y="82"/>
                  </a:lnTo>
                  <a:lnTo>
                    <a:pt x="214" y="82"/>
                  </a:lnTo>
                  <a:lnTo>
                    <a:pt x="208" y="80"/>
                  </a:lnTo>
                  <a:lnTo>
                    <a:pt x="199" y="80"/>
                  </a:lnTo>
                  <a:lnTo>
                    <a:pt x="186" y="79"/>
                  </a:lnTo>
                  <a:lnTo>
                    <a:pt x="186" y="79"/>
                  </a:lnTo>
                  <a:lnTo>
                    <a:pt x="184" y="80"/>
                  </a:lnTo>
                  <a:lnTo>
                    <a:pt x="182" y="82"/>
                  </a:lnTo>
                  <a:lnTo>
                    <a:pt x="179" y="86"/>
                  </a:lnTo>
                  <a:lnTo>
                    <a:pt x="179" y="86"/>
                  </a:lnTo>
                  <a:lnTo>
                    <a:pt x="181" y="87"/>
                  </a:lnTo>
                  <a:lnTo>
                    <a:pt x="184" y="90"/>
                  </a:lnTo>
                  <a:lnTo>
                    <a:pt x="186" y="93"/>
                  </a:lnTo>
                  <a:lnTo>
                    <a:pt x="188" y="95"/>
                  </a:lnTo>
                  <a:lnTo>
                    <a:pt x="188" y="95"/>
                  </a:lnTo>
                  <a:lnTo>
                    <a:pt x="186" y="95"/>
                  </a:lnTo>
                  <a:lnTo>
                    <a:pt x="182" y="95"/>
                  </a:lnTo>
                  <a:lnTo>
                    <a:pt x="175" y="92"/>
                  </a:lnTo>
                  <a:lnTo>
                    <a:pt x="175" y="92"/>
                  </a:lnTo>
                  <a:lnTo>
                    <a:pt x="173" y="93"/>
                  </a:lnTo>
                  <a:lnTo>
                    <a:pt x="173" y="95"/>
                  </a:lnTo>
                  <a:lnTo>
                    <a:pt x="172" y="99"/>
                  </a:lnTo>
                  <a:lnTo>
                    <a:pt x="170" y="105"/>
                  </a:lnTo>
                  <a:lnTo>
                    <a:pt x="169" y="108"/>
                  </a:lnTo>
                  <a:lnTo>
                    <a:pt x="169" y="108"/>
                  </a:lnTo>
                  <a:lnTo>
                    <a:pt x="168" y="108"/>
                  </a:lnTo>
                  <a:lnTo>
                    <a:pt x="166" y="106"/>
                  </a:lnTo>
                  <a:lnTo>
                    <a:pt x="165" y="99"/>
                  </a:lnTo>
                  <a:lnTo>
                    <a:pt x="165" y="84"/>
                  </a:lnTo>
                  <a:lnTo>
                    <a:pt x="165" y="84"/>
                  </a:lnTo>
                  <a:lnTo>
                    <a:pt x="165" y="82"/>
                  </a:lnTo>
                  <a:lnTo>
                    <a:pt x="163" y="80"/>
                  </a:lnTo>
                  <a:lnTo>
                    <a:pt x="159" y="77"/>
                  </a:lnTo>
                  <a:lnTo>
                    <a:pt x="159" y="77"/>
                  </a:lnTo>
                  <a:lnTo>
                    <a:pt x="156" y="79"/>
                  </a:lnTo>
                  <a:lnTo>
                    <a:pt x="155" y="80"/>
                  </a:lnTo>
                  <a:lnTo>
                    <a:pt x="150" y="86"/>
                  </a:lnTo>
                  <a:lnTo>
                    <a:pt x="150" y="86"/>
                  </a:lnTo>
                  <a:lnTo>
                    <a:pt x="149" y="87"/>
                  </a:lnTo>
                  <a:lnTo>
                    <a:pt x="147" y="87"/>
                  </a:lnTo>
                  <a:lnTo>
                    <a:pt x="143" y="86"/>
                  </a:lnTo>
                  <a:lnTo>
                    <a:pt x="143" y="86"/>
                  </a:lnTo>
                  <a:lnTo>
                    <a:pt x="142" y="87"/>
                  </a:lnTo>
                  <a:lnTo>
                    <a:pt x="139" y="90"/>
                  </a:lnTo>
                  <a:lnTo>
                    <a:pt x="136" y="100"/>
                  </a:lnTo>
                  <a:lnTo>
                    <a:pt x="136" y="100"/>
                  </a:lnTo>
                  <a:lnTo>
                    <a:pt x="133" y="105"/>
                  </a:lnTo>
                  <a:lnTo>
                    <a:pt x="130" y="108"/>
                  </a:lnTo>
                  <a:lnTo>
                    <a:pt x="127" y="109"/>
                  </a:lnTo>
                  <a:lnTo>
                    <a:pt x="124" y="109"/>
                  </a:lnTo>
                  <a:lnTo>
                    <a:pt x="124" y="109"/>
                  </a:lnTo>
                  <a:lnTo>
                    <a:pt x="123" y="109"/>
                  </a:lnTo>
                  <a:lnTo>
                    <a:pt x="123" y="106"/>
                  </a:lnTo>
                  <a:lnTo>
                    <a:pt x="124" y="99"/>
                  </a:lnTo>
                  <a:lnTo>
                    <a:pt x="130" y="84"/>
                  </a:lnTo>
                  <a:lnTo>
                    <a:pt x="130" y="84"/>
                  </a:lnTo>
                  <a:lnTo>
                    <a:pt x="131" y="80"/>
                  </a:lnTo>
                  <a:lnTo>
                    <a:pt x="133" y="77"/>
                  </a:lnTo>
                  <a:lnTo>
                    <a:pt x="139" y="73"/>
                  </a:lnTo>
                  <a:lnTo>
                    <a:pt x="139" y="73"/>
                  </a:lnTo>
                  <a:lnTo>
                    <a:pt x="139" y="68"/>
                  </a:lnTo>
                  <a:lnTo>
                    <a:pt x="139" y="61"/>
                  </a:lnTo>
                  <a:lnTo>
                    <a:pt x="136" y="51"/>
                  </a:lnTo>
                  <a:lnTo>
                    <a:pt x="136" y="51"/>
                  </a:lnTo>
                  <a:lnTo>
                    <a:pt x="136" y="48"/>
                  </a:lnTo>
                  <a:lnTo>
                    <a:pt x="137" y="45"/>
                  </a:lnTo>
                  <a:lnTo>
                    <a:pt x="140" y="41"/>
                  </a:lnTo>
                  <a:lnTo>
                    <a:pt x="140" y="41"/>
                  </a:lnTo>
                  <a:lnTo>
                    <a:pt x="142" y="40"/>
                  </a:lnTo>
                  <a:lnTo>
                    <a:pt x="142" y="38"/>
                  </a:lnTo>
                  <a:lnTo>
                    <a:pt x="139" y="35"/>
                  </a:lnTo>
                  <a:lnTo>
                    <a:pt x="139" y="35"/>
                  </a:lnTo>
                  <a:lnTo>
                    <a:pt x="139" y="32"/>
                  </a:lnTo>
                  <a:lnTo>
                    <a:pt x="139" y="31"/>
                  </a:lnTo>
                  <a:lnTo>
                    <a:pt x="140" y="28"/>
                  </a:lnTo>
                  <a:lnTo>
                    <a:pt x="142" y="24"/>
                  </a:lnTo>
                  <a:lnTo>
                    <a:pt x="142" y="24"/>
                  </a:lnTo>
                  <a:lnTo>
                    <a:pt x="140" y="6"/>
                  </a:lnTo>
                  <a:lnTo>
                    <a:pt x="140" y="6"/>
                  </a:lnTo>
                  <a:lnTo>
                    <a:pt x="140" y="5"/>
                  </a:lnTo>
                  <a:lnTo>
                    <a:pt x="139" y="5"/>
                  </a:lnTo>
                  <a:lnTo>
                    <a:pt x="134" y="3"/>
                  </a:lnTo>
                  <a:lnTo>
                    <a:pt x="126" y="6"/>
                  </a:lnTo>
                  <a:lnTo>
                    <a:pt x="126" y="6"/>
                  </a:lnTo>
                  <a:lnTo>
                    <a:pt x="120" y="8"/>
                  </a:lnTo>
                  <a:lnTo>
                    <a:pt x="117" y="8"/>
                  </a:lnTo>
                  <a:lnTo>
                    <a:pt x="114" y="11"/>
                  </a:lnTo>
                  <a:lnTo>
                    <a:pt x="114" y="11"/>
                  </a:lnTo>
                  <a:lnTo>
                    <a:pt x="115" y="12"/>
                  </a:lnTo>
                  <a:lnTo>
                    <a:pt x="117" y="16"/>
                  </a:lnTo>
                  <a:lnTo>
                    <a:pt x="120" y="21"/>
                  </a:lnTo>
                  <a:lnTo>
                    <a:pt x="120" y="21"/>
                  </a:lnTo>
                  <a:lnTo>
                    <a:pt x="118" y="21"/>
                  </a:lnTo>
                  <a:lnTo>
                    <a:pt x="117" y="21"/>
                  </a:lnTo>
                  <a:lnTo>
                    <a:pt x="110" y="18"/>
                  </a:lnTo>
                  <a:lnTo>
                    <a:pt x="110" y="18"/>
                  </a:lnTo>
                  <a:lnTo>
                    <a:pt x="107" y="18"/>
                  </a:lnTo>
                  <a:lnTo>
                    <a:pt x="104" y="18"/>
                  </a:lnTo>
                  <a:lnTo>
                    <a:pt x="101" y="19"/>
                  </a:lnTo>
                  <a:lnTo>
                    <a:pt x="100" y="21"/>
                  </a:lnTo>
                  <a:lnTo>
                    <a:pt x="100" y="21"/>
                  </a:lnTo>
                  <a:lnTo>
                    <a:pt x="101" y="22"/>
                  </a:lnTo>
                  <a:lnTo>
                    <a:pt x="105" y="24"/>
                  </a:lnTo>
                  <a:lnTo>
                    <a:pt x="108" y="25"/>
                  </a:lnTo>
                  <a:lnTo>
                    <a:pt x="111" y="28"/>
                  </a:lnTo>
                  <a:lnTo>
                    <a:pt x="111" y="28"/>
                  </a:lnTo>
                  <a:lnTo>
                    <a:pt x="115" y="32"/>
                  </a:lnTo>
                  <a:lnTo>
                    <a:pt x="120" y="37"/>
                  </a:lnTo>
                  <a:lnTo>
                    <a:pt x="120" y="37"/>
                  </a:lnTo>
                  <a:lnTo>
                    <a:pt x="120" y="38"/>
                  </a:lnTo>
                  <a:lnTo>
                    <a:pt x="118" y="40"/>
                  </a:lnTo>
                  <a:lnTo>
                    <a:pt x="115" y="42"/>
                  </a:lnTo>
                  <a:lnTo>
                    <a:pt x="111" y="44"/>
                  </a:lnTo>
                  <a:lnTo>
                    <a:pt x="107" y="45"/>
                  </a:lnTo>
                  <a:lnTo>
                    <a:pt x="107" y="45"/>
                  </a:lnTo>
                  <a:lnTo>
                    <a:pt x="104" y="45"/>
                  </a:lnTo>
                  <a:lnTo>
                    <a:pt x="101" y="44"/>
                  </a:lnTo>
                  <a:lnTo>
                    <a:pt x="100" y="44"/>
                  </a:lnTo>
                  <a:lnTo>
                    <a:pt x="95" y="45"/>
                  </a:lnTo>
                  <a:lnTo>
                    <a:pt x="95" y="45"/>
                  </a:lnTo>
                  <a:lnTo>
                    <a:pt x="92" y="45"/>
                  </a:lnTo>
                  <a:lnTo>
                    <a:pt x="91" y="45"/>
                  </a:lnTo>
                  <a:lnTo>
                    <a:pt x="89" y="44"/>
                  </a:lnTo>
                  <a:lnTo>
                    <a:pt x="86" y="44"/>
                  </a:lnTo>
                  <a:lnTo>
                    <a:pt x="86" y="44"/>
                  </a:lnTo>
                  <a:lnTo>
                    <a:pt x="86" y="45"/>
                  </a:lnTo>
                  <a:lnTo>
                    <a:pt x="85" y="47"/>
                  </a:lnTo>
                  <a:lnTo>
                    <a:pt x="85" y="54"/>
                  </a:lnTo>
                  <a:lnTo>
                    <a:pt x="86" y="68"/>
                  </a:lnTo>
                  <a:lnTo>
                    <a:pt x="86" y="68"/>
                  </a:lnTo>
                  <a:lnTo>
                    <a:pt x="86" y="73"/>
                  </a:lnTo>
                  <a:lnTo>
                    <a:pt x="88" y="76"/>
                  </a:lnTo>
                  <a:lnTo>
                    <a:pt x="94" y="82"/>
                  </a:lnTo>
                  <a:lnTo>
                    <a:pt x="94" y="82"/>
                  </a:lnTo>
                  <a:lnTo>
                    <a:pt x="97" y="84"/>
                  </a:lnTo>
                  <a:lnTo>
                    <a:pt x="97" y="87"/>
                  </a:lnTo>
                  <a:lnTo>
                    <a:pt x="97" y="89"/>
                  </a:lnTo>
                  <a:lnTo>
                    <a:pt x="95" y="90"/>
                  </a:lnTo>
                  <a:lnTo>
                    <a:pt x="95" y="90"/>
                  </a:lnTo>
                  <a:lnTo>
                    <a:pt x="92" y="90"/>
                  </a:lnTo>
                  <a:lnTo>
                    <a:pt x="89" y="89"/>
                  </a:lnTo>
                  <a:lnTo>
                    <a:pt x="86" y="87"/>
                  </a:lnTo>
                  <a:lnTo>
                    <a:pt x="84" y="87"/>
                  </a:lnTo>
                  <a:lnTo>
                    <a:pt x="84" y="87"/>
                  </a:lnTo>
                  <a:lnTo>
                    <a:pt x="84" y="90"/>
                  </a:lnTo>
                  <a:lnTo>
                    <a:pt x="85" y="95"/>
                  </a:lnTo>
                  <a:lnTo>
                    <a:pt x="86" y="99"/>
                  </a:lnTo>
                  <a:lnTo>
                    <a:pt x="88" y="105"/>
                  </a:lnTo>
                  <a:lnTo>
                    <a:pt x="88" y="105"/>
                  </a:lnTo>
                  <a:lnTo>
                    <a:pt x="89" y="109"/>
                  </a:lnTo>
                  <a:lnTo>
                    <a:pt x="92" y="112"/>
                  </a:lnTo>
                  <a:lnTo>
                    <a:pt x="97" y="116"/>
                  </a:lnTo>
                  <a:lnTo>
                    <a:pt x="101" y="118"/>
                  </a:lnTo>
                  <a:lnTo>
                    <a:pt x="101" y="118"/>
                  </a:lnTo>
                  <a:lnTo>
                    <a:pt x="104" y="119"/>
                  </a:lnTo>
                  <a:lnTo>
                    <a:pt x="104" y="121"/>
                  </a:lnTo>
                  <a:lnTo>
                    <a:pt x="105" y="125"/>
                  </a:lnTo>
                  <a:lnTo>
                    <a:pt x="105" y="125"/>
                  </a:lnTo>
                  <a:lnTo>
                    <a:pt x="110" y="128"/>
                  </a:lnTo>
                  <a:lnTo>
                    <a:pt x="115" y="132"/>
                  </a:lnTo>
                  <a:lnTo>
                    <a:pt x="121" y="137"/>
                  </a:lnTo>
                  <a:lnTo>
                    <a:pt x="124" y="139"/>
                  </a:lnTo>
                  <a:lnTo>
                    <a:pt x="124" y="139"/>
                  </a:lnTo>
                  <a:lnTo>
                    <a:pt x="124" y="144"/>
                  </a:lnTo>
                  <a:lnTo>
                    <a:pt x="123" y="145"/>
                  </a:lnTo>
                  <a:lnTo>
                    <a:pt x="118" y="150"/>
                  </a:lnTo>
                  <a:lnTo>
                    <a:pt x="118" y="150"/>
                  </a:lnTo>
                  <a:lnTo>
                    <a:pt x="117" y="150"/>
                  </a:lnTo>
                  <a:lnTo>
                    <a:pt x="115" y="150"/>
                  </a:lnTo>
                  <a:lnTo>
                    <a:pt x="115" y="148"/>
                  </a:lnTo>
                  <a:lnTo>
                    <a:pt x="114" y="148"/>
                  </a:lnTo>
                  <a:lnTo>
                    <a:pt x="114" y="148"/>
                  </a:lnTo>
                  <a:lnTo>
                    <a:pt x="113" y="148"/>
                  </a:lnTo>
                  <a:lnTo>
                    <a:pt x="111" y="151"/>
                  </a:lnTo>
                  <a:lnTo>
                    <a:pt x="110" y="154"/>
                  </a:lnTo>
                  <a:lnTo>
                    <a:pt x="108" y="157"/>
                  </a:lnTo>
                  <a:lnTo>
                    <a:pt x="108" y="157"/>
                  </a:lnTo>
                  <a:lnTo>
                    <a:pt x="107" y="157"/>
                  </a:lnTo>
                  <a:lnTo>
                    <a:pt x="107" y="155"/>
                  </a:lnTo>
                  <a:lnTo>
                    <a:pt x="105" y="152"/>
                  </a:lnTo>
                  <a:lnTo>
                    <a:pt x="104" y="145"/>
                  </a:lnTo>
                  <a:lnTo>
                    <a:pt x="104" y="145"/>
                  </a:lnTo>
                  <a:lnTo>
                    <a:pt x="101" y="145"/>
                  </a:lnTo>
                  <a:lnTo>
                    <a:pt x="98" y="148"/>
                  </a:lnTo>
                  <a:lnTo>
                    <a:pt x="94" y="151"/>
                  </a:lnTo>
                  <a:lnTo>
                    <a:pt x="89" y="154"/>
                  </a:lnTo>
                  <a:lnTo>
                    <a:pt x="89" y="154"/>
                  </a:lnTo>
                  <a:lnTo>
                    <a:pt x="88" y="154"/>
                  </a:lnTo>
                  <a:lnTo>
                    <a:pt x="88" y="152"/>
                  </a:lnTo>
                  <a:lnTo>
                    <a:pt x="89" y="150"/>
                  </a:lnTo>
                  <a:lnTo>
                    <a:pt x="95" y="141"/>
                  </a:lnTo>
                  <a:lnTo>
                    <a:pt x="95" y="141"/>
                  </a:lnTo>
                  <a:lnTo>
                    <a:pt x="95" y="139"/>
                  </a:lnTo>
                  <a:lnTo>
                    <a:pt x="95" y="137"/>
                  </a:lnTo>
                  <a:lnTo>
                    <a:pt x="94" y="135"/>
                  </a:lnTo>
                  <a:lnTo>
                    <a:pt x="92" y="135"/>
                  </a:lnTo>
                  <a:lnTo>
                    <a:pt x="92" y="135"/>
                  </a:lnTo>
                  <a:lnTo>
                    <a:pt x="91" y="134"/>
                  </a:lnTo>
                  <a:lnTo>
                    <a:pt x="91" y="132"/>
                  </a:lnTo>
                  <a:lnTo>
                    <a:pt x="89" y="128"/>
                  </a:lnTo>
                  <a:lnTo>
                    <a:pt x="86" y="125"/>
                  </a:lnTo>
                  <a:lnTo>
                    <a:pt x="86" y="125"/>
                  </a:lnTo>
                  <a:lnTo>
                    <a:pt x="76" y="115"/>
                  </a:lnTo>
                  <a:lnTo>
                    <a:pt x="72" y="109"/>
                  </a:lnTo>
                  <a:lnTo>
                    <a:pt x="69" y="103"/>
                  </a:lnTo>
                  <a:lnTo>
                    <a:pt x="69" y="103"/>
                  </a:lnTo>
                  <a:lnTo>
                    <a:pt x="68" y="100"/>
                  </a:lnTo>
                  <a:lnTo>
                    <a:pt x="68" y="96"/>
                  </a:lnTo>
                  <a:lnTo>
                    <a:pt x="71" y="87"/>
                  </a:lnTo>
                  <a:lnTo>
                    <a:pt x="72" y="80"/>
                  </a:lnTo>
                  <a:lnTo>
                    <a:pt x="73" y="74"/>
                  </a:lnTo>
                  <a:lnTo>
                    <a:pt x="73" y="74"/>
                  </a:lnTo>
                  <a:lnTo>
                    <a:pt x="72" y="63"/>
                  </a:lnTo>
                  <a:lnTo>
                    <a:pt x="71" y="55"/>
                  </a:lnTo>
                  <a:lnTo>
                    <a:pt x="69" y="48"/>
                  </a:lnTo>
                  <a:lnTo>
                    <a:pt x="69" y="48"/>
                  </a:lnTo>
                  <a:lnTo>
                    <a:pt x="71" y="44"/>
                  </a:lnTo>
                  <a:lnTo>
                    <a:pt x="72" y="40"/>
                  </a:lnTo>
                  <a:lnTo>
                    <a:pt x="78" y="31"/>
                  </a:lnTo>
                  <a:lnTo>
                    <a:pt x="88" y="18"/>
                  </a:lnTo>
                  <a:lnTo>
                    <a:pt x="88" y="18"/>
                  </a:lnTo>
                  <a:lnTo>
                    <a:pt x="94" y="9"/>
                  </a:lnTo>
                  <a:lnTo>
                    <a:pt x="97" y="5"/>
                  </a:lnTo>
                  <a:lnTo>
                    <a:pt x="97" y="2"/>
                  </a:lnTo>
                  <a:lnTo>
                    <a:pt x="97" y="2"/>
                  </a:lnTo>
                  <a:lnTo>
                    <a:pt x="97" y="0"/>
                  </a:lnTo>
                  <a:lnTo>
                    <a:pt x="95" y="0"/>
                  </a:lnTo>
                  <a:lnTo>
                    <a:pt x="92" y="2"/>
                  </a:lnTo>
                  <a:lnTo>
                    <a:pt x="92" y="2"/>
                  </a:lnTo>
                  <a:lnTo>
                    <a:pt x="86" y="3"/>
                  </a:lnTo>
                  <a:lnTo>
                    <a:pt x="75" y="3"/>
                  </a:lnTo>
                  <a:lnTo>
                    <a:pt x="58" y="3"/>
                  </a:lnTo>
                  <a:lnTo>
                    <a:pt x="58" y="3"/>
                  </a:lnTo>
                  <a:lnTo>
                    <a:pt x="44" y="9"/>
                  </a:lnTo>
                  <a:lnTo>
                    <a:pt x="33" y="15"/>
                  </a:lnTo>
                  <a:lnTo>
                    <a:pt x="33" y="15"/>
                  </a:lnTo>
                  <a:lnTo>
                    <a:pt x="29" y="19"/>
                  </a:lnTo>
                  <a:lnTo>
                    <a:pt x="24" y="25"/>
                  </a:lnTo>
                  <a:lnTo>
                    <a:pt x="24" y="25"/>
                  </a:lnTo>
                  <a:lnTo>
                    <a:pt x="17" y="32"/>
                  </a:lnTo>
                  <a:lnTo>
                    <a:pt x="11" y="38"/>
                  </a:lnTo>
                  <a:lnTo>
                    <a:pt x="11" y="38"/>
                  </a:lnTo>
                  <a:lnTo>
                    <a:pt x="10" y="40"/>
                  </a:lnTo>
                  <a:lnTo>
                    <a:pt x="10" y="41"/>
                  </a:lnTo>
                  <a:lnTo>
                    <a:pt x="11" y="48"/>
                  </a:lnTo>
                  <a:lnTo>
                    <a:pt x="13" y="61"/>
                  </a:lnTo>
                  <a:lnTo>
                    <a:pt x="13" y="61"/>
                  </a:lnTo>
                  <a:lnTo>
                    <a:pt x="11" y="68"/>
                  </a:lnTo>
                  <a:lnTo>
                    <a:pt x="8" y="79"/>
                  </a:lnTo>
                  <a:lnTo>
                    <a:pt x="5" y="89"/>
                  </a:lnTo>
                  <a:lnTo>
                    <a:pt x="1" y="95"/>
                  </a:lnTo>
                  <a:lnTo>
                    <a:pt x="1" y="95"/>
                  </a:lnTo>
                  <a:lnTo>
                    <a:pt x="0" y="100"/>
                  </a:lnTo>
                  <a:lnTo>
                    <a:pt x="1" y="106"/>
                  </a:lnTo>
                  <a:lnTo>
                    <a:pt x="4" y="112"/>
                  </a:lnTo>
                  <a:lnTo>
                    <a:pt x="8" y="118"/>
                  </a:lnTo>
                  <a:lnTo>
                    <a:pt x="8" y="118"/>
                  </a:lnTo>
                  <a:lnTo>
                    <a:pt x="13" y="122"/>
                  </a:lnTo>
                  <a:lnTo>
                    <a:pt x="13" y="124"/>
                  </a:lnTo>
                  <a:lnTo>
                    <a:pt x="13" y="126"/>
                  </a:lnTo>
                  <a:lnTo>
                    <a:pt x="13" y="126"/>
                  </a:lnTo>
                  <a:lnTo>
                    <a:pt x="13" y="129"/>
                  </a:lnTo>
                  <a:lnTo>
                    <a:pt x="14" y="134"/>
                  </a:lnTo>
                  <a:lnTo>
                    <a:pt x="18" y="142"/>
                  </a:lnTo>
                  <a:lnTo>
                    <a:pt x="18" y="142"/>
                  </a:lnTo>
                  <a:lnTo>
                    <a:pt x="20" y="145"/>
                  </a:lnTo>
                  <a:lnTo>
                    <a:pt x="23" y="145"/>
                  </a:lnTo>
                  <a:lnTo>
                    <a:pt x="31" y="148"/>
                  </a:lnTo>
                  <a:lnTo>
                    <a:pt x="31" y="148"/>
                  </a:lnTo>
                  <a:lnTo>
                    <a:pt x="37" y="151"/>
                  </a:lnTo>
                  <a:lnTo>
                    <a:pt x="42" y="154"/>
                  </a:lnTo>
                  <a:lnTo>
                    <a:pt x="46" y="160"/>
                  </a:lnTo>
                  <a:lnTo>
                    <a:pt x="46" y="160"/>
                  </a:lnTo>
                  <a:lnTo>
                    <a:pt x="46" y="161"/>
                  </a:lnTo>
                  <a:lnTo>
                    <a:pt x="44" y="161"/>
                  </a:lnTo>
                  <a:lnTo>
                    <a:pt x="40" y="160"/>
                  </a:lnTo>
                  <a:lnTo>
                    <a:pt x="30" y="158"/>
                  </a:lnTo>
                  <a:lnTo>
                    <a:pt x="30" y="158"/>
                  </a:lnTo>
                  <a:lnTo>
                    <a:pt x="30" y="158"/>
                  </a:lnTo>
                  <a:lnTo>
                    <a:pt x="30" y="160"/>
                  </a:lnTo>
                  <a:lnTo>
                    <a:pt x="31" y="163"/>
                  </a:lnTo>
                  <a:lnTo>
                    <a:pt x="37" y="171"/>
                  </a:lnTo>
                  <a:lnTo>
                    <a:pt x="37" y="171"/>
                  </a:lnTo>
                  <a:lnTo>
                    <a:pt x="40" y="174"/>
                  </a:lnTo>
                  <a:lnTo>
                    <a:pt x="43" y="176"/>
                  </a:lnTo>
                  <a:lnTo>
                    <a:pt x="44" y="174"/>
                  </a:lnTo>
                  <a:lnTo>
                    <a:pt x="49" y="176"/>
                  </a:lnTo>
                  <a:lnTo>
                    <a:pt x="49" y="176"/>
                  </a:lnTo>
                  <a:lnTo>
                    <a:pt x="53" y="177"/>
                  </a:lnTo>
                  <a:lnTo>
                    <a:pt x="55" y="180"/>
                  </a:lnTo>
                  <a:lnTo>
                    <a:pt x="58" y="186"/>
                  </a:lnTo>
                  <a:lnTo>
                    <a:pt x="58" y="186"/>
                  </a:lnTo>
                  <a:lnTo>
                    <a:pt x="58" y="186"/>
                  </a:lnTo>
                  <a:lnTo>
                    <a:pt x="56" y="186"/>
                  </a:lnTo>
                  <a:lnTo>
                    <a:pt x="52" y="184"/>
                  </a:lnTo>
                  <a:lnTo>
                    <a:pt x="47" y="183"/>
                  </a:lnTo>
                  <a:lnTo>
                    <a:pt x="46" y="183"/>
                  </a:lnTo>
                  <a:lnTo>
                    <a:pt x="47" y="183"/>
                  </a:lnTo>
                  <a:lnTo>
                    <a:pt x="47" y="183"/>
                  </a:lnTo>
                  <a:lnTo>
                    <a:pt x="53" y="190"/>
                  </a:lnTo>
                  <a:lnTo>
                    <a:pt x="59" y="196"/>
                  </a:lnTo>
                  <a:lnTo>
                    <a:pt x="59" y="196"/>
                  </a:lnTo>
                  <a:lnTo>
                    <a:pt x="62" y="197"/>
                  </a:lnTo>
                  <a:lnTo>
                    <a:pt x="63" y="196"/>
                  </a:lnTo>
                  <a:lnTo>
                    <a:pt x="66" y="193"/>
                  </a:lnTo>
                  <a:lnTo>
                    <a:pt x="66" y="193"/>
                  </a:lnTo>
                  <a:lnTo>
                    <a:pt x="69" y="194"/>
                  </a:lnTo>
                  <a:lnTo>
                    <a:pt x="72" y="197"/>
                  </a:lnTo>
                  <a:lnTo>
                    <a:pt x="76" y="200"/>
                  </a:lnTo>
                  <a:lnTo>
                    <a:pt x="76" y="200"/>
                  </a:lnTo>
                  <a:lnTo>
                    <a:pt x="81" y="199"/>
                  </a:lnTo>
                  <a:lnTo>
                    <a:pt x="85" y="197"/>
                  </a:lnTo>
                  <a:lnTo>
                    <a:pt x="85" y="197"/>
                  </a:lnTo>
                  <a:lnTo>
                    <a:pt x="88" y="199"/>
                  </a:lnTo>
                  <a:lnTo>
                    <a:pt x="89" y="202"/>
                  </a:lnTo>
                  <a:lnTo>
                    <a:pt x="92" y="205"/>
                  </a:lnTo>
                  <a:lnTo>
                    <a:pt x="95" y="208"/>
                  </a:lnTo>
                  <a:lnTo>
                    <a:pt x="95" y="208"/>
                  </a:lnTo>
                  <a:lnTo>
                    <a:pt x="101" y="209"/>
                  </a:lnTo>
                  <a:lnTo>
                    <a:pt x="108" y="209"/>
                  </a:lnTo>
                  <a:lnTo>
                    <a:pt x="121" y="210"/>
                  </a:lnTo>
                  <a:lnTo>
                    <a:pt x="121" y="210"/>
                  </a:lnTo>
                  <a:lnTo>
                    <a:pt x="127" y="212"/>
                  </a:lnTo>
                  <a:lnTo>
                    <a:pt x="130" y="213"/>
                  </a:lnTo>
                  <a:lnTo>
                    <a:pt x="130" y="213"/>
                  </a:lnTo>
                  <a:lnTo>
                    <a:pt x="133" y="212"/>
                  </a:lnTo>
                  <a:lnTo>
                    <a:pt x="136" y="209"/>
                  </a:lnTo>
                  <a:lnTo>
                    <a:pt x="136" y="209"/>
                  </a:lnTo>
                  <a:lnTo>
                    <a:pt x="137" y="209"/>
                  </a:lnTo>
                  <a:lnTo>
                    <a:pt x="139" y="210"/>
                  </a:lnTo>
                  <a:lnTo>
                    <a:pt x="139" y="212"/>
                  </a:lnTo>
                  <a:lnTo>
                    <a:pt x="140" y="212"/>
                  </a:lnTo>
                  <a:lnTo>
                    <a:pt x="140" y="212"/>
                  </a:lnTo>
                  <a:lnTo>
                    <a:pt x="152" y="210"/>
                  </a:lnTo>
                  <a:lnTo>
                    <a:pt x="168" y="208"/>
                  </a:lnTo>
                  <a:lnTo>
                    <a:pt x="168" y="208"/>
                  </a:lnTo>
                  <a:lnTo>
                    <a:pt x="185" y="205"/>
                  </a:lnTo>
                  <a:lnTo>
                    <a:pt x="185" y="205"/>
                  </a:lnTo>
                  <a:lnTo>
                    <a:pt x="189" y="206"/>
                  </a:lnTo>
                  <a:lnTo>
                    <a:pt x="192" y="210"/>
                  </a:lnTo>
                  <a:lnTo>
                    <a:pt x="197" y="216"/>
                  </a:lnTo>
                  <a:lnTo>
                    <a:pt x="201" y="221"/>
                  </a:lnTo>
                  <a:lnTo>
                    <a:pt x="201" y="221"/>
                  </a:lnTo>
                  <a:lnTo>
                    <a:pt x="202" y="221"/>
                  </a:lnTo>
                  <a:lnTo>
                    <a:pt x="204" y="221"/>
                  </a:lnTo>
                  <a:lnTo>
                    <a:pt x="204" y="215"/>
                  </a:lnTo>
                  <a:lnTo>
                    <a:pt x="204" y="215"/>
                  </a:lnTo>
                  <a:lnTo>
                    <a:pt x="205" y="212"/>
                  </a:lnTo>
                  <a:lnTo>
                    <a:pt x="207" y="210"/>
                  </a:lnTo>
                  <a:lnTo>
                    <a:pt x="210" y="209"/>
                  </a:lnTo>
                  <a:lnTo>
                    <a:pt x="213" y="209"/>
                  </a:lnTo>
                  <a:lnTo>
                    <a:pt x="213" y="209"/>
                  </a:lnTo>
                  <a:lnTo>
                    <a:pt x="214" y="209"/>
                  </a:lnTo>
                  <a:lnTo>
                    <a:pt x="214" y="212"/>
                  </a:lnTo>
                  <a:lnTo>
                    <a:pt x="213" y="216"/>
                  </a:lnTo>
                  <a:lnTo>
                    <a:pt x="213" y="216"/>
                  </a:lnTo>
                  <a:lnTo>
                    <a:pt x="213" y="219"/>
                  </a:lnTo>
                  <a:lnTo>
                    <a:pt x="213" y="223"/>
                  </a:lnTo>
                  <a:lnTo>
                    <a:pt x="214" y="228"/>
                  </a:lnTo>
                  <a:lnTo>
                    <a:pt x="217" y="232"/>
                  </a:lnTo>
                  <a:lnTo>
                    <a:pt x="217" y="232"/>
                  </a:lnTo>
                  <a:lnTo>
                    <a:pt x="220" y="235"/>
                  </a:lnTo>
                  <a:lnTo>
                    <a:pt x="223" y="236"/>
                  </a:lnTo>
                  <a:lnTo>
                    <a:pt x="231" y="241"/>
                  </a:lnTo>
                  <a:lnTo>
                    <a:pt x="231" y="241"/>
                  </a:lnTo>
                  <a:lnTo>
                    <a:pt x="236" y="244"/>
                  </a:lnTo>
                  <a:lnTo>
                    <a:pt x="240" y="245"/>
                  </a:lnTo>
                  <a:lnTo>
                    <a:pt x="249" y="245"/>
                  </a:lnTo>
                  <a:lnTo>
                    <a:pt x="249" y="245"/>
                  </a:lnTo>
                  <a:lnTo>
                    <a:pt x="253" y="247"/>
                  </a:lnTo>
                  <a:lnTo>
                    <a:pt x="256" y="248"/>
                  </a:lnTo>
                  <a:lnTo>
                    <a:pt x="257" y="251"/>
                  </a:lnTo>
                  <a:lnTo>
                    <a:pt x="256" y="252"/>
                  </a:lnTo>
                  <a:lnTo>
                    <a:pt x="256" y="252"/>
                  </a:lnTo>
                  <a:lnTo>
                    <a:pt x="253" y="257"/>
                  </a:lnTo>
                  <a:lnTo>
                    <a:pt x="253" y="263"/>
                  </a:lnTo>
                  <a:lnTo>
                    <a:pt x="255" y="268"/>
                  </a:lnTo>
                  <a:lnTo>
                    <a:pt x="256" y="273"/>
                  </a:lnTo>
                  <a:lnTo>
                    <a:pt x="256" y="273"/>
                  </a:lnTo>
                  <a:lnTo>
                    <a:pt x="259" y="280"/>
                  </a:lnTo>
                  <a:lnTo>
                    <a:pt x="260" y="283"/>
                  </a:lnTo>
                  <a:lnTo>
                    <a:pt x="263" y="284"/>
                  </a:lnTo>
                  <a:lnTo>
                    <a:pt x="263" y="284"/>
                  </a:lnTo>
                  <a:lnTo>
                    <a:pt x="266" y="286"/>
                  </a:lnTo>
                  <a:lnTo>
                    <a:pt x="268" y="287"/>
                  </a:lnTo>
                  <a:lnTo>
                    <a:pt x="268" y="297"/>
                  </a:lnTo>
                  <a:lnTo>
                    <a:pt x="268" y="297"/>
                  </a:lnTo>
                  <a:lnTo>
                    <a:pt x="269" y="305"/>
                  </a:lnTo>
                  <a:lnTo>
                    <a:pt x="272" y="310"/>
                  </a:lnTo>
                  <a:lnTo>
                    <a:pt x="276" y="315"/>
                  </a:lnTo>
                  <a:lnTo>
                    <a:pt x="278" y="321"/>
                  </a:lnTo>
                  <a:lnTo>
                    <a:pt x="278" y="321"/>
                  </a:lnTo>
                  <a:lnTo>
                    <a:pt x="276" y="323"/>
                  </a:lnTo>
                  <a:lnTo>
                    <a:pt x="275" y="325"/>
                  </a:lnTo>
                  <a:lnTo>
                    <a:pt x="270" y="326"/>
                  </a:lnTo>
                  <a:lnTo>
                    <a:pt x="270" y="326"/>
                  </a:lnTo>
                  <a:lnTo>
                    <a:pt x="270" y="329"/>
                  </a:lnTo>
                  <a:lnTo>
                    <a:pt x="272" y="332"/>
                  </a:lnTo>
                  <a:lnTo>
                    <a:pt x="276" y="336"/>
                  </a:lnTo>
                  <a:lnTo>
                    <a:pt x="276" y="336"/>
                  </a:lnTo>
                  <a:lnTo>
                    <a:pt x="276" y="338"/>
                  </a:lnTo>
                  <a:lnTo>
                    <a:pt x="276" y="338"/>
                  </a:lnTo>
                  <a:lnTo>
                    <a:pt x="272" y="339"/>
                  </a:lnTo>
                  <a:lnTo>
                    <a:pt x="263" y="342"/>
                  </a:lnTo>
                  <a:lnTo>
                    <a:pt x="263" y="342"/>
                  </a:lnTo>
                  <a:lnTo>
                    <a:pt x="259" y="345"/>
                  </a:lnTo>
                  <a:lnTo>
                    <a:pt x="255" y="349"/>
                  </a:lnTo>
                  <a:lnTo>
                    <a:pt x="252" y="355"/>
                  </a:lnTo>
                  <a:lnTo>
                    <a:pt x="249" y="360"/>
                  </a:lnTo>
                  <a:lnTo>
                    <a:pt x="249" y="360"/>
                  </a:lnTo>
                  <a:lnTo>
                    <a:pt x="250" y="365"/>
                  </a:lnTo>
                  <a:lnTo>
                    <a:pt x="253" y="371"/>
                  </a:lnTo>
                  <a:lnTo>
                    <a:pt x="260" y="381"/>
                  </a:lnTo>
                  <a:lnTo>
                    <a:pt x="260" y="381"/>
                  </a:lnTo>
                  <a:lnTo>
                    <a:pt x="260" y="386"/>
                  </a:lnTo>
                  <a:lnTo>
                    <a:pt x="257" y="389"/>
                  </a:lnTo>
                  <a:lnTo>
                    <a:pt x="250" y="393"/>
                  </a:lnTo>
                  <a:lnTo>
                    <a:pt x="250" y="393"/>
                  </a:lnTo>
                  <a:lnTo>
                    <a:pt x="247" y="393"/>
                  </a:lnTo>
                  <a:lnTo>
                    <a:pt x="246" y="393"/>
                  </a:lnTo>
                  <a:lnTo>
                    <a:pt x="241" y="391"/>
                  </a:lnTo>
                  <a:lnTo>
                    <a:pt x="241" y="391"/>
                  </a:lnTo>
                  <a:lnTo>
                    <a:pt x="237" y="391"/>
                  </a:lnTo>
                  <a:lnTo>
                    <a:pt x="230" y="393"/>
                  </a:lnTo>
                  <a:lnTo>
                    <a:pt x="230" y="393"/>
                  </a:lnTo>
                  <a:lnTo>
                    <a:pt x="227" y="393"/>
                  </a:lnTo>
                  <a:lnTo>
                    <a:pt x="223" y="391"/>
                  </a:lnTo>
                  <a:lnTo>
                    <a:pt x="218" y="387"/>
                  </a:lnTo>
                  <a:lnTo>
                    <a:pt x="218" y="387"/>
                  </a:lnTo>
                  <a:lnTo>
                    <a:pt x="215" y="387"/>
                  </a:lnTo>
                  <a:lnTo>
                    <a:pt x="210" y="387"/>
                  </a:lnTo>
                  <a:lnTo>
                    <a:pt x="204" y="387"/>
                  </a:lnTo>
                  <a:lnTo>
                    <a:pt x="201" y="389"/>
                  </a:lnTo>
                  <a:lnTo>
                    <a:pt x="201" y="389"/>
                  </a:lnTo>
                  <a:lnTo>
                    <a:pt x="194" y="394"/>
                  </a:lnTo>
                  <a:lnTo>
                    <a:pt x="194" y="394"/>
                  </a:lnTo>
                  <a:lnTo>
                    <a:pt x="192" y="397"/>
                  </a:lnTo>
                  <a:lnTo>
                    <a:pt x="194" y="399"/>
                  </a:lnTo>
                  <a:lnTo>
                    <a:pt x="198" y="402"/>
                  </a:lnTo>
                  <a:lnTo>
                    <a:pt x="198" y="402"/>
                  </a:lnTo>
                  <a:lnTo>
                    <a:pt x="199" y="405"/>
                  </a:lnTo>
                  <a:lnTo>
                    <a:pt x="199" y="409"/>
                  </a:lnTo>
                  <a:lnTo>
                    <a:pt x="198" y="418"/>
                  </a:lnTo>
                  <a:lnTo>
                    <a:pt x="198" y="418"/>
                  </a:lnTo>
                  <a:lnTo>
                    <a:pt x="195" y="420"/>
                  </a:lnTo>
                  <a:lnTo>
                    <a:pt x="192" y="422"/>
                  </a:lnTo>
                  <a:lnTo>
                    <a:pt x="189" y="425"/>
                  </a:lnTo>
                  <a:lnTo>
                    <a:pt x="188" y="428"/>
                  </a:lnTo>
                  <a:lnTo>
                    <a:pt x="188" y="428"/>
                  </a:lnTo>
                  <a:lnTo>
                    <a:pt x="188" y="432"/>
                  </a:lnTo>
                  <a:lnTo>
                    <a:pt x="191" y="439"/>
                  </a:lnTo>
                  <a:lnTo>
                    <a:pt x="198" y="449"/>
                  </a:lnTo>
                  <a:lnTo>
                    <a:pt x="198" y="449"/>
                  </a:lnTo>
                  <a:lnTo>
                    <a:pt x="201" y="451"/>
                  </a:lnTo>
                  <a:lnTo>
                    <a:pt x="207" y="452"/>
                  </a:lnTo>
                  <a:lnTo>
                    <a:pt x="211" y="452"/>
                  </a:lnTo>
                  <a:lnTo>
                    <a:pt x="217" y="452"/>
                  </a:lnTo>
                  <a:lnTo>
                    <a:pt x="217" y="452"/>
                  </a:lnTo>
                  <a:lnTo>
                    <a:pt x="228" y="447"/>
                  </a:lnTo>
                  <a:lnTo>
                    <a:pt x="236" y="442"/>
                  </a:lnTo>
                  <a:lnTo>
                    <a:pt x="240" y="442"/>
                  </a:lnTo>
                  <a:lnTo>
                    <a:pt x="240" y="442"/>
                  </a:lnTo>
                  <a:lnTo>
                    <a:pt x="247" y="444"/>
                  </a:lnTo>
                  <a:lnTo>
                    <a:pt x="255" y="447"/>
                  </a:lnTo>
                  <a:lnTo>
                    <a:pt x="255" y="447"/>
                  </a:lnTo>
                  <a:lnTo>
                    <a:pt x="260" y="448"/>
                  </a:lnTo>
                  <a:lnTo>
                    <a:pt x="260" y="447"/>
                  </a:lnTo>
                  <a:lnTo>
                    <a:pt x="262" y="445"/>
                  </a:lnTo>
                  <a:lnTo>
                    <a:pt x="262" y="445"/>
                  </a:lnTo>
                  <a:lnTo>
                    <a:pt x="262" y="444"/>
                  </a:lnTo>
                  <a:lnTo>
                    <a:pt x="263" y="444"/>
                  </a:lnTo>
                  <a:lnTo>
                    <a:pt x="268" y="447"/>
                  </a:lnTo>
                  <a:lnTo>
                    <a:pt x="275" y="452"/>
                  </a:lnTo>
                  <a:lnTo>
                    <a:pt x="275" y="452"/>
                  </a:lnTo>
                  <a:lnTo>
                    <a:pt x="276" y="455"/>
                  </a:lnTo>
                  <a:lnTo>
                    <a:pt x="276" y="460"/>
                  </a:lnTo>
                  <a:lnTo>
                    <a:pt x="276" y="462"/>
                  </a:lnTo>
                  <a:lnTo>
                    <a:pt x="276" y="465"/>
                  </a:lnTo>
                  <a:lnTo>
                    <a:pt x="276" y="465"/>
                  </a:lnTo>
                  <a:lnTo>
                    <a:pt x="279" y="468"/>
                  </a:lnTo>
                  <a:lnTo>
                    <a:pt x="282" y="468"/>
                  </a:lnTo>
                  <a:lnTo>
                    <a:pt x="288" y="468"/>
                  </a:lnTo>
                  <a:lnTo>
                    <a:pt x="288" y="468"/>
                  </a:lnTo>
                  <a:lnTo>
                    <a:pt x="292" y="468"/>
                  </a:lnTo>
                  <a:lnTo>
                    <a:pt x="294" y="470"/>
                  </a:lnTo>
                  <a:lnTo>
                    <a:pt x="299" y="474"/>
                  </a:lnTo>
                  <a:lnTo>
                    <a:pt x="299" y="474"/>
                  </a:lnTo>
                  <a:lnTo>
                    <a:pt x="299" y="474"/>
                  </a:lnTo>
                  <a:lnTo>
                    <a:pt x="299" y="475"/>
                  </a:lnTo>
                  <a:lnTo>
                    <a:pt x="297" y="477"/>
                  </a:lnTo>
                  <a:lnTo>
                    <a:pt x="294" y="478"/>
                  </a:lnTo>
                  <a:lnTo>
                    <a:pt x="291" y="481"/>
                  </a:lnTo>
                  <a:lnTo>
                    <a:pt x="291" y="481"/>
                  </a:lnTo>
                  <a:lnTo>
                    <a:pt x="289" y="484"/>
                  </a:lnTo>
                  <a:lnTo>
                    <a:pt x="292" y="487"/>
                  </a:lnTo>
                  <a:lnTo>
                    <a:pt x="299" y="491"/>
                  </a:lnTo>
                  <a:lnTo>
                    <a:pt x="299" y="491"/>
                  </a:lnTo>
                  <a:lnTo>
                    <a:pt x="304" y="493"/>
                  </a:lnTo>
                  <a:lnTo>
                    <a:pt x="305" y="496"/>
                  </a:lnTo>
                  <a:lnTo>
                    <a:pt x="305" y="499"/>
                  </a:lnTo>
                  <a:lnTo>
                    <a:pt x="307" y="500"/>
                  </a:lnTo>
                  <a:lnTo>
                    <a:pt x="307" y="500"/>
                  </a:lnTo>
                  <a:lnTo>
                    <a:pt x="312" y="506"/>
                  </a:lnTo>
                  <a:lnTo>
                    <a:pt x="315" y="507"/>
                  </a:lnTo>
                  <a:lnTo>
                    <a:pt x="318" y="507"/>
                  </a:lnTo>
                  <a:lnTo>
                    <a:pt x="318" y="507"/>
                  </a:lnTo>
                  <a:lnTo>
                    <a:pt x="320" y="507"/>
                  </a:lnTo>
                  <a:lnTo>
                    <a:pt x="318" y="504"/>
                  </a:lnTo>
                  <a:lnTo>
                    <a:pt x="317" y="502"/>
                  </a:lnTo>
                  <a:lnTo>
                    <a:pt x="317" y="502"/>
                  </a:lnTo>
                  <a:lnTo>
                    <a:pt x="317" y="502"/>
                  </a:lnTo>
                  <a:lnTo>
                    <a:pt x="321" y="503"/>
                  </a:lnTo>
                  <a:lnTo>
                    <a:pt x="330" y="509"/>
                  </a:lnTo>
                  <a:lnTo>
                    <a:pt x="330" y="509"/>
                  </a:lnTo>
                  <a:lnTo>
                    <a:pt x="336" y="512"/>
                  </a:lnTo>
                  <a:lnTo>
                    <a:pt x="337" y="515"/>
                  </a:lnTo>
                  <a:lnTo>
                    <a:pt x="337" y="515"/>
                  </a:lnTo>
                  <a:lnTo>
                    <a:pt x="340" y="516"/>
                  </a:lnTo>
                  <a:lnTo>
                    <a:pt x="347" y="517"/>
                  </a:lnTo>
                  <a:lnTo>
                    <a:pt x="357" y="519"/>
                  </a:lnTo>
                  <a:lnTo>
                    <a:pt x="357" y="519"/>
                  </a:lnTo>
                  <a:lnTo>
                    <a:pt x="362" y="520"/>
                  </a:lnTo>
                  <a:lnTo>
                    <a:pt x="367" y="528"/>
                  </a:lnTo>
                  <a:lnTo>
                    <a:pt x="375" y="533"/>
                  </a:lnTo>
                  <a:lnTo>
                    <a:pt x="381" y="538"/>
                  </a:lnTo>
                  <a:lnTo>
                    <a:pt x="381" y="538"/>
                  </a:lnTo>
                  <a:lnTo>
                    <a:pt x="383" y="538"/>
                  </a:lnTo>
                  <a:lnTo>
                    <a:pt x="385" y="538"/>
                  </a:lnTo>
                  <a:lnTo>
                    <a:pt x="388" y="535"/>
                  </a:lnTo>
                  <a:lnTo>
                    <a:pt x="391" y="528"/>
                  </a:lnTo>
                  <a:lnTo>
                    <a:pt x="391" y="528"/>
                  </a:lnTo>
                  <a:lnTo>
                    <a:pt x="391" y="525"/>
                  </a:lnTo>
                  <a:lnTo>
                    <a:pt x="389" y="523"/>
                  </a:lnTo>
                  <a:lnTo>
                    <a:pt x="388" y="517"/>
                  </a:lnTo>
                  <a:lnTo>
                    <a:pt x="388" y="517"/>
                  </a:lnTo>
                  <a:lnTo>
                    <a:pt x="388" y="515"/>
                  </a:lnTo>
                  <a:lnTo>
                    <a:pt x="385" y="510"/>
                  </a:lnTo>
                  <a:lnTo>
                    <a:pt x="382" y="507"/>
                  </a:lnTo>
                  <a:lnTo>
                    <a:pt x="379" y="506"/>
                  </a:lnTo>
                  <a:lnTo>
                    <a:pt x="379" y="506"/>
                  </a:lnTo>
                  <a:lnTo>
                    <a:pt x="376" y="504"/>
                  </a:lnTo>
                  <a:lnTo>
                    <a:pt x="372" y="500"/>
                  </a:lnTo>
                  <a:lnTo>
                    <a:pt x="363" y="493"/>
                  </a:lnTo>
                  <a:lnTo>
                    <a:pt x="363" y="493"/>
                  </a:lnTo>
                  <a:lnTo>
                    <a:pt x="360" y="489"/>
                  </a:lnTo>
                  <a:lnTo>
                    <a:pt x="360" y="487"/>
                  </a:lnTo>
                  <a:lnTo>
                    <a:pt x="360" y="486"/>
                  </a:lnTo>
                  <a:lnTo>
                    <a:pt x="362" y="484"/>
                  </a:lnTo>
                  <a:lnTo>
                    <a:pt x="362" y="484"/>
                  </a:lnTo>
                  <a:lnTo>
                    <a:pt x="360" y="483"/>
                  </a:lnTo>
                  <a:lnTo>
                    <a:pt x="359" y="483"/>
                  </a:lnTo>
                  <a:lnTo>
                    <a:pt x="356" y="483"/>
                  </a:lnTo>
                  <a:lnTo>
                    <a:pt x="356" y="483"/>
                  </a:lnTo>
                  <a:lnTo>
                    <a:pt x="354" y="484"/>
                  </a:lnTo>
                  <a:lnTo>
                    <a:pt x="352" y="483"/>
                  </a:lnTo>
                  <a:lnTo>
                    <a:pt x="349" y="478"/>
                  </a:lnTo>
                  <a:lnTo>
                    <a:pt x="349" y="478"/>
                  </a:lnTo>
                  <a:lnTo>
                    <a:pt x="344" y="470"/>
                  </a:lnTo>
                  <a:lnTo>
                    <a:pt x="341" y="465"/>
                  </a:lnTo>
                  <a:lnTo>
                    <a:pt x="341" y="465"/>
                  </a:lnTo>
                  <a:lnTo>
                    <a:pt x="341" y="465"/>
                  </a:lnTo>
                  <a:lnTo>
                    <a:pt x="343" y="465"/>
                  </a:lnTo>
                  <a:lnTo>
                    <a:pt x="346" y="467"/>
                  </a:lnTo>
                  <a:lnTo>
                    <a:pt x="346" y="467"/>
                  </a:lnTo>
                  <a:lnTo>
                    <a:pt x="347" y="467"/>
                  </a:lnTo>
                  <a:lnTo>
                    <a:pt x="349" y="464"/>
                  </a:lnTo>
                  <a:lnTo>
                    <a:pt x="349" y="464"/>
                  </a:lnTo>
                  <a:lnTo>
                    <a:pt x="350" y="465"/>
                  </a:lnTo>
                  <a:lnTo>
                    <a:pt x="353" y="468"/>
                  </a:lnTo>
                  <a:lnTo>
                    <a:pt x="360" y="475"/>
                  </a:lnTo>
                  <a:lnTo>
                    <a:pt x="360" y="475"/>
                  </a:lnTo>
                  <a:lnTo>
                    <a:pt x="362" y="477"/>
                  </a:lnTo>
                  <a:lnTo>
                    <a:pt x="363" y="477"/>
                  </a:lnTo>
                  <a:lnTo>
                    <a:pt x="365" y="474"/>
                  </a:lnTo>
                  <a:lnTo>
                    <a:pt x="365" y="474"/>
                  </a:lnTo>
                  <a:lnTo>
                    <a:pt x="366" y="474"/>
                  </a:lnTo>
                  <a:lnTo>
                    <a:pt x="367" y="477"/>
                  </a:lnTo>
                  <a:lnTo>
                    <a:pt x="373" y="484"/>
                  </a:lnTo>
                  <a:lnTo>
                    <a:pt x="373" y="484"/>
                  </a:lnTo>
                  <a:lnTo>
                    <a:pt x="381" y="490"/>
                  </a:lnTo>
                  <a:lnTo>
                    <a:pt x="386" y="494"/>
                  </a:lnTo>
                  <a:lnTo>
                    <a:pt x="386" y="494"/>
                  </a:lnTo>
                  <a:lnTo>
                    <a:pt x="388" y="497"/>
                  </a:lnTo>
                  <a:lnTo>
                    <a:pt x="392" y="499"/>
                  </a:lnTo>
                  <a:lnTo>
                    <a:pt x="399" y="502"/>
                  </a:lnTo>
                  <a:lnTo>
                    <a:pt x="399" y="502"/>
                  </a:lnTo>
                  <a:lnTo>
                    <a:pt x="401" y="504"/>
                  </a:lnTo>
                  <a:lnTo>
                    <a:pt x="401" y="506"/>
                  </a:lnTo>
                  <a:lnTo>
                    <a:pt x="398" y="512"/>
                  </a:lnTo>
                  <a:lnTo>
                    <a:pt x="398" y="512"/>
                  </a:lnTo>
                  <a:lnTo>
                    <a:pt x="399" y="515"/>
                  </a:lnTo>
                  <a:lnTo>
                    <a:pt x="401" y="515"/>
                  </a:lnTo>
                  <a:lnTo>
                    <a:pt x="404" y="515"/>
                  </a:lnTo>
                  <a:lnTo>
                    <a:pt x="404" y="515"/>
                  </a:lnTo>
                  <a:lnTo>
                    <a:pt x="407" y="516"/>
                  </a:lnTo>
                  <a:lnTo>
                    <a:pt x="411" y="519"/>
                  </a:lnTo>
                  <a:lnTo>
                    <a:pt x="411" y="519"/>
                  </a:lnTo>
                  <a:lnTo>
                    <a:pt x="411" y="519"/>
                  </a:lnTo>
                  <a:lnTo>
                    <a:pt x="412" y="519"/>
                  </a:lnTo>
                  <a:lnTo>
                    <a:pt x="414" y="516"/>
                  </a:lnTo>
                  <a:lnTo>
                    <a:pt x="417" y="510"/>
                  </a:lnTo>
                  <a:lnTo>
                    <a:pt x="417" y="510"/>
                  </a:lnTo>
                  <a:lnTo>
                    <a:pt x="415" y="509"/>
                  </a:lnTo>
                  <a:lnTo>
                    <a:pt x="412" y="507"/>
                  </a:lnTo>
                  <a:lnTo>
                    <a:pt x="409" y="507"/>
                  </a:lnTo>
                  <a:lnTo>
                    <a:pt x="408" y="506"/>
                  </a:lnTo>
                  <a:lnTo>
                    <a:pt x="408" y="506"/>
                  </a:lnTo>
                  <a:lnTo>
                    <a:pt x="408" y="500"/>
                  </a:lnTo>
                  <a:lnTo>
                    <a:pt x="409" y="494"/>
                  </a:lnTo>
                  <a:lnTo>
                    <a:pt x="409" y="494"/>
                  </a:lnTo>
                  <a:lnTo>
                    <a:pt x="409" y="489"/>
                  </a:lnTo>
                  <a:lnTo>
                    <a:pt x="408" y="484"/>
                  </a:lnTo>
                  <a:lnTo>
                    <a:pt x="408" y="484"/>
                  </a:lnTo>
                  <a:lnTo>
                    <a:pt x="408" y="483"/>
                  </a:lnTo>
                  <a:lnTo>
                    <a:pt x="409" y="484"/>
                  </a:lnTo>
                  <a:lnTo>
                    <a:pt x="412" y="486"/>
                  </a:lnTo>
                  <a:lnTo>
                    <a:pt x="412" y="486"/>
                  </a:lnTo>
                  <a:lnTo>
                    <a:pt x="414" y="487"/>
                  </a:lnTo>
                  <a:lnTo>
                    <a:pt x="415" y="486"/>
                  </a:lnTo>
                  <a:lnTo>
                    <a:pt x="420" y="484"/>
                  </a:lnTo>
                  <a:lnTo>
                    <a:pt x="420" y="484"/>
                  </a:lnTo>
                  <a:lnTo>
                    <a:pt x="421" y="484"/>
                  </a:lnTo>
                  <a:lnTo>
                    <a:pt x="421" y="484"/>
                  </a:lnTo>
                  <a:lnTo>
                    <a:pt x="420" y="481"/>
                  </a:lnTo>
                  <a:lnTo>
                    <a:pt x="418" y="478"/>
                  </a:lnTo>
                  <a:lnTo>
                    <a:pt x="418" y="475"/>
                  </a:lnTo>
                  <a:lnTo>
                    <a:pt x="418" y="475"/>
                  </a:lnTo>
                  <a:lnTo>
                    <a:pt x="418" y="474"/>
                  </a:lnTo>
                  <a:lnTo>
                    <a:pt x="417" y="471"/>
                  </a:lnTo>
                  <a:lnTo>
                    <a:pt x="412" y="468"/>
                  </a:lnTo>
                  <a:lnTo>
                    <a:pt x="412" y="468"/>
                  </a:lnTo>
                  <a:lnTo>
                    <a:pt x="411" y="462"/>
                  </a:lnTo>
                  <a:lnTo>
                    <a:pt x="409" y="460"/>
                  </a:lnTo>
                  <a:lnTo>
                    <a:pt x="407" y="457"/>
                  </a:lnTo>
                  <a:lnTo>
                    <a:pt x="407" y="457"/>
                  </a:lnTo>
                  <a:lnTo>
                    <a:pt x="404" y="454"/>
                  </a:lnTo>
                  <a:lnTo>
                    <a:pt x="402" y="448"/>
                  </a:lnTo>
                  <a:lnTo>
                    <a:pt x="399" y="444"/>
                  </a:lnTo>
                  <a:lnTo>
                    <a:pt x="396" y="439"/>
                  </a:lnTo>
                  <a:lnTo>
                    <a:pt x="396" y="439"/>
                  </a:lnTo>
                  <a:lnTo>
                    <a:pt x="394" y="435"/>
                  </a:lnTo>
                  <a:lnTo>
                    <a:pt x="392" y="432"/>
                  </a:lnTo>
                  <a:lnTo>
                    <a:pt x="389" y="426"/>
                  </a:lnTo>
                  <a:lnTo>
                    <a:pt x="389" y="426"/>
                  </a:lnTo>
                  <a:lnTo>
                    <a:pt x="388" y="426"/>
                  </a:lnTo>
                  <a:lnTo>
                    <a:pt x="388" y="426"/>
                  </a:lnTo>
                  <a:lnTo>
                    <a:pt x="385" y="429"/>
                  </a:lnTo>
                  <a:lnTo>
                    <a:pt x="385" y="429"/>
                  </a:lnTo>
                  <a:lnTo>
                    <a:pt x="385" y="429"/>
                  </a:lnTo>
                  <a:lnTo>
                    <a:pt x="383" y="428"/>
                  </a:lnTo>
                  <a:lnTo>
                    <a:pt x="382" y="426"/>
                  </a:lnTo>
                  <a:lnTo>
                    <a:pt x="379" y="425"/>
                  </a:lnTo>
                  <a:lnTo>
                    <a:pt x="379" y="425"/>
                  </a:lnTo>
                  <a:lnTo>
                    <a:pt x="375" y="423"/>
                  </a:lnTo>
                  <a:lnTo>
                    <a:pt x="370" y="423"/>
                  </a:lnTo>
                  <a:lnTo>
                    <a:pt x="370" y="423"/>
                  </a:lnTo>
                  <a:lnTo>
                    <a:pt x="369" y="422"/>
                  </a:lnTo>
                  <a:lnTo>
                    <a:pt x="369" y="419"/>
                  </a:lnTo>
                  <a:lnTo>
                    <a:pt x="370" y="416"/>
                  </a:lnTo>
                  <a:lnTo>
                    <a:pt x="373" y="415"/>
                  </a:lnTo>
                  <a:lnTo>
                    <a:pt x="373" y="415"/>
                  </a:lnTo>
                  <a:lnTo>
                    <a:pt x="375" y="413"/>
                  </a:lnTo>
                  <a:lnTo>
                    <a:pt x="375" y="412"/>
                  </a:lnTo>
                  <a:lnTo>
                    <a:pt x="370" y="407"/>
                  </a:lnTo>
                  <a:lnTo>
                    <a:pt x="370" y="407"/>
                  </a:lnTo>
                  <a:lnTo>
                    <a:pt x="369" y="403"/>
                  </a:lnTo>
                  <a:lnTo>
                    <a:pt x="367" y="402"/>
                  </a:lnTo>
                  <a:lnTo>
                    <a:pt x="366" y="402"/>
                  </a:lnTo>
                  <a:lnTo>
                    <a:pt x="366" y="402"/>
                  </a:lnTo>
                  <a:lnTo>
                    <a:pt x="365" y="400"/>
                  </a:lnTo>
                  <a:lnTo>
                    <a:pt x="365" y="399"/>
                  </a:lnTo>
                  <a:lnTo>
                    <a:pt x="365" y="394"/>
                  </a:lnTo>
                  <a:lnTo>
                    <a:pt x="365" y="394"/>
                  </a:lnTo>
                  <a:lnTo>
                    <a:pt x="365" y="393"/>
                  </a:lnTo>
                  <a:lnTo>
                    <a:pt x="362" y="393"/>
                  </a:lnTo>
                  <a:lnTo>
                    <a:pt x="359" y="393"/>
                  </a:lnTo>
                  <a:lnTo>
                    <a:pt x="357" y="391"/>
                  </a:lnTo>
                  <a:lnTo>
                    <a:pt x="357" y="391"/>
                  </a:lnTo>
                  <a:lnTo>
                    <a:pt x="357" y="389"/>
                  </a:lnTo>
                  <a:lnTo>
                    <a:pt x="360" y="386"/>
                  </a:lnTo>
                  <a:lnTo>
                    <a:pt x="362" y="384"/>
                  </a:lnTo>
                  <a:lnTo>
                    <a:pt x="362" y="384"/>
                  </a:lnTo>
                  <a:lnTo>
                    <a:pt x="363" y="383"/>
                  </a:lnTo>
                  <a:lnTo>
                    <a:pt x="362" y="381"/>
                  </a:lnTo>
                  <a:lnTo>
                    <a:pt x="357" y="378"/>
                  </a:lnTo>
                  <a:lnTo>
                    <a:pt x="357" y="378"/>
                  </a:lnTo>
                  <a:lnTo>
                    <a:pt x="357" y="377"/>
                  </a:lnTo>
                  <a:lnTo>
                    <a:pt x="357" y="376"/>
                  </a:lnTo>
                  <a:lnTo>
                    <a:pt x="360" y="374"/>
                  </a:lnTo>
                  <a:lnTo>
                    <a:pt x="360" y="374"/>
                  </a:lnTo>
                  <a:lnTo>
                    <a:pt x="362" y="373"/>
                  </a:lnTo>
                  <a:lnTo>
                    <a:pt x="363" y="370"/>
                  </a:lnTo>
                  <a:lnTo>
                    <a:pt x="365" y="367"/>
                  </a:lnTo>
                  <a:lnTo>
                    <a:pt x="366" y="365"/>
                  </a:lnTo>
                  <a:lnTo>
                    <a:pt x="366" y="365"/>
                  </a:lnTo>
                  <a:lnTo>
                    <a:pt x="370" y="364"/>
                  </a:lnTo>
                  <a:lnTo>
                    <a:pt x="373" y="361"/>
                  </a:lnTo>
                  <a:lnTo>
                    <a:pt x="373" y="361"/>
                  </a:lnTo>
                  <a:lnTo>
                    <a:pt x="375" y="363"/>
                  </a:lnTo>
                  <a:lnTo>
                    <a:pt x="376" y="364"/>
                  </a:lnTo>
                  <a:lnTo>
                    <a:pt x="378" y="371"/>
                  </a:lnTo>
                  <a:lnTo>
                    <a:pt x="378" y="371"/>
                  </a:lnTo>
                  <a:lnTo>
                    <a:pt x="381" y="376"/>
                  </a:lnTo>
                  <a:lnTo>
                    <a:pt x="383" y="381"/>
                  </a:lnTo>
                  <a:lnTo>
                    <a:pt x="383" y="381"/>
                  </a:lnTo>
                  <a:lnTo>
                    <a:pt x="386" y="381"/>
                  </a:lnTo>
                  <a:lnTo>
                    <a:pt x="388" y="380"/>
                  </a:lnTo>
                  <a:lnTo>
                    <a:pt x="391" y="377"/>
                  </a:lnTo>
                  <a:lnTo>
                    <a:pt x="391" y="377"/>
                  </a:lnTo>
                  <a:lnTo>
                    <a:pt x="392" y="377"/>
                  </a:lnTo>
                  <a:lnTo>
                    <a:pt x="392" y="378"/>
                  </a:lnTo>
                  <a:lnTo>
                    <a:pt x="391" y="383"/>
                  </a:lnTo>
                  <a:lnTo>
                    <a:pt x="391" y="383"/>
                  </a:lnTo>
                  <a:lnTo>
                    <a:pt x="392" y="384"/>
                  </a:lnTo>
                  <a:lnTo>
                    <a:pt x="394" y="384"/>
                  </a:lnTo>
                  <a:lnTo>
                    <a:pt x="398" y="384"/>
                  </a:lnTo>
                  <a:lnTo>
                    <a:pt x="398" y="384"/>
                  </a:lnTo>
                  <a:lnTo>
                    <a:pt x="401" y="384"/>
                  </a:lnTo>
                  <a:lnTo>
                    <a:pt x="399" y="386"/>
                  </a:lnTo>
                  <a:lnTo>
                    <a:pt x="395" y="390"/>
                  </a:lnTo>
                  <a:lnTo>
                    <a:pt x="395" y="390"/>
                  </a:lnTo>
                  <a:lnTo>
                    <a:pt x="395" y="391"/>
                  </a:lnTo>
                  <a:lnTo>
                    <a:pt x="398" y="393"/>
                  </a:lnTo>
                  <a:lnTo>
                    <a:pt x="404" y="396"/>
                  </a:lnTo>
                  <a:lnTo>
                    <a:pt x="404" y="396"/>
                  </a:lnTo>
                  <a:lnTo>
                    <a:pt x="405" y="397"/>
                  </a:lnTo>
                  <a:lnTo>
                    <a:pt x="405" y="397"/>
                  </a:lnTo>
                  <a:lnTo>
                    <a:pt x="402" y="402"/>
                  </a:lnTo>
                  <a:lnTo>
                    <a:pt x="402" y="402"/>
                  </a:lnTo>
                  <a:lnTo>
                    <a:pt x="401" y="403"/>
                  </a:lnTo>
                  <a:lnTo>
                    <a:pt x="402" y="403"/>
                  </a:lnTo>
                  <a:lnTo>
                    <a:pt x="408" y="403"/>
                  </a:lnTo>
                  <a:lnTo>
                    <a:pt x="408" y="403"/>
                  </a:lnTo>
                  <a:lnTo>
                    <a:pt x="409" y="403"/>
                  </a:lnTo>
                  <a:lnTo>
                    <a:pt x="409" y="405"/>
                  </a:lnTo>
                  <a:lnTo>
                    <a:pt x="408" y="407"/>
                  </a:lnTo>
                  <a:lnTo>
                    <a:pt x="405" y="412"/>
                  </a:lnTo>
                  <a:lnTo>
                    <a:pt x="405" y="412"/>
                  </a:lnTo>
                  <a:lnTo>
                    <a:pt x="409" y="412"/>
                  </a:lnTo>
                  <a:lnTo>
                    <a:pt x="417" y="409"/>
                  </a:lnTo>
                  <a:lnTo>
                    <a:pt x="417" y="409"/>
                  </a:lnTo>
                  <a:lnTo>
                    <a:pt x="418" y="409"/>
                  </a:lnTo>
                  <a:lnTo>
                    <a:pt x="420" y="410"/>
                  </a:lnTo>
                  <a:lnTo>
                    <a:pt x="423" y="413"/>
                  </a:lnTo>
                  <a:lnTo>
                    <a:pt x="427" y="416"/>
                  </a:lnTo>
                  <a:lnTo>
                    <a:pt x="430" y="418"/>
                  </a:lnTo>
                  <a:lnTo>
                    <a:pt x="430" y="418"/>
                  </a:lnTo>
                  <a:lnTo>
                    <a:pt x="431" y="418"/>
                  </a:lnTo>
                  <a:lnTo>
                    <a:pt x="431" y="418"/>
                  </a:lnTo>
                  <a:lnTo>
                    <a:pt x="428" y="413"/>
                  </a:lnTo>
                  <a:lnTo>
                    <a:pt x="425" y="409"/>
                  </a:lnTo>
                  <a:lnTo>
                    <a:pt x="424" y="407"/>
                  </a:lnTo>
                  <a:lnTo>
                    <a:pt x="424" y="407"/>
                  </a:lnTo>
                  <a:lnTo>
                    <a:pt x="425" y="406"/>
                  </a:lnTo>
                  <a:lnTo>
                    <a:pt x="425" y="403"/>
                  </a:lnTo>
                  <a:lnTo>
                    <a:pt x="425" y="400"/>
                  </a:lnTo>
                  <a:lnTo>
                    <a:pt x="427" y="399"/>
                  </a:lnTo>
                  <a:lnTo>
                    <a:pt x="427" y="399"/>
                  </a:lnTo>
                  <a:lnTo>
                    <a:pt x="428" y="397"/>
                  </a:lnTo>
                  <a:lnTo>
                    <a:pt x="428" y="396"/>
                  </a:lnTo>
                  <a:lnTo>
                    <a:pt x="428" y="389"/>
                  </a:lnTo>
                  <a:lnTo>
                    <a:pt x="428" y="389"/>
                  </a:lnTo>
                  <a:lnTo>
                    <a:pt x="428" y="389"/>
                  </a:lnTo>
                  <a:lnTo>
                    <a:pt x="430" y="389"/>
                  </a:lnTo>
                  <a:lnTo>
                    <a:pt x="431" y="391"/>
                  </a:lnTo>
                  <a:lnTo>
                    <a:pt x="438" y="399"/>
                  </a:lnTo>
                  <a:lnTo>
                    <a:pt x="438" y="399"/>
                  </a:lnTo>
                  <a:lnTo>
                    <a:pt x="440" y="400"/>
                  </a:lnTo>
                  <a:lnTo>
                    <a:pt x="441" y="399"/>
                  </a:lnTo>
                  <a:lnTo>
                    <a:pt x="441" y="396"/>
                  </a:lnTo>
                  <a:lnTo>
                    <a:pt x="444" y="393"/>
                  </a:lnTo>
                  <a:lnTo>
                    <a:pt x="444" y="393"/>
                  </a:lnTo>
                  <a:lnTo>
                    <a:pt x="447" y="393"/>
                  </a:lnTo>
                  <a:lnTo>
                    <a:pt x="450" y="393"/>
                  </a:lnTo>
                  <a:lnTo>
                    <a:pt x="457" y="393"/>
                  </a:lnTo>
                  <a:lnTo>
                    <a:pt x="457" y="393"/>
                  </a:lnTo>
                  <a:lnTo>
                    <a:pt x="459" y="391"/>
                  </a:lnTo>
                  <a:lnTo>
                    <a:pt x="459" y="389"/>
                  </a:lnTo>
                  <a:lnTo>
                    <a:pt x="457" y="386"/>
                  </a:lnTo>
                  <a:lnTo>
                    <a:pt x="454" y="381"/>
                  </a:lnTo>
                  <a:lnTo>
                    <a:pt x="454" y="381"/>
                  </a:lnTo>
                  <a:lnTo>
                    <a:pt x="447" y="374"/>
                  </a:lnTo>
                  <a:lnTo>
                    <a:pt x="443" y="364"/>
                  </a:lnTo>
                  <a:lnTo>
                    <a:pt x="443" y="364"/>
                  </a:lnTo>
                  <a:lnTo>
                    <a:pt x="443" y="361"/>
                  </a:lnTo>
                  <a:lnTo>
                    <a:pt x="444" y="360"/>
                  </a:lnTo>
                  <a:lnTo>
                    <a:pt x="451" y="3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17" name="Freeform 1212"/>
            <p:cNvSpPr>
              <a:spLocks/>
            </p:cNvSpPr>
            <p:nvPr/>
          </p:nvSpPr>
          <p:spPr bwMode="auto">
            <a:xfrm>
              <a:off x="5610226" y="4067604"/>
              <a:ext cx="6350" cy="7938"/>
            </a:xfrm>
            <a:custGeom>
              <a:avLst/>
              <a:gdLst>
                <a:gd name="T0" fmla="*/ 4 w 4"/>
                <a:gd name="T1" fmla="*/ 5 h 5"/>
                <a:gd name="T2" fmla="*/ 4 w 4"/>
                <a:gd name="T3" fmla="*/ 5 h 5"/>
                <a:gd name="T4" fmla="*/ 3 w 4"/>
                <a:gd name="T5" fmla="*/ 5 h 5"/>
                <a:gd name="T6" fmla="*/ 0 w 4"/>
                <a:gd name="T7" fmla="*/ 5 h 5"/>
                <a:gd name="T8" fmla="*/ 0 w 4"/>
                <a:gd name="T9" fmla="*/ 3 h 5"/>
                <a:gd name="T10" fmla="*/ 0 w 4"/>
                <a:gd name="T11" fmla="*/ 2 h 5"/>
                <a:gd name="T12" fmla="*/ 0 w 4"/>
                <a:gd name="T13" fmla="*/ 2 h 5"/>
                <a:gd name="T14" fmla="*/ 1 w 4"/>
                <a:gd name="T15" fmla="*/ 0 h 5"/>
                <a:gd name="T16" fmla="*/ 3 w 4"/>
                <a:gd name="T17" fmla="*/ 2 h 5"/>
                <a:gd name="T18" fmla="*/ 4 w 4"/>
                <a:gd name="T19" fmla="*/ 3 h 5"/>
                <a:gd name="T20" fmla="*/ 4 w 4"/>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5">
                  <a:moveTo>
                    <a:pt x="4" y="5"/>
                  </a:moveTo>
                  <a:lnTo>
                    <a:pt x="4" y="5"/>
                  </a:lnTo>
                  <a:lnTo>
                    <a:pt x="3" y="5"/>
                  </a:lnTo>
                  <a:lnTo>
                    <a:pt x="0" y="5"/>
                  </a:lnTo>
                  <a:lnTo>
                    <a:pt x="0" y="3"/>
                  </a:lnTo>
                  <a:lnTo>
                    <a:pt x="0" y="2"/>
                  </a:lnTo>
                  <a:lnTo>
                    <a:pt x="0" y="2"/>
                  </a:lnTo>
                  <a:lnTo>
                    <a:pt x="1" y="0"/>
                  </a:lnTo>
                  <a:lnTo>
                    <a:pt x="3" y="2"/>
                  </a:lnTo>
                  <a:lnTo>
                    <a:pt x="4" y="3"/>
                  </a:lnTo>
                  <a:lnTo>
                    <a:pt x="4" y="5"/>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18" name="Freeform 1213"/>
            <p:cNvSpPr>
              <a:spLocks/>
            </p:cNvSpPr>
            <p:nvPr/>
          </p:nvSpPr>
          <p:spPr bwMode="auto">
            <a:xfrm>
              <a:off x="5610226" y="4067604"/>
              <a:ext cx="6350" cy="7938"/>
            </a:xfrm>
            <a:custGeom>
              <a:avLst/>
              <a:gdLst>
                <a:gd name="T0" fmla="*/ 4 w 4"/>
                <a:gd name="T1" fmla="*/ 5 h 5"/>
                <a:gd name="T2" fmla="*/ 4 w 4"/>
                <a:gd name="T3" fmla="*/ 5 h 5"/>
                <a:gd name="T4" fmla="*/ 3 w 4"/>
                <a:gd name="T5" fmla="*/ 5 h 5"/>
                <a:gd name="T6" fmla="*/ 0 w 4"/>
                <a:gd name="T7" fmla="*/ 5 h 5"/>
                <a:gd name="T8" fmla="*/ 0 w 4"/>
                <a:gd name="T9" fmla="*/ 3 h 5"/>
                <a:gd name="T10" fmla="*/ 0 w 4"/>
                <a:gd name="T11" fmla="*/ 2 h 5"/>
                <a:gd name="T12" fmla="*/ 0 w 4"/>
                <a:gd name="T13" fmla="*/ 2 h 5"/>
                <a:gd name="T14" fmla="*/ 1 w 4"/>
                <a:gd name="T15" fmla="*/ 0 h 5"/>
                <a:gd name="T16" fmla="*/ 3 w 4"/>
                <a:gd name="T17" fmla="*/ 2 h 5"/>
                <a:gd name="T18" fmla="*/ 4 w 4"/>
                <a:gd name="T19" fmla="*/ 3 h 5"/>
                <a:gd name="T20" fmla="*/ 4 w 4"/>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5">
                  <a:moveTo>
                    <a:pt x="4" y="5"/>
                  </a:moveTo>
                  <a:lnTo>
                    <a:pt x="4" y="5"/>
                  </a:lnTo>
                  <a:lnTo>
                    <a:pt x="3" y="5"/>
                  </a:lnTo>
                  <a:lnTo>
                    <a:pt x="0" y="5"/>
                  </a:lnTo>
                  <a:lnTo>
                    <a:pt x="0" y="3"/>
                  </a:lnTo>
                  <a:lnTo>
                    <a:pt x="0" y="2"/>
                  </a:lnTo>
                  <a:lnTo>
                    <a:pt x="0" y="2"/>
                  </a:lnTo>
                  <a:lnTo>
                    <a:pt x="1" y="0"/>
                  </a:lnTo>
                  <a:lnTo>
                    <a:pt x="3" y="2"/>
                  </a:lnTo>
                  <a:lnTo>
                    <a:pt x="4" y="3"/>
                  </a:lnTo>
                  <a:lnTo>
                    <a:pt x="4"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19" name="Freeform 1214"/>
            <p:cNvSpPr>
              <a:spLocks/>
            </p:cNvSpPr>
            <p:nvPr/>
          </p:nvSpPr>
          <p:spPr bwMode="auto">
            <a:xfrm>
              <a:off x="4806951" y="3442129"/>
              <a:ext cx="106363" cy="147638"/>
            </a:xfrm>
            <a:custGeom>
              <a:avLst/>
              <a:gdLst>
                <a:gd name="T0" fmla="*/ 63 w 67"/>
                <a:gd name="T1" fmla="*/ 44 h 93"/>
                <a:gd name="T2" fmla="*/ 63 w 67"/>
                <a:gd name="T3" fmla="*/ 44 h 93"/>
                <a:gd name="T4" fmla="*/ 60 w 67"/>
                <a:gd name="T5" fmla="*/ 40 h 93"/>
                <a:gd name="T6" fmla="*/ 60 w 67"/>
                <a:gd name="T7" fmla="*/ 37 h 93"/>
                <a:gd name="T8" fmla="*/ 60 w 67"/>
                <a:gd name="T9" fmla="*/ 35 h 93"/>
                <a:gd name="T10" fmla="*/ 58 w 67"/>
                <a:gd name="T11" fmla="*/ 34 h 93"/>
                <a:gd name="T12" fmla="*/ 58 w 67"/>
                <a:gd name="T13" fmla="*/ 34 h 93"/>
                <a:gd name="T14" fmla="*/ 51 w 67"/>
                <a:gd name="T15" fmla="*/ 37 h 93"/>
                <a:gd name="T16" fmla="*/ 47 w 67"/>
                <a:gd name="T17" fmla="*/ 37 h 93"/>
                <a:gd name="T18" fmla="*/ 44 w 67"/>
                <a:gd name="T19" fmla="*/ 35 h 93"/>
                <a:gd name="T20" fmla="*/ 44 w 67"/>
                <a:gd name="T21" fmla="*/ 35 h 93"/>
                <a:gd name="T22" fmla="*/ 40 w 67"/>
                <a:gd name="T23" fmla="*/ 32 h 93"/>
                <a:gd name="T24" fmla="*/ 38 w 67"/>
                <a:gd name="T25" fmla="*/ 29 h 93"/>
                <a:gd name="T26" fmla="*/ 35 w 67"/>
                <a:gd name="T27" fmla="*/ 26 h 93"/>
                <a:gd name="T28" fmla="*/ 32 w 67"/>
                <a:gd name="T29" fmla="*/ 24 h 93"/>
                <a:gd name="T30" fmla="*/ 32 w 67"/>
                <a:gd name="T31" fmla="*/ 24 h 93"/>
                <a:gd name="T32" fmla="*/ 29 w 67"/>
                <a:gd name="T33" fmla="*/ 21 h 93"/>
                <a:gd name="T34" fmla="*/ 27 w 67"/>
                <a:gd name="T35" fmla="*/ 15 h 93"/>
                <a:gd name="T36" fmla="*/ 22 w 67"/>
                <a:gd name="T37" fmla="*/ 9 h 93"/>
                <a:gd name="T38" fmla="*/ 21 w 67"/>
                <a:gd name="T39" fmla="*/ 0 h 93"/>
                <a:gd name="T40" fmla="*/ 21 w 67"/>
                <a:gd name="T41" fmla="*/ 0 h 93"/>
                <a:gd name="T42" fmla="*/ 8 w 67"/>
                <a:gd name="T43" fmla="*/ 5 h 93"/>
                <a:gd name="T44" fmla="*/ 3 w 67"/>
                <a:gd name="T45" fmla="*/ 6 h 93"/>
                <a:gd name="T46" fmla="*/ 0 w 67"/>
                <a:gd name="T47" fmla="*/ 8 h 93"/>
                <a:gd name="T48" fmla="*/ 0 w 67"/>
                <a:gd name="T49" fmla="*/ 8 h 93"/>
                <a:gd name="T50" fmla="*/ 0 w 67"/>
                <a:gd name="T51" fmla="*/ 12 h 93"/>
                <a:gd name="T52" fmla="*/ 3 w 67"/>
                <a:gd name="T53" fmla="*/ 21 h 93"/>
                <a:gd name="T54" fmla="*/ 5 w 67"/>
                <a:gd name="T55" fmla="*/ 31 h 93"/>
                <a:gd name="T56" fmla="*/ 6 w 67"/>
                <a:gd name="T57" fmla="*/ 40 h 93"/>
                <a:gd name="T58" fmla="*/ 6 w 67"/>
                <a:gd name="T59" fmla="*/ 40 h 93"/>
                <a:gd name="T60" fmla="*/ 6 w 67"/>
                <a:gd name="T61" fmla="*/ 45 h 93"/>
                <a:gd name="T62" fmla="*/ 3 w 67"/>
                <a:gd name="T63" fmla="*/ 50 h 93"/>
                <a:gd name="T64" fmla="*/ 3 w 67"/>
                <a:gd name="T65" fmla="*/ 50 h 93"/>
                <a:gd name="T66" fmla="*/ 12 w 67"/>
                <a:gd name="T67" fmla="*/ 58 h 93"/>
                <a:gd name="T68" fmla="*/ 15 w 67"/>
                <a:gd name="T69" fmla="*/ 63 h 93"/>
                <a:gd name="T70" fmla="*/ 16 w 67"/>
                <a:gd name="T71" fmla="*/ 67 h 93"/>
                <a:gd name="T72" fmla="*/ 16 w 67"/>
                <a:gd name="T73" fmla="*/ 67 h 93"/>
                <a:gd name="T74" fmla="*/ 18 w 67"/>
                <a:gd name="T75" fmla="*/ 71 h 93"/>
                <a:gd name="T76" fmla="*/ 18 w 67"/>
                <a:gd name="T77" fmla="*/ 76 h 93"/>
                <a:gd name="T78" fmla="*/ 16 w 67"/>
                <a:gd name="T79" fmla="*/ 82 h 93"/>
                <a:gd name="T80" fmla="*/ 16 w 67"/>
                <a:gd name="T81" fmla="*/ 82 h 93"/>
                <a:gd name="T82" fmla="*/ 19 w 67"/>
                <a:gd name="T83" fmla="*/ 87 h 93"/>
                <a:gd name="T84" fmla="*/ 22 w 67"/>
                <a:gd name="T85" fmla="*/ 93 h 93"/>
                <a:gd name="T86" fmla="*/ 22 w 67"/>
                <a:gd name="T87" fmla="*/ 93 h 93"/>
                <a:gd name="T88" fmla="*/ 37 w 67"/>
                <a:gd name="T89" fmla="*/ 86 h 93"/>
                <a:gd name="T90" fmla="*/ 37 w 67"/>
                <a:gd name="T91" fmla="*/ 86 h 93"/>
                <a:gd name="T92" fmla="*/ 51 w 67"/>
                <a:gd name="T93" fmla="*/ 84 h 93"/>
                <a:gd name="T94" fmla="*/ 51 w 67"/>
                <a:gd name="T95" fmla="*/ 84 h 93"/>
                <a:gd name="T96" fmla="*/ 51 w 67"/>
                <a:gd name="T97" fmla="*/ 80 h 93"/>
                <a:gd name="T98" fmla="*/ 51 w 67"/>
                <a:gd name="T99" fmla="*/ 80 h 93"/>
                <a:gd name="T100" fmla="*/ 55 w 67"/>
                <a:gd name="T101" fmla="*/ 64 h 93"/>
                <a:gd name="T102" fmla="*/ 58 w 67"/>
                <a:gd name="T103" fmla="*/ 55 h 93"/>
                <a:gd name="T104" fmla="*/ 60 w 67"/>
                <a:gd name="T105" fmla="*/ 54 h 93"/>
                <a:gd name="T106" fmla="*/ 63 w 67"/>
                <a:gd name="T107" fmla="*/ 53 h 93"/>
                <a:gd name="T108" fmla="*/ 63 w 67"/>
                <a:gd name="T109" fmla="*/ 53 h 93"/>
                <a:gd name="T110" fmla="*/ 67 w 67"/>
                <a:gd name="T111" fmla="*/ 53 h 93"/>
                <a:gd name="T112" fmla="*/ 67 w 67"/>
                <a:gd name="T113" fmla="*/ 53 h 93"/>
                <a:gd name="T114" fmla="*/ 66 w 67"/>
                <a:gd name="T115" fmla="*/ 47 h 93"/>
                <a:gd name="T116" fmla="*/ 63 w 67"/>
                <a:gd name="T117" fmla="*/ 4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 h="93">
                  <a:moveTo>
                    <a:pt x="63" y="44"/>
                  </a:moveTo>
                  <a:lnTo>
                    <a:pt x="63" y="44"/>
                  </a:lnTo>
                  <a:lnTo>
                    <a:pt x="60" y="40"/>
                  </a:lnTo>
                  <a:lnTo>
                    <a:pt x="60" y="37"/>
                  </a:lnTo>
                  <a:lnTo>
                    <a:pt x="60" y="35"/>
                  </a:lnTo>
                  <a:lnTo>
                    <a:pt x="58" y="34"/>
                  </a:lnTo>
                  <a:lnTo>
                    <a:pt x="58" y="34"/>
                  </a:lnTo>
                  <a:lnTo>
                    <a:pt x="51" y="37"/>
                  </a:lnTo>
                  <a:lnTo>
                    <a:pt x="47" y="37"/>
                  </a:lnTo>
                  <a:lnTo>
                    <a:pt x="44" y="35"/>
                  </a:lnTo>
                  <a:lnTo>
                    <a:pt x="44" y="35"/>
                  </a:lnTo>
                  <a:lnTo>
                    <a:pt x="40" y="32"/>
                  </a:lnTo>
                  <a:lnTo>
                    <a:pt x="38" y="29"/>
                  </a:lnTo>
                  <a:lnTo>
                    <a:pt x="35" y="26"/>
                  </a:lnTo>
                  <a:lnTo>
                    <a:pt x="32" y="24"/>
                  </a:lnTo>
                  <a:lnTo>
                    <a:pt x="32" y="24"/>
                  </a:lnTo>
                  <a:lnTo>
                    <a:pt x="29" y="21"/>
                  </a:lnTo>
                  <a:lnTo>
                    <a:pt x="27" y="15"/>
                  </a:lnTo>
                  <a:lnTo>
                    <a:pt x="22" y="9"/>
                  </a:lnTo>
                  <a:lnTo>
                    <a:pt x="21" y="0"/>
                  </a:lnTo>
                  <a:lnTo>
                    <a:pt x="21" y="0"/>
                  </a:lnTo>
                  <a:lnTo>
                    <a:pt x="8" y="5"/>
                  </a:lnTo>
                  <a:lnTo>
                    <a:pt x="3" y="6"/>
                  </a:lnTo>
                  <a:lnTo>
                    <a:pt x="0" y="8"/>
                  </a:lnTo>
                  <a:lnTo>
                    <a:pt x="0" y="8"/>
                  </a:lnTo>
                  <a:lnTo>
                    <a:pt x="0" y="12"/>
                  </a:lnTo>
                  <a:lnTo>
                    <a:pt x="3" y="21"/>
                  </a:lnTo>
                  <a:lnTo>
                    <a:pt x="5" y="31"/>
                  </a:lnTo>
                  <a:lnTo>
                    <a:pt x="6" y="40"/>
                  </a:lnTo>
                  <a:lnTo>
                    <a:pt x="6" y="40"/>
                  </a:lnTo>
                  <a:lnTo>
                    <a:pt x="6" y="45"/>
                  </a:lnTo>
                  <a:lnTo>
                    <a:pt x="3" y="50"/>
                  </a:lnTo>
                  <a:lnTo>
                    <a:pt x="3" y="50"/>
                  </a:lnTo>
                  <a:lnTo>
                    <a:pt x="12" y="58"/>
                  </a:lnTo>
                  <a:lnTo>
                    <a:pt x="15" y="63"/>
                  </a:lnTo>
                  <a:lnTo>
                    <a:pt x="16" y="67"/>
                  </a:lnTo>
                  <a:lnTo>
                    <a:pt x="16" y="67"/>
                  </a:lnTo>
                  <a:lnTo>
                    <a:pt x="18" y="71"/>
                  </a:lnTo>
                  <a:lnTo>
                    <a:pt x="18" y="76"/>
                  </a:lnTo>
                  <a:lnTo>
                    <a:pt x="16" y="82"/>
                  </a:lnTo>
                  <a:lnTo>
                    <a:pt x="16" y="82"/>
                  </a:lnTo>
                  <a:lnTo>
                    <a:pt x="19" y="87"/>
                  </a:lnTo>
                  <a:lnTo>
                    <a:pt x="22" y="93"/>
                  </a:lnTo>
                  <a:lnTo>
                    <a:pt x="22" y="93"/>
                  </a:lnTo>
                  <a:lnTo>
                    <a:pt x="37" y="86"/>
                  </a:lnTo>
                  <a:lnTo>
                    <a:pt x="37" y="86"/>
                  </a:lnTo>
                  <a:lnTo>
                    <a:pt x="51" y="84"/>
                  </a:lnTo>
                  <a:lnTo>
                    <a:pt x="51" y="84"/>
                  </a:lnTo>
                  <a:lnTo>
                    <a:pt x="51" y="80"/>
                  </a:lnTo>
                  <a:lnTo>
                    <a:pt x="51" y="80"/>
                  </a:lnTo>
                  <a:lnTo>
                    <a:pt x="55" y="64"/>
                  </a:lnTo>
                  <a:lnTo>
                    <a:pt x="58" y="55"/>
                  </a:lnTo>
                  <a:lnTo>
                    <a:pt x="60" y="54"/>
                  </a:lnTo>
                  <a:lnTo>
                    <a:pt x="63" y="53"/>
                  </a:lnTo>
                  <a:lnTo>
                    <a:pt x="63" y="53"/>
                  </a:lnTo>
                  <a:lnTo>
                    <a:pt x="67" y="53"/>
                  </a:lnTo>
                  <a:lnTo>
                    <a:pt x="67" y="53"/>
                  </a:lnTo>
                  <a:lnTo>
                    <a:pt x="66" y="47"/>
                  </a:lnTo>
                  <a:lnTo>
                    <a:pt x="63" y="44"/>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20" name="Freeform 1215"/>
            <p:cNvSpPr>
              <a:spLocks/>
            </p:cNvSpPr>
            <p:nvPr/>
          </p:nvSpPr>
          <p:spPr bwMode="auto">
            <a:xfrm>
              <a:off x="4806951" y="3442129"/>
              <a:ext cx="106363" cy="147638"/>
            </a:xfrm>
            <a:custGeom>
              <a:avLst/>
              <a:gdLst>
                <a:gd name="T0" fmla="*/ 63 w 67"/>
                <a:gd name="T1" fmla="*/ 44 h 93"/>
                <a:gd name="T2" fmla="*/ 63 w 67"/>
                <a:gd name="T3" fmla="*/ 44 h 93"/>
                <a:gd name="T4" fmla="*/ 60 w 67"/>
                <a:gd name="T5" fmla="*/ 40 h 93"/>
                <a:gd name="T6" fmla="*/ 60 w 67"/>
                <a:gd name="T7" fmla="*/ 37 h 93"/>
                <a:gd name="T8" fmla="*/ 60 w 67"/>
                <a:gd name="T9" fmla="*/ 35 h 93"/>
                <a:gd name="T10" fmla="*/ 58 w 67"/>
                <a:gd name="T11" fmla="*/ 34 h 93"/>
                <a:gd name="T12" fmla="*/ 58 w 67"/>
                <a:gd name="T13" fmla="*/ 34 h 93"/>
                <a:gd name="T14" fmla="*/ 51 w 67"/>
                <a:gd name="T15" fmla="*/ 37 h 93"/>
                <a:gd name="T16" fmla="*/ 47 w 67"/>
                <a:gd name="T17" fmla="*/ 37 h 93"/>
                <a:gd name="T18" fmla="*/ 44 w 67"/>
                <a:gd name="T19" fmla="*/ 35 h 93"/>
                <a:gd name="T20" fmla="*/ 44 w 67"/>
                <a:gd name="T21" fmla="*/ 35 h 93"/>
                <a:gd name="T22" fmla="*/ 40 w 67"/>
                <a:gd name="T23" fmla="*/ 32 h 93"/>
                <a:gd name="T24" fmla="*/ 38 w 67"/>
                <a:gd name="T25" fmla="*/ 29 h 93"/>
                <a:gd name="T26" fmla="*/ 35 w 67"/>
                <a:gd name="T27" fmla="*/ 26 h 93"/>
                <a:gd name="T28" fmla="*/ 32 w 67"/>
                <a:gd name="T29" fmla="*/ 24 h 93"/>
                <a:gd name="T30" fmla="*/ 32 w 67"/>
                <a:gd name="T31" fmla="*/ 24 h 93"/>
                <a:gd name="T32" fmla="*/ 29 w 67"/>
                <a:gd name="T33" fmla="*/ 21 h 93"/>
                <a:gd name="T34" fmla="*/ 27 w 67"/>
                <a:gd name="T35" fmla="*/ 15 h 93"/>
                <a:gd name="T36" fmla="*/ 22 w 67"/>
                <a:gd name="T37" fmla="*/ 9 h 93"/>
                <a:gd name="T38" fmla="*/ 21 w 67"/>
                <a:gd name="T39" fmla="*/ 0 h 93"/>
                <a:gd name="T40" fmla="*/ 21 w 67"/>
                <a:gd name="T41" fmla="*/ 0 h 93"/>
                <a:gd name="T42" fmla="*/ 8 w 67"/>
                <a:gd name="T43" fmla="*/ 5 h 93"/>
                <a:gd name="T44" fmla="*/ 3 w 67"/>
                <a:gd name="T45" fmla="*/ 6 h 93"/>
                <a:gd name="T46" fmla="*/ 0 w 67"/>
                <a:gd name="T47" fmla="*/ 8 h 93"/>
                <a:gd name="T48" fmla="*/ 0 w 67"/>
                <a:gd name="T49" fmla="*/ 8 h 93"/>
                <a:gd name="T50" fmla="*/ 0 w 67"/>
                <a:gd name="T51" fmla="*/ 12 h 93"/>
                <a:gd name="T52" fmla="*/ 3 w 67"/>
                <a:gd name="T53" fmla="*/ 21 h 93"/>
                <a:gd name="T54" fmla="*/ 5 w 67"/>
                <a:gd name="T55" fmla="*/ 31 h 93"/>
                <a:gd name="T56" fmla="*/ 6 w 67"/>
                <a:gd name="T57" fmla="*/ 40 h 93"/>
                <a:gd name="T58" fmla="*/ 6 w 67"/>
                <a:gd name="T59" fmla="*/ 40 h 93"/>
                <a:gd name="T60" fmla="*/ 6 w 67"/>
                <a:gd name="T61" fmla="*/ 45 h 93"/>
                <a:gd name="T62" fmla="*/ 3 w 67"/>
                <a:gd name="T63" fmla="*/ 50 h 93"/>
                <a:gd name="T64" fmla="*/ 3 w 67"/>
                <a:gd name="T65" fmla="*/ 50 h 93"/>
                <a:gd name="T66" fmla="*/ 12 w 67"/>
                <a:gd name="T67" fmla="*/ 58 h 93"/>
                <a:gd name="T68" fmla="*/ 15 w 67"/>
                <a:gd name="T69" fmla="*/ 63 h 93"/>
                <a:gd name="T70" fmla="*/ 16 w 67"/>
                <a:gd name="T71" fmla="*/ 67 h 93"/>
                <a:gd name="T72" fmla="*/ 16 w 67"/>
                <a:gd name="T73" fmla="*/ 67 h 93"/>
                <a:gd name="T74" fmla="*/ 18 w 67"/>
                <a:gd name="T75" fmla="*/ 71 h 93"/>
                <a:gd name="T76" fmla="*/ 18 w 67"/>
                <a:gd name="T77" fmla="*/ 76 h 93"/>
                <a:gd name="T78" fmla="*/ 16 w 67"/>
                <a:gd name="T79" fmla="*/ 82 h 93"/>
                <a:gd name="T80" fmla="*/ 16 w 67"/>
                <a:gd name="T81" fmla="*/ 82 h 93"/>
                <a:gd name="T82" fmla="*/ 19 w 67"/>
                <a:gd name="T83" fmla="*/ 87 h 93"/>
                <a:gd name="T84" fmla="*/ 22 w 67"/>
                <a:gd name="T85" fmla="*/ 93 h 93"/>
                <a:gd name="T86" fmla="*/ 22 w 67"/>
                <a:gd name="T87" fmla="*/ 93 h 93"/>
                <a:gd name="T88" fmla="*/ 37 w 67"/>
                <a:gd name="T89" fmla="*/ 86 h 93"/>
                <a:gd name="T90" fmla="*/ 37 w 67"/>
                <a:gd name="T91" fmla="*/ 86 h 93"/>
                <a:gd name="T92" fmla="*/ 51 w 67"/>
                <a:gd name="T93" fmla="*/ 84 h 93"/>
                <a:gd name="T94" fmla="*/ 51 w 67"/>
                <a:gd name="T95" fmla="*/ 84 h 93"/>
                <a:gd name="T96" fmla="*/ 51 w 67"/>
                <a:gd name="T97" fmla="*/ 80 h 93"/>
                <a:gd name="T98" fmla="*/ 51 w 67"/>
                <a:gd name="T99" fmla="*/ 80 h 93"/>
                <a:gd name="T100" fmla="*/ 55 w 67"/>
                <a:gd name="T101" fmla="*/ 64 h 93"/>
                <a:gd name="T102" fmla="*/ 58 w 67"/>
                <a:gd name="T103" fmla="*/ 55 h 93"/>
                <a:gd name="T104" fmla="*/ 60 w 67"/>
                <a:gd name="T105" fmla="*/ 54 h 93"/>
                <a:gd name="T106" fmla="*/ 63 w 67"/>
                <a:gd name="T107" fmla="*/ 53 h 93"/>
                <a:gd name="T108" fmla="*/ 63 w 67"/>
                <a:gd name="T109" fmla="*/ 53 h 93"/>
                <a:gd name="T110" fmla="*/ 67 w 67"/>
                <a:gd name="T111" fmla="*/ 53 h 93"/>
                <a:gd name="T112" fmla="*/ 67 w 67"/>
                <a:gd name="T113" fmla="*/ 53 h 93"/>
                <a:gd name="T114" fmla="*/ 66 w 67"/>
                <a:gd name="T115" fmla="*/ 47 h 93"/>
                <a:gd name="T116" fmla="*/ 63 w 67"/>
                <a:gd name="T117" fmla="*/ 4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 h="93">
                  <a:moveTo>
                    <a:pt x="63" y="44"/>
                  </a:moveTo>
                  <a:lnTo>
                    <a:pt x="63" y="44"/>
                  </a:lnTo>
                  <a:lnTo>
                    <a:pt x="60" y="40"/>
                  </a:lnTo>
                  <a:lnTo>
                    <a:pt x="60" y="37"/>
                  </a:lnTo>
                  <a:lnTo>
                    <a:pt x="60" y="35"/>
                  </a:lnTo>
                  <a:lnTo>
                    <a:pt x="58" y="34"/>
                  </a:lnTo>
                  <a:lnTo>
                    <a:pt x="58" y="34"/>
                  </a:lnTo>
                  <a:lnTo>
                    <a:pt x="51" y="37"/>
                  </a:lnTo>
                  <a:lnTo>
                    <a:pt x="47" y="37"/>
                  </a:lnTo>
                  <a:lnTo>
                    <a:pt x="44" y="35"/>
                  </a:lnTo>
                  <a:lnTo>
                    <a:pt x="44" y="35"/>
                  </a:lnTo>
                  <a:lnTo>
                    <a:pt x="40" y="32"/>
                  </a:lnTo>
                  <a:lnTo>
                    <a:pt x="38" y="29"/>
                  </a:lnTo>
                  <a:lnTo>
                    <a:pt x="35" y="26"/>
                  </a:lnTo>
                  <a:lnTo>
                    <a:pt x="32" y="24"/>
                  </a:lnTo>
                  <a:lnTo>
                    <a:pt x="32" y="24"/>
                  </a:lnTo>
                  <a:lnTo>
                    <a:pt x="29" y="21"/>
                  </a:lnTo>
                  <a:lnTo>
                    <a:pt x="27" y="15"/>
                  </a:lnTo>
                  <a:lnTo>
                    <a:pt x="22" y="9"/>
                  </a:lnTo>
                  <a:lnTo>
                    <a:pt x="21" y="0"/>
                  </a:lnTo>
                  <a:lnTo>
                    <a:pt x="21" y="0"/>
                  </a:lnTo>
                  <a:lnTo>
                    <a:pt x="8" y="5"/>
                  </a:lnTo>
                  <a:lnTo>
                    <a:pt x="3" y="6"/>
                  </a:lnTo>
                  <a:lnTo>
                    <a:pt x="0" y="8"/>
                  </a:lnTo>
                  <a:lnTo>
                    <a:pt x="0" y="8"/>
                  </a:lnTo>
                  <a:lnTo>
                    <a:pt x="0" y="12"/>
                  </a:lnTo>
                  <a:lnTo>
                    <a:pt x="3" y="21"/>
                  </a:lnTo>
                  <a:lnTo>
                    <a:pt x="5" y="31"/>
                  </a:lnTo>
                  <a:lnTo>
                    <a:pt x="6" y="40"/>
                  </a:lnTo>
                  <a:lnTo>
                    <a:pt x="6" y="40"/>
                  </a:lnTo>
                  <a:lnTo>
                    <a:pt x="6" y="45"/>
                  </a:lnTo>
                  <a:lnTo>
                    <a:pt x="3" y="50"/>
                  </a:lnTo>
                  <a:lnTo>
                    <a:pt x="3" y="50"/>
                  </a:lnTo>
                  <a:lnTo>
                    <a:pt x="12" y="58"/>
                  </a:lnTo>
                  <a:lnTo>
                    <a:pt x="15" y="63"/>
                  </a:lnTo>
                  <a:lnTo>
                    <a:pt x="16" y="67"/>
                  </a:lnTo>
                  <a:lnTo>
                    <a:pt x="16" y="67"/>
                  </a:lnTo>
                  <a:lnTo>
                    <a:pt x="18" y="71"/>
                  </a:lnTo>
                  <a:lnTo>
                    <a:pt x="18" y="76"/>
                  </a:lnTo>
                  <a:lnTo>
                    <a:pt x="16" y="82"/>
                  </a:lnTo>
                  <a:lnTo>
                    <a:pt x="16" y="82"/>
                  </a:lnTo>
                  <a:lnTo>
                    <a:pt x="19" y="87"/>
                  </a:lnTo>
                  <a:lnTo>
                    <a:pt x="22" y="93"/>
                  </a:lnTo>
                  <a:lnTo>
                    <a:pt x="22" y="93"/>
                  </a:lnTo>
                  <a:lnTo>
                    <a:pt x="37" y="86"/>
                  </a:lnTo>
                  <a:lnTo>
                    <a:pt x="37" y="86"/>
                  </a:lnTo>
                  <a:lnTo>
                    <a:pt x="51" y="84"/>
                  </a:lnTo>
                  <a:lnTo>
                    <a:pt x="51" y="84"/>
                  </a:lnTo>
                  <a:lnTo>
                    <a:pt x="51" y="80"/>
                  </a:lnTo>
                  <a:lnTo>
                    <a:pt x="51" y="80"/>
                  </a:lnTo>
                  <a:lnTo>
                    <a:pt x="55" y="64"/>
                  </a:lnTo>
                  <a:lnTo>
                    <a:pt x="58" y="55"/>
                  </a:lnTo>
                  <a:lnTo>
                    <a:pt x="60" y="54"/>
                  </a:lnTo>
                  <a:lnTo>
                    <a:pt x="63" y="53"/>
                  </a:lnTo>
                  <a:lnTo>
                    <a:pt x="63" y="53"/>
                  </a:lnTo>
                  <a:lnTo>
                    <a:pt x="67" y="53"/>
                  </a:lnTo>
                  <a:lnTo>
                    <a:pt x="67" y="53"/>
                  </a:lnTo>
                  <a:lnTo>
                    <a:pt x="66" y="47"/>
                  </a:lnTo>
                  <a:lnTo>
                    <a:pt x="63" y="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21" name="Freeform 1216"/>
            <p:cNvSpPr>
              <a:spLocks/>
            </p:cNvSpPr>
            <p:nvPr/>
          </p:nvSpPr>
          <p:spPr bwMode="auto">
            <a:xfrm>
              <a:off x="4775201" y="3521504"/>
              <a:ext cx="60325" cy="73025"/>
            </a:xfrm>
            <a:custGeom>
              <a:avLst/>
              <a:gdLst>
                <a:gd name="T0" fmla="*/ 36 w 38"/>
                <a:gd name="T1" fmla="*/ 17 h 46"/>
                <a:gd name="T2" fmla="*/ 36 w 38"/>
                <a:gd name="T3" fmla="*/ 17 h 46"/>
                <a:gd name="T4" fmla="*/ 32 w 38"/>
                <a:gd name="T5" fmla="*/ 8 h 46"/>
                <a:gd name="T6" fmla="*/ 23 w 38"/>
                <a:gd name="T7" fmla="*/ 0 h 46"/>
                <a:gd name="T8" fmla="*/ 23 w 38"/>
                <a:gd name="T9" fmla="*/ 0 h 46"/>
                <a:gd name="T10" fmla="*/ 15 w 38"/>
                <a:gd name="T11" fmla="*/ 10 h 46"/>
                <a:gd name="T12" fmla="*/ 15 w 38"/>
                <a:gd name="T13" fmla="*/ 10 h 46"/>
                <a:gd name="T14" fmla="*/ 9 w 38"/>
                <a:gd name="T15" fmla="*/ 18 h 46"/>
                <a:gd name="T16" fmla="*/ 0 w 38"/>
                <a:gd name="T17" fmla="*/ 30 h 46"/>
                <a:gd name="T18" fmla="*/ 0 w 38"/>
                <a:gd name="T19" fmla="*/ 30 h 46"/>
                <a:gd name="T20" fmla="*/ 6 w 38"/>
                <a:gd name="T21" fmla="*/ 34 h 46"/>
                <a:gd name="T22" fmla="*/ 10 w 38"/>
                <a:gd name="T23" fmla="*/ 40 h 46"/>
                <a:gd name="T24" fmla="*/ 10 w 38"/>
                <a:gd name="T25" fmla="*/ 40 h 46"/>
                <a:gd name="T26" fmla="*/ 12 w 38"/>
                <a:gd name="T27" fmla="*/ 42 h 46"/>
                <a:gd name="T28" fmla="*/ 15 w 38"/>
                <a:gd name="T29" fmla="*/ 45 h 46"/>
                <a:gd name="T30" fmla="*/ 19 w 38"/>
                <a:gd name="T31" fmla="*/ 46 h 46"/>
                <a:gd name="T32" fmla="*/ 19 w 38"/>
                <a:gd name="T33" fmla="*/ 46 h 46"/>
                <a:gd name="T34" fmla="*/ 22 w 38"/>
                <a:gd name="T35" fmla="*/ 34 h 46"/>
                <a:gd name="T36" fmla="*/ 22 w 38"/>
                <a:gd name="T37" fmla="*/ 34 h 46"/>
                <a:gd name="T38" fmla="*/ 23 w 38"/>
                <a:gd name="T39" fmla="*/ 32 h 46"/>
                <a:gd name="T40" fmla="*/ 26 w 38"/>
                <a:gd name="T41" fmla="*/ 30 h 46"/>
                <a:gd name="T42" fmla="*/ 33 w 38"/>
                <a:gd name="T43" fmla="*/ 30 h 46"/>
                <a:gd name="T44" fmla="*/ 33 w 38"/>
                <a:gd name="T45" fmla="*/ 30 h 46"/>
                <a:gd name="T46" fmla="*/ 36 w 38"/>
                <a:gd name="T47" fmla="*/ 32 h 46"/>
                <a:gd name="T48" fmla="*/ 36 w 38"/>
                <a:gd name="T49" fmla="*/ 32 h 46"/>
                <a:gd name="T50" fmla="*/ 38 w 38"/>
                <a:gd name="T51" fmla="*/ 26 h 46"/>
                <a:gd name="T52" fmla="*/ 38 w 38"/>
                <a:gd name="T53" fmla="*/ 21 h 46"/>
                <a:gd name="T54" fmla="*/ 36 w 38"/>
                <a:gd name="T55" fmla="*/ 1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8" h="46">
                  <a:moveTo>
                    <a:pt x="36" y="17"/>
                  </a:moveTo>
                  <a:lnTo>
                    <a:pt x="36" y="17"/>
                  </a:lnTo>
                  <a:lnTo>
                    <a:pt x="32" y="8"/>
                  </a:lnTo>
                  <a:lnTo>
                    <a:pt x="23" y="0"/>
                  </a:lnTo>
                  <a:lnTo>
                    <a:pt x="23" y="0"/>
                  </a:lnTo>
                  <a:lnTo>
                    <a:pt x="15" y="10"/>
                  </a:lnTo>
                  <a:lnTo>
                    <a:pt x="15" y="10"/>
                  </a:lnTo>
                  <a:lnTo>
                    <a:pt x="9" y="18"/>
                  </a:lnTo>
                  <a:lnTo>
                    <a:pt x="0" y="30"/>
                  </a:lnTo>
                  <a:lnTo>
                    <a:pt x="0" y="30"/>
                  </a:lnTo>
                  <a:lnTo>
                    <a:pt x="6" y="34"/>
                  </a:lnTo>
                  <a:lnTo>
                    <a:pt x="10" y="40"/>
                  </a:lnTo>
                  <a:lnTo>
                    <a:pt x="10" y="40"/>
                  </a:lnTo>
                  <a:lnTo>
                    <a:pt x="12" y="42"/>
                  </a:lnTo>
                  <a:lnTo>
                    <a:pt x="15" y="45"/>
                  </a:lnTo>
                  <a:lnTo>
                    <a:pt x="19" y="46"/>
                  </a:lnTo>
                  <a:lnTo>
                    <a:pt x="19" y="46"/>
                  </a:lnTo>
                  <a:lnTo>
                    <a:pt x="22" y="34"/>
                  </a:lnTo>
                  <a:lnTo>
                    <a:pt x="22" y="34"/>
                  </a:lnTo>
                  <a:lnTo>
                    <a:pt x="23" y="32"/>
                  </a:lnTo>
                  <a:lnTo>
                    <a:pt x="26" y="30"/>
                  </a:lnTo>
                  <a:lnTo>
                    <a:pt x="33" y="30"/>
                  </a:lnTo>
                  <a:lnTo>
                    <a:pt x="33" y="30"/>
                  </a:lnTo>
                  <a:lnTo>
                    <a:pt x="36" y="32"/>
                  </a:lnTo>
                  <a:lnTo>
                    <a:pt x="36" y="32"/>
                  </a:lnTo>
                  <a:lnTo>
                    <a:pt x="38" y="26"/>
                  </a:lnTo>
                  <a:lnTo>
                    <a:pt x="38" y="21"/>
                  </a:lnTo>
                  <a:lnTo>
                    <a:pt x="36" y="17"/>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22" name="Freeform 1217"/>
            <p:cNvSpPr>
              <a:spLocks/>
            </p:cNvSpPr>
            <p:nvPr/>
          </p:nvSpPr>
          <p:spPr bwMode="auto">
            <a:xfrm>
              <a:off x="4775201" y="3521504"/>
              <a:ext cx="60325" cy="73025"/>
            </a:xfrm>
            <a:custGeom>
              <a:avLst/>
              <a:gdLst>
                <a:gd name="T0" fmla="*/ 36 w 38"/>
                <a:gd name="T1" fmla="*/ 17 h 46"/>
                <a:gd name="T2" fmla="*/ 36 w 38"/>
                <a:gd name="T3" fmla="*/ 17 h 46"/>
                <a:gd name="T4" fmla="*/ 32 w 38"/>
                <a:gd name="T5" fmla="*/ 8 h 46"/>
                <a:gd name="T6" fmla="*/ 23 w 38"/>
                <a:gd name="T7" fmla="*/ 0 h 46"/>
                <a:gd name="T8" fmla="*/ 23 w 38"/>
                <a:gd name="T9" fmla="*/ 0 h 46"/>
                <a:gd name="T10" fmla="*/ 15 w 38"/>
                <a:gd name="T11" fmla="*/ 10 h 46"/>
                <a:gd name="T12" fmla="*/ 15 w 38"/>
                <a:gd name="T13" fmla="*/ 10 h 46"/>
                <a:gd name="T14" fmla="*/ 9 w 38"/>
                <a:gd name="T15" fmla="*/ 18 h 46"/>
                <a:gd name="T16" fmla="*/ 0 w 38"/>
                <a:gd name="T17" fmla="*/ 30 h 46"/>
                <a:gd name="T18" fmla="*/ 0 w 38"/>
                <a:gd name="T19" fmla="*/ 30 h 46"/>
                <a:gd name="T20" fmla="*/ 6 w 38"/>
                <a:gd name="T21" fmla="*/ 34 h 46"/>
                <a:gd name="T22" fmla="*/ 10 w 38"/>
                <a:gd name="T23" fmla="*/ 40 h 46"/>
                <a:gd name="T24" fmla="*/ 10 w 38"/>
                <a:gd name="T25" fmla="*/ 40 h 46"/>
                <a:gd name="T26" fmla="*/ 12 w 38"/>
                <a:gd name="T27" fmla="*/ 42 h 46"/>
                <a:gd name="T28" fmla="*/ 15 w 38"/>
                <a:gd name="T29" fmla="*/ 45 h 46"/>
                <a:gd name="T30" fmla="*/ 19 w 38"/>
                <a:gd name="T31" fmla="*/ 46 h 46"/>
                <a:gd name="T32" fmla="*/ 19 w 38"/>
                <a:gd name="T33" fmla="*/ 46 h 46"/>
                <a:gd name="T34" fmla="*/ 22 w 38"/>
                <a:gd name="T35" fmla="*/ 34 h 46"/>
                <a:gd name="T36" fmla="*/ 22 w 38"/>
                <a:gd name="T37" fmla="*/ 34 h 46"/>
                <a:gd name="T38" fmla="*/ 23 w 38"/>
                <a:gd name="T39" fmla="*/ 32 h 46"/>
                <a:gd name="T40" fmla="*/ 26 w 38"/>
                <a:gd name="T41" fmla="*/ 30 h 46"/>
                <a:gd name="T42" fmla="*/ 33 w 38"/>
                <a:gd name="T43" fmla="*/ 30 h 46"/>
                <a:gd name="T44" fmla="*/ 33 w 38"/>
                <a:gd name="T45" fmla="*/ 30 h 46"/>
                <a:gd name="T46" fmla="*/ 36 w 38"/>
                <a:gd name="T47" fmla="*/ 32 h 46"/>
                <a:gd name="T48" fmla="*/ 36 w 38"/>
                <a:gd name="T49" fmla="*/ 32 h 46"/>
                <a:gd name="T50" fmla="*/ 38 w 38"/>
                <a:gd name="T51" fmla="*/ 26 h 46"/>
                <a:gd name="T52" fmla="*/ 38 w 38"/>
                <a:gd name="T53" fmla="*/ 21 h 46"/>
                <a:gd name="T54" fmla="*/ 36 w 38"/>
                <a:gd name="T55" fmla="*/ 1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8" h="46">
                  <a:moveTo>
                    <a:pt x="36" y="17"/>
                  </a:moveTo>
                  <a:lnTo>
                    <a:pt x="36" y="17"/>
                  </a:lnTo>
                  <a:lnTo>
                    <a:pt x="32" y="8"/>
                  </a:lnTo>
                  <a:lnTo>
                    <a:pt x="23" y="0"/>
                  </a:lnTo>
                  <a:lnTo>
                    <a:pt x="23" y="0"/>
                  </a:lnTo>
                  <a:lnTo>
                    <a:pt x="15" y="10"/>
                  </a:lnTo>
                  <a:lnTo>
                    <a:pt x="15" y="10"/>
                  </a:lnTo>
                  <a:lnTo>
                    <a:pt x="9" y="18"/>
                  </a:lnTo>
                  <a:lnTo>
                    <a:pt x="0" y="30"/>
                  </a:lnTo>
                  <a:lnTo>
                    <a:pt x="0" y="30"/>
                  </a:lnTo>
                  <a:lnTo>
                    <a:pt x="6" y="34"/>
                  </a:lnTo>
                  <a:lnTo>
                    <a:pt x="10" y="40"/>
                  </a:lnTo>
                  <a:lnTo>
                    <a:pt x="10" y="40"/>
                  </a:lnTo>
                  <a:lnTo>
                    <a:pt x="12" y="42"/>
                  </a:lnTo>
                  <a:lnTo>
                    <a:pt x="15" y="45"/>
                  </a:lnTo>
                  <a:lnTo>
                    <a:pt x="19" y="46"/>
                  </a:lnTo>
                  <a:lnTo>
                    <a:pt x="19" y="46"/>
                  </a:lnTo>
                  <a:lnTo>
                    <a:pt x="22" y="34"/>
                  </a:lnTo>
                  <a:lnTo>
                    <a:pt x="22" y="34"/>
                  </a:lnTo>
                  <a:lnTo>
                    <a:pt x="23" y="32"/>
                  </a:lnTo>
                  <a:lnTo>
                    <a:pt x="26" y="30"/>
                  </a:lnTo>
                  <a:lnTo>
                    <a:pt x="33" y="30"/>
                  </a:lnTo>
                  <a:lnTo>
                    <a:pt x="33" y="30"/>
                  </a:lnTo>
                  <a:lnTo>
                    <a:pt x="36" y="32"/>
                  </a:lnTo>
                  <a:lnTo>
                    <a:pt x="36" y="32"/>
                  </a:lnTo>
                  <a:lnTo>
                    <a:pt x="38" y="26"/>
                  </a:lnTo>
                  <a:lnTo>
                    <a:pt x="38" y="21"/>
                  </a:lnTo>
                  <a:lnTo>
                    <a:pt x="36"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23" name="Freeform 1220"/>
            <p:cNvSpPr>
              <a:spLocks/>
            </p:cNvSpPr>
            <p:nvPr/>
          </p:nvSpPr>
          <p:spPr bwMode="auto">
            <a:xfrm>
              <a:off x="8029576" y="3511979"/>
              <a:ext cx="22225" cy="20638"/>
            </a:xfrm>
            <a:custGeom>
              <a:avLst/>
              <a:gdLst>
                <a:gd name="T0" fmla="*/ 14 w 14"/>
                <a:gd name="T1" fmla="*/ 0 h 13"/>
                <a:gd name="T2" fmla="*/ 14 w 14"/>
                <a:gd name="T3" fmla="*/ 0 h 13"/>
                <a:gd name="T4" fmla="*/ 11 w 14"/>
                <a:gd name="T5" fmla="*/ 3 h 13"/>
                <a:gd name="T6" fmla="*/ 7 w 14"/>
                <a:gd name="T7" fmla="*/ 7 h 13"/>
                <a:gd name="T8" fmla="*/ 2 w 14"/>
                <a:gd name="T9" fmla="*/ 11 h 13"/>
                <a:gd name="T10" fmla="*/ 0 w 14"/>
                <a:gd name="T11" fmla="*/ 13 h 13"/>
                <a:gd name="T12" fmla="*/ 0 w 14"/>
                <a:gd name="T13" fmla="*/ 11 h 13"/>
                <a:gd name="T14" fmla="*/ 0 w 14"/>
                <a:gd name="T15" fmla="*/ 11 h 13"/>
                <a:gd name="T16" fmla="*/ 1 w 14"/>
                <a:gd name="T17" fmla="*/ 9 h 13"/>
                <a:gd name="T18" fmla="*/ 5 w 14"/>
                <a:gd name="T19" fmla="*/ 4 h 13"/>
                <a:gd name="T20" fmla="*/ 11 w 14"/>
                <a:gd name="T21" fmla="*/ 0 h 13"/>
                <a:gd name="T22" fmla="*/ 14 w 14"/>
                <a:gd name="T2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3">
                  <a:moveTo>
                    <a:pt x="14" y="0"/>
                  </a:moveTo>
                  <a:lnTo>
                    <a:pt x="14" y="0"/>
                  </a:lnTo>
                  <a:lnTo>
                    <a:pt x="11" y="3"/>
                  </a:lnTo>
                  <a:lnTo>
                    <a:pt x="7" y="7"/>
                  </a:lnTo>
                  <a:lnTo>
                    <a:pt x="2" y="11"/>
                  </a:lnTo>
                  <a:lnTo>
                    <a:pt x="0" y="13"/>
                  </a:lnTo>
                  <a:lnTo>
                    <a:pt x="0" y="11"/>
                  </a:lnTo>
                  <a:lnTo>
                    <a:pt x="0" y="11"/>
                  </a:lnTo>
                  <a:lnTo>
                    <a:pt x="1" y="9"/>
                  </a:lnTo>
                  <a:lnTo>
                    <a:pt x="5" y="4"/>
                  </a:lnTo>
                  <a:lnTo>
                    <a:pt x="11" y="0"/>
                  </a:lnTo>
                  <a:lnTo>
                    <a:pt x="14" y="0"/>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24" name="Freeform 1221"/>
            <p:cNvSpPr>
              <a:spLocks/>
            </p:cNvSpPr>
            <p:nvPr/>
          </p:nvSpPr>
          <p:spPr bwMode="auto">
            <a:xfrm>
              <a:off x="8029576" y="3511979"/>
              <a:ext cx="22225" cy="20638"/>
            </a:xfrm>
            <a:custGeom>
              <a:avLst/>
              <a:gdLst>
                <a:gd name="T0" fmla="*/ 14 w 14"/>
                <a:gd name="T1" fmla="*/ 0 h 13"/>
                <a:gd name="T2" fmla="*/ 14 w 14"/>
                <a:gd name="T3" fmla="*/ 0 h 13"/>
                <a:gd name="T4" fmla="*/ 11 w 14"/>
                <a:gd name="T5" fmla="*/ 3 h 13"/>
                <a:gd name="T6" fmla="*/ 7 w 14"/>
                <a:gd name="T7" fmla="*/ 7 h 13"/>
                <a:gd name="T8" fmla="*/ 2 w 14"/>
                <a:gd name="T9" fmla="*/ 11 h 13"/>
                <a:gd name="T10" fmla="*/ 0 w 14"/>
                <a:gd name="T11" fmla="*/ 13 h 13"/>
                <a:gd name="T12" fmla="*/ 0 w 14"/>
                <a:gd name="T13" fmla="*/ 11 h 13"/>
                <a:gd name="T14" fmla="*/ 0 w 14"/>
                <a:gd name="T15" fmla="*/ 11 h 13"/>
                <a:gd name="T16" fmla="*/ 1 w 14"/>
                <a:gd name="T17" fmla="*/ 9 h 13"/>
                <a:gd name="T18" fmla="*/ 5 w 14"/>
                <a:gd name="T19" fmla="*/ 4 h 13"/>
                <a:gd name="T20" fmla="*/ 11 w 14"/>
                <a:gd name="T21" fmla="*/ 0 h 13"/>
                <a:gd name="T22" fmla="*/ 14 w 14"/>
                <a:gd name="T2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3">
                  <a:moveTo>
                    <a:pt x="14" y="0"/>
                  </a:moveTo>
                  <a:lnTo>
                    <a:pt x="14" y="0"/>
                  </a:lnTo>
                  <a:lnTo>
                    <a:pt x="11" y="3"/>
                  </a:lnTo>
                  <a:lnTo>
                    <a:pt x="7" y="7"/>
                  </a:lnTo>
                  <a:lnTo>
                    <a:pt x="2" y="11"/>
                  </a:lnTo>
                  <a:lnTo>
                    <a:pt x="0" y="13"/>
                  </a:lnTo>
                  <a:lnTo>
                    <a:pt x="0" y="11"/>
                  </a:lnTo>
                  <a:lnTo>
                    <a:pt x="0" y="11"/>
                  </a:lnTo>
                  <a:lnTo>
                    <a:pt x="1" y="9"/>
                  </a:lnTo>
                  <a:lnTo>
                    <a:pt x="5" y="4"/>
                  </a:lnTo>
                  <a:lnTo>
                    <a:pt x="11"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25" name="Freeform 1224"/>
            <p:cNvSpPr>
              <a:spLocks/>
            </p:cNvSpPr>
            <p:nvPr/>
          </p:nvSpPr>
          <p:spPr bwMode="auto">
            <a:xfrm>
              <a:off x="8128001" y="3442129"/>
              <a:ext cx="17463" cy="20638"/>
            </a:xfrm>
            <a:custGeom>
              <a:avLst/>
              <a:gdLst>
                <a:gd name="T0" fmla="*/ 1 w 11"/>
                <a:gd name="T1" fmla="*/ 13 h 13"/>
                <a:gd name="T2" fmla="*/ 1 w 11"/>
                <a:gd name="T3" fmla="*/ 13 h 13"/>
                <a:gd name="T4" fmla="*/ 0 w 11"/>
                <a:gd name="T5" fmla="*/ 12 h 13"/>
                <a:gd name="T6" fmla="*/ 1 w 11"/>
                <a:gd name="T7" fmla="*/ 11 h 13"/>
                <a:gd name="T8" fmla="*/ 4 w 11"/>
                <a:gd name="T9" fmla="*/ 6 h 13"/>
                <a:gd name="T10" fmla="*/ 9 w 11"/>
                <a:gd name="T11" fmla="*/ 2 h 13"/>
                <a:gd name="T12" fmla="*/ 10 w 11"/>
                <a:gd name="T13" fmla="*/ 0 h 13"/>
                <a:gd name="T14" fmla="*/ 11 w 11"/>
                <a:gd name="T15" fmla="*/ 2 h 13"/>
                <a:gd name="T16" fmla="*/ 11 w 11"/>
                <a:gd name="T17" fmla="*/ 2 h 13"/>
                <a:gd name="T18" fmla="*/ 11 w 11"/>
                <a:gd name="T19" fmla="*/ 3 h 13"/>
                <a:gd name="T20" fmla="*/ 11 w 11"/>
                <a:gd name="T21" fmla="*/ 5 h 13"/>
                <a:gd name="T22" fmla="*/ 9 w 11"/>
                <a:gd name="T23" fmla="*/ 9 h 13"/>
                <a:gd name="T24" fmla="*/ 4 w 11"/>
                <a:gd name="T25" fmla="*/ 12 h 13"/>
                <a:gd name="T26" fmla="*/ 1 w 11"/>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3">
                  <a:moveTo>
                    <a:pt x="1" y="13"/>
                  </a:moveTo>
                  <a:lnTo>
                    <a:pt x="1" y="13"/>
                  </a:lnTo>
                  <a:lnTo>
                    <a:pt x="0" y="12"/>
                  </a:lnTo>
                  <a:lnTo>
                    <a:pt x="1" y="11"/>
                  </a:lnTo>
                  <a:lnTo>
                    <a:pt x="4" y="6"/>
                  </a:lnTo>
                  <a:lnTo>
                    <a:pt x="9" y="2"/>
                  </a:lnTo>
                  <a:lnTo>
                    <a:pt x="10" y="0"/>
                  </a:lnTo>
                  <a:lnTo>
                    <a:pt x="11" y="2"/>
                  </a:lnTo>
                  <a:lnTo>
                    <a:pt x="11" y="2"/>
                  </a:lnTo>
                  <a:lnTo>
                    <a:pt x="11" y="3"/>
                  </a:lnTo>
                  <a:lnTo>
                    <a:pt x="11" y="5"/>
                  </a:lnTo>
                  <a:lnTo>
                    <a:pt x="9" y="9"/>
                  </a:lnTo>
                  <a:lnTo>
                    <a:pt x="4" y="12"/>
                  </a:lnTo>
                  <a:lnTo>
                    <a:pt x="1" y="13"/>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26" name="Freeform 1225"/>
            <p:cNvSpPr>
              <a:spLocks/>
            </p:cNvSpPr>
            <p:nvPr/>
          </p:nvSpPr>
          <p:spPr bwMode="auto">
            <a:xfrm>
              <a:off x="8128001" y="3442129"/>
              <a:ext cx="17463" cy="20638"/>
            </a:xfrm>
            <a:custGeom>
              <a:avLst/>
              <a:gdLst>
                <a:gd name="T0" fmla="*/ 1 w 11"/>
                <a:gd name="T1" fmla="*/ 13 h 13"/>
                <a:gd name="T2" fmla="*/ 1 w 11"/>
                <a:gd name="T3" fmla="*/ 13 h 13"/>
                <a:gd name="T4" fmla="*/ 0 w 11"/>
                <a:gd name="T5" fmla="*/ 12 h 13"/>
                <a:gd name="T6" fmla="*/ 1 w 11"/>
                <a:gd name="T7" fmla="*/ 11 h 13"/>
                <a:gd name="T8" fmla="*/ 4 w 11"/>
                <a:gd name="T9" fmla="*/ 6 h 13"/>
                <a:gd name="T10" fmla="*/ 9 w 11"/>
                <a:gd name="T11" fmla="*/ 2 h 13"/>
                <a:gd name="T12" fmla="*/ 10 w 11"/>
                <a:gd name="T13" fmla="*/ 0 h 13"/>
                <a:gd name="T14" fmla="*/ 11 w 11"/>
                <a:gd name="T15" fmla="*/ 2 h 13"/>
                <a:gd name="T16" fmla="*/ 11 w 11"/>
                <a:gd name="T17" fmla="*/ 2 h 13"/>
                <a:gd name="T18" fmla="*/ 11 w 11"/>
                <a:gd name="T19" fmla="*/ 3 h 13"/>
                <a:gd name="T20" fmla="*/ 11 w 11"/>
                <a:gd name="T21" fmla="*/ 5 h 13"/>
                <a:gd name="T22" fmla="*/ 9 w 11"/>
                <a:gd name="T23" fmla="*/ 9 h 13"/>
                <a:gd name="T24" fmla="*/ 4 w 11"/>
                <a:gd name="T25" fmla="*/ 12 h 13"/>
                <a:gd name="T26" fmla="*/ 1 w 11"/>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3">
                  <a:moveTo>
                    <a:pt x="1" y="13"/>
                  </a:moveTo>
                  <a:lnTo>
                    <a:pt x="1" y="13"/>
                  </a:lnTo>
                  <a:lnTo>
                    <a:pt x="0" y="12"/>
                  </a:lnTo>
                  <a:lnTo>
                    <a:pt x="1" y="11"/>
                  </a:lnTo>
                  <a:lnTo>
                    <a:pt x="4" y="6"/>
                  </a:lnTo>
                  <a:lnTo>
                    <a:pt x="9" y="2"/>
                  </a:lnTo>
                  <a:lnTo>
                    <a:pt x="10" y="0"/>
                  </a:lnTo>
                  <a:lnTo>
                    <a:pt x="11" y="2"/>
                  </a:lnTo>
                  <a:lnTo>
                    <a:pt x="11" y="2"/>
                  </a:lnTo>
                  <a:lnTo>
                    <a:pt x="11" y="3"/>
                  </a:lnTo>
                  <a:lnTo>
                    <a:pt x="11" y="5"/>
                  </a:lnTo>
                  <a:lnTo>
                    <a:pt x="9" y="9"/>
                  </a:lnTo>
                  <a:lnTo>
                    <a:pt x="4" y="12"/>
                  </a:lnTo>
                  <a:lnTo>
                    <a:pt x="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27" name="Freeform 1226"/>
            <p:cNvSpPr>
              <a:spLocks/>
            </p:cNvSpPr>
            <p:nvPr/>
          </p:nvSpPr>
          <p:spPr bwMode="auto">
            <a:xfrm>
              <a:off x="8178801" y="3408791"/>
              <a:ext cx="11113" cy="12700"/>
            </a:xfrm>
            <a:custGeom>
              <a:avLst/>
              <a:gdLst>
                <a:gd name="T0" fmla="*/ 7 w 7"/>
                <a:gd name="T1" fmla="*/ 0 h 8"/>
                <a:gd name="T2" fmla="*/ 7 w 7"/>
                <a:gd name="T3" fmla="*/ 0 h 8"/>
                <a:gd name="T4" fmla="*/ 4 w 7"/>
                <a:gd name="T5" fmla="*/ 0 h 8"/>
                <a:gd name="T6" fmla="*/ 1 w 7"/>
                <a:gd name="T7" fmla="*/ 1 h 8"/>
                <a:gd name="T8" fmla="*/ 0 w 7"/>
                <a:gd name="T9" fmla="*/ 4 h 8"/>
                <a:gd name="T10" fmla="*/ 0 w 7"/>
                <a:gd name="T11" fmla="*/ 7 h 8"/>
                <a:gd name="T12" fmla="*/ 0 w 7"/>
                <a:gd name="T13" fmla="*/ 7 h 8"/>
                <a:gd name="T14" fmla="*/ 1 w 7"/>
                <a:gd name="T15" fmla="*/ 8 h 8"/>
                <a:gd name="T16" fmla="*/ 3 w 7"/>
                <a:gd name="T17" fmla="*/ 8 h 8"/>
                <a:gd name="T18" fmla="*/ 5 w 7"/>
                <a:gd name="T19" fmla="*/ 5 h 8"/>
                <a:gd name="T20" fmla="*/ 7 w 7"/>
                <a:gd name="T21" fmla="*/ 3 h 8"/>
                <a:gd name="T22" fmla="*/ 7 w 7"/>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7" y="0"/>
                  </a:moveTo>
                  <a:lnTo>
                    <a:pt x="7" y="0"/>
                  </a:lnTo>
                  <a:lnTo>
                    <a:pt x="4" y="0"/>
                  </a:lnTo>
                  <a:lnTo>
                    <a:pt x="1" y="1"/>
                  </a:lnTo>
                  <a:lnTo>
                    <a:pt x="0" y="4"/>
                  </a:lnTo>
                  <a:lnTo>
                    <a:pt x="0" y="7"/>
                  </a:lnTo>
                  <a:lnTo>
                    <a:pt x="0" y="7"/>
                  </a:lnTo>
                  <a:lnTo>
                    <a:pt x="1" y="8"/>
                  </a:lnTo>
                  <a:lnTo>
                    <a:pt x="3" y="8"/>
                  </a:lnTo>
                  <a:lnTo>
                    <a:pt x="5" y="5"/>
                  </a:lnTo>
                  <a:lnTo>
                    <a:pt x="7" y="3"/>
                  </a:lnTo>
                  <a:lnTo>
                    <a:pt x="7" y="0"/>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28" name="Freeform 1227"/>
            <p:cNvSpPr>
              <a:spLocks/>
            </p:cNvSpPr>
            <p:nvPr/>
          </p:nvSpPr>
          <p:spPr bwMode="auto">
            <a:xfrm>
              <a:off x="8178801" y="3408791"/>
              <a:ext cx="11113" cy="12700"/>
            </a:xfrm>
            <a:custGeom>
              <a:avLst/>
              <a:gdLst>
                <a:gd name="T0" fmla="*/ 7 w 7"/>
                <a:gd name="T1" fmla="*/ 0 h 8"/>
                <a:gd name="T2" fmla="*/ 7 w 7"/>
                <a:gd name="T3" fmla="*/ 0 h 8"/>
                <a:gd name="T4" fmla="*/ 4 w 7"/>
                <a:gd name="T5" fmla="*/ 0 h 8"/>
                <a:gd name="T6" fmla="*/ 1 w 7"/>
                <a:gd name="T7" fmla="*/ 1 h 8"/>
                <a:gd name="T8" fmla="*/ 0 w 7"/>
                <a:gd name="T9" fmla="*/ 4 h 8"/>
                <a:gd name="T10" fmla="*/ 0 w 7"/>
                <a:gd name="T11" fmla="*/ 7 h 8"/>
                <a:gd name="T12" fmla="*/ 0 w 7"/>
                <a:gd name="T13" fmla="*/ 7 h 8"/>
                <a:gd name="T14" fmla="*/ 1 w 7"/>
                <a:gd name="T15" fmla="*/ 8 h 8"/>
                <a:gd name="T16" fmla="*/ 3 w 7"/>
                <a:gd name="T17" fmla="*/ 8 h 8"/>
                <a:gd name="T18" fmla="*/ 5 w 7"/>
                <a:gd name="T19" fmla="*/ 5 h 8"/>
                <a:gd name="T20" fmla="*/ 7 w 7"/>
                <a:gd name="T21" fmla="*/ 3 h 8"/>
                <a:gd name="T22" fmla="*/ 7 w 7"/>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7" y="0"/>
                  </a:moveTo>
                  <a:lnTo>
                    <a:pt x="7" y="0"/>
                  </a:lnTo>
                  <a:lnTo>
                    <a:pt x="4" y="0"/>
                  </a:lnTo>
                  <a:lnTo>
                    <a:pt x="1" y="1"/>
                  </a:lnTo>
                  <a:lnTo>
                    <a:pt x="0" y="4"/>
                  </a:lnTo>
                  <a:lnTo>
                    <a:pt x="0" y="7"/>
                  </a:lnTo>
                  <a:lnTo>
                    <a:pt x="0" y="7"/>
                  </a:lnTo>
                  <a:lnTo>
                    <a:pt x="1" y="8"/>
                  </a:lnTo>
                  <a:lnTo>
                    <a:pt x="3" y="8"/>
                  </a:lnTo>
                  <a:lnTo>
                    <a:pt x="5" y="5"/>
                  </a:lnTo>
                  <a:lnTo>
                    <a:pt x="7" y="3"/>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29" name="Freeform 1228"/>
            <p:cNvSpPr>
              <a:spLocks/>
            </p:cNvSpPr>
            <p:nvPr/>
          </p:nvSpPr>
          <p:spPr bwMode="auto">
            <a:xfrm>
              <a:off x="8267701" y="3275441"/>
              <a:ext cx="25400" cy="22225"/>
            </a:xfrm>
            <a:custGeom>
              <a:avLst/>
              <a:gdLst>
                <a:gd name="T0" fmla="*/ 16 w 16"/>
                <a:gd name="T1" fmla="*/ 0 h 14"/>
                <a:gd name="T2" fmla="*/ 16 w 16"/>
                <a:gd name="T3" fmla="*/ 0 h 14"/>
                <a:gd name="T4" fmla="*/ 13 w 16"/>
                <a:gd name="T5" fmla="*/ 0 h 14"/>
                <a:gd name="T6" fmla="*/ 12 w 16"/>
                <a:gd name="T7" fmla="*/ 1 h 14"/>
                <a:gd name="T8" fmla="*/ 9 w 16"/>
                <a:gd name="T9" fmla="*/ 3 h 14"/>
                <a:gd name="T10" fmla="*/ 6 w 16"/>
                <a:gd name="T11" fmla="*/ 4 h 14"/>
                <a:gd name="T12" fmla="*/ 6 w 16"/>
                <a:gd name="T13" fmla="*/ 4 h 14"/>
                <a:gd name="T14" fmla="*/ 3 w 16"/>
                <a:gd name="T15" fmla="*/ 7 h 14"/>
                <a:gd name="T16" fmla="*/ 0 w 16"/>
                <a:gd name="T17" fmla="*/ 10 h 14"/>
                <a:gd name="T18" fmla="*/ 0 w 16"/>
                <a:gd name="T19" fmla="*/ 13 h 14"/>
                <a:gd name="T20" fmla="*/ 2 w 16"/>
                <a:gd name="T21" fmla="*/ 14 h 14"/>
                <a:gd name="T22" fmla="*/ 2 w 16"/>
                <a:gd name="T23" fmla="*/ 14 h 14"/>
                <a:gd name="T24" fmla="*/ 6 w 16"/>
                <a:gd name="T25" fmla="*/ 13 h 14"/>
                <a:gd name="T26" fmla="*/ 12 w 16"/>
                <a:gd name="T27" fmla="*/ 7 h 14"/>
                <a:gd name="T28" fmla="*/ 16 w 16"/>
                <a:gd name="T29" fmla="*/ 1 h 14"/>
                <a:gd name="T30" fmla="*/ 16 w 16"/>
                <a:gd name="T31" fmla="*/ 0 h 14"/>
                <a:gd name="T32" fmla="*/ 16 w 16"/>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4">
                  <a:moveTo>
                    <a:pt x="16" y="0"/>
                  </a:moveTo>
                  <a:lnTo>
                    <a:pt x="16" y="0"/>
                  </a:lnTo>
                  <a:lnTo>
                    <a:pt x="13" y="0"/>
                  </a:lnTo>
                  <a:lnTo>
                    <a:pt x="12" y="1"/>
                  </a:lnTo>
                  <a:lnTo>
                    <a:pt x="9" y="3"/>
                  </a:lnTo>
                  <a:lnTo>
                    <a:pt x="6" y="4"/>
                  </a:lnTo>
                  <a:lnTo>
                    <a:pt x="6" y="4"/>
                  </a:lnTo>
                  <a:lnTo>
                    <a:pt x="3" y="7"/>
                  </a:lnTo>
                  <a:lnTo>
                    <a:pt x="0" y="10"/>
                  </a:lnTo>
                  <a:lnTo>
                    <a:pt x="0" y="13"/>
                  </a:lnTo>
                  <a:lnTo>
                    <a:pt x="2" y="14"/>
                  </a:lnTo>
                  <a:lnTo>
                    <a:pt x="2" y="14"/>
                  </a:lnTo>
                  <a:lnTo>
                    <a:pt x="6" y="13"/>
                  </a:lnTo>
                  <a:lnTo>
                    <a:pt x="12" y="7"/>
                  </a:lnTo>
                  <a:lnTo>
                    <a:pt x="16" y="1"/>
                  </a:lnTo>
                  <a:lnTo>
                    <a:pt x="16" y="0"/>
                  </a:lnTo>
                  <a:lnTo>
                    <a:pt x="16" y="0"/>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30" name="Freeform 1229"/>
            <p:cNvSpPr>
              <a:spLocks/>
            </p:cNvSpPr>
            <p:nvPr/>
          </p:nvSpPr>
          <p:spPr bwMode="auto">
            <a:xfrm>
              <a:off x="8267701" y="3275441"/>
              <a:ext cx="25400" cy="22225"/>
            </a:xfrm>
            <a:custGeom>
              <a:avLst/>
              <a:gdLst>
                <a:gd name="T0" fmla="*/ 16 w 16"/>
                <a:gd name="T1" fmla="*/ 0 h 14"/>
                <a:gd name="T2" fmla="*/ 16 w 16"/>
                <a:gd name="T3" fmla="*/ 0 h 14"/>
                <a:gd name="T4" fmla="*/ 13 w 16"/>
                <a:gd name="T5" fmla="*/ 0 h 14"/>
                <a:gd name="T6" fmla="*/ 12 w 16"/>
                <a:gd name="T7" fmla="*/ 1 h 14"/>
                <a:gd name="T8" fmla="*/ 9 w 16"/>
                <a:gd name="T9" fmla="*/ 3 h 14"/>
                <a:gd name="T10" fmla="*/ 6 w 16"/>
                <a:gd name="T11" fmla="*/ 4 h 14"/>
                <a:gd name="T12" fmla="*/ 6 w 16"/>
                <a:gd name="T13" fmla="*/ 4 h 14"/>
                <a:gd name="T14" fmla="*/ 3 w 16"/>
                <a:gd name="T15" fmla="*/ 7 h 14"/>
                <a:gd name="T16" fmla="*/ 0 w 16"/>
                <a:gd name="T17" fmla="*/ 10 h 14"/>
                <a:gd name="T18" fmla="*/ 0 w 16"/>
                <a:gd name="T19" fmla="*/ 13 h 14"/>
                <a:gd name="T20" fmla="*/ 2 w 16"/>
                <a:gd name="T21" fmla="*/ 14 h 14"/>
                <a:gd name="T22" fmla="*/ 2 w 16"/>
                <a:gd name="T23" fmla="*/ 14 h 14"/>
                <a:gd name="T24" fmla="*/ 6 w 16"/>
                <a:gd name="T25" fmla="*/ 13 h 14"/>
                <a:gd name="T26" fmla="*/ 12 w 16"/>
                <a:gd name="T27" fmla="*/ 7 h 14"/>
                <a:gd name="T28" fmla="*/ 16 w 16"/>
                <a:gd name="T29" fmla="*/ 1 h 14"/>
                <a:gd name="T30" fmla="*/ 16 w 16"/>
                <a:gd name="T31" fmla="*/ 0 h 14"/>
                <a:gd name="T32" fmla="*/ 16 w 16"/>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4">
                  <a:moveTo>
                    <a:pt x="16" y="0"/>
                  </a:moveTo>
                  <a:lnTo>
                    <a:pt x="16" y="0"/>
                  </a:lnTo>
                  <a:lnTo>
                    <a:pt x="13" y="0"/>
                  </a:lnTo>
                  <a:lnTo>
                    <a:pt x="12" y="1"/>
                  </a:lnTo>
                  <a:lnTo>
                    <a:pt x="9" y="3"/>
                  </a:lnTo>
                  <a:lnTo>
                    <a:pt x="6" y="4"/>
                  </a:lnTo>
                  <a:lnTo>
                    <a:pt x="6" y="4"/>
                  </a:lnTo>
                  <a:lnTo>
                    <a:pt x="3" y="7"/>
                  </a:lnTo>
                  <a:lnTo>
                    <a:pt x="0" y="10"/>
                  </a:lnTo>
                  <a:lnTo>
                    <a:pt x="0" y="13"/>
                  </a:lnTo>
                  <a:lnTo>
                    <a:pt x="2" y="14"/>
                  </a:lnTo>
                  <a:lnTo>
                    <a:pt x="2" y="14"/>
                  </a:lnTo>
                  <a:lnTo>
                    <a:pt x="6" y="13"/>
                  </a:lnTo>
                  <a:lnTo>
                    <a:pt x="12" y="7"/>
                  </a:lnTo>
                  <a:lnTo>
                    <a:pt x="16" y="1"/>
                  </a:lnTo>
                  <a:lnTo>
                    <a:pt x="16"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31" name="Freeform 1230"/>
            <p:cNvSpPr>
              <a:spLocks/>
            </p:cNvSpPr>
            <p:nvPr/>
          </p:nvSpPr>
          <p:spPr bwMode="auto">
            <a:xfrm>
              <a:off x="8240714" y="3343704"/>
              <a:ext cx="4763" cy="4763"/>
            </a:xfrm>
            <a:custGeom>
              <a:avLst/>
              <a:gdLst>
                <a:gd name="T0" fmla="*/ 1 w 3"/>
                <a:gd name="T1" fmla="*/ 0 h 3"/>
                <a:gd name="T2" fmla="*/ 1 w 3"/>
                <a:gd name="T3" fmla="*/ 0 h 3"/>
                <a:gd name="T4" fmla="*/ 0 w 3"/>
                <a:gd name="T5" fmla="*/ 0 h 3"/>
                <a:gd name="T6" fmla="*/ 0 w 3"/>
                <a:gd name="T7" fmla="*/ 2 h 3"/>
                <a:gd name="T8" fmla="*/ 0 w 3"/>
                <a:gd name="T9" fmla="*/ 3 h 3"/>
                <a:gd name="T10" fmla="*/ 0 w 3"/>
                <a:gd name="T11" fmla="*/ 3 h 3"/>
                <a:gd name="T12" fmla="*/ 0 w 3"/>
                <a:gd name="T13" fmla="*/ 3 h 3"/>
                <a:gd name="T14" fmla="*/ 3 w 3"/>
                <a:gd name="T15" fmla="*/ 2 h 3"/>
                <a:gd name="T16" fmla="*/ 3 w 3"/>
                <a:gd name="T17" fmla="*/ 0 h 3"/>
                <a:gd name="T18" fmla="*/ 1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1" y="0"/>
                  </a:moveTo>
                  <a:lnTo>
                    <a:pt x="1" y="0"/>
                  </a:lnTo>
                  <a:lnTo>
                    <a:pt x="0" y="0"/>
                  </a:lnTo>
                  <a:lnTo>
                    <a:pt x="0" y="2"/>
                  </a:lnTo>
                  <a:lnTo>
                    <a:pt x="0" y="3"/>
                  </a:lnTo>
                  <a:lnTo>
                    <a:pt x="0" y="3"/>
                  </a:lnTo>
                  <a:lnTo>
                    <a:pt x="0" y="3"/>
                  </a:lnTo>
                  <a:lnTo>
                    <a:pt x="3" y="2"/>
                  </a:lnTo>
                  <a:lnTo>
                    <a:pt x="3" y="0"/>
                  </a:lnTo>
                  <a:lnTo>
                    <a:pt x="1" y="0"/>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32" name="Freeform 1231"/>
            <p:cNvSpPr>
              <a:spLocks/>
            </p:cNvSpPr>
            <p:nvPr/>
          </p:nvSpPr>
          <p:spPr bwMode="auto">
            <a:xfrm>
              <a:off x="8240714" y="3343704"/>
              <a:ext cx="4763" cy="4763"/>
            </a:xfrm>
            <a:custGeom>
              <a:avLst/>
              <a:gdLst>
                <a:gd name="T0" fmla="*/ 1 w 3"/>
                <a:gd name="T1" fmla="*/ 0 h 3"/>
                <a:gd name="T2" fmla="*/ 1 w 3"/>
                <a:gd name="T3" fmla="*/ 0 h 3"/>
                <a:gd name="T4" fmla="*/ 0 w 3"/>
                <a:gd name="T5" fmla="*/ 0 h 3"/>
                <a:gd name="T6" fmla="*/ 0 w 3"/>
                <a:gd name="T7" fmla="*/ 2 h 3"/>
                <a:gd name="T8" fmla="*/ 0 w 3"/>
                <a:gd name="T9" fmla="*/ 3 h 3"/>
                <a:gd name="T10" fmla="*/ 0 w 3"/>
                <a:gd name="T11" fmla="*/ 3 h 3"/>
                <a:gd name="T12" fmla="*/ 0 w 3"/>
                <a:gd name="T13" fmla="*/ 3 h 3"/>
                <a:gd name="T14" fmla="*/ 3 w 3"/>
                <a:gd name="T15" fmla="*/ 2 h 3"/>
                <a:gd name="T16" fmla="*/ 3 w 3"/>
                <a:gd name="T17" fmla="*/ 0 h 3"/>
                <a:gd name="T18" fmla="*/ 1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1" y="0"/>
                  </a:moveTo>
                  <a:lnTo>
                    <a:pt x="1" y="0"/>
                  </a:lnTo>
                  <a:lnTo>
                    <a:pt x="0" y="0"/>
                  </a:lnTo>
                  <a:lnTo>
                    <a:pt x="0" y="2"/>
                  </a:lnTo>
                  <a:lnTo>
                    <a:pt x="0" y="3"/>
                  </a:lnTo>
                  <a:lnTo>
                    <a:pt x="0" y="3"/>
                  </a:lnTo>
                  <a:lnTo>
                    <a:pt x="0" y="3"/>
                  </a:lnTo>
                  <a:lnTo>
                    <a:pt x="3" y="2"/>
                  </a:lnTo>
                  <a:lnTo>
                    <a:pt x="3"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33" name="Freeform 1240"/>
            <p:cNvSpPr>
              <a:spLocks/>
            </p:cNvSpPr>
            <p:nvPr/>
          </p:nvSpPr>
          <p:spPr bwMode="auto">
            <a:xfrm>
              <a:off x="5189539" y="3877104"/>
              <a:ext cx="38100" cy="101600"/>
            </a:xfrm>
            <a:custGeom>
              <a:avLst/>
              <a:gdLst>
                <a:gd name="T0" fmla="*/ 13 w 24"/>
                <a:gd name="T1" fmla="*/ 29 h 64"/>
                <a:gd name="T2" fmla="*/ 13 w 24"/>
                <a:gd name="T3" fmla="*/ 29 h 64"/>
                <a:gd name="T4" fmla="*/ 14 w 24"/>
                <a:gd name="T5" fmla="*/ 26 h 64"/>
                <a:gd name="T6" fmla="*/ 16 w 24"/>
                <a:gd name="T7" fmla="*/ 22 h 64"/>
                <a:gd name="T8" fmla="*/ 19 w 24"/>
                <a:gd name="T9" fmla="*/ 20 h 64"/>
                <a:gd name="T10" fmla="*/ 23 w 24"/>
                <a:gd name="T11" fmla="*/ 19 h 64"/>
                <a:gd name="T12" fmla="*/ 23 w 24"/>
                <a:gd name="T13" fmla="*/ 19 h 64"/>
                <a:gd name="T14" fmla="*/ 23 w 24"/>
                <a:gd name="T15" fmla="*/ 5 h 64"/>
                <a:gd name="T16" fmla="*/ 23 w 24"/>
                <a:gd name="T17" fmla="*/ 5 h 64"/>
                <a:gd name="T18" fmla="*/ 24 w 24"/>
                <a:gd name="T19" fmla="*/ 3 h 64"/>
                <a:gd name="T20" fmla="*/ 24 w 24"/>
                <a:gd name="T21" fmla="*/ 3 h 64"/>
                <a:gd name="T22" fmla="*/ 14 w 24"/>
                <a:gd name="T23" fmla="*/ 0 h 64"/>
                <a:gd name="T24" fmla="*/ 14 w 24"/>
                <a:gd name="T25" fmla="*/ 0 h 64"/>
                <a:gd name="T26" fmla="*/ 10 w 24"/>
                <a:gd name="T27" fmla="*/ 10 h 64"/>
                <a:gd name="T28" fmla="*/ 10 w 24"/>
                <a:gd name="T29" fmla="*/ 10 h 64"/>
                <a:gd name="T30" fmla="*/ 6 w 24"/>
                <a:gd name="T31" fmla="*/ 18 h 64"/>
                <a:gd name="T32" fmla="*/ 4 w 24"/>
                <a:gd name="T33" fmla="*/ 23 h 64"/>
                <a:gd name="T34" fmla="*/ 0 w 24"/>
                <a:gd name="T35" fmla="*/ 32 h 64"/>
                <a:gd name="T36" fmla="*/ 0 w 24"/>
                <a:gd name="T37" fmla="*/ 32 h 64"/>
                <a:gd name="T38" fmla="*/ 7 w 24"/>
                <a:gd name="T39" fmla="*/ 41 h 64"/>
                <a:gd name="T40" fmla="*/ 11 w 24"/>
                <a:gd name="T41" fmla="*/ 49 h 64"/>
                <a:gd name="T42" fmla="*/ 11 w 24"/>
                <a:gd name="T43" fmla="*/ 49 h 64"/>
                <a:gd name="T44" fmla="*/ 11 w 24"/>
                <a:gd name="T45" fmla="*/ 55 h 64"/>
                <a:gd name="T46" fmla="*/ 13 w 24"/>
                <a:gd name="T47" fmla="*/ 64 h 64"/>
                <a:gd name="T48" fmla="*/ 13 w 24"/>
                <a:gd name="T49" fmla="*/ 64 h 64"/>
                <a:gd name="T50" fmla="*/ 20 w 24"/>
                <a:gd name="T51" fmla="*/ 47 h 64"/>
                <a:gd name="T52" fmla="*/ 20 w 24"/>
                <a:gd name="T53" fmla="*/ 47 h 64"/>
                <a:gd name="T54" fmla="*/ 22 w 24"/>
                <a:gd name="T55" fmla="*/ 44 h 64"/>
                <a:gd name="T56" fmla="*/ 22 w 24"/>
                <a:gd name="T57" fmla="*/ 44 h 64"/>
                <a:gd name="T58" fmla="*/ 16 w 24"/>
                <a:gd name="T59" fmla="*/ 36 h 64"/>
                <a:gd name="T60" fmla="*/ 14 w 24"/>
                <a:gd name="T61" fmla="*/ 33 h 64"/>
                <a:gd name="T62" fmla="*/ 13 w 24"/>
                <a:gd name="T63" fmla="*/ 2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 h="64">
                  <a:moveTo>
                    <a:pt x="13" y="29"/>
                  </a:moveTo>
                  <a:lnTo>
                    <a:pt x="13" y="29"/>
                  </a:lnTo>
                  <a:lnTo>
                    <a:pt x="14" y="26"/>
                  </a:lnTo>
                  <a:lnTo>
                    <a:pt x="16" y="22"/>
                  </a:lnTo>
                  <a:lnTo>
                    <a:pt x="19" y="20"/>
                  </a:lnTo>
                  <a:lnTo>
                    <a:pt x="23" y="19"/>
                  </a:lnTo>
                  <a:lnTo>
                    <a:pt x="23" y="19"/>
                  </a:lnTo>
                  <a:lnTo>
                    <a:pt x="23" y="5"/>
                  </a:lnTo>
                  <a:lnTo>
                    <a:pt x="23" y="5"/>
                  </a:lnTo>
                  <a:lnTo>
                    <a:pt x="24" y="3"/>
                  </a:lnTo>
                  <a:lnTo>
                    <a:pt x="24" y="3"/>
                  </a:lnTo>
                  <a:lnTo>
                    <a:pt x="14" y="0"/>
                  </a:lnTo>
                  <a:lnTo>
                    <a:pt x="14" y="0"/>
                  </a:lnTo>
                  <a:lnTo>
                    <a:pt x="10" y="10"/>
                  </a:lnTo>
                  <a:lnTo>
                    <a:pt x="10" y="10"/>
                  </a:lnTo>
                  <a:lnTo>
                    <a:pt x="6" y="18"/>
                  </a:lnTo>
                  <a:lnTo>
                    <a:pt x="4" y="23"/>
                  </a:lnTo>
                  <a:lnTo>
                    <a:pt x="0" y="32"/>
                  </a:lnTo>
                  <a:lnTo>
                    <a:pt x="0" y="32"/>
                  </a:lnTo>
                  <a:lnTo>
                    <a:pt x="7" y="41"/>
                  </a:lnTo>
                  <a:lnTo>
                    <a:pt x="11" y="49"/>
                  </a:lnTo>
                  <a:lnTo>
                    <a:pt x="11" y="49"/>
                  </a:lnTo>
                  <a:lnTo>
                    <a:pt x="11" y="55"/>
                  </a:lnTo>
                  <a:lnTo>
                    <a:pt x="13" y="64"/>
                  </a:lnTo>
                  <a:lnTo>
                    <a:pt x="13" y="64"/>
                  </a:lnTo>
                  <a:lnTo>
                    <a:pt x="20" y="47"/>
                  </a:lnTo>
                  <a:lnTo>
                    <a:pt x="20" y="47"/>
                  </a:lnTo>
                  <a:lnTo>
                    <a:pt x="22" y="44"/>
                  </a:lnTo>
                  <a:lnTo>
                    <a:pt x="22" y="44"/>
                  </a:lnTo>
                  <a:lnTo>
                    <a:pt x="16" y="36"/>
                  </a:lnTo>
                  <a:lnTo>
                    <a:pt x="14" y="33"/>
                  </a:lnTo>
                  <a:lnTo>
                    <a:pt x="13" y="29"/>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34" name="Freeform 1241"/>
            <p:cNvSpPr>
              <a:spLocks/>
            </p:cNvSpPr>
            <p:nvPr/>
          </p:nvSpPr>
          <p:spPr bwMode="auto">
            <a:xfrm>
              <a:off x="5189539" y="3877104"/>
              <a:ext cx="38100" cy="101600"/>
            </a:xfrm>
            <a:custGeom>
              <a:avLst/>
              <a:gdLst>
                <a:gd name="T0" fmla="*/ 13 w 24"/>
                <a:gd name="T1" fmla="*/ 29 h 64"/>
                <a:gd name="T2" fmla="*/ 13 w 24"/>
                <a:gd name="T3" fmla="*/ 29 h 64"/>
                <a:gd name="T4" fmla="*/ 14 w 24"/>
                <a:gd name="T5" fmla="*/ 26 h 64"/>
                <a:gd name="T6" fmla="*/ 16 w 24"/>
                <a:gd name="T7" fmla="*/ 22 h 64"/>
                <a:gd name="T8" fmla="*/ 19 w 24"/>
                <a:gd name="T9" fmla="*/ 20 h 64"/>
                <a:gd name="T10" fmla="*/ 23 w 24"/>
                <a:gd name="T11" fmla="*/ 19 h 64"/>
                <a:gd name="T12" fmla="*/ 23 w 24"/>
                <a:gd name="T13" fmla="*/ 19 h 64"/>
                <a:gd name="T14" fmla="*/ 23 w 24"/>
                <a:gd name="T15" fmla="*/ 5 h 64"/>
                <a:gd name="T16" fmla="*/ 23 w 24"/>
                <a:gd name="T17" fmla="*/ 5 h 64"/>
                <a:gd name="T18" fmla="*/ 24 w 24"/>
                <a:gd name="T19" fmla="*/ 3 h 64"/>
                <a:gd name="T20" fmla="*/ 24 w 24"/>
                <a:gd name="T21" fmla="*/ 3 h 64"/>
                <a:gd name="T22" fmla="*/ 14 w 24"/>
                <a:gd name="T23" fmla="*/ 0 h 64"/>
                <a:gd name="T24" fmla="*/ 14 w 24"/>
                <a:gd name="T25" fmla="*/ 0 h 64"/>
                <a:gd name="T26" fmla="*/ 10 w 24"/>
                <a:gd name="T27" fmla="*/ 10 h 64"/>
                <a:gd name="T28" fmla="*/ 10 w 24"/>
                <a:gd name="T29" fmla="*/ 10 h 64"/>
                <a:gd name="T30" fmla="*/ 6 w 24"/>
                <a:gd name="T31" fmla="*/ 18 h 64"/>
                <a:gd name="T32" fmla="*/ 4 w 24"/>
                <a:gd name="T33" fmla="*/ 23 h 64"/>
                <a:gd name="T34" fmla="*/ 0 w 24"/>
                <a:gd name="T35" fmla="*/ 32 h 64"/>
                <a:gd name="T36" fmla="*/ 0 w 24"/>
                <a:gd name="T37" fmla="*/ 32 h 64"/>
                <a:gd name="T38" fmla="*/ 7 w 24"/>
                <a:gd name="T39" fmla="*/ 41 h 64"/>
                <a:gd name="T40" fmla="*/ 11 w 24"/>
                <a:gd name="T41" fmla="*/ 49 h 64"/>
                <a:gd name="T42" fmla="*/ 11 w 24"/>
                <a:gd name="T43" fmla="*/ 49 h 64"/>
                <a:gd name="T44" fmla="*/ 11 w 24"/>
                <a:gd name="T45" fmla="*/ 55 h 64"/>
                <a:gd name="T46" fmla="*/ 13 w 24"/>
                <a:gd name="T47" fmla="*/ 64 h 64"/>
                <a:gd name="T48" fmla="*/ 13 w 24"/>
                <a:gd name="T49" fmla="*/ 64 h 64"/>
                <a:gd name="T50" fmla="*/ 20 w 24"/>
                <a:gd name="T51" fmla="*/ 47 h 64"/>
                <a:gd name="T52" fmla="*/ 20 w 24"/>
                <a:gd name="T53" fmla="*/ 47 h 64"/>
                <a:gd name="T54" fmla="*/ 22 w 24"/>
                <a:gd name="T55" fmla="*/ 44 h 64"/>
                <a:gd name="T56" fmla="*/ 22 w 24"/>
                <a:gd name="T57" fmla="*/ 44 h 64"/>
                <a:gd name="T58" fmla="*/ 16 w 24"/>
                <a:gd name="T59" fmla="*/ 36 h 64"/>
                <a:gd name="T60" fmla="*/ 14 w 24"/>
                <a:gd name="T61" fmla="*/ 33 h 64"/>
                <a:gd name="T62" fmla="*/ 13 w 24"/>
                <a:gd name="T63" fmla="*/ 2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 h="64">
                  <a:moveTo>
                    <a:pt x="13" y="29"/>
                  </a:moveTo>
                  <a:lnTo>
                    <a:pt x="13" y="29"/>
                  </a:lnTo>
                  <a:lnTo>
                    <a:pt x="14" y="26"/>
                  </a:lnTo>
                  <a:lnTo>
                    <a:pt x="16" y="22"/>
                  </a:lnTo>
                  <a:lnTo>
                    <a:pt x="19" y="20"/>
                  </a:lnTo>
                  <a:lnTo>
                    <a:pt x="23" y="19"/>
                  </a:lnTo>
                  <a:lnTo>
                    <a:pt x="23" y="19"/>
                  </a:lnTo>
                  <a:lnTo>
                    <a:pt x="23" y="5"/>
                  </a:lnTo>
                  <a:lnTo>
                    <a:pt x="23" y="5"/>
                  </a:lnTo>
                  <a:lnTo>
                    <a:pt x="24" y="3"/>
                  </a:lnTo>
                  <a:lnTo>
                    <a:pt x="24" y="3"/>
                  </a:lnTo>
                  <a:lnTo>
                    <a:pt x="14" y="0"/>
                  </a:lnTo>
                  <a:lnTo>
                    <a:pt x="14" y="0"/>
                  </a:lnTo>
                  <a:lnTo>
                    <a:pt x="10" y="10"/>
                  </a:lnTo>
                  <a:lnTo>
                    <a:pt x="10" y="10"/>
                  </a:lnTo>
                  <a:lnTo>
                    <a:pt x="6" y="18"/>
                  </a:lnTo>
                  <a:lnTo>
                    <a:pt x="4" y="23"/>
                  </a:lnTo>
                  <a:lnTo>
                    <a:pt x="0" y="32"/>
                  </a:lnTo>
                  <a:lnTo>
                    <a:pt x="0" y="32"/>
                  </a:lnTo>
                  <a:lnTo>
                    <a:pt x="7" y="41"/>
                  </a:lnTo>
                  <a:lnTo>
                    <a:pt x="11" y="49"/>
                  </a:lnTo>
                  <a:lnTo>
                    <a:pt x="11" y="49"/>
                  </a:lnTo>
                  <a:lnTo>
                    <a:pt x="11" y="55"/>
                  </a:lnTo>
                  <a:lnTo>
                    <a:pt x="13" y="64"/>
                  </a:lnTo>
                  <a:lnTo>
                    <a:pt x="13" y="64"/>
                  </a:lnTo>
                  <a:lnTo>
                    <a:pt x="20" y="47"/>
                  </a:lnTo>
                  <a:lnTo>
                    <a:pt x="20" y="47"/>
                  </a:lnTo>
                  <a:lnTo>
                    <a:pt x="22" y="44"/>
                  </a:lnTo>
                  <a:lnTo>
                    <a:pt x="22" y="44"/>
                  </a:lnTo>
                  <a:lnTo>
                    <a:pt x="16" y="36"/>
                  </a:lnTo>
                  <a:lnTo>
                    <a:pt x="14" y="33"/>
                  </a:lnTo>
                  <a:lnTo>
                    <a:pt x="13" y="2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35" name="Freeform 1242"/>
            <p:cNvSpPr>
              <a:spLocks/>
            </p:cNvSpPr>
            <p:nvPr/>
          </p:nvSpPr>
          <p:spPr bwMode="auto">
            <a:xfrm>
              <a:off x="5210176" y="3907266"/>
              <a:ext cx="15875" cy="39688"/>
            </a:xfrm>
            <a:custGeom>
              <a:avLst/>
              <a:gdLst>
                <a:gd name="T0" fmla="*/ 9 w 10"/>
                <a:gd name="T1" fmla="*/ 25 h 25"/>
                <a:gd name="T2" fmla="*/ 9 w 10"/>
                <a:gd name="T3" fmla="*/ 25 h 25"/>
                <a:gd name="T4" fmla="*/ 9 w 10"/>
                <a:gd name="T5" fmla="*/ 25 h 25"/>
                <a:gd name="T6" fmla="*/ 3 w 10"/>
                <a:gd name="T7" fmla="*/ 19 h 25"/>
                <a:gd name="T8" fmla="*/ 1 w 10"/>
                <a:gd name="T9" fmla="*/ 14 h 25"/>
                <a:gd name="T10" fmla="*/ 0 w 10"/>
                <a:gd name="T11" fmla="*/ 12 h 25"/>
                <a:gd name="T12" fmla="*/ 0 w 10"/>
                <a:gd name="T13" fmla="*/ 12 h 25"/>
                <a:gd name="T14" fmla="*/ 0 w 10"/>
                <a:gd name="T15" fmla="*/ 10 h 25"/>
                <a:gd name="T16" fmla="*/ 0 w 10"/>
                <a:gd name="T17" fmla="*/ 10 h 25"/>
                <a:gd name="T18" fmla="*/ 1 w 10"/>
                <a:gd name="T19" fmla="*/ 7 h 25"/>
                <a:gd name="T20" fmla="*/ 3 w 10"/>
                <a:gd name="T21" fmla="*/ 3 h 25"/>
                <a:gd name="T22" fmla="*/ 6 w 10"/>
                <a:gd name="T23" fmla="*/ 1 h 25"/>
                <a:gd name="T24" fmla="*/ 10 w 10"/>
                <a:gd name="T25" fmla="*/ 0 h 25"/>
                <a:gd name="T26" fmla="*/ 10 w 10"/>
                <a:gd name="T27" fmla="*/ 0 h 25"/>
                <a:gd name="T28" fmla="*/ 9 w 10"/>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25">
                  <a:moveTo>
                    <a:pt x="9" y="25"/>
                  </a:moveTo>
                  <a:lnTo>
                    <a:pt x="9" y="25"/>
                  </a:lnTo>
                  <a:lnTo>
                    <a:pt x="9" y="25"/>
                  </a:lnTo>
                  <a:lnTo>
                    <a:pt x="3" y="19"/>
                  </a:lnTo>
                  <a:lnTo>
                    <a:pt x="1" y="14"/>
                  </a:lnTo>
                  <a:lnTo>
                    <a:pt x="0" y="12"/>
                  </a:lnTo>
                  <a:lnTo>
                    <a:pt x="0" y="12"/>
                  </a:lnTo>
                  <a:lnTo>
                    <a:pt x="0" y="10"/>
                  </a:lnTo>
                  <a:lnTo>
                    <a:pt x="0" y="10"/>
                  </a:lnTo>
                  <a:lnTo>
                    <a:pt x="1" y="7"/>
                  </a:lnTo>
                  <a:lnTo>
                    <a:pt x="3" y="3"/>
                  </a:lnTo>
                  <a:lnTo>
                    <a:pt x="6" y="1"/>
                  </a:lnTo>
                  <a:lnTo>
                    <a:pt x="10" y="0"/>
                  </a:lnTo>
                  <a:lnTo>
                    <a:pt x="10" y="0"/>
                  </a:lnTo>
                  <a:lnTo>
                    <a:pt x="9" y="25"/>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36" name="Freeform 1243"/>
            <p:cNvSpPr>
              <a:spLocks/>
            </p:cNvSpPr>
            <p:nvPr/>
          </p:nvSpPr>
          <p:spPr bwMode="auto">
            <a:xfrm>
              <a:off x="5210176" y="3907266"/>
              <a:ext cx="15875" cy="39688"/>
            </a:xfrm>
            <a:custGeom>
              <a:avLst/>
              <a:gdLst>
                <a:gd name="T0" fmla="*/ 9 w 10"/>
                <a:gd name="T1" fmla="*/ 25 h 25"/>
                <a:gd name="T2" fmla="*/ 9 w 10"/>
                <a:gd name="T3" fmla="*/ 25 h 25"/>
                <a:gd name="T4" fmla="*/ 9 w 10"/>
                <a:gd name="T5" fmla="*/ 25 h 25"/>
                <a:gd name="T6" fmla="*/ 3 w 10"/>
                <a:gd name="T7" fmla="*/ 19 h 25"/>
                <a:gd name="T8" fmla="*/ 1 w 10"/>
                <a:gd name="T9" fmla="*/ 14 h 25"/>
                <a:gd name="T10" fmla="*/ 0 w 10"/>
                <a:gd name="T11" fmla="*/ 12 h 25"/>
                <a:gd name="T12" fmla="*/ 0 w 10"/>
                <a:gd name="T13" fmla="*/ 12 h 25"/>
                <a:gd name="T14" fmla="*/ 0 w 10"/>
                <a:gd name="T15" fmla="*/ 10 h 25"/>
                <a:gd name="T16" fmla="*/ 0 w 10"/>
                <a:gd name="T17" fmla="*/ 10 h 25"/>
                <a:gd name="T18" fmla="*/ 1 w 10"/>
                <a:gd name="T19" fmla="*/ 7 h 25"/>
                <a:gd name="T20" fmla="*/ 3 w 10"/>
                <a:gd name="T21" fmla="*/ 3 h 25"/>
                <a:gd name="T22" fmla="*/ 6 w 10"/>
                <a:gd name="T23" fmla="*/ 1 h 25"/>
                <a:gd name="T24" fmla="*/ 10 w 10"/>
                <a:gd name="T25" fmla="*/ 0 h 25"/>
                <a:gd name="T26" fmla="*/ 10 w 10"/>
                <a:gd name="T27" fmla="*/ 0 h 25"/>
                <a:gd name="T28" fmla="*/ 9 w 10"/>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25">
                  <a:moveTo>
                    <a:pt x="9" y="25"/>
                  </a:moveTo>
                  <a:lnTo>
                    <a:pt x="9" y="25"/>
                  </a:lnTo>
                  <a:lnTo>
                    <a:pt x="9" y="25"/>
                  </a:lnTo>
                  <a:lnTo>
                    <a:pt x="3" y="19"/>
                  </a:lnTo>
                  <a:lnTo>
                    <a:pt x="1" y="14"/>
                  </a:lnTo>
                  <a:lnTo>
                    <a:pt x="0" y="12"/>
                  </a:lnTo>
                  <a:lnTo>
                    <a:pt x="0" y="12"/>
                  </a:lnTo>
                  <a:lnTo>
                    <a:pt x="0" y="10"/>
                  </a:lnTo>
                  <a:lnTo>
                    <a:pt x="0" y="10"/>
                  </a:lnTo>
                  <a:lnTo>
                    <a:pt x="1" y="7"/>
                  </a:lnTo>
                  <a:lnTo>
                    <a:pt x="3" y="3"/>
                  </a:lnTo>
                  <a:lnTo>
                    <a:pt x="6" y="1"/>
                  </a:lnTo>
                  <a:lnTo>
                    <a:pt x="10" y="0"/>
                  </a:lnTo>
                  <a:lnTo>
                    <a:pt x="10" y="0"/>
                  </a:lnTo>
                  <a:lnTo>
                    <a:pt x="9" y="2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37" name="Freeform 1244"/>
            <p:cNvSpPr>
              <a:spLocks/>
            </p:cNvSpPr>
            <p:nvPr/>
          </p:nvSpPr>
          <p:spPr bwMode="auto">
            <a:xfrm>
              <a:off x="4738688" y="3318304"/>
              <a:ext cx="152400" cy="66675"/>
            </a:xfrm>
            <a:custGeom>
              <a:avLst/>
              <a:gdLst>
                <a:gd name="T0" fmla="*/ 19 w 96"/>
                <a:gd name="T1" fmla="*/ 42 h 42"/>
                <a:gd name="T2" fmla="*/ 19 w 96"/>
                <a:gd name="T3" fmla="*/ 42 h 42"/>
                <a:gd name="T4" fmla="*/ 26 w 96"/>
                <a:gd name="T5" fmla="*/ 42 h 42"/>
                <a:gd name="T6" fmla="*/ 33 w 96"/>
                <a:gd name="T7" fmla="*/ 41 h 42"/>
                <a:gd name="T8" fmla="*/ 41 w 96"/>
                <a:gd name="T9" fmla="*/ 39 h 42"/>
                <a:gd name="T10" fmla="*/ 46 w 96"/>
                <a:gd name="T11" fmla="*/ 38 h 42"/>
                <a:gd name="T12" fmla="*/ 46 w 96"/>
                <a:gd name="T13" fmla="*/ 38 h 42"/>
                <a:gd name="T14" fmla="*/ 51 w 96"/>
                <a:gd name="T15" fmla="*/ 36 h 42"/>
                <a:gd name="T16" fmla="*/ 56 w 96"/>
                <a:gd name="T17" fmla="*/ 34 h 42"/>
                <a:gd name="T18" fmla="*/ 64 w 96"/>
                <a:gd name="T19" fmla="*/ 31 h 42"/>
                <a:gd name="T20" fmla="*/ 72 w 96"/>
                <a:gd name="T21" fmla="*/ 29 h 42"/>
                <a:gd name="T22" fmla="*/ 72 w 96"/>
                <a:gd name="T23" fmla="*/ 29 h 42"/>
                <a:gd name="T24" fmla="*/ 83 w 96"/>
                <a:gd name="T25" fmla="*/ 29 h 42"/>
                <a:gd name="T26" fmla="*/ 93 w 96"/>
                <a:gd name="T27" fmla="*/ 26 h 42"/>
                <a:gd name="T28" fmla="*/ 93 w 96"/>
                <a:gd name="T29" fmla="*/ 26 h 42"/>
                <a:gd name="T30" fmla="*/ 93 w 96"/>
                <a:gd name="T31" fmla="*/ 26 h 42"/>
                <a:gd name="T32" fmla="*/ 90 w 96"/>
                <a:gd name="T33" fmla="*/ 20 h 42"/>
                <a:gd name="T34" fmla="*/ 90 w 96"/>
                <a:gd name="T35" fmla="*/ 18 h 42"/>
                <a:gd name="T36" fmla="*/ 91 w 96"/>
                <a:gd name="T37" fmla="*/ 16 h 42"/>
                <a:gd name="T38" fmla="*/ 91 w 96"/>
                <a:gd name="T39" fmla="*/ 16 h 42"/>
                <a:gd name="T40" fmla="*/ 96 w 96"/>
                <a:gd name="T41" fmla="*/ 9 h 42"/>
                <a:gd name="T42" fmla="*/ 96 w 96"/>
                <a:gd name="T43" fmla="*/ 9 h 42"/>
                <a:gd name="T44" fmla="*/ 85 w 96"/>
                <a:gd name="T45" fmla="*/ 3 h 42"/>
                <a:gd name="T46" fmla="*/ 80 w 96"/>
                <a:gd name="T47" fmla="*/ 0 h 42"/>
                <a:gd name="T48" fmla="*/ 80 w 96"/>
                <a:gd name="T49" fmla="*/ 0 h 42"/>
                <a:gd name="T50" fmla="*/ 71 w 96"/>
                <a:gd name="T51" fmla="*/ 2 h 42"/>
                <a:gd name="T52" fmla="*/ 65 w 96"/>
                <a:gd name="T53" fmla="*/ 3 h 42"/>
                <a:gd name="T54" fmla="*/ 65 w 96"/>
                <a:gd name="T55" fmla="*/ 3 h 42"/>
                <a:gd name="T56" fmla="*/ 58 w 96"/>
                <a:gd name="T57" fmla="*/ 3 h 42"/>
                <a:gd name="T58" fmla="*/ 54 w 96"/>
                <a:gd name="T59" fmla="*/ 5 h 42"/>
                <a:gd name="T60" fmla="*/ 49 w 96"/>
                <a:gd name="T61" fmla="*/ 3 h 42"/>
                <a:gd name="T62" fmla="*/ 49 w 96"/>
                <a:gd name="T63" fmla="*/ 3 h 42"/>
                <a:gd name="T64" fmla="*/ 46 w 96"/>
                <a:gd name="T65" fmla="*/ 2 h 42"/>
                <a:gd name="T66" fmla="*/ 41 w 96"/>
                <a:gd name="T67" fmla="*/ 2 h 42"/>
                <a:gd name="T68" fmla="*/ 32 w 96"/>
                <a:gd name="T69" fmla="*/ 3 h 42"/>
                <a:gd name="T70" fmla="*/ 32 w 96"/>
                <a:gd name="T71" fmla="*/ 3 h 42"/>
                <a:gd name="T72" fmla="*/ 29 w 96"/>
                <a:gd name="T73" fmla="*/ 5 h 42"/>
                <a:gd name="T74" fmla="*/ 25 w 96"/>
                <a:gd name="T75" fmla="*/ 7 h 42"/>
                <a:gd name="T76" fmla="*/ 17 w 96"/>
                <a:gd name="T77" fmla="*/ 15 h 42"/>
                <a:gd name="T78" fmla="*/ 17 w 96"/>
                <a:gd name="T79" fmla="*/ 15 h 42"/>
                <a:gd name="T80" fmla="*/ 10 w 96"/>
                <a:gd name="T81" fmla="*/ 18 h 42"/>
                <a:gd name="T82" fmla="*/ 0 w 96"/>
                <a:gd name="T83" fmla="*/ 22 h 42"/>
                <a:gd name="T84" fmla="*/ 0 w 96"/>
                <a:gd name="T85" fmla="*/ 22 h 42"/>
                <a:gd name="T86" fmla="*/ 1 w 96"/>
                <a:gd name="T87" fmla="*/ 28 h 42"/>
                <a:gd name="T88" fmla="*/ 1 w 96"/>
                <a:gd name="T89" fmla="*/ 28 h 42"/>
                <a:gd name="T90" fmla="*/ 1 w 96"/>
                <a:gd name="T91" fmla="*/ 31 h 42"/>
                <a:gd name="T92" fmla="*/ 0 w 96"/>
                <a:gd name="T93" fmla="*/ 36 h 42"/>
                <a:gd name="T94" fmla="*/ 0 w 96"/>
                <a:gd name="T95" fmla="*/ 36 h 42"/>
                <a:gd name="T96" fmla="*/ 10 w 96"/>
                <a:gd name="T97" fmla="*/ 39 h 42"/>
                <a:gd name="T98" fmla="*/ 19 w 96"/>
                <a:gd name="T9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6" h="42">
                  <a:moveTo>
                    <a:pt x="19" y="42"/>
                  </a:moveTo>
                  <a:lnTo>
                    <a:pt x="19" y="42"/>
                  </a:lnTo>
                  <a:lnTo>
                    <a:pt x="26" y="42"/>
                  </a:lnTo>
                  <a:lnTo>
                    <a:pt x="33" y="41"/>
                  </a:lnTo>
                  <a:lnTo>
                    <a:pt x="41" y="39"/>
                  </a:lnTo>
                  <a:lnTo>
                    <a:pt x="46" y="38"/>
                  </a:lnTo>
                  <a:lnTo>
                    <a:pt x="46" y="38"/>
                  </a:lnTo>
                  <a:lnTo>
                    <a:pt x="51" y="36"/>
                  </a:lnTo>
                  <a:lnTo>
                    <a:pt x="56" y="34"/>
                  </a:lnTo>
                  <a:lnTo>
                    <a:pt x="64" y="31"/>
                  </a:lnTo>
                  <a:lnTo>
                    <a:pt x="72" y="29"/>
                  </a:lnTo>
                  <a:lnTo>
                    <a:pt x="72" y="29"/>
                  </a:lnTo>
                  <a:lnTo>
                    <a:pt x="83" y="29"/>
                  </a:lnTo>
                  <a:lnTo>
                    <a:pt x="93" y="26"/>
                  </a:lnTo>
                  <a:lnTo>
                    <a:pt x="93" y="26"/>
                  </a:lnTo>
                  <a:lnTo>
                    <a:pt x="93" y="26"/>
                  </a:lnTo>
                  <a:lnTo>
                    <a:pt x="90" y="20"/>
                  </a:lnTo>
                  <a:lnTo>
                    <a:pt x="90" y="18"/>
                  </a:lnTo>
                  <a:lnTo>
                    <a:pt x="91" y="16"/>
                  </a:lnTo>
                  <a:lnTo>
                    <a:pt x="91" y="16"/>
                  </a:lnTo>
                  <a:lnTo>
                    <a:pt x="96" y="9"/>
                  </a:lnTo>
                  <a:lnTo>
                    <a:pt x="96" y="9"/>
                  </a:lnTo>
                  <a:lnTo>
                    <a:pt x="85" y="3"/>
                  </a:lnTo>
                  <a:lnTo>
                    <a:pt x="80" y="0"/>
                  </a:lnTo>
                  <a:lnTo>
                    <a:pt x="80" y="0"/>
                  </a:lnTo>
                  <a:lnTo>
                    <a:pt x="71" y="2"/>
                  </a:lnTo>
                  <a:lnTo>
                    <a:pt x="65" y="3"/>
                  </a:lnTo>
                  <a:lnTo>
                    <a:pt x="65" y="3"/>
                  </a:lnTo>
                  <a:lnTo>
                    <a:pt x="58" y="3"/>
                  </a:lnTo>
                  <a:lnTo>
                    <a:pt x="54" y="5"/>
                  </a:lnTo>
                  <a:lnTo>
                    <a:pt x="49" y="3"/>
                  </a:lnTo>
                  <a:lnTo>
                    <a:pt x="49" y="3"/>
                  </a:lnTo>
                  <a:lnTo>
                    <a:pt x="46" y="2"/>
                  </a:lnTo>
                  <a:lnTo>
                    <a:pt x="41" y="2"/>
                  </a:lnTo>
                  <a:lnTo>
                    <a:pt x="32" y="3"/>
                  </a:lnTo>
                  <a:lnTo>
                    <a:pt x="32" y="3"/>
                  </a:lnTo>
                  <a:lnTo>
                    <a:pt x="29" y="5"/>
                  </a:lnTo>
                  <a:lnTo>
                    <a:pt x="25" y="7"/>
                  </a:lnTo>
                  <a:lnTo>
                    <a:pt x="17" y="15"/>
                  </a:lnTo>
                  <a:lnTo>
                    <a:pt x="17" y="15"/>
                  </a:lnTo>
                  <a:lnTo>
                    <a:pt x="10" y="18"/>
                  </a:lnTo>
                  <a:lnTo>
                    <a:pt x="0" y="22"/>
                  </a:lnTo>
                  <a:lnTo>
                    <a:pt x="0" y="22"/>
                  </a:lnTo>
                  <a:lnTo>
                    <a:pt x="1" y="28"/>
                  </a:lnTo>
                  <a:lnTo>
                    <a:pt x="1" y="28"/>
                  </a:lnTo>
                  <a:lnTo>
                    <a:pt x="1" y="31"/>
                  </a:lnTo>
                  <a:lnTo>
                    <a:pt x="0" y="36"/>
                  </a:lnTo>
                  <a:lnTo>
                    <a:pt x="0" y="36"/>
                  </a:lnTo>
                  <a:lnTo>
                    <a:pt x="10" y="39"/>
                  </a:lnTo>
                  <a:lnTo>
                    <a:pt x="19" y="42"/>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38" name="Freeform 1245"/>
            <p:cNvSpPr>
              <a:spLocks/>
            </p:cNvSpPr>
            <p:nvPr/>
          </p:nvSpPr>
          <p:spPr bwMode="auto">
            <a:xfrm>
              <a:off x="4738688" y="3318304"/>
              <a:ext cx="152400" cy="66675"/>
            </a:xfrm>
            <a:custGeom>
              <a:avLst/>
              <a:gdLst>
                <a:gd name="T0" fmla="*/ 19 w 96"/>
                <a:gd name="T1" fmla="*/ 42 h 42"/>
                <a:gd name="T2" fmla="*/ 19 w 96"/>
                <a:gd name="T3" fmla="*/ 42 h 42"/>
                <a:gd name="T4" fmla="*/ 26 w 96"/>
                <a:gd name="T5" fmla="*/ 42 h 42"/>
                <a:gd name="T6" fmla="*/ 33 w 96"/>
                <a:gd name="T7" fmla="*/ 41 h 42"/>
                <a:gd name="T8" fmla="*/ 41 w 96"/>
                <a:gd name="T9" fmla="*/ 39 h 42"/>
                <a:gd name="T10" fmla="*/ 46 w 96"/>
                <a:gd name="T11" fmla="*/ 38 h 42"/>
                <a:gd name="T12" fmla="*/ 46 w 96"/>
                <a:gd name="T13" fmla="*/ 38 h 42"/>
                <a:gd name="T14" fmla="*/ 51 w 96"/>
                <a:gd name="T15" fmla="*/ 36 h 42"/>
                <a:gd name="T16" fmla="*/ 56 w 96"/>
                <a:gd name="T17" fmla="*/ 34 h 42"/>
                <a:gd name="T18" fmla="*/ 64 w 96"/>
                <a:gd name="T19" fmla="*/ 31 h 42"/>
                <a:gd name="T20" fmla="*/ 72 w 96"/>
                <a:gd name="T21" fmla="*/ 29 h 42"/>
                <a:gd name="T22" fmla="*/ 72 w 96"/>
                <a:gd name="T23" fmla="*/ 29 h 42"/>
                <a:gd name="T24" fmla="*/ 83 w 96"/>
                <a:gd name="T25" fmla="*/ 29 h 42"/>
                <a:gd name="T26" fmla="*/ 93 w 96"/>
                <a:gd name="T27" fmla="*/ 26 h 42"/>
                <a:gd name="T28" fmla="*/ 93 w 96"/>
                <a:gd name="T29" fmla="*/ 26 h 42"/>
                <a:gd name="T30" fmla="*/ 93 w 96"/>
                <a:gd name="T31" fmla="*/ 26 h 42"/>
                <a:gd name="T32" fmla="*/ 90 w 96"/>
                <a:gd name="T33" fmla="*/ 20 h 42"/>
                <a:gd name="T34" fmla="*/ 90 w 96"/>
                <a:gd name="T35" fmla="*/ 18 h 42"/>
                <a:gd name="T36" fmla="*/ 91 w 96"/>
                <a:gd name="T37" fmla="*/ 16 h 42"/>
                <a:gd name="T38" fmla="*/ 91 w 96"/>
                <a:gd name="T39" fmla="*/ 16 h 42"/>
                <a:gd name="T40" fmla="*/ 96 w 96"/>
                <a:gd name="T41" fmla="*/ 9 h 42"/>
                <a:gd name="T42" fmla="*/ 96 w 96"/>
                <a:gd name="T43" fmla="*/ 9 h 42"/>
                <a:gd name="T44" fmla="*/ 85 w 96"/>
                <a:gd name="T45" fmla="*/ 3 h 42"/>
                <a:gd name="T46" fmla="*/ 80 w 96"/>
                <a:gd name="T47" fmla="*/ 0 h 42"/>
                <a:gd name="T48" fmla="*/ 80 w 96"/>
                <a:gd name="T49" fmla="*/ 0 h 42"/>
                <a:gd name="T50" fmla="*/ 71 w 96"/>
                <a:gd name="T51" fmla="*/ 2 h 42"/>
                <a:gd name="T52" fmla="*/ 65 w 96"/>
                <a:gd name="T53" fmla="*/ 3 h 42"/>
                <a:gd name="T54" fmla="*/ 65 w 96"/>
                <a:gd name="T55" fmla="*/ 3 h 42"/>
                <a:gd name="T56" fmla="*/ 58 w 96"/>
                <a:gd name="T57" fmla="*/ 3 h 42"/>
                <a:gd name="T58" fmla="*/ 54 w 96"/>
                <a:gd name="T59" fmla="*/ 5 h 42"/>
                <a:gd name="T60" fmla="*/ 49 w 96"/>
                <a:gd name="T61" fmla="*/ 3 h 42"/>
                <a:gd name="T62" fmla="*/ 49 w 96"/>
                <a:gd name="T63" fmla="*/ 3 h 42"/>
                <a:gd name="T64" fmla="*/ 46 w 96"/>
                <a:gd name="T65" fmla="*/ 2 h 42"/>
                <a:gd name="T66" fmla="*/ 41 w 96"/>
                <a:gd name="T67" fmla="*/ 2 h 42"/>
                <a:gd name="T68" fmla="*/ 32 w 96"/>
                <a:gd name="T69" fmla="*/ 3 h 42"/>
                <a:gd name="T70" fmla="*/ 32 w 96"/>
                <a:gd name="T71" fmla="*/ 3 h 42"/>
                <a:gd name="T72" fmla="*/ 29 w 96"/>
                <a:gd name="T73" fmla="*/ 5 h 42"/>
                <a:gd name="T74" fmla="*/ 25 w 96"/>
                <a:gd name="T75" fmla="*/ 7 h 42"/>
                <a:gd name="T76" fmla="*/ 17 w 96"/>
                <a:gd name="T77" fmla="*/ 15 h 42"/>
                <a:gd name="T78" fmla="*/ 17 w 96"/>
                <a:gd name="T79" fmla="*/ 15 h 42"/>
                <a:gd name="T80" fmla="*/ 10 w 96"/>
                <a:gd name="T81" fmla="*/ 18 h 42"/>
                <a:gd name="T82" fmla="*/ 0 w 96"/>
                <a:gd name="T83" fmla="*/ 22 h 42"/>
                <a:gd name="T84" fmla="*/ 0 w 96"/>
                <a:gd name="T85" fmla="*/ 22 h 42"/>
                <a:gd name="T86" fmla="*/ 1 w 96"/>
                <a:gd name="T87" fmla="*/ 28 h 42"/>
                <a:gd name="T88" fmla="*/ 1 w 96"/>
                <a:gd name="T89" fmla="*/ 28 h 42"/>
                <a:gd name="T90" fmla="*/ 1 w 96"/>
                <a:gd name="T91" fmla="*/ 31 h 42"/>
                <a:gd name="T92" fmla="*/ 0 w 96"/>
                <a:gd name="T93" fmla="*/ 36 h 42"/>
                <a:gd name="T94" fmla="*/ 0 w 96"/>
                <a:gd name="T95" fmla="*/ 36 h 42"/>
                <a:gd name="T96" fmla="*/ 10 w 96"/>
                <a:gd name="T97" fmla="*/ 39 h 42"/>
                <a:gd name="T98" fmla="*/ 19 w 96"/>
                <a:gd name="T9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6" h="42">
                  <a:moveTo>
                    <a:pt x="19" y="42"/>
                  </a:moveTo>
                  <a:lnTo>
                    <a:pt x="19" y="42"/>
                  </a:lnTo>
                  <a:lnTo>
                    <a:pt x="26" y="42"/>
                  </a:lnTo>
                  <a:lnTo>
                    <a:pt x="33" y="41"/>
                  </a:lnTo>
                  <a:lnTo>
                    <a:pt x="41" y="39"/>
                  </a:lnTo>
                  <a:lnTo>
                    <a:pt x="46" y="38"/>
                  </a:lnTo>
                  <a:lnTo>
                    <a:pt x="46" y="38"/>
                  </a:lnTo>
                  <a:lnTo>
                    <a:pt x="51" y="36"/>
                  </a:lnTo>
                  <a:lnTo>
                    <a:pt x="56" y="34"/>
                  </a:lnTo>
                  <a:lnTo>
                    <a:pt x="64" y="31"/>
                  </a:lnTo>
                  <a:lnTo>
                    <a:pt x="72" y="29"/>
                  </a:lnTo>
                  <a:lnTo>
                    <a:pt x="72" y="29"/>
                  </a:lnTo>
                  <a:lnTo>
                    <a:pt x="83" y="29"/>
                  </a:lnTo>
                  <a:lnTo>
                    <a:pt x="93" y="26"/>
                  </a:lnTo>
                  <a:lnTo>
                    <a:pt x="93" y="26"/>
                  </a:lnTo>
                  <a:lnTo>
                    <a:pt x="93" y="26"/>
                  </a:lnTo>
                  <a:lnTo>
                    <a:pt x="90" y="20"/>
                  </a:lnTo>
                  <a:lnTo>
                    <a:pt x="90" y="18"/>
                  </a:lnTo>
                  <a:lnTo>
                    <a:pt x="91" y="16"/>
                  </a:lnTo>
                  <a:lnTo>
                    <a:pt x="91" y="16"/>
                  </a:lnTo>
                  <a:lnTo>
                    <a:pt x="96" y="9"/>
                  </a:lnTo>
                  <a:lnTo>
                    <a:pt x="96" y="9"/>
                  </a:lnTo>
                  <a:lnTo>
                    <a:pt x="85" y="3"/>
                  </a:lnTo>
                  <a:lnTo>
                    <a:pt x="80" y="0"/>
                  </a:lnTo>
                  <a:lnTo>
                    <a:pt x="80" y="0"/>
                  </a:lnTo>
                  <a:lnTo>
                    <a:pt x="71" y="2"/>
                  </a:lnTo>
                  <a:lnTo>
                    <a:pt x="65" y="3"/>
                  </a:lnTo>
                  <a:lnTo>
                    <a:pt x="65" y="3"/>
                  </a:lnTo>
                  <a:lnTo>
                    <a:pt x="58" y="3"/>
                  </a:lnTo>
                  <a:lnTo>
                    <a:pt x="54" y="5"/>
                  </a:lnTo>
                  <a:lnTo>
                    <a:pt x="49" y="3"/>
                  </a:lnTo>
                  <a:lnTo>
                    <a:pt x="49" y="3"/>
                  </a:lnTo>
                  <a:lnTo>
                    <a:pt x="46" y="2"/>
                  </a:lnTo>
                  <a:lnTo>
                    <a:pt x="41" y="2"/>
                  </a:lnTo>
                  <a:lnTo>
                    <a:pt x="32" y="3"/>
                  </a:lnTo>
                  <a:lnTo>
                    <a:pt x="32" y="3"/>
                  </a:lnTo>
                  <a:lnTo>
                    <a:pt x="29" y="5"/>
                  </a:lnTo>
                  <a:lnTo>
                    <a:pt x="25" y="7"/>
                  </a:lnTo>
                  <a:lnTo>
                    <a:pt x="17" y="15"/>
                  </a:lnTo>
                  <a:lnTo>
                    <a:pt x="17" y="15"/>
                  </a:lnTo>
                  <a:lnTo>
                    <a:pt x="10" y="18"/>
                  </a:lnTo>
                  <a:lnTo>
                    <a:pt x="0" y="22"/>
                  </a:lnTo>
                  <a:lnTo>
                    <a:pt x="0" y="22"/>
                  </a:lnTo>
                  <a:lnTo>
                    <a:pt x="1" y="28"/>
                  </a:lnTo>
                  <a:lnTo>
                    <a:pt x="1" y="28"/>
                  </a:lnTo>
                  <a:lnTo>
                    <a:pt x="1" y="31"/>
                  </a:lnTo>
                  <a:lnTo>
                    <a:pt x="0" y="36"/>
                  </a:lnTo>
                  <a:lnTo>
                    <a:pt x="0" y="36"/>
                  </a:lnTo>
                  <a:lnTo>
                    <a:pt x="10" y="39"/>
                  </a:lnTo>
                  <a:lnTo>
                    <a:pt x="19"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39" name="Freeform 1246"/>
            <p:cNvSpPr>
              <a:spLocks/>
            </p:cNvSpPr>
            <p:nvPr/>
          </p:nvSpPr>
          <p:spPr bwMode="auto">
            <a:xfrm>
              <a:off x="4724401" y="3359579"/>
              <a:ext cx="169863" cy="101600"/>
            </a:xfrm>
            <a:custGeom>
              <a:avLst/>
              <a:gdLst>
                <a:gd name="T0" fmla="*/ 102 w 107"/>
                <a:gd name="T1" fmla="*/ 0 h 64"/>
                <a:gd name="T2" fmla="*/ 102 w 107"/>
                <a:gd name="T3" fmla="*/ 0 h 64"/>
                <a:gd name="T4" fmla="*/ 92 w 107"/>
                <a:gd name="T5" fmla="*/ 3 h 64"/>
                <a:gd name="T6" fmla="*/ 81 w 107"/>
                <a:gd name="T7" fmla="*/ 3 h 64"/>
                <a:gd name="T8" fmla="*/ 81 w 107"/>
                <a:gd name="T9" fmla="*/ 3 h 64"/>
                <a:gd name="T10" fmla="*/ 73 w 107"/>
                <a:gd name="T11" fmla="*/ 5 h 64"/>
                <a:gd name="T12" fmla="*/ 65 w 107"/>
                <a:gd name="T13" fmla="*/ 8 h 64"/>
                <a:gd name="T14" fmla="*/ 60 w 107"/>
                <a:gd name="T15" fmla="*/ 10 h 64"/>
                <a:gd name="T16" fmla="*/ 55 w 107"/>
                <a:gd name="T17" fmla="*/ 12 h 64"/>
                <a:gd name="T18" fmla="*/ 55 w 107"/>
                <a:gd name="T19" fmla="*/ 12 h 64"/>
                <a:gd name="T20" fmla="*/ 50 w 107"/>
                <a:gd name="T21" fmla="*/ 13 h 64"/>
                <a:gd name="T22" fmla="*/ 42 w 107"/>
                <a:gd name="T23" fmla="*/ 15 h 64"/>
                <a:gd name="T24" fmla="*/ 35 w 107"/>
                <a:gd name="T25" fmla="*/ 16 h 64"/>
                <a:gd name="T26" fmla="*/ 28 w 107"/>
                <a:gd name="T27" fmla="*/ 16 h 64"/>
                <a:gd name="T28" fmla="*/ 28 w 107"/>
                <a:gd name="T29" fmla="*/ 16 h 64"/>
                <a:gd name="T30" fmla="*/ 19 w 107"/>
                <a:gd name="T31" fmla="*/ 13 h 64"/>
                <a:gd name="T32" fmla="*/ 9 w 107"/>
                <a:gd name="T33" fmla="*/ 10 h 64"/>
                <a:gd name="T34" fmla="*/ 9 w 107"/>
                <a:gd name="T35" fmla="*/ 10 h 64"/>
                <a:gd name="T36" fmla="*/ 5 w 107"/>
                <a:gd name="T37" fmla="*/ 22 h 64"/>
                <a:gd name="T38" fmla="*/ 2 w 107"/>
                <a:gd name="T39" fmla="*/ 29 h 64"/>
                <a:gd name="T40" fmla="*/ 2 w 107"/>
                <a:gd name="T41" fmla="*/ 29 h 64"/>
                <a:gd name="T42" fmla="*/ 0 w 107"/>
                <a:gd name="T43" fmla="*/ 34 h 64"/>
                <a:gd name="T44" fmla="*/ 2 w 107"/>
                <a:gd name="T45" fmla="*/ 38 h 64"/>
                <a:gd name="T46" fmla="*/ 9 w 107"/>
                <a:gd name="T47" fmla="*/ 48 h 64"/>
                <a:gd name="T48" fmla="*/ 9 w 107"/>
                <a:gd name="T49" fmla="*/ 48 h 64"/>
                <a:gd name="T50" fmla="*/ 16 w 107"/>
                <a:gd name="T51" fmla="*/ 54 h 64"/>
                <a:gd name="T52" fmla="*/ 23 w 107"/>
                <a:gd name="T53" fmla="*/ 58 h 64"/>
                <a:gd name="T54" fmla="*/ 32 w 107"/>
                <a:gd name="T55" fmla="*/ 63 h 64"/>
                <a:gd name="T56" fmla="*/ 39 w 107"/>
                <a:gd name="T57" fmla="*/ 64 h 64"/>
                <a:gd name="T58" fmla="*/ 39 w 107"/>
                <a:gd name="T59" fmla="*/ 64 h 64"/>
                <a:gd name="T60" fmla="*/ 44 w 107"/>
                <a:gd name="T61" fmla="*/ 64 h 64"/>
                <a:gd name="T62" fmla="*/ 48 w 107"/>
                <a:gd name="T63" fmla="*/ 63 h 64"/>
                <a:gd name="T64" fmla="*/ 52 w 107"/>
                <a:gd name="T65" fmla="*/ 60 h 64"/>
                <a:gd name="T66" fmla="*/ 52 w 107"/>
                <a:gd name="T67" fmla="*/ 60 h 64"/>
                <a:gd name="T68" fmla="*/ 55 w 107"/>
                <a:gd name="T69" fmla="*/ 58 h 64"/>
                <a:gd name="T70" fmla="*/ 63 w 107"/>
                <a:gd name="T71" fmla="*/ 55 h 64"/>
                <a:gd name="T72" fmla="*/ 70 w 107"/>
                <a:gd name="T73" fmla="*/ 54 h 64"/>
                <a:gd name="T74" fmla="*/ 76 w 107"/>
                <a:gd name="T75" fmla="*/ 50 h 64"/>
                <a:gd name="T76" fmla="*/ 76 w 107"/>
                <a:gd name="T77" fmla="*/ 50 h 64"/>
                <a:gd name="T78" fmla="*/ 81 w 107"/>
                <a:gd name="T79" fmla="*/ 44 h 64"/>
                <a:gd name="T80" fmla="*/ 90 w 107"/>
                <a:gd name="T81" fmla="*/ 35 h 64"/>
                <a:gd name="T82" fmla="*/ 102 w 107"/>
                <a:gd name="T83" fmla="*/ 18 h 64"/>
                <a:gd name="T84" fmla="*/ 102 w 107"/>
                <a:gd name="T85" fmla="*/ 18 h 64"/>
                <a:gd name="T86" fmla="*/ 105 w 107"/>
                <a:gd name="T87" fmla="*/ 12 h 64"/>
                <a:gd name="T88" fmla="*/ 107 w 107"/>
                <a:gd name="T89" fmla="*/ 9 h 64"/>
                <a:gd name="T90" fmla="*/ 107 w 107"/>
                <a:gd name="T91" fmla="*/ 9 h 64"/>
                <a:gd name="T92" fmla="*/ 102 w 107"/>
                <a:gd name="T93" fmla="*/ 0 h 64"/>
                <a:gd name="T94" fmla="*/ 102 w 107"/>
                <a:gd name="T9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7" h="64">
                  <a:moveTo>
                    <a:pt x="102" y="0"/>
                  </a:moveTo>
                  <a:lnTo>
                    <a:pt x="102" y="0"/>
                  </a:lnTo>
                  <a:lnTo>
                    <a:pt x="92" y="3"/>
                  </a:lnTo>
                  <a:lnTo>
                    <a:pt x="81" y="3"/>
                  </a:lnTo>
                  <a:lnTo>
                    <a:pt x="81" y="3"/>
                  </a:lnTo>
                  <a:lnTo>
                    <a:pt x="73" y="5"/>
                  </a:lnTo>
                  <a:lnTo>
                    <a:pt x="65" y="8"/>
                  </a:lnTo>
                  <a:lnTo>
                    <a:pt x="60" y="10"/>
                  </a:lnTo>
                  <a:lnTo>
                    <a:pt x="55" y="12"/>
                  </a:lnTo>
                  <a:lnTo>
                    <a:pt x="55" y="12"/>
                  </a:lnTo>
                  <a:lnTo>
                    <a:pt x="50" y="13"/>
                  </a:lnTo>
                  <a:lnTo>
                    <a:pt x="42" y="15"/>
                  </a:lnTo>
                  <a:lnTo>
                    <a:pt x="35" y="16"/>
                  </a:lnTo>
                  <a:lnTo>
                    <a:pt x="28" y="16"/>
                  </a:lnTo>
                  <a:lnTo>
                    <a:pt x="28" y="16"/>
                  </a:lnTo>
                  <a:lnTo>
                    <a:pt x="19" y="13"/>
                  </a:lnTo>
                  <a:lnTo>
                    <a:pt x="9" y="10"/>
                  </a:lnTo>
                  <a:lnTo>
                    <a:pt x="9" y="10"/>
                  </a:lnTo>
                  <a:lnTo>
                    <a:pt x="5" y="22"/>
                  </a:lnTo>
                  <a:lnTo>
                    <a:pt x="2" y="29"/>
                  </a:lnTo>
                  <a:lnTo>
                    <a:pt x="2" y="29"/>
                  </a:lnTo>
                  <a:lnTo>
                    <a:pt x="0" y="34"/>
                  </a:lnTo>
                  <a:lnTo>
                    <a:pt x="2" y="38"/>
                  </a:lnTo>
                  <a:lnTo>
                    <a:pt x="9" y="48"/>
                  </a:lnTo>
                  <a:lnTo>
                    <a:pt x="9" y="48"/>
                  </a:lnTo>
                  <a:lnTo>
                    <a:pt x="16" y="54"/>
                  </a:lnTo>
                  <a:lnTo>
                    <a:pt x="23" y="58"/>
                  </a:lnTo>
                  <a:lnTo>
                    <a:pt x="32" y="63"/>
                  </a:lnTo>
                  <a:lnTo>
                    <a:pt x="39" y="64"/>
                  </a:lnTo>
                  <a:lnTo>
                    <a:pt x="39" y="64"/>
                  </a:lnTo>
                  <a:lnTo>
                    <a:pt x="44" y="64"/>
                  </a:lnTo>
                  <a:lnTo>
                    <a:pt x="48" y="63"/>
                  </a:lnTo>
                  <a:lnTo>
                    <a:pt x="52" y="60"/>
                  </a:lnTo>
                  <a:lnTo>
                    <a:pt x="52" y="60"/>
                  </a:lnTo>
                  <a:lnTo>
                    <a:pt x="55" y="58"/>
                  </a:lnTo>
                  <a:lnTo>
                    <a:pt x="63" y="55"/>
                  </a:lnTo>
                  <a:lnTo>
                    <a:pt x="70" y="54"/>
                  </a:lnTo>
                  <a:lnTo>
                    <a:pt x="76" y="50"/>
                  </a:lnTo>
                  <a:lnTo>
                    <a:pt x="76" y="50"/>
                  </a:lnTo>
                  <a:lnTo>
                    <a:pt x="81" y="44"/>
                  </a:lnTo>
                  <a:lnTo>
                    <a:pt x="90" y="35"/>
                  </a:lnTo>
                  <a:lnTo>
                    <a:pt x="102" y="18"/>
                  </a:lnTo>
                  <a:lnTo>
                    <a:pt x="102" y="18"/>
                  </a:lnTo>
                  <a:lnTo>
                    <a:pt x="105" y="12"/>
                  </a:lnTo>
                  <a:lnTo>
                    <a:pt x="107" y="9"/>
                  </a:lnTo>
                  <a:lnTo>
                    <a:pt x="107" y="9"/>
                  </a:lnTo>
                  <a:lnTo>
                    <a:pt x="102" y="0"/>
                  </a:lnTo>
                  <a:lnTo>
                    <a:pt x="102" y="0"/>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40" name="Freeform 1247"/>
            <p:cNvSpPr>
              <a:spLocks/>
            </p:cNvSpPr>
            <p:nvPr/>
          </p:nvSpPr>
          <p:spPr bwMode="auto">
            <a:xfrm>
              <a:off x="3595688" y="2173716"/>
              <a:ext cx="71438" cy="42863"/>
            </a:xfrm>
            <a:custGeom>
              <a:avLst/>
              <a:gdLst>
                <a:gd name="T0" fmla="*/ 45 w 45"/>
                <a:gd name="T1" fmla="*/ 17 h 27"/>
                <a:gd name="T2" fmla="*/ 45 w 45"/>
                <a:gd name="T3" fmla="*/ 17 h 27"/>
                <a:gd name="T4" fmla="*/ 45 w 45"/>
                <a:gd name="T5" fmla="*/ 14 h 27"/>
                <a:gd name="T6" fmla="*/ 44 w 45"/>
                <a:gd name="T7" fmla="*/ 11 h 27"/>
                <a:gd name="T8" fmla="*/ 42 w 45"/>
                <a:gd name="T9" fmla="*/ 10 h 27"/>
                <a:gd name="T10" fmla="*/ 42 w 45"/>
                <a:gd name="T11" fmla="*/ 7 h 27"/>
                <a:gd name="T12" fmla="*/ 42 w 45"/>
                <a:gd name="T13" fmla="*/ 7 h 27"/>
                <a:gd name="T14" fmla="*/ 42 w 45"/>
                <a:gd name="T15" fmla="*/ 4 h 27"/>
                <a:gd name="T16" fmla="*/ 41 w 45"/>
                <a:gd name="T17" fmla="*/ 1 h 27"/>
                <a:gd name="T18" fmla="*/ 39 w 45"/>
                <a:gd name="T19" fmla="*/ 0 h 27"/>
                <a:gd name="T20" fmla="*/ 36 w 45"/>
                <a:gd name="T21" fmla="*/ 0 h 27"/>
                <a:gd name="T22" fmla="*/ 36 w 45"/>
                <a:gd name="T23" fmla="*/ 0 h 27"/>
                <a:gd name="T24" fmla="*/ 26 w 45"/>
                <a:gd name="T25" fmla="*/ 4 h 27"/>
                <a:gd name="T26" fmla="*/ 15 w 45"/>
                <a:gd name="T27" fmla="*/ 9 h 27"/>
                <a:gd name="T28" fmla="*/ 15 w 45"/>
                <a:gd name="T29" fmla="*/ 9 h 27"/>
                <a:gd name="T30" fmla="*/ 12 w 45"/>
                <a:gd name="T31" fmla="*/ 11 h 27"/>
                <a:gd name="T32" fmla="*/ 9 w 45"/>
                <a:gd name="T33" fmla="*/ 14 h 27"/>
                <a:gd name="T34" fmla="*/ 6 w 45"/>
                <a:gd name="T35" fmla="*/ 19 h 27"/>
                <a:gd name="T36" fmla="*/ 6 w 45"/>
                <a:gd name="T37" fmla="*/ 19 h 27"/>
                <a:gd name="T38" fmla="*/ 2 w 45"/>
                <a:gd name="T39" fmla="*/ 22 h 27"/>
                <a:gd name="T40" fmla="*/ 0 w 45"/>
                <a:gd name="T41" fmla="*/ 23 h 27"/>
                <a:gd name="T42" fmla="*/ 0 w 45"/>
                <a:gd name="T43" fmla="*/ 24 h 27"/>
                <a:gd name="T44" fmla="*/ 0 w 45"/>
                <a:gd name="T45" fmla="*/ 24 h 27"/>
                <a:gd name="T46" fmla="*/ 3 w 45"/>
                <a:gd name="T47" fmla="*/ 26 h 27"/>
                <a:gd name="T48" fmla="*/ 7 w 45"/>
                <a:gd name="T49" fmla="*/ 26 h 27"/>
                <a:gd name="T50" fmla="*/ 13 w 45"/>
                <a:gd name="T51" fmla="*/ 27 h 27"/>
                <a:gd name="T52" fmla="*/ 18 w 45"/>
                <a:gd name="T53" fmla="*/ 26 h 27"/>
                <a:gd name="T54" fmla="*/ 18 w 45"/>
                <a:gd name="T55" fmla="*/ 26 h 27"/>
                <a:gd name="T56" fmla="*/ 25 w 45"/>
                <a:gd name="T57" fmla="*/ 23 h 27"/>
                <a:gd name="T58" fmla="*/ 29 w 45"/>
                <a:gd name="T59" fmla="*/ 22 h 27"/>
                <a:gd name="T60" fmla="*/ 32 w 45"/>
                <a:gd name="T61" fmla="*/ 20 h 27"/>
                <a:gd name="T62" fmla="*/ 32 w 45"/>
                <a:gd name="T63" fmla="*/ 20 h 27"/>
                <a:gd name="T64" fmla="*/ 41 w 45"/>
                <a:gd name="T65" fmla="*/ 20 h 27"/>
                <a:gd name="T66" fmla="*/ 44 w 45"/>
                <a:gd name="T67" fmla="*/ 19 h 27"/>
                <a:gd name="T68" fmla="*/ 45 w 45"/>
                <a:gd name="T69"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 h="27">
                  <a:moveTo>
                    <a:pt x="45" y="17"/>
                  </a:moveTo>
                  <a:lnTo>
                    <a:pt x="45" y="17"/>
                  </a:lnTo>
                  <a:lnTo>
                    <a:pt x="45" y="14"/>
                  </a:lnTo>
                  <a:lnTo>
                    <a:pt x="44" y="11"/>
                  </a:lnTo>
                  <a:lnTo>
                    <a:pt x="42" y="10"/>
                  </a:lnTo>
                  <a:lnTo>
                    <a:pt x="42" y="7"/>
                  </a:lnTo>
                  <a:lnTo>
                    <a:pt x="42" y="7"/>
                  </a:lnTo>
                  <a:lnTo>
                    <a:pt x="42" y="4"/>
                  </a:lnTo>
                  <a:lnTo>
                    <a:pt x="41" y="1"/>
                  </a:lnTo>
                  <a:lnTo>
                    <a:pt x="39" y="0"/>
                  </a:lnTo>
                  <a:lnTo>
                    <a:pt x="36" y="0"/>
                  </a:lnTo>
                  <a:lnTo>
                    <a:pt x="36" y="0"/>
                  </a:lnTo>
                  <a:lnTo>
                    <a:pt x="26" y="4"/>
                  </a:lnTo>
                  <a:lnTo>
                    <a:pt x="15" y="9"/>
                  </a:lnTo>
                  <a:lnTo>
                    <a:pt x="15" y="9"/>
                  </a:lnTo>
                  <a:lnTo>
                    <a:pt x="12" y="11"/>
                  </a:lnTo>
                  <a:lnTo>
                    <a:pt x="9" y="14"/>
                  </a:lnTo>
                  <a:lnTo>
                    <a:pt x="6" y="19"/>
                  </a:lnTo>
                  <a:lnTo>
                    <a:pt x="6" y="19"/>
                  </a:lnTo>
                  <a:lnTo>
                    <a:pt x="2" y="22"/>
                  </a:lnTo>
                  <a:lnTo>
                    <a:pt x="0" y="23"/>
                  </a:lnTo>
                  <a:lnTo>
                    <a:pt x="0" y="24"/>
                  </a:lnTo>
                  <a:lnTo>
                    <a:pt x="0" y="24"/>
                  </a:lnTo>
                  <a:lnTo>
                    <a:pt x="3" y="26"/>
                  </a:lnTo>
                  <a:lnTo>
                    <a:pt x="7" y="26"/>
                  </a:lnTo>
                  <a:lnTo>
                    <a:pt x="13" y="27"/>
                  </a:lnTo>
                  <a:lnTo>
                    <a:pt x="18" y="26"/>
                  </a:lnTo>
                  <a:lnTo>
                    <a:pt x="18" y="26"/>
                  </a:lnTo>
                  <a:lnTo>
                    <a:pt x="25" y="23"/>
                  </a:lnTo>
                  <a:lnTo>
                    <a:pt x="29" y="22"/>
                  </a:lnTo>
                  <a:lnTo>
                    <a:pt x="32" y="20"/>
                  </a:lnTo>
                  <a:lnTo>
                    <a:pt x="32" y="20"/>
                  </a:lnTo>
                  <a:lnTo>
                    <a:pt x="41" y="20"/>
                  </a:lnTo>
                  <a:lnTo>
                    <a:pt x="44" y="19"/>
                  </a:lnTo>
                  <a:lnTo>
                    <a:pt x="45" y="17"/>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41" name="Freeform 1248"/>
            <p:cNvSpPr>
              <a:spLocks/>
            </p:cNvSpPr>
            <p:nvPr/>
          </p:nvSpPr>
          <p:spPr bwMode="auto">
            <a:xfrm>
              <a:off x="3595688" y="2173716"/>
              <a:ext cx="71438" cy="42863"/>
            </a:xfrm>
            <a:custGeom>
              <a:avLst/>
              <a:gdLst>
                <a:gd name="T0" fmla="*/ 45 w 45"/>
                <a:gd name="T1" fmla="*/ 17 h 27"/>
                <a:gd name="T2" fmla="*/ 45 w 45"/>
                <a:gd name="T3" fmla="*/ 17 h 27"/>
                <a:gd name="T4" fmla="*/ 45 w 45"/>
                <a:gd name="T5" fmla="*/ 14 h 27"/>
                <a:gd name="T6" fmla="*/ 44 w 45"/>
                <a:gd name="T7" fmla="*/ 11 h 27"/>
                <a:gd name="T8" fmla="*/ 42 w 45"/>
                <a:gd name="T9" fmla="*/ 10 h 27"/>
                <a:gd name="T10" fmla="*/ 42 w 45"/>
                <a:gd name="T11" fmla="*/ 7 h 27"/>
                <a:gd name="T12" fmla="*/ 42 w 45"/>
                <a:gd name="T13" fmla="*/ 7 h 27"/>
                <a:gd name="T14" fmla="*/ 42 w 45"/>
                <a:gd name="T15" fmla="*/ 4 h 27"/>
                <a:gd name="T16" fmla="*/ 41 w 45"/>
                <a:gd name="T17" fmla="*/ 1 h 27"/>
                <a:gd name="T18" fmla="*/ 39 w 45"/>
                <a:gd name="T19" fmla="*/ 0 h 27"/>
                <a:gd name="T20" fmla="*/ 36 w 45"/>
                <a:gd name="T21" fmla="*/ 0 h 27"/>
                <a:gd name="T22" fmla="*/ 36 w 45"/>
                <a:gd name="T23" fmla="*/ 0 h 27"/>
                <a:gd name="T24" fmla="*/ 26 w 45"/>
                <a:gd name="T25" fmla="*/ 4 h 27"/>
                <a:gd name="T26" fmla="*/ 15 w 45"/>
                <a:gd name="T27" fmla="*/ 9 h 27"/>
                <a:gd name="T28" fmla="*/ 15 w 45"/>
                <a:gd name="T29" fmla="*/ 9 h 27"/>
                <a:gd name="T30" fmla="*/ 12 w 45"/>
                <a:gd name="T31" fmla="*/ 11 h 27"/>
                <a:gd name="T32" fmla="*/ 9 w 45"/>
                <a:gd name="T33" fmla="*/ 14 h 27"/>
                <a:gd name="T34" fmla="*/ 6 w 45"/>
                <a:gd name="T35" fmla="*/ 19 h 27"/>
                <a:gd name="T36" fmla="*/ 6 w 45"/>
                <a:gd name="T37" fmla="*/ 19 h 27"/>
                <a:gd name="T38" fmla="*/ 2 w 45"/>
                <a:gd name="T39" fmla="*/ 22 h 27"/>
                <a:gd name="T40" fmla="*/ 0 w 45"/>
                <a:gd name="T41" fmla="*/ 23 h 27"/>
                <a:gd name="T42" fmla="*/ 0 w 45"/>
                <a:gd name="T43" fmla="*/ 24 h 27"/>
                <a:gd name="T44" fmla="*/ 0 w 45"/>
                <a:gd name="T45" fmla="*/ 24 h 27"/>
                <a:gd name="T46" fmla="*/ 3 w 45"/>
                <a:gd name="T47" fmla="*/ 26 h 27"/>
                <a:gd name="T48" fmla="*/ 7 w 45"/>
                <a:gd name="T49" fmla="*/ 26 h 27"/>
                <a:gd name="T50" fmla="*/ 13 w 45"/>
                <a:gd name="T51" fmla="*/ 27 h 27"/>
                <a:gd name="T52" fmla="*/ 18 w 45"/>
                <a:gd name="T53" fmla="*/ 26 h 27"/>
                <a:gd name="T54" fmla="*/ 18 w 45"/>
                <a:gd name="T55" fmla="*/ 26 h 27"/>
                <a:gd name="T56" fmla="*/ 25 w 45"/>
                <a:gd name="T57" fmla="*/ 23 h 27"/>
                <a:gd name="T58" fmla="*/ 29 w 45"/>
                <a:gd name="T59" fmla="*/ 22 h 27"/>
                <a:gd name="T60" fmla="*/ 32 w 45"/>
                <a:gd name="T61" fmla="*/ 20 h 27"/>
                <a:gd name="T62" fmla="*/ 32 w 45"/>
                <a:gd name="T63" fmla="*/ 20 h 27"/>
                <a:gd name="T64" fmla="*/ 41 w 45"/>
                <a:gd name="T65" fmla="*/ 20 h 27"/>
                <a:gd name="T66" fmla="*/ 44 w 45"/>
                <a:gd name="T67" fmla="*/ 19 h 27"/>
                <a:gd name="T68" fmla="*/ 45 w 45"/>
                <a:gd name="T69"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 h="27">
                  <a:moveTo>
                    <a:pt x="45" y="17"/>
                  </a:moveTo>
                  <a:lnTo>
                    <a:pt x="45" y="17"/>
                  </a:lnTo>
                  <a:lnTo>
                    <a:pt x="45" y="14"/>
                  </a:lnTo>
                  <a:lnTo>
                    <a:pt x="44" y="11"/>
                  </a:lnTo>
                  <a:lnTo>
                    <a:pt x="42" y="10"/>
                  </a:lnTo>
                  <a:lnTo>
                    <a:pt x="42" y="7"/>
                  </a:lnTo>
                  <a:lnTo>
                    <a:pt x="42" y="7"/>
                  </a:lnTo>
                  <a:lnTo>
                    <a:pt x="42" y="4"/>
                  </a:lnTo>
                  <a:lnTo>
                    <a:pt x="41" y="1"/>
                  </a:lnTo>
                  <a:lnTo>
                    <a:pt x="39" y="0"/>
                  </a:lnTo>
                  <a:lnTo>
                    <a:pt x="36" y="0"/>
                  </a:lnTo>
                  <a:lnTo>
                    <a:pt x="36" y="0"/>
                  </a:lnTo>
                  <a:lnTo>
                    <a:pt x="26" y="4"/>
                  </a:lnTo>
                  <a:lnTo>
                    <a:pt x="15" y="9"/>
                  </a:lnTo>
                  <a:lnTo>
                    <a:pt x="15" y="9"/>
                  </a:lnTo>
                  <a:lnTo>
                    <a:pt x="12" y="11"/>
                  </a:lnTo>
                  <a:lnTo>
                    <a:pt x="9" y="14"/>
                  </a:lnTo>
                  <a:lnTo>
                    <a:pt x="6" y="19"/>
                  </a:lnTo>
                  <a:lnTo>
                    <a:pt x="6" y="19"/>
                  </a:lnTo>
                  <a:lnTo>
                    <a:pt x="2" y="22"/>
                  </a:lnTo>
                  <a:lnTo>
                    <a:pt x="0" y="23"/>
                  </a:lnTo>
                  <a:lnTo>
                    <a:pt x="0" y="24"/>
                  </a:lnTo>
                  <a:lnTo>
                    <a:pt x="0" y="24"/>
                  </a:lnTo>
                  <a:lnTo>
                    <a:pt x="3" y="26"/>
                  </a:lnTo>
                  <a:lnTo>
                    <a:pt x="7" y="26"/>
                  </a:lnTo>
                  <a:lnTo>
                    <a:pt x="13" y="27"/>
                  </a:lnTo>
                  <a:lnTo>
                    <a:pt x="18" y="26"/>
                  </a:lnTo>
                  <a:lnTo>
                    <a:pt x="18" y="26"/>
                  </a:lnTo>
                  <a:lnTo>
                    <a:pt x="25" y="23"/>
                  </a:lnTo>
                  <a:lnTo>
                    <a:pt x="29" y="22"/>
                  </a:lnTo>
                  <a:lnTo>
                    <a:pt x="32" y="20"/>
                  </a:lnTo>
                  <a:lnTo>
                    <a:pt x="32" y="20"/>
                  </a:lnTo>
                  <a:lnTo>
                    <a:pt x="41" y="20"/>
                  </a:lnTo>
                  <a:lnTo>
                    <a:pt x="44" y="19"/>
                  </a:lnTo>
                  <a:lnTo>
                    <a:pt x="45" y="17"/>
                  </a:lnTo>
                </a:path>
              </a:pathLst>
            </a:custGeom>
            <a:solidFill>
              <a:srgbClr val="92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42" name="Freeform 1249"/>
            <p:cNvSpPr>
              <a:spLocks/>
            </p:cNvSpPr>
            <p:nvPr/>
          </p:nvSpPr>
          <p:spPr bwMode="auto">
            <a:xfrm>
              <a:off x="3598863" y="2143554"/>
              <a:ext cx="57150" cy="34925"/>
            </a:xfrm>
            <a:custGeom>
              <a:avLst/>
              <a:gdLst>
                <a:gd name="T0" fmla="*/ 34 w 36"/>
                <a:gd name="T1" fmla="*/ 12 h 22"/>
                <a:gd name="T2" fmla="*/ 34 w 36"/>
                <a:gd name="T3" fmla="*/ 12 h 22"/>
                <a:gd name="T4" fmla="*/ 21 w 36"/>
                <a:gd name="T5" fmla="*/ 19 h 22"/>
                <a:gd name="T6" fmla="*/ 13 w 36"/>
                <a:gd name="T7" fmla="*/ 22 h 22"/>
                <a:gd name="T8" fmla="*/ 10 w 36"/>
                <a:gd name="T9" fmla="*/ 22 h 22"/>
                <a:gd name="T10" fmla="*/ 7 w 36"/>
                <a:gd name="T11" fmla="*/ 22 h 22"/>
                <a:gd name="T12" fmla="*/ 7 w 36"/>
                <a:gd name="T13" fmla="*/ 22 h 22"/>
                <a:gd name="T14" fmla="*/ 3 w 36"/>
                <a:gd name="T15" fmla="*/ 19 h 22"/>
                <a:gd name="T16" fmla="*/ 1 w 36"/>
                <a:gd name="T17" fmla="*/ 16 h 22"/>
                <a:gd name="T18" fmla="*/ 0 w 36"/>
                <a:gd name="T19" fmla="*/ 13 h 22"/>
                <a:gd name="T20" fmla="*/ 3 w 36"/>
                <a:gd name="T21" fmla="*/ 12 h 22"/>
                <a:gd name="T22" fmla="*/ 3 w 36"/>
                <a:gd name="T23" fmla="*/ 12 h 22"/>
                <a:gd name="T24" fmla="*/ 5 w 36"/>
                <a:gd name="T25" fmla="*/ 9 h 22"/>
                <a:gd name="T26" fmla="*/ 7 w 36"/>
                <a:gd name="T27" fmla="*/ 7 h 22"/>
                <a:gd name="T28" fmla="*/ 7 w 36"/>
                <a:gd name="T29" fmla="*/ 7 h 22"/>
                <a:gd name="T30" fmla="*/ 13 w 36"/>
                <a:gd name="T31" fmla="*/ 1 h 22"/>
                <a:gd name="T32" fmla="*/ 16 w 36"/>
                <a:gd name="T33" fmla="*/ 0 h 22"/>
                <a:gd name="T34" fmla="*/ 20 w 36"/>
                <a:gd name="T35" fmla="*/ 0 h 22"/>
                <a:gd name="T36" fmla="*/ 20 w 36"/>
                <a:gd name="T37" fmla="*/ 0 h 22"/>
                <a:gd name="T38" fmla="*/ 30 w 36"/>
                <a:gd name="T39" fmla="*/ 4 h 22"/>
                <a:gd name="T40" fmla="*/ 34 w 36"/>
                <a:gd name="T41" fmla="*/ 9 h 22"/>
                <a:gd name="T42" fmla="*/ 36 w 36"/>
                <a:gd name="T43" fmla="*/ 10 h 22"/>
                <a:gd name="T44" fmla="*/ 34 w 36"/>
                <a:gd name="T45"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2">
                  <a:moveTo>
                    <a:pt x="34" y="12"/>
                  </a:moveTo>
                  <a:lnTo>
                    <a:pt x="34" y="12"/>
                  </a:lnTo>
                  <a:lnTo>
                    <a:pt x="21" y="19"/>
                  </a:lnTo>
                  <a:lnTo>
                    <a:pt x="13" y="22"/>
                  </a:lnTo>
                  <a:lnTo>
                    <a:pt x="10" y="22"/>
                  </a:lnTo>
                  <a:lnTo>
                    <a:pt x="7" y="22"/>
                  </a:lnTo>
                  <a:lnTo>
                    <a:pt x="7" y="22"/>
                  </a:lnTo>
                  <a:lnTo>
                    <a:pt x="3" y="19"/>
                  </a:lnTo>
                  <a:lnTo>
                    <a:pt x="1" y="16"/>
                  </a:lnTo>
                  <a:lnTo>
                    <a:pt x="0" y="13"/>
                  </a:lnTo>
                  <a:lnTo>
                    <a:pt x="3" y="12"/>
                  </a:lnTo>
                  <a:lnTo>
                    <a:pt x="3" y="12"/>
                  </a:lnTo>
                  <a:lnTo>
                    <a:pt x="5" y="9"/>
                  </a:lnTo>
                  <a:lnTo>
                    <a:pt x="7" y="7"/>
                  </a:lnTo>
                  <a:lnTo>
                    <a:pt x="7" y="7"/>
                  </a:lnTo>
                  <a:lnTo>
                    <a:pt x="13" y="1"/>
                  </a:lnTo>
                  <a:lnTo>
                    <a:pt x="16" y="0"/>
                  </a:lnTo>
                  <a:lnTo>
                    <a:pt x="20" y="0"/>
                  </a:lnTo>
                  <a:lnTo>
                    <a:pt x="20" y="0"/>
                  </a:lnTo>
                  <a:lnTo>
                    <a:pt x="30" y="4"/>
                  </a:lnTo>
                  <a:lnTo>
                    <a:pt x="34" y="9"/>
                  </a:lnTo>
                  <a:lnTo>
                    <a:pt x="36" y="10"/>
                  </a:lnTo>
                  <a:lnTo>
                    <a:pt x="34" y="12"/>
                  </a:lnTo>
                  <a:close/>
                </a:path>
              </a:pathLst>
            </a:custGeom>
            <a:solidFill>
              <a:srgbClr val="92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43" name="Freeform 1250"/>
            <p:cNvSpPr>
              <a:spLocks/>
            </p:cNvSpPr>
            <p:nvPr/>
          </p:nvSpPr>
          <p:spPr bwMode="auto">
            <a:xfrm>
              <a:off x="3598863" y="2143554"/>
              <a:ext cx="57150" cy="34925"/>
            </a:xfrm>
            <a:custGeom>
              <a:avLst/>
              <a:gdLst>
                <a:gd name="T0" fmla="*/ 34 w 36"/>
                <a:gd name="T1" fmla="*/ 12 h 22"/>
                <a:gd name="T2" fmla="*/ 34 w 36"/>
                <a:gd name="T3" fmla="*/ 12 h 22"/>
                <a:gd name="T4" fmla="*/ 21 w 36"/>
                <a:gd name="T5" fmla="*/ 19 h 22"/>
                <a:gd name="T6" fmla="*/ 13 w 36"/>
                <a:gd name="T7" fmla="*/ 22 h 22"/>
                <a:gd name="T8" fmla="*/ 10 w 36"/>
                <a:gd name="T9" fmla="*/ 22 h 22"/>
                <a:gd name="T10" fmla="*/ 7 w 36"/>
                <a:gd name="T11" fmla="*/ 22 h 22"/>
                <a:gd name="T12" fmla="*/ 7 w 36"/>
                <a:gd name="T13" fmla="*/ 22 h 22"/>
                <a:gd name="T14" fmla="*/ 3 w 36"/>
                <a:gd name="T15" fmla="*/ 19 h 22"/>
                <a:gd name="T16" fmla="*/ 1 w 36"/>
                <a:gd name="T17" fmla="*/ 16 h 22"/>
                <a:gd name="T18" fmla="*/ 0 w 36"/>
                <a:gd name="T19" fmla="*/ 13 h 22"/>
                <a:gd name="T20" fmla="*/ 3 w 36"/>
                <a:gd name="T21" fmla="*/ 12 h 22"/>
                <a:gd name="T22" fmla="*/ 3 w 36"/>
                <a:gd name="T23" fmla="*/ 12 h 22"/>
                <a:gd name="T24" fmla="*/ 5 w 36"/>
                <a:gd name="T25" fmla="*/ 9 h 22"/>
                <a:gd name="T26" fmla="*/ 7 w 36"/>
                <a:gd name="T27" fmla="*/ 7 h 22"/>
                <a:gd name="T28" fmla="*/ 7 w 36"/>
                <a:gd name="T29" fmla="*/ 7 h 22"/>
                <a:gd name="T30" fmla="*/ 13 w 36"/>
                <a:gd name="T31" fmla="*/ 1 h 22"/>
                <a:gd name="T32" fmla="*/ 16 w 36"/>
                <a:gd name="T33" fmla="*/ 0 h 22"/>
                <a:gd name="T34" fmla="*/ 20 w 36"/>
                <a:gd name="T35" fmla="*/ 0 h 22"/>
                <a:gd name="T36" fmla="*/ 20 w 36"/>
                <a:gd name="T37" fmla="*/ 0 h 22"/>
                <a:gd name="T38" fmla="*/ 30 w 36"/>
                <a:gd name="T39" fmla="*/ 4 h 22"/>
                <a:gd name="T40" fmla="*/ 34 w 36"/>
                <a:gd name="T41" fmla="*/ 9 h 22"/>
                <a:gd name="T42" fmla="*/ 36 w 36"/>
                <a:gd name="T43" fmla="*/ 10 h 22"/>
                <a:gd name="T44" fmla="*/ 34 w 36"/>
                <a:gd name="T45"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2">
                  <a:moveTo>
                    <a:pt x="34" y="12"/>
                  </a:moveTo>
                  <a:lnTo>
                    <a:pt x="34" y="12"/>
                  </a:lnTo>
                  <a:lnTo>
                    <a:pt x="21" y="19"/>
                  </a:lnTo>
                  <a:lnTo>
                    <a:pt x="13" y="22"/>
                  </a:lnTo>
                  <a:lnTo>
                    <a:pt x="10" y="22"/>
                  </a:lnTo>
                  <a:lnTo>
                    <a:pt x="7" y="22"/>
                  </a:lnTo>
                  <a:lnTo>
                    <a:pt x="7" y="22"/>
                  </a:lnTo>
                  <a:lnTo>
                    <a:pt x="3" y="19"/>
                  </a:lnTo>
                  <a:lnTo>
                    <a:pt x="1" y="16"/>
                  </a:lnTo>
                  <a:lnTo>
                    <a:pt x="0" y="13"/>
                  </a:lnTo>
                  <a:lnTo>
                    <a:pt x="3" y="12"/>
                  </a:lnTo>
                  <a:lnTo>
                    <a:pt x="3" y="12"/>
                  </a:lnTo>
                  <a:lnTo>
                    <a:pt x="5" y="9"/>
                  </a:lnTo>
                  <a:lnTo>
                    <a:pt x="7" y="7"/>
                  </a:lnTo>
                  <a:lnTo>
                    <a:pt x="7" y="7"/>
                  </a:lnTo>
                  <a:lnTo>
                    <a:pt x="13" y="1"/>
                  </a:lnTo>
                  <a:lnTo>
                    <a:pt x="16" y="0"/>
                  </a:lnTo>
                  <a:lnTo>
                    <a:pt x="20" y="0"/>
                  </a:lnTo>
                  <a:lnTo>
                    <a:pt x="20" y="0"/>
                  </a:lnTo>
                  <a:lnTo>
                    <a:pt x="30" y="4"/>
                  </a:lnTo>
                  <a:lnTo>
                    <a:pt x="34" y="9"/>
                  </a:lnTo>
                  <a:lnTo>
                    <a:pt x="36" y="10"/>
                  </a:lnTo>
                  <a:lnTo>
                    <a:pt x="34"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44" name="Freeform 1251"/>
            <p:cNvSpPr>
              <a:spLocks/>
            </p:cNvSpPr>
            <p:nvPr/>
          </p:nvSpPr>
          <p:spPr bwMode="auto">
            <a:xfrm>
              <a:off x="3683001" y="1994329"/>
              <a:ext cx="60325" cy="76200"/>
            </a:xfrm>
            <a:custGeom>
              <a:avLst/>
              <a:gdLst>
                <a:gd name="T0" fmla="*/ 35 w 38"/>
                <a:gd name="T1" fmla="*/ 48 h 48"/>
                <a:gd name="T2" fmla="*/ 35 w 38"/>
                <a:gd name="T3" fmla="*/ 48 h 48"/>
                <a:gd name="T4" fmla="*/ 28 w 38"/>
                <a:gd name="T5" fmla="*/ 43 h 48"/>
                <a:gd name="T6" fmla="*/ 18 w 38"/>
                <a:gd name="T7" fmla="*/ 38 h 48"/>
                <a:gd name="T8" fmla="*/ 7 w 38"/>
                <a:gd name="T9" fmla="*/ 30 h 48"/>
                <a:gd name="T10" fmla="*/ 3 w 38"/>
                <a:gd name="T11" fmla="*/ 25 h 48"/>
                <a:gd name="T12" fmla="*/ 3 w 38"/>
                <a:gd name="T13" fmla="*/ 25 h 48"/>
                <a:gd name="T14" fmla="*/ 2 w 38"/>
                <a:gd name="T15" fmla="*/ 16 h 48"/>
                <a:gd name="T16" fmla="*/ 0 w 38"/>
                <a:gd name="T17" fmla="*/ 11 h 48"/>
                <a:gd name="T18" fmla="*/ 0 w 38"/>
                <a:gd name="T19" fmla="*/ 10 h 48"/>
                <a:gd name="T20" fmla="*/ 0 w 38"/>
                <a:gd name="T21" fmla="*/ 10 h 48"/>
                <a:gd name="T22" fmla="*/ 5 w 38"/>
                <a:gd name="T23" fmla="*/ 9 h 48"/>
                <a:gd name="T24" fmla="*/ 6 w 38"/>
                <a:gd name="T25" fmla="*/ 7 h 48"/>
                <a:gd name="T26" fmla="*/ 6 w 38"/>
                <a:gd name="T27" fmla="*/ 7 h 48"/>
                <a:gd name="T28" fmla="*/ 6 w 38"/>
                <a:gd name="T29" fmla="*/ 7 h 48"/>
                <a:gd name="T30" fmla="*/ 2 w 38"/>
                <a:gd name="T31" fmla="*/ 4 h 48"/>
                <a:gd name="T32" fmla="*/ 0 w 38"/>
                <a:gd name="T33" fmla="*/ 3 h 48"/>
                <a:gd name="T34" fmla="*/ 3 w 38"/>
                <a:gd name="T35" fmla="*/ 3 h 48"/>
                <a:gd name="T36" fmla="*/ 3 w 38"/>
                <a:gd name="T37" fmla="*/ 3 h 48"/>
                <a:gd name="T38" fmla="*/ 9 w 38"/>
                <a:gd name="T39" fmla="*/ 0 h 48"/>
                <a:gd name="T40" fmla="*/ 19 w 38"/>
                <a:gd name="T41" fmla="*/ 0 h 48"/>
                <a:gd name="T42" fmla="*/ 29 w 38"/>
                <a:gd name="T43" fmla="*/ 0 h 48"/>
                <a:gd name="T44" fmla="*/ 32 w 38"/>
                <a:gd name="T45" fmla="*/ 0 h 48"/>
                <a:gd name="T46" fmla="*/ 34 w 38"/>
                <a:gd name="T47" fmla="*/ 1 h 48"/>
                <a:gd name="T48" fmla="*/ 34 w 38"/>
                <a:gd name="T49" fmla="*/ 1 h 48"/>
                <a:gd name="T50" fmla="*/ 35 w 38"/>
                <a:gd name="T51" fmla="*/ 10 h 48"/>
                <a:gd name="T52" fmla="*/ 34 w 38"/>
                <a:gd name="T53" fmla="*/ 14 h 48"/>
                <a:gd name="T54" fmla="*/ 32 w 38"/>
                <a:gd name="T55" fmla="*/ 14 h 48"/>
                <a:gd name="T56" fmla="*/ 31 w 38"/>
                <a:gd name="T57" fmla="*/ 16 h 48"/>
                <a:gd name="T58" fmla="*/ 31 w 38"/>
                <a:gd name="T59" fmla="*/ 16 h 48"/>
                <a:gd name="T60" fmla="*/ 26 w 38"/>
                <a:gd name="T61" fmla="*/ 11 h 48"/>
                <a:gd name="T62" fmla="*/ 22 w 38"/>
                <a:gd name="T63" fmla="*/ 10 h 48"/>
                <a:gd name="T64" fmla="*/ 22 w 38"/>
                <a:gd name="T65" fmla="*/ 10 h 48"/>
                <a:gd name="T66" fmla="*/ 18 w 38"/>
                <a:gd name="T67" fmla="*/ 9 h 48"/>
                <a:gd name="T68" fmla="*/ 15 w 38"/>
                <a:gd name="T69" fmla="*/ 9 h 48"/>
                <a:gd name="T70" fmla="*/ 13 w 38"/>
                <a:gd name="T71" fmla="*/ 10 h 48"/>
                <a:gd name="T72" fmla="*/ 13 w 38"/>
                <a:gd name="T73" fmla="*/ 10 h 48"/>
                <a:gd name="T74" fmla="*/ 15 w 38"/>
                <a:gd name="T75" fmla="*/ 11 h 48"/>
                <a:gd name="T76" fmla="*/ 18 w 38"/>
                <a:gd name="T77" fmla="*/ 14 h 48"/>
                <a:gd name="T78" fmla="*/ 23 w 38"/>
                <a:gd name="T79" fmla="*/ 20 h 48"/>
                <a:gd name="T80" fmla="*/ 23 w 38"/>
                <a:gd name="T81" fmla="*/ 20 h 48"/>
                <a:gd name="T82" fmla="*/ 32 w 38"/>
                <a:gd name="T83" fmla="*/ 29 h 48"/>
                <a:gd name="T84" fmla="*/ 35 w 38"/>
                <a:gd name="T85" fmla="*/ 33 h 48"/>
                <a:gd name="T86" fmla="*/ 36 w 38"/>
                <a:gd name="T87" fmla="*/ 36 h 48"/>
                <a:gd name="T88" fmla="*/ 36 w 38"/>
                <a:gd name="T89" fmla="*/ 36 h 48"/>
                <a:gd name="T90" fmla="*/ 32 w 38"/>
                <a:gd name="T91" fmla="*/ 36 h 48"/>
                <a:gd name="T92" fmla="*/ 31 w 38"/>
                <a:gd name="T93" fmla="*/ 36 h 48"/>
                <a:gd name="T94" fmla="*/ 31 w 38"/>
                <a:gd name="T95" fmla="*/ 38 h 48"/>
                <a:gd name="T96" fmla="*/ 31 w 38"/>
                <a:gd name="T97" fmla="*/ 38 h 48"/>
                <a:gd name="T98" fmla="*/ 36 w 38"/>
                <a:gd name="T99" fmla="*/ 43 h 48"/>
                <a:gd name="T100" fmla="*/ 38 w 38"/>
                <a:gd name="T101" fmla="*/ 46 h 48"/>
                <a:gd name="T102" fmla="*/ 38 w 38"/>
                <a:gd name="T103" fmla="*/ 48 h 48"/>
                <a:gd name="T104" fmla="*/ 35 w 38"/>
                <a:gd name="T10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8" h="48">
                  <a:moveTo>
                    <a:pt x="35" y="48"/>
                  </a:moveTo>
                  <a:lnTo>
                    <a:pt x="35" y="48"/>
                  </a:lnTo>
                  <a:lnTo>
                    <a:pt x="28" y="43"/>
                  </a:lnTo>
                  <a:lnTo>
                    <a:pt x="18" y="38"/>
                  </a:lnTo>
                  <a:lnTo>
                    <a:pt x="7" y="30"/>
                  </a:lnTo>
                  <a:lnTo>
                    <a:pt x="3" y="25"/>
                  </a:lnTo>
                  <a:lnTo>
                    <a:pt x="3" y="25"/>
                  </a:lnTo>
                  <a:lnTo>
                    <a:pt x="2" y="16"/>
                  </a:lnTo>
                  <a:lnTo>
                    <a:pt x="0" y="11"/>
                  </a:lnTo>
                  <a:lnTo>
                    <a:pt x="0" y="10"/>
                  </a:lnTo>
                  <a:lnTo>
                    <a:pt x="0" y="10"/>
                  </a:lnTo>
                  <a:lnTo>
                    <a:pt x="5" y="9"/>
                  </a:lnTo>
                  <a:lnTo>
                    <a:pt x="6" y="7"/>
                  </a:lnTo>
                  <a:lnTo>
                    <a:pt x="6" y="7"/>
                  </a:lnTo>
                  <a:lnTo>
                    <a:pt x="6" y="7"/>
                  </a:lnTo>
                  <a:lnTo>
                    <a:pt x="2" y="4"/>
                  </a:lnTo>
                  <a:lnTo>
                    <a:pt x="0" y="3"/>
                  </a:lnTo>
                  <a:lnTo>
                    <a:pt x="3" y="3"/>
                  </a:lnTo>
                  <a:lnTo>
                    <a:pt x="3" y="3"/>
                  </a:lnTo>
                  <a:lnTo>
                    <a:pt x="9" y="0"/>
                  </a:lnTo>
                  <a:lnTo>
                    <a:pt x="19" y="0"/>
                  </a:lnTo>
                  <a:lnTo>
                    <a:pt x="29" y="0"/>
                  </a:lnTo>
                  <a:lnTo>
                    <a:pt x="32" y="0"/>
                  </a:lnTo>
                  <a:lnTo>
                    <a:pt x="34" y="1"/>
                  </a:lnTo>
                  <a:lnTo>
                    <a:pt x="34" y="1"/>
                  </a:lnTo>
                  <a:lnTo>
                    <a:pt x="35" y="10"/>
                  </a:lnTo>
                  <a:lnTo>
                    <a:pt x="34" y="14"/>
                  </a:lnTo>
                  <a:lnTo>
                    <a:pt x="32" y="14"/>
                  </a:lnTo>
                  <a:lnTo>
                    <a:pt x="31" y="16"/>
                  </a:lnTo>
                  <a:lnTo>
                    <a:pt x="31" y="16"/>
                  </a:lnTo>
                  <a:lnTo>
                    <a:pt x="26" y="11"/>
                  </a:lnTo>
                  <a:lnTo>
                    <a:pt x="22" y="10"/>
                  </a:lnTo>
                  <a:lnTo>
                    <a:pt x="22" y="10"/>
                  </a:lnTo>
                  <a:lnTo>
                    <a:pt x="18" y="9"/>
                  </a:lnTo>
                  <a:lnTo>
                    <a:pt x="15" y="9"/>
                  </a:lnTo>
                  <a:lnTo>
                    <a:pt x="13" y="10"/>
                  </a:lnTo>
                  <a:lnTo>
                    <a:pt x="13" y="10"/>
                  </a:lnTo>
                  <a:lnTo>
                    <a:pt x="15" y="11"/>
                  </a:lnTo>
                  <a:lnTo>
                    <a:pt x="18" y="14"/>
                  </a:lnTo>
                  <a:lnTo>
                    <a:pt x="23" y="20"/>
                  </a:lnTo>
                  <a:lnTo>
                    <a:pt x="23" y="20"/>
                  </a:lnTo>
                  <a:lnTo>
                    <a:pt x="32" y="29"/>
                  </a:lnTo>
                  <a:lnTo>
                    <a:pt x="35" y="33"/>
                  </a:lnTo>
                  <a:lnTo>
                    <a:pt x="36" y="36"/>
                  </a:lnTo>
                  <a:lnTo>
                    <a:pt x="36" y="36"/>
                  </a:lnTo>
                  <a:lnTo>
                    <a:pt x="32" y="36"/>
                  </a:lnTo>
                  <a:lnTo>
                    <a:pt x="31" y="36"/>
                  </a:lnTo>
                  <a:lnTo>
                    <a:pt x="31" y="38"/>
                  </a:lnTo>
                  <a:lnTo>
                    <a:pt x="31" y="38"/>
                  </a:lnTo>
                  <a:lnTo>
                    <a:pt x="36" y="43"/>
                  </a:lnTo>
                  <a:lnTo>
                    <a:pt x="38" y="46"/>
                  </a:lnTo>
                  <a:lnTo>
                    <a:pt x="38" y="48"/>
                  </a:lnTo>
                  <a:lnTo>
                    <a:pt x="35" y="48"/>
                  </a:lnTo>
                  <a:close/>
                </a:path>
              </a:pathLst>
            </a:custGeom>
            <a:solidFill>
              <a:srgbClr val="92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45" name="Freeform 1252"/>
            <p:cNvSpPr>
              <a:spLocks/>
            </p:cNvSpPr>
            <p:nvPr/>
          </p:nvSpPr>
          <p:spPr bwMode="auto">
            <a:xfrm>
              <a:off x="3683001" y="1994329"/>
              <a:ext cx="60325" cy="76200"/>
            </a:xfrm>
            <a:custGeom>
              <a:avLst/>
              <a:gdLst>
                <a:gd name="T0" fmla="*/ 35 w 38"/>
                <a:gd name="T1" fmla="*/ 48 h 48"/>
                <a:gd name="T2" fmla="*/ 35 w 38"/>
                <a:gd name="T3" fmla="*/ 48 h 48"/>
                <a:gd name="T4" fmla="*/ 28 w 38"/>
                <a:gd name="T5" fmla="*/ 43 h 48"/>
                <a:gd name="T6" fmla="*/ 18 w 38"/>
                <a:gd name="T7" fmla="*/ 38 h 48"/>
                <a:gd name="T8" fmla="*/ 7 w 38"/>
                <a:gd name="T9" fmla="*/ 30 h 48"/>
                <a:gd name="T10" fmla="*/ 3 w 38"/>
                <a:gd name="T11" fmla="*/ 25 h 48"/>
                <a:gd name="T12" fmla="*/ 3 w 38"/>
                <a:gd name="T13" fmla="*/ 25 h 48"/>
                <a:gd name="T14" fmla="*/ 2 w 38"/>
                <a:gd name="T15" fmla="*/ 16 h 48"/>
                <a:gd name="T16" fmla="*/ 0 w 38"/>
                <a:gd name="T17" fmla="*/ 11 h 48"/>
                <a:gd name="T18" fmla="*/ 0 w 38"/>
                <a:gd name="T19" fmla="*/ 10 h 48"/>
                <a:gd name="T20" fmla="*/ 0 w 38"/>
                <a:gd name="T21" fmla="*/ 10 h 48"/>
                <a:gd name="T22" fmla="*/ 5 w 38"/>
                <a:gd name="T23" fmla="*/ 9 h 48"/>
                <a:gd name="T24" fmla="*/ 6 w 38"/>
                <a:gd name="T25" fmla="*/ 7 h 48"/>
                <a:gd name="T26" fmla="*/ 6 w 38"/>
                <a:gd name="T27" fmla="*/ 7 h 48"/>
                <a:gd name="T28" fmla="*/ 6 w 38"/>
                <a:gd name="T29" fmla="*/ 7 h 48"/>
                <a:gd name="T30" fmla="*/ 2 w 38"/>
                <a:gd name="T31" fmla="*/ 4 h 48"/>
                <a:gd name="T32" fmla="*/ 0 w 38"/>
                <a:gd name="T33" fmla="*/ 3 h 48"/>
                <a:gd name="T34" fmla="*/ 3 w 38"/>
                <a:gd name="T35" fmla="*/ 3 h 48"/>
                <a:gd name="T36" fmla="*/ 3 w 38"/>
                <a:gd name="T37" fmla="*/ 3 h 48"/>
                <a:gd name="T38" fmla="*/ 9 w 38"/>
                <a:gd name="T39" fmla="*/ 0 h 48"/>
                <a:gd name="T40" fmla="*/ 19 w 38"/>
                <a:gd name="T41" fmla="*/ 0 h 48"/>
                <a:gd name="T42" fmla="*/ 29 w 38"/>
                <a:gd name="T43" fmla="*/ 0 h 48"/>
                <a:gd name="T44" fmla="*/ 32 w 38"/>
                <a:gd name="T45" fmla="*/ 0 h 48"/>
                <a:gd name="T46" fmla="*/ 34 w 38"/>
                <a:gd name="T47" fmla="*/ 1 h 48"/>
                <a:gd name="T48" fmla="*/ 34 w 38"/>
                <a:gd name="T49" fmla="*/ 1 h 48"/>
                <a:gd name="T50" fmla="*/ 35 w 38"/>
                <a:gd name="T51" fmla="*/ 10 h 48"/>
                <a:gd name="T52" fmla="*/ 34 w 38"/>
                <a:gd name="T53" fmla="*/ 14 h 48"/>
                <a:gd name="T54" fmla="*/ 32 w 38"/>
                <a:gd name="T55" fmla="*/ 14 h 48"/>
                <a:gd name="T56" fmla="*/ 31 w 38"/>
                <a:gd name="T57" fmla="*/ 16 h 48"/>
                <a:gd name="T58" fmla="*/ 31 w 38"/>
                <a:gd name="T59" fmla="*/ 16 h 48"/>
                <a:gd name="T60" fmla="*/ 26 w 38"/>
                <a:gd name="T61" fmla="*/ 11 h 48"/>
                <a:gd name="T62" fmla="*/ 22 w 38"/>
                <a:gd name="T63" fmla="*/ 10 h 48"/>
                <a:gd name="T64" fmla="*/ 22 w 38"/>
                <a:gd name="T65" fmla="*/ 10 h 48"/>
                <a:gd name="T66" fmla="*/ 18 w 38"/>
                <a:gd name="T67" fmla="*/ 9 h 48"/>
                <a:gd name="T68" fmla="*/ 15 w 38"/>
                <a:gd name="T69" fmla="*/ 9 h 48"/>
                <a:gd name="T70" fmla="*/ 13 w 38"/>
                <a:gd name="T71" fmla="*/ 10 h 48"/>
                <a:gd name="T72" fmla="*/ 13 w 38"/>
                <a:gd name="T73" fmla="*/ 10 h 48"/>
                <a:gd name="T74" fmla="*/ 15 w 38"/>
                <a:gd name="T75" fmla="*/ 11 h 48"/>
                <a:gd name="T76" fmla="*/ 18 w 38"/>
                <a:gd name="T77" fmla="*/ 14 h 48"/>
                <a:gd name="T78" fmla="*/ 23 w 38"/>
                <a:gd name="T79" fmla="*/ 20 h 48"/>
                <a:gd name="T80" fmla="*/ 23 w 38"/>
                <a:gd name="T81" fmla="*/ 20 h 48"/>
                <a:gd name="T82" fmla="*/ 32 w 38"/>
                <a:gd name="T83" fmla="*/ 29 h 48"/>
                <a:gd name="T84" fmla="*/ 35 w 38"/>
                <a:gd name="T85" fmla="*/ 33 h 48"/>
                <a:gd name="T86" fmla="*/ 36 w 38"/>
                <a:gd name="T87" fmla="*/ 36 h 48"/>
                <a:gd name="T88" fmla="*/ 36 w 38"/>
                <a:gd name="T89" fmla="*/ 36 h 48"/>
                <a:gd name="T90" fmla="*/ 32 w 38"/>
                <a:gd name="T91" fmla="*/ 36 h 48"/>
                <a:gd name="T92" fmla="*/ 31 w 38"/>
                <a:gd name="T93" fmla="*/ 36 h 48"/>
                <a:gd name="T94" fmla="*/ 31 w 38"/>
                <a:gd name="T95" fmla="*/ 38 h 48"/>
                <a:gd name="T96" fmla="*/ 31 w 38"/>
                <a:gd name="T97" fmla="*/ 38 h 48"/>
                <a:gd name="T98" fmla="*/ 36 w 38"/>
                <a:gd name="T99" fmla="*/ 43 h 48"/>
                <a:gd name="T100" fmla="*/ 38 w 38"/>
                <a:gd name="T101" fmla="*/ 46 h 48"/>
                <a:gd name="T102" fmla="*/ 38 w 38"/>
                <a:gd name="T103" fmla="*/ 48 h 48"/>
                <a:gd name="T104" fmla="*/ 35 w 38"/>
                <a:gd name="T10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8" h="48">
                  <a:moveTo>
                    <a:pt x="35" y="48"/>
                  </a:moveTo>
                  <a:lnTo>
                    <a:pt x="35" y="48"/>
                  </a:lnTo>
                  <a:lnTo>
                    <a:pt x="28" y="43"/>
                  </a:lnTo>
                  <a:lnTo>
                    <a:pt x="18" y="38"/>
                  </a:lnTo>
                  <a:lnTo>
                    <a:pt x="7" y="30"/>
                  </a:lnTo>
                  <a:lnTo>
                    <a:pt x="3" y="25"/>
                  </a:lnTo>
                  <a:lnTo>
                    <a:pt x="3" y="25"/>
                  </a:lnTo>
                  <a:lnTo>
                    <a:pt x="2" y="16"/>
                  </a:lnTo>
                  <a:lnTo>
                    <a:pt x="0" y="11"/>
                  </a:lnTo>
                  <a:lnTo>
                    <a:pt x="0" y="10"/>
                  </a:lnTo>
                  <a:lnTo>
                    <a:pt x="0" y="10"/>
                  </a:lnTo>
                  <a:lnTo>
                    <a:pt x="5" y="9"/>
                  </a:lnTo>
                  <a:lnTo>
                    <a:pt x="6" y="7"/>
                  </a:lnTo>
                  <a:lnTo>
                    <a:pt x="6" y="7"/>
                  </a:lnTo>
                  <a:lnTo>
                    <a:pt x="6" y="7"/>
                  </a:lnTo>
                  <a:lnTo>
                    <a:pt x="2" y="4"/>
                  </a:lnTo>
                  <a:lnTo>
                    <a:pt x="0" y="3"/>
                  </a:lnTo>
                  <a:lnTo>
                    <a:pt x="3" y="3"/>
                  </a:lnTo>
                  <a:lnTo>
                    <a:pt x="3" y="3"/>
                  </a:lnTo>
                  <a:lnTo>
                    <a:pt x="9" y="0"/>
                  </a:lnTo>
                  <a:lnTo>
                    <a:pt x="19" y="0"/>
                  </a:lnTo>
                  <a:lnTo>
                    <a:pt x="29" y="0"/>
                  </a:lnTo>
                  <a:lnTo>
                    <a:pt x="32" y="0"/>
                  </a:lnTo>
                  <a:lnTo>
                    <a:pt x="34" y="1"/>
                  </a:lnTo>
                  <a:lnTo>
                    <a:pt x="34" y="1"/>
                  </a:lnTo>
                  <a:lnTo>
                    <a:pt x="35" y="10"/>
                  </a:lnTo>
                  <a:lnTo>
                    <a:pt x="34" y="14"/>
                  </a:lnTo>
                  <a:lnTo>
                    <a:pt x="32" y="14"/>
                  </a:lnTo>
                  <a:lnTo>
                    <a:pt x="31" y="16"/>
                  </a:lnTo>
                  <a:lnTo>
                    <a:pt x="31" y="16"/>
                  </a:lnTo>
                  <a:lnTo>
                    <a:pt x="26" y="11"/>
                  </a:lnTo>
                  <a:lnTo>
                    <a:pt x="22" y="10"/>
                  </a:lnTo>
                  <a:lnTo>
                    <a:pt x="22" y="10"/>
                  </a:lnTo>
                  <a:lnTo>
                    <a:pt x="18" y="9"/>
                  </a:lnTo>
                  <a:lnTo>
                    <a:pt x="15" y="9"/>
                  </a:lnTo>
                  <a:lnTo>
                    <a:pt x="13" y="10"/>
                  </a:lnTo>
                  <a:lnTo>
                    <a:pt x="13" y="10"/>
                  </a:lnTo>
                  <a:lnTo>
                    <a:pt x="15" y="11"/>
                  </a:lnTo>
                  <a:lnTo>
                    <a:pt x="18" y="14"/>
                  </a:lnTo>
                  <a:lnTo>
                    <a:pt x="23" y="20"/>
                  </a:lnTo>
                  <a:lnTo>
                    <a:pt x="23" y="20"/>
                  </a:lnTo>
                  <a:lnTo>
                    <a:pt x="32" y="29"/>
                  </a:lnTo>
                  <a:lnTo>
                    <a:pt x="35" y="33"/>
                  </a:lnTo>
                  <a:lnTo>
                    <a:pt x="36" y="36"/>
                  </a:lnTo>
                  <a:lnTo>
                    <a:pt x="36" y="36"/>
                  </a:lnTo>
                  <a:lnTo>
                    <a:pt x="32" y="36"/>
                  </a:lnTo>
                  <a:lnTo>
                    <a:pt x="31" y="36"/>
                  </a:lnTo>
                  <a:lnTo>
                    <a:pt x="31" y="38"/>
                  </a:lnTo>
                  <a:lnTo>
                    <a:pt x="31" y="38"/>
                  </a:lnTo>
                  <a:lnTo>
                    <a:pt x="36" y="43"/>
                  </a:lnTo>
                  <a:lnTo>
                    <a:pt x="38" y="46"/>
                  </a:lnTo>
                  <a:lnTo>
                    <a:pt x="38" y="48"/>
                  </a:lnTo>
                  <a:lnTo>
                    <a:pt x="35" y="4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46" name="Freeform 1253"/>
            <p:cNvSpPr>
              <a:spLocks/>
            </p:cNvSpPr>
            <p:nvPr/>
          </p:nvSpPr>
          <p:spPr bwMode="auto">
            <a:xfrm>
              <a:off x="3660776" y="1957816"/>
              <a:ext cx="66675" cy="26988"/>
            </a:xfrm>
            <a:custGeom>
              <a:avLst/>
              <a:gdLst>
                <a:gd name="T0" fmla="*/ 42 w 42"/>
                <a:gd name="T1" fmla="*/ 13 h 17"/>
                <a:gd name="T2" fmla="*/ 42 w 42"/>
                <a:gd name="T3" fmla="*/ 13 h 17"/>
                <a:gd name="T4" fmla="*/ 29 w 42"/>
                <a:gd name="T5" fmla="*/ 16 h 17"/>
                <a:gd name="T6" fmla="*/ 21 w 42"/>
                <a:gd name="T7" fmla="*/ 17 h 17"/>
                <a:gd name="T8" fmla="*/ 16 w 42"/>
                <a:gd name="T9" fmla="*/ 17 h 17"/>
                <a:gd name="T10" fmla="*/ 16 w 42"/>
                <a:gd name="T11" fmla="*/ 17 h 17"/>
                <a:gd name="T12" fmla="*/ 6 w 42"/>
                <a:gd name="T13" fmla="*/ 14 h 17"/>
                <a:gd name="T14" fmla="*/ 1 w 42"/>
                <a:gd name="T15" fmla="*/ 13 h 17"/>
                <a:gd name="T16" fmla="*/ 0 w 42"/>
                <a:gd name="T17" fmla="*/ 11 h 17"/>
                <a:gd name="T18" fmla="*/ 0 w 42"/>
                <a:gd name="T19" fmla="*/ 10 h 17"/>
                <a:gd name="T20" fmla="*/ 0 w 42"/>
                <a:gd name="T21" fmla="*/ 10 h 17"/>
                <a:gd name="T22" fmla="*/ 7 w 42"/>
                <a:gd name="T23" fmla="*/ 1 h 17"/>
                <a:gd name="T24" fmla="*/ 7 w 42"/>
                <a:gd name="T25" fmla="*/ 1 h 17"/>
                <a:gd name="T26" fmla="*/ 10 w 42"/>
                <a:gd name="T27" fmla="*/ 0 h 17"/>
                <a:gd name="T28" fmla="*/ 14 w 42"/>
                <a:gd name="T29" fmla="*/ 0 h 17"/>
                <a:gd name="T30" fmla="*/ 19 w 42"/>
                <a:gd name="T31" fmla="*/ 0 h 17"/>
                <a:gd name="T32" fmla="*/ 23 w 42"/>
                <a:gd name="T33" fmla="*/ 1 h 17"/>
                <a:gd name="T34" fmla="*/ 23 w 42"/>
                <a:gd name="T35" fmla="*/ 1 h 17"/>
                <a:gd name="T36" fmla="*/ 36 w 42"/>
                <a:gd name="T37" fmla="*/ 7 h 17"/>
                <a:gd name="T38" fmla="*/ 40 w 42"/>
                <a:gd name="T39" fmla="*/ 10 h 17"/>
                <a:gd name="T40" fmla="*/ 42 w 42"/>
                <a:gd name="T41" fmla="*/ 11 h 17"/>
                <a:gd name="T42" fmla="*/ 42 w 42"/>
                <a:gd name="T43"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17">
                  <a:moveTo>
                    <a:pt x="42" y="13"/>
                  </a:moveTo>
                  <a:lnTo>
                    <a:pt x="42" y="13"/>
                  </a:lnTo>
                  <a:lnTo>
                    <a:pt x="29" y="16"/>
                  </a:lnTo>
                  <a:lnTo>
                    <a:pt x="21" y="17"/>
                  </a:lnTo>
                  <a:lnTo>
                    <a:pt x="16" y="17"/>
                  </a:lnTo>
                  <a:lnTo>
                    <a:pt x="16" y="17"/>
                  </a:lnTo>
                  <a:lnTo>
                    <a:pt x="6" y="14"/>
                  </a:lnTo>
                  <a:lnTo>
                    <a:pt x="1" y="13"/>
                  </a:lnTo>
                  <a:lnTo>
                    <a:pt x="0" y="11"/>
                  </a:lnTo>
                  <a:lnTo>
                    <a:pt x="0" y="10"/>
                  </a:lnTo>
                  <a:lnTo>
                    <a:pt x="0" y="10"/>
                  </a:lnTo>
                  <a:lnTo>
                    <a:pt x="7" y="1"/>
                  </a:lnTo>
                  <a:lnTo>
                    <a:pt x="7" y="1"/>
                  </a:lnTo>
                  <a:lnTo>
                    <a:pt x="10" y="0"/>
                  </a:lnTo>
                  <a:lnTo>
                    <a:pt x="14" y="0"/>
                  </a:lnTo>
                  <a:lnTo>
                    <a:pt x="19" y="0"/>
                  </a:lnTo>
                  <a:lnTo>
                    <a:pt x="23" y="1"/>
                  </a:lnTo>
                  <a:lnTo>
                    <a:pt x="23" y="1"/>
                  </a:lnTo>
                  <a:lnTo>
                    <a:pt x="36" y="7"/>
                  </a:lnTo>
                  <a:lnTo>
                    <a:pt x="40" y="10"/>
                  </a:lnTo>
                  <a:lnTo>
                    <a:pt x="42" y="11"/>
                  </a:lnTo>
                  <a:lnTo>
                    <a:pt x="42" y="13"/>
                  </a:lnTo>
                  <a:close/>
                </a:path>
              </a:pathLst>
            </a:custGeom>
            <a:solidFill>
              <a:srgbClr val="92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47" name="Freeform 1254"/>
            <p:cNvSpPr>
              <a:spLocks/>
            </p:cNvSpPr>
            <p:nvPr/>
          </p:nvSpPr>
          <p:spPr bwMode="auto">
            <a:xfrm>
              <a:off x="3660776" y="1957816"/>
              <a:ext cx="66675" cy="26988"/>
            </a:xfrm>
            <a:custGeom>
              <a:avLst/>
              <a:gdLst>
                <a:gd name="T0" fmla="*/ 42 w 42"/>
                <a:gd name="T1" fmla="*/ 13 h 17"/>
                <a:gd name="T2" fmla="*/ 42 w 42"/>
                <a:gd name="T3" fmla="*/ 13 h 17"/>
                <a:gd name="T4" fmla="*/ 29 w 42"/>
                <a:gd name="T5" fmla="*/ 16 h 17"/>
                <a:gd name="T6" fmla="*/ 21 w 42"/>
                <a:gd name="T7" fmla="*/ 17 h 17"/>
                <a:gd name="T8" fmla="*/ 16 w 42"/>
                <a:gd name="T9" fmla="*/ 17 h 17"/>
                <a:gd name="T10" fmla="*/ 16 w 42"/>
                <a:gd name="T11" fmla="*/ 17 h 17"/>
                <a:gd name="T12" fmla="*/ 6 w 42"/>
                <a:gd name="T13" fmla="*/ 14 h 17"/>
                <a:gd name="T14" fmla="*/ 1 w 42"/>
                <a:gd name="T15" fmla="*/ 13 h 17"/>
                <a:gd name="T16" fmla="*/ 0 w 42"/>
                <a:gd name="T17" fmla="*/ 11 h 17"/>
                <a:gd name="T18" fmla="*/ 0 w 42"/>
                <a:gd name="T19" fmla="*/ 10 h 17"/>
                <a:gd name="T20" fmla="*/ 0 w 42"/>
                <a:gd name="T21" fmla="*/ 10 h 17"/>
                <a:gd name="T22" fmla="*/ 7 w 42"/>
                <a:gd name="T23" fmla="*/ 1 h 17"/>
                <a:gd name="T24" fmla="*/ 7 w 42"/>
                <a:gd name="T25" fmla="*/ 1 h 17"/>
                <a:gd name="T26" fmla="*/ 10 w 42"/>
                <a:gd name="T27" fmla="*/ 0 h 17"/>
                <a:gd name="T28" fmla="*/ 14 w 42"/>
                <a:gd name="T29" fmla="*/ 0 h 17"/>
                <a:gd name="T30" fmla="*/ 19 w 42"/>
                <a:gd name="T31" fmla="*/ 0 h 17"/>
                <a:gd name="T32" fmla="*/ 23 w 42"/>
                <a:gd name="T33" fmla="*/ 1 h 17"/>
                <a:gd name="T34" fmla="*/ 23 w 42"/>
                <a:gd name="T35" fmla="*/ 1 h 17"/>
                <a:gd name="T36" fmla="*/ 36 w 42"/>
                <a:gd name="T37" fmla="*/ 7 h 17"/>
                <a:gd name="T38" fmla="*/ 40 w 42"/>
                <a:gd name="T39" fmla="*/ 10 h 17"/>
                <a:gd name="T40" fmla="*/ 42 w 42"/>
                <a:gd name="T41" fmla="*/ 11 h 17"/>
                <a:gd name="T42" fmla="*/ 42 w 42"/>
                <a:gd name="T43"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17">
                  <a:moveTo>
                    <a:pt x="42" y="13"/>
                  </a:moveTo>
                  <a:lnTo>
                    <a:pt x="42" y="13"/>
                  </a:lnTo>
                  <a:lnTo>
                    <a:pt x="29" y="16"/>
                  </a:lnTo>
                  <a:lnTo>
                    <a:pt x="21" y="17"/>
                  </a:lnTo>
                  <a:lnTo>
                    <a:pt x="16" y="17"/>
                  </a:lnTo>
                  <a:lnTo>
                    <a:pt x="16" y="17"/>
                  </a:lnTo>
                  <a:lnTo>
                    <a:pt x="6" y="14"/>
                  </a:lnTo>
                  <a:lnTo>
                    <a:pt x="1" y="13"/>
                  </a:lnTo>
                  <a:lnTo>
                    <a:pt x="0" y="11"/>
                  </a:lnTo>
                  <a:lnTo>
                    <a:pt x="0" y="10"/>
                  </a:lnTo>
                  <a:lnTo>
                    <a:pt x="0" y="10"/>
                  </a:lnTo>
                  <a:lnTo>
                    <a:pt x="7" y="1"/>
                  </a:lnTo>
                  <a:lnTo>
                    <a:pt x="7" y="1"/>
                  </a:lnTo>
                  <a:lnTo>
                    <a:pt x="10" y="0"/>
                  </a:lnTo>
                  <a:lnTo>
                    <a:pt x="14" y="0"/>
                  </a:lnTo>
                  <a:lnTo>
                    <a:pt x="19" y="0"/>
                  </a:lnTo>
                  <a:lnTo>
                    <a:pt x="23" y="1"/>
                  </a:lnTo>
                  <a:lnTo>
                    <a:pt x="23" y="1"/>
                  </a:lnTo>
                  <a:lnTo>
                    <a:pt x="36" y="7"/>
                  </a:lnTo>
                  <a:lnTo>
                    <a:pt x="40" y="10"/>
                  </a:lnTo>
                  <a:lnTo>
                    <a:pt x="42" y="11"/>
                  </a:lnTo>
                  <a:lnTo>
                    <a:pt x="4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48" name="Freeform 1255"/>
            <p:cNvSpPr>
              <a:spLocks/>
            </p:cNvSpPr>
            <p:nvPr/>
          </p:nvSpPr>
          <p:spPr bwMode="auto">
            <a:xfrm>
              <a:off x="3786188" y="1814941"/>
              <a:ext cx="17463" cy="26988"/>
            </a:xfrm>
            <a:custGeom>
              <a:avLst/>
              <a:gdLst>
                <a:gd name="T0" fmla="*/ 5 w 11"/>
                <a:gd name="T1" fmla="*/ 17 h 17"/>
                <a:gd name="T2" fmla="*/ 5 w 11"/>
                <a:gd name="T3" fmla="*/ 17 h 17"/>
                <a:gd name="T4" fmla="*/ 3 w 11"/>
                <a:gd name="T5" fmla="*/ 17 h 17"/>
                <a:gd name="T6" fmla="*/ 2 w 11"/>
                <a:gd name="T7" fmla="*/ 16 h 17"/>
                <a:gd name="T8" fmla="*/ 0 w 11"/>
                <a:gd name="T9" fmla="*/ 9 h 17"/>
                <a:gd name="T10" fmla="*/ 0 w 11"/>
                <a:gd name="T11" fmla="*/ 3 h 17"/>
                <a:gd name="T12" fmla="*/ 0 w 11"/>
                <a:gd name="T13" fmla="*/ 0 h 17"/>
                <a:gd name="T14" fmla="*/ 0 w 11"/>
                <a:gd name="T15" fmla="*/ 0 h 17"/>
                <a:gd name="T16" fmla="*/ 0 w 11"/>
                <a:gd name="T17" fmla="*/ 0 h 17"/>
                <a:gd name="T18" fmla="*/ 6 w 11"/>
                <a:gd name="T19" fmla="*/ 0 h 17"/>
                <a:gd name="T20" fmla="*/ 8 w 11"/>
                <a:gd name="T21" fmla="*/ 1 h 17"/>
                <a:gd name="T22" fmla="*/ 8 w 11"/>
                <a:gd name="T23" fmla="*/ 3 h 17"/>
                <a:gd name="T24" fmla="*/ 8 w 11"/>
                <a:gd name="T25" fmla="*/ 3 h 17"/>
                <a:gd name="T26" fmla="*/ 8 w 11"/>
                <a:gd name="T27" fmla="*/ 4 h 17"/>
                <a:gd name="T28" fmla="*/ 9 w 11"/>
                <a:gd name="T29" fmla="*/ 7 h 17"/>
                <a:gd name="T30" fmla="*/ 11 w 11"/>
                <a:gd name="T31" fmla="*/ 11 h 17"/>
                <a:gd name="T32" fmla="*/ 11 w 11"/>
                <a:gd name="T33" fmla="*/ 11 h 17"/>
                <a:gd name="T34" fmla="*/ 9 w 11"/>
                <a:gd name="T35" fmla="*/ 16 h 17"/>
                <a:gd name="T36" fmla="*/ 8 w 11"/>
                <a:gd name="T37" fmla="*/ 17 h 17"/>
                <a:gd name="T38" fmla="*/ 5 w 11"/>
                <a:gd name="T3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17">
                  <a:moveTo>
                    <a:pt x="5" y="17"/>
                  </a:moveTo>
                  <a:lnTo>
                    <a:pt x="5" y="17"/>
                  </a:lnTo>
                  <a:lnTo>
                    <a:pt x="3" y="17"/>
                  </a:lnTo>
                  <a:lnTo>
                    <a:pt x="2" y="16"/>
                  </a:lnTo>
                  <a:lnTo>
                    <a:pt x="0" y="9"/>
                  </a:lnTo>
                  <a:lnTo>
                    <a:pt x="0" y="3"/>
                  </a:lnTo>
                  <a:lnTo>
                    <a:pt x="0" y="0"/>
                  </a:lnTo>
                  <a:lnTo>
                    <a:pt x="0" y="0"/>
                  </a:lnTo>
                  <a:lnTo>
                    <a:pt x="0" y="0"/>
                  </a:lnTo>
                  <a:lnTo>
                    <a:pt x="6" y="0"/>
                  </a:lnTo>
                  <a:lnTo>
                    <a:pt x="8" y="1"/>
                  </a:lnTo>
                  <a:lnTo>
                    <a:pt x="8" y="3"/>
                  </a:lnTo>
                  <a:lnTo>
                    <a:pt x="8" y="3"/>
                  </a:lnTo>
                  <a:lnTo>
                    <a:pt x="8" y="4"/>
                  </a:lnTo>
                  <a:lnTo>
                    <a:pt x="9" y="7"/>
                  </a:lnTo>
                  <a:lnTo>
                    <a:pt x="11" y="11"/>
                  </a:lnTo>
                  <a:lnTo>
                    <a:pt x="11" y="11"/>
                  </a:lnTo>
                  <a:lnTo>
                    <a:pt x="9" y="16"/>
                  </a:lnTo>
                  <a:lnTo>
                    <a:pt x="8" y="17"/>
                  </a:lnTo>
                  <a:lnTo>
                    <a:pt x="5" y="17"/>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49" name="Freeform 1256"/>
            <p:cNvSpPr>
              <a:spLocks/>
            </p:cNvSpPr>
            <p:nvPr/>
          </p:nvSpPr>
          <p:spPr bwMode="auto">
            <a:xfrm>
              <a:off x="3786188" y="1814941"/>
              <a:ext cx="17463" cy="26988"/>
            </a:xfrm>
            <a:custGeom>
              <a:avLst/>
              <a:gdLst>
                <a:gd name="T0" fmla="*/ 5 w 11"/>
                <a:gd name="T1" fmla="*/ 17 h 17"/>
                <a:gd name="T2" fmla="*/ 5 w 11"/>
                <a:gd name="T3" fmla="*/ 17 h 17"/>
                <a:gd name="T4" fmla="*/ 3 w 11"/>
                <a:gd name="T5" fmla="*/ 17 h 17"/>
                <a:gd name="T6" fmla="*/ 2 w 11"/>
                <a:gd name="T7" fmla="*/ 16 h 17"/>
                <a:gd name="T8" fmla="*/ 0 w 11"/>
                <a:gd name="T9" fmla="*/ 9 h 17"/>
                <a:gd name="T10" fmla="*/ 0 w 11"/>
                <a:gd name="T11" fmla="*/ 3 h 17"/>
                <a:gd name="T12" fmla="*/ 0 w 11"/>
                <a:gd name="T13" fmla="*/ 0 h 17"/>
                <a:gd name="T14" fmla="*/ 0 w 11"/>
                <a:gd name="T15" fmla="*/ 0 h 17"/>
                <a:gd name="T16" fmla="*/ 0 w 11"/>
                <a:gd name="T17" fmla="*/ 0 h 17"/>
                <a:gd name="T18" fmla="*/ 6 w 11"/>
                <a:gd name="T19" fmla="*/ 0 h 17"/>
                <a:gd name="T20" fmla="*/ 8 w 11"/>
                <a:gd name="T21" fmla="*/ 1 h 17"/>
                <a:gd name="T22" fmla="*/ 8 w 11"/>
                <a:gd name="T23" fmla="*/ 3 h 17"/>
                <a:gd name="T24" fmla="*/ 8 w 11"/>
                <a:gd name="T25" fmla="*/ 3 h 17"/>
                <a:gd name="T26" fmla="*/ 8 w 11"/>
                <a:gd name="T27" fmla="*/ 4 h 17"/>
                <a:gd name="T28" fmla="*/ 9 w 11"/>
                <a:gd name="T29" fmla="*/ 7 h 17"/>
                <a:gd name="T30" fmla="*/ 11 w 11"/>
                <a:gd name="T31" fmla="*/ 11 h 17"/>
                <a:gd name="T32" fmla="*/ 11 w 11"/>
                <a:gd name="T33" fmla="*/ 11 h 17"/>
                <a:gd name="T34" fmla="*/ 9 w 11"/>
                <a:gd name="T35" fmla="*/ 16 h 17"/>
                <a:gd name="T36" fmla="*/ 8 w 11"/>
                <a:gd name="T37" fmla="*/ 17 h 17"/>
                <a:gd name="T38" fmla="*/ 5 w 11"/>
                <a:gd name="T3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17">
                  <a:moveTo>
                    <a:pt x="5" y="17"/>
                  </a:moveTo>
                  <a:lnTo>
                    <a:pt x="5" y="17"/>
                  </a:lnTo>
                  <a:lnTo>
                    <a:pt x="3" y="17"/>
                  </a:lnTo>
                  <a:lnTo>
                    <a:pt x="2" y="16"/>
                  </a:lnTo>
                  <a:lnTo>
                    <a:pt x="0" y="9"/>
                  </a:lnTo>
                  <a:lnTo>
                    <a:pt x="0" y="3"/>
                  </a:lnTo>
                  <a:lnTo>
                    <a:pt x="0" y="0"/>
                  </a:lnTo>
                  <a:lnTo>
                    <a:pt x="0" y="0"/>
                  </a:lnTo>
                  <a:lnTo>
                    <a:pt x="0" y="0"/>
                  </a:lnTo>
                  <a:lnTo>
                    <a:pt x="6" y="0"/>
                  </a:lnTo>
                  <a:lnTo>
                    <a:pt x="8" y="1"/>
                  </a:lnTo>
                  <a:lnTo>
                    <a:pt x="8" y="3"/>
                  </a:lnTo>
                  <a:lnTo>
                    <a:pt x="8" y="3"/>
                  </a:lnTo>
                  <a:lnTo>
                    <a:pt x="8" y="4"/>
                  </a:lnTo>
                  <a:lnTo>
                    <a:pt x="9" y="7"/>
                  </a:lnTo>
                  <a:lnTo>
                    <a:pt x="11" y="11"/>
                  </a:lnTo>
                  <a:lnTo>
                    <a:pt x="11" y="11"/>
                  </a:lnTo>
                  <a:lnTo>
                    <a:pt x="9" y="16"/>
                  </a:lnTo>
                  <a:lnTo>
                    <a:pt x="8" y="17"/>
                  </a:lnTo>
                  <a:lnTo>
                    <a:pt x="5" y="17"/>
                  </a:lnTo>
                </a:path>
              </a:pathLst>
            </a:custGeom>
            <a:solidFill>
              <a:srgbClr val="92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50" name="Freeform 1257"/>
            <p:cNvSpPr>
              <a:spLocks/>
            </p:cNvSpPr>
            <p:nvPr/>
          </p:nvSpPr>
          <p:spPr bwMode="auto">
            <a:xfrm>
              <a:off x="3821113" y="1773666"/>
              <a:ext cx="41275" cy="50800"/>
            </a:xfrm>
            <a:custGeom>
              <a:avLst/>
              <a:gdLst>
                <a:gd name="T0" fmla="*/ 23 w 26"/>
                <a:gd name="T1" fmla="*/ 27 h 32"/>
                <a:gd name="T2" fmla="*/ 23 w 26"/>
                <a:gd name="T3" fmla="*/ 27 h 32"/>
                <a:gd name="T4" fmla="*/ 18 w 26"/>
                <a:gd name="T5" fmla="*/ 30 h 32"/>
                <a:gd name="T6" fmla="*/ 9 w 26"/>
                <a:gd name="T7" fmla="*/ 32 h 32"/>
                <a:gd name="T8" fmla="*/ 9 w 26"/>
                <a:gd name="T9" fmla="*/ 32 h 32"/>
                <a:gd name="T10" fmla="*/ 6 w 26"/>
                <a:gd name="T11" fmla="*/ 30 h 32"/>
                <a:gd name="T12" fmla="*/ 2 w 26"/>
                <a:gd name="T13" fmla="*/ 29 h 32"/>
                <a:gd name="T14" fmla="*/ 0 w 26"/>
                <a:gd name="T15" fmla="*/ 26 h 32"/>
                <a:gd name="T16" fmla="*/ 0 w 26"/>
                <a:gd name="T17" fmla="*/ 24 h 32"/>
                <a:gd name="T18" fmla="*/ 0 w 26"/>
                <a:gd name="T19" fmla="*/ 23 h 32"/>
                <a:gd name="T20" fmla="*/ 0 w 26"/>
                <a:gd name="T21" fmla="*/ 23 h 32"/>
                <a:gd name="T22" fmla="*/ 2 w 26"/>
                <a:gd name="T23" fmla="*/ 19 h 32"/>
                <a:gd name="T24" fmla="*/ 3 w 26"/>
                <a:gd name="T25" fmla="*/ 13 h 32"/>
                <a:gd name="T26" fmla="*/ 3 w 26"/>
                <a:gd name="T27" fmla="*/ 7 h 32"/>
                <a:gd name="T28" fmla="*/ 4 w 26"/>
                <a:gd name="T29" fmla="*/ 4 h 32"/>
                <a:gd name="T30" fmla="*/ 4 w 26"/>
                <a:gd name="T31" fmla="*/ 4 h 32"/>
                <a:gd name="T32" fmla="*/ 6 w 26"/>
                <a:gd name="T33" fmla="*/ 3 h 32"/>
                <a:gd name="T34" fmla="*/ 9 w 26"/>
                <a:gd name="T35" fmla="*/ 1 h 32"/>
                <a:gd name="T36" fmla="*/ 12 w 26"/>
                <a:gd name="T37" fmla="*/ 3 h 32"/>
                <a:gd name="T38" fmla="*/ 15 w 26"/>
                <a:gd name="T39" fmla="*/ 1 h 32"/>
                <a:gd name="T40" fmla="*/ 15 w 26"/>
                <a:gd name="T41" fmla="*/ 1 h 32"/>
                <a:gd name="T42" fmla="*/ 19 w 26"/>
                <a:gd name="T43" fmla="*/ 0 h 32"/>
                <a:gd name="T44" fmla="*/ 20 w 26"/>
                <a:gd name="T45" fmla="*/ 0 h 32"/>
                <a:gd name="T46" fmla="*/ 22 w 26"/>
                <a:gd name="T47" fmla="*/ 1 h 32"/>
                <a:gd name="T48" fmla="*/ 22 w 26"/>
                <a:gd name="T49" fmla="*/ 1 h 32"/>
                <a:gd name="T50" fmla="*/ 23 w 26"/>
                <a:gd name="T51" fmla="*/ 3 h 32"/>
                <a:gd name="T52" fmla="*/ 23 w 26"/>
                <a:gd name="T53" fmla="*/ 4 h 32"/>
                <a:gd name="T54" fmla="*/ 22 w 26"/>
                <a:gd name="T55" fmla="*/ 7 h 32"/>
                <a:gd name="T56" fmla="*/ 20 w 26"/>
                <a:gd name="T57" fmla="*/ 10 h 32"/>
                <a:gd name="T58" fmla="*/ 20 w 26"/>
                <a:gd name="T59" fmla="*/ 10 h 32"/>
                <a:gd name="T60" fmla="*/ 18 w 26"/>
                <a:gd name="T61" fmla="*/ 13 h 32"/>
                <a:gd name="T62" fmla="*/ 18 w 26"/>
                <a:gd name="T63" fmla="*/ 14 h 32"/>
                <a:gd name="T64" fmla="*/ 19 w 26"/>
                <a:gd name="T65" fmla="*/ 17 h 32"/>
                <a:gd name="T66" fmla="*/ 23 w 26"/>
                <a:gd name="T67" fmla="*/ 17 h 32"/>
                <a:gd name="T68" fmla="*/ 23 w 26"/>
                <a:gd name="T69" fmla="*/ 17 h 32"/>
                <a:gd name="T70" fmla="*/ 26 w 26"/>
                <a:gd name="T71" fmla="*/ 19 h 32"/>
                <a:gd name="T72" fmla="*/ 26 w 26"/>
                <a:gd name="T73" fmla="*/ 22 h 32"/>
                <a:gd name="T74" fmla="*/ 26 w 26"/>
                <a:gd name="T75" fmla="*/ 24 h 32"/>
                <a:gd name="T76" fmla="*/ 23 w 26"/>
                <a:gd name="T77" fmla="*/ 2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6" h="32">
                  <a:moveTo>
                    <a:pt x="23" y="27"/>
                  </a:moveTo>
                  <a:lnTo>
                    <a:pt x="23" y="27"/>
                  </a:lnTo>
                  <a:lnTo>
                    <a:pt x="18" y="30"/>
                  </a:lnTo>
                  <a:lnTo>
                    <a:pt x="9" y="32"/>
                  </a:lnTo>
                  <a:lnTo>
                    <a:pt x="9" y="32"/>
                  </a:lnTo>
                  <a:lnTo>
                    <a:pt x="6" y="30"/>
                  </a:lnTo>
                  <a:lnTo>
                    <a:pt x="2" y="29"/>
                  </a:lnTo>
                  <a:lnTo>
                    <a:pt x="0" y="26"/>
                  </a:lnTo>
                  <a:lnTo>
                    <a:pt x="0" y="24"/>
                  </a:lnTo>
                  <a:lnTo>
                    <a:pt x="0" y="23"/>
                  </a:lnTo>
                  <a:lnTo>
                    <a:pt x="0" y="23"/>
                  </a:lnTo>
                  <a:lnTo>
                    <a:pt x="2" y="19"/>
                  </a:lnTo>
                  <a:lnTo>
                    <a:pt x="3" y="13"/>
                  </a:lnTo>
                  <a:lnTo>
                    <a:pt x="3" y="7"/>
                  </a:lnTo>
                  <a:lnTo>
                    <a:pt x="4" y="4"/>
                  </a:lnTo>
                  <a:lnTo>
                    <a:pt x="4" y="4"/>
                  </a:lnTo>
                  <a:lnTo>
                    <a:pt x="6" y="3"/>
                  </a:lnTo>
                  <a:lnTo>
                    <a:pt x="9" y="1"/>
                  </a:lnTo>
                  <a:lnTo>
                    <a:pt x="12" y="3"/>
                  </a:lnTo>
                  <a:lnTo>
                    <a:pt x="15" y="1"/>
                  </a:lnTo>
                  <a:lnTo>
                    <a:pt x="15" y="1"/>
                  </a:lnTo>
                  <a:lnTo>
                    <a:pt x="19" y="0"/>
                  </a:lnTo>
                  <a:lnTo>
                    <a:pt x="20" y="0"/>
                  </a:lnTo>
                  <a:lnTo>
                    <a:pt x="22" y="1"/>
                  </a:lnTo>
                  <a:lnTo>
                    <a:pt x="22" y="1"/>
                  </a:lnTo>
                  <a:lnTo>
                    <a:pt x="23" y="3"/>
                  </a:lnTo>
                  <a:lnTo>
                    <a:pt x="23" y="4"/>
                  </a:lnTo>
                  <a:lnTo>
                    <a:pt x="22" y="7"/>
                  </a:lnTo>
                  <a:lnTo>
                    <a:pt x="20" y="10"/>
                  </a:lnTo>
                  <a:lnTo>
                    <a:pt x="20" y="10"/>
                  </a:lnTo>
                  <a:lnTo>
                    <a:pt x="18" y="13"/>
                  </a:lnTo>
                  <a:lnTo>
                    <a:pt x="18" y="14"/>
                  </a:lnTo>
                  <a:lnTo>
                    <a:pt x="19" y="17"/>
                  </a:lnTo>
                  <a:lnTo>
                    <a:pt x="23" y="17"/>
                  </a:lnTo>
                  <a:lnTo>
                    <a:pt x="23" y="17"/>
                  </a:lnTo>
                  <a:lnTo>
                    <a:pt x="26" y="19"/>
                  </a:lnTo>
                  <a:lnTo>
                    <a:pt x="26" y="22"/>
                  </a:lnTo>
                  <a:lnTo>
                    <a:pt x="26" y="24"/>
                  </a:lnTo>
                  <a:lnTo>
                    <a:pt x="23" y="27"/>
                  </a:lnTo>
                  <a:close/>
                </a:path>
              </a:pathLst>
            </a:custGeom>
            <a:solidFill>
              <a:srgbClr val="92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51" name="Freeform 1258"/>
            <p:cNvSpPr>
              <a:spLocks/>
            </p:cNvSpPr>
            <p:nvPr/>
          </p:nvSpPr>
          <p:spPr bwMode="auto">
            <a:xfrm>
              <a:off x="3821113" y="1773666"/>
              <a:ext cx="41275" cy="50800"/>
            </a:xfrm>
            <a:custGeom>
              <a:avLst/>
              <a:gdLst>
                <a:gd name="T0" fmla="*/ 23 w 26"/>
                <a:gd name="T1" fmla="*/ 27 h 32"/>
                <a:gd name="T2" fmla="*/ 23 w 26"/>
                <a:gd name="T3" fmla="*/ 27 h 32"/>
                <a:gd name="T4" fmla="*/ 18 w 26"/>
                <a:gd name="T5" fmla="*/ 30 h 32"/>
                <a:gd name="T6" fmla="*/ 9 w 26"/>
                <a:gd name="T7" fmla="*/ 32 h 32"/>
                <a:gd name="T8" fmla="*/ 9 w 26"/>
                <a:gd name="T9" fmla="*/ 32 h 32"/>
                <a:gd name="T10" fmla="*/ 6 w 26"/>
                <a:gd name="T11" fmla="*/ 30 h 32"/>
                <a:gd name="T12" fmla="*/ 2 w 26"/>
                <a:gd name="T13" fmla="*/ 29 h 32"/>
                <a:gd name="T14" fmla="*/ 0 w 26"/>
                <a:gd name="T15" fmla="*/ 26 h 32"/>
                <a:gd name="T16" fmla="*/ 0 w 26"/>
                <a:gd name="T17" fmla="*/ 24 h 32"/>
                <a:gd name="T18" fmla="*/ 0 w 26"/>
                <a:gd name="T19" fmla="*/ 23 h 32"/>
                <a:gd name="T20" fmla="*/ 0 w 26"/>
                <a:gd name="T21" fmla="*/ 23 h 32"/>
                <a:gd name="T22" fmla="*/ 2 w 26"/>
                <a:gd name="T23" fmla="*/ 19 h 32"/>
                <a:gd name="T24" fmla="*/ 3 w 26"/>
                <a:gd name="T25" fmla="*/ 13 h 32"/>
                <a:gd name="T26" fmla="*/ 3 w 26"/>
                <a:gd name="T27" fmla="*/ 7 h 32"/>
                <a:gd name="T28" fmla="*/ 4 w 26"/>
                <a:gd name="T29" fmla="*/ 4 h 32"/>
                <a:gd name="T30" fmla="*/ 4 w 26"/>
                <a:gd name="T31" fmla="*/ 4 h 32"/>
                <a:gd name="T32" fmla="*/ 6 w 26"/>
                <a:gd name="T33" fmla="*/ 3 h 32"/>
                <a:gd name="T34" fmla="*/ 9 w 26"/>
                <a:gd name="T35" fmla="*/ 1 h 32"/>
                <a:gd name="T36" fmla="*/ 12 w 26"/>
                <a:gd name="T37" fmla="*/ 3 h 32"/>
                <a:gd name="T38" fmla="*/ 15 w 26"/>
                <a:gd name="T39" fmla="*/ 1 h 32"/>
                <a:gd name="T40" fmla="*/ 15 w 26"/>
                <a:gd name="T41" fmla="*/ 1 h 32"/>
                <a:gd name="T42" fmla="*/ 19 w 26"/>
                <a:gd name="T43" fmla="*/ 0 h 32"/>
                <a:gd name="T44" fmla="*/ 20 w 26"/>
                <a:gd name="T45" fmla="*/ 0 h 32"/>
                <a:gd name="T46" fmla="*/ 22 w 26"/>
                <a:gd name="T47" fmla="*/ 1 h 32"/>
                <a:gd name="T48" fmla="*/ 22 w 26"/>
                <a:gd name="T49" fmla="*/ 1 h 32"/>
                <a:gd name="T50" fmla="*/ 23 w 26"/>
                <a:gd name="T51" fmla="*/ 3 h 32"/>
                <a:gd name="T52" fmla="*/ 23 w 26"/>
                <a:gd name="T53" fmla="*/ 4 h 32"/>
                <a:gd name="T54" fmla="*/ 22 w 26"/>
                <a:gd name="T55" fmla="*/ 7 h 32"/>
                <a:gd name="T56" fmla="*/ 20 w 26"/>
                <a:gd name="T57" fmla="*/ 10 h 32"/>
                <a:gd name="T58" fmla="*/ 20 w 26"/>
                <a:gd name="T59" fmla="*/ 10 h 32"/>
                <a:gd name="T60" fmla="*/ 18 w 26"/>
                <a:gd name="T61" fmla="*/ 13 h 32"/>
                <a:gd name="T62" fmla="*/ 18 w 26"/>
                <a:gd name="T63" fmla="*/ 14 h 32"/>
                <a:gd name="T64" fmla="*/ 19 w 26"/>
                <a:gd name="T65" fmla="*/ 17 h 32"/>
                <a:gd name="T66" fmla="*/ 23 w 26"/>
                <a:gd name="T67" fmla="*/ 17 h 32"/>
                <a:gd name="T68" fmla="*/ 23 w 26"/>
                <a:gd name="T69" fmla="*/ 17 h 32"/>
                <a:gd name="T70" fmla="*/ 26 w 26"/>
                <a:gd name="T71" fmla="*/ 19 h 32"/>
                <a:gd name="T72" fmla="*/ 26 w 26"/>
                <a:gd name="T73" fmla="*/ 22 h 32"/>
                <a:gd name="T74" fmla="*/ 26 w 26"/>
                <a:gd name="T75" fmla="*/ 24 h 32"/>
                <a:gd name="T76" fmla="*/ 23 w 26"/>
                <a:gd name="T77" fmla="*/ 2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6" h="32">
                  <a:moveTo>
                    <a:pt x="23" y="27"/>
                  </a:moveTo>
                  <a:lnTo>
                    <a:pt x="23" y="27"/>
                  </a:lnTo>
                  <a:lnTo>
                    <a:pt x="18" y="30"/>
                  </a:lnTo>
                  <a:lnTo>
                    <a:pt x="9" y="32"/>
                  </a:lnTo>
                  <a:lnTo>
                    <a:pt x="9" y="32"/>
                  </a:lnTo>
                  <a:lnTo>
                    <a:pt x="6" y="30"/>
                  </a:lnTo>
                  <a:lnTo>
                    <a:pt x="2" y="29"/>
                  </a:lnTo>
                  <a:lnTo>
                    <a:pt x="0" y="26"/>
                  </a:lnTo>
                  <a:lnTo>
                    <a:pt x="0" y="24"/>
                  </a:lnTo>
                  <a:lnTo>
                    <a:pt x="0" y="23"/>
                  </a:lnTo>
                  <a:lnTo>
                    <a:pt x="0" y="23"/>
                  </a:lnTo>
                  <a:lnTo>
                    <a:pt x="2" y="19"/>
                  </a:lnTo>
                  <a:lnTo>
                    <a:pt x="3" y="13"/>
                  </a:lnTo>
                  <a:lnTo>
                    <a:pt x="3" y="7"/>
                  </a:lnTo>
                  <a:lnTo>
                    <a:pt x="4" y="4"/>
                  </a:lnTo>
                  <a:lnTo>
                    <a:pt x="4" y="4"/>
                  </a:lnTo>
                  <a:lnTo>
                    <a:pt x="6" y="3"/>
                  </a:lnTo>
                  <a:lnTo>
                    <a:pt x="9" y="1"/>
                  </a:lnTo>
                  <a:lnTo>
                    <a:pt x="12" y="3"/>
                  </a:lnTo>
                  <a:lnTo>
                    <a:pt x="15" y="1"/>
                  </a:lnTo>
                  <a:lnTo>
                    <a:pt x="15" y="1"/>
                  </a:lnTo>
                  <a:lnTo>
                    <a:pt x="19" y="0"/>
                  </a:lnTo>
                  <a:lnTo>
                    <a:pt x="20" y="0"/>
                  </a:lnTo>
                  <a:lnTo>
                    <a:pt x="22" y="1"/>
                  </a:lnTo>
                  <a:lnTo>
                    <a:pt x="22" y="1"/>
                  </a:lnTo>
                  <a:lnTo>
                    <a:pt x="23" y="3"/>
                  </a:lnTo>
                  <a:lnTo>
                    <a:pt x="23" y="4"/>
                  </a:lnTo>
                  <a:lnTo>
                    <a:pt x="22" y="7"/>
                  </a:lnTo>
                  <a:lnTo>
                    <a:pt x="20" y="10"/>
                  </a:lnTo>
                  <a:lnTo>
                    <a:pt x="20" y="10"/>
                  </a:lnTo>
                  <a:lnTo>
                    <a:pt x="18" y="13"/>
                  </a:lnTo>
                  <a:lnTo>
                    <a:pt x="18" y="14"/>
                  </a:lnTo>
                  <a:lnTo>
                    <a:pt x="19" y="17"/>
                  </a:lnTo>
                  <a:lnTo>
                    <a:pt x="23" y="17"/>
                  </a:lnTo>
                  <a:lnTo>
                    <a:pt x="23" y="17"/>
                  </a:lnTo>
                  <a:lnTo>
                    <a:pt x="26" y="19"/>
                  </a:lnTo>
                  <a:lnTo>
                    <a:pt x="26" y="22"/>
                  </a:lnTo>
                  <a:lnTo>
                    <a:pt x="26" y="24"/>
                  </a:lnTo>
                  <a:lnTo>
                    <a:pt x="23" y="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52" name="Freeform 1259"/>
            <p:cNvSpPr>
              <a:spLocks/>
            </p:cNvSpPr>
            <p:nvPr/>
          </p:nvSpPr>
          <p:spPr bwMode="auto">
            <a:xfrm>
              <a:off x="3819526" y="1654604"/>
              <a:ext cx="17463" cy="52388"/>
            </a:xfrm>
            <a:custGeom>
              <a:avLst/>
              <a:gdLst>
                <a:gd name="T0" fmla="*/ 11 w 11"/>
                <a:gd name="T1" fmla="*/ 33 h 33"/>
                <a:gd name="T2" fmla="*/ 11 w 11"/>
                <a:gd name="T3" fmla="*/ 33 h 33"/>
                <a:gd name="T4" fmla="*/ 8 w 11"/>
                <a:gd name="T5" fmla="*/ 28 h 33"/>
                <a:gd name="T6" fmla="*/ 3 w 11"/>
                <a:gd name="T7" fmla="*/ 17 h 33"/>
                <a:gd name="T8" fmla="*/ 0 w 11"/>
                <a:gd name="T9" fmla="*/ 5 h 33"/>
                <a:gd name="T10" fmla="*/ 0 w 11"/>
                <a:gd name="T11" fmla="*/ 1 h 33"/>
                <a:gd name="T12" fmla="*/ 0 w 11"/>
                <a:gd name="T13" fmla="*/ 0 h 33"/>
                <a:gd name="T14" fmla="*/ 1 w 11"/>
                <a:gd name="T15" fmla="*/ 0 h 33"/>
                <a:gd name="T16" fmla="*/ 1 w 11"/>
                <a:gd name="T17" fmla="*/ 0 h 33"/>
                <a:gd name="T18" fmla="*/ 4 w 11"/>
                <a:gd name="T19" fmla="*/ 1 h 33"/>
                <a:gd name="T20" fmla="*/ 7 w 11"/>
                <a:gd name="T21" fmla="*/ 5 h 33"/>
                <a:gd name="T22" fmla="*/ 10 w 11"/>
                <a:gd name="T23" fmla="*/ 15 h 33"/>
                <a:gd name="T24" fmla="*/ 11 w 11"/>
                <a:gd name="T25" fmla="*/ 27 h 33"/>
                <a:gd name="T26" fmla="*/ 11 w 11"/>
                <a:gd name="T2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33">
                  <a:moveTo>
                    <a:pt x="11" y="33"/>
                  </a:moveTo>
                  <a:lnTo>
                    <a:pt x="11" y="33"/>
                  </a:lnTo>
                  <a:lnTo>
                    <a:pt x="8" y="28"/>
                  </a:lnTo>
                  <a:lnTo>
                    <a:pt x="3" y="17"/>
                  </a:lnTo>
                  <a:lnTo>
                    <a:pt x="0" y="5"/>
                  </a:lnTo>
                  <a:lnTo>
                    <a:pt x="0" y="1"/>
                  </a:lnTo>
                  <a:lnTo>
                    <a:pt x="0" y="0"/>
                  </a:lnTo>
                  <a:lnTo>
                    <a:pt x="1" y="0"/>
                  </a:lnTo>
                  <a:lnTo>
                    <a:pt x="1" y="0"/>
                  </a:lnTo>
                  <a:lnTo>
                    <a:pt x="4" y="1"/>
                  </a:lnTo>
                  <a:lnTo>
                    <a:pt x="7" y="5"/>
                  </a:lnTo>
                  <a:lnTo>
                    <a:pt x="10" y="15"/>
                  </a:lnTo>
                  <a:lnTo>
                    <a:pt x="11" y="27"/>
                  </a:lnTo>
                  <a:lnTo>
                    <a:pt x="11" y="33"/>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53" name="Freeform 1260"/>
            <p:cNvSpPr>
              <a:spLocks/>
            </p:cNvSpPr>
            <p:nvPr/>
          </p:nvSpPr>
          <p:spPr bwMode="auto">
            <a:xfrm>
              <a:off x="3819526" y="1654604"/>
              <a:ext cx="17463" cy="52388"/>
            </a:xfrm>
            <a:custGeom>
              <a:avLst/>
              <a:gdLst>
                <a:gd name="T0" fmla="*/ 11 w 11"/>
                <a:gd name="T1" fmla="*/ 33 h 33"/>
                <a:gd name="T2" fmla="*/ 11 w 11"/>
                <a:gd name="T3" fmla="*/ 33 h 33"/>
                <a:gd name="T4" fmla="*/ 8 w 11"/>
                <a:gd name="T5" fmla="*/ 28 h 33"/>
                <a:gd name="T6" fmla="*/ 3 w 11"/>
                <a:gd name="T7" fmla="*/ 17 h 33"/>
                <a:gd name="T8" fmla="*/ 0 w 11"/>
                <a:gd name="T9" fmla="*/ 5 h 33"/>
                <a:gd name="T10" fmla="*/ 0 w 11"/>
                <a:gd name="T11" fmla="*/ 1 h 33"/>
                <a:gd name="T12" fmla="*/ 0 w 11"/>
                <a:gd name="T13" fmla="*/ 0 h 33"/>
                <a:gd name="T14" fmla="*/ 1 w 11"/>
                <a:gd name="T15" fmla="*/ 0 h 33"/>
                <a:gd name="T16" fmla="*/ 1 w 11"/>
                <a:gd name="T17" fmla="*/ 0 h 33"/>
                <a:gd name="T18" fmla="*/ 4 w 11"/>
                <a:gd name="T19" fmla="*/ 1 h 33"/>
                <a:gd name="T20" fmla="*/ 7 w 11"/>
                <a:gd name="T21" fmla="*/ 5 h 33"/>
                <a:gd name="T22" fmla="*/ 10 w 11"/>
                <a:gd name="T23" fmla="*/ 15 h 33"/>
                <a:gd name="T24" fmla="*/ 11 w 11"/>
                <a:gd name="T25" fmla="*/ 27 h 33"/>
                <a:gd name="T26" fmla="*/ 11 w 11"/>
                <a:gd name="T2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33">
                  <a:moveTo>
                    <a:pt x="11" y="33"/>
                  </a:moveTo>
                  <a:lnTo>
                    <a:pt x="11" y="33"/>
                  </a:lnTo>
                  <a:lnTo>
                    <a:pt x="8" y="28"/>
                  </a:lnTo>
                  <a:lnTo>
                    <a:pt x="3" y="17"/>
                  </a:lnTo>
                  <a:lnTo>
                    <a:pt x="0" y="5"/>
                  </a:lnTo>
                  <a:lnTo>
                    <a:pt x="0" y="1"/>
                  </a:lnTo>
                  <a:lnTo>
                    <a:pt x="0" y="0"/>
                  </a:lnTo>
                  <a:lnTo>
                    <a:pt x="1" y="0"/>
                  </a:lnTo>
                  <a:lnTo>
                    <a:pt x="1" y="0"/>
                  </a:lnTo>
                  <a:lnTo>
                    <a:pt x="4" y="1"/>
                  </a:lnTo>
                  <a:lnTo>
                    <a:pt x="7" y="5"/>
                  </a:lnTo>
                  <a:lnTo>
                    <a:pt x="10" y="15"/>
                  </a:lnTo>
                  <a:lnTo>
                    <a:pt x="11" y="27"/>
                  </a:lnTo>
                  <a:lnTo>
                    <a:pt x="11" y="33"/>
                  </a:lnTo>
                </a:path>
              </a:pathLst>
            </a:custGeom>
            <a:solidFill>
              <a:srgbClr val="92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54" name="Freeform 1261"/>
            <p:cNvSpPr>
              <a:spLocks/>
            </p:cNvSpPr>
            <p:nvPr/>
          </p:nvSpPr>
          <p:spPr bwMode="auto">
            <a:xfrm>
              <a:off x="3846513" y="1518079"/>
              <a:ext cx="11113" cy="26988"/>
            </a:xfrm>
            <a:custGeom>
              <a:avLst/>
              <a:gdLst>
                <a:gd name="T0" fmla="*/ 0 w 7"/>
                <a:gd name="T1" fmla="*/ 17 h 17"/>
                <a:gd name="T2" fmla="*/ 0 w 7"/>
                <a:gd name="T3" fmla="*/ 17 h 17"/>
                <a:gd name="T4" fmla="*/ 0 w 7"/>
                <a:gd name="T5" fmla="*/ 15 h 17"/>
                <a:gd name="T6" fmla="*/ 0 w 7"/>
                <a:gd name="T7" fmla="*/ 7 h 17"/>
                <a:gd name="T8" fmla="*/ 2 w 7"/>
                <a:gd name="T9" fmla="*/ 2 h 17"/>
                <a:gd name="T10" fmla="*/ 3 w 7"/>
                <a:gd name="T11" fmla="*/ 0 h 17"/>
                <a:gd name="T12" fmla="*/ 6 w 7"/>
                <a:gd name="T13" fmla="*/ 0 h 17"/>
                <a:gd name="T14" fmla="*/ 6 w 7"/>
                <a:gd name="T15" fmla="*/ 0 h 17"/>
                <a:gd name="T16" fmla="*/ 7 w 7"/>
                <a:gd name="T17" fmla="*/ 0 h 17"/>
                <a:gd name="T18" fmla="*/ 7 w 7"/>
                <a:gd name="T19" fmla="*/ 3 h 17"/>
                <a:gd name="T20" fmla="*/ 6 w 7"/>
                <a:gd name="T21" fmla="*/ 9 h 17"/>
                <a:gd name="T22" fmla="*/ 3 w 7"/>
                <a:gd name="T23" fmla="*/ 15 h 17"/>
                <a:gd name="T24" fmla="*/ 2 w 7"/>
                <a:gd name="T25" fmla="*/ 17 h 17"/>
                <a:gd name="T26" fmla="*/ 0 w 7"/>
                <a:gd name="T2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7">
                  <a:moveTo>
                    <a:pt x="0" y="17"/>
                  </a:moveTo>
                  <a:lnTo>
                    <a:pt x="0" y="17"/>
                  </a:lnTo>
                  <a:lnTo>
                    <a:pt x="0" y="15"/>
                  </a:lnTo>
                  <a:lnTo>
                    <a:pt x="0" y="7"/>
                  </a:lnTo>
                  <a:lnTo>
                    <a:pt x="2" y="2"/>
                  </a:lnTo>
                  <a:lnTo>
                    <a:pt x="3" y="0"/>
                  </a:lnTo>
                  <a:lnTo>
                    <a:pt x="6" y="0"/>
                  </a:lnTo>
                  <a:lnTo>
                    <a:pt x="6" y="0"/>
                  </a:lnTo>
                  <a:lnTo>
                    <a:pt x="7" y="0"/>
                  </a:lnTo>
                  <a:lnTo>
                    <a:pt x="7" y="3"/>
                  </a:lnTo>
                  <a:lnTo>
                    <a:pt x="6" y="9"/>
                  </a:lnTo>
                  <a:lnTo>
                    <a:pt x="3" y="15"/>
                  </a:lnTo>
                  <a:lnTo>
                    <a:pt x="2" y="17"/>
                  </a:lnTo>
                  <a:lnTo>
                    <a:pt x="0" y="17"/>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55" name="Freeform 1262"/>
            <p:cNvSpPr>
              <a:spLocks/>
            </p:cNvSpPr>
            <p:nvPr/>
          </p:nvSpPr>
          <p:spPr bwMode="auto">
            <a:xfrm>
              <a:off x="3846513" y="1518079"/>
              <a:ext cx="11113" cy="26988"/>
            </a:xfrm>
            <a:custGeom>
              <a:avLst/>
              <a:gdLst>
                <a:gd name="T0" fmla="*/ 0 w 7"/>
                <a:gd name="T1" fmla="*/ 17 h 17"/>
                <a:gd name="T2" fmla="*/ 0 w 7"/>
                <a:gd name="T3" fmla="*/ 17 h 17"/>
                <a:gd name="T4" fmla="*/ 0 w 7"/>
                <a:gd name="T5" fmla="*/ 15 h 17"/>
                <a:gd name="T6" fmla="*/ 0 w 7"/>
                <a:gd name="T7" fmla="*/ 7 h 17"/>
                <a:gd name="T8" fmla="*/ 2 w 7"/>
                <a:gd name="T9" fmla="*/ 2 h 17"/>
                <a:gd name="T10" fmla="*/ 3 w 7"/>
                <a:gd name="T11" fmla="*/ 0 h 17"/>
                <a:gd name="T12" fmla="*/ 6 w 7"/>
                <a:gd name="T13" fmla="*/ 0 h 17"/>
                <a:gd name="T14" fmla="*/ 6 w 7"/>
                <a:gd name="T15" fmla="*/ 0 h 17"/>
                <a:gd name="T16" fmla="*/ 7 w 7"/>
                <a:gd name="T17" fmla="*/ 0 h 17"/>
                <a:gd name="T18" fmla="*/ 7 w 7"/>
                <a:gd name="T19" fmla="*/ 3 h 17"/>
                <a:gd name="T20" fmla="*/ 6 w 7"/>
                <a:gd name="T21" fmla="*/ 9 h 17"/>
                <a:gd name="T22" fmla="*/ 3 w 7"/>
                <a:gd name="T23" fmla="*/ 15 h 17"/>
                <a:gd name="T24" fmla="*/ 2 w 7"/>
                <a:gd name="T25" fmla="*/ 17 h 17"/>
                <a:gd name="T26" fmla="*/ 0 w 7"/>
                <a:gd name="T2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7">
                  <a:moveTo>
                    <a:pt x="0" y="17"/>
                  </a:moveTo>
                  <a:lnTo>
                    <a:pt x="0" y="17"/>
                  </a:lnTo>
                  <a:lnTo>
                    <a:pt x="0" y="15"/>
                  </a:lnTo>
                  <a:lnTo>
                    <a:pt x="0" y="7"/>
                  </a:lnTo>
                  <a:lnTo>
                    <a:pt x="2" y="2"/>
                  </a:lnTo>
                  <a:lnTo>
                    <a:pt x="3" y="0"/>
                  </a:lnTo>
                  <a:lnTo>
                    <a:pt x="6" y="0"/>
                  </a:lnTo>
                  <a:lnTo>
                    <a:pt x="6" y="0"/>
                  </a:lnTo>
                  <a:lnTo>
                    <a:pt x="7" y="0"/>
                  </a:lnTo>
                  <a:lnTo>
                    <a:pt x="7" y="3"/>
                  </a:lnTo>
                  <a:lnTo>
                    <a:pt x="6" y="9"/>
                  </a:lnTo>
                  <a:lnTo>
                    <a:pt x="3" y="15"/>
                  </a:lnTo>
                  <a:lnTo>
                    <a:pt x="2" y="17"/>
                  </a:lnTo>
                  <a:lnTo>
                    <a:pt x="0" y="17"/>
                  </a:lnTo>
                </a:path>
              </a:pathLst>
            </a:custGeom>
            <a:solidFill>
              <a:srgbClr val="92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56" name="Freeform 1263"/>
            <p:cNvSpPr>
              <a:spLocks/>
            </p:cNvSpPr>
            <p:nvPr/>
          </p:nvSpPr>
          <p:spPr bwMode="auto">
            <a:xfrm>
              <a:off x="3849688" y="1357741"/>
              <a:ext cx="12700" cy="20638"/>
            </a:xfrm>
            <a:custGeom>
              <a:avLst/>
              <a:gdLst>
                <a:gd name="T0" fmla="*/ 1 w 8"/>
                <a:gd name="T1" fmla="*/ 13 h 13"/>
                <a:gd name="T2" fmla="*/ 1 w 8"/>
                <a:gd name="T3" fmla="*/ 13 h 13"/>
                <a:gd name="T4" fmla="*/ 0 w 8"/>
                <a:gd name="T5" fmla="*/ 10 h 13"/>
                <a:gd name="T6" fmla="*/ 0 w 8"/>
                <a:gd name="T7" fmla="*/ 5 h 13"/>
                <a:gd name="T8" fmla="*/ 1 w 8"/>
                <a:gd name="T9" fmla="*/ 0 h 13"/>
                <a:gd name="T10" fmla="*/ 2 w 8"/>
                <a:gd name="T11" fmla="*/ 0 h 13"/>
                <a:gd name="T12" fmla="*/ 4 w 8"/>
                <a:gd name="T13" fmla="*/ 0 h 13"/>
                <a:gd name="T14" fmla="*/ 4 w 8"/>
                <a:gd name="T15" fmla="*/ 0 h 13"/>
                <a:gd name="T16" fmla="*/ 7 w 8"/>
                <a:gd name="T17" fmla="*/ 0 h 13"/>
                <a:gd name="T18" fmla="*/ 8 w 8"/>
                <a:gd name="T19" fmla="*/ 3 h 13"/>
                <a:gd name="T20" fmla="*/ 7 w 8"/>
                <a:gd name="T21" fmla="*/ 5 h 13"/>
                <a:gd name="T22" fmla="*/ 5 w 8"/>
                <a:gd name="T23" fmla="*/ 10 h 13"/>
                <a:gd name="T24" fmla="*/ 1 w 8"/>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3">
                  <a:moveTo>
                    <a:pt x="1" y="13"/>
                  </a:moveTo>
                  <a:lnTo>
                    <a:pt x="1" y="13"/>
                  </a:lnTo>
                  <a:lnTo>
                    <a:pt x="0" y="10"/>
                  </a:lnTo>
                  <a:lnTo>
                    <a:pt x="0" y="5"/>
                  </a:lnTo>
                  <a:lnTo>
                    <a:pt x="1" y="0"/>
                  </a:lnTo>
                  <a:lnTo>
                    <a:pt x="2" y="0"/>
                  </a:lnTo>
                  <a:lnTo>
                    <a:pt x="4" y="0"/>
                  </a:lnTo>
                  <a:lnTo>
                    <a:pt x="4" y="0"/>
                  </a:lnTo>
                  <a:lnTo>
                    <a:pt x="7" y="0"/>
                  </a:lnTo>
                  <a:lnTo>
                    <a:pt x="8" y="3"/>
                  </a:lnTo>
                  <a:lnTo>
                    <a:pt x="7" y="5"/>
                  </a:lnTo>
                  <a:lnTo>
                    <a:pt x="5" y="10"/>
                  </a:lnTo>
                  <a:lnTo>
                    <a:pt x="1" y="13"/>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57" name="Freeform 1264"/>
            <p:cNvSpPr>
              <a:spLocks/>
            </p:cNvSpPr>
            <p:nvPr/>
          </p:nvSpPr>
          <p:spPr bwMode="auto">
            <a:xfrm>
              <a:off x="3849688" y="1357741"/>
              <a:ext cx="12700" cy="20638"/>
            </a:xfrm>
            <a:custGeom>
              <a:avLst/>
              <a:gdLst>
                <a:gd name="T0" fmla="*/ 1 w 8"/>
                <a:gd name="T1" fmla="*/ 13 h 13"/>
                <a:gd name="T2" fmla="*/ 1 w 8"/>
                <a:gd name="T3" fmla="*/ 13 h 13"/>
                <a:gd name="T4" fmla="*/ 0 w 8"/>
                <a:gd name="T5" fmla="*/ 10 h 13"/>
                <a:gd name="T6" fmla="*/ 0 w 8"/>
                <a:gd name="T7" fmla="*/ 5 h 13"/>
                <a:gd name="T8" fmla="*/ 1 w 8"/>
                <a:gd name="T9" fmla="*/ 0 h 13"/>
                <a:gd name="T10" fmla="*/ 2 w 8"/>
                <a:gd name="T11" fmla="*/ 0 h 13"/>
                <a:gd name="T12" fmla="*/ 4 w 8"/>
                <a:gd name="T13" fmla="*/ 0 h 13"/>
                <a:gd name="T14" fmla="*/ 4 w 8"/>
                <a:gd name="T15" fmla="*/ 0 h 13"/>
                <a:gd name="T16" fmla="*/ 7 w 8"/>
                <a:gd name="T17" fmla="*/ 0 h 13"/>
                <a:gd name="T18" fmla="*/ 8 w 8"/>
                <a:gd name="T19" fmla="*/ 3 h 13"/>
                <a:gd name="T20" fmla="*/ 7 w 8"/>
                <a:gd name="T21" fmla="*/ 5 h 13"/>
                <a:gd name="T22" fmla="*/ 5 w 8"/>
                <a:gd name="T23" fmla="*/ 10 h 13"/>
                <a:gd name="T24" fmla="*/ 1 w 8"/>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3">
                  <a:moveTo>
                    <a:pt x="1" y="13"/>
                  </a:moveTo>
                  <a:lnTo>
                    <a:pt x="1" y="13"/>
                  </a:lnTo>
                  <a:lnTo>
                    <a:pt x="0" y="10"/>
                  </a:lnTo>
                  <a:lnTo>
                    <a:pt x="0" y="5"/>
                  </a:lnTo>
                  <a:lnTo>
                    <a:pt x="1" y="0"/>
                  </a:lnTo>
                  <a:lnTo>
                    <a:pt x="2" y="0"/>
                  </a:lnTo>
                  <a:lnTo>
                    <a:pt x="4" y="0"/>
                  </a:lnTo>
                  <a:lnTo>
                    <a:pt x="4" y="0"/>
                  </a:lnTo>
                  <a:lnTo>
                    <a:pt x="7" y="0"/>
                  </a:lnTo>
                  <a:lnTo>
                    <a:pt x="8" y="3"/>
                  </a:lnTo>
                  <a:lnTo>
                    <a:pt x="7" y="5"/>
                  </a:lnTo>
                  <a:lnTo>
                    <a:pt x="5" y="10"/>
                  </a:lnTo>
                  <a:lnTo>
                    <a:pt x="1" y="13"/>
                  </a:lnTo>
                </a:path>
              </a:pathLst>
            </a:custGeom>
            <a:solidFill>
              <a:srgbClr val="92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58" name="Freeform 1265"/>
            <p:cNvSpPr>
              <a:spLocks/>
            </p:cNvSpPr>
            <p:nvPr/>
          </p:nvSpPr>
          <p:spPr bwMode="auto">
            <a:xfrm>
              <a:off x="3810001" y="1395841"/>
              <a:ext cx="9525" cy="15875"/>
            </a:xfrm>
            <a:custGeom>
              <a:avLst/>
              <a:gdLst>
                <a:gd name="T0" fmla="*/ 1 w 6"/>
                <a:gd name="T1" fmla="*/ 10 h 10"/>
                <a:gd name="T2" fmla="*/ 1 w 6"/>
                <a:gd name="T3" fmla="*/ 10 h 10"/>
                <a:gd name="T4" fmla="*/ 0 w 6"/>
                <a:gd name="T5" fmla="*/ 9 h 10"/>
                <a:gd name="T6" fmla="*/ 0 w 6"/>
                <a:gd name="T7" fmla="*/ 8 h 10"/>
                <a:gd name="T8" fmla="*/ 0 w 6"/>
                <a:gd name="T9" fmla="*/ 5 h 10"/>
                <a:gd name="T10" fmla="*/ 3 w 6"/>
                <a:gd name="T11" fmla="*/ 0 h 10"/>
                <a:gd name="T12" fmla="*/ 6 w 6"/>
                <a:gd name="T13" fmla="*/ 0 h 10"/>
                <a:gd name="T14" fmla="*/ 6 w 6"/>
                <a:gd name="T15" fmla="*/ 0 h 10"/>
                <a:gd name="T16" fmla="*/ 6 w 6"/>
                <a:gd name="T17" fmla="*/ 0 h 10"/>
                <a:gd name="T18" fmla="*/ 6 w 6"/>
                <a:gd name="T19" fmla="*/ 2 h 10"/>
                <a:gd name="T20" fmla="*/ 6 w 6"/>
                <a:gd name="T21" fmla="*/ 6 h 10"/>
                <a:gd name="T22" fmla="*/ 4 w 6"/>
                <a:gd name="T23" fmla="*/ 10 h 10"/>
                <a:gd name="T24" fmla="*/ 3 w 6"/>
                <a:gd name="T25" fmla="*/ 10 h 10"/>
                <a:gd name="T26" fmla="*/ 1 w 6"/>
                <a:gd name="T2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0">
                  <a:moveTo>
                    <a:pt x="1" y="10"/>
                  </a:moveTo>
                  <a:lnTo>
                    <a:pt x="1" y="10"/>
                  </a:lnTo>
                  <a:lnTo>
                    <a:pt x="0" y="9"/>
                  </a:lnTo>
                  <a:lnTo>
                    <a:pt x="0" y="8"/>
                  </a:lnTo>
                  <a:lnTo>
                    <a:pt x="0" y="5"/>
                  </a:lnTo>
                  <a:lnTo>
                    <a:pt x="3" y="0"/>
                  </a:lnTo>
                  <a:lnTo>
                    <a:pt x="6" y="0"/>
                  </a:lnTo>
                  <a:lnTo>
                    <a:pt x="6" y="0"/>
                  </a:lnTo>
                  <a:lnTo>
                    <a:pt x="6" y="0"/>
                  </a:lnTo>
                  <a:lnTo>
                    <a:pt x="6" y="2"/>
                  </a:lnTo>
                  <a:lnTo>
                    <a:pt x="6" y="6"/>
                  </a:lnTo>
                  <a:lnTo>
                    <a:pt x="4" y="10"/>
                  </a:lnTo>
                  <a:lnTo>
                    <a:pt x="3" y="10"/>
                  </a:lnTo>
                  <a:lnTo>
                    <a:pt x="1" y="10"/>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59" name="Freeform 1266"/>
            <p:cNvSpPr>
              <a:spLocks/>
            </p:cNvSpPr>
            <p:nvPr/>
          </p:nvSpPr>
          <p:spPr bwMode="auto">
            <a:xfrm>
              <a:off x="3810001" y="1395841"/>
              <a:ext cx="9525" cy="15875"/>
            </a:xfrm>
            <a:custGeom>
              <a:avLst/>
              <a:gdLst>
                <a:gd name="T0" fmla="*/ 1 w 6"/>
                <a:gd name="T1" fmla="*/ 10 h 10"/>
                <a:gd name="T2" fmla="*/ 1 w 6"/>
                <a:gd name="T3" fmla="*/ 10 h 10"/>
                <a:gd name="T4" fmla="*/ 0 w 6"/>
                <a:gd name="T5" fmla="*/ 9 h 10"/>
                <a:gd name="T6" fmla="*/ 0 w 6"/>
                <a:gd name="T7" fmla="*/ 8 h 10"/>
                <a:gd name="T8" fmla="*/ 0 w 6"/>
                <a:gd name="T9" fmla="*/ 5 h 10"/>
                <a:gd name="T10" fmla="*/ 3 w 6"/>
                <a:gd name="T11" fmla="*/ 0 h 10"/>
                <a:gd name="T12" fmla="*/ 6 w 6"/>
                <a:gd name="T13" fmla="*/ 0 h 10"/>
                <a:gd name="T14" fmla="*/ 6 w 6"/>
                <a:gd name="T15" fmla="*/ 0 h 10"/>
                <a:gd name="T16" fmla="*/ 6 w 6"/>
                <a:gd name="T17" fmla="*/ 0 h 10"/>
                <a:gd name="T18" fmla="*/ 6 w 6"/>
                <a:gd name="T19" fmla="*/ 2 h 10"/>
                <a:gd name="T20" fmla="*/ 6 w 6"/>
                <a:gd name="T21" fmla="*/ 6 h 10"/>
                <a:gd name="T22" fmla="*/ 4 w 6"/>
                <a:gd name="T23" fmla="*/ 10 h 10"/>
                <a:gd name="T24" fmla="*/ 3 w 6"/>
                <a:gd name="T25" fmla="*/ 10 h 10"/>
                <a:gd name="T26" fmla="*/ 1 w 6"/>
                <a:gd name="T2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0">
                  <a:moveTo>
                    <a:pt x="1" y="10"/>
                  </a:moveTo>
                  <a:lnTo>
                    <a:pt x="1" y="10"/>
                  </a:lnTo>
                  <a:lnTo>
                    <a:pt x="0" y="9"/>
                  </a:lnTo>
                  <a:lnTo>
                    <a:pt x="0" y="8"/>
                  </a:lnTo>
                  <a:lnTo>
                    <a:pt x="0" y="5"/>
                  </a:lnTo>
                  <a:lnTo>
                    <a:pt x="3" y="0"/>
                  </a:lnTo>
                  <a:lnTo>
                    <a:pt x="6" y="0"/>
                  </a:lnTo>
                  <a:lnTo>
                    <a:pt x="6" y="0"/>
                  </a:lnTo>
                  <a:lnTo>
                    <a:pt x="6" y="0"/>
                  </a:lnTo>
                  <a:lnTo>
                    <a:pt x="6" y="2"/>
                  </a:lnTo>
                  <a:lnTo>
                    <a:pt x="6" y="6"/>
                  </a:lnTo>
                  <a:lnTo>
                    <a:pt x="4" y="10"/>
                  </a:lnTo>
                  <a:lnTo>
                    <a:pt x="3" y="10"/>
                  </a:lnTo>
                  <a:lnTo>
                    <a:pt x="1" y="10"/>
                  </a:lnTo>
                </a:path>
              </a:pathLst>
            </a:custGeom>
            <a:solidFill>
              <a:srgbClr val="92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60" name="Freeform 1267"/>
            <p:cNvSpPr>
              <a:spLocks/>
            </p:cNvSpPr>
            <p:nvPr/>
          </p:nvSpPr>
          <p:spPr bwMode="auto">
            <a:xfrm>
              <a:off x="4124326" y="2937304"/>
              <a:ext cx="25400" cy="31750"/>
            </a:xfrm>
            <a:custGeom>
              <a:avLst/>
              <a:gdLst>
                <a:gd name="T0" fmla="*/ 16 w 16"/>
                <a:gd name="T1" fmla="*/ 0 h 20"/>
                <a:gd name="T2" fmla="*/ 16 w 16"/>
                <a:gd name="T3" fmla="*/ 0 h 20"/>
                <a:gd name="T4" fmla="*/ 6 w 16"/>
                <a:gd name="T5" fmla="*/ 6 h 20"/>
                <a:gd name="T6" fmla="*/ 2 w 16"/>
                <a:gd name="T7" fmla="*/ 8 h 20"/>
                <a:gd name="T8" fmla="*/ 0 w 16"/>
                <a:gd name="T9" fmla="*/ 11 h 20"/>
                <a:gd name="T10" fmla="*/ 0 w 16"/>
                <a:gd name="T11" fmla="*/ 11 h 20"/>
                <a:gd name="T12" fmla="*/ 2 w 16"/>
                <a:gd name="T13" fmla="*/ 19 h 20"/>
                <a:gd name="T14" fmla="*/ 3 w 16"/>
                <a:gd name="T15" fmla="*/ 20 h 20"/>
                <a:gd name="T16" fmla="*/ 6 w 16"/>
                <a:gd name="T17" fmla="*/ 19 h 20"/>
                <a:gd name="T18" fmla="*/ 6 w 16"/>
                <a:gd name="T19" fmla="*/ 19 h 20"/>
                <a:gd name="T20" fmla="*/ 10 w 16"/>
                <a:gd name="T21" fmla="*/ 14 h 20"/>
                <a:gd name="T22" fmla="*/ 15 w 16"/>
                <a:gd name="T23" fmla="*/ 7 h 20"/>
                <a:gd name="T24" fmla="*/ 16 w 16"/>
                <a:gd name="T25" fmla="*/ 1 h 20"/>
                <a:gd name="T26" fmla="*/ 16 w 16"/>
                <a:gd name="T27" fmla="*/ 0 h 20"/>
                <a:gd name="T28" fmla="*/ 16 w 16"/>
                <a:gd name="T2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0">
                  <a:moveTo>
                    <a:pt x="16" y="0"/>
                  </a:moveTo>
                  <a:lnTo>
                    <a:pt x="16" y="0"/>
                  </a:lnTo>
                  <a:lnTo>
                    <a:pt x="6" y="6"/>
                  </a:lnTo>
                  <a:lnTo>
                    <a:pt x="2" y="8"/>
                  </a:lnTo>
                  <a:lnTo>
                    <a:pt x="0" y="11"/>
                  </a:lnTo>
                  <a:lnTo>
                    <a:pt x="0" y="11"/>
                  </a:lnTo>
                  <a:lnTo>
                    <a:pt x="2" y="19"/>
                  </a:lnTo>
                  <a:lnTo>
                    <a:pt x="3" y="20"/>
                  </a:lnTo>
                  <a:lnTo>
                    <a:pt x="6" y="19"/>
                  </a:lnTo>
                  <a:lnTo>
                    <a:pt x="6" y="19"/>
                  </a:lnTo>
                  <a:lnTo>
                    <a:pt x="10" y="14"/>
                  </a:lnTo>
                  <a:lnTo>
                    <a:pt x="15" y="7"/>
                  </a:lnTo>
                  <a:lnTo>
                    <a:pt x="16" y="1"/>
                  </a:lnTo>
                  <a:lnTo>
                    <a:pt x="16" y="0"/>
                  </a:lnTo>
                  <a:lnTo>
                    <a:pt x="16" y="0"/>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61" name="Freeform 1268"/>
            <p:cNvSpPr>
              <a:spLocks/>
            </p:cNvSpPr>
            <p:nvPr/>
          </p:nvSpPr>
          <p:spPr bwMode="auto">
            <a:xfrm>
              <a:off x="4124326" y="2937304"/>
              <a:ext cx="25400" cy="31750"/>
            </a:xfrm>
            <a:custGeom>
              <a:avLst/>
              <a:gdLst>
                <a:gd name="T0" fmla="*/ 16 w 16"/>
                <a:gd name="T1" fmla="*/ 0 h 20"/>
                <a:gd name="T2" fmla="*/ 16 w 16"/>
                <a:gd name="T3" fmla="*/ 0 h 20"/>
                <a:gd name="T4" fmla="*/ 6 w 16"/>
                <a:gd name="T5" fmla="*/ 6 h 20"/>
                <a:gd name="T6" fmla="*/ 2 w 16"/>
                <a:gd name="T7" fmla="*/ 8 h 20"/>
                <a:gd name="T8" fmla="*/ 0 w 16"/>
                <a:gd name="T9" fmla="*/ 11 h 20"/>
                <a:gd name="T10" fmla="*/ 0 w 16"/>
                <a:gd name="T11" fmla="*/ 11 h 20"/>
                <a:gd name="T12" fmla="*/ 2 w 16"/>
                <a:gd name="T13" fmla="*/ 19 h 20"/>
                <a:gd name="T14" fmla="*/ 3 w 16"/>
                <a:gd name="T15" fmla="*/ 20 h 20"/>
                <a:gd name="T16" fmla="*/ 6 w 16"/>
                <a:gd name="T17" fmla="*/ 19 h 20"/>
                <a:gd name="T18" fmla="*/ 6 w 16"/>
                <a:gd name="T19" fmla="*/ 19 h 20"/>
                <a:gd name="T20" fmla="*/ 10 w 16"/>
                <a:gd name="T21" fmla="*/ 14 h 20"/>
                <a:gd name="T22" fmla="*/ 15 w 16"/>
                <a:gd name="T23" fmla="*/ 7 h 20"/>
                <a:gd name="T24" fmla="*/ 16 w 16"/>
                <a:gd name="T25" fmla="*/ 1 h 20"/>
                <a:gd name="T26" fmla="*/ 16 w 16"/>
                <a:gd name="T27" fmla="*/ 0 h 20"/>
                <a:gd name="T28" fmla="*/ 16 w 16"/>
                <a:gd name="T2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0">
                  <a:moveTo>
                    <a:pt x="16" y="0"/>
                  </a:moveTo>
                  <a:lnTo>
                    <a:pt x="16" y="0"/>
                  </a:lnTo>
                  <a:lnTo>
                    <a:pt x="6" y="6"/>
                  </a:lnTo>
                  <a:lnTo>
                    <a:pt x="2" y="8"/>
                  </a:lnTo>
                  <a:lnTo>
                    <a:pt x="0" y="11"/>
                  </a:lnTo>
                  <a:lnTo>
                    <a:pt x="0" y="11"/>
                  </a:lnTo>
                  <a:lnTo>
                    <a:pt x="2" y="19"/>
                  </a:lnTo>
                  <a:lnTo>
                    <a:pt x="3" y="20"/>
                  </a:lnTo>
                  <a:lnTo>
                    <a:pt x="6" y="19"/>
                  </a:lnTo>
                  <a:lnTo>
                    <a:pt x="6" y="19"/>
                  </a:lnTo>
                  <a:lnTo>
                    <a:pt x="10" y="14"/>
                  </a:lnTo>
                  <a:lnTo>
                    <a:pt x="15" y="7"/>
                  </a:lnTo>
                  <a:lnTo>
                    <a:pt x="16" y="1"/>
                  </a:lnTo>
                  <a:lnTo>
                    <a:pt x="16" y="0"/>
                  </a:lnTo>
                  <a:lnTo>
                    <a:pt x="16" y="0"/>
                  </a:lnTo>
                </a:path>
              </a:pathLst>
            </a:custGeom>
            <a:solidFill>
              <a:srgbClr val="92D400"/>
            </a:solidFill>
            <a:ln w="9525">
              <a:noFill/>
              <a:round/>
              <a:headEnd/>
              <a:tailEnd/>
            </a:ln>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62" name="Freeform 1269"/>
            <p:cNvSpPr>
              <a:spLocks/>
            </p:cNvSpPr>
            <p:nvPr/>
          </p:nvSpPr>
          <p:spPr bwMode="auto">
            <a:xfrm>
              <a:off x="4632326" y="3726291"/>
              <a:ext cx="74613" cy="42863"/>
            </a:xfrm>
            <a:custGeom>
              <a:avLst/>
              <a:gdLst>
                <a:gd name="T0" fmla="*/ 39 w 47"/>
                <a:gd name="T1" fmla="*/ 26 h 27"/>
                <a:gd name="T2" fmla="*/ 39 w 47"/>
                <a:gd name="T3" fmla="*/ 26 h 27"/>
                <a:gd name="T4" fmla="*/ 32 w 47"/>
                <a:gd name="T5" fmla="*/ 23 h 27"/>
                <a:gd name="T6" fmla="*/ 28 w 47"/>
                <a:gd name="T7" fmla="*/ 20 h 27"/>
                <a:gd name="T8" fmla="*/ 19 w 47"/>
                <a:gd name="T9" fmla="*/ 14 h 27"/>
                <a:gd name="T10" fmla="*/ 19 w 47"/>
                <a:gd name="T11" fmla="*/ 14 h 27"/>
                <a:gd name="T12" fmla="*/ 8 w 47"/>
                <a:gd name="T13" fmla="*/ 10 h 27"/>
                <a:gd name="T14" fmla="*/ 2 w 47"/>
                <a:gd name="T15" fmla="*/ 7 h 27"/>
                <a:gd name="T16" fmla="*/ 0 w 47"/>
                <a:gd name="T17" fmla="*/ 5 h 27"/>
                <a:gd name="T18" fmla="*/ 0 w 47"/>
                <a:gd name="T19" fmla="*/ 4 h 27"/>
                <a:gd name="T20" fmla="*/ 0 w 47"/>
                <a:gd name="T21" fmla="*/ 4 h 27"/>
                <a:gd name="T22" fmla="*/ 5 w 47"/>
                <a:gd name="T23" fmla="*/ 1 h 27"/>
                <a:gd name="T24" fmla="*/ 8 w 47"/>
                <a:gd name="T25" fmla="*/ 0 h 27"/>
                <a:gd name="T26" fmla="*/ 12 w 47"/>
                <a:gd name="T27" fmla="*/ 1 h 27"/>
                <a:gd name="T28" fmla="*/ 12 w 47"/>
                <a:gd name="T29" fmla="*/ 1 h 27"/>
                <a:gd name="T30" fmla="*/ 22 w 47"/>
                <a:gd name="T31" fmla="*/ 4 h 27"/>
                <a:gd name="T32" fmla="*/ 26 w 47"/>
                <a:gd name="T33" fmla="*/ 4 h 27"/>
                <a:gd name="T34" fmla="*/ 31 w 47"/>
                <a:gd name="T35" fmla="*/ 2 h 27"/>
                <a:gd name="T36" fmla="*/ 31 w 47"/>
                <a:gd name="T37" fmla="*/ 2 h 27"/>
                <a:gd name="T38" fmla="*/ 41 w 47"/>
                <a:gd name="T39" fmla="*/ 1 h 27"/>
                <a:gd name="T40" fmla="*/ 45 w 47"/>
                <a:gd name="T41" fmla="*/ 1 h 27"/>
                <a:gd name="T42" fmla="*/ 47 w 47"/>
                <a:gd name="T43" fmla="*/ 1 h 27"/>
                <a:gd name="T44" fmla="*/ 47 w 47"/>
                <a:gd name="T45" fmla="*/ 1 h 27"/>
                <a:gd name="T46" fmla="*/ 47 w 47"/>
                <a:gd name="T47" fmla="*/ 1 h 27"/>
                <a:gd name="T48" fmla="*/ 45 w 47"/>
                <a:gd name="T49" fmla="*/ 7 h 27"/>
                <a:gd name="T50" fmla="*/ 44 w 47"/>
                <a:gd name="T51" fmla="*/ 10 h 27"/>
                <a:gd name="T52" fmla="*/ 45 w 47"/>
                <a:gd name="T53" fmla="*/ 14 h 27"/>
                <a:gd name="T54" fmla="*/ 45 w 47"/>
                <a:gd name="T55" fmla="*/ 14 h 27"/>
                <a:gd name="T56" fmla="*/ 45 w 47"/>
                <a:gd name="T57" fmla="*/ 18 h 27"/>
                <a:gd name="T58" fmla="*/ 45 w 47"/>
                <a:gd name="T59" fmla="*/ 23 h 27"/>
                <a:gd name="T60" fmla="*/ 45 w 47"/>
                <a:gd name="T61" fmla="*/ 24 h 27"/>
                <a:gd name="T62" fmla="*/ 44 w 47"/>
                <a:gd name="T63" fmla="*/ 26 h 27"/>
                <a:gd name="T64" fmla="*/ 42 w 47"/>
                <a:gd name="T65" fmla="*/ 27 h 27"/>
                <a:gd name="T66" fmla="*/ 39 w 47"/>
                <a:gd name="T6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7" h="27">
                  <a:moveTo>
                    <a:pt x="39" y="26"/>
                  </a:moveTo>
                  <a:lnTo>
                    <a:pt x="39" y="26"/>
                  </a:lnTo>
                  <a:lnTo>
                    <a:pt x="32" y="23"/>
                  </a:lnTo>
                  <a:lnTo>
                    <a:pt x="28" y="20"/>
                  </a:lnTo>
                  <a:lnTo>
                    <a:pt x="19" y="14"/>
                  </a:lnTo>
                  <a:lnTo>
                    <a:pt x="19" y="14"/>
                  </a:lnTo>
                  <a:lnTo>
                    <a:pt x="8" y="10"/>
                  </a:lnTo>
                  <a:lnTo>
                    <a:pt x="2" y="7"/>
                  </a:lnTo>
                  <a:lnTo>
                    <a:pt x="0" y="5"/>
                  </a:lnTo>
                  <a:lnTo>
                    <a:pt x="0" y="4"/>
                  </a:lnTo>
                  <a:lnTo>
                    <a:pt x="0" y="4"/>
                  </a:lnTo>
                  <a:lnTo>
                    <a:pt x="5" y="1"/>
                  </a:lnTo>
                  <a:lnTo>
                    <a:pt x="8" y="0"/>
                  </a:lnTo>
                  <a:lnTo>
                    <a:pt x="12" y="1"/>
                  </a:lnTo>
                  <a:lnTo>
                    <a:pt x="12" y="1"/>
                  </a:lnTo>
                  <a:lnTo>
                    <a:pt x="22" y="4"/>
                  </a:lnTo>
                  <a:lnTo>
                    <a:pt x="26" y="4"/>
                  </a:lnTo>
                  <a:lnTo>
                    <a:pt x="31" y="2"/>
                  </a:lnTo>
                  <a:lnTo>
                    <a:pt x="31" y="2"/>
                  </a:lnTo>
                  <a:lnTo>
                    <a:pt x="41" y="1"/>
                  </a:lnTo>
                  <a:lnTo>
                    <a:pt x="45" y="1"/>
                  </a:lnTo>
                  <a:lnTo>
                    <a:pt x="47" y="1"/>
                  </a:lnTo>
                  <a:lnTo>
                    <a:pt x="47" y="1"/>
                  </a:lnTo>
                  <a:lnTo>
                    <a:pt x="47" y="1"/>
                  </a:lnTo>
                  <a:lnTo>
                    <a:pt x="45" y="7"/>
                  </a:lnTo>
                  <a:lnTo>
                    <a:pt x="44" y="10"/>
                  </a:lnTo>
                  <a:lnTo>
                    <a:pt x="45" y="14"/>
                  </a:lnTo>
                  <a:lnTo>
                    <a:pt x="45" y="14"/>
                  </a:lnTo>
                  <a:lnTo>
                    <a:pt x="45" y="18"/>
                  </a:lnTo>
                  <a:lnTo>
                    <a:pt x="45" y="23"/>
                  </a:lnTo>
                  <a:lnTo>
                    <a:pt x="45" y="24"/>
                  </a:lnTo>
                  <a:lnTo>
                    <a:pt x="44" y="26"/>
                  </a:lnTo>
                  <a:lnTo>
                    <a:pt x="42" y="27"/>
                  </a:lnTo>
                  <a:lnTo>
                    <a:pt x="39" y="26"/>
                  </a:lnTo>
                  <a:close/>
                </a:path>
              </a:pathLst>
            </a:custGeom>
            <a:solidFill>
              <a:srgbClr val="92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63" name="Freeform 1270"/>
            <p:cNvSpPr>
              <a:spLocks/>
            </p:cNvSpPr>
            <p:nvPr/>
          </p:nvSpPr>
          <p:spPr bwMode="auto">
            <a:xfrm>
              <a:off x="4632326" y="3726291"/>
              <a:ext cx="74613" cy="42863"/>
            </a:xfrm>
            <a:custGeom>
              <a:avLst/>
              <a:gdLst>
                <a:gd name="T0" fmla="*/ 39 w 47"/>
                <a:gd name="T1" fmla="*/ 26 h 27"/>
                <a:gd name="T2" fmla="*/ 39 w 47"/>
                <a:gd name="T3" fmla="*/ 26 h 27"/>
                <a:gd name="T4" fmla="*/ 32 w 47"/>
                <a:gd name="T5" fmla="*/ 23 h 27"/>
                <a:gd name="T6" fmla="*/ 28 w 47"/>
                <a:gd name="T7" fmla="*/ 20 h 27"/>
                <a:gd name="T8" fmla="*/ 19 w 47"/>
                <a:gd name="T9" fmla="*/ 14 h 27"/>
                <a:gd name="T10" fmla="*/ 19 w 47"/>
                <a:gd name="T11" fmla="*/ 14 h 27"/>
                <a:gd name="T12" fmla="*/ 8 w 47"/>
                <a:gd name="T13" fmla="*/ 10 h 27"/>
                <a:gd name="T14" fmla="*/ 2 w 47"/>
                <a:gd name="T15" fmla="*/ 7 h 27"/>
                <a:gd name="T16" fmla="*/ 0 w 47"/>
                <a:gd name="T17" fmla="*/ 5 h 27"/>
                <a:gd name="T18" fmla="*/ 0 w 47"/>
                <a:gd name="T19" fmla="*/ 4 h 27"/>
                <a:gd name="T20" fmla="*/ 0 w 47"/>
                <a:gd name="T21" fmla="*/ 4 h 27"/>
                <a:gd name="T22" fmla="*/ 5 w 47"/>
                <a:gd name="T23" fmla="*/ 1 h 27"/>
                <a:gd name="T24" fmla="*/ 8 w 47"/>
                <a:gd name="T25" fmla="*/ 0 h 27"/>
                <a:gd name="T26" fmla="*/ 12 w 47"/>
                <a:gd name="T27" fmla="*/ 1 h 27"/>
                <a:gd name="T28" fmla="*/ 12 w 47"/>
                <a:gd name="T29" fmla="*/ 1 h 27"/>
                <a:gd name="T30" fmla="*/ 22 w 47"/>
                <a:gd name="T31" fmla="*/ 4 h 27"/>
                <a:gd name="T32" fmla="*/ 26 w 47"/>
                <a:gd name="T33" fmla="*/ 4 h 27"/>
                <a:gd name="T34" fmla="*/ 31 w 47"/>
                <a:gd name="T35" fmla="*/ 2 h 27"/>
                <a:gd name="T36" fmla="*/ 31 w 47"/>
                <a:gd name="T37" fmla="*/ 2 h 27"/>
                <a:gd name="T38" fmla="*/ 41 w 47"/>
                <a:gd name="T39" fmla="*/ 1 h 27"/>
                <a:gd name="T40" fmla="*/ 45 w 47"/>
                <a:gd name="T41" fmla="*/ 1 h 27"/>
                <a:gd name="T42" fmla="*/ 47 w 47"/>
                <a:gd name="T43" fmla="*/ 1 h 27"/>
                <a:gd name="T44" fmla="*/ 47 w 47"/>
                <a:gd name="T45" fmla="*/ 1 h 27"/>
                <a:gd name="T46" fmla="*/ 47 w 47"/>
                <a:gd name="T47" fmla="*/ 1 h 27"/>
                <a:gd name="T48" fmla="*/ 45 w 47"/>
                <a:gd name="T49" fmla="*/ 7 h 27"/>
                <a:gd name="T50" fmla="*/ 44 w 47"/>
                <a:gd name="T51" fmla="*/ 10 h 27"/>
                <a:gd name="T52" fmla="*/ 45 w 47"/>
                <a:gd name="T53" fmla="*/ 14 h 27"/>
                <a:gd name="T54" fmla="*/ 45 w 47"/>
                <a:gd name="T55" fmla="*/ 14 h 27"/>
                <a:gd name="T56" fmla="*/ 45 w 47"/>
                <a:gd name="T57" fmla="*/ 18 h 27"/>
                <a:gd name="T58" fmla="*/ 45 w 47"/>
                <a:gd name="T59" fmla="*/ 23 h 27"/>
                <a:gd name="T60" fmla="*/ 45 w 47"/>
                <a:gd name="T61" fmla="*/ 24 h 27"/>
                <a:gd name="T62" fmla="*/ 44 w 47"/>
                <a:gd name="T63" fmla="*/ 26 h 27"/>
                <a:gd name="T64" fmla="*/ 42 w 47"/>
                <a:gd name="T65" fmla="*/ 27 h 27"/>
                <a:gd name="T66" fmla="*/ 39 w 47"/>
                <a:gd name="T6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7" h="27">
                  <a:moveTo>
                    <a:pt x="39" y="26"/>
                  </a:moveTo>
                  <a:lnTo>
                    <a:pt x="39" y="26"/>
                  </a:lnTo>
                  <a:lnTo>
                    <a:pt x="32" y="23"/>
                  </a:lnTo>
                  <a:lnTo>
                    <a:pt x="28" y="20"/>
                  </a:lnTo>
                  <a:lnTo>
                    <a:pt x="19" y="14"/>
                  </a:lnTo>
                  <a:lnTo>
                    <a:pt x="19" y="14"/>
                  </a:lnTo>
                  <a:lnTo>
                    <a:pt x="8" y="10"/>
                  </a:lnTo>
                  <a:lnTo>
                    <a:pt x="2" y="7"/>
                  </a:lnTo>
                  <a:lnTo>
                    <a:pt x="0" y="5"/>
                  </a:lnTo>
                  <a:lnTo>
                    <a:pt x="0" y="4"/>
                  </a:lnTo>
                  <a:lnTo>
                    <a:pt x="0" y="4"/>
                  </a:lnTo>
                  <a:lnTo>
                    <a:pt x="5" y="1"/>
                  </a:lnTo>
                  <a:lnTo>
                    <a:pt x="8" y="0"/>
                  </a:lnTo>
                  <a:lnTo>
                    <a:pt x="12" y="1"/>
                  </a:lnTo>
                  <a:lnTo>
                    <a:pt x="12" y="1"/>
                  </a:lnTo>
                  <a:lnTo>
                    <a:pt x="22" y="4"/>
                  </a:lnTo>
                  <a:lnTo>
                    <a:pt x="26" y="4"/>
                  </a:lnTo>
                  <a:lnTo>
                    <a:pt x="31" y="2"/>
                  </a:lnTo>
                  <a:lnTo>
                    <a:pt x="31" y="2"/>
                  </a:lnTo>
                  <a:lnTo>
                    <a:pt x="41" y="1"/>
                  </a:lnTo>
                  <a:lnTo>
                    <a:pt x="45" y="1"/>
                  </a:lnTo>
                  <a:lnTo>
                    <a:pt x="47" y="1"/>
                  </a:lnTo>
                  <a:lnTo>
                    <a:pt x="47" y="1"/>
                  </a:lnTo>
                  <a:lnTo>
                    <a:pt x="47" y="1"/>
                  </a:lnTo>
                  <a:lnTo>
                    <a:pt x="45" y="7"/>
                  </a:lnTo>
                  <a:lnTo>
                    <a:pt x="44" y="10"/>
                  </a:lnTo>
                  <a:lnTo>
                    <a:pt x="45" y="14"/>
                  </a:lnTo>
                  <a:lnTo>
                    <a:pt x="45" y="14"/>
                  </a:lnTo>
                  <a:lnTo>
                    <a:pt x="45" y="18"/>
                  </a:lnTo>
                  <a:lnTo>
                    <a:pt x="45" y="23"/>
                  </a:lnTo>
                  <a:lnTo>
                    <a:pt x="45" y="24"/>
                  </a:lnTo>
                  <a:lnTo>
                    <a:pt x="44" y="26"/>
                  </a:lnTo>
                  <a:lnTo>
                    <a:pt x="42" y="27"/>
                  </a:lnTo>
                  <a:lnTo>
                    <a:pt x="39"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64" name="Freeform 1271"/>
            <p:cNvSpPr>
              <a:spLocks/>
            </p:cNvSpPr>
            <p:nvPr/>
          </p:nvSpPr>
          <p:spPr bwMode="auto">
            <a:xfrm>
              <a:off x="4918076" y="3800904"/>
              <a:ext cx="71438" cy="14288"/>
            </a:xfrm>
            <a:custGeom>
              <a:avLst/>
              <a:gdLst>
                <a:gd name="T0" fmla="*/ 43 w 45"/>
                <a:gd name="T1" fmla="*/ 9 h 9"/>
                <a:gd name="T2" fmla="*/ 43 w 45"/>
                <a:gd name="T3" fmla="*/ 9 h 9"/>
                <a:gd name="T4" fmla="*/ 27 w 45"/>
                <a:gd name="T5" fmla="*/ 9 h 9"/>
                <a:gd name="T6" fmla="*/ 17 w 45"/>
                <a:gd name="T7" fmla="*/ 8 h 9"/>
                <a:gd name="T8" fmla="*/ 17 w 45"/>
                <a:gd name="T9" fmla="*/ 8 h 9"/>
                <a:gd name="T10" fmla="*/ 6 w 45"/>
                <a:gd name="T11" fmla="*/ 5 h 9"/>
                <a:gd name="T12" fmla="*/ 0 w 45"/>
                <a:gd name="T13" fmla="*/ 5 h 9"/>
                <a:gd name="T14" fmla="*/ 0 w 45"/>
                <a:gd name="T15" fmla="*/ 3 h 9"/>
                <a:gd name="T16" fmla="*/ 0 w 45"/>
                <a:gd name="T17" fmla="*/ 3 h 9"/>
                <a:gd name="T18" fmla="*/ 0 w 45"/>
                <a:gd name="T19" fmla="*/ 3 h 9"/>
                <a:gd name="T20" fmla="*/ 1 w 45"/>
                <a:gd name="T21" fmla="*/ 2 h 9"/>
                <a:gd name="T22" fmla="*/ 6 w 45"/>
                <a:gd name="T23" fmla="*/ 0 h 9"/>
                <a:gd name="T24" fmla="*/ 17 w 45"/>
                <a:gd name="T25" fmla="*/ 0 h 9"/>
                <a:gd name="T26" fmla="*/ 17 w 45"/>
                <a:gd name="T27" fmla="*/ 0 h 9"/>
                <a:gd name="T28" fmla="*/ 36 w 45"/>
                <a:gd name="T29" fmla="*/ 5 h 9"/>
                <a:gd name="T30" fmla="*/ 45 w 45"/>
                <a:gd name="T31" fmla="*/ 8 h 9"/>
                <a:gd name="T32" fmla="*/ 45 w 45"/>
                <a:gd name="T33" fmla="*/ 9 h 9"/>
                <a:gd name="T34" fmla="*/ 43 w 45"/>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 h="9">
                  <a:moveTo>
                    <a:pt x="43" y="9"/>
                  </a:moveTo>
                  <a:lnTo>
                    <a:pt x="43" y="9"/>
                  </a:lnTo>
                  <a:lnTo>
                    <a:pt x="27" y="9"/>
                  </a:lnTo>
                  <a:lnTo>
                    <a:pt x="17" y="8"/>
                  </a:lnTo>
                  <a:lnTo>
                    <a:pt x="17" y="8"/>
                  </a:lnTo>
                  <a:lnTo>
                    <a:pt x="6" y="5"/>
                  </a:lnTo>
                  <a:lnTo>
                    <a:pt x="0" y="5"/>
                  </a:lnTo>
                  <a:lnTo>
                    <a:pt x="0" y="3"/>
                  </a:lnTo>
                  <a:lnTo>
                    <a:pt x="0" y="3"/>
                  </a:lnTo>
                  <a:lnTo>
                    <a:pt x="0" y="3"/>
                  </a:lnTo>
                  <a:lnTo>
                    <a:pt x="1" y="2"/>
                  </a:lnTo>
                  <a:lnTo>
                    <a:pt x="6" y="0"/>
                  </a:lnTo>
                  <a:lnTo>
                    <a:pt x="17" y="0"/>
                  </a:lnTo>
                  <a:lnTo>
                    <a:pt x="17" y="0"/>
                  </a:lnTo>
                  <a:lnTo>
                    <a:pt x="36" y="5"/>
                  </a:lnTo>
                  <a:lnTo>
                    <a:pt x="45" y="8"/>
                  </a:lnTo>
                  <a:lnTo>
                    <a:pt x="45" y="9"/>
                  </a:lnTo>
                  <a:lnTo>
                    <a:pt x="43" y="9"/>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65" name="Freeform 1272"/>
            <p:cNvSpPr>
              <a:spLocks/>
            </p:cNvSpPr>
            <p:nvPr/>
          </p:nvSpPr>
          <p:spPr bwMode="auto">
            <a:xfrm>
              <a:off x="4918076" y="3800904"/>
              <a:ext cx="71438" cy="14288"/>
            </a:xfrm>
            <a:custGeom>
              <a:avLst/>
              <a:gdLst>
                <a:gd name="T0" fmla="*/ 43 w 45"/>
                <a:gd name="T1" fmla="*/ 9 h 9"/>
                <a:gd name="T2" fmla="*/ 43 w 45"/>
                <a:gd name="T3" fmla="*/ 9 h 9"/>
                <a:gd name="T4" fmla="*/ 27 w 45"/>
                <a:gd name="T5" fmla="*/ 9 h 9"/>
                <a:gd name="T6" fmla="*/ 17 w 45"/>
                <a:gd name="T7" fmla="*/ 8 h 9"/>
                <a:gd name="T8" fmla="*/ 17 w 45"/>
                <a:gd name="T9" fmla="*/ 8 h 9"/>
                <a:gd name="T10" fmla="*/ 6 w 45"/>
                <a:gd name="T11" fmla="*/ 5 h 9"/>
                <a:gd name="T12" fmla="*/ 0 w 45"/>
                <a:gd name="T13" fmla="*/ 5 h 9"/>
                <a:gd name="T14" fmla="*/ 0 w 45"/>
                <a:gd name="T15" fmla="*/ 3 h 9"/>
                <a:gd name="T16" fmla="*/ 0 w 45"/>
                <a:gd name="T17" fmla="*/ 3 h 9"/>
                <a:gd name="T18" fmla="*/ 0 w 45"/>
                <a:gd name="T19" fmla="*/ 3 h 9"/>
                <a:gd name="T20" fmla="*/ 1 w 45"/>
                <a:gd name="T21" fmla="*/ 2 h 9"/>
                <a:gd name="T22" fmla="*/ 6 w 45"/>
                <a:gd name="T23" fmla="*/ 0 h 9"/>
                <a:gd name="T24" fmla="*/ 17 w 45"/>
                <a:gd name="T25" fmla="*/ 0 h 9"/>
                <a:gd name="T26" fmla="*/ 17 w 45"/>
                <a:gd name="T27" fmla="*/ 0 h 9"/>
                <a:gd name="T28" fmla="*/ 36 w 45"/>
                <a:gd name="T29" fmla="*/ 5 h 9"/>
                <a:gd name="T30" fmla="*/ 45 w 45"/>
                <a:gd name="T31" fmla="*/ 8 h 9"/>
                <a:gd name="T32" fmla="*/ 45 w 45"/>
                <a:gd name="T33" fmla="*/ 9 h 9"/>
                <a:gd name="T34" fmla="*/ 43 w 45"/>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 h="9">
                  <a:moveTo>
                    <a:pt x="43" y="9"/>
                  </a:moveTo>
                  <a:lnTo>
                    <a:pt x="43" y="9"/>
                  </a:lnTo>
                  <a:lnTo>
                    <a:pt x="27" y="9"/>
                  </a:lnTo>
                  <a:lnTo>
                    <a:pt x="17" y="8"/>
                  </a:lnTo>
                  <a:lnTo>
                    <a:pt x="17" y="8"/>
                  </a:lnTo>
                  <a:lnTo>
                    <a:pt x="6" y="5"/>
                  </a:lnTo>
                  <a:lnTo>
                    <a:pt x="0" y="5"/>
                  </a:lnTo>
                  <a:lnTo>
                    <a:pt x="0" y="3"/>
                  </a:lnTo>
                  <a:lnTo>
                    <a:pt x="0" y="3"/>
                  </a:lnTo>
                  <a:lnTo>
                    <a:pt x="0" y="3"/>
                  </a:lnTo>
                  <a:lnTo>
                    <a:pt x="1" y="2"/>
                  </a:lnTo>
                  <a:lnTo>
                    <a:pt x="6" y="0"/>
                  </a:lnTo>
                  <a:lnTo>
                    <a:pt x="17" y="0"/>
                  </a:lnTo>
                  <a:lnTo>
                    <a:pt x="17" y="0"/>
                  </a:lnTo>
                  <a:lnTo>
                    <a:pt x="36" y="5"/>
                  </a:lnTo>
                  <a:lnTo>
                    <a:pt x="45" y="8"/>
                  </a:lnTo>
                  <a:lnTo>
                    <a:pt x="45" y="9"/>
                  </a:lnTo>
                  <a:lnTo>
                    <a:pt x="43" y="9"/>
                  </a:lnTo>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66" name="Freeform 1273"/>
            <p:cNvSpPr>
              <a:spLocks/>
            </p:cNvSpPr>
            <p:nvPr/>
          </p:nvSpPr>
          <p:spPr bwMode="auto">
            <a:xfrm>
              <a:off x="3871913" y="1522841"/>
              <a:ext cx="5257801" cy="4189413"/>
            </a:xfrm>
            <a:custGeom>
              <a:avLst/>
              <a:gdLst>
                <a:gd name="T0" fmla="*/ 251 w 3312"/>
                <a:gd name="T1" fmla="*/ 1133 h 2639"/>
                <a:gd name="T2" fmla="*/ 497 w 3312"/>
                <a:gd name="T3" fmla="*/ 1002 h 2639"/>
                <a:gd name="T4" fmla="*/ 560 w 3312"/>
                <a:gd name="T5" fmla="*/ 823 h 2639"/>
                <a:gd name="T6" fmla="*/ 359 w 3312"/>
                <a:gd name="T7" fmla="*/ 815 h 2639"/>
                <a:gd name="T8" fmla="*/ 484 w 3312"/>
                <a:gd name="T9" fmla="*/ 611 h 2639"/>
                <a:gd name="T10" fmla="*/ 598 w 3312"/>
                <a:gd name="T11" fmla="*/ 455 h 2639"/>
                <a:gd name="T12" fmla="*/ 682 w 3312"/>
                <a:gd name="T13" fmla="*/ 427 h 2639"/>
                <a:gd name="T14" fmla="*/ 934 w 3312"/>
                <a:gd name="T15" fmla="*/ 589 h 2639"/>
                <a:gd name="T16" fmla="*/ 979 w 3312"/>
                <a:gd name="T17" fmla="*/ 516 h 2639"/>
                <a:gd name="T18" fmla="*/ 1241 w 3312"/>
                <a:gd name="T19" fmla="*/ 511 h 2639"/>
                <a:gd name="T20" fmla="*/ 1509 w 3312"/>
                <a:gd name="T21" fmla="*/ 572 h 2639"/>
                <a:gd name="T22" fmla="*/ 1582 w 3312"/>
                <a:gd name="T23" fmla="*/ 266 h 2639"/>
                <a:gd name="T24" fmla="*/ 2065 w 3312"/>
                <a:gd name="T25" fmla="*/ 80 h 2639"/>
                <a:gd name="T26" fmla="*/ 2342 w 3312"/>
                <a:gd name="T27" fmla="*/ 310 h 2639"/>
                <a:gd name="T28" fmla="*/ 2510 w 3312"/>
                <a:gd name="T29" fmla="*/ 348 h 2639"/>
                <a:gd name="T30" fmla="*/ 3007 w 3312"/>
                <a:gd name="T31" fmla="*/ 479 h 2639"/>
                <a:gd name="T32" fmla="*/ 3178 w 3312"/>
                <a:gd name="T33" fmla="*/ 639 h 2639"/>
                <a:gd name="T34" fmla="*/ 2876 w 3312"/>
                <a:gd name="T35" fmla="*/ 901 h 2639"/>
                <a:gd name="T36" fmla="*/ 2807 w 3312"/>
                <a:gd name="T37" fmla="*/ 789 h 2639"/>
                <a:gd name="T38" fmla="*/ 2500 w 3312"/>
                <a:gd name="T39" fmla="*/ 1004 h 2639"/>
                <a:gd name="T40" fmla="*/ 2242 w 3312"/>
                <a:gd name="T41" fmla="*/ 1328 h 2639"/>
                <a:gd name="T42" fmla="*/ 1991 w 3312"/>
                <a:gd name="T43" fmla="*/ 1886 h 2639"/>
                <a:gd name="T44" fmla="*/ 1729 w 3312"/>
                <a:gd name="T45" fmla="*/ 1680 h 2639"/>
                <a:gd name="T46" fmla="*/ 1079 w 3312"/>
                <a:gd name="T47" fmla="*/ 1540 h 2639"/>
                <a:gd name="T48" fmla="*/ 899 w 3312"/>
                <a:gd name="T49" fmla="*/ 1651 h 2639"/>
                <a:gd name="T50" fmla="*/ 812 w 3312"/>
                <a:gd name="T51" fmla="*/ 2467 h 2639"/>
                <a:gd name="T52" fmla="*/ 33 w 3312"/>
                <a:gd name="T53" fmla="*/ 1861 h 2639"/>
                <a:gd name="T54" fmla="*/ 652 w 3312"/>
                <a:gd name="T55" fmla="*/ 1503 h 2639"/>
                <a:gd name="T56" fmla="*/ 901 w 3312"/>
                <a:gd name="T57" fmla="*/ 1244 h 2639"/>
                <a:gd name="T58" fmla="*/ 672 w 3312"/>
                <a:gd name="T59" fmla="*/ 1386 h 2639"/>
                <a:gd name="T60" fmla="*/ 482 w 3312"/>
                <a:gd name="T61" fmla="*/ 1262 h 2639"/>
                <a:gd name="T62" fmla="*/ 605 w 3312"/>
                <a:gd name="T63" fmla="*/ 1363 h 2639"/>
                <a:gd name="T64" fmla="*/ 801 w 3312"/>
                <a:gd name="T65" fmla="*/ 1227 h 2639"/>
                <a:gd name="T66" fmla="*/ 772 w 3312"/>
                <a:gd name="T67" fmla="*/ 1422 h 2639"/>
                <a:gd name="T68" fmla="*/ 272 w 3312"/>
                <a:gd name="T69" fmla="*/ 1431 h 2639"/>
                <a:gd name="T70" fmla="*/ 500 w 3312"/>
                <a:gd name="T71" fmla="*/ 2239 h 2639"/>
                <a:gd name="T72" fmla="*/ 1030 w 3312"/>
                <a:gd name="T73" fmla="*/ 1867 h 2639"/>
                <a:gd name="T74" fmla="*/ 1222 w 3312"/>
                <a:gd name="T75" fmla="*/ 1708 h 2639"/>
                <a:gd name="T76" fmla="*/ 1440 w 3312"/>
                <a:gd name="T77" fmla="*/ 1700 h 2639"/>
                <a:gd name="T78" fmla="*/ 1955 w 3312"/>
                <a:gd name="T79" fmla="*/ 2026 h 2639"/>
                <a:gd name="T80" fmla="*/ 2194 w 3312"/>
                <a:gd name="T81" fmla="*/ 1628 h 2639"/>
                <a:gd name="T82" fmla="*/ 2336 w 3312"/>
                <a:gd name="T83" fmla="*/ 1364 h 2639"/>
                <a:gd name="T84" fmla="*/ 2671 w 3312"/>
                <a:gd name="T85" fmla="*/ 853 h 2639"/>
                <a:gd name="T86" fmla="*/ 2823 w 3312"/>
                <a:gd name="T87" fmla="*/ 878 h 2639"/>
                <a:gd name="T88" fmla="*/ 3021 w 3312"/>
                <a:gd name="T89" fmla="*/ 794 h 2639"/>
                <a:gd name="T90" fmla="*/ 3285 w 3312"/>
                <a:gd name="T91" fmla="*/ 630 h 2639"/>
                <a:gd name="T92" fmla="*/ 2953 w 3312"/>
                <a:gd name="T93" fmla="*/ 461 h 2639"/>
                <a:gd name="T94" fmla="*/ 2514 w 3312"/>
                <a:gd name="T95" fmla="*/ 352 h 2639"/>
                <a:gd name="T96" fmla="*/ 2332 w 3312"/>
                <a:gd name="T97" fmla="*/ 294 h 2639"/>
                <a:gd name="T98" fmla="*/ 2093 w 3312"/>
                <a:gd name="T99" fmla="*/ 107 h 2639"/>
                <a:gd name="T100" fmla="*/ 1681 w 3312"/>
                <a:gd name="T101" fmla="*/ 177 h 2639"/>
                <a:gd name="T102" fmla="*/ 1460 w 3312"/>
                <a:gd name="T103" fmla="*/ 485 h 2639"/>
                <a:gd name="T104" fmla="*/ 1353 w 3312"/>
                <a:gd name="T105" fmla="*/ 472 h 2639"/>
                <a:gd name="T106" fmla="*/ 1070 w 3312"/>
                <a:gd name="T107" fmla="*/ 539 h 2639"/>
                <a:gd name="T108" fmla="*/ 833 w 3312"/>
                <a:gd name="T109" fmla="*/ 629 h 2639"/>
                <a:gd name="T110" fmla="*/ 736 w 3312"/>
                <a:gd name="T111" fmla="*/ 404 h 2639"/>
                <a:gd name="T112" fmla="*/ 637 w 3312"/>
                <a:gd name="T113" fmla="*/ 448 h 2639"/>
                <a:gd name="T114" fmla="*/ 553 w 3312"/>
                <a:gd name="T115" fmla="*/ 503 h 2639"/>
                <a:gd name="T116" fmla="*/ 458 w 3312"/>
                <a:gd name="T117" fmla="*/ 676 h 2639"/>
                <a:gd name="T118" fmla="*/ 359 w 3312"/>
                <a:gd name="T119" fmla="*/ 830 h 2639"/>
                <a:gd name="T120" fmla="*/ 552 w 3312"/>
                <a:gd name="T121" fmla="*/ 795 h 2639"/>
                <a:gd name="T122" fmla="*/ 490 w 3312"/>
                <a:gd name="T123" fmla="*/ 1007 h 2639"/>
                <a:gd name="T124" fmla="*/ 252 w 3312"/>
                <a:gd name="T125" fmla="*/ 1151 h 2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12" h="2639">
                  <a:moveTo>
                    <a:pt x="536" y="1392"/>
                  </a:moveTo>
                  <a:lnTo>
                    <a:pt x="537" y="1390"/>
                  </a:lnTo>
                  <a:lnTo>
                    <a:pt x="536" y="1390"/>
                  </a:lnTo>
                  <a:lnTo>
                    <a:pt x="537" y="1390"/>
                  </a:lnTo>
                  <a:lnTo>
                    <a:pt x="537" y="1390"/>
                  </a:lnTo>
                  <a:lnTo>
                    <a:pt x="536" y="1390"/>
                  </a:lnTo>
                  <a:lnTo>
                    <a:pt x="537" y="1390"/>
                  </a:lnTo>
                  <a:lnTo>
                    <a:pt x="537" y="1390"/>
                  </a:lnTo>
                  <a:lnTo>
                    <a:pt x="537" y="1390"/>
                  </a:lnTo>
                  <a:lnTo>
                    <a:pt x="537" y="1390"/>
                  </a:lnTo>
                  <a:lnTo>
                    <a:pt x="537" y="1390"/>
                  </a:lnTo>
                  <a:lnTo>
                    <a:pt x="537" y="1390"/>
                  </a:lnTo>
                  <a:lnTo>
                    <a:pt x="537" y="1390"/>
                  </a:lnTo>
                  <a:lnTo>
                    <a:pt x="537" y="1390"/>
                  </a:lnTo>
                  <a:lnTo>
                    <a:pt x="537" y="1388"/>
                  </a:lnTo>
                  <a:lnTo>
                    <a:pt x="537" y="1388"/>
                  </a:lnTo>
                  <a:lnTo>
                    <a:pt x="542" y="1379"/>
                  </a:lnTo>
                  <a:lnTo>
                    <a:pt x="542" y="1379"/>
                  </a:lnTo>
                  <a:lnTo>
                    <a:pt x="543" y="1372"/>
                  </a:lnTo>
                  <a:lnTo>
                    <a:pt x="543" y="1372"/>
                  </a:lnTo>
                  <a:lnTo>
                    <a:pt x="543" y="1370"/>
                  </a:lnTo>
                  <a:lnTo>
                    <a:pt x="543" y="1370"/>
                  </a:lnTo>
                  <a:lnTo>
                    <a:pt x="543" y="1366"/>
                  </a:lnTo>
                  <a:lnTo>
                    <a:pt x="542" y="1362"/>
                  </a:lnTo>
                  <a:lnTo>
                    <a:pt x="542" y="1362"/>
                  </a:lnTo>
                  <a:lnTo>
                    <a:pt x="539" y="1354"/>
                  </a:lnTo>
                  <a:lnTo>
                    <a:pt x="539" y="1354"/>
                  </a:lnTo>
                  <a:lnTo>
                    <a:pt x="536" y="1351"/>
                  </a:lnTo>
                  <a:lnTo>
                    <a:pt x="533" y="1347"/>
                  </a:lnTo>
                  <a:lnTo>
                    <a:pt x="533" y="1347"/>
                  </a:lnTo>
                  <a:lnTo>
                    <a:pt x="527" y="1344"/>
                  </a:lnTo>
                  <a:lnTo>
                    <a:pt x="527" y="1344"/>
                  </a:lnTo>
                  <a:lnTo>
                    <a:pt x="526" y="1341"/>
                  </a:lnTo>
                  <a:lnTo>
                    <a:pt x="526" y="1341"/>
                  </a:lnTo>
                  <a:lnTo>
                    <a:pt x="521" y="1335"/>
                  </a:lnTo>
                  <a:lnTo>
                    <a:pt x="521" y="1335"/>
                  </a:lnTo>
                  <a:lnTo>
                    <a:pt x="518" y="1331"/>
                  </a:lnTo>
                  <a:lnTo>
                    <a:pt x="514" y="1328"/>
                  </a:lnTo>
                  <a:lnTo>
                    <a:pt x="514" y="1328"/>
                  </a:lnTo>
                  <a:lnTo>
                    <a:pt x="495" y="1315"/>
                  </a:lnTo>
                  <a:lnTo>
                    <a:pt x="495" y="1315"/>
                  </a:lnTo>
                  <a:lnTo>
                    <a:pt x="484" y="1308"/>
                  </a:lnTo>
                  <a:lnTo>
                    <a:pt x="484" y="1308"/>
                  </a:lnTo>
                  <a:lnTo>
                    <a:pt x="479" y="1305"/>
                  </a:lnTo>
                  <a:lnTo>
                    <a:pt x="479" y="1305"/>
                  </a:lnTo>
                  <a:lnTo>
                    <a:pt x="478" y="1304"/>
                  </a:lnTo>
                  <a:lnTo>
                    <a:pt x="478" y="1304"/>
                  </a:lnTo>
                  <a:lnTo>
                    <a:pt x="472" y="1298"/>
                  </a:lnTo>
                  <a:lnTo>
                    <a:pt x="472" y="1298"/>
                  </a:lnTo>
                  <a:lnTo>
                    <a:pt x="462" y="1288"/>
                  </a:lnTo>
                  <a:lnTo>
                    <a:pt x="458" y="1282"/>
                  </a:lnTo>
                  <a:lnTo>
                    <a:pt x="453" y="1276"/>
                  </a:lnTo>
                  <a:lnTo>
                    <a:pt x="453" y="1276"/>
                  </a:lnTo>
                  <a:lnTo>
                    <a:pt x="448" y="1263"/>
                  </a:lnTo>
                  <a:lnTo>
                    <a:pt x="448" y="1263"/>
                  </a:lnTo>
                  <a:lnTo>
                    <a:pt x="445" y="1259"/>
                  </a:lnTo>
                  <a:lnTo>
                    <a:pt x="445" y="1259"/>
                  </a:lnTo>
                  <a:lnTo>
                    <a:pt x="440" y="1256"/>
                  </a:lnTo>
                  <a:lnTo>
                    <a:pt x="440" y="1256"/>
                  </a:lnTo>
                  <a:lnTo>
                    <a:pt x="432" y="1250"/>
                  </a:lnTo>
                  <a:lnTo>
                    <a:pt x="432" y="1250"/>
                  </a:lnTo>
                  <a:lnTo>
                    <a:pt x="426" y="1249"/>
                  </a:lnTo>
                  <a:lnTo>
                    <a:pt x="420" y="1247"/>
                  </a:lnTo>
                  <a:lnTo>
                    <a:pt x="420" y="1247"/>
                  </a:lnTo>
                  <a:lnTo>
                    <a:pt x="419" y="1247"/>
                  </a:lnTo>
                  <a:lnTo>
                    <a:pt x="416" y="1249"/>
                  </a:lnTo>
                  <a:lnTo>
                    <a:pt x="416" y="1249"/>
                  </a:lnTo>
                  <a:lnTo>
                    <a:pt x="410" y="1254"/>
                  </a:lnTo>
                  <a:lnTo>
                    <a:pt x="410" y="1254"/>
                  </a:lnTo>
                  <a:lnTo>
                    <a:pt x="392" y="1269"/>
                  </a:lnTo>
                  <a:lnTo>
                    <a:pt x="392" y="1269"/>
                  </a:lnTo>
                  <a:lnTo>
                    <a:pt x="384" y="1275"/>
                  </a:lnTo>
                  <a:lnTo>
                    <a:pt x="384" y="1275"/>
                  </a:lnTo>
                  <a:lnTo>
                    <a:pt x="377" y="1276"/>
                  </a:lnTo>
                  <a:lnTo>
                    <a:pt x="377" y="1276"/>
                  </a:lnTo>
                  <a:lnTo>
                    <a:pt x="377" y="1276"/>
                  </a:lnTo>
                  <a:lnTo>
                    <a:pt x="369" y="1275"/>
                  </a:lnTo>
                  <a:lnTo>
                    <a:pt x="361" y="1273"/>
                  </a:lnTo>
                  <a:lnTo>
                    <a:pt x="361" y="1273"/>
                  </a:lnTo>
                  <a:lnTo>
                    <a:pt x="353" y="1270"/>
                  </a:lnTo>
                  <a:lnTo>
                    <a:pt x="353" y="1270"/>
                  </a:lnTo>
                  <a:lnTo>
                    <a:pt x="346" y="1269"/>
                  </a:lnTo>
                  <a:lnTo>
                    <a:pt x="346" y="1269"/>
                  </a:lnTo>
                  <a:lnTo>
                    <a:pt x="345" y="1269"/>
                  </a:lnTo>
                  <a:lnTo>
                    <a:pt x="345" y="1269"/>
                  </a:lnTo>
                  <a:lnTo>
                    <a:pt x="342" y="1270"/>
                  </a:lnTo>
                  <a:lnTo>
                    <a:pt x="342" y="1270"/>
                  </a:lnTo>
                  <a:lnTo>
                    <a:pt x="336" y="1275"/>
                  </a:lnTo>
                  <a:lnTo>
                    <a:pt x="330" y="1280"/>
                  </a:lnTo>
                  <a:lnTo>
                    <a:pt x="330" y="1280"/>
                  </a:lnTo>
                  <a:lnTo>
                    <a:pt x="326" y="1286"/>
                  </a:lnTo>
                  <a:lnTo>
                    <a:pt x="326" y="1286"/>
                  </a:lnTo>
                  <a:lnTo>
                    <a:pt x="324" y="1289"/>
                  </a:lnTo>
                  <a:lnTo>
                    <a:pt x="324" y="1289"/>
                  </a:lnTo>
                  <a:lnTo>
                    <a:pt x="324" y="1291"/>
                  </a:lnTo>
                  <a:lnTo>
                    <a:pt x="324" y="1292"/>
                  </a:lnTo>
                  <a:lnTo>
                    <a:pt x="326" y="1292"/>
                  </a:lnTo>
                  <a:lnTo>
                    <a:pt x="324" y="1292"/>
                  </a:lnTo>
                  <a:lnTo>
                    <a:pt x="324" y="1292"/>
                  </a:lnTo>
                  <a:lnTo>
                    <a:pt x="326" y="1296"/>
                  </a:lnTo>
                  <a:lnTo>
                    <a:pt x="326" y="1296"/>
                  </a:lnTo>
                  <a:lnTo>
                    <a:pt x="326" y="1302"/>
                  </a:lnTo>
                  <a:lnTo>
                    <a:pt x="326" y="1302"/>
                  </a:lnTo>
                  <a:lnTo>
                    <a:pt x="326" y="1305"/>
                  </a:lnTo>
                  <a:lnTo>
                    <a:pt x="326" y="1305"/>
                  </a:lnTo>
                  <a:lnTo>
                    <a:pt x="316" y="1314"/>
                  </a:lnTo>
                  <a:lnTo>
                    <a:pt x="316" y="1314"/>
                  </a:lnTo>
                  <a:lnTo>
                    <a:pt x="310" y="1318"/>
                  </a:lnTo>
                  <a:lnTo>
                    <a:pt x="310" y="1318"/>
                  </a:lnTo>
                  <a:lnTo>
                    <a:pt x="308" y="1318"/>
                  </a:lnTo>
                  <a:lnTo>
                    <a:pt x="307" y="1319"/>
                  </a:lnTo>
                  <a:lnTo>
                    <a:pt x="307" y="1319"/>
                  </a:lnTo>
                  <a:lnTo>
                    <a:pt x="308" y="1319"/>
                  </a:lnTo>
                  <a:lnTo>
                    <a:pt x="308" y="1319"/>
                  </a:lnTo>
                  <a:lnTo>
                    <a:pt x="307" y="1319"/>
                  </a:lnTo>
                  <a:lnTo>
                    <a:pt x="308" y="1319"/>
                  </a:lnTo>
                  <a:lnTo>
                    <a:pt x="308" y="1319"/>
                  </a:lnTo>
                  <a:lnTo>
                    <a:pt x="308" y="1319"/>
                  </a:lnTo>
                  <a:lnTo>
                    <a:pt x="308" y="1319"/>
                  </a:lnTo>
                  <a:lnTo>
                    <a:pt x="308" y="1319"/>
                  </a:lnTo>
                  <a:lnTo>
                    <a:pt x="308" y="1319"/>
                  </a:lnTo>
                  <a:lnTo>
                    <a:pt x="308" y="1319"/>
                  </a:lnTo>
                  <a:lnTo>
                    <a:pt x="307" y="1319"/>
                  </a:lnTo>
                  <a:lnTo>
                    <a:pt x="308" y="1319"/>
                  </a:lnTo>
                  <a:lnTo>
                    <a:pt x="308" y="1319"/>
                  </a:lnTo>
                  <a:lnTo>
                    <a:pt x="307" y="1319"/>
                  </a:lnTo>
                  <a:lnTo>
                    <a:pt x="308" y="1319"/>
                  </a:lnTo>
                  <a:lnTo>
                    <a:pt x="308" y="1319"/>
                  </a:lnTo>
                  <a:lnTo>
                    <a:pt x="308" y="1319"/>
                  </a:lnTo>
                  <a:lnTo>
                    <a:pt x="308" y="1319"/>
                  </a:lnTo>
                  <a:lnTo>
                    <a:pt x="308" y="1319"/>
                  </a:lnTo>
                  <a:lnTo>
                    <a:pt x="308" y="1319"/>
                  </a:lnTo>
                  <a:lnTo>
                    <a:pt x="308" y="1319"/>
                  </a:lnTo>
                  <a:lnTo>
                    <a:pt x="308" y="1318"/>
                  </a:lnTo>
                  <a:lnTo>
                    <a:pt x="308" y="1318"/>
                  </a:lnTo>
                  <a:lnTo>
                    <a:pt x="307" y="1317"/>
                  </a:lnTo>
                  <a:lnTo>
                    <a:pt x="307" y="1317"/>
                  </a:lnTo>
                  <a:lnTo>
                    <a:pt x="306" y="1317"/>
                  </a:lnTo>
                  <a:lnTo>
                    <a:pt x="306" y="1317"/>
                  </a:lnTo>
                  <a:lnTo>
                    <a:pt x="303" y="1318"/>
                  </a:lnTo>
                  <a:lnTo>
                    <a:pt x="303" y="1318"/>
                  </a:lnTo>
                  <a:lnTo>
                    <a:pt x="300" y="1319"/>
                  </a:lnTo>
                  <a:lnTo>
                    <a:pt x="300" y="1319"/>
                  </a:lnTo>
                  <a:lnTo>
                    <a:pt x="291" y="1325"/>
                  </a:lnTo>
                  <a:lnTo>
                    <a:pt x="291" y="1325"/>
                  </a:lnTo>
                  <a:lnTo>
                    <a:pt x="287" y="1328"/>
                  </a:lnTo>
                  <a:lnTo>
                    <a:pt x="287" y="1328"/>
                  </a:lnTo>
                  <a:lnTo>
                    <a:pt x="285" y="1330"/>
                  </a:lnTo>
                  <a:lnTo>
                    <a:pt x="285" y="1330"/>
                  </a:lnTo>
                  <a:lnTo>
                    <a:pt x="285" y="1333"/>
                  </a:lnTo>
                  <a:lnTo>
                    <a:pt x="285" y="1333"/>
                  </a:lnTo>
                  <a:lnTo>
                    <a:pt x="285" y="1331"/>
                  </a:lnTo>
                  <a:lnTo>
                    <a:pt x="285" y="1333"/>
                  </a:lnTo>
                  <a:lnTo>
                    <a:pt x="285" y="1333"/>
                  </a:lnTo>
                  <a:lnTo>
                    <a:pt x="285" y="1331"/>
                  </a:lnTo>
                  <a:lnTo>
                    <a:pt x="285" y="1331"/>
                  </a:lnTo>
                  <a:lnTo>
                    <a:pt x="284" y="1333"/>
                  </a:lnTo>
                  <a:lnTo>
                    <a:pt x="284" y="1333"/>
                  </a:lnTo>
                  <a:lnTo>
                    <a:pt x="278" y="1341"/>
                  </a:lnTo>
                  <a:lnTo>
                    <a:pt x="278" y="1341"/>
                  </a:lnTo>
                  <a:lnTo>
                    <a:pt x="275" y="1348"/>
                  </a:lnTo>
                  <a:lnTo>
                    <a:pt x="274" y="1354"/>
                  </a:lnTo>
                  <a:lnTo>
                    <a:pt x="274" y="1354"/>
                  </a:lnTo>
                  <a:lnTo>
                    <a:pt x="274" y="1357"/>
                  </a:lnTo>
                  <a:lnTo>
                    <a:pt x="274" y="1357"/>
                  </a:lnTo>
                  <a:lnTo>
                    <a:pt x="277" y="1367"/>
                  </a:lnTo>
                  <a:lnTo>
                    <a:pt x="277" y="1367"/>
                  </a:lnTo>
                  <a:lnTo>
                    <a:pt x="278" y="1372"/>
                  </a:lnTo>
                  <a:lnTo>
                    <a:pt x="278" y="1372"/>
                  </a:lnTo>
                  <a:lnTo>
                    <a:pt x="278" y="1373"/>
                  </a:lnTo>
                  <a:lnTo>
                    <a:pt x="278" y="1373"/>
                  </a:lnTo>
                  <a:lnTo>
                    <a:pt x="278" y="1373"/>
                  </a:lnTo>
                  <a:lnTo>
                    <a:pt x="272" y="1380"/>
                  </a:lnTo>
                  <a:lnTo>
                    <a:pt x="272" y="1380"/>
                  </a:lnTo>
                  <a:lnTo>
                    <a:pt x="269" y="1385"/>
                  </a:lnTo>
                  <a:lnTo>
                    <a:pt x="269" y="1385"/>
                  </a:lnTo>
                  <a:lnTo>
                    <a:pt x="268" y="1389"/>
                  </a:lnTo>
                  <a:lnTo>
                    <a:pt x="268" y="1389"/>
                  </a:lnTo>
                  <a:lnTo>
                    <a:pt x="266" y="1393"/>
                  </a:lnTo>
                  <a:lnTo>
                    <a:pt x="266" y="1393"/>
                  </a:lnTo>
                  <a:lnTo>
                    <a:pt x="261" y="1398"/>
                  </a:lnTo>
                  <a:lnTo>
                    <a:pt x="261" y="1398"/>
                  </a:lnTo>
                  <a:lnTo>
                    <a:pt x="253" y="1402"/>
                  </a:lnTo>
                  <a:lnTo>
                    <a:pt x="253" y="1402"/>
                  </a:lnTo>
                  <a:lnTo>
                    <a:pt x="232" y="1409"/>
                  </a:lnTo>
                  <a:lnTo>
                    <a:pt x="232" y="1409"/>
                  </a:lnTo>
                  <a:lnTo>
                    <a:pt x="223" y="1414"/>
                  </a:lnTo>
                  <a:lnTo>
                    <a:pt x="223" y="1414"/>
                  </a:lnTo>
                  <a:lnTo>
                    <a:pt x="219" y="1415"/>
                  </a:lnTo>
                  <a:lnTo>
                    <a:pt x="217" y="1415"/>
                  </a:lnTo>
                  <a:lnTo>
                    <a:pt x="217" y="1415"/>
                  </a:lnTo>
                  <a:lnTo>
                    <a:pt x="216" y="1414"/>
                  </a:lnTo>
                  <a:lnTo>
                    <a:pt x="216" y="1414"/>
                  </a:lnTo>
                  <a:lnTo>
                    <a:pt x="214" y="1414"/>
                  </a:lnTo>
                  <a:lnTo>
                    <a:pt x="214" y="1414"/>
                  </a:lnTo>
                  <a:lnTo>
                    <a:pt x="213" y="1414"/>
                  </a:lnTo>
                  <a:lnTo>
                    <a:pt x="213" y="1414"/>
                  </a:lnTo>
                  <a:lnTo>
                    <a:pt x="206" y="1415"/>
                  </a:lnTo>
                  <a:lnTo>
                    <a:pt x="206" y="1415"/>
                  </a:lnTo>
                  <a:lnTo>
                    <a:pt x="200" y="1417"/>
                  </a:lnTo>
                  <a:lnTo>
                    <a:pt x="196" y="1419"/>
                  </a:lnTo>
                  <a:lnTo>
                    <a:pt x="196" y="1419"/>
                  </a:lnTo>
                  <a:lnTo>
                    <a:pt x="191" y="1424"/>
                  </a:lnTo>
                  <a:lnTo>
                    <a:pt x="191" y="1424"/>
                  </a:lnTo>
                  <a:lnTo>
                    <a:pt x="187" y="1425"/>
                  </a:lnTo>
                  <a:lnTo>
                    <a:pt x="187" y="1425"/>
                  </a:lnTo>
                  <a:lnTo>
                    <a:pt x="185" y="1424"/>
                  </a:lnTo>
                  <a:lnTo>
                    <a:pt x="185" y="1424"/>
                  </a:lnTo>
                  <a:lnTo>
                    <a:pt x="181" y="1419"/>
                  </a:lnTo>
                  <a:lnTo>
                    <a:pt x="181" y="1419"/>
                  </a:lnTo>
                  <a:lnTo>
                    <a:pt x="171" y="1408"/>
                  </a:lnTo>
                  <a:lnTo>
                    <a:pt x="171" y="1408"/>
                  </a:lnTo>
                  <a:lnTo>
                    <a:pt x="167" y="1404"/>
                  </a:lnTo>
                  <a:lnTo>
                    <a:pt x="167" y="1404"/>
                  </a:lnTo>
                  <a:lnTo>
                    <a:pt x="164" y="1402"/>
                  </a:lnTo>
                  <a:lnTo>
                    <a:pt x="164" y="1402"/>
                  </a:lnTo>
                  <a:lnTo>
                    <a:pt x="161" y="1401"/>
                  </a:lnTo>
                  <a:lnTo>
                    <a:pt x="161" y="1401"/>
                  </a:lnTo>
                  <a:lnTo>
                    <a:pt x="161" y="1404"/>
                  </a:lnTo>
                  <a:lnTo>
                    <a:pt x="161" y="1401"/>
                  </a:lnTo>
                  <a:lnTo>
                    <a:pt x="161" y="1401"/>
                  </a:lnTo>
                  <a:lnTo>
                    <a:pt x="154" y="1404"/>
                  </a:lnTo>
                  <a:lnTo>
                    <a:pt x="154" y="1404"/>
                  </a:lnTo>
                  <a:lnTo>
                    <a:pt x="149" y="1404"/>
                  </a:lnTo>
                  <a:lnTo>
                    <a:pt x="149" y="1404"/>
                  </a:lnTo>
                  <a:lnTo>
                    <a:pt x="145" y="1404"/>
                  </a:lnTo>
                  <a:lnTo>
                    <a:pt x="145" y="1404"/>
                  </a:lnTo>
                  <a:lnTo>
                    <a:pt x="142" y="1404"/>
                  </a:lnTo>
                  <a:lnTo>
                    <a:pt x="140" y="1402"/>
                  </a:lnTo>
                  <a:lnTo>
                    <a:pt x="140" y="1402"/>
                  </a:lnTo>
                  <a:lnTo>
                    <a:pt x="139" y="1399"/>
                  </a:lnTo>
                  <a:lnTo>
                    <a:pt x="139" y="1399"/>
                  </a:lnTo>
                  <a:lnTo>
                    <a:pt x="139" y="1395"/>
                  </a:lnTo>
                  <a:lnTo>
                    <a:pt x="139" y="1395"/>
                  </a:lnTo>
                  <a:lnTo>
                    <a:pt x="139" y="1390"/>
                  </a:lnTo>
                  <a:lnTo>
                    <a:pt x="139" y="1390"/>
                  </a:lnTo>
                  <a:lnTo>
                    <a:pt x="139" y="1380"/>
                  </a:lnTo>
                  <a:lnTo>
                    <a:pt x="139" y="1380"/>
                  </a:lnTo>
                  <a:lnTo>
                    <a:pt x="138" y="1376"/>
                  </a:lnTo>
                  <a:lnTo>
                    <a:pt x="138" y="1376"/>
                  </a:lnTo>
                  <a:lnTo>
                    <a:pt x="136" y="1375"/>
                  </a:lnTo>
                  <a:lnTo>
                    <a:pt x="136" y="1375"/>
                  </a:lnTo>
                  <a:lnTo>
                    <a:pt x="135" y="1373"/>
                  </a:lnTo>
                  <a:lnTo>
                    <a:pt x="135" y="1373"/>
                  </a:lnTo>
                  <a:lnTo>
                    <a:pt x="132" y="1373"/>
                  </a:lnTo>
                  <a:lnTo>
                    <a:pt x="132" y="1373"/>
                  </a:lnTo>
                  <a:lnTo>
                    <a:pt x="130" y="1373"/>
                  </a:lnTo>
                  <a:lnTo>
                    <a:pt x="129" y="1373"/>
                  </a:lnTo>
                  <a:lnTo>
                    <a:pt x="129" y="1372"/>
                  </a:lnTo>
                  <a:lnTo>
                    <a:pt x="129" y="1373"/>
                  </a:lnTo>
                  <a:lnTo>
                    <a:pt x="129" y="1373"/>
                  </a:lnTo>
                  <a:lnTo>
                    <a:pt x="129" y="1372"/>
                  </a:lnTo>
                  <a:lnTo>
                    <a:pt x="129" y="1373"/>
                  </a:lnTo>
                  <a:lnTo>
                    <a:pt x="129" y="1373"/>
                  </a:lnTo>
                  <a:lnTo>
                    <a:pt x="129" y="1373"/>
                  </a:lnTo>
                  <a:lnTo>
                    <a:pt x="129" y="1373"/>
                  </a:lnTo>
                  <a:lnTo>
                    <a:pt x="129" y="1373"/>
                  </a:lnTo>
                  <a:lnTo>
                    <a:pt x="129" y="1373"/>
                  </a:lnTo>
                  <a:lnTo>
                    <a:pt x="129" y="1373"/>
                  </a:lnTo>
                  <a:lnTo>
                    <a:pt x="129" y="1373"/>
                  </a:lnTo>
                  <a:lnTo>
                    <a:pt x="129" y="1373"/>
                  </a:lnTo>
                  <a:lnTo>
                    <a:pt x="129" y="1373"/>
                  </a:lnTo>
                  <a:lnTo>
                    <a:pt x="129" y="1373"/>
                  </a:lnTo>
                  <a:lnTo>
                    <a:pt x="129" y="1373"/>
                  </a:lnTo>
                  <a:lnTo>
                    <a:pt x="129" y="1373"/>
                  </a:lnTo>
                  <a:lnTo>
                    <a:pt x="129" y="1373"/>
                  </a:lnTo>
                  <a:lnTo>
                    <a:pt x="130" y="1370"/>
                  </a:lnTo>
                  <a:lnTo>
                    <a:pt x="130" y="1370"/>
                  </a:lnTo>
                  <a:lnTo>
                    <a:pt x="138" y="1353"/>
                  </a:lnTo>
                  <a:lnTo>
                    <a:pt x="138" y="1353"/>
                  </a:lnTo>
                  <a:lnTo>
                    <a:pt x="142" y="1344"/>
                  </a:lnTo>
                  <a:lnTo>
                    <a:pt x="142" y="1344"/>
                  </a:lnTo>
                  <a:lnTo>
                    <a:pt x="143" y="1337"/>
                  </a:lnTo>
                  <a:lnTo>
                    <a:pt x="143" y="1337"/>
                  </a:lnTo>
                  <a:lnTo>
                    <a:pt x="143" y="1334"/>
                  </a:lnTo>
                  <a:lnTo>
                    <a:pt x="143" y="1334"/>
                  </a:lnTo>
                  <a:lnTo>
                    <a:pt x="140" y="1317"/>
                  </a:lnTo>
                  <a:lnTo>
                    <a:pt x="140" y="1317"/>
                  </a:lnTo>
                  <a:lnTo>
                    <a:pt x="136" y="1296"/>
                  </a:lnTo>
                  <a:lnTo>
                    <a:pt x="136" y="1296"/>
                  </a:lnTo>
                  <a:lnTo>
                    <a:pt x="135" y="1292"/>
                  </a:lnTo>
                  <a:lnTo>
                    <a:pt x="133" y="1289"/>
                  </a:lnTo>
                  <a:lnTo>
                    <a:pt x="133" y="1289"/>
                  </a:lnTo>
                  <a:lnTo>
                    <a:pt x="132" y="1286"/>
                  </a:lnTo>
                  <a:lnTo>
                    <a:pt x="132" y="1286"/>
                  </a:lnTo>
                  <a:lnTo>
                    <a:pt x="130" y="1285"/>
                  </a:lnTo>
                  <a:lnTo>
                    <a:pt x="130" y="1285"/>
                  </a:lnTo>
                  <a:lnTo>
                    <a:pt x="130" y="1285"/>
                  </a:lnTo>
                  <a:lnTo>
                    <a:pt x="132" y="1283"/>
                  </a:lnTo>
                  <a:lnTo>
                    <a:pt x="132" y="1283"/>
                  </a:lnTo>
                  <a:lnTo>
                    <a:pt x="136" y="1280"/>
                  </a:lnTo>
                  <a:lnTo>
                    <a:pt x="140" y="1279"/>
                  </a:lnTo>
                  <a:lnTo>
                    <a:pt x="140" y="1279"/>
                  </a:lnTo>
                  <a:lnTo>
                    <a:pt x="145" y="1279"/>
                  </a:lnTo>
                  <a:lnTo>
                    <a:pt x="145" y="1279"/>
                  </a:lnTo>
                  <a:lnTo>
                    <a:pt x="149" y="1276"/>
                  </a:lnTo>
                  <a:lnTo>
                    <a:pt x="149" y="1276"/>
                  </a:lnTo>
                  <a:lnTo>
                    <a:pt x="154" y="1273"/>
                  </a:lnTo>
                  <a:lnTo>
                    <a:pt x="162" y="1272"/>
                  </a:lnTo>
                  <a:lnTo>
                    <a:pt x="162" y="1272"/>
                  </a:lnTo>
                  <a:lnTo>
                    <a:pt x="168" y="1272"/>
                  </a:lnTo>
                  <a:lnTo>
                    <a:pt x="168" y="1272"/>
                  </a:lnTo>
                  <a:lnTo>
                    <a:pt x="196" y="1273"/>
                  </a:lnTo>
                  <a:lnTo>
                    <a:pt x="196" y="1273"/>
                  </a:lnTo>
                  <a:lnTo>
                    <a:pt x="210" y="1273"/>
                  </a:lnTo>
                  <a:lnTo>
                    <a:pt x="210" y="1273"/>
                  </a:lnTo>
                  <a:lnTo>
                    <a:pt x="211" y="1273"/>
                  </a:lnTo>
                  <a:lnTo>
                    <a:pt x="211" y="1273"/>
                  </a:lnTo>
                  <a:lnTo>
                    <a:pt x="219" y="1275"/>
                  </a:lnTo>
                  <a:lnTo>
                    <a:pt x="227" y="1276"/>
                  </a:lnTo>
                  <a:lnTo>
                    <a:pt x="227" y="1276"/>
                  </a:lnTo>
                  <a:lnTo>
                    <a:pt x="236" y="1277"/>
                  </a:lnTo>
                  <a:lnTo>
                    <a:pt x="245" y="1279"/>
                  </a:lnTo>
                  <a:lnTo>
                    <a:pt x="245" y="1279"/>
                  </a:lnTo>
                  <a:lnTo>
                    <a:pt x="249" y="1277"/>
                  </a:lnTo>
                  <a:lnTo>
                    <a:pt x="249" y="1277"/>
                  </a:lnTo>
                  <a:lnTo>
                    <a:pt x="255" y="1275"/>
                  </a:lnTo>
                  <a:lnTo>
                    <a:pt x="258" y="1269"/>
                  </a:lnTo>
                  <a:lnTo>
                    <a:pt x="258" y="1269"/>
                  </a:lnTo>
                  <a:lnTo>
                    <a:pt x="259" y="1264"/>
                  </a:lnTo>
                  <a:lnTo>
                    <a:pt x="259" y="1259"/>
                  </a:lnTo>
                  <a:lnTo>
                    <a:pt x="259" y="1259"/>
                  </a:lnTo>
                  <a:lnTo>
                    <a:pt x="259" y="1257"/>
                  </a:lnTo>
                  <a:lnTo>
                    <a:pt x="259" y="1257"/>
                  </a:lnTo>
                  <a:lnTo>
                    <a:pt x="259" y="1257"/>
                  </a:lnTo>
                  <a:lnTo>
                    <a:pt x="261" y="1250"/>
                  </a:lnTo>
                  <a:lnTo>
                    <a:pt x="261" y="1250"/>
                  </a:lnTo>
                  <a:lnTo>
                    <a:pt x="262" y="1244"/>
                  </a:lnTo>
                  <a:lnTo>
                    <a:pt x="264" y="1237"/>
                  </a:lnTo>
                  <a:lnTo>
                    <a:pt x="264" y="1237"/>
                  </a:lnTo>
                  <a:lnTo>
                    <a:pt x="262" y="1225"/>
                  </a:lnTo>
                  <a:lnTo>
                    <a:pt x="262" y="1225"/>
                  </a:lnTo>
                  <a:lnTo>
                    <a:pt x="261" y="1218"/>
                  </a:lnTo>
                  <a:lnTo>
                    <a:pt x="258" y="1212"/>
                  </a:lnTo>
                  <a:lnTo>
                    <a:pt x="253" y="1204"/>
                  </a:lnTo>
                  <a:lnTo>
                    <a:pt x="253" y="1204"/>
                  </a:lnTo>
                  <a:lnTo>
                    <a:pt x="249" y="1199"/>
                  </a:lnTo>
                  <a:lnTo>
                    <a:pt x="249" y="1199"/>
                  </a:lnTo>
                  <a:lnTo>
                    <a:pt x="246" y="1196"/>
                  </a:lnTo>
                  <a:lnTo>
                    <a:pt x="246" y="1196"/>
                  </a:lnTo>
                  <a:lnTo>
                    <a:pt x="246" y="1193"/>
                  </a:lnTo>
                  <a:lnTo>
                    <a:pt x="246" y="1193"/>
                  </a:lnTo>
                  <a:lnTo>
                    <a:pt x="246" y="1191"/>
                  </a:lnTo>
                  <a:lnTo>
                    <a:pt x="246" y="1191"/>
                  </a:lnTo>
                  <a:lnTo>
                    <a:pt x="245" y="1186"/>
                  </a:lnTo>
                  <a:lnTo>
                    <a:pt x="245" y="1186"/>
                  </a:lnTo>
                  <a:lnTo>
                    <a:pt x="243" y="1185"/>
                  </a:lnTo>
                  <a:lnTo>
                    <a:pt x="242" y="1183"/>
                  </a:lnTo>
                  <a:lnTo>
                    <a:pt x="242" y="1183"/>
                  </a:lnTo>
                  <a:lnTo>
                    <a:pt x="223" y="1176"/>
                  </a:lnTo>
                  <a:lnTo>
                    <a:pt x="223" y="1176"/>
                  </a:lnTo>
                  <a:lnTo>
                    <a:pt x="213" y="1172"/>
                  </a:lnTo>
                  <a:lnTo>
                    <a:pt x="213" y="1172"/>
                  </a:lnTo>
                  <a:lnTo>
                    <a:pt x="209" y="1170"/>
                  </a:lnTo>
                  <a:lnTo>
                    <a:pt x="209" y="1169"/>
                  </a:lnTo>
                  <a:lnTo>
                    <a:pt x="207" y="1169"/>
                  </a:lnTo>
                  <a:lnTo>
                    <a:pt x="207" y="1169"/>
                  </a:lnTo>
                  <a:lnTo>
                    <a:pt x="207" y="1169"/>
                  </a:lnTo>
                  <a:lnTo>
                    <a:pt x="207" y="1169"/>
                  </a:lnTo>
                  <a:lnTo>
                    <a:pt x="207" y="1169"/>
                  </a:lnTo>
                  <a:lnTo>
                    <a:pt x="207" y="1169"/>
                  </a:lnTo>
                  <a:lnTo>
                    <a:pt x="207" y="1169"/>
                  </a:lnTo>
                  <a:lnTo>
                    <a:pt x="207" y="1169"/>
                  </a:lnTo>
                  <a:lnTo>
                    <a:pt x="206" y="1160"/>
                  </a:lnTo>
                  <a:lnTo>
                    <a:pt x="206" y="1160"/>
                  </a:lnTo>
                  <a:lnTo>
                    <a:pt x="206" y="1157"/>
                  </a:lnTo>
                  <a:lnTo>
                    <a:pt x="206" y="1157"/>
                  </a:lnTo>
                  <a:lnTo>
                    <a:pt x="203" y="1154"/>
                  </a:lnTo>
                  <a:lnTo>
                    <a:pt x="203" y="1154"/>
                  </a:lnTo>
                  <a:lnTo>
                    <a:pt x="203" y="1154"/>
                  </a:lnTo>
                  <a:lnTo>
                    <a:pt x="203" y="1154"/>
                  </a:lnTo>
                  <a:lnTo>
                    <a:pt x="203" y="1154"/>
                  </a:lnTo>
                  <a:lnTo>
                    <a:pt x="203" y="1154"/>
                  </a:lnTo>
                  <a:lnTo>
                    <a:pt x="201" y="1156"/>
                  </a:lnTo>
                  <a:lnTo>
                    <a:pt x="204" y="1156"/>
                  </a:lnTo>
                  <a:lnTo>
                    <a:pt x="204" y="1156"/>
                  </a:lnTo>
                  <a:lnTo>
                    <a:pt x="203" y="1154"/>
                  </a:lnTo>
                  <a:lnTo>
                    <a:pt x="201" y="1156"/>
                  </a:lnTo>
                  <a:lnTo>
                    <a:pt x="204" y="1156"/>
                  </a:lnTo>
                  <a:lnTo>
                    <a:pt x="201" y="1156"/>
                  </a:lnTo>
                  <a:lnTo>
                    <a:pt x="203" y="1156"/>
                  </a:lnTo>
                  <a:lnTo>
                    <a:pt x="203" y="1156"/>
                  </a:lnTo>
                  <a:lnTo>
                    <a:pt x="204" y="1156"/>
                  </a:lnTo>
                  <a:lnTo>
                    <a:pt x="201" y="1156"/>
                  </a:lnTo>
                  <a:lnTo>
                    <a:pt x="203" y="1156"/>
                  </a:lnTo>
                  <a:lnTo>
                    <a:pt x="203" y="1156"/>
                  </a:lnTo>
                  <a:lnTo>
                    <a:pt x="203" y="1156"/>
                  </a:lnTo>
                  <a:lnTo>
                    <a:pt x="203" y="1156"/>
                  </a:lnTo>
                  <a:lnTo>
                    <a:pt x="203" y="1156"/>
                  </a:lnTo>
                  <a:lnTo>
                    <a:pt x="203" y="1156"/>
                  </a:lnTo>
                  <a:lnTo>
                    <a:pt x="203" y="1156"/>
                  </a:lnTo>
                  <a:lnTo>
                    <a:pt x="204" y="1156"/>
                  </a:lnTo>
                  <a:lnTo>
                    <a:pt x="204" y="1156"/>
                  </a:lnTo>
                  <a:lnTo>
                    <a:pt x="217" y="1153"/>
                  </a:lnTo>
                  <a:lnTo>
                    <a:pt x="217" y="1153"/>
                  </a:lnTo>
                  <a:lnTo>
                    <a:pt x="220" y="1153"/>
                  </a:lnTo>
                  <a:lnTo>
                    <a:pt x="220" y="1153"/>
                  </a:lnTo>
                  <a:lnTo>
                    <a:pt x="226" y="1154"/>
                  </a:lnTo>
                  <a:lnTo>
                    <a:pt x="230" y="1156"/>
                  </a:lnTo>
                  <a:lnTo>
                    <a:pt x="230" y="1156"/>
                  </a:lnTo>
                  <a:lnTo>
                    <a:pt x="236" y="1157"/>
                  </a:lnTo>
                  <a:lnTo>
                    <a:pt x="242" y="1159"/>
                  </a:lnTo>
                  <a:lnTo>
                    <a:pt x="242" y="1159"/>
                  </a:lnTo>
                  <a:lnTo>
                    <a:pt x="243" y="1159"/>
                  </a:lnTo>
                  <a:lnTo>
                    <a:pt x="243" y="1159"/>
                  </a:lnTo>
                  <a:lnTo>
                    <a:pt x="252" y="1156"/>
                  </a:lnTo>
                  <a:lnTo>
                    <a:pt x="252" y="1156"/>
                  </a:lnTo>
                  <a:lnTo>
                    <a:pt x="255" y="1154"/>
                  </a:lnTo>
                  <a:lnTo>
                    <a:pt x="255" y="1154"/>
                  </a:lnTo>
                  <a:lnTo>
                    <a:pt x="256" y="1150"/>
                  </a:lnTo>
                  <a:lnTo>
                    <a:pt x="256" y="1150"/>
                  </a:lnTo>
                  <a:lnTo>
                    <a:pt x="256" y="1149"/>
                  </a:lnTo>
                  <a:lnTo>
                    <a:pt x="256" y="1149"/>
                  </a:lnTo>
                  <a:lnTo>
                    <a:pt x="255" y="1141"/>
                  </a:lnTo>
                  <a:lnTo>
                    <a:pt x="255" y="1141"/>
                  </a:lnTo>
                  <a:lnTo>
                    <a:pt x="252" y="1134"/>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6" y="1136"/>
                  </a:lnTo>
                  <a:lnTo>
                    <a:pt x="256" y="1136"/>
                  </a:lnTo>
                  <a:lnTo>
                    <a:pt x="262" y="1138"/>
                  </a:lnTo>
                  <a:lnTo>
                    <a:pt x="262" y="1138"/>
                  </a:lnTo>
                  <a:lnTo>
                    <a:pt x="265" y="1140"/>
                  </a:lnTo>
                  <a:lnTo>
                    <a:pt x="269" y="1141"/>
                  </a:lnTo>
                  <a:lnTo>
                    <a:pt x="269" y="1141"/>
                  </a:lnTo>
                  <a:lnTo>
                    <a:pt x="272" y="1140"/>
                  </a:lnTo>
                  <a:lnTo>
                    <a:pt x="275" y="1138"/>
                  </a:lnTo>
                  <a:lnTo>
                    <a:pt x="275" y="1138"/>
                  </a:lnTo>
                  <a:lnTo>
                    <a:pt x="280" y="1136"/>
                  </a:lnTo>
                  <a:lnTo>
                    <a:pt x="281" y="1131"/>
                  </a:lnTo>
                  <a:lnTo>
                    <a:pt x="281" y="1131"/>
                  </a:lnTo>
                  <a:lnTo>
                    <a:pt x="282" y="1128"/>
                  </a:lnTo>
                  <a:lnTo>
                    <a:pt x="285" y="1127"/>
                  </a:lnTo>
                  <a:lnTo>
                    <a:pt x="285" y="1127"/>
                  </a:lnTo>
                  <a:lnTo>
                    <a:pt x="288" y="1125"/>
                  </a:lnTo>
                  <a:lnTo>
                    <a:pt x="290" y="1124"/>
                  </a:lnTo>
                  <a:lnTo>
                    <a:pt x="290" y="1124"/>
                  </a:lnTo>
                  <a:lnTo>
                    <a:pt x="294" y="1124"/>
                  </a:lnTo>
                  <a:lnTo>
                    <a:pt x="294" y="1124"/>
                  </a:lnTo>
                  <a:lnTo>
                    <a:pt x="297" y="1123"/>
                  </a:lnTo>
                  <a:lnTo>
                    <a:pt x="297" y="1123"/>
                  </a:lnTo>
                  <a:lnTo>
                    <a:pt x="303" y="1115"/>
                  </a:lnTo>
                  <a:lnTo>
                    <a:pt x="303" y="1115"/>
                  </a:lnTo>
                  <a:lnTo>
                    <a:pt x="304" y="1112"/>
                  </a:lnTo>
                  <a:lnTo>
                    <a:pt x="304" y="1112"/>
                  </a:lnTo>
                  <a:lnTo>
                    <a:pt x="306" y="1108"/>
                  </a:lnTo>
                  <a:lnTo>
                    <a:pt x="306" y="1108"/>
                  </a:lnTo>
                  <a:lnTo>
                    <a:pt x="306" y="1104"/>
                  </a:lnTo>
                  <a:lnTo>
                    <a:pt x="306" y="1104"/>
                  </a:lnTo>
                  <a:lnTo>
                    <a:pt x="306" y="1098"/>
                  </a:lnTo>
                  <a:lnTo>
                    <a:pt x="306" y="1098"/>
                  </a:lnTo>
                  <a:lnTo>
                    <a:pt x="306" y="1092"/>
                  </a:lnTo>
                  <a:lnTo>
                    <a:pt x="306" y="1092"/>
                  </a:lnTo>
                  <a:lnTo>
                    <a:pt x="310" y="1088"/>
                  </a:lnTo>
                  <a:lnTo>
                    <a:pt x="310" y="1088"/>
                  </a:lnTo>
                  <a:lnTo>
                    <a:pt x="314" y="1086"/>
                  </a:lnTo>
                  <a:lnTo>
                    <a:pt x="314" y="1086"/>
                  </a:lnTo>
                  <a:lnTo>
                    <a:pt x="314" y="1086"/>
                  </a:lnTo>
                  <a:lnTo>
                    <a:pt x="323" y="1088"/>
                  </a:lnTo>
                  <a:lnTo>
                    <a:pt x="323" y="1088"/>
                  </a:lnTo>
                  <a:lnTo>
                    <a:pt x="326" y="1088"/>
                  </a:lnTo>
                  <a:lnTo>
                    <a:pt x="326" y="1088"/>
                  </a:lnTo>
                  <a:lnTo>
                    <a:pt x="329" y="1086"/>
                  </a:lnTo>
                  <a:lnTo>
                    <a:pt x="335" y="1085"/>
                  </a:lnTo>
                  <a:lnTo>
                    <a:pt x="335" y="1085"/>
                  </a:lnTo>
                  <a:lnTo>
                    <a:pt x="339" y="1081"/>
                  </a:lnTo>
                  <a:lnTo>
                    <a:pt x="342" y="1078"/>
                  </a:lnTo>
                  <a:lnTo>
                    <a:pt x="343" y="1073"/>
                  </a:lnTo>
                  <a:lnTo>
                    <a:pt x="343" y="1073"/>
                  </a:lnTo>
                  <a:lnTo>
                    <a:pt x="345" y="1065"/>
                  </a:lnTo>
                  <a:lnTo>
                    <a:pt x="349" y="1056"/>
                  </a:lnTo>
                  <a:lnTo>
                    <a:pt x="349" y="1056"/>
                  </a:lnTo>
                  <a:lnTo>
                    <a:pt x="353" y="1047"/>
                  </a:lnTo>
                  <a:lnTo>
                    <a:pt x="353" y="1047"/>
                  </a:lnTo>
                  <a:lnTo>
                    <a:pt x="355" y="1046"/>
                  </a:lnTo>
                  <a:lnTo>
                    <a:pt x="356" y="1046"/>
                  </a:lnTo>
                  <a:lnTo>
                    <a:pt x="356" y="1046"/>
                  </a:lnTo>
                  <a:lnTo>
                    <a:pt x="356" y="1046"/>
                  </a:lnTo>
                  <a:lnTo>
                    <a:pt x="356" y="1046"/>
                  </a:lnTo>
                  <a:lnTo>
                    <a:pt x="356" y="1046"/>
                  </a:lnTo>
                  <a:lnTo>
                    <a:pt x="356" y="1046"/>
                  </a:lnTo>
                  <a:lnTo>
                    <a:pt x="355" y="1044"/>
                  </a:lnTo>
                  <a:lnTo>
                    <a:pt x="355" y="1046"/>
                  </a:lnTo>
                  <a:lnTo>
                    <a:pt x="356" y="1046"/>
                  </a:lnTo>
                  <a:lnTo>
                    <a:pt x="355" y="1044"/>
                  </a:lnTo>
                  <a:lnTo>
                    <a:pt x="355" y="1046"/>
                  </a:lnTo>
                  <a:lnTo>
                    <a:pt x="355" y="1046"/>
                  </a:lnTo>
                  <a:lnTo>
                    <a:pt x="358" y="1046"/>
                  </a:lnTo>
                  <a:lnTo>
                    <a:pt x="358" y="1046"/>
                  </a:lnTo>
                  <a:lnTo>
                    <a:pt x="361" y="1044"/>
                  </a:lnTo>
                  <a:lnTo>
                    <a:pt x="361" y="1044"/>
                  </a:lnTo>
                  <a:lnTo>
                    <a:pt x="366" y="1038"/>
                  </a:lnTo>
                  <a:lnTo>
                    <a:pt x="366" y="1038"/>
                  </a:lnTo>
                  <a:lnTo>
                    <a:pt x="369" y="1036"/>
                  </a:lnTo>
                  <a:lnTo>
                    <a:pt x="372" y="1034"/>
                  </a:lnTo>
                  <a:lnTo>
                    <a:pt x="372" y="1034"/>
                  </a:lnTo>
                  <a:lnTo>
                    <a:pt x="378" y="1033"/>
                  </a:lnTo>
                  <a:lnTo>
                    <a:pt x="378" y="1033"/>
                  </a:lnTo>
                  <a:lnTo>
                    <a:pt x="382" y="1033"/>
                  </a:lnTo>
                  <a:lnTo>
                    <a:pt x="387" y="1030"/>
                  </a:lnTo>
                  <a:lnTo>
                    <a:pt x="387" y="1030"/>
                  </a:lnTo>
                  <a:lnTo>
                    <a:pt x="395" y="1023"/>
                  </a:lnTo>
                  <a:lnTo>
                    <a:pt x="395" y="1023"/>
                  </a:lnTo>
                  <a:lnTo>
                    <a:pt x="395" y="1023"/>
                  </a:lnTo>
                  <a:lnTo>
                    <a:pt x="395" y="1023"/>
                  </a:lnTo>
                  <a:lnTo>
                    <a:pt x="398" y="1024"/>
                  </a:lnTo>
                  <a:lnTo>
                    <a:pt x="398" y="1024"/>
                  </a:lnTo>
                  <a:lnTo>
                    <a:pt x="404" y="1027"/>
                  </a:lnTo>
                  <a:lnTo>
                    <a:pt x="404" y="1027"/>
                  </a:lnTo>
                  <a:lnTo>
                    <a:pt x="407" y="1028"/>
                  </a:lnTo>
                  <a:lnTo>
                    <a:pt x="411" y="1028"/>
                  </a:lnTo>
                  <a:lnTo>
                    <a:pt x="411" y="1028"/>
                  </a:lnTo>
                  <a:lnTo>
                    <a:pt x="414" y="1028"/>
                  </a:lnTo>
                  <a:lnTo>
                    <a:pt x="414" y="1028"/>
                  </a:lnTo>
                  <a:lnTo>
                    <a:pt x="417" y="1024"/>
                  </a:lnTo>
                  <a:lnTo>
                    <a:pt x="419" y="1021"/>
                  </a:lnTo>
                  <a:lnTo>
                    <a:pt x="419" y="1021"/>
                  </a:lnTo>
                  <a:lnTo>
                    <a:pt x="420" y="1014"/>
                  </a:lnTo>
                  <a:lnTo>
                    <a:pt x="420" y="1014"/>
                  </a:lnTo>
                  <a:lnTo>
                    <a:pt x="419" y="1007"/>
                  </a:lnTo>
                  <a:lnTo>
                    <a:pt x="419" y="1007"/>
                  </a:lnTo>
                  <a:lnTo>
                    <a:pt x="413" y="978"/>
                  </a:lnTo>
                  <a:lnTo>
                    <a:pt x="413" y="978"/>
                  </a:lnTo>
                  <a:lnTo>
                    <a:pt x="410" y="969"/>
                  </a:lnTo>
                  <a:lnTo>
                    <a:pt x="410" y="969"/>
                  </a:lnTo>
                  <a:lnTo>
                    <a:pt x="408" y="963"/>
                  </a:lnTo>
                  <a:lnTo>
                    <a:pt x="408" y="962"/>
                  </a:lnTo>
                  <a:lnTo>
                    <a:pt x="408" y="962"/>
                  </a:lnTo>
                  <a:lnTo>
                    <a:pt x="410" y="959"/>
                  </a:lnTo>
                  <a:lnTo>
                    <a:pt x="410" y="959"/>
                  </a:lnTo>
                  <a:lnTo>
                    <a:pt x="410" y="947"/>
                  </a:lnTo>
                  <a:lnTo>
                    <a:pt x="410" y="947"/>
                  </a:lnTo>
                  <a:lnTo>
                    <a:pt x="410" y="941"/>
                  </a:lnTo>
                  <a:lnTo>
                    <a:pt x="410" y="941"/>
                  </a:lnTo>
                  <a:lnTo>
                    <a:pt x="411" y="940"/>
                  </a:lnTo>
                  <a:lnTo>
                    <a:pt x="411" y="940"/>
                  </a:lnTo>
                  <a:lnTo>
                    <a:pt x="411" y="940"/>
                  </a:lnTo>
                  <a:lnTo>
                    <a:pt x="411" y="940"/>
                  </a:lnTo>
                  <a:lnTo>
                    <a:pt x="411" y="940"/>
                  </a:lnTo>
                  <a:lnTo>
                    <a:pt x="411" y="940"/>
                  </a:lnTo>
                  <a:lnTo>
                    <a:pt x="411" y="940"/>
                  </a:lnTo>
                  <a:lnTo>
                    <a:pt x="411" y="940"/>
                  </a:lnTo>
                  <a:lnTo>
                    <a:pt x="411" y="940"/>
                  </a:lnTo>
                  <a:lnTo>
                    <a:pt x="414" y="934"/>
                  </a:lnTo>
                  <a:lnTo>
                    <a:pt x="414" y="934"/>
                  </a:lnTo>
                  <a:lnTo>
                    <a:pt x="416" y="931"/>
                  </a:lnTo>
                  <a:lnTo>
                    <a:pt x="416" y="931"/>
                  </a:lnTo>
                  <a:lnTo>
                    <a:pt x="416" y="931"/>
                  </a:lnTo>
                  <a:lnTo>
                    <a:pt x="414" y="930"/>
                  </a:lnTo>
                  <a:lnTo>
                    <a:pt x="414" y="931"/>
                  </a:lnTo>
                  <a:lnTo>
                    <a:pt x="414" y="931"/>
                  </a:lnTo>
                  <a:lnTo>
                    <a:pt x="416" y="931"/>
                  </a:lnTo>
                  <a:lnTo>
                    <a:pt x="414" y="930"/>
                  </a:lnTo>
                  <a:lnTo>
                    <a:pt x="414" y="931"/>
                  </a:lnTo>
                  <a:lnTo>
                    <a:pt x="414" y="930"/>
                  </a:lnTo>
                  <a:lnTo>
                    <a:pt x="414" y="931"/>
                  </a:lnTo>
                  <a:lnTo>
                    <a:pt x="414" y="931"/>
                  </a:lnTo>
                  <a:lnTo>
                    <a:pt x="414" y="930"/>
                  </a:lnTo>
                  <a:lnTo>
                    <a:pt x="414" y="931"/>
                  </a:lnTo>
                  <a:lnTo>
                    <a:pt x="414" y="931"/>
                  </a:lnTo>
                  <a:lnTo>
                    <a:pt x="413" y="931"/>
                  </a:lnTo>
                  <a:lnTo>
                    <a:pt x="414" y="931"/>
                  </a:lnTo>
                  <a:lnTo>
                    <a:pt x="414" y="931"/>
                  </a:lnTo>
                  <a:lnTo>
                    <a:pt x="413" y="931"/>
                  </a:lnTo>
                  <a:lnTo>
                    <a:pt x="413" y="931"/>
                  </a:lnTo>
                  <a:lnTo>
                    <a:pt x="414" y="934"/>
                  </a:lnTo>
                  <a:lnTo>
                    <a:pt x="414" y="934"/>
                  </a:lnTo>
                  <a:lnTo>
                    <a:pt x="417" y="940"/>
                  </a:lnTo>
                  <a:lnTo>
                    <a:pt x="417" y="940"/>
                  </a:lnTo>
                  <a:lnTo>
                    <a:pt x="419" y="941"/>
                  </a:lnTo>
                  <a:lnTo>
                    <a:pt x="419" y="941"/>
                  </a:lnTo>
                  <a:lnTo>
                    <a:pt x="420" y="943"/>
                  </a:lnTo>
                  <a:lnTo>
                    <a:pt x="420" y="943"/>
                  </a:lnTo>
                  <a:lnTo>
                    <a:pt x="421" y="944"/>
                  </a:lnTo>
                  <a:lnTo>
                    <a:pt x="421" y="944"/>
                  </a:lnTo>
                  <a:lnTo>
                    <a:pt x="424" y="943"/>
                  </a:lnTo>
                  <a:lnTo>
                    <a:pt x="424" y="943"/>
                  </a:lnTo>
                  <a:lnTo>
                    <a:pt x="429" y="940"/>
                  </a:lnTo>
                  <a:lnTo>
                    <a:pt x="429" y="940"/>
                  </a:lnTo>
                  <a:lnTo>
                    <a:pt x="432" y="937"/>
                  </a:lnTo>
                  <a:lnTo>
                    <a:pt x="432" y="937"/>
                  </a:lnTo>
                  <a:lnTo>
                    <a:pt x="432" y="933"/>
                  </a:lnTo>
                  <a:lnTo>
                    <a:pt x="432" y="933"/>
                  </a:lnTo>
                  <a:lnTo>
                    <a:pt x="432" y="931"/>
                  </a:lnTo>
                  <a:lnTo>
                    <a:pt x="430" y="928"/>
                  </a:lnTo>
                  <a:lnTo>
                    <a:pt x="430" y="928"/>
                  </a:lnTo>
                  <a:lnTo>
                    <a:pt x="430" y="928"/>
                  </a:lnTo>
                  <a:lnTo>
                    <a:pt x="430" y="928"/>
                  </a:lnTo>
                  <a:lnTo>
                    <a:pt x="430" y="924"/>
                  </a:lnTo>
                  <a:lnTo>
                    <a:pt x="430" y="924"/>
                  </a:lnTo>
                  <a:lnTo>
                    <a:pt x="434" y="921"/>
                  </a:lnTo>
                  <a:lnTo>
                    <a:pt x="434" y="921"/>
                  </a:lnTo>
                  <a:lnTo>
                    <a:pt x="439" y="917"/>
                  </a:lnTo>
                  <a:lnTo>
                    <a:pt x="439" y="917"/>
                  </a:lnTo>
                  <a:lnTo>
                    <a:pt x="442" y="914"/>
                  </a:lnTo>
                  <a:lnTo>
                    <a:pt x="443" y="914"/>
                  </a:lnTo>
                  <a:lnTo>
                    <a:pt x="443" y="914"/>
                  </a:lnTo>
                  <a:lnTo>
                    <a:pt x="443" y="914"/>
                  </a:lnTo>
                  <a:lnTo>
                    <a:pt x="443" y="914"/>
                  </a:lnTo>
                  <a:lnTo>
                    <a:pt x="443" y="914"/>
                  </a:lnTo>
                  <a:lnTo>
                    <a:pt x="443" y="914"/>
                  </a:lnTo>
                  <a:lnTo>
                    <a:pt x="443" y="914"/>
                  </a:lnTo>
                  <a:lnTo>
                    <a:pt x="443" y="912"/>
                  </a:lnTo>
                  <a:lnTo>
                    <a:pt x="442" y="914"/>
                  </a:lnTo>
                  <a:lnTo>
                    <a:pt x="442" y="914"/>
                  </a:lnTo>
                  <a:lnTo>
                    <a:pt x="443" y="914"/>
                  </a:lnTo>
                  <a:lnTo>
                    <a:pt x="443" y="912"/>
                  </a:lnTo>
                  <a:lnTo>
                    <a:pt x="442" y="914"/>
                  </a:lnTo>
                  <a:lnTo>
                    <a:pt x="443" y="912"/>
                  </a:lnTo>
                  <a:lnTo>
                    <a:pt x="442" y="912"/>
                  </a:lnTo>
                  <a:lnTo>
                    <a:pt x="442" y="914"/>
                  </a:lnTo>
                  <a:lnTo>
                    <a:pt x="443" y="912"/>
                  </a:lnTo>
                  <a:lnTo>
                    <a:pt x="442" y="912"/>
                  </a:lnTo>
                  <a:lnTo>
                    <a:pt x="442" y="912"/>
                  </a:lnTo>
                  <a:lnTo>
                    <a:pt x="442" y="912"/>
                  </a:lnTo>
                  <a:lnTo>
                    <a:pt x="442" y="912"/>
                  </a:lnTo>
                  <a:lnTo>
                    <a:pt x="442" y="912"/>
                  </a:lnTo>
                  <a:lnTo>
                    <a:pt x="442" y="912"/>
                  </a:lnTo>
                  <a:lnTo>
                    <a:pt x="442" y="912"/>
                  </a:lnTo>
                  <a:lnTo>
                    <a:pt x="442" y="912"/>
                  </a:lnTo>
                  <a:lnTo>
                    <a:pt x="440" y="923"/>
                  </a:lnTo>
                  <a:lnTo>
                    <a:pt x="440" y="923"/>
                  </a:lnTo>
                  <a:lnTo>
                    <a:pt x="440" y="927"/>
                  </a:lnTo>
                  <a:lnTo>
                    <a:pt x="440" y="927"/>
                  </a:lnTo>
                  <a:lnTo>
                    <a:pt x="439" y="927"/>
                  </a:lnTo>
                  <a:lnTo>
                    <a:pt x="439" y="928"/>
                  </a:lnTo>
                  <a:lnTo>
                    <a:pt x="439" y="928"/>
                  </a:lnTo>
                  <a:lnTo>
                    <a:pt x="439" y="928"/>
                  </a:lnTo>
                  <a:lnTo>
                    <a:pt x="439" y="928"/>
                  </a:lnTo>
                  <a:lnTo>
                    <a:pt x="439" y="928"/>
                  </a:lnTo>
                  <a:lnTo>
                    <a:pt x="439" y="928"/>
                  </a:lnTo>
                  <a:lnTo>
                    <a:pt x="439" y="928"/>
                  </a:lnTo>
                  <a:lnTo>
                    <a:pt x="439" y="928"/>
                  </a:lnTo>
                  <a:lnTo>
                    <a:pt x="437" y="930"/>
                  </a:lnTo>
                  <a:lnTo>
                    <a:pt x="437" y="930"/>
                  </a:lnTo>
                  <a:lnTo>
                    <a:pt x="436" y="933"/>
                  </a:lnTo>
                  <a:lnTo>
                    <a:pt x="436" y="933"/>
                  </a:lnTo>
                  <a:lnTo>
                    <a:pt x="436" y="937"/>
                  </a:lnTo>
                  <a:lnTo>
                    <a:pt x="436" y="937"/>
                  </a:lnTo>
                  <a:lnTo>
                    <a:pt x="436" y="946"/>
                  </a:lnTo>
                  <a:lnTo>
                    <a:pt x="436" y="946"/>
                  </a:lnTo>
                  <a:lnTo>
                    <a:pt x="437" y="949"/>
                  </a:lnTo>
                  <a:lnTo>
                    <a:pt x="437" y="949"/>
                  </a:lnTo>
                  <a:lnTo>
                    <a:pt x="439" y="950"/>
                  </a:lnTo>
                  <a:lnTo>
                    <a:pt x="439" y="950"/>
                  </a:lnTo>
                  <a:lnTo>
                    <a:pt x="442" y="950"/>
                  </a:lnTo>
                  <a:lnTo>
                    <a:pt x="442" y="950"/>
                  </a:lnTo>
                  <a:lnTo>
                    <a:pt x="443" y="950"/>
                  </a:lnTo>
                  <a:lnTo>
                    <a:pt x="443" y="950"/>
                  </a:lnTo>
                  <a:lnTo>
                    <a:pt x="448" y="949"/>
                  </a:lnTo>
                  <a:lnTo>
                    <a:pt x="449" y="949"/>
                  </a:lnTo>
                  <a:lnTo>
                    <a:pt x="449" y="949"/>
                  </a:lnTo>
                  <a:lnTo>
                    <a:pt x="449" y="947"/>
                  </a:lnTo>
                  <a:lnTo>
                    <a:pt x="449" y="949"/>
                  </a:lnTo>
                  <a:lnTo>
                    <a:pt x="449" y="949"/>
                  </a:lnTo>
                  <a:lnTo>
                    <a:pt x="449" y="947"/>
                  </a:lnTo>
                  <a:lnTo>
                    <a:pt x="449" y="949"/>
                  </a:lnTo>
                  <a:lnTo>
                    <a:pt x="449" y="947"/>
                  </a:lnTo>
                  <a:lnTo>
                    <a:pt x="449" y="947"/>
                  </a:lnTo>
                  <a:lnTo>
                    <a:pt x="449" y="949"/>
                  </a:lnTo>
                  <a:lnTo>
                    <a:pt x="449" y="947"/>
                  </a:lnTo>
                  <a:lnTo>
                    <a:pt x="449" y="947"/>
                  </a:lnTo>
                  <a:lnTo>
                    <a:pt x="449" y="947"/>
                  </a:lnTo>
                  <a:lnTo>
                    <a:pt x="449" y="947"/>
                  </a:lnTo>
                  <a:lnTo>
                    <a:pt x="449" y="947"/>
                  </a:lnTo>
                  <a:lnTo>
                    <a:pt x="449" y="947"/>
                  </a:lnTo>
                  <a:lnTo>
                    <a:pt x="449" y="947"/>
                  </a:lnTo>
                  <a:lnTo>
                    <a:pt x="448" y="947"/>
                  </a:lnTo>
                  <a:lnTo>
                    <a:pt x="448" y="947"/>
                  </a:lnTo>
                  <a:lnTo>
                    <a:pt x="448" y="949"/>
                  </a:lnTo>
                  <a:lnTo>
                    <a:pt x="448" y="949"/>
                  </a:lnTo>
                  <a:lnTo>
                    <a:pt x="445" y="950"/>
                  </a:lnTo>
                  <a:lnTo>
                    <a:pt x="439" y="956"/>
                  </a:lnTo>
                  <a:lnTo>
                    <a:pt x="439" y="956"/>
                  </a:lnTo>
                  <a:lnTo>
                    <a:pt x="433" y="963"/>
                  </a:lnTo>
                  <a:lnTo>
                    <a:pt x="433" y="963"/>
                  </a:lnTo>
                  <a:lnTo>
                    <a:pt x="430" y="968"/>
                  </a:lnTo>
                  <a:lnTo>
                    <a:pt x="430" y="968"/>
                  </a:lnTo>
                  <a:lnTo>
                    <a:pt x="429" y="972"/>
                  </a:lnTo>
                  <a:lnTo>
                    <a:pt x="429" y="972"/>
                  </a:lnTo>
                  <a:lnTo>
                    <a:pt x="429" y="973"/>
                  </a:lnTo>
                  <a:lnTo>
                    <a:pt x="429" y="973"/>
                  </a:lnTo>
                  <a:lnTo>
                    <a:pt x="432" y="975"/>
                  </a:lnTo>
                  <a:lnTo>
                    <a:pt x="432" y="975"/>
                  </a:lnTo>
                  <a:lnTo>
                    <a:pt x="440" y="978"/>
                  </a:lnTo>
                  <a:lnTo>
                    <a:pt x="440" y="978"/>
                  </a:lnTo>
                  <a:lnTo>
                    <a:pt x="443" y="979"/>
                  </a:lnTo>
                  <a:lnTo>
                    <a:pt x="443" y="979"/>
                  </a:lnTo>
                  <a:lnTo>
                    <a:pt x="443" y="979"/>
                  </a:lnTo>
                  <a:lnTo>
                    <a:pt x="443" y="979"/>
                  </a:lnTo>
                  <a:lnTo>
                    <a:pt x="443" y="979"/>
                  </a:lnTo>
                  <a:lnTo>
                    <a:pt x="443" y="979"/>
                  </a:lnTo>
                  <a:lnTo>
                    <a:pt x="443" y="979"/>
                  </a:lnTo>
                  <a:lnTo>
                    <a:pt x="445" y="979"/>
                  </a:lnTo>
                  <a:lnTo>
                    <a:pt x="443" y="979"/>
                  </a:lnTo>
                  <a:lnTo>
                    <a:pt x="443" y="979"/>
                  </a:lnTo>
                  <a:lnTo>
                    <a:pt x="445" y="979"/>
                  </a:lnTo>
                  <a:lnTo>
                    <a:pt x="443" y="979"/>
                  </a:lnTo>
                  <a:lnTo>
                    <a:pt x="445" y="979"/>
                  </a:lnTo>
                  <a:lnTo>
                    <a:pt x="443" y="978"/>
                  </a:lnTo>
                  <a:lnTo>
                    <a:pt x="443" y="979"/>
                  </a:lnTo>
                  <a:lnTo>
                    <a:pt x="445" y="979"/>
                  </a:lnTo>
                  <a:lnTo>
                    <a:pt x="443" y="978"/>
                  </a:lnTo>
                  <a:lnTo>
                    <a:pt x="445" y="979"/>
                  </a:lnTo>
                  <a:lnTo>
                    <a:pt x="443" y="978"/>
                  </a:lnTo>
                  <a:lnTo>
                    <a:pt x="443" y="978"/>
                  </a:lnTo>
                  <a:lnTo>
                    <a:pt x="445" y="979"/>
                  </a:lnTo>
                  <a:lnTo>
                    <a:pt x="443" y="978"/>
                  </a:lnTo>
                  <a:lnTo>
                    <a:pt x="443" y="978"/>
                  </a:lnTo>
                  <a:lnTo>
                    <a:pt x="443" y="978"/>
                  </a:lnTo>
                  <a:lnTo>
                    <a:pt x="440" y="979"/>
                  </a:lnTo>
                  <a:lnTo>
                    <a:pt x="440" y="979"/>
                  </a:lnTo>
                  <a:lnTo>
                    <a:pt x="434" y="979"/>
                  </a:lnTo>
                  <a:lnTo>
                    <a:pt x="434" y="979"/>
                  </a:lnTo>
                  <a:lnTo>
                    <a:pt x="432" y="979"/>
                  </a:lnTo>
                  <a:lnTo>
                    <a:pt x="432" y="979"/>
                  </a:lnTo>
                  <a:lnTo>
                    <a:pt x="430" y="981"/>
                  </a:lnTo>
                  <a:lnTo>
                    <a:pt x="429" y="982"/>
                  </a:lnTo>
                  <a:lnTo>
                    <a:pt x="429" y="982"/>
                  </a:lnTo>
                  <a:lnTo>
                    <a:pt x="429" y="983"/>
                  </a:lnTo>
                  <a:lnTo>
                    <a:pt x="429" y="983"/>
                  </a:lnTo>
                  <a:lnTo>
                    <a:pt x="429" y="985"/>
                  </a:lnTo>
                  <a:lnTo>
                    <a:pt x="429" y="985"/>
                  </a:lnTo>
                  <a:lnTo>
                    <a:pt x="433" y="994"/>
                  </a:lnTo>
                  <a:lnTo>
                    <a:pt x="433" y="994"/>
                  </a:lnTo>
                  <a:lnTo>
                    <a:pt x="436" y="996"/>
                  </a:lnTo>
                  <a:lnTo>
                    <a:pt x="436" y="996"/>
                  </a:lnTo>
                  <a:lnTo>
                    <a:pt x="436" y="998"/>
                  </a:lnTo>
                  <a:lnTo>
                    <a:pt x="436" y="998"/>
                  </a:lnTo>
                  <a:lnTo>
                    <a:pt x="436" y="998"/>
                  </a:lnTo>
                  <a:lnTo>
                    <a:pt x="437" y="998"/>
                  </a:lnTo>
                  <a:lnTo>
                    <a:pt x="436" y="998"/>
                  </a:lnTo>
                  <a:lnTo>
                    <a:pt x="436" y="998"/>
                  </a:lnTo>
                  <a:lnTo>
                    <a:pt x="437" y="998"/>
                  </a:lnTo>
                  <a:lnTo>
                    <a:pt x="436" y="998"/>
                  </a:lnTo>
                  <a:lnTo>
                    <a:pt x="437" y="998"/>
                  </a:lnTo>
                  <a:lnTo>
                    <a:pt x="437" y="998"/>
                  </a:lnTo>
                  <a:lnTo>
                    <a:pt x="436" y="998"/>
                  </a:lnTo>
                  <a:lnTo>
                    <a:pt x="437" y="998"/>
                  </a:lnTo>
                  <a:lnTo>
                    <a:pt x="437" y="998"/>
                  </a:lnTo>
                  <a:lnTo>
                    <a:pt x="439" y="998"/>
                  </a:lnTo>
                  <a:lnTo>
                    <a:pt x="437" y="996"/>
                  </a:lnTo>
                  <a:lnTo>
                    <a:pt x="437" y="998"/>
                  </a:lnTo>
                  <a:lnTo>
                    <a:pt x="439" y="998"/>
                  </a:lnTo>
                  <a:lnTo>
                    <a:pt x="437" y="996"/>
                  </a:lnTo>
                  <a:lnTo>
                    <a:pt x="437" y="996"/>
                  </a:lnTo>
                  <a:lnTo>
                    <a:pt x="436" y="999"/>
                  </a:lnTo>
                  <a:lnTo>
                    <a:pt x="436" y="999"/>
                  </a:lnTo>
                  <a:lnTo>
                    <a:pt x="434" y="1001"/>
                  </a:lnTo>
                  <a:lnTo>
                    <a:pt x="434" y="1001"/>
                  </a:lnTo>
                  <a:lnTo>
                    <a:pt x="436" y="1007"/>
                  </a:lnTo>
                  <a:lnTo>
                    <a:pt x="436" y="1007"/>
                  </a:lnTo>
                  <a:lnTo>
                    <a:pt x="439" y="1010"/>
                  </a:lnTo>
                  <a:lnTo>
                    <a:pt x="439" y="1010"/>
                  </a:lnTo>
                  <a:lnTo>
                    <a:pt x="442" y="1010"/>
                  </a:lnTo>
                  <a:lnTo>
                    <a:pt x="442" y="1010"/>
                  </a:lnTo>
                  <a:lnTo>
                    <a:pt x="443" y="1010"/>
                  </a:lnTo>
                  <a:lnTo>
                    <a:pt x="443" y="1010"/>
                  </a:lnTo>
                  <a:lnTo>
                    <a:pt x="450" y="1007"/>
                  </a:lnTo>
                  <a:lnTo>
                    <a:pt x="450" y="1007"/>
                  </a:lnTo>
                  <a:lnTo>
                    <a:pt x="453" y="1005"/>
                  </a:lnTo>
                  <a:lnTo>
                    <a:pt x="453" y="1005"/>
                  </a:lnTo>
                  <a:lnTo>
                    <a:pt x="456" y="1004"/>
                  </a:lnTo>
                  <a:lnTo>
                    <a:pt x="456" y="1004"/>
                  </a:lnTo>
                  <a:lnTo>
                    <a:pt x="455" y="1004"/>
                  </a:lnTo>
                  <a:lnTo>
                    <a:pt x="456" y="1004"/>
                  </a:lnTo>
                  <a:lnTo>
                    <a:pt x="456" y="1004"/>
                  </a:lnTo>
                  <a:lnTo>
                    <a:pt x="455" y="1004"/>
                  </a:lnTo>
                  <a:lnTo>
                    <a:pt x="456" y="1002"/>
                  </a:lnTo>
                  <a:lnTo>
                    <a:pt x="455" y="1004"/>
                  </a:lnTo>
                  <a:lnTo>
                    <a:pt x="455" y="1004"/>
                  </a:lnTo>
                  <a:lnTo>
                    <a:pt x="456" y="1002"/>
                  </a:lnTo>
                  <a:lnTo>
                    <a:pt x="455" y="1004"/>
                  </a:lnTo>
                  <a:lnTo>
                    <a:pt x="455" y="1004"/>
                  </a:lnTo>
                  <a:lnTo>
                    <a:pt x="455" y="1004"/>
                  </a:lnTo>
                  <a:lnTo>
                    <a:pt x="455" y="1007"/>
                  </a:lnTo>
                  <a:lnTo>
                    <a:pt x="455" y="1007"/>
                  </a:lnTo>
                  <a:lnTo>
                    <a:pt x="453" y="1011"/>
                  </a:lnTo>
                  <a:lnTo>
                    <a:pt x="453" y="1011"/>
                  </a:lnTo>
                  <a:lnTo>
                    <a:pt x="455" y="1014"/>
                  </a:lnTo>
                  <a:lnTo>
                    <a:pt x="455" y="1014"/>
                  </a:lnTo>
                  <a:lnTo>
                    <a:pt x="456" y="1015"/>
                  </a:lnTo>
                  <a:lnTo>
                    <a:pt x="456" y="1015"/>
                  </a:lnTo>
                  <a:lnTo>
                    <a:pt x="458" y="1015"/>
                  </a:lnTo>
                  <a:lnTo>
                    <a:pt x="459" y="1015"/>
                  </a:lnTo>
                  <a:lnTo>
                    <a:pt x="459" y="1015"/>
                  </a:lnTo>
                  <a:lnTo>
                    <a:pt x="465" y="1012"/>
                  </a:lnTo>
                  <a:lnTo>
                    <a:pt x="465" y="1012"/>
                  </a:lnTo>
                  <a:lnTo>
                    <a:pt x="472" y="1008"/>
                  </a:lnTo>
                  <a:lnTo>
                    <a:pt x="472" y="1008"/>
                  </a:lnTo>
                  <a:lnTo>
                    <a:pt x="476" y="1007"/>
                  </a:lnTo>
                  <a:lnTo>
                    <a:pt x="479" y="1005"/>
                  </a:lnTo>
                  <a:lnTo>
                    <a:pt x="479" y="1005"/>
                  </a:lnTo>
                  <a:lnTo>
                    <a:pt x="479" y="1005"/>
                  </a:lnTo>
                  <a:lnTo>
                    <a:pt x="481" y="1007"/>
                  </a:lnTo>
                  <a:lnTo>
                    <a:pt x="484" y="1008"/>
                  </a:lnTo>
                  <a:lnTo>
                    <a:pt x="484" y="1008"/>
                  </a:lnTo>
                  <a:lnTo>
                    <a:pt x="487" y="1011"/>
                  </a:lnTo>
                  <a:lnTo>
                    <a:pt x="487" y="1011"/>
                  </a:lnTo>
                  <a:lnTo>
                    <a:pt x="488" y="1011"/>
                  </a:lnTo>
                  <a:lnTo>
                    <a:pt x="488" y="1011"/>
                  </a:lnTo>
                  <a:lnTo>
                    <a:pt x="490" y="1012"/>
                  </a:lnTo>
                  <a:lnTo>
                    <a:pt x="490" y="1012"/>
                  </a:lnTo>
                  <a:lnTo>
                    <a:pt x="492" y="1011"/>
                  </a:lnTo>
                  <a:lnTo>
                    <a:pt x="492" y="1011"/>
                  </a:lnTo>
                  <a:lnTo>
                    <a:pt x="492" y="1011"/>
                  </a:lnTo>
                  <a:lnTo>
                    <a:pt x="492" y="1011"/>
                  </a:lnTo>
                  <a:lnTo>
                    <a:pt x="497" y="1005"/>
                  </a:lnTo>
                  <a:lnTo>
                    <a:pt x="497" y="1005"/>
                  </a:lnTo>
                  <a:lnTo>
                    <a:pt x="498" y="1004"/>
                  </a:lnTo>
                  <a:lnTo>
                    <a:pt x="498" y="1004"/>
                  </a:lnTo>
                  <a:lnTo>
                    <a:pt x="498" y="1004"/>
                  </a:lnTo>
                  <a:lnTo>
                    <a:pt x="497" y="1002"/>
                  </a:lnTo>
                  <a:lnTo>
                    <a:pt x="497" y="1004"/>
                  </a:lnTo>
                  <a:lnTo>
                    <a:pt x="497" y="1004"/>
                  </a:lnTo>
                  <a:lnTo>
                    <a:pt x="498" y="1004"/>
                  </a:lnTo>
                  <a:lnTo>
                    <a:pt x="497" y="1002"/>
                  </a:lnTo>
                  <a:lnTo>
                    <a:pt x="497" y="1004"/>
                  </a:lnTo>
                  <a:lnTo>
                    <a:pt x="497" y="1002"/>
                  </a:lnTo>
                  <a:lnTo>
                    <a:pt x="495" y="1004"/>
                  </a:lnTo>
                  <a:lnTo>
                    <a:pt x="495" y="1004"/>
                  </a:lnTo>
                  <a:lnTo>
                    <a:pt x="497" y="1004"/>
                  </a:lnTo>
                  <a:lnTo>
                    <a:pt x="497" y="1002"/>
                  </a:lnTo>
                  <a:lnTo>
                    <a:pt x="495" y="1004"/>
                  </a:lnTo>
                  <a:lnTo>
                    <a:pt x="497" y="1002"/>
                  </a:lnTo>
                  <a:lnTo>
                    <a:pt x="495" y="1002"/>
                  </a:lnTo>
                  <a:lnTo>
                    <a:pt x="495" y="1004"/>
                  </a:lnTo>
                  <a:lnTo>
                    <a:pt x="497" y="1002"/>
                  </a:lnTo>
                  <a:lnTo>
                    <a:pt x="495" y="1002"/>
                  </a:lnTo>
                  <a:lnTo>
                    <a:pt x="495" y="1002"/>
                  </a:lnTo>
                  <a:lnTo>
                    <a:pt x="495" y="1002"/>
                  </a:lnTo>
                  <a:lnTo>
                    <a:pt x="495" y="1002"/>
                  </a:lnTo>
                  <a:lnTo>
                    <a:pt x="495" y="1002"/>
                  </a:lnTo>
                  <a:lnTo>
                    <a:pt x="495" y="1002"/>
                  </a:lnTo>
                  <a:lnTo>
                    <a:pt x="495" y="1002"/>
                  </a:lnTo>
                  <a:lnTo>
                    <a:pt x="495" y="1005"/>
                  </a:lnTo>
                  <a:lnTo>
                    <a:pt x="495" y="1005"/>
                  </a:lnTo>
                  <a:lnTo>
                    <a:pt x="498" y="1011"/>
                  </a:lnTo>
                  <a:lnTo>
                    <a:pt x="498" y="1011"/>
                  </a:lnTo>
                  <a:lnTo>
                    <a:pt x="500" y="1014"/>
                  </a:lnTo>
                  <a:lnTo>
                    <a:pt x="500" y="1014"/>
                  </a:lnTo>
                  <a:lnTo>
                    <a:pt x="504" y="1015"/>
                  </a:lnTo>
                  <a:lnTo>
                    <a:pt x="504" y="1015"/>
                  </a:lnTo>
                  <a:lnTo>
                    <a:pt x="517" y="1014"/>
                  </a:lnTo>
                  <a:lnTo>
                    <a:pt x="523" y="1012"/>
                  </a:lnTo>
                  <a:lnTo>
                    <a:pt x="530" y="1008"/>
                  </a:lnTo>
                  <a:lnTo>
                    <a:pt x="530" y="1008"/>
                  </a:lnTo>
                  <a:lnTo>
                    <a:pt x="537" y="1005"/>
                  </a:lnTo>
                  <a:lnTo>
                    <a:pt x="537" y="1005"/>
                  </a:lnTo>
                  <a:lnTo>
                    <a:pt x="556" y="999"/>
                  </a:lnTo>
                  <a:lnTo>
                    <a:pt x="556" y="999"/>
                  </a:lnTo>
                  <a:lnTo>
                    <a:pt x="571" y="998"/>
                  </a:lnTo>
                  <a:lnTo>
                    <a:pt x="571" y="998"/>
                  </a:lnTo>
                  <a:lnTo>
                    <a:pt x="574" y="998"/>
                  </a:lnTo>
                  <a:lnTo>
                    <a:pt x="574" y="998"/>
                  </a:lnTo>
                  <a:lnTo>
                    <a:pt x="576" y="1002"/>
                  </a:lnTo>
                  <a:lnTo>
                    <a:pt x="576" y="1002"/>
                  </a:lnTo>
                  <a:lnTo>
                    <a:pt x="579" y="1005"/>
                  </a:lnTo>
                  <a:lnTo>
                    <a:pt x="579" y="1005"/>
                  </a:lnTo>
                  <a:lnTo>
                    <a:pt x="581" y="1007"/>
                  </a:lnTo>
                  <a:lnTo>
                    <a:pt x="582" y="1008"/>
                  </a:lnTo>
                  <a:lnTo>
                    <a:pt x="584" y="1008"/>
                  </a:lnTo>
                  <a:lnTo>
                    <a:pt x="584" y="1008"/>
                  </a:lnTo>
                  <a:lnTo>
                    <a:pt x="589" y="1005"/>
                  </a:lnTo>
                  <a:lnTo>
                    <a:pt x="594" y="1002"/>
                  </a:lnTo>
                  <a:lnTo>
                    <a:pt x="594" y="1002"/>
                  </a:lnTo>
                  <a:lnTo>
                    <a:pt x="597" y="998"/>
                  </a:lnTo>
                  <a:lnTo>
                    <a:pt x="600" y="994"/>
                  </a:lnTo>
                  <a:lnTo>
                    <a:pt x="600" y="994"/>
                  </a:lnTo>
                  <a:lnTo>
                    <a:pt x="601" y="991"/>
                  </a:lnTo>
                  <a:lnTo>
                    <a:pt x="601" y="991"/>
                  </a:lnTo>
                  <a:lnTo>
                    <a:pt x="608" y="982"/>
                  </a:lnTo>
                  <a:lnTo>
                    <a:pt x="613" y="976"/>
                  </a:lnTo>
                  <a:lnTo>
                    <a:pt x="614" y="969"/>
                  </a:lnTo>
                  <a:lnTo>
                    <a:pt x="614" y="969"/>
                  </a:lnTo>
                  <a:lnTo>
                    <a:pt x="616" y="959"/>
                  </a:lnTo>
                  <a:lnTo>
                    <a:pt x="616" y="949"/>
                  </a:lnTo>
                  <a:lnTo>
                    <a:pt x="616" y="949"/>
                  </a:lnTo>
                  <a:lnTo>
                    <a:pt x="616" y="940"/>
                  </a:lnTo>
                  <a:lnTo>
                    <a:pt x="616" y="940"/>
                  </a:lnTo>
                  <a:lnTo>
                    <a:pt x="617" y="936"/>
                  </a:lnTo>
                  <a:lnTo>
                    <a:pt x="617" y="936"/>
                  </a:lnTo>
                  <a:lnTo>
                    <a:pt x="621" y="928"/>
                  </a:lnTo>
                  <a:lnTo>
                    <a:pt x="621" y="928"/>
                  </a:lnTo>
                  <a:lnTo>
                    <a:pt x="623" y="920"/>
                  </a:lnTo>
                  <a:lnTo>
                    <a:pt x="623" y="920"/>
                  </a:lnTo>
                  <a:lnTo>
                    <a:pt x="624" y="918"/>
                  </a:lnTo>
                  <a:lnTo>
                    <a:pt x="624" y="918"/>
                  </a:lnTo>
                  <a:lnTo>
                    <a:pt x="629" y="914"/>
                  </a:lnTo>
                  <a:lnTo>
                    <a:pt x="629" y="914"/>
                  </a:lnTo>
                  <a:lnTo>
                    <a:pt x="634" y="912"/>
                  </a:lnTo>
                  <a:lnTo>
                    <a:pt x="634" y="912"/>
                  </a:lnTo>
                  <a:lnTo>
                    <a:pt x="634" y="912"/>
                  </a:lnTo>
                  <a:lnTo>
                    <a:pt x="634" y="912"/>
                  </a:lnTo>
                  <a:lnTo>
                    <a:pt x="634" y="912"/>
                  </a:lnTo>
                  <a:lnTo>
                    <a:pt x="634" y="912"/>
                  </a:lnTo>
                  <a:lnTo>
                    <a:pt x="634" y="912"/>
                  </a:lnTo>
                  <a:lnTo>
                    <a:pt x="634" y="912"/>
                  </a:lnTo>
                  <a:lnTo>
                    <a:pt x="636" y="914"/>
                  </a:lnTo>
                  <a:lnTo>
                    <a:pt x="636" y="914"/>
                  </a:lnTo>
                  <a:lnTo>
                    <a:pt x="644" y="924"/>
                  </a:lnTo>
                  <a:lnTo>
                    <a:pt x="644" y="924"/>
                  </a:lnTo>
                  <a:lnTo>
                    <a:pt x="650" y="931"/>
                  </a:lnTo>
                  <a:lnTo>
                    <a:pt x="650" y="931"/>
                  </a:lnTo>
                  <a:lnTo>
                    <a:pt x="653" y="933"/>
                  </a:lnTo>
                  <a:lnTo>
                    <a:pt x="653" y="933"/>
                  </a:lnTo>
                  <a:lnTo>
                    <a:pt x="655" y="934"/>
                  </a:lnTo>
                  <a:lnTo>
                    <a:pt x="655" y="934"/>
                  </a:lnTo>
                  <a:lnTo>
                    <a:pt x="656" y="934"/>
                  </a:lnTo>
                  <a:lnTo>
                    <a:pt x="656" y="934"/>
                  </a:lnTo>
                  <a:lnTo>
                    <a:pt x="659" y="934"/>
                  </a:lnTo>
                  <a:lnTo>
                    <a:pt x="662" y="933"/>
                  </a:lnTo>
                  <a:lnTo>
                    <a:pt x="662" y="933"/>
                  </a:lnTo>
                  <a:lnTo>
                    <a:pt x="665" y="928"/>
                  </a:lnTo>
                  <a:lnTo>
                    <a:pt x="668" y="924"/>
                  </a:lnTo>
                  <a:lnTo>
                    <a:pt x="668" y="924"/>
                  </a:lnTo>
                  <a:lnTo>
                    <a:pt x="669" y="920"/>
                  </a:lnTo>
                  <a:lnTo>
                    <a:pt x="671" y="914"/>
                  </a:lnTo>
                  <a:lnTo>
                    <a:pt x="671" y="914"/>
                  </a:lnTo>
                  <a:lnTo>
                    <a:pt x="671" y="911"/>
                  </a:lnTo>
                  <a:lnTo>
                    <a:pt x="671" y="911"/>
                  </a:lnTo>
                  <a:lnTo>
                    <a:pt x="671" y="904"/>
                  </a:lnTo>
                  <a:lnTo>
                    <a:pt x="669" y="898"/>
                  </a:lnTo>
                  <a:lnTo>
                    <a:pt x="669" y="898"/>
                  </a:lnTo>
                  <a:lnTo>
                    <a:pt x="668" y="892"/>
                  </a:lnTo>
                  <a:lnTo>
                    <a:pt x="668" y="892"/>
                  </a:lnTo>
                  <a:lnTo>
                    <a:pt x="663" y="886"/>
                  </a:lnTo>
                  <a:lnTo>
                    <a:pt x="663" y="886"/>
                  </a:lnTo>
                  <a:lnTo>
                    <a:pt x="660" y="885"/>
                  </a:lnTo>
                  <a:lnTo>
                    <a:pt x="659" y="881"/>
                  </a:lnTo>
                  <a:lnTo>
                    <a:pt x="659" y="881"/>
                  </a:lnTo>
                  <a:lnTo>
                    <a:pt x="658" y="875"/>
                  </a:lnTo>
                  <a:lnTo>
                    <a:pt x="656" y="870"/>
                  </a:lnTo>
                  <a:lnTo>
                    <a:pt x="656" y="869"/>
                  </a:lnTo>
                  <a:lnTo>
                    <a:pt x="656" y="869"/>
                  </a:lnTo>
                  <a:lnTo>
                    <a:pt x="658" y="868"/>
                  </a:lnTo>
                  <a:lnTo>
                    <a:pt x="659" y="865"/>
                  </a:lnTo>
                  <a:lnTo>
                    <a:pt x="659" y="865"/>
                  </a:lnTo>
                  <a:lnTo>
                    <a:pt x="663" y="862"/>
                  </a:lnTo>
                  <a:lnTo>
                    <a:pt x="669" y="859"/>
                  </a:lnTo>
                  <a:lnTo>
                    <a:pt x="669" y="859"/>
                  </a:lnTo>
                  <a:lnTo>
                    <a:pt x="679" y="856"/>
                  </a:lnTo>
                  <a:lnTo>
                    <a:pt x="679" y="856"/>
                  </a:lnTo>
                  <a:lnTo>
                    <a:pt x="684" y="856"/>
                  </a:lnTo>
                  <a:lnTo>
                    <a:pt x="684" y="856"/>
                  </a:lnTo>
                  <a:lnTo>
                    <a:pt x="717" y="857"/>
                  </a:lnTo>
                  <a:lnTo>
                    <a:pt x="717" y="857"/>
                  </a:lnTo>
                  <a:lnTo>
                    <a:pt x="723" y="856"/>
                  </a:lnTo>
                  <a:lnTo>
                    <a:pt x="726" y="856"/>
                  </a:lnTo>
                  <a:lnTo>
                    <a:pt x="726" y="856"/>
                  </a:lnTo>
                  <a:lnTo>
                    <a:pt x="728" y="853"/>
                  </a:lnTo>
                  <a:lnTo>
                    <a:pt x="728" y="853"/>
                  </a:lnTo>
                  <a:lnTo>
                    <a:pt x="730" y="850"/>
                  </a:lnTo>
                  <a:lnTo>
                    <a:pt x="730" y="850"/>
                  </a:lnTo>
                  <a:lnTo>
                    <a:pt x="728" y="846"/>
                  </a:lnTo>
                  <a:lnTo>
                    <a:pt x="728" y="846"/>
                  </a:lnTo>
                  <a:lnTo>
                    <a:pt x="728" y="846"/>
                  </a:lnTo>
                  <a:lnTo>
                    <a:pt x="728" y="846"/>
                  </a:lnTo>
                  <a:lnTo>
                    <a:pt x="728" y="846"/>
                  </a:lnTo>
                  <a:lnTo>
                    <a:pt x="728" y="846"/>
                  </a:lnTo>
                  <a:lnTo>
                    <a:pt x="728" y="846"/>
                  </a:lnTo>
                  <a:lnTo>
                    <a:pt x="728" y="846"/>
                  </a:lnTo>
                  <a:lnTo>
                    <a:pt x="727" y="846"/>
                  </a:lnTo>
                  <a:lnTo>
                    <a:pt x="728" y="847"/>
                  </a:lnTo>
                  <a:lnTo>
                    <a:pt x="728" y="846"/>
                  </a:lnTo>
                  <a:lnTo>
                    <a:pt x="727" y="846"/>
                  </a:lnTo>
                  <a:lnTo>
                    <a:pt x="728" y="847"/>
                  </a:lnTo>
                  <a:lnTo>
                    <a:pt x="728" y="847"/>
                  </a:lnTo>
                  <a:lnTo>
                    <a:pt x="728" y="847"/>
                  </a:lnTo>
                  <a:lnTo>
                    <a:pt x="730" y="847"/>
                  </a:lnTo>
                  <a:lnTo>
                    <a:pt x="730" y="847"/>
                  </a:lnTo>
                  <a:lnTo>
                    <a:pt x="736" y="846"/>
                  </a:lnTo>
                  <a:lnTo>
                    <a:pt x="736" y="846"/>
                  </a:lnTo>
                  <a:lnTo>
                    <a:pt x="743" y="844"/>
                  </a:lnTo>
                  <a:lnTo>
                    <a:pt x="743" y="844"/>
                  </a:lnTo>
                  <a:lnTo>
                    <a:pt x="747" y="843"/>
                  </a:lnTo>
                  <a:lnTo>
                    <a:pt x="747" y="843"/>
                  </a:lnTo>
                  <a:lnTo>
                    <a:pt x="749" y="840"/>
                  </a:lnTo>
                  <a:lnTo>
                    <a:pt x="749" y="837"/>
                  </a:lnTo>
                  <a:lnTo>
                    <a:pt x="749" y="837"/>
                  </a:lnTo>
                  <a:lnTo>
                    <a:pt x="747" y="833"/>
                  </a:lnTo>
                  <a:lnTo>
                    <a:pt x="744" y="830"/>
                  </a:lnTo>
                  <a:lnTo>
                    <a:pt x="744" y="830"/>
                  </a:lnTo>
                  <a:lnTo>
                    <a:pt x="740" y="828"/>
                  </a:lnTo>
                  <a:lnTo>
                    <a:pt x="736" y="828"/>
                  </a:lnTo>
                  <a:lnTo>
                    <a:pt x="736" y="828"/>
                  </a:lnTo>
                  <a:lnTo>
                    <a:pt x="734" y="827"/>
                  </a:lnTo>
                  <a:lnTo>
                    <a:pt x="734" y="827"/>
                  </a:lnTo>
                  <a:lnTo>
                    <a:pt x="734" y="828"/>
                  </a:lnTo>
                  <a:lnTo>
                    <a:pt x="734" y="827"/>
                  </a:lnTo>
                  <a:lnTo>
                    <a:pt x="734" y="827"/>
                  </a:lnTo>
                  <a:lnTo>
                    <a:pt x="734" y="828"/>
                  </a:lnTo>
                  <a:lnTo>
                    <a:pt x="734" y="827"/>
                  </a:lnTo>
                  <a:lnTo>
                    <a:pt x="734" y="827"/>
                  </a:lnTo>
                  <a:lnTo>
                    <a:pt x="734" y="827"/>
                  </a:lnTo>
                  <a:lnTo>
                    <a:pt x="734" y="826"/>
                  </a:lnTo>
                  <a:lnTo>
                    <a:pt x="734" y="826"/>
                  </a:lnTo>
                  <a:lnTo>
                    <a:pt x="734" y="821"/>
                  </a:lnTo>
                  <a:lnTo>
                    <a:pt x="734" y="821"/>
                  </a:lnTo>
                  <a:lnTo>
                    <a:pt x="734" y="818"/>
                  </a:lnTo>
                  <a:lnTo>
                    <a:pt x="734" y="818"/>
                  </a:lnTo>
                  <a:lnTo>
                    <a:pt x="733" y="817"/>
                  </a:lnTo>
                  <a:lnTo>
                    <a:pt x="733" y="817"/>
                  </a:lnTo>
                  <a:lnTo>
                    <a:pt x="731" y="817"/>
                  </a:lnTo>
                  <a:lnTo>
                    <a:pt x="731" y="817"/>
                  </a:lnTo>
                  <a:lnTo>
                    <a:pt x="727" y="818"/>
                  </a:lnTo>
                  <a:lnTo>
                    <a:pt x="727" y="818"/>
                  </a:lnTo>
                  <a:lnTo>
                    <a:pt x="724" y="820"/>
                  </a:lnTo>
                  <a:lnTo>
                    <a:pt x="724" y="820"/>
                  </a:lnTo>
                  <a:lnTo>
                    <a:pt x="720" y="821"/>
                  </a:lnTo>
                  <a:lnTo>
                    <a:pt x="715" y="821"/>
                  </a:lnTo>
                  <a:lnTo>
                    <a:pt x="715" y="821"/>
                  </a:lnTo>
                  <a:lnTo>
                    <a:pt x="713" y="821"/>
                  </a:lnTo>
                  <a:lnTo>
                    <a:pt x="713" y="821"/>
                  </a:lnTo>
                  <a:lnTo>
                    <a:pt x="708" y="820"/>
                  </a:lnTo>
                  <a:lnTo>
                    <a:pt x="708" y="820"/>
                  </a:lnTo>
                  <a:lnTo>
                    <a:pt x="704" y="821"/>
                  </a:lnTo>
                  <a:lnTo>
                    <a:pt x="700" y="823"/>
                  </a:lnTo>
                  <a:lnTo>
                    <a:pt x="700" y="823"/>
                  </a:lnTo>
                  <a:lnTo>
                    <a:pt x="695" y="826"/>
                  </a:lnTo>
                  <a:lnTo>
                    <a:pt x="689" y="827"/>
                  </a:lnTo>
                  <a:lnTo>
                    <a:pt x="689" y="827"/>
                  </a:lnTo>
                  <a:lnTo>
                    <a:pt x="676" y="828"/>
                  </a:lnTo>
                  <a:lnTo>
                    <a:pt x="676" y="828"/>
                  </a:lnTo>
                  <a:lnTo>
                    <a:pt x="669" y="830"/>
                  </a:lnTo>
                  <a:lnTo>
                    <a:pt x="665" y="831"/>
                  </a:lnTo>
                  <a:lnTo>
                    <a:pt x="665" y="831"/>
                  </a:lnTo>
                  <a:lnTo>
                    <a:pt x="660" y="836"/>
                  </a:lnTo>
                  <a:lnTo>
                    <a:pt x="660" y="836"/>
                  </a:lnTo>
                  <a:lnTo>
                    <a:pt x="658" y="836"/>
                  </a:lnTo>
                  <a:lnTo>
                    <a:pt x="658" y="836"/>
                  </a:lnTo>
                  <a:lnTo>
                    <a:pt x="653" y="836"/>
                  </a:lnTo>
                  <a:lnTo>
                    <a:pt x="653" y="836"/>
                  </a:lnTo>
                  <a:lnTo>
                    <a:pt x="647" y="836"/>
                  </a:lnTo>
                  <a:lnTo>
                    <a:pt x="643" y="834"/>
                  </a:lnTo>
                  <a:lnTo>
                    <a:pt x="643" y="834"/>
                  </a:lnTo>
                  <a:lnTo>
                    <a:pt x="639" y="831"/>
                  </a:lnTo>
                  <a:lnTo>
                    <a:pt x="639" y="831"/>
                  </a:lnTo>
                  <a:lnTo>
                    <a:pt x="637" y="828"/>
                  </a:lnTo>
                  <a:lnTo>
                    <a:pt x="637" y="828"/>
                  </a:lnTo>
                  <a:lnTo>
                    <a:pt x="636" y="824"/>
                  </a:lnTo>
                  <a:lnTo>
                    <a:pt x="633" y="820"/>
                  </a:lnTo>
                  <a:lnTo>
                    <a:pt x="633" y="820"/>
                  </a:lnTo>
                  <a:lnTo>
                    <a:pt x="629" y="818"/>
                  </a:lnTo>
                  <a:lnTo>
                    <a:pt x="624" y="817"/>
                  </a:lnTo>
                  <a:lnTo>
                    <a:pt x="624" y="817"/>
                  </a:lnTo>
                  <a:lnTo>
                    <a:pt x="623" y="817"/>
                  </a:lnTo>
                  <a:lnTo>
                    <a:pt x="621" y="814"/>
                  </a:lnTo>
                  <a:lnTo>
                    <a:pt x="621" y="814"/>
                  </a:lnTo>
                  <a:lnTo>
                    <a:pt x="620" y="810"/>
                  </a:lnTo>
                  <a:lnTo>
                    <a:pt x="620" y="810"/>
                  </a:lnTo>
                  <a:lnTo>
                    <a:pt x="621" y="801"/>
                  </a:lnTo>
                  <a:lnTo>
                    <a:pt x="623" y="792"/>
                  </a:lnTo>
                  <a:lnTo>
                    <a:pt x="623" y="792"/>
                  </a:lnTo>
                  <a:lnTo>
                    <a:pt x="624" y="789"/>
                  </a:lnTo>
                  <a:lnTo>
                    <a:pt x="624" y="789"/>
                  </a:lnTo>
                  <a:lnTo>
                    <a:pt x="621" y="772"/>
                  </a:lnTo>
                  <a:lnTo>
                    <a:pt x="621" y="772"/>
                  </a:lnTo>
                  <a:lnTo>
                    <a:pt x="618" y="756"/>
                  </a:lnTo>
                  <a:lnTo>
                    <a:pt x="618" y="756"/>
                  </a:lnTo>
                  <a:lnTo>
                    <a:pt x="616" y="749"/>
                  </a:lnTo>
                  <a:lnTo>
                    <a:pt x="616" y="749"/>
                  </a:lnTo>
                  <a:lnTo>
                    <a:pt x="616" y="747"/>
                  </a:lnTo>
                  <a:lnTo>
                    <a:pt x="616" y="746"/>
                  </a:lnTo>
                  <a:lnTo>
                    <a:pt x="616" y="746"/>
                  </a:lnTo>
                  <a:lnTo>
                    <a:pt x="617" y="744"/>
                  </a:lnTo>
                  <a:lnTo>
                    <a:pt x="617" y="744"/>
                  </a:lnTo>
                  <a:lnTo>
                    <a:pt x="627" y="731"/>
                  </a:lnTo>
                  <a:lnTo>
                    <a:pt x="627" y="731"/>
                  </a:lnTo>
                  <a:lnTo>
                    <a:pt x="633" y="724"/>
                  </a:lnTo>
                  <a:lnTo>
                    <a:pt x="633" y="724"/>
                  </a:lnTo>
                  <a:lnTo>
                    <a:pt x="637" y="717"/>
                  </a:lnTo>
                  <a:lnTo>
                    <a:pt x="637" y="717"/>
                  </a:lnTo>
                  <a:lnTo>
                    <a:pt x="642" y="711"/>
                  </a:lnTo>
                  <a:lnTo>
                    <a:pt x="642" y="711"/>
                  </a:lnTo>
                  <a:lnTo>
                    <a:pt x="652" y="700"/>
                  </a:lnTo>
                  <a:lnTo>
                    <a:pt x="652" y="700"/>
                  </a:lnTo>
                  <a:lnTo>
                    <a:pt x="656" y="694"/>
                  </a:lnTo>
                  <a:lnTo>
                    <a:pt x="656" y="694"/>
                  </a:lnTo>
                  <a:lnTo>
                    <a:pt x="659" y="689"/>
                  </a:lnTo>
                  <a:lnTo>
                    <a:pt x="659" y="689"/>
                  </a:lnTo>
                  <a:lnTo>
                    <a:pt x="660" y="684"/>
                  </a:lnTo>
                  <a:lnTo>
                    <a:pt x="660" y="684"/>
                  </a:lnTo>
                  <a:lnTo>
                    <a:pt x="668" y="673"/>
                  </a:lnTo>
                  <a:lnTo>
                    <a:pt x="668" y="673"/>
                  </a:lnTo>
                  <a:lnTo>
                    <a:pt x="671" y="669"/>
                  </a:lnTo>
                  <a:lnTo>
                    <a:pt x="671" y="669"/>
                  </a:lnTo>
                  <a:lnTo>
                    <a:pt x="673" y="668"/>
                  </a:lnTo>
                  <a:lnTo>
                    <a:pt x="673" y="668"/>
                  </a:lnTo>
                  <a:lnTo>
                    <a:pt x="676" y="665"/>
                  </a:lnTo>
                  <a:lnTo>
                    <a:pt x="676" y="665"/>
                  </a:lnTo>
                  <a:lnTo>
                    <a:pt x="679" y="659"/>
                  </a:lnTo>
                  <a:lnTo>
                    <a:pt x="679" y="653"/>
                  </a:lnTo>
                  <a:lnTo>
                    <a:pt x="679" y="653"/>
                  </a:lnTo>
                  <a:lnTo>
                    <a:pt x="679" y="647"/>
                  </a:lnTo>
                  <a:lnTo>
                    <a:pt x="678" y="643"/>
                  </a:lnTo>
                  <a:lnTo>
                    <a:pt x="678" y="643"/>
                  </a:lnTo>
                  <a:lnTo>
                    <a:pt x="678" y="643"/>
                  </a:lnTo>
                  <a:lnTo>
                    <a:pt x="672" y="636"/>
                  </a:lnTo>
                  <a:lnTo>
                    <a:pt x="672" y="636"/>
                  </a:lnTo>
                  <a:lnTo>
                    <a:pt x="669" y="633"/>
                  </a:lnTo>
                  <a:lnTo>
                    <a:pt x="665" y="631"/>
                  </a:lnTo>
                  <a:lnTo>
                    <a:pt x="665" y="631"/>
                  </a:lnTo>
                  <a:lnTo>
                    <a:pt x="663" y="631"/>
                  </a:lnTo>
                  <a:lnTo>
                    <a:pt x="663" y="631"/>
                  </a:lnTo>
                  <a:lnTo>
                    <a:pt x="656" y="633"/>
                  </a:lnTo>
                  <a:lnTo>
                    <a:pt x="650" y="634"/>
                  </a:lnTo>
                  <a:lnTo>
                    <a:pt x="650" y="634"/>
                  </a:lnTo>
                  <a:lnTo>
                    <a:pt x="647" y="633"/>
                  </a:lnTo>
                  <a:lnTo>
                    <a:pt x="647" y="633"/>
                  </a:lnTo>
                  <a:lnTo>
                    <a:pt x="636" y="631"/>
                  </a:lnTo>
                  <a:lnTo>
                    <a:pt x="636" y="631"/>
                  </a:lnTo>
                  <a:lnTo>
                    <a:pt x="631" y="633"/>
                  </a:lnTo>
                  <a:lnTo>
                    <a:pt x="631" y="633"/>
                  </a:lnTo>
                  <a:lnTo>
                    <a:pt x="630" y="633"/>
                  </a:lnTo>
                  <a:lnTo>
                    <a:pt x="629" y="636"/>
                  </a:lnTo>
                  <a:lnTo>
                    <a:pt x="629" y="636"/>
                  </a:lnTo>
                  <a:lnTo>
                    <a:pt x="629" y="636"/>
                  </a:lnTo>
                  <a:lnTo>
                    <a:pt x="629" y="636"/>
                  </a:lnTo>
                  <a:lnTo>
                    <a:pt x="629" y="637"/>
                  </a:lnTo>
                  <a:lnTo>
                    <a:pt x="629" y="637"/>
                  </a:lnTo>
                  <a:lnTo>
                    <a:pt x="630" y="640"/>
                  </a:lnTo>
                  <a:lnTo>
                    <a:pt x="630" y="640"/>
                  </a:lnTo>
                  <a:lnTo>
                    <a:pt x="630" y="642"/>
                  </a:lnTo>
                  <a:lnTo>
                    <a:pt x="630" y="642"/>
                  </a:lnTo>
                  <a:lnTo>
                    <a:pt x="630" y="642"/>
                  </a:lnTo>
                  <a:lnTo>
                    <a:pt x="629" y="643"/>
                  </a:lnTo>
                  <a:lnTo>
                    <a:pt x="629" y="643"/>
                  </a:lnTo>
                  <a:lnTo>
                    <a:pt x="623" y="647"/>
                  </a:lnTo>
                  <a:lnTo>
                    <a:pt x="623" y="647"/>
                  </a:lnTo>
                  <a:lnTo>
                    <a:pt x="621" y="650"/>
                  </a:lnTo>
                  <a:lnTo>
                    <a:pt x="618" y="652"/>
                  </a:lnTo>
                  <a:lnTo>
                    <a:pt x="618" y="652"/>
                  </a:lnTo>
                  <a:lnTo>
                    <a:pt x="617" y="656"/>
                  </a:lnTo>
                  <a:lnTo>
                    <a:pt x="616" y="659"/>
                  </a:lnTo>
                  <a:lnTo>
                    <a:pt x="616" y="659"/>
                  </a:lnTo>
                  <a:lnTo>
                    <a:pt x="616" y="659"/>
                  </a:lnTo>
                  <a:lnTo>
                    <a:pt x="614" y="660"/>
                  </a:lnTo>
                  <a:lnTo>
                    <a:pt x="614" y="660"/>
                  </a:lnTo>
                  <a:lnTo>
                    <a:pt x="613" y="662"/>
                  </a:lnTo>
                  <a:lnTo>
                    <a:pt x="613" y="662"/>
                  </a:lnTo>
                  <a:lnTo>
                    <a:pt x="611" y="665"/>
                  </a:lnTo>
                  <a:lnTo>
                    <a:pt x="611" y="665"/>
                  </a:lnTo>
                  <a:lnTo>
                    <a:pt x="613" y="669"/>
                  </a:lnTo>
                  <a:lnTo>
                    <a:pt x="613" y="669"/>
                  </a:lnTo>
                  <a:lnTo>
                    <a:pt x="613" y="669"/>
                  </a:lnTo>
                  <a:lnTo>
                    <a:pt x="617" y="675"/>
                  </a:lnTo>
                  <a:lnTo>
                    <a:pt x="617" y="675"/>
                  </a:lnTo>
                  <a:lnTo>
                    <a:pt x="618" y="678"/>
                  </a:lnTo>
                  <a:lnTo>
                    <a:pt x="620" y="678"/>
                  </a:lnTo>
                  <a:lnTo>
                    <a:pt x="620" y="678"/>
                  </a:lnTo>
                  <a:lnTo>
                    <a:pt x="620" y="678"/>
                  </a:lnTo>
                  <a:lnTo>
                    <a:pt x="620" y="678"/>
                  </a:lnTo>
                  <a:lnTo>
                    <a:pt x="620" y="678"/>
                  </a:lnTo>
                  <a:lnTo>
                    <a:pt x="620" y="678"/>
                  </a:lnTo>
                  <a:lnTo>
                    <a:pt x="620" y="678"/>
                  </a:lnTo>
                  <a:lnTo>
                    <a:pt x="620" y="679"/>
                  </a:lnTo>
                  <a:lnTo>
                    <a:pt x="620" y="679"/>
                  </a:lnTo>
                  <a:lnTo>
                    <a:pt x="613" y="687"/>
                  </a:lnTo>
                  <a:lnTo>
                    <a:pt x="613" y="687"/>
                  </a:lnTo>
                  <a:lnTo>
                    <a:pt x="608" y="692"/>
                  </a:lnTo>
                  <a:lnTo>
                    <a:pt x="605" y="698"/>
                  </a:lnTo>
                  <a:lnTo>
                    <a:pt x="605" y="698"/>
                  </a:lnTo>
                  <a:lnTo>
                    <a:pt x="605" y="701"/>
                  </a:lnTo>
                  <a:lnTo>
                    <a:pt x="605" y="701"/>
                  </a:lnTo>
                  <a:lnTo>
                    <a:pt x="600" y="705"/>
                  </a:lnTo>
                  <a:lnTo>
                    <a:pt x="600" y="705"/>
                  </a:lnTo>
                  <a:lnTo>
                    <a:pt x="595" y="708"/>
                  </a:lnTo>
                  <a:lnTo>
                    <a:pt x="595" y="708"/>
                  </a:lnTo>
                  <a:lnTo>
                    <a:pt x="592" y="710"/>
                  </a:lnTo>
                  <a:lnTo>
                    <a:pt x="592" y="710"/>
                  </a:lnTo>
                  <a:lnTo>
                    <a:pt x="584" y="714"/>
                  </a:lnTo>
                  <a:lnTo>
                    <a:pt x="584" y="714"/>
                  </a:lnTo>
                  <a:lnTo>
                    <a:pt x="581" y="715"/>
                  </a:lnTo>
                  <a:lnTo>
                    <a:pt x="581" y="715"/>
                  </a:lnTo>
                  <a:lnTo>
                    <a:pt x="579" y="717"/>
                  </a:lnTo>
                  <a:lnTo>
                    <a:pt x="579" y="717"/>
                  </a:lnTo>
                  <a:lnTo>
                    <a:pt x="579" y="718"/>
                  </a:lnTo>
                  <a:lnTo>
                    <a:pt x="579" y="718"/>
                  </a:lnTo>
                  <a:lnTo>
                    <a:pt x="579" y="718"/>
                  </a:lnTo>
                  <a:lnTo>
                    <a:pt x="576" y="726"/>
                  </a:lnTo>
                  <a:lnTo>
                    <a:pt x="576" y="726"/>
                  </a:lnTo>
                  <a:lnTo>
                    <a:pt x="572" y="734"/>
                  </a:lnTo>
                  <a:lnTo>
                    <a:pt x="572" y="734"/>
                  </a:lnTo>
                  <a:lnTo>
                    <a:pt x="565" y="746"/>
                  </a:lnTo>
                  <a:lnTo>
                    <a:pt x="565" y="746"/>
                  </a:lnTo>
                  <a:lnTo>
                    <a:pt x="560" y="750"/>
                  </a:lnTo>
                  <a:lnTo>
                    <a:pt x="560" y="750"/>
                  </a:lnTo>
                  <a:lnTo>
                    <a:pt x="559" y="752"/>
                  </a:lnTo>
                  <a:lnTo>
                    <a:pt x="559" y="752"/>
                  </a:lnTo>
                  <a:lnTo>
                    <a:pt x="559" y="752"/>
                  </a:lnTo>
                  <a:lnTo>
                    <a:pt x="559" y="753"/>
                  </a:lnTo>
                  <a:lnTo>
                    <a:pt x="559" y="752"/>
                  </a:lnTo>
                  <a:lnTo>
                    <a:pt x="559" y="752"/>
                  </a:lnTo>
                  <a:lnTo>
                    <a:pt x="559" y="753"/>
                  </a:lnTo>
                  <a:lnTo>
                    <a:pt x="559" y="752"/>
                  </a:lnTo>
                  <a:lnTo>
                    <a:pt x="559" y="753"/>
                  </a:lnTo>
                  <a:lnTo>
                    <a:pt x="559" y="752"/>
                  </a:lnTo>
                  <a:lnTo>
                    <a:pt x="559" y="752"/>
                  </a:lnTo>
                  <a:lnTo>
                    <a:pt x="559" y="753"/>
                  </a:lnTo>
                  <a:lnTo>
                    <a:pt x="559" y="752"/>
                  </a:lnTo>
                  <a:lnTo>
                    <a:pt x="559" y="752"/>
                  </a:lnTo>
                  <a:lnTo>
                    <a:pt x="555" y="750"/>
                  </a:lnTo>
                  <a:lnTo>
                    <a:pt x="555" y="750"/>
                  </a:lnTo>
                  <a:lnTo>
                    <a:pt x="553" y="749"/>
                  </a:lnTo>
                  <a:lnTo>
                    <a:pt x="553" y="749"/>
                  </a:lnTo>
                  <a:lnTo>
                    <a:pt x="550" y="749"/>
                  </a:lnTo>
                  <a:lnTo>
                    <a:pt x="550" y="749"/>
                  </a:lnTo>
                  <a:lnTo>
                    <a:pt x="547" y="749"/>
                  </a:lnTo>
                  <a:lnTo>
                    <a:pt x="547" y="749"/>
                  </a:lnTo>
                  <a:lnTo>
                    <a:pt x="547" y="752"/>
                  </a:lnTo>
                  <a:lnTo>
                    <a:pt x="547" y="752"/>
                  </a:lnTo>
                  <a:lnTo>
                    <a:pt x="547" y="752"/>
                  </a:lnTo>
                  <a:lnTo>
                    <a:pt x="549" y="756"/>
                  </a:lnTo>
                  <a:lnTo>
                    <a:pt x="550" y="759"/>
                  </a:lnTo>
                  <a:lnTo>
                    <a:pt x="550" y="759"/>
                  </a:lnTo>
                  <a:lnTo>
                    <a:pt x="552" y="762"/>
                  </a:lnTo>
                  <a:lnTo>
                    <a:pt x="552" y="762"/>
                  </a:lnTo>
                  <a:lnTo>
                    <a:pt x="553" y="763"/>
                  </a:lnTo>
                  <a:lnTo>
                    <a:pt x="553" y="763"/>
                  </a:lnTo>
                  <a:lnTo>
                    <a:pt x="553" y="763"/>
                  </a:lnTo>
                  <a:lnTo>
                    <a:pt x="552" y="769"/>
                  </a:lnTo>
                  <a:lnTo>
                    <a:pt x="552" y="769"/>
                  </a:lnTo>
                  <a:lnTo>
                    <a:pt x="552" y="779"/>
                  </a:lnTo>
                  <a:lnTo>
                    <a:pt x="552" y="779"/>
                  </a:lnTo>
                  <a:lnTo>
                    <a:pt x="552" y="784"/>
                  </a:lnTo>
                  <a:lnTo>
                    <a:pt x="552" y="784"/>
                  </a:lnTo>
                  <a:lnTo>
                    <a:pt x="550" y="786"/>
                  </a:lnTo>
                  <a:lnTo>
                    <a:pt x="550" y="786"/>
                  </a:lnTo>
                  <a:lnTo>
                    <a:pt x="547" y="792"/>
                  </a:lnTo>
                  <a:lnTo>
                    <a:pt x="547" y="792"/>
                  </a:lnTo>
                  <a:lnTo>
                    <a:pt x="546" y="797"/>
                  </a:lnTo>
                  <a:lnTo>
                    <a:pt x="546" y="802"/>
                  </a:lnTo>
                  <a:lnTo>
                    <a:pt x="546" y="802"/>
                  </a:lnTo>
                  <a:lnTo>
                    <a:pt x="546" y="805"/>
                  </a:lnTo>
                  <a:lnTo>
                    <a:pt x="547" y="810"/>
                  </a:lnTo>
                  <a:lnTo>
                    <a:pt x="547" y="810"/>
                  </a:lnTo>
                  <a:lnTo>
                    <a:pt x="552" y="817"/>
                  </a:lnTo>
                  <a:lnTo>
                    <a:pt x="552" y="817"/>
                  </a:lnTo>
                  <a:lnTo>
                    <a:pt x="555" y="821"/>
                  </a:lnTo>
                  <a:lnTo>
                    <a:pt x="555" y="821"/>
                  </a:lnTo>
                  <a:lnTo>
                    <a:pt x="560" y="823"/>
                  </a:lnTo>
                  <a:lnTo>
                    <a:pt x="560" y="823"/>
                  </a:lnTo>
                  <a:lnTo>
                    <a:pt x="563" y="823"/>
                  </a:lnTo>
                  <a:lnTo>
                    <a:pt x="568" y="824"/>
                  </a:lnTo>
                  <a:lnTo>
                    <a:pt x="568" y="824"/>
                  </a:lnTo>
                  <a:lnTo>
                    <a:pt x="571" y="826"/>
                  </a:lnTo>
                  <a:lnTo>
                    <a:pt x="572" y="828"/>
                  </a:lnTo>
                  <a:lnTo>
                    <a:pt x="572" y="828"/>
                  </a:lnTo>
                  <a:lnTo>
                    <a:pt x="572" y="828"/>
                  </a:lnTo>
                  <a:lnTo>
                    <a:pt x="575" y="839"/>
                  </a:lnTo>
                  <a:lnTo>
                    <a:pt x="575" y="839"/>
                  </a:lnTo>
                  <a:lnTo>
                    <a:pt x="576" y="846"/>
                  </a:lnTo>
                  <a:lnTo>
                    <a:pt x="576" y="846"/>
                  </a:lnTo>
                  <a:lnTo>
                    <a:pt x="575" y="850"/>
                  </a:lnTo>
                  <a:lnTo>
                    <a:pt x="575" y="850"/>
                  </a:lnTo>
                  <a:lnTo>
                    <a:pt x="572" y="855"/>
                  </a:lnTo>
                  <a:lnTo>
                    <a:pt x="572" y="855"/>
                  </a:lnTo>
                  <a:lnTo>
                    <a:pt x="571" y="856"/>
                  </a:lnTo>
                  <a:lnTo>
                    <a:pt x="571" y="856"/>
                  </a:lnTo>
                  <a:lnTo>
                    <a:pt x="568" y="860"/>
                  </a:lnTo>
                  <a:lnTo>
                    <a:pt x="568" y="860"/>
                  </a:lnTo>
                  <a:lnTo>
                    <a:pt x="565" y="868"/>
                  </a:lnTo>
                  <a:lnTo>
                    <a:pt x="565" y="868"/>
                  </a:lnTo>
                  <a:lnTo>
                    <a:pt x="563" y="870"/>
                  </a:lnTo>
                  <a:lnTo>
                    <a:pt x="563" y="870"/>
                  </a:lnTo>
                  <a:lnTo>
                    <a:pt x="563" y="870"/>
                  </a:lnTo>
                  <a:lnTo>
                    <a:pt x="565" y="872"/>
                  </a:lnTo>
                  <a:lnTo>
                    <a:pt x="563" y="870"/>
                  </a:lnTo>
                  <a:lnTo>
                    <a:pt x="563" y="870"/>
                  </a:lnTo>
                  <a:lnTo>
                    <a:pt x="565" y="872"/>
                  </a:lnTo>
                  <a:lnTo>
                    <a:pt x="563" y="870"/>
                  </a:lnTo>
                  <a:lnTo>
                    <a:pt x="563" y="870"/>
                  </a:lnTo>
                  <a:lnTo>
                    <a:pt x="563" y="870"/>
                  </a:lnTo>
                  <a:lnTo>
                    <a:pt x="563" y="870"/>
                  </a:lnTo>
                  <a:lnTo>
                    <a:pt x="563" y="870"/>
                  </a:lnTo>
                  <a:lnTo>
                    <a:pt x="563" y="870"/>
                  </a:lnTo>
                  <a:lnTo>
                    <a:pt x="563" y="870"/>
                  </a:lnTo>
                  <a:lnTo>
                    <a:pt x="563" y="870"/>
                  </a:lnTo>
                  <a:lnTo>
                    <a:pt x="563" y="870"/>
                  </a:lnTo>
                  <a:lnTo>
                    <a:pt x="563" y="870"/>
                  </a:lnTo>
                  <a:lnTo>
                    <a:pt x="563" y="870"/>
                  </a:lnTo>
                  <a:lnTo>
                    <a:pt x="563" y="870"/>
                  </a:lnTo>
                  <a:lnTo>
                    <a:pt x="563" y="870"/>
                  </a:lnTo>
                  <a:lnTo>
                    <a:pt x="563" y="870"/>
                  </a:lnTo>
                  <a:lnTo>
                    <a:pt x="560" y="869"/>
                  </a:lnTo>
                  <a:lnTo>
                    <a:pt x="560" y="869"/>
                  </a:lnTo>
                  <a:lnTo>
                    <a:pt x="556" y="870"/>
                  </a:lnTo>
                  <a:lnTo>
                    <a:pt x="556" y="870"/>
                  </a:lnTo>
                  <a:lnTo>
                    <a:pt x="555" y="873"/>
                  </a:lnTo>
                  <a:lnTo>
                    <a:pt x="555" y="873"/>
                  </a:lnTo>
                  <a:lnTo>
                    <a:pt x="547" y="885"/>
                  </a:lnTo>
                  <a:lnTo>
                    <a:pt x="547" y="885"/>
                  </a:lnTo>
                  <a:lnTo>
                    <a:pt x="545" y="891"/>
                  </a:lnTo>
                  <a:lnTo>
                    <a:pt x="545" y="891"/>
                  </a:lnTo>
                  <a:lnTo>
                    <a:pt x="542" y="895"/>
                  </a:lnTo>
                  <a:lnTo>
                    <a:pt x="542" y="895"/>
                  </a:lnTo>
                  <a:lnTo>
                    <a:pt x="542" y="899"/>
                  </a:lnTo>
                  <a:lnTo>
                    <a:pt x="542" y="899"/>
                  </a:lnTo>
                  <a:lnTo>
                    <a:pt x="542" y="908"/>
                  </a:lnTo>
                  <a:lnTo>
                    <a:pt x="542" y="908"/>
                  </a:lnTo>
                  <a:lnTo>
                    <a:pt x="542" y="918"/>
                  </a:lnTo>
                  <a:lnTo>
                    <a:pt x="542" y="918"/>
                  </a:lnTo>
                  <a:lnTo>
                    <a:pt x="536" y="939"/>
                  </a:lnTo>
                  <a:lnTo>
                    <a:pt x="536" y="939"/>
                  </a:lnTo>
                  <a:lnTo>
                    <a:pt x="532" y="949"/>
                  </a:lnTo>
                  <a:lnTo>
                    <a:pt x="532" y="949"/>
                  </a:lnTo>
                  <a:lnTo>
                    <a:pt x="529" y="952"/>
                  </a:lnTo>
                  <a:lnTo>
                    <a:pt x="529" y="953"/>
                  </a:lnTo>
                  <a:lnTo>
                    <a:pt x="529" y="953"/>
                  </a:lnTo>
                  <a:lnTo>
                    <a:pt x="529" y="953"/>
                  </a:lnTo>
                  <a:lnTo>
                    <a:pt x="529" y="953"/>
                  </a:lnTo>
                  <a:lnTo>
                    <a:pt x="529" y="953"/>
                  </a:lnTo>
                  <a:lnTo>
                    <a:pt x="529" y="953"/>
                  </a:lnTo>
                  <a:lnTo>
                    <a:pt x="529" y="953"/>
                  </a:lnTo>
                  <a:lnTo>
                    <a:pt x="530" y="953"/>
                  </a:lnTo>
                  <a:lnTo>
                    <a:pt x="529" y="952"/>
                  </a:lnTo>
                  <a:lnTo>
                    <a:pt x="529" y="953"/>
                  </a:lnTo>
                  <a:lnTo>
                    <a:pt x="530" y="953"/>
                  </a:lnTo>
                  <a:lnTo>
                    <a:pt x="529" y="952"/>
                  </a:lnTo>
                  <a:lnTo>
                    <a:pt x="529" y="952"/>
                  </a:lnTo>
                  <a:lnTo>
                    <a:pt x="529" y="952"/>
                  </a:lnTo>
                  <a:lnTo>
                    <a:pt x="527" y="952"/>
                  </a:lnTo>
                  <a:lnTo>
                    <a:pt x="527" y="952"/>
                  </a:lnTo>
                  <a:lnTo>
                    <a:pt x="523" y="952"/>
                  </a:lnTo>
                  <a:lnTo>
                    <a:pt x="523" y="952"/>
                  </a:lnTo>
                  <a:lnTo>
                    <a:pt x="518" y="953"/>
                  </a:lnTo>
                  <a:lnTo>
                    <a:pt x="513" y="956"/>
                  </a:lnTo>
                  <a:lnTo>
                    <a:pt x="513" y="956"/>
                  </a:lnTo>
                  <a:lnTo>
                    <a:pt x="508" y="960"/>
                  </a:lnTo>
                  <a:lnTo>
                    <a:pt x="505" y="965"/>
                  </a:lnTo>
                  <a:lnTo>
                    <a:pt x="505" y="965"/>
                  </a:lnTo>
                  <a:lnTo>
                    <a:pt x="503" y="972"/>
                  </a:lnTo>
                  <a:lnTo>
                    <a:pt x="503" y="972"/>
                  </a:lnTo>
                  <a:lnTo>
                    <a:pt x="503" y="975"/>
                  </a:lnTo>
                  <a:lnTo>
                    <a:pt x="503" y="975"/>
                  </a:lnTo>
                  <a:lnTo>
                    <a:pt x="501" y="976"/>
                  </a:lnTo>
                  <a:lnTo>
                    <a:pt x="501" y="976"/>
                  </a:lnTo>
                  <a:lnTo>
                    <a:pt x="497" y="976"/>
                  </a:lnTo>
                  <a:lnTo>
                    <a:pt x="497" y="976"/>
                  </a:lnTo>
                  <a:lnTo>
                    <a:pt x="487" y="975"/>
                  </a:lnTo>
                  <a:lnTo>
                    <a:pt x="487" y="975"/>
                  </a:lnTo>
                  <a:lnTo>
                    <a:pt x="484" y="973"/>
                  </a:lnTo>
                  <a:lnTo>
                    <a:pt x="484" y="973"/>
                  </a:lnTo>
                  <a:lnTo>
                    <a:pt x="479" y="972"/>
                  </a:lnTo>
                  <a:lnTo>
                    <a:pt x="479" y="973"/>
                  </a:lnTo>
                  <a:lnTo>
                    <a:pt x="481" y="972"/>
                  </a:lnTo>
                  <a:lnTo>
                    <a:pt x="479" y="972"/>
                  </a:lnTo>
                  <a:lnTo>
                    <a:pt x="479" y="973"/>
                  </a:lnTo>
                  <a:lnTo>
                    <a:pt x="481" y="972"/>
                  </a:lnTo>
                  <a:lnTo>
                    <a:pt x="479" y="973"/>
                  </a:lnTo>
                  <a:lnTo>
                    <a:pt x="481" y="973"/>
                  </a:lnTo>
                  <a:lnTo>
                    <a:pt x="481" y="973"/>
                  </a:lnTo>
                  <a:lnTo>
                    <a:pt x="481" y="972"/>
                  </a:lnTo>
                  <a:lnTo>
                    <a:pt x="479" y="973"/>
                  </a:lnTo>
                  <a:lnTo>
                    <a:pt x="481" y="973"/>
                  </a:lnTo>
                  <a:lnTo>
                    <a:pt x="481" y="973"/>
                  </a:lnTo>
                  <a:lnTo>
                    <a:pt x="481" y="973"/>
                  </a:lnTo>
                  <a:lnTo>
                    <a:pt x="481" y="973"/>
                  </a:lnTo>
                  <a:lnTo>
                    <a:pt x="481" y="973"/>
                  </a:lnTo>
                  <a:lnTo>
                    <a:pt x="481" y="973"/>
                  </a:lnTo>
                  <a:lnTo>
                    <a:pt x="481" y="973"/>
                  </a:lnTo>
                  <a:lnTo>
                    <a:pt x="481" y="973"/>
                  </a:lnTo>
                  <a:lnTo>
                    <a:pt x="482" y="968"/>
                  </a:lnTo>
                  <a:lnTo>
                    <a:pt x="482" y="968"/>
                  </a:lnTo>
                  <a:lnTo>
                    <a:pt x="484" y="959"/>
                  </a:lnTo>
                  <a:lnTo>
                    <a:pt x="484" y="959"/>
                  </a:lnTo>
                  <a:lnTo>
                    <a:pt x="484" y="957"/>
                  </a:lnTo>
                  <a:lnTo>
                    <a:pt x="484" y="957"/>
                  </a:lnTo>
                  <a:lnTo>
                    <a:pt x="481" y="947"/>
                  </a:lnTo>
                  <a:lnTo>
                    <a:pt x="481" y="947"/>
                  </a:lnTo>
                  <a:lnTo>
                    <a:pt x="478" y="937"/>
                  </a:lnTo>
                  <a:lnTo>
                    <a:pt x="478" y="937"/>
                  </a:lnTo>
                  <a:lnTo>
                    <a:pt x="471" y="927"/>
                  </a:lnTo>
                  <a:lnTo>
                    <a:pt x="471" y="927"/>
                  </a:lnTo>
                  <a:lnTo>
                    <a:pt x="468" y="921"/>
                  </a:lnTo>
                  <a:lnTo>
                    <a:pt x="468" y="921"/>
                  </a:lnTo>
                  <a:lnTo>
                    <a:pt x="466" y="917"/>
                  </a:lnTo>
                  <a:lnTo>
                    <a:pt x="466" y="917"/>
                  </a:lnTo>
                  <a:lnTo>
                    <a:pt x="466" y="917"/>
                  </a:lnTo>
                  <a:lnTo>
                    <a:pt x="466" y="917"/>
                  </a:lnTo>
                  <a:lnTo>
                    <a:pt x="468" y="907"/>
                  </a:lnTo>
                  <a:lnTo>
                    <a:pt x="468" y="907"/>
                  </a:lnTo>
                  <a:lnTo>
                    <a:pt x="469" y="901"/>
                  </a:lnTo>
                  <a:lnTo>
                    <a:pt x="469" y="901"/>
                  </a:lnTo>
                  <a:lnTo>
                    <a:pt x="471" y="897"/>
                  </a:lnTo>
                  <a:lnTo>
                    <a:pt x="471" y="897"/>
                  </a:lnTo>
                  <a:lnTo>
                    <a:pt x="471" y="894"/>
                  </a:lnTo>
                  <a:lnTo>
                    <a:pt x="471" y="894"/>
                  </a:lnTo>
                  <a:lnTo>
                    <a:pt x="469" y="894"/>
                  </a:lnTo>
                  <a:lnTo>
                    <a:pt x="469" y="894"/>
                  </a:lnTo>
                  <a:lnTo>
                    <a:pt x="468" y="892"/>
                  </a:lnTo>
                  <a:lnTo>
                    <a:pt x="468" y="892"/>
                  </a:lnTo>
                  <a:lnTo>
                    <a:pt x="465" y="894"/>
                  </a:lnTo>
                  <a:lnTo>
                    <a:pt x="465" y="894"/>
                  </a:lnTo>
                  <a:lnTo>
                    <a:pt x="461" y="895"/>
                  </a:lnTo>
                  <a:lnTo>
                    <a:pt x="459" y="895"/>
                  </a:lnTo>
                  <a:lnTo>
                    <a:pt x="459" y="895"/>
                  </a:lnTo>
                  <a:lnTo>
                    <a:pt x="459" y="894"/>
                  </a:lnTo>
                  <a:lnTo>
                    <a:pt x="459" y="894"/>
                  </a:lnTo>
                  <a:lnTo>
                    <a:pt x="459" y="894"/>
                  </a:lnTo>
                  <a:lnTo>
                    <a:pt x="458" y="891"/>
                  </a:lnTo>
                  <a:lnTo>
                    <a:pt x="458" y="891"/>
                  </a:lnTo>
                  <a:lnTo>
                    <a:pt x="456" y="881"/>
                  </a:lnTo>
                  <a:lnTo>
                    <a:pt x="456" y="881"/>
                  </a:lnTo>
                  <a:lnTo>
                    <a:pt x="456" y="875"/>
                  </a:lnTo>
                  <a:lnTo>
                    <a:pt x="453" y="870"/>
                  </a:lnTo>
                  <a:lnTo>
                    <a:pt x="453" y="870"/>
                  </a:lnTo>
                  <a:lnTo>
                    <a:pt x="452" y="866"/>
                  </a:lnTo>
                  <a:lnTo>
                    <a:pt x="452" y="866"/>
                  </a:lnTo>
                  <a:lnTo>
                    <a:pt x="449" y="857"/>
                  </a:lnTo>
                  <a:lnTo>
                    <a:pt x="449" y="857"/>
                  </a:lnTo>
                  <a:lnTo>
                    <a:pt x="448" y="853"/>
                  </a:lnTo>
                  <a:lnTo>
                    <a:pt x="448" y="853"/>
                  </a:lnTo>
                  <a:lnTo>
                    <a:pt x="448" y="852"/>
                  </a:lnTo>
                  <a:lnTo>
                    <a:pt x="448" y="852"/>
                  </a:lnTo>
                  <a:lnTo>
                    <a:pt x="446" y="852"/>
                  </a:lnTo>
                  <a:lnTo>
                    <a:pt x="446" y="852"/>
                  </a:lnTo>
                  <a:lnTo>
                    <a:pt x="445" y="850"/>
                  </a:lnTo>
                  <a:lnTo>
                    <a:pt x="445" y="850"/>
                  </a:lnTo>
                  <a:lnTo>
                    <a:pt x="443" y="852"/>
                  </a:lnTo>
                  <a:lnTo>
                    <a:pt x="443" y="852"/>
                  </a:lnTo>
                  <a:lnTo>
                    <a:pt x="442" y="853"/>
                  </a:lnTo>
                  <a:lnTo>
                    <a:pt x="442" y="853"/>
                  </a:lnTo>
                  <a:lnTo>
                    <a:pt x="442" y="855"/>
                  </a:lnTo>
                  <a:lnTo>
                    <a:pt x="442" y="855"/>
                  </a:lnTo>
                  <a:lnTo>
                    <a:pt x="442" y="862"/>
                  </a:lnTo>
                  <a:lnTo>
                    <a:pt x="442" y="862"/>
                  </a:lnTo>
                  <a:lnTo>
                    <a:pt x="440" y="862"/>
                  </a:lnTo>
                  <a:lnTo>
                    <a:pt x="440" y="862"/>
                  </a:lnTo>
                  <a:lnTo>
                    <a:pt x="439" y="862"/>
                  </a:lnTo>
                  <a:lnTo>
                    <a:pt x="439" y="862"/>
                  </a:lnTo>
                  <a:lnTo>
                    <a:pt x="436" y="863"/>
                  </a:lnTo>
                  <a:lnTo>
                    <a:pt x="436" y="863"/>
                  </a:lnTo>
                  <a:lnTo>
                    <a:pt x="433" y="865"/>
                  </a:lnTo>
                  <a:lnTo>
                    <a:pt x="430" y="866"/>
                  </a:lnTo>
                  <a:lnTo>
                    <a:pt x="430" y="866"/>
                  </a:lnTo>
                  <a:lnTo>
                    <a:pt x="423" y="875"/>
                  </a:lnTo>
                  <a:lnTo>
                    <a:pt x="423" y="875"/>
                  </a:lnTo>
                  <a:lnTo>
                    <a:pt x="414" y="888"/>
                  </a:lnTo>
                  <a:lnTo>
                    <a:pt x="407" y="895"/>
                  </a:lnTo>
                  <a:lnTo>
                    <a:pt x="407" y="895"/>
                  </a:lnTo>
                  <a:lnTo>
                    <a:pt x="406" y="897"/>
                  </a:lnTo>
                  <a:lnTo>
                    <a:pt x="406" y="897"/>
                  </a:lnTo>
                  <a:lnTo>
                    <a:pt x="406" y="897"/>
                  </a:lnTo>
                  <a:lnTo>
                    <a:pt x="406" y="897"/>
                  </a:lnTo>
                  <a:lnTo>
                    <a:pt x="406" y="897"/>
                  </a:lnTo>
                  <a:lnTo>
                    <a:pt x="406" y="897"/>
                  </a:lnTo>
                  <a:lnTo>
                    <a:pt x="406" y="897"/>
                  </a:lnTo>
                  <a:lnTo>
                    <a:pt x="406" y="897"/>
                  </a:lnTo>
                  <a:lnTo>
                    <a:pt x="404" y="897"/>
                  </a:lnTo>
                  <a:lnTo>
                    <a:pt x="404" y="897"/>
                  </a:lnTo>
                  <a:lnTo>
                    <a:pt x="401" y="895"/>
                  </a:lnTo>
                  <a:lnTo>
                    <a:pt x="401" y="895"/>
                  </a:lnTo>
                  <a:lnTo>
                    <a:pt x="398" y="897"/>
                  </a:lnTo>
                  <a:lnTo>
                    <a:pt x="398" y="897"/>
                  </a:lnTo>
                  <a:lnTo>
                    <a:pt x="392" y="898"/>
                  </a:lnTo>
                  <a:lnTo>
                    <a:pt x="388" y="898"/>
                  </a:lnTo>
                  <a:lnTo>
                    <a:pt x="388" y="898"/>
                  </a:lnTo>
                  <a:lnTo>
                    <a:pt x="385" y="898"/>
                  </a:lnTo>
                  <a:lnTo>
                    <a:pt x="382" y="897"/>
                  </a:lnTo>
                  <a:lnTo>
                    <a:pt x="382" y="897"/>
                  </a:lnTo>
                  <a:lnTo>
                    <a:pt x="368" y="884"/>
                  </a:lnTo>
                  <a:lnTo>
                    <a:pt x="368" y="884"/>
                  </a:lnTo>
                  <a:lnTo>
                    <a:pt x="366" y="881"/>
                  </a:lnTo>
                  <a:lnTo>
                    <a:pt x="366" y="881"/>
                  </a:lnTo>
                  <a:lnTo>
                    <a:pt x="365" y="876"/>
                  </a:lnTo>
                  <a:lnTo>
                    <a:pt x="365" y="876"/>
                  </a:lnTo>
                  <a:lnTo>
                    <a:pt x="366" y="875"/>
                  </a:lnTo>
                  <a:lnTo>
                    <a:pt x="366" y="875"/>
                  </a:lnTo>
                  <a:lnTo>
                    <a:pt x="368" y="875"/>
                  </a:lnTo>
                  <a:lnTo>
                    <a:pt x="368" y="875"/>
                  </a:lnTo>
                  <a:lnTo>
                    <a:pt x="369" y="875"/>
                  </a:lnTo>
                  <a:lnTo>
                    <a:pt x="369" y="875"/>
                  </a:lnTo>
                  <a:lnTo>
                    <a:pt x="371" y="876"/>
                  </a:lnTo>
                  <a:lnTo>
                    <a:pt x="371" y="876"/>
                  </a:lnTo>
                  <a:lnTo>
                    <a:pt x="372" y="876"/>
                  </a:lnTo>
                  <a:lnTo>
                    <a:pt x="372" y="876"/>
                  </a:lnTo>
                  <a:lnTo>
                    <a:pt x="375" y="875"/>
                  </a:lnTo>
                  <a:lnTo>
                    <a:pt x="375" y="875"/>
                  </a:lnTo>
                  <a:lnTo>
                    <a:pt x="377" y="873"/>
                  </a:lnTo>
                  <a:lnTo>
                    <a:pt x="377" y="873"/>
                  </a:lnTo>
                  <a:lnTo>
                    <a:pt x="375" y="870"/>
                  </a:lnTo>
                  <a:lnTo>
                    <a:pt x="375" y="870"/>
                  </a:lnTo>
                  <a:lnTo>
                    <a:pt x="375" y="868"/>
                  </a:lnTo>
                  <a:lnTo>
                    <a:pt x="375" y="868"/>
                  </a:lnTo>
                  <a:lnTo>
                    <a:pt x="375" y="863"/>
                  </a:lnTo>
                  <a:lnTo>
                    <a:pt x="375" y="863"/>
                  </a:lnTo>
                  <a:lnTo>
                    <a:pt x="377" y="859"/>
                  </a:lnTo>
                  <a:lnTo>
                    <a:pt x="377" y="859"/>
                  </a:lnTo>
                  <a:lnTo>
                    <a:pt x="377" y="857"/>
                  </a:lnTo>
                  <a:lnTo>
                    <a:pt x="377" y="857"/>
                  </a:lnTo>
                  <a:lnTo>
                    <a:pt x="375" y="856"/>
                  </a:lnTo>
                  <a:lnTo>
                    <a:pt x="375" y="856"/>
                  </a:lnTo>
                  <a:lnTo>
                    <a:pt x="374" y="856"/>
                  </a:lnTo>
                  <a:lnTo>
                    <a:pt x="374" y="856"/>
                  </a:lnTo>
                  <a:lnTo>
                    <a:pt x="372" y="856"/>
                  </a:lnTo>
                  <a:lnTo>
                    <a:pt x="371" y="857"/>
                  </a:lnTo>
                  <a:lnTo>
                    <a:pt x="371" y="857"/>
                  </a:lnTo>
                  <a:lnTo>
                    <a:pt x="368" y="860"/>
                  </a:lnTo>
                  <a:lnTo>
                    <a:pt x="368" y="862"/>
                  </a:lnTo>
                  <a:lnTo>
                    <a:pt x="368" y="862"/>
                  </a:lnTo>
                  <a:lnTo>
                    <a:pt x="365" y="862"/>
                  </a:lnTo>
                  <a:lnTo>
                    <a:pt x="365" y="862"/>
                  </a:lnTo>
                  <a:lnTo>
                    <a:pt x="362" y="862"/>
                  </a:lnTo>
                  <a:lnTo>
                    <a:pt x="361" y="863"/>
                  </a:lnTo>
                  <a:lnTo>
                    <a:pt x="362" y="862"/>
                  </a:lnTo>
                  <a:lnTo>
                    <a:pt x="362" y="862"/>
                  </a:lnTo>
                  <a:lnTo>
                    <a:pt x="361" y="863"/>
                  </a:lnTo>
                  <a:lnTo>
                    <a:pt x="362" y="862"/>
                  </a:lnTo>
                  <a:lnTo>
                    <a:pt x="362" y="863"/>
                  </a:lnTo>
                  <a:lnTo>
                    <a:pt x="362" y="863"/>
                  </a:lnTo>
                  <a:lnTo>
                    <a:pt x="362" y="862"/>
                  </a:lnTo>
                  <a:lnTo>
                    <a:pt x="362" y="863"/>
                  </a:lnTo>
                  <a:lnTo>
                    <a:pt x="362" y="863"/>
                  </a:lnTo>
                  <a:lnTo>
                    <a:pt x="362" y="863"/>
                  </a:lnTo>
                  <a:lnTo>
                    <a:pt x="362" y="863"/>
                  </a:lnTo>
                  <a:lnTo>
                    <a:pt x="362" y="863"/>
                  </a:lnTo>
                  <a:lnTo>
                    <a:pt x="362" y="863"/>
                  </a:lnTo>
                  <a:lnTo>
                    <a:pt x="362" y="863"/>
                  </a:lnTo>
                  <a:lnTo>
                    <a:pt x="362" y="862"/>
                  </a:lnTo>
                  <a:lnTo>
                    <a:pt x="362" y="862"/>
                  </a:lnTo>
                  <a:lnTo>
                    <a:pt x="362" y="859"/>
                  </a:lnTo>
                  <a:lnTo>
                    <a:pt x="362" y="859"/>
                  </a:lnTo>
                  <a:lnTo>
                    <a:pt x="361" y="855"/>
                  </a:lnTo>
                  <a:lnTo>
                    <a:pt x="358" y="850"/>
                  </a:lnTo>
                  <a:lnTo>
                    <a:pt x="358" y="850"/>
                  </a:lnTo>
                  <a:lnTo>
                    <a:pt x="356" y="849"/>
                  </a:lnTo>
                  <a:lnTo>
                    <a:pt x="356" y="847"/>
                  </a:lnTo>
                  <a:lnTo>
                    <a:pt x="356" y="847"/>
                  </a:lnTo>
                  <a:lnTo>
                    <a:pt x="355" y="847"/>
                  </a:lnTo>
                  <a:lnTo>
                    <a:pt x="356" y="847"/>
                  </a:lnTo>
                  <a:lnTo>
                    <a:pt x="356" y="847"/>
                  </a:lnTo>
                  <a:lnTo>
                    <a:pt x="355" y="847"/>
                  </a:lnTo>
                  <a:lnTo>
                    <a:pt x="356" y="847"/>
                  </a:lnTo>
                  <a:lnTo>
                    <a:pt x="355" y="847"/>
                  </a:lnTo>
                  <a:lnTo>
                    <a:pt x="356" y="849"/>
                  </a:lnTo>
                  <a:lnTo>
                    <a:pt x="356" y="847"/>
                  </a:lnTo>
                  <a:lnTo>
                    <a:pt x="355" y="847"/>
                  </a:lnTo>
                  <a:lnTo>
                    <a:pt x="356" y="849"/>
                  </a:lnTo>
                  <a:lnTo>
                    <a:pt x="356" y="849"/>
                  </a:lnTo>
                  <a:lnTo>
                    <a:pt x="356" y="849"/>
                  </a:lnTo>
                  <a:lnTo>
                    <a:pt x="356" y="849"/>
                  </a:lnTo>
                  <a:lnTo>
                    <a:pt x="356" y="849"/>
                  </a:lnTo>
                  <a:lnTo>
                    <a:pt x="356" y="849"/>
                  </a:lnTo>
                  <a:lnTo>
                    <a:pt x="356" y="849"/>
                  </a:lnTo>
                  <a:lnTo>
                    <a:pt x="356" y="847"/>
                  </a:lnTo>
                  <a:lnTo>
                    <a:pt x="358" y="847"/>
                  </a:lnTo>
                  <a:lnTo>
                    <a:pt x="358" y="847"/>
                  </a:lnTo>
                  <a:lnTo>
                    <a:pt x="359" y="849"/>
                  </a:lnTo>
                  <a:lnTo>
                    <a:pt x="359" y="849"/>
                  </a:lnTo>
                  <a:lnTo>
                    <a:pt x="361" y="850"/>
                  </a:lnTo>
                  <a:lnTo>
                    <a:pt x="361" y="850"/>
                  </a:lnTo>
                  <a:lnTo>
                    <a:pt x="364" y="850"/>
                  </a:lnTo>
                  <a:lnTo>
                    <a:pt x="364" y="850"/>
                  </a:lnTo>
                  <a:lnTo>
                    <a:pt x="366" y="849"/>
                  </a:lnTo>
                  <a:lnTo>
                    <a:pt x="366" y="849"/>
                  </a:lnTo>
                  <a:lnTo>
                    <a:pt x="369" y="846"/>
                  </a:lnTo>
                  <a:lnTo>
                    <a:pt x="369" y="846"/>
                  </a:lnTo>
                  <a:lnTo>
                    <a:pt x="372" y="839"/>
                  </a:lnTo>
                  <a:lnTo>
                    <a:pt x="372" y="839"/>
                  </a:lnTo>
                  <a:lnTo>
                    <a:pt x="372" y="836"/>
                  </a:lnTo>
                  <a:lnTo>
                    <a:pt x="372" y="836"/>
                  </a:lnTo>
                  <a:lnTo>
                    <a:pt x="374" y="833"/>
                  </a:lnTo>
                  <a:lnTo>
                    <a:pt x="374" y="833"/>
                  </a:lnTo>
                  <a:lnTo>
                    <a:pt x="374" y="831"/>
                  </a:lnTo>
                  <a:lnTo>
                    <a:pt x="374" y="831"/>
                  </a:lnTo>
                  <a:lnTo>
                    <a:pt x="372" y="830"/>
                  </a:lnTo>
                  <a:lnTo>
                    <a:pt x="372" y="830"/>
                  </a:lnTo>
                  <a:lnTo>
                    <a:pt x="371" y="830"/>
                  </a:lnTo>
                  <a:lnTo>
                    <a:pt x="371" y="830"/>
                  </a:lnTo>
                  <a:lnTo>
                    <a:pt x="369" y="830"/>
                  </a:lnTo>
                  <a:lnTo>
                    <a:pt x="369" y="830"/>
                  </a:lnTo>
                  <a:lnTo>
                    <a:pt x="366" y="833"/>
                  </a:lnTo>
                  <a:lnTo>
                    <a:pt x="366" y="833"/>
                  </a:lnTo>
                  <a:lnTo>
                    <a:pt x="364" y="837"/>
                  </a:lnTo>
                  <a:lnTo>
                    <a:pt x="364" y="837"/>
                  </a:lnTo>
                  <a:lnTo>
                    <a:pt x="362" y="839"/>
                  </a:lnTo>
                  <a:lnTo>
                    <a:pt x="362" y="839"/>
                  </a:lnTo>
                  <a:lnTo>
                    <a:pt x="364" y="839"/>
                  </a:lnTo>
                  <a:lnTo>
                    <a:pt x="364" y="839"/>
                  </a:lnTo>
                  <a:lnTo>
                    <a:pt x="362" y="839"/>
                  </a:lnTo>
                  <a:lnTo>
                    <a:pt x="364" y="839"/>
                  </a:lnTo>
                  <a:lnTo>
                    <a:pt x="364" y="839"/>
                  </a:lnTo>
                  <a:lnTo>
                    <a:pt x="362" y="839"/>
                  </a:lnTo>
                  <a:lnTo>
                    <a:pt x="362" y="839"/>
                  </a:lnTo>
                  <a:lnTo>
                    <a:pt x="361" y="837"/>
                  </a:lnTo>
                  <a:lnTo>
                    <a:pt x="361" y="837"/>
                  </a:lnTo>
                  <a:lnTo>
                    <a:pt x="361" y="837"/>
                  </a:lnTo>
                  <a:lnTo>
                    <a:pt x="359" y="837"/>
                  </a:lnTo>
                  <a:lnTo>
                    <a:pt x="359" y="837"/>
                  </a:lnTo>
                  <a:lnTo>
                    <a:pt x="361" y="834"/>
                  </a:lnTo>
                  <a:lnTo>
                    <a:pt x="361" y="834"/>
                  </a:lnTo>
                  <a:lnTo>
                    <a:pt x="362" y="833"/>
                  </a:lnTo>
                  <a:lnTo>
                    <a:pt x="362" y="833"/>
                  </a:lnTo>
                  <a:lnTo>
                    <a:pt x="364" y="830"/>
                  </a:lnTo>
                  <a:lnTo>
                    <a:pt x="364" y="830"/>
                  </a:lnTo>
                  <a:lnTo>
                    <a:pt x="362" y="827"/>
                  </a:lnTo>
                  <a:lnTo>
                    <a:pt x="362" y="827"/>
                  </a:lnTo>
                  <a:lnTo>
                    <a:pt x="361" y="826"/>
                  </a:lnTo>
                  <a:lnTo>
                    <a:pt x="359" y="826"/>
                  </a:lnTo>
                  <a:lnTo>
                    <a:pt x="359" y="826"/>
                  </a:lnTo>
                  <a:lnTo>
                    <a:pt x="359" y="827"/>
                  </a:lnTo>
                  <a:lnTo>
                    <a:pt x="359" y="827"/>
                  </a:lnTo>
                  <a:lnTo>
                    <a:pt x="359" y="826"/>
                  </a:lnTo>
                  <a:lnTo>
                    <a:pt x="359" y="827"/>
                  </a:lnTo>
                  <a:lnTo>
                    <a:pt x="359" y="827"/>
                  </a:lnTo>
                  <a:lnTo>
                    <a:pt x="358" y="827"/>
                  </a:lnTo>
                  <a:lnTo>
                    <a:pt x="361" y="827"/>
                  </a:lnTo>
                  <a:lnTo>
                    <a:pt x="359" y="827"/>
                  </a:lnTo>
                  <a:lnTo>
                    <a:pt x="358" y="827"/>
                  </a:lnTo>
                  <a:lnTo>
                    <a:pt x="361" y="827"/>
                  </a:lnTo>
                  <a:lnTo>
                    <a:pt x="359" y="827"/>
                  </a:lnTo>
                  <a:lnTo>
                    <a:pt x="361" y="827"/>
                  </a:lnTo>
                  <a:lnTo>
                    <a:pt x="361" y="827"/>
                  </a:lnTo>
                  <a:lnTo>
                    <a:pt x="359" y="827"/>
                  </a:lnTo>
                  <a:lnTo>
                    <a:pt x="361" y="827"/>
                  </a:lnTo>
                  <a:lnTo>
                    <a:pt x="359" y="827"/>
                  </a:lnTo>
                  <a:lnTo>
                    <a:pt x="361" y="828"/>
                  </a:lnTo>
                  <a:lnTo>
                    <a:pt x="361" y="827"/>
                  </a:lnTo>
                  <a:lnTo>
                    <a:pt x="359" y="827"/>
                  </a:lnTo>
                  <a:lnTo>
                    <a:pt x="361" y="828"/>
                  </a:lnTo>
                  <a:lnTo>
                    <a:pt x="361" y="828"/>
                  </a:lnTo>
                  <a:lnTo>
                    <a:pt x="361" y="827"/>
                  </a:lnTo>
                  <a:lnTo>
                    <a:pt x="361" y="827"/>
                  </a:lnTo>
                  <a:lnTo>
                    <a:pt x="361" y="824"/>
                  </a:lnTo>
                  <a:lnTo>
                    <a:pt x="361" y="824"/>
                  </a:lnTo>
                  <a:lnTo>
                    <a:pt x="361" y="821"/>
                  </a:lnTo>
                  <a:lnTo>
                    <a:pt x="359" y="820"/>
                  </a:lnTo>
                  <a:lnTo>
                    <a:pt x="359" y="820"/>
                  </a:lnTo>
                  <a:lnTo>
                    <a:pt x="356" y="817"/>
                  </a:lnTo>
                  <a:lnTo>
                    <a:pt x="353" y="817"/>
                  </a:lnTo>
                  <a:lnTo>
                    <a:pt x="353" y="817"/>
                  </a:lnTo>
                  <a:lnTo>
                    <a:pt x="352" y="815"/>
                  </a:lnTo>
                  <a:lnTo>
                    <a:pt x="352" y="815"/>
                  </a:lnTo>
                  <a:lnTo>
                    <a:pt x="352" y="817"/>
                  </a:lnTo>
                  <a:lnTo>
                    <a:pt x="352" y="815"/>
                  </a:lnTo>
                  <a:lnTo>
                    <a:pt x="352" y="815"/>
                  </a:lnTo>
                  <a:lnTo>
                    <a:pt x="352" y="817"/>
                  </a:lnTo>
                  <a:lnTo>
                    <a:pt x="352" y="815"/>
                  </a:lnTo>
                  <a:lnTo>
                    <a:pt x="350" y="817"/>
                  </a:lnTo>
                  <a:lnTo>
                    <a:pt x="353" y="817"/>
                  </a:lnTo>
                  <a:lnTo>
                    <a:pt x="353" y="817"/>
                  </a:lnTo>
                  <a:lnTo>
                    <a:pt x="352" y="815"/>
                  </a:lnTo>
                  <a:lnTo>
                    <a:pt x="350" y="817"/>
                  </a:lnTo>
                  <a:lnTo>
                    <a:pt x="353" y="817"/>
                  </a:lnTo>
                  <a:lnTo>
                    <a:pt x="350" y="817"/>
                  </a:lnTo>
                  <a:lnTo>
                    <a:pt x="352" y="818"/>
                  </a:lnTo>
                  <a:lnTo>
                    <a:pt x="352" y="818"/>
                  </a:lnTo>
                  <a:lnTo>
                    <a:pt x="353" y="817"/>
                  </a:lnTo>
                  <a:lnTo>
                    <a:pt x="350" y="817"/>
                  </a:lnTo>
                  <a:lnTo>
                    <a:pt x="352" y="818"/>
                  </a:lnTo>
                  <a:lnTo>
                    <a:pt x="352" y="817"/>
                  </a:lnTo>
                  <a:lnTo>
                    <a:pt x="352" y="818"/>
                  </a:lnTo>
                  <a:lnTo>
                    <a:pt x="352" y="818"/>
                  </a:lnTo>
                  <a:lnTo>
                    <a:pt x="352" y="817"/>
                  </a:lnTo>
                  <a:lnTo>
                    <a:pt x="352" y="818"/>
                  </a:lnTo>
                  <a:lnTo>
                    <a:pt x="352" y="818"/>
                  </a:lnTo>
                  <a:lnTo>
                    <a:pt x="352" y="818"/>
                  </a:lnTo>
                  <a:lnTo>
                    <a:pt x="355" y="817"/>
                  </a:lnTo>
                  <a:lnTo>
                    <a:pt x="355" y="817"/>
                  </a:lnTo>
                  <a:lnTo>
                    <a:pt x="359" y="815"/>
                  </a:lnTo>
                  <a:lnTo>
                    <a:pt x="359" y="815"/>
                  </a:lnTo>
                  <a:lnTo>
                    <a:pt x="362" y="814"/>
                  </a:lnTo>
                  <a:lnTo>
                    <a:pt x="362" y="814"/>
                  </a:lnTo>
                  <a:lnTo>
                    <a:pt x="362" y="814"/>
                  </a:lnTo>
                  <a:lnTo>
                    <a:pt x="362" y="814"/>
                  </a:lnTo>
                  <a:lnTo>
                    <a:pt x="364" y="811"/>
                  </a:lnTo>
                  <a:lnTo>
                    <a:pt x="364" y="811"/>
                  </a:lnTo>
                  <a:lnTo>
                    <a:pt x="362" y="810"/>
                  </a:lnTo>
                  <a:lnTo>
                    <a:pt x="362" y="810"/>
                  </a:lnTo>
                  <a:lnTo>
                    <a:pt x="361" y="807"/>
                  </a:lnTo>
                  <a:lnTo>
                    <a:pt x="361" y="807"/>
                  </a:lnTo>
                  <a:lnTo>
                    <a:pt x="359" y="804"/>
                  </a:lnTo>
                  <a:lnTo>
                    <a:pt x="359" y="804"/>
                  </a:lnTo>
                  <a:lnTo>
                    <a:pt x="359" y="804"/>
                  </a:lnTo>
                  <a:lnTo>
                    <a:pt x="359" y="804"/>
                  </a:lnTo>
                  <a:lnTo>
                    <a:pt x="358" y="804"/>
                  </a:lnTo>
                  <a:lnTo>
                    <a:pt x="359" y="804"/>
                  </a:lnTo>
                  <a:lnTo>
                    <a:pt x="359" y="804"/>
                  </a:lnTo>
                  <a:lnTo>
                    <a:pt x="358" y="804"/>
                  </a:lnTo>
                  <a:lnTo>
                    <a:pt x="359" y="804"/>
                  </a:lnTo>
                  <a:lnTo>
                    <a:pt x="358" y="804"/>
                  </a:lnTo>
                  <a:lnTo>
                    <a:pt x="359" y="804"/>
                  </a:lnTo>
                  <a:lnTo>
                    <a:pt x="359" y="804"/>
                  </a:lnTo>
                  <a:lnTo>
                    <a:pt x="358" y="804"/>
                  </a:lnTo>
                  <a:lnTo>
                    <a:pt x="359" y="804"/>
                  </a:lnTo>
                  <a:lnTo>
                    <a:pt x="359" y="804"/>
                  </a:lnTo>
                  <a:lnTo>
                    <a:pt x="361" y="804"/>
                  </a:lnTo>
                  <a:lnTo>
                    <a:pt x="362" y="804"/>
                  </a:lnTo>
                  <a:lnTo>
                    <a:pt x="362" y="804"/>
                  </a:lnTo>
                  <a:lnTo>
                    <a:pt x="365" y="804"/>
                  </a:lnTo>
                  <a:lnTo>
                    <a:pt x="365" y="804"/>
                  </a:lnTo>
                  <a:lnTo>
                    <a:pt x="365" y="804"/>
                  </a:lnTo>
                  <a:lnTo>
                    <a:pt x="365" y="804"/>
                  </a:lnTo>
                  <a:lnTo>
                    <a:pt x="365" y="804"/>
                  </a:lnTo>
                  <a:lnTo>
                    <a:pt x="365" y="804"/>
                  </a:lnTo>
                  <a:lnTo>
                    <a:pt x="365" y="804"/>
                  </a:lnTo>
                  <a:lnTo>
                    <a:pt x="366" y="804"/>
                  </a:lnTo>
                  <a:lnTo>
                    <a:pt x="368" y="802"/>
                  </a:lnTo>
                  <a:lnTo>
                    <a:pt x="368" y="802"/>
                  </a:lnTo>
                  <a:lnTo>
                    <a:pt x="368" y="802"/>
                  </a:lnTo>
                  <a:lnTo>
                    <a:pt x="368" y="800"/>
                  </a:lnTo>
                  <a:lnTo>
                    <a:pt x="366" y="800"/>
                  </a:lnTo>
                  <a:lnTo>
                    <a:pt x="366" y="800"/>
                  </a:lnTo>
                  <a:lnTo>
                    <a:pt x="366" y="800"/>
                  </a:lnTo>
                  <a:lnTo>
                    <a:pt x="365" y="798"/>
                  </a:lnTo>
                  <a:lnTo>
                    <a:pt x="365" y="798"/>
                  </a:lnTo>
                  <a:lnTo>
                    <a:pt x="362" y="794"/>
                  </a:lnTo>
                  <a:lnTo>
                    <a:pt x="362" y="794"/>
                  </a:lnTo>
                  <a:lnTo>
                    <a:pt x="359" y="786"/>
                  </a:lnTo>
                  <a:lnTo>
                    <a:pt x="359" y="786"/>
                  </a:lnTo>
                  <a:lnTo>
                    <a:pt x="356" y="779"/>
                  </a:lnTo>
                  <a:lnTo>
                    <a:pt x="356" y="779"/>
                  </a:lnTo>
                  <a:lnTo>
                    <a:pt x="355" y="779"/>
                  </a:lnTo>
                  <a:lnTo>
                    <a:pt x="355" y="778"/>
                  </a:lnTo>
                  <a:lnTo>
                    <a:pt x="355" y="778"/>
                  </a:lnTo>
                  <a:lnTo>
                    <a:pt x="358" y="778"/>
                  </a:lnTo>
                  <a:lnTo>
                    <a:pt x="358" y="778"/>
                  </a:lnTo>
                  <a:lnTo>
                    <a:pt x="361" y="776"/>
                  </a:lnTo>
                  <a:lnTo>
                    <a:pt x="361" y="776"/>
                  </a:lnTo>
                  <a:lnTo>
                    <a:pt x="362" y="776"/>
                  </a:lnTo>
                  <a:lnTo>
                    <a:pt x="362" y="776"/>
                  </a:lnTo>
                  <a:lnTo>
                    <a:pt x="364" y="776"/>
                  </a:lnTo>
                  <a:lnTo>
                    <a:pt x="364" y="776"/>
                  </a:lnTo>
                  <a:lnTo>
                    <a:pt x="365" y="773"/>
                  </a:lnTo>
                  <a:lnTo>
                    <a:pt x="365" y="773"/>
                  </a:lnTo>
                  <a:lnTo>
                    <a:pt x="364" y="772"/>
                  </a:lnTo>
                  <a:lnTo>
                    <a:pt x="364" y="772"/>
                  </a:lnTo>
                  <a:lnTo>
                    <a:pt x="364" y="772"/>
                  </a:lnTo>
                  <a:lnTo>
                    <a:pt x="364" y="772"/>
                  </a:lnTo>
                  <a:lnTo>
                    <a:pt x="361" y="771"/>
                  </a:lnTo>
                  <a:lnTo>
                    <a:pt x="361" y="769"/>
                  </a:lnTo>
                  <a:lnTo>
                    <a:pt x="361" y="769"/>
                  </a:lnTo>
                  <a:lnTo>
                    <a:pt x="361" y="771"/>
                  </a:lnTo>
                  <a:lnTo>
                    <a:pt x="361" y="771"/>
                  </a:lnTo>
                  <a:lnTo>
                    <a:pt x="361" y="769"/>
                  </a:lnTo>
                  <a:lnTo>
                    <a:pt x="361" y="771"/>
                  </a:lnTo>
                  <a:lnTo>
                    <a:pt x="361" y="771"/>
                  </a:lnTo>
                  <a:lnTo>
                    <a:pt x="359" y="771"/>
                  </a:lnTo>
                  <a:lnTo>
                    <a:pt x="361" y="771"/>
                  </a:lnTo>
                  <a:lnTo>
                    <a:pt x="361" y="771"/>
                  </a:lnTo>
                  <a:lnTo>
                    <a:pt x="359" y="771"/>
                  </a:lnTo>
                  <a:lnTo>
                    <a:pt x="361" y="771"/>
                  </a:lnTo>
                  <a:lnTo>
                    <a:pt x="361" y="771"/>
                  </a:lnTo>
                  <a:lnTo>
                    <a:pt x="361" y="771"/>
                  </a:lnTo>
                  <a:lnTo>
                    <a:pt x="361" y="771"/>
                  </a:lnTo>
                  <a:lnTo>
                    <a:pt x="361" y="771"/>
                  </a:lnTo>
                  <a:lnTo>
                    <a:pt x="361" y="771"/>
                  </a:lnTo>
                  <a:lnTo>
                    <a:pt x="361" y="771"/>
                  </a:lnTo>
                  <a:lnTo>
                    <a:pt x="361" y="771"/>
                  </a:lnTo>
                  <a:lnTo>
                    <a:pt x="361" y="771"/>
                  </a:lnTo>
                  <a:lnTo>
                    <a:pt x="361" y="771"/>
                  </a:lnTo>
                  <a:lnTo>
                    <a:pt x="361" y="771"/>
                  </a:lnTo>
                  <a:lnTo>
                    <a:pt x="362" y="771"/>
                  </a:lnTo>
                  <a:lnTo>
                    <a:pt x="362" y="771"/>
                  </a:lnTo>
                  <a:lnTo>
                    <a:pt x="368" y="769"/>
                  </a:lnTo>
                  <a:lnTo>
                    <a:pt x="368" y="769"/>
                  </a:lnTo>
                  <a:lnTo>
                    <a:pt x="371" y="769"/>
                  </a:lnTo>
                  <a:lnTo>
                    <a:pt x="371" y="769"/>
                  </a:lnTo>
                  <a:lnTo>
                    <a:pt x="372" y="768"/>
                  </a:lnTo>
                  <a:lnTo>
                    <a:pt x="372" y="765"/>
                  </a:lnTo>
                  <a:lnTo>
                    <a:pt x="372" y="765"/>
                  </a:lnTo>
                  <a:lnTo>
                    <a:pt x="372" y="765"/>
                  </a:lnTo>
                  <a:lnTo>
                    <a:pt x="372" y="762"/>
                  </a:lnTo>
                  <a:lnTo>
                    <a:pt x="372" y="762"/>
                  </a:lnTo>
                  <a:lnTo>
                    <a:pt x="372" y="760"/>
                  </a:lnTo>
                  <a:lnTo>
                    <a:pt x="372" y="760"/>
                  </a:lnTo>
                  <a:lnTo>
                    <a:pt x="371" y="759"/>
                  </a:lnTo>
                  <a:lnTo>
                    <a:pt x="372" y="760"/>
                  </a:lnTo>
                  <a:lnTo>
                    <a:pt x="372" y="760"/>
                  </a:lnTo>
                  <a:lnTo>
                    <a:pt x="371" y="759"/>
                  </a:lnTo>
                  <a:lnTo>
                    <a:pt x="372" y="760"/>
                  </a:lnTo>
                  <a:lnTo>
                    <a:pt x="371" y="759"/>
                  </a:lnTo>
                  <a:lnTo>
                    <a:pt x="371" y="760"/>
                  </a:lnTo>
                  <a:lnTo>
                    <a:pt x="372" y="760"/>
                  </a:lnTo>
                  <a:lnTo>
                    <a:pt x="371" y="759"/>
                  </a:lnTo>
                  <a:lnTo>
                    <a:pt x="371" y="760"/>
                  </a:lnTo>
                  <a:lnTo>
                    <a:pt x="371" y="760"/>
                  </a:lnTo>
                  <a:lnTo>
                    <a:pt x="371" y="760"/>
                  </a:lnTo>
                  <a:lnTo>
                    <a:pt x="371" y="760"/>
                  </a:lnTo>
                  <a:lnTo>
                    <a:pt x="371" y="760"/>
                  </a:lnTo>
                  <a:lnTo>
                    <a:pt x="371" y="760"/>
                  </a:lnTo>
                  <a:lnTo>
                    <a:pt x="371" y="760"/>
                  </a:lnTo>
                  <a:lnTo>
                    <a:pt x="372" y="760"/>
                  </a:lnTo>
                  <a:lnTo>
                    <a:pt x="374" y="760"/>
                  </a:lnTo>
                  <a:lnTo>
                    <a:pt x="374" y="760"/>
                  </a:lnTo>
                  <a:lnTo>
                    <a:pt x="379" y="760"/>
                  </a:lnTo>
                  <a:lnTo>
                    <a:pt x="379" y="760"/>
                  </a:lnTo>
                  <a:lnTo>
                    <a:pt x="384" y="760"/>
                  </a:lnTo>
                  <a:lnTo>
                    <a:pt x="384" y="760"/>
                  </a:lnTo>
                  <a:lnTo>
                    <a:pt x="385" y="760"/>
                  </a:lnTo>
                  <a:lnTo>
                    <a:pt x="385" y="760"/>
                  </a:lnTo>
                  <a:lnTo>
                    <a:pt x="385" y="760"/>
                  </a:lnTo>
                  <a:lnTo>
                    <a:pt x="385" y="760"/>
                  </a:lnTo>
                  <a:lnTo>
                    <a:pt x="387" y="757"/>
                  </a:lnTo>
                  <a:lnTo>
                    <a:pt x="387" y="757"/>
                  </a:lnTo>
                  <a:lnTo>
                    <a:pt x="387" y="756"/>
                  </a:lnTo>
                  <a:lnTo>
                    <a:pt x="387" y="756"/>
                  </a:lnTo>
                  <a:lnTo>
                    <a:pt x="384" y="755"/>
                  </a:lnTo>
                  <a:lnTo>
                    <a:pt x="384" y="755"/>
                  </a:lnTo>
                  <a:lnTo>
                    <a:pt x="379" y="752"/>
                  </a:lnTo>
                  <a:lnTo>
                    <a:pt x="379" y="752"/>
                  </a:lnTo>
                  <a:lnTo>
                    <a:pt x="379" y="752"/>
                  </a:lnTo>
                  <a:lnTo>
                    <a:pt x="379" y="752"/>
                  </a:lnTo>
                  <a:lnTo>
                    <a:pt x="378" y="752"/>
                  </a:lnTo>
                  <a:lnTo>
                    <a:pt x="379" y="752"/>
                  </a:lnTo>
                  <a:lnTo>
                    <a:pt x="379" y="752"/>
                  </a:lnTo>
                  <a:lnTo>
                    <a:pt x="379" y="752"/>
                  </a:lnTo>
                  <a:lnTo>
                    <a:pt x="378" y="752"/>
                  </a:lnTo>
                  <a:lnTo>
                    <a:pt x="379" y="752"/>
                  </a:lnTo>
                  <a:lnTo>
                    <a:pt x="378" y="752"/>
                  </a:lnTo>
                  <a:lnTo>
                    <a:pt x="378" y="753"/>
                  </a:lnTo>
                  <a:lnTo>
                    <a:pt x="378" y="753"/>
                  </a:lnTo>
                  <a:lnTo>
                    <a:pt x="379" y="752"/>
                  </a:lnTo>
                  <a:lnTo>
                    <a:pt x="378" y="752"/>
                  </a:lnTo>
                  <a:lnTo>
                    <a:pt x="378" y="753"/>
                  </a:lnTo>
                  <a:lnTo>
                    <a:pt x="378" y="753"/>
                  </a:lnTo>
                  <a:lnTo>
                    <a:pt x="378" y="753"/>
                  </a:lnTo>
                  <a:lnTo>
                    <a:pt x="378" y="753"/>
                  </a:lnTo>
                  <a:lnTo>
                    <a:pt x="378" y="753"/>
                  </a:lnTo>
                  <a:lnTo>
                    <a:pt x="378" y="753"/>
                  </a:lnTo>
                  <a:lnTo>
                    <a:pt x="379" y="753"/>
                  </a:lnTo>
                  <a:lnTo>
                    <a:pt x="379" y="753"/>
                  </a:lnTo>
                  <a:lnTo>
                    <a:pt x="381" y="752"/>
                  </a:lnTo>
                  <a:lnTo>
                    <a:pt x="381" y="752"/>
                  </a:lnTo>
                  <a:lnTo>
                    <a:pt x="388" y="752"/>
                  </a:lnTo>
                  <a:lnTo>
                    <a:pt x="388" y="752"/>
                  </a:lnTo>
                  <a:lnTo>
                    <a:pt x="391" y="752"/>
                  </a:lnTo>
                  <a:lnTo>
                    <a:pt x="395" y="750"/>
                  </a:lnTo>
                  <a:lnTo>
                    <a:pt x="395" y="750"/>
                  </a:lnTo>
                  <a:lnTo>
                    <a:pt x="397" y="747"/>
                  </a:lnTo>
                  <a:lnTo>
                    <a:pt x="400" y="744"/>
                  </a:lnTo>
                  <a:lnTo>
                    <a:pt x="400" y="744"/>
                  </a:lnTo>
                  <a:lnTo>
                    <a:pt x="400" y="744"/>
                  </a:lnTo>
                  <a:lnTo>
                    <a:pt x="401" y="744"/>
                  </a:lnTo>
                  <a:lnTo>
                    <a:pt x="401" y="744"/>
                  </a:lnTo>
                  <a:lnTo>
                    <a:pt x="403" y="744"/>
                  </a:lnTo>
                  <a:lnTo>
                    <a:pt x="403" y="744"/>
                  </a:lnTo>
                  <a:lnTo>
                    <a:pt x="407" y="746"/>
                  </a:lnTo>
                  <a:lnTo>
                    <a:pt x="407" y="746"/>
                  </a:lnTo>
                  <a:lnTo>
                    <a:pt x="408" y="747"/>
                  </a:lnTo>
                  <a:lnTo>
                    <a:pt x="410" y="749"/>
                  </a:lnTo>
                  <a:lnTo>
                    <a:pt x="410" y="749"/>
                  </a:lnTo>
                  <a:lnTo>
                    <a:pt x="411" y="749"/>
                  </a:lnTo>
                  <a:lnTo>
                    <a:pt x="411" y="749"/>
                  </a:lnTo>
                  <a:lnTo>
                    <a:pt x="413" y="749"/>
                  </a:lnTo>
                  <a:lnTo>
                    <a:pt x="413" y="749"/>
                  </a:lnTo>
                  <a:lnTo>
                    <a:pt x="414" y="747"/>
                  </a:lnTo>
                  <a:lnTo>
                    <a:pt x="414" y="747"/>
                  </a:lnTo>
                  <a:lnTo>
                    <a:pt x="414" y="746"/>
                  </a:lnTo>
                  <a:lnTo>
                    <a:pt x="414" y="746"/>
                  </a:lnTo>
                  <a:lnTo>
                    <a:pt x="414" y="744"/>
                  </a:lnTo>
                  <a:lnTo>
                    <a:pt x="414" y="744"/>
                  </a:lnTo>
                  <a:lnTo>
                    <a:pt x="414" y="740"/>
                  </a:lnTo>
                  <a:lnTo>
                    <a:pt x="414" y="739"/>
                  </a:lnTo>
                  <a:lnTo>
                    <a:pt x="414" y="739"/>
                  </a:lnTo>
                  <a:lnTo>
                    <a:pt x="413" y="736"/>
                  </a:lnTo>
                  <a:lnTo>
                    <a:pt x="411" y="733"/>
                  </a:lnTo>
                  <a:lnTo>
                    <a:pt x="411" y="733"/>
                  </a:lnTo>
                  <a:lnTo>
                    <a:pt x="411" y="731"/>
                  </a:lnTo>
                  <a:lnTo>
                    <a:pt x="411" y="731"/>
                  </a:lnTo>
                  <a:lnTo>
                    <a:pt x="413" y="729"/>
                  </a:lnTo>
                  <a:lnTo>
                    <a:pt x="414" y="727"/>
                  </a:lnTo>
                  <a:lnTo>
                    <a:pt x="414" y="727"/>
                  </a:lnTo>
                  <a:lnTo>
                    <a:pt x="417" y="726"/>
                  </a:lnTo>
                  <a:lnTo>
                    <a:pt x="417" y="726"/>
                  </a:lnTo>
                  <a:lnTo>
                    <a:pt x="423" y="726"/>
                  </a:lnTo>
                  <a:lnTo>
                    <a:pt x="423" y="726"/>
                  </a:lnTo>
                  <a:lnTo>
                    <a:pt x="426" y="726"/>
                  </a:lnTo>
                  <a:lnTo>
                    <a:pt x="426" y="726"/>
                  </a:lnTo>
                  <a:lnTo>
                    <a:pt x="427" y="724"/>
                  </a:lnTo>
                  <a:lnTo>
                    <a:pt x="427" y="724"/>
                  </a:lnTo>
                  <a:lnTo>
                    <a:pt x="429" y="723"/>
                  </a:lnTo>
                  <a:lnTo>
                    <a:pt x="429" y="723"/>
                  </a:lnTo>
                  <a:lnTo>
                    <a:pt x="430" y="720"/>
                  </a:lnTo>
                  <a:lnTo>
                    <a:pt x="430" y="720"/>
                  </a:lnTo>
                  <a:lnTo>
                    <a:pt x="432" y="718"/>
                  </a:lnTo>
                  <a:lnTo>
                    <a:pt x="432" y="718"/>
                  </a:lnTo>
                  <a:lnTo>
                    <a:pt x="432" y="718"/>
                  </a:lnTo>
                  <a:lnTo>
                    <a:pt x="432" y="718"/>
                  </a:lnTo>
                  <a:lnTo>
                    <a:pt x="432" y="718"/>
                  </a:lnTo>
                  <a:lnTo>
                    <a:pt x="432" y="718"/>
                  </a:lnTo>
                  <a:lnTo>
                    <a:pt x="432" y="718"/>
                  </a:lnTo>
                  <a:lnTo>
                    <a:pt x="432" y="717"/>
                  </a:lnTo>
                  <a:lnTo>
                    <a:pt x="432" y="718"/>
                  </a:lnTo>
                  <a:lnTo>
                    <a:pt x="432" y="718"/>
                  </a:lnTo>
                  <a:lnTo>
                    <a:pt x="432" y="717"/>
                  </a:lnTo>
                  <a:lnTo>
                    <a:pt x="432" y="718"/>
                  </a:lnTo>
                  <a:lnTo>
                    <a:pt x="432" y="717"/>
                  </a:lnTo>
                  <a:lnTo>
                    <a:pt x="430" y="718"/>
                  </a:lnTo>
                  <a:lnTo>
                    <a:pt x="432" y="718"/>
                  </a:lnTo>
                  <a:lnTo>
                    <a:pt x="432" y="717"/>
                  </a:lnTo>
                  <a:lnTo>
                    <a:pt x="430" y="718"/>
                  </a:lnTo>
                  <a:lnTo>
                    <a:pt x="430" y="718"/>
                  </a:lnTo>
                  <a:lnTo>
                    <a:pt x="430" y="718"/>
                  </a:lnTo>
                  <a:lnTo>
                    <a:pt x="430" y="718"/>
                  </a:lnTo>
                  <a:lnTo>
                    <a:pt x="430" y="718"/>
                  </a:lnTo>
                  <a:lnTo>
                    <a:pt x="430" y="718"/>
                  </a:lnTo>
                  <a:lnTo>
                    <a:pt x="430" y="718"/>
                  </a:lnTo>
                  <a:lnTo>
                    <a:pt x="432" y="720"/>
                  </a:lnTo>
                  <a:lnTo>
                    <a:pt x="432" y="720"/>
                  </a:lnTo>
                  <a:lnTo>
                    <a:pt x="434" y="721"/>
                  </a:lnTo>
                  <a:lnTo>
                    <a:pt x="434" y="721"/>
                  </a:lnTo>
                  <a:lnTo>
                    <a:pt x="437" y="723"/>
                  </a:lnTo>
                  <a:lnTo>
                    <a:pt x="437" y="723"/>
                  </a:lnTo>
                  <a:lnTo>
                    <a:pt x="440" y="723"/>
                  </a:lnTo>
                  <a:lnTo>
                    <a:pt x="440" y="723"/>
                  </a:lnTo>
                  <a:lnTo>
                    <a:pt x="445" y="720"/>
                  </a:lnTo>
                  <a:lnTo>
                    <a:pt x="445" y="720"/>
                  </a:lnTo>
                  <a:lnTo>
                    <a:pt x="452" y="713"/>
                  </a:lnTo>
                  <a:lnTo>
                    <a:pt x="452" y="713"/>
                  </a:lnTo>
                  <a:lnTo>
                    <a:pt x="453" y="710"/>
                  </a:lnTo>
                  <a:lnTo>
                    <a:pt x="455" y="710"/>
                  </a:lnTo>
                  <a:lnTo>
                    <a:pt x="455" y="708"/>
                  </a:lnTo>
                  <a:lnTo>
                    <a:pt x="455" y="708"/>
                  </a:lnTo>
                  <a:lnTo>
                    <a:pt x="456" y="707"/>
                  </a:lnTo>
                  <a:lnTo>
                    <a:pt x="456" y="707"/>
                  </a:lnTo>
                  <a:lnTo>
                    <a:pt x="455" y="705"/>
                  </a:lnTo>
                  <a:lnTo>
                    <a:pt x="455" y="705"/>
                  </a:lnTo>
                  <a:lnTo>
                    <a:pt x="453" y="705"/>
                  </a:lnTo>
                  <a:lnTo>
                    <a:pt x="453" y="705"/>
                  </a:lnTo>
                  <a:lnTo>
                    <a:pt x="452" y="705"/>
                  </a:lnTo>
                  <a:lnTo>
                    <a:pt x="452" y="705"/>
                  </a:lnTo>
                  <a:lnTo>
                    <a:pt x="452" y="705"/>
                  </a:lnTo>
                  <a:lnTo>
                    <a:pt x="445" y="708"/>
                  </a:lnTo>
                  <a:lnTo>
                    <a:pt x="445" y="708"/>
                  </a:lnTo>
                  <a:lnTo>
                    <a:pt x="439" y="711"/>
                  </a:lnTo>
                  <a:lnTo>
                    <a:pt x="439" y="711"/>
                  </a:lnTo>
                  <a:lnTo>
                    <a:pt x="433" y="710"/>
                  </a:lnTo>
                  <a:lnTo>
                    <a:pt x="433" y="710"/>
                  </a:lnTo>
                  <a:lnTo>
                    <a:pt x="430" y="708"/>
                  </a:lnTo>
                  <a:lnTo>
                    <a:pt x="430" y="707"/>
                  </a:lnTo>
                  <a:lnTo>
                    <a:pt x="430" y="708"/>
                  </a:lnTo>
                  <a:lnTo>
                    <a:pt x="430" y="707"/>
                  </a:lnTo>
                  <a:lnTo>
                    <a:pt x="430" y="707"/>
                  </a:lnTo>
                  <a:lnTo>
                    <a:pt x="430" y="708"/>
                  </a:lnTo>
                  <a:lnTo>
                    <a:pt x="430" y="707"/>
                  </a:lnTo>
                  <a:lnTo>
                    <a:pt x="429" y="708"/>
                  </a:lnTo>
                  <a:lnTo>
                    <a:pt x="430" y="708"/>
                  </a:lnTo>
                  <a:lnTo>
                    <a:pt x="430" y="707"/>
                  </a:lnTo>
                  <a:lnTo>
                    <a:pt x="429" y="708"/>
                  </a:lnTo>
                  <a:lnTo>
                    <a:pt x="430" y="708"/>
                  </a:lnTo>
                  <a:lnTo>
                    <a:pt x="429" y="708"/>
                  </a:lnTo>
                  <a:lnTo>
                    <a:pt x="430" y="708"/>
                  </a:lnTo>
                  <a:lnTo>
                    <a:pt x="430" y="708"/>
                  </a:lnTo>
                  <a:lnTo>
                    <a:pt x="429" y="708"/>
                  </a:lnTo>
                  <a:lnTo>
                    <a:pt x="430" y="708"/>
                  </a:lnTo>
                  <a:lnTo>
                    <a:pt x="430" y="708"/>
                  </a:lnTo>
                  <a:lnTo>
                    <a:pt x="430" y="708"/>
                  </a:lnTo>
                  <a:lnTo>
                    <a:pt x="433" y="704"/>
                  </a:lnTo>
                  <a:lnTo>
                    <a:pt x="433" y="704"/>
                  </a:lnTo>
                  <a:lnTo>
                    <a:pt x="439" y="697"/>
                  </a:lnTo>
                  <a:lnTo>
                    <a:pt x="439" y="697"/>
                  </a:lnTo>
                  <a:lnTo>
                    <a:pt x="440" y="692"/>
                  </a:lnTo>
                  <a:lnTo>
                    <a:pt x="440" y="692"/>
                  </a:lnTo>
                  <a:lnTo>
                    <a:pt x="446" y="684"/>
                  </a:lnTo>
                  <a:lnTo>
                    <a:pt x="446" y="684"/>
                  </a:lnTo>
                  <a:lnTo>
                    <a:pt x="449" y="679"/>
                  </a:lnTo>
                  <a:lnTo>
                    <a:pt x="449" y="679"/>
                  </a:lnTo>
                  <a:lnTo>
                    <a:pt x="450" y="678"/>
                  </a:lnTo>
                  <a:lnTo>
                    <a:pt x="450" y="678"/>
                  </a:lnTo>
                  <a:lnTo>
                    <a:pt x="450" y="678"/>
                  </a:lnTo>
                  <a:lnTo>
                    <a:pt x="455" y="679"/>
                  </a:lnTo>
                  <a:lnTo>
                    <a:pt x="455" y="679"/>
                  </a:lnTo>
                  <a:lnTo>
                    <a:pt x="456" y="679"/>
                  </a:lnTo>
                  <a:lnTo>
                    <a:pt x="456" y="679"/>
                  </a:lnTo>
                  <a:lnTo>
                    <a:pt x="459" y="681"/>
                  </a:lnTo>
                  <a:lnTo>
                    <a:pt x="459" y="681"/>
                  </a:lnTo>
                  <a:lnTo>
                    <a:pt x="461" y="681"/>
                  </a:lnTo>
                  <a:lnTo>
                    <a:pt x="461" y="681"/>
                  </a:lnTo>
                  <a:lnTo>
                    <a:pt x="462" y="678"/>
                  </a:lnTo>
                  <a:lnTo>
                    <a:pt x="462" y="678"/>
                  </a:lnTo>
                  <a:lnTo>
                    <a:pt x="462" y="676"/>
                  </a:lnTo>
                  <a:lnTo>
                    <a:pt x="462" y="675"/>
                  </a:lnTo>
                  <a:lnTo>
                    <a:pt x="462" y="675"/>
                  </a:lnTo>
                  <a:lnTo>
                    <a:pt x="462" y="675"/>
                  </a:lnTo>
                  <a:lnTo>
                    <a:pt x="462" y="675"/>
                  </a:lnTo>
                  <a:lnTo>
                    <a:pt x="462" y="672"/>
                  </a:lnTo>
                  <a:lnTo>
                    <a:pt x="462" y="672"/>
                  </a:lnTo>
                  <a:lnTo>
                    <a:pt x="465" y="671"/>
                  </a:lnTo>
                  <a:lnTo>
                    <a:pt x="465" y="671"/>
                  </a:lnTo>
                  <a:lnTo>
                    <a:pt x="468" y="668"/>
                  </a:lnTo>
                  <a:lnTo>
                    <a:pt x="468" y="668"/>
                  </a:lnTo>
                  <a:lnTo>
                    <a:pt x="475" y="662"/>
                  </a:lnTo>
                  <a:lnTo>
                    <a:pt x="475" y="662"/>
                  </a:lnTo>
                  <a:lnTo>
                    <a:pt x="478" y="659"/>
                  </a:lnTo>
                  <a:lnTo>
                    <a:pt x="478" y="659"/>
                  </a:lnTo>
                  <a:lnTo>
                    <a:pt x="479" y="658"/>
                  </a:lnTo>
                  <a:lnTo>
                    <a:pt x="479" y="656"/>
                  </a:lnTo>
                  <a:lnTo>
                    <a:pt x="479" y="656"/>
                  </a:lnTo>
                  <a:lnTo>
                    <a:pt x="479" y="655"/>
                  </a:lnTo>
                  <a:lnTo>
                    <a:pt x="479" y="655"/>
                  </a:lnTo>
                  <a:lnTo>
                    <a:pt x="479" y="653"/>
                  </a:lnTo>
                  <a:lnTo>
                    <a:pt x="479" y="653"/>
                  </a:lnTo>
                  <a:lnTo>
                    <a:pt x="478" y="652"/>
                  </a:lnTo>
                  <a:lnTo>
                    <a:pt x="478" y="652"/>
                  </a:lnTo>
                  <a:lnTo>
                    <a:pt x="475" y="653"/>
                  </a:lnTo>
                  <a:lnTo>
                    <a:pt x="475" y="653"/>
                  </a:lnTo>
                  <a:lnTo>
                    <a:pt x="475" y="653"/>
                  </a:lnTo>
                  <a:lnTo>
                    <a:pt x="472" y="653"/>
                  </a:lnTo>
                  <a:lnTo>
                    <a:pt x="472" y="653"/>
                  </a:lnTo>
                  <a:lnTo>
                    <a:pt x="469" y="655"/>
                  </a:lnTo>
                  <a:lnTo>
                    <a:pt x="469" y="655"/>
                  </a:lnTo>
                  <a:lnTo>
                    <a:pt x="469" y="656"/>
                  </a:lnTo>
                  <a:lnTo>
                    <a:pt x="471" y="655"/>
                  </a:lnTo>
                  <a:lnTo>
                    <a:pt x="469" y="655"/>
                  </a:lnTo>
                  <a:lnTo>
                    <a:pt x="469" y="656"/>
                  </a:lnTo>
                  <a:lnTo>
                    <a:pt x="471" y="655"/>
                  </a:lnTo>
                  <a:lnTo>
                    <a:pt x="469" y="656"/>
                  </a:lnTo>
                  <a:lnTo>
                    <a:pt x="471" y="656"/>
                  </a:lnTo>
                  <a:lnTo>
                    <a:pt x="471" y="655"/>
                  </a:lnTo>
                  <a:lnTo>
                    <a:pt x="469" y="656"/>
                  </a:lnTo>
                  <a:lnTo>
                    <a:pt x="471" y="656"/>
                  </a:lnTo>
                  <a:lnTo>
                    <a:pt x="469" y="656"/>
                  </a:lnTo>
                  <a:lnTo>
                    <a:pt x="471" y="656"/>
                  </a:lnTo>
                  <a:lnTo>
                    <a:pt x="471" y="656"/>
                  </a:lnTo>
                  <a:lnTo>
                    <a:pt x="469" y="656"/>
                  </a:lnTo>
                  <a:lnTo>
                    <a:pt x="471" y="656"/>
                  </a:lnTo>
                  <a:lnTo>
                    <a:pt x="471" y="656"/>
                  </a:lnTo>
                  <a:lnTo>
                    <a:pt x="471" y="656"/>
                  </a:lnTo>
                  <a:lnTo>
                    <a:pt x="471" y="656"/>
                  </a:lnTo>
                  <a:lnTo>
                    <a:pt x="471" y="656"/>
                  </a:lnTo>
                  <a:lnTo>
                    <a:pt x="471" y="656"/>
                  </a:lnTo>
                  <a:lnTo>
                    <a:pt x="471" y="656"/>
                  </a:lnTo>
                  <a:lnTo>
                    <a:pt x="471" y="656"/>
                  </a:lnTo>
                  <a:lnTo>
                    <a:pt x="471" y="656"/>
                  </a:lnTo>
                  <a:lnTo>
                    <a:pt x="476" y="649"/>
                  </a:lnTo>
                  <a:lnTo>
                    <a:pt x="476" y="649"/>
                  </a:lnTo>
                  <a:lnTo>
                    <a:pt x="479" y="645"/>
                  </a:lnTo>
                  <a:lnTo>
                    <a:pt x="481" y="640"/>
                  </a:lnTo>
                  <a:lnTo>
                    <a:pt x="481" y="639"/>
                  </a:lnTo>
                  <a:lnTo>
                    <a:pt x="481" y="639"/>
                  </a:lnTo>
                  <a:lnTo>
                    <a:pt x="481" y="637"/>
                  </a:lnTo>
                  <a:lnTo>
                    <a:pt x="481" y="637"/>
                  </a:lnTo>
                  <a:lnTo>
                    <a:pt x="481" y="634"/>
                  </a:lnTo>
                  <a:lnTo>
                    <a:pt x="481" y="634"/>
                  </a:lnTo>
                  <a:lnTo>
                    <a:pt x="482" y="631"/>
                  </a:lnTo>
                  <a:lnTo>
                    <a:pt x="482" y="631"/>
                  </a:lnTo>
                  <a:lnTo>
                    <a:pt x="481" y="629"/>
                  </a:lnTo>
                  <a:lnTo>
                    <a:pt x="481" y="629"/>
                  </a:lnTo>
                  <a:lnTo>
                    <a:pt x="478" y="626"/>
                  </a:lnTo>
                  <a:lnTo>
                    <a:pt x="478" y="626"/>
                  </a:lnTo>
                  <a:lnTo>
                    <a:pt x="478" y="626"/>
                  </a:lnTo>
                  <a:lnTo>
                    <a:pt x="478" y="626"/>
                  </a:lnTo>
                  <a:lnTo>
                    <a:pt x="479" y="623"/>
                  </a:lnTo>
                  <a:lnTo>
                    <a:pt x="479" y="623"/>
                  </a:lnTo>
                  <a:lnTo>
                    <a:pt x="481" y="621"/>
                  </a:lnTo>
                  <a:lnTo>
                    <a:pt x="482" y="621"/>
                  </a:lnTo>
                  <a:lnTo>
                    <a:pt x="482" y="621"/>
                  </a:lnTo>
                  <a:lnTo>
                    <a:pt x="488" y="623"/>
                  </a:lnTo>
                  <a:lnTo>
                    <a:pt x="488" y="623"/>
                  </a:lnTo>
                  <a:lnTo>
                    <a:pt x="490" y="623"/>
                  </a:lnTo>
                  <a:lnTo>
                    <a:pt x="490" y="623"/>
                  </a:lnTo>
                  <a:lnTo>
                    <a:pt x="492" y="623"/>
                  </a:lnTo>
                  <a:lnTo>
                    <a:pt x="492" y="623"/>
                  </a:lnTo>
                  <a:lnTo>
                    <a:pt x="494" y="623"/>
                  </a:lnTo>
                  <a:lnTo>
                    <a:pt x="494" y="623"/>
                  </a:lnTo>
                  <a:lnTo>
                    <a:pt x="495" y="623"/>
                  </a:lnTo>
                  <a:lnTo>
                    <a:pt x="495" y="623"/>
                  </a:lnTo>
                  <a:lnTo>
                    <a:pt x="495" y="620"/>
                  </a:lnTo>
                  <a:lnTo>
                    <a:pt x="495" y="620"/>
                  </a:lnTo>
                  <a:lnTo>
                    <a:pt x="495" y="618"/>
                  </a:lnTo>
                  <a:lnTo>
                    <a:pt x="495" y="618"/>
                  </a:lnTo>
                  <a:lnTo>
                    <a:pt x="494" y="617"/>
                  </a:lnTo>
                  <a:lnTo>
                    <a:pt x="494" y="617"/>
                  </a:lnTo>
                  <a:lnTo>
                    <a:pt x="492" y="617"/>
                  </a:lnTo>
                  <a:lnTo>
                    <a:pt x="492" y="617"/>
                  </a:lnTo>
                  <a:lnTo>
                    <a:pt x="487" y="614"/>
                  </a:lnTo>
                  <a:lnTo>
                    <a:pt x="484" y="613"/>
                  </a:lnTo>
                  <a:lnTo>
                    <a:pt x="484" y="613"/>
                  </a:lnTo>
                  <a:lnTo>
                    <a:pt x="484" y="613"/>
                  </a:lnTo>
                  <a:lnTo>
                    <a:pt x="484" y="613"/>
                  </a:lnTo>
                  <a:lnTo>
                    <a:pt x="484" y="613"/>
                  </a:lnTo>
                  <a:lnTo>
                    <a:pt x="484" y="613"/>
                  </a:lnTo>
                  <a:lnTo>
                    <a:pt x="484" y="613"/>
                  </a:lnTo>
                  <a:lnTo>
                    <a:pt x="484" y="613"/>
                  </a:lnTo>
                  <a:lnTo>
                    <a:pt x="482" y="613"/>
                  </a:lnTo>
                  <a:lnTo>
                    <a:pt x="484" y="613"/>
                  </a:lnTo>
                  <a:lnTo>
                    <a:pt x="484" y="613"/>
                  </a:lnTo>
                  <a:lnTo>
                    <a:pt x="482" y="613"/>
                  </a:lnTo>
                  <a:lnTo>
                    <a:pt x="484" y="613"/>
                  </a:lnTo>
                  <a:lnTo>
                    <a:pt x="484" y="611"/>
                  </a:lnTo>
                  <a:lnTo>
                    <a:pt x="484" y="611"/>
                  </a:lnTo>
                  <a:lnTo>
                    <a:pt x="484" y="611"/>
                  </a:lnTo>
                  <a:lnTo>
                    <a:pt x="484" y="611"/>
                  </a:lnTo>
                  <a:lnTo>
                    <a:pt x="485" y="605"/>
                  </a:lnTo>
                  <a:lnTo>
                    <a:pt x="485" y="605"/>
                  </a:lnTo>
                  <a:lnTo>
                    <a:pt x="488" y="600"/>
                  </a:lnTo>
                  <a:lnTo>
                    <a:pt x="488" y="600"/>
                  </a:lnTo>
                  <a:lnTo>
                    <a:pt x="494" y="595"/>
                  </a:lnTo>
                  <a:lnTo>
                    <a:pt x="494" y="595"/>
                  </a:lnTo>
                  <a:lnTo>
                    <a:pt x="497" y="592"/>
                  </a:lnTo>
                  <a:lnTo>
                    <a:pt x="498" y="588"/>
                  </a:lnTo>
                  <a:lnTo>
                    <a:pt x="498" y="588"/>
                  </a:lnTo>
                  <a:lnTo>
                    <a:pt x="497" y="587"/>
                  </a:lnTo>
                  <a:lnTo>
                    <a:pt x="497" y="587"/>
                  </a:lnTo>
                  <a:lnTo>
                    <a:pt x="497" y="587"/>
                  </a:lnTo>
                  <a:lnTo>
                    <a:pt x="497" y="587"/>
                  </a:lnTo>
                  <a:lnTo>
                    <a:pt x="498" y="585"/>
                  </a:lnTo>
                  <a:lnTo>
                    <a:pt x="500" y="582"/>
                  </a:lnTo>
                  <a:lnTo>
                    <a:pt x="500" y="582"/>
                  </a:lnTo>
                  <a:lnTo>
                    <a:pt x="503" y="581"/>
                  </a:lnTo>
                  <a:lnTo>
                    <a:pt x="503" y="581"/>
                  </a:lnTo>
                  <a:lnTo>
                    <a:pt x="504" y="579"/>
                  </a:lnTo>
                  <a:lnTo>
                    <a:pt x="504" y="579"/>
                  </a:lnTo>
                  <a:lnTo>
                    <a:pt x="508" y="578"/>
                  </a:lnTo>
                  <a:lnTo>
                    <a:pt x="508" y="578"/>
                  </a:lnTo>
                  <a:lnTo>
                    <a:pt x="514" y="575"/>
                  </a:lnTo>
                  <a:lnTo>
                    <a:pt x="514" y="575"/>
                  </a:lnTo>
                  <a:lnTo>
                    <a:pt x="517" y="574"/>
                  </a:lnTo>
                  <a:lnTo>
                    <a:pt x="518" y="574"/>
                  </a:lnTo>
                  <a:lnTo>
                    <a:pt x="518" y="572"/>
                  </a:lnTo>
                  <a:lnTo>
                    <a:pt x="518" y="572"/>
                  </a:lnTo>
                  <a:lnTo>
                    <a:pt x="520" y="571"/>
                  </a:lnTo>
                  <a:lnTo>
                    <a:pt x="520" y="571"/>
                  </a:lnTo>
                  <a:lnTo>
                    <a:pt x="518" y="569"/>
                  </a:lnTo>
                  <a:lnTo>
                    <a:pt x="518" y="569"/>
                  </a:lnTo>
                  <a:lnTo>
                    <a:pt x="517" y="568"/>
                  </a:lnTo>
                  <a:lnTo>
                    <a:pt x="516" y="568"/>
                  </a:lnTo>
                  <a:lnTo>
                    <a:pt x="516" y="568"/>
                  </a:lnTo>
                  <a:lnTo>
                    <a:pt x="516" y="568"/>
                  </a:lnTo>
                  <a:lnTo>
                    <a:pt x="510" y="569"/>
                  </a:lnTo>
                  <a:lnTo>
                    <a:pt x="510" y="569"/>
                  </a:lnTo>
                  <a:lnTo>
                    <a:pt x="508" y="568"/>
                  </a:lnTo>
                  <a:lnTo>
                    <a:pt x="508" y="568"/>
                  </a:lnTo>
                  <a:lnTo>
                    <a:pt x="507" y="569"/>
                  </a:lnTo>
                  <a:lnTo>
                    <a:pt x="508" y="569"/>
                  </a:lnTo>
                  <a:lnTo>
                    <a:pt x="508" y="568"/>
                  </a:lnTo>
                  <a:lnTo>
                    <a:pt x="507" y="569"/>
                  </a:lnTo>
                  <a:lnTo>
                    <a:pt x="508" y="569"/>
                  </a:lnTo>
                  <a:lnTo>
                    <a:pt x="507" y="569"/>
                  </a:lnTo>
                  <a:lnTo>
                    <a:pt x="508" y="569"/>
                  </a:lnTo>
                  <a:lnTo>
                    <a:pt x="508" y="569"/>
                  </a:lnTo>
                  <a:lnTo>
                    <a:pt x="507" y="569"/>
                  </a:lnTo>
                  <a:lnTo>
                    <a:pt x="508" y="569"/>
                  </a:lnTo>
                  <a:lnTo>
                    <a:pt x="507" y="569"/>
                  </a:lnTo>
                  <a:lnTo>
                    <a:pt x="508" y="569"/>
                  </a:lnTo>
                  <a:lnTo>
                    <a:pt x="508" y="569"/>
                  </a:lnTo>
                  <a:lnTo>
                    <a:pt x="507" y="569"/>
                  </a:lnTo>
                  <a:lnTo>
                    <a:pt x="508" y="569"/>
                  </a:lnTo>
                  <a:lnTo>
                    <a:pt x="508" y="569"/>
                  </a:lnTo>
                  <a:lnTo>
                    <a:pt x="508" y="569"/>
                  </a:lnTo>
                  <a:lnTo>
                    <a:pt x="508" y="568"/>
                  </a:lnTo>
                  <a:lnTo>
                    <a:pt x="508" y="568"/>
                  </a:lnTo>
                  <a:lnTo>
                    <a:pt x="511" y="565"/>
                  </a:lnTo>
                  <a:lnTo>
                    <a:pt x="511" y="565"/>
                  </a:lnTo>
                  <a:lnTo>
                    <a:pt x="513" y="562"/>
                  </a:lnTo>
                  <a:lnTo>
                    <a:pt x="514" y="559"/>
                  </a:lnTo>
                  <a:lnTo>
                    <a:pt x="514" y="559"/>
                  </a:lnTo>
                  <a:lnTo>
                    <a:pt x="513" y="556"/>
                  </a:lnTo>
                  <a:lnTo>
                    <a:pt x="513" y="556"/>
                  </a:lnTo>
                  <a:lnTo>
                    <a:pt x="513" y="556"/>
                  </a:lnTo>
                  <a:lnTo>
                    <a:pt x="511" y="556"/>
                  </a:lnTo>
                  <a:lnTo>
                    <a:pt x="513" y="556"/>
                  </a:lnTo>
                  <a:lnTo>
                    <a:pt x="513" y="556"/>
                  </a:lnTo>
                  <a:lnTo>
                    <a:pt x="511" y="556"/>
                  </a:lnTo>
                  <a:lnTo>
                    <a:pt x="513" y="556"/>
                  </a:lnTo>
                  <a:lnTo>
                    <a:pt x="511" y="556"/>
                  </a:lnTo>
                  <a:lnTo>
                    <a:pt x="513" y="558"/>
                  </a:lnTo>
                  <a:lnTo>
                    <a:pt x="513" y="556"/>
                  </a:lnTo>
                  <a:lnTo>
                    <a:pt x="511" y="556"/>
                  </a:lnTo>
                  <a:lnTo>
                    <a:pt x="513" y="558"/>
                  </a:lnTo>
                  <a:lnTo>
                    <a:pt x="513" y="558"/>
                  </a:lnTo>
                  <a:lnTo>
                    <a:pt x="513" y="558"/>
                  </a:lnTo>
                  <a:lnTo>
                    <a:pt x="513" y="558"/>
                  </a:lnTo>
                  <a:lnTo>
                    <a:pt x="513" y="558"/>
                  </a:lnTo>
                  <a:lnTo>
                    <a:pt x="513" y="558"/>
                  </a:lnTo>
                  <a:lnTo>
                    <a:pt x="513" y="558"/>
                  </a:lnTo>
                  <a:lnTo>
                    <a:pt x="513" y="558"/>
                  </a:lnTo>
                  <a:lnTo>
                    <a:pt x="513" y="558"/>
                  </a:lnTo>
                  <a:lnTo>
                    <a:pt x="513" y="558"/>
                  </a:lnTo>
                  <a:lnTo>
                    <a:pt x="513" y="558"/>
                  </a:lnTo>
                  <a:lnTo>
                    <a:pt x="516" y="558"/>
                  </a:lnTo>
                  <a:lnTo>
                    <a:pt x="516" y="558"/>
                  </a:lnTo>
                  <a:lnTo>
                    <a:pt x="521" y="556"/>
                  </a:lnTo>
                  <a:lnTo>
                    <a:pt x="521" y="556"/>
                  </a:lnTo>
                  <a:lnTo>
                    <a:pt x="527" y="556"/>
                  </a:lnTo>
                  <a:lnTo>
                    <a:pt x="527" y="556"/>
                  </a:lnTo>
                  <a:lnTo>
                    <a:pt x="530" y="558"/>
                  </a:lnTo>
                  <a:lnTo>
                    <a:pt x="530" y="558"/>
                  </a:lnTo>
                  <a:lnTo>
                    <a:pt x="530" y="558"/>
                  </a:lnTo>
                  <a:lnTo>
                    <a:pt x="532" y="556"/>
                  </a:lnTo>
                  <a:lnTo>
                    <a:pt x="532" y="556"/>
                  </a:lnTo>
                  <a:lnTo>
                    <a:pt x="532" y="556"/>
                  </a:lnTo>
                  <a:lnTo>
                    <a:pt x="533" y="555"/>
                  </a:lnTo>
                  <a:lnTo>
                    <a:pt x="533" y="555"/>
                  </a:lnTo>
                  <a:lnTo>
                    <a:pt x="532" y="553"/>
                  </a:lnTo>
                  <a:lnTo>
                    <a:pt x="532" y="553"/>
                  </a:lnTo>
                  <a:lnTo>
                    <a:pt x="532" y="552"/>
                  </a:lnTo>
                  <a:lnTo>
                    <a:pt x="530" y="552"/>
                  </a:lnTo>
                  <a:lnTo>
                    <a:pt x="530" y="552"/>
                  </a:lnTo>
                  <a:lnTo>
                    <a:pt x="530" y="552"/>
                  </a:lnTo>
                  <a:lnTo>
                    <a:pt x="529" y="552"/>
                  </a:lnTo>
                  <a:lnTo>
                    <a:pt x="529" y="552"/>
                  </a:lnTo>
                  <a:lnTo>
                    <a:pt x="520" y="550"/>
                  </a:lnTo>
                  <a:lnTo>
                    <a:pt x="520"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20" y="547"/>
                  </a:lnTo>
                  <a:lnTo>
                    <a:pt x="523" y="546"/>
                  </a:lnTo>
                  <a:lnTo>
                    <a:pt x="523" y="546"/>
                  </a:lnTo>
                  <a:lnTo>
                    <a:pt x="530" y="543"/>
                  </a:lnTo>
                  <a:lnTo>
                    <a:pt x="530" y="543"/>
                  </a:lnTo>
                  <a:lnTo>
                    <a:pt x="532" y="542"/>
                  </a:lnTo>
                  <a:lnTo>
                    <a:pt x="534" y="540"/>
                  </a:lnTo>
                  <a:lnTo>
                    <a:pt x="534" y="540"/>
                  </a:lnTo>
                  <a:lnTo>
                    <a:pt x="536" y="536"/>
                  </a:lnTo>
                  <a:lnTo>
                    <a:pt x="536" y="536"/>
                  </a:lnTo>
                  <a:lnTo>
                    <a:pt x="534" y="533"/>
                  </a:lnTo>
                  <a:lnTo>
                    <a:pt x="534" y="533"/>
                  </a:lnTo>
                  <a:lnTo>
                    <a:pt x="532" y="532"/>
                  </a:lnTo>
                  <a:lnTo>
                    <a:pt x="532" y="532"/>
                  </a:lnTo>
                  <a:lnTo>
                    <a:pt x="529" y="532"/>
                  </a:lnTo>
                  <a:lnTo>
                    <a:pt x="529" y="532"/>
                  </a:lnTo>
                  <a:lnTo>
                    <a:pt x="527" y="533"/>
                  </a:lnTo>
                  <a:lnTo>
                    <a:pt x="527" y="533"/>
                  </a:lnTo>
                  <a:lnTo>
                    <a:pt x="524" y="534"/>
                  </a:lnTo>
                  <a:lnTo>
                    <a:pt x="524" y="534"/>
                  </a:lnTo>
                  <a:lnTo>
                    <a:pt x="524" y="534"/>
                  </a:lnTo>
                  <a:lnTo>
                    <a:pt x="524" y="534"/>
                  </a:lnTo>
                  <a:lnTo>
                    <a:pt x="524" y="534"/>
                  </a:lnTo>
                  <a:lnTo>
                    <a:pt x="524" y="534"/>
                  </a:lnTo>
                  <a:lnTo>
                    <a:pt x="524" y="534"/>
                  </a:lnTo>
                  <a:lnTo>
                    <a:pt x="523" y="536"/>
                  </a:lnTo>
                  <a:lnTo>
                    <a:pt x="526" y="536"/>
                  </a:lnTo>
                  <a:lnTo>
                    <a:pt x="524" y="534"/>
                  </a:lnTo>
                  <a:lnTo>
                    <a:pt x="523" y="536"/>
                  </a:lnTo>
                  <a:lnTo>
                    <a:pt x="526" y="536"/>
                  </a:lnTo>
                  <a:lnTo>
                    <a:pt x="524" y="536"/>
                  </a:lnTo>
                  <a:lnTo>
                    <a:pt x="526" y="536"/>
                  </a:lnTo>
                  <a:lnTo>
                    <a:pt x="526" y="536"/>
                  </a:lnTo>
                  <a:lnTo>
                    <a:pt x="524" y="536"/>
                  </a:lnTo>
                  <a:lnTo>
                    <a:pt x="526" y="536"/>
                  </a:lnTo>
                  <a:lnTo>
                    <a:pt x="526" y="536"/>
                  </a:lnTo>
                  <a:lnTo>
                    <a:pt x="526" y="534"/>
                  </a:lnTo>
                  <a:lnTo>
                    <a:pt x="526" y="534"/>
                  </a:lnTo>
                  <a:lnTo>
                    <a:pt x="530" y="529"/>
                  </a:lnTo>
                  <a:lnTo>
                    <a:pt x="530" y="529"/>
                  </a:lnTo>
                  <a:lnTo>
                    <a:pt x="532" y="527"/>
                  </a:lnTo>
                  <a:lnTo>
                    <a:pt x="533" y="526"/>
                  </a:lnTo>
                  <a:lnTo>
                    <a:pt x="533" y="526"/>
                  </a:lnTo>
                  <a:lnTo>
                    <a:pt x="533" y="524"/>
                  </a:lnTo>
                  <a:lnTo>
                    <a:pt x="533" y="524"/>
                  </a:lnTo>
                  <a:lnTo>
                    <a:pt x="532" y="521"/>
                  </a:lnTo>
                  <a:lnTo>
                    <a:pt x="532" y="521"/>
                  </a:lnTo>
                  <a:lnTo>
                    <a:pt x="530" y="521"/>
                  </a:lnTo>
                  <a:lnTo>
                    <a:pt x="530" y="521"/>
                  </a:lnTo>
                  <a:lnTo>
                    <a:pt x="529" y="521"/>
                  </a:lnTo>
                  <a:lnTo>
                    <a:pt x="529" y="521"/>
                  </a:lnTo>
                  <a:lnTo>
                    <a:pt x="521" y="521"/>
                  </a:lnTo>
                  <a:lnTo>
                    <a:pt x="521" y="521"/>
                  </a:lnTo>
                  <a:lnTo>
                    <a:pt x="520" y="521"/>
                  </a:lnTo>
                  <a:lnTo>
                    <a:pt x="520" y="521"/>
                  </a:lnTo>
                  <a:lnTo>
                    <a:pt x="520" y="523"/>
                  </a:lnTo>
                  <a:lnTo>
                    <a:pt x="520" y="521"/>
                  </a:lnTo>
                  <a:lnTo>
                    <a:pt x="520" y="521"/>
                  </a:lnTo>
                  <a:lnTo>
                    <a:pt x="520" y="523"/>
                  </a:lnTo>
                  <a:lnTo>
                    <a:pt x="520" y="521"/>
                  </a:lnTo>
                  <a:lnTo>
                    <a:pt x="518" y="523"/>
                  </a:lnTo>
                  <a:lnTo>
                    <a:pt x="520" y="523"/>
                  </a:lnTo>
                  <a:lnTo>
                    <a:pt x="520" y="521"/>
                  </a:lnTo>
                  <a:lnTo>
                    <a:pt x="518" y="523"/>
                  </a:lnTo>
                  <a:lnTo>
                    <a:pt x="520" y="523"/>
                  </a:lnTo>
                  <a:lnTo>
                    <a:pt x="520" y="523"/>
                  </a:lnTo>
                  <a:lnTo>
                    <a:pt x="520" y="523"/>
                  </a:lnTo>
                  <a:lnTo>
                    <a:pt x="520" y="523"/>
                  </a:lnTo>
                  <a:lnTo>
                    <a:pt x="520" y="523"/>
                  </a:lnTo>
                  <a:lnTo>
                    <a:pt x="520" y="523"/>
                  </a:lnTo>
                  <a:lnTo>
                    <a:pt x="520" y="523"/>
                  </a:lnTo>
                  <a:lnTo>
                    <a:pt x="521" y="521"/>
                  </a:lnTo>
                  <a:lnTo>
                    <a:pt x="521" y="521"/>
                  </a:lnTo>
                  <a:lnTo>
                    <a:pt x="524" y="517"/>
                  </a:lnTo>
                  <a:lnTo>
                    <a:pt x="524" y="517"/>
                  </a:lnTo>
                  <a:lnTo>
                    <a:pt x="526" y="514"/>
                  </a:lnTo>
                  <a:lnTo>
                    <a:pt x="527" y="511"/>
                  </a:lnTo>
                  <a:lnTo>
                    <a:pt x="527" y="511"/>
                  </a:lnTo>
                  <a:lnTo>
                    <a:pt x="527" y="510"/>
                  </a:lnTo>
                  <a:lnTo>
                    <a:pt x="527" y="510"/>
                  </a:lnTo>
                  <a:lnTo>
                    <a:pt x="527" y="510"/>
                  </a:lnTo>
                  <a:lnTo>
                    <a:pt x="530" y="511"/>
                  </a:lnTo>
                  <a:lnTo>
                    <a:pt x="530" y="511"/>
                  </a:lnTo>
                  <a:lnTo>
                    <a:pt x="532" y="513"/>
                  </a:lnTo>
                  <a:lnTo>
                    <a:pt x="534" y="513"/>
                  </a:lnTo>
                  <a:lnTo>
                    <a:pt x="534" y="513"/>
                  </a:lnTo>
                  <a:lnTo>
                    <a:pt x="539" y="511"/>
                  </a:lnTo>
                  <a:lnTo>
                    <a:pt x="539" y="511"/>
                  </a:lnTo>
                  <a:lnTo>
                    <a:pt x="543" y="510"/>
                  </a:lnTo>
                  <a:lnTo>
                    <a:pt x="543" y="510"/>
                  </a:lnTo>
                  <a:lnTo>
                    <a:pt x="547" y="507"/>
                  </a:lnTo>
                  <a:lnTo>
                    <a:pt x="547" y="507"/>
                  </a:lnTo>
                  <a:lnTo>
                    <a:pt x="550" y="505"/>
                  </a:lnTo>
                  <a:lnTo>
                    <a:pt x="550" y="505"/>
                  </a:lnTo>
                  <a:lnTo>
                    <a:pt x="552" y="505"/>
                  </a:lnTo>
                  <a:lnTo>
                    <a:pt x="552" y="505"/>
                  </a:lnTo>
                  <a:lnTo>
                    <a:pt x="552" y="504"/>
                  </a:lnTo>
                  <a:lnTo>
                    <a:pt x="552" y="505"/>
                  </a:lnTo>
                  <a:lnTo>
                    <a:pt x="552" y="505"/>
                  </a:lnTo>
                  <a:lnTo>
                    <a:pt x="552" y="504"/>
                  </a:lnTo>
                  <a:lnTo>
                    <a:pt x="552" y="505"/>
                  </a:lnTo>
                  <a:lnTo>
                    <a:pt x="552" y="505"/>
                  </a:lnTo>
                  <a:lnTo>
                    <a:pt x="555" y="505"/>
                  </a:lnTo>
                  <a:lnTo>
                    <a:pt x="555" y="505"/>
                  </a:lnTo>
                  <a:lnTo>
                    <a:pt x="558" y="505"/>
                  </a:lnTo>
                  <a:lnTo>
                    <a:pt x="558" y="505"/>
                  </a:lnTo>
                  <a:lnTo>
                    <a:pt x="559" y="504"/>
                  </a:lnTo>
                  <a:lnTo>
                    <a:pt x="559" y="504"/>
                  </a:lnTo>
                  <a:lnTo>
                    <a:pt x="559" y="503"/>
                  </a:lnTo>
                  <a:lnTo>
                    <a:pt x="559" y="503"/>
                  </a:lnTo>
                  <a:lnTo>
                    <a:pt x="559" y="500"/>
                  </a:lnTo>
                  <a:lnTo>
                    <a:pt x="559" y="500"/>
                  </a:lnTo>
                  <a:lnTo>
                    <a:pt x="558" y="498"/>
                  </a:lnTo>
                  <a:lnTo>
                    <a:pt x="558" y="498"/>
                  </a:lnTo>
                  <a:lnTo>
                    <a:pt x="555" y="495"/>
                  </a:lnTo>
                  <a:lnTo>
                    <a:pt x="555" y="495"/>
                  </a:lnTo>
                  <a:lnTo>
                    <a:pt x="555" y="495"/>
                  </a:lnTo>
                  <a:lnTo>
                    <a:pt x="553" y="495"/>
                  </a:lnTo>
                  <a:lnTo>
                    <a:pt x="555" y="495"/>
                  </a:lnTo>
                  <a:lnTo>
                    <a:pt x="555" y="495"/>
                  </a:lnTo>
                  <a:lnTo>
                    <a:pt x="553" y="495"/>
                  </a:lnTo>
                  <a:lnTo>
                    <a:pt x="555" y="495"/>
                  </a:lnTo>
                  <a:lnTo>
                    <a:pt x="553" y="495"/>
                  </a:lnTo>
                  <a:lnTo>
                    <a:pt x="555" y="497"/>
                  </a:lnTo>
                  <a:lnTo>
                    <a:pt x="555" y="495"/>
                  </a:lnTo>
                  <a:lnTo>
                    <a:pt x="553" y="495"/>
                  </a:lnTo>
                  <a:lnTo>
                    <a:pt x="555" y="497"/>
                  </a:lnTo>
                  <a:lnTo>
                    <a:pt x="553" y="497"/>
                  </a:lnTo>
                  <a:lnTo>
                    <a:pt x="553" y="497"/>
                  </a:lnTo>
                  <a:lnTo>
                    <a:pt x="555" y="497"/>
                  </a:lnTo>
                  <a:lnTo>
                    <a:pt x="553" y="497"/>
                  </a:lnTo>
                  <a:lnTo>
                    <a:pt x="553" y="497"/>
                  </a:lnTo>
                  <a:lnTo>
                    <a:pt x="553" y="497"/>
                  </a:lnTo>
                  <a:lnTo>
                    <a:pt x="553" y="497"/>
                  </a:lnTo>
                  <a:lnTo>
                    <a:pt x="553" y="497"/>
                  </a:lnTo>
                  <a:lnTo>
                    <a:pt x="553" y="497"/>
                  </a:lnTo>
                  <a:lnTo>
                    <a:pt x="553" y="497"/>
                  </a:lnTo>
                  <a:lnTo>
                    <a:pt x="553" y="497"/>
                  </a:lnTo>
                  <a:lnTo>
                    <a:pt x="555" y="497"/>
                  </a:lnTo>
                  <a:lnTo>
                    <a:pt x="555" y="497"/>
                  </a:lnTo>
                  <a:lnTo>
                    <a:pt x="559" y="495"/>
                  </a:lnTo>
                  <a:lnTo>
                    <a:pt x="562" y="494"/>
                  </a:lnTo>
                  <a:lnTo>
                    <a:pt x="562" y="494"/>
                  </a:lnTo>
                  <a:lnTo>
                    <a:pt x="563" y="491"/>
                  </a:lnTo>
                  <a:lnTo>
                    <a:pt x="565" y="488"/>
                  </a:lnTo>
                  <a:lnTo>
                    <a:pt x="565" y="488"/>
                  </a:lnTo>
                  <a:lnTo>
                    <a:pt x="565" y="488"/>
                  </a:lnTo>
                  <a:lnTo>
                    <a:pt x="565" y="488"/>
                  </a:lnTo>
                  <a:lnTo>
                    <a:pt x="565" y="488"/>
                  </a:lnTo>
                  <a:lnTo>
                    <a:pt x="565" y="488"/>
                  </a:lnTo>
                  <a:lnTo>
                    <a:pt x="565" y="488"/>
                  </a:lnTo>
                  <a:lnTo>
                    <a:pt x="565" y="488"/>
                  </a:lnTo>
                  <a:lnTo>
                    <a:pt x="565" y="488"/>
                  </a:lnTo>
                  <a:lnTo>
                    <a:pt x="565" y="488"/>
                  </a:lnTo>
                  <a:lnTo>
                    <a:pt x="565" y="488"/>
                  </a:lnTo>
                  <a:lnTo>
                    <a:pt x="565" y="488"/>
                  </a:lnTo>
                  <a:lnTo>
                    <a:pt x="568" y="488"/>
                  </a:lnTo>
                  <a:lnTo>
                    <a:pt x="568" y="488"/>
                  </a:lnTo>
                  <a:lnTo>
                    <a:pt x="572" y="488"/>
                  </a:lnTo>
                  <a:lnTo>
                    <a:pt x="572" y="488"/>
                  </a:lnTo>
                  <a:lnTo>
                    <a:pt x="574" y="488"/>
                  </a:lnTo>
                  <a:lnTo>
                    <a:pt x="574" y="488"/>
                  </a:lnTo>
                  <a:lnTo>
                    <a:pt x="575" y="487"/>
                  </a:lnTo>
                  <a:lnTo>
                    <a:pt x="575" y="487"/>
                  </a:lnTo>
                  <a:lnTo>
                    <a:pt x="576" y="485"/>
                  </a:lnTo>
                  <a:lnTo>
                    <a:pt x="576" y="484"/>
                  </a:lnTo>
                  <a:lnTo>
                    <a:pt x="576" y="484"/>
                  </a:lnTo>
                  <a:lnTo>
                    <a:pt x="575" y="484"/>
                  </a:lnTo>
                  <a:lnTo>
                    <a:pt x="576" y="484"/>
                  </a:lnTo>
                  <a:lnTo>
                    <a:pt x="576" y="484"/>
                  </a:lnTo>
                  <a:lnTo>
                    <a:pt x="575" y="484"/>
                  </a:lnTo>
                  <a:lnTo>
                    <a:pt x="576" y="484"/>
                  </a:lnTo>
                  <a:lnTo>
                    <a:pt x="576" y="484"/>
                  </a:lnTo>
                  <a:lnTo>
                    <a:pt x="576" y="484"/>
                  </a:lnTo>
                  <a:lnTo>
                    <a:pt x="576" y="479"/>
                  </a:lnTo>
                  <a:lnTo>
                    <a:pt x="576" y="479"/>
                  </a:lnTo>
                  <a:lnTo>
                    <a:pt x="575" y="475"/>
                  </a:lnTo>
                  <a:lnTo>
                    <a:pt x="575" y="475"/>
                  </a:lnTo>
                  <a:lnTo>
                    <a:pt x="574" y="474"/>
                  </a:lnTo>
                  <a:lnTo>
                    <a:pt x="571" y="471"/>
                  </a:lnTo>
                  <a:lnTo>
                    <a:pt x="571" y="471"/>
                  </a:lnTo>
                  <a:lnTo>
                    <a:pt x="566" y="469"/>
                  </a:lnTo>
                  <a:lnTo>
                    <a:pt x="566" y="468"/>
                  </a:lnTo>
                  <a:lnTo>
                    <a:pt x="566" y="468"/>
                  </a:lnTo>
                  <a:lnTo>
                    <a:pt x="566" y="468"/>
                  </a:lnTo>
                  <a:lnTo>
                    <a:pt x="566" y="468"/>
                  </a:lnTo>
                  <a:lnTo>
                    <a:pt x="565" y="468"/>
                  </a:lnTo>
                  <a:lnTo>
                    <a:pt x="566" y="468"/>
                  </a:lnTo>
                  <a:lnTo>
                    <a:pt x="566" y="468"/>
                  </a:lnTo>
                  <a:lnTo>
                    <a:pt x="565" y="468"/>
                  </a:lnTo>
                  <a:lnTo>
                    <a:pt x="566" y="468"/>
                  </a:lnTo>
                  <a:lnTo>
                    <a:pt x="565" y="468"/>
                  </a:lnTo>
                  <a:lnTo>
                    <a:pt x="566" y="468"/>
                  </a:lnTo>
                  <a:lnTo>
                    <a:pt x="566" y="468"/>
                  </a:lnTo>
                  <a:lnTo>
                    <a:pt x="565" y="468"/>
                  </a:lnTo>
                  <a:lnTo>
                    <a:pt x="566" y="468"/>
                  </a:lnTo>
                  <a:lnTo>
                    <a:pt x="566" y="468"/>
                  </a:lnTo>
                  <a:lnTo>
                    <a:pt x="566" y="468"/>
                  </a:lnTo>
                  <a:lnTo>
                    <a:pt x="566" y="468"/>
                  </a:lnTo>
                  <a:lnTo>
                    <a:pt x="572" y="466"/>
                  </a:lnTo>
                  <a:lnTo>
                    <a:pt x="572" y="466"/>
                  </a:lnTo>
                  <a:lnTo>
                    <a:pt x="574" y="465"/>
                  </a:lnTo>
                  <a:lnTo>
                    <a:pt x="574" y="465"/>
                  </a:lnTo>
                  <a:lnTo>
                    <a:pt x="575" y="462"/>
                  </a:lnTo>
                  <a:lnTo>
                    <a:pt x="575" y="462"/>
                  </a:lnTo>
                  <a:lnTo>
                    <a:pt x="575" y="458"/>
                  </a:lnTo>
                  <a:lnTo>
                    <a:pt x="575" y="458"/>
                  </a:lnTo>
                  <a:lnTo>
                    <a:pt x="572" y="453"/>
                  </a:lnTo>
                  <a:lnTo>
                    <a:pt x="572" y="453"/>
                  </a:lnTo>
                  <a:lnTo>
                    <a:pt x="574" y="452"/>
                  </a:lnTo>
                  <a:lnTo>
                    <a:pt x="574" y="452"/>
                  </a:lnTo>
                  <a:lnTo>
                    <a:pt x="575" y="449"/>
                  </a:lnTo>
                  <a:lnTo>
                    <a:pt x="575" y="449"/>
                  </a:lnTo>
                  <a:lnTo>
                    <a:pt x="575" y="449"/>
                  </a:lnTo>
                  <a:lnTo>
                    <a:pt x="575" y="449"/>
                  </a:lnTo>
                  <a:lnTo>
                    <a:pt x="579" y="443"/>
                  </a:lnTo>
                  <a:lnTo>
                    <a:pt x="579" y="443"/>
                  </a:lnTo>
                  <a:lnTo>
                    <a:pt x="581" y="442"/>
                  </a:lnTo>
                  <a:lnTo>
                    <a:pt x="581" y="442"/>
                  </a:lnTo>
                  <a:lnTo>
                    <a:pt x="579" y="440"/>
                  </a:lnTo>
                  <a:lnTo>
                    <a:pt x="579" y="442"/>
                  </a:lnTo>
                  <a:lnTo>
                    <a:pt x="581" y="442"/>
                  </a:lnTo>
                  <a:lnTo>
                    <a:pt x="579" y="440"/>
                  </a:lnTo>
                  <a:lnTo>
                    <a:pt x="579" y="442"/>
                  </a:lnTo>
                  <a:lnTo>
                    <a:pt x="579" y="440"/>
                  </a:lnTo>
                  <a:lnTo>
                    <a:pt x="579" y="442"/>
                  </a:lnTo>
                  <a:lnTo>
                    <a:pt x="579" y="442"/>
                  </a:lnTo>
                  <a:lnTo>
                    <a:pt x="579" y="440"/>
                  </a:lnTo>
                  <a:lnTo>
                    <a:pt x="579" y="442"/>
                  </a:lnTo>
                  <a:lnTo>
                    <a:pt x="579" y="440"/>
                  </a:lnTo>
                  <a:lnTo>
                    <a:pt x="578" y="440"/>
                  </a:lnTo>
                  <a:lnTo>
                    <a:pt x="578" y="440"/>
                  </a:lnTo>
                  <a:lnTo>
                    <a:pt x="579" y="442"/>
                  </a:lnTo>
                  <a:lnTo>
                    <a:pt x="579" y="440"/>
                  </a:lnTo>
                  <a:lnTo>
                    <a:pt x="578" y="440"/>
                  </a:lnTo>
                  <a:lnTo>
                    <a:pt x="579" y="440"/>
                  </a:lnTo>
                  <a:lnTo>
                    <a:pt x="578" y="440"/>
                  </a:lnTo>
                  <a:lnTo>
                    <a:pt x="578" y="440"/>
                  </a:lnTo>
                  <a:lnTo>
                    <a:pt x="579" y="440"/>
                  </a:lnTo>
                  <a:lnTo>
                    <a:pt x="578" y="440"/>
                  </a:lnTo>
                  <a:lnTo>
                    <a:pt x="578" y="440"/>
                  </a:lnTo>
                  <a:lnTo>
                    <a:pt x="578" y="440"/>
                  </a:lnTo>
                  <a:lnTo>
                    <a:pt x="578" y="445"/>
                  </a:lnTo>
                  <a:lnTo>
                    <a:pt x="578" y="445"/>
                  </a:lnTo>
                  <a:lnTo>
                    <a:pt x="576" y="449"/>
                  </a:lnTo>
                  <a:lnTo>
                    <a:pt x="576" y="449"/>
                  </a:lnTo>
                  <a:lnTo>
                    <a:pt x="576" y="450"/>
                  </a:lnTo>
                  <a:lnTo>
                    <a:pt x="578" y="452"/>
                  </a:lnTo>
                  <a:lnTo>
                    <a:pt x="578" y="452"/>
                  </a:lnTo>
                  <a:lnTo>
                    <a:pt x="582" y="453"/>
                  </a:lnTo>
                  <a:lnTo>
                    <a:pt x="582" y="453"/>
                  </a:lnTo>
                  <a:lnTo>
                    <a:pt x="588" y="455"/>
                  </a:lnTo>
                  <a:lnTo>
                    <a:pt x="588" y="455"/>
                  </a:lnTo>
                  <a:lnTo>
                    <a:pt x="589" y="456"/>
                  </a:lnTo>
                  <a:lnTo>
                    <a:pt x="589" y="456"/>
                  </a:lnTo>
                  <a:lnTo>
                    <a:pt x="589" y="458"/>
                  </a:lnTo>
                  <a:lnTo>
                    <a:pt x="589" y="458"/>
                  </a:lnTo>
                  <a:lnTo>
                    <a:pt x="588" y="462"/>
                  </a:lnTo>
                  <a:lnTo>
                    <a:pt x="588" y="462"/>
                  </a:lnTo>
                  <a:lnTo>
                    <a:pt x="589" y="465"/>
                  </a:lnTo>
                  <a:lnTo>
                    <a:pt x="589" y="465"/>
                  </a:lnTo>
                  <a:lnTo>
                    <a:pt x="589" y="466"/>
                  </a:lnTo>
                  <a:lnTo>
                    <a:pt x="589" y="466"/>
                  </a:lnTo>
                  <a:lnTo>
                    <a:pt x="592" y="466"/>
                  </a:lnTo>
                  <a:lnTo>
                    <a:pt x="592" y="466"/>
                  </a:lnTo>
                  <a:lnTo>
                    <a:pt x="594" y="466"/>
                  </a:lnTo>
                  <a:lnTo>
                    <a:pt x="594" y="466"/>
                  </a:lnTo>
                  <a:lnTo>
                    <a:pt x="595" y="463"/>
                  </a:lnTo>
                  <a:lnTo>
                    <a:pt x="595" y="463"/>
                  </a:lnTo>
                  <a:lnTo>
                    <a:pt x="600" y="458"/>
                  </a:lnTo>
                  <a:lnTo>
                    <a:pt x="600" y="458"/>
                  </a:lnTo>
                  <a:lnTo>
                    <a:pt x="601" y="456"/>
                  </a:lnTo>
                  <a:lnTo>
                    <a:pt x="601" y="456"/>
                  </a:lnTo>
                  <a:lnTo>
                    <a:pt x="601" y="456"/>
                  </a:lnTo>
                  <a:lnTo>
                    <a:pt x="600" y="455"/>
                  </a:lnTo>
                  <a:lnTo>
                    <a:pt x="600" y="456"/>
                  </a:lnTo>
                  <a:lnTo>
                    <a:pt x="600" y="456"/>
                  </a:lnTo>
                  <a:lnTo>
                    <a:pt x="601" y="456"/>
                  </a:lnTo>
                  <a:lnTo>
                    <a:pt x="600" y="455"/>
                  </a:lnTo>
                  <a:lnTo>
                    <a:pt x="600" y="456"/>
                  </a:lnTo>
                  <a:lnTo>
                    <a:pt x="600" y="453"/>
                  </a:lnTo>
                  <a:lnTo>
                    <a:pt x="598" y="456"/>
                  </a:lnTo>
                  <a:lnTo>
                    <a:pt x="600" y="456"/>
                  </a:lnTo>
                  <a:lnTo>
                    <a:pt x="600" y="453"/>
                  </a:lnTo>
                  <a:lnTo>
                    <a:pt x="598" y="456"/>
                  </a:lnTo>
                  <a:lnTo>
                    <a:pt x="600" y="453"/>
                  </a:lnTo>
                  <a:lnTo>
                    <a:pt x="598" y="455"/>
                  </a:lnTo>
                  <a:lnTo>
                    <a:pt x="598" y="455"/>
                  </a:lnTo>
                  <a:lnTo>
                    <a:pt x="598" y="456"/>
                  </a:lnTo>
                  <a:lnTo>
                    <a:pt x="600" y="453"/>
                  </a:lnTo>
                  <a:lnTo>
                    <a:pt x="598" y="455"/>
                  </a:lnTo>
                  <a:lnTo>
                    <a:pt x="600" y="455"/>
                  </a:lnTo>
                  <a:lnTo>
                    <a:pt x="598" y="455"/>
                  </a:lnTo>
                  <a:lnTo>
                    <a:pt x="598" y="455"/>
                  </a:lnTo>
                  <a:lnTo>
                    <a:pt x="600" y="455"/>
                  </a:lnTo>
                  <a:lnTo>
                    <a:pt x="598" y="455"/>
                  </a:lnTo>
                  <a:lnTo>
                    <a:pt x="598" y="455"/>
                  </a:lnTo>
                  <a:lnTo>
                    <a:pt x="598" y="455"/>
                  </a:lnTo>
                  <a:lnTo>
                    <a:pt x="598" y="455"/>
                  </a:lnTo>
                  <a:lnTo>
                    <a:pt x="598" y="455"/>
                  </a:lnTo>
                  <a:lnTo>
                    <a:pt x="598" y="455"/>
                  </a:lnTo>
                  <a:lnTo>
                    <a:pt x="598" y="455"/>
                  </a:lnTo>
                  <a:lnTo>
                    <a:pt x="597" y="455"/>
                  </a:lnTo>
                  <a:lnTo>
                    <a:pt x="597" y="455"/>
                  </a:lnTo>
                  <a:lnTo>
                    <a:pt x="597" y="462"/>
                  </a:lnTo>
                  <a:lnTo>
                    <a:pt x="597" y="462"/>
                  </a:lnTo>
                  <a:lnTo>
                    <a:pt x="597" y="465"/>
                  </a:lnTo>
                  <a:lnTo>
                    <a:pt x="597" y="465"/>
                  </a:lnTo>
                  <a:lnTo>
                    <a:pt x="598" y="468"/>
                  </a:lnTo>
                  <a:lnTo>
                    <a:pt x="598" y="468"/>
                  </a:lnTo>
                  <a:lnTo>
                    <a:pt x="600" y="468"/>
                  </a:lnTo>
                  <a:lnTo>
                    <a:pt x="600" y="468"/>
                  </a:lnTo>
                  <a:lnTo>
                    <a:pt x="601" y="468"/>
                  </a:lnTo>
                  <a:lnTo>
                    <a:pt x="601" y="468"/>
                  </a:lnTo>
                  <a:lnTo>
                    <a:pt x="604" y="466"/>
                  </a:lnTo>
                  <a:lnTo>
                    <a:pt x="604" y="466"/>
                  </a:lnTo>
                  <a:lnTo>
                    <a:pt x="605" y="462"/>
                  </a:lnTo>
                  <a:lnTo>
                    <a:pt x="605" y="462"/>
                  </a:lnTo>
                  <a:lnTo>
                    <a:pt x="607" y="456"/>
                  </a:lnTo>
                  <a:lnTo>
                    <a:pt x="607" y="456"/>
                  </a:lnTo>
                  <a:lnTo>
                    <a:pt x="608" y="456"/>
                  </a:lnTo>
                  <a:lnTo>
                    <a:pt x="608" y="455"/>
                  </a:lnTo>
                  <a:lnTo>
                    <a:pt x="607" y="455"/>
                  </a:lnTo>
                  <a:lnTo>
                    <a:pt x="608" y="456"/>
                  </a:lnTo>
                  <a:lnTo>
                    <a:pt x="608" y="455"/>
                  </a:lnTo>
                  <a:lnTo>
                    <a:pt x="607" y="455"/>
                  </a:lnTo>
                  <a:lnTo>
                    <a:pt x="608" y="456"/>
                  </a:lnTo>
                  <a:lnTo>
                    <a:pt x="607" y="455"/>
                  </a:lnTo>
                  <a:lnTo>
                    <a:pt x="607" y="456"/>
                  </a:lnTo>
                  <a:lnTo>
                    <a:pt x="607" y="456"/>
                  </a:lnTo>
                  <a:lnTo>
                    <a:pt x="608" y="456"/>
                  </a:lnTo>
                  <a:lnTo>
                    <a:pt x="607" y="455"/>
                  </a:lnTo>
                  <a:lnTo>
                    <a:pt x="607" y="456"/>
                  </a:lnTo>
                  <a:lnTo>
                    <a:pt x="607" y="455"/>
                  </a:lnTo>
                  <a:lnTo>
                    <a:pt x="605" y="456"/>
                  </a:lnTo>
                  <a:lnTo>
                    <a:pt x="607" y="456"/>
                  </a:lnTo>
                  <a:lnTo>
                    <a:pt x="607" y="455"/>
                  </a:lnTo>
                  <a:lnTo>
                    <a:pt x="605" y="456"/>
                  </a:lnTo>
                  <a:lnTo>
                    <a:pt x="605" y="455"/>
                  </a:lnTo>
                  <a:lnTo>
                    <a:pt x="605" y="456"/>
                  </a:lnTo>
                  <a:lnTo>
                    <a:pt x="605" y="456"/>
                  </a:lnTo>
                  <a:lnTo>
                    <a:pt x="605" y="455"/>
                  </a:lnTo>
                  <a:lnTo>
                    <a:pt x="605" y="456"/>
                  </a:lnTo>
                  <a:lnTo>
                    <a:pt x="605" y="456"/>
                  </a:lnTo>
                  <a:lnTo>
                    <a:pt x="607" y="459"/>
                  </a:lnTo>
                  <a:lnTo>
                    <a:pt x="607" y="459"/>
                  </a:lnTo>
                  <a:lnTo>
                    <a:pt x="608" y="462"/>
                  </a:lnTo>
                  <a:lnTo>
                    <a:pt x="610" y="462"/>
                  </a:lnTo>
                  <a:lnTo>
                    <a:pt x="610" y="463"/>
                  </a:lnTo>
                  <a:lnTo>
                    <a:pt x="610" y="463"/>
                  </a:lnTo>
                  <a:lnTo>
                    <a:pt x="611" y="463"/>
                  </a:lnTo>
                  <a:lnTo>
                    <a:pt x="611" y="463"/>
                  </a:lnTo>
                  <a:lnTo>
                    <a:pt x="614" y="462"/>
                  </a:lnTo>
                  <a:lnTo>
                    <a:pt x="614" y="462"/>
                  </a:lnTo>
                  <a:lnTo>
                    <a:pt x="614" y="461"/>
                  </a:lnTo>
                  <a:lnTo>
                    <a:pt x="614" y="461"/>
                  </a:lnTo>
                  <a:lnTo>
                    <a:pt x="614" y="461"/>
                  </a:lnTo>
                  <a:lnTo>
                    <a:pt x="613" y="455"/>
                  </a:lnTo>
                  <a:lnTo>
                    <a:pt x="613" y="455"/>
                  </a:lnTo>
                  <a:lnTo>
                    <a:pt x="613" y="452"/>
                  </a:lnTo>
                  <a:lnTo>
                    <a:pt x="613" y="452"/>
                  </a:lnTo>
                  <a:lnTo>
                    <a:pt x="613" y="452"/>
                  </a:lnTo>
                  <a:lnTo>
                    <a:pt x="613" y="452"/>
                  </a:lnTo>
                  <a:lnTo>
                    <a:pt x="613" y="452"/>
                  </a:lnTo>
                  <a:lnTo>
                    <a:pt x="613" y="452"/>
                  </a:lnTo>
                  <a:lnTo>
                    <a:pt x="613" y="452"/>
                  </a:lnTo>
                  <a:lnTo>
                    <a:pt x="611" y="452"/>
                  </a:lnTo>
                  <a:lnTo>
                    <a:pt x="611" y="453"/>
                  </a:lnTo>
                  <a:lnTo>
                    <a:pt x="613" y="452"/>
                  </a:lnTo>
                  <a:lnTo>
                    <a:pt x="611" y="452"/>
                  </a:lnTo>
                  <a:lnTo>
                    <a:pt x="611" y="453"/>
                  </a:lnTo>
                  <a:lnTo>
                    <a:pt x="611" y="452"/>
                  </a:lnTo>
                  <a:lnTo>
                    <a:pt x="611" y="453"/>
                  </a:lnTo>
                  <a:lnTo>
                    <a:pt x="611" y="453"/>
                  </a:lnTo>
                  <a:lnTo>
                    <a:pt x="611" y="452"/>
                  </a:lnTo>
                  <a:lnTo>
                    <a:pt x="611" y="453"/>
                  </a:lnTo>
                  <a:lnTo>
                    <a:pt x="611" y="453"/>
                  </a:lnTo>
                  <a:lnTo>
                    <a:pt x="611" y="453"/>
                  </a:lnTo>
                  <a:lnTo>
                    <a:pt x="614" y="455"/>
                  </a:lnTo>
                  <a:lnTo>
                    <a:pt x="614" y="455"/>
                  </a:lnTo>
                  <a:lnTo>
                    <a:pt x="620" y="459"/>
                  </a:lnTo>
                  <a:lnTo>
                    <a:pt x="620" y="459"/>
                  </a:lnTo>
                  <a:lnTo>
                    <a:pt x="623" y="461"/>
                  </a:lnTo>
                  <a:lnTo>
                    <a:pt x="623" y="462"/>
                  </a:lnTo>
                  <a:lnTo>
                    <a:pt x="623" y="462"/>
                  </a:lnTo>
                  <a:lnTo>
                    <a:pt x="624" y="462"/>
                  </a:lnTo>
                  <a:lnTo>
                    <a:pt x="624" y="462"/>
                  </a:lnTo>
                  <a:lnTo>
                    <a:pt x="624" y="462"/>
                  </a:lnTo>
                  <a:lnTo>
                    <a:pt x="624" y="462"/>
                  </a:lnTo>
                  <a:lnTo>
                    <a:pt x="627" y="461"/>
                  </a:lnTo>
                  <a:lnTo>
                    <a:pt x="627" y="461"/>
                  </a:lnTo>
                  <a:lnTo>
                    <a:pt x="627" y="459"/>
                  </a:lnTo>
                  <a:lnTo>
                    <a:pt x="627" y="459"/>
                  </a:lnTo>
                  <a:lnTo>
                    <a:pt x="627" y="458"/>
                  </a:lnTo>
                  <a:lnTo>
                    <a:pt x="627" y="458"/>
                  </a:lnTo>
                  <a:lnTo>
                    <a:pt x="627" y="458"/>
                  </a:lnTo>
                  <a:lnTo>
                    <a:pt x="627" y="458"/>
                  </a:lnTo>
                  <a:lnTo>
                    <a:pt x="626" y="458"/>
                  </a:lnTo>
                  <a:lnTo>
                    <a:pt x="627" y="458"/>
                  </a:lnTo>
                  <a:lnTo>
                    <a:pt x="627" y="458"/>
                  </a:lnTo>
                  <a:lnTo>
                    <a:pt x="626" y="458"/>
                  </a:lnTo>
                  <a:lnTo>
                    <a:pt x="627" y="458"/>
                  </a:lnTo>
                  <a:lnTo>
                    <a:pt x="627" y="458"/>
                  </a:lnTo>
                  <a:lnTo>
                    <a:pt x="627" y="456"/>
                  </a:lnTo>
                  <a:lnTo>
                    <a:pt x="627" y="456"/>
                  </a:lnTo>
                  <a:lnTo>
                    <a:pt x="627" y="455"/>
                  </a:lnTo>
                  <a:lnTo>
                    <a:pt x="627" y="455"/>
                  </a:lnTo>
                  <a:lnTo>
                    <a:pt x="626" y="450"/>
                  </a:lnTo>
                  <a:lnTo>
                    <a:pt x="626" y="450"/>
                  </a:lnTo>
                  <a:lnTo>
                    <a:pt x="624" y="449"/>
                  </a:lnTo>
                  <a:lnTo>
                    <a:pt x="623" y="446"/>
                  </a:lnTo>
                  <a:lnTo>
                    <a:pt x="623" y="446"/>
                  </a:lnTo>
                  <a:lnTo>
                    <a:pt x="614" y="443"/>
                  </a:lnTo>
                  <a:lnTo>
                    <a:pt x="614" y="443"/>
                  </a:lnTo>
                  <a:lnTo>
                    <a:pt x="610" y="440"/>
                  </a:lnTo>
                  <a:lnTo>
                    <a:pt x="610" y="440"/>
                  </a:lnTo>
                  <a:lnTo>
                    <a:pt x="610" y="440"/>
                  </a:lnTo>
                  <a:lnTo>
                    <a:pt x="608" y="440"/>
                  </a:lnTo>
                  <a:lnTo>
                    <a:pt x="610" y="440"/>
                  </a:lnTo>
                  <a:lnTo>
                    <a:pt x="610" y="440"/>
                  </a:lnTo>
                  <a:lnTo>
                    <a:pt x="608" y="440"/>
                  </a:lnTo>
                  <a:lnTo>
                    <a:pt x="610" y="440"/>
                  </a:lnTo>
                  <a:lnTo>
                    <a:pt x="608" y="440"/>
                  </a:lnTo>
                  <a:lnTo>
                    <a:pt x="610" y="442"/>
                  </a:lnTo>
                  <a:lnTo>
                    <a:pt x="610" y="440"/>
                  </a:lnTo>
                  <a:lnTo>
                    <a:pt x="608" y="440"/>
                  </a:lnTo>
                  <a:lnTo>
                    <a:pt x="610" y="442"/>
                  </a:lnTo>
                  <a:lnTo>
                    <a:pt x="610" y="442"/>
                  </a:lnTo>
                  <a:lnTo>
                    <a:pt x="610" y="439"/>
                  </a:lnTo>
                  <a:lnTo>
                    <a:pt x="613" y="437"/>
                  </a:lnTo>
                  <a:lnTo>
                    <a:pt x="613" y="437"/>
                  </a:lnTo>
                  <a:lnTo>
                    <a:pt x="621" y="434"/>
                  </a:lnTo>
                  <a:lnTo>
                    <a:pt x="621" y="434"/>
                  </a:lnTo>
                  <a:lnTo>
                    <a:pt x="623" y="434"/>
                  </a:lnTo>
                  <a:lnTo>
                    <a:pt x="623" y="434"/>
                  </a:lnTo>
                  <a:lnTo>
                    <a:pt x="624" y="434"/>
                  </a:lnTo>
                  <a:lnTo>
                    <a:pt x="624" y="434"/>
                  </a:lnTo>
                  <a:lnTo>
                    <a:pt x="626" y="436"/>
                  </a:lnTo>
                  <a:lnTo>
                    <a:pt x="626" y="436"/>
                  </a:lnTo>
                  <a:lnTo>
                    <a:pt x="627" y="437"/>
                  </a:lnTo>
                  <a:lnTo>
                    <a:pt x="627" y="437"/>
                  </a:lnTo>
                  <a:lnTo>
                    <a:pt x="629" y="439"/>
                  </a:lnTo>
                  <a:lnTo>
                    <a:pt x="629" y="439"/>
                  </a:lnTo>
                  <a:lnTo>
                    <a:pt x="631" y="437"/>
                  </a:lnTo>
                  <a:lnTo>
                    <a:pt x="633" y="436"/>
                  </a:lnTo>
                  <a:lnTo>
                    <a:pt x="634" y="436"/>
                  </a:lnTo>
                  <a:lnTo>
                    <a:pt x="634" y="436"/>
                  </a:lnTo>
                  <a:lnTo>
                    <a:pt x="634" y="436"/>
                  </a:lnTo>
                  <a:lnTo>
                    <a:pt x="634" y="436"/>
                  </a:lnTo>
                  <a:lnTo>
                    <a:pt x="634" y="436"/>
                  </a:lnTo>
                  <a:lnTo>
                    <a:pt x="634" y="436"/>
                  </a:lnTo>
                  <a:lnTo>
                    <a:pt x="634" y="436"/>
                  </a:lnTo>
                  <a:lnTo>
                    <a:pt x="634" y="436"/>
                  </a:lnTo>
                  <a:lnTo>
                    <a:pt x="634" y="436"/>
                  </a:lnTo>
                  <a:lnTo>
                    <a:pt x="634" y="436"/>
                  </a:lnTo>
                  <a:lnTo>
                    <a:pt x="634" y="436"/>
                  </a:lnTo>
                  <a:lnTo>
                    <a:pt x="634" y="436"/>
                  </a:lnTo>
                  <a:lnTo>
                    <a:pt x="634" y="436"/>
                  </a:lnTo>
                  <a:lnTo>
                    <a:pt x="634" y="437"/>
                  </a:lnTo>
                  <a:lnTo>
                    <a:pt x="634" y="437"/>
                  </a:lnTo>
                  <a:lnTo>
                    <a:pt x="634" y="437"/>
                  </a:lnTo>
                  <a:lnTo>
                    <a:pt x="634" y="439"/>
                  </a:lnTo>
                  <a:lnTo>
                    <a:pt x="634" y="437"/>
                  </a:lnTo>
                  <a:lnTo>
                    <a:pt x="634" y="437"/>
                  </a:lnTo>
                  <a:lnTo>
                    <a:pt x="634" y="439"/>
                  </a:lnTo>
                  <a:lnTo>
                    <a:pt x="634" y="437"/>
                  </a:lnTo>
                  <a:lnTo>
                    <a:pt x="634" y="437"/>
                  </a:lnTo>
                  <a:lnTo>
                    <a:pt x="633" y="442"/>
                  </a:lnTo>
                  <a:lnTo>
                    <a:pt x="633" y="442"/>
                  </a:lnTo>
                  <a:lnTo>
                    <a:pt x="633" y="445"/>
                  </a:lnTo>
                  <a:lnTo>
                    <a:pt x="633" y="445"/>
                  </a:lnTo>
                  <a:lnTo>
                    <a:pt x="633" y="449"/>
                  </a:lnTo>
                  <a:lnTo>
                    <a:pt x="633" y="449"/>
                  </a:lnTo>
                  <a:lnTo>
                    <a:pt x="634" y="450"/>
                  </a:lnTo>
                  <a:lnTo>
                    <a:pt x="634" y="452"/>
                  </a:lnTo>
                  <a:lnTo>
                    <a:pt x="634" y="452"/>
                  </a:lnTo>
                  <a:lnTo>
                    <a:pt x="637" y="452"/>
                  </a:lnTo>
                  <a:lnTo>
                    <a:pt x="637" y="452"/>
                  </a:lnTo>
                  <a:lnTo>
                    <a:pt x="639" y="452"/>
                  </a:lnTo>
                  <a:lnTo>
                    <a:pt x="639" y="450"/>
                  </a:lnTo>
                  <a:lnTo>
                    <a:pt x="639" y="450"/>
                  </a:lnTo>
                  <a:lnTo>
                    <a:pt x="639" y="450"/>
                  </a:lnTo>
                  <a:lnTo>
                    <a:pt x="639" y="450"/>
                  </a:lnTo>
                  <a:lnTo>
                    <a:pt x="639" y="452"/>
                  </a:lnTo>
                  <a:lnTo>
                    <a:pt x="639" y="452"/>
                  </a:lnTo>
                  <a:lnTo>
                    <a:pt x="639" y="450"/>
                  </a:lnTo>
                  <a:lnTo>
                    <a:pt x="639" y="450"/>
                  </a:lnTo>
                  <a:lnTo>
                    <a:pt x="639" y="452"/>
                  </a:lnTo>
                  <a:lnTo>
                    <a:pt x="639" y="450"/>
                  </a:lnTo>
                  <a:lnTo>
                    <a:pt x="637" y="452"/>
                  </a:lnTo>
                  <a:lnTo>
                    <a:pt x="639" y="452"/>
                  </a:lnTo>
                  <a:lnTo>
                    <a:pt x="639" y="450"/>
                  </a:lnTo>
                  <a:lnTo>
                    <a:pt x="637" y="452"/>
                  </a:lnTo>
                  <a:lnTo>
                    <a:pt x="637" y="450"/>
                  </a:lnTo>
                  <a:lnTo>
                    <a:pt x="637" y="452"/>
                  </a:lnTo>
                  <a:lnTo>
                    <a:pt x="637" y="452"/>
                  </a:lnTo>
                  <a:lnTo>
                    <a:pt x="637" y="450"/>
                  </a:lnTo>
                  <a:lnTo>
                    <a:pt x="637" y="452"/>
                  </a:lnTo>
                  <a:lnTo>
                    <a:pt x="637" y="452"/>
                  </a:lnTo>
                  <a:lnTo>
                    <a:pt x="640" y="453"/>
                  </a:lnTo>
                  <a:lnTo>
                    <a:pt x="640" y="453"/>
                  </a:lnTo>
                  <a:lnTo>
                    <a:pt x="642" y="455"/>
                  </a:lnTo>
                  <a:lnTo>
                    <a:pt x="642" y="456"/>
                  </a:lnTo>
                  <a:lnTo>
                    <a:pt x="642" y="456"/>
                  </a:lnTo>
                  <a:lnTo>
                    <a:pt x="644" y="456"/>
                  </a:lnTo>
                  <a:lnTo>
                    <a:pt x="644" y="456"/>
                  </a:lnTo>
                  <a:lnTo>
                    <a:pt x="646" y="456"/>
                  </a:lnTo>
                  <a:lnTo>
                    <a:pt x="646" y="456"/>
                  </a:lnTo>
                  <a:lnTo>
                    <a:pt x="647" y="455"/>
                  </a:lnTo>
                  <a:lnTo>
                    <a:pt x="647" y="455"/>
                  </a:lnTo>
                  <a:lnTo>
                    <a:pt x="647" y="453"/>
                  </a:lnTo>
                  <a:lnTo>
                    <a:pt x="647" y="453"/>
                  </a:lnTo>
                  <a:lnTo>
                    <a:pt x="647" y="453"/>
                  </a:lnTo>
                  <a:lnTo>
                    <a:pt x="647" y="449"/>
                  </a:lnTo>
                  <a:lnTo>
                    <a:pt x="647" y="449"/>
                  </a:lnTo>
                  <a:lnTo>
                    <a:pt x="647" y="443"/>
                  </a:lnTo>
                  <a:lnTo>
                    <a:pt x="647" y="443"/>
                  </a:lnTo>
                  <a:lnTo>
                    <a:pt x="647" y="442"/>
                  </a:lnTo>
                  <a:lnTo>
                    <a:pt x="647" y="440"/>
                  </a:lnTo>
                  <a:lnTo>
                    <a:pt x="647" y="440"/>
                  </a:lnTo>
                  <a:lnTo>
                    <a:pt x="647" y="440"/>
                  </a:lnTo>
                  <a:lnTo>
                    <a:pt x="647" y="440"/>
                  </a:lnTo>
                  <a:lnTo>
                    <a:pt x="647" y="440"/>
                  </a:lnTo>
                  <a:lnTo>
                    <a:pt x="647" y="440"/>
                  </a:lnTo>
                  <a:lnTo>
                    <a:pt x="647" y="440"/>
                  </a:lnTo>
                  <a:lnTo>
                    <a:pt x="647" y="440"/>
                  </a:lnTo>
                  <a:lnTo>
                    <a:pt x="647" y="440"/>
                  </a:lnTo>
                  <a:lnTo>
                    <a:pt x="647" y="440"/>
                  </a:lnTo>
                  <a:lnTo>
                    <a:pt x="649" y="439"/>
                  </a:lnTo>
                  <a:lnTo>
                    <a:pt x="649" y="439"/>
                  </a:lnTo>
                  <a:lnTo>
                    <a:pt x="647" y="437"/>
                  </a:lnTo>
                  <a:lnTo>
                    <a:pt x="647" y="437"/>
                  </a:lnTo>
                  <a:lnTo>
                    <a:pt x="646" y="434"/>
                  </a:lnTo>
                  <a:lnTo>
                    <a:pt x="646" y="434"/>
                  </a:lnTo>
                  <a:lnTo>
                    <a:pt x="643" y="430"/>
                  </a:lnTo>
                  <a:lnTo>
                    <a:pt x="643" y="430"/>
                  </a:lnTo>
                  <a:lnTo>
                    <a:pt x="642" y="427"/>
                  </a:lnTo>
                  <a:lnTo>
                    <a:pt x="642" y="427"/>
                  </a:lnTo>
                  <a:lnTo>
                    <a:pt x="642" y="427"/>
                  </a:lnTo>
                  <a:lnTo>
                    <a:pt x="642" y="424"/>
                  </a:lnTo>
                  <a:lnTo>
                    <a:pt x="642" y="424"/>
                  </a:lnTo>
                  <a:lnTo>
                    <a:pt x="642" y="424"/>
                  </a:lnTo>
                  <a:lnTo>
                    <a:pt x="643" y="423"/>
                  </a:lnTo>
                  <a:lnTo>
                    <a:pt x="643" y="423"/>
                  </a:lnTo>
                  <a:lnTo>
                    <a:pt x="647" y="423"/>
                  </a:lnTo>
                  <a:lnTo>
                    <a:pt x="647" y="423"/>
                  </a:lnTo>
                  <a:lnTo>
                    <a:pt x="649" y="421"/>
                  </a:lnTo>
                  <a:lnTo>
                    <a:pt x="649" y="421"/>
                  </a:lnTo>
                  <a:lnTo>
                    <a:pt x="649" y="421"/>
                  </a:lnTo>
                  <a:lnTo>
                    <a:pt x="649" y="421"/>
                  </a:lnTo>
                  <a:lnTo>
                    <a:pt x="649" y="421"/>
                  </a:lnTo>
                  <a:lnTo>
                    <a:pt x="649" y="421"/>
                  </a:lnTo>
                  <a:lnTo>
                    <a:pt x="649" y="421"/>
                  </a:lnTo>
                  <a:lnTo>
                    <a:pt x="649" y="421"/>
                  </a:lnTo>
                  <a:lnTo>
                    <a:pt x="649" y="421"/>
                  </a:lnTo>
                  <a:lnTo>
                    <a:pt x="649" y="421"/>
                  </a:lnTo>
                  <a:lnTo>
                    <a:pt x="649" y="421"/>
                  </a:lnTo>
                  <a:lnTo>
                    <a:pt x="649" y="421"/>
                  </a:lnTo>
                  <a:lnTo>
                    <a:pt x="649" y="421"/>
                  </a:lnTo>
                  <a:lnTo>
                    <a:pt x="649" y="421"/>
                  </a:lnTo>
                  <a:lnTo>
                    <a:pt x="649" y="421"/>
                  </a:lnTo>
                  <a:lnTo>
                    <a:pt x="649" y="421"/>
                  </a:lnTo>
                  <a:lnTo>
                    <a:pt x="649" y="421"/>
                  </a:lnTo>
                  <a:lnTo>
                    <a:pt x="649" y="421"/>
                  </a:lnTo>
                  <a:lnTo>
                    <a:pt x="652" y="426"/>
                  </a:lnTo>
                  <a:lnTo>
                    <a:pt x="652" y="426"/>
                  </a:lnTo>
                  <a:lnTo>
                    <a:pt x="653" y="427"/>
                  </a:lnTo>
                  <a:lnTo>
                    <a:pt x="655" y="427"/>
                  </a:lnTo>
                  <a:lnTo>
                    <a:pt x="655" y="427"/>
                  </a:lnTo>
                  <a:lnTo>
                    <a:pt x="656" y="427"/>
                  </a:lnTo>
                  <a:lnTo>
                    <a:pt x="656" y="427"/>
                  </a:lnTo>
                  <a:lnTo>
                    <a:pt x="658" y="427"/>
                  </a:lnTo>
                  <a:lnTo>
                    <a:pt x="658" y="427"/>
                  </a:lnTo>
                  <a:lnTo>
                    <a:pt x="659" y="424"/>
                  </a:lnTo>
                  <a:lnTo>
                    <a:pt x="659" y="424"/>
                  </a:lnTo>
                  <a:lnTo>
                    <a:pt x="659" y="423"/>
                  </a:lnTo>
                  <a:lnTo>
                    <a:pt x="659" y="423"/>
                  </a:lnTo>
                  <a:lnTo>
                    <a:pt x="658" y="417"/>
                  </a:lnTo>
                  <a:lnTo>
                    <a:pt x="658" y="416"/>
                  </a:lnTo>
                  <a:lnTo>
                    <a:pt x="658" y="416"/>
                  </a:lnTo>
                  <a:lnTo>
                    <a:pt x="656" y="416"/>
                  </a:lnTo>
                  <a:lnTo>
                    <a:pt x="658" y="417"/>
                  </a:lnTo>
                  <a:lnTo>
                    <a:pt x="658" y="416"/>
                  </a:lnTo>
                  <a:lnTo>
                    <a:pt x="656" y="416"/>
                  </a:lnTo>
                  <a:lnTo>
                    <a:pt x="658" y="417"/>
                  </a:lnTo>
                  <a:lnTo>
                    <a:pt x="656" y="416"/>
                  </a:lnTo>
                  <a:lnTo>
                    <a:pt x="656" y="417"/>
                  </a:lnTo>
                  <a:lnTo>
                    <a:pt x="656" y="417"/>
                  </a:lnTo>
                  <a:lnTo>
                    <a:pt x="658" y="417"/>
                  </a:lnTo>
                  <a:lnTo>
                    <a:pt x="656" y="416"/>
                  </a:lnTo>
                  <a:lnTo>
                    <a:pt x="656" y="417"/>
                  </a:lnTo>
                  <a:lnTo>
                    <a:pt x="656" y="416"/>
                  </a:lnTo>
                  <a:lnTo>
                    <a:pt x="655" y="417"/>
                  </a:lnTo>
                  <a:lnTo>
                    <a:pt x="656" y="417"/>
                  </a:lnTo>
                  <a:lnTo>
                    <a:pt x="656" y="416"/>
                  </a:lnTo>
                  <a:lnTo>
                    <a:pt x="655" y="417"/>
                  </a:lnTo>
                  <a:lnTo>
                    <a:pt x="655" y="417"/>
                  </a:lnTo>
                  <a:lnTo>
                    <a:pt x="656" y="419"/>
                  </a:lnTo>
                  <a:lnTo>
                    <a:pt x="658" y="419"/>
                  </a:lnTo>
                  <a:lnTo>
                    <a:pt x="658" y="419"/>
                  </a:lnTo>
                  <a:lnTo>
                    <a:pt x="659" y="420"/>
                  </a:lnTo>
                  <a:lnTo>
                    <a:pt x="659" y="420"/>
                  </a:lnTo>
                  <a:lnTo>
                    <a:pt x="662" y="419"/>
                  </a:lnTo>
                  <a:lnTo>
                    <a:pt x="662" y="419"/>
                  </a:lnTo>
                  <a:lnTo>
                    <a:pt x="662" y="417"/>
                  </a:lnTo>
                  <a:lnTo>
                    <a:pt x="662" y="417"/>
                  </a:lnTo>
                  <a:lnTo>
                    <a:pt x="663" y="416"/>
                  </a:lnTo>
                  <a:lnTo>
                    <a:pt x="663" y="416"/>
                  </a:lnTo>
                  <a:lnTo>
                    <a:pt x="663" y="416"/>
                  </a:lnTo>
                  <a:lnTo>
                    <a:pt x="665" y="413"/>
                  </a:lnTo>
                  <a:lnTo>
                    <a:pt x="665" y="413"/>
                  </a:lnTo>
                  <a:lnTo>
                    <a:pt x="666" y="410"/>
                  </a:lnTo>
                  <a:lnTo>
                    <a:pt x="666" y="408"/>
                  </a:lnTo>
                  <a:lnTo>
                    <a:pt x="666" y="408"/>
                  </a:lnTo>
                  <a:lnTo>
                    <a:pt x="666" y="406"/>
                  </a:lnTo>
                  <a:lnTo>
                    <a:pt x="666" y="406"/>
                  </a:lnTo>
                  <a:lnTo>
                    <a:pt x="665" y="403"/>
                  </a:lnTo>
                  <a:lnTo>
                    <a:pt x="665" y="403"/>
                  </a:lnTo>
                  <a:lnTo>
                    <a:pt x="665" y="400"/>
                  </a:lnTo>
                  <a:lnTo>
                    <a:pt x="665" y="400"/>
                  </a:lnTo>
                  <a:lnTo>
                    <a:pt x="665" y="398"/>
                  </a:lnTo>
                  <a:lnTo>
                    <a:pt x="665" y="398"/>
                  </a:lnTo>
                  <a:lnTo>
                    <a:pt x="665" y="400"/>
                  </a:lnTo>
                  <a:lnTo>
                    <a:pt x="665" y="398"/>
                  </a:lnTo>
                  <a:lnTo>
                    <a:pt x="665" y="398"/>
                  </a:lnTo>
                  <a:lnTo>
                    <a:pt x="665" y="400"/>
                  </a:lnTo>
                  <a:lnTo>
                    <a:pt x="663" y="398"/>
                  </a:lnTo>
                  <a:lnTo>
                    <a:pt x="665" y="400"/>
                  </a:lnTo>
                  <a:lnTo>
                    <a:pt x="665" y="400"/>
                  </a:lnTo>
                  <a:lnTo>
                    <a:pt x="663" y="398"/>
                  </a:lnTo>
                  <a:lnTo>
                    <a:pt x="665" y="400"/>
                  </a:lnTo>
                  <a:lnTo>
                    <a:pt x="663" y="398"/>
                  </a:lnTo>
                  <a:lnTo>
                    <a:pt x="663" y="400"/>
                  </a:lnTo>
                  <a:lnTo>
                    <a:pt x="665" y="400"/>
                  </a:lnTo>
                  <a:lnTo>
                    <a:pt x="663" y="398"/>
                  </a:lnTo>
                  <a:lnTo>
                    <a:pt x="663" y="400"/>
                  </a:lnTo>
                  <a:lnTo>
                    <a:pt x="663" y="398"/>
                  </a:lnTo>
                  <a:lnTo>
                    <a:pt x="663" y="400"/>
                  </a:lnTo>
                  <a:lnTo>
                    <a:pt x="663" y="400"/>
                  </a:lnTo>
                  <a:lnTo>
                    <a:pt x="663" y="398"/>
                  </a:lnTo>
                  <a:lnTo>
                    <a:pt x="663" y="400"/>
                  </a:lnTo>
                  <a:lnTo>
                    <a:pt x="663" y="400"/>
                  </a:lnTo>
                  <a:lnTo>
                    <a:pt x="663" y="400"/>
                  </a:lnTo>
                  <a:lnTo>
                    <a:pt x="663" y="400"/>
                  </a:lnTo>
                  <a:lnTo>
                    <a:pt x="666" y="403"/>
                  </a:lnTo>
                  <a:lnTo>
                    <a:pt x="666" y="403"/>
                  </a:lnTo>
                  <a:lnTo>
                    <a:pt x="668" y="404"/>
                  </a:lnTo>
                  <a:lnTo>
                    <a:pt x="668" y="404"/>
                  </a:lnTo>
                  <a:lnTo>
                    <a:pt x="671" y="404"/>
                  </a:lnTo>
                  <a:lnTo>
                    <a:pt x="671" y="404"/>
                  </a:lnTo>
                  <a:lnTo>
                    <a:pt x="673" y="403"/>
                  </a:lnTo>
                  <a:lnTo>
                    <a:pt x="673" y="403"/>
                  </a:lnTo>
                  <a:lnTo>
                    <a:pt x="673" y="403"/>
                  </a:lnTo>
                  <a:lnTo>
                    <a:pt x="675" y="403"/>
                  </a:lnTo>
                  <a:lnTo>
                    <a:pt x="675" y="403"/>
                  </a:lnTo>
                  <a:lnTo>
                    <a:pt x="678" y="406"/>
                  </a:lnTo>
                  <a:lnTo>
                    <a:pt x="678" y="406"/>
                  </a:lnTo>
                  <a:lnTo>
                    <a:pt x="679" y="406"/>
                  </a:lnTo>
                  <a:lnTo>
                    <a:pt x="682" y="407"/>
                  </a:lnTo>
                  <a:lnTo>
                    <a:pt x="684" y="407"/>
                  </a:lnTo>
                  <a:lnTo>
                    <a:pt x="684" y="407"/>
                  </a:lnTo>
                  <a:lnTo>
                    <a:pt x="684" y="406"/>
                  </a:lnTo>
                  <a:lnTo>
                    <a:pt x="684" y="407"/>
                  </a:lnTo>
                  <a:lnTo>
                    <a:pt x="684" y="407"/>
                  </a:lnTo>
                  <a:lnTo>
                    <a:pt x="684" y="406"/>
                  </a:lnTo>
                  <a:lnTo>
                    <a:pt x="684" y="407"/>
                  </a:lnTo>
                  <a:lnTo>
                    <a:pt x="684" y="406"/>
                  </a:lnTo>
                  <a:lnTo>
                    <a:pt x="682" y="406"/>
                  </a:lnTo>
                  <a:lnTo>
                    <a:pt x="684" y="407"/>
                  </a:lnTo>
                  <a:lnTo>
                    <a:pt x="684" y="406"/>
                  </a:lnTo>
                  <a:lnTo>
                    <a:pt x="682" y="406"/>
                  </a:lnTo>
                  <a:lnTo>
                    <a:pt x="684" y="406"/>
                  </a:lnTo>
                  <a:lnTo>
                    <a:pt x="682" y="406"/>
                  </a:lnTo>
                  <a:lnTo>
                    <a:pt x="682" y="406"/>
                  </a:lnTo>
                  <a:lnTo>
                    <a:pt x="684" y="406"/>
                  </a:lnTo>
                  <a:lnTo>
                    <a:pt x="682" y="406"/>
                  </a:lnTo>
                  <a:lnTo>
                    <a:pt x="682" y="406"/>
                  </a:lnTo>
                  <a:lnTo>
                    <a:pt x="682" y="406"/>
                  </a:lnTo>
                  <a:lnTo>
                    <a:pt x="681" y="408"/>
                  </a:lnTo>
                  <a:lnTo>
                    <a:pt x="681" y="408"/>
                  </a:lnTo>
                  <a:lnTo>
                    <a:pt x="678" y="413"/>
                  </a:lnTo>
                  <a:lnTo>
                    <a:pt x="678" y="413"/>
                  </a:lnTo>
                  <a:lnTo>
                    <a:pt x="675" y="417"/>
                  </a:lnTo>
                  <a:lnTo>
                    <a:pt x="675" y="417"/>
                  </a:lnTo>
                  <a:lnTo>
                    <a:pt x="673" y="424"/>
                  </a:lnTo>
                  <a:lnTo>
                    <a:pt x="673" y="424"/>
                  </a:lnTo>
                  <a:lnTo>
                    <a:pt x="672" y="429"/>
                  </a:lnTo>
                  <a:lnTo>
                    <a:pt x="672" y="429"/>
                  </a:lnTo>
                  <a:lnTo>
                    <a:pt x="671" y="432"/>
                  </a:lnTo>
                  <a:lnTo>
                    <a:pt x="671" y="432"/>
                  </a:lnTo>
                  <a:lnTo>
                    <a:pt x="668" y="442"/>
                  </a:lnTo>
                  <a:lnTo>
                    <a:pt x="668" y="442"/>
                  </a:lnTo>
                  <a:lnTo>
                    <a:pt x="669" y="445"/>
                  </a:lnTo>
                  <a:lnTo>
                    <a:pt x="669" y="445"/>
                  </a:lnTo>
                  <a:lnTo>
                    <a:pt x="669" y="446"/>
                  </a:lnTo>
                  <a:lnTo>
                    <a:pt x="669" y="446"/>
                  </a:lnTo>
                  <a:lnTo>
                    <a:pt x="672" y="448"/>
                  </a:lnTo>
                  <a:lnTo>
                    <a:pt x="672" y="448"/>
                  </a:lnTo>
                  <a:lnTo>
                    <a:pt x="673" y="448"/>
                  </a:lnTo>
                  <a:lnTo>
                    <a:pt x="673" y="448"/>
                  </a:lnTo>
                  <a:lnTo>
                    <a:pt x="675" y="446"/>
                  </a:lnTo>
                  <a:lnTo>
                    <a:pt x="675" y="446"/>
                  </a:lnTo>
                  <a:lnTo>
                    <a:pt x="678" y="440"/>
                  </a:lnTo>
                  <a:lnTo>
                    <a:pt x="681" y="433"/>
                  </a:lnTo>
                  <a:lnTo>
                    <a:pt x="681" y="433"/>
                  </a:lnTo>
                  <a:lnTo>
                    <a:pt x="682" y="427"/>
                  </a:lnTo>
                  <a:lnTo>
                    <a:pt x="682" y="427"/>
                  </a:lnTo>
                  <a:lnTo>
                    <a:pt x="684" y="423"/>
                  </a:lnTo>
                  <a:lnTo>
                    <a:pt x="684" y="423"/>
                  </a:lnTo>
                  <a:lnTo>
                    <a:pt x="688" y="414"/>
                  </a:lnTo>
                  <a:lnTo>
                    <a:pt x="688" y="414"/>
                  </a:lnTo>
                  <a:lnTo>
                    <a:pt x="694" y="406"/>
                  </a:lnTo>
                  <a:lnTo>
                    <a:pt x="694" y="406"/>
                  </a:lnTo>
                  <a:lnTo>
                    <a:pt x="700" y="400"/>
                  </a:lnTo>
                  <a:lnTo>
                    <a:pt x="700" y="400"/>
                  </a:lnTo>
                  <a:lnTo>
                    <a:pt x="701" y="398"/>
                  </a:lnTo>
                  <a:lnTo>
                    <a:pt x="701" y="397"/>
                  </a:lnTo>
                  <a:lnTo>
                    <a:pt x="701" y="397"/>
                  </a:lnTo>
                  <a:lnTo>
                    <a:pt x="701" y="395"/>
                  </a:lnTo>
                  <a:lnTo>
                    <a:pt x="701" y="397"/>
                  </a:lnTo>
                  <a:lnTo>
                    <a:pt x="701" y="397"/>
                  </a:lnTo>
                  <a:lnTo>
                    <a:pt x="701" y="397"/>
                  </a:lnTo>
                  <a:lnTo>
                    <a:pt x="701" y="395"/>
                  </a:lnTo>
                  <a:lnTo>
                    <a:pt x="701" y="397"/>
                  </a:lnTo>
                  <a:lnTo>
                    <a:pt x="701" y="395"/>
                  </a:lnTo>
                  <a:lnTo>
                    <a:pt x="700" y="397"/>
                  </a:lnTo>
                  <a:lnTo>
                    <a:pt x="700" y="397"/>
                  </a:lnTo>
                  <a:lnTo>
                    <a:pt x="701" y="397"/>
                  </a:lnTo>
                  <a:lnTo>
                    <a:pt x="701" y="395"/>
                  </a:lnTo>
                  <a:lnTo>
                    <a:pt x="700" y="397"/>
                  </a:lnTo>
                  <a:lnTo>
                    <a:pt x="701" y="395"/>
                  </a:lnTo>
                  <a:lnTo>
                    <a:pt x="698" y="395"/>
                  </a:lnTo>
                  <a:lnTo>
                    <a:pt x="698" y="395"/>
                  </a:lnTo>
                  <a:lnTo>
                    <a:pt x="700" y="397"/>
                  </a:lnTo>
                  <a:lnTo>
                    <a:pt x="701" y="395"/>
                  </a:lnTo>
                  <a:lnTo>
                    <a:pt x="698" y="395"/>
                  </a:lnTo>
                  <a:lnTo>
                    <a:pt x="700" y="395"/>
                  </a:lnTo>
                  <a:lnTo>
                    <a:pt x="698" y="395"/>
                  </a:lnTo>
                  <a:lnTo>
                    <a:pt x="698" y="395"/>
                  </a:lnTo>
                  <a:lnTo>
                    <a:pt x="700" y="395"/>
                  </a:lnTo>
                  <a:lnTo>
                    <a:pt x="698" y="395"/>
                  </a:lnTo>
                  <a:lnTo>
                    <a:pt x="698" y="395"/>
                  </a:lnTo>
                  <a:lnTo>
                    <a:pt x="698" y="395"/>
                  </a:lnTo>
                  <a:lnTo>
                    <a:pt x="698" y="395"/>
                  </a:lnTo>
                  <a:lnTo>
                    <a:pt x="698" y="395"/>
                  </a:lnTo>
                  <a:lnTo>
                    <a:pt x="698" y="395"/>
                  </a:lnTo>
                  <a:lnTo>
                    <a:pt x="698" y="395"/>
                  </a:lnTo>
                  <a:lnTo>
                    <a:pt x="698" y="395"/>
                  </a:lnTo>
                  <a:lnTo>
                    <a:pt x="698" y="395"/>
                  </a:lnTo>
                  <a:lnTo>
                    <a:pt x="698" y="395"/>
                  </a:lnTo>
                  <a:lnTo>
                    <a:pt x="698" y="397"/>
                  </a:lnTo>
                  <a:lnTo>
                    <a:pt x="698" y="397"/>
                  </a:lnTo>
                  <a:lnTo>
                    <a:pt x="695" y="408"/>
                  </a:lnTo>
                  <a:lnTo>
                    <a:pt x="694" y="420"/>
                  </a:lnTo>
                  <a:lnTo>
                    <a:pt x="694" y="420"/>
                  </a:lnTo>
                  <a:lnTo>
                    <a:pt x="695" y="424"/>
                  </a:lnTo>
                  <a:lnTo>
                    <a:pt x="695" y="424"/>
                  </a:lnTo>
                  <a:lnTo>
                    <a:pt x="695" y="426"/>
                  </a:lnTo>
                  <a:lnTo>
                    <a:pt x="695" y="426"/>
                  </a:lnTo>
                  <a:lnTo>
                    <a:pt x="698" y="427"/>
                  </a:lnTo>
                  <a:lnTo>
                    <a:pt x="700" y="427"/>
                  </a:lnTo>
                  <a:lnTo>
                    <a:pt x="700" y="427"/>
                  </a:lnTo>
                  <a:lnTo>
                    <a:pt x="701" y="426"/>
                  </a:lnTo>
                  <a:lnTo>
                    <a:pt x="704" y="426"/>
                  </a:lnTo>
                  <a:lnTo>
                    <a:pt x="704" y="426"/>
                  </a:lnTo>
                  <a:lnTo>
                    <a:pt x="705" y="423"/>
                  </a:lnTo>
                  <a:lnTo>
                    <a:pt x="705" y="423"/>
                  </a:lnTo>
                  <a:lnTo>
                    <a:pt x="707" y="419"/>
                  </a:lnTo>
                  <a:lnTo>
                    <a:pt x="707" y="419"/>
                  </a:lnTo>
                  <a:lnTo>
                    <a:pt x="708" y="408"/>
                  </a:lnTo>
                  <a:lnTo>
                    <a:pt x="708" y="408"/>
                  </a:lnTo>
                  <a:lnTo>
                    <a:pt x="711" y="403"/>
                  </a:lnTo>
                  <a:lnTo>
                    <a:pt x="711" y="403"/>
                  </a:lnTo>
                  <a:lnTo>
                    <a:pt x="713" y="400"/>
                  </a:lnTo>
                  <a:lnTo>
                    <a:pt x="713" y="400"/>
                  </a:lnTo>
                  <a:lnTo>
                    <a:pt x="713" y="400"/>
                  </a:lnTo>
                  <a:lnTo>
                    <a:pt x="715" y="400"/>
                  </a:lnTo>
                  <a:lnTo>
                    <a:pt x="715" y="400"/>
                  </a:lnTo>
                  <a:lnTo>
                    <a:pt x="718" y="400"/>
                  </a:lnTo>
                  <a:lnTo>
                    <a:pt x="718" y="400"/>
                  </a:lnTo>
                  <a:lnTo>
                    <a:pt x="720" y="400"/>
                  </a:lnTo>
                  <a:lnTo>
                    <a:pt x="723" y="398"/>
                  </a:lnTo>
                  <a:lnTo>
                    <a:pt x="723" y="398"/>
                  </a:lnTo>
                  <a:lnTo>
                    <a:pt x="723" y="398"/>
                  </a:lnTo>
                  <a:lnTo>
                    <a:pt x="723" y="398"/>
                  </a:lnTo>
                  <a:lnTo>
                    <a:pt x="723" y="398"/>
                  </a:lnTo>
                  <a:lnTo>
                    <a:pt x="723" y="398"/>
                  </a:lnTo>
                  <a:lnTo>
                    <a:pt x="723" y="398"/>
                  </a:lnTo>
                  <a:lnTo>
                    <a:pt x="723" y="398"/>
                  </a:lnTo>
                  <a:lnTo>
                    <a:pt x="723" y="398"/>
                  </a:lnTo>
                  <a:lnTo>
                    <a:pt x="723" y="398"/>
                  </a:lnTo>
                  <a:lnTo>
                    <a:pt x="723" y="398"/>
                  </a:lnTo>
                  <a:lnTo>
                    <a:pt x="723" y="398"/>
                  </a:lnTo>
                  <a:lnTo>
                    <a:pt x="723" y="398"/>
                  </a:lnTo>
                  <a:lnTo>
                    <a:pt x="721" y="398"/>
                  </a:lnTo>
                  <a:lnTo>
                    <a:pt x="723" y="398"/>
                  </a:lnTo>
                  <a:lnTo>
                    <a:pt x="723" y="398"/>
                  </a:lnTo>
                  <a:lnTo>
                    <a:pt x="721" y="398"/>
                  </a:lnTo>
                  <a:lnTo>
                    <a:pt x="721" y="398"/>
                  </a:lnTo>
                  <a:lnTo>
                    <a:pt x="723" y="401"/>
                  </a:lnTo>
                  <a:lnTo>
                    <a:pt x="724" y="401"/>
                  </a:lnTo>
                  <a:lnTo>
                    <a:pt x="724" y="403"/>
                  </a:lnTo>
                  <a:lnTo>
                    <a:pt x="724" y="403"/>
                  </a:lnTo>
                  <a:lnTo>
                    <a:pt x="724" y="403"/>
                  </a:lnTo>
                  <a:lnTo>
                    <a:pt x="721" y="407"/>
                  </a:lnTo>
                  <a:lnTo>
                    <a:pt x="721" y="407"/>
                  </a:lnTo>
                  <a:lnTo>
                    <a:pt x="718" y="411"/>
                  </a:lnTo>
                  <a:lnTo>
                    <a:pt x="718" y="411"/>
                  </a:lnTo>
                  <a:lnTo>
                    <a:pt x="718" y="411"/>
                  </a:lnTo>
                  <a:lnTo>
                    <a:pt x="715" y="414"/>
                  </a:lnTo>
                  <a:lnTo>
                    <a:pt x="715" y="414"/>
                  </a:lnTo>
                  <a:lnTo>
                    <a:pt x="715" y="417"/>
                  </a:lnTo>
                  <a:lnTo>
                    <a:pt x="715" y="417"/>
                  </a:lnTo>
                  <a:lnTo>
                    <a:pt x="715" y="420"/>
                  </a:lnTo>
                  <a:lnTo>
                    <a:pt x="715" y="420"/>
                  </a:lnTo>
                  <a:lnTo>
                    <a:pt x="720" y="420"/>
                  </a:lnTo>
                  <a:lnTo>
                    <a:pt x="720" y="420"/>
                  </a:lnTo>
                  <a:lnTo>
                    <a:pt x="721" y="420"/>
                  </a:lnTo>
                  <a:lnTo>
                    <a:pt x="721" y="420"/>
                  </a:lnTo>
                  <a:lnTo>
                    <a:pt x="723" y="420"/>
                  </a:lnTo>
                  <a:lnTo>
                    <a:pt x="723" y="419"/>
                  </a:lnTo>
                  <a:lnTo>
                    <a:pt x="723" y="420"/>
                  </a:lnTo>
                  <a:lnTo>
                    <a:pt x="723" y="420"/>
                  </a:lnTo>
                  <a:lnTo>
                    <a:pt x="723" y="420"/>
                  </a:lnTo>
                  <a:lnTo>
                    <a:pt x="723" y="420"/>
                  </a:lnTo>
                  <a:lnTo>
                    <a:pt x="723" y="420"/>
                  </a:lnTo>
                  <a:lnTo>
                    <a:pt x="723" y="419"/>
                  </a:lnTo>
                  <a:lnTo>
                    <a:pt x="723" y="420"/>
                  </a:lnTo>
                  <a:lnTo>
                    <a:pt x="724" y="419"/>
                  </a:lnTo>
                  <a:lnTo>
                    <a:pt x="721" y="420"/>
                  </a:lnTo>
                  <a:lnTo>
                    <a:pt x="723" y="420"/>
                  </a:lnTo>
                  <a:lnTo>
                    <a:pt x="724" y="419"/>
                  </a:lnTo>
                  <a:lnTo>
                    <a:pt x="721" y="420"/>
                  </a:lnTo>
                  <a:lnTo>
                    <a:pt x="724" y="419"/>
                  </a:lnTo>
                  <a:lnTo>
                    <a:pt x="721" y="419"/>
                  </a:lnTo>
                  <a:lnTo>
                    <a:pt x="721" y="420"/>
                  </a:lnTo>
                  <a:lnTo>
                    <a:pt x="724" y="419"/>
                  </a:lnTo>
                  <a:lnTo>
                    <a:pt x="721" y="419"/>
                  </a:lnTo>
                  <a:lnTo>
                    <a:pt x="723" y="419"/>
                  </a:lnTo>
                  <a:lnTo>
                    <a:pt x="721" y="417"/>
                  </a:lnTo>
                  <a:lnTo>
                    <a:pt x="721" y="417"/>
                  </a:lnTo>
                  <a:lnTo>
                    <a:pt x="721" y="419"/>
                  </a:lnTo>
                  <a:lnTo>
                    <a:pt x="723" y="419"/>
                  </a:lnTo>
                  <a:lnTo>
                    <a:pt x="721" y="417"/>
                  </a:lnTo>
                  <a:lnTo>
                    <a:pt x="721" y="417"/>
                  </a:lnTo>
                  <a:lnTo>
                    <a:pt x="721" y="417"/>
                  </a:lnTo>
                  <a:lnTo>
                    <a:pt x="721" y="417"/>
                  </a:lnTo>
                  <a:lnTo>
                    <a:pt x="721" y="417"/>
                  </a:lnTo>
                  <a:lnTo>
                    <a:pt x="721" y="417"/>
                  </a:lnTo>
                  <a:lnTo>
                    <a:pt x="721" y="417"/>
                  </a:lnTo>
                  <a:lnTo>
                    <a:pt x="721" y="417"/>
                  </a:lnTo>
                  <a:lnTo>
                    <a:pt x="720" y="420"/>
                  </a:lnTo>
                  <a:lnTo>
                    <a:pt x="720" y="420"/>
                  </a:lnTo>
                  <a:lnTo>
                    <a:pt x="718" y="423"/>
                  </a:lnTo>
                  <a:lnTo>
                    <a:pt x="718" y="423"/>
                  </a:lnTo>
                  <a:lnTo>
                    <a:pt x="720" y="426"/>
                  </a:lnTo>
                  <a:lnTo>
                    <a:pt x="720" y="426"/>
                  </a:lnTo>
                  <a:lnTo>
                    <a:pt x="723" y="427"/>
                  </a:lnTo>
                  <a:lnTo>
                    <a:pt x="723" y="427"/>
                  </a:lnTo>
                  <a:lnTo>
                    <a:pt x="724" y="426"/>
                  </a:lnTo>
                  <a:lnTo>
                    <a:pt x="724" y="426"/>
                  </a:lnTo>
                  <a:lnTo>
                    <a:pt x="728" y="423"/>
                  </a:lnTo>
                  <a:lnTo>
                    <a:pt x="728" y="423"/>
                  </a:lnTo>
                  <a:lnTo>
                    <a:pt x="730" y="417"/>
                  </a:lnTo>
                  <a:lnTo>
                    <a:pt x="730" y="417"/>
                  </a:lnTo>
                  <a:lnTo>
                    <a:pt x="731" y="414"/>
                  </a:lnTo>
                  <a:lnTo>
                    <a:pt x="731" y="413"/>
                  </a:lnTo>
                  <a:lnTo>
                    <a:pt x="731" y="414"/>
                  </a:lnTo>
                  <a:lnTo>
                    <a:pt x="731" y="414"/>
                  </a:lnTo>
                  <a:lnTo>
                    <a:pt x="734" y="410"/>
                  </a:lnTo>
                  <a:lnTo>
                    <a:pt x="734" y="410"/>
                  </a:lnTo>
                  <a:lnTo>
                    <a:pt x="736" y="408"/>
                  </a:lnTo>
                  <a:lnTo>
                    <a:pt x="736" y="408"/>
                  </a:lnTo>
                  <a:lnTo>
                    <a:pt x="736" y="408"/>
                  </a:lnTo>
                  <a:lnTo>
                    <a:pt x="737" y="410"/>
                  </a:lnTo>
                  <a:lnTo>
                    <a:pt x="737" y="410"/>
                  </a:lnTo>
                  <a:lnTo>
                    <a:pt x="737" y="410"/>
                  </a:lnTo>
                  <a:lnTo>
                    <a:pt x="737" y="410"/>
                  </a:lnTo>
                  <a:lnTo>
                    <a:pt x="739" y="411"/>
                  </a:lnTo>
                  <a:lnTo>
                    <a:pt x="739" y="414"/>
                  </a:lnTo>
                  <a:lnTo>
                    <a:pt x="739" y="414"/>
                  </a:lnTo>
                  <a:lnTo>
                    <a:pt x="740" y="417"/>
                  </a:lnTo>
                  <a:lnTo>
                    <a:pt x="740" y="417"/>
                  </a:lnTo>
                  <a:lnTo>
                    <a:pt x="742" y="419"/>
                  </a:lnTo>
                  <a:lnTo>
                    <a:pt x="742" y="419"/>
                  </a:lnTo>
                  <a:lnTo>
                    <a:pt x="743" y="420"/>
                  </a:lnTo>
                  <a:lnTo>
                    <a:pt x="743" y="420"/>
                  </a:lnTo>
                  <a:lnTo>
                    <a:pt x="746" y="419"/>
                  </a:lnTo>
                  <a:lnTo>
                    <a:pt x="746" y="419"/>
                  </a:lnTo>
                  <a:lnTo>
                    <a:pt x="747" y="419"/>
                  </a:lnTo>
                  <a:lnTo>
                    <a:pt x="747" y="419"/>
                  </a:lnTo>
                  <a:lnTo>
                    <a:pt x="746" y="419"/>
                  </a:lnTo>
                  <a:lnTo>
                    <a:pt x="747" y="419"/>
                  </a:lnTo>
                  <a:lnTo>
                    <a:pt x="747" y="419"/>
                  </a:lnTo>
                  <a:lnTo>
                    <a:pt x="746" y="419"/>
                  </a:lnTo>
                  <a:lnTo>
                    <a:pt x="747" y="419"/>
                  </a:lnTo>
                  <a:lnTo>
                    <a:pt x="746" y="419"/>
                  </a:lnTo>
                  <a:lnTo>
                    <a:pt x="746" y="419"/>
                  </a:lnTo>
                  <a:lnTo>
                    <a:pt x="747" y="419"/>
                  </a:lnTo>
                  <a:lnTo>
                    <a:pt x="746" y="419"/>
                  </a:lnTo>
                  <a:lnTo>
                    <a:pt x="746" y="419"/>
                  </a:lnTo>
                  <a:lnTo>
                    <a:pt x="749" y="420"/>
                  </a:lnTo>
                  <a:lnTo>
                    <a:pt x="749" y="420"/>
                  </a:lnTo>
                  <a:lnTo>
                    <a:pt x="753" y="421"/>
                  </a:lnTo>
                  <a:lnTo>
                    <a:pt x="753" y="421"/>
                  </a:lnTo>
                  <a:lnTo>
                    <a:pt x="755" y="423"/>
                  </a:lnTo>
                  <a:lnTo>
                    <a:pt x="755" y="423"/>
                  </a:lnTo>
                  <a:lnTo>
                    <a:pt x="757" y="427"/>
                  </a:lnTo>
                  <a:lnTo>
                    <a:pt x="757" y="427"/>
                  </a:lnTo>
                  <a:lnTo>
                    <a:pt x="760" y="429"/>
                  </a:lnTo>
                  <a:lnTo>
                    <a:pt x="760" y="429"/>
                  </a:lnTo>
                  <a:lnTo>
                    <a:pt x="765" y="430"/>
                  </a:lnTo>
                  <a:lnTo>
                    <a:pt x="765" y="430"/>
                  </a:lnTo>
                  <a:lnTo>
                    <a:pt x="766" y="430"/>
                  </a:lnTo>
                  <a:lnTo>
                    <a:pt x="766" y="430"/>
                  </a:lnTo>
                  <a:lnTo>
                    <a:pt x="768" y="432"/>
                  </a:lnTo>
                  <a:lnTo>
                    <a:pt x="768" y="432"/>
                  </a:lnTo>
                  <a:lnTo>
                    <a:pt x="766" y="433"/>
                  </a:lnTo>
                  <a:lnTo>
                    <a:pt x="766" y="433"/>
                  </a:lnTo>
                  <a:lnTo>
                    <a:pt x="762" y="437"/>
                  </a:lnTo>
                  <a:lnTo>
                    <a:pt x="762" y="437"/>
                  </a:lnTo>
                  <a:lnTo>
                    <a:pt x="756" y="442"/>
                  </a:lnTo>
                  <a:lnTo>
                    <a:pt x="756" y="442"/>
                  </a:lnTo>
                  <a:lnTo>
                    <a:pt x="755" y="443"/>
                  </a:lnTo>
                  <a:lnTo>
                    <a:pt x="755" y="443"/>
                  </a:lnTo>
                  <a:lnTo>
                    <a:pt x="752" y="445"/>
                  </a:lnTo>
                  <a:lnTo>
                    <a:pt x="752" y="445"/>
                  </a:lnTo>
                  <a:lnTo>
                    <a:pt x="747" y="443"/>
                  </a:lnTo>
                  <a:lnTo>
                    <a:pt x="747" y="443"/>
                  </a:lnTo>
                  <a:lnTo>
                    <a:pt x="734" y="442"/>
                  </a:lnTo>
                  <a:lnTo>
                    <a:pt x="734" y="442"/>
                  </a:lnTo>
                  <a:lnTo>
                    <a:pt x="731" y="442"/>
                  </a:lnTo>
                  <a:lnTo>
                    <a:pt x="731" y="442"/>
                  </a:lnTo>
                  <a:lnTo>
                    <a:pt x="730" y="443"/>
                  </a:lnTo>
                  <a:lnTo>
                    <a:pt x="730" y="443"/>
                  </a:lnTo>
                  <a:lnTo>
                    <a:pt x="728" y="445"/>
                  </a:lnTo>
                  <a:lnTo>
                    <a:pt x="728" y="445"/>
                  </a:lnTo>
                  <a:lnTo>
                    <a:pt x="730" y="446"/>
                  </a:lnTo>
                  <a:lnTo>
                    <a:pt x="730" y="448"/>
                  </a:lnTo>
                  <a:lnTo>
                    <a:pt x="730" y="448"/>
                  </a:lnTo>
                  <a:lnTo>
                    <a:pt x="734" y="450"/>
                  </a:lnTo>
                  <a:lnTo>
                    <a:pt x="734" y="450"/>
                  </a:lnTo>
                  <a:lnTo>
                    <a:pt x="743" y="453"/>
                  </a:lnTo>
                  <a:lnTo>
                    <a:pt x="743" y="453"/>
                  </a:lnTo>
                  <a:lnTo>
                    <a:pt x="744" y="455"/>
                  </a:lnTo>
                  <a:lnTo>
                    <a:pt x="746" y="455"/>
                  </a:lnTo>
                  <a:lnTo>
                    <a:pt x="746" y="455"/>
                  </a:lnTo>
                  <a:lnTo>
                    <a:pt x="746" y="455"/>
                  </a:lnTo>
                  <a:lnTo>
                    <a:pt x="746" y="455"/>
                  </a:lnTo>
                  <a:lnTo>
                    <a:pt x="746" y="455"/>
                  </a:lnTo>
                  <a:lnTo>
                    <a:pt x="746" y="455"/>
                  </a:lnTo>
                  <a:lnTo>
                    <a:pt x="746" y="455"/>
                  </a:lnTo>
                  <a:lnTo>
                    <a:pt x="746" y="455"/>
                  </a:lnTo>
                  <a:lnTo>
                    <a:pt x="744" y="455"/>
                  </a:lnTo>
                  <a:lnTo>
                    <a:pt x="746" y="455"/>
                  </a:lnTo>
                  <a:lnTo>
                    <a:pt x="746" y="455"/>
                  </a:lnTo>
                  <a:lnTo>
                    <a:pt x="744" y="455"/>
                  </a:lnTo>
                  <a:lnTo>
                    <a:pt x="744" y="455"/>
                  </a:lnTo>
                  <a:lnTo>
                    <a:pt x="746" y="456"/>
                  </a:lnTo>
                  <a:lnTo>
                    <a:pt x="747" y="459"/>
                  </a:lnTo>
                  <a:lnTo>
                    <a:pt x="747" y="459"/>
                  </a:lnTo>
                  <a:lnTo>
                    <a:pt x="753" y="462"/>
                  </a:lnTo>
                  <a:lnTo>
                    <a:pt x="753" y="462"/>
                  </a:lnTo>
                  <a:lnTo>
                    <a:pt x="763" y="465"/>
                  </a:lnTo>
                  <a:lnTo>
                    <a:pt x="763" y="465"/>
                  </a:lnTo>
                  <a:lnTo>
                    <a:pt x="770" y="465"/>
                  </a:lnTo>
                  <a:lnTo>
                    <a:pt x="770" y="465"/>
                  </a:lnTo>
                  <a:lnTo>
                    <a:pt x="778" y="463"/>
                  </a:lnTo>
                  <a:lnTo>
                    <a:pt x="778" y="463"/>
                  </a:lnTo>
                  <a:lnTo>
                    <a:pt x="781" y="462"/>
                  </a:lnTo>
                  <a:lnTo>
                    <a:pt x="784" y="459"/>
                  </a:lnTo>
                  <a:lnTo>
                    <a:pt x="784" y="459"/>
                  </a:lnTo>
                  <a:lnTo>
                    <a:pt x="785" y="458"/>
                  </a:lnTo>
                  <a:lnTo>
                    <a:pt x="785" y="458"/>
                  </a:lnTo>
                  <a:lnTo>
                    <a:pt x="788" y="458"/>
                  </a:lnTo>
                  <a:lnTo>
                    <a:pt x="788" y="458"/>
                  </a:lnTo>
                  <a:lnTo>
                    <a:pt x="794" y="459"/>
                  </a:lnTo>
                  <a:lnTo>
                    <a:pt x="799" y="462"/>
                  </a:lnTo>
                  <a:lnTo>
                    <a:pt x="799" y="462"/>
                  </a:lnTo>
                  <a:lnTo>
                    <a:pt x="799" y="462"/>
                  </a:lnTo>
                  <a:lnTo>
                    <a:pt x="801" y="462"/>
                  </a:lnTo>
                  <a:lnTo>
                    <a:pt x="801" y="462"/>
                  </a:lnTo>
                  <a:lnTo>
                    <a:pt x="799" y="463"/>
                  </a:lnTo>
                  <a:lnTo>
                    <a:pt x="799" y="463"/>
                  </a:lnTo>
                  <a:lnTo>
                    <a:pt x="795" y="466"/>
                  </a:lnTo>
                  <a:lnTo>
                    <a:pt x="795" y="466"/>
                  </a:lnTo>
                  <a:lnTo>
                    <a:pt x="792" y="468"/>
                  </a:lnTo>
                  <a:lnTo>
                    <a:pt x="792" y="468"/>
                  </a:lnTo>
                  <a:lnTo>
                    <a:pt x="791" y="468"/>
                  </a:lnTo>
                  <a:lnTo>
                    <a:pt x="791" y="468"/>
                  </a:lnTo>
                  <a:lnTo>
                    <a:pt x="789" y="468"/>
                  </a:lnTo>
                  <a:lnTo>
                    <a:pt x="789" y="468"/>
                  </a:lnTo>
                  <a:lnTo>
                    <a:pt x="788" y="469"/>
                  </a:lnTo>
                  <a:lnTo>
                    <a:pt x="788" y="469"/>
                  </a:lnTo>
                  <a:lnTo>
                    <a:pt x="788" y="471"/>
                  </a:lnTo>
                  <a:lnTo>
                    <a:pt x="788" y="471"/>
                  </a:lnTo>
                  <a:lnTo>
                    <a:pt x="788" y="472"/>
                  </a:lnTo>
                  <a:lnTo>
                    <a:pt x="788" y="472"/>
                  </a:lnTo>
                  <a:lnTo>
                    <a:pt x="789" y="475"/>
                  </a:lnTo>
                  <a:lnTo>
                    <a:pt x="789" y="475"/>
                  </a:lnTo>
                  <a:lnTo>
                    <a:pt x="794" y="476"/>
                  </a:lnTo>
                  <a:lnTo>
                    <a:pt x="798" y="478"/>
                  </a:lnTo>
                  <a:lnTo>
                    <a:pt x="798" y="476"/>
                  </a:lnTo>
                  <a:lnTo>
                    <a:pt x="797" y="478"/>
                  </a:lnTo>
                  <a:lnTo>
                    <a:pt x="798" y="478"/>
                  </a:lnTo>
                  <a:lnTo>
                    <a:pt x="798" y="476"/>
                  </a:lnTo>
                  <a:lnTo>
                    <a:pt x="797" y="478"/>
                  </a:lnTo>
                  <a:lnTo>
                    <a:pt x="798" y="476"/>
                  </a:lnTo>
                  <a:lnTo>
                    <a:pt x="797" y="476"/>
                  </a:lnTo>
                  <a:lnTo>
                    <a:pt x="797" y="478"/>
                  </a:lnTo>
                  <a:lnTo>
                    <a:pt x="798" y="476"/>
                  </a:lnTo>
                  <a:lnTo>
                    <a:pt x="797" y="476"/>
                  </a:lnTo>
                  <a:lnTo>
                    <a:pt x="797" y="476"/>
                  </a:lnTo>
                  <a:lnTo>
                    <a:pt x="797" y="476"/>
                  </a:lnTo>
                  <a:lnTo>
                    <a:pt x="797" y="476"/>
                  </a:lnTo>
                  <a:lnTo>
                    <a:pt x="797" y="476"/>
                  </a:lnTo>
                  <a:lnTo>
                    <a:pt x="797" y="476"/>
                  </a:lnTo>
                  <a:lnTo>
                    <a:pt x="797" y="476"/>
                  </a:lnTo>
                  <a:lnTo>
                    <a:pt x="797" y="476"/>
                  </a:lnTo>
                  <a:lnTo>
                    <a:pt x="795" y="479"/>
                  </a:lnTo>
                  <a:lnTo>
                    <a:pt x="795" y="479"/>
                  </a:lnTo>
                  <a:lnTo>
                    <a:pt x="795" y="481"/>
                  </a:lnTo>
                  <a:lnTo>
                    <a:pt x="795" y="481"/>
                  </a:lnTo>
                  <a:lnTo>
                    <a:pt x="795" y="482"/>
                  </a:lnTo>
                  <a:lnTo>
                    <a:pt x="795" y="482"/>
                  </a:lnTo>
                  <a:lnTo>
                    <a:pt x="795" y="484"/>
                  </a:lnTo>
                  <a:lnTo>
                    <a:pt x="795" y="484"/>
                  </a:lnTo>
                  <a:lnTo>
                    <a:pt x="798" y="485"/>
                  </a:lnTo>
                  <a:lnTo>
                    <a:pt x="798" y="485"/>
                  </a:lnTo>
                  <a:lnTo>
                    <a:pt x="799" y="485"/>
                  </a:lnTo>
                  <a:lnTo>
                    <a:pt x="801" y="485"/>
                  </a:lnTo>
                  <a:lnTo>
                    <a:pt x="801" y="485"/>
                  </a:lnTo>
                  <a:lnTo>
                    <a:pt x="805" y="481"/>
                  </a:lnTo>
                  <a:lnTo>
                    <a:pt x="805" y="481"/>
                  </a:lnTo>
                  <a:lnTo>
                    <a:pt x="807" y="479"/>
                  </a:lnTo>
                  <a:lnTo>
                    <a:pt x="808" y="479"/>
                  </a:lnTo>
                  <a:lnTo>
                    <a:pt x="808" y="479"/>
                  </a:lnTo>
                  <a:lnTo>
                    <a:pt x="808" y="479"/>
                  </a:lnTo>
                  <a:lnTo>
                    <a:pt x="808" y="479"/>
                  </a:lnTo>
                  <a:lnTo>
                    <a:pt x="808" y="479"/>
                  </a:lnTo>
                  <a:lnTo>
                    <a:pt x="808" y="479"/>
                  </a:lnTo>
                  <a:lnTo>
                    <a:pt x="808" y="479"/>
                  </a:lnTo>
                  <a:lnTo>
                    <a:pt x="808" y="479"/>
                  </a:lnTo>
                  <a:lnTo>
                    <a:pt x="807" y="479"/>
                  </a:lnTo>
                  <a:lnTo>
                    <a:pt x="808" y="479"/>
                  </a:lnTo>
                  <a:lnTo>
                    <a:pt x="808" y="479"/>
                  </a:lnTo>
                  <a:lnTo>
                    <a:pt x="807" y="479"/>
                  </a:lnTo>
                  <a:lnTo>
                    <a:pt x="808" y="479"/>
                  </a:lnTo>
                  <a:lnTo>
                    <a:pt x="807" y="479"/>
                  </a:lnTo>
                  <a:lnTo>
                    <a:pt x="807" y="479"/>
                  </a:lnTo>
                  <a:lnTo>
                    <a:pt x="808" y="479"/>
                  </a:lnTo>
                  <a:lnTo>
                    <a:pt x="807" y="479"/>
                  </a:lnTo>
                  <a:lnTo>
                    <a:pt x="807" y="479"/>
                  </a:lnTo>
                  <a:lnTo>
                    <a:pt x="807" y="479"/>
                  </a:lnTo>
                  <a:lnTo>
                    <a:pt x="808" y="482"/>
                  </a:lnTo>
                  <a:lnTo>
                    <a:pt x="811" y="484"/>
                  </a:lnTo>
                  <a:lnTo>
                    <a:pt x="811" y="484"/>
                  </a:lnTo>
                  <a:lnTo>
                    <a:pt x="812" y="485"/>
                  </a:lnTo>
                  <a:lnTo>
                    <a:pt x="815" y="485"/>
                  </a:lnTo>
                  <a:lnTo>
                    <a:pt x="815" y="485"/>
                  </a:lnTo>
                  <a:lnTo>
                    <a:pt x="818" y="485"/>
                  </a:lnTo>
                  <a:lnTo>
                    <a:pt x="818" y="485"/>
                  </a:lnTo>
                  <a:lnTo>
                    <a:pt x="818" y="485"/>
                  </a:lnTo>
                  <a:lnTo>
                    <a:pt x="823" y="487"/>
                  </a:lnTo>
                  <a:lnTo>
                    <a:pt x="823" y="487"/>
                  </a:lnTo>
                  <a:lnTo>
                    <a:pt x="828" y="488"/>
                  </a:lnTo>
                  <a:lnTo>
                    <a:pt x="828" y="488"/>
                  </a:lnTo>
                  <a:lnTo>
                    <a:pt x="831" y="488"/>
                  </a:lnTo>
                  <a:lnTo>
                    <a:pt x="831" y="488"/>
                  </a:lnTo>
                  <a:lnTo>
                    <a:pt x="834" y="487"/>
                  </a:lnTo>
                  <a:lnTo>
                    <a:pt x="834" y="487"/>
                  </a:lnTo>
                  <a:lnTo>
                    <a:pt x="841" y="488"/>
                  </a:lnTo>
                  <a:lnTo>
                    <a:pt x="849" y="492"/>
                  </a:lnTo>
                  <a:lnTo>
                    <a:pt x="849" y="492"/>
                  </a:lnTo>
                  <a:lnTo>
                    <a:pt x="863" y="503"/>
                  </a:lnTo>
                  <a:lnTo>
                    <a:pt x="863" y="503"/>
                  </a:lnTo>
                  <a:lnTo>
                    <a:pt x="872" y="510"/>
                  </a:lnTo>
                  <a:lnTo>
                    <a:pt x="872" y="510"/>
                  </a:lnTo>
                  <a:lnTo>
                    <a:pt x="878" y="514"/>
                  </a:lnTo>
                  <a:lnTo>
                    <a:pt x="878" y="514"/>
                  </a:lnTo>
                  <a:lnTo>
                    <a:pt x="882" y="521"/>
                  </a:lnTo>
                  <a:lnTo>
                    <a:pt x="882" y="521"/>
                  </a:lnTo>
                  <a:lnTo>
                    <a:pt x="886" y="523"/>
                  </a:lnTo>
                  <a:lnTo>
                    <a:pt x="891" y="524"/>
                  </a:lnTo>
                  <a:lnTo>
                    <a:pt x="891" y="524"/>
                  </a:lnTo>
                  <a:lnTo>
                    <a:pt x="896" y="526"/>
                  </a:lnTo>
                  <a:lnTo>
                    <a:pt x="896" y="526"/>
                  </a:lnTo>
                  <a:lnTo>
                    <a:pt x="902" y="529"/>
                  </a:lnTo>
                  <a:lnTo>
                    <a:pt x="902" y="529"/>
                  </a:lnTo>
                  <a:lnTo>
                    <a:pt x="905" y="533"/>
                  </a:lnTo>
                  <a:lnTo>
                    <a:pt x="905" y="533"/>
                  </a:lnTo>
                  <a:lnTo>
                    <a:pt x="908" y="534"/>
                  </a:lnTo>
                  <a:lnTo>
                    <a:pt x="908" y="534"/>
                  </a:lnTo>
                  <a:lnTo>
                    <a:pt x="911" y="536"/>
                  </a:lnTo>
                  <a:lnTo>
                    <a:pt x="911" y="536"/>
                  </a:lnTo>
                  <a:lnTo>
                    <a:pt x="914" y="536"/>
                  </a:lnTo>
                  <a:lnTo>
                    <a:pt x="914" y="536"/>
                  </a:lnTo>
                  <a:lnTo>
                    <a:pt x="915" y="536"/>
                  </a:lnTo>
                  <a:lnTo>
                    <a:pt x="915" y="536"/>
                  </a:lnTo>
                  <a:lnTo>
                    <a:pt x="917" y="536"/>
                  </a:lnTo>
                  <a:lnTo>
                    <a:pt x="917" y="536"/>
                  </a:lnTo>
                  <a:lnTo>
                    <a:pt x="921" y="540"/>
                  </a:lnTo>
                  <a:lnTo>
                    <a:pt x="921" y="540"/>
                  </a:lnTo>
                  <a:lnTo>
                    <a:pt x="927" y="546"/>
                  </a:lnTo>
                  <a:lnTo>
                    <a:pt x="927" y="546"/>
                  </a:lnTo>
                  <a:lnTo>
                    <a:pt x="931" y="550"/>
                  </a:lnTo>
                  <a:lnTo>
                    <a:pt x="931" y="550"/>
                  </a:lnTo>
                  <a:lnTo>
                    <a:pt x="933" y="553"/>
                  </a:lnTo>
                  <a:lnTo>
                    <a:pt x="933" y="553"/>
                  </a:lnTo>
                  <a:lnTo>
                    <a:pt x="933" y="566"/>
                  </a:lnTo>
                  <a:lnTo>
                    <a:pt x="933" y="566"/>
                  </a:lnTo>
                  <a:lnTo>
                    <a:pt x="934" y="571"/>
                  </a:lnTo>
                  <a:lnTo>
                    <a:pt x="934" y="571"/>
                  </a:lnTo>
                  <a:lnTo>
                    <a:pt x="934" y="574"/>
                  </a:lnTo>
                  <a:lnTo>
                    <a:pt x="934" y="574"/>
                  </a:lnTo>
                  <a:lnTo>
                    <a:pt x="934" y="575"/>
                  </a:lnTo>
                  <a:lnTo>
                    <a:pt x="936" y="575"/>
                  </a:lnTo>
                  <a:lnTo>
                    <a:pt x="934" y="575"/>
                  </a:lnTo>
                  <a:lnTo>
                    <a:pt x="934" y="575"/>
                  </a:lnTo>
                  <a:lnTo>
                    <a:pt x="936" y="575"/>
                  </a:lnTo>
                  <a:lnTo>
                    <a:pt x="934" y="575"/>
                  </a:lnTo>
                  <a:lnTo>
                    <a:pt x="934" y="575"/>
                  </a:lnTo>
                  <a:lnTo>
                    <a:pt x="934" y="576"/>
                  </a:lnTo>
                  <a:lnTo>
                    <a:pt x="934" y="576"/>
                  </a:lnTo>
                  <a:lnTo>
                    <a:pt x="936" y="579"/>
                  </a:lnTo>
                  <a:lnTo>
                    <a:pt x="936" y="579"/>
                  </a:lnTo>
                  <a:lnTo>
                    <a:pt x="934" y="589"/>
                  </a:lnTo>
                  <a:lnTo>
                    <a:pt x="931" y="595"/>
                  </a:lnTo>
                  <a:lnTo>
                    <a:pt x="930" y="600"/>
                  </a:lnTo>
                  <a:lnTo>
                    <a:pt x="930" y="600"/>
                  </a:lnTo>
                  <a:lnTo>
                    <a:pt x="921" y="610"/>
                  </a:lnTo>
                  <a:lnTo>
                    <a:pt x="921" y="610"/>
                  </a:lnTo>
                  <a:lnTo>
                    <a:pt x="917" y="613"/>
                  </a:lnTo>
                  <a:lnTo>
                    <a:pt x="914" y="613"/>
                  </a:lnTo>
                  <a:lnTo>
                    <a:pt x="914" y="613"/>
                  </a:lnTo>
                  <a:lnTo>
                    <a:pt x="908" y="614"/>
                  </a:lnTo>
                  <a:lnTo>
                    <a:pt x="904" y="616"/>
                  </a:lnTo>
                  <a:lnTo>
                    <a:pt x="904" y="616"/>
                  </a:lnTo>
                  <a:lnTo>
                    <a:pt x="898" y="617"/>
                  </a:lnTo>
                  <a:lnTo>
                    <a:pt x="894" y="618"/>
                  </a:lnTo>
                  <a:lnTo>
                    <a:pt x="894" y="618"/>
                  </a:lnTo>
                  <a:lnTo>
                    <a:pt x="882" y="616"/>
                  </a:lnTo>
                  <a:lnTo>
                    <a:pt x="882" y="616"/>
                  </a:lnTo>
                  <a:lnTo>
                    <a:pt x="868" y="613"/>
                  </a:lnTo>
                  <a:lnTo>
                    <a:pt x="868" y="613"/>
                  </a:lnTo>
                  <a:lnTo>
                    <a:pt x="850" y="610"/>
                  </a:lnTo>
                  <a:lnTo>
                    <a:pt x="850" y="610"/>
                  </a:lnTo>
                  <a:lnTo>
                    <a:pt x="843" y="607"/>
                  </a:lnTo>
                  <a:lnTo>
                    <a:pt x="843" y="607"/>
                  </a:lnTo>
                  <a:lnTo>
                    <a:pt x="837" y="604"/>
                  </a:lnTo>
                  <a:lnTo>
                    <a:pt x="837" y="604"/>
                  </a:lnTo>
                  <a:lnTo>
                    <a:pt x="831" y="601"/>
                  </a:lnTo>
                  <a:lnTo>
                    <a:pt x="831" y="601"/>
                  </a:lnTo>
                  <a:lnTo>
                    <a:pt x="818" y="595"/>
                  </a:lnTo>
                  <a:lnTo>
                    <a:pt x="818" y="595"/>
                  </a:lnTo>
                  <a:lnTo>
                    <a:pt x="808" y="591"/>
                  </a:lnTo>
                  <a:lnTo>
                    <a:pt x="808" y="591"/>
                  </a:lnTo>
                  <a:lnTo>
                    <a:pt x="805" y="587"/>
                  </a:lnTo>
                  <a:lnTo>
                    <a:pt x="802" y="582"/>
                  </a:lnTo>
                  <a:lnTo>
                    <a:pt x="802" y="582"/>
                  </a:lnTo>
                  <a:lnTo>
                    <a:pt x="798" y="578"/>
                  </a:lnTo>
                  <a:lnTo>
                    <a:pt x="798" y="578"/>
                  </a:lnTo>
                  <a:lnTo>
                    <a:pt x="797" y="576"/>
                  </a:lnTo>
                  <a:lnTo>
                    <a:pt x="797" y="576"/>
                  </a:lnTo>
                  <a:lnTo>
                    <a:pt x="795" y="575"/>
                  </a:lnTo>
                  <a:lnTo>
                    <a:pt x="795" y="575"/>
                  </a:lnTo>
                  <a:lnTo>
                    <a:pt x="792" y="576"/>
                  </a:lnTo>
                  <a:lnTo>
                    <a:pt x="792" y="576"/>
                  </a:lnTo>
                  <a:lnTo>
                    <a:pt x="791" y="579"/>
                  </a:lnTo>
                  <a:lnTo>
                    <a:pt x="791" y="579"/>
                  </a:lnTo>
                  <a:lnTo>
                    <a:pt x="789" y="584"/>
                  </a:lnTo>
                  <a:lnTo>
                    <a:pt x="789" y="584"/>
                  </a:lnTo>
                  <a:lnTo>
                    <a:pt x="788" y="584"/>
                  </a:lnTo>
                  <a:lnTo>
                    <a:pt x="788" y="584"/>
                  </a:lnTo>
                  <a:lnTo>
                    <a:pt x="789" y="585"/>
                  </a:lnTo>
                  <a:lnTo>
                    <a:pt x="789" y="584"/>
                  </a:lnTo>
                  <a:lnTo>
                    <a:pt x="788" y="584"/>
                  </a:lnTo>
                  <a:lnTo>
                    <a:pt x="789" y="585"/>
                  </a:lnTo>
                  <a:lnTo>
                    <a:pt x="789" y="584"/>
                  </a:lnTo>
                  <a:lnTo>
                    <a:pt x="789" y="584"/>
                  </a:lnTo>
                  <a:lnTo>
                    <a:pt x="784" y="587"/>
                  </a:lnTo>
                  <a:lnTo>
                    <a:pt x="784" y="587"/>
                  </a:lnTo>
                  <a:lnTo>
                    <a:pt x="782" y="588"/>
                  </a:lnTo>
                  <a:lnTo>
                    <a:pt x="782" y="588"/>
                  </a:lnTo>
                  <a:lnTo>
                    <a:pt x="781" y="591"/>
                  </a:lnTo>
                  <a:lnTo>
                    <a:pt x="781" y="591"/>
                  </a:lnTo>
                  <a:lnTo>
                    <a:pt x="782" y="594"/>
                  </a:lnTo>
                  <a:lnTo>
                    <a:pt x="782" y="594"/>
                  </a:lnTo>
                  <a:lnTo>
                    <a:pt x="784" y="595"/>
                  </a:lnTo>
                  <a:lnTo>
                    <a:pt x="784" y="595"/>
                  </a:lnTo>
                  <a:lnTo>
                    <a:pt x="791" y="598"/>
                  </a:lnTo>
                  <a:lnTo>
                    <a:pt x="797" y="598"/>
                  </a:lnTo>
                  <a:lnTo>
                    <a:pt x="797" y="598"/>
                  </a:lnTo>
                  <a:lnTo>
                    <a:pt x="799" y="598"/>
                  </a:lnTo>
                  <a:lnTo>
                    <a:pt x="799" y="598"/>
                  </a:lnTo>
                  <a:lnTo>
                    <a:pt x="799" y="598"/>
                  </a:lnTo>
                  <a:lnTo>
                    <a:pt x="799" y="598"/>
                  </a:lnTo>
                  <a:lnTo>
                    <a:pt x="799" y="598"/>
                  </a:lnTo>
                  <a:lnTo>
                    <a:pt x="799" y="598"/>
                  </a:lnTo>
                  <a:lnTo>
                    <a:pt x="799" y="598"/>
                  </a:lnTo>
                  <a:lnTo>
                    <a:pt x="799" y="598"/>
                  </a:lnTo>
                  <a:lnTo>
                    <a:pt x="802" y="603"/>
                  </a:lnTo>
                  <a:lnTo>
                    <a:pt x="802" y="603"/>
                  </a:lnTo>
                  <a:lnTo>
                    <a:pt x="804" y="604"/>
                  </a:lnTo>
                  <a:lnTo>
                    <a:pt x="804" y="605"/>
                  </a:lnTo>
                  <a:lnTo>
                    <a:pt x="804" y="605"/>
                  </a:lnTo>
                  <a:lnTo>
                    <a:pt x="805" y="605"/>
                  </a:lnTo>
                  <a:lnTo>
                    <a:pt x="804" y="605"/>
                  </a:lnTo>
                  <a:lnTo>
                    <a:pt x="804" y="605"/>
                  </a:lnTo>
                  <a:lnTo>
                    <a:pt x="805" y="605"/>
                  </a:lnTo>
                  <a:lnTo>
                    <a:pt x="804" y="605"/>
                  </a:lnTo>
                  <a:lnTo>
                    <a:pt x="804" y="605"/>
                  </a:lnTo>
                  <a:lnTo>
                    <a:pt x="805" y="607"/>
                  </a:lnTo>
                  <a:lnTo>
                    <a:pt x="805" y="607"/>
                  </a:lnTo>
                  <a:lnTo>
                    <a:pt x="808" y="613"/>
                  </a:lnTo>
                  <a:lnTo>
                    <a:pt x="808" y="613"/>
                  </a:lnTo>
                  <a:lnTo>
                    <a:pt x="811" y="616"/>
                  </a:lnTo>
                  <a:lnTo>
                    <a:pt x="811" y="616"/>
                  </a:lnTo>
                  <a:lnTo>
                    <a:pt x="814" y="617"/>
                  </a:lnTo>
                  <a:lnTo>
                    <a:pt x="814" y="616"/>
                  </a:lnTo>
                  <a:lnTo>
                    <a:pt x="814" y="617"/>
                  </a:lnTo>
                  <a:lnTo>
                    <a:pt x="814" y="617"/>
                  </a:lnTo>
                  <a:lnTo>
                    <a:pt x="814" y="616"/>
                  </a:lnTo>
                  <a:lnTo>
                    <a:pt x="814" y="617"/>
                  </a:lnTo>
                  <a:lnTo>
                    <a:pt x="814" y="617"/>
                  </a:lnTo>
                  <a:lnTo>
                    <a:pt x="814" y="617"/>
                  </a:lnTo>
                  <a:lnTo>
                    <a:pt x="814" y="617"/>
                  </a:lnTo>
                  <a:lnTo>
                    <a:pt x="814" y="617"/>
                  </a:lnTo>
                  <a:lnTo>
                    <a:pt x="814" y="617"/>
                  </a:lnTo>
                  <a:lnTo>
                    <a:pt x="814" y="617"/>
                  </a:lnTo>
                  <a:lnTo>
                    <a:pt x="815" y="618"/>
                  </a:lnTo>
                  <a:lnTo>
                    <a:pt x="815" y="618"/>
                  </a:lnTo>
                  <a:lnTo>
                    <a:pt x="823" y="626"/>
                  </a:lnTo>
                  <a:lnTo>
                    <a:pt x="823" y="626"/>
                  </a:lnTo>
                  <a:lnTo>
                    <a:pt x="827" y="629"/>
                  </a:lnTo>
                  <a:lnTo>
                    <a:pt x="827" y="629"/>
                  </a:lnTo>
                  <a:lnTo>
                    <a:pt x="830" y="631"/>
                  </a:lnTo>
                  <a:lnTo>
                    <a:pt x="830" y="631"/>
                  </a:lnTo>
                  <a:lnTo>
                    <a:pt x="830" y="631"/>
                  </a:lnTo>
                  <a:lnTo>
                    <a:pt x="830" y="631"/>
                  </a:lnTo>
                  <a:lnTo>
                    <a:pt x="830" y="631"/>
                  </a:lnTo>
                  <a:lnTo>
                    <a:pt x="830" y="631"/>
                  </a:lnTo>
                  <a:lnTo>
                    <a:pt x="830" y="631"/>
                  </a:lnTo>
                  <a:lnTo>
                    <a:pt x="830" y="633"/>
                  </a:lnTo>
                  <a:lnTo>
                    <a:pt x="830" y="633"/>
                  </a:lnTo>
                  <a:lnTo>
                    <a:pt x="830" y="636"/>
                  </a:lnTo>
                  <a:lnTo>
                    <a:pt x="830" y="636"/>
                  </a:lnTo>
                  <a:lnTo>
                    <a:pt x="828" y="642"/>
                  </a:lnTo>
                  <a:lnTo>
                    <a:pt x="828" y="642"/>
                  </a:lnTo>
                  <a:lnTo>
                    <a:pt x="828" y="643"/>
                  </a:lnTo>
                  <a:lnTo>
                    <a:pt x="828" y="643"/>
                  </a:lnTo>
                  <a:lnTo>
                    <a:pt x="828" y="643"/>
                  </a:lnTo>
                  <a:lnTo>
                    <a:pt x="828" y="643"/>
                  </a:lnTo>
                  <a:lnTo>
                    <a:pt x="828" y="643"/>
                  </a:lnTo>
                  <a:lnTo>
                    <a:pt x="828" y="643"/>
                  </a:lnTo>
                  <a:lnTo>
                    <a:pt x="828" y="643"/>
                  </a:lnTo>
                  <a:lnTo>
                    <a:pt x="828" y="643"/>
                  </a:lnTo>
                  <a:lnTo>
                    <a:pt x="827" y="643"/>
                  </a:lnTo>
                  <a:lnTo>
                    <a:pt x="827" y="643"/>
                  </a:lnTo>
                  <a:lnTo>
                    <a:pt x="826" y="645"/>
                  </a:lnTo>
                  <a:lnTo>
                    <a:pt x="826" y="645"/>
                  </a:lnTo>
                  <a:lnTo>
                    <a:pt x="826" y="645"/>
                  </a:lnTo>
                  <a:lnTo>
                    <a:pt x="824" y="646"/>
                  </a:lnTo>
                  <a:lnTo>
                    <a:pt x="824" y="646"/>
                  </a:lnTo>
                  <a:lnTo>
                    <a:pt x="826" y="647"/>
                  </a:lnTo>
                  <a:lnTo>
                    <a:pt x="826" y="647"/>
                  </a:lnTo>
                  <a:lnTo>
                    <a:pt x="826" y="647"/>
                  </a:lnTo>
                  <a:lnTo>
                    <a:pt x="826" y="649"/>
                  </a:lnTo>
                  <a:lnTo>
                    <a:pt x="826" y="649"/>
                  </a:lnTo>
                  <a:lnTo>
                    <a:pt x="827" y="649"/>
                  </a:lnTo>
                  <a:lnTo>
                    <a:pt x="827" y="649"/>
                  </a:lnTo>
                  <a:lnTo>
                    <a:pt x="828" y="653"/>
                  </a:lnTo>
                  <a:lnTo>
                    <a:pt x="828" y="653"/>
                  </a:lnTo>
                  <a:lnTo>
                    <a:pt x="830" y="659"/>
                  </a:lnTo>
                  <a:lnTo>
                    <a:pt x="831" y="668"/>
                  </a:lnTo>
                  <a:lnTo>
                    <a:pt x="831" y="668"/>
                  </a:lnTo>
                  <a:lnTo>
                    <a:pt x="830" y="671"/>
                  </a:lnTo>
                  <a:lnTo>
                    <a:pt x="830" y="671"/>
                  </a:lnTo>
                  <a:lnTo>
                    <a:pt x="830" y="672"/>
                  </a:lnTo>
                  <a:lnTo>
                    <a:pt x="830" y="673"/>
                  </a:lnTo>
                  <a:lnTo>
                    <a:pt x="830" y="673"/>
                  </a:lnTo>
                  <a:lnTo>
                    <a:pt x="830" y="673"/>
                  </a:lnTo>
                  <a:lnTo>
                    <a:pt x="830" y="673"/>
                  </a:lnTo>
                  <a:lnTo>
                    <a:pt x="830" y="673"/>
                  </a:lnTo>
                  <a:lnTo>
                    <a:pt x="830" y="673"/>
                  </a:lnTo>
                  <a:lnTo>
                    <a:pt x="830" y="673"/>
                  </a:lnTo>
                  <a:lnTo>
                    <a:pt x="830" y="673"/>
                  </a:lnTo>
                  <a:lnTo>
                    <a:pt x="830" y="675"/>
                  </a:lnTo>
                  <a:lnTo>
                    <a:pt x="830" y="675"/>
                  </a:lnTo>
                  <a:lnTo>
                    <a:pt x="830" y="678"/>
                  </a:lnTo>
                  <a:lnTo>
                    <a:pt x="830" y="678"/>
                  </a:lnTo>
                  <a:lnTo>
                    <a:pt x="833" y="681"/>
                  </a:lnTo>
                  <a:lnTo>
                    <a:pt x="833" y="681"/>
                  </a:lnTo>
                  <a:lnTo>
                    <a:pt x="834" y="684"/>
                  </a:lnTo>
                  <a:lnTo>
                    <a:pt x="834" y="684"/>
                  </a:lnTo>
                  <a:lnTo>
                    <a:pt x="834" y="684"/>
                  </a:lnTo>
                  <a:lnTo>
                    <a:pt x="840" y="689"/>
                  </a:lnTo>
                  <a:lnTo>
                    <a:pt x="840" y="689"/>
                  </a:lnTo>
                  <a:lnTo>
                    <a:pt x="844" y="691"/>
                  </a:lnTo>
                  <a:lnTo>
                    <a:pt x="849" y="692"/>
                  </a:lnTo>
                  <a:lnTo>
                    <a:pt x="849" y="692"/>
                  </a:lnTo>
                  <a:lnTo>
                    <a:pt x="849" y="692"/>
                  </a:lnTo>
                  <a:lnTo>
                    <a:pt x="849" y="692"/>
                  </a:lnTo>
                  <a:lnTo>
                    <a:pt x="849" y="692"/>
                  </a:lnTo>
                  <a:lnTo>
                    <a:pt x="849" y="692"/>
                  </a:lnTo>
                  <a:lnTo>
                    <a:pt x="849" y="692"/>
                  </a:lnTo>
                  <a:lnTo>
                    <a:pt x="849" y="692"/>
                  </a:lnTo>
                  <a:lnTo>
                    <a:pt x="849" y="694"/>
                  </a:lnTo>
                  <a:lnTo>
                    <a:pt x="849" y="694"/>
                  </a:lnTo>
                  <a:lnTo>
                    <a:pt x="850" y="697"/>
                  </a:lnTo>
                  <a:lnTo>
                    <a:pt x="854" y="702"/>
                  </a:lnTo>
                  <a:lnTo>
                    <a:pt x="854" y="702"/>
                  </a:lnTo>
                  <a:lnTo>
                    <a:pt x="860" y="705"/>
                  </a:lnTo>
                  <a:lnTo>
                    <a:pt x="865" y="708"/>
                  </a:lnTo>
                  <a:lnTo>
                    <a:pt x="865" y="708"/>
                  </a:lnTo>
                  <a:lnTo>
                    <a:pt x="870" y="710"/>
                  </a:lnTo>
                  <a:lnTo>
                    <a:pt x="875" y="710"/>
                  </a:lnTo>
                  <a:lnTo>
                    <a:pt x="875" y="710"/>
                  </a:lnTo>
                  <a:lnTo>
                    <a:pt x="878" y="710"/>
                  </a:lnTo>
                  <a:lnTo>
                    <a:pt x="878" y="710"/>
                  </a:lnTo>
                  <a:lnTo>
                    <a:pt x="883" y="708"/>
                  </a:lnTo>
                  <a:lnTo>
                    <a:pt x="883" y="708"/>
                  </a:lnTo>
                  <a:lnTo>
                    <a:pt x="886" y="707"/>
                  </a:lnTo>
                  <a:lnTo>
                    <a:pt x="886" y="707"/>
                  </a:lnTo>
                  <a:lnTo>
                    <a:pt x="889" y="705"/>
                  </a:lnTo>
                  <a:lnTo>
                    <a:pt x="889" y="705"/>
                  </a:lnTo>
                  <a:lnTo>
                    <a:pt x="889" y="702"/>
                  </a:lnTo>
                  <a:lnTo>
                    <a:pt x="889" y="702"/>
                  </a:lnTo>
                  <a:lnTo>
                    <a:pt x="888" y="700"/>
                  </a:lnTo>
                  <a:lnTo>
                    <a:pt x="888" y="700"/>
                  </a:lnTo>
                  <a:lnTo>
                    <a:pt x="888" y="700"/>
                  </a:lnTo>
                  <a:lnTo>
                    <a:pt x="888" y="700"/>
                  </a:lnTo>
                  <a:lnTo>
                    <a:pt x="888" y="697"/>
                  </a:lnTo>
                  <a:lnTo>
                    <a:pt x="888" y="697"/>
                  </a:lnTo>
                  <a:lnTo>
                    <a:pt x="886" y="688"/>
                  </a:lnTo>
                  <a:lnTo>
                    <a:pt x="886" y="688"/>
                  </a:lnTo>
                  <a:lnTo>
                    <a:pt x="885" y="684"/>
                  </a:lnTo>
                  <a:lnTo>
                    <a:pt x="885" y="684"/>
                  </a:lnTo>
                  <a:lnTo>
                    <a:pt x="883" y="682"/>
                  </a:lnTo>
                  <a:lnTo>
                    <a:pt x="883" y="682"/>
                  </a:lnTo>
                  <a:lnTo>
                    <a:pt x="881" y="681"/>
                  </a:lnTo>
                  <a:lnTo>
                    <a:pt x="881" y="681"/>
                  </a:lnTo>
                  <a:lnTo>
                    <a:pt x="879" y="681"/>
                  </a:lnTo>
                  <a:lnTo>
                    <a:pt x="879" y="681"/>
                  </a:lnTo>
                  <a:lnTo>
                    <a:pt x="875" y="682"/>
                  </a:lnTo>
                  <a:lnTo>
                    <a:pt x="873" y="685"/>
                  </a:lnTo>
                  <a:lnTo>
                    <a:pt x="873" y="685"/>
                  </a:lnTo>
                  <a:lnTo>
                    <a:pt x="872" y="685"/>
                  </a:lnTo>
                  <a:lnTo>
                    <a:pt x="872" y="685"/>
                  </a:lnTo>
                  <a:lnTo>
                    <a:pt x="872" y="685"/>
                  </a:lnTo>
                  <a:lnTo>
                    <a:pt x="872" y="687"/>
                  </a:lnTo>
                  <a:lnTo>
                    <a:pt x="872" y="685"/>
                  </a:lnTo>
                  <a:lnTo>
                    <a:pt x="872" y="685"/>
                  </a:lnTo>
                  <a:lnTo>
                    <a:pt x="872" y="687"/>
                  </a:lnTo>
                  <a:lnTo>
                    <a:pt x="872" y="685"/>
                  </a:lnTo>
                  <a:lnTo>
                    <a:pt x="872" y="687"/>
                  </a:lnTo>
                  <a:lnTo>
                    <a:pt x="872" y="685"/>
                  </a:lnTo>
                  <a:lnTo>
                    <a:pt x="872" y="685"/>
                  </a:lnTo>
                  <a:lnTo>
                    <a:pt x="872" y="687"/>
                  </a:lnTo>
                  <a:lnTo>
                    <a:pt x="872" y="685"/>
                  </a:lnTo>
                  <a:lnTo>
                    <a:pt x="872" y="685"/>
                  </a:lnTo>
                  <a:lnTo>
                    <a:pt x="872" y="685"/>
                  </a:lnTo>
                  <a:lnTo>
                    <a:pt x="869" y="682"/>
                  </a:lnTo>
                  <a:lnTo>
                    <a:pt x="869" y="682"/>
                  </a:lnTo>
                  <a:lnTo>
                    <a:pt x="863" y="673"/>
                  </a:lnTo>
                  <a:lnTo>
                    <a:pt x="863" y="673"/>
                  </a:lnTo>
                  <a:lnTo>
                    <a:pt x="862" y="666"/>
                  </a:lnTo>
                  <a:lnTo>
                    <a:pt x="862" y="666"/>
                  </a:lnTo>
                  <a:lnTo>
                    <a:pt x="862" y="666"/>
                  </a:lnTo>
                  <a:lnTo>
                    <a:pt x="862" y="666"/>
                  </a:lnTo>
                  <a:lnTo>
                    <a:pt x="862" y="666"/>
                  </a:lnTo>
                  <a:lnTo>
                    <a:pt x="862" y="666"/>
                  </a:lnTo>
                  <a:lnTo>
                    <a:pt x="862" y="666"/>
                  </a:lnTo>
                  <a:lnTo>
                    <a:pt x="860" y="665"/>
                  </a:lnTo>
                  <a:lnTo>
                    <a:pt x="862" y="666"/>
                  </a:lnTo>
                  <a:lnTo>
                    <a:pt x="862" y="666"/>
                  </a:lnTo>
                  <a:lnTo>
                    <a:pt x="860" y="665"/>
                  </a:lnTo>
                  <a:lnTo>
                    <a:pt x="862" y="666"/>
                  </a:lnTo>
                  <a:lnTo>
                    <a:pt x="862" y="666"/>
                  </a:lnTo>
                  <a:lnTo>
                    <a:pt x="865" y="665"/>
                  </a:lnTo>
                  <a:lnTo>
                    <a:pt x="865" y="665"/>
                  </a:lnTo>
                  <a:lnTo>
                    <a:pt x="868" y="662"/>
                  </a:lnTo>
                  <a:lnTo>
                    <a:pt x="868" y="659"/>
                  </a:lnTo>
                  <a:lnTo>
                    <a:pt x="868" y="659"/>
                  </a:lnTo>
                  <a:lnTo>
                    <a:pt x="868" y="658"/>
                  </a:lnTo>
                  <a:lnTo>
                    <a:pt x="868" y="658"/>
                  </a:lnTo>
                  <a:lnTo>
                    <a:pt x="868" y="656"/>
                  </a:lnTo>
                  <a:lnTo>
                    <a:pt x="868" y="656"/>
                  </a:lnTo>
                  <a:lnTo>
                    <a:pt x="868" y="656"/>
                  </a:lnTo>
                  <a:lnTo>
                    <a:pt x="868" y="656"/>
                  </a:lnTo>
                  <a:lnTo>
                    <a:pt x="868" y="656"/>
                  </a:lnTo>
                  <a:lnTo>
                    <a:pt x="868" y="656"/>
                  </a:lnTo>
                  <a:lnTo>
                    <a:pt x="868" y="656"/>
                  </a:lnTo>
                  <a:lnTo>
                    <a:pt x="866" y="656"/>
                  </a:lnTo>
                  <a:lnTo>
                    <a:pt x="868" y="658"/>
                  </a:lnTo>
                  <a:lnTo>
                    <a:pt x="868" y="656"/>
                  </a:lnTo>
                  <a:lnTo>
                    <a:pt x="866" y="656"/>
                  </a:lnTo>
                  <a:lnTo>
                    <a:pt x="868" y="658"/>
                  </a:lnTo>
                  <a:lnTo>
                    <a:pt x="866" y="656"/>
                  </a:lnTo>
                  <a:lnTo>
                    <a:pt x="866" y="658"/>
                  </a:lnTo>
                  <a:lnTo>
                    <a:pt x="868" y="658"/>
                  </a:lnTo>
                  <a:lnTo>
                    <a:pt x="866" y="656"/>
                  </a:lnTo>
                  <a:lnTo>
                    <a:pt x="866" y="658"/>
                  </a:lnTo>
                  <a:lnTo>
                    <a:pt x="866" y="658"/>
                  </a:lnTo>
                  <a:lnTo>
                    <a:pt x="868" y="658"/>
                  </a:lnTo>
                  <a:lnTo>
                    <a:pt x="868" y="658"/>
                  </a:lnTo>
                  <a:lnTo>
                    <a:pt x="870" y="658"/>
                  </a:lnTo>
                  <a:lnTo>
                    <a:pt x="870" y="658"/>
                  </a:lnTo>
                  <a:lnTo>
                    <a:pt x="875" y="658"/>
                  </a:lnTo>
                  <a:lnTo>
                    <a:pt x="875" y="658"/>
                  </a:lnTo>
                  <a:lnTo>
                    <a:pt x="875" y="658"/>
                  </a:lnTo>
                  <a:lnTo>
                    <a:pt x="875" y="658"/>
                  </a:lnTo>
                  <a:lnTo>
                    <a:pt x="876" y="659"/>
                  </a:lnTo>
                  <a:lnTo>
                    <a:pt x="876" y="659"/>
                  </a:lnTo>
                  <a:lnTo>
                    <a:pt x="878" y="663"/>
                  </a:lnTo>
                  <a:lnTo>
                    <a:pt x="881" y="668"/>
                  </a:lnTo>
                  <a:lnTo>
                    <a:pt x="881" y="668"/>
                  </a:lnTo>
                  <a:lnTo>
                    <a:pt x="885" y="671"/>
                  </a:lnTo>
                  <a:lnTo>
                    <a:pt x="885" y="671"/>
                  </a:lnTo>
                  <a:lnTo>
                    <a:pt x="889" y="672"/>
                  </a:lnTo>
                  <a:lnTo>
                    <a:pt x="889" y="672"/>
                  </a:lnTo>
                  <a:lnTo>
                    <a:pt x="892" y="672"/>
                  </a:lnTo>
                  <a:lnTo>
                    <a:pt x="892" y="672"/>
                  </a:lnTo>
                  <a:lnTo>
                    <a:pt x="895" y="671"/>
                  </a:lnTo>
                  <a:lnTo>
                    <a:pt x="895" y="671"/>
                  </a:lnTo>
                  <a:lnTo>
                    <a:pt x="896" y="671"/>
                  </a:lnTo>
                  <a:lnTo>
                    <a:pt x="896" y="671"/>
                  </a:lnTo>
                  <a:lnTo>
                    <a:pt x="899" y="671"/>
                  </a:lnTo>
                  <a:lnTo>
                    <a:pt x="899" y="671"/>
                  </a:lnTo>
                  <a:lnTo>
                    <a:pt x="910" y="676"/>
                  </a:lnTo>
                  <a:lnTo>
                    <a:pt x="910" y="676"/>
                  </a:lnTo>
                  <a:lnTo>
                    <a:pt x="915" y="679"/>
                  </a:lnTo>
                  <a:lnTo>
                    <a:pt x="915" y="679"/>
                  </a:lnTo>
                  <a:lnTo>
                    <a:pt x="923" y="681"/>
                  </a:lnTo>
                  <a:lnTo>
                    <a:pt x="923" y="681"/>
                  </a:lnTo>
                  <a:lnTo>
                    <a:pt x="924" y="679"/>
                  </a:lnTo>
                  <a:lnTo>
                    <a:pt x="924" y="679"/>
                  </a:lnTo>
                  <a:lnTo>
                    <a:pt x="927" y="678"/>
                  </a:lnTo>
                  <a:lnTo>
                    <a:pt x="927" y="678"/>
                  </a:lnTo>
                  <a:lnTo>
                    <a:pt x="930" y="673"/>
                  </a:lnTo>
                  <a:lnTo>
                    <a:pt x="930" y="669"/>
                  </a:lnTo>
                  <a:lnTo>
                    <a:pt x="930" y="669"/>
                  </a:lnTo>
                  <a:lnTo>
                    <a:pt x="930" y="666"/>
                  </a:lnTo>
                  <a:lnTo>
                    <a:pt x="928" y="663"/>
                  </a:lnTo>
                  <a:lnTo>
                    <a:pt x="928" y="663"/>
                  </a:lnTo>
                  <a:lnTo>
                    <a:pt x="925" y="660"/>
                  </a:lnTo>
                  <a:lnTo>
                    <a:pt x="925" y="660"/>
                  </a:lnTo>
                  <a:lnTo>
                    <a:pt x="918" y="652"/>
                  </a:lnTo>
                  <a:lnTo>
                    <a:pt x="918" y="652"/>
                  </a:lnTo>
                  <a:lnTo>
                    <a:pt x="917" y="647"/>
                  </a:lnTo>
                  <a:lnTo>
                    <a:pt x="917" y="647"/>
                  </a:lnTo>
                  <a:lnTo>
                    <a:pt x="915" y="645"/>
                  </a:lnTo>
                  <a:lnTo>
                    <a:pt x="915" y="645"/>
                  </a:lnTo>
                  <a:lnTo>
                    <a:pt x="915" y="645"/>
                  </a:lnTo>
                  <a:lnTo>
                    <a:pt x="915" y="645"/>
                  </a:lnTo>
                  <a:lnTo>
                    <a:pt x="915" y="645"/>
                  </a:lnTo>
                  <a:lnTo>
                    <a:pt x="915" y="645"/>
                  </a:lnTo>
                  <a:lnTo>
                    <a:pt x="915" y="645"/>
                  </a:lnTo>
                  <a:lnTo>
                    <a:pt x="915" y="645"/>
                  </a:lnTo>
                  <a:lnTo>
                    <a:pt x="923" y="637"/>
                  </a:lnTo>
                  <a:lnTo>
                    <a:pt x="923" y="637"/>
                  </a:lnTo>
                  <a:lnTo>
                    <a:pt x="930" y="629"/>
                  </a:lnTo>
                  <a:lnTo>
                    <a:pt x="930" y="629"/>
                  </a:lnTo>
                  <a:lnTo>
                    <a:pt x="933" y="626"/>
                  </a:lnTo>
                  <a:lnTo>
                    <a:pt x="933" y="626"/>
                  </a:lnTo>
                  <a:lnTo>
                    <a:pt x="940" y="623"/>
                  </a:lnTo>
                  <a:lnTo>
                    <a:pt x="940" y="623"/>
                  </a:lnTo>
                  <a:lnTo>
                    <a:pt x="944" y="620"/>
                  </a:lnTo>
                  <a:lnTo>
                    <a:pt x="947" y="617"/>
                  </a:lnTo>
                  <a:lnTo>
                    <a:pt x="947" y="617"/>
                  </a:lnTo>
                  <a:lnTo>
                    <a:pt x="953" y="610"/>
                  </a:lnTo>
                  <a:lnTo>
                    <a:pt x="953" y="610"/>
                  </a:lnTo>
                  <a:lnTo>
                    <a:pt x="956" y="607"/>
                  </a:lnTo>
                  <a:lnTo>
                    <a:pt x="957" y="605"/>
                  </a:lnTo>
                  <a:lnTo>
                    <a:pt x="957" y="605"/>
                  </a:lnTo>
                  <a:lnTo>
                    <a:pt x="957" y="605"/>
                  </a:lnTo>
                  <a:lnTo>
                    <a:pt x="957" y="604"/>
                  </a:lnTo>
                  <a:lnTo>
                    <a:pt x="957" y="605"/>
                  </a:lnTo>
                  <a:lnTo>
                    <a:pt x="957" y="605"/>
                  </a:lnTo>
                  <a:lnTo>
                    <a:pt x="957" y="604"/>
                  </a:lnTo>
                  <a:lnTo>
                    <a:pt x="957" y="605"/>
                  </a:lnTo>
                  <a:lnTo>
                    <a:pt x="957" y="604"/>
                  </a:lnTo>
                  <a:lnTo>
                    <a:pt x="956" y="605"/>
                  </a:lnTo>
                  <a:lnTo>
                    <a:pt x="957" y="605"/>
                  </a:lnTo>
                  <a:lnTo>
                    <a:pt x="957" y="604"/>
                  </a:lnTo>
                  <a:lnTo>
                    <a:pt x="956" y="605"/>
                  </a:lnTo>
                  <a:lnTo>
                    <a:pt x="956" y="605"/>
                  </a:lnTo>
                  <a:lnTo>
                    <a:pt x="956" y="605"/>
                  </a:lnTo>
                  <a:lnTo>
                    <a:pt x="956" y="604"/>
                  </a:lnTo>
                  <a:lnTo>
                    <a:pt x="956" y="605"/>
                  </a:lnTo>
                  <a:lnTo>
                    <a:pt x="956" y="605"/>
                  </a:lnTo>
                  <a:lnTo>
                    <a:pt x="956" y="604"/>
                  </a:lnTo>
                  <a:lnTo>
                    <a:pt x="956" y="605"/>
                  </a:lnTo>
                  <a:lnTo>
                    <a:pt x="956" y="605"/>
                  </a:lnTo>
                  <a:lnTo>
                    <a:pt x="956" y="605"/>
                  </a:lnTo>
                  <a:lnTo>
                    <a:pt x="959" y="608"/>
                  </a:lnTo>
                  <a:lnTo>
                    <a:pt x="959" y="608"/>
                  </a:lnTo>
                  <a:lnTo>
                    <a:pt x="960" y="610"/>
                  </a:lnTo>
                  <a:lnTo>
                    <a:pt x="963" y="611"/>
                  </a:lnTo>
                  <a:lnTo>
                    <a:pt x="965" y="611"/>
                  </a:lnTo>
                  <a:lnTo>
                    <a:pt x="965" y="611"/>
                  </a:lnTo>
                  <a:lnTo>
                    <a:pt x="965" y="611"/>
                  </a:lnTo>
                  <a:lnTo>
                    <a:pt x="969" y="613"/>
                  </a:lnTo>
                  <a:lnTo>
                    <a:pt x="969" y="613"/>
                  </a:lnTo>
                  <a:lnTo>
                    <a:pt x="970" y="614"/>
                  </a:lnTo>
                  <a:lnTo>
                    <a:pt x="970" y="616"/>
                  </a:lnTo>
                  <a:lnTo>
                    <a:pt x="970" y="616"/>
                  </a:lnTo>
                  <a:lnTo>
                    <a:pt x="970" y="616"/>
                  </a:lnTo>
                  <a:lnTo>
                    <a:pt x="972" y="618"/>
                  </a:lnTo>
                  <a:lnTo>
                    <a:pt x="973" y="620"/>
                  </a:lnTo>
                  <a:lnTo>
                    <a:pt x="973" y="620"/>
                  </a:lnTo>
                  <a:lnTo>
                    <a:pt x="979" y="621"/>
                  </a:lnTo>
                  <a:lnTo>
                    <a:pt x="979" y="621"/>
                  </a:lnTo>
                  <a:lnTo>
                    <a:pt x="982" y="620"/>
                  </a:lnTo>
                  <a:lnTo>
                    <a:pt x="985" y="618"/>
                  </a:lnTo>
                  <a:lnTo>
                    <a:pt x="985" y="618"/>
                  </a:lnTo>
                  <a:lnTo>
                    <a:pt x="988" y="614"/>
                  </a:lnTo>
                  <a:lnTo>
                    <a:pt x="988" y="614"/>
                  </a:lnTo>
                  <a:lnTo>
                    <a:pt x="994" y="604"/>
                  </a:lnTo>
                  <a:lnTo>
                    <a:pt x="994" y="604"/>
                  </a:lnTo>
                  <a:lnTo>
                    <a:pt x="996" y="598"/>
                  </a:lnTo>
                  <a:lnTo>
                    <a:pt x="998" y="592"/>
                  </a:lnTo>
                  <a:lnTo>
                    <a:pt x="998" y="592"/>
                  </a:lnTo>
                  <a:lnTo>
                    <a:pt x="996" y="587"/>
                  </a:lnTo>
                  <a:lnTo>
                    <a:pt x="996" y="587"/>
                  </a:lnTo>
                  <a:lnTo>
                    <a:pt x="991" y="581"/>
                  </a:lnTo>
                  <a:lnTo>
                    <a:pt x="985" y="576"/>
                  </a:lnTo>
                  <a:lnTo>
                    <a:pt x="985" y="576"/>
                  </a:lnTo>
                  <a:lnTo>
                    <a:pt x="981" y="574"/>
                  </a:lnTo>
                  <a:lnTo>
                    <a:pt x="981" y="574"/>
                  </a:lnTo>
                  <a:lnTo>
                    <a:pt x="979" y="572"/>
                  </a:lnTo>
                  <a:lnTo>
                    <a:pt x="979" y="571"/>
                  </a:lnTo>
                  <a:lnTo>
                    <a:pt x="979" y="571"/>
                  </a:lnTo>
                  <a:lnTo>
                    <a:pt x="979" y="569"/>
                  </a:lnTo>
                  <a:lnTo>
                    <a:pt x="979" y="569"/>
                  </a:lnTo>
                  <a:lnTo>
                    <a:pt x="986" y="555"/>
                  </a:lnTo>
                  <a:lnTo>
                    <a:pt x="986" y="555"/>
                  </a:lnTo>
                  <a:lnTo>
                    <a:pt x="989" y="545"/>
                  </a:lnTo>
                  <a:lnTo>
                    <a:pt x="989" y="545"/>
                  </a:lnTo>
                  <a:lnTo>
                    <a:pt x="991" y="537"/>
                  </a:lnTo>
                  <a:lnTo>
                    <a:pt x="991" y="537"/>
                  </a:lnTo>
                  <a:lnTo>
                    <a:pt x="991" y="534"/>
                  </a:lnTo>
                  <a:lnTo>
                    <a:pt x="991" y="534"/>
                  </a:lnTo>
                  <a:lnTo>
                    <a:pt x="988" y="529"/>
                  </a:lnTo>
                  <a:lnTo>
                    <a:pt x="985" y="524"/>
                  </a:lnTo>
                  <a:lnTo>
                    <a:pt x="985" y="524"/>
                  </a:lnTo>
                  <a:lnTo>
                    <a:pt x="979" y="516"/>
                  </a:lnTo>
                  <a:lnTo>
                    <a:pt x="979" y="516"/>
                  </a:lnTo>
                  <a:lnTo>
                    <a:pt x="978" y="513"/>
                  </a:lnTo>
                  <a:lnTo>
                    <a:pt x="978" y="513"/>
                  </a:lnTo>
                  <a:lnTo>
                    <a:pt x="976" y="511"/>
                  </a:lnTo>
                  <a:lnTo>
                    <a:pt x="976" y="511"/>
                  </a:lnTo>
                  <a:lnTo>
                    <a:pt x="976" y="511"/>
                  </a:lnTo>
                  <a:lnTo>
                    <a:pt x="976" y="511"/>
                  </a:lnTo>
                  <a:lnTo>
                    <a:pt x="976" y="511"/>
                  </a:lnTo>
                  <a:lnTo>
                    <a:pt x="976" y="511"/>
                  </a:lnTo>
                  <a:lnTo>
                    <a:pt x="976" y="511"/>
                  </a:lnTo>
                  <a:lnTo>
                    <a:pt x="976" y="511"/>
                  </a:lnTo>
                  <a:lnTo>
                    <a:pt x="975" y="511"/>
                  </a:lnTo>
                  <a:lnTo>
                    <a:pt x="976" y="511"/>
                  </a:lnTo>
                  <a:lnTo>
                    <a:pt x="976" y="511"/>
                  </a:lnTo>
                  <a:lnTo>
                    <a:pt x="975" y="511"/>
                  </a:lnTo>
                  <a:lnTo>
                    <a:pt x="976" y="511"/>
                  </a:lnTo>
                  <a:lnTo>
                    <a:pt x="975" y="511"/>
                  </a:lnTo>
                  <a:lnTo>
                    <a:pt x="976" y="513"/>
                  </a:lnTo>
                  <a:lnTo>
                    <a:pt x="976" y="511"/>
                  </a:lnTo>
                  <a:lnTo>
                    <a:pt x="975" y="511"/>
                  </a:lnTo>
                  <a:lnTo>
                    <a:pt x="976" y="513"/>
                  </a:lnTo>
                  <a:lnTo>
                    <a:pt x="975" y="511"/>
                  </a:lnTo>
                  <a:lnTo>
                    <a:pt x="975" y="513"/>
                  </a:lnTo>
                  <a:lnTo>
                    <a:pt x="976" y="513"/>
                  </a:lnTo>
                  <a:lnTo>
                    <a:pt x="975" y="511"/>
                  </a:lnTo>
                  <a:lnTo>
                    <a:pt x="975" y="513"/>
                  </a:lnTo>
                  <a:lnTo>
                    <a:pt x="975" y="513"/>
                  </a:lnTo>
                  <a:lnTo>
                    <a:pt x="975" y="513"/>
                  </a:lnTo>
                  <a:lnTo>
                    <a:pt x="978" y="513"/>
                  </a:lnTo>
                  <a:lnTo>
                    <a:pt x="978" y="513"/>
                  </a:lnTo>
                  <a:lnTo>
                    <a:pt x="988" y="516"/>
                  </a:lnTo>
                  <a:lnTo>
                    <a:pt x="998" y="517"/>
                  </a:lnTo>
                  <a:lnTo>
                    <a:pt x="998" y="517"/>
                  </a:lnTo>
                  <a:lnTo>
                    <a:pt x="1009" y="520"/>
                  </a:lnTo>
                  <a:lnTo>
                    <a:pt x="1009" y="520"/>
                  </a:lnTo>
                  <a:lnTo>
                    <a:pt x="1012" y="523"/>
                  </a:lnTo>
                  <a:lnTo>
                    <a:pt x="1015" y="524"/>
                  </a:lnTo>
                  <a:lnTo>
                    <a:pt x="1015" y="524"/>
                  </a:lnTo>
                  <a:lnTo>
                    <a:pt x="1020" y="533"/>
                  </a:lnTo>
                  <a:lnTo>
                    <a:pt x="1020" y="533"/>
                  </a:lnTo>
                  <a:lnTo>
                    <a:pt x="1023" y="537"/>
                  </a:lnTo>
                  <a:lnTo>
                    <a:pt x="1023" y="537"/>
                  </a:lnTo>
                  <a:lnTo>
                    <a:pt x="1024" y="539"/>
                  </a:lnTo>
                  <a:lnTo>
                    <a:pt x="1024" y="540"/>
                  </a:lnTo>
                  <a:lnTo>
                    <a:pt x="1024" y="540"/>
                  </a:lnTo>
                  <a:lnTo>
                    <a:pt x="1024" y="539"/>
                  </a:lnTo>
                  <a:lnTo>
                    <a:pt x="1024" y="540"/>
                  </a:lnTo>
                  <a:lnTo>
                    <a:pt x="1024" y="540"/>
                  </a:lnTo>
                  <a:lnTo>
                    <a:pt x="1024" y="539"/>
                  </a:lnTo>
                  <a:lnTo>
                    <a:pt x="1025" y="540"/>
                  </a:lnTo>
                  <a:lnTo>
                    <a:pt x="1024" y="539"/>
                  </a:lnTo>
                  <a:lnTo>
                    <a:pt x="1024" y="539"/>
                  </a:lnTo>
                  <a:lnTo>
                    <a:pt x="1025" y="540"/>
                  </a:lnTo>
                  <a:lnTo>
                    <a:pt x="1024" y="539"/>
                  </a:lnTo>
                  <a:lnTo>
                    <a:pt x="1024" y="539"/>
                  </a:lnTo>
                  <a:lnTo>
                    <a:pt x="1024" y="539"/>
                  </a:lnTo>
                  <a:lnTo>
                    <a:pt x="1024" y="539"/>
                  </a:lnTo>
                  <a:lnTo>
                    <a:pt x="1021" y="540"/>
                  </a:lnTo>
                  <a:lnTo>
                    <a:pt x="1021" y="540"/>
                  </a:lnTo>
                  <a:lnTo>
                    <a:pt x="1012" y="545"/>
                  </a:lnTo>
                  <a:lnTo>
                    <a:pt x="1012" y="545"/>
                  </a:lnTo>
                  <a:lnTo>
                    <a:pt x="1008" y="546"/>
                  </a:lnTo>
                  <a:lnTo>
                    <a:pt x="1005" y="550"/>
                  </a:lnTo>
                  <a:lnTo>
                    <a:pt x="1005" y="550"/>
                  </a:lnTo>
                  <a:lnTo>
                    <a:pt x="1001" y="556"/>
                  </a:lnTo>
                  <a:lnTo>
                    <a:pt x="1001" y="556"/>
                  </a:lnTo>
                  <a:lnTo>
                    <a:pt x="999" y="563"/>
                  </a:lnTo>
                  <a:lnTo>
                    <a:pt x="999" y="563"/>
                  </a:lnTo>
                  <a:lnTo>
                    <a:pt x="1001" y="566"/>
                  </a:lnTo>
                  <a:lnTo>
                    <a:pt x="1001" y="566"/>
                  </a:lnTo>
                  <a:lnTo>
                    <a:pt x="1002" y="568"/>
                  </a:lnTo>
                  <a:lnTo>
                    <a:pt x="1002" y="568"/>
                  </a:lnTo>
                  <a:lnTo>
                    <a:pt x="1007" y="571"/>
                  </a:lnTo>
                  <a:lnTo>
                    <a:pt x="1007" y="571"/>
                  </a:lnTo>
                  <a:lnTo>
                    <a:pt x="1009" y="572"/>
                  </a:lnTo>
                  <a:lnTo>
                    <a:pt x="1011" y="575"/>
                  </a:lnTo>
                  <a:lnTo>
                    <a:pt x="1011" y="575"/>
                  </a:lnTo>
                  <a:lnTo>
                    <a:pt x="1014" y="582"/>
                  </a:lnTo>
                  <a:lnTo>
                    <a:pt x="1014" y="582"/>
                  </a:lnTo>
                  <a:lnTo>
                    <a:pt x="1017" y="587"/>
                  </a:lnTo>
                  <a:lnTo>
                    <a:pt x="1017" y="587"/>
                  </a:lnTo>
                  <a:lnTo>
                    <a:pt x="1020" y="588"/>
                  </a:lnTo>
                  <a:lnTo>
                    <a:pt x="1023" y="588"/>
                  </a:lnTo>
                  <a:lnTo>
                    <a:pt x="1023" y="588"/>
                  </a:lnTo>
                  <a:lnTo>
                    <a:pt x="1024" y="588"/>
                  </a:lnTo>
                  <a:lnTo>
                    <a:pt x="1024" y="588"/>
                  </a:lnTo>
                  <a:lnTo>
                    <a:pt x="1028" y="588"/>
                  </a:lnTo>
                  <a:lnTo>
                    <a:pt x="1028" y="588"/>
                  </a:lnTo>
                  <a:lnTo>
                    <a:pt x="1036" y="588"/>
                  </a:lnTo>
                  <a:lnTo>
                    <a:pt x="1036" y="588"/>
                  </a:lnTo>
                  <a:lnTo>
                    <a:pt x="1041" y="588"/>
                  </a:lnTo>
                  <a:lnTo>
                    <a:pt x="1046" y="587"/>
                  </a:lnTo>
                  <a:lnTo>
                    <a:pt x="1046" y="587"/>
                  </a:lnTo>
                  <a:lnTo>
                    <a:pt x="1050" y="584"/>
                  </a:lnTo>
                  <a:lnTo>
                    <a:pt x="1050" y="584"/>
                  </a:lnTo>
                  <a:lnTo>
                    <a:pt x="1053" y="578"/>
                  </a:lnTo>
                  <a:lnTo>
                    <a:pt x="1053" y="578"/>
                  </a:lnTo>
                  <a:lnTo>
                    <a:pt x="1054" y="571"/>
                  </a:lnTo>
                  <a:lnTo>
                    <a:pt x="1054" y="563"/>
                  </a:lnTo>
                  <a:lnTo>
                    <a:pt x="1054" y="563"/>
                  </a:lnTo>
                  <a:lnTo>
                    <a:pt x="1054" y="558"/>
                  </a:lnTo>
                  <a:lnTo>
                    <a:pt x="1054" y="558"/>
                  </a:lnTo>
                  <a:lnTo>
                    <a:pt x="1054" y="558"/>
                  </a:lnTo>
                  <a:lnTo>
                    <a:pt x="1054" y="558"/>
                  </a:lnTo>
                  <a:lnTo>
                    <a:pt x="1053" y="556"/>
                  </a:lnTo>
                  <a:lnTo>
                    <a:pt x="1054" y="558"/>
                  </a:lnTo>
                  <a:lnTo>
                    <a:pt x="1054" y="558"/>
                  </a:lnTo>
                  <a:lnTo>
                    <a:pt x="1053" y="556"/>
                  </a:lnTo>
                  <a:lnTo>
                    <a:pt x="1054" y="558"/>
                  </a:lnTo>
                  <a:lnTo>
                    <a:pt x="1054" y="558"/>
                  </a:lnTo>
                  <a:lnTo>
                    <a:pt x="1054" y="558"/>
                  </a:lnTo>
                  <a:lnTo>
                    <a:pt x="1054" y="558"/>
                  </a:lnTo>
                  <a:lnTo>
                    <a:pt x="1063" y="555"/>
                  </a:lnTo>
                  <a:lnTo>
                    <a:pt x="1063" y="555"/>
                  </a:lnTo>
                  <a:lnTo>
                    <a:pt x="1067" y="553"/>
                  </a:lnTo>
                  <a:lnTo>
                    <a:pt x="1067" y="553"/>
                  </a:lnTo>
                  <a:lnTo>
                    <a:pt x="1069" y="552"/>
                  </a:lnTo>
                  <a:lnTo>
                    <a:pt x="1069" y="552"/>
                  </a:lnTo>
                  <a:lnTo>
                    <a:pt x="1070" y="549"/>
                  </a:lnTo>
                  <a:lnTo>
                    <a:pt x="1070" y="549"/>
                  </a:lnTo>
                  <a:lnTo>
                    <a:pt x="1070" y="549"/>
                  </a:lnTo>
                  <a:lnTo>
                    <a:pt x="1070" y="549"/>
                  </a:lnTo>
                  <a:lnTo>
                    <a:pt x="1067" y="543"/>
                  </a:lnTo>
                  <a:lnTo>
                    <a:pt x="1067" y="543"/>
                  </a:lnTo>
                  <a:lnTo>
                    <a:pt x="1066" y="542"/>
                  </a:lnTo>
                  <a:lnTo>
                    <a:pt x="1065" y="540"/>
                  </a:lnTo>
                  <a:lnTo>
                    <a:pt x="1065" y="540"/>
                  </a:lnTo>
                  <a:lnTo>
                    <a:pt x="1065" y="540"/>
                  </a:lnTo>
                  <a:lnTo>
                    <a:pt x="1065" y="540"/>
                  </a:lnTo>
                  <a:lnTo>
                    <a:pt x="1065" y="540"/>
                  </a:lnTo>
                  <a:lnTo>
                    <a:pt x="1065" y="540"/>
                  </a:lnTo>
                  <a:lnTo>
                    <a:pt x="1065" y="540"/>
                  </a:lnTo>
                  <a:lnTo>
                    <a:pt x="1063" y="540"/>
                  </a:lnTo>
                  <a:lnTo>
                    <a:pt x="1065" y="542"/>
                  </a:lnTo>
                  <a:lnTo>
                    <a:pt x="1065" y="542"/>
                  </a:lnTo>
                  <a:lnTo>
                    <a:pt x="1065" y="540"/>
                  </a:lnTo>
                  <a:lnTo>
                    <a:pt x="1063" y="540"/>
                  </a:lnTo>
                  <a:lnTo>
                    <a:pt x="1065" y="542"/>
                  </a:lnTo>
                  <a:lnTo>
                    <a:pt x="1063" y="542"/>
                  </a:lnTo>
                  <a:lnTo>
                    <a:pt x="1065" y="543"/>
                  </a:lnTo>
                  <a:lnTo>
                    <a:pt x="1065" y="542"/>
                  </a:lnTo>
                  <a:lnTo>
                    <a:pt x="1063" y="542"/>
                  </a:lnTo>
                  <a:lnTo>
                    <a:pt x="1065" y="543"/>
                  </a:lnTo>
                  <a:lnTo>
                    <a:pt x="1063" y="542"/>
                  </a:lnTo>
                  <a:lnTo>
                    <a:pt x="1065" y="543"/>
                  </a:lnTo>
                  <a:lnTo>
                    <a:pt x="1065" y="543"/>
                  </a:lnTo>
                  <a:lnTo>
                    <a:pt x="1063" y="542"/>
                  </a:lnTo>
                  <a:lnTo>
                    <a:pt x="1065" y="543"/>
                  </a:lnTo>
                  <a:lnTo>
                    <a:pt x="1065" y="543"/>
                  </a:lnTo>
                  <a:lnTo>
                    <a:pt x="1065" y="543"/>
                  </a:lnTo>
                  <a:lnTo>
                    <a:pt x="1069" y="543"/>
                  </a:lnTo>
                  <a:lnTo>
                    <a:pt x="1069" y="543"/>
                  </a:lnTo>
                  <a:lnTo>
                    <a:pt x="1076" y="545"/>
                  </a:lnTo>
                  <a:lnTo>
                    <a:pt x="1076" y="545"/>
                  </a:lnTo>
                  <a:lnTo>
                    <a:pt x="1079" y="545"/>
                  </a:lnTo>
                  <a:lnTo>
                    <a:pt x="1079" y="545"/>
                  </a:lnTo>
                  <a:lnTo>
                    <a:pt x="1080" y="543"/>
                  </a:lnTo>
                  <a:lnTo>
                    <a:pt x="1080" y="543"/>
                  </a:lnTo>
                  <a:lnTo>
                    <a:pt x="1086" y="534"/>
                  </a:lnTo>
                  <a:lnTo>
                    <a:pt x="1086" y="534"/>
                  </a:lnTo>
                  <a:lnTo>
                    <a:pt x="1092" y="530"/>
                  </a:lnTo>
                  <a:lnTo>
                    <a:pt x="1098" y="527"/>
                  </a:lnTo>
                  <a:lnTo>
                    <a:pt x="1098" y="527"/>
                  </a:lnTo>
                  <a:lnTo>
                    <a:pt x="1111" y="523"/>
                  </a:lnTo>
                  <a:lnTo>
                    <a:pt x="1120" y="519"/>
                  </a:lnTo>
                  <a:lnTo>
                    <a:pt x="1120" y="519"/>
                  </a:lnTo>
                  <a:lnTo>
                    <a:pt x="1128" y="511"/>
                  </a:lnTo>
                  <a:lnTo>
                    <a:pt x="1128" y="511"/>
                  </a:lnTo>
                  <a:lnTo>
                    <a:pt x="1138" y="504"/>
                  </a:lnTo>
                  <a:lnTo>
                    <a:pt x="1138" y="504"/>
                  </a:lnTo>
                  <a:lnTo>
                    <a:pt x="1147" y="500"/>
                  </a:lnTo>
                  <a:lnTo>
                    <a:pt x="1147" y="500"/>
                  </a:lnTo>
                  <a:lnTo>
                    <a:pt x="1151" y="498"/>
                  </a:lnTo>
                  <a:lnTo>
                    <a:pt x="1151" y="498"/>
                  </a:lnTo>
                  <a:lnTo>
                    <a:pt x="1151" y="498"/>
                  </a:lnTo>
                  <a:lnTo>
                    <a:pt x="1153" y="498"/>
                  </a:lnTo>
                  <a:lnTo>
                    <a:pt x="1153" y="497"/>
                  </a:lnTo>
                  <a:lnTo>
                    <a:pt x="1153" y="498"/>
                  </a:lnTo>
                  <a:lnTo>
                    <a:pt x="1153" y="498"/>
                  </a:lnTo>
                  <a:lnTo>
                    <a:pt x="1153" y="497"/>
                  </a:lnTo>
                  <a:lnTo>
                    <a:pt x="1153" y="498"/>
                  </a:lnTo>
                  <a:lnTo>
                    <a:pt x="1151" y="495"/>
                  </a:lnTo>
                  <a:lnTo>
                    <a:pt x="1151" y="498"/>
                  </a:lnTo>
                  <a:lnTo>
                    <a:pt x="1153" y="498"/>
                  </a:lnTo>
                  <a:lnTo>
                    <a:pt x="1151" y="495"/>
                  </a:lnTo>
                  <a:lnTo>
                    <a:pt x="1151" y="498"/>
                  </a:lnTo>
                  <a:lnTo>
                    <a:pt x="1151" y="495"/>
                  </a:lnTo>
                  <a:lnTo>
                    <a:pt x="1151" y="498"/>
                  </a:lnTo>
                  <a:lnTo>
                    <a:pt x="1151" y="498"/>
                  </a:lnTo>
                  <a:lnTo>
                    <a:pt x="1151" y="498"/>
                  </a:lnTo>
                  <a:lnTo>
                    <a:pt x="1151" y="495"/>
                  </a:lnTo>
                  <a:lnTo>
                    <a:pt x="1151" y="498"/>
                  </a:lnTo>
                  <a:lnTo>
                    <a:pt x="1151" y="495"/>
                  </a:lnTo>
                  <a:lnTo>
                    <a:pt x="1150" y="497"/>
                  </a:lnTo>
                  <a:lnTo>
                    <a:pt x="1151" y="498"/>
                  </a:lnTo>
                  <a:lnTo>
                    <a:pt x="1151" y="495"/>
                  </a:lnTo>
                  <a:lnTo>
                    <a:pt x="1150" y="497"/>
                  </a:lnTo>
                  <a:lnTo>
                    <a:pt x="1151" y="495"/>
                  </a:lnTo>
                  <a:lnTo>
                    <a:pt x="1150" y="495"/>
                  </a:lnTo>
                  <a:lnTo>
                    <a:pt x="1150" y="497"/>
                  </a:lnTo>
                  <a:lnTo>
                    <a:pt x="1151" y="495"/>
                  </a:lnTo>
                  <a:lnTo>
                    <a:pt x="1150" y="495"/>
                  </a:lnTo>
                  <a:lnTo>
                    <a:pt x="1151" y="495"/>
                  </a:lnTo>
                  <a:lnTo>
                    <a:pt x="1150" y="494"/>
                  </a:lnTo>
                  <a:lnTo>
                    <a:pt x="1150" y="494"/>
                  </a:lnTo>
                  <a:lnTo>
                    <a:pt x="1150" y="495"/>
                  </a:lnTo>
                  <a:lnTo>
                    <a:pt x="1151" y="495"/>
                  </a:lnTo>
                  <a:lnTo>
                    <a:pt x="1150" y="494"/>
                  </a:lnTo>
                  <a:lnTo>
                    <a:pt x="1151" y="495"/>
                  </a:lnTo>
                  <a:lnTo>
                    <a:pt x="1150" y="494"/>
                  </a:lnTo>
                  <a:lnTo>
                    <a:pt x="1150" y="494"/>
                  </a:lnTo>
                  <a:lnTo>
                    <a:pt x="1150" y="494"/>
                  </a:lnTo>
                  <a:lnTo>
                    <a:pt x="1151" y="495"/>
                  </a:lnTo>
                  <a:lnTo>
                    <a:pt x="1150" y="494"/>
                  </a:lnTo>
                  <a:lnTo>
                    <a:pt x="1150" y="494"/>
                  </a:lnTo>
                  <a:lnTo>
                    <a:pt x="1149" y="495"/>
                  </a:lnTo>
                  <a:lnTo>
                    <a:pt x="1149" y="495"/>
                  </a:lnTo>
                  <a:lnTo>
                    <a:pt x="1144" y="498"/>
                  </a:lnTo>
                  <a:lnTo>
                    <a:pt x="1144" y="498"/>
                  </a:lnTo>
                  <a:lnTo>
                    <a:pt x="1141" y="500"/>
                  </a:lnTo>
                  <a:lnTo>
                    <a:pt x="1141" y="500"/>
                  </a:lnTo>
                  <a:lnTo>
                    <a:pt x="1141" y="504"/>
                  </a:lnTo>
                  <a:lnTo>
                    <a:pt x="1141" y="504"/>
                  </a:lnTo>
                  <a:lnTo>
                    <a:pt x="1141" y="505"/>
                  </a:lnTo>
                  <a:lnTo>
                    <a:pt x="1141" y="505"/>
                  </a:lnTo>
                  <a:lnTo>
                    <a:pt x="1141" y="507"/>
                  </a:lnTo>
                  <a:lnTo>
                    <a:pt x="1141" y="507"/>
                  </a:lnTo>
                  <a:lnTo>
                    <a:pt x="1141" y="510"/>
                  </a:lnTo>
                  <a:lnTo>
                    <a:pt x="1141" y="510"/>
                  </a:lnTo>
                  <a:lnTo>
                    <a:pt x="1141" y="517"/>
                  </a:lnTo>
                  <a:lnTo>
                    <a:pt x="1141" y="517"/>
                  </a:lnTo>
                  <a:lnTo>
                    <a:pt x="1140" y="520"/>
                  </a:lnTo>
                  <a:lnTo>
                    <a:pt x="1140" y="521"/>
                  </a:lnTo>
                  <a:lnTo>
                    <a:pt x="1140" y="521"/>
                  </a:lnTo>
                  <a:lnTo>
                    <a:pt x="1140" y="521"/>
                  </a:lnTo>
                  <a:lnTo>
                    <a:pt x="1140" y="521"/>
                  </a:lnTo>
                  <a:lnTo>
                    <a:pt x="1140" y="521"/>
                  </a:lnTo>
                  <a:lnTo>
                    <a:pt x="1140" y="521"/>
                  </a:lnTo>
                  <a:lnTo>
                    <a:pt x="1140" y="521"/>
                  </a:lnTo>
                  <a:lnTo>
                    <a:pt x="1140" y="521"/>
                  </a:lnTo>
                  <a:lnTo>
                    <a:pt x="1140" y="521"/>
                  </a:lnTo>
                  <a:lnTo>
                    <a:pt x="1137" y="523"/>
                  </a:lnTo>
                  <a:lnTo>
                    <a:pt x="1137" y="523"/>
                  </a:lnTo>
                  <a:lnTo>
                    <a:pt x="1130" y="529"/>
                  </a:lnTo>
                  <a:lnTo>
                    <a:pt x="1130" y="529"/>
                  </a:lnTo>
                  <a:lnTo>
                    <a:pt x="1127" y="532"/>
                  </a:lnTo>
                  <a:lnTo>
                    <a:pt x="1127" y="532"/>
                  </a:lnTo>
                  <a:lnTo>
                    <a:pt x="1125" y="533"/>
                  </a:lnTo>
                  <a:lnTo>
                    <a:pt x="1125" y="533"/>
                  </a:lnTo>
                  <a:lnTo>
                    <a:pt x="1122" y="536"/>
                  </a:lnTo>
                  <a:lnTo>
                    <a:pt x="1122" y="536"/>
                  </a:lnTo>
                  <a:lnTo>
                    <a:pt x="1121" y="539"/>
                  </a:lnTo>
                  <a:lnTo>
                    <a:pt x="1121" y="539"/>
                  </a:lnTo>
                  <a:lnTo>
                    <a:pt x="1121" y="542"/>
                  </a:lnTo>
                  <a:lnTo>
                    <a:pt x="1121" y="542"/>
                  </a:lnTo>
                  <a:lnTo>
                    <a:pt x="1122" y="543"/>
                  </a:lnTo>
                  <a:lnTo>
                    <a:pt x="1122" y="543"/>
                  </a:lnTo>
                  <a:lnTo>
                    <a:pt x="1124" y="545"/>
                  </a:lnTo>
                  <a:lnTo>
                    <a:pt x="1124" y="545"/>
                  </a:lnTo>
                  <a:lnTo>
                    <a:pt x="1127" y="543"/>
                  </a:lnTo>
                  <a:lnTo>
                    <a:pt x="1128" y="543"/>
                  </a:lnTo>
                  <a:lnTo>
                    <a:pt x="1128" y="543"/>
                  </a:lnTo>
                  <a:lnTo>
                    <a:pt x="1128" y="543"/>
                  </a:lnTo>
                  <a:lnTo>
                    <a:pt x="1128" y="543"/>
                  </a:lnTo>
                  <a:lnTo>
                    <a:pt x="1128" y="543"/>
                  </a:lnTo>
                  <a:lnTo>
                    <a:pt x="1128" y="543"/>
                  </a:lnTo>
                  <a:lnTo>
                    <a:pt x="1128" y="543"/>
                  </a:lnTo>
                  <a:lnTo>
                    <a:pt x="1128" y="542"/>
                  </a:lnTo>
                  <a:lnTo>
                    <a:pt x="1127" y="543"/>
                  </a:lnTo>
                  <a:lnTo>
                    <a:pt x="1128" y="543"/>
                  </a:lnTo>
                  <a:lnTo>
                    <a:pt x="1128" y="542"/>
                  </a:lnTo>
                  <a:lnTo>
                    <a:pt x="1127" y="543"/>
                  </a:lnTo>
                  <a:lnTo>
                    <a:pt x="1128" y="542"/>
                  </a:lnTo>
                  <a:lnTo>
                    <a:pt x="1127" y="543"/>
                  </a:lnTo>
                  <a:lnTo>
                    <a:pt x="1127" y="543"/>
                  </a:lnTo>
                  <a:lnTo>
                    <a:pt x="1128" y="542"/>
                  </a:lnTo>
                  <a:lnTo>
                    <a:pt x="1127" y="543"/>
                  </a:lnTo>
                  <a:lnTo>
                    <a:pt x="1128" y="542"/>
                  </a:lnTo>
                  <a:lnTo>
                    <a:pt x="1127" y="543"/>
                  </a:lnTo>
                  <a:lnTo>
                    <a:pt x="1127" y="543"/>
                  </a:lnTo>
                  <a:lnTo>
                    <a:pt x="1128" y="542"/>
                  </a:lnTo>
                  <a:lnTo>
                    <a:pt x="1127" y="543"/>
                  </a:lnTo>
                  <a:lnTo>
                    <a:pt x="1127" y="543"/>
                  </a:lnTo>
                  <a:lnTo>
                    <a:pt x="1127" y="543"/>
                  </a:lnTo>
                  <a:lnTo>
                    <a:pt x="1127" y="543"/>
                  </a:lnTo>
                  <a:lnTo>
                    <a:pt x="1127" y="543"/>
                  </a:lnTo>
                  <a:lnTo>
                    <a:pt x="1127" y="543"/>
                  </a:lnTo>
                  <a:lnTo>
                    <a:pt x="1127" y="543"/>
                  </a:lnTo>
                  <a:lnTo>
                    <a:pt x="1128" y="545"/>
                  </a:lnTo>
                  <a:lnTo>
                    <a:pt x="1128" y="545"/>
                  </a:lnTo>
                  <a:lnTo>
                    <a:pt x="1130" y="546"/>
                  </a:lnTo>
                  <a:lnTo>
                    <a:pt x="1130" y="546"/>
                  </a:lnTo>
                  <a:lnTo>
                    <a:pt x="1131" y="546"/>
                  </a:lnTo>
                  <a:lnTo>
                    <a:pt x="1133" y="546"/>
                  </a:lnTo>
                  <a:lnTo>
                    <a:pt x="1134" y="546"/>
                  </a:lnTo>
                  <a:lnTo>
                    <a:pt x="1134" y="546"/>
                  </a:lnTo>
                  <a:lnTo>
                    <a:pt x="1135" y="546"/>
                  </a:lnTo>
                  <a:lnTo>
                    <a:pt x="1135" y="546"/>
                  </a:lnTo>
                  <a:lnTo>
                    <a:pt x="1137" y="547"/>
                  </a:lnTo>
                  <a:lnTo>
                    <a:pt x="1137" y="547"/>
                  </a:lnTo>
                  <a:lnTo>
                    <a:pt x="1141" y="546"/>
                  </a:lnTo>
                  <a:lnTo>
                    <a:pt x="1141" y="546"/>
                  </a:lnTo>
                  <a:lnTo>
                    <a:pt x="1146" y="543"/>
                  </a:lnTo>
                  <a:lnTo>
                    <a:pt x="1146" y="543"/>
                  </a:lnTo>
                  <a:lnTo>
                    <a:pt x="1149" y="540"/>
                  </a:lnTo>
                  <a:lnTo>
                    <a:pt x="1151" y="536"/>
                  </a:lnTo>
                  <a:lnTo>
                    <a:pt x="1151" y="536"/>
                  </a:lnTo>
                  <a:lnTo>
                    <a:pt x="1153" y="534"/>
                  </a:lnTo>
                  <a:lnTo>
                    <a:pt x="1153" y="534"/>
                  </a:lnTo>
                  <a:lnTo>
                    <a:pt x="1151" y="533"/>
                  </a:lnTo>
                  <a:lnTo>
                    <a:pt x="1151" y="534"/>
                  </a:lnTo>
                  <a:lnTo>
                    <a:pt x="1153" y="534"/>
                  </a:lnTo>
                  <a:lnTo>
                    <a:pt x="1151" y="533"/>
                  </a:lnTo>
                  <a:lnTo>
                    <a:pt x="1151" y="534"/>
                  </a:lnTo>
                  <a:lnTo>
                    <a:pt x="1151" y="533"/>
                  </a:lnTo>
                  <a:lnTo>
                    <a:pt x="1151" y="534"/>
                  </a:lnTo>
                  <a:lnTo>
                    <a:pt x="1151" y="534"/>
                  </a:lnTo>
                  <a:lnTo>
                    <a:pt x="1151" y="533"/>
                  </a:lnTo>
                  <a:lnTo>
                    <a:pt x="1151" y="534"/>
                  </a:lnTo>
                  <a:lnTo>
                    <a:pt x="1151" y="534"/>
                  </a:lnTo>
                  <a:lnTo>
                    <a:pt x="1151" y="534"/>
                  </a:lnTo>
                  <a:lnTo>
                    <a:pt x="1151" y="534"/>
                  </a:lnTo>
                  <a:lnTo>
                    <a:pt x="1151" y="534"/>
                  </a:lnTo>
                  <a:lnTo>
                    <a:pt x="1151" y="534"/>
                  </a:lnTo>
                  <a:lnTo>
                    <a:pt x="1151" y="534"/>
                  </a:lnTo>
                  <a:lnTo>
                    <a:pt x="1153" y="534"/>
                  </a:lnTo>
                  <a:lnTo>
                    <a:pt x="1153" y="534"/>
                  </a:lnTo>
                  <a:lnTo>
                    <a:pt x="1156" y="536"/>
                  </a:lnTo>
                  <a:lnTo>
                    <a:pt x="1156" y="536"/>
                  </a:lnTo>
                  <a:lnTo>
                    <a:pt x="1159" y="534"/>
                  </a:lnTo>
                  <a:lnTo>
                    <a:pt x="1159" y="534"/>
                  </a:lnTo>
                  <a:lnTo>
                    <a:pt x="1162" y="532"/>
                  </a:lnTo>
                  <a:lnTo>
                    <a:pt x="1162" y="532"/>
                  </a:lnTo>
                  <a:lnTo>
                    <a:pt x="1163" y="529"/>
                  </a:lnTo>
                  <a:lnTo>
                    <a:pt x="1163" y="529"/>
                  </a:lnTo>
                  <a:lnTo>
                    <a:pt x="1163" y="527"/>
                  </a:lnTo>
                  <a:lnTo>
                    <a:pt x="1163" y="527"/>
                  </a:lnTo>
                  <a:lnTo>
                    <a:pt x="1163" y="526"/>
                  </a:lnTo>
                  <a:lnTo>
                    <a:pt x="1163" y="524"/>
                  </a:lnTo>
                  <a:lnTo>
                    <a:pt x="1163" y="524"/>
                  </a:lnTo>
                  <a:lnTo>
                    <a:pt x="1166" y="521"/>
                  </a:lnTo>
                  <a:lnTo>
                    <a:pt x="1166" y="521"/>
                  </a:lnTo>
                  <a:lnTo>
                    <a:pt x="1173" y="517"/>
                  </a:lnTo>
                  <a:lnTo>
                    <a:pt x="1173" y="517"/>
                  </a:lnTo>
                  <a:lnTo>
                    <a:pt x="1177" y="517"/>
                  </a:lnTo>
                  <a:lnTo>
                    <a:pt x="1177" y="517"/>
                  </a:lnTo>
                  <a:lnTo>
                    <a:pt x="1180" y="517"/>
                  </a:lnTo>
                  <a:lnTo>
                    <a:pt x="1180" y="517"/>
                  </a:lnTo>
                  <a:lnTo>
                    <a:pt x="1186" y="519"/>
                  </a:lnTo>
                  <a:lnTo>
                    <a:pt x="1186" y="519"/>
                  </a:lnTo>
                  <a:lnTo>
                    <a:pt x="1192" y="519"/>
                  </a:lnTo>
                  <a:lnTo>
                    <a:pt x="1192" y="519"/>
                  </a:lnTo>
                  <a:lnTo>
                    <a:pt x="1204" y="514"/>
                  </a:lnTo>
                  <a:lnTo>
                    <a:pt x="1204" y="514"/>
                  </a:lnTo>
                  <a:lnTo>
                    <a:pt x="1208" y="513"/>
                  </a:lnTo>
                  <a:lnTo>
                    <a:pt x="1212" y="508"/>
                  </a:lnTo>
                  <a:lnTo>
                    <a:pt x="1212" y="508"/>
                  </a:lnTo>
                  <a:lnTo>
                    <a:pt x="1218" y="504"/>
                  </a:lnTo>
                  <a:lnTo>
                    <a:pt x="1218" y="504"/>
                  </a:lnTo>
                  <a:lnTo>
                    <a:pt x="1222" y="503"/>
                  </a:lnTo>
                  <a:lnTo>
                    <a:pt x="1224" y="503"/>
                  </a:lnTo>
                  <a:lnTo>
                    <a:pt x="1224" y="503"/>
                  </a:lnTo>
                  <a:lnTo>
                    <a:pt x="1227" y="507"/>
                  </a:lnTo>
                  <a:lnTo>
                    <a:pt x="1227" y="507"/>
                  </a:lnTo>
                  <a:lnTo>
                    <a:pt x="1228" y="508"/>
                  </a:lnTo>
                  <a:lnTo>
                    <a:pt x="1228" y="508"/>
                  </a:lnTo>
                  <a:lnTo>
                    <a:pt x="1228" y="510"/>
                  </a:lnTo>
                  <a:lnTo>
                    <a:pt x="1230" y="510"/>
                  </a:lnTo>
                  <a:lnTo>
                    <a:pt x="1228" y="510"/>
                  </a:lnTo>
                  <a:lnTo>
                    <a:pt x="1228" y="510"/>
                  </a:lnTo>
                  <a:lnTo>
                    <a:pt x="1230" y="510"/>
                  </a:lnTo>
                  <a:lnTo>
                    <a:pt x="1228" y="510"/>
                  </a:lnTo>
                  <a:lnTo>
                    <a:pt x="1228" y="510"/>
                  </a:lnTo>
                  <a:lnTo>
                    <a:pt x="1228" y="513"/>
                  </a:lnTo>
                  <a:lnTo>
                    <a:pt x="1228" y="513"/>
                  </a:lnTo>
                  <a:lnTo>
                    <a:pt x="1227" y="516"/>
                  </a:lnTo>
                  <a:lnTo>
                    <a:pt x="1227" y="516"/>
                  </a:lnTo>
                  <a:lnTo>
                    <a:pt x="1227" y="516"/>
                  </a:lnTo>
                  <a:lnTo>
                    <a:pt x="1228" y="516"/>
                  </a:lnTo>
                  <a:lnTo>
                    <a:pt x="1228" y="516"/>
                  </a:lnTo>
                  <a:lnTo>
                    <a:pt x="1227" y="516"/>
                  </a:lnTo>
                  <a:lnTo>
                    <a:pt x="1228" y="516"/>
                  </a:lnTo>
                  <a:lnTo>
                    <a:pt x="1228" y="516"/>
                  </a:lnTo>
                  <a:lnTo>
                    <a:pt x="1228" y="516"/>
                  </a:lnTo>
                  <a:lnTo>
                    <a:pt x="1228" y="516"/>
                  </a:lnTo>
                  <a:lnTo>
                    <a:pt x="1228" y="516"/>
                  </a:lnTo>
                  <a:lnTo>
                    <a:pt x="1228" y="516"/>
                  </a:lnTo>
                  <a:lnTo>
                    <a:pt x="1228" y="516"/>
                  </a:lnTo>
                  <a:lnTo>
                    <a:pt x="1228" y="516"/>
                  </a:lnTo>
                  <a:lnTo>
                    <a:pt x="1225" y="517"/>
                  </a:lnTo>
                  <a:lnTo>
                    <a:pt x="1225" y="517"/>
                  </a:lnTo>
                  <a:lnTo>
                    <a:pt x="1224" y="517"/>
                  </a:lnTo>
                  <a:lnTo>
                    <a:pt x="1224" y="520"/>
                  </a:lnTo>
                  <a:lnTo>
                    <a:pt x="1224" y="520"/>
                  </a:lnTo>
                  <a:lnTo>
                    <a:pt x="1225" y="523"/>
                  </a:lnTo>
                  <a:lnTo>
                    <a:pt x="1225" y="523"/>
                  </a:lnTo>
                  <a:lnTo>
                    <a:pt x="1228" y="524"/>
                  </a:lnTo>
                  <a:lnTo>
                    <a:pt x="1228" y="524"/>
                  </a:lnTo>
                  <a:lnTo>
                    <a:pt x="1231" y="527"/>
                  </a:lnTo>
                  <a:lnTo>
                    <a:pt x="1231" y="527"/>
                  </a:lnTo>
                  <a:lnTo>
                    <a:pt x="1234" y="530"/>
                  </a:lnTo>
                  <a:lnTo>
                    <a:pt x="1234" y="530"/>
                  </a:lnTo>
                  <a:lnTo>
                    <a:pt x="1234" y="530"/>
                  </a:lnTo>
                  <a:lnTo>
                    <a:pt x="1234" y="530"/>
                  </a:lnTo>
                  <a:lnTo>
                    <a:pt x="1237" y="532"/>
                  </a:lnTo>
                  <a:lnTo>
                    <a:pt x="1237" y="532"/>
                  </a:lnTo>
                  <a:lnTo>
                    <a:pt x="1238" y="530"/>
                  </a:lnTo>
                  <a:lnTo>
                    <a:pt x="1238" y="530"/>
                  </a:lnTo>
                  <a:lnTo>
                    <a:pt x="1240" y="529"/>
                  </a:lnTo>
                  <a:lnTo>
                    <a:pt x="1240" y="529"/>
                  </a:lnTo>
                  <a:lnTo>
                    <a:pt x="1241" y="526"/>
                  </a:lnTo>
                  <a:lnTo>
                    <a:pt x="1241" y="526"/>
                  </a:lnTo>
                  <a:lnTo>
                    <a:pt x="1241" y="523"/>
                  </a:lnTo>
                  <a:lnTo>
                    <a:pt x="1241" y="523"/>
                  </a:lnTo>
                  <a:lnTo>
                    <a:pt x="1240" y="514"/>
                  </a:lnTo>
                  <a:lnTo>
                    <a:pt x="1240" y="514"/>
                  </a:lnTo>
                  <a:lnTo>
                    <a:pt x="1241" y="513"/>
                  </a:lnTo>
                  <a:lnTo>
                    <a:pt x="1241" y="513"/>
                  </a:lnTo>
                  <a:lnTo>
                    <a:pt x="1241" y="511"/>
                  </a:lnTo>
                  <a:lnTo>
                    <a:pt x="1241" y="511"/>
                  </a:lnTo>
                  <a:lnTo>
                    <a:pt x="1250" y="510"/>
                  </a:lnTo>
                  <a:lnTo>
                    <a:pt x="1250" y="510"/>
                  </a:lnTo>
                  <a:lnTo>
                    <a:pt x="1254" y="507"/>
                  </a:lnTo>
                  <a:lnTo>
                    <a:pt x="1254" y="507"/>
                  </a:lnTo>
                  <a:lnTo>
                    <a:pt x="1256" y="505"/>
                  </a:lnTo>
                  <a:lnTo>
                    <a:pt x="1256" y="503"/>
                  </a:lnTo>
                  <a:lnTo>
                    <a:pt x="1256" y="503"/>
                  </a:lnTo>
                  <a:lnTo>
                    <a:pt x="1256" y="500"/>
                  </a:lnTo>
                  <a:lnTo>
                    <a:pt x="1256" y="500"/>
                  </a:lnTo>
                  <a:lnTo>
                    <a:pt x="1251" y="488"/>
                  </a:lnTo>
                  <a:lnTo>
                    <a:pt x="1247" y="476"/>
                  </a:lnTo>
                  <a:lnTo>
                    <a:pt x="1247" y="476"/>
                  </a:lnTo>
                  <a:lnTo>
                    <a:pt x="1247" y="474"/>
                  </a:lnTo>
                  <a:lnTo>
                    <a:pt x="1247" y="474"/>
                  </a:lnTo>
                  <a:lnTo>
                    <a:pt x="1247" y="471"/>
                  </a:lnTo>
                  <a:lnTo>
                    <a:pt x="1248" y="466"/>
                  </a:lnTo>
                  <a:lnTo>
                    <a:pt x="1248" y="466"/>
                  </a:lnTo>
                  <a:lnTo>
                    <a:pt x="1250" y="463"/>
                  </a:lnTo>
                  <a:lnTo>
                    <a:pt x="1250" y="463"/>
                  </a:lnTo>
                  <a:lnTo>
                    <a:pt x="1251" y="461"/>
                  </a:lnTo>
                  <a:lnTo>
                    <a:pt x="1251" y="459"/>
                  </a:lnTo>
                  <a:lnTo>
                    <a:pt x="1251" y="459"/>
                  </a:lnTo>
                  <a:lnTo>
                    <a:pt x="1251" y="459"/>
                  </a:lnTo>
                  <a:lnTo>
                    <a:pt x="1251" y="459"/>
                  </a:lnTo>
                  <a:lnTo>
                    <a:pt x="1251" y="458"/>
                  </a:lnTo>
                  <a:lnTo>
                    <a:pt x="1251" y="458"/>
                  </a:lnTo>
                  <a:lnTo>
                    <a:pt x="1254" y="456"/>
                  </a:lnTo>
                  <a:lnTo>
                    <a:pt x="1254" y="458"/>
                  </a:lnTo>
                  <a:lnTo>
                    <a:pt x="1254" y="458"/>
                  </a:lnTo>
                  <a:lnTo>
                    <a:pt x="1260" y="462"/>
                  </a:lnTo>
                  <a:lnTo>
                    <a:pt x="1260" y="462"/>
                  </a:lnTo>
                  <a:lnTo>
                    <a:pt x="1264" y="463"/>
                  </a:lnTo>
                  <a:lnTo>
                    <a:pt x="1272" y="465"/>
                  </a:lnTo>
                  <a:lnTo>
                    <a:pt x="1272" y="465"/>
                  </a:lnTo>
                  <a:lnTo>
                    <a:pt x="1273" y="465"/>
                  </a:lnTo>
                  <a:lnTo>
                    <a:pt x="1273" y="465"/>
                  </a:lnTo>
                  <a:lnTo>
                    <a:pt x="1273" y="465"/>
                  </a:lnTo>
                  <a:lnTo>
                    <a:pt x="1280" y="465"/>
                  </a:lnTo>
                  <a:lnTo>
                    <a:pt x="1288" y="468"/>
                  </a:lnTo>
                  <a:lnTo>
                    <a:pt x="1288" y="468"/>
                  </a:lnTo>
                  <a:lnTo>
                    <a:pt x="1295" y="469"/>
                  </a:lnTo>
                  <a:lnTo>
                    <a:pt x="1303" y="471"/>
                  </a:lnTo>
                  <a:lnTo>
                    <a:pt x="1303" y="471"/>
                  </a:lnTo>
                  <a:lnTo>
                    <a:pt x="1311" y="474"/>
                  </a:lnTo>
                  <a:lnTo>
                    <a:pt x="1311" y="474"/>
                  </a:lnTo>
                  <a:lnTo>
                    <a:pt x="1317" y="478"/>
                  </a:lnTo>
                  <a:lnTo>
                    <a:pt x="1322" y="484"/>
                  </a:lnTo>
                  <a:lnTo>
                    <a:pt x="1322" y="484"/>
                  </a:lnTo>
                  <a:lnTo>
                    <a:pt x="1328" y="488"/>
                  </a:lnTo>
                  <a:lnTo>
                    <a:pt x="1328" y="488"/>
                  </a:lnTo>
                  <a:lnTo>
                    <a:pt x="1331" y="491"/>
                  </a:lnTo>
                  <a:lnTo>
                    <a:pt x="1331" y="491"/>
                  </a:lnTo>
                  <a:lnTo>
                    <a:pt x="1341" y="498"/>
                  </a:lnTo>
                  <a:lnTo>
                    <a:pt x="1356" y="508"/>
                  </a:lnTo>
                  <a:lnTo>
                    <a:pt x="1356" y="508"/>
                  </a:lnTo>
                  <a:lnTo>
                    <a:pt x="1360" y="516"/>
                  </a:lnTo>
                  <a:lnTo>
                    <a:pt x="1363" y="523"/>
                  </a:lnTo>
                  <a:lnTo>
                    <a:pt x="1363" y="523"/>
                  </a:lnTo>
                  <a:lnTo>
                    <a:pt x="1366" y="530"/>
                  </a:lnTo>
                  <a:lnTo>
                    <a:pt x="1366" y="530"/>
                  </a:lnTo>
                  <a:lnTo>
                    <a:pt x="1367" y="533"/>
                  </a:lnTo>
                  <a:lnTo>
                    <a:pt x="1367" y="533"/>
                  </a:lnTo>
                  <a:lnTo>
                    <a:pt x="1369" y="534"/>
                  </a:lnTo>
                  <a:lnTo>
                    <a:pt x="1369" y="534"/>
                  </a:lnTo>
                  <a:lnTo>
                    <a:pt x="1370" y="536"/>
                  </a:lnTo>
                  <a:lnTo>
                    <a:pt x="1370" y="536"/>
                  </a:lnTo>
                  <a:lnTo>
                    <a:pt x="1372" y="534"/>
                  </a:lnTo>
                  <a:lnTo>
                    <a:pt x="1372" y="534"/>
                  </a:lnTo>
                  <a:lnTo>
                    <a:pt x="1373" y="533"/>
                  </a:lnTo>
                  <a:lnTo>
                    <a:pt x="1373" y="533"/>
                  </a:lnTo>
                  <a:lnTo>
                    <a:pt x="1376" y="529"/>
                  </a:lnTo>
                  <a:lnTo>
                    <a:pt x="1376" y="529"/>
                  </a:lnTo>
                  <a:lnTo>
                    <a:pt x="1379" y="516"/>
                  </a:lnTo>
                  <a:lnTo>
                    <a:pt x="1380" y="504"/>
                  </a:lnTo>
                  <a:lnTo>
                    <a:pt x="1380" y="504"/>
                  </a:lnTo>
                  <a:lnTo>
                    <a:pt x="1380" y="500"/>
                  </a:lnTo>
                  <a:lnTo>
                    <a:pt x="1380" y="500"/>
                  </a:lnTo>
                  <a:lnTo>
                    <a:pt x="1379" y="498"/>
                  </a:lnTo>
                  <a:lnTo>
                    <a:pt x="1379" y="498"/>
                  </a:lnTo>
                  <a:lnTo>
                    <a:pt x="1377" y="497"/>
                  </a:lnTo>
                  <a:lnTo>
                    <a:pt x="1377" y="497"/>
                  </a:lnTo>
                  <a:lnTo>
                    <a:pt x="1374" y="497"/>
                  </a:lnTo>
                  <a:lnTo>
                    <a:pt x="1374" y="497"/>
                  </a:lnTo>
                  <a:lnTo>
                    <a:pt x="1374" y="497"/>
                  </a:lnTo>
                  <a:lnTo>
                    <a:pt x="1373" y="498"/>
                  </a:lnTo>
                  <a:lnTo>
                    <a:pt x="1373" y="498"/>
                  </a:lnTo>
                  <a:lnTo>
                    <a:pt x="1369" y="497"/>
                  </a:lnTo>
                  <a:lnTo>
                    <a:pt x="1369" y="497"/>
                  </a:lnTo>
                  <a:lnTo>
                    <a:pt x="1363" y="491"/>
                  </a:lnTo>
                  <a:lnTo>
                    <a:pt x="1363" y="491"/>
                  </a:lnTo>
                  <a:lnTo>
                    <a:pt x="1361" y="485"/>
                  </a:lnTo>
                  <a:lnTo>
                    <a:pt x="1359" y="478"/>
                  </a:lnTo>
                  <a:lnTo>
                    <a:pt x="1359" y="478"/>
                  </a:lnTo>
                  <a:lnTo>
                    <a:pt x="1357" y="472"/>
                  </a:lnTo>
                  <a:lnTo>
                    <a:pt x="1357" y="472"/>
                  </a:lnTo>
                  <a:lnTo>
                    <a:pt x="1356" y="469"/>
                  </a:lnTo>
                  <a:lnTo>
                    <a:pt x="1356" y="469"/>
                  </a:lnTo>
                  <a:lnTo>
                    <a:pt x="1356" y="468"/>
                  </a:lnTo>
                  <a:lnTo>
                    <a:pt x="1356" y="468"/>
                  </a:lnTo>
                  <a:lnTo>
                    <a:pt x="1353" y="468"/>
                  </a:lnTo>
                  <a:lnTo>
                    <a:pt x="1353" y="468"/>
                  </a:lnTo>
                  <a:lnTo>
                    <a:pt x="1353" y="468"/>
                  </a:lnTo>
                  <a:lnTo>
                    <a:pt x="1353" y="468"/>
                  </a:lnTo>
                  <a:lnTo>
                    <a:pt x="1350" y="469"/>
                  </a:lnTo>
                  <a:lnTo>
                    <a:pt x="1350" y="469"/>
                  </a:lnTo>
                  <a:lnTo>
                    <a:pt x="1347" y="472"/>
                  </a:lnTo>
                  <a:lnTo>
                    <a:pt x="1347" y="472"/>
                  </a:lnTo>
                  <a:lnTo>
                    <a:pt x="1347" y="472"/>
                  </a:lnTo>
                  <a:lnTo>
                    <a:pt x="1347" y="474"/>
                  </a:lnTo>
                  <a:lnTo>
                    <a:pt x="1347" y="472"/>
                  </a:lnTo>
                  <a:lnTo>
                    <a:pt x="1347" y="472"/>
                  </a:lnTo>
                  <a:lnTo>
                    <a:pt x="1347" y="474"/>
                  </a:lnTo>
                  <a:lnTo>
                    <a:pt x="1347" y="472"/>
                  </a:lnTo>
                  <a:lnTo>
                    <a:pt x="1347" y="474"/>
                  </a:lnTo>
                  <a:lnTo>
                    <a:pt x="1347" y="472"/>
                  </a:lnTo>
                  <a:lnTo>
                    <a:pt x="1347" y="472"/>
                  </a:lnTo>
                  <a:lnTo>
                    <a:pt x="1347" y="474"/>
                  </a:lnTo>
                  <a:lnTo>
                    <a:pt x="1347" y="472"/>
                  </a:lnTo>
                  <a:lnTo>
                    <a:pt x="1347" y="472"/>
                  </a:lnTo>
                  <a:lnTo>
                    <a:pt x="1347" y="472"/>
                  </a:lnTo>
                  <a:lnTo>
                    <a:pt x="1347" y="472"/>
                  </a:lnTo>
                  <a:lnTo>
                    <a:pt x="1347" y="472"/>
                  </a:lnTo>
                  <a:lnTo>
                    <a:pt x="1347" y="472"/>
                  </a:lnTo>
                  <a:lnTo>
                    <a:pt x="1347" y="472"/>
                  </a:lnTo>
                  <a:lnTo>
                    <a:pt x="1347" y="472"/>
                  </a:lnTo>
                  <a:lnTo>
                    <a:pt x="1347" y="472"/>
                  </a:lnTo>
                  <a:lnTo>
                    <a:pt x="1345" y="466"/>
                  </a:lnTo>
                  <a:lnTo>
                    <a:pt x="1345" y="466"/>
                  </a:lnTo>
                  <a:lnTo>
                    <a:pt x="1344" y="458"/>
                  </a:lnTo>
                  <a:lnTo>
                    <a:pt x="1344" y="458"/>
                  </a:lnTo>
                  <a:lnTo>
                    <a:pt x="1345" y="453"/>
                  </a:lnTo>
                  <a:lnTo>
                    <a:pt x="1345" y="453"/>
                  </a:lnTo>
                  <a:lnTo>
                    <a:pt x="1345" y="450"/>
                  </a:lnTo>
                  <a:lnTo>
                    <a:pt x="1345" y="450"/>
                  </a:lnTo>
                  <a:lnTo>
                    <a:pt x="1345" y="450"/>
                  </a:lnTo>
                  <a:lnTo>
                    <a:pt x="1344" y="450"/>
                  </a:lnTo>
                  <a:lnTo>
                    <a:pt x="1344" y="452"/>
                  </a:lnTo>
                  <a:lnTo>
                    <a:pt x="1344" y="452"/>
                  </a:lnTo>
                  <a:lnTo>
                    <a:pt x="1345" y="450"/>
                  </a:lnTo>
                  <a:lnTo>
                    <a:pt x="1344" y="450"/>
                  </a:lnTo>
                  <a:lnTo>
                    <a:pt x="1344" y="452"/>
                  </a:lnTo>
                  <a:lnTo>
                    <a:pt x="1344" y="450"/>
                  </a:lnTo>
                  <a:lnTo>
                    <a:pt x="1344" y="452"/>
                  </a:lnTo>
                  <a:lnTo>
                    <a:pt x="1344" y="452"/>
                  </a:lnTo>
                  <a:lnTo>
                    <a:pt x="1344" y="450"/>
                  </a:lnTo>
                  <a:lnTo>
                    <a:pt x="1344" y="452"/>
                  </a:lnTo>
                  <a:lnTo>
                    <a:pt x="1344" y="452"/>
                  </a:lnTo>
                  <a:lnTo>
                    <a:pt x="1344" y="452"/>
                  </a:lnTo>
                  <a:lnTo>
                    <a:pt x="1344" y="452"/>
                  </a:lnTo>
                  <a:lnTo>
                    <a:pt x="1344" y="452"/>
                  </a:lnTo>
                  <a:lnTo>
                    <a:pt x="1344" y="452"/>
                  </a:lnTo>
                  <a:lnTo>
                    <a:pt x="1344" y="452"/>
                  </a:lnTo>
                  <a:lnTo>
                    <a:pt x="1345" y="452"/>
                  </a:lnTo>
                  <a:lnTo>
                    <a:pt x="1345" y="452"/>
                  </a:lnTo>
                  <a:lnTo>
                    <a:pt x="1348" y="453"/>
                  </a:lnTo>
                  <a:lnTo>
                    <a:pt x="1348" y="453"/>
                  </a:lnTo>
                  <a:lnTo>
                    <a:pt x="1350" y="453"/>
                  </a:lnTo>
                  <a:lnTo>
                    <a:pt x="1350" y="453"/>
                  </a:lnTo>
                  <a:lnTo>
                    <a:pt x="1351" y="450"/>
                  </a:lnTo>
                  <a:lnTo>
                    <a:pt x="1351" y="450"/>
                  </a:lnTo>
                  <a:lnTo>
                    <a:pt x="1351" y="448"/>
                  </a:lnTo>
                  <a:lnTo>
                    <a:pt x="1351" y="448"/>
                  </a:lnTo>
                  <a:lnTo>
                    <a:pt x="1353" y="432"/>
                  </a:lnTo>
                  <a:lnTo>
                    <a:pt x="1353" y="432"/>
                  </a:lnTo>
                  <a:lnTo>
                    <a:pt x="1351" y="417"/>
                  </a:lnTo>
                  <a:lnTo>
                    <a:pt x="1351" y="417"/>
                  </a:lnTo>
                  <a:lnTo>
                    <a:pt x="1350" y="413"/>
                  </a:lnTo>
                  <a:lnTo>
                    <a:pt x="1350" y="413"/>
                  </a:lnTo>
                  <a:lnTo>
                    <a:pt x="1350" y="410"/>
                  </a:lnTo>
                  <a:lnTo>
                    <a:pt x="1350" y="410"/>
                  </a:lnTo>
                  <a:lnTo>
                    <a:pt x="1347" y="408"/>
                  </a:lnTo>
                  <a:lnTo>
                    <a:pt x="1347" y="408"/>
                  </a:lnTo>
                  <a:lnTo>
                    <a:pt x="1344" y="408"/>
                  </a:lnTo>
                  <a:lnTo>
                    <a:pt x="1344" y="408"/>
                  </a:lnTo>
                  <a:lnTo>
                    <a:pt x="1343" y="408"/>
                  </a:lnTo>
                  <a:lnTo>
                    <a:pt x="1341" y="408"/>
                  </a:lnTo>
                  <a:lnTo>
                    <a:pt x="1341" y="410"/>
                  </a:lnTo>
                  <a:lnTo>
                    <a:pt x="1341" y="408"/>
                  </a:lnTo>
                  <a:lnTo>
                    <a:pt x="1341" y="408"/>
                  </a:lnTo>
                  <a:lnTo>
                    <a:pt x="1341" y="410"/>
                  </a:lnTo>
                  <a:lnTo>
                    <a:pt x="1341" y="408"/>
                  </a:lnTo>
                  <a:lnTo>
                    <a:pt x="1341" y="410"/>
                  </a:lnTo>
                  <a:lnTo>
                    <a:pt x="1343" y="410"/>
                  </a:lnTo>
                  <a:lnTo>
                    <a:pt x="1341" y="408"/>
                  </a:lnTo>
                  <a:lnTo>
                    <a:pt x="1341" y="410"/>
                  </a:lnTo>
                  <a:lnTo>
                    <a:pt x="1343" y="410"/>
                  </a:lnTo>
                  <a:lnTo>
                    <a:pt x="1341" y="410"/>
                  </a:lnTo>
                  <a:lnTo>
                    <a:pt x="1343" y="410"/>
                  </a:lnTo>
                  <a:lnTo>
                    <a:pt x="1343" y="410"/>
                  </a:lnTo>
                  <a:lnTo>
                    <a:pt x="1341" y="410"/>
                  </a:lnTo>
                  <a:lnTo>
                    <a:pt x="1343" y="410"/>
                  </a:lnTo>
                  <a:lnTo>
                    <a:pt x="1343" y="410"/>
                  </a:lnTo>
                  <a:lnTo>
                    <a:pt x="1343" y="410"/>
                  </a:lnTo>
                  <a:lnTo>
                    <a:pt x="1343" y="408"/>
                  </a:lnTo>
                  <a:lnTo>
                    <a:pt x="1343" y="408"/>
                  </a:lnTo>
                  <a:lnTo>
                    <a:pt x="1347" y="401"/>
                  </a:lnTo>
                  <a:lnTo>
                    <a:pt x="1347" y="401"/>
                  </a:lnTo>
                  <a:lnTo>
                    <a:pt x="1348" y="397"/>
                  </a:lnTo>
                  <a:lnTo>
                    <a:pt x="1350" y="392"/>
                  </a:lnTo>
                  <a:lnTo>
                    <a:pt x="1350" y="392"/>
                  </a:lnTo>
                  <a:lnTo>
                    <a:pt x="1350" y="392"/>
                  </a:lnTo>
                  <a:lnTo>
                    <a:pt x="1350" y="392"/>
                  </a:lnTo>
                  <a:lnTo>
                    <a:pt x="1350" y="392"/>
                  </a:lnTo>
                  <a:lnTo>
                    <a:pt x="1350" y="392"/>
                  </a:lnTo>
                  <a:lnTo>
                    <a:pt x="1350" y="392"/>
                  </a:lnTo>
                  <a:lnTo>
                    <a:pt x="1350" y="392"/>
                  </a:lnTo>
                  <a:lnTo>
                    <a:pt x="1354" y="388"/>
                  </a:lnTo>
                  <a:lnTo>
                    <a:pt x="1354" y="388"/>
                  </a:lnTo>
                  <a:lnTo>
                    <a:pt x="1360" y="384"/>
                  </a:lnTo>
                  <a:lnTo>
                    <a:pt x="1367" y="378"/>
                  </a:lnTo>
                  <a:lnTo>
                    <a:pt x="1373" y="368"/>
                  </a:lnTo>
                  <a:lnTo>
                    <a:pt x="1380" y="353"/>
                  </a:lnTo>
                  <a:lnTo>
                    <a:pt x="1380" y="353"/>
                  </a:lnTo>
                  <a:lnTo>
                    <a:pt x="1386" y="335"/>
                  </a:lnTo>
                  <a:lnTo>
                    <a:pt x="1387" y="322"/>
                  </a:lnTo>
                  <a:lnTo>
                    <a:pt x="1387" y="322"/>
                  </a:lnTo>
                  <a:lnTo>
                    <a:pt x="1389" y="314"/>
                  </a:lnTo>
                  <a:lnTo>
                    <a:pt x="1389" y="314"/>
                  </a:lnTo>
                  <a:lnTo>
                    <a:pt x="1390" y="311"/>
                  </a:lnTo>
                  <a:lnTo>
                    <a:pt x="1390" y="311"/>
                  </a:lnTo>
                  <a:lnTo>
                    <a:pt x="1395" y="307"/>
                  </a:lnTo>
                  <a:lnTo>
                    <a:pt x="1395" y="307"/>
                  </a:lnTo>
                  <a:lnTo>
                    <a:pt x="1398" y="306"/>
                  </a:lnTo>
                  <a:lnTo>
                    <a:pt x="1398" y="306"/>
                  </a:lnTo>
                  <a:lnTo>
                    <a:pt x="1398" y="306"/>
                  </a:lnTo>
                  <a:lnTo>
                    <a:pt x="1402" y="308"/>
                  </a:lnTo>
                  <a:lnTo>
                    <a:pt x="1402" y="308"/>
                  </a:lnTo>
                  <a:lnTo>
                    <a:pt x="1406" y="310"/>
                  </a:lnTo>
                  <a:lnTo>
                    <a:pt x="1414" y="310"/>
                  </a:lnTo>
                  <a:lnTo>
                    <a:pt x="1414" y="310"/>
                  </a:lnTo>
                  <a:lnTo>
                    <a:pt x="1435" y="310"/>
                  </a:lnTo>
                  <a:lnTo>
                    <a:pt x="1435" y="310"/>
                  </a:lnTo>
                  <a:lnTo>
                    <a:pt x="1443" y="311"/>
                  </a:lnTo>
                  <a:lnTo>
                    <a:pt x="1443" y="311"/>
                  </a:lnTo>
                  <a:lnTo>
                    <a:pt x="1445" y="313"/>
                  </a:lnTo>
                  <a:lnTo>
                    <a:pt x="1445" y="313"/>
                  </a:lnTo>
                  <a:lnTo>
                    <a:pt x="1445" y="314"/>
                  </a:lnTo>
                  <a:lnTo>
                    <a:pt x="1445" y="314"/>
                  </a:lnTo>
                  <a:lnTo>
                    <a:pt x="1445" y="317"/>
                  </a:lnTo>
                  <a:lnTo>
                    <a:pt x="1445" y="317"/>
                  </a:lnTo>
                  <a:lnTo>
                    <a:pt x="1443" y="320"/>
                  </a:lnTo>
                  <a:lnTo>
                    <a:pt x="1443" y="320"/>
                  </a:lnTo>
                  <a:lnTo>
                    <a:pt x="1440" y="323"/>
                  </a:lnTo>
                  <a:lnTo>
                    <a:pt x="1438" y="327"/>
                  </a:lnTo>
                  <a:lnTo>
                    <a:pt x="1438" y="327"/>
                  </a:lnTo>
                  <a:lnTo>
                    <a:pt x="1438" y="336"/>
                  </a:lnTo>
                  <a:lnTo>
                    <a:pt x="1438" y="336"/>
                  </a:lnTo>
                  <a:lnTo>
                    <a:pt x="1435" y="356"/>
                  </a:lnTo>
                  <a:lnTo>
                    <a:pt x="1435" y="356"/>
                  </a:lnTo>
                  <a:lnTo>
                    <a:pt x="1432" y="366"/>
                  </a:lnTo>
                  <a:lnTo>
                    <a:pt x="1432" y="366"/>
                  </a:lnTo>
                  <a:lnTo>
                    <a:pt x="1432" y="369"/>
                  </a:lnTo>
                  <a:lnTo>
                    <a:pt x="1432" y="369"/>
                  </a:lnTo>
                  <a:lnTo>
                    <a:pt x="1431" y="371"/>
                  </a:lnTo>
                  <a:lnTo>
                    <a:pt x="1431" y="371"/>
                  </a:lnTo>
                  <a:lnTo>
                    <a:pt x="1427" y="377"/>
                  </a:lnTo>
                  <a:lnTo>
                    <a:pt x="1427" y="377"/>
                  </a:lnTo>
                  <a:lnTo>
                    <a:pt x="1425" y="381"/>
                  </a:lnTo>
                  <a:lnTo>
                    <a:pt x="1425" y="385"/>
                  </a:lnTo>
                  <a:lnTo>
                    <a:pt x="1425" y="385"/>
                  </a:lnTo>
                  <a:lnTo>
                    <a:pt x="1425" y="390"/>
                  </a:lnTo>
                  <a:lnTo>
                    <a:pt x="1425" y="390"/>
                  </a:lnTo>
                  <a:lnTo>
                    <a:pt x="1432" y="404"/>
                  </a:lnTo>
                  <a:lnTo>
                    <a:pt x="1432" y="404"/>
                  </a:lnTo>
                  <a:lnTo>
                    <a:pt x="1437" y="413"/>
                  </a:lnTo>
                  <a:lnTo>
                    <a:pt x="1437" y="413"/>
                  </a:lnTo>
                  <a:lnTo>
                    <a:pt x="1438" y="419"/>
                  </a:lnTo>
                  <a:lnTo>
                    <a:pt x="1438" y="419"/>
                  </a:lnTo>
                  <a:lnTo>
                    <a:pt x="1437" y="437"/>
                  </a:lnTo>
                  <a:lnTo>
                    <a:pt x="1437" y="437"/>
                  </a:lnTo>
                  <a:lnTo>
                    <a:pt x="1435" y="450"/>
                  </a:lnTo>
                  <a:lnTo>
                    <a:pt x="1434" y="463"/>
                  </a:lnTo>
                  <a:lnTo>
                    <a:pt x="1434" y="463"/>
                  </a:lnTo>
                  <a:lnTo>
                    <a:pt x="1435" y="476"/>
                  </a:lnTo>
                  <a:lnTo>
                    <a:pt x="1437" y="491"/>
                  </a:lnTo>
                  <a:lnTo>
                    <a:pt x="1437" y="491"/>
                  </a:lnTo>
                  <a:lnTo>
                    <a:pt x="1440" y="503"/>
                  </a:lnTo>
                  <a:lnTo>
                    <a:pt x="1440" y="503"/>
                  </a:lnTo>
                  <a:lnTo>
                    <a:pt x="1441" y="507"/>
                  </a:lnTo>
                  <a:lnTo>
                    <a:pt x="1441" y="507"/>
                  </a:lnTo>
                  <a:lnTo>
                    <a:pt x="1444" y="511"/>
                  </a:lnTo>
                  <a:lnTo>
                    <a:pt x="1444" y="511"/>
                  </a:lnTo>
                  <a:lnTo>
                    <a:pt x="1448" y="516"/>
                  </a:lnTo>
                  <a:lnTo>
                    <a:pt x="1448" y="516"/>
                  </a:lnTo>
                  <a:lnTo>
                    <a:pt x="1448" y="521"/>
                  </a:lnTo>
                  <a:lnTo>
                    <a:pt x="1448" y="521"/>
                  </a:lnTo>
                  <a:lnTo>
                    <a:pt x="1448" y="524"/>
                  </a:lnTo>
                  <a:lnTo>
                    <a:pt x="1448" y="524"/>
                  </a:lnTo>
                  <a:lnTo>
                    <a:pt x="1440" y="553"/>
                  </a:lnTo>
                  <a:lnTo>
                    <a:pt x="1440" y="553"/>
                  </a:lnTo>
                  <a:lnTo>
                    <a:pt x="1432" y="572"/>
                  </a:lnTo>
                  <a:lnTo>
                    <a:pt x="1432" y="572"/>
                  </a:lnTo>
                  <a:lnTo>
                    <a:pt x="1428" y="579"/>
                  </a:lnTo>
                  <a:lnTo>
                    <a:pt x="1428" y="579"/>
                  </a:lnTo>
                  <a:lnTo>
                    <a:pt x="1427" y="582"/>
                  </a:lnTo>
                  <a:lnTo>
                    <a:pt x="1427" y="582"/>
                  </a:lnTo>
                  <a:lnTo>
                    <a:pt x="1416" y="588"/>
                  </a:lnTo>
                  <a:lnTo>
                    <a:pt x="1416" y="588"/>
                  </a:lnTo>
                  <a:lnTo>
                    <a:pt x="1408" y="588"/>
                  </a:lnTo>
                  <a:lnTo>
                    <a:pt x="1408" y="588"/>
                  </a:lnTo>
                  <a:lnTo>
                    <a:pt x="1386" y="588"/>
                  </a:lnTo>
                  <a:lnTo>
                    <a:pt x="1386" y="588"/>
                  </a:lnTo>
                  <a:lnTo>
                    <a:pt x="1377" y="588"/>
                  </a:lnTo>
                  <a:lnTo>
                    <a:pt x="1377" y="588"/>
                  </a:lnTo>
                  <a:lnTo>
                    <a:pt x="1374" y="589"/>
                  </a:lnTo>
                  <a:lnTo>
                    <a:pt x="1374" y="589"/>
                  </a:lnTo>
                  <a:lnTo>
                    <a:pt x="1372" y="591"/>
                  </a:lnTo>
                  <a:lnTo>
                    <a:pt x="1372" y="591"/>
                  </a:lnTo>
                  <a:lnTo>
                    <a:pt x="1369" y="595"/>
                  </a:lnTo>
                  <a:lnTo>
                    <a:pt x="1369" y="595"/>
                  </a:lnTo>
                  <a:lnTo>
                    <a:pt x="1369" y="600"/>
                  </a:lnTo>
                  <a:lnTo>
                    <a:pt x="1369" y="600"/>
                  </a:lnTo>
                  <a:lnTo>
                    <a:pt x="1369" y="601"/>
                  </a:lnTo>
                  <a:lnTo>
                    <a:pt x="1369" y="601"/>
                  </a:lnTo>
                  <a:lnTo>
                    <a:pt x="1370" y="603"/>
                  </a:lnTo>
                  <a:lnTo>
                    <a:pt x="1372" y="604"/>
                  </a:lnTo>
                  <a:lnTo>
                    <a:pt x="1372" y="604"/>
                  </a:lnTo>
                  <a:lnTo>
                    <a:pt x="1374" y="603"/>
                  </a:lnTo>
                  <a:lnTo>
                    <a:pt x="1374" y="603"/>
                  </a:lnTo>
                  <a:lnTo>
                    <a:pt x="1377" y="600"/>
                  </a:lnTo>
                  <a:lnTo>
                    <a:pt x="1377" y="600"/>
                  </a:lnTo>
                  <a:lnTo>
                    <a:pt x="1380" y="600"/>
                  </a:lnTo>
                  <a:lnTo>
                    <a:pt x="1380" y="600"/>
                  </a:lnTo>
                  <a:lnTo>
                    <a:pt x="1380" y="600"/>
                  </a:lnTo>
                  <a:lnTo>
                    <a:pt x="1382" y="601"/>
                  </a:lnTo>
                  <a:lnTo>
                    <a:pt x="1382" y="601"/>
                  </a:lnTo>
                  <a:lnTo>
                    <a:pt x="1386" y="607"/>
                  </a:lnTo>
                  <a:lnTo>
                    <a:pt x="1393" y="611"/>
                  </a:lnTo>
                  <a:lnTo>
                    <a:pt x="1393" y="611"/>
                  </a:lnTo>
                  <a:lnTo>
                    <a:pt x="1399" y="616"/>
                  </a:lnTo>
                  <a:lnTo>
                    <a:pt x="1408" y="617"/>
                  </a:lnTo>
                  <a:lnTo>
                    <a:pt x="1408" y="617"/>
                  </a:lnTo>
                  <a:lnTo>
                    <a:pt x="1418" y="617"/>
                  </a:lnTo>
                  <a:lnTo>
                    <a:pt x="1418" y="617"/>
                  </a:lnTo>
                  <a:lnTo>
                    <a:pt x="1427" y="617"/>
                  </a:lnTo>
                  <a:lnTo>
                    <a:pt x="1427" y="617"/>
                  </a:lnTo>
                  <a:lnTo>
                    <a:pt x="1429" y="618"/>
                  </a:lnTo>
                  <a:lnTo>
                    <a:pt x="1432" y="620"/>
                  </a:lnTo>
                  <a:lnTo>
                    <a:pt x="1432" y="620"/>
                  </a:lnTo>
                  <a:lnTo>
                    <a:pt x="1432" y="621"/>
                  </a:lnTo>
                  <a:lnTo>
                    <a:pt x="1432" y="621"/>
                  </a:lnTo>
                  <a:lnTo>
                    <a:pt x="1440" y="639"/>
                  </a:lnTo>
                  <a:lnTo>
                    <a:pt x="1440" y="639"/>
                  </a:lnTo>
                  <a:lnTo>
                    <a:pt x="1444" y="646"/>
                  </a:lnTo>
                  <a:lnTo>
                    <a:pt x="1444" y="646"/>
                  </a:lnTo>
                  <a:lnTo>
                    <a:pt x="1445" y="649"/>
                  </a:lnTo>
                  <a:lnTo>
                    <a:pt x="1445" y="649"/>
                  </a:lnTo>
                  <a:lnTo>
                    <a:pt x="1447" y="650"/>
                  </a:lnTo>
                  <a:lnTo>
                    <a:pt x="1447" y="650"/>
                  </a:lnTo>
                  <a:lnTo>
                    <a:pt x="1448" y="650"/>
                  </a:lnTo>
                  <a:lnTo>
                    <a:pt x="1448" y="650"/>
                  </a:lnTo>
                  <a:lnTo>
                    <a:pt x="1451" y="650"/>
                  </a:lnTo>
                  <a:lnTo>
                    <a:pt x="1451" y="650"/>
                  </a:lnTo>
                  <a:lnTo>
                    <a:pt x="1451" y="649"/>
                  </a:lnTo>
                  <a:lnTo>
                    <a:pt x="1451" y="649"/>
                  </a:lnTo>
                  <a:lnTo>
                    <a:pt x="1454" y="643"/>
                  </a:lnTo>
                  <a:lnTo>
                    <a:pt x="1456" y="639"/>
                  </a:lnTo>
                  <a:lnTo>
                    <a:pt x="1456" y="639"/>
                  </a:lnTo>
                  <a:lnTo>
                    <a:pt x="1454" y="631"/>
                  </a:lnTo>
                  <a:lnTo>
                    <a:pt x="1451" y="626"/>
                  </a:lnTo>
                  <a:lnTo>
                    <a:pt x="1451" y="626"/>
                  </a:lnTo>
                  <a:lnTo>
                    <a:pt x="1444" y="617"/>
                  </a:lnTo>
                  <a:lnTo>
                    <a:pt x="1444" y="617"/>
                  </a:lnTo>
                  <a:lnTo>
                    <a:pt x="1443" y="614"/>
                  </a:lnTo>
                  <a:lnTo>
                    <a:pt x="1443" y="614"/>
                  </a:lnTo>
                  <a:lnTo>
                    <a:pt x="1441" y="611"/>
                  </a:lnTo>
                  <a:lnTo>
                    <a:pt x="1441" y="611"/>
                  </a:lnTo>
                  <a:lnTo>
                    <a:pt x="1441" y="611"/>
                  </a:lnTo>
                  <a:lnTo>
                    <a:pt x="1447" y="605"/>
                  </a:lnTo>
                  <a:lnTo>
                    <a:pt x="1447" y="605"/>
                  </a:lnTo>
                  <a:lnTo>
                    <a:pt x="1456" y="592"/>
                  </a:lnTo>
                  <a:lnTo>
                    <a:pt x="1460" y="584"/>
                  </a:lnTo>
                  <a:lnTo>
                    <a:pt x="1464" y="575"/>
                  </a:lnTo>
                  <a:lnTo>
                    <a:pt x="1464" y="575"/>
                  </a:lnTo>
                  <a:lnTo>
                    <a:pt x="1471" y="558"/>
                  </a:lnTo>
                  <a:lnTo>
                    <a:pt x="1471" y="558"/>
                  </a:lnTo>
                  <a:lnTo>
                    <a:pt x="1474" y="549"/>
                  </a:lnTo>
                  <a:lnTo>
                    <a:pt x="1476" y="542"/>
                  </a:lnTo>
                  <a:lnTo>
                    <a:pt x="1476" y="542"/>
                  </a:lnTo>
                  <a:lnTo>
                    <a:pt x="1474" y="537"/>
                  </a:lnTo>
                  <a:lnTo>
                    <a:pt x="1474" y="537"/>
                  </a:lnTo>
                  <a:lnTo>
                    <a:pt x="1471" y="530"/>
                  </a:lnTo>
                  <a:lnTo>
                    <a:pt x="1471" y="530"/>
                  </a:lnTo>
                  <a:lnTo>
                    <a:pt x="1470" y="529"/>
                  </a:lnTo>
                  <a:lnTo>
                    <a:pt x="1470" y="529"/>
                  </a:lnTo>
                  <a:lnTo>
                    <a:pt x="1470" y="529"/>
                  </a:lnTo>
                  <a:lnTo>
                    <a:pt x="1470" y="527"/>
                  </a:lnTo>
                  <a:lnTo>
                    <a:pt x="1470" y="527"/>
                  </a:lnTo>
                  <a:lnTo>
                    <a:pt x="1470" y="527"/>
                  </a:lnTo>
                  <a:lnTo>
                    <a:pt x="1470" y="527"/>
                  </a:lnTo>
                  <a:lnTo>
                    <a:pt x="1470" y="527"/>
                  </a:lnTo>
                  <a:lnTo>
                    <a:pt x="1470" y="527"/>
                  </a:lnTo>
                  <a:lnTo>
                    <a:pt x="1470" y="527"/>
                  </a:lnTo>
                  <a:lnTo>
                    <a:pt x="1471" y="526"/>
                  </a:lnTo>
                  <a:lnTo>
                    <a:pt x="1471" y="526"/>
                  </a:lnTo>
                  <a:lnTo>
                    <a:pt x="1486" y="513"/>
                  </a:lnTo>
                  <a:lnTo>
                    <a:pt x="1486" y="513"/>
                  </a:lnTo>
                  <a:lnTo>
                    <a:pt x="1495" y="508"/>
                  </a:lnTo>
                  <a:lnTo>
                    <a:pt x="1495" y="508"/>
                  </a:lnTo>
                  <a:lnTo>
                    <a:pt x="1500" y="505"/>
                  </a:lnTo>
                  <a:lnTo>
                    <a:pt x="1500" y="505"/>
                  </a:lnTo>
                  <a:lnTo>
                    <a:pt x="1500" y="505"/>
                  </a:lnTo>
                  <a:lnTo>
                    <a:pt x="1500" y="505"/>
                  </a:lnTo>
                  <a:lnTo>
                    <a:pt x="1500" y="505"/>
                  </a:lnTo>
                  <a:lnTo>
                    <a:pt x="1500" y="505"/>
                  </a:lnTo>
                  <a:lnTo>
                    <a:pt x="1500" y="505"/>
                  </a:lnTo>
                  <a:lnTo>
                    <a:pt x="1500" y="505"/>
                  </a:lnTo>
                  <a:lnTo>
                    <a:pt x="1503" y="508"/>
                  </a:lnTo>
                  <a:lnTo>
                    <a:pt x="1503" y="508"/>
                  </a:lnTo>
                  <a:lnTo>
                    <a:pt x="1506" y="520"/>
                  </a:lnTo>
                  <a:lnTo>
                    <a:pt x="1509" y="532"/>
                  </a:lnTo>
                  <a:lnTo>
                    <a:pt x="1509" y="532"/>
                  </a:lnTo>
                  <a:lnTo>
                    <a:pt x="1509" y="537"/>
                  </a:lnTo>
                  <a:lnTo>
                    <a:pt x="1509" y="537"/>
                  </a:lnTo>
                  <a:lnTo>
                    <a:pt x="1509" y="562"/>
                  </a:lnTo>
                  <a:lnTo>
                    <a:pt x="1509" y="562"/>
                  </a:lnTo>
                  <a:lnTo>
                    <a:pt x="1509" y="569"/>
                  </a:lnTo>
                  <a:lnTo>
                    <a:pt x="1509" y="569"/>
                  </a:lnTo>
                  <a:lnTo>
                    <a:pt x="1509" y="572"/>
                  </a:lnTo>
                  <a:lnTo>
                    <a:pt x="1509" y="572"/>
                  </a:lnTo>
                  <a:lnTo>
                    <a:pt x="1511" y="575"/>
                  </a:lnTo>
                  <a:lnTo>
                    <a:pt x="1511" y="575"/>
                  </a:lnTo>
                  <a:lnTo>
                    <a:pt x="1511" y="575"/>
                  </a:lnTo>
                  <a:lnTo>
                    <a:pt x="1511" y="575"/>
                  </a:lnTo>
                  <a:lnTo>
                    <a:pt x="1515" y="581"/>
                  </a:lnTo>
                  <a:lnTo>
                    <a:pt x="1515" y="581"/>
                  </a:lnTo>
                  <a:lnTo>
                    <a:pt x="1516" y="582"/>
                  </a:lnTo>
                  <a:lnTo>
                    <a:pt x="1516" y="582"/>
                  </a:lnTo>
                  <a:lnTo>
                    <a:pt x="1519" y="584"/>
                  </a:lnTo>
                  <a:lnTo>
                    <a:pt x="1519" y="584"/>
                  </a:lnTo>
                  <a:lnTo>
                    <a:pt x="1522" y="582"/>
                  </a:lnTo>
                  <a:lnTo>
                    <a:pt x="1522" y="582"/>
                  </a:lnTo>
                  <a:lnTo>
                    <a:pt x="1527" y="578"/>
                  </a:lnTo>
                  <a:lnTo>
                    <a:pt x="1527" y="578"/>
                  </a:lnTo>
                  <a:lnTo>
                    <a:pt x="1532" y="576"/>
                  </a:lnTo>
                  <a:lnTo>
                    <a:pt x="1532" y="576"/>
                  </a:lnTo>
                  <a:lnTo>
                    <a:pt x="1538" y="575"/>
                  </a:lnTo>
                  <a:lnTo>
                    <a:pt x="1538" y="575"/>
                  </a:lnTo>
                  <a:lnTo>
                    <a:pt x="1542" y="574"/>
                  </a:lnTo>
                  <a:lnTo>
                    <a:pt x="1542" y="574"/>
                  </a:lnTo>
                  <a:lnTo>
                    <a:pt x="1544" y="574"/>
                  </a:lnTo>
                  <a:lnTo>
                    <a:pt x="1544" y="574"/>
                  </a:lnTo>
                  <a:lnTo>
                    <a:pt x="1544" y="571"/>
                  </a:lnTo>
                  <a:lnTo>
                    <a:pt x="1544" y="571"/>
                  </a:lnTo>
                  <a:lnTo>
                    <a:pt x="1544" y="569"/>
                  </a:lnTo>
                  <a:lnTo>
                    <a:pt x="1544" y="569"/>
                  </a:lnTo>
                  <a:lnTo>
                    <a:pt x="1541" y="566"/>
                  </a:lnTo>
                  <a:lnTo>
                    <a:pt x="1541" y="566"/>
                  </a:lnTo>
                  <a:lnTo>
                    <a:pt x="1535" y="563"/>
                  </a:lnTo>
                  <a:lnTo>
                    <a:pt x="1531" y="562"/>
                  </a:lnTo>
                  <a:lnTo>
                    <a:pt x="1531" y="562"/>
                  </a:lnTo>
                  <a:lnTo>
                    <a:pt x="1529" y="558"/>
                  </a:lnTo>
                  <a:lnTo>
                    <a:pt x="1528" y="552"/>
                  </a:lnTo>
                  <a:lnTo>
                    <a:pt x="1528" y="552"/>
                  </a:lnTo>
                  <a:lnTo>
                    <a:pt x="1528" y="549"/>
                  </a:lnTo>
                  <a:lnTo>
                    <a:pt x="1528" y="549"/>
                  </a:lnTo>
                  <a:lnTo>
                    <a:pt x="1529" y="542"/>
                  </a:lnTo>
                  <a:lnTo>
                    <a:pt x="1534" y="537"/>
                  </a:lnTo>
                  <a:lnTo>
                    <a:pt x="1534" y="537"/>
                  </a:lnTo>
                  <a:lnTo>
                    <a:pt x="1537" y="534"/>
                  </a:lnTo>
                  <a:lnTo>
                    <a:pt x="1537" y="534"/>
                  </a:lnTo>
                  <a:lnTo>
                    <a:pt x="1538" y="532"/>
                  </a:lnTo>
                  <a:lnTo>
                    <a:pt x="1540" y="529"/>
                  </a:lnTo>
                  <a:lnTo>
                    <a:pt x="1540" y="529"/>
                  </a:lnTo>
                  <a:lnTo>
                    <a:pt x="1538" y="526"/>
                  </a:lnTo>
                  <a:lnTo>
                    <a:pt x="1538" y="526"/>
                  </a:lnTo>
                  <a:lnTo>
                    <a:pt x="1532" y="513"/>
                  </a:lnTo>
                  <a:lnTo>
                    <a:pt x="1532" y="513"/>
                  </a:lnTo>
                  <a:lnTo>
                    <a:pt x="1527" y="501"/>
                  </a:lnTo>
                  <a:lnTo>
                    <a:pt x="1527" y="501"/>
                  </a:lnTo>
                  <a:lnTo>
                    <a:pt x="1524" y="491"/>
                  </a:lnTo>
                  <a:lnTo>
                    <a:pt x="1524" y="491"/>
                  </a:lnTo>
                  <a:lnTo>
                    <a:pt x="1521" y="487"/>
                  </a:lnTo>
                  <a:lnTo>
                    <a:pt x="1516" y="482"/>
                  </a:lnTo>
                  <a:lnTo>
                    <a:pt x="1516" y="482"/>
                  </a:lnTo>
                  <a:lnTo>
                    <a:pt x="1509" y="481"/>
                  </a:lnTo>
                  <a:lnTo>
                    <a:pt x="1502" y="481"/>
                  </a:lnTo>
                  <a:lnTo>
                    <a:pt x="1502" y="481"/>
                  </a:lnTo>
                  <a:lnTo>
                    <a:pt x="1487" y="482"/>
                  </a:lnTo>
                  <a:lnTo>
                    <a:pt x="1487" y="482"/>
                  </a:lnTo>
                  <a:lnTo>
                    <a:pt x="1483" y="484"/>
                  </a:lnTo>
                  <a:lnTo>
                    <a:pt x="1480" y="485"/>
                  </a:lnTo>
                  <a:lnTo>
                    <a:pt x="1480" y="485"/>
                  </a:lnTo>
                  <a:lnTo>
                    <a:pt x="1476" y="488"/>
                  </a:lnTo>
                  <a:lnTo>
                    <a:pt x="1476" y="488"/>
                  </a:lnTo>
                  <a:lnTo>
                    <a:pt x="1471" y="490"/>
                  </a:lnTo>
                  <a:lnTo>
                    <a:pt x="1470" y="490"/>
                  </a:lnTo>
                  <a:lnTo>
                    <a:pt x="1470" y="490"/>
                  </a:lnTo>
                  <a:lnTo>
                    <a:pt x="1469" y="491"/>
                  </a:lnTo>
                  <a:lnTo>
                    <a:pt x="1469" y="491"/>
                  </a:lnTo>
                  <a:lnTo>
                    <a:pt x="1469" y="491"/>
                  </a:lnTo>
                  <a:lnTo>
                    <a:pt x="1467" y="491"/>
                  </a:lnTo>
                  <a:lnTo>
                    <a:pt x="1467" y="491"/>
                  </a:lnTo>
                  <a:lnTo>
                    <a:pt x="1466" y="490"/>
                  </a:lnTo>
                  <a:lnTo>
                    <a:pt x="1466" y="490"/>
                  </a:lnTo>
                  <a:lnTo>
                    <a:pt x="1464" y="481"/>
                  </a:lnTo>
                  <a:lnTo>
                    <a:pt x="1464" y="481"/>
                  </a:lnTo>
                  <a:lnTo>
                    <a:pt x="1464" y="469"/>
                  </a:lnTo>
                  <a:lnTo>
                    <a:pt x="1464" y="469"/>
                  </a:lnTo>
                  <a:lnTo>
                    <a:pt x="1466" y="443"/>
                  </a:lnTo>
                  <a:lnTo>
                    <a:pt x="1466" y="443"/>
                  </a:lnTo>
                  <a:lnTo>
                    <a:pt x="1469" y="423"/>
                  </a:lnTo>
                  <a:lnTo>
                    <a:pt x="1469" y="423"/>
                  </a:lnTo>
                  <a:lnTo>
                    <a:pt x="1469" y="423"/>
                  </a:lnTo>
                  <a:lnTo>
                    <a:pt x="1469" y="421"/>
                  </a:lnTo>
                  <a:lnTo>
                    <a:pt x="1469" y="421"/>
                  </a:lnTo>
                  <a:lnTo>
                    <a:pt x="1471" y="417"/>
                  </a:lnTo>
                  <a:lnTo>
                    <a:pt x="1471" y="417"/>
                  </a:lnTo>
                  <a:lnTo>
                    <a:pt x="1473" y="411"/>
                  </a:lnTo>
                  <a:lnTo>
                    <a:pt x="1473" y="411"/>
                  </a:lnTo>
                  <a:lnTo>
                    <a:pt x="1471" y="408"/>
                  </a:lnTo>
                  <a:lnTo>
                    <a:pt x="1470" y="407"/>
                  </a:lnTo>
                  <a:lnTo>
                    <a:pt x="1470" y="407"/>
                  </a:lnTo>
                  <a:lnTo>
                    <a:pt x="1467" y="401"/>
                  </a:lnTo>
                  <a:lnTo>
                    <a:pt x="1467" y="401"/>
                  </a:lnTo>
                  <a:lnTo>
                    <a:pt x="1458" y="391"/>
                  </a:lnTo>
                  <a:lnTo>
                    <a:pt x="1458" y="391"/>
                  </a:lnTo>
                  <a:lnTo>
                    <a:pt x="1454" y="387"/>
                  </a:lnTo>
                  <a:lnTo>
                    <a:pt x="1454" y="387"/>
                  </a:lnTo>
                  <a:lnTo>
                    <a:pt x="1454" y="382"/>
                  </a:lnTo>
                  <a:lnTo>
                    <a:pt x="1454" y="381"/>
                  </a:lnTo>
                  <a:lnTo>
                    <a:pt x="1454" y="381"/>
                  </a:lnTo>
                  <a:lnTo>
                    <a:pt x="1458" y="372"/>
                  </a:lnTo>
                  <a:lnTo>
                    <a:pt x="1458" y="372"/>
                  </a:lnTo>
                  <a:lnTo>
                    <a:pt x="1461" y="368"/>
                  </a:lnTo>
                  <a:lnTo>
                    <a:pt x="1461" y="362"/>
                  </a:lnTo>
                  <a:lnTo>
                    <a:pt x="1461" y="362"/>
                  </a:lnTo>
                  <a:lnTo>
                    <a:pt x="1464" y="358"/>
                  </a:lnTo>
                  <a:lnTo>
                    <a:pt x="1464" y="358"/>
                  </a:lnTo>
                  <a:lnTo>
                    <a:pt x="1473" y="349"/>
                  </a:lnTo>
                  <a:lnTo>
                    <a:pt x="1473" y="349"/>
                  </a:lnTo>
                  <a:lnTo>
                    <a:pt x="1479" y="343"/>
                  </a:lnTo>
                  <a:lnTo>
                    <a:pt x="1479" y="343"/>
                  </a:lnTo>
                  <a:lnTo>
                    <a:pt x="1480" y="342"/>
                  </a:lnTo>
                  <a:lnTo>
                    <a:pt x="1480" y="339"/>
                  </a:lnTo>
                  <a:lnTo>
                    <a:pt x="1480" y="339"/>
                  </a:lnTo>
                  <a:lnTo>
                    <a:pt x="1482" y="322"/>
                  </a:lnTo>
                  <a:lnTo>
                    <a:pt x="1482" y="322"/>
                  </a:lnTo>
                  <a:lnTo>
                    <a:pt x="1483" y="311"/>
                  </a:lnTo>
                  <a:lnTo>
                    <a:pt x="1483" y="311"/>
                  </a:lnTo>
                  <a:lnTo>
                    <a:pt x="1483" y="308"/>
                  </a:lnTo>
                  <a:lnTo>
                    <a:pt x="1483" y="308"/>
                  </a:lnTo>
                  <a:lnTo>
                    <a:pt x="1483" y="308"/>
                  </a:lnTo>
                  <a:lnTo>
                    <a:pt x="1482" y="308"/>
                  </a:lnTo>
                  <a:lnTo>
                    <a:pt x="1483" y="308"/>
                  </a:lnTo>
                  <a:lnTo>
                    <a:pt x="1483" y="308"/>
                  </a:lnTo>
                  <a:lnTo>
                    <a:pt x="1482" y="308"/>
                  </a:lnTo>
                  <a:lnTo>
                    <a:pt x="1483" y="308"/>
                  </a:lnTo>
                  <a:lnTo>
                    <a:pt x="1482" y="307"/>
                  </a:lnTo>
                  <a:lnTo>
                    <a:pt x="1483" y="308"/>
                  </a:lnTo>
                  <a:lnTo>
                    <a:pt x="1483" y="308"/>
                  </a:lnTo>
                  <a:lnTo>
                    <a:pt x="1482" y="307"/>
                  </a:lnTo>
                  <a:lnTo>
                    <a:pt x="1483" y="308"/>
                  </a:lnTo>
                  <a:lnTo>
                    <a:pt x="1482" y="307"/>
                  </a:lnTo>
                  <a:lnTo>
                    <a:pt x="1482" y="308"/>
                  </a:lnTo>
                  <a:lnTo>
                    <a:pt x="1483" y="308"/>
                  </a:lnTo>
                  <a:lnTo>
                    <a:pt x="1482" y="307"/>
                  </a:lnTo>
                  <a:lnTo>
                    <a:pt x="1482" y="308"/>
                  </a:lnTo>
                  <a:lnTo>
                    <a:pt x="1482" y="308"/>
                  </a:lnTo>
                  <a:lnTo>
                    <a:pt x="1482" y="308"/>
                  </a:lnTo>
                  <a:lnTo>
                    <a:pt x="1482" y="308"/>
                  </a:lnTo>
                  <a:lnTo>
                    <a:pt x="1482" y="308"/>
                  </a:lnTo>
                  <a:lnTo>
                    <a:pt x="1482" y="308"/>
                  </a:lnTo>
                  <a:lnTo>
                    <a:pt x="1482" y="308"/>
                  </a:lnTo>
                  <a:lnTo>
                    <a:pt x="1482" y="308"/>
                  </a:lnTo>
                  <a:lnTo>
                    <a:pt x="1482" y="308"/>
                  </a:lnTo>
                  <a:lnTo>
                    <a:pt x="1482" y="308"/>
                  </a:lnTo>
                  <a:lnTo>
                    <a:pt x="1482" y="308"/>
                  </a:lnTo>
                  <a:lnTo>
                    <a:pt x="1482" y="308"/>
                  </a:lnTo>
                  <a:lnTo>
                    <a:pt x="1483" y="310"/>
                  </a:lnTo>
                  <a:lnTo>
                    <a:pt x="1483" y="310"/>
                  </a:lnTo>
                  <a:lnTo>
                    <a:pt x="1489" y="317"/>
                  </a:lnTo>
                  <a:lnTo>
                    <a:pt x="1489" y="317"/>
                  </a:lnTo>
                  <a:lnTo>
                    <a:pt x="1489" y="319"/>
                  </a:lnTo>
                  <a:lnTo>
                    <a:pt x="1489" y="319"/>
                  </a:lnTo>
                  <a:lnTo>
                    <a:pt x="1490" y="335"/>
                  </a:lnTo>
                  <a:lnTo>
                    <a:pt x="1490" y="335"/>
                  </a:lnTo>
                  <a:lnTo>
                    <a:pt x="1489" y="356"/>
                  </a:lnTo>
                  <a:lnTo>
                    <a:pt x="1489" y="372"/>
                  </a:lnTo>
                  <a:lnTo>
                    <a:pt x="1489" y="372"/>
                  </a:lnTo>
                  <a:lnTo>
                    <a:pt x="1487" y="375"/>
                  </a:lnTo>
                  <a:lnTo>
                    <a:pt x="1487" y="375"/>
                  </a:lnTo>
                  <a:lnTo>
                    <a:pt x="1489" y="379"/>
                  </a:lnTo>
                  <a:lnTo>
                    <a:pt x="1490" y="384"/>
                  </a:lnTo>
                  <a:lnTo>
                    <a:pt x="1490" y="384"/>
                  </a:lnTo>
                  <a:lnTo>
                    <a:pt x="1493" y="387"/>
                  </a:lnTo>
                  <a:lnTo>
                    <a:pt x="1498" y="388"/>
                  </a:lnTo>
                  <a:lnTo>
                    <a:pt x="1498" y="388"/>
                  </a:lnTo>
                  <a:lnTo>
                    <a:pt x="1498" y="388"/>
                  </a:lnTo>
                  <a:lnTo>
                    <a:pt x="1506" y="387"/>
                  </a:lnTo>
                  <a:lnTo>
                    <a:pt x="1516" y="385"/>
                  </a:lnTo>
                  <a:lnTo>
                    <a:pt x="1518" y="384"/>
                  </a:lnTo>
                  <a:lnTo>
                    <a:pt x="1518" y="384"/>
                  </a:lnTo>
                  <a:lnTo>
                    <a:pt x="1521" y="385"/>
                  </a:lnTo>
                  <a:lnTo>
                    <a:pt x="1524" y="387"/>
                  </a:lnTo>
                  <a:lnTo>
                    <a:pt x="1524" y="387"/>
                  </a:lnTo>
                  <a:lnTo>
                    <a:pt x="1528" y="390"/>
                  </a:lnTo>
                  <a:lnTo>
                    <a:pt x="1528" y="390"/>
                  </a:lnTo>
                  <a:lnTo>
                    <a:pt x="1531" y="391"/>
                  </a:lnTo>
                  <a:lnTo>
                    <a:pt x="1531" y="391"/>
                  </a:lnTo>
                  <a:lnTo>
                    <a:pt x="1534" y="391"/>
                  </a:lnTo>
                  <a:lnTo>
                    <a:pt x="1535" y="390"/>
                  </a:lnTo>
                  <a:lnTo>
                    <a:pt x="1535" y="390"/>
                  </a:lnTo>
                  <a:lnTo>
                    <a:pt x="1537" y="385"/>
                  </a:lnTo>
                  <a:lnTo>
                    <a:pt x="1538" y="379"/>
                  </a:lnTo>
                  <a:lnTo>
                    <a:pt x="1538" y="379"/>
                  </a:lnTo>
                  <a:lnTo>
                    <a:pt x="1537" y="374"/>
                  </a:lnTo>
                  <a:lnTo>
                    <a:pt x="1535" y="369"/>
                  </a:lnTo>
                  <a:lnTo>
                    <a:pt x="1535" y="369"/>
                  </a:lnTo>
                  <a:lnTo>
                    <a:pt x="1531" y="365"/>
                  </a:lnTo>
                  <a:lnTo>
                    <a:pt x="1531" y="365"/>
                  </a:lnTo>
                  <a:lnTo>
                    <a:pt x="1524" y="362"/>
                  </a:lnTo>
                  <a:lnTo>
                    <a:pt x="1524" y="362"/>
                  </a:lnTo>
                  <a:lnTo>
                    <a:pt x="1516" y="361"/>
                  </a:lnTo>
                  <a:lnTo>
                    <a:pt x="1516" y="361"/>
                  </a:lnTo>
                  <a:lnTo>
                    <a:pt x="1513" y="358"/>
                  </a:lnTo>
                  <a:lnTo>
                    <a:pt x="1513" y="358"/>
                  </a:lnTo>
                  <a:lnTo>
                    <a:pt x="1508" y="352"/>
                  </a:lnTo>
                  <a:lnTo>
                    <a:pt x="1508" y="352"/>
                  </a:lnTo>
                  <a:lnTo>
                    <a:pt x="1505" y="345"/>
                  </a:lnTo>
                  <a:lnTo>
                    <a:pt x="1505" y="345"/>
                  </a:lnTo>
                  <a:lnTo>
                    <a:pt x="1505" y="342"/>
                  </a:lnTo>
                  <a:lnTo>
                    <a:pt x="1505" y="342"/>
                  </a:lnTo>
                  <a:lnTo>
                    <a:pt x="1505" y="333"/>
                  </a:lnTo>
                  <a:lnTo>
                    <a:pt x="1505" y="333"/>
                  </a:lnTo>
                  <a:lnTo>
                    <a:pt x="1505" y="329"/>
                  </a:lnTo>
                  <a:lnTo>
                    <a:pt x="1505" y="329"/>
                  </a:lnTo>
                  <a:lnTo>
                    <a:pt x="1503" y="329"/>
                  </a:lnTo>
                  <a:lnTo>
                    <a:pt x="1505" y="329"/>
                  </a:lnTo>
                  <a:lnTo>
                    <a:pt x="1505" y="329"/>
                  </a:lnTo>
                  <a:lnTo>
                    <a:pt x="1503" y="329"/>
                  </a:lnTo>
                  <a:lnTo>
                    <a:pt x="1505" y="329"/>
                  </a:lnTo>
                  <a:lnTo>
                    <a:pt x="1503" y="329"/>
                  </a:lnTo>
                  <a:lnTo>
                    <a:pt x="1505" y="330"/>
                  </a:lnTo>
                  <a:lnTo>
                    <a:pt x="1505" y="329"/>
                  </a:lnTo>
                  <a:lnTo>
                    <a:pt x="1503" y="329"/>
                  </a:lnTo>
                  <a:lnTo>
                    <a:pt x="1505" y="330"/>
                  </a:lnTo>
                  <a:lnTo>
                    <a:pt x="1503" y="330"/>
                  </a:lnTo>
                  <a:lnTo>
                    <a:pt x="1503" y="330"/>
                  </a:lnTo>
                  <a:lnTo>
                    <a:pt x="1505" y="330"/>
                  </a:lnTo>
                  <a:lnTo>
                    <a:pt x="1503" y="330"/>
                  </a:lnTo>
                  <a:lnTo>
                    <a:pt x="1503" y="330"/>
                  </a:lnTo>
                  <a:lnTo>
                    <a:pt x="1505" y="330"/>
                  </a:lnTo>
                  <a:lnTo>
                    <a:pt x="1505" y="330"/>
                  </a:lnTo>
                  <a:lnTo>
                    <a:pt x="1511" y="330"/>
                  </a:lnTo>
                  <a:lnTo>
                    <a:pt x="1511" y="330"/>
                  </a:lnTo>
                  <a:lnTo>
                    <a:pt x="1515" y="330"/>
                  </a:lnTo>
                  <a:lnTo>
                    <a:pt x="1515" y="330"/>
                  </a:lnTo>
                  <a:lnTo>
                    <a:pt x="1521" y="333"/>
                  </a:lnTo>
                  <a:lnTo>
                    <a:pt x="1521" y="333"/>
                  </a:lnTo>
                  <a:lnTo>
                    <a:pt x="1524" y="335"/>
                  </a:lnTo>
                  <a:lnTo>
                    <a:pt x="1524" y="335"/>
                  </a:lnTo>
                  <a:lnTo>
                    <a:pt x="1528" y="336"/>
                  </a:lnTo>
                  <a:lnTo>
                    <a:pt x="1528" y="336"/>
                  </a:lnTo>
                  <a:lnTo>
                    <a:pt x="1531" y="335"/>
                  </a:lnTo>
                  <a:lnTo>
                    <a:pt x="1532" y="335"/>
                  </a:lnTo>
                  <a:lnTo>
                    <a:pt x="1531" y="335"/>
                  </a:lnTo>
                  <a:lnTo>
                    <a:pt x="1531" y="335"/>
                  </a:lnTo>
                  <a:lnTo>
                    <a:pt x="1532" y="335"/>
                  </a:lnTo>
                  <a:lnTo>
                    <a:pt x="1531" y="335"/>
                  </a:lnTo>
                  <a:lnTo>
                    <a:pt x="1531" y="335"/>
                  </a:lnTo>
                  <a:lnTo>
                    <a:pt x="1531" y="333"/>
                  </a:lnTo>
                  <a:lnTo>
                    <a:pt x="1531" y="335"/>
                  </a:lnTo>
                  <a:lnTo>
                    <a:pt x="1531" y="335"/>
                  </a:lnTo>
                  <a:lnTo>
                    <a:pt x="1531" y="333"/>
                  </a:lnTo>
                  <a:lnTo>
                    <a:pt x="1531" y="335"/>
                  </a:lnTo>
                  <a:lnTo>
                    <a:pt x="1531" y="335"/>
                  </a:lnTo>
                  <a:lnTo>
                    <a:pt x="1531" y="335"/>
                  </a:lnTo>
                  <a:lnTo>
                    <a:pt x="1532" y="336"/>
                  </a:lnTo>
                  <a:lnTo>
                    <a:pt x="1532" y="336"/>
                  </a:lnTo>
                  <a:lnTo>
                    <a:pt x="1534" y="339"/>
                  </a:lnTo>
                  <a:lnTo>
                    <a:pt x="1534" y="339"/>
                  </a:lnTo>
                  <a:lnTo>
                    <a:pt x="1535" y="339"/>
                  </a:lnTo>
                  <a:lnTo>
                    <a:pt x="1535" y="339"/>
                  </a:lnTo>
                  <a:lnTo>
                    <a:pt x="1537" y="340"/>
                  </a:lnTo>
                  <a:lnTo>
                    <a:pt x="1537" y="340"/>
                  </a:lnTo>
                  <a:lnTo>
                    <a:pt x="1540" y="339"/>
                  </a:lnTo>
                  <a:lnTo>
                    <a:pt x="1540" y="339"/>
                  </a:lnTo>
                  <a:lnTo>
                    <a:pt x="1540" y="339"/>
                  </a:lnTo>
                  <a:lnTo>
                    <a:pt x="1542" y="335"/>
                  </a:lnTo>
                  <a:lnTo>
                    <a:pt x="1542" y="330"/>
                  </a:lnTo>
                  <a:lnTo>
                    <a:pt x="1542" y="330"/>
                  </a:lnTo>
                  <a:lnTo>
                    <a:pt x="1542" y="327"/>
                  </a:lnTo>
                  <a:lnTo>
                    <a:pt x="1542" y="327"/>
                  </a:lnTo>
                  <a:lnTo>
                    <a:pt x="1538" y="323"/>
                  </a:lnTo>
                  <a:lnTo>
                    <a:pt x="1538" y="323"/>
                  </a:lnTo>
                  <a:lnTo>
                    <a:pt x="1532" y="320"/>
                  </a:lnTo>
                  <a:lnTo>
                    <a:pt x="1532" y="320"/>
                  </a:lnTo>
                  <a:lnTo>
                    <a:pt x="1529" y="319"/>
                  </a:lnTo>
                  <a:lnTo>
                    <a:pt x="1529" y="319"/>
                  </a:lnTo>
                  <a:lnTo>
                    <a:pt x="1529" y="319"/>
                  </a:lnTo>
                  <a:lnTo>
                    <a:pt x="1529" y="319"/>
                  </a:lnTo>
                  <a:lnTo>
                    <a:pt x="1529" y="319"/>
                  </a:lnTo>
                  <a:lnTo>
                    <a:pt x="1529" y="319"/>
                  </a:lnTo>
                  <a:lnTo>
                    <a:pt x="1529" y="319"/>
                  </a:lnTo>
                  <a:lnTo>
                    <a:pt x="1529" y="319"/>
                  </a:lnTo>
                  <a:lnTo>
                    <a:pt x="1529" y="319"/>
                  </a:lnTo>
                  <a:lnTo>
                    <a:pt x="1529" y="319"/>
                  </a:lnTo>
                  <a:lnTo>
                    <a:pt x="1529" y="319"/>
                  </a:lnTo>
                  <a:lnTo>
                    <a:pt x="1529" y="319"/>
                  </a:lnTo>
                  <a:lnTo>
                    <a:pt x="1529" y="319"/>
                  </a:lnTo>
                  <a:lnTo>
                    <a:pt x="1529" y="319"/>
                  </a:lnTo>
                  <a:lnTo>
                    <a:pt x="1532" y="317"/>
                  </a:lnTo>
                  <a:lnTo>
                    <a:pt x="1532" y="317"/>
                  </a:lnTo>
                  <a:lnTo>
                    <a:pt x="1538" y="311"/>
                  </a:lnTo>
                  <a:lnTo>
                    <a:pt x="1538" y="311"/>
                  </a:lnTo>
                  <a:lnTo>
                    <a:pt x="1544" y="307"/>
                  </a:lnTo>
                  <a:lnTo>
                    <a:pt x="1544" y="307"/>
                  </a:lnTo>
                  <a:lnTo>
                    <a:pt x="1545" y="307"/>
                  </a:lnTo>
                  <a:lnTo>
                    <a:pt x="1545" y="307"/>
                  </a:lnTo>
                  <a:lnTo>
                    <a:pt x="1551" y="308"/>
                  </a:lnTo>
                  <a:lnTo>
                    <a:pt x="1551" y="308"/>
                  </a:lnTo>
                  <a:lnTo>
                    <a:pt x="1553" y="311"/>
                  </a:lnTo>
                  <a:lnTo>
                    <a:pt x="1554" y="314"/>
                  </a:lnTo>
                  <a:lnTo>
                    <a:pt x="1554" y="314"/>
                  </a:lnTo>
                  <a:lnTo>
                    <a:pt x="1564" y="339"/>
                  </a:lnTo>
                  <a:lnTo>
                    <a:pt x="1564" y="339"/>
                  </a:lnTo>
                  <a:lnTo>
                    <a:pt x="1571" y="352"/>
                  </a:lnTo>
                  <a:lnTo>
                    <a:pt x="1571" y="352"/>
                  </a:lnTo>
                  <a:lnTo>
                    <a:pt x="1574" y="358"/>
                  </a:lnTo>
                  <a:lnTo>
                    <a:pt x="1574" y="358"/>
                  </a:lnTo>
                  <a:lnTo>
                    <a:pt x="1579" y="361"/>
                  </a:lnTo>
                  <a:lnTo>
                    <a:pt x="1579" y="361"/>
                  </a:lnTo>
                  <a:lnTo>
                    <a:pt x="1586" y="364"/>
                  </a:lnTo>
                  <a:lnTo>
                    <a:pt x="1586" y="364"/>
                  </a:lnTo>
                  <a:lnTo>
                    <a:pt x="1602" y="368"/>
                  </a:lnTo>
                  <a:lnTo>
                    <a:pt x="1602" y="368"/>
                  </a:lnTo>
                  <a:lnTo>
                    <a:pt x="1608" y="371"/>
                  </a:lnTo>
                  <a:lnTo>
                    <a:pt x="1608" y="371"/>
                  </a:lnTo>
                  <a:lnTo>
                    <a:pt x="1609" y="371"/>
                  </a:lnTo>
                  <a:lnTo>
                    <a:pt x="1609" y="371"/>
                  </a:lnTo>
                  <a:lnTo>
                    <a:pt x="1611" y="371"/>
                  </a:lnTo>
                  <a:lnTo>
                    <a:pt x="1609" y="371"/>
                  </a:lnTo>
                  <a:lnTo>
                    <a:pt x="1609" y="371"/>
                  </a:lnTo>
                  <a:lnTo>
                    <a:pt x="1611" y="371"/>
                  </a:lnTo>
                  <a:lnTo>
                    <a:pt x="1609" y="371"/>
                  </a:lnTo>
                  <a:lnTo>
                    <a:pt x="1611" y="371"/>
                  </a:lnTo>
                  <a:lnTo>
                    <a:pt x="1609" y="371"/>
                  </a:lnTo>
                  <a:lnTo>
                    <a:pt x="1609" y="371"/>
                  </a:lnTo>
                  <a:lnTo>
                    <a:pt x="1611" y="371"/>
                  </a:lnTo>
                  <a:lnTo>
                    <a:pt x="1609" y="371"/>
                  </a:lnTo>
                  <a:lnTo>
                    <a:pt x="1611" y="371"/>
                  </a:lnTo>
                  <a:lnTo>
                    <a:pt x="1609" y="371"/>
                  </a:lnTo>
                  <a:lnTo>
                    <a:pt x="1609" y="371"/>
                  </a:lnTo>
                  <a:lnTo>
                    <a:pt x="1611" y="371"/>
                  </a:lnTo>
                  <a:lnTo>
                    <a:pt x="1609" y="371"/>
                  </a:lnTo>
                  <a:lnTo>
                    <a:pt x="1609" y="371"/>
                  </a:lnTo>
                  <a:lnTo>
                    <a:pt x="1609" y="371"/>
                  </a:lnTo>
                  <a:lnTo>
                    <a:pt x="1606" y="379"/>
                  </a:lnTo>
                  <a:lnTo>
                    <a:pt x="1606" y="379"/>
                  </a:lnTo>
                  <a:lnTo>
                    <a:pt x="1605" y="384"/>
                  </a:lnTo>
                  <a:lnTo>
                    <a:pt x="1603" y="388"/>
                  </a:lnTo>
                  <a:lnTo>
                    <a:pt x="1603" y="388"/>
                  </a:lnTo>
                  <a:lnTo>
                    <a:pt x="1597" y="397"/>
                  </a:lnTo>
                  <a:lnTo>
                    <a:pt x="1597" y="397"/>
                  </a:lnTo>
                  <a:lnTo>
                    <a:pt x="1595" y="401"/>
                  </a:lnTo>
                  <a:lnTo>
                    <a:pt x="1595" y="401"/>
                  </a:lnTo>
                  <a:lnTo>
                    <a:pt x="1593" y="404"/>
                  </a:lnTo>
                  <a:lnTo>
                    <a:pt x="1593" y="404"/>
                  </a:lnTo>
                  <a:lnTo>
                    <a:pt x="1593" y="406"/>
                  </a:lnTo>
                  <a:lnTo>
                    <a:pt x="1593" y="406"/>
                  </a:lnTo>
                  <a:lnTo>
                    <a:pt x="1593" y="407"/>
                  </a:lnTo>
                  <a:lnTo>
                    <a:pt x="1593" y="407"/>
                  </a:lnTo>
                  <a:lnTo>
                    <a:pt x="1596" y="408"/>
                  </a:lnTo>
                  <a:lnTo>
                    <a:pt x="1596" y="408"/>
                  </a:lnTo>
                  <a:lnTo>
                    <a:pt x="1597" y="408"/>
                  </a:lnTo>
                  <a:lnTo>
                    <a:pt x="1597" y="407"/>
                  </a:lnTo>
                  <a:lnTo>
                    <a:pt x="1597" y="407"/>
                  </a:lnTo>
                  <a:lnTo>
                    <a:pt x="1600" y="406"/>
                  </a:lnTo>
                  <a:lnTo>
                    <a:pt x="1603" y="406"/>
                  </a:lnTo>
                  <a:lnTo>
                    <a:pt x="1603" y="406"/>
                  </a:lnTo>
                  <a:lnTo>
                    <a:pt x="1605" y="406"/>
                  </a:lnTo>
                  <a:lnTo>
                    <a:pt x="1605" y="406"/>
                  </a:lnTo>
                  <a:lnTo>
                    <a:pt x="1605" y="406"/>
                  </a:lnTo>
                  <a:lnTo>
                    <a:pt x="1605" y="406"/>
                  </a:lnTo>
                  <a:lnTo>
                    <a:pt x="1605" y="406"/>
                  </a:lnTo>
                  <a:lnTo>
                    <a:pt x="1605" y="406"/>
                  </a:lnTo>
                  <a:lnTo>
                    <a:pt x="1605" y="406"/>
                  </a:lnTo>
                  <a:lnTo>
                    <a:pt x="1605" y="406"/>
                  </a:lnTo>
                  <a:lnTo>
                    <a:pt x="1605" y="406"/>
                  </a:lnTo>
                  <a:lnTo>
                    <a:pt x="1605" y="406"/>
                  </a:lnTo>
                  <a:lnTo>
                    <a:pt x="1605" y="406"/>
                  </a:lnTo>
                  <a:lnTo>
                    <a:pt x="1605" y="406"/>
                  </a:lnTo>
                  <a:lnTo>
                    <a:pt x="1605" y="407"/>
                  </a:lnTo>
                  <a:lnTo>
                    <a:pt x="1605" y="407"/>
                  </a:lnTo>
                  <a:lnTo>
                    <a:pt x="1606" y="414"/>
                  </a:lnTo>
                  <a:lnTo>
                    <a:pt x="1606" y="414"/>
                  </a:lnTo>
                  <a:lnTo>
                    <a:pt x="1608" y="417"/>
                  </a:lnTo>
                  <a:lnTo>
                    <a:pt x="1608" y="417"/>
                  </a:lnTo>
                  <a:lnTo>
                    <a:pt x="1609" y="419"/>
                  </a:lnTo>
                  <a:lnTo>
                    <a:pt x="1611" y="420"/>
                  </a:lnTo>
                  <a:lnTo>
                    <a:pt x="1611" y="420"/>
                  </a:lnTo>
                  <a:lnTo>
                    <a:pt x="1612" y="420"/>
                  </a:lnTo>
                  <a:lnTo>
                    <a:pt x="1612" y="420"/>
                  </a:lnTo>
                  <a:lnTo>
                    <a:pt x="1613" y="420"/>
                  </a:lnTo>
                  <a:lnTo>
                    <a:pt x="1613" y="420"/>
                  </a:lnTo>
                  <a:lnTo>
                    <a:pt x="1615" y="419"/>
                  </a:lnTo>
                  <a:lnTo>
                    <a:pt x="1615" y="419"/>
                  </a:lnTo>
                  <a:lnTo>
                    <a:pt x="1616" y="411"/>
                  </a:lnTo>
                  <a:lnTo>
                    <a:pt x="1616" y="411"/>
                  </a:lnTo>
                  <a:lnTo>
                    <a:pt x="1619" y="397"/>
                  </a:lnTo>
                  <a:lnTo>
                    <a:pt x="1619" y="397"/>
                  </a:lnTo>
                  <a:lnTo>
                    <a:pt x="1621" y="385"/>
                  </a:lnTo>
                  <a:lnTo>
                    <a:pt x="1621" y="385"/>
                  </a:lnTo>
                  <a:lnTo>
                    <a:pt x="1622" y="371"/>
                  </a:lnTo>
                  <a:lnTo>
                    <a:pt x="1622" y="371"/>
                  </a:lnTo>
                  <a:lnTo>
                    <a:pt x="1622" y="364"/>
                  </a:lnTo>
                  <a:lnTo>
                    <a:pt x="1622" y="364"/>
                  </a:lnTo>
                  <a:lnTo>
                    <a:pt x="1621" y="361"/>
                  </a:lnTo>
                  <a:lnTo>
                    <a:pt x="1619" y="358"/>
                  </a:lnTo>
                  <a:lnTo>
                    <a:pt x="1619" y="358"/>
                  </a:lnTo>
                  <a:lnTo>
                    <a:pt x="1612" y="353"/>
                  </a:lnTo>
                  <a:lnTo>
                    <a:pt x="1612" y="353"/>
                  </a:lnTo>
                  <a:lnTo>
                    <a:pt x="1609" y="352"/>
                  </a:lnTo>
                  <a:lnTo>
                    <a:pt x="1606" y="349"/>
                  </a:lnTo>
                  <a:lnTo>
                    <a:pt x="1606" y="349"/>
                  </a:lnTo>
                  <a:lnTo>
                    <a:pt x="1597" y="339"/>
                  </a:lnTo>
                  <a:lnTo>
                    <a:pt x="1593" y="335"/>
                  </a:lnTo>
                  <a:lnTo>
                    <a:pt x="1589" y="332"/>
                  </a:lnTo>
                  <a:lnTo>
                    <a:pt x="1589" y="332"/>
                  </a:lnTo>
                  <a:lnTo>
                    <a:pt x="1584" y="330"/>
                  </a:lnTo>
                  <a:lnTo>
                    <a:pt x="1583" y="327"/>
                  </a:lnTo>
                  <a:lnTo>
                    <a:pt x="1583" y="327"/>
                  </a:lnTo>
                  <a:lnTo>
                    <a:pt x="1577" y="317"/>
                  </a:lnTo>
                  <a:lnTo>
                    <a:pt x="1577" y="317"/>
                  </a:lnTo>
                  <a:lnTo>
                    <a:pt x="1574" y="308"/>
                  </a:lnTo>
                  <a:lnTo>
                    <a:pt x="1574" y="308"/>
                  </a:lnTo>
                  <a:lnTo>
                    <a:pt x="1573" y="301"/>
                  </a:lnTo>
                  <a:lnTo>
                    <a:pt x="1573" y="301"/>
                  </a:lnTo>
                  <a:lnTo>
                    <a:pt x="1574" y="297"/>
                  </a:lnTo>
                  <a:lnTo>
                    <a:pt x="1574" y="297"/>
                  </a:lnTo>
                  <a:lnTo>
                    <a:pt x="1576" y="288"/>
                  </a:lnTo>
                  <a:lnTo>
                    <a:pt x="1576" y="288"/>
                  </a:lnTo>
                  <a:lnTo>
                    <a:pt x="1576" y="275"/>
                  </a:lnTo>
                  <a:lnTo>
                    <a:pt x="1576" y="275"/>
                  </a:lnTo>
                  <a:lnTo>
                    <a:pt x="1577" y="271"/>
                  </a:lnTo>
                  <a:lnTo>
                    <a:pt x="1577" y="271"/>
                  </a:lnTo>
                  <a:lnTo>
                    <a:pt x="1579" y="268"/>
                  </a:lnTo>
                  <a:lnTo>
                    <a:pt x="1579" y="268"/>
                  </a:lnTo>
                  <a:lnTo>
                    <a:pt x="1582" y="266"/>
                  </a:lnTo>
                  <a:lnTo>
                    <a:pt x="1582" y="266"/>
                  </a:lnTo>
                  <a:lnTo>
                    <a:pt x="1593" y="265"/>
                  </a:lnTo>
                  <a:lnTo>
                    <a:pt x="1599" y="265"/>
                  </a:lnTo>
                  <a:lnTo>
                    <a:pt x="1608" y="262"/>
                  </a:lnTo>
                  <a:lnTo>
                    <a:pt x="1608" y="262"/>
                  </a:lnTo>
                  <a:lnTo>
                    <a:pt x="1616" y="258"/>
                  </a:lnTo>
                  <a:lnTo>
                    <a:pt x="1622" y="255"/>
                  </a:lnTo>
                  <a:lnTo>
                    <a:pt x="1622" y="255"/>
                  </a:lnTo>
                  <a:lnTo>
                    <a:pt x="1626" y="252"/>
                  </a:lnTo>
                  <a:lnTo>
                    <a:pt x="1632" y="251"/>
                  </a:lnTo>
                  <a:lnTo>
                    <a:pt x="1632" y="251"/>
                  </a:lnTo>
                  <a:lnTo>
                    <a:pt x="1639" y="249"/>
                  </a:lnTo>
                  <a:lnTo>
                    <a:pt x="1639" y="249"/>
                  </a:lnTo>
                  <a:lnTo>
                    <a:pt x="1642" y="246"/>
                  </a:lnTo>
                  <a:lnTo>
                    <a:pt x="1644" y="243"/>
                  </a:lnTo>
                  <a:lnTo>
                    <a:pt x="1644" y="243"/>
                  </a:lnTo>
                  <a:lnTo>
                    <a:pt x="1647" y="240"/>
                  </a:lnTo>
                  <a:lnTo>
                    <a:pt x="1647" y="240"/>
                  </a:lnTo>
                  <a:lnTo>
                    <a:pt x="1648" y="239"/>
                  </a:lnTo>
                  <a:lnTo>
                    <a:pt x="1648" y="236"/>
                  </a:lnTo>
                  <a:lnTo>
                    <a:pt x="1648" y="236"/>
                  </a:lnTo>
                  <a:lnTo>
                    <a:pt x="1648" y="235"/>
                  </a:lnTo>
                  <a:lnTo>
                    <a:pt x="1648" y="235"/>
                  </a:lnTo>
                  <a:lnTo>
                    <a:pt x="1645" y="232"/>
                  </a:lnTo>
                  <a:lnTo>
                    <a:pt x="1645" y="232"/>
                  </a:lnTo>
                  <a:lnTo>
                    <a:pt x="1642" y="230"/>
                  </a:lnTo>
                  <a:lnTo>
                    <a:pt x="1642" y="230"/>
                  </a:lnTo>
                  <a:lnTo>
                    <a:pt x="1641" y="227"/>
                  </a:lnTo>
                  <a:lnTo>
                    <a:pt x="1641" y="227"/>
                  </a:lnTo>
                  <a:lnTo>
                    <a:pt x="1641" y="219"/>
                  </a:lnTo>
                  <a:lnTo>
                    <a:pt x="1641" y="219"/>
                  </a:lnTo>
                  <a:lnTo>
                    <a:pt x="1642" y="214"/>
                  </a:lnTo>
                  <a:lnTo>
                    <a:pt x="1642" y="214"/>
                  </a:lnTo>
                  <a:lnTo>
                    <a:pt x="1645" y="211"/>
                  </a:lnTo>
                  <a:lnTo>
                    <a:pt x="1645" y="211"/>
                  </a:lnTo>
                  <a:lnTo>
                    <a:pt x="1650" y="209"/>
                  </a:lnTo>
                  <a:lnTo>
                    <a:pt x="1653" y="206"/>
                  </a:lnTo>
                  <a:lnTo>
                    <a:pt x="1653" y="206"/>
                  </a:lnTo>
                  <a:lnTo>
                    <a:pt x="1654" y="204"/>
                  </a:lnTo>
                  <a:lnTo>
                    <a:pt x="1657" y="201"/>
                  </a:lnTo>
                  <a:lnTo>
                    <a:pt x="1657" y="201"/>
                  </a:lnTo>
                  <a:lnTo>
                    <a:pt x="1667" y="194"/>
                  </a:lnTo>
                  <a:lnTo>
                    <a:pt x="1677" y="188"/>
                  </a:lnTo>
                  <a:lnTo>
                    <a:pt x="1677" y="188"/>
                  </a:lnTo>
                  <a:lnTo>
                    <a:pt x="1681" y="185"/>
                  </a:lnTo>
                  <a:lnTo>
                    <a:pt x="1681" y="185"/>
                  </a:lnTo>
                  <a:lnTo>
                    <a:pt x="1684" y="181"/>
                  </a:lnTo>
                  <a:lnTo>
                    <a:pt x="1684" y="181"/>
                  </a:lnTo>
                  <a:lnTo>
                    <a:pt x="1689" y="175"/>
                  </a:lnTo>
                  <a:lnTo>
                    <a:pt x="1689" y="175"/>
                  </a:lnTo>
                  <a:lnTo>
                    <a:pt x="1695" y="169"/>
                  </a:lnTo>
                  <a:lnTo>
                    <a:pt x="1699" y="162"/>
                  </a:lnTo>
                  <a:lnTo>
                    <a:pt x="1699" y="162"/>
                  </a:lnTo>
                  <a:lnTo>
                    <a:pt x="1705" y="153"/>
                  </a:lnTo>
                  <a:lnTo>
                    <a:pt x="1712" y="148"/>
                  </a:lnTo>
                  <a:lnTo>
                    <a:pt x="1712" y="148"/>
                  </a:lnTo>
                  <a:lnTo>
                    <a:pt x="1722" y="142"/>
                  </a:lnTo>
                  <a:lnTo>
                    <a:pt x="1734" y="138"/>
                  </a:lnTo>
                  <a:lnTo>
                    <a:pt x="1734" y="138"/>
                  </a:lnTo>
                  <a:lnTo>
                    <a:pt x="1744" y="135"/>
                  </a:lnTo>
                  <a:lnTo>
                    <a:pt x="1744" y="135"/>
                  </a:lnTo>
                  <a:lnTo>
                    <a:pt x="1750" y="130"/>
                  </a:lnTo>
                  <a:lnTo>
                    <a:pt x="1750" y="130"/>
                  </a:lnTo>
                  <a:lnTo>
                    <a:pt x="1758" y="125"/>
                  </a:lnTo>
                  <a:lnTo>
                    <a:pt x="1758" y="125"/>
                  </a:lnTo>
                  <a:lnTo>
                    <a:pt x="1764" y="122"/>
                  </a:lnTo>
                  <a:lnTo>
                    <a:pt x="1768" y="119"/>
                  </a:lnTo>
                  <a:lnTo>
                    <a:pt x="1768" y="119"/>
                  </a:lnTo>
                  <a:lnTo>
                    <a:pt x="1773" y="117"/>
                  </a:lnTo>
                  <a:lnTo>
                    <a:pt x="1777" y="114"/>
                  </a:lnTo>
                  <a:lnTo>
                    <a:pt x="1777" y="114"/>
                  </a:lnTo>
                  <a:lnTo>
                    <a:pt x="1781" y="111"/>
                  </a:lnTo>
                  <a:lnTo>
                    <a:pt x="1781" y="111"/>
                  </a:lnTo>
                  <a:lnTo>
                    <a:pt x="1781" y="111"/>
                  </a:lnTo>
                  <a:lnTo>
                    <a:pt x="1781" y="111"/>
                  </a:lnTo>
                  <a:lnTo>
                    <a:pt x="1781" y="110"/>
                  </a:lnTo>
                  <a:lnTo>
                    <a:pt x="1781" y="111"/>
                  </a:lnTo>
                  <a:lnTo>
                    <a:pt x="1781" y="111"/>
                  </a:lnTo>
                  <a:lnTo>
                    <a:pt x="1781" y="110"/>
                  </a:lnTo>
                  <a:lnTo>
                    <a:pt x="1781" y="111"/>
                  </a:lnTo>
                  <a:lnTo>
                    <a:pt x="1781" y="109"/>
                  </a:lnTo>
                  <a:lnTo>
                    <a:pt x="1780" y="110"/>
                  </a:lnTo>
                  <a:lnTo>
                    <a:pt x="1780" y="110"/>
                  </a:lnTo>
                  <a:lnTo>
                    <a:pt x="1781" y="111"/>
                  </a:lnTo>
                  <a:lnTo>
                    <a:pt x="1781" y="109"/>
                  </a:lnTo>
                  <a:lnTo>
                    <a:pt x="1780" y="110"/>
                  </a:lnTo>
                  <a:lnTo>
                    <a:pt x="1781" y="109"/>
                  </a:lnTo>
                  <a:lnTo>
                    <a:pt x="1780" y="109"/>
                  </a:lnTo>
                  <a:lnTo>
                    <a:pt x="1780" y="109"/>
                  </a:lnTo>
                  <a:lnTo>
                    <a:pt x="1780" y="110"/>
                  </a:lnTo>
                  <a:lnTo>
                    <a:pt x="1781" y="109"/>
                  </a:lnTo>
                  <a:lnTo>
                    <a:pt x="1780" y="109"/>
                  </a:lnTo>
                  <a:lnTo>
                    <a:pt x="1780" y="109"/>
                  </a:lnTo>
                  <a:lnTo>
                    <a:pt x="1780" y="109"/>
                  </a:lnTo>
                  <a:lnTo>
                    <a:pt x="1780" y="109"/>
                  </a:lnTo>
                  <a:lnTo>
                    <a:pt x="1780" y="109"/>
                  </a:lnTo>
                  <a:lnTo>
                    <a:pt x="1780" y="109"/>
                  </a:lnTo>
                  <a:lnTo>
                    <a:pt x="1780" y="109"/>
                  </a:lnTo>
                  <a:lnTo>
                    <a:pt x="1780" y="109"/>
                  </a:lnTo>
                  <a:lnTo>
                    <a:pt x="1779" y="111"/>
                  </a:lnTo>
                  <a:lnTo>
                    <a:pt x="1779" y="111"/>
                  </a:lnTo>
                  <a:lnTo>
                    <a:pt x="1777" y="116"/>
                  </a:lnTo>
                  <a:lnTo>
                    <a:pt x="1777" y="116"/>
                  </a:lnTo>
                  <a:lnTo>
                    <a:pt x="1779" y="117"/>
                  </a:lnTo>
                  <a:lnTo>
                    <a:pt x="1779" y="117"/>
                  </a:lnTo>
                  <a:lnTo>
                    <a:pt x="1780" y="119"/>
                  </a:lnTo>
                  <a:lnTo>
                    <a:pt x="1780" y="119"/>
                  </a:lnTo>
                  <a:lnTo>
                    <a:pt x="1783" y="120"/>
                  </a:lnTo>
                  <a:lnTo>
                    <a:pt x="1784" y="120"/>
                  </a:lnTo>
                  <a:lnTo>
                    <a:pt x="1784" y="120"/>
                  </a:lnTo>
                  <a:lnTo>
                    <a:pt x="1789" y="119"/>
                  </a:lnTo>
                  <a:lnTo>
                    <a:pt x="1792" y="117"/>
                  </a:lnTo>
                  <a:lnTo>
                    <a:pt x="1792" y="117"/>
                  </a:lnTo>
                  <a:lnTo>
                    <a:pt x="1794" y="117"/>
                  </a:lnTo>
                  <a:lnTo>
                    <a:pt x="1797" y="116"/>
                  </a:lnTo>
                  <a:lnTo>
                    <a:pt x="1797" y="116"/>
                  </a:lnTo>
                  <a:lnTo>
                    <a:pt x="1799" y="116"/>
                  </a:lnTo>
                  <a:lnTo>
                    <a:pt x="1799" y="116"/>
                  </a:lnTo>
                  <a:lnTo>
                    <a:pt x="1805" y="117"/>
                  </a:lnTo>
                  <a:lnTo>
                    <a:pt x="1805" y="117"/>
                  </a:lnTo>
                  <a:lnTo>
                    <a:pt x="1810" y="116"/>
                  </a:lnTo>
                  <a:lnTo>
                    <a:pt x="1810" y="116"/>
                  </a:lnTo>
                  <a:lnTo>
                    <a:pt x="1816" y="114"/>
                  </a:lnTo>
                  <a:lnTo>
                    <a:pt x="1816" y="114"/>
                  </a:lnTo>
                  <a:lnTo>
                    <a:pt x="1819" y="113"/>
                  </a:lnTo>
                  <a:lnTo>
                    <a:pt x="1819" y="113"/>
                  </a:lnTo>
                  <a:lnTo>
                    <a:pt x="1819" y="113"/>
                  </a:lnTo>
                  <a:lnTo>
                    <a:pt x="1819" y="113"/>
                  </a:lnTo>
                  <a:lnTo>
                    <a:pt x="1819" y="113"/>
                  </a:lnTo>
                  <a:lnTo>
                    <a:pt x="1819" y="113"/>
                  </a:lnTo>
                  <a:lnTo>
                    <a:pt x="1819" y="113"/>
                  </a:lnTo>
                  <a:lnTo>
                    <a:pt x="1819" y="113"/>
                  </a:lnTo>
                  <a:lnTo>
                    <a:pt x="1819" y="113"/>
                  </a:lnTo>
                  <a:lnTo>
                    <a:pt x="1821" y="114"/>
                  </a:lnTo>
                  <a:lnTo>
                    <a:pt x="1821" y="114"/>
                  </a:lnTo>
                  <a:lnTo>
                    <a:pt x="1823" y="117"/>
                  </a:lnTo>
                  <a:lnTo>
                    <a:pt x="1823" y="117"/>
                  </a:lnTo>
                  <a:lnTo>
                    <a:pt x="1825" y="120"/>
                  </a:lnTo>
                  <a:lnTo>
                    <a:pt x="1825" y="123"/>
                  </a:lnTo>
                  <a:lnTo>
                    <a:pt x="1825" y="123"/>
                  </a:lnTo>
                  <a:lnTo>
                    <a:pt x="1825" y="127"/>
                  </a:lnTo>
                  <a:lnTo>
                    <a:pt x="1825" y="127"/>
                  </a:lnTo>
                  <a:lnTo>
                    <a:pt x="1826" y="129"/>
                  </a:lnTo>
                  <a:lnTo>
                    <a:pt x="1826" y="129"/>
                  </a:lnTo>
                  <a:lnTo>
                    <a:pt x="1829" y="130"/>
                  </a:lnTo>
                  <a:lnTo>
                    <a:pt x="1829" y="130"/>
                  </a:lnTo>
                  <a:lnTo>
                    <a:pt x="1832" y="129"/>
                  </a:lnTo>
                  <a:lnTo>
                    <a:pt x="1832" y="129"/>
                  </a:lnTo>
                  <a:lnTo>
                    <a:pt x="1838" y="127"/>
                  </a:lnTo>
                  <a:lnTo>
                    <a:pt x="1838" y="127"/>
                  </a:lnTo>
                  <a:lnTo>
                    <a:pt x="1841" y="126"/>
                  </a:lnTo>
                  <a:lnTo>
                    <a:pt x="1841" y="126"/>
                  </a:lnTo>
                  <a:lnTo>
                    <a:pt x="1847" y="127"/>
                  </a:lnTo>
                  <a:lnTo>
                    <a:pt x="1847" y="127"/>
                  </a:lnTo>
                  <a:lnTo>
                    <a:pt x="1851" y="130"/>
                  </a:lnTo>
                  <a:lnTo>
                    <a:pt x="1854" y="133"/>
                  </a:lnTo>
                  <a:lnTo>
                    <a:pt x="1857" y="138"/>
                  </a:lnTo>
                  <a:lnTo>
                    <a:pt x="1858" y="142"/>
                  </a:lnTo>
                  <a:lnTo>
                    <a:pt x="1858" y="142"/>
                  </a:lnTo>
                  <a:lnTo>
                    <a:pt x="1861" y="149"/>
                  </a:lnTo>
                  <a:lnTo>
                    <a:pt x="1861" y="149"/>
                  </a:lnTo>
                  <a:lnTo>
                    <a:pt x="1865" y="152"/>
                  </a:lnTo>
                  <a:lnTo>
                    <a:pt x="1865" y="152"/>
                  </a:lnTo>
                  <a:lnTo>
                    <a:pt x="1870" y="153"/>
                  </a:lnTo>
                  <a:lnTo>
                    <a:pt x="1870" y="153"/>
                  </a:lnTo>
                  <a:lnTo>
                    <a:pt x="1873" y="153"/>
                  </a:lnTo>
                  <a:lnTo>
                    <a:pt x="1873" y="153"/>
                  </a:lnTo>
                  <a:lnTo>
                    <a:pt x="1878" y="152"/>
                  </a:lnTo>
                  <a:lnTo>
                    <a:pt x="1878" y="152"/>
                  </a:lnTo>
                  <a:lnTo>
                    <a:pt x="1880" y="152"/>
                  </a:lnTo>
                  <a:lnTo>
                    <a:pt x="1880" y="152"/>
                  </a:lnTo>
                  <a:lnTo>
                    <a:pt x="1881" y="153"/>
                  </a:lnTo>
                  <a:lnTo>
                    <a:pt x="1881" y="153"/>
                  </a:lnTo>
                  <a:lnTo>
                    <a:pt x="1881" y="158"/>
                  </a:lnTo>
                  <a:lnTo>
                    <a:pt x="1881" y="158"/>
                  </a:lnTo>
                  <a:lnTo>
                    <a:pt x="1881" y="168"/>
                  </a:lnTo>
                  <a:lnTo>
                    <a:pt x="1881" y="168"/>
                  </a:lnTo>
                  <a:lnTo>
                    <a:pt x="1881" y="169"/>
                  </a:lnTo>
                  <a:lnTo>
                    <a:pt x="1881" y="169"/>
                  </a:lnTo>
                  <a:lnTo>
                    <a:pt x="1881" y="169"/>
                  </a:lnTo>
                  <a:lnTo>
                    <a:pt x="1883" y="171"/>
                  </a:lnTo>
                  <a:lnTo>
                    <a:pt x="1883" y="171"/>
                  </a:lnTo>
                  <a:lnTo>
                    <a:pt x="1884" y="171"/>
                  </a:lnTo>
                  <a:lnTo>
                    <a:pt x="1884" y="171"/>
                  </a:lnTo>
                  <a:lnTo>
                    <a:pt x="1886" y="171"/>
                  </a:lnTo>
                  <a:lnTo>
                    <a:pt x="1886" y="169"/>
                  </a:lnTo>
                  <a:lnTo>
                    <a:pt x="1886" y="169"/>
                  </a:lnTo>
                  <a:lnTo>
                    <a:pt x="1886" y="169"/>
                  </a:lnTo>
                  <a:lnTo>
                    <a:pt x="1890" y="164"/>
                  </a:lnTo>
                  <a:lnTo>
                    <a:pt x="1892" y="159"/>
                  </a:lnTo>
                  <a:lnTo>
                    <a:pt x="1893" y="155"/>
                  </a:lnTo>
                  <a:lnTo>
                    <a:pt x="1893" y="155"/>
                  </a:lnTo>
                  <a:lnTo>
                    <a:pt x="1892" y="149"/>
                  </a:lnTo>
                  <a:lnTo>
                    <a:pt x="1892" y="149"/>
                  </a:lnTo>
                  <a:lnTo>
                    <a:pt x="1892" y="149"/>
                  </a:lnTo>
                  <a:lnTo>
                    <a:pt x="1887" y="139"/>
                  </a:lnTo>
                  <a:lnTo>
                    <a:pt x="1887" y="139"/>
                  </a:lnTo>
                  <a:lnTo>
                    <a:pt x="1884" y="136"/>
                  </a:lnTo>
                  <a:lnTo>
                    <a:pt x="1884" y="136"/>
                  </a:lnTo>
                  <a:lnTo>
                    <a:pt x="1880" y="136"/>
                  </a:lnTo>
                  <a:lnTo>
                    <a:pt x="1880" y="136"/>
                  </a:lnTo>
                  <a:lnTo>
                    <a:pt x="1876" y="135"/>
                  </a:lnTo>
                  <a:lnTo>
                    <a:pt x="1876" y="135"/>
                  </a:lnTo>
                  <a:lnTo>
                    <a:pt x="1874" y="133"/>
                  </a:lnTo>
                  <a:lnTo>
                    <a:pt x="1874" y="133"/>
                  </a:lnTo>
                  <a:lnTo>
                    <a:pt x="1874" y="133"/>
                  </a:lnTo>
                  <a:lnTo>
                    <a:pt x="1873" y="135"/>
                  </a:lnTo>
                  <a:lnTo>
                    <a:pt x="1874" y="135"/>
                  </a:lnTo>
                  <a:lnTo>
                    <a:pt x="1874" y="135"/>
                  </a:lnTo>
                  <a:lnTo>
                    <a:pt x="1874" y="133"/>
                  </a:lnTo>
                  <a:lnTo>
                    <a:pt x="1873" y="135"/>
                  </a:lnTo>
                  <a:lnTo>
                    <a:pt x="1874" y="135"/>
                  </a:lnTo>
                  <a:lnTo>
                    <a:pt x="1873" y="135"/>
                  </a:lnTo>
                  <a:lnTo>
                    <a:pt x="1874" y="135"/>
                  </a:lnTo>
                  <a:lnTo>
                    <a:pt x="1874" y="135"/>
                  </a:lnTo>
                  <a:lnTo>
                    <a:pt x="1874" y="135"/>
                  </a:lnTo>
                  <a:lnTo>
                    <a:pt x="1873" y="135"/>
                  </a:lnTo>
                  <a:lnTo>
                    <a:pt x="1874" y="135"/>
                  </a:lnTo>
                  <a:lnTo>
                    <a:pt x="1873" y="135"/>
                  </a:lnTo>
                  <a:lnTo>
                    <a:pt x="1874" y="136"/>
                  </a:lnTo>
                  <a:lnTo>
                    <a:pt x="1874" y="135"/>
                  </a:lnTo>
                  <a:lnTo>
                    <a:pt x="1873" y="135"/>
                  </a:lnTo>
                  <a:lnTo>
                    <a:pt x="1874" y="136"/>
                  </a:lnTo>
                  <a:lnTo>
                    <a:pt x="1874" y="135"/>
                  </a:lnTo>
                  <a:lnTo>
                    <a:pt x="1874" y="135"/>
                  </a:lnTo>
                  <a:lnTo>
                    <a:pt x="1874" y="135"/>
                  </a:lnTo>
                  <a:lnTo>
                    <a:pt x="1876" y="135"/>
                  </a:lnTo>
                  <a:lnTo>
                    <a:pt x="1876" y="135"/>
                  </a:lnTo>
                  <a:lnTo>
                    <a:pt x="1886" y="136"/>
                  </a:lnTo>
                  <a:lnTo>
                    <a:pt x="1886" y="136"/>
                  </a:lnTo>
                  <a:lnTo>
                    <a:pt x="1889" y="136"/>
                  </a:lnTo>
                  <a:lnTo>
                    <a:pt x="1889" y="136"/>
                  </a:lnTo>
                  <a:lnTo>
                    <a:pt x="1892" y="135"/>
                  </a:lnTo>
                  <a:lnTo>
                    <a:pt x="1892" y="132"/>
                  </a:lnTo>
                  <a:lnTo>
                    <a:pt x="1892" y="132"/>
                  </a:lnTo>
                  <a:lnTo>
                    <a:pt x="1892" y="132"/>
                  </a:lnTo>
                  <a:lnTo>
                    <a:pt x="1893" y="130"/>
                  </a:lnTo>
                  <a:lnTo>
                    <a:pt x="1893" y="130"/>
                  </a:lnTo>
                  <a:lnTo>
                    <a:pt x="1892" y="129"/>
                  </a:lnTo>
                  <a:lnTo>
                    <a:pt x="1892" y="127"/>
                  </a:lnTo>
                  <a:lnTo>
                    <a:pt x="1892" y="127"/>
                  </a:lnTo>
                  <a:lnTo>
                    <a:pt x="1890" y="127"/>
                  </a:lnTo>
                  <a:lnTo>
                    <a:pt x="1890" y="127"/>
                  </a:lnTo>
                  <a:lnTo>
                    <a:pt x="1887" y="126"/>
                  </a:lnTo>
                  <a:lnTo>
                    <a:pt x="1887" y="126"/>
                  </a:lnTo>
                  <a:lnTo>
                    <a:pt x="1877" y="120"/>
                  </a:lnTo>
                  <a:lnTo>
                    <a:pt x="1877" y="120"/>
                  </a:lnTo>
                  <a:lnTo>
                    <a:pt x="1870" y="114"/>
                  </a:lnTo>
                  <a:lnTo>
                    <a:pt x="1863" y="109"/>
                  </a:lnTo>
                  <a:lnTo>
                    <a:pt x="1863" y="109"/>
                  </a:lnTo>
                  <a:lnTo>
                    <a:pt x="1860" y="104"/>
                  </a:lnTo>
                  <a:lnTo>
                    <a:pt x="1858" y="100"/>
                  </a:lnTo>
                  <a:lnTo>
                    <a:pt x="1858" y="100"/>
                  </a:lnTo>
                  <a:lnTo>
                    <a:pt x="1860" y="96"/>
                  </a:lnTo>
                  <a:lnTo>
                    <a:pt x="1860" y="96"/>
                  </a:lnTo>
                  <a:lnTo>
                    <a:pt x="1863" y="94"/>
                  </a:lnTo>
                  <a:lnTo>
                    <a:pt x="1863" y="94"/>
                  </a:lnTo>
                  <a:lnTo>
                    <a:pt x="1863" y="94"/>
                  </a:lnTo>
                  <a:lnTo>
                    <a:pt x="1863" y="94"/>
                  </a:lnTo>
                  <a:lnTo>
                    <a:pt x="1863" y="94"/>
                  </a:lnTo>
                  <a:lnTo>
                    <a:pt x="1865" y="96"/>
                  </a:lnTo>
                  <a:lnTo>
                    <a:pt x="1871" y="96"/>
                  </a:lnTo>
                  <a:lnTo>
                    <a:pt x="1871" y="96"/>
                  </a:lnTo>
                  <a:lnTo>
                    <a:pt x="1878" y="96"/>
                  </a:lnTo>
                  <a:lnTo>
                    <a:pt x="1878" y="96"/>
                  </a:lnTo>
                  <a:lnTo>
                    <a:pt x="1887" y="93"/>
                  </a:lnTo>
                  <a:lnTo>
                    <a:pt x="1894" y="88"/>
                  </a:lnTo>
                  <a:lnTo>
                    <a:pt x="1894" y="88"/>
                  </a:lnTo>
                  <a:lnTo>
                    <a:pt x="1897" y="85"/>
                  </a:lnTo>
                  <a:lnTo>
                    <a:pt x="1899" y="81"/>
                  </a:lnTo>
                  <a:lnTo>
                    <a:pt x="1899" y="81"/>
                  </a:lnTo>
                  <a:lnTo>
                    <a:pt x="1900" y="74"/>
                  </a:lnTo>
                  <a:lnTo>
                    <a:pt x="1900" y="74"/>
                  </a:lnTo>
                  <a:lnTo>
                    <a:pt x="1900" y="68"/>
                  </a:lnTo>
                  <a:lnTo>
                    <a:pt x="1900" y="68"/>
                  </a:lnTo>
                  <a:lnTo>
                    <a:pt x="1900" y="56"/>
                  </a:lnTo>
                  <a:lnTo>
                    <a:pt x="1900" y="56"/>
                  </a:lnTo>
                  <a:lnTo>
                    <a:pt x="1900" y="51"/>
                  </a:lnTo>
                  <a:lnTo>
                    <a:pt x="1905" y="46"/>
                  </a:lnTo>
                  <a:lnTo>
                    <a:pt x="1905" y="45"/>
                  </a:lnTo>
                  <a:lnTo>
                    <a:pt x="1905" y="46"/>
                  </a:lnTo>
                  <a:lnTo>
                    <a:pt x="1905" y="46"/>
                  </a:lnTo>
                  <a:lnTo>
                    <a:pt x="1909" y="38"/>
                  </a:lnTo>
                  <a:lnTo>
                    <a:pt x="1912" y="32"/>
                  </a:lnTo>
                  <a:lnTo>
                    <a:pt x="1915" y="22"/>
                  </a:lnTo>
                  <a:lnTo>
                    <a:pt x="1915" y="22"/>
                  </a:lnTo>
                  <a:lnTo>
                    <a:pt x="1915" y="22"/>
                  </a:lnTo>
                  <a:lnTo>
                    <a:pt x="1918" y="19"/>
                  </a:lnTo>
                  <a:lnTo>
                    <a:pt x="1918" y="19"/>
                  </a:lnTo>
                  <a:lnTo>
                    <a:pt x="1925" y="14"/>
                  </a:lnTo>
                  <a:lnTo>
                    <a:pt x="1934" y="10"/>
                  </a:lnTo>
                  <a:lnTo>
                    <a:pt x="1934" y="10"/>
                  </a:lnTo>
                  <a:lnTo>
                    <a:pt x="1936" y="7"/>
                  </a:lnTo>
                  <a:lnTo>
                    <a:pt x="1939" y="6"/>
                  </a:lnTo>
                  <a:lnTo>
                    <a:pt x="1939" y="6"/>
                  </a:lnTo>
                  <a:lnTo>
                    <a:pt x="1941" y="4"/>
                  </a:lnTo>
                  <a:lnTo>
                    <a:pt x="1941" y="4"/>
                  </a:lnTo>
                  <a:lnTo>
                    <a:pt x="1941" y="4"/>
                  </a:lnTo>
                  <a:lnTo>
                    <a:pt x="1941" y="4"/>
                  </a:lnTo>
                  <a:lnTo>
                    <a:pt x="1945" y="6"/>
                  </a:lnTo>
                  <a:lnTo>
                    <a:pt x="1945" y="6"/>
                  </a:lnTo>
                  <a:lnTo>
                    <a:pt x="1952" y="9"/>
                  </a:lnTo>
                  <a:lnTo>
                    <a:pt x="1952" y="9"/>
                  </a:lnTo>
                  <a:lnTo>
                    <a:pt x="1957" y="12"/>
                  </a:lnTo>
                  <a:lnTo>
                    <a:pt x="1960" y="14"/>
                  </a:lnTo>
                  <a:lnTo>
                    <a:pt x="1960" y="14"/>
                  </a:lnTo>
                  <a:lnTo>
                    <a:pt x="1962" y="19"/>
                  </a:lnTo>
                  <a:lnTo>
                    <a:pt x="1968" y="22"/>
                  </a:lnTo>
                  <a:lnTo>
                    <a:pt x="1968" y="22"/>
                  </a:lnTo>
                  <a:lnTo>
                    <a:pt x="1973" y="25"/>
                  </a:lnTo>
                  <a:lnTo>
                    <a:pt x="1973" y="25"/>
                  </a:lnTo>
                  <a:lnTo>
                    <a:pt x="1974" y="26"/>
                  </a:lnTo>
                  <a:lnTo>
                    <a:pt x="1974" y="26"/>
                  </a:lnTo>
                  <a:lnTo>
                    <a:pt x="1974" y="29"/>
                  </a:lnTo>
                  <a:lnTo>
                    <a:pt x="1974" y="29"/>
                  </a:lnTo>
                  <a:lnTo>
                    <a:pt x="1974" y="32"/>
                  </a:lnTo>
                  <a:lnTo>
                    <a:pt x="1974" y="32"/>
                  </a:lnTo>
                  <a:lnTo>
                    <a:pt x="1973" y="36"/>
                  </a:lnTo>
                  <a:lnTo>
                    <a:pt x="1973" y="39"/>
                  </a:lnTo>
                  <a:lnTo>
                    <a:pt x="1973" y="39"/>
                  </a:lnTo>
                  <a:lnTo>
                    <a:pt x="1968" y="43"/>
                  </a:lnTo>
                  <a:lnTo>
                    <a:pt x="1968" y="43"/>
                  </a:lnTo>
                  <a:lnTo>
                    <a:pt x="1967" y="45"/>
                  </a:lnTo>
                  <a:lnTo>
                    <a:pt x="1967" y="45"/>
                  </a:lnTo>
                  <a:lnTo>
                    <a:pt x="1962" y="51"/>
                  </a:lnTo>
                  <a:lnTo>
                    <a:pt x="1962" y="51"/>
                  </a:lnTo>
                  <a:lnTo>
                    <a:pt x="1960" y="52"/>
                  </a:lnTo>
                  <a:lnTo>
                    <a:pt x="1960" y="54"/>
                  </a:lnTo>
                  <a:lnTo>
                    <a:pt x="1960" y="54"/>
                  </a:lnTo>
                  <a:lnTo>
                    <a:pt x="1958" y="55"/>
                  </a:lnTo>
                  <a:lnTo>
                    <a:pt x="1958" y="55"/>
                  </a:lnTo>
                  <a:lnTo>
                    <a:pt x="1960" y="58"/>
                  </a:lnTo>
                  <a:lnTo>
                    <a:pt x="1960" y="58"/>
                  </a:lnTo>
                  <a:lnTo>
                    <a:pt x="1962" y="58"/>
                  </a:lnTo>
                  <a:lnTo>
                    <a:pt x="1962" y="58"/>
                  </a:lnTo>
                  <a:lnTo>
                    <a:pt x="1967" y="58"/>
                  </a:lnTo>
                  <a:lnTo>
                    <a:pt x="1967" y="58"/>
                  </a:lnTo>
                  <a:lnTo>
                    <a:pt x="1973" y="59"/>
                  </a:lnTo>
                  <a:lnTo>
                    <a:pt x="1973" y="59"/>
                  </a:lnTo>
                  <a:lnTo>
                    <a:pt x="1974" y="59"/>
                  </a:lnTo>
                  <a:lnTo>
                    <a:pt x="1974" y="59"/>
                  </a:lnTo>
                  <a:lnTo>
                    <a:pt x="1974" y="59"/>
                  </a:lnTo>
                  <a:lnTo>
                    <a:pt x="1974" y="59"/>
                  </a:lnTo>
                  <a:lnTo>
                    <a:pt x="1976" y="58"/>
                  </a:lnTo>
                  <a:lnTo>
                    <a:pt x="1974" y="58"/>
                  </a:lnTo>
                  <a:lnTo>
                    <a:pt x="1974" y="59"/>
                  </a:lnTo>
                  <a:lnTo>
                    <a:pt x="1976" y="58"/>
                  </a:lnTo>
                  <a:lnTo>
                    <a:pt x="1974" y="58"/>
                  </a:lnTo>
                  <a:lnTo>
                    <a:pt x="1974" y="58"/>
                  </a:lnTo>
                  <a:lnTo>
                    <a:pt x="1974" y="58"/>
                  </a:lnTo>
                  <a:lnTo>
                    <a:pt x="1974" y="58"/>
                  </a:lnTo>
                  <a:lnTo>
                    <a:pt x="1974" y="58"/>
                  </a:lnTo>
                  <a:lnTo>
                    <a:pt x="1974" y="58"/>
                  </a:lnTo>
                  <a:lnTo>
                    <a:pt x="1974" y="58"/>
                  </a:lnTo>
                  <a:lnTo>
                    <a:pt x="1974" y="58"/>
                  </a:lnTo>
                  <a:lnTo>
                    <a:pt x="1974" y="58"/>
                  </a:lnTo>
                  <a:lnTo>
                    <a:pt x="1974" y="58"/>
                  </a:lnTo>
                  <a:lnTo>
                    <a:pt x="1974" y="58"/>
                  </a:lnTo>
                  <a:lnTo>
                    <a:pt x="1974" y="58"/>
                  </a:lnTo>
                  <a:lnTo>
                    <a:pt x="1968" y="71"/>
                  </a:lnTo>
                  <a:lnTo>
                    <a:pt x="1968" y="71"/>
                  </a:lnTo>
                  <a:lnTo>
                    <a:pt x="1964" y="83"/>
                  </a:lnTo>
                  <a:lnTo>
                    <a:pt x="1964" y="83"/>
                  </a:lnTo>
                  <a:lnTo>
                    <a:pt x="1962" y="90"/>
                  </a:lnTo>
                  <a:lnTo>
                    <a:pt x="1962" y="90"/>
                  </a:lnTo>
                  <a:lnTo>
                    <a:pt x="1961" y="98"/>
                  </a:lnTo>
                  <a:lnTo>
                    <a:pt x="1961" y="98"/>
                  </a:lnTo>
                  <a:lnTo>
                    <a:pt x="1962" y="101"/>
                  </a:lnTo>
                  <a:lnTo>
                    <a:pt x="1962" y="101"/>
                  </a:lnTo>
                  <a:lnTo>
                    <a:pt x="1962" y="103"/>
                  </a:lnTo>
                  <a:lnTo>
                    <a:pt x="1962" y="103"/>
                  </a:lnTo>
                  <a:lnTo>
                    <a:pt x="1965" y="104"/>
                  </a:lnTo>
                  <a:lnTo>
                    <a:pt x="1965" y="104"/>
                  </a:lnTo>
                  <a:lnTo>
                    <a:pt x="1967" y="103"/>
                  </a:lnTo>
                  <a:lnTo>
                    <a:pt x="1967" y="103"/>
                  </a:lnTo>
                  <a:lnTo>
                    <a:pt x="1983" y="93"/>
                  </a:lnTo>
                  <a:lnTo>
                    <a:pt x="1983" y="93"/>
                  </a:lnTo>
                  <a:lnTo>
                    <a:pt x="1987" y="88"/>
                  </a:lnTo>
                  <a:lnTo>
                    <a:pt x="1987" y="88"/>
                  </a:lnTo>
                  <a:lnTo>
                    <a:pt x="1990" y="83"/>
                  </a:lnTo>
                  <a:lnTo>
                    <a:pt x="1990" y="83"/>
                  </a:lnTo>
                  <a:lnTo>
                    <a:pt x="1993" y="81"/>
                  </a:lnTo>
                  <a:lnTo>
                    <a:pt x="1993" y="81"/>
                  </a:lnTo>
                  <a:lnTo>
                    <a:pt x="1997" y="81"/>
                  </a:lnTo>
                  <a:lnTo>
                    <a:pt x="1997" y="81"/>
                  </a:lnTo>
                  <a:lnTo>
                    <a:pt x="2000" y="81"/>
                  </a:lnTo>
                  <a:lnTo>
                    <a:pt x="2000" y="81"/>
                  </a:lnTo>
                  <a:lnTo>
                    <a:pt x="2025" y="83"/>
                  </a:lnTo>
                  <a:lnTo>
                    <a:pt x="2025" y="83"/>
                  </a:lnTo>
                  <a:lnTo>
                    <a:pt x="2048" y="84"/>
                  </a:lnTo>
                  <a:lnTo>
                    <a:pt x="2048" y="84"/>
                  </a:lnTo>
                  <a:lnTo>
                    <a:pt x="2051" y="84"/>
                  </a:lnTo>
                  <a:lnTo>
                    <a:pt x="2051" y="84"/>
                  </a:lnTo>
                  <a:lnTo>
                    <a:pt x="2054" y="83"/>
                  </a:lnTo>
                  <a:lnTo>
                    <a:pt x="2054" y="83"/>
                  </a:lnTo>
                  <a:lnTo>
                    <a:pt x="2054" y="83"/>
                  </a:lnTo>
                  <a:lnTo>
                    <a:pt x="2054" y="83"/>
                  </a:lnTo>
                  <a:lnTo>
                    <a:pt x="2061" y="80"/>
                  </a:lnTo>
                  <a:lnTo>
                    <a:pt x="2061" y="80"/>
                  </a:lnTo>
                  <a:lnTo>
                    <a:pt x="2064" y="78"/>
                  </a:lnTo>
                  <a:lnTo>
                    <a:pt x="2064" y="78"/>
                  </a:lnTo>
                  <a:lnTo>
                    <a:pt x="2064" y="78"/>
                  </a:lnTo>
                  <a:lnTo>
                    <a:pt x="2064" y="77"/>
                  </a:lnTo>
                  <a:lnTo>
                    <a:pt x="2064" y="78"/>
                  </a:lnTo>
                  <a:lnTo>
                    <a:pt x="2064" y="78"/>
                  </a:lnTo>
                  <a:lnTo>
                    <a:pt x="2064" y="77"/>
                  </a:lnTo>
                  <a:lnTo>
                    <a:pt x="2064" y="78"/>
                  </a:lnTo>
                  <a:lnTo>
                    <a:pt x="2064" y="77"/>
                  </a:lnTo>
                  <a:lnTo>
                    <a:pt x="2064" y="78"/>
                  </a:lnTo>
                  <a:lnTo>
                    <a:pt x="2064" y="78"/>
                  </a:lnTo>
                  <a:lnTo>
                    <a:pt x="2064" y="77"/>
                  </a:lnTo>
                  <a:lnTo>
                    <a:pt x="2064" y="78"/>
                  </a:lnTo>
                  <a:lnTo>
                    <a:pt x="2064" y="78"/>
                  </a:lnTo>
                  <a:lnTo>
                    <a:pt x="2064" y="78"/>
                  </a:lnTo>
                  <a:lnTo>
                    <a:pt x="2064" y="78"/>
                  </a:lnTo>
                  <a:lnTo>
                    <a:pt x="2064" y="78"/>
                  </a:lnTo>
                  <a:lnTo>
                    <a:pt x="2064" y="78"/>
                  </a:lnTo>
                  <a:lnTo>
                    <a:pt x="2064" y="78"/>
                  </a:lnTo>
                  <a:lnTo>
                    <a:pt x="2065" y="80"/>
                  </a:lnTo>
                  <a:lnTo>
                    <a:pt x="2065" y="80"/>
                  </a:lnTo>
                  <a:lnTo>
                    <a:pt x="2068" y="81"/>
                  </a:lnTo>
                  <a:lnTo>
                    <a:pt x="2068" y="81"/>
                  </a:lnTo>
                  <a:lnTo>
                    <a:pt x="2071" y="83"/>
                  </a:lnTo>
                  <a:lnTo>
                    <a:pt x="2074" y="84"/>
                  </a:lnTo>
                  <a:lnTo>
                    <a:pt x="2074" y="84"/>
                  </a:lnTo>
                  <a:lnTo>
                    <a:pt x="2077" y="84"/>
                  </a:lnTo>
                  <a:lnTo>
                    <a:pt x="2080" y="84"/>
                  </a:lnTo>
                  <a:lnTo>
                    <a:pt x="2080" y="84"/>
                  </a:lnTo>
                  <a:lnTo>
                    <a:pt x="2081" y="87"/>
                  </a:lnTo>
                  <a:lnTo>
                    <a:pt x="2084" y="91"/>
                  </a:lnTo>
                  <a:lnTo>
                    <a:pt x="2084" y="91"/>
                  </a:lnTo>
                  <a:lnTo>
                    <a:pt x="2086" y="97"/>
                  </a:lnTo>
                  <a:lnTo>
                    <a:pt x="2086" y="101"/>
                  </a:lnTo>
                  <a:lnTo>
                    <a:pt x="2086" y="101"/>
                  </a:lnTo>
                  <a:lnTo>
                    <a:pt x="2087" y="106"/>
                  </a:lnTo>
                  <a:lnTo>
                    <a:pt x="2088" y="110"/>
                  </a:lnTo>
                  <a:lnTo>
                    <a:pt x="2088" y="110"/>
                  </a:lnTo>
                  <a:lnTo>
                    <a:pt x="2091" y="114"/>
                  </a:lnTo>
                  <a:lnTo>
                    <a:pt x="2091" y="119"/>
                  </a:lnTo>
                  <a:lnTo>
                    <a:pt x="2091" y="119"/>
                  </a:lnTo>
                  <a:lnTo>
                    <a:pt x="2090" y="135"/>
                  </a:lnTo>
                  <a:lnTo>
                    <a:pt x="2090" y="135"/>
                  </a:lnTo>
                  <a:lnTo>
                    <a:pt x="2088" y="146"/>
                  </a:lnTo>
                  <a:lnTo>
                    <a:pt x="2087" y="162"/>
                  </a:lnTo>
                  <a:lnTo>
                    <a:pt x="2087" y="162"/>
                  </a:lnTo>
                  <a:lnTo>
                    <a:pt x="2083" y="177"/>
                  </a:lnTo>
                  <a:lnTo>
                    <a:pt x="2083" y="177"/>
                  </a:lnTo>
                  <a:lnTo>
                    <a:pt x="2080" y="182"/>
                  </a:lnTo>
                  <a:lnTo>
                    <a:pt x="2077" y="185"/>
                  </a:lnTo>
                  <a:lnTo>
                    <a:pt x="2077" y="185"/>
                  </a:lnTo>
                  <a:lnTo>
                    <a:pt x="2070" y="191"/>
                  </a:lnTo>
                  <a:lnTo>
                    <a:pt x="2064" y="194"/>
                  </a:lnTo>
                  <a:lnTo>
                    <a:pt x="2064" y="194"/>
                  </a:lnTo>
                  <a:lnTo>
                    <a:pt x="2058" y="195"/>
                  </a:lnTo>
                  <a:lnTo>
                    <a:pt x="2052" y="198"/>
                  </a:lnTo>
                  <a:lnTo>
                    <a:pt x="2052" y="198"/>
                  </a:lnTo>
                  <a:lnTo>
                    <a:pt x="2044" y="206"/>
                  </a:lnTo>
                  <a:lnTo>
                    <a:pt x="2044" y="206"/>
                  </a:lnTo>
                  <a:lnTo>
                    <a:pt x="2036" y="210"/>
                  </a:lnTo>
                  <a:lnTo>
                    <a:pt x="2036" y="210"/>
                  </a:lnTo>
                  <a:lnTo>
                    <a:pt x="2033" y="213"/>
                  </a:lnTo>
                  <a:lnTo>
                    <a:pt x="2033" y="213"/>
                  </a:lnTo>
                  <a:lnTo>
                    <a:pt x="2018" y="233"/>
                  </a:lnTo>
                  <a:lnTo>
                    <a:pt x="2018" y="233"/>
                  </a:lnTo>
                  <a:lnTo>
                    <a:pt x="2009" y="242"/>
                  </a:lnTo>
                  <a:lnTo>
                    <a:pt x="2009" y="242"/>
                  </a:lnTo>
                  <a:lnTo>
                    <a:pt x="2006" y="245"/>
                  </a:lnTo>
                  <a:lnTo>
                    <a:pt x="2006" y="246"/>
                  </a:lnTo>
                  <a:lnTo>
                    <a:pt x="2004" y="246"/>
                  </a:lnTo>
                  <a:lnTo>
                    <a:pt x="2004" y="246"/>
                  </a:lnTo>
                  <a:lnTo>
                    <a:pt x="2004" y="246"/>
                  </a:lnTo>
                  <a:lnTo>
                    <a:pt x="2004" y="246"/>
                  </a:lnTo>
                  <a:lnTo>
                    <a:pt x="1999" y="245"/>
                  </a:lnTo>
                  <a:lnTo>
                    <a:pt x="1999" y="245"/>
                  </a:lnTo>
                  <a:lnTo>
                    <a:pt x="1996" y="243"/>
                  </a:lnTo>
                  <a:lnTo>
                    <a:pt x="1996" y="243"/>
                  </a:lnTo>
                  <a:lnTo>
                    <a:pt x="1993" y="243"/>
                  </a:lnTo>
                  <a:lnTo>
                    <a:pt x="1993" y="243"/>
                  </a:lnTo>
                  <a:lnTo>
                    <a:pt x="1990" y="245"/>
                  </a:lnTo>
                  <a:lnTo>
                    <a:pt x="1990" y="245"/>
                  </a:lnTo>
                  <a:lnTo>
                    <a:pt x="1990" y="248"/>
                  </a:lnTo>
                  <a:lnTo>
                    <a:pt x="1990" y="248"/>
                  </a:lnTo>
                  <a:lnTo>
                    <a:pt x="1991" y="248"/>
                  </a:lnTo>
                  <a:lnTo>
                    <a:pt x="1990" y="248"/>
                  </a:lnTo>
                  <a:lnTo>
                    <a:pt x="1990" y="248"/>
                  </a:lnTo>
                  <a:lnTo>
                    <a:pt x="1990" y="253"/>
                  </a:lnTo>
                  <a:lnTo>
                    <a:pt x="1991" y="261"/>
                  </a:lnTo>
                  <a:lnTo>
                    <a:pt x="1991" y="261"/>
                  </a:lnTo>
                  <a:lnTo>
                    <a:pt x="1991" y="269"/>
                  </a:lnTo>
                  <a:lnTo>
                    <a:pt x="1991" y="269"/>
                  </a:lnTo>
                  <a:lnTo>
                    <a:pt x="1991" y="269"/>
                  </a:lnTo>
                  <a:lnTo>
                    <a:pt x="1989" y="282"/>
                  </a:lnTo>
                  <a:lnTo>
                    <a:pt x="1989" y="282"/>
                  </a:lnTo>
                  <a:lnTo>
                    <a:pt x="1986" y="295"/>
                  </a:lnTo>
                  <a:lnTo>
                    <a:pt x="1986" y="295"/>
                  </a:lnTo>
                  <a:lnTo>
                    <a:pt x="1987" y="298"/>
                  </a:lnTo>
                  <a:lnTo>
                    <a:pt x="1987" y="298"/>
                  </a:lnTo>
                  <a:lnTo>
                    <a:pt x="1989" y="300"/>
                  </a:lnTo>
                  <a:lnTo>
                    <a:pt x="1989" y="300"/>
                  </a:lnTo>
                  <a:lnTo>
                    <a:pt x="1990" y="300"/>
                  </a:lnTo>
                  <a:lnTo>
                    <a:pt x="1990" y="300"/>
                  </a:lnTo>
                  <a:lnTo>
                    <a:pt x="1993" y="298"/>
                  </a:lnTo>
                  <a:lnTo>
                    <a:pt x="1993" y="298"/>
                  </a:lnTo>
                  <a:lnTo>
                    <a:pt x="2002" y="291"/>
                  </a:lnTo>
                  <a:lnTo>
                    <a:pt x="2002" y="291"/>
                  </a:lnTo>
                  <a:lnTo>
                    <a:pt x="2015" y="272"/>
                  </a:lnTo>
                  <a:lnTo>
                    <a:pt x="2015" y="272"/>
                  </a:lnTo>
                  <a:lnTo>
                    <a:pt x="2022" y="265"/>
                  </a:lnTo>
                  <a:lnTo>
                    <a:pt x="2022" y="265"/>
                  </a:lnTo>
                  <a:lnTo>
                    <a:pt x="2026" y="261"/>
                  </a:lnTo>
                  <a:lnTo>
                    <a:pt x="2026" y="261"/>
                  </a:lnTo>
                  <a:lnTo>
                    <a:pt x="2036" y="255"/>
                  </a:lnTo>
                  <a:lnTo>
                    <a:pt x="2036" y="255"/>
                  </a:lnTo>
                  <a:lnTo>
                    <a:pt x="2041" y="252"/>
                  </a:lnTo>
                  <a:lnTo>
                    <a:pt x="2046" y="248"/>
                  </a:lnTo>
                  <a:lnTo>
                    <a:pt x="2046" y="248"/>
                  </a:lnTo>
                  <a:lnTo>
                    <a:pt x="2052" y="240"/>
                  </a:lnTo>
                  <a:lnTo>
                    <a:pt x="2052" y="240"/>
                  </a:lnTo>
                  <a:lnTo>
                    <a:pt x="2054" y="239"/>
                  </a:lnTo>
                  <a:lnTo>
                    <a:pt x="2054" y="239"/>
                  </a:lnTo>
                  <a:lnTo>
                    <a:pt x="2058" y="238"/>
                  </a:lnTo>
                  <a:lnTo>
                    <a:pt x="2058" y="238"/>
                  </a:lnTo>
                  <a:lnTo>
                    <a:pt x="2062" y="236"/>
                  </a:lnTo>
                  <a:lnTo>
                    <a:pt x="2065" y="233"/>
                  </a:lnTo>
                  <a:lnTo>
                    <a:pt x="2065" y="233"/>
                  </a:lnTo>
                  <a:lnTo>
                    <a:pt x="2067" y="230"/>
                  </a:lnTo>
                  <a:lnTo>
                    <a:pt x="2067" y="230"/>
                  </a:lnTo>
                  <a:lnTo>
                    <a:pt x="2067" y="230"/>
                  </a:lnTo>
                  <a:lnTo>
                    <a:pt x="2067" y="230"/>
                  </a:lnTo>
                  <a:lnTo>
                    <a:pt x="2067" y="230"/>
                  </a:lnTo>
                  <a:lnTo>
                    <a:pt x="2067" y="230"/>
                  </a:lnTo>
                  <a:lnTo>
                    <a:pt x="2067" y="230"/>
                  </a:lnTo>
                  <a:lnTo>
                    <a:pt x="2067" y="229"/>
                  </a:lnTo>
                  <a:lnTo>
                    <a:pt x="2067" y="230"/>
                  </a:lnTo>
                  <a:lnTo>
                    <a:pt x="2067" y="230"/>
                  </a:lnTo>
                  <a:lnTo>
                    <a:pt x="2067" y="229"/>
                  </a:lnTo>
                  <a:lnTo>
                    <a:pt x="2067" y="230"/>
                  </a:lnTo>
                  <a:lnTo>
                    <a:pt x="2067" y="229"/>
                  </a:lnTo>
                  <a:lnTo>
                    <a:pt x="2065" y="230"/>
                  </a:lnTo>
                  <a:lnTo>
                    <a:pt x="2067" y="230"/>
                  </a:lnTo>
                  <a:lnTo>
                    <a:pt x="2067" y="229"/>
                  </a:lnTo>
                  <a:lnTo>
                    <a:pt x="2065" y="230"/>
                  </a:lnTo>
                  <a:lnTo>
                    <a:pt x="2067" y="229"/>
                  </a:lnTo>
                  <a:lnTo>
                    <a:pt x="2064" y="229"/>
                  </a:lnTo>
                  <a:lnTo>
                    <a:pt x="2064" y="229"/>
                  </a:lnTo>
                  <a:lnTo>
                    <a:pt x="2065" y="230"/>
                  </a:lnTo>
                  <a:lnTo>
                    <a:pt x="2067" y="229"/>
                  </a:lnTo>
                  <a:lnTo>
                    <a:pt x="2064" y="229"/>
                  </a:lnTo>
                  <a:lnTo>
                    <a:pt x="2065" y="229"/>
                  </a:lnTo>
                  <a:lnTo>
                    <a:pt x="2064" y="229"/>
                  </a:lnTo>
                  <a:lnTo>
                    <a:pt x="2064" y="229"/>
                  </a:lnTo>
                  <a:lnTo>
                    <a:pt x="2065" y="229"/>
                  </a:lnTo>
                  <a:lnTo>
                    <a:pt x="2064" y="229"/>
                  </a:lnTo>
                  <a:lnTo>
                    <a:pt x="2065" y="229"/>
                  </a:lnTo>
                  <a:lnTo>
                    <a:pt x="2064" y="229"/>
                  </a:lnTo>
                  <a:lnTo>
                    <a:pt x="2064" y="229"/>
                  </a:lnTo>
                  <a:lnTo>
                    <a:pt x="2065" y="229"/>
                  </a:lnTo>
                  <a:lnTo>
                    <a:pt x="2064" y="229"/>
                  </a:lnTo>
                  <a:lnTo>
                    <a:pt x="2064" y="229"/>
                  </a:lnTo>
                  <a:lnTo>
                    <a:pt x="2064" y="229"/>
                  </a:lnTo>
                  <a:lnTo>
                    <a:pt x="2064" y="233"/>
                  </a:lnTo>
                  <a:lnTo>
                    <a:pt x="2064" y="233"/>
                  </a:lnTo>
                  <a:lnTo>
                    <a:pt x="2065" y="243"/>
                  </a:lnTo>
                  <a:lnTo>
                    <a:pt x="2065" y="243"/>
                  </a:lnTo>
                  <a:lnTo>
                    <a:pt x="2067" y="249"/>
                  </a:lnTo>
                  <a:lnTo>
                    <a:pt x="2067" y="249"/>
                  </a:lnTo>
                  <a:lnTo>
                    <a:pt x="2070" y="251"/>
                  </a:lnTo>
                  <a:lnTo>
                    <a:pt x="2070" y="251"/>
                  </a:lnTo>
                  <a:lnTo>
                    <a:pt x="2071" y="252"/>
                  </a:lnTo>
                  <a:lnTo>
                    <a:pt x="2073" y="252"/>
                  </a:lnTo>
                  <a:lnTo>
                    <a:pt x="2073" y="252"/>
                  </a:lnTo>
                  <a:lnTo>
                    <a:pt x="2080" y="251"/>
                  </a:lnTo>
                  <a:lnTo>
                    <a:pt x="2080" y="251"/>
                  </a:lnTo>
                  <a:lnTo>
                    <a:pt x="2083" y="251"/>
                  </a:lnTo>
                  <a:lnTo>
                    <a:pt x="2083" y="252"/>
                  </a:lnTo>
                  <a:lnTo>
                    <a:pt x="2083" y="252"/>
                  </a:lnTo>
                  <a:lnTo>
                    <a:pt x="2083" y="253"/>
                  </a:lnTo>
                  <a:lnTo>
                    <a:pt x="2083" y="253"/>
                  </a:lnTo>
                  <a:lnTo>
                    <a:pt x="2083" y="256"/>
                  </a:lnTo>
                  <a:lnTo>
                    <a:pt x="2083" y="256"/>
                  </a:lnTo>
                  <a:lnTo>
                    <a:pt x="2088" y="277"/>
                  </a:lnTo>
                  <a:lnTo>
                    <a:pt x="2088" y="277"/>
                  </a:lnTo>
                  <a:lnTo>
                    <a:pt x="2090" y="288"/>
                  </a:lnTo>
                  <a:lnTo>
                    <a:pt x="2090" y="288"/>
                  </a:lnTo>
                  <a:lnTo>
                    <a:pt x="2091" y="294"/>
                  </a:lnTo>
                  <a:lnTo>
                    <a:pt x="2091" y="294"/>
                  </a:lnTo>
                  <a:lnTo>
                    <a:pt x="2090" y="297"/>
                  </a:lnTo>
                  <a:lnTo>
                    <a:pt x="2090" y="297"/>
                  </a:lnTo>
                  <a:lnTo>
                    <a:pt x="2088" y="303"/>
                  </a:lnTo>
                  <a:lnTo>
                    <a:pt x="2088" y="303"/>
                  </a:lnTo>
                  <a:lnTo>
                    <a:pt x="2087" y="306"/>
                  </a:lnTo>
                  <a:lnTo>
                    <a:pt x="2087" y="306"/>
                  </a:lnTo>
                  <a:lnTo>
                    <a:pt x="2087" y="308"/>
                  </a:lnTo>
                  <a:lnTo>
                    <a:pt x="2087" y="308"/>
                  </a:lnTo>
                  <a:lnTo>
                    <a:pt x="2087" y="310"/>
                  </a:lnTo>
                  <a:lnTo>
                    <a:pt x="2087" y="310"/>
                  </a:lnTo>
                  <a:lnTo>
                    <a:pt x="2090" y="311"/>
                  </a:lnTo>
                  <a:lnTo>
                    <a:pt x="2090" y="311"/>
                  </a:lnTo>
                  <a:lnTo>
                    <a:pt x="2091" y="311"/>
                  </a:lnTo>
                  <a:lnTo>
                    <a:pt x="2091" y="311"/>
                  </a:lnTo>
                  <a:lnTo>
                    <a:pt x="2100" y="304"/>
                  </a:lnTo>
                  <a:lnTo>
                    <a:pt x="2100" y="304"/>
                  </a:lnTo>
                  <a:lnTo>
                    <a:pt x="2104" y="300"/>
                  </a:lnTo>
                  <a:lnTo>
                    <a:pt x="2104" y="300"/>
                  </a:lnTo>
                  <a:lnTo>
                    <a:pt x="2106" y="297"/>
                  </a:lnTo>
                  <a:lnTo>
                    <a:pt x="2107" y="294"/>
                  </a:lnTo>
                  <a:lnTo>
                    <a:pt x="2107" y="294"/>
                  </a:lnTo>
                  <a:lnTo>
                    <a:pt x="2106" y="293"/>
                  </a:lnTo>
                  <a:lnTo>
                    <a:pt x="2106" y="293"/>
                  </a:lnTo>
                  <a:lnTo>
                    <a:pt x="2102" y="281"/>
                  </a:lnTo>
                  <a:lnTo>
                    <a:pt x="2102" y="281"/>
                  </a:lnTo>
                  <a:lnTo>
                    <a:pt x="2099" y="277"/>
                  </a:lnTo>
                  <a:lnTo>
                    <a:pt x="2097" y="272"/>
                  </a:lnTo>
                  <a:lnTo>
                    <a:pt x="2097" y="272"/>
                  </a:lnTo>
                  <a:lnTo>
                    <a:pt x="2099" y="271"/>
                  </a:lnTo>
                  <a:lnTo>
                    <a:pt x="2099" y="271"/>
                  </a:lnTo>
                  <a:lnTo>
                    <a:pt x="2100" y="269"/>
                  </a:lnTo>
                  <a:lnTo>
                    <a:pt x="2100" y="269"/>
                  </a:lnTo>
                  <a:lnTo>
                    <a:pt x="2103" y="268"/>
                  </a:lnTo>
                  <a:lnTo>
                    <a:pt x="2103" y="268"/>
                  </a:lnTo>
                  <a:lnTo>
                    <a:pt x="2113" y="269"/>
                  </a:lnTo>
                  <a:lnTo>
                    <a:pt x="2113" y="269"/>
                  </a:lnTo>
                  <a:lnTo>
                    <a:pt x="2117" y="271"/>
                  </a:lnTo>
                  <a:lnTo>
                    <a:pt x="2117" y="271"/>
                  </a:lnTo>
                  <a:lnTo>
                    <a:pt x="2128" y="277"/>
                  </a:lnTo>
                  <a:lnTo>
                    <a:pt x="2128" y="277"/>
                  </a:lnTo>
                  <a:lnTo>
                    <a:pt x="2133" y="278"/>
                  </a:lnTo>
                  <a:lnTo>
                    <a:pt x="2133" y="278"/>
                  </a:lnTo>
                  <a:lnTo>
                    <a:pt x="2138" y="280"/>
                  </a:lnTo>
                  <a:lnTo>
                    <a:pt x="2138" y="280"/>
                  </a:lnTo>
                  <a:lnTo>
                    <a:pt x="2139" y="280"/>
                  </a:lnTo>
                  <a:lnTo>
                    <a:pt x="2141" y="278"/>
                  </a:lnTo>
                  <a:lnTo>
                    <a:pt x="2141" y="278"/>
                  </a:lnTo>
                  <a:lnTo>
                    <a:pt x="2141" y="278"/>
                  </a:lnTo>
                  <a:lnTo>
                    <a:pt x="2144" y="275"/>
                  </a:lnTo>
                  <a:lnTo>
                    <a:pt x="2144" y="275"/>
                  </a:lnTo>
                  <a:lnTo>
                    <a:pt x="2144" y="275"/>
                  </a:lnTo>
                  <a:lnTo>
                    <a:pt x="2144" y="275"/>
                  </a:lnTo>
                  <a:lnTo>
                    <a:pt x="2144" y="275"/>
                  </a:lnTo>
                  <a:lnTo>
                    <a:pt x="2144" y="275"/>
                  </a:lnTo>
                  <a:lnTo>
                    <a:pt x="2144" y="275"/>
                  </a:lnTo>
                  <a:lnTo>
                    <a:pt x="2144" y="275"/>
                  </a:lnTo>
                  <a:lnTo>
                    <a:pt x="2144" y="275"/>
                  </a:lnTo>
                  <a:lnTo>
                    <a:pt x="2144" y="275"/>
                  </a:lnTo>
                  <a:lnTo>
                    <a:pt x="2144" y="275"/>
                  </a:lnTo>
                  <a:lnTo>
                    <a:pt x="2148" y="278"/>
                  </a:lnTo>
                  <a:lnTo>
                    <a:pt x="2148" y="278"/>
                  </a:lnTo>
                  <a:lnTo>
                    <a:pt x="2157" y="282"/>
                  </a:lnTo>
                  <a:lnTo>
                    <a:pt x="2157" y="282"/>
                  </a:lnTo>
                  <a:lnTo>
                    <a:pt x="2161" y="285"/>
                  </a:lnTo>
                  <a:lnTo>
                    <a:pt x="2167" y="285"/>
                  </a:lnTo>
                  <a:lnTo>
                    <a:pt x="2167" y="285"/>
                  </a:lnTo>
                  <a:lnTo>
                    <a:pt x="2168" y="285"/>
                  </a:lnTo>
                  <a:lnTo>
                    <a:pt x="2168" y="285"/>
                  </a:lnTo>
                  <a:lnTo>
                    <a:pt x="2174" y="285"/>
                  </a:lnTo>
                  <a:lnTo>
                    <a:pt x="2174" y="285"/>
                  </a:lnTo>
                  <a:lnTo>
                    <a:pt x="2184" y="287"/>
                  </a:lnTo>
                  <a:lnTo>
                    <a:pt x="2184" y="287"/>
                  </a:lnTo>
                  <a:lnTo>
                    <a:pt x="2187" y="287"/>
                  </a:lnTo>
                  <a:lnTo>
                    <a:pt x="2187" y="287"/>
                  </a:lnTo>
                  <a:lnTo>
                    <a:pt x="2187" y="287"/>
                  </a:lnTo>
                  <a:lnTo>
                    <a:pt x="2187" y="287"/>
                  </a:lnTo>
                  <a:lnTo>
                    <a:pt x="2187" y="287"/>
                  </a:lnTo>
                  <a:lnTo>
                    <a:pt x="2187" y="287"/>
                  </a:lnTo>
                  <a:lnTo>
                    <a:pt x="2187" y="287"/>
                  </a:lnTo>
                  <a:lnTo>
                    <a:pt x="2187" y="287"/>
                  </a:lnTo>
                  <a:lnTo>
                    <a:pt x="2188" y="285"/>
                  </a:lnTo>
                  <a:lnTo>
                    <a:pt x="2187" y="285"/>
                  </a:lnTo>
                  <a:lnTo>
                    <a:pt x="2187" y="287"/>
                  </a:lnTo>
                  <a:lnTo>
                    <a:pt x="2188" y="285"/>
                  </a:lnTo>
                  <a:lnTo>
                    <a:pt x="2187" y="285"/>
                  </a:lnTo>
                  <a:lnTo>
                    <a:pt x="2187" y="285"/>
                  </a:lnTo>
                  <a:lnTo>
                    <a:pt x="2187" y="288"/>
                  </a:lnTo>
                  <a:lnTo>
                    <a:pt x="2187" y="288"/>
                  </a:lnTo>
                  <a:lnTo>
                    <a:pt x="2190" y="300"/>
                  </a:lnTo>
                  <a:lnTo>
                    <a:pt x="2190" y="300"/>
                  </a:lnTo>
                  <a:lnTo>
                    <a:pt x="2191" y="306"/>
                  </a:lnTo>
                  <a:lnTo>
                    <a:pt x="2191" y="306"/>
                  </a:lnTo>
                  <a:lnTo>
                    <a:pt x="2193" y="308"/>
                  </a:lnTo>
                  <a:lnTo>
                    <a:pt x="2193" y="308"/>
                  </a:lnTo>
                  <a:lnTo>
                    <a:pt x="2197" y="308"/>
                  </a:lnTo>
                  <a:lnTo>
                    <a:pt x="2197" y="308"/>
                  </a:lnTo>
                  <a:lnTo>
                    <a:pt x="2197" y="308"/>
                  </a:lnTo>
                  <a:lnTo>
                    <a:pt x="2203" y="308"/>
                  </a:lnTo>
                  <a:lnTo>
                    <a:pt x="2203" y="308"/>
                  </a:lnTo>
                  <a:lnTo>
                    <a:pt x="2212" y="307"/>
                  </a:lnTo>
                  <a:lnTo>
                    <a:pt x="2212" y="307"/>
                  </a:lnTo>
                  <a:lnTo>
                    <a:pt x="2216" y="307"/>
                  </a:lnTo>
                  <a:lnTo>
                    <a:pt x="2220" y="308"/>
                  </a:lnTo>
                  <a:lnTo>
                    <a:pt x="2220" y="308"/>
                  </a:lnTo>
                  <a:lnTo>
                    <a:pt x="2229" y="311"/>
                  </a:lnTo>
                  <a:lnTo>
                    <a:pt x="2238" y="313"/>
                  </a:lnTo>
                  <a:lnTo>
                    <a:pt x="2238" y="313"/>
                  </a:lnTo>
                  <a:lnTo>
                    <a:pt x="2243" y="311"/>
                  </a:lnTo>
                  <a:lnTo>
                    <a:pt x="2243" y="311"/>
                  </a:lnTo>
                  <a:lnTo>
                    <a:pt x="2245" y="310"/>
                  </a:lnTo>
                  <a:lnTo>
                    <a:pt x="2245" y="310"/>
                  </a:lnTo>
                  <a:lnTo>
                    <a:pt x="2246" y="307"/>
                  </a:lnTo>
                  <a:lnTo>
                    <a:pt x="2246" y="307"/>
                  </a:lnTo>
                  <a:lnTo>
                    <a:pt x="2245" y="306"/>
                  </a:lnTo>
                  <a:lnTo>
                    <a:pt x="2245" y="304"/>
                  </a:lnTo>
                  <a:lnTo>
                    <a:pt x="2245" y="304"/>
                  </a:lnTo>
                  <a:lnTo>
                    <a:pt x="2245" y="304"/>
                  </a:lnTo>
                  <a:lnTo>
                    <a:pt x="2245" y="304"/>
                  </a:lnTo>
                  <a:lnTo>
                    <a:pt x="2245" y="304"/>
                  </a:lnTo>
                  <a:lnTo>
                    <a:pt x="2245" y="304"/>
                  </a:lnTo>
                  <a:lnTo>
                    <a:pt x="2245" y="304"/>
                  </a:lnTo>
                  <a:lnTo>
                    <a:pt x="2245" y="304"/>
                  </a:lnTo>
                  <a:lnTo>
                    <a:pt x="2245" y="306"/>
                  </a:lnTo>
                  <a:lnTo>
                    <a:pt x="2245" y="304"/>
                  </a:lnTo>
                  <a:lnTo>
                    <a:pt x="2245" y="304"/>
                  </a:lnTo>
                  <a:lnTo>
                    <a:pt x="2245" y="306"/>
                  </a:lnTo>
                  <a:lnTo>
                    <a:pt x="2245" y="304"/>
                  </a:lnTo>
                  <a:lnTo>
                    <a:pt x="2245" y="306"/>
                  </a:lnTo>
                  <a:lnTo>
                    <a:pt x="2245" y="306"/>
                  </a:lnTo>
                  <a:lnTo>
                    <a:pt x="2245" y="304"/>
                  </a:lnTo>
                  <a:lnTo>
                    <a:pt x="2245" y="306"/>
                  </a:lnTo>
                  <a:lnTo>
                    <a:pt x="2245" y="306"/>
                  </a:lnTo>
                  <a:lnTo>
                    <a:pt x="2245" y="306"/>
                  </a:lnTo>
                  <a:lnTo>
                    <a:pt x="2248" y="306"/>
                  </a:lnTo>
                  <a:lnTo>
                    <a:pt x="2248" y="306"/>
                  </a:lnTo>
                  <a:lnTo>
                    <a:pt x="2249" y="304"/>
                  </a:lnTo>
                  <a:lnTo>
                    <a:pt x="2249" y="304"/>
                  </a:lnTo>
                  <a:lnTo>
                    <a:pt x="2251" y="303"/>
                  </a:lnTo>
                  <a:lnTo>
                    <a:pt x="2251" y="303"/>
                  </a:lnTo>
                  <a:lnTo>
                    <a:pt x="2252" y="301"/>
                  </a:lnTo>
                  <a:lnTo>
                    <a:pt x="2252" y="301"/>
                  </a:lnTo>
                  <a:lnTo>
                    <a:pt x="2249" y="297"/>
                  </a:lnTo>
                  <a:lnTo>
                    <a:pt x="2249" y="297"/>
                  </a:lnTo>
                  <a:lnTo>
                    <a:pt x="2248" y="294"/>
                  </a:lnTo>
                  <a:lnTo>
                    <a:pt x="2248" y="294"/>
                  </a:lnTo>
                  <a:lnTo>
                    <a:pt x="2246" y="293"/>
                  </a:lnTo>
                  <a:lnTo>
                    <a:pt x="2246" y="293"/>
                  </a:lnTo>
                  <a:lnTo>
                    <a:pt x="2246" y="293"/>
                  </a:lnTo>
                  <a:lnTo>
                    <a:pt x="2246" y="293"/>
                  </a:lnTo>
                  <a:lnTo>
                    <a:pt x="2246" y="293"/>
                  </a:lnTo>
                  <a:lnTo>
                    <a:pt x="2246" y="293"/>
                  </a:lnTo>
                  <a:lnTo>
                    <a:pt x="2246" y="293"/>
                  </a:lnTo>
                  <a:lnTo>
                    <a:pt x="2245" y="293"/>
                  </a:lnTo>
                  <a:lnTo>
                    <a:pt x="2246" y="293"/>
                  </a:lnTo>
                  <a:lnTo>
                    <a:pt x="2246" y="293"/>
                  </a:lnTo>
                  <a:lnTo>
                    <a:pt x="2245" y="293"/>
                  </a:lnTo>
                  <a:lnTo>
                    <a:pt x="2246" y="293"/>
                  </a:lnTo>
                  <a:lnTo>
                    <a:pt x="2246" y="293"/>
                  </a:lnTo>
                  <a:lnTo>
                    <a:pt x="2246" y="293"/>
                  </a:lnTo>
                  <a:lnTo>
                    <a:pt x="2246" y="293"/>
                  </a:lnTo>
                  <a:lnTo>
                    <a:pt x="2246" y="293"/>
                  </a:lnTo>
                  <a:lnTo>
                    <a:pt x="2246" y="293"/>
                  </a:lnTo>
                  <a:lnTo>
                    <a:pt x="2246" y="293"/>
                  </a:lnTo>
                  <a:lnTo>
                    <a:pt x="2246" y="293"/>
                  </a:lnTo>
                  <a:lnTo>
                    <a:pt x="2246" y="293"/>
                  </a:lnTo>
                  <a:lnTo>
                    <a:pt x="2246" y="293"/>
                  </a:lnTo>
                  <a:lnTo>
                    <a:pt x="2246" y="293"/>
                  </a:lnTo>
                  <a:lnTo>
                    <a:pt x="2246" y="293"/>
                  </a:lnTo>
                  <a:lnTo>
                    <a:pt x="2248" y="293"/>
                  </a:lnTo>
                  <a:lnTo>
                    <a:pt x="2248" y="293"/>
                  </a:lnTo>
                  <a:lnTo>
                    <a:pt x="2251" y="290"/>
                  </a:lnTo>
                  <a:lnTo>
                    <a:pt x="2251" y="290"/>
                  </a:lnTo>
                  <a:lnTo>
                    <a:pt x="2252" y="288"/>
                  </a:lnTo>
                  <a:lnTo>
                    <a:pt x="2254" y="287"/>
                  </a:lnTo>
                  <a:lnTo>
                    <a:pt x="2254" y="287"/>
                  </a:lnTo>
                  <a:lnTo>
                    <a:pt x="2252" y="284"/>
                  </a:lnTo>
                  <a:lnTo>
                    <a:pt x="2252" y="284"/>
                  </a:lnTo>
                  <a:lnTo>
                    <a:pt x="2249" y="281"/>
                  </a:lnTo>
                  <a:lnTo>
                    <a:pt x="2249" y="281"/>
                  </a:lnTo>
                  <a:lnTo>
                    <a:pt x="2245" y="275"/>
                  </a:lnTo>
                  <a:lnTo>
                    <a:pt x="2245" y="275"/>
                  </a:lnTo>
                  <a:lnTo>
                    <a:pt x="2242" y="272"/>
                  </a:lnTo>
                  <a:lnTo>
                    <a:pt x="2242" y="271"/>
                  </a:lnTo>
                  <a:lnTo>
                    <a:pt x="2242" y="269"/>
                  </a:lnTo>
                  <a:lnTo>
                    <a:pt x="2242" y="269"/>
                  </a:lnTo>
                  <a:lnTo>
                    <a:pt x="2245" y="264"/>
                  </a:lnTo>
                  <a:lnTo>
                    <a:pt x="2245" y="264"/>
                  </a:lnTo>
                  <a:lnTo>
                    <a:pt x="2248" y="261"/>
                  </a:lnTo>
                  <a:lnTo>
                    <a:pt x="2249" y="261"/>
                  </a:lnTo>
                  <a:lnTo>
                    <a:pt x="2249" y="261"/>
                  </a:lnTo>
                  <a:lnTo>
                    <a:pt x="2252" y="261"/>
                  </a:lnTo>
                  <a:lnTo>
                    <a:pt x="2252" y="261"/>
                  </a:lnTo>
                  <a:lnTo>
                    <a:pt x="2255" y="264"/>
                  </a:lnTo>
                  <a:lnTo>
                    <a:pt x="2255" y="264"/>
                  </a:lnTo>
                  <a:lnTo>
                    <a:pt x="2259" y="265"/>
                  </a:lnTo>
                  <a:lnTo>
                    <a:pt x="2262" y="266"/>
                  </a:lnTo>
                  <a:lnTo>
                    <a:pt x="2262" y="266"/>
                  </a:lnTo>
                  <a:lnTo>
                    <a:pt x="2265" y="266"/>
                  </a:lnTo>
                  <a:lnTo>
                    <a:pt x="2265" y="266"/>
                  </a:lnTo>
                  <a:lnTo>
                    <a:pt x="2268" y="268"/>
                  </a:lnTo>
                  <a:lnTo>
                    <a:pt x="2268" y="268"/>
                  </a:lnTo>
                  <a:lnTo>
                    <a:pt x="2270" y="272"/>
                  </a:lnTo>
                  <a:lnTo>
                    <a:pt x="2270" y="272"/>
                  </a:lnTo>
                  <a:lnTo>
                    <a:pt x="2270" y="272"/>
                  </a:lnTo>
                  <a:lnTo>
                    <a:pt x="2274" y="275"/>
                  </a:lnTo>
                  <a:lnTo>
                    <a:pt x="2274" y="275"/>
                  </a:lnTo>
                  <a:lnTo>
                    <a:pt x="2280" y="278"/>
                  </a:lnTo>
                  <a:lnTo>
                    <a:pt x="2280" y="278"/>
                  </a:lnTo>
                  <a:lnTo>
                    <a:pt x="2287" y="280"/>
                  </a:lnTo>
                  <a:lnTo>
                    <a:pt x="2287" y="280"/>
                  </a:lnTo>
                  <a:lnTo>
                    <a:pt x="2297" y="281"/>
                  </a:lnTo>
                  <a:lnTo>
                    <a:pt x="2297" y="281"/>
                  </a:lnTo>
                  <a:lnTo>
                    <a:pt x="2300" y="280"/>
                  </a:lnTo>
                  <a:lnTo>
                    <a:pt x="2303" y="278"/>
                  </a:lnTo>
                  <a:lnTo>
                    <a:pt x="2303" y="278"/>
                  </a:lnTo>
                  <a:lnTo>
                    <a:pt x="2303" y="278"/>
                  </a:lnTo>
                  <a:lnTo>
                    <a:pt x="2303" y="278"/>
                  </a:lnTo>
                  <a:lnTo>
                    <a:pt x="2303" y="278"/>
                  </a:lnTo>
                  <a:lnTo>
                    <a:pt x="2303" y="278"/>
                  </a:lnTo>
                  <a:lnTo>
                    <a:pt x="2304" y="278"/>
                  </a:lnTo>
                  <a:lnTo>
                    <a:pt x="2304" y="278"/>
                  </a:lnTo>
                  <a:lnTo>
                    <a:pt x="2309" y="280"/>
                  </a:lnTo>
                  <a:lnTo>
                    <a:pt x="2309" y="280"/>
                  </a:lnTo>
                  <a:lnTo>
                    <a:pt x="2313" y="281"/>
                  </a:lnTo>
                  <a:lnTo>
                    <a:pt x="2316" y="281"/>
                  </a:lnTo>
                  <a:lnTo>
                    <a:pt x="2316" y="281"/>
                  </a:lnTo>
                  <a:lnTo>
                    <a:pt x="2317" y="282"/>
                  </a:lnTo>
                  <a:lnTo>
                    <a:pt x="2317" y="282"/>
                  </a:lnTo>
                  <a:lnTo>
                    <a:pt x="2319" y="281"/>
                  </a:lnTo>
                  <a:lnTo>
                    <a:pt x="2317" y="281"/>
                  </a:lnTo>
                  <a:lnTo>
                    <a:pt x="2317" y="282"/>
                  </a:lnTo>
                  <a:lnTo>
                    <a:pt x="2319" y="281"/>
                  </a:lnTo>
                  <a:lnTo>
                    <a:pt x="2317" y="281"/>
                  </a:lnTo>
                  <a:lnTo>
                    <a:pt x="2319" y="281"/>
                  </a:lnTo>
                  <a:lnTo>
                    <a:pt x="2317" y="281"/>
                  </a:lnTo>
                  <a:lnTo>
                    <a:pt x="2317" y="281"/>
                  </a:lnTo>
                  <a:lnTo>
                    <a:pt x="2319" y="281"/>
                  </a:lnTo>
                  <a:lnTo>
                    <a:pt x="2317" y="281"/>
                  </a:lnTo>
                  <a:lnTo>
                    <a:pt x="2317" y="281"/>
                  </a:lnTo>
                  <a:lnTo>
                    <a:pt x="2319" y="284"/>
                  </a:lnTo>
                  <a:lnTo>
                    <a:pt x="2319" y="284"/>
                  </a:lnTo>
                  <a:lnTo>
                    <a:pt x="2323" y="287"/>
                  </a:lnTo>
                  <a:lnTo>
                    <a:pt x="2323" y="287"/>
                  </a:lnTo>
                  <a:lnTo>
                    <a:pt x="2325" y="288"/>
                  </a:lnTo>
                  <a:lnTo>
                    <a:pt x="2325" y="288"/>
                  </a:lnTo>
                  <a:lnTo>
                    <a:pt x="2326" y="293"/>
                  </a:lnTo>
                  <a:lnTo>
                    <a:pt x="2326" y="293"/>
                  </a:lnTo>
                  <a:lnTo>
                    <a:pt x="2327" y="297"/>
                  </a:lnTo>
                  <a:lnTo>
                    <a:pt x="2330" y="301"/>
                  </a:lnTo>
                  <a:lnTo>
                    <a:pt x="2330" y="301"/>
                  </a:lnTo>
                  <a:lnTo>
                    <a:pt x="2340" y="307"/>
                  </a:lnTo>
                  <a:lnTo>
                    <a:pt x="2340" y="307"/>
                  </a:lnTo>
                  <a:lnTo>
                    <a:pt x="2342" y="310"/>
                  </a:lnTo>
                  <a:lnTo>
                    <a:pt x="2342" y="310"/>
                  </a:lnTo>
                  <a:lnTo>
                    <a:pt x="2343" y="313"/>
                  </a:lnTo>
                  <a:lnTo>
                    <a:pt x="2343" y="313"/>
                  </a:lnTo>
                  <a:lnTo>
                    <a:pt x="2342" y="332"/>
                  </a:lnTo>
                  <a:lnTo>
                    <a:pt x="2342" y="332"/>
                  </a:lnTo>
                  <a:lnTo>
                    <a:pt x="2340" y="345"/>
                  </a:lnTo>
                  <a:lnTo>
                    <a:pt x="2340" y="345"/>
                  </a:lnTo>
                  <a:lnTo>
                    <a:pt x="2340" y="352"/>
                  </a:lnTo>
                  <a:lnTo>
                    <a:pt x="2340" y="352"/>
                  </a:lnTo>
                  <a:lnTo>
                    <a:pt x="2340" y="352"/>
                  </a:lnTo>
                  <a:lnTo>
                    <a:pt x="2340" y="350"/>
                  </a:lnTo>
                  <a:lnTo>
                    <a:pt x="2340" y="352"/>
                  </a:lnTo>
                  <a:lnTo>
                    <a:pt x="2340" y="352"/>
                  </a:lnTo>
                  <a:lnTo>
                    <a:pt x="2340" y="350"/>
                  </a:lnTo>
                  <a:lnTo>
                    <a:pt x="2340" y="352"/>
                  </a:lnTo>
                  <a:lnTo>
                    <a:pt x="2340" y="350"/>
                  </a:lnTo>
                  <a:lnTo>
                    <a:pt x="2340" y="350"/>
                  </a:lnTo>
                  <a:lnTo>
                    <a:pt x="2340" y="352"/>
                  </a:lnTo>
                  <a:lnTo>
                    <a:pt x="2340" y="350"/>
                  </a:lnTo>
                  <a:lnTo>
                    <a:pt x="2340" y="350"/>
                  </a:lnTo>
                  <a:lnTo>
                    <a:pt x="2340" y="350"/>
                  </a:lnTo>
                  <a:lnTo>
                    <a:pt x="2338" y="350"/>
                  </a:lnTo>
                  <a:lnTo>
                    <a:pt x="2338" y="350"/>
                  </a:lnTo>
                  <a:lnTo>
                    <a:pt x="2333" y="348"/>
                  </a:lnTo>
                  <a:lnTo>
                    <a:pt x="2333" y="348"/>
                  </a:lnTo>
                  <a:lnTo>
                    <a:pt x="2330" y="343"/>
                  </a:lnTo>
                  <a:lnTo>
                    <a:pt x="2329" y="340"/>
                  </a:lnTo>
                  <a:lnTo>
                    <a:pt x="2329" y="340"/>
                  </a:lnTo>
                  <a:lnTo>
                    <a:pt x="2326" y="336"/>
                  </a:lnTo>
                  <a:lnTo>
                    <a:pt x="2322" y="333"/>
                  </a:lnTo>
                  <a:lnTo>
                    <a:pt x="2322" y="333"/>
                  </a:lnTo>
                  <a:lnTo>
                    <a:pt x="2310" y="327"/>
                  </a:lnTo>
                  <a:lnTo>
                    <a:pt x="2310" y="327"/>
                  </a:lnTo>
                  <a:lnTo>
                    <a:pt x="2303" y="324"/>
                  </a:lnTo>
                  <a:lnTo>
                    <a:pt x="2303" y="324"/>
                  </a:lnTo>
                  <a:lnTo>
                    <a:pt x="2298" y="323"/>
                  </a:lnTo>
                  <a:lnTo>
                    <a:pt x="2298" y="323"/>
                  </a:lnTo>
                  <a:lnTo>
                    <a:pt x="2296" y="324"/>
                  </a:lnTo>
                  <a:lnTo>
                    <a:pt x="2296" y="324"/>
                  </a:lnTo>
                  <a:lnTo>
                    <a:pt x="2294" y="326"/>
                  </a:lnTo>
                  <a:lnTo>
                    <a:pt x="2294" y="326"/>
                  </a:lnTo>
                  <a:lnTo>
                    <a:pt x="2294" y="327"/>
                  </a:lnTo>
                  <a:lnTo>
                    <a:pt x="2294" y="327"/>
                  </a:lnTo>
                  <a:lnTo>
                    <a:pt x="2296" y="330"/>
                  </a:lnTo>
                  <a:lnTo>
                    <a:pt x="2296" y="330"/>
                  </a:lnTo>
                  <a:lnTo>
                    <a:pt x="2300" y="337"/>
                  </a:lnTo>
                  <a:lnTo>
                    <a:pt x="2300" y="337"/>
                  </a:lnTo>
                  <a:lnTo>
                    <a:pt x="2303" y="340"/>
                  </a:lnTo>
                  <a:lnTo>
                    <a:pt x="2303" y="340"/>
                  </a:lnTo>
                  <a:lnTo>
                    <a:pt x="2306" y="340"/>
                  </a:lnTo>
                  <a:lnTo>
                    <a:pt x="2307" y="340"/>
                  </a:lnTo>
                  <a:lnTo>
                    <a:pt x="2307" y="340"/>
                  </a:lnTo>
                  <a:lnTo>
                    <a:pt x="2309" y="340"/>
                  </a:lnTo>
                  <a:lnTo>
                    <a:pt x="2309" y="340"/>
                  </a:lnTo>
                  <a:lnTo>
                    <a:pt x="2314" y="342"/>
                  </a:lnTo>
                  <a:lnTo>
                    <a:pt x="2319" y="345"/>
                  </a:lnTo>
                  <a:lnTo>
                    <a:pt x="2319" y="345"/>
                  </a:lnTo>
                  <a:lnTo>
                    <a:pt x="2320" y="346"/>
                  </a:lnTo>
                  <a:lnTo>
                    <a:pt x="2320" y="346"/>
                  </a:lnTo>
                  <a:lnTo>
                    <a:pt x="2323" y="353"/>
                  </a:lnTo>
                  <a:lnTo>
                    <a:pt x="2323" y="353"/>
                  </a:lnTo>
                  <a:lnTo>
                    <a:pt x="2325" y="358"/>
                  </a:lnTo>
                  <a:lnTo>
                    <a:pt x="2325" y="358"/>
                  </a:lnTo>
                  <a:lnTo>
                    <a:pt x="2326" y="359"/>
                  </a:lnTo>
                  <a:lnTo>
                    <a:pt x="2326" y="359"/>
                  </a:lnTo>
                  <a:lnTo>
                    <a:pt x="2327" y="361"/>
                  </a:lnTo>
                  <a:lnTo>
                    <a:pt x="2327" y="361"/>
                  </a:lnTo>
                  <a:lnTo>
                    <a:pt x="2330" y="359"/>
                  </a:lnTo>
                  <a:lnTo>
                    <a:pt x="2330" y="359"/>
                  </a:lnTo>
                  <a:lnTo>
                    <a:pt x="2330" y="359"/>
                  </a:lnTo>
                  <a:lnTo>
                    <a:pt x="2330" y="359"/>
                  </a:lnTo>
                  <a:lnTo>
                    <a:pt x="2332" y="358"/>
                  </a:lnTo>
                  <a:lnTo>
                    <a:pt x="2332" y="358"/>
                  </a:lnTo>
                  <a:lnTo>
                    <a:pt x="2332" y="358"/>
                  </a:lnTo>
                  <a:lnTo>
                    <a:pt x="2332" y="358"/>
                  </a:lnTo>
                  <a:lnTo>
                    <a:pt x="2332" y="358"/>
                  </a:lnTo>
                  <a:lnTo>
                    <a:pt x="2332" y="358"/>
                  </a:lnTo>
                  <a:lnTo>
                    <a:pt x="2332" y="358"/>
                  </a:lnTo>
                  <a:lnTo>
                    <a:pt x="2332" y="358"/>
                  </a:lnTo>
                  <a:lnTo>
                    <a:pt x="2333" y="356"/>
                  </a:lnTo>
                  <a:lnTo>
                    <a:pt x="2332" y="358"/>
                  </a:lnTo>
                  <a:lnTo>
                    <a:pt x="2332" y="358"/>
                  </a:lnTo>
                  <a:lnTo>
                    <a:pt x="2333" y="356"/>
                  </a:lnTo>
                  <a:lnTo>
                    <a:pt x="2332" y="358"/>
                  </a:lnTo>
                  <a:lnTo>
                    <a:pt x="2332" y="358"/>
                  </a:lnTo>
                  <a:lnTo>
                    <a:pt x="2332" y="358"/>
                  </a:lnTo>
                  <a:lnTo>
                    <a:pt x="2332" y="358"/>
                  </a:lnTo>
                  <a:lnTo>
                    <a:pt x="2332" y="358"/>
                  </a:lnTo>
                  <a:lnTo>
                    <a:pt x="2332" y="358"/>
                  </a:lnTo>
                  <a:lnTo>
                    <a:pt x="2332" y="358"/>
                  </a:lnTo>
                  <a:lnTo>
                    <a:pt x="2332" y="358"/>
                  </a:lnTo>
                  <a:lnTo>
                    <a:pt x="2332" y="362"/>
                  </a:lnTo>
                  <a:lnTo>
                    <a:pt x="2332" y="362"/>
                  </a:lnTo>
                  <a:lnTo>
                    <a:pt x="2333" y="365"/>
                  </a:lnTo>
                  <a:lnTo>
                    <a:pt x="2333" y="365"/>
                  </a:lnTo>
                  <a:lnTo>
                    <a:pt x="2335" y="366"/>
                  </a:lnTo>
                  <a:lnTo>
                    <a:pt x="2336" y="366"/>
                  </a:lnTo>
                  <a:lnTo>
                    <a:pt x="2336" y="366"/>
                  </a:lnTo>
                  <a:lnTo>
                    <a:pt x="2338" y="366"/>
                  </a:lnTo>
                  <a:lnTo>
                    <a:pt x="2338" y="366"/>
                  </a:lnTo>
                  <a:lnTo>
                    <a:pt x="2340" y="366"/>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6"/>
                  </a:lnTo>
                  <a:lnTo>
                    <a:pt x="2340" y="366"/>
                  </a:lnTo>
                  <a:lnTo>
                    <a:pt x="2340" y="366"/>
                  </a:lnTo>
                  <a:lnTo>
                    <a:pt x="2342" y="372"/>
                  </a:lnTo>
                  <a:lnTo>
                    <a:pt x="2342" y="372"/>
                  </a:lnTo>
                  <a:lnTo>
                    <a:pt x="2343" y="375"/>
                  </a:lnTo>
                  <a:lnTo>
                    <a:pt x="2343" y="375"/>
                  </a:lnTo>
                  <a:lnTo>
                    <a:pt x="2348" y="378"/>
                  </a:lnTo>
                  <a:lnTo>
                    <a:pt x="2348" y="378"/>
                  </a:lnTo>
                  <a:lnTo>
                    <a:pt x="2352" y="382"/>
                  </a:lnTo>
                  <a:lnTo>
                    <a:pt x="2352" y="382"/>
                  </a:lnTo>
                  <a:lnTo>
                    <a:pt x="2355" y="387"/>
                  </a:lnTo>
                  <a:lnTo>
                    <a:pt x="2355" y="387"/>
                  </a:lnTo>
                  <a:lnTo>
                    <a:pt x="2358" y="392"/>
                  </a:lnTo>
                  <a:lnTo>
                    <a:pt x="2358" y="397"/>
                  </a:lnTo>
                  <a:lnTo>
                    <a:pt x="2358" y="397"/>
                  </a:lnTo>
                  <a:lnTo>
                    <a:pt x="2359" y="404"/>
                  </a:lnTo>
                  <a:lnTo>
                    <a:pt x="2359" y="404"/>
                  </a:lnTo>
                  <a:lnTo>
                    <a:pt x="2361" y="408"/>
                  </a:lnTo>
                  <a:lnTo>
                    <a:pt x="2361" y="408"/>
                  </a:lnTo>
                  <a:lnTo>
                    <a:pt x="2362" y="410"/>
                  </a:lnTo>
                  <a:lnTo>
                    <a:pt x="2362" y="410"/>
                  </a:lnTo>
                  <a:lnTo>
                    <a:pt x="2365" y="410"/>
                  </a:lnTo>
                  <a:lnTo>
                    <a:pt x="2365" y="410"/>
                  </a:lnTo>
                  <a:lnTo>
                    <a:pt x="2369" y="410"/>
                  </a:lnTo>
                  <a:lnTo>
                    <a:pt x="2369" y="410"/>
                  </a:lnTo>
                  <a:lnTo>
                    <a:pt x="2371" y="410"/>
                  </a:lnTo>
                  <a:lnTo>
                    <a:pt x="2371" y="411"/>
                  </a:lnTo>
                  <a:lnTo>
                    <a:pt x="2372" y="410"/>
                  </a:lnTo>
                  <a:lnTo>
                    <a:pt x="2371" y="410"/>
                  </a:lnTo>
                  <a:lnTo>
                    <a:pt x="2371" y="411"/>
                  </a:lnTo>
                  <a:lnTo>
                    <a:pt x="2372" y="410"/>
                  </a:lnTo>
                  <a:lnTo>
                    <a:pt x="2371" y="410"/>
                  </a:lnTo>
                  <a:lnTo>
                    <a:pt x="2371" y="410"/>
                  </a:lnTo>
                  <a:lnTo>
                    <a:pt x="2372" y="416"/>
                  </a:lnTo>
                  <a:lnTo>
                    <a:pt x="2372" y="416"/>
                  </a:lnTo>
                  <a:lnTo>
                    <a:pt x="2374" y="419"/>
                  </a:lnTo>
                  <a:lnTo>
                    <a:pt x="2374" y="419"/>
                  </a:lnTo>
                  <a:lnTo>
                    <a:pt x="2374" y="420"/>
                  </a:lnTo>
                  <a:lnTo>
                    <a:pt x="2374" y="420"/>
                  </a:lnTo>
                  <a:lnTo>
                    <a:pt x="2377" y="421"/>
                  </a:lnTo>
                  <a:lnTo>
                    <a:pt x="2377" y="421"/>
                  </a:lnTo>
                  <a:lnTo>
                    <a:pt x="2378" y="421"/>
                  </a:lnTo>
                  <a:lnTo>
                    <a:pt x="2378" y="421"/>
                  </a:lnTo>
                  <a:lnTo>
                    <a:pt x="2380" y="420"/>
                  </a:lnTo>
                  <a:lnTo>
                    <a:pt x="2380" y="420"/>
                  </a:lnTo>
                  <a:lnTo>
                    <a:pt x="2380" y="420"/>
                  </a:lnTo>
                  <a:lnTo>
                    <a:pt x="2380" y="420"/>
                  </a:lnTo>
                  <a:lnTo>
                    <a:pt x="2382" y="417"/>
                  </a:lnTo>
                  <a:lnTo>
                    <a:pt x="2382" y="417"/>
                  </a:lnTo>
                  <a:lnTo>
                    <a:pt x="2390" y="408"/>
                  </a:lnTo>
                  <a:lnTo>
                    <a:pt x="2390" y="408"/>
                  </a:lnTo>
                  <a:lnTo>
                    <a:pt x="2393" y="403"/>
                  </a:lnTo>
                  <a:lnTo>
                    <a:pt x="2393" y="395"/>
                  </a:lnTo>
                  <a:lnTo>
                    <a:pt x="2393" y="395"/>
                  </a:lnTo>
                  <a:lnTo>
                    <a:pt x="2394" y="381"/>
                  </a:lnTo>
                  <a:lnTo>
                    <a:pt x="2394" y="381"/>
                  </a:lnTo>
                  <a:lnTo>
                    <a:pt x="2396" y="375"/>
                  </a:lnTo>
                  <a:lnTo>
                    <a:pt x="2398" y="369"/>
                  </a:lnTo>
                  <a:lnTo>
                    <a:pt x="2398" y="369"/>
                  </a:lnTo>
                  <a:lnTo>
                    <a:pt x="2403" y="362"/>
                  </a:lnTo>
                  <a:lnTo>
                    <a:pt x="2403" y="362"/>
                  </a:lnTo>
                  <a:lnTo>
                    <a:pt x="2403" y="361"/>
                  </a:lnTo>
                  <a:lnTo>
                    <a:pt x="2404" y="361"/>
                  </a:lnTo>
                  <a:lnTo>
                    <a:pt x="2403" y="359"/>
                  </a:lnTo>
                  <a:lnTo>
                    <a:pt x="2403" y="361"/>
                  </a:lnTo>
                  <a:lnTo>
                    <a:pt x="2404" y="361"/>
                  </a:lnTo>
                  <a:lnTo>
                    <a:pt x="2403" y="359"/>
                  </a:lnTo>
                  <a:lnTo>
                    <a:pt x="2403" y="361"/>
                  </a:lnTo>
                  <a:lnTo>
                    <a:pt x="2401" y="359"/>
                  </a:lnTo>
                  <a:lnTo>
                    <a:pt x="2401" y="361"/>
                  </a:lnTo>
                  <a:lnTo>
                    <a:pt x="2401" y="361"/>
                  </a:lnTo>
                  <a:lnTo>
                    <a:pt x="2403" y="361"/>
                  </a:lnTo>
                  <a:lnTo>
                    <a:pt x="2401" y="359"/>
                  </a:lnTo>
                  <a:lnTo>
                    <a:pt x="2401" y="361"/>
                  </a:lnTo>
                  <a:lnTo>
                    <a:pt x="2401" y="359"/>
                  </a:lnTo>
                  <a:lnTo>
                    <a:pt x="2401" y="361"/>
                  </a:lnTo>
                  <a:lnTo>
                    <a:pt x="2401" y="361"/>
                  </a:lnTo>
                  <a:lnTo>
                    <a:pt x="2401" y="361"/>
                  </a:lnTo>
                  <a:lnTo>
                    <a:pt x="2401" y="359"/>
                  </a:lnTo>
                  <a:lnTo>
                    <a:pt x="2401" y="361"/>
                  </a:lnTo>
                  <a:lnTo>
                    <a:pt x="2401" y="359"/>
                  </a:lnTo>
                  <a:lnTo>
                    <a:pt x="2401" y="361"/>
                  </a:lnTo>
                  <a:lnTo>
                    <a:pt x="2401" y="361"/>
                  </a:lnTo>
                  <a:lnTo>
                    <a:pt x="2401" y="359"/>
                  </a:lnTo>
                  <a:lnTo>
                    <a:pt x="2401" y="361"/>
                  </a:lnTo>
                  <a:lnTo>
                    <a:pt x="2401" y="361"/>
                  </a:lnTo>
                  <a:lnTo>
                    <a:pt x="2401" y="361"/>
                  </a:lnTo>
                  <a:lnTo>
                    <a:pt x="2401" y="361"/>
                  </a:lnTo>
                  <a:lnTo>
                    <a:pt x="2401" y="361"/>
                  </a:lnTo>
                  <a:lnTo>
                    <a:pt x="2401" y="361"/>
                  </a:lnTo>
                  <a:lnTo>
                    <a:pt x="2401" y="361"/>
                  </a:lnTo>
                  <a:lnTo>
                    <a:pt x="2401" y="362"/>
                  </a:lnTo>
                  <a:lnTo>
                    <a:pt x="2401" y="362"/>
                  </a:lnTo>
                  <a:lnTo>
                    <a:pt x="2404" y="366"/>
                  </a:lnTo>
                  <a:lnTo>
                    <a:pt x="2404" y="366"/>
                  </a:lnTo>
                  <a:lnTo>
                    <a:pt x="2409" y="378"/>
                  </a:lnTo>
                  <a:lnTo>
                    <a:pt x="2409" y="378"/>
                  </a:lnTo>
                  <a:lnTo>
                    <a:pt x="2411" y="382"/>
                  </a:lnTo>
                  <a:lnTo>
                    <a:pt x="2411" y="382"/>
                  </a:lnTo>
                  <a:lnTo>
                    <a:pt x="2414" y="384"/>
                  </a:lnTo>
                  <a:lnTo>
                    <a:pt x="2416" y="385"/>
                  </a:lnTo>
                  <a:lnTo>
                    <a:pt x="2416" y="385"/>
                  </a:lnTo>
                  <a:lnTo>
                    <a:pt x="2419" y="385"/>
                  </a:lnTo>
                  <a:lnTo>
                    <a:pt x="2419" y="385"/>
                  </a:lnTo>
                  <a:lnTo>
                    <a:pt x="2426" y="384"/>
                  </a:lnTo>
                  <a:lnTo>
                    <a:pt x="2426" y="384"/>
                  </a:lnTo>
                  <a:lnTo>
                    <a:pt x="2430" y="382"/>
                  </a:lnTo>
                  <a:lnTo>
                    <a:pt x="2430" y="382"/>
                  </a:lnTo>
                  <a:lnTo>
                    <a:pt x="2430" y="382"/>
                  </a:lnTo>
                  <a:lnTo>
                    <a:pt x="2432" y="379"/>
                  </a:lnTo>
                  <a:lnTo>
                    <a:pt x="2432" y="379"/>
                  </a:lnTo>
                  <a:lnTo>
                    <a:pt x="2435" y="377"/>
                  </a:lnTo>
                  <a:lnTo>
                    <a:pt x="2435" y="377"/>
                  </a:lnTo>
                  <a:lnTo>
                    <a:pt x="2440" y="375"/>
                  </a:lnTo>
                  <a:lnTo>
                    <a:pt x="2440" y="375"/>
                  </a:lnTo>
                  <a:lnTo>
                    <a:pt x="2442" y="377"/>
                  </a:lnTo>
                  <a:lnTo>
                    <a:pt x="2442" y="377"/>
                  </a:lnTo>
                  <a:lnTo>
                    <a:pt x="2445" y="377"/>
                  </a:lnTo>
                  <a:lnTo>
                    <a:pt x="2449" y="379"/>
                  </a:lnTo>
                  <a:lnTo>
                    <a:pt x="2449" y="379"/>
                  </a:lnTo>
                  <a:lnTo>
                    <a:pt x="2452" y="381"/>
                  </a:lnTo>
                  <a:lnTo>
                    <a:pt x="2452" y="381"/>
                  </a:lnTo>
                  <a:lnTo>
                    <a:pt x="2456" y="381"/>
                  </a:lnTo>
                  <a:lnTo>
                    <a:pt x="2456" y="381"/>
                  </a:lnTo>
                  <a:lnTo>
                    <a:pt x="2458" y="381"/>
                  </a:lnTo>
                  <a:lnTo>
                    <a:pt x="2458" y="381"/>
                  </a:lnTo>
                  <a:lnTo>
                    <a:pt x="2462" y="382"/>
                  </a:lnTo>
                  <a:lnTo>
                    <a:pt x="2462" y="382"/>
                  </a:lnTo>
                  <a:lnTo>
                    <a:pt x="2468" y="387"/>
                  </a:lnTo>
                  <a:lnTo>
                    <a:pt x="2468" y="387"/>
                  </a:lnTo>
                  <a:lnTo>
                    <a:pt x="2471" y="390"/>
                  </a:lnTo>
                  <a:lnTo>
                    <a:pt x="2471" y="390"/>
                  </a:lnTo>
                  <a:lnTo>
                    <a:pt x="2477" y="398"/>
                  </a:lnTo>
                  <a:lnTo>
                    <a:pt x="2477" y="398"/>
                  </a:lnTo>
                  <a:lnTo>
                    <a:pt x="2480" y="401"/>
                  </a:lnTo>
                  <a:lnTo>
                    <a:pt x="2480" y="401"/>
                  </a:lnTo>
                  <a:lnTo>
                    <a:pt x="2481" y="403"/>
                  </a:lnTo>
                  <a:lnTo>
                    <a:pt x="2481" y="403"/>
                  </a:lnTo>
                  <a:lnTo>
                    <a:pt x="2484" y="404"/>
                  </a:lnTo>
                  <a:lnTo>
                    <a:pt x="2484" y="404"/>
                  </a:lnTo>
                  <a:lnTo>
                    <a:pt x="2487" y="403"/>
                  </a:lnTo>
                  <a:lnTo>
                    <a:pt x="2487" y="403"/>
                  </a:lnTo>
                  <a:lnTo>
                    <a:pt x="2488" y="398"/>
                  </a:lnTo>
                  <a:lnTo>
                    <a:pt x="2488" y="398"/>
                  </a:lnTo>
                  <a:lnTo>
                    <a:pt x="2488" y="392"/>
                  </a:lnTo>
                  <a:lnTo>
                    <a:pt x="2488" y="392"/>
                  </a:lnTo>
                  <a:lnTo>
                    <a:pt x="2488" y="392"/>
                  </a:lnTo>
                  <a:lnTo>
                    <a:pt x="2488" y="391"/>
                  </a:lnTo>
                  <a:lnTo>
                    <a:pt x="2488" y="392"/>
                  </a:lnTo>
                  <a:lnTo>
                    <a:pt x="2488" y="392"/>
                  </a:lnTo>
                  <a:lnTo>
                    <a:pt x="2488" y="391"/>
                  </a:lnTo>
                  <a:lnTo>
                    <a:pt x="2488" y="392"/>
                  </a:lnTo>
                  <a:lnTo>
                    <a:pt x="2488" y="391"/>
                  </a:lnTo>
                  <a:lnTo>
                    <a:pt x="2488" y="392"/>
                  </a:lnTo>
                  <a:lnTo>
                    <a:pt x="2488" y="392"/>
                  </a:lnTo>
                  <a:lnTo>
                    <a:pt x="2488" y="391"/>
                  </a:lnTo>
                  <a:lnTo>
                    <a:pt x="2488" y="392"/>
                  </a:lnTo>
                  <a:lnTo>
                    <a:pt x="2488" y="392"/>
                  </a:lnTo>
                  <a:lnTo>
                    <a:pt x="2490" y="392"/>
                  </a:lnTo>
                  <a:lnTo>
                    <a:pt x="2490" y="392"/>
                  </a:lnTo>
                  <a:lnTo>
                    <a:pt x="2493" y="392"/>
                  </a:lnTo>
                  <a:lnTo>
                    <a:pt x="2493" y="392"/>
                  </a:lnTo>
                  <a:lnTo>
                    <a:pt x="2495" y="392"/>
                  </a:lnTo>
                  <a:lnTo>
                    <a:pt x="2495" y="392"/>
                  </a:lnTo>
                  <a:lnTo>
                    <a:pt x="2495" y="391"/>
                  </a:lnTo>
                  <a:lnTo>
                    <a:pt x="2495" y="391"/>
                  </a:lnTo>
                  <a:lnTo>
                    <a:pt x="2497" y="390"/>
                  </a:lnTo>
                  <a:lnTo>
                    <a:pt x="2497" y="390"/>
                  </a:lnTo>
                  <a:lnTo>
                    <a:pt x="2495" y="388"/>
                  </a:lnTo>
                  <a:lnTo>
                    <a:pt x="2495" y="388"/>
                  </a:lnTo>
                  <a:lnTo>
                    <a:pt x="2495" y="388"/>
                  </a:lnTo>
                  <a:lnTo>
                    <a:pt x="2493" y="381"/>
                  </a:lnTo>
                  <a:lnTo>
                    <a:pt x="2493" y="381"/>
                  </a:lnTo>
                  <a:lnTo>
                    <a:pt x="2491" y="377"/>
                  </a:lnTo>
                  <a:lnTo>
                    <a:pt x="2491" y="377"/>
                  </a:lnTo>
                  <a:lnTo>
                    <a:pt x="2491" y="377"/>
                  </a:lnTo>
                  <a:lnTo>
                    <a:pt x="2491" y="377"/>
                  </a:lnTo>
                  <a:lnTo>
                    <a:pt x="2497" y="375"/>
                  </a:lnTo>
                  <a:lnTo>
                    <a:pt x="2497" y="375"/>
                  </a:lnTo>
                  <a:lnTo>
                    <a:pt x="2500" y="375"/>
                  </a:lnTo>
                  <a:lnTo>
                    <a:pt x="2500" y="375"/>
                  </a:lnTo>
                  <a:lnTo>
                    <a:pt x="2501" y="375"/>
                  </a:lnTo>
                  <a:lnTo>
                    <a:pt x="2501" y="375"/>
                  </a:lnTo>
                  <a:lnTo>
                    <a:pt x="2500" y="375"/>
                  </a:lnTo>
                  <a:lnTo>
                    <a:pt x="2501" y="375"/>
                  </a:lnTo>
                  <a:lnTo>
                    <a:pt x="2501" y="375"/>
                  </a:lnTo>
                  <a:lnTo>
                    <a:pt x="2500" y="375"/>
                  </a:lnTo>
                  <a:lnTo>
                    <a:pt x="2501" y="374"/>
                  </a:lnTo>
                  <a:lnTo>
                    <a:pt x="2500" y="374"/>
                  </a:lnTo>
                  <a:lnTo>
                    <a:pt x="2500" y="374"/>
                  </a:lnTo>
                  <a:lnTo>
                    <a:pt x="2500" y="375"/>
                  </a:lnTo>
                  <a:lnTo>
                    <a:pt x="2501" y="374"/>
                  </a:lnTo>
                  <a:lnTo>
                    <a:pt x="2500" y="374"/>
                  </a:lnTo>
                  <a:lnTo>
                    <a:pt x="2501" y="374"/>
                  </a:lnTo>
                  <a:lnTo>
                    <a:pt x="2500" y="372"/>
                  </a:lnTo>
                  <a:lnTo>
                    <a:pt x="2500" y="372"/>
                  </a:lnTo>
                  <a:lnTo>
                    <a:pt x="2500" y="374"/>
                  </a:lnTo>
                  <a:lnTo>
                    <a:pt x="2501" y="374"/>
                  </a:lnTo>
                  <a:lnTo>
                    <a:pt x="2500" y="372"/>
                  </a:lnTo>
                  <a:lnTo>
                    <a:pt x="2500" y="372"/>
                  </a:lnTo>
                  <a:lnTo>
                    <a:pt x="2500" y="372"/>
                  </a:lnTo>
                  <a:lnTo>
                    <a:pt x="2500" y="375"/>
                  </a:lnTo>
                  <a:lnTo>
                    <a:pt x="2500" y="375"/>
                  </a:lnTo>
                  <a:lnTo>
                    <a:pt x="2500" y="378"/>
                  </a:lnTo>
                  <a:lnTo>
                    <a:pt x="2500" y="378"/>
                  </a:lnTo>
                  <a:lnTo>
                    <a:pt x="2503" y="384"/>
                  </a:lnTo>
                  <a:lnTo>
                    <a:pt x="2503" y="384"/>
                  </a:lnTo>
                  <a:lnTo>
                    <a:pt x="2504" y="387"/>
                  </a:lnTo>
                  <a:lnTo>
                    <a:pt x="2504" y="387"/>
                  </a:lnTo>
                  <a:lnTo>
                    <a:pt x="2507" y="388"/>
                  </a:lnTo>
                  <a:lnTo>
                    <a:pt x="2507" y="388"/>
                  </a:lnTo>
                  <a:lnTo>
                    <a:pt x="2510" y="387"/>
                  </a:lnTo>
                  <a:lnTo>
                    <a:pt x="2510" y="387"/>
                  </a:lnTo>
                  <a:lnTo>
                    <a:pt x="2514" y="384"/>
                  </a:lnTo>
                  <a:lnTo>
                    <a:pt x="2514" y="382"/>
                  </a:lnTo>
                  <a:lnTo>
                    <a:pt x="2514" y="382"/>
                  </a:lnTo>
                  <a:lnTo>
                    <a:pt x="2516" y="382"/>
                  </a:lnTo>
                  <a:lnTo>
                    <a:pt x="2516" y="382"/>
                  </a:lnTo>
                  <a:lnTo>
                    <a:pt x="2519" y="382"/>
                  </a:lnTo>
                  <a:lnTo>
                    <a:pt x="2519" y="382"/>
                  </a:lnTo>
                  <a:lnTo>
                    <a:pt x="2522" y="384"/>
                  </a:lnTo>
                  <a:lnTo>
                    <a:pt x="2522" y="384"/>
                  </a:lnTo>
                  <a:lnTo>
                    <a:pt x="2523" y="382"/>
                  </a:lnTo>
                  <a:lnTo>
                    <a:pt x="2523" y="382"/>
                  </a:lnTo>
                  <a:lnTo>
                    <a:pt x="2524" y="381"/>
                  </a:lnTo>
                  <a:lnTo>
                    <a:pt x="2524" y="381"/>
                  </a:lnTo>
                  <a:lnTo>
                    <a:pt x="2524" y="378"/>
                  </a:lnTo>
                  <a:lnTo>
                    <a:pt x="2524" y="378"/>
                  </a:lnTo>
                  <a:lnTo>
                    <a:pt x="2523" y="377"/>
                  </a:lnTo>
                  <a:lnTo>
                    <a:pt x="2523" y="377"/>
                  </a:lnTo>
                  <a:lnTo>
                    <a:pt x="2517" y="368"/>
                  </a:lnTo>
                  <a:lnTo>
                    <a:pt x="2517" y="368"/>
                  </a:lnTo>
                  <a:lnTo>
                    <a:pt x="2514" y="364"/>
                  </a:lnTo>
                  <a:lnTo>
                    <a:pt x="2514" y="364"/>
                  </a:lnTo>
                  <a:lnTo>
                    <a:pt x="2514" y="361"/>
                  </a:lnTo>
                  <a:lnTo>
                    <a:pt x="2514" y="361"/>
                  </a:lnTo>
                  <a:lnTo>
                    <a:pt x="2514" y="359"/>
                  </a:lnTo>
                  <a:lnTo>
                    <a:pt x="2514" y="359"/>
                  </a:lnTo>
                  <a:lnTo>
                    <a:pt x="2514" y="359"/>
                  </a:lnTo>
                  <a:lnTo>
                    <a:pt x="2517" y="356"/>
                  </a:lnTo>
                  <a:lnTo>
                    <a:pt x="2517" y="356"/>
                  </a:lnTo>
                  <a:lnTo>
                    <a:pt x="2519" y="355"/>
                  </a:lnTo>
                  <a:lnTo>
                    <a:pt x="2519" y="355"/>
                  </a:lnTo>
                  <a:lnTo>
                    <a:pt x="2520" y="352"/>
                  </a:lnTo>
                  <a:lnTo>
                    <a:pt x="2519" y="352"/>
                  </a:lnTo>
                  <a:lnTo>
                    <a:pt x="2520" y="352"/>
                  </a:lnTo>
                  <a:lnTo>
                    <a:pt x="2520" y="352"/>
                  </a:lnTo>
                  <a:lnTo>
                    <a:pt x="2519" y="352"/>
                  </a:lnTo>
                  <a:lnTo>
                    <a:pt x="2520" y="352"/>
                  </a:lnTo>
                  <a:lnTo>
                    <a:pt x="2519" y="352"/>
                  </a:lnTo>
                  <a:lnTo>
                    <a:pt x="2519" y="353"/>
                  </a:lnTo>
                  <a:lnTo>
                    <a:pt x="2520" y="352"/>
                  </a:lnTo>
                  <a:lnTo>
                    <a:pt x="2519" y="352"/>
                  </a:lnTo>
                  <a:lnTo>
                    <a:pt x="2519" y="353"/>
                  </a:lnTo>
                  <a:lnTo>
                    <a:pt x="2519" y="353"/>
                  </a:lnTo>
                  <a:lnTo>
                    <a:pt x="2519" y="353"/>
                  </a:lnTo>
                  <a:lnTo>
                    <a:pt x="2520" y="353"/>
                  </a:lnTo>
                  <a:lnTo>
                    <a:pt x="2520" y="353"/>
                  </a:lnTo>
                  <a:lnTo>
                    <a:pt x="2522" y="353"/>
                  </a:lnTo>
                  <a:lnTo>
                    <a:pt x="2522" y="353"/>
                  </a:lnTo>
                  <a:lnTo>
                    <a:pt x="2524" y="353"/>
                  </a:lnTo>
                  <a:lnTo>
                    <a:pt x="2524" y="353"/>
                  </a:lnTo>
                  <a:lnTo>
                    <a:pt x="2524" y="353"/>
                  </a:lnTo>
                  <a:lnTo>
                    <a:pt x="2526" y="352"/>
                  </a:lnTo>
                  <a:lnTo>
                    <a:pt x="2526" y="352"/>
                  </a:lnTo>
                  <a:lnTo>
                    <a:pt x="2526" y="352"/>
                  </a:lnTo>
                  <a:lnTo>
                    <a:pt x="2527" y="350"/>
                  </a:lnTo>
                  <a:lnTo>
                    <a:pt x="2527" y="350"/>
                  </a:lnTo>
                  <a:lnTo>
                    <a:pt x="2526" y="349"/>
                  </a:lnTo>
                  <a:lnTo>
                    <a:pt x="2526" y="348"/>
                  </a:lnTo>
                  <a:lnTo>
                    <a:pt x="2526" y="348"/>
                  </a:lnTo>
                  <a:lnTo>
                    <a:pt x="2523" y="348"/>
                  </a:lnTo>
                  <a:lnTo>
                    <a:pt x="2523" y="348"/>
                  </a:lnTo>
                  <a:lnTo>
                    <a:pt x="2520" y="345"/>
                  </a:lnTo>
                  <a:lnTo>
                    <a:pt x="2520" y="345"/>
                  </a:lnTo>
                  <a:lnTo>
                    <a:pt x="2517" y="343"/>
                  </a:lnTo>
                  <a:lnTo>
                    <a:pt x="2517" y="343"/>
                  </a:lnTo>
                  <a:lnTo>
                    <a:pt x="2514" y="342"/>
                  </a:lnTo>
                  <a:lnTo>
                    <a:pt x="2514" y="342"/>
                  </a:lnTo>
                  <a:lnTo>
                    <a:pt x="2511" y="343"/>
                  </a:lnTo>
                  <a:lnTo>
                    <a:pt x="2511" y="343"/>
                  </a:lnTo>
                  <a:lnTo>
                    <a:pt x="2508" y="346"/>
                  </a:lnTo>
                  <a:lnTo>
                    <a:pt x="2508" y="348"/>
                  </a:lnTo>
                  <a:lnTo>
                    <a:pt x="2508" y="348"/>
                  </a:lnTo>
                  <a:lnTo>
                    <a:pt x="2508" y="348"/>
                  </a:lnTo>
                  <a:lnTo>
                    <a:pt x="2508" y="348"/>
                  </a:lnTo>
                  <a:lnTo>
                    <a:pt x="2508" y="348"/>
                  </a:lnTo>
                  <a:lnTo>
                    <a:pt x="2508" y="348"/>
                  </a:lnTo>
                  <a:lnTo>
                    <a:pt x="2508" y="348"/>
                  </a:lnTo>
                  <a:lnTo>
                    <a:pt x="2508" y="349"/>
                  </a:lnTo>
                  <a:lnTo>
                    <a:pt x="2508" y="348"/>
                  </a:lnTo>
                  <a:lnTo>
                    <a:pt x="2508" y="348"/>
                  </a:lnTo>
                  <a:lnTo>
                    <a:pt x="2508" y="349"/>
                  </a:lnTo>
                  <a:lnTo>
                    <a:pt x="2508" y="348"/>
                  </a:lnTo>
                  <a:lnTo>
                    <a:pt x="2508" y="349"/>
                  </a:lnTo>
                  <a:lnTo>
                    <a:pt x="2510" y="348"/>
                  </a:lnTo>
                  <a:lnTo>
                    <a:pt x="2508" y="348"/>
                  </a:lnTo>
                  <a:lnTo>
                    <a:pt x="2508" y="349"/>
                  </a:lnTo>
                  <a:lnTo>
                    <a:pt x="2510" y="348"/>
                  </a:lnTo>
                  <a:lnTo>
                    <a:pt x="2510" y="349"/>
                  </a:lnTo>
                  <a:lnTo>
                    <a:pt x="2510" y="348"/>
                  </a:lnTo>
                  <a:lnTo>
                    <a:pt x="2510" y="348"/>
                  </a:lnTo>
                  <a:lnTo>
                    <a:pt x="2510" y="349"/>
                  </a:lnTo>
                  <a:lnTo>
                    <a:pt x="2510" y="348"/>
                  </a:lnTo>
                  <a:lnTo>
                    <a:pt x="2510" y="348"/>
                  </a:lnTo>
                  <a:lnTo>
                    <a:pt x="2510" y="348"/>
                  </a:lnTo>
                  <a:lnTo>
                    <a:pt x="2510" y="346"/>
                  </a:lnTo>
                  <a:lnTo>
                    <a:pt x="2510" y="346"/>
                  </a:lnTo>
                  <a:lnTo>
                    <a:pt x="2510" y="343"/>
                  </a:lnTo>
                  <a:lnTo>
                    <a:pt x="2510" y="343"/>
                  </a:lnTo>
                  <a:lnTo>
                    <a:pt x="2510" y="336"/>
                  </a:lnTo>
                  <a:lnTo>
                    <a:pt x="2510" y="336"/>
                  </a:lnTo>
                  <a:lnTo>
                    <a:pt x="2511" y="333"/>
                  </a:lnTo>
                  <a:lnTo>
                    <a:pt x="2511" y="333"/>
                  </a:lnTo>
                  <a:lnTo>
                    <a:pt x="2511" y="333"/>
                  </a:lnTo>
                  <a:lnTo>
                    <a:pt x="2511" y="333"/>
                  </a:lnTo>
                  <a:lnTo>
                    <a:pt x="2511" y="333"/>
                  </a:lnTo>
                  <a:lnTo>
                    <a:pt x="2511" y="333"/>
                  </a:lnTo>
                  <a:lnTo>
                    <a:pt x="2511" y="333"/>
                  </a:lnTo>
                  <a:lnTo>
                    <a:pt x="2511" y="333"/>
                  </a:lnTo>
                  <a:lnTo>
                    <a:pt x="2511" y="333"/>
                  </a:lnTo>
                  <a:lnTo>
                    <a:pt x="2517" y="332"/>
                  </a:lnTo>
                  <a:lnTo>
                    <a:pt x="2517" y="332"/>
                  </a:lnTo>
                  <a:lnTo>
                    <a:pt x="2530" y="327"/>
                  </a:lnTo>
                  <a:lnTo>
                    <a:pt x="2530" y="327"/>
                  </a:lnTo>
                  <a:lnTo>
                    <a:pt x="2542" y="324"/>
                  </a:lnTo>
                  <a:lnTo>
                    <a:pt x="2542" y="324"/>
                  </a:lnTo>
                  <a:lnTo>
                    <a:pt x="2548" y="323"/>
                  </a:lnTo>
                  <a:lnTo>
                    <a:pt x="2548" y="323"/>
                  </a:lnTo>
                  <a:lnTo>
                    <a:pt x="2566" y="326"/>
                  </a:lnTo>
                  <a:lnTo>
                    <a:pt x="2566" y="326"/>
                  </a:lnTo>
                  <a:lnTo>
                    <a:pt x="2587" y="327"/>
                  </a:lnTo>
                  <a:lnTo>
                    <a:pt x="2587" y="327"/>
                  </a:lnTo>
                  <a:lnTo>
                    <a:pt x="2597" y="329"/>
                  </a:lnTo>
                  <a:lnTo>
                    <a:pt x="2610" y="332"/>
                  </a:lnTo>
                  <a:lnTo>
                    <a:pt x="2610" y="332"/>
                  </a:lnTo>
                  <a:lnTo>
                    <a:pt x="2621" y="336"/>
                  </a:lnTo>
                  <a:lnTo>
                    <a:pt x="2621" y="336"/>
                  </a:lnTo>
                  <a:lnTo>
                    <a:pt x="2624" y="337"/>
                  </a:lnTo>
                  <a:lnTo>
                    <a:pt x="2624" y="337"/>
                  </a:lnTo>
                  <a:lnTo>
                    <a:pt x="2624" y="337"/>
                  </a:lnTo>
                  <a:lnTo>
                    <a:pt x="2624" y="337"/>
                  </a:lnTo>
                  <a:lnTo>
                    <a:pt x="2624" y="337"/>
                  </a:lnTo>
                  <a:lnTo>
                    <a:pt x="2624" y="337"/>
                  </a:lnTo>
                  <a:lnTo>
                    <a:pt x="2624" y="337"/>
                  </a:lnTo>
                  <a:lnTo>
                    <a:pt x="2626" y="337"/>
                  </a:lnTo>
                  <a:lnTo>
                    <a:pt x="2624" y="337"/>
                  </a:lnTo>
                  <a:lnTo>
                    <a:pt x="2624" y="337"/>
                  </a:lnTo>
                  <a:lnTo>
                    <a:pt x="2624" y="337"/>
                  </a:lnTo>
                  <a:lnTo>
                    <a:pt x="2626" y="337"/>
                  </a:lnTo>
                  <a:lnTo>
                    <a:pt x="2624" y="337"/>
                  </a:lnTo>
                  <a:lnTo>
                    <a:pt x="2626" y="337"/>
                  </a:lnTo>
                  <a:lnTo>
                    <a:pt x="2624" y="335"/>
                  </a:lnTo>
                  <a:lnTo>
                    <a:pt x="2624" y="335"/>
                  </a:lnTo>
                  <a:lnTo>
                    <a:pt x="2624" y="337"/>
                  </a:lnTo>
                  <a:lnTo>
                    <a:pt x="2626" y="337"/>
                  </a:lnTo>
                  <a:lnTo>
                    <a:pt x="2624" y="335"/>
                  </a:lnTo>
                  <a:lnTo>
                    <a:pt x="2626" y="336"/>
                  </a:lnTo>
                  <a:lnTo>
                    <a:pt x="2626" y="335"/>
                  </a:lnTo>
                  <a:lnTo>
                    <a:pt x="2624" y="335"/>
                  </a:lnTo>
                  <a:lnTo>
                    <a:pt x="2626" y="336"/>
                  </a:lnTo>
                  <a:lnTo>
                    <a:pt x="2626" y="335"/>
                  </a:lnTo>
                  <a:lnTo>
                    <a:pt x="2624" y="335"/>
                  </a:lnTo>
                  <a:lnTo>
                    <a:pt x="2624" y="335"/>
                  </a:lnTo>
                  <a:lnTo>
                    <a:pt x="2617" y="335"/>
                  </a:lnTo>
                  <a:lnTo>
                    <a:pt x="2617" y="335"/>
                  </a:lnTo>
                  <a:lnTo>
                    <a:pt x="2604" y="330"/>
                  </a:lnTo>
                  <a:lnTo>
                    <a:pt x="2604" y="330"/>
                  </a:lnTo>
                  <a:lnTo>
                    <a:pt x="2598" y="329"/>
                  </a:lnTo>
                  <a:lnTo>
                    <a:pt x="2598" y="329"/>
                  </a:lnTo>
                  <a:lnTo>
                    <a:pt x="2594" y="329"/>
                  </a:lnTo>
                  <a:lnTo>
                    <a:pt x="2594" y="329"/>
                  </a:lnTo>
                  <a:lnTo>
                    <a:pt x="2588" y="329"/>
                  </a:lnTo>
                  <a:lnTo>
                    <a:pt x="2588" y="329"/>
                  </a:lnTo>
                  <a:lnTo>
                    <a:pt x="2585" y="332"/>
                  </a:lnTo>
                  <a:lnTo>
                    <a:pt x="2585" y="332"/>
                  </a:lnTo>
                  <a:lnTo>
                    <a:pt x="2584" y="335"/>
                  </a:lnTo>
                  <a:lnTo>
                    <a:pt x="2584" y="335"/>
                  </a:lnTo>
                  <a:lnTo>
                    <a:pt x="2585" y="336"/>
                  </a:lnTo>
                  <a:lnTo>
                    <a:pt x="2585" y="336"/>
                  </a:lnTo>
                  <a:lnTo>
                    <a:pt x="2585" y="336"/>
                  </a:lnTo>
                  <a:lnTo>
                    <a:pt x="2587" y="339"/>
                  </a:lnTo>
                  <a:lnTo>
                    <a:pt x="2587" y="339"/>
                  </a:lnTo>
                  <a:lnTo>
                    <a:pt x="2585" y="342"/>
                  </a:lnTo>
                  <a:lnTo>
                    <a:pt x="2585" y="342"/>
                  </a:lnTo>
                  <a:lnTo>
                    <a:pt x="2581" y="345"/>
                  </a:lnTo>
                  <a:lnTo>
                    <a:pt x="2581" y="345"/>
                  </a:lnTo>
                  <a:lnTo>
                    <a:pt x="2579" y="346"/>
                  </a:lnTo>
                  <a:lnTo>
                    <a:pt x="2579" y="346"/>
                  </a:lnTo>
                  <a:lnTo>
                    <a:pt x="2578" y="349"/>
                  </a:lnTo>
                  <a:lnTo>
                    <a:pt x="2578" y="349"/>
                  </a:lnTo>
                  <a:lnTo>
                    <a:pt x="2579" y="350"/>
                  </a:lnTo>
                  <a:lnTo>
                    <a:pt x="2579" y="350"/>
                  </a:lnTo>
                  <a:lnTo>
                    <a:pt x="2582" y="352"/>
                  </a:lnTo>
                  <a:lnTo>
                    <a:pt x="2582" y="352"/>
                  </a:lnTo>
                  <a:lnTo>
                    <a:pt x="2584" y="352"/>
                  </a:lnTo>
                  <a:lnTo>
                    <a:pt x="2584" y="352"/>
                  </a:lnTo>
                  <a:lnTo>
                    <a:pt x="2594" y="352"/>
                  </a:lnTo>
                  <a:lnTo>
                    <a:pt x="2594" y="352"/>
                  </a:lnTo>
                  <a:lnTo>
                    <a:pt x="2600" y="352"/>
                  </a:lnTo>
                  <a:lnTo>
                    <a:pt x="2600" y="352"/>
                  </a:lnTo>
                  <a:lnTo>
                    <a:pt x="2606" y="350"/>
                  </a:lnTo>
                  <a:lnTo>
                    <a:pt x="2606" y="350"/>
                  </a:lnTo>
                  <a:lnTo>
                    <a:pt x="2611" y="346"/>
                  </a:lnTo>
                  <a:lnTo>
                    <a:pt x="2611" y="346"/>
                  </a:lnTo>
                  <a:lnTo>
                    <a:pt x="2617" y="343"/>
                  </a:lnTo>
                  <a:lnTo>
                    <a:pt x="2617" y="343"/>
                  </a:lnTo>
                  <a:lnTo>
                    <a:pt x="2621" y="343"/>
                  </a:lnTo>
                  <a:lnTo>
                    <a:pt x="2621" y="343"/>
                  </a:lnTo>
                  <a:lnTo>
                    <a:pt x="2627" y="345"/>
                  </a:lnTo>
                  <a:lnTo>
                    <a:pt x="2627" y="345"/>
                  </a:lnTo>
                  <a:lnTo>
                    <a:pt x="2630" y="345"/>
                  </a:lnTo>
                  <a:lnTo>
                    <a:pt x="2630" y="345"/>
                  </a:lnTo>
                  <a:lnTo>
                    <a:pt x="2633" y="342"/>
                  </a:lnTo>
                  <a:lnTo>
                    <a:pt x="2633" y="342"/>
                  </a:lnTo>
                  <a:lnTo>
                    <a:pt x="2633" y="342"/>
                  </a:lnTo>
                  <a:lnTo>
                    <a:pt x="2633" y="342"/>
                  </a:lnTo>
                  <a:lnTo>
                    <a:pt x="2633" y="342"/>
                  </a:lnTo>
                  <a:lnTo>
                    <a:pt x="2633" y="342"/>
                  </a:lnTo>
                  <a:lnTo>
                    <a:pt x="2633" y="342"/>
                  </a:lnTo>
                  <a:lnTo>
                    <a:pt x="2633" y="342"/>
                  </a:lnTo>
                  <a:lnTo>
                    <a:pt x="2633" y="342"/>
                  </a:lnTo>
                  <a:lnTo>
                    <a:pt x="2633" y="342"/>
                  </a:lnTo>
                  <a:lnTo>
                    <a:pt x="2637" y="340"/>
                  </a:lnTo>
                  <a:lnTo>
                    <a:pt x="2637" y="340"/>
                  </a:lnTo>
                  <a:lnTo>
                    <a:pt x="2637" y="340"/>
                  </a:lnTo>
                  <a:lnTo>
                    <a:pt x="2642" y="342"/>
                  </a:lnTo>
                  <a:lnTo>
                    <a:pt x="2646" y="343"/>
                  </a:lnTo>
                  <a:lnTo>
                    <a:pt x="2646" y="343"/>
                  </a:lnTo>
                  <a:lnTo>
                    <a:pt x="2650" y="345"/>
                  </a:lnTo>
                  <a:lnTo>
                    <a:pt x="2656" y="346"/>
                  </a:lnTo>
                  <a:lnTo>
                    <a:pt x="2656" y="346"/>
                  </a:lnTo>
                  <a:lnTo>
                    <a:pt x="2662" y="346"/>
                  </a:lnTo>
                  <a:lnTo>
                    <a:pt x="2668" y="349"/>
                  </a:lnTo>
                  <a:lnTo>
                    <a:pt x="2668" y="349"/>
                  </a:lnTo>
                  <a:lnTo>
                    <a:pt x="2672" y="352"/>
                  </a:lnTo>
                  <a:lnTo>
                    <a:pt x="2674" y="355"/>
                  </a:lnTo>
                  <a:lnTo>
                    <a:pt x="2674" y="355"/>
                  </a:lnTo>
                  <a:lnTo>
                    <a:pt x="2675" y="361"/>
                  </a:lnTo>
                  <a:lnTo>
                    <a:pt x="2676" y="366"/>
                  </a:lnTo>
                  <a:lnTo>
                    <a:pt x="2676" y="366"/>
                  </a:lnTo>
                  <a:lnTo>
                    <a:pt x="2676" y="368"/>
                  </a:lnTo>
                  <a:lnTo>
                    <a:pt x="2676" y="368"/>
                  </a:lnTo>
                  <a:lnTo>
                    <a:pt x="2676" y="369"/>
                  </a:lnTo>
                  <a:lnTo>
                    <a:pt x="2676" y="368"/>
                  </a:lnTo>
                  <a:lnTo>
                    <a:pt x="2676" y="368"/>
                  </a:lnTo>
                  <a:lnTo>
                    <a:pt x="2676" y="369"/>
                  </a:lnTo>
                  <a:lnTo>
                    <a:pt x="2676" y="368"/>
                  </a:lnTo>
                  <a:lnTo>
                    <a:pt x="2678" y="369"/>
                  </a:lnTo>
                  <a:lnTo>
                    <a:pt x="2678" y="368"/>
                  </a:lnTo>
                  <a:lnTo>
                    <a:pt x="2676" y="368"/>
                  </a:lnTo>
                  <a:lnTo>
                    <a:pt x="2678" y="369"/>
                  </a:lnTo>
                  <a:lnTo>
                    <a:pt x="2678" y="368"/>
                  </a:lnTo>
                  <a:lnTo>
                    <a:pt x="2678" y="369"/>
                  </a:lnTo>
                  <a:lnTo>
                    <a:pt x="2678" y="368"/>
                  </a:lnTo>
                  <a:lnTo>
                    <a:pt x="2678" y="368"/>
                  </a:lnTo>
                  <a:lnTo>
                    <a:pt x="2678" y="369"/>
                  </a:lnTo>
                  <a:lnTo>
                    <a:pt x="2678" y="368"/>
                  </a:lnTo>
                  <a:lnTo>
                    <a:pt x="2678" y="368"/>
                  </a:lnTo>
                  <a:lnTo>
                    <a:pt x="2675" y="366"/>
                  </a:lnTo>
                  <a:lnTo>
                    <a:pt x="2675" y="366"/>
                  </a:lnTo>
                  <a:lnTo>
                    <a:pt x="2669" y="365"/>
                  </a:lnTo>
                  <a:lnTo>
                    <a:pt x="2669" y="365"/>
                  </a:lnTo>
                  <a:lnTo>
                    <a:pt x="2666" y="366"/>
                  </a:lnTo>
                  <a:lnTo>
                    <a:pt x="2666" y="366"/>
                  </a:lnTo>
                  <a:lnTo>
                    <a:pt x="2665" y="369"/>
                  </a:lnTo>
                  <a:lnTo>
                    <a:pt x="2665" y="369"/>
                  </a:lnTo>
                  <a:lnTo>
                    <a:pt x="2663" y="371"/>
                  </a:lnTo>
                  <a:lnTo>
                    <a:pt x="2663" y="371"/>
                  </a:lnTo>
                  <a:lnTo>
                    <a:pt x="2665" y="372"/>
                  </a:lnTo>
                  <a:lnTo>
                    <a:pt x="2665" y="372"/>
                  </a:lnTo>
                  <a:lnTo>
                    <a:pt x="2668" y="375"/>
                  </a:lnTo>
                  <a:lnTo>
                    <a:pt x="2668" y="375"/>
                  </a:lnTo>
                  <a:lnTo>
                    <a:pt x="2672" y="377"/>
                  </a:lnTo>
                  <a:lnTo>
                    <a:pt x="2672" y="377"/>
                  </a:lnTo>
                  <a:lnTo>
                    <a:pt x="2675" y="379"/>
                  </a:lnTo>
                  <a:lnTo>
                    <a:pt x="2675" y="379"/>
                  </a:lnTo>
                  <a:lnTo>
                    <a:pt x="2684" y="394"/>
                  </a:lnTo>
                  <a:lnTo>
                    <a:pt x="2684" y="394"/>
                  </a:lnTo>
                  <a:lnTo>
                    <a:pt x="2690" y="403"/>
                  </a:lnTo>
                  <a:lnTo>
                    <a:pt x="2690" y="403"/>
                  </a:lnTo>
                  <a:lnTo>
                    <a:pt x="2695" y="407"/>
                  </a:lnTo>
                  <a:lnTo>
                    <a:pt x="2695" y="407"/>
                  </a:lnTo>
                  <a:lnTo>
                    <a:pt x="2704" y="414"/>
                  </a:lnTo>
                  <a:lnTo>
                    <a:pt x="2704" y="414"/>
                  </a:lnTo>
                  <a:lnTo>
                    <a:pt x="2711" y="417"/>
                  </a:lnTo>
                  <a:lnTo>
                    <a:pt x="2717" y="417"/>
                  </a:lnTo>
                  <a:lnTo>
                    <a:pt x="2717" y="417"/>
                  </a:lnTo>
                  <a:lnTo>
                    <a:pt x="2724" y="417"/>
                  </a:lnTo>
                  <a:lnTo>
                    <a:pt x="2724" y="417"/>
                  </a:lnTo>
                  <a:lnTo>
                    <a:pt x="2742" y="413"/>
                  </a:lnTo>
                  <a:lnTo>
                    <a:pt x="2758" y="410"/>
                  </a:lnTo>
                  <a:lnTo>
                    <a:pt x="2758" y="410"/>
                  </a:lnTo>
                  <a:lnTo>
                    <a:pt x="2775" y="408"/>
                  </a:lnTo>
                  <a:lnTo>
                    <a:pt x="2794" y="407"/>
                  </a:lnTo>
                  <a:lnTo>
                    <a:pt x="2794" y="407"/>
                  </a:lnTo>
                  <a:lnTo>
                    <a:pt x="2802" y="407"/>
                  </a:lnTo>
                  <a:lnTo>
                    <a:pt x="2808" y="408"/>
                  </a:lnTo>
                  <a:lnTo>
                    <a:pt x="2808" y="408"/>
                  </a:lnTo>
                  <a:lnTo>
                    <a:pt x="2814" y="414"/>
                  </a:lnTo>
                  <a:lnTo>
                    <a:pt x="2818" y="421"/>
                  </a:lnTo>
                  <a:lnTo>
                    <a:pt x="2818" y="421"/>
                  </a:lnTo>
                  <a:lnTo>
                    <a:pt x="2826" y="436"/>
                  </a:lnTo>
                  <a:lnTo>
                    <a:pt x="2826" y="436"/>
                  </a:lnTo>
                  <a:lnTo>
                    <a:pt x="2829" y="443"/>
                  </a:lnTo>
                  <a:lnTo>
                    <a:pt x="2829" y="443"/>
                  </a:lnTo>
                  <a:lnTo>
                    <a:pt x="2830" y="449"/>
                  </a:lnTo>
                  <a:lnTo>
                    <a:pt x="2830" y="449"/>
                  </a:lnTo>
                  <a:lnTo>
                    <a:pt x="2830" y="450"/>
                  </a:lnTo>
                  <a:lnTo>
                    <a:pt x="2830" y="450"/>
                  </a:lnTo>
                  <a:lnTo>
                    <a:pt x="2829" y="452"/>
                  </a:lnTo>
                  <a:lnTo>
                    <a:pt x="2829" y="453"/>
                  </a:lnTo>
                  <a:lnTo>
                    <a:pt x="2829" y="453"/>
                  </a:lnTo>
                  <a:lnTo>
                    <a:pt x="2827" y="455"/>
                  </a:lnTo>
                  <a:lnTo>
                    <a:pt x="2827" y="455"/>
                  </a:lnTo>
                  <a:lnTo>
                    <a:pt x="2829" y="458"/>
                  </a:lnTo>
                  <a:lnTo>
                    <a:pt x="2829" y="458"/>
                  </a:lnTo>
                  <a:lnTo>
                    <a:pt x="2830" y="461"/>
                  </a:lnTo>
                  <a:lnTo>
                    <a:pt x="2830" y="461"/>
                  </a:lnTo>
                  <a:lnTo>
                    <a:pt x="2842" y="474"/>
                  </a:lnTo>
                  <a:lnTo>
                    <a:pt x="2842" y="474"/>
                  </a:lnTo>
                  <a:lnTo>
                    <a:pt x="2846" y="478"/>
                  </a:lnTo>
                  <a:lnTo>
                    <a:pt x="2849" y="479"/>
                  </a:lnTo>
                  <a:lnTo>
                    <a:pt x="2849" y="479"/>
                  </a:lnTo>
                  <a:lnTo>
                    <a:pt x="2850" y="482"/>
                  </a:lnTo>
                  <a:lnTo>
                    <a:pt x="2850" y="482"/>
                  </a:lnTo>
                  <a:lnTo>
                    <a:pt x="2852" y="482"/>
                  </a:lnTo>
                  <a:lnTo>
                    <a:pt x="2850" y="482"/>
                  </a:lnTo>
                  <a:lnTo>
                    <a:pt x="2850" y="482"/>
                  </a:lnTo>
                  <a:lnTo>
                    <a:pt x="2852" y="482"/>
                  </a:lnTo>
                  <a:lnTo>
                    <a:pt x="2850" y="482"/>
                  </a:lnTo>
                  <a:lnTo>
                    <a:pt x="2852" y="482"/>
                  </a:lnTo>
                  <a:lnTo>
                    <a:pt x="2850" y="482"/>
                  </a:lnTo>
                  <a:lnTo>
                    <a:pt x="2850" y="482"/>
                  </a:lnTo>
                  <a:lnTo>
                    <a:pt x="2852" y="482"/>
                  </a:lnTo>
                  <a:lnTo>
                    <a:pt x="2850" y="482"/>
                  </a:lnTo>
                  <a:lnTo>
                    <a:pt x="2850" y="482"/>
                  </a:lnTo>
                  <a:lnTo>
                    <a:pt x="2850" y="482"/>
                  </a:lnTo>
                  <a:lnTo>
                    <a:pt x="2850" y="482"/>
                  </a:lnTo>
                  <a:lnTo>
                    <a:pt x="2850" y="484"/>
                  </a:lnTo>
                  <a:lnTo>
                    <a:pt x="2850" y="484"/>
                  </a:lnTo>
                  <a:lnTo>
                    <a:pt x="2850" y="487"/>
                  </a:lnTo>
                  <a:lnTo>
                    <a:pt x="2850" y="487"/>
                  </a:lnTo>
                  <a:lnTo>
                    <a:pt x="2852" y="497"/>
                  </a:lnTo>
                  <a:lnTo>
                    <a:pt x="2852" y="497"/>
                  </a:lnTo>
                  <a:lnTo>
                    <a:pt x="2853" y="501"/>
                  </a:lnTo>
                  <a:lnTo>
                    <a:pt x="2853" y="501"/>
                  </a:lnTo>
                  <a:lnTo>
                    <a:pt x="2853" y="503"/>
                  </a:lnTo>
                  <a:lnTo>
                    <a:pt x="2853" y="503"/>
                  </a:lnTo>
                  <a:lnTo>
                    <a:pt x="2856" y="504"/>
                  </a:lnTo>
                  <a:lnTo>
                    <a:pt x="2856" y="504"/>
                  </a:lnTo>
                  <a:lnTo>
                    <a:pt x="2859" y="504"/>
                  </a:lnTo>
                  <a:lnTo>
                    <a:pt x="2859" y="504"/>
                  </a:lnTo>
                  <a:lnTo>
                    <a:pt x="2859" y="504"/>
                  </a:lnTo>
                  <a:lnTo>
                    <a:pt x="2859" y="504"/>
                  </a:lnTo>
                  <a:lnTo>
                    <a:pt x="2860" y="501"/>
                  </a:lnTo>
                  <a:lnTo>
                    <a:pt x="2860" y="501"/>
                  </a:lnTo>
                  <a:lnTo>
                    <a:pt x="2860" y="495"/>
                  </a:lnTo>
                  <a:lnTo>
                    <a:pt x="2860" y="495"/>
                  </a:lnTo>
                  <a:lnTo>
                    <a:pt x="2862" y="485"/>
                  </a:lnTo>
                  <a:lnTo>
                    <a:pt x="2862" y="485"/>
                  </a:lnTo>
                  <a:lnTo>
                    <a:pt x="2862" y="481"/>
                  </a:lnTo>
                  <a:lnTo>
                    <a:pt x="2862" y="481"/>
                  </a:lnTo>
                  <a:lnTo>
                    <a:pt x="2862" y="478"/>
                  </a:lnTo>
                  <a:lnTo>
                    <a:pt x="2862" y="478"/>
                  </a:lnTo>
                  <a:lnTo>
                    <a:pt x="2868" y="471"/>
                  </a:lnTo>
                  <a:lnTo>
                    <a:pt x="2872" y="468"/>
                  </a:lnTo>
                  <a:lnTo>
                    <a:pt x="2878" y="465"/>
                  </a:lnTo>
                  <a:lnTo>
                    <a:pt x="2878" y="465"/>
                  </a:lnTo>
                  <a:lnTo>
                    <a:pt x="2885" y="463"/>
                  </a:lnTo>
                  <a:lnTo>
                    <a:pt x="2885" y="463"/>
                  </a:lnTo>
                  <a:lnTo>
                    <a:pt x="2900" y="465"/>
                  </a:lnTo>
                  <a:lnTo>
                    <a:pt x="2913" y="468"/>
                  </a:lnTo>
                  <a:lnTo>
                    <a:pt x="2913" y="468"/>
                  </a:lnTo>
                  <a:lnTo>
                    <a:pt x="2926" y="471"/>
                  </a:lnTo>
                  <a:lnTo>
                    <a:pt x="2926" y="471"/>
                  </a:lnTo>
                  <a:lnTo>
                    <a:pt x="2943" y="472"/>
                  </a:lnTo>
                  <a:lnTo>
                    <a:pt x="2943" y="472"/>
                  </a:lnTo>
                  <a:lnTo>
                    <a:pt x="2950" y="472"/>
                  </a:lnTo>
                  <a:lnTo>
                    <a:pt x="2950" y="472"/>
                  </a:lnTo>
                  <a:lnTo>
                    <a:pt x="2953" y="471"/>
                  </a:lnTo>
                  <a:lnTo>
                    <a:pt x="2955" y="469"/>
                  </a:lnTo>
                  <a:lnTo>
                    <a:pt x="2955" y="469"/>
                  </a:lnTo>
                  <a:lnTo>
                    <a:pt x="2956" y="468"/>
                  </a:lnTo>
                  <a:lnTo>
                    <a:pt x="2956" y="468"/>
                  </a:lnTo>
                  <a:lnTo>
                    <a:pt x="2956" y="463"/>
                  </a:lnTo>
                  <a:lnTo>
                    <a:pt x="2956" y="463"/>
                  </a:lnTo>
                  <a:lnTo>
                    <a:pt x="2956" y="463"/>
                  </a:lnTo>
                  <a:lnTo>
                    <a:pt x="2956" y="463"/>
                  </a:lnTo>
                  <a:lnTo>
                    <a:pt x="2956" y="463"/>
                  </a:lnTo>
                  <a:lnTo>
                    <a:pt x="2956" y="463"/>
                  </a:lnTo>
                  <a:lnTo>
                    <a:pt x="2956" y="463"/>
                  </a:lnTo>
                  <a:lnTo>
                    <a:pt x="2956" y="463"/>
                  </a:lnTo>
                  <a:lnTo>
                    <a:pt x="2956" y="462"/>
                  </a:lnTo>
                  <a:lnTo>
                    <a:pt x="2956" y="463"/>
                  </a:lnTo>
                  <a:lnTo>
                    <a:pt x="2956" y="463"/>
                  </a:lnTo>
                  <a:lnTo>
                    <a:pt x="2956" y="462"/>
                  </a:lnTo>
                  <a:lnTo>
                    <a:pt x="2956" y="463"/>
                  </a:lnTo>
                  <a:lnTo>
                    <a:pt x="2956" y="463"/>
                  </a:lnTo>
                  <a:lnTo>
                    <a:pt x="2956" y="463"/>
                  </a:lnTo>
                  <a:lnTo>
                    <a:pt x="2956" y="463"/>
                  </a:lnTo>
                  <a:lnTo>
                    <a:pt x="2956" y="463"/>
                  </a:lnTo>
                  <a:lnTo>
                    <a:pt x="2956" y="463"/>
                  </a:lnTo>
                  <a:lnTo>
                    <a:pt x="2956" y="463"/>
                  </a:lnTo>
                  <a:lnTo>
                    <a:pt x="2956" y="463"/>
                  </a:lnTo>
                  <a:lnTo>
                    <a:pt x="2956" y="463"/>
                  </a:lnTo>
                  <a:lnTo>
                    <a:pt x="2956" y="463"/>
                  </a:lnTo>
                  <a:lnTo>
                    <a:pt x="2956" y="463"/>
                  </a:lnTo>
                  <a:lnTo>
                    <a:pt x="2956" y="463"/>
                  </a:lnTo>
                  <a:lnTo>
                    <a:pt x="2957" y="466"/>
                  </a:lnTo>
                  <a:lnTo>
                    <a:pt x="2957" y="466"/>
                  </a:lnTo>
                  <a:lnTo>
                    <a:pt x="2959" y="475"/>
                  </a:lnTo>
                  <a:lnTo>
                    <a:pt x="2959" y="475"/>
                  </a:lnTo>
                  <a:lnTo>
                    <a:pt x="2959" y="479"/>
                  </a:lnTo>
                  <a:lnTo>
                    <a:pt x="2960" y="484"/>
                  </a:lnTo>
                  <a:lnTo>
                    <a:pt x="2960" y="484"/>
                  </a:lnTo>
                  <a:lnTo>
                    <a:pt x="2965" y="488"/>
                  </a:lnTo>
                  <a:lnTo>
                    <a:pt x="2965" y="488"/>
                  </a:lnTo>
                  <a:lnTo>
                    <a:pt x="2972" y="494"/>
                  </a:lnTo>
                  <a:lnTo>
                    <a:pt x="2972" y="494"/>
                  </a:lnTo>
                  <a:lnTo>
                    <a:pt x="2973" y="497"/>
                  </a:lnTo>
                  <a:lnTo>
                    <a:pt x="2975" y="497"/>
                  </a:lnTo>
                  <a:lnTo>
                    <a:pt x="2975" y="497"/>
                  </a:lnTo>
                  <a:lnTo>
                    <a:pt x="2975" y="497"/>
                  </a:lnTo>
                  <a:lnTo>
                    <a:pt x="2975" y="497"/>
                  </a:lnTo>
                  <a:lnTo>
                    <a:pt x="2975" y="497"/>
                  </a:lnTo>
                  <a:lnTo>
                    <a:pt x="2975" y="497"/>
                  </a:lnTo>
                  <a:lnTo>
                    <a:pt x="2975" y="497"/>
                  </a:lnTo>
                  <a:lnTo>
                    <a:pt x="2975" y="497"/>
                  </a:lnTo>
                  <a:lnTo>
                    <a:pt x="2975" y="497"/>
                  </a:lnTo>
                  <a:lnTo>
                    <a:pt x="2975" y="497"/>
                  </a:lnTo>
                  <a:lnTo>
                    <a:pt x="2975" y="497"/>
                  </a:lnTo>
                  <a:lnTo>
                    <a:pt x="2975" y="497"/>
                  </a:lnTo>
                  <a:lnTo>
                    <a:pt x="2976" y="497"/>
                  </a:lnTo>
                  <a:lnTo>
                    <a:pt x="2975" y="497"/>
                  </a:lnTo>
                  <a:lnTo>
                    <a:pt x="2975" y="498"/>
                  </a:lnTo>
                  <a:lnTo>
                    <a:pt x="2975" y="498"/>
                  </a:lnTo>
                  <a:lnTo>
                    <a:pt x="2975" y="503"/>
                  </a:lnTo>
                  <a:lnTo>
                    <a:pt x="2975" y="503"/>
                  </a:lnTo>
                  <a:lnTo>
                    <a:pt x="2978" y="511"/>
                  </a:lnTo>
                  <a:lnTo>
                    <a:pt x="2978" y="511"/>
                  </a:lnTo>
                  <a:lnTo>
                    <a:pt x="2979" y="516"/>
                  </a:lnTo>
                  <a:lnTo>
                    <a:pt x="2979" y="516"/>
                  </a:lnTo>
                  <a:lnTo>
                    <a:pt x="2981" y="516"/>
                  </a:lnTo>
                  <a:lnTo>
                    <a:pt x="2981" y="517"/>
                  </a:lnTo>
                  <a:lnTo>
                    <a:pt x="2981" y="517"/>
                  </a:lnTo>
                  <a:lnTo>
                    <a:pt x="2982" y="517"/>
                  </a:lnTo>
                  <a:lnTo>
                    <a:pt x="2982" y="517"/>
                  </a:lnTo>
                  <a:lnTo>
                    <a:pt x="2985" y="517"/>
                  </a:lnTo>
                  <a:lnTo>
                    <a:pt x="2985" y="516"/>
                  </a:lnTo>
                  <a:lnTo>
                    <a:pt x="2985" y="516"/>
                  </a:lnTo>
                  <a:lnTo>
                    <a:pt x="2985" y="516"/>
                  </a:lnTo>
                  <a:lnTo>
                    <a:pt x="2985" y="514"/>
                  </a:lnTo>
                  <a:lnTo>
                    <a:pt x="2985" y="514"/>
                  </a:lnTo>
                  <a:lnTo>
                    <a:pt x="2986" y="508"/>
                  </a:lnTo>
                  <a:lnTo>
                    <a:pt x="2986" y="508"/>
                  </a:lnTo>
                  <a:lnTo>
                    <a:pt x="2986" y="507"/>
                  </a:lnTo>
                  <a:lnTo>
                    <a:pt x="2988" y="507"/>
                  </a:lnTo>
                  <a:lnTo>
                    <a:pt x="2988" y="507"/>
                  </a:lnTo>
                  <a:lnTo>
                    <a:pt x="2986" y="505"/>
                  </a:lnTo>
                  <a:lnTo>
                    <a:pt x="2986" y="507"/>
                  </a:lnTo>
                  <a:lnTo>
                    <a:pt x="2988" y="507"/>
                  </a:lnTo>
                  <a:lnTo>
                    <a:pt x="2986" y="505"/>
                  </a:lnTo>
                  <a:lnTo>
                    <a:pt x="2986" y="507"/>
                  </a:lnTo>
                  <a:lnTo>
                    <a:pt x="2985" y="505"/>
                  </a:lnTo>
                  <a:lnTo>
                    <a:pt x="2985" y="507"/>
                  </a:lnTo>
                  <a:lnTo>
                    <a:pt x="2985" y="507"/>
                  </a:lnTo>
                  <a:lnTo>
                    <a:pt x="2986" y="507"/>
                  </a:lnTo>
                  <a:lnTo>
                    <a:pt x="2985" y="505"/>
                  </a:lnTo>
                  <a:lnTo>
                    <a:pt x="2985" y="507"/>
                  </a:lnTo>
                  <a:lnTo>
                    <a:pt x="2985" y="505"/>
                  </a:lnTo>
                  <a:lnTo>
                    <a:pt x="2984" y="507"/>
                  </a:lnTo>
                  <a:lnTo>
                    <a:pt x="2984" y="507"/>
                  </a:lnTo>
                  <a:lnTo>
                    <a:pt x="2985" y="507"/>
                  </a:lnTo>
                  <a:lnTo>
                    <a:pt x="2985" y="505"/>
                  </a:lnTo>
                  <a:lnTo>
                    <a:pt x="2984" y="507"/>
                  </a:lnTo>
                  <a:lnTo>
                    <a:pt x="2984" y="507"/>
                  </a:lnTo>
                  <a:lnTo>
                    <a:pt x="2984" y="507"/>
                  </a:lnTo>
                  <a:lnTo>
                    <a:pt x="2985" y="508"/>
                  </a:lnTo>
                  <a:lnTo>
                    <a:pt x="2985" y="508"/>
                  </a:lnTo>
                  <a:lnTo>
                    <a:pt x="2988" y="513"/>
                  </a:lnTo>
                  <a:lnTo>
                    <a:pt x="2988" y="513"/>
                  </a:lnTo>
                  <a:lnTo>
                    <a:pt x="2989" y="516"/>
                  </a:lnTo>
                  <a:lnTo>
                    <a:pt x="2989" y="516"/>
                  </a:lnTo>
                  <a:lnTo>
                    <a:pt x="2994" y="516"/>
                  </a:lnTo>
                  <a:lnTo>
                    <a:pt x="2994" y="516"/>
                  </a:lnTo>
                  <a:lnTo>
                    <a:pt x="2995" y="516"/>
                  </a:lnTo>
                  <a:lnTo>
                    <a:pt x="2995" y="516"/>
                  </a:lnTo>
                  <a:lnTo>
                    <a:pt x="2997" y="514"/>
                  </a:lnTo>
                  <a:lnTo>
                    <a:pt x="2998" y="511"/>
                  </a:lnTo>
                  <a:lnTo>
                    <a:pt x="2998" y="511"/>
                  </a:lnTo>
                  <a:lnTo>
                    <a:pt x="3001" y="505"/>
                  </a:lnTo>
                  <a:lnTo>
                    <a:pt x="3001" y="505"/>
                  </a:lnTo>
                  <a:lnTo>
                    <a:pt x="3002" y="503"/>
                  </a:lnTo>
                  <a:lnTo>
                    <a:pt x="3002" y="503"/>
                  </a:lnTo>
                  <a:lnTo>
                    <a:pt x="3002" y="503"/>
                  </a:lnTo>
                  <a:lnTo>
                    <a:pt x="3002" y="503"/>
                  </a:lnTo>
                  <a:lnTo>
                    <a:pt x="3002" y="503"/>
                  </a:lnTo>
                  <a:lnTo>
                    <a:pt x="3002" y="503"/>
                  </a:lnTo>
                  <a:lnTo>
                    <a:pt x="3002" y="503"/>
                  </a:lnTo>
                  <a:lnTo>
                    <a:pt x="3001" y="503"/>
                  </a:lnTo>
                  <a:lnTo>
                    <a:pt x="3002" y="503"/>
                  </a:lnTo>
                  <a:lnTo>
                    <a:pt x="3002" y="503"/>
                  </a:lnTo>
                  <a:lnTo>
                    <a:pt x="3001" y="503"/>
                  </a:lnTo>
                  <a:lnTo>
                    <a:pt x="3002" y="503"/>
                  </a:lnTo>
                  <a:lnTo>
                    <a:pt x="3002" y="503"/>
                  </a:lnTo>
                  <a:lnTo>
                    <a:pt x="3007" y="501"/>
                  </a:lnTo>
                  <a:lnTo>
                    <a:pt x="3007" y="501"/>
                  </a:lnTo>
                  <a:lnTo>
                    <a:pt x="3008" y="498"/>
                  </a:lnTo>
                  <a:lnTo>
                    <a:pt x="3008" y="498"/>
                  </a:lnTo>
                  <a:lnTo>
                    <a:pt x="3010" y="495"/>
                  </a:lnTo>
                  <a:lnTo>
                    <a:pt x="3010" y="495"/>
                  </a:lnTo>
                  <a:lnTo>
                    <a:pt x="3008" y="492"/>
                  </a:lnTo>
                  <a:lnTo>
                    <a:pt x="3007" y="491"/>
                  </a:lnTo>
                  <a:lnTo>
                    <a:pt x="3007" y="491"/>
                  </a:lnTo>
                  <a:lnTo>
                    <a:pt x="3005" y="488"/>
                  </a:lnTo>
                  <a:lnTo>
                    <a:pt x="3004" y="487"/>
                  </a:lnTo>
                  <a:lnTo>
                    <a:pt x="3004" y="487"/>
                  </a:lnTo>
                  <a:lnTo>
                    <a:pt x="3005" y="482"/>
                  </a:lnTo>
                  <a:lnTo>
                    <a:pt x="3005" y="482"/>
                  </a:lnTo>
                  <a:lnTo>
                    <a:pt x="3007" y="479"/>
                  </a:lnTo>
                  <a:lnTo>
                    <a:pt x="3007" y="479"/>
                  </a:lnTo>
                  <a:lnTo>
                    <a:pt x="3007" y="476"/>
                  </a:lnTo>
                  <a:lnTo>
                    <a:pt x="3007" y="476"/>
                  </a:lnTo>
                  <a:lnTo>
                    <a:pt x="3005" y="474"/>
                  </a:lnTo>
                  <a:lnTo>
                    <a:pt x="3005" y="474"/>
                  </a:lnTo>
                  <a:lnTo>
                    <a:pt x="3002" y="472"/>
                  </a:lnTo>
                  <a:lnTo>
                    <a:pt x="3002" y="472"/>
                  </a:lnTo>
                  <a:lnTo>
                    <a:pt x="2998" y="469"/>
                  </a:lnTo>
                  <a:lnTo>
                    <a:pt x="2998" y="469"/>
                  </a:lnTo>
                  <a:lnTo>
                    <a:pt x="2997" y="465"/>
                  </a:lnTo>
                  <a:lnTo>
                    <a:pt x="2997" y="465"/>
                  </a:lnTo>
                  <a:lnTo>
                    <a:pt x="2997" y="465"/>
                  </a:lnTo>
                  <a:lnTo>
                    <a:pt x="2997" y="465"/>
                  </a:lnTo>
                  <a:lnTo>
                    <a:pt x="2997" y="465"/>
                  </a:lnTo>
                  <a:lnTo>
                    <a:pt x="2998" y="463"/>
                  </a:lnTo>
                  <a:lnTo>
                    <a:pt x="2998" y="463"/>
                  </a:lnTo>
                  <a:lnTo>
                    <a:pt x="3002" y="462"/>
                  </a:lnTo>
                  <a:lnTo>
                    <a:pt x="3002" y="462"/>
                  </a:lnTo>
                  <a:lnTo>
                    <a:pt x="3004" y="461"/>
                  </a:lnTo>
                  <a:lnTo>
                    <a:pt x="3004" y="461"/>
                  </a:lnTo>
                  <a:lnTo>
                    <a:pt x="3005" y="461"/>
                  </a:lnTo>
                  <a:lnTo>
                    <a:pt x="3005" y="461"/>
                  </a:lnTo>
                  <a:lnTo>
                    <a:pt x="3007" y="458"/>
                  </a:lnTo>
                  <a:lnTo>
                    <a:pt x="3007" y="458"/>
                  </a:lnTo>
                  <a:lnTo>
                    <a:pt x="3005" y="455"/>
                  </a:lnTo>
                  <a:lnTo>
                    <a:pt x="3005" y="455"/>
                  </a:lnTo>
                  <a:lnTo>
                    <a:pt x="3005" y="455"/>
                  </a:lnTo>
                  <a:lnTo>
                    <a:pt x="3002" y="453"/>
                  </a:lnTo>
                  <a:lnTo>
                    <a:pt x="3002" y="453"/>
                  </a:lnTo>
                  <a:lnTo>
                    <a:pt x="3002" y="452"/>
                  </a:lnTo>
                  <a:lnTo>
                    <a:pt x="3002" y="452"/>
                  </a:lnTo>
                  <a:lnTo>
                    <a:pt x="3002" y="449"/>
                  </a:lnTo>
                  <a:lnTo>
                    <a:pt x="3004" y="449"/>
                  </a:lnTo>
                  <a:lnTo>
                    <a:pt x="3004" y="449"/>
                  </a:lnTo>
                  <a:lnTo>
                    <a:pt x="3005" y="450"/>
                  </a:lnTo>
                  <a:lnTo>
                    <a:pt x="3005" y="450"/>
                  </a:lnTo>
                  <a:lnTo>
                    <a:pt x="3013" y="453"/>
                  </a:lnTo>
                  <a:lnTo>
                    <a:pt x="3017" y="455"/>
                  </a:lnTo>
                  <a:lnTo>
                    <a:pt x="3023" y="456"/>
                  </a:lnTo>
                  <a:lnTo>
                    <a:pt x="3023" y="456"/>
                  </a:lnTo>
                  <a:lnTo>
                    <a:pt x="3028" y="456"/>
                  </a:lnTo>
                  <a:lnTo>
                    <a:pt x="3028" y="456"/>
                  </a:lnTo>
                  <a:lnTo>
                    <a:pt x="3060" y="456"/>
                  </a:lnTo>
                  <a:lnTo>
                    <a:pt x="3060" y="456"/>
                  </a:lnTo>
                  <a:lnTo>
                    <a:pt x="3072" y="456"/>
                  </a:lnTo>
                  <a:lnTo>
                    <a:pt x="3072" y="456"/>
                  </a:lnTo>
                  <a:lnTo>
                    <a:pt x="3081" y="459"/>
                  </a:lnTo>
                  <a:lnTo>
                    <a:pt x="3081" y="459"/>
                  </a:lnTo>
                  <a:lnTo>
                    <a:pt x="3085" y="462"/>
                  </a:lnTo>
                  <a:lnTo>
                    <a:pt x="3088" y="466"/>
                  </a:lnTo>
                  <a:lnTo>
                    <a:pt x="3088" y="466"/>
                  </a:lnTo>
                  <a:lnTo>
                    <a:pt x="3091" y="471"/>
                  </a:lnTo>
                  <a:lnTo>
                    <a:pt x="3091" y="471"/>
                  </a:lnTo>
                  <a:lnTo>
                    <a:pt x="3092" y="472"/>
                  </a:lnTo>
                  <a:lnTo>
                    <a:pt x="3095" y="474"/>
                  </a:lnTo>
                  <a:lnTo>
                    <a:pt x="3095" y="474"/>
                  </a:lnTo>
                  <a:lnTo>
                    <a:pt x="3107" y="478"/>
                  </a:lnTo>
                  <a:lnTo>
                    <a:pt x="3107" y="478"/>
                  </a:lnTo>
                  <a:lnTo>
                    <a:pt x="3117" y="482"/>
                  </a:lnTo>
                  <a:lnTo>
                    <a:pt x="3117" y="482"/>
                  </a:lnTo>
                  <a:lnTo>
                    <a:pt x="3118" y="484"/>
                  </a:lnTo>
                  <a:lnTo>
                    <a:pt x="3118" y="484"/>
                  </a:lnTo>
                  <a:lnTo>
                    <a:pt x="3121" y="491"/>
                  </a:lnTo>
                  <a:lnTo>
                    <a:pt x="3121" y="491"/>
                  </a:lnTo>
                  <a:lnTo>
                    <a:pt x="3123" y="495"/>
                  </a:lnTo>
                  <a:lnTo>
                    <a:pt x="3123" y="495"/>
                  </a:lnTo>
                  <a:lnTo>
                    <a:pt x="3124" y="497"/>
                  </a:lnTo>
                  <a:lnTo>
                    <a:pt x="3125" y="498"/>
                  </a:lnTo>
                  <a:lnTo>
                    <a:pt x="3125" y="498"/>
                  </a:lnTo>
                  <a:lnTo>
                    <a:pt x="3130" y="498"/>
                  </a:lnTo>
                  <a:lnTo>
                    <a:pt x="3131" y="498"/>
                  </a:lnTo>
                  <a:lnTo>
                    <a:pt x="3131" y="498"/>
                  </a:lnTo>
                  <a:lnTo>
                    <a:pt x="3134" y="500"/>
                  </a:lnTo>
                  <a:lnTo>
                    <a:pt x="3134" y="500"/>
                  </a:lnTo>
                  <a:lnTo>
                    <a:pt x="3137" y="501"/>
                  </a:lnTo>
                  <a:lnTo>
                    <a:pt x="3137" y="501"/>
                  </a:lnTo>
                  <a:lnTo>
                    <a:pt x="3141" y="508"/>
                  </a:lnTo>
                  <a:lnTo>
                    <a:pt x="3141" y="508"/>
                  </a:lnTo>
                  <a:lnTo>
                    <a:pt x="3146" y="511"/>
                  </a:lnTo>
                  <a:lnTo>
                    <a:pt x="3152" y="516"/>
                  </a:lnTo>
                  <a:lnTo>
                    <a:pt x="3152" y="516"/>
                  </a:lnTo>
                  <a:lnTo>
                    <a:pt x="3162" y="521"/>
                  </a:lnTo>
                  <a:lnTo>
                    <a:pt x="3169" y="527"/>
                  </a:lnTo>
                  <a:lnTo>
                    <a:pt x="3169" y="527"/>
                  </a:lnTo>
                  <a:lnTo>
                    <a:pt x="3175" y="532"/>
                  </a:lnTo>
                  <a:lnTo>
                    <a:pt x="3181" y="533"/>
                  </a:lnTo>
                  <a:lnTo>
                    <a:pt x="3192" y="537"/>
                  </a:lnTo>
                  <a:lnTo>
                    <a:pt x="3192" y="537"/>
                  </a:lnTo>
                  <a:lnTo>
                    <a:pt x="3195" y="540"/>
                  </a:lnTo>
                  <a:lnTo>
                    <a:pt x="3195" y="540"/>
                  </a:lnTo>
                  <a:lnTo>
                    <a:pt x="3199" y="549"/>
                  </a:lnTo>
                  <a:lnTo>
                    <a:pt x="3199" y="549"/>
                  </a:lnTo>
                  <a:lnTo>
                    <a:pt x="3202" y="552"/>
                  </a:lnTo>
                  <a:lnTo>
                    <a:pt x="3202" y="552"/>
                  </a:lnTo>
                  <a:lnTo>
                    <a:pt x="3205" y="555"/>
                  </a:lnTo>
                  <a:lnTo>
                    <a:pt x="3208" y="555"/>
                  </a:lnTo>
                  <a:lnTo>
                    <a:pt x="3208" y="555"/>
                  </a:lnTo>
                  <a:lnTo>
                    <a:pt x="3223" y="556"/>
                  </a:lnTo>
                  <a:lnTo>
                    <a:pt x="3234" y="558"/>
                  </a:lnTo>
                  <a:lnTo>
                    <a:pt x="3234" y="556"/>
                  </a:lnTo>
                  <a:lnTo>
                    <a:pt x="3233" y="558"/>
                  </a:lnTo>
                  <a:lnTo>
                    <a:pt x="3234" y="558"/>
                  </a:lnTo>
                  <a:lnTo>
                    <a:pt x="3234" y="556"/>
                  </a:lnTo>
                  <a:lnTo>
                    <a:pt x="3233" y="558"/>
                  </a:lnTo>
                  <a:lnTo>
                    <a:pt x="3233" y="556"/>
                  </a:lnTo>
                  <a:lnTo>
                    <a:pt x="3233" y="558"/>
                  </a:lnTo>
                  <a:lnTo>
                    <a:pt x="3233" y="558"/>
                  </a:lnTo>
                  <a:lnTo>
                    <a:pt x="3233" y="556"/>
                  </a:lnTo>
                  <a:lnTo>
                    <a:pt x="3233" y="558"/>
                  </a:lnTo>
                  <a:lnTo>
                    <a:pt x="3233" y="558"/>
                  </a:lnTo>
                  <a:lnTo>
                    <a:pt x="3233" y="558"/>
                  </a:lnTo>
                  <a:lnTo>
                    <a:pt x="3236" y="562"/>
                  </a:lnTo>
                  <a:lnTo>
                    <a:pt x="3236" y="562"/>
                  </a:lnTo>
                  <a:lnTo>
                    <a:pt x="3236" y="568"/>
                  </a:lnTo>
                  <a:lnTo>
                    <a:pt x="3236" y="568"/>
                  </a:lnTo>
                  <a:lnTo>
                    <a:pt x="3236" y="579"/>
                  </a:lnTo>
                  <a:lnTo>
                    <a:pt x="3236" y="579"/>
                  </a:lnTo>
                  <a:lnTo>
                    <a:pt x="3236" y="597"/>
                  </a:lnTo>
                  <a:lnTo>
                    <a:pt x="3236" y="597"/>
                  </a:lnTo>
                  <a:lnTo>
                    <a:pt x="3237" y="603"/>
                  </a:lnTo>
                  <a:lnTo>
                    <a:pt x="3237" y="603"/>
                  </a:lnTo>
                  <a:lnTo>
                    <a:pt x="3237" y="605"/>
                  </a:lnTo>
                  <a:lnTo>
                    <a:pt x="3238" y="607"/>
                  </a:lnTo>
                  <a:lnTo>
                    <a:pt x="3238" y="607"/>
                  </a:lnTo>
                  <a:lnTo>
                    <a:pt x="3241" y="607"/>
                  </a:lnTo>
                  <a:lnTo>
                    <a:pt x="3241" y="607"/>
                  </a:lnTo>
                  <a:lnTo>
                    <a:pt x="3241" y="607"/>
                  </a:lnTo>
                  <a:lnTo>
                    <a:pt x="3241" y="607"/>
                  </a:lnTo>
                  <a:lnTo>
                    <a:pt x="3243" y="607"/>
                  </a:lnTo>
                  <a:lnTo>
                    <a:pt x="3243" y="607"/>
                  </a:lnTo>
                  <a:lnTo>
                    <a:pt x="3244" y="604"/>
                  </a:lnTo>
                  <a:lnTo>
                    <a:pt x="3244" y="604"/>
                  </a:lnTo>
                  <a:lnTo>
                    <a:pt x="3246" y="598"/>
                  </a:lnTo>
                  <a:lnTo>
                    <a:pt x="3246" y="598"/>
                  </a:lnTo>
                  <a:lnTo>
                    <a:pt x="3247" y="588"/>
                  </a:lnTo>
                  <a:lnTo>
                    <a:pt x="3247" y="588"/>
                  </a:lnTo>
                  <a:lnTo>
                    <a:pt x="3247" y="584"/>
                  </a:lnTo>
                  <a:lnTo>
                    <a:pt x="3247" y="584"/>
                  </a:lnTo>
                  <a:lnTo>
                    <a:pt x="3249" y="584"/>
                  </a:lnTo>
                  <a:lnTo>
                    <a:pt x="3249" y="582"/>
                  </a:lnTo>
                  <a:lnTo>
                    <a:pt x="3249" y="582"/>
                  </a:lnTo>
                  <a:lnTo>
                    <a:pt x="3249" y="582"/>
                  </a:lnTo>
                  <a:lnTo>
                    <a:pt x="3249" y="582"/>
                  </a:lnTo>
                  <a:lnTo>
                    <a:pt x="3249" y="582"/>
                  </a:lnTo>
                  <a:lnTo>
                    <a:pt x="3249" y="582"/>
                  </a:lnTo>
                  <a:lnTo>
                    <a:pt x="3249" y="582"/>
                  </a:lnTo>
                  <a:lnTo>
                    <a:pt x="3249" y="582"/>
                  </a:lnTo>
                  <a:lnTo>
                    <a:pt x="3250" y="582"/>
                  </a:lnTo>
                  <a:lnTo>
                    <a:pt x="3250" y="582"/>
                  </a:lnTo>
                  <a:lnTo>
                    <a:pt x="3253" y="582"/>
                  </a:lnTo>
                  <a:lnTo>
                    <a:pt x="3253" y="582"/>
                  </a:lnTo>
                  <a:lnTo>
                    <a:pt x="3262" y="582"/>
                  </a:lnTo>
                  <a:lnTo>
                    <a:pt x="3262" y="582"/>
                  </a:lnTo>
                  <a:lnTo>
                    <a:pt x="3265" y="582"/>
                  </a:lnTo>
                  <a:lnTo>
                    <a:pt x="3265" y="582"/>
                  </a:lnTo>
                  <a:lnTo>
                    <a:pt x="3265" y="582"/>
                  </a:lnTo>
                  <a:lnTo>
                    <a:pt x="3265" y="582"/>
                  </a:lnTo>
                  <a:lnTo>
                    <a:pt x="3265" y="582"/>
                  </a:lnTo>
                  <a:lnTo>
                    <a:pt x="3265" y="582"/>
                  </a:lnTo>
                  <a:lnTo>
                    <a:pt x="3265" y="582"/>
                  </a:lnTo>
                  <a:lnTo>
                    <a:pt x="3265" y="582"/>
                  </a:lnTo>
                  <a:lnTo>
                    <a:pt x="3269" y="584"/>
                  </a:lnTo>
                  <a:lnTo>
                    <a:pt x="3269" y="584"/>
                  </a:lnTo>
                  <a:lnTo>
                    <a:pt x="3276" y="585"/>
                  </a:lnTo>
                  <a:lnTo>
                    <a:pt x="3276" y="585"/>
                  </a:lnTo>
                  <a:lnTo>
                    <a:pt x="3276" y="584"/>
                  </a:lnTo>
                  <a:lnTo>
                    <a:pt x="3276" y="585"/>
                  </a:lnTo>
                  <a:lnTo>
                    <a:pt x="3276" y="585"/>
                  </a:lnTo>
                  <a:lnTo>
                    <a:pt x="3276" y="584"/>
                  </a:lnTo>
                  <a:lnTo>
                    <a:pt x="3276" y="585"/>
                  </a:lnTo>
                  <a:lnTo>
                    <a:pt x="3276" y="584"/>
                  </a:lnTo>
                  <a:lnTo>
                    <a:pt x="3276" y="585"/>
                  </a:lnTo>
                  <a:lnTo>
                    <a:pt x="3276" y="585"/>
                  </a:lnTo>
                  <a:lnTo>
                    <a:pt x="3276" y="584"/>
                  </a:lnTo>
                  <a:lnTo>
                    <a:pt x="3276" y="585"/>
                  </a:lnTo>
                  <a:lnTo>
                    <a:pt x="3276" y="585"/>
                  </a:lnTo>
                  <a:lnTo>
                    <a:pt x="3276" y="585"/>
                  </a:lnTo>
                  <a:lnTo>
                    <a:pt x="3276" y="585"/>
                  </a:lnTo>
                  <a:lnTo>
                    <a:pt x="3276" y="585"/>
                  </a:lnTo>
                  <a:lnTo>
                    <a:pt x="3276" y="585"/>
                  </a:lnTo>
                  <a:lnTo>
                    <a:pt x="3276" y="585"/>
                  </a:lnTo>
                  <a:lnTo>
                    <a:pt x="3276" y="585"/>
                  </a:lnTo>
                  <a:lnTo>
                    <a:pt x="3276" y="585"/>
                  </a:lnTo>
                  <a:lnTo>
                    <a:pt x="3276" y="585"/>
                  </a:lnTo>
                  <a:lnTo>
                    <a:pt x="3276" y="585"/>
                  </a:lnTo>
                  <a:lnTo>
                    <a:pt x="3276" y="585"/>
                  </a:lnTo>
                  <a:lnTo>
                    <a:pt x="3278" y="587"/>
                  </a:lnTo>
                  <a:lnTo>
                    <a:pt x="3278" y="587"/>
                  </a:lnTo>
                  <a:lnTo>
                    <a:pt x="3279" y="594"/>
                  </a:lnTo>
                  <a:lnTo>
                    <a:pt x="3279" y="594"/>
                  </a:lnTo>
                  <a:lnTo>
                    <a:pt x="3280" y="597"/>
                  </a:lnTo>
                  <a:lnTo>
                    <a:pt x="3280" y="597"/>
                  </a:lnTo>
                  <a:lnTo>
                    <a:pt x="3282" y="598"/>
                  </a:lnTo>
                  <a:lnTo>
                    <a:pt x="3282" y="598"/>
                  </a:lnTo>
                  <a:lnTo>
                    <a:pt x="3283" y="598"/>
                  </a:lnTo>
                  <a:lnTo>
                    <a:pt x="3283" y="598"/>
                  </a:lnTo>
                  <a:lnTo>
                    <a:pt x="3285" y="598"/>
                  </a:lnTo>
                  <a:lnTo>
                    <a:pt x="3285" y="598"/>
                  </a:lnTo>
                  <a:lnTo>
                    <a:pt x="3288" y="597"/>
                  </a:lnTo>
                  <a:lnTo>
                    <a:pt x="3289" y="597"/>
                  </a:lnTo>
                  <a:lnTo>
                    <a:pt x="3289" y="597"/>
                  </a:lnTo>
                  <a:lnTo>
                    <a:pt x="3289" y="595"/>
                  </a:lnTo>
                  <a:lnTo>
                    <a:pt x="3289" y="597"/>
                  </a:lnTo>
                  <a:lnTo>
                    <a:pt x="3289" y="597"/>
                  </a:lnTo>
                  <a:lnTo>
                    <a:pt x="3289" y="595"/>
                  </a:lnTo>
                  <a:lnTo>
                    <a:pt x="3289" y="597"/>
                  </a:lnTo>
                  <a:lnTo>
                    <a:pt x="3289" y="595"/>
                  </a:lnTo>
                  <a:lnTo>
                    <a:pt x="3289" y="597"/>
                  </a:lnTo>
                  <a:lnTo>
                    <a:pt x="3289" y="597"/>
                  </a:lnTo>
                  <a:lnTo>
                    <a:pt x="3289" y="595"/>
                  </a:lnTo>
                  <a:lnTo>
                    <a:pt x="3289" y="597"/>
                  </a:lnTo>
                  <a:lnTo>
                    <a:pt x="3289" y="595"/>
                  </a:lnTo>
                  <a:lnTo>
                    <a:pt x="3289" y="597"/>
                  </a:lnTo>
                  <a:lnTo>
                    <a:pt x="3289" y="597"/>
                  </a:lnTo>
                  <a:lnTo>
                    <a:pt x="3289" y="595"/>
                  </a:lnTo>
                  <a:lnTo>
                    <a:pt x="3289" y="597"/>
                  </a:lnTo>
                  <a:lnTo>
                    <a:pt x="3289" y="597"/>
                  </a:lnTo>
                  <a:lnTo>
                    <a:pt x="3289" y="597"/>
                  </a:lnTo>
                  <a:lnTo>
                    <a:pt x="3289" y="597"/>
                  </a:lnTo>
                  <a:lnTo>
                    <a:pt x="3289" y="597"/>
                  </a:lnTo>
                  <a:lnTo>
                    <a:pt x="3289" y="597"/>
                  </a:lnTo>
                  <a:lnTo>
                    <a:pt x="3289" y="597"/>
                  </a:lnTo>
                  <a:lnTo>
                    <a:pt x="3289" y="598"/>
                  </a:lnTo>
                  <a:lnTo>
                    <a:pt x="3289" y="597"/>
                  </a:lnTo>
                  <a:lnTo>
                    <a:pt x="3289" y="597"/>
                  </a:lnTo>
                  <a:lnTo>
                    <a:pt x="3291" y="607"/>
                  </a:lnTo>
                  <a:lnTo>
                    <a:pt x="3291" y="607"/>
                  </a:lnTo>
                  <a:lnTo>
                    <a:pt x="3295" y="611"/>
                  </a:lnTo>
                  <a:lnTo>
                    <a:pt x="3296" y="614"/>
                  </a:lnTo>
                  <a:lnTo>
                    <a:pt x="3301" y="616"/>
                  </a:lnTo>
                  <a:lnTo>
                    <a:pt x="3301" y="616"/>
                  </a:lnTo>
                  <a:lnTo>
                    <a:pt x="3307" y="618"/>
                  </a:lnTo>
                  <a:lnTo>
                    <a:pt x="3307" y="618"/>
                  </a:lnTo>
                  <a:lnTo>
                    <a:pt x="3308" y="620"/>
                  </a:lnTo>
                  <a:lnTo>
                    <a:pt x="3308" y="620"/>
                  </a:lnTo>
                  <a:lnTo>
                    <a:pt x="3308" y="620"/>
                  </a:lnTo>
                  <a:lnTo>
                    <a:pt x="3308" y="620"/>
                  </a:lnTo>
                  <a:lnTo>
                    <a:pt x="3308" y="620"/>
                  </a:lnTo>
                  <a:lnTo>
                    <a:pt x="3308" y="620"/>
                  </a:lnTo>
                  <a:lnTo>
                    <a:pt x="3308" y="620"/>
                  </a:lnTo>
                  <a:lnTo>
                    <a:pt x="3309" y="620"/>
                  </a:lnTo>
                  <a:lnTo>
                    <a:pt x="3308" y="620"/>
                  </a:lnTo>
                  <a:lnTo>
                    <a:pt x="3308" y="620"/>
                  </a:lnTo>
                  <a:lnTo>
                    <a:pt x="3309" y="620"/>
                  </a:lnTo>
                  <a:lnTo>
                    <a:pt x="3308" y="620"/>
                  </a:lnTo>
                  <a:lnTo>
                    <a:pt x="3309" y="620"/>
                  </a:lnTo>
                  <a:lnTo>
                    <a:pt x="3308" y="618"/>
                  </a:lnTo>
                  <a:lnTo>
                    <a:pt x="3308" y="620"/>
                  </a:lnTo>
                  <a:lnTo>
                    <a:pt x="3309" y="620"/>
                  </a:lnTo>
                  <a:lnTo>
                    <a:pt x="3308" y="618"/>
                  </a:lnTo>
                  <a:lnTo>
                    <a:pt x="3309" y="618"/>
                  </a:lnTo>
                  <a:lnTo>
                    <a:pt x="3308" y="618"/>
                  </a:lnTo>
                  <a:lnTo>
                    <a:pt x="3308" y="618"/>
                  </a:lnTo>
                  <a:lnTo>
                    <a:pt x="3309" y="618"/>
                  </a:lnTo>
                  <a:lnTo>
                    <a:pt x="3308" y="618"/>
                  </a:lnTo>
                  <a:lnTo>
                    <a:pt x="3308" y="618"/>
                  </a:lnTo>
                  <a:lnTo>
                    <a:pt x="3308" y="618"/>
                  </a:lnTo>
                  <a:lnTo>
                    <a:pt x="3308" y="618"/>
                  </a:lnTo>
                  <a:lnTo>
                    <a:pt x="3308" y="618"/>
                  </a:lnTo>
                  <a:lnTo>
                    <a:pt x="3308" y="618"/>
                  </a:lnTo>
                  <a:lnTo>
                    <a:pt x="3308" y="618"/>
                  </a:lnTo>
                  <a:lnTo>
                    <a:pt x="3308" y="618"/>
                  </a:lnTo>
                  <a:lnTo>
                    <a:pt x="3308" y="618"/>
                  </a:lnTo>
                  <a:lnTo>
                    <a:pt x="3304" y="620"/>
                  </a:lnTo>
                  <a:lnTo>
                    <a:pt x="3301" y="621"/>
                  </a:lnTo>
                  <a:lnTo>
                    <a:pt x="3301" y="621"/>
                  </a:lnTo>
                  <a:lnTo>
                    <a:pt x="3296" y="629"/>
                  </a:lnTo>
                  <a:lnTo>
                    <a:pt x="3296" y="629"/>
                  </a:lnTo>
                  <a:lnTo>
                    <a:pt x="3295" y="636"/>
                  </a:lnTo>
                  <a:lnTo>
                    <a:pt x="3295" y="636"/>
                  </a:lnTo>
                  <a:lnTo>
                    <a:pt x="3295" y="637"/>
                  </a:lnTo>
                  <a:lnTo>
                    <a:pt x="3295" y="637"/>
                  </a:lnTo>
                  <a:lnTo>
                    <a:pt x="3295" y="637"/>
                  </a:lnTo>
                  <a:lnTo>
                    <a:pt x="3295" y="637"/>
                  </a:lnTo>
                  <a:lnTo>
                    <a:pt x="3295" y="637"/>
                  </a:lnTo>
                  <a:lnTo>
                    <a:pt x="3295" y="637"/>
                  </a:lnTo>
                  <a:lnTo>
                    <a:pt x="3295" y="639"/>
                  </a:lnTo>
                  <a:lnTo>
                    <a:pt x="3295" y="636"/>
                  </a:lnTo>
                  <a:lnTo>
                    <a:pt x="3295" y="637"/>
                  </a:lnTo>
                  <a:lnTo>
                    <a:pt x="3295" y="639"/>
                  </a:lnTo>
                  <a:lnTo>
                    <a:pt x="3295" y="636"/>
                  </a:lnTo>
                  <a:lnTo>
                    <a:pt x="3295" y="637"/>
                  </a:lnTo>
                  <a:lnTo>
                    <a:pt x="3296" y="636"/>
                  </a:lnTo>
                  <a:lnTo>
                    <a:pt x="3295" y="636"/>
                  </a:lnTo>
                  <a:lnTo>
                    <a:pt x="3295" y="637"/>
                  </a:lnTo>
                  <a:lnTo>
                    <a:pt x="3296" y="636"/>
                  </a:lnTo>
                  <a:lnTo>
                    <a:pt x="3296" y="636"/>
                  </a:lnTo>
                  <a:lnTo>
                    <a:pt x="3295" y="636"/>
                  </a:lnTo>
                  <a:lnTo>
                    <a:pt x="3295" y="636"/>
                  </a:lnTo>
                  <a:lnTo>
                    <a:pt x="3289" y="631"/>
                  </a:lnTo>
                  <a:lnTo>
                    <a:pt x="3289" y="631"/>
                  </a:lnTo>
                  <a:lnTo>
                    <a:pt x="3286" y="629"/>
                  </a:lnTo>
                  <a:lnTo>
                    <a:pt x="3286" y="629"/>
                  </a:lnTo>
                  <a:lnTo>
                    <a:pt x="3285" y="627"/>
                  </a:lnTo>
                  <a:lnTo>
                    <a:pt x="3285" y="627"/>
                  </a:lnTo>
                  <a:lnTo>
                    <a:pt x="3283" y="627"/>
                  </a:lnTo>
                  <a:lnTo>
                    <a:pt x="3283" y="627"/>
                  </a:lnTo>
                  <a:lnTo>
                    <a:pt x="3280" y="629"/>
                  </a:lnTo>
                  <a:lnTo>
                    <a:pt x="3280" y="629"/>
                  </a:lnTo>
                  <a:lnTo>
                    <a:pt x="3280" y="630"/>
                  </a:lnTo>
                  <a:lnTo>
                    <a:pt x="3280" y="631"/>
                  </a:lnTo>
                  <a:lnTo>
                    <a:pt x="3280" y="631"/>
                  </a:lnTo>
                  <a:lnTo>
                    <a:pt x="3280" y="631"/>
                  </a:lnTo>
                  <a:lnTo>
                    <a:pt x="3282" y="636"/>
                  </a:lnTo>
                  <a:lnTo>
                    <a:pt x="3282" y="636"/>
                  </a:lnTo>
                  <a:lnTo>
                    <a:pt x="3282" y="639"/>
                  </a:lnTo>
                  <a:lnTo>
                    <a:pt x="3282" y="639"/>
                  </a:lnTo>
                  <a:lnTo>
                    <a:pt x="3282" y="639"/>
                  </a:lnTo>
                  <a:lnTo>
                    <a:pt x="3282" y="639"/>
                  </a:lnTo>
                  <a:lnTo>
                    <a:pt x="3283" y="639"/>
                  </a:lnTo>
                  <a:lnTo>
                    <a:pt x="3283" y="639"/>
                  </a:lnTo>
                  <a:lnTo>
                    <a:pt x="3282" y="639"/>
                  </a:lnTo>
                  <a:lnTo>
                    <a:pt x="3283" y="639"/>
                  </a:lnTo>
                  <a:lnTo>
                    <a:pt x="3283" y="639"/>
                  </a:lnTo>
                  <a:lnTo>
                    <a:pt x="3283" y="639"/>
                  </a:lnTo>
                  <a:lnTo>
                    <a:pt x="3283" y="637"/>
                  </a:lnTo>
                  <a:lnTo>
                    <a:pt x="3283" y="639"/>
                  </a:lnTo>
                  <a:lnTo>
                    <a:pt x="3283" y="639"/>
                  </a:lnTo>
                  <a:lnTo>
                    <a:pt x="3283" y="637"/>
                  </a:lnTo>
                  <a:lnTo>
                    <a:pt x="3283" y="637"/>
                  </a:lnTo>
                  <a:lnTo>
                    <a:pt x="3283" y="637"/>
                  </a:lnTo>
                  <a:lnTo>
                    <a:pt x="3273" y="637"/>
                  </a:lnTo>
                  <a:lnTo>
                    <a:pt x="3273" y="637"/>
                  </a:lnTo>
                  <a:lnTo>
                    <a:pt x="3269" y="636"/>
                  </a:lnTo>
                  <a:lnTo>
                    <a:pt x="3269" y="636"/>
                  </a:lnTo>
                  <a:lnTo>
                    <a:pt x="3266" y="636"/>
                  </a:lnTo>
                  <a:lnTo>
                    <a:pt x="3266" y="636"/>
                  </a:lnTo>
                  <a:lnTo>
                    <a:pt x="3265" y="636"/>
                  </a:lnTo>
                  <a:lnTo>
                    <a:pt x="3265" y="636"/>
                  </a:lnTo>
                  <a:lnTo>
                    <a:pt x="3263" y="639"/>
                  </a:lnTo>
                  <a:lnTo>
                    <a:pt x="3263" y="639"/>
                  </a:lnTo>
                  <a:lnTo>
                    <a:pt x="3263" y="640"/>
                  </a:lnTo>
                  <a:lnTo>
                    <a:pt x="3263" y="640"/>
                  </a:lnTo>
                  <a:lnTo>
                    <a:pt x="3263" y="645"/>
                  </a:lnTo>
                  <a:lnTo>
                    <a:pt x="3263" y="645"/>
                  </a:lnTo>
                  <a:lnTo>
                    <a:pt x="3265" y="649"/>
                  </a:lnTo>
                  <a:lnTo>
                    <a:pt x="3265" y="649"/>
                  </a:lnTo>
                  <a:lnTo>
                    <a:pt x="3266" y="653"/>
                  </a:lnTo>
                  <a:lnTo>
                    <a:pt x="3266" y="653"/>
                  </a:lnTo>
                  <a:lnTo>
                    <a:pt x="3266" y="659"/>
                  </a:lnTo>
                  <a:lnTo>
                    <a:pt x="3266" y="659"/>
                  </a:lnTo>
                  <a:lnTo>
                    <a:pt x="3266" y="660"/>
                  </a:lnTo>
                  <a:lnTo>
                    <a:pt x="3266" y="660"/>
                  </a:lnTo>
                  <a:lnTo>
                    <a:pt x="3266" y="660"/>
                  </a:lnTo>
                  <a:lnTo>
                    <a:pt x="3266" y="660"/>
                  </a:lnTo>
                  <a:lnTo>
                    <a:pt x="3266" y="660"/>
                  </a:lnTo>
                  <a:lnTo>
                    <a:pt x="3266" y="660"/>
                  </a:lnTo>
                  <a:lnTo>
                    <a:pt x="3266" y="660"/>
                  </a:lnTo>
                  <a:lnTo>
                    <a:pt x="3266" y="660"/>
                  </a:lnTo>
                  <a:lnTo>
                    <a:pt x="3266" y="660"/>
                  </a:lnTo>
                  <a:lnTo>
                    <a:pt x="3260" y="662"/>
                  </a:lnTo>
                  <a:lnTo>
                    <a:pt x="3260" y="662"/>
                  </a:lnTo>
                  <a:lnTo>
                    <a:pt x="3257" y="663"/>
                  </a:lnTo>
                  <a:lnTo>
                    <a:pt x="3257" y="663"/>
                  </a:lnTo>
                  <a:lnTo>
                    <a:pt x="3256" y="665"/>
                  </a:lnTo>
                  <a:lnTo>
                    <a:pt x="3256" y="665"/>
                  </a:lnTo>
                  <a:lnTo>
                    <a:pt x="3254" y="666"/>
                  </a:lnTo>
                  <a:lnTo>
                    <a:pt x="3254" y="666"/>
                  </a:lnTo>
                  <a:lnTo>
                    <a:pt x="3256" y="669"/>
                  </a:lnTo>
                  <a:lnTo>
                    <a:pt x="3256" y="669"/>
                  </a:lnTo>
                  <a:lnTo>
                    <a:pt x="3256" y="669"/>
                  </a:lnTo>
                  <a:lnTo>
                    <a:pt x="3257" y="672"/>
                  </a:lnTo>
                  <a:lnTo>
                    <a:pt x="3257" y="672"/>
                  </a:lnTo>
                  <a:lnTo>
                    <a:pt x="3259" y="675"/>
                  </a:lnTo>
                  <a:lnTo>
                    <a:pt x="3259" y="675"/>
                  </a:lnTo>
                  <a:lnTo>
                    <a:pt x="3262" y="675"/>
                  </a:lnTo>
                  <a:lnTo>
                    <a:pt x="3262" y="675"/>
                  </a:lnTo>
                  <a:lnTo>
                    <a:pt x="3263" y="675"/>
                  </a:lnTo>
                  <a:lnTo>
                    <a:pt x="3263" y="675"/>
                  </a:lnTo>
                  <a:lnTo>
                    <a:pt x="3265" y="675"/>
                  </a:lnTo>
                  <a:lnTo>
                    <a:pt x="3265" y="675"/>
                  </a:lnTo>
                  <a:lnTo>
                    <a:pt x="3267" y="675"/>
                  </a:lnTo>
                  <a:lnTo>
                    <a:pt x="3267" y="675"/>
                  </a:lnTo>
                  <a:lnTo>
                    <a:pt x="3267" y="676"/>
                  </a:lnTo>
                  <a:lnTo>
                    <a:pt x="3267" y="676"/>
                  </a:lnTo>
                  <a:lnTo>
                    <a:pt x="3267" y="676"/>
                  </a:lnTo>
                  <a:lnTo>
                    <a:pt x="3267" y="676"/>
                  </a:lnTo>
                  <a:lnTo>
                    <a:pt x="3267" y="676"/>
                  </a:lnTo>
                  <a:lnTo>
                    <a:pt x="3266" y="678"/>
                  </a:lnTo>
                  <a:lnTo>
                    <a:pt x="3266" y="678"/>
                  </a:lnTo>
                  <a:lnTo>
                    <a:pt x="3262" y="681"/>
                  </a:lnTo>
                  <a:lnTo>
                    <a:pt x="3256" y="681"/>
                  </a:lnTo>
                  <a:lnTo>
                    <a:pt x="3256" y="681"/>
                  </a:lnTo>
                  <a:lnTo>
                    <a:pt x="3254" y="681"/>
                  </a:lnTo>
                  <a:lnTo>
                    <a:pt x="3254" y="681"/>
                  </a:lnTo>
                  <a:lnTo>
                    <a:pt x="3250" y="679"/>
                  </a:lnTo>
                  <a:lnTo>
                    <a:pt x="3249" y="678"/>
                  </a:lnTo>
                  <a:lnTo>
                    <a:pt x="3249" y="678"/>
                  </a:lnTo>
                  <a:lnTo>
                    <a:pt x="3246" y="675"/>
                  </a:lnTo>
                  <a:lnTo>
                    <a:pt x="3240" y="672"/>
                  </a:lnTo>
                  <a:lnTo>
                    <a:pt x="3240" y="672"/>
                  </a:lnTo>
                  <a:lnTo>
                    <a:pt x="3234" y="671"/>
                  </a:lnTo>
                  <a:lnTo>
                    <a:pt x="3227" y="669"/>
                  </a:lnTo>
                  <a:lnTo>
                    <a:pt x="3227" y="669"/>
                  </a:lnTo>
                  <a:lnTo>
                    <a:pt x="3221" y="669"/>
                  </a:lnTo>
                  <a:lnTo>
                    <a:pt x="3221" y="669"/>
                  </a:lnTo>
                  <a:lnTo>
                    <a:pt x="3217" y="668"/>
                  </a:lnTo>
                  <a:lnTo>
                    <a:pt x="3217" y="668"/>
                  </a:lnTo>
                  <a:lnTo>
                    <a:pt x="3214" y="665"/>
                  </a:lnTo>
                  <a:lnTo>
                    <a:pt x="3214" y="665"/>
                  </a:lnTo>
                  <a:lnTo>
                    <a:pt x="3212" y="662"/>
                  </a:lnTo>
                  <a:lnTo>
                    <a:pt x="3212" y="660"/>
                  </a:lnTo>
                  <a:lnTo>
                    <a:pt x="3212" y="660"/>
                  </a:lnTo>
                  <a:lnTo>
                    <a:pt x="3214" y="659"/>
                  </a:lnTo>
                  <a:lnTo>
                    <a:pt x="3214" y="659"/>
                  </a:lnTo>
                  <a:lnTo>
                    <a:pt x="3215" y="656"/>
                  </a:lnTo>
                  <a:lnTo>
                    <a:pt x="3215" y="656"/>
                  </a:lnTo>
                  <a:lnTo>
                    <a:pt x="3214" y="650"/>
                  </a:lnTo>
                  <a:lnTo>
                    <a:pt x="3212" y="646"/>
                  </a:lnTo>
                  <a:lnTo>
                    <a:pt x="3212" y="646"/>
                  </a:lnTo>
                  <a:lnTo>
                    <a:pt x="3209" y="643"/>
                  </a:lnTo>
                  <a:lnTo>
                    <a:pt x="3209" y="643"/>
                  </a:lnTo>
                  <a:lnTo>
                    <a:pt x="3205" y="640"/>
                  </a:lnTo>
                  <a:lnTo>
                    <a:pt x="3205" y="640"/>
                  </a:lnTo>
                  <a:lnTo>
                    <a:pt x="3199" y="640"/>
                  </a:lnTo>
                  <a:lnTo>
                    <a:pt x="3199" y="640"/>
                  </a:lnTo>
                  <a:lnTo>
                    <a:pt x="3185" y="640"/>
                  </a:lnTo>
                  <a:lnTo>
                    <a:pt x="3185" y="640"/>
                  </a:lnTo>
                  <a:lnTo>
                    <a:pt x="3178" y="639"/>
                  </a:lnTo>
                  <a:lnTo>
                    <a:pt x="3178" y="639"/>
                  </a:lnTo>
                  <a:lnTo>
                    <a:pt x="3175" y="639"/>
                  </a:lnTo>
                  <a:lnTo>
                    <a:pt x="3175" y="639"/>
                  </a:lnTo>
                  <a:lnTo>
                    <a:pt x="3170" y="634"/>
                  </a:lnTo>
                  <a:lnTo>
                    <a:pt x="3170" y="634"/>
                  </a:lnTo>
                  <a:lnTo>
                    <a:pt x="3167" y="630"/>
                  </a:lnTo>
                  <a:lnTo>
                    <a:pt x="3167" y="630"/>
                  </a:lnTo>
                  <a:lnTo>
                    <a:pt x="3166" y="624"/>
                  </a:lnTo>
                  <a:lnTo>
                    <a:pt x="3166" y="624"/>
                  </a:lnTo>
                  <a:lnTo>
                    <a:pt x="3166" y="624"/>
                  </a:lnTo>
                  <a:lnTo>
                    <a:pt x="3166" y="624"/>
                  </a:lnTo>
                  <a:lnTo>
                    <a:pt x="3167" y="623"/>
                  </a:lnTo>
                  <a:lnTo>
                    <a:pt x="3167" y="623"/>
                  </a:lnTo>
                  <a:lnTo>
                    <a:pt x="3167" y="620"/>
                  </a:lnTo>
                  <a:lnTo>
                    <a:pt x="3167" y="620"/>
                  </a:lnTo>
                  <a:lnTo>
                    <a:pt x="3167" y="616"/>
                  </a:lnTo>
                  <a:lnTo>
                    <a:pt x="3167" y="616"/>
                  </a:lnTo>
                  <a:lnTo>
                    <a:pt x="3165" y="613"/>
                  </a:lnTo>
                  <a:lnTo>
                    <a:pt x="3165" y="613"/>
                  </a:lnTo>
                  <a:lnTo>
                    <a:pt x="3165" y="613"/>
                  </a:lnTo>
                  <a:lnTo>
                    <a:pt x="3160" y="610"/>
                  </a:lnTo>
                  <a:lnTo>
                    <a:pt x="3160" y="610"/>
                  </a:lnTo>
                  <a:lnTo>
                    <a:pt x="3159" y="608"/>
                  </a:lnTo>
                  <a:lnTo>
                    <a:pt x="3159" y="608"/>
                  </a:lnTo>
                  <a:lnTo>
                    <a:pt x="3157" y="608"/>
                  </a:lnTo>
                  <a:lnTo>
                    <a:pt x="3157" y="608"/>
                  </a:lnTo>
                  <a:lnTo>
                    <a:pt x="3154" y="610"/>
                  </a:lnTo>
                  <a:lnTo>
                    <a:pt x="3154" y="610"/>
                  </a:lnTo>
                  <a:lnTo>
                    <a:pt x="3153" y="611"/>
                  </a:lnTo>
                  <a:lnTo>
                    <a:pt x="3153" y="611"/>
                  </a:lnTo>
                  <a:lnTo>
                    <a:pt x="3153" y="614"/>
                  </a:lnTo>
                  <a:lnTo>
                    <a:pt x="3153" y="614"/>
                  </a:lnTo>
                  <a:lnTo>
                    <a:pt x="3150" y="623"/>
                  </a:lnTo>
                  <a:lnTo>
                    <a:pt x="3150" y="623"/>
                  </a:lnTo>
                  <a:lnTo>
                    <a:pt x="3150" y="631"/>
                  </a:lnTo>
                  <a:lnTo>
                    <a:pt x="3150" y="631"/>
                  </a:lnTo>
                  <a:lnTo>
                    <a:pt x="3150" y="633"/>
                  </a:lnTo>
                  <a:lnTo>
                    <a:pt x="3150" y="634"/>
                  </a:lnTo>
                  <a:lnTo>
                    <a:pt x="3150" y="634"/>
                  </a:lnTo>
                  <a:lnTo>
                    <a:pt x="3152" y="636"/>
                  </a:lnTo>
                  <a:lnTo>
                    <a:pt x="3152" y="636"/>
                  </a:lnTo>
                  <a:lnTo>
                    <a:pt x="3152" y="636"/>
                  </a:lnTo>
                  <a:lnTo>
                    <a:pt x="3152" y="636"/>
                  </a:lnTo>
                  <a:lnTo>
                    <a:pt x="3153" y="640"/>
                  </a:lnTo>
                  <a:lnTo>
                    <a:pt x="3153" y="640"/>
                  </a:lnTo>
                  <a:lnTo>
                    <a:pt x="3152" y="643"/>
                  </a:lnTo>
                  <a:lnTo>
                    <a:pt x="3152" y="643"/>
                  </a:lnTo>
                  <a:lnTo>
                    <a:pt x="3149" y="652"/>
                  </a:lnTo>
                  <a:lnTo>
                    <a:pt x="3149" y="652"/>
                  </a:lnTo>
                  <a:lnTo>
                    <a:pt x="3147" y="656"/>
                  </a:lnTo>
                  <a:lnTo>
                    <a:pt x="3144" y="658"/>
                  </a:lnTo>
                  <a:lnTo>
                    <a:pt x="3144" y="658"/>
                  </a:lnTo>
                  <a:lnTo>
                    <a:pt x="3133" y="663"/>
                  </a:lnTo>
                  <a:lnTo>
                    <a:pt x="3133" y="663"/>
                  </a:lnTo>
                  <a:lnTo>
                    <a:pt x="3123" y="668"/>
                  </a:lnTo>
                  <a:lnTo>
                    <a:pt x="3121" y="668"/>
                  </a:lnTo>
                  <a:lnTo>
                    <a:pt x="3121" y="668"/>
                  </a:lnTo>
                  <a:lnTo>
                    <a:pt x="3117" y="666"/>
                  </a:lnTo>
                  <a:lnTo>
                    <a:pt x="3117" y="666"/>
                  </a:lnTo>
                  <a:lnTo>
                    <a:pt x="3114" y="665"/>
                  </a:lnTo>
                  <a:lnTo>
                    <a:pt x="3111" y="665"/>
                  </a:lnTo>
                  <a:lnTo>
                    <a:pt x="3111" y="665"/>
                  </a:lnTo>
                  <a:lnTo>
                    <a:pt x="3104" y="662"/>
                  </a:lnTo>
                  <a:lnTo>
                    <a:pt x="3104" y="662"/>
                  </a:lnTo>
                  <a:lnTo>
                    <a:pt x="3095" y="660"/>
                  </a:lnTo>
                  <a:lnTo>
                    <a:pt x="3095" y="660"/>
                  </a:lnTo>
                  <a:lnTo>
                    <a:pt x="3095" y="660"/>
                  </a:lnTo>
                  <a:lnTo>
                    <a:pt x="3089" y="663"/>
                  </a:lnTo>
                  <a:lnTo>
                    <a:pt x="3089" y="663"/>
                  </a:lnTo>
                  <a:lnTo>
                    <a:pt x="3088" y="665"/>
                  </a:lnTo>
                  <a:lnTo>
                    <a:pt x="3088" y="665"/>
                  </a:lnTo>
                  <a:lnTo>
                    <a:pt x="3086" y="668"/>
                  </a:lnTo>
                  <a:lnTo>
                    <a:pt x="3086" y="668"/>
                  </a:lnTo>
                  <a:lnTo>
                    <a:pt x="3086" y="669"/>
                  </a:lnTo>
                  <a:lnTo>
                    <a:pt x="3088" y="671"/>
                  </a:lnTo>
                  <a:lnTo>
                    <a:pt x="3088" y="671"/>
                  </a:lnTo>
                  <a:lnTo>
                    <a:pt x="3092" y="672"/>
                  </a:lnTo>
                  <a:lnTo>
                    <a:pt x="3092" y="672"/>
                  </a:lnTo>
                  <a:lnTo>
                    <a:pt x="3097" y="673"/>
                  </a:lnTo>
                  <a:lnTo>
                    <a:pt x="3097" y="675"/>
                  </a:lnTo>
                  <a:lnTo>
                    <a:pt x="3097" y="675"/>
                  </a:lnTo>
                  <a:lnTo>
                    <a:pt x="3097" y="675"/>
                  </a:lnTo>
                  <a:lnTo>
                    <a:pt x="3097" y="678"/>
                  </a:lnTo>
                  <a:lnTo>
                    <a:pt x="3097" y="678"/>
                  </a:lnTo>
                  <a:lnTo>
                    <a:pt x="3095" y="684"/>
                  </a:lnTo>
                  <a:lnTo>
                    <a:pt x="3095" y="684"/>
                  </a:lnTo>
                  <a:lnTo>
                    <a:pt x="3094" y="692"/>
                  </a:lnTo>
                  <a:lnTo>
                    <a:pt x="3094" y="692"/>
                  </a:lnTo>
                  <a:lnTo>
                    <a:pt x="3094" y="697"/>
                  </a:lnTo>
                  <a:lnTo>
                    <a:pt x="3095" y="700"/>
                  </a:lnTo>
                  <a:lnTo>
                    <a:pt x="3095" y="700"/>
                  </a:lnTo>
                  <a:lnTo>
                    <a:pt x="3097" y="702"/>
                  </a:lnTo>
                  <a:lnTo>
                    <a:pt x="3101" y="704"/>
                  </a:lnTo>
                  <a:lnTo>
                    <a:pt x="3101" y="704"/>
                  </a:lnTo>
                  <a:lnTo>
                    <a:pt x="3108" y="705"/>
                  </a:lnTo>
                  <a:lnTo>
                    <a:pt x="3108" y="705"/>
                  </a:lnTo>
                  <a:lnTo>
                    <a:pt x="3112" y="704"/>
                  </a:lnTo>
                  <a:lnTo>
                    <a:pt x="3112" y="704"/>
                  </a:lnTo>
                  <a:lnTo>
                    <a:pt x="3115" y="701"/>
                  </a:lnTo>
                  <a:lnTo>
                    <a:pt x="3115" y="701"/>
                  </a:lnTo>
                  <a:lnTo>
                    <a:pt x="3118" y="698"/>
                  </a:lnTo>
                  <a:lnTo>
                    <a:pt x="3118" y="698"/>
                  </a:lnTo>
                  <a:lnTo>
                    <a:pt x="3118" y="697"/>
                  </a:lnTo>
                  <a:lnTo>
                    <a:pt x="3120" y="697"/>
                  </a:lnTo>
                  <a:lnTo>
                    <a:pt x="3118" y="697"/>
                  </a:lnTo>
                  <a:lnTo>
                    <a:pt x="3118" y="697"/>
                  </a:lnTo>
                  <a:lnTo>
                    <a:pt x="3120" y="697"/>
                  </a:lnTo>
                  <a:lnTo>
                    <a:pt x="3118" y="697"/>
                  </a:lnTo>
                  <a:lnTo>
                    <a:pt x="3118" y="697"/>
                  </a:lnTo>
                  <a:lnTo>
                    <a:pt x="3118" y="695"/>
                  </a:lnTo>
                  <a:lnTo>
                    <a:pt x="3118" y="698"/>
                  </a:lnTo>
                  <a:lnTo>
                    <a:pt x="3118" y="698"/>
                  </a:lnTo>
                  <a:lnTo>
                    <a:pt x="3118" y="697"/>
                  </a:lnTo>
                  <a:lnTo>
                    <a:pt x="3118" y="695"/>
                  </a:lnTo>
                  <a:lnTo>
                    <a:pt x="3118" y="698"/>
                  </a:lnTo>
                  <a:lnTo>
                    <a:pt x="3118" y="695"/>
                  </a:lnTo>
                  <a:lnTo>
                    <a:pt x="3115" y="697"/>
                  </a:lnTo>
                  <a:lnTo>
                    <a:pt x="3115" y="697"/>
                  </a:lnTo>
                  <a:lnTo>
                    <a:pt x="3118" y="698"/>
                  </a:lnTo>
                  <a:lnTo>
                    <a:pt x="3118" y="695"/>
                  </a:lnTo>
                  <a:lnTo>
                    <a:pt x="3115" y="697"/>
                  </a:lnTo>
                  <a:lnTo>
                    <a:pt x="3117" y="695"/>
                  </a:lnTo>
                  <a:lnTo>
                    <a:pt x="3115" y="697"/>
                  </a:lnTo>
                  <a:lnTo>
                    <a:pt x="3115" y="697"/>
                  </a:lnTo>
                  <a:lnTo>
                    <a:pt x="3117" y="695"/>
                  </a:lnTo>
                  <a:lnTo>
                    <a:pt x="3115" y="697"/>
                  </a:lnTo>
                  <a:lnTo>
                    <a:pt x="3115" y="697"/>
                  </a:lnTo>
                  <a:lnTo>
                    <a:pt x="3115" y="697"/>
                  </a:lnTo>
                  <a:lnTo>
                    <a:pt x="3115" y="698"/>
                  </a:lnTo>
                  <a:lnTo>
                    <a:pt x="3115" y="698"/>
                  </a:lnTo>
                  <a:lnTo>
                    <a:pt x="3115" y="698"/>
                  </a:lnTo>
                  <a:lnTo>
                    <a:pt x="3115" y="702"/>
                  </a:lnTo>
                  <a:lnTo>
                    <a:pt x="3115" y="702"/>
                  </a:lnTo>
                  <a:lnTo>
                    <a:pt x="3115" y="705"/>
                  </a:lnTo>
                  <a:lnTo>
                    <a:pt x="3117" y="707"/>
                  </a:lnTo>
                  <a:lnTo>
                    <a:pt x="3117" y="707"/>
                  </a:lnTo>
                  <a:lnTo>
                    <a:pt x="3118" y="710"/>
                  </a:lnTo>
                  <a:lnTo>
                    <a:pt x="3121" y="711"/>
                  </a:lnTo>
                  <a:lnTo>
                    <a:pt x="3121" y="711"/>
                  </a:lnTo>
                  <a:lnTo>
                    <a:pt x="3123" y="713"/>
                  </a:lnTo>
                  <a:lnTo>
                    <a:pt x="3123" y="713"/>
                  </a:lnTo>
                  <a:lnTo>
                    <a:pt x="3125" y="717"/>
                  </a:lnTo>
                  <a:lnTo>
                    <a:pt x="3125" y="717"/>
                  </a:lnTo>
                  <a:lnTo>
                    <a:pt x="3127" y="718"/>
                  </a:lnTo>
                  <a:lnTo>
                    <a:pt x="3127" y="718"/>
                  </a:lnTo>
                  <a:lnTo>
                    <a:pt x="3130" y="721"/>
                  </a:lnTo>
                  <a:lnTo>
                    <a:pt x="3130" y="721"/>
                  </a:lnTo>
                  <a:lnTo>
                    <a:pt x="3131" y="723"/>
                  </a:lnTo>
                  <a:lnTo>
                    <a:pt x="3131" y="723"/>
                  </a:lnTo>
                  <a:lnTo>
                    <a:pt x="3134" y="729"/>
                  </a:lnTo>
                  <a:lnTo>
                    <a:pt x="3134" y="729"/>
                  </a:lnTo>
                  <a:lnTo>
                    <a:pt x="3134" y="733"/>
                  </a:lnTo>
                  <a:lnTo>
                    <a:pt x="3134" y="734"/>
                  </a:lnTo>
                  <a:lnTo>
                    <a:pt x="3134" y="733"/>
                  </a:lnTo>
                  <a:lnTo>
                    <a:pt x="3134" y="733"/>
                  </a:lnTo>
                  <a:lnTo>
                    <a:pt x="3134" y="740"/>
                  </a:lnTo>
                  <a:lnTo>
                    <a:pt x="3134" y="740"/>
                  </a:lnTo>
                  <a:lnTo>
                    <a:pt x="3134" y="742"/>
                  </a:lnTo>
                  <a:lnTo>
                    <a:pt x="3134" y="742"/>
                  </a:lnTo>
                  <a:lnTo>
                    <a:pt x="3133" y="743"/>
                  </a:lnTo>
                  <a:lnTo>
                    <a:pt x="3133" y="743"/>
                  </a:lnTo>
                  <a:lnTo>
                    <a:pt x="3130" y="746"/>
                  </a:lnTo>
                  <a:lnTo>
                    <a:pt x="3128" y="747"/>
                  </a:lnTo>
                  <a:lnTo>
                    <a:pt x="3128" y="747"/>
                  </a:lnTo>
                  <a:lnTo>
                    <a:pt x="3127" y="747"/>
                  </a:lnTo>
                  <a:lnTo>
                    <a:pt x="3127" y="747"/>
                  </a:lnTo>
                  <a:lnTo>
                    <a:pt x="3124" y="746"/>
                  </a:lnTo>
                  <a:lnTo>
                    <a:pt x="3124" y="746"/>
                  </a:lnTo>
                  <a:lnTo>
                    <a:pt x="3117" y="743"/>
                  </a:lnTo>
                  <a:lnTo>
                    <a:pt x="3117" y="743"/>
                  </a:lnTo>
                  <a:lnTo>
                    <a:pt x="3114" y="742"/>
                  </a:lnTo>
                  <a:lnTo>
                    <a:pt x="3111" y="742"/>
                  </a:lnTo>
                  <a:lnTo>
                    <a:pt x="3111" y="742"/>
                  </a:lnTo>
                  <a:lnTo>
                    <a:pt x="3110" y="742"/>
                  </a:lnTo>
                  <a:lnTo>
                    <a:pt x="3110" y="742"/>
                  </a:lnTo>
                  <a:lnTo>
                    <a:pt x="3104" y="742"/>
                  </a:lnTo>
                  <a:lnTo>
                    <a:pt x="3092" y="744"/>
                  </a:lnTo>
                  <a:lnTo>
                    <a:pt x="3092" y="744"/>
                  </a:lnTo>
                  <a:lnTo>
                    <a:pt x="3079" y="749"/>
                  </a:lnTo>
                  <a:lnTo>
                    <a:pt x="3072" y="753"/>
                  </a:lnTo>
                  <a:lnTo>
                    <a:pt x="3065" y="757"/>
                  </a:lnTo>
                  <a:lnTo>
                    <a:pt x="3065" y="757"/>
                  </a:lnTo>
                  <a:lnTo>
                    <a:pt x="3052" y="769"/>
                  </a:lnTo>
                  <a:lnTo>
                    <a:pt x="3043" y="778"/>
                  </a:lnTo>
                  <a:lnTo>
                    <a:pt x="3043" y="778"/>
                  </a:lnTo>
                  <a:lnTo>
                    <a:pt x="3039" y="784"/>
                  </a:lnTo>
                  <a:lnTo>
                    <a:pt x="3039" y="784"/>
                  </a:lnTo>
                  <a:lnTo>
                    <a:pt x="3037" y="785"/>
                  </a:lnTo>
                  <a:lnTo>
                    <a:pt x="3037" y="785"/>
                  </a:lnTo>
                  <a:lnTo>
                    <a:pt x="3037" y="785"/>
                  </a:lnTo>
                  <a:lnTo>
                    <a:pt x="3039" y="786"/>
                  </a:lnTo>
                  <a:lnTo>
                    <a:pt x="3039" y="785"/>
                  </a:lnTo>
                  <a:lnTo>
                    <a:pt x="3039" y="785"/>
                  </a:lnTo>
                  <a:lnTo>
                    <a:pt x="3037" y="785"/>
                  </a:lnTo>
                  <a:lnTo>
                    <a:pt x="3039" y="786"/>
                  </a:lnTo>
                  <a:lnTo>
                    <a:pt x="3039" y="785"/>
                  </a:lnTo>
                  <a:lnTo>
                    <a:pt x="3039" y="786"/>
                  </a:lnTo>
                  <a:lnTo>
                    <a:pt x="3039" y="785"/>
                  </a:lnTo>
                  <a:lnTo>
                    <a:pt x="3039" y="785"/>
                  </a:lnTo>
                  <a:lnTo>
                    <a:pt x="3039" y="786"/>
                  </a:lnTo>
                  <a:lnTo>
                    <a:pt x="3039" y="785"/>
                  </a:lnTo>
                  <a:lnTo>
                    <a:pt x="3039" y="785"/>
                  </a:lnTo>
                  <a:lnTo>
                    <a:pt x="3037" y="785"/>
                  </a:lnTo>
                  <a:lnTo>
                    <a:pt x="3037" y="785"/>
                  </a:lnTo>
                  <a:lnTo>
                    <a:pt x="3036" y="784"/>
                  </a:lnTo>
                  <a:lnTo>
                    <a:pt x="3036" y="784"/>
                  </a:lnTo>
                  <a:lnTo>
                    <a:pt x="3034" y="784"/>
                  </a:lnTo>
                  <a:lnTo>
                    <a:pt x="3034" y="784"/>
                  </a:lnTo>
                  <a:lnTo>
                    <a:pt x="3031" y="784"/>
                  </a:lnTo>
                  <a:lnTo>
                    <a:pt x="3031" y="784"/>
                  </a:lnTo>
                  <a:lnTo>
                    <a:pt x="3031" y="785"/>
                  </a:lnTo>
                  <a:lnTo>
                    <a:pt x="3031" y="785"/>
                  </a:lnTo>
                  <a:lnTo>
                    <a:pt x="3031" y="785"/>
                  </a:lnTo>
                  <a:lnTo>
                    <a:pt x="3030" y="786"/>
                  </a:lnTo>
                  <a:lnTo>
                    <a:pt x="3030" y="786"/>
                  </a:lnTo>
                  <a:lnTo>
                    <a:pt x="3026" y="789"/>
                  </a:lnTo>
                  <a:lnTo>
                    <a:pt x="3026" y="789"/>
                  </a:lnTo>
                  <a:lnTo>
                    <a:pt x="3024" y="791"/>
                  </a:lnTo>
                  <a:lnTo>
                    <a:pt x="3023" y="791"/>
                  </a:lnTo>
                  <a:lnTo>
                    <a:pt x="3023" y="791"/>
                  </a:lnTo>
                  <a:lnTo>
                    <a:pt x="3024" y="792"/>
                  </a:lnTo>
                  <a:lnTo>
                    <a:pt x="3024" y="791"/>
                  </a:lnTo>
                  <a:lnTo>
                    <a:pt x="3023" y="791"/>
                  </a:lnTo>
                  <a:lnTo>
                    <a:pt x="3024" y="792"/>
                  </a:lnTo>
                  <a:lnTo>
                    <a:pt x="3024" y="791"/>
                  </a:lnTo>
                  <a:lnTo>
                    <a:pt x="3024" y="791"/>
                  </a:lnTo>
                  <a:lnTo>
                    <a:pt x="3024" y="791"/>
                  </a:lnTo>
                  <a:lnTo>
                    <a:pt x="3024" y="791"/>
                  </a:lnTo>
                  <a:lnTo>
                    <a:pt x="3024" y="791"/>
                  </a:lnTo>
                  <a:lnTo>
                    <a:pt x="3024" y="791"/>
                  </a:lnTo>
                  <a:lnTo>
                    <a:pt x="3024" y="791"/>
                  </a:lnTo>
                  <a:lnTo>
                    <a:pt x="3023" y="789"/>
                  </a:lnTo>
                  <a:lnTo>
                    <a:pt x="3023" y="789"/>
                  </a:lnTo>
                  <a:lnTo>
                    <a:pt x="3020" y="789"/>
                  </a:lnTo>
                  <a:lnTo>
                    <a:pt x="3020" y="789"/>
                  </a:lnTo>
                  <a:lnTo>
                    <a:pt x="3017" y="791"/>
                  </a:lnTo>
                  <a:lnTo>
                    <a:pt x="3017" y="791"/>
                  </a:lnTo>
                  <a:lnTo>
                    <a:pt x="3015" y="792"/>
                  </a:lnTo>
                  <a:lnTo>
                    <a:pt x="3015" y="792"/>
                  </a:lnTo>
                  <a:lnTo>
                    <a:pt x="3017" y="795"/>
                  </a:lnTo>
                  <a:lnTo>
                    <a:pt x="3017" y="795"/>
                  </a:lnTo>
                  <a:lnTo>
                    <a:pt x="3018" y="798"/>
                  </a:lnTo>
                  <a:lnTo>
                    <a:pt x="3018" y="798"/>
                  </a:lnTo>
                  <a:lnTo>
                    <a:pt x="3020" y="801"/>
                  </a:lnTo>
                  <a:lnTo>
                    <a:pt x="3020" y="801"/>
                  </a:lnTo>
                  <a:lnTo>
                    <a:pt x="3020" y="801"/>
                  </a:lnTo>
                  <a:lnTo>
                    <a:pt x="3020" y="801"/>
                  </a:lnTo>
                  <a:lnTo>
                    <a:pt x="3020" y="801"/>
                  </a:lnTo>
                  <a:lnTo>
                    <a:pt x="3020" y="801"/>
                  </a:lnTo>
                  <a:lnTo>
                    <a:pt x="3020" y="801"/>
                  </a:lnTo>
                  <a:lnTo>
                    <a:pt x="3020" y="801"/>
                  </a:lnTo>
                  <a:lnTo>
                    <a:pt x="3020" y="801"/>
                  </a:lnTo>
                  <a:lnTo>
                    <a:pt x="3020" y="801"/>
                  </a:lnTo>
                  <a:lnTo>
                    <a:pt x="3020" y="801"/>
                  </a:lnTo>
                  <a:lnTo>
                    <a:pt x="3020" y="801"/>
                  </a:lnTo>
                  <a:lnTo>
                    <a:pt x="3020" y="800"/>
                  </a:lnTo>
                  <a:lnTo>
                    <a:pt x="3020" y="801"/>
                  </a:lnTo>
                  <a:lnTo>
                    <a:pt x="3020" y="801"/>
                  </a:lnTo>
                  <a:lnTo>
                    <a:pt x="3020" y="800"/>
                  </a:lnTo>
                  <a:lnTo>
                    <a:pt x="3020" y="800"/>
                  </a:lnTo>
                  <a:lnTo>
                    <a:pt x="3020" y="800"/>
                  </a:lnTo>
                  <a:lnTo>
                    <a:pt x="3017" y="800"/>
                  </a:lnTo>
                  <a:lnTo>
                    <a:pt x="3017" y="800"/>
                  </a:lnTo>
                  <a:lnTo>
                    <a:pt x="3015" y="798"/>
                  </a:lnTo>
                  <a:lnTo>
                    <a:pt x="3015" y="798"/>
                  </a:lnTo>
                  <a:lnTo>
                    <a:pt x="3014" y="798"/>
                  </a:lnTo>
                  <a:lnTo>
                    <a:pt x="3014" y="798"/>
                  </a:lnTo>
                  <a:lnTo>
                    <a:pt x="3011" y="800"/>
                  </a:lnTo>
                  <a:lnTo>
                    <a:pt x="3011" y="800"/>
                  </a:lnTo>
                  <a:lnTo>
                    <a:pt x="3010" y="801"/>
                  </a:lnTo>
                  <a:lnTo>
                    <a:pt x="3010" y="801"/>
                  </a:lnTo>
                  <a:lnTo>
                    <a:pt x="3010" y="808"/>
                  </a:lnTo>
                  <a:lnTo>
                    <a:pt x="3010" y="808"/>
                  </a:lnTo>
                  <a:lnTo>
                    <a:pt x="3008" y="811"/>
                  </a:lnTo>
                  <a:lnTo>
                    <a:pt x="3008" y="811"/>
                  </a:lnTo>
                  <a:lnTo>
                    <a:pt x="3008" y="811"/>
                  </a:lnTo>
                  <a:lnTo>
                    <a:pt x="3010" y="811"/>
                  </a:lnTo>
                  <a:lnTo>
                    <a:pt x="3010" y="811"/>
                  </a:lnTo>
                  <a:lnTo>
                    <a:pt x="3008" y="811"/>
                  </a:lnTo>
                  <a:lnTo>
                    <a:pt x="3010" y="811"/>
                  </a:lnTo>
                  <a:lnTo>
                    <a:pt x="3010" y="811"/>
                  </a:lnTo>
                  <a:lnTo>
                    <a:pt x="3010" y="811"/>
                  </a:lnTo>
                  <a:lnTo>
                    <a:pt x="3010" y="810"/>
                  </a:lnTo>
                  <a:lnTo>
                    <a:pt x="3010" y="811"/>
                  </a:lnTo>
                  <a:lnTo>
                    <a:pt x="3010" y="811"/>
                  </a:lnTo>
                  <a:lnTo>
                    <a:pt x="3010" y="810"/>
                  </a:lnTo>
                  <a:lnTo>
                    <a:pt x="3010" y="810"/>
                  </a:lnTo>
                  <a:lnTo>
                    <a:pt x="3005" y="811"/>
                  </a:lnTo>
                  <a:lnTo>
                    <a:pt x="3005" y="811"/>
                  </a:lnTo>
                  <a:lnTo>
                    <a:pt x="3001" y="813"/>
                  </a:lnTo>
                  <a:lnTo>
                    <a:pt x="2998" y="814"/>
                  </a:lnTo>
                  <a:lnTo>
                    <a:pt x="2998" y="814"/>
                  </a:lnTo>
                  <a:lnTo>
                    <a:pt x="2998" y="814"/>
                  </a:lnTo>
                  <a:lnTo>
                    <a:pt x="2998" y="814"/>
                  </a:lnTo>
                  <a:lnTo>
                    <a:pt x="2994" y="821"/>
                  </a:lnTo>
                  <a:lnTo>
                    <a:pt x="2994" y="821"/>
                  </a:lnTo>
                  <a:lnTo>
                    <a:pt x="2989" y="830"/>
                  </a:lnTo>
                  <a:lnTo>
                    <a:pt x="2989" y="830"/>
                  </a:lnTo>
                  <a:lnTo>
                    <a:pt x="2988" y="831"/>
                  </a:lnTo>
                  <a:lnTo>
                    <a:pt x="2988" y="831"/>
                  </a:lnTo>
                  <a:lnTo>
                    <a:pt x="2986" y="833"/>
                  </a:lnTo>
                  <a:lnTo>
                    <a:pt x="2986" y="833"/>
                  </a:lnTo>
                  <a:lnTo>
                    <a:pt x="2986" y="833"/>
                  </a:lnTo>
                  <a:lnTo>
                    <a:pt x="2985" y="831"/>
                  </a:lnTo>
                  <a:lnTo>
                    <a:pt x="2985" y="831"/>
                  </a:lnTo>
                  <a:lnTo>
                    <a:pt x="2982" y="821"/>
                  </a:lnTo>
                  <a:lnTo>
                    <a:pt x="2982" y="821"/>
                  </a:lnTo>
                  <a:lnTo>
                    <a:pt x="2979" y="815"/>
                  </a:lnTo>
                  <a:lnTo>
                    <a:pt x="2979" y="815"/>
                  </a:lnTo>
                  <a:lnTo>
                    <a:pt x="2978" y="814"/>
                  </a:lnTo>
                  <a:lnTo>
                    <a:pt x="2975" y="813"/>
                  </a:lnTo>
                  <a:lnTo>
                    <a:pt x="2975" y="813"/>
                  </a:lnTo>
                  <a:lnTo>
                    <a:pt x="2972" y="813"/>
                  </a:lnTo>
                  <a:lnTo>
                    <a:pt x="2972" y="813"/>
                  </a:lnTo>
                  <a:lnTo>
                    <a:pt x="2965" y="814"/>
                  </a:lnTo>
                  <a:lnTo>
                    <a:pt x="2965" y="814"/>
                  </a:lnTo>
                  <a:lnTo>
                    <a:pt x="2962" y="815"/>
                  </a:lnTo>
                  <a:lnTo>
                    <a:pt x="2959" y="817"/>
                  </a:lnTo>
                  <a:lnTo>
                    <a:pt x="2959" y="817"/>
                  </a:lnTo>
                  <a:lnTo>
                    <a:pt x="2956" y="821"/>
                  </a:lnTo>
                  <a:lnTo>
                    <a:pt x="2953" y="824"/>
                  </a:lnTo>
                  <a:lnTo>
                    <a:pt x="2953" y="824"/>
                  </a:lnTo>
                  <a:lnTo>
                    <a:pt x="2949" y="827"/>
                  </a:lnTo>
                  <a:lnTo>
                    <a:pt x="2949" y="827"/>
                  </a:lnTo>
                  <a:lnTo>
                    <a:pt x="2942" y="834"/>
                  </a:lnTo>
                  <a:lnTo>
                    <a:pt x="2942" y="834"/>
                  </a:lnTo>
                  <a:lnTo>
                    <a:pt x="2940" y="836"/>
                  </a:lnTo>
                  <a:lnTo>
                    <a:pt x="2939" y="837"/>
                  </a:lnTo>
                  <a:lnTo>
                    <a:pt x="2939" y="837"/>
                  </a:lnTo>
                  <a:lnTo>
                    <a:pt x="2939" y="837"/>
                  </a:lnTo>
                  <a:lnTo>
                    <a:pt x="2939" y="837"/>
                  </a:lnTo>
                  <a:lnTo>
                    <a:pt x="2939" y="837"/>
                  </a:lnTo>
                  <a:lnTo>
                    <a:pt x="2939" y="837"/>
                  </a:lnTo>
                  <a:lnTo>
                    <a:pt x="2939" y="837"/>
                  </a:lnTo>
                  <a:lnTo>
                    <a:pt x="2939" y="839"/>
                  </a:lnTo>
                  <a:lnTo>
                    <a:pt x="2939" y="837"/>
                  </a:lnTo>
                  <a:lnTo>
                    <a:pt x="2939" y="837"/>
                  </a:lnTo>
                  <a:lnTo>
                    <a:pt x="2939" y="839"/>
                  </a:lnTo>
                  <a:lnTo>
                    <a:pt x="2939" y="837"/>
                  </a:lnTo>
                  <a:lnTo>
                    <a:pt x="2939" y="837"/>
                  </a:lnTo>
                  <a:lnTo>
                    <a:pt x="2939" y="837"/>
                  </a:lnTo>
                  <a:lnTo>
                    <a:pt x="2939" y="837"/>
                  </a:lnTo>
                  <a:lnTo>
                    <a:pt x="2940" y="837"/>
                  </a:lnTo>
                  <a:lnTo>
                    <a:pt x="2939" y="837"/>
                  </a:lnTo>
                  <a:lnTo>
                    <a:pt x="2939" y="837"/>
                  </a:lnTo>
                  <a:lnTo>
                    <a:pt x="2940" y="837"/>
                  </a:lnTo>
                  <a:lnTo>
                    <a:pt x="2940" y="837"/>
                  </a:lnTo>
                  <a:lnTo>
                    <a:pt x="2940" y="837"/>
                  </a:lnTo>
                  <a:lnTo>
                    <a:pt x="2940" y="833"/>
                  </a:lnTo>
                  <a:lnTo>
                    <a:pt x="2940" y="833"/>
                  </a:lnTo>
                  <a:lnTo>
                    <a:pt x="2942" y="828"/>
                  </a:lnTo>
                  <a:lnTo>
                    <a:pt x="2942" y="828"/>
                  </a:lnTo>
                  <a:lnTo>
                    <a:pt x="2940" y="827"/>
                  </a:lnTo>
                  <a:lnTo>
                    <a:pt x="2940" y="827"/>
                  </a:lnTo>
                  <a:lnTo>
                    <a:pt x="2939" y="826"/>
                  </a:lnTo>
                  <a:lnTo>
                    <a:pt x="2939" y="826"/>
                  </a:lnTo>
                  <a:lnTo>
                    <a:pt x="2937" y="826"/>
                  </a:lnTo>
                  <a:lnTo>
                    <a:pt x="2937" y="826"/>
                  </a:lnTo>
                  <a:lnTo>
                    <a:pt x="2933" y="826"/>
                  </a:lnTo>
                  <a:lnTo>
                    <a:pt x="2933" y="826"/>
                  </a:lnTo>
                  <a:lnTo>
                    <a:pt x="2926" y="830"/>
                  </a:lnTo>
                  <a:lnTo>
                    <a:pt x="2926" y="830"/>
                  </a:lnTo>
                  <a:lnTo>
                    <a:pt x="2923" y="831"/>
                  </a:lnTo>
                  <a:lnTo>
                    <a:pt x="2920" y="834"/>
                  </a:lnTo>
                  <a:lnTo>
                    <a:pt x="2920" y="834"/>
                  </a:lnTo>
                  <a:lnTo>
                    <a:pt x="2917" y="839"/>
                  </a:lnTo>
                  <a:lnTo>
                    <a:pt x="2917" y="839"/>
                  </a:lnTo>
                  <a:lnTo>
                    <a:pt x="2917" y="840"/>
                  </a:lnTo>
                  <a:lnTo>
                    <a:pt x="2917" y="842"/>
                  </a:lnTo>
                  <a:lnTo>
                    <a:pt x="2918" y="842"/>
                  </a:lnTo>
                  <a:lnTo>
                    <a:pt x="2917" y="840"/>
                  </a:lnTo>
                  <a:lnTo>
                    <a:pt x="2917" y="842"/>
                  </a:lnTo>
                  <a:lnTo>
                    <a:pt x="2918" y="842"/>
                  </a:lnTo>
                  <a:lnTo>
                    <a:pt x="2917" y="840"/>
                  </a:lnTo>
                  <a:lnTo>
                    <a:pt x="2918" y="842"/>
                  </a:lnTo>
                  <a:lnTo>
                    <a:pt x="2917" y="840"/>
                  </a:lnTo>
                  <a:lnTo>
                    <a:pt x="2917" y="840"/>
                  </a:lnTo>
                  <a:lnTo>
                    <a:pt x="2918" y="842"/>
                  </a:lnTo>
                  <a:lnTo>
                    <a:pt x="2917" y="840"/>
                  </a:lnTo>
                  <a:lnTo>
                    <a:pt x="2917" y="840"/>
                  </a:lnTo>
                  <a:lnTo>
                    <a:pt x="2917" y="840"/>
                  </a:lnTo>
                  <a:lnTo>
                    <a:pt x="2915" y="840"/>
                  </a:lnTo>
                  <a:lnTo>
                    <a:pt x="2915" y="840"/>
                  </a:lnTo>
                  <a:lnTo>
                    <a:pt x="2911" y="839"/>
                  </a:lnTo>
                  <a:lnTo>
                    <a:pt x="2911" y="839"/>
                  </a:lnTo>
                  <a:lnTo>
                    <a:pt x="2907" y="840"/>
                  </a:lnTo>
                  <a:lnTo>
                    <a:pt x="2907" y="840"/>
                  </a:lnTo>
                  <a:lnTo>
                    <a:pt x="2901" y="843"/>
                  </a:lnTo>
                  <a:lnTo>
                    <a:pt x="2901" y="843"/>
                  </a:lnTo>
                  <a:lnTo>
                    <a:pt x="2898" y="846"/>
                  </a:lnTo>
                  <a:lnTo>
                    <a:pt x="2898" y="846"/>
                  </a:lnTo>
                  <a:lnTo>
                    <a:pt x="2897" y="850"/>
                  </a:lnTo>
                  <a:lnTo>
                    <a:pt x="2897" y="850"/>
                  </a:lnTo>
                  <a:lnTo>
                    <a:pt x="2895" y="855"/>
                  </a:lnTo>
                  <a:lnTo>
                    <a:pt x="2895" y="855"/>
                  </a:lnTo>
                  <a:lnTo>
                    <a:pt x="2892" y="859"/>
                  </a:lnTo>
                  <a:lnTo>
                    <a:pt x="2892" y="859"/>
                  </a:lnTo>
                  <a:lnTo>
                    <a:pt x="2888" y="863"/>
                  </a:lnTo>
                  <a:lnTo>
                    <a:pt x="2888" y="863"/>
                  </a:lnTo>
                  <a:lnTo>
                    <a:pt x="2882" y="872"/>
                  </a:lnTo>
                  <a:lnTo>
                    <a:pt x="2882" y="872"/>
                  </a:lnTo>
                  <a:lnTo>
                    <a:pt x="2878" y="881"/>
                  </a:lnTo>
                  <a:lnTo>
                    <a:pt x="2878" y="881"/>
                  </a:lnTo>
                  <a:lnTo>
                    <a:pt x="2878" y="882"/>
                  </a:lnTo>
                  <a:lnTo>
                    <a:pt x="2878" y="885"/>
                  </a:lnTo>
                  <a:lnTo>
                    <a:pt x="2878" y="885"/>
                  </a:lnTo>
                  <a:lnTo>
                    <a:pt x="2878" y="891"/>
                  </a:lnTo>
                  <a:lnTo>
                    <a:pt x="2878" y="891"/>
                  </a:lnTo>
                  <a:lnTo>
                    <a:pt x="2878" y="895"/>
                  </a:lnTo>
                  <a:lnTo>
                    <a:pt x="2878" y="897"/>
                  </a:lnTo>
                  <a:lnTo>
                    <a:pt x="2878" y="897"/>
                  </a:lnTo>
                  <a:lnTo>
                    <a:pt x="2879" y="897"/>
                  </a:lnTo>
                  <a:lnTo>
                    <a:pt x="2878" y="897"/>
                  </a:lnTo>
                  <a:lnTo>
                    <a:pt x="2878" y="897"/>
                  </a:lnTo>
                  <a:lnTo>
                    <a:pt x="2879" y="897"/>
                  </a:lnTo>
                  <a:lnTo>
                    <a:pt x="2878" y="897"/>
                  </a:lnTo>
                  <a:lnTo>
                    <a:pt x="2878" y="897"/>
                  </a:lnTo>
                  <a:lnTo>
                    <a:pt x="2878" y="897"/>
                  </a:lnTo>
                  <a:lnTo>
                    <a:pt x="2878" y="897"/>
                  </a:lnTo>
                  <a:lnTo>
                    <a:pt x="2876" y="898"/>
                  </a:lnTo>
                  <a:lnTo>
                    <a:pt x="2876" y="901"/>
                  </a:lnTo>
                  <a:lnTo>
                    <a:pt x="2876" y="901"/>
                  </a:lnTo>
                  <a:lnTo>
                    <a:pt x="2878" y="904"/>
                  </a:lnTo>
                  <a:lnTo>
                    <a:pt x="2878" y="904"/>
                  </a:lnTo>
                  <a:lnTo>
                    <a:pt x="2882" y="905"/>
                  </a:lnTo>
                  <a:lnTo>
                    <a:pt x="2882" y="905"/>
                  </a:lnTo>
                  <a:lnTo>
                    <a:pt x="2884" y="905"/>
                  </a:lnTo>
                  <a:lnTo>
                    <a:pt x="2884" y="905"/>
                  </a:lnTo>
                  <a:lnTo>
                    <a:pt x="2884" y="905"/>
                  </a:lnTo>
                  <a:lnTo>
                    <a:pt x="2885" y="907"/>
                  </a:lnTo>
                  <a:lnTo>
                    <a:pt x="2885" y="907"/>
                  </a:lnTo>
                  <a:lnTo>
                    <a:pt x="2888" y="910"/>
                  </a:lnTo>
                  <a:lnTo>
                    <a:pt x="2888" y="910"/>
                  </a:lnTo>
                  <a:lnTo>
                    <a:pt x="2888" y="912"/>
                  </a:lnTo>
                  <a:lnTo>
                    <a:pt x="2888" y="912"/>
                  </a:lnTo>
                  <a:lnTo>
                    <a:pt x="2888" y="912"/>
                  </a:lnTo>
                  <a:lnTo>
                    <a:pt x="2889" y="912"/>
                  </a:lnTo>
                  <a:lnTo>
                    <a:pt x="2889" y="912"/>
                  </a:lnTo>
                  <a:lnTo>
                    <a:pt x="2888" y="912"/>
                  </a:lnTo>
                  <a:lnTo>
                    <a:pt x="2889" y="912"/>
                  </a:lnTo>
                  <a:lnTo>
                    <a:pt x="2889" y="912"/>
                  </a:lnTo>
                  <a:lnTo>
                    <a:pt x="2889" y="912"/>
                  </a:lnTo>
                  <a:lnTo>
                    <a:pt x="2884" y="915"/>
                  </a:lnTo>
                  <a:lnTo>
                    <a:pt x="2884" y="915"/>
                  </a:lnTo>
                  <a:lnTo>
                    <a:pt x="2879" y="920"/>
                  </a:lnTo>
                  <a:lnTo>
                    <a:pt x="2879" y="920"/>
                  </a:lnTo>
                  <a:lnTo>
                    <a:pt x="2878" y="924"/>
                  </a:lnTo>
                  <a:lnTo>
                    <a:pt x="2878" y="926"/>
                  </a:lnTo>
                  <a:lnTo>
                    <a:pt x="2878" y="926"/>
                  </a:lnTo>
                  <a:lnTo>
                    <a:pt x="2881" y="936"/>
                  </a:lnTo>
                  <a:lnTo>
                    <a:pt x="2881" y="936"/>
                  </a:lnTo>
                  <a:lnTo>
                    <a:pt x="2882" y="940"/>
                  </a:lnTo>
                  <a:lnTo>
                    <a:pt x="2882" y="940"/>
                  </a:lnTo>
                  <a:lnTo>
                    <a:pt x="2884" y="941"/>
                  </a:lnTo>
                  <a:lnTo>
                    <a:pt x="2887" y="941"/>
                  </a:lnTo>
                  <a:lnTo>
                    <a:pt x="2887" y="941"/>
                  </a:lnTo>
                  <a:lnTo>
                    <a:pt x="2888" y="941"/>
                  </a:lnTo>
                  <a:lnTo>
                    <a:pt x="2888" y="941"/>
                  </a:lnTo>
                  <a:lnTo>
                    <a:pt x="2892" y="943"/>
                  </a:lnTo>
                  <a:lnTo>
                    <a:pt x="2892" y="943"/>
                  </a:lnTo>
                  <a:lnTo>
                    <a:pt x="2894" y="944"/>
                  </a:lnTo>
                  <a:lnTo>
                    <a:pt x="2895" y="944"/>
                  </a:lnTo>
                  <a:lnTo>
                    <a:pt x="2895" y="946"/>
                  </a:lnTo>
                  <a:lnTo>
                    <a:pt x="2895" y="946"/>
                  </a:lnTo>
                  <a:lnTo>
                    <a:pt x="2894" y="952"/>
                  </a:lnTo>
                  <a:lnTo>
                    <a:pt x="2894" y="952"/>
                  </a:lnTo>
                  <a:lnTo>
                    <a:pt x="2892" y="953"/>
                  </a:lnTo>
                  <a:lnTo>
                    <a:pt x="2892" y="953"/>
                  </a:lnTo>
                  <a:lnTo>
                    <a:pt x="2891" y="953"/>
                  </a:lnTo>
                  <a:lnTo>
                    <a:pt x="2891" y="953"/>
                  </a:lnTo>
                  <a:lnTo>
                    <a:pt x="2889" y="953"/>
                  </a:lnTo>
                  <a:lnTo>
                    <a:pt x="2889" y="953"/>
                  </a:lnTo>
                  <a:lnTo>
                    <a:pt x="2888" y="952"/>
                  </a:lnTo>
                  <a:lnTo>
                    <a:pt x="2885" y="952"/>
                  </a:lnTo>
                  <a:lnTo>
                    <a:pt x="2885" y="952"/>
                  </a:lnTo>
                  <a:lnTo>
                    <a:pt x="2882" y="952"/>
                  </a:lnTo>
                  <a:lnTo>
                    <a:pt x="2882" y="952"/>
                  </a:lnTo>
                  <a:lnTo>
                    <a:pt x="2879" y="954"/>
                  </a:lnTo>
                  <a:lnTo>
                    <a:pt x="2875" y="957"/>
                  </a:lnTo>
                  <a:lnTo>
                    <a:pt x="2875" y="957"/>
                  </a:lnTo>
                  <a:lnTo>
                    <a:pt x="2872" y="960"/>
                  </a:lnTo>
                  <a:lnTo>
                    <a:pt x="2872" y="960"/>
                  </a:lnTo>
                  <a:lnTo>
                    <a:pt x="2871" y="965"/>
                  </a:lnTo>
                  <a:lnTo>
                    <a:pt x="2871" y="965"/>
                  </a:lnTo>
                  <a:lnTo>
                    <a:pt x="2873" y="965"/>
                  </a:lnTo>
                  <a:lnTo>
                    <a:pt x="2871" y="965"/>
                  </a:lnTo>
                  <a:lnTo>
                    <a:pt x="2871" y="965"/>
                  </a:lnTo>
                  <a:lnTo>
                    <a:pt x="2871" y="968"/>
                  </a:lnTo>
                  <a:lnTo>
                    <a:pt x="2871" y="968"/>
                  </a:lnTo>
                  <a:lnTo>
                    <a:pt x="2871" y="970"/>
                  </a:lnTo>
                  <a:lnTo>
                    <a:pt x="2871" y="970"/>
                  </a:lnTo>
                  <a:lnTo>
                    <a:pt x="2869" y="973"/>
                  </a:lnTo>
                  <a:lnTo>
                    <a:pt x="2868" y="976"/>
                  </a:lnTo>
                  <a:lnTo>
                    <a:pt x="2868" y="976"/>
                  </a:lnTo>
                  <a:lnTo>
                    <a:pt x="2869" y="981"/>
                  </a:lnTo>
                  <a:lnTo>
                    <a:pt x="2872" y="983"/>
                  </a:lnTo>
                  <a:lnTo>
                    <a:pt x="2872" y="983"/>
                  </a:lnTo>
                  <a:lnTo>
                    <a:pt x="2872" y="985"/>
                  </a:lnTo>
                  <a:lnTo>
                    <a:pt x="2872" y="985"/>
                  </a:lnTo>
                  <a:lnTo>
                    <a:pt x="2873" y="986"/>
                  </a:lnTo>
                  <a:lnTo>
                    <a:pt x="2873" y="986"/>
                  </a:lnTo>
                  <a:lnTo>
                    <a:pt x="2872" y="991"/>
                  </a:lnTo>
                  <a:lnTo>
                    <a:pt x="2872" y="991"/>
                  </a:lnTo>
                  <a:lnTo>
                    <a:pt x="2872" y="992"/>
                  </a:lnTo>
                  <a:lnTo>
                    <a:pt x="2872" y="992"/>
                  </a:lnTo>
                  <a:lnTo>
                    <a:pt x="2869" y="992"/>
                  </a:lnTo>
                  <a:lnTo>
                    <a:pt x="2869" y="992"/>
                  </a:lnTo>
                  <a:lnTo>
                    <a:pt x="2865" y="992"/>
                  </a:lnTo>
                  <a:lnTo>
                    <a:pt x="2865" y="992"/>
                  </a:lnTo>
                  <a:lnTo>
                    <a:pt x="2859" y="992"/>
                  </a:lnTo>
                  <a:lnTo>
                    <a:pt x="2859" y="992"/>
                  </a:lnTo>
                  <a:lnTo>
                    <a:pt x="2850" y="996"/>
                  </a:lnTo>
                  <a:lnTo>
                    <a:pt x="2850" y="996"/>
                  </a:lnTo>
                  <a:lnTo>
                    <a:pt x="2847" y="999"/>
                  </a:lnTo>
                  <a:lnTo>
                    <a:pt x="2843" y="1002"/>
                  </a:lnTo>
                  <a:lnTo>
                    <a:pt x="2843" y="1002"/>
                  </a:lnTo>
                  <a:lnTo>
                    <a:pt x="2839" y="1008"/>
                  </a:lnTo>
                  <a:lnTo>
                    <a:pt x="2839" y="1008"/>
                  </a:lnTo>
                  <a:lnTo>
                    <a:pt x="2836" y="1011"/>
                  </a:lnTo>
                  <a:lnTo>
                    <a:pt x="2833" y="1017"/>
                  </a:lnTo>
                  <a:lnTo>
                    <a:pt x="2833" y="1017"/>
                  </a:lnTo>
                  <a:lnTo>
                    <a:pt x="2833" y="1020"/>
                  </a:lnTo>
                  <a:lnTo>
                    <a:pt x="2833" y="1020"/>
                  </a:lnTo>
                  <a:lnTo>
                    <a:pt x="2834" y="1028"/>
                  </a:lnTo>
                  <a:lnTo>
                    <a:pt x="2834" y="1028"/>
                  </a:lnTo>
                  <a:lnTo>
                    <a:pt x="2834" y="1033"/>
                  </a:lnTo>
                  <a:lnTo>
                    <a:pt x="2834" y="1033"/>
                  </a:lnTo>
                  <a:lnTo>
                    <a:pt x="2836" y="1034"/>
                  </a:lnTo>
                  <a:lnTo>
                    <a:pt x="2836" y="1034"/>
                  </a:lnTo>
                  <a:lnTo>
                    <a:pt x="2837" y="1036"/>
                  </a:lnTo>
                  <a:lnTo>
                    <a:pt x="2836" y="1034"/>
                  </a:lnTo>
                  <a:lnTo>
                    <a:pt x="2836" y="1034"/>
                  </a:lnTo>
                  <a:lnTo>
                    <a:pt x="2837" y="1036"/>
                  </a:lnTo>
                  <a:lnTo>
                    <a:pt x="2836" y="1034"/>
                  </a:lnTo>
                  <a:lnTo>
                    <a:pt x="2837" y="1036"/>
                  </a:lnTo>
                  <a:lnTo>
                    <a:pt x="2837" y="1033"/>
                  </a:lnTo>
                  <a:lnTo>
                    <a:pt x="2837" y="1033"/>
                  </a:lnTo>
                  <a:lnTo>
                    <a:pt x="2836" y="1034"/>
                  </a:lnTo>
                  <a:lnTo>
                    <a:pt x="2837" y="1036"/>
                  </a:lnTo>
                  <a:lnTo>
                    <a:pt x="2837" y="1033"/>
                  </a:lnTo>
                  <a:lnTo>
                    <a:pt x="2837" y="1033"/>
                  </a:lnTo>
                  <a:lnTo>
                    <a:pt x="2836" y="1033"/>
                  </a:lnTo>
                  <a:lnTo>
                    <a:pt x="2836" y="1033"/>
                  </a:lnTo>
                  <a:lnTo>
                    <a:pt x="2829" y="1033"/>
                  </a:lnTo>
                  <a:lnTo>
                    <a:pt x="2829" y="1033"/>
                  </a:lnTo>
                  <a:lnTo>
                    <a:pt x="2826" y="1033"/>
                  </a:lnTo>
                  <a:lnTo>
                    <a:pt x="2823" y="1034"/>
                  </a:lnTo>
                  <a:lnTo>
                    <a:pt x="2823" y="1034"/>
                  </a:lnTo>
                  <a:lnTo>
                    <a:pt x="2817" y="1040"/>
                  </a:lnTo>
                  <a:lnTo>
                    <a:pt x="2817" y="1040"/>
                  </a:lnTo>
                  <a:lnTo>
                    <a:pt x="2816" y="1044"/>
                  </a:lnTo>
                  <a:lnTo>
                    <a:pt x="2816" y="1044"/>
                  </a:lnTo>
                  <a:lnTo>
                    <a:pt x="2814" y="1049"/>
                  </a:lnTo>
                  <a:lnTo>
                    <a:pt x="2814" y="1049"/>
                  </a:lnTo>
                  <a:lnTo>
                    <a:pt x="2814" y="1050"/>
                  </a:lnTo>
                  <a:lnTo>
                    <a:pt x="2814" y="1050"/>
                  </a:lnTo>
                  <a:lnTo>
                    <a:pt x="2814" y="1050"/>
                  </a:lnTo>
                  <a:lnTo>
                    <a:pt x="2816" y="1053"/>
                  </a:lnTo>
                  <a:lnTo>
                    <a:pt x="2816" y="1053"/>
                  </a:lnTo>
                  <a:lnTo>
                    <a:pt x="2816" y="1056"/>
                  </a:lnTo>
                  <a:lnTo>
                    <a:pt x="2816" y="1056"/>
                  </a:lnTo>
                  <a:lnTo>
                    <a:pt x="2816" y="1056"/>
                  </a:lnTo>
                  <a:lnTo>
                    <a:pt x="2814" y="1059"/>
                  </a:lnTo>
                  <a:lnTo>
                    <a:pt x="2814" y="1059"/>
                  </a:lnTo>
                  <a:lnTo>
                    <a:pt x="2816" y="1060"/>
                  </a:lnTo>
                  <a:lnTo>
                    <a:pt x="2816" y="1060"/>
                  </a:lnTo>
                  <a:lnTo>
                    <a:pt x="2817" y="1062"/>
                  </a:lnTo>
                  <a:lnTo>
                    <a:pt x="2817" y="1062"/>
                  </a:lnTo>
                  <a:lnTo>
                    <a:pt x="2818" y="1063"/>
                  </a:lnTo>
                  <a:lnTo>
                    <a:pt x="2818" y="1065"/>
                  </a:lnTo>
                  <a:lnTo>
                    <a:pt x="2818" y="1065"/>
                  </a:lnTo>
                  <a:lnTo>
                    <a:pt x="2818" y="1065"/>
                  </a:lnTo>
                  <a:lnTo>
                    <a:pt x="2814" y="1075"/>
                  </a:lnTo>
                  <a:lnTo>
                    <a:pt x="2814" y="1075"/>
                  </a:lnTo>
                  <a:lnTo>
                    <a:pt x="2811" y="1079"/>
                  </a:lnTo>
                  <a:lnTo>
                    <a:pt x="2811" y="1079"/>
                  </a:lnTo>
                  <a:lnTo>
                    <a:pt x="2808" y="1082"/>
                  </a:lnTo>
                  <a:lnTo>
                    <a:pt x="2808" y="1082"/>
                  </a:lnTo>
                  <a:lnTo>
                    <a:pt x="2805" y="1083"/>
                  </a:lnTo>
                  <a:lnTo>
                    <a:pt x="2805" y="1083"/>
                  </a:lnTo>
                  <a:lnTo>
                    <a:pt x="2802" y="1088"/>
                  </a:lnTo>
                  <a:lnTo>
                    <a:pt x="2802" y="1088"/>
                  </a:lnTo>
                  <a:lnTo>
                    <a:pt x="2800" y="1095"/>
                  </a:lnTo>
                  <a:lnTo>
                    <a:pt x="2800" y="1095"/>
                  </a:lnTo>
                  <a:lnTo>
                    <a:pt x="2798" y="1096"/>
                  </a:lnTo>
                  <a:lnTo>
                    <a:pt x="2798" y="1096"/>
                  </a:lnTo>
                  <a:lnTo>
                    <a:pt x="2798" y="1096"/>
                  </a:lnTo>
                  <a:lnTo>
                    <a:pt x="2798" y="1096"/>
                  </a:lnTo>
                  <a:lnTo>
                    <a:pt x="2798" y="1096"/>
                  </a:lnTo>
                  <a:lnTo>
                    <a:pt x="2798" y="1096"/>
                  </a:lnTo>
                  <a:lnTo>
                    <a:pt x="2798" y="1096"/>
                  </a:lnTo>
                  <a:lnTo>
                    <a:pt x="2798" y="1098"/>
                  </a:lnTo>
                  <a:lnTo>
                    <a:pt x="2800" y="1096"/>
                  </a:lnTo>
                  <a:lnTo>
                    <a:pt x="2798" y="1096"/>
                  </a:lnTo>
                  <a:lnTo>
                    <a:pt x="2798" y="1098"/>
                  </a:lnTo>
                  <a:lnTo>
                    <a:pt x="2800" y="1096"/>
                  </a:lnTo>
                  <a:lnTo>
                    <a:pt x="2798" y="1096"/>
                  </a:lnTo>
                  <a:lnTo>
                    <a:pt x="2800" y="1096"/>
                  </a:lnTo>
                  <a:lnTo>
                    <a:pt x="2800" y="1096"/>
                  </a:lnTo>
                  <a:lnTo>
                    <a:pt x="2798" y="1096"/>
                  </a:lnTo>
                  <a:lnTo>
                    <a:pt x="2800" y="1096"/>
                  </a:lnTo>
                  <a:lnTo>
                    <a:pt x="2798" y="1096"/>
                  </a:lnTo>
                  <a:lnTo>
                    <a:pt x="2798" y="1096"/>
                  </a:lnTo>
                  <a:lnTo>
                    <a:pt x="2797" y="1091"/>
                  </a:lnTo>
                  <a:lnTo>
                    <a:pt x="2795" y="1085"/>
                  </a:lnTo>
                  <a:lnTo>
                    <a:pt x="2795" y="1085"/>
                  </a:lnTo>
                  <a:lnTo>
                    <a:pt x="2794" y="1073"/>
                  </a:lnTo>
                  <a:lnTo>
                    <a:pt x="2794" y="1073"/>
                  </a:lnTo>
                  <a:lnTo>
                    <a:pt x="2789" y="1063"/>
                  </a:lnTo>
                  <a:lnTo>
                    <a:pt x="2789" y="1063"/>
                  </a:lnTo>
                  <a:lnTo>
                    <a:pt x="2787" y="1059"/>
                  </a:lnTo>
                  <a:lnTo>
                    <a:pt x="2787" y="1059"/>
                  </a:lnTo>
                  <a:lnTo>
                    <a:pt x="2785" y="1056"/>
                  </a:lnTo>
                  <a:lnTo>
                    <a:pt x="2785" y="1056"/>
                  </a:lnTo>
                  <a:lnTo>
                    <a:pt x="2785" y="1056"/>
                  </a:lnTo>
                  <a:lnTo>
                    <a:pt x="2784" y="1054"/>
                  </a:lnTo>
                  <a:lnTo>
                    <a:pt x="2784" y="1054"/>
                  </a:lnTo>
                  <a:lnTo>
                    <a:pt x="2781" y="1049"/>
                  </a:lnTo>
                  <a:lnTo>
                    <a:pt x="2778" y="1038"/>
                  </a:lnTo>
                  <a:lnTo>
                    <a:pt x="2778" y="1038"/>
                  </a:lnTo>
                  <a:lnTo>
                    <a:pt x="2778" y="1020"/>
                  </a:lnTo>
                  <a:lnTo>
                    <a:pt x="2778" y="1020"/>
                  </a:lnTo>
                  <a:lnTo>
                    <a:pt x="2776" y="1008"/>
                  </a:lnTo>
                  <a:lnTo>
                    <a:pt x="2774" y="998"/>
                  </a:lnTo>
                  <a:lnTo>
                    <a:pt x="2774" y="998"/>
                  </a:lnTo>
                  <a:lnTo>
                    <a:pt x="2772" y="988"/>
                  </a:lnTo>
                  <a:lnTo>
                    <a:pt x="2772" y="973"/>
                  </a:lnTo>
                  <a:lnTo>
                    <a:pt x="2772" y="973"/>
                  </a:lnTo>
                  <a:lnTo>
                    <a:pt x="2772" y="962"/>
                  </a:lnTo>
                  <a:lnTo>
                    <a:pt x="2772" y="962"/>
                  </a:lnTo>
                  <a:lnTo>
                    <a:pt x="2772" y="957"/>
                  </a:lnTo>
                  <a:lnTo>
                    <a:pt x="2772" y="957"/>
                  </a:lnTo>
                  <a:lnTo>
                    <a:pt x="2774" y="954"/>
                  </a:lnTo>
                  <a:lnTo>
                    <a:pt x="2774" y="954"/>
                  </a:lnTo>
                  <a:lnTo>
                    <a:pt x="2778" y="949"/>
                  </a:lnTo>
                  <a:lnTo>
                    <a:pt x="2778" y="949"/>
                  </a:lnTo>
                  <a:lnTo>
                    <a:pt x="2788" y="934"/>
                  </a:lnTo>
                  <a:lnTo>
                    <a:pt x="2788" y="934"/>
                  </a:lnTo>
                  <a:lnTo>
                    <a:pt x="2792" y="927"/>
                  </a:lnTo>
                  <a:lnTo>
                    <a:pt x="2792" y="927"/>
                  </a:lnTo>
                  <a:lnTo>
                    <a:pt x="2794" y="921"/>
                  </a:lnTo>
                  <a:lnTo>
                    <a:pt x="2794" y="921"/>
                  </a:lnTo>
                  <a:lnTo>
                    <a:pt x="2795" y="915"/>
                  </a:lnTo>
                  <a:lnTo>
                    <a:pt x="2795" y="915"/>
                  </a:lnTo>
                  <a:lnTo>
                    <a:pt x="2797" y="912"/>
                  </a:lnTo>
                  <a:lnTo>
                    <a:pt x="2797" y="912"/>
                  </a:lnTo>
                  <a:lnTo>
                    <a:pt x="2800" y="911"/>
                  </a:lnTo>
                  <a:lnTo>
                    <a:pt x="2800" y="911"/>
                  </a:lnTo>
                  <a:lnTo>
                    <a:pt x="2808" y="910"/>
                  </a:lnTo>
                  <a:lnTo>
                    <a:pt x="2808" y="910"/>
                  </a:lnTo>
                  <a:lnTo>
                    <a:pt x="2811" y="908"/>
                  </a:lnTo>
                  <a:lnTo>
                    <a:pt x="2811" y="908"/>
                  </a:lnTo>
                  <a:lnTo>
                    <a:pt x="2814" y="905"/>
                  </a:lnTo>
                  <a:lnTo>
                    <a:pt x="2814" y="905"/>
                  </a:lnTo>
                  <a:lnTo>
                    <a:pt x="2814" y="905"/>
                  </a:lnTo>
                  <a:lnTo>
                    <a:pt x="2821" y="889"/>
                  </a:lnTo>
                  <a:lnTo>
                    <a:pt x="2821" y="889"/>
                  </a:lnTo>
                  <a:lnTo>
                    <a:pt x="2827" y="881"/>
                  </a:lnTo>
                  <a:lnTo>
                    <a:pt x="2827" y="881"/>
                  </a:lnTo>
                  <a:lnTo>
                    <a:pt x="2831" y="875"/>
                  </a:lnTo>
                  <a:lnTo>
                    <a:pt x="2831" y="875"/>
                  </a:lnTo>
                  <a:lnTo>
                    <a:pt x="2845" y="860"/>
                  </a:lnTo>
                  <a:lnTo>
                    <a:pt x="2845" y="860"/>
                  </a:lnTo>
                  <a:lnTo>
                    <a:pt x="2852" y="852"/>
                  </a:lnTo>
                  <a:lnTo>
                    <a:pt x="2852" y="852"/>
                  </a:lnTo>
                  <a:lnTo>
                    <a:pt x="2858" y="847"/>
                  </a:lnTo>
                  <a:lnTo>
                    <a:pt x="2858" y="847"/>
                  </a:lnTo>
                  <a:lnTo>
                    <a:pt x="2865" y="842"/>
                  </a:lnTo>
                  <a:lnTo>
                    <a:pt x="2865" y="842"/>
                  </a:lnTo>
                  <a:lnTo>
                    <a:pt x="2868" y="839"/>
                  </a:lnTo>
                  <a:lnTo>
                    <a:pt x="2869" y="834"/>
                  </a:lnTo>
                  <a:lnTo>
                    <a:pt x="2869" y="833"/>
                  </a:lnTo>
                  <a:lnTo>
                    <a:pt x="2869" y="833"/>
                  </a:lnTo>
                  <a:lnTo>
                    <a:pt x="2873" y="830"/>
                  </a:lnTo>
                  <a:lnTo>
                    <a:pt x="2873" y="830"/>
                  </a:lnTo>
                  <a:lnTo>
                    <a:pt x="2881" y="823"/>
                  </a:lnTo>
                  <a:lnTo>
                    <a:pt x="2881" y="823"/>
                  </a:lnTo>
                  <a:lnTo>
                    <a:pt x="2885" y="820"/>
                  </a:lnTo>
                  <a:lnTo>
                    <a:pt x="2885" y="820"/>
                  </a:lnTo>
                  <a:lnTo>
                    <a:pt x="2887" y="818"/>
                  </a:lnTo>
                  <a:lnTo>
                    <a:pt x="2887" y="818"/>
                  </a:lnTo>
                  <a:lnTo>
                    <a:pt x="2887" y="817"/>
                  </a:lnTo>
                  <a:lnTo>
                    <a:pt x="2887" y="817"/>
                  </a:lnTo>
                  <a:lnTo>
                    <a:pt x="2887" y="814"/>
                  </a:lnTo>
                  <a:lnTo>
                    <a:pt x="2887" y="814"/>
                  </a:lnTo>
                  <a:lnTo>
                    <a:pt x="2884"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7" y="808"/>
                  </a:lnTo>
                  <a:lnTo>
                    <a:pt x="2887" y="808"/>
                  </a:lnTo>
                  <a:lnTo>
                    <a:pt x="2888" y="807"/>
                  </a:lnTo>
                  <a:lnTo>
                    <a:pt x="2888" y="807"/>
                  </a:lnTo>
                  <a:lnTo>
                    <a:pt x="2889" y="802"/>
                  </a:lnTo>
                  <a:lnTo>
                    <a:pt x="2889" y="802"/>
                  </a:lnTo>
                  <a:lnTo>
                    <a:pt x="2888" y="801"/>
                  </a:lnTo>
                  <a:lnTo>
                    <a:pt x="2888" y="801"/>
                  </a:lnTo>
                  <a:lnTo>
                    <a:pt x="2888" y="801"/>
                  </a:lnTo>
                  <a:lnTo>
                    <a:pt x="2887" y="797"/>
                  </a:lnTo>
                  <a:lnTo>
                    <a:pt x="2887" y="797"/>
                  </a:lnTo>
                  <a:lnTo>
                    <a:pt x="2885" y="792"/>
                  </a:lnTo>
                  <a:lnTo>
                    <a:pt x="2885" y="792"/>
                  </a:lnTo>
                  <a:lnTo>
                    <a:pt x="2885" y="788"/>
                  </a:lnTo>
                  <a:lnTo>
                    <a:pt x="2885" y="788"/>
                  </a:lnTo>
                  <a:lnTo>
                    <a:pt x="2888" y="778"/>
                  </a:lnTo>
                  <a:lnTo>
                    <a:pt x="2888" y="778"/>
                  </a:lnTo>
                  <a:lnTo>
                    <a:pt x="2891" y="772"/>
                  </a:lnTo>
                  <a:lnTo>
                    <a:pt x="2891" y="772"/>
                  </a:lnTo>
                  <a:lnTo>
                    <a:pt x="2894" y="768"/>
                  </a:lnTo>
                  <a:lnTo>
                    <a:pt x="2894" y="768"/>
                  </a:lnTo>
                  <a:lnTo>
                    <a:pt x="2895" y="765"/>
                  </a:lnTo>
                  <a:lnTo>
                    <a:pt x="2895" y="765"/>
                  </a:lnTo>
                  <a:lnTo>
                    <a:pt x="2895" y="762"/>
                  </a:lnTo>
                  <a:lnTo>
                    <a:pt x="2895" y="762"/>
                  </a:lnTo>
                  <a:lnTo>
                    <a:pt x="2895" y="762"/>
                  </a:lnTo>
                  <a:lnTo>
                    <a:pt x="2895" y="760"/>
                  </a:lnTo>
                  <a:lnTo>
                    <a:pt x="2895" y="757"/>
                  </a:lnTo>
                  <a:lnTo>
                    <a:pt x="2895" y="757"/>
                  </a:lnTo>
                  <a:lnTo>
                    <a:pt x="2895" y="755"/>
                  </a:lnTo>
                  <a:lnTo>
                    <a:pt x="2895" y="755"/>
                  </a:lnTo>
                  <a:lnTo>
                    <a:pt x="2894" y="752"/>
                  </a:lnTo>
                  <a:lnTo>
                    <a:pt x="2894" y="752"/>
                  </a:lnTo>
                  <a:lnTo>
                    <a:pt x="2891" y="750"/>
                  </a:lnTo>
                  <a:lnTo>
                    <a:pt x="2891" y="750"/>
                  </a:lnTo>
                  <a:lnTo>
                    <a:pt x="2889" y="752"/>
                  </a:lnTo>
                  <a:lnTo>
                    <a:pt x="2889" y="752"/>
                  </a:lnTo>
                  <a:lnTo>
                    <a:pt x="2889" y="752"/>
                  </a:lnTo>
                  <a:lnTo>
                    <a:pt x="2885" y="755"/>
                  </a:lnTo>
                  <a:lnTo>
                    <a:pt x="2879" y="757"/>
                  </a:lnTo>
                  <a:lnTo>
                    <a:pt x="2879" y="757"/>
                  </a:lnTo>
                  <a:lnTo>
                    <a:pt x="2876" y="759"/>
                  </a:lnTo>
                  <a:lnTo>
                    <a:pt x="2872" y="760"/>
                  </a:lnTo>
                  <a:lnTo>
                    <a:pt x="2872" y="760"/>
                  </a:lnTo>
                  <a:lnTo>
                    <a:pt x="2871" y="765"/>
                  </a:lnTo>
                  <a:lnTo>
                    <a:pt x="2869" y="769"/>
                  </a:lnTo>
                  <a:lnTo>
                    <a:pt x="2869" y="769"/>
                  </a:lnTo>
                  <a:lnTo>
                    <a:pt x="2869" y="772"/>
                  </a:lnTo>
                  <a:lnTo>
                    <a:pt x="2869" y="772"/>
                  </a:lnTo>
                  <a:lnTo>
                    <a:pt x="2869" y="772"/>
                  </a:lnTo>
                  <a:lnTo>
                    <a:pt x="2869" y="772"/>
                  </a:lnTo>
                  <a:lnTo>
                    <a:pt x="2872" y="779"/>
                  </a:lnTo>
                  <a:lnTo>
                    <a:pt x="2872" y="779"/>
                  </a:lnTo>
                  <a:lnTo>
                    <a:pt x="2872" y="785"/>
                  </a:lnTo>
                  <a:lnTo>
                    <a:pt x="2872" y="785"/>
                  </a:lnTo>
                  <a:lnTo>
                    <a:pt x="2872" y="786"/>
                  </a:lnTo>
                  <a:lnTo>
                    <a:pt x="2872" y="786"/>
                  </a:lnTo>
                  <a:lnTo>
                    <a:pt x="2869" y="789"/>
                  </a:lnTo>
                  <a:lnTo>
                    <a:pt x="2869" y="789"/>
                  </a:lnTo>
                  <a:lnTo>
                    <a:pt x="2860" y="798"/>
                  </a:lnTo>
                  <a:lnTo>
                    <a:pt x="2860" y="798"/>
                  </a:lnTo>
                  <a:lnTo>
                    <a:pt x="2853" y="807"/>
                  </a:lnTo>
                  <a:lnTo>
                    <a:pt x="2853" y="807"/>
                  </a:lnTo>
                  <a:lnTo>
                    <a:pt x="2849" y="811"/>
                  </a:lnTo>
                  <a:lnTo>
                    <a:pt x="2849" y="811"/>
                  </a:lnTo>
                  <a:lnTo>
                    <a:pt x="2849" y="813"/>
                  </a:lnTo>
                  <a:lnTo>
                    <a:pt x="2849" y="813"/>
                  </a:lnTo>
                  <a:lnTo>
                    <a:pt x="2849" y="813"/>
                  </a:lnTo>
                  <a:lnTo>
                    <a:pt x="2849" y="814"/>
                  </a:lnTo>
                  <a:lnTo>
                    <a:pt x="2849" y="813"/>
                  </a:lnTo>
                  <a:lnTo>
                    <a:pt x="2849" y="813"/>
                  </a:lnTo>
                  <a:lnTo>
                    <a:pt x="2849" y="814"/>
                  </a:lnTo>
                  <a:lnTo>
                    <a:pt x="2849" y="813"/>
                  </a:lnTo>
                  <a:lnTo>
                    <a:pt x="2849" y="814"/>
                  </a:lnTo>
                  <a:lnTo>
                    <a:pt x="2849" y="813"/>
                  </a:lnTo>
                  <a:lnTo>
                    <a:pt x="2849" y="813"/>
                  </a:lnTo>
                  <a:lnTo>
                    <a:pt x="2849" y="814"/>
                  </a:lnTo>
                  <a:lnTo>
                    <a:pt x="2849" y="813"/>
                  </a:lnTo>
                  <a:lnTo>
                    <a:pt x="2849" y="813"/>
                  </a:lnTo>
                  <a:lnTo>
                    <a:pt x="2849" y="813"/>
                  </a:lnTo>
                  <a:lnTo>
                    <a:pt x="2849" y="813"/>
                  </a:lnTo>
                  <a:lnTo>
                    <a:pt x="2849" y="813"/>
                  </a:lnTo>
                  <a:lnTo>
                    <a:pt x="2849" y="813"/>
                  </a:lnTo>
                  <a:lnTo>
                    <a:pt x="2849" y="813"/>
                  </a:lnTo>
                  <a:lnTo>
                    <a:pt x="2849" y="813"/>
                  </a:lnTo>
                  <a:lnTo>
                    <a:pt x="2846" y="811"/>
                  </a:lnTo>
                  <a:lnTo>
                    <a:pt x="2846" y="811"/>
                  </a:lnTo>
                  <a:lnTo>
                    <a:pt x="2842" y="808"/>
                  </a:lnTo>
                  <a:lnTo>
                    <a:pt x="2842" y="808"/>
                  </a:lnTo>
                  <a:lnTo>
                    <a:pt x="2839" y="805"/>
                  </a:lnTo>
                  <a:lnTo>
                    <a:pt x="2839" y="804"/>
                  </a:lnTo>
                  <a:lnTo>
                    <a:pt x="2839" y="804"/>
                  </a:lnTo>
                  <a:lnTo>
                    <a:pt x="2839" y="804"/>
                  </a:lnTo>
                  <a:lnTo>
                    <a:pt x="2840" y="801"/>
                  </a:lnTo>
                  <a:lnTo>
                    <a:pt x="2843" y="798"/>
                  </a:lnTo>
                  <a:lnTo>
                    <a:pt x="2843" y="798"/>
                  </a:lnTo>
                  <a:lnTo>
                    <a:pt x="2846" y="794"/>
                  </a:lnTo>
                  <a:lnTo>
                    <a:pt x="2847" y="788"/>
                  </a:lnTo>
                  <a:lnTo>
                    <a:pt x="2847" y="788"/>
                  </a:lnTo>
                  <a:lnTo>
                    <a:pt x="2852" y="778"/>
                  </a:lnTo>
                  <a:lnTo>
                    <a:pt x="2852" y="778"/>
                  </a:lnTo>
                  <a:lnTo>
                    <a:pt x="2853" y="772"/>
                  </a:lnTo>
                  <a:lnTo>
                    <a:pt x="2853" y="772"/>
                  </a:lnTo>
                  <a:lnTo>
                    <a:pt x="2855" y="771"/>
                  </a:lnTo>
                  <a:lnTo>
                    <a:pt x="2855" y="771"/>
                  </a:lnTo>
                  <a:lnTo>
                    <a:pt x="2855" y="768"/>
                  </a:lnTo>
                  <a:lnTo>
                    <a:pt x="2855" y="768"/>
                  </a:lnTo>
                  <a:lnTo>
                    <a:pt x="2855" y="766"/>
                  </a:lnTo>
                  <a:lnTo>
                    <a:pt x="2853" y="766"/>
                  </a:lnTo>
                  <a:lnTo>
                    <a:pt x="2852" y="765"/>
                  </a:lnTo>
                  <a:lnTo>
                    <a:pt x="2852" y="765"/>
                  </a:lnTo>
                  <a:lnTo>
                    <a:pt x="2850" y="766"/>
                  </a:lnTo>
                  <a:lnTo>
                    <a:pt x="2850" y="766"/>
                  </a:lnTo>
                  <a:lnTo>
                    <a:pt x="2850" y="766"/>
                  </a:lnTo>
                  <a:lnTo>
                    <a:pt x="2849" y="768"/>
                  </a:lnTo>
                  <a:lnTo>
                    <a:pt x="2849" y="768"/>
                  </a:lnTo>
                  <a:lnTo>
                    <a:pt x="2843" y="775"/>
                  </a:lnTo>
                  <a:lnTo>
                    <a:pt x="2843" y="775"/>
                  </a:lnTo>
                  <a:lnTo>
                    <a:pt x="2840" y="778"/>
                  </a:lnTo>
                  <a:lnTo>
                    <a:pt x="2839" y="779"/>
                  </a:lnTo>
                  <a:lnTo>
                    <a:pt x="2839" y="779"/>
                  </a:lnTo>
                  <a:lnTo>
                    <a:pt x="2834" y="781"/>
                  </a:lnTo>
                  <a:lnTo>
                    <a:pt x="2834" y="781"/>
                  </a:lnTo>
                  <a:lnTo>
                    <a:pt x="2830" y="779"/>
                  </a:lnTo>
                  <a:lnTo>
                    <a:pt x="2830" y="779"/>
                  </a:lnTo>
                  <a:lnTo>
                    <a:pt x="2826" y="781"/>
                  </a:lnTo>
                  <a:lnTo>
                    <a:pt x="2826" y="781"/>
                  </a:lnTo>
                  <a:lnTo>
                    <a:pt x="2823" y="782"/>
                  </a:lnTo>
                  <a:lnTo>
                    <a:pt x="2823" y="782"/>
                  </a:lnTo>
                  <a:lnTo>
                    <a:pt x="2813" y="786"/>
                  </a:lnTo>
                  <a:lnTo>
                    <a:pt x="2813" y="786"/>
                  </a:lnTo>
                  <a:lnTo>
                    <a:pt x="2807" y="789"/>
                  </a:lnTo>
                  <a:lnTo>
                    <a:pt x="2802" y="792"/>
                  </a:lnTo>
                  <a:lnTo>
                    <a:pt x="2802" y="792"/>
                  </a:lnTo>
                  <a:lnTo>
                    <a:pt x="2800" y="797"/>
                  </a:lnTo>
                  <a:lnTo>
                    <a:pt x="2797" y="802"/>
                  </a:lnTo>
                  <a:lnTo>
                    <a:pt x="2797" y="802"/>
                  </a:lnTo>
                  <a:lnTo>
                    <a:pt x="2791" y="820"/>
                  </a:lnTo>
                  <a:lnTo>
                    <a:pt x="2791" y="820"/>
                  </a:lnTo>
                  <a:lnTo>
                    <a:pt x="2787" y="827"/>
                  </a:lnTo>
                  <a:lnTo>
                    <a:pt x="2787" y="827"/>
                  </a:lnTo>
                  <a:lnTo>
                    <a:pt x="2785" y="830"/>
                  </a:lnTo>
                  <a:lnTo>
                    <a:pt x="2785" y="830"/>
                  </a:lnTo>
                  <a:lnTo>
                    <a:pt x="2776" y="833"/>
                  </a:lnTo>
                  <a:lnTo>
                    <a:pt x="2776" y="833"/>
                  </a:lnTo>
                  <a:lnTo>
                    <a:pt x="2772" y="836"/>
                  </a:lnTo>
                  <a:lnTo>
                    <a:pt x="2769" y="839"/>
                  </a:lnTo>
                  <a:lnTo>
                    <a:pt x="2769" y="839"/>
                  </a:lnTo>
                  <a:lnTo>
                    <a:pt x="2763" y="846"/>
                  </a:lnTo>
                  <a:lnTo>
                    <a:pt x="2763" y="846"/>
                  </a:lnTo>
                  <a:lnTo>
                    <a:pt x="2758" y="853"/>
                  </a:lnTo>
                  <a:lnTo>
                    <a:pt x="2758" y="853"/>
                  </a:lnTo>
                  <a:lnTo>
                    <a:pt x="2755" y="857"/>
                  </a:lnTo>
                  <a:lnTo>
                    <a:pt x="2755" y="857"/>
                  </a:lnTo>
                  <a:lnTo>
                    <a:pt x="2753" y="862"/>
                  </a:lnTo>
                  <a:lnTo>
                    <a:pt x="2753" y="862"/>
                  </a:lnTo>
                  <a:lnTo>
                    <a:pt x="2755" y="865"/>
                  </a:lnTo>
                  <a:lnTo>
                    <a:pt x="2755" y="865"/>
                  </a:lnTo>
                  <a:lnTo>
                    <a:pt x="2758" y="865"/>
                  </a:lnTo>
                  <a:lnTo>
                    <a:pt x="2758" y="865"/>
                  </a:lnTo>
                  <a:lnTo>
                    <a:pt x="2759" y="865"/>
                  </a:lnTo>
                  <a:lnTo>
                    <a:pt x="2759" y="865"/>
                  </a:lnTo>
                  <a:lnTo>
                    <a:pt x="2769" y="863"/>
                  </a:lnTo>
                  <a:lnTo>
                    <a:pt x="2769" y="863"/>
                  </a:lnTo>
                  <a:lnTo>
                    <a:pt x="2772" y="865"/>
                  </a:lnTo>
                  <a:lnTo>
                    <a:pt x="2774" y="865"/>
                  </a:lnTo>
                  <a:lnTo>
                    <a:pt x="2774" y="865"/>
                  </a:lnTo>
                  <a:lnTo>
                    <a:pt x="2774" y="865"/>
                  </a:lnTo>
                  <a:lnTo>
                    <a:pt x="2774" y="865"/>
                  </a:lnTo>
                  <a:lnTo>
                    <a:pt x="2774" y="865"/>
                  </a:lnTo>
                  <a:lnTo>
                    <a:pt x="2774" y="865"/>
                  </a:lnTo>
                  <a:lnTo>
                    <a:pt x="2774" y="865"/>
                  </a:lnTo>
                  <a:lnTo>
                    <a:pt x="2774" y="865"/>
                  </a:lnTo>
                  <a:lnTo>
                    <a:pt x="2774" y="866"/>
                  </a:lnTo>
                  <a:lnTo>
                    <a:pt x="2774" y="866"/>
                  </a:lnTo>
                  <a:lnTo>
                    <a:pt x="2774" y="868"/>
                  </a:lnTo>
                  <a:lnTo>
                    <a:pt x="2774" y="868"/>
                  </a:lnTo>
                  <a:lnTo>
                    <a:pt x="2772" y="868"/>
                  </a:lnTo>
                  <a:lnTo>
                    <a:pt x="2772" y="868"/>
                  </a:lnTo>
                  <a:lnTo>
                    <a:pt x="2769" y="869"/>
                  </a:lnTo>
                  <a:lnTo>
                    <a:pt x="2769" y="869"/>
                  </a:lnTo>
                  <a:lnTo>
                    <a:pt x="2762" y="872"/>
                  </a:lnTo>
                  <a:lnTo>
                    <a:pt x="2762" y="872"/>
                  </a:lnTo>
                  <a:lnTo>
                    <a:pt x="2759" y="873"/>
                  </a:lnTo>
                  <a:lnTo>
                    <a:pt x="2758" y="873"/>
                  </a:lnTo>
                  <a:lnTo>
                    <a:pt x="2758" y="873"/>
                  </a:lnTo>
                  <a:lnTo>
                    <a:pt x="2750" y="872"/>
                  </a:lnTo>
                  <a:lnTo>
                    <a:pt x="2750" y="872"/>
                  </a:lnTo>
                  <a:lnTo>
                    <a:pt x="2747" y="873"/>
                  </a:lnTo>
                  <a:lnTo>
                    <a:pt x="2747" y="873"/>
                  </a:lnTo>
                  <a:lnTo>
                    <a:pt x="2746" y="873"/>
                  </a:lnTo>
                  <a:lnTo>
                    <a:pt x="2746" y="873"/>
                  </a:lnTo>
                  <a:lnTo>
                    <a:pt x="2742" y="872"/>
                  </a:lnTo>
                  <a:lnTo>
                    <a:pt x="2742" y="872"/>
                  </a:lnTo>
                  <a:lnTo>
                    <a:pt x="2734" y="870"/>
                  </a:lnTo>
                  <a:lnTo>
                    <a:pt x="2734" y="870"/>
                  </a:lnTo>
                  <a:lnTo>
                    <a:pt x="2730" y="872"/>
                  </a:lnTo>
                  <a:lnTo>
                    <a:pt x="2727" y="873"/>
                  </a:lnTo>
                  <a:lnTo>
                    <a:pt x="2727" y="873"/>
                  </a:lnTo>
                  <a:lnTo>
                    <a:pt x="2714" y="881"/>
                  </a:lnTo>
                  <a:lnTo>
                    <a:pt x="2714" y="881"/>
                  </a:lnTo>
                  <a:lnTo>
                    <a:pt x="2708" y="884"/>
                  </a:lnTo>
                  <a:lnTo>
                    <a:pt x="2708" y="884"/>
                  </a:lnTo>
                  <a:lnTo>
                    <a:pt x="2705" y="884"/>
                  </a:lnTo>
                  <a:lnTo>
                    <a:pt x="2705" y="884"/>
                  </a:lnTo>
                  <a:lnTo>
                    <a:pt x="2704" y="884"/>
                  </a:lnTo>
                  <a:lnTo>
                    <a:pt x="2704" y="885"/>
                  </a:lnTo>
                  <a:lnTo>
                    <a:pt x="2704" y="884"/>
                  </a:lnTo>
                  <a:lnTo>
                    <a:pt x="2704" y="884"/>
                  </a:lnTo>
                  <a:lnTo>
                    <a:pt x="2704" y="885"/>
                  </a:lnTo>
                  <a:lnTo>
                    <a:pt x="2704" y="884"/>
                  </a:lnTo>
                  <a:lnTo>
                    <a:pt x="2704" y="884"/>
                  </a:lnTo>
                  <a:lnTo>
                    <a:pt x="2704" y="884"/>
                  </a:lnTo>
                  <a:lnTo>
                    <a:pt x="2704" y="884"/>
                  </a:lnTo>
                  <a:lnTo>
                    <a:pt x="2704" y="884"/>
                  </a:lnTo>
                  <a:lnTo>
                    <a:pt x="2704" y="884"/>
                  </a:lnTo>
                  <a:lnTo>
                    <a:pt x="2704" y="884"/>
                  </a:lnTo>
                  <a:lnTo>
                    <a:pt x="2704" y="884"/>
                  </a:lnTo>
                  <a:lnTo>
                    <a:pt x="2701" y="881"/>
                  </a:lnTo>
                  <a:lnTo>
                    <a:pt x="2701" y="881"/>
                  </a:lnTo>
                  <a:lnTo>
                    <a:pt x="2700" y="879"/>
                  </a:lnTo>
                  <a:lnTo>
                    <a:pt x="2700" y="878"/>
                  </a:lnTo>
                  <a:lnTo>
                    <a:pt x="2700" y="878"/>
                  </a:lnTo>
                  <a:lnTo>
                    <a:pt x="2698" y="878"/>
                  </a:lnTo>
                  <a:lnTo>
                    <a:pt x="2700" y="879"/>
                  </a:lnTo>
                  <a:lnTo>
                    <a:pt x="2700" y="878"/>
                  </a:lnTo>
                  <a:lnTo>
                    <a:pt x="2698" y="878"/>
                  </a:lnTo>
                  <a:lnTo>
                    <a:pt x="2700" y="879"/>
                  </a:lnTo>
                  <a:lnTo>
                    <a:pt x="2698" y="878"/>
                  </a:lnTo>
                  <a:lnTo>
                    <a:pt x="2698" y="879"/>
                  </a:lnTo>
                  <a:lnTo>
                    <a:pt x="2700" y="879"/>
                  </a:lnTo>
                  <a:lnTo>
                    <a:pt x="2698" y="878"/>
                  </a:lnTo>
                  <a:lnTo>
                    <a:pt x="2698" y="879"/>
                  </a:lnTo>
                  <a:lnTo>
                    <a:pt x="2698" y="879"/>
                  </a:lnTo>
                  <a:lnTo>
                    <a:pt x="2701" y="879"/>
                  </a:lnTo>
                  <a:lnTo>
                    <a:pt x="2701" y="879"/>
                  </a:lnTo>
                  <a:lnTo>
                    <a:pt x="2707" y="878"/>
                  </a:lnTo>
                  <a:lnTo>
                    <a:pt x="2707" y="878"/>
                  </a:lnTo>
                  <a:lnTo>
                    <a:pt x="2710" y="876"/>
                  </a:lnTo>
                  <a:lnTo>
                    <a:pt x="2710" y="876"/>
                  </a:lnTo>
                  <a:lnTo>
                    <a:pt x="2710" y="875"/>
                  </a:lnTo>
                  <a:lnTo>
                    <a:pt x="2710" y="875"/>
                  </a:lnTo>
                  <a:lnTo>
                    <a:pt x="2711" y="873"/>
                  </a:lnTo>
                  <a:lnTo>
                    <a:pt x="2711" y="873"/>
                  </a:lnTo>
                  <a:lnTo>
                    <a:pt x="2710" y="869"/>
                  </a:lnTo>
                  <a:lnTo>
                    <a:pt x="2710" y="869"/>
                  </a:lnTo>
                  <a:lnTo>
                    <a:pt x="2707" y="866"/>
                  </a:lnTo>
                  <a:lnTo>
                    <a:pt x="2703" y="865"/>
                  </a:lnTo>
                  <a:lnTo>
                    <a:pt x="2703" y="865"/>
                  </a:lnTo>
                  <a:lnTo>
                    <a:pt x="2701" y="863"/>
                  </a:lnTo>
                  <a:lnTo>
                    <a:pt x="2701" y="863"/>
                  </a:lnTo>
                  <a:lnTo>
                    <a:pt x="2701" y="863"/>
                  </a:lnTo>
                  <a:lnTo>
                    <a:pt x="2701" y="863"/>
                  </a:lnTo>
                  <a:lnTo>
                    <a:pt x="2701" y="863"/>
                  </a:lnTo>
                  <a:lnTo>
                    <a:pt x="2701" y="863"/>
                  </a:lnTo>
                  <a:lnTo>
                    <a:pt x="2701" y="863"/>
                  </a:lnTo>
                  <a:lnTo>
                    <a:pt x="2701" y="863"/>
                  </a:lnTo>
                  <a:lnTo>
                    <a:pt x="2701" y="857"/>
                  </a:lnTo>
                  <a:lnTo>
                    <a:pt x="2701" y="857"/>
                  </a:lnTo>
                  <a:lnTo>
                    <a:pt x="2701" y="855"/>
                  </a:lnTo>
                  <a:lnTo>
                    <a:pt x="2701" y="855"/>
                  </a:lnTo>
                  <a:lnTo>
                    <a:pt x="2700" y="853"/>
                  </a:lnTo>
                  <a:lnTo>
                    <a:pt x="2700" y="853"/>
                  </a:lnTo>
                  <a:lnTo>
                    <a:pt x="2698" y="852"/>
                  </a:lnTo>
                  <a:lnTo>
                    <a:pt x="2697" y="852"/>
                  </a:lnTo>
                  <a:lnTo>
                    <a:pt x="2697" y="852"/>
                  </a:lnTo>
                  <a:lnTo>
                    <a:pt x="2697" y="852"/>
                  </a:lnTo>
                  <a:lnTo>
                    <a:pt x="2694" y="853"/>
                  </a:lnTo>
                  <a:lnTo>
                    <a:pt x="2694" y="853"/>
                  </a:lnTo>
                  <a:lnTo>
                    <a:pt x="2690" y="856"/>
                  </a:lnTo>
                  <a:lnTo>
                    <a:pt x="2690" y="856"/>
                  </a:lnTo>
                  <a:lnTo>
                    <a:pt x="2688" y="856"/>
                  </a:lnTo>
                  <a:lnTo>
                    <a:pt x="2688" y="856"/>
                  </a:lnTo>
                  <a:lnTo>
                    <a:pt x="2688" y="856"/>
                  </a:lnTo>
                  <a:lnTo>
                    <a:pt x="2688" y="857"/>
                  </a:lnTo>
                  <a:lnTo>
                    <a:pt x="2688" y="856"/>
                  </a:lnTo>
                  <a:lnTo>
                    <a:pt x="2688" y="856"/>
                  </a:lnTo>
                  <a:lnTo>
                    <a:pt x="2688" y="857"/>
                  </a:lnTo>
                  <a:lnTo>
                    <a:pt x="2688" y="856"/>
                  </a:lnTo>
                  <a:lnTo>
                    <a:pt x="2688" y="859"/>
                  </a:lnTo>
                  <a:lnTo>
                    <a:pt x="2690" y="857"/>
                  </a:lnTo>
                  <a:lnTo>
                    <a:pt x="2690" y="857"/>
                  </a:lnTo>
                  <a:lnTo>
                    <a:pt x="2688" y="856"/>
                  </a:lnTo>
                  <a:lnTo>
                    <a:pt x="2688" y="859"/>
                  </a:lnTo>
                  <a:lnTo>
                    <a:pt x="2690" y="857"/>
                  </a:lnTo>
                  <a:lnTo>
                    <a:pt x="2688" y="859"/>
                  </a:lnTo>
                  <a:lnTo>
                    <a:pt x="2690" y="857"/>
                  </a:lnTo>
                  <a:lnTo>
                    <a:pt x="2690" y="857"/>
                  </a:lnTo>
                  <a:lnTo>
                    <a:pt x="2690" y="857"/>
                  </a:lnTo>
                  <a:lnTo>
                    <a:pt x="2688" y="859"/>
                  </a:lnTo>
                  <a:lnTo>
                    <a:pt x="2690" y="857"/>
                  </a:lnTo>
                  <a:lnTo>
                    <a:pt x="2690" y="859"/>
                  </a:lnTo>
                  <a:lnTo>
                    <a:pt x="2690" y="857"/>
                  </a:lnTo>
                  <a:lnTo>
                    <a:pt x="2690" y="857"/>
                  </a:lnTo>
                  <a:lnTo>
                    <a:pt x="2690" y="859"/>
                  </a:lnTo>
                  <a:lnTo>
                    <a:pt x="2690" y="857"/>
                  </a:lnTo>
                  <a:lnTo>
                    <a:pt x="2690" y="857"/>
                  </a:lnTo>
                  <a:lnTo>
                    <a:pt x="2690" y="857"/>
                  </a:lnTo>
                  <a:lnTo>
                    <a:pt x="2690" y="856"/>
                  </a:lnTo>
                  <a:lnTo>
                    <a:pt x="2690" y="856"/>
                  </a:lnTo>
                  <a:lnTo>
                    <a:pt x="2690" y="855"/>
                  </a:lnTo>
                  <a:lnTo>
                    <a:pt x="2690" y="853"/>
                  </a:lnTo>
                  <a:lnTo>
                    <a:pt x="2690" y="853"/>
                  </a:lnTo>
                  <a:lnTo>
                    <a:pt x="2687" y="852"/>
                  </a:lnTo>
                  <a:lnTo>
                    <a:pt x="2687" y="852"/>
                  </a:lnTo>
                  <a:lnTo>
                    <a:pt x="2685" y="850"/>
                  </a:lnTo>
                  <a:lnTo>
                    <a:pt x="2685" y="850"/>
                  </a:lnTo>
                  <a:lnTo>
                    <a:pt x="2678" y="850"/>
                  </a:lnTo>
                  <a:lnTo>
                    <a:pt x="2678" y="850"/>
                  </a:lnTo>
                  <a:lnTo>
                    <a:pt x="2671" y="850"/>
                  </a:lnTo>
                  <a:lnTo>
                    <a:pt x="2671" y="850"/>
                  </a:lnTo>
                  <a:lnTo>
                    <a:pt x="2668" y="852"/>
                  </a:lnTo>
                  <a:lnTo>
                    <a:pt x="2668" y="852"/>
                  </a:lnTo>
                  <a:lnTo>
                    <a:pt x="2666" y="852"/>
                  </a:lnTo>
                  <a:lnTo>
                    <a:pt x="2665" y="853"/>
                  </a:lnTo>
                  <a:lnTo>
                    <a:pt x="2665" y="853"/>
                  </a:lnTo>
                  <a:lnTo>
                    <a:pt x="2665" y="855"/>
                  </a:lnTo>
                  <a:lnTo>
                    <a:pt x="2665" y="855"/>
                  </a:lnTo>
                  <a:lnTo>
                    <a:pt x="2665" y="856"/>
                  </a:lnTo>
                  <a:lnTo>
                    <a:pt x="2666" y="857"/>
                  </a:lnTo>
                  <a:lnTo>
                    <a:pt x="2666" y="857"/>
                  </a:lnTo>
                  <a:lnTo>
                    <a:pt x="2668" y="857"/>
                  </a:lnTo>
                  <a:lnTo>
                    <a:pt x="2668" y="859"/>
                  </a:lnTo>
                  <a:lnTo>
                    <a:pt x="2668" y="857"/>
                  </a:lnTo>
                  <a:lnTo>
                    <a:pt x="2668" y="859"/>
                  </a:lnTo>
                  <a:lnTo>
                    <a:pt x="2668" y="859"/>
                  </a:lnTo>
                  <a:lnTo>
                    <a:pt x="2668" y="857"/>
                  </a:lnTo>
                  <a:lnTo>
                    <a:pt x="2668" y="859"/>
                  </a:lnTo>
                  <a:lnTo>
                    <a:pt x="2669" y="857"/>
                  </a:lnTo>
                  <a:lnTo>
                    <a:pt x="2668" y="857"/>
                  </a:lnTo>
                  <a:lnTo>
                    <a:pt x="2668" y="857"/>
                  </a:lnTo>
                  <a:lnTo>
                    <a:pt x="2668" y="859"/>
                  </a:lnTo>
                  <a:lnTo>
                    <a:pt x="2669" y="857"/>
                  </a:lnTo>
                  <a:lnTo>
                    <a:pt x="2668" y="857"/>
                  </a:lnTo>
                  <a:lnTo>
                    <a:pt x="2669" y="857"/>
                  </a:lnTo>
                  <a:lnTo>
                    <a:pt x="2668" y="856"/>
                  </a:lnTo>
                  <a:lnTo>
                    <a:pt x="2668" y="856"/>
                  </a:lnTo>
                  <a:lnTo>
                    <a:pt x="2668" y="857"/>
                  </a:lnTo>
                  <a:lnTo>
                    <a:pt x="2669" y="857"/>
                  </a:lnTo>
                  <a:lnTo>
                    <a:pt x="2668" y="856"/>
                  </a:lnTo>
                  <a:lnTo>
                    <a:pt x="2669" y="856"/>
                  </a:lnTo>
                  <a:lnTo>
                    <a:pt x="2668" y="855"/>
                  </a:lnTo>
                  <a:lnTo>
                    <a:pt x="2668" y="856"/>
                  </a:lnTo>
                  <a:lnTo>
                    <a:pt x="2669" y="856"/>
                  </a:lnTo>
                  <a:lnTo>
                    <a:pt x="2668" y="855"/>
                  </a:lnTo>
                  <a:lnTo>
                    <a:pt x="2668" y="856"/>
                  </a:lnTo>
                  <a:lnTo>
                    <a:pt x="2668" y="855"/>
                  </a:lnTo>
                  <a:lnTo>
                    <a:pt x="2668" y="855"/>
                  </a:lnTo>
                  <a:lnTo>
                    <a:pt x="2668" y="856"/>
                  </a:lnTo>
                  <a:lnTo>
                    <a:pt x="2668" y="855"/>
                  </a:lnTo>
                  <a:lnTo>
                    <a:pt x="2668" y="855"/>
                  </a:lnTo>
                  <a:lnTo>
                    <a:pt x="2666" y="856"/>
                  </a:lnTo>
                  <a:lnTo>
                    <a:pt x="2666" y="856"/>
                  </a:lnTo>
                  <a:lnTo>
                    <a:pt x="2658" y="859"/>
                  </a:lnTo>
                  <a:lnTo>
                    <a:pt x="2658" y="859"/>
                  </a:lnTo>
                  <a:lnTo>
                    <a:pt x="2653" y="860"/>
                  </a:lnTo>
                  <a:lnTo>
                    <a:pt x="2653" y="860"/>
                  </a:lnTo>
                  <a:lnTo>
                    <a:pt x="2652" y="862"/>
                  </a:lnTo>
                  <a:lnTo>
                    <a:pt x="2652" y="863"/>
                  </a:lnTo>
                  <a:lnTo>
                    <a:pt x="2652" y="863"/>
                  </a:lnTo>
                  <a:lnTo>
                    <a:pt x="2650" y="865"/>
                  </a:lnTo>
                  <a:lnTo>
                    <a:pt x="2650" y="865"/>
                  </a:lnTo>
                  <a:lnTo>
                    <a:pt x="2652" y="866"/>
                  </a:lnTo>
                  <a:lnTo>
                    <a:pt x="2652" y="866"/>
                  </a:lnTo>
                  <a:lnTo>
                    <a:pt x="2653" y="868"/>
                  </a:lnTo>
                  <a:lnTo>
                    <a:pt x="2653" y="868"/>
                  </a:lnTo>
                  <a:lnTo>
                    <a:pt x="2655" y="868"/>
                  </a:lnTo>
                  <a:lnTo>
                    <a:pt x="2655" y="868"/>
                  </a:lnTo>
                  <a:lnTo>
                    <a:pt x="2662" y="869"/>
                  </a:lnTo>
                  <a:lnTo>
                    <a:pt x="2662" y="869"/>
                  </a:lnTo>
                  <a:lnTo>
                    <a:pt x="2663" y="869"/>
                  </a:lnTo>
                  <a:lnTo>
                    <a:pt x="2663" y="869"/>
                  </a:lnTo>
                  <a:lnTo>
                    <a:pt x="2665" y="869"/>
                  </a:lnTo>
                  <a:lnTo>
                    <a:pt x="2663" y="869"/>
                  </a:lnTo>
                  <a:lnTo>
                    <a:pt x="2663" y="869"/>
                  </a:lnTo>
                  <a:lnTo>
                    <a:pt x="2665" y="869"/>
                  </a:lnTo>
                  <a:lnTo>
                    <a:pt x="2663" y="869"/>
                  </a:lnTo>
                  <a:lnTo>
                    <a:pt x="2665" y="868"/>
                  </a:lnTo>
                  <a:lnTo>
                    <a:pt x="2663" y="868"/>
                  </a:lnTo>
                  <a:lnTo>
                    <a:pt x="2663" y="869"/>
                  </a:lnTo>
                  <a:lnTo>
                    <a:pt x="2665" y="868"/>
                  </a:lnTo>
                  <a:lnTo>
                    <a:pt x="2663" y="868"/>
                  </a:lnTo>
                  <a:lnTo>
                    <a:pt x="2665" y="868"/>
                  </a:lnTo>
                  <a:lnTo>
                    <a:pt x="2663" y="868"/>
                  </a:lnTo>
                  <a:lnTo>
                    <a:pt x="2663" y="868"/>
                  </a:lnTo>
                  <a:lnTo>
                    <a:pt x="2665" y="868"/>
                  </a:lnTo>
                  <a:lnTo>
                    <a:pt x="2663" y="868"/>
                  </a:lnTo>
                  <a:lnTo>
                    <a:pt x="2663" y="868"/>
                  </a:lnTo>
                  <a:lnTo>
                    <a:pt x="2663" y="868"/>
                  </a:lnTo>
                  <a:lnTo>
                    <a:pt x="2663" y="868"/>
                  </a:lnTo>
                  <a:lnTo>
                    <a:pt x="2663" y="868"/>
                  </a:lnTo>
                  <a:lnTo>
                    <a:pt x="2663" y="868"/>
                  </a:lnTo>
                  <a:lnTo>
                    <a:pt x="2663" y="868"/>
                  </a:lnTo>
                  <a:lnTo>
                    <a:pt x="2663" y="868"/>
                  </a:lnTo>
                  <a:lnTo>
                    <a:pt x="2662" y="869"/>
                  </a:lnTo>
                  <a:lnTo>
                    <a:pt x="2662" y="869"/>
                  </a:lnTo>
                  <a:lnTo>
                    <a:pt x="2658" y="869"/>
                  </a:lnTo>
                  <a:lnTo>
                    <a:pt x="2658" y="869"/>
                  </a:lnTo>
                  <a:lnTo>
                    <a:pt x="2648" y="868"/>
                  </a:lnTo>
                  <a:lnTo>
                    <a:pt x="2648" y="868"/>
                  </a:lnTo>
                  <a:lnTo>
                    <a:pt x="2639" y="866"/>
                  </a:lnTo>
                  <a:lnTo>
                    <a:pt x="2639" y="866"/>
                  </a:lnTo>
                  <a:lnTo>
                    <a:pt x="2626" y="866"/>
                  </a:lnTo>
                  <a:lnTo>
                    <a:pt x="2626" y="866"/>
                  </a:lnTo>
                  <a:lnTo>
                    <a:pt x="2613" y="863"/>
                  </a:lnTo>
                  <a:lnTo>
                    <a:pt x="2613" y="863"/>
                  </a:lnTo>
                  <a:lnTo>
                    <a:pt x="2603" y="862"/>
                  </a:lnTo>
                  <a:lnTo>
                    <a:pt x="2587" y="860"/>
                  </a:lnTo>
                  <a:lnTo>
                    <a:pt x="2587" y="860"/>
                  </a:lnTo>
                  <a:lnTo>
                    <a:pt x="2577" y="862"/>
                  </a:lnTo>
                  <a:lnTo>
                    <a:pt x="2568" y="863"/>
                  </a:lnTo>
                  <a:lnTo>
                    <a:pt x="2568" y="863"/>
                  </a:lnTo>
                  <a:lnTo>
                    <a:pt x="2561" y="866"/>
                  </a:lnTo>
                  <a:lnTo>
                    <a:pt x="2553" y="870"/>
                  </a:lnTo>
                  <a:lnTo>
                    <a:pt x="2553" y="870"/>
                  </a:lnTo>
                  <a:lnTo>
                    <a:pt x="2545" y="879"/>
                  </a:lnTo>
                  <a:lnTo>
                    <a:pt x="2540" y="886"/>
                  </a:lnTo>
                  <a:lnTo>
                    <a:pt x="2540" y="886"/>
                  </a:lnTo>
                  <a:lnTo>
                    <a:pt x="2537" y="892"/>
                  </a:lnTo>
                  <a:lnTo>
                    <a:pt x="2533" y="897"/>
                  </a:lnTo>
                  <a:lnTo>
                    <a:pt x="2533" y="897"/>
                  </a:lnTo>
                  <a:lnTo>
                    <a:pt x="2522" y="912"/>
                  </a:lnTo>
                  <a:lnTo>
                    <a:pt x="2522" y="912"/>
                  </a:lnTo>
                  <a:lnTo>
                    <a:pt x="2517" y="920"/>
                  </a:lnTo>
                  <a:lnTo>
                    <a:pt x="2517" y="920"/>
                  </a:lnTo>
                  <a:lnTo>
                    <a:pt x="2513" y="924"/>
                  </a:lnTo>
                  <a:lnTo>
                    <a:pt x="2513" y="924"/>
                  </a:lnTo>
                  <a:lnTo>
                    <a:pt x="2500" y="934"/>
                  </a:lnTo>
                  <a:lnTo>
                    <a:pt x="2500" y="934"/>
                  </a:lnTo>
                  <a:lnTo>
                    <a:pt x="2493" y="940"/>
                  </a:lnTo>
                  <a:lnTo>
                    <a:pt x="2493" y="940"/>
                  </a:lnTo>
                  <a:lnTo>
                    <a:pt x="2487" y="946"/>
                  </a:lnTo>
                  <a:lnTo>
                    <a:pt x="2487" y="946"/>
                  </a:lnTo>
                  <a:lnTo>
                    <a:pt x="2481" y="952"/>
                  </a:lnTo>
                  <a:lnTo>
                    <a:pt x="2481" y="952"/>
                  </a:lnTo>
                  <a:lnTo>
                    <a:pt x="2465" y="969"/>
                  </a:lnTo>
                  <a:lnTo>
                    <a:pt x="2448" y="982"/>
                  </a:lnTo>
                  <a:lnTo>
                    <a:pt x="2448" y="982"/>
                  </a:lnTo>
                  <a:lnTo>
                    <a:pt x="2442" y="988"/>
                  </a:lnTo>
                  <a:lnTo>
                    <a:pt x="2442" y="988"/>
                  </a:lnTo>
                  <a:lnTo>
                    <a:pt x="2440" y="991"/>
                  </a:lnTo>
                  <a:lnTo>
                    <a:pt x="2439" y="994"/>
                  </a:lnTo>
                  <a:lnTo>
                    <a:pt x="2439" y="994"/>
                  </a:lnTo>
                  <a:lnTo>
                    <a:pt x="2440" y="996"/>
                  </a:lnTo>
                  <a:lnTo>
                    <a:pt x="2442" y="998"/>
                  </a:lnTo>
                  <a:lnTo>
                    <a:pt x="2442" y="998"/>
                  </a:lnTo>
                  <a:lnTo>
                    <a:pt x="2445" y="999"/>
                  </a:lnTo>
                  <a:lnTo>
                    <a:pt x="2445" y="999"/>
                  </a:lnTo>
                  <a:lnTo>
                    <a:pt x="2446" y="999"/>
                  </a:lnTo>
                  <a:lnTo>
                    <a:pt x="2448" y="999"/>
                  </a:lnTo>
                  <a:lnTo>
                    <a:pt x="2448" y="999"/>
                  </a:lnTo>
                  <a:lnTo>
                    <a:pt x="2451" y="1001"/>
                  </a:lnTo>
                  <a:lnTo>
                    <a:pt x="2451" y="1001"/>
                  </a:lnTo>
                  <a:lnTo>
                    <a:pt x="2458" y="1004"/>
                  </a:lnTo>
                  <a:lnTo>
                    <a:pt x="2458" y="1004"/>
                  </a:lnTo>
                  <a:lnTo>
                    <a:pt x="2461" y="1005"/>
                  </a:lnTo>
                  <a:lnTo>
                    <a:pt x="2461" y="1005"/>
                  </a:lnTo>
                  <a:lnTo>
                    <a:pt x="2464" y="1005"/>
                  </a:lnTo>
                  <a:lnTo>
                    <a:pt x="2465" y="1005"/>
                  </a:lnTo>
                  <a:lnTo>
                    <a:pt x="2465" y="1005"/>
                  </a:lnTo>
                  <a:lnTo>
                    <a:pt x="2469" y="1004"/>
                  </a:lnTo>
                  <a:lnTo>
                    <a:pt x="2469" y="1004"/>
                  </a:lnTo>
                  <a:lnTo>
                    <a:pt x="2469" y="1004"/>
                  </a:lnTo>
                  <a:lnTo>
                    <a:pt x="2469" y="1004"/>
                  </a:lnTo>
                  <a:lnTo>
                    <a:pt x="2469" y="1004"/>
                  </a:lnTo>
                  <a:lnTo>
                    <a:pt x="2469" y="1004"/>
                  </a:lnTo>
                  <a:lnTo>
                    <a:pt x="2469" y="1004"/>
                  </a:lnTo>
                  <a:lnTo>
                    <a:pt x="2469" y="1004"/>
                  </a:lnTo>
                  <a:lnTo>
                    <a:pt x="2468" y="1004"/>
                  </a:lnTo>
                  <a:lnTo>
                    <a:pt x="2469" y="1004"/>
                  </a:lnTo>
                  <a:lnTo>
                    <a:pt x="2469" y="1004"/>
                  </a:lnTo>
                  <a:lnTo>
                    <a:pt x="2468" y="1004"/>
                  </a:lnTo>
                  <a:lnTo>
                    <a:pt x="2469" y="1004"/>
                  </a:lnTo>
                  <a:lnTo>
                    <a:pt x="2468" y="1004"/>
                  </a:lnTo>
                  <a:lnTo>
                    <a:pt x="2468" y="1004"/>
                  </a:lnTo>
                  <a:lnTo>
                    <a:pt x="2469" y="1004"/>
                  </a:lnTo>
                  <a:lnTo>
                    <a:pt x="2468" y="1004"/>
                  </a:lnTo>
                  <a:lnTo>
                    <a:pt x="2469" y="1004"/>
                  </a:lnTo>
                  <a:lnTo>
                    <a:pt x="2468" y="1004"/>
                  </a:lnTo>
                  <a:lnTo>
                    <a:pt x="2468" y="1004"/>
                  </a:lnTo>
                  <a:lnTo>
                    <a:pt x="2469" y="1004"/>
                  </a:lnTo>
                  <a:lnTo>
                    <a:pt x="2468" y="1004"/>
                  </a:lnTo>
                  <a:lnTo>
                    <a:pt x="2468" y="1004"/>
                  </a:lnTo>
                  <a:lnTo>
                    <a:pt x="2468" y="1004"/>
                  </a:lnTo>
                  <a:lnTo>
                    <a:pt x="2466" y="1008"/>
                  </a:lnTo>
                  <a:lnTo>
                    <a:pt x="2466" y="1008"/>
                  </a:lnTo>
                  <a:lnTo>
                    <a:pt x="2465" y="1011"/>
                  </a:lnTo>
                  <a:lnTo>
                    <a:pt x="2465" y="1011"/>
                  </a:lnTo>
                  <a:lnTo>
                    <a:pt x="2465" y="1014"/>
                  </a:lnTo>
                  <a:lnTo>
                    <a:pt x="2465" y="1014"/>
                  </a:lnTo>
                  <a:lnTo>
                    <a:pt x="2465" y="1017"/>
                  </a:lnTo>
                  <a:lnTo>
                    <a:pt x="2465" y="1017"/>
                  </a:lnTo>
                  <a:lnTo>
                    <a:pt x="2468" y="1018"/>
                  </a:lnTo>
                  <a:lnTo>
                    <a:pt x="2468" y="1018"/>
                  </a:lnTo>
                  <a:lnTo>
                    <a:pt x="2468" y="1018"/>
                  </a:lnTo>
                  <a:lnTo>
                    <a:pt x="2472" y="1017"/>
                  </a:lnTo>
                  <a:lnTo>
                    <a:pt x="2472" y="1017"/>
                  </a:lnTo>
                  <a:lnTo>
                    <a:pt x="2478" y="1015"/>
                  </a:lnTo>
                  <a:lnTo>
                    <a:pt x="2478" y="1015"/>
                  </a:lnTo>
                  <a:lnTo>
                    <a:pt x="2484" y="1014"/>
                  </a:lnTo>
                  <a:lnTo>
                    <a:pt x="2484" y="1014"/>
                  </a:lnTo>
                  <a:lnTo>
                    <a:pt x="2484" y="1012"/>
                  </a:lnTo>
                  <a:lnTo>
                    <a:pt x="2482" y="1014"/>
                  </a:lnTo>
                  <a:lnTo>
                    <a:pt x="2484" y="1014"/>
                  </a:lnTo>
                  <a:lnTo>
                    <a:pt x="2484" y="1012"/>
                  </a:lnTo>
                  <a:lnTo>
                    <a:pt x="2482" y="1014"/>
                  </a:lnTo>
                  <a:lnTo>
                    <a:pt x="2484" y="1012"/>
                  </a:lnTo>
                  <a:lnTo>
                    <a:pt x="2482" y="1012"/>
                  </a:lnTo>
                  <a:lnTo>
                    <a:pt x="2482" y="1014"/>
                  </a:lnTo>
                  <a:lnTo>
                    <a:pt x="2484" y="1012"/>
                  </a:lnTo>
                  <a:lnTo>
                    <a:pt x="2482" y="1012"/>
                  </a:lnTo>
                  <a:lnTo>
                    <a:pt x="2482" y="1012"/>
                  </a:lnTo>
                  <a:lnTo>
                    <a:pt x="2484" y="1012"/>
                  </a:lnTo>
                  <a:lnTo>
                    <a:pt x="2482" y="1012"/>
                  </a:lnTo>
                  <a:lnTo>
                    <a:pt x="2482" y="1012"/>
                  </a:lnTo>
                  <a:lnTo>
                    <a:pt x="2484" y="1012"/>
                  </a:lnTo>
                  <a:lnTo>
                    <a:pt x="2482" y="1012"/>
                  </a:lnTo>
                  <a:lnTo>
                    <a:pt x="2484" y="1012"/>
                  </a:lnTo>
                  <a:lnTo>
                    <a:pt x="2482" y="1011"/>
                  </a:lnTo>
                  <a:lnTo>
                    <a:pt x="2482" y="1012"/>
                  </a:lnTo>
                  <a:lnTo>
                    <a:pt x="2484" y="1012"/>
                  </a:lnTo>
                  <a:lnTo>
                    <a:pt x="2482" y="1011"/>
                  </a:lnTo>
                  <a:lnTo>
                    <a:pt x="2482" y="1011"/>
                  </a:lnTo>
                  <a:lnTo>
                    <a:pt x="2481" y="1012"/>
                  </a:lnTo>
                  <a:lnTo>
                    <a:pt x="2481" y="1012"/>
                  </a:lnTo>
                  <a:lnTo>
                    <a:pt x="2480" y="1014"/>
                  </a:lnTo>
                  <a:lnTo>
                    <a:pt x="2478" y="1015"/>
                  </a:lnTo>
                  <a:lnTo>
                    <a:pt x="2478" y="1015"/>
                  </a:lnTo>
                  <a:lnTo>
                    <a:pt x="2478" y="1017"/>
                  </a:lnTo>
                  <a:lnTo>
                    <a:pt x="2478" y="1017"/>
                  </a:lnTo>
                  <a:lnTo>
                    <a:pt x="2478" y="1018"/>
                  </a:lnTo>
                  <a:lnTo>
                    <a:pt x="2478" y="1018"/>
                  </a:lnTo>
                  <a:lnTo>
                    <a:pt x="2481" y="1020"/>
                  </a:lnTo>
                  <a:lnTo>
                    <a:pt x="2481" y="1020"/>
                  </a:lnTo>
                  <a:lnTo>
                    <a:pt x="2484" y="1021"/>
                  </a:lnTo>
                  <a:lnTo>
                    <a:pt x="2484" y="1021"/>
                  </a:lnTo>
                  <a:lnTo>
                    <a:pt x="2485" y="1021"/>
                  </a:lnTo>
                  <a:lnTo>
                    <a:pt x="2485" y="1021"/>
                  </a:lnTo>
                  <a:lnTo>
                    <a:pt x="2491" y="1020"/>
                  </a:lnTo>
                  <a:lnTo>
                    <a:pt x="2494" y="1017"/>
                  </a:lnTo>
                  <a:lnTo>
                    <a:pt x="2494" y="1017"/>
                  </a:lnTo>
                  <a:lnTo>
                    <a:pt x="2497" y="1015"/>
                  </a:lnTo>
                  <a:lnTo>
                    <a:pt x="2497" y="1015"/>
                  </a:lnTo>
                  <a:lnTo>
                    <a:pt x="2498" y="1015"/>
                  </a:lnTo>
                  <a:lnTo>
                    <a:pt x="2498" y="1015"/>
                  </a:lnTo>
                  <a:lnTo>
                    <a:pt x="2501" y="1014"/>
                  </a:lnTo>
                  <a:lnTo>
                    <a:pt x="2501" y="1014"/>
                  </a:lnTo>
                  <a:lnTo>
                    <a:pt x="2503" y="1011"/>
                  </a:lnTo>
                  <a:lnTo>
                    <a:pt x="2503" y="1011"/>
                  </a:lnTo>
                  <a:lnTo>
                    <a:pt x="2501" y="1008"/>
                  </a:lnTo>
                  <a:lnTo>
                    <a:pt x="2501" y="1008"/>
                  </a:lnTo>
                  <a:lnTo>
                    <a:pt x="2500" y="1004"/>
                  </a:lnTo>
                  <a:lnTo>
                    <a:pt x="2500" y="1004"/>
                  </a:lnTo>
                  <a:lnTo>
                    <a:pt x="2498" y="1002"/>
                  </a:lnTo>
                  <a:lnTo>
                    <a:pt x="2498" y="1002"/>
                  </a:lnTo>
                  <a:lnTo>
                    <a:pt x="2498" y="1002"/>
                  </a:lnTo>
                  <a:lnTo>
                    <a:pt x="2498" y="1002"/>
                  </a:lnTo>
                  <a:lnTo>
                    <a:pt x="2498" y="1002"/>
                  </a:lnTo>
                  <a:lnTo>
                    <a:pt x="2498" y="1002"/>
                  </a:lnTo>
                  <a:lnTo>
                    <a:pt x="2497" y="1001"/>
                  </a:lnTo>
                  <a:lnTo>
                    <a:pt x="2498" y="1002"/>
                  </a:lnTo>
                  <a:lnTo>
                    <a:pt x="2498" y="1002"/>
                  </a:lnTo>
                  <a:lnTo>
                    <a:pt x="2497" y="1001"/>
                  </a:lnTo>
                  <a:lnTo>
                    <a:pt x="2498" y="1002"/>
                  </a:lnTo>
                  <a:lnTo>
                    <a:pt x="2497" y="1002"/>
                  </a:lnTo>
                  <a:lnTo>
                    <a:pt x="2498" y="1002"/>
                  </a:lnTo>
                  <a:lnTo>
                    <a:pt x="2498" y="1002"/>
                  </a:lnTo>
                  <a:lnTo>
                    <a:pt x="2497" y="1002"/>
                  </a:lnTo>
                  <a:lnTo>
                    <a:pt x="2498" y="1002"/>
                  </a:lnTo>
                  <a:lnTo>
                    <a:pt x="2498" y="1002"/>
                  </a:lnTo>
                  <a:lnTo>
                    <a:pt x="2498" y="1002"/>
                  </a:lnTo>
                  <a:lnTo>
                    <a:pt x="2498" y="1002"/>
                  </a:lnTo>
                  <a:lnTo>
                    <a:pt x="2498" y="1002"/>
                  </a:lnTo>
                  <a:lnTo>
                    <a:pt x="2498" y="1002"/>
                  </a:lnTo>
                  <a:lnTo>
                    <a:pt x="2498" y="1002"/>
                  </a:lnTo>
                  <a:lnTo>
                    <a:pt x="2498" y="1002"/>
                  </a:lnTo>
                  <a:lnTo>
                    <a:pt x="2498" y="1002"/>
                  </a:lnTo>
                  <a:lnTo>
                    <a:pt x="2508" y="1005"/>
                  </a:lnTo>
                  <a:lnTo>
                    <a:pt x="2508" y="1005"/>
                  </a:lnTo>
                  <a:lnTo>
                    <a:pt x="2519" y="1010"/>
                  </a:lnTo>
                  <a:lnTo>
                    <a:pt x="2519" y="1010"/>
                  </a:lnTo>
                  <a:lnTo>
                    <a:pt x="2520" y="1011"/>
                  </a:lnTo>
                  <a:lnTo>
                    <a:pt x="2520" y="1011"/>
                  </a:lnTo>
                  <a:lnTo>
                    <a:pt x="2522" y="1017"/>
                  </a:lnTo>
                  <a:lnTo>
                    <a:pt x="2522" y="1017"/>
                  </a:lnTo>
                  <a:lnTo>
                    <a:pt x="2523" y="1021"/>
                  </a:lnTo>
                  <a:lnTo>
                    <a:pt x="2523" y="1021"/>
                  </a:lnTo>
                  <a:lnTo>
                    <a:pt x="2527" y="1024"/>
                  </a:lnTo>
                  <a:lnTo>
                    <a:pt x="2527" y="1024"/>
                  </a:lnTo>
                  <a:lnTo>
                    <a:pt x="2536" y="1028"/>
                  </a:lnTo>
                  <a:lnTo>
                    <a:pt x="2536" y="1028"/>
                  </a:lnTo>
                  <a:lnTo>
                    <a:pt x="2540" y="1033"/>
                  </a:lnTo>
                  <a:lnTo>
                    <a:pt x="2540" y="1033"/>
                  </a:lnTo>
                  <a:lnTo>
                    <a:pt x="2540" y="1034"/>
                  </a:lnTo>
                  <a:lnTo>
                    <a:pt x="2542" y="1034"/>
                  </a:lnTo>
                  <a:lnTo>
                    <a:pt x="2542" y="1034"/>
                  </a:lnTo>
                  <a:lnTo>
                    <a:pt x="2540" y="1034"/>
                  </a:lnTo>
                  <a:lnTo>
                    <a:pt x="2542" y="1034"/>
                  </a:lnTo>
                  <a:lnTo>
                    <a:pt x="2542" y="1034"/>
                  </a:lnTo>
                  <a:lnTo>
                    <a:pt x="2540" y="1034"/>
                  </a:lnTo>
                  <a:lnTo>
                    <a:pt x="2542" y="1034"/>
                  </a:lnTo>
                  <a:lnTo>
                    <a:pt x="2540" y="1034"/>
                  </a:lnTo>
                  <a:lnTo>
                    <a:pt x="2540" y="1034"/>
                  </a:lnTo>
                  <a:lnTo>
                    <a:pt x="2542" y="1034"/>
                  </a:lnTo>
                  <a:lnTo>
                    <a:pt x="2540" y="1034"/>
                  </a:lnTo>
                  <a:lnTo>
                    <a:pt x="2543" y="1034"/>
                  </a:lnTo>
                  <a:lnTo>
                    <a:pt x="2542" y="1033"/>
                  </a:lnTo>
                  <a:lnTo>
                    <a:pt x="2540" y="1034"/>
                  </a:lnTo>
                  <a:lnTo>
                    <a:pt x="2543" y="1034"/>
                  </a:lnTo>
                  <a:lnTo>
                    <a:pt x="2542" y="1033"/>
                  </a:lnTo>
                  <a:lnTo>
                    <a:pt x="2542" y="1033"/>
                  </a:lnTo>
                  <a:lnTo>
                    <a:pt x="2539" y="1034"/>
                  </a:lnTo>
                  <a:lnTo>
                    <a:pt x="2539" y="1034"/>
                  </a:lnTo>
                  <a:lnTo>
                    <a:pt x="2537" y="1036"/>
                  </a:lnTo>
                  <a:lnTo>
                    <a:pt x="2537" y="1036"/>
                  </a:lnTo>
                  <a:lnTo>
                    <a:pt x="2536" y="1038"/>
                  </a:lnTo>
                  <a:lnTo>
                    <a:pt x="2536" y="1038"/>
                  </a:lnTo>
                  <a:lnTo>
                    <a:pt x="2537" y="1040"/>
                  </a:lnTo>
                  <a:lnTo>
                    <a:pt x="2537" y="1040"/>
                  </a:lnTo>
                  <a:lnTo>
                    <a:pt x="2537" y="1044"/>
                  </a:lnTo>
                  <a:lnTo>
                    <a:pt x="2537" y="1044"/>
                  </a:lnTo>
                  <a:lnTo>
                    <a:pt x="2542" y="1053"/>
                  </a:lnTo>
                  <a:lnTo>
                    <a:pt x="2542" y="1053"/>
                  </a:lnTo>
                  <a:lnTo>
                    <a:pt x="2543" y="1056"/>
                  </a:lnTo>
                  <a:lnTo>
                    <a:pt x="2543" y="1056"/>
                  </a:lnTo>
                  <a:lnTo>
                    <a:pt x="2545" y="1059"/>
                  </a:lnTo>
                  <a:lnTo>
                    <a:pt x="2545" y="1059"/>
                  </a:lnTo>
                  <a:lnTo>
                    <a:pt x="2546" y="1059"/>
                  </a:lnTo>
                  <a:lnTo>
                    <a:pt x="2546" y="1059"/>
                  </a:lnTo>
                  <a:lnTo>
                    <a:pt x="2549" y="1059"/>
                  </a:lnTo>
                  <a:lnTo>
                    <a:pt x="2548" y="1059"/>
                  </a:lnTo>
                  <a:lnTo>
                    <a:pt x="2548" y="1059"/>
                  </a:lnTo>
                  <a:lnTo>
                    <a:pt x="2549" y="1059"/>
                  </a:lnTo>
                  <a:lnTo>
                    <a:pt x="2548" y="1059"/>
                  </a:lnTo>
                  <a:lnTo>
                    <a:pt x="2548" y="1059"/>
                  </a:lnTo>
                  <a:lnTo>
                    <a:pt x="2548" y="1059"/>
                  </a:lnTo>
                  <a:lnTo>
                    <a:pt x="2548" y="1059"/>
                  </a:lnTo>
                  <a:lnTo>
                    <a:pt x="2548" y="1059"/>
                  </a:lnTo>
                  <a:lnTo>
                    <a:pt x="2548" y="1059"/>
                  </a:lnTo>
                  <a:lnTo>
                    <a:pt x="2548" y="1059"/>
                  </a:lnTo>
                  <a:lnTo>
                    <a:pt x="2548" y="1059"/>
                  </a:lnTo>
                  <a:lnTo>
                    <a:pt x="2548" y="1059"/>
                  </a:lnTo>
                  <a:lnTo>
                    <a:pt x="2549" y="1060"/>
                  </a:lnTo>
                  <a:lnTo>
                    <a:pt x="2549" y="1060"/>
                  </a:lnTo>
                  <a:lnTo>
                    <a:pt x="2550" y="1063"/>
                  </a:lnTo>
                  <a:lnTo>
                    <a:pt x="2550" y="1063"/>
                  </a:lnTo>
                  <a:lnTo>
                    <a:pt x="2549" y="1065"/>
                  </a:lnTo>
                  <a:lnTo>
                    <a:pt x="2549" y="1065"/>
                  </a:lnTo>
                  <a:lnTo>
                    <a:pt x="2548" y="1069"/>
                  </a:lnTo>
                  <a:lnTo>
                    <a:pt x="2548" y="1069"/>
                  </a:lnTo>
                  <a:lnTo>
                    <a:pt x="2542" y="1081"/>
                  </a:lnTo>
                  <a:lnTo>
                    <a:pt x="2542" y="1081"/>
                  </a:lnTo>
                  <a:lnTo>
                    <a:pt x="2536" y="1092"/>
                  </a:lnTo>
                  <a:lnTo>
                    <a:pt x="2536" y="1092"/>
                  </a:lnTo>
                  <a:lnTo>
                    <a:pt x="2536" y="1096"/>
                  </a:lnTo>
                  <a:lnTo>
                    <a:pt x="2536" y="1096"/>
                  </a:lnTo>
                  <a:lnTo>
                    <a:pt x="2537" y="1104"/>
                  </a:lnTo>
                  <a:lnTo>
                    <a:pt x="2537" y="1104"/>
                  </a:lnTo>
                  <a:lnTo>
                    <a:pt x="2537" y="1109"/>
                  </a:lnTo>
                  <a:lnTo>
                    <a:pt x="2537" y="1109"/>
                  </a:lnTo>
                  <a:lnTo>
                    <a:pt x="2536" y="1120"/>
                  </a:lnTo>
                  <a:lnTo>
                    <a:pt x="2536" y="1120"/>
                  </a:lnTo>
                  <a:lnTo>
                    <a:pt x="2535" y="1133"/>
                  </a:lnTo>
                  <a:lnTo>
                    <a:pt x="2533" y="1146"/>
                  </a:lnTo>
                  <a:lnTo>
                    <a:pt x="2533" y="1146"/>
                  </a:lnTo>
                  <a:lnTo>
                    <a:pt x="2532" y="1157"/>
                  </a:lnTo>
                  <a:lnTo>
                    <a:pt x="2532" y="1157"/>
                  </a:lnTo>
                  <a:lnTo>
                    <a:pt x="2530" y="1160"/>
                  </a:lnTo>
                  <a:lnTo>
                    <a:pt x="2530" y="1160"/>
                  </a:lnTo>
                  <a:lnTo>
                    <a:pt x="2529" y="1162"/>
                  </a:lnTo>
                  <a:lnTo>
                    <a:pt x="2529" y="1162"/>
                  </a:lnTo>
                  <a:lnTo>
                    <a:pt x="2523" y="1167"/>
                  </a:lnTo>
                  <a:lnTo>
                    <a:pt x="2517" y="1178"/>
                  </a:lnTo>
                  <a:lnTo>
                    <a:pt x="2517" y="1178"/>
                  </a:lnTo>
                  <a:lnTo>
                    <a:pt x="2507" y="1192"/>
                  </a:lnTo>
                  <a:lnTo>
                    <a:pt x="2507" y="1192"/>
                  </a:lnTo>
                  <a:lnTo>
                    <a:pt x="2503" y="1199"/>
                  </a:lnTo>
                  <a:lnTo>
                    <a:pt x="2503" y="1199"/>
                  </a:lnTo>
                  <a:lnTo>
                    <a:pt x="2500" y="1205"/>
                  </a:lnTo>
                  <a:lnTo>
                    <a:pt x="2500" y="1205"/>
                  </a:lnTo>
                  <a:lnTo>
                    <a:pt x="2495" y="1217"/>
                  </a:lnTo>
                  <a:lnTo>
                    <a:pt x="2495" y="1217"/>
                  </a:lnTo>
                  <a:lnTo>
                    <a:pt x="2491" y="1222"/>
                  </a:lnTo>
                  <a:lnTo>
                    <a:pt x="2487" y="1228"/>
                  </a:lnTo>
                  <a:lnTo>
                    <a:pt x="2487" y="1228"/>
                  </a:lnTo>
                  <a:lnTo>
                    <a:pt x="2477" y="1235"/>
                  </a:lnTo>
                  <a:lnTo>
                    <a:pt x="2469" y="1241"/>
                  </a:lnTo>
                  <a:lnTo>
                    <a:pt x="2469" y="1241"/>
                  </a:lnTo>
                  <a:lnTo>
                    <a:pt x="2461" y="1251"/>
                  </a:lnTo>
                  <a:lnTo>
                    <a:pt x="2461" y="1251"/>
                  </a:lnTo>
                  <a:lnTo>
                    <a:pt x="2455" y="1260"/>
                  </a:lnTo>
                  <a:lnTo>
                    <a:pt x="2455" y="1260"/>
                  </a:lnTo>
                  <a:lnTo>
                    <a:pt x="2452" y="1264"/>
                  </a:lnTo>
                  <a:lnTo>
                    <a:pt x="2452" y="1264"/>
                  </a:lnTo>
                  <a:lnTo>
                    <a:pt x="2443" y="1273"/>
                  </a:lnTo>
                  <a:lnTo>
                    <a:pt x="2443" y="1273"/>
                  </a:lnTo>
                  <a:lnTo>
                    <a:pt x="2440" y="1277"/>
                  </a:lnTo>
                  <a:lnTo>
                    <a:pt x="2440" y="1277"/>
                  </a:lnTo>
                  <a:lnTo>
                    <a:pt x="2436" y="1280"/>
                  </a:lnTo>
                  <a:lnTo>
                    <a:pt x="2436" y="1280"/>
                  </a:lnTo>
                  <a:lnTo>
                    <a:pt x="2426" y="1283"/>
                  </a:lnTo>
                  <a:lnTo>
                    <a:pt x="2426" y="1283"/>
                  </a:lnTo>
                  <a:lnTo>
                    <a:pt x="2420" y="1285"/>
                  </a:lnTo>
                  <a:lnTo>
                    <a:pt x="2416" y="1286"/>
                  </a:lnTo>
                  <a:lnTo>
                    <a:pt x="2416" y="1286"/>
                  </a:lnTo>
                  <a:lnTo>
                    <a:pt x="2411" y="1285"/>
                  </a:lnTo>
                  <a:lnTo>
                    <a:pt x="2411" y="1285"/>
                  </a:lnTo>
                  <a:lnTo>
                    <a:pt x="2406" y="1279"/>
                  </a:lnTo>
                  <a:lnTo>
                    <a:pt x="2406" y="1279"/>
                  </a:lnTo>
                  <a:lnTo>
                    <a:pt x="2403" y="1276"/>
                  </a:lnTo>
                  <a:lnTo>
                    <a:pt x="2403" y="1276"/>
                  </a:lnTo>
                  <a:lnTo>
                    <a:pt x="2401" y="1275"/>
                  </a:lnTo>
                  <a:lnTo>
                    <a:pt x="2398" y="1273"/>
                  </a:lnTo>
                  <a:lnTo>
                    <a:pt x="2398" y="1273"/>
                  </a:lnTo>
                  <a:lnTo>
                    <a:pt x="2396" y="1275"/>
                  </a:lnTo>
                  <a:lnTo>
                    <a:pt x="2396" y="1275"/>
                  </a:lnTo>
                  <a:lnTo>
                    <a:pt x="2393" y="1277"/>
                  </a:lnTo>
                  <a:lnTo>
                    <a:pt x="2393" y="1277"/>
                  </a:lnTo>
                  <a:lnTo>
                    <a:pt x="2390" y="1283"/>
                  </a:lnTo>
                  <a:lnTo>
                    <a:pt x="2390" y="1283"/>
                  </a:lnTo>
                  <a:lnTo>
                    <a:pt x="2388" y="1286"/>
                  </a:lnTo>
                  <a:lnTo>
                    <a:pt x="2388" y="1286"/>
                  </a:lnTo>
                  <a:lnTo>
                    <a:pt x="2388" y="1286"/>
                  </a:lnTo>
                  <a:lnTo>
                    <a:pt x="2388" y="1286"/>
                  </a:lnTo>
                  <a:lnTo>
                    <a:pt x="2388" y="1286"/>
                  </a:lnTo>
                  <a:lnTo>
                    <a:pt x="2388" y="1286"/>
                  </a:lnTo>
                  <a:lnTo>
                    <a:pt x="2388" y="1286"/>
                  </a:lnTo>
                  <a:lnTo>
                    <a:pt x="2390" y="1288"/>
                  </a:lnTo>
                  <a:lnTo>
                    <a:pt x="2388" y="1286"/>
                  </a:lnTo>
                  <a:lnTo>
                    <a:pt x="2388" y="1286"/>
                  </a:lnTo>
                  <a:lnTo>
                    <a:pt x="2390" y="1288"/>
                  </a:lnTo>
                  <a:lnTo>
                    <a:pt x="2388" y="1286"/>
                  </a:lnTo>
                  <a:lnTo>
                    <a:pt x="2388" y="1286"/>
                  </a:lnTo>
                  <a:lnTo>
                    <a:pt x="2385" y="1286"/>
                  </a:lnTo>
                  <a:lnTo>
                    <a:pt x="2385" y="1286"/>
                  </a:lnTo>
                  <a:lnTo>
                    <a:pt x="2380" y="1289"/>
                  </a:lnTo>
                  <a:lnTo>
                    <a:pt x="2380" y="1289"/>
                  </a:lnTo>
                  <a:lnTo>
                    <a:pt x="2377" y="1292"/>
                  </a:lnTo>
                  <a:lnTo>
                    <a:pt x="2377" y="1292"/>
                  </a:lnTo>
                  <a:lnTo>
                    <a:pt x="2374" y="1293"/>
                  </a:lnTo>
                  <a:lnTo>
                    <a:pt x="2374" y="1293"/>
                  </a:lnTo>
                  <a:lnTo>
                    <a:pt x="2371" y="1298"/>
                  </a:lnTo>
                  <a:lnTo>
                    <a:pt x="2371" y="1298"/>
                  </a:lnTo>
                  <a:lnTo>
                    <a:pt x="2362" y="1317"/>
                  </a:lnTo>
                  <a:lnTo>
                    <a:pt x="2362" y="1317"/>
                  </a:lnTo>
                  <a:lnTo>
                    <a:pt x="2359" y="1321"/>
                  </a:lnTo>
                  <a:lnTo>
                    <a:pt x="2359" y="1321"/>
                  </a:lnTo>
                  <a:lnTo>
                    <a:pt x="2351" y="1333"/>
                  </a:lnTo>
                  <a:lnTo>
                    <a:pt x="2351" y="1333"/>
                  </a:lnTo>
                  <a:lnTo>
                    <a:pt x="2346" y="1338"/>
                  </a:lnTo>
                  <a:lnTo>
                    <a:pt x="2346" y="1338"/>
                  </a:lnTo>
                  <a:lnTo>
                    <a:pt x="2343" y="1341"/>
                  </a:lnTo>
                  <a:lnTo>
                    <a:pt x="2343" y="1341"/>
                  </a:lnTo>
                  <a:lnTo>
                    <a:pt x="2335" y="1346"/>
                  </a:lnTo>
                  <a:lnTo>
                    <a:pt x="2335" y="1346"/>
                  </a:lnTo>
                  <a:lnTo>
                    <a:pt x="2330" y="1347"/>
                  </a:lnTo>
                  <a:lnTo>
                    <a:pt x="2330" y="1347"/>
                  </a:lnTo>
                  <a:lnTo>
                    <a:pt x="2327" y="1351"/>
                  </a:lnTo>
                  <a:lnTo>
                    <a:pt x="2327" y="1351"/>
                  </a:lnTo>
                  <a:lnTo>
                    <a:pt x="2326" y="1354"/>
                  </a:lnTo>
                  <a:lnTo>
                    <a:pt x="2326" y="1354"/>
                  </a:lnTo>
                  <a:lnTo>
                    <a:pt x="2325" y="1359"/>
                  </a:lnTo>
                  <a:lnTo>
                    <a:pt x="2325" y="1359"/>
                  </a:lnTo>
                  <a:lnTo>
                    <a:pt x="2326" y="1362"/>
                  </a:lnTo>
                  <a:lnTo>
                    <a:pt x="2327" y="1363"/>
                  </a:lnTo>
                  <a:lnTo>
                    <a:pt x="2327" y="1363"/>
                  </a:lnTo>
                  <a:lnTo>
                    <a:pt x="2333" y="1369"/>
                  </a:lnTo>
                  <a:lnTo>
                    <a:pt x="2333" y="1369"/>
                  </a:lnTo>
                  <a:lnTo>
                    <a:pt x="2339" y="1375"/>
                  </a:lnTo>
                  <a:lnTo>
                    <a:pt x="2343" y="1382"/>
                  </a:lnTo>
                  <a:lnTo>
                    <a:pt x="2343" y="1382"/>
                  </a:lnTo>
                  <a:lnTo>
                    <a:pt x="2349" y="1392"/>
                  </a:lnTo>
                  <a:lnTo>
                    <a:pt x="2349" y="1392"/>
                  </a:lnTo>
                  <a:lnTo>
                    <a:pt x="2351" y="1398"/>
                  </a:lnTo>
                  <a:lnTo>
                    <a:pt x="2351" y="1398"/>
                  </a:lnTo>
                  <a:lnTo>
                    <a:pt x="2351" y="1409"/>
                  </a:lnTo>
                  <a:lnTo>
                    <a:pt x="2351" y="1409"/>
                  </a:lnTo>
                  <a:lnTo>
                    <a:pt x="2352" y="1419"/>
                  </a:lnTo>
                  <a:lnTo>
                    <a:pt x="2352" y="1419"/>
                  </a:lnTo>
                  <a:lnTo>
                    <a:pt x="2355" y="1427"/>
                  </a:lnTo>
                  <a:lnTo>
                    <a:pt x="2356" y="1432"/>
                  </a:lnTo>
                  <a:lnTo>
                    <a:pt x="2356" y="1432"/>
                  </a:lnTo>
                  <a:lnTo>
                    <a:pt x="2355" y="1437"/>
                  </a:lnTo>
                  <a:lnTo>
                    <a:pt x="2355" y="1437"/>
                  </a:lnTo>
                  <a:lnTo>
                    <a:pt x="2348" y="1444"/>
                  </a:lnTo>
                  <a:lnTo>
                    <a:pt x="2348" y="1444"/>
                  </a:lnTo>
                  <a:lnTo>
                    <a:pt x="2345" y="1447"/>
                  </a:lnTo>
                  <a:lnTo>
                    <a:pt x="2345" y="1448"/>
                  </a:lnTo>
                  <a:lnTo>
                    <a:pt x="2343" y="1448"/>
                  </a:lnTo>
                  <a:lnTo>
                    <a:pt x="2343" y="1448"/>
                  </a:lnTo>
                  <a:lnTo>
                    <a:pt x="2343" y="1448"/>
                  </a:lnTo>
                  <a:lnTo>
                    <a:pt x="2343" y="1448"/>
                  </a:lnTo>
                  <a:lnTo>
                    <a:pt x="2343" y="1448"/>
                  </a:lnTo>
                  <a:lnTo>
                    <a:pt x="2343" y="1448"/>
                  </a:lnTo>
                  <a:lnTo>
                    <a:pt x="2343" y="1448"/>
                  </a:lnTo>
                  <a:lnTo>
                    <a:pt x="2343" y="1448"/>
                  </a:lnTo>
                  <a:lnTo>
                    <a:pt x="2343" y="1448"/>
                  </a:lnTo>
                  <a:lnTo>
                    <a:pt x="2343" y="1448"/>
                  </a:lnTo>
                  <a:lnTo>
                    <a:pt x="2343" y="1448"/>
                  </a:lnTo>
                  <a:lnTo>
                    <a:pt x="2343" y="1448"/>
                  </a:lnTo>
                  <a:lnTo>
                    <a:pt x="2338" y="1448"/>
                  </a:lnTo>
                  <a:lnTo>
                    <a:pt x="2338" y="1448"/>
                  </a:lnTo>
                  <a:lnTo>
                    <a:pt x="2329" y="1448"/>
                  </a:lnTo>
                  <a:lnTo>
                    <a:pt x="2329" y="1448"/>
                  </a:lnTo>
                  <a:lnTo>
                    <a:pt x="2326" y="1451"/>
                  </a:lnTo>
                  <a:lnTo>
                    <a:pt x="2326" y="1451"/>
                  </a:lnTo>
                  <a:lnTo>
                    <a:pt x="2319" y="1457"/>
                  </a:lnTo>
                  <a:lnTo>
                    <a:pt x="2319" y="1457"/>
                  </a:lnTo>
                  <a:lnTo>
                    <a:pt x="2316" y="1459"/>
                  </a:lnTo>
                  <a:lnTo>
                    <a:pt x="2314" y="1459"/>
                  </a:lnTo>
                  <a:lnTo>
                    <a:pt x="2314" y="1459"/>
                  </a:lnTo>
                  <a:lnTo>
                    <a:pt x="2314" y="1460"/>
                  </a:lnTo>
                  <a:lnTo>
                    <a:pt x="2314" y="1459"/>
                  </a:lnTo>
                  <a:lnTo>
                    <a:pt x="2314" y="1459"/>
                  </a:lnTo>
                  <a:lnTo>
                    <a:pt x="2314" y="1460"/>
                  </a:lnTo>
                  <a:lnTo>
                    <a:pt x="2314" y="1459"/>
                  </a:lnTo>
                  <a:lnTo>
                    <a:pt x="2314" y="1459"/>
                  </a:lnTo>
                  <a:lnTo>
                    <a:pt x="2313" y="1459"/>
                  </a:lnTo>
                  <a:lnTo>
                    <a:pt x="2313" y="1459"/>
                  </a:lnTo>
                  <a:lnTo>
                    <a:pt x="2312" y="1454"/>
                  </a:lnTo>
                  <a:lnTo>
                    <a:pt x="2310" y="1450"/>
                  </a:lnTo>
                  <a:lnTo>
                    <a:pt x="2310" y="1450"/>
                  </a:lnTo>
                  <a:lnTo>
                    <a:pt x="2310" y="1447"/>
                  </a:lnTo>
                  <a:lnTo>
                    <a:pt x="2310" y="1447"/>
                  </a:lnTo>
                  <a:lnTo>
                    <a:pt x="2310" y="1447"/>
                  </a:lnTo>
                  <a:lnTo>
                    <a:pt x="2310" y="1447"/>
                  </a:lnTo>
                  <a:lnTo>
                    <a:pt x="2314" y="1440"/>
                  </a:lnTo>
                  <a:lnTo>
                    <a:pt x="2314" y="1440"/>
                  </a:lnTo>
                  <a:lnTo>
                    <a:pt x="2317" y="1434"/>
                  </a:lnTo>
                  <a:lnTo>
                    <a:pt x="2317" y="1434"/>
                  </a:lnTo>
                  <a:lnTo>
                    <a:pt x="2317" y="1430"/>
                  </a:lnTo>
                  <a:lnTo>
                    <a:pt x="2317" y="1430"/>
                  </a:lnTo>
                  <a:lnTo>
                    <a:pt x="2317" y="1427"/>
                  </a:lnTo>
                  <a:lnTo>
                    <a:pt x="2317" y="1427"/>
                  </a:lnTo>
                  <a:lnTo>
                    <a:pt x="2314" y="1419"/>
                  </a:lnTo>
                  <a:lnTo>
                    <a:pt x="2314" y="1419"/>
                  </a:lnTo>
                  <a:lnTo>
                    <a:pt x="2312" y="1411"/>
                  </a:lnTo>
                  <a:lnTo>
                    <a:pt x="2312" y="1411"/>
                  </a:lnTo>
                  <a:lnTo>
                    <a:pt x="2312" y="1411"/>
                  </a:lnTo>
                  <a:lnTo>
                    <a:pt x="2312" y="1411"/>
                  </a:lnTo>
                  <a:lnTo>
                    <a:pt x="2312" y="1411"/>
                  </a:lnTo>
                  <a:lnTo>
                    <a:pt x="2312" y="1411"/>
                  </a:lnTo>
                  <a:lnTo>
                    <a:pt x="2312" y="1411"/>
                  </a:lnTo>
                  <a:lnTo>
                    <a:pt x="2312" y="1409"/>
                  </a:lnTo>
                  <a:lnTo>
                    <a:pt x="2312" y="1411"/>
                  </a:lnTo>
                  <a:lnTo>
                    <a:pt x="2312" y="1411"/>
                  </a:lnTo>
                  <a:lnTo>
                    <a:pt x="2312" y="1409"/>
                  </a:lnTo>
                  <a:lnTo>
                    <a:pt x="2312" y="1411"/>
                  </a:lnTo>
                  <a:lnTo>
                    <a:pt x="2312" y="1411"/>
                  </a:lnTo>
                  <a:lnTo>
                    <a:pt x="2312" y="1411"/>
                  </a:lnTo>
                  <a:lnTo>
                    <a:pt x="2314" y="1411"/>
                  </a:lnTo>
                  <a:lnTo>
                    <a:pt x="2314" y="1411"/>
                  </a:lnTo>
                  <a:lnTo>
                    <a:pt x="2317" y="1412"/>
                  </a:lnTo>
                  <a:lnTo>
                    <a:pt x="2317" y="1412"/>
                  </a:lnTo>
                  <a:lnTo>
                    <a:pt x="2319" y="1412"/>
                  </a:lnTo>
                  <a:lnTo>
                    <a:pt x="2319" y="1412"/>
                  </a:lnTo>
                  <a:lnTo>
                    <a:pt x="2320" y="1409"/>
                  </a:lnTo>
                  <a:lnTo>
                    <a:pt x="2320" y="1409"/>
                  </a:lnTo>
                  <a:lnTo>
                    <a:pt x="2322" y="1406"/>
                  </a:lnTo>
                  <a:lnTo>
                    <a:pt x="2322" y="1406"/>
                  </a:lnTo>
                  <a:lnTo>
                    <a:pt x="2320" y="1404"/>
                  </a:lnTo>
                  <a:lnTo>
                    <a:pt x="2319" y="1399"/>
                  </a:lnTo>
                  <a:lnTo>
                    <a:pt x="2319" y="1399"/>
                  </a:lnTo>
                  <a:lnTo>
                    <a:pt x="2317" y="1395"/>
                  </a:lnTo>
                  <a:lnTo>
                    <a:pt x="2317" y="1395"/>
                  </a:lnTo>
                  <a:lnTo>
                    <a:pt x="2314" y="1392"/>
                  </a:lnTo>
                  <a:lnTo>
                    <a:pt x="2314" y="1392"/>
                  </a:lnTo>
                  <a:lnTo>
                    <a:pt x="2314" y="1392"/>
                  </a:lnTo>
                  <a:lnTo>
                    <a:pt x="2314" y="1392"/>
                  </a:lnTo>
                  <a:lnTo>
                    <a:pt x="2307" y="1390"/>
                  </a:lnTo>
                  <a:lnTo>
                    <a:pt x="2307" y="1390"/>
                  </a:lnTo>
                  <a:lnTo>
                    <a:pt x="2293" y="1386"/>
                  </a:lnTo>
                  <a:lnTo>
                    <a:pt x="2293" y="1386"/>
                  </a:lnTo>
                  <a:lnTo>
                    <a:pt x="2287" y="1385"/>
                  </a:lnTo>
                  <a:lnTo>
                    <a:pt x="2287" y="1385"/>
                  </a:lnTo>
                  <a:lnTo>
                    <a:pt x="2285" y="1385"/>
                  </a:lnTo>
                  <a:lnTo>
                    <a:pt x="2285" y="1385"/>
                  </a:lnTo>
                  <a:lnTo>
                    <a:pt x="2285" y="1385"/>
                  </a:lnTo>
                  <a:lnTo>
                    <a:pt x="2285" y="1385"/>
                  </a:lnTo>
                  <a:lnTo>
                    <a:pt x="2285" y="1385"/>
                  </a:lnTo>
                  <a:lnTo>
                    <a:pt x="2285" y="1385"/>
                  </a:lnTo>
                  <a:lnTo>
                    <a:pt x="2285" y="1385"/>
                  </a:lnTo>
                  <a:lnTo>
                    <a:pt x="2284" y="1386"/>
                  </a:lnTo>
                  <a:lnTo>
                    <a:pt x="2287" y="1386"/>
                  </a:lnTo>
                  <a:lnTo>
                    <a:pt x="2285" y="1385"/>
                  </a:lnTo>
                  <a:lnTo>
                    <a:pt x="2284" y="1386"/>
                  </a:lnTo>
                  <a:lnTo>
                    <a:pt x="2287" y="1386"/>
                  </a:lnTo>
                  <a:lnTo>
                    <a:pt x="2284" y="1386"/>
                  </a:lnTo>
                  <a:lnTo>
                    <a:pt x="2287" y="1386"/>
                  </a:lnTo>
                  <a:lnTo>
                    <a:pt x="2287" y="1386"/>
                  </a:lnTo>
                  <a:lnTo>
                    <a:pt x="2284" y="1386"/>
                  </a:lnTo>
                  <a:lnTo>
                    <a:pt x="2287" y="1386"/>
                  </a:lnTo>
                  <a:lnTo>
                    <a:pt x="2287" y="1386"/>
                  </a:lnTo>
                  <a:lnTo>
                    <a:pt x="2287" y="1386"/>
                  </a:lnTo>
                  <a:lnTo>
                    <a:pt x="2287" y="1386"/>
                  </a:lnTo>
                  <a:lnTo>
                    <a:pt x="2287" y="1385"/>
                  </a:lnTo>
                  <a:lnTo>
                    <a:pt x="2287" y="1385"/>
                  </a:lnTo>
                  <a:lnTo>
                    <a:pt x="2291" y="1377"/>
                  </a:lnTo>
                  <a:lnTo>
                    <a:pt x="2291" y="1377"/>
                  </a:lnTo>
                  <a:lnTo>
                    <a:pt x="2293" y="1375"/>
                  </a:lnTo>
                  <a:lnTo>
                    <a:pt x="2294" y="1370"/>
                  </a:lnTo>
                  <a:lnTo>
                    <a:pt x="2294" y="1369"/>
                  </a:lnTo>
                  <a:lnTo>
                    <a:pt x="2294" y="1369"/>
                  </a:lnTo>
                  <a:lnTo>
                    <a:pt x="2294" y="1367"/>
                  </a:lnTo>
                  <a:lnTo>
                    <a:pt x="2294" y="1367"/>
                  </a:lnTo>
                  <a:lnTo>
                    <a:pt x="2294" y="1363"/>
                  </a:lnTo>
                  <a:lnTo>
                    <a:pt x="2294" y="1363"/>
                  </a:lnTo>
                  <a:lnTo>
                    <a:pt x="2296" y="1357"/>
                  </a:lnTo>
                  <a:lnTo>
                    <a:pt x="2296" y="1357"/>
                  </a:lnTo>
                  <a:lnTo>
                    <a:pt x="2296" y="1354"/>
                  </a:lnTo>
                  <a:lnTo>
                    <a:pt x="2296" y="1354"/>
                  </a:lnTo>
                  <a:lnTo>
                    <a:pt x="2294" y="1354"/>
                  </a:lnTo>
                  <a:lnTo>
                    <a:pt x="2294" y="1354"/>
                  </a:lnTo>
                  <a:lnTo>
                    <a:pt x="2293" y="1353"/>
                  </a:lnTo>
                  <a:lnTo>
                    <a:pt x="2293" y="1353"/>
                  </a:lnTo>
                  <a:lnTo>
                    <a:pt x="2288" y="1353"/>
                  </a:lnTo>
                  <a:lnTo>
                    <a:pt x="2288" y="1353"/>
                  </a:lnTo>
                  <a:lnTo>
                    <a:pt x="2285" y="1353"/>
                  </a:lnTo>
                  <a:lnTo>
                    <a:pt x="2285" y="1353"/>
                  </a:lnTo>
                  <a:lnTo>
                    <a:pt x="2284" y="1351"/>
                  </a:lnTo>
                  <a:lnTo>
                    <a:pt x="2284" y="1351"/>
                  </a:lnTo>
                  <a:lnTo>
                    <a:pt x="2281" y="1350"/>
                  </a:lnTo>
                  <a:lnTo>
                    <a:pt x="2281" y="1350"/>
                  </a:lnTo>
                  <a:lnTo>
                    <a:pt x="2278" y="1348"/>
                  </a:lnTo>
                  <a:lnTo>
                    <a:pt x="2278" y="1348"/>
                  </a:lnTo>
                  <a:lnTo>
                    <a:pt x="2272" y="1350"/>
                  </a:lnTo>
                  <a:lnTo>
                    <a:pt x="2272" y="1350"/>
                  </a:lnTo>
                  <a:lnTo>
                    <a:pt x="2265" y="1351"/>
                  </a:lnTo>
                  <a:lnTo>
                    <a:pt x="2265" y="1351"/>
                  </a:lnTo>
                  <a:lnTo>
                    <a:pt x="2261" y="1353"/>
                  </a:lnTo>
                  <a:lnTo>
                    <a:pt x="2256" y="1354"/>
                  </a:lnTo>
                  <a:lnTo>
                    <a:pt x="2256" y="1354"/>
                  </a:lnTo>
                  <a:lnTo>
                    <a:pt x="2243" y="1362"/>
                  </a:lnTo>
                  <a:lnTo>
                    <a:pt x="2243" y="1362"/>
                  </a:lnTo>
                  <a:lnTo>
                    <a:pt x="2238" y="1364"/>
                  </a:lnTo>
                  <a:lnTo>
                    <a:pt x="2238" y="1364"/>
                  </a:lnTo>
                  <a:lnTo>
                    <a:pt x="2236" y="1366"/>
                  </a:lnTo>
                  <a:lnTo>
                    <a:pt x="2236" y="1366"/>
                  </a:lnTo>
                  <a:lnTo>
                    <a:pt x="2236" y="1366"/>
                  </a:lnTo>
                  <a:lnTo>
                    <a:pt x="2236" y="1366"/>
                  </a:lnTo>
                  <a:lnTo>
                    <a:pt x="2236" y="1366"/>
                  </a:lnTo>
                  <a:lnTo>
                    <a:pt x="2236" y="1366"/>
                  </a:lnTo>
                  <a:lnTo>
                    <a:pt x="2236" y="1366"/>
                  </a:lnTo>
                  <a:lnTo>
                    <a:pt x="2236" y="1367"/>
                  </a:lnTo>
                  <a:lnTo>
                    <a:pt x="2236" y="1366"/>
                  </a:lnTo>
                  <a:lnTo>
                    <a:pt x="2236" y="1366"/>
                  </a:lnTo>
                  <a:lnTo>
                    <a:pt x="2236" y="1366"/>
                  </a:lnTo>
                  <a:lnTo>
                    <a:pt x="2236" y="1367"/>
                  </a:lnTo>
                  <a:lnTo>
                    <a:pt x="2236" y="1366"/>
                  </a:lnTo>
                  <a:lnTo>
                    <a:pt x="2236" y="1366"/>
                  </a:lnTo>
                  <a:lnTo>
                    <a:pt x="2236" y="1366"/>
                  </a:lnTo>
                  <a:lnTo>
                    <a:pt x="2236" y="1366"/>
                  </a:lnTo>
                  <a:lnTo>
                    <a:pt x="2238" y="1360"/>
                  </a:lnTo>
                  <a:lnTo>
                    <a:pt x="2238" y="1360"/>
                  </a:lnTo>
                  <a:lnTo>
                    <a:pt x="2236" y="1357"/>
                  </a:lnTo>
                  <a:lnTo>
                    <a:pt x="2236" y="1357"/>
                  </a:lnTo>
                  <a:lnTo>
                    <a:pt x="2235" y="1354"/>
                  </a:lnTo>
                  <a:lnTo>
                    <a:pt x="2235" y="1354"/>
                  </a:lnTo>
                  <a:lnTo>
                    <a:pt x="2235" y="1353"/>
                  </a:lnTo>
                  <a:lnTo>
                    <a:pt x="2235" y="1351"/>
                  </a:lnTo>
                  <a:lnTo>
                    <a:pt x="2235" y="1351"/>
                  </a:lnTo>
                  <a:lnTo>
                    <a:pt x="2236" y="1351"/>
                  </a:lnTo>
                  <a:lnTo>
                    <a:pt x="2236" y="1351"/>
                  </a:lnTo>
                  <a:lnTo>
                    <a:pt x="2242" y="1346"/>
                  </a:lnTo>
                  <a:lnTo>
                    <a:pt x="2242" y="1346"/>
                  </a:lnTo>
                  <a:lnTo>
                    <a:pt x="2245" y="1341"/>
                  </a:lnTo>
                  <a:lnTo>
                    <a:pt x="2245" y="1337"/>
                  </a:lnTo>
                  <a:lnTo>
                    <a:pt x="2245" y="1337"/>
                  </a:lnTo>
                  <a:lnTo>
                    <a:pt x="2245" y="1335"/>
                  </a:lnTo>
                  <a:lnTo>
                    <a:pt x="2245" y="1335"/>
                  </a:lnTo>
                  <a:lnTo>
                    <a:pt x="2243" y="1331"/>
                  </a:lnTo>
                  <a:lnTo>
                    <a:pt x="2242" y="1328"/>
                  </a:lnTo>
                  <a:lnTo>
                    <a:pt x="2242" y="1328"/>
                  </a:lnTo>
                  <a:lnTo>
                    <a:pt x="2239" y="1325"/>
                  </a:lnTo>
                  <a:lnTo>
                    <a:pt x="2236" y="1325"/>
                  </a:lnTo>
                  <a:lnTo>
                    <a:pt x="2236" y="1325"/>
                  </a:lnTo>
                  <a:lnTo>
                    <a:pt x="2233" y="1325"/>
                  </a:lnTo>
                  <a:lnTo>
                    <a:pt x="2233" y="1325"/>
                  </a:lnTo>
                  <a:lnTo>
                    <a:pt x="2230" y="1325"/>
                  </a:lnTo>
                  <a:lnTo>
                    <a:pt x="2228" y="1327"/>
                  </a:lnTo>
                  <a:lnTo>
                    <a:pt x="2228" y="1327"/>
                  </a:lnTo>
                  <a:lnTo>
                    <a:pt x="2214" y="1337"/>
                  </a:lnTo>
                  <a:lnTo>
                    <a:pt x="2214" y="1337"/>
                  </a:lnTo>
                  <a:lnTo>
                    <a:pt x="2206" y="1343"/>
                  </a:lnTo>
                  <a:lnTo>
                    <a:pt x="2206" y="1343"/>
                  </a:lnTo>
                  <a:lnTo>
                    <a:pt x="2200" y="1348"/>
                  </a:lnTo>
                  <a:lnTo>
                    <a:pt x="2200" y="1348"/>
                  </a:lnTo>
                  <a:lnTo>
                    <a:pt x="2197" y="1353"/>
                  </a:lnTo>
                  <a:lnTo>
                    <a:pt x="2197" y="1357"/>
                  </a:lnTo>
                  <a:lnTo>
                    <a:pt x="2197" y="1357"/>
                  </a:lnTo>
                  <a:lnTo>
                    <a:pt x="2196" y="1360"/>
                  </a:lnTo>
                  <a:lnTo>
                    <a:pt x="2196" y="1360"/>
                  </a:lnTo>
                  <a:lnTo>
                    <a:pt x="2194" y="1360"/>
                  </a:lnTo>
                  <a:lnTo>
                    <a:pt x="2194" y="1360"/>
                  </a:lnTo>
                  <a:lnTo>
                    <a:pt x="2184" y="1362"/>
                  </a:lnTo>
                  <a:lnTo>
                    <a:pt x="2174" y="1363"/>
                  </a:lnTo>
                  <a:lnTo>
                    <a:pt x="2174" y="1363"/>
                  </a:lnTo>
                  <a:lnTo>
                    <a:pt x="2168" y="1364"/>
                  </a:lnTo>
                  <a:lnTo>
                    <a:pt x="2168" y="1364"/>
                  </a:lnTo>
                  <a:lnTo>
                    <a:pt x="2167" y="1367"/>
                  </a:lnTo>
                  <a:lnTo>
                    <a:pt x="2167" y="1367"/>
                  </a:lnTo>
                  <a:lnTo>
                    <a:pt x="2167" y="1369"/>
                  </a:lnTo>
                  <a:lnTo>
                    <a:pt x="2167" y="1369"/>
                  </a:lnTo>
                  <a:lnTo>
                    <a:pt x="2167" y="1373"/>
                  </a:lnTo>
                  <a:lnTo>
                    <a:pt x="2167" y="1373"/>
                  </a:lnTo>
                  <a:lnTo>
                    <a:pt x="2170" y="1376"/>
                  </a:lnTo>
                  <a:lnTo>
                    <a:pt x="2170" y="1376"/>
                  </a:lnTo>
                  <a:lnTo>
                    <a:pt x="2178" y="1386"/>
                  </a:lnTo>
                  <a:lnTo>
                    <a:pt x="2178" y="1386"/>
                  </a:lnTo>
                  <a:lnTo>
                    <a:pt x="2183" y="1390"/>
                  </a:lnTo>
                  <a:lnTo>
                    <a:pt x="2186" y="1396"/>
                  </a:lnTo>
                  <a:lnTo>
                    <a:pt x="2186" y="1396"/>
                  </a:lnTo>
                  <a:lnTo>
                    <a:pt x="2191" y="1404"/>
                  </a:lnTo>
                  <a:lnTo>
                    <a:pt x="2191" y="1404"/>
                  </a:lnTo>
                  <a:lnTo>
                    <a:pt x="2196" y="1406"/>
                  </a:lnTo>
                  <a:lnTo>
                    <a:pt x="2196" y="1406"/>
                  </a:lnTo>
                  <a:lnTo>
                    <a:pt x="2199" y="1408"/>
                  </a:lnTo>
                  <a:lnTo>
                    <a:pt x="2199" y="1408"/>
                  </a:lnTo>
                  <a:lnTo>
                    <a:pt x="2201" y="1406"/>
                  </a:lnTo>
                  <a:lnTo>
                    <a:pt x="2201" y="1406"/>
                  </a:lnTo>
                  <a:lnTo>
                    <a:pt x="2212" y="1402"/>
                  </a:lnTo>
                  <a:lnTo>
                    <a:pt x="2212" y="1402"/>
                  </a:lnTo>
                  <a:lnTo>
                    <a:pt x="2217" y="1399"/>
                  </a:lnTo>
                  <a:lnTo>
                    <a:pt x="2217" y="1399"/>
                  </a:lnTo>
                  <a:lnTo>
                    <a:pt x="2223" y="1398"/>
                  </a:lnTo>
                  <a:lnTo>
                    <a:pt x="2223" y="1398"/>
                  </a:lnTo>
                  <a:lnTo>
                    <a:pt x="2225" y="1398"/>
                  </a:lnTo>
                  <a:lnTo>
                    <a:pt x="2225" y="1398"/>
                  </a:lnTo>
                  <a:lnTo>
                    <a:pt x="2235" y="1402"/>
                  </a:lnTo>
                  <a:lnTo>
                    <a:pt x="2241" y="1404"/>
                  </a:lnTo>
                  <a:lnTo>
                    <a:pt x="2248" y="1405"/>
                  </a:lnTo>
                  <a:lnTo>
                    <a:pt x="2248" y="1405"/>
                  </a:lnTo>
                  <a:lnTo>
                    <a:pt x="2252" y="1405"/>
                  </a:lnTo>
                  <a:lnTo>
                    <a:pt x="2254" y="1406"/>
                  </a:lnTo>
                  <a:lnTo>
                    <a:pt x="2254" y="1406"/>
                  </a:lnTo>
                  <a:lnTo>
                    <a:pt x="2254" y="1406"/>
                  </a:lnTo>
                  <a:lnTo>
                    <a:pt x="2254" y="1406"/>
                  </a:lnTo>
                  <a:lnTo>
                    <a:pt x="2254" y="1406"/>
                  </a:lnTo>
                  <a:lnTo>
                    <a:pt x="2254" y="1406"/>
                  </a:lnTo>
                  <a:lnTo>
                    <a:pt x="2254" y="1406"/>
                  </a:lnTo>
                  <a:lnTo>
                    <a:pt x="2254" y="1406"/>
                  </a:lnTo>
                  <a:lnTo>
                    <a:pt x="2254" y="1406"/>
                  </a:lnTo>
                  <a:lnTo>
                    <a:pt x="2254" y="1406"/>
                  </a:lnTo>
                  <a:lnTo>
                    <a:pt x="2254" y="1406"/>
                  </a:lnTo>
                  <a:lnTo>
                    <a:pt x="2254" y="1406"/>
                  </a:lnTo>
                  <a:lnTo>
                    <a:pt x="2254" y="1405"/>
                  </a:lnTo>
                  <a:lnTo>
                    <a:pt x="2254" y="1406"/>
                  </a:lnTo>
                  <a:lnTo>
                    <a:pt x="2254" y="1406"/>
                  </a:lnTo>
                  <a:lnTo>
                    <a:pt x="2254" y="1405"/>
                  </a:lnTo>
                  <a:lnTo>
                    <a:pt x="2254" y="1405"/>
                  </a:lnTo>
                  <a:lnTo>
                    <a:pt x="2252" y="1406"/>
                  </a:lnTo>
                  <a:lnTo>
                    <a:pt x="2249" y="1408"/>
                  </a:lnTo>
                  <a:lnTo>
                    <a:pt x="2249" y="1408"/>
                  </a:lnTo>
                  <a:lnTo>
                    <a:pt x="2226" y="1412"/>
                  </a:lnTo>
                  <a:lnTo>
                    <a:pt x="2226" y="1412"/>
                  </a:lnTo>
                  <a:lnTo>
                    <a:pt x="2220" y="1414"/>
                  </a:lnTo>
                  <a:lnTo>
                    <a:pt x="2216" y="1417"/>
                  </a:lnTo>
                  <a:lnTo>
                    <a:pt x="2216" y="1417"/>
                  </a:lnTo>
                  <a:lnTo>
                    <a:pt x="2213" y="1421"/>
                  </a:lnTo>
                  <a:lnTo>
                    <a:pt x="2212" y="1424"/>
                  </a:lnTo>
                  <a:lnTo>
                    <a:pt x="2212" y="1424"/>
                  </a:lnTo>
                  <a:lnTo>
                    <a:pt x="2206" y="1431"/>
                  </a:lnTo>
                  <a:lnTo>
                    <a:pt x="2206" y="1431"/>
                  </a:lnTo>
                  <a:lnTo>
                    <a:pt x="2199" y="1438"/>
                  </a:lnTo>
                  <a:lnTo>
                    <a:pt x="2199" y="1438"/>
                  </a:lnTo>
                  <a:lnTo>
                    <a:pt x="2197" y="1443"/>
                  </a:lnTo>
                  <a:lnTo>
                    <a:pt x="2196" y="1447"/>
                  </a:lnTo>
                  <a:lnTo>
                    <a:pt x="2196" y="1447"/>
                  </a:lnTo>
                  <a:lnTo>
                    <a:pt x="2197" y="1451"/>
                  </a:lnTo>
                  <a:lnTo>
                    <a:pt x="2200" y="1454"/>
                  </a:lnTo>
                  <a:lnTo>
                    <a:pt x="2200" y="1454"/>
                  </a:lnTo>
                  <a:lnTo>
                    <a:pt x="2203" y="1457"/>
                  </a:lnTo>
                  <a:lnTo>
                    <a:pt x="2203" y="1457"/>
                  </a:lnTo>
                  <a:lnTo>
                    <a:pt x="2209" y="1467"/>
                  </a:lnTo>
                  <a:lnTo>
                    <a:pt x="2213" y="1476"/>
                  </a:lnTo>
                  <a:lnTo>
                    <a:pt x="2213" y="1476"/>
                  </a:lnTo>
                  <a:lnTo>
                    <a:pt x="2214" y="1482"/>
                  </a:lnTo>
                  <a:lnTo>
                    <a:pt x="2219" y="1488"/>
                  </a:lnTo>
                  <a:lnTo>
                    <a:pt x="2219" y="1488"/>
                  </a:lnTo>
                  <a:lnTo>
                    <a:pt x="2223" y="1493"/>
                  </a:lnTo>
                  <a:lnTo>
                    <a:pt x="2228" y="1496"/>
                  </a:lnTo>
                  <a:lnTo>
                    <a:pt x="2228" y="1496"/>
                  </a:lnTo>
                  <a:lnTo>
                    <a:pt x="2229" y="1498"/>
                  </a:lnTo>
                  <a:lnTo>
                    <a:pt x="2229" y="1498"/>
                  </a:lnTo>
                  <a:lnTo>
                    <a:pt x="2233" y="1502"/>
                  </a:lnTo>
                  <a:lnTo>
                    <a:pt x="2233" y="1502"/>
                  </a:lnTo>
                  <a:lnTo>
                    <a:pt x="2233" y="1506"/>
                  </a:lnTo>
                  <a:lnTo>
                    <a:pt x="2233" y="1506"/>
                  </a:lnTo>
                  <a:lnTo>
                    <a:pt x="2233" y="1506"/>
                  </a:lnTo>
                  <a:lnTo>
                    <a:pt x="2235" y="1508"/>
                  </a:lnTo>
                  <a:lnTo>
                    <a:pt x="2235" y="1506"/>
                  </a:lnTo>
                  <a:lnTo>
                    <a:pt x="2233" y="1506"/>
                  </a:lnTo>
                  <a:lnTo>
                    <a:pt x="2235" y="1508"/>
                  </a:lnTo>
                  <a:lnTo>
                    <a:pt x="2235" y="1506"/>
                  </a:lnTo>
                  <a:lnTo>
                    <a:pt x="2235" y="1506"/>
                  </a:lnTo>
                  <a:lnTo>
                    <a:pt x="2232" y="1508"/>
                  </a:lnTo>
                  <a:lnTo>
                    <a:pt x="2232" y="1509"/>
                  </a:lnTo>
                  <a:lnTo>
                    <a:pt x="2232" y="1509"/>
                  </a:lnTo>
                  <a:lnTo>
                    <a:pt x="2230" y="1511"/>
                  </a:lnTo>
                  <a:lnTo>
                    <a:pt x="2230" y="1511"/>
                  </a:lnTo>
                  <a:lnTo>
                    <a:pt x="2230" y="1512"/>
                  </a:lnTo>
                  <a:lnTo>
                    <a:pt x="2232" y="1514"/>
                  </a:lnTo>
                  <a:lnTo>
                    <a:pt x="2232" y="1514"/>
                  </a:lnTo>
                  <a:lnTo>
                    <a:pt x="2235" y="1518"/>
                  </a:lnTo>
                  <a:lnTo>
                    <a:pt x="2235" y="1518"/>
                  </a:lnTo>
                  <a:lnTo>
                    <a:pt x="2236" y="1519"/>
                  </a:lnTo>
                  <a:lnTo>
                    <a:pt x="2238" y="1521"/>
                  </a:lnTo>
                  <a:lnTo>
                    <a:pt x="2238" y="1521"/>
                  </a:lnTo>
                  <a:lnTo>
                    <a:pt x="2238" y="1521"/>
                  </a:lnTo>
                  <a:lnTo>
                    <a:pt x="2238" y="1521"/>
                  </a:lnTo>
                  <a:lnTo>
                    <a:pt x="2238" y="1521"/>
                  </a:lnTo>
                  <a:lnTo>
                    <a:pt x="2238" y="1521"/>
                  </a:lnTo>
                  <a:lnTo>
                    <a:pt x="2238" y="1521"/>
                  </a:lnTo>
                  <a:lnTo>
                    <a:pt x="2238" y="1521"/>
                  </a:lnTo>
                  <a:lnTo>
                    <a:pt x="2238" y="1521"/>
                  </a:lnTo>
                  <a:lnTo>
                    <a:pt x="2238" y="1521"/>
                  </a:lnTo>
                  <a:lnTo>
                    <a:pt x="2238" y="1521"/>
                  </a:lnTo>
                  <a:lnTo>
                    <a:pt x="2238" y="1521"/>
                  </a:lnTo>
                  <a:lnTo>
                    <a:pt x="2238" y="1521"/>
                  </a:lnTo>
                  <a:lnTo>
                    <a:pt x="2238" y="1521"/>
                  </a:lnTo>
                  <a:lnTo>
                    <a:pt x="2238" y="1521"/>
                  </a:lnTo>
                  <a:lnTo>
                    <a:pt x="2238" y="1521"/>
                  </a:lnTo>
                  <a:lnTo>
                    <a:pt x="2235" y="1524"/>
                  </a:lnTo>
                  <a:lnTo>
                    <a:pt x="2235" y="1524"/>
                  </a:lnTo>
                  <a:lnTo>
                    <a:pt x="2228" y="1530"/>
                  </a:lnTo>
                  <a:lnTo>
                    <a:pt x="2228" y="1530"/>
                  </a:lnTo>
                  <a:lnTo>
                    <a:pt x="2225" y="1534"/>
                  </a:lnTo>
                  <a:lnTo>
                    <a:pt x="2225" y="1534"/>
                  </a:lnTo>
                  <a:lnTo>
                    <a:pt x="2223" y="1537"/>
                  </a:lnTo>
                  <a:lnTo>
                    <a:pt x="2223" y="1537"/>
                  </a:lnTo>
                  <a:lnTo>
                    <a:pt x="2223" y="1540"/>
                  </a:lnTo>
                  <a:lnTo>
                    <a:pt x="2225" y="1541"/>
                  </a:lnTo>
                  <a:lnTo>
                    <a:pt x="2225" y="1541"/>
                  </a:lnTo>
                  <a:lnTo>
                    <a:pt x="2229" y="1543"/>
                  </a:lnTo>
                  <a:lnTo>
                    <a:pt x="2229" y="1543"/>
                  </a:lnTo>
                  <a:lnTo>
                    <a:pt x="2236" y="1544"/>
                  </a:lnTo>
                  <a:lnTo>
                    <a:pt x="2236" y="1544"/>
                  </a:lnTo>
                  <a:lnTo>
                    <a:pt x="2239" y="1545"/>
                  </a:lnTo>
                  <a:lnTo>
                    <a:pt x="2239" y="1545"/>
                  </a:lnTo>
                  <a:lnTo>
                    <a:pt x="2239" y="1545"/>
                  </a:lnTo>
                  <a:lnTo>
                    <a:pt x="2239" y="1545"/>
                  </a:lnTo>
                  <a:lnTo>
                    <a:pt x="2239" y="1545"/>
                  </a:lnTo>
                  <a:lnTo>
                    <a:pt x="2239" y="1545"/>
                  </a:lnTo>
                  <a:lnTo>
                    <a:pt x="2239" y="1545"/>
                  </a:lnTo>
                  <a:lnTo>
                    <a:pt x="2239" y="1545"/>
                  </a:lnTo>
                  <a:lnTo>
                    <a:pt x="2241" y="1553"/>
                  </a:lnTo>
                  <a:lnTo>
                    <a:pt x="2241" y="1553"/>
                  </a:lnTo>
                  <a:lnTo>
                    <a:pt x="2241" y="1554"/>
                  </a:lnTo>
                  <a:lnTo>
                    <a:pt x="2241" y="1556"/>
                  </a:lnTo>
                  <a:lnTo>
                    <a:pt x="2241" y="1556"/>
                  </a:lnTo>
                  <a:lnTo>
                    <a:pt x="2241" y="1554"/>
                  </a:lnTo>
                  <a:lnTo>
                    <a:pt x="2241" y="1556"/>
                  </a:lnTo>
                  <a:lnTo>
                    <a:pt x="2241" y="1556"/>
                  </a:lnTo>
                  <a:lnTo>
                    <a:pt x="2241" y="1554"/>
                  </a:lnTo>
                  <a:lnTo>
                    <a:pt x="2241" y="1554"/>
                  </a:lnTo>
                  <a:lnTo>
                    <a:pt x="2236" y="1558"/>
                  </a:lnTo>
                  <a:lnTo>
                    <a:pt x="2235" y="1563"/>
                  </a:lnTo>
                  <a:lnTo>
                    <a:pt x="2233" y="1569"/>
                  </a:lnTo>
                  <a:lnTo>
                    <a:pt x="2233" y="1569"/>
                  </a:lnTo>
                  <a:lnTo>
                    <a:pt x="2233" y="1572"/>
                  </a:lnTo>
                  <a:lnTo>
                    <a:pt x="2233" y="1572"/>
                  </a:lnTo>
                  <a:lnTo>
                    <a:pt x="2233" y="1573"/>
                  </a:lnTo>
                  <a:lnTo>
                    <a:pt x="2233" y="1573"/>
                  </a:lnTo>
                  <a:lnTo>
                    <a:pt x="2232" y="1574"/>
                  </a:lnTo>
                  <a:lnTo>
                    <a:pt x="2232" y="1574"/>
                  </a:lnTo>
                  <a:lnTo>
                    <a:pt x="2228" y="1574"/>
                  </a:lnTo>
                  <a:lnTo>
                    <a:pt x="2228" y="1574"/>
                  </a:lnTo>
                  <a:lnTo>
                    <a:pt x="2223" y="1576"/>
                  </a:lnTo>
                  <a:lnTo>
                    <a:pt x="2217" y="1579"/>
                  </a:lnTo>
                  <a:lnTo>
                    <a:pt x="2217" y="1579"/>
                  </a:lnTo>
                  <a:lnTo>
                    <a:pt x="2213" y="1583"/>
                  </a:lnTo>
                  <a:lnTo>
                    <a:pt x="2210" y="1587"/>
                  </a:lnTo>
                  <a:lnTo>
                    <a:pt x="2210" y="1587"/>
                  </a:lnTo>
                  <a:lnTo>
                    <a:pt x="2207" y="1599"/>
                  </a:lnTo>
                  <a:lnTo>
                    <a:pt x="2207" y="1599"/>
                  </a:lnTo>
                  <a:lnTo>
                    <a:pt x="2204" y="1605"/>
                  </a:lnTo>
                  <a:lnTo>
                    <a:pt x="2204" y="1605"/>
                  </a:lnTo>
                  <a:lnTo>
                    <a:pt x="2204" y="1606"/>
                  </a:lnTo>
                  <a:lnTo>
                    <a:pt x="2204" y="1606"/>
                  </a:lnTo>
                  <a:lnTo>
                    <a:pt x="2203" y="1608"/>
                  </a:lnTo>
                  <a:lnTo>
                    <a:pt x="2203" y="1608"/>
                  </a:lnTo>
                  <a:lnTo>
                    <a:pt x="2203" y="1611"/>
                  </a:lnTo>
                  <a:lnTo>
                    <a:pt x="2203" y="1611"/>
                  </a:lnTo>
                  <a:lnTo>
                    <a:pt x="2203" y="1614"/>
                  </a:lnTo>
                  <a:lnTo>
                    <a:pt x="2203" y="1614"/>
                  </a:lnTo>
                  <a:lnTo>
                    <a:pt x="2203" y="1615"/>
                  </a:lnTo>
                  <a:lnTo>
                    <a:pt x="2203" y="1615"/>
                  </a:lnTo>
                  <a:lnTo>
                    <a:pt x="2201" y="1618"/>
                  </a:lnTo>
                  <a:lnTo>
                    <a:pt x="2201" y="1618"/>
                  </a:lnTo>
                  <a:lnTo>
                    <a:pt x="2194" y="1622"/>
                  </a:lnTo>
                  <a:lnTo>
                    <a:pt x="2194" y="1622"/>
                  </a:lnTo>
                  <a:lnTo>
                    <a:pt x="2190" y="1625"/>
                  </a:lnTo>
                  <a:lnTo>
                    <a:pt x="2190" y="1625"/>
                  </a:lnTo>
                  <a:lnTo>
                    <a:pt x="2188" y="1625"/>
                  </a:lnTo>
                  <a:lnTo>
                    <a:pt x="2188" y="1627"/>
                  </a:lnTo>
                  <a:lnTo>
                    <a:pt x="2188" y="1627"/>
                  </a:lnTo>
                  <a:lnTo>
                    <a:pt x="2187" y="1628"/>
                  </a:lnTo>
                  <a:lnTo>
                    <a:pt x="2187" y="1628"/>
                  </a:lnTo>
                  <a:lnTo>
                    <a:pt x="2187" y="1629"/>
                  </a:lnTo>
                  <a:lnTo>
                    <a:pt x="2187" y="1629"/>
                  </a:lnTo>
                  <a:lnTo>
                    <a:pt x="2187" y="1634"/>
                  </a:lnTo>
                  <a:lnTo>
                    <a:pt x="2186" y="1634"/>
                  </a:lnTo>
                  <a:lnTo>
                    <a:pt x="2186" y="1634"/>
                  </a:lnTo>
                  <a:lnTo>
                    <a:pt x="2186" y="1635"/>
                  </a:lnTo>
                  <a:lnTo>
                    <a:pt x="2186" y="1635"/>
                  </a:lnTo>
                  <a:lnTo>
                    <a:pt x="2181" y="1637"/>
                  </a:lnTo>
                  <a:lnTo>
                    <a:pt x="2181" y="1637"/>
                  </a:lnTo>
                  <a:lnTo>
                    <a:pt x="2178" y="1638"/>
                  </a:lnTo>
                  <a:lnTo>
                    <a:pt x="2178" y="1641"/>
                  </a:lnTo>
                  <a:lnTo>
                    <a:pt x="2178" y="1641"/>
                  </a:lnTo>
                  <a:lnTo>
                    <a:pt x="2175" y="1645"/>
                  </a:lnTo>
                  <a:lnTo>
                    <a:pt x="2175" y="1645"/>
                  </a:lnTo>
                  <a:lnTo>
                    <a:pt x="2168" y="1654"/>
                  </a:lnTo>
                  <a:lnTo>
                    <a:pt x="2168" y="1654"/>
                  </a:lnTo>
                  <a:lnTo>
                    <a:pt x="2164" y="1657"/>
                  </a:lnTo>
                  <a:lnTo>
                    <a:pt x="2164" y="1657"/>
                  </a:lnTo>
                  <a:lnTo>
                    <a:pt x="2161" y="1657"/>
                  </a:lnTo>
                  <a:lnTo>
                    <a:pt x="2161" y="1657"/>
                  </a:lnTo>
                  <a:lnTo>
                    <a:pt x="2158" y="1657"/>
                  </a:lnTo>
                  <a:lnTo>
                    <a:pt x="2155" y="1658"/>
                  </a:lnTo>
                  <a:lnTo>
                    <a:pt x="2151" y="1663"/>
                  </a:lnTo>
                  <a:lnTo>
                    <a:pt x="2151" y="1663"/>
                  </a:lnTo>
                  <a:lnTo>
                    <a:pt x="2146" y="1667"/>
                  </a:lnTo>
                  <a:lnTo>
                    <a:pt x="2146" y="1667"/>
                  </a:lnTo>
                  <a:lnTo>
                    <a:pt x="2144" y="1667"/>
                  </a:lnTo>
                  <a:lnTo>
                    <a:pt x="2141" y="1669"/>
                  </a:lnTo>
                  <a:lnTo>
                    <a:pt x="2141" y="1669"/>
                  </a:lnTo>
                  <a:lnTo>
                    <a:pt x="2136" y="1667"/>
                  </a:lnTo>
                  <a:lnTo>
                    <a:pt x="2136" y="1667"/>
                  </a:lnTo>
                  <a:lnTo>
                    <a:pt x="2133" y="1666"/>
                  </a:lnTo>
                  <a:lnTo>
                    <a:pt x="2130" y="1666"/>
                  </a:lnTo>
                  <a:lnTo>
                    <a:pt x="2130" y="1666"/>
                  </a:lnTo>
                  <a:lnTo>
                    <a:pt x="2128" y="1666"/>
                  </a:lnTo>
                  <a:lnTo>
                    <a:pt x="2126" y="1667"/>
                  </a:lnTo>
                  <a:lnTo>
                    <a:pt x="2126" y="1667"/>
                  </a:lnTo>
                  <a:lnTo>
                    <a:pt x="2120" y="1673"/>
                  </a:lnTo>
                  <a:lnTo>
                    <a:pt x="2120" y="1673"/>
                  </a:lnTo>
                  <a:lnTo>
                    <a:pt x="2119" y="1674"/>
                  </a:lnTo>
                  <a:lnTo>
                    <a:pt x="2119" y="1674"/>
                  </a:lnTo>
                  <a:lnTo>
                    <a:pt x="2117" y="1676"/>
                  </a:lnTo>
                  <a:lnTo>
                    <a:pt x="2117" y="1676"/>
                  </a:lnTo>
                  <a:lnTo>
                    <a:pt x="2117" y="1676"/>
                  </a:lnTo>
                  <a:lnTo>
                    <a:pt x="2113" y="1674"/>
                  </a:lnTo>
                  <a:lnTo>
                    <a:pt x="2113" y="1674"/>
                  </a:lnTo>
                  <a:lnTo>
                    <a:pt x="2110" y="1673"/>
                  </a:lnTo>
                  <a:lnTo>
                    <a:pt x="2110" y="1673"/>
                  </a:lnTo>
                  <a:lnTo>
                    <a:pt x="2107" y="1673"/>
                  </a:lnTo>
                  <a:lnTo>
                    <a:pt x="2107" y="1673"/>
                  </a:lnTo>
                  <a:lnTo>
                    <a:pt x="2106" y="1673"/>
                  </a:lnTo>
                  <a:lnTo>
                    <a:pt x="2106" y="1673"/>
                  </a:lnTo>
                  <a:lnTo>
                    <a:pt x="2104" y="1674"/>
                  </a:lnTo>
                  <a:lnTo>
                    <a:pt x="2104" y="1674"/>
                  </a:lnTo>
                  <a:lnTo>
                    <a:pt x="2104" y="1680"/>
                  </a:lnTo>
                  <a:lnTo>
                    <a:pt x="2104" y="1680"/>
                  </a:lnTo>
                  <a:lnTo>
                    <a:pt x="2103" y="1683"/>
                  </a:lnTo>
                  <a:lnTo>
                    <a:pt x="2103" y="1683"/>
                  </a:lnTo>
                  <a:lnTo>
                    <a:pt x="2103" y="1685"/>
                  </a:lnTo>
                  <a:lnTo>
                    <a:pt x="2103" y="1685"/>
                  </a:lnTo>
                  <a:lnTo>
                    <a:pt x="2102" y="1685"/>
                  </a:lnTo>
                  <a:lnTo>
                    <a:pt x="2102" y="1685"/>
                  </a:lnTo>
                  <a:lnTo>
                    <a:pt x="2091" y="1689"/>
                  </a:lnTo>
                  <a:lnTo>
                    <a:pt x="2091" y="1689"/>
                  </a:lnTo>
                  <a:lnTo>
                    <a:pt x="2080" y="1690"/>
                  </a:lnTo>
                  <a:lnTo>
                    <a:pt x="2080" y="1690"/>
                  </a:lnTo>
                  <a:lnTo>
                    <a:pt x="2068" y="1692"/>
                  </a:lnTo>
                  <a:lnTo>
                    <a:pt x="2068" y="1692"/>
                  </a:lnTo>
                  <a:lnTo>
                    <a:pt x="2062" y="1692"/>
                  </a:lnTo>
                  <a:lnTo>
                    <a:pt x="2062" y="1692"/>
                  </a:lnTo>
                  <a:lnTo>
                    <a:pt x="2058" y="1695"/>
                  </a:lnTo>
                  <a:lnTo>
                    <a:pt x="2058" y="1695"/>
                  </a:lnTo>
                  <a:lnTo>
                    <a:pt x="2054" y="1700"/>
                  </a:lnTo>
                  <a:lnTo>
                    <a:pt x="2054" y="1700"/>
                  </a:lnTo>
                  <a:lnTo>
                    <a:pt x="2052" y="1702"/>
                  </a:lnTo>
                  <a:lnTo>
                    <a:pt x="2052" y="1705"/>
                  </a:lnTo>
                  <a:lnTo>
                    <a:pt x="2052" y="1706"/>
                  </a:lnTo>
                  <a:lnTo>
                    <a:pt x="2054" y="1706"/>
                  </a:lnTo>
                  <a:lnTo>
                    <a:pt x="2052" y="1706"/>
                  </a:lnTo>
                  <a:lnTo>
                    <a:pt x="2052" y="1706"/>
                  </a:lnTo>
                  <a:lnTo>
                    <a:pt x="2054" y="1706"/>
                  </a:lnTo>
                  <a:lnTo>
                    <a:pt x="2052" y="1706"/>
                  </a:lnTo>
                  <a:lnTo>
                    <a:pt x="2054" y="1706"/>
                  </a:lnTo>
                  <a:lnTo>
                    <a:pt x="2052" y="1706"/>
                  </a:lnTo>
                  <a:lnTo>
                    <a:pt x="2052" y="1706"/>
                  </a:lnTo>
                  <a:lnTo>
                    <a:pt x="2054" y="1706"/>
                  </a:lnTo>
                  <a:lnTo>
                    <a:pt x="2052" y="1706"/>
                  </a:lnTo>
                  <a:lnTo>
                    <a:pt x="2054" y="1706"/>
                  </a:lnTo>
                  <a:lnTo>
                    <a:pt x="2052" y="1706"/>
                  </a:lnTo>
                  <a:lnTo>
                    <a:pt x="2052" y="1706"/>
                  </a:lnTo>
                  <a:lnTo>
                    <a:pt x="2054" y="1706"/>
                  </a:lnTo>
                  <a:lnTo>
                    <a:pt x="2052" y="1706"/>
                  </a:lnTo>
                  <a:lnTo>
                    <a:pt x="2052" y="1706"/>
                  </a:lnTo>
                  <a:lnTo>
                    <a:pt x="2051" y="1706"/>
                  </a:lnTo>
                  <a:lnTo>
                    <a:pt x="2051" y="1706"/>
                  </a:lnTo>
                  <a:lnTo>
                    <a:pt x="2048" y="1705"/>
                  </a:lnTo>
                  <a:lnTo>
                    <a:pt x="2048" y="1705"/>
                  </a:lnTo>
                  <a:lnTo>
                    <a:pt x="2046" y="1703"/>
                  </a:lnTo>
                  <a:lnTo>
                    <a:pt x="2046" y="1703"/>
                  </a:lnTo>
                  <a:lnTo>
                    <a:pt x="2046" y="1700"/>
                  </a:lnTo>
                  <a:lnTo>
                    <a:pt x="2046" y="1700"/>
                  </a:lnTo>
                  <a:lnTo>
                    <a:pt x="2046" y="1696"/>
                  </a:lnTo>
                  <a:lnTo>
                    <a:pt x="2046" y="1696"/>
                  </a:lnTo>
                  <a:lnTo>
                    <a:pt x="2046" y="1692"/>
                  </a:lnTo>
                  <a:lnTo>
                    <a:pt x="2046" y="1692"/>
                  </a:lnTo>
                  <a:lnTo>
                    <a:pt x="2045" y="1690"/>
                  </a:lnTo>
                  <a:lnTo>
                    <a:pt x="2045" y="1690"/>
                  </a:lnTo>
                  <a:lnTo>
                    <a:pt x="2042" y="1690"/>
                  </a:lnTo>
                  <a:lnTo>
                    <a:pt x="2041" y="1690"/>
                  </a:lnTo>
                  <a:lnTo>
                    <a:pt x="2041" y="1690"/>
                  </a:lnTo>
                  <a:lnTo>
                    <a:pt x="2038" y="1692"/>
                  </a:lnTo>
                  <a:lnTo>
                    <a:pt x="2035" y="1693"/>
                  </a:lnTo>
                  <a:lnTo>
                    <a:pt x="2035" y="1693"/>
                  </a:lnTo>
                  <a:lnTo>
                    <a:pt x="2032" y="1695"/>
                  </a:lnTo>
                  <a:lnTo>
                    <a:pt x="2031" y="1695"/>
                  </a:lnTo>
                  <a:lnTo>
                    <a:pt x="2031" y="1695"/>
                  </a:lnTo>
                  <a:lnTo>
                    <a:pt x="2031" y="1695"/>
                  </a:lnTo>
                  <a:lnTo>
                    <a:pt x="2031" y="1695"/>
                  </a:lnTo>
                  <a:lnTo>
                    <a:pt x="2029" y="1693"/>
                  </a:lnTo>
                  <a:lnTo>
                    <a:pt x="2029" y="1693"/>
                  </a:lnTo>
                  <a:lnTo>
                    <a:pt x="2028" y="1690"/>
                  </a:lnTo>
                  <a:lnTo>
                    <a:pt x="2028" y="1690"/>
                  </a:lnTo>
                  <a:lnTo>
                    <a:pt x="2025" y="1690"/>
                  </a:lnTo>
                  <a:lnTo>
                    <a:pt x="2025" y="1690"/>
                  </a:lnTo>
                  <a:lnTo>
                    <a:pt x="2022" y="1690"/>
                  </a:lnTo>
                  <a:lnTo>
                    <a:pt x="2022" y="1690"/>
                  </a:lnTo>
                  <a:lnTo>
                    <a:pt x="2016" y="1693"/>
                  </a:lnTo>
                  <a:lnTo>
                    <a:pt x="2016" y="1693"/>
                  </a:lnTo>
                  <a:lnTo>
                    <a:pt x="2004" y="1699"/>
                  </a:lnTo>
                  <a:lnTo>
                    <a:pt x="2004" y="1699"/>
                  </a:lnTo>
                  <a:lnTo>
                    <a:pt x="1999" y="1702"/>
                  </a:lnTo>
                  <a:lnTo>
                    <a:pt x="1993" y="1706"/>
                  </a:lnTo>
                  <a:lnTo>
                    <a:pt x="1993" y="1706"/>
                  </a:lnTo>
                  <a:lnTo>
                    <a:pt x="1989" y="1713"/>
                  </a:lnTo>
                  <a:lnTo>
                    <a:pt x="1989" y="1713"/>
                  </a:lnTo>
                  <a:lnTo>
                    <a:pt x="1986" y="1718"/>
                  </a:lnTo>
                  <a:lnTo>
                    <a:pt x="1986" y="1718"/>
                  </a:lnTo>
                  <a:lnTo>
                    <a:pt x="1983" y="1721"/>
                  </a:lnTo>
                  <a:lnTo>
                    <a:pt x="1983" y="1724"/>
                  </a:lnTo>
                  <a:lnTo>
                    <a:pt x="1983" y="1724"/>
                  </a:lnTo>
                  <a:lnTo>
                    <a:pt x="1981" y="1729"/>
                  </a:lnTo>
                  <a:lnTo>
                    <a:pt x="1981" y="1729"/>
                  </a:lnTo>
                  <a:lnTo>
                    <a:pt x="1980" y="1732"/>
                  </a:lnTo>
                  <a:lnTo>
                    <a:pt x="1980" y="1732"/>
                  </a:lnTo>
                  <a:lnTo>
                    <a:pt x="1980" y="1737"/>
                  </a:lnTo>
                  <a:lnTo>
                    <a:pt x="1980" y="1737"/>
                  </a:lnTo>
                  <a:lnTo>
                    <a:pt x="1981" y="1741"/>
                  </a:lnTo>
                  <a:lnTo>
                    <a:pt x="1981" y="1741"/>
                  </a:lnTo>
                  <a:lnTo>
                    <a:pt x="1984" y="1744"/>
                  </a:lnTo>
                  <a:lnTo>
                    <a:pt x="1984" y="1744"/>
                  </a:lnTo>
                  <a:lnTo>
                    <a:pt x="1990" y="1750"/>
                  </a:lnTo>
                  <a:lnTo>
                    <a:pt x="1990" y="1750"/>
                  </a:lnTo>
                  <a:lnTo>
                    <a:pt x="1996" y="1758"/>
                  </a:lnTo>
                  <a:lnTo>
                    <a:pt x="1996" y="1758"/>
                  </a:lnTo>
                  <a:lnTo>
                    <a:pt x="2003" y="1771"/>
                  </a:lnTo>
                  <a:lnTo>
                    <a:pt x="2006" y="1776"/>
                  </a:lnTo>
                  <a:lnTo>
                    <a:pt x="2010" y="1779"/>
                  </a:lnTo>
                  <a:lnTo>
                    <a:pt x="2010" y="1779"/>
                  </a:lnTo>
                  <a:lnTo>
                    <a:pt x="2020" y="1787"/>
                  </a:lnTo>
                  <a:lnTo>
                    <a:pt x="2020" y="1787"/>
                  </a:lnTo>
                  <a:lnTo>
                    <a:pt x="2026" y="1792"/>
                  </a:lnTo>
                  <a:lnTo>
                    <a:pt x="2026" y="1792"/>
                  </a:lnTo>
                  <a:lnTo>
                    <a:pt x="2029" y="1797"/>
                  </a:lnTo>
                  <a:lnTo>
                    <a:pt x="2029" y="1797"/>
                  </a:lnTo>
                  <a:lnTo>
                    <a:pt x="2033" y="1812"/>
                  </a:lnTo>
                  <a:lnTo>
                    <a:pt x="2033" y="1812"/>
                  </a:lnTo>
                  <a:lnTo>
                    <a:pt x="2036" y="1826"/>
                  </a:lnTo>
                  <a:lnTo>
                    <a:pt x="2036" y="1826"/>
                  </a:lnTo>
                  <a:lnTo>
                    <a:pt x="2036" y="1831"/>
                  </a:lnTo>
                  <a:lnTo>
                    <a:pt x="2036" y="1831"/>
                  </a:lnTo>
                  <a:lnTo>
                    <a:pt x="2035" y="1847"/>
                  </a:lnTo>
                  <a:lnTo>
                    <a:pt x="2035" y="1847"/>
                  </a:lnTo>
                  <a:lnTo>
                    <a:pt x="2032" y="1854"/>
                  </a:lnTo>
                  <a:lnTo>
                    <a:pt x="2032" y="1854"/>
                  </a:lnTo>
                  <a:lnTo>
                    <a:pt x="2031" y="1858"/>
                  </a:lnTo>
                  <a:lnTo>
                    <a:pt x="2031" y="1858"/>
                  </a:lnTo>
                  <a:lnTo>
                    <a:pt x="2019" y="1868"/>
                  </a:lnTo>
                  <a:lnTo>
                    <a:pt x="2019" y="1868"/>
                  </a:lnTo>
                  <a:lnTo>
                    <a:pt x="2012" y="1874"/>
                  </a:lnTo>
                  <a:lnTo>
                    <a:pt x="2012" y="1874"/>
                  </a:lnTo>
                  <a:lnTo>
                    <a:pt x="2010" y="1876"/>
                  </a:lnTo>
                  <a:lnTo>
                    <a:pt x="2009" y="1876"/>
                  </a:lnTo>
                  <a:lnTo>
                    <a:pt x="2009" y="1876"/>
                  </a:lnTo>
                  <a:lnTo>
                    <a:pt x="2009" y="1876"/>
                  </a:lnTo>
                  <a:lnTo>
                    <a:pt x="2009" y="1876"/>
                  </a:lnTo>
                  <a:lnTo>
                    <a:pt x="2004" y="1874"/>
                  </a:lnTo>
                  <a:lnTo>
                    <a:pt x="2004" y="1874"/>
                  </a:lnTo>
                  <a:lnTo>
                    <a:pt x="2000" y="1874"/>
                  </a:lnTo>
                  <a:lnTo>
                    <a:pt x="2000" y="1874"/>
                  </a:lnTo>
                  <a:lnTo>
                    <a:pt x="1996" y="1876"/>
                  </a:lnTo>
                  <a:lnTo>
                    <a:pt x="1996" y="1876"/>
                  </a:lnTo>
                  <a:lnTo>
                    <a:pt x="1993" y="1879"/>
                  </a:lnTo>
                  <a:lnTo>
                    <a:pt x="1993" y="1879"/>
                  </a:lnTo>
                  <a:lnTo>
                    <a:pt x="1991" y="1886"/>
                  </a:lnTo>
                  <a:lnTo>
                    <a:pt x="1991" y="1886"/>
                  </a:lnTo>
                  <a:lnTo>
                    <a:pt x="1989" y="1892"/>
                  </a:lnTo>
                  <a:lnTo>
                    <a:pt x="1989" y="1892"/>
                  </a:lnTo>
                  <a:lnTo>
                    <a:pt x="1989" y="1892"/>
                  </a:lnTo>
                  <a:lnTo>
                    <a:pt x="1989" y="1892"/>
                  </a:lnTo>
                  <a:lnTo>
                    <a:pt x="1989" y="1892"/>
                  </a:lnTo>
                  <a:lnTo>
                    <a:pt x="1989" y="1892"/>
                  </a:lnTo>
                  <a:lnTo>
                    <a:pt x="1989" y="1892"/>
                  </a:lnTo>
                  <a:lnTo>
                    <a:pt x="1987" y="1892"/>
                  </a:lnTo>
                  <a:lnTo>
                    <a:pt x="1987" y="1892"/>
                  </a:lnTo>
                  <a:lnTo>
                    <a:pt x="1981" y="1893"/>
                  </a:lnTo>
                  <a:lnTo>
                    <a:pt x="1981" y="1893"/>
                  </a:lnTo>
                  <a:lnTo>
                    <a:pt x="1977" y="1895"/>
                  </a:lnTo>
                  <a:lnTo>
                    <a:pt x="1977" y="1895"/>
                  </a:lnTo>
                  <a:lnTo>
                    <a:pt x="1976" y="1897"/>
                  </a:lnTo>
                  <a:lnTo>
                    <a:pt x="1976" y="1897"/>
                  </a:lnTo>
                  <a:lnTo>
                    <a:pt x="1970" y="1905"/>
                  </a:lnTo>
                  <a:lnTo>
                    <a:pt x="1970" y="1905"/>
                  </a:lnTo>
                  <a:lnTo>
                    <a:pt x="1967" y="1908"/>
                  </a:lnTo>
                  <a:lnTo>
                    <a:pt x="1967" y="1908"/>
                  </a:lnTo>
                  <a:lnTo>
                    <a:pt x="1965" y="1908"/>
                  </a:lnTo>
                  <a:lnTo>
                    <a:pt x="1965" y="1908"/>
                  </a:lnTo>
                  <a:lnTo>
                    <a:pt x="1965" y="1908"/>
                  </a:lnTo>
                  <a:lnTo>
                    <a:pt x="1965" y="1908"/>
                  </a:lnTo>
                  <a:lnTo>
                    <a:pt x="1965" y="1908"/>
                  </a:lnTo>
                  <a:lnTo>
                    <a:pt x="1965" y="1908"/>
                  </a:lnTo>
                  <a:lnTo>
                    <a:pt x="1965" y="1909"/>
                  </a:lnTo>
                  <a:lnTo>
                    <a:pt x="1965" y="1908"/>
                  </a:lnTo>
                  <a:lnTo>
                    <a:pt x="1965" y="1908"/>
                  </a:lnTo>
                  <a:lnTo>
                    <a:pt x="1965" y="1909"/>
                  </a:lnTo>
                  <a:lnTo>
                    <a:pt x="1965" y="1908"/>
                  </a:lnTo>
                  <a:lnTo>
                    <a:pt x="1965" y="1909"/>
                  </a:lnTo>
                  <a:lnTo>
                    <a:pt x="1967" y="1909"/>
                  </a:lnTo>
                  <a:lnTo>
                    <a:pt x="1965" y="1908"/>
                  </a:lnTo>
                  <a:lnTo>
                    <a:pt x="1965" y="1909"/>
                  </a:lnTo>
                  <a:lnTo>
                    <a:pt x="1967" y="1909"/>
                  </a:lnTo>
                  <a:lnTo>
                    <a:pt x="1965" y="1909"/>
                  </a:lnTo>
                  <a:lnTo>
                    <a:pt x="1967" y="1909"/>
                  </a:lnTo>
                  <a:lnTo>
                    <a:pt x="1967" y="1909"/>
                  </a:lnTo>
                  <a:lnTo>
                    <a:pt x="1965" y="1909"/>
                  </a:lnTo>
                  <a:lnTo>
                    <a:pt x="1967" y="1909"/>
                  </a:lnTo>
                  <a:lnTo>
                    <a:pt x="1967" y="1909"/>
                  </a:lnTo>
                  <a:lnTo>
                    <a:pt x="1967" y="1909"/>
                  </a:lnTo>
                  <a:lnTo>
                    <a:pt x="1967" y="1909"/>
                  </a:lnTo>
                  <a:lnTo>
                    <a:pt x="1967" y="1909"/>
                  </a:lnTo>
                  <a:lnTo>
                    <a:pt x="1967" y="1909"/>
                  </a:lnTo>
                  <a:lnTo>
                    <a:pt x="1967" y="1909"/>
                  </a:lnTo>
                  <a:lnTo>
                    <a:pt x="1967" y="1909"/>
                  </a:lnTo>
                  <a:lnTo>
                    <a:pt x="1967" y="1909"/>
                  </a:lnTo>
                  <a:lnTo>
                    <a:pt x="1967" y="1905"/>
                  </a:lnTo>
                  <a:lnTo>
                    <a:pt x="1967" y="1905"/>
                  </a:lnTo>
                  <a:lnTo>
                    <a:pt x="1970" y="1896"/>
                  </a:lnTo>
                  <a:lnTo>
                    <a:pt x="1970" y="1896"/>
                  </a:lnTo>
                  <a:lnTo>
                    <a:pt x="1973" y="1889"/>
                  </a:lnTo>
                  <a:lnTo>
                    <a:pt x="1973" y="1889"/>
                  </a:lnTo>
                  <a:lnTo>
                    <a:pt x="1971" y="1886"/>
                  </a:lnTo>
                  <a:lnTo>
                    <a:pt x="1971" y="1884"/>
                  </a:lnTo>
                  <a:lnTo>
                    <a:pt x="1971" y="1884"/>
                  </a:lnTo>
                  <a:lnTo>
                    <a:pt x="1964" y="1879"/>
                  </a:lnTo>
                  <a:lnTo>
                    <a:pt x="1964" y="1879"/>
                  </a:lnTo>
                  <a:lnTo>
                    <a:pt x="1960" y="1874"/>
                  </a:lnTo>
                  <a:lnTo>
                    <a:pt x="1957" y="1870"/>
                  </a:lnTo>
                  <a:lnTo>
                    <a:pt x="1957" y="1870"/>
                  </a:lnTo>
                  <a:lnTo>
                    <a:pt x="1955" y="1867"/>
                  </a:lnTo>
                  <a:lnTo>
                    <a:pt x="1955" y="1867"/>
                  </a:lnTo>
                  <a:lnTo>
                    <a:pt x="1951" y="1867"/>
                  </a:lnTo>
                  <a:lnTo>
                    <a:pt x="1951" y="1867"/>
                  </a:lnTo>
                  <a:lnTo>
                    <a:pt x="1945" y="1868"/>
                  </a:lnTo>
                  <a:lnTo>
                    <a:pt x="1945" y="1868"/>
                  </a:lnTo>
                  <a:lnTo>
                    <a:pt x="1941" y="1868"/>
                  </a:lnTo>
                  <a:lnTo>
                    <a:pt x="1941" y="1868"/>
                  </a:lnTo>
                  <a:lnTo>
                    <a:pt x="1941" y="1868"/>
                  </a:lnTo>
                  <a:lnTo>
                    <a:pt x="1941" y="1868"/>
                  </a:lnTo>
                  <a:lnTo>
                    <a:pt x="1941" y="1868"/>
                  </a:lnTo>
                  <a:lnTo>
                    <a:pt x="1941" y="1868"/>
                  </a:lnTo>
                  <a:lnTo>
                    <a:pt x="1941" y="1868"/>
                  </a:lnTo>
                  <a:lnTo>
                    <a:pt x="1941" y="1870"/>
                  </a:lnTo>
                  <a:lnTo>
                    <a:pt x="1941" y="1868"/>
                  </a:lnTo>
                  <a:lnTo>
                    <a:pt x="1941" y="1868"/>
                  </a:lnTo>
                  <a:lnTo>
                    <a:pt x="1941" y="1870"/>
                  </a:lnTo>
                  <a:lnTo>
                    <a:pt x="1941" y="1868"/>
                  </a:lnTo>
                  <a:lnTo>
                    <a:pt x="1941" y="1870"/>
                  </a:lnTo>
                  <a:lnTo>
                    <a:pt x="1941" y="1870"/>
                  </a:lnTo>
                  <a:lnTo>
                    <a:pt x="1941" y="1868"/>
                  </a:lnTo>
                  <a:lnTo>
                    <a:pt x="1941" y="1870"/>
                  </a:lnTo>
                  <a:lnTo>
                    <a:pt x="1941" y="1870"/>
                  </a:lnTo>
                  <a:lnTo>
                    <a:pt x="1941" y="1870"/>
                  </a:lnTo>
                  <a:lnTo>
                    <a:pt x="1941" y="1870"/>
                  </a:lnTo>
                  <a:lnTo>
                    <a:pt x="1941" y="1870"/>
                  </a:lnTo>
                  <a:lnTo>
                    <a:pt x="1941" y="1870"/>
                  </a:lnTo>
                  <a:lnTo>
                    <a:pt x="1941" y="1870"/>
                  </a:lnTo>
                  <a:lnTo>
                    <a:pt x="1936" y="1858"/>
                  </a:lnTo>
                  <a:lnTo>
                    <a:pt x="1936" y="1858"/>
                  </a:lnTo>
                  <a:lnTo>
                    <a:pt x="1934" y="1851"/>
                  </a:lnTo>
                  <a:lnTo>
                    <a:pt x="1934" y="1851"/>
                  </a:lnTo>
                  <a:lnTo>
                    <a:pt x="1932" y="1850"/>
                  </a:lnTo>
                  <a:lnTo>
                    <a:pt x="1932" y="1850"/>
                  </a:lnTo>
                  <a:lnTo>
                    <a:pt x="1928" y="1848"/>
                  </a:lnTo>
                  <a:lnTo>
                    <a:pt x="1928" y="1848"/>
                  </a:lnTo>
                  <a:lnTo>
                    <a:pt x="1925" y="1848"/>
                  </a:lnTo>
                  <a:lnTo>
                    <a:pt x="1925" y="1848"/>
                  </a:lnTo>
                  <a:lnTo>
                    <a:pt x="1923" y="1850"/>
                  </a:lnTo>
                  <a:lnTo>
                    <a:pt x="1923" y="1850"/>
                  </a:lnTo>
                  <a:lnTo>
                    <a:pt x="1923" y="1850"/>
                  </a:lnTo>
                  <a:lnTo>
                    <a:pt x="1923" y="1850"/>
                  </a:lnTo>
                  <a:lnTo>
                    <a:pt x="1923" y="1850"/>
                  </a:lnTo>
                  <a:lnTo>
                    <a:pt x="1923" y="1850"/>
                  </a:lnTo>
                  <a:lnTo>
                    <a:pt x="1923" y="1850"/>
                  </a:lnTo>
                  <a:lnTo>
                    <a:pt x="1925" y="1850"/>
                  </a:lnTo>
                  <a:lnTo>
                    <a:pt x="1923" y="1850"/>
                  </a:lnTo>
                  <a:lnTo>
                    <a:pt x="1923" y="1850"/>
                  </a:lnTo>
                  <a:lnTo>
                    <a:pt x="1925" y="1850"/>
                  </a:lnTo>
                  <a:lnTo>
                    <a:pt x="1923" y="1848"/>
                  </a:lnTo>
                  <a:lnTo>
                    <a:pt x="1923" y="1848"/>
                  </a:lnTo>
                  <a:lnTo>
                    <a:pt x="1923" y="1848"/>
                  </a:lnTo>
                  <a:lnTo>
                    <a:pt x="1923" y="1848"/>
                  </a:lnTo>
                  <a:lnTo>
                    <a:pt x="1919" y="1839"/>
                  </a:lnTo>
                  <a:lnTo>
                    <a:pt x="1919" y="1839"/>
                  </a:lnTo>
                  <a:lnTo>
                    <a:pt x="1918" y="1837"/>
                  </a:lnTo>
                  <a:lnTo>
                    <a:pt x="1918" y="1837"/>
                  </a:lnTo>
                  <a:lnTo>
                    <a:pt x="1915" y="1835"/>
                  </a:lnTo>
                  <a:lnTo>
                    <a:pt x="1913" y="1834"/>
                  </a:lnTo>
                  <a:lnTo>
                    <a:pt x="1913" y="1834"/>
                  </a:lnTo>
                  <a:lnTo>
                    <a:pt x="1909" y="1835"/>
                  </a:lnTo>
                  <a:lnTo>
                    <a:pt x="1909" y="1835"/>
                  </a:lnTo>
                  <a:lnTo>
                    <a:pt x="1906" y="1835"/>
                  </a:lnTo>
                  <a:lnTo>
                    <a:pt x="1906" y="1835"/>
                  </a:lnTo>
                  <a:lnTo>
                    <a:pt x="1905" y="1835"/>
                  </a:lnTo>
                  <a:lnTo>
                    <a:pt x="1905" y="1835"/>
                  </a:lnTo>
                  <a:lnTo>
                    <a:pt x="1902" y="1829"/>
                  </a:lnTo>
                  <a:lnTo>
                    <a:pt x="1902" y="1829"/>
                  </a:lnTo>
                  <a:lnTo>
                    <a:pt x="1900" y="1828"/>
                  </a:lnTo>
                  <a:lnTo>
                    <a:pt x="1900" y="1828"/>
                  </a:lnTo>
                  <a:lnTo>
                    <a:pt x="1899" y="1826"/>
                  </a:lnTo>
                  <a:lnTo>
                    <a:pt x="1899" y="1826"/>
                  </a:lnTo>
                  <a:lnTo>
                    <a:pt x="1896" y="1825"/>
                  </a:lnTo>
                  <a:lnTo>
                    <a:pt x="1896" y="1825"/>
                  </a:lnTo>
                  <a:lnTo>
                    <a:pt x="1894" y="1826"/>
                  </a:lnTo>
                  <a:lnTo>
                    <a:pt x="1894" y="1826"/>
                  </a:lnTo>
                  <a:lnTo>
                    <a:pt x="1893" y="1828"/>
                  </a:lnTo>
                  <a:lnTo>
                    <a:pt x="1893" y="1828"/>
                  </a:lnTo>
                  <a:lnTo>
                    <a:pt x="1892" y="1831"/>
                  </a:lnTo>
                  <a:lnTo>
                    <a:pt x="1892" y="1831"/>
                  </a:lnTo>
                  <a:lnTo>
                    <a:pt x="1886" y="1847"/>
                  </a:lnTo>
                  <a:lnTo>
                    <a:pt x="1886" y="1847"/>
                  </a:lnTo>
                  <a:lnTo>
                    <a:pt x="1881" y="1863"/>
                  </a:lnTo>
                  <a:lnTo>
                    <a:pt x="1881" y="1863"/>
                  </a:lnTo>
                  <a:lnTo>
                    <a:pt x="1877" y="1873"/>
                  </a:lnTo>
                  <a:lnTo>
                    <a:pt x="1877" y="1873"/>
                  </a:lnTo>
                  <a:lnTo>
                    <a:pt x="1874" y="1880"/>
                  </a:lnTo>
                  <a:lnTo>
                    <a:pt x="1874" y="1880"/>
                  </a:lnTo>
                  <a:lnTo>
                    <a:pt x="1873" y="1883"/>
                  </a:lnTo>
                  <a:lnTo>
                    <a:pt x="1873" y="1886"/>
                  </a:lnTo>
                  <a:lnTo>
                    <a:pt x="1873" y="1886"/>
                  </a:lnTo>
                  <a:lnTo>
                    <a:pt x="1874" y="1895"/>
                  </a:lnTo>
                  <a:lnTo>
                    <a:pt x="1874" y="1895"/>
                  </a:lnTo>
                  <a:lnTo>
                    <a:pt x="1876" y="1897"/>
                  </a:lnTo>
                  <a:lnTo>
                    <a:pt x="1876" y="1897"/>
                  </a:lnTo>
                  <a:lnTo>
                    <a:pt x="1876" y="1899"/>
                  </a:lnTo>
                  <a:lnTo>
                    <a:pt x="1876" y="1899"/>
                  </a:lnTo>
                  <a:lnTo>
                    <a:pt x="1878" y="1900"/>
                  </a:lnTo>
                  <a:lnTo>
                    <a:pt x="1878" y="1900"/>
                  </a:lnTo>
                  <a:lnTo>
                    <a:pt x="1880" y="1900"/>
                  </a:lnTo>
                  <a:lnTo>
                    <a:pt x="1880" y="1900"/>
                  </a:lnTo>
                  <a:lnTo>
                    <a:pt x="1880" y="1900"/>
                  </a:lnTo>
                  <a:lnTo>
                    <a:pt x="1883" y="1899"/>
                  </a:lnTo>
                  <a:lnTo>
                    <a:pt x="1883" y="1899"/>
                  </a:lnTo>
                  <a:lnTo>
                    <a:pt x="1883" y="1899"/>
                  </a:lnTo>
                  <a:lnTo>
                    <a:pt x="1884" y="1900"/>
                  </a:lnTo>
                  <a:lnTo>
                    <a:pt x="1884" y="1900"/>
                  </a:lnTo>
                  <a:lnTo>
                    <a:pt x="1890" y="1919"/>
                  </a:lnTo>
                  <a:lnTo>
                    <a:pt x="1890" y="1919"/>
                  </a:lnTo>
                  <a:lnTo>
                    <a:pt x="1896" y="1929"/>
                  </a:lnTo>
                  <a:lnTo>
                    <a:pt x="1896" y="1929"/>
                  </a:lnTo>
                  <a:lnTo>
                    <a:pt x="1899" y="1934"/>
                  </a:lnTo>
                  <a:lnTo>
                    <a:pt x="1902" y="1937"/>
                  </a:lnTo>
                  <a:lnTo>
                    <a:pt x="1902" y="1937"/>
                  </a:lnTo>
                  <a:lnTo>
                    <a:pt x="1910" y="1941"/>
                  </a:lnTo>
                  <a:lnTo>
                    <a:pt x="1910" y="1941"/>
                  </a:lnTo>
                  <a:lnTo>
                    <a:pt x="1920" y="1948"/>
                  </a:lnTo>
                  <a:lnTo>
                    <a:pt x="1920" y="1948"/>
                  </a:lnTo>
                  <a:lnTo>
                    <a:pt x="1935" y="1961"/>
                  </a:lnTo>
                  <a:lnTo>
                    <a:pt x="1935" y="1961"/>
                  </a:lnTo>
                  <a:lnTo>
                    <a:pt x="1941" y="1967"/>
                  </a:lnTo>
                  <a:lnTo>
                    <a:pt x="1941" y="1967"/>
                  </a:lnTo>
                  <a:lnTo>
                    <a:pt x="1942" y="1968"/>
                  </a:lnTo>
                  <a:lnTo>
                    <a:pt x="1942" y="1970"/>
                  </a:lnTo>
                  <a:lnTo>
                    <a:pt x="1942" y="1970"/>
                  </a:lnTo>
                  <a:lnTo>
                    <a:pt x="1942" y="1970"/>
                  </a:lnTo>
                  <a:lnTo>
                    <a:pt x="1942" y="1970"/>
                  </a:lnTo>
                  <a:lnTo>
                    <a:pt x="1942" y="1970"/>
                  </a:lnTo>
                  <a:lnTo>
                    <a:pt x="1942" y="1970"/>
                  </a:lnTo>
                  <a:lnTo>
                    <a:pt x="1942" y="1970"/>
                  </a:lnTo>
                  <a:lnTo>
                    <a:pt x="1942" y="1970"/>
                  </a:lnTo>
                  <a:lnTo>
                    <a:pt x="1942" y="1983"/>
                  </a:lnTo>
                  <a:lnTo>
                    <a:pt x="1942" y="1983"/>
                  </a:lnTo>
                  <a:lnTo>
                    <a:pt x="1944" y="1993"/>
                  </a:lnTo>
                  <a:lnTo>
                    <a:pt x="1944" y="1993"/>
                  </a:lnTo>
                  <a:lnTo>
                    <a:pt x="1945" y="1997"/>
                  </a:lnTo>
                  <a:lnTo>
                    <a:pt x="1947" y="2000"/>
                  </a:lnTo>
                  <a:lnTo>
                    <a:pt x="1947" y="2000"/>
                  </a:lnTo>
                  <a:lnTo>
                    <a:pt x="1951" y="2010"/>
                  </a:lnTo>
                  <a:lnTo>
                    <a:pt x="1951" y="2010"/>
                  </a:lnTo>
                  <a:lnTo>
                    <a:pt x="1954" y="2018"/>
                  </a:lnTo>
                  <a:lnTo>
                    <a:pt x="1954" y="2018"/>
                  </a:lnTo>
                  <a:lnTo>
                    <a:pt x="1954" y="2022"/>
                  </a:lnTo>
                  <a:lnTo>
                    <a:pt x="1954" y="2022"/>
                  </a:lnTo>
                  <a:lnTo>
                    <a:pt x="1954" y="2022"/>
                  </a:lnTo>
                  <a:lnTo>
                    <a:pt x="1955" y="2022"/>
                  </a:lnTo>
                  <a:lnTo>
                    <a:pt x="1954" y="2022"/>
                  </a:lnTo>
                  <a:lnTo>
                    <a:pt x="1954" y="2022"/>
                  </a:lnTo>
                  <a:lnTo>
                    <a:pt x="1955" y="2022"/>
                  </a:lnTo>
                  <a:lnTo>
                    <a:pt x="1954" y="2022"/>
                  </a:lnTo>
                  <a:lnTo>
                    <a:pt x="1955" y="2023"/>
                  </a:lnTo>
                  <a:lnTo>
                    <a:pt x="1955" y="2021"/>
                  </a:lnTo>
                  <a:lnTo>
                    <a:pt x="1955" y="2021"/>
                  </a:lnTo>
                  <a:lnTo>
                    <a:pt x="1954" y="2022"/>
                  </a:lnTo>
                  <a:lnTo>
                    <a:pt x="1955" y="2023"/>
                  </a:lnTo>
                  <a:lnTo>
                    <a:pt x="1955" y="2021"/>
                  </a:lnTo>
                  <a:lnTo>
                    <a:pt x="1955" y="2021"/>
                  </a:lnTo>
                  <a:lnTo>
                    <a:pt x="1949" y="2021"/>
                  </a:lnTo>
                  <a:lnTo>
                    <a:pt x="1949" y="2021"/>
                  </a:lnTo>
                  <a:lnTo>
                    <a:pt x="1939" y="2018"/>
                  </a:lnTo>
                  <a:lnTo>
                    <a:pt x="1939" y="2018"/>
                  </a:lnTo>
                  <a:lnTo>
                    <a:pt x="1935" y="2016"/>
                  </a:lnTo>
                  <a:lnTo>
                    <a:pt x="1935" y="2016"/>
                  </a:lnTo>
                  <a:lnTo>
                    <a:pt x="1923" y="2008"/>
                  </a:lnTo>
                  <a:lnTo>
                    <a:pt x="1923" y="2008"/>
                  </a:lnTo>
                  <a:lnTo>
                    <a:pt x="1915" y="2000"/>
                  </a:lnTo>
                  <a:lnTo>
                    <a:pt x="1915" y="2000"/>
                  </a:lnTo>
                  <a:lnTo>
                    <a:pt x="1912" y="1997"/>
                  </a:lnTo>
                  <a:lnTo>
                    <a:pt x="1909" y="1993"/>
                  </a:lnTo>
                  <a:lnTo>
                    <a:pt x="1909" y="1993"/>
                  </a:lnTo>
                  <a:lnTo>
                    <a:pt x="1903" y="1984"/>
                  </a:lnTo>
                  <a:lnTo>
                    <a:pt x="1903" y="1984"/>
                  </a:lnTo>
                  <a:lnTo>
                    <a:pt x="1902" y="1980"/>
                  </a:lnTo>
                  <a:lnTo>
                    <a:pt x="1900" y="1974"/>
                  </a:lnTo>
                  <a:lnTo>
                    <a:pt x="1900" y="1974"/>
                  </a:lnTo>
                  <a:lnTo>
                    <a:pt x="1896" y="1961"/>
                  </a:lnTo>
                  <a:lnTo>
                    <a:pt x="1896" y="1961"/>
                  </a:lnTo>
                  <a:lnTo>
                    <a:pt x="1896" y="1960"/>
                  </a:lnTo>
                  <a:lnTo>
                    <a:pt x="1896" y="1960"/>
                  </a:lnTo>
                  <a:lnTo>
                    <a:pt x="1896" y="1955"/>
                  </a:lnTo>
                  <a:lnTo>
                    <a:pt x="1896" y="1955"/>
                  </a:lnTo>
                  <a:lnTo>
                    <a:pt x="1897" y="1951"/>
                  </a:lnTo>
                  <a:lnTo>
                    <a:pt x="1897" y="1951"/>
                  </a:lnTo>
                  <a:lnTo>
                    <a:pt x="1896" y="1948"/>
                  </a:lnTo>
                  <a:lnTo>
                    <a:pt x="1896" y="1948"/>
                  </a:lnTo>
                  <a:lnTo>
                    <a:pt x="1894" y="1944"/>
                  </a:lnTo>
                  <a:lnTo>
                    <a:pt x="1894" y="1944"/>
                  </a:lnTo>
                  <a:lnTo>
                    <a:pt x="1889" y="1935"/>
                  </a:lnTo>
                  <a:lnTo>
                    <a:pt x="1881" y="1926"/>
                  </a:lnTo>
                  <a:lnTo>
                    <a:pt x="1881" y="1926"/>
                  </a:lnTo>
                  <a:lnTo>
                    <a:pt x="1874" y="1919"/>
                  </a:lnTo>
                  <a:lnTo>
                    <a:pt x="1874" y="1919"/>
                  </a:lnTo>
                  <a:lnTo>
                    <a:pt x="1870" y="1915"/>
                  </a:lnTo>
                  <a:lnTo>
                    <a:pt x="1870" y="1915"/>
                  </a:lnTo>
                  <a:lnTo>
                    <a:pt x="1865" y="1912"/>
                  </a:lnTo>
                  <a:lnTo>
                    <a:pt x="1865" y="1912"/>
                  </a:lnTo>
                  <a:lnTo>
                    <a:pt x="1863" y="1909"/>
                  </a:lnTo>
                  <a:lnTo>
                    <a:pt x="1863" y="1909"/>
                  </a:lnTo>
                  <a:lnTo>
                    <a:pt x="1861" y="1905"/>
                  </a:lnTo>
                  <a:lnTo>
                    <a:pt x="1861" y="1905"/>
                  </a:lnTo>
                  <a:lnTo>
                    <a:pt x="1858" y="1895"/>
                  </a:lnTo>
                  <a:lnTo>
                    <a:pt x="1858" y="1895"/>
                  </a:lnTo>
                  <a:lnTo>
                    <a:pt x="1857" y="1887"/>
                  </a:lnTo>
                  <a:lnTo>
                    <a:pt x="1857" y="1886"/>
                  </a:lnTo>
                  <a:lnTo>
                    <a:pt x="1857" y="1886"/>
                  </a:lnTo>
                  <a:lnTo>
                    <a:pt x="1858" y="1882"/>
                  </a:lnTo>
                  <a:lnTo>
                    <a:pt x="1858" y="1882"/>
                  </a:lnTo>
                  <a:lnTo>
                    <a:pt x="1861" y="1876"/>
                  </a:lnTo>
                  <a:lnTo>
                    <a:pt x="1861" y="1876"/>
                  </a:lnTo>
                  <a:lnTo>
                    <a:pt x="1864" y="1868"/>
                  </a:lnTo>
                  <a:lnTo>
                    <a:pt x="1865" y="1861"/>
                  </a:lnTo>
                  <a:lnTo>
                    <a:pt x="1865" y="1860"/>
                  </a:lnTo>
                  <a:lnTo>
                    <a:pt x="1865" y="1860"/>
                  </a:lnTo>
                  <a:lnTo>
                    <a:pt x="1865" y="1860"/>
                  </a:lnTo>
                  <a:lnTo>
                    <a:pt x="1865" y="1860"/>
                  </a:lnTo>
                  <a:lnTo>
                    <a:pt x="1865" y="1860"/>
                  </a:lnTo>
                  <a:lnTo>
                    <a:pt x="1865" y="1857"/>
                  </a:lnTo>
                  <a:lnTo>
                    <a:pt x="1865" y="1857"/>
                  </a:lnTo>
                  <a:lnTo>
                    <a:pt x="1867" y="1851"/>
                  </a:lnTo>
                  <a:lnTo>
                    <a:pt x="1868" y="1842"/>
                  </a:lnTo>
                  <a:lnTo>
                    <a:pt x="1868" y="1842"/>
                  </a:lnTo>
                  <a:lnTo>
                    <a:pt x="1868" y="1839"/>
                  </a:lnTo>
                  <a:lnTo>
                    <a:pt x="1867" y="1837"/>
                  </a:lnTo>
                  <a:lnTo>
                    <a:pt x="1867" y="1837"/>
                  </a:lnTo>
                  <a:lnTo>
                    <a:pt x="1864" y="1828"/>
                  </a:lnTo>
                  <a:lnTo>
                    <a:pt x="1864" y="1828"/>
                  </a:lnTo>
                  <a:lnTo>
                    <a:pt x="1860" y="1813"/>
                  </a:lnTo>
                  <a:lnTo>
                    <a:pt x="1860" y="1813"/>
                  </a:lnTo>
                  <a:lnTo>
                    <a:pt x="1852" y="1790"/>
                  </a:lnTo>
                  <a:lnTo>
                    <a:pt x="1852" y="1790"/>
                  </a:lnTo>
                  <a:lnTo>
                    <a:pt x="1849" y="1779"/>
                  </a:lnTo>
                  <a:lnTo>
                    <a:pt x="1849" y="1779"/>
                  </a:lnTo>
                  <a:lnTo>
                    <a:pt x="1848" y="1776"/>
                  </a:lnTo>
                  <a:lnTo>
                    <a:pt x="1848" y="1776"/>
                  </a:lnTo>
                  <a:lnTo>
                    <a:pt x="1847" y="1774"/>
                  </a:lnTo>
                  <a:lnTo>
                    <a:pt x="1847" y="1774"/>
                  </a:lnTo>
                  <a:lnTo>
                    <a:pt x="1845" y="1773"/>
                  </a:lnTo>
                  <a:lnTo>
                    <a:pt x="1845" y="1773"/>
                  </a:lnTo>
                  <a:lnTo>
                    <a:pt x="1842" y="1771"/>
                  </a:lnTo>
                  <a:lnTo>
                    <a:pt x="1842" y="1770"/>
                  </a:lnTo>
                  <a:lnTo>
                    <a:pt x="1842" y="1770"/>
                  </a:lnTo>
                  <a:lnTo>
                    <a:pt x="1841" y="1770"/>
                  </a:lnTo>
                  <a:lnTo>
                    <a:pt x="1841" y="1770"/>
                  </a:lnTo>
                  <a:lnTo>
                    <a:pt x="1841" y="1769"/>
                  </a:lnTo>
                  <a:lnTo>
                    <a:pt x="1841" y="1769"/>
                  </a:lnTo>
                  <a:lnTo>
                    <a:pt x="1838" y="1767"/>
                  </a:lnTo>
                  <a:lnTo>
                    <a:pt x="1838" y="1767"/>
                  </a:lnTo>
                  <a:lnTo>
                    <a:pt x="1836" y="1769"/>
                  </a:lnTo>
                  <a:lnTo>
                    <a:pt x="1836" y="1769"/>
                  </a:lnTo>
                  <a:lnTo>
                    <a:pt x="1834" y="1770"/>
                  </a:lnTo>
                  <a:lnTo>
                    <a:pt x="1834" y="1770"/>
                  </a:lnTo>
                  <a:lnTo>
                    <a:pt x="1828" y="1776"/>
                  </a:lnTo>
                  <a:lnTo>
                    <a:pt x="1828" y="1776"/>
                  </a:lnTo>
                  <a:lnTo>
                    <a:pt x="1822" y="1780"/>
                  </a:lnTo>
                  <a:lnTo>
                    <a:pt x="1822" y="1780"/>
                  </a:lnTo>
                  <a:lnTo>
                    <a:pt x="1813" y="1784"/>
                  </a:lnTo>
                  <a:lnTo>
                    <a:pt x="1813" y="1784"/>
                  </a:lnTo>
                  <a:lnTo>
                    <a:pt x="1807" y="1787"/>
                  </a:lnTo>
                  <a:lnTo>
                    <a:pt x="1807" y="1787"/>
                  </a:lnTo>
                  <a:lnTo>
                    <a:pt x="1805" y="1786"/>
                  </a:lnTo>
                  <a:lnTo>
                    <a:pt x="1805" y="1786"/>
                  </a:lnTo>
                  <a:lnTo>
                    <a:pt x="1799" y="1783"/>
                  </a:lnTo>
                  <a:lnTo>
                    <a:pt x="1799" y="1783"/>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800" y="1770"/>
                  </a:lnTo>
                  <a:lnTo>
                    <a:pt x="1800" y="1770"/>
                  </a:lnTo>
                  <a:lnTo>
                    <a:pt x="1802" y="1764"/>
                  </a:lnTo>
                  <a:lnTo>
                    <a:pt x="1803" y="1758"/>
                  </a:lnTo>
                  <a:lnTo>
                    <a:pt x="1803" y="1758"/>
                  </a:lnTo>
                  <a:lnTo>
                    <a:pt x="1803" y="1755"/>
                  </a:lnTo>
                  <a:lnTo>
                    <a:pt x="1803" y="1755"/>
                  </a:lnTo>
                  <a:lnTo>
                    <a:pt x="1800" y="1745"/>
                  </a:lnTo>
                  <a:lnTo>
                    <a:pt x="1797" y="1738"/>
                  </a:lnTo>
                  <a:lnTo>
                    <a:pt x="1792" y="1732"/>
                  </a:lnTo>
                  <a:lnTo>
                    <a:pt x="1792" y="1732"/>
                  </a:lnTo>
                  <a:lnTo>
                    <a:pt x="1781" y="1721"/>
                  </a:lnTo>
                  <a:lnTo>
                    <a:pt x="1771" y="1712"/>
                  </a:lnTo>
                  <a:lnTo>
                    <a:pt x="1771" y="1712"/>
                  </a:lnTo>
                  <a:lnTo>
                    <a:pt x="1767" y="1705"/>
                  </a:lnTo>
                  <a:lnTo>
                    <a:pt x="1763" y="1698"/>
                  </a:lnTo>
                  <a:lnTo>
                    <a:pt x="1763" y="1698"/>
                  </a:lnTo>
                  <a:lnTo>
                    <a:pt x="1758" y="1683"/>
                  </a:lnTo>
                  <a:lnTo>
                    <a:pt x="1758" y="1683"/>
                  </a:lnTo>
                  <a:lnTo>
                    <a:pt x="1755" y="1674"/>
                  </a:lnTo>
                  <a:lnTo>
                    <a:pt x="1755" y="1674"/>
                  </a:lnTo>
                  <a:lnTo>
                    <a:pt x="1752" y="1670"/>
                  </a:lnTo>
                  <a:lnTo>
                    <a:pt x="1752" y="1670"/>
                  </a:lnTo>
                  <a:lnTo>
                    <a:pt x="1752" y="1669"/>
                  </a:lnTo>
                  <a:lnTo>
                    <a:pt x="1751" y="1669"/>
                  </a:lnTo>
                  <a:lnTo>
                    <a:pt x="1751" y="1669"/>
                  </a:lnTo>
                  <a:lnTo>
                    <a:pt x="1750" y="1667"/>
                  </a:lnTo>
                  <a:lnTo>
                    <a:pt x="1750" y="1667"/>
                  </a:lnTo>
                  <a:lnTo>
                    <a:pt x="1748" y="1669"/>
                  </a:lnTo>
                  <a:lnTo>
                    <a:pt x="1748" y="1669"/>
                  </a:lnTo>
                  <a:lnTo>
                    <a:pt x="1747" y="1670"/>
                  </a:lnTo>
                  <a:lnTo>
                    <a:pt x="1747" y="1670"/>
                  </a:lnTo>
                  <a:lnTo>
                    <a:pt x="1747" y="1670"/>
                  </a:lnTo>
                  <a:lnTo>
                    <a:pt x="1747" y="1673"/>
                  </a:lnTo>
                  <a:lnTo>
                    <a:pt x="1745" y="1674"/>
                  </a:lnTo>
                  <a:lnTo>
                    <a:pt x="1745" y="1674"/>
                  </a:lnTo>
                  <a:lnTo>
                    <a:pt x="1745" y="1674"/>
                  </a:lnTo>
                  <a:lnTo>
                    <a:pt x="1745" y="1674"/>
                  </a:lnTo>
                  <a:lnTo>
                    <a:pt x="1745" y="1674"/>
                  </a:lnTo>
                  <a:lnTo>
                    <a:pt x="1745" y="1674"/>
                  </a:lnTo>
                  <a:lnTo>
                    <a:pt x="1745" y="1674"/>
                  </a:lnTo>
                  <a:lnTo>
                    <a:pt x="1745" y="1674"/>
                  </a:lnTo>
                  <a:lnTo>
                    <a:pt x="1745" y="1674"/>
                  </a:lnTo>
                  <a:lnTo>
                    <a:pt x="1745" y="1674"/>
                  </a:lnTo>
                  <a:lnTo>
                    <a:pt x="1745" y="1674"/>
                  </a:lnTo>
                  <a:lnTo>
                    <a:pt x="1745" y="1674"/>
                  </a:lnTo>
                  <a:lnTo>
                    <a:pt x="1745" y="1674"/>
                  </a:lnTo>
                  <a:lnTo>
                    <a:pt x="1745" y="1674"/>
                  </a:lnTo>
                  <a:lnTo>
                    <a:pt x="1744" y="1673"/>
                  </a:lnTo>
                  <a:lnTo>
                    <a:pt x="1741" y="1671"/>
                  </a:lnTo>
                  <a:lnTo>
                    <a:pt x="1741" y="1671"/>
                  </a:lnTo>
                  <a:lnTo>
                    <a:pt x="1737" y="1673"/>
                  </a:lnTo>
                  <a:lnTo>
                    <a:pt x="1737" y="1673"/>
                  </a:lnTo>
                  <a:lnTo>
                    <a:pt x="1735" y="1674"/>
                  </a:lnTo>
                  <a:lnTo>
                    <a:pt x="1735" y="1677"/>
                  </a:lnTo>
                  <a:lnTo>
                    <a:pt x="1735" y="1677"/>
                  </a:lnTo>
                  <a:lnTo>
                    <a:pt x="1735" y="1677"/>
                  </a:lnTo>
                  <a:lnTo>
                    <a:pt x="1735" y="1677"/>
                  </a:lnTo>
                  <a:lnTo>
                    <a:pt x="1735" y="1682"/>
                  </a:lnTo>
                  <a:lnTo>
                    <a:pt x="1735" y="1683"/>
                  </a:lnTo>
                  <a:lnTo>
                    <a:pt x="1735" y="1683"/>
                  </a:lnTo>
                  <a:lnTo>
                    <a:pt x="1737" y="1683"/>
                  </a:lnTo>
                  <a:lnTo>
                    <a:pt x="1735" y="1683"/>
                  </a:lnTo>
                  <a:lnTo>
                    <a:pt x="1735" y="1683"/>
                  </a:lnTo>
                  <a:lnTo>
                    <a:pt x="1737" y="1683"/>
                  </a:lnTo>
                  <a:lnTo>
                    <a:pt x="1735" y="1683"/>
                  </a:lnTo>
                  <a:lnTo>
                    <a:pt x="1735" y="1683"/>
                  </a:lnTo>
                  <a:lnTo>
                    <a:pt x="1735" y="1683"/>
                  </a:lnTo>
                  <a:lnTo>
                    <a:pt x="1735" y="1683"/>
                  </a:lnTo>
                  <a:lnTo>
                    <a:pt x="1735" y="1683"/>
                  </a:lnTo>
                  <a:lnTo>
                    <a:pt x="1735" y="1683"/>
                  </a:lnTo>
                  <a:lnTo>
                    <a:pt x="1735" y="1683"/>
                  </a:lnTo>
                  <a:lnTo>
                    <a:pt x="1735" y="1683"/>
                  </a:lnTo>
                  <a:lnTo>
                    <a:pt x="1731" y="1682"/>
                  </a:lnTo>
                  <a:lnTo>
                    <a:pt x="1731" y="1682"/>
                  </a:lnTo>
                  <a:lnTo>
                    <a:pt x="1729" y="1680"/>
                  </a:lnTo>
                  <a:lnTo>
                    <a:pt x="1729" y="1680"/>
                  </a:lnTo>
                  <a:lnTo>
                    <a:pt x="1726" y="1680"/>
                  </a:lnTo>
                  <a:lnTo>
                    <a:pt x="1726" y="1680"/>
                  </a:lnTo>
                  <a:lnTo>
                    <a:pt x="1725" y="1680"/>
                  </a:lnTo>
                  <a:lnTo>
                    <a:pt x="1723" y="1682"/>
                  </a:lnTo>
                  <a:lnTo>
                    <a:pt x="1723" y="1682"/>
                  </a:lnTo>
                  <a:lnTo>
                    <a:pt x="1721" y="1683"/>
                  </a:lnTo>
                  <a:lnTo>
                    <a:pt x="1721" y="1683"/>
                  </a:lnTo>
                  <a:lnTo>
                    <a:pt x="1712" y="1686"/>
                  </a:lnTo>
                  <a:lnTo>
                    <a:pt x="1712" y="1686"/>
                  </a:lnTo>
                  <a:lnTo>
                    <a:pt x="1709" y="1687"/>
                  </a:lnTo>
                  <a:lnTo>
                    <a:pt x="1709" y="1687"/>
                  </a:lnTo>
                  <a:lnTo>
                    <a:pt x="1708" y="1687"/>
                  </a:lnTo>
                  <a:lnTo>
                    <a:pt x="1708" y="1687"/>
                  </a:lnTo>
                  <a:lnTo>
                    <a:pt x="1708" y="1687"/>
                  </a:lnTo>
                  <a:lnTo>
                    <a:pt x="1708" y="1689"/>
                  </a:lnTo>
                  <a:lnTo>
                    <a:pt x="1708" y="1687"/>
                  </a:lnTo>
                  <a:lnTo>
                    <a:pt x="1708" y="1687"/>
                  </a:lnTo>
                  <a:lnTo>
                    <a:pt x="1708" y="1689"/>
                  </a:lnTo>
                  <a:lnTo>
                    <a:pt x="1708" y="1687"/>
                  </a:lnTo>
                  <a:lnTo>
                    <a:pt x="1708" y="1689"/>
                  </a:lnTo>
                  <a:lnTo>
                    <a:pt x="1708" y="1687"/>
                  </a:lnTo>
                  <a:lnTo>
                    <a:pt x="1708" y="1687"/>
                  </a:lnTo>
                  <a:lnTo>
                    <a:pt x="1708" y="1689"/>
                  </a:lnTo>
                  <a:lnTo>
                    <a:pt x="1708" y="1687"/>
                  </a:lnTo>
                  <a:lnTo>
                    <a:pt x="1708" y="1687"/>
                  </a:lnTo>
                  <a:lnTo>
                    <a:pt x="1708" y="1687"/>
                  </a:lnTo>
                  <a:lnTo>
                    <a:pt x="1703" y="1686"/>
                  </a:lnTo>
                  <a:lnTo>
                    <a:pt x="1703" y="1686"/>
                  </a:lnTo>
                  <a:lnTo>
                    <a:pt x="1697" y="1685"/>
                  </a:lnTo>
                  <a:lnTo>
                    <a:pt x="1697" y="1685"/>
                  </a:lnTo>
                  <a:lnTo>
                    <a:pt x="1695" y="1686"/>
                  </a:lnTo>
                  <a:lnTo>
                    <a:pt x="1695" y="1686"/>
                  </a:lnTo>
                  <a:lnTo>
                    <a:pt x="1679" y="1692"/>
                  </a:lnTo>
                  <a:lnTo>
                    <a:pt x="1679" y="1692"/>
                  </a:lnTo>
                  <a:lnTo>
                    <a:pt x="1677" y="1693"/>
                  </a:lnTo>
                  <a:lnTo>
                    <a:pt x="1676" y="1695"/>
                  </a:lnTo>
                  <a:lnTo>
                    <a:pt x="1676" y="1695"/>
                  </a:lnTo>
                  <a:lnTo>
                    <a:pt x="1676" y="1699"/>
                  </a:lnTo>
                  <a:lnTo>
                    <a:pt x="1676" y="1699"/>
                  </a:lnTo>
                  <a:lnTo>
                    <a:pt x="1676" y="1705"/>
                  </a:lnTo>
                  <a:lnTo>
                    <a:pt x="1676" y="1705"/>
                  </a:lnTo>
                  <a:lnTo>
                    <a:pt x="1676" y="1706"/>
                  </a:lnTo>
                  <a:lnTo>
                    <a:pt x="1676" y="1706"/>
                  </a:lnTo>
                  <a:lnTo>
                    <a:pt x="1674" y="1715"/>
                  </a:lnTo>
                  <a:lnTo>
                    <a:pt x="1674" y="1715"/>
                  </a:lnTo>
                  <a:lnTo>
                    <a:pt x="1674" y="1716"/>
                  </a:lnTo>
                  <a:lnTo>
                    <a:pt x="1673" y="1716"/>
                  </a:lnTo>
                  <a:lnTo>
                    <a:pt x="1673" y="1716"/>
                  </a:lnTo>
                  <a:lnTo>
                    <a:pt x="1673" y="1716"/>
                  </a:lnTo>
                  <a:lnTo>
                    <a:pt x="1668" y="1716"/>
                  </a:lnTo>
                  <a:lnTo>
                    <a:pt x="1663" y="1718"/>
                  </a:lnTo>
                  <a:lnTo>
                    <a:pt x="1663" y="1718"/>
                  </a:lnTo>
                  <a:lnTo>
                    <a:pt x="1657" y="1721"/>
                  </a:lnTo>
                  <a:lnTo>
                    <a:pt x="1650" y="1725"/>
                  </a:lnTo>
                  <a:lnTo>
                    <a:pt x="1650" y="1725"/>
                  </a:lnTo>
                  <a:lnTo>
                    <a:pt x="1628" y="1744"/>
                  </a:lnTo>
                  <a:lnTo>
                    <a:pt x="1628" y="1744"/>
                  </a:lnTo>
                  <a:lnTo>
                    <a:pt x="1616" y="1754"/>
                  </a:lnTo>
                  <a:lnTo>
                    <a:pt x="1616" y="1754"/>
                  </a:lnTo>
                  <a:lnTo>
                    <a:pt x="1608" y="1760"/>
                  </a:lnTo>
                  <a:lnTo>
                    <a:pt x="1608" y="1760"/>
                  </a:lnTo>
                  <a:lnTo>
                    <a:pt x="1603" y="1761"/>
                  </a:lnTo>
                  <a:lnTo>
                    <a:pt x="1600" y="1764"/>
                  </a:lnTo>
                  <a:lnTo>
                    <a:pt x="1597" y="1769"/>
                  </a:lnTo>
                  <a:lnTo>
                    <a:pt x="1597" y="1769"/>
                  </a:lnTo>
                  <a:lnTo>
                    <a:pt x="1595" y="1774"/>
                  </a:lnTo>
                  <a:lnTo>
                    <a:pt x="1595" y="1774"/>
                  </a:lnTo>
                  <a:lnTo>
                    <a:pt x="1595" y="1774"/>
                  </a:lnTo>
                  <a:lnTo>
                    <a:pt x="1595" y="1776"/>
                  </a:lnTo>
                  <a:lnTo>
                    <a:pt x="1595" y="1776"/>
                  </a:lnTo>
                  <a:lnTo>
                    <a:pt x="1595" y="1774"/>
                  </a:lnTo>
                  <a:lnTo>
                    <a:pt x="1595" y="1776"/>
                  </a:lnTo>
                  <a:lnTo>
                    <a:pt x="1595" y="1776"/>
                  </a:lnTo>
                  <a:lnTo>
                    <a:pt x="1595" y="1774"/>
                  </a:lnTo>
                  <a:lnTo>
                    <a:pt x="1595" y="1774"/>
                  </a:lnTo>
                  <a:lnTo>
                    <a:pt x="1590" y="1779"/>
                  </a:lnTo>
                  <a:lnTo>
                    <a:pt x="1590" y="1779"/>
                  </a:lnTo>
                  <a:lnTo>
                    <a:pt x="1586" y="1783"/>
                  </a:lnTo>
                  <a:lnTo>
                    <a:pt x="1586" y="1783"/>
                  </a:lnTo>
                  <a:lnTo>
                    <a:pt x="1584" y="1784"/>
                  </a:lnTo>
                  <a:lnTo>
                    <a:pt x="1584" y="1784"/>
                  </a:lnTo>
                  <a:lnTo>
                    <a:pt x="1580" y="1784"/>
                  </a:lnTo>
                  <a:lnTo>
                    <a:pt x="1580" y="1784"/>
                  </a:lnTo>
                  <a:lnTo>
                    <a:pt x="1577" y="1786"/>
                  </a:lnTo>
                  <a:lnTo>
                    <a:pt x="1574" y="1790"/>
                  </a:lnTo>
                  <a:lnTo>
                    <a:pt x="1574" y="1790"/>
                  </a:lnTo>
                  <a:lnTo>
                    <a:pt x="1571" y="1797"/>
                  </a:lnTo>
                  <a:lnTo>
                    <a:pt x="1571" y="1806"/>
                  </a:lnTo>
                  <a:lnTo>
                    <a:pt x="1571" y="1806"/>
                  </a:lnTo>
                  <a:lnTo>
                    <a:pt x="1571" y="1815"/>
                  </a:lnTo>
                  <a:lnTo>
                    <a:pt x="1571" y="1815"/>
                  </a:lnTo>
                  <a:lnTo>
                    <a:pt x="1573" y="1819"/>
                  </a:lnTo>
                  <a:lnTo>
                    <a:pt x="1573" y="1819"/>
                  </a:lnTo>
                  <a:lnTo>
                    <a:pt x="1571" y="1826"/>
                  </a:lnTo>
                  <a:lnTo>
                    <a:pt x="1570" y="1832"/>
                  </a:lnTo>
                  <a:lnTo>
                    <a:pt x="1570" y="1832"/>
                  </a:lnTo>
                  <a:lnTo>
                    <a:pt x="1569" y="1838"/>
                  </a:lnTo>
                  <a:lnTo>
                    <a:pt x="1569" y="1838"/>
                  </a:lnTo>
                  <a:lnTo>
                    <a:pt x="1567" y="1841"/>
                  </a:lnTo>
                  <a:lnTo>
                    <a:pt x="1567" y="1841"/>
                  </a:lnTo>
                  <a:lnTo>
                    <a:pt x="1561" y="1847"/>
                  </a:lnTo>
                  <a:lnTo>
                    <a:pt x="1561" y="1847"/>
                  </a:lnTo>
                  <a:lnTo>
                    <a:pt x="1560" y="1851"/>
                  </a:lnTo>
                  <a:lnTo>
                    <a:pt x="1560" y="1854"/>
                  </a:lnTo>
                  <a:lnTo>
                    <a:pt x="1560" y="1854"/>
                  </a:lnTo>
                  <a:lnTo>
                    <a:pt x="1560" y="1858"/>
                  </a:lnTo>
                  <a:lnTo>
                    <a:pt x="1560" y="1858"/>
                  </a:lnTo>
                  <a:lnTo>
                    <a:pt x="1563" y="1864"/>
                  </a:lnTo>
                  <a:lnTo>
                    <a:pt x="1564" y="1870"/>
                  </a:lnTo>
                  <a:lnTo>
                    <a:pt x="1564" y="1870"/>
                  </a:lnTo>
                  <a:lnTo>
                    <a:pt x="1563" y="1873"/>
                  </a:lnTo>
                  <a:lnTo>
                    <a:pt x="1563" y="1873"/>
                  </a:lnTo>
                  <a:lnTo>
                    <a:pt x="1558" y="1880"/>
                  </a:lnTo>
                  <a:lnTo>
                    <a:pt x="1558" y="1880"/>
                  </a:lnTo>
                  <a:lnTo>
                    <a:pt x="1553" y="1886"/>
                  </a:lnTo>
                  <a:lnTo>
                    <a:pt x="1553" y="1886"/>
                  </a:lnTo>
                  <a:lnTo>
                    <a:pt x="1551" y="1889"/>
                  </a:lnTo>
                  <a:lnTo>
                    <a:pt x="1551" y="1889"/>
                  </a:lnTo>
                  <a:lnTo>
                    <a:pt x="1548" y="1893"/>
                  </a:lnTo>
                  <a:lnTo>
                    <a:pt x="1548" y="1893"/>
                  </a:lnTo>
                  <a:lnTo>
                    <a:pt x="1547" y="1896"/>
                  </a:lnTo>
                  <a:lnTo>
                    <a:pt x="1547" y="1896"/>
                  </a:lnTo>
                  <a:lnTo>
                    <a:pt x="1547" y="1896"/>
                  </a:lnTo>
                  <a:lnTo>
                    <a:pt x="1547" y="1896"/>
                  </a:lnTo>
                  <a:lnTo>
                    <a:pt x="1547" y="1896"/>
                  </a:lnTo>
                  <a:lnTo>
                    <a:pt x="1547" y="1896"/>
                  </a:lnTo>
                  <a:lnTo>
                    <a:pt x="1547" y="1896"/>
                  </a:lnTo>
                  <a:lnTo>
                    <a:pt x="1547" y="1896"/>
                  </a:lnTo>
                  <a:lnTo>
                    <a:pt x="1547" y="1896"/>
                  </a:lnTo>
                  <a:lnTo>
                    <a:pt x="1544" y="1896"/>
                  </a:lnTo>
                  <a:lnTo>
                    <a:pt x="1544" y="1896"/>
                  </a:lnTo>
                  <a:lnTo>
                    <a:pt x="1540" y="1897"/>
                  </a:lnTo>
                  <a:lnTo>
                    <a:pt x="1540" y="1897"/>
                  </a:lnTo>
                  <a:lnTo>
                    <a:pt x="1537" y="1899"/>
                  </a:lnTo>
                  <a:lnTo>
                    <a:pt x="1537" y="1899"/>
                  </a:lnTo>
                  <a:lnTo>
                    <a:pt x="1535" y="1902"/>
                  </a:lnTo>
                  <a:lnTo>
                    <a:pt x="1535" y="1902"/>
                  </a:lnTo>
                  <a:lnTo>
                    <a:pt x="1532" y="1909"/>
                  </a:lnTo>
                  <a:lnTo>
                    <a:pt x="1532" y="1909"/>
                  </a:lnTo>
                  <a:lnTo>
                    <a:pt x="1529" y="1912"/>
                  </a:lnTo>
                  <a:lnTo>
                    <a:pt x="1528" y="1912"/>
                  </a:lnTo>
                  <a:lnTo>
                    <a:pt x="1528" y="1912"/>
                  </a:lnTo>
                  <a:lnTo>
                    <a:pt x="1528" y="1912"/>
                  </a:lnTo>
                  <a:lnTo>
                    <a:pt x="1528" y="1912"/>
                  </a:lnTo>
                  <a:lnTo>
                    <a:pt x="1528" y="1912"/>
                  </a:lnTo>
                  <a:lnTo>
                    <a:pt x="1528" y="1912"/>
                  </a:lnTo>
                  <a:lnTo>
                    <a:pt x="1528" y="1912"/>
                  </a:lnTo>
                  <a:lnTo>
                    <a:pt x="1528" y="1913"/>
                  </a:lnTo>
                  <a:lnTo>
                    <a:pt x="1528" y="1912"/>
                  </a:lnTo>
                  <a:lnTo>
                    <a:pt x="1528" y="1912"/>
                  </a:lnTo>
                  <a:lnTo>
                    <a:pt x="1528" y="1913"/>
                  </a:lnTo>
                  <a:lnTo>
                    <a:pt x="1528" y="1912"/>
                  </a:lnTo>
                  <a:lnTo>
                    <a:pt x="1528" y="1912"/>
                  </a:lnTo>
                  <a:lnTo>
                    <a:pt x="1522" y="1908"/>
                  </a:lnTo>
                  <a:lnTo>
                    <a:pt x="1522" y="1908"/>
                  </a:lnTo>
                  <a:lnTo>
                    <a:pt x="1515" y="1900"/>
                  </a:lnTo>
                  <a:lnTo>
                    <a:pt x="1515" y="1900"/>
                  </a:lnTo>
                  <a:lnTo>
                    <a:pt x="1511" y="1892"/>
                  </a:lnTo>
                  <a:lnTo>
                    <a:pt x="1511" y="1892"/>
                  </a:lnTo>
                  <a:lnTo>
                    <a:pt x="1495" y="1855"/>
                  </a:lnTo>
                  <a:lnTo>
                    <a:pt x="1495" y="1855"/>
                  </a:lnTo>
                  <a:lnTo>
                    <a:pt x="1492" y="1851"/>
                  </a:lnTo>
                  <a:lnTo>
                    <a:pt x="1492" y="1851"/>
                  </a:lnTo>
                  <a:lnTo>
                    <a:pt x="1486" y="1839"/>
                  </a:lnTo>
                  <a:lnTo>
                    <a:pt x="1486" y="1839"/>
                  </a:lnTo>
                  <a:lnTo>
                    <a:pt x="1485" y="1832"/>
                  </a:lnTo>
                  <a:lnTo>
                    <a:pt x="1483" y="1828"/>
                  </a:lnTo>
                  <a:lnTo>
                    <a:pt x="1483" y="1828"/>
                  </a:lnTo>
                  <a:lnTo>
                    <a:pt x="1483" y="1828"/>
                  </a:lnTo>
                  <a:lnTo>
                    <a:pt x="1483" y="1828"/>
                  </a:lnTo>
                  <a:lnTo>
                    <a:pt x="1483" y="1825"/>
                  </a:lnTo>
                  <a:lnTo>
                    <a:pt x="1483" y="1825"/>
                  </a:lnTo>
                  <a:lnTo>
                    <a:pt x="1482" y="1819"/>
                  </a:lnTo>
                  <a:lnTo>
                    <a:pt x="1480" y="1815"/>
                  </a:lnTo>
                  <a:lnTo>
                    <a:pt x="1480" y="1815"/>
                  </a:lnTo>
                  <a:lnTo>
                    <a:pt x="1474" y="1805"/>
                  </a:lnTo>
                  <a:lnTo>
                    <a:pt x="1474" y="1805"/>
                  </a:lnTo>
                  <a:lnTo>
                    <a:pt x="1466" y="1782"/>
                  </a:lnTo>
                  <a:lnTo>
                    <a:pt x="1466" y="1782"/>
                  </a:lnTo>
                  <a:lnTo>
                    <a:pt x="1457" y="1754"/>
                  </a:lnTo>
                  <a:lnTo>
                    <a:pt x="1457" y="1754"/>
                  </a:lnTo>
                  <a:lnTo>
                    <a:pt x="1453" y="1738"/>
                  </a:lnTo>
                  <a:lnTo>
                    <a:pt x="1453" y="1738"/>
                  </a:lnTo>
                  <a:lnTo>
                    <a:pt x="1451" y="1731"/>
                  </a:lnTo>
                  <a:lnTo>
                    <a:pt x="1451" y="1731"/>
                  </a:lnTo>
                  <a:lnTo>
                    <a:pt x="1451" y="1725"/>
                  </a:lnTo>
                  <a:lnTo>
                    <a:pt x="1451" y="1725"/>
                  </a:lnTo>
                  <a:lnTo>
                    <a:pt x="1451" y="1725"/>
                  </a:lnTo>
                  <a:lnTo>
                    <a:pt x="1451" y="1725"/>
                  </a:lnTo>
                  <a:lnTo>
                    <a:pt x="1451" y="1725"/>
                  </a:lnTo>
                  <a:lnTo>
                    <a:pt x="1451" y="1724"/>
                  </a:lnTo>
                  <a:lnTo>
                    <a:pt x="1451" y="1724"/>
                  </a:lnTo>
                  <a:lnTo>
                    <a:pt x="1450" y="1709"/>
                  </a:lnTo>
                  <a:lnTo>
                    <a:pt x="1450" y="1709"/>
                  </a:lnTo>
                  <a:lnTo>
                    <a:pt x="1448" y="1700"/>
                  </a:lnTo>
                  <a:lnTo>
                    <a:pt x="1448" y="1700"/>
                  </a:lnTo>
                  <a:lnTo>
                    <a:pt x="1448" y="1696"/>
                  </a:lnTo>
                  <a:lnTo>
                    <a:pt x="1448" y="1696"/>
                  </a:lnTo>
                  <a:lnTo>
                    <a:pt x="1447" y="1687"/>
                  </a:lnTo>
                  <a:lnTo>
                    <a:pt x="1447" y="1687"/>
                  </a:lnTo>
                  <a:lnTo>
                    <a:pt x="1445" y="1683"/>
                  </a:lnTo>
                  <a:lnTo>
                    <a:pt x="1445" y="1683"/>
                  </a:lnTo>
                  <a:lnTo>
                    <a:pt x="1444" y="1680"/>
                  </a:lnTo>
                  <a:lnTo>
                    <a:pt x="1444" y="1680"/>
                  </a:lnTo>
                  <a:lnTo>
                    <a:pt x="1443" y="1679"/>
                  </a:lnTo>
                  <a:lnTo>
                    <a:pt x="1443" y="1679"/>
                  </a:lnTo>
                  <a:lnTo>
                    <a:pt x="1441" y="1679"/>
                  </a:lnTo>
                  <a:lnTo>
                    <a:pt x="1441" y="1679"/>
                  </a:lnTo>
                  <a:lnTo>
                    <a:pt x="1438" y="1679"/>
                  </a:lnTo>
                  <a:lnTo>
                    <a:pt x="1438" y="1679"/>
                  </a:lnTo>
                  <a:lnTo>
                    <a:pt x="1437" y="1682"/>
                  </a:lnTo>
                  <a:lnTo>
                    <a:pt x="1437" y="1682"/>
                  </a:lnTo>
                  <a:lnTo>
                    <a:pt x="1437" y="1686"/>
                  </a:lnTo>
                  <a:lnTo>
                    <a:pt x="1437" y="1686"/>
                  </a:lnTo>
                  <a:lnTo>
                    <a:pt x="1435" y="1695"/>
                  </a:lnTo>
                  <a:lnTo>
                    <a:pt x="1435" y="1695"/>
                  </a:lnTo>
                  <a:lnTo>
                    <a:pt x="1435" y="1699"/>
                  </a:lnTo>
                  <a:lnTo>
                    <a:pt x="1435" y="1699"/>
                  </a:lnTo>
                  <a:lnTo>
                    <a:pt x="1434" y="1699"/>
                  </a:lnTo>
                  <a:lnTo>
                    <a:pt x="1434" y="1699"/>
                  </a:lnTo>
                  <a:lnTo>
                    <a:pt x="1427" y="1705"/>
                  </a:lnTo>
                  <a:lnTo>
                    <a:pt x="1427" y="1705"/>
                  </a:lnTo>
                  <a:lnTo>
                    <a:pt x="1418" y="1706"/>
                  </a:lnTo>
                  <a:lnTo>
                    <a:pt x="1418" y="1706"/>
                  </a:lnTo>
                  <a:lnTo>
                    <a:pt x="1416" y="1706"/>
                  </a:lnTo>
                  <a:lnTo>
                    <a:pt x="1416" y="1706"/>
                  </a:lnTo>
                  <a:lnTo>
                    <a:pt x="1416" y="1706"/>
                  </a:lnTo>
                  <a:lnTo>
                    <a:pt x="1416" y="1706"/>
                  </a:lnTo>
                  <a:lnTo>
                    <a:pt x="1416" y="1706"/>
                  </a:lnTo>
                  <a:lnTo>
                    <a:pt x="1416" y="1706"/>
                  </a:lnTo>
                  <a:lnTo>
                    <a:pt x="1416" y="1706"/>
                  </a:lnTo>
                  <a:lnTo>
                    <a:pt x="1414" y="1705"/>
                  </a:lnTo>
                  <a:lnTo>
                    <a:pt x="1414" y="1705"/>
                  </a:lnTo>
                  <a:lnTo>
                    <a:pt x="1406" y="1698"/>
                  </a:lnTo>
                  <a:lnTo>
                    <a:pt x="1399" y="1687"/>
                  </a:lnTo>
                  <a:lnTo>
                    <a:pt x="1399" y="1687"/>
                  </a:lnTo>
                  <a:lnTo>
                    <a:pt x="1392" y="1677"/>
                  </a:lnTo>
                  <a:lnTo>
                    <a:pt x="1392" y="1677"/>
                  </a:lnTo>
                  <a:lnTo>
                    <a:pt x="1390" y="1674"/>
                  </a:lnTo>
                  <a:lnTo>
                    <a:pt x="1389" y="1674"/>
                  </a:lnTo>
                  <a:lnTo>
                    <a:pt x="1389" y="1673"/>
                  </a:lnTo>
                  <a:lnTo>
                    <a:pt x="1389" y="1673"/>
                  </a:lnTo>
                  <a:lnTo>
                    <a:pt x="1387" y="1674"/>
                  </a:lnTo>
                  <a:lnTo>
                    <a:pt x="1389" y="1674"/>
                  </a:lnTo>
                  <a:lnTo>
                    <a:pt x="1389" y="1674"/>
                  </a:lnTo>
                  <a:lnTo>
                    <a:pt x="1389" y="1673"/>
                  </a:lnTo>
                  <a:lnTo>
                    <a:pt x="1387" y="1674"/>
                  </a:lnTo>
                  <a:lnTo>
                    <a:pt x="1389" y="1674"/>
                  </a:lnTo>
                  <a:lnTo>
                    <a:pt x="1387" y="1674"/>
                  </a:lnTo>
                  <a:lnTo>
                    <a:pt x="1389" y="1676"/>
                  </a:lnTo>
                  <a:lnTo>
                    <a:pt x="1389" y="1676"/>
                  </a:lnTo>
                  <a:lnTo>
                    <a:pt x="1389" y="1674"/>
                  </a:lnTo>
                  <a:lnTo>
                    <a:pt x="1387" y="1674"/>
                  </a:lnTo>
                  <a:lnTo>
                    <a:pt x="1389" y="1676"/>
                  </a:lnTo>
                  <a:lnTo>
                    <a:pt x="1387" y="1674"/>
                  </a:lnTo>
                  <a:lnTo>
                    <a:pt x="1387" y="1676"/>
                  </a:lnTo>
                  <a:lnTo>
                    <a:pt x="1387" y="1676"/>
                  </a:lnTo>
                  <a:lnTo>
                    <a:pt x="1389" y="1676"/>
                  </a:lnTo>
                  <a:lnTo>
                    <a:pt x="1387" y="1674"/>
                  </a:lnTo>
                  <a:lnTo>
                    <a:pt x="1387" y="1676"/>
                  </a:lnTo>
                  <a:lnTo>
                    <a:pt x="1387" y="1676"/>
                  </a:lnTo>
                  <a:lnTo>
                    <a:pt x="1387" y="1676"/>
                  </a:lnTo>
                  <a:lnTo>
                    <a:pt x="1387" y="1676"/>
                  </a:lnTo>
                  <a:lnTo>
                    <a:pt x="1387" y="1676"/>
                  </a:lnTo>
                  <a:lnTo>
                    <a:pt x="1387" y="1676"/>
                  </a:lnTo>
                  <a:lnTo>
                    <a:pt x="1387" y="1676"/>
                  </a:lnTo>
                  <a:lnTo>
                    <a:pt x="1389" y="1677"/>
                  </a:lnTo>
                  <a:lnTo>
                    <a:pt x="1389" y="1677"/>
                  </a:lnTo>
                  <a:lnTo>
                    <a:pt x="1393" y="1679"/>
                  </a:lnTo>
                  <a:lnTo>
                    <a:pt x="1399" y="1679"/>
                  </a:lnTo>
                  <a:lnTo>
                    <a:pt x="1399" y="1679"/>
                  </a:lnTo>
                  <a:lnTo>
                    <a:pt x="1402" y="1679"/>
                  </a:lnTo>
                  <a:lnTo>
                    <a:pt x="1402" y="1679"/>
                  </a:lnTo>
                  <a:lnTo>
                    <a:pt x="1409" y="1676"/>
                  </a:lnTo>
                  <a:lnTo>
                    <a:pt x="1409" y="1676"/>
                  </a:lnTo>
                  <a:lnTo>
                    <a:pt x="1411" y="1674"/>
                  </a:lnTo>
                  <a:lnTo>
                    <a:pt x="1411" y="1674"/>
                  </a:lnTo>
                  <a:lnTo>
                    <a:pt x="1412" y="1673"/>
                  </a:lnTo>
                  <a:lnTo>
                    <a:pt x="1412" y="1673"/>
                  </a:lnTo>
                  <a:lnTo>
                    <a:pt x="1414" y="1671"/>
                  </a:lnTo>
                  <a:lnTo>
                    <a:pt x="1414" y="1671"/>
                  </a:lnTo>
                  <a:lnTo>
                    <a:pt x="1412" y="1669"/>
                  </a:lnTo>
                  <a:lnTo>
                    <a:pt x="1412" y="1669"/>
                  </a:lnTo>
                  <a:lnTo>
                    <a:pt x="1409" y="1667"/>
                  </a:lnTo>
                  <a:lnTo>
                    <a:pt x="1409" y="1667"/>
                  </a:lnTo>
                  <a:lnTo>
                    <a:pt x="1403" y="1666"/>
                  </a:lnTo>
                  <a:lnTo>
                    <a:pt x="1403" y="1666"/>
                  </a:lnTo>
                  <a:lnTo>
                    <a:pt x="1390" y="1664"/>
                  </a:lnTo>
                  <a:lnTo>
                    <a:pt x="1390" y="1664"/>
                  </a:lnTo>
                  <a:lnTo>
                    <a:pt x="1387" y="1663"/>
                  </a:lnTo>
                  <a:lnTo>
                    <a:pt x="1387" y="1663"/>
                  </a:lnTo>
                  <a:lnTo>
                    <a:pt x="1386" y="1660"/>
                  </a:lnTo>
                  <a:lnTo>
                    <a:pt x="1386" y="1660"/>
                  </a:lnTo>
                  <a:lnTo>
                    <a:pt x="1386" y="1657"/>
                  </a:lnTo>
                  <a:lnTo>
                    <a:pt x="1386" y="1657"/>
                  </a:lnTo>
                  <a:lnTo>
                    <a:pt x="1386" y="1653"/>
                  </a:lnTo>
                  <a:lnTo>
                    <a:pt x="1386" y="1653"/>
                  </a:lnTo>
                  <a:lnTo>
                    <a:pt x="1386" y="1651"/>
                  </a:lnTo>
                  <a:lnTo>
                    <a:pt x="1386" y="1651"/>
                  </a:lnTo>
                  <a:lnTo>
                    <a:pt x="1383" y="1648"/>
                  </a:lnTo>
                  <a:lnTo>
                    <a:pt x="1383" y="1648"/>
                  </a:lnTo>
                  <a:lnTo>
                    <a:pt x="1382" y="1648"/>
                  </a:lnTo>
                  <a:lnTo>
                    <a:pt x="1380" y="1648"/>
                  </a:lnTo>
                  <a:lnTo>
                    <a:pt x="1380" y="1648"/>
                  </a:lnTo>
                  <a:lnTo>
                    <a:pt x="1373" y="1648"/>
                  </a:lnTo>
                  <a:lnTo>
                    <a:pt x="1373" y="1648"/>
                  </a:lnTo>
                  <a:lnTo>
                    <a:pt x="1367" y="1647"/>
                  </a:lnTo>
                  <a:lnTo>
                    <a:pt x="1367" y="1647"/>
                  </a:lnTo>
                  <a:lnTo>
                    <a:pt x="1364" y="1645"/>
                  </a:lnTo>
                  <a:lnTo>
                    <a:pt x="1364" y="1645"/>
                  </a:lnTo>
                  <a:lnTo>
                    <a:pt x="1363" y="1641"/>
                  </a:lnTo>
                  <a:lnTo>
                    <a:pt x="1363" y="1641"/>
                  </a:lnTo>
                  <a:lnTo>
                    <a:pt x="1363" y="1638"/>
                  </a:lnTo>
                  <a:lnTo>
                    <a:pt x="1363" y="1638"/>
                  </a:lnTo>
                  <a:lnTo>
                    <a:pt x="1360" y="1635"/>
                  </a:lnTo>
                  <a:lnTo>
                    <a:pt x="1360" y="1635"/>
                  </a:lnTo>
                  <a:lnTo>
                    <a:pt x="1359" y="1632"/>
                  </a:lnTo>
                  <a:lnTo>
                    <a:pt x="1359" y="1632"/>
                  </a:lnTo>
                  <a:lnTo>
                    <a:pt x="1356" y="1625"/>
                  </a:lnTo>
                  <a:lnTo>
                    <a:pt x="1356" y="1625"/>
                  </a:lnTo>
                  <a:lnTo>
                    <a:pt x="1353" y="1622"/>
                  </a:lnTo>
                  <a:lnTo>
                    <a:pt x="1353" y="1622"/>
                  </a:lnTo>
                  <a:lnTo>
                    <a:pt x="1350" y="1621"/>
                  </a:lnTo>
                  <a:lnTo>
                    <a:pt x="1350" y="1621"/>
                  </a:lnTo>
                  <a:lnTo>
                    <a:pt x="1348" y="1619"/>
                  </a:lnTo>
                  <a:lnTo>
                    <a:pt x="1348" y="1619"/>
                  </a:lnTo>
                  <a:lnTo>
                    <a:pt x="1341" y="1621"/>
                  </a:lnTo>
                  <a:lnTo>
                    <a:pt x="1341" y="1621"/>
                  </a:lnTo>
                  <a:lnTo>
                    <a:pt x="1328" y="1624"/>
                  </a:lnTo>
                  <a:lnTo>
                    <a:pt x="1328" y="1624"/>
                  </a:lnTo>
                  <a:lnTo>
                    <a:pt x="1317" y="1624"/>
                  </a:lnTo>
                  <a:lnTo>
                    <a:pt x="1317" y="1624"/>
                  </a:lnTo>
                  <a:lnTo>
                    <a:pt x="1315" y="1624"/>
                  </a:lnTo>
                  <a:lnTo>
                    <a:pt x="1315" y="1624"/>
                  </a:lnTo>
                  <a:lnTo>
                    <a:pt x="1309" y="1622"/>
                  </a:lnTo>
                  <a:lnTo>
                    <a:pt x="1309" y="1622"/>
                  </a:lnTo>
                  <a:lnTo>
                    <a:pt x="1308" y="1622"/>
                  </a:lnTo>
                  <a:lnTo>
                    <a:pt x="1308" y="1622"/>
                  </a:lnTo>
                  <a:lnTo>
                    <a:pt x="1305" y="1621"/>
                  </a:lnTo>
                  <a:lnTo>
                    <a:pt x="1305" y="1621"/>
                  </a:lnTo>
                  <a:lnTo>
                    <a:pt x="1302" y="1621"/>
                  </a:lnTo>
                  <a:lnTo>
                    <a:pt x="1302" y="1621"/>
                  </a:lnTo>
                  <a:lnTo>
                    <a:pt x="1296" y="1622"/>
                  </a:lnTo>
                  <a:lnTo>
                    <a:pt x="1296" y="1622"/>
                  </a:lnTo>
                  <a:lnTo>
                    <a:pt x="1285" y="1624"/>
                  </a:lnTo>
                  <a:lnTo>
                    <a:pt x="1285" y="1624"/>
                  </a:lnTo>
                  <a:lnTo>
                    <a:pt x="1279" y="1625"/>
                  </a:lnTo>
                  <a:lnTo>
                    <a:pt x="1279" y="1625"/>
                  </a:lnTo>
                  <a:lnTo>
                    <a:pt x="1266" y="1624"/>
                  </a:lnTo>
                  <a:lnTo>
                    <a:pt x="1266" y="1624"/>
                  </a:lnTo>
                  <a:lnTo>
                    <a:pt x="1256" y="1621"/>
                  </a:lnTo>
                  <a:lnTo>
                    <a:pt x="1256" y="1621"/>
                  </a:lnTo>
                  <a:lnTo>
                    <a:pt x="1253" y="1621"/>
                  </a:lnTo>
                  <a:lnTo>
                    <a:pt x="1253" y="1621"/>
                  </a:lnTo>
                  <a:lnTo>
                    <a:pt x="1230" y="1618"/>
                  </a:lnTo>
                  <a:lnTo>
                    <a:pt x="1230" y="1618"/>
                  </a:lnTo>
                  <a:lnTo>
                    <a:pt x="1217" y="1616"/>
                  </a:lnTo>
                  <a:lnTo>
                    <a:pt x="1206" y="1615"/>
                  </a:lnTo>
                  <a:lnTo>
                    <a:pt x="1206" y="1615"/>
                  </a:lnTo>
                  <a:lnTo>
                    <a:pt x="1202" y="1612"/>
                  </a:lnTo>
                  <a:lnTo>
                    <a:pt x="1202" y="1612"/>
                  </a:lnTo>
                  <a:lnTo>
                    <a:pt x="1199" y="1611"/>
                  </a:lnTo>
                  <a:lnTo>
                    <a:pt x="1198" y="1609"/>
                  </a:lnTo>
                  <a:lnTo>
                    <a:pt x="1198" y="1609"/>
                  </a:lnTo>
                  <a:lnTo>
                    <a:pt x="1196" y="1603"/>
                  </a:lnTo>
                  <a:lnTo>
                    <a:pt x="1196" y="1603"/>
                  </a:lnTo>
                  <a:lnTo>
                    <a:pt x="1192" y="1593"/>
                  </a:lnTo>
                  <a:lnTo>
                    <a:pt x="1192" y="1593"/>
                  </a:lnTo>
                  <a:lnTo>
                    <a:pt x="1189" y="1589"/>
                  </a:lnTo>
                  <a:lnTo>
                    <a:pt x="1189" y="1589"/>
                  </a:lnTo>
                  <a:lnTo>
                    <a:pt x="1188" y="1587"/>
                  </a:lnTo>
                  <a:lnTo>
                    <a:pt x="1188" y="1587"/>
                  </a:lnTo>
                  <a:lnTo>
                    <a:pt x="1185" y="1587"/>
                  </a:lnTo>
                  <a:lnTo>
                    <a:pt x="1185" y="1587"/>
                  </a:lnTo>
                  <a:lnTo>
                    <a:pt x="1183" y="1587"/>
                  </a:lnTo>
                  <a:lnTo>
                    <a:pt x="1183" y="1587"/>
                  </a:lnTo>
                  <a:lnTo>
                    <a:pt x="1183" y="1587"/>
                  </a:lnTo>
                  <a:lnTo>
                    <a:pt x="1175" y="1595"/>
                  </a:lnTo>
                  <a:lnTo>
                    <a:pt x="1175" y="1595"/>
                  </a:lnTo>
                  <a:lnTo>
                    <a:pt x="1169" y="1598"/>
                  </a:lnTo>
                  <a:lnTo>
                    <a:pt x="1169" y="1598"/>
                  </a:lnTo>
                  <a:lnTo>
                    <a:pt x="1166" y="1599"/>
                  </a:lnTo>
                  <a:lnTo>
                    <a:pt x="1166" y="1599"/>
                  </a:lnTo>
                  <a:lnTo>
                    <a:pt x="1164" y="1599"/>
                  </a:lnTo>
                  <a:lnTo>
                    <a:pt x="1164" y="1599"/>
                  </a:lnTo>
                  <a:lnTo>
                    <a:pt x="1159" y="1598"/>
                  </a:lnTo>
                  <a:lnTo>
                    <a:pt x="1159" y="1598"/>
                  </a:lnTo>
                  <a:lnTo>
                    <a:pt x="1149" y="1595"/>
                  </a:lnTo>
                  <a:lnTo>
                    <a:pt x="1149" y="1595"/>
                  </a:lnTo>
                  <a:lnTo>
                    <a:pt x="1140" y="1592"/>
                  </a:lnTo>
                  <a:lnTo>
                    <a:pt x="1140" y="1592"/>
                  </a:lnTo>
                  <a:lnTo>
                    <a:pt x="1134" y="1590"/>
                  </a:lnTo>
                  <a:lnTo>
                    <a:pt x="1130" y="1587"/>
                  </a:lnTo>
                  <a:lnTo>
                    <a:pt x="1130" y="1587"/>
                  </a:lnTo>
                  <a:lnTo>
                    <a:pt x="1128" y="1585"/>
                  </a:lnTo>
                  <a:lnTo>
                    <a:pt x="1125" y="1580"/>
                  </a:lnTo>
                  <a:lnTo>
                    <a:pt x="1125" y="1580"/>
                  </a:lnTo>
                  <a:lnTo>
                    <a:pt x="1122" y="1577"/>
                  </a:lnTo>
                  <a:lnTo>
                    <a:pt x="1122" y="1577"/>
                  </a:lnTo>
                  <a:lnTo>
                    <a:pt x="1117" y="1574"/>
                  </a:lnTo>
                  <a:lnTo>
                    <a:pt x="1117" y="1574"/>
                  </a:lnTo>
                  <a:lnTo>
                    <a:pt x="1111" y="1573"/>
                  </a:lnTo>
                  <a:lnTo>
                    <a:pt x="1108" y="1572"/>
                  </a:lnTo>
                  <a:lnTo>
                    <a:pt x="1108" y="1572"/>
                  </a:lnTo>
                  <a:lnTo>
                    <a:pt x="1105" y="1569"/>
                  </a:lnTo>
                  <a:lnTo>
                    <a:pt x="1102" y="1564"/>
                  </a:lnTo>
                  <a:lnTo>
                    <a:pt x="1102" y="1564"/>
                  </a:lnTo>
                  <a:lnTo>
                    <a:pt x="1095" y="1551"/>
                  </a:lnTo>
                  <a:lnTo>
                    <a:pt x="1095" y="1551"/>
                  </a:lnTo>
                  <a:lnTo>
                    <a:pt x="1092" y="1547"/>
                  </a:lnTo>
                  <a:lnTo>
                    <a:pt x="1092" y="1547"/>
                  </a:lnTo>
                  <a:lnTo>
                    <a:pt x="1091" y="1544"/>
                  </a:lnTo>
                  <a:lnTo>
                    <a:pt x="1091" y="1544"/>
                  </a:lnTo>
                  <a:lnTo>
                    <a:pt x="1088" y="1544"/>
                  </a:lnTo>
                  <a:lnTo>
                    <a:pt x="1088" y="1544"/>
                  </a:lnTo>
                  <a:lnTo>
                    <a:pt x="1083" y="1543"/>
                  </a:lnTo>
                  <a:lnTo>
                    <a:pt x="1083" y="1543"/>
                  </a:lnTo>
                  <a:lnTo>
                    <a:pt x="1079" y="1540"/>
                  </a:lnTo>
                  <a:lnTo>
                    <a:pt x="1079" y="1540"/>
                  </a:lnTo>
                  <a:lnTo>
                    <a:pt x="1076" y="1537"/>
                  </a:lnTo>
                  <a:lnTo>
                    <a:pt x="1076" y="1537"/>
                  </a:lnTo>
                  <a:lnTo>
                    <a:pt x="1073" y="1535"/>
                  </a:lnTo>
                  <a:lnTo>
                    <a:pt x="1073" y="1535"/>
                  </a:lnTo>
                  <a:lnTo>
                    <a:pt x="1072" y="1534"/>
                  </a:lnTo>
                  <a:lnTo>
                    <a:pt x="1072" y="1534"/>
                  </a:lnTo>
                  <a:lnTo>
                    <a:pt x="1069" y="1535"/>
                  </a:lnTo>
                  <a:lnTo>
                    <a:pt x="1069" y="1535"/>
                  </a:lnTo>
                  <a:lnTo>
                    <a:pt x="1067" y="1538"/>
                  </a:lnTo>
                  <a:lnTo>
                    <a:pt x="1067" y="1538"/>
                  </a:lnTo>
                  <a:lnTo>
                    <a:pt x="1067" y="1540"/>
                  </a:lnTo>
                  <a:lnTo>
                    <a:pt x="1067" y="1540"/>
                  </a:lnTo>
                  <a:lnTo>
                    <a:pt x="1067" y="1540"/>
                  </a:lnTo>
                  <a:lnTo>
                    <a:pt x="1069" y="1540"/>
                  </a:lnTo>
                  <a:lnTo>
                    <a:pt x="1067" y="1540"/>
                  </a:lnTo>
                  <a:lnTo>
                    <a:pt x="1067" y="1540"/>
                  </a:lnTo>
                  <a:lnTo>
                    <a:pt x="1069" y="1540"/>
                  </a:lnTo>
                  <a:lnTo>
                    <a:pt x="1067" y="1540"/>
                  </a:lnTo>
                  <a:lnTo>
                    <a:pt x="1069" y="1540"/>
                  </a:lnTo>
                  <a:lnTo>
                    <a:pt x="1069" y="1538"/>
                  </a:lnTo>
                  <a:lnTo>
                    <a:pt x="1067" y="1540"/>
                  </a:lnTo>
                  <a:lnTo>
                    <a:pt x="1069" y="1540"/>
                  </a:lnTo>
                  <a:lnTo>
                    <a:pt x="1069" y="1538"/>
                  </a:lnTo>
                  <a:lnTo>
                    <a:pt x="1069" y="1540"/>
                  </a:lnTo>
                  <a:lnTo>
                    <a:pt x="1069" y="1538"/>
                  </a:lnTo>
                  <a:lnTo>
                    <a:pt x="1069" y="1538"/>
                  </a:lnTo>
                  <a:lnTo>
                    <a:pt x="1069" y="1540"/>
                  </a:lnTo>
                  <a:lnTo>
                    <a:pt x="1069" y="1538"/>
                  </a:lnTo>
                  <a:lnTo>
                    <a:pt x="1069" y="1538"/>
                  </a:lnTo>
                  <a:lnTo>
                    <a:pt x="1066" y="1538"/>
                  </a:lnTo>
                  <a:lnTo>
                    <a:pt x="1066" y="1538"/>
                  </a:lnTo>
                  <a:lnTo>
                    <a:pt x="1059" y="1540"/>
                  </a:lnTo>
                  <a:lnTo>
                    <a:pt x="1059" y="1540"/>
                  </a:lnTo>
                  <a:lnTo>
                    <a:pt x="1054" y="1541"/>
                  </a:lnTo>
                  <a:lnTo>
                    <a:pt x="1054" y="1541"/>
                  </a:lnTo>
                  <a:lnTo>
                    <a:pt x="1053" y="1543"/>
                  </a:lnTo>
                  <a:lnTo>
                    <a:pt x="1053" y="1543"/>
                  </a:lnTo>
                  <a:lnTo>
                    <a:pt x="1053" y="1544"/>
                  </a:lnTo>
                  <a:lnTo>
                    <a:pt x="1053" y="1544"/>
                  </a:lnTo>
                  <a:lnTo>
                    <a:pt x="1053" y="1544"/>
                  </a:lnTo>
                  <a:lnTo>
                    <a:pt x="1053" y="1544"/>
                  </a:lnTo>
                  <a:lnTo>
                    <a:pt x="1053" y="1544"/>
                  </a:lnTo>
                  <a:lnTo>
                    <a:pt x="1051" y="1545"/>
                  </a:lnTo>
                  <a:lnTo>
                    <a:pt x="1051" y="1545"/>
                  </a:lnTo>
                  <a:lnTo>
                    <a:pt x="1050" y="1547"/>
                  </a:lnTo>
                  <a:lnTo>
                    <a:pt x="1050" y="1547"/>
                  </a:lnTo>
                  <a:lnTo>
                    <a:pt x="1050" y="1551"/>
                  </a:lnTo>
                  <a:lnTo>
                    <a:pt x="1050" y="1551"/>
                  </a:lnTo>
                  <a:lnTo>
                    <a:pt x="1051" y="1556"/>
                  </a:lnTo>
                  <a:lnTo>
                    <a:pt x="1051" y="1556"/>
                  </a:lnTo>
                  <a:lnTo>
                    <a:pt x="1057" y="1564"/>
                  </a:lnTo>
                  <a:lnTo>
                    <a:pt x="1062" y="1572"/>
                  </a:lnTo>
                  <a:lnTo>
                    <a:pt x="1062" y="1572"/>
                  </a:lnTo>
                  <a:lnTo>
                    <a:pt x="1065" y="1576"/>
                  </a:lnTo>
                  <a:lnTo>
                    <a:pt x="1069" y="1580"/>
                  </a:lnTo>
                  <a:lnTo>
                    <a:pt x="1069" y="1580"/>
                  </a:lnTo>
                  <a:lnTo>
                    <a:pt x="1076" y="1586"/>
                  </a:lnTo>
                  <a:lnTo>
                    <a:pt x="1076" y="1586"/>
                  </a:lnTo>
                  <a:lnTo>
                    <a:pt x="1080" y="1593"/>
                  </a:lnTo>
                  <a:lnTo>
                    <a:pt x="1080" y="1593"/>
                  </a:lnTo>
                  <a:lnTo>
                    <a:pt x="1083" y="1596"/>
                  </a:lnTo>
                  <a:lnTo>
                    <a:pt x="1083" y="1596"/>
                  </a:lnTo>
                  <a:lnTo>
                    <a:pt x="1085" y="1599"/>
                  </a:lnTo>
                  <a:lnTo>
                    <a:pt x="1085" y="1599"/>
                  </a:lnTo>
                  <a:lnTo>
                    <a:pt x="1085" y="1599"/>
                  </a:lnTo>
                  <a:lnTo>
                    <a:pt x="1086" y="1608"/>
                  </a:lnTo>
                  <a:lnTo>
                    <a:pt x="1086" y="1608"/>
                  </a:lnTo>
                  <a:lnTo>
                    <a:pt x="1088" y="1612"/>
                  </a:lnTo>
                  <a:lnTo>
                    <a:pt x="1088" y="1612"/>
                  </a:lnTo>
                  <a:lnTo>
                    <a:pt x="1088" y="1614"/>
                  </a:lnTo>
                  <a:lnTo>
                    <a:pt x="1088" y="1614"/>
                  </a:lnTo>
                  <a:lnTo>
                    <a:pt x="1089" y="1616"/>
                  </a:lnTo>
                  <a:lnTo>
                    <a:pt x="1089" y="1616"/>
                  </a:lnTo>
                  <a:lnTo>
                    <a:pt x="1092" y="1619"/>
                  </a:lnTo>
                  <a:lnTo>
                    <a:pt x="1092" y="1619"/>
                  </a:lnTo>
                  <a:lnTo>
                    <a:pt x="1095" y="1621"/>
                  </a:lnTo>
                  <a:lnTo>
                    <a:pt x="1095" y="1621"/>
                  </a:lnTo>
                  <a:lnTo>
                    <a:pt x="1098" y="1622"/>
                  </a:lnTo>
                  <a:lnTo>
                    <a:pt x="1098" y="1622"/>
                  </a:lnTo>
                  <a:lnTo>
                    <a:pt x="1101" y="1621"/>
                  </a:lnTo>
                  <a:lnTo>
                    <a:pt x="1101" y="1621"/>
                  </a:lnTo>
                  <a:lnTo>
                    <a:pt x="1104" y="1618"/>
                  </a:lnTo>
                  <a:lnTo>
                    <a:pt x="1104" y="1618"/>
                  </a:lnTo>
                  <a:lnTo>
                    <a:pt x="1105" y="1614"/>
                  </a:lnTo>
                  <a:lnTo>
                    <a:pt x="1105" y="1614"/>
                  </a:lnTo>
                  <a:lnTo>
                    <a:pt x="1107" y="1612"/>
                  </a:lnTo>
                  <a:lnTo>
                    <a:pt x="1107" y="1612"/>
                  </a:lnTo>
                  <a:lnTo>
                    <a:pt x="1107" y="1611"/>
                  </a:lnTo>
                  <a:lnTo>
                    <a:pt x="1107" y="1612"/>
                  </a:lnTo>
                  <a:lnTo>
                    <a:pt x="1107" y="1612"/>
                  </a:lnTo>
                  <a:lnTo>
                    <a:pt x="1107" y="1611"/>
                  </a:lnTo>
                  <a:lnTo>
                    <a:pt x="1107" y="1612"/>
                  </a:lnTo>
                  <a:lnTo>
                    <a:pt x="1107" y="1611"/>
                  </a:lnTo>
                  <a:lnTo>
                    <a:pt x="1107" y="1612"/>
                  </a:lnTo>
                  <a:lnTo>
                    <a:pt x="1107" y="1612"/>
                  </a:lnTo>
                  <a:lnTo>
                    <a:pt x="1107" y="1611"/>
                  </a:lnTo>
                  <a:lnTo>
                    <a:pt x="1107" y="1612"/>
                  </a:lnTo>
                  <a:lnTo>
                    <a:pt x="1107" y="1611"/>
                  </a:lnTo>
                  <a:lnTo>
                    <a:pt x="1107" y="1612"/>
                  </a:lnTo>
                  <a:lnTo>
                    <a:pt x="1107" y="1612"/>
                  </a:lnTo>
                  <a:lnTo>
                    <a:pt x="1107" y="1611"/>
                  </a:lnTo>
                  <a:lnTo>
                    <a:pt x="1107" y="1612"/>
                  </a:lnTo>
                  <a:lnTo>
                    <a:pt x="1107" y="1611"/>
                  </a:lnTo>
                  <a:lnTo>
                    <a:pt x="1105" y="1612"/>
                  </a:lnTo>
                  <a:lnTo>
                    <a:pt x="1107" y="1612"/>
                  </a:lnTo>
                  <a:lnTo>
                    <a:pt x="1107" y="1611"/>
                  </a:lnTo>
                  <a:lnTo>
                    <a:pt x="1105" y="1612"/>
                  </a:lnTo>
                  <a:lnTo>
                    <a:pt x="1107" y="1612"/>
                  </a:lnTo>
                  <a:lnTo>
                    <a:pt x="1107" y="1612"/>
                  </a:lnTo>
                  <a:lnTo>
                    <a:pt x="1108" y="1614"/>
                  </a:lnTo>
                  <a:lnTo>
                    <a:pt x="1108" y="1614"/>
                  </a:lnTo>
                  <a:lnTo>
                    <a:pt x="1111" y="1619"/>
                  </a:lnTo>
                  <a:lnTo>
                    <a:pt x="1111" y="1619"/>
                  </a:lnTo>
                  <a:lnTo>
                    <a:pt x="1112" y="1622"/>
                  </a:lnTo>
                  <a:lnTo>
                    <a:pt x="1112" y="1622"/>
                  </a:lnTo>
                  <a:lnTo>
                    <a:pt x="1112" y="1624"/>
                  </a:lnTo>
                  <a:lnTo>
                    <a:pt x="1114" y="1624"/>
                  </a:lnTo>
                  <a:lnTo>
                    <a:pt x="1112" y="1624"/>
                  </a:lnTo>
                  <a:lnTo>
                    <a:pt x="1112" y="1624"/>
                  </a:lnTo>
                  <a:lnTo>
                    <a:pt x="1114" y="1624"/>
                  </a:lnTo>
                  <a:lnTo>
                    <a:pt x="1112" y="1624"/>
                  </a:lnTo>
                  <a:lnTo>
                    <a:pt x="1112" y="1624"/>
                  </a:lnTo>
                  <a:lnTo>
                    <a:pt x="1112" y="1624"/>
                  </a:lnTo>
                  <a:lnTo>
                    <a:pt x="1112" y="1624"/>
                  </a:lnTo>
                  <a:lnTo>
                    <a:pt x="1112" y="1624"/>
                  </a:lnTo>
                  <a:lnTo>
                    <a:pt x="1112" y="1624"/>
                  </a:lnTo>
                  <a:lnTo>
                    <a:pt x="1111" y="1625"/>
                  </a:lnTo>
                  <a:lnTo>
                    <a:pt x="1111" y="1625"/>
                  </a:lnTo>
                  <a:lnTo>
                    <a:pt x="1107" y="1629"/>
                  </a:lnTo>
                  <a:lnTo>
                    <a:pt x="1107" y="1629"/>
                  </a:lnTo>
                  <a:lnTo>
                    <a:pt x="1104" y="1631"/>
                  </a:lnTo>
                  <a:lnTo>
                    <a:pt x="1104" y="1631"/>
                  </a:lnTo>
                  <a:lnTo>
                    <a:pt x="1104" y="1634"/>
                  </a:lnTo>
                  <a:lnTo>
                    <a:pt x="1104" y="1634"/>
                  </a:lnTo>
                  <a:lnTo>
                    <a:pt x="1104" y="1635"/>
                  </a:lnTo>
                  <a:lnTo>
                    <a:pt x="1104" y="1635"/>
                  </a:lnTo>
                  <a:lnTo>
                    <a:pt x="1108" y="1641"/>
                  </a:lnTo>
                  <a:lnTo>
                    <a:pt x="1108" y="1641"/>
                  </a:lnTo>
                  <a:lnTo>
                    <a:pt x="1111" y="1644"/>
                  </a:lnTo>
                  <a:lnTo>
                    <a:pt x="1115" y="1647"/>
                  </a:lnTo>
                  <a:lnTo>
                    <a:pt x="1115" y="1647"/>
                  </a:lnTo>
                  <a:lnTo>
                    <a:pt x="1121" y="1647"/>
                  </a:lnTo>
                  <a:lnTo>
                    <a:pt x="1121" y="1647"/>
                  </a:lnTo>
                  <a:lnTo>
                    <a:pt x="1131" y="1647"/>
                  </a:lnTo>
                  <a:lnTo>
                    <a:pt x="1131" y="1647"/>
                  </a:lnTo>
                  <a:lnTo>
                    <a:pt x="1133" y="1645"/>
                  </a:lnTo>
                  <a:lnTo>
                    <a:pt x="1133" y="1645"/>
                  </a:lnTo>
                  <a:lnTo>
                    <a:pt x="1147" y="1647"/>
                  </a:lnTo>
                  <a:lnTo>
                    <a:pt x="1147" y="1647"/>
                  </a:lnTo>
                  <a:lnTo>
                    <a:pt x="1154" y="1647"/>
                  </a:lnTo>
                  <a:lnTo>
                    <a:pt x="1154" y="1647"/>
                  </a:lnTo>
                  <a:lnTo>
                    <a:pt x="1156" y="1645"/>
                  </a:lnTo>
                  <a:lnTo>
                    <a:pt x="1159" y="1643"/>
                  </a:lnTo>
                  <a:lnTo>
                    <a:pt x="1159" y="1643"/>
                  </a:lnTo>
                  <a:lnTo>
                    <a:pt x="1160" y="1641"/>
                  </a:lnTo>
                  <a:lnTo>
                    <a:pt x="1160" y="1641"/>
                  </a:lnTo>
                  <a:lnTo>
                    <a:pt x="1176" y="1624"/>
                  </a:lnTo>
                  <a:lnTo>
                    <a:pt x="1176" y="1624"/>
                  </a:lnTo>
                  <a:lnTo>
                    <a:pt x="1185" y="1616"/>
                  </a:lnTo>
                  <a:lnTo>
                    <a:pt x="1185" y="1616"/>
                  </a:lnTo>
                  <a:lnTo>
                    <a:pt x="1188" y="1615"/>
                  </a:lnTo>
                  <a:lnTo>
                    <a:pt x="1188" y="1614"/>
                  </a:lnTo>
                  <a:lnTo>
                    <a:pt x="1189" y="1614"/>
                  </a:lnTo>
                  <a:lnTo>
                    <a:pt x="1188" y="1612"/>
                  </a:lnTo>
                  <a:lnTo>
                    <a:pt x="1188" y="1614"/>
                  </a:lnTo>
                  <a:lnTo>
                    <a:pt x="1189" y="1614"/>
                  </a:lnTo>
                  <a:lnTo>
                    <a:pt x="1188" y="1612"/>
                  </a:lnTo>
                  <a:lnTo>
                    <a:pt x="1188" y="1614"/>
                  </a:lnTo>
                  <a:lnTo>
                    <a:pt x="1188" y="1614"/>
                  </a:lnTo>
                  <a:lnTo>
                    <a:pt x="1188" y="1614"/>
                  </a:lnTo>
                  <a:lnTo>
                    <a:pt x="1188" y="1614"/>
                  </a:lnTo>
                  <a:lnTo>
                    <a:pt x="1188" y="1614"/>
                  </a:lnTo>
                  <a:lnTo>
                    <a:pt x="1188" y="1614"/>
                  </a:lnTo>
                  <a:lnTo>
                    <a:pt x="1188" y="1612"/>
                  </a:lnTo>
                  <a:lnTo>
                    <a:pt x="1186" y="1614"/>
                  </a:lnTo>
                  <a:lnTo>
                    <a:pt x="1186" y="1614"/>
                  </a:lnTo>
                  <a:lnTo>
                    <a:pt x="1188" y="1614"/>
                  </a:lnTo>
                  <a:lnTo>
                    <a:pt x="1188" y="1612"/>
                  </a:lnTo>
                  <a:lnTo>
                    <a:pt x="1186" y="1614"/>
                  </a:lnTo>
                  <a:lnTo>
                    <a:pt x="1188" y="1612"/>
                  </a:lnTo>
                  <a:lnTo>
                    <a:pt x="1186" y="1612"/>
                  </a:lnTo>
                  <a:lnTo>
                    <a:pt x="1186" y="1612"/>
                  </a:lnTo>
                  <a:lnTo>
                    <a:pt x="1186" y="1614"/>
                  </a:lnTo>
                  <a:lnTo>
                    <a:pt x="1188" y="1612"/>
                  </a:lnTo>
                  <a:lnTo>
                    <a:pt x="1186" y="1612"/>
                  </a:lnTo>
                  <a:lnTo>
                    <a:pt x="1188" y="1612"/>
                  </a:lnTo>
                  <a:lnTo>
                    <a:pt x="1186" y="1612"/>
                  </a:lnTo>
                  <a:lnTo>
                    <a:pt x="1186" y="1612"/>
                  </a:lnTo>
                  <a:lnTo>
                    <a:pt x="1188" y="1612"/>
                  </a:lnTo>
                  <a:lnTo>
                    <a:pt x="1186" y="1612"/>
                  </a:lnTo>
                  <a:lnTo>
                    <a:pt x="1186" y="1612"/>
                  </a:lnTo>
                  <a:lnTo>
                    <a:pt x="1185" y="1615"/>
                  </a:lnTo>
                  <a:lnTo>
                    <a:pt x="1185" y="1615"/>
                  </a:lnTo>
                  <a:lnTo>
                    <a:pt x="1183" y="1618"/>
                  </a:lnTo>
                  <a:lnTo>
                    <a:pt x="1183" y="1622"/>
                  </a:lnTo>
                  <a:lnTo>
                    <a:pt x="1183" y="1622"/>
                  </a:lnTo>
                  <a:lnTo>
                    <a:pt x="1183" y="1625"/>
                  </a:lnTo>
                  <a:lnTo>
                    <a:pt x="1183" y="1625"/>
                  </a:lnTo>
                  <a:lnTo>
                    <a:pt x="1186" y="1634"/>
                  </a:lnTo>
                  <a:lnTo>
                    <a:pt x="1189" y="1641"/>
                  </a:lnTo>
                  <a:lnTo>
                    <a:pt x="1189" y="1641"/>
                  </a:lnTo>
                  <a:lnTo>
                    <a:pt x="1195" y="1648"/>
                  </a:lnTo>
                  <a:lnTo>
                    <a:pt x="1195" y="1648"/>
                  </a:lnTo>
                  <a:lnTo>
                    <a:pt x="1198" y="1651"/>
                  </a:lnTo>
                  <a:lnTo>
                    <a:pt x="1201" y="1653"/>
                  </a:lnTo>
                  <a:lnTo>
                    <a:pt x="1201" y="1653"/>
                  </a:lnTo>
                  <a:lnTo>
                    <a:pt x="1214" y="1654"/>
                  </a:lnTo>
                  <a:lnTo>
                    <a:pt x="1214" y="1654"/>
                  </a:lnTo>
                  <a:lnTo>
                    <a:pt x="1218" y="1656"/>
                  </a:lnTo>
                  <a:lnTo>
                    <a:pt x="1221" y="1658"/>
                  </a:lnTo>
                  <a:lnTo>
                    <a:pt x="1221" y="1658"/>
                  </a:lnTo>
                  <a:lnTo>
                    <a:pt x="1227" y="1667"/>
                  </a:lnTo>
                  <a:lnTo>
                    <a:pt x="1227" y="1667"/>
                  </a:lnTo>
                  <a:lnTo>
                    <a:pt x="1231" y="1670"/>
                  </a:lnTo>
                  <a:lnTo>
                    <a:pt x="1235" y="1671"/>
                  </a:lnTo>
                  <a:lnTo>
                    <a:pt x="1235" y="1671"/>
                  </a:lnTo>
                  <a:lnTo>
                    <a:pt x="1237" y="1673"/>
                  </a:lnTo>
                  <a:lnTo>
                    <a:pt x="1237" y="1673"/>
                  </a:lnTo>
                  <a:lnTo>
                    <a:pt x="1237" y="1673"/>
                  </a:lnTo>
                  <a:lnTo>
                    <a:pt x="1237" y="1673"/>
                  </a:lnTo>
                  <a:lnTo>
                    <a:pt x="1237" y="1673"/>
                  </a:lnTo>
                  <a:lnTo>
                    <a:pt x="1237" y="1673"/>
                  </a:lnTo>
                  <a:lnTo>
                    <a:pt x="1237" y="1673"/>
                  </a:lnTo>
                  <a:lnTo>
                    <a:pt x="1237" y="1673"/>
                  </a:lnTo>
                  <a:lnTo>
                    <a:pt x="1237" y="1673"/>
                  </a:lnTo>
                  <a:lnTo>
                    <a:pt x="1237" y="1673"/>
                  </a:lnTo>
                  <a:lnTo>
                    <a:pt x="1237" y="1673"/>
                  </a:lnTo>
                  <a:lnTo>
                    <a:pt x="1237" y="1673"/>
                  </a:lnTo>
                  <a:lnTo>
                    <a:pt x="1237" y="1673"/>
                  </a:lnTo>
                  <a:lnTo>
                    <a:pt x="1237" y="1674"/>
                  </a:lnTo>
                  <a:lnTo>
                    <a:pt x="1237" y="1674"/>
                  </a:lnTo>
                  <a:lnTo>
                    <a:pt x="1235" y="1677"/>
                  </a:lnTo>
                  <a:lnTo>
                    <a:pt x="1235" y="1677"/>
                  </a:lnTo>
                  <a:lnTo>
                    <a:pt x="1231" y="1687"/>
                  </a:lnTo>
                  <a:lnTo>
                    <a:pt x="1231" y="1687"/>
                  </a:lnTo>
                  <a:lnTo>
                    <a:pt x="1225" y="1693"/>
                  </a:lnTo>
                  <a:lnTo>
                    <a:pt x="1225" y="1693"/>
                  </a:lnTo>
                  <a:lnTo>
                    <a:pt x="1222" y="1698"/>
                  </a:lnTo>
                  <a:lnTo>
                    <a:pt x="1222" y="1698"/>
                  </a:lnTo>
                  <a:lnTo>
                    <a:pt x="1218" y="1703"/>
                  </a:lnTo>
                  <a:lnTo>
                    <a:pt x="1218" y="1703"/>
                  </a:lnTo>
                  <a:lnTo>
                    <a:pt x="1217" y="1706"/>
                  </a:lnTo>
                  <a:lnTo>
                    <a:pt x="1217" y="1706"/>
                  </a:lnTo>
                  <a:lnTo>
                    <a:pt x="1217" y="1706"/>
                  </a:lnTo>
                  <a:lnTo>
                    <a:pt x="1217" y="1706"/>
                  </a:lnTo>
                  <a:lnTo>
                    <a:pt x="1217" y="1706"/>
                  </a:lnTo>
                  <a:lnTo>
                    <a:pt x="1217" y="1706"/>
                  </a:lnTo>
                  <a:lnTo>
                    <a:pt x="1217" y="1706"/>
                  </a:lnTo>
                  <a:lnTo>
                    <a:pt x="1217" y="1708"/>
                  </a:lnTo>
                  <a:lnTo>
                    <a:pt x="1217" y="1706"/>
                  </a:lnTo>
                  <a:lnTo>
                    <a:pt x="1217" y="1706"/>
                  </a:lnTo>
                  <a:lnTo>
                    <a:pt x="1217" y="1708"/>
                  </a:lnTo>
                  <a:lnTo>
                    <a:pt x="1217" y="1706"/>
                  </a:lnTo>
                  <a:lnTo>
                    <a:pt x="1217" y="1708"/>
                  </a:lnTo>
                  <a:lnTo>
                    <a:pt x="1218" y="1706"/>
                  </a:lnTo>
                  <a:lnTo>
                    <a:pt x="1217" y="1706"/>
                  </a:lnTo>
                  <a:lnTo>
                    <a:pt x="1217" y="1708"/>
                  </a:lnTo>
                  <a:lnTo>
                    <a:pt x="1218" y="1706"/>
                  </a:lnTo>
                  <a:lnTo>
                    <a:pt x="1218" y="1706"/>
                  </a:lnTo>
                  <a:lnTo>
                    <a:pt x="1218" y="1706"/>
                  </a:lnTo>
                  <a:lnTo>
                    <a:pt x="1218" y="1706"/>
                  </a:lnTo>
                  <a:lnTo>
                    <a:pt x="1218" y="1706"/>
                  </a:lnTo>
                  <a:lnTo>
                    <a:pt x="1218" y="1706"/>
                  </a:lnTo>
                  <a:lnTo>
                    <a:pt x="1218" y="1706"/>
                  </a:lnTo>
                  <a:lnTo>
                    <a:pt x="1217" y="1705"/>
                  </a:lnTo>
                  <a:lnTo>
                    <a:pt x="1217" y="1705"/>
                  </a:lnTo>
                  <a:lnTo>
                    <a:pt x="1215" y="1702"/>
                  </a:lnTo>
                  <a:lnTo>
                    <a:pt x="1215" y="1702"/>
                  </a:lnTo>
                  <a:lnTo>
                    <a:pt x="1215" y="1702"/>
                  </a:lnTo>
                  <a:lnTo>
                    <a:pt x="1212" y="1700"/>
                  </a:lnTo>
                  <a:lnTo>
                    <a:pt x="1212" y="1700"/>
                  </a:lnTo>
                  <a:lnTo>
                    <a:pt x="1211" y="1702"/>
                  </a:lnTo>
                  <a:lnTo>
                    <a:pt x="1211" y="1702"/>
                  </a:lnTo>
                  <a:lnTo>
                    <a:pt x="1209" y="1703"/>
                  </a:lnTo>
                  <a:lnTo>
                    <a:pt x="1209" y="1703"/>
                  </a:lnTo>
                  <a:lnTo>
                    <a:pt x="1209" y="1706"/>
                  </a:lnTo>
                  <a:lnTo>
                    <a:pt x="1209" y="1706"/>
                  </a:lnTo>
                  <a:lnTo>
                    <a:pt x="1206" y="1715"/>
                  </a:lnTo>
                  <a:lnTo>
                    <a:pt x="1205" y="1722"/>
                  </a:lnTo>
                  <a:lnTo>
                    <a:pt x="1205" y="1724"/>
                  </a:lnTo>
                  <a:lnTo>
                    <a:pt x="1205" y="1724"/>
                  </a:lnTo>
                  <a:lnTo>
                    <a:pt x="1205" y="1724"/>
                  </a:lnTo>
                  <a:lnTo>
                    <a:pt x="1206" y="1727"/>
                  </a:lnTo>
                  <a:lnTo>
                    <a:pt x="1206" y="1727"/>
                  </a:lnTo>
                  <a:lnTo>
                    <a:pt x="1206" y="1729"/>
                  </a:lnTo>
                  <a:lnTo>
                    <a:pt x="1206" y="1731"/>
                  </a:lnTo>
                  <a:lnTo>
                    <a:pt x="1206" y="1731"/>
                  </a:lnTo>
                  <a:lnTo>
                    <a:pt x="1206" y="1731"/>
                  </a:lnTo>
                  <a:lnTo>
                    <a:pt x="1206" y="1731"/>
                  </a:lnTo>
                  <a:lnTo>
                    <a:pt x="1205" y="1731"/>
                  </a:lnTo>
                  <a:lnTo>
                    <a:pt x="1205" y="1731"/>
                  </a:lnTo>
                  <a:lnTo>
                    <a:pt x="1195" y="1734"/>
                  </a:lnTo>
                  <a:lnTo>
                    <a:pt x="1195" y="1734"/>
                  </a:lnTo>
                  <a:lnTo>
                    <a:pt x="1191" y="1737"/>
                  </a:lnTo>
                  <a:lnTo>
                    <a:pt x="1191" y="1737"/>
                  </a:lnTo>
                  <a:lnTo>
                    <a:pt x="1188" y="1738"/>
                  </a:lnTo>
                  <a:lnTo>
                    <a:pt x="1188" y="1738"/>
                  </a:lnTo>
                  <a:lnTo>
                    <a:pt x="1185" y="1744"/>
                  </a:lnTo>
                  <a:lnTo>
                    <a:pt x="1185" y="1744"/>
                  </a:lnTo>
                  <a:lnTo>
                    <a:pt x="1183" y="1747"/>
                  </a:lnTo>
                  <a:lnTo>
                    <a:pt x="1180" y="1747"/>
                  </a:lnTo>
                  <a:lnTo>
                    <a:pt x="1180" y="1747"/>
                  </a:lnTo>
                  <a:lnTo>
                    <a:pt x="1176" y="1748"/>
                  </a:lnTo>
                  <a:lnTo>
                    <a:pt x="1173" y="1751"/>
                  </a:lnTo>
                  <a:lnTo>
                    <a:pt x="1173" y="1751"/>
                  </a:lnTo>
                  <a:lnTo>
                    <a:pt x="1172" y="1754"/>
                  </a:lnTo>
                  <a:lnTo>
                    <a:pt x="1170" y="1758"/>
                  </a:lnTo>
                  <a:lnTo>
                    <a:pt x="1170" y="1758"/>
                  </a:lnTo>
                  <a:lnTo>
                    <a:pt x="1169" y="1760"/>
                  </a:lnTo>
                  <a:lnTo>
                    <a:pt x="1169" y="1760"/>
                  </a:lnTo>
                  <a:lnTo>
                    <a:pt x="1162" y="1761"/>
                  </a:lnTo>
                  <a:lnTo>
                    <a:pt x="1162" y="1761"/>
                  </a:lnTo>
                  <a:lnTo>
                    <a:pt x="1154" y="1763"/>
                  </a:lnTo>
                  <a:lnTo>
                    <a:pt x="1154" y="1763"/>
                  </a:lnTo>
                  <a:lnTo>
                    <a:pt x="1147" y="1764"/>
                  </a:lnTo>
                  <a:lnTo>
                    <a:pt x="1147" y="1764"/>
                  </a:lnTo>
                  <a:lnTo>
                    <a:pt x="1133" y="1769"/>
                  </a:lnTo>
                  <a:lnTo>
                    <a:pt x="1133" y="1769"/>
                  </a:lnTo>
                  <a:lnTo>
                    <a:pt x="1127" y="1771"/>
                  </a:lnTo>
                  <a:lnTo>
                    <a:pt x="1127" y="1771"/>
                  </a:lnTo>
                  <a:lnTo>
                    <a:pt x="1122" y="1774"/>
                  </a:lnTo>
                  <a:lnTo>
                    <a:pt x="1122" y="1774"/>
                  </a:lnTo>
                  <a:lnTo>
                    <a:pt x="1120" y="1779"/>
                  </a:lnTo>
                  <a:lnTo>
                    <a:pt x="1120" y="1779"/>
                  </a:lnTo>
                  <a:lnTo>
                    <a:pt x="1117" y="1786"/>
                  </a:lnTo>
                  <a:lnTo>
                    <a:pt x="1117" y="1786"/>
                  </a:lnTo>
                  <a:lnTo>
                    <a:pt x="1117" y="1787"/>
                  </a:lnTo>
                  <a:lnTo>
                    <a:pt x="1115" y="1789"/>
                  </a:lnTo>
                  <a:lnTo>
                    <a:pt x="1115" y="1789"/>
                  </a:lnTo>
                  <a:lnTo>
                    <a:pt x="1117" y="1789"/>
                  </a:lnTo>
                  <a:lnTo>
                    <a:pt x="1115" y="1789"/>
                  </a:lnTo>
                  <a:lnTo>
                    <a:pt x="1115" y="1789"/>
                  </a:lnTo>
                  <a:lnTo>
                    <a:pt x="1117" y="1789"/>
                  </a:lnTo>
                  <a:lnTo>
                    <a:pt x="1115" y="1789"/>
                  </a:lnTo>
                  <a:lnTo>
                    <a:pt x="1115" y="1789"/>
                  </a:lnTo>
                  <a:lnTo>
                    <a:pt x="1114" y="1789"/>
                  </a:lnTo>
                  <a:lnTo>
                    <a:pt x="1114" y="1789"/>
                  </a:lnTo>
                  <a:lnTo>
                    <a:pt x="1096" y="1795"/>
                  </a:lnTo>
                  <a:lnTo>
                    <a:pt x="1096" y="1795"/>
                  </a:lnTo>
                  <a:lnTo>
                    <a:pt x="1086" y="1797"/>
                  </a:lnTo>
                  <a:lnTo>
                    <a:pt x="1086" y="1797"/>
                  </a:lnTo>
                  <a:lnTo>
                    <a:pt x="1079" y="1802"/>
                  </a:lnTo>
                  <a:lnTo>
                    <a:pt x="1079" y="1802"/>
                  </a:lnTo>
                  <a:lnTo>
                    <a:pt x="1070" y="1808"/>
                  </a:lnTo>
                  <a:lnTo>
                    <a:pt x="1057" y="1813"/>
                  </a:lnTo>
                  <a:lnTo>
                    <a:pt x="1057" y="1813"/>
                  </a:lnTo>
                  <a:lnTo>
                    <a:pt x="1046" y="1819"/>
                  </a:lnTo>
                  <a:lnTo>
                    <a:pt x="1046" y="1819"/>
                  </a:lnTo>
                  <a:lnTo>
                    <a:pt x="1036" y="1821"/>
                  </a:lnTo>
                  <a:lnTo>
                    <a:pt x="1036" y="1821"/>
                  </a:lnTo>
                  <a:lnTo>
                    <a:pt x="1018" y="1822"/>
                  </a:lnTo>
                  <a:lnTo>
                    <a:pt x="1018" y="1822"/>
                  </a:lnTo>
                  <a:lnTo>
                    <a:pt x="1011" y="1824"/>
                  </a:lnTo>
                  <a:lnTo>
                    <a:pt x="1011" y="1824"/>
                  </a:lnTo>
                  <a:lnTo>
                    <a:pt x="1005" y="1825"/>
                  </a:lnTo>
                  <a:lnTo>
                    <a:pt x="1005" y="1825"/>
                  </a:lnTo>
                  <a:lnTo>
                    <a:pt x="1002" y="1828"/>
                  </a:lnTo>
                  <a:lnTo>
                    <a:pt x="1002" y="1828"/>
                  </a:lnTo>
                  <a:lnTo>
                    <a:pt x="994" y="1831"/>
                  </a:lnTo>
                  <a:lnTo>
                    <a:pt x="994" y="1831"/>
                  </a:lnTo>
                  <a:lnTo>
                    <a:pt x="986" y="1832"/>
                  </a:lnTo>
                  <a:lnTo>
                    <a:pt x="986" y="1832"/>
                  </a:lnTo>
                  <a:lnTo>
                    <a:pt x="986" y="1832"/>
                  </a:lnTo>
                  <a:lnTo>
                    <a:pt x="983" y="1832"/>
                  </a:lnTo>
                  <a:lnTo>
                    <a:pt x="982" y="1829"/>
                  </a:lnTo>
                  <a:lnTo>
                    <a:pt x="982" y="1829"/>
                  </a:lnTo>
                  <a:lnTo>
                    <a:pt x="979" y="1826"/>
                  </a:lnTo>
                  <a:lnTo>
                    <a:pt x="979" y="1824"/>
                  </a:lnTo>
                  <a:lnTo>
                    <a:pt x="979" y="1824"/>
                  </a:lnTo>
                  <a:lnTo>
                    <a:pt x="978" y="1813"/>
                  </a:lnTo>
                  <a:lnTo>
                    <a:pt x="978" y="1813"/>
                  </a:lnTo>
                  <a:lnTo>
                    <a:pt x="970" y="1796"/>
                  </a:lnTo>
                  <a:lnTo>
                    <a:pt x="970" y="1796"/>
                  </a:lnTo>
                  <a:lnTo>
                    <a:pt x="969" y="1789"/>
                  </a:lnTo>
                  <a:lnTo>
                    <a:pt x="969" y="1789"/>
                  </a:lnTo>
                  <a:lnTo>
                    <a:pt x="967" y="1783"/>
                  </a:lnTo>
                  <a:lnTo>
                    <a:pt x="967" y="1783"/>
                  </a:lnTo>
                  <a:lnTo>
                    <a:pt x="967" y="1782"/>
                  </a:lnTo>
                  <a:lnTo>
                    <a:pt x="967" y="1782"/>
                  </a:lnTo>
                  <a:lnTo>
                    <a:pt x="967" y="1779"/>
                  </a:lnTo>
                  <a:lnTo>
                    <a:pt x="967" y="1779"/>
                  </a:lnTo>
                  <a:lnTo>
                    <a:pt x="967" y="1776"/>
                  </a:lnTo>
                  <a:lnTo>
                    <a:pt x="967" y="1776"/>
                  </a:lnTo>
                  <a:lnTo>
                    <a:pt x="967" y="1773"/>
                  </a:lnTo>
                  <a:lnTo>
                    <a:pt x="966" y="1769"/>
                  </a:lnTo>
                  <a:lnTo>
                    <a:pt x="966" y="1769"/>
                  </a:lnTo>
                  <a:lnTo>
                    <a:pt x="949" y="1738"/>
                  </a:lnTo>
                  <a:lnTo>
                    <a:pt x="949" y="1738"/>
                  </a:lnTo>
                  <a:lnTo>
                    <a:pt x="941" y="1727"/>
                  </a:lnTo>
                  <a:lnTo>
                    <a:pt x="941" y="1727"/>
                  </a:lnTo>
                  <a:lnTo>
                    <a:pt x="934" y="1718"/>
                  </a:lnTo>
                  <a:lnTo>
                    <a:pt x="934" y="1718"/>
                  </a:lnTo>
                  <a:lnTo>
                    <a:pt x="927" y="1713"/>
                  </a:lnTo>
                  <a:lnTo>
                    <a:pt x="927" y="1713"/>
                  </a:lnTo>
                  <a:lnTo>
                    <a:pt x="923" y="1711"/>
                  </a:lnTo>
                  <a:lnTo>
                    <a:pt x="921" y="1708"/>
                  </a:lnTo>
                  <a:lnTo>
                    <a:pt x="921" y="1708"/>
                  </a:lnTo>
                  <a:lnTo>
                    <a:pt x="914" y="1695"/>
                  </a:lnTo>
                  <a:lnTo>
                    <a:pt x="914" y="1695"/>
                  </a:lnTo>
                  <a:lnTo>
                    <a:pt x="912" y="1687"/>
                  </a:lnTo>
                  <a:lnTo>
                    <a:pt x="912" y="1687"/>
                  </a:lnTo>
                  <a:lnTo>
                    <a:pt x="911" y="1683"/>
                  </a:lnTo>
                  <a:lnTo>
                    <a:pt x="911" y="1683"/>
                  </a:lnTo>
                  <a:lnTo>
                    <a:pt x="910" y="1683"/>
                  </a:lnTo>
                  <a:lnTo>
                    <a:pt x="911" y="1683"/>
                  </a:lnTo>
                  <a:lnTo>
                    <a:pt x="911" y="1683"/>
                  </a:lnTo>
                  <a:lnTo>
                    <a:pt x="910" y="1683"/>
                  </a:lnTo>
                  <a:lnTo>
                    <a:pt x="911" y="1683"/>
                  </a:lnTo>
                  <a:lnTo>
                    <a:pt x="911" y="1683"/>
                  </a:lnTo>
                  <a:lnTo>
                    <a:pt x="912" y="1680"/>
                  </a:lnTo>
                  <a:lnTo>
                    <a:pt x="912" y="1680"/>
                  </a:lnTo>
                  <a:lnTo>
                    <a:pt x="914" y="1679"/>
                  </a:lnTo>
                  <a:lnTo>
                    <a:pt x="914" y="1679"/>
                  </a:lnTo>
                  <a:lnTo>
                    <a:pt x="914" y="1677"/>
                  </a:lnTo>
                  <a:lnTo>
                    <a:pt x="914" y="1677"/>
                  </a:lnTo>
                  <a:lnTo>
                    <a:pt x="914" y="1674"/>
                  </a:lnTo>
                  <a:lnTo>
                    <a:pt x="914" y="1674"/>
                  </a:lnTo>
                  <a:lnTo>
                    <a:pt x="910" y="1667"/>
                  </a:lnTo>
                  <a:lnTo>
                    <a:pt x="910" y="1667"/>
                  </a:lnTo>
                  <a:lnTo>
                    <a:pt x="899" y="1651"/>
                  </a:lnTo>
                  <a:lnTo>
                    <a:pt x="899" y="1651"/>
                  </a:lnTo>
                  <a:lnTo>
                    <a:pt x="894" y="1644"/>
                  </a:lnTo>
                  <a:lnTo>
                    <a:pt x="894" y="1644"/>
                  </a:lnTo>
                  <a:lnTo>
                    <a:pt x="892" y="1641"/>
                  </a:lnTo>
                  <a:lnTo>
                    <a:pt x="892" y="1641"/>
                  </a:lnTo>
                  <a:lnTo>
                    <a:pt x="889" y="1640"/>
                  </a:lnTo>
                  <a:lnTo>
                    <a:pt x="889" y="1640"/>
                  </a:lnTo>
                  <a:lnTo>
                    <a:pt x="882" y="1635"/>
                  </a:lnTo>
                  <a:lnTo>
                    <a:pt x="882" y="1635"/>
                  </a:lnTo>
                  <a:lnTo>
                    <a:pt x="879" y="1632"/>
                  </a:lnTo>
                  <a:lnTo>
                    <a:pt x="879" y="1632"/>
                  </a:lnTo>
                  <a:lnTo>
                    <a:pt x="879" y="1631"/>
                  </a:lnTo>
                  <a:lnTo>
                    <a:pt x="879" y="1631"/>
                  </a:lnTo>
                  <a:lnTo>
                    <a:pt x="881" y="1628"/>
                  </a:lnTo>
                  <a:lnTo>
                    <a:pt x="881" y="1628"/>
                  </a:lnTo>
                  <a:lnTo>
                    <a:pt x="882" y="1627"/>
                  </a:lnTo>
                  <a:lnTo>
                    <a:pt x="882" y="1627"/>
                  </a:lnTo>
                  <a:lnTo>
                    <a:pt x="882" y="1625"/>
                  </a:lnTo>
                  <a:lnTo>
                    <a:pt x="882" y="1625"/>
                  </a:lnTo>
                  <a:lnTo>
                    <a:pt x="882" y="1624"/>
                  </a:lnTo>
                  <a:lnTo>
                    <a:pt x="882" y="1624"/>
                  </a:lnTo>
                  <a:lnTo>
                    <a:pt x="882" y="1622"/>
                  </a:lnTo>
                  <a:lnTo>
                    <a:pt x="882" y="1622"/>
                  </a:lnTo>
                  <a:lnTo>
                    <a:pt x="881" y="1621"/>
                  </a:lnTo>
                  <a:lnTo>
                    <a:pt x="881" y="1621"/>
                  </a:lnTo>
                  <a:lnTo>
                    <a:pt x="872" y="1614"/>
                  </a:lnTo>
                  <a:lnTo>
                    <a:pt x="868" y="1608"/>
                  </a:lnTo>
                  <a:lnTo>
                    <a:pt x="863" y="1602"/>
                  </a:lnTo>
                  <a:lnTo>
                    <a:pt x="863" y="1602"/>
                  </a:lnTo>
                  <a:lnTo>
                    <a:pt x="854" y="1585"/>
                  </a:lnTo>
                  <a:lnTo>
                    <a:pt x="854" y="1585"/>
                  </a:lnTo>
                  <a:lnTo>
                    <a:pt x="849" y="1576"/>
                  </a:lnTo>
                  <a:lnTo>
                    <a:pt x="849" y="1576"/>
                  </a:lnTo>
                  <a:lnTo>
                    <a:pt x="844" y="1573"/>
                  </a:lnTo>
                  <a:lnTo>
                    <a:pt x="841" y="1572"/>
                  </a:lnTo>
                  <a:lnTo>
                    <a:pt x="840" y="1572"/>
                  </a:lnTo>
                  <a:lnTo>
                    <a:pt x="840" y="1572"/>
                  </a:lnTo>
                  <a:lnTo>
                    <a:pt x="836" y="1572"/>
                  </a:lnTo>
                  <a:lnTo>
                    <a:pt x="833" y="1574"/>
                  </a:lnTo>
                  <a:lnTo>
                    <a:pt x="833" y="1574"/>
                  </a:lnTo>
                  <a:lnTo>
                    <a:pt x="831" y="1574"/>
                  </a:lnTo>
                  <a:lnTo>
                    <a:pt x="831" y="1574"/>
                  </a:lnTo>
                  <a:lnTo>
                    <a:pt x="831" y="1576"/>
                  </a:lnTo>
                  <a:lnTo>
                    <a:pt x="830" y="1574"/>
                  </a:lnTo>
                  <a:lnTo>
                    <a:pt x="830" y="1574"/>
                  </a:lnTo>
                  <a:lnTo>
                    <a:pt x="827" y="1573"/>
                  </a:lnTo>
                  <a:lnTo>
                    <a:pt x="827" y="1573"/>
                  </a:lnTo>
                  <a:lnTo>
                    <a:pt x="818" y="1564"/>
                  </a:lnTo>
                  <a:lnTo>
                    <a:pt x="818" y="1564"/>
                  </a:lnTo>
                  <a:lnTo>
                    <a:pt x="814" y="1561"/>
                  </a:lnTo>
                  <a:lnTo>
                    <a:pt x="814" y="1561"/>
                  </a:lnTo>
                  <a:lnTo>
                    <a:pt x="812" y="1561"/>
                  </a:lnTo>
                  <a:lnTo>
                    <a:pt x="812" y="1560"/>
                  </a:lnTo>
                  <a:lnTo>
                    <a:pt x="812" y="1560"/>
                  </a:lnTo>
                  <a:lnTo>
                    <a:pt x="811" y="1560"/>
                  </a:lnTo>
                  <a:lnTo>
                    <a:pt x="811" y="1560"/>
                  </a:lnTo>
                  <a:lnTo>
                    <a:pt x="808" y="1561"/>
                  </a:lnTo>
                  <a:lnTo>
                    <a:pt x="808" y="1561"/>
                  </a:lnTo>
                  <a:lnTo>
                    <a:pt x="808" y="1563"/>
                  </a:lnTo>
                  <a:lnTo>
                    <a:pt x="808" y="1563"/>
                  </a:lnTo>
                  <a:lnTo>
                    <a:pt x="808" y="1564"/>
                  </a:lnTo>
                  <a:lnTo>
                    <a:pt x="808" y="1564"/>
                  </a:lnTo>
                  <a:lnTo>
                    <a:pt x="808" y="1564"/>
                  </a:lnTo>
                  <a:lnTo>
                    <a:pt x="811" y="1569"/>
                  </a:lnTo>
                  <a:lnTo>
                    <a:pt x="815" y="1572"/>
                  </a:lnTo>
                  <a:lnTo>
                    <a:pt x="815" y="1572"/>
                  </a:lnTo>
                  <a:lnTo>
                    <a:pt x="818" y="1576"/>
                  </a:lnTo>
                  <a:lnTo>
                    <a:pt x="818" y="1576"/>
                  </a:lnTo>
                  <a:lnTo>
                    <a:pt x="818" y="1577"/>
                  </a:lnTo>
                  <a:lnTo>
                    <a:pt x="818" y="1577"/>
                  </a:lnTo>
                  <a:lnTo>
                    <a:pt x="818" y="1577"/>
                  </a:lnTo>
                  <a:lnTo>
                    <a:pt x="818" y="1579"/>
                  </a:lnTo>
                  <a:lnTo>
                    <a:pt x="818" y="1579"/>
                  </a:lnTo>
                  <a:lnTo>
                    <a:pt x="818" y="1582"/>
                  </a:lnTo>
                  <a:lnTo>
                    <a:pt x="818" y="1582"/>
                  </a:lnTo>
                  <a:lnTo>
                    <a:pt x="818" y="1586"/>
                  </a:lnTo>
                  <a:lnTo>
                    <a:pt x="823" y="1592"/>
                  </a:lnTo>
                  <a:lnTo>
                    <a:pt x="823" y="1592"/>
                  </a:lnTo>
                  <a:lnTo>
                    <a:pt x="828" y="1603"/>
                  </a:lnTo>
                  <a:lnTo>
                    <a:pt x="828" y="1603"/>
                  </a:lnTo>
                  <a:lnTo>
                    <a:pt x="850" y="1648"/>
                  </a:lnTo>
                  <a:lnTo>
                    <a:pt x="850" y="1648"/>
                  </a:lnTo>
                  <a:lnTo>
                    <a:pt x="850" y="1648"/>
                  </a:lnTo>
                  <a:lnTo>
                    <a:pt x="849" y="1651"/>
                  </a:lnTo>
                  <a:lnTo>
                    <a:pt x="849" y="1651"/>
                  </a:lnTo>
                  <a:lnTo>
                    <a:pt x="847" y="1657"/>
                  </a:lnTo>
                  <a:lnTo>
                    <a:pt x="847" y="1657"/>
                  </a:lnTo>
                  <a:lnTo>
                    <a:pt x="849" y="1658"/>
                  </a:lnTo>
                  <a:lnTo>
                    <a:pt x="849" y="1658"/>
                  </a:lnTo>
                  <a:lnTo>
                    <a:pt x="854" y="1667"/>
                  </a:lnTo>
                  <a:lnTo>
                    <a:pt x="854" y="1667"/>
                  </a:lnTo>
                  <a:lnTo>
                    <a:pt x="859" y="1671"/>
                  </a:lnTo>
                  <a:lnTo>
                    <a:pt x="866" y="1676"/>
                  </a:lnTo>
                  <a:lnTo>
                    <a:pt x="866" y="1676"/>
                  </a:lnTo>
                  <a:lnTo>
                    <a:pt x="870" y="1679"/>
                  </a:lnTo>
                  <a:lnTo>
                    <a:pt x="870" y="1679"/>
                  </a:lnTo>
                  <a:lnTo>
                    <a:pt x="870" y="1679"/>
                  </a:lnTo>
                  <a:lnTo>
                    <a:pt x="870" y="1679"/>
                  </a:lnTo>
                  <a:lnTo>
                    <a:pt x="870" y="1682"/>
                  </a:lnTo>
                  <a:lnTo>
                    <a:pt x="870" y="1682"/>
                  </a:lnTo>
                  <a:lnTo>
                    <a:pt x="870" y="1685"/>
                  </a:lnTo>
                  <a:lnTo>
                    <a:pt x="870" y="1685"/>
                  </a:lnTo>
                  <a:lnTo>
                    <a:pt x="872" y="1698"/>
                  </a:lnTo>
                  <a:lnTo>
                    <a:pt x="875" y="1712"/>
                  </a:lnTo>
                  <a:lnTo>
                    <a:pt x="875" y="1712"/>
                  </a:lnTo>
                  <a:lnTo>
                    <a:pt x="876" y="1721"/>
                  </a:lnTo>
                  <a:lnTo>
                    <a:pt x="881" y="1729"/>
                  </a:lnTo>
                  <a:lnTo>
                    <a:pt x="881" y="1729"/>
                  </a:lnTo>
                  <a:lnTo>
                    <a:pt x="886" y="1737"/>
                  </a:lnTo>
                  <a:lnTo>
                    <a:pt x="886" y="1737"/>
                  </a:lnTo>
                  <a:lnTo>
                    <a:pt x="891" y="1741"/>
                  </a:lnTo>
                  <a:lnTo>
                    <a:pt x="891" y="1741"/>
                  </a:lnTo>
                  <a:lnTo>
                    <a:pt x="894" y="1744"/>
                  </a:lnTo>
                  <a:lnTo>
                    <a:pt x="894" y="1744"/>
                  </a:lnTo>
                  <a:lnTo>
                    <a:pt x="902" y="1754"/>
                  </a:lnTo>
                  <a:lnTo>
                    <a:pt x="907" y="1763"/>
                  </a:lnTo>
                  <a:lnTo>
                    <a:pt x="907" y="1763"/>
                  </a:lnTo>
                  <a:lnTo>
                    <a:pt x="912" y="1780"/>
                  </a:lnTo>
                  <a:lnTo>
                    <a:pt x="912" y="1780"/>
                  </a:lnTo>
                  <a:lnTo>
                    <a:pt x="915" y="1787"/>
                  </a:lnTo>
                  <a:lnTo>
                    <a:pt x="915" y="1787"/>
                  </a:lnTo>
                  <a:lnTo>
                    <a:pt x="918" y="1790"/>
                  </a:lnTo>
                  <a:lnTo>
                    <a:pt x="918" y="1790"/>
                  </a:lnTo>
                  <a:lnTo>
                    <a:pt x="921" y="1793"/>
                  </a:lnTo>
                  <a:lnTo>
                    <a:pt x="921" y="1793"/>
                  </a:lnTo>
                  <a:lnTo>
                    <a:pt x="925" y="1796"/>
                  </a:lnTo>
                  <a:lnTo>
                    <a:pt x="925" y="1796"/>
                  </a:lnTo>
                  <a:lnTo>
                    <a:pt x="934" y="1802"/>
                  </a:lnTo>
                  <a:lnTo>
                    <a:pt x="934" y="1802"/>
                  </a:lnTo>
                  <a:lnTo>
                    <a:pt x="939" y="1805"/>
                  </a:lnTo>
                  <a:lnTo>
                    <a:pt x="939" y="1805"/>
                  </a:lnTo>
                  <a:lnTo>
                    <a:pt x="943" y="1808"/>
                  </a:lnTo>
                  <a:lnTo>
                    <a:pt x="943" y="1808"/>
                  </a:lnTo>
                  <a:lnTo>
                    <a:pt x="943" y="1808"/>
                  </a:lnTo>
                  <a:lnTo>
                    <a:pt x="943" y="1808"/>
                  </a:lnTo>
                  <a:lnTo>
                    <a:pt x="946" y="1812"/>
                  </a:lnTo>
                  <a:lnTo>
                    <a:pt x="946" y="1812"/>
                  </a:lnTo>
                  <a:lnTo>
                    <a:pt x="952" y="1819"/>
                  </a:lnTo>
                  <a:lnTo>
                    <a:pt x="952" y="1819"/>
                  </a:lnTo>
                  <a:lnTo>
                    <a:pt x="967" y="1829"/>
                  </a:lnTo>
                  <a:lnTo>
                    <a:pt x="967" y="1829"/>
                  </a:lnTo>
                  <a:lnTo>
                    <a:pt x="970" y="1834"/>
                  </a:lnTo>
                  <a:lnTo>
                    <a:pt x="973" y="1839"/>
                  </a:lnTo>
                  <a:lnTo>
                    <a:pt x="973" y="1839"/>
                  </a:lnTo>
                  <a:lnTo>
                    <a:pt x="975" y="1845"/>
                  </a:lnTo>
                  <a:lnTo>
                    <a:pt x="975" y="1845"/>
                  </a:lnTo>
                  <a:lnTo>
                    <a:pt x="976" y="1850"/>
                  </a:lnTo>
                  <a:lnTo>
                    <a:pt x="976" y="1850"/>
                  </a:lnTo>
                  <a:lnTo>
                    <a:pt x="976" y="1850"/>
                  </a:lnTo>
                  <a:lnTo>
                    <a:pt x="976" y="1850"/>
                  </a:lnTo>
                  <a:lnTo>
                    <a:pt x="976" y="1850"/>
                  </a:lnTo>
                  <a:lnTo>
                    <a:pt x="976" y="1850"/>
                  </a:lnTo>
                  <a:lnTo>
                    <a:pt x="976" y="1850"/>
                  </a:lnTo>
                  <a:lnTo>
                    <a:pt x="978" y="1850"/>
                  </a:lnTo>
                  <a:lnTo>
                    <a:pt x="976" y="1848"/>
                  </a:lnTo>
                  <a:lnTo>
                    <a:pt x="976" y="1850"/>
                  </a:lnTo>
                  <a:lnTo>
                    <a:pt x="978" y="1850"/>
                  </a:lnTo>
                  <a:lnTo>
                    <a:pt x="976" y="1848"/>
                  </a:lnTo>
                  <a:lnTo>
                    <a:pt x="976" y="1848"/>
                  </a:lnTo>
                  <a:lnTo>
                    <a:pt x="975" y="1851"/>
                  </a:lnTo>
                  <a:lnTo>
                    <a:pt x="975" y="1851"/>
                  </a:lnTo>
                  <a:lnTo>
                    <a:pt x="976" y="1853"/>
                  </a:lnTo>
                  <a:lnTo>
                    <a:pt x="976" y="1853"/>
                  </a:lnTo>
                  <a:lnTo>
                    <a:pt x="978" y="1854"/>
                  </a:lnTo>
                  <a:lnTo>
                    <a:pt x="978" y="1854"/>
                  </a:lnTo>
                  <a:lnTo>
                    <a:pt x="979" y="1855"/>
                  </a:lnTo>
                  <a:lnTo>
                    <a:pt x="981" y="1858"/>
                  </a:lnTo>
                  <a:lnTo>
                    <a:pt x="981" y="1858"/>
                  </a:lnTo>
                  <a:lnTo>
                    <a:pt x="986" y="1870"/>
                  </a:lnTo>
                  <a:lnTo>
                    <a:pt x="986" y="1870"/>
                  </a:lnTo>
                  <a:lnTo>
                    <a:pt x="991" y="1876"/>
                  </a:lnTo>
                  <a:lnTo>
                    <a:pt x="991" y="1876"/>
                  </a:lnTo>
                  <a:lnTo>
                    <a:pt x="994" y="1877"/>
                  </a:lnTo>
                  <a:lnTo>
                    <a:pt x="994" y="1877"/>
                  </a:lnTo>
                  <a:lnTo>
                    <a:pt x="996" y="1879"/>
                  </a:lnTo>
                  <a:lnTo>
                    <a:pt x="998" y="1879"/>
                  </a:lnTo>
                  <a:lnTo>
                    <a:pt x="998" y="1879"/>
                  </a:lnTo>
                  <a:lnTo>
                    <a:pt x="1002" y="1876"/>
                  </a:lnTo>
                  <a:lnTo>
                    <a:pt x="1002" y="1876"/>
                  </a:lnTo>
                  <a:lnTo>
                    <a:pt x="1012" y="1871"/>
                  </a:lnTo>
                  <a:lnTo>
                    <a:pt x="1012" y="1871"/>
                  </a:lnTo>
                  <a:lnTo>
                    <a:pt x="1023" y="1870"/>
                  </a:lnTo>
                  <a:lnTo>
                    <a:pt x="1023" y="1870"/>
                  </a:lnTo>
                  <a:lnTo>
                    <a:pt x="1023" y="1870"/>
                  </a:lnTo>
                  <a:lnTo>
                    <a:pt x="1025" y="1870"/>
                  </a:lnTo>
                  <a:lnTo>
                    <a:pt x="1027" y="1871"/>
                  </a:lnTo>
                  <a:lnTo>
                    <a:pt x="1027" y="1871"/>
                  </a:lnTo>
                  <a:lnTo>
                    <a:pt x="1028" y="1873"/>
                  </a:lnTo>
                  <a:lnTo>
                    <a:pt x="1028" y="1873"/>
                  </a:lnTo>
                  <a:lnTo>
                    <a:pt x="1031" y="1874"/>
                  </a:lnTo>
                  <a:lnTo>
                    <a:pt x="1031" y="1874"/>
                  </a:lnTo>
                  <a:lnTo>
                    <a:pt x="1036" y="1873"/>
                  </a:lnTo>
                  <a:lnTo>
                    <a:pt x="1036" y="1873"/>
                  </a:lnTo>
                  <a:lnTo>
                    <a:pt x="1041" y="1868"/>
                  </a:lnTo>
                  <a:lnTo>
                    <a:pt x="1041" y="1868"/>
                  </a:lnTo>
                  <a:lnTo>
                    <a:pt x="1047" y="1866"/>
                  </a:lnTo>
                  <a:lnTo>
                    <a:pt x="1047" y="1866"/>
                  </a:lnTo>
                  <a:lnTo>
                    <a:pt x="1054" y="1866"/>
                  </a:lnTo>
                  <a:lnTo>
                    <a:pt x="1054" y="1866"/>
                  </a:lnTo>
                  <a:lnTo>
                    <a:pt x="1065" y="1866"/>
                  </a:lnTo>
                  <a:lnTo>
                    <a:pt x="1065" y="1866"/>
                  </a:lnTo>
                  <a:lnTo>
                    <a:pt x="1070" y="1864"/>
                  </a:lnTo>
                  <a:lnTo>
                    <a:pt x="1076" y="1863"/>
                  </a:lnTo>
                  <a:lnTo>
                    <a:pt x="1076" y="1863"/>
                  </a:lnTo>
                  <a:lnTo>
                    <a:pt x="1088" y="1857"/>
                  </a:lnTo>
                  <a:lnTo>
                    <a:pt x="1088" y="1857"/>
                  </a:lnTo>
                  <a:lnTo>
                    <a:pt x="1099" y="1851"/>
                  </a:lnTo>
                  <a:lnTo>
                    <a:pt x="1099" y="1851"/>
                  </a:lnTo>
                  <a:lnTo>
                    <a:pt x="1101" y="1851"/>
                  </a:lnTo>
                  <a:lnTo>
                    <a:pt x="1101" y="1851"/>
                  </a:lnTo>
                  <a:lnTo>
                    <a:pt x="1101" y="1851"/>
                  </a:lnTo>
                  <a:lnTo>
                    <a:pt x="1101" y="1851"/>
                  </a:lnTo>
                  <a:lnTo>
                    <a:pt x="1101" y="1851"/>
                  </a:lnTo>
                  <a:lnTo>
                    <a:pt x="1101" y="1851"/>
                  </a:lnTo>
                  <a:lnTo>
                    <a:pt x="1101" y="1851"/>
                  </a:lnTo>
                  <a:lnTo>
                    <a:pt x="1101" y="1851"/>
                  </a:lnTo>
                  <a:lnTo>
                    <a:pt x="1101" y="1850"/>
                  </a:lnTo>
                  <a:lnTo>
                    <a:pt x="1099" y="1851"/>
                  </a:lnTo>
                  <a:lnTo>
                    <a:pt x="1101" y="1851"/>
                  </a:lnTo>
                  <a:lnTo>
                    <a:pt x="1101" y="1850"/>
                  </a:lnTo>
                  <a:lnTo>
                    <a:pt x="1099" y="1851"/>
                  </a:lnTo>
                  <a:lnTo>
                    <a:pt x="1099" y="1850"/>
                  </a:lnTo>
                  <a:lnTo>
                    <a:pt x="1099" y="1851"/>
                  </a:lnTo>
                  <a:lnTo>
                    <a:pt x="1099" y="1851"/>
                  </a:lnTo>
                  <a:lnTo>
                    <a:pt x="1099" y="1850"/>
                  </a:lnTo>
                  <a:lnTo>
                    <a:pt x="1099" y="1851"/>
                  </a:lnTo>
                  <a:lnTo>
                    <a:pt x="1099" y="1851"/>
                  </a:lnTo>
                  <a:lnTo>
                    <a:pt x="1099" y="1853"/>
                  </a:lnTo>
                  <a:lnTo>
                    <a:pt x="1099" y="1853"/>
                  </a:lnTo>
                  <a:lnTo>
                    <a:pt x="1099" y="1857"/>
                  </a:lnTo>
                  <a:lnTo>
                    <a:pt x="1099" y="1857"/>
                  </a:lnTo>
                  <a:lnTo>
                    <a:pt x="1098" y="1877"/>
                  </a:lnTo>
                  <a:lnTo>
                    <a:pt x="1098" y="1877"/>
                  </a:lnTo>
                  <a:lnTo>
                    <a:pt x="1096" y="1887"/>
                  </a:lnTo>
                  <a:lnTo>
                    <a:pt x="1096" y="1887"/>
                  </a:lnTo>
                  <a:lnTo>
                    <a:pt x="1093" y="1895"/>
                  </a:lnTo>
                  <a:lnTo>
                    <a:pt x="1093" y="1895"/>
                  </a:lnTo>
                  <a:lnTo>
                    <a:pt x="1082" y="1913"/>
                  </a:lnTo>
                  <a:lnTo>
                    <a:pt x="1082" y="1913"/>
                  </a:lnTo>
                  <a:lnTo>
                    <a:pt x="1070" y="1935"/>
                  </a:lnTo>
                  <a:lnTo>
                    <a:pt x="1070" y="1935"/>
                  </a:lnTo>
                  <a:lnTo>
                    <a:pt x="1056" y="1961"/>
                  </a:lnTo>
                  <a:lnTo>
                    <a:pt x="1056" y="1961"/>
                  </a:lnTo>
                  <a:lnTo>
                    <a:pt x="1046" y="1976"/>
                  </a:lnTo>
                  <a:lnTo>
                    <a:pt x="1046" y="1976"/>
                  </a:lnTo>
                  <a:lnTo>
                    <a:pt x="1043" y="1981"/>
                  </a:lnTo>
                  <a:lnTo>
                    <a:pt x="1043" y="1981"/>
                  </a:lnTo>
                  <a:lnTo>
                    <a:pt x="1040" y="1983"/>
                  </a:lnTo>
                  <a:lnTo>
                    <a:pt x="1040" y="1983"/>
                  </a:lnTo>
                  <a:lnTo>
                    <a:pt x="1031" y="1989"/>
                  </a:lnTo>
                  <a:lnTo>
                    <a:pt x="1025" y="1994"/>
                  </a:lnTo>
                  <a:lnTo>
                    <a:pt x="1025" y="1994"/>
                  </a:lnTo>
                  <a:lnTo>
                    <a:pt x="1024" y="1997"/>
                  </a:lnTo>
                  <a:lnTo>
                    <a:pt x="1024" y="1997"/>
                  </a:lnTo>
                  <a:lnTo>
                    <a:pt x="1024" y="1999"/>
                  </a:lnTo>
                  <a:lnTo>
                    <a:pt x="1025" y="1999"/>
                  </a:lnTo>
                  <a:lnTo>
                    <a:pt x="1024" y="1997"/>
                  </a:lnTo>
                  <a:lnTo>
                    <a:pt x="1024" y="1999"/>
                  </a:lnTo>
                  <a:lnTo>
                    <a:pt x="1025" y="1999"/>
                  </a:lnTo>
                  <a:lnTo>
                    <a:pt x="1024" y="1997"/>
                  </a:lnTo>
                  <a:lnTo>
                    <a:pt x="1024" y="1997"/>
                  </a:lnTo>
                  <a:lnTo>
                    <a:pt x="1020" y="2000"/>
                  </a:lnTo>
                  <a:lnTo>
                    <a:pt x="1020" y="2000"/>
                  </a:lnTo>
                  <a:lnTo>
                    <a:pt x="1012" y="2005"/>
                  </a:lnTo>
                  <a:lnTo>
                    <a:pt x="1002" y="2012"/>
                  </a:lnTo>
                  <a:lnTo>
                    <a:pt x="992" y="2019"/>
                  </a:lnTo>
                  <a:lnTo>
                    <a:pt x="983" y="2029"/>
                  </a:lnTo>
                  <a:lnTo>
                    <a:pt x="983" y="2029"/>
                  </a:lnTo>
                  <a:lnTo>
                    <a:pt x="966" y="2052"/>
                  </a:lnTo>
                  <a:lnTo>
                    <a:pt x="966" y="2052"/>
                  </a:lnTo>
                  <a:lnTo>
                    <a:pt x="957" y="2064"/>
                  </a:lnTo>
                  <a:lnTo>
                    <a:pt x="957" y="2064"/>
                  </a:lnTo>
                  <a:lnTo>
                    <a:pt x="954" y="2068"/>
                  </a:lnTo>
                  <a:lnTo>
                    <a:pt x="953" y="2068"/>
                  </a:lnTo>
                  <a:lnTo>
                    <a:pt x="953" y="2070"/>
                  </a:lnTo>
                  <a:lnTo>
                    <a:pt x="953" y="2070"/>
                  </a:lnTo>
                  <a:lnTo>
                    <a:pt x="953" y="2070"/>
                  </a:lnTo>
                  <a:lnTo>
                    <a:pt x="946" y="2070"/>
                  </a:lnTo>
                  <a:lnTo>
                    <a:pt x="946" y="2070"/>
                  </a:lnTo>
                  <a:lnTo>
                    <a:pt x="941" y="2071"/>
                  </a:lnTo>
                  <a:lnTo>
                    <a:pt x="941" y="2071"/>
                  </a:lnTo>
                  <a:lnTo>
                    <a:pt x="939" y="2074"/>
                  </a:lnTo>
                  <a:lnTo>
                    <a:pt x="939" y="2074"/>
                  </a:lnTo>
                  <a:lnTo>
                    <a:pt x="936" y="2078"/>
                  </a:lnTo>
                  <a:lnTo>
                    <a:pt x="936" y="2078"/>
                  </a:lnTo>
                  <a:lnTo>
                    <a:pt x="921" y="2102"/>
                  </a:lnTo>
                  <a:lnTo>
                    <a:pt x="921" y="2102"/>
                  </a:lnTo>
                  <a:lnTo>
                    <a:pt x="915" y="2113"/>
                  </a:lnTo>
                  <a:lnTo>
                    <a:pt x="915" y="2113"/>
                  </a:lnTo>
                  <a:lnTo>
                    <a:pt x="912" y="2118"/>
                  </a:lnTo>
                  <a:lnTo>
                    <a:pt x="912" y="2118"/>
                  </a:lnTo>
                  <a:lnTo>
                    <a:pt x="912" y="2119"/>
                  </a:lnTo>
                  <a:lnTo>
                    <a:pt x="912" y="2119"/>
                  </a:lnTo>
                  <a:lnTo>
                    <a:pt x="912" y="2119"/>
                  </a:lnTo>
                  <a:lnTo>
                    <a:pt x="912" y="2120"/>
                  </a:lnTo>
                  <a:lnTo>
                    <a:pt x="912" y="2119"/>
                  </a:lnTo>
                  <a:lnTo>
                    <a:pt x="912" y="2119"/>
                  </a:lnTo>
                  <a:lnTo>
                    <a:pt x="912" y="2120"/>
                  </a:lnTo>
                  <a:lnTo>
                    <a:pt x="912" y="2119"/>
                  </a:lnTo>
                  <a:lnTo>
                    <a:pt x="912" y="2119"/>
                  </a:lnTo>
                  <a:lnTo>
                    <a:pt x="912" y="2119"/>
                  </a:lnTo>
                  <a:lnTo>
                    <a:pt x="911" y="2120"/>
                  </a:lnTo>
                  <a:lnTo>
                    <a:pt x="911" y="2120"/>
                  </a:lnTo>
                  <a:lnTo>
                    <a:pt x="910" y="2123"/>
                  </a:lnTo>
                  <a:lnTo>
                    <a:pt x="910" y="2123"/>
                  </a:lnTo>
                  <a:lnTo>
                    <a:pt x="910" y="2134"/>
                  </a:lnTo>
                  <a:lnTo>
                    <a:pt x="910" y="2134"/>
                  </a:lnTo>
                  <a:lnTo>
                    <a:pt x="911" y="2139"/>
                  </a:lnTo>
                  <a:lnTo>
                    <a:pt x="911" y="2139"/>
                  </a:lnTo>
                  <a:lnTo>
                    <a:pt x="914" y="2148"/>
                  </a:lnTo>
                  <a:lnTo>
                    <a:pt x="914" y="2148"/>
                  </a:lnTo>
                  <a:lnTo>
                    <a:pt x="915" y="2154"/>
                  </a:lnTo>
                  <a:lnTo>
                    <a:pt x="915" y="2154"/>
                  </a:lnTo>
                  <a:lnTo>
                    <a:pt x="915" y="2163"/>
                  </a:lnTo>
                  <a:lnTo>
                    <a:pt x="915" y="2163"/>
                  </a:lnTo>
                  <a:lnTo>
                    <a:pt x="915" y="2176"/>
                  </a:lnTo>
                  <a:lnTo>
                    <a:pt x="915" y="2176"/>
                  </a:lnTo>
                  <a:lnTo>
                    <a:pt x="915" y="2184"/>
                  </a:lnTo>
                  <a:lnTo>
                    <a:pt x="915" y="2184"/>
                  </a:lnTo>
                  <a:lnTo>
                    <a:pt x="915" y="2189"/>
                  </a:lnTo>
                  <a:lnTo>
                    <a:pt x="915" y="2189"/>
                  </a:lnTo>
                  <a:lnTo>
                    <a:pt x="917" y="2191"/>
                  </a:lnTo>
                  <a:lnTo>
                    <a:pt x="917" y="2191"/>
                  </a:lnTo>
                  <a:lnTo>
                    <a:pt x="924" y="2200"/>
                  </a:lnTo>
                  <a:lnTo>
                    <a:pt x="924" y="2200"/>
                  </a:lnTo>
                  <a:lnTo>
                    <a:pt x="931" y="2210"/>
                  </a:lnTo>
                  <a:lnTo>
                    <a:pt x="931" y="2210"/>
                  </a:lnTo>
                  <a:lnTo>
                    <a:pt x="933" y="2213"/>
                  </a:lnTo>
                  <a:lnTo>
                    <a:pt x="933" y="2220"/>
                  </a:lnTo>
                  <a:lnTo>
                    <a:pt x="933" y="2220"/>
                  </a:lnTo>
                  <a:lnTo>
                    <a:pt x="931" y="2229"/>
                  </a:lnTo>
                  <a:lnTo>
                    <a:pt x="931" y="2229"/>
                  </a:lnTo>
                  <a:lnTo>
                    <a:pt x="931" y="2236"/>
                  </a:lnTo>
                  <a:lnTo>
                    <a:pt x="931" y="2236"/>
                  </a:lnTo>
                  <a:lnTo>
                    <a:pt x="933" y="2255"/>
                  </a:lnTo>
                  <a:lnTo>
                    <a:pt x="933" y="2255"/>
                  </a:lnTo>
                  <a:lnTo>
                    <a:pt x="933" y="2264"/>
                  </a:lnTo>
                  <a:lnTo>
                    <a:pt x="933" y="2264"/>
                  </a:lnTo>
                  <a:lnTo>
                    <a:pt x="934" y="2270"/>
                  </a:lnTo>
                  <a:lnTo>
                    <a:pt x="934" y="2270"/>
                  </a:lnTo>
                  <a:lnTo>
                    <a:pt x="939" y="2278"/>
                  </a:lnTo>
                  <a:lnTo>
                    <a:pt x="939" y="2278"/>
                  </a:lnTo>
                  <a:lnTo>
                    <a:pt x="940" y="2286"/>
                  </a:lnTo>
                  <a:lnTo>
                    <a:pt x="940" y="2286"/>
                  </a:lnTo>
                  <a:lnTo>
                    <a:pt x="940" y="2286"/>
                  </a:lnTo>
                  <a:lnTo>
                    <a:pt x="940" y="2286"/>
                  </a:lnTo>
                  <a:lnTo>
                    <a:pt x="940" y="2286"/>
                  </a:lnTo>
                  <a:lnTo>
                    <a:pt x="940" y="2286"/>
                  </a:lnTo>
                  <a:lnTo>
                    <a:pt x="940" y="2286"/>
                  </a:lnTo>
                  <a:lnTo>
                    <a:pt x="940" y="2286"/>
                  </a:lnTo>
                  <a:lnTo>
                    <a:pt x="940" y="2286"/>
                  </a:lnTo>
                  <a:lnTo>
                    <a:pt x="940" y="2286"/>
                  </a:lnTo>
                  <a:lnTo>
                    <a:pt x="940" y="2286"/>
                  </a:lnTo>
                  <a:lnTo>
                    <a:pt x="940" y="2286"/>
                  </a:lnTo>
                  <a:lnTo>
                    <a:pt x="940" y="2286"/>
                  </a:lnTo>
                  <a:lnTo>
                    <a:pt x="939" y="2287"/>
                  </a:lnTo>
                  <a:lnTo>
                    <a:pt x="939" y="2287"/>
                  </a:lnTo>
                  <a:lnTo>
                    <a:pt x="927" y="2300"/>
                  </a:lnTo>
                  <a:lnTo>
                    <a:pt x="927" y="2300"/>
                  </a:lnTo>
                  <a:lnTo>
                    <a:pt x="921" y="2306"/>
                  </a:lnTo>
                  <a:lnTo>
                    <a:pt x="921" y="2306"/>
                  </a:lnTo>
                  <a:lnTo>
                    <a:pt x="917" y="2309"/>
                  </a:lnTo>
                  <a:lnTo>
                    <a:pt x="917" y="2309"/>
                  </a:lnTo>
                  <a:lnTo>
                    <a:pt x="914" y="2312"/>
                  </a:lnTo>
                  <a:lnTo>
                    <a:pt x="914" y="2312"/>
                  </a:lnTo>
                  <a:lnTo>
                    <a:pt x="904" y="2315"/>
                  </a:lnTo>
                  <a:lnTo>
                    <a:pt x="892" y="2322"/>
                  </a:lnTo>
                  <a:lnTo>
                    <a:pt x="892" y="2322"/>
                  </a:lnTo>
                  <a:lnTo>
                    <a:pt x="866" y="2342"/>
                  </a:lnTo>
                  <a:lnTo>
                    <a:pt x="866" y="2342"/>
                  </a:lnTo>
                  <a:lnTo>
                    <a:pt x="853" y="2354"/>
                  </a:lnTo>
                  <a:lnTo>
                    <a:pt x="853" y="2354"/>
                  </a:lnTo>
                  <a:lnTo>
                    <a:pt x="847" y="2359"/>
                  </a:lnTo>
                  <a:lnTo>
                    <a:pt x="847" y="2359"/>
                  </a:lnTo>
                  <a:lnTo>
                    <a:pt x="844" y="2364"/>
                  </a:lnTo>
                  <a:lnTo>
                    <a:pt x="844" y="2364"/>
                  </a:lnTo>
                  <a:lnTo>
                    <a:pt x="843" y="2368"/>
                  </a:lnTo>
                  <a:lnTo>
                    <a:pt x="841" y="2373"/>
                  </a:lnTo>
                  <a:lnTo>
                    <a:pt x="841" y="2373"/>
                  </a:lnTo>
                  <a:lnTo>
                    <a:pt x="843" y="2377"/>
                  </a:lnTo>
                  <a:lnTo>
                    <a:pt x="843" y="2377"/>
                  </a:lnTo>
                  <a:lnTo>
                    <a:pt x="844" y="2378"/>
                  </a:lnTo>
                  <a:lnTo>
                    <a:pt x="847" y="2378"/>
                  </a:lnTo>
                  <a:lnTo>
                    <a:pt x="847" y="2377"/>
                  </a:lnTo>
                  <a:lnTo>
                    <a:pt x="846" y="2378"/>
                  </a:lnTo>
                  <a:lnTo>
                    <a:pt x="847" y="2378"/>
                  </a:lnTo>
                  <a:lnTo>
                    <a:pt x="847" y="2377"/>
                  </a:lnTo>
                  <a:lnTo>
                    <a:pt x="846" y="2378"/>
                  </a:lnTo>
                  <a:lnTo>
                    <a:pt x="846" y="2378"/>
                  </a:lnTo>
                  <a:lnTo>
                    <a:pt x="846" y="2378"/>
                  </a:lnTo>
                  <a:lnTo>
                    <a:pt x="846" y="2378"/>
                  </a:lnTo>
                  <a:lnTo>
                    <a:pt x="846" y="2378"/>
                  </a:lnTo>
                  <a:lnTo>
                    <a:pt x="846" y="2378"/>
                  </a:lnTo>
                  <a:lnTo>
                    <a:pt x="846" y="2378"/>
                  </a:lnTo>
                  <a:lnTo>
                    <a:pt x="847" y="2381"/>
                  </a:lnTo>
                  <a:lnTo>
                    <a:pt x="847" y="2381"/>
                  </a:lnTo>
                  <a:lnTo>
                    <a:pt x="849" y="2391"/>
                  </a:lnTo>
                  <a:lnTo>
                    <a:pt x="849" y="2391"/>
                  </a:lnTo>
                  <a:lnTo>
                    <a:pt x="849" y="2396"/>
                  </a:lnTo>
                  <a:lnTo>
                    <a:pt x="849" y="2396"/>
                  </a:lnTo>
                  <a:lnTo>
                    <a:pt x="850" y="2400"/>
                  </a:lnTo>
                  <a:lnTo>
                    <a:pt x="850" y="2400"/>
                  </a:lnTo>
                  <a:lnTo>
                    <a:pt x="850" y="2404"/>
                  </a:lnTo>
                  <a:lnTo>
                    <a:pt x="850" y="2404"/>
                  </a:lnTo>
                  <a:lnTo>
                    <a:pt x="852" y="2415"/>
                  </a:lnTo>
                  <a:lnTo>
                    <a:pt x="853" y="2428"/>
                  </a:lnTo>
                  <a:lnTo>
                    <a:pt x="853" y="2428"/>
                  </a:lnTo>
                  <a:lnTo>
                    <a:pt x="852" y="2436"/>
                  </a:lnTo>
                  <a:lnTo>
                    <a:pt x="852" y="2436"/>
                  </a:lnTo>
                  <a:lnTo>
                    <a:pt x="850" y="2439"/>
                  </a:lnTo>
                  <a:lnTo>
                    <a:pt x="849" y="2442"/>
                  </a:lnTo>
                  <a:lnTo>
                    <a:pt x="849" y="2442"/>
                  </a:lnTo>
                  <a:lnTo>
                    <a:pt x="841" y="2446"/>
                  </a:lnTo>
                  <a:lnTo>
                    <a:pt x="834" y="2451"/>
                  </a:lnTo>
                  <a:lnTo>
                    <a:pt x="834" y="2451"/>
                  </a:lnTo>
                  <a:lnTo>
                    <a:pt x="823" y="2458"/>
                  </a:lnTo>
                  <a:lnTo>
                    <a:pt x="823" y="2458"/>
                  </a:lnTo>
                  <a:lnTo>
                    <a:pt x="817" y="2462"/>
                  </a:lnTo>
                  <a:lnTo>
                    <a:pt x="812" y="2467"/>
                  </a:lnTo>
                  <a:lnTo>
                    <a:pt x="812" y="2467"/>
                  </a:lnTo>
                  <a:lnTo>
                    <a:pt x="811" y="2471"/>
                  </a:lnTo>
                  <a:lnTo>
                    <a:pt x="810" y="2475"/>
                  </a:lnTo>
                  <a:lnTo>
                    <a:pt x="810" y="2477"/>
                  </a:lnTo>
                  <a:lnTo>
                    <a:pt x="810" y="2477"/>
                  </a:lnTo>
                  <a:lnTo>
                    <a:pt x="810" y="2478"/>
                  </a:lnTo>
                  <a:lnTo>
                    <a:pt x="810" y="2478"/>
                  </a:lnTo>
                  <a:lnTo>
                    <a:pt x="810" y="2490"/>
                  </a:lnTo>
                  <a:lnTo>
                    <a:pt x="810" y="2490"/>
                  </a:lnTo>
                  <a:lnTo>
                    <a:pt x="808" y="2499"/>
                  </a:lnTo>
                  <a:lnTo>
                    <a:pt x="808" y="2499"/>
                  </a:lnTo>
                  <a:lnTo>
                    <a:pt x="804" y="2510"/>
                  </a:lnTo>
                  <a:lnTo>
                    <a:pt x="804" y="2510"/>
                  </a:lnTo>
                  <a:lnTo>
                    <a:pt x="801" y="2517"/>
                  </a:lnTo>
                  <a:lnTo>
                    <a:pt x="801" y="2517"/>
                  </a:lnTo>
                  <a:lnTo>
                    <a:pt x="794" y="2525"/>
                  </a:lnTo>
                  <a:lnTo>
                    <a:pt x="794" y="2525"/>
                  </a:lnTo>
                  <a:lnTo>
                    <a:pt x="786" y="2533"/>
                  </a:lnTo>
                  <a:lnTo>
                    <a:pt x="786" y="2533"/>
                  </a:lnTo>
                  <a:lnTo>
                    <a:pt x="779" y="2545"/>
                  </a:lnTo>
                  <a:lnTo>
                    <a:pt x="779" y="2545"/>
                  </a:lnTo>
                  <a:lnTo>
                    <a:pt x="773" y="2551"/>
                  </a:lnTo>
                  <a:lnTo>
                    <a:pt x="773" y="2551"/>
                  </a:lnTo>
                  <a:lnTo>
                    <a:pt x="772" y="2552"/>
                  </a:lnTo>
                  <a:lnTo>
                    <a:pt x="772" y="2552"/>
                  </a:lnTo>
                  <a:lnTo>
                    <a:pt x="772" y="2552"/>
                  </a:lnTo>
                  <a:lnTo>
                    <a:pt x="772" y="2552"/>
                  </a:lnTo>
                  <a:lnTo>
                    <a:pt x="772" y="2552"/>
                  </a:lnTo>
                  <a:lnTo>
                    <a:pt x="772" y="2552"/>
                  </a:lnTo>
                  <a:lnTo>
                    <a:pt x="772" y="2552"/>
                  </a:lnTo>
                  <a:lnTo>
                    <a:pt x="772" y="2552"/>
                  </a:lnTo>
                  <a:lnTo>
                    <a:pt x="772" y="2552"/>
                  </a:lnTo>
                  <a:lnTo>
                    <a:pt x="766" y="2552"/>
                  </a:lnTo>
                  <a:lnTo>
                    <a:pt x="766" y="2552"/>
                  </a:lnTo>
                  <a:lnTo>
                    <a:pt x="763" y="2554"/>
                  </a:lnTo>
                  <a:lnTo>
                    <a:pt x="760" y="2558"/>
                  </a:lnTo>
                  <a:lnTo>
                    <a:pt x="760" y="2558"/>
                  </a:lnTo>
                  <a:lnTo>
                    <a:pt x="756" y="2564"/>
                  </a:lnTo>
                  <a:lnTo>
                    <a:pt x="756" y="2564"/>
                  </a:lnTo>
                  <a:lnTo>
                    <a:pt x="744" y="2577"/>
                  </a:lnTo>
                  <a:lnTo>
                    <a:pt x="744" y="2577"/>
                  </a:lnTo>
                  <a:lnTo>
                    <a:pt x="740" y="2583"/>
                  </a:lnTo>
                  <a:lnTo>
                    <a:pt x="740" y="2583"/>
                  </a:lnTo>
                  <a:lnTo>
                    <a:pt x="737" y="2584"/>
                  </a:lnTo>
                  <a:lnTo>
                    <a:pt x="737" y="2584"/>
                  </a:lnTo>
                  <a:lnTo>
                    <a:pt x="737" y="2584"/>
                  </a:lnTo>
                  <a:lnTo>
                    <a:pt x="737" y="2585"/>
                  </a:lnTo>
                  <a:lnTo>
                    <a:pt x="737" y="2584"/>
                  </a:lnTo>
                  <a:lnTo>
                    <a:pt x="737" y="2584"/>
                  </a:lnTo>
                  <a:lnTo>
                    <a:pt x="737" y="2585"/>
                  </a:lnTo>
                  <a:lnTo>
                    <a:pt x="737" y="2584"/>
                  </a:lnTo>
                  <a:lnTo>
                    <a:pt x="737" y="2584"/>
                  </a:lnTo>
                  <a:lnTo>
                    <a:pt x="736" y="2585"/>
                  </a:lnTo>
                  <a:lnTo>
                    <a:pt x="736" y="2585"/>
                  </a:lnTo>
                  <a:lnTo>
                    <a:pt x="721" y="2597"/>
                  </a:lnTo>
                  <a:lnTo>
                    <a:pt x="721" y="2597"/>
                  </a:lnTo>
                  <a:lnTo>
                    <a:pt x="708" y="2609"/>
                  </a:lnTo>
                  <a:lnTo>
                    <a:pt x="708" y="2609"/>
                  </a:lnTo>
                  <a:lnTo>
                    <a:pt x="700" y="2613"/>
                  </a:lnTo>
                  <a:lnTo>
                    <a:pt x="692" y="2616"/>
                  </a:lnTo>
                  <a:lnTo>
                    <a:pt x="692" y="2616"/>
                  </a:lnTo>
                  <a:lnTo>
                    <a:pt x="684" y="2617"/>
                  </a:lnTo>
                  <a:lnTo>
                    <a:pt x="684" y="2617"/>
                  </a:lnTo>
                  <a:lnTo>
                    <a:pt x="678" y="2617"/>
                  </a:lnTo>
                  <a:lnTo>
                    <a:pt x="678" y="2617"/>
                  </a:lnTo>
                  <a:lnTo>
                    <a:pt x="673" y="2619"/>
                  </a:lnTo>
                  <a:lnTo>
                    <a:pt x="673" y="2619"/>
                  </a:lnTo>
                  <a:lnTo>
                    <a:pt x="672" y="2620"/>
                  </a:lnTo>
                  <a:lnTo>
                    <a:pt x="672" y="2620"/>
                  </a:lnTo>
                  <a:lnTo>
                    <a:pt x="662" y="2617"/>
                  </a:lnTo>
                  <a:lnTo>
                    <a:pt x="662" y="2617"/>
                  </a:lnTo>
                  <a:lnTo>
                    <a:pt x="658" y="2617"/>
                  </a:lnTo>
                  <a:lnTo>
                    <a:pt x="658" y="2617"/>
                  </a:lnTo>
                  <a:lnTo>
                    <a:pt x="644" y="2619"/>
                  </a:lnTo>
                  <a:lnTo>
                    <a:pt x="644" y="2619"/>
                  </a:lnTo>
                  <a:lnTo>
                    <a:pt x="642" y="2619"/>
                  </a:lnTo>
                  <a:lnTo>
                    <a:pt x="642" y="2619"/>
                  </a:lnTo>
                  <a:lnTo>
                    <a:pt x="636" y="2617"/>
                  </a:lnTo>
                  <a:lnTo>
                    <a:pt x="636" y="2617"/>
                  </a:lnTo>
                  <a:lnTo>
                    <a:pt x="630" y="2619"/>
                  </a:lnTo>
                  <a:lnTo>
                    <a:pt x="630" y="2619"/>
                  </a:lnTo>
                  <a:lnTo>
                    <a:pt x="624" y="2622"/>
                  </a:lnTo>
                  <a:lnTo>
                    <a:pt x="624" y="2622"/>
                  </a:lnTo>
                  <a:lnTo>
                    <a:pt x="618" y="2626"/>
                  </a:lnTo>
                  <a:lnTo>
                    <a:pt x="618" y="2626"/>
                  </a:lnTo>
                  <a:lnTo>
                    <a:pt x="617" y="2627"/>
                  </a:lnTo>
                  <a:lnTo>
                    <a:pt x="617" y="2627"/>
                  </a:lnTo>
                  <a:lnTo>
                    <a:pt x="616" y="2627"/>
                  </a:lnTo>
                  <a:lnTo>
                    <a:pt x="616" y="2627"/>
                  </a:lnTo>
                  <a:lnTo>
                    <a:pt x="613" y="2626"/>
                  </a:lnTo>
                  <a:lnTo>
                    <a:pt x="613" y="2626"/>
                  </a:lnTo>
                  <a:lnTo>
                    <a:pt x="607" y="2626"/>
                  </a:lnTo>
                  <a:lnTo>
                    <a:pt x="607" y="2626"/>
                  </a:lnTo>
                  <a:lnTo>
                    <a:pt x="604" y="2626"/>
                  </a:lnTo>
                  <a:lnTo>
                    <a:pt x="604" y="2626"/>
                  </a:lnTo>
                  <a:lnTo>
                    <a:pt x="601" y="2629"/>
                  </a:lnTo>
                  <a:lnTo>
                    <a:pt x="601" y="2629"/>
                  </a:lnTo>
                  <a:lnTo>
                    <a:pt x="598" y="2633"/>
                  </a:lnTo>
                  <a:lnTo>
                    <a:pt x="598" y="2633"/>
                  </a:lnTo>
                  <a:lnTo>
                    <a:pt x="598" y="2633"/>
                  </a:lnTo>
                  <a:lnTo>
                    <a:pt x="597" y="2633"/>
                  </a:lnTo>
                  <a:lnTo>
                    <a:pt x="597" y="2633"/>
                  </a:lnTo>
                  <a:lnTo>
                    <a:pt x="594" y="2633"/>
                  </a:lnTo>
                  <a:lnTo>
                    <a:pt x="594" y="2633"/>
                  </a:lnTo>
                  <a:lnTo>
                    <a:pt x="589" y="2632"/>
                  </a:lnTo>
                  <a:lnTo>
                    <a:pt x="588" y="2630"/>
                  </a:lnTo>
                  <a:lnTo>
                    <a:pt x="588" y="2630"/>
                  </a:lnTo>
                  <a:lnTo>
                    <a:pt x="585" y="2627"/>
                  </a:lnTo>
                  <a:lnTo>
                    <a:pt x="585" y="2627"/>
                  </a:lnTo>
                  <a:lnTo>
                    <a:pt x="581" y="2626"/>
                  </a:lnTo>
                  <a:lnTo>
                    <a:pt x="581" y="2626"/>
                  </a:lnTo>
                  <a:lnTo>
                    <a:pt x="575" y="2626"/>
                  </a:lnTo>
                  <a:lnTo>
                    <a:pt x="575" y="2626"/>
                  </a:lnTo>
                  <a:lnTo>
                    <a:pt x="574" y="2625"/>
                  </a:lnTo>
                  <a:lnTo>
                    <a:pt x="574" y="2625"/>
                  </a:lnTo>
                  <a:lnTo>
                    <a:pt x="572" y="2623"/>
                  </a:lnTo>
                  <a:lnTo>
                    <a:pt x="572" y="2623"/>
                  </a:lnTo>
                  <a:lnTo>
                    <a:pt x="571" y="2616"/>
                  </a:lnTo>
                  <a:lnTo>
                    <a:pt x="571" y="2616"/>
                  </a:lnTo>
                  <a:lnTo>
                    <a:pt x="568" y="2609"/>
                  </a:lnTo>
                  <a:lnTo>
                    <a:pt x="568" y="2609"/>
                  </a:lnTo>
                  <a:lnTo>
                    <a:pt x="565" y="2603"/>
                  </a:lnTo>
                  <a:lnTo>
                    <a:pt x="565" y="2603"/>
                  </a:lnTo>
                  <a:lnTo>
                    <a:pt x="565" y="2601"/>
                  </a:lnTo>
                  <a:lnTo>
                    <a:pt x="565" y="2601"/>
                  </a:lnTo>
                  <a:lnTo>
                    <a:pt x="566" y="2598"/>
                  </a:lnTo>
                  <a:lnTo>
                    <a:pt x="566" y="2598"/>
                  </a:lnTo>
                  <a:lnTo>
                    <a:pt x="569" y="2593"/>
                  </a:lnTo>
                  <a:lnTo>
                    <a:pt x="569" y="2588"/>
                  </a:lnTo>
                  <a:lnTo>
                    <a:pt x="569" y="2588"/>
                  </a:lnTo>
                  <a:lnTo>
                    <a:pt x="568" y="2580"/>
                  </a:lnTo>
                  <a:lnTo>
                    <a:pt x="565" y="2571"/>
                  </a:lnTo>
                  <a:lnTo>
                    <a:pt x="565" y="2571"/>
                  </a:lnTo>
                  <a:lnTo>
                    <a:pt x="560" y="2559"/>
                  </a:lnTo>
                  <a:lnTo>
                    <a:pt x="560" y="2559"/>
                  </a:lnTo>
                  <a:lnTo>
                    <a:pt x="558" y="2552"/>
                  </a:lnTo>
                  <a:lnTo>
                    <a:pt x="558" y="2552"/>
                  </a:lnTo>
                  <a:lnTo>
                    <a:pt x="558" y="2551"/>
                  </a:lnTo>
                  <a:lnTo>
                    <a:pt x="558" y="2551"/>
                  </a:lnTo>
                  <a:lnTo>
                    <a:pt x="558" y="2551"/>
                  </a:lnTo>
                  <a:lnTo>
                    <a:pt x="558" y="2551"/>
                  </a:lnTo>
                  <a:lnTo>
                    <a:pt x="562" y="2549"/>
                  </a:lnTo>
                  <a:lnTo>
                    <a:pt x="562" y="2549"/>
                  </a:lnTo>
                  <a:lnTo>
                    <a:pt x="565" y="2548"/>
                  </a:lnTo>
                  <a:lnTo>
                    <a:pt x="565" y="2548"/>
                  </a:lnTo>
                  <a:lnTo>
                    <a:pt x="566" y="2545"/>
                  </a:lnTo>
                  <a:lnTo>
                    <a:pt x="566" y="2545"/>
                  </a:lnTo>
                  <a:lnTo>
                    <a:pt x="565" y="2541"/>
                  </a:lnTo>
                  <a:lnTo>
                    <a:pt x="565" y="2541"/>
                  </a:lnTo>
                  <a:lnTo>
                    <a:pt x="560" y="2530"/>
                  </a:lnTo>
                  <a:lnTo>
                    <a:pt x="556" y="2525"/>
                  </a:lnTo>
                  <a:lnTo>
                    <a:pt x="552" y="2520"/>
                  </a:lnTo>
                  <a:lnTo>
                    <a:pt x="552" y="2520"/>
                  </a:lnTo>
                  <a:lnTo>
                    <a:pt x="545" y="2513"/>
                  </a:lnTo>
                  <a:lnTo>
                    <a:pt x="537" y="2504"/>
                  </a:lnTo>
                  <a:lnTo>
                    <a:pt x="537" y="2504"/>
                  </a:lnTo>
                  <a:lnTo>
                    <a:pt x="532" y="2494"/>
                  </a:lnTo>
                  <a:lnTo>
                    <a:pt x="529" y="2490"/>
                  </a:lnTo>
                  <a:lnTo>
                    <a:pt x="529" y="2486"/>
                  </a:lnTo>
                  <a:lnTo>
                    <a:pt x="529" y="2486"/>
                  </a:lnTo>
                  <a:lnTo>
                    <a:pt x="529" y="2475"/>
                  </a:lnTo>
                  <a:lnTo>
                    <a:pt x="527" y="2467"/>
                  </a:lnTo>
                  <a:lnTo>
                    <a:pt x="523" y="2449"/>
                  </a:lnTo>
                  <a:lnTo>
                    <a:pt x="523" y="2449"/>
                  </a:lnTo>
                  <a:lnTo>
                    <a:pt x="521" y="2441"/>
                  </a:lnTo>
                  <a:lnTo>
                    <a:pt x="521" y="2428"/>
                  </a:lnTo>
                  <a:lnTo>
                    <a:pt x="521" y="2428"/>
                  </a:lnTo>
                  <a:lnTo>
                    <a:pt x="520" y="2416"/>
                  </a:lnTo>
                  <a:lnTo>
                    <a:pt x="518" y="2410"/>
                  </a:lnTo>
                  <a:lnTo>
                    <a:pt x="516" y="2406"/>
                  </a:lnTo>
                  <a:lnTo>
                    <a:pt x="516" y="2406"/>
                  </a:lnTo>
                  <a:lnTo>
                    <a:pt x="505" y="2391"/>
                  </a:lnTo>
                  <a:lnTo>
                    <a:pt x="505" y="2391"/>
                  </a:lnTo>
                  <a:lnTo>
                    <a:pt x="503" y="2384"/>
                  </a:lnTo>
                  <a:lnTo>
                    <a:pt x="500" y="2377"/>
                  </a:lnTo>
                  <a:lnTo>
                    <a:pt x="500" y="2377"/>
                  </a:lnTo>
                  <a:lnTo>
                    <a:pt x="497" y="2367"/>
                  </a:lnTo>
                  <a:lnTo>
                    <a:pt x="492" y="2358"/>
                  </a:lnTo>
                  <a:lnTo>
                    <a:pt x="492" y="2358"/>
                  </a:lnTo>
                  <a:lnTo>
                    <a:pt x="481" y="2341"/>
                  </a:lnTo>
                  <a:lnTo>
                    <a:pt x="481" y="2341"/>
                  </a:lnTo>
                  <a:lnTo>
                    <a:pt x="479" y="2336"/>
                  </a:lnTo>
                  <a:lnTo>
                    <a:pt x="478" y="2331"/>
                  </a:lnTo>
                  <a:lnTo>
                    <a:pt x="478" y="2331"/>
                  </a:lnTo>
                  <a:lnTo>
                    <a:pt x="478" y="2319"/>
                  </a:lnTo>
                  <a:lnTo>
                    <a:pt x="478" y="2319"/>
                  </a:lnTo>
                  <a:lnTo>
                    <a:pt x="478" y="2309"/>
                  </a:lnTo>
                  <a:lnTo>
                    <a:pt x="478" y="2309"/>
                  </a:lnTo>
                  <a:lnTo>
                    <a:pt x="478" y="2303"/>
                  </a:lnTo>
                  <a:lnTo>
                    <a:pt x="478" y="2303"/>
                  </a:lnTo>
                  <a:lnTo>
                    <a:pt x="482" y="2280"/>
                  </a:lnTo>
                  <a:lnTo>
                    <a:pt x="482" y="2280"/>
                  </a:lnTo>
                  <a:lnTo>
                    <a:pt x="487" y="2265"/>
                  </a:lnTo>
                  <a:lnTo>
                    <a:pt x="487" y="2265"/>
                  </a:lnTo>
                  <a:lnTo>
                    <a:pt x="488" y="2261"/>
                  </a:lnTo>
                  <a:lnTo>
                    <a:pt x="488" y="2261"/>
                  </a:lnTo>
                  <a:lnTo>
                    <a:pt x="488" y="2258"/>
                  </a:lnTo>
                  <a:lnTo>
                    <a:pt x="488" y="2258"/>
                  </a:lnTo>
                  <a:lnTo>
                    <a:pt x="492" y="2254"/>
                  </a:lnTo>
                  <a:lnTo>
                    <a:pt x="492" y="2254"/>
                  </a:lnTo>
                  <a:lnTo>
                    <a:pt x="500" y="2248"/>
                  </a:lnTo>
                  <a:lnTo>
                    <a:pt x="500" y="2248"/>
                  </a:lnTo>
                  <a:lnTo>
                    <a:pt x="504" y="2244"/>
                  </a:lnTo>
                  <a:lnTo>
                    <a:pt x="504" y="2244"/>
                  </a:lnTo>
                  <a:lnTo>
                    <a:pt x="504" y="2239"/>
                  </a:lnTo>
                  <a:lnTo>
                    <a:pt x="504" y="2239"/>
                  </a:lnTo>
                  <a:lnTo>
                    <a:pt x="504" y="2235"/>
                  </a:lnTo>
                  <a:lnTo>
                    <a:pt x="504" y="2235"/>
                  </a:lnTo>
                  <a:lnTo>
                    <a:pt x="503" y="2220"/>
                  </a:lnTo>
                  <a:lnTo>
                    <a:pt x="503" y="2220"/>
                  </a:lnTo>
                  <a:lnTo>
                    <a:pt x="500" y="2213"/>
                  </a:lnTo>
                  <a:lnTo>
                    <a:pt x="497" y="2206"/>
                  </a:lnTo>
                  <a:lnTo>
                    <a:pt x="497" y="2206"/>
                  </a:lnTo>
                  <a:lnTo>
                    <a:pt x="495" y="2200"/>
                  </a:lnTo>
                  <a:lnTo>
                    <a:pt x="495" y="2200"/>
                  </a:lnTo>
                  <a:lnTo>
                    <a:pt x="495" y="2187"/>
                  </a:lnTo>
                  <a:lnTo>
                    <a:pt x="495" y="2187"/>
                  </a:lnTo>
                  <a:lnTo>
                    <a:pt x="495" y="2180"/>
                  </a:lnTo>
                  <a:lnTo>
                    <a:pt x="494" y="2174"/>
                  </a:lnTo>
                  <a:lnTo>
                    <a:pt x="494" y="2174"/>
                  </a:lnTo>
                  <a:lnTo>
                    <a:pt x="490" y="2161"/>
                  </a:lnTo>
                  <a:lnTo>
                    <a:pt x="490" y="2161"/>
                  </a:lnTo>
                  <a:lnTo>
                    <a:pt x="488" y="2157"/>
                  </a:lnTo>
                  <a:lnTo>
                    <a:pt x="488" y="2157"/>
                  </a:lnTo>
                  <a:lnTo>
                    <a:pt x="488" y="2154"/>
                  </a:lnTo>
                  <a:lnTo>
                    <a:pt x="488" y="2154"/>
                  </a:lnTo>
                  <a:lnTo>
                    <a:pt x="487" y="2152"/>
                  </a:lnTo>
                  <a:lnTo>
                    <a:pt x="487" y="2152"/>
                  </a:lnTo>
                  <a:lnTo>
                    <a:pt x="485" y="2151"/>
                  </a:lnTo>
                  <a:lnTo>
                    <a:pt x="485" y="2151"/>
                  </a:lnTo>
                  <a:lnTo>
                    <a:pt x="481" y="2147"/>
                  </a:lnTo>
                  <a:lnTo>
                    <a:pt x="481" y="2147"/>
                  </a:lnTo>
                  <a:lnTo>
                    <a:pt x="478" y="2142"/>
                  </a:lnTo>
                  <a:lnTo>
                    <a:pt x="478" y="2139"/>
                  </a:lnTo>
                  <a:lnTo>
                    <a:pt x="478" y="2139"/>
                  </a:lnTo>
                  <a:lnTo>
                    <a:pt x="476" y="2131"/>
                  </a:lnTo>
                  <a:lnTo>
                    <a:pt x="474" y="2122"/>
                  </a:lnTo>
                  <a:lnTo>
                    <a:pt x="474" y="2122"/>
                  </a:lnTo>
                  <a:lnTo>
                    <a:pt x="471" y="2119"/>
                  </a:lnTo>
                  <a:lnTo>
                    <a:pt x="471" y="2119"/>
                  </a:lnTo>
                  <a:lnTo>
                    <a:pt x="450" y="2097"/>
                  </a:lnTo>
                  <a:lnTo>
                    <a:pt x="450" y="2097"/>
                  </a:lnTo>
                  <a:lnTo>
                    <a:pt x="440" y="2087"/>
                  </a:lnTo>
                  <a:lnTo>
                    <a:pt x="440" y="2087"/>
                  </a:lnTo>
                  <a:lnTo>
                    <a:pt x="437" y="2083"/>
                  </a:lnTo>
                  <a:lnTo>
                    <a:pt x="437" y="2083"/>
                  </a:lnTo>
                  <a:lnTo>
                    <a:pt x="436" y="2080"/>
                  </a:lnTo>
                  <a:lnTo>
                    <a:pt x="436" y="2080"/>
                  </a:lnTo>
                  <a:lnTo>
                    <a:pt x="436" y="2076"/>
                  </a:lnTo>
                  <a:lnTo>
                    <a:pt x="436" y="2076"/>
                  </a:lnTo>
                  <a:lnTo>
                    <a:pt x="434" y="2073"/>
                  </a:lnTo>
                  <a:lnTo>
                    <a:pt x="434" y="2073"/>
                  </a:lnTo>
                  <a:lnTo>
                    <a:pt x="432" y="2070"/>
                  </a:lnTo>
                  <a:lnTo>
                    <a:pt x="432" y="2070"/>
                  </a:lnTo>
                  <a:lnTo>
                    <a:pt x="426" y="2064"/>
                  </a:lnTo>
                  <a:lnTo>
                    <a:pt x="426" y="2064"/>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6" y="2061"/>
                  </a:lnTo>
                  <a:lnTo>
                    <a:pt x="426" y="2061"/>
                  </a:lnTo>
                  <a:lnTo>
                    <a:pt x="429" y="2060"/>
                  </a:lnTo>
                  <a:lnTo>
                    <a:pt x="429" y="2060"/>
                  </a:lnTo>
                  <a:lnTo>
                    <a:pt x="432" y="2055"/>
                  </a:lnTo>
                  <a:lnTo>
                    <a:pt x="432" y="2055"/>
                  </a:lnTo>
                  <a:lnTo>
                    <a:pt x="433" y="2052"/>
                  </a:lnTo>
                  <a:lnTo>
                    <a:pt x="433" y="2052"/>
                  </a:lnTo>
                  <a:lnTo>
                    <a:pt x="434" y="2047"/>
                  </a:lnTo>
                  <a:lnTo>
                    <a:pt x="434" y="2047"/>
                  </a:lnTo>
                  <a:lnTo>
                    <a:pt x="436" y="2026"/>
                  </a:lnTo>
                  <a:lnTo>
                    <a:pt x="436" y="2026"/>
                  </a:lnTo>
                  <a:lnTo>
                    <a:pt x="437" y="2022"/>
                  </a:lnTo>
                  <a:lnTo>
                    <a:pt x="437" y="2022"/>
                  </a:lnTo>
                  <a:lnTo>
                    <a:pt x="440" y="2013"/>
                  </a:lnTo>
                  <a:lnTo>
                    <a:pt x="440" y="2013"/>
                  </a:lnTo>
                  <a:lnTo>
                    <a:pt x="442" y="2005"/>
                  </a:lnTo>
                  <a:lnTo>
                    <a:pt x="443" y="2003"/>
                  </a:lnTo>
                  <a:lnTo>
                    <a:pt x="443" y="2003"/>
                  </a:lnTo>
                  <a:lnTo>
                    <a:pt x="442" y="1997"/>
                  </a:lnTo>
                  <a:lnTo>
                    <a:pt x="440" y="1992"/>
                  </a:lnTo>
                  <a:lnTo>
                    <a:pt x="440" y="1992"/>
                  </a:lnTo>
                  <a:lnTo>
                    <a:pt x="437" y="1987"/>
                  </a:lnTo>
                  <a:lnTo>
                    <a:pt x="437" y="1987"/>
                  </a:lnTo>
                  <a:lnTo>
                    <a:pt x="434" y="1983"/>
                  </a:lnTo>
                  <a:lnTo>
                    <a:pt x="434" y="1983"/>
                  </a:lnTo>
                  <a:lnTo>
                    <a:pt x="430" y="1979"/>
                  </a:lnTo>
                  <a:lnTo>
                    <a:pt x="430" y="1979"/>
                  </a:lnTo>
                  <a:lnTo>
                    <a:pt x="427" y="1977"/>
                  </a:lnTo>
                  <a:lnTo>
                    <a:pt x="420" y="1976"/>
                  </a:lnTo>
                  <a:lnTo>
                    <a:pt x="420" y="1976"/>
                  </a:lnTo>
                  <a:lnTo>
                    <a:pt x="417" y="1976"/>
                  </a:lnTo>
                  <a:lnTo>
                    <a:pt x="417" y="1976"/>
                  </a:lnTo>
                  <a:lnTo>
                    <a:pt x="401" y="1976"/>
                  </a:lnTo>
                  <a:lnTo>
                    <a:pt x="401" y="1976"/>
                  </a:lnTo>
                  <a:lnTo>
                    <a:pt x="384" y="1977"/>
                  </a:lnTo>
                  <a:lnTo>
                    <a:pt x="384" y="1977"/>
                  </a:lnTo>
                  <a:lnTo>
                    <a:pt x="378" y="1977"/>
                  </a:lnTo>
                  <a:lnTo>
                    <a:pt x="378" y="1977"/>
                  </a:lnTo>
                  <a:lnTo>
                    <a:pt x="375" y="1974"/>
                  </a:lnTo>
                  <a:lnTo>
                    <a:pt x="375" y="1974"/>
                  </a:lnTo>
                  <a:lnTo>
                    <a:pt x="371" y="1964"/>
                  </a:lnTo>
                  <a:lnTo>
                    <a:pt x="371" y="1964"/>
                  </a:lnTo>
                  <a:lnTo>
                    <a:pt x="369" y="1960"/>
                  </a:lnTo>
                  <a:lnTo>
                    <a:pt x="369" y="1960"/>
                  </a:lnTo>
                  <a:lnTo>
                    <a:pt x="366" y="1957"/>
                  </a:lnTo>
                  <a:lnTo>
                    <a:pt x="366" y="1957"/>
                  </a:lnTo>
                  <a:lnTo>
                    <a:pt x="364" y="1954"/>
                  </a:lnTo>
                  <a:lnTo>
                    <a:pt x="364" y="1954"/>
                  </a:lnTo>
                  <a:lnTo>
                    <a:pt x="358" y="1947"/>
                  </a:lnTo>
                  <a:lnTo>
                    <a:pt x="358" y="1947"/>
                  </a:lnTo>
                  <a:lnTo>
                    <a:pt x="353" y="1944"/>
                  </a:lnTo>
                  <a:lnTo>
                    <a:pt x="353" y="1944"/>
                  </a:lnTo>
                  <a:lnTo>
                    <a:pt x="352" y="1942"/>
                  </a:lnTo>
                  <a:lnTo>
                    <a:pt x="350" y="1942"/>
                  </a:lnTo>
                  <a:lnTo>
                    <a:pt x="350" y="1942"/>
                  </a:lnTo>
                  <a:lnTo>
                    <a:pt x="329" y="1942"/>
                  </a:lnTo>
                  <a:lnTo>
                    <a:pt x="329" y="1942"/>
                  </a:lnTo>
                  <a:lnTo>
                    <a:pt x="316" y="1942"/>
                  </a:lnTo>
                  <a:lnTo>
                    <a:pt x="316" y="1942"/>
                  </a:lnTo>
                  <a:lnTo>
                    <a:pt x="310" y="1944"/>
                  </a:lnTo>
                  <a:lnTo>
                    <a:pt x="310" y="1944"/>
                  </a:lnTo>
                  <a:lnTo>
                    <a:pt x="308" y="1944"/>
                  </a:lnTo>
                  <a:lnTo>
                    <a:pt x="308" y="1944"/>
                  </a:lnTo>
                  <a:lnTo>
                    <a:pt x="307" y="1945"/>
                  </a:lnTo>
                  <a:lnTo>
                    <a:pt x="307" y="1945"/>
                  </a:lnTo>
                  <a:lnTo>
                    <a:pt x="307" y="1945"/>
                  </a:lnTo>
                  <a:lnTo>
                    <a:pt x="307" y="1945"/>
                  </a:lnTo>
                  <a:lnTo>
                    <a:pt x="307" y="1945"/>
                  </a:lnTo>
                  <a:lnTo>
                    <a:pt x="307" y="1945"/>
                  </a:lnTo>
                  <a:lnTo>
                    <a:pt x="304" y="1947"/>
                  </a:lnTo>
                  <a:lnTo>
                    <a:pt x="304" y="1947"/>
                  </a:lnTo>
                  <a:lnTo>
                    <a:pt x="278" y="1958"/>
                  </a:lnTo>
                  <a:lnTo>
                    <a:pt x="278" y="1958"/>
                  </a:lnTo>
                  <a:lnTo>
                    <a:pt x="262" y="1966"/>
                  </a:lnTo>
                  <a:lnTo>
                    <a:pt x="262" y="1966"/>
                  </a:lnTo>
                  <a:lnTo>
                    <a:pt x="252" y="1967"/>
                  </a:lnTo>
                  <a:lnTo>
                    <a:pt x="252" y="1967"/>
                  </a:lnTo>
                  <a:lnTo>
                    <a:pt x="252" y="1967"/>
                  </a:lnTo>
                  <a:lnTo>
                    <a:pt x="232" y="1963"/>
                  </a:lnTo>
                  <a:lnTo>
                    <a:pt x="232" y="1963"/>
                  </a:lnTo>
                  <a:lnTo>
                    <a:pt x="222" y="1960"/>
                  </a:lnTo>
                  <a:lnTo>
                    <a:pt x="211" y="1958"/>
                  </a:lnTo>
                  <a:lnTo>
                    <a:pt x="210" y="1958"/>
                  </a:lnTo>
                  <a:lnTo>
                    <a:pt x="210" y="1958"/>
                  </a:lnTo>
                  <a:lnTo>
                    <a:pt x="200" y="1961"/>
                  </a:lnTo>
                  <a:lnTo>
                    <a:pt x="200" y="1961"/>
                  </a:lnTo>
                  <a:lnTo>
                    <a:pt x="178" y="1968"/>
                  </a:lnTo>
                  <a:lnTo>
                    <a:pt x="178" y="1968"/>
                  </a:lnTo>
                  <a:lnTo>
                    <a:pt x="168" y="1971"/>
                  </a:lnTo>
                  <a:lnTo>
                    <a:pt x="168" y="1971"/>
                  </a:lnTo>
                  <a:lnTo>
                    <a:pt x="162" y="1971"/>
                  </a:lnTo>
                  <a:lnTo>
                    <a:pt x="161" y="1971"/>
                  </a:lnTo>
                  <a:lnTo>
                    <a:pt x="161" y="1971"/>
                  </a:lnTo>
                  <a:lnTo>
                    <a:pt x="148" y="1968"/>
                  </a:lnTo>
                  <a:lnTo>
                    <a:pt x="135" y="1961"/>
                  </a:lnTo>
                  <a:lnTo>
                    <a:pt x="135" y="1961"/>
                  </a:lnTo>
                  <a:lnTo>
                    <a:pt x="101" y="1938"/>
                  </a:lnTo>
                  <a:lnTo>
                    <a:pt x="101" y="1938"/>
                  </a:lnTo>
                  <a:lnTo>
                    <a:pt x="90" y="1931"/>
                  </a:lnTo>
                  <a:lnTo>
                    <a:pt x="90" y="1931"/>
                  </a:lnTo>
                  <a:lnTo>
                    <a:pt x="81" y="1925"/>
                  </a:lnTo>
                  <a:lnTo>
                    <a:pt x="81" y="1925"/>
                  </a:lnTo>
                  <a:lnTo>
                    <a:pt x="77" y="1919"/>
                  </a:lnTo>
                  <a:lnTo>
                    <a:pt x="74" y="1913"/>
                  </a:lnTo>
                  <a:lnTo>
                    <a:pt x="74" y="1913"/>
                  </a:lnTo>
                  <a:lnTo>
                    <a:pt x="72" y="1910"/>
                  </a:lnTo>
                  <a:lnTo>
                    <a:pt x="72" y="1910"/>
                  </a:lnTo>
                  <a:lnTo>
                    <a:pt x="70" y="1902"/>
                  </a:lnTo>
                  <a:lnTo>
                    <a:pt x="70" y="1902"/>
                  </a:lnTo>
                  <a:lnTo>
                    <a:pt x="68" y="1899"/>
                  </a:lnTo>
                  <a:lnTo>
                    <a:pt x="68" y="1899"/>
                  </a:lnTo>
                  <a:lnTo>
                    <a:pt x="67" y="1897"/>
                  </a:lnTo>
                  <a:lnTo>
                    <a:pt x="67" y="1897"/>
                  </a:lnTo>
                  <a:lnTo>
                    <a:pt x="65" y="1896"/>
                  </a:lnTo>
                  <a:lnTo>
                    <a:pt x="65" y="1896"/>
                  </a:lnTo>
                  <a:lnTo>
                    <a:pt x="62" y="1893"/>
                  </a:lnTo>
                  <a:lnTo>
                    <a:pt x="62" y="1893"/>
                  </a:lnTo>
                  <a:lnTo>
                    <a:pt x="58" y="1887"/>
                  </a:lnTo>
                  <a:lnTo>
                    <a:pt x="58" y="1887"/>
                  </a:lnTo>
                  <a:lnTo>
                    <a:pt x="56" y="1884"/>
                  </a:lnTo>
                  <a:lnTo>
                    <a:pt x="56" y="1884"/>
                  </a:lnTo>
                  <a:lnTo>
                    <a:pt x="54" y="1880"/>
                  </a:lnTo>
                  <a:lnTo>
                    <a:pt x="54" y="1880"/>
                  </a:lnTo>
                  <a:lnTo>
                    <a:pt x="46" y="1876"/>
                  </a:lnTo>
                  <a:lnTo>
                    <a:pt x="46" y="1876"/>
                  </a:lnTo>
                  <a:lnTo>
                    <a:pt x="42" y="1871"/>
                  </a:lnTo>
                  <a:lnTo>
                    <a:pt x="38" y="1868"/>
                  </a:lnTo>
                  <a:lnTo>
                    <a:pt x="38" y="1868"/>
                  </a:lnTo>
                  <a:lnTo>
                    <a:pt x="36" y="1867"/>
                  </a:lnTo>
                  <a:lnTo>
                    <a:pt x="36" y="1867"/>
                  </a:lnTo>
                  <a:lnTo>
                    <a:pt x="35" y="1866"/>
                  </a:lnTo>
                  <a:lnTo>
                    <a:pt x="33" y="1866"/>
                  </a:lnTo>
                  <a:lnTo>
                    <a:pt x="35" y="1866"/>
                  </a:lnTo>
                  <a:lnTo>
                    <a:pt x="35" y="1866"/>
                  </a:lnTo>
                  <a:lnTo>
                    <a:pt x="33" y="1866"/>
                  </a:lnTo>
                  <a:lnTo>
                    <a:pt x="35" y="1866"/>
                  </a:lnTo>
                  <a:lnTo>
                    <a:pt x="33" y="1866"/>
                  </a:lnTo>
                  <a:lnTo>
                    <a:pt x="35" y="1866"/>
                  </a:lnTo>
                  <a:lnTo>
                    <a:pt x="35" y="1866"/>
                  </a:lnTo>
                  <a:lnTo>
                    <a:pt x="33" y="1866"/>
                  </a:lnTo>
                  <a:lnTo>
                    <a:pt x="35" y="1866"/>
                  </a:lnTo>
                  <a:lnTo>
                    <a:pt x="35" y="1866"/>
                  </a:lnTo>
                  <a:lnTo>
                    <a:pt x="35" y="1866"/>
                  </a:lnTo>
                  <a:lnTo>
                    <a:pt x="33" y="1861"/>
                  </a:lnTo>
                  <a:lnTo>
                    <a:pt x="33" y="1861"/>
                  </a:lnTo>
                  <a:lnTo>
                    <a:pt x="32" y="1858"/>
                  </a:lnTo>
                  <a:lnTo>
                    <a:pt x="28" y="1855"/>
                  </a:lnTo>
                  <a:lnTo>
                    <a:pt x="28" y="1855"/>
                  </a:lnTo>
                  <a:lnTo>
                    <a:pt x="17" y="1848"/>
                  </a:lnTo>
                  <a:lnTo>
                    <a:pt x="17" y="1848"/>
                  </a:lnTo>
                  <a:lnTo>
                    <a:pt x="14" y="1847"/>
                  </a:lnTo>
                  <a:lnTo>
                    <a:pt x="14" y="1847"/>
                  </a:lnTo>
                  <a:lnTo>
                    <a:pt x="13" y="1844"/>
                  </a:lnTo>
                  <a:lnTo>
                    <a:pt x="14" y="1842"/>
                  </a:lnTo>
                  <a:lnTo>
                    <a:pt x="14" y="1842"/>
                  </a:lnTo>
                  <a:lnTo>
                    <a:pt x="16" y="1838"/>
                  </a:lnTo>
                  <a:lnTo>
                    <a:pt x="16" y="1838"/>
                  </a:lnTo>
                  <a:lnTo>
                    <a:pt x="16" y="1837"/>
                  </a:lnTo>
                  <a:lnTo>
                    <a:pt x="17" y="1834"/>
                  </a:lnTo>
                  <a:lnTo>
                    <a:pt x="17" y="1834"/>
                  </a:lnTo>
                  <a:lnTo>
                    <a:pt x="16" y="1831"/>
                  </a:lnTo>
                  <a:lnTo>
                    <a:pt x="14" y="1826"/>
                  </a:lnTo>
                  <a:lnTo>
                    <a:pt x="14" y="1826"/>
                  </a:lnTo>
                  <a:lnTo>
                    <a:pt x="13" y="1821"/>
                  </a:lnTo>
                  <a:lnTo>
                    <a:pt x="12" y="1818"/>
                  </a:lnTo>
                  <a:lnTo>
                    <a:pt x="12" y="1818"/>
                  </a:lnTo>
                  <a:lnTo>
                    <a:pt x="10" y="1813"/>
                  </a:lnTo>
                  <a:lnTo>
                    <a:pt x="10" y="1813"/>
                  </a:lnTo>
                  <a:lnTo>
                    <a:pt x="6" y="1811"/>
                  </a:lnTo>
                  <a:lnTo>
                    <a:pt x="6" y="1811"/>
                  </a:lnTo>
                  <a:lnTo>
                    <a:pt x="6" y="1809"/>
                  </a:lnTo>
                  <a:lnTo>
                    <a:pt x="6" y="1809"/>
                  </a:lnTo>
                  <a:lnTo>
                    <a:pt x="9" y="1805"/>
                  </a:lnTo>
                  <a:lnTo>
                    <a:pt x="9" y="1805"/>
                  </a:lnTo>
                  <a:lnTo>
                    <a:pt x="13" y="1799"/>
                  </a:lnTo>
                  <a:lnTo>
                    <a:pt x="13" y="1799"/>
                  </a:lnTo>
                  <a:lnTo>
                    <a:pt x="16" y="1795"/>
                  </a:lnTo>
                  <a:lnTo>
                    <a:pt x="19" y="1789"/>
                  </a:lnTo>
                  <a:lnTo>
                    <a:pt x="19" y="1789"/>
                  </a:lnTo>
                  <a:lnTo>
                    <a:pt x="20" y="1782"/>
                  </a:lnTo>
                  <a:lnTo>
                    <a:pt x="22" y="1776"/>
                  </a:lnTo>
                  <a:lnTo>
                    <a:pt x="22" y="1774"/>
                  </a:lnTo>
                  <a:lnTo>
                    <a:pt x="22" y="1774"/>
                  </a:lnTo>
                  <a:lnTo>
                    <a:pt x="22" y="1774"/>
                  </a:lnTo>
                  <a:lnTo>
                    <a:pt x="22" y="1769"/>
                  </a:lnTo>
                  <a:lnTo>
                    <a:pt x="25" y="1764"/>
                  </a:lnTo>
                  <a:lnTo>
                    <a:pt x="25" y="1764"/>
                  </a:lnTo>
                  <a:lnTo>
                    <a:pt x="26" y="1758"/>
                  </a:lnTo>
                  <a:lnTo>
                    <a:pt x="28" y="1753"/>
                  </a:lnTo>
                  <a:lnTo>
                    <a:pt x="28" y="1753"/>
                  </a:lnTo>
                  <a:lnTo>
                    <a:pt x="26" y="1748"/>
                  </a:lnTo>
                  <a:lnTo>
                    <a:pt x="26" y="1748"/>
                  </a:lnTo>
                  <a:lnTo>
                    <a:pt x="23" y="1742"/>
                  </a:lnTo>
                  <a:lnTo>
                    <a:pt x="22" y="1738"/>
                  </a:lnTo>
                  <a:lnTo>
                    <a:pt x="22" y="1738"/>
                  </a:lnTo>
                  <a:lnTo>
                    <a:pt x="19" y="1735"/>
                  </a:lnTo>
                  <a:lnTo>
                    <a:pt x="19" y="1732"/>
                  </a:lnTo>
                  <a:lnTo>
                    <a:pt x="19" y="1731"/>
                  </a:lnTo>
                  <a:lnTo>
                    <a:pt x="19" y="1731"/>
                  </a:lnTo>
                  <a:lnTo>
                    <a:pt x="20" y="1725"/>
                  </a:lnTo>
                  <a:lnTo>
                    <a:pt x="20" y="1725"/>
                  </a:lnTo>
                  <a:lnTo>
                    <a:pt x="22" y="1721"/>
                  </a:lnTo>
                  <a:lnTo>
                    <a:pt x="22" y="1721"/>
                  </a:lnTo>
                  <a:lnTo>
                    <a:pt x="20" y="1716"/>
                  </a:lnTo>
                  <a:lnTo>
                    <a:pt x="20" y="1716"/>
                  </a:lnTo>
                  <a:lnTo>
                    <a:pt x="13" y="1709"/>
                  </a:lnTo>
                  <a:lnTo>
                    <a:pt x="13" y="1709"/>
                  </a:lnTo>
                  <a:lnTo>
                    <a:pt x="10" y="1705"/>
                  </a:lnTo>
                  <a:lnTo>
                    <a:pt x="10" y="1705"/>
                  </a:lnTo>
                  <a:lnTo>
                    <a:pt x="7" y="1703"/>
                  </a:lnTo>
                  <a:lnTo>
                    <a:pt x="7" y="1703"/>
                  </a:lnTo>
                  <a:lnTo>
                    <a:pt x="7" y="1698"/>
                  </a:lnTo>
                  <a:lnTo>
                    <a:pt x="7" y="1698"/>
                  </a:lnTo>
                  <a:lnTo>
                    <a:pt x="9" y="1690"/>
                  </a:lnTo>
                  <a:lnTo>
                    <a:pt x="9" y="1690"/>
                  </a:lnTo>
                  <a:lnTo>
                    <a:pt x="10" y="1687"/>
                  </a:lnTo>
                  <a:lnTo>
                    <a:pt x="10" y="1687"/>
                  </a:lnTo>
                  <a:lnTo>
                    <a:pt x="10" y="1686"/>
                  </a:lnTo>
                  <a:lnTo>
                    <a:pt x="10" y="1686"/>
                  </a:lnTo>
                  <a:lnTo>
                    <a:pt x="14" y="1682"/>
                  </a:lnTo>
                  <a:lnTo>
                    <a:pt x="17" y="1677"/>
                  </a:lnTo>
                  <a:lnTo>
                    <a:pt x="17" y="1677"/>
                  </a:lnTo>
                  <a:lnTo>
                    <a:pt x="20" y="1670"/>
                  </a:lnTo>
                  <a:lnTo>
                    <a:pt x="23" y="1664"/>
                  </a:lnTo>
                  <a:lnTo>
                    <a:pt x="23" y="1664"/>
                  </a:lnTo>
                  <a:lnTo>
                    <a:pt x="26" y="1657"/>
                  </a:lnTo>
                  <a:lnTo>
                    <a:pt x="26" y="1657"/>
                  </a:lnTo>
                  <a:lnTo>
                    <a:pt x="38" y="1645"/>
                  </a:lnTo>
                  <a:lnTo>
                    <a:pt x="38" y="1645"/>
                  </a:lnTo>
                  <a:lnTo>
                    <a:pt x="42" y="1641"/>
                  </a:lnTo>
                  <a:lnTo>
                    <a:pt x="42" y="1641"/>
                  </a:lnTo>
                  <a:lnTo>
                    <a:pt x="43" y="1638"/>
                  </a:lnTo>
                  <a:lnTo>
                    <a:pt x="43" y="1638"/>
                  </a:lnTo>
                  <a:lnTo>
                    <a:pt x="45" y="1635"/>
                  </a:lnTo>
                  <a:lnTo>
                    <a:pt x="45" y="1635"/>
                  </a:lnTo>
                  <a:lnTo>
                    <a:pt x="45" y="1631"/>
                  </a:lnTo>
                  <a:lnTo>
                    <a:pt x="45" y="1631"/>
                  </a:lnTo>
                  <a:lnTo>
                    <a:pt x="49" y="1618"/>
                  </a:lnTo>
                  <a:lnTo>
                    <a:pt x="49" y="1618"/>
                  </a:lnTo>
                  <a:lnTo>
                    <a:pt x="52" y="1612"/>
                  </a:lnTo>
                  <a:lnTo>
                    <a:pt x="55" y="1609"/>
                  </a:lnTo>
                  <a:lnTo>
                    <a:pt x="55" y="1609"/>
                  </a:lnTo>
                  <a:lnTo>
                    <a:pt x="61" y="1605"/>
                  </a:lnTo>
                  <a:lnTo>
                    <a:pt x="64" y="1601"/>
                  </a:lnTo>
                  <a:lnTo>
                    <a:pt x="64" y="1601"/>
                  </a:lnTo>
                  <a:lnTo>
                    <a:pt x="68" y="1590"/>
                  </a:lnTo>
                  <a:lnTo>
                    <a:pt x="68" y="1590"/>
                  </a:lnTo>
                  <a:lnTo>
                    <a:pt x="72" y="1587"/>
                  </a:lnTo>
                  <a:lnTo>
                    <a:pt x="78" y="1583"/>
                  </a:lnTo>
                  <a:lnTo>
                    <a:pt x="84" y="1579"/>
                  </a:lnTo>
                  <a:lnTo>
                    <a:pt x="91" y="1576"/>
                  </a:lnTo>
                  <a:lnTo>
                    <a:pt x="91" y="1576"/>
                  </a:lnTo>
                  <a:lnTo>
                    <a:pt x="100" y="1572"/>
                  </a:lnTo>
                  <a:lnTo>
                    <a:pt x="112" y="1566"/>
                  </a:lnTo>
                  <a:lnTo>
                    <a:pt x="112" y="1566"/>
                  </a:lnTo>
                  <a:lnTo>
                    <a:pt x="116" y="1561"/>
                  </a:lnTo>
                  <a:lnTo>
                    <a:pt x="120" y="1556"/>
                  </a:lnTo>
                  <a:lnTo>
                    <a:pt x="120" y="1556"/>
                  </a:lnTo>
                  <a:lnTo>
                    <a:pt x="123" y="1550"/>
                  </a:lnTo>
                  <a:lnTo>
                    <a:pt x="125" y="1544"/>
                  </a:lnTo>
                  <a:lnTo>
                    <a:pt x="125" y="1544"/>
                  </a:lnTo>
                  <a:lnTo>
                    <a:pt x="125" y="1544"/>
                  </a:lnTo>
                  <a:lnTo>
                    <a:pt x="122" y="1521"/>
                  </a:lnTo>
                  <a:lnTo>
                    <a:pt x="122" y="1521"/>
                  </a:lnTo>
                  <a:lnTo>
                    <a:pt x="123" y="1516"/>
                  </a:lnTo>
                  <a:lnTo>
                    <a:pt x="125" y="1512"/>
                  </a:lnTo>
                  <a:lnTo>
                    <a:pt x="125" y="1512"/>
                  </a:lnTo>
                  <a:lnTo>
                    <a:pt x="127" y="1509"/>
                  </a:lnTo>
                  <a:lnTo>
                    <a:pt x="129" y="1508"/>
                  </a:lnTo>
                  <a:lnTo>
                    <a:pt x="129" y="1508"/>
                  </a:lnTo>
                  <a:lnTo>
                    <a:pt x="132" y="1505"/>
                  </a:lnTo>
                  <a:lnTo>
                    <a:pt x="132" y="1505"/>
                  </a:lnTo>
                  <a:lnTo>
                    <a:pt x="133" y="1501"/>
                  </a:lnTo>
                  <a:lnTo>
                    <a:pt x="133" y="1501"/>
                  </a:lnTo>
                  <a:lnTo>
                    <a:pt x="135" y="1496"/>
                  </a:lnTo>
                  <a:lnTo>
                    <a:pt x="138" y="1490"/>
                  </a:lnTo>
                  <a:lnTo>
                    <a:pt x="138" y="1490"/>
                  </a:lnTo>
                  <a:lnTo>
                    <a:pt x="145" y="1483"/>
                  </a:lnTo>
                  <a:lnTo>
                    <a:pt x="145" y="1483"/>
                  </a:lnTo>
                  <a:lnTo>
                    <a:pt x="146" y="1482"/>
                  </a:lnTo>
                  <a:lnTo>
                    <a:pt x="146" y="1482"/>
                  </a:lnTo>
                  <a:lnTo>
                    <a:pt x="154" y="1480"/>
                  </a:lnTo>
                  <a:lnTo>
                    <a:pt x="154" y="1480"/>
                  </a:lnTo>
                  <a:lnTo>
                    <a:pt x="159" y="1479"/>
                  </a:lnTo>
                  <a:lnTo>
                    <a:pt x="164" y="1476"/>
                  </a:lnTo>
                  <a:lnTo>
                    <a:pt x="164" y="1476"/>
                  </a:lnTo>
                  <a:lnTo>
                    <a:pt x="171" y="1470"/>
                  </a:lnTo>
                  <a:lnTo>
                    <a:pt x="175" y="1461"/>
                  </a:lnTo>
                  <a:lnTo>
                    <a:pt x="175" y="1461"/>
                  </a:lnTo>
                  <a:lnTo>
                    <a:pt x="180" y="1454"/>
                  </a:lnTo>
                  <a:lnTo>
                    <a:pt x="182" y="1448"/>
                  </a:lnTo>
                  <a:lnTo>
                    <a:pt x="182" y="1448"/>
                  </a:lnTo>
                  <a:lnTo>
                    <a:pt x="187" y="1438"/>
                  </a:lnTo>
                  <a:lnTo>
                    <a:pt x="187" y="1438"/>
                  </a:lnTo>
                  <a:lnTo>
                    <a:pt x="190" y="1435"/>
                  </a:lnTo>
                  <a:lnTo>
                    <a:pt x="190" y="1435"/>
                  </a:lnTo>
                  <a:lnTo>
                    <a:pt x="191" y="1435"/>
                  </a:lnTo>
                  <a:lnTo>
                    <a:pt x="191" y="1435"/>
                  </a:lnTo>
                  <a:lnTo>
                    <a:pt x="191" y="1435"/>
                  </a:lnTo>
                  <a:lnTo>
                    <a:pt x="191" y="1435"/>
                  </a:lnTo>
                  <a:lnTo>
                    <a:pt x="191" y="1435"/>
                  </a:lnTo>
                  <a:lnTo>
                    <a:pt x="191" y="1435"/>
                  </a:lnTo>
                  <a:lnTo>
                    <a:pt x="191" y="1435"/>
                  </a:lnTo>
                  <a:lnTo>
                    <a:pt x="191" y="1435"/>
                  </a:lnTo>
                  <a:lnTo>
                    <a:pt x="191" y="1435"/>
                  </a:lnTo>
                  <a:lnTo>
                    <a:pt x="191" y="1435"/>
                  </a:lnTo>
                  <a:lnTo>
                    <a:pt x="191" y="1435"/>
                  </a:lnTo>
                  <a:lnTo>
                    <a:pt x="191" y="1435"/>
                  </a:lnTo>
                  <a:lnTo>
                    <a:pt x="191" y="1435"/>
                  </a:lnTo>
                  <a:lnTo>
                    <a:pt x="191" y="1435"/>
                  </a:lnTo>
                  <a:lnTo>
                    <a:pt x="193" y="1437"/>
                  </a:lnTo>
                  <a:lnTo>
                    <a:pt x="193" y="1437"/>
                  </a:lnTo>
                  <a:lnTo>
                    <a:pt x="200" y="1443"/>
                  </a:lnTo>
                  <a:lnTo>
                    <a:pt x="200" y="1443"/>
                  </a:lnTo>
                  <a:lnTo>
                    <a:pt x="204" y="1444"/>
                  </a:lnTo>
                  <a:lnTo>
                    <a:pt x="209" y="1446"/>
                  </a:lnTo>
                  <a:lnTo>
                    <a:pt x="209" y="1446"/>
                  </a:lnTo>
                  <a:lnTo>
                    <a:pt x="213" y="1446"/>
                  </a:lnTo>
                  <a:lnTo>
                    <a:pt x="213" y="1446"/>
                  </a:lnTo>
                  <a:lnTo>
                    <a:pt x="230" y="1446"/>
                  </a:lnTo>
                  <a:lnTo>
                    <a:pt x="230" y="1446"/>
                  </a:lnTo>
                  <a:lnTo>
                    <a:pt x="235" y="1446"/>
                  </a:lnTo>
                  <a:lnTo>
                    <a:pt x="235" y="1446"/>
                  </a:lnTo>
                  <a:lnTo>
                    <a:pt x="238" y="1446"/>
                  </a:lnTo>
                  <a:lnTo>
                    <a:pt x="238" y="1446"/>
                  </a:lnTo>
                  <a:lnTo>
                    <a:pt x="240" y="1448"/>
                  </a:lnTo>
                  <a:lnTo>
                    <a:pt x="240" y="1448"/>
                  </a:lnTo>
                  <a:lnTo>
                    <a:pt x="243" y="1450"/>
                  </a:lnTo>
                  <a:lnTo>
                    <a:pt x="245" y="1450"/>
                  </a:lnTo>
                  <a:lnTo>
                    <a:pt x="245" y="1450"/>
                  </a:lnTo>
                  <a:lnTo>
                    <a:pt x="248" y="1450"/>
                  </a:lnTo>
                  <a:lnTo>
                    <a:pt x="251" y="1448"/>
                  </a:lnTo>
                  <a:lnTo>
                    <a:pt x="251" y="1448"/>
                  </a:lnTo>
                  <a:lnTo>
                    <a:pt x="256" y="1443"/>
                  </a:lnTo>
                  <a:lnTo>
                    <a:pt x="256" y="1443"/>
                  </a:lnTo>
                  <a:lnTo>
                    <a:pt x="264" y="1438"/>
                  </a:lnTo>
                  <a:lnTo>
                    <a:pt x="264" y="1438"/>
                  </a:lnTo>
                  <a:lnTo>
                    <a:pt x="268" y="1437"/>
                  </a:lnTo>
                  <a:lnTo>
                    <a:pt x="272" y="1435"/>
                  </a:lnTo>
                  <a:lnTo>
                    <a:pt x="272" y="1435"/>
                  </a:lnTo>
                  <a:lnTo>
                    <a:pt x="277" y="1435"/>
                  </a:lnTo>
                  <a:lnTo>
                    <a:pt x="281" y="1434"/>
                  </a:lnTo>
                  <a:lnTo>
                    <a:pt x="281" y="1434"/>
                  </a:lnTo>
                  <a:lnTo>
                    <a:pt x="287" y="1428"/>
                  </a:lnTo>
                  <a:lnTo>
                    <a:pt x="287" y="1428"/>
                  </a:lnTo>
                  <a:lnTo>
                    <a:pt x="294" y="1424"/>
                  </a:lnTo>
                  <a:lnTo>
                    <a:pt x="294" y="1424"/>
                  </a:lnTo>
                  <a:lnTo>
                    <a:pt x="306" y="1421"/>
                  </a:lnTo>
                  <a:lnTo>
                    <a:pt x="306" y="1421"/>
                  </a:lnTo>
                  <a:lnTo>
                    <a:pt x="311" y="1419"/>
                  </a:lnTo>
                  <a:lnTo>
                    <a:pt x="311" y="1419"/>
                  </a:lnTo>
                  <a:lnTo>
                    <a:pt x="314" y="1418"/>
                  </a:lnTo>
                  <a:lnTo>
                    <a:pt x="316" y="1417"/>
                  </a:lnTo>
                  <a:lnTo>
                    <a:pt x="316" y="1417"/>
                  </a:lnTo>
                  <a:lnTo>
                    <a:pt x="319" y="1411"/>
                  </a:lnTo>
                  <a:lnTo>
                    <a:pt x="319" y="1411"/>
                  </a:lnTo>
                  <a:lnTo>
                    <a:pt x="322" y="1409"/>
                  </a:lnTo>
                  <a:lnTo>
                    <a:pt x="322" y="1409"/>
                  </a:lnTo>
                  <a:lnTo>
                    <a:pt x="322" y="1409"/>
                  </a:lnTo>
                  <a:lnTo>
                    <a:pt x="322" y="1409"/>
                  </a:lnTo>
                  <a:lnTo>
                    <a:pt x="322" y="1409"/>
                  </a:lnTo>
                  <a:lnTo>
                    <a:pt x="323" y="1409"/>
                  </a:lnTo>
                  <a:lnTo>
                    <a:pt x="323" y="1409"/>
                  </a:lnTo>
                  <a:lnTo>
                    <a:pt x="324" y="1411"/>
                  </a:lnTo>
                  <a:lnTo>
                    <a:pt x="324" y="1411"/>
                  </a:lnTo>
                  <a:lnTo>
                    <a:pt x="327" y="1412"/>
                  </a:lnTo>
                  <a:lnTo>
                    <a:pt x="327" y="1412"/>
                  </a:lnTo>
                  <a:lnTo>
                    <a:pt x="333" y="1414"/>
                  </a:lnTo>
                  <a:lnTo>
                    <a:pt x="333" y="1414"/>
                  </a:lnTo>
                  <a:lnTo>
                    <a:pt x="336" y="1414"/>
                  </a:lnTo>
                  <a:lnTo>
                    <a:pt x="336" y="1414"/>
                  </a:lnTo>
                  <a:lnTo>
                    <a:pt x="353" y="1412"/>
                  </a:lnTo>
                  <a:lnTo>
                    <a:pt x="353" y="1412"/>
                  </a:lnTo>
                  <a:lnTo>
                    <a:pt x="356" y="1414"/>
                  </a:lnTo>
                  <a:lnTo>
                    <a:pt x="356" y="1414"/>
                  </a:lnTo>
                  <a:lnTo>
                    <a:pt x="361" y="1415"/>
                  </a:lnTo>
                  <a:lnTo>
                    <a:pt x="361" y="1415"/>
                  </a:lnTo>
                  <a:lnTo>
                    <a:pt x="364" y="1417"/>
                  </a:lnTo>
                  <a:lnTo>
                    <a:pt x="366" y="1418"/>
                  </a:lnTo>
                  <a:lnTo>
                    <a:pt x="366" y="1418"/>
                  </a:lnTo>
                  <a:lnTo>
                    <a:pt x="372" y="1417"/>
                  </a:lnTo>
                  <a:lnTo>
                    <a:pt x="372" y="1417"/>
                  </a:lnTo>
                  <a:lnTo>
                    <a:pt x="385" y="1412"/>
                  </a:lnTo>
                  <a:lnTo>
                    <a:pt x="385" y="1412"/>
                  </a:lnTo>
                  <a:lnTo>
                    <a:pt x="392" y="1409"/>
                  </a:lnTo>
                  <a:lnTo>
                    <a:pt x="400" y="1408"/>
                  </a:lnTo>
                  <a:lnTo>
                    <a:pt x="400" y="1408"/>
                  </a:lnTo>
                  <a:lnTo>
                    <a:pt x="401" y="1409"/>
                  </a:lnTo>
                  <a:lnTo>
                    <a:pt x="401" y="1409"/>
                  </a:lnTo>
                  <a:lnTo>
                    <a:pt x="410" y="1411"/>
                  </a:lnTo>
                  <a:lnTo>
                    <a:pt x="417" y="1411"/>
                  </a:lnTo>
                  <a:lnTo>
                    <a:pt x="417" y="1411"/>
                  </a:lnTo>
                  <a:lnTo>
                    <a:pt x="423" y="1411"/>
                  </a:lnTo>
                  <a:lnTo>
                    <a:pt x="423" y="1411"/>
                  </a:lnTo>
                  <a:lnTo>
                    <a:pt x="430" y="1406"/>
                  </a:lnTo>
                  <a:lnTo>
                    <a:pt x="430" y="1406"/>
                  </a:lnTo>
                  <a:lnTo>
                    <a:pt x="436" y="1404"/>
                  </a:lnTo>
                  <a:lnTo>
                    <a:pt x="440" y="1404"/>
                  </a:lnTo>
                  <a:lnTo>
                    <a:pt x="440" y="1404"/>
                  </a:lnTo>
                  <a:lnTo>
                    <a:pt x="442" y="1404"/>
                  </a:lnTo>
                  <a:lnTo>
                    <a:pt x="442" y="1404"/>
                  </a:lnTo>
                  <a:lnTo>
                    <a:pt x="448" y="1409"/>
                  </a:lnTo>
                  <a:lnTo>
                    <a:pt x="448" y="1409"/>
                  </a:lnTo>
                  <a:lnTo>
                    <a:pt x="452" y="1411"/>
                  </a:lnTo>
                  <a:lnTo>
                    <a:pt x="455" y="1412"/>
                  </a:lnTo>
                  <a:lnTo>
                    <a:pt x="456" y="1412"/>
                  </a:lnTo>
                  <a:lnTo>
                    <a:pt x="456" y="1412"/>
                  </a:lnTo>
                  <a:lnTo>
                    <a:pt x="456" y="1412"/>
                  </a:lnTo>
                  <a:lnTo>
                    <a:pt x="456" y="1411"/>
                  </a:lnTo>
                  <a:lnTo>
                    <a:pt x="455" y="1412"/>
                  </a:lnTo>
                  <a:lnTo>
                    <a:pt x="456" y="1412"/>
                  </a:lnTo>
                  <a:lnTo>
                    <a:pt x="456" y="1411"/>
                  </a:lnTo>
                  <a:lnTo>
                    <a:pt x="455" y="1412"/>
                  </a:lnTo>
                  <a:lnTo>
                    <a:pt x="456" y="1411"/>
                  </a:lnTo>
                  <a:lnTo>
                    <a:pt x="455" y="1411"/>
                  </a:lnTo>
                  <a:lnTo>
                    <a:pt x="455" y="1412"/>
                  </a:lnTo>
                  <a:lnTo>
                    <a:pt x="456" y="1411"/>
                  </a:lnTo>
                  <a:lnTo>
                    <a:pt x="455" y="1411"/>
                  </a:lnTo>
                  <a:lnTo>
                    <a:pt x="455" y="1411"/>
                  </a:lnTo>
                  <a:lnTo>
                    <a:pt x="455" y="1411"/>
                  </a:lnTo>
                  <a:lnTo>
                    <a:pt x="455" y="1411"/>
                  </a:lnTo>
                  <a:lnTo>
                    <a:pt x="455" y="1411"/>
                  </a:lnTo>
                  <a:lnTo>
                    <a:pt x="455" y="1411"/>
                  </a:lnTo>
                  <a:lnTo>
                    <a:pt x="455" y="1411"/>
                  </a:lnTo>
                  <a:lnTo>
                    <a:pt x="453" y="1414"/>
                  </a:lnTo>
                  <a:lnTo>
                    <a:pt x="453" y="1414"/>
                  </a:lnTo>
                  <a:lnTo>
                    <a:pt x="452" y="1418"/>
                  </a:lnTo>
                  <a:lnTo>
                    <a:pt x="452" y="1418"/>
                  </a:lnTo>
                  <a:lnTo>
                    <a:pt x="450" y="1427"/>
                  </a:lnTo>
                  <a:lnTo>
                    <a:pt x="450" y="1427"/>
                  </a:lnTo>
                  <a:lnTo>
                    <a:pt x="452" y="1432"/>
                  </a:lnTo>
                  <a:lnTo>
                    <a:pt x="452" y="1432"/>
                  </a:lnTo>
                  <a:lnTo>
                    <a:pt x="452" y="1435"/>
                  </a:lnTo>
                  <a:lnTo>
                    <a:pt x="453" y="1438"/>
                  </a:lnTo>
                  <a:lnTo>
                    <a:pt x="453" y="1438"/>
                  </a:lnTo>
                  <a:lnTo>
                    <a:pt x="453" y="1438"/>
                  </a:lnTo>
                  <a:lnTo>
                    <a:pt x="455" y="1441"/>
                  </a:lnTo>
                  <a:lnTo>
                    <a:pt x="455" y="1441"/>
                  </a:lnTo>
                  <a:lnTo>
                    <a:pt x="453" y="1448"/>
                  </a:lnTo>
                  <a:lnTo>
                    <a:pt x="453" y="1448"/>
                  </a:lnTo>
                  <a:lnTo>
                    <a:pt x="450" y="1453"/>
                  </a:lnTo>
                  <a:lnTo>
                    <a:pt x="450" y="1453"/>
                  </a:lnTo>
                  <a:lnTo>
                    <a:pt x="445" y="1460"/>
                  </a:lnTo>
                  <a:lnTo>
                    <a:pt x="445" y="1460"/>
                  </a:lnTo>
                  <a:lnTo>
                    <a:pt x="443" y="1464"/>
                  </a:lnTo>
                  <a:lnTo>
                    <a:pt x="443" y="1469"/>
                  </a:lnTo>
                  <a:lnTo>
                    <a:pt x="443" y="1469"/>
                  </a:lnTo>
                  <a:lnTo>
                    <a:pt x="443" y="1473"/>
                  </a:lnTo>
                  <a:lnTo>
                    <a:pt x="443" y="1473"/>
                  </a:lnTo>
                  <a:lnTo>
                    <a:pt x="446" y="1476"/>
                  </a:lnTo>
                  <a:lnTo>
                    <a:pt x="446" y="1476"/>
                  </a:lnTo>
                  <a:lnTo>
                    <a:pt x="450" y="1477"/>
                  </a:lnTo>
                  <a:lnTo>
                    <a:pt x="455" y="1477"/>
                  </a:lnTo>
                  <a:lnTo>
                    <a:pt x="455" y="1477"/>
                  </a:lnTo>
                  <a:lnTo>
                    <a:pt x="456" y="1477"/>
                  </a:lnTo>
                  <a:lnTo>
                    <a:pt x="456"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6" y="1480"/>
                  </a:lnTo>
                  <a:lnTo>
                    <a:pt x="456" y="1480"/>
                  </a:lnTo>
                  <a:lnTo>
                    <a:pt x="456" y="1483"/>
                  </a:lnTo>
                  <a:lnTo>
                    <a:pt x="456" y="1483"/>
                  </a:lnTo>
                  <a:lnTo>
                    <a:pt x="458" y="1486"/>
                  </a:lnTo>
                  <a:lnTo>
                    <a:pt x="458" y="1486"/>
                  </a:lnTo>
                  <a:lnTo>
                    <a:pt x="459" y="1488"/>
                  </a:lnTo>
                  <a:lnTo>
                    <a:pt x="459" y="1488"/>
                  </a:lnTo>
                  <a:lnTo>
                    <a:pt x="459" y="1488"/>
                  </a:lnTo>
                  <a:lnTo>
                    <a:pt x="459" y="1488"/>
                  </a:lnTo>
                  <a:lnTo>
                    <a:pt x="463" y="1486"/>
                  </a:lnTo>
                  <a:lnTo>
                    <a:pt x="463" y="1486"/>
                  </a:lnTo>
                  <a:lnTo>
                    <a:pt x="468" y="1485"/>
                  </a:lnTo>
                  <a:lnTo>
                    <a:pt x="468" y="1485"/>
                  </a:lnTo>
                  <a:lnTo>
                    <a:pt x="471" y="1486"/>
                  </a:lnTo>
                  <a:lnTo>
                    <a:pt x="471" y="1486"/>
                  </a:lnTo>
                  <a:lnTo>
                    <a:pt x="475" y="1489"/>
                  </a:lnTo>
                  <a:lnTo>
                    <a:pt x="475" y="1489"/>
                  </a:lnTo>
                  <a:lnTo>
                    <a:pt x="481" y="1490"/>
                  </a:lnTo>
                  <a:lnTo>
                    <a:pt x="488" y="1490"/>
                  </a:lnTo>
                  <a:lnTo>
                    <a:pt x="488" y="1490"/>
                  </a:lnTo>
                  <a:lnTo>
                    <a:pt x="492" y="1490"/>
                  </a:lnTo>
                  <a:lnTo>
                    <a:pt x="492" y="1490"/>
                  </a:lnTo>
                  <a:lnTo>
                    <a:pt x="498" y="1490"/>
                  </a:lnTo>
                  <a:lnTo>
                    <a:pt x="498" y="1490"/>
                  </a:lnTo>
                  <a:lnTo>
                    <a:pt x="504" y="1492"/>
                  </a:lnTo>
                  <a:lnTo>
                    <a:pt x="508" y="1495"/>
                  </a:lnTo>
                  <a:lnTo>
                    <a:pt x="508" y="1495"/>
                  </a:lnTo>
                  <a:lnTo>
                    <a:pt x="513" y="1498"/>
                  </a:lnTo>
                  <a:lnTo>
                    <a:pt x="513" y="1498"/>
                  </a:lnTo>
                  <a:lnTo>
                    <a:pt x="518" y="1498"/>
                  </a:lnTo>
                  <a:lnTo>
                    <a:pt x="518" y="1498"/>
                  </a:lnTo>
                  <a:lnTo>
                    <a:pt x="521" y="1499"/>
                  </a:lnTo>
                  <a:lnTo>
                    <a:pt x="521" y="1499"/>
                  </a:lnTo>
                  <a:lnTo>
                    <a:pt x="524" y="1502"/>
                  </a:lnTo>
                  <a:lnTo>
                    <a:pt x="524" y="1502"/>
                  </a:lnTo>
                  <a:lnTo>
                    <a:pt x="526" y="1508"/>
                  </a:lnTo>
                  <a:lnTo>
                    <a:pt x="526" y="1508"/>
                  </a:lnTo>
                  <a:lnTo>
                    <a:pt x="527" y="1512"/>
                  </a:lnTo>
                  <a:lnTo>
                    <a:pt x="527" y="1512"/>
                  </a:lnTo>
                  <a:lnTo>
                    <a:pt x="530" y="1516"/>
                  </a:lnTo>
                  <a:lnTo>
                    <a:pt x="534" y="1519"/>
                  </a:lnTo>
                  <a:lnTo>
                    <a:pt x="534" y="1519"/>
                  </a:lnTo>
                  <a:lnTo>
                    <a:pt x="539" y="1522"/>
                  </a:lnTo>
                  <a:lnTo>
                    <a:pt x="545" y="1524"/>
                  </a:lnTo>
                  <a:lnTo>
                    <a:pt x="545" y="1524"/>
                  </a:lnTo>
                  <a:lnTo>
                    <a:pt x="550" y="1524"/>
                  </a:lnTo>
                  <a:lnTo>
                    <a:pt x="556" y="1525"/>
                  </a:lnTo>
                  <a:lnTo>
                    <a:pt x="556" y="1525"/>
                  </a:lnTo>
                  <a:lnTo>
                    <a:pt x="569" y="1532"/>
                  </a:lnTo>
                  <a:lnTo>
                    <a:pt x="569" y="1532"/>
                  </a:lnTo>
                  <a:lnTo>
                    <a:pt x="579" y="1538"/>
                  </a:lnTo>
                  <a:lnTo>
                    <a:pt x="579" y="1538"/>
                  </a:lnTo>
                  <a:lnTo>
                    <a:pt x="584" y="1540"/>
                  </a:lnTo>
                  <a:lnTo>
                    <a:pt x="587" y="1541"/>
                  </a:lnTo>
                  <a:lnTo>
                    <a:pt x="587" y="1541"/>
                  </a:lnTo>
                  <a:lnTo>
                    <a:pt x="591" y="1540"/>
                  </a:lnTo>
                  <a:lnTo>
                    <a:pt x="595" y="1538"/>
                  </a:lnTo>
                  <a:lnTo>
                    <a:pt x="595" y="1538"/>
                  </a:lnTo>
                  <a:lnTo>
                    <a:pt x="600" y="1534"/>
                  </a:lnTo>
                  <a:lnTo>
                    <a:pt x="602" y="1531"/>
                  </a:lnTo>
                  <a:lnTo>
                    <a:pt x="602" y="1531"/>
                  </a:lnTo>
                  <a:lnTo>
                    <a:pt x="604" y="1527"/>
                  </a:lnTo>
                  <a:lnTo>
                    <a:pt x="604" y="1521"/>
                  </a:lnTo>
                  <a:lnTo>
                    <a:pt x="604" y="1521"/>
                  </a:lnTo>
                  <a:lnTo>
                    <a:pt x="602" y="1511"/>
                  </a:lnTo>
                  <a:lnTo>
                    <a:pt x="602" y="1511"/>
                  </a:lnTo>
                  <a:lnTo>
                    <a:pt x="602" y="1506"/>
                  </a:lnTo>
                  <a:lnTo>
                    <a:pt x="602" y="1506"/>
                  </a:lnTo>
                  <a:lnTo>
                    <a:pt x="602" y="1505"/>
                  </a:lnTo>
                  <a:lnTo>
                    <a:pt x="604" y="1503"/>
                  </a:lnTo>
                  <a:lnTo>
                    <a:pt x="604" y="1503"/>
                  </a:lnTo>
                  <a:lnTo>
                    <a:pt x="610" y="1499"/>
                  </a:lnTo>
                  <a:lnTo>
                    <a:pt x="610" y="1499"/>
                  </a:lnTo>
                  <a:lnTo>
                    <a:pt x="614" y="1496"/>
                  </a:lnTo>
                  <a:lnTo>
                    <a:pt x="614" y="1496"/>
                  </a:lnTo>
                  <a:lnTo>
                    <a:pt x="627" y="1492"/>
                  </a:lnTo>
                  <a:lnTo>
                    <a:pt x="627" y="1492"/>
                  </a:lnTo>
                  <a:lnTo>
                    <a:pt x="637" y="1490"/>
                  </a:lnTo>
                  <a:lnTo>
                    <a:pt x="637" y="1490"/>
                  </a:lnTo>
                  <a:lnTo>
                    <a:pt x="637" y="1490"/>
                  </a:lnTo>
                  <a:lnTo>
                    <a:pt x="642" y="1492"/>
                  </a:lnTo>
                  <a:lnTo>
                    <a:pt x="643" y="1493"/>
                  </a:lnTo>
                  <a:lnTo>
                    <a:pt x="643" y="1493"/>
                  </a:lnTo>
                  <a:lnTo>
                    <a:pt x="649" y="1499"/>
                  </a:lnTo>
                  <a:lnTo>
                    <a:pt x="649" y="1499"/>
                  </a:lnTo>
                  <a:lnTo>
                    <a:pt x="650" y="1502"/>
                  </a:lnTo>
                  <a:lnTo>
                    <a:pt x="650" y="1502"/>
                  </a:lnTo>
                  <a:lnTo>
                    <a:pt x="652" y="1503"/>
                  </a:lnTo>
                  <a:lnTo>
                    <a:pt x="652" y="1503"/>
                  </a:lnTo>
                  <a:lnTo>
                    <a:pt x="655" y="1506"/>
                  </a:lnTo>
                  <a:lnTo>
                    <a:pt x="655" y="1506"/>
                  </a:lnTo>
                  <a:lnTo>
                    <a:pt x="663" y="1508"/>
                  </a:lnTo>
                  <a:lnTo>
                    <a:pt x="663" y="1508"/>
                  </a:lnTo>
                  <a:lnTo>
                    <a:pt x="671" y="1509"/>
                  </a:lnTo>
                  <a:lnTo>
                    <a:pt x="679" y="1512"/>
                  </a:lnTo>
                  <a:lnTo>
                    <a:pt x="679" y="1512"/>
                  </a:lnTo>
                  <a:lnTo>
                    <a:pt x="685" y="1514"/>
                  </a:lnTo>
                  <a:lnTo>
                    <a:pt x="685" y="1514"/>
                  </a:lnTo>
                  <a:lnTo>
                    <a:pt x="691" y="1515"/>
                  </a:lnTo>
                  <a:lnTo>
                    <a:pt x="691" y="1515"/>
                  </a:lnTo>
                  <a:lnTo>
                    <a:pt x="695" y="1515"/>
                  </a:lnTo>
                  <a:lnTo>
                    <a:pt x="695" y="1515"/>
                  </a:lnTo>
                  <a:lnTo>
                    <a:pt x="708" y="1518"/>
                  </a:lnTo>
                  <a:lnTo>
                    <a:pt x="708" y="1518"/>
                  </a:lnTo>
                  <a:lnTo>
                    <a:pt x="718" y="1521"/>
                  </a:lnTo>
                  <a:lnTo>
                    <a:pt x="718" y="1521"/>
                  </a:lnTo>
                  <a:lnTo>
                    <a:pt x="733" y="1525"/>
                  </a:lnTo>
                  <a:lnTo>
                    <a:pt x="733" y="1525"/>
                  </a:lnTo>
                  <a:lnTo>
                    <a:pt x="742" y="1528"/>
                  </a:lnTo>
                  <a:lnTo>
                    <a:pt x="749" y="1528"/>
                  </a:lnTo>
                  <a:lnTo>
                    <a:pt x="749" y="1528"/>
                  </a:lnTo>
                  <a:lnTo>
                    <a:pt x="753" y="1528"/>
                  </a:lnTo>
                  <a:lnTo>
                    <a:pt x="753" y="1528"/>
                  </a:lnTo>
                  <a:lnTo>
                    <a:pt x="757" y="1525"/>
                  </a:lnTo>
                  <a:lnTo>
                    <a:pt x="757" y="1525"/>
                  </a:lnTo>
                  <a:lnTo>
                    <a:pt x="765" y="1518"/>
                  </a:lnTo>
                  <a:lnTo>
                    <a:pt x="765" y="1518"/>
                  </a:lnTo>
                  <a:lnTo>
                    <a:pt x="770" y="1514"/>
                  </a:lnTo>
                  <a:lnTo>
                    <a:pt x="770" y="1514"/>
                  </a:lnTo>
                  <a:lnTo>
                    <a:pt x="775" y="1512"/>
                  </a:lnTo>
                  <a:lnTo>
                    <a:pt x="775" y="1512"/>
                  </a:lnTo>
                  <a:lnTo>
                    <a:pt x="775" y="1512"/>
                  </a:lnTo>
                  <a:lnTo>
                    <a:pt x="775" y="1512"/>
                  </a:lnTo>
                  <a:lnTo>
                    <a:pt x="775" y="1512"/>
                  </a:lnTo>
                  <a:lnTo>
                    <a:pt x="775" y="1512"/>
                  </a:lnTo>
                  <a:lnTo>
                    <a:pt x="775" y="1512"/>
                  </a:lnTo>
                  <a:lnTo>
                    <a:pt x="775" y="1511"/>
                  </a:lnTo>
                  <a:lnTo>
                    <a:pt x="775" y="1512"/>
                  </a:lnTo>
                  <a:lnTo>
                    <a:pt x="775" y="1512"/>
                  </a:lnTo>
                  <a:lnTo>
                    <a:pt x="775" y="1511"/>
                  </a:lnTo>
                  <a:lnTo>
                    <a:pt x="775" y="1512"/>
                  </a:lnTo>
                  <a:lnTo>
                    <a:pt x="775" y="1511"/>
                  </a:lnTo>
                  <a:lnTo>
                    <a:pt x="775" y="1512"/>
                  </a:lnTo>
                  <a:lnTo>
                    <a:pt x="775" y="1512"/>
                  </a:lnTo>
                  <a:lnTo>
                    <a:pt x="775" y="1511"/>
                  </a:lnTo>
                  <a:lnTo>
                    <a:pt x="775" y="1512"/>
                  </a:lnTo>
                  <a:lnTo>
                    <a:pt x="775" y="1512"/>
                  </a:lnTo>
                  <a:lnTo>
                    <a:pt x="775" y="1512"/>
                  </a:lnTo>
                  <a:lnTo>
                    <a:pt x="775" y="1512"/>
                  </a:lnTo>
                  <a:lnTo>
                    <a:pt x="775" y="1512"/>
                  </a:lnTo>
                  <a:lnTo>
                    <a:pt x="775" y="1512"/>
                  </a:lnTo>
                  <a:lnTo>
                    <a:pt x="775" y="1512"/>
                  </a:lnTo>
                  <a:lnTo>
                    <a:pt x="776" y="1512"/>
                  </a:lnTo>
                  <a:lnTo>
                    <a:pt x="776" y="1512"/>
                  </a:lnTo>
                  <a:lnTo>
                    <a:pt x="779" y="1515"/>
                  </a:lnTo>
                  <a:lnTo>
                    <a:pt x="779" y="1515"/>
                  </a:lnTo>
                  <a:lnTo>
                    <a:pt x="782" y="1514"/>
                  </a:lnTo>
                  <a:lnTo>
                    <a:pt x="782" y="1514"/>
                  </a:lnTo>
                  <a:lnTo>
                    <a:pt x="784" y="1512"/>
                  </a:lnTo>
                  <a:lnTo>
                    <a:pt x="785" y="1512"/>
                  </a:lnTo>
                  <a:lnTo>
                    <a:pt x="785" y="1512"/>
                  </a:lnTo>
                  <a:lnTo>
                    <a:pt x="785" y="1512"/>
                  </a:lnTo>
                  <a:lnTo>
                    <a:pt x="785" y="1512"/>
                  </a:lnTo>
                  <a:lnTo>
                    <a:pt x="785" y="1512"/>
                  </a:lnTo>
                  <a:lnTo>
                    <a:pt x="789" y="1518"/>
                  </a:lnTo>
                  <a:lnTo>
                    <a:pt x="789" y="1518"/>
                  </a:lnTo>
                  <a:lnTo>
                    <a:pt x="794" y="1519"/>
                  </a:lnTo>
                  <a:lnTo>
                    <a:pt x="794" y="1519"/>
                  </a:lnTo>
                  <a:lnTo>
                    <a:pt x="798" y="1521"/>
                  </a:lnTo>
                  <a:lnTo>
                    <a:pt x="798" y="1521"/>
                  </a:lnTo>
                  <a:lnTo>
                    <a:pt x="799" y="1521"/>
                  </a:lnTo>
                  <a:lnTo>
                    <a:pt x="799" y="1521"/>
                  </a:lnTo>
                  <a:lnTo>
                    <a:pt x="808" y="1522"/>
                  </a:lnTo>
                  <a:lnTo>
                    <a:pt x="808" y="1522"/>
                  </a:lnTo>
                  <a:lnTo>
                    <a:pt x="818" y="1522"/>
                  </a:lnTo>
                  <a:lnTo>
                    <a:pt x="818" y="1522"/>
                  </a:lnTo>
                  <a:lnTo>
                    <a:pt x="826" y="1522"/>
                  </a:lnTo>
                  <a:lnTo>
                    <a:pt x="826" y="1522"/>
                  </a:lnTo>
                  <a:lnTo>
                    <a:pt x="828" y="1521"/>
                  </a:lnTo>
                  <a:lnTo>
                    <a:pt x="830" y="1519"/>
                  </a:lnTo>
                  <a:lnTo>
                    <a:pt x="830" y="1519"/>
                  </a:lnTo>
                  <a:lnTo>
                    <a:pt x="833" y="1514"/>
                  </a:lnTo>
                  <a:lnTo>
                    <a:pt x="836" y="1508"/>
                  </a:lnTo>
                  <a:lnTo>
                    <a:pt x="836" y="1508"/>
                  </a:lnTo>
                  <a:lnTo>
                    <a:pt x="837" y="1502"/>
                  </a:lnTo>
                  <a:lnTo>
                    <a:pt x="841" y="1495"/>
                  </a:lnTo>
                  <a:lnTo>
                    <a:pt x="841" y="1495"/>
                  </a:lnTo>
                  <a:lnTo>
                    <a:pt x="846" y="1485"/>
                  </a:lnTo>
                  <a:lnTo>
                    <a:pt x="849" y="1476"/>
                  </a:lnTo>
                  <a:lnTo>
                    <a:pt x="849" y="1476"/>
                  </a:lnTo>
                  <a:lnTo>
                    <a:pt x="852" y="1467"/>
                  </a:lnTo>
                  <a:lnTo>
                    <a:pt x="852" y="1461"/>
                  </a:lnTo>
                  <a:lnTo>
                    <a:pt x="852" y="1461"/>
                  </a:lnTo>
                  <a:lnTo>
                    <a:pt x="853" y="1459"/>
                  </a:lnTo>
                  <a:lnTo>
                    <a:pt x="853" y="1459"/>
                  </a:lnTo>
                  <a:lnTo>
                    <a:pt x="856" y="1456"/>
                  </a:lnTo>
                  <a:lnTo>
                    <a:pt x="856" y="1456"/>
                  </a:lnTo>
                  <a:lnTo>
                    <a:pt x="859" y="1453"/>
                  </a:lnTo>
                  <a:lnTo>
                    <a:pt x="860" y="1448"/>
                  </a:lnTo>
                  <a:lnTo>
                    <a:pt x="860" y="1448"/>
                  </a:lnTo>
                  <a:lnTo>
                    <a:pt x="860" y="1430"/>
                  </a:lnTo>
                  <a:lnTo>
                    <a:pt x="860" y="1430"/>
                  </a:lnTo>
                  <a:lnTo>
                    <a:pt x="860" y="1424"/>
                  </a:lnTo>
                  <a:lnTo>
                    <a:pt x="860" y="1424"/>
                  </a:lnTo>
                  <a:lnTo>
                    <a:pt x="860" y="1424"/>
                  </a:lnTo>
                  <a:lnTo>
                    <a:pt x="862" y="1418"/>
                  </a:lnTo>
                  <a:lnTo>
                    <a:pt x="862" y="1418"/>
                  </a:lnTo>
                  <a:lnTo>
                    <a:pt x="862" y="1415"/>
                  </a:lnTo>
                  <a:lnTo>
                    <a:pt x="862" y="1415"/>
                  </a:lnTo>
                  <a:lnTo>
                    <a:pt x="863" y="1412"/>
                  </a:lnTo>
                  <a:lnTo>
                    <a:pt x="863" y="1412"/>
                  </a:lnTo>
                  <a:lnTo>
                    <a:pt x="862" y="1409"/>
                  </a:lnTo>
                  <a:lnTo>
                    <a:pt x="862" y="1409"/>
                  </a:lnTo>
                  <a:lnTo>
                    <a:pt x="862" y="1409"/>
                  </a:lnTo>
                  <a:lnTo>
                    <a:pt x="862" y="1409"/>
                  </a:lnTo>
                  <a:lnTo>
                    <a:pt x="860" y="1408"/>
                  </a:lnTo>
                  <a:lnTo>
                    <a:pt x="860" y="1408"/>
                  </a:lnTo>
                  <a:lnTo>
                    <a:pt x="857" y="1409"/>
                  </a:lnTo>
                  <a:lnTo>
                    <a:pt x="857" y="1409"/>
                  </a:lnTo>
                  <a:lnTo>
                    <a:pt x="856" y="1411"/>
                  </a:lnTo>
                  <a:lnTo>
                    <a:pt x="856" y="1411"/>
                  </a:lnTo>
                  <a:lnTo>
                    <a:pt x="856" y="1411"/>
                  </a:lnTo>
                  <a:lnTo>
                    <a:pt x="854" y="1409"/>
                  </a:lnTo>
                  <a:lnTo>
                    <a:pt x="854" y="1409"/>
                  </a:lnTo>
                  <a:lnTo>
                    <a:pt x="852" y="1408"/>
                  </a:lnTo>
                  <a:lnTo>
                    <a:pt x="852" y="1408"/>
                  </a:lnTo>
                  <a:lnTo>
                    <a:pt x="850" y="1406"/>
                  </a:lnTo>
                  <a:lnTo>
                    <a:pt x="850" y="1406"/>
                  </a:lnTo>
                  <a:lnTo>
                    <a:pt x="847" y="1405"/>
                  </a:lnTo>
                  <a:lnTo>
                    <a:pt x="847" y="1405"/>
                  </a:lnTo>
                  <a:lnTo>
                    <a:pt x="846" y="1406"/>
                  </a:lnTo>
                  <a:lnTo>
                    <a:pt x="844" y="1406"/>
                  </a:lnTo>
                  <a:lnTo>
                    <a:pt x="844" y="1406"/>
                  </a:lnTo>
                  <a:lnTo>
                    <a:pt x="843" y="1405"/>
                  </a:lnTo>
                  <a:lnTo>
                    <a:pt x="843" y="1405"/>
                  </a:lnTo>
                  <a:lnTo>
                    <a:pt x="840" y="1405"/>
                  </a:lnTo>
                  <a:lnTo>
                    <a:pt x="840" y="1405"/>
                  </a:lnTo>
                  <a:lnTo>
                    <a:pt x="837" y="1405"/>
                  </a:lnTo>
                  <a:lnTo>
                    <a:pt x="836" y="1406"/>
                  </a:lnTo>
                  <a:lnTo>
                    <a:pt x="836" y="1406"/>
                  </a:lnTo>
                  <a:lnTo>
                    <a:pt x="833" y="1411"/>
                  </a:lnTo>
                  <a:lnTo>
                    <a:pt x="833" y="1411"/>
                  </a:lnTo>
                  <a:lnTo>
                    <a:pt x="828" y="1415"/>
                  </a:lnTo>
                  <a:lnTo>
                    <a:pt x="828" y="1415"/>
                  </a:lnTo>
                  <a:lnTo>
                    <a:pt x="826" y="1418"/>
                  </a:lnTo>
                  <a:lnTo>
                    <a:pt x="823" y="1419"/>
                  </a:lnTo>
                  <a:lnTo>
                    <a:pt x="823" y="1419"/>
                  </a:lnTo>
                  <a:lnTo>
                    <a:pt x="810" y="1419"/>
                  </a:lnTo>
                  <a:lnTo>
                    <a:pt x="810" y="1419"/>
                  </a:lnTo>
                  <a:lnTo>
                    <a:pt x="804" y="1419"/>
                  </a:lnTo>
                  <a:lnTo>
                    <a:pt x="799" y="1417"/>
                  </a:lnTo>
                  <a:lnTo>
                    <a:pt x="799" y="1417"/>
                  </a:lnTo>
                  <a:lnTo>
                    <a:pt x="794" y="1414"/>
                  </a:lnTo>
                  <a:lnTo>
                    <a:pt x="786" y="1411"/>
                  </a:lnTo>
                  <a:lnTo>
                    <a:pt x="786" y="1411"/>
                  </a:lnTo>
                  <a:lnTo>
                    <a:pt x="779" y="1409"/>
                  </a:lnTo>
                  <a:lnTo>
                    <a:pt x="779" y="1409"/>
                  </a:lnTo>
                  <a:lnTo>
                    <a:pt x="775" y="1408"/>
                  </a:lnTo>
                  <a:lnTo>
                    <a:pt x="775" y="1408"/>
                  </a:lnTo>
                  <a:lnTo>
                    <a:pt x="772" y="1408"/>
                  </a:lnTo>
                  <a:lnTo>
                    <a:pt x="772" y="1409"/>
                  </a:lnTo>
                  <a:lnTo>
                    <a:pt x="772" y="1409"/>
                  </a:lnTo>
                  <a:lnTo>
                    <a:pt x="770" y="1411"/>
                  </a:lnTo>
                  <a:lnTo>
                    <a:pt x="770" y="1411"/>
                  </a:lnTo>
                  <a:lnTo>
                    <a:pt x="770" y="1411"/>
                  </a:lnTo>
                  <a:lnTo>
                    <a:pt x="770" y="1414"/>
                  </a:lnTo>
                  <a:lnTo>
                    <a:pt x="770" y="1414"/>
                  </a:lnTo>
                  <a:lnTo>
                    <a:pt x="769" y="1418"/>
                  </a:lnTo>
                  <a:lnTo>
                    <a:pt x="769" y="1418"/>
                  </a:lnTo>
                  <a:lnTo>
                    <a:pt x="768" y="1419"/>
                  </a:lnTo>
                  <a:lnTo>
                    <a:pt x="766" y="1419"/>
                  </a:lnTo>
                  <a:lnTo>
                    <a:pt x="766" y="1419"/>
                  </a:lnTo>
                  <a:lnTo>
                    <a:pt x="759" y="1418"/>
                  </a:lnTo>
                  <a:lnTo>
                    <a:pt x="752" y="1414"/>
                  </a:lnTo>
                  <a:lnTo>
                    <a:pt x="752" y="1414"/>
                  </a:lnTo>
                  <a:lnTo>
                    <a:pt x="744" y="1409"/>
                  </a:lnTo>
                  <a:lnTo>
                    <a:pt x="744" y="1409"/>
                  </a:lnTo>
                  <a:lnTo>
                    <a:pt x="739" y="1406"/>
                  </a:lnTo>
                  <a:lnTo>
                    <a:pt x="739" y="1406"/>
                  </a:lnTo>
                  <a:lnTo>
                    <a:pt x="726" y="1402"/>
                  </a:lnTo>
                  <a:lnTo>
                    <a:pt x="726" y="1402"/>
                  </a:lnTo>
                  <a:lnTo>
                    <a:pt x="723" y="1401"/>
                  </a:lnTo>
                  <a:lnTo>
                    <a:pt x="721" y="1399"/>
                  </a:lnTo>
                  <a:lnTo>
                    <a:pt x="721" y="1399"/>
                  </a:lnTo>
                  <a:lnTo>
                    <a:pt x="718" y="1395"/>
                  </a:lnTo>
                  <a:lnTo>
                    <a:pt x="718" y="1395"/>
                  </a:lnTo>
                  <a:lnTo>
                    <a:pt x="717" y="1393"/>
                  </a:lnTo>
                  <a:lnTo>
                    <a:pt x="717" y="1390"/>
                  </a:lnTo>
                  <a:lnTo>
                    <a:pt x="717" y="1390"/>
                  </a:lnTo>
                  <a:lnTo>
                    <a:pt x="717" y="1389"/>
                  </a:lnTo>
                  <a:lnTo>
                    <a:pt x="717" y="1389"/>
                  </a:lnTo>
                  <a:lnTo>
                    <a:pt x="718" y="1386"/>
                  </a:lnTo>
                  <a:lnTo>
                    <a:pt x="718" y="1383"/>
                  </a:lnTo>
                  <a:lnTo>
                    <a:pt x="718" y="1383"/>
                  </a:lnTo>
                  <a:lnTo>
                    <a:pt x="717" y="1380"/>
                  </a:lnTo>
                  <a:lnTo>
                    <a:pt x="717" y="1380"/>
                  </a:lnTo>
                  <a:lnTo>
                    <a:pt x="715" y="1379"/>
                  </a:lnTo>
                  <a:lnTo>
                    <a:pt x="714" y="1379"/>
                  </a:lnTo>
                  <a:lnTo>
                    <a:pt x="713" y="1379"/>
                  </a:lnTo>
                  <a:lnTo>
                    <a:pt x="713" y="1379"/>
                  </a:lnTo>
                  <a:lnTo>
                    <a:pt x="710" y="1379"/>
                  </a:lnTo>
                  <a:lnTo>
                    <a:pt x="710" y="1379"/>
                  </a:lnTo>
                  <a:lnTo>
                    <a:pt x="707" y="1380"/>
                  </a:lnTo>
                  <a:lnTo>
                    <a:pt x="707" y="1380"/>
                  </a:lnTo>
                  <a:lnTo>
                    <a:pt x="702" y="1379"/>
                  </a:lnTo>
                  <a:lnTo>
                    <a:pt x="702" y="1379"/>
                  </a:lnTo>
                  <a:lnTo>
                    <a:pt x="698" y="1375"/>
                  </a:lnTo>
                  <a:lnTo>
                    <a:pt x="698" y="1375"/>
                  </a:lnTo>
                  <a:lnTo>
                    <a:pt x="697" y="1373"/>
                  </a:lnTo>
                  <a:lnTo>
                    <a:pt x="697" y="1373"/>
                  </a:lnTo>
                  <a:lnTo>
                    <a:pt x="697" y="1373"/>
                  </a:lnTo>
                  <a:lnTo>
                    <a:pt x="697" y="1373"/>
                  </a:lnTo>
                  <a:lnTo>
                    <a:pt x="697" y="1373"/>
                  </a:lnTo>
                  <a:lnTo>
                    <a:pt x="697" y="1373"/>
                  </a:lnTo>
                  <a:lnTo>
                    <a:pt x="697" y="1373"/>
                  </a:lnTo>
                  <a:lnTo>
                    <a:pt x="695" y="1373"/>
                  </a:lnTo>
                  <a:lnTo>
                    <a:pt x="697" y="1373"/>
                  </a:lnTo>
                  <a:lnTo>
                    <a:pt x="697" y="1373"/>
                  </a:lnTo>
                  <a:lnTo>
                    <a:pt x="695" y="1373"/>
                  </a:lnTo>
                  <a:lnTo>
                    <a:pt x="697" y="1373"/>
                  </a:lnTo>
                  <a:lnTo>
                    <a:pt x="694" y="1373"/>
                  </a:lnTo>
                  <a:lnTo>
                    <a:pt x="697" y="1375"/>
                  </a:lnTo>
                  <a:lnTo>
                    <a:pt x="697" y="1373"/>
                  </a:lnTo>
                  <a:lnTo>
                    <a:pt x="694" y="1373"/>
                  </a:lnTo>
                  <a:lnTo>
                    <a:pt x="697" y="1375"/>
                  </a:lnTo>
                  <a:lnTo>
                    <a:pt x="695" y="1375"/>
                  </a:lnTo>
                  <a:lnTo>
                    <a:pt x="695" y="1376"/>
                  </a:lnTo>
                  <a:lnTo>
                    <a:pt x="695" y="1376"/>
                  </a:lnTo>
                  <a:lnTo>
                    <a:pt x="697" y="1375"/>
                  </a:lnTo>
                  <a:lnTo>
                    <a:pt x="695" y="1375"/>
                  </a:lnTo>
                  <a:lnTo>
                    <a:pt x="695" y="1376"/>
                  </a:lnTo>
                  <a:lnTo>
                    <a:pt x="695" y="1375"/>
                  </a:lnTo>
                  <a:lnTo>
                    <a:pt x="695" y="1376"/>
                  </a:lnTo>
                  <a:lnTo>
                    <a:pt x="695" y="1376"/>
                  </a:lnTo>
                  <a:lnTo>
                    <a:pt x="695" y="1375"/>
                  </a:lnTo>
                  <a:lnTo>
                    <a:pt x="695" y="1376"/>
                  </a:lnTo>
                  <a:lnTo>
                    <a:pt x="695" y="1376"/>
                  </a:lnTo>
                  <a:lnTo>
                    <a:pt x="695" y="1376"/>
                  </a:lnTo>
                  <a:lnTo>
                    <a:pt x="695" y="1376"/>
                  </a:lnTo>
                  <a:lnTo>
                    <a:pt x="704" y="1376"/>
                  </a:lnTo>
                  <a:lnTo>
                    <a:pt x="704" y="1376"/>
                  </a:lnTo>
                  <a:lnTo>
                    <a:pt x="707" y="1376"/>
                  </a:lnTo>
                  <a:lnTo>
                    <a:pt x="710" y="1375"/>
                  </a:lnTo>
                  <a:lnTo>
                    <a:pt x="710" y="1375"/>
                  </a:lnTo>
                  <a:lnTo>
                    <a:pt x="713" y="1372"/>
                  </a:lnTo>
                  <a:lnTo>
                    <a:pt x="714" y="1367"/>
                  </a:lnTo>
                  <a:lnTo>
                    <a:pt x="714" y="1367"/>
                  </a:lnTo>
                  <a:lnTo>
                    <a:pt x="714" y="1363"/>
                  </a:lnTo>
                  <a:lnTo>
                    <a:pt x="711" y="1359"/>
                  </a:lnTo>
                  <a:lnTo>
                    <a:pt x="711" y="1359"/>
                  </a:lnTo>
                  <a:lnTo>
                    <a:pt x="708" y="1354"/>
                  </a:lnTo>
                  <a:lnTo>
                    <a:pt x="708" y="1350"/>
                  </a:lnTo>
                  <a:lnTo>
                    <a:pt x="708" y="1350"/>
                  </a:lnTo>
                  <a:lnTo>
                    <a:pt x="708" y="1347"/>
                  </a:lnTo>
                  <a:lnTo>
                    <a:pt x="708" y="1347"/>
                  </a:lnTo>
                  <a:lnTo>
                    <a:pt x="711" y="1341"/>
                  </a:lnTo>
                  <a:lnTo>
                    <a:pt x="711" y="1341"/>
                  </a:lnTo>
                  <a:lnTo>
                    <a:pt x="714" y="1340"/>
                  </a:lnTo>
                  <a:lnTo>
                    <a:pt x="717" y="1338"/>
                  </a:lnTo>
                  <a:lnTo>
                    <a:pt x="717" y="1338"/>
                  </a:lnTo>
                  <a:lnTo>
                    <a:pt x="718" y="1338"/>
                  </a:lnTo>
                  <a:lnTo>
                    <a:pt x="718" y="1338"/>
                  </a:lnTo>
                  <a:lnTo>
                    <a:pt x="731" y="1338"/>
                  </a:lnTo>
                  <a:lnTo>
                    <a:pt x="731" y="1338"/>
                  </a:lnTo>
                  <a:lnTo>
                    <a:pt x="739" y="1338"/>
                  </a:lnTo>
                  <a:lnTo>
                    <a:pt x="739" y="1338"/>
                  </a:lnTo>
                  <a:lnTo>
                    <a:pt x="742" y="1338"/>
                  </a:lnTo>
                  <a:lnTo>
                    <a:pt x="742" y="1338"/>
                  </a:lnTo>
                  <a:lnTo>
                    <a:pt x="744" y="1337"/>
                  </a:lnTo>
                  <a:lnTo>
                    <a:pt x="744" y="1337"/>
                  </a:lnTo>
                  <a:lnTo>
                    <a:pt x="746" y="1335"/>
                  </a:lnTo>
                  <a:lnTo>
                    <a:pt x="746" y="1335"/>
                  </a:lnTo>
                  <a:lnTo>
                    <a:pt x="746" y="1333"/>
                  </a:lnTo>
                  <a:lnTo>
                    <a:pt x="746" y="1333"/>
                  </a:lnTo>
                  <a:lnTo>
                    <a:pt x="746" y="1331"/>
                  </a:lnTo>
                  <a:lnTo>
                    <a:pt x="746" y="1331"/>
                  </a:lnTo>
                  <a:lnTo>
                    <a:pt x="744" y="1331"/>
                  </a:lnTo>
                  <a:lnTo>
                    <a:pt x="746" y="1331"/>
                  </a:lnTo>
                  <a:lnTo>
                    <a:pt x="746" y="1331"/>
                  </a:lnTo>
                  <a:lnTo>
                    <a:pt x="744" y="1331"/>
                  </a:lnTo>
                  <a:lnTo>
                    <a:pt x="746" y="1331"/>
                  </a:lnTo>
                  <a:lnTo>
                    <a:pt x="744" y="1331"/>
                  </a:lnTo>
                  <a:lnTo>
                    <a:pt x="746" y="1333"/>
                  </a:lnTo>
                  <a:lnTo>
                    <a:pt x="746" y="1331"/>
                  </a:lnTo>
                  <a:lnTo>
                    <a:pt x="744" y="1331"/>
                  </a:lnTo>
                  <a:lnTo>
                    <a:pt x="746" y="1333"/>
                  </a:lnTo>
                  <a:lnTo>
                    <a:pt x="744" y="1333"/>
                  </a:lnTo>
                  <a:lnTo>
                    <a:pt x="746" y="1333"/>
                  </a:lnTo>
                  <a:lnTo>
                    <a:pt x="746" y="1333"/>
                  </a:lnTo>
                  <a:lnTo>
                    <a:pt x="744" y="1333"/>
                  </a:lnTo>
                  <a:lnTo>
                    <a:pt x="746" y="1333"/>
                  </a:lnTo>
                  <a:lnTo>
                    <a:pt x="746" y="1333"/>
                  </a:lnTo>
                  <a:lnTo>
                    <a:pt x="746" y="1333"/>
                  </a:lnTo>
                  <a:lnTo>
                    <a:pt x="746" y="1333"/>
                  </a:lnTo>
                  <a:lnTo>
                    <a:pt x="746" y="1333"/>
                  </a:lnTo>
                  <a:lnTo>
                    <a:pt x="746" y="1333"/>
                  </a:lnTo>
                  <a:lnTo>
                    <a:pt x="746" y="1333"/>
                  </a:lnTo>
                  <a:lnTo>
                    <a:pt x="747" y="1333"/>
                  </a:lnTo>
                  <a:lnTo>
                    <a:pt x="747" y="1333"/>
                  </a:lnTo>
                  <a:lnTo>
                    <a:pt x="750" y="1331"/>
                  </a:lnTo>
                  <a:lnTo>
                    <a:pt x="750" y="1331"/>
                  </a:lnTo>
                  <a:lnTo>
                    <a:pt x="752" y="1331"/>
                  </a:lnTo>
                  <a:lnTo>
                    <a:pt x="752" y="1331"/>
                  </a:lnTo>
                  <a:lnTo>
                    <a:pt x="755" y="1331"/>
                  </a:lnTo>
                  <a:lnTo>
                    <a:pt x="755" y="1331"/>
                  </a:lnTo>
                  <a:lnTo>
                    <a:pt x="756" y="1331"/>
                  </a:lnTo>
                  <a:lnTo>
                    <a:pt x="756" y="1331"/>
                  </a:lnTo>
                  <a:lnTo>
                    <a:pt x="756" y="1328"/>
                  </a:lnTo>
                  <a:lnTo>
                    <a:pt x="756" y="1328"/>
                  </a:lnTo>
                  <a:lnTo>
                    <a:pt x="756" y="1327"/>
                  </a:lnTo>
                  <a:lnTo>
                    <a:pt x="756" y="1327"/>
                  </a:lnTo>
                  <a:lnTo>
                    <a:pt x="755" y="1325"/>
                  </a:lnTo>
                  <a:lnTo>
                    <a:pt x="755" y="1325"/>
                  </a:lnTo>
                  <a:lnTo>
                    <a:pt x="752" y="1321"/>
                  </a:lnTo>
                  <a:lnTo>
                    <a:pt x="752" y="1321"/>
                  </a:lnTo>
                  <a:lnTo>
                    <a:pt x="750" y="1319"/>
                  </a:lnTo>
                  <a:lnTo>
                    <a:pt x="750" y="1319"/>
                  </a:lnTo>
                  <a:lnTo>
                    <a:pt x="750" y="1319"/>
                  </a:lnTo>
                  <a:lnTo>
                    <a:pt x="750" y="1319"/>
                  </a:lnTo>
                  <a:lnTo>
                    <a:pt x="750" y="1319"/>
                  </a:lnTo>
                  <a:lnTo>
                    <a:pt x="750" y="1319"/>
                  </a:lnTo>
                  <a:lnTo>
                    <a:pt x="750" y="1319"/>
                  </a:lnTo>
                  <a:lnTo>
                    <a:pt x="750" y="1319"/>
                  </a:lnTo>
                  <a:lnTo>
                    <a:pt x="749" y="1319"/>
                  </a:lnTo>
                  <a:lnTo>
                    <a:pt x="750" y="1321"/>
                  </a:lnTo>
                  <a:lnTo>
                    <a:pt x="750" y="1319"/>
                  </a:lnTo>
                  <a:lnTo>
                    <a:pt x="749" y="1319"/>
                  </a:lnTo>
                  <a:lnTo>
                    <a:pt x="750" y="1321"/>
                  </a:lnTo>
                  <a:lnTo>
                    <a:pt x="749" y="1319"/>
                  </a:lnTo>
                  <a:lnTo>
                    <a:pt x="750" y="1321"/>
                  </a:lnTo>
                  <a:lnTo>
                    <a:pt x="750" y="1321"/>
                  </a:lnTo>
                  <a:lnTo>
                    <a:pt x="749" y="1319"/>
                  </a:lnTo>
                  <a:lnTo>
                    <a:pt x="750" y="1321"/>
                  </a:lnTo>
                  <a:lnTo>
                    <a:pt x="750" y="1321"/>
                  </a:lnTo>
                  <a:lnTo>
                    <a:pt x="750" y="1321"/>
                  </a:lnTo>
                  <a:lnTo>
                    <a:pt x="750" y="1321"/>
                  </a:lnTo>
                  <a:lnTo>
                    <a:pt x="750" y="1321"/>
                  </a:lnTo>
                  <a:lnTo>
                    <a:pt x="750" y="1321"/>
                  </a:lnTo>
                  <a:lnTo>
                    <a:pt x="750" y="1321"/>
                  </a:lnTo>
                  <a:lnTo>
                    <a:pt x="752" y="1321"/>
                  </a:lnTo>
                  <a:lnTo>
                    <a:pt x="752" y="1321"/>
                  </a:lnTo>
                  <a:lnTo>
                    <a:pt x="765" y="1321"/>
                  </a:lnTo>
                  <a:lnTo>
                    <a:pt x="765" y="1321"/>
                  </a:lnTo>
                  <a:lnTo>
                    <a:pt x="776" y="1319"/>
                  </a:lnTo>
                  <a:lnTo>
                    <a:pt x="784" y="1318"/>
                  </a:lnTo>
                  <a:lnTo>
                    <a:pt x="789" y="1315"/>
                  </a:lnTo>
                  <a:lnTo>
                    <a:pt x="789" y="1315"/>
                  </a:lnTo>
                  <a:lnTo>
                    <a:pt x="795" y="1309"/>
                  </a:lnTo>
                  <a:lnTo>
                    <a:pt x="801" y="1306"/>
                  </a:lnTo>
                  <a:lnTo>
                    <a:pt x="801" y="1306"/>
                  </a:lnTo>
                  <a:lnTo>
                    <a:pt x="807" y="1304"/>
                  </a:lnTo>
                  <a:lnTo>
                    <a:pt x="815" y="1304"/>
                  </a:lnTo>
                  <a:lnTo>
                    <a:pt x="815" y="1304"/>
                  </a:lnTo>
                  <a:lnTo>
                    <a:pt x="818" y="1304"/>
                  </a:lnTo>
                  <a:lnTo>
                    <a:pt x="818" y="1304"/>
                  </a:lnTo>
                  <a:lnTo>
                    <a:pt x="828" y="1305"/>
                  </a:lnTo>
                  <a:lnTo>
                    <a:pt x="837" y="1306"/>
                  </a:lnTo>
                  <a:lnTo>
                    <a:pt x="837" y="1306"/>
                  </a:lnTo>
                  <a:lnTo>
                    <a:pt x="843" y="1308"/>
                  </a:lnTo>
                  <a:lnTo>
                    <a:pt x="850" y="1309"/>
                  </a:lnTo>
                  <a:lnTo>
                    <a:pt x="850" y="1309"/>
                  </a:lnTo>
                  <a:lnTo>
                    <a:pt x="854" y="1311"/>
                  </a:lnTo>
                  <a:lnTo>
                    <a:pt x="857" y="1312"/>
                  </a:lnTo>
                  <a:lnTo>
                    <a:pt x="857" y="1312"/>
                  </a:lnTo>
                  <a:lnTo>
                    <a:pt x="860" y="1315"/>
                  </a:lnTo>
                  <a:lnTo>
                    <a:pt x="865" y="1318"/>
                  </a:lnTo>
                  <a:lnTo>
                    <a:pt x="865" y="1318"/>
                  </a:lnTo>
                  <a:lnTo>
                    <a:pt x="879" y="1324"/>
                  </a:lnTo>
                  <a:lnTo>
                    <a:pt x="879" y="1324"/>
                  </a:lnTo>
                  <a:lnTo>
                    <a:pt x="888" y="1327"/>
                  </a:lnTo>
                  <a:lnTo>
                    <a:pt x="896" y="1328"/>
                  </a:lnTo>
                  <a:lnTo>
                    <a:pt x="896" y="1328"/>
                  </a:lnTo>
                  <a:lnTo>
                    <a:pt x="899" y="1328"/>
                  </a:lnTo>
                  <a:lnTo>
                    <a:pt x="899" y="1328"/>
                  </a:lnTo>
                  <a:lnTo>
                    <a:pt x="908" y="1327"/>
                  </a:lnTo>
                  <a:lnTo>
                    <a:pt x="915" y="1325"/>
                  </a:lnTo>
                  <a:lnTo>
                    <a:pt x="915" y="1325"/>
                  </a:lnTo>
                  <a:lnTo>
                    <a:pt x="917" y="1325"/>
                  </a:lnTo>
                  <a:lnTo>
                    <a:pt x="917" y="1325"/>
                  </a:lnTo>
                  <a:lnTo>
                    <a:pt x="918" y="1325"/>
                  </a:lnTo>
                  <a:lnTo>
                    <a:pt x="918" y="1325"/>
                  </a:lnTo>
                  <a:lnTo>
                    <a:pt x="923" y="1327"/>
                  </a:lnTo>
                  <a:lnTo>
                    <a:pt x="923" y="1327"/>
                  </a:lnTo>
                  <a:lnTo>
                    <a:pt x="930" y="1325"/>
                  </a:lnTo>
                  <a:lnTo>
                    <a:pt x="930" y="1325"/>
                  </a:lnTo>
                  <a:lnTo>
                    <a:pt x="939" y="1322"/>
                  </a:lnTo>
                  <a:lnTo>
                    <a:pt x="946" y="1318"/>
                  </a:lnTo>
                  <a:lnTo>
                    <a:pt x="946" y="1318"/>
                  </a:lnTo>
                  <a:lnTo>
                    <a:pt x="952" y="1312"/>
                  </a:lnTo>
                  <a:lnTo>
                    <a:pt x="952" y="1312"/>
                  </a:lnTo>
                  <a:lnTo>
                    <a:pt x="953" y="1309"/>
                  </a:lnTo>
                  <a:lnTo>
                    <a:pt x="954" y="1306"/>
                  </a:lnTo>
                  <a:lnTo>
                    <a:pt x="954" y="1305"/>
                  </a:lnTo>
                  <a:lnTo>
                    <a:pt x="954" y="1305"/>
                  </a:lnTo>
                  <a:lnTo>
                    <a:pt x="953" y="1301"/>
                  </a:lnTo>
                  <a:lnTo>
                    <a:pt x="952" y="1296"/>
                  </a:lnTo>
                  <a:lnTo>
                    <a:pt x="952" y="1296"/>
                  </a:lnTo>
                  <a:lnTo>
                    <a:pt x="947" y="1288"/>
                  </a:lnTo>
                  <a:lnTo>
                    <a:pt x="947" y="1288"/>
                  </a:lnTo>
                  <a:lnTo>
                    <a:pt x="944" y="1279"/>
                  </a:lnTo>
                  <a:lnTo>
                    <a:pt x="944" y="1279"/>
                  </a:lnTo>
                  <a:lnTo>
                    <a:pt x="943" y="1277"/>
                  </a:lnTo>
                  <a:lnTo>
                    <a:pt x="941" y="1276"/>
                  </a:lnTo>
                  <a:lnTo>
                    <a:pt x="941" y="1276"/>
                  </a:lnTo>
                  <a:lnTo>
                    <a:pt x="936" y="1275"/>
                  </a:lnTo>
                  <a:lnTo>
                    <a:pt x="936" y="1275"/>
                  </a:lnTo>
                  <a:lnTo>
                    <a:pt x="927" y="1273"/>
                  </a:lnTo>
                  <a:lnTo>
                    <a:pt x="927" y="1273"/>
                  </a:lnTo>
                  <a:lnTo>
                    <a:pt x="925" y="1273"/>
                  </a:lnTo>
                  <a:lnTo>
                    <a:pt x="925" y="1273"/>
                  </a:lnTo>
                  <a:lnTo>
                    <a:pt x="923" y="1269"/>
                  </a:lnTo>
                  <a:lnTo>
                    <a:pt x="923" y="1269"/>
                  </a:lnTo>
                  <a:lnTo>
                    <a:pt x="912" y="1256"/>
                  </a:lnTo>
                  <a:lnTo>
                    <a:pt x="912" y="1256"/>
                  </a:lnTo>
                  <a:lnTo>
                    <a:pt x="907" y="1249"/>
                  </a:lnTo>
                  <a:lnTo>
                    <a:pt x="907" y="1249"/>
                  </a:lnTo>
                  <a:lnTo>
                    <a:pt x="901" y="1244"/>
                  </a:lnTo>
                  <a:lnTo>
                    <a:pt x="901" y="1244"/>
                  </a:lnTo>
                  <a:lnTo>
                    <a:pt x="895" y="1243"/>
                  </a:lnTo>
                  <a:lnTo>
                    <a:pt x="891" y="1241"/>
                  </a:lnTo>
                  <a:lnTo>
                    <a:pt x="891" y="1241"/>
                  </a:lnTo>
                  <a:lnTo>
                    <a:pt x="888" y="1241"/>
                  </a:lnTo>
                  <a:lnTo>
                    <a:pt x="883" y="1240"/>
                  </a:lnTo>
                  <a:lnTo>
                    <a:pt x="883" y="1240"/>
                  </a:lnTo>
                  <a:lnTo>
                    <a:pt x="876" y="1234"/>
                  </a:lnTo>
                  <a:lnTo>
                    <a:pt x="876" y="1234"/>
                  </a:lnTo>
                  <a:lnTo>
                    <a:pt x="873" y="1231"/>
                  </a:lnTo>
                  <a:lnTo>
                    <a:pt x="873" y="1231"/>
                  </a:lnTo>
                  <a:lnTo>
                    <a:pt x="873" y="1230"/>
                  </a:lnTo>
                  <a:lnTo>
                    <a:pt x="872" y="1231"/>
                  </a:lnTo>
                  <a:lnTo>
                    <a:pt x="873" y="1231"/>
                  </a:lnTo>
                  <a:lnTo>
                    <a:pt x="873" y="1230"/>
                  </a:lnTo>
                  <a:lnTo>
                    <a:pt x="872" y="1231"/>
                  </a:lnTo>
                  <a:lnTo>
                    <a:pt x="873" y="1231"/>
                  </a:lnTo>
                  <a:lnTo>
                    <a:pt x="872" y="1231"/>
                  </a:lnTo>
                  <a:lnTo>
                    <a:pt x="873" y="1231"/>
                  </a:lnTo>
                  <a:lnTo>
                    <a:pt x="873" y="1231"/>
                  </a:lnTo>
                  <a:lnTo>
                    <a:pt x="872" y="1231"/>
                  </a:lnTo>
                  <a:lnTo>
                    <a:pt x="873" y="1231"/>
                  </a:lnTo>
                  <a:lnTo>
                    <a:pt x="872" y="1231"/>
                  </a:lnTo>
                  <a:lnTo>
                    <a:pt x="873" y="1233"/>
                  </a:lnTo>
                  <a:lnTo>
                    <a:pt x="873" y="1231"/>
                  </a:lnTo>
                  <a:lnTo>
                    <a:pt x="872" y="1231"/>
                  </a:lnTo>
                  <a:lnTo>
                    <a:pt x="873" y="1233"/>
                  </a:lnTo>
                  <a:lnTo>
                    <a:pt x="873" y="1231"/>
                  </a:lnTo>
                  <a:lnTo>
                    <a:pt x="873" y="1231"/>
                  </a:lnTo>
                  <a:lnTo>
                    <a:pt x="878" y="1231"/>
                  </a:lnTo>
                  <a:lnTo>
                    <a:pt x="878" y="1231"/>
                  </a:lnTo>
                  <a:lnTo>
                    <a:pt x="881" y="1231"/>
                  </a:lnTo>
                  <a:lnTo>
                    <a:pt x="881" y="1231"/>
                  </a:lnTo>
                  <a:lnTo>
                    <a:pt x="883" y="1228"/>
                  </a:lnTo>
                  <a:lnTo>
                    <a:pt x="883" y="1228"/>
                  </a:lnTo>
                  <a:lnTo>
                    <a:pt x="886" y="1225"/>
                  </a:lnTo>
                  <a:lnTo>
                    <a:pt x="886" y="1225"/>
                  </a:lnTo>
                  <a:lnTo>
                    <a:pt x="889" y="1217"/>
                  </a:lnTo>
                  <a:lnTo>
                    <a:pt x="891" y="1208"/>
                  </a:lnTo>
                  <a:lnTo>
                    <a:pt x="891" y="1208"/>
                  </a:lnTo>
                  <a:lnTo>
                    <a:pt x="889" y="1202"/>
                  </a:lnTo>
                  <a:lnTo>
                    <a:pt x="889" y="1202"/>
                  </a:lnTo>
                  <a:lnTo>
                    <a:pt x="889" y="1202"/>
                  </a:lnTo>
                  <a:lnTo>
                    <a:pt x="889" y="1202"/>
                  </a:lnTo>
                  <a:lnTo>
                    <a:pt x="889" y="1201"/>
                  </a:lnTo>
                  <a:lnTo>
                    <a:pt x="889" y="1201"/>
                  </a:lnTo>
                  <a:lnTo>
                    <a:pt x="892" y="1199"/>
                  </a:lnTo>
                  <a:lnTo>
                    <a:pt x="892" y="1199"/>
                  </a:lnTo>
                  <a:lnTo>
                    <a:pt x="896" y="1198"/>
                  </a:lnTo>
                  <a:lnTo>
                    <a:pt x="896" y="1198"/>
                  </a:lnTo>
                  <a:lnTo>
                    <a:pt x="905" y="1192"/>
                  </a:lnTo>
                  <a:lnTo>
                    <a:pt x="905" y="1192"/>
                  </a:lnTo>
                  <a:lnTo>
                    <a:pt x="910" y="1189"/>
                  </a:lnTo>
                  <a:lnTo>
                    <a:pt x="910" y="1189"/>
                  </a:lnTo>
                  <a:lnTo>
                    <a:pt x="912" y="1188"/>
                  </a:lnTo>
                  <a:lnTo>
                    <a:pt x="912" y="1188"/>
                  </a:lnTo>
                  <a:lnTo>
                    <a:pt x="914" y="1185"/>
                  </a:lnTo>
                  <a:lnTo>
                    <a:pt x="914" y="1185"/>
                  </a:lnTo>
                  <a:lnTo>
                    <a:pt x="914" y="1185"/>
                  </a:lnTo>
                  <a:lnTo>
                    <a:pt x="914" y="1185"/>
                  </a:lnTo>
                  <a:lnTo>
                    <a:pt x="912" y="1182"/>
                  </a:lnTo>
                  <a:lnTo>
                    <a:pt x="912" y="1182"/>
                  </a:lnTo>
                  <a:lnTo>
                    <a:pt x="910" y="1180"/>
                  </a:lnTo>
                  <a:lnTo>
                    <a:pt x="910" y="1180"/>
                  </a:lnTo>
                  <a:lnTo>
                    <a:pt x="907" y="1179"/>
                  </a:lnTo>
                  <a:lnTo>
                    <a:pt x="907" y="1179"/>
                  </a:lnTo>
                  <a:lnTo>
                    <a:pt x="902" y="1180"/>
                  </a:lnTo>
                  <a:lnTo>
                    <a:pt x="902" y="1180"/>
                  </a:lnTo>
                  <a:lnTo>
                    <a:pt x="894" y="1182"/>
                  </a:lnTo>
                  <a:lnTo>
                    <a:pt x="894" y="1182"/>
                  </a:lnTo>
                  <a:lnTo>
                    <a:pt x="885" y="1185"/>
                  </a:lnTo>
                  <a:lnTo>
                    <a:pt x="885" y="1185"/>
                  </a:lnTo>
                  <a:lnTo>
                    <a:pt x="881" y="1185"/>
                  </a:lnTo>
                  <a:lnTo>
                    <a:pt x="876" y="1188"/>
                  </a:lnTo>
                  <a:lnTo>
                    <a:pt x="876" y="1188"/>
                  </a:lnTo>
                  <a:lnTo>
                    <a:pt x="870" y="1192"/>
                  </a:lnTo>
                  <a:lnTo>
                    <a:pt x="870" y="1192"/>
                  </a:lnTo>
                  <a:lnTo>
                    <a:pt x="868" y="1192"/>
                  </a:lnTo>
                  <a:lnTo>
                    <a:pt x="868" y="1192"/>
                  </a:lnTo>
                  <a:lnTo>
                    <a:pt x="862" y="1191"/>
                  </a:lnTo>
                  <a:lnTo>
                    <a:pt x="862" y="1191"/>
                  </a:lnTo>
                  <a:lnTo>
                    <a:pt x="859" y="1192"/>
                  </a:lnTo>
                  <a:lnTo>
                    <a:pt x="856" y="1192"/>
                  </a:lnTo>
                  <a:lnTo>
                    <a:pt x="856" y="1192"/>
                  </a:lnTo>
                  <a:lnTo>
                    <a:pt x="849" y="1198"/>
                  </a:lnTo>
                  <a:lnTo>
                    <a:pt x="849" y="1198"/>
                  </a:lnTo>
                  <a:lnTo>
                    <a:pt x="843" y="1202"/>
                  </a:lnTo>
                  <a:lnTo>
                    <a:pt x="843" y="1202"/>
                  </a:lnTo>
                  <a:lnTo>
                    <a:pt x="839" y="1205"/>
                  </a:lnTo>
                  <a:lnTo>
                    <a:pt x="839" y="1205"/>
                  </a:lnTo>
                  <a:lnTo>
                    <a:pt x="837" y="1207"/>
                  </a:lnTo>
                  <a:lnTo>
                    <a:pt x="837" y="1207"/>
                  </a:lnTo>
                  <a:lnTo>
                    <a:pt x="836" y="1208"/>
                  </a:lnTo>
                  <a:lnTo>
                    <a:pt x="836" y="1209"/>
                  </a:lnTo>
                  <a:lnTo>
                    <a:pt x="836" y="1209"/>
                  </a:lnTo>
                  <a:lnTo>
                    <a:pt x="836" y="1212"/>
                  </a:lnTo>
                  <a:lnTo>
                    <a:pt x="836" y="1212"/>
                  </a:lnTo>
                  <a:lnTo>
                    <a:pt x="837" y="1212"/>
                  </a:lnTo>
                  <a:lnTo>
                    <a:pt x="837" y="1212"/>
                  </a:lnTo>
                  <a:lnTo>
                    <a:pt x="839" y="1214"/>
                  </a:lnTo>
                  <a:lnTo>
                    <a:pt x="839" y="1214"/>
                  </a:lnTo>
                  <a:lnTo>
                    <a:pt x="841" y="1220"/>
                  </a:lnTo>
                  <a:lnTo>
                    <a:pt x="841" y="1220"/>
                  </a:lnTo>
                  <a:lnTo>
                    <a:pt x="843" y="1222"/>
                  </a:lnTo>
                  <a:lnTo>
                    <a:pt x="843" y="1222"/>
                  </a:lnTo>
                  <a:lnTo>
                    <a:pt x="847" y="1224"/>
                  </a:lnTo>
                  <a:lnTo>
                    <a:pt x="847" y="1224"/>
                  </a:lnTo>
                  <a:lnTo>
                    <a:pt x="847" y="1224"/>
                  </a:lnTo>
                  <a:lnTo>
                    <a:pt x="856" y="1224"/>
                  </a:lnTo>
                  <a:lnTo>
                    <a:pt x="856" y="1224"/>
                  </a:lnTo>
                  <a:lnTo>
                    <a:pt x="857" y="1224"/>
                  </a:lnTo>
                  <a:lnTo>
                    <a:pt x="857" y="1224"/>
                  </a:lnTo>
                  <a:lnTo>
                    <a:pt x="857" y="1225"/>
                  </a:lnTo>
                  <a:lnTo>
                    <a:pt x="857" y="1225"/>
                  </a:lnTo>
                  <a:lnTo>
                    <a:pt x="860" y="1228"/>
                  </a:lnTo>
                  <a:lnTo>
                    <a:pt x="860" y="1228"/>
                  </a:lnTo>
                  <a:lnTo>
                    <a:pt x="862" y="1228"/>
                  </a:lnTo>
                  <a:lnTo>
                    <a:pt x="862" y="1228"/>
                  </a:lnTo>
                  <a:lnTo>
                    <a:pt x="862" y="1228"/>
                  </a:lnTo>
                  <a:lnTo>
                    <a:pt x="862" y="1228"/>
                  </a:lnTo>
                  <a:lnTo>
                    <a:pt x="862" y="1228"/>
                  </a:lnTo>
                  <a:lnTo>
                    <a:pt x="862" y="1228"/>
                  </a:lnTo>
                  <a:lnTo>
                    <a:pt x="862" y="1228"/>
                  </a:lnTo>
                  <a:lnTo>
                    <a:pt x="862" y="1228"/>
                  </a:lnTo>
                  <a:lnTo>
                    <a:pt x="862" y="1228"/>
                  </a:lnTo>
                  <a:lnTo>
                    <a:pt x="862" y="1228"/>
                  </a:lnTo>
                  <a:lnTo>
                    <a:pt x="862" y="1228"/>
                  </a:lnTo>
                  <a:lnTo>
                    <a:pt x="862" y="1228"/>
                  </a:lnTo>
                  <a:lnTo>
                    <a:pt x="862" y="1228"/>
                  </a:lnTo>
                  <a:lnTo>
                    <a:pt x="862" y="1228"/>
                  </a:lnTo>
                  <a:lnTo>
                    <a:pt x="862" y="1231"/>
                  </a:lnTo>
                  <a:lnTo>
                    <a:pt x="862" y="1231"/>
                  </a:lnTo>
                  <a:lnTo>
                    <a:pt x="863" y="1237"/>
                  </a:lnTo>
                  <a:lnTo>
                    <a:pt x="863" y="1237"/>
                  </a:lnTo>
                  <a:lnTo>
                    <a:pt x="863" y="1238"/>
                  </a:lnTo>
                  <a:lnTo>
                    <a:pt x="863" y="1238"/>
                  </a:lnTo>
                  <a:lnTo>
                    <a:pt x="863" y="1240"/>
                  </a:lnTo>
                  <a:lnTo>
                    <a:pt x="865" y="1238"/>
                  </a:lnTo>
                  <a:lnTo>
                    <a:pt x="863" y="1238"/>
                  </a:lnTo>
                  <a:lnTo>
                    <a:pt x="863" y="1240"/>
                  </a:lnTo>
                  <a:lnTo>
                    <a:pt x="865" y="1238"/>
                  </a:lnTo>
                  <a:lnTo>
                    <a:pt x="863" y="1238"/>
                  </a:lnTo>
                  <a:lnTo>
                    <a:pt x="866" y="1238"/>
                  </a:lnTo>
                  <a:lnTo>
                    <a:pt x="865" y="1238"/>
                  </a:lnTo>
                  <a:lnTo>
                    <a:pt x="865" y="1238"/>
                  </a:lnTo>
                  <a:lnTo>
                    <a:pt x="863" y="1238"/>
                  </a:lnTo>
                  <a:lnTo>
                    <a:pt x="866" y="1238"/>
                  </a:lnTo>
                  <a:lnTo>
                    <a:pt x="865" y="1238"/>
                  </a:lnTo>
                  <a:lnTo>
                    <a:pt x="866" y="1238"/>
                  </a:lnTo>
                  <a:lnTo>
                    <a:pt x="866" y="1237"/>
                  </a:lnTo>
                  <a:lnTo>
                    <a:pt x="866" y="1237"/>
                  </a:lnTo>
                  <a:lnTo>
                    <a:pt x="865" y="1238"/>
                  </a:lnTo>
                  <a:lnTo>
                    <a:pt x="866" y="1238"/>
                  </a:lnTo>
                  <a:lnTo>
                    <a:pt x="866" y="1237"/>
                  </a:lnTo>
                  <a:lnTo>
                    <a:pt x="866" y="1238"/>
                  </a:lnTo>
                  <a:lnTo>
                    <a:pt x="866" y="1237"/>
                  </a:lnTo>
                  <a:lnTo>
                    <a:pt x="866" y="1237"/>
                  </a:lnTo>
                  <a:lnTo>
                    <a:pt x="866" y="1238"/>
                  </a:lnTo>
                  <a:lnTo>
                    <a:pt x="866" y="1237"/>
                  </a:lnTo>
                  <a:lnTo>
                    <a:pt x="866" y="1237"/>
                  </a:lnTo>
                  <a:lnTo>
                    <a:pt x="865" y="1237"/>
                  </a:lnTo>
                  <a:lnTo>
                    <a:pt x="865" y="1237"/>
                  </a:lnTo>
                  <a:lnTo>
                    <a:pt x="860" y="1235"/>
                  </a:lnTo>
                  <a:lnTo>
                    <a:pt x="860" y="1235"/>
                  </a:lnTo>
                  <a:lnTo>
                    <a:pt x="857" y="1235"/>
                  </a:lnTo>
                  <a:lnTo>
                    <a:pt x="857" y="1235"/>
                  </a:lnTo>
                  <a:lnTo>
                    <a:pt x="856" y="1237"/>
                  </a:lnTo>
                  <a:lnTo>
                    <a:pt x="856" y="1235"/>
                  </a:lnTo>
                  <a:lnTo>
                    <a:pt x="854" y="1235"/>
                  </a:lnTo>
                  <a:lnTo>
                    <a:pt x="854" y="1235"/>
                  </a:lnTo>
                  <a:lnTo>
                    <a:pt x="853" y="1234"/>
                  </a:lnTo>
                  <a:lnTo>
                    <a:pt x="853" y="1234"/>
                  </a:lnTo>
                  <a:lnTo>
                    <a:pt x="852" y="1233"/>
                  </a:lnTo>
                  <a:lnTo>
                    <a:pt x="852" y="1233"/>
                  </a:lnTo>
                  <a:lnTo>
                    <a:pt x="849" y="1231"/>
                  </a:lnTo>
                  <a:lnTo>
                    <a:pt x="849" y="1231"/>
                  </a:lnTo>
                  <a:lnTo>
                    <a:pt x="847" y="1231"/>
                  </a:lnTo>
                  <a:lnTo>
                    <a:pt x="847" y="1231"/>
                  </a:lnTo>
                  <a:lnTo>
                    <a:pt x="841" y="1234"/>
                  </a:lnTo>
                  <a:lnTo>
                    <a:pt x="841" y="1234"/>
                  </a:lnTo>
                  <a:lnTo>
                    <a:pt x="836" y="1237"/>
                  </a:lnTo>
                  <a:lnTo>
                    <a:pt x="836" y="1237"/>
                  </a:lnTo>
                  <a:lnTo>
                    <a:pt x="833" y="1240"/>
                  </a:lnTo>
                  <a:lnTo>
                    <a:pt x="831" y="1243"/>
                  </a:lnTo>
                  <a:lnTo>
                    <a:pt x="831" y="1243"/>
                  </a:lnTo>
                  <a:lnTo>
                    <a:pt x="830" y="1244"/>
                  </a:lnTo>
                  <a:lnTo>
                    <a:pt x="830" y="1244"/>
                  </a:lnTo>
                  <a:lnTo>
                    <a:pt x="827" y="1244"/>
                  </a:lnTo>
                  <a:lnTo>
                    <a:pt x="827" y="1244"/>
                  </a:lnTo>
                  <a:lnTo>
                    <a:pt x="824" y="1244"/>
                  </a:lnTo>
                  <a:lnTo>
                    <a:pt x="823" y="1243"/>
                  </a:lnTo>
                  <a:lnTo>
                    <a:pt x="823" y="1243"/>
                  </a:lnTo>
                  <a:lnTo>
                    <a:pt x="817" y="1238"/>
                  </a:lnTo>
                  <a:lnTo>
                    <a:pt x="817" y="1238"/>
                  </a:lnTo>
                  <a:lnTo>
                    <a:pt x="811" y="1230"/>
                  </a:lnTo>
                  <a:lnTo>
                    <a:pt x="811" y="1230"/>
                  </a:lnTo>
                  <a:lnTo>
                    <a:pt x="808" y="1225"/>
                  </a:lnTo>
                  <a:lnTo>
                    <a:pt x="804" y="1222"/>
                  </a:lnTo>
                  <a:lnTo>
                    <a:pt x="804" y="1221"/>
                  </a:lnTo>
                  <a:lnTo>
                    <a:pt x="804" y="1221"/>
                  </a:lnTo>
                  <a:lnTo>
                    <a:pt x="804" y="1221"/>
                  </a:lnTo>
                  <a:lnTo>
                    <a:pt x="804" y="1221"/>
                  </a:lnTo>
                  <a:lnTo>
                    <a:pt x="804" y="1221"/>
                  </a:lnTo>
                  <a:lnTo>
                    <a:pt x="804" y="1221"/>
                  </a:lnTo>
                  <a:lnTo>
                    <a:pt x="804" y="1221"/>
                  </a:lnTo>
                  <a:lnTo>
                    <a:pt x="804" y="1221"/>
                  </a:lnTo>
                  <a:lnTo>
                    <a:pt x="805" y="1220"/>
                  </a:lnTo>
                  <a:lnTo>
                    <a:pt x="810" y="1218"/>
                  </a:lnTo>
                  <a:lnTo>
                    <a:pt x="810" y="1218"/>
                  </a:lnTo>
                  <a:lnTo>
                    <a:pt x="818" y="1212"/>
                  </a:lnTo>
                  <a:lnTo>
                    <a:pt x="818" y="1212"/>
                  </a:lnTo>
                  <a:lnTo>
                    <a:pt x="823" y="1209"/>
                  </a:lnTo>
                  <a:lnTo>
                    <a:pt x="823" y="1209"/>
                  </a:lnTo>
                  <a:lnTo>
                    <a:pt x="824" y="1208"/>
                  </a:lnTo>
                  <a:lnTo>
                    <a:pt x="824" y="1208"/>
                  </a:lnTo>
                  <a:lnTo>
                    <a:pt x="826" y="1207"/>
                  </a:lnTo>
                  <a:lnTo>
                    <a:pt x="826" y="1207"/>
                  </a:lnTo>
                  <a:lnTo>
                    <a:pt x="824" y="1205"/>
                  </a:lnTo>
                  <a:lnTo>
                    <a:pt x="824" y="1205"/>
                  </a:lnTo>
                  <a:lnTo>
                    <a:pt x="823" y="1204"/>
                  </a:lnTo>
                  <a:lnTo>
                    <a:pt x="823" y="1204"/>
                  </a:lnTo>
                  <a:lnTo>
                    <a:pt x="821" y="1204"/>
                  </a:lnTo>
                  <a:lnTo>
                    <a:pt x="821" y="1204"/>
                  </a:lnTo>
                  <a:lnTo>
                    <a:pt x="814" y="1204"/>
                  </a:lnTo>
                  <a:lnTo>
                    <a:pt x="814" y="1204"/>
                  </a:lnTo>
                  <a:lnTo>
                    <a:pt x="804" y="1205"/>
                  </a:lnTo>
                  <a:lnTo>
                    <a:pt x="804" y="1205"/>
                  </a:lnTo>
                  <a:lnTo>
                    <a:pt x="801" y="1204"/>
                  </a:lnTo>
                  <a:lnTo>
                    <a:pt x="799" y="1204"/>
                  </a:lnTo>
                  <a:lnTo>
                    <a:pt x="799" y="1204"/>
                  </a:lnTo>
                  <a:lnTo>
                    <a:pt x="799" y="1204"/>
                  </a:lnTo>
                  <a:lnTo>
                    <a:pt x="799" y="1204"/>
                  </a:lnTo>
                  <a:lnTo>
                    <a:pt x="799" y="1204"/>
                  </a:lnTo>
                  <a:lnTo>
                    <a:pt x="799" y="1204"/>
                  </a:lnTo>
                  <a:lnTo>
                    <a:pt x="799" y="1204"/>
                  </a:lnTo>
                  <a:lnTo>
                    <a:pt x="799" y="1204"/>
                  </a:lnTo>
                  <a:lnTo>
                    <a:pt x="798" y="1198"/>
                  </a:lnTo>
                  <a:lnTo>
                    <a:pt x="798" y="1198"/>
                  </a:lnTo>
                  <a:lnTo>
                    <a:pt x="797" y="1195"/>
                  </a:lnTo>
                  <a:lnTo>
                    <a:pt x="797" y="1195"/>
                  </a:lnTo>
                  <a:lnTo>
                    <a:pt x="795" y="1193"/>
                  </a:lnTo>
                  <a:lnTo>
                    <a:pt x="795" y="1193"/>
                  </a:lnTo>
                  <a:lnTo>
                    <a:pt x="794" y="1192"/>
                  </a:lnTo>
                  <a:lnTo>
                    <a:pt x="794" y="1192"/>
                  </a:lnTo>
                  <a:lnTo>
                    <a:pt x="789" y="1192"/>
                  </a:lnTo>
                  <a:lnTo>
                    <a:pt x="789" y="1192"/>
                  </a:lnTo>
                  <a:lnTo>
                    <a:pt x="784" y="1192"/>
                  </a:lnTo>
                  <a:lnTo>
                    <a:pt x="784" y="1192"/>
                  </a:lnTo>
                  <a:lnTo>
                    <a:pt x="776" y="1192"/>
                  </a:lnTo>
                  <a:lnTo>
                    <a:pt x="776" y="1192"/>
                  </a:lnTo>
                  <a:lnTo>
                    <a:pt x="773" y="1193"/>
                  </a:lnTo>
                  <a:lnTo>
                    <a:pt x="773" y="1193"/>
                  </a:lnTo>
                  <a:lnTo>
                    <a:pt x="772" y="1196"/>
                  </a:lnTo>
                  <a:lnTo>
                    <a:pt x="772" y="1196"/>
                  </a:lnTo>
                  <a:lnTo>
                    <a:pt x="768" y="1205"/>
                  </a:lnTo>
                  <a:lnTo>
                    <a:pt x="763" y="1211"/>
                  </a:lnTo>
                  <a:lnTo>
                    <a:pt x="763" y="1211"/>
                  </a:lnTo>
                  <a:lnTo>
                    <a:pt x="757" y="1217"/>
                  </a:lnTo>
                  <a:lnTo>
                    <a:pt x="757" y="1217"/>
                  </a:lnTo>
                  <a:lnTo>
                    <a:pt x="756" y="1220"/>
                  </a:lnTo>
                  <a:lnTo>
                    <a:pt x="755" y="1224"/>
                  </a:lnTo>
                  <a:lnTo>
                    <a:pt x="755" y="1224"/>
                  </a:lnTo>
                  <a:lnTo>
                    <a:pt x="755" y="1224"/>
                  </a:lnTo>
                  <a:lnTo>
                    <a:pt x="755" y="1224"/>
                  </a:lnTo>
                  <a:lnTo>
                    <a:pt x="756" y="1228"/>
                  </a:lnTo>
                  <a:lnTo>
                    <a:pt x="756" y="1228"/>
                  </a:lnTo>
                  <a:lnTo>
                    <a:pt x="755" y="1231"/>
                  </a:lnTo>
                  <a:lnTo>
                    <a:pt x="755" y="1231"/>
                  </a:lnTo>
                  <a:lnTo>
                    <a:pt x="753" y="1233"/>
                  </a:lnTo>
                  <a:lnTo>
                    <a:pt x="752" y="1234"/>
                  </a:lnTo>
                  <a:lnTo>
                    <a:pt x="752" y="1234"/>
                  </a:lnTo>
                  <a:lnTo>
                    <a:pt x="746" y="1237"/>
                  </a:lnTo>
                  <a:lnTo>
                    <a:pt x="742" y="1241"/>
                  </a:lnTo>
                  <a:lnTo>
                    <a:pt x="742" y="1241"/>
                  </a:lnTo>
                  <a:lnTo>
                    <a:pt x="737" y="1246"/>
                  </a:lnTo>
                  <a:lnTo>
                    <a:pt x="737" y="1251"/>
                  </a:lnTo>
                  <a:lnTo>
                    <a:pt x="737" y="1251"/>
                  </a:lnTo>
                  <a:lnTo>
                    <a:pt x="734" y="1260"/>
                  </a:lnTo>
                  <a:lnTo>
                    <a:pt x="734" y="1260"/>
                  </a:lnTo>
                  <a:lnTo>
                    <a:pt x="733" y="1264"/>
                  </a:lnTo>
                  <a:lnTo>
                    <a:pt x="733" y="1264"/>
                  </a:lnTo>
                  <a:lnTo>
                    <a:pt x="733" y="1267"/>
                  </a:lnTo>
                  <a:lnTo>
                    <a:pt x="733" y="1267"/>
                  </a:lnTo>
                  <a:lnTo>
                    <a:pt x="728" y="1272"/>
                  </a:lnTo>
                  <a:lnTo>
                    <a:pt x="728" y="1272"/>
                  </a:lnTo>
                  <a:lnTo>
                    <a:pt x="727" y="1275"/>
                  </a:lnTo>
                  <a:lnTo>
                    <a:pt x="727" y="1277"/>
                  </a:lnTo>
                  <a:lnTo>
                    <a:pt x="726" y="1279"/>
                  </a:lnTo>
                  <a:lnTo>
                    <a:pt x="726" y="1279"/>
                  </a:lnTo>
                  <a:lnTo>
                    <a:pt x="724" y="1280"/>
                  </a:lnTo>
                  <a:lnTo>
                    <a:pt x="724" y="1280"/>
                  </a:lnTo>
                  <a:lnTo>
                    <a:pt x="721" y="1286"/>
                  </a:lnTo>
                  <a:lnTo>
                    <a:pt x="721" y="1286"/>
                  </a:lnTo>
                  <a:lnTo>
                    <a:pt x="721" y="1289"/>
                  </a:lnTo>
                  <a:lnTo>
                    <a:pt x="721" y="1289"/>
                  </a:lnTo>
                  <a:lnTo>
                    <a:pt x="721" y="1291"/>
                  </a:lnTo>
                  <a:lnTo>
                    <a:pt x="723" y="1292"/>
                  </a:lnTo>
                  <a:lnTo>
                    <a:pt x="723" y="1292"/>
                  </a:lnTo>
                  <a:lnTo>
                    <a:pt x="727" y="1296"/>
                  </a:lnTo>
                  <a:lnTo>
                    <a:pt x="727" y="1296"/>
                  </a:lnTo>
                  <a:lnTo>
                    <a:pt x="730" y="1301"/>
                  </a:lnTo>
                  <a:lnTo>
                    <a:pt x="730" y="1301"/>
                  </a:lnTo>
                  <a:lnTo>
                    <a:pt x="730" y="1304"/>
                  </a:lnTo>
                  <a:lnTo>
                    <a:pt x="730" y="1304"/>
                  </a:lnTo>
                  <a:lnTo>
                    <a:pt x="728" y="1312"/>
                  </a:lnTo>
                  <a:lnTo>
                    <a:pt x="728" y="1312"/>
                  </a:lnTo>
                  <a:lnTo>
                    <a:pt x="730" y="1315"/>
                  </a:lnTo>
                  <a:lnTo>
                    <a:pt x="730" y="1315"/>
                  </a:lnTo>
                  <a:lnTo>
                    <a:pt x="731" y="1318"/>
                  </a:lnTo>
                  <a:lnTo>
                    <a:pt x="731" y="1318"/>
                  </a:lnTo>
                  <a:lnTo>
                    <a:pt x="736" y="1319"/>
                  </a:lnTo>
                  <a:lnTo>
                    <a:pt x="737" y="1321"/>
                  </a:lnTo>
                  <a:lnTo>
                    <a:pt x="737" y="1319"/>
                  </a:lnTo>
                  <a:lnTo>
                    <a:pt x="736" y="1321"/>
                  </a:lnTo>
                  <a:lnTo>
                    <a:pt x="737" y="1321"/>
                  </a:lnTo>
                  <a:lnTo>
                    <a:pt x="737" y="1319"/>
                  </a:lnTo>
                  <a:lnTo>
                    <a:pt x="736" y="1321"/>
                  </a:lnTo>
                  <a:lnTo>
                    <a:pt x="737" y="1318"/>
                  </a:lnTo>
                  <a:lnTo>
                    <a:pt x="736" y="1318"/>
                  </a:lnTo>
                  <a:lnTo>
                    <a:pt x="736" y="1318"/>
                  </a:lnTo>
                  <a:lnTo>
                    <a:pt x="736" y="1321"/>
                  </a:lnTo>
                  <a:lnTo>
                    <a:pt x="737" y="1318"/>
                  </a:lnTo>
                  <a:lnTo>
                    <a:pt x="736" y="1318"/>
                  </a:lnTo>
                  <a:lnTo>
                    <a:pt x="737" y="1318"/>
                  </a:lnTo>
                  <a:lnTo>
                    <a:pt x="736" y="1317"/>
                  </a:lnTo>
                  <a:lnTo>
                    <a:pt x="736" y="1317"/>
                  </a:lnTo>
                  <a:lnTo>
                    <a:pt x="736" y="1318"/>
                  </a:lnTo>
                  <a:lnTo>
                    <a:pt x="737" y="1318"/>
                  </a:lnTo>
                  <a:lnTo>
                    <a:pt x="736" y="1317"/>
                  </a:lnTo>
                  <a:lnTo>
                    <a:pt x="737" y="1318"/>
                  </a:lnTo>
                  <a:lnTo>
                    <a:pt x="736" y="1317"/>
                  </a:lnTo>
                  <a:lnTo>
                    <a:pt x="736" y="1317"/>
                  </a:lnTo>
                  <a:lnTo>
                    <a:pt x="737" y="1318"/>
                  </a:lnTo>
                  <a:lnTo>
                    <a:pt x="736" y="1317"/>
                  </a:lnTo>
                  <a:lnTo>
                    <a:pt x="736" y="1317"/>
                  </a:lnTo>
                  <a:lnTo>
                    <a:pt x="734" y="1318"/>
                  </a:lnTo>
                  <a:lnTo>
                    <a:pt x="734" y="1318"/>
                  </a:lnTo>
                  <a:lnTo>
                    <a:pt x="730" y="1321"/>
                  </a:lnTo>
                  <a:lnTo>
                    <a:pt x="730" y="1321"/>
                  </a:lnTo>
                  <a:lnTo>
                    <a:pt x="723" y="1325"/>
                  </a:lnTo>
                  <a:lnTo>
                    <a:pt x="723" y="1325"/>
                  </a:lnTo>
                  <a:lnTo>
                    <a:pt x="721" y="1325"/>
                  </a:lnTo>
                  <a:lnTo>
                    <a:pt x="721" y="1325"/>
                  </a:lnTo>
                  <a:lnTo>
                    <a:pt x="718" y="1325"/>
                  </a:lnTo>
                  <a:lnTo>
                    <a:pt x="718" y="1325"/>
                  </a:lnTo>
                  <a:lnTo>
                    <a:pt x="713" y="1328"/>
                  </a:lnTo>
                  <a:lnTo>
                    <a:pt x="713" y="1328"/>
                  </a:lnTo>
                  <a:lnTo>
                    <a:pt x="708" y="1328"/>
                  </a:lnTo>
                  <a:lnTo>
                    <a:pt x="708" y="1328"/>
                  </a:lnTo>
                  <a:lnTo>
                    <a:pt x="707" y="1328"/>
                  </a:lnTo>
                  <a:lnTo>
                    <a:pt x="707" y="1328"/>
                  </a:lnTo>
                  <a:lnTo>
                    <a:pt x="700" y="1325"/>
                  </a:lnTo>
                  <a:lnTo>
                    <a:pt x="700" y="1325"/>
                  </a:lnTo>
                  <a:lnTo>
                    <a:pt x="695" y="1324"/>
                  </a:lnTo>
                  <a:lnTo>
                    <a:pt x="691" y="1322"/>
                  </a:lnTo>
                  <a:lnTo>
                    <a:pt x="691" y="1322"/>
                  </a:lnTo>
                  <a:lnTo>
                    <a:pt x="688" y="1324"/>
                  </a:lnTo>
                  <a:lnTo>
                    <a:pt x="688" y="1324"/>
                  </a:lnTo>
                  <a:lnTo>
                    <a:pt x="682" y="1325"/>
                  </a:lnTo>
                  <a:lnTo>
                    <a:pt x="682" y="1325"/>
                  </a:lnTo>
                  <a:lnTo>
                    <a:pt x="675" y="1327"/>
                  </a:lnTo>
                  <a:lnTo>
                    <a:pt x="675" y="1327"/>
                  </a:lnTo>
                  <a:lnTo>
                    <a:pt x="669" y="1327"/>
                  </a:lnTo>
                  <a:lnTo>
                    <a:pt x="669" y="1327"/>
                  </a:lnTo>
                  <a:lnTo>
                    <a:pt x="663" y="1327"/>
                  </a:lnTo>
                  <a:lnTo>
                    <a:pt x="663" y="1327"/>
                  </a:lnTo>
                  <a:lnTo>
                    <a:pt x="660" y="1328"/>
                  </a:lnTo>
                  <a:lnTo>
                    <a:pt x="660" y="1328"/>
                  </a:lnTo>
                  <a:lnTo>
                    <a:pt x="659" y="1331"/>
                  </a:lnTo>
                  <a:lnTo>
                    <a:pt x="659" y="1333"/>
                  </a:lnTo>
                  <a:lnTo>
                    <a:pt x="659" y="1333"/>
                  </a:lnTo>
                  <a:lnTo>
                    <a:pt x="659" y="1333"/>
                  </a:lnTo>
                  <a:lnTo>
                    <a:pt x="659" y="1335"/>
                  </a:lnTo>
                  <a:lnTo>
                    <a:pt x="659" y="1335"/>
                  </a:lnTo>
                  <a:lnTo>
                    <a:pt x="659" y="1338"/>
                  </a:lnTo>
                  <a:lnTo>
                    <a:pt x="658" y="1338"/>
                  </a:lnTo>
                  <a:lnTo>
                    <a:pt x="658" y="1340"/>
                  </a:lnTo>
                  <a:lnTo>
                    <a:pt x="659" y="1340"/>
                  </a:lnTo>
                  <a:lnTo>
                    <a:pt x="658" y="1340"/>
                  </a:lnTo>
                  <a:lnTo>
                    <a:pt x="658" y="1340"/>
                  </a:lnTo>
                  <a:lnTo>
                    <a:pt x="659" y="1340"/>
                  </a:lnTo>
                  <a:lnTo>
                    <a:pt x="658" y="1340"/>
                  </a:lnTo>
                  <a:lnTo>
                    <a:pt x="659" y="1340"/>
                  </a:lnTo>
                  <a:lnTo>
                    <a:pt x="658" y="1340"/>
                  </a:lnTo>
                  <a:lnTo>
                    <a:pt x="658" y="1340"/>
                  </a:lnTo>
                  <a:lnTo>
                    <a:pt x="659" y="1340"/>
                  </a:lnTo>
                  <a:lnTo>
                    <a:pt x="658" y="1340"/>
                  </a:lnTo>
                  <a:lnTo>
                    <a:pt x="658" y="1340"/>
                  </a:lnTo>
                  <a:lnTo>
                    <a:pt x="658" y="1338"/>
                  </a:lnTo>
                  <a:lnTo>
                    <a:pt x="658" y="1338"/>
                  </a:lnTo>
                  <a:lnTo>
                    <a:pt x="653" y="1337"/>
                  </a:lnTo>
                  <a:lnTo>
                    <a:pt x="653" y="1337"/>
                  </a:lnTo>
                  <a:lnTo>
                    <a:pt x="650" y="1334"/>
                  </a:lnTo>
                  <a:lnTo>
                    <a:pt x="650" y="1334"/>
                  </a:lnTo>
                  <a:lnTo>
                    <a:pt x="647" y="1334"/>
                  </a:lnTo>
                  <a:lnTo>
                    <a:pt x="647" y="1334"/>
                  </a:lnTo>
                  <a:lnTo>
                    <a:pt x="644" y="1334"/>
                  </a:lnTo>
                  <a:lnTo>
                    <a:pt x="644" y="1334"/>
                  </a:lnTo>
                  <a:lnTo>
                    <a:pt x="643" y="1337"/>
                  </a:lnTo>
                  <a:lnTo>
                    <a:pt x="643" y="1337"/>
                  </a:lnTo>
                  <a:lnTo>
                    <a:pt x="643" y="1340"/>
                  </a:lnTo>
                  <a:lnTo>
                    <a:pt x="643" y="1340"/>
                  </a:lnTo>
                  <a:lnTo>
                    <a:pt x="644" y="1348"/>
                  </a:lnTo>
                  <a:lnTo>
                    <a:pt x="649" y="1357"/>
                  </a:lnTo>
                  <a:lnTo>
                    <a:pt x="649" y="1357"/>
                  </a:lnTo>
                  <a:lnTo>
                    <a:pt x="656" y="1367"/>
                  </a:lnTo>
                  <a:lnTo>
                    <a:pt x="656" y="1367"/>
                  </a:lnTo>
                  <a:lnTo>
                    <a:pt x="660" y="1373"/>
                  </a:lnTo>
                  <a:lnTo>
                    <a:pt x="660" y="1373"/>
                  </a:lnTo>
                  <a:lnTo>
                    <a:pt x="662" y="1375"/>
                  </a:lnTo>
                  <a:lnTo>
                    <a:pt x="665" y="1376"/>
                  </a:lnTo>
                  <a:lnTo>
                    <a:pt x="665" y="1376"/>
                  </a:lnTo>
                  <a:lnTo>
                    <a:pt x="669" y="1377"/>
                  </a:lnTo>
                  <a:lnTo>
                    <a:pt x="669" y="1377"/>
                  </a:lnTo>
                  <a:lnTo>
                    <a:pt x="671" y="1379"/>
                  </a:lnTo>
                  <a:lnTo>
                    <a:pt x="671" y="1379"/>
                  </a:lnTo>
                  <a:lnTo>
                    <a:pt x="671" y="1380"/>
                  </a:lnTo>
                  <a:lnTo>
                    <a:pt x="671" y="1380"/>
                  </a:lnTo>
                  <a:lnTo>
                    <a:pt x="672" y="1385"/>
                  </a:lnTo>
                  <a:lnTo>
                    <a:pt x="672" y="1385"/>
                  </a:lnTo>
                  <a:lnTo>
                    <a:pt x="672" y="1386"/>
                  </a:lnTo>
                  <a:lnTo>
                    <a:pt x="673" y="1388"/>
                  </a:lnTo>
                  <a:lnTo>
                    <a:pt x="673" y="1388"/>
                  </a:lnTo>
                  <a:lnTo>
                    <a:pt x="673" y="1388"/>
                  </a:lnTo>
                  <a:lnTo>
                    <a:pt x="673" y="1388"/>
                  </a:lnTo>
                  <a:lnTo>
                    <a:pt x="673" y="1388"/>
                  </a:lnTo>
                  <a:lnTo>
                    <a:pt x="673" y="1388"/>
                  </a:lnTo>
                  <a:lnTo>
                    <a:pt x="673" y="1386"/>
                  </a:lnTo>
                  <a:lnTo>
                    <a:pt x="672" y="1386"/>
                  </a:lnTo>
                  <a:lnTo>
                    <a:pt x="673" y="1388"/>
                  </a:lnTo>
                  <a:lnTo>
                    <a:pt x="673" y="1386"/>
                  </a:lnTo>
                  <a:lnTo>
                    <a:pt x="672" y="1386"/>
                  </a:lnTo>
                  <a:lnTo>
                    <a:pt x="675" y="1386"/>
                  </a:lnTo>
                  <a:lnTo>
                    <a:pt x="673" y="1385"/>
                  </a:lnTo>
                  <a:lnTo>
                    <a:pt x="673" y="1385"/>
                  </a:lnTo>
                  <a:lnTo>
                    <a:pt x="672" y="1386"/>
                  </a:lnTo>
                  <a:lnTo>
                    <a:pt x="675" y="1386"/>
                  </a:lnTo>
                  <a:lnTo>
                    <a:pt x="673" y="1385"/>
                  </a:lnTo>
                  <a:lnTo>
                    <a:pt x="675" y="1386"/>
                  </a:lnTo>
                  <a:lnTo>
                    <a:pt x="675" y="1385"/>
                  </a:lnTo>
                  <a:lnTo>
                    <a:pt x="675" y="1385"/>
                  </a:lnTo>
                  <a:lnTo>
                    <a:pt x="673" y="1385"/>
                  </a:lnTo>
                  <a:lnTo>
                    <a:pt x="675" y="1386"/>
                  </a:lnTo>
                  <a:lnTo>
                    <a:pt x="675" y="1385"/>
                  </a:lnTo>
                  <a:lnTo>
                    <a:pt x="675" y="1386"/>
                  </a:lnTo>
                  <a:lnTo>
                    <a:pt x="675" y="1385"/>
                  </a:lnTo>
                  <a:lnTo>
                    <a:pt x="675" y="1385"/>
                  </a:lnTo>
                  <a:lnTo>
                    <a:pt x="675" y="1386"/>
                  </a:lnTo>
                  <a:lnTo>
                    <a:pt x="675" y="1385"/>
                  </a:lnTo>
                  <a:lnTo>
                    <a:pt x="675" y="1385"/>
                  </a:lnTo>
                  <a:lnTo>
                    <a:pt x="675" y="1385"/>
                  </a:lnTo>
                  <a:lnTo>
                    <a:pt x="671" y="1382"/>
                  </a:lnTo>
                  <a:lnTo>
                    <a:pt x="671" y="1382"/>
                  </a:lnTo>
                  <a:lnTo>
                    <a:pt x="666" y="1380"/>
                  </a:lnTo>
                  <a:lnTo>
                    <a:pt x="666" y="1380"/>
                  </a:lnTo>
                  <a:lnTo>
                    <a:pt x="663" y="1379"/>
                  </a:lnTo>
                  <a:lnTo>
                    <a:pt x="663" y="1379"/>
                  </a:lnTo>
                  <a:lnTo>
                    <a:pt x="662" y="1380"/>
                  </a:lnTo>
                  <a:lnTo>
                    <a:pt x="662" y="1380"/>
                  </a:lnTo>
                  <a:lnTo>
                    <a:pt x="660" y="1382"/>
                  </a:lnTo>
                  <a:lnTo>
                    <a:pt x="660" y="1382"/>
                  </a:lnTo>
                  <a:lnTo>
                    <a:pt x="659" y="1383"/>
                  </a:lnTo>
                  <a:lnTo>
                    <a:pt x="659" y="1383"/>
                  </a:lnTo>
                  <a:lnTo>
                    <a:pt x="660" y="1388"/>
                  </a:lnTo>
                  <a:lnTo>
                    <a:pt x="660" y="1388"/>
                  </a:lnTo>
                  <a:lnTo>
                    <a:pt x="662" y="1388"/>
                  </a:lnTo>
                  <a:lnTo>
                    <a:pt x="660" y="1386"/>
                  </a:lnTo>
                  <a:lnTo>
                    <a:pt x="660" y="1388"/>
                  </a:lnTo>
                  <a:lnTo>
                    <a:pt x="662" y="1388"/>
                  </a:lnTo>
                  <a:lnTo>
                    <a:pt x="660" y="1386"/>
                  </a:lnTo>
                  <a:lnTo>
                    <a:pt x="662" y="1388"/>
                  </a:lnTo>
                  <a:lnTo>
                    <a:pt x="662" y="1386"/>
                  </a:lnTo>
                  <a:lnTo>
                    <a:pt x="662" y="1386"/>
                  </a:lnTo>
                  <a:lnTo>
                    <a:pt x="660" y="1386"/>
                  </a:lnTo>
                  <a:lnTo>
                    <a:pt x="662" y="1388"/>
                  </a:lnTo>
                  <a:lnTo>
                    <a:pt x="662" y="1386"/>
                  </a:lnTo>
                  <a:lnTo>
                    <a:pt x="662" y="1388"/>
                  </a:lnTo>
                  <a:lnTo>
                    <a:pt x="662" y="1386"/>
                  </a:lnTo>
                  <a:lnTo>
                    <a:pt x="662" y="1386"/>
                  </a:lnTo>
                  <a:lnTo>
                    <a:pt x="662" y="1388"/>
                  </a:lnTo>
                  <a:lnTo>
                    <a:pt x="662" y="1386"/>
                  </a:lnTo>
                  <a:lnTo>
                    <a:pt x="662" y="1386"/>
                  </a:lnTo>
                  <a:lnTo>
                    <a:pt x="662" y="1386"/>
                  </a:lnTo>
                  <a:lnTo>
                    <a:pt x="662" y="1386"/>
                  </a:lnTo>
                  <a:lnTo>
                    <a:pt x="662" y="1386"/>
                  </a:lnTo>
                  <a:lnTo>
                    <a:pt x="662" y="1386"/>
                  </a:lnTo>
                  <a:lnTo>
                    <a:pt x="662" y="1386"/>
                  </a:lnTo>
                  <a:lnTo>
                    <a:pt x="662" y="1386"/>
                  </a:lnTo>
                  <a:lnTo>
                    <a:pt x="660" y="1383"/>
                  </a:lnTo>
                  <a:lnTo>
                    <a:pt x="660" y="1383"/>
                  </a:lnTo>
                  <a:lnTo>
                    <a:pt x="659" y="1382"/>
                  </a:lnTo>
                  <a:lnTo>
                    <a:pt x="658" y="1382"/>
                  </a:lnTo>
                  <a:lnTo>
                    <a:pt x="658" y="1382"/>
                  </a:lnTo>
                  <a:lnTo>
                    <a:pt x="656" y="1380"/>
                  </a:lnTo>
                  <a:lnTo>
                    <a:pt x="656" y="1380"/>
                  </a:lnTo>
                  <a:lnTo>
                    <a:pt x="655" y="1382"/>
                  </a:lnTo>
                  <a:lnTo>
                    <a:pt x="655" y="1382"/>
                  </a:lnTo>
                  <a:lnTo>
                    <a:pt x="653" y="1383"/>
                  </a:lnTo>
                  <a:lnTo>
                    <a:pt x="653" y="1383"/>
                  </a:lnTo>
                  <a:lnTo>
                    <a:pt x="653" y="1385"/>
                  </a:lnTo>
                  <a:lnTo>
                    <a:pt x="653" y="1385"/>
                  </a:lnTo>
                  <a:lnTo>
                    <a:pt x="653" y="1389"/>
                  </a:lnTo>
                  <a:lnTo>
                    <a:pt x="653" y="1389"/>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0" y="1393"/>
                  </a:lnTo>
                  <a:lnTo>
                    <a:pt x="650" y="1393"/>
                  </a:lnTo>
                  <a:lnTo>
                    <a:pt x="647" y="1396"/>
                  </a:lnTo>
                  <a:lnTo>
                    <a:pt x="647" y="1396"/>
                  </a:lnTo>
                  <a:lnTo>
                    <a:pt x="647" y="1401"/>
                  </a:lnTo>
                  <a:lnTo>
                    <a:pt x="647" y="1401"/>
                  </a:lnTo>
                  <a:lnTo>
                    <a:pt x="647" y="1401"/>
                  </a:lnTo>
                  <a:lnTo>
                    <a:pt x="647" y="1408"/>
                  </a:lnTo>
                  <a:lnTo>
                    <a:pt x="647" y="1408"/>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4" y="1409"/>
                  </a:lnTo>
                  <a:lnTo>
                    <a:pt x="644" y="1409"/>
                  </a:lnTo>
                  <a:lnTo>
                    <a:pt x="643" y="1412"/>
                  </a:lnTo>
                  <a:lnTo>
                    <a:pt x="643" y="1412"/>
                  </a:lnTo>
                  <a:lnTo>
                    <a:pt x="640" y="1415"/>
                  </a:lnTo>
                  <a:lnTo>
                    <a:pt x="640" y="1415"/>
                  </a:lnTo>
                  <a:lnTo>
                    <a:pt x="640" y="1415"/>
                  </a:lnTo>
                  <a:lnTo>
                    <a:pt x="640" y="1415"/>
                  </a:lnTo>
                  <a:lnTo>
                    <a:pt x="640" y="1415"/>
                  </a:lnTo>
                  <a:lnTo>
                    <a:pt x="640" y="1415"/>
                  </a:lnTo>
                  <a:lnTo>
                    <a:pt x="640" y="1415"/>
                  </a:lnTo>
                  <a:lnTo>
                    <a:pt x="642" y="1417"/>
                  </a:lnTo>
                  <a:lnTo>
                    <a:pt x="642" y="1415"/>
                  </a:lnTo>
                  <a:lnTo>
                    <a:pt x="642" y="1415"/>
                  </a:lnTo>
                  <a:lnTo>
                    <a:pt x="640" y="1415"/>
                  </a:lnTo>
                  <a:lnTo>
                    <a:pt x="642" y="1417"/>
                  </a:lnTo>
                  <a:lnTo>
                    <a:pt x="642" y="1415"/>
                  </a:lnTo>
                  <a:lnTo>
                    <a:pt x="642" y="1417"/>
                  </a:lnTo>
                  <a:lnTo>
                    <a:pt x="642" y="1415"/>
                  </a:lnTo>
                  <a:lnTo>
                    <a:pt x="642" y="1415"/>
                  </a:lnTo>
                  <a:lnTo>
                    <a:pt x="642" y="1415"/>
                  </a:lnTo>
                  <a:lnTo>
                    <a:pt x="642" y="1417"/>
                  </a:lnTo>
                  <a:lnTo>
                    <a:pt x="642" y="1415"/>
                  </a:lnTo>
                  <a:lnTo>
                    <a:pt x="642" y="1415"/>
                  </a:lnTo>
                  <a:lnTo>
                    <a:pt x="643" y="1415"/>
                  </a:lnTo>
                  <a:lnTo>
                    <a:pt x="642" y="1415"/>
                  </a:lnTo>
                  <a:lnTo>
                    <a:pt x="642" y="1415"/>
                  </a:lnTo>
                  <a:lnTo>
                    <a:pt x="643" y="1415"/>
                  </a:lnTo>
                  <a:lnTo>
                    <a:pt x="642" y="1415"/>
                  </a:lnTo>
                  <a:lnTo>
                    <a:pt x="642" y="1415"/>
                  </a:lnTo>
                  <a:lnTo>
                    <a:pt x="640" y="1409"/>
                  </a:lnTo>
                  <a:lnTo>
                    <a:pt x="640" y="1409"/>
                  </a:lnTo>
                  <a:lnTo>
                    <a:pt x="637" y="1406"/>
                  </a:lnTo>
                  <a:lnTo>
                    <a:pt x="637" y="1406"/>
                  </a:lnTo>
                  <a:lnTo>
                    <a:pt x="634" y="1405"/>
                  </a:lnTo>
                  <a:lnTo>
                    <a:pt x="634" y="1405"/>
                  </a:lnTo>
                  <a:lnTo>
                    <a:pt x="630" y="1404"/>
                  </a:lnTo>
                  <a:lnTo>
                    <a:pt x="630" y="1404"/>
                  </a:lnTo>
                  <a:lnTo>
                    <a:pt x="630" y="1402"/>
                  </a:lnTo>
                  <a:lnTo>
                    <a:pt x="630" y="1401"/>
                  </a:lnTo>
                  <a:lnTo>
                    <a:pt x="630" y="1401"/>
                  </a:lnTo>
                  <a:lnTo>
                    <a:pt x="629" y="1396"/>
                  </a:lnTo>
                  <a:lnTo>
                    <a:pt x="629" y="1396"/>
                  </a:lnTo>
                  <a:lnTo>
                    <a:pt x="624" y="1392"/>
                  </a:lnTo>
                  <a:lnTo>
                    <a:pt x="624" y="1392"/>
                  </a:lnTo>
                  <a:lnTo>
                    <a:pt x="623" y="1389"/>
                  </a:lnTo>
                  <a:lnTo>
                    <a:pt x="623" y="1389"/>
                  </a:lnTo>
                  <a:lnTo>
                    <a:pt x="623" y="1389"/>
                  </a:lnTo>
                  <a:lnTo>
                    <a:pt x="626" y="1386"/>
                  </a:lnTo>
                  <a:lnTo>
                    <a:pt x="626" y="1386"/>
                  </a:lnTo>
                  <a:lnTo>
                    <a:pt x="627" y="1385"/>
                  </a:lnTo>
                  <a:lnTo>
                    <a:pt x="627" y="1385"/>
                  </a:lnTo>
                  <a:lnTo>
                    <a:pt x="629" y="1385"/>
                  </a:lnTo>
                  <a:lnTo>
                    <a:pt x="629" y="1385"/>
                  </a:lnTo>
                  <a:lnTo>
                    <a:pt x="636" y="1388"/>
                  </a:lnTo>
                  <a:lnTo>
                    <a:pt x="636" y="1388"/>
                  </a:lnTo>
                  <a:lnTo>
                    <a:pt x="644" y="1389"/>
                  </a:lnTo>
                  <a:lnTo>
                    <a:pt x="644" y="1389"/>
                  </a:lnTo>
                  <a:lnTo>
                    <a:pt x="647" y="1389"/>
                  </a:lnTo>
                  <a:lnTo>
                    <a:pt x="649" y="1388"/>
                  </a:lnTo>
                  <a:lnTo>
                    <a:pt x="649" y="1388"/>
                  </a:lnTo>
                  <a:lnTo>
                    <a:pt x="652" y="1385"/>
                  </a:lnTo>
                  <a:lnTo>
                    <a:pt x="652" y="1382"/>
                  </a:lnTo>
                  <a:lnTo>
                    <a:pt x="652" y="1382"/>
                  </a:lnTo>
                  <a:lnTo>
                    <a:pt x="652" y="1379"/>
                  </a:lnTo>
                  <a:lnTo>
                    <a:pt x="652" y="1379"/>
                  </a:lnTo>
                  <a:lnTo>
                    <a:pt x="647" y="1376"/>
                  </a:lnTo>
                  <a:lnTo>
                    <a:pt x="647" y="1376"/>
                  </a:lnTo>
                  <a:lnTo>
                    <a:pt x="646" y="1376"/>
                  </a:lnTo>
                  <a:lnTo>
                    <a:pt x="646" y="1376"/>
                  </a:lnTo>
                  <a:lnTo>
                    <a:pt x="631" y="1376"/>
                  </a:lnTo>
                  <a:lnTo>
                    <a:pt x="631" y="1376"/>
                  </a:lnTo>
                  <a:lnTo>
                    <a:pt x="624" y="1375"/>
                  </a:lnTo>
                  <a:lnTo>
                    <a:pt x="624" y="1375"/>
                  </a:lnTo>
                  <a:lnTo>
                    <a:pt x="620" y="1375"/>
                  </a:lnTo>
                  <a:lnTo>
                    <a:pt x="620" y="1373"/>
                  </a:lnTo>
                  <a:lnTo>
                    <a:pt x="618" y="1375"/>
                  </a:lnTo>
                  <a:lnTo>
                    <a:pt x="620" y="1373"/>
                  </a:lnTo>
                  <a:lnTo>
                    <a:pt x="620" y="1373"/>
                  </a:lnTo>
                  <a:lnTo>
                    <a:pt x="618" y="1375"/>
                  </a:lnTo>
                  <a:lnTo>
                    <a:pt x="620" y="1373"/>
                  </a:lnTo>
                  <a:lnTo>
                    <a:pt x="618" y="1375"/>
                  </a:lnTo>
                  <a:lnTo>
                    <a:pt x="620" y="1375"/>
                  </a:lnTo>
                  <a:lnTo>
                    <a:pt x="620" y="1373"/>
                  </a:lnTo>
                  <a:lnTo>
                    <a:pt x="618" y="1375"/>
                  </a:lnTo>
                  <a:lnTo>
                    <a:pt x="620" y="1375"/>
                  </a:lnTo>
                  <a:lnTo>
                    <a:pt x="618" y="1375"/>
                  </a:lnTo>
                  <a:lnTo>
                    <a:pt x="620" y="1375"/>
                  </a:lnTo>
                  <a:lnTo>
                    <a:pt x="620" y="1375"/>
                  </a:lnTo>
                  <a:lnTo>
                    <a:pt x="618" y="1375"/>
                  </a:lnTo>
                  <a:lnTo>
                    <a:pt x="620" y="1375"/>
                  </a:lnTo>
                  <a:lnTo>
                    <a:pt x="618" y="1375"/>
                  </a:lnTo>
                  <a:lnTo>
                    <a:pt x="620" y="1375"/>
                  </a:lnTo>
                  <a:lnTo>
                    <a:pt x="620" y="1375"/>
                  </a:lnTo>
                  <a:lnTo>
                    <a:pt x="618" y="1375"/>
                  </a:lnTo>
                  <a:lnTo>
                    <a:pt x="620" y="1375"/>
                  </a:lnTo>
                  <a:lnTo>
                    <a:pt x="620" y="1375"/>
                  </a:lnTo>
                  <a:lnTo>
                    <a:pt x="620" y="1373"/>
                  </a:lnTo>
                  <a:lnTo>
                    <a:pt x="620" y="1373"/>
                  </a:lnTo>
                  <a:lnTo>
                    <a:pt x="621" y="1370"/>
                  </a:lnTo>
                  <a:lnTo>
                    <a:pt x="621" y="1370"/>
                  </a:lnTo>
                  <a:lnTo>
                    <a:pt x="620" y="1367"/>
                  </a:lnTo>
                  <a:lnTo>
                    <a:pt x="620" y="1367"/>
                  </a:lnTo>
                  <a:lnTo>
                    <a:pt x="618" y="1366"/>
                  </a:lnTo>
                  <a:lnTo>
                    <a:pt x="618" y="1366"/>
                  </a:lnTo>
                  <a:lnTo>
                    <a:pt x="614" y="1362"/>
                  </a:lnTo>
                  <a:lnTo>
                    <a:pt x="611" y="1362"/>
                  </a:lnTo>
                  <a:lnTo>
                    <a:pt x="611" y="1362"/>
                  </a:lnTo>
                  <a:lnTo>
                    <a:pt x="610" y="1360"/>
                  </a:lnTo>
                  <a:lnTo>
                    <a:pt x="610" y="1360"/>
                  </a:lnTo>
                  <a:lnTo>
                    <a:pt x="610" y="1360"/>
                  </a:lnTo>
                  <a:lnTo>
                    <a:pt x="607" y="1359"/>
                  </a:lnTo>
                  <a:lnTo>
                    <a:pt x="607" y="1359"/>
                  </a:lnTo>
                  <a:lnTo>
                    <a:pt x="605" y="1360"/>
                  </a:lnTo>
                  <a:lnTo>
                    <a:pt x="605" y="1360"/>
                  </a:lnTo>
                  <a:lnTo>
                    <a:pt x="604" y="1360"/>
                  </a:lnTo>
                  <a:lnTo>
                    <a:pt x="602" y="1360"/>
                  </a:lnTo>
                  <a:lnTo>
                    <a:pt x="602" y="1360"/>
                  </a:lnTo>
                  <a:lnTo>
                    <a:pt x="602" y="1360"/>
                  </a:lnTo>
                  <a:lnTo>
                    <a:pt x="602" y="1360"/>
                  </a:lnTo>
                  <a:lnTo>
                    <a:pt x="602" y="1360"/>
                  </a:lnTo>
                  <a:lnTo>
                    <a:pt x="602" y="1360"/>
                  </a:lnTo>
                  <a:lnTo>
                    <a:pt x="602" y="1360"/>
                  </a:lnTo>
                  <a:lnTo>
                    <a:pt x="602" y="1362"/>
                  </a:lnTo>
                  <a:lnTo>
                    <a:pt x="602" y="1360"/>
                  </a:lnTo>
                  <a:lnTo>
                    <a:pt x="602" y="1360"/>
                  </a:lnTo>
                  <a:lnTo>
                    <a:pt x="602" y="1362"/>
                  </a:lnTo>
                  <a:lnTo>
                    <a:pt x="602" y="1360"/>
                  </a:lnTo>
                  <a:lnTo>
                    <a:pt x="602" y="1362"/>
                  </a:lnTo>
                  <a:lnTo>
                    <a:pt x="602" y="1360"/>
                  </a:lnTo>
                  <a:lnTo>
                    <a:pt x="602" y="1360"/>
                  </a:lnTo>
                  <a:lnTo>
                    <a:pt x="602" y="1362"/>
                  </a:lnTo>
                  <a:lnTo>
                    <a:pt x="602" y="1360"/>
                  </a:lnTo>
                  <a:lnTo>
                    <a:pt x="602" y="1360"/>
                  </a:lnTo>
                  <a:lnTo>
                    <a:pt x="602" y="1360"/>
                  </a:lnTo>
                  <a:lnTo>
                    <a:pt x="602" y="1359"/>
                  </a:lnTo>
                  <a:lnTo>
                    <a:pt x="602" y="1359"/>
                  </a:lnTo>
                  <a:lnTo>
                    <a:pt x="598" y="1351"/>
                  </a:lnTo>
                  <a:lnTo>
                    <a:pt x="598" y="1351"/>
                  </a:lnTo>
                  <a:lnTo>
                    <a:pt x="595" y="1343"/>
                  </a:lnTo>
                  <a:lnTo>
                    <a:pt x="595" y="1343"/>
                  </a:lnTo>
                  <a:lnTo>
                    <a:pt x="594" y="1331"/>
                  </a:lnTo>
                  <a:lnTo>
                    <a:pt x="594" y="1331"/>
                  </a:lnTo>
                  <a:lnTo>
                    <a:pt x="594" y="1315"/>
                  </a:lnTo>
                  <a:lnTo>
                    <a:pt x="594" y="1315"/>
                  </a:lnTo>
                  <a:lnTo>
                    <a:pt x="594" y="1308"/>
                  </a:lnTo>
                  <a:lnTo>
                    <a:pt x="594" y="1308"/>
                  </a:lnTo>
                  <a:lnTo>
                    <a:pt x="591" y="1304"/>
                  </a:lnTo>
                  <a:lnTo>
                    <a:pt x="591" y="1304"/>
                  </a:lnTo>
                  <a:lnTo>
                    <a:pt x="585" y="1301"/>
                  </a:lnTo>
                  <a:lnTo>
                    <a:pt x="585" y="1301"/>
                  </a:lnTo>
                  <a:lnTo>
                    <a:pt x="581" y="1298"/>
                  </a:lnTo>
                  <a:lnTo>
                    <a:pt x="581" y="1298"/>
                  </a:lnTo>
                  <a:lnTo>
                    <a:pt x="574" y="1289"/>
                  </a:lnTo>
                  <a:lnTo>
                    <a:pt x="566" y="1283"/>
                  </a:lnTo>
                  <a:lnTo>
                    <a:pt x="566" y="1283"/>
                  </a:lnTo>
                  <a:lnTo>
                    <a:pt x="559" y="1282"/>
                  </a:lnTo>
                  <a:lnTo>
                    <a:pt x="559" y="1282"/>
                  </a:lnTo>
                  <a:lnTo>
                    <a:pt x="556" y="1280"/>
                  </a:lnTo>
                  <a:lnTo>
                    <a:pt x="556" y="1280"/>
                  </a:lnTo>
                  <a:lnTo>
                    <a:pt x="550" y="1276"/>
                  </a:lnTo>
                  <a:lnTo>
                    <a:pt x="550" y="1276"/>
                  </a:lnTo>
                  <a:lnTo>
                    <a:pt x="547" y="1273"/>
                  </a:lnTo>
                  <a:lnTo>
                    <a:pt x="545" y="1270"/>
                  </a:lnTo>
                  <a:lnTo>
                    <a:pt x="545" y="1270"/>
                  </a:lnTo>
                  <a:lnTo>
                    <a:pt x="534" y="1267"/>
                  </a:lnTo>
                  <a:lnTo>
                    <a:pt x="534" y="1267"/>
                  </a:lnTo>
                  <a:lnTo>
                    <a:pt x="530" y="1264"/>
                  </a:lnTo>
                  <a:lnTo>
                    <a:pt x="527" y="1263"/>
                  </a:lnTo>
                  <a:lnTo>
                    <a:pt x="527" y="1263"/>
                  </a:lnTo>
                  <a:lnTo>
                    <a:pt x="526" y="1260"/>
                  </a:lnTo>
                  <a:lnTo>
                    <a:pt x="526" y="1260"/>
                  </a:lnTo>
                  <a:lnTo>
                    <a:pt x="526" y="1257"/>
                  </a:lnTo>
                  <a:lnTo>
                    <a:pt x="526" y="1257"/>
                  </a:lnTo>
                  <a:lnTo>
                    <a:pt x="526" y="1254"/>
                  </a:lnTo>
                  <a:lnTo>
                    <a:pt x="526" y="1254"/>
                  </a:lnTo>
                  <a:lnTo>
                    <a:pt x="521" y="1250"/>
                  </a:lnTo>
                  <a:lnTo>
                    <a:pt x="521" y="1250"/>
                  </a:lnTo>
                  <a:lnTo>
                    <a:pt x="517" y="1249"/>
                  </a:lnTo>
                  <a:lnTo>
                    <a:pt x="517" y="1249"/>
                  </a:lnTo>
                  <a:lnTo>
                    <a:pt x="514" y="1247"/>
                  </a:lnTo>
                  <a:lnTo>
                    <a:pt x="514" y="1247"/>
                  </a:lnTo>
                  <a:lnTo>
                    <a:pt x="514" y="1247"/>
                  </a:lnTo>
                  <a:lnTo>
                    <a:pt x="514" y="1249"/>
                  </a:lnTo>
                  <a:lnTo>
                    <a:pt x="514" y="1247"/>
                  </a:lnTo>
                  <a:lnTo>
                    <a:pt x="514" y="1247"/>
                  </a:lnTo>
                  <a:lnTo>
                    <a:pt x="514" y="1249"/>
                  </a:lnTo>
                  <a:lnTo>
                    <a:pt x="514" y="1247"/>
                  </a:lnTo>
                  <a:lnTo>
                    <a:pt x="514" y="1249"/>
                  </a:lnTo>
                  <a:lnTo>
                    <a:pt x="514" y="1247"/>
                  </a:lnTo>
                  <a:lnTo>
                    <a:pt x="514" y="1247"/>
                  </a:lnTo>
                  <a:lnTo>
                    <a:pt x="514" y="1249"/>
                  </a:lnTo>
                  <a:lnTo>
                    <a:pt x="514" y="1247"/>
                  </a:lnTo>
                  <a:lnTo>
                    <a:pt x="514" y="1247"/>
                  </a:lnTo>
                  <a:lnTo>
                    <a:pt x="514" y="1246"/>
                  </a:lnTo>
                  <a:lnTo>
                    <a:pt x="514" y="1246"/>
                  </a:lnTo>
                  <a:lnTo>
                    <a:pt x="516" y="1235"/>
                  </a:lnTo>
                  <a:lnTo>
                    <a:pt x="516" y="1235"/>
                  </a:lnTo>
                  <a:lnTo>
                    <a:pt x="514" y="1233"/>
                  </a:lnTo>
                  <a:lnTo>
                    <a:pt x="514" y="1233"/>
                  </a:lnTo>
                  <a:lnTo>
                    <a:pt x="514" y="1231"/>
                  </a:lnTo>
                  <a:lnTo>
                    <a:pt x="514" y="1231"/>
                  </a:lnTo>
                  <a:lnTo>
                    <a:pt x="511" y="1230"/>
                  </a:lnTo>
                  <a:lnTo>
                    <a:pt x="511" y="1230"/>
                  </a:lnTo>
                  <a:lnTo>
                    <a:pt x="510" y="1231"/>
                  </a:lnTo>
                  <a:lnTo>
                    <a:pt x="508" y="1231"/>
                  </a:lnTo>
                  <a:lnTo>
                    <a:pt x="508" y="1231"/>
                  </a:lnTo>
                  <a:lnTo>
                    <a:pt x="505" y="1235"/>
                  </a:lnTo>
                  <a:lnTo>
                    <a:pt x="505" y="1235"/>
                  </a:lnTo>
                  <a:lnTo>
                    <a:pt x="504" y="1237"/>
                  </a:lnTo>
                  <a:lnTo>
                    <a:pt x="504" y="1237"/>
                  </a:lnTo>
                  <a:lnTo>
                    <a:pt x="504" y="1237"/>
                  </a:lnTo>
                  <a:lnTo>
                    <a:pt x="504" y="1238"/>
                  </a:lnTo>
                  <a:lnTo>
                    <a:pt x="504" y="1237"/>
                  </a:lnTo>
                  <a:lnTo>
                    <a:pt x="504" y="1237"/>
                  </a:lnTo>
                  <a:lnTo>
                    <a:pt x="504" y="1238"/>
                  </a:lnTo>
                  <a:lnTo>
                    <a:pt x="504" y="1237"/>
                  </a:lnTo>
                  <a:lnTo>
                    <a:pt x="504" y="1238"/>
                  </a:lnTo>
                  <a:lnTo>
                    <a:pt x="504" y="1237"/>
                  </a:lnTo>
                  <a:lnTo>
                    <a:pt x="504" y="1237"/>
                  </a:lnTo>
                  <a:lnTo>
                    <a:pt x="504" y="1238"/>
                  </a:lnTo>
                  <a:lnTo>
                    <a:pt x="504" y="1237"/>
                  </a:lnTo>
                  <a:lnTo>
                    <a:pt x="504" y="1237"/>
                  </a:lnTo>
                  <a:lnTo>
                    <a:pt x="504" y="1237"/>
                  </a:lnTo>
                  <a:lnTo>
                    <a:pt x="504" y="1237"/>
                  </a:lnTo>
                  <a:lnTo>
                    <a:pt x="501" y="1233"/>
                  </a:lnTo>
                  <a:lnTo>
                    <a:pt x="500" y="1227"/>
                  </a:lnTo>
                  <a:lnTo>
                    <a:pt x="500" y="1227"/>
                  </a:lnTo>
                  <a:lnTo>
                    <a:pt x="498" y="1222"/>
                  </a:lnTo>
                  <a:lnTo>
                    <a:pt x="498" y="1222"/>
                  </a:lnTo>
                  <a:lnTo>
                    <a:pt x="497" y="1220"/>
                  </a:lnTo>
                  <a:lnTo>
                    <a:pt x="497" y="1220"/>
                  </a:lnTo>
                  <a:lnTo>
                    <a:pt x="495" y="1220"/>
                  </a:lnTo>
                  <a:lnTo>
                    <a:pt x="495" y="1220"/>
                  </a:lnTo>
                  <a:lnTo>
                    <a:pt x="494" y="1218"/>
                  </a:lnTo>
                  <a:lnTo>
                    <a:pt x="494" y="1218"/>
                  </a:lnTo>
                  <a:lnTo>
                    <a:pt x="492" y="1220"/>
                  </a:lnTo>
                  <a:lnTo>
                    <a:pt x="492" y="1220"/>
                  </a:lnTo>
                  <a:lnTo>
                    <a:pt x="485" y="1222"/>
                  </a:lnTo>
                  <a:lnTo>
                    <a:pt x="485" y="1222"/>
                  </a:lnTo>
                  <a:lnTo>
                    <a:pt x="478" y="1227"/>
                  </a:lnTo>
                  <a:lnTo>
                    <a:pt x="478" y="1227"/>
                  </a:lnTo>
                  <a:lnTo>
                    <a:pt x="475" y="1228"/>
                  </a:lnTo>
                  <a:lnTo>
                    <a:pt x="475" y="1228"/>
                  </a:lnTo>
                  <a:lnTo>
                    <a:pt x="474" y="1228"/>
                  </a:lnTo>
                  <a:lnTo>
                    <a:pt x="474" y="1228"/>
                  </a:lnTo>
                  <a:lnTo>
                    <a:pt x="472" y="1231"/>
                  </a:lnTo>
                  <a:lnTo>
                    <a:pt x="472" y="1231"/>
                  </a:lnTo>
                  <a:lnTo>
                    <a:pt x="474" y="1234"/>
                  </a:lnTo>
                  <a:lnTo>
                    <a:pt x="474" y="1234"/>
                  </a:lnTo>
                  <a:lnTo>
                    <a:pt x="475" y="1235"/>
                  </a:lnTo>
                  <a:lnTo>
                    <a:pt x="475" y="1235"/>
                  </a:lnTo>
                  <a:lnTo>
                    <a:pt x="478" y="1237"/>
                  </a:lnTo>
                  <a:lnTo>
                    <a:pt x="479" y="1238"/>
                  </a:lnTo>
                  <a:lnTo>
                    <a:pt x="479" y="1238"/>
                  </a:lnTo>
                  <a:lnTo>
                    <a:pt x="481" y="1238"/>
                  </a:lnTo>
                  <a:lnTo>
                    <a:pt x="481" y="1238"/>
                  </a:lnTo>
                  <a:lnTo>
                    <a:pt x="481" y="1237"/>
                  </a:lnTo>
                  <a:lnTo>
                    <a:pt x="479" y="1237"/>
                  </a:lnTo>
                  <a:lnTo>
                    <a:pt x="481" y="1238"/>
                  </a:lnTo>
                  <a:lnTo>
                    <a:pt x="481" y="1237"/>
                  </a:lnTo>
                  <a:lnTo>
                    <a:pt x="479" y="1237"/>
                  </a:lnTo>
                  <a:lnTo>
                    <a:pt x="481" y="1237"/>
                  </a:lnTo>
                  <a:lnTo>
                    <a:pt x="479" y="1237"/>
                  </a:lnTo>
                  <a:lnTo>
                    <a:pt x="479" y="1237"/>
                  </a:lnTo>
                  <a:lnTo>
                    <a:pt x="481" y="1237"/>
                  </a:lnTo>
                  <a:lnTo>
                    <a:pt x="479" y="1237"/>
                  </a:lnTo>
                  <a:lnTo>
                    <a:pt x="481" y="1237"/>
                  </a:lnTo>
                  <a:lnTo>
                    <a:pt x="479" y="1235"/>
                  </a:lnTo>
                  <a:lnTo>
                    <a:pt x="479" y="1237"/>
                  </a:lnTo>
                  <a:lnTo>
                    <a:pt x="481" y="1237"/>
                  </a:lnTo>
                  <a:lnTo>
                    <a:pt x="479" y="1235"/>
                  </a:lnTo>
                  <a:lnTo>
                    <a:pt x="479" y="1237"/>
                  </a:lnTo>
                  <a:lnTo>
                    <a:pt x="478" y="1237"/>
                  </a:lnTo>
                  <a:lnTo>
                    <a:pt x="478" y="1237"/>
                  </a:lnTo>
                  <a:lnTo>
                    <a:pt x="475" y="1243"/>
                  </a:lnTo>
                  <a:lnTo>
                    <a:pt x="475" y="1243"/>
                  </a:lnTo>
                  <a:lnTo>
                    <a:pt x="474" y="1246"/>
                  </a:lnTo>
                  <a:lnTo>
                    <a:pt x="474" y="1246"/>
                  </a:lnTo>
                  <a:lnTo>
                    <a:pt x="474" y="1249"/>
                  </a:lnTo>
                  <a:lnTo>
                    <a:pt x="474" y="1249"/>
                  </a:lnTo>
                  <a:lnTo>
                    <a:pt x="474" y="1251"/>
                  </a:lnTo>
                  <a:lnTo>
                    <a:pt x="474" y="1251"/>
                  </a:lnTo>
                  <a:lnTo>
                    <a:pt x="476" y="1253"/>
                  </a:lnTo>
                  <a:lnTo>
                    <a:pt x="476" y="1253"/>
                  </a:lnTo>
                  <a:lnTo>
                    <a:pt x="478" y="1254"/>
                  </a:lnTo>
                  <a:lnTo>
                    <a:pt x="478" y="1254"/>
                  </a:lnTo>
                  <a:lnTo>
                    <a:pt x="481" y="1259"/>
                  </a:lnTo>
                  <a:lnTo>
                    <a:pt x="481" y="1259"/>
                  </a:lnTo>
                  <a:lnTo>
                    <a:pt x="482" y="1262"/>
                  </a:lnTo>
                  <a:lnTo>
                    <a:pt x="482" y="1262"/>
                  </a:lnTo>
                  <a:lnTo>
                    <a:pt x="487" y="1264"/>
                  </a:lnTo>
                  <a:lnTo>
                    <a:pt x="487" y="1264"/>
                  </a:lnTo>
                  <a:lnTo>
                    <a:pt x="492" y="1267"/>
                  </a:lnTo>
                  <a:lnTo>
                    <a:pt x="492" y="1267"/>
                  </a:lnTo>
                  <a:lnTo>
                    <a:pt x="495" y="1270"/>
                  </a:lnTo>
                  <a:lnTo>
                    <a:pt x="495" y="1270"/>
                  </a:lnTo>
                  <a:lnTo>
                    <a:pt x="495" y="1272"/>
                  </a:lnTo>
                  <a:lnTo>
                    <a:pt x="495" y="1272"/>
                  </a:lnTo>
                  <a:lnTo>
                    <a:pt x="498" y="1277"/>
                  </a:lnTo>
                  <a:lnTo>
                    <a:pt x="498" y="1277"/>
                  </a:lnTo>
                  <a:lnTo>
                    <a:pt x="504" y="1288"/>
                  </a:lnTo>
                  <a:lnTo>
                    <a:pt x="504" y="1288"/>
                  </a:lnTo>
                  <a:lnTo>
                    <a:pt x="510" y="1298"/>
                  </a:lnTo>
                  <a:lnTo>
                    <a:pt x="510" y="1298"/>
                  </a:lnTo>
                  <a:lnTo>
                    <a:pt x="517" y="1304"/>
                  </a:lnTo>
                  <a:lnTo>
                    <a:pt x="517" y="1304"/>
                  </a:lnTo>
                  <a:lnTo>
                    <a:pt x="520" y="1305"/>
                  </a:lnTo>
                  <a:lnTo>
                    <a:pt x="524" y="1306"/>
                  </a:lnTo>
                  <a:lnTo>
                    <a:pt x="526" y="1306"/>
                  </a:lnTo>
                  <a:lnTo>
                    <a:pt x="526" y="1306"/>
                  </a:lnTo>
                  <a:lnTo>
                    <a:pt x="533" y="1305"/>
                  </a:lnTo>
                  <a:lnTo>
                    <a:pt x="533" y="1305"/>
                  </a:lnTo>
                  <a:lnTo>
                    <a:pt x="534" y="1306"/>
                  </a:lnTo>
                  <a:lnTo>
                    <a:pt x="534" y="1306"/>
                  </a:lnTo>
                  <a:lnTo>
                    <a:pt x="534" y="1305"/>
                  </a:lnTo>
                  <a:lnTo>
                    <a:pt x="534" y="1305"/>
                  </a:lnTo>
                  <a:lnTo>
                    <a:pt x="534" y="1306"/>
                  </a:lnTo>
                  <a:lnTo>
                    <a:pt x="534" y="1305"/>
                  </a:lnTo>
                  <a:lnTo>
                    <a:pt x="534" y="1305"/>
                  </a:lnTo>
                  <a:lnTo>
                    <a:pt x="536" y="1305"/>
                  </a:lnTo>
                  <a:lnTo>
                    <a:pt x="534" y="1305"/>
                  </a:lnTo>
                  <a:lnTo>
                    <a:pt x="534" y="1305"/>
                  </a:lnTo>
                  <a:lnTo>
                    <a:pt x="536" y="1305"/>
                  </a:lnTo>
                  <a:lnTo>
                    <a:pt x="534" y="1305"/>
                  </a:lnTo>
                  <a:lnTo>
                    <a:pt x="534" y="1305"/>
                  </a:lnTo>
                  <a:lnTo>
                    <a:pt x="534" y="1308"/>
                  </a:lnTo>
                  <a:lnTo>
                    <a:pt x="534" y="1308"/>
                  </a:lnTo>
                  <a:lnTo>
                    <a:pt x="533" y="1312"/>
                  </a:lnTo>
                  <a:lnTo>
                    <a:pt x="533" y="1312"/>
                  </a:lnTo>
                  <a:lnTo>
                    <a:pt x="534" y="1317"/>
                  </a:lnTo>
                  <a:lnTo>
                    <a:pt x="534" y="1317"/>
                  </a:lnTo>
                  <a:lnTo>
                    <a:pt x="536" y="1318"/>
                  </a:lnTo>
                  <a:lnTo>
                    <a:pt x="537" y="1319"/>
                  </a:lnTo>
                  <a:lnTo>
                    <a:pt x="537" y="1319"/>
                  </a:lnTo>
                  <a:lnTo>
                    <a:pt x="550" y="1322"/>
                  </a:lnTo>
                  <a:lnTo>
                    <a:pt x="550" y="1322"/>
                  </a:lnTo>
                  <a:lnTo>
                    <a:pt x="556" y="1324"/>
                  </a:lnTo>
                  <a:lnTo>
                    <a:pt x="562" y="1327"/>
                  </a:lnTo>
                  <a:lnTo>
                    <a:pt x="562" y="1327"/>
                  </a:lnTo>
                  <a:lnTo>
                    <a:pt x="569" y="1335"/>
                  </a:lnTo>
                  <a:lnTo>
                    <a:pt x="569" y="1335"/>
                  </a:lnTo>
                  <a:lnTo>
                    <a:pt x="572" y="1340"/>
                  </a:lnTo>
                  <a:lnTo>
                    <a:pt x="572" y="1340"/>
                  </a:lnTo>
                  <a:lnTo>
                    <a:pt x="574" y="1343"/>
                  </a:lnTo>
                  <a:lnTo>
                    <a:pt x="574" y="1343"/>
                  </a:lnTo>
                  <a:lnTo>
                    <a:pt x="574" y="1341"/>
                  </a:lnTo>
                  <a:lnTo>
                    <a:pt x="574" y="1343"/>
                  </a:lnTo>
                  <a:lnTo>
                    <a:pt x="574" y="1343"/>
                  </a:lnTo>
                  <a:lnTo>
                    <a:pt x="574" y="1341"/>
                  </a:lnTo>
                  <a:lnTo>
                    <a:pt x="575" y="1343"/>
                  </a:lnTo>
                  <a:lnTo>
                    <a:pt x="574" y="1341"/>
                  </a:lnTo>
                  <a:lnTo>
                    <a:pt x="574" y="1341"/>
                  </a:lnTo>
                  <a:lnTo>
                    <a:pt x="575" y="1343"/>
                  </a:lnTo>
                  <a:lnTo>
                    <a:pt x="574" y="1341"/>
                  </a:lnTo>
                  <a:lnTo>
                    <a:pt x="574" y="1341"/>
                  </a:lnTo>
                  <a:lnTo>
                    <a:pt x="574" y="1343"/>
                  </a:lnTo>
                  <a:lnTo>
                    <a:pt x="574" y="1343"/>
                  </a:lnTo>
                  <a:lnTo>
                    <a:pt x="571" y="1343"/>
                  </a:lnTo>
                  <a:lnTo>
                    <a:pt x="571" y="1343"/>
                  </a:lnTo>
                  <a:lnTo>
                    <a:pt x="566" y="1341"/>
                  </a:lnTo>
                  <a:lnTo>
                    <a:pt x="566" y="1341"/>
                  </a:lnTo>
                  <a:lnTo>
                    <a:pt x="559" y="1338"/>
                  </a:lnTo>
                  <a:lnTo>
                    <a:pt x="559" y="1338"/>
                  </a:lnTo>
                  <a:lnTo>
                    <a:pt x="553" y="1337"/>
                  </a:lnTo>
                  <a:lnTo>
                    <a:pt x="553" y="1337"/>
                  </a:lnTo>
                  <a:lnTo>
                    <a:pt x="550" y="1337"/>
                  </a:lnTo>
                  <a:lnTo>
                    <a:pt x="550" y="1337"/>
                  </a:lnTo>
                  <a:lnTo>
                    <a:pt x="547" y="1338"/>
                  </a:lnTo>
                  <a:lnTo>
                    <a:pt x="547" y="1338"/>
                  </a:lnTo>
                  <a:lnTo>
                    <a:pt x="545" y="1344"/>
                  </a:lnTo>
                  <a:lnTo>
                    <a:pt x="545" y="1344"/>
                  </a:lnTo>
                  <a:lnTo>
                    <a:pt x="543" y="1347"/>
                  </a:lnTo>
                  <a:lnTo>
                    <a:pt x="542" y="1350"/>
                  </a:lnTo>
                  <a:lnTo>
                    <a:pt x="542" y="1350"/>
                  </a:lnTo>
                  <a:lnTo>
                    <a:pt x="543" y="1353"/>
                  </a:lnTo>
                  <a:lnTo>
                    <a:pt x="543" y="1353"/>
                  </a:lnTo>
                  <a:lnTo>
                    <a:pt x="547" y="1357"/>
                  </a:lnTo>
                  <a:lnTo>
                    <a:pt x="547" y="1357"/>
                  </a:lnTo>
                  <a:lnTo>
                    <a:pt x="549" y="1359"/>
                  </a:lnTo>
                  <a:lnTo>
                    <a:pt x="549" y="1359"/>
                  </a:lnTo>
                  <a:lnTo>
                    <a:pt x="549" y="1360"/>
                  </a:lnTo>
                  <a:lnTo>
                    <a:pt x="549" y="1360"/>
                  </a:lnTo>
                  <a:lnTo>
                    <a:pt x="549" y="1360"/>
                  </a:lnTo>
                  <a:lnTo>
                    <a:pt x="547" y="1369"/>
                  </a:lnTo>
                  <a:lnTo>
                    <a:pt x="547" y="1369"/>
                  </a:lnTo>
                  <a:lnTo>
                    <a:pt x="543" y="1377"/>
                  </a:lnTo>
                  <a:lnTo>
                    <a:pt x="543" y="1377"/>
                  </a:lnTo>
                  <a:lnTo>
                    <a:pt x="540" y="1385"/>
                  </a:lnTo>
                  <a:lnTo>
                    <a:pt x="540" y="1385"/>
                  </a:lnTo>
                  <a:lnTo>
                    <a:pt x="537" y="1389"/>
                  </a:lnTo>
                  <a:lnTo>
                    <a:pt x="536" y="1389"/>
                  </a:lnTo>
                  <a:lnTo>
                    <a:pt x="536" y="1389"/>
                  </a:lnTo>
                  <a:lnTo>
                    <a:pt x="536" y="1390"/>
                  </a:lnTo>
                  <a:lnTo>
                    <a:pt x="536" y="1389"/>
                  </a:lnTo>
                  <a:lnTo>
                    <a:pt x="536" y="1389"/>
                  </a:lnTo>
                  <a:lnTo>
                    <a:pt x="536" y="1390"/>
                  </a:lnTo>
                  <a:lnTo>
                    <a:pt x="536" y="1389"/>
                  </a:lnTo>
                  <a:lnTo>
                    <a:pt x="536" y="1390"/>
                  </a:lnTo>
                  <a:lnTo>
                    <a:pt x="537" y="1390"/>
                  </a:lnTo>
                  <a:lnTo>
                    <a:pt x="536" y="1389"/>
                  </a:lnTo>
                  <a:lnTo>
                    <a:pt x="536" y="1390"/>
                  </a:lnTo>
                  <a:lnTo>
                    <a:pt x="537" y="1390"/>
                  </a:lnTo>
                  <a:lnTo>
                    <a:pt x="536" y="1392"/>
                  </a:lnTo>
                  <a:lnTo>
                    <a:pt x="533" y="1393"/>
                  </a:lnTo>
                  <a:lnTo>
                    <a:pt x="533" y="1393"/>
                  </a:lnTo>
                  <a:lnTo>
                    <a:pt x="536" y="1395"/>
                  </a:lnTo>
                  <a:lnTo>
                    <a:pt x="536" y="1395"/>
                  </a:lnTo>
                  <a:lnTo>
                    <a:pt x="539" y="1393"/>
                  </a:lnTo>
                  <a:lnTo>
                    <a:pt x="539" y="1393"/>
                  </a:lnTo>
                  <a:lnTo>
                    <a:pt x="542" y="1390"/>
                  </a:lnTo>
                  <a:lnTo>
                    <a:pt x="542" y="1390"/>
                  </a:lnTo>
                  <a:lnTo>
                    <a:pt x="546" y="1385"/>
                  </a:lnTo>
                  <a:lnTo>
                    <a:pt x="546" y="1385"/>
                  </a:lnTo>
                  <a:lnTo>
                    <a:pt x="549" y="1379"/>
                  </a:lnTo>
                  <a:lnTo>
                    <a:pt x="549" y="1379"/>
                  </a:lnTo>
                  <a:lnTo>
                    <a:pt x="552" y="1372"/>
                  </a:lnTo>
                  <a:lnTo>
                    <a:pt x="552" y="1372"/>
                  </a:lnTo>
                  <a:lnTo>
                    <a:pt x="555" y="1362"/>
                  </a:lnTo>
                  <a:lnTo>
                    <a:pt x="555" y="1362"/>
                  </a:lnTo>
                  <a:lnTo>
                    <a:pt x="555" y="1360"/>
                  </a:lnTo>
                  <a:lnTo>
                    <a:pt x="555" y="1360"/>
                  </a:lnTo>
                  <a:lnTo>
                    <a:pt x="553" y="1356"/>
                  </a:lnTo>
                  <a:lnTo>
                    <a:pt x="553" y="1356"/>
                  </a:lnTo>
                  <a:lnTo>
                    <a:pt x="550" y="1353"/>
                  </a:lnTo>
                  <a:lnTo>
                    <a:pt x="550" y="1353"/>
                  </a:lnTo>
                  <a:lnTo>
                    <a:pt x="547" y="1350"/>
                  </a:lnTo>
                  <a:lnTo>
                    <a:pt x="547" y="1350"/>
                  </a:lnTo>
                  <a:lnTo>
                    <a:pt x="547" y="1350"/>
                  </a:lnTo>
                  <a:lnTo>
                    <a:pt x="547" y="1350"/>
                  </a:lnTo>
                  <a:lnTo>
                    <a:pt x="547" y="1350"/>
                  </a:lnTo>
                  <a:lnTo>
                    <a:pt x="547" y="1350"/>
                  </a:lnTo>
                  <a:lnTo>
                    <a:pt x="547" y="1350"/>
                  </a:lnTo>
                  <a:lnTo>
                    <a:pt x="547" y="1350"/>
                  </a:lnTo>
                  <a:lnTo>
                    <a:pt x="547" y="1348"/>
                  </a:lnTo>
                  <a:lnTo>
                    <a:pt x="547" y="1348"/>
                  </a:lnTo>
                  <a:lnTo>
                    <a:pt x="550" y="1344"/>
                  </a:lnTo>
                  <a:lnTo>
                    <a:pt x="550" y="1344"/>
                  </a:lnTo>
                  <a:lnTo>
                    <a:pt x="552" y="1343"/>
                  </a:lnTo>
                  <a:lnTo>
                    <a:pt x="552" y="1341"/>
                  </a:lnTo>
                  <a:lnTo>
                    <a:pt x="552" y="1341"/>
                  </a:lnTo>
                  <a:lnTo>
                    <a:pt x="552" y="1341"/>
                  </a:lnTo>
                  <a:lnTo>
                    <a:pt x="552" y="1341"/>
                  </a:lnTo>
                  <a:lnTo>
                    <a:pt x="552" y="1341"/>
                  </a:lnTo>
                  <a:lnTo>
                    <a:pt x="552" y="1341"/>
                  </a:lnTo>
                  <a:lnTo>
                    <a:pt x="552" y="1341"/>
                  </a:lnTo>
                  <a:lnTo>
                    <a:pt x="552" y="1341"/>
                  </a:lnTo>
                  <a:lnTo>
                    <a:pt x="552" y="1341"/>
                  </a:lnTo>
                  <a:lnTo>
                    <a:pt x="552" y="1341"/>
                  </a:lnTo>
                  <a:lnTo>
                    <a:pt x="552" y="1341"/>
                  </a:lnTo>
                  <a:lnTo>
                    <a:pt x="552" y="1341"/>
                  </a:lnTo>
                  <a:lnTo>
                    <a:pt x="553" y="1341"/>
                  </a:lnTo>
                  <a:lnTo>
                    <a:pt x="553" y="1341"/>
                  </a:lnTo>
                  <a:lnTo>
                    <a:pt x="558" y="1343"/>
                  </a:lnTo>
                  <a:lnTo>
                    <a:pt x="558" y="1343"/>
                  </a:lnTo>
                  <a:lnTo>
                    <a:pt x="563" y="1346"/>
                  </a:lnTo>
                  <a:lnTo>
                    <a:pt x="563" y="1346"/>
                  </a:lnTo>
                  <a:lnTo>
                    <a:pt x="568" y="1348"/>
                  </a:lnTo>
                  <a:lnTo>
                    <a:pt x="571" y="1348"/>
                  </a:lnTo>
                  <a:lnTo>
                    <a:pt x="571" y="1348"/>
                  </a:lnTo>
                  <a:lnTo>
                    <a:pt x="575" y="1347"/>
                  </a:lnTo>
                  <a:lnTo>
                    <a:pt x="575" y="1347"/>
                  </a:lnTo>
                  <a:lnTo>
                    <a:pt x="578" y="1344"/>
                  </a:lnTo>
                  <a:lnTo>
                    <a:pt x="578" y="1344"/>
                  </a:lnTo>
                  <a:lnTo>
                    <a:pt x="579" y="1343"/>
                  </a:lnTo>
                  <a:lnTo>
                    <a:pt x="579" y="1343"/>
                  </a:lnTo>
                  <a:lnTo>
                    <a:pt x="576" y="1337"/>
                  </a:lnTo>
                  <a:lnTo>
                    <a:pt x="576" y="1337"/>
                  </a:lnTo>
                  <a:lnTo>
                    <a:pt x="571" y="1330"/>
                  </a:lnTo>
                  <a:lnTo>
                    <a:pt x="565" y="1322"/>
                  </a:lnTo>
                  <a:lnTo>
                    <a:pt x="565" y="1322"/>
                  </a:lnTo>
                  <a:lnTo>
                    <a:pt x="559" y="1319"/>
                  </a:lnTo>
                  <a:lnTo>
                    <a:pt x="550" y="1318"/>
                  </a:lnTo>
                  <a:lnTo>
                    <a:pt x="550" y="1318"/>
                  </a:lnTo>
                  <a:lnTo>
                    <a:pt x="539" y="1315"/>
                  </a:lnTo>
                  <a:lnTo>
                    <a:pt x="539" y="1314"/>
                  </a:lnTo>
                  <a:lnTo>
                    <a:pt x="539" y="1314"/>
                  </a:lnTo>
                  <a:lnTo>
                    <a:pt x="539" y="1312"/>
                  </a:lnTo>
                  <a:lnTo>
                    <a:pt x="539" y="1312"/>
                  </a:lnTo>
                  <a:lnTo>
                    <a:pt x="539" y="1309"/>
                  </a:lnTo>
                  <a:lnTo>
                    <a:pt x="539" y="1309"/>
                  </a:lnTo>
                  <a:lnTo>
                    <a:pt x="539" y="1305"/>
                  </a:lnTo>
                  <a:lnTo>
                    <a:pt x="539" y="1305"/>
                  </a:lnTo>
                  <a:lnTo>
                    <a:pt x="539" y="1302"/>
                  </a:lnTo>
                  <a:lnTo>
                    <a:pt x="539" y="1302"/>
                  </a:lnTo>
                  <a:lnTo>
                    <a:pt x="536" y="1301"/>
                  </a:lnTo>
                  <a:lnTo>
                    <a:pt x="536" y="1301"/>
                  </a:lnTo>
                  <a:lnTo>
                    <a:pt x="533" y="1301"/>
                  </a:lnTo>
                  <a:lnTo>
                    <a:pt x="533" y="1301"/>
                  </a:lnTo>
                  <a:lnTo>
                    <a:pt x="524" y="1301"/>
                  </a:lnTo>
                  <a:lnTo>
                    <a:pt x="524" y="1301"/>
                  </a:lnTo>
                  <a:lnTo>
                    <a:pt x="524" y="1301"/>
                  </a:lnTo>
                  <a:lnTo>
                    <a:pt x="521" y="1301"/>
                  </a:lnTo>
                  <a:lnTo>
                    <a:pt x="520" y="1299"/>
                  </a:lnTo>
                  <a:lnTo>
                    <a:pt x="520" y="1299"/>
                  </a:lnTo>
                  <a:lnTo>
                    <a:pt x="514" y="1293"/>
                  </a:lnTo>
                  <a:lnTo>
                    <a:pt x="514" y="1293"/>
                  </a:lnTo>
                  <a:lnTo>
                    <a:pt x="510" y="1289"/>
                  </a:lnTo>
                  <a:lnTo>
                    <a:pt x="505" y="1282"/>
                  </a:lnTo>
                  <a:lnTo>
                    <a:pt x="505" y="1282"/>
                  </a:lnTo>
                  <a:lnTo>
                    <a:pt x="503" y="1275"/>
                  </a:lnTo>
                  <a:lnTo>
                    <a:pt x="503" y="1275"/>
                  </a:lnTo>
                  <a:lnTo>
                    <a:pt x="501" y="1272"/>
                  </a:lnTo>
                  <a:lnTo>
                    <a:pt x="501" y="1272"/>
                  </a:lnTo>
                  <a:lnTo>
                    <a:pt x="500" y="1267"/>
                  </a:lnTo>
                  <a:lnTo>
                    <a:pt x="500" y="1267"/>
                  </a:lnTo>
                  <a:lnTo>
                    <a:pt x="494" y="1262"/>
                  </a:lnTo>
                  <a:lnTo>
                    <a:pt x="494" y="1262"/>
                  </a:lnTo>
                  <a:lnTo>
                    <a:pt x="487" y="1259"/>
                  </a:lnTo>
                  <a:lnTo>
                    <a:pt x="487" y="1259"/>
                  </a:lnTo>
                  <a:lnTo>
                    <a:pt x="487" y="1259"/>
                  </a:lnTo>
                  <a:lnTo>
                    <a:pt x="487" y="1259"/>
                  </a:lnTo>
                  <a:lnTo>
                    <a:pt x="484" y="1253"/>
                  </a:lnTo>
                  <a:lnTo>
                    <a:pt x="484" y="1253"/>
                  </a:lnTo>
                  <a:lnTo>
                    <a:pt x="481" y="1250"/>
                  </a:lnTo>
                  <a:lnTo>
                    <a:pt x="481" y="1250"/>
                  </a:lnTo>
                  <a:lnTo>
                    <a:pt x="478" y="1247"/>
                  </a:lnTo>
                  <a:lnTo>
                    <a:pt x="478" y="1247"/>
                  </a:lnTo>
                  <a:lnTo>
                    <a:pt x="478" y="1247"/>
                  </a:lnTo>
                  <a:lnTo>
                    <a:pt x="476" y="1249"/>
                  </a:lnTo>
                  <a:lnTo>
                    <a:pt x="478" y="1249"/>
                  </a:lnTo>
                  <a:lnTo>
                    <a:pt x="478" y="1247"/>
                  </a:lnTo>
                  <a:lnTo>
                    <a:pt x="476" y="1249"/>
                  </a:lnTo>
                  <a:lnTo>
                    <a:pt x="478" y="1249"/>
                  </a:lnTo>
                  <a:lnTo>
                    <a:pt x="476" y="1249"/>
                  </a:lnTo>
                  <a:lnTo>
                    <a:pt x="478" y="1249"/>
                  </a:lnTo>
                  <a:lnTo>
                    <a:pt x="478" y="1249"/>
                  </a:lnTo>
                  <a:lnTo>
                    <a:pt x="476" y="1249"/>
                  </a:lnTo>
                  <a:lnTo>
                    <a:pt x="478" y="1249"/>
                  </a:lnTo>
                  <a:lnTo>
                    <a:pt x="478" y="1249"/>
                  </a:lnTo>
                  <a:lnTo>
                    <a:pt x="478" y="1249"/>
                  </a:lnTo>
                  <a:lnTo>
                    <a:pt x="478" y="1249"/>
                  </a:lnTo>
                  <a:lnTo>
                    <a:pt x="478" y="1249"/>
                  </a:lnTo>
                  <a:lnTo>
                    <a:pt x="478" y="1249"/>
                  </a:lnTo>
                  <a:lnTo>
                    <a:pt x="478" y="1249"/>
                  </a:lnTo>
                  <a:lnTo>
                    <a:pt x="478" y="1247"/>
                  </a:lnTo>
                  <a:lnTo>
                    <a:pt x="478" y="1247"/>
                  </a:lnTo>
                  <a:lnTo>
                    <a:pt x="482" y="1240"/>
                  </a:lnTo>
                  <a:lnTo>
                    <a:pt x="482" y="1240"/>
                  </a:lnTo>
                  <a:lnTo>
                    <a:pt x="484" y="1238"/>
                  </a:lnTo>
                  <a:lnTo>
                    <a:pt x="484" y="1238"/>
                  </a:lnTo>
                  <a:lnTo>
                    <a:pt x="484" y="1237"/>
                  </a:lnTo>
                  <a:lnTo>
                    <a:pt x="484" y="1237"/>
                  </a:lnTo>
                  <a:lnTo>
                    <a:pt x="484" y="1234"/>
                  </a:lnTo>
                  <a:lnTo>
                    <a:pt x="484" y="1234"/>
                  </a:lnTo>
                  <a:lnTo>
                    <a:pt x="482" y="1233"/>
                  </a:lnTo>
                  <a:lnTo>
                    <a:pt x="482" y="1233"/>
                  </a:lnTo>
                  <a:lnTo>
                    <a:pt x="478" y="1231"/>
                  </a:lnTo>
                  <a:lnTo>
                    <a:pt x="478" y="1231"/>
                  </a:lnTo>
                  <a:lnTo>
                    <a:pt x="478" y="1231"/>
                  </a:lnTo>
                  <a:lnTo>
                    <a:pt x="476" y="1231"/>
                  </a:lnTo>
                  <a:lnTo>
                    <a:pt x="478" y="1231"/>
                  </a:lnTo>
                  <a:lnTo>
                    <a:pt x="478" y="1231"/>
                  </a:lnTo>
                  <a:lnTo>
                    <a:pt x="476" y="1231"/>
                  </a:lnTo>
                  <a:lnTo>
                    <a:pt x="478" y="1231"/>
                  </a:lnTo>
                  <a:lnTo>
                    <a:pt x="476" y="1231"/>
                  </a:lnTo>
                  <a:lnTo>
                    <a:pt x="478" y="1233"/>
                  </a:lnTo>
                  <a:lnTo>
                    <a:pt x="478" y="1233"/>
                  </a:lnTo>
                  <a:lnTo>
                    <a:pt x="478" y="1231"/>
                  </a:lnTo>
                  <a:lnTo>
                    <a:pt x="476" y="1231"/>
                  </a:lnTo>
                  <a:lnTo>
                    <a:pt x="478" y="1233"/>
                  </a:lnTo>
                  <a:lnTo>
                    <a:pt x="476" y="1233"/>
                  </a:lnTo>
                  <a:lnTo>
                    <a:pt x="476" y="1233"/>
                  </a:lnTo>
                  <a:lnTo>
                    <a:pt x="478" y="1233"/>
                  </a:lnTo>
                  <a:lnTo>
                    <a:pt x="476" y="1233"/>
                  </a:lnTo>
                  <a:lnTo>
                    <a:pt x="476" y="1233"/>
                  </a:lnTo>
                  <a:lnTo>
                    <a:pt x="476" y="1233"/>
                  </a:lnTo>
                  <a:lnTo>
                    <a:pt x="478" y="1233"/>
                  </a:lnTo>
                  <a:lnTo>
                    <a:pt x="478" y="1233"/>
                  </a:lnTo>
                  <a:lnTo>
                    <a:pt x="481" y="1231"/>
                  </a:lnTo>
                  <a:lnTo>
                    <a:pt x="481" y="1231"/>
                  </a:lnTo>
                  <a:lnTo>
                    <a:pt x="488" y="1227"/>
                  </a:lnTo>
                  <a:lnTo>
                    <a:pt x="488" y="1227"/>
                  </a:lnTo>
                  <a:lnTo>
                    <a:pt x="492" y="1224"/>
                  </a:lnTo>
                  <a:lnTo>
                    <a:pt x="492" y="1224"/>
                  </a:lnTo>
                  <a:lnTo>
                    <a:pt x="494" y="1224"/>
                  </a:lnTo>
                  <a:lnTo>
                    <a:pt x="494" y="1224"/>
                  </a:lnTo>
                  <a:lnTo>
                    <a:pt x="494" y="1224"/>
                  </a:lnTo>
                  <a:lnTo>
                    <a:pt x="494" y="1222"/>
                  </a:lnTo>
                  <a:lnTo>
                    <a:pt x="494" y="1224"/>
                  </a:lnTo>
                  <a:lnTo>
                    <a:pt x="494" y="1224"/>
                  </a:lnTo>
                  <a:lnTo>
                    <a:pt x="494" y="1222"/>
                  </a:lnTo>
                  <a:lnTo>
                    <a:pt x="494" y="1224"/>
                  </a:lnTo>
                  <a:lnTo>
                    <a:pt x="494" y="1222"/>
                  </a:lnTo>
                  <a:lnTo>
                    <a:pt x="494" y="1224"/>
                  </a:lnTo>
                  <a:lnTo>
                    <a:pt x="494" y="1224"/>
                  </a:lnTo>
                  <a:lnTo>
                    <a:pt x="494" y="1222"/>
                  </a:lnTo>
                  <a:lnTo>
                    <a:pt x="494" y="1224"/>
                  </a:lnTo>
                  <a:lnTo>
                    <a:pt x="494" y="1222"/>
                  </a:lnTo>
                  <a:lnTo>
                    <a:pt x="492" y="1222"/>
                  </a:lnTo>
                  <a:lnTo>
                    <a:pt x="494" y="1224"/>
                  </a:lnTo>
                  <a:lnTo>
                    <a:pt x="494" y="1222"/>
                  </a:lnTo>
                  <a:lnTo>
                    <a:pt x="492" y="1222"/>
                  </a:lnTo>
                  <a:lnTo>
                    <a:pt x="492" y="1222"/>
                  </a:lnTo>
                  <a:lnTo>
                    <a:pt x="494" y="1225"/>
                  </a:lnTo>
                  <a:lnTo>
                    <a:pt x="494" y="1225"/>
                  </a:lnTo>
                  <a:lnTo>
                    <a:pt x="495" y="1233"/>
                  </a:lnTo>
                  <a:lnTo>
                    <a:pt x="495" y="1233"/>
                  </a:lnTo>
                  <a:lnTo>
                    <a:pt x="498" y="1235"/>
                  </a:lnTo>
                  <a:lnTo>
                    <a:pt x="500" y="1240"/>
                  </a:lnTo>
                  <a:lnTo>
                    <a:pt x="500" y="1240"/>
                  </a:lnTo>
                  <a:lnTo>
                    <a:pt x="503" y="1241"/>
                  </a:lnTo>
                  <a:lnTo>
                    <a:pt x="503" y="1241"/>
                  </a:lnTo>
                  <a:lnTo>
                    <a:pt x="504" y="1243"/>
                  </a:lnTo>
                  <a:lnTo>
                    <a:pt x="504" y="1243"/>
                  </a:lnTo>
                  <a:lnTo>
                    <a:pt x="508" y="1241"/>
                  </a:lnTo>
                  <a:lnTo>
                    <a:pt x="508" y="1241"/>
                  </a:lnTo>
                  <a:lnTo>
                    <a:pt x="510" y="1238"/>
                  </a:lnTo>
                  <a:lnTo>
                    <a:pt x="510" y="1238"/>
                  </a:lnTo>
                  <a:lnTo>
                    <a:pt x="513" y="1235"/>
                  </a:lnTo>
                  <a:lnTo>
                    <a:pt x="513" y="1235"/>
                  </a:lnTo>
                  <a:lnTo>
                    <a:pt x="513" y="1235"/>
                  </a:lnTo>
                  <a:lnTo>
                    <a:pt x="513" y="1234"/>
                  </a:lnTo>
                  <a:lnTo>
                    <a:pt x="513" y="1235"/>
                  </a:lnTo>
                  <a:lnTo>
                    <a:pt x="513" y="1235"/>
                  </a:lnTo>
                  <a:lnTo>
                    <a:pt x="513" y="1234"/>
                  </a:lnTo>
                  <a:lnTo>
                    <a:pt x="513" y="1235"/>
                  </a:lnTo>
                  <a:lnTo>
                    <a:pt x="511" y="1234"/>
                  </a:lnTo>
                  <a:lnTo>
                    <a:pt x="511" y="1235"/>
                  </a:lnTo>
                  <a:lnTo>
                    <a:pt x="513" y="1235"/>
                  </a:lnTo>
                  <a:lnTo>
                    <a:pt x="511" y="1234"/>
                  </a:lnTo>
                  <a:lnTo>
                    <a:pt x="511" y="1235"/>
                  </a:lnTo>
                  <a:lnTo>
                    <a:pt x="511" y="1233"/>
                  </a:lnTo>
                  <a:lnTo>
                    <a:pt x="510" y="1234"/>
                  </a:lnTo>
                  <a:lnTo>
                    <a:pt x="510" y="1234"/>
                  </a:lnTo>
                  <a:lnTo>
                    <a:pt x="511" y="1235"/>
                  </a:lnTo>
                  <a:lnTo>
                    <a:pt x="511" y="1233"/>
                  </a:lnTo>
                  <a:lnTo>
                    <a:pt x="510" y="1234"/>
                  </a:lnTo>
                  <a:lnTo>
                    <a:pt x="511" y="1234"/>
                  </a:lnTo>
                  <a:lnTo>
                    <a:pt x="510" y="1234"/>
                  </a:lnTo>
                  <a:lnTo>
                    <a:pt x="510" y="1234"/>
                  </a:lnTo>
                  <a:lnTo>
                    <a:pt x="511" y="1234"/>
                  </a:lnTo>
                  <a:lnTo>
                    <a:pt x="510" y="1234"/>
                  </a:lnTo>
                  <a:lnTo>
                    <a:pt x="511" y="1234"/>
                  </a:lnTo>
                  <a:lnTo>
                    <a:pt x="510" y="1234"/>
                  </a:lnTo>
                  <a:lnTo>
                    <a:pt x="510" y="1234"/>
                  </a:lnTo>
                  <a:lnTo>
                    <a:pt x="511" y="1234"/>
                  </a:lnTo>
                  <a:lnTo>
                    <a:pt x="510" y="1234"/>
                  </a:lnTo>
                  <a:lnTo>
                    <a:pt x="510" y="1235"/>
                  </a:lnTo>
                  <a:lnTo>
                    <a:pt x="510" y="1235"/>
                  </a:lnTo>
                  <a:lnTo>
                    <a:pt x="510" y="1246"/>
                  </a:lnTo>
                  <a:lnTo>
                    <a:pt x="510" y="1246"/>
                  </a:lnTo>
                  <a:lnTo>
                    <a:pt x="510" y="1250"/>
                  </a:lnTo>
                  <a:lnTo>
                    <a:pt x="510" y="1250"/>
                  </a:lnTo>
                  <a:lnTo>
                    <a:pt x="511" y="1251"/>
                  </a:lnTo>
                  <a:lnTo>
                    <a:pt x="511" y="1251"/>
                  </a:lnTo>
                  <a:lnTo>
                    <a:pt x="514" y="1253"/>
                  </a:lnTo>
                  <a:lnTo>
                    <a:pt x="514" y="1253"/>
                  </a:lnTo>
                  <a:lnTo>
                    <a:pt x="518" y="1254"/>
                  </a:lnTo>
                  <a:lnTo>
                    <a:pt x="518" y="1254"/>
                  </a:lnTo>
                  <a:lnTo>
                    <a:pt x="521" y="1257"/>
                  </a:lnTo>
                  <a:lnTo>
                    <a:pt x="521" y="1257"/>
                  </a:lnTo>
                  <a:lnTo>
                    <a:pt x="521" y="1257"/>
                  </a:lnTo>
                  <a:lnTo>
                    <a:pt x="521" y="1260"/>
                  </a:lnTo>
                  <a:lnTo>
                    <a:pt x="521" y="1260"/>
                  </a:lnTo>
                  <a:lnTo>
                    <a:pt x="523" y="1264"/>
                  </a:lnTo>
                  <a:lnTo>
                    <a:pt x="523" y="1264"/>
                  </a:lnTo>
                  <a:lnTo>
                    <a:pt x="527" y="1269"/>
                  </a:lnTo>
                  <a:lnTo>
                    <a:pt x="533" y="1272"/>
                  </a:lnTo>
                  <a:lnTo>
                    <a:pt x="533" y="1272"/>
                  </a:lnTo>
                  <a:lnTo>
                    <a:pt x="542" y="1275"/>
                  </a:lnTo>
                  <a:lnTo>
                    <a:pt x="542" y="1275"/>
                  </a:lnTo>
                  <a:lnTo>
                    <a:pt x="547" y="1279"/>
                  </a:lnTo>
                  <a:lnTo>
                    <a:pt x="547" y="1279"/>
                  </a:lnTo>
                  <a:lnTo>
                    <a:pt x="553" y="1285"/>
                  </a:lnTo>
                  <a:lnTo>
                    <a:pt x="553" y="1285"/>
                  </a:lnTo>
                  <a:lnTo>
                    <a:pt x="556" y="1286"/>
                  </a:lnTo>
                  <a:lnTo>
                    <a:pt x="558" y="1286"/>
                  </a:lnTo>
                  <a:lnTo>
                    <a:pt x="558" y="1286"/>
                  </a:lnTo>
                  <a:lnTo>
                    <a:pt x="563" y="1288"/>
                  </a:lnTo>
                  <a:lnTo>
                    <a:pt x="563" y="1288"/>
                  </a:lnTo>
                  <a:lnTo>
                    <a:pt x="571" y="1293"/>
                  </a:lnTo>
                  <a:lnTo>
                    <a:pt x="576" y="1301"/>
                  </a:lnTo>
                  <a:lnTo>
                    <a:pt x="576" y="1301"/>
                  </a:lnTo>
                  <a:lnTo>
                    <a:pt x="581" y="1304"/>
                  </a:lnTo>
                  <a:lnTo>
                    <a:pt x="585" y="1306"/>
                  </a:lnTo>
                  <a:lnTo>
                    <a:pt x="585" y="1306"/>
                  </a:lnTo>
                  <a:lnTo>
                    <a:pt x="587" y="1308"/>
                  </a:lnTo>
                  <a:lnTo>
                    <a:pt x="587" y="1308"/>
                  </a:lnTo>
                  <a:lnTo>
                    <a:pt x="589" y="1311"/>
                  </a:lnTo>
                  <a:lnTo>
                    <a:pt x="589" y="1311"/>
                  </a:lnTo>
                  <a:lnTo>
                    <a:pt x="589" y="1315"/>
                  </a:lnTo>
                  <a:lnTo>
                    <a:pt x="589" y="1315"/>
                  </a:lnTo>
                  <a:lnTo>
                    <a:pt x="589" y="1331"/>
                  </a:lnTo>
                  <a:lnTo>
                    <a:pt x="589" y="1331"/>
                  </a:lnTo>
                  <a:lnTo>
                    <a:pt x="589" y="1337"/>
                  </a:lnTo>
                  <a:lnTo>
                    <a:pt x="589" y="1343"/>
                  </a:lnTo>
                  <a:lnTo>
                    <a:pt x="589" y="1343"/>
                  </a:lnTo>
                  <a:lnTo>
                    <a:pt x="592" y="1350"/>
                  </a:lnTo>
                  <a:lnTo>
                    <a:pt x="594" y="1354"/>
                  </a:lnTo>
                  <a:lnTo>
                    <a:pt x="594" y="1354"/>
                  </a:lnTo>
                  <a:lnTo>
                    <a:pt x="597" y="1360"/>
                  </a:lnTo>
                  <a:lnTo>
                    <a:pt x="597" y="1360"/>
                  </a:lnTo>
                  <a:lnTo>
                    <a:pt x="600" y="1364"/>
                  </a:lnTo>
                  <a:lnTo>
                    <a:pt x="600" y="1364"/>
                  </a:lnTo>
                  <a:lnTo>
                    <a:pt x="602" y="1366"/>
                  </a:lnTo>
                  <a:lnTo>
                    <a:pt x="602" y="1366"/>
                  </a:lnTo>
                  <a:lnTo>
                    <a:pt x="607" y="1364"/>
                  </a:lnTo>
                  <a:lnTo>
                    <a:pt x="607" y="1364"/>
                  </a:lnTo>
                  <a:lnTo>
                    <a:pt x="607" y="1364"/>
                  </a:lnTo>
                  <a:lnTo>
                    <a:pt x="607" y="1363"/>
                  </a:lnTo>
                  <a:lnTo>
                    <a:pt x="607" y="1364"/>
                  </a:lnTo>
                  <a:lnTo>
                    <a:pt x="607" y="1364"/>
                  </a:lnTo>
                  <a:lnTo>
                    <a:pt x="607" y="1363"/>
                  </a:lnTo>
                  <a:lnTo>
                    <a:pt x="607" y="1364"/>
                  </a:lnTo>
                  <a:lnTo>
                    <a:pt x="607" y="1363"/>
                  </a:lnTo>
                  <a:lnTo>
                    <a:pt x="605" y="1363"/>
                  </a:lnTo>
                  <a:lnTo>
                    <a:pt x="607" y="1364"/>
                  </a:lnTo>
                  <a:lnTo>
                    <a:pt x="607" y="1363"/>
                  </a:lnTo>
                  <a:lnTo>
                    <a:pt x="605" y="1363"/>
                  </a:lnTo>
                  <a:lnTo>
                    <a:pt x="605" y="1363"/>
                  </a:lnTo>
                  <a:lnTo>
                    <a:pt x="608" y="1364"/>
                  </a:lnTo>
                  <a:lnTo>
                    <a:pt x="608" y="1364"/>
                  </a:lnTo>
                  <a:lnTo>
                    <a:pt x="610" y="1366"/>
                  </a:lnTo>
                  <a:lnTo>
                    <a:pt x="610" y="1366"/>
                  </a:lnTo>
                  <a:lnTo>
                    <a:pt x="614" y="1369"/>
                  </a:lnTo>
                  <a:lnTo>
                    <a:pt x="614" y="1369"/>
                  </a:lnTo>
                  <a:lnTo>
                    <a:pt x="616" y="1370"/>
                  </a:lnTo>
                  <a:lnTo>
                    <a:pt x="616" y="1370"/>
                  </a:lnTo>
                  <a:lnTo>
                    <a:pt x="616" y="1370"/>
                  </a:lnTo>
                  <a:lnTo>
                    <a:pt x="616" y="1370"/>
                  </a:lnTo>
                  <a:lnTo>
                    <a:pt x="616" y="1370"/>
                  </a:lnTo>
                  <a:lnTo>
                    <a:pt x="616" y="1370"/>
                  </a:lnTo>
                  <a:lnTo>
                    <a:pt x="616" y="1370"/>
                  </a:lnTo>
                  <a:lnTo>
                    <a:pt x="616" y="1370"/>
                  </a:lnTo>
                  <a:lnTo>
                    <a:pt x="616" y="1370"/>
                  </a:lnTo>
                  <a:lnTo>
                    <a:pt x="616" y="1370"/>
                  </a:lnTo>
                  <a:lnTo>
                    <a:pt x="616" y="1370"/>
                  </a:lnTo>
                  <a:lnTo>
                    <a:pt x="616" y="1370"/>
                  </a:lnTo>
                  <a:lnTo>
                    <a:pt x="616" y="1370"/>
                  </a:lnTo>
                  <a:lnTo>
                    <a:pt x="616" y="1370"/>
                  </a:lnTo>
                  <a:lnTo>
                    <a:pt x="616" y="1370"/>
                  </a:lnTo>
                  <a:lnTo>
                    <a:pt x="616" y="1372"/>
                  </a:lnTo>
                  <a:lnTo>
                    <a:pt x="616" y="1372"/>
                  </a:lnTo>
                  <a:lnTo>
                    <a:pt x="614" y="1375"/>
                  </a:lnTo>
                  <a:lnTo>
                    <a:pt x="614" y="1375"/>
                  </a:lnTo>
                  <a:lnTo>
                    <a:pt x="616" y="1376"/>
                  </a:lnTo>
                  <a:lnTo>
                    <a:pt x="616" y="1376"/>
                  </a:lnTo>
                  <a:lnTo>
                    <a:pt x="617" y="1377"/>
                  </a:lnTo>
                  <a:lnTo>
                    <a:pt x="617" y="1377"/>
                  </a:lnTo>
                  <a:lnTo>
                    <a:pt x="620" y="1380"/>
                  </a:lnTo>
                  <a:lnTo>
                    <a:pt x="624" y="1380"/>
                  </a:lnTo>
                  <a:lnTo>
                    <a:pt x="624" y="1380"/>
                  </a:lnTo>
                  <a:lnTo>
                    <a:pt x="639" y="1382"/>
                  </a:lnTo>
                  <a:lnTo>
                    <a:pt x="639" y="1382"/>
                  </a:lnTo>
                  <a:lnTo>
                    <a:pt x="644" y="1382"/>
                  </a:lnTo>
                  <a:lnTo>
                    <a:pt x="644" y="1382"/>
                  </a:lnTo>
                  <a:lnTo>
                    <a:pt x="647" y="1382"/>
                  </a:lnTo>
                  <a:lnTo>
                    <a:pt x="647" y="1382"/>
                  </a:lnTo>
                  <a:lnTo>
                    <a:pt x="647" y="1382"/>
                  </a:lnTo>
                  <a:lnTo>
                    <a:pt x="647" y="1382"/>
                  </a:lnTo>
                  <a:lnTo>
                    <a:pt x="647" y="1382"/>
                  </a:lnTo>
                  <a:lnTo>
                    <a:pt x="647" y="1382"/>
                  </a:lnTo>
                  <a:lnTo>
                    <a:pt x="647" y="1382"/>
                  </a:lnTo>
                  <a:lnTo>
                    <a:pt x="647" y="1382"/>
                  </a:lnTo>
                  <a:lnTo>
                    <a:pt x="647" y="1382"/>
                  </a:lnTo>
                  <a:lnTo>
                    <a:pt x="647" y="1382"/>
                  </a:lnTo>
                  <a:lnTo>
                    <a:pt x="647" y="1382"/>
                  </a:lnTo>
                  <a:lnTo>
                    <a:pt x="647" y="1382"/>
                  </a:lnTo>
                  <a:lnTo>
                    <a:pt x="647" y="1382"/>
                  </a:lnTo>
                  <a:lnTo>
                    <a:pt x="647" y="1382"/>
                  </a:lnTo>
                  <a:lnTo>
                    <a:pt x="647" y="1382"/>
                  </a:lnTo>
                  <a:lnTo>
                    <a:pt x="646" y="1385"/>
                  </a:lnTo>
                  <a:lnTo>
                    <a:pt x="646" y="1385"/>
                  </a:lnTo>
                  <a:lnTo>
                    <a:pt x="646" y="1383"/>
                  </a:lnTo>
                  <a:lnTo>
                    <a:pt x="646" y="1385"/>
                  </a:lnTo>
                  <a:lnTo>
                    <a:pt x="646" y="1385"/>
                  </a:lnTo>
                  <a:lnTo>
                    <a:pt x="646" y="1383"/>
                  </a:lnTo>
                  <a:lnTo>
                    <a:pt x="644" y="1385"/>
                  </a:lnTo>
                  <a:lnTo>
                    <a:pt x="644" y="1385"/>
                  </a:lnTo>
                  <a:lnTo>
                    <a:pt x="637" y="1382"/>
                  </a:lnTo>
                  <a:lnTo>
                    <a:pt x="637" y="1382"/>
                  </a:lnTo>
                  <a:lnTo>
                    <a:pt x="630" y="1380"/>
                  </a:lnTo>
                  <a:lnTo>
                    <a:pt x="630" y="1380"/>
                  </a:lnTo>
                  <a:lnTo>
                    <a:pt x="627" y="1380"/>
                  </a:lnTo>
                  <a:lnTo>
                    <a:pt x="627" y="1380"/>
                  </a:lnTo>
                  <a:lnTo>
                    <a:pt x="624" y="1380"/>
                  </a:lnTo>
                  <a:lnTo>
                    <a:pt x="623" y="1382"/>
                  </a:lnTo>
                  <a:lnTo>
                    <a:pt x="623" y="1382"/>
                  </a:lnTo>
                  <a:lnTo>
                    <a:pt x="618" y="1386"/>
                  </a:lnTo>
                  <a:lnTo>
                    <a:pt x="618" y="1386"/>
                  </a:lnTo>
                  <a:lnTo>
                    <a:pt x="618" y="1389"/>
                  </a:lnTo>
                  <a:lnTo>
                    <a:pt x="618" y="1389"/>
                  </a:lnTo>
                  <a:lnTo>
                    <a:pt x="620" y="1393"/>
                  </a:lnTo>
                  <a:lnTo>
                    <a:pt x="620" y="1393"/>
                  </a:lnTo>
                  <a:lnTo>
                    <a:pt x="623" y="1398"/>
                  </a:lnTo>
                  <a:lnTo>
                    <a:pt x="623" y="1398"/>
                  </a:lnTo>
                  <a:lnTo>
                    <a:pt x="624" y="1401"/>
                  </a:lnTo>
                  <a:lnTo>
                    <a:pt x="624" y="1401"/>
                  </a:lnTo>
                  <a:lnTo>
                    <a:pt x="626" y="1405"/>
                  </a:lnTo>
                  <a:lnTo>
                    <a:pt x="627" y="1408"/>
                  </a:lnTo>
                  <a:lnTo>
                    <a:pt x="627" y="1408"/>
                  </a:lnTo>
                  <a:lnTo>
                    <a:pt x="630" y="1409"/>
                  </a:lnTo>
                  <a:lnTo>
                    <a:pt x="634" y="1409"/>
                  </a:lnTo>
                  <a:lnTo>
                    <a:pt x="634" y="1409"/>
                  </a:lnTo>
                  <a:lnTo>
                    <a:pt x="634" y="1409"/>
                  </a:lnTo>
                  <a:lnTo>
                    <a:pt x="634" y="1409"/>
                  </a:lnTo>
                  <a:lnTo>
                    <a:pt x="636" y="1412"/>
                  </a:lnTo>
                  <a:lnTo>
                    <a:pt x="636" y="1412"/>
                  </a:lnTo>
                  <a:lnTo>
                    <a:pt x="637" y="1418"/>
                  </a:lnTo>
                  <a:lnTo>
                    <a:pt x="637" y="1418"/>
                  </a:lnTo>
                  <a:lnTo>
                    <a:pt x="639" y="1419"/>
                  </a:lnTo>
                  <a:lnTo>
                    <a:pt x="639" y="1419"/>
                  </a:lnTo>
                  <a:lnTo>
                    <a:pt x="642" y="1421"/>
                  </a:lnTo>
                  <a:lnTo>
                    <a:pt x="642" y="1421"/>
                  </a:lnTo>
                  <a:lnTo>
                    <a:pt x="643" y="1419"/>
                  </a:lnTo>
                  <a:lnTo>
                    <a:pt x="643" y="1419"/>
                  </a:lnTo>
                  <a:lnTo>
                    <a:pt x="646" y="1417"/>
                  </a:lnTo>
                  <a:lnTo>
                    <a:pt x="646" y="1417"/>
                  </a:lnTo>
                  <a:lnTo>
                    <a:pt x="647" y="1414"/>
                  </a:lnTo>
                  <a:lnTo>
                    <a:pt x="647" y="1414"/>
                  </a:lnTo>
                  <a:lnTo>
                    <a:pt x="647" y="1412"/>
                  </a:lnTo>
                  <a:lnTo>
                    <a:pt x="647" y="1414"/>
                  </a:lnTo>
                  <a:lnTo>
                    <a:pt x="647" y="1414"/>
                  </a:lnTo>
                  <a:lnTo>
                    <a:pt x="647" y="1412"/>
                  </a:lnTo>
                  <a:lnTo>
                    <a:pt x="647" y="1414"/>
                  </a:lnTo>
                  <a:lnTo>
                    <a:pt x="647" y="1412"/>
                  </a:lnTo>
                  <a:lnTo>
                    <a:pt x="647" y="1414"/>
                  </a:lnTo>
                  <a:lnTo>
                    <a:pt x="647" y="1414"/>
                  </a:lnTo>
                  <a:lnTo>
                    <a:pt x="647" y="1412"/>
                  </a:lnTo>
                  <a:lnTo>
                    <a:pt x="647" y="1414"/>
                  </a:lnTo>
                  <a:lnTo>
                    <a:pt x="647" y="1414"/>
                  </a:lnTo>
                  <a:lnTo>
                    <a:pt x="647" y="1414"/>
                  </a:lnTo>
                  <a:lnTo>
                    <a:pt x="649" y="1414"/>
                  </a:lnTo>
                  <a:lnTo>
                    <a:pt x="649" y="1414"/>
                  </a:lnTo>
                  <a:lnTo>
                    <a:pt x="652" y="1411"/>
                  </a:lnTo>
                  <a:lnTo>
                    <a:pt x="652" y="1411"/>
                  </a:lnTo>
                  <a:lnTo>
                    <a:pt x="652" y="1406"/>
                  </a:lnTo>
                  <a:lnTo>
                    <a:pt x="652" y="1406"/>
                  </a:lnTo>
                  <a:lnTo>
                    <a:pt x="653" y="1401"/>
                  </a:lnTo>
                  <a:lnTo>
                    <a:pt x="653" y="1401"/>
                  </a:lnTo>
                  <a:lnTo>
                    <a:pt x="653" y="1401"/>
                  </a:lnTo>
                  <a:lnTo>
                    <a:pt x="653" y="1398"/>
                  </a:lnTo>
                  <a:lnTo>
                    <a:pt x="653" y="1398"/>
                  </a:lnTo>
                  <a:lnTo>
                    <a:pt x="653" y="1398"/>
                  </a:lnTo>
                  <a:lnTo>
                    <a:pt x="653" y="1398"/>
                  </a:lnTo>
                  <a:lnTo>
                    <a:pt x="655" y="1396"/>
                  </a:lnTo>
                  <a:lnTo>
                    <a:pt x="655" y="1396"/>
                  </a:lnTo>
                  <a:lnTo>
                    <a:pt x="656" y="1396"/>
                  </a:lnTo>
                  <a:lnTo>
                    <a:pt x="656" y="1396"/>
                  </a:lnTo>
                  <a:lnTo>
                    <a:pt x="658" y="1393"/>
                  </a:lnTo>
                  <a:lnTo>
                    <a:pt x="658" y="1393"/>
                  </a:lnTo>
                  <a:lnTo>
                    <a:pt x="658" y="1392"/>
                  </a:lnTo>
                  <a:lnTo>
                    <a:pt x="658" y="1392"/>
                  </a:lnTo>
                  <a:lnTo>
                    <a:pt x="658" y="1389"/>
                  </a:lnTo>
                  <a:lnTo>
                    <a:pt x="658" y="1389"/>
                  </a:lnTo>
                  <a:lnTo>
                    <a:pt x="658" y="1386"/>
                  </a:lnTo>
                  <a:lnTo>
                    <a:pt x="658" y="1385"/>
                  </a:lnTo>
                  <a:lnTo>
                    <a:pt x="658" y="1385"/>
                  </a:lnTo>
                  <a:lnTo>
                    <a:pt x="658" y="1385"/>
                  </a:lnTo>
                  <a:lnTo>
                    <a:pt x="658" y="1385"/>
                  </a:lnTo>
                  <a:lnTo>
                    <a:pt x="658" y="1386"/>
                  </a:lnTo>
                  <a:lnTo>
                    <a:pt x="658" y="1385"/>
                  </a:lnTo>
                  <a:lnTo>
                    <a:pt x="658" y="1385"/>
                  </a:lnTo>
                  <a:lnTo>
                    <a:pt x="658" y="1386"/>
                  </a:lnTo>
                  <a:lnTo>
                    <a:pt x="656" y="1385"/>
                  </a:lnTo>
                  <a:lnTo>
                    <a:pt x="656" y="1386"/>
                  </a:lnTo>
                  <a:lnTo>
                    <a:pt x="658" y="1386"/>
                  </a:lnTo>
                  <a:lnTo>
                    <a:pt x="656" y="1385"/>
                  </a:lnTo>
                  <a:lnTo>
                    <a:pt x="656" y="1386"/>
                  </a:lnTo>
                  <a:lnTo>
                    <a:pt x="656" y="1385"/>
                  </a:lnTo>
                  <a:lnTo>
                    <a:pt x="656" y="1386"/>
                  </a:lnTo>
                  <a:lnTo>
                    <a:pt x="656" y="1386"/>
                  </a:lnTo>
                  <a:lnTo>
                    <a:pt x="656" y="1386"/>
                  </a:lnTo>
                  <a:lnTo>
                    <a:pt x="656" y="1385"/>
                  </a:lnTo>
                  <a:lnTo>
                    <a:pt x="656" y="1386"/>
                  </a:lnTo>
                  <a:lnTo>
                    <a:pt x="656" y="1385"/>
                  </a:lnTo>
                  <a:lnTo>
                    <a:pt x="656" y="1386"/>
                  </a:lnTo>
                  <a:lnTo>
                    <a:pt x="656" y="1386"/>
                  </a:lnTo>
                  <a:lnTo>
                    <a:pt x="656" y="1385"/>
                  </a:lnTo>
                  <a:lnTo>
                    <a:pt x="656" y="1386"/>
                  </a:lnTo>
                  <a:lnTo>
                    <a:pt x="656" y="1386"/>
                  </a:lnTo>
                  <a:lnTo>
                    <a:pt x="658" y="1388"/>
                  </a:lnTo>
                  <a:lnTo>
                    <a:pt x="658" y="1388"/>
                  </a:lnTo>
                  <a:lnTo>
                    <a:pt x="659" y="1390"/>
                  </a:lnTo>
                  <a:lnTo>
                    <a:pt x="659" y="1390"/>
                  </a:lnTo>
                  <a:lnTo>
                    <a:pt x="662" y="1390"/>
                  </a:lnTo>
                  <a:lnTo>
                    <a:pt x="662" y="1390"/>
                  </a:lnTo>
                  <a:lnTo>
                    <a:pt x="663" y="1390"/>
                  </a:lnTo>
                  <a:lnTo>
                    <a:pt x="663" y="1390"/>
                  </a:lnTo>
                  <a:lnTo>
                    <a:pt x="665" y="1389"/>
                  </a:lnTo>
                  <a:lnTo>
                    <a:pt x="665" y="1389"/>
                  </a:lnTo>
                  <a:lnTo>
                    <a:pt x="665" y="1388"/>
                  </a:lnTo>
                  <a:lnTo>
                    <a:pt x="665" y="1388"/>
                  </a:lnTo>
                  <a:lnTo>
                    <a:pt x="665" y="1383"/>
                  </a:lnTo>
                  <a:lnTo>
                    <a:pt x="665" y="1383"/>
                  </a:lnTo>
                  <a:lnTo>
                    <a:pt x="663" y="1383"/>
                  </a:lnTo>
                  <a:lnTo>
                    <a:pt x="663" y="1385"/>
                  </a:lnTo>
                  <a:lnTo>
                    <a:pt x="665" y="1383"/>
                  </a:lnTo>
                  <a:lnTo>
                    <a:pt x="663" y="1383"/>
                  </a:lnTo>
                  <a:lnTo>
                    <a:pt x="663" y="1385"/>
                  </a:lnTo>
                  <a:lnTo>
                    <a:pt x="663" y="1383"/>
                  </a:lnTo>
                  <a:lnTo>
                    <a:pt x="663" y="1385"/>
                  </a:lnTo>
                  <a:lnTo>
                    <a:pt x="663" y="1385"/>
                  </a:lnTo>
                  <a:lnTo>
                    <a:pt x="663" y="1383"/>
                  </a:lnTo>
                  <a:lnTo>
                    <a:pt x="663" y="1385"/>
                  </a:lnTo>
                  <a:lnTo>
                    <a:pt x="663" y="1385"/>
                  </a:lnTo>
                  <a:lnTo>
                    <a:pt x="665" y="1385"/>
                  </a:lnTo>
                  <a:lnTo>
                    <a:pt x="665" y="1385"/>
                  </a:lnTo>
                  <a:lnTo>
                    <a:pt x="669" y="1388"/>
                  </a:lnTo>
                  <a:lnTo>
                    <a:pt x="669" y="1388"/>
                  </a:lnTo>
                  <a:lnTo>
                    <a:pt x="673" y="1389"/>
                  </a:lnTo>
                  <a:lnTo>
                    <a:pt x="673" y="1389"/>
                  </a:lnTo>
                  <a:lnTo>
                    <a:pt x="675" y="1389"/>
                  </a:lnTo>
                  <a:lnTo>
                    <a:pt x="675" y="1389"/>
                  </a:lnTo>
                  <a:lnTo>
                    <a:pt x="678" y="1389"/>
                  </a:lnTo>
                  <a:lnTo>
                    <a:pt x="678" y="1389"/>
                  </a:lnTo>
                  <a:lnTo>
                    <a:pt x="678" y="1386"/>
                  </a:lnTo>
                  <a:lnTo>
                    <a:pt x="678" y="1386"/>
                  </a:lnTo>
                  <a:lnTo>
                    <a:pt x="678" y="1385"/>
                  </a:lnTo>
                  <a:lnTo>
                    <a:pt x="678" y="1385"/>
                  </a:lnTo>
                  <a:lnTo>
                    <a:pt x="676" y="1380"/>
                  </a:lnTo>
                  <a:lnTo>
                    <a:pt x="676" y="1380"/>
                  </a:lnTo>
                  <a:lnTo>
                    <a:pt x="675" y="1376"/>
                  </a:lnTo>
                  <a:lnTo>
                    <a:pt x="675" y="1376"/>
                  </a:lnTo>
                  <a:lnTo>
                    <a:pt x="673" y="1375"/>
                  </a:lnTo>
                  <a:lnTo>
                    <a:pt x="672" y="1373"/>
                  </a:lnTo>
                  <a:lnTo>
                    <a:pt x="672" y="1373"/>
                  </a:lnTo>
                  <a:lnTo>
                    <a:pt x="666" y="1372"/>
                  </a:lnTo>
                  <a:lnTo>
                    <a:pt x="666" y="1372"/>
                  </a:lnTo>
                  <a:lnTo>
                    <a:pt x="663" y="1369"/>
                  </a:lnTo>
                  <a:lnTo>
                    <a:pt x="663" y="1369"/>
                  </a:lnTo>
                  <a:lnTo>
                    <a:pt x="659" y="1362"/>
                  </a:lnTo>
                  <a:lnTo>
                    <a:pt x="659" y="1362"/>
                  </a:lnTo>
                  <a:lnTo>
                    <a:pt x="653" y="1353"/>
                  </a:lnTo>
                  <a:lnTo>
                    <a:pt x="653" y="1353"/>
                  </a:lnTo>
                  <a:lnTo>
                    <a:pt x="649" y="1346"/>
                  </a:lnTo>
                  <a:lnTo>
                    <a:pt x="647" y="1340"/>
                  </a:lnTo>
                  <a:lnTo>
                    <a:pt x="647" y="1340"/>
                  </a:lnTo>
                  <a:lnTo>
                    <a:pt x="647" y="1338"/>
                  </a:lnTo>
                  <a:lnTo>
                    <a:pt x="647" y="1337"/>
                  </a:lnTo>
                  <a:lnTo>
                    <a:pt x="647" y="1338"/>
                  </a:lnTo>
                  <a:lnTo>
                    <a:pt x="647" y="1338"/>
                  </a:lnTo>
                  <a:lnTo>
                    <a:pt x="647" y="1337"/>
                  </a:lnTo>
                  <a:lnTo>
                    <a:pt x="647" y="1338"/>
                  </a:lnTo>
                  <a:lnTo>
                    <a:pt x="647" y="1337"/>
                  </a:lnTo>
                  <a:lnTo>
                    <a:pt x="647" y="1338"/>
                  </a:lnTo>
                  <a:lnTo>
                    <a:pt x="647" y="1338"/>
                  </a:lnTo>
                  <a:lnTo>
                    <a:pt x="647" y="1337"/>
                  </a:lnTo>
                  <a:lnTo>
                    <a:pt x="647" y="1338"/>
                  </a:lnTo>
                  <a:lnTo>
                    <a:pt x="647" y="1338"/>
                  </a:lnTo>
                  <a:lnTo>
                    <a:pt x="649" y="1340"/>
                  </a:lnTo>
                  <a:lnTo>
                    <a:pt x="649" y="1340"/>
                  </a:lnTo>
                  <a:lnTo>
                    <a:pt x="652" y="1341"/>
                  </a:lnTo>
                  <a:lnTo>
                    <a:pt x="652" y="1341"/>
                  </a:lnTo>
                  <a:lnTo>
                    <a:pt x="656" y="1344"/>
                  </a:lnTo>
                  <a:lnTo>
                    <a:pt x="656" y="1344"/>
                  </a:lnTo>
                  <a:lnTo>
                    <a:pt x="658" y="1344"/>
                  </a:lnTo>
                  <a:lnTo>
                    <a:pt x="658" y="1344"/>
                  </a:lnTo>
                  <a:lnTo>
                    <a:pt x="662" y="1343"/>
                  </a:lnTo>
                  <a:lnTo>
                    <a:pt x="662" y="1343"/>
                  </a:lnTo>
                  <a:lnTo>
                    <a:pt x="663" y="1340"/>
                  </a:lnTo>
                  <a:lnTo>
                    <a:pt x="663" y="1340"/>
                  </a:lnTo>
                  <a:lnTo>
                    <a:pt x="663" y="1335"/>
                  </a:lnTo>
                  <a:lnTo>
                    <a:pt x="663" y="1335"/>
                  </a:lnTo>
                  <a:lnTo>
                    <a:pt x="663" y="1331"/>
                  </a:lnTo>
                  <a:lnTo>
                    <a:pt x="663" y="1331"/>
                  </a:lnTo>
                  <a:lnTo>
                    <a:pt x="663" y="1331"/>
                  </a:lnTo>
                  <a:lnTo>
                    <a:pt x="663" y="1331"/>
                  </a:lnTo>
                  <a:lnTo>
                    <a:pt x="663" y="1331"/>
                  </a:lnTo>
                  <a:lnTo>
                    <a:pt x="663" y="1333"/>
                  </a:lnTo>
                  <a:lnTo>
                    <a:pt x="663" y="1331"/>
                  </a:lnTo>
                  <a:lnTo>
                    <a:pt x="663" y="1331"/>
                  </a:lnTo>
                  <a:lnTo>
                    <a:pt x="663" y="1333"/>
                  </a:lnTo>
                  <a:lnTo>
                    <a:pt x="663" y="1331"/>
                  </a:lnTo>
                  <a:lnTo>
                    <a:pt x="663" y="1331"/>
                  </a:lnTo>
                  <a:lnTo>
                    <a:pt x="669" y="1331"/>
                  </a:lnTo>
                  <a:lnTo>
                    <a:pt x="669" y="1331"/>
                  </a:lnTo>
                  <a:lnTo>
                    <a:pt x="675" y="1331"/>
                  </a:lnTo>
                  <a:lnTo>
                    <a:pt x="675" y="1331"/>
                  </a:lnTo>
                  <a:lnTo>
                    <a:pt x="684" y="1330"/>
                  </a:lnTo>
                  <a:lnTo>
                    <a:pt x="684" y="1330"/>
                  </a:lnTo>
                  <a:lnTo>
                    <a:pt x="689" y="1328"/>
                  </a:lnTo>
                  <a:lnTo>
                    <a:pt x="691" y="1328"/>
                  </a:lnTo>
                  <a:lnTo>
                    <a:pt x="691" y="1328"/>
                  </a:lnTo>
                  <a:lnTo>
                    <a:pt x="697" y="1331"/>
                  </a:lnTo>
                  <a:lnTo>
                    <a:pt x="697" y="1331"/>
                  </a:lnTo>
                  <a:lnTo>
                    <a:pt x="701" y="1333"/>
                  </a:lnTo>
                  <a:lnTo>
                    <a:pt x="707" y="1334"/>
                  </a:lnTo>
                  <a:lnTo>
                    <a:pt x="707" y="1334"/>
                  </a:lnTo>
                  <a:lnTo>
                    <a:pt x="708" y="1334"/>
                  </a:lnTo>
                  <a:lnTo>
                    <a:pt x="708" y="1334"/>
                  </a:lnTo>
                  <a:lnTo>
                    <a:pt x="713" y="1334"/>
                  </a:lnTo>
                  <a:lnTo>
                    <a:pt x="715" y="1333"/>
                  </a:lnTo>
                  <a:lnTo>
                    <a:pt x="715" y="1333"/>
                  </a:lnTo>
                  <a:lnTo>
                    <a:pt x="720" y="1331"/>
                  </a:lnTo>
                  <a:lnTo>
                    <a:pt x="720" y="1331"/>
                  </a:lnTo>
                  <a:lnTo>
                    <a:pt x="721" y="1331"/>
                  </a:lnTo>
                  <a:lnTo>
                    <a:pt x="721" y="1331"/>
                  </a:lnTo>
                  <a:lnTo>
                    <a:pt x="726" y="1330"/>
                  </a:lnTo>
                  <a:lnTo>
                    <a:pt x="726" y="1330"/>
                  </a:lnTo>
                  <a:lnTo>
                    <a:pt x="733" y="1325"/>
                  </a:lnTo>
                  <a:lnTo>
                    <a:pt x="733" y="1325"/>
                  </a:lnTo>
                  <a:lnTo>
                    <a:pt x="739" y="1322"/>
                  </a:lnTo>
                  <a:lnTo>
                    <a:pt x="739" y="1322"/>
                  </a:lnTo>
                  <a:lnTo>
                    <a:pt x="739" y="1321"/>
                  </a:lnTo>
                  <a:lnTo>
                    <a:pt x="740" y="1321"/>
                  </a:lnTo>
                  <a:lnTo>
                    <a:pt x="740" y="1321"/>
                  </a:lnTo>
                  <a:lnTo>
                    <a:pt x="740" y="1318"/>
                  </a:lnTo>
                  <a:lnTo>
                    <a:pt x="740" y="1318"/>
                  </a:lnTo>
                  <a:lnTo>
                    <a:pt x="740" y="1317"/>
                  </a:lnTo>
                  <a:lnTo>
                    <a:pt x="740" y="1317"/>
                  </a:lnTo>
                  <a:lnTo>
                    <a:pt x="739" y="1315"/>
                  </a:lnTo>
                  <a:lnTo>
                    <a:pt x="739" y="1315"/>
                  </a:lnTo>
                  <a:lnTo>
                    <a:pt x="736" y="1314"/>
                  </a:lnTo>
                  <a:lnTo>
                    <a:pt x="736" y="1314"/>
                  </a:lnTo>
                  <a:lnTo>
                    <a:pt x="734" y="1314"/>
                  </a:lnTo>
                  <a:lnTo>
                    <a:pt x="734" y="1314"/>
                  </a:lnTo>
                  <a:lnTo>
                    <a:pt x="734" y="1312"/>
                  </a:lnTo>
                  <a:lnTo>
                    <a:pt x="734" y="1312"/>
                  </a:lnTo>
                  <a:lnTo>
                    <a:pt x="736" y="1304"/>
                  </a:lnTo>
                  <a:lnTo>
                    <a:pt x="736" y="1304"/>
                  </a:lnTo>
                  <a:lnTo>
                    <a:pt x="734" y="1299"/>
                  </a:lnTo>
                  <a:lnTo>
                    <a:pt x="734" y="1299"/>
                  </a:lnTo>
                  <a:lnTo>
                    <a:pt x="731" y="1293"/>
                  </a:lnTo>
                  <a:lnTo>
                    <a:pt x="728" y="1291"/>
                  </a:lnTo>
                  <a:lnTo>
                    <a:pt x="728" y="1291"/>
                  </a:lnTo>
                  <a:lnTo>
                    <a:pt x="727" y="1289"/>
                  </a:lnTo>
                  <a:lnTo>
                    <a:pt x="727" y="1289"/>
                  </a:lnTo>
                  <a:lnTo>
                    <a:pt x="726" y="1289"/>
                  </a:lnTo>
                  <a:lnTo>
                    <a:pt x="727" y="1288"/>
                  </a:lnTo>
                  <a:lnTo>
                    <a:pt x="727" y="1288"/>
                  </a:lnTo>
                  <a:lnTo>
                    <a:pt x="728" y="1283"/>
                  </a:lnTo>
                  <a:lnTo>
                    <a:pt x="728" y="1283"/>
                  </a:lnTo>
                  <a:lnTo>
                    <a:pt x="731" y="1280"/>
                  </a:lnTo>
                  <a:lnTo>
                    <a:pt x="731" y="1280"/>
                  </a:lnTo>
                  <a:lnTo>
                    <a:pt x="731" y="1277"/>
                  </a:lnTo>
                  <a:lnTo>
                    <a:pt x="731" y="1277"/>
                  </a:lnTo>
                  <a:lnTo>
                    <a:pt x="733" y="1275"/>
                  </a:lnTo>
                  <a:lnTo>
                    <a:pt x="733" y="1275"/>
                  </a:lnTo>
                  <a:lnTo>
                    <a:pt x="736" y="1270"/>
                  </a:lnTo>
                  <a:lnTo>
                    <a:pt x="736" y="1270"/>
                  </a:lnTo>
                  <a:lnTo>
                    <a:pt x="739" y="1267"/>
                  </a:lnTo>
                  <a:lnTo>
                    <a:pt x="739" y="1267"/>
                  </a:lnTo>
                  <a:lnTo>
                    <a:pt x="740" y="1259"/>
                  </a:lnTo>
                  <a:lnTo>
                    <a:pt x="740" y="1259"/>
                  </a:lnTo>
                  <a:lnTo>
                    <a:pt x="742" y="1251"/>
                  </a:lnTo>
                  <a:lnTo>
                    <a:pt x="742" y="1251"/>
                  </a:lnTo>
                  <a:lnTo>
                    <a:pt x="743" y="1249"/>
                  </a:lnTo>
                  <a:lnTo>
                    <a:pt x="744" y="1244"/>
                  </a:lnTo>
                  <a:lnTo>
                    <a:pt x="744" y="1244"/>
                  </a:lnTo>
                  <a:lnTo>
                    <a:pt x="749" y="1241"/>
                  </a:lnTo>
                  <a:lnTo>
                    <a:pt x="753" y="1238"/>
                  </a:lnTo>
                  <a:lnTo>
                    <a:pt x="753" y="1238"/>
                  </a:lnTo>
                  <a:lnTo>
                    <a:pt x="756" y="1237"/>
                  </a:lnTo>
                  <a:lnTo>
                    <a:pt x="759" y="1234"/>
                  </a:lnTo>
                  <a:lnTo>
                    <a:pt x="759" y="1234"/>
                  </a:lnTo>
                  <a:lnTo>
                    <a:pt x="760" y="1231"/>
                  </a:lnTo>
                  <a:lnTo>
                    <a:pt x="760" y="1228"/>
                  </a:lnTo>
                  <a:lnTo>
                    <a:pt x="760" y="1228"/>
                  </a:lnTo>
                  <a:lnTo>
                    <a:pt x="760" y="1224"/>
                  </a:lnTo>
                  <a:lnTo>
                    <a:pt x="760" y="1224"/>
                  </a:lnTo>
                  <a:lnTo>
                    <a:pt x="760" y="1224"/>
                  </a:lnTo>
                  <a:lnTo>
                    <a:pt x="760" y="1224"/>
                  </a:lnTo>
                  <a:lnTo>
                    <a:pt x="762" y="1220"/>
                  </a:lnTo>
                  <a:lnTo>
                    <a:pt x="762" y="1220"/>
                  </a:lnTo>
                  <a:lnTo>
                    <a:pt x="768" y="1215"/>
                  </a:lnTo>
                  <a:lnTo>
                    <a:pt x="768" y="1215"/>
                  </a:lnTo>
                  <a:lnTo>
                    <a:pt x="772" y="1207"/>
                  </a:lnTo>
                  <a:lnTo>
                    <a:pt x="776" y="1199"/>
                  </a:lnTo>
                  <a:lnTo>
                    <a:pt x="776" y="1198"/>
                  </a:lnTo>
                  <a:lnTo>
                    <a:pt x="776" y="1198"/>
                  </a:lnTo>
                  <a:lnTo>
                    <a:pt x="784" y="1196"/>
                  </a:lnTo>
                  <a:lnTo>
                    <a:pt x="784" y="1196"/>
                  </a:lnTo>
                  <a:lnTo>
                    <a:pt x="789" y="1198"/>
                  </a:lnTo>
                  <a:lnTo>
                    <a:pt x="789" y="1198"/>
                  </a:lnTo>
                  <a:lnTo>
                    <a:pt x="794" y="1198"/>
                  </a:lnTo>
                  <a:lnTo>
                    <a:pt x="794" y="1196"/>
                  </a:lnTo>
                  <a:lnTo>
                    <a:pt x="792" y="1198"/>
                  </a:lnTo>
                  <a:lnTo>
                    <a:pt x="794" y="1198"/>
                  </a:lnTo>
                  <a:lnTo>
                    <a:pt x="794" y="1196"/>
                  </a:lnTo>
                  <a:lnTo>
                    <a:pt x="792" y="1198"/>
                  </a:lnTo>
                  <a:lnTo>
                    <a:pt x="792" y="1196"/>
                  </a:lnTo>
                  <a:lnTo>
                    <a:pt x="792" y="1198"/>
                  </a:lnTo>
                  <a:lnTo>
                    <a:pt x="792" y="1198"/>
                  </a:lnTo>
                  <a:lnTo>
                    <a:pt x="792" y="1196"/>
                  </a:lnTo>
                  <a:lnTo>
                    <a:pt x="792" y="1198"/>
                  </a:lnTo>
                  <a:lnTo>
                    <a:pt x="792" y="1198"/>
                  </a:lnTo>
                  <a:lnTo>
                    <a:pt x="792" y="1198"/>
                  </a:lnTo>
                  <a:lnTo>
                    <a:pt x="794" y="1201"/>
                  </a:lnTo>
                  <a:lnTo>
                    <a:pt x="794" y="1201"/>
                  </a:lnTo>
                  <a:lnTo>
                    <a:pt x="795" y="1207"/>
                  </a:lnTo>
                  <a:lnTo>
                    <a:pt x="795" y="1207"/>
                  </a:lnTo>
                  <a:lnTo>
                    <a:pt x="798" y="1208"/>
                  </a:lnTo>
                  <a:lnTo>
                    <a:pt x="798" y="1208"/>
                  </a:lnTo>
                  <a:lnTo>
                    <a:pt x="801" y="1209"/>
                  </a:lnTo>
                  <a:lnTo>
                    <a:pt x="804" y="1209"/>
                  </a:lnTo>
                  <a:lnTo>
                    <a:pt x="804" y="1209"/>
                  </a:lnTo>
                  <a:lnTo>
                    <a:pt x="814" y="1209"/>
                  </a:lnTo>
                  <a:lnTo>
                    <a:pt x="814" y="1209"/>
                  </a:lnTo>
                  <a:lnTo>
                    <a:pt x="821" y="1208"/>
                  </a:lnTo>
                  <a:lnTo>
                    <a:pt x="821" y="1208"/>
                  </a:lnTo>
                  <a:lnTo>
                    <a:pt x="821" y="1208"/>
                  </a:lnTo>
                  <a:lnTo>
                    <a:pt x="821" y="1208"/>
                  </a:lnTo>
                  <a:lnTo>
                    <a:pt x="821" y="1208"/>
                  </a:lnTo>
                  <a:lnTo>
                    <a:pt x="821" y="1208"/>
                  </a:lnTo>
                  <a:lnTo>
                    <a:pt x="821" y="1208"/>
                  </a:lnTo>
                  <a:lnTo>
                    <a:pt x="821" y="1207"/>
                  </a:lnTo>
                  <a:lnTo>
                    <a:pt x="820" y="1208"/>
                  </a:lnTo>
                  <a:lnTo>
                    <a:pt x="821" y="1208"/>
                  </a:lnTo>
                  <a:lnTo>
                    <a:pt x="821" y="1207"/>
                  </a:lnTo>
                  <a:lnTo>
                    <a:pt x="820" y="1208"/>
                  </a:lnTo>
                  <a:lnTo>
                    <a:pt x="821" y="1207"/>
                  </a:lnTo>
                  <a:lnTo>
                    <a:pt x="820" y="1207"/>
                  </a:lnTo>
                  <a:lnTo>
                    <a:pt x="820" y="1208"/>
                  </a:lnTo>
                  <a:lnTo>
                    <a:pt x="821" y="1207"/>
                  </a:lnTo>
                  <a:lnTo>
                    <a:pt x="820" y="1207"/>
                  </a:lnTo>
                  <a:lnTo>
                    <a:pt x="821" y="1207"/>
                  </a:lnTo>
                  <a:lnTo>
                    <a:pt x="820" y="1205"/>
                  </a:lnTo>
                  <a:lnTo>
                    <a:pt x="820" y="1207"/>
                  </a:lnTo>
                  <a:lnTo>
                    <a:pt x="821" y="1207"/>
                  </a:lnTo>
                  <a:lnTo>
                    <a:pt x="820" y="1205"/>
                  </a:lnTo>
                  <a:lnTo>
                    <a:pt x="821" y="1207"/>
                  </a:lnTo>
                  <a:lnTo>
                    <a:pt x="820" y="1205"/>
                  </a:lnTo>
                  <a:lnTo>
                    <a:pt x="820" y="1205"/>
                  </a:lnTo>
                  <a:lnTo>
                    <a:pt x="821" y="1207"/>
                  </a:lnTo>
                  <a:lnTo>
                    <a:pt x="820" y="1205"/>
                  </a:lnTo>
                  <a:lnTo>
                    <a:pt x="820" y="1205"/>
                  </a:lnTo>
                  <a:lnTo>
                    <a:pt x="818" y="1207"/>
                  </a:lnTo>
                  <a:lnTo>
                    <a:pt x="818" y="1207"/>
                  </a:lnTo>
                  <a:lnTo>
                    <a:pt x="814" y="1211"/>
                  </a:lnTo>
                  <a:lnTo>
                    <a:pt x="807" y="1214"/>
                  </a:lnTo>
                  <a:lnTo>
                    <a:pt x="807" y="1214"/>
                  </a:lnTo>
                  <a:lnTo>
                    <a:pt x="801" y="1217"/>
                  </a:lnTo>
                  <a:lnTo>
                    <a:pt x="801" y="1217"/>
                  </a:lnTo>
                  <a:lnTo>
                    <a:pt x="799" y="1218"/>
                  </a:lnTo>
                  <a:lnTo>
                    <a:pt x="798" y="1221"/>
                  </a:lnTo>
                  <a:lnTo>
                    <a:pt x="798" y="1221"/>
                  </a:lnTo>
                  <a:lnTo>
                    <a:pt x="799" y="1224"/>
                  </a:lnTo>
                  <a:lnTo>
                    <a:pt x="799" y="1224"/>
                  </a:lnTo>
                  <a:lnTo>
                    <a:pt x="801" y="1227"/>
                  </a:lnTo>
                  <a:lnTo>
                    <a:pt x="801" y="1227"/>
                  </a:lnTo>
                  <a:lnTo>
                    <a:pt x="807" y="1233"/>
                  </a:lnTo>
                  <a:lnTo>
                    <a:pt x="807" y="1233"/>
                  </a:lnTo>
                  <a:lnTo>
                    <a:pt x="812" y="1241"/>
                  </a:lnTo>
                  <a:lnTo>
                    <a:pt x="812" y="1241"/>
                  </a:lnTo>
                  <a:lnTo>
                    <a:pt x="815" y="1244"/>
                  </a:lnTo>
                  <a:lnTo>
                    <a:pt x="820" y="1247"/>
                  </a:lnTo>
                  <a:lnTo>
                    <a:pt x="820" y="1247"/>
                  </a:lnTo>
                  <a:lnTo>
                    <a:pt x="823" y="1249"/>
                  </a:lnTo>
                  <a:lnTo>
                    <a:pt x="827" y="1250"/>
                  </a:lnTo>
                  <a:lnTo>
                    <a:pt x="827" y="1250"/>
                  </a:lnTo>
                  <a:lnTo>
                    <a:pt x="831" y="1249"/>
                  </a:lnTo>
                  <a:lnTo>
                    <a:pt x="831" y="1249"/>
                  </a:lnTo>
                  <a:lnTo>
                    <a:pt x="836" y="1244"/>
                  </a:lnTo>
                  <a:lnTo>
                    <a:pt x="836" y="1244"/>
                  </a:lnTo>
                  <a:lnTo>
                    <a:pt x="839" y="1241"/>
                  </a:lnTo>
                  <a:lnTo>
                    <a:pt x="839" y="1241"/>
                  </a:lnTo>
                  <a:lnTo>
                    <a:pt x="843" y="1238"/>
                  </a:lnTo>
                  <a:lnTo>
                    <a:pt x="843" y="1238"/>
                  </a:lnTo>
                  <a:lnTo>
                    <a:pt x="849" y="1235"/>
                  </a:lnTo>
                  <a:lnTo>
                    <a:pt x="849" y="1235"/>
                  </a:lnTo>
                  <a:lnTo>
                    <a:pt x="849" y="1235"/>
                  </a:lnTo>
                  <a:lnTo>
                    <a:pt x="849" y="1235"/>
                  </a:lnTo>
                  <a:lnTo>
                    <a:pt x="849" y="1235"/>
                  </a:lnTo>
                  <a:lnTo>
                    <a:pt x="849" y="1235"/>
                  </a:lnTo>
                  <a:lnTo>
                    <a:pt x="849" y="1235"/>
                  </a:lnTo>
                  <a:lnTo>
                    <a:pt x="847" y="1235"/>
                  </a:lnTo>
                  <a:lnTo>
                    <a:pt x="849" y="1235"/>
                  </a:lnTo>
                  <a:lnTo>
                    <a:pt x="849" y="1235"/>
                  </a:lnTo>
                  <a:lnTo>
                    <a:pt x="847" y="1235"/>
                  </a:lnTo>
                  <a:lnTo>
                    <a:pt x="849" y="1235"/>
                  </a:lnTo>
                  <a:lnTo>
                    <a:pt x="847" y="1235"/>
                  </a:lnTo>
                  <a:lnTo>
                    <a:pt x="847" y="1235"/>
                  </a:lnTo>
                  <a:lnTo>
                    <a:pt x="849" y="1235"/>
                  </a:lnTo>
                  <a:lnTo>
                    <a:pt x="847" y="1235"/>
                  </a:lnTo>
                  <a:lnTo>
                    <a:pt x="847" y="1235"/>
                  </a:lnTo>
                  <a:lnTo>
                    <a:pt x="850" y="1238"/>
                  </a:lnTo>
                  <a:lnTo>
                    <a:pt x="850" y="1238"/>
                  </a:lnTo>
                  <a:lnTo>
                    <a:pt x="852" y="1240"/>
                  </a:lnTo>
                  <a:lnTo>
                    <a:pt x="854" y="1241"/>
                  </a:lnTo>
                  <a:lnTo>
                    <a:pt x="854" y="1241"/>
                  </a:lnTo>
                  <a:lnTo>
                    <a:pt x="856" y="1241"/>
                  </a:lnTo>
                  <a:lnTo>
                    <a:pt x="856" y="1241"/>
                  </a:lnTo>
                  <a:lnTo>
                    <a:pt x="859" y="1241"/>
                  </a:lnTo>
                  <a:lnTo>
                    <a:pt x="859" y="1241"/>
                  </a:lnTo>
                  <a:lnTo>
                    <a:pt x="860" y="1241"/>
                  </a:lnTo>
                  <a:lnTo>
                    <a:pt x="860" y="1241"/>
                  </a:lnTo>
                  <a:lnTo>
                    <a:pt x="863" y="1241"/>
                  </a:lnTo>
                  <a:lnTo>
                    <a:pt x="863" y="1241"/>
                  </a:lnTo>
                  <a:lnTo>
                    <a:pt x="866" y="1243"/>
                  </a:lnTo>
                  <a:lnTo>
                    <a:pt x="866" y="1243"/>
                  </a:lnTo>
                  <a:lnTo>
                    <a:pt x="868" y="1241"/>
                  </a:lnTo>
                  <a:lnTo>
                    <a:pt x="868" y="1241"/>
                  </a:lnTo>
                  <a:lnTo>
                    <a:pt x="869" y="1238"/>
                  </a:lnTo>
                  <a:lnTo>
                    <a:pt x="869" y="1238"/>
                  </a:lnTo>
                  <a:lnTo>
                    <a:pt x="869" y="1237"/>
                  </a:lnTo>
                  <a:lnTo>
                    <a:pt x="869" y="1237"/>
                  </a:lnTo>
                  <a:lnTo>
                    <a:pt x="866" y="1230"/>
                  </a:lnTo>
                  <a:lnTo>
                    <a:pt x="866" y="1230"/>
                  </a:lnTo>
                  <a:lnTo>
                    <a:pt x="866" y="1227"/>
                  </a:lnTo>
                  <a:lnTo>
                    <a:pt x="866" y="1227"/>
                  </a:lnTo>
                  <a:lnTo>
                    <a:pt x="865" y="1225"/>
                  </a:lnTo>
                  <a:lnTo>
                    <a:pt x="865" y="1225"/>
                  </a:lnTo>
                  <a:lnTo>
                    <a:pt x="863" y="1224"/>
                  </a:lnTo>
                  <a:lnTo>
                    <a:pt x="863" y="1224"/>
                  </a:lnTo>
                  <a:lnTo>
                    <a:pt x="862" y="1222"/>
                  </a:lnTo>
                  <a:lnTo>
                    <a:pt x="862" y="1222"/>
                  </a:lnTo>
                  <a:lnTo>
                    <a:pt x="859" y="1220"/>
                  </a:lnTo>
                  <a:lnTo>
                    <a:pt x="859" y="1220"/>
                  </a:lnTo>
                  <a:lnTo>
                    <a:pt x="856" y="1218"/>
                  </a:lnTo>
                  <a:lnTo>
                    <a:pt x="856" y="1218"/>
                  </a:lnTo>
                  <a:lnTo>
                    <a:pt x="847" y="1220"/>
                  </a:lnTo>
                  <a:lnTo>
                    <a:pt x="847" y="1220"/>
                  </a:lnTo>
                  <a:lnTo>
                    <a:pt x="847" y="1220"/>
                  </a:lnTo>
                  <a:lnTo>
                    <a:pt x="846" y="1218"/>
                  </a:lnTo>
                  <a:lnTo>
                    <a:pt x="846" y="1218"/>
                  </a:lnTo>
                  <a:lnTo>
                    <a:pt x="844" y="1214"/>
                  </a:lnTo>
                  <a:lnTo>
                    <a:pt x="844" y="1214"/>
                  </a:lnTo>
                  <a:lnTo>
                    <a:pt x="843" y="1211"/>
                  </a:lnTo>
                  <a:lnTo>
                    <a:pt x="843" y="1211"/>
                  </a:lnTo>
                  <a:lnTo>
                    <a:pt x="840" y="1208"/>
                  </a:lnTo>
                  <a:lnTo>
                    <a:pt x="840" y="1208"/>
                  </a:lnTo>
                  <a:lnTo>
                    <a:pt x="840" y="1209"/>
                  </a:lnTo>
                  <a:lnTo>
                    <a:pt x="840" y="1209"/>
                  </a:lnTo>
                  <a:lnTo>
                    <a:pt x="840" y="1208"/>
                  </a:lnTo>
                  <a:lnTo>
                    <a:pt x="840" y="1209"/>
                  </a:lnTo>
                  <a:lnTo>
                    <a:pt x="840" y="1209"/>
                  </a:lnTo>
                  <a:lnTo>
                    <a:pt x="839" y="1209"/>
                  </a:lnTo>
                  <a:lnTo>
                    <a:pt x="840" y="1209"/>
                  </a:lnTo>
                  <a:lnTo>
                    <a:pt x="840" y="1209"/>
                  </a:lnTo>
                  <a:lnTo>
                    <a:pt x="839" y="1209"/>
                  </a:lnTo>
                  <a:lnTo>
                    <a:pt x="840" y="1209"/>
                  </a:lnTo>
                  <a:lnTo>
                    <a:pt x="840" y="1209"/>
                  </a:lnTo>
                  <a:lnTo>
                    <a:pt x="840" y="1209"/>
                  </a:lnTo>
                  <a:lnTo>
                    <a:pt x="840" y="1209"/>
                  </a:lnTo>
                  <a:lnTo>
                    <a:pt x="840" y="1209"/>
                  </a:lnTo>
                  <a:lnTo>
                    <a:pt x="840" y="1209"/>
                  </a:lnTo>
                  <a:lnTo>
                    <a:pt x="840" y="1209"/>
                  </a:lnTo>
                  <a:lnTo>
                    <a:pt x="840" y="1209"/>
                  </a:lnTo>
                  <a:lnTo>
                    <a:pt x="840" y="1209"/>
                  </a:lnTo>
                  <a:lnTo>
                    <a:pt x="840" y="1209"/>
                  </a:lnTo>
                  <a:lnTo>
                    <a:pt x="840" y="1209"/>
                  </a:lnTo>
                  <a:lnTo>
                    <a:pt x="843" y="1208"/>
                  </a:lnTo>
                  <a:lnTo>
                    <a:pt x="843" y="1208"/>
                  </a:lnTo>
                  <a:lnTo>
                    <a:pt x="846" y="1207"/>
                  </a:lnTo>
                  <a:lnTo>
                    <a:pt x="846" y="1207"/>
                  </a:lnTo>
                  <a:lnTo>
                    <a:pt x="852" y="1202"/>
                  </a:lnTo>
                  <a:lnTo>
                    <a:pt x="852" y="1202"/>
                  </a:lnTo>
                  <a:lnTo>
                    <a:pt x="857" y="1196"/>
                  </a:lnTo>
                  <a:lnTo>
                    <a:pt x="857" y="1196"/>
                  </a:lnTo>
                  <a:lnTo>
                    <a:pt x="862" y="1196"/>
                  </a:lnTo>
                  <a:lnTo>
                    <a:pt x="862" y="1196"/>
                  </a:lnTo>
                  <a:lnTo>
                    <a:pt x="868" y="1196"/>
                  </a:lnTo>
                  <a:lnTo>
                    <a:pt x="868" y="1196"/>
                  </a:lnTo>
                  <a:lnTo>
                    <a:pt x="870" y="1196"/>
                  </a:lnTo>
                  <a:lnTo>
                    <a:pt x="870" y="1196"/>
                  </a:lnTo>
                  <a:lnTo>
                    <a:pt x="875" y="1195"/>
                  </a:lnTo>
                  <a:lnTo>
                    <a:pt x="879" y="1192"/>
                  </a:lnTo>
                  <a:lnTo>
                    <a:pt x="879" y="1192"/>
                  </a:lnTo>
                  <a:lnTo>
                    <a:pt x="882" y="1191"/>
                  </a:lnTo>
                  <a:lnTo>
                    <a:pt x="885" y="1189"/>
                  </a:lnTo>
                  <a:lnTo>
                    <a:pt x="885" y="1189"/>
                  </a:lnTo>
                  <a:lnTo>
                    <a:pt x="895" y="1188"/>
                  </a:lnTo>
                  <a:lnTo>
                    <a:pt x="895" y="1188"/>
                  </a:lnTo>
                  <a:lnTo>
                    <a:pt x="904" y="1185"/>
                  </a:lnTo>
                  <a:lnTo>
                    <a:pt x="904" y="1185"/>
                  </a:lnTo>
                  <a:lnTo>
                    <a:pt x="907" y="1185"/>
                  </a:lnTo>
                  <a:lnTo>
                    <a:pt x="907" y="1185"/>
                  </a:lnTo>
                  <a:lnTo>
                    <a:pt x="908" y="1185"/>
                  </a:lnTo>
                  <a:lnTo>
                    <a:pt x="908" y="1185"/>
                  </a:lnTo>
                  <a:lnTo>
                    <a:pt x="910" y="1185"/>
                  </a:lnTo>
                  <a:lnTo>
                    <a:pt x="908" y="1185"/>
                  </a:lnTo>
                  <a:lnTo>
                    <a:pt x="908" y="1185"/>
                  </a:lnTo>
                  <a:lnTo>
                    <a:pt x="910" y="1185"/>
                  </a:lnTo>
                  <a:lnTo>
                    <a:pt x="908" y="1185"/>
                  </a:lnTo>
                  <a:lnTo>
                    <a:pt x="910" y="1185"/>
                  </a:lnTo>
                  <a:lnTo>
                    <a:pt x="908" y="1185"/>
                  </a:lnTo>
                  <a:lnTo>
                    <a:pt x="908" y="1185"/>
                  </a:lnTo>
                  <a:lnTo>
                    <a:pt x="910" y="1185"/>
                  </a:lnTo>
                  <a:lnTo>
                    <a:pt x="908" y="1185"/>
                  </a:lnTo>
                  <a:lnTo>
                    <a:pt x="910" y="1185"/>
                  </a:lnTo>
                  <a:lnTo>
                    <a:pt x="908" y="1183"/>
                  </a:lnTo>
                  <a:lnTo>
                    <a:pt x="908" y="1185"/>
                  </a:lnTo>
                  <a:lnTo>
                    <a:pt x="910" y="1185"/>
                  </a:lnTo>
                  <a:lnTo>
                    <a:pt x="908" y="1183"/>
                  </a:lnTo>
                  <a:lnTo>
                    <a:pt x="910" y="1185"/>
                  </a:lnTo>
                  <a:lnTo>
                    <a:pt x="908" y="1183"/>
                  </a:lnTo>
                  <a:lnTo>
                    <a:pt x="908" y="1183"/>
                  </a:lnTo>
                  <a:lnTo>
                    <a:pt x="910" y="1185"/>
                  </a:lnTo>
                  <a:lnTo>
                    <a:pt x="908" y="1183"/>
                  </a:lnTo>
                  <a:lnTo>
                    <a:pt x="908" y="1183"/>
                  </a:lnTo>
                  <a:lnTo>
                    <a:pt x="908" y="1183"/>
                  </a:lnTo>
                  <a:lnTo>
                    <a:pt x="907" y="1186"/>
                  </a:lnTo>
                  <a:lnTo>
                    <a:pt x="907" y="1186"/>
                  </a:lnTo>
                  <a:lnTo>
                    <a:pt x="894" y="1193"/>
                  </a:lnTo>
                  <a:lnTo>
                    <a:pt x="894" y="1193"/>
                  </a:lnTo>
                  <a:lnTo>
                    <a:pt x="889" y="1195"/>
                  </a:lnTo>
                  <a:lnTo>
                    <a:pt x="889" y="1195"/>
                  </a:lnTo>
                  <a:lnTo>
                    <a:pt x="886" y="1198"/>
                  </a:lnTo>
                  <a:lnTo>
                    <a:pt x="886" y="1198"/>
                  </a:lnTo>
                  <a:lnTo>
                    <a:pt x="885" y="1202"/>
                  </a:lnTo>
                  <a:lnTo>
                    <a:pt x="885" y="1202"/>
                  </a:lnTo>
                  <a:lnTo>
                    <a:pt x="885" y="1204"/>
                  </a:lnTo>
                  <a:lnTo>
                    <a:pt x="885" y="1204"/>
                  </a:lnTo>
                  <a:lnTo>
                    <a:pt x="885" y="1208"/>
                  </a:lnTo>
                  <a:lnTo>
                    <a:pt x="885" y="1208"/>
                  </a:lnTo>
                  <a:lnTo>
                    <a:pt x="883" y="1218"/>
                  </a:lnTo>
                  <a:lnTo>
                    <a:pt x="883" y="1218"/>
                  </a:lnTo>
                  <a:lnTo>
                    <a:pt x="882" y="1222"/>
                  </a:lnTo>
                  <a:lnTo>
                    <a:pt x="882" y="1222"/>
                  </a:lnTo>
                  <a:lnTo>
                    <a:pt x="881" y="1224"/>
                  </a:lnTo>
                  <a:lnTo>
                    <a:pt x="881" y="1224"/>
                  </a:lnTo>
                  <a:lnTo>
                    <a:pt x="878" y="1225"/>
                  </a:lnTo>
                  <a:lnTo>
                    <a:pt x="878" y="1225"/>
                  </a:lnTo>
                  <a:lnTo>
                    <a:pt x="876" y="1227"/>
                  </a:lnTo>
                  <a:lnTo>
                    <a:pt x="876" y="1227"/>
                  </a:lnTo>
                  <a:lnTo>
                    <a:pt x="870" y="1227"/>
                  </a:lnTo>
                  <a:lnTo>
                    <a:pt x="870" y="1227"/>
                  </a:lnTo>
                  <a:lnTo>
                    <a:pt x="869" y="1228"/>
                  </a:lnTo>
                  <a:lnTo>
                    <a:pt x="869" y="1228"/>
                  </a:lnTo>
                  <a:lnTo>
                    <a:pt x="868" y="1231"/>
                  </a:lnTo>
                  <a:lnTo>
                    <a:pt x="868" y="1231"/>
                  </a:lnTo>
                  <a:lnTo>
                    <a:pt x="869" y="1233"/>
                  </a:lnTo>
                  <a:lnTo>
                    <a:pt x="870" y="1234"/>
                  </a:lnTo>
                  <a:lnTo>
                    <a:pt x="870" y="1234"/>
                  </a:lnTo>
                  <a:lnTo>
                    <a:pt x="875" y="1238"/>
                  </a:lnTo>
                  <a:lnTo>
                    <a:pt x="875" y="1238"/>
                  </a:lnTo>
                  <a:lnTo>
                    <a:pt x="881" y="1243"/>
                  </a:lnTo>
                  <a:lnTo>
                    <a:pt x="881" y="1243"/>
                  </a:lnTo>
                  <a:lnTo>
                    <a:pt x="886" y="1246"/>
                  </a:lnTo>
                  <a:lnTo>
                    <a:pt x="891" y="1247"/>
                  </a:lnTo>
                  <a:lnTo>
                    <a:pt x="891" y="1247"/>
                  </a:lnTo>
                  <a:lnTo>
                    <a:pt x="895" y="1247"/>
                  </a:lnTo>
                  <a:lnTo>
                    <a:pt x="898" y="1249"/>
                  </a:lnTo>
                  <a:lnTo>
                    <a:pt x="898" y="1249"/>
                  </a:lnTo>
                  <a:lnTo>
                    <a:pt x="902" y="1251"/>
                  </a:lnTo>
                  <a:lnTo>
                    <a:pt x="902" y="1251"/>
                  </a:lnTo>
                  <a:lnTo>
                    <a:pt x="911" y="1263"/>
                  </a:lnTo>
                  <a:lnTo>
                    <a:pt x="918" y="1272"/>
                  </a:lnTo>
                  <a:lnTo>
                    <a:pt x="918" y="1272"/>
                  </a:lnTo>
                  <a:lnTo>
                    <a:pt x="923" y="1276"/>
                  </a:lnTo>
                  <a:lnTo>
                    <a:pt x="923" y="1276"/>
                  </a:lnTo>
                  <a:lnTo>
                    <a:pt x="925" y="1277"/>
                  </a:lnTo>
                  <a:lnTo>
                    <a:pt x="928" y="1279"/>
                  </a:lnTo>
                  <a:lnTo>
                    <a:pt x="928" y="1279"/>
                  </a:lnTo>
                  <a:lnTo>
                    <a:pt x="936" y="1279"/>
                  </a:lnTo>
                  <a:lnTo>
                    <a:pt x="936" y="1279"/>
                  </a:lnTo>
                  <a:lnTo>
                    <a:pt x="939" y="1280"/>
                  </a:lnTo>
                  <a:lnTo>
                    <a:pt x="940" y="1280"/>
                  </a:lnTo>
                  <a:lnTo>
                    <a:pt x="940" y="1280"/>
                  </a:lnTo>
                  <a:lnTo>
                    <a:pt x="940" y="1283"/>
                  </a:lnTo>
                  <a:lnTo>
                    <a:pt x="940" y="1283"/>
                  </a:lnTo>
                  <a:lnTo>
                    <a:pt x="943" y="1289"/>
                  </a:lnTo>
                  <a:lnTo>
                    <a:pt x="943" y="1289"/>
                  </a:lnTo>
                  <a:lnTo>
                    <a:pt x="947" y="1299"/>
                  </a:lnTo>
                  <a:lnTo>
                    <a:pt x="947" y="1299"/>
                  </a:lnTo>
                  <a:lnTo>
                    <a:pt x="949" y="1302"/>
                  </a:lnTo>
                  <a:lnTo>
                    <a:pt x="949" y="1305"/>
                  </a:lnTo>
                  <a:lnTo>
                    <a:pt x="949" y="1306"/>
                  </a:lnTo>
                  <a:lnTo>
                    <a:pt x="949" y="1306"/>
                  </a:lnTo>
                  <a:lnTo>
                    <a:pt x="947" y="1309"/>
                  </a:lnTo>
                  <a:lnTo>
                    <a:pt x="947" y="1309"/>
                  </a:lnTo>
                  <a:lnTo>
                    <a:pt x="944" y="1312"/>
                  </a:lnTo>
                  <a:lnTo>
                    <a:pt x="940" y="1315"/>
                  </a:lnTo>
                  <a:lnTo>
                    <a:pt x="928" y="1319"/>
                  </a:lnTo>
                  <a:lnTo>
                    <a:pt x="928" y="1319"/>
                  </a:lnTo>
                  <a:lnTo>
                    <a:pt x="923" y="1321"/>
                  </a:lnTo>
                  <a:lnTo>
                    <a:pt x="923" y="1321"/>
                  </a:lnTo>
                  <a:lnTo>
                    <a:pt x="920" y="1321"/>
                  </a:lnTo>
                  <a:lnTo>
                    <a:pt x="920" y="1321"/>
                  </a:lnTo>
                  <a:lnTo>
                    <a:pt x="917" y="1319"/>
                  </a:lnTo>
                  <a:lnTo>
                    <a:pt x="917" y="1319"/>
                  </a:lnTo>
                  <a:lnTo>
                    <a:pt x="914" y="1321"/>
                  </a:lnTo>
                  <a:lnTo>
                    <a:pt x="914" y="1321"/>
                  </a:lnTo>
                  <a:lnTo>
                    <a:pt x="907" y="1322"/>
                  </a:lnTo>
                  <a:lnTo>
                    <a:pt x="899" y="1322"/>
                  </a:lnTo>
                  <a:lnTo>
                    <a:pt x="899" y="1322"/>
                  </a:lnTo>
                  <a:lnTo>
                    <a:pt x="896" y="1322"/>
                  </a:lnTo>
                  <a:lnTo>
                    <a:pt x="896" y="1322"/>
                  </a:lnTo>
                  <a:lnTo>
                    <a:pt x="889" y="1321"/>
                  </a:lnTo>
                  <a:lnTo>
                    <a:pt x="881" y="1318"/>
                  </a:lnTo>
                  <a:lnTo>
                    <a:pt x="881" y="1318"/>
                  </a:lnTo>
                  <a:lnTo>
                    <a:pt x="868" y="1314"/>
                  </a:lnTo>
                  <a:lnTo>
                    <a:pt x="868" y="1314"/>
                  </a:lnTo>
                  <a:lnTo>
                    <a:pt x="865" y="1311"/>
                  </a:lnTo>
                  <a:lnTo>
                    <a:pt x="862" y="1308"/>
                  </a:lnTo>
                  <a:lnTo>
                    <a:pt x="862" y="1308"/>
                  </a:lnTo>
                  <a:lnTo>
                    <a:pt x="857" y="1305"/>
                  </a:lnTo>
                  <a:lnTo>
                    <a:pt x="852" y="1304"/>
                  </a:lnTo>
                  <a:lnTo>
                    <a:pt x="852" y="1304"/>
                  </a:lnTo>
                  <a:lnTo>
                    <a:pt x="844" y="1304"/>
                  </a:lnTo>
                  <a:lnTo>
                    <a:pt x="839" y="1301"/>
                  </a:lnTo>
                  <a:lnTo>
                    <a:pt x="839" y="1301"/>
                  </a:lnTo>
                  <a:lnTo>
                    <a:pt x="830" y="1299"/>
                  </a:lnTo>
                  <a:lnTo>
                    <a:pt x="818" y="1298"/>
                  </a:lnTo>
                  <a:lnTo>
                    <a:pt x="818" y="1298"/>
                  </a:lnTo>
                  <a:lnTo>
                    <a:pt x="815" y="1298"/>
                  </a:lnTo>
                  <a:lnTo>
                    <a:pt x="815" y="1298"/>
                  </a:lnTo>
                  <a:lnTo>
                    <a:pt x="807" y="1299"/>
                  </a:lnTo>
                  <a:lnTo>
                    <a:pt x="799" y="1302"/>
                  </a:lnTo>
                  <a:lnTo>
                    <a:pt x="799" y="1302"/>
                  </a:lnTo>
                  <a:lnTo>
                    <a:pt x="792" y="1305"/>
                  </a:lnTo>
                  <a:lnTo>
                    <a:pt x="786" y="1311"/>
                  </a:lnTo>
                  <a:lnTo>
                    <a:pt x="786" y="1311"/>
                  </a:lnTo>
                  <a:lnTo>
                    <a:pt x="781" y="1314"/>
                  </a:lnTo>
                  <a:lnTo>
                    <a:pt x="776" y="1315"/>
                  </a:lnTo>
                  <a:lnTo>
                    <a:pt x="765" y="1317"/>
                  </a:lnTo>
                  <a:lnTo>
                    <a:pt x="765" y="1317"/>
                  </a:lnTo>
                  <a:lnTo>
                    <a:pt x="752" y="1315"/>
                  </a:lnTo>
                  <a:lnTo>
                    <a:pt x="752" y="1315"/>
                  </a:lnTo>
                  <a:lnTo>
                    <a:pt x="747" y="1317"/>
                  </a:lnTo>
                  <a:lnTo>
                    <a:pt x="747" y="1317"/>
                  </a:lnTo>
                  <a:lnTo>
                    <a:pt x="746" y="1318"/>
                  </a:lnTo>
                  <a:lnTo>
                    <a:pt x="746" y="1318"/>
                  </a:lnTo>
                  <a:lnTo>
                    <a:pt x="746" y="1319"/>
                  </a:lnTo>
                  <a:lnTo>
                    <a:pt x="746" y="1319"/>
                  </a:lnTo>
                  <a:lnTo>
                    <a:pt x="746" y="1322"/>
                  </a:lnTo>
                  <a:lnTo>
                    <a:pt x="746" y="1322"/>
                  </a:lnTo>
                  <a:lnTo>
                    <a:pt x="750" y="1328"/>
                  </a:lnTo>
                  <a:lnTo>
                    <a:pt x="752" y="1330"/>
                  </a:lnTo>
                  <a:lnTo>
                    <a:pt x="752" y="1330"/>
                  </a:lnTo>
                  <a:lnTo>
                    <a:pt x="753" y="1328"/>
                  </a:lnTo>
                  <a:lnTo>
                    <a:pt x="752" y="1328"/>
                  </a:lnTo>
                  <a:lnTo>
                    <a:pt x="752" y="1328"/>
                  </a:lnTo>
                  <a:lnTo>
                    <a:pt x="752" y="1330"/>
                  </a:lnTo>
                  <a:lnTo>
                    <a:pt x="753" y="1328"/>
                  </a:lnTo>
                  <a:lnTo>
                    <a:pt x="752" y="1328"/>
                  </a:lnTo>
                  <a:lnTo>
                    <a:pt x="753" y="1328"/>
                  </a:lnTo>
                  <a:lnTo>
                    <a:pt x="752" y="1327"/>
                  </a:lnTo>
                  <a:lnTo>
                    <a:pt x="752" y="1328"/>
                  </a:lnTo>
                  <a:lnTo>
                    <a:pt x="753" y="1328"/>
                  </a:lnTo>
                  <a:lnTo>
                    <a:pt x="752" y="1327"/>
                  </a:lnTo>
                  <a:lnTo>
                    <a:pt x="753" y="1328"/>
                  </a:lnTo>
                  <a:lnTo>
                    <a:pt x="753" y="1327"/>
                  </a:lnTo>
                  <a:lnTo>
                    <a:pt x="753" y="1327"/>
                  </a:lnTo>
                  <a:lnTo>
                    <a:pt x="752" y="1327"/>
                  </a:lnTo>
                  <a:lnTo>
                    <a:pt x="753" y="1328"/>
                  </a:lnTo>
                  <a:lnTo>
                    <a:pt x="753" y="1327"/>
                  </a:lnTo>
                  <a:lnTo>
                    <a:pt x="753" y="1327"/>
                  </a:lnTo>
                  <a:lnTo>
                    <a:pt x="752" y="1327"/>
                  </a:lnTo>
                  <a:lnTo>
                    <a:pt x="752" y="1327"/>
                  </a:lnTo>
                  <a:lnTo>
                    <a:pt x="750" y="1327"/>
                  </a:lnTo>
                  <a:lnTo>
                    <a:pt x="750" y="1327"/>
                  </a:lnTo>
                  <a:lnTo>
                    <a:pt x="744" y="1328"/>
                  </a:lnTo>
                  <a:lnTo>
                    <a:pt x="744" y="1328"/>
                  </a:lnTo>
                  <a:lnTo>
                    <a:pt x="743" y="1330"/>
                  </a:lnTo>
                  <a:lnTo>
                    <a:pt x="743" y="1330"/>
                  </a:lnTo>
                  <a:lnTo>
                    <a:pt x="742" y="1330"/>
                  </a:lnTo>
                  <a:lnTo>
                    <a:pt x="742" y="1330"/>
                  </a:lnTo>
                  <a:lnTo>
                    <a:pt x="742" y="1331"/>
                  </a:lnTo>
                  <a:lnTo>
                    <a:pt x="742" y="1331"/>
                  </a:lnTo>
                  <a:lnTo>
                    <a:pt x="742" y="1334"/>
                  </a:lnTo>
                  <a:lnTo>
                    <a:pt x="742" y="1334"/>
                  </a:lnTo>
                  <a:lnTo>
                    <a:pt x="743" y="1333"/>
                  </a:lnTo>
                  <a:lnTo>
                    <a:pt x="742" y="1333"/>
                  </a:lnTo>
                  <a:lnTo>
                    <a:pt x="742" y="1334"/>
                  </a:lnTo>
                  <a:lnTo>
                    <a:pt x="743" y="1333"/>
                  </a:lnTo>
                  <a:lnTo>
                    <a:pt x="742" y="1333"/>
                  </a:lnTo>
                  <a:lnTo>
                    <a:pt x="743" y="1333"/>
                  </a:lnTo>
                  <a:lnTo>
                    <a:pt x="742" y="1333"/>
                  </a:lnTo>
                  <a:lnTo>
                    <a:pt x="742" y="1333"/>
                  </a:lnTo>
                  <a:lnTo>
                    <a:pt x="743" y="1333"/>
                  </a:lnTo>
                  <a:lnTo>
                    <a:pt x="742" y="1333"/>
                  </a:lnTo>
                  <a:lnTo>
                    <a:pt x="742" y="1333"/>
                  </a:lnTo>
                  <a:lnTo>
                    <a:pt x="742" y="1333"/>
                  </a:lnTo>
                  <a:lnTo>
                    <a:pt x="742" y="1333"/>
                  </a:lnTo>
                  <a:lnTo>
                    <a:pt x="742" y="1333"/>
                  </a:lnTo>
                  <a:lnTo>
                    <a:pt x="742" y="1333"/>
                  </a:lnTo>
                  <a:lnTo>
                    <a:pt x="742" y="1333"/>
                  </a:lnTo>
                  <a:lnTo>
                    <a:pt x="742" y="1333"/>
                  </a:lnTo>
                  <a:lnTo>
                    <a:pt x="742" y="1333"/>
                  </a:lnTo>
                  <a:lnTo>
                    <a:pt x="742" y="1333"/>
                  </a:lnTo>
                  <a:lnTo>
                    <a:pt x="742" y="1333"/>
                  </a:lnTo>
                  <a:lnTo>
                    <a:pt x="742" y="1333"/>
                  </a:lnTo>
                  <a:lnTo>
                    <a:pt x="742" y="1333"/>
                  </a:lnTo>
                  <a:lnTo>
                    <a:pt x="739" y="1334"/>
                  </a:lnTo>
                  <a:lnTo>
                    <a:pt x="739" y="1334"/>
                  </a:lnTo>
                  <a:lnTo>
                    <a:pt x="731" y="1334"/>
                  </a:lnTo>
                  <a:lnTo>
                    <a:pt x="731" y="1334"/>
                  </a:lnTo>
                  <a:lnTo>
                    <a:pt x="718" y="1334"/>
                  </a:lnTo>
                  <a:lnTo>
                    <a:pt x="718" y="1334"/>
                  </a:lnTo>
                  <a:lnTo>
                    <a:pt x="715" y="1334"/>
                  </a:lnTo>
                  <a:lnTo>
                    <a:pt x="715" y="1334"/>
                  </a:lnTo>
                  <a:lnTo>
                    <a:pt x="711" y="1335"/>
                  </a:lnTo>
                  <a:lnTo>
                    <a:pt x="708" y="1338"/>
                  </a:lnTo>
                  <a:lnTo>
                    <a:pt x="708" y="1338"/>
                  </a:lnTo>
                  <a:lnTo>
                    <a:pt x="704" y="1346"/>
                  </a:lnTo>
                  <a:lnTo>
                    <a:pt x="704" y="1346"/>
                  </a:lnTo>
                  <a:lnTo>
                    <a:pt x="702" y="1350"/>
                  </a:lnTo>
                  <a:lnTo>
                    <a:pt x="702" y="1350"/>
                  </a:lnTo>
                  <a:lnTo>
                    <a:pt x="704" y="1356"/>
                  </a:lnTo>
                  <a:lnTo>
                    <a:pt x="707" y="1362"/>
                  </a:lnTo>
                  <a:lnTo>
                    <a:pt x="707" y="1362"/>
                  </a:lnTo>
                  <a:lnTo>
                    <a:pt x="708" y="1364"/>
                  </a:lnTo>
                  <a:lnTo>
                    <a:pt x="708" y="1367"/>
                  </a:lnTo>
                  <a:lnTo>
                    <a:pt x="708" y="1367"/>
                  </a:lnTo>
                  <a:lnTo>
                    <a:pt x="708" y="1369"/>
                  </a:lnTo>
                  <a:lnTo>
                    <a:pt x="707" y="1370"/>
                  </a:lnTo>
                  <a:lnTo>
                    <a:pt x="707" y="1370"/>
                  </a:lnTo>
                  <a:lnTo>
                    <a:pt x="704" y="1372"/>
                  </a:lnTo>
                  <a:lnTo>
                    <a:pt x="704" y="1372"/>
                  </a:lnTo>
                  <a:lnTo>
                    <a:pt x="695" y="1370"/>
                  </a:lnTo>
                  <a:lnTo>
                    <a:pt x="695" y="1370"/>
                  </a:lnTo>
                  <a:lnTo>
                    <a:pt x="694" y="1372"/>
                  </a:lnTo>
                  <a:lnTo>
                    <a:pt x="694" y="1372"/>
                  </a:lnTo>
                  <a:lnTo>
                    <a:pt x="692" y="1372"/>
                  </a:lnTo>
                  <a:lnTo>
                    <a:pt x="692" y="1372"/>
                  </a:lnTo>
                  <a:lnTo>
                    <a:pt x="691" y="1373"/>
                  </a:lnTo>
                  <a:lnTo>
                    <a:pt x="691" y="1373"/>
                  </a:lnTo>
                  <a:lnTo>
                    <a:pt x="692" y="1376"/>
                  </a:lnTo>
                  <a:lnTo>
                    <a:pt x="692" y="1376"/>
                  </a:lnTo>
                  <a:lnTo>
                    <a:pt x="695" y="1379"/>
                  </a:lnTo>
                  <a:lnTo>
                    <a:pt x="695" y="1379"/>
                  </a:lnTo>
                  <a:lnTo>
                    <a:pt x="700" y="1382"/>
                  </a:lnTo>
                  <a:lnTo>
                    <a:pt x="700" y="1382"/>
                  </a:lnTo>
                  <a:lnTo>
                    <a:pt x="704" y="1385"/>
                  </a:lnTo>
                  <a:lnTo>
                    <a:pt x="707" y="1385"/>
                  </a:lnTo>
                  <a:lnTo>
                    <a:pt x="707" y="1385"/>
                  </a:lnTo>
                  <a:lnTo>
                    <a:pt x="711" y="1385"/>
                  </a:lnTo>
                  <a:lnTo>
                    <a:pt x="711" y="1385"/>
                  </a:lnTo>
                  <a:lnTo>
                    <a:pt x="714" y="1383"/>
                  </a:lnTo>
                  <a:lnTo>
                    <a:pt x="714" y="1383"/>
                  </a:lnTo>
                  <a:lnTo>
                    <a:pt x="714" y="1383"/>
                  </a:lnTo>
                  <a:lnTo>
                    <a:pt x="714" y="1383"/>
                  </a:lnTo>
                  <a:lnTo>
                    <a:pt x="714" y="1383"/>
                  </a:lnTo>
                  <a:lnTo>
                    <a:pt x="714" y="1383"/>
                  </a:lnTo>
                  <a:lnTo>
                    <a:pt x="714" y="1383"/>
                  </a:lnTo>
                  <a:lnTo>
                    <a:pt x="714" y="1383"/>
                  </a:lnTo>
                  <a:lnTo>
                    <a:pt x="714" y="1383"/>
                  </a:lnTo>
                  <a:lnTo>
                    <a:pt x="714" y="1383"/>
                  </a:lnTo>
                  <a:lnTo>
                    <a:pt x="714" y="1383"/>
                  </a:lnTo>
                  <a:lnTo>
                    <a:pt x="714" y="1383"/>
                  </a:lnTo>
                  <a:lnTo>
                    <a:pt x="714" y="1383"/>
                  </a:lnTo>
                  <a:lnTo>
                    <a:pt x="714" y="1383"/>
                  </a:lnTo>
                  <a:lnTo>
                    <a:pt x="714" y="1383"/>
                  </a:lnTo>
                  <a:lnTo>
                    <a:pt x="714" y="1383"/>
                  </a:lnTo>
                  <a:lnTo>
                    <a:pt x="713" y="1386"/>
                  </a:lnTo>
                  <a:lnTo>
                    <a:pt x="713" y="1386"/>
                  </a:lnTo>
                  <a:lnTo>
                    <a:pt x="711" y="1390"/>
                  </a:lnTo>
                  <a:lnTo>
                    <a:pt x="711" y="1390"/>
                  </a:lnTo>
                  <a:lnTo>
                    <a:pt x="713" y="1395"/>
                  </a:lnTo>
                  <a:lnTo>
                    <a:pt x="715" y="1399"/>
                  </a:lnTo>
                  <a:lnTo>
                    <a:pt x="715" y="1399"/>
                  </a:lnTo>
                  <a:lnTo>
                    <a:pt x="718" y="1402"/>
                  </a:lnTo>
                  <a:lnTo>
                    <a:pt x="718" y="1402"/>
                  </a:lnTo>
                  <a:lnTo>
                    <a:pt x="720" y="1405"/>
                  </a:lnTo>
                  <a:lnTo>
                    <a:pt x="724" y="1406"/>
                  </a:lnTo>
                  <a:lnTo>
                    <a:pt x="724" y="1406"/>
                  </a:lnTo>
                  <a:lnTo>
                    <a:pt x="736" y="1411"/>
                  </a:lnTo>
                  <a:lnTo>
                    <a:pt x="736" y="1411"/>
                  </a:lnTo>
                  <a:lnTo>
                    <a:pt x="743" y="1414"/>
                  </a:lnTo>
                  <a:lnTo>
                    <a:pt x="743" y="1414"/>
                  </a:lnTo>
                  <a:lnTo>
                    <a:pt x="749" y="1418"/>
                  </a:lnTo>
                  <a:lnTo>
                    <a:pt x="749" y="1418"/>
                  </a:lnTo>
                  <a:lnTo>
                    <a:pt x="753" y="1421"/>
                  </a:lnTo>
                  <a:lnTo>
                    <a:pt x="757" y="1422"/>
                  </a:lnTo>
                  <a:lnTo>
                    <a:pt x="766" y="1424"/>
                  </a:lnTo>
                  <a:lnTo>
                    <a:pt x="766" y="1424"/>
                  </a:lnTo>
                  <a:lnTo>
                    <a:pt x="769" y="1424"/>
                  </a:lnTo>
                  <a:lnTo>
                    <a:pt x="772" y="1422"/>
                  </a:lnTo>
                  <a:lnTo>
                    <a:pt x="772" y="1422"/>
                  </a:lnTo>
                  <a:lnTo>
                    <a:pt x="773" y="1419"/>
                  </a:lnTo>
                  <a:lnTo>
                    <a:pt x="775" y="1417"/>
                  </a:lnTo>
                  <a:lnTo>
                    <a:pt x="775" y="1417"/>
                  </a:lnTo>
                  <a:lnTo>
                    <a:pt x="775" y="1412"/>
                  </a:lnTo>
                  <a:lnTo>
                    <a:pt x="773" y="1411"/>
                  </a:lnTo>
                  <a:lnTo>
                    <a:pt x="775" y="1412"/>
                  </a:lnTo>
                  <a:lnTo>
                    <a:pt x="775" y="1412"/>
                  </a:lnTo>
                  <a:lnTo>
                    <a:pt x="775" y="1412"/>
                  </a:lnTo>
                  <a:lnTo>
                    <a:pt x="773" y="1411"/>
                  </a:lnTo>
                  <a:lnTo>
                    <a:pt x="775" y="1412"/>
                  </a:lnTo>
                  <a:lnTo>
                    <a:pt x="773" y="1412"/>
                  </a:lnTo>
                  <a:lnTo>
                    <a:pt x="775" y="1414"/>
                  </a:lnTo>
                  <a:lnTo>
                    <a:pt x="775" y="1412"/>
                  </a:lnTo>
                  <a:lnTo>
                    <a:pt x="773" y="1412"/>
                  </a:lnTo>
                  <a:lnTo>
                    <a:pt x="775" y="1414"/>
                  </a:lnTo>
                  <a:lnTo>
                    <a:pt x="775" y="1414"/>
                  </a:lnTo>
                  <a:lnTo>
                    <a:pt x="775" y="1414"/>
                  </a:lnTo>
                  <a:lnTo>
                    <a:pt x="779" y="1414"/>
                  </a:lnTo>
                  <a:lnTo>
                    <a:pt x="779" y="1414"/>
                  </a:lnTo>
                  <a:lnTo>
                    <a:pt x="788" y="1417"/>
                  </a:lnTo>
                  <a:lnTo>
                    <a:pt x="788" y="1417"/>
                  </a:lnTo>
                  <a:lnTo>
                    <a:pt x="797" y="1421"/>
                  </a:lnTo>
                  <a:lnTo>
                    <a:pt x="797" y="1421"/>
                  </a:lnTo>
                  <a:lnTo>
                    <a:pt x="802" y="1424"/>
                  </a:lnTo>
                  <a:lnTo>
                    <a:pt x="810" y="1425"/>
                  </a:lnTo>
                  <a:lnTo>
                    <a:pt x="810" y="1425"/>
                  </a:lnTo>
                  <a:lnTo>
                    <a:pt x="824" y="1424"/>
                  </a:lnTo>
                  <a:lnTo>
                    <a:pt x="824" y="1424"/>
                  </a:lnTo>
                  <a:lnTo>
                    <a:pt x="827" y="1422"/>
                  </a:lnTo>
                  <a:lnTo>
                    <a:pt x="830" y="1421"/>
                  </a:lnTo>
                  <a:lnTo>
                    <a:pt x="834" y="1417"/>
                  </a:lnTo>
                  <a:lnTo>
                    <a:pt x="834" y="1417"/>
                  </a:lnTo>
                  <a:lnTo>
                    <a:pt x="837" y="1414"/>
                  </a:lnTo>
                  <a:lnTo>
                    <a:pt x="837" y="1414"/>
                  </a:lnTo>
                  <a:lnTo>
                    <a:pt x="839" y="1411"/>
                  </a:lnTo>
                  <a:lnTo>
                    <a:pt x="840" y="1411"/>
                  </a:lnTo>
                  <a:lnTo>
                    <a:pt x="840" y="1411"/>
                  </a:lnTo>
                  <a:lnTo>
                    <a:pt x="841" y="1411"/>
                  </a:lnTo>
                  <a:lnTo>
                    <a:pt x="841" y="1411"/>
                  </a:lnTo>
                  <a:lnTo>
                    <a:pt x="844" y="1411"/>
                  </a:lnTo>
                  <a:lnTo>
                    <a:pt x="844" y="1411"/>
                  </a:lnTo>
                  <a:lnTo>
                    <a:pt x="847" y="1411"/>
                  </a:lnTo>
                  <a:lnTo>
                    <a:pt x="847" y="1411"/>
                  </a:lnTo>
                  <a:lnTo>
                    <a:pt x="847" y="1411"/>
                  </a:lnTo>
                  <a:lnTo>
                    <a:pt x="847" y="1411"/>
                  </a:lnTo>
                  <a:lnTo>
                    <a:pt x="847" y="1411"/>
                  </a:lnTo>
                  <a:lnTo>
                    <a:pt x="847" y="1411"/>
                  </a:lnTo>
                  <a:lnTo>
                    <a:pt x="847" y="1411"/>
                  </a:lnTo>
                  <a:lnTo>
                    <a:pt x="847" y="1411"/>
                  </a:lnTo>
                  <a:lnTo>
                    <a:pt x="847" y="1411"/>
                  </a:lnTo>
                  <a:lnTo>
                    <a:pt x="849" y="1412"/>
                  </a:lnTo>
                  <a:lnTo>
                    <a:pt x="849" y="1412"/>
                  </a:lnTo>
                  <a:lnTo>
                    <a:pt x="852" y="1414"/>
                  </a:lnTo>
                  <a:lnTo>
                    <a:pt x="852" y="1414"/>
                  </a:lnTo>
                  <a:lnTo>
                    <a:pt x="856" y="1415"/>
                  </a:lnTo>
                  <a:lnTo>
                    <a:pt x="856" y="1415"/>
                  </a:lnTo>
                  <a:lnTo>
                    <a:pt x="859" y="1415"/>
                  </a:lnTo>
                  <a:lnTo>
                    <a:pt x="860" y="1414"/>
                  </a:lnTo>
                  <a:lnTo>
                    <a:pt x="860" y="1414"/>
                  </a:lnTo>
                  <a:lnTo>
                    <a:pt x="860" y="1412"/>
                  </a:lnTo>
                  <a:lnTo>
                    <a:pt x="860" y="1414"/>
                  </a:lnTo>
                  <a:lnTo>
                    <a:pt x="860" y="1414"/>
                  </a:lnTo>
                  <a:lnTo>
                    <a:pt x="860" y="1412"/>
                  </a:lnTo>
                  <a:lnTo>
                    <a:pt x="860" y="1414"/>
                  </a:lnTo>
                  <a:lnTo>
                    <a:pt x="860" y="1412"/>
                  </a:lnTo>
                  <a:lnTo>
                    <a:pt x="860" y="1414"/>
                  </a:lnTo>
                  <a:lnTo>
                    <a:pt x="860" y="1414"/>
                  </a:lnTo>
                  <a:lnTo>
                    <a:pt x="860" y="1412"/>
                  </a:lnTo>
                  <a:lnTo>
                    <a:pt x="860" y="1414"/>
                  </a:lnTo>
                  <a:lnTo>
                    <a:pt x="860" y="1411"/>
                  </a:lnTo>
                  <a:lnTo>
                    <a:pt x="859" y="1412"/>
                  </a:lnTo>
                  <a:lnTo>
                    <a:pt x="860" y="1414"/>
                  </a:lnTo>
                  <a:lnTo>
                    <a:pt x="860" y="1411"/>
                  </a:lnTo>
                  <a:lnTo>
                    <a:pt x="859" y="1412"/>
                  </a:lnTo>
                  <a:lnTo>
                    <a:pt x="860" y="1411"/>
                  </a:lnTo>
                  <a:lnTo>
                    <a:pt x="857" y="1412"/>
                  </a:lnTo>
                  <a:lnTo>
                    <a:pt x="857" y="1412"/>
                  </a:lnTo>
                  <a:lnTo>
                    <a:pt x="859" y="1412"/>
                  </a:lnTo>
                  <a:lnTo>
                    <a:pt x="860" y="1411"/>
                  </a:lnTo>
                  <a:lnTo>
                    <a:pt x="857" y="1412"/>
                  </a:lnTo>
                  <a:lnTo>
                    <a:pt x="859" y="1412"/>
                  </a:lnTo>
                  <a:lnTo>
                    <a:pt x="857" y="1412"/>
                  </a:lnTo>
                  <a:lnTo>
                    <a:pt x="857" y="1412"/>
                  </a:lnTo>
                  <a:lnTo>
                    <a:pt x="859" y="1412"/>
                  </a:lnTo>
                  <a:lnTo>
                    <a:pt x="857" y="1412"/>
                  </a:lnTo>
                  <a:lnTo>
                    <a:pt x="857" y="1412"/>
                  </a:lnTo>
                  <a:lnTo>
                    <a:pt x="857" y="1414"/>
                  </a:lnTo>
                  <a:lnTo>
                    <a:pt x="857" y="1414"/>
                  </a:lnTo>
                  <a:lnTo>
                    <a:pt x="856" y="1418"/>
                  </a:lnTo>
                  <a:lnTo>
                    <a:pt x="856" y="1418"/>
                  </a:lnTo>
                  <a:lnTo>
                    <a:pt x="856" y="1424"/>
                  </a:lnTo>
                  <a:lnTo>
                    <a:pt x="856" y="1424"/>
                  </a:lnTo>
                  <a:lnTo>
                    <a:pt x="856" y="1424"/>
                  </a:lnTo>
                  <a:lnTo>
                    <a:pt x="856" y="1430"/>
                  </a:lnTo>
                  <a:lnTo>
                    <a:pt x="856" y="1430"/>
                  </a:lnTo>
                  <a:lnTo>
                    <a:pt x="854" y="1448"/>
                  </a:lnTo>
                  <a:lnTo>
                    <a:pt x="854" y="1448"/>
                  </a:lnTo>
                  <a:lnTo>
                    <a:pt x="854" y="1451"/>
                  </a:lnTo>
                  <a:lnTo>
                    <a:pt x="854" y="1451"/>
                  </a:lnTo>
                  <a:lnTo>
                    <a:pt x="850" y="1454"/>
                  </a:lnTo>
                  <a:lnTo>
                    <a:pt x="850" y="1454"/>
                  </a:lnTo>
                  <a:lnTo>
                    <a:pt x="849" y="1457"/>
                  </a:lnTo>
                  <a:lnTo>
                    <a:pt x="849" y="1457"/>
                  </a:lnTo>
                  <a:lnTo>
                    <a:pt x="847" y="1461"/>
                  </a:lnTo>
                  <a:lnTo>
                    <a:pt x="847" y="1461"/>
                  </a:lnTo>
                  <a:lnTo>
                    <a:pt x="844" y="1474"/>
                  </a:lnTo>
                  <a:lnTo>
                    <a:pt x="844" y="1474"/>
                  </a:lnTo>
                  <a:lnTo>
                    <a:pt x="841" y="1483"/>
                  </a:lnTo>
                  <a:lnTo>
                    <a:pt x="837" y="1492"/>
                  </a:lnTo>
                  <a:lnTo>
                    <a:pt x="837" y="1492"/>
                  </a:lnTo>
                  <a:lnTo>
                    <a:pt x="833" y="1501"/>
                  </a:lnTo>
                  <a:lnTo>
                    <a:pt x="831" y="1506"/>
                  </a:lnTo>
                  <a:lnTo>
                    <a:pt x="831" y="1506"/>
                  </a:lnTo>
                  <a:lnTo>
                    <a:pt x="828" y="1512"/>
                  </a:lnTo>
                  <a:lnTo>
                    <a:pt x="827" y="1515"/>
                  </a:lnTo>
                  <a:lnTo>
                    <a:pt x="827" y="1515"/>
                  </a:lnTo>
                  <a:lnTo>
                    <a:pt x="824" y="1516"/>
                  </a:lnTo>
                  <a:lnTo>
                    <a:pt x="824" y="1516"/>
                  </a:lnTo>
                  <a:lnTo>
                    <a:pt x="818" y="1518"/>
                  </a:lnTo>
                  <a:lnTo>
                    <a:pt x="818" y="1518"/>
                  </a:lnTo>
                  <a:lnTo>
                    <a:pt x="808" y="1516"/>
                  </a:lnTo>
                  <a:lnTo>
                    <a:pt x="808" y="1516"/>
                  </a:lnTo>
                  <a:lnTo>
                    <a:pt x="799" y="1516"/>
                  </a:lnTo>
                  <a:lnTo>
                    <a:pt x="798" y="1516"/>
                  </a:lnTo>
                  <a:lnTo>
                    <a:pt x="798" y="1516"/>
                  </a:lnTo>
                  <a:lnTo>
                    <a:pt x="798" y="1516"/>
                  </a:lnTo>
                  <a:lnTo>
                    <a:pt x="795" y="1515"/>
                  </a:lnTo>
                  <a:lnTo>
                    <a:pt x="795" y="1515"/>
                  </a:lnTo>
                  <a:lnTo>
                    <a:pt x="792" y="1514"/>
                  </a:lnTo>
                  <a:lnTo>
                    <a:pt x="792" y="1514"/>
                  </a:lnTo>
                  <a:lnTo>
                    <a:pt x="788" y="1509"/>
                  </a:lnTo>
                  <a:lnTo>
                    <a:pt x="788" y="1509"/>
                  </a:lnTo>
                  <a:lnTo>
                    <a:pt x="785" y="1506"/>
                  </a:lnTo>
                  <a:lnTo>
                    <a:pt x="785" y="1506"/>
                  </a:lnTo>
                  <a:lnTo>
                    <a:pt x="782" y="1508"/>
                  </a:lnTo>
                  <a:lnTo>
                    <a:pt x="782" y="1508"/>
                  </a:lnTo>
                  <a:lnTo>
                    <a:pt x="781"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8" y="1508"/>
                  </a:lnTo>
                  <a:lnTo>
                    <a:pt x="778" y="1508"/>
                  </a:lnTo>
                  <a:lnTo>
                    <a:pt x="775" y="1506"/>
                  </a:lnTo>
                  <a:lnTo>
                    <a:pt x="775" y="1506"/>
                  </a:lnTo>
                  <a:lnTo>
                    <a:pt x="773" y="1508"/>
                  </a:lnTo>
                  <a:lnTo>
                    <a:pt x="773" y="1508"/>
                  </a:lnTo>
                  <a:lnTo>
                    <a:pt x="769" y="1509"/>
                  </a:lnTo>
                  <a:lnTo>
                    <a:pt x="769" y="1509"/>
                  </a:lnTo>
                  <a:lnTo>
                    <a:pt x="765" y="1512"/>
                  </a:lnTo>
                  <a:lnTo>
                    <a:pt x="765" y="1512"/>
                  </a:lnTo>
                  <a:lnTo>
                    <a:pt x="756" y="1519"/>
                  </a:lnTo>
                  <a:lnTo>
                    <a:pt x="756" y="1519"/>
                  </a:lnTo>
                  <a:lnTo>
                    <a:pt x="750" y="1524"/>
                  </a:lnTo>
                  <a:lnTo>
                    <a:pt x="750" y="1524"/>
                  </a:lnTo>
                  <a:lnTo>
                    <a:pt x="750" y="1524"/>
                  </a:lnTo>
                  <a:lnTo>
                    <a:pt x="750" y="1524"/>
                  </a:lnTo>
                  <a:lnTo>
                    <a:pt x="750" y="1524"/>
                  </a:lnTo>
                  <a:lnTo>
                    <a:pt x="750" y="1524"/>
                  </a:lnTo>
                  <a:lnTo>
                    <a:pt x="749" y="1524"/>
                  </a:lnTo>
                  <a:lnTo>
                    <a:pt x="749" y="1524"/>
                  </a:lnTo>
                  <a:lnTo>
                    <a:pt x="743" y="1522"/>
                  </a:lnTo>
                  <a:lnTo>
                    <a:pt x="734" y="1521"/>
                  </a:lnTo>
                  <a:lnTo>
                    <a:pt x="734" y="1521"/>
                  </a:lnTo>
                  <a:lnTo>
                    <a:pt x="720" y="1516"/>
                  </a:lnTo>
                  <a:lnTo>
                    <a:pt x="720" y="1516"/>
                  </a:lnTo>
                  <a:lnTo>
                    <a:pt x="705" y="1512"/>
                  </a:lnTo>
                  <a:lnTo>
                    <a:pt x="705" y="1512"/>
                  </a:lnTo>
                  <a:lnTo>
                    <a:pt x="697" y="1511"/>
                  </a:lnTo>
                  <a:lnTo>
                    <a:pt x="697" y="1511"/>
                  </a:lnTo>
                  <a:lnTo>
                    <a:pt x="691" y="1509"/>
                  </a:lnTo>
                  <a:lnTo>
                    <a:pt x="691" y="1509"/>
                  </a:lnTo>
                  <a:lnTo>
                    <a:pt x="686" y="1509"/>
                  </a:lnTo>
                  <a:lnTo>
                    <a:pt x="686" y="1509"/>
                  </a:lnTo>
                  <a:lnTo>
                    <a:pt x="676" y="1505"/>
                  </a:lnTo>
                  <a:lnTo>
                    <a:pt x="663" y="1502"/>
                  </a:lnTo>
                  <a:lnTo>
                    <a:pt x="663" y="1502"/>
                  </a:lnTo>
                  <a:lnTo>
                    <a:pt x="658" y="1501"/>
                  </a:lnTo>
                  <a:lnTo>
                    <a:pt x="658" y="1501"/>
                  </a:lnTo>
                  <a:lnTo>
                    <a:pt x="655" y="1501"/>
                  </a:lnTo>
                  <a:lnTo>
                    <a:pt x="655" y="1501"/>
                  </a:lnTo>
                  <a:lnTo>
                    <a:pt x="655" y="1499"/>
                  </a:lnTo>
                  <a:lnTo>
                    <a:pt x="655" y="1499"/>
                  </a:lnTo>
                  <a:lnTo>
                    <a:pt x="653" y="1496"/>
                  </a:lnTo>
                  <a:lnTo>
                    <a:pt x="653" y="1496"/>
                  </a:lnTo>
                  <a:lnTo>
                    <a:pt x="647" y="1489"/>
                  </a:lnTo>
                  <a:lnTo>
                    <a:pt x="647" y="1489"/>
                  </a:lnTo>
                  <a:lnTo>
                    <a:pt x="643" y="1486"/>
                  </a:lnTo>
                  <a:lnTo>
                    <a:pt x="637" y="1486"/>
                  </a:lnTo>
                  <a:lnTo>
                    <a:pt x="637" y="1486"/>
                  </a:lnTo>
                  <a:lnTo>
                    <a:pt x="637" y="1486"/>
                  </a:lnTo>
                  <a:lnTo>
                    <a:pt x="630" y="1486"/>
                  </a:lnTo>
                  <a:lnTo>
                    <a:pt x="621" y="1489"/>
                  </a:lnTo>
                  <a:lnTo>
                    <a:pt x="621" y="1489"/>
                  </a:lnTo>
                  <a:lnTo>
                    <a:pt x="613" y="1492"/>
                  </a:lnTo>
                  <a:lnTo>
                    <a:pt x="613" y="1492"/>
                  </a:lnTo>
                  <a:lnTo>
                    <a:pt x="607" y="1495"/>
                  </a:lnTo>
                  <a:lnTo>
                    <a:pt x="607" y="1495"/>
                  </a:lnTo>
                  <a:lnTo>
                    <a:pt x="601" y="1499"/>
                  </a:lnTo>
                  <a:lnTo>
                    <a:pt x="601" y="1499"/>
                  </a:lnTo>
                  <a:lnTo>
                    <a:pt x="598" y="1502"/>
                  </a:lnTo>
                  <a:lnTo>
                    <a:pt x="597" y="1506"/>
                  </a:lnTo>
                  <a:lnTo>
                    <a:pt x="597" y="1506"/>
                  </a:lnTo>
                  <a:lnTo>
                    <a:pt x="598" y="1512"/>
                  </a:lnTo>
                  <a:lnTo>
                    <a:pt x="598" y="1512"/>
                  </a:lnTo>
                  <a:lnTo>
                    <a:pt x="600" y="1521"/>
                  </a:lnTo>
                  <a:lnTo>
                    <a:pt x="600" y="1521"/>
                  </a:lnTo>
                  <a:lnTo>
                    <a:pt x="598" y="1528"/>
                  </a:lnTo>
                  <a:lnTo>
                    <a:pt x="598" y="1528"/>
                  </a:lnTo>
                  <a:lnTo>
                    <a:pt x="597" y="1531"/>
                  </a:lnTo>
                  <a:lnTo>
                    <a:pt x="594" y="1534"/>
                  </a:lnTo>
                  <a:lnTo>
                    <a:pt x="594" y="1534"/>
                  </a:lnTo>
                  <a:lnTo>
                    <a:pt x="589" y="1535"/>
                  </a:lnTo>
                  <a:lnTo>
                    <a:pt x="587" y="1535"/>
                  </a:lnTo>
                  <a:lnTo>
                    <a:pt x="587" y="1535"/>
                  </a:lnTo>
                  <a:lnTo>
                    <a:pt x="581" y="1534"/>
                  </a:lnTo>
                  <a:lnTo>
                    <a:pt x="581" y="1534"/>
                  </a:lnTo>
                  <a:lnTo>
                    <a:pt x="572" y="1528"/>
                  </a:lnTo>
                  <a:lnTo>
                    <a:pt x="572" y="1528"/>
                  </a:lnTo>
                  <a:lnTo>
                    <a:pt x="558" y="1521"/>
                  </a:lnTo>
                  <a:lnTo>
                    <a:pt x="558" y="1521"/>
                  </a:lnTo>
                  <a:lnTo>
                    <a:pt x="552" y="1519"/>
                  </a:lnTo>
                  <a:lnTo>
                    <a:pt x="545" y="1518"/>
                  </a:lnTo>
                  <a:lnTo>
                    <a:pt x="545" y="1518"/>
                  </a:lnTo>
                  <a:lnTo>
                    <a:pt x="540" y="1516"/>
                  </a:lnTo>
                  <a:lnTo>
                    <a:pt x="536" y="1514"/>
                  </a:lnTo>
                  <a:lnTo>
                    <a:pt x="536" y="1514"/>
                  </a:lnTo>
                  <a:lnTo>
                    <a:pt x="532" y="1509"/>
                  </a:lnTo>
                  <a:lnTo>
                    <a:pt x="532" y="1509"/>
                  </a:lnTo>
                  <a:lnTo>
                    <a:pt x="530" y="1506"/>
                  </a:lnTo>
                  <a:lnTo>
                    <a:pt x="530" y="1506"/>
                  </a:lnTo>
                  <a:lnTo>
                    <a:pt x="530" y="1502"/>
                  </a:lnTo>
                  <a:lnTo>
                    <a:pt x="527" y="1499"/>
                  </a:lnTo>
                  <a:lnTo>
                    <a:pt x="527" y="1499"/>
                  </a:lnTo>
                  <a:lnTo>
                    <a:pt x="524" y="1495"/>
                  </a:lnTo>
                  <a:lnTo>
                    <a:pt x="524" y="1495"/>
                  </a:lnTo>
                  <a:lnTo>
                    <a:pt x="521" y="1493"/>
                  </a:lnTo>
                  <a:lnTo>
                    <a:pt x="518" y="1493"/>
                  </a:lnTo>
                  <a:lnTo>
                    <a:pt x="518" y="1493"/>
                  </a:lnTo>
                  <a:lnTo>
                    <a:pt x="516" y="1492"/>
                  </a:lnTo>
                  <a:lnTo>
                    <a:pt x="516" y="1492"/>
                  </a:lnTo>
                  <a:lnTo>
                    <a:pt x="508" y="1489"/>
                  </a:lnTo>
                  <a:lnTo>
                    <a:pt x="504" y="1488"/>
                  </a:lnTo>
                  <a:lnTo>
                    <a:pt x="498" y="1486"/>
                  </a:lnTo>
                  <a:lnTo>
                    <a:pt x="498" y="1486"/>
                  </a:lnTo>
                  <a:lnTo>
                    <a:pt x="492" y="1486"/>
                  </a:lnTo>
                  <a:lnTo>
                    <a:pt x="492" y="1486"/>
                  </a:lnTo>
                  <a:lnTo>
                    <a:pt x="488" y="1486"/>
                  </a:lnTo>
                  <a:lnTo>
                    <a:pt x="488" y="1486"/>
                  </a:lnTo>
                  <a:lnTo>
                    <a:pt x="482" y="1486"/>
                  </a:lnTo>
                  <a:lnTo>
                    <a:pt x="476" y="1485"/>
                  </a:lnTo>
                  <a:lnTo>
                    <a:pt x="476" y="1485"/>
                  </a:lnTo>
                  <a:lnTo>
                    <a:pt x="472" y="1482"/>
                  </a:lnTo>
                  <a:lnTo>
                    <a:pt x="472" y="1482"/>
                  </a:lnTo>
                  <a:lnTo>
                    <a:pt x="468" y="1480"/>
                  </a:lnTo>
                  <a:lnTo>
                    <a:pt x="468" y="1480"/>
                  </a:lnTo>
                  <a:lnTo>
                    <a:pt x="462" y="1482"/>
                  </a:lnTo>
                  <a:lnTo>
                    <a:pt x="462" y="1482"/>
                  </a:lnTo>
                  <a:lnTo>
                    <a:pt x="461" y="1482"/>
                  </a:lnTo>
                  <a:lnTo>
                    <a:pt x="461" y="1482"/>
                  </a:lnTo>
                  <a:lnTo>
                    <a:pt x="459" y="1482"/>
                  </a:lnTo>
                  <a:lnTo>
                    <a:pt x="459" y="1482"/>
                  </a:lnTo>
                  <a:lnTo>
                    <a:pt x="459" y="1482"/>
                  </a:lnTo>
                  <a:lnTo>
                    <a:pt x="459" y="1482"/>
                  </a:lnTo>
                  <a:lnTo>
                    <a:pt x="459" y="1482"/>
                  </a:lnTo>
                  <a:lnTo>
                    <a:pt x="459" y="1482"/>
                  </a:lnTo>
                  <a:lnTo>
                    <a:pt x="459" y="1483"/>
                  </a:lnTo>
                  <a:lnTo>
                    <a:pt x="461" y="1482"/>
                  </a:lnTo>
                  <a:lnTo>
                    <a:pt x="459" y="1482"/>
                  </a:lnTo>
                  <a:lnTo>
                    <a:pt x="459" y="1483"/>
                  </a:lnTo>
                  <a:lnTo>
                    <a:pt x="461" y="1482"/>
                  </a:lnTo>
                  <a:lnTo>
                    <a:pt x="459" y="1485"/>
                  </a:lnTo>
                  <a:lnTo>
                    <a:pt x="462" y="1483"/>
                  </a:lnTo>
                  <a:lnTo>
                    <a:pt x="461" y="1482"/>
                  </a:lnTo>
                  <a:lnTo>
                    <a:pt x="459" y="1485"/>
                  </a:lnTo>
                  <a:lnTo>
                    <a:pt x="462" y="1483"/>
                  </a:lnTo>
                  <a:lnTo>
                    <a:pt x="461" y="1483"/>
                  </a:lnTo>
                  <a:lnTo>
                    <a:pt x="462" y="1483"/>
                  </a:lnTo>
                  <a:lnTo>
                    <a:pt x="462" y="1483"/>
                  </a:lnTo>
                  <a:lnTo>
                    <a:pt x="461" y="1483"/>
                  </a:lnTo>
                  <a:lnTo>
                    <a:pt x="462" y="1483"/>
                  </a:lnTo>
                  <a:lnTo>
                    <a:pt x="461" y="1483"/>
                  </a:lnTo>
                  <a:lnTo>
                    <a:pt x="462" y="1483"/>
                  </a:lnTo>
                  <a:lnTo>
                    <a:pt x="462" y="1483"/>
                  </a:lnTo>
                  <a:lnTo>
                    <a:pt x="461" y="1483"/>
                  </a:lnTo>
                  <a:lnTo>
                    <a:pt x="462" y="1483"/>
                  </a:lnTo>
                  <a:lnTo>
                    <a:pt x="462" y="1483"/>
                  </a:lnTo>
                  <a:lnTo>
                    <a:pt x="462" y="1482"/>
                  </a:lnTo>
                  <a:lnTo>
                    <a:pt x="462" y="1482"/>
                  </a:lnTo>
                  <a:lnTo>
                    <a:pt x="462" y="1479"/>
                  </a:lnTo>
                  <a:lnTo>
                    <a:pt x="462" y="1477"/>
                  </a:lnTo>
                  <a:lnTo>
                    <a:pt x="462" y="1477"/>
                  </a:lnTo>
                  <a:lnTo>
                    <a:pt x="462" y="1474"/>
                  </a:lnTo>
                  <a:lnTo>
                    <a:pt x="462" y="1474"/>
                  </a:lnTo>
                  <a:lnTo>
                    <a:pt x="461" y="1473"/>
                  </a:lnTo>
                  <a:lnTo>
                    <a:pt x="459" y="1473"/>
                  </a:lnTo>
                  <a:lnTo>
                    <a:pt x="459" y="1473"/>
                  </a:lnTo>
                  <a:lnTo>
                    <a:pt x="456" y="1473"/>
                  </a:lnTo>
                  <a:lnTo>
                    <a:pt x="456" y="1473"/>
                  </a:lnTo>
                  <a:lnTo>
                    <a:pt x="455" y="1473"/>
                  </a:lnTo>
                  <a:lnTo>
                    <a:pt x="455" y="1473"/>
                  </a:lnTo>
                  <a:lnTo>
                    <a:pt x="452" y="1473"/>
                  </a:lnTo>
                  <a:lnTo>
                    <a:pt x="449" y="1472"/>
                  </a:lnTo>
                  <a:lnTo>
                    <a:pt x="449" y="1472"/>
                  </a:lnTo>
                  <a:lnTo>
                    <a:pt x="449" y="1470"/>
                  </a:lnTo>
                  <a:lnTo>
                    <a:pt x="449" y="1470"/>
                  </a:lnTo>
                  <a:lnTo>
                    <a:pt x="448" y="1469"/>
                  </a:lnTo>
                  <a:lnTo>
                    <a:pt x="448" y="1469"/>
                  </a:lnTo>
                  <a:lnTo>
                    <a:pt x="450" y="1463"/>
                  </a:lnTo>
                  <a:lnTo>
                    <a:pt x="450" y="1463"/>
                  </a:lnTo>
                  <a:lnTo>
                    <a:pt x="453" y="1457"/>
                  </a:lnTo>
                  <a:lnTo>
                    <a:pt x="453" y="1457"/>
                  </a:lnTo>
                  <a:lnTo>
                    <a:pt x="456" y="1454"/>
                  </a:lnTo>
                  <a:lnTo>
                    <a:pt x="458" y="1450"/>
                  </a:lnTo>
                  <a:lnTo>
                    <a:pt x="458" y="1450"/>
                  </a:lnTo>
                  <a:lnTo>
                    <a:pt x="459" y="1441"/>
                  </a:lnTo>
                  <a:lnTo>
                    <a:pt x="459" y="1441"/>
                  </a:lnTo>
                  <a:lnTo>
                    <a:pt x="459" y="1437"/>
                  </a:lnTo>
                  <a:lnTo>
                    <a:pt x="459" y="1437"/>
                  </a:lnTo>
                  <a:lnTo>
                    <a:pt x="458" y="1434"/>
                  </a:lnTo>
                  <a:lnTo>
                    <a:pt x="458" y="1434"/>
                  </a:lnTo>
                  <a:lnTo>
                    <a:pt x="456" y="1431"/>
                  </a:lnTo>
                  <a:lnTo>
                    <a:pt x="456" y="1431"/>
                  </a:lnTo>
                  <a:lnTo>
                    <a:pt x="456" y="1427"/>
                  </a:lnTo>
                  <a:lnTo>
                    <a:pt x="456" y="1427"/>
                  </a:lnTo>
                  <a:lnTo>
                    <a:pt x="456" y="1419"/>
                  </a:lnTo>
                  <a:lnTo>
                    <a:pt x="456" y="1419"/>
                  </a:lnTo>
                  <a:lnTo>
                    <a:pt x="459" y="1415"/>
                  </a:lnTo>
                  <a:lnTo>
                    <a:pt x="459" y="1415"/>
                  </a:lnTo>
                  <a:lnTo>
                    <a:pt x="459" y="1412"/>
                  </a:lnTo>
                  <a:lnTo>
                    <a:pt x="459" y="1412"/>
                  </a:lnTo>
                  <a:lnTo>
                    <a:pt x="461" y="1411"/>
                  </a:lnTo>
                  <a:lnTo>
                    <a:pt x="461" y="1411"/>
                  </a:lnTo>
                  <a:lnTo>
                    <a:pt x="459" y="1408"/>
                  </a:lnTo>
                  <a:lnTo>
                    <a:pt x="459" y="1408"/>
                  </a:lnTo>
                  <a:lnTo>
                    <a:pt x="456" y="1406"/>
                  </a:lnTo>
                  <a:lnTo>
                    <a:pt x="455" y="1406"/>
                  </a:lnTo>
                  <a:lnTo>
                    <a:pt x="455" y="1406"/>
                  </a:lnTo>
                  <a:lnTo>
                    <a:pt x="455" y="1406"/>
                  </a:lnTo>
                  <a:lnTo>
                    <a:pt x="452" y="1405"/>
                  </a:lnTo>
                  <a:lnTo>
                    <a:pt x="452" y="1405"/>
                  </a:lnTo>
                  <a:lnTo>
                    <a:pt x="446" y="1401"/>
                  </a:lnTo>
                  <a:lnTo>
                    <a:pt x="446" y="1401"/>
                  </a:lnTo>
                  <a:lnTo>
                    <a:pt x="443" y="1398"/>
                  </a:lnTo>
                  <a:lnTo>
                    <a:pt x="440" y="1398"/>
                  </a:lnTo>
                  <a:lnTo>
                    <a:pt x="440" y="1398"/>
                  </a:lnTo>
                  <a:lnTo>
                    <a:pt x="434" y="1399"/>
                  </a:lnTo>
                  <a:lnTo>
                    <a:pt x="429" y="1401"/>
                  </a:lnTo>
                  <a:lnTo>
                    <a:pt x="429" y="1401"/>
                  </a:lnTo>
                  <a:lnTo>
                    <a:pt x="420" y="1405"/>
                  </a:lnTo>
                  <a:lnTo>
                    <a:pt x="420" y="1405"/>
                  </a:lnTo>
                  <a:lnTo>
                    <a:pt x="417" y="1406"/>
                  </a:lnTo>
                  <a:lnTo>
                    <a:pt x="417" y="1406"/>
                  </a:lnTo>
                  <a:lnTo>
                    <a:pt x="403" y="1404"/>
                  </a:lnTo>
                  <a:lnTo>
                    <a:pt x="403" y="1404"/>
                  </a:lnTo>
                  <a:lnTo>
                    <a:pt x="400" y="1404"/>
                  </a:lnTo>
                  <a:lnTo>
                    <a:pt x="400" y="1404"/>
                  </a:lnTo>
                  <a:lnTo>
                    <a:pt x="391" y="1405"/>
                  </a:lnTo>
                  <a:lnTo>
                    <a:pt x="384" y="1406"/>
                  </a:lnTo>
                  <a:lnTo>
                    <a:pt x="384" y="1406"/>
                  </a:lnTo>
                  <a:lnTo>
                    <a:pt x="371" y="1412"/>
                  </a:lnTo>
                  <a:lnTo>
                    <a:pt x="371" y="1412"/>
                  </a:lnTo>
                  <a:lnTo>
                    <a:pt x="366" y="1412"/>
                  </a:lnTo>
                  <a:lnTo>
                    <a:pt x="366" y="1412"/>
                  </a:lnTo>
                  <a:lnTo>
                    <a:pt x="364" y="1411"/>
                  </a:lnTo>
                  <a:lnTo>
                    <a:pt x="364" y="1411"/>
                  </a:lnTo>
                  <a:lnTo>
                    <a:pt x="359" y="1408"/>
                  </a:lnTo>
                  <a:lnTo>
                    <a:pt x="359" y="1408"/>
                  </a:lnTo>
                  <a:lnTo>
                    <a:pt x="356" y="1408"/>
                  </a:lnTo>
                  <a:lnTo>
                    <a:pt x="353" y="1408"/>
                  </a:lnTo>
                  <a:lnTo>
                    <a:pt x="353" y="1408"/>
                  </a:lnTo>
                  <a:lnTo>
                    <a:pt x="336" y="1408"/>
                  </a:lnTo>
                  <a:lnTo>
                    <a:pt x="336" y="1408"/>
                  </a:lnTo>
                  <a:lnTo>
                    <a:pt x="335" y="1408"/>
                  </a:lnTo>
                  <a:lnTo>
                    <a:pt x="335" y="1408"/>
                  </a:lnTo>
                  <a:lnTo>
                    <a:pt x="329" y="1408"/>
                  </a:lnTo>
                  <a:lnTo>
                    <a:pt x="329" y="1408"/>
                  </a:lnTo>
                  <a:lnTo>
                    <a:pt x="329" y="1408"/>
                  </a:lnTo>
                  <a:lnTo>
                    <a:pt x="329" y="1408"/>
                  </a:lnTo>
                  <a:lnTo>
                    <a:pt x="327" y="1406"/>
                  </a:lnTo>
                  <a:lnTo>
                    <a:pt x="327" y="1406"/>
                  </a:lnTo>
                  <a:lnTo>
                    <a:pt x="324" y="1405"/>
                  </a:lnTo>
                  <a:lnTo>
                    <a:pt x="324" y="1405"/>
                  </a:lnTo>
                  <a:lnTo>
                    <a:pt x="322" y="1404"/>
                  </a:lnTo>
                  <a:lnTo>
                    <a:pt x="322" y="1404"/>
                  </a:lnTo>
                  <a:lnTo>
                    <a:pt x="317" y="1405"/>
                  </a:lnTo>
                  <a:lnTo>
                    <a:pt x="317" y="1405"/>
                  </a:lnTo>
                  <a:lnTo>
                    <a:pt x="314" y="1409"/>
                  </a:lnTo>
                  <a:lnTo>
                    <a:pt x="314" y="1409"/>
                  </a:lnTo>
                  <a:lnTo>
                    <a:pt x="311" y="1414"/>
                  </a:lnTo>
                  <a:lnTo>
                    <a:pt x="311" y="1414"/>
                  </a:lnTo>
                  <a:lnTo>
                    <a:pt x="311" y="1414"/>
                  </a:lnTo>
                  <a:lnTo>
                    <a:pt x="308" y="1415"/>
                  </a:lnTo>
                  <a:lnTo>
                    <a:pt x="308" y="1415"/>
                  </a:lnTo>
                  <a:lnTo>
                    <a:pt x="301" y="1417"/>
                  </a:lnTo>
                  <a:lnTo>
                    <a:pt x="301" y="1417"/>
                  </a:lnTo>
                  <a:lnTo>
                    <a:pt x="293" y="1419"/>
                  </a:lnTo>
                  <a:lnTo>
                    <a:pt x="293" y="1419"/>
                  </a:lnTo>
                  <a:lnTo>
                    <a:pt x="288" y="1421"/>
                  </a:lnTo>
                  <a:lnTo>
                    <a:pt x="284" y="1424"/>
                  </a:lnTo>
                  <a:lnTo>
                    <a:pt x="284" y="1424"/>
                  </a:lnTo>
                  <a:lnTo>
                    <a:pt x="278" y="1430"/>
                  </a:lnTo>
                  <a:lnTo>
                    <a:pt x="278" y="1430"/>
                  </a:lnTo>
                  <a:lnTo>
                    <a:pt x="272" y="1431"/>
                  </a:lnTo>
                  <a:lnTo>
                    <a:pt x="272" y="1431"/>
                  </a:lnTo>
                  <a:lnTo>
                    <a:pt x="266" y="1431"/>
                  </a:lnTo>
                  <a:lnTo>
                    <a:pt x="261" y="1432"/>
                  </a:lnTo>
                  <a:lnTo>
                    <a:pt x="261" y="1432"/>
                  </a:lnTo>
                  <a:lnTo>
                    <a:pt x="256" y="1435"/>
                  </a:lnTo>
                  <a:lnTo>
                    <a:pt x="253" y="1438"/>
                  </a:lnTo>
                  <a:lnTo>
                    <a:pt x="253" y="1438"/>
                  </a:lnTo>
                  <a:lnTo>
                    <a:pt x="248" y="1444"/>
                  </a:lnTo>
                  <a:lnTo>
                    <a:pt x="248" y="1444"/>
                  </a:lnTo>
                  <a:lnTo>
                    <a:pt x="245" y="1446"/>
                  </a:lnTo>
                  <a:lnTo>
                    <a:pt x="245" y="1446"/>
                  </a:lnTo>
                  <a:lnTo>
                    <a:pt x="243" y="1444"/>
                  </a:lnTo>
                  <a:lnTo>
                    <a:pt x="243" y="1444"/>
                  </a:lnTo>
                  <a:lnTo>
                    <a:pt x="239" y="1441"/>
                  </a:lnTo>
                  <a:lnTo>
                    <a:pt x="239" y="1441"/>
                  </a:lnTo>
                  <a:lnTo>
                    <a:pt x="235" y="1441"/>
                  </a:lnTo>
                  <a:lnTo>
                    <a:pt x="235" y="1441"/>
                  </a:lnTo>
                  <a:lnTo>
                    <a:pt x="230" y="1440"/>
                  </a:lnTo>
                  <a:lnTo>
                    <a:pt x="230" y="1440"/>
                  </a:lnTo>
                  <a:lnTo>
                    <a:pt x="213" y="1441"/>
                  </a:lnTo>
                  <a:lnTo>
                    <a:pt x="213" y="1441"/>
                  </a:lnTo>
                  <a:lnTo>
                    <a:pt x="210" y="1441"/>
                  </a:lnTo>
                  <a:lnTo>
                    <a:pt x="210" y="1441"/>
                  </a:lnTo>
                  <a:lnTo>
                    <a:pt x="206" y="1440"/>
                  </a:lnTo>
                  <a:lnTo>
                    <a:pt x="200" y="1435"/>
                  </a:lnTo>
                  <a:lnTo>
                    <a:pt x="200" y="1435"/>
                  </a:lnTo>
                  <a:lnTo>
                    <a:pt x="196" y="1432"/>
                  </a:lnTo>
                  <a:lnTo>
                    <a:pt x="196" y="1432"/>
                  </a:lnTo>
                  <a:lnTo>
                    <a:pt x="194" y="1431"/>
                  </a:lnTo>
                  <a:lnTo>
                    <a:pt x="194" y="1431"/>
                  </a:lnTo>
                  <a:lnTo>
                    <a:pt x="191" y="1430"/>
                  </a:lnTo>
                  <a:lnTo>
                    <a:pt x="191" y="1430"/>
                  </a:lnTo>
                  <a:lnTo>
                    <a:pt x="191" y="1430"/>
                  </a:lnTo>
                  <a:lnTo>
                    <a:pt x="188" y="1431"/>
                  </a:lnTo>
                  <a:lnTo>
                    <a:pt x="187" y="1432"/>
                  </a:lnTo>
                  <a:lnTo>
                    <a:pt x="187" y="1432"/>
                  </a:lnTo>
                  <a:lnTo>
                    <a:pt x="181" y="1438"/>
                  </a:lnTo>
                  <a:lnTo>
                    <a:pt x="177" y="1447"/>
                  </a:lnTo>
                  <a:lnTo>
                    <a:pt x="177" y="1447"/>
                  </a:lnTo>
                  <a:lnTo>
                    <a:pt x="171" y="1460"/>
                  </a:lnTo>
                  <a:lnTo>
                    <a:pt x="171" y="1460"/>
                  </a:lnTo>
                  <a:lnTo>
                    <a:pt x="167" y="1466"/>
                  </a:lnTo>
                  <a:lnTo>
                    <a:pt x="161" y="1472"/>
                  </a:lnTo>
                  <a:lnTo>
                    <a:pt x="161" y="1472"/>
                  </a:lnTo>
                  <a:lnTo>
                    <a:pt x="156" y="1474"/>
                  </a:lnTo>
                  <a:lnTo>
                    <a:pt x="151" y="1476"/>
                  </a:lnTo>
                  <a:lnTo>
                    <a:pt x="151" y="1476"/>
                  </a:lnTo>
                  <a:lnTo>
                    <a:pt x="145" y="1477"/>
                  </a:lnTo>
                  <a:lnTo>
                    <a:pt x="145" y="1477"/>
                  </a:lnTo>
                  <a:lnTo>
                    <a:pt x="142" y="1477"/>
                  </a:lnTo>
                  <a:lnTo>
                    <a:pt x="140" y="1480"/>
                  </a:lnTo>
                  <a:lnTo>
                    <a:pt x="140" y="1480"/>
                  </a:lnTo>
                  <a:lnTo>
                    <a:pt x="133" y="1488"/>
                  </a:lnTo>
                  <a:lnTo>
                    <a:pt x="133" y="1488"/>
                  </a:lnTo>
                  <a:lnTo>
                    <a:pt x="130" y="1493"/>
                  </a:lnTo>
                  <a:lnTo>
                    <a:pt x="129" y="1499"/>
                  </a:lnTo>
                  <a:lnTo>
                    <a:pt x="129" y="1499"/>
                  </a:lnTo>
                  <a:lnTo>
                    <a:pt x="127" y="1502"/>
                  </a:lnTo>
                  <a:lnTo>
                    <a:pt x="127" y="1502"/>
                  </a:lnTo>
                  <a:lnTo>
                    <a:pt x="125" y="1505"/>
                  </a:lnTo>
                  <a:lnTo>
                    <a:pt x="125" y="1505"/>
                  </a:lnTo>
                  <a:lnTo>
                    <a:pt x="120" y="1509"/>
                  </a:lnTo>
                  <a:lnTo>
                    <a:pt x="120" y="1509"/>
                  </a:lnTo>
                  <a:lnTo>
                    <a:pt x="117" y="1515"/>
                  </a:lnTo>
                  <a:lnTo>
                    <a:pt x="117" y="1521"/>
                  </a:lnTo>
                  <a:lnTo>
                    <a:pt x="117" y="1521"/>
                  </a:lnTo>
                  <a:lnTo>
                    <a:pt x="119" y="1544"/>
                  </a:lnTo>
                  <a:lnTo>
                    <a:pt x="119" y="1544"/>
                  </a:lnTo>
                  <a:lnTo>
                    <a:pt x="119" y="1544"/>
                  </a:lnTo>
                  <a:lnTo>
                    <a:pt x="119" y="1548"/>
                  </a:lnTo>
                  <a:lnTo>
                    <a:pt x="116" y="1553"/>
                  </a:lnTo>
                  <a:lnTo>
                    <a:pt x="116" y="1553"/>
                  </a:lnTo>
                  <a:lnTo>
                    <a:pt x="110" y="1560"/>
                  </a:lnTo>
                  <a:lnTo>
                    <a:pt x="103" y="1564"/>
                  </a:lnTo>
                  <a:lnTo>
                    <a:pt x="103" y="1564"/>
                  </a:lnTo>
                  <a:lnTo>
                    <a:pt x="96" y="1569"/>
                  </a:lnTo>
                  <a:lnTo>
                    <a:pt x="90" y="1572"/>
                  </a:lnTo>
                  <a:lnTo>
                    <a:pt x="90" y="1572"/>
                  </a:lnTo>
                  <a:lnTo>
                    <a:pt x="81" y="1574"/>
                  </a:lnTo>
                  <a:lnTo>
                    <a:pt x="75" y="1579"/>
                  </a:lnTo>
                  <a:lnTo>
                    <a:pt x="70" y="1583"/>
                  </a:lnTo>
                  <a:lnTo>
                    <a:pt x="65" y="1587"/>
                  </a:lnTo>
                  <a:lnTo>
                    <a:pt x="65" y="1587"/>
                  </a:lnTo>
                  <a:lnTo>
                    <a:pt x="59" y="1598"/>
                  </a:lnTo>
                  <a:lnTo>
                    <a:pt x="59" y="1598"/>
                  </a:lnTo>
                  <a:lnTo>
                    <a:pt x="56" y="1601"/>
                  </a:lnTo>
                  <a:lnTo>
                    <a:pt x="52" y="1605"/>
                  </a:lnTo>
                  <a:lnTo>
                    <a:pt x="52" y="1605"/>
                  </a:lnTo>
                  <a:lnTo>
                    <a:pt x="49" y="1608"/>
                  </a:lnTo>
                  <a:lnTo>
                    <a:pt x="46" y="1612"/>
                  </a:lnTo>
                  <a:lnTo>
                    <a:pt x="46" y="1612"/>
                  </a:lnTo>
                  <a:lnTo>
                    <a:pt x="43" y="1618"/>
                  </a:lnTo>
                  <a:lnTo>
                    <a:pt x="41" y="1625"/>
                  </a:lnTo>
                  <a:lnTo>
                    <a:pt x="41" y="1625"/>
                  </a:lnTo>
                  <a:lnTo>
                    <a:pt x="39" y="1631"/>
                  </a:lnTo>
                  <a:lnTo>
                    <a:pt x="39" y="1631"/>
                  </a:lnTo>
                  <a:lnTo>
                    <a:pt x="39" y="1635"/>
                  </a:lnTo>
                  <a:lnTo>
                    <a:pt x="41" y="1635"/>
                  </a:lnTo>
                  <a:lnTo>
                    <a:pt x="39" y="1635"/>
                  </a:lnTo>
                  <a:lnTo>
                    <a:pt x="39" y="1635"/>
                  </a:lnTo>
                  <a:lnTo>
                    <a:pt x="41" y="1635"/>
                  </a:lnTo>
                  <a:lnTo>
                    <a:pt x="39" y="1635"/>
                  </a:lnTo>
                  <a:lnTo>
                    <a:pt x="39" y="1635"/>
                  </a:lnTo>
                  <a:lnTo>
                    <a:pt x="39" y="1635"/>
                  </a:lnTo>
                  <a:lnTo>
                    <a:pt x="35" y="1641"/>
                  </a:lnTo>
                  <a:lnTo>
                    <a:pt x="35" y="1641"/>
                  </a:lnTo>
                  <a:lnTo>
                    <a:pt x="25" y="1651"/>
                  </a:lnTo>
                  <a:lnTo>
                    <a:pt x="25" y="1651"/>
                  </a:lnTo>
                  <a:lnTo>
                    <a:pt x="20" y="1657"/>
                  </a:lnTo>
                  <a:lnTo>
                    <a:pt x="20" y="1657"/>
                  </a:lnTo>
                  <a:lnTo>
                    <a:pt x="17" y="1663"/>
                  </a:lnTo>
                  <a:lnTo>
                    <a:pt x="17" y="1663"/>
                  </a:lnTo>
                  <a:lnTo>
                    <a:pt x="16" y="1669"/>
                  </a:lnTo>
                  <a:lnTo>
                    <a:pt x="13" y="1674"/>
                  </a:lnTo>
                  <a:lnTo>
                    <a:pt x="13" y="1674"/>
                  </a:lnTo>
                  <a:lnTo>
                    <a:pt x="10" y="1679"/>
                  </a:lnTo>
                  <a:lnTo>
                    <a:pt x="7" y="1682"/>
                  </a:lnTo>
                  <a:lnTo>
                    <a:pt x="7" y="1682"/>
                  </a:lnTo>
                  <a:lnTo>
                    <a:pt x="4" y="1685"/>
                  </a:lnTo>
                  <a:lnTo>
                    <a:pt x="4" y="1685"/>
                  </a:lnTo>
                  <a:lnTo>
                    <a:pt x="3" y="1690"/>
                  </a:lnTo>
                  <a:lnTo>
                    <a:pt x="3" y="1698"/>
                  </a:lnTo>
                  <a:lnTo>
                    <a:pt x="3" y="1698"/>
                  </a:lnTo>
                  <a:lnTo>
                    <a:pt x="3" y="1703"/>
                  </a:lnTo>
                  <a:lnTo>
                    <a:pt x="3" y="1703"/>
                  </a:lnTo>
                  <a:lnTo>
                    <a:pt x="6" y="1709"/>
                  </a:lnTo>
                  <a:lnTo>
                    <a:pt x="6" y="1709"/>
                  </a:lnTo>
                  <a:lnTo>
                    <a:pt x="12" y="1715"/>
                  </a:lnTo>
                  <a:lnTo>
                    <a:pt x="12" y="1715"/>
                  </a:lnTo>
                  <a:lnTo>
                    <a:pt x="16" y="1719"/>
                  </a:lnTo>
                  <a:lnTo>
                    <a:pt x="16" y="1719"/>
                  </a:lnTo>
                  <a:lnTo>
                    <a:pt x="17" y="1721"/>
                  </a:lnTo>
                  <a:lnTo>
                    <a:pt x="17" y="1721"/>
                  </a:lnTo>
                  <a:lnTo>
                    <a:pt x="16" y="1724"/>
                  </a:lnTo>
                  <a:lnTo>
                    <a:pt x="16" y="1724"/>
                  </a:lnTo>
                  <a:lnTo>
                    <a:pt x="14" y="1731"/>
                  </a:lnTo>
                  <a:lnTo>
                    <a:pt x="14" y="1731"/>
                  </a:lnTo>
                  <a:lnTo>
                    <a:pt x="13" y="1732"/>
                  </a:lnTo>
                  <a:lnTo>
                    <a:pt x="13" y="1732"/>
                  </a:lnTo>
                  <a:lnTo>
                    <a:pt x="14" y="1737"/>
                  </a:lnTo>
                  <a:lnTo>
                    <a:pt x="17" y="1741"/>
                  </a:lnTo>
                  <a:lnTo>
                    <a:pt x="17" y="1741"/>
                  </a:lnTo>
                  <a:lnTo>
                    <a:pt x="19" y="1744"/>
                  </a:lnTo>
                  <a:lnTo>
                    <a:pt x="22" y="1750"/>
                  </a:lnTo>
                  <a:lnTo>
                    <a:pt x="22" y="1750"/>
                  </a:lnTo>
                  <a:lnTo>
                    <a:pt x="22" y="1753"/>
                  </a:lnTo>
                  <a:lnTo>
                    <a:pt x="22" y="1753"/>
                  </a:lnTo>
                  <a:lnTo>
                    <a:pt x="22" y="1757"/>
                  </a:lnTo>
                  <a:lnTo>
                    <a:pt x="19" y="1763"/>
                  </a:lnTo>
                  <a:lnTo>
                    <a:pt x="19" y="1763"/>
                  </a:lnTo>
                  <a:lnTo>
                    <a:pt x="17" y="1767"/>
                  </a:lnTo>
                  <a:lnTo>
                    <a:pt x="16" y="1774"/>
                  </a:lnTo>
                  <a:lnTo>
                    <a:pt x="16" y="1774"/>
                  </a:lnTo>
                  <a:lnTo>
                    <a:pt x="16" y="1776"/>
                  </a:lnTo>
                  <a:lnTo>
                    <a:pt x="16" y="1776"/>
                  </a:lnTo>
                  <a:lnTo>
                    <a:pt x="16" y="1782"/>
                  </a:lnTo>
                  <a:lnTo>
                    <a:pt x="14" y="1787"/>
                  </a:lnTo>
                  <a:lnTo>
                    <a:pt x="14" y="1787"/>
                  </a:lnTo>
                  <a:lnTo>
                    <a:pt x="10" y="1795"/>
                  </a:lnTo>
                  <a:lnTo>
                    <a:pt x="10" y="1795"/>
                  </a:lnTo>
                  <a:lnTo>
                    <a:pt x="4" y="1800"/>
                  </a:lnTo>
                  <a:lnTo>
                    <a:pt x="4" y="1800"/>
                  </a:lnTo>
                  <a:lnTo>
                    <a:pt x="1" y="1805"/>
                  </a:lnTo>
                  <a:lnTo>
                    <a:pt x="0" y="1809"/>
                  </a:lnTo>
                  <a:lnTo>
                    <a:pt x="0" y="1809"/>
                  </a:lnTo>
                  <a:lnTo>
                    <a:pt x="1" y="1812"/>
                  </a:lnTo>
                  <a:lnTo>
                    <a:pt x="3" y="1815"/>
                  </a:lnTo>
                  <a:lnTo>
                    <a:pt x="3" y="1815"/>
                  </a:lnTo>
                  <a:lnTo>
                    <a:pt x="6" y="1816"/>
                  </a:lnTo>
                  <a:lnTo>
                    <a:pt x="6" y="1816"/>
                  </a:lnTo>
                  <a:lnTo>
                    <a:pt x="7" y="1821"/>
                  </a:lnTo>
                  <a:lnTo>
                    <a:pt x="7" y="1821"/>
                  </a:lnTo>
                  <a:lnTo>
                    <a:pt x="10" y="1828"/>
                  </a:lnTo>
                  <a:lnTo>
                    <a:pt x="10" y="1828"/>
                  </a:lnTo>
                  <a:lnTo>
                    <a:pt x="12" y="1834"/>
                  </a:lnTo>
                  <a:lnTo>
                    <a:pt x="12" y="1834"/>
                  </a:lnTo>
                  <a:lnTo>
                    <a:pt x="12" y="1837"/>
                  </a:lnTo>
                  <a:lnTo>
                    <a:pt x="12" y="1837"/>
                  </a:lnTo>
                  <a:lnTo>
                    <a:pt x="9" y="1842"/>
                  </a:lnTo>
                  <a:lnTo>
                    <a:pt x="9" y="1842"/>
                  </a:lnTo>
                  <a:lnTo>
                    <a:pt x="9" y="1844"/>
                  </a:lnTo>
                  <a:lnTo>
                    <a:pt x="9" y="1844"/>
                  </a:lnTo>
                  <a:lnTo>
                    <a:pt x="9" y="1847"/>
                  </a:lnTo>
                  <a:lnTo>
                    <a:pt x="10" y="1850"/>
                  </a:lnTo>
                  <a:lnTo>
                    <a:pt x="10" y="1850"/>
                  </a:lnTo>
                  <a:lnTo>
                    <a:pt x="13" y="1853"/>
                  </a:lnTo>
                  <a:lnTo>
                    <a:pt x="16" y="1854"/>
                  </a:lnTo>
                  <a:lnTo>
                    <a:pt x="16" y="1854"/>
                  </a:lnTo>
                  <a:lnTo>
                    <a:pt x="25" y="1860"/>
                  </a:lnTo>
                  <a:lnTo>
                    <a:pt x="25" y="1860"/>
                  </a:lnTo>
                  <a:lnTo>
                    <a:pt x="29" y="1863"/>
                  </a:lnTo>
                  <a:lnTo>
                    <a:pt x="29" y="1863"/>
                  </a:lnTo>
                  <a:lnTo>
                    <a:pt x="29" y="1866"/>
                  </a:lnTo>
                  <a:lnTo>
                    <a:pt x="29" y="1866"/>
                  </a:lnTo>
                  <a:lnTo>
                    <a:pt x="30" y="1867"/>
                  </a:lnTo>
                  <a:lnTo>
                    <a:pt x="30" y="1867"/>
                  </a:lnTo>
                  <a:lnTo>
                    <a:pt x="32" y="1868"/>
                  </a:lnTo>
                  <a:lnTo>
                    <a:pt x="32" y="1868"/>
                  </a:lnTo>
                  <a:lnTo>
                    <a:pt x="32" y="1870"/>
                  </a:lnTo>
                  <a:lnTo>
                    <a:pt x="32" y="1870"/>
                  </a:lnTo>
                  <a:lnTo>
                    <a:pt x="36" y="1874"/>
                  </a:lnTo>
                  <a:lnTo>
                    <a:pt x="45" y="1880"/>
                  </a:lnTo>
                  <a:lnTo>
                    <a:pt x="45" y="1880"/>
                  </a:lnTo>
                  <a:lnTo>
                    <a:pt x="49" y="1883"/>
                  </a:lnTo>
                  <a:lnTo>
                    <a:pt x="51" y="1884"/>
                  </a:lnTo>
                  <a:lnTo>
                    <a:pt x="51" y="1884"/>
                  </a:lnTo>
                  <a:lnTo>
                    <a:pt x="52" y="1886"/>
                  </a:lnTo>
                  <a:lnTo>
                    <a:pt x="52" y="1886"/>
                  </a:lnTo>
                  <a:lnTo>
                    <a:pt x="54" y="1889"/>
                  </a:lnTo>
                  <a:lnTo>
                    <a:pt x="54" y="1889"/>
                  </a:lnTo>
                  <a:lnTo>
                    <a:pt x="58" y="1896"/>
                  </a:lnTo>
                  <a:lnTo>
                    <a:pt x="58" y="1896"/>
                  </a:lnTo>
                  <a:lnTo>
                    <a:pt x="64" y="1900"/>
                  </a:lnTo>
                  <a:lnTo>
                    <a:pt x="64" y="1899"/>
                  </a:lnTo>
                  <a:lnTo>
                    <a:pt x="64" y="1900"/>
                  </a:lnTo>
                  <a:lnTo>
                    <a:pt x="64" y="1900"/>
                  </a:lnTo>
                  <a:lnTo>
                    <a:pt x="64" y="1899"/>
                  </a:lnTo>
                  <a:lnTo>
                    <a:pt x="64" y="1900"/>
                  </a:lnTo>
                  <a:lnTo>
                    <a:pt x="64" y="1900"/>
                  </a:lnTo>
                  <a:lnTo>
                    <a:pt x="64" y="1900"/>
                  </a:lnTo>
                  <a:lnTo>
                    <a:pt x="64" y="1900"/>
                  </a:lnTo>
                  <a:lnTo>
                    <a:pt x="64" y="1900"/>
                  </a:lnTo>
                  <a:lnTo>
                    <a:pt x="64" y="1900"/>
                  </a:lnTo>
                  <a:lnTo>
                    <a:pt x="64" y="1900"/>
                  </a:lnTo>
                  <a:lnTo>
                    <a:pt x="65" y="1903"/>
                  </a:lnTo>
                  <a:lnTo>
                    <a:pt x="65" y="1903"/>
                  </a:lnTo>
                  <a:lnTo>
                    <a:pt x="67" y="1910"/>
                  </a:lnTo>
                  <a:lnTo>
                    <a:pt x="67" y="1910"/>
                  </a:lnTo>
                  <a:lnTo>
                    <a:pt x="68" y="1913"/>
                  </a:lnTo>
                  <a:lnTo>
                    <a:pt x="68" y="1913"/>
                  </a:lnTo>
                  <a:lnTo>
                    <a:pt x="70" y="1916"/>
                  </a:lnTo>
                  <a:lnTo>
                    <a:pt x="70" y="1916"/>
                  </a:lnTo>
                  <a:lnTo>
                    <a:pt x="72" y="1922"/>
                  </a:lnTo>
                  <a:lnTo>
                    <a:pt x="77" y="1928"/>
                  </a:lnTo>
                  <a:lnTo>
                    <a:pt x="77" y="1928"/>
                  </a:lnTo>
                  <a:lnTo>
                    <a:pt x="81" y="1932"/>
                  </a:lnTo>
                  <a:lnTo>
                    <a:pt x="87" y="1935"/>
                  </a:lnTo>
                  <a:lnTo>
                    <a:pt x="87" y="1935"/>
                  </a:lnTo>
                  <a:lnTo>
                    <a:pt x="98" y="1942"/>
                  </a:lnTo>
                  <a:lnTo>
                    <a:pt x="98" y="1942"/>
                  </a:lnTo>
                  <a:lnTo>
                    <a:pt x="132" y="1966"/>
                  </a:lnTo>
                  <a:lnTo>
                    <a:pt x="132" y="1966"/>
                  </a:lnTo>
                  <a:lnTo>
                    <a:pt x="146" y="1973"/>
                  </a:lnTo>
                  <a:lnTo>
                    <a:pt x="161" y="1977"/>
                  </a:lnTo>
                  <a:lnTo>
                    <a:pt x="161" y="1977"/>
                  </a:lnTo>
                  <a:lnTo>
                    <a:pt x="162" y="1977"/>
                  </a:lnTo>
                  <a:lnTo>
                    <a:pt x="162" y="1977"/>
                  </a:lnTo>
                  <a:lnTo>
                    <a:pt x="172" y="1974"/>
                  </a:lnTo>
                  <a:lnTo>
                    <a:pt x="172" y="1974"/>
                  </a:lnTo>
                  <a:lnTo>
                    <a:pt x="194" y="1967"/>
                  </a:lnTo>
                  <a:lnTo>
                    <a:pt x="194" y="1967"/>
                  </a:lnTo>
                  <a:lnTo>
                    <a:pt x="204" y="1964"/>
                  </a:lnTo>
                  <a:lnTo>
                    <a:pt x="204" y="1964"/>
                  </a:lnTo>
                  <a:lnTo>
                    <a:pt x="210" y="1963"/>
                  </a:lnTo>
                  <a:lnTo>
                    <a:pt x="211" y="1963"/>
                  </a:lnTo>
                  <a:lnTo>
                    <a:pt x="211" y="1963"/>
                  </a:lnTo>
                  <a:lnTo>
                    <a:pt x="220" y="1964"/>
                  </a:lnTo>
                  <a:lnTo>
                    <a:pt x="230" y="1967"/>
                  </a:lnTo>
                  <a:lnTo>
                    <a:pt x="230" y="1967"/>
                  </a:lnTo>
                  <a:lnTo>
                    <a:pt x="251" y="1973"/>
                  </a:lnTo>
                  <a:lnTo>
                    <a:pt x="251" y="1973"/>
                  </a:lnTo>
                  <a:lnTo>
                    <a:pt x="252" y="1973"/>
                  </a:lnTo>
                  <a:lnTo>
                    <a:pt x="252" y="1973"/>
                  </a:lnTo>
                  <a:lnTo>
                    <a:pt x="258" y="1971"/>
                  </a:lnTo>
                  <a:lnTo>
                    <a:pt x="266" y="1968"/>
                  </a:lnTo>
                  <a:lnTo>
                    <a:pt x="266" y="1968"/>
                  </a:lnTo>
                  <a:lnTo>
                    <a:pt x="294" y="1957"/>
                  </a:lnTo>
                  <a:lnTo>
                    <a:pt x="294" y="1957"/>
                  </a:lnTo>
                  <a:lnTo>
                    <a:pt x="304" y="1952"/>
                  </a:lnTo>
                  <a:lnTo>
                    <a:pt x="304" y="1952"/>
                  </a:lnTo>
                  <a:lnTo>
                    <a:pt x="307" y="1950"/>
                  </a:lnTo>
                  <a:lnTo>
                    <a:pt x="307" y="1950"/>
                  </a:lnTo>
                  <a:lnTo>
                    <a:pt x="310" y="1948"/>
                  </a:lnTo>
                  <a:lnTo>
                    <a:pt x="308" y="1948"/>
                  </a:lnTo>
                  <a:lnTo>
                    <a:pt x="310" y="1950"/>
                  </a:lnTo>
                  <a:lnTo>
                    <a:pt x="310" y="1948"/>
                  </a:lnTo>
                  <a:lnTo>
                    <a:pt x="308" y="1948"/>
                  </a:lnTo>
                  <a:lnTo>
                    <a:pt x="310" y="1950"/>
                  </a:lnTo>
                  <a:lnTo>
                    <a:pt x="310" y="1950"/>
                  </a:lnTo>
                  <a:lnTo>
                    <a:pt x="311" y="1948"/>
                  </a:lnTo>
                  <a:lnTo>
                    <a:pt x="311" y="1948"/>
                  </a:lnTo>
                  <a:lnTo>
                    <a:pt x="333" y="1947"/>
                  </a:lnTo>
                  <a:lnTo>
                    <a:pt x="333" y="1947"/>
                  </a:lnTo>
                  <a:lnTo>
                    <a:pt x="350" y="1947"/>
                  </a:lnTo>
                  <a:lnTo>
                    <a:pt x="350" y="1947"/>
                  </a:lnTo>
                  <a:lnTo>
                    <a:pt x="350" y="1947"/>
                  </a:lnTo>
                  <a:lnTo>
                    <a:pt x="350" y="1947"/>
                  </a:lnTo>
                  <a:lnTo>
                    <a:pt x="350" y="1947"/>
                  </a:lnTo>
                  <a:lnTo>
                    <a:pt x="350" y="1947"/>
                  </a:lnTo>
                  <a:lnTo>
                    <a:pt x="350" y="1947"/>
                  </a:lnTo>
                  <a:lnTo>
                    <a:pt x="350" y="1947"/>
                  </a:lnTo>
                  <a:lnTo>
                    <a:pt x="358" y="1954"/>
                  </a:lnTo>
                  <a:lnTo>
                    <a:pt x="358" y="1954"/>
                  </a:lnTo>
                  <a:lnTo>
                    <a:pt x="361" y="1958"/>
                  </a:lnTo>
                  <a:lnTo>
                    <a:pt x="361" y="1958"/>
                  </a:lnTo>
                  <a:lnTo>
                    <a:pt x="364" y="1961"/>
                  </a:lnTo>
                  <a:lnTo>
                    <a:pt x="364" y="1960"/>
                  </a:lnTo>
                  <a:lnTo>
                    <a:pt x="364" y="1961"/>
                  </a:lnTo>
                  <a:lnTo>
                    <a:pt x="364" y="1961"/>
                  </a:lnTo>
                  <a:lnTo>
                    <a:pt x="364" y="1960"/>
                  </a:lnTo>
                  <a:lnTo>
                    <a:pt x="364" y="1961"/>
                  </a:lnTo>
                  <a:lnTo>
                    <a:pt x="364" y="1961"/>
                  </a:lnTo>
                  <a:lnTo>
                    <a:pt x="364" y="1961"/>
                  </a:lnTo>
                  <a:lnTo>
                    <a:pt x="364" y="1961"/>
                  </a:lnTo>
                  <a:lnTo>
                    <a:pt x="368" y="1971"/>
                  </a:lnTo>
                  <a:lnTo>
                    <a:pt x="368" y="1971"/>
                  </a:lnTo>
                  <a:lnTo>
                    <a:pt x="371" y="1977"/>
                  </a:lnTo>
                  <a:lnTo>
                    <a:pt x="371" y="1977"/>
                  </a:lnTo>
                  <a:lnTo>
                    <a:pt x="372" y="1980"/>
                  </a:lnTo>
                  <a:lnTo>
                    <a:pt x="375" y="1981"/>
                  </a:lnTo>
                  <a:lnTo>
                    <a:pt x="375" y="1981"/>
                  </a:lnTo>
                  <a:lnTo>
                    <a:pt x="384" y="1983"/>
                  </a:lnTo>
                  <a:lnTo>
                    <a:pt x="384" y="1983"/>
                  </a:lnTo>
                  <a:lnTo>
                    <a:pt x="401" y="1981"/>
                  </a:lnTo>
                  <a:lnTo>
                    <a:pt x="401" y="1981"/>
                  </a:lnTo>
                  <a:lnTo>
                    <a:pt x="417" y="1980"/>
                  </a:lnTo>
                  <a:lnTo>
                    <a:pt x="417" y="1980"/>
                  </a:lnTo>
                  <a:lnTo>
                    <a:pt x="420" y="1980"/>
                  </a:lnTo>
                  <a:lnTo>
                    <a:pt x="420" y="1980"/>
                  </a:lnTo>
                  <a:lnTo>
                    <a:pt x="424" y="1981"/>
                  </a:lnTo>
                  <a:lnTo>
                    <a:pt x="427" y="1983"/>
                  </a:lnTo>
                  <a:lnTo>
                    <a:pt x="427" y="1983"/>
                  </a:lnTo>
                  <a:lnTo>
                    <a:pt x="432" y="1987"/>
                  </a:lnTo>
                  <a:lnTo>
                    <a:pt x="432" y="1987"/>
                  </a:lnTo>
                  <a:lnTo>
                    <a:pt x="433" y="1989"/>
                  </a:lnTo>
                  <a:lnTo>
                    <a:pt x="433" y="1989"/>
                  </a:lnTo>
                  <a:lnTo>
                    <a:pt x="436" y="1996"/>
                  </a:lnTo>
                  <a:lnTo>
                    <a:pt x="437" y="2003"/>
                  </a:lnTo>
                  <a:lnTo>
                    <a:pt x="437" y="2005"/>
                  </a:lnTo>
                  <a:lnTo>
                    <a:pt x="437" y="2005"/>
                  </a:lnTo>
                  <a:lnTo>
                    <a:pt x="436" y="2009"/>
                  </a:lnTo>
                  <a:lnTo>
                    <a:pt x="434" y="2015"/>
                  </a:lnTo>
                  <a:lnTo>
                    <a:pt x="434" y="2015"/>
                  </a:lnTo>
                  <a:lnTo>
                    <a:pt x="432" y="2021"/>
                  </a:lnTo>
                  <a:lnTo>
                    <a:pt x="432" y="2021"/>
                  </a:lnTo>
                  <a:lnTo>
                    <a:pt x="432" y="2026"/>
                  </a:lnTo>
                  <a:lnTo>
                    <a:pt x="432" y="2026"/>
                  </a:lnTo>
                  <a:lnTo>
                    <a:pt x="430" y="2039"/>
                  </a:lnTo>
                  <a:lnTo>
                    <a:pt x="430" y="2039"/>
                  </a:lnTo>
                  <a:lnTo>
                    <a:pt x="429" y="2045"/>
                  </a:lnTo>
                  <a:lnTo>
                    <a:pt x="429" y="2045"/>
                  </a:lnTo>
                  <a:lnTo>
                    <a:pt x="429" y="2051"/>
                  </a:lnTo>
                  <a:lnTo>
                    <a:pt x="429" y="2051"/>
                  </a:lnTo>
                  <a:lnTo>
                    <a:pt x="427" y="2054"/>
                  </a:lnTo>
                  <a:lnTo>
                    <a:pt x="427" y="2054"/>
                  </a:lnTo>
                  <a:lnTo>
                    <a:pt x="426" y="2055"/>
                  </a:lnTo>
                  <a:lnTo>
                    <a:pt x="426" y="2055"/>
                  </a:lnTo>
                  <a:lnTo>
                    <a:pt x="423" y="2057"/>
                  </a:lnTo>
                  <a:lnTo>
                    <a:pt x="423" y="2057"/>
                  </a:lnTo>
                  <a:lnTo>
                    <a:pt x="420" y="2060"/>
                  </a:lnTo>
                  <a:lnTo>
                    <a:pt x="420" y="2060"/>
                  </a:lnTo>
                  <a:lnTo>
                    <a:pt x="420" y="2063"/>
                  </a:lnTo>
                  <a:lnTo>
                    <a:pt x="420" y="2063"/>
                  </a:lnTo>
                  <a:lnTo>
                    <a:pt x="421" y="2065"/>
                  </a:lnTo>
                  <a:lnTo>
                    <a:pt x="421" y="2065"/>
                  </a:lnTo>
                  <a:lnTo>
                    <a:pt x="424" y="2068"/>
                  </a:lnTo>
                  <a:lnTo>
                    <a:pt x="424" y="2068"/>
                  </a:lnTo>
                  <a:lnTo>
                    <a:pt x="427" y="2073"/>
                  </a:lnTo>
                  <a:lnTo>
                    <a:pt x="427" y="2073"/>
                  </a:lnTo>
                  <a:lnTo>
                    <a:pt x="430" y="2076"/>
                  </a:lnTo>
                  <a:lnTo>
                    <a:pt x="430" y="2076"/>
                  </a:lnTo>
                  <a:lnTo>
                    <a:pt x="430" y="2076"/>
                  </a:lnTo>
                  <a:lnTo>
                    <a:pt x="430" y="2077"/>
                  </a:lnTo>
                  <a:lnTo>
                    <a:pt x="430" y="2077"/>
                  </a:lnTo>
                  <a:lnTo>
                    <a:pt x="432" y="2081"/>
                  </a:lnTo>
                  <a:lnTo>
                    <a:pt x="432" y="2081"/>
                  </a:lnTo>
                  <a:lnTo>
                    <a:pt x="433" y="2086"/>
                  </a:lnTo>
                  <a:lnTo>
                    <a:pt x="433" y="2086"/>
                  </a:lnTo>
                  <a:lnTo>
                    <a:pt x="442" y="2096"/>
                  </a:lnTo>
                  <a:lnTo>
                    <a:pt x="453" y="2107"/>
                  </a:lnTo>
                  <a:lnTo>
                    <a:pt x="453" y="2107"/>
                  </a:lnTo>
                  <a:lnTo>
                    <a:pt x="463" y="2119"/>
                  </a:lnTo>
                  <a:lnTo>
                    <a:pt x="463" y="2119"/>
                  </a:lnTo>
                  <a:lnTo>
                    <a:pt x="468" y="2122"/>
                  </a:lnTo>
                  <a:lnTo>
                    <a:pt x="468" y="2122"/>
                  </a:lnTo>
                  <a:lnTo>
                    <a:pt x="468" y="2123"/>
                  </a:lnTo>
                  <a:lnTo>
                    <a:pt x="468" y="2123"/>
                  </a:lnTo>
                  <a:lnTo>
                    <a:pt x="471" y="2132"/>
                  </a:lnTo>
                  <a:lnTo>
                    <a:pt x="472" y="2139"/>
                  </a:lnTo>
                  <a:lnTo>
                    <a:pt x="472" y="2139"/>
                  </a:lnTo>
                  <a:lnTo>
                    <a:pt x="474" y="2144"/>
                  </a:lnTo>
                  <a:lnTo>
                    <a:pt x="474" y="2145"/>
                  </a:lnTo>
                  <a:lnTo>
                    <a:pt x="474" y="2145"/>
                  </a:lnTo>
                  <a:lnTo>
                    <a:pt x="479" y="2152"/>
                  </a:lnTo>
                  <a:lnTo>
                    <a:pt x="479" y="2152"/>
                  </a:lnTo>
                  <a:lnTo>
                    <a:pt x="482" y="2154"/>
                  </a:lnTo>
                  <a:lnTo>
                    <a:pt x="482" y="2155"/>
                  </a:lnTo>
                  <a:lnTo>
                    <a:pt x="482" y="2155"/>
                  </a:lnTo>
                  <a:lnTo>
                    <a:pt x="484" y="2154"/>
                  </a:lnTo>
                  <a:lnTo>
                    <a:pt x="482" y="2155"/>
                  </a:lnTo>
                  <a:lnTo>
                    <a:pt x="482" y="2155"/>
                  </a:lnTo>
                  <a:lnTo>
                    <a:pt x="484" y="2154"/>
                  </a:lnTo>
                  <a:lnTo>
                    <a:pt x="482" y="2155"/>
                  </a:lnTo>
                  <a:lnTo>
                    <a:pt x="484" y="2154"/>
                  </a:lnTo>
                  <a:lnTo>
                    <a:pt x="482" y="2155"/>
                  </a:lnTo>
                  <a:lnTo>
                    <a:pt x="482" y="2155"/>
                  </a:lnTo>
                  <a:lnTo>
                    <a:pt x="484" y="2154"/>
                  </a:lnTo>
                  <a:lnTo>
                    <a:pt x="482" y="2155"/>
                  </a:lnTo>
                  <a:lnTo>
                    <a:pt x="482" y="2155"/>
                  </a:lnTo>
                  <a:lnTo>
                    <a:pt x="482" y="2155"/>
                  </a:lnTo>
                  <a:lnTo>
                    <a:pt x="482" y="2155"/>
                  </a:lnTo>
                  <a:lnTo>
                    <a:pt x="485" y="2165"/>
                  </a:lnTo>
                  <a:lnTo>
                    <a:pt x="485" y="2165"/>
                  </a:lnTo>
                  <a:lnTo>
                    <a:pt x="488" y="2176"/>
                  </a:lnTo>
                  <a:lnTo>
                    <a:pt x="488" y="2176"/>
                  </a:lnTo>
                  <a:lnTo>
                    <a:pt x="490" y="2183"/>
                  </a:lnTo>
                  <a:lnTo>
                    <a:pt x="490" y="2183"/>
                  </a:lnTo>
                  <a:lnTo>
                    <a:pt x="491" y="2197"/>
                  </a:lnTo>
                  <a:lnTo>
                    <a:pt x="491" y="2197"/>
                  </a:lnTo>
                  <a:lnTo>
                    <a:pt x="491" y="2203"/>
                  </a:lnTo>
                  <a:lnTo>
                    <a:pt x="491" y="2203"/>
                  </a:lnTo>
                  <a:lnTo>
                    <a:pt x="494" y="2209"/>
                  </a:lnTo>
                  <a:lnTo>
                    <a:pt x="494" y="2209"/>
                  </a:lnTo>
                  <a:lnTo>
                    <a:pt x="495" y="2215"/>
                  </a:lnTo>
                  <a:lnTo>
                    <a:pt x="498" y="2222"/>
                  </a:lnTo>
                  <a:lnTo>
                    <a:pt x="498" y="2222"/>
                  </a:lnTo>
                  <a:lnTo>
                    <a:pt x="500" y="2235"/>
                  </a:lnTo>
                  <a:lnTo>
                    <a:pt x="500" y="2235"/>
                  </a:lnTo>
                  <a:lnTo>
                    <a:pt x="500" y="2239"/>
                  </a:lnTo>
                  <a:lnTo>
                    <a:pt x="500" y="2239"/>
                  </a:lnTo>
                  <a:lnTo>
                    <a:pt x="498" y="2241"/>
                  </a:lnTo>
                  <a:lnTo>
                    <a:pt x="498" y="2241"/>
                  </a:lnTo>
                  <a:lnTo>
                    <a:pt x="495" y="2245"/>
                  </a:lnTo>
                  <a:lnTo>
                    <a:pt x="495" y="2245"/>
                  </a:lnTo>
                  <a:lnTo>
                    <a:pt x="490" y="2249"/>
                  </a:lnTo>
                  <a:lnTo>
                    <a:pt x="490" y="2249"/>
                  </a:lnTo>
                  <a:lnTo>
                    <a:pt x="487" y="2252"/>
                  </a:lnTo>
                  <a:lnTo>
                    <a:pt x="484" y="2255"/>
                  </a:lnTo>
                  <a:lnTo>
                    <a:pt x="484" y="2255"/>
                  </a:lnTo>
                  <a:lnTo>
                    <a:pt x="482" y="2260"/>
                  </a:lnTo>
                  <a:lnTo>
                    <a:pt x="482" y="2260"/>
                  </a:lnTo>
                  <a:lnTo>
                    <a:pt x="476" y="2283"/>
                  </a:lnTo>
                  <a:lnTo>
                    <a:pt x="476" y="2283"/>
                  </a:lnTo>
                  <a:lnTo>
                    <a:pt x="474" y="2302"/>
                  </a:lnTo>
                  <a:lnTo>
                    <a:pt x="474" y="2302"/>
                  </a:lnTo>
                  <a:lnTo>
                    <a:pt x="472" y="2309"/>
                  </a:lnTo>
                  <a:lnTo>
                    <a:pt x="472" y="2309"/>
                  </a:lnTo>
                  <a:lnTo>
                    <a:pt x="472" y="2319"/>
                  </a:lnTo>
                  <a:lnTo>
                    <a:pt x="472" y="2319"/>
                  </a:lnTo>
                  <a:lnTo>
                    <a:pt x="474" y="2332"/>
                  </a:lnTo>
                  <a:lnTo>
                    <a:pt x="474" y="2332"/>
                  </a:lnTo>
                  <a:lnTo>
                    <a:pt x="475" y="2338"/>
                  </a:lnTo>
                  <a:lnTo>
                    <a:pt x="476" y="2344"/>
                  </a:lnTo>
                  <a:lnTo>
                    <a:pt x="476" y="2344"/>
                  </a:lnTo>
                  <a:lnTo>
                    <a:pt x="488" y="2359"/>
                  </a:lnTo>
                  <a:lnTo>
                    <a:pt x="488" y="2359"/>
                  </a:lnTo>
                  <a:lnTo>
                    <a:pt x="492" y="2370"/>
                  </a:lnTo>
                  <a:lnTo>
                    <a:pt x="495" y="2377"/>
                  </a:lnTo>
                  <a:lnTo>
                    <a:pt x="495" y="2377"/>
                  </a:lnTo>
                  <a:lnTo>
                    <a:pt x="497" y="2386"/>
                  </a:lnTo>
                  <a:lnTo>
                    <a:pt x="501" y="2394"/>
                  </a:lnTo>
                  <a:lnTo>
                    <a:pt x="501" y="2394"/>
                  </a:lnTo>
                  <a:lnTo>
                    <a:pt x="511" y="2409"/>
                  </a:lnTo>
                  <a:lnTo>
                    <a:pt x="511" y="2409"/>
                  </a:lnTo>
                  <a:lnTo>
                    <a:pt x="514" y="2412"/>
                  </a:lnTo>
                  <a:lnTo>
                    <a:pt x="514" y="2417"/>
                  </a:lnTo>
                  <a:lnTo>
                    <a:pt x="516" y="2429"/>
                  </a:lnTo>
                  <a:lnTo>
                    <a:pt x="516" y="2429"/>
                  </a:lnTo>
                  <a:lnTo>
                    <a:pt x="516" y="2441"/>
                  </a:lnTo>
                  <a:lnTo>
                    <a:pt x="518" y="2451"/>
                  </a:lnTo>
                  <a:lnTo>
                    <a:pt x="518" y="2451"/>
                  </a:lnTo>
                  <a:lnTo>
                    <a:pt x="521" y="2467"/>
                  </a:lnTo>
                  <a:lnTo>
                    <a:pt x="523" y="2475"/>
                  </a:lnTo>
                  <a:lnTo>
                    <a:pt x="524" y="2486"/>
                  </a:lnTo>
                  <a:lnTo>
                    <a:pt x="524" y="2486"/>
                  </a:lnTo>
                  <a:lnTo>
                    <a:pt x="524" y="2491"/>
                  </a:lnTo>
                  <a:lnTo>
                    <a:pt x="527" y="2496"/>
                  </a:lnTo>
                  <a:lnTo>
                    <a:pt x="533" y="2507"/>
                  </a:lnTo>
                  <a:lnTo>
                    <a:pt x="533" y="2507"/>
                  </a:lnTo>
                  <a:lnTo>
                    <a:pt x="542" y="2517"/>
                  </a:lnTo>
                  <a:lnTo>
                    <a:pt x="547" y="2523"/>
                  </a:lnTo>
                  <a:lnTo>
                    <a:pt x="547" y="2523"/>
                  </a:lnTo>
                  <a:lnTo>
                    <a:pt x="556" y="2533"/>
                  </a:lnTo>
                  <a:lnTo>
                    <a:pt x="560" y="2543"/>
                  </a:lnTo>
                  <a:lnTo>
                    <a:pt x="560" y="2543"/>
                  </a:lnTo>
                  <a:lnTo>
                    <a:pt x="560" y="2545"/>
                  </a:lnTo>
                  <a:lnTo>
                    <a:pt x="560" y="2545"/>
                  </a:lnTo>
                  <a:lnTo>
                    <a:pt x="560" y="2545"/>
                  </a:lnTo>
                  <a:lnTo>
                    <a:pt x="560" y="2545"/>
                  </a:lnTo>
                  <a:lnTo>
                    <a:pt x="560" y="2545"/>
                  </a:lnTo>
                  <a:lnTo>
                    <a:pt x="560" y="2545"/>
                  </a:lnTo>
                  <a:lnTo>
                    <a:pt x="560" y="2545"/>
                  </a:lnTo>
                  <a:lnTo>
                    <a:pt x="560" y="2545"/>
                  </a:lnTo>
                  <a:lnTo>
                    <a:pt x="560" y="2545"/>
                  </a:lnTo>
                  <a:lnTo>
                    <a:pt x="560" y="2545"/>
                  </a:lnTo>
                  <a:lnTo>
                    <a:pt x="560" y="2545"/>
                  </a:lnTo>
                  <a:lnTo>
                    <a:pt x="560" y="2545"/>
                  </a:lnTo>
                  <a:lnTo>
                    <a:pt x="560" y="2545"/>
                  </a:lnTo>
                  <a:lnTo>
                    <a:pt x="560" y="2545"/>
                  </a:lnTo>
                  <a:lnTo>
                    <a:pt x="560" y="2545"/>
                  </a:lnTo>
                  <a:lnTo>
                    <a:pt x="558" y="2545"/>
                  </a:lnTo>
                  <a:lnTo>
                    <a:pt x="558" y="2545"/>
                  </a:lnTo>
                  <a:lnTo>
                    <a:pt x="556" y="2546"/>
                  </a:lnTo>
                  <a:lnTo>
                    <a:pt x="556" y="2546"/>
                  </a:lnTo>
                  <a:lnTo>
                    <a:pt x="553" y="2548"/>
                  </a:lnTo>
                  <a:lnTo>
                    <a:pt x="553" y="2548"/>
                  </a:lnTo>
                  <a:lnTo>
                    <a:pt x="552" y="2552"/>
                  </a:lnTo>
                  <a:lnTo>
                    <a:pt x="552" y="2552"/>
                  </a:lnTo>
                  <a:lnTo>
                    <a:pt x="553" y="2556"/>
                  </a:lnTo>
                  <a:lnTo>
                    <a:pt x="555" y="2562"/>
                  </a:lnTo>
                  <a:lnTo>
                    <a:pt x="555" y="2562"/>
                  </a:lnTo>
                  <a:lnTo>
                    <a:pt x="560" y="2574"/>
                  </a:lnTo>
                  <a:lnTo>
                    <a:pt x="560" y="2574"/>
                  </a:lnTo>
                  <a:lnTo>
                    <a:pt x="563" y="2581"/>
                  </a:lnTo>
                  <a:lnTo>
                    <a:pt x="565" y="2588"/>
                  </a:lnTo>
                  <a:lnTo>
                    <a:pt x="565" y="2588"/>
                  </a:lnTo>
                  <a:lnTo>
                    <a:pt x="563" y="2591"/>
                  </a:lnTo>
                  <a:lnTo>
                    <a:pt x="562" y="2594"/>
                  </a:lnTo>
                  <a:lnTo>
                    <a:pt x="562" y="2594"/>
                  </a:lnTo>
                  <a:lnTo>
                    <a:pt x="560" y="2597"/>
                  </a:lnTo>
                  <a:lnTo>
                    <a:pt x="559" y="2601"/>
                  </a:lnTo>
                  <a:lnTo>
                    <a:pt x="559" y="2601"/>
                  </a:lnTo>
                  <a:lnTo>
                    <a:pt x="560" y="2606"/>
                  </a:lnTo>
                  <a:lnTo>
                    <a:pt x="560" y="2606"/>
                  </a:lnTo>
                  <a:lnTo>
                    <a:pt x="563" y="2610"/>
                  </a:lnTo>
                  <a:lnTo>
                    <a:pt x="563" y="2610"/>
                  </a:lnTo>
                  <a:lnTo>
                    <a:pt x="566" y="2617"/>
                  </a:lnTo>
                  <a:lnTo>
                    <a:pt x="566" y="2617"/>
                  </a:lnTo>
                  <a:lnTo>
                    <a:pt x="568" y="2625"/>
                  </a:lnTo>
                  <a:lnTo>
                    <a:pt x="568" y="2625"/>
                  </a:lnTo>
                  <a:lnTo>
                    <a:pt x="571" y="2629"/>
                  </a:lnTo>
                  <a:lnTo>
                    <a:pt x="571" y="2629"/>
                  </a:lnTo>
                  <a:lnTo>
                    <a:pt x="572" y="2630"/>
                  </a:lnTo>
                  <a:lnTo>
                    <a:pt x="572" y="2630"/>
                  </a:lnTo>
                  <a:lnTo>
                    <a:pt x="576" y="2630"/>
                  </a:lnTo>
                  <a:lnTo>
                    <a:pt x="576" y="2630"/>
                  </a:lnTo>
                  <a:lnTo>
                    <a:pt x="581" y="2630"/>
                  </a:lnTo>
                  <a:lnTo>
                    <a:pt x="581" y="2630"/>
                  </a:lnTo>
                  <a:lnTo>
                    <a:pt x="582" y="2632"/>
                  </a:lnTo>
                  <a:lnTo>
                    <a:pt x="582" y="2632"/>
                  </a:lnTo>
                  <a:lnTo>
                    <a:pt x="585" y="2635"/>
                  </a:lnTo>
                  <a:lnTo>
                    <a:pt x="585" y="2635"/>
                  </a:lnTo>
                  <a:lnTo>
                    <a:pt x="588" y="2636"/>
                  </a:lnTo>
                  <a:lnTo>
                    <a:pt x="592" y="2639"/>
                  </a:lnTo>
                  <a:lnTo>
                    <a:pt x="592" y="2639"/>
                  </a:lnTo>
                  <a:lnTo>
                    <a:pt x="597" y="2639"/>
                  </a:lnTo>
                  <a:lnTo>
                    <a:pt x="597" y="2639"/>
                  </a:lnTo>
                  <a:lnTo>
                    <a:pt x="600" y="2638"/>
                  </a:lnTo>
                  <a:lnTo>
                    <a:pt x="600" y="2638"/>
                  </a:lnTo>
                  <a:lnTo>
                    <a:pt x="602" y="2636"/>
                  </a:lnTo>
                  <a:lnTo>
                    <a:pt x="602" y="2635"/>
                  </a:lnTo>
                  <a:lnTo>
                    <a:pt x="602" y="2635"/>
                  </a:lnTo>
                  <a:lnTo>
                    <a:pt x="605" y="2632"/>
                  </a:lnTo>
                  <a:lnTo>
                    <a:pt x="605" y="2632"/>
                  </a:lnTo>
                  <a:lnTo>
                    <a:pt x="605" y="2632"/>
                  </a:lnTo>
                  <a:lnTo>
                    <a:pt x="607" y="2632"/>
                  </a:lnTo>
                  <a:lnTo>
                    <a:pt x="607" y="2632"/>
                  </a:lnTo>
                  <a:lnTo>
                    <a:pt x="611" y="2632"/>
                  </a:lnTo>
                  <a:lnTo>
                    <a:pt x="611" y="2632"/>
                  </a:lnTo>
                  <a:lnTo>
                    <a:pt x="616" y="2632"/>
                  </a:lnTo>
                  <a:lnTo>
                    <a:pt x="616" y="2632"/>
                  </a:lnTo>
                  <a:lnTo>
                    <a:pt x="620" y="2632"/>
                  </a:lnTo>
                  <a:lnTo>
                    <a:pt x="620" y="2632"/>
                  </a:lnTo>
                  <a:lnTo>
                    <a:pt x="623" y="2629"/>
                  </a:lnTo>
                  <a:lnTo>
                    <a:pt x="623" y="2629"/>
                  </a:lnTo>
                  <a:lnTo>
                    <a:pt x="627" y="2626"/>
                  </a:lnTo>
                  <a:lnTo>
                    <a:pt x="627" y="2626"/>
                  </a:lnTo>
                  <a:lnTo>
                    <a:pt x="631" y="2623"/>
                  </a:lnTo>
                  <a:lnTo>
                    <a:pt x="631" y="2623"/>
                  </a:lnTo>
                  <a:lnTo>
                    <a:pt x="636" y="2623"/>
                  </a:lnTo>
                  <a:lnTo>
                    <a:pt x="636" y="2623"/>
                  </a:lnTo>
                  <a:lnTo>
                    <a:pt x="640" y="2623"/>
                  </a:lnTo>
                  <a:lnTo>
                    <a:pt x="640" y="2623"/>
                  </a:lnTo>
                  <a:lnTo>
                    <a:pt x="644" y="2623"/>
                  </a:lnTo>
                  <a:lnTo>
                    <a:pt x="644" y="2623"/>
                  </a:lnTo>
                  <a:lnTo>
                    <a:pt x="658" y="2623"/>
                  </a:lnTo>
                  <a:lnTo>
                    <a:pt x="658" y="2623"/>
                  </a:lnTo>
                  <a:lnTo>
                    <a:pt x="660" y="2623"/>
                  </a:lnTo>
                  <a:lnTo>
                    <a:pt x="660" y="2623"/>
                  </a:lnTo>
                  <a:lnTo>
                    <a:pt x="666" y="2625"/>
                  </a:lnTo>
                  <a:lnTo>
                    <a:pt x="672" y="2625"/>
                  </a:lnTo>
                  <a:lnTo>
                    <a:pt x="672" y="2625"/>
                  </a:lnTo>
                  <a:lnTo>
                    <a:pt x="676" y="2623"/>
                  </a:lnTo>
                  <a:lnTo>
                    <a:pt x="676" y="2623"/>
                  </a:lnTo>
                  <a:lnTo>
                    <a:pt x="679" y="2623"/>
                  </a:lnTo>
                  <a:lnTo>
                    <a:pt x="679" y="2623"/>
                  </a:lnTo>
                  <a:lnTo>
                    <a:pt x="686" y="2622"/>
                  </a:lnTo>
                  <a:lnTo>
                    <a:pt x="686" y="2622"/>
                  </a:lnTo>
                  <a:lnTo>
                    <a:pt x="694" y="2620"/>
                  </a:lnTo>
                  <a:lnTo>
                    <a:pt x="694" y="2620"/>
                  </a:lnTo>
                  <a:lnTo>
                    <a:pt x="702" y="2617"/>
                  </a:lnTo>
                  <a:lnTo>
                    <a:pt x="707" y="2616"/>
                  </a:lnTo>
                  <a:lnTo>
                    <a:pt x="711" y="2613"/>
                  </a:lnTo>
                  <a:lnTo>
                    <a:pt x="711" y="2613"/>
                  </a:lnTo>
                  <a:lnTo>
                    <a:pt x="727" y="2600"/>
                  </a:lnTo>
                  <a:lnTo>
                    <a:pt x="727" y="2600"/>
                  </a:lnTo>
                  <a:lnTo>
                    <a:pt x="736" y="2593"/>
                  </a:lnTo>
                  <a:lnTo>
                    <a:pt x="736" y="2593"/>
                  </a:lnTo>
                  <a:lnTo>
                    <a:pt x="739" y="2590"/>
                  </a:lnTo>
                  <a:lnTo>
                    <a:pt x="739" y="2588"/>
                  </a:lnTo>
                  <a:lnTo>
                    <a:pt x="740" y="2588"/>
                  </a:lnTo>
                  <a:lnTo>
                    <a:pt x="740" y="2588"/>
                  </a:lnTo>
                  <a:lnTo>
                    <a:pt x="740" y="2588"/>
                  </a:lnTo>
                  <a:lnTo>
                    <a:pt x="740" y="2588"/>
                  </a:lnTo>
                  <a:lnTo>
                    <a:pt x="740" y="2588"/>
                  </a:lnTo>
                  <a:lnTo>
                    <a:pt x="740" y="2588"/>
                  </a:lnTo>
                  <a:lnTo>
                    <a:pt x="740" y="2588"/>
                  </a:lnTo>
                  <a:lnTo>
                    <a:pt x="740" y="2588"/>
                  </a:lnTo>
                  <a:lnTo>
                    <a:pt x="740" y="2588"/>
                  </a:lnTo>
                  <a:lnTo>
                    <a:pt x="746" y="2583"/>
                  </a:lnTo>
                  <a:lnTo>
                    <a:pt x="746" y="2583"/>
                  </a:lnTo>
                  <a:lnTo>
                    <a:pt x="756" y="2570"/>
                  </a:lnTo>
                  <a:lnTo>
                    <a:pt x="756" y="2570"/>
                  </a:lnTo>
                  <a:lnTo>
                    <a:pt x="765" y="2561"/>
                  </a:lnTo>
                  <a:lnTo>
                    <a:pt x="765" y="2561"/>
                  </a:lnTo>
                  <a:lnTo>
                    <a:pt x="766" y="2558"/>
                  </a:lnTo>
                  <a:lnTo>
                    <a:pt x="768" y="2558"/>
                  </a:lnTo>
                  <a:lnTo>
                    <a:pt x="768" y="2558"/>
                  </a:lnTo>
                  <a:lnTo>
                    <a:pt x="772" y="2556"/>
                  </a:lnTo>
                  <a:lnTo>
                    <a:pt x="772" y="2556"/>
                  </a:lnTo>
                  <a:lnTo>
                    <a:pt x="775" y="2555"/>
                  </a:lnTo>
                  <a:lnTo>
                    <a:pt x="775" y="2555"/>
                  </a:lnTo>
                  <a:lnTo>
                    <a:pt x="779" y="2552"/>
                  </a:lnTo>
                  <a:lnTo>
                    <a:pt x="779" y="2552"/>
                  </a:lnTo>
                  <a:lnTo>
                    <a:pt x="786" y="2543"/>
                  </a:lnTo>
                  <a:lnTo>
                    <a:pt x="791" y="2536"/>
                  </a:lnTo>
                  <a:lnTo>
                    <a:pt x="791" y="2536"/>
                  </a:lnTo>
                  <a:lnTo>
                    <a:pt x="797" y="2529"/>
                  </a:lnTo>
                  <a:lnTo>
                    <a:pt x="797" y="2529"/>
                  </a:lnTo>
                  <a:lnTo>
                    <a:pt x="804" y="2522"/>
                  </a:lnTo>
                  <a:lnTo>
                    <a:pt x="804" y="2522"/>
                  </a:lnTo>
                  <a:lnTo>
                    <a:pt x="807" y="2517"/>
                  </a:lnTo>
                  <a:lnTo>
                    <a:pt x="808" y="2512"/>
                  </a:lnTo>
                  <a:lnTo>
                    <a:pt x="808" y="2512"/>
                  </a:lnTo>
                  <a:lnTo>
                    <a:pt x="812" y="2501"/>
                  </a:lnTo>
                  <a:lnTo>
                    <a:pt x="812" y="2501"/>
                  </a:lnTo>
                  <a:lnTo>
                    <a:pt x="814" y="2490"/>
                  </a:lnTo>
                  <a:lnTo>
                    <a:pt x="814" y="2490"/>
                  </a:lnTo>
                  <a:lnTo>
                    <a:pt x="815" y="2478"/>
                  </a:lnTo>
                  <a:lnTo>
                    <a:pt x="815" y="2478"/>
                  </a:lnTo>
                  <a:lnTo>
                    <a:pt x="815" y="2475"/>
                  </a:lnTo>
                  <a:lnTo>
                    <a:pt x="815" y="2475"/>
                  </a:lnTo>
                  <a:lnTo>
                    <a:pt x="815" y="2475"/>
                  </a:lnTo>
                  <a:lnTo>
                    <a:pt x="815" y="2472"/>
                  </a:lnTo>
                  <a:lnTo>
                    <a:pt x="817" y="2470"/>
                  </a:lnTo>
                  <a:lnTo>
                    <a:pt x="817" y="2470"/>
                  </a:lnTo>
                  <a:lnTo>
                    <a:pt x="820" y="2465"/>
                  </a:lnTo>
                  <a:lnTo>
                    <a:pt x="824" y="2462"/>
                  </a:lnTo>
                  <a:lnTo>
                    <a:pt x="824" y="2462"/>
                  </a:lnTo>
                  <a:lnTo>
                    <a:pt x="841" y="2452"/>
                  </a:lnTo>
                  <a:lnTo>
                    <a:pt x="841" y="2452"/>
                  </a:lnTo>
                  <a:lnTo>
                    <a:pt x="852" y="2446"/>
                  </a:lnTo>
                  <a:lnTo>
                    <a:pt x="852" y="2446"/>
                  </a:lnTo>
                  <a:lnTo>
                    <a:pt x="854" y="2442"/>
                  </a:lnTo>
                  <a:lnTo>
                    <a:pt x="857" y="2438"/>
                  </a:lnTo>
                  <a:lnTo>
                    <a:pt x="857" y="2438"/>
                  </a:lnTo>
                  <a:lnTo>
                    <a:pt x="857" y="2428"/>
                  </a:lnTo>
                  <a:lnTo>
                    <a:pt x="857" y="2428"/>
                  </a:lnTo>
                  <a:lnTo>
                    <a:pt x="857" y="2410"/>
                  </a:lnTo>
                  <a:lnTo>
                    <a:pt x="857" y="2410"/>
                  </a:lnTo>
                  <a:lnTo>
                    <a:pt x="856" y="2403"/>
                  </a:lnTo>
                  <a:lnTo>
                    <a:pt x="856" y="2403"/>
                  </a:lnTo>
                  <a:lnTo>
                    <a:pt x="854" y="2399"/>
                  </a:lnTo>
                  <a:lnTo>
                    <a:pt x="854" y="2399"/>
                  </a:lnTo>
                  <a:lnTo>
                    <a:pt x="854" y="2393"/>
                  </a:lnTo>
                  <a:lnTo>
                    <a:pt x="854" y="2393"/>
                  </a:lnTo>
                  <a:lnTo>
                    <a:pt x="853" y="2381"/>
                  </a:lnTo>
                  <a:lnTo>
                    <a:pt x="853" y="2381"/>
                  </a:lnTo>
                  <a:lnTo>
                    <a:pt x="852" y="2377"/>
                  </a:lnTo>
                  <a:lnTo>
                    <a:pt x="852" y="2377"/>
                  </a:lnTo>
                  <a:lnTo>
                    <a:pt x="850" y="2375"/>
                  </a:lnTo>
                  <a:lnTo>
                    <a:pt x="850" y="2375"/>
                  </a:lnTo>
                  <a:lnTo>
                    <a:pt x="847" y="2374"/>
                  </a:lnTo>
                  <a:lnTo>
                    <a:pt x="847" y="2373"/>
                  </a:lnTo>
                  <a:lnTo>
                    <a:pt x="847" y="2373"/>
                  </a:lnTo>
                  <a:lnTo>
                    <a:pt x="847" y="2373"/>
                  </a:lnTo>
                  <a:lnTo>
                    <a:pt x="847" y="2373"/>
                  </a:lnTo>
                  <a:lnTo>
                    <a:pt x="847" y="2370"/>
                  </a:lnTo>
                  <a:lnTo>
                    <a:pt x="849" y="2365"/>
                  </a:lnTo>
                  <a:lnTo>
                    <a:pt x="849" y="2365"/>
                  </a:lnTo>
                  <a:lnTo>
                    <a:pt x="852" y="2362"/>
                  </a:lnTo>
                  <a:lnTo>
                    <a:pt x="852" y="2362"/>
                  </a:lnTo>
                  <a:lnTo>
                    <a:pt x="860" y="2354"/>
                  </a:lnTo>
                  <a:lnTo>
                    <a:pt x="873" y="2344"/>
                  </a:lnTo>
                  <a:lnTo>
                    <a:pt x="873" y="2344"/>
                  </a:lnTo>
                  <a:lnTo>
                    <a:pt x="895" y="2326"/>
                  </a:lnTo>
                  <a:lnTo>
                    <a:pt x="895" y="2326"/>
                  </a:lnTo>
                  <a:lnTo>
                    <a:pt x="902" y="2322"/>
                  </a:lnTo>
                  <a:lnTo>
                    <a:pt x="910" y="2319"/>
                  </a:lnTo>
                  <a:lnTo>
                    <a:pt x="910" y="2319"/>
                  </a:lnTo>
                  <a:lnTo>
                    <a:pt x="915" y="2316"/>
                  </a:lnTo>
                  <a:lnTo>
                    <a:pt x="915" y="2316"/>
                  </a:lnTo>
                  <a:lnTo>
                    <a:pt x="920" y="2313"/>
                  </a:lnTo>
                  <a:lnTo>
                    <a:pt x="920" y="2313"/>
                  </a:lnTo>
                  <a:lnTo>
                    <a:pt x="923" y="2312"/>
                  </a:lnTo>
                  <a:lnTo>
                    <a:pt x="923" y="2312"/>
                  </a:lnTo>
                  <a:lnTo>
                    <a:pt x="934" y="2299"/>
                  </a:lnTo>
                  <a:lnTo>
                    <a:pt x="934" y="2299"/>
                  </a:lnTo>
                  <a:lnTo>
                    <a:pt x="940" y="2293"/>
                  </a:lnTo>
                  <a:lnTo>
                    <a:pt x="940" y="2293"/>
                  </a:lnTo>
                  <a:lnTo>
                    <a:pt x="941" y="2291"/>
                  </a:lnTo>
                  <a:lnTo>
                    <a:pt x="941" y="2291"/>
                  </a:lnTo>
                  <a:lnTo>
                    <a:pt x="943" y="2290"/>
                  </a:lnTo>
                  <a:lnTo>
                    <a:pt x="943" y="2290"/>
                  </a:lnTo>
                  <a:lnTo>
                    <a:pt x="944" y="2289"/>
                  </a:lnTo>
                  <a:lnTo>
                    <a:pt x="944" y="2289"/>
                  </a:lnTo>
                  <a:lnTo>
                    <a:pt x="946" y="2286"/>
                  </a:lnTo>
                  <a:lnTo>
                    <a:pt x="946" y="2286"/>
                  </a:lnTo>
                  <a:lnTo>
                    <a:pt x="944" y="2281"/>
                  </a:lnTo>
                  <a:lnTo>
                    <a:pt x="943" y="2277"/>
                  </a:lnTo>
                  <a:lnTo>
                    <a:pt x="943" y="2277"/>
                  </a:lnTo>
                  <a:lnTo>
                    <a:pt x="940" y="2268"/>
                  </a:lnTo>
                  <a:lnTo>
                    <a:pt x="940" y="2268"/>
                  </a:lnTo>
                  <a:lnTo>
                    <a:pt x="939" y="2262"/>
                  </a:lnTo>
                  <a:lnTo>
                    <a:pt x="939" y="2262"/>
                  </a:lnTo>
                  <a:lnTo>
                    <a:pt x="937" y="2249"/>
                  </a:lnTo>
                  <a:lnTo>
                    <a:pt x="936" y="2236"/>
                  </a:lnTo>
                  <a:lnTo>
                    <a:pt x="936" y="2236"/>
                  </a:lnTo>
                  <a:lnTo>
                    <a:pt x="937" y="2231"/>
                  </a:lnTo>
                  <a:lnTo>
                    <a:pt x="937" y="2231"/>
                  </a:lnTo>
                  <a:lnTo>
                    <a:pt x="937" y="2220"/>
                  </a:lnTo>
                  <a:lnTo>
                    <a:pt x="937" y="2220"/>
                  </a:lnTo>
                  <a:lnTo>
                    <a:pt x="937" y="2213"/>
                  </a:lnTo>
                  <a:lnTo>
                    <a:pt x="936" y="2207"/>
                  </a:lnTo>
                  <a:lnTo>
                    <a:pt x="936" y="2207"/>
                  </a:lnTo>
                  <a:lnTo>
                    <a:pt x="928" y="2197"/>
                  </a:lnTo>
                  <a:lnTo>
                    <a:pt x="928" y="2197"/>
                  </a:lnTo>
                  <a:lnTo>
                    <a:pt x="921" y="2189"/>
                  </a:lnTo>
                  <a:lnTo>
                    <a:pt x="921" y="2189"/>
                  </a:lnTo>
                  <a:lnTo>
                    <a:pt x="921" y="2187"/>
                  </a:lnTo>
                  <a:lnTo>
                    <a:pt x="921" y="2187"/>
                  </a:lnTo>
                  <a:lnTo>
                    <a:pt x="920" y="2176"/>
                  </a:lnTo>
                  <a:lnTo>
                    <a:pt x="920" y="2176"/>
                  </a:lnTo>
                  <a:lnTo>
                    <a:pt x="921" y="2163"/>
                  </a:lnTo>
                  <a:lnTo>
                    <a:pt x="921" y="2163"/>
                  </a:lnTo>
                  <a:lnTo>
                    <a:pt x="921" y="2154"/>
                  </a:lnTo>
                  <a:lnTo>
                    <a:pt x="921" y="2154"/>
                  </a:lnTo>
                  <a:lnTo>
                    <a:pt x="920" y="2148"/>
                  </a:lnTo>
                  <a:lnTo>
                    <a:pt x="920" y="2148"/>
                  </a:lnTo>
                  <a:lnTo>
                    <a:pt x="917" y="2139"/>
                  </a:lnTo>
                  <a:lnTo>
                    <a:pt x="917" y="2139"/>
                  </a:lnTo>
                  <a:lnTo>
                    <a:pt x="915" y="2134"/>
                  </a:lnTo>
                  <a:lnTo>
                    <a:pt x="915" y="2134"/>
                  </a:lnTo>
                  <a:lnTo>
                    <a:pt x="915" y="2126"/>
                  </a:lnTo>
                  <a:lnTo>
                    <a:pt x="915" y="2126"/>
                  </a:lnTo>
                  <a:lnTo>
                    <a:pt x="915" y="2123"/>
                  </a:lnTo>
                  <a:lnTo>
                    <a:pt x="915" y="2123"/>
                  </a:lnTo>
                  <a:lnTo>
                    <a:pt x="915" y="2123"/>
                  </a:lnTo>
                  <a:lnTo>
                    <a:pt x="915" y="2123"/>
                  </a:lnTo>
                  <a:lnTo>
                    <a:pt x="915" y="2123"/>
                  </a:lnTo>
                  <a:lnTo>
                    <a:pt x="915" y="2123"/>
                  </a:lnTo>
                  <a:lnTo>
                    <a:pt x="915" y="2123"/>
                  </a:lnTo>
                  <a:lnTo>
                    <a:pt x="914" y="2122"/>
                  </a:lnTo>
                  <a:lnTo>
                    <a:pt x="915" y="2123"/>
                  </a:lnTo>
                  <a:lnTo>
                    <a:pt x="915" y="2123"/>
                  </a:lnTo>
                  <a:lnTo>
                    <a:pt x="914" y="2122"/>
                  </a:lnTo>
                  <a:lnTo>
                    <a:pt x="915" y="2123"/>
                  </a:lnTo>
                  <a:lnTo>
                    <a:pt x="915" y="2123"/>
                  </a:lnTo>
                  <a:lnTo>
                    <a:pt x="915" y="2123"/>
                  </a:lnTo>
                  <a:lnTo>
                    <a:pt x="917" y="2122"/>
                  </a:lnTo>
                  <a:lnTo>
                    <a:pt x="917" y="2122"/>
                  </a:lnTo>
                  <a:lnTo>
                    <a:pt x="921" y="2115"/>
                  </a:lnTo>
                  <a:lnTo>
                    <a:pt x="921" y="2115"/>
                  </a:lnTo>
                  <a:lnTo>
                    <a:pt x="927" y="2105"/>
                  </a:lnTo>
                  <a:lnTo>
                    <a:pt x="927" y="2105"/>
                  </a:lnTo>
                  <a:lnTo>
                    <a:pt x="934" y="2090"/>
                  </a:lnTo>
                  <a:lnTo>
                    <a:pt x="934" y="2090"/>
                  </a:lnTo>
                  <a:lnTo>
                    <a:pt x="940" y="2081"/>
                  </a:lnTo>
                  <a:lnTo>
                    <a:pt x="940" y="2081"/>
                  </a:lnTo>
                  <a:lnTo>
                    <a:pt x="943" y="2077"/>
                  </a:lnTo>
                  <a:lnTo>
                    <a:pt x="943" y="2077"/>
                  </a:lnTo>
                  <a:lnTo>
                    <a:pt x="944" y="2076"/>
                  </a:lnTo>
                  <a:lnTo>
                    <a:pt x="944" y="2076"/>
                  </a:lnTo>
                  <a:lnTo>
                    <a:pt x="949" y="2076"/>
                  </a:lnTo>
                  <a:lnTo>
                    <a:pt x="949" y="2076"/>
                  </a:lnTo>
                  <a:lnTo>
                    <a:pt x="954" y="2074"/>
                  </a:lnTo>
                  <a:lnTo>
                    <a:pt x="954" y="2074"/>
                  </a:lnTo>
                  <a:lnTo>
                    <a:pt x="957" y="2071"/>
                  </a:lnTo>
                  <a:lnTo>
                    <a:pt x="957" y="2071"/>
                  </a:lnTo>
                  <a:lnTo>
                    <a:pt x="973" y="2052"/>
                  </a:lnTo>
                  <a:lnTo>
                    <a:pt x="973" y="2052"/>
                  </a:lnTo>
                  <a:lnTo>
                    <a:pt x="988" y="2032"/>
                  </a:lnTo>
                  <a:lnTo>
                    <a:pt x="988" y="2032"/>
                  </a:lnTo>
                  <a:lnTo>
                    <a:pt x="996" y="2023"/>
                  </a:lnTo>
                  <a:lnTo>
                    <a:pt x="1005" y="2015"/>
                  </a:lnTo>
                  <a:lnTo>
                    <a:pt x="1015" y="2009"/>
                  </a:lnTo>
                  <a:lnTo>
                    <a:pt x="1023" y="2005"/>
                  </a:lnTo>
                  <a:lnTo>
                    <a:pt x="1023" y="2005"/>
                  </a:lnTo>
                  <a:lnTo>
                    <a:pt x="1027" y="2003"/>
                  </a:lnTo>
                  <a:lnTo>
                    <a:pt x="1027" y="2003"/>
                  </a:lnTo>
                  <a:lnTo>
                    <a:pt x="1028" y="2002"/>
                  </a:lnTo>
                  <a:lnTo>
                    <a:pt x="1028" y="2000"/>
                  </a:lnTo>
                  <a:lnTo>
                    <a:pt x="1028" y="2000"/>
                  </a:lnTo>
                  <a:lnTo>
                    <a:pt x="1030" y="1999"/>
                  </a:lnTo>
                  <a:lnTo>
                    <a:pt x="1030" y="1999"/>
                  </a:lnTo>
                  <a:lnTo>
                    <a:pt x="1030" y="1997"/>
                  </a:lnTo>
                  <a:lnTo>
                    <a:pt x="1030" y="1997"/>
                  </a:lnTo>
                  <a:lnTo>
                    <a:pt x="1036" y="1993"/>
                  </a:lnTo>
                  <a:lnTo>
                    <a:pt x="1043" y="1987"/>
                  </a:lnTo>
                  <a:lnTo>
                    <a:pt x="1043" y="1987"/>
                  </a:lnTo>
                  <a:lnTo>
                    <a:pt x="1046" y="1984"/>
                  </a:lnTo>
                  <a:lnTo>
                    <a:pt x="1046" y="1984"/>
                  </a:lnTo>
                  <a:lnTo>
                    <a:pt x="1054" y="1974"/>
                  </a:lnTo>
                  <a:lnTo>
                    <a:pt x="1063" y="1960"/>
                  </a:lnTo>
                  <a:lnTo>
                    <a:pt x="1063" y="1960"/>
                  </a:lnTo>
                  <a:lnTo>
                    <a:pt x="1076" y="1937"/>
                  </a:lnTo>
                  <a:lnTo>
                    <a:pt x="1076" y="1937"/>
                  </a:lnTo>
                  <a:lnTo>
                    <a:pt x="1086" y="1916"/>
                  </a:lnTo>
                  <a:lnTo>
                    <a:pt x="1086" y="1916"/>
                  </a:lnTo>
                  <a:lnTo>
                    <a:pt x="1098" y="1897"/>
                  </a:lnTo>
                  <a:lnTo>
                    <a:pt x="1098" y="1897"/>
                  </a:lnTo>
                  <a:lnTo>
                    <a:pt x="1101" y="1889"/>
                  </a:lnTo>
                  <a:lnTo>
                    <a:pt x="1101" y="1889"/>
                  </a:lnTo>
                  <a:lnTo>
                    <a:pt x="1104" y="1871"/>
                  </a:lnTo>
                  <a:lnTo>
                    <a:pt x="1105" y="1857"/>
                  </a:lnTo>
                  <a:lnTo>
                    <a:pt x="1105" y="1857"/>
                  </a:lnTo>
                  <a:lnTo>
                    <a:pt x="1105" y="1850"/>
                  </a:lnTo>
                  <a:lnTo>
                    <a:pt x="1105" y="1850"/>
                  </a:lnTo>
                  <a:lnTo>
                    <a:pt x="1104" y="1847"/>
                  </a:lnTo>
                  <a:lnTo>
                    <a:pt x="1104" y="1847"/>
                  </a:lnTo>
                  <a:lnTo>
                    <a:pt x="1101" y="1845"/>
                  </a:lnTo>
                  <a:lnTo>
                    <a:pt x="1101" y="1845"/>
                  </a:lnTo>
                  <a:lnTo>
                    <a:pt x="1096" y="1847"/>
                  </a:lnTo>
                  <a:lnTo>
                    <a:pt x="1096" y="1847"/>
                  </a:lnTo>
                  <a:lnTo>
                    <a:pt x="1085" y="1853"/>
                  </a:lnTo>
                  <a:lnTo>
                    <a:pt x="1085" y="1853"/>
                  </a:lnTo>
                  <a:lnTo>
                    <a:pt x="1073" y="1858"/>
                  </a:lnTo>
                  <a:lnTo>
                    <a:pt x="1073" y="1858"/>
                  </a:lnTo>
                  <a:lnTo>
                    <a:pt x="1069" y="1860"/>
                  </a:lnTo>
                  <a:lnTo>
                    <a:pt x="1065" y="1860"/>
                  </a:lnTo>
                  <a:lnTo>
                    <a:pt x="1065" y="1860"/>
                  </a:lnTo>
                  <a:lnTo>
                    <a:pt x="1054" y="1860"/>
                  </a:lnTo>
                  <a:lnTo>
                    <a:pt x="1054" y="1860"/>
                  </a:lnTo>
                  <a:lnTo>
                    <a:pt x="1046" y="1861"/>
                  </a:lnTo>
                  <a:lnTo>
                    <a:pt x="1046" y="1861"/>
                  </a:lnTo>
                  <a:lnTo>
                    <a:pt x="1041" y="1863"/>
                  </a:lnTo>
                  <a:lnTo>
                    <a:pt x="1038" y="1864"/>
                  </a:lnTo>
                  <a:lnTo>
                    <a:pt x="1038" y="1864"/>
                  </a:lnTo>
                  <a:lnTo>
                    <a:pt x="1033" y="1868"/>
                  </a:lnTo>
                  <a:lnTo>
                    <a:pt x="1031" y="1868"/>
                  </a:lnTo>
                  <a:lnTo>
                    <a:pt x="1031" y="1868"/>
                  </a:lnTo>
                  <a:lnTo>
                    <a:pt x="1031" y="1868"/>
                  </a:lnTo>
                  <a:lnTo>
                    <a:pt x="1031" y="1868"/>
                  </a:lnTo>
                  <a:lnTo>
                    <a:pt x="1031" y="1868"/>
                  </a:lnTo>
                  <a:lnTo>
                    <a:pt x="1031" y="1868"/>
                  </a:lnTo>
                  <a:lnTo>
                    <a:pt x="1031" y="1868"/>
                  </a:lnTo>
                  <a:lnTo>
                    <a:pt x="1031" y="1868"/>
                  </a:lnTo>
                  <a:lnTo>
                    <a:pt x="1031" y="1868"/>
                  </a:lnTo>
                  <a:lnTo>
                    <a:pt x="1030" y="1867"/>
                  </a:lnTo>
                  <a:lnTo>
                    <a:pt x="1030" y="1867"/>
                  </a:lnTo>
                  <a:lnTo>
                    <a:pt x="1027" y="1866"/>
                  </a:lnTo>
                  <a:lnTo>
                    <a:pt x="1024" y="1864"/>
                  </a:lnTo>
                  <a:lnTo>
                    <a:pt x="1023" y="1864"/>
                  </a:lnTo>
                  <a:lnTo>
                    <a:pt x="1023" y="1864"/>
                  </a:lnTo>
                  <a:lnTo>
                    <a:pt x="1015" y="1866"/>
                  </a:lnTo>
                  <a:lnTo>
                    <a:pt x="1015" y="1866"/>
                  </a:lnTo>
                  <a:lnTo>
                    <a:pt x="1004" y="1870"/>
                  </a:lnTo>
                  <a:lnTo>
                    <a:pt x="1004" y="1870"/>
                  </a:lnTo>
                  <a:lnTo>
                    <a:pt x="996" y="1873"/>
                  </a:lnTo>
                  <a:lnTo>
                    <a:pt x="996" y="1874"/>
                  </a:lnTo>
                  <a:lnTo>
                    <a:pt x="996" y="1873"/>
                  </a:lnTo>
                  <a:lnTo>
                    <a:pt x="996" y="1873"/>
                  </a:lnTo>
                  <a:lnTo>
                    <a:pt x="996" y="1874"/>
                  </a:lnTo>
                  <a:lnTo>
                    <a:pt x="996" y="1873"/>
                  </a:lnTo>
                  <a:lnTo>
                    <a:pt x="996" y="1874"/>
                  </a:lnTo>
                  <a:lnTo>
                    <a:pt x="996" y="1873"/>
                  </a:lnTo>
                  <a:lnTo>
                    <a:pt x="996" y="1873"/>
                  </a:lnTo>
                  <a:lnTo>
                    <a:pt x="996" y="1874"/>
                  </a:lnTo>
                  <a:lnTo>
                    <a:pt x="996" y="1873"/>
                  </a:lnTo>
                  <a:lnTo>
                    <a:pt x="996" y="1874"/>
                  </a:lnTo>
                  <a:lnTo>
                    <a:pt x="996" y="1873"/>
                  </a:lnTo>
                  <a:lnTo>
                    <a:pt x="996" y="1873"/>
                  </a:lnTo>
                  <a:lnTo>
                    <a:pt x="996" y="1874"/>
                  </a:lnTo>
                  <a:lnTo>
                    <a:pt x="996" y="1873"/>
                  </a:lnTo>
                  <a:lnTo>
                    <a:pt x="996" y="1873"/>
                  </a:lnTo>
                  <a:lnTo>
                    <a:pt x="996" y="1873"/>
                  </a:lnTo>
                  <a:lnTo>
                    <a:pt x="989" y="1866"/>
                  </a:lnTo>
                  <a:lnTo>
                    <a:pt x="989" y="1866"/>
                  </a:lnTo>
                  <a:lnTo>
                    <a:pt x="985" y="1857"/>
                  </a:lnTo>
                  <a:lnTo>
                    <a:pt x="985" y="1857"/>
                  </a:lnTo>
                  <a:lnTo>
                    <a:pt x="983" y="1854"/>
                  </a:lnTo>
                  <a:lnTo>
                    <a:pt x="982" y="1851"/>
                  </a:lnTo>
                  <a:lnTo>
                    <a:pt x="982" y="1851"/>
                  </a:lnTo>
                  <a:lnTo>
                    <a:pt x="981" y="1850"/>
                  </a:lnTo>
                  <a:lnTo>
                    <a:pt x="981" y="1850"/>
                  </a:lnTo>
                  <a:lnTo>
                    <a:pt x="981" y="1850"/>
                  </a:lnTo>
                  <a:lnTo>
                    <a:pt x="981" y="1850"/>
                  </a:lnTo>
                  <a:lnTo>
                    <a:pt x="981" y="1850"/>
                  </a:lnTo>
                  <a:lnTo>
                    <a:pt x="981" y="1850"/>
                  </a:lnTo>
                  <a:lnTo>
                    <a:pt x="979" y="1851"/>
                  </a:lnTo>
                  <a:lnTo>
                    <a:pt x="981" y="1851"/>
                  </a:lnTo>
                  <a:lnTo>
                    <a:pt x="981" y="1851"/>
                  </a:lnTo>
                  <a:lnTo>
                    <a:pt x="981" y="1850"/>
                  </a:lnTo>
                  <a:lnTo>
                    <a:pt x="979" y="1851"/>
                  </a:lnTo>
                  <a:lnTo>
                    <a:pt x="981" y="1851"/>
                  </a:lnTo>
                  <a:lnTo>
                    <a:pt x="979" y="1851"/>
                  </a:lnTo>
                  <a:lnTo>
                    <a:pt x="981" y="1853"/>
                  </a:lnTo>
                  <a:lnTo>
                    <a:pt x="981" y="1853"/>
                  </a:lnTo>
                  <a:lnTo>
                    <a:pt x="981" y="1851"/>
                  </a:lnTo>
                  <a:lnTo>
                    <a:pt x="979" y="1851"/>
                  </a:lnTo>
                  <a:lnTo>
                    <a:pt x="981" y="1853"/>
                  </a:lnTo>
                  <a:lnTo>
                    <a:pt x="981" y="1853"/>
                  </a:lnTo>
                  <a:lnTo>
                    <a:pt x="981" y="1851"/>
                  </a:lnTo>
                  <a:lnTo>
                    <a:pt x="981" y="1850"/>
                  </a:lnTo>
                  <a:lnTo>
                    <a:pt x="981" y="1850"/>
                  </a:lnTo>
                  <a:lnTo>
                    <a:pt x="981" y="1844"/>
                  </a:lnTo>
                  <a:lnTo>
                    <a:pt x="981" y="1844"/>
                  </a:lnTo>
                  <a:lnTo>
                    <a:pt x="976" y="1835"/>
                  </a:lnTo>
                  <a:lnTo>
                    <a:pt x="976" y="1835"/>
                  </a:lnTo>
                  <a:lnTo>
                    <a:pt x="973" y="1829"/>
                  </a:lnTo>
                  <a:lnTo>
                    <a:pt x="970" y="1826"/>
                  </a:lnTo>
                  <a:lnTo>
                    <a:pt x="970" y="1826"/>
                  </a:lnTo>
                  <a:lnTo>
                    <a:pt x="954" y="1815"/>
                  </a:lnTo>
                  <a:lnTo>
                    <a:pt x="954" y="1815"/>
                  </a:lnTo>
                  <a:lnTo>
                    <a:pt x="952" y="1812"/>
                  </a:lnTo>
                  <a:lnTo>
                    <a:pt x="950" y="1808"/>
                  </a:lnTo>
                  <a:lnTo>
                    <a:pt x="950" y="1808"/>
                  </a:lnTo>
                  <a:lnTo>
                    <a:pt x="947" y="1805"/>
                  </a:lnTo>
                  <a:lnTo>
                    <a:pt x="947" y="1805"/>
                  </a:lnTo>
                  <a:lnTo>
                    <a:pt x="943" y="1802"/>
                  </a:lnTo>
                  <a:lnTo>
                    <a:pt x="943" y="1802"/>
                  </a:lnTo>
                  <a:lnTo>
                    <a:pt x="943" y="1802"/>
                  </a:lnTo>
                  <a:lnTo>
                    <a:pt x="940" y="1800"/>
                  </a:lnTo>
                  <a:lnTo>
                    <a:pt x="940" y="1800"/>
                  </a:lnTo>
                  <a:lnTo>
                    <a:pt x="931" y="1793"/>
                  </a:lnTo>
                  <a:lnTo>
                    <a:pt x="931" y="1793"/>
                  </a:lnTo>
                  <a:lnTo>
                    <a:pt x="923" y="1787"/>
                  </a:lnTo>
                  <a:lnTo>
                    <a:pt x="923" y="1787"/>
                  </a:lnTo>
                  <a:lnTo>
                    <a:pt x="921" y="1787"/>
                  </a:lnTo>
                  <a:lnTo>
                    <a:pt x="921" y="1787"/>
                  </a:lnTo>
                  <a:lnTo>
                    <a:pt x="918" y="1783"/>
                  </a:lnTo>
                  <a:lnTo>
                    <a:pt x="918" y="1783"/>
                  </a:lnTo>
                  <a:lnTo>
                    <a:pt x="915" y="1771"/>
                  </a:lnTo>
                  <a:lnTo>
                    <a:pt x="915" y="1771"/>
                  </a:lnTo>
                  <a:lnTo>
                    <a:pt x="912" y="1761"/>
                  </a:lnTo>
                  <a:lnTo>
                    <a:pt x="912" y="1761"/>
                  </a:lnTo>
                  <a:lnTo>
                    <a:pt x="908" y="1754"/>
                  </a:lnTo>
                  <a:lnTo>
                    <a:pt x="904" y="1747"/>
                  </a:lnTo>
                  <a:lnTo>
                    <a:pt x="904" y="1747"/>
                  </a:lnTo>
                  <a:lnTo>
                    <a:pt x="898" y="1741"/>
                  </a:lnTo>
                  <a:lnTo>
                    <a:pt x="898" y="1741"/>
                  </a:lnTo>
                  <a:lnTo>
                    <a:pt x="894" y="1737"/>
                  </a:lnTo>
                  <a:lnTo>
                    <a:pt x="894" y="1737"/>
                  </a:lnTo>
                  <a:lnTo>
                    <a:pt x="889" y="1734"/>
                  </a:lnTo>
                  <a:lnTo>
                    <a:pt x="889" y="1734"/>
                  </a:lnTo>
                  <a:lnTo>
                    <a:pt x="883" y="1722"/>
                  </a:lnTo>
                  <a:lnTo>
                    <a:pt x="883" y="1722"/>
                  </a:lnTo>
                  <a:lnTo>
                    <a:pt x="881" y="1716"/>
                  </a:lnTo>
                  <a:lnTo>
                    <a:pt x="879" y="1711"/>
                  </a:lnTo>
                  <a:lnTo>
                    <a:pt x="879" y="1711"/>
                  </a:lnTo>
                  <a:lnTo>
                    <a:pt x="878" y="1696"/>
                  </a:lnTo>
                  <a:lnTo>
                    <a:pt x="876" y="1685"/>
                  </a:lnTo>
                  <a:lnTo>
                    <a:pt x="876" y="1685"/>
                  </a:lnTo>
                  <a:lnTo>
                    <a:pt x="876" y="1682"/>
                  </a:lnTo>
                  <a:lnTo>
                    <a:pt x="876" y="1682"/>
                  </a:lnTo>
                  <a:lnTo>
                    <a:pt x="876" y="1679"/>
                  </a:lnTo>
                  <a:lnTo>
                    <a:pt x="876" y="1679"/>
                  </a:lnTo>
                  <a:lnTo>
                    <a:pt x="875" y="1676"/>
                  </a:lnTo>
                  <a:lnTo>
                    <a:pt x="873" y="1674"/>
                  </a:lnTo>
                  <a:lnTo>
                    <a:pt x="873" y="1674"/>
                  </a:lnTo>
                  <a:lnTo>
                    <a:pt x="868" y="1670"/>
                  </a:lnTo>
                  <a:lnTo>
                    <a:pt x="868" y="1670"/>
                  </a:lnTo>
                  <a:lnTo>
                    <a:pt x="862" y="1667"/>
                  </a:lnTo>
                  <a:lnTo>
                    <a:pt x="859" y="1663"/>
                  </a:lnTo>
                  <a:lnTo>
                    <a:pt x="859" y="1663"/>
                  </a:lnTo>
                  <a:lnTo>
                    <a:pt x="853" y="1656"/>
                  </a:lnTo>
                  <a:lnTo>
                    <a:pt x="853" y="1657"/>
                  </a:lnTo>
                  <a:lnTo>
                    <a:pt x="853" y="1657"/>
                  </a:lnTo>
                  <a:lnTo>
                    <a:pt x="853" y="1656"/>
                  </a:lnTo>
                  <a:lnTo>
                    <a:pt x="853" y="1657"/>
                  </a:lnTo>
                  <a:lnTo>
                    <a:pt x="853" y="1657"/>
                  </a:lnTo>
                  <a:lnTo>
                    <a:pt x="853" y="1657"/>
                  </a:lnTo>
                  <a:lnTo>
                    <a:pt x="853" y="1657"/>
                  </a:lnTo>
                  <a:lnTo>
                    <a:pt x="853" y="1657"/>
                  </a:lnTo>
                  <a:lnTo>
                    <a:pt x="853" y="1657"/>
                  </a:lnTo>
                  <a:lnTo>
                    <a:pt x="853" y="1657"/>
                  </a:lnTo>
                  <a:lnTo>
                    <a:pt x="853" y="1657"/>
                  </a:lnTo>
                  <a:lnTo>
                    <a:pt x="854" y="1654"/>
                  </a:lnTo>
                  <a:lnTo>
                    <a:pt x="854" y="1654"/>
                  </a:lnTo>
                  <a:lnTo>
                    <a:pt x="856" y="1648"/>
                  </a:lnTo>
                  <a:lnTo>
                    <a:pt x="856" y="1648"/>
                  </a:lnTo>
                  <a:lnTo>
                    <a:pt x="854" y="1645"/>
                  </a:lnTo>
                  <a:lnTo>
                    <a:pt x="854" y="1645"/>
                  </a:lnTo>
                  <a:lnTo>
                    <a:pt x="843" y="1619"/>
                  </a:lnTo>
                  <a:lnTo>
                    <a:pt x="843" y="1619"/>
                  </a:lnTo>
                  <a:lnTo>
                    <a:pt x="833" y="1602"/>
                  </a:lnTo>
                  <a:lnTo>
                    <a:pt x="833" y="1602"/>
                  </a:lnTo>
                  <a:lnTo>
                    <a:pt x="826" y="1589"/>
                  </a:lnTo>
                  <a:lnTo>
                    <a:pt x="826" y="1589"/>
                  </a:lnTo>
                  <a:lnTo>
                    <a:pt x="823" y="1585"/>
                  </a:lnTo>
                  <a:lnTo>
                    <a:pt x="823" y="1582"/>
                  </a:lnTo>
                  <a:lnTo>
                    <a:pt x="823" y="1582"/>
                  </a:lnTo>
                  <a:lnTo>
                    <a:pt x="823" y="1580"/>
                  </a:lnTo>
                  <a:lnTo>
                    <a:pt x="823" y="1580"/>
                  </a:lnTo>
                  <a:lnTo>
                    <a:pt x="824" y="1577"/>
                  </a:lnTo>
                  <a:lnTo>
                    <a:pt x="824" y="1577"/>
                  </a:lnTo>
                  <a:lnTo>
                    <a:pt x="823" y="1574"/>
                  </a:lnTo>
                  <a:lnTo>
                    <a:pt x="821" y="1573"/>
                  </a:lnTo>
                  <a:lnTo>
                    <a:pt x="821" y="1573"/>
                  </a:lnTo>
                  <a:lnTo>
                    <a:pt x="817" y="1567"/>
                  </a:lnTo>
                  <a:lnTo>
                    <a:pt x="817" y="1567"/>
                  </a:lnTo>
                  <a:lnTo>
                    <a:pt x="812" y="1563"/>
                  </a:lnTo>
                  <a:lnTo>
                    <a:pt x="812" y="1563"/>
                  </a:lnTo>
                  <a:lnTo>
                    <a:pt x="812" y="1563"/>
                  </a:lnTo>
                  <a:lnTo>
                    <a:pt x="812" y="1563"/>
                  </a:lnTo>
                  <a:lnTo>
                    <a:pt x="812" y="1563"/>
                  </a:lnTo>
                  <a:lnTo>
                    <a:pt x="812" y="1563"/>
                  </a:lnTo>
                  <a:lnTo>
                    <a:pt x="812" y="1563"/>
                  </a:lnTo>
                  <a:lnTo>
                    <a:pt x="811" y="1563"/>
                  </a:lnTo>
                  <a:lnTo>
                    <a:pt x="812" y="1563"/>
                  </a:lnTo>
                  <a:lnTo>
                    <a:pt x="812" y="1563"/>
                  </a:lnTo>
                  <a:lnTo>
                    <a:pt x="811" y="1563"/>
                  </a:lnTo>
                  <a:lnTo>
                    <a:pt x="812" y="1563"/>
                  </a:lnTo>
                  <a:lnTo>
                    <a:pt x="811" y="1563"/>
                  </a:lnTo>
                  <a:lnTo>
                    <a:pt x="812" y="1564"/>
                  </a:lnTo>
                  <a:lnTo>
                    <a:pt x="812" y="1564"/>
                  </a:lnTo>
                  <a:lnTo>
                    <a:pt x="812" y="1563"/>
                  </a:lnTo>
                  <a:lnTo>
                    <a:pt x="811" y="1563"/>
                  </a:lnTo>
                  <a:lnTo>
                    <a:pt x="812" y="1564"/>
                  </a:lnTo>
                  <a:lnTo>
                    <a:pt x="811" y="1563"/>
                  </a:lnTo>
                  <a:lnTo>
                    <a:pt x="811" y="1566"/>
                  </a:lnTo>
                  <a:lnTo>
                    <a:pt x="811" y="1566"/>
                  </a:lnTo>
                  <a:lnTo>
                    <a:pt x="812" y="1564"/>
                  </a:lnTo>
                  <a:lnTo>
                    <a:pt x="811" y="1563"/>
                  </a:lnTo>
                  <a:lnTo>
                    <a:pt x="811" y="1566"/>
                  </a:lnTo>
                  <a:lnTo>
                    <a:pt x="811" y="1563"/>
                  </a:lnTo>
                  <a:lnTo>
                    <a:pt x="810" y="1566"/>
                  </a:lnTo>
                  <a:lnTo>
                    <a:pt x="811" y="1566"/>
                  </a:lnTo>
                  <a:lnTo>
                    <a:pt x="811" y="1563"/>
                  </a:lnTo>
                  <a:lnTo>
                    <a:pt x="810" y="1566"/>
                  </a:lnTo>
                  <a:lnTo>
                    <a:pt x="810" y="1564"/>
                  </a:lnTo>
                  <a:lnTo>
                    <a:pt x="810" y="1566"/>
                  </a:lnTo>
                  <a:lnTo>
                    <a:pt x="810" y="1566"/>
                  </a:lnTo>
                  <a:lnTo>
                    <a:pt x="810" y="1564"/>
                  </a:lnTo>
                  <a:lnTo>
                    <a:pt x="810" y="1566"/>
                  </a:lnTo>
                  <a:lnTo>
                    <a:pt x="810" y="1566"/>
                  </a:lnTo>
                  <a:lnTo>
                    <a:pt x="811" y="1566"/>
                  </a:lnTo>
                  <a:lnTo>
                    <a:pt x="811" y="1566"/>
                  </a:lnTo>
                  <a:lnTo>
                    <a:pt x="820" y="1573"/>
                  </a:lnTo>
                  <a:lnTo>
                    <a:pt x="820" y="1573"/>
                  </a:lnTo>
                  <a:lnTo>
                    <a:pt x="824" y="1577"/>
                  </a:lnTo>
                  <a:lnTo>
                    <a:pt x="824" y="1577"/>
                  </a:lnTo>
                  <a:lnTo>
                    <a:pt x="828" y="1580"/>
                  </a:lnTo>
                  <a:lnTo>
                    <a:pt x="828" y="1580"/>
                  </a:lnTo>
                  <a:lnTo>
                    <a:pt x="831" y="1580"/>
                  </a:lnTo>
                  <a:lnTo>
                    <a:pt x="831" y="1580"/>
                  </a:lnTo>
                  <a:lnTo>
                    <a:pt x="834" y="1579"/>
                  </a:lnTo>
                  <a:lnTo>
                    <a:pt x="834" y="1579"/>
                  </a:lnTo>
                  <a:lnTo>
                    <a:pt x="837" y="1577"/>
                  </a:lnTo>
                  <a:lnTo>
                    <a:pt x="837" y="1577"/>
                  </a:lnTo>
                  <a:lnTo>
                    <a:pt x="840" y="1576"/>
                  </a:lnTo>
                  <a:lnTo>
                    <a:pt x="841" y="1576"/>
                  </a:lnTo>
                  <a:lnTo>
                    <a:pt x="841" y="1576"/>
                  </a:lnTo>
                  <a:lnTo>
                    <a:pt x="844" y="1579"/>
                  </a:lnTo>
                  <a:lnTo>
                    <a:pt x="844" y="1579"/>
                  </a:lnTo>
                  <a:lnTo>
                    <a:pt x="853" y="1592"/>
                  </a:lnTo>
                  <a:lnTo>
                    <a:pt x="853" y="1592"/>
                  </a:lnTo>
                  <a:lnTo>
                    <a:pt x="859" y="1605"/>
                  </a:lnTo>
                  <a:lnTo>
                    <a:pt x="859" y="1605"/>
                  </a:lnTo>
                  <a:lnTo>
                    <a:pt x="863" y="1611"/>
                  </a:lnTo>
                  <a:lnTo>
                    <a:pt x="869" y="1616"/>
                  </a:lnTo>
                  <a:lnTo>
                    <a:pt x="878" y="1625"/>
                  </a:lnTo>
                  <a:lnTo>
                    <a:pt x="878" y="1625"/>
                  </a:lnTo>
                  <a:lnTo>
                    <a:pt x="878" y="1625"/>
                  </a:lnTo>
                  <a:lnTo>
                    <a:pt x="879" y="1624"/>
                  </a:lnTo>
                  <a:lnTo>
                    <a:pt x="878" y="1624"/>
                  </a:lnTo>
                  <a:lnTo>
                    <a:pt x="878" y="1625"/>
                  </a:lnTo>
                  <a:lnTo>
                    <a:pt x="879" y="1624"/>
                  </a:lnTo>
                  <a:lnTo>
                    <a:pt x="878" y="1624"/>
                  </a:lnTo>
                  <a:lnTo>
                    <a:pt x="879" y="1624"/>
                  </a:lnTo>
                  <a:lnTo>
                    <a:pt x="878" y="1624"/>
                  </a:lnTo>
                  <a:lnTo>
                    <a:pt x="878" y="1624"/>
                  </a:lnTo>
                  <a:lnTo>
                    <a:pt x="879" y="1624"/>
                  </a:lnTo>
                  <a:lnTo>
                    <a:pt x="878" y="1624"/>
                  </a:lnTo>
                  <a:lnTo>
                    <a:pt x="878" y="1624"/>
                  </a:lnTo>
                  <a:lnTo>
                    <a:pt x="878" y="1624"/>
                  </a:lnTo>
                  <a:lnTo>
                    <a:pt x="878" y="1624"/>
                  </a:lnTo>
                  <a:lnTo>
                    <a:pt x="878" y="1624"/>
                  </a:lnTo>
                  <a:lnTo>
                    <a:pt x="878" y="1624"/>
                  </a:lnTo>
                  <a:lnTo>
                    <a:pt x="878" y="1624"/>
                  </a:lnTo>
                  <a:lnTo>
                    <a:pt x="876" y="1625"/>
                  </a:lnTo>
                  <a:lnTo>
                    <a:pt x="876" y="1625"/>
                  </a:lnTo>
                  <a:lnTo>
                    <a:pt x="875" y="1628"/>
                  </a:lnTo>
                  <a:lnTo>
                    <a:pt x="873" y="1631"/>
                  </a:lnTo>
                  <a:lnTo>
                    <a:pt x="873" y="1631"/>
                  </a:lnTo>
                  <a:lnTo>
                    <a:pt x="875" y="1634"/>
                  </a:lnTo>
                  <a:lnTo>
                    <a:pt x="875" y="1635"/>
                  </a:lnTo>
                  <a:lnTo>
                    <a:pt x="875" y="1635"/>
                  </a:lnTo>
                  <a:lnTo>
                    <a:pt x="878" y="1638"/>
                  </a:lnTo>
                  <a:lnTo>
                    <a:pt x="881" y="1641"/>
                  </a:lnTo>
                  <a:lnTo>
                    <a:pt x="881" y="1641"/>
                  </a:lnTo>
                  <a:lnTo>
                    <a:pt x="888" y="1644"/>
                  </a:lnTo>
                  <a:lnTo>
                    <a:pt x="888" y="1644"/>
                  </a:lnTo>
                  <a:lnTo>
                    <a:pt x="889" y="1645"/>
                  </a:lnTo>
                  <a:lnTo>
                    <a:pt x="889" y="1645"/>
                  </a:lnTo>
                  <a:lnTo>
                    <a:pt x="901" y="1663"/>
                  </a:lnTo>
                  <a:lnTo>
                    <a:pt x="901" y="1663"/>
                  </a:lnTo>
                  <a:lnTo>
                    <a:pt x="907" y="1671"/>
                  </a:lnTo>
                  <a:lnTo>
                    <a:pt x="907" y="1671"/>
                  </a:lnTo>
                  <a:lnTo>
                    <a:pt x="910" y="1676"/>
                  </a:lnTo>
                  <a:lnTo>
                    <a:pt x="910" y="1677"/>
                  </a:lnTo>
                  <a:lnTo>
                    <a:pt x="910" y="1677"/>
                  </a:lnTo>
                  <a:lnTo>
                    <a:pt x="910" y="1677"/>
                  </a:lnTo>
                  <a:lnTo>
                    <a:pt x="910" y="1677"/>
                  </a:lnTo>
                  <a:lnTo>
                    <a:pt x="910" y="1677"/>
                  </a:lnTo>
                  <a:lnTo>
                    <a:pt x="910" y="1677"/>
                  </a:lnTo>
                  <a:lnTo>
                    <a:pt x="910" y="1677"/>
                  </a:lnTo>
                  <a:lnTo>
                    <a:pt x="910" y="1677"/>
                  </a:lnTo>
                  <a:lnTo>
                    <a:pt x="910" y="1677"/>
                  </a:lnTo>
                  <a:lnTo>
                    <a:pt x="908" y="1679"/>
                  </a:lnTo>
                  <a:lnTo>
                    <a:pt x="908" y="1679"/>
                  </a:lnTo>
                  <a:lnTo>
                    <a:pt x="905" y="1682"/>
                  </a:lnTo>
                  <a:lnTo>
                    <a:pt x="905" y="1682"/>
                  </a:lnTo>
                  <a:lnTo>
                    <a:pt x="905" y="1682"/>
                  </a:lnTo>
                  <a:lnTo>
                    <a:pt x="905" y="1683"/>
                  </a:lnTo>
                  <a:lnTo>
                    <a:pt x="905" y="1683"/>
                  </a:lnTo>
                  <a:lnTo>
                    <a:pt x="907" y="1689"/>
                  </a:lnTo>
                  <a:lnTo>
                    <a:pt x="907" y="1689"/>
                  </a:lnTo>
                  <a:lnTo>
                    <a:pt x="911" y="1700"/>
                  </a:lnTo>
                  <a:lnTo>
                    <a:pt x="917" y="1711"/>
                  </a:lnTo>
                  <a:lnTo>
                    <a:pt x="917" y="1711"/>
                  </a:lnTo>
                  <a:lnTo>
                    <a:pt x="920" y="1715"/>
                  </a:lnTo>
                  <a:lnTo>
                    <a:pt x="924" y="1718"/>
                  </a:lnTo>
                  <a:lnTo>
                    <a:pt x="924" y="1718"/>
                  </a:lnTo>
                  <a:lnTo>
                    <a:pt x="931" y="1722"/>
                  </a:lnTo>
                  <a:lnTo>
                    <a:pt x="931" y="1722"/>
                  </a:lnTo>
                  <a:lnTo>
                    <a:pt x="937" y="1729"/>
                  </a:lnTo>
                  <a:lnTo>
                    <a:pt x="937" y="1729"/>
                  </a:lnTo>
                  <a:lnTo>
                    <a:pt x="944" y="1741"/>
                  </a:lnTo>
                  <a:lnTo>
                    <a:pt x="944" y="1741"/>
                  </a:lnTo>
                  <a:lnTo>
                    <a:pt x="962" y="1770"/>
                  </a:lnTo>
                  <a:lnTo>
                    <a:pt x="962" y="1770"/>
                  </a:lnTo>
                  <a:lnTo>
                    <a:pt x="963" y="1776"/>
                  </a:lnTo>
                  <a:lnTo>
                    <a:pt x="963" y="1776"/>
                  </a:lnTo>
                  <a:lnTo>
                    <a:pt x="963" y="1777"/>
                  </a:lnTo>
                  <a:lnTo>
                    <a:pt x="963" y="1777"/>
                  </a:lnTo>
                  <a:lnTo>
                    <a:pt x="962" y="1782"/>
                  </a:lnTo>
                  <a:lnTo>
                    <a:pt x="962" y="1782"/>
                  </a:lnTo>
                  <a:lnTo>
                    <a:pt x="962" y="1784"/>
                  </a:lnTo>
                  <a:lnTo>
                    <a:pt x="962" y="1784"/>
                  </a:lnTo>
                  <a:lnTo>
                    <a:pt x="965" y="1792"/>
                  </a:lnTo>
                  <a:lnTo>
                    <a:pt x="965" y="1792"/>
                  </a:lnTo>
                  <a:lnTo>
                    <a:pt x="970" y="1811"/>
                  </a:lnTo>
                  <a:lnTo>
                    <a:pt x="970" y="1811"/>
                  </a:lnTo>
                  <a:lnTo>
                    <a:pt x="973" y="1818"/>
                  </a:lnTo>
                  <a:lnTo>
                    <a:pt x="973" y="1818"/>
                  </a:lnTo>
                  <a:lnTo>
                    <a:pt x="973" y="1824"/>
                  </a:lnTo>
                  <a:lnTo>
                    <a:pt x="973" y="1824"/>
                  </a:lnTo>
                  <a:lnTo>
                    <a:pt x="975" y="1828"/>
                  </a:lnTo>
                  <a:lnTo>
                    <a:pt x="978" y="1834"/>
                  </a:lnTo>
                  <a:lnTo>
                    <a:pt x="978" y="1834"/>
                  </a:lnTo>
                  <a:lnTo>
                    <a:pt x="982" y="1837"/>
                  </a:lnTo>
                  <a:lnTo>
                    <a:pt x="986" y="1838"/>
                  </a:lnTo>
                  <a:lnTo>
                    <a:pt x="986" y="1838"/>
                  </a:lnTo>
                  <a:lnTo>
                    <a:pt x="986" y="1838"/>
                  </a:lnTo>
                  <a:lnTo>
                    <a:pt x="992" y="1837"/>
                  </a:lnTo>
                  <a:lnTo>
                    <a:pt x="992" y="1837"/>
                  </a:lnTo>
                  <a:lnTo>
                    <a:pt x="1001" y="1834"/>
                  </a:lnTo>
                  <a:lnTo>
                    <a:pt x="1001" y="1834"/>
                  </a:lnTo>
                  <a:lnTo>
                    <a:pt x="1008" y="1829"/>
                  </a:lnTo>
                  <a:lnTo>
                    <a:pt x="1008" y="1829"/>
                  </a:lnTo>
                  <a:lnTo>
                    <a:pt x="1012" y="1828"/>
                  </a:lnTo>
                  <a:lnTo>
                    <a:pt x="1012" y="1828"/>
                  </a:lnTo>
                  <a:lnTo>
                    <a:pt x="1024" y="1826"/>
                  </a:lnTo>
                  <a:lnTo>
                    <a:pt x="1036" y="1826"/>
                  </a:lnTo>
                  <a:lnTo>
                    <a:pt x="1036" y="1826"/>
                  </a:lnTo>
                  <a:lnTo>
                    <a:pt x="1041" y="1825"/>
                  </a:lnTo>
                  <a:lnTo>
                    <a:pt x="1047" y="1824"/>
                  </a:lnTo>
                  <a:lnTo>
                    <a:pt x="1047" y="1824"/>
                  </a:lnTo>
                  <a:lnTo>
                    <a:pt x="1066" y="1815"/>
                  </a:lnTo>
                  <a:lnTo>
                    <a:pt x="1066" y="1815"/>
                  </a:lnTo>
                  <a:lnTo>
                    <a:pt x="1082" y="1806"/>
                  </a:lnTo>
                  <a:lnTo>
                    <a:pt x="1082" y="1806"/>
                  </a:lnTo>
                  <a:lnTo>
                    <a:pt x="1091" y="1802"/>
                  </a:lnTo>
                  <a:lnTo>
                    <a:pt x="1091" y="1802"/>
                  </a:lnTo>
                  <a:lnTo>
                    <a:pt x="1107" y="1796"/>
                  </a:lnTo>
                  <a:lnTo>
                    <a:pt x="1107" y="1796"/>
                  </a:lnTo>
                  <a:lnTo>
                    <a:pt x="1114" y="1795"/>
                  </a:lnTo>
                  <a:lnTo>
                    <a:pt x="1114" y="1795"/>
                  </a:lnTo>
                  <a:lnTo>
                    <a:pt x="1117" y="1793"/>
                  </a:lnTo>
                  <a:lnTo>
                    <a:pt x="1117" y="1793"/>
                  </a:lnTo>
                  <a:lnTo>
                    <a:pt x="1118" y="1793"/>
                  </a:lnTo>
                  <a:lnTo>
                    <a:pt x="1118" y="1793"/>
                  </a:lnTo>
                  <a:lnTo>
                    <a:pt x="1121" y="1789"/>
                  </a:lnTo>
                  <a:lnTo>
                    <a:pt x="1121" y="1789"/>
                  </a:lnTo>
                  <a:lnTo>
                    <a:pt x="1124" y="1783"/>
                  </a:lnTo>
                  <a:lnTo>
                    <a:pt x="1124" y="1783"/>
                  </a:lnTo>
                  <a:lnTo>
                    <a:pt x="1127" y="1777"/>
                  </a:lnTo>
                  <a:lnTo>
                    <a:pt x="1127" y="1777"/>
                  </a:lnTo>
                  <a:lnTo>
                    <a:pt x="1128" y="1777"/>
                  </a:lnTo>
                  <a:lnTo>
                    <a:pt x="1128" y="1777"/>
                  </a:lnTo>
                  <a:lnTo>
                    <a:pt x="1143" y="1771"/>
                  </a:lnTo>
                  <a:lnTo>
                    <a:pt x="1143" y="1771"/>
                  </a:lnTo>
                  <a:lnTo>
                    <a:pt x="1150" y="1769"/>
                  </a:lnTo>
                  <a:lnTo>
                    <a:pt x="1150" y="1769"/>
                  </a:lnTo>
                  <a:lnTo>
                    <a:pt x="1154" y="1767"/>
                  </a:lnTo>
                  <a:lnTo>
                    <a:pt x="1154" y="1767"/>
                  </a:lnTo>
                  <a:lnTo>
                    <a:pt x="1160" y="1767"/>
                  </a:lnTo>
                  <a:lnTo>
                    <a:pt x="1166" y="1766"/>
                  </a:lnTo>
                  <a:lnTo>
                    <a:pt x="1166" y="1766"/>
                  </a:lnTo>
                  <a:lnTo>
                    <a:pt x="1172" y="1764"/>
                  </a:lnTo>
                  <a:lnTo>
                    <a:pt x="1172" y="1764"/>
                  </a:lnTo>
                  <a:lnTo>
                    <a:pt x="1173" y="1761"/>
                  </a:lnTo>
                  <a:lnTo>
                    <a:pt x="1175" y="1758"/>
                  </a:lnTo>
                  <a:lnTo>
                    <a:pt x="1175" y="1758"/>
                  </a:lnTo>
                  <a:lnTo>
                    <a:pt x="1177" y="1754"/>
                  </a:lnTo>
                  <a:lnTo>
                    <a:pt x="1177" y="1754"/>
                  </a:lnTo>
                  <a:lnTo>
                    <a:pt x="1182" y="1753"/>
                  </a:lnTo>
                  <a:lnTo>
                    <a:pt x="1182" y="1753"/>
                  </a:lnTo>
                  <a:lnTo>
                    <a:pt x="1186" y="1750"/>
                  </a:lnTo>
                  <a:lnTo>
                    <a:pt x="1189" y="1747"/>
                  </a:lnTo>
                  <a:lnTo>
                    <a:pt x="1189" y="1747"/>
                  </a:lnTo>
                  <a:lnTo>
                    <a:pt x="1192" y="1741"/>
                  </a:lnTo>
                  <a:lnTo>
                    <a:pt x="1192" y="1741"/>
                  </a:lnTo>
                  <a:lnTo>
                    <a:pt x="1193" y="1740"/>
                  </a:lnTo>
                  <a:lnTo>
                    <a:pt x="1193" y="1740"/>
                  </a:lnTo>
                  <a:lnTo>
                    <a:pt x="1199" y="1738"/>
                  </a:lnTo>
                  <a:lnTo>
                    <a:pt x="1206" y="1735"/>
                  </a:lnTo>
                  <a:lnTo>
                    <a:pt x="1206" y="1735"/>
                  </a:lnTo>
                  <a:lnTo>
                    <a:pt x="1208" y="1735"/>
                  </a:lnTo>
                  <a:lnTo>
                    <a:pt x="1211" y="1734"/>
                  </a:lnTo>
                  <a:lnTo>
                    <a:pt x="1211" y="1734"/>
                  </a:lnTo>
                  <a:lnTo>
                    <a:pt x="1211" y="1732"/>
                  </a:lnTo>
                  <a:lnTo>
                    <a:pt x="1212" y="1729"/>
                  </a:lnTo>
                  <a:lnTo>
                    <a:pt x="1212" y="1729"/>
                  </a:lnTo>
                  <a:lnTo>
                    <a:pt x="1211" y="1725"/>
                  </a:lnTo>
                  <a:lnTo>
                    <a:pt x="1211" y="1725"/>
                  </a:lnTo>
                  <a:lnTo>
                    <a:pt x="1209" y="1722"/>
                  </a:lnTo>
                  <a:lnTo>
                    <a:pt x="1209" y="1722"/>
                  </a:lnTo>
                  <a:lnTo>
                    <a:pt x="1209" y="1722"/>
                  </a:lnTo>
                  <a:lnTo>
                    <a:pt x="1209" y="1722"/>
                  </a:lnTo>
                  <a:lnTo>
                    <a:pt x="1211" y="1716"/>
                  </a:lnTo>
                  <a:lnTo>
                    <a:pt x="1214" y="1706"/>
                  </a:lnTo>
                  <a:lnTo>
                    <a:pt x="1214" y="1706"/>
                  </a:lnTo>
                  <a:lnTo>
                    <a:pt x="1214" y="1705"/>
                  </a:lnTo>
                  <a:lnTo>
                    <a:pt x="1214" y="1705"/>
                  </a:lnTo>
                  <a:lnTo>
                    <a:pt x="1214" y="1703"/>
                  </a:lnTo>
                  <a:lnTo>
                    <a:pt x="1214" y="1705"/>
                  </a:lnTo>
                  <a:lnTo>
                    <a:pt x="1214" y="1705"/>
                  </a:lnTo>
                  <a:lnTo>
                    <a:pt x="1214" y="1703"/>
                  </a:lnTo>
                  <a:lnTo>
                    <a:pt x="1214" y="1705"/>
                  </a:lnTo>
                  <a:lnTo>
                    <a:pt x="1212" y="1703"/>
                  </a:lnTo>
                  <a:lnTo>
                    <a:pt x="1212" y="1706"/>
                  </a:lnTo>
                  <a:lnTo>
                    <a:pt x="1212" y="1706"/>
                  </a:lnTo>
                  <a:lnTo>
                    <a:pt x="1214" y="1705"/>
                  </a:lnTo>
                  <a:lnTo>
                    <a:pt x="1212" y="1703"/>
                  </a:lnTo>
                  <a:lnTo>
                    <a:pt x="1212" y="1706"/>
                  </a:lnTo>
                  <a:lnTo>
                    <a:pt x="1212" y="1703"/>
                  </a:lnTo>
                  <a:lnTo>
                    <a:pt x="1212" y="1705"/>
                  </a:lnTo>
                  <a:lnTo>
                    <a:pt x="1212" y="1705"/>
                  </a:lnTo>
                  <a:lnTo>
                    <a:pt x="1212" y="1706"/>
                  </a:lnTo>
                  <a:lnTo>
                    <a:pt x="1212" y="1703"/>
                  </a:lnTo>
                  <a:lnTo>
                    <a:pt x="1212" y="1705"/>
                  </a:lnTo>
                  <a:lnTo>
                    <a:pt x="1212" y="1705"/>
                  </a:lnTo>
                  <a:lnTo>
                    <a:pt x="1211" y="1705"/>
                  </a:lnTo>
                  <a:lnTo>
                    <a:pt x="1212" y="1705"/>
                  </a:lnTo>
                  <a:lnTo>
                    <a:pt x="1212" y="1705"/>
                  </a:lnTo>
                  <a:lnTo>
                    <a:pt x="1211" y="1705"/>
                  </a:lnTo>
                  <a:lnTo>
                    <a:pt x="1211" y="1706"/>
                  </a:lnTo>
                  <a:lnTo>
                    <a:pt x="1211" y="1706"/>
                  </a:lnTo>
                  <a:lnTo>
                    <a:pt x="1212" y="1708"/>
                  </a:lnTo>
                  <a:lnTo>
                    <a:pt x="1212" y="1708"/>
                  </a:lnTo>
                  <a:lnTo>
                    <a:pt x="1215" y="1711"/>
                  </a:lnTo>
                  <a:lnTo>
                    <a:pt x="1215" y="1711"/>
                  </a:lnTo>
                  <a:lnTo>
                    <a:pt x="1217" y="1711"/>
                  </a:lnTo>
                  <a:lnTo>
                    <a:pt x="1217" y="1711"/>
                  </a:lnTo>
                  <a:lnTo>
                    <a:pt x="1219" y="1711"/>
                  </a:lnTo>
                  <a:lnTo>
                    <a:pt x="1219" y="1711"/>
                  </a:lnTo>
                  <a:lnTo>
                    <a:pt x="1222" y="1708"/>
                  </a:lnTo>
                  <a:lnTo>
                    <a:pt x="1222" y="1708"/>
                  </a:lnTo>
                  <a:lnTo>
                    <a:pt x="1227" y="1702"/>
                  </a:lnTo>
                  <a:lnTo>
                    <a:pt x="1227" y="1702"/>
                  </a:lnTo>
                  <a:lnTo>
                    <a:pt x="1230" y="1698"/>
                  </a:lnTo>
                  <a:lnTo>
                    <a:pt x="1230" y="1698"/>
                  </a:lnTo>
                  <a:lnTo>
                    <a:pt x="1233" y="1695"/>
                  </a:lnTo>
                  <a:lnTo>
                    <a:pt x="1235" y="1690"/>
                  </a:lnTo>
                  <a:lnTo>
                    <a:pt x="1235" y="1690"/>
                  </a:lnTo>
                  <a:lnTo>
                    <a:pt x="1240" y="1680"/>
                  </a:lnTo>
                  <a:lnTo>
                    <a:pt x="1240" y="1680"/>
                  </a:lnTo>
                  <a:lnTo>
                    <a:pt x="1241" y="1676"/>
                  </a:lnTo>
                  <a:lnTo>
                    <a:pt x="1241" y="1676"/>
                  </a:lnTo>
                  <a:lnTo>
                    <a:pt x="1241" y="1673"/>
                  </a:lnTo>
                  <a:lnTo>
                    <a:pt x="1241" y="1673"/>
                  </a:lnTo>
                  <a:lnTo>
                    <a:pt x="1241" y="1670"/>
                  </a:lnTo>
                  <a:lnTo>
                    <a:pt x="1240" y="1669"/>
                  </a:lnTo>
                  <a:lnTo>
                    <a:pt x="1240" y="1669"/>
                  </a:lnTo>
                  <a:lnTo>
                    <a:pt x="1235" y="1667"/>
                  </a:lnTo>
                  <a:lnTo>
                    <a:pt x="1235" y="1667"/>
                  </a:lnTo>
                  <a:lnTo>
                    <a:pt x="1234" y="1666"/>
                  </a:lnTo>
                  <a:lnTo>
                    <a:pt x="1231" y="1663"/>
                  </a:lnTo>
                  <a:lnTo>
                    <a:pt x="1231" y="1663"/>
                  </a:lnTo>
                  <a:lnTo>
                    <a:pt x="1225" y="1656"/>
                  </a:lnTo>
                  <a:lnTo>
                    <a:pt x="1225" y="1656"/>
                  </a:lnTo>
                  <a:lnTo>
                    <a:pt x="1221" y="1651"/>
                  </a:lnTo>
                  <a:lnTo>
                    <a:pt x="1214" y="1650"/>
                  </a:lnTo>
                  <a:lnTo>
                    <a:pt x="1214" y="1650"/>
                  </a:lnTo>
                  <a:lnTo>
                    <a:pt x="1202" y="1648"/>
                  </a:lnTo>
                  <a:lnTo>
                    <a:pt x="1202" y="1648"/>
                  </a:lnTo>
                  <a:lnTo>
                    <a:pt x="1198" y="1645"/>
                  </a:lnTo>
                  <a:lnTo>
                    <a:pt x="1198" y="1645"/>
                  </a:lnTo>
                  <a:lnTo>
                    <a:pt x="1195" y="1641"/>
                  </a:lnTo>
                  <a:lnTo>
                    <a:pt x="1192" y="1635"/>
                  </a:lnTo>
                  <a:lnTo>
                    <a:pt x="1188" y="1625"/>
                  </a:lnTo>
                  <a:lnTo>
                    <a:pt x="1188" y="1625"/>
                  </a:lnTo>
                  <a:lnTo>
                    <a:pt x="1188" y="1622"/>
                  </a:lnTo>
                  <a:lnTo>
                    <a:pt x="1188" y="1622"/>
                  </a:lnTo>
                  <a:lnTo>
                    <a:pt x="1189" y="1616"/>
                  </a:lnTo>
                  <a:lnTo>
                    <a:pt x="1189" y="1616"/>
                  </a:lnTo>
                  <a:lnTo>
                    <a:pt x="1191" y="1615"/>
                  </a:lnTo>
                  <a:lnTo>
                    <a:pt x="1191" y="1614"/>
                  </a:lnTo>
                  <a:lnTo>
                    <a:pt x="1191" y="1614"/>
                  </a:lnTo>
                  <a:lnTo>
                    <a:pt x="1191" y="1612"/>
                  </a:lnTo>
                  <a:lnTo>
                    <a:pt x="1191" y="1612"/>
                  </a:lnTo>
                  <a:lnTo>
                    <a:pt x="1191" y="1609"/>
                  </a:lnTo>
                  <a:lnTo>
                    <a:pt x="1191" y="1609"/>
                  </a:lnTo>
                  <a:lnTo>
                    <a:pt x="1188" y="1609"/>
                  </a:lnTo>
                  <a:lnTo>
                    <a:pt x="1188" y="1609"/>
                  </a:lnTo>
                  <a:lnTo>
                    <a:pt x="1188" y="1609"/>
                  </a:lnTo>
                  <a:lnTo>
                    <a:pt x="1186" y="1609"/>
                  </a:lnTo>
                  <a:lnTo>
                    <a:pt x="1186" y="1609"/>
                  </a:lnTo>
                  <a:lnTo>
                    <a:pt x="1179" y="1615"/>
                  </a:lnTo>
                  <a:lnTo>
                    <a:pt x="1179" y="1615"/>
                  </a:lnTo>
                  <a:lnTo>
                    <a:pt x="1164" y="1629"/>
                  </a:lnTo>
                  <a:lnTo>
                    <a:pt x="1164" y="1629"/>
                  </a:lnTo>
                  <a:lnTo>
                    <a:pt x="1157" y="1635"/>
                  </a:lnTo>
                  <a:lnTo>
                    <a:pt x="1157" y="1635"/>
                  </a:lnTo>
                  <a:lnTo>
                    <a:pt x="1154" y="1640"/>
                  </a:lnTo>
                  <a:lnTo>
                    <a:pt x="1154" y="1640"/>
                  </a:lnTo>
                  <a:lnTo>
                    <a:pt x="1153" y="1641"/>
                  </a:lnTo>
                  <a:lnTo>
                    <a:pt x="1153" y="1641"/>
                  </a:lnTo>
                  <a:lnTo>
                    <a:pt x="1147" y="1641"/>
                  </a:lnTo>
                  <a:lnTo>
                    <a:pt x="1147" y="1641"/>
                  </a:lnTo>
                  <a:lnTo>
                    <a:pt x="1133" y="1641"/>
                  </a:lnTo>
                  <a:lnTo>
                    <a:pt x="1133" y="1641"/>
                  </a:lnTo>
                  <a:lnTo>
                    <a:pt x="1130" y="1641"/>
                  </a:lnTo>
                  <a:lnTo>
                    <a:pt x="1130" y="1641"/>
                  </a:lnTo>
                  <a:lnTo>
                    <a:pt x="1121" y="1643"/>
                  </a:lnTo>
                  <a:lnTo>
                    <a:pt x="1121" y="1643"/>
                  </a:lnTo>
                  <a:lnTo>
                    <a:pt x="1117" y="1641"/>
                  </a:lnTo>
                  <a:lnTo>
                    <a:pt x="1117" y="1641"/>
                  </a:lnTo>
                  <a:lnTo>
                    <a:pt x="1114" y="1640"/>
                  </a:lnTo>
                  <a:lnTo>
                    <a:pt x="1111" y="1638"/>
                  </a:lnTo>
                  <a:lnTo>
                    <a:pt x="1111" y="1638"/>
                  </a:lnTo>
                  <a:lnTo>
                    <a:pt x="1108" y="1634"/>
                  </a:lnTo>
                  <a:lnTo>
                    <a:pt x="1107" y="1634"/>
                  </a:lnTo>
                  <a:lnTo>
                    <a:pt x="1108" y="1634"/>
                  </a:lnTo>
                  <a:lnTo>
                    <a:pt x="1108" y="1634"/>
                  </a:lnTo>
                  <a:lnTo>
                    <a:pt x="1107" y="1634"/>
                  </a:lnTo>
                  <a:lnTo>
                    <a:pt x="1108" y="1634"/>
                  </a:lnTo>
                  <a:lnTo>
                    <a:pt x="1108" y="1634"/>
                  </a:lnTo>
                  <a:lnTo>
                    <a:pt x="1108" y="1634"/>
                  </a:lnTo>
                  <a:lnTo>
                    <a:pt x="1108" y="1634"/>
                  </a:lnTo>
                  <a:lnTo>
                    <a:pt x="1108" y="1634"/>
                  </a:lnTo>
                  <a:lnTo>
                    <a:pt x="1108" y="1634"/>
                  </a:lnTo>
                  <a:lnTo>
                    <a:pt x="1108" y="1634"/>
                  </a:lnTo>
                  <a:lnTo>
                    <a:pt x="1108" y="1634"/>
                  </a:lnTo>
                  <a:lnTo>
                    <a:pt x="1109" y="1632"/>
                  </a:lnTo>
                  <a:lnTo>
                    <a:pt x="1109" y="1632"/>
                  </a:lnTo>
                  <a:lnTo>
                    <a:pt x="1114" y="1629"/>
                  </a:lnTo>
                  <a:lnTo>
                    <a:pt x="1114" y="1629"/>
                  </a:lnTo>
                  <a:lnTo>
                    <a:pt x="1117" y="1627"/>
                  </a:lnTo>
                  <a:lnTo>
                    <a:pt x="1117" y="1627"/>
                  </a:lnTo>
                  <a:lnTo>
                    <a:pt x="1118" y="1624"/>
                  </a:lnTo>
                  <a:lnTo>
                    <a:pt x="1118" y="1624"/>
                  </a:lnTo>
                  <a:lnTo>
                    <a:pt x="1117" y="1619"/>
                  </a:lnTo>
                  <a:lnTo>
                    <a:pt x="1117" y="1619"/>
                  </a:lnTo>
                  <a:lnTo>
                    <a:pt x="1112" y="1612"/>
                  </a:lnTo>
                  <a:lnTo>
                    <a:pt x="1112" y="1612"/>
                  </a:lnTo>
                  <a:lnTo>
                    <a:pt x="1111" y="1609"/>
                  </a:lnTo>
                  <a:lnTo>
                    <a:pt x="1111" y="1609"/>
                  </a:lnTo>
                  <a:lnTo>
                    <a:pt x="1107" y="1606"/>
                  </a:lnTo>
                  <a:lnTo>
                    <a:pt x="1107" y="1606"/>
                  </a:lnTo>
                  <a:lnTo>
                    <a:pt x="1107" y="1606"/>
                  </a:lnTo>
                  <a:lnTo>
                    <a:pt x="1104" y="1608"/>
                  </a:lnTo>
                  <a:lnTo>
                    <a:pt x="1104" y="1608"/>
                  </a:lnTo>
                  <a:lnTo>
                    <a:pt x="1101" y="1611"/>
                  </a:lnTo>
                  <a:lnTo>
                    <a:pt x="1101" y="1611"/>
                  </a:lnTo>
                  <a:lnTo>
                    <a:pt x="1099" y="1615"/>
                  </a:lnTo>
                  <a:lnTo>
                    <a:pt x="1099" y="1615"/>
                  </a:lnTo>
                  <a:lnTo>
                    <a:pt x="1098" y="1616"/>
                  </a:lnTo>
                  <a:lnTo>
                    <a:pt x="1098" y="1616"/>
                  </a:lnTo>
                  <a:lnTo>
                    <a:pt x="1098" y="1616"/>
                  </a:lnTo>
                  <a:lnTo>
                    <a:pt x="1098" y="1616"/>
                  </a:lnTo>
                  <a:lnTo>
                    <a:pt x="1098" y="1616"/>
                  </a:lnTo>
                  <a:lnTo>
                    <a:pt x="1098" y="1616"/>
                  </a:lnTo>
                  <a:lnTo>
                    <a:pt x="1098" y="1616"/>
                  </a:lnTo>
                  <a:lnTo>
                    <a:pt x="1098" y="1616"/>
                  </a:lnTo>
                  <a:lnTo>
                    <a:pt x="1098" y="1616"/>
                  </a:lnTo>
                  <a:lnTo>
                    <a:pt x="1098" y="1616"/>
                  </a:lnTo>
                  <a:lnTo>
                    <a:pt x="1098" y="1616"/>
                  </a:lnTo>
                  <a:lnTo>
                    <a:pt x="1095" y="1615"/>
                  </a:lnTo>
                  <a:lnTo>
                    <a:pt x="1095" y="1615"/>
                  </a:lnTo>
                  <a:lnTo>
                    <a:pt x="1092" y="1612"/>
                  </a:lnTo>
                  <a:lnTo>
                    <a:pt x="1092" y="1614"/>
                  </a:lnTo>
                  <a:lnTo>
                    <a:pt x="1093" y="1612"/>
                  </a:lnTo>
                  <a:lnTo>
                    <a:pt x="1092" y="1612"/>
                  </a:lnTo>
                  <a:lnTo>
                    <a:pt x="1092" y="1614"/>
                  </a:lnTo>
                  <a:lnTo>
                    <a:pt x="1093" y="1612"/>
                  </a:lnTo>
                  <a:lnTo>
                    <a:pt x="1092" y="1612"/>
                  </a:lnTo>
                  <a:lnTo>
                    <a:pt x="1093" y="1612"/>
                  </a:lnTo>
                  <a:lnTo>
                    <a:pt x="1093" y="1612"/>
                  </a:lnTo>
                  <a:lnTo>
                    <a:pt x="1092" y="1612"/>
                  </a:lnTo>
                  <a:lnTo>
                    <a:pt x="1093" y="1612"/>
                  </a:lnTo>
                  <a:lnTo>
                    <a:pt x="1093" y="1612"/>
                  </a:lnTo>
                  <a:lnTo>
                    <a:pt x="1092" y="1611"/>
                  </a:lnTo>
                  <a:lnTo>
                    <a:pt x="1092" y="1611"/>
                  </a:lnTo>
                  <a:lnTo>
                    <a:pt x="1089" y="1598"/>
                  </a:lnTo>
                  <a:lnTo>
                    <a:pt x="1089" y="1598"/>
                  </a:lnTo>
                  <a:lnTo>
                    <a:pt x="1088" y="1595"/>
                  </a:lnTo>
                  <a:lnTo>
                    <a:pt x="1088" y="1595"/>
                  </a:lnTo>
                  <a:lnTo>
                    <a:pt x="1083" y="1587"/>
                  </a:lnTo>
                  <a:lnTo>
                    <a:pt x="1083" y="1587"/>
                  </a:lnTo>
                  <a:lnTo>
                    <a:pt x="1079" y="1583"/>
                  </a:lnTo>
                  <a:lnTo>
                    <a:pt x="1079" y="1583"/>
                  </a:lnTo>
                  <a:lnTo>
                    <a:pt x="1072" y="1577"/>
                  </a:lnTo>
                  <a:lnTo>
                    <a:pt x="1072" y="1577"/>
                  </a:lnTo>
                  <a:lnTo>
                    <a:pt x="1067" y="1570"/>
                  </a:lnTo>
                  <a:lnTo>
                    <a:pt x="1067" y="1570"/>
                  </a:lnTo>
                  <a:lnTo>
                    <a:pt x="1062" y="1561"/>
                  </a:lnTo>
                  <a:lnTo>
                    <a:pt x="1056" y="1553"/>
                  </a:lnTo>
                  <a:lnTo>
                    <a:pt x="1056" y="1553"/>
                  </a:lnTo>
                  <a:lnTo>
                    <a:pt x="1054" y="1551"/>
                  </a:lnTo>
                  <a:lnTo>
                    <a:pt x="1054" y="1550"/>
                  </a:lnTo>
                  <a:lnTo>
                    <a:pt x="1054" y="1550"/>
                  </a:lnTo>
                  <a:lnTo>
                    <a:pt x="1056" y="1548"/>
                  </a:lnTo>
                  <a:lnTo>
                    <a:pt x="1056" y="1548"/>
                  </a:lnTo>
                  <a:lnTo>
                    <a:pt x="1057" y="1547"/>
                  </a:lnTo>
                  <a:lnTo>
                    <a:pt x="1057" y="1544"/>
                  </a:lnTo>
                  <a:lnTo>
                    <a:pt x="1057" y="1544"/>
                  </a:lnTo>
                  <a:lnTo>
                    <a:pt x="1057" y="1545"/>
                  </a:lnTo>
                  <a:lnTo>
                    <a:pt x="1057" y="1544"/>
                  </a:lnTo>
                  <a:lnTo>
                    <a:pt x="1057" y="1544"/>
                  </a:lnTo>
                  <a:lnTo>
                    <a:pt x="1057" y="1545"/>
                  </a:lnTo>
                  <a:lnTo>
                    <a:pt x="1057" y="1544"/>
                  </a:lnTo>
                  <a:lnTo>
                    <a:pt x="1057" y="1545"/>
                  </a:lnTo>
                  <a:lnTo>
                    <a:pt x="1057" y="1545"/>
                  </a:lnTo>
                  <a:lnTo>
                    <a:pt x="1057" y="1544"/>
                  </a:lnTo>
                  <a:lnTo>
                    <a:pt x="1057" y="1545"/>
                  </a:lnTo>
                  <a:lnTo>
                    <a:pt x="1057" y="1545"/>
                  </a:lnTo>
                  <a:lnTo>
                    <a:pt x="1057" y="1545"/>
                  </a:lnTo>
                  <a:lnTo>
                    <a:pt x="1057" y="1545"/>
                  </a:lnTo>
                  <a:lnTo>
                    <a:pt x="1057" y="1545"/>
                  </a:lnTo>
                  <a:lnTo>
                    <a:pt x="1057" y="1545"/>
                  </a:lnTo>
                  <a:lnTo>
                    <a:pt x="1057" y="1545"/>
                  </a:lnTo>
                  <a:lnTo>
                    <a:pt x="1060" y="1544"/>
                  </a:lnTo>
                  <a:lnTo>
                    <a:pt x="1060" y="1544"/>
                  </a:lnTo>
                  <a:lnTo>
                    <a:pt x="1067" y="1544"/>
                  </a:lnTo>
                  <a:lnTo>
                    <a:pt x="1067" y="1544"/>
                  </a:lnTo>
                  <a:lnTo>
                    <a:pt x="1070" y="1543"/>
                  </a:lnTo>
                  <a:lnTo>
                    <a:pt x="1070" y="1543"/>
                  </a:lnTo>
                  <a:lnTo>
                    <a:pt x="1072" y="1541"/>
                  </a:lnTo>
                  <a:lnTo>
                    <a:pt x="1072" y="1541"/>
                  </a:lnTo>
                  <a:lnTo>
                    <a:pt x="1073" y="1540"/>
                  </a:lnTo>
                  <a:lnTo>
                    <a:pt x="1073" y="1540"/>
                  </a:lnTo>
                  <a:lnTo>
                    <a:pt x="1073" y="1538"/>
                  </a:lnTo>
                  <a:lnTo>
                    <a:pt x="1072" y="1538"/>
                  </a:lnTo>
                  <a:lnTo>
                    <a:pt x="1072" y="1540"/>
                  </a:lnTo>
                  <a:lnTo>
                    <a:pt x="1073" y="1538"/>
                  </a:lnTo>
                  <a:lnTo>
                    <a:pt x="1072" y="1538"/>
                  </a:lnTo>
                  <a:lnTo>
                    <a:pt x="1072" y="1540"/>
                  </a:lnTo>
                  <a:lnTo>
                    <a:pt x="1072" y="1538"/>
                  </a:lnTo>
                  <a:lnTo>
                    <a:pt x="1072" y="1540"/>
                  </a:lnTo>
                  <a:lnTo>
                    <a:pt x="1072" y="1540"/>
                  </a:lnTo>
                  <a:lnTo>
                    <a:pt x="1072" y="1538"/>
                  </a:lnTo>
                  <a:lnTo>
                    <a:pt x="1072" y="1540"/>
                  </a:lnTo>
                  <a:lnTo>
                    <a:pt x="1072" y="1540"/>
                  </a:lnTo>
                  <a:lnTo>
                    <a:pt x="1072" y="1540"/>
                  </a:lnTo>
                  <a:lnTo>
                    <a:pt x="1072" y="1540"/>
                  </a:lnTo>
                  <a:lnTo>
                    <a:pt x="1072" y="1540"/>
                  </a:lnTo>
                  <a:lnTo>
                    <a:pt x="1072" y="1540"/>
                  </a:lnTo>
                  <a:lnTo>
                    <a:pt x="1072" y="1540"/>
                  </a:lnTo>
                  <a:lnTo>
                    <a:pt x="1072" y="1540"/>
                  </a:lnTo>
                  <a:lnTo>
                    <a:pt x="1076" y="1543"/>
                  </a:lnTo>
                  <a:lnTo>
                    <a:pt x="1076" y="1543"/>
                  </a:lnTo>
                  <a:lnTo>
                    <a:pt x="1080" y="1547"/>
                  </a:lnTo>
                  <a:lnTo>
                    <a:pt x="1080" y="1547"/>
                  </a:lnTo>
                  <a:lnTo>
                    <a:pt x="1088" y="1548"/>
                  </a:lnTo>
                  <a:lnTo>
                    <a:pt x="1088" y="1548"/>
                  </a:lnTo>
                  <a:lnTo>
                    <a:pt x="1086" y="1548"/>
                  </a:lnTo>
                  <a:lnTo>
                    <a:pt x="1088" y="1548"/>
                  </a:lnTo>
                  <a:lnTo>
                    <a:pt x="1088" y="1548"/>
                  </a:lnTo>
                  <a:lnTo>
                    <a:pt x="1086" y="1548"/>
                  </a:lnTo>
                  <a:lnTo>
                    <a:pt x="1086" y="1548"/>
                  </a:lnTo>
                  <a:lnTo>
                    <a:pt x="1089" y="1550"/>
                  </a:lnTo>
                  <a:lnTo>
                    <a:pt x="1089" y="1550"/>
                  </a:lnTo>
                  <a:lnTo>
                    <a:pt x="1093" y="1557"/>
                  </a:lnTo>
                  <a:lnTo>
                    <a:pt x="1098" y="1567"/>
                  </a:lnTo>
                  <a:lnTo>
                    <a:pt x="1098" y="1567"/>
                  </a:lnTo>
                  <a:lnTo>
                    <a:pt x="1101" y="1572"/>
                  </a:lnTo>
                  <a:lnTo>
                    <a:pt x="1105" y="1576"/>
                  </a:lnTo>
                  <a:lnTo>
                    <a:pt x="1105" y="1576"/>
                  </a:lnTo>
                  <a:lnTo>
                    <a:pt x="1109" y="1579"/>
                  </a:lnTo>
                  <a:lnTo>
                    <a:pt x="1115" y="1579"/>
                  </a:lnTo>
                  <a:lnTo>
                    <a:pt x="1115" y="1579"/>
                  </a:lnTo>
                  <a:lnTo>
                    <a:pt x="1120" y="1580"/>
                  </a:lnTo>
                  <a:lnTo>
                    <a:pt x="1120" y="1580"/>
                  </a:lnTo>
                  <a:lnTo>
                    <a:pt x="1122" y="1585"/>
                  </a:lnTo>
                  <a:lnTo>
                    <a:pt x="1122" y="1585"/>
                  </a:lnTo>
                  <a:lnTo>
                    <a:pt x="1124" y="1587"/>
                  </a:lnTo>
                  <a:lnTo>
                    <a:pt x="1127" y="1590"/>
                  </a:lnTo>
                  <a:lnTo>
                    <a:pt x="1127" y="1590"/>
                  </a:lnTo>
                  <a:lnTo>
                    <a:pt x="1131" y="1595"/>
                  </a:lnTo>
                  <a:lnTo>
                    <a:pt x="1137" y="1598"/>
                  </a:lnTo>
                  <a:lnTo>
                    <a:pt x="1137" y="1598"/>
                  </a:lnTo>
                  <a:lnTo>
                    <a:pt x="1149" y="1601"/>
                  </a:lnTo>
                  <a:lnTo>
                    <a:pt x="1149" y="1601"/>
                  </a:lnTo>
                  <a:lnTo>
                    <a:pt x="1156" y="1602"/>
                  </a:lnTo>
                  <a:lnTo>
                    <a:pt x="1156" y="1602"/>
                  </a:lnTo>
                  <a:lnTo>
                    <a:pt x="1160" y="1603"/>
                  </a:lnTo>
                  <a:lnTo>
                    <a:pt x="1164" y="1605"/>
                  </a:lnTo>
                  <a:lnTo>
                    <a:pt x="1164" y="1605"/>
                  </a:lnTo>
                  <a:lnTo>
                    <a:pt x="1167" y="1605"/>
                  </a:lnTo>
                  <a:lnTo>
                    <a:pt x="1167" y="1605"/>
                  </a:lnTo>
                  <a:lnTo>
                    <a:pt x="1173" y="1602"/>
                  </a:lnTo>
                  <a:lnTo>
                    <a:pt x="1179" y="1598"/>
                  </a:lnTo>
                  <a:lnTo>
                    <a:pt x="1179" y="1598"/>
                  </a:lnTo>
                  <a:lnTo>
                    <a:pt x="1186" y="1592"/>
                  </a:lnTo>
                  <a:lnTo>
                    <a:pt x="1185" y="1590"/>
                  </a:lnTo>
                  <a:lnTo>
                    <a:pt x="1185" y="1592"/>
                  </a:lnTo>
                  <a:lnTo>
                    <a:pt x="1186" y="1592"/>
                  </a:lnTo>
                  <a:lnTo>
                    <a:pt x="1185" y="1590"/>
                  </a:lnTo>
                  <a:lnTo>
                    <a:pt x="1185" y="1592"/>
                  </a:lnTo>
                  <a:lnTo>
                    <a:pt x="1185" y="1590"/>
                  </a:lnTo>
                  <a:lnTo>
                    <a:pt x="1185" y="1592"/>
                  </a:lnTo>
                  <a:lnTo>
                    <a:pt x="1185" y="1592"/>
                  </a:lnTo>
                  <a:lnTo>
                    <a:pt x="1185" y="1590"/>
                  </a:lnTo>
                  <a:lnTo>
                    <a:pt x="1185" y="1592"/>
                  </a:lnTo>
                  <a:lnTo>
                    <a:pt x="1185" y="1592"/>
                  </a:lnTo>
                  <a:lnTo>
                    <a:pt x="1185" y="1592"/>
                  </a:lnTo>
                  <a:lnTo>
                    <a:pt x="1185" y="1592"/>
                  </a:lnTo>
                  <a:lnTo>
                    <a:pt x="1185" y="1592"/>
                  </a:lnTo>
                  <a:lnTo>
                    <a:pt x="1185" y="1592"/>
                  </a:lnTo>
                  <a:lnTo>
                    <a:pt x="1185" y="1592"/>
                  </a:lnTo>
                  <a:lnTo>
                    <a:pt x="1186" y="1593"/>
                  </a:lnTo>
                  <a:lnTo>
                    <a:pt x="1186" y="1593"/>
                  </a:lnTo>
                  <a:lnTo>
                    <a:pt x="1189" y="1598"/>
                  </a:lnTo>
                  <a:lnTo>
                    <a:pt x="1192" y="1605"/>
                  </a:lnTo>
                  <a:lnTo>
                    <a:pt x="1192" y="1605"/>
                  </a:lnTo>
                  <a:lnTo>
                    <a:pt x="1193" y="1609"/>
                  </a:lnTo>
                  <a:lnTo>
                    <a:pt x="1195" y="1614"/>
                  </a:lnTo>
                  <a:lnTo>
                    <a:pt x="1195" y="1614"/>
                  </a:lnTo>
                  <a:lnTo>
                    <a:pt x="1199" y="1616"/>
                  </a:lnTo>
                  <a:lnTo>
                    <a:pt x="1199" y="1616"/>
                  </a:lnTo>
                  <a:lnTo>
                    <a:pt x="1205" y="1619"/>
                  </a:lnTo>
                  <a:lnTo>
                    <a:pt x="1205" y="1619"/>
                  </a:lnTo>
                  <a:lnTo>
                    <a:pt x="1218" y="1622"/>
                  </a:lnTo>
                  <a:lnTo>
                    <a:pt x="1218" y="1622"/>
                  </a:lnTo>
                  <a:lnTo>
                    <a:pt x="1240" y="1624"/>
                  </a:lnTo>
                  <a:lnTo>
                    <a:pt x="1240" y="1624"/>
                  </a:lnTo>
                  <a:lnTo>
                    <a:pt x="1250" y="1625"/>
                  </a:lnTo>
                  <a:lnTo>
                    <a:pt x="1250" y="1625"/>
                  </a:lnTo>
                  <a:lnTo>
                    <a:pt x="1253" y="1625"/>
                  </a:lnTo>
                  <a:lnTo>
                    <a:pt x="1253" y="1625"/>
                  </a:lnTo>
                  <a:lnTo>
                    <a:pt x="1254" y="1627"/>
                  </a:lnTo>
                  <a:lnTo>
                    <a:pt x="1254" y="1627"/>
                  </a:lnTo>
                  <a:lnTo>
                    <a:pt x="1264" y="1628"/>
                  </a:lnTo>
                  <a:lnTo>
                    <a:pt x="1264" y="1628"/>
                  </a:lnTo>
                  <a:lnTo>
                    <a:pt x="1279" y="1629"/>
                  </a:lnTo>
                  <a:lnTo>
                    <a:pt x="1279" y="1629"/>
                  </a:lnTo>
                  <a:lnTo>
                    <a:pt x="1286" y="1629"/>
                  </a:lnTo>
                  <a:lnTo>
                    <a:pt x="1286" y="1629"/>
                  </a:lnTo>
                  <a:lnTo>
                    <a:pt x="1296" y="1628"/>
                  </a:lnTo>
                  <a:lnTo>
                    <a:pt x="1296" y="1628"/>
                  </a:lnTo>
                  <a:lnTo>
                    <a:pt x="1303" y="1627"/>
                  </a:lnTo>
                  <a:lnTo>
                    <a:pt x="1303" y="1627"/>
                  </a:lnTo>
                  <a:lnTo>
                    <a:pt x="1305" y="1627"/>
                  </a:lnTo>
                  <a:lnTo>
                    <a:pt x="1306" y="1627"/>
                  </a:lnTo>
                  <a:lnTo>
                    <a:pt x="1306" y="1627"/>
                  </a:lnTo>
                  <a:lnTo>
                    <a:pt x="1309" y="1628"/>
                  </a:lnTo>
                  <a:lnTo>
                    <a:pt x="1315" y="1629"/>
                  </a:lnTo>
                  <a:lnTo>
                    <a:pt x="1315" y="1629"/>
                  </a:lnTo>
                  <a:lnTo>
                    <a:pt x="1317" y="1629"/>
                  </a:lnTo>
                  <a:lnTo>
                    <a:pt x="1317" y="1629"/>
                  </a:lnTo>
                  <a:lnTo>
                    <a:pt x="1334" y="1627"/>
                  </a:lnTo>
                  <a:lnTo>
                    <a:pt x="1334" y="1627"/>
                  </a:lnTo>
                  <a:lnTo>
                    <a:pt x="1343" y="1625"/>
                  </a:lnTo>
                  <a:lnTo>
                    <a:pt x="1343" y="1625"/>
                  </a:lnTo>
                  <a:lnTo>
                    <a:pt x="1348" y="1625"/>
                  </a:lnTo>
                  <a:lnTo>
                    <a:pt x="1348" y="1625"/>
                  </a:lnTo>
                  <a:lnTo>
                    <a:pt x="1348" y="1625"/>
                  </a:lnTo>
                  <a:lnTo>
                    <a:pt x="1348" y="1625"/>
                  </a:lnTo>
                  <a:lnTo>
                    <a:pt x="1353" y="1632"/>
                  </a:lnTo>
                  <a:lnTo>
                    <a:pt x="1353" y="1632"/>
                  </a:lnTo>
                  <a:lnTo>
                    <a:pt x="1354" y="1635"/>
                  </a:lnTo>
                  <a:lnTo>
                    <a:pt x="1354" y="1635"/>
                  </a:lnTo>
                  <a:lnTo>
                    <a:pt x="1357" y="1640"/>
                  </a:lnTo>
                  <a:lnTo>
                    <a:pt x="1357" y="1640"/>
                  </a:lnTo>
                  <a:lnTo>
                    <a:pt x="1359" y="1641"/>
                  </a:lnTo>
                  <a:lnTo>
                    <a:pt x="1359" y="1641"/>
                  </a:lnTo>
                  <a:lnTo>
                    <a:pt x="1359" y="1645"/>
                  </a:lnTo>
                  <a:lnTo>
                    <a:pt x="1359" y="1645"/>
                  </a:lnTo>
                  <a:lnTo>
                    <a:pt x="1360" y="1650"/>
                  </a:lnTo>
                  <a:lnTo>
                    <a:pt x="1364" y="1653"/>
                  </a:lnTo>
                  <a:lnTo>
                    <a:pt x="1364" y="1653"/>
                  </a:lnTo>
                  <a:lnTo>
                    <a:pt x="1369" y="1654"/>
                  </a:lnTo>
                  <a:lnTo>
                    <a:pt x="1373" y="1654"/>
                  </a:lnTo>
                  <a:lnTo>
                    <a:pt x="1373" y="1654"/>
                  </a:lnTo>
                  <a:lnTo>
                    <a:pt x="1380" y="1653"/>
                  </a:lnTo>
                  <a:lnTo>
                    <a:pt x="1382" y="1653"/>
                  </a:lnTo>
                  <a:lnTo>
                    <a:pt x="1382" y="1653"/>
                  </a:lnTo>
                  <a:lnTo>
                    <a:pt x="1382" y="1653"/>
                  </a:lnTo>
                  <a:lnTo>
                    <a:pt x="1382" y="1653"/>
                  </a:lnTo>
                  <a:lnTo>
                    <a:pt x="1382" y="1653"/>
                  </a:lnTo>
                  <a:lnTo>
                    <a:pt x="1382" y="1653"/>
                  </a:lnTo>
                  <a:lnTo>
                    <a:pt x="1382" y="1653"/>
                  </a:lnTo>
                  <a:lnTo>
                    <a:pt x="1382" y="1651"/>
                  </a:lnTo>
                  <a:lnTo>
                    <a:pt x="1380" y="1653"/>
                  </a:lnTo>
                  <a:lnTo>
                    <a:pt x="1382" y="1653"/>
                  </a:lnTo>
                  <a:lnTo>
                    <a:pt x="1382" y="1651"/>
                  </a:lnTo>
                  <a:lnTo>
                    <a:pt x="1380" y="1653"/>
                  </a:lnTo>
                  <a:lnTo>
                    <a:pt x="1382" y="1651"/>
                  </a:lnTo>
                  <a:lnTo>
                    <a:pt x="1380" y="1651"/>
                  </a:lnTo>
                  <a:lnTo>
                    <a:pt x="1380" y="1653"/>
                  </a:lnTo>
                  <a:lnTo>
                    <a:pt x="1382" y="1651"/>
                  </a:lnTo>
                  <a:lnTo>
                    <a:pt x="1380" y="1651"/>
                  </a:lnTo>
                  <a:lnTo>
                    <a:pt x="1380" y="1653"/>
                  </a:lnTo>
                  <a:lnTo>
                    <a:pt x="1380" y="1653"/>
                  </a:lnTo>
                  <a:lnTo>
                    <a:pt x="1380" y="1657"/>
                  </a:lnTo>
                  <a:lnTo>
                    <a:pt x="1380" y="1657"/>
                  </a:lnTo>
                  <a:lnTo>
                    <a:pt x="1380" y="1660"/>
                  </a:lnTo>
                  <a:lnTo>
                    <a:pt x="1380" y="1660"/>
                  </a:lnTo>
                  <a:lnTo>
                    <a:pt x="1382" y="1664"/>
                  </a:lnTo>
                  <a:lnTo>
                    <a:pt x="1382" y="1664"/>
                  </a:lnTo>
                  <a:lnTo>
                    <a:pt x="1385" y="1667"/>
                  </a:lnTo>
                  <a:lnTo>
                    <a:pt x="1389" y="1669"/>
                  </a:lnTo>
                  <a:lnTo>
                    <a:pt x="1389" y="1669"/>
                  </a:lnTo>
                  <a:lnTo>
                    <a:pt x="1401" y="1671"/>
                  </a:lnTo>
                  <a:lnTo>
                    <a:pt x="1401" y="1671"/>
                  </a:lnTo>
                  <a:lnTo>
                    <a:pt x="1405" y="1671"/>
                  </a:lnTo>
                  <a:lnTo>
                    <a:pt x="1405" y="1671"/>
                  </a:lnTo>
                  <a:lnTo>
                    <a:pt x="1408" y="1673"/>
                  </a:lnTo>
                  <a:lnTo>
                    <a:pt x="1408" y="1673"/>
                  </a:lnTo>
                  <a:lnTo>
                    <a:pt x="1408" y="1673"/>
                  </a:lnTo>
                  <a:lnTo>
                    <a:pt x="1409" y="1671"/>
                  </a:lnTo>
                  <a:lnTo>
                    <a:pt x="1408" y="1673"/>
                  </a:lnTo>
                  <a:lnTo>
                    <a:pt x="1408" y="1673"/>
                  </a:lnTo>
                  <a:lnTo>
                    <a:pt x="1409" y="1671"/>
                  </a:lnTo>
                  <a:lnTo>
                    <a:pt x="1408" y="1673"/>
                  </a:lnTo>
                  <a:lnTo>
                    <a:pt x="1409" y="1671"/>
                  </a:lnTo>
                  <a:lnTo>
                    <a:pt x="1408" y="1671"/>
                  </a:lnTo>
                  <a:lnTo>
                    <a:pt x="1408" y="1673"/>
                  </a:lnTo>
                  <a:lnTo>
                    <a:pt x="1409" y="1671"/>
                  </a:lnTo>
                  <a:lnTo>
                    <a:pt x="1408" y="1671"/>
                  </a:lnTo>
                  <a:lnTo>
                    <a:pt x="1409" y="1671"/>
                  </a:lnTo>
                  <a:lnTo>
                    <a:pt x="1408" y="1670"/>
                  </a:lnTo>
                  <a:lnTo>
                    <a:pt x="1408" y="1671"/>
                  </a:lnTo>
                  <a:lnTo>
                    <a:pt x="1409" y="1671"/>
                  </a:lnTo>
                  <a:lnTo>
                    <a:pt x="1408" y="1670"/>
                  </a:lnTo>
                  <a:lnTo>
                    <a:pt x="1408" y="1671"/>
                  </a:lnTo>
                  <a:lnTo>
                    <a:pt x="1408" y="1670"/>
                  </a:lnTo>
                  <a:lnTo>
                    <a:pt x="1408" y="1670"/>
                  </a:lnTo>
                  <a:lnTo>
                    <a:pt x="1408" y="1671"/>
                  </a:lnTo>
                  <a:lnTo>
                    <a:pt x="1408" y="1670"/>
                  </a:lnTo>
                  <a:lnTo>
                    <a:pt x="1408" y="1670"/>
                  </a:lnTo>
                  <a:lnTo>
                    <a:pt x="1405" y="1671"/>
                  </a:lnTo>
                  <a:lnTo>
                    <a:pt x="1405" y="1671"/>
                  </a:lnTo>
                  <a:lnTo>
                    <a:pt x="1401" y="1674"/>
                  </a:lnTo>
                  <a:lnTo>
                    <a:pt x="1401" y="1674"/>
                  </a:lnTo>
                  <a:lnTo>
                    <a:pt x="1399" y="1674"/>
                  </a:lnTo>
                  <a:lnTo>
                    <a:pt x="1399" y="1674"/>
                  </a:lnTo>
                  <a:lnTo>
                    <a:pt x="1393" y="1673"/>
                  </a:lnTo>
                  <a:lnTo>
                    <a:pt x="1393" y="1673"/>
                  </a:lnTo>
                  <a:lnTo>
                    <a:pt x="1390" y="1671"/>
                  </a:lnTo>
                  <a:lnTo>
                    <a:pt x="1390" y="1671"/>
                  </a:lnTo>
                  <a:lnTo>
                    <a:pt x="1387" y="1671"/>
                  </a:lnTo>
                  <a:lnTo>
                    <a:pt x="1387" y="1671"/>
                  </a:lnTo>
                  <a:lnTo>
                    <a:pt x="1386" y="1671"/>
                  </a:lnTo>
                  <a:lnTo>
                    <a:pt x="1386" y="1671"/>
                  </a:lnTo>
                  <a:lnTo>
                    <a:pt x="1385" y="1674"/>
                  </a:lnTo>
                  <a:lnTo>
                    <a:pt x="1385" y="1674"/>
                  </a:lnTo>
                  <a:lnTo>
                    <a:pt x="1385" y="1676"/>
                  </a:lnTo>
                  <a:lnTo>
                    <a:pt x="1385" y="1676"/>
                  </a:lnTo>
                  <a:lnTo>
                    <a:pt x="1386" y="1679"/>
                  </a:lnTo>
                  <a:lnTo>
                    <a:pt x="1386" y="1679"/>
                  </a:lnTo>
                  <a:lnTo>
                    <a:pt x="1401" y="1698"/>
                  </a:lnTo>
                  <a:lnTo>
                    <a:pt x="1401" y="1698"/>
                  </a:lnTo>
                  <a:lnTo>
                    <a:pt x="1408" y="1706"/>
                  </a:lnTo>
                  <a:lnTo>
                    <a:pt x="1408" y="1706"/>
                  </a:lnTo>
                  <a:lnTo>
                    <a:pt x="1412" y="1709"/>
                  </a:lnTo>
                  <a:lnTo>
                    <a:pt x="1412" y="1709"/>
                  </a:lnTo>
                  <a:lnTo>
                    <a:pt x="1415" y="1711"/>
                  </a:lnTo>
                  <a:lnTo>
                    <a:pt x="1415" y="1711"/>
                  </a:lnTo>
                  <a:lnTo>
                    <a:pt x="1418" y="1712"/>
                  </a:lnTo>
                  <a:lnTo>
                    <a:pt x="1418" y="1712"/>
                  </a:lnTo>
                  <a:lnTo>
                    <a:pt x="1422" y="1711"/>
                  </a:lnTo>
                  <a:lnTo>
                    <a:pt x="1428" y="1709"/>
                  </a:lnTo>
                  <a:lnTo>
                    <a:pt x="1428" y="1709"/>
                  </a:lnTo>
                  <a:lnTo>
                    <a:pt x="1437" y="1703"/>
                  </a:lnTo>
                  <a:lnTo>
                    <a:pt x="1437" y="1703"/>
                  </a:lnTo>
                  <a:lnTo>
                    <a:pt x="1440" y="1700"/>
                  </a:lnTo>
                  <a:lnTo>
                    <a:pt x="1440" y="1700"/>
                  </a:lnTo>
                  <a:lnTo>
                    <a:pt x="1441" y="1695"/>
                  </a:lnTo>
                  <a:lnTo>
                    <a:pt x="1441" y="1695"/>
                  </a:lnTo>
                  <a:lnTo>
                    <a:pt x="1441" y="1686"/>
                  </a:lnTo>
                  <a:lnTo>
                    <a:pt x="1441" y="1686"/>
                  </a:lnTo>
                  <a:lnTo>
                    <a:pt x="1443" y="1683"/>
                  </a:lnTo>
                  <a:lnTo>
                    <a:pt x="1443" y="1683"/>
                  </a:lnTo>
                  <a:lnTo>
                    <a:pt x="1443" y="1683"/>
                  </a:lnTo>
                  <a:lnTo>
                    <a:pt x="1441" y="1682"/>
                  </a:lnTo>
                  <a:lnTo>
                    <a:pt x="1443" y="1683"/>
                  </a:lnTo>
                  <a:lnTo>
                    <a:pt x="1443" y="1683"/>
                  </a:lnTo>
                  <a:lnTo>
                    <a:pt x="1441" y="1682"/>
                  </a:lnTo>
                  <a:lnTo>
                    <a:pt x="1443" y="1683"/>
                  </a:lnTo>
                  <a:lnTo>
                    <a:pt x="1441" y="1682"/>
                  </a:lnTo>
                  <a:lnTo>
                    <a:pt x="1441" y="1683"/>
                  </a:lnTo>
                  <a:lnTo>
                    <a:pt x="1441" y="1683"/>
                  </a:lnTo>
                  <a:lnTo>
                    <a:pt x="1443" y="1683"/>
                  </a:lnTo>
                  <a:lnTo>
                    <a:pt x="1441" y="1682"/>
                  </a:lnTo>
                  <a:lnTo>
                    <a:pt x="1441" y="1683"/>
                  </a:lnTo>
                  <a:lnTo>
                    <a:pt x="1441" y="1682"/>
                  </a:lnTo>
                  <a:lnTo>
                    <a:pt x="1440" y="1683"/>
                  </a:lnTo>
                  <a:lnTo>
                    <a:pt x="1441" y="1683"/>
                  </a:lnTo>
                  <a:lnTo>
                    <a:pt x="1441" y="1682"/>
                  </a:lnTo>
                  <a:lnTo>
                    <a:pt x="1440" y="1683"/>
                  </a:lnTo>
                  <a:lnTo>
                    <a:pt x="1440" y="1683"/>
                  </a:lnTo>
                  <a:lnTo>
                    <a:pt x="1440" y="1683"/>
                  </a:lnTo>
                  <a:lnTo>
                    <a:pt x="1440" y="1683"/>
                  </a:lnTo>
                  <a:lnTo>
                    <a:pt x="1440" y="1683"/>
                  </a:lnTo>
                  <a:lnTo>
                    <a:pt x="1440" y="1683"/>
                  </a:lnTo>
                  <a:lnTo>
                    <a:pt x="1440" y="1683"/>
                  </a:lnTo>
                  <a:lnTo>
                    <a:pt x="1441" y="1686"/>
                  </a:lnTo>
                  <a:lnTo>
                    <a:pt x="1441" y="1686"/>
                  </a:lnTo>
                  <a:lnTo>
                    <a:pt x="1443" y="1692"/>
                  </a:lnTo>
                  <a:lnTo>
                    <a:pt x="1443" y="1692"/>
                  </a:lnTo>
                  <a:lnTo>
                    <a:pt x="1444" y="1698"/>
                  </a:lnTo>
                  <a:lnTo>
                    <a:pt x="1444" y="1698"/>
                  </a:lnTo>
                  <a:lnTo>
                    <a:pt x="1444" y="1702"/>
                  </a:lnTo>
                  <a:lnTo>
                    <a:pt x="1444" y="1702"/>
                  </a:lnTo>
                  <a:lnTo>
                    <a:pt x="1445" y="1724"/>
                  </a:lnTo>
                  <a:lnTo>
                    <a:pt x="1445" y="1724"/>
                  </a:lnTo>
                  <a:lnTo>
                    <a:pt x="1445" y="1725"/>
                  </a:lnTo>
                  <a:lnTo>
                    <a:pt x="1445" y="1725"/>
                  </a:lnTo>
                  <a:lnTo>
                    <a:pt x="1445" y="1725"/>
                  </a:lnTo>
                  <a:lnTo>
                    <a:pt x="1445" y="1725"/>
                  </a:lnTo>
                  <a:lnTo>
                    <a:pt x="1447" y="1731"/>
                  </a:lnTo>
                  <a:lnTo>
                    <a:pt x="1447" y="1731"/>
                  </a:lnTo>
                  <a:lnTo>
                    <a:pt x="1453" y="1755"/>
                  </a:lnTo>
                  <a:lnTo>
                    <a:pt x="1453" y="1755"/>
                  </a:lnTo>
                  <a:lnTo>
                    <a:pt x="1460" y="1783"/>
                  </a:lnTo>
                  <a:lnTo>
                    <a:pt x="1460" y="1783"/>
                  </a:lnTo>
                  <a:lnTo>
                    <a:pt x="1470" y="1808"/>
                  </a:lnTo>
                  <a:lnTo>
                    <a:pt x="1470" y="1808"/>
                  </a:lnTo>
                  <a:lnTo>
                    <a:pt x="1476" y="1818"/>
                  </a:lnTo>
                  <a:lnTo>
                    <a:pt x="1476" y="1818"/>
                  </a:lnTo>
                  <a:lnTo>
                    <a:pt x="1477" y="1822"/>
                  </a:lnTo>
                  <a:lnTo>
                    <a:pt x="1479" y="1825"/>
                  </a:lnTo>
                  <a:lnTo>
                    <a:pt x="1479" y="1825"/>
                  </a:lnTo>
                  <a:lnTo>
                    <a:pt x="1479" y="1826"/>
                  </a:lnTo>
                  <a:lnTo>
                    <a:pt x="1479" y="1826"/>
                  </a:lnTo>
                  <a:lnTo>
                    <a:pt x="1479" y="1826"/>
                  </a:lnTo>
                  <a:lnTo>
                    <a:pt x="1477" y="1828"/>
                  </a:lnTo>
                  <a:lnTo>
                    <a:pt x="1477" y="1828"/>
                  </a:lnTo>
                  <a:lnTo>
                    <a:pt x="1480" y="1837"/>
                  </a:lnTo>
                  <a:lnTo>
                    <a:pt x="1480" y="1837"/>
                  </a:lnTo>
                  <a:lnTo>
                    <a:pt x="1486" y="1850"/>
                  </a:lnTo>
                  <a:lnTo>
                    <a:pt x="1486" y="1850"/>
                  </a:lnTo>
                  <a:lnTo>
                    <a:pt x="1490" y="1858"/>
                  </a:lnTo>
                  <a:lnTo>
                    <a:pt x="1490" y="1858"/>
                  </a:lnTo>
                  <a:lnTo>
                    <a:pt x="1499" y="1880"/>
                  </a:lnTo>
                  <a:lnTo>
                    <a:pt x="1499" y="1880"/>
                  </a:lnTo>
                  <a:lnTo>
                    <a:pt x="1506" y="1895"/>
                  </a:lnTo>
                  <a:lnTo>
                    <a:pt x="1506" y="1895"/>
                  </a:lnTo>
                  <a:lnTo>
                    <a:pt x="1511" y="1903"/>
                  </a:lnTo>
                  <a:lnTo>
                    <a:pt x="1511" y="1903"/>
                  </a:lnTo>
                  <a:lnTo>
                    <a:pt x="1518" y="1912"/>
                  </a:lnTo>
                  <a:lnTo>
                    <a:pt x="1518" y="1912"/>
                  </a:lnTo>
                  <a:lnTo>
                    <a:pt x="1525" y="1916"/>
                  </a:lnTo>
                  <a:lnTo>
                    <a:pt x="1525" y="1916"/>
                  </a:lnTo>
                  <a:lnTo>
                    <a:pt x="1528" y="1918"/>
                  </a:lnTo>
                  <a:lnTo>
                    <a:pt x="1528" y="1918"/>
                  </a:lnTo>
                  <a:lnTo>
                    <a:pt x="1529" y="1916"/>
                  </a:lnTo>
                  <a:lnTo>
                    <a:pt x="1532" y="1915"/>
                  </a:lnTo>
                  <a:lnTo>
                    <a:pt x="1532" y="1915"/>
                  </a:lnTo>
                  <a:lnTo>
                    <a:pt x="1537" y="1910"/>
                  </a:lnTo>
                  <a:lnTo>
                    <a:pt x="1537" y="1910"/>
                  </a:lnTo>
                  <a:lnTo>
                    <a:pt x="1540" y="1903"/>
                  </a:lnTo>
                  <a:lnTo>
                    <a:pt x="1540" y="1903"/>
                  </a:lnTo>
                  <a:lnTo>
                    <a:pt x="1541" y="1902"/>
                  </a:lnTo>
                  <a:lnTo>
                    <a:pt x="1541" y="1902"/>
                  </a:lnTo>
                  <a:lnTo>
                    <a:pt x="1544" y="1902"/>
                  </a:lnTo>
                  <a:lnTo>
                    <a:pt x="1544" y="1902"/>
                  </a:lnTo>
                  <a:lnTo>
                    <a:pt x="1548" y="1900"/>
                  </a:lnTo>
                  <a:lnTo>
                    <a:pt x="1548" y="1900"/>
                  </a:lnTo>
                  <a:lnTo>
                    <a:pt x="1551" y="1897"/>
                  </a:lnTo>
                  <a:lnTo>
                    <a:pt x="1551" y="1897"/>
                  </a:lnTo>
                  <a:lnTo>
                    <a:pt x="1554" y="1893"/>
                  </a:lnTo>
                  <a:lnTo>
                    <a:pt x="1554" y="1893"/>
                  </a:lnTo>
                  <a:lnTo>
                    <a:pt x="1557" y="1889"/>
                  </a:lnTo>
                  <a:lnTo>
                    <a:pt x="1557" y="1889"/>
                  </a:lnTo>
                  <a:lnTo>
                    <a:pt x="1561" y="1883"/>
                  </a:lnTo>
                  <a:lnTo>
                    <a:pt x="1561" y="1883"/>
                  </a:lnTo>
                  <a:lnTo>
                    <a:pt x="1569" y="1874"/>
                  </a:lnTo>
                  <a:lnTo>
                    <a:pt x="1569" y="1874"/>
                  </a:lnTo>
                  <a:lnTo>
                    <a:pt x="1569" y="1870"/>
                  </a:lnTo>
                  <a:lnTo>
                    <a:pt x="1569" y="1870"/>
                  </a:lnTo>
                  <a:lnTo>
                    <a:pt x="1569" y="1866"/>
                  </a:lnTo>
                  <a:lnTo>
                    <a:pt x="1567" y="1861"/>
                  </a:lnTo>
                  <a:lnTo>
                    <a:pt x="1564" y="1855"/>
                  </a:lnTo>
                  <a:lnTo>
                    <a:pt x="1564" y="1854"/>
                  </a:lnTo>
                  <a:lnTo>
                    <a:pt x="1564" y="1854"/>
                  </a:lnTo>
                  <a:lnTo>
                    <a:pt x="1566" y="1850"/>
                  </a:lnTo>
                  <a:lnTo>
                    <a:pt x="1566" y="1850"/>
                  </a:lnTo>
                  <a:lnTo>
                    <a:pt x="1570" y="1845"/>
                  </a:lnTo>
                  <a:lnTo>
                    <a:pt x="1570" y="1845"/>
                  </a:lnTo>
                  <a:lnTo>
                    <a:pt x="1573" y="1839"/>
                  </a:lnTo>
                  <a:lnTo>
                    <a:pt x="1573" y="1839"/>
                  </a:lnTo>
                  <a:lnTo>
                    <a:pt x="1576" y="1831"/>
                  </a:lnTo>
                  <a:lnTo>
                    <a:pt x="1577" y="1819"/>
                  </a:lnTo>
                  <a:lnTo>
                    <a:pt x="1577" y="1819"/>
                  </a:lnTo>
                  <a:lnTo>
                    <a:pt x="1577" y="1815"/>
                  </a:lnTo>
                  <a:lnTo>
                    <a:pt x="1577" y="1815"/>
                  </a:lnTo>
                  <a:lnTo>
                    <a:pt x="1576" y="1806"/>
                  </a:lnTo>
                  <a:lnTo>
                    <a:pt x="1576" y="1806"/>
                  </a:lnTo>
                  <a:lnTo>
                    <a:pt x="1577" y="1799"/>
                  </a:lnTo>
                  <a:lnTo>
                    <a:pt x="1579" y="1792"/>
                  </a:lnTo>
                  <a:lnTo>
                    <a:pt x="1579" y="1792"/>
                  </a:lnTo>
                  <a:lnTo>
                    <a:pt x="1580" y="1790"/>
                  </a:lnTo>
                  <a:lnTo>
                    <a:pt x="1580" y="1790"/>
                  </a:lnTo>
                  <a:lnTo>
                    <a:pt x="1583" y="1789"/>
                  </a:lnTo>
                  <a:lnTo>
                    <a:pt x="1583" y="1789"/>
                  </a:lnTo>
                  <a:lnTo>
                    <a:pt x="1586" y="1789"/>
                  </a:lnTo>
                  <a:lnTo>
                    <a:pt x="1589" y="1787"/>
                  </a:lnTo>
                  <a:lnTo>
                    <a:pt x="1589" y="1787"/>
                  </a:lnTo>
                  <a:lnTo>
                    <a:pt x="1593" y="1783"/>
                  </a:lnTo>
                  <a:lnTo>
                    <a:pt x="1593" y="1783"/>
                  </a:lnTo>
                  <a:lnTo>
                    <a:pt x="1596" y="1780"/>
                  </a:lnTo>
                  <a:lnTo>
                    <a:pt x="1596" y="1780"/>
                  </a:lnTo>
                  <a:lnTo>
                    <a:pt x="1599" y="1777"/>
                  </a:lnTo>
                  <a:lnTo>
                    <a:pt x="1599" y="1777"/>
                  </a:lnTo>
                  <a:lnTo>
                    <a:pt x="1600" y="1774"/>
                  </a:lnTo>
                  <a:lnTo>
                    <a:pt x="1600" y="1774"/>
                  </a:lnTo>
                  <a:lnTo>
                    <a:pt x="1603" y="1769"/>
                  </a:lnTo>
                  <a:lnTo>
                    <a:pt x="1603" y="1769"/>
                  </a:lnTo>
                  <a:lnTo>
                    <a:pt x="1606" y="1766"/>
                  </a:lnTo>
                  <a:lnTo>
                    <a:pt x="1609" y="1764"/>
                  </a:lnTo>
                  <a:lnTo>
                    <a:pt x="1609" y="1764"/>
                  </a:lnTo>
                  <a:lnTo>
                    <a:pt x="1619" y="1758"/>
                  </a:lnTo>
                  <a:lnTo>
                    <a:pt x="1619" y="1758"/>
                  </a:lnTo>
                  <a:lnTo>
                    <a:pt x="1638" y="1742"/>
                  </a:lnTo>
                  <a:lnTo>
                    <a:pt x="1654" y="1729"/>
                  </a:lnTo>
                  <a:lnTo>
                    <a:pt x="1654" y="1729"/>
                  </a:lnTo>
                  <a:lnTo>
                    <a:pt x="1660" y="1725"/>
                  </a:lnTo>
                  <a:lnTo>
                    <a:pt x="1664" y="1722"/>
                  </a:lnTo>
                  <a:lnTo>
                    <a:pt x="1664" y="1722"/>
                  </a:lnTo>
                  <a:lnTo>
                    <a:pt x="1673" y="1722"/>
                  </a:lnTo>
                  <a:lnTo>
                    <a:pt x="1673" y="1722"/>
                  </a:lnTo>
                  <a:lnTo>
                    <a:pt x="1673" y="1722"/>
                  </a:lnTo>
                  <a:lnTo>
                    <a:pt x="1676" y="1721"/>
                  </a:lnTo>
                  <a:lnTo>
                    <a:pt x="1677" y="1719"/>
                  </a:lnTo>
                  <a:lnTo>
                    <a:pt x="1677" y="1719"/>
                  </a:lnTo>
                  <a:lnTo>
                    <a:pt x="1679" y="1716"/>
                  </a:lnTo>
                  <a:lnTo>
                    <a:pt x="1680" y="1713"/>
                  </a:lnTo>
                  <a:lnTo>
                    <a:pt x="1680" y="1713"/>
                  </a:lnTo>
                  <a:lnTo>
                    <a:pt x="1680" y="1706"/>
                  </a:lnTo>
                  <a:lnTo>
                    <a:pt x="1680" y="1706"/>
                  </a:lnTo>
                  <a:lnTo>
                    <a:pt x="1680" y="1705"/>
                  </a:lnTo>
                  <a:lnTo>
                    <a:pt x="1680" y="1705"/>
                  </a:lnTo>
                  <a:lnTo>
                    <a:pt x="1680" y="1699"/>
                  </a:lnTo>
                  <a:lnTo>
                    <a:pt x="1680" y="1699"/>
                  </a:lnTo>
                  <a:lnTo>
                    <a:pt x="1680" y="1696"/>
                  </a:lnTo>
                  <a:lnTo>
                    <a:pt x="1680" y="1696"/>
                  </a:lnTo>
                  <a:lnTo>
                    <a:pt x="1681" y="1696"/>
                  </a:lnTo>
                  <a:lnTo>
                    <a:pt x="1681" y="1696"/>
                  </a:lnTo>
                  <a:lnTo>
                    <a:pt x="1696" y="1690"/>
                  </a:lnTo>
                  <a:lnTo>
                    <a:pt x="1697" y="1690"/>
                  </a:lnTo>
                  <a:lnTo>
                    <a:pt x="1697" y="1690"/>
                  </a:lnTo>
                  <a:lnTo>
                    <a:pt x="1702" y="1692"/>
                  </a:lnTo>
                  <a:lnTo>
                    <a:pt x="1702" y="1692"/>
                  </a:lnTo>
                  <a:lnTo>
                    <a:pt x="1705" y="1693"/>
                  </a:lnTo>
                  <a:lnTo>
                    <a:pt x="1705" y="1693"/>
                  </a:lnTo>
                  <a:lnTo>
                    <a:pt x="1708" y="1693"/>
                  </a:lnTo>
                  <a:lnTo>
                    <a:pt x="1708" y="1693"/>
                  </a:lnTo>
                  <a:lnTo>
                    <a:pt x="1709" y="1693"/>
                  </a:lnTo>
                  <a:lnTo>
                    <a:pt x="1709" y="1693"/>
                  </a:lnTo>
                  <a:lnTo>
                    <a:pt x="1719" y="1690"/>
                  </a:lnTo>
                  <a:lnTo>
                    <a:pt x="1719" y="1690"/>
                  </a:lnTo>
                  <a:lnTo>
                    <a:pt x="1723" y="1687"/>
                  </a:lnTo>
                  <a:lnTo>
                    <a:pt x="1723" y="1687"/>
                  </a:lnTo>
                  <a:lnTo>
                    <a:pt x="1726" y="1686"/>
                  </a:lnTo>
                  <a:lnTo>
                    <a:pt x="1726" y="1685"/>
                  </a:lnTo>
                  <a:lnTo>
                    <a:pt x="1726" y="1685"/>
                  </a:lnTo>
                  <a:lnTo>
                    <a:pt x="1726" y="1685"/>
                  </a:lnTo>
                  <a:lnTo>
                    <a:pt x="1726" y="1685"/>
                  </a:lnTo>
                  <a:lnTo>
                    <a:pt x="1726" y="1685"/>
                  </a:lnTo>
                  <a:lnTo>
                    <a:pt x="1726" y="1685"/>
                  </a:lnTo>
                  <a:lnTo>
                    <a:pt x="1726" y="1685"/>
                  </a:lnTo>
                  <a:lnTo>
                    <a:pt x="1726" y="1685"/>
                  </a:lnTo>
                  <a:lnTo>
                    <a:pt x="1726" y="1685"/>
                  </a:lnTo>
                  <a:lnTo>
                    <a:pt x="1726" y="1685"/>
                  </a:lnTo>
                  <a:lnTo>
                    <a:pt x="1726" y="1685"/>
                  </a:lnTo>
                  <a:lnTo>
                    <a:pt x="1726" y="1685"/>
                  </a:lnTo>
                  <a:lnTo>
                    <a:pt x="1728" y="1686"/>
                  </a:lnTo>
                  <a:lnTo>
                    <a:pt x="1728" y="1686"/>
                  </a:lnTo>
                  <a:lnTo>
                    <a:pt x="1729" y="1686"/>
                  </a:lnTo>
                  <a:lnTo>
                    <a:pt x="1734" y="1687"/>
                  </a:lnTo>
                  <a:lnTo>
                    <a:pt x="1734" y="1687"/>
                  </a:lnTo>
                  <a:lnTo>
                    <a:pt x="1735" y="1687"/>
                  </a:lnTo>
                  <a:lnTo>
                    <a:pt x="1735" y="1687"/>
                  </a:lnTo>
                  <a:lnTo>
                    <a:pt x="1738" y="1687"/>
                  </a:lnTo>
                  <a:lnTo>
                    <a:pt x="1738" y="1687"/>
                  </a:lnTo>
                  <a:lnTo>
                    <a:pt x="1741" y="1685"/>
                  </a:lnTo>
                  <a:lnTo>
                    <a:pt x="1741" y="1685"/>
                  </a:lnTo>
                  <a:lnTo>
                    <a:pt x="1741" y="1682"/>
                  </a:lnTo>
                  <a:lnTo>
                    <a:pt x="1741" y="1682"/>
                  </a:lnTo>
                  <a:lnTo>
                    <a:pt x="1739" y="1677"/>
                  </a:lnTo>
                  <a:lnTo>
                    <a:pt x="1739" y="1677"/>
                  </a:lnTo>
                  <a:lnTo>
                    <a:pt x="1739" y="1677"/>
                  </a:lnTo>
                  <a:lnTo>
                    <a:pt x="1739" y="1677"/>
                  </a:lnTo>
                  <a:lnTo>
                    <a:pt x="1739" y="1677"/>
                  </a:lnTo>
                  <a:lnTo>
                    <a:pt x="1739" y="1677"/>
                  </a:lnTo>
                  <a:lnTo>
                    <a:pt x="1739" y="1677"/>
                  </a:lnTo>
                  <a:lnTo>
                    <a:pt x="1739" y="1677"/>
                  </a:lnTo>
                  <a:lnTo>
                    <a:pt x="1739" y="1677"/>
                  </a:lnTo>
                  <a:lnTo>
                    <a:pt x="1739" y="1677"/>
                  </a:lnTo>
                  <a:lnTo>
                    <a:pt x="1739" y="1677"/>
                  </a:lnTo>
                  <a:lnTo>
                    <a:pt x="1739" y="1677"/>
                  </a:lnTo>
                  <a:lnTo>
                    <a:pt x="1739" y="1677"/>
                  </a:lnTo>
                  <a:lnTo>
                    <a:pt x="1741" y="1677"/>
                  </a:lnTo>
                  <a:lnTo>
                    <a:pt x="1741" y="1677"/>
                  </a:lnTo>
                  <a:lnTo>
                    <a:pt x="1741" y="1677"/>
                  </a:lnTo>
                  <a:lnTo>
                    <a:pt x="1742" y="1677"/>
                  </a:lnTo>
                  <a:lnTo>
                    <a:pt x="1742" y="1677"/>
                  </a:lnTo>
                  <a:lnTo>
                    <a:pt x="1745" y="1679"/>
                  </a:lnTo>
                  <a:lnTo>
                    <a:pt x="1745" y="1679"/>
                  </a:lnTo>
                  <a:lnTo>
                    <a:pt x="1748" y="1679"/>
                  </a:lnTo>
                  <a:lnTo>
                    <a:pt x="1748" y="1679"/>
                  </a:lnTo>
                  <a:lnTo>
                    <a:pt x="1751" y="1674"/>
                  </a:lnTo>
                  <a:lnTo>
                    <a:pt x="1751" y="1674"/>
                  </a:lnTo>
                  <a:lnTo>
                    <a:pt x="1752" y="1670"/>
                  </a:lnTo>
                  <a:lnTo>
                    <a:pt x="1752" y="1670"/>
                  </a:lnTo>
                  <a:lnTo>
                    <a:pt x="1751" y="1670"/>
                  </a:lnTo>
                  <a:lnTo>
                    <a:pt x="1752" y="1671"/>
                  </a:lnTo>
                  <a:lnTo>
                    <a:pt x="1752" y="1670"/>
                  </a:lnTo>
                  <a:lnTo>
                    <a:pt x="1751" y="1670"/>
                  </a:lnTo>
                  <a:lnTo>
                    <a:pt x="1752" y="1671"/>
                  </a:lnTo>
                  <a:lnTo>
                    <a:pt x="1750" y="1670"/>
                  </a:lnTo>
                  <a:lnTo>
                    <a:pt x="1751" y="1671"/>
                  </a:lnTo>
                  <a:lnTo>
                    <a:pt x="1752" y="1671"/>
                  </a:lnTo>
                  <a:lnTo>
                    <a:pt x="1750" y="1670"/>
                  </a:lnTo>
                  <a:lnTo>
                    <a:pt x="1751" y="1671"/>
                  </a:lnTo>
                  <a:lnTo>
                    <a:pt x="1750" y="1670"/>
                  </a:lnTo>
                  <a:lnTo>
                    <a:pt x="1750" y="1673"/>
                  </a:lnTo>
                  <a:lnTo>
                    <a:pt x="1751" y="1671"/>
                  </a:lnTo>
                  <a:lnTo>
                    <a:pt x="1750" y="1670"/>
                  </a:lnTo>
                  <a:lnTo>
                    <a:pt x="1750" y="1673"/>
                  </a:lnTo>
                  <a:lnTo>
                    <a:pt x="1750" y="1670"/>
                  </a:lnTo>
                  <a:lnTo>
                    <a:pt x="1748" y="1671"/>
                  </a:lnTo>
                  <a:lnTo>
                    <a:pt x="1748" y="1671"/>
                  </a:lnTo>
                  <a:lnTo>
                    <a:pt x="1750" y="1673"/>
                  </a:lnTo>
                  <a:lnTo>
                    <a:pt x="1750" y="1670"/>
                  </a:lnTo>
                  <a:lnTo>
                    <a:pt x="1748" y="1671"/>
                  </a:lnTo>
                  <a:lnTo>
                    <a:pt x="1750" y="1671"/>
                  </a:lnTo>
                  <a:lnTo>
                    <a:pt x="1748" y="1671"/>
                  </a:lnTo>
                  <a:lnTo>
                    <a:pt x="1748" y="1671"/>
                  </a:lnTo>
                  <a:lnTo>
                    <a:pt x="1750" y="1671"/>
                  </a:lnTo>
                  <a:lnTo>
                    <a:pt x="1748" y="1671"/>
                  </a:lnTo>
                  <a:lnTo>
                    <a:pt x="1748" y="1671"/>
                  </a:lnTo>
                  <a:lnTo>
                    <a:pt x="1748" y="1671"/>
                  </a:lnTo>
                  <a:lnTo>
                    <a:pt x="1748" y="1671"/>
                  </a:lnTo>
                  <a:lnTo>
                    <a:pt x="1748" y="1671"/>
                  </a:lnTo>
                  <a:lnTo>
                    <a:pt x="1748" y="1671"/>
                  </a:lnTo>
                  <a:lnTo>
                    <a:pt x="1750" y="1674"/>
                  </a:lnTo>
                  <a:lnTo>
                    <a:pt x="1750" y="1674"/>
                  </a:lnTo>
                  <a:lnTo>
                    <a:pt x="1754" y="1685"/>
                  </a:lnTo>
                  <a:lnTo>
                    <a:pt x="1754" y="1685"/>
                  </a:lnTo>
                  <a:lnTo>
                    <a:pt x="1758" y="1699"/>
                  </a:lnTo>
                  <a:lnTo>
                    <a:pt x="1758" y="1699"/>
                  </a:lnTo>
                  <a:lnTo>
                    <a:pt x="1763" y="1708"/>
                  </a:lnTo>
                  <a:lnTo>
                    <a:pt x="1768" y="1715"/>
                  </a:lnTo>
                  <a:lnTo>
                    <a:pt x="1768" y="1715"/>
                  </a:lnTo>
                  <a:lnTo>
                    <a:pt x="1779" y="1725"/>
                  </a:lnTo>
                  <a:lnTo>
                    <a:pt x="1789" y="1735"/>
                  </a:lnTo>
                  <a:lnTo>
                    <a:pt x="1789" y="1735"/>
                  </a:lnTo>
                  <a:lnTo>
                    <a:pt x="1793" y="1741"/>
                  </a:lnTo>
                  <a:lnTo>
                    <a:pt x="1796" y="1747"/>
                  </a:lnTo>
                  <a:lnTo>
                    <a:pt x="1797" y="1757"/>
                  </a:lnTo>
                  <a:lnTo>
                    <a:pt x="1799" y="1758"/>
                  </a:lnTo>
                  <a:lnTo>
                    <a:pt x="1799" y="1758"/>
                  </a:lnTo>
                  <a:lnTo>
                    <a:pt x="1796" y="1769"/>
                  </a:lnTo>
                  <a:lnTo>
                    <a:pt x="1796" y="1769"/>
                  </a:lnTo>
                  <a:lnTo>
                    <a:pt x="1792" y="1777"/>
                  </a:lnTo>
                  <a:lnTo>
                    <a:pt x="1792" y="1777"/>
                  </a:lnTo>
                  <a:lnTo>
                    <a:pt x="1792" y="1780"/>
                  </a:lnTo>
                  <a:lnTo>
                    <a:pt x="1792" y="1780"/>
                  </a:lnTo>
                  <a:lnTo>
                    <a:pt x="1792" y="1782"/>
                  </a:lnTo>
                  <a:lnTo>
                    <a:pt x="1793" y="1784"/>
                  </a:lnTo>
                  <a:lnTo>
                    <a:pt x="1793" y="1784"/>
                  </a:lnTo>
                  <a:lnTo>
                    <a:pt x="1797" y="1787"/>
                  </a:lnTo>
                  <a:lnTo>
                    <a:pt x="1797" y="1787"/>
                  </a:lnTo>
                  <a:lnTo>
                    <a:pt x="1803" y="1790"/>
                  </a:lnTo>
                  <a:lnTo>
                    <a:pt x="1803" y="1790"/>
                  </a:lnTo>
                  <a:lnTo>
                    <a:pt x="1807" y="1792"/>
                  </a:lnTo>
                  <a:lnTo>
                    <a:pt x="1807" y="1792"/>
                  </a:lnTo>
                  <a:lnTo>
                    <a:pt x="1810" y="1792"/>
                  </a:lnTo>
                  <a:lnTo>
                    <a:pt x="1815" y="1789"/>
                  </a:lnTo>
                  <a:lnTo>
                    <a:pt x="1815" y="1789"/>
                  </a:lnTo>
                  <a:lnTo>
                    <a:pt x="1823" y="1784"/>
                  </a:lnTo>
                  <a:lnTo>
                    <a:pt x="1823" y="1784"/>
                  </a:lnTo>
                  <a:lnTo>
                    <a:pt x="1829" y="1782"/>
                  </a:lnTo>
                  <a:lnTo>
                    <a:pt x="1834" y="1777"/>
                  </a:lnTo>
                  <a:lnTo>
                    <a:pt x="1834" y="1777"/>
                  </a:lnTo>
                  <a:lnTo>
                    <a:pt x="1838" y="1773"/>
                  </a:lnTo>
                  <a:lnTo>
                    <a:pt x="1838" y="1773"/>
                  </a:lnTo>
                  <a:lnTo>
                    <a:pt x="1839" y="1771"/>
                  </a:lnTo>
                  <a:lnTo>
                    <a:pt x="1839" y="1771"/>
                  </a:lnTo>
                  <a:lnTo>
                    <a:pt x="1839" y="1771"/>
                  </a:lnTo>
                  <a:lnTo>
                    <a:pt x="1838" y="1771"/>
                  </a:lnTo>
                  <a:lnTo>
                    <a:pt x="1838" y="1771"/>
                  </a:lnTo>
                  <a:lnTo>
                    <a:pt x="1839" y="1771"/>
                  </a:lnTo>
                  <a:lnTo>
                    <a:pt x="1838" y="1771"/>
                  </a:lnTo>
                  <a:lnTo>
                    <a:pt x="1838" y="1771"/>
                  </a:lnTo>
                  <a:lnTo>
                    <a:pt x="1838" y="1770"/>
                  </a:lnTo>
                  <a:lnTo>
                    <a:pt x="1836" y="1771"/>
                  </a:lnTo>
                  <a:lnTo>
                    <a:pt x="1838" y="1771"/>
                  </a:lnTo>
                  <a:lnTo>
                    <a:pt x="1838" y="1770"/>
                  </a:lnTo>
                  <a:lnTo>
                    <a:pt x="1836" y="1771"/>
                  </a:lnTo>
                  <a:lnTo>
                    <a:pt x="1838" y="1770"/>
                  </a:lnTo>
                  <a:lnTo>
                    <a:pt x="1836" y="1771"/>
                  </a:lnTo>
                  <a:lnTo>
                    <a:pt x="1836" y="1771"/>
                  </a:lnTo>
                  <a:lnTo>
                    <a:pt x="1838" y="1770"/>
                  </a:lnTo>
                  <a:lnTo>
                    <a:pt x="1836" y="1771"/>
                  </a:lnTo>
                  <a:lnTo>
                    <a:pt x="1836" y="1771"/>
                  </a:lnTo>
                  <a:lnTo>
                    <a:pt x="1838" y="1773"/>
                  </a:lnTo>
                  <a:lnTo>
                    <a:pt x="1838" y="1773"/>
                  </a:lnTo>
                  <a:lnTo>
                    <a:pt x="1841" y="1776"/>
                  </a:lnTo>
                  <a:lnTo>
                    <a:pt x="1841" y="1776"/>
                  </a:lnTo>
                  <a:lnTo>
                    <a:pt x="1842" y="1777"/>
                  </a:lnTo>
                  <a:lnTo>
                    <a:pt x="1844" y="1776"/>
                  </a:lnTo>
                  <a:lnTo>
                    <a:pt x="1842" y="1777"/>
                  </a:lnTo>
                  <a:lnTo>
                    <a:pt x="1842" y="1777"/>
                  </a:lnTo>
                  <a:lnTo>
                    <a:pt x="1844" y="1776"/>
                  </a:lnTo>
                  <a:lnTo>
                    <a:pt x="1842" y="1777"/>
                  </a:lnTo>
                  <a:lnTo>
                    <a:pt x="1842" y="1777"/>
                  </a:lnTo>
                  <a:lnTo>
                    <a:pt x="1844" y="1779"/>
                  </a:lnTo>
                  <a:lnTo>
                    <a:pt x="1844" y="1779"/>
                  </a:lnTo>
                  <a:lnTo>
                    <a:pt x="1848" y="1795"/>
                  </a:lnTo>
                  <a:lnTo>
                    <a:pt x="1848" y="1795"/>
                  </a:lnTo>
                  <a:lnTo>
                    <a:pt x="1855" y="1815"/>
                  </a:lnTo>
                  <a:lnTo>
                    <a:pt x="1855" y="1815"/>
                  </a:lnTo>
                  <a:lnTo>
                    <a:pt x="1860" y="1829"/>
                  </a:lnTo>
                  <a:lnTo>
                    <a:pt x="1860" y="1829"/>
                  </a:lnTo>
                  <a:lnTo>
                    <a:pt x="1861" y="1834"/>
                  </a:lnTo>
                  <a:lnTo>
                    <a:pt x="1863" y="1839"/>
                  </a:lnTo>
                  <a:lnTo>
                    <a:pt x="1863" y="1839"/>
                  </a:lnTo>
                  <a:lnTo>
                    <a:pt x="1864" y="1842"/>
                  </a:lnTo>
                  <a:lnTo>
                    <a:pt x="1864" y="1842"/>
                  </a:lnTo>
                  <a:lnTo>
                    <a:pt x="1863" y="1851"/>
                  </a:lnTo>
                  <a:lnTo>
                    <a:pt x="1863" y="1851"/>
                  </a:lnTo>
                  <a:lnTo>
                    <a:pt x="1861" y="1855"/>
                  </a:lnTo>
                  <a:lnTo>
                    <a:pt x="1861" y="1855"/>
                  </a:lnTo>
                  <a:lnTo>
                    <a:pt x="1860" y="1860"/>
                  </a:lnTo>
                  <a:lnTo>
                    <a:pt x="1860" y="1860"/>
                  </a:lnTo>
                  <a:lnTo>
                    <a:pt x="1860" y="1861"/>
                  </a:lnTo>
                  <a:lnTo>
                    <a:pt x="1860" y="1861"/>
                  </a:lnTo>
                  <a:lnTo>
                    <a:pt x="1860" y="1867"/>
                  </a:lnTo>
                  <a:lnTo>
                    <a:pt x="1857" y="1873"/>
                  </a:lnTo>
                  <a:lnTo>
                    <a:pt x="1857" y="1873"/>
                  </a:lnTo>
                  <a:lnTo>
                    <a:pt x="1854" y="1879"/>
                  </a:lnTo>
                  <a:lnTo>
                    <a:pt x="1854" y="1879"/>
                  </a:lnTo>
                  <a:lnTo>
                    <a:pt x="1852" y="1882"/>
                  </a:lnTo>
                  <a:lnTo>
                    <a:pt x="1852" y="1886"/>
                  </a:lnTo>
                  <a:lnTo>
                    <a:pt x="1852" y="1886"/>
                  </a:lnTo>
                  <a:lnTo>
                    <a:pt x="1852" y="1889"/>
                  </a:lnTo>
                  <a:lnTo>
                    <a:pt x="1852" y="1889"/>
                  </a:lnTo>
                  <a:lnTo>
                    <a:pt x="1854" y="1899"/>
                  </a:lnTo>
                  <a:lnTo>
                    <a:pt x="1854" y="1899"/>
                  </a:lnTo>
                  <a:lnTo>
                    <a:pt x="1855" y="1906"/>
                  </a:lnTo>
                  <a:lnTo>
                    <a:pt x="1855" y="1906"/>
                  </a:lnTo>
                  <a:lnTo>
                    <a:pt x="1858" y="1912"/>
                  </a:lnTo>
                  <a:lnTo>
                    <a:pt x="1858" y="1912"/>
                  </a:lnTo>
                  <a:lnTo>
                    <a:pt x="1860" y="1915"/>
                  </a:lnTo>
                  <a:lnTo>
                    <a:pt x="1863" y="1916"/>
                  </a:lnTo>
                  <a:lnTo>
                    <a:pt x="1863" y="1916"/>
                  </a:lnTo>
                  <a:lnTo>
                    <a:pt x="1865" y="1918"/>
                  </a:lnTo>
                  <a:lnTo>
                    <a:pt x="1865" y="1918"/>
                  </a:lnTo>
                  <a:lnTo>
                    <a:pt x="1871" y="1924"/>
                  </a:lnTo>
                  <a:lnTo>
                    <a:pt x="1871" y="1924"/>
                  </a:lnTo>
                  <a:lnTo>
                    <a:pt x="1884" y="1938"/>
                  </a:lnTo>
                  <a:lnTo>
                    <a:pt x="1884" y="1938"/>
                  </a:lnTo>
                  <a:lnTo>
                    <a:pt x="1889" y="1944"/>
                  </a:lnTo>
                  <a:lnTo>
                    <a:pt x="1889" y="1944"/>
                  </a:lnTo>
                  <a:lnTo>
                    <a:pt x="1892" y="1948"/>
                  </a:lnTo>
                  <a:lnTo>
                    <a:pt x="1892" y="1948"/>
                  </a:lnTo>
                  <a:lnTo>
                    <a:pt x="1892" y="1951"/>
                  </a:lnTo>
                  <a:lnTo>
                    <a:pt x="1892" y="1951"/>
                  </a:lnTo>
                  <a:lnTo>
                    <a:pt x="1892" y="1955"/>
                  </a:lnTo>
                  <a:lnTo>
                    <a:pt x="1892" y="1955"/>
                  </a:lnTo>
                  <a:lnTo>
                    <a:pt x="1890" y="1960"/>
                  </a:lnTo>
                  <a:lnTo>
                    <a:pt x="1890" y="1960"/>
                  </a:lnTo>
                  <a:lnTo>
                    <a:pt x="1892" y="1964"/>
                  </a:lnTo>
                  <a:lnTo>
                    <a:pt x="1892" y="1964"/>
                  </a:lnTo>
                  <a:lnTo>
                    <a:pt x="1894" y="1976"/>
                  </a:lnTo>
                  <a:lnTo>
                    <a:pt x="1894" y="1976"/>
                  </a:lnTo>
                  <a:lnTo>
                    <a:pt x="1897" y="1981"/>
                  </a:lnTo>
                  <a:lnTo>
                    <a:pt x="1899" y="1987"/>
                  </a:lnTo>
                  <a:lnTo>
                    <a:pt x="1899" y="1987"/>
                  </a:lnTo>
                  <a:lnTo>
                    <a:pt x="1905" y="1996"/>
                  </a:lnTo>
                  <a:lnTo>
                    <a:pt x="1905" y="1996"/>
                  </a:lnTo>
                  <a:lnTo>
                    <a:pt x="1907" y="2000"/>
                  </a:lnTo>
                  <a:lnTo>
                    <a:pt x="1912" y="2005"/>
                  </a:lnTo>
                  <a:lnTo>
                    <a:pt x="1912" y="2005"/>
                  </a:lnTo>
                  <a:lnTo>
                    <a:pt x="1925" y="2015"/>
                  </a:lnTo>
                  <a:lnTo>
                    <a:pt x="1925" y="2015"/>
                  </a:lnTo>
                  <a:lnTo>
                    <a:pt x="1932" y="2021"/>
                  </a:lnTo>
                  <a:lnTo>
                    <a:pt x="1932" y="2021"/>
                  </a:lnTo>
                  <a:lnTo>
                    <a:pt x="1939" y="2023"/>
                  </a:lnTo>
                  <a:lnTo>
                    <a:pt x="1939" y="2023"/>
                  </a:lnTo>
                  <a:lnTo>
                    <a:pt x="1948" y="2025"/>
                  </a:lnTo>
                  <a:lnTo>
                    <a:pt x="1948" y="2025"/>
                  </a:lnTo>
                  <a:lnTo>
                    <a:pt x="1955" y="2026"/>
                  </a:lnTo>
                  <a:lnTo>
                    <a:pt x="1955" y="2026"/>
                  </a:lnTo>
                  <a:lnTo>
                    <a:pt x="1958" y="2025"/>
                  </a:lnTo>
                  <a:lnTo>
                    <a:pt x="1958" y="2025"/>
                  </a:lnTo>
                  <a:lnTo>
                    <a:pt x="1960" y="2023"/>
                  </a:lnTo>
                  <a:lnTo>
                    <a:pt x="1960" y="2023"/>
                  </a:lnTo>
                  <a:lnTo>
                    <a:pt x="1960" y="2022"/>
                  </a:lnTo>
                  <a:lnTo>
                    <a:pt x="1960" y="2022"/>
                  </a:lnTo>
                  <a:lnTo>
                    <a:pt x="1958" y="2016"/>
                  </a:lnTo>
                  <a:lnTo>
                    <a:pt x="1958" y="2016"/>
                  </a:lnTo>
                  <a:lnTo>
                    <a:pt x="1955" y="2006"/>
                  </a:lnTo>
                  <a:lnTo>
                    <a:pt x="1955" y="2006"/>
                  </a:lnTo>
                  <a:lnTo>
                    <a:pt x="1951" y="1997"/>
                  </a:lnTo>
                  <a:lnTo>
                    <a:pt x="1951" y="1997"/>
                  </a:lnTo>
                  <a:lnTo>
                    <a:pt x="1949" y="1992"/>
                  </a:lnTo>
                  <a:lnTo>
                    <a:pt x="1949" y="1992"/>
                  </a:lnTo>
                  <a:lnTo>
                    <a:pt x="1948" y="1979"/>
                  </a:lnTo>
                  <a:lnTo>
                    <a:pt x="1948" y="1970"/>
                  </a:lnTo>
                  <a:lnTo>
                    <a:pt x="1948" y="1970"/>
                  </a:lnTo>
                  <a:lnTo>
                    <a:pt x="1947" y="1966"/>
                  </a:lnTo>
                  <a:lnTo>
                    <a:pt x="1947" y="1966"/>
                  </a:lnTo>
                  <a:lnTo>
                    <a:pt x="1942" y="1961"/>
                  </a:lnTo>
                  <a:lnTo>
                    <a:pt x="1942" y="1961"/>
                  </a:lnTo>
                  <a:lnTo>
                    <a:pt x="1923" y="1944"/>
                  </a:lnTo>
                  <a:lnTo>
                    <a:pt x="1923" y="1944"/>
                  </a:lnTo>
                  <a:lnTo>
                    <a:pt x="1913" y="1937"/>
                  </a:lnTo>
                  <a:lnTo>
                    <a:pt x="1913" y="1937"/>
                  </a:lnTo>
                  <a:lnTo>
                    <a:pt x="1905" y="1932"/>
                  </a:lnTo>
                  <a:lnTo>
                    <a:pt x="1905" y="1932"/>
                  </a:lnTo>
                  <a:lnTo>
                    <a:pt x="1900" y="1928"/>
                  </a:lnTo>
                  <a:lnTo>
                    <a:pt x="1900" y="1928"/>
                  </a:lnTo>
                  <a:lnTo>
                    <a:pt x="1896" y="1919"/>
                  </a:lnTo>
                  <a:lnTo>
                    <a:pt x="1893" y="1912"/>
                  </a:lnTo>
                  <a:lnTo>
                    <a:pt x="1893" y="1912"/>
                  </a:lnTo>
                  <a:lnTo>
                    <a:pt x="1889" y="1899"/>
                  </a:lnTo>
                  <a:lnTo>
                    <a:pt x="1889" y="1899"/>
                  </a:lnTo>
                  <a:lnTo>
                    <a:pt x="1887" y="1895"/>
                  </a:lnTo>
                  <a:lnTo>
                    <a:pt x="1887" y="1895"/>
                  </a:lnTo>
                  <a:lnTo>
                    <a:pt x="1883" y="1893"/>
                  </a:lnTo>
                  <a:lnTo>
                    <a:pt x="1883" y="1893"/>
                  </a:lnTo>
                  <a:lnTo>
                    <a:pt x="1880" y="1895"/>
                  </a:lnTo>
                  <a:lnTo>
                    <a:pt x="1877" y="1895"/>
                  </a:lnTo>
                  <a:lnTo>
                    <a:pt x="1877" y="1895"/>
                  </a:lnTo>
                  <a:lnTo>
                    <a:pt x="1878" y="1896"/>
                  </a:lnTo>
                  <a:lnTo>
                    <a:pt x="1878" y="1895"/>
                  </a:lnTo>
                  <a:lnTo>
                    <a:pt x="1877" y="1895"/>
                  </a:lnTo>
                  <a:lnTo>
                    <a:pt x="1878" y="1896"/>
                  </a:lnTo>
                  <a:lnTo>
                    <a:pt x="1878" y="1895"/>
                  </a:lnTo>
                  <a:lnTo>
                    <a:pt x="1878" y="1896"/>
                  </a:lnTo>
                  <a:lnTo>
                    <a:pt x="1880" y="1895"/>
                  </a:lnTo>
                  <a:lnTo>
                    <a:pt x="1880" y="1895"/>
                  </a:lnTo>
                  <a:lnTo>
                    <a:pt x="1878" y="1895"/>
                  </a:lnTo>
                  <a:lnTo>
                    <a:pt x="1878" y="1896"/>
                  </a:lnTo>
                  <a:lnTo>
                    <a:pt x="1880" y="1895"/>
                  </a:lnTo>
                  <a:lnTo>
                    <a:pt x="1880" y="1896"/>
                  </a:lnTo>
                  <a:lnTo>
                    <a:pt x="1880" y="1895"/>
                  </a:lnTo>
                  <a:lnTo>
                    <a:pt x="1880" y="1895"/>
                  </a:lnTo>
                  <a:lnTo>
                    <a:pt x="1880" y="1896"/>
                  </a:lnTo>
                  <a:lnTo>
                    <a:pt x="1880" y="1895"/>
                  </a:lnTo>
                  <a:lnTo>
                    <a:pt x="1880" y="1895"/>
                  </a:lnTo>
                  <a:lnTo>
                    <a:pt x="1878" y="1895"/>
                  </a:lnTo>
                  <a:lnTo>
                    <a:pt x="1878" y="1895"/>
                  </a:lnTo>
                  <a:lnTo>
                    <a:pt x="1877" y="1886"/>
                  </a:lnTo>
                  <a:lnTo>
                    <a:pt x="1877" y="1886"/>
                  </a:lnTo>
                  <a:lnTo>
                    <a:pt x="1877" y="1883"/>
                  </a:lnTo>
                  <a:lnTo>
                    <a:pt x="1877" y="1883"/>
                  </a:lnTo>
                  <a:lnTo>
                    <a:pt x="1878" y="1883"/>
                  </a:lnTo>
                  <a:lnTo>
                    <a:pt x="1878" y="1883"/>
                  </a:lnTo>
                  <a:lnTo>
                    <a:pt x="1881" y="1876"/>
                  </a:lnTo>
                  <a:lnTo>
                    <a:pt x="1881" y="1876"/>
                  </a:lnTo>
                  <a:lnTo>
                    <a:pt x="1886" y="1866"/>
                  </a:lnTo>
                  <a:lnTo>
                    <a:pt x="1886" y="1866"/>
                  </a:lnTo>
                  <a:lnTo>
                    <a:pt x="1892" y="1845"/>
                  </a:lnTo>
                  <a:lnTo>
                    <a:pt x="1892" y="1845"/>
                  </a:lnTo>
                  <a:lnTo>
                    <a:pt x="1894" y="1835"/>
                  </a:lnTo>
                  <a:lnTo>
                    <a:pt x="1894" y="1835"/>
                  </a:lnTo>
                  <a:lnTo>
                    <a:pt x="1896" y="1832"/>
                  </a:lnTo>
                  <a:lnTo>
                    <a:pt x="1896" y="1832"/>
                  </a:lnTo>
                  <a:lnTo>
                    <a:pt x="1897" y="1831"/>
                  </a:lnTo>
                  <a:lnTo>
                    <a:pt x="1897" y="1831"/>
                  </a:lnTo>
                  <a:lnTo>
                    <a:pt x="1896" y="1829"/>
                  </a:lnTo>
                  <a:lnTo>
                    <a:pt x="1897" y="1831"/>
                  </a:lnTo>
                  <a:lnTo>
                    <a:pt x="1897" y="1831"/>
                  </a:lnTo>
                  <a:lnTo>
                    <a:pt x="1896" y="1829"/>
                  </a:lnTo>
                  <a:lnTo>
                    <a:pt x="1897" y="1831"/>
                  </a:lnTo>
                  <a:lnTo>
                    <a:pt x="1896" y="1829"/>
                  </a:lnTo>
                  <a:lnTo>
                    <a:pt x="1896" y="1831"/>
                  </a:lnTo>
                  <a:lnTo>
                    <a:pt x="1897" y="1831"/>
                  </a:lnTo>
                  <a:lnTo>
                    <a:pt x="1896" y="1829"/>
                  </a:lnTo>
                  <a:lnTo>
                    <a:pt x="1896" y="1831"/>
                  </a:lnTo>
                  <a:lnTo>
                    <a:pt x="1896" y="1829"/>
                  </a:lnTo>
                  <a:lnTo>
                    <a:pt x="1896" y="1831"/>
                  </a:lnTo>
                  <a:lnTo>
                    <a:pt x="1896" y="1831"/>
                  </a:lnTo>
                  <a:lnTo>
                    <a:pt x="1896" y="1829"/>
                  </a:lnTo>
                  <a:lnTo>
                    <a:pt x="1896" y="1831"/>
                  </a:lnTo>
                  <a:lnTo>
                    <a:pt x="1896" y="1831"/>
                  </a:lnTo>
                  <a:lnTo>
                    <a:pt x="1896" y="1831"/>
                  </a:lnTo>
                  <a:lnTo>
                    <a:pt x="1899" y="1834"/>
                  </a:lnTo>
                  <a:lnTo>
                    <a:pt x="1899" y="1834"/>
                  </a:lnTo>
                  <a:lnTo>
                    <a:pt x="1902" y="1838"/>
                  </a:lnTo>
                  <a:lnTo>
                    <a:pt x="1902" y="1838"/>
                  </a:lnTo>
                  <a:lnTo>
                    <a:pt x="1903" y="1839"/>
                  </a:lnTo>
                  <a:lnTo>
                    <a:pt x="1906" y="1841"/>
                  </a:lnTo>
                  <a:lnTo>
                    <a:pt x="1906" y="1841"/>
                  </a:lnTo>
                  <a:lnTo>
                    <a:pt x="1910" y="1839"/>
                  </a:lnTo>
                  <a:lnTo>
                    <a:pt x="1910" y="1839"/>
                  </a:lnTo>
                  <a:lnTo>
                    <a:pt x="1913" y="1839"/>
                  </a:lnTo>
                  <a:lnTo>
                    <a:pt x="1913" y="1839"/>
                  </a:lnTo>
                  <a:lnTo>
                    <a:pt x="1913" y="1839"/>
                  </a:lnTo>
                  <a:lnTo>
                    <a:pt x="1913" y="1839"/>
                  </a:lnTo>
                  <a:lnTo>
                    <a:pt x="1916" y="1844"/>
                  </a:lnTo>
                  <a:lnTo>
                    <a:pt x="1916" y="1844"/>
                  </a:lnTo>
                  <a:lnTo>
                    <a:pt x="1919" y="1850"/>
                  </a:lnTo>
                  <a:lnTo>
                    <a:pt x="1919" y="1850"/>
                  </a:lnTo>
                  <a:lnTo>
                    <a:pt x="1920" y="1853"/>
                  </a:lnTo>
                  <a:lnTo>
                    <a:pt x="1920" y="1853"/>
                  </a:lnTo>
                  <a:lnTo>
                    <a:pt x="1923" y="1854"/>
                  </a:lnTo>
                  <a:lnTo>
                    <a:pt x="1923" y="1854"/>
                  </a:lnTo>
                  <a:lnTo>
                    <a:pt x="1926" y="1854"/>
                  </a:lnTo>
                  <a:lnTo>
                    <a:pt x="1926" y="1854"/>
                  </a:lnTo>
                  <a:lnTo>
                    <a:pt x="1928" y="1854"/>
                  </a:lnTo>
                  <a:lnTo>
                    <a:pt x="1928" y="1853"/>
                  </a:lnTo>
                  <a:lnTo>
                    <a:pt x="1928" y="1854"/>
                  </a:lnTo>
                  <a:lnTo>
                    <a:pt x="1928" y="1854"/>
                  </a:lnTo>
                  <a:lnTo>
                    <a:pt x="1928" y="1853"/>
                  </a:lnTo>
                  <a:lnTo>
                    <a:pt x="1928" y="1854"/>
                  </a:lnTo>
                  <a:lnTo>
                    <a:pt x="1928" y="1854"/>
                  </a:lnTo>
                  <a:lnTo>
                    <a:pt x="1928" y="1854"/>
                  </a:lnTo>
                  <a:lnTo>
                    <a:pt x="1931" y="1857"/>
                  </a:lnTo>
                  <a:lnTo>
                    <a:pt x="1931" y="1857"/>
                  </a:lnTo>
                  <a:lnTo>
                    <a:pt x="1934" y="1864"/>
                  </a:lnTo>
                  <a:lnTo>
                    <a:pt x="1934" y="1864"/>
                  </a:lnTo>
                  <a:lnTo>
                    <a:pt x="1936" y="1871"/>
                  </a:lnTo>
                  <a:lnTo>
                    <a:pt x="1936" y="1871"/>
                  </a:lnTo>
                  <a:lnTo>
                    <a:pt x="1938" y="1874"/>
                  </a:lnTo>
                  <a:lnTo>
                    <a:pt x="1938" y="1874"/>
                  </a:lnTo>
                  <a:lnTo>
                    <a:pt x="1941" y="1874"/>
                  </a:lnTo>
                  <a:lnTo>
                    <a:pt x="1941" y="1874"/>
                  </a:lnTo>
                  <a:lnTo>
                    <a:pt x="1947" y="1873"/>
                  </a:lnTo>
                  <a:lnTo>
                    <a:pt x="1947" y="1873"/>
                  </a:lnTo>
                  <a:lnTo>
                    <a:pt x="1951" y="1871"/>
                  </a:lnTo>
                  <a:lnTo>
                    <a:pt x="1951" y="1871"/>
                  </a:lnTo>
                  <a:lnTo>
                    <a:pt x="1952" y="1871"/>
                  </a:lnTo>
                  <a:lnTo>
                    <a:pt x="1952" y="1873"/>
                  </a:lnTo>
                  <a:lnTo>
                    <a:pt x="1952" y="1873"/>
                  </a:lnTo>
                  <a:lnTo>
                    <a:pt x="1957" y="1877"/>
                  </a:lnTo>
                  <a:lnTo>
                    <a:pt x="1960" y="1882"/>
                  </a:lnTo>
                  <a:lnTo>
                    <a:pt x="1960" y="1882"/>
                  </a:lnTo>
                  <a:lnTo>
                    <a:pt x="1967" y="1887"/>
                  </a:lnTo>
                  <a:lnTo>
                    <a:pt x="1967" y="1887"/>
                  </a:lnTo>
                  <a:lnTo>
                    <a:pt x="1967" y="1887"/>
                  </a:lnTo>
                  <a:lnTo>
                    <a:pt x="1967" y="1887"/>
                  </a:lnTo>
                  <a:lnTo>
                    <a:pt x="1967" y="1887"/>
                  </a:lnTo>
                  <a:lnTo>
                    <a:pt x="1967" y="1887"/>
                  </a:lnTo>
                  <a:lnTo>
                    <a:pt x="1967" y="1887"/>
                  </a:lnTo>
                  <a:lnTo>
                    <a:pt x="1967" y="1887"/>
                  </a:lnTo>
                  <a:lnTo>
                    <a:pt x="1967" y="1887"/>
                  </a:lnTo>
                  <a:lnTo>
                    <a:pt x="1967" y="1887"/>
                  </a:lnTo>
                  <a:lnTo>
                    <a:pt x="1967" y="1887"/>
                  </a:lnTo>
                  <a:lnTo>
                    <a:pt x="1967" y="1889"/>
                  </a:lnTo>
                  <a:lnTo>
                    <a:pt x="1967" y="1889"/>
                  </a:lnTo>
                  <a:lnTo>
                    <a:pt x="1967" y="1892"/>
                  </a:lnTo>
                  <a:lnTo>
                    <a:pt x="1967" y="1892"/>
                  </a:lnTo>
                  <a:lnTo>
                    <a:pt x="1964" y="1900"/>
                  </a:lnTo>
                  <a:lnTo>
                    <a:pt x="1964" y="1900"/>
                  </a:lnTo>
                  <a:lnTo>
                    <a:pt x="1962" y="1909"/>
                  </a:lnTo>
                  <a:lnTo>
                    <a:pt x="1962" y="1909"/>
                  </a:lnTo>
                  <a:lnTo>
                    <a:pt x="1962" y="1912"/>
                  </a:lnTo>
                  <a:lnTo>
                    <a:pt x="1962" y="1912"/>
                  </a:lnTo>
                  <a:lnTo>
                    <a:pt x="1964" y="1913"/>
                  </a:lnTo>
                  <a:lnTo>
                    <a:pt x="1964" y="1913"/>
                  </a:lnTo>
                  <a:lnTo>
                    <a:pt x="1965" y="1913"/>
                  </a:lnTo>
                  <a:lnTo>
                    <a:pt x="1965" y="1913"/>
                  </a:lnTo>
                  <a:lnTo>
                    <a:pt x="1968" y="1912"/>
                  </a:lnTo>
                  <a:lnTo>
                    <a:pt x="1968" y="1912"/>
                  </a:lnTo>
                  <a:lnTo>
                    <a:pt x="1971" y="1910"/>
                  </a:lnTo>
                  <a:lnTo>
                    <a:pt x="1976" y="1906"/>
                  </a:lnTo>
                  <a:lnTo>
                    <a:pt x="1976" y="1906"/>
                  </a:lnTo>
                  <a:lnTo>
                    <a:pt x="1980" y="1899"/>
                  </a:lnTo>
                  <a:lnTo>
                    <a:pt x="1980" y="1899"/>
                  </a:lnTo>
                  <a:lnTo>
                    <a:pt x="1980" y="1899"/>
                  </a:lnTo>
                  <a:lnTo>
                    <a:pt x="1986" y="1897"/>
                  </a:lnTo>
                  <a:lnTo>
                    <a:pt x="1986" y="1897"/>
                  </a:lnTo>
                  <a:lnTo>
                    <a:pt x="1989" y="1897"/>
                  </a:lnTo>
                  <a:lnTo>
                    <a:pt x="1989" y="1897"/>
                  </a:lnTo>
                  <a:lnTo>
                    <a:pt x="1993" y="1895"/>
                  </a:lnTo>
                  <a:lnTo>
                    <a:pt x="1993" y="1895"/>
                  </a:lnTo>
                  <a:lnTo>
                    <a:pt x="1996" y="1887"/>
                  </a:lnTo>
                  <a:lnTo>
                    <a:pt x="1996" y="1887"/>
                  </a:lnTo>
                  <a:lnTo>
                    <a:pt x="1999" y="1880"/>
                  </a:lnTo>
                  <a:lnTo>
                    <a:pt x="1999" y="1880"/>
                  </a:lnTo>
                  <a:lnTo>
                    <a:pt x="1999" y="1880"/>
                  </a:lnTo>
                  <a:lnTo>
                    <a:pt x="1999" y="1880"/>
                  </a:lnTo>
                  <a:lnTo>
                    <a:pt x="2000" y="1879"/>
                  </a:lnTo>
                  <a:lnTo>
                    <a:pt x="2000" y="1879"/>
                  </a:lnTo>
                  <a:lnTo>
                    <a:pt x="2004" y="1880"/>
                  </a:lnTo>
                  <a:lnTo>
                    <a:pt x="2004" y="1880"/>
                  </a:lnTo>
                  <a:lnTo>
                    <a:pt x="2009" y="1880"/>
                  </a:lnTo>
                  <a:lnTo>
                    <a:pt x="2009" y="1880"/>
                  </a:lnTo>
                  <a:lnTo>
                    <a:pt x="2012" y="1880"/>
                  </a:lnTo>
                  <a:lnTo>
                    <a:pt x="2012" y="1880"/>
                  </a:lnTo>
                  <a:lnTo>
                    <a:pt x="2018" y="1876"/>
                  </a:lnTo>
                  <a:lnTo>
                    <a:pt x="2023" y="1871"/>
                  </a:lnTo>
                  <a:lnTo>
                    <a:pt x="2023" y="1871"/>
                  </a:lnTo>
                  <a:lnTo>
                    <a:pt x="2033" y="1863"/>
                  </a:lnTo>
                  <a:lnTo>
                    <a:pt x="2033" y="1863"/>
                  </a:lnTo>
                  <a:lnTo>
                    <a:pt x="2035" y="1860"/>
                  </a:lnTo>
                  <a:lnTo>
                    <a:pt x="2038" y="1855"/>
                  </a:lnTo>
                  <a:lnTo>
                    <a:pt x="2038" y="1855"/>
                  </a:lnTo>
                  <a:lnTo>
                    <a:pt x="2039" y="1842"/>
                  </a:lnTo>
                  <a:lnTo>
                    <a:pt x="2041" y="1831"/>
                  </a:lnTo>
                  <a:lnTo>
                    <a:pt x="2041" y="1831"/>
                  </a:lnTo>
                  <a:lnTo>
                    <a:pt x="2041" y="1826"/>
                  </a:lnTo>
                  <a:lnTo>
                    <a:pt x="2041" y="1826"/>
                  </a:lnTo>
                  <a:lnTo>
                    <a:pt x="2038" y="1811"/>
                  </a:lnTo>
                  <a:lnTo>
                    <a:pt x="2038" y="1811"/>
                  </a:lnTo>
                  <a:lnTo>
                    <a:pt x="2033" y="1795"/>
                  </a:lnTo>
                  <a:lnTo>
                    <a:pt x="2033" y="1795"/>
                  </a:lnTo>
                  <a:lnTo>
                    <a:pt x="2029" y="1789"/>
                  </a:lnTo>
                  <a:lnTo>
                    <a:pt x="2029" y="1789"/>
                  </a:lnTo>
                  <a:lnTo>
                    <a:pt x="2020" y="1780"/>
                  </a:lnTo>
                  <a:lnTo>
                    <a:pt x="2013" y="1774"/>
                  </a:lnTo>
                  <a:lnTo>
                    <a:pt x="2013" y="1774"/>
                  </a:lnTo>
                  <a:lnTo>
                    <a:pt x="2010" y="1771"/>
                  </a:lnTo>
                  <a:lnTo>
                    <a:pt x="2007" y="1769"/>
                  </a:lnTo>
                  <a:lnTo>
                    <a:pt x="2000" y="1755"/>
                  </a:lnTo>
                  <a:lnTo>
                    <a:pt x="2000" y="1755"/>
                  </a:lnTo>
                  <a:lnTo>
                    <a:pt x="1993" y="1747"/>
                  </a:lnTo>
                  <a:lnTo>
                    <a:pt x="1993" y="1747"/>
                  </a:lnTo>
                  <a:lnTo>
                    <a:pt x="1987" y="1740"/>
                  </a:lnTo>
                  <a:lnTo>
                    <a:pt x="1987" y="1740"/>
                  </a:lnTo>
                  <a:lnTo>
                    <a:pt x="1986" y="1738"/>
                  </a:lnTo>
                  <a:lnTo>
                    <a:pt x="1986" y="1738"/>
                  </a:lnTo>
                  <a:lnTo>
                    <a:pt x="1984" y="1737"/>
                  </a:lnTo>
                  <a:lnTo>
                    <a:pt x="1984" y="1737"/>
                  </a:lnTo>
                  <a:lnTo>
                    <a:pt x="1986" y="1735"/>
                  </a:lnTo>
                  <a:lnTo>
                    <a:pt x="1986" y="1735"/>
                  </a:lnTo>
                  <a:lnTo>
                    <a:pt x="1987" y="1731"/>
                  </a:lnTo>
                  <a:lnTo>
                    <a:pt x="1987" y="1731"/>
                  </a:lnTo>
                  <a:lnTo>
                    <a:pt x="1987" y="1724"/>
                  </a:lnTo>
                  <a:lnTo>
                    <a:pt x="1987" y="1724"/>
                  </a:lnTo>
                  <a:lnTo>
                    <a:pt x="1989" y="1721"/>
                  </a:lnTo>
                  <a:lnTo>
                    <a:pt x="1989" y="1721"/>
                  </a:lnTo>
                  <a:lnTo>
                    <a:pt x="1993" y="1716"/>
                  </a:lnTo>
                  <a:lnTo>
                    <a:pt x="1993" y="1716"/>
                  </a:lnTo>
                  <a:lnTo>
                    <a:pt x="1997" y="1709"/>
                  </a:lnTo>
                  <a:lnTo>
                    <a:pt x="1997" y="1709"/>
                  </a:lnTo>
                  <a:lnTo>
                    <a:pt x="2003" y="1706"/>
                  </a:lnTo>
                  <a:lnTo>
                    <a:pt x="2003" y="1706"/>
                  </a:lnTo>
                  <a:lnTo>
                    <a:pt x="2015" y="1699"/>
                  </a:lnTo>
                  <a:lnTo>
                    <a:pt x="2015" y="1699"/>
                  </a:lnTo>
                  <a:lnTo>
                    <a:pt x="2020" y="1698"/>
                  </a:lnTo>
                  <a:lnTo>
                    <a:pt x="2020" y="1698"/>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6" y="1698"/>
                  </a:lnTo>
                  <a:lnTo>
                    <a:pt x="2026" y="1698"/>
                  </a:lnTo>
                  <a:lnTo>
                    <a:pt x="2028" y="1699"/>
                  </a:lnTo>
                  <a:lnTo>
                    <a:pt x="2031" y="1700"/>
                  </a:lnTo>
                  <a:lnTo>
                    <a:pt x="2032" y="1700"/>
                  </a:lnTo>
                  <a:lnTo>
                    <a:pt x="2032" y="1700"/>
                  </a:lnTo>
                  <a:lnTo>
                    <a:pt x="2035" y="1699"/>
                  </a:lnTo>
                  <a:lnTo>
                    <a:pt x="2038" y="1698"/>
                  </a:lnTo>
                  <a:lnTo>
                    <a:pt x="2038" y="1698"/>
                  </a:lnTo>
                  <a:lnTo>
                    <a:pt x="2042" y="1696"/>
                  </a:lnTo>
                  <a:lnTo>
                    <a:pt x="2042" y="1696"/>
                  </a:lnTo>
                  <a:lnTo>
                    <a:pt x="2042" y="1696"/>
                  </a:lnTo>
                  <a:lnTo>
                    <a:pt x="2042" y="1696"/>
                  </a:lnTo>
                  <a:lnTo>
                    <a:pt x="2042" y="1695"/>
                  </a:lnTo>
                  <a:lnTo>
                    <a:pt x="2042" y="1696"/>
                  </a:lnTo>
                  <a:lnTo>
                    <a:pt x="2042" y="1696"/>
                  </a:lnTo>
                  <a:lnTo>
                    <a:pt x="2042" y="1695"/>
                  </a:lnTo>
                  <a:lnTo>
                    <a:pt x="2042" y="1696"/>
                  </a:lnTo>
                  <a:lnTo>
                    <a:pt x="2044" y="1695"/>
                  </a:lnTo>
                  <a:lnTo>
                    <a:pt x="2042" y="1695"/>
                  </a:lnTo>
                  <a:lnTo>
                    <a:pt x="2042" y="1696"/>
                  </a:lnTo>
                  <a:lnTo>
                    <a:pt x="2044" y="1695"/>
                  </a:lnTo>
                  <a:lnTo>
                    <a:pt x="2042" y="1695"/>
                  </a:lnTo>
                  <a:lnTo>
                    <a:pt x="2042" y="1695"/>
                  </a:lnTo>
                  <a:lnTo>
                    <a:pt x="2042" y="1695"/>
                  </a:lnTo>
                  <a:lnTo>
                    <a:pt x="2042" y="1695"/>
                  </a:lnTo>
                  <a:lnTo>
                    <a:pt x="2042" y="1695"/>
                  </a:lnTo>
                  <a:lnTo>
                    <a:pt x="2042" y="1695"/>
                  </a:lnTo>
                  <a:lnTo>
                    <a:pt x="2042" y="1696"/>
                  </a:lnTo>
                  <a:lnTo>
                    <a:pt x="2042" y="1696"/>
                  </a:lnTo>
                  <a:lnTo>
                    <a:pt x="2042" y="1700"/>
                  </a:lnTo>
                  <a:lnTo>
                    <a:pt x="2042" y="1700"/>
                  </a:lnTo>
                  <a:lnTo>
                    <a:pt x="2042" y="1703"/>
                  </a:lnTo>
                  <a:lnTo>
                    <a:pt x="2042" y="1703"/>
                  </a:lnTo>
                  <a:lnTo>
                    <a:pt x="2044" y="1706"/>
                  </a:lnTo>
                  <a:lnTo>
                    <a:pt x="2045" y="1709"/>
                  </a:lnTo>
                  <a:lnTo>
                    <a:pt x="2045" y="1709"/>
                  </a:lnTo>
                  <a:lnTo>
                    <a:pt x="2048" y="1711"/>
                  </a:lnTo>
                  <a:lnTo>
                    <a:pt x="2051" y="1711"/>
                  </a:lnTo>
                  <a:lnTo>
                    <a:pt x="2051" y="1711"/>
                  </a:lnTo>
                  <a:lnTo>
                    <a:pt x="2055" y="1711"/>
                  </a:lnTo>
                  <a:lnTo>
                    <a:pt x="2055" y="1711"/>
                  </a:lnTo>
                  <a:lnTo>
                    <a:pt x="2057" y="1709"/>
                  </a:lnTo>
                  <a:lnTo>
                    <a:pt x="2057" y="1709"/>
                  </a:lnTo>
                  <a:lnTo>
                    <a:pt x="2058" y="1706"/>
                  </a:lnTo>
                  <a:lnTo>
                    <a:pt x="2058" y="1706"/>
                  </a:lnTo>
                  <a:lnTo>
                    <a:pt x="2058" y="1705"/>
                  </a:lnTo>
                  <a:lnTo>
                    <a:pt x="2058" y="1705"/>
                  </a:lnTo>
                  <a:lnTo>
                    <a:pt x="2058" y="1703"/>
                  </a:lnTo>
                  <a:lnTo>
                    <a:pt x="2058" y="1703"/>
                  </a:lnTo>
                  <a:lnTo>
                    <a:pt x="2062" y="1699"/>
                  </a:lnTo>
                  <a:lnTo>
                    <a:pt x="2062" y="1699"/>
                  </a:lnTo>
                  <a:lnTo>
                    <a:pt x="2065" y="1698"/>
                  </a:lnTo>
                  <a:lnTo>
                    <a:pt x="2065" y="1698"/>
                  </a:lnTo>
                  <a:lnTo>
                    <a:pt x="2073" y="1696"/>
                  </a:lnTo>
                  <a:lnTo>
                    <a:pt x="2080" y="1696"/>
                  </a:lnTo>
                  <a:lnTo>
                    <a:pt x="2080" y="1696"/>
                  </a:lnTo>
                  <a:lnTo>
                    <a:pt x="2087" y="1695"/>
                  </a:lnTo>
                  <a:lnTo>
                    <a:pt x="2087" y="1695"/>
                  </a:lnTo>
                  <a:lnTo>
                    <a:pt x="2099" y="1692"/>
                  </a:lnTo>
                  <a:lnTo>
                    <a:pt x="2099" y="1692"/>
                  </a:lnTo>
                  <a:lnTo>
                    <a:pt x="2103" y="1690"/>
                  </a:lnTo>
                  <a:lnTo>
                    <a:pt x="2103" y="1690"/>
                  </a:lnTo>
                  <a:lnTo>
                    <a:pt x="2106" y="1687"/>
                  </a:lnTo>
                  <a:lnTo>
                    <a:pt x="2106" y="1687"/>
                  </a:lnTo>
                  <a:lnTo>
                    <a:pt x="2109" y="1685"/>
                  </a:lnTo>
                  <a:lnTo>
                    <a:pt x="2109" y="1685"/>
                  </a:lnTo>
                  <a:lnTo>
                    <a:pt x="2109" y="1680"/>
                  </a:lnTo>
                  <a:lnTo>
                    <a:pt x="2109" y="1680"/>
                  </a:lnTo>
                  <a:lnTo>
                    <a:pt x="2110" y="1676"/>
                  </a:lnTo>
                  <a:lnTo>
                    <a:pt x="2107" y="1676"/>
                  </a:lnTo>
                  <a:lnTo>
                    <a:pt x="2109" y="1677"/>
                  </a:lnTo>
                  <a:lnTo>
                    <a:pt x="2109" y="1677"/>
                  </a:lnTo>
                  <a:lnTo>
                    <a:pt x="2110" y="1676"/>
                  </a:lnTo>
                  <a:lnTo>
                    <a:pt x="2107" y="1676"/>
                  </a:lnTo>
                  <a:lnTo>
                    <a:pt x="2109" y="1677"/>
                  </a:lnTo>
                  <a:lnTo>
                    <a:pt x="2107" y="1676"/>
                  </a:lnTo>
                  <a:lnTo>
                    <a:pt x="2107" y="1677"/>
                  </a:lnTo>
                  <a:lnTo>
                    <a:pt x="2109" y="1677"/>
                  </a:lnTo>
                  <a:lnTo>
                    <a:pt x="2107" y="1676"/>
                  </a:lnTo>
                  <a:lnTo>
                    <a:pt x="2107" y="1677"/>
                  </a:lnTo>
                  <a:lnTo>
                    <a:pt x="2107" y="1677"/>
                  </a:lnTo>
                  <a:lnTo>
                    <a:pt x="2107" y="1677"/>
                  </a:lnTo>
                  <a:lnTo>
                    <a:pt x="2107" y="1677"/>
                  </a:lnTo>
                  <a:lnTo>
                    <a:pt x="2107" y="1677"/>
                  </a:lnTo>
                  <a:lnTo>
                    <a:pt x="2107" y="1677"/>
                  </a:lnTo>
                  <a:lnTo>
                    <a:pt x="2107" y="1677"/>
                  </a:lnTo>
                  <a:lnTo>
                    <a:pt x="2109" y="1677"/>
                  </a:lnTo>
                  <a:lnTo>
                    <a:pt x="2109" y="1677"/>
                  </a:lnTo>
                  <a:lnTo>
                    <a:pt x="2113" y="1679"/>
                  </a:lnTo>
                  <a:lnTo>
                    <a:pt x="2113" y="1679"/>
                  </a:lnTo>
                  <a:lnTo>
                    <a:pt x="2117" y="1680"/>
                  </a:lnTo>
                  <a:lnTo>
                    <a:pt x="2117" y="1680"/>
                  </a:lnTo>
                  <a:lnTo>
                    <a:pt x="2117" y="1680"/>
                  </a:lnTo>
                  <a:lnTo>
                    <a:pt x="2122" y="1679"/>
                  </a:lnTo>
                  <a:lnTo>
                    <a:pt x="2122" y="1679"/>
                  </a:lnTo>
                  <a:lnTo>
                    <a:pt x="2126" y="1674"/>
                  </a:lnTo>
                  <a:lnTo>
                    <a:pt x="2126" y="1674"/>
                  </a:lnTo>
                  <a:lnTo>
                    <a:pt x="2129" y="1670"/>
                  </a:lnTo>
                  <a:lnTo>
                    <a:pt x="2129" y="1670"/>
                  </a:lnTo>
                  <a:lnTo>
                    <a:pt x="2130" y="1670"/>
                  </a:lnTo>
                  <a:lnTo>
                    <a:pt x="2130" y="1670"/>
                  </a:lnTo>
                  <a:lnTo>
                    <a:pt x="2135" y="1671"/>
                  </a:lnTo>
                  <a:lnTo>
                    <a:pt x="2135" y="1671"/>
                  </a:lnTo>
                  <a:lnTo>
                    <a:pt x="2138" y="1673"/>
                  </a:lnTo>
                  <a:lnTo>
                    <a:pt x="2141" y="1673"/>
                  </a:lnTo>
                  <a:lnTo>
                    <a:pt x="2141" y="1673"/>
                  </a:lnTo>
                  <a:lnTo>
                    <a:pt x="2146" y="1673"/>
                  </a:lnTo>
                  <a:lnTo>
                    <a:pt x="2149" y="1670"/>
                  </a:lnTo>
                  <a:lnTo>
                    <a:pt x="2149" y="1670"/>
                  </a:lnTo>
                  <a:lnTo>
                    <a:pt x="2154" y="1666"/>
                  </a:lnTo>
                  <a:lnTo>
                    <a:pt x="2154" y="1666"/>
                  </a:lnTo>
                  <a:lnTo>
                    <a:pt x="2158" y="1663"/>
                  </a:lnTo>
                  <a:lnTo>
                    <a:pt x="2161" y="1663"/>
                  </a:lnTo>
                  <a:lnTo>
                    <a:pt x="2161" y="1663"/>
                  </a:lnTo>
                  <a:lnTo>
                    <a:pt x="2167" y="1661"/>
                  </a:lnTo>
                  <a:lnTo>
                    <a:pt x="2167" y="1661"/>
                  </a:lnTo>
                  <a:lnTo>
                    <a:pt x="2174" y="1656"/>
                  </a:lnTo>
                  <a:lnTo>
                    <a:pt x="2180" y="1648"/>
                  </a:lnTo>
                  <a:lnTo>
                    <a:pt x="2180" y="1648"/>
                  </a:lnTo>
                  <a:lnTo>
                    <a:pt x="2183" y="1641"/>
                  </a:lnTo>
                  <a:lnTo>
                    <a:pt x="2183" y="1641"/>
                  </a:lnTo>
                  <a:lnTo>
                    <a:pt x="2184" y="1641"/>
                  </a:lnTo>
                  <a:lnTo>
                    <a:pt x="2184" y="1641"/>
                  </a:lnTo>
                  <a:lnTo>
                    <a:pt x="2186" y="1640"/>
                  </a:lnTo>
                  <a:lnTo>
                    <a:pt x="2186" y="1640"/>
                  </a:lnTo>
                  <a:lnTo>
                    <a:pt x="2190" y="1638"/>
                  </a:lnTo>
                  <a:lnTo>
                    <a:pt x="2190" y="1638"/>
                  </a:lnTo>
                  <a:lnTo>
                    <a:pt x="2191" y="1637"/>
                  </a:lnTo>
                  <a:lnTo>
                    <a:pt x="2193" y="1634"/>
                  </a:lnTo>
                  <a:lnTo>
                    <a:pt x="2193" y="1634"/>
                  </a:lnTo>
                  <a:lnTo>
                    <a:pt x="2193" y="1629"/>
                  </a:lnTo>
                  <a:lnTo>
                    <a:pt x="2193" y="1629"/>
                  </a:lnTo>
                  <a:lnTo>
                    <a:pt x="2193" y="1628"/>
                  </a:lnTo>
                  <a:lnTo>
                    <a:pt x="2190" y="1628"/>
                  </a:lnTo>
                  <a:lnTo>
                    <a:pt x="2193" y="1629"/>
                  </a:lnTo>
                  <a:lnTo>
                    <a:pt x="2193" y="1629"/>
                  </a:lnTo>
                  <a:lnTo>
                    <a:pt x="2193" y="1628"/>
                  </a:lnTo>
                  <a:lnTo>
                    <a:pt x="2190" y="1628"/>
                  </a:lnTo>
                  <a:lnTo>
                    <a:pt x="2193" y="1629"/>
                  </a:lnTo>
                  <a:lnTo>
                    <a:pt x="2191" y="1628"/>
                  </a:lnTo>
                  <a:lnTo>
                    <a:pt x="2191" y="1629"/>
                  </a:lnTo>
                  <a:lnTo>
                    <a:pt x="2193" y="1629"/>
                  </a:lnTo>
                  <a:lnTo>
                    <a:pt x="2191" y="1628"/>
                  </a:lnTo>
                  <a:lnTo>
                    <a:pt x="2191" y="1629"/>
                  </a:lnTo>
                  <a:lnTo>
                    <a:pt x="2191" y="1629"/>
                  </a:lnTo>
                  <a:lnTo>
                    <a:pt x="2194" y="1628"/>
                  </a:lnTo>
                  <a:lnTo>
                    <a:pt x="2194" y="1628"/>
                  </a:lnTo>
                  <a:lnTo>
                    <a:pt x="2199" y="1625"/>
                  </a:lnTo>
                  <a:lnTo>
                    <a:pt x="2206" y="1622"/>
                  </a:lnTo>
                  <a:lnTo>
                    <a:pt x="2206" y="1622"/>
                  </a:lnTo>
                  <a:lnTo>
                    <a:pt x="2207" y="1619"/>
                  </a:lnTo>
                  <a:lnTo>
                    <a:pt x="2209" y="1615"/>
                  </a:lnTo>
                  <a:lnTo>
                    <a:pt x="2209" y="1615"/>
                  </a:lnTo>
                  <a:lnTo>
                    <a:pt x="2207" y="1612"/>
                  </a:lnTo>
                  <a:lnTo>
                    <a:pt x="2207" y="1612"/>
                  </a:lnTo>
                  <a:lnTo>
                    <a:pt x="2207" y="1611"/>
                  </a:lnTo>
                  <a:lnTo>
                    <a:pt x="2207" y="1611"/>
                  </a:lnTo>
                  <a:lnTo>
                    <a:pt x="2207" y="1611"/>
                  </a:lnTo>
                  <a:lnTo>
                    <a:pt x="2207" y="1611"/>
                  </a:lnTo>
                  <a:lnTo>
                    <a:pt x="2207" y="1611"/>
                  </a:lnTo>
                  <a:lnTo>
                    <a:pt x="2207" y="1611"/>
                  </a:lnTo>
                  <a:lnTo>
                    <a:pt x="2207" y="1611"/>
                  </a:lnTo>
                  <a:lnTo>
                    <a:pt x="2207" y="1611"/>
                  </a:lnTo>
                  <a:lnTo>
                    <a:pt x="2207" y="1611"/>
                  </a:lnTo>
                  <a:lnTo>
                    <a:pt x="2207" y="1611"/>
                  </a:lnTo>
                  <a:lnTo>
                    <a:pt x="2207" y="1611"/>
                  </a:lnTo>
                  <a:lnTo>
                    <a:pt x="2207" y="1611"/>
                  </a:lnTo>
                  <a:lnTo>
                    <a:pt x="2209" y="1609"/>
                  </a:lnTo>
                  <a:lnTo>
                    <a:pt x="2209" y="1609"/>
                  </a:lnTo>
                  <a:lnTo>
                    <a:pt x="2213" y="1599"/>
                  </a:lnTo>
                  <a:lnTo>
                    <a:pt x="2213" y="1599"/>
                  </a:lnTo>
                  <a:lnTo>
                    <a:pt x="2216" y="1589"/>
                  </a:lnTo>
                  <a:lnTo>
                    <a:pt x="2216" y="1589"/>
                  </a:lnTo>
                  <a:lnTo>
                    <a:pt x="2217" y="1586"/>
                  </a:lnTo>
                  <a:lnTo>
                    <a:pt x="2220" y="1583"/>
                  </a:lnTo>
                  <a:lnTo>
                    <a:pt x="2220" y="1583"/>
                  </a:lnTo>
                  <a:lnTo>
                    <a:pt x="2225" y="1580"/>
                  </a:lnTo>
                  <a:lnTo>
                    <a:pt x="2229" y="1579"/>
                  </a:lnTo>
                  <a:lnTo>
                    <a:pt x="2229" y="1579"/>
                  </a:lnTo>
                  <a:lnTo>
                    <a:pt x="2233" y="1579"/>
                  </a:lnTo>
                  <a:lnTo>
                    <a:pt x="2233" y="1579"/>
                  </a:lnTo>
                  <a:lnTo>
                    <a:pt x="2235" y="1577"/>
                  </a:lnTo>
                  <a:lnTo>
                    <a:pt x="2235" y="1577"/>
                  </a:lnTo>
                  <a:lnTo>
                    <a:pt x="2238" y="1574"/>
                  </a:lnTo>
                  <a:lnTo>
                    <a:pt x="2238" y="1574"/>
                  </a:lnTo>
                  <a:lnTo>
                    <a:pt x="2239" y="1569"/>
                  </a:lnTo>
                  <a:lnTo>
                    <a:pt x="2239" y="1569"/>
                  </a:lnTo>
                  <a:lnTo>
                    <a:pt x="2241" y="1561"/>
                  </a:lnTo>
                  <a:lnTo>
                    <a:pt x="2243" y="1558"/>
                  </a:lnTo>
                  <a:lnTo>
                    <a:pt x="2243" y="1558"/>
                  </a:lnTo>
                  <a:lnTo>
                    <a:pt x="2245" y="1556"/>
                  </a:lnTo>
                  <a:lnTo>
                    <a:pt x="2245" y="1556"/>
                  </a:lnTo>
                  <a:lnTo>
                    <a:pt x="2245" y="1553"/>
                  </a:lnTo>
                  <a:lnTo>
                    <a:pt x="2245" y="1553"/>
                  </a:lnTo>
                  <a:lnTo>
                    <a:pt x="2243" y="1544"/>
                  </a:lnTo>
                  <a:lnTo>
                    <a:pt x="2243" y="1544"/>
                  </a:lnTo>
                  <a:lnTo>
                    <a:pt x="2242" y="1541"/>
                  </a:lnTo>
                  <a:lnTo>
                    <a:pt x="2242" y="1541"/>
                  </a:lnTo>
                  <a:lnTo>
                    <a:pt x="2239" y="1540"/>
                  </a:lnTo>
                  <a:lnTo>
                    <a:pt x="2239" y="1540"/>
                  </a:lnTo>
                  <a:lnTo>
                    <a:pt x="2232" y="1538"/>
                  </a:lnTo>
                  <a:lnTo>
                    <a:pt x="2232" y="1538"/>
                  </a:lnTo>
                  <a:lnTo>
                    <a:pt x="2228" y="1537"/>
                  </a:lnTo>
                  <a:lnTo>
                    <a:pt x="2228" y="1537"/>
                  </a:lnTo>
                  <a:lnTo>
                    <a:pt x="2228" y="1537"/>
                  </a:lnTo>
                  <a:lnTo>
                    <a:pt x="2228" y="1537"/>
                  </a:lnTo>
                  <a:lnTo>
                    <a:pt x="2228" y="1537"/>
                  </a:lnTo>
                  <a:lnTo>
                    <a:pt x="2228" y="1537"/>
                  </a:lnTo>
                  <a:lnTo>
                    <a:pt x="2228" y="1537"/>
                  </a:lnTo>
                  <a:lnTo>
                    <a:pt x="2228" y="1537"/>
                  </a:lnTo>
                  <a:lnTo>
                    <a:pt x="2228" y="1537"/>
                  </a:lnTo>
                  <a:lnTo>
                    <a:pt x="2228" y="1537"/>
                  </a:lnTo>
                  <a:lnTo>
                    <a:pt x="2228" y="1537"/>
                  </a:lnTo>
                  <a:lnTo>
                    <a:pt x="2228" y="1537"/>
                  </a:lnTo>
                  <a:lnTo>
                    <a:pt x="2230" y="1535"/>
                  </a:lnTo>
                  <a:lnTo>
                    <a:pt x="2230" y="1535"/>
                  </a:lnTo>
                  <a:lnTo>
                    <a:pt x="2236" y="1528"/>
                  </a:lnTo>
                  <a:lnTo>
                    <a:pt x="2236" y="1528"/>
                  </a:lnTo>
                  <a:lnTo>
                    <a:pt x="2239" y="1525"/>
                  </a:lnTo>
                  <a:lnTo>
                    <a:pt x="2241" y="1524"/>
                  </a:lnTo>
                  <a:lnTo>
                    <a:pt x="2241" y="1524"/>
                  </a:lnTo>
                  <a:lnTo>
                    <a:pt x="2242" y="1522"/>
                  </a:lnTo>
                  <a:lnTo>
                    <a:pt x="2242" y="1522"/>
                  </a:lnTo>
                  <a:lnTo>
                    <a:pt x="2242" y="1522"/>
                  </a:lnTo>
                  <a:lnTo>
                    <a:pt x="2242" y="1521"/>
                  </a:lnTo>
                  <a:lnTo>
                    <a:pt x="2242" y="1521"/>
                  </a:lnTo>
                  <a:lnTo>
                    <a:pt x="2241" y="1518"/>
                  </a:lnTo>
                  <a:lnTo>
                    <a:pt x="2241" y="1518"/>
                  </a:lnTo>
                  <a:lnTo>
                    <a:pt x="2235" y="1511"/>
                  </a:lnTo>
                  <a:lnTo>
                    <a:pt x="2235" y="1511"/>
                  </a:lnTo>
                  <a:lnTo>
                    <a:pt x="2233" y="1511"/>
                  </a:lnTo>
                  <a:lnTo>
                    <a:pt x="2236" y="1511"/>
                  </a:lnTo>
                  <a:lnTo>
                    <a:pt x="2236" y="1511"/>
                  </a:lnTo>
                  <a:lnTo>
                    <a:pt x="2235" y="1511"/>
                  </a:lnTo>
                  <a:lnTo>
                    <a:pt x="2233" y="1511"/>
                  </a:lnTo>
                  <a:lnTo>
                    <a:pt x="2236" y="1511"/>
                  </a:lnTo>
                  <a:lnTo>
                    <a:pt x="2233" y="1511"/>
                  </a:lnTo>
                  <a:lnTo>
                    <a:pt x="2235" y="1512"/>
                  </a:lnTo>
                  <a:lnTo>
                    <a:pt x="2235" y="1512"/>
                  </a:lnTo>
                  <a:lnTo>
                    <a:pt x="2236" y="1511"/>
                  </a:lnTo>
                  <a:lnTo>
                    <a:pt x="2233" y="1511"/>
                  </a:lnTo>
                  <a:lnTo>
                    <a:pt x="2235" y="1512"/>
                  </a:lnTo>
                  <a:lnTo>
                    <a:pt x="2235" y="1512"/>
                  </a:lnTo>
                  <a:lnTo>
                    <a:pt x="2235" y="1512"/>
                  </a:lnTo>
                  <a:lnTo>
                    <a:pt x="2235" y="1512"/>
                  </a:lnTo>
                  <a:lnTo>
                    <a:pt x="2235" y="1512"/>
                  </a:lnTo>
                  <a:lnTo>
                    <a:pt x="2235" y="1512"/>
                  </a:lnTo>
                  <a:lnTo>
                    <a:pt x="2235" y="1512"/>
                  </a:lnTo>
                  <a:lnTo>
                    <a:pt x="2236" y="1512"/>
                  </a:lnTo>
                  <a:lnTo>
                    <a:pt x="2236" y="1512"/>
                  </a:lnTo>
                  <a:lnTo>
                    <a:pt x="2238" y="1511"/>
                  </a:lnTo>
                  <a:lnTo>
                    <a:pt x="2238" y="1511"/>
                  </a:lnTo>
                  <a:lnTo>
                    <a:pt x="2239" y="1508"/>
                  </a:lnTo>
                  <a:lnTo>
                    <a:pt x="2239" y="1506"/>
                  </a:lnTo>
                  <a:lnTo>
                    <a:pt x="2239" y="1506"/>
                  </a:lnTo>
                  <a:lnTo>
                    <a:pt x="2238" y="1502"/>
                  </a:lnTo>
                  <a:lnTo>
                    <a:pt x="2238" y="1502"/>
                  </a:lnTo>
                  <a:lnTo>
                    <a:pt x="2235" y="1496"/>
                  </a:lnTo>
                  <a:lnTo>
                    <a:pt x="2235" y="1496"/>
                  </a:lnTo>
                  <a:lnTo>
                    <a:pt x="2233" y="1493"/>
                  </a:lnTo>
                  <a:lnTo>
                    <a:pt x="2230" y="1492"/>
                  </a:lnTo>
                  <a:lnTo>
                    <a:pt x="2230" y="1492"/>
                  </a:lnTo>
                  <a:lnTo>
                    <a:pt x="2223" y="1485"/>
                  </a:lnTo>
                  <a:lnTo>
                    <a:pt x="2223" y="1485"/>
                  </a:lnTo>
                  <a:lnTo>
                    <a:pt x="2219" y="1480"/>
                  </a:lnTo>
                  <a:lnTo>
                    <a:pt x="2217" y="1476"/>
                  </a:lnTo>
                  <a:lnTo>
                    <a:pt x="2217" y="1476"/>
                  </a:lnTo>
                  <a:lnTo>
                    <a:pt x="2212" y="1461"/>
                  </a:lnTo>
                  <a:lnTo>
                    <a:pt x="2212" y="1461"/>
                  </a:lnTo>
                  <a:lnTo>
                    <a:pt x="2207" y="1454"/>
                  </a:lnTo>
                  <a:lnTo>
                    <a:pt x="2207" y="1454"/>
                  </a:lnTo>
                  <a:lnTo>
                    <a:pt x="2203" y="1450"/>
                  </a:lnTo>
                  <a:lnTo>
                    <a:pt x="2203" y="1450"/>
                  </a:lnTo>
                  <a:lnTo>
                    <a:pt x="2201" y="1448"/>
                  </a:lnTo>
                  <a:lnTo>
                    <a:pt x="2200" y="1447"/>
                  </a:lnTo>
                  <a:lnTo>
                    <a:pt x="2200" y="1447"/>
                  </a:lnTo>
                  <a:lnTo>
                    <a:pt x="2201" y="1444"/>
                  </a:lnTo>
                  <a:lnTo>
                    <a:pt x="2203" y="1443"/>
                  </a:lnTo>
                  <a:lnTo>
                    <a:pt x="2203" y="1443"/>
                  </a:lnTo>
                  <a:lnTo>
                    <a:pt x="2210" y="1435"/>
                  </a:lnTo>
                  <a:lnTo>
                    <a:pt x="2210" y="1435"/>
                  </a:lnTo>
                  <a:lnTo>
                    <a:pt x="2216" y="1427"/>
                  </a:lnTo>
                  <a:lnTo>
                    <a:pt x="2216" y="1427"/>
                  </a:lnTo>
                  <a:lnTo>
                    <a:pt x="2220" y="1421"/>
                  </a:lnTo>
                  <a:lnTo>
                    <a:pt x="2220" y="1421"/>
                  </a:lnTo>
                  <a:lnTo>
                    <a:pt x="2223" y="1418"/>
                  </a:lnTo>
                  <a:lnTo>
                    <a:pt x="2226" y="1417"/>
                  </a:lnTo>
                  <a:lnTo>
                    <a:pt x="2226" y="1417"/>
                  </a:lnTo>
                  <a:lnTo>
                    <a:pt x="2238" y="1415"/>
                  </a:lnTo>
                  <a:lnTo>
                    <a:pt x="2251" y="1412"/>
                  </a:lnTo>
                  <a:lnTo>
                    <a:pt x="2251" y="1412"/>
                  </a:lnTo>
                  <a:lnTo>
                    <a:pt x="2256" y="1411"/>
                  </a:lnTo>
                  <a:lnTo>
                    <a:pt x="2256" y="1411"/>
                  </a:lnTo>
                  <a:lnTo>
                    <a:pt x="2258" y="1408"/>
                  </a:lnTo>
                  <a:lnTo>
                    <a:pt x="2258" y="1406"/>
                  </a:lnTo>
                  <a:lnTo>
                    <a:pt x="2258" y="1406"/>
                  </a:lnTo>
                  <a:lnTo>
                    <a:pt x="2258" y="1404"/>
                  </a:lnTo>
                  <a:lnTo>
                    <a:pt x="2258" y="1404"/>
                  </a:lnTo>
                  <a:lnTo>
                    <a:pt x="2254" y="1401"/>
                  </a:lnTo>
                  <a:lnTo>
                    <a:pt x="2254" y="1401"/>
                  </a:lnTo>
                  <a:lnTo>
                    <a:pt x="2248" y="1399"/>
                  </a:lnTo>
                  <a:lnTo>
                    <a:pt x="2248" y="1399"/>
                  </a:lnTo>
                  <a:lnTo>
                    <a:pt x="2242" y="1399"/>
                  </a:lnTo>
                  <a:lnTo>
                    <a:pt x="2236" y="1398"/>
                  </a:lnTo>
                  <a:lnTo>
                    <a:pt x="2226" y="1393"/>
                  </a:lnTo>
                  <a:lnTo>
                    <a:pt x="2226" y="1393"/>
                  </a:lnTo>
                  <a:lnTo>
                    <a:pt x="2223" y="1393"/>
                  </a:lnTo>
                  <a:lnTo>
                    <a:pt x="2223" y="1393"/>
                  </a:lnTo>
                  <a:lnTo>
                    <a:pt x="2216" y="1393"/>
                  </a:lnTo>
                  <a:lnTo>
                    <a:pt x="2216" y="1393"/>
                  </a:lnTo>
                  <a:lnTo>
                    <a:pt x="2206" y="1399"/>
                  </a:lnTo>
                  <a:lnTo>
                    <a:pt x="2199" y="1402"/>
                  </a:lnTo>
                  <a:lnTo>
                    <a:pt x="2199" y="1402"/>
                  </a:lnTo>
                  <a:lnTo>
                    <a:pt x="2199" y="1402"/>
                  </a:lnTo>
                  <a:lnTo>
                    <a:pt x="2197" y="1402"/>
                  </a:lnTo>
                  <a:lnTo>
                    <a:pt x="2197" y="1402"/>
                  </a:lnTo>
                  <a:lnTo>
                    <a:pt x="2194" y="1399"/>
                  </a:lnTo>
                  <a:lnTo>
                    <a:pt x="2190" y="1393"/>
                  </a:lnTo>
                  <a:lnTo>
                    <a:pt x="2190" y="1393"/>
                  </a:lnTo>
                  <a:lnTo>
                    <a:pt x="2187" y="1388"/>
                  </a:lnTo>
                  <a:lnTo>
                    <a:pt x="2183" y="1383"/>
                  </a:lnTo>
                  <a:lnTo>
                    <a:pt x="2183" y="1383"/>
                  </a:lnTo>
                  <a:lnTo>
                    <a:pt x="2174" y="1373"/>
                  </a:lnTo>
                  <a:lnTo>
                    <a:pt x="2174" y="1373"/>
                  </a:lnTo>
                  <a:lnTo>
                    <a:pt x="2172" y="1370"/>
                  </a:lnTo>
                  <a:lnTo>
                    <a:pt x="2172" y="1370"/>
                  </a:lnTo>
                  <a:lnTo>
                    <a:pt x="2171" y="1369"/>
                  </a:lnTo>
                  <a:lnTo>
                    <a:pt x="2171" y="1369"/>
                  </a:lnTo>
                  <a:lnTo>
                    <a:pt x="2171" y="1369"/>
                  </a:lnTo>
                  <a:lnTo>
                    <a:pt x="2171" y="1369"/>
                  </a:lnTo>
                  <a:lnTo>
                    <a:pt x="2171" y="1369"/>
                  </a:lnTo>
                  <a:lnTo>
                    <a:pt x="2171" y="1369"/>
                  </a:lnTo>
                  <a:lnTo>
                    <a:pt x="2171" y="1369"/>
                  </a:lnTo>
                  <a:lnTo>
                    <a:pt x="2171" y="1369"/>
                  </a:lnTo>
                  <a:lnTo>
                    <a:pt x="2175" y="1367"/>
                  </a:lnTo>
                  <a:lnTo>
                    <a:pt x="2175" y="1367"/>
                  </a:lnTo>
                  <a:lnTo>
                    <a:pt x="2186" y="1366"/>
                  </a:lnTo>
                  <a:lnTo>
                    <a:pt x="2196" y="1364"/>
                  </a:lnTo>
                  <a:lnTo>
                    <a:pt x="2196" y="1364"/>
                  </a:lnTo>
                  <a:lnTo>
                    <a:pt x="2199" y="1364"/>
                  </a:lnTo>
                  <a:lnTo>
                    <a:pt x="2200" y="1363"/>
                  </a:lnTo>
                  <a:lnTo>
                    <a:pt x="2200" y="1363"/>
                  </a:lnTo>
                  <a:lnTo>
                    <a:pt x="2201" y="1359"/>
                  </a:lnTo>
                  <a:lnTo>
                    <a:pt x="2201" y="1359"/>
                  </a:lnTo>
                  <a:lnTo>
                    <a:pt x="2201" y="1354"/>
                  </a:lnTo>
                  <a:lnTo>
                    <a:pt x="2201" y="1354"/>
                  </a:lnTo>
                  <a:lnTo>
                    <a:pt x="2203" y="1351"/>
                  </a:lnTo>
                  <a:lnTo>
                    <a:pt x="2203" y="1351"/>
                  </a:lnTo>
                  <a:lnTo>
                    <a:pt x="2209" y="1347"/>
                  </a:lnTo>
                  <a:lnTo>
                    <a:pt x="2209" y="1347"/>
                  </a:lnTo>
                  <a:lnTo>
                    <a:pt x="2230" y="1331"/>
                  </a:lnTo>
                  <a:lnTo>
                    <a:pt x="2230" y="1331"/>
                  </a:lnTo>
                  <a:lnTo>
                    <a:pt x="2233" y="1331"/>
                  </a:lnTo>
                  <a:lnTo>
                    <a:pt x="2233" y="1331"/>
                  </a:lnTo>
                  <a:lnTo>
                    <a:pt x="2236" y="1331"/>
                  </a:lnTo>
                  <a:lnTo>
                    <a:pt x="2236" y="1331"/>
                  </a:lnTo>
                  <a:lnTo>
                    <a:pt x="2239" y="1331"/>
                  </a:lnTo>
                  <a:lnTo>
                    <a:pt x="2239" y="1331"/>
                  </a:lnTo>
                  <a:lnTo>
                    <a:pt x="2239" y="1333"/>
                  </a:lnTo>
                  <a:lnTo>
                    <a:pt x="2241" y="1335"/>
                  </a:lnTo>
                  <a:lnTo>
                    <a:pt x="2241" y="1337"/>
                  </a:lnTo>
                  <a:lnTo>
                    <a:pt x="2241" y="1337"/>
                  </a:lnTo>
                  <a:lnTo>
                    <a:pt x="2239" y="1338"/>
                  </a:lnTo>
                  <a:lnTo>
                    <a:pt x="2238" y="1341"/>
                  </a:lnTo>
                  <a:lnTo>
                    <a:pt x="2238" y="1341"/>
                  </a:lnTo>
                  <a:lnTo>
                    <a:pt x="2233" y="1347"/>
                  </a:lnTo>
                  <a:lnTo>
                    <a:pt x="2233" y="1347"/>
                  </a:lnTo>
                  <a:lnTo>
                    <a:pt x="2230" y="1350"/>
                  </a:lnTo>
                  <a:lnTo>
                    <a:pt x="2230" y="1350"/>
                  </a:lnTo>
                  <a:lnTo>
                    <a:pt x="2230" y="1353"/>
                  </a:lnTo>
                  <a:lnTo>
                    <a:pt x="2230" y="1353"/>
                  </a:lnTo>
                  <a:lnTo>
                    <a:pt x="2230" y="1356"/>
                  </a:lnTo>
                  <a:lnTo>
                    <a:pt x="2230" y="1356"/>
                  </a:lnTo>
                  <a:lnTo>
                    <a:pt x="2232" y="1359"/>
                  </a:lnTo>
                  <a:lnTo>
                    <a:pt x="2232" y="1359"/>
                  </a:lnTo>
                  <a:lnTo>
                    <a:pt x="2232" y="1360"/>
                  </a:lnTo>
                  <a:lnTo>
                    <a:pt x="2232" y="1360"/>
                  </a:lnTo>
                  <a:lnTo>
                    <a:pt x="2232" y="1366"/>
                  </a:lnTo>
                  <a:lnTo>
                    <a:pt x="2232" y="1366"/>
                  </a:lnTo>
                  <a:lnTo>
                    <a:pt x="2232" y="1369"/>
                  </a:lnTo>
                  <a:lnTo>
                    <a:pt x="2232" y="1369"/>
                  </a:lnTo>
                  <a:lnTo>
                    <a:pt x="2233" y="1370"/>
                  </a:lnTo>
                  <a:lnTo>
                    <a:pt x="2233" y="1370"/>
                  </a:lnTo>
                  <a:lnTo>
                    <a:pt x="2236" y="1372"/>
                  </a:lnTo>
                  <a:lnTo>
                    <a:pt x="2236" y="1372"/>
                  </a:lnTo>
                  <a:lnTo>
                    <a:pt x="2239" y="1370"/>
                  </a:lnTo>
                  <a:lnTo>
                    <a:pt x="2239" y="1370"/>
                  </a:lnTo>
                  <a:lnTo>
                    <a:pt x="2252" y="1363"/>
                  </a:lnTo>
                  <a:lnTo>
                    <a:pt x="2252" y="1363"/>
                  </a:lnTo>
                  <a:lnTo>
                    <a:pt x="2259" y="1359"/>
                  </a:lnTo>
                  <a:lnTo>
                    <a:pt x="2259" y="1359"/>
                  </a:lnTo>
                  <a:lnTo>
                    <a:pt x="2265" y="1357"/>
                  </a:lnTo>
                  <a:lnTo>
                    <a:pt x="2265" y="1357"/>
                  </a:lnTo>
                  <a:lnTo>
                    <a:pt x="2274" y="1356"/>
                  </a:lnTo>
                  <a:lnTo>
                    <a:pt x="2274" y="1356"/>
                  </a:lnTo>
                  <a:lnTo>
                    <a:pt x="2278" y="1354"/>
                  </a:lnTo>
                  <a:lnTo>
                    <a:pt x="2278" y="1354"/>
                  </a:lnTo>
                  <a:lnTo>
                    <a:pt x="2280" y="1354"/>
                  </a:lnTo>
                  <a:lnTo>
                    <a:pt x="2280" y="1354"/>
                  </a:lnTo>
                  <a:lnTo>
                    <a:pt x="2281" y="1357"/>
                  </a:lnTo>
                  <a:lnTo>
                    <a:pt x="2284" y="1359"/>
                  </a:lnTo>
                  <a:lnTo>
                    <a:pt x="2284" y="1359"/>
                  </a:lnTo>
                  <a:lnTo>
                    <a:pt x="2288" y="1359"/>
                  </a:lnTo>
                  <a:lnTo>
                    <a:pt x="2288" y="1359"/>
                  </a:lnTo>
                  <a:lnTo>
                    <a:pt x="2293" y="1359"/>
                  </a:lnTo>
                  <a:lnTo>
                    <a:pt x="2293" y="1357"/>
                  </a:lnTo>
                  <a:lnTo>
                    <a:pt x="2291" y="1359"/>
                  </a:lnTo>
                  <a:lnTo>
                    <a:pt x="2293" y="1359"/>
                  </a:lnTo>
                  <a:lnTo>
                    <a:pt x="2293" y="1357"/>
                  </a:lnTo>
                  <a:lnTo>
                    <a:pt x="2291" y="1359"/>
                  </a:lnTo>
                  <a:lnTo>
                    <a:pt x="2293" y="1357"/>
                  </a:lnTo>
                  <a:lnTo>
                    <a:pt x="2291" y="1357"/>
                  </a:lnTo>
                  <a:lnTo>
                    <a:pt x="2291" y="1357"/>
                  </a:lnTo>
                  <a:lnTo>
                    <a:pt x="2291" y="1359"/>
                  </a:lnTo>
                  <a:lnTo>
                    <a:pt x="2293" y="1357"/>
                  </a:lnTo>
                  <a:lnTo>
                    <a:pt x="2291" y="1357"/>
                  </a:lnTo>
                  <a:lnTo>
                    <a:pt x="2291" y="1357"/>
                  </a:lnTo>
                  <a:lnTo>
                    <a:pt x="2290" y="1357"/>
                  </a:lnTo>
                  <a:lnTo>
                    <a:pt x="2291" y="1357"/>
                  </a:lnTo>
                  <a:lnTo>
                    <a:pt x="2291" y="1357"/>
                  </a:lnTo>
                  <a:lnTo>
                    <a:pt x="2290" y="1357"/>
                  </a:lnTo>
                  <a:lnTo>
                    <a:pt x="2290" y="1357"/>
                  </a:lnTo>
                  <a:lnTo>
                    <a:pt x="2290" y="1357"/>
                  </a:lnTo>
                  <a:lnTo>
                    <a:pt x="2290" y="1362"/>
                  </a:lnTo>
                  <a:lnTo>
                    <a:pt x="2290" y="1362"/>
                  </a:lnTo>
                  <a:lnTo>
                    <a:pt x="2288" y="1367"/>
                  </a:lnTo>
                  <a:lnTo>
                    <a:pt x="2288" y="1367"/>
                  </a:lnTo>
                  <a:lnTo>
                    <a:pt x="2288" y="1370"/>
                  </a:lnTo>
                  <a:lnTo>
                    <a:pt x="2288" y="1370"/>
                  </a:lnTo>
                  <a:lnTo>
                    <a:pt x="2288" y="1370"/>
                  </a:lnTo>
                  <a:lnTo>
                    <a:pt x="2288" y="1370"/>
                  </a:lnTo>
                  <a:lnTo>
                    <a:pt x="2288" y="1373"/>
                  </a:lnTo>
                  <a:lnTo>
                    <a:pt x="2285" y="1377"/>
                  </a:lnTo>
                  <a:lnTo>
                    <a:pt x="2285" y="1377"/>
                  </a:lnTo>
                  <a:lnTo>
                    <a:pt x="2283" y="1382"/>
                  </a:lnTo>
                  <a:lnTo>
                    <a:pt x="2283" y="1382"/>
                  </a:lnTo>
                  <a:lnTo>
                    <a:pt x="2281" y="1385"/>
                  </a:lnTo>
                  <a:lnTo>
                    <a:pt x="2284" y="1386"/>
                  </a:lnTo>
                  <a:lnTo>
                    <a:pt x="2281" y="1385"/>
                  </a:lnTo>
                  <a:lnTo>
                    <a:pt x="2281" y="1386"/>
                  </a:lnTo>
                  <a:lnTo>
                    <a:pt x="2281" y="1386"/>
                  </a:lnTo>
                  <a:lnTo>
                    <a:pt x="2283" y="1388"/>
                  </a:lnTo>
                  <a:lnTo>
                    <a:pt x="2283" y="1388"/>
                  </a:lnTo>
                  <a:lnTo>
                    <a:pt x="2285" y="1389"/>
                  </a:lnTo>
                  <a:lnTo>
                    <a:pt x="2285" y="1389"/>
                  </a:lnTo>
                  <a:lnTo>
                    <a:pt x="2301" y="1395"/>
                  </a:lnTo>
                  <a:lnTo>
                    <a:pt x="2301" y="1395"/>
                  </a:lnTo>
                  <a:lnTo>
                    <a:pt x="2309" y="1396"/>
                  </a:lnTo>
                  <a:lnTo>
                    <a:pt x="2309" y="1396"/>
                  </a:lnTo>
                  <a:lnTo>
                    <a:pt x="2312" y="1396"/>
                  </a:lnTo>
                  <a:lnTo>
                    <a:pt x="2313" y="1396"/>
                  </a:lnTo>
                  <a:lnTo>
                    <a:pt x="2313" y="1396"/>
                  </a:lnTo>
                  <a:lnTo>
                    <a:pt x="2313" y="1396"/>
                  </a:lnTo>
                  <a:lnTo>
                    <a:pt x="2313" y="1396"/>
                  </a:lnTo>
                  <a:lnTo>
                    <a:pt x="2313" y="1396"/>
                  </a:lnTo>
                  <a:lnTo>
                    <a:pt x="2313" y="1396"/>
                  </a:lnTo>
                  <a:lnTo>
                    <a:pt x="2313" y="1396"/>
                  </a:lnTo>
                  <a:lnTo>
                    <a:pt x="2313" y="1396"/>
                  </a:lnTo>
                  <a:lnTo>
                    <a:pt x="2313" y="1396"/>
                  </a:lnTo>
                  <a:lnTo>
                    <a:pt x="2313" y="1396"/>
                  </a:lnTo>
                  <a:lnTo>
                    <a:pt x="2313" y="1396"/>
                  </a:lnTo>
                  <a:lnTo>
                    <a:pt x="2313" y="1396"/>
                  </a:lnTo>
                  <a:lnTo>
                    <a:pt x="2313" y="1396"/>
                  </a:lnTo>
                  <a:lnTo>
                    <a:pt x="2313" y="1398"/>
                  </a:lnTo>
                  <a:lnTo>
                    <a:pt x="2313" y="1398"/>
                  </a:lnTo>
                  <a:lnTo>
                    <a:pt x="2316" y="1404"/>
                  </a:lnTo>
                  <a:lnTo>
                    <a:pt x="2316" y="1404"/>
                  </a:lnTo>
                  <a:lnTo>
                    <a:pt x="2316" y="1406"/>
                  </a:lnTo>
                  <a:lnTo>
                    <a:pt x="2316" y="1408"/>
                  </a:lnTo>
                  <a:lnTo>
                    <a:pt x="2316" y="1408"/>
                  </a:lnTo>
                  <a:lnTo>
                    <a:pt x="2316" y="1408"/>
                  </a:lnTo>
                  <a:lnTo>
                    <a:pt x="2316" y="1408"/>
                  </a:lnTo>
                  <a:lnTo>
                    <a:pt x="2316" y="1408"/>
                  </a:lnTo>
                  <a:lnTo>
                    <a:pt x="2316" y="1408"/>
                  </a:lnTo>
                  <a:lnTo>
                    <a:pt x="2316" y="1408"/>
                  </a:lnTo>
                  <a:lnTo>
                    <a:pt x="2316" y="1408"/>
                  </a:lnTo>
                  <a:lnTo>
                    <a:pt x="2317" y="1408"/>
                  </a:lnTo>
                  <a:lnTo>
                    <a:pt x="2316" y="1408"/>
                  </a:lnTo>
                  <a:lnTo>
                    <a:pt x="2316" y="1408"/>
                  </a:lnTo>
                  <a:lnTo>
                    <a:pt x="2317" y="1408"/>
                  </a:lnTo>
                  <a:lnTo>
                    <a:pt x="2316" y="1408"/>
                  </a:lnTo>
                  <a:lnTo>
                    <a:pt x="2317" y="1408"/>
                  </a:lnTo>
                  <a:lnTo>
                    <a:pt x="2317" y="1406"/>
                  </a:lnTo>
                  <a:lnTo>
                    <a:pt x="2316" y="1408"/>
                  </a:lnTo>
                  <a:lnTo>
                    <a:pt x="2317" y="1408"/>
                  </a:lnTo>
                  <a:lnTo>
                    <a:pt x="2317" y="1406"/>
                  </a:lnTo>
                  <a:lnTo>
                    <a:pt x="2317" y="1408"/>
                  </a:lnTo>
                  <a:lnTo>
                    <a:pt x="2317" y="1408"/>
                  </a:lnTo>
                  <a:lnTo>
                    <a:pt x="2317" y="1406"/>
                  </a:lnTo>
                  <a:lnTo>
                    <a:pt x="2317" y="1408"/>
                  </a:lnTo>
                  <a:lnTo>
                    <a:pt x="2317" y="1408"/>
                  </a:lnTo>
                  <a:lnTo>
                    <a:pt x="2317" y="1408"/>
                  </a:lnTo>
                  <a:lnTo>
                    <a:pt x="2316" y="1406"/>
                  </a:lnTo>
                  <a:lnTo>
                    <a:pt x="2316" y="1406"/>
                  </a:lnTo>
                  <a:lnTo>
                    <a:pt x="2312" y="1406"/>
                  </a:lnTo>
                  <a:lnTo>
                    <a:pt x="2312" y="1406"/>
                  </a:lnTo>
                  <a:lnTo>
                    <a:pt x="2309" y="1406"/>
                  </a:lnTo>
                  <a:lnTo>
                    <a:pt x="2309" y="1406"/>
                  </a:lnTo>
                  <a:lnTo>
                    <a:pt x="2307" y="1409"/>
                  </a:lnTo>
                  <a:lnTo>
                    <a:pt x="2307" y="1409"/>
                  </a:lnTo>
                  <a:lnTo>
                    <a:pt x="2307" y="1411"/>
                  </a:lnTo>
                  <a:lnTo>
                    <a:pt x="2307" y="1411"/>
                  </a:lnTo>
                  <a:lnTo>
                    <a:pt x="2307" y="1417"/>
                  </a:lnTo>
                  <a:lnTo>
                    <a:pt x="2309" y="1421"/>
                  </a:lnTo>
                  <a:lnTo>
                    <a:pt x="2309" y="1421"/>
                  </a:lnTo>
                  <a:lnTo>
                    <a:pt x="2313" y="1430"/>
                  </a:lnTo>
                  <a:lnTo>
                    <a:pt x="2313" y="1430"/>
                  </a:lnTo>
                  <a:lnTo>
                    <a:pt x="2313" y="1430"/>
                  </a:lnTo>
                  <a:lnTo>
                    <a:pt x="2313" y="1430"/>
                  </a:lnTo>
                  <a:lnTo>
                    <a:pt x="2313" y="1430"/>
                  </a:lnTo>
                  <a:lnTo>
                    <a:pt x="2313" y="1430"/>
                  </a:lnTo>
                  <a:lnTo>
                    <a:pt x="2313" y="1430"/>
                  </a:lnTo>
                  <a:lnTo>
                    <a:pt x="2313" y="1430"/>
                  </a:lnTo>
                  <a:lnTo>
                    <a:pt x="2312" y="1432"/>
                  </a:lnTo>
                  <a:lnTo>
                    <a:pt x="2312" y="1432"/>
                  </a:lnTo>
                  <a:lnTo>
                    <a:pt x="2309" y="1438"/>
                  </a:lnTo>
                  <a:lnTo>
                    <a:pt x="2309" y="1438"/>
                  </a:lnTo>
                  <a:lnTo>
                    <a:pt x="2306" y="1446"/>
                  </a:lnTo>
                  <a:lnTo>
                    <a:pt x="2306" y="1446"/>
                  </a:lnTo>
                  <a:lnTo>
                    <a:pt x="2306" y="1450"/>
                  </a:lnTo>
                  <a:lnTo>
                    <a:pt x="2306" y="1450"/>
                  </a:lnTo>
                  <a:lnTo>
                    <a:pt x="2306" y="1454"/>
                  </a:lnTo>
                  <a:lnTo>
                    <a:pt x="2307" y="1459"/>
                  </a:lnTo>
                  <a:lnTo>
                    <a:pt x="2307" y="1459"/>
                  </a:lnTo>
                  <a:lnTo>
                    <a:pt x="2310" y="1461"/>
                  </a:lnTo>
                  <a:lnTo>
                    <a:pt x="2310" y="1461"/>
                  </a:lnTo>
                  <a:lnTo>
                    <a:pt x="2313" y="1464"/>
                  </a:lnTo>
                  <a:lnTo>
                    <a:pt x="2313" y="1464"/>
                  </a:lnTo>
                  <a:lnTo>
                    <a:pt x="2314" y="1464"/>
                  </a:lnTo>
                  <a:lnTo>
                    <a:pt x="2314" y="1464"/>
                  </a:lnTo>
                  <a:lnTo>
                    <a:pt x="2317" y="1463"/>
                  </a:lnTo>
                  <a:lnTo>
                    <a:pt x="2319" y="1463"/>
                  </a:lnTo>
                  <a:lnTo>
                    <a:pt x="2319" y="1463"/>
                  </a:lnTo>
                  <a:lnTo>
                    <a:pt x="2326" y="1457"/>
                  </a:lnTo>
                  <a:lnTo>
                    <a:pt x="2326" y="1457"/>
                  </a:lnTo>
                  <a:lnTo>
                    <a:pt x="2329" y="1454"/>
                  </a:lnTo>
                  <a:lnTo>
                    <a:pt x="2329" y="1454"/>
                  </a:lnTo>
                  <a:lnTo>
                    <a:pt x="2332" y="1454"/>
                  </a:lnTo>
                  <a:lnTo>
                    <a:pt x="2332" y="1454"/>
                  </a:lnTo>
                  <a:lnTo>
                    <a:pt x="2338" y="1453"/>
                  </a:lnTo>
                  <a:lnTo>
                    <a:pt x="2338" y="1453"/>
                  </a:lnTo>
                  <a:lnTo>
                    <a:pt x="2343" y="1453"/>
                  </a:lnTo>
                  <a:lnTo>
                    <a:pt x="2343" y="1453"/>
                  </a:lnTo>
                  <a:lnTo>
                    <a:pt x="2343" y="1453"/>
                  </a:lnTo>
                  <a:lnTo>
                    <a:pt x="2346" y="1453"/>
                  </a:lnTo>
                  <a:lnTo>
                    <a:pt x="2348" y="1451"/>
                  </a:lnTo>
                  <a:lnTo>
                    <a:pt x="2348" y="1451"/>
                  </a:lnTo>
                  <a:lnTo>
                    <a:pt x="2354" y="1446"/>
                  </a:lnTo>
                  <a:lnTo>
                    <a:pt x="2354" y="1446"/>
                  </a:lnTo>
                  <a:lnTo>
                    <a:pt x="2358" y="1440"/>
                  </a:lnTo>
                  <a:lnTo>
                    <a:pt x="2358" y="1440"/>
                  </a:lnTo>
                  <a:lnTo>
                    <a:pt x="2361" y="1437"/>
                  </a:lnTo>
                  <a:lnTo>
                    <a:pt x="2361" y="1432"/>
                  </a:lnTo>
                  <a:lnTo>
                    <a:pt x="2361" y="1432"/>
                  </a:lnTo>
                  <a:lnTo>
                    <a:pt x="2359" y="1425"/>
                  </a:lnTo>
                  <a:lnTo>
                    <a:pt x="2358" y="1418"/>
                  </a:lnTo>
                  <a:lnTo>
                    <a:pt x="2358" y="1418"/>
                  </a:lnTo>
                  <a:lnTo>
                    <a:pt x="2356" y="1405"/>
                  </a:lnTo>
                  <a:lnTo>
                    <a:pt x="2356" y="1405"/>
                  </a:lnTo>
                  <a:lnTo>
                    <a:pt x="2355" y="1396"/>
                  </a:lnTo>
                  <a:lnTo>
                    <a:pt x="2355" y="1396"/>
                  </a:lnTo>
                  <a:lnTo>
                    <a:pt x="2354" y="1390"/>
                  </a:lnTo>
                  <a:lnTo>
                    <a:pt x="2354" y="1390"/>
                  </a:lnTo>
                  <a:lnTo>
                    <a:pt x="2348" y="1379"/>
                  </a:lnTo>
                  <a:lnTo>
                    <a:pt x="2348" y="1379"/>
                  </a:lnTo>
                  <a:lnTo>
                    <a:pt x="2343" y="1370"/>
                  </a:lnTo>
                  <a:lnTo>
                    <a:pt x="2336" y="1364"/>
                  </a:lnTo>
                  <a:lnTo>
                    <a:pt x="2336" y="1364"/>
                  </a:lnTo>
                  <a:lnTo>
                    <a:pt x="2330" y="1360"/>
                  </a:lnTo>
                  <a:lnTo>
                    <a:pt x="2330" y="1360"/>
                  </a:lnTo>
                  <a:lnTo>
                    <a:pt x="2330" y="1359"/>
                  </a:lnTo>
                  <a:lnTo>
                    <a:pt x="2330" y="1359"/>
                  </a:lnTo>
                  <a:lnTo>
                    <a:pt x="2330" y="1356"/>
                  </a:lnTo>
                  <a:lnTo>
                    <a:pt x="2330" y="1356"/>
                  </a:lnTo>
                  <a:lnTo>
                    <a:pt x="2332" y="1353"/>
                  </a:lnTo>
                  <a:lnTo>
                    <a:pt x="2332" y="1353"/>
                  </a:lnTo>
                  <a:lnTo>
                    <a:pt x="2333" y="1351"/>
                  </a:lnTo>
                  <a:lnTo>
                    <a:pt x="2333" y="1351"/>
                  </a:lnTo>
                  <a:lnTo>
                    <a:pt x="2339" y="1348"/>
                  </a:lnTo>
                  <a:lnTo>
                    <a:pt x="2339" y="1348"/>
                  </a:lnTo>
                  <a:lnTo>
                    <a:pt x="2346" y="1344"/>
                  </a:lnTo>
                  <a:lnTo>
                    <a:pt x="2346" y="1344"/>
                  </a:lnTo>
                  <a:lnTo>
                    <a:pt x="2352" y="1340"/>
                  </a:lnTo>
                  <a:lnTo>
                    <a:pt x="2352" y="1340"/>
                  </a:lnTo>
                  <a:lnTo>
                    <a:pt x="2361" y="1328"/>
                  </a:lnTo>
                  <a:lnTo>
                    <a:pt x="2361" y="1328"/>
                  </a:lnTo>
                  <a:lnTo>
                    <a:pt x="2365" y="1322"/>
                  </a:lnTo>
                  <a:lnTo>
                    <a:pt x="2365" y="1322"/>
                  </a:lnTo>
                  <a:lnTo>
                    <a:pt x="2367" y="1319"/>
                  </a:lnTo>
                  <a:lnTo>
                    <a:pt x="2367" y="1319"/>
                  </a:lnTo>
                  <a:lnTo>
                    <a:pt x="2372" y="1308"/>
                  </a:lnTo>
                  <a:lnTo>
                    <a:pt x="2372" y="1308"/>
                  </a:lnTo>
                  <a:lnTo>
                    <a:pt x="2375" y="1301"/>
                  </a:lnTo>
                  <a:lnTo>
                    <a:pt x="2375" y="1301"/>
                  </a:lnTo>
                  <a:lnTo>
                    <a:pt x="2378" y="1296"/>
                  </a:lnTo>
                  <a:lnTo>
                    <a:pt x="2378" y="1296"/>
                  </a:lnTo>
                  <a:lnTo>
                    <a:pt x="2378" y="1296"/>
                  </a:lnTo>
                  <a:lnTo>
                    <a:pt x="2378" y="1296"/>
                  </a:lnTo>
                  <a:lnTo>
                    <a:pt x="2380" y="1295"/>
                  </a:lnTo>
                  <a:lnTo>
                    <a:pt x="2380" y="1295"/>
                  </a:lnTo>
                  <a:lnTo>
                    <a:pt x="2385" y="1292"/>
                  </a:lnTo>
                  <a:lnTo>
                    <a:pt x="2385" y="1292"/>
                  </a:lnTo>
                  <a:lnTo>
                    <a:pt x="2390" y="1291"/>
                  </a:lnTo>
                  <a:lnTo>
                    <a:pt x="2390" y="1291"/>
                  </a:lnTo>
                  <a:lnTo>
                    <a:pt x="2393" y="1289"/>
                  </a:lnTo>
                  <a:lnTo>
                    <a:pt x="2393" y="1289"/>
                  </a:lnTo>
                  <a:lnTo>
                    <a:pt x="2394" y="1286"/>
                  </a:lnTo>
                  <a:lnTo>
                    <a:pt x="2394" y="1286"/>
                  </a:lnTo>
                  <a:lnTo>
                    <a:pt x="2397" y="1282"/>
                  </a:lnTo>
                  <a:lnTo>
                    <a:pt x="2397" y="1282"/>
                  </a:lnTo>
                  <a:lnTo>
                    <a:pt x="2398" y="1279"/>
                  </a:lnTo>
                  <a:lnTo>
                    <a:pt x="2398" y="1279"/>
                  </a:lnTo>
                  <a:lnTo>
                    <a:pt x="2398" y="1279"/>
                  </a:lnTo>
                  <a:lnTo>
                    <a:pt x="2398" y="1279"/>
                  </a:lnTo>
                  <a:lnTo>
                    <a:pt x="2398" y="1279"/>
                  </a:lnTo>
                  <a:lnTo>
                    <a:pt x="2398" y="1279"/>
                  </a:lnTo>
                  <a:lnTo>
                    <a:pt x="2398" y="1279"/>
                  </a:lnTo>
                  <a:lnTo>
                    <a:pt x="2398" y="1279"/>
                  </a:lnTo>
                  <a:lnTo>
                    <a:pt x="2398" y="1279"/>
                  </a:lnTo>
                  <a:lnTo>
                    <a:pt x="2398" y="1279"/>
                  </a:lnTo>
                  <a:lnTo>
                    <a:pt x="2398" y="1279"/>
                  </a:lnTo>
                  <a:lnTo>
                    <a:pt x="2398" y="1279"/>
                  </a:lnTo>
                  <a:lnTo>
                    <a:pt x="2400" y="1280"/>
                  </a:lnTo>
                  <a:lnTo>
                    <a:pt x="2400" y="1280"/>
                  </a:lnTo>
                  <a:lnTo>
                    <a:pt x="2404" y="1283"/>
                  </a:lnTo>
                  <a:lnTo>
                    <a:pt x="2404" y="1283"/>
                  </a:lnTo>
                  <a:lnTo>
                    <a:pt x="2409" y="1289"/>
                  </a:lnTo>
                  <a:lnTo>
                    <a:pt x="2409" y="1289"/>
                  </a:lnTo>
                  <a:lnTo>
                    <a:pt x="2413" y="1291"/>
                  </a:lnTo>
                  <a:lnTo>
                    <a:pt x="2416" y="1291"/>
                  </a:lnTo>
                  <a:lnTo>
                    <a:pt x="2416" y="1291"/>
                  </a:lnTo>
                  <a:lnTo>
                    <a:pt x="2422" y="1291"/>
                  </a:lnTo>
                  <a:lnTo>
                    <a:pt x="2429" y="1288"/>
                  </a:lnTo>
                  <a:lnTo>
                    <a:pt x="2429" y="1288"/>
                  </a:lnTo>
                  <a:lnTo>
                    <a:pt x="2439" y="1285"/>
                  </a:lnTo>
                  <a:lnTo>
                    <a:pt x="2439" y="1285"/>
                  </a:lnTo>
                  <a:lnTo>
                    <a:pt x="2442" y="1283"/>
                  </a:lnTo>
                  <a:lnTo>
                    <a:pt x="2445" y="1280"/>
                  </a:lnTo>
                  <a:lnTo>
                    <a:pt x="2445" y="1280"/>
                  </a:lnTo>
                  <a:lnTo>
                    <a:pt x="2453" y="1270"/>
                  </a:lnTo>
                  <a:lnTo>
                    <a:pt x="2453" y="1270"/>
                  </a:lnTo>
                  <a:lnTo>
                    <a:pt x="2456" y="1266"/>
                  </a:lnTo>
                  <a:lnTo>
                    <a:pt x="2456" y="1266"/>
                  </a:lnTo>
                  <a:lnTo>
                    <a:pt x="2459" y="1263"/>
                  </a:lnTo>
                  <a:lnTo>
                    <a:pt x="2459" y="1263"/>
                  </a:lnTo>
                  <a:lnTo>
                    <a:pt x="2465" y="1254"/>
                  </a:lnTo>
                  <a:lnTo>
                    <a:pt x="2465" y="1254"/>
                  </a:lnTo>
                  <a:lnTo>
                    <a:pt x="2474" y="1246"/>
                  </a:lnTo>
                  <a:lnTo>
                    <a:pt x="2474" y="1246"/>
                  </a:lnTo>
                  <a:lnTo>
                    <a:pt x="2481" y="1238"/>
                  </a:lnTo>
                  <a:lnTo>
                    <a:pt x="2490" y="1233"/>
                  </a:lnTo>
                  <a:lnTo>
                    <a:pt x="2490" y="1233"/>
                  </a:lnTo>
                  <a:lnTo>
                    <a:pt x="2495" y="1227"/>
                  </a:lnTo>
                  <a:lnTo>
                    <a:pt x="2500" y="1220"/>
                  </a:lnTo>
                  <a:lnTo>
                    <a:pt x="2500" y="1220"/>
                  </a:lnTo>
                  <a:lnTo>
                    <a:pt x="2506" y="1207"/>
                  </a:lnTo>
                  <a:lnTo>
                    <a:pt x="2506" y="1207"/>
                  </a:lnTo>
                  <a:lnTo>
                    <a:pt x="2507" y="1202"/>
                  </a:lnTo>
                  <a:lnTo>
                    <a:pt x="2507" y="1202"/>
                  </a:lnTo>
                  <a:lnTo>
                    <a:pt x="2522" y="1179"/>
                  </a:lnTo>
                  <a:lnTo>
                    <a:pt x="2522" y="1179"/>
                  </a:lnTo>
                  <a:lnTo>
                    <a:pt x="2527" y="1172"/>
                  </a:lnTo>
                  <a:lnTo>
                    <a:pt x="2533" y="1166"/>
                  </a:lnTo>
                  <a:lnTo>
                    <a:pt x="2533" y="1166"/>
                  </a:lnTo>
                  <a:lnTo>
                    <a:pt x="2535" y="1162"/>
                  </a:lnTo>
                  <a:lnTo>
                    <a:pt x="2535" y="1162"/>
                  </a:lnTo>
                  <a:lnTo>
                    <a:pt x="2536" y="1154"/>
                  </a:lnTo>
                  <a:lnTo>
                    <a:pt x="2537" y="1143"/>
                  </a:lnTo>
                  <a:lnTo>
                    <a:pt x="2537" y="1143"/>
                  </a:lnTo>
                  <a:lnTo>
                    <a:pt x="2542" y="1121"/>
                  </a:lnTo>
                  <a:lnTo>
                    <a:pt x="2542" y="1121"/>
                  </a:lnTo>
                  <a:lnTo>
                    <a:pt x="2542" y="1109"/>
                  </a:lnTo>
                  <a:lnTo>
                    <a:pt x="2542" y="1109"/>
                  </a:lnTo>
                  <a:lnTo>
                    <a:pt x="2542" y="1102"/>
                  </a:lnTo>
                  <a:lnTo>
                    <a:pt x="2542" y="1102"/>
                  </a:lnTo>
                  <a:lnTo>
                    <a:pt x="2542" y="1096"/>
                  </a:lnTo>
                  <a:lnTo>
                    <a:pt x="2542" y="1096"/>
                  </a:lnTo>
                  <a:lnTo>
                    <a:pt x="2542" y="1094"/>
                  </a:lnTo>
                  <a:lnTo>
                    <a:pt x="2542" y="1094"/>
                  </a:lnTo>
                  <a:lnTo>
                    <a:pt x="2543" y="1088"/>
                  </a:lnTo>
                  <a:lnTo>
                    <a:pt x="2548" y="1079"/>
                  </a:lnTo>
                  <a:lnTo>
                    <a:pt x="2548" y="1079"/>
                  </a:lnTo>
                  <a:lnTo>
                    <a:pt x="2552" y="1072"/>
                  </a:lnTo>
                  <a:lnTo>
                    <a:pt x="2552" y="1072"/>
                  </a:lnTo>
                  <a:lnTo>
                    <a:pt x="2555" y="1066"/>
                  </a:lnTo>
                  <a:lnTo>
                    <a:pt x="2555" y="1066"/>
                  </a:lnTo>
                  <a:lnTo>
                    <a:pt x="2555" y="1063"/>
                  </a:lnTo>
                  <a:lnTo>
                    <a:pt x="2555" y="1063"/>
                  </a:lnTo>
                  <a:lnTo>
                    <a:pt x="2555" y="1059"/>
                  </a:lnTo>
                  <a:lnTo>
                    <a:pt x="2553" y="1056"/>
                  </a:lnTo>
                  <a:lnTo>
                    <a:pt x="2553" y="1056"/>
                  </a:lnTo>
                  <a:lnTo>
                    <a:pt x="2550" y="1054"/>
                  </a:lnTo>
                  <a:lnTo>
                    <a:pt x="2548" y="1053"/>
                  </a:lnTo>
                  <a:lnTo>
                    <a:pt x="2548" y="1053"/>
                  </a:lnTo>
                  <a:lnTo>
                    <a:pt x="2546" y="1054"/>
                  </a:lnTo>
                  <a:lnTo>
                    <a:pt x="2546" y="1056"/>
                  </a:lnTo>
                  <a:lnTo>
                    <a:pt x="2546" y="1054"/>
                  </a:lnTo>
                  <a:lnTo>
                    <a:pt x="2546" y="1054"/>
                  </a:lnTo>
                  <a:lnTo>
                    <a:pt x="2546" y="1056"/>
                  </a:lnTo>
                  <a:lnTo>
                    <a:pt x="2546" y="1054"/>
                  </a:lnTo>
                  <a:lnTo>
                    <a:pt x="2546" y="1056"/>
                  </a:lnTo>
                  <a:lnTo>
                    <a:pt x="2548" y="1054"/>
                  </a:lnTo>
                  <a:lnTo>
                    <a:pt x="2548" y="1054"/>
                  </a:lnTo>
                  <a:lnTo>
                    <a:pt x="2546" y="1054"/>
                  </a:lnTo>
                  <a:lnTo>
                    <a:pt x="2546" y="1056"/>
                  </a:lnTo>
                  <a:lnTo>
                    <a:pt x="2548" y="1054"/>
                  </a:lnTo>
                  <a:lnTo>
                    <a:pt x="2548" y="1054"/>
                  </a:lnTo>
                  <a:lnTo>
                    <a:pt x="2548" y="1054"/>
                  </a:lnTo>
                  <a:lnTo>
                    <a:pt x="2548" y="1054"/>
                  </a:lnTo>
                  <a:lnTo>
                    <a:pt x="2548" y="1054"/>
                  </a:lnTo>
                  <a:lnTo>
                    <a:pt x="2548" y="1054"/>
                  </a:lnTo>
                  <a:lnTo>
                    <a:pt x="2548" y="1054"/>
                  </a:lnTo>
                  <a:lnTo>
                    <a:pt x="2548" y="1054"/>
                  </a:lnTo>
                  <a:lnTo>
                    <a:pt x="2546" y="1052"/>
                  </a:lnTo>
                  <a:lnTo>
                    <a:pt x="2546" y="1052"/>
                  </a:lnTo>
                  <a:lnTo>
                    <a:pt x="2543" y="1044"/>
                  </a:lnTo>
                  <a:lnTo>
                    <a:pt x="2543" y="1044"/>
                  </a:lnTo>
                  <a:lnTo>
                    <a:pt x="2542" y="1040"/>
                  </a:lnTo>
                  <a:lnTo>
                    <a:pt x="2542" y="1040"/>
                  </a:lnTo>
                  <a:lnTo>
                    <a:pt x="2542" y="1038"/>
                  </a:lnTo>
                  <a:lnTo>
                    <a:pt x="2542" y="1038"/>
                  </a:lnTo>
                  <a:lnTo>
                    <a:pt x="2542" y="1037"/>
                  </a:lnTo>
                  <a:lnTo>
                    <a:pt x="2540" y="1038"/>
                  </a:lnTo>
                  <a:lnTo>
                    <a:pt x="2542" y="1038"/>
                  </a:lnTo>
                  <a:lnTo>
                    <a:pt x="2542" y="1037"/>
                  </a:lnTo>
                  <a:lnTo>
                    <a:pt x="2540" y="1038"/>
                  </a:lnTo>
                  <a:lnTo>
                    <a:pt x="2542" y="1038"/>
                  </a:lnTo>
                  <a:lnTo>
                    <a:pt x="2540" y="1038"/>
                  </a:lnTo>
                  <a:lnTo>
                    <a:pt x="2540" y="1038"/>
                  </a:lnTo>
                  <a:lnTo>
                    <a:pt x="2542" y="1038"/>
                  </a:lnTo>
                  <a:lnTo>
                    <a:pt x="2540" y="1038"/>
                  </a:lnTo>
                  <a:lnTo>
                    <a:pt x="2540" y="1038"/>
                  </a:lnTo>
                  <a:lnTo>
                    <a:pt x="2540" y="1038"/>
                  </a:lnTo>
                  <a:lnTo>
                    <a:pt x="2542" y="1038"/>
                  </a:lnTo>
                  <a:lnTo>
                    <a:pt x="2542" y="1038"/>
                  </a:lnTo>
                  <a:lnTo>
                    <a:pt x="2545" y="1037"/>
                  </a:lnTo>
                  <a:lnTo>
                    <a:pt x="2545" y="1037"/>
                  </a:lnTo>
                  <a:lnTo>
                    <a:pt x="2546" y="1034"/>
                  </a:lnTo>
                  <a:lnTo>
                    <a:pt x="2546" y="1034"/>
                  </a:lnTo>
                  <a:lnTo>
                    <a:pt x="2545" y="1031"/>
                  </a:lnTo>
                  <a:lnTo>
                    <a:pt x="2545" y="1031"/>
                  </a:lnTo>
                  <a:lnTo>
                    <a:pt x="2542" y="1027"/>
                  </a:lnTo>
                  <a:lnTo>
                    <a:pt x="2542" y="1027"/>
                  </a:lnTo>
                  <a:lnTo>
                    <a:pt x="2535" y="1023"/>
                  </a:lnTo>
                  <a:lnTo>
                    <a:pt x="2535" y="1023"/>
                  </a:lnTo>
                  <a:lnTo>
                    <a:pt x="2529" y="1018"/>
                  </a:lnTo>
                  <a:lnTo>
                    <a:pt x="2529" y="1018"/>
                  </a:lnTo>
                  <a:lnTo>
                    <a:pt x="2527" y="1017"/>
                  </a:lnTo>
                  <a:lnTo>
                    <a:pt x="2527" y="1017"/>
                  </a:lnTo>
                  <a:lnTo>
                    <a:pt x="2526" y="1012"/>
                  </a:lnTo>
                  <a:lnTo>
                    <a:pt x="2526" y="1012"/>
                  </a:lnTo>
                  <a:lnTo>
                    <a:pt x="2524" y="1008"/>
                  </a:lnTo>
                  <a:lnTo>
                    <a:pt x="2524" y="1008"/>
                  </a:lnTo>
                  <a:lnTo>
                    <a:pt x="2522" y="1005"/>
                  </a:lnTo>
                  <a:lnTo>
                    <a:pt x="2522" y="1005"/>
                  </a:lnTo>
                  <a:lnTo>
                    <a:pt x="2510" y="1001"/>
                  </a:lnTo>
                  <a:lnTo>
                    <a:pt x="2510" y="1001"/>
                  </a:lnTo>
                  <a:lnTo>
                    <a:pt x="2504" y="998"/>
                  </a:lnTo>
                  <a:lnTo>
                    <a:pt x="2498" y="998"/>
                  </a:lnTo>
                  <a:lnTo>
                    <a:pt x="2497" y="998"/>
                  </a:lnTo>
                  <a:lnTo>
                    <a:pt x="2497" y="998"/>
                  </a:lnTo>
                  <a:lnTo>
                    <a:pt x="2494" y="999"/>
                  </a:lnTo>
                  <a:lnTo>
                    <a:pt x="2494" y="999"/>
                  </a:lnTo>
                  <a:lnTo>
                    <a:pt x="2494" y="1002"/>
                  </a:lnTo>
                  <a:lnTo>
                    <a:pt x="2494" y="1002"/>
                  </a:lnTo>
                  <a:lnTo>
                    <a:pt x="2494" y="1005"/>
                  </a:lnTo>
                  <a:lnTo>
                    <a:pt x="2494" y="1005"/>
                  </a:lnTo>
                  <a:lnTo>
                    <a:pt x="2497" y="1010"/>
                  </a:lnTo>
                  <a:lnTo>
                    <a:pt x="2497" y="1010"/>
                  </a:lnTo>
                  <a:lnTo>
                    <a:pt x="2497" y="1011"/>
                  </a:lnTo>
                  <a:lnTo>
                    <a:pt x="2497" y="1011"/>
                  </a:lnTo>
                  <a:lnTo>
                    <a:pt x="2497" y="1011"/>
                  </a:lnTo>
                  <a:lnTo>
                    <a:pt x="2497" y="1011"/>
                  </a:lnTo>
                  <a:lnTo>
                    <a:pt x="2497" y="1011"/>
                  </a:lnTo>
                  <a:lnTo>
                    <a:pt x="2497" y="1011"/>
                  </a:lnTo>
                  <a:lnTo>
                    <a:pt x="2497" y="1011"/>
                  </a:lnTo>
                  <a:lnTo>
                    <a:pt x="2497" y="1011"/>
                  </a:lnTo>
                  <a:lnTo>
                    <a:pt x="2498" y="1011"/>
                  </a:lnTo>
                  <a:lnTo>
                    <a:pt x="2498" y="1011"/>
                  </a:lnTo>
                  <a:lnTo>
                    <a:pt x="2498" y="1011"/>
                  </a:lnTo>
                  <a:lnTo>
                    <a:pt x="2497" y="1011"/>
                  </a:lnTo>
                  <a:lnTo>
                    <a:pt x="2498" y="1011"/>
                  </a:lnTo>
                  <a:lnTo>
                    <a:pt x="2498" y="1011"/>
                  </a:lnTo>
                  <a:lnTo>
                    <a:pt x="2498" y="1011"/>
                  </a:lnTo>
                  <a:lnTo>
                    <a:pt x="2498" y="1010"/>
                  </a:lnTo>
                  <a:lnTo>
                    <a:pt x="2498" y="1010"/>
                  </a:lnTo>
                  <a:lnTo>
                    <a:pt x="2498" y="1011"/>
                  </a:lnTo>
                  <a:lnTo>
                    <a:pt x="2498" y="1011"/>
                  </a:lnTo>
                  <a:lnTo>
                    <a:pt x="2498" y="1010"/>
                  </a:lnTo>
                  <a:lnTo>
                    <a:pt x="2498" y="1010"/>
                  </a:lnTo>
                  <a:lnTo>
                    <a:pt x="2495" y="1011"/>
                  </a:lnTo>
                  <a:lnTo>
                    <a:pt x="2495" y="1011"/>
                  </a:lnTo>
                  <a:lnTo>
                    <a:pt x="2491" y="1014"/>
                  </a:lnTo>
                  <a:lnTo>
                    <a:pt x="2485" y="1015"/>
                  </a:lnTo>
                  <a:lnTo>
                    <a:pt x="2484" y="1015"/>
                  </a:lnTo>
                  <a:lnTo>
                    <a:pt x="2484" y="1015"/>
                  </a:lnTo>
                  <a:lnTo>
                    <a:pt x="2482" y="1015"/>
                  </a:lnTo>
                  <a:lnTo>
                    <a:pt x="2481" y="1017"/>
                  </a:lnTo>
                  <a:lnTo>
                    <a:pt x="2482" y="1015"/>
                  </a:lnTo>
                  <a:lnTo>
                    <a:pt x="2482" y="1015"/>
                  </a:lnTo>
                  <a:lnTo>
                    <a:pt x="2481" y="1017"/>
                  </a:lnTo>
                  <a:lnTo>
                    <a:pt x="2482" y="1015"/>
                  </a:lnTo>
                  <a:lnTo>
                    <a:pt x="2481" y="1017"/>
                  </a:lnTo>
                  <a:lnTo>
                    <a:pt x="2482" y="1017"/>
                  </a:lnTo>
                  <a:lnTo>
                    <a:pt x="2482" y="1015"/>
                  </a:lnTo>
                  <a:lnTo>
                    <a:pt x="2481" y="1017"/>
                  </a:lnTo>
                  <a:lnTo>
                    <a:pt x="2482" y="1017"/>
                  </a:lnTo>
                  <a:lnTo>
                    <a:pt x="2481" y="1017"/>
                  </a:lnTo>
                  <a:lnTo>
                    <a:pt x="2482" y="1018"/>
                  </a:lnTo>
                  <a:lnTo>
                    <a:pt x="2482" y="1018"/>
                  </a:lnTo>
                  <a:lnTo>
                    <a:pt x="2482" y="1017"/>
                  </a:lnTo>
                  <a:lnTo>
                    <a:pt x="2481" y="1017"/>
                  </a:lnTo>
                  <a:lnTo>
                    <a:pt x="2482" y="1018"/>
                  </a:lnTo>
                  <a:lnTo>
                    <a:pt x="2482" y="1017"/>
                  </a:lnTo>
                  <a:lnTo>
                    <a:pt x="2482" y="1018"/>
                  </a:lnTo>
                  <a:lnTo>
                    <a:pt x="2482" y="1018"/>
                  </a:lnTo>
                  <a:lnTo>
                    <a:pt x="2482" y="1017"/>
                  </a:lnTo>
                  <a:lnTo>
                    <a:pt x="2482" y="1018"/>
                  </a:lnTo>
                  <a:lnTo>
                    <a:pt x="2482" y="1017"/>
                  </a:lnTo>
                  <a:lnTo>
                    <a:pt x="2482" y="1017"/>
                  </a:lnTo>
                  <a:lnTo>
                    <a:pt x="2485" y="1015"/>
                  </a:lnTo>
                  <a:lnTo>
                    <a:pt x="2485" y="1015"/>
                  </a:lnTo>
                  <a:lnTo>
                    <a:pt x="2487" y="1014"/>
                  </a:lnTo>
                  <a:lnTo>
                    <a:pt x="2487" y="1014"/>
                  </a:lnTo>
                  <a:lnTo>
                    <a:pt x="2487" y="1012"/>
                  </a:lnTo>
                  <a:lnTo>
                    <a:pt x="2487" y="1011"/>
                  </a:lnTo>
                  <a:lnTo>
                    <a:pt x="2487" y="1011"/>
                  </a:lnTo>
                  <a:lnTo>
                    <a:pt x="2487" y="1011"/>
                  </a:lnTo>
                  <a:lnTo>
                    <a:pt x="2485" y="1010"/>
                  </a:lnTo>
                  <a:lnTo>
                    <a:pt x="2485" y="1010"/>
                  </a:lnTo>
                  <a:lnTo>
                    <a:pt x="2484" y="1008"/>
                  </a:lnTo>
                  <a:lnTo>
                    <a:pt x="2484" y="1008"/>
                  </a:lnTo>
                  <a:lnTo>
                    <a:pt x="2480" y="1010"/>
                  </a:lnTo>
                  <a:lnTo>
                    <a:pt x="2480" y="1010"/>
                  </a:lnTo>
                  <a:lnTo>
                    <a:pt x="2472" y="1011"/>
                  </a:lnTo>
                  <a:lnTo>
                    <a:pt x="2472" y="1011"/>
                  </a:lnTo>
                  <a:lnTo>
                    <a:pt x="2468" y="1012"/>
                  </a:lnTo>
                  <a:lnTo>
                    <a:pt x="2468" y="1012"/>
                  </a:lnTo>
                  <a:lnTo>
                    <a:pt x="2468" y="1012"/>
                  </a:lnTo>
                  <a:lnTo>
                    <a:pt x="2468" y="1012"/>
                  </a:lnTo>
                  <a:lnTo>
                    <a:pt x="2468" y="1012"/>
                  </a:lnTo>
                  <a:lnTo>
                    <a:pt x="2468" y="1012"/>
                  </a:lnTo>
                  <a:lnTo>
                    <a:pt x="2468" y="1014"/>
                  </a:lnTo>
                  <a:lnTo>
                    <a:pt x="2469" y="1014"/>
                  </a:lnTo>
                  <a:lnTo>
                    <a:pt x="2469" y="1014"/>
                  </a:lnTo>
                  <a:lnTo>
                    <a:pt x="2468" y="1012"/>
                  </a:lnTo>
                  <a:lnTo>
                    <a:pt x="2468" y="1014"/>
                  </a:lnTo>
                  <a:lnTo>
                    <a:pt x="2469" y="1014"/>
                  </a:lnTo>
                  <a:lnTo>
                    <a:pt x="2468" y="1014"/>
                  </a:lnTo>
                  <a:lnTo>
                    <a:pt x="2469" y="1014"/>
                  </a:lnTo>
                  <a:lnTo>
                    <a:pt x="2469" y="1014"/>
                  </a:lnTo>
                  <a:lnTo>
                    <a:pt x="2469" y="1014"/>
                  </a:lnTo>
                  <a:lnTo>
                    <a:pt x="2468" y="1014"/>
                  </a:lnTo>
                  <a:lnTo>
                    <a:pt x="2469" y="1014"/>
                  </a:lnTo>
                  <a:lnTo>
                    <a:pt x="2469" y="1014"/>
                  </a:lnTo>
                  <a:lnTo>
                    <a:pt x="2469" y="1014"/>
                  </a:lnTo>
                  <a:lnTo>
                    <a:pt x="2471" y="1010"/>
                  </a:lnTo>
                  <a:lnTo>
                    <a:pt x="2471" y="1010"/>
                  </a:lnTo>
                  <a:lnTo>
                    <a:pt x="2472" y="1007"/>
                  </a:lnTo>
                  <a:lnTo>
                    <a:pt x="2472" y="1007"/>
                  </a:lnTo>
                  <a:lnTo>
                    <a:pt x="2474" y="1004"/>
                  </a:lnTo>
                  <a:lnTo>
                    <a:pt x="2474" y="1004"/>
                  </a:lnTo>
                  <a:lnTo>
                    <a:pt x="2474" y="1001"/>
                  </a:lnTo>
                  <a:lnTo>
                    <a:pt x="2472" y="999"/>
                  </a:lnTo>
                  <a:lnTo>
                    <a:pt x="2472" y="999"/>
                  </a:lnTo>
                  <a:lnTo>
                    <a:pt x="2469" y="999"/>
                  </a:lnTo>
                  <a:lnTo>
                    <a:pt x="2469" y="999"/>
                  </a:lnTo>
                  <a:lnTo>
                    <a:pt x="2464" y="1001"/>
                  </a:lnTo>
                  <a:lnTo>
                    <a:pt x="2464" y="1001"/>
                  </a:lnTo>
                  <a:lnTo>
                    <a:pt x="2464" y="1001"/>
                  </a:lnTo>
                  <a:lnTo>
                    <a:pt x="2464" y="1001"/>
                  </a:lnTo>
                  <a:lnTo>
                    <a:pt x="2464" y="1001"/>
                  </a:lnTo>
                  <a:lnTo>
                    <a:pt x="2464" y="1001"/>
                  </a:lnTo>
                  <a:lnTo>
                    <a:pt x="2464" y="1001"/>
                  </a:lnTo>
                  <a:lnTo>
                    <a:pt x="2462" y="999"/>
                  </a:lnTo>
                  <a:lnTo>
                    <a:pt x="2462" y="999"/>
                  </a:lnTo>
                  <a:lnTo>
                    <a:pt x="2455" y="996"/>
                  </a:lnTo>
                  <a:lnTo>
                    <a:pt x="2455" y="996"/>
                  </a:lnTo>
                  <a:lnTo>
                    <a:pt x="2451" y="995"/>
                  </a:lnTo>
                  <a:lnTo>
                    <a:pt x="2448" y="994"/>
                  </a:lnTo>
                  <a:lnTo>
                    <a:pt x="2446" y="995"/>
                  </a:lnTo>
                  <a:lnTo>
                    <a:pt x="2445" y="995"/>
                  </a:lnTo>
                  <a:lnTo>
                    <a:pt x="2445" y="995"/>
                  </a:lnTo>
                  <a:lnTo>
                    <a:pt x="2445" y="994"/>
                  </a:lnTo>
                  <a:lnTo>
                    <a:pt x="2445" y="994"/>
                  </a:lnTo>
                  <a:lnTo>
                    <a:pt x="2445" y="994"/>
                  </a:lnTo>
                  <a:lnTo>
                    <a:pt x="2446" y="991"/>
                  </a:lnTo>
                  <a:lnTo>
                    <a:pt x="2446" y="991"/>
                  </a:lnTo>
                  <a:lnTo>
                    <a:pt x="2451" y="986"/>
                  </a:lnTo>
                  <a:lnTo>
                    <a:pt x="2451" y="986"/>
                  </a:lnTo>
                  <a:lnTo>
                    <a:pt x="2462" y="978"/>
                  </a:lnTo>
                  <a:lnTo>
                    <a:pt x="2474" y="966"/>
                  </a:lnTo>
                  <a:lnTo>
                    <a:pt x="2474" y="966"/>
                  </a:lnTo>
                  <a:lnTo>
                    <a:pt x="2485" y="956"/>
                  </a:lnTo>
                  <a:lnTo>
                    <a:pt x="2485" y="956"/>
                  </a:lnTo>
                  <a:lnTo>
                    <a:pt x="2491" y="947"/>
                  </a:lnTo>
                  <a:lnTo>
                    <a:pt x="2491" y="947"/>
                  </a:lnTo>
                  <a:lnTo>
                    <a:pt x="2495" y="943"/>
                  </a:lnTo>
                  <a:lnTo>
                    <a:pt x="2495" y="943"/>
                  </a:lnTo>
                  <a:lnTo>
                    <a:pt x="2507" y="936"/>
                  </a:lnTo>
                  <a:lnTo>
                    <a:pt x="2507" y="936"/>
                  </a:lnTo>
                  <a:lnTo>
                    <a:pt x="2516" y="928"/>
                  </a:lnTo>
                  <a:lnTo>
                    <a:pt x="2516" y="928"/>
                  </a:lnTo>
                  <a:lnTo>
                    <a:pt x="2522" y="923"/>
                  </a:lnTo>
                  <a:lnTo>
                    <a:pt x="2522" y="923"/>
                  </a:lnTo>
                  <a:lnTo>
                    <a:pt x="2529" y="911"/>
                  </a:lnTo>
                  <a:lnTo>
                    <a:pt x="2537" y="901"/>
                  </a:lnTo>
                  <a:lnTo>
                    <a:pt x="2537" y="901"/>
                  </a:lnTo>
                  <a:lnTo>
                    <a:pt x="2542" y="894"/>
                  </a:lnTo>
                  <a:lnTo>
                    <a:pt x="2545" y="889"/>
                  </a:lnTo>
                  <a:lnTo>
                    <a:pt x="2545" y="889"/>
                  </a:lnTo>
                  <a:lnTo>
                    <a:pt x="2549" y="882"/>
                  </a:lnTo>
                  <a:lnTo>
                    <a:pt x="2556" y="873"/>
                  </a:lnTo>
                  <a:lnTo>
                    <a:pt x="2556" y="873"/>
                  </a:lnTo>
                  <a:lnTo>
                    <a:pt x="2562" y="870"/>
                  </a:lnTo>
                  <a:lnTo>
                    <a:pt x="2569" y="868"/>
                  </a:lnTo>
                  <a:lnTo>
                    <a:pt x="2569" y="868"/>
                  </a:lnTo>
                  <a:lnTo>
                    <a:pt x="2578" y="866"/>
                  </a:lnTo>
                  <a:lnTo>
                    <a:pt x="2587" y="866"/>
                  </a:lnTo>
                  <a:lnTo>
                    <a:pt x="2587" y="866"/>
                  </a:lnTo>
                  <a:lnTo>
                    <a:pt x="2603" y="868"/>
                  </a:lnTo>
                  <a:lnTo>
                    <a:pt x="2611" y="869"/>
                  </a:lnTo>
                  <a:lnTo>
                    <a:pt x="2611" y="869"/>
                  </a:lnTo>
                  <a:lnTo>
                    <a:pt x="2626" y="870"/>
                  </a:lnTo>
                  <a:lnTo>
                    <a:pt x="2626" y="870"/>
                  </a:lnTo>
                  <a:lnTo>
                    <a:pt x="2639" y="872"/>
                  </a:lnTo>
                  <a:lnTo>
                    <a:pt x="2639" y="872"/>
                  </a:lnTo>
                  <a:lnTo>
                    <a:pt x="2648" y="873"/>
                  </a:lnTo>
                  <a:lnTo>
                    <a:pt x="2648" y="873"/>
                  </a:lnTo>
                  <a:lnTo>
                    <a:pt x="2658" y="875"/>
                  </a:lnTo>
                  <a:lnTo>
                    <a:pt x="2658" y="875"/>
                  </a:lnTo>
                  <a:lnTo>
                    <a:pt x="2662" y="873"/>
                  </a:lnTo>
                  <a:lnTo>
                    <a:pt x="2665" y="872"/>
                  </a:lnTo>
                  <a:lnTo>
                    <a:pt x="2665" y="872"/>
                  </a:lnTo>
                  <a:lnTo>
                    <a:pt x="2668" y="870"/>
                  </a:lnTo>
                  <a:lnTo>
                    <a:pt x="2668" y="870"/>
                  </a:lnTo>
                  <a:lnTo>
                    <a:pt x="2668" y="868"/>
                  </a:lnTo>
                  <a:lnTo>
                    <a:pt x="2668" y="868"/>
                  </a:lnTo>
                  <a:lnTo>
                    <a:pt x="2668" y="866"/>
                  </a:lnTo>
                  <a:lnTo>
                    <a:pt x="2668" y="866"/>
                  </a:lnTo>
                  <a:lnTo>
                    <a:pt x="2665" y="865"/>
                  </a:lnTo>
                  <a:lnTo>
                    <a:pt x="2665" y="865"/>
                  </a:lnTo>
                  <a:lnTo>
                    <a:pt x="2661" y="863"/>
                  </a:lnTo>
                  <a:lnTo>
                    <a:pt x="2661" y="863"/>
                  </a:lnTo>
                  <a:lnTo>
                    <a:pt x="2656" y="863"/>
                  </a:lnTo>
                  <a:lnTo>
                    <a:pt x="2655" y="863"/>
                  </a:lnTo>
                  <a:lnTo>
                    <a:pt x="2655" y="863"/>
                  </a:lnTo>
                  <a:lnTo>
                    <a:pt x="2655" y="863"/>
                  </a:lnTo>
                  <a:lnTo>
                    <a:pt x="2656" y="863"/>
                  </a:lnTo>
                  <a:lnTo>
                    <a:pt x="2655" y="863"/>
                  </a:lnTo>
                  <a:lnTo>
                    <a:pt x="2655" y="863"/>
                  </a:lnTo>
                  <a:lnTo>
                    <a:pt x="2656" y="863"/>
                  </a:lnTo>
                  <a:lnTo>
                    <a:pt x="2655" y="865"/>
                  </a:lnTo>
                  <a:lnTo>
                    <a:pt x="2656" y="865"/>
                  </a:lnTo>
                  <a:lnTo>
                    <a:pt x="2656" y="865"/>
                  </a:lnTo>
                  <a:lnTo>
                    <a:pt x="2656" y="863"/>
                  </a:lnTo>
                  <a:lnTo>
                    <a:pt x="2655" y="865"/>
                  </a:lnTo>
                  <a:lnTo>
                    <a:pt x="2656" y="865"/>
                  </a:lnTo>
                  <a:lnTo>
                    <a:pt x="2655" y="865"/>
                  </a:lnTo>
                  <a:lnTo>
                    <a:pt x="2656" y="865"/>
                  </a:lnTo>
                  <a:lnTo>
                    <a:pt x="2656" y="865"/>
                  </a:lnTo>
                  <a:lnTo>
                    <a:pt x="2656" y="865"/>
                  </a:lnTo>
                  <a:lnTo>
                    <a:pt x="2655" y="865"/>
                  </a:lnTo>
                  <a:lnTo>
                    <a:pt x="2656" y="865"/>
                  </a:lnTo>
                  <a:lnTo>
                    <a:pt x="2655" y="865"/>
                  </a:lnTo>
                  <a:lnTo>
                    <a:pt x="2656" y="866"/>
                  </a:lnTo>
                  <a:lnTo>
                    <a:pt x="2656" y="865"/>
                  </a:lnTo>
                  <a:lnTo>
                    <a:pt x="2655" y="865"/>
                  </a:lnTo>
                  <a:lnTo>
                    <a:pt x="2656" y="866"/>
                  </a:lnTo>
                  <a:lnTo>
                    <a:pt x="2656" y="865"/>
                  </a:lnTo>
                  <a:lnTo>
                    <a:pt x="2656" y="866"/>
                  </a:lnTo>
                  <a:lnTo>
                    <a:pt x="2656" y="866"/>
                  </a:lnTo>
                  <a:lnTo>
                    <a:pt x="2656" y="865"/>
                  </a:lnTo>
                  <a:lnTo>
                    <a:pt x="2656" y="866"/>
                  </a:lnTo>
                  <a:lnTo>
                    <a:pt x="2656" y="866"/>
                  </a:lnTo>
                  <a:lnTo>
                    <a:pt x="2658" y="865"/>
                  </a:lnTo>
                  <a:lnTo>
                    <a:pt x="2658" y="865"/>
                  </a:lnTo>
                  <a:lnTo>
                    <a:pt x="2668" y="860"/>
                  </a:lnTo>
                  <a:lnTo>
                    <a:pt x="2668" y="860"/>
                  </a:lnTo>
                  <a:lnTo>
                    <a:pt x="2671" y="860"/>
                  </a:lnTo>
                  <a:lnTo>
                    <a:pt x="2672" y="859"/>
                  </a:lnTo>
                  <a:lnTo>
                    <a:pt x="2672" y="859"/>
                  </a:lnTo>
                  <a:lnTo>
                    <a:pt x="2672" y="857"/>
                  </a:lnTo>
                  <a:lnTo>
                    <a:pt x="2672" y="857"/>
                  </a:lnTo>
                  <a:lnTo>
                    <a:pt x="2672" y="855"/>
                  </a:lnTo>
                  <a:lnTo>
                    <a:pt x="2672" y="855"/>
                  </a:lnTo>
                  <a:lnTo>
                    <a:pt x="2671" y="853"/>
                  </a:lnTo>
                  <a:lnTo>
                    <a:pt x="2671" y="853"/>
                  </a:lnTo>
                  <a:lnTo>
                    <a:pt x="2669" y="853"/>
                  </a:lnTo>
                  <a:lnTo>
                    <a:pt x="2668" y="853"/>
                  </a:lnTo>
                  <a:lnTo>
                    <a:pt x="2669" y="853"/>
                  </a:lnTo>
                  <a:lnTo>
                    <a:pt x="2669" y="853"/>
                  </a:lnTo>
                  <a:lnTo>
                    <a:pt x="2668" y="853"/>
                  </a:lnTo>
                  <a:lnTo>
                    <a:pt x="2669" y="853"/>
                  </a:lnTo>
                  <a:lnTo>
                    <a:pt x="2668" y="855"/>
                  </a:lnTo>
                  <a:lnTo>
                    <a:pt x="2669" y="855"/>
                  </a:lnTo>
                  <a:lnTo>
                    <a:pt x="2669" y="855"/>
                  </a:lnTo>
                  <a:lnTo>
                    <a:pt x="2669" y="853"/>
                  </a:lnTo>
                  <a:lnTo>
                    <a:pt x="2668" y="855"/>
                  </a:lnTo>
                  <a:lnTo>
                    <a:pt x="2669" y="855"/>
                  </a:lnTo>
                  <a:lnTo>
                    <a:pt x="2668" y="855"/>
                  </a:lnTo>
                  <a:lnTo>
                    <a:pt x="2669" y="856"/>
                  </a:lnTo>
                  <a:lnTo>
                    <a:pt x="2669" y="856"/>
                  </a:lnTo>
                  <a:lnTo>
                    <a:pt x="2669" y="855"/>
                  </a:lnTo>
                  <a:lnTo>
                    <a:pt x="2668" y="855"/>
                  </a:lnTo>
                  <a:lnTo>
                    <a:pt x="2669" y="856"/>
                  </a:lnTo>
                  <a:lnTo>
                    <a:pt x="2668" y="855"/>
                  </a:lnTo>
                  <a:lnTo>
                    <a:pt x="2669" y="856"/>
                  </a:lnTo>
                  <a:lnTo>
                    <a:pt x="2669" y="856"/>
                  </a:lnTo>
                  <a:lnTo>
                    <a:pt x="2669" y="856"/>
                  </a:lnTo>
                  <a:lnTo>
                    <a:pt x="2668" y="855"/>
                  </a:lnTo>
                  <a:lnTo>
                    <a:pt x="2669" y="856"/>
                  </a:lnTo>
                  <a:lnTo>
                    <a:pt x="2669" y="856"/>
                  </a:lnTo>
                  <a:lnTo>
                    <a:pt x="2669" y="856"/>
                  </a:lnTo>
                  <a:lnTo>
                    <a:pt x="2669" y="856"/>
                  </a:lnTo>
                  <a:lnTo>
                    <a:pt x="2678" y="856"/>
                  </a:lnTo>
                  <a:lnTo>
                    <a:pt x="2678" y="856"/>
                  </a:lnTo>
                  <a:lnTo>
                    <a:pt x="2685" y="856"/>
                  </a:lnTo>
                  <a:lnTo>
                    <a:pt x="2685" y="856"/>
                  </a:lnTo>
                  <a:lnTo>
                    <a:pt x="2685" y="856"/>
                  </a:lnTo>
                  <a:lnTo>
                    <a:pt x="2685" y="856"/>
                  </a:lnTo>
                  <a:lnTo>
                    <a:pt x="2685" y="856"/>
                  </a:lnTo>
                  <a:lnTo>
                    <a:pt x="2685" y="856"/>
                  </a:lnTo>
                  <a:lnTo>
                    <a:pt x="2685" y="856"/>
                  </a:lnTo>
                  <a:lnTo>
                    <a:pt x="2685" y="856"/>
                  </a:lnTo>
                  <a:lnTo>
                    <a:pt x="2685" y="856"/>
                  </a:lnTo>
                  <a:lnTo>
                    <a:pt x="2685" y="857"/>
                  </a:lnTo>
                  <a:lnTo>
                    <a:pt x="2685" y="857"/>
                  </a:lnTo>
                  <a:lnTo>
                    <a:pt x="2685" y="859"/>
                  </a:lnTo>
                  <a:lnTo>
                    <a:pt x="2685" y="859"/>
                  </a:lnTo>
                  <a:lnTo>
                    <a:pt x="2687" y="862"/>
                  </a:lnTo>
                  <a:lnTo>
                    <a:pt x="2687" y="862"/>
                  </a:lnTo>
                  <a:lnTo>
                    <a:pt x="2688" y="862"/>
                  </a:lnTo>
                  <a:lnTo>
                    <a:pt x="2688" y="862"/>
                  </a:lnTo>
                  <a:lnTo>
                    <a:pt x="2690" y="862"/>
                  </a:lnTo>
                  <a:lnTo>
                    <a:pt x="2690" y="862"/>
                  </a:lnTo>
                  <a:lnTo>
                    <a:pt x="2695" y="859"/>
                  </a:lnTo>
                  <a:lnTo>
                    <a:pt x="2695" y="859"/>
                  </a:lnTo>
                  <a:lnTo>
                    <a:pt x="2697" y="857"/>
                  </a:lnTo>
                  <a:lnTo>
                    <a:pt x="2698" y="857"/>
                  </a:lnTo>
                  <a:lnTo>
                    <a:pt x="2698" y="857"/>
                  </a:lnTo>
                  <a:lnTo>
                    <a:pt x="2698" y="856"/>
                  </a:lnTo>
                  <a:lnTo>
                    <a:pt x="2698" y="857"/>
                  </a:lnTo>
                  <a:lnTo>
                    <a:pt x="2698" y="856"/>
                  </a:lnTo>
                  <a:lnTo>
                    <a:pt x="2698" y="857"/>
                  </a:lnTo>
                  <a:lnTo>
                    <a:pt x="2698" y="856"/>
                  </a:lnTo>
                  <a:lnTo>
                    <a:pt x="2698" y="857"/>
                  </a:lnTo>
                  <a:lnTo>
                    <a:pt x="2698" y="857"/>
                  </a:lnTo>
                  <a:lnTo>
                    <a:pt x="2698" y="856"/>
                  </a:lnTo>
                  <a:lnTo>
                    <a:pt x="2698" y="857"/>
                  </a:lnTo>
                  <a:lnTo>
                    <a:pt x="2698" y="855"/>
                  </a:lnTo>
                  <a:lnTo>
                    <a:pt x="2697" y="856"/>
                  </a:lnTo>
                  <a:lnTo>
                    <a:pt x="2697" y="856"/>
                  </a:lnTo>
                  <a:lnTo>
                    <a:pt x="2698" y="857"/>
                  </a:lnTo>
                  <a:lnTo>
                    <a:pt x="2698" y="855"/>
                  </a:lnTo>
                  <a:lnTo>
                    <a:pt x="2697" y="856"/>
                  </a:lnTo>
                  <a:lnTo>
                    <a:pt x="2697" y="856"/>
                  </a:lnTo>
                  <a:lnTo>
                    <a:pt x="2697" y="856"/>
                  </a:lnTo>
                  <a:lnTo>
                    <a:pt x="2697" y="856"/>
                  </a:lnTo>
                  <a:lnTo>
                    <a:pt x="2697" y="856"/>
                  </a:lnTo>
                  <a:lnTo>
                    <a:pt x="2697" y="856"/>
                  </a:lnTo>
                  <a:lnTo>
                    <a:pt x="2697" y="856"/>
                  </a:lnTo>
                  <a:lnTo>
                    <a:pt x="2697" y="857"/>
                  </a:lnTo>
                  <a:lnTo>
                    <a:pt x="2697" y="857"/>
                  </a:lnTo>
                  <a:lnTo>
                    <a:pt x="2697" y="863"/>
                  </a:lnTo>
                  <a:lnTo>
                    <a:pt x="2697" y="863"/>
                  </a:lnTo>
                  <a:lnTo>
                    <a:pt x="2697" y="865"/>
                  </a:lnTo>
                  <a:lnTo>
                    <a:pt x="2698" y="866"/>
                  </a:lnTo>
                  <a:lnTo>
                    <a:pt x="2698" y="866"/>
                  </a:lnTo>
                  <a:lnTo>
                    <a:pt x="2701" y="869"/>
                  </a:lnTo>
                  <a:lnTo>
                    <a:pt x="2701" y="869"/>
                  </a:lnTo>
                  <a:lnTo>
                    <a:pt x="2705" y="873"/>
                  </a:lnTo>
                  <a:lnTo>
                    <a:pt x="2705" y="873"/>
                  </a:lnTo>
                  <a:lnTo>
                    <a:pt x="2707" y="873"/>
                  </a:lnTo>
                  <a:lnTo>
                    <a:pt x="2705" y="873"/>
                  </a:lnTo>
                  <a:lnTo>
                    <a:pt x="2705" y="873"/>
                  </a:lnTo>
                  <a:lnTo>
                    <a:pt x="2707" y="873"/>
                  </a:lnTo>
                  <a:lnTo>
                    <a:pt x="2705" y="873"/>
                  </a:lnTo>
                  <a:lnTo>
                    <a:pt x="2707" y="873"/>
                  </a:lnTo>
                  <a:lnTo>
                    <a:pt x="2705" y="873"/>
                  </a:lnTo>
                  <a:lnTo>
                    <a:pt x="2705" y="873"/>
                  </a:lnTo>
                  <a:lnTo>
                    <a:pt x="2707" y="873"/>
                  </a:lnTo>
                  <a:lnTo>
                    <a:pt x="2705" y="873"/>
                  </a:lnTo>
                  <a:lnTo>
                    <a:pt x="2707" y="873"/>
                  </a:lnTo>
                  <a:lnTo>
                    <a:pt x="2707" y="872"/>
                  </a:lnTo>
                  <a:lnTo>
                    <a:pt x="2705" y="873"/>
                  </a:lnTo>
                  <a:lnTo>
                    <a:pt x="2707" y="873"/>
                  </a:lnTo>
                  <a:lnTo>
                    <a:pt x="2707" y="872"/>
                  </a:lnTo>
                  <a:lnTo>
                    <a:pt x="2707" y="872"/>
                  </a:lnTo>
                  <a:lnTo>
                    <a:pt x="2707" y="872"/>
                  </a:lnTo>
                  <a:lnTo>
                    <a:pt x="2707" y="872"/>
                  </a:lnTo>
                  <a:lnTo>
                    <a:pt x="2707" y="872"/>
                  </a:lnTo>
                  <a:lnTo>
                    <a:pt x="2707" y="872"/>
                  </a:lnTo>
                  <a:lnTo>
                    <a:pt x="2707" y="872"/>
                  </a:lnTo>
                  <a:lnTo>
                    <a:pt x="2705" y="873"/>
                  </a:lnTo>
                  <a:lnTo>
                    <a:pt x="2705" y="873"/>
                  </a:lnTo>
                  <a:lnTo>
                    <a:pt x="2701" y="873"/>
                  </a:lnTo>
                  <a:lnTo>
                    <a:pt x="2701" y="873"/>
                  </a:lnTo>
                  <a:lnTo>
                    <a:pt x="2697" y="875"/>
                  </a:lnTo>
                  <a:lnTo>
                    <a:pt x="2697" y="875"/>
                  </a:lnTo>
                  <a:lnTo>
                    <a:pt x="2695" y="876"/>
                  </a:lnTo>
                  <a:lnTo>
                    <a:pt x="2695" y="876"/>
                  </a:lnTo>
                  <a:lnTo>
                    <a:pt x="2694" y="878"/>
                  </a:lnTo>
                  <a:lnTo>
                    <a:pt x="2694" y="878"/>
                  </a:lnTo>
                  <a:lnTo>
                    <a:pt x="2695" y="882"/>
                  </a:lnTo>
                  <a:lnTo>
                    <a:pt x="2695" y="882"/>
                  </a:lnTo>
                  <a:lnTo>
                    <a:pt x="2700" y="886"/>
                  </a:lnTo>
                  <a:lnTo>
                    <a:pt x="2700" y="886"/>
                  </a:lnTo>
                  <a:lnTo>
                    <a:pt x="2701" y="888"/>
                  </a:lnTo>
                  <a:lnTo>
                    <a:pt x="2701" y="888"/>
                  </a:lnTo>
                  <a:lnTo>
                    <a:pt x="2704" y="889"/>
                  </a:lnTo>
                  <a:lnTo>
                    <a:pt x="2704" y="889"/>
                  </a:lnTo>
                  <a:lnTo>
                    <a:pt x="2704" y="889"/>
                  </a:lnTo>
                  <a:lnTo>
                    <a:pt x="2707" y="889"/>
                  </a:lnTo>
                  <a:lnTo>
                    <a:pt x="2707" y="889"/>
                  </a:lnTo>
                  <a:lnTo>
                    <a:pt x="2718" y="884"/>
                  </a:lnTo>
                  <a:lnTo>
                    <a:pt x="2718" y="884"/>
                  </a:lnTo>
                  <a:lnTo>
                    <a:pt x="2730" y="878"/>
                  </a:lnTo>
                  <a:lnTo>
                    <a:pt x="2730" y="878"/>
                  </a:lnTo>
                  <a:lnTo>
                    <a:pt x="2733" y="876"/>
                  </a:lnTo>
                  <a:lnTo>
                    <a:pt x="2734" y="876"/>
                  </a:lnTo>
                  <a:lnTo>
                    <a:pt x="2734" y="876"/>
                  </a:lnTo>
                  <a:lnTo>
                    <a:pt x="2740" y="878"/>
                  </a:lnTo>
                  <a:lnTo>
                    <a:pt x="2740" y="878"/>
                  </a:lnTo>
                  <a:lnTo>
                    <a:pt x="2746" y="879"/>
                  </a:lnTo>
                  <a:lnTo>
                    <a:pt x="2746" y="879"/>
                  </a:lnTo>
                  <a:lnTo>
                    <a:pt x="2750" y="878"/>
                  </a:lnTo>
                  <a:lnTo>
                    <a:pt x="2750" y="878"/>
                  </a:lnTo>
                  <a:lnTo>
                    <a:pt x="2750" y="878"/>
                  </a:lnTo>
                  <a:lnTo>
                    <a:pt x="2750" y="878"/>
                  </a:lnTo>
                  <a:lnTo>
                    <a:pt x="2758" y="879"/>
                  </a:lnTo>
                  <a:lnTo>
                    <a:pt x="2759" y="879"/>
                  </a:lnTo>
                  <a:lnTo>
                    <a:pt x="2759" y="879"/>
                  </a:lnTo>
                  <a:lnTo>
                    <a:pt x="2762" y="878"/>
                  </a:lnTo>
                  <a:lnTo>
                    <a:pt x="2765" y="878"/>
                  </a:lnTo>
                  <a:lnTo>
                    <a:pt x="2765" y="878"/>
                  </a:lnTo>
                  <a:lnTo>
                    <a:pt x="2771" y="875"/>
                  </a:lnTo>
                  <a:lnTo>
                    <a:pt x="2771" y="875"/>
                  </a:lnTo>
                  <a:lnTo>
                    <a:pt x="2776" y="872"/>
                  </a:lnTo>
                  <a:lnTo>
                    <a:pt x="2776" y="872"/>
                  </a:lnTo>
                  <a:lnTo>
                    <a:pt x="2778" y="869"/>
                  </a:lnTo>
                  <a:lnTo>
                    <a:pt x="2778" y="869"/>
                  </a:lnTo>
                  <a:lnTo>
                    <a:pt x="2778" y="866"/>
                  </a:lnTo>
                  <a:lnTo>
                    <a:pt x="2778" y="866"/>
                  </a:lnTo>
                  <a:lnTo>
                    <a:pt x="2778" y="863"/>
                  </a:lnTo>
                  <a:lnTo>
                    <a:pt x="2778" y="863"/>
                  </a:lnTo>
                  <a:lnTo>
                    <a:pt x="2776" y="860"/>
                  </a:lnTo>
                  <a:lnTo>
                    <a:pt x="2776" y="860"/>
                  </a:lnTo>
                  <a:lnTo>
                    <a:pt x="2774" y="859"/>
                  </a:lnTo>
                  <a:lnTo>
                    <a:pt x="2774" y="859"/>
                  </a:lnTo>
                  <a:lnTo>
                    <a:pt x="2769" y="859"/>
                  </a:lnTo>
                  <a:lnTo>
                    <a:pt x="2769" y="859"/>
                  </a:lnTo>
                  <a:lnTo>
                    <a:pt x="2758" y="860"/>
                  </a:lnTo>
                  <a:lnTo>
                    <a:pt x="2758" y="860"/>
                  </a:lnTo>
                  <a:lnTo>
                    <a:pt x="2758" y="860"/>
                  </a:lnTo>
                  <a:lnTo>
                    <a:pt x="2758" y="860"/>
                  </a:lnTo>
                  <a:lnTo>
                    <a:pt x="2758" y="860"/>
                  </a:lnTo>
                  <a:lnTo>
                    <a:pt x="2758" y="860"/>
                  </a:lnTo>
                  <a:lnTo>
                    <a:pt x="2758" y="860"/>
                  </a:lnTo>
                  <a:lnTo>
                    <a:pt x="2758" y="860"/>
                  </a:lnTo>
                  <a:lnTo>
                    <a:pt x="2756" y="862"/>
                  </a:lnTo>
                  <a:lnTo>
                    <a:pt x="2758" y="860"/>
                  </a:lnTo>
                  <a:lnTo>
                    <a:pt x="2758" y="860"/>
                  </a:lnTo>
                  <a:lnTo>
                    <a:pt x="2756" y="862"/>
                  </a:lnTo>
                  <a:lnTo>
                    <a:pt x="2758" y="860"/>
                  </a:lnTo>
                  <a:lnTo>
                    <a:pt x="2756" y="862"/>
                  </a:lnTo>
                  <a:lnTo>
                    <a:pt x="2758" y="862"/>
                  </a:lnTo>
                  <a:lnTo>
                    <a:pt x="2758" y="860"/>
                  </a:lnTo>
                  <a:lnTo>
                    <a:pt x="2756" y="862"/>
                  </a:lnTo>
                  <a:lnTo>
                    <a:pt x="2758" y="862"/>
                  </a:lnTo>
                  <a:lnTo>
                    <a:pt x="2758" y="862"/>
                  </a:lnTo>
                  <a:lnTo>
                    <a:pt x="2758" y="862"/>
                  </a:lnTo>
                  <a:lnTo>
                    <a:pt x="2758" y="862"/>
                  </a:lnTo>
                  <a:lnTo>
                    <a:pt x="2758" y="862"/>
                  </a:lnTo>
                  <a:lnTo>
                    <a:pt x="2758" y="862"/>
                  </a:lnTo>
                  <a:lnTo>
                    <a:pt x="2758" y="862"/>
                  </a:lnTo>
                  <a:lnTo>
                    <a:pt x="2759" y="860"/>
                  </a:lnTo>
                  <a:lnTo>
                    <a:pt x="2759" y="860"/>
                  </a:lnTo>
                  <a:lnTo>
                    <a:pt x="2760" y="857"/>
                  </a:lnTo>
                  <a:lnTo>
                    <a:pt x="2760" y="857"/>
                  </a:lnTo>
                  <a:lnTo>
                    <a:pt x="2765" y="853"/>
                  </a:lnTo>
                  <a:lnTo>
                    <a:pt x="2768" y="849"/>
                  </a:lnTo>
                  <a:lnTo>
                    <a:pt x="2768" y="849"/>
                  </a:lnTo>
                  <a:lnTo>
                    <a:pt x="2774" y="842"/>
                  </a:lnTo>
                  <a:lnTo>
                    <a:pt x="2774" y="842"/>
                  </a:lnTo>
                  <a:lnTo>
                    <a:pt x="2779" y="837"/>
                  </a:lnTo>
                  <a:lnTo>
                    <a:pt x="2779" y="837"/>
                  </a:lnTo>
                  <a:lnTo>
                    <a:pt x="2787" y="834"/>
                  </a:lnTo>
                  <a:lnTo>
                    <a:pt x="2787" y="834"/>
                  </a:lnTo>
                  <a:lnTo>
                    <a:pt x="2791" y="831"/>
                  </a:lnTo>
                  <a:lnTo>
                    <a:pt x="2791" y="831"/>
                  </a:lnTo>
                  <a:lnTo>
                    <a:pt x="2794" y="823"/>
                  </a:lnTo>
                  <a:lnTo>
                    <a:pt x="2794" y="823"/>
                  </a:lnTo>
                  <a:lnTo>
                    <a:pt x="2800" y="807"/>
                  </a:lnTo>
                  <a:lnTo>
                    <a:pt x="2800" y="807"/>
                  </a:lnTo>
                  <a:lnTo>
                    <a:pt x="2804" y="801"/>
                  </a:lnTo>
                  <a:lnTo>
                    <a:pt x="2805" y="797"/>
                  </a:lnTo>
                  <a:lnTo>
                    <a:pt x="2805" y="797"/>
                  </a:lnTo>
                  <a:lnTo>
                    <a:pt x="2811" y="792"/>
                  </a:lnTo>
                  <a:lnTo>
                    <a:pt x="2818" y="789"/>
                  </a:lnTo>
                  <a:lnTo>
                    <a:pt x="2818" y="789"/>
                  </a:lnTo>
                  <a:lnTo>
                    <a:pt x="2824" y="786"/>
                  </a:lnTo>
                  <a:lnTo>
                    <a:pt x="2824" y="786"/>
                  </a:lnTo>
                  <a:lnTo>
                    <a:pt x="2829" y="785"/>
                  </a:lnTo>
                  <a:lnTo>
                    <a:pt x="2830" y="785"/>
                  </a:lnTo>
                  <a:lnTo>
                    <a:pt x="2829" y="785"/>
                  </a:lnTo>
                  <a:lnTo>
                    <a:pt x="2829" y="785"/>
                  </a:lnTo>
                  <a:lnTo>
                    <a:pt x="2830" y="785"/>
                  </a:lnTo>
                  <a:lnTo>
                    <a:pt x="2830" y="785"/>
                  </a:lnTo>
                  <a:lnTo>
                    <a:pt x="2834" y="785"/>
                  </a:lnTo>
                  <a:lnTo>
                    <a:pt x="2834" y="785"/>
                  </a:lnTo>
                  <a:lnTo>
                    <a:pt x="2839" y="785"/>
                  </a:lnTo>
                  <a:lnTo>
                    <a:pt x="2839" y="785"/>
                  </a:lnTo>
                  <a:lnTo>
                    <a:pt x="2843" y="784"/>
                  </a:lnTo>
                  <a:lnTo>
                    <a:pt x="2845" y="781"/>
                  </a:lnTo>
                  <a:lnTo>
                    <a:pt x="2845" y="781"/>
                  </a:lnTo>
                  <a:lnTo>
                    <a:pt x="2850" y="773"/>
                  </a:lnTo>
                  <a:lnTo>
                    <a:pt x="2850" y="773"/>
                  </a:lnTo>
                  <a:lnTo>
                    <a:pt x="2852" y="771"/>
                  </a:lnTo>
                  <a:lnTo>
                    <a:pt x="2853" y="771"/>
                  </a:lnTo>
                  <a:lnTo>
                    <a:pt x="2853" y="771"/>
                  </a:lnTo>
                  <a:lnTo>
                    <a:pt x="2853" y="769"/>
                  </a:lnTo>
                  <a:lnTo>
                    <a:pt x="2853" y="771"/>
                  </a:lnTo>
                  <a:lnTo>
                    <a:pt x="2853" y="771"/>
                  </a:lnTo>
                  <a:lnTo>
                    <a:pt x="2853" y="769"/>
                  </a:lnTo>
                  <a:lnTo>
                    <a:pt x="2853" y="771"/>
                  </a:lnTo>
                  <a:lnTo>
                    <a:pt x="2853" y="771"/>
                  </a:lnTo>
                  <a:lnTo>
                    <a:pt x="2853" y="771"/>
                  </a:lnTo>
                  <a:lnTo>
                    <a:pt x="2852" y="768"/>
                  </a:lnTo>
                  <a:lnTo>
                    <a:pt x="2852" y="771"/>
                  </a:lnTo>
                  <a:lnTo>
                    <a:pt x="2852" y="771"/>
                  </a:lnTo>
                  <a:lnTo>
                    <a:pt x="2853" y="771"/>
                  </a:lnTo>
                  <a:lnTo>
                    <a:pt x="2852" y="768"/>
                  </a:lnTo>
                  <a:lnTo>
                    <a:pt x="2852" y="771"/>
                  </a:lnTo>
                  <a:lnTo>
                    <a:pt x="2852" y="768"/>
                  </a:lnTo>
                  <a:lnTo>
                    <a:pt x="2850" y="771"/>
                  </a:lnTo>
                  <a:lnTo>
                    <a:pt x="2852" y="771"/>
                  </a:lnTo>
                  <a:lnTo>
                    <a:pt x="2852" y="768"/>
                  </a:lnTo>
                  <a:lnTo>
                    <a:pt x="2850" y="771"/>
                  </a:lnTo>
                  <a:lnTo>
                    <a:pt x="2852" y="768"/>
                  </a:lnTo>
                  <a:lnTo>
                    <a:pt x="2850" y="769"/>
                  </a:lnTo>
                  <a:lnTo>
                    <a:pt x="2850" y="769"/>
                  </a:lnTo>
                  <a:lnTo>
                    <a:pt x="2850" y="771"/>
                  </a:lnTo>
                  <a:lnTo>
                    <a:pt x="2852" y="768"/>
                  </a:lnTo>
                  <a:lnTo>
                    <a:pt x="2850" y="769"/>
                  </a:lnTo>
                  <a:lnTo>
                    <a:pt x="2852" y="768"/>
                  </a:lnTo>
                  <a:lnTo>
                    <a:pt x="2850" y="768"/>
                  </a:lnTo>
                  <a:lnTo>
                    <a:pt x="2850" y="769"/>
                  </a:lnTo>
                  <a:lnTo>
                    <a:pt x="2852" y="768"/>
                  </a:lnTo>
                  <a:lnTo>
                    <a:pt x="2850" y="768"/>
                  </a:lnTo>
                  <a:lnTo>
                    <a:pt x="2850" y="768"/>
                  </a:lnTo>
                  <a:lnTo>
                    <a:pt x="2850" y="768"/>
                  </a:lnTo>
                  <a:lnTo>
                    <a:pt x="2850" y="768"/>
                  </a:lnTo>
                  <a:lnTo>
                    <a:pt x="2850" y="768"/>
                  </a:lnTo>
                  <a:lnTo>
                    <a:pt x="2850" y="768"/>
                  </a:lnTo>
                  <a:lnTo>
                    <a:pt x="2850" y="768"/>
                  </a:lnTo>
                  <a:lnTo>
                    <a:pt x="2849" y="771"/>
                  </a:lnTo>
                  <a:lnTo>
                    <a:pt x="2849" y="771"/>
                  </a:lnTo>
                  <a:lnTo>
                    <a:pt x="2845" y="779"/>
                  </a:lnTo>
                  <a:lnTo>
                    <a:pt x="2845" y="779"/>
                  </a:lnTo>
                  <a:lnTo>
                    <a:pt x="2842" y="788"/>
                  </a:lnTo>
                  <a:lnTo>
                    <a:pt x="2842" y="788"/>
                  </a:lnTo>
                  <a:lnTo>
                    <a:pt x="2842" y="791"/>
                  </a:lnTo>
                  <a:lnTo>
                    <a:pt x="2839" y="795"/>
                  </a:lnTo>
                  <a:lnTo>
                    <a:pt x="2839" y="795"/>
                  </a:lnTo>
                  <a:lnTo>
                    <a:pt x="2836" y="798"/>
                  </a:lnTo>
                  <a:lnTo>
                    <a:pt x="2834" y="804"/>
                  </a:lnTo>
                  <a:lnTo>
                    <a:pt x="2834" y="804"/>
                  </a:lnTo>
                  <a:lnTo>
                    <a:pt x="2834" y="805"/>
                  </a:lnTo>
                  <a:lnTo>
                    <a:pt x="2834" y="805"/>
                  </a:lnTo>
                  <a:lnTo>
                    <a:pt x="2834" y="808"/>
                  </a:lnTo>
                  <a:lnTo>
                    <a:pt x="2836" y="810"/>
                  </a:lnTo>
                  <a:lnTo>
                    <a:pt x="2836" y="810"/>
                  </a:lnTo>
                  <a:lnTo>
                    <a:pt x="2839" y="813"/>
                  </a:lnTo>
                  <a:lnTo>
                    <a:pt x="2842" y="814"/>
                  </a:lnTo>
                  <a:lnTo>
                    <a:pt x="2842" y="814"/>
                  </a:lnTo>
                  <a:lnTo>
                    <a:pt x="2846" y="817"/>
                  </a:lnTo>
                  <a:lnTo>
                    <a:pt x="2846" y="817"/>
                  </a:lnTo>
                  <a:lnTo>
                    <a:pt x="2849" y="818"/>
                  </a:lnTo>
                  <a:lnTo>
                    <a:pt x="2849" y="818"/>
                  </a:lnTo>
                  <a:lnTo>
                    <a:pt x="2852" y="817"/>
                  </a:lnTo>
                  <a:lnTo>
                    <a:pt x="2852" y="817"/>
                  </a:lnTo>
                  <a:lnTo>
                    <a:pt x="2855" y="813"/>
                  </a:lnTo>
                  <a:lnTo>
                    <a:pt x="2855" y="813"/>
                  </a:lnTo>
                  <a:lnTo>
                    <a:pt x="2858" y="810"/>
                  </a:lnTo>
                  <a:lnTo>
                    <a:pt x="2858" y="810"/>
                  </a:lnTo>
                  <a:lnTo>
                    <a:pt x="2860" y="805"/>
                  </a:lnTo>
                  <a:lnTo>
                    <a:pt x="2860" y="805"/>
                  </a:lnTo>
                  <a:lnTo>
                    <a:pt x="2869" y="797"/>
                  </a:lnTo>
                  <a:lnTo>
                    <a:pt x="2869" y="797"/>
                  </a:lnTo>
                  <a:lnTo>
                    <a:pt x="2876" y="789"/>
                  </a:lnTo>
                  <a:lnTo>
                    <a:pt x="2876" y="789"/>
                  </a:lnTo>
                  <a:lnTo>
                    <a:pt x="2878" y="786"/>
                  </a:lnTo>
                  <a:lnTo>
                    <a:pt x="2878" y="785"/>
                  </a:lnTo>
                  <a:lnTo>
                    <a:pt x="2878" y="785"/>
                  </a:lnTo>
                  <a:lnTo>
                    <a:pt x="2876" y="778"/>
                  </a:lnTo>
                  <a:lnTo>
                    <a:pt x="2876" y="778"/>
                  </a:lnTo>
                  <a:lnTo>
                    <a:pt x="2875" y="771"/>
                  </a:lnTo>
                  <a:lnTo>
                    <a:pt x="2875" y="771"/>
                  </a:lnTo>
                  <a:lnTo>
                    <a:pt x="2875" y="771"/>
                  </a:lnTo>
                  <a:lnTo>
                    <a:pt x="2875" y="771"/>
                  </a:lnTo>
                  <a:lnTo>
                    <a:pt x="2873" y="769"/>
                  </a:lnTo>
                  <a:lnTo>
                    <a:pt x="2873" y="769"/>
                  </a:lnTo>
                  <a:lnTo>
                    <a:pt x="2875" y="766"/>
                  </a:lnTo>
                  <a:lnTo>
                    <a:pt x="2876" y="765"/>
                  </a:lnTo>
                  <a:lnTo>
                    <a:pt x="2876" y="765"/>
                  </a:lnTo>
                  <a:lnTo>
                    <a:pt x="2881" y="762"/>
                  </a:lnTo>
                  <a:lnTo>
                    <a:pt x="2881" y="762"/>
                  </a:lnTo>
                  <a:lnTo>
                    <a:pt x="2888" y="759"/>
                  </a:lnTo>
                  <a:lnTo>
                    <a:pt x="2892" y="756"/>
                  </a:lnTo>
                  <a:lnTo>
                    <a:pt x="2891" y="755"/>
                  </a:lnTo>
                  <a:lnTo>
                    <a:pt x="2891" y="756"/>
                  </a:lnTo>
                  <a:lnTo>
                    <a:pt x="2892" y="756"/>
                  </a:lnTo>
                  <a:lnTo>
                    <a:pt x="2891" y="755"/>
                  </a:lnTo>
                  <a:lnTo>
                    <a:pt x="2891" y="756"/>
                  </a:lnTo>
                  <a:lnTo>
                    <a:pt x="2891" y="755"/>
                  </a:lnTo>
                  <a:lnTo>
                    <a:pt x="2891" y="756"/>
                  </a:lnTo>
                  <a:lnTo>
                    <a:pt x="2891" y="756"/>
                  </a:lnTo>
                  <a:lnTo>
                    <a:pt x="2891" y="755"/>
                  </a:lnTo>
                  <a:lnTo>
                    <a:pt x="2891" y="756"/>
                  </a:lnTo>
                  <a:lnTo>
                    <a:pt x="2891" y="755"/>
                  </a:lnTo>
                  <a:lnTo>
                    <a:pt x="2889" y="755"/>
                  </a:lnTo>
                  <a:lnTo>
                    <a:pt x="2889" y="755"/>
                  </a:lnTo>
                  <a:lnTo>
                    <a:pt x="2891" y="756"/>
                  </a:lnTo>
                  <a:lnTo>
                    <a:pt x="2891" y="755"/>
                  </a:lnTo>
                  <a:lnTo>
                    <a:pt x="2889" y="755"/>
                  </a:lnTo>
                  <a:lnTo>
                    <a:pt x="2891" y="755"/>
                  </a:lnTo>
                  <a:lnTo>
                    <a:pt x="2889" y="755"/>
                  </a:lnTo>
                  <a:lnTo>
                    <a:pt x="2889" y="755"/>
                  </a:lnTo>
                  <a:lnTo>
                    <a:pt x="2891" y="755"/>
                  </a:lnTo>
                  <a:lnTo>
                    <a:pt x="2889" y="755"/>
                  </a:lnTo>
                  <a:lnTo>
                    <a:pt x="2889" y="755"/>
                  </a:lnTo>
                  <a:lnTo>
                    <a:pt x="2889" y="755"/>
                  </a:lnTo>
                  <a:lnTo>
                    <a:pt x="2889" y="757"/>
                  </a:lnTo>
                  <a:lnTo>
                    <a:pt x="2889" y="760"/>
                  </a:lnTo>
                  <a:lnTo>
                    <a:pt x="2889" y="760"/>
                  </a:lnTo>
                  <a:lnTo>
                    <a:pt x="2889" y="763"/>
                  </a:lnTo>
                  <a:lnTo>
                    <a:pt x="2889" y="763"/>
                  </a:lnTo>
                  <a:lnTo>
                    <a:pt x="2891" y="765"/>
                  </a:lnTo>
                  <a:lnTo>
                    <a:pt x="2891" y="765"/>
                  </a:lnTo>
                  <a:lnTo>
                    <a:pt x="2889" y="765"/>
                  </a:lnTo>
                  <a:lnTo>
                    <a:pt x="2889" y="765"/>
                  </a:lnTo>
                  <a:lnTo>
                    <a:pt x="2888" y="768"/>
                  </a:lnTo>
                  <a:lnTo>
                    <a:pt x="2888" y="768"/>
                  </a:lnTo>
                  <a:lnTo>
                    <a:pt x="2884" y="773"/>
                  </a:lnTo>
                  <a:lnTo>
                    <a:pt x="2884" y="773"/>
                  </a:lnTo>
                  <a:lnTo>
                    <a:pt x="2881" y="784"/>
                  </a:lnTo>
                  <a:lnTo>
                    <a:pt x="2881" y="784"/>
                  </a:lnTo>
                  <a:lnTo>
                    <a:pt x="2881" y="789"/>
                  </a:lnTo>
                  <a:lnTo>
                    <a:pt x="2881" y="789"/>
                  </a:lnTo>
                  <a:lnTo>
                    <a:pt x="2879" y="792"/>
                  </a:lnTo>
                  <a:lnTo>
                    <a:pt x="2879" y="792"/>
                  </a:lnTo>
                  <a:lnTo>
                    <a:pt x="2881" y="798"/>
                  </a:lnTo>
                  <a:lnTo>
                    <a:pt x="2881" y="798"/>
                  </a:lnTo>
                  <a:lnTo>
                    <a:pt x="2884" y="804"/>
                  </a:lnTo>
                  <a:lnTo>
                    <a:pt x="2885" y="802"/>
                  </a:lnTo>
                  <a:lnTo>
                    <a:pt x="2884" y="802"/>
                  </a:lnTo>
                  <a:lnTo>
                    <a:pt x="2884" y="804"/>
                  </a:lnTo>
                  <a:lnTo>
                    <a:pt x="2885" y="802"/>
                  </a:lnTo>
                  <a:lnTo>
                    <a:pt x="2884" y="802"/>
                  </a:lnTo>
                  <a:lnTo>
                    <a:pt x="2884" y="802"/>
                  </a:lnTo>
                  <a:lnTo>
                    <a:pt x="2884" y="802"/>
                  </a:lnTo>
                  <a:lnTo>
                    <a:pt x="2884" y="802"/>
                  </a:lnTo>
                  <a:lnTo>
                    <a:pt x="2884" y="802"/>
                  </a:lnTo>
                  <a:lnTo>
                    <a:pt x="2884" y="802"/>
                  </a:lnTo>
                  <a:lnTo>
                    <a:pt x="2884" y="802"/>
                  </a:lnTo>
                  <a:lnTo>
                    <a:pt x="2882" y="805"/>
                  </a:lnTo>
                  <a:lnTo>
                    <a:pt x="2882" y="805"/>
                  </a:lnTo>
                  <a:lnTo>
                    <a:pt x="2879" y="807"/>
                  </a:lnTo>
                  <a:lnTo>
                    <a:pt x="2879" y="807"/>
                  </a:lnTo>
                  <a:lnTo>
                    <a:pt x="2878" y="811"/>
                  </a:lnTo>
                  <a:lnTo>
                    <a:pt x="2878" y="811"/>
                  </a:lnTo>
                  <a:lnTo>
                    <a:pt x="2878" y="814"/>
                  </a:lnTo>
                  <a:lnTo>
                    <a:pt x="2878" y="814"/>
                  </a:lnTo>
                  <a:lnTo>
                    <a:pt x="2882" y="818"/>
                  </a:lnTo>
                  <a:lnTo>
                    <a:pt x="2884" y="817"/>
                  </a:lnTo>
                  <a:lnTo>
                    <a:pt x="2882" y="817"/>
                  </a:lnTo>
                  <a:lnTo>
                    <a:pt x="2882" y="817"/>
                  </a:lnTo>
                  <a:lnTo>
                    <a:pt x="2882" y="818"/>
                  </a:lnTo>
                  <a:lnTo>
                    <a:pt x="2884" y="817"/>
                  </a:lnTo>
                  <a:lnTo>
                    <a:pt x="2882" y="817"/>
                  </a:lnTo>
                  <a:lnTo>
                    <a:pt x="2884" y="817"/>
                  </a:lnTo>
                  <a:lnTo>
                    <a:pt x="2882" y="815"/>
                  </a:lnTo>
                  <a:lnTo>
                    <a:pt x="2882" y="815"/>
                  </a:lnTo>
                  <a:lnTo>
                    <a:pt x="2882" y="817"/>
                  </a:lnTo>
                  <a:lnTo>
                    <a:pt x="2884" y="817"/>
                  </a:lnTo>
                  <a:lnTo>
                    <a:pt x="2882" y="815"/>
                  </a:lnTo>
                  <a:lnTo>
                    <a:pt x="2882" y="815"/>
                  </a:lnTo>
                  <a:lnTo>
                    <a:pt x="2881" y="817"/>
                  </a:lnTo>
                  <a:lnTo>
                    <a:pt x="2881" y="817"/>
                  </a:lnTo>
                  <a:lnTo>
                    <a:pt x="2872" y="824"/>
                  </a:lnTo>
                  <a:lnTo>
                    <a:pt x="2872" y="824"/>
                  </a:lnTo>
                  <a:lnTo>
                    <a:pt x="2868" y="828"/>
                  </a:lnTo>
                  <a:lnTo>
                    <a:pt x="2868" y="828"/>
                  </a:lnTo>
                  <a:lnTo>
                    <a:pt x="2866" y="830"/>
                  </a:lnTo>
                  <a:lnTo>
                    <a:pt x="2865" y="833"/>
                  </a:lnTo>
                  <a:lnTo>
                    <a:pt x="2865" y="833"/>
                  </a:lnTo>
                  <a:lnTo>
                    <a:pt x="2863" y="836"/>
                  </a:lnTo>
                  <a:lnTo>
                    <a:pt x="2862" y="839"/>
                  </a:lnTo>
                  <a:lnTo>
                    <a:pt x="2862" y="839"/>
                  </a:lnTo>
                  <a:lnTo>
                    <a:pt x="2855" y="843"/>
                  </a:lnTo>
                  <a:lnTo>
                    <a:pt x="2855" y="843"/>
                  </a:lnTo>
                  <a:lnTo>
                    <a:pt x="2849" y="849"/>
                  </a:lnTo>
                  <a:lnTo>
                    <a:pt x="2849" y="849"/>
                  </a:lnTo>
                  <a:lnTo>
                    <a:pt x="2827" y="870"/>
                  </a:lnTo>
                  <a:lnTo>
                    <a:pt x="2827" y="870"/>
                  </a:lnTo>
                  <a:lnTo>
                    <a:pt x="2823" y="878"/>
                  </a:lnTo>
                  <a:lnTo>
                    <a:pt x="2823" y="878"/>
                  </a:lnTo>
                  <a:lnTo>
                    <a:pt x="2814" y="892"/>
                  </a:lnTo>
                  <a:lnTo>
                    <a:pt x="2810" y="902"/>
                  </a:lnTo>
                  <a:lnTo>
                    <a:pt x="2810" y="902"/>
                  </a:lnTo>
                  <a:lnTo>
                    <a:pt x="2808" y="904"/>
                  </a:lnTo>
                  <a:lnTo>
                    <a:pt x="2808" y="904"/>
                  </a:lnTo>
                  <a:lnTo>
                    <a:pt x="2801" y="907"/>
                  </a:lnTo>
                  <a:lnTo>
                    <a:pt x="2801" y="907"/>
                  </a:lnTo>
                  <a:lnTo>
                    <a:pt x="2798" y="907"/>
                  </a:lnTo>
                  <a:lnTo>
                    <a:pt x="2798" y="907"/>
                  </a:lnTo>
                  <a:lnTo>
                    <a:pt x="2794" y="908"/>
                  </a:lnTo>
                  <a:lnTo>
                    <a:pt x="2794" y="908"/>
                  </a:lnTo>
                  <a:lnTo>
                    <a:pt x="2792" y="911"/>
                  </a:lnTo>
                  <a:lnTo>
                    <a:pt x="2789" y="914"/>
                  </a:lnTo>
                  <a:lnTo>
                    <a:pt x="2789" y="914"/>
                  </a:lnTo>
                  <a:lnTo>
                    <a:pt x="2789" y="921"/>
                  </a:lnTo>
                  <a:lnTo>
                    <a:pt x="2789" y="921"/>
                  </a:lnTo>
                  <a:lnTo>
                    <a:pt x="2788" y="923"/>
                  </a:lnTo>
                  <a:lnTo>
                    <a:pt x="2788" y="923"/>
                  </a:lnTo>
                  <a:lnTo>
                    <a:pt x="2778" y="939"/>
                  </a:lnTo>
                  <a:lnTo>
                    <a:pt x="2778" y="939"/>
                  </a:lnTo>
                  <a:lnTo>
                    <a:pt x="2772" y="947"/>
                  </a:lnTo>
                  <a:lnTo>
                    <a:pt x="2772" y="947"/>
                  </a:lnTo>
                  <a:lnTo>
                    <a:pt x="2769" y="952"/>
                  </a:lnTo>
                  <a:lnTo>
                    <a:pt x="2769" y="952"/>
                  </a:lnTo>
                  <a:lnTo>
                    <a:pt x="2768" y="956"/>
                  </a:lnTo>
                  <a:lnTo>
                    <a:pt x="2768" y="956"/>
                  </a:lnTo>
                  <a:lnTo>
                    <a:pt x="2766" y="973"/>
                  </a:lnTo>
                  <a:lnTo>
                    <a:pt x="2766" y="973"/>
                  </a:lnTo>
                  <a:lnTo>
                    <a:pt x="2768" y="988"/>
                  </a:lnTo>
                  <a:lnTo>
                    <a:pt x="2769" y="999"/>
                  </a:lnTo>
                  <a:lnTo>
                    <a:pt x="2769" y="999"/>
                  </a:lnTo>
                  <a:lnTo>
                    <a:pt x="2771" y="1010"/>
                  </a:lnTo>
                  <a:lnTo>
                    <a:pt x="2772" y="1020"/>
                  </a:lnTo>
                  <a:lnTo>
                    <a:pt x="2772" y="1020"/>
                  </a:lnTo>
                  <a:lnTo>
                    <a:pt x="2774" y="1040"/>
                  </a:lnTo>
                  <a:lnTo>
                    <a:pt x="2774" y="1040"/>
                  </a:lnTo>
                  <a:lnTo>
                    <a:pt x="2775" y="1047"/>
                  </a:lnTo>
                  <a:lnTo>
                    <a:pt x="2776" y="1053"/>
                  </a:lnTo>
                  <a:lnTo>
                    <a:pt x="2776" y="1053"/>
                  </a:lnTo>
                  <a:lnTo>
                    <a:pt x="2779" y="1057"/>
                  </a:lnTo>
                  <a:lnTo>
                    <a:pt x="2779" y="1057"/>
                  </a:lnTo>
                  <a:lnTo>
                    <a:pt x="2781" y="1060"/>
                  </a:lnTo>
                  <a:lnTo>
                    <a:pt x="2781" y="1060"/>
                  </a:lnTo>
                  <a:lnTo>
                    <a:pt x="2781" y="1060"/>
                  </a:lnTo>
                  <a:lnTo>
                    <a:pt x="2782" y="1062"/>
                  </a:lnTo>
                  <a:lnTo>
                    <a:pt x="2782" y="1062"/>
                  </a:lnTo>
                  <a:lnTo>
                    <a:pt x="2787" y="1067"/>
                  </a:lnTo>
                  <a:lnTo>
                    <a:pt x="2788" y="1075"/>
                  </a:lnTo>
                  <a:lnTo>
                    <a:pt x="2788" y="1075"/>
                  </a:lnTo>
                  <a:lnTo>
                    <a:pt x="2789" y="1085"/>
                  </a:lnTo>
                  <a:lnTo>
                    <a:pt x="2789" y="1085"/>
                  </a:lnTo>
                  <a:lnTo>
                    <a:pt x="2791" y="1092"/>
                  </a:lnTo>
                  <a:lnTo>
                    <a:pt x="2794" y="1099"/>
                  </a:lnTo>
                  <a:lnTo>
                    <a:pt x="2794" y="1099"/>
                  </a:lnTo>
                  <a:lnTo>
                    <a:pt x="2797" y="1101"/>
                  </a:lnTo>
                  <a:lnTo>
                    <a:pt x="2797" y="1101"/>
                  </a:lnTo>
                  <a:lnTo>
                    <a:pt x="2798" y="1102"/>
                  </a:lnTo>
                  <a:lnTo>
                    <a:pt x="2798" y="1102"/>
                  </a:lnTo>
                  <a:lnTo>
                    <a:pt x="2801" y="1101"/>
                  </a:lnTo>
                  <a:lnTo>
                    <a:pt x="2801" y="1101"/>
                  </a:lnTo>
                  <a:lnTo>
                    <a:pt x="2804" y="1096"/>
                  </a:lnTo>
                  <a:lnTo>
                    <a:pt x="2804" y="1096"/>
                  </a:lnTo>
                  <a:lnTo>
                    <a:pt x="2808" y="1089"/>
                  </a:lnTo>
                  <a:lnTo>
                    <a:pt x="2808" y="1089"/>
                  </a:lnTo>
                  <a:lnTo>
                    <a:pt x="2810" y="1088"/>
                  </a:lnTo>
                  <a:lnTo>
                    <a:pt x="2810" y="1086"/>
                  </a:lnTo>
                  <a:lnTo>
                    <a:pt x="2810" y="1086"/>
                  </a:lnTo>
                  <a:lnTo>
                    <a:pt x="2810" y="1086"/>
                  </a:lnTo>
                  <a:lnTo>
                    <a:pt x="2810" y="1086"/>
                  </a:lnTo>
                  <a:lnTo>
                    <a:pt x="2810" y="1086"/>
                  </a:lnTo>
                  <a:lnTo>
                    <a:pt x="2810" y="1086"/>
                  </a:lnTo>
                  <a:lnTo>
                    <a:pt x="2810" y="1086"/>
                  </a:lnTo>
                  <a:lnTo>
                    <a:pt x="2810" y="1086"/>
                  </a:lnTo>
                  <a:lnTo>
                    <a:pt x="2810" y="1086"/>
                  </a:lnTo>
                  <a:lnTo>
                    <a:pt x="2813" y="1085"/>
                  </a:lnTo>
                  <a:lnTo>
                    <a:pt x="2814" y="1083"/>
                  </a:lnTo>
                  <a:lnTo>
                    <a:pt x="2814" y="1083"/>
                  </a:lnTo>
                  <a:lnTo>
                    <a:pt x="2820" y="1075"/>
                  </a:lnTo>
                  <a:lnTo>
                    <a:pt x="2820" y="1075"/>
                  </a:lnTo>
                  <a:lnTo>
                    <a:pt x="2823" y="1067"/>
                  </a:lnTo>
                  <a:lnTo>
                    <a:pt x="2823" y="1067"/>
                  </a:lnTo>
                  <a:lnTo>
                    <a:pt x="2824" y="1065"/>
                  </a:lnTo>
                  <a:lnTo>
                    <a:pt x="2824" y="1065"/>
                  </a:lnTo>
                  <a:lnTo>
                    <a:pt x="2823" y="1060"/>
                  </a:lnTo>
                  <a:lnTo>
                    <a:pt x="2823" y="1060"/>
                  </a:lnTo>
                  <a:lnTo>
                    <a:pt x="2820" y="1059"/>
                  </a:lnTo>
                  <a:lnTo>
                    <a:pt x="2820" y="1057"/>
                  </a:lnTo>
                  <a:lnTo>
                    <a:pt x="2818" y="1059"/>
                  </a:lnTo>
                  <a:lnTo>
                    <a:pt x="2820" y="1059"/>
                  </a:lnTo>
                  <a:lnTo>
                    <a:pt x="2820" y="1057"/>
                  </a:lnTo>
                  <a:lnTo>
                    <a:pt x="2818" y="1059"/>
                  </a:lnTo>
                  <a:lnTo>
                    <a:pt x="2820" y="1059"/>
                  </a:lnTo>
                  <a:lnTo>
                    <a:pt x="2818" y="1059"/>
                  </a:lnTo>
                  <a:lnTo>
                    <a:pt x="2820" y="1059"/>
                  </a:lnTo>
                  <a:lnTo>
                    <a:pt x="2820" y="1059"/>
                  </a:lnTo>
                  <a:lnTo>
                    <a:pt x="2818" y="1059"/>
                  </a:lnTo>
                  <a:lnTo>
                    <a:pt x="2820" y="1059"/>
                  </a:lnTo>
                  <a:lnTo>
                    <a:pt x="2818" y="1059"/>
                  </a:lnTo>
                  <a:lnTo>
                    <a:pt x="2820" y="1060"/>
                  </a:lnTo>
                  <a:lnTo>
                    <a:pt x="2820" y="1060"/>
                  </a:lnTo>
                  <a:lnTo>
                    <a:pt x="2820" y="1059"/>
                  </a:lnTo>
                  <a:lnTo>
                    <a:pt x="2818" y="1059"/>
                  </a:lnTo>
                  <a:lnTo>
                    <a:pt x="2820" y="1060"/>
                  </a:lnTo>
                  <a:lnTo>
                    <a:pt x="2820" y="1060"/>
                  </a:lnTo>
                  <a:lnTo>
                    <a:pt x="2821" y="1059"/>
                  </a:lnTo>
                  <a:lnTo>
                    <a:pt x="2821" y="1056"/>
                  </a:lnTo>
                  <a:lnTo>
                    <a:pt x="2821" y="1056"/>
                  </a:lnTo>
                  <a:lnTo>
                    <a:pt x="2820" y="1052"/>
                  </a:lnTo>
                  <a:lnTo>
                    <a:pt x="2820" y="1052"/>
                  </a:lnTo>
                  <a:lnTo>
                    <a:pt x="2818" y="1049"/>
                  </a:lnTo>
                  <a:lnTo>
                    <a:pt x="2818" y="1049"/>
                  </a:lnTo>
                  <a:lnTo>
                    <a:pt x="2818" y="1049"/>
                  </a:lnTo>
                  <a:lnTo>
                    <a:pt x="2818" y="1049"/>
                  </a:lnTo>
                  <a:lnTo>
                    <a:pt x="2820" y="1046"/>
                  </a:lnTo>
                  <a:lnTo>
                    <a:pt x="2820" y="1046"/>
                  </a:lnTo>
                  <a:lnTo>
                    <a:pt x="2823" y="1041"/>
                  </a:lnTo>
                  <a:lnTo>
                    <a:pt x="2823" y="1041"/>
                  </a:lnTo>
                  <a:lnTo>
                    <a:pt x="2826" y="1038"/>
                  </a:lnTo>
                  <a:lnTo>
                    <a:pt x="2826" y="1038"/>
                  </a:lnTo>
                  <a:lnTo>
                    <a:pt x="2829" y="1038"/>
                  </a:lnTo>
                  <a:lnTo>
                    <a:pt x="2829" y="1038"/>
                  </a:lnTo>
                  <a:lnTo>
                    <a:pt x="2836" y="1038"/>
                  </a:lnTo>
                  <a:lnTo>
                    <a:pt x="2836" y="1038"/>
                  </a:lnTo>
                  <a:lnTo>
                    <a:pt x="2837" y="1038"/>
                  </a:lnTo>
                  <a:lnTo>
                    <a:pt x="2837" y="1038"/>
                  </a:lnTo>
                  <a:lnTo>
                    <a:pt x="2840" y="1037"/>
                  </a:lnTo>
                  <a:lnTo>
                    <a:pt x="2840" y="1037"/>
                  </a:lnTo>
                  <a:lnTo>
                    <a:pt x="2840" y="1034"/>
                  </a:lnTo>
                  <a:lnTo>
                    <a:pt x="2840" y="1034"/>
                  </a:lnTo>
                  <a:lnTo>
                    <a:pt x="2840" y="1031"/>
                  </a:lnTo>
                  <a:lnTo>
                    <a:pt x="2840" y="1031"/>
                  </a:lnTo>
                  <a:lnTo>
                    <a:pt x="2839" y="1025"/>
                  </a:lnTo>
                  <a:lnTo>
                    <a:pt x="2837" y="1020"/>
                  </a:lnTo>
                  <a:lnTo>
                    <a:pt x="2837" y="1020"/>
                  </a:lnTo>
                  <a:lnTo>
                    <a:pt x="2837" y="1017"/>
                  </a:lnTo>
                  <a:lnTo>
                    <a:pt x="2837" y="1017"/>
                  </a:lnTo>
                  <a:lnTo>
                    <a:pt x="2839" y="1014"/>
                  </a:lnTo>
                  <a:lnTo>
                    <a:pt x="2842" y="1012"/>
                  </a:lnTo>
                  <a:lnTo>
                    <a:pt x="2842" y="1012"/>
                  </a:lnTo>
                  <a:lnTo>
                    <a:pt x="2845" y="1010"/>
                  </a:lnTo>
                  <a:lnTo>
                    <a:pt x="2849" y="1005"/>
                  </a:lnTo>
                  <a:lnTo>
                    <a:pt x="2849" y="1005"/>
                  </a:lnTo>
                  <a:lnTo>
                    <a:pt x="2850" y="1002"/>
                  </a:lnTo>
                  <a:lnTo>
                    <a:pt x="2850" y="1002"/>
                  </a:lnTo>
                  <a:lnTo>
                    <a:pt x="2859" y="998"/>
                  </a:lnTo>
                  <a:lnTo>
                    <a:pt x="2859" y="998"/>
                  </a:lnTo>
                  <a:lnTo>
                    <a:pt x="2862" y="998"/>
                  </a:lnTo>
                  <a:lnTo>
                    <a:pt x="2862" y="998"/>
                  </a:lnTo>
                  <a:lnTo>
                    <a:pt x="2865" y="996"/>
                  </a:lnTo>
                  <a:lnTo>
                    <a:pt x="2865" y="996"/>
                  </a:lnTo>
                  <a:lnTo>
                    <a:pt x="2869" y="996"/>
                  </a:lnTo>
                  <a:lnTo>
                    <a:pt x="2869" y="996"/>
                  </a:lnTo>
                  <a:lnTo>
                    <a:pt x="2873" y="996"/>
                  </a:lnTo>
                  <a:lnTo>
                    <a:pt x="2873" y="996"/>
                  </a:lnTo>
                  <a:lnTo>
                    <a:pt x="2875" y="995"/>
                  </a:lnTo>
                  <a:lnTo>
                    <a:pt x="2876" y="992"/>
                  </a:lnTo>
                  <a:lnTo>
                    <a:pt x="2876" y="992"/>
                  </a:lnTo>
                  <a:lnTo>
                    <a:pt x="2878" y="986"/>
                  </a:lnTo>
                  <a:lnTo>
                    <a:pt x="2878" y="986"/>
                  </a:lnTo>
                  <a:lnTo>
                    <a:pt x="2878" y="982"/>
                  </a:lnTo>
                  <a:lnTo>
                    <a:pt x="2878" y="982"/>
                  </a:lnTo>
                  <a:lnTo>
                    <a:pt x="2875" y="979"/>
                  </a:lnTo>
                  <a:lnTo>
                    <a:pt x="2875" y="979"/>
                  </a:lnTo>
                  <a:lnTo>
                    <a:pt x="2873" y="976"/>
                  </a:lnTo>
                  <a:lnTo>
                    <a:pt x="2873" y="976"/>
                  </a:lnTo>
                  <a:lnTo>
                    <a:pt x="2873" y="975"/>
                  </a:lnTo>
                  <a:lnTo>
                    <a:pt x="2873" y="975"/>
                  </a:lnTo>
                  <a:lnTo>
                    <a:pt x="2876" y="972"/>
                  </a:lnTo>
                  <a:lnTo>
                    <a:pt x="2876" y="968"/>
                  </a:lnTo>
                  <a:lnTo>
                    <a:pt x="2876" y="968"/>
                  </a:lnTo>
                  <a:lnTo>
                    <a:pt x="2876" y="965"/>
                  </a:lnTo>
                  <a:lnTo>
                    <a:pt x="2876" y="965"/>
                  </a:lnTo>
                  <a:lnTo>
                    <a:pt x="2876" y="965"/>
                  </a:lnTo>
                  <a:lnTo>
                    <a:pt x="2875" y="965"/>
                  </a:lnTo>
                  <a:lnTo>
                    <a:pt x="2876" y="965"/>
                  </a:lnTo>
                  <a:lnTo>
                    <a:pt x="2876" y="965"/>
                  </a:lnTo>
                  <a:lnTo>
                    <a:pt x="2875" y="965"/>
                  </a:lnTo>
                  <a:lnTo>
                    <a:pt x="2876" y="965"/>
                  </a:lnTo>
                  <a:lnTo>
                    <a:pt x="2876" y="965"/>
                  </a:lnTo>
                  <a:lnTo>
                    <a:pt x="2876" y="965"/>
                  </a:lnTo>
                  <a:lnTo>
                    <a:pt x="2876" y="963"/>
                  </a:lnTo>
                  <a:lnTo>
                    <a:pt x="2876" y="963"/>
                  </a:lnTo>
                  <a:lnTo>
                    <a:pt x="2881" y="959"/>
                  </a:lnTo>
                  <a:lnTo>
                    <a:pt x="2881" y="959"/>
                  </a:lnTo>
                  <a:lnTo>
                    <a:pt x="2884" y="956"/>
                  </a:lnTo>
                  <a:lnTo>
                    <a:pt x="2885" y="956"/>
                  </a:lnTo>
                  <a:lnTo>
                    <a:pt x="2885" y="956"/>
                  </a:lnTo>
                  <a:lnTo>
                    <a:pt x="2887" y="957"/>
                  </a:lnTo>
                  <a:lnTo>
                    <a:pt x="2887" y="957"/>
                  </a:lnTo>
                  <a:lnTo>
                    <a:pt x="2889" y="957"/>
                  </a:lnTo>
                  <a:lnTo>
                    <a:pt x="2891" y="959"/>
                  </a:lnTo>
                  <a:lnTo>
                    <a:pt x="2891" y="959"/>
                  </a:lnTo>
                  <a:lnTo>
                    <a:pt x="2892" y="959"/>
                  </a:lnTo>
                  <a:lnTo>
                    <a:pt x="2892" y="959"/>
                  </a:lnTo>
                  <a:lnTo>
                    <a:pt x="2897" y="956"/>
                  </a:lnTo>
                  <a:lnTo>
                    <a:pt x="2897" y="956"/>
                  </a:lnTo>
                  <a:lnTo>
                    <a:pt x="2900" y="952"/>
                  </a:lnTo>
                  <a:lnTo>
                    <a:pt x="2900" y="952"/>
                  </a:lnTo>
                  <a:lnTo>
                    <a:pt x="2900" y="946"/>
                  </a:lnTo>
                  <a:lnTo>
                    <a:pt x="2900" y="946"/>
                  </a:lnTo>
                  <a:lnTo>
                    <a:pt x="2900" y="944"/>
                  </a:lnTo>
                  <a:lnTo>
                    <a:pt x="2900" y="944"/>
                  </a:lnTo>
                  <a:lnTo>
                    <a:pt x="2898" y="940"/>
                  </a:lnTo>
                  <a:lnTo>
                    <a:pt x="2898" y="940"/>
                  </a:lnTo>
                  <a:lnTo>
                    <a:pt x="2894" y="937"/>
                  </a:lnTo>
                  <a:lnTo>
                    <a:pt x="2894" y="937"/>
                  </a:lnTo>
                  <a:lnTo>
                    <a:pt x="2888" y="937"/>
                  </a:lnTo>
                  <a:lnTo>
                    <a:pt x="2888" y="937"/>
                  </a:lnTo>
                  <a:lnTo>
                    <a:pt x="2887" y="937"/>
                  </a:lnTo>
                  <a:lnTo>
                    <a:pt x="2887" y="937"/>
                  </a:lnTo>
                  <a:lnTo>
                    <a:pt x="2887" y="937"/>
                  </a:lnTo>
                  <a:lnTo>
                    <a:pt x="2887" y="937"/>
                  </a:lnTo>
                  <a:lnTo>
                    <a:pt x="2885" y="933"/>
                  </a:lnTo>
                  <a:lnTo>
                    <a:pt x="2885" y="933"/>
                  </a:lnTo>
                  <a:lnTo>
                    <a:pt x="2884" y="926"/>
                  </a:lnTo>
                  <a:lnTo>
                    <a:pt x="2884" y="926"/>
                  </a:lnTo>
                  <a:lnTo>
                    <a:pt x="2884" y="926"/>
                  </a:lnTo>
                  <a:lnTo>
                    <a:pt x="2884" y="924"/>
                  </a:lnTo>
                  <a:lnTo>
                    <a:pt x="2884" y="924"/>
                  </a:lnTo>
                  <a:lnTo>
                    <a:pt x="2884" y="921"/>
                  </a:lnTo>
                  <a:lnTo>
                    <a:pt x="2884" y="921"/>
                  </a:lnTo>
                  <a:lnTo>
                    <a:pt x="2888" y="918"/>
                  </a:lnTo>
                  <a:lnTo>
                    <a:pt x="2888" y="918"/>
                  </a:lnTo>
                  <a:lnTo>
                    <a:pt x="2892" y="915"/>
                  </a:lnTo>
                  <a:lnTo>
                    <a:pt x="2892" y="915"/>
                  </a:lnTo>
                  <a:lnTo>
                    <a:pt x="2894" y="914"/>
                  </a:lnTo>
                  <a:lnTo>
                    <a:pt x="2894" y="912"/>
                  </a:lnTo>
                  <a:lnTo>
                    <a:pt x="2894" y="912"/>
                  </a:lnTo>
                  <a:lnTo>
                    <a:pt x="2892" y="908"/>
                  </a:lnTo>
                  <a:lnTo>
                    <a:pt x="2892" y="908"/>
                  </a:lnTo>
                  <a:lnTo>
                    <a:pt x="2889" y="904"/>
                  </a:lnTo>
                  <a:lnTo>
                    <a:pt x="2889" y="904"/>
                  </a:lnTo>
                  <a:lnTo>
                    <a:pt x="2887" y="901"/>
                  </a:lnTo>
                  <a:lnTo>
                    <a:pt x="2884" y="901"/>
                  </a:lnTo>
                  <a:lnTo>
                    <a:pt x="2882" y="901"/>
                  </a:lnTo>
                  <a:lnTo>
                    <a:pt x="2882" y="901"/>
                  </a:lnTo>
                  <a:lnTo>
                    <a:pt x="2881" y="901"/>
                  </a:lnTo>
                  <a:lnTo>
                    <a:pt x="2881" y="901"/>
                  </a:lnTo>
                  <a:lnTo>
                    <a:pt x="2881" y="901"/>
                  </a:lnTo>
                  <a:lnTo>
                    <a:pt x="2881" y="901"/>
                  </a:lnTo>
                  <a:lnTo>
                    <a:pt x="2881" y="901"/>
                  </a:lnTo>
                  <a:lnTo>
                    <a:pt x="2881" y="901"/>
                  </a:lnTo>
                  <a:lnTo>
                    <a:pt x="2881" y="901"/>
                  </a:lnTo>
                  <a:lnTo>
                    <a:pt x="2881" y="901"/>
                  </a:lnTo>
                  <a:lnTo>
                    <a:pt x="2881" y="901"/>
                  </a:lnTo>
                  <a:lnTo>
                    <a:pt x="2881" y="901"/>
                  </a:lnTo>
                  <a:lnTo>
                    <a:pt x="2881" y="901"/>
                  </a:lnTo>
                  <a:lnTo>
                    <a:pt x="2881" y="901"/>
                  </a:lnTo>
                  <a:lnTo>
                    <a:pt x="2882" y="901"/>
                  </a:lnTo>
                  <a:lnTo>
                    <a:pt x="2881" y="901"/>
                  </a:lnTo>
                  <a:lnTo>
                    <a:pt x="2881" y="901"/>
                  </a:lnTo>
                  <a:lnTo>
                    <a:pt x="2882" y="901"/>
                  </a:lnTo>
                  <a:lnTo>
                    <a:pt x="2882" y="901"/>
                  </a:lnTo>
                  <a:lnTo>
                    <a:pt x="2882" y="901"/>
                  </a:lnTo>
                  <a:lnTo>
                    <a:pt x="2882" y="899"/>
                  </a:lnTo>
                  <a:lnTo>
                    <a:pt x="2882" y="899"/>
                  </a:lnTo>
                  <a:lnTo>
                    <a:pt x="2882" y="899"/>
                  </a:lnTo>
                  <a:lnTo>
                    <a:pt x="2882" y="899"/>
                  </a:lnTo>
                  <a:lnTo>
                    <a:pt x="2884" y="898"/>
                  </a:lnTo>
                  <a:lnTo>
                    <a:pt x="2884" y="895"/>
                  </a:lnTo>
                  <a:lnTo>
                    <a:pt x="2884" y="895"/>
                  </a:lnTo>
                  <a:lnTo>
                    <a:pt x="2882" y="891"/>
                  </a:lnTo>
                  <a:lnTo>
                    <a:pt x="2882" y="891"/>
                  </a:lnTo>
                  <a:lnTo>
                    <a:pt x="2882" y="885"/>
                  </a:lnTo>
                  <a:lnTo>
                    <a:pt x="2882" y="885"/>
                  </a:lnTo>
                  <a:lnTo>
                    <a:pt x="2882" y="884"/>
                  </a:lnTo>
                  <a:lnTo>
                    <a:pt x="2882" y="884"/>
                  </a:lnTo>
                  <a:lnTo>
                    <a:pt x="2885" y="878"/>
                  </a:lnTo>
                  <a:lnTo>
                    <a:pt x="2885" y="878"/>
                  </a:lnTo>
                  <a:lnTo>
                    <a:pt x="2891" y="869"/>
                  </a:lnTo>
                  <a:lnTo>
                    <a:pt x="2891" y="869"/>
                  </a:lnTo>
                  <a:lnTo>
                    <a:pt x="2894" y="865"/>
                  </a:lnTo>
                  <a:lnTo>
                    <a:pt x="2894" y="865"/>
                  </a:lnTo>
                  <a:lnTo>
                    <a:pt x="2895" y="863"/>
                  </a:lnTo>
                  <a:lnTo>
                    <a:pt x="2895" y="863"/>
                  </a:lnTo>
                  <a:lnTo>
                    <a:pt x="2898" y="860"/>
                  </a:lnTo>
                  <a:lnTo>
                    <a:pt x="2901" y="857"/>
                  </a:lnTo>
                  <a:lnTo>
                    <a:pt x="2901" y="857"/>
                  </a:lnTo>
                  <a:lnTo>
                    <a:pt x="2901" y="853"/>
                  </a:lnTo>
                  <a:lnTo>
                    <a:pt x="2902" y="850"/>
                  </a:lnTo>
                  <a:lnTo>
                    <a:pt x="2902" y="850"/>
                  </a:lnTo>
                  <a:lnTo>
                    <a:pt x="2902" y="849"/>
                  </a:lnTo>
                  <a:lnTo>
                    <a:pt x="2902" y="849"/>
                  </a:lnTo>
                  <a:lnTo>
                    <a:pt x="2904" y="847"/>
                  </a:lnTo>
                  <a:lnTo>
                    <a:pt x="2904" y="847"/>
                  </a:lnTo>
                  <a:lnTo>
                    <a:pt x="2910" y="844"/>
                  </a:lnTo>
                  <a:lnTo>
                    <a:pt x="2910" y="844"/>
                  </a:lnTo>
                  <a:lnTo>
                    <a:pt x="2911" y="844"/>
                  </a:lnTo>
                  <a:lnTo>
                    <a:pt x="2911" y="844"/>
                  </a:lnTo>
                  <a:lnTo>
                    <a:pt x="2913" y="844"/>
                  </a:lnTo>
                  <a:lnTo>
                    <a:pt x="2913" y="844"/>
                  </a:lnTo>
                  <a:lnTo>
                    <a:pt x="2917" y="846"/>
                  </a:lnTo>
                  <a:lnTo>
                    <a:pt x="2917" y="846"/>
                  </a:lnTo>
                  <a:lnTo>
                    <a:pt x="2918" y="844"/>
                  </a:lnTo>
                  <a:lnTo>
                    <a:pt x="2918" y="844"/>
                  </a:lnTo>
                  <a:lnTo>
                    <a:pt x="2920" y="844"/>
                  </a:lnTo>
                  <a:lnTo>
                    <a:pt x="2921" y="843"/>
                  </a:lnTo>
                  <a:lnTo>
                    <a:pt x="2921" y="843"/>
                  </a:lnTo>
                  <a:lnTo>
                    <a:pt x="2921" y="842"/>
                  </a:lnTo>
                  <a:lnTo>
                    <a:pt x="2921" y="842"/>
                  </a:lnTo>
                  <a:lnTo>
                    <a:pt x="2923" y="840"/>
                  </a:lnTo>
                  <a:lnTo>
                    <a:pt x="2923" y="840"/>
                  </a:lnTo>
                  <a:lnTo>
                    <a:pt x="2923" y="837"/>
                  </a:lnTo>
                  <a:lnTo>
                    <a:pt x="2923" y="837"/>
                  </a:lnTo>
                  <a:lnTo>
                    <a:pt x="2926" y="834"/>
                  </a:lnTo>
                  <a:lnTo>
                    <a:pt x="2930" y="833"/>
                  </a:lnTo>
                  <a:lnTo>
                    <a:pt x="2930" y="833"/>
                  </a:lnTo>
                  <a:lnTo>
                    <a:pt x="2934" y="830"/>
                  </a:lnTo>
                  <a:lnTo>
                    <a:pt x="2934" y="830"/>
                  </a:lnTo>
                  <a:lnTo>
                    <a:pt x="2937" y="830"/>
                  </a:lnTo>
                  <a:lnTo>
                    <a:pt x="2937" y="828"/>
                  </a:lnTo>
                  <a:lnTo>
                    <a:pt x="2937" y="830"/>
                  </a:lnTo>
                  <a:lnTo>
                    <a:pt x="2937" y="830"/>
                  </a:lnTo>
                  <a:lnTo>
                    <a:pt x="2937" y="828"/>
                  </a:lnTo>
                  <a:lnTo>
                    <a:pt x="2937" y="830"/>
                  </a:lnTo>
                  <a:lnTo>
                    <a:pt x="2937" y="828"/>
                  </a:lnTo>
                  <a:lnTo>
                    <a:pt x="2936" y="828"/>
                  </a:lnTo>
                  <a:lnTo>
                    <a:pt x="2937" y="830"/>
                  </a:lnTo>
                  <a:lnTo>
                    <a:pt x="2937" y="828"/>
                  </a:lnTo>
                  <a:lnTo>
                    <a:pt x="2936" y="828"/>
                  </a:lnTo>
                  <a:lnTo>
                    <a:pt x="2937" y="828"/>
                  </a:lnTo>
                  <a:lnTo>
                    <a:pt x="2936" y="828"/>
                  </a:lnTo>
                  <a:lnTo>
                    <a:pt x="2936" y="828"/>
                  </a:lnTo>
                  <a:lnTo>
                    <a:pt x="2937" y="828"/>
                  </a:lnTo>
                  <a:lnTo>
                    <a:pt x="2936" y="828"/>
                  </a:lnTo>
                  <a:lnTo>
                    <a:pt x="2936" y="828"/>
                  </a:lnTo>
                  <a:lnTo>
                    <a:pt x="2936" y="828"/>
                  </a:lnTo>
                  <a:lnTo>
                    <a:pt x="2936" y="831"/>
                  </a:lnTo>
                  <a:lnTo>
                    <a:pt x="2936" y="831"/>
                  </a:lnTo>
                  <a:lnTo>
                    <a:pt x="2934" y="837"/>
                  </a:lnTo>
                  <a:lnTo>
                    <a:pt x="2934" y="837"/>
                  </a:lnTo>
                  <a:lnTo>
                    <a:pt x="2934" y="839"/>
                  </a:lnTo>
                  <a:lnTo>
                    <a:pt x="2934" y="839"/>
                  </a:lnTo>
                  <a:lnTo>
                    <a:pt x="2936" y="840"/>
                  </a:lnTo>
                  <a:lnTo>
                    <a:pt x="2936" y="840"/>
                  </a:lnTo>
                  <a:lnTo>
                    <a:pt x="2936" y="840"/>
                  </a:lnTo>
                  <a:lnTo>
                    <a:pt x="2939" y="842"/>
                  </a:lnTo>
                  <a:lnTo>
                    <a:pt x="2939" y="842"/>
                  </a:lnTo>
                  <a:lnTo>
                    <a:pt x="2942" y="842"/>
                  </a:lnTo>
                  <a:lnTo>
                    <a:pt x="2942" y="842"/>
                  </a:lnTo>
                  <a:lnTo>
                    <a:pt x="2944" y="839"/>
                  </a:lnTo>
                  <a:lnTo>
                    <a:pt x="2949" y="834"/>
                  </a:lnTo>
                  <a:lnTo>
                    <a:pt x="2949" y="834"/>
                  </a:lnTo>
                  <a:lnTo>
                    <a:pt x="2953" y="830"/>
                  </a:lnTo>
                  <a:lnTo>
                    <a:pt x="2953" y="830"/>
                  </a:lnTo>
                  <a:lnTo>
                    <a:pt x="2956" y="828"/>
                  </a:lnTo>
                  <a:lnTo>
                    <a:pt x="2956" y="828"/>
                  </a:lnTo>
                  <a:lnTo>
                    <a:pt x="2960" y="824"/>
                  </a:lnTo>
                  <a:lnTo>
                    <a:pt x="2963" y="820"/>
                  </a:lnTo>
                  <a:lnTo>
                    <a:pt x="2963" y="820"/>
                  </a:lnTo>
                  <a:lnTo>
                    <a:pt x="2966" y="818"/>
                  </a:lnTo>
                  <a:lnTo>
                    <a:pt x="2966" y="818"/>
                  </a:lnTo>
                  <a:lnTo>
                    <a:pt x="2972" y="818"/>
                  </a:lnTo>
                  <a:lnTo>
                    <a:pt x="2972" y="818"/>
                  </a:lnTo>
                  <a:lnTo>
                    <a:pt x="2973" y="818"/>
                  </a:lnTo>
                  <a:lnTo>
                    <a:pt x="2973" y="818"/>
                  </a:lnTo>
                  <a:lnTo>
                    <a:pt x="2976" y="820"/>
                  </a:lnTo>
                  <a:lnTo>
                    <a:pt x="2976" y="820"/>
                  </a:lnTo>
                  <a:lnTo>
                    <a:pt x="2979" y="826"/>
                  </a:lnTo>
                  <a:lnTo>
                    <a:pt x="2979" y="826"/>
                  </a:lnTo>
                  <a:lnTo>
                    <a:pt x="2981" y="833"/>
                  </a:lnTo>
                  <a:lnTo>
                    <a:pt x="2981" y="833"/>
                  </a:lnTo>
                  <a:lnTo>
                    <a:pt x="2982" y="836"/>
                  </a:lnTo>
                  <a:lnTo>
                    <a:pt x="2982" y="836"/>
                  </a:lnTo>
                  <a:lnTo>
                    <a:pt x="2986" y="837"/>
                  </a:lnTo>
                  <a:lnTo>
                    <a:pt x="2986" y="837"/>
                  </a:lnTo>
                  <a:lnTo>
                    <a:pt x="2989" y="837"/>
                  </a:lnTo>
                  <a:lnTo>
                    <a:pt x="2991" y="836"/>
                  </a:lnTo>
                  <a:lnTo>
                    <a:pt x="2991" y="836"/>
                  </a:lnTo>
                  <a:lnTo>
                    <a:pt x="2995" y="831"/>
                  </a:lnTo>
                  <a:lnTo>
                    <a:pt x="2995" y="831"/>
                  </a:lnTo>
                  <a:lnTo>
                    <a:pt x="2998" y="824"/>
                  </a:lnTo>
                  <a:lnTo>
                    <a:pt x="2998" y="824"/>
                  </a:lnTo>
                  <a:lnTo>
                    <a:pt x="3002" y="818"/>
                  </a:lnTo>
                  <a:lnTo>
                    <a:pt x="3002" y="818"/>
                  </a:lnTo>
                  <a:lnTo>
                    <a:pt x="3002" y="818"/>
                  </a:lnTo>
                  <a:lnTo>
                    <a:pt x="3007" y="817"/>
                  </a:lnTo>
                  <a:lnTo>
                    <a:pt x="3007" y="817"/>
                  </a:lnTo>
                  <a:lnTo>
                    <a:pt x="3011" y="815"/>
                  </a:lnTo>
                  <a:lnTo>
                    <a:pt x="3011" y="815"/>
                  </a:lnTo>
                  <a:lnTo>
                    <a:pt x="3013" y="814"/>
                  </a:lnTo>
                  <a:lnTo>
                    <a:pt x="3013" y="814"/>
                  </a:lnTo>
                  <a:lnTo>
                    <a:pt x="3014" y="811"/>
                  </a:lnTo>
                  <a:lnTo>
                    <a:pt x="3014" y="811"/>
                  </a:lnTo>
                  <a:lnTo>
                    <a:pt x="3014" y="807"/>
                  </a:lnTo>
                  <a:lnTo>
                    <a:pt x="3014" y="807"/>
                  </a:lnTo>
                  <a:lnTo>
                    <a:pt x="3015" y="802"/>
                  </a:lnTo>
                  <a:lnTo>
                    <a:pt x="3015" y="802"/>
                  </a:lnTo>
                  <a:lnTo>
                    <a:pt x="3014" y="802"/>
                  </a:lnTo>
                  <a:lnTo>
                    <a:pt x="3014" y="804"/>
                  </a:lnTo>
                  <a:lnTo>
                    <a:pt x="3015" y="802"/>
                  </a:lnTo>
                  <a:lnTo>
                    <a:pt x="3014" y="802"/>
                  </a:lnTo>
                  <a:lnTo>
                    <a:pt x="3014" y="804"/>
                  </a:lnTo>
                  <a:lnTo>
                    <a:pt x="3014" y="802"/>
                  </a:lnTo>
                  <a:lnTo>
                    <a:pt x="3014" y="804"/>
                  </a:lnTo>
                  <a:lnTo>
                    <a:pt x="3014" y="804"/>
                  </a:lnTo>
                  <a:lnTo>
                    <a:pt x="3014" y="802"/>
                  </a:lnTo>
                  <a:lnTo>
                    <a:pt x="3014" y="804"/>
                  </a:lnTo>
                  <a:lnTo>
                    <a:pt x="3014" y="802"/>
                  </a:lnTo>
                  <a:lnTo>
                    <a:pt x="3014" y="804"/>
                  </a:lnTo>
                  <a:lnTo>
                    <a:pt x="3014" y="804"/>
                  </a:lnTo>
                  <a:lnTo>
                    <a:pt x="3014" y="802"/>
                  </a:lnTo>
                  <a:lnTo>
                    <a:pt x="3014" y="804"/>
                  </a:lnTo>
                  <a:lnTo>
                    <a:pt x="3014" y="804"/>
                  </a:lnTo>
                  <a:lnTo>
                    <a:pt x="3014" y="804"/>
                  </a:lnTo>
                  <a:lnTo>
                    <a:pt x="3015" y="804"/>
                  </a:lnTo>
                  <a:lnTo>
                    <a:pt x="3015" y="804"/>
                  </a:lnTo>
                  <a:lnTo>
                    <a:pt x="3020" y="805"/>
                  </a:lnTo>
                  <a:lnTo>
                    <a:pt x="3020" y="805"/>
                  </a:lnTo>
                  <a:lnTo>
                    <a:pt x="3021" y="805"/>
                  </a:lnTo>
                  <a:lnTo>
                    <a:pt x="3021" y="805"/>
                  </a:lnTo>
                  <a:lnTo>
                    <a:pt x="3024" y="804"/>
                  </a:lnTo>
                  <a:lnTo>
                    <a:pt x="3024" y="804"/>
                  </a:lnTo>
                  <a:lnTo>
                    <a:pt x="3024" y="801"/>
                  </a:lnTo>
                  <a:lnTo>
                    <a:pt x="3024" y="801"/>
                  </a:lnTo>
                  <a:lnTo>
                    <a:pt x="3024" y="798"/>
                  </a:lnTo>
                  <a:lnTo>
                    <a:pt x="3024" y="798"/>
                  </a:lnTo>
                  <a:lnTo>
                    <a:pt x="3021" y="794"/>
                  </a:lnTo>
                  <a:lnTo>
                    <a:pt x="3021" y="794"/>
                  </a:lnTo>
                  <a:lnTo>
                    <a:pt x="3021" y="792"/>
                  </a:lnTo>
                  <a:lnTo>
                    <a:pt x="3021" y="792"/>
                  </a:lnTo>
                  <a:lnTo>
                    <a:pt x="3021" y="792"/>
                  </a:lnTo>
                  <a:lnTo>
                    <a:pt x="3020" y="792"/>
                  </a:lnTo>
                  <a:lnTo>
                    <a:pt x="3021" y="792"/>
                  </a:lnTo>
                  <a:lnTo>
                    <a:pt x="3021" y="792"/>
                  </a:lnTo>
                  <a:lnTo>
                    <a:pt x="3020" y="792"/>
                  </a:lnTo>
                  <a:lnTo>
                    <a:pt x="3021" y="792"/>
                  </a:lnTo>
                  <a:lnTo>
                    <a:pt x="3020" y="792"/>
                  </a:lnTo>
                  <a:lnTo>
                    <a:pt x="3020" y="794"/>
                  </a:lnTo>
                  <a:lnTo>
                    <a:pt x="3020" y="794"/>
                  </a:lnTo>
                  <a:lnTo>
                    <a:pt x="3021" y="792"/>
                  </a:lnTo>
                  <a:lnTo>
                    <a:pt x="3020" y="792"/>
                  </a:lnTo>
                  <a:lnTo>
                    <a:pt x="3020" y="794"/>
                  </a:lnTo>
                  <a:lnTo>
                    <a:pt x="3020" y="792"/>
                  </a:lnTo>
                  <a:lnTo>
                    <a:pt x="3020" y="794"/>
                  </a:lnTo>
                  <a:lnTo>
                    <a:pt x="3020" y="794"/>
                  </a:lnTo>
                  <a:lnTo>
                    <a:pt x="3020" y="794"/>
                  </a:lnTo>
                  <a:lnTo>
                    <a:pt x="3020" y="792"/>
                  </a:lnTo>
                  <a:lnTo>
                    <a:pt x="3020" y="794"/>
                  </a:lnTo>
                  <a:lnTo>
                    <a:pt x="3020" y="794"/>
                  </a:lnTo>
                  <a:lnTo>
                    <a:pt x="3020" y="794"/>
                  </a:lnTo>
                  <a:lnTo>
                    <a:pt x="3020" y="794"/>
                  </a:lnTo>
                  <a:lnTo>
                    <a:pt x="3020" y="794"/>
                  </a:lnTo>
                  <a:lnTo>
                    <a:pt x="3020" y="794"/>
                  </a:lnTo>
                  <a:lnTo>
                    <a:pt x="3021" y="795"/>
                  </a:lnTo>
                  <a:lnTo>
                    <a:pt x="3023" y="795"/>
                  </a:lnTo>
                  <a:lnTo>
                    <a:pt x="3023" y="795"/>
                  </a:lnTo>
                  <a:lnTo>
                    <a:pt x="3024" y="795"/>
                  </a:lnTo>
                  <a:lnTo>
                    <a:pt x="3024" y="795"/>
                  </a:lnTo>
                  <a:lnTo>
                    <a:pt x="3026" y="795"/>
                  </a:lnTo>
                  <a:lnTo>
                    <a:pt x="3026" y="795"/>
                  </a:lnTo>
                  <a:lnTo>
                    <a:pt x="3030" y="792"/>
                  </a:lnTo>
                  <a:lnTo>
                    <a:pt x="3030" y="792"/>
                  </a:lnTo>
                  <a:lnTo>
                    <a:pt x="3033" y="789"/>
                  </a:lnTo>
                  <a:lnTo>
                    <a:pt x="3033" y="789"/>
                  </a:lnTo>
                  <a:lnTo>
                    <a:pt x="3034" y="788"/>
                  </a:lnTo>
                  <a:lnTo>
                    <a:pt x="3034" y="786"/>
                  </a:lnTo>
                  <a:lnTo>
                    <a:pt x="3034" y="788"/>
                  </a:lnTo>
                  <a:lnTo>
                    <a:pt x="3034" y="788"/>
                  </a:lnTo>
                  <a:lnTo>
                    <a:pt x="3034" y="786"/>
                  </a:lnTo>
                  <a:lnTo>
                    <a:pt x="3034" y="788"/>
                  </a:lnTo>
                  <a:lnTo>
                    <a:pt x="3034" y="786"/>
                  </a:lnTo>
                  <a:lnTo>
                    <a:pt x="3034" y="788"/>
                  </a:lnTo>
                  <a:lnTo>
                    <a:pt x="3034" y="788"/>
                  </a:lnTo>
                  <a:lnTo>
                    <a:pt x="3034" y="786"/>
                  </a:lnTo>
                  <a:lnTo>
                    <a:pt x="3034" y="788"/>
                  </a:lnTo>
                  <a:lnTo>
                    <a:pt x="3034" y="786"/>
                  </a:lnTo>
                  <a:lnTo>
                    <a:pt x="3033" y="788"/>
                  </a:lnTo>
                  <a:lnTo>
                    <a:pt x="3034" y="788"/>
                  </a:lnTo>
                  <a:lnTo>
                    <a:pt x="3034" y="786"/>
                  </a:lnTo>
                  <a:lnTo>
                    <a:pt x="3033" y="788"/>
                  </a:lnTo>
                  <a:lnTo>
                    <a:pt x="3033" y="788"/>
                  </a:lnTo>
                  <a:lnTo>
                    <a:pt x="3033" y="788"/>
                  </a:lnTo>
                  <a:lnTo>
                    <a:pt x="3033" y="788"/>
                  </a:lnTo>
                  <a:lnTo>
                    <a:pt x="3033" y="788"/>
                  </a:lnTo>
                  <a:lnTo>
                    <a:pt x="3033" y="788"/>
                  </a:lnTo>
                  <a:lnTo>
                    <a:pt x="3034" y="789"/>
                  </a:lnTo>
                  <a:lnTo>
                    <a:pt x="3034" y="789"/>
                  </a:lnTo>
                  <a:lnTo>
                    <a:pt x="3039" y="791"/>
                  </a:lnTo>
                  <a:lnTo>
                    <a:pt x="3039" y="791"/>
                  </a:lnTo>
                  <a:lnTo>
                    <a:pt x="3040" y="789"/>
                  </a:lnTo>
                  <a:lnTo>
                    <a:pt x="3040" y="789"/>
                  </a:lnTo>
                  <a:lnTo>
                    <a:pt x="3044" y="786"/>
                  </a:lnTo>
                  <a:lnTo>
                    <a:pt x="3044" y="786"/>
                  </a:lnTo>
                  <a:lnTo>
                    <a:pt x="3053" y="776"/>
                  </a:lnTo>
                  <a:lnTo>
                    <a:pt x="3068" y="762"/>
                  </a:lnTo>
                  <a:lnTo>
                    <a:pt x="3068" y="762"/>
                  </a:lnTo>
                  <a:lnTo>
                    <a:pt x="3075" y="757"/>
                  </a:lnTo>
                  <a:lnTo>
                    <a:pt x="3082" y="753"/>
                  </a:lnTo>
                  <a:lnTo>
                    <a:pt x="3094" y="749"/>
                  </a:lnTo>
                  <a:lnTo>
                    <a:pt x="3094" y="749"/>
                  </a:lnTo>
                  <a:lnTo>
                    <a:pt x="3104" y="747"/>
                  </a:lnTo>
                  <a:lnTo>
                    <a:pt x="3110" y="746"/>
                  </a:lnTo>
                  <a:lnTo>
                    <a:pt x="3111" y="746"/>
                  </a:lnTo>
                  <a:lnTo>
                    <a:pt x="3111" y="746"/>
                  </a:lnTo>
                  <a:lnTo>
                    <a:pt x="3115" y="747"/>
                  </a:lnTo>
                  <a:lnTo>
                    <a:pt x="3115" y="747"/>
                  </a:lnTo>
                  <a:lnTo>
                    <a:pt x="3123" y="752"/>
                  </a:lnTo>
                  <a:lnTo>
                    <a:pt x="3123" y="752"/>
                  </a:lnTo>
                  <a:lnTo>
                    <a:pt x="3127" y="752"/>
                  </a:lnTo>
                  <a:lnTo>
                    <a:pt x="3127" y="752"/>
                  </a:lnTo>
                  <a:lnTo>
                    <a:pt x="3131" y="752"/>
                  </a:lnTo>
                  <a:lnTo>
                    <a:pt x="3131" y="752"/>
                  </a:lnTo>
                  <a:lnTo>
                    <a:pt x="3134" y="749"/>
                  </a:lnTo>
                  <a:lnTo>
                    <a:pt x="3134" y="749"/>
                  </a:lnTo>
                  <a:lnTo>
                    <a:pt x="3136" y="747"/>
                  </a:lnTo>
                  <a:lnTo>
                    <a:pt x="3136" y="747"/>
                  </a:lnTo>
                  <a:lnTo>
                    <a:pt x="3139" y="744"/>
                  </a:lnTo>
                  <a:lnTo>
                    <a:pt x="3139" y="744"/>
                  </a:lnTo>
                  <a:lnTo>
                    <a:pt x="3140" y="739"/>
                  </a:lnTo>
                  <a:lnTo>
                    <a:pt x="3140" y="739"/>
                  </a:lnTo>
                  <a:lnTo>
                    <a:pt x="3140" y="734"/>
                  </a:lnTo>
                  <a:lnTo>
                    <a:pt x="3140" y="734"/>
                  </a:lnTo>
                  <a:lnTo>
                    <a:pt x="3140" y="733"/>
                  </a:lnTo>
                  <a:lnTo>
                    <a:pt x="3140" y="733"/>
                  </a:lnTo>
                  <a:lnTo>
                    <a:pt x="3139" y="724"/>
                  </a:lnTo>
                  <a:lnTo>
                    <a:pt x="3139" y="724"/>
                  </a:lnTo>
                  <a:lnTo>
                    <a:pt x="3136" y="720"/>
                  </a:lnTo>
                  <a:lnTo>
                    <a:pt x="3136" y="720"/>
                  </a:lnTo>
                  <a:lnTo>
                    <a:pt x="3134" y="717"/>
                  </a:lnTo>
                  <a:lnTo>
                    <a:pt x="3131" y="717"/>
                  </a:lnTo>
                  <a:lnTo>
                    <a:pt x="3131" y="717"/>
                  </a:lnTo>
                  <a:lnTo>
                    <a:pt x="3130" y="715"/>
                  </a:lnTo>
                  <a:lnTo>
                    <a:pt x="3130" y="715"/>
                  </a:lnTo>
                  <a:lnTo>
                    <a:pt x="3128" y="711"/>
                  </a:lnTo>
                  <a:lnTo>
                    <a:pt x="3128" y="711"/>
                  </a:lnTo>
                  <a:lnTo>
                    <a:pt x="3127" y="708"/>
                  </a:lnTo>
                  <a:lnTo>
                    <a:pt x="3123" y="705"/>
                  </a:lnTo>
                  <a:lnTo>
                    <a:pt x="3123" y="705"/>
                  </a:lnTo>
                  <a:lnTo>
                    <a:pt x="3121" y="705"/>
                  </a:lnTo>
                  <a:lnTo>
                    <a:pt x="3121" y="705"/>
                  </a:lnTo>
                  <a:lnTo>
                    <a:pt x="3121" y="702"/>
                  </a:lnTo>
                  <a:lnTo>
                    <a:pt x="3121" y="702"/>
                  </a:lnTo>
                  <a:lnTo>
                    <a:pt x="3121" y="698"/>
                  </a:lnTo>
                  <a:lnTo>
                    <a:pt x="3121" y="698"/>
                  </a:lnTo>
                  <a:lnTo>
                    <a:pt x="3121" y="697"/>
                  </a:lnTo>
                  <a:lnTo>
                    <a:pt x="3121" y="697"/>
                  </a:lnTo>
                  <a:lnTo>
                    <a:pt x="3120" y="695"/>
                  </a:lnTo>
                  <a:lnTo>
                    <a:pt x="3120" y="695"/>
                  </a:lnTo>
                  <a:lnTo>
                    <a:pt x="3120" y="694"/>
                  </a:lnTo>
                  <a:lnTo>
                    <a:pt x="3120" y="694"/>
                  </a:lnTo>
                  <a:lnTo>
                    <a:pt x="3118" y="692"/>
                  </a:lnTo>
                  <a:lnTo>
                    <a:pt x="3118" y="692"/>
                  </a:lnTo>
                  <a:lnTo>
                    <a:pt x="3115" y="694"/>
                  </a:lnTo>
                  <a:lnTo>
                    <a:pt x="3115" y="694"/>
                  </a:lnTo>
                  <a:lnTo>
                    <a:pt x="3115" y="694"/>
                  </a:lnTo>
                  <a:lnTo>
                    <a:pt x="3115" y="694"/>
                  </a:lnTo>
                  <a:lnTo>
                    <a:pt x="3112" y="698"/>
                  </a:lnTo>
                  <a:lnTo>
                    <a:pt x="3112" y="698"/>
                  </a:lnTo>
                  <a:lnTo>
                    <a:pt x="3110" y="700"/>
                  </a:lnTo>
                  <a:lnTo>
                    <a:pt x="3110" y="700"/>
                  </a:lnTo>
                  <a:lnTo>
                    <a:pt x="3108" y="700"/>
                  </a:lnTo>
                  <a:lnTo>
                    <a:pt x="3108" y="700"/>
                  </a:lnTo>
                  <a:lnTo>
                    <a:pt x="3102" y="700"/>
                  </a:lnTo>
                  <a:lnTo>
                    <a:pt x="3102" y="700"/>
                  </a:lnTo>
                  <a:lnTo>
                    <a:pt x="3099" y="698"/>
                  </a:lnTo>
                  <a:lnTo>
                    <a:pt x="3099" y="697"/>
                  </a:lnTo>
                  <a:lnTo>
                    <a:pt x="3099" y="697"/>
                  </a:lnTo>
                  <a:lnTo>
                    <a:pt x="3098" y="692"/>
                  </a:lnTo>
                  <a:lnTo>
                    <a:pt x="3098" y="692"/>
                  </a:lnTo>
                  <a:lnTo>
                    <a:pt x="3099" y="685"/>
                  </a:lnTo>
                  <a:lnTo>
                    <a:pt x="3099" y="685"/>
                  </a:lnTo>
                  <a:lnTo>
                    <a:pt x="3101" y="679"/>
                  </a:lnTo>
                  <a:lnTo>
                    <a:pt x="3101" y="679"/>
                  </a:lnTo>
                  <a:lnTo>
                    <a:pt x="3102" y="675"/>
                  </a:lnTo>
                  <a:lnTo>
                    <a:pt x="3102" y="675"/>
                  </a:lnTo>
                  <a:lnTo>
                    <a:pt x="3101" y="672"/>
                  </a:lnTo>
                  <a:lnTo>
                    <a:pt x="3101" y="672"/>
                  </a:lnTo>
                  <a:lnTo>
                    <a:pt x="3098" y="669"/>
                  </a:lnTo>
                  <a:lnTo>
                    <a:pt x="3098" y="669"/>
                  </a:lnTo>
                  <a:lnTo>
                    <a:pt x="3094" y="668"/>
                  </a:lnTo>
                  <a:lnTo>
                    <a:pt x="3094"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4" y="666"/>
                  </a:lnTo>
                  <a:lnTo>
                    <a:pt x="3094" y="666"/>
                  </a:lnTo>
                  <a:lnTo>
                    <a:pt x="3095" y="666"/>
                  </a:lnTo>
                  <a:lnTo>
                    <a:pt x="3095" y="666"/>
                  </a:lnTo>
                  <a:lnTo>
                    <a:pt x="3095" y="666"/>
                  </a:lnTo>
                  <a:lnTo>
                    <a:pt x="3102" y="668"/>
                  </a:lnTo>
                  <a:lnTo>
                    <a:pt x="3102" y="668"/>
                  </a:lnTo>
                  <a:lnTo>
                    <a:pt x="3111" y="669"/>
                  </a:lnTo>
                  <a:lnTo>
                    <a:pt x="3111" y="669"/>
                  </a:lnTo>
                  <a:lnTo>
                    <a:pt x="3114" y="671"/>
                  </a:lnTo>
                  <a:lnTo>
                    <a:pt x="3114" y="671"/>
                  </a:lnTo>
                  <a:lnTo>
                    <a:pt x="3117" y="672"/>
                  </a:lnTo>
                  <a:lnTo>
                    <a:pt x="3121" y="672"/>
                  </a:lnTo>
                  <a:lnTo>
                    <a:pt x="3121" y="672"/>
                  </a:lnTo>
                  <a:lnTo>
                    <a:pt x="3123" y="672"/>
                  </a:lnTo>
                  <a:lnTo>
                    <a:pt x="3123" y="672"/>
                  </a:lnTo>
                  <a:lnTo>
                    <a:pt x="3134" y="669"/>
                  </a:lnTo>
                  <a:lnTo>
                    <a:pt x="3134" y="669"/>
                  </a:lnTo>
                  <a:lnTo>
                    <a:pt x="3146" y="662"/>
                  </a:lnTo>
                  <a:lnTo>
                    <a:pt x="3146" y="662"/>
                  </a:lnTo>
                  <a:lnTo>
                    <a:pt x="3152" y="658"/>
                  </a:lnTo>
                  <a:lnTo>
                    <a:pt x="3154" y="652"/>
                  </a:lnTo>
                  <a:lnTo>
                    <a:pt x="3154" y="652"/>
                  </a:lnTo>
                  <a:lnTo>
                    <a:pt x="3157" y="645"/>
                  </a:lnTo>
                  <a:lnTo>
                    <a:pt x="3157" y="645"/>
                  </a:lnTo>
                  <a:lnTo>
                    <a:pt x="3157" y="640"/>
                  </a:lnTo>
                  <a:lnTo>
                    <a:pt x="3157" y="640"/>
                  </a:lnTo>
                  <a:lnTo>
                    <a:pt x="3157" y="634"/>
                  </a:lnTo>
                  <a:lnTo>
                    <a:pt x="3157" y="634"/>
                  </a:lnTo>
                  <a:lnTo>
                    <a:pt x="3156" y="633"/>
                  </a:lnTo>
                  <a:lnTo>
                    <a:pt x="3153" y="630"/>
                  </a:lnTo>
                  <a:lnTo>
                    <a:pt x="3153" y="630"/>
                  </a:lnTo>
                  <a:lnTo>
                    <a:pt x="3153" y="633"/>
                  </a:lnTo>
                  <a:lnTo>
                    <a:pt x="3154" y="631"/>
                  </a:lnTo>
                  <a:lnTo>
                    <a:pt x="3154" y="631"/>
                  </a:lnTo>
                  <a:lnTo>
                    <a:pt x="3153" y="630"/>
                  </a:lnTo>
                  <a:lnTo>
                    <a:pt x="3153" y="633"/>
                  </a:lnTo>
                  <a:lnTo>
                    <a:pt x="3154" y="631"/>
                  </a:lnTo>
                  <a:lnTo>
                    <a:pt x="3153" y="633"/>
                  </a:lnTo>
                  <a:lnTo>
                    <a:pt x="3154" y="631"/>
                  </a:lnTo>
                  <a:lnTo>
                    <a:pt x="3154" y="631"/>
                  </a:lnTo>
                  <a:lnTo>
                    <a:pt x="3153" y="633"/>
                  </a:lnTo>
                  <a:lnTo>
                    <a:pt x="3154" y="631"/>
                  </a:lnTo>
                  <a:lnTo>
                    <a:pt x="3154" y="631"/>
                  </a:lnTo>
                  <a:lnTo>
                    <a:pt x="3154" y="631"/>
                  </a:lnTo>
                  <a:lnTo>
                    <a:pt x="3154" y="631"/>
                  </a:lnTo>
                  <a:lnTo>
                    <a:pt x="3154" y="631"/>
                  </a:lnTo>
                  <a:lnTo>
                    <a:pt x="3154" y="631"/>
                  </a:lnTo>
                  <a:lnTo>
                    <a:pt x="3154" y="631"/>
                  </a:lnTo>
                  <a:lnTo>
                    <a:pt x="3154" y="631"/>
                  </a:lnTo>
                  <a:lnTo>
                    <a:pt x="3154" y="627"/>
                  </a:lnTo>
                  <a:lnTo>
                    <a:pt x="3154" y="627"/>
                  </a:lnTo>
                  <a:lnTo>
                    <a:pt x="3157" y="618"/>
                  </a:lnTo>
                  <a:lnTo>
                    <a:pt x="3157" y="618"/>
                  </a:lnTo>
                  <a:lnTo>
                    <a:pt x="3159" y="613"/>
                  </a:lnTo>
                  <a:lnTo>
                    <a:pt x="3159" y="613"/>
                  </a:lnTo>
                  <a:lnTo>
                    <a:pt x="3157" y="611"/>
                  </a:lnTo>
                  <a:lnTo>
                    <a:pt x="3157" y="613"/>
                  </a:lnTo>
                  <a:lnTo>
                    <a:pt x="3159" y="613"/>
                  </a:lnTo>
                  <a:lnTo>
                    <a:pt x="3157" y="611"/>
                  </a:lnTo>
                  <a:lnTo>
                    <a:pt x="3157" y="613"/>
                  </a:lnTo>
                  <a:lnTo>
                    <a:pt x="3157" y="611"/>
                  </a:lnTo>
                  <a:lnTo>
                    <a:pt x="3157" y="613"/>
                  </a:lnTo>
                  <a:lnTo>
                    <a:pt x="3157" y="613"/>
                  </a:lnTo>
                  <a:lnTo>
                    <a:pt x="3157" y="611"/>
                  </a:lnTo>
                  <a:lnTo>
                    <a:pt x="3157" y="613"/>
                  </a:lnTo>
                  <a:lnTo>
                    <a:pt x="3157" y="613"/>
                  </a:lnTo>
                  <a:lnTo>
                    <a:pt x="3156" y="613"/>
                  </a:lnTo>
                  <a:lnTo>
                    <a:pt x="3157" y="613"/>
                  </a:lnTo>
                  <a:lnTo>
                    <a:pt x="3157" y="613"/>
                  </a:lnTo>
                  <a:lnTo>
                    <a:pt x="3156" y="613"/>
                  </a:lnTo>
                  <a:lnTo>
                    <a:pt x="3156" y="613"/>
                  </a:lnTo>
                  <a:lnTo>
                    <a:pt x="3157" y="614"/>
                  </a:lnTo>
                  <a:lnTo>
                    <a:pt x="3157" y="614"/>
                  </a:lnTo>
                  <a:lnTo>
                    <a:pt x="3160" y="617"/>
                  </a:lnTo>
                  <a:lnTo>
                    <a:pt x="3162" y="617"/>
                  </a:lnTo>
                  <a:lnTo>
                    <a:pt x="3160" y="617"/>
                  </a:lnTo>
                  <a:lnTo>
                    <a:pt x="3160" y="617"/>
                  </a:lnTo>
                  <a:lnTo>
                    <a:pt x="3163" y="618"/>
                  </a:lnTo>
                  <a:lnTo>
                    <a:pt x="3163" y="620"/>
                  </a:lnTo>
                  <a:lnTo>
                    <a:pt x="3163" y="620"/>
                  </a:lnTo>
                  <a:lnTo>
                    <a:pt x="3163" y="620"/>
                  </a:lnTo>
                  <a:lnTo>
                    <a:pt x="3163" y="620"/>
                  </a:lnTo>
                  <a:lnTo>
                    <a:pt x="3163" y="620"/>
                  </a:lnTo>
                  <a:lnTo>
                    <a:pt x="3163" y="620"/>
                  </a:lnTo>
                  <a:lnTo>
                    <a:pt x="3163" y="620"/>
                  </a:lnTo>
                  <a:lnTo>
                    <a:pt x="3163" y="620"/>
                  </a:lnTo>
                  <a:lnTo>
                    <a:pt x="3163" y="620"/>
                  </a:lnTo>
                  <a:lnTo>
                    <a:pt x="3160" y="623"/>
                  </a:lnTo>
                  <a:lnTo>
                    <a:pt x="3160" y="623"/>
                  </a:lnTo>
                  <a:lnTo>
                    <a:pt x="3160" y="624"/>
                  </a:lnTo>
                  <a:lnTo>
                    <a:pt x="3160" y="624"/>
                  </a:lnTo>
                  <a:lnTo>
                    <a:pt x="3162" y="629"/>
                  </a:lnTo>
                  <a:lnTo>
                    <a:pt x="3163" y="633"/>
                  </a:lnTo>
                  <a:lnTo>
                    <a:pt x="3163" y="633"/>
                  </a:lnTo>
                  <a:lnTo>
                    <a:pt x="3163" y="633"/>
                  </a:lnTo>
                  <a:lnTo>
                    <a:pt x="3163" y="633"/>
                  </a:lnTo>
                  <a:lnTo>
                    <a:pt x="3166" y="639"/>
                  </a:lnTo>
                  <a:lnTo>
                    <a:pt x="3166" y="639"/>
                  </a:lnTo>
                  <a:lnTo>
                    <a:pt x="3169" y="640"/>
                  </a:lnTo>
                  <a:lnTo>
                    <a:pt x="3172" y="643"/>
                  </a:lnTo>
                  <a:lnTo>
                    <a:pt x="3172" y="643"/>
                  </a:lnTo>
                  <a:lnTo>
                    <a:pt x="3175" y="645"/>
                  </a:lnTo>
                  <a:lnTo>
                    <a:pt x="3175" y="645"/>
                  </a:lnTo>
                  <a:lnTo>
                    <a:pt x="3192" y="645"/>
                  </a:lnTo>
                  <a:lnTo>
                    <a:pt x="3192" y="645"/>
                  </a:lnTo>
                  <a:lnTo>
                    <a:pt x="3201" y="646"/>
                  </a:lnTo>
                  <a:lnTo>
                    <a:pt x="3201" y="646"/>
                  </a:lnTo>
                  <a:lnTo>
                    <a:pt x="3205" y="646"/>
                  </a:lnTo>
                  <a:lnTo>
                    <a:pt x="3205" y="646"/>
                  </a:lnTo>
                  <a:lnTo>
                    <a:pt x="3207" y="646"/>
                  </a:lnTo>
                  <a:lnTo>
                    <a:pt x="3207" y="646"/>
                  </a:lnTo>
                  <a:lnTo>
                    <a:pt x="3208" y="650"/>
                  </a:lnTo>
                  <a:lnTo>
                    <a:pt x="3208" y="650"/>
                  </a:lnTo>
                  <a:lnTo>
                    <a:pt x="3209" y="656"/>
                  </a:lnTo>
                  <a:lnTo>
                    <a:pt x="3209" y="656"/>
                  </a:lnTo>
                  <a:lnTo>
                    <a:pt x="3209" y="656"/>
                  </a:lnTo>
                  <a:lnTo>
                    <a:pt x="3209" y="656"/>
                  </a:lnTo>
                  <a:lnTo>
                    <a:pt x="3209" y="656"/>
                  </a:lnTo>
                  <a:lnTo>
                    <a:pt x="3209" y="656"/>
                  </a:lnTo>
                  <a:lnTo>
                    <a:pt x="3209" y="656"/>
                  </a:lnTo>
                  <a:lnTo>
                    <a:pt x="3209" y="656"/>
                  </a:lnTo>
                  <a:lnTo>
                    <a:pt x="3209" y="656"/>
                  </a:lnTo>
                  <a:lnTo>
                    <a:pt x="3209" y="656"/>
                  </a:lnTo>
                  <a:lnTo>
                    <a:pt x="3208" y="659"/>
                  </a:lnTo>
                  <a:lnTo>
                    <a:pt x="3207" y="662"/>
                  </a:lnTo>
                  <a:lnTo>
                    <a:pt x="3207" y="662"/>
                  </a:lnTo>
                  <a:lnTo>
                    <a:pt x="3208" y="665"/>
                  </a:lnTo>
                  <a:lnTo>
                    <a:pt x="3209" y="668"/>
                  </a:lnTo>
                  <a:lnTo>
                    <a:pt x="3209" y="668"/>
                  </a:lnTo>
                  <a:lnTo>
                    <a:pt x="3214" y="672"/>
                  </a:lnTo>
                  <a:lnTo>
                    <a:pt x="3214" y="672"/>
                  </a:lnTo>
                  <a:lnTo>
                    <a:pt x="3220" y="673"/>
                  </a:lnTo>
                  <a:lnTo>
                    <a:pt x="3220" y="673"/>
                  </a:lnTo>
                  <a:lnTo>
                    <a:pt x="3230" y="675"/>
                  </a:lnTo>
                  <a:lnTo>
                    <a:pt x="3230" y="675"/>
                  </a:lnTo>
                  <a:lnTo>
                    <a:pt x="3238" y="676"/>
                  </a:lnTo>
                  <a:lnTo>
                    <a:pt x="3238" y="676"/>
                  </a:lnTo>
                  <a:lnTo>
                    <a:pt x="3241" y="678"/>
                  </a:lnTo>
                  <a:lnTo>
                    <a:pt x="3244" y="681"/>
                  </a:lnTo>
                  <a:lnTo>
                    <a:pt x="3244" y="681"/>
                  </a:lnTo>
                  <a:lnTo>
                    <a:pt x="3247" y="684"/>
                  </a:lnTo>
                  <a:lnTo>
                    <a:pt x="3253" y="687"/>
                  </a:lnTo>
                  <a:lnTo>
                    <a:pt x="3253" y="687"/>
                  </a:lnTo>
                  <a:lnTo>
                    <a:pt x="3256" y="687"/>
                  </a:lnTo>
                  <a:lnTo>
                    <a:pt x="3256" y="687"/>
                  </a:lnTo>
                  <a:lnTo>
                    <a:pt x="3262" y="685"/>
                  </a:lnTo>
                  <a:lnTo>
                    <a:pt x="3266" y="684"/>
                  </a:lnTo>
                  <a:lnTo>
                    <a:pt x="3266" y="684"/>
                  </a:lnTo>
                  <a:lnTo>
                    <a:pt x="3270" y="681"/>
                  </a:lnTo>
                  <a:lnTo>
                    <a:pt x="3270" y="681"/>
                  </a:lnTo>
                  <a:lnTo>
                    <a:pt x="3272" y="678"/>
                  </a:lnTo>
                  <a:lnTo>
                    <a:pt x="3272" y="676"/>
                  </a:lnTo>
                  <a:lnTo>
                    <a:pt x="3272" y="676"/>
                  </a:lnTo>
                  <a:lnTo>
                    <a:pt x="3272" y="673"/>
                  </a:lnTo>
                  <a:lnTo>
                    <a:pt x="3270" y="671"/>
                  </a:lnTo>
                  <a:lnTo>
                    <a:pt x="3270" y="671"/>
                  </a:lnTo>
                  <a:lnTo>
                    <a:pt x="3267" y="669"/>
                  </a:lnTo>
                  <a:lnTo>
                    <a:pt x="3265" y="669"/>
                  </a:lnTo>
                  <a:lnTo>
                    <a:pt x="3265" y="669"/>
                  </a:lnTo>
                  <a:lnTo>
                    <a:pt x="3262" y="671"/>
                  </a:lnTo>
                  <a:lnTo>
                    <a:pt x="3260" y="671"/>
                  </a:lnTo>
                  <a:lnTo>
                    <a:pt x="3260" y="671"/>
                  </a:lnTo>
                  <a:lnTo>
                    <a:pt x="3260" y="671"/>
                  </a:lnTo>
                  <a:lnTo>
                    <a:pt x="3260" y="671"/>
                  </a:lnTo>
                  <a:lnTo>
                    <a:pt x="3260" y="671"/>
                  </a:lnTo>
                  <a:lnTo>
                    <a:pt x="3262" y="671"/>
                  </a:lnTo>
                  <a:lnTo>
                    <a:pt x="3262" y="671"/>
                  </a:lnTo>
                  <a:lnTo>
                    <a:pt x="3260" y="671"/>
                  </a:lnTo>
                  <a:lnTo>
                    <a:pt x="3262" y="671"/>
                  </a:lnTo>
                  <a:lnTo>
                    <a:pt x="3262" y="671"/>
                  </a:lnTo>
                  <a:lnTo>
                    <a:pt x="3262" y="672"/>
                  </a:lnTo>
                  <a:lnTo>
                    <a:pt x="3262" y="671"/>
                  </a:lnTo>
                  <a:lnTo>
                    <a:pt x="3262" y="671"/>
                  </a:lnTo>
                  <a:lnTo>
                    <a:pt x="3262" y="672"/>
                  </a:lnTo>
                  <a:lnTo>
                    <a:pt x="3262" y="671"/>
                  </a:lnTo>
                  <a:lnTo>
                    <a:pt x="3262" y="671"/>
                  </a:lnTo>
                  <a:lnTo>
                    <a:pt x="3262" y="671"/>
                  </a:lnTo>
                  <a:lnTo>
                    <a:pt x="3262" y="671"/>
                  </a:lnTo>
                  <a:lnTo>
                    <a:pt x="3262" y="671"/>
                  </a:lnTo>
                  <a:lnTo>
                    <a:pt x="3262" y="671"/>
                  </a:lnTo>
                  <a:lnTo>
                    <a:pt x="3262" y="669"/>
                  </a:lnTo>
                  <a:lnTo>
                    <a:pt x="3262" y="669"/>
                  </a:lnTo>
                  <a:lnTo>
                    <a:pt x="3260" y="666"/>
                  </a:lnTo>
                  <a:lnTo>
                    <a:pt x="3260" y="666"/>
                  </a:lnTo>
                  <a:lnTo>
                    <a:pt x="3260" y="666"/>
                  </a:lnTo>
                  <a:lnTo>
                    <a:pt x="3260" y="666"/>
                  </a:lnTo>
                  <a:lnTo>
                    <a:pt x="3260" y="666"/>
                  </a:lnTo>
                  <a:lnTo>
                    <a:pt x="3260" y="666"/>
                  </a:lnTo>
                  <a:lnTo>
                    <a:pt x="3260" y="666"/>
                  </a:lnTo>
                  <a:lnTo>
                    <a:pt x="3260" y="666"/>
                  </a:lnTo>
                  <a:lnTo>
                    <a:pt x="3259" y="666"/>
                  </a:lnTo>
                  <a:lnTo>
                    <a:pt x="3260" y="668"/>
                  </a:lnTo>
                  <a:lnTo>
                    <a:pt x="3260" y="666"/>
                  </a:lnTo>
                  <a:lnTo>
                    <a:pt x="3259" y="666"/>
                  </a:lnTo>
                  <a:lnTo>
                    <a:pt x="3260" y="668"/>
                  </a:lnTo>
                  <a:lnTo>
                    <a:pt x="3259" y="666"/>
                  </a:lnTo>
                  <a:lnTo>
                    <a:pt x="3260" y="668"/>
                  </a:lnTo>
                  <a:lnTo>
                    <a:pt x="3260" y="668"/>
                  </a:lnTo>
                  <a:lnTo>
                    <a:pt x="3259" y="666"/>
                  </a:lnTo>
                  <a:lnTo>
                    <a:pt x="3260" y="668"/>
                  </a:lnTo>
                  <a:lnTo>
                    <a:pt x="3260" y="668"/>
                  </a:lnTo>
                  <a:lnTo>
                    <a:pt x="3263" y="666"/>
                  </a:lnTo>
                  <a:lnTo>
                    <a:pt x="3263" y="666"/>
                  </a:lnTo>
                  <a:lnTo>
                    <a:pt x="3267" y="665"/>
                  </a:lnTo>
                  <a:lnTo>
                    <a:pt x="3267" y="665"/>
                  </a:lnTo>
                  <a:lnTo>
                    <a:pt x="3269" y="665"/>
                  </a:lnTo>
                  <a:lnTo>
                    <a:pt x="3270" y="662"/>
                  </a:lnTo>
                  <a:lnTo>
                    <a:pt x="3270" y="662"/>
                  </a:lnTo>
                  <a:lnTo>
                    <a:pt x="3270" y="659"/>
                  </a:lnTo>
                  <a:lnTo>
                    <a:pt x="3270" y="659"/>
                  </a:lnTo>
                  <a:lnTo>
                    <a:pt x="3270" y="653"/>
                  </a:lnTo>
                  <a:lnTo>
                    <a:pt x="3270" y="653"/>
                  </a:lnTo>
                  <a:lnTo>
                    <a:pt x="3269" y="647"/>
                  </a:lnTo>
                  <a:lnTo>
                    <a:pt x="3269" y="647"/>
                  </a:lnTo>
                  <a:lnTo>
                    <a:pt x="3269" y="643"/>
                  </a:lnTo>
                  <a:lnTo>
                    <a:pt x="3269" y="643"/>
                  </a:lnTo>
                  <a:lnTo>
                    <a:pt x="3267" y="640"/>
                  </a:lnTo>
                  <a:lnTo>
                    <a:pt x="3267" y="640"/>
                  </a:lnTo>
                  <a:lnTo>
                    <a:pt x="3266" y="640"/>
                  </a:lnTo>
                  <a:lnTo>
                    <a:pt x="3267" y="640"/>
                  </a:lnTo>
                  <a:lnTo>
                    <a:pt x="3267" y="640"/>
                  </a:lnTo>
                  <a:lnTo>
                    <a:pt x="3266" y="640"/>
                  </a:lnTo>
                  <a:lnTo>
                    <a:pt x="3267" y="640"/>
                  </a:lnTo>
                  <a:lnTo>
                    <a:pt x="3266" y="639"/>
                  </a:lnTo>
                  <a:lnTo>
                    <a:pt x="3266" y="642"/>
                  </a:lnTo>
                  <a:lnTo>
                    <a:pt x="3266" y="642"/>
                  </a:lnTo>
                  <a:lnTo>
                    <a:pt x="3267" y="640"/>
                  </a:lnTo>
                  <a:lnTo>
                    <a:pt x="3266" y="639"/>
                  </a:lnTo>
                  <a:lnTo>
                    <a:pt x="3266" y="642"/>
                  </a:lnTo>
                  <a:lnTo>
                    <a:pt x="3266" y="642"/>
                  </a:lnTo>
                  <a:lnTo>
                    <a:pt x="3269" y="642"/>
                  </a:lnTo>
                  <a:lnTo>
                    <a:pt x="3269" y="642"/>
                  </a:lnTo>
                  <a:lnTo>
                    <a:pt x="3283" y="643"/>
                  </a:lnTo>
                  <a:lnTo>
                    <a:pt x="3283" y="643"/>
                  </a:lnTo>
                  <a:lnTo>
                    <a:pt x="3286" y="642"/>
                  </a:lnTo>
                  <a:lnTo>
                    <a:pt x="3286" y="642"/>
                  </a:lnTo>
                  <a:lnTo>
                    <a:pt x="3288" y="640"/>
                  </a:lnTo>
                  <a:lnTo>
                    <a:pt x="3288" y="639"/>
                  </a:lnTo>
                  <a:lnTo>
                    <a:pt x="3288" y="639"/>
                  </a:lnTo>
                  <a:lnTo>
                    <a:pt x="3286" y="634"/>
                  </a:lnTo>
                  <a:lnTo>
                    <a:pt x="3286" y="634"/>
                  </a:lnTo>
                  <a:lnTo>
                    <a:pt x="3285" y="630"/>
                  </a:lnTo>
                  <a:lnTo>
                    <a:pt x="3285" y="630"/>
                  </a:lnTo>
                  <a:lnTo>
                    <a:pt x="3285" y="630"/>
                  </a:lnTo>
                  <a:lnTo>
                    <a:pt x="3285" y="630"/>
                  </a:lnTo>
                  <a:lnTo>
                    <a:pt x="3285" y="630"/>
                  </a:lnTo>
                  <a:lnTo>
                    <a:pt x="3285" y="630"/>
                  </a:lnTo>
                  <a:lnTo>
                    <a:pt x="3285" y="630"/>
                  </a:lnTo>
                  <a:lnTo>
                    <a:pt x="3285" y="630"/>
                  </a:lnTo>
                  <a:lnTo>
                    <a:pt x="3283" y="630"/>
                  </a:lnTo>
                  <a:lnTo>
                    <a:pt x="3285" y="631"/>
                  </a:lnTo>
                  <a:lnTo>
                    <a:pt x="3285" y="631"/>
                  </a:lnTo>
                  <a:lnTo>
                    <a:pt x="3285" y="630"/>
                  </a:lnTo>
                  <a:lnTo>
                    <a:pt x="3283" y="630"/>
                  </a:lnTo>
                  <a:lnTo>
                    <a:pt x="3285" y="631"/>
                  </a:lnTo>
                  <a:lnTo>
                    <a:pt x="3283" y="630"/>
                  </a:lnTo>
                  <a:lnTo>
                    <a:pt x="3283" y="631"/>
                  </a:lnTo>
                  <a:lnTo>
                    <a:pt x="3283" y="631"/>
                  </a:lnTo>
                  <a:lnTo>
                    <a:pt x="3285" y="631"/>
                  </a:lnTo>
                  <a:lnTo>
                    <a:pt x="3283" y="630"/>
                  </a:lnTo>
                  <a:lnTo>
                    <a:pt x="3283" y="631"/>
                  </a:lnTo>
                  <a:lnTo>
                    <a:pt x="3283" y="630"/>
                  </a:lnTo>
                  <a:lnTo>
                    <a:pt x="3282" y="631"/>
                  </a:lnTo>
                  <a:lnTo>
                    <a:pt x="3283" y="631"/>
                  </a:lnTo>
                  <a:lnTo>
                    <a:pt x="3283" y="630"/>
                  </a:lnTo>
                  <a:lnTo>
                    <a:pt x="3282" y="631"/>
                  </a:lnTo>
                  <a:lnTo>
                    <a:pt x="3282" y="631"/>
                  </a:lnTo>
                  <a:lnTo>
                    <a:pt x="3282" y="631"/>
                  </a:lnTo>
                  <a:lnTo>
                    <a:pt x="3282" y="631"/>
                  </a:lnTo>
                  <a:lnTo>
                    <a:pt x="3282" y="631"/>
                  </a:lnTo>
                  <a:lnTo>
                    <a:pt x="3282" y="631"/>
                  </a:lnTo>
                  <a:lnTo>
                    <a:pt x="3282" y="631"/>
                  </a:lnTo>
                  <a:lnTo>
                    <a:pt x="3283" y="633"/>
                  </a:lnTo>
                  <a:lnTo>
                    <a:pt x="3283" y="633"/>
                  </a:lnTo>
                  <a:lnTo>
                    <a:pt x="3288" y="637"/>
                  </a:lnTo>
                  <a:lnTo>
                    <a:pt x="3288" y="637"/>
                  </a:lnTo>
                  <a:lnTo>
                    <a:pt x="3292" y="640"/>
                  </a:lnTo>
                  <a:lnTo>
                    <a:pt x="3292" y="640"/>
                  </a:lnTo>
                  <a:lnTo>
                    <a:pt x="3295" y="642"/>
                  </a:lnTo>
                  <a:lnTo>
                    <a:pt x="3295" y="642"/>
                  </a:lnTo>
                  <a:lnTo>
                    <a:pt x="3298" y="640"/>
                  </a:lnTo>
                  <a:lnTo>
                    <a:pt x="3298" y="640"/>
                  </a:lnTo>
                  <a:lnTo>
                    <a:pt x="3299" y="639"/>
                  </a:lnTo>
                  <a:lnTo>
                    <a:pt x="3299" y="639"/>
                  </a:lnTo>
                  <a:lnTo>
                    <a:pt x="3301" y="634"/>
                  </a:lnTo>
                  <a:lnTo>
                    <a:pt x="3301" y="634"/>
                  </a:lnTo>
                  <a:lnTo>
                    <a:pt x="3301" y="631"/>
                  </a:lnTo>
                  <a:lnTo>
                    <a:pt x="3301" y="631"/>
                  </a:lnTo>
                  <a:lnTo>
                    <a:pt x="3305" y="626"/>
                  </a:lnTo>
                  <a:lnTo>
                    <a:pt x="3305" y="626"/>
                  </a:lnTo>
                  <a:lnTo>
                    <a:pt x="3308" y="624"/>
                  </a:lnTo>
                  <a:lnTo>
                    <a:pt x="3308" y="624"/>
                  </a:lnTo>
                  <a:lnTo>
                    <a:pt x="3311" y="623"/>
                  </a:lnTo>
                  <a:lnTo>
                    <a:pt x="3311" y="623"/>
                  </a:lnTo>
                  <a:lnTo>
                    <a:pt x="3312" y="621"/>
                  </a:lnTo>
                  <a:lnTo>
                    <a:pt x="3312" y="620"/>
                  </a:lnTo>
                  <a:lnTo>
                    <a:pt x="3312" y="620"/>
                  </a:lnTo>
                  <a:lnTo>
                    <a:pt x="3311" y="617"/>
                  </a:lnTo>
                  <a:lnTo>
                    <a:pt x="3311" y="617"/>
                  </a:lnTo>
                  <a:lnTo>
                    <a:pt x="3308" y="614"/>
                  </a:lnTo>
                  <a:lnTo>
                    <a:pt x="3308" y="614"/>
                  </a:lnTo>
                  <a:lnTo>
                    <a:pt x="3302" y="611"/>
                  </a:lnTo>
                  <a:lnTo>
                    <a:pt x="3302" y="611"/>
                  </a:lnTo>
                  <a:lnTo>
                    <a:pt x="3298" y="608"/>
                  </a:lnTo>
                  <a:lnTo>
                    <a:pt x="3296" y="604"/>
                  </a:lnTo>
                  <a:lnTo>
                    <a:pt x="3296" y="604"/>
                  </a:lnTo>
                  <a:lnTo>
                    <a:pt x="3293" y="595"/>
                  </a:lnTo>
                  <a:lnTo>
                    <a:pt x="3293" y="595"/>
                  </a:lnTo>
                  <a:lnTo>
                    <a:pt x="3292" y="592"/>
                  </a:lnTo>
                  <a:lnTo>
                    <a:pt x="3292" y="592"/>
                  </a:lnTo>
                  <a:lnTo>
                    <a:pt x="3289" y="591"/>
                  </a:lnTo>
                  <a:lnTo>
                    <a:pt x="3289" y="591"/>
                  </a:lnTo>
                  <a:lnTo>
                    <a:pt x="3286" y="592"/>
                  </a:lnTo>
                  <a:lnTo>
                    <a:pt x="3286" y="592"/>
                  </a:lnTo>
                  <a:lnTo>
                    <a:pt x="3283" y="594"/>
                  </a:lnTo>
                  <a:lnTo>
                    <a:pt x="3283" y="594"/>
                  </a:lnTo>
                  <a:lnTo>
                    <a:pt x="3283" y="595"/>
                  </a:lnTo>
                  <a:lnTo>
                    <a:pt x="3283" y="594"/>
                  </a:lnTo>
                  <a:lnTo>
                    <a:pt x="3283" y="594"/>
                  </a:lnTo>
                  <a:lnTo>
                    <a:pt x="3283" y="595"/>
                  </a:lnTo>
                  <a:lnTo>
                    <a:pt x="3283" y="594"/>
                  </a:lnTo>
                  <a:lnTo>
                    <a:pt x="3283" y="595"/>
                  </a:lnTo>
                  <a:lnTo>
                    <a:pt x="3285" y="594"/>
                  </a:lnTo>
                  <a:lnTo>
                    <a:pt x="3283" y="594"/>
                  </a:lnTo>
                  <a:lnTo>
                    <a:pt x="3283" y="595"/>
                  </a:lnTo>
                  <a:lnTo>
                    <a:pt x="3285" y="594"/>
                  </a:lnTo>
                  <a:lnTo>
                    <a:pt x="3285" y="594"/>
                  </a:lnTo>
                  <a:lnTo>
                    <a:pt x="3285" y="594"/>
                  </a:lnTo>
                  <a:lnTo>
                    <a:pt x="3285" y="594"/>
                  </a:lnTo>
                  <a:lnTo>
                    <a:pt x="3285" y="594"/>
                  </a:lnTo>
                  <a:lnTo>
                    <a:pt x="3285" y="594"/>
                  </a:lnTo>
                  <a:lnTo>
                    <a:pt x="3285" y="594"/>
                  </a:lnTo>
                  <a:lnTo>
                    <a:pt x="3283" y="592"/>
                  </a:lnTo>
                  <a:lnTo>
                    <a:pt x="3283" y="592"/>
                  </a:lnTo>
                  <a:lnTo>
                    <a:pt x="3282" y="585"/>
                  </a:lnTo>
                  <a:lnTo>
                    <a:pt x="3282" y="585"/>
                  </a:lnTo>
                  <a:lnTo>
                    <a:pt x="3280" y="582"/>
                  </a:lnTo>
                  <a:lnTo>
                    <a:pt x="3280" y="582"/>
                  </a:lnTo>
                  <a:lnTo>
                    <a:pt x="3279" y="581"/>
                  </a:lnTo>
                  <a:lnTo>
                    <a:pt x="3279" y="581"/>
                  </a:lnTo>
                  <a:lnTo>
                    <a:pt x="3276" y="581"/>
                  </a:lnTo>
                  <a:lnTo>
                    <a:pt x="3276" y="581"/>
                  </a:lnTo>
                  <a:lnTo>
                    <a:pt x="3276" y="581"/>
                  </a:lnTo>
                  <a:lnTo>
                    <a:pt x="3276" y="581"/>
                  </a:lnTo>
                  <a:lnTo>
                    <a:pt x="3270" y="579"/>
                  </a:lnTo>
                  <a:lnTo>
                    <a:pt x="3270" y="579"/>
                  </a:lnTo>
                  <a:lnTo>
                    <a:pt x="3265" y="578"/>
                  </a:lnTo>
                  <a:lnTo>
                    <a:pt x="3265" y="578"/>
                  </a:lnTo>
                  <a:lnTo>
                    <a:pt x="3263" y="578"/>
                  </a:lnTo>
                  <a:lnTo>
                    <a:pt x="3263" y="578"/>
                  </a:lnTo>
                  <a:lnTo>
                    <a:pt x="3263" y="578"/>
                  </a:lnTo>
                  <a:lnTo>
                    <a:pt x="3263" y="578"/>
                  </a:lnTo>
                  <a:lnTo>
                    <a:pt x="3263" y="578"/>
                  </a:lnTo>
                  <a:lnTo>
                    <a:pt x="3263" y="578"/>
                  </a:lnTo>
                  <a:lnTo>
                    <a:pt x="3262" y="578"/>
                  </a:lnTo>
                  <a:lnTo>
                    <a:pt x="3262" y="578"/>
                  </a:lnTo>
                  <a:lnTo>
                    <a:pt x="3253" y="576"/>
                  </a:lnTo>
                  <a:lnTo>
                    <a:pt x="3253" y="576"/>
                  </a:lnTo>
                  <a:lnTo>
                    <a:pt x="3249" y="578"/>
                  </a:lnTo>
                  <a:lnTo>
                    <a:pt x="3249" y="578"/>
                  </a:lnTo>
                  <a:lnTo>
                    <a:pt x="3246" y="579"/>
                  </a:lnTo>
                  <a:lnTo>
                    <a:pt x="3246" y="579"/>
                  </a:lnTo>
                  <a:lnTo>
                    <a:pt x="3243" y="582"/>
                  </a:lnTo>
                  <a:lnTo>
                    <a:pt x="3243" y="582"/>
                  </a:lnTo>
                  <a:lnTo>
                    <a:pt x="3241" y="588"/>
                  </a:lnTo>
                  <a:lnTo>
                    <a:pt x="3241" y="588"/>
                  </a:lnTo>
                  <a:lnTo>
                    <a:pt x="3240" y="598"/>
                  </a:lnTo>
                  <a:lnTo>
                    <a:pt x="3240" y="598"/>
                  </a:lnTo>
                  <a:lnTo>
                    <a:pt x="3240" y="603"/>
                  </a:lnTo>
                  <a:lnTo>
                    <a:pt x="3240" y="603"/>
                  </a:lnTo>
                  <a:lnTo>
                    <a:pt x="3240" y="604"/>
                  </a:lnTo>
                  <a:lnTo>
                    <a:pt x="3240" y="603"/>
                  </a:lnTo>
                  <a:lnTo>
                    <a:pt x="3240" y="603"/>
                  </a:lnTo>
                  <a:lnTo>
                    <a:pt x="3240" y="604"/>
                  </a:lnTo>
                  <a:lnTo>
                    <a:pt x="3240" y="603"/>
                  </a:lnTo>
                  <a:lnTo>
                    <a:pt x="3240" y="604"/>
                  </a:lnTo>
                  <a:lnTo>
                    <a:pt x="3240" y="603"/>
                  </a:lnTo>
                  <a:lnTo>
                    <a:pt x="3240" y="603"/>
                  </a:lnTo>
                  <a:lnTo>
                    <a:pt x="3240" y="604"/>
                  </a:lnTo>
                  <a:lnTo>
                    <a:pt x="3240" y="603"/>
                  </a:lnTo>
                  <a:lnTo>
                    <a:pt x="3240" y="603"/>
                  </a:lnTo>
                  <a:lnTo>
                    <a:pt x="3241" y="604"/>
                  </a:lnTo>
                  <a:lnTo>
                    <a:pt x="3241" y="603"/>
                  </a:lnTo>
                  <a:lnTo>
                    <a:pt x="3240" y="603"/>
                  </a:lnTo>
                  <a:lnTo>
                    <a:pt x="3241" y="604"/>
                  </a:lnTo>
                  <a:lnTo>
                    <a:pt x="3241" y="603"/>
                  </a:lnTo>
                  <a:lnTo>
                    <a:pt x="3241" y="604"/>
                  </a:lnTo>
                  <a:lnTo>
                    <a:pt x="3241" y="603"/>
                  </a:lnTo>
                  <a:lnTo>
                    <a:pt x="3241" y="603"/>
                  </a:lnTo>
                  <a:lnTo>
                    <a:pt x="3241" y="603"/>
                  </a:lnTo>
                  <a:lnTo>
                    <a:pt x="3241" y="604"/>
                  </a:lnTo>
                  <a:lnTo>
                    <a:pt x="3241" y="603"/>
                  </a:lnTo>
                  <a:lnTo>
                    <a:pt x="3241" y="604"/>
                  </a:lnTo>
                  <a:lnTo>
                    <a:pt x="3243" y="603"/>
                  </a:lnTo>
                  <a:lnTo>
                    <a:pt x="3241" y="603"/>
                  </a:lnTo>
                  <a:lnTo>
                    <a:pt x="3241" y="604"/>
                  </a:lnTo>
                  <a:lnTo>
                    <a:pt x="3243" y="603"/>
                  </a:lnTo>
                  <a:lnTo>
                    <a:pt x="3241" y="604"/>
                  </a:lnTo>
                  <a:lnTo>
                    <a:pt x="3243" y="604"/>
                  </a:lnTo>
                  <a:lnTo>
                    <a:pt x="3243" y="603"/>
                  </a:lnTo>
                  <a:lnTo>
                    <a:pt x="3241" y="604"/>
                  </a:lnTo>
                  <a:lnTo>
                    <a:pt x="3243" y="604"/>
                  </a:lnTo>
                  <a:lnTo>
                    <a:pt x="3243" y="604"/>
                  </a:lnTo>
                  <a:lnTo>
                    <a:pt x="3241" y="600"/>
                  </a:lnTo>
                  <a:lnTo>
                    <a:pt x="3241" y="600"/>
                  </a:lnTo>
                  <a:lnTo>
                    <a:pt x="3241" y="579"/>
                  </a:lnTo>
                  <a:lnTo>
                    <a:pt x="3241" y="579"/>
                  </a:lnTo>
                  <a:lnTo>
                    <a:pt x="3241" y="568"/>
                  </a:lnTo>
                  <a:lnTo>
                    <a:pt x="3241" y="568"/>
                  </a:lnTo>
                  <a:lnTo>
                    <a:pt x="3240" y="559"/>
                  </a:lnTo>
                  <a:lnTo>
                    <a:pt x="3240" y="559"/>
                  </a:lnTo>
                  <a:lnTo>
                    <a:pt x="3237" y="555"/>
                  </a:lnTo>
                  <a:lnTo>
                    <a:pt x="3237" y="555"/>
                  </a:lnTo>
                  <a:lnTo>
                    <a:pt x="3236" y="553"/>
                  </a:lnTo>
                  <a:lnTo>
                    <a:pt x="3236" y="553"/>
                  </a:lnTo>
                  <a:lnTo>
                    <a:pt x="3234" y="552"/>
                  </a:lnTo>
                  <a:lnTo>
                    <a:pt x="3234" y="552"/>
                  </a:lnTo>
                  <a:lnTo>
                    <a:pt x="3223" y="552"/>
                  </a:lnTo>
                  <a:lnTo>
                    <a:pt x="3208" y="550"/>
                  </a:lnTo>
                  <a:lnTo>
                    <a:pt x="3208" y="550"/>
                  </a:lnTo>
                  <a:lnTo>
                    <a:pt x="3205" y="547"/>
                  </a:lnTo>
                  <a:lnTo>
                    <a:pt x="3205" y="547"/>
                  </a:lnTo>
                  <a:lnTo>
                    <a:pt x="3201" y="540"/>
                  </a:lnTo>
                  <a:lnTo>
                    <a:pt x="3201" y="540"/>
                  </a:lnTo>
                  <a:lnTo>
                    <a:pt x="3198" y="536"/>
                  </a:lnTo>
                  <a:lnTo>
                    <a:pt x="3198" y="536"/>
                  </a:lnTo>
                  <a:lnTo>
                    <a:pt x="3195" y="533"/>
                  </a:lnTo>
                  <a:lnTo>
                    <a:pt x="3194" y="533"/>
                  </a:lnTo>
                  <a:lnTo>
                    <a:pt x="3194" y="533"/>
                  </a:lnTo>
                  <a:lnTo>
                    <a:pt x="3182" y="529"/>
                  </a:lnTo>
                  <a:lnTo>
                    <a:pt x="3172" y="523"/>
                  </a:lnTo>
                  <a:lnTo>
                    <a:pt x="3172" y="523"/>
                  </a:lnTo>
                  <a:lnTo>
                    <a:pt x="3165" y="519"/>
                  </a:lnTo>
                  <a:lnTo>
                    <a:pt x="3154" y="511"/>
                  </a:lnTo>
                  <a:lnTo>
                    <a:pt x="3154" y="511"/>
                  </a:lnTo>
                  <a:lnTo>
                    <a:pt x="3149" y="508"/>
                  </a:lnTo>
                  <a:lnTo>
                    <a:pt x="3146" y="505"/>
                  </a:lnTo>
                  <a:lnTo>
                    <a:pt x="3146" y="505"/>
                  </a:lnTo>
                  <a:lnTo>
                    <a:pt x="3141" y="498"/>
                  </a:lnTo>
                  <a:lnTo>
                    <a:pt x="3141" y="498"/>
                  </a:lnTo>
                  <a:lnTo>
                    <a:pt x="3139" y="495"/>
                  </a:lnTo>
                  <a:lnTo>
                    <a:pt x="3136" y="494"/>
                  </a:lnTo>
                  <a:lnTo>
                    <a:pt x="3136" y="494"/>
                  </a:lnTo>
                  <a:lnTo>
                    <a:pt x="3131" y="494"/>
                  </a:lnTo>
                  <a:lnTo>
                    <a:pt x="3130" y="494"/>
                  </a:lnTo>
                  <a:lnTo>
                    <a:pt x="3130" y="494"/>
                  </a:lnTo>
                  <a:lnTo>
                    <a:pt x="3127" y="494"/>
                  </a:lnTo>
                  <a:lnTo>
                    <a:pt x="3127" y="492"/>
                  </a:lnTo>
                  <a:lnTo>
                    <a:pt x="3127" y="492"/>
                  </a:lnTo>
                  <a:lnTo>
                    <a:pt x="3125" y="491"/>
                  </a:lnTo>
                  <a:lnTo>
                    <a:pt x="3125" y="491"/>
                  </a:lnTo>
                  <a:lnTo>
                    <a:pt x="3124" y="484"/>
                  </a:lnTo>
                  <a:lnTo>
                    <a:pt x="3124" y="484"/>
                  </a:lnTo>
                  <a:lnTo>
                    <a:pt x="3123" y="481"/>
                  </a:lnTo>
                  <a:lnTo>
                    <a:pt x="3123" y="481"/>
                  </a:lnTo>
                  <a:lnTo>
                    <a:pt x="3120" y="478"/>
                  </a:lnTo>
                  <a:lnTo>
                    <a:pt x="3120" y="478"/>
                  </a:lnTo>
                  <a:lnTo>
                    <a:pt x="3108" y="474"/>
                  </a:lnTo>
                  <a:lnTo>
                    <a:pt x="3108" y="474"/>
                  </a:lnTo>
                  <a:lnTo>
                    <a:pt x="3097" y="469"/>
                  </a:lnTo>
                  <a:lnTo>
                    <a:pt x="3097" y="469"/>
                  </a:lnTo>
                  <a:lnTo>
                    <a:pt x="3095" y="468"/>
                  </a:lnTo>
                  <a:lnTo>
                    <a:pt x="3095" y="468"/>
                  </a:lnTo>
                  <a:lnTo>
                    <a:pt x="3091" y="462"/>
                  </a:lnTo>
                  <a:lnTo>
                    <a:pt x="3091" y="462"/>
                  </a:lnTo>
                  <a:lnTo>
                    <a:pt x="3088" y="458"/>
                  </a:lnTo>
                  <a:lnTo>
                    <a:pt x="3083" y="453"/>
                  </a:lnTo>
                  <a:lnTo>
                    <a:pt x="3083" y="453"/>
                  </a:lnTo>
                  <a:lnTo>
                    <a:pt x="3079" y="452"/>
                  </a:lnTo>
                  <a:lnTo>
                    <a:pt x="3073" y="452"/>
                  </a:lnTo>
                  <a:lnTo>
                    <a:pt x="3073" y="452"/>
                  </a:lnTo>
                  <a:lnTo>
                    <a:pt x="3060" y="450"/>
                  </a:lnTo>
                  <a:lnTo>
                    <a:pt x="3060" y="450"/>
                  </a:lnTo>
                  <a:lnTo>
                    <a:pt x="3028" y="452"/>
                  </a:lnTo>
                  <a:lnTo>
                    <a:pt x="3028" y="452"/>
                  </a:lnTo>
                  <a:lnTo>
                    <a:pt x="3023" y="452"/>
                  </a:lnTo>
                  <a:lnTo>
                    <a:pt x="3023" y="452"/>
                  </a:lnTo>
                  <a:lnTo>
                    <a:pt x="3017" y="450"/>
                  </a:lnTo>
                  <a:lnTo>
                    <a:pt x="3013" y="448"/>
                  </a:lnTo>
                  <a:lnTo>
                    <a:pt x="3013" y="448"/>
                  </a:lnTo>
                  <a:lnTo>
                    <a:pt x="3008" y="446"/>
                  </a:lnTo>
                  <a:lnTo>
                    <a:pt x="3008" y="446"/>
                  </a:lnTo>
                  <a:lnTo>
                    <a:pt x="3004" y="445"/>
                  </a:lnTo>
                  <a:lnTo>
                    <a:pt x="3004" y="445"/>
                  </a:lnTo>
                  <a:lnTo>
                    <a:pt x="3001" y="445"/>
                  </a:lnTo>
                  <a:lnTo>
                    <a:pt x="2999" y="446"/>
                  </a:lnTo>
                  <a:lnTo>
                    <a:pt x="2999" y="446"/>
                  </a:lnTo>
                  <a:lnTo>
                    <a:pt x="2998" y="449"/>
                  </a:lnTo>
                  <a:lnTo>
                    <a:pt x="2997" y="452"/>
                  </a:lnTo>
                  <a:lnTo>
                    <a:pt x="2997" y="452"/>
                  </a:lnTo>
                  <a:lnTo>
                    <a:pt x="2998" y="453"/>
                  </a:lnTo>
                  <a:lnTo>
                    <a:pt x="2999" y="456"/>
                  </a:lnTo>
                  <a:lnTo>
                    <a:pt x="2999" y="456"/>
                  </a:lnTo>
                  <a:lnTo>
                    <a:pt x="3002" y="459"/>
                  </a:lnTo>
                  <a:lnTo>
                    <a:pt x="3002" y="458"/>
                  </a:lnTo>
                  <a:lnTo>
                    <a:pt x="3002" y="459"/>
                  </a:lnTo>
                  <a:lnTo>
                    <a:pt x="3002" y="459"/>
                  </a:lnTo>
                  <a:lnTo>
                    <a:pt x="3002" y="458"/>
                  </a:lnTo>
                  <a:lnTo>
                    <a:pt x="3002" y="459"/>
                  </a:lnTo>
                  <a:lnTo>
                    <a:pt x="3004" y="458"/>
                  </a:lnTo>
                  <a:lnTo>
                    <a:pt x="3001" y="458"/>
                  </a:lnTo>
                  <a:lnTo>
                    <a:pt x="3002" y="459"/>
                  </a:lnTo>
                  <a:lnTo>
                    <a:pt x="3004" y="458"/>
                  </a:lnTo>
                  <a:lnTo>
                    <a:pt x="3001" y="458"/>
                  </a:lnTo>
                  <a:lnTo>
                    <a:pt x="3004" y="458"/>
                  </a:lnTo>
                  <a:lnTo>
                    <a:pt x="3002" y="456"/>
                  </a:lnTo>
                  <a:lnTo>
                    <a:pt x="3001" y="458"/>
                  </a:lnTo>
                  <a:lnTo>
                    <a:pt x="3004" y="458"/>
                  </a:lnTo>
                  <a:lnTo>
                    <a:pt x="3002" y="456"/>
                  </a:lnTo>
                  <a:lnTo>
                    <a:pt x="3002" y="458"/>
                  </a:lnTo>
                  <a:lnTo>
                    <a:pt x="3002" y="456"/>
                  </a:lnTo>
                  <a:lnTo>
                    <a:pt x="3002" y="456"/>
                  </a:lnTo>
                  <a:lnTo>
                    <a:pt x="3002" y="458"/>
                  </a:lnTo>
                  <a:lnTo>
                    <a:pt x="3002" y="456"/>
                  </a:lnTo>
                  <a:lnTo>
                    <a:pt x="3002" y="456"/>
                  </a:lnTo>
                  <a:lnTo>
                    <a:pt x="3001" y="458"/>
                  </a:lnTo>
                  <a:lnTo>
                    <a:pt x="3001" y="458"/>
                  </a:lnTo>
                  <a:lnTo>
                    <a:pt x="2997" y="459"/>
                  </a:lnTo>
                  <a:lnTo>
                    <a:pt x="2997" y="459"/>
                  </a:lnTo>
                  <a:lnTo>
                    <a:pt x="2994" y="461"/>
                  </a:lnTo>
                  <a:lnTo>
                    <a:pt x="2994" y="461"/>
                  </a:lnTo>
                  <a:lnTo>
                    <a:pt x="2992" y="463"/>
                  </a:lnTo>
                  <a:lnTo>
                    <a:pt x="2992" y="463"/>
                  </a:lnTo>
                  <a:lnTo>
                    <a:pt x="2992" y="463"/>
                  </a:lnTo>
                  <a:lnTo>
                    <a:pt x="2992" y="465"/>
                  </a:lnTo>
                  <a:lnTo>
                    <a:pt x="2992" y="465"/>
                  </a:lnTo>
                  <a:lnTo>
                    <a:pt x="2992" y="469"/>
                  </a:lnTo>
                  <a:lnTo>
                    <a:pt x="2995" y="472"/>
                  </a:lnTo>
                  <a:lnTo>
                    <a:pt x="2995" y="472"/>
                  </a:lnTo>
                  <a:lnTo>
                    <a:pt x="2998" y="475"/>
                  </a:lnTo>
                  <a:lnTo>
                    <a:pt x="3001" y="476"/>
                  </a:lnTo>
                  <a:lnTo>
                    <a:pt x="3001" y="476"/>
                  </a:lnTo>
                  <a:lnTo>
                    <a:pt x="3002" y="476"/>
                  </a:lnTo>
                  <a:lnTo>
                    <a:pt x="3002" y="476"/>
                  </a:lnTo>
                  <a:lnTo>
                    <a:pt x="3002" y="476"/>
                  </a:lnTo>
                  <a:lnTo>
                    <a:pt x="3002" y="476"/>
                  </a:lnTo>
                  <a:lnTo>
                    <a:pt x="3002" y="476"/>
                  </a:lnTo>
                  <a:lnTo>
                    <a:pt x="3002" y="476"/>
                  </a:lnTo>
                  <a:lnTo>
                    <a:pt x="3002" y="476"/>
                  </a:lnTo>
                  <a:lnTo>
                    <a:pt x="3002" y="476"/>
                  </a:lnTo>
                  <a:lnTo>
                    <a:pt x="3002" y="476"/>
                  </a:lnTo>
                  <a:lnTo>
                    <a:pt x="3002" y="476"/>
                  </a:lnTo>
                  <a:lnTo>
                    <a:pt x="3002" y="476"/>
                  </a:lnTo>
                  <a:lnTo>
                    <a:pt x="3002" y="476"/>
                  </a:lnTo>
                  <a:lnTo>
                    <a:pt x="3002" y="476"/>
                  </a:lnTo>
                  <a:lnTo>
                    <a:pt x="3001" y="481"/>
                  </a:lnTo>
                  <a:lnTo>
                    <a:pt x="3001" y="481"/>
                  </a:lnTo>
                  <a:lnTo>
                    <a:pt x="3001" y="481"/>
                  </a:lnTo>
                  <a:lnTo>
                    <a:pt x="2999" y="487"/>
                  </a:lnTo>
                  <a:lnTo>
                    <a:pt x="2999" y="487"/>
                  </a:lnTo>
                  <a:lnTo>
                    <a:pt x="3001" y="491"/>
                  </a:lnTo>
                  <a:lnTo>
                    <a:pt x="3004" y="495"/>
                  </a:lnTo>
                  <a:lnTo>
                    <a:pt x="3004" y="495"/>
                  </a:lnTo>
                  <a:lnTo>
                    <a:pt x="3004" y="495"/>
                  </a:lnTo>
                  <a:lnTo>
                    <a:pt x="3004" y="495"/>
                  </a:lnTo>
                  <a:lnTo>
                    <a:pt x="3004" y="495"/>
                  </a:lnTo>
                  <a:lnTo>
                    <a:pt x="3002" y="497"/>
                  </a:lnTo>
                  <a:lnTo>
                    <a:pt x="3002" y="497"/>
                  </a:lnTo>
                  <a:lnTo>
                    <a:pt x="3001" y="498"/>
                  </a:lnTo>
                  <a:lnTo>
                    <a:pt x="3001" y="498"/>
                  </a:lnTo>
                  <a:lnTo>
                    <a:pt x="2998" y="500"/>
                  </a:lnTo>
                  <a:lnTo>
                    <a:pt x="2998" y="500"/>
                  </a:lnTo>
                  <a:lnTo>
                    <a:pt x="2997" y="503"/>
                  </a:lnTo>
                  <a:lnTo>
                    <a:pt x="2997" y="503"/>
                  </a:lnTo>
                  <a:lnTo>
                    <a:pt x="2994" y="508"/>
                  </a:lnTo>
                  <a:lnTo>
                    <a:pt x="2994" y="508"/>
                  </a:lnTo>
                  <a:lnTo>
                    <a:pt x="2994" y="510"/>
                  </a:lnTo>
                  <a:lnTo>
                    <a:pt x="2992" y="511"/>
                  </a:lnTo>
                  <a:lnTo>
                    <a:pt x="2992" y="511"/>
                  </a:lnTo>
                  <a:lnTo>
                    <a:pt x="2994" y="511"/>
                  </a:lnTo>
                  <a:lnTo>
                    <a:pt x="2994" y="511"/>
                  </a:lnTo>
                  <a:lnTo>
                    <a:pt x="2992" y="511"/>
                  </a:lnTo>
                  <a:lnTo>
                    <a:pt x="2994" y="511"/>
                  </a:lnTo>
                  <a:lnTo>
                    <a:pt x="2994" y="511"/>
                  </a:lnTo>
                  <a:lnTo>
                    <a:pt x="2994" y="511"/>
                  </a:lnTo>
                  <a:lnTo>
                    <a:pt x="2994" y="511"/>
                  </a:lnTo>
                  <a:lnTo>
                    <a:pt x="2994" y="511"/>
                  </a:lnTo>
                  <a:lnTo>
                    <a:pt x="2994" y="511"/>
                  </a:lnTo>
                  <a:lnTo>
                    <a:pt x="2994" y="511"/>
                  </a:lnTo>
                  <a:lnTo>
                    <a:pt x="2994" y="511"/>
                  </a:lnTo>
                  <a:lnTo>
                    <a:pt x="2994" y="511"/>
                  </a:lnTo>
                  <a:lnTo>
                    <a:pt x="2994" y="511"/>
                  </a:lnTo>
                  <a:lnTo>
                    <a:pt x="2994" y="511"/>
                  </a:lnTo>
                  <a:lnTo>
                    <a:pt x="2994" y="511"/>
                  </a:lnTo>
                  <a:lnTo>
                    <a:pt x="2994" y="511"/>
                  </a:lnTo>
                  <a:lnTo>
                    <a:pt x="2992" y="510"/>
                  </a:lnTo>
                  <a:lnTo>
                    <a:pt x="2992" y="510"/>
                  </a:lnTo>
                  <a:lnTo>
                    <a:pt x="2989" y="507"/>
                  </a:lnTo>
                  <a:lnTo>
                    <a:pt x="2989" y="507"/>
                  </a:lnTo>
                  <a:lnTo>
                    <a:pt x="2989" y="504"/>
                  </a:lnTo>
                  <a:lnTo>
                    <a:pt x="2989" y="504"/>
                  </a:lnTo>
                  <a:lnTo>
                    <a:pt x="2988" y="503"/>
                  </a:lnTo>
                  <a:lnTo>
                    <a:pt x="2988" y="503"/>
                  </a:lnTo>
                  <a:lnTo>
                    <a:pt x="2985" y="503"/>
                  </a:lnTo>
                  <a:lnTo>
                    <a:pt x="2985" y="503"/>
                  </a:lnTo>
                  <a:lnTo>
                    <a:pt x="2984" y="503"/>
                  </a:lnTo>
                  <a:lnTo>
                    <a:pt x="2984" y="503"/>
                  </a:lnTo>
                  <a:lnTo>
                    <a:pt x="2982" y="504"/>
                  </a:lnTo>
                  <a:lnTo>
                    <a:pt x="2982" y="504"/>
                  </a:lnTo>
                  <a:lnTo>
                    <a:pt x="2982" y="507"/>
                  </a:lnTo>
                  <a:lnTo>
                    <a:pt x="2982" y="507"/>
                  </a:lnTo>
                  <a:lnTo>
                    <a:pt x="2981" y="511"/>
                  </a:lnTo>
                  <a:lnTo>
                    <a:pt x="2981" y="511"/>
                  </a:lnTo>
                  <a:lnTo>
                    <a:pt x="2981" y="513"/>
                  </a:lnTo>
                  <a:lnTo>
                    <a:pt x="2981" y="514"/>
                  </a:lnTo>
                  <a:lnTo>
                    <a:pt x="2981" y="514"/>
                  </a:lnTo>
                  <a:lnTo>
                    <a:pt x="2981" y="514"/>
                  </a:lnTo>
                  <a:lnTo>
                    <a:pt x="2981" y="514"/>
                  </a:lnTo>
                  <a:lnTo>
                    <a:pt x="2981" y="514"/>
                  </a:lnTo>
                  <a:lnTo>
                    <a:pt x="2981" y="514"/>
                  </a:lnTo>
                  <a:lnTo>
                    <a:pt x="2981" y="514"/>
                  </a:lnTo>
                  <a:lnTo>
                    <a:pt x="2984" y="516"/>
                  </a:lnTo>
                  <a:lnTo>
                    <a:pt x="2981" y="514"/>
                  </a:lnTo>
                  <a:lnTo>
                    <a:pt x="2982" y="514"/>
                  </a:lnTo>
                  <a:lnTo>
                    <a:pt x="2981" y="513"/>
                  </a:lnTo>
                  <a:lnTo>
                    <a:pt x="2981" y="514"/>
                  </a:lnTo>
                  <a:lnTo>
                    <a:pt x="2982" y="514"/>
                  </a:lnTo>
                  <a:lnTo>
                    <a:pt x="2981" y="513"/>
                  </a:lnTo>
                  <a:lnTo>
                    <a:pt x="2982" y="516"/>
                  </a:lnTo>
                  <a:lnTo>
                    <a:pt x="2982" y="513"/>
                  </a:lnTo>
                  <a:lnTo>
                    <a:pt x="2982" y="513"/>
                  </a:lnTo>
                  <a:lnTo>
                    <a:pt x="2981" y="513"/>
                  </a:lnTo>
                  <a:lnTo>
                    <a:pt x="2982" y="516"/>
                  </a:lnTo>
                  <a:lnTo>
                    <a:pt x="2982" y="513"/>
                  </a:lnTo>
                  <a:lnTo>
                    <a:pt x="2982" y="514"/>
                  </a:lnTo>
                  <a:lnTo>
                    <a:pt x="2984" y="513"/>
                  </a:lnTo>
                  <a:lnTo>
                    <a:pt x="2984" y="513"/>
                  </a:lnTo>
                  <a:lnTo>
                    <a:pt x="2982" y="513"/>
                  </a:lnTo>
                  <a:lnTo>
                    <a:pt x="2982" y="514"/>
                  </a:lnTo>
                  <a:lnTo>
                    <a:pt x="2984" y="513"/>
                  </a:lnTo>
                  <a:lnTo>
                    <a:pt x="2984" y="514"/>
                  </a:lnTo>
                  <a:lnTo>
                    <a:pt x="2985" y="513"/>
                  </a:lnTo>
                  <a:lnTo>
                    <a:pt x="2984" y="513"/>
                  </a:lnTo>
                  <a:lnTo>
                    <a:pt x="2984" y="514"/>
                  </a:lnTo>
                  <a:lnTo>
                    <a:pt x="2985" y="513"/>
                  </a:lnTo>
                  <a:lnTo>
                    <a:pt x="2985" y="513"/>
                  </a:lnTo>
                  <a:lnTo>
                    <a:pt x="2984" y="511"/>
                  </a:lnTo>
                  <a:lnTo>
                    <a:pt x="2984" y="511"/>
                  </a:lnTo>
                  <a:lnTo>
                    <a:pt x="2981" y="504"/>
                  </a:lnTo>
                  <a:lnTo>
                    <a:pt x="2981" y="504"/>
                  </a:lnTo>
                  <a:lnTo>
                    <a:pt x="2979" y="498"/>
                  </a:lnTo>
                  <a:lnTo>
                    <a:pt x="2979" y="498"/>
                  </a:lnTo>
                  <a:lnTo>
                    <a:pt x="2979" y="497"/>
                  </a:lnTo>
                  <a:lnTo>
                    <a:pt x="2979" y="497"/>
                  </a:lnTo>
                  <a:lnTo>
                    <a:pt x="2979" y="497"/>
                  </a:lnTo>
                  <a:lnTo>
                    <a:pt x="2979" y="497"/>
                  </a:lnTo>
                  <a:lnTo>
                    <a:pt x="2979" y="494"/>
                  </a:lnTo>
                  <a:lnTo>
                    <a:pt x="2979" y="494"/>
                  </a:lnTo>
                  <a:lnTo>
                    <a:pt x="2975" y="491"/>
                  </a:lnTo>
                  <a:lnTo>
                    <a:pt x="2975" y="491"/>
                  </a:lnTo>
                  <a:lnTo>
                    <a:pt x="2969" y="485"/>
                  </a:lnTo>
                  <a:lnTo>
                    <a:pt x="2969" y="485"/>
                  </a:lnTo>
                  <a:lnTo>
                    <a:pt x="2965" y="481"/>
                  </a:lnTo>
                  <a:lnTo>
                    <a:pt x="2965" y="481"/>
                  </a:lnTo>
                  <a:lnTo>
                    <a:pt x="2963" y="476"/>
                  </a:lnTo>
                  <a:lnTo>
                    <a:pt x="2963" y="476"/>
                  </a:lnTo>
                  <a:lnTo>
                    <a:pt x="2963" y="468"/>
                  </a:lnTo>
                  <a:lnTo>
                    <a:pt x="2963" y="468"/>
                  </a:lnTo>
                  <a:lnTo>
                    <a:pt x="2962" y="463"/>
                  </a:lnTo>
                  <a:lnTo>
                    <a:pt x="2962" y="463"/>
                  </a:lnTo>
                  <a:lnTo>
                    <a:pt x="2960" y="461"/>
                  </a:lnTo>
                  <a:lnTo>
                    <a:pt x="2959" y="459"/>
                  </a:lnTo>
                  <a:lnTo>
                    <a:pt x="2959" y="459"/>
                  </a:lnTo>
                  <a:lnTo>
                    <a:pt x="2956" y="459"/>
                  </a:lnTo>
                  <a:lnTo>
                    <a:pt x="2956" y="459"/>
                  </a:lnTo>
                  <a:lnTo>
                    <a:pt x="2955" y="459"/>
                  </a:lnTo>
                  <a:lnTo>
                    <a:pt x="2953" y="461"/>
                  </a:lnTo>
                  <a:lnTo>
                    <a:pt x="2953" y="461"/>
                  </a:lnTo>
                  <a:lnTo>
                    <a:pt x="2952" y="463"/>
                  </a:lnTo>
                  <a:lnTo>
                    <a:pt x="2952" y="463"/>
                  </a:lnTo>
                  <a:lnTo>
                    <a:pt x="2950" y="468"/>
                  </a:lnTo>
                  <a:lnTo>
                    <a:pt x="2952" y="468"/>
                  </a:lnTo>
                  <a:lnTo>
                    <a:pt x="2952" y="466"/>
                  </a:lnTo>
                  <a:lnTo>
                    <a:pt x="2950" y="468"/>
                  </a:lnTo>
                  <a:lnTo>
                    <a:pt x="2952" y="468"/>
                  </a:lnTo>
                  <a:lnTo>
                    <a:pt x="2952" y="466"/>
                  </a:lnTo>
                  <a:lnTo>
                    <a:pt x="2952" y="466"/>
                  </a:lnTo>
                  <a:lnTo>
                    <a:pt x="2952" y="466"/>
                  </a:lnTo>
                  <a:lnTo>
                    <a:pt x="2952" y="466"/>
                  </a:lnTo>
                  <a:lnTo>
                    <a:pt x="2952" y="466"/>
                  </a:lnTo>
                  <a:lnTo>
                    <a:pt x="2952" y="466"/>
                  </a:lnTo>
                  <a:lnTo>
                    <a:pt x="2952" y="466"/>
                  </a:lnTo>
                  <a:lnTo>
                    <a:pt x="2952" y="466"/>
                  </a:lnTo>
                  <a:lnTo>
                    <a:pt x="2947" y="466"/>
                  </a:lnTo>
                  <a:lnTo>
                    <a:pt x="2947" y="466"/>
                  </a:lnTo>
                  <a:lnTo>
                    <a:pt x="2943" y="468"/>
                  </a:lnTo>
                  <a:lnTo>
                    <a:pt x="2943" y="468"/>
                  </a:lnTo>
                  <a:lnTo>
                    <a:pt x="2927" y="466"/>
                  </a:lnTo>
                  <a:lnTo>
                    <a:pt x="2927" y="466"/>
                  </a:lnTo>
                  <a:lnTo>
                    <a:pt x="2914" y="463"/>
                  </a:lnTo>
                  <a:lnTo>
                    <a:pt x="2914" y="463"/>
                  </a:lnTo>
                  <a:lnTo>
                    <a:pt x="2901" y="461"/>
                  </a:lnTo>
                  <a:lnTo>
                    <a:pt x="2885" y="459"/>
                  </a:lnTo>
                  <a:lnTo>
                    <a:pt x="2885" y="459"/>
                  </a:lnTo>
                  <a:lnTo>
                    <a:pt x="2879" y="459"/>
                  </a:lnTo>
                  <a:lnTo>
                    <a:pt x="2875" y="459"/>
                  </a:lnTo>
                  <a:lnTo>
                    <a:pt x="2875" y="459"/>
                  </a:lnTo>
                  <a:lnTo>
                    <a:pt x="2869" y="463"/>
                  </a:lnTo>
                  <a:lnTo>
                    <a:pt x="2865" y="466"/>
                  </a:lnTo>
                  <a:lnTo>
                    <a:pt x="2860" y="471"/>
                  </a:lnTo>
                  <a:lnTo>
                    <a:pt x="2858" y="476"/>
                  </a:lnTo>
                  <a:lnTo>
                    <a:pt x="2858" y="476"/>
                  </a:lnTo>
                  <a:lnTo>
                    <a:pt x="2856" y="482"/>
                  </a:lnTo>
                  <a:lnTo>
                    <a:pt x="2856" y="482"/>
                  </a:lnTo>
                  <a:lnTo>
                    <a:pt x="2856" y="494"/>
                  </a:lnTo>
                  <a:lnTo>
                    <a:pt x="2856" y="494"/>
                  </a:lnTo>
                  <a:lnTo>
                    <a:pt x="2856" y="498"/>
                  </a:lnTo>
                  <a:lnTo>
                    <a:pt x="2856" y="498"/>
                  </a:lnTo>
                  <a:lnTo>
                    <a:pt x="2855" y="500"/>
                  </a:lnTo>
                  <a:lnTo>
                    <a:pt x="2855" y="500"/>
                  </a:lnTo>
                  <a:lnTo>
                    <a:pt x="2856" y="500"/>
                  </a:lnTo>
                  <a:lnTo>
                    <a:pt x="2855" y="500"/>
                  </a:lnTo>
                  <a:lnTo>
                    <a:pt x="2855" y="500"/>
                  </a:lnTo>
                  <a:lnTo>
                    <a:pt x="2856" y="500"/>
                  </a:lnTo>
                  <a:lnTo>
                    <a:pt x="2855" y="500"/>
                  </a:lnTo>
                  <a:lnTo>
                    <a:pt x="2855" y="500"/>
                  </a:lnTo>
                  <a:lnTo>
                    <a:pt x="2856" y="501"/>
                  </a:lnTo>
                  <a:lnTo>
                    <a:pt x="2856" y="500"/>
                  </a:lnTo>
                  <a:lnTo>
                    <a:pt x="2856" y="500"/>
                  </a:lnTo>
                  <a:lnTo>
                    <a:pt x="2855" y="500"/>
                  </a:lnTo>
                  <a:lnTo>
                    <a:pt x="2856" y="501"/>
                  </a:lnTo>
                  <a:lnTo>
                    <a:pt x="2856" y="500"/>
                  </a:lnTo>
                  <a:lnTo>
                    <a:pt x="2856" y="501"/>
                  </a:lnTo>
                  <a:lnTo>
                    <a:pt x="2858" y="500"/>
                  </a:lnTo>
                  <a:lnTo>
                    <a:pt x="2858" y="500"/>
                  </a:lnTo>
                  <a:lnTo>
                    <a:pt x="2856" y="500"/>
                  </a:lnTo>
                  <a:lnTo>
                    <a:pt x="2856" y="501"/>
                  </a:lnTo>
                  <a:lnTo>
                    <a:pt x="2858" y="500"/>
                  </a:lnTo>
                  <a:lnTo>
                    <a:pt x="2858" y="500"/>
                  </a:lnTo>
                  <a:lnTo>
                    <a:pt x="2856" y="498"/>
                  </a:lnTo>
                  <a:lnTo>
                    <a:pt x="2856" y="498"/>
                  </a:lnTo>
                  <a:lnTo>
                    <a:pt x="2855" y="487"/>
                  </a:lnTo>
                  <a:lnTo>
                    <a:pt x="2855" y="487"/>
                  </a:lnTo>
                  <a:lnTo>
                    <a:pt x="2855" y="485"/>
                  </a:lnTo>
                  <a:lnTo>
                    <a:pt x="2855" y="484"/>
                  </a:lnTo>
                  <a:lnTo>
                    <a:pt x="2856" y="484"/>
                  </a:lnTo>
                  <a:lnTo>
                    <a:pt x="2856" y="484"/>
                  </a:lnTo>
                  <a:lnTo>
                    <a:pt x="2855" y="484"/>
                  </a:lnTo>
                  <a:lnTo>
                    <a:pt x="2856" y="484"/>
                  </a:lnTo>
                  <a:lnTo>
                    <a:pt x="2855" y="484"/>
                  </a:lnTo>
                  <a:lnTo>
                    <a:pt x="2856" y="484"/>
                  </a:lnTo>
                  <a:lnTo>
                    <a:pt x="2856" y="484"/>
                  </a:lnTo>
                  <a:lnTo>
                    <a:pt x="2856" y="482"/>
                  </a:lnTo>
                  <a:lnTo>
                    <a:pt x="2856" y="482"/>
                  </a:lnTo>
                  <a:lnTo>
                    <a:pt x="2856" y="479"/>
                  </a:lnTo>
                  <a:lnTo>
                    <a:pt x="2855" y="478"/>
                  </a:lnTo>
                  <a:lnTo>
                    <a:pt x="2855" y="478"/>
                  </a:lnTo>
                  <a:lnTo>
                    <a:pt x="2850" y="475"/>
                  </a:lnTo>
                  <a:lnTo>
                    <a:pt x="2850" y="475"/>
                  </a:lnTo>
                  <a:lnTo>
                    <a:pt x="2846" y="471"/>
                  </a:lnTo>
                  <a:lnTo>
                    <a:pt x="2846" y="471"/>
                  </a:lnTo>
                  <a:lnTo>
                    <a:pt x="2834" y="456"/>
                  </a:lnTo>
                  <a:lnTo>
                    <a:pt x="2834" y="456"/>
                  </a:lnTo>
                  <a:lnTo>
                    <a:pt x="2833" y="455"/>
                  </a:lnTo>
                  <a:lnTo>
                    <a:pt x="2833" y="455"/>
                  </a:lnTo>
                  <a:lnTo>
                    <a:pt x="2831" y="455"/>
                  </a:lnTo>
                  <a:lnTo>
                    <a:pt x="2833" y="455"/>
                  </a:lnTo>
                  <a:lnTo>
                    <a:pt x="2833" y="455"/>
                  </a:lnTo>
                  <a:lnTo>
                    <a:pt x="2831" y="455"/>
                  </a:lnTo>
                  <a:lnTo>
                    <a:pt x="2833" y="455"/>
                  </a:lnTo>
                  <a:lnTo>
                    <a:pt x="2830" y="455"/>
                  </a:lnTo>
                  <a:lnTo>
                    <a:pt x="2831" y="456"/>
                  </a:lnTo>
                  <a:lnTo>
                    <a:pt x="2831" y="456"/>
                  </a:lnTo>
                  <a:lnTo>
                    <a:pt x="2833" y="455"/>
                  </a:lnTo>
                  <a:lnTo>
                    <a:pt x="2830" y="455"/>
                  </a:lnTo>
                  <a:lnTo>
                    <a:pt x="2831" y="456"/>
                  </a:lnTo>
                  <a:lnTo>
                    <a:pt x="2831" y="456"/>
                  </a:lnTo>
                  <a:lnTo>
                    <a:pt x="2831" y="456"/>
                  </a:lnTo>
                  <a:lnTo>
                    <a:pt x="2833" y="455"/>
                  </a:lnTo>
                  <a:lnTo>
                    <a:pt x="2833" y="455"/>
                  </a:lnTo>
                  <a:lnTo>
                    <a:pt x="2834" y="452"/>
                  </a:lnTo>
                  <a:lnTo>
                    <a:pt x="2834" y="452"/>
                  </a:lnTo>
                  <a:lnTo>
                    <a:pt x="2834" y="449"/>
                  </a:lnTo>
                  <a:lnTo>
                    <a:pt x="2834" y="449"/>
                  </a:lnTo>
                  <a:lnTo>
                    <a:pt x="2833" y="442"/>
                  </a:lnTo>
                  <a:lnTo>
                    <a:pt x="2833" y="442"/>
                  </a:lnTo>
                  <a:lnTo>
                    <a:pt x="2830" y="434"/>
                  </a:lnTo>
                  <a:lnTo>
                    <a:pt x="2830" y="434"/>
                  </a:lnTo>
                  <a:lnTo>
                    <a:pt x="2824" y="419"/>
                  </a:lnTo>
                  <a:lnTo>
                    <a:pt x="2824" y="419"/>
                  </a:lnTo>
                  <a:lnTo>
                    <a:pt x="2818" y="411"/>
                  </a:lnTo>
                  <a:lnTo>
                    <a:pt x="2814" y="407"/>
                  </a:lnTo>
                  <a:lnTo>
                    <a:pt x="2811" y="404"/>
                  </a:lnTo>
                  <a:lnTo>
                    <a:pt x="2811" y="404"/>
                  </a:lnTo>
                  <a:lnTo>
                    <a:pt x="2804" y="403"/>
                  </a:lnTo>
                  <a:lnTo>
                    <a:pt x="2794" y="401"/>
                  </a:lnTo>
                  <a:lnTo>
                    <a:pt x="2794" y="401"/>
                  </a:lnTo>
                  <a:lnTo>
                    <a:pt x="2774" y="403"/>
                  </a:lnTo>
                  <a:lnTo>
                    <a:pt x="2758" y="406"/>
                  </a:lnTo>
                  <a:lnTo>
                    <a:pt x="2758" y="406"/>
                  </a:lnTo>
                  <a:lnTo>
                    <a:pt x="2734" y="410"/>
                  </a:lnTo>
                  <a:lnTo>
                    <a:pt x="2734" y="410"/>
                  </a:lnTo>
                  <a:lnTo>
                    <a:pt x="2724" y="411"/>
                  </a:lnTo>
                  <a:lnTo>
                    <a:pt x="2724" y="411"/>
                  </a:lnTo>
                  <a:lnTo>
                    <a:pt x="2717" y="413"/>
                  </a:lnTo>
                  <a:lnTo>
                    <a:pt x="2717" y="413"/>
                  </a:lnTo>
                  <a:lnTo>
                    <a:pt x="2713" y="411"/>
                  </a:lnTo>
                  <a:lnTo>
                    <a:pt x="2707" y="410"/>
                  </a:lnTo>
                  <a:lnTo>
                    <a:pt x="2707" y="410"/>
                  </a:lnTo>
                  <a:lnTo>
                    <a:pt x="2698" y="404"/>
                  </a:lnTo>
                  <a:lnTo>
                    <a:pt x="2698" y="404"/>
                  </a:lnTo>
                  <a:lnTo>
                    <a:pt x="2694" y="398"/>
                  </a:lnTo>
                  <a:lnTo>
                    <a:pt x="2694" y="398"/>
                  </a:lnTo>
                  <a:lnTo>
                    <a:pt x="2685" y="387"/>
                  </a:lnTo>
                  <a:lnTo>
                    <a:pt x="2685" y="387"/>
                  </a:lnTo>
                  <a:lnTo>
                    <a:pt x="2679" y="377"/>
                  </a:lnTo>
                  <a:lnTo>
                    <a:pt x="2679" y="377"/>
                  </a:lnTo>
                  <a:lnTo>
                    <a:pt x="2675" y="372"/>
                  </a:lnTo>
                  <a:lnTo>
                    <a:pt x="2672" y="371"/>
                  </a:lnTo>
                  <a:lnTo>
                    <a:pt x="2672" y="371"/>
                  </a:lnTo>
                  <a:lnTo>
                    <a:pt x="2669" y="369"/>
                  </a:lnTo>
                  <a:lnTo>
                    <a:pt x="2669" y="369"/>
                  </a:lnTo>
                  <a:lnTo>
                    <a:pt x="2668" y="371"/>
                  </a:lnTo>
                  <a:lnTo>
                    <a:pt x="2669" y="371"/>
                  </a:lnTo>
                  <a:lnTo>
                    <a:pt x="2669" y="369"/>
                  </a:lnTo>
                  <a:lnTo>
                    <a:pt x="2668" y="371"/>
                  </a:lnTo>
                  <a:lnTo>
                    <a:pt x="2669" y="371"/>
                  </a:lnTo>
                  <a:lnTo>
                    <a:pt x="2669" y="371"/>
                  </a:lnTo>
                  <a:lnTo>
                    <a:pt x="2669" y="371"/>
                  </a:lnTo>
                  <a:lnTo>
                    <a:pt x="2669" y="371"/>
                  </a:lnTo>
                  <a:lnTo>
                    <a:pt x="2669" y="371"/>
                  </a:lnTo>
                  <a:lnTo>
                    <a:pt x="2669" y="371"/>
                  </a:lnTo>
                  <a:lnTo>
                    <a:pt x="2669" y="371"/>
                  </a:lnTo>
                  <a:lnTo>
                    <a:pt x="2669" y="371"/>
                  </a:lnTo>
                  <a:lnTo>
                    <a:pt x="2669" y="371"/>
                  </a:lnTo>
                  <a:lnTo>
                    <a:pt x="2669" y="371"/>
                  </a:lnTo>
                  <a:lnTo>
                    <a:pt x="2669" y="371"/>
                  </a:lnTo>
                  <a:lnTo>
                    <a:pt x="2669" y="371"/>
                  </a:lnTo>
                  <a:lnTo>
                    <a:pt x="2669" y="371"/>
                  </a:lnTo>
                  <a:lnTo>
                    <a:pt x="2669" y="371"/>
                  </a:lnTo>
                  <a:lnTo>
                    <a:pt x="2669" y="371"/>
                  </a:lnTo>
                  <a:lnTo>
                    <a:pt x="2669" y="371"/>
                  </a:lnTo>
                  <a:lnTo>
                    <a:pt x="2672" y="371"/>
                  </a:lnTo>
                  <a:lnTo>
                    <a:pt x="2672" y="371"/>
                  </a:lnTo>
                  <a:lnTo>
                    <a:pt x="2676" y="372"/>
                  </a:lnTo>
                  <a:lnTo>
                    <a:pt x="2678" y="372"/>
                  </a:lnTo>
                  <a:lnTo>
                    <a:pt x="2678" y="372"/>
                  </a:lnTo>
                  <a:lnTo>
                    <a:pt x="2679" y="372"/>
                  </a:lnTo>
                  <a:lnTo>
                    <a:pt x="2679" y="372"/>
                  </a:lnTo>
                  <a:lnTo>
                    <a:pt x="2681" y="369"/>
                  </a:lnTo>
                  <a:lnTo>
                    <a:pt x="2681" y="369"/>
                  </a:lnTo>
                  <a:lnTo>
                    <a:pt x="2681" y="366"/>
                  </a:lnTo>
                  <a:lnTo>
                    <a:pt x="2681" y="366"/>
                  </a:lnTo>
                  <a:lnTo>
                    <a:pt x="2681" y="359"/>
                  </a:lnTo>
                  <a:lnTo>
                    <a:pt x="2678" y="353"/>
                  </a:lnTo>
                  <a:lnTo>
                    <a:pt x="2678" y="353"/>
                  </a:lnTo>
                  <a:lnTo>
                    <a:pt x="2675" y="348"/>
                  </a:lnTo>
                  <a:lnTo>
                    <a:pt x="2669" y="345"/>
                  </a:lnTo>
                  <a:lnTo>
                    <a:pt x="2669" y="345"/>
                  </a:lnTo>
                  <a:lnTo>
                    <a:pt x="2663" y="342"/>
                  </a:lnTo>
                  <a:lnTo>
                    <a:pt x="2656" y="340"/>
                  </a:lnTo>
                  <a:lnTo>
                    <a:pt x="2656" y="340"/>
                  </a:lnTo>
                  <a:lnTo>
                    <a:pt x="2652" y="340"/>
                  </a:lnTo>
                  <a:lnTo>
                    <a:pt x="2648" y="339"/>
                  </a:lnTo>
                  <a:lnTo>
                    <a:pt x="2648" y="339"/>
                  </a:lnTo>
                  <a:lnTo>
                    <a:pt x="2643" y="336"/>
                  </a:lnTo>
                  <a:lnTo>
                    <a:pt x="2637" y="336"/>
                  </a:lnTo>
                  <a:lnTo>
                    <a:pt x="2636" y="336"/>
                  </a:lnTo>
                  <a:lnTo>
                    <a:pt x="2636" y="336"/>
                  </a:lnTo>
                  <a:lnTo>
                    <a:pt x="2632" y="336"/>
                  </a:lnTo>
                  <a:lnTo>
                    <a:pt x="2632" y="336"/>
                  </a:lnTo>
                  <a:lnTo>
                    <a:pt x="2629" y="337"/>
                  </a:lnTo>
                  <a:lnTo>
                    <a:pt x="2629" y="337"/>
                  </a:lnTo>
                  <a:lnTo>
                    <a:pt x="2629" y="339"/>
                  </a:lnTo>
                  <a:lnTo>
                    <a:pt x="2629" y="339"/>
                  </a:lnTo>
                  <a:lnTo>
                    <a:pt x="2629" y="340"/>
                  </a:lnTo>
                  <a:lnTo>
                    <a:pt x="2629" y="339"/>
                  </a:lnTo>
                  <a:lnTo>
                    <a:pt x="2629" y="339"/>
                  </a:lnTo>
                  <a:lnTo>
                    <a:pt x="2629" y="340"/>
                  </a:lnTo>
                  <a:lnTo>
                    <a:pt x="2629" y="339"/>
                  </a:lnTo>
                  <a:lnTo>
                    <a:pt x="2629" y="340"/>
                  </a:lnTo>
                  <a:lnTo>
                    <a:pt x="2629" y="339"/>
                  </a:lnTo>
                  <a:lnTo>
                    <a:pt x="2629" y="339"/>
                  </a:lnTo>
                  <a:lnTo>
                    <a:pt x="2629" y="340"/>
                  </a:lnTo>
                  <a:lnTo>
                    <a:pt x="2629" y="339"/>
                  </a:lnTo>
                  <a:lnTo>
                    <a:pt x="2629" y="339"/>
                  </a:lnTo>
                  <a:lnTo>
                    <a:pt x="2629" y="339"/>
                  </a:lnTo>
                  <a:lnTo>
                    <a:pt x="2627" y="339"/>
                  </a:lnTo>
                  <a:lnTo>
                    <a:pt x="2627" y="339"/>
                  </a:lnTo>
                  <a:lnTo>
                    <a:pt x="2623" y="339"/>
                  </a:lnTo>
                  <a:lnTo>
                    <a:pt x="2623" y="339"/>
                  </a:lnTo>
                  <a:lnTo>
                    <a:pt x="2617" y="339"/>
                  </a:lnTo>
                  <a:lnTo>
                    <a:pt x="2617" y="339"/>
                  </a:lnTo>
                  <a:lnTo>
                    <a:pt x="2611" y="339"/>
                  </a:lnTo>
                  <a:lnTo>
                    <a:pt x="2608" y="342"/>
                  </a:lnTo>
                  <a:lnTo>
                    <a:pt x="2608" y="342"/>
                  </a:lnTo>
                  <a:lnTo>
                    <a:pt x="2603" y="346"/>
                  </a:lnTo>
                  <a:lnTo>
                    <a:pt x="2603" y="346"/>
                  </a:lnTo>
                  <a:lnTo>
                    <a:pt x="2600" y="348"/>
                  </a:lnTo>
                  <a:lnTo>
                    <a:pt x="2600" y="348"/>
                  </a:lnTo>
                  <a:lnTo>
                    <a:pt x="2594" y="348"/>
                  </a:lnTo>
                  <a:lnTo>
                    <a:pt x="2594" y="348"/>
                  </a:lnTo>
                  <a:lnTo>
                    <a:pt x="2584" y="348"/>
                  </a:lnTo>
                  <a:lnTo>
                    <a:pt x="2584" y="348"/>
                  </a:lnTo>
                  <a:lnTo>
                    <a:pt x="2582" y="348"/>
                  </a:lnTo>
                  <a:lnTo>
                    <a:pt x="2582" y="348"/>
                  </a:lnTo>
                  <a:lnTo>
                    <a:pt x="2582" y="348"/>
                  </a:lnTo>
                  <a:lnTo>
                    <a:pt x="2582" y="348"/>
                  </a:lnTo>
                  <a:lnTo>
                    <a:pt x="2582" y="348"/>
                  </a:lnTo>
                  <a:lnTo>
                    <a:pt x="2582" y="348"/>
                  </a:lnTo>
                  <a:lnTo>
                    <a:pt x="2582" y="349"/>
                  </a:lnTo>
                  <a:lnTo>
                    <a:pt x="2582" y="348"/>
                  </a:lnTo>
                  <a:lnTo>
                    <a:pt x="2582" y="348"/>
                  </a:lnTo>
                  <a:lnTo>
                    <a:pt x="2582" y="349"/>
                  </a:lnTo>
                  <a:lnTo>
                    <a:pt x="2582" y="348"/>
                  </a:lnTo>
                  <a:lnTo>
                    <a:pt x="2581" y="349"/>
                  </a:lnTo>
                  <a:lnTo>
                    <a:pt x="2584" y="349"/>
                  </a:lnTo>
                  <a:lnTo>
                    <a:pt x="2582" y="348"/>
                  </a:lnTo>
                  <a:lnTo>
                    <a:pt x="2581" y="349"/>
                  </a:lnTo>
                  <a:lnTo>
                    <a:pt x="2584" y="349"/>
                  </a:lnTo>
                  <a:lnTo>
                    <a:pt x="2582" y="349"/>
                  </a:lnTo>
                  <a:lnTo>
                    <a:pt x="2584" y="349"/>
                  </a:lnTo>
                  <a:lnTo>
                    <a:pt x="2584" y="349"/>
                  </a:lnTo>
                  <a:lnTo>
                    <a:pt x="2584" y="349"/>
                  </a:lnTo>
                  <a:lnTo>
                    <a:pt x="2582" y="349"/>
                  </a:lnTo>
                  <a:lnTo>
                    <a:pt x="2584" y="349"/>
                  </a:lnTo>
                  <a:lnTo>
                    <a:pt x="2582" y="349"/>
                  </a:lnTo>
                  <a:lnTo>
                    <a:pt x="2584" y="349"/>
                  </a:lnTo>
                  <a:lnTo>
                    <a:pt x="2584" y="349"/>
                  </a:lnTo>
                  <a:lnTo>
                    <a:pt x="2582" y="349"/>
                  </a:lnTo>
                  <a:lnTo>
                    <a:pt x="2584" y="349"/>
                  </a:lnTo>
                  <a:lnTo>
                    <a:pt x="2584" y="349"/>
                  </a:lnTo>
                  <a:lnTo>
                    <a:pt x="2585" y="348"/>
                  </a:lnTo>
                  <a:lnTo>
                    <a:pt x="2585" y="348"/>
                  </a:lnTo>
                  <a:lnTo>
                    <a:pt x="2588" y="345"/>
                  </a:lnTo>
                  <a:lnTo>
                    <a:pt x="2588" y="345"/>
                  </a:lnTo>
                  <a:lnTo>
                    <a:pt x="2591" y="342"/>
                  </a:lnTo>
                  <a:lnTo>
                    <a:pt x="2591" y="339"/>
                  </a:lnTo>
                  <a:lnTo>
                    <a:pt x="2591" y="339"/>
                  </a:lnTo>
                  <a:lnTo>
                    <a:pt x="2591" y="336"/>
                  </a:lnTo>
                  <a:lnTo>
                    <a:pt x="2590" y="333"/>
                  </a:lnTo>
                  <a:lnTo>
                    <a:pt x="2590" y="333"/>
                  </a:lnTo>
                  <a:lnTo>
                    <a:pt x="2590" y="333"/>
                  </a:lnTo>
                  <a:lnTo>
                    <a:pt x="2588" y="335"/>
                  </a:lnTo>
                  <a:lnTo>
                    <a:pt x="2590" y="335"/>
                  </a:lnTo>
                  <a:lnTo>
                    <a:pt x="2590" y="333"/>
                  </a:lnTo>
                  <a:lnTo>
                    <a:pt x="2588" y="335"/>
                  </a:lnTo>
                  <a:lnTo>
                    <a:pt x="2590" y="335"/>
                  </a:lnTo>
                  <a:lnTo>
                    <a:pt x="2588" y="335"/>
                  </a:lnTo>
                  <a:lnTo>
                    <a:pt x="2590" y="335"/>
                  </a:lnTo>
                  <a:lnTo>
                    <a:pt x="2590" y="335"/>
                  </a:lnTo>
                  <a:lnTo>
                    <a:pt x="2588" y="335"/>
                  </a:lnTo>
                  <a:lnTo>
                    <a:pt x="2590" y="335"/>
                  </a:lnTo>
                  <a:lnTo>
                    <a:pt x="2590" y="335"/>
                  </a:lnTo>
                  <a:lnTo>
                    <a:pt x="2590" y="335"/>
                  </a:lnTo>
                  <a:lnTo>
                    <a:pt x="2590" y="335"/>
                  </a:lnTo>
                  <a:lnTo>
                    <a:pt x="2590" y="335"/>
                  </a:lnTo>
                  <a:lnTo>
                    <a:pt x="2590" y="335"/>
                  </a:lnTo>
                  <a:lnTo>
                    <a:pt x="2590" y="335"/>
                  </a:lnTo>
                  <a:lnTo>
                    <a:pt x="2591" y="333"/>
                  </a:lnTo>
                  <a:lnTo>
                    <a:pt x="2591" y="333"/>
                  </a:lnTo>
                  <a:lnTo>
                    <a:pt x="2594" y="333"/>
                  </a:lnTo>
                  <a:lnTo>
                    <a:pt x="2594" y="333"/>
                  </a:lnTo>
                  <a:lnTo>
                    <a:pt x="2598" y="335"/>
                  </a:lnTo>
                  <a:lnTo>
                    <a:pt x="2598" y="335"/>
                  </a:lnTo>
                  <a:lnTo>
                    <a:pt x="2611" y="337"/>
                  </a:lnTo>
                  <a:lnTo>
                    <a:pt x="2611" y="337"/>
                  </a:lnTo>
                  <a:lnTo>
                    <a:pt x="2624" y="340"/>
                  </a:lnTo>
                  <a:lnTo>
                    <a:pt x="2624" y="340"/>
                  </a:lnTo>
                  <a:lnTo>
                    <a:pt x="2626" y="340"/>
                  </a:lnTo>
                  <a:lnTo>
                    <a:pt x="2626" y="340"/>
                  </a:lnTo>
                  <a:lnTo>
                    <a:pt x="2627" y="339"/>
                  </a:lnTo>
                  <a:lnTo>
                    <a:pt x="2627" y="339"/>
                  </a:lnTo>
                  <a:lnTo>
                    <a:pt x="2629" y="337"/>
                  </a:lnTo>
                  <a:lnTo>
                    <a:pt x="2629" y="337"/>
                  </a:lnTo>
                  <a:lnTo>
                    <a:pt x="2627" y="335"/>
                  </a:lnTo>
                  <a:lnTo>
                    <a:pt x="2627" y="335"/>
                  </a:lnTo>
                  <a:lnTo>
                    <a:pt x="2626" y="333"/>
                  </a:lnTo>
                  <a:lnTo>
                    <a:pt x="2626" y="333"/>
                  </a:lnTo>
                  <a:lnTo>
                    <a:pt x="2607" y="326"/>
                  </a:lnTo>
                  <a:lnTo>
                    <a:pt x="2607" y="326"/>
                  </a:lnTo>
                  <a:lnTo>
                    <a:pt x="2597" y="323"/>
                  </a:lnTo>
                  <a:lnTo>
                    <a:pt x="2587" y="322"/>
                  </a:lnTo>
                  <a:lnTo>
                    <a:pt x="2587" y="322"/>
                  </a:lnTo>
                  <a:lnTo>
                    <a:pt x="2568" y="320"/>
                  </a:lnTo>
                  <a:lnTo>
                    <a:pt x="2568" y="320"/>
                  </a:lnTo>
                  <a:lnTo>
                    <a:pt x="2548" y="319"/>
                  </a:lnTo>
                  <a:lnTo>
                    <a:pt x="2548" y="319"/>
                  </a:lnTo>
                  <a:lnTo>
                    <a:pt x="2540" y="320"/>
                  </a:lnTo>
                  <a:lnTo>
                    <a:pt x="2540" y="320"/>
                  </a:lnTo>
                  <a:lnTo>
                    <a:pt x="2524" y="324"/>
                  </a:lnTo>
                  <a:lnTo>
                    <a:pt x="2524" y="324"/>
                  </a:lnTo>
                  <a:lnTo>
                    <a:pt x="2516" y="327"/>
                  </a:lnTo>
                  <a:lnTo>
                    <a:pt x="2516" y="327"/>
                  </a:lnTo>
                  <a:lnTo>
                    <a:pt x="2511" y="329"/>
                  </a:lnTo>
                  <a:lnTo>
                    <a:pt x="2511" y="329"/>
                  </a:lnTo>
                  <a:lnTo>
                    <a:pt x="2510" y="329"/>
                  </a:lnTo>
                  <a:lnTo>
                    <a:pt x="2507" y="330"/>
                  </a:lnTo>
                  <a:lnTo>
                    <a:pt x="2507" y="330"/>
                  </a:lnTo>
                  <a:lnTo>
                    <a:pt x="2506" y="336"/>
                  </a:lnTo>
                  <a:lnTo>
                    <a:pt x="2506" y="336"/>
                  </a:lnTo>
                  <a:lnTo>
                    <a:pt x="2504" y="343"/>
                  </a:lnTo>
                  <a:lnTo>
                    <a:pt x="2504" y="343"/>
                  </a:lnTo>
                  <a:lnTo>
                    <a:pt x="2504" y="348"/>
                  </a:lnTo>
                  <a:lnTo>
                    <a:pt x="2504" y="348"/>
                  </a:lnTo>
                  <a:lnTo>
                    <a:pt x="2506" y="350"/>
                  </a:lnTo>
                  <a:lnTo>
                    <a:pt x="2506" y="350"/>
                  </a:lnTo>
                  <a:lnTo>
                    <a:pt x="2507" y="352"/>
                  </a:lnTo>
                  <a:lnTo>
                    <a:pt x="2507" y="352"/>
                  </a:lnTo>
                  <a:lnTo>
                    <a:pt x="2508" y="352"/>
                  </a:lnTo>
                  <a:lnTo>
                    <a:pt x="2508" y="352"/>
                  </a:lnTo>
                  <a:lnTo>
                    <a:pt x="2510" y="352"/>
                  </a:lnTo>
                  <a:lnTo>
                    <a:pt x="2510" y="352"/>
                  </a:lnTo>
                  <a:lnTo>
                    <a:pt x="2513" y="350"/>
                  </a:lnTo>
                  <a:lnTo>
                    <a:pt x="2513" y="350"/>
                  </a:lnTo>
                  <a:lnTo>
                    <a:pt x="2516" y="346"/>
                  </a:lnTo>
                  <a:lnTo>
                    <a:pt x="2516" y="346"/>
                  </a:lnTo>
                  <a:lnTo>
                    <a:pt x="2514" y="346"/>
                  </a:lnTo>
                  <a:lnTo>
                    <a:pt x="2514" y="346"/>
                  </a:lnTo>
                  <a:lnTo>
                    <a:pt x="2516" y="346"/>
                  </a:lnTo>
                  <a:lnTo>
                    <a:pt x="2514" y="346"/>
                  </a:lnTo>
                  <a:lnTo>
                    <a:pt x="2514" y="346"/>
                  </a:lnTo>
                  <a:lnTo>
                    <a:pt x="2514" y="346"/>
                  </a:lnTo>
                  <a:lnTo>
                    <a:pt x="2514" y="348"/>
                  </a:lnTo>
                  <a:lnTo>
                    <a:pt x="2514" y="346"/>
                  </a:lnTo>
                  <a:lnTo>
                    <a:pt x="2514" y="346"/>
                  </a:lnTo>
                  <a:lnTo>
                    <a:pt x="2514" y="348"/>
                  </a:lnTo>
                  <a:lnTo>
                    <a:pt x="2514" y="346"/>
                  </a:lnTo>
                  <a:lnTo>
                    <a:pt x="2514" y="346"/>
                  </a:lnTo>
                  <a:lnTo>
                    <a:pt x="2514" y="348"/>
                  </a:lnTo>
                  <a:lnTo>
                    <a:pt x="2514" y="346"/>
                  </a:lnTo>
                  <a:lnTo>
                    <a:pt x="2514" y="346"/>
                  </a:lnTo>
                  <a:lnTo>
                    <a:pt x="2514" y="348"/>
                  </a:lnTo>
                  <a:lnTo>
                    <a:pt x="2514" y="348"/>
                  </a:lnTo>
                  <a:lnTo>
                    <a:pt x="2517" y="349"/>
                  </a:lnTo>
                  <a:lnTo>
                    <a:pt x="2517" y="349"/>
                  </a:lnTo>
                  <a:lnTo>
                    <a:pt x="2522" y="352"/>
                  </a:lnTo>
                  <a:lnTo>
                    <a:pt x="2522" y="352"/>
                  </a:lnTo>
                  <a:lnTo>
                    <a:pt x="2523" y="352"/>
                  </a:lnTo>
                  <a:lnTo>
                    <a:pt x="2523" y="352"/>
                  </a:lnTo>
                  <a:lnTo>
                    <a:pt x="2523" y="350"/>
                  </a:lnTo>
                  <a:lnTo>
                    <a:pt x="2523" y="352"/>
                  </a:lnTo>
                  <a:lnTo>
                    <a:pt x="2523" y="352"/>
                  </a:lnTo>
                  <a:lnTo>
                    <a:pt x="2523" y="350"/>
                  </a:lnTo>
                  <a:lnTo>
                    <a:pt x="2523" y="352"/>
                  </a:lnTo>
                  <a:lnTo>
                    <a:pt x="2524" y="350"/>
                  </a:lnTo>
                  <a:lnTo>
                    <a:pt x="2522" y="352"/>
                  </a:lnTo>
                  <a:lnTo>
                    <a:pt x="2523" y="352"/>
                  </a:lnTo>
                  <a:lnTo>
                    <a:pt x="2524" y="350"/>
                  </a:lnTo>
                  <a:lnTo>
                    <a:pt x="2522" y="352"/>
                  </a:lnTo>
                  <a:lnTo>
                    <a:pt x="2524" y="350"/>
                  </a:lnTo>
                  <a:lnTo>
                    <a:pt x="2522" y="350"/>
                  </a:lnTo>
                  <a:lnTo>
                    <a:pt x="2522" y="350"/>
                  </a:lnTo>
                  <a:lnTo>
                    <a:pt x="2522" y="352"/>
                  </a:lnTo>
                  <a:lnTo>
                    <a:pt x="2524" y="350"/>
                  </a:lnTo>
                  <a:lnTo>
                    <a:pt x="2522" y="350"/>
                  </a:lnTo>
                  <a:lnTo>
                    <a:pt x="2524" y="350"/>
                  </a:lnTo>
                  <a:lnTo>
                    <a:pt x="2522" y="349"/>
                  </a:lnTo>
                  <a:lnTo>
                    <a:pt x="2522" y="349"/>
                  </a:lnTo>
                  <a:lnTo>
                    <a:pt x="2522" y="350"/>
                  </a:lnTo>
                  <a:lnTo>
                    <a:pt x="2524" y="350"/>
                  </a:lnTo>
                  <a:lnTo>
                    <a:pt x="2522" y="349"/>
                  </a:lnTo>
                  <a:lnTo>
                    <a:pt x="2524" y="350"/>
                  </a:lnTo>
                  <a:lnTo>
                    <a:pt x="2523" y="348"/>
                  </a:lnTo>
                  <a:lnTo>
                    <a:pt x="2523" y="348"/>
                  </a:lnTo>
                  <a:lnTo>
                    <a:pt x="2522" y="349"/>
                  </a:lnTo>
                  <a:lnTo>
                    <a:pt x="2524" y="350"/>
                  </a:lnTo>
                  <a:lnTo>
                    <a:pt x="2523" y="348"/>
                  </a:lnTo>
                  <a:lnTo>
                    <a:pt x="2524" y="350"/>
                  </a:lnTo>
                  <a:lnTo>
                    <a:pt x="2524" y="348"/>
                  </a:lnTo>
                  <a:lnTo>
                    <a:pt x="2523" y="348"/>
                  </a:lnTo>
                  <a:lnTo>
                    <a:pt x="2524" y="350"/>
                  </a:lnTo>
                  <a:lnTo>
                    <a:pt x="2524" y="348"/>
                  </a:lnTo>
                  <a:lnTo>
                    <a:pt x="2524" y="349"/>
                  </a:lnTo>
                  <a:lnTo>
                    <a:pt x="2524" y="348"/>
                  </a:lnTo>
                  <a:lnTo>
                    <a:pt x="2524" y="348"/>
                  </a:lnTo>
                  <a:lnTo>
                    <a:pt x="2524" y="349"/>
                  </a:lnTo>
                  <a:lnTo>
                    <a:pt x="2524" y="348"/>
                  </a:lnTo>
                  <a:lnTo>
                    <a:pt x="2524" y="348"/>
                  </a:lnTo>
                  <a:lnTo>
                    <a:pt x="2523" y="348"/>
                  </a:lnTo>
                  <a:lnTo>
                    <a:pt x="2523" y="348"/>
                  </a:lnTo>
                  <a:lnTo>
                    <a:pt x="2520" y="348"/>
                  </a:lnTo>
                  <a:lnTo>
                    <a:pt x="2520" y="348"/>
                  </a:lnTo>
                  <a:lnTo>
                    <a:pt x="2517" y="348"/>
                  </a:lnTo>
                  <a:lnTo>
                    <a:pt x="2517" y="348"/>
                  </a:lnTo>
                  <a:lnTo>
                    <a:pt x="2516" y="349"/>
                  </a:lnTo>
                  <a:lnTo>
                    <a:pt x="2516" y="349"/>
                  </a:lnTo>
                  <a:lnTo>
                    <a:pt x="2514" y="352"/>
                  </a:lnTo>
                  <a:lnTo>
                    <a:pt x="2514" y="352"/>
                  </a:lnTo>
                  <a:lnTo>
                    <a:pt x="2516" y="352"/>
                  </a:lnTo>
                  <a:lnTo>
                    <a:pt x="2514" y="352"/>
                  </a:lnTo>
                  <a:lnTo>
                    <a:pt x="2514" y="352"/>
                  </a:lnTo>
                  <a:lnTo>
                    <a:pt x="2516" y="352"/>
                  </a:lnTo>
                  <a:lnTo>
                    <a:pt x="2514" y="352"/>
                  </a:lnTo>
                  <a:lnTo>
                    <a:pt x="2516" y="352"/>
                  </a:lnTo>
                  <a:lnTo>
                    <a:pt x="2516" y="352"/>
                  </a:lnTo>
                  <a:lnTo>
                    <a:pt x="2514" y="352"/>
                  </a:lnTo>
                  <a:lnTo>
                    <a:pt x="2516" y="352"/>
                  </a:lnTo>
                  <a:lnTo>
                    <a:pt x="2516" y="352"/>
                  </a:lnTo>
                  <a:lnTo>
                    <a:pt x="2516" y="352"/>
                  </a:lnTo>
                  <a:lnTo>
                    <a:pt x="2513" y="353"/>
                  </a:lnTo>
                  <a:lnTo>
                    <a:pt x="2513" y="353"/>
                  </a:lnTo>
                  <a:lnTo>
                    <a:pt x="2510" y="358"/>
                  </a:lnTo>
                  <a:lnTo>
                    <a:pt x="2510" y="358"/>
                  </a:lnTo>
                  <a:lnTo>
                    <a:pt x="2510" y="358"/>
                  </a:lnTo>
                  <a:lnTo>
                    <a:pt x="2508" y="361"/>
                  </a:lnTo>
                  <a:lnTo>
                    <a:pt x="2508" y="361"/>
                  </a:lnTo>
                  <a:lnTo>
                    <a:pt x="2510" y="366"/>
                  </a:lnTo>
                  <a:lnTo>
                    <a:pt x="2510" y="366"/>
                  </a:lnTo>
                  <a:lnTo>
                    <a:pt x="2516" y="375"/>
                  </a:lnTo>
                  <a:lnTo>
                    <a:pt x="2516" y="375"/>
                  </a:lnTo>
                  <a:lnTo>
                    <a:pt x="2519" y="378"/>
                  </a:lnTo>
                  <a:lnTo>
                    <a:pt x="2519" y="379"/>
                  </a:lnTo>
                  <a:lnTo>
                    <a:pt x="2519" y="379"/>
                  </a:lnTo>
                  <a:lnTo>
                    <a:pt x="2519" y="379"/>
                  </a:lnTo>
                  <a:lnTo>
                    <a:pt x="2519" y="379"/>
                  </a:lnTo>
                  <a:lnTo>
                    <a:pt x="2519" y="379"/>
                  </a:lnTo>
                  <a:lnTo>
                    <a:pt x="2519" y="379"/>
                  </a:lnTo>
                  <a:lnTo>
                    <a:pt x="2519" y="379"/>
                  </a:lnTo>
                  <a:lnTo>
                    <a:pt x="2519" y="381"/>
                  </a:lnTo>
                  <a:lnTo>
                    <a:pt x="2519" y="381"/>
                  </a:lnTo>
                  <a:lnTo>
                    <a:pt x="2520" y="381"/>
                  </a:lnTo>
                  <a:lnTo>
                    <a:pt x="2519" y="381"/>
                  </a:lnTo>
                  <a:lnTo>
                    <a:pt x="2519" y="381"/>
                  </a:lnTo>
                  <a:lnTo>
                    <a:pt x="2520" y="381"/>
                  </a:lnTo>
                  <a:lnTo>
                    <a:pt x="2519" y="381"/>
                  </a:lnTo>
                  <a:lnTo>
                    <a:pt x="2522" y="381"/>
                  </a:lnTo>
                  <a:lnTo>
                    <a:pt x="2520" y="379"/>
                  </a:lnTo>
                  <a:lnTo>
                    <a:pt x="2520" y="379"/>
                  </a:lnTo>
                  <a:lnTo>
                    <a:pt x="2519" y="381"/>
                  </a:lnTo>
                  <a:lnTo>
                    <a:pt x="2522" y="381"/>
                  </a:lnTo>
                  <a:lnTo>
                    <a:pt x="2520" y="379"/>
                  </a:lnTo>
                  <a:lnTo>
                    <a:pt x="2522" y="381"/>
                  </a:lnTo>
                  <a:lnTo>
                    <a:pt x="2522" y="378"/>
                  </a:lnTo>
                  <a:lnTo>
                    <a:pt x="2522" y="378"/>
                  </a:lnTo>
                  <a:lnTo>
                    <a:pt x="2520" y="379"/>
                  </a:lnTo>
                  <a:lnTo>
                    <a:pt x="2522" y="381"/>
                  </a:lnTo>
                  <a:lnTo>
                    <a:pt x="2522" y="378"/>
                  </a:lnTo>
                  <a:lnTo>
                    <a:pt x="2522" y="379"/>
                  </a:lnTo>
                  <a:lnTo>
                    <a:pt x="2522" y="378"/>
                  </a:lnTo>
                  <a:lnTo>
                    <a:pt x="2522" y="378"/>
                  </a:lnTo>
                  <a:lnTo>
                    <a:pt x="2522" y="379"/>
                  </a:lnTo>
                  <a:lnTo>
                    <a:pt x="2522" y="378"/>
                  </a:lnTo>
                  <a:lnTo>
                    <a:pt x="2522" y="378"/>
                  </a:lnTo>
                  <a:lnTo>
                    <a:pt x="2520" y="378"/>
                  </a:lnTo>
                  <a:lnTo>
                    <a:pt x="2520" y="378"/>
                  </a:lnTo>
                  <a:lnTo>
                    <a:pt x="2516" y="378"/>
                  </a:lnTo>
                  <a:lnTo>
                    <a:pt x="2516" y="378"/>
                  </a:lnTo>
                  <a:lnTo>
                    <a:pt x="2513" y="378"/>
                  </a:lnTo>
                  <a:lnTo>
                    <a:pt x="2513" y="378"/>
                  </a:lnTo>
                  <a:lnTo>
                    <a:pt x="2510" y="381"/>
                  </a:lnTo>
                  <a:lnTo>
                    <a:pt x="2510" y="381"/>
                  </a:lnTo>
                  <a:lnTo>
                    <a:pt x="2507" y="382"/>
                  </a:lnTo>
                  <a:lnTo>
                    <a:pt x="2507" y="384"/>
                  </a:lnTo>
                  <a:lnTo>
                    <a:pt x="2507" y="382"/>
                  </a:lnTo>
                  <a:lnTo>
                    <a:pt x="2507" y="382"/>
                  </a:lnTo>
                  <a:lnTo>
                    <a:pt x="2507" y="384"/>
                  </a:lnTo>
                  <a:lnTo>
                    <a:pt x="2507" y="382"/>
                  </a:lnTo>
                  <a:lnTo>
                    <a:pt x="2507" y="384"/>
                  </a:lnTo>
                  <a:lnTo>
                    <a:pt x="2508" y="382"/>
                  </a:lnTo>
                  <a:lnTo>
                    <a:pt x="2507" y="382"/>
                  </a:lnTo>
                  <a:lnTo>
                    <a:pt x="2507" y="384"/>
                  </a:lnTo>
                  <a:lnTo>
                    <a:pt x="2508" y="382"/>
                  </a:lnTo>
                  <a:lnTo>
                    <a:pt x="2508" y="382"/>
                  </a:lnTo>
                  <a:lnTo>
                    <a:pt x="2508" y="382"/>
                  </a:lnTo>
                  <a:lnTo>
                    <a:pt x="2508" y="382"/>
                  </a:lnTo>
                  <a:lnTo>
                    <a:pt x="2508" y="382"/>
                  </a:lnTo>
                  <a:lnTo>
                    <a:pt x="2507" y="382"/>
                  </a:lnTo>
                  <a:lnTo>
                    <a:pt x="2507" y="382"/>
                  </a:lnTo>
                  <a:lnTo>
                    <a:pt x="2506" y="379"/>
                  </a:lnTo>
                  <a:lnTo>
                    <a:pt x="2506" y="379"/>
                  </a:lnTo>
                  <a:lnTo>
                    <a:pt x="2504" y="375"/>
                  </a:lnTo>
                  <a:lnTo>
                    <a:pt x="2504" y="375"/>
                  </a:lnTo>
                  <a:lnTo>
                    <a:pt x="2504" y="375"/>
                  </a:lnTo>
                  <a:lnTo>
                    <a:pt x="2504" y="375"/>
                  </a:lnTo>
                  <a:lnTo>
                    <a:pt x="2504" y="375"/>
                  </a:lnTo>
                  <a:lnTo>
                    <a:pt x="2504" y="375"/>
                  </a:lnTo>
                  <a:lnTo>
                    <a:pt x="2504" y="375"/>
                  </a:lnTo>
                  <a:lnTo>
                    <a:pt x="2503" y="375"/>
                  </a:lnTo>
                  <a:lnTo>
                    <a:pt x="2504" y="375"/>
                  </a:lnTo>
                  <a:lnTo>
                    <a:pt x="2504" y="375"/>
                  </a:lnTo>
                  <a:lnTo>
                    <a:pt x="2503" y="375"/>
                  </a:lnTo>
                  <a:lnTo>
                    <a:pt x="2504" y="375"/>
                  </a:lnTo>
                  <a:lnTo>
                    <a:pt x="2504" y="375"/>
                  </a:lnTo>
                  <a:lnTo>
                    <a:pt x="2504" y="375"/>
                  </a:lnTo>
                  <a:lnTo>
                    <a:pt x="2506" y="374"/>
                  </a:lnTo>
                  <a:lnTo>
                    <a:pt x="2506" y="374"/>
                  </a:lnTo>
                  <a:lnTo>
                    <a:pt x="2504" y="372"/>
                  </a:lnTo>
                  <a:lnTo>
                    <a:pt x="2504" y="372"/>
                  </a:lnTo>
                  <a:lnTo>
                    <a:pt x="2503" y="371"/>
                  </a:lnTo>
                  <a:lnTo>
                    <a:pt x="2503" y="371"/>
                  </a:lnTo>
                  <a:lnTo>
                    <a:pt x="2497" y="369"/>
                  </a:lnTo>
                  <a:lnTo>
                    <a:pt x="2497" y="369"/>
                  </a:lnTo>
                  <a:lnTo>
                    <a:pt x="2493" y="371"/>
                  </a:lnTo>
                  <a:lnTo>
                    <a:pt x="2488" y="372"/>
                  </a:lnTo>
                  <a:lnTo>
                    <a:pt x="2488" y="372"/>
                  </a:lnTo>
                  <a:lnTo>
                    <a:pt x="2487" y="374"/>
                  </a:lnTo>
                  <a:lnTo>
                    <a:pt x="2487" y="374"/>
                  </a:lnTo>
                  <a:lnTo>
                    <a:pt x="2485" y="377"/>
                  </a:lnTo>
                  <a:lnTo>
                    <a:pt x="2485" y="377"/>
                  </a:lnTo>
                  <a:lnTo>
                    <a:pt x="2487" y="381"/>
                  </a:lnTo>
                  <a:lnTo>
                    <a:pt x="2488" y="384"/>
                  </a:lnTo>
                  <a:lnTo>
                    <a:pt x="2488" y="384"/>
                  </a:lnTo>
                  <a:lnTo>
                    <a:pt x="2491" y="390"/>
                  </a:lnTo>
                  <a:lnTo>
                    <a:pt x="2491" y="390"/>
                  </a:lnTo>
                  <a:lnTo>
                    <a:pt x="2491" y="390"/>
                  </a:lnTo>
                  <a:lnTo>
                    <a:pt x="2493" y="390"/>
                  </a:lnTo>
                  <a:lnTo>
                    <a:pt x="2491" y="390"/>
                  </a:lnTo>
                  <a:lnTo>
                    <a:pt x="2491" y="390"/>
                  </a:lnTo>
                  <a:lnTo>
                    <a:pt x="2493" y="390"/>
                  </a:lnTo>
                  <a:lnTo>
                    <a:pt x="2491" y="390"/>
                  </a:lnTo>
                  <a:lnTo>
                    <a:pt x="2493" y="390"/>
                  </a:lnTo>
                  <a:lnTo>
                    <a:pt x="2493" y="388"/>
                  </a:lnTo>
                  <a:lnTo>
                    <a:pt x="2491" y="390"/>
                  </a:lnTo>
                  <a:lnTo>
                    <a:pt x="2493" y="390"/>
                  </a:lnTo>
                  <a:lnTo>
                    <a:pt x="2493" y="388"/>
                  </a:lnTo>
                  <a:lnTo>
                    <a:pt x="2493" y="390"/>
                  </a:lnTo>
                  <a:lnTo>
                    <a:pt x="2493" y="388"/>
                  </a:lnTo>
                  <a:lnTo>
                    <a:pt x="2493" y="388"/>
                  </a:lnTo>
                  <a:lnTo>
                    <a:pt x="2493" y="390"/>
                  </a:lnTo>
                  <a:lnTo>
                    <a:pt x="2493" y="388"/>
                  </a:lnTo>
                  <a:lnTo>
                    <a:pt x="2493" y="388"/>
                  </a:lnTo>
                  <a:lnTo>
                    <a:pt x="2493" y="388"/>
                  </a:lnTo>
                  <a:lnTo>
                    <a:pt x="2493" y="388"/>
                  </a:lnTo>
                  <a:lnTo>
                    <a:pt x="2493" y="388"/>
                  </a:lnTo>
                  <a:lnTo>
                    <a:pt x="2493" y="388"/>
                  </a:lnTo>
                  <a:lnTo>
                    <a:pt x="2493" y="388"/>
                  </a:lnTo>
                  <a:lnTo>
                    <a:pt x="2491" y="388"/>
                  </a:lnTo>
                  <a:lnTo>
                    <a:pt x="2491" y="388"/>
                  </a:lnTo>
                  <a:lnTo>
                    <a:pt x="2488" y="387"/>
                  </a:lnTo>
                  <a:lnTo>
                    <a:pt x="2488" y="387"/>
                  </a:lnTo>
                  <a:lnTo>
                    <a:pt x="2484" y="388"/>
                  </a:lnTo>
                  <a:lnTo>
                    <a:pt x="2484" y="388"/>
                  </a:lnTo>
                  <a:lnTo>
                    <a:pt x="2484" y="392"/>
                  </a:lnTo>
                  <a:lnTo>
                    <a:pt x="2484" y="392"/>
                  </a:lnTo>
                  <a:lnTo>
                    <a:pt x="2482" y="398"/>
                  </a:lnTo>
                  <a:lnTo>
                    <a:pt x="2482" y="398"/>
                  </a:lnTo>
                  <a:lnTo>
                    <a:pt x="2482" y="398"/>
                  </a:lnTo>
                  <a:lnTo>
                    <a:pt x="2482" y="400"/>
                  </a:lnTo>
                  <a:lnTo>
                    <a:pt x="2482" y="398"/>
                  </a:lnTo>
                  <a:lnTo>
                    <a:pt x="2482" y="398"/>
                  </a:lnTo>
                  <a:lnTo>
                    <a:pt x="2482" y="400"/>
                  </a:lnTo>
                  <a:lnTo>
                    <a:pt x="2482" y="398"/>
                  </a:lnTo>
                  <a:lnTo>
                    <a:pt x="2484" y="400"/>
                  </a:lnTo>
                  <a:lnTo>
                    <a:pt x="2484" y="398"/>
                  </a:lnTo>
                  <a:lnTo>
                    <a:pt x="2482" y="398"/>
                  </a:lnTo>
                  <a:lnTo>
                    <a:pt x="2484" y="400"/>
                  </a:lnTo>
                  <a:lnTo>
                    <a:pt x="2484" y="398"/>
                  </a:lnTo>
                  <a:lnTo>
                    <a:pt x="2484" y="400"/>
                  </a:lnTo>
                  <a:lnTo>
                    <a:pt x="2484" y="398"/>
                  </a:lnTo>
                  <a:lnTo>
                    <a:pt x="2484" y="398"/>
                  </a:lnTo>
                  <a:lnTo>
                    <a:pt x="2484" y="400"/>
                  </a:lnTo>
                  <a:lnTo>
                    <a:pt x="2484" y="398"/>
                  </a:lnTo>
                  <a:lnTo>
                    <a:pt x="2484" y="398"/>
                  </a:lnTo>
                  <a:lnTo>
                    <a:pt x="2484" y="398"/>
                  </a:lnTo>
                  <a:lnTo>
                    <a:pt x="2481" y="395"/>
                  </a:lnTo>
                  <a:lnTo>
                    <a:pt x="2481" y="395"/>
                  </a:lnTo>
                  <a:lnTo>
                    <a:pt x="2477" y="388"/>
                  </a:lnTo>
                  <a:lnTo>
                    <a:pt x="2477" y="388"/>
                  </a:lnTo>
                  <a:lnTo>
                    <a:pt x="2474" y="385"/>
                  </a:lnTo>
                  <a:lnTo>
                    <a:pt x="2471" y="382"/>
                  </a:lnTo>
                  <a:lnTo>
                    <a:pt x="2471" y="382"/>
                  </a:lnTo>
                  <a:lnTo>
                    <a:pt x="2464" y="378"/>
                  </a:lnTo>
                  <a:lnTo>
                    <a:pt x="2464" y="378"/>
                  </a:lnTo>
                  <a:lnTo>
                    <a:pt x="2461" y="377"/>
                  </a:lnTo>
                  <a:lnTo>
                    <a:pt x="2458" y="377"/>
                  </a:lnTo>
                  <a:lnTo>
                    <a:pt x="2456" y="377"/>
                  </a:lnTo>
                  <a:lnTo>
                    <a:pt x="2456" y="377"/>
                  </a:lnTo>
                  <a:lnTo>
                    <a:pt x="2456" y="377"/>
                  </a:lnTo>
                  <a:lnTo>
                    <a:pt x="2453" y="377"/>
                  </a:lnTo>
                  <a:lnTo>
                    <a:pt x="2453" y="377"/>
                  </a:lnTo>
                  <a:lnTo>
                    <a:pt x="2449" y="374"/>
                  </a:lnTo>
                  <a:lnTo>
                    <a:pt x="2442" y="371"/>
                  </a:lnTo>
                  <a:lnTo>
                    <a:pt x="2442" y="371"/>
                  </a:lnTo>
                  <a:lnTo>
                    <a:pt x="2440" y="371"/>
                  </a:lnTo>
                  <a:lnTo>
                    <a:pt x="2440" y="371"/>
                  </a:lnTo>
                  <a:lnTo>
                    <a:pt x="2435" y="372"/>
                  </a:lnTo>
                  <a:lnTo>
                    <a:pt x="2430" y="374"/>
                  </a:lnTo>
                  <a:lnTo>
                    <a:pt x="2430" y="374"/>
                  </a:lnTo>
                  <a:lnTo>
                    <a:pt x="2429" y="377"/>
                  </a:lnTo>
                  <a:lnTo>
                    <a:pt x="2429" y="377"/>
                  </a:lnTo>
                  <a:lnTo>
                    <a:pt x="2427" y="378"/>
                  </a:lnTo>
                  <a:lnTo>
                    <a:pt x="2427" y="378"/>
                  </a:lnTo>
                  <a:lnTo>
                    <a:pt x="2423" y="379"/>
                  </a:lnTo>
                  <a:lnTo>
                    <a:pt x="2423" y="379"/>
                  </a:lnTo>
                  <a:lnTo>
                    <a:pt x="2419" y="381"/>
                  </a:lnTo>
                  <a:lnTo>
                    <a:pt x="2419" y="381"/>
                  </a:lnTo>
                  <a:lnTo>
                    <a:pt x="2417" y="379"/>
                  </a:lnTo>
                  <a:lnTo>
                    <a:pt x="2417" y="381"/>
                  </a:lnTo>
                  <a:lnTo>
                    <a:pt x="2417" y="379"/>
                  </a:lnTo>
                  <a:lnTo>
                    <a:pt x="2417" y="379"/>
                  </a:lnTo>
                  <a:lnTo>
                    <a:pt x="2417" y="381"/>
                  </a:lnTo>
                  <a:lnTo>
                    <a:pt x="2417" y="379"/>
                  </a:lnTo>
                  <a:lnTo>
                    <a:pt x="2416" y="379"/>
                  </a:lnTo>
                  <a:lnTo>
                    <a:pt x="2416" y="379"/>
                  </a:lnTo>
                  <a:lnTo>
                    <a:pt x="2414" y="375"/>
                  </a:lnTo>
                  <a:lnTo>
                    <a:pt x="2411" y="369"/>
                  </a:lnTo>
                  <a:lnTo>
                    <a:pt x="2411" y="369"/>
                  </a:lnTo>
                  <a:lnTo>
                    <a:pt x="2409" y="364"/>
                  </a:lnTo>
                  <a:lnTo>
                    <a:pt x="2409" y="364"/>
                  </a:lnTo>
                  <a:lnTo>
                    <a:pt x="2406" y="359"/>
                  </a:lnTo>
                  <a:lnTo>
                    <a:pt x="2406" y="359"/>
                  </a:lnTo>
                  <a:lnTo>
                    <a:pt x="2404" y="356"/>
                  </a:lnTo>
                  <a:lnTo>
                    <a:pt x="2404" y="356"/>
                  </a:lnTo>
                  <a:lnTo>
                    <a:pt x="2404" y="356"/>
                  </a:lnTo>
                  <a:lnTo>
                    <a:pt x="2401" y="356"/>
                  </a:lnTo>
                  <a:lnTo>
                    <a:pt x="2401" y="356"/>
                  </a:lnTo>
                  <a:lnTo>
                    <a:pt x="2400" y="356"/>
                  </a:lnTo>
                  <a:lnTo>
                    <a:pt x="2400" y="356"/>
                  </a:lnTo>
                  <a:lnTo>
                    <a:pt x="2398" y="359"/>
                  </a:lnTo>
                  <a:lnTo>
                    <a:pt x="2398" y="359"/>
                  </a:lnTo>
                  <a:lnTo>
                    <a:pt x="2397" y="362"/>
                  </a:lnTo>
                  <a:lnTo>
                    <a:pt x="2394" y="366"/>
                  </a:lnTo>
                  <a:lnTo>
                    <a:pt x="2394" y="366"/>
                  </a:lnTo>
                  <a:lnTo>
                    <a:pt x="2391" y="374"/>
                  </a:lnTo>
                  <a:lnTo>
                    <a:pt x="2390" y="381"/>
                  </a:lnTo>
                  <a:lnTo>
                    <a:pt x="2390" y="381"/>
                  </a:lnTo>
                  <a:lnTo>
                    <a:pt x="2388" y="395"/>
                  </a:lnTo>
                  <a:lnTo>
                    <a:pt x="2388" y="395"/>
                  </a:lnTo>
                  <a:lnTo>
                    <a:pt x="2387" y="403"/>
                  </a:lnTo>
                  <a:lnTo>
                    <a:pt x="2382" y="408"/>
                  </a:lnTo>
                  <a:lnTo>
                    <a:pt x="2382" y="408"/>
                  </a:lnTo>
                  <a:lnTo>
                    <a:pt x="2378" y="414"/>
                  </a:lnTo>
                  <a:lnTo>
                    <a:pt x="2378" y="414"/>
                  </a:lnTo>
                  <a:lnTo>
                    <a:pt x="2375" y="417"/>
                  </a:lnTo>
                  <a:lnTo>
                    <a:pt x="2375" y="417"/>
                  </a:lnTo>
                  <a:lnTo>
                    <a:pt x="2377" y="419"/>
                  </a:lnTo>
                  <a:lnTo>
                    <a:pt x="2377" y="417"/>
                  </a:lnTo>
                  <a:lnTo>
                    <a:pt x="2377" y="417"/>
                  </a:lnTo>
                  <a:lnTo>
                    <a:pt x="2375" y="417"/>
                  </a:lnTo>
                  <a:lnTo>
                    <a:pt x="2377" y="419"/>
                  </a:lnTo>
                  <a:lnTo>
                    <a:pt x="2377" y="417"/>
                  </a:lnTo>
                  <a:lnTo>
                    <a:pt x="2377" y="419"/>
                  </a:lnTo>
                  <a:lnTo>
                    <a:pt x="2378" y="417"/>
                  </a:lnTo>
                  <a:lnTo>
                    <a:pt x="2378" y="417"/>
                  </a:lnTo>
                  <a:lnTo>
                    <a:pt x="2377" y="417"/>
                  </a:lnTo>
                  <a:lnTo>
                    <a:pt x="2377" y="419"/>
                  </a:lnTo>
                  <a:lnTo>
                    <a:pt x="2378" y="417"/>
                  </a:lnTo>
                  <a:lnTo>
                    <a:pt x="2378" y="417"/>
                  </a:lnTo>
                  <a:lnTo>
                    <a:pt x="2378" y="417"/>
                  </a:lnTo>
                  <a:lnTo>
                    <a:pt x="2378" y="417"/>
                  </a:lnTo>
                  <a:lnTo>
                    <a:pt x="2378" y="417"/>
                  </a:lnTo>
                  <a:lnTo>
                    <a:pt x="2378" y="417"/>
                  </a:lnTo>
                  <a:lnTo>
                    <a:pt x="2378" y="417"/>
                  </a:lnTo>
                  <a:lnTo>
                    <a:pt x="2378" y="416"/>
                  </a:lnTo>
                  <a:lnTo>
                    <a:pt x="2378" y="416"/>
                  </a:lnTo>
                  <a:lnTo>
                    <a:pt x="2377" y="413"/>
                  </a:lnTo>
                  <a:lnTo>
                    <a:pt x="2377" y="413"/>
                  </a:lnTo>
                  <a:lnTo>
                    <a:pt x="2377" y="408"/>
                  </a:lnTo>
                  <a:lnTo>
                    <a:pt x="2377" y="408"/>
                  </a:lnTo>
                  <a:lnTo>
                    <a:pt x="2375" y="407"/>
                  </a:lnTo>
                  <a:lnTo>
                    <a:pt x="2372" y="406"/>
                  </a:lnTo>
                  <a:lnTo>
                    <a:pt x="2372" y="406"/>
                  </a:lnTo>
                  <a:lnTo>
                    <a:pt x="2369" y="406"/>
                  </a:lnTo>
                  <a:lnTo>
                    <a:pt x="2369" y="406"/>
                  </a:lnTo>
                  <a:lnTo>
                    <a:pt x="2365" y="406"/>
                  </a:lnTo>
                  <a:lnTo>
                    <a:pt x="2365" y="407"/>
                  </a:lnTo>
                  <a:lnTo>
                    <a:pt x="2367" y="406"/>
                  </a:lnTo>
                  <a:lnTo>
                    <a:pt x="2367" y="406"/>
                  </a:lnTo>
                  <a:lnTo>
                    <a:pt x="2365" y="406"/>
                  </a:lnTo>
                  <a:lnTo>
                    <a:pt x="2365" y="407"/>
                  </a:lnTo>
                  <a:lnTo>
                    <a:pt x="2367" y="406"/>
                  </a:lnTo>
                  <a:lnTo>
                    <a:pt x="2365" y="406"/>
                  </a:lnTo>
                  <a:lnTo>
                    <a:pt x="2367" y="406"/>
                  </a:lnTo>
                  <a:lnTo>
                    <a:pt x="2367" y="406"/>
                  </a:lnTo>
                  <a:lnTo>
                    <a:pt x="2365" y="406"/>
                  </a:lnTo>
                  <a:lnTo>
                    <a:pt x="2367" y="406"/>
                  </a:lnTo>
                  <a:lnTo>
                    <a:pt x="2367" y="406"/>
                  </a:lnTo>
                  <a:lnTo>
                    <a:pt x="2365" y="404"/>
                  </a:lnTo>
                  <a:lnTo>
                    <a:pt x="2365" y="404"/>
                  </a:lnTo>
                  <a:lnTo>
                    <a:pt x="2364" y="395"/>
                  </a:lnTo>
                  <a:lnTo>
                    <a:pt x="2364" y="395"/>
                  </a:lnTo>
                  <a:lnTo>
                    <a:pt x="2362" y="390"/>
                  </a:lnTo>
                  <a:lnTo>
                    <a:pt x="2359" y="385"/>
                  </a:lnTo>
                  <a:lnTo>
                    <a:pt x="2359" y="385"/>
                  </a:lnTo>
                  <a:lnTo>
                    <a:pt x="2356" y="379"/>
                  </a:lnTo>
                  <a:lnTo>
                    <a:pt x="2356" y="379"/>
                  </a:lnTo>
                  <a:lnTo>
                    <a:pt x="2354" y="377"/>
                  </a:lnTo>
                  <a:lnTo>
                    <a:pt x="2349" y="374"/>
                  </a:lnTo>
                  <a:lnTo>
                    <a:pt x="2349" y="374"/>
                  </a:lnTo>
                  <a:lnTo>
                    <a:pt x="2348" y="372"/>
                  </a:lnTo>
                  <a:lnTo>
                    <a:pt x="2346" y="371"/>
                  </a:lnTo>
                  <a:lnTo>
                    <a:pt x="2346" y="371"/>
                  </a:lnTo>
                  <a:lnTo>
                    <a:pt x="2346" y="369"/>
                  </a:lnTo>
                  <a:lnTo>
                    <a:pt x="2346" y="369"/>
                  </a:lnTo>
                  <a:lnTo>
                    <a:pt x="2346" y="365"/>
                  </a:lnTo>
                  <a:lnTo>
                    <a:pt x="2346" y="365"/>
                  </a:lnTo>
                  <a:lnTo>
                    <a:pt x="2343" y="362"/>
                  </a:lnTo>
                  <a:lnTo>
                    <a:pt x="2343" y="362"/>
                  </a:lnTo>
                  <a:lnTo>
                    <a:pt x="2340" y="361"/>
                  </a:lnTo>
                  <a:lnTo>
                    <a:pt x="2340" y="361"/>
                  </a:lnTo>
                  <a:lnTo>
                    <a:pt x="2338" y="361"/>
                  </a:lnTo>
                  <a:lnTo>
                    <a:pt x="2338" y="361"/>
                  </a:lnTo>
                  <a:lnTo>
                    <a:pt x="2336" y="362"/>
                  </a:lnTo>
                  <a:lnTo>
                    <a:pt x="2336" y="364"/>
                  </a:lnTo>
                  <a:lnTo>
                    <a:pt x="2336" y="362"/>
                  </a:lnTo>
                  <a:lnTo>
                    <a:pt x="2336" y="362"/>
                  </a:lnTo>
                  <a:lnTo>
                    <a:pt x="2336" y="364"/>
                  </a:lnTo>
                  <a:lnTo>
                    <a:pt x="2336" y="362"/>
                  </a:lnTo>
                  <a:lnTo>
                    <a:pt x="2336" y="364"/>
                  </a:lnTo>
                  <a:lnTo>
                    <a:pt x="2338" y="362"/>
                  </a:lnTo>
                  <a:lnTo>
                    <a:pt x="2336" y="362"/>
                  </a:lnTo>
                  <a:lnTo>
                    <a:pt x="2336" y="364"/>
                  </a:lnTo>
                  <a:lnTo>
                    <a:pt x="2338" y="362"/>
                  </a:lnTo>
                  <a:lnTo>
                    <a:pt x="2336" y="364"/>
                  </a:lnTo>
                  <a:lnTo>
                    <a:pt x="2338" y="362"/>
                  </a:lnTo>
                  <a:lnTo>
                    <a:pt x="2338" y="362"/>
                  </a:lnTo>
                  <a:lnTo>
                    <a:pt x="2336" y="364"/>
                  </a:lnTo>
                  <a:lnTo>
                    <a:pt x="2338" y="362"/>
                  </a:lnTo>
                  <a:lnTo>
                    <a:pt x="2338" y="362"/>
                  </a:lnTo>
                  <a:lnTo>
                    <a:pt x="2336" y="361"/>
                  </a:lnTo>
                  <a:lnTo>
                    <a:pt x="2336" y="361"/>
                  </a:lnTo>
                  <a:lnTo>
                    <a:pt x="2336" y="358"/>
                  </a:lnTo>
                  <a:lnTo>
                    <a:pt x="2336" y="358"/>
                  </a:lnTo>
                  <a:lnTo>
                    <a:pt x="2335" y="353"/>
                  </a:lnTo>
                  <a:lnTo>
                    <a:pt x="2335" y="353"/>
                  </a:lnTo>
                  <a:lnTo>
                    <a:pt x="2332" y="353"/>
                  </a:lnTo>
                  <a:lnTo>
                    <a:pt x="2332" y="353"/>
                  </a:lnTo>
                  <a:lnTo>
                    <a:pt x="2329" y="353"/>
                  </a:lnTo>
                  <a:lnTo>
                    <a:pt x="2329" y="353"/>
                  </a:lnTo>
                  <a:lnTo>
                    <a:pt x="2326" y="355"/>
                  </a:lnTo>
                  <a:lnTo>
                    <a:pt x="2327" y="356"/>
                  </a:lnTo>
                  <a:lnTo>
                    <a:pt x="2327" y="355"/>
                  </a:lnTo>
                  <a:lnTo>
                    <a:pt x="2327" y="355"/>
                  </a:lnTo>
                  <a:lnTo>
                    <a:pt x="2326" y="355"/>
                  </a:lnTo>
                  <a:lnTo>
                    <a:pt x="2327" y="356"/>
                  </a:lnTo>
                  <a:lnTo>
                    <a:pt x="2327" y="355"/>
                  </a:lnTo>
                  <a:lnTo>
                    <a:pt x="2327" y="356"/>
                  </a:lnTo>
                  <a:lnTo>
                    <a:pt x="2329" y="355"/>
                  </a:lnTo>
                  <a:lnTo>
                    <a:pt x="2329" y="355"/>
                  </a:lnTo>
                  <a:lnTo>
                    <a:pt x="2327" y="355"/>
                  </a:lnTo>
                  <a:lnTo>
                    <a:pt x="2327" y="356"/>
                  </a:lnTo>
                  <a:lnTo>
                    <a:pt x="2329" y="355"/>
                  </a:lnTo>
                  <a:lnTo>
                    <a:pt x="2329" y="356"/>
                  </a:lnTo>
                  <a:lnTo>
                    <a:pt x="2329" y="355"/>
                  </a:lnTo>
                  <a:lnTo>
                    <a:pt x="2329" y="355"/>
                  </a:lnTo>
                  <a:lnTo>
                    <a:pt x="2329" y="356"/>
                  </a:lnTo>
                  <a:lnTo>
                    <a:pt x="2329" y="355"/>
                  </a:lnTo>
                  <a:lnTo>
                    <a:pt x="2329" y="356"/>
                  </a:lnTo>
                  <a:lnTo>
                    <a:pt x="2329" y="355"/>
                  </a:lnTo>
                  <a:lnTo>
                    <a:pt x="2329" y="355"/>
                  </a:lnTo>
                  <a:lnTo>
                    <a:pt x="2329" y="356"/>
                  </a:lnTo>
                  <a:lnTo>
                    <a:pt x="2329" y="355"/>
                  </a:lnTo>
                  <a:lnTo>
                    <a:pt x="2329" y="355"/>
                  </a:lnTo>
                  <a:lnTo>
                    <a:pt x="2327" y="353"/>
                  </a:lnTo>
                  <a:lnTo>
                    <a:pt x="2327" y="353"/>
                  </a:lnTo>
                  <a:lnTo>
                    <a:pt x="2326" y="346"/>
                  </a:lnTo>
                  <a:lnTo>
                    <a:pt x="2326" y="346"/>
                  </a:lnTo>
                  <a:lnTo>
                    <a:pt x="2325" y="343"/>
                  </a:lnTo>
                  <a:lnTo>
                    <a:pt x="2325" y="343"/>
                  </a:lnTo>
                  <a:lnTo>
                    <a:pt x="2322" y="340"/>
                  </a:lnTo>
                  <a:lnTo>
                    <a:pt x="2322" y="340"/>
                  </a:lnTo>
                  <a:lnTo>
                    <a:pt x="2322" y="340"/>
                  </a:lnTo>
                  <a:lnTo>
                    <a:pt x="2316" y="337"/>
                  </a:lnTo>
                  <a:lnTo>
                    <a:pt x="2309" y="336"/>
                  </a:lnTo>
                  <a:lnTo>
                    <a:pt x="2309" y="336"/>
                  </a:lnTo>
                  <a:lnTo>
                    <a:pt x="2306" y="336"/>
                  </a:lnTo>
                  <a:lnTo>
                    <a:pt x="2306" y="336"/>
                  </a:lnTo>
                  <a:lnTo>
                    <a:pt x="2306" y="336"/>
                  </a:lnTo>
                  <a:lnTo>
                    <a:pt x="2304" y="335"/>
                  </a:lnTo>
                  <a:lnTo>
                    <a:pt x="2304" y="335"/>
                  </a:lnTo>
                  <a:lnTo>
                    <a:pt x="2301" y="330"/>
                  </a:lnTo>
                  <a:lnTo>
                    <a:pt x="2301" y="330"/>
                  </a:lnTo>
                  <a:lnTo>
                    <a:pt x="2300" y="329"/>
                  </a:lnTo>
                  <a:lnTo>
                    <a:pt x="2300" y="329"/>
                  </a:lnTo>
                  <a:lnTo>
                    <a:pt x="2300" y="327"/>
                  </a:lnTo>
                  <a:lnTo>
                    <a:pt x="2297" y="327"/>
                  </a:lnTo>
                  <a:lnTo>
                    <a:pt x="2298" y="327"/>
                  </a:lnTo>
                  <a:lnTo>
                    <a:pt x="2300" y="327"/>
                  </a:lnTo>
                  <a:lnTo>
                    <a:pt x="2297" y="327"/>
                  </a:lnTo>
                  <a:lnTo>
                    <a:pt x="2298" y="327"/>
                  </a:lnTo>
                  <a:lnTo>
                    <a:pt x="2297" y="327"/>
                  </a:lnTo>
                  <a:lnTo>
                    <a:pt x="2298" y="329"/>
                  </a:lnTo>
                  <a:lnTo>
                    <a:pt x="2298" y="329"/>
                  </a:lnTo>
                  <a:lnTo>
                    <a:pt x="2298" y="327"/>
                  </a:lnTo>
                  <a:lnTo>
                    <a:pt x="2297" y="327"/>
                  </a:lnTo>
                  <a:lnTo>
                    <a:pt x="2298" y="329"/>
                  </a:lnTo>
                  <a:lnTo>
                    <a:pt x="2298" y="327"/>
                  </a:lnTo>
                  <a:lnTo>
                    <a:pt x="2298" y="329"/>
                  </a:lnTo>
                  <a:lnTo>
                    <a:pt x="2298" y="329"/>
                  </a:lnTo>
                  <a:lnTo>
                    <a:pt x="2298" y="327"/>
                  </a:lnTo>
                  <a:lnTo>
                    <a:pt x="2298" y="329"/>
                  </a:lnTo>
                  <a:lnTo>
                    <a:pt x="2298" y="329"/>
                  </a:lnTo>
                  <a:lnTo>
                    <a:pt x="2298" y="329"/>
                  </a:lnTo>
                  <a:lnTo>
                    <a:pt x="2301" y="330"/>
                  </a:lnTo>
                  <a:lnTo>
                    <a:pt x="2301" y="330"/>
                  </a:lnTo>
                  <a:lnTo>
                    <a:pt x="2320" y="337"/>
                  </a:lnTo>
                  <a:lnTo>
                    <a:pt x="2320" y="337"/>
                  </a:lnTo>
                  <a:lnTo>
                    <a:pt x="2323" y="340"/>
                  </a:lnTo>
                  <a:lnTo>
                    <a:pt x="2325" y="343"/>
                  </a:lnTo>
                  <a:lnTo>
                    <a:pt x="2325" y="343"/>
                  </a:lnTo>
                  <a:lnTo>
                    <a:pt x="2326" y="346"/>
                  </a:lnTo>
                  <a:lnTo>
                    <a:pt x="2330" y="350"/>
                  </a:lnTo>
                  <a:lnTo>
                    <a:pt x="2330" y="350"/>
                  </a:lnTo>
                  <a:lnTo>
                    <a:pt x="2336" y="355"/>
                  </a:lnTo>
                  <a:lnTo>
                    <a:pt x="2336" y="355"/>
                  </a:lnTo>
                  <a:lnTo>
                    <a:pt x="2340" y="356"/>
                  </a:lnTo>
                  <a:lnTo>
                    <a:pt x="2340" y="356"/>
                  </a:lnTo>
                  <a:lnTo>
                    <a:pt x="2343" y="355"/>
                  </a:lnTo>
                  <a:lnTo>
                    <a:pt x="2343" y="355"/>
                  </a:lnTo>
                  <a:lnTo>
                    <a:pt x="2345" y="352"/>
                  </a:lnTo>
                  <a:lnTo>
                    <a:pt x="2345" y="352"/>
                  </a:lnTo>
                  <a:lnTo>
                    <a:pt x="2346" y="345"/>
                  </a:lnTo>
                  <a:lnTo>
                    <a:pt x="2346" y="345"/>
                  </a:lnTo>
                  <a:lnTo>
                    <a:pt x="2348" y="326"/>
                  </a:lnTo>
                  <a:lnTo>
                    <a:pt x="2348" y="326"/>
                  </a:lnTo>
                  <a:lnTo>
                    <a:pt x="2348" y="313"/>
                  </a:lnTo>
                  <a:lnTo>
                    <a:pt x="2348" y="313"/>
                  </a:lnTo>
                  <a:lnTo>
                    <a:pt x="2348" y="310"/>
                  </a:lnTo>
                  <a:lnTo>
                    <a:pt x="2346" y="307"/>
                  </a:lnTo>
                  <a:lnTo>
                    <a:pt x="2346" y="307"/>
                  </a:lnTo>
                  <a:lnTo>
                    <a:pt x="2340" y="303"/>
                  </a:lnTo>
                  <a:lnTo>
                    <a:pt x="2340" y="303"/>
                  </a:lnTo>
                  <a:lnTo>
                    <a:pt x="2335" y="297"/>
                  </a:lnTo>
                  <a:lnTo>
                    <a:pt x="2335" y="297"/>
                  </a:lnTo>
                  <a:lnTo>
                    <a:pt x="2332" y="294"/>
                  </a:lnTo>
                  <a:lnTo>
                    <a:pt x="2332" y="294"/>
                  </a:lnTo>
                  <a:lnTo>
                    <a:pt x="2330" y="288"/>
                  </a:lnTo>
                  <a:lnTo>
                    <a:pt x="2330" y="288"/>
                  </a:lnTo>
                  <a:lnTo>
                    <a:pt x="2329" y="284"/>
                  </a:lnTo>
                  <a:lnTo>
                    <a:pt x="2329" y="284"/>
                  </a:lnTo>
                  <a:lnTo>
                    <a:pt x="2325" y="281"/>
                  </a:lnTo>
                  <a:lnTo>
                    <a:pt x="2325" y="281"/>
                  </a:lnTo>
                  <a:lnTo>
                    <a:pt x="2323" y="280"/>
                  </a:lnTo>
                  <a:lnTo>
                    <a:pt x="2322" y="280"/>
                  </a:lnTo>
                  <a:lnTo>
                    <a:pt x="2322" y="278"/>
                  </a:lnTo>
                  <a:lnTo>
                    <a:pt x="2322" y="278"/>
                  </a:lnTo>
                  <a:lnTo>
                    <a:pt x="2320" y="277"/>
                  </a:lnTo>
                  <a:lnTo>
                    <a:pt x="2320" y="277"/>
                  </a:lnTo>
                  <a:lnTo>
                    <a:pt x="2316" y="277"/>
                  </a:lnTo>
                  <a:lnTo>
                    <a:pt x="2316" y="277"/>
                  </a:lnTo>
                  <a:lnTo>
                    <a:pt x="2310" y="275"/>
                  </a:lnTo>
                  <a:lnTo>
                    <a:pt x="2310" y="275"/>
                  </a:lnTo>
                  <a:lnTo>
                    <a:pt x="2304" y="274"/>
                  </a:lnTo>
                  <a:lnTo>
                    <a:pt x="2304" y="274"/>
                  </a:lnTo>
                  <a:lnTo>
                    <a:pt x="2300" y="275"/>
                  </a:lnTo>
                  <a:lnTo>
                    <a:pt x="2300" y="275"/>
                  </a:lnTo>
                  <a:lnTo>
                    <a:pt x="2297" y="275"/>
                  </a:lnTo>
                  <a:lnTo>
                    <a:pt x="2297" y="275"/>
                  </a:lnTo>
                  <a:lnTo>
                    <a:pt x="2288" y="274"/>
                  </a:lnTo>
                  <a:lnTo>
                    <a:pt x="2288" y="274"/>
                  </a:lnTo>
                  <a:lnTo>
                    <a:pt x="2280" y="272"/>
                  </a:lnTo>
                  <a:lnTo>
                    <a:pt x="2280" y="272"/>
                  </a:lnTo>
                  <a:lnTo>
                    <a:pt x="2277" y="271"/>
                  </a:lnTo>
                  <a:lnTo>
                    <a:pt x="2277" y="271"/>
                  </a:lnTo>
                  <a:lnTo>
                    <a:pt x="2274" y="269"/>
                  </a:lnTo>
                  <a:lnTo>
                    <a:pt x="2274" y="269"/>
                  </a:lnTo>
                  <a:lnTo>
                    <a:pt x="2274" y="269"/>
                  </a:lnTo>
                  <a:lnTo>
                    <a:pt x="2271" y="264"/>
                  </a:lnTo>
                  <a:lnTo>
                    <a:pt x="2271" y="264"/>
                  </a:lnTo>
                  <a:lnTo>
                    <a:pt x="2267" y="262"/>
                  </a:lnTo>
                  <a:lnTo>
                    <a:pt x="2267" y="262"/>
                  </a:lnTo>
                  <a:lnTo>
                    <a:pt x="2262" y="261"/>
                  </a:lnTo>
                  <a:lnTo>
                    <a:pt x="2262" y="261"/>
                  </a:lnTo>
                  <a:lnTo>
                    <a:pt x="2259" y="261"/>
                  </a:lnTo>
                  <a:lnTo>
                    <a:pt x="2256" y="259"/>
                  </a:lnTo>
                  <a:lnTo>
                    <a:pt x="2256" y="259"/>
                  </a:lnTo>
                  <a:lnTo>
                    <a:pt x="2254" y="256"/>
                  </a:lnTo>
                  <a:lnTo>
                    <a:pt x="2254" y="256"/>
                  </a:lnTo>
                  <a:lnTo>
                    <a:pt x="2249" y="255"/>
                  </a:lnTo>
                  <a:lnTo>
                    <a:pt x="2249" y="255"/>
                  </a:lnTo>
                  <a:lnTo>
                    <a:pt x="2245" y="256"/>
                  </a:lnTo>
                  <a:lnTo>
                    <a:pt x="2242" y="261"/>
                  </a:lnTo>
                  <a:lnTo>
                    <a:pt x="2242" y="261"/>
                  </a:lnTo>
                  <a:lnTo>
                    <a:pt x="2239" y="264"/>
                  </a:lnTo>
                  <a:lnTo>
                    <a:pt x="2238" y="268"/>
                  </a:lnTo>
                  <a:lnTo>
                    <a:pt x="2238" y="268"/>
                  </a:lnTo>
                  <a:lnTo>
                    <a:pt x="2236" y="271"/>
                  </a:lnTo>
                  <a:lnTo>
                    <a:pt x="2236" y="271"/>
                  </a:lnTo>
                  <a:lnTo>
                    <a:pt x="2238" y="275"/>
                  </a:lnTo>
                  <a:lnTo>
                    <a:pt x="2241" y="278"/>
                  </a:lnTo>
                  <a:lnTo>
                    <a:pt x="2241" y="278"/>
                  </a:lnTo>
                  <a:lnTo>
                    <a:pt x="2246" y="285"/>
                  </a:lnTo>
                  <a:lnTo>
                    <a:pt x="2246" y="285"/>
                  </a:lnTo>
                  <a:lnTo>
                    <a:pt x="2248" y="287"/>
                  </a:lnTo>
                  <a:lnTo>
                    <a:pt x="2248" y="287"/>
                  </a:lnTo>
                  <a:lnTo>
                    <a:pt x="2248" y="287"/>
                  </a:lnTo>
                  <a:lnTo>
                    <a:pt x="2248" y="287"/>
                  </a:lnTo>
                  <a:lnTo>
                    <a:pt x="2248" y="287"/>
                  </a:lnTo>
                  <a:lnTo>
                    <a:pt x="2248" y="287"/>
                  </a:lnTo>
                  <a:lnTo>
                    <a:pt x="2248" y="287"/>
                  </a:lnTo>
                  <a:lnTo>
                    <a:pt x="2249" y="287"/>
                  </a:lnTo>
                  <a:lnTo>
                    <a:pt x="2248" y="287"/>
                  </a:lnTo>
                  <a:lnTo>
                    <a:pt x="2248" y="287"/>
                  </a:lnTo>
                  <a:lnTo>
                    <a:pt x="2249" y="287"/>
                  </a:lnTo>
                  <a:lnTo>
                    <a:pt x="2248" y="287"/>
                  </a:lnTo>
                  <a:lnTo>
                    <a:pt x="2248" y="287"/>
                  </a:lnTo>
                  <a:lnTo>
                    <a:pt x="2248" y="287"/>
                  </a:lnTo>
                  <a:lnTo>
                    <a:pt x="2248" y="287"/>
                  </a:lnTo>
                  <a:lnTo>
                    <a:pt x="2248" y="287"/>
                  </a:lnTo>
                  <a:lnTo>
                    <a:pt x="2248" y="287"/>
                  </a:lnTo>
                  <a:lnTo>
                    <a:pt x="2248" y="287"/>
                  </a:lnTo>
                  <a:lnTo>
                    <a:pt x="2246" y="287"/>
                  </a:lnTo>
                  <a:lnTo>
                    <a:pt x="2246" y="287"/>
                  </a:lnTo>
                  <a:lnTo>
                    <a:pt x="2243" y="290"/>
                  </a:lnTo>
                  <a:lnTo>
                    <a:pt x="2243" y="290"/>
                  </a:lnTo>
                  <a:lnTo>
                    <a:pt x="2242" y="290"/>
                  </a:lnTo>
                  <a:lnTo>
                    <a:pt x="2242" y="290"/>
                  </a:lnTo>
                  <a:lnTo>
                    <a:pt x="2242" y="293"/>
                  </a:lnTo>
                  <a:lnTo>
                    <a:pt x="2242" y="293"/>
                  </a:lnTo>
                  <a:lnTo>
                    <a:pt x="2243" y="295"/>
                  </a:lnTo>
                  <a:lnTo>
                    <a:pt x="2243" y="295"/>
                  </a:lnTo>
                  <a:lnTo>
                    <a:pt x="2246" y="300"/>
                  </a:lnTo>
                  <a:lnTo>
                    <a:pt x="2246" y="300"/>
                  </a:lnTo>
                  <a:lnTo>
                    <a:pt x="2246" y="301"/>
                  </a:lnTo>
                  <a:lnTo>
                    <a:pt x="2246" y="301"/>
                  </a:lnTo>
                  <a:lnTo>
                    <a:pt x="2246" y="301"/>
                  </a:lnTo>
                  <a:lnTo>
                    <a:pt x="2246" y="301"/>
                  </a:lnTo>
                  <a:lnTo>
                    <a:pt x="2246" y="301"/>
                  </a:lnTo>
                  <a:lnTo>
                    <a:pt x="2246" y="301"/>
                  </a:lnTo>
                  <a:lnTo>
                    <a:pt x="2246" y="301"/>
                  </a:lnTo>
                  <a:lnTo>
                    <a:pt x="2248" y="301"/>
                  </a:lnTo>
                  <a:lnTo>
                    <a:pt x="2246" y="300"/>
                  </a:lnTo>
                  <a:lnTo>
                    <a:pt x="2246" y="301"/>
                  </a:lnTo>
                  <a:lnTo>
                    <a:pt x="2248" y="301"/>
                  </a:lnTo>
                  <a:lnTo>
                    <a:pt x="2246" y="300"/>
                  </a:lnTo>
                  <a:lnTo>
                    <a:pt x="2248" y="301"/>
                  </a:lnTo>
                  <a:lnTo>
                    <a:pt x="2248" y="300"/>
                  </a:lnTo>
                  <a:lnTo>
                    <a:pt x="2246" y="300"/>
                  </a:lnTo>
                  <a:lnTo>
                    <a:pt x="2248" y="301"/>
                  </a:lnTo>
                  <a:lnTo>
                    <a:pt x="2248" y="300"/>
                  </a:lnTo>
                  <a:lnTo>
                    <a:pt x="2248" y="300"/>
                  </a:lnTo>
                  <a:lnTo>
                    <a:pt x="2246" y="300"/>
                  </a:lnTo>
                  <a:lnTo>
                    <a:pt x="2246" y="300"/>
                  </a:lnTo>
                  <a:lnTo>
                    <a:pt x="2243" y="301"/>
                  </a:lnTo>
                  <a:lnTo>
                    <a:pt x="2243" y="301"/>
                  </a:lnTo>
                  <a:lnTo>
                    <a:pt x="2242" y="303"/>
                  </a:lnTo>
                  <a:lnTo>
                    <a:pt x="2242" y="303"/>
                  </a:lnTo>
                  <a:lnTo>
                    <a:pt x="2241" y="304"/>
                  </a:lnTo>
                  <a:lnTo>
                    <a:pt x="2241" y="304"/>
                  </a:lnTo>
                  <a:lnTo>
                    <a:pt x="2241" y="307"/>
                  </a:lnTo>
                  <a:lnTo>
                    <a:pt x="2241" y="307"/>
                  </a:lnTo>
                  <a:lnTo>
                    <a:pt x="2241" y="307"/>
                  </a:lnTo>
                  <a:lnTo>
                    <a:pt x="2241" y="307"/>
                  </a:lnTo>
                  <a:lnTo>
                    <a:pt x="2241" y="307"/>
                  </a:lnTo>
                  <a:lnTo>
                    <a:pt x="2241" y="307"/>
                  </a:lnTo>
                  <a:lnTo>
                    <a:pt x="2241" y="307"/>
                  </a:lnTo>
                  <a:lnTo>
                    <a:pt x="2241" y="307"/>
                  </a:lnTo>
                  <a:lnTo>
                    <a:pt x="2242" y="307"/>
                  </a:lnTo>
                  <a:lnTo>
                    <a:pt x="2241" y="307"/>
                  </a:lnTo>
                  <a:lnTo>
                    <a:pt x="2241" y="307"/>
                  </a:lnTo>
                  <a:lnTo>
                    <a:pt x="2242" y="307"/>
                  </a:lnTo>
                  <a:lnTo>
                    <a:pt x="2241" y="307"/>
                  </a:lnTo>
                  <a:lnTo>
                    <a:pt x="2242" y="307"/>
                  </a:lnTo>
                  <a:lnTo>
                    <a:pt x="2241" y="307"/>
                  </a:lnTo>
                  <a:lnTo>
                    <a:pt x="2241" y="307"/>
                  </a:lnTo>
                  <a:lnTo>
                    <a:pt x="2242" y="307"/>
                  </a:lnTo>
                  <a:lnTo>
                    <a:pt x="2241" y="307"/>
                  </a:lnTo>
                  <a:lnTo>
                    <a:pt x="2241" y="307"/>
                  </a:lnTo>
                  <a:lnTo>
                    <a:pt x="2241" y="307"/>
                  </a:lnTo>
                  <a:lnTo>
                    <a:pt x="2241" y="307"/>
                  </a:lnTo>
                  <a:lnTo>
                    <a:pt x="2238" y="307"/>
                  </a:lnTo>
                  <a:lnTo>
                    <a:pt x="2238" y="307"/>
                  </a:lnTo>
                  <a:lnTo>
                    <a:pt x="2230" y="307"/>
                  </a:lnTo>
                  <a:lnTo>
                    <a:pt x="2222" y="304"/>
                  </a:lnTo>
                  <a:lnTo>
                    <a:pt x="2222" y="304"/>
                  </a:lnTo>
                  <a:lnTo>
                    <a:pt x="2217" y="303"/>
                  </a:lnTo>
                  <a:lnTo>
                    <a:pt x="2212" y="301"/>
                  </a:lnTo>
                  <a:lnTo>
                    <a:pt x="2212" y="301"/>
                  </a:lnTo>
                  <a:lnTo>
                    <a:pt x="2203" y="303"/>
                  </a:lnTo>
                  <a:lnTo>
                    <a:pt x="2203" y="303"/>
                  </a:lnTo>
                  <a:lnTo>
                    <a:pt x="2197" y="304"/>
                  </a:lnTo>
                  <a:lnTo>
                    <a:pt x="2197" y="306"/>
                  </a:lnTo>
                  <a:lnTo>
                    <a:pt x="2197" y="304"/>
                  </a:lnTo>
                  <a:lnTo>
                    <a:pt x="2197" y="304"/>
                  </a:lnTo>
                  <a:lnTo>
                    <a:pt x="2197" y="306"/>
                  </a:lnTo>
                  <a:lnTo>
                    <a:pt x="2197" y="304"/>
                  </a:lnTo>
                  <a:lnTo>
                    <a:pt x="2197" y="306"/>
                  </a:lnTo>
                  <a:lnTo>
                    <a:pt x="2197" y="304"/>
                  </a:lnTo>
                  <a:lnTo>
                    <a:pt x="2197" y="304"/>
                  </a:lnTo>
                  <a:lnTo>
                    <a:pt x="2197" y="306"/>
                  </a:lnTo>
                  <a:lnTo>
                    <a:pt x="2197" y="304"/>
                  </a:lnTo>
                  <a:lnTo>
                    <a:pt x="2197" y="304"/>
                  </a:lnTo>
                  <a:lnTo>
                    <a:pt x="2197" y="304"/>
                  </a:lnTo>
                  <a:lnTo>
                    <a:pt x="2197" y="304"/>
                  </a:lnTo>
                  <a:lnTo>
                    <a:pt x="2197" y="304"/>
                  </a:lnTo>
                  <a:lnTo>
                    <a:pt x="2197" y="304"/>
                  </a:lnTo>
                  <a:lnTo>
                    <a:pt x="2196" y="301"/>
                  </a:lnTo>
                  <a:lnTo>
                    <a:pt x="2196" y="301"/>
                  </a:lnTo>
                  <a:lnTo>
                    <a:pt x="2193" y="293"/>
                  </a:lnTo>
                  <a:lnTo>
                    <a:pt x="2193" y="293"/>
                  </a:lnTo>
                  <a:lnTo>
                    <a:pt x="2191" y="288"/>
                  </a:lnTo>
                  <a:lnTo>
                    <a:pt x="2191" y="288"/>
                  </a:lnTo>
                  <a:lnTo>
                    <a:pt x="2191" y="285"/>
                  </a:lnTo>
                  <a:lnTo>
                    <a:pt x="2191" y="285"/>
                  </a:lnTo>
                  <a:lnTo>
                    <a:pt x="2190" y="284"/>
                  </a:lnTo>
                  <a:lnTo>
                    <a:pt x="2190" y="284"/>
                  </a:lnTo>
                  <a:lnTo>
                    <a:pt x="2187" y="282"/>
                  </a:lnTo>
                  <a:lnTo>
                    <a:pt x="2187" y="282"/>
                  </a:lnTo>
                  <a:lnTo>
                    <a:pt x="2181" y="281"/>
                  </a:lnTo>
                  <a:lnTo>
                    <a:pt x="2174" y="280"/>
                  </a:lnTo>
                  <a:lnTo>
                    <a:pt x="2174" y="280"/>
                  </a:lnTo>
                  <a:lnTo>
                    <a:pt x="2168" y="281"/>
                  </a:lnTo>
                  <a:lnTo>
                    <a:pt x="2167" y="281"/>
                  </a:lnTo>
                  <a:lnTo>
                    <a:pt x="2167" y="281"/>
                  </a:lnTo>
                  <a:lnTo>
                    <a:pt x="2161" y="280"/>
                  </a:lnTo>
                  <a:lnTo>
                    <a:pt x="2155" y="277"/>
                  </a:lnTo>
                  <a:lnTo>
                    <a:pt x="2155" y="277"/>
                  </a:lnTo>
                  <a:lnTo>
                    <a:pt x="2151" y="274"/>
                  </a:lnTo>
                  <a:lnTo>
                    <a:pt x="2151" y="274"/>
                  </a:lnTo>
                  <a:lnTo>
                    <a:pt x="2146" y="271"/>
                  </a:lnTo>
                  <a:lnTo>
                    <a:pt x="2146" y="271"/>
                  </a:lnTo>
                  <a:lnTo>
                    <a:pt x="2144" y="271"/>
                  </a:lnTo>
                  <a:lnTo>
                    <a:pt x="2144" y="271"/>
                  </a:lnTo>
                  <a:lnTo>
                    <a:pt x="2141" y="271"/>
                  </a:lnTo>
                  <a:lnTo>
                    <a:pt x="2141" y="271"/>
                  </a:lnTo>
                  <a:lnTo>
                    <a:pt x="2138" y="274"/>
                  </a:lnTo>
                  <a:lnTo>
                    <a:pt x="2138" y="274"/>
                  </a:lnTo>
                  <a:lnTo>
                    <a:pt x="2136" y="275"/>
                  </a:lnTo>
                  <a:lnTo>
                    <a:pt x="2138" y="277"/>
                  </a:lnTo>
                  <a:lnTo>
                    <a:pt x="2138" y="275"/>
                  </a:lnTo>
                  <a:lnTo>
                    <a:pt x="2136" y="275"/>
                  </a:lnTo>
                  <a:lnTo>
                    <a:pt x="2138" y="277"/>
                  </a:lnTo>
                  <a:lnTo>
                    <a:pt x="2138" y="275"/>
                  </a:lnTo>
                  <a:lnTo>
                    <a:pt x="2138" y="275"/>
                  </a:lnTo>
                  <a:lnTo>
                    <a:pt x="2138" y="275"/>
                  </a:lnTo>
                  <a:lnTo>
                    <a:pt x="2138" y="275"/>
                  </a:lnTo>
                  <a:lnTo>
                    <a:pt x="2138" y="275"/>
                  </a:lnTo>
                  <a:lnTo>
                    <a:pt x="2138" y="275"/>
                  </a:lnTo>
                  <a:lnTo>
                    <a:pt x="2138" y="275"/>
                  </a:lnTo>
                  <a:lnTo>
                    <a:pt x="2138" y="275"/>
                  </a:lnTo>
                  <a:lnTo>
                    <a:pt x="2138" y="275"/>
                  </a:lnTo>
                  <a:lnTo>
                    <a:pt x="2138" y="275"/>
                  </a:lnTo>
                  <a:lnTo>
                    <a:pt x="2138" y="275"/>
                  </a:lnTo>
                  <a:lnTo>
                    <a:pt x="2136" y="275"/>
                  </a:lnTo>
                  <a:lnTo>
                    <a:pt x="2136" y="275"/>
                  </a:lnTo>
                  <a:lnTo>
                    <a:pt x="2125" y="269"/>
                  </a:lnTo>
                  <a:lnTo>
                    <a:pt x="2125" y="269"/>
                  </a:lnTo>
                  <a:lnTo>
                    <a:pt x="2119" y="265"/>
                  </a:lnTo>
                  <a:lnTo>
                    <a:pt x="2119" y="265"/>
                  </a:lnTo>
                  <a:lnTo>
                    <a:pt x="2113" y="264"/>
                  </a:lnTo>
                  <a:lnTo>
                    <a:pt x="2113" y="264"/>
                  </a:lnTo>
                  <a:lnTo>
                    <a:pt x="2103" y="264"/>
                  </a:lnTo>
                  <a:lnTo>
                    <a:pt x="2103" y="264"/>
                  </a:lnTo>
                  <a:lnTo>
                    <a:pt x="2097" y="264"/>
                  </a:lnTo>
                  <a:lnTo>
                    <a:pt x="2097" y="264"/>
                  </a:lnTo>
                  <a:lnTo>
                    <a:pt x="2096" y="266"/>
                  </a:lnTo>
                  <a:lnTo>
                    <a:pt x="2093" y="268"/>
                  </a:lnTo>
                  <a:lnTo>
                    <a:pt x="2093" y="268"/>
                  </a:lnTo>
                  <a:lnTo>
                    <a:pt x="2093" y="268"/>
                  </a:lnTo>
                  <a:lnTo>
                    <a:pt x="2093" y="272"/>
                  </a:lnTo>
                  <a:lnTo>
                    <a:pt x="2093" y="272"/>
                  </a:lnTo>
                  <a:lnTo>
                    <a:pt x="2094" y="278"/>
                  </a:lnTo>
                  <a:lnTo>
                    <a:pt x="2097" y="284"/>
                  </a:lnTo>
                  <a:lnTo>
                    <a:pt x="2097" y="284"/>
                  </a:lnTo>
                  <a:lnTo>
                    <a:pt x="2102" y="294"/>
                  </a:lnTo>
                  <a:lnTo>
                    <a:pt x="2102" y="294"/>
                  </a:lnTo>
                  <a:lnTo>
                    <a:pt x="2102" y="294"/>
                  </a:lnTo>
                  <a:lnTo>
                    <a:pt x="2100" y="297"/>
                  </a:lnTo>
                  <a:lnTo>
                    <a:pt x="2100" y="297"/>
                  </a:lnTo>
                  <a:lnTo>
                    <a:pt x="2096" y="303"/>
                  </a:lnTo>
                  <a:lnTo>
                    <a:pt x="2090" y="307"/>
                  </a:lnTo>
                  <a:lnTo>
                    <a:pt x="2088" y="307"/>
                  </a:lnTo>
                  <a:lnTo>
                    <a:pt x="2090" y="308"/>
                  </a:lnTo>
                  <a:lnTo>
                    <a:pt x="2090" y="307"/>
                  </a:lnTo>
                  <a:lnTo>
                    <a:pt x="2088" y="307"/>
                  </a:lnTo>
                  <a:lnTo>
                    <a:pt x="2090" y="308"/>
                  </a:lnTo>
                  <a:lnTo>
                    <a:pt x="2090" y="307"/>
                  </a:lnTo>
                  <a:lnTo>
                    <a:pt x="2090" y="308"/>
                  </a:lnTo>
                  <a:lnTo>
                    <a:pt x="2091" y="307"/>
                  </a:lnTo>
                  <a:lnTo>
                    <a:pt x="2091" y="307"/>
                  </a:lnTo>
                  <a:lnTo>
                    <a:pt x="2090" y="307"/>
                  </a:lnTo>
                  <a:lnTo>
                    <a:pt x="2090" y="308"/>
                  </a:lnTo>
                  <a:lnTo>
                    <a:pt x="2091" y="307"/>
                  </a:lnTo>
                  <a:lnTo>
                    <a:pt x="2090" y="308"/>
                  </a:lnTo>
                  <a:lnTo>
                    <a:pt x="2091" y="308"/>
                  </a:lnTo>
                  <a:lnTo>
                    <a:pt x="2091" y="308"/>
                  </a:lnTo>
                  <a:lnTo>
                    <a:pt x="2091" y="307"/>
                  </a:lnTo>
                  <a:lnTo>
                    <a:pt x="2090" y="308"/>
                  </a:lnTo>
                  <a:lnTo>
                    <a:pt x="2091" y="308"/>
                  </a:lnTo>
                  <a:lnTo>
                    <a:pt x="2091" y="308"/>
                  </a:lnTo>
                  <a:lnTo>
                    <a:pt x="2091" y="308"/>
                  </a:lnTo>
                  <a:lnTo>
                    <a:pt x="2091" y="308"/>
                  </a:lnTo>
                  <a:lnTo>
                    <a:pt x="2091" y="308"/>
                  </a:lnTo>
                  <a:lnTo>
                    <a:pt x="2091" y="308"/>
                  </a:lnTo>
                  <a:lnTo>
                    <a:pt x="2091" y="308"/>
                  </a:lnTo>
                  <a:lnTo>
                    <a:pt x="2093" y="307"/>
                  </a:lnTo>
                  <a:lnTo>
                    <a:pt x="2093" y="307"/>
                  </a:lnTo>
                  <a:lnTo>
                    <a:pt x="2094" y="301"/>
                  </a:lnTo>
                  <a:lnTo>
                    <a:pt x="2094" y="301"/>
                  </a:lnTo>
                  <a:lnTo>
                    <a:pt x="2096" y="294"/>
                  </a:lnTo>
                  <a:lnTo>
                    <a:pt x="2096" y="294"/>
                  </a:lnTo>
                  <a:lnTo>
                    <a:pt x="2096" y="291"/>
                  </a:lnTo>
                  <a:lnTo>
                    <a:pt x="2096" y="291"/>
                  </a:lnTo>
                  <a:lnTo>
                    <a:pt x="2091" y="269"/>
                  </a:lnTo>
                  <a:lnTo>
                    <a:pt x="2091" y="269"/>
                  </a:lnTo>
                  <a:lnTo>
                    <a:pt x="2088" y="259"/>
                  </a:lnTo>
                  <a:lnTo>
                    <a:pt x="2088" y="259"/>
                  </a:lnTo>
                  <a:lnTo>
                    <a:pt x="2088" y="255"/>
                  </a:lnTo>
                  <a:lnTo>
                    <a:pt x="2088" y="255"/>
                  </a:lnTo>
                  <a:lnTo>
                    <a:pt x="2088" y="253"/>
                  </a:lnTo>
                  <a:lnTo>
                    <a:pt x="2088" y="253"/>
                  </a:lnTo>
                  <a:lnTo>
                    <a:pt x="2087" y="249"/>
                  </a:lnTo>
                  <a:lnTo>
                    <a:pt x="2087" y="249"/>
                  </a:lnTo>
                  <a:lnTo>
                    <a:pt x="2086" y="248"/>
                  </a:lnTo>
                  <a:lnTo>
                    <a:pt x="2084" y="246"/>
                  </a:lnTo>
                  <a:lnTo>
                    <a:pt x="2084" y="246"/>
                  </a:lnTo>
                  <a:lnTo>
                    <a:pt x="2080" y="246"/>
                  </a:lnTo>
                  <a:lnTo>
                    <a:pt x="2080" y="246"/>
                  </a:lnTo>
                  <a:lnTo>
                    <a:pt x="2073" y="246"/>
                  </a:lnTo>
                  <a:lnTo>
                    <a:pt x="2071" y="246"/>
                  </a:lnTo>
                  <a:lnTo>
                    <a:pt x="2071" y="246"/>
                  </a:lnTo>
                  <a:lnTo>
                    <a:pt x="2073" y="246"/>
                  </a:lnTo>
                  <a:lnTo>
                    <a:pt x="2071" y="246"/>
                  </a:lnTo>
                  <a:lnTo>
                    <a:pt x="2071" y="246"/>
                  </a:lnTo>
                  <a:lnTo>
                    <a:pt x="2073" y="246"/>
                  </a:lnTo>
                  <a:lnTo>
                    <a:pt x="2071" y="246"/>
                  </a:lnTo>
                  <a:lnTo>
                    <a:pt x="2071" y="246"/>
                  </a:lnTo>
                  <a:lnTo>
                    <a:pt x="2071" y="243"/>
                  </a:lnTo>
                  <a:lnTo>
                    <a:pt x="2071" y="243"/>
                  </a:lnTo>
                  <a:lnTo>
                    <a:pt x="2070" y="235"/>
                  </a:lnTo>
                  <a:lnTo>
                    <a:pt x="2070" y="235"/>
                  </a:lnTo>
                  <a:lnTo>
                    <a:pt x="2070" y="232"/>
                  </a:lnTo>
                  <a:lnTo>
                    <a:pt x="2070" y="232"/>
                  </a:lnTo>
                  <a:lnTo>
                    <a:pt x="2070" y="229"/>
                  </a:lnTo>
                  <a:lnTo>
                    <a:pt x="2070" y="229"/>
                  </a:lnTo>
                  <a:lnTo>
                    <a:pt x="2070" y="229"/>
                  </a:lnTo>
                  <a:lnTo>
                    <a:pt x="2068" y="227"/>
                  </a:lnTo>
                  <a:lnTo>
                    <a:pt x="2068" y="226"/>
                  </a:lnTo>
                  <a:lnTo>
                    <a:pt x="2067" y="226"/>
                  </a:lnTo>
                  <a:lnTo>
                    <a:pt x="2067" y="226"/>
                  </a:lnTo>
                  <a:lnTo>
                    <a:pt x="2064" y="226"/>
                  </a:lnTo>
                  <a:lnTo>
                    <a:pt x="2064" y="226"/>
                  </a:lnTo>
                  <a:lnTo>
                    <a:pt x="2062" y="227"/>
                  </a:lnTo>
                  <a:lnTo>
                    <a:pt x="2062" y="227"/>
                  </a:lnTo>
                  <a:lnTo>
                    <a:pt x="2060" y="230"/>
                  </a:lnTo>
                  <a:lnTo>
                    <a:pt x="2057" y="233"/>
                  </a:lnTo>
                  <a:lnTo>
                    <a:pt x="2057" y="233"/>
                  </a:lnTo>
                  <a:lnTo>
                    <a:pt x="2052" y="235"/>
                  </a:lnTo>
                  <a:lnTo>
                    <a:pt x="2052" y="235"/>
                  </a:lnTo>
                  <a:lnTo>
                    <a:pt x="2048" y="238"/>
                  </a:lnTo>
                  <a:lnTo>
                    <a:pt x="2048" y="238"/>
                  </a:lnTo>
                  <a:lnTo>
                    <a:pt x="2042" y="243"/>
                  </a:lnTo>
                  <a:lnTo>
                    <a:pt x="2042" y="243"/>
                  </a:lnTo>
                  <a:lnTo>
                    <a:pt x="2038" y="248"/>
                  </a:lnTo>
                  <a:lnTo>
                    <a:pt x="2033" y="251"/>
                  </a:lnTo>
                  <a:lnTo>
                    <a:pt x="2033" y="251"/>
                  </a:lnTo>
                  <a:lnTo>
                    <a:pt x="2023" y="256"/>
                  </a:lnTo>
                  <a:lnTo>
                    <a:pt x="2023" y="256"/>
                  </a:lnTo>
                  <a:lnTo>
                    <a:pt x="2016" y="264"/>
                  </a:lnTo>
                  <a:lnTo>
                    <a:pt x="2016" y="264"/>
                  </a:lnTo>
                  <a:lnTo>
                    <a:pt x="2002" y="282"/>
                  </a:lnTo>
                  <a:lnTo>
                    <a:pt x="2002" y="282"/>
                  </a:lnTo>
                  <a:lnTo>
                    <a:pt x="1996" y="290"/>
                  </a:lnTo>
                  <a:lnTo>
                    <a:pt x="1996" y="290"/>
                  </a:lnTo>
                  <a:lnTo>
                    <a:pt x="1990" y="294"/>
                  </a:lnTo>
                  <a:lnTo>
                    <a:pt x="1990" y="295"/>
                  </a:lnTo>
                  <a:lnTo>
                    <a:pt x="1990" y="295"/>
                  </a:lnTo>
                  <a:lnTo>
                    <a:pt x="1990" y="295"/>
                  </a:lnTo>
                  <a:lnTo>
                    <a:pt x="1990" y="295"/>
                  </a:lnTo>
                  <a:lnTo>
                    <a:pt x="1990" y="295"/>
                  </a:lnTo>
                  <a:lnTo>
                    <a:pt x="1990" y="295"/>
                  </a:lnTo>
                  <a:lnTo>
                    <a:pt x="1990" y="295"/>
                  </a:lnTo>
                  <a:lnTo>
                    <a:pt x="1990" y="297"/>
                  </a:lnTo>
                  <a:lnTo>
                    <a:pt x="1991" y="295"/>
                  </a:lnTo>
                  <a:lnTo>
                    <a:pt x="1990" y="295"/>
                  </a:lnTo>
                  <a:lnTo>
                    <a:pt x="1990" y="297"/>
                  </a:lnTo>
                  <a:lnTo>
                    <a:pt x="1991" y="295"/>
                  </a:lnTo>
                  <a:lnTo>
                    <a:pt x="1990" y="297"/>
                  </a:lnTo>
                  <a:lnTo>
                    <a:pt x="1991" y="295"/>
                  </a:lnTo>
                  <a:lnTo>
                    <a:pt x="1991" y="295"/>
                  </a:lnTo>
                  <a:lnTo>
                    <a:pt x="1990" y="297"/>
                  </a:lnTo>
                  <a:lnTo>
                    <a:pt x="1991" y="295"/>
                  </a:lnTo>
                  <a:lnTo>
                    <a:pt x="1991" y="295"/>
                  </a:lnTo>
                  <a:lnTo>
                    <a:pt x="1991" y="295"/>
                  </a:lnTo>
                  <a:lnTo>
                    <a:pt x="1991" y="295"/>
                  </a:lnTo>
                  <a:lnTo>
                    <a:pt x="1991" y="295"/>
                  </a:lnTo>
                  <a:lnTo>
                    <a:pt x="1991" y="295"/>
                  </a:lnTo>
                  <a:lnTo>
                    <a:pt x="1991" y="295"/>
                  </a:lnTo>
                  <a:lnTo>
                    <a:pt x="1991" y="295"/>
                  </a:lnTo>
                  <a:lnTo>
                    <a:pt x="1991" y="295"/>
                  </a:lnTo>
                  <a:lnTo>
                    <a:pt x="1993" y="284"/>
                  </a:lnTo>
                  <a:lnTo>
                    <a:pt x="1993" y="284"/>
                  </a:lnTo>
                  <a:lnTo>
                    <a:pt x="1996" y="269"/>
                  </a:lnTo>
                  <a:lnTo>
                    <a:pt x="1996" y="269"/>
                  </a:lnTo>
                  <a:lnTo>
                    <a:pt x="1996" y="261"/>
                  </a:lnTo>
                  <a:lnTo>
                    <a:pt x="1996" y="261"/>
                  </a:lnTo>
                  <a:lnTo>
                    <a:pt x="1996" y="252"/>
                  </a:lnTo>
                  <a:lnTo>
                    <a:pt x="1994" y="248"/>
                  </a:lnTo>
                  <a:lnTo>
                    <a:pt x="1994" y="248"/>
                  </a:lnTo>
                  <a:lnTo>
                    <a:pt x="1994" y="248"/>
                  </a:lnTo>
                  <a:lnTo>
                    <a:pt x="1994" y="248"/>
                  </a:lnTo>
                  <a:lnTo>
                    <a:pt x="1994" y="248"/>
                  </a:lnTo>
                  <a:lnTo>
                    <a:pt x="1994" y="248"/>
                  </a:lnTo>
                  <a:lnTo>
                    <a:pt x="1994" y="248"/>
                  </a:lnTo>
                  <a:lnTo>
                    <a:pt x="1994" y="248"/>
                  </a:lnTo>
                  <a:lnTo>
                    <a:pt x="1993" y="246"/>
                  </a:lnTo>
                  <a:lnTo>
                    <a:pt x="1994" y="248"/>
                  </a:lnTo>
                  <a:lnTo>
                    <a:pt x="1994" y="248"/>
                  </a:lnTo>
                  <a:lnTo>
                    <a:pt x="1993" y="246"/>
                  </a:lnTo>
                  <a:lnTo>
                    <a:pt x="1994" y="248"/>
                  </a:lnTo>
                  <a:lnTo>
                    <a:pt x="1993" y="248"/>
                  </a:lnTo>
                  <a:lnTo>
                    <a:pt x="1993" y="249"/>
                  </a:lnTo>
                  <a:lnTo>
                    <a:pt x="1994" y="248"/>
                  </a:lnTo>
                  <a:lnTo>
                    <a:pt x="1993" y="248"/>
                  </a:lnTo>
                  <a:lnTo>
                    <a:pt x="1993" y="249"/>
                  </a:lnTo>
                  <a:lnTo>
                    <a:pt x="1993" y="249"/>
                  </a:lnTo>
                  <a:lnTo>
                    <a:pt x="1994" y="249"/>
                  </a:lnTo>
                  <a:lnTo>
                    <a:pt x="1994" y="249"/>
                  </a:lnTo>
                  <a:lnTo>
                    <a:pt x="1999" y="251"/>
                  </a:lnTo>
                  <a:lnTo>
                    <a:pt x="1999" y="251"/>
                  </a:lnTo>
                  <a:lnTo>
                    <a:pt x="2004" y="252"/>
                  </a:lnTo>
                  <a:lnTo>
                    <a:pt x="2004" y="252"/>
                  </a:lnTo>
                  <a:lnTo>
                    <a:pt x="2007" y="251"/>
                  </a:lnTo>
                  <a:lnTo>
                    <a:pt x="2007" y="251"/>
                  </a:lnTo>
                  <a:lnTo>
                    <a:pt x="2010" y="249"/>
                  </a:lnTo>
                  <a:lnTo>
                    <a:pt x="2010" y="249"/>
                  </a:lnTo>
                  <a:lnTo>
                    <a:pt x="2026" y="229"/>
                  </a:lnTo>
                  <a:lnTo>
                    <a:pt x="2026" y="229"/>
                  </a:lnTo>
                  <a:lnTo>
                    <a:pt x="2035" y="220"/>
                  </a:lnTo>
                  <a:lnTo>
                    <a:pt x="2035" y="220"/>
                  </a:lnTo>
                  <a:lnTo>
                    <a:pt x="2038" y="216"/>
                  </a:lnTo>
                  <a:lnTo>
                    <a:pt x="2038" y="216"/>
                  </a:lnTo>
                  <a:lnTo>
                    <a:pt x="2039" y="214"/>
                  </a:lnTo>
                  <a:lnTo>
                    <a:pt x="2039" y="214"/>
                  </a:lnTo>
                  <a:lnTo>
                    <a:pt x="2046" y="210"/>
                  </a:lnTo>
                  <a:lnTo>
                    <a:pt x="2046" y="210"/>
                  </a:lnTo>
                  <a:lnTo>
                    <a:pt x="2055" y="203"/>
                  </a:lnTo>
                  <a:lnTo>
                    <a:pt x="2055" y="203"/>
                  </a:lnTo>
                  <a:lnTo>
                    <a:pt x="2061" y="200"/>
                  </a:lnTo>
                  <a:lnTo>
                    <a:pt x="2065" y="198"/>
                  </a:lnTo>
                  <a:lnTo>
                    <a:pt x="2065" y="198"/>
                  </a:lnTo>
                  <a:lnTo>
                    <a:pt x="2073" y="195"/>
                  </a:lnTo>
                  <a:lnTo>
                    <a:pt x="2080" y="190"/>
                  </a:lnTo>
                  <a:lnTo>
                    <a:pt x="2080" y="190"/>
                  </a:lnTo>
                  <a:lnTo>
                    <a:pt x="2084" y="185"/>
                  </a:lnTo>
                  <a:lnTo>
                    <a:pt x="2087" y="178"/>
                  </a:lnTo>
                  <a:lnTo>
                    <a:pt x="2087" y="178"/>
                  </a:lnTo>
                  <a:lnTo>
                    <a:pt x="2091" y="167"/>
                  </a:lnTo>
                  <a:lnTo>
                    <a:pt x="2093" y="155"/>
                  </a:lnTo>
                  <a:lnTo>
                    <a:pt x="2093" y="155"/>
                  </a:lnTo>
                  <a:lnTo>
                    <a:pt x="2096" y="135"/>
                  </a:lnTo>
                  <a:lnTo>
                    <a:pt x="2096" y="135"/>
                  </a:lnTo>
                  <a:lnTo>
                    <a:pt x="2096" y="119"/>
                  </a:lnTo>
                  <a:lnTo>
                    <a:pt x="2096" y="119"/>
                  </a:lnTo>
                  <a:lnTo>
                    <a:pt x="2096" y="113"/>
                  </a:lnTo>
                  <a:lnTo>
                    <a:pt x="2093" y="107"/>
                  </a:lnTo>
                  <a:lnTo>
                    <a:pt x="2093" y="107"/>
                  </a:lnTo>
                  <a:lnTo>
                    <a:pt x="2091" y="104"/>
                  </a:lnTo>
                  <a:lnTo>
                    <a:pt x="2091" y="100"/>
                  </a:lnTo>
                  <a:lnTo>
                    <a:pt x="2091" y="100"/>
                  </a:lnTo>
                  <a:lnTo>
                    <a:pt x="2090" y="96"/>
                  </a:lnTo>
                  <a:lnTo>
                    <a:pt x="2088" y="90"/>
                  </a:lnTo>
                  <a:lnTo>
                    <a:pt x="2088" y="90"/>
                  </a:lnTo>
                  <a:lnTo>
                    <a:pt x="2086" y="84"/>
                  </a:lnTo>
                  <a:lnTo>
                    <a:pt x="2083" y="81"/>
                  </a:lnTo>
                  <a:lnTo>
                    <a:pt x="2083" y="81"/>
                  </a:lnTo>
                  <a:lnTo>
                    <a:pt x="2078" y="78"/>
                  </a:lnTo>
                  <a:lnTo>
                    <a:pt x="2074" y="78"/>
                  </a:lnTo>
                  <a:lnTo>
                    <a:pt x="2074" y="78"/>
                  </a:lnTo>
                  <a:lnTo>
                    <a:pt x="2070" y="77"/>
                  </a:lnTo>
                  <a:lnTo>
                    <a:pt x="2070" y="77"/>
                  </a:lnTo>
                  <a:lnTo>
                    <a:pt x="2067" y="74"/>
                  </a:lnTo>
                  <a:lnTo>
                    <a:pt x="2065" y="74"/>
                  </a:lnTo>
                  <a:lnTo>
                    <a:pt x="2065" y="74"/>
                  </a:lnTo>
                  <a:lnTo>
                    <a:pt x="2064" y="74"/>
                  </a:lnTo>
                  <a:lnTo>
                    <a:pt x="2064" y="74"/>
                  </a:lnTo>
                  <a:lnTo>
                    <a:pt x="2062" y="74"/>
                  </a:lnTo>
                  <a:lnTo>
                    <a:pt x="2062" y="74"/>
                  </a:lnTo>
                  <a:lnTo>
                    <a:pt x="2058" y="75"/>
                  </a:lnTo>
                  <a:lnTo>
                    <a:pt x="2058" y="75"/>
                  </a:lnTo>
                  <a:lnTo>
                    <a:pt x="2051" y="78"/>
                  </a:lnTo>
                  <a:lnTo>
                    <a:pt x="2051" y="78"/>
                  </a:lnTo>
                  <a:lnTo>
                    <a:pt x="2052" y="78"/>
                  </a:lnTo>
                  <a:lnTo>
                    <a:pt x="2051" y="78"/>
                  </a:lnTo>
                  <a:lnTo>
                    <a:pt x="2052" y="78"/>
                  </a:lnTo>
                  <a:lnTo>
                    <a:pt x="2051" y="78"/>
                  </a:lnTo>
                  <a:lnTo>
                    <a:pt x="2051" y="78"/>
                  </a:lnTo>
                  <a:lnTo>
                    <a:pt x="2051" y="78"/>
                  </a:lnTo>
                  <a:lnTo>
                    <a:pt x="2051" y="78"/>
                  </a:lnTo>
                  <a:lnTo>
                    <a:pt x="2048" y="78"/>
                  </a:lnTo>
                  <a:lnTo>
                    <a:pt x="2048" y="78"/>
                  </a:lnTo>
                  <a:lnTo>
                    <a:pt x="2025" y="77"/>
                  </a:lnTo>
                  <a:lnTo>
                    <a:pt x="2025" y="77"/>
                  </a:lnTo>
                  <a:lnTo>
                    <a:pt x="2000" y="75"/>
                  </a:lnTo>
                  <a:lnTo>
                    <a:pt x="2000" y="75"/>
                  </a:lnTo>
                  <a:lnTo>
                    <a:pt x="1997" y="75"/>
                  </a:lnTo>
                  <a:lnTo>
                    <a:pt x="1997" y="75"/>
                  </a:lnTo>
                  <a:lnTo>
                    <a:pt x="1989" y="78"/>
                  </a:lnTo>
                  <a:lnTo>
                    <a:pt x="1989" y="78"/>
                  </a:lnTo>
                  <a:lnTo>
                    <a:pt x="1986" y="81"/>
                  </a:lnTo>
                  <a:lnTo>
                    <a:pt x="1984" y="84"/>
                  </a:lnTo>
                  <a:lnTo>
                    <a:pt x="1984" y="84"/>
                  </a:lnTo>
                  <a:lnTo>
                    <a:pt x="1983" y="87"/>
                  </a:lnTo>
                  <a:lnTo>
                    <a:pt x="1980" y="88"/>
                  </a:lnTo>
                  <a:lnTo>
                    <a:pt x="1980" y="88"/>
                  </a:lnTo>
                  <a:lnTo>
                    <a:pt x="1980" y="88"/>
                  </a:lnTo>
                  <a:lnTo>
                    <a:pt x="1964" y="98"/>
                  </a:lnTo>
                  <a:lnTo>
                    <a:pt x="1965" y="100"/>
                  </a:lnTo>
                  <a:lnTo>
                    <a:pt x="1965" y="98"/>
                  </a:lnTo>
                  <a:lnTo>
                    <a:pt x="1965" y="98"/>
                  </a:lnTo>
                  <a:lnTo>
                    <a:pt x="1964" y="98"/>
                  </a:lnTo>
                  <a:lnTo>
                    <a:pt x="1965" y="100"/>
                  </a:lnTo>
                  <a:lnTo>
                    <a:pt x="1965" y="98"/>
                  </a:lnTo>
                  <a:lnTo>
                    <a:pt x="1965" y="101"/>
                  </a:lnTo>
                  <a:lnTo>
                    <a:pt x="1967" y="100"/>
                  </a:lnTo>
                  <a:lnTo>
                    <a:pt x="1967" y="100"/>
                  </a:lnTo>
                  <a:lnTo>
                    <a:pt x="1965" y="98"/>
                  </a:lnTo>
                  <a:lnTo>
                    <a:pt x="1965" y="101"/>
                  </a:lnTo>
                  <a:lnTo>
                    <a:pt x="1967" y="100"/>
                  </a:lnTo>
                  <a:lnTo>
                    <a:pt x="1965" y="100"/>
                  </a:lnTo>
                  <a:lnTo>
                    <a:pt x="1967" y="100"/>
                  </a:lnTo>
                  <a:lnTo>
                    <a:pt x="1967" y="100"/>
                  </a:lnTo>
                  <a:lnTo>
                    <a:pt x="1965" y="100"/>
                  </a:lnTo>
                  <a:lnTo>
                    <a:pt x="1967" y="100"/>
                  </a:lnTo>
                  <a:lnTo>
                    <a:pt x="1967" y="100"/>
                  </a:lnTo>
                  <a:lnTo>
                    <a:pt x="1967" y="98"/>
                  </a:lnTo>
                  <a:lnTo>
                    <a:pt x="1967" y="98"/>
                  </a:lnTo>
                  <a:lnTo>
                    <a:pt x="1967" y="91"/>
                  </a:lnTo>
                  <a:lnTo>
                    <a:pt x="1967" y="91"/>
                  </a:lnTo>
                  <a:lnTo>
                    <a:pt x="1968" y="84"/>
                  </a:lnTo>
                  <a:lnTo>
                    <a:pt x="1968" y="84"/>
                  </a:lnTo>
                  <a:lnTo>
                    <a:pt x="1973" y="72"/>
                  </a:lnTo>
                  <a:lnTo>
                    <a:pt x="1973" y="72"/>
                  </a:lnTo>
                  <a:lnTo>
                    <a:pt x="1978" y="61"/>
                  </a:lnTo>
                  <a:lnTo>
                    <a:pt x="1978" y="61"/>
                  </a:lnTo>
                  <a:lnTo>
                    <a:pt x="1978" y="58"/>
                  </a:lnTo>
                  <a:lnTo>
                    <a:pt x="1978" y="58"/>
                  </a:lnTo>
                  <a:lnTo>
                    <a:pt x="1978" y="56"/>
                  </a:lnTo>
                  <a:lnTo>
                    <a:pt x="1978" y="56"/>
                  </a:lnTo>
                  <a:lnTo>
                    <a:pt x="1976" y="55"/>
                  </a:lnTo>
                  <a:lnTo>
                    <a:pt x="1976" y="55"/>
                  </a:lnTo>
                  <a:lnTo>
                    <a:pt x="1971" y="54"/>
                  </a:lnTo>
                  <a:lnTo>
                    <a:pt x="1971" y="54"/>
                  </a:lnTo>
                  <a:lnTo>
                    <a:pt x="1967" y="54"/>
                  </a:lnTo>
                  <a:lnTo>
                    <a:pt x="1967" y="54"/>
                  </a:lnTo>
                  <a:lnTo>
                    <a:pt x="1962" y="54"/>
                  </a:lnTo>
                  <a:lnTo>
                    <a:pt x="1962" y="55"/>
                  </a:lnTo>
                  <a:lnTo>
                    <a:pt x="1962" y="54"/>
                  </a:lnTo>
                  <a:lnTo>
                    <a:pt x="1962" y="54"/>
                  </a:lnTo>
                  <a:lnTo>
                    <a:pt x="1962" y="54"/>
                  </a:lnTo>
                  <a:lnTo>
                    <a:pt x="1962" y="55"/>
                  </a:lnTo>
                  <a:lnTo>
                    <a:pt x="1962" y="54"/>
                  </a:lnTo>
                  <a:lnTo>
                    <a:pt x="1961" y="55"/>
                  </a:lnTo>
                  <a:lnTo>
                    <a:pt x="1964" y="55"/>
                  </a:lnTo>
                  <a:lnTo>
                    <a:pt x="1964" y="55"/>
                  </a:lnTo>
                  <a:lnTo>
                    <a:pt x="1962" y="54"/>
                  </a:lnTo>
                  <a:lnTo>
                    <a:pt x="1961" y="55"/>
                  </a:lnTo>
                  <a:lnTo>
                    <a:pt x="1964" y="55"/>
                  </a:lnTo>
                  <a:lnTo>
                    <a:pt x="1962" y="55"/>
                  </a:lnTo>
                  <a:lnTo>
                    <a:pt x="1964" y="56"/>
                  </a:lnTo>
                  <a:lnTo>
                    <a:pt x="1964" y="55"/>
                  </a:lnTo>
                  <a:lnTo>
                    <a:pt x="1962" y="55"/>
                  </a:lnTo>
                  <a:lnTo>
                    <a:pt x="1964" y="56"/>
                  </a:lnTo>
                  <a:lnTo>
                    <a:pt x="1964" y="56"/>
                  </a:lnTo>
                  <a:lnTo>
                    <a:pt x="1965" y="54"/>
                  </a:lnTo>
                  <a:lnTo>
                    <a:pt x="1965" y="54"/>
                  </a:lnTo>
                  <a:lnTo>
                    <a:pt x="1970" y="49"/>
                  </a:lnTo>
                  <a:lnTo>
                    <a:pt x="1970" y="49"/>
                  </a:lnTo>
                  <a:lnTo>
                    <a:pt x="1973" y="46"/>
                  </a:lnTo>
                  <a:lnTo>
                    <a:pt x="1973" y="46"/>
                  </a:lnTo>
                  <a:lnTo>
                    <a:pt x="1976" y="42"/>
                  </a:lnTo>
                  <a:lnTo>
                    <a:pt x="1976" y="42"/>
                  </a:lnTo>
                  <a:lnTo>
                    <a:pt x="1978" y="38"/>
                  </a:lnTo>
                  <a:lnTo>
                    <a:pt x="1978" y="32"/>
                  </a:lnTo>
                  <a:lnTo>
                    <a:pt x="1978" y="32"/>
                  </a:lnTo>
                  <a:lnTo>
                    <a:pt x="1978" y="29"/>
                  </a:lnTo>
                  <a:lnTo>
                    <a:pt x="1978" y="29"/>
                  </a:lnTo>
                  <a:lnTo>
                    <a:pt x="1978" y="25"/>
                  </a:lnTo>
                  <a:lnTo>
                    <a:pt x="1978" y="25"/>
                  </a:lnTo>
                  <a:lnTo>
                    <a:pt x="1977" y="23"/>
                  </a:lnTo>
                  <a:lnTo>
                    <a:pt x="1976" y="20"/>
                  </a:lnTo>
                  <a:lnTo>
                    <a:pt x="1976" y="20"/>
                  </a:lnTo>
                  <a:lnTo>
                    <a:pt x="1970" y="17"/>
                  </a:lnTo>
                  <a:lnTo>
                    <a:pt x="1970" y="17"/>
                  </a:lnTo>
                  <a:lnTo>
                    <a:pt x="1967" y="14"/>
                  </a:lnTo>
                  <a:lnTo>
                    <a:pt x="1962" y="12"/>
                  </a:lnTo>
                  <a:lnTo>
                    <a:pt x="1962" y="12"/>
                  </a:lnTo>
                  <a:lnTo>
                    <a:pt x="1960" y="7"/>
                  </a:lnTo>
                  <a:lnTo>
                    <a:pt x="1955" y="4"/>
                  </a:lnTo>
                  <a:lnTo>
                    <a:pt x="1955" y="4"/>
                  </a:lnTo>
                  <a:lnTo>
                    <a:pt x="1948" y="1"/>
                  </a:lnTo>
                  <a:lnTo>
                    <a:pt x="1948" y="1"/>
                  </a:lnTo>
                  <a:lnTo>
                    <a:pt x="1942" y="0"/>
                  </a:lnTo>
                  <a:lnTo>
                    <a:pt x="1942" y="0"/>
                  </a:lnTo>
                  <a:lnTo>
                    <a:pt x="1941" y="0"/>
                  </a:lnTo>
                  <a:lnTo>
                    <a:pt x="1941" y="0"/>
                  </a:lnTo>
                  <a:lnTo>
                    <a:pt x="1938" y="0"/>
                  </a:lnTo>
                  <a:lnTo>
                    <a:pt x="1938" y="0"/>
                  </a:lnTo>
                  <a:lnTo>
                    <a:pt x="1935" y="3"/>
                  </a:lnTo>
                  <a:lnTo>
                    <a:pt x="1935" y="3"/>
                  </a:lnTo>
                  <a:lnTo>
                    <a:pt x="1932" y="6"/>
                  </a:lnTo>
                  <a:lnTo>
                    <a:pt x="1932" y="6"/>
                  </a:lnTo>
                  <a:lnTo>
                    <a:pt x="1920" y="12"/>
                  </a:lnTo>
                  <a:lnTo>
                    <a:pt x="1920" y="12"/>
                  </a:lnTo>
                  <a:lnTo>
                    <a:pt x="1915" y="14"/>
                  </a:lnTo>
                  <a:lnTo>
                    <a:pt x="1915" y="14"/>
                  </a:lnTo>
                  <a:lnTo>
                    <a:pt x="1912" y="17"/>
                  </a:lnTo>
                  <a:lnTo>
                    <a:pt x="1910" y="20"/>
                  </a:lnTo>
                  <a:lnTo>
                    <a:pt x="1910" y="20"/>
                  </a:lnTo>
                  <a:lnTo>
                    <a:pt x="1907" y="30"/>
                  </a:lnTo>
                  <a:lnTo>
                    <a:pt x="1905" y="36"/>
                  </a:lnTo>
                  <a:lnTo>
                    <a:pt x="1900" y="42"/>
                  </a:lnTo>
                  <a:lnTo>
                    <a:pt x="1900" y="43"/>
                  </a:lnTo>
                  <a:lnTo>
                    <a:pt x="1900" y="42"/>
                  </a:lnTo>
                  <a:lnTo>
                    <a:pt x="1900" y="42"/>
                  </a:lnTo>
                  <a:lnTo>
                    <a:pt x="1896" y="49"/>
                  </a:lnTo>
                  <a:lnTo>
                    <a:pt x="1894" y="56"/>
                  </a:lnTo>
                  <a:lnTo>
                    <a:pt x="1894" y="56"/>
                  </a:lnTo>
                  <a:lnTo>
                    <a:pt x="1896" y="68"/>
                  </a:lnTo>
                  <a:lnTo>
                    <a:pt x="1896" y="68"/>
                  </a:lnTo>
                  <a:lnTo>
                    <a:pt x="1896" y="72"/>
                  </a:lnTo>
                  <a:lnTo>
                    <a:pt x="1896" y="72"/>
                  </a:lnTo>
                  <a:lnTo>
                    <a:pt x="1893" y="80"/>
                  </a:lnTo>
                  <a:lnTo>
                    <a:pt x="1893" y="80"/>
                  </a:lnTo>
                  <a:lnTo>
                    <a:pt x="1892" y="84"/>
                  </a:lnTo>
                  <a:lnTo>
                    <a:pt x="1889" y="85"/>
                  </a:lnTo>
                  <a:lnTo>
                    <a:pt x="1889" y="85"/>
                  </a:lnTo>
                  <a:lnTo>
                    <a:pt x="1884" y="88"/>
                  </a:lnTo>
                  <a:lnTo>
                    <a:pt x="1877" y="90"/>
                  </a:lnTo>
                  <a:lnTo>
                    <a:pt x="1877" y="90"/>
                  </a:lnTo>
                  <a:lnTo>
                    <a:pt x="1871" y="91"/>
                  </a:lnTo>
                  <a:lnTo>
                    <a:pt x="1871" y="91"/>
                  </a:lnTo>
                  <a:lnTo>
                    <a:pt x="1867" y="90"/>
                  </a:lnTo>
                  <a:lnTo>
                    <a:pt x="1867" y="90"/>
                  </a:lnTo>
                  <a:lnTo>
                    <a:pt x="1865" y="90"/>
                  </a:lnTo>
                  <a:lnTo>
                    <a:pt x="1865" y="90"/>
                  </a:lnTo>
                  <a:lnTo>
                    <a:pt x="1863" y="88"/>
                  </a:lnTo>
                  <a:lnTo>
                    <a:pt x="1863" y="88"/>
                  </a:lnTo>
                  <a:lnTo>
                    <a:pt x="1860" y="90"/>
                  </a:lnTo>
                  <a:lnTo>
                    <a:pt x="1860" y="90"/>
                  </a:lnTo>
                  <a:lnTo>
                    <a:pt x="1857" y="93"/>
                  </a:lnTo>
                  <a:lnTo>
                    <a:pt x="1857" y="93"/>
                  </a:lnTo>
                  <a:lnTo>
                    <a:pt x="1854" y="96"/>
                  </a:lnTo>
                  <a:lnTo>
                    <a:pt x="1854" y="100"/>
                  </a:lnTo>
                  <a:lnTo>
                    <a:pt x="1854" y="100"/>
                  </a:lnTo>
                  <a:lnTo>
                    <a:pt x="1855" y="106"/>
                  </a:lnTo>
                  <a:lnTo>
                    <a:pt x="1860" y="113"/>
                  </a:lnTo>
                  <a:lnTo>
                    <a:pt x="1860" y="113"/>
                  </a:lnTo>
                  <a:lnTo>
                    <a:pt x="1865" y="119"/>
                  </a:lnTo>
                  <a:lnTo>
                    <a:pt x="1874" y="125"/>
                  </a:lnTo>
                  <a:lnTo>
                    <a:pt x="1874" y="125"/>
                  </a:lnTo>
                  <a:lnTo>
                    <a:pt x="1886" y="132"/>
                  </a:lnTo>
                  <a:lnTo>
                    <a:pt x="1886" y="132"/>
                  </a:lnTo>
                  <a:lnTo>
                    <a:pt x="1889" y="132"/>
                  </a:lnTo>
                  <a:lnTo>
                    <a:pt x="1889" y="132"/>
                  </a:lnTo>
                  <a:lnTo>
                    <a:pt x="1889" y="130"/>
                  </a:lnTo>
                  <a:lnTo>
                    <a:pt x="1889" y="132"/>
                  </a:lnTo>
                  <a:lnTo>
                    <a:pt x="1889" y="132"/>
                  </a:lnTo>
                  <a:lnTo>
                    <a:pt x="1889" y="130"/>
                  </a:lnTo>
                  <a:lnTo>
                    <a:pt x="1889" y="132"/>
                  </a:lnTo>
                  <a:lnTo>
                    <a:pt x="1890" y="130"/>
                  </a:lnTo>
                  <a:lnTo>
                    <a:pt x="1887" y="130"/>
                  </a:lnTo>
                  <a:lnTo>
                    <a:pt x="1889" y="132"/>
                  </a:lnTo>
                  <a:lnTo>
                    <a:pt x="1890" y="130"/>
                  </a:lnTo>
                  <a:lnTo>
                    <a:pt x="1887" y="130"/>
                  </a:lnTo>
                  <a:lnTo>
                    <a:pt x="1889" y="130"/>
                  </a:lnTo>
                  <a:lnTo>
                    <a:pt x="1887" y="129"/>
                  </a:lnTo>
                  <a:lnTo>
                    <a:pt x="1887" y="130"/>
                  </a:lnTo>
                  <a:lnTo>
                    <a:pt x="1889" y="130"/>
                  </a:lnTo>
                  <a:lnTo>
                    <a:pt x="1887" y="129"/>
                  </a:lnTo>
                  <a:lnTo>
                    <a:pt x="1887" y="129"/>
                  </a:lnTo>
                  <a:lnTo>
                    <a:pt x="1887" y="132"/>
                  </a:lnTo>
                  <a:lnTo>
                    <a:pt x="1887" y="132"/>
                  </a:lnTo>
                  <a:lnTo>
                    <a:pt x="1887" y="132"/>
                  </a:lnTo>
                  <a:lnTo>
                    <a:pt x="1887" y="132"/>
                  </a:lnTo>
                  <a:lnTo>
                    <a:pt x="1887" y="130"/>
                  </a:lnTo>
                  <a:lnTo>
                    <a:pt x="1887" y="132"/>
                  </a:lnTo>
                  <a:lnTo>
                    <a:pt x="1887" y="132"/>
                  </a:lnTo>
                  <a:lnTo>
                    <a:pt x="1887" y="130"/>
                  </a:lnTo>
                  <a:lnTo>
                    <a:pt x="1887" y="132"/>
                  </a:lnTo>
                  <a:lnTo>
                    <a:pt x="1887" y="130"/>
                  </a:lnTo>
                  <a:lnTo>
                    <a:pt x="1887" y="130"/>
                  </a:lnTo>
                  <a:lnTo>
                    <a:pt x="1887" y="132"/>
                  </a:lnTo>
                  <a:lnTo>
                    <a:pt x="1887" y="130"/>
                  </a:lnTo>
                  <a:lnTo>
                    <a:pt x="1887" y="130"/>
                  </a:lnTo>
                  <a:lnTo>
                    <a:pt x="1886" y="130"/>
                  </a:lnTo>
                  <a:lnTo>
                    <a:pt x="1886" y="130"/>
                  </a:lnTo>
                  <a:lnTo>
                    <a:pt x="1876" y="130"/>
                  </a:lnTo>
                  <a:lnTo>
                    <a:pt x="1876" y="130"/>
                  </a:lnTo>
                  <a:lnTo>
                    <a:pt x="1873" y="130"/>
                  </a:lnTo>
                  <a:lnTo>
                    <a:pt x="1873" y="130"/>
                  </a:lnTo>
                  <a:lnTo>
                    <a:pt x="1870" y="132"/>
                  </a:lnTo>
                  <a:lnTo>
                    <a:pt x="1870" y="132"/>
                  </a:lnTo>
                  <a:lnTo>
                    <a:pt x="1870" y="135"/>
                  </a:lnTo>
                  <a:lnTo>
                    <a:pt x="1870" y="135"/>
                  </a:lnTo>
                  <a:lnTo>
                    <a:pt x="1870" y="136"/>
                  </a:lnTo>
                  <a:lnTo>
                    <a:pt x="1870" y="136"/>
                  </a:lnTo>
                  <a:lnTo>
                    <a:pt x="1871" y="138"/>
                  </a:lnTo>
                  <a:lnTo>
                    <a:pt x="1871" y="138"/>
                  </a:lnTo>
                  <a:lnTo>
                    <a:pt x="1876" y="140"/>
                  </a:lnTo>
                  <a:lnTo>
                    <a:pt x="1880" y="140"/>
                  </a:lnTo>
                  <a:lnTo>
                    <a:pt x="1880" y="140"/>
                  </a:lnTo>
                  <a:lnTo>
                    <a:pt x="1883" y="140"/>
                  </a:lnTo>
                  <a:lnTo>
                    <a:pt x="1883" y="140"/>
                  </a:lnTo>
                  <a:lnTo>
                    <a:pt x="1884" y="143"/>
                  </a:lnTo>
                  <a:lnTo>
                    <a:pt x="1884" y="143"/>
                  </a:lnTo>
                  <a:lnTo>
                    <a:pt x="1887" y="151"/>
                  </a:lnTo>
                  <a:lnTo>
                    <a:pt x="1887" y="151"/>
                  </a:lnTo>
                  <a:lnTo>
                    <a:pt x="1887" y="155"/>
                  </a:lnTo>
                  <a:lnTo>
                    <a:pt x="1887" y="155"/>
                  </a:lnTo>
                  <a:lnTo>
                    <a:pt x="1887" y="158"/>
                  </a:lnTo>
                  <a:lnTo>
                    <a:pt x="1886" y="162"/>
                  </a:lnTo>
                  <a:lnTo>
                    <a:pt x="1883" y="167"/>
                  </a:lnTo>
                  <a:lnTo>
                    <a:pt x="1883" y="167"/>
                  </a:lnTo>
                  <a:lnTo>
                    <a:pt x="1883" y="168"/>
                  </a:lnTo>
                  <a:lnTo>
                    <a:pt x="1883" y="167"/>
                  </a:lnTo>
                  <a:lnTo>
                    <a:pt x="1883" y="167"/>
                  </a:lnTo>
                  <a:lnTo>
                    <a:pt x="1883" y="168"/>
                  </a:lnTo>
                  <a:lnTo>
                    <a:pt x="1883" y="167"/>
                  </a:lnTo>
                  <a:lnTo>
                    <a:pt x="1884" y="168"/>
                  </a:lnTo>
                  <a:lnTo>
                    <a:pt x="1884" y="167"/>
                  </a:lnTo>
                  <a:lnTo>
                    <a:pt x="1884" y="167"/>
                  </a:lnTo>
                  <a:lnTo>
                    <a:pt x="1883" y="167"/>
                  </a:lnTo>
                  <a:lnTo>
                    <a:pt x="1884" y="168"/>
                  </a:lnTo>
                  <a:lnTo>
                    <a:pt x="1884" y="167"/>
                  </a:lnTo>
                  <a:lnTo>
                    <a:pt x="1884" y="168"/>
                  </a:lnTo>
                  <a:lnTo>
                    <a:pt x="1886" y="167"/>
                  </a:lnTo>
                  <a:lnTo>
                    <a:pt x="1884" y="167"/>
                  </a:lnTo>
                  <a:lnTo>
                    <a:pt x="1884" y="168"/>
                  </a:lnTo>
                  <a:lnTo>
                    <a:pt x="1886" y="167"/>
                  </a:lnTo>
                  <a:lnTo>
                    <a:pt x="1884" y="168"/>
                  </a:lnTo>
                  <a:lnTo>
                    <a:pt x="1886" y="168"/>
                  </a:lnTo>
                  <a:lnTo>
                    <a:pt x="1886" y="168"/>
                  </a:lnTo>
                  <a:lnTo>
                    <a:pt x="1886" y="167"/>
                  </a:lnTo>
                  <a:lnTo>
                    <a:pt x="1884" y="168"/>
                  </a:lnTo>
                  <a:lnTo>
                    <a:pt x="1886" y="168"/>
                  </a:lnTo>
                  <a:lnTo>
                    <a:pt x="1884" y="168"/>
                  </a:lnTo>
                  <a:lnTo>
                    <a:pt x="1886" y="168"/>
                  </a:lnTo>
                  <a:lnTo>
                    <a:pt x="1886" y="168"/>
                  </a:lnTo>
                  <a:lnTo>
                    <a:pt x="1884" y="168"/>
                  </a:lnTo>
                  <a:lnTo>
                    <a:pt x="1886" y="168"/>
                  </a:lnTo>
                  <a:lnTo>
                    <a:pt x="1886" y="168"/>
                  </a:lnTo>
                  <a:lnTo>
                    <a:pt x="1886" y="168"/>
                  </a:lnTo>
                  <a:lnTo>
                    <a:pt x="1886" y="168"/>
                  </a:lnTo>
                  <a:lnTo>
                    <a:pt x="1886" y="158"/>
                  </a:lnTo>
                  <a:lnTo>
                    <a:pt x="1886" y="158"/>
                  </a:lnTo>
                  <a:lnTo>
                    <a:pt x="1886" y="153"/>
                  </a:lnTo>
                  <a:lnTo>
                    <a:pt x="1886" y="153"/>
                  </a:lnTo>
                  <a:lnTo>
                    <a:pt x="1884" y="151"/>
                  </a:lnTo>
                  <a:lnTo>
                    <a:pt x="1883" y="148"/>
                  </a:lnTo>
                  <a:lnTo>
                    <a:pt x="1883" y="148"/>
                  </a:lnTo>
                  <a:lnTo>
                    <a:pt x="1881" y="146"/>
                  </a:lnTo>
                  <a:lnTo>
                    <a:pt x="1878" y="146"/>
                  </a:lnTo>
                  <a:lnTo>
                    <a:pt x="1878" y="146"/>
                  </a:lnTo>
                  <a:lnTo>
                    <a:pt x="1871" y="148"/>
                  </a:lnTo>
                  <a:lnTo>
                    <a:pt x="1871" y="148"/>
                  </a:lnTo>
                  <a:lnTo>
                    <a:pt x="1870" y="149"/>
                  </a:lnTo>
                  <a:lnTo>
                    <a:pt x="1870" y="149"/>
                  </a:lnTo>
                  <a:lnTo>
                    <a:pt x="1867" y="148"/>
                  </a:lnTo>
                  <a:lnTo>
                    <a:pt x="1867" y="148"/>
                  </a:lnTo>
                  <a:lnTo>
                    <a:pt x="1865" y="145"/>
                  </a:lnTo>
                  <a:lnTo>
                    <a:pt x="1865" y="145"/>
                  </a:lnTo>
                  <a:lnTo>
                    <a:pt x="1863" y="140"/>
                  </a:lnTo>
                  <a:lnTo>
                    <a:pt x="1863" y="140"/>
                  </a:lnTo>
                  <a:lnTo>
                    <a:pt x="1861" y="135"/>
                  </a:lnTo>
                  <a:lnTo>
                    <a:pt x="1858" y="130"/>
                  </a:lnTo>
                  <a:lnTo>
                    <a:pt x="1854" y="126"/>
                  </a:lnTo>
                  <a:lnTo>
                    <a:pt x="1848" y="123"/>
                  </a:lnTo>
                  <a:lnTo>
                    <a:pt x="1848" y="123"/>
                  </a:lnTo>
                  <a:lnTo>
                    <a:pt x="1841" y="120"/>
                  </a:lnTo>
                  <a:lnTo>
                    <a:pt x="1841" y="120"/>
                  </a:lnTo>
                  <a:lnTo>
                    <a:pt x="1836" y="122"/>
                  </a:lnTo>
                  <a:lnTo>
                    <a:pt x="1836" y="122"/>
                  </a:lnTo>
                  <a:lnTo>
                    <a:pt x="1831" y="125"/>
                  </a:lnTo>
                  <a:lnTo>
                    <a:pt x="1831" y="125"/>
                  </a:lnTo>
                  <a:lnTo>
                    <a:pt x="1829" y="125"/>
                  </a:lnTo>
                  <a:lnTo>
                    <a:pt x="1829" y="125"/>
                  </a:lnTo>
                  <a:lnTo>
                    <a:pt x="1829" y="126"/>
                  </a:lnTo>
                  <a:lnTo>
                    <a:pt x="1829" y="125"/>
                  </a:lnTo>
                  <a:lnTo>
                    <a:pt x="1829" y="125"/>
                  </a:lnTo>
                  <a:lnTo>
                    <a:pt x="1829" y="126"/>
                  </a:lnTo>
                  <a:lnTo>
                    <a:pt x="1829" y="125"/>
                  </a:lnTo>
                  <a:lnTo>
                    <a:pt x="1829" y="126"/>
                  </a:lnTo>
                  <a:lnTo>
                    <a:pt x="1829" y="126"/>
                  </a:lnTo>
                  <a:lnTo>
                    <a:pt x="1829" y="125"/>
                  </a:lnTo>
                  <a:lnTo>
                    <a:pt x="1829" y="126"/>
                  </a:lnTo>
                  <a:lnTo>
                    <a:pt x="1829" y="126"/>
                  </a:lnTo>
                  <a:lnTo>
                    <a:pt x="1829" y="126"/>
                  </a:lnTo>
                  <a:lnTo>
                    <a:pt x="1829" y="126"/>
                  </a:lnTo>
                  <a:lnTo>
                    <a:pt x="1829" y="126"/>
                  </a:lnTo>
                  <a:lnTo>
                    <a:pt x="1829" y="126"/>
                  </a:lnTo>
                  <a:lnTo>
                    <a:pt x="1829" y="126"/>
                  </a:lnTo>
                  <a:lnTo>
                    <a:pt x="1829" y="125"/>
                  </a:lnTo>
                  <a:lnTo>
                    <a:pt x="1829" y="125"/>
                  </a:lnTo>
                  <a:lnTo>
                    <a:pt x="1829" y="120"/>
                  </a:lnTo>
                  <a:lnTo>
                    <a:pt x="1829" y="120"/>
                  </a:lnTo>
                  <a:lnTo>
                    <a:pt x="1829" y="117"/>
                  </a:lnTo>
                  <a:lnTo>
                    <a:pt x="1828" y="114"/>
                  </a:lnTo>
                  <a:lnTo>
                    <a:pt x="1828" y="114"/>
                  </a:lnTo>
                  <a:lnTo>
                    <a:pt x="1823" y="110"/>
                  </a:lnTo>
                  <a:lnTo>
                    <a:pt x="1823" y="110"/>
                  </a:lnTo>
                  <a:lnTo>
                    <a:pt x="1822" y="109"/>
                  </a:lnTo>
                  <a:lnTo>
                    <a:pt x="1822" y="109"/>
                  </a:lnTo>
                  <a:lnTo>
                    <a:pt x="1819" y="109"/>
                  </a:lnTo>
                  <a:lnTo>
                    <a:pt x="1819" y="109"/>
                  </a:lnTo>
                  <a:lnTo>
                    <a:pt x="1815" y="109"/>
                  </a:lnTo>
                  <a:lnTo>
                    <a:pt x="1815" y="109"/>
                  </a:lnTo>
                  <a:lnTo>
                    <a:pt x="1809" y="110"/>
                  </a:lnTo>
                  <a:lnTo>
                    <a:pt x="1809" y="110"/>
                  </a:lnTo>
                  <a:lnTo>
                    <a:pt x="1805" y="111"/>
                  </a:lnTo>
                  <a:lnTo>
                    <a:pt x="1805" y="111"/>
                  </a:lnTo>
                  <a:lnTo>
                    <a:pt x="1800" y="111"/>
                  </a:lnTo>
                  <a:lnTo>
                    <a:pt x="1800" y="111"/>
                  </a:lnTo>
                  <a:lnTo>
                    <a:pt x="1797" y="111"/>
                  </a:lnTo>
                  <a:lnTo>
                    <a:pt x="1797" y="111"/>
                  </a:lnTo>
                  <a:lnTo>
                    <a:pt x="1793" y="111"/>
                  </a:lnTo>
                  <a:lnTo>
                    <a:pt x="1790" y="113"/>
                  </a:lnTo>
                  <a:lnTo>
                    <a:pt x="1790" y="113"/>
                  </a:lnTo>
                  <a:lnTo>
                    <a:pt x="1787" y="114"/>
                  </a:lnTo>
                  <a:lnTo>
                    <a:pt x="1784" y="114"/>
                  </a:lnTo>
                  <a:lnTo>
                    <a:pt x="1783" y="114"/>
                  </a:lnTo>
                  <a:lnTo>
                    <a:pt x="1783" y="114"/>
                  </a:lnTo>
                  <a:lnTo>
                    <a:pt x="1783" y="114"/>
                  </a:lnTo>
                  <a:lnTo>
                    <a:pt x="1783" y="114"/>
                  </a:lnTo>
                  <a:lnTo>
                    <a:pt x="1781" y="116"/>
                  </a:lnTo>
                  <a:lnTo>
                    <a:pt x="1783" y="114"/>
                  </a:lnTo>
                  <a:lnTo>
                    <a:pt x="1783" y="114"/>
                  </a:lnTo>
                  <a:lnTo>
                    <a:pt x="1781" y="116"/>
                  </a:lnTo>
                  <a:lnTo>
                    <a:pt x="1783" y="114"/>
                  </a:lnTo>
                  <a:lnTo>
                    <a:pt x="1781" y="116"/>
                  </a:lnTo>
                  <a:lnTo>
                    <a:pt x="1783" y="116"/>
                  </a:lnTo>
                  <a:lnTo>
                    <a:pt x="1783" y="114"/>
                  </a:lnTo>
                  <a:lnTo>
                    <a:pt x="1781" y="116"/>
                  </a:lnTo>
                  <a:lnTo>
                    <a:pt x="1783" y="116"/>
                  </a:lnTo>
                  <a:lnTo>
                    <a:pt x="1783" y="116"/>
                  </a:lnTo>
                  <a:lnTo>
                    <a:pt x="1783" y="116"/>
                  </a:lnTo>
                  <a:lnTo>
                    <a:pt x="1783" y="116"/>
                  </a:lnTo>
                  <a:lnTo>
                    <a:pt x="1783" y="116"/>
                  </a:lnTo>
                  <a:lnTo>
                    <a:pt x="1783" y="116"/>
                  </a:lnTo>
                  <a:lnTo>
                    <a:pt x="1783" y="116"/>
                  </a:lnTo>
                  <a:lnTo>
                    <a:pt x="1783" y="113"/>
                  </a:lnTo>
                  <a:lnTo>
                    <a:pt x="1783" y="113"/>
                  </a:lnTo>
                  <a:lnTo>
                    <a:pt x="1784" y="110"/>
                  </a:lnTo>
                  <a:lnTo>
                    <a:pt x="1784" y="110"/>
                  </a:lnTo>
                  <a:lnTo>
                    <a:pt x="1784" y="110"/>
                  </a:lnTo>
                  <a:lnTo>
                    <a:pt x="1784" y="109"/>
                  </a:lnTo>
                  <a:lnTo>
                    <a:pt x="1784" y="109"/>
                  </a:lnTo>
                  <a:lnTo>
                    <a:pt x="1784" y="107"/>
                  </a:lnTo>
                  <a:lnTo>
                    <a:pt x="1784" y="107"/>
                  </a:lnTo>
                  <a:lnTo>
                    <a:pt x="1781" y="106"/>
                  </a:lnTo>
                  <a:lnTo>
                    <a:pt x="1781" y="106"/>
                  </a:lnTo>
                  <a:lnTo>
                    <a:pt x="1780" y="107"/>
                  </a:lnTo>
                  <a:lnTo>
                    <a:pt x="1780" y="107"/>
                  </a:lnTo>
                  <a:lnTo>
                    <a:pt x="1773" y="110"/>
                  </a:lnTo>
                  <a:lnTo>
                    <a:pt x="1773" y="110"/>
                  </a:lnTo>
                  <a:lnTo>
                    <a:pt x="1767" y="114"/>
                  </a:lnTo>
                  <a:lnTo>
                    <a:pt x="1767" y="114"/>
                  </a:lnTo>
                  <a:lnTo>
                    <a:pt x="1761" y="116"/>
                  </a:lnTo>
                  <a:lnTo>
                    <a:pt x="1755" y="120"/>
                  </a:lnTo>
                  <a:lnTo>
                    <a:pt x="1755" y="120"/>
                  </a:lnTo>
                  <a:lnTo>
                    <a:pt x="1747" y="126"/>
                  </a:lnTo>
                  <a:lnTo>
                    <a:pt x="1747" y="126"/>
                  </a:lnTo>
                  <a:lnTo>
                    <a:pt x="1741" y="129"/>
                  </a:lnTo>
                  <a:lnTo>
                    <a:pt x="1741" y="129"/>
                  </a:lnTo>
                  <a:lnTo>
                    <a:pt x="1726" y="135"/>
                  </a:lnTo>
                  <a:lnTo>
                    <a:pt x="1718" y="139"/>
                  </a:lnTo>
                  <a:lnTo>
                    <a:pt x="1709" y="143"/>
                  </a:lnTo>
                  <a:lnTo>
                    <a:pt x="1709" y="143"/>
                  </a:lnTo>
                  <a:lnTo>
                    <a:pt x="1705" y="146"/>
                  </a:lnTo>
                  <a:lnTo>
                    <a:pt x="1700" y="151"/>
                  </a:lnTo>
                  <a:lnTo>
                    <a:pt x="1695" y="159"/>
                  </a:lnTo>
                  <a:lnTo>
                    <a:pt x="1695" y="159"/>
                  </a:lnTo>
                  <a:lnTo>
                    <a:pt x="1690" y="167"/>
                  </a:lnTo>
                  <a:lnTo>
                    <a:pt x="1686" y="172"/>
                  </a:lnTo>
                  <a:lnTo>
                    <a:pt x="1686" y="172"/>
                  </a:lnTo>
                  <a:lnTo>
                    <a:pt x="1681" y="177"/>
                  </a:lnTo>
                  <a:lnTo>
                    <a:pt x="1680" y="180"/>
                  </a:lnTo>
                  <a:lnTo>
                    <a:pt x="1680" y="180"/>
                  </a:lnTo>
                  <a:lnTo>
                    <a:pt x="1679" y="182"/>
                  </a:lnTo>
                  <a:lnTo>
                    <a:pt x="1679" y="182"/>
                  </a:lnTo>
                  <a:lnTo>
                    <a:pt x="1676" y="184"/>
                  </a:lnTo>
                  <a:lnTo>
                    <a:pt x="1676" y="184"/>
                  </a:lnTo>
                  <a:lnTo>
                    <a:pt x="1664" y="190"/>
                  </a:lnTo>
                  <a:lnTo>
                    <a:pt x="1654" y="197"/>
                  </a:lnTo>
                  <a:lnTo>
                    <a:pt x="1654" y="197"/>
                  </a:lnTo>
                  <a:lnTo>
                    <a:pt x="1650" y="200"/>
                  </a:lnTo>
                  <a:lnTo>
                    <a:pt x="1648" y="203"/>
                  </a:lnTo>
                  <a:lnTo>
                    <a:pt x="1648" y="203"/>
                  </a:lnTo>
                  <a:lnTo>
                    <a:pt x="1647" y="206"/>
                  </a:lnTo>
                  <a:lnTo>
                    <a:pt x="1642" y="207"/>
                  </a:lnTo>
                  <a:lnTo>
                    <a:pt x="1642" y="207"/>
                  </a:lnTo>
                  <a:lnTo>
                    <a:pt x="1639" y="210"/>
                  </a:lnTo>
                  <a:lnTo>
                    <a:pt x="1637" y="213"/>
                  </a:lnTo>
                  <a:lnTo>
                    <a:pt x="1637" y="213"/>
                  </a:lnTo>
                  <a:lnTo>
                    <a:pt x="1637" y="216"/>
                  </a:lnTo>
                  <a:lnTo>
                    <a:pt x="1635" y="219"/>
                  </a:lnTo>
                  <a:lnTo>
                    <a:pt x="1635" y="219"/>
                  </a:lnTo>
                  <a:lnTo>
                    <a:pt x="1637" y="227"/>
                  </a:lnTo>
                  <a:lnTo>
                    <a:pt x="1637" y="227"/>
                  </a:lnTo>
                  <a:lnTo>
                    <a:pt x="1638" y="232"/>
                  </a:lnTo>
                  <a:lnTo>
                    <a:pt x="1638" y="232"/>
                  </a:lnTo>
                  <a:lnTo>
                    <a:pt x="1642" y="236"/>
                  </a:lnTo>
                  <a:lnTo>
                    <a:pt x="1642" y="236"/>
                  </a:lnTo>
                  <a:lnTo>
                    <a:pt x="1642" y="236"/>
                  </a:lnTo>
                  <a:lnTo>
                    <a:pt x="1642" y="236"/>
                  </a:lnTo>
                  <a:lnTo>
                    <a:pt x="1644" y="236"/>
                  </a:lnTo>
                  <a:lnTo>
                    <a:pt x="1642" y="236"/>
                  </a:lnTo>
                  <a:lnTo>
                    <a:pt x="1642" y="236"/>
                  </a:lnTo>
                  <a:lnTo>
                    <a:pt x="1644" y="236"/>
                  </a:lnTo>
                  <a:lnTo>
                    <a:pt x="1642" y="236"/>
                  </a:lnTo>
                  <a:lnTo>
                    <a:pt x="1644" y="236"/>
                  </a:lnTo>
                  <a:lnTo>
                    <a:pt x="1644" y="236"/>
                  </a:lnTo>
                  <a:lnTo>
                    <a:pt x="1642" y="236"/>
                  </a:lnTo>
                  <a:lnTo>
                    <a:pt x="1644" y="236"/>
                  </a:lnTo>
                  <a:lnTo>
                    <a:pt x="1644" y="236"/>
                  </a:lnTo>
                  <a:lnTo>
                    <a:pt x="1644" y="236"/>
                  </a:lnTo>
                  <a:lnTo>
                    <a:pt x="1644" y="236"/>
                  </a:lnTo>
                  <a:lnTo>
                    <a:pt x="1644" y="236"/>
                  </a:lnTo>
                  <a:lnTo>
                    <a:pt x="1644" y="236"/>
                  </a:lnTo>
                  <a:lnTo>
                    <a:pt x="1644" y="236"/>
                  </a:lnTo>
                  <a:lnTo>
                    <a:pt x="1642" y="236"/>
                  </a:lnTo>
                  <a:lnTo>
                    <a:pt x="1642" y="236"/>
                  </a:lnTo>
                  <a:lnTo>
                    <a:pt x="1641" y="240"/>
                  </a:lnTo>
                  <a:lnTo>
                    <a:pt x="1641" y="240"/>
                  </a:lnTo>
                  <a:lnTo>
                    <a:pt x="1638" y="245"/>
                  </a:lnTo>
                  <a:lnTo>
                    <a:pt x="1638" y="245"/>
                  </a:lnTo>
                  <a:lnTo>
                    <a:pt x="1635" y="245"/>
                  </a:lnTo>
                  <a:lnTo>
                    <a:pt x="1632" y="246"/>
                  </a:lnTo>
                  <a:lnTo>
                    <a:pt x="1632" y="246"/>
                  </a:lnTo>
                  <a:lnTo>
                    <a:pt x="1625" y="248"/>
                  </a:lnTo>
                  <a:lnTo>
                    <a:pt x="1619" y="251"/>
                  </a:lnTo>
                  <a:lnTo>
                    <a:pt x="1619" y="251"/>
                  </a:lnTo>
                  <a:lnTo>
                    <a:pt x="1613" y="253"/>
                  </a:lnTo>
                  <a:lnTo>
                    <a:pt x="1605" y="258"/>
                  </a:lnTo>
                  <a:lnTo>
                    <a:pt x="1605" y="258"/>
                  </a:lnTo>
                  <a:lnTo>
                    <a:pt x="1596" y="261"/>
                  </a:lnTo>
                  <a:lnTo>
                    <a:pt x="1589" y="261"/>
                  </a:lnTo>
                  <a:lnTo>
                    <a:pt x="1589" y="261"/>
                  </a:lnTo>
                  <a:lnTo>
                    <a:pt x="1582" y="262"/>
                  </a:lnTo>
                  <a:lnTo>
                    <a:pt x="1582" y="262"/>
                  </a:lnTo>
                  <a:lnTo>
                    <a:pt x="1576" y="264"/>
                  </a:lnTo>
                  <a:lnTo>
                    <a:pt x="1576" y="264"/>
                  </a:lnTo>
                  <a:lnTo>
                    <a:pt x="1573" y="266"/>
                  </a:lnTo>
                  <a:lnTo>
                    <a:pt x="1571" y="271"/>
                  </a:lnTo>
                  <a:lnTo>
                    <a:pt x="1571" y="271"/>
                  </a:lnTo>
                  <a:lnTo>
                    <a:pt x="1570" y="277"/>
                  </a:lnTo>
                  <a:lnTo>
                    <a:pt x="1570" y="284"/>
                  </a:lnTo>
                  <a:lnTo>
                    <a:pt x="1570" y="284"/>
                  </a:lnTo>
                  <a:lnTo>
                    <a:pt x="1570" y="290"/>
                  </a:lnTo>
                  <a:lnTo>
                    <a:pt x="1570" y="295"/>
                  </a:lnTo>
                  <a:lnTo>
                    <a:pt x="1570" y="295"/>
                  </a:lnTo>
                  <a:lnTo>
                    <a:pt x="1569" y="301"/>
                  </a:lnTo>
                  <a:lnTo>
                    <a:pt x="1569" y="301"/>
                  </a:lnTo>
                  <a:lnTo>
                    <a:pt x="1570" y="310"/>
                  </a:lnTo>
                  <a:lnTo>
                    <a:pt x="1570" y="310"/>
                  </a:lnTo>
                  <a:lnTo>
                    <a:pt x="1573" y="319"/>
                  </a:lnTo>
                  <a:lnTo>
                    <a:pt x="1573" y="319"/>
                  </a:lnTo>
                  <a:lnTo>
                    <a:pt x="1576" y="324"/>
                  </a:lnTo>
                  <a:lnTo>
                    <a:pt x="1579" y="330"/>
                  </a:lnTo>
                  <a:lnTo>
                    <a:pt x="1579" y="330"/>
                  </a:lnTo>
                  <a:lnTo>
                    <a:pt x="1582" y="335"/>
                  </a:lnTo>
                  <a:lnTo>
                    <a:pt x="1586" y="337"/>
                  </a:lnTo>
                  <a:lnTo>
                    <a:pt x="1586" y="337"/>
                  </a:lnTo>
                  <a:lnTo>
                    <a:pt x="1595" y="343"/>
                  </a:lnTo>
                  <a:lnTo>
                    <a:pt x="1602" y="352"/>
                  </a:lnTo>
                  <a:lnTo>
                    <a:pt x="1602" y="352"/>
                  </a:lnTo>
                  <a:lnTo>
                    <a:pt x="1606" y="355"/>
                  </a:lnTo>
                  <a:lnTo>
                    <a:pt x="1611" y="358"/>
                  </a:lnTo>
                  <a:lnTo>
                    <a:pt x="1611" y="358"/>
                  </a:lnTo>
                  <a:lnTo>
                    <a:pt x="1616" y="362"/>
                  </a:lnTo>
                  <a:lnTo>
                    <a:pt x="1616" y="362"/>
                  </a:lnTo>
                  <a:lnTo>
                    <a:pt x="1618" y="365"/>
                  </a:lnTo>
                  <a:lnTo>
                    <a:pt x="1618" y="365"/>
                  </a:lnTo>
                  <a:lnTo>
                    <a:pt x="1618" y="371"/>
                  </a:lnTo>
                  <a:lnTo>
                    <a:pt x="1618" y="371"/>
                  </a:lnTo>
                  <a:lnTo>
                    <a:pt x="1616" y="384"/>
                  </a:lnTo>
                  <a:lnTo>
                    <a:pt x="1616" y="384"/>
                  </a:lnTo>
                  <a:lnTo>
                    <a:pt x="1613" y="400"/>
                  </a:lnTo>
                  <a:lnTo>
                    <a:pt x="1613" y="400"/>
                  </a:lnTo>
                  <a:lnTo>
                    <a:pt x="1612" y="410"/>
                  </a:lnTo>
                  <a:lnTo>
                    <a:pt x="1612" y="410"/>
                  </a:lnTo>
                  <a:lnTo>
                    <a:pt x="1611" y="416"/>
                  </a:lnTo>
                  <a:lnTo>
                    <a:pt x="1611" y="416"/>
                  </a:lnTo>
                  <a:lnTo>
                    <a:pt x="1611" y="417"/>
                  </a:lnTo>
                  <a:lnTo>
                    <a:pt x="1611" y="416"/>
                  </a:lnTo>
                  <a:lnTo>
                    <a:pt x="1611" y="416"/>
                  </a:lnTo>
                  <a:lnTo>
                    <a:pt x="1611" y="417"/>
                  </a:lnTo>
                  <a:lnTo>
                    <a:pt x="1611" y="416"/>
                  </a:lnTo>
                  <a:lnTo>
                    <a:pt x="1612" y="417"/>
                  </a:lnTo>
                  <a:lnTo>
                    <a:pt x="1612" y="416"/>
                  </a:lnTo>
                  <a:lnTo>
                    <a:pt x="1612" y="416"/>
                  </a:lnTo>
                  <a:lnTo>
                    <a:pt x="1611" y="416"/>
                  </a:lnTo>
                  <a:lnTo>
                    <a:pt x="1612" y="417"/>
                  </a:lnTo>
                  <a:lnTo>
                    <a:pt x="1612" y="416"/>
                  </a:lnTo>
                  <a:lnTo>
                    <a:pt x="1612" y="417"/>
                  </a:lnTo>
                  <a:lnTo>
                    <a:pt x="1612" y="416"/>
                  </a:lnTo>
                  <a:lnTo>
                    <a:pt x="1612" y="416"/>
                  </a:lnTo>
                  <a:lnTo>
                    <a:pt x="1612" y="416"/>
                  </a:lnTo>
                  <a:lnTo>
                    <a:pt x="1612" y="417"/>
                  </a:lnTo>
                  <a:lnTo>
                    <a:pt x="1612" y="416"/>
                  </a:lnTo>
                  <a:lnTo>
                    <a:pt x="1612" y="417"/>
                  </a:lnTo>
                  <a:lnTo>
                    <a:pt x="1613" y="416"/>
                  </a:lnTo>
                  <a:lnTo>
                    <a:pt x="1612" y="416"/>
                  </a:lnTo>
                  <a:lnTo>
                    <a:pt x="1612" y="417"/>
                  </a:lnTo>
                  <a:lnTo>
                    <a:pt x="1613" y="416"/>
                  </a:lnTo>
                  <a:lnTo>
                    <a:pt x="1612" y="416"/>
                  </a:lnTo>
                  <a:lnTo>
                    <a:pt x="1613" y="416"/>
                  </a:lnTo>
                  <a:lnTo>
                    <a:pt x="1613" y="416"/>
                  </a:lnTo>
                  <a:lnTo>
                    <a:pt x="1612" y="416"/>
                  </a:lnTo>
                  <a:lnTo>
                    <a:pt x="1613" y="416"/>
                  </a:lnTo>
                  <a:lnTo>
                    <a:pt x="1613" y="416"/>
                  </a:lnTo>
                  <a:lnTo>
                    <a:pt x="1612" y="414"/>
                  </a:lnTo>
                  <a:lnTo>
                    <a:pt x="1612" y="414"/>
                  </a:lnTo>
                  <a:lnTo>
                    <a:pt x="1611" y="407"/>
                  </a:lnTo>
                  <a:lnTo>
                    <a:pt x="1611" y="407"/>
                  </a:lnTo>
                  <a:lnTo>
                    <a:pt x="1609" y="406"/>
                  </a:lnTo>
                  <a:lnTo>
                    <a:pt x="1609" y="404"/>
                  </a:lnTo>
                  <a:lnTo>
                    <a:pt x="1608" y="403"/>
                  </a:lnTo>
                  <a:lnTo>
                    <a:pt x="1608" y="403"/>
                  </a:lnTo>
                  <a:lnTo>
                    <a:pt x="1606" y="401"/>
                  </a:lnTo>
                  <a:lnTo>
                    <a:pt x="1606" y="401"/>
                  </a:lnTo>
                  <a:lnTo>
                    <a:pt x="1603" y="401"/>
                  </a:lnTo>
                  <a:lnTo>
                    <a:pt x="1603" y="401"/>
                  </a:lnTo>
                  <a:lnTo>
                    <a:pt x="1599" y="401"/>
                  </a:lnTo>
                  <a:lnTo>
                    <a:pt x="1595" y="404"/>
                  </a:lnTo>
                  <a:lnTo>
                    <a:pt x="1595" y="404"/>
                  </a:lnTo>
                  <a:lnTo>
                    <a:pt x="1595" y="404"/>
                  </a:lnTo>
                  <a:lnTo>
                    <a:pt x="1595" y="404"/>
                  </a:lnTo>
                  <a:lnTo>
                    <a:pt x="1595" y="404"/>
                  </a:lnTo>
                  <a:lnTo>
                    <a:pt x="1595" y="404"/>
                  </a:lnTo>
                  <a:lnTo>
                    <a:pt x="1595" y="404"/>
                  </a:lnTo>
                  <a:lnTo>
                    <a:pt x="1596" y="406"/>
                  </a:lnTo>
                  <a:lnTo>
                    <a:pt x="1596" y="403"/>
                  </a:lnTo>
                  <a:lnTo>
                    <a:pt x="1595" y="404"/>
                  </a:lnTo>
                  <a:lnTo>
                    <a:pt x="1596" y="406"/>
                  </a:lnTo>
                  <a:lnTo>
                    <a:pt x="1596" y="403"/>
                  </a:lnTo>
                  <a:lnTo>
                    <a:pt x="1596" y="406"/>
                  </a:lnTo>
                  <a:lnTo>
                    <a:pt x="1597" y="404"/>
                  </a:lnTo>
                  <a:lnTo>
                    <a:pt x="1597" y="404"/>
                  </a:lnTo>
                  <a:lnTo>
                    <a:pt x="1596" y="403"/>
                  </a:lnTo>
                  <a:lnTo>
                    <a:pt x="1596" y="406"/>
                  </a:lnTo>
                  <a:lnTo>
                    <a:pt x="1597" y="404"/>
                  </a:lnTo>
                  <a:lnTo>
                    <a:pt x="1596" y="406"/>
                  </a:lnTo>
                  <a:lnTo>
                    <a:pt x="1597" y="406"/>
                  </a:lnTo>
                  <a:lnTo>
                    <a:pt x="1597" y="406"/>
                  </a:lnTo>
                  <a:lnTo>
                    <a:pt x="1597" y="404"/>
                  </a:lnTo>
                  <a:lnTo>
                    <a:pt x="1596" y="406"/>
                  </a:lnTo>
                  <a:lnTo>
                    <a:pt x="1597" y="406"/>
                  </a:lnTo>
                  <a:lnTo>
                    <a:pt x="1597" y="406"/>
                  </a:lnTo>
                  <a:lnTo>
                    <a:pt x="1597" y="406"/>
                  </a:lnTo>
                  <a:lnTo>
                    <a:pt x="1597" y="406"/>
                  </a:lnTo>
                  <a:lnTo>
                    <a:pt x="1597" y="406"/>
                  </a:lnTo>
                  <a:lnTo>
                    <a:pt x="1597" y="406"/>
                  </a:lnTo>
                  <a:lnTo>
                    <a:pt x="1597" y="406"/>
                  </a:lnTo>
                  <a:lnTo>
                    <a:pt x="1597" y="406"/>
                  </a:lnTo>
                  <a:lnTo>
                    <a:pt x="1599" y="403"/>
                  </a:lnTo>
                  <a:lnTo>
                    <a:pt x="1599" y="403"/>
                  </a:lnTo>
                  <a:lnTo>
                    <a:pt x="1603" y="397"/>
                  </a:lnTo>
                  <a:lnTo>
                    <a:pt x="1603" y="397"/>
                  </a:lnTo>
                  <a:lnTo>
                    <a:pt x="1606" y="391"/>
                  </a:lnTo>
                  <a:lnTo>
                    <a:pt x="1606" y="391"/>
                  </a:lnTo>
                  <a:lnTo>
                    <a:pt x="1609" y="387"/>
                  </a:lnTo>
                  <a:lnTo>
                    <a:pt x="1612" y="381"/>
                  </a:lnTo>
                  <a:lnTo>
                    <a:pt x="1612" y="381"/>
                  </a:lnTo>
                  <a:lnTo>
                    <a:pt x="1613" y="372"/>
                  </a:lnTo>
                  <a:lnTo>
                    <a:pt x="1613" y="372"/>
                  </a:lnTo>
                  <a:lnTo>
                    <a:pt x="1613" y="372"/>
                  </a:lnTo>
                  <a:lnTo>
                    <a:pt x="1615" y="371"/>
                  </a:lnTo>
                  <a:lnTo>
                    <a:pt x="1615" y="371"/>
                  </a:lnTo>
                  <a:lnTo>
                    <a:pt x="1613" y="368"/>
                  </a:lnTo>
                  <a:lnTo>
                    <a:pt x="1613" y="368"/>
                  </a:lnTo>
                  <a:lnTo>
                    <a:pt x="1611" y="366"/>
                  </a:lnTo>
                  <a:lnTo>
                    <a:pt x="1611" y="366"/>
                  </a:lnTo>
                  <a:lnTo>
                    <a:pt x="1603" y="364"/>
                  </a:lnTo>
                  <a:lnTo>
                    <a:pt x="1603" y="364"/>
                  </a:lnTo>
                  <a:lnTo>
                    <a:pt x="1590" y="359"/>
                  </a:lnTo>
                  <a:lnTo>
                    <a:pt x="1590" y="359"/>
                  </a:lnTo>
                  <a:lnTo>
                    <a:pt x="1580" y="356"/>
                  </a:lnTo>
                  <a:lnTo>
                    <a:pt x="1580" y="356"/>
                  </a:lnTo>
                  <a:lnTo>
                    <a:pt x="1579" y="355"/>
                  </a:lnTo>
                  <a:lnTo>
                    <a:pt x="1579" y="355"/>
                  </a:lnTo>
                  <a:lnTo>
                    <a:pt x="1573" y="345"/>
                  </a:lnTo>
                  <a:lnTo>
                    <a:pt x="1567" y="333"/>
                  </a:lnTo>
                  <a:lnTo>
                    <a:pt x="1567" y="333"/>
                  </a:lnTo>
                  <a:lnTo>
                    <a:pt x="1560" y="313"/>
                  </a:lnTo>
                  <a:lnTo>
                    <a:pt x="1560" y="313"/>
                  </a:lnTo>
                  <a:lnTo>
                    <a:pt x="1557" y="308"/>
                  </a:lnTo>
                  <a:lnTo>
                    <a:pt x="1553" y="304"/>
                  </a:lnTo>
                  <a:lnTo>
                    <a:pt x="1553" y="304"/>
                  </a:lnTo>
                  <a:lnTo>
                    <a:pt x="1550" y="303"/>
                  </a:lnTo>
                  <a:lnTo>
                    <a:pt x="1545" y="303"/>
                  </a:lnTo>
                  <a:lnTo>
                    <a:pt x="1545" y="303"/>
                  </a:lnTo>
                  <a:lnTo>
                    <a:pt x="1541" y="303"/>
                  </a:lnTo>
                  <a:lnTo>
                    <a:pt x="1541" y="303"/>
                  </a:lnTo>
                  <a:lnTo>
                    <a:pt x="1532" y="308"/>
                  </a:lnTo>
                  <a:lnTo>
                    <a:pt x="1532" y="308"/>
                  </a:lnTo>
                  <a:lnTo>
                    <a:pt x="1528" y="313"/>
                  </a:lnTo>
                  <a:lnTo>
                    <a:pt x="1528" y="313"/>
                  </a:lnTo>
                  <a:lnTo>
                    <a:pt x="1525" y="317"/>
                  </a:lnTo>
                  <a:lnTo>
                    <a:pt x="1525" y="317"/>
                  </a:lnTo>
                  <a:lnTo>
                    <a:pt x="1525" y="317"/>
                  </a:lnTo>
                  <a:lnTo>
                    <a:pt x="1525" y="319"/>
                  </a:lnTo>
                  <a:lnTo>
                    <a:pt x="1525" y="319"/>
                  </a:lnTo>
                  <a:lnTo>
                    <a:pt x="1525" y="322"/>
                  </a:lnTo>
                  <a:lnTo>
                    <a:pt x="1527" y="323"/>
                  </a:lnTo>
                  <a:lnTo>
                    <a:pt x="1527" y="323"/>
                  </a:lnTo>
                  <a:lnTo>
                    <a:pt x="1531" y="326"/>
                  </a:lnTo>
                  <a:lnTo>
                    <a:pt x="1531" y="326"/>
                  </a:lnTo>
                  <a:lnTo>
                    <a:pt x="1537" y="327"/>
                  </a:lnTo>
                  <a:lnTo>
                    <a:pt x="1537" y="327"/>
                  </a:lnTo>
                  <a:lnTo>
                    <a:pt x="1537" y="329"/>
                  </a:lnTo>
                  <a:lnTo>
                    <a:pt x="1537" y="329"/>
                  </a:lnTo>
                  <a:lnTo>
                    <a:pt x="1538" y="330"/>
                  </a:lnTo>
                  <a:lnTo>
                    <a:pt x="1538" y="330"/>
                  </a:lnTo>
                  <a:lnTo>
                    <a:pt x="1537" y="333"/>
                  </a:lnTo>
                  <a:lnTo>
                    <a:pt x="1535" y="335"/>
                  </a:lnTo>
                  <a:lnTo>
                    <a:pt x="1535" y="336"/>
                  </a:lnTo>
                  <a:lnTo>
                    <a:pt x="1535" y="335"/>
                  </a:lnTo>
                  <a:lnTo>
                    <a:pt x="1537" y="336"/>
                  </a:lnTo>
                  <a:lnTo>
                    <a:pt x="1537" y="335"/>
                  </a:lnTo>
                  <a:lnTo>
                    <a:pt x="1535" y="335"/>
                  </a:lnTo>
                  <a:lnTo>
                    <a:pt x="1537" y="336"/>
                  </a:lnTo>
                  <a:lnTo>
                    <a:pt x="1537" y="335"/>
                  </a:lnTo>
                  <a:lnTo>
                    <a:pt x="1537" y="336"/>
                  </a:lnTo>
                  <a:lnTo>
                    <a:pt x="1537" y="335"/>
                  </a:lnTo>
                  <a:lnTo>
                    <a:pt x="1537" y="335"/>
                  </a:lnTo>
                  <a:lnTo>
                    <a:pt x="1537" y="336"/>
                  </a:lnTo>
                  <a:lnTo>
                    <a:pt x="1537" y="335"/>
                  </a:lnTo>
                  <a:lnTo>
                    <a:pt x="1537" y="336"/>
                  </a:lnTo>
                  <a:lnTo>
                    <a:pt x="1538" y="335"/>
                  </a:lnTo>
                  <a:lnTo>
                    <a:pt x="1538" y="335"/>
                  </a:lnTo>
                  <a:lnTo>
                    <a:pt x="1537" y="335"/>
                  </a:lnTo>
                  <a:lnTo>
                    <a:pt x="1537" y="336"/>
                  </a:lnTo>
                  <a:lnTo>
                    <a:pt x="1538" y="335"/>
                  </a:lnTo>
                  <a:lnTo>
                    <a:pt x="1538" y="336"/>
                  </a:lnTo>
                  <a:lnTo>
                    <a:pt x="1538" y="335"/>
                  </a:lnTo>
                  <a:lnTo>
                    <a:pt x="1538" y="335"/>
                  </a:lnTo>
                  <a:lnTo>
                    <a:pt x="1538" y="336"/>
                  </a:lnTo>
                  <a:lnTo>
                    <a:pt x="1538" y="335"/>
                  </a:lnTo>
                  <a:lnTo>
                    <a:pt x="1538" y="335"/>
                  </a:lnTo>
                  <a:lnTo>
                    <a:pt x="1537" y="335"/>
                  </a:lnTo>
                  <a:lnTo>
                    <a:pt x="1537" y="335"/>
                  </a:lnTo>
                  <a:lnTo>
                    <a:pt x="1535" y="332"/>
                  </a:lnTo>
                  <a:lnTo>
                    <a:pt x="1535" y="332"/>
                  </a:lnTo>
                  <a:lnTo>
                    <a:pt x="1534" y="330"/>
                  </a:lnTo>
                  <a:lnTo>
                    <a:pt x="1534" y="330"/>
                  </a:lnTo>
                  <a:lnTo>
                    <a:pt x="1531" y="329"/>
                  </a:lnTo>
                  <a:lnTo>
                    <a:pt x="1531" y="329"/>
                  </a:lnTo>
                  <a:lnTo>
                    <a:pt x="1528" y="330"/>
                  </a:lnTo>
                  <a:lnTo>
                    <a:pt x="1528" y="330"/>
                  </a:lnTo>
                  <a:lnTo>
                    <a:pt x="1528" y="330"/>
                  </a:lnTo>
                  <a:lnTo>
                    <a:pt x="1527" y="330"/>
                  </a:lnTo>
                  <a:lnTo>
                    <a:pt x="1527" y="330"/>
                  </a:lnTo>
                  <a:lnTo>
                    <a:pt x="1522" y="327"/>
                  </a:lnTo>
                  <a:lnTo>
                    <a:pt x="1522" y="327"/>
                  </a:lnTo>
                  <a:lnTo>
                    <a:pt x="1519" y="326"/>
                  </a:lnTo>
                  <a:lnTo>
                    <a:pt x="1515" y="324"/>
                  </a:lnTo>
                  <a:lnTo>
                    <a:pt x="1515" y="324"/>
                  </a:lnTo>
                  <a:lnTo>
                    <a:pt x="1511" y="324"/>
                  </a:lnTo>
                  <a:lnTo>
                    <a:pt x="1511" y="324"/>
                  </a:lnTo>
                  <a:lnTo>
                    <a:pt x="1503" y="324"/>
                  </a:lnTo>
                  <a:lnTo>
                    <a:pt x="1503" y="324"/>
                  </a:lnTo>
                  <a:lnTo>
                    <a:pt x="1502" y="326"/>
                  </a:lnTo>
                  <a:lnTo>
                    <a:pt x="1502" y="326"/>
                  </a:lnTo>
                  <a:lnTo>
                    <a:pt x="1500" y="327"/>
                  </a:lnTo>
                  <a:lnTo>
                    <a:pt x="1500" y="327"/>
                  </a:lnTo>
                  <a:lnTo>
                    <a:pt x="1499" y="329"/>
                  </a:lnTo>
                  <a:lnTo>
                    <a:pt x="1499" y="329"/>
                  </a:lnTo>
                  <a:lnTo>
                    <a:pt x="1500" y="332"/>
                  </a:lnTo>
                  <a:lnTo>
                    <a:pt x="1500" y="332"/>
                  </a:lnTo>
                  <a:lnTo>
                    <a:pt x="1500" y="332"/>
                  </a:lnTo>
                  <a:lnTo>
                    <a:pt x="1500" y="333"/>
                  </a:lnTo>
                  <a:lnTo>
                    <a:pt x="1500" y="333"/>
                  </a:lnTo>
                  <a:lnTo>
                    <a:pt x="1499" y="342"/>
                  </a:lnTo>
                  <a:lnTo>
                    <a:pt x="1499" y="342"/>
                  </a:lnTo>
                  <a:lnTo>
                    <a:pt x="1499" y="346"/>
                  </a:lnTo>
                  <a:lnTo>
                    <a:pt x="1499" y="346"/>
                  </a:lnTo>
                  <a:lnTo>
                    <a:pt x="1502" y="352"/>
                  </a:lnTo>
                  <a:lnTo>
                    <a:pt x="1506" y="358"/>
                  </a:lnTo>
                  <a:lnTo>
                    <a:pt x="1506" y="358"/>
                  </a:lnTo>
                  <a:lnTo>
                    <a:pt x="1511" y="362"/>
                  </a:lnTo>
                  <a:lnTo>
                    <a:pt x="1511" y="362"/>
                  </a:lnTo>
                  <a:lnTo>
                    <a:pt x="1515" y="365"/>
                  </a:lnTo>
                  <a:lnTo>
                    <a:pt x="1515" y="365"/>
                  </a:lnTo>
                  <a:lnTo>
                    <a:pt x="1524" y="368"/>
                  </a:lnTo>
                  <a:lnTo>
                    <a:pt x="1524" y="368"/>
                  </a:lnTo>
                  <a:lnTo>
                    <a:pt x="1528" y="369"/>
                  </a:lnTo>
                  <a:lnTo>
                    <a:pt x="1528" y="369"/>
                  </a:lnTo>
                  <a:lnTo>
                    <a:pt x="1531" y="371"/>
                  </a:lnTo>
                  <a:lnTo>
                    <a:pt x="1531" y="371"/>
                  </a:lnTo>
                  <a:lnTo>
                    <a:pt x="1532" y="375"/>
                  </a:lnTo>
                  <a:lnTo>
                    <a:pt x="1532" y="379"/>
                  </a:lnTo>
                  <a:lnTo>
                    <a:pt x="1532" y="379"/>
                  </a:lnTo>
                  <a:lnTo>
                    <a:pt x="1532" y="384"/>
                  </a:lnTo>
                  <a:lnTo>
                    <a:pt x="1531" y="387"/>
                  </a:lnTo>
                  <a:lnTo>
                    <a:pt x="1531" y="387"/>
                  </a:lnTo>
                  <a:lnTo>
                    <a:pt x="1531" y="387"/>
                  </a:lnTo>
                  <a:lnTo>
                    <a:pt x="1531" y="387"/>
                  </a:lnTo>
                  <a:lnTo>
                    <a:pt x="1531" y="387"/>
                  </a:lnTo>
                  <a:lnTo>
                    <a:pt x="1531" y="387"/>
                  </a:lnTo>
                  <a:lnTo>
                    <a:pt x="1531" y="387"/>
                  </a:lnTo>
                  <a:lnTo>
                    <a:pt x="1531" y="387"/>
                  </a:lnTo>
                  <a:lnTo>
                    <a:pt x="1531" y="387"/>
                  </a:lnTo>
                  <a:lnTo>
                    <a:pt x="1531" y="385"/>
                  </a:lnTo>
                  <a:lnTo>
                    <a:pt x="1531" y="387"/>
                  </a:lnTo>
                  <a:lnTo>
                    <a:pt x="1531" y="387"/>
                  </a:lnTo>
                  <a:lnTo>
                    <a:pt x="1531" y="385"/>
                  </a:lnTo>
                  <a:lnTo>
                    <a:pt x="1531" y="385"/>
                  </a:lnTo>
                  <a:lnTo>
                    <a:pt x="1531" y="385"/>
                  </a:lnTo>
                  <a:lnTo>
                    <a:pt x="1529" y="385"/>
                  </a:lnTo>
                  <a:lnTo>
                    <a:pt x="1529" y="385"/>
                  </a:lnTo>
                  <a:lnTo>
                    <a:pt x="1525" y="381"/>
                  </a:lnTo>
                  <a:lnTo>
                    <a:pt x="1525" y="381"/>
                  </a:lnTo>
                  <a:lnTo>
                    <a:pt x="1522" y="379"/>
                  </a:lnTo>
                  <a:lnTo>
                    <a:pt x="1518" y="379"/>
                  </a:lnTo>
                  <a:lnTo>
                    <a:pt x="1518" y="379"/>
                  </a:lnTo>
                  <a:lnTo>
                    <a:pt x="1515" y="379"/>
                  </a:lnTo>
                  <a:lnTo>
                    <a:pt x="1515" y="379"/>
                  </a:lnTo>
                  <a:lnTo>
                    <a:pt x="1506" y="382"/>
                  </a:lnTo>
                  <a:lnTo>
                    <a:pt x="1498" y="382"/>
                  </a:lnTo>
                  <a:lnTo>
                    <a:pt x="1498" y="382"/>
                  </a:lnTo>
                  <a:lnTo>
                    <a:pt x="1498" y="382"/>
                  </a:lnTo>
                  <a:lnTo>
                    <a:pt x="1496" y="382"/>
                  </a:lnTo>
                  <a:lnTo>
                    <a:pt x="1495" y="381"/>
                  </a:lnTo>
                  <a:lnTo>
                    <a:pt x="1495" y="381"/>
                  </a:lnTo>
                  <a:lnTo>
                    <a:pt x="1493" y="378"/>
                  </a:lnTo>
                  <a:lnTo>
                    <a:pt x="1493" y="375"/>
                  </a:lnTo>
                  <a:lnTo>
                    <a:pt x="1493" y="375"/>
                  </a:lnTo>
                  <a:lnTo>
                    <a:pt x="1493" y="372"/>
                  </a:lnTo>
                  <a:lnTo>
                    <a:pt x="1493" y="372"/>
                  </a:lnTo>
                  <a:lnTo>
                    <a:pt x="1495" y="358"/>
                  </a:lnTo>
                  <a:lnTo>
                    <a:pt x="1495" y="335"/>
                  </a:lnTo>
                  <a:lnTo>
                    <a:pt x="1495" y="335"/>
                  </a:lnTo>
                  <a:lnTo>
                    <a:pt x="1495" y="322"/>
                  </a:lnTo>
                  <a:lnTo>
                    <a:pt x="1495" y="322"/>
                  </a:lnTo>
                  <a:lnTo>
                    <a:pt x="1495" y="317"/>
                  </a:lnTo>
                  <a:lnTo>
                    <a:pt x="1495" y="317"/>
                  </a:lnTo>
                  <a:lnTo>
                    <a:pt x="1493" y="314"/>
                  </a:lnTo>
                  <a:lnTo>
                    <a:pt x="1493" y="314"/>
                  </a:lnTo>
                  <a:lnTo>
                    <a:pt x="1487" y="307"/>
                  </a:lnTo>
                  <a:lnTo>
                    <a:pt x="1487" y="307"/>
                  </a:lnTo>
                  <a:lnTo>
                    <a:pt x="1485" y="306"/>
                  </a:lnTo>
                  <a:lnTo>
                    <a:pt x="1485" y="306"/>
                  </a:lnTo>
                  <a:lnTo>
                    <a:pt x="1482" y="304"/>
                  </a:lnTo>
                  <a:lnTo>
                    <a:pt x="1482" y="304"/>
                  </a:lnTo>
                  <a:lnTo>
                    <a:pt x="1480" y="304"/>
                  </a:lnTo>
                  <a:lnTo>
                    <a:pt x="1480" y="304"/>
                  </a:lnTo>
                  <a:lnTo>
                    <a:pt x="1479" y="306"/>
                  </a:lnTo>
                  <a:lnTo>
                    <a:pt x="1479" y="306"/>
                  </a:lnTo>
                  <a:lnTo>
                    <a:pt x="1479" y="307"/>
                  </a:lnTo>
                  <a:lnTo>
                    <a:pt x="1479" y="307"/>
                  </a:lnTo>
                  <a:lnTo>
                    <a:pt x="1477" y="313"/>
                  </a:lnTo>
                  <a:lnTo>
                    <a:pt x="1477" y="313"/>
                  </a:lnTo>
                  <a:lnTo>
                    <a:pt x="1476" y="337"/>
                  </a:lnTo>
                  <a:lnTo>
                    <a:pt x="1476" y="337"/>
                  </a:lnTo>
                  <a:lnTo>
                    <a:pt x="1473" y="342"/>
                  </a:lnTo>
                  <a:lnTo>
                    <a:pt x="1473" y="342"/>
                  </a:lnTo>
                  <a:lnTo>
                    <a:pt x="1464" y="350"/>
                  </a:lnTo>
                  <a:lnTo>
                    <a:pt x="1464" y="350"/>
                  </a:lnTo>
                  <a:lnTo>
                    <a:pt x="1460" y="355"/>
                  </a:lnTo>
                  <a:lnTo>
                    <a:pt x="1460" y="355"/>
                  </a:lnTo>
                  <a:lnTo>
                    <a:pt x="1457" y="358"/>
                  </a:lnTo>
                  <a:lnTo>
                    <a:pt x="1457" y="362"/>
                  </a:lnTo>
                  <a:lnTo>
                    <a:pt x="1457" y="362"/>
                  </a:lnTo>
                  <a:lnTo>
                    <a:pt x="1457" y="362"/>
                  </a:lnTo>
                  <a:lnTo>
                    <a:pt x="1457" y="362"/>
                  </a:lnTo>
                  <a:lnTo>
                    <a:pt x="1456" y="366"/>
                  </a:lnTo>
                  <a:lnTo>
                    <a:pt x="1454" y="369"/>
                  </a:lnTo>
                  <a:lnTo>
                    <a:pt x="1454" y="369"/>
                  </a:lnTo>
                  <a:lnTo>
                    <a:pt x="1451" y="374"/>
                  </a:lnTo>
                  <a:lnTo>
                    <a:pt x="1448" y="379"/>
                  </a:lnTo>
                  <a:lnTo>
                    <a:pt x="1448" y="379"/>
                  </a:lnTo>
                  <a:lnTo>
                    <a:pt x="1448" y="382"/>
                  </a:lnTo>
                  <a:lnTo>
                    <a:pt x="1448" y="382"/>
                  </a:lnTo>
                  <a:lnTo>
                    <a:pt x="1450" y="387"/>
                  </a:lnTo>
                  <a:lnTo>
                    <a:pt x="1451" y="391"/>
                  </a:lnTo>
                  <a:lnTo>
                    <a:pt x="1451" y="391"/>
                  </a:lnTo>
                  <a:lnTo>
                    <a:pt x="1460" y="403"/>
                  </a:lnTo>
                  <a:lnTo>
                    <a:pt x="1460" y="403"/>
                  </a:lnTo>
                  <a:lnTo>
                    <a:pt x="1467" y="410"/>
                  </a:lnTo>
                  <a:lnTo>
                    <a:pt x="1467" y="410"/>
                  </a:lnTo>
                  <a:lnTo>
                    <a:pt x="1467" y="411"/>
                  </a:lnTo>
                  <a:lnTo>
                    <a:pt x="1467" y="411"/>
                  </a:lnTo>
                  <a:lnTo>
                    <a:pt x="1466" y="417"/>
                  </a:lnTo>
                  <a:lnTo>
                    <a:pt x="1466" y="417"/>
                  </a:lnTo>
                  <a:lnTo>
                    <a:pt x="1464" y="419"/>
                  </a:lnTo>
                  <a:lnTo>
                    <a:pt x="1464" y="419"/>
                  </a:lnTo>
                  <a:lnTo>
                    <a:pt x="1464" y="421"/>
                  </a:lnTo>
                  <a:lnTo>
                    <a:pt x="1464" y="421"/>
                  </a:lnTo>
                  <a:lnTo>
                    <a:pt x="1464" y="421"/>
                  </a:lnTo>
                  <a:lnTo>
                    <a:pt x="1461" y="442"/>
                  </a:lnTo>
                  <a:lnTo>
                    <a:pt x="1461" y="442"/>
                  </a:lnTo>
                  <a:lnTo>
                    <a:pt x="1458" y="469"/>
                  </a:lnTo>
                  <a:lnTo>
                    <a:pt x="1458" y="469"/>
                  </a:lnTo>
                  <a:lnTo>
                    <a:pt x="1460" y="485"/>
                  </a:lnTo>
                  <a:lnTo>
                    <a:pt x="1460" y="485"/>
                  </a:lnTo>
                  <a:lnTo>
                    <a:pt x="1461" y="491"/>
                  </a:lnTo>
                  <a:lnTo>
                    <a:pt x="1461" y="491"/>
                  </a:lnTo>
                  <a:lnTo>
                    <a:pt x="1463" y="494"/>
                  </a:lnTo>
                  <a:lnTo>
                    <a:pt x="1464" y="495"/>
                  </a:lnTo>
                  <a:lnTo>
                    <a:pt x="1464" y="495"/>
                  </a:lnTo>
                  <a:lnTo>
                    <a:pt x="1469" y="497"/>
                  </a:lnTo>
                  <a:lnTo>
                    <a:pt x="1469" y="497"/>
                  </a:lnTo>
                  <a:lnTo>
                    <a:pt x="1471" y="495"/>
                  </a:lnTo>
                  <a:lnTo>
                    <a:pt x="1471" y="495"/>
                  </a:lnTo>
                  <a:lnTo>
                    <a:pt x="1473" y="494"/>
                  </a:lnTo>
                  <a:lnTo>
                    <a:pt x="1473" y="494"/>
                  </a:lnTo>
                  <a:lnTo>
                    <a:pt x="1476" y="492"/>
                  </a:lnTo>
                  <a:lnTo>
                    <a:pt x="1476" y="492"/>
                  </a:lnTo>
                  <a:lnTo>
                    <a:pt x="1480" y="491"/>
                  </a:lnTo>
                  <a:lnTo>
                    <a:pt x="1483" y="490"/>
                  </a:lnTo>
                  <a:lnTo>
                    <a:pt x="1483" y="490"/>
                  </a:lnTo>
                  <a:lnTo>
                    <a:pt x="1486" y="488"/>
                  </a:lnTo>
                  <a:lnTo>
                    <a:pt x="1489" y="487"/>
                  </a:lnTo>
                  <a:lnTo>
                    <a:pt x="1489" y="487"/>
                  </a:lnTo>
                  <a:lnTo>
                    <a:pt x="1502" y="485"/>
                  </a:lnTo>
                  <a:lnTo>
                    <a:pt x="1502" y="485"/>
                  </a:lnTo>
                  <a:lnTo>
                    <a:pt x="1508" y="485"/>
                  </a:lnTo>
                  <a:lnTo>
                    <a:pt x="1513" y="487"/>
                  </a:lnTo>
                  <a:lnTo>
                    <a:pt x="1513" y="487"/>
                  </a:lnTo>
                  <a:lnTo>
                    <a:pt x="1518" y="490"/>
                  </a:lnTo>
                  <a:lnTo>
                    <a:pt x="1519" y="492"/>
                  </a:lnTo>
                  <a:lnTo>
                    <a:pt x="1519" y="492"/>
                  </a:lnTo>
                  <a:lnTo>
                    <a:pt x="1522" y="503"/>
                  </a:lnTo>
                  <a:lnTo>
                    <a:pt x="1522" y="503"/>
                  </a:lnTo>
                  <a:lnTo>
                    <a:pt x="1525" y="510"/>
                  </a:lnTo>
                  <a:lnTo>
                    <a:pt x="1528" y="516"/>
                  </a:lnTo>
                  <a:lnTo>
                    <a:pt x="1528" y="516"/>
                  </a:lnTo>
                  <a:lnTo>
                    <a:pt x="1534" y="527"/>
                  </a:lnTo>
                  <a:lnTo>
                    <a:pt x="1534" y="527"/>
                  </a:lnTo>
                  <a:lnTo>
                    <a:pt x="1534" y="529"/>
                  </a:lnTo>
                  <a:lnTo>
                    <a:pt x="1534" y="529"/>
                  </a:lnTo>
                  <a:lnTo>
                    <a:pt x="1534" y="530"/>
                  </a:lnTo>
                  <a:lnTo>
                    <a:pt x="1534" y="530"/>
                  </a:lnTo>
                  <a:lnTo>
                    <a:pt x="1528" y="536"/>
                  </a:lnTo>
                  <a:lnTo>
                    <a:pt x="1528" y="536"/>
                  </a:lnTo>
                  <a:lnTo>
                    <a:pt x="1525" y="540"/>
                  </a:lnTo>
                  <a:lnTo>
                    <a:pt x="1522" y="547"/>
                  </a:lnTo>
                  <a:lnTo>
                    <a:pt x="1522" y="547"/>
                  </a:lnTo>
                  <a:lnTo>
                    <a:pt x="1522" y="552"/>
                  </a:lnTo>
                  <a:lnTo>
                    <a:pt x="1522" y="552"/>
                  </a:lnTo>
                  <a:lnTo>
                    <a:pt x="1524" y="559"/>
                  </a:lnTo>
                  <a:lnTo>
                    <a:pt x="1528" y="565"/>
                  </a:lnTo>
                  <a:lnTo>
                    <a:pt x="1528" y="565"/>
                  </a:lnTo>
                  <a:lnTo>
                    <a:pt x="1534" y="569"/>
                  </a:lnTo>
                  <a:lnTo>
                    <a:pt x="1538" y="571"/>
                  </a:lnTo>
                  <a:lnTo>
                    <a:pt x="1538" y="571"/>
                  </a:lnTo>
                  <a:lnTo>
                    <a:pt x="1540" y="572"/>
                  </a:lnTo>
                  <a:lnTo>
                    <a:pt x="1540" y="572"/>
                  </a:lnTo>
                  <a:lnTo>
                    <a:pt x="1541" y="571"/>
                  </a:lnTo>
                  <a:lnTo>
                    <a:pt x="1540" y="572"/>
                  </a:lnTo>
                  <a:lnTo>
                    <a:pt x="1540" y="572"/>
                  </a:lnTo>
                  <a:lnTo>
                    <a:pt x="1541" y="571"/>
                  </a:lnTo>
                  <a:lnTo>
                    <a:pt x="1540" y="572"/>
                  </a:lnTo>
                  <a:lnTo>
                    <a:pt x="1541" y="571"/>
                  </a:lnTo>
                  <a:lnTo>
                    <a:pt x="1540" y="571"/>
                  </a:lnTo>
                  <a:lnTo>
                    <a:pt x="1540" y="572"/>
                  </a:lnTo>
                  <a:lnTo>
                    <a:pt x="1541" y="571"/>
                  </a:lnTo>
                  <a:lnTo>
                    <a:pt x="1540" y="571"/>
                  </a:lnTo>
                  <a:lnTo>
                    <a:pt x="1541" y="571"/>
                  </a:lnTo>
                  <a:lnTo>
                    <a:pt x="1540" y="569"/>
                  </a:lnTo>
                  <a:lnTo>
                    <a:pt x="1540" y="569"/>
                  </a:lnTo>
                  <a:lnTo>
                    <a:pt x="1540" y="571"/>
                  </a:lnTo>
                  <a:lnTo>
                    <a:pt x="1541" y="571"/>
                  </a:lnTo>
                  <a:lnTo>
                    <a:pt x="1540" y="569"/>
                  </a:lnTo>
                  <a:lnTo>
                    <a:pt x="1540" y="569"/>
                  </a:lnTo>
                  <a:lnTo>
                    <a:pt x="1540" y="569"/>
                  </a:lnTo>
                  <a:lnTo>
                    <a:pt x="1540" y="569"/>
                  </a:lnTo>
                  <a:lnTo>
                    <a:pt x="1540" y="569"/>
                  </a:lnTo>
                  <a:lnTo>
                    <a:pt x="1540" y="569"/>
                  </a:lnTo>
                  <a:lnTo>
                    <a:pt x="1540" y="569"/>
                  </a:lnTo>
                  <a:lnTo>
                    <a:pt x="1538" y="571"/>
                  </a:lnTo>
                  <a:lnTo>
                    <a:pt x="1538" y="571"/>
                  </a:lnTo>
                  <a:lnTo>
                    <a:pt x="1532" y="571"/>
                  </a:lnTo>
                  <a:lnTo>
                    <a:pt x="1532" y="571"/>
                  </a:lnTo>
                  <a:lnTo>
                    <a:pt x="1528" y="572"/>
                  </a:lnTo>
                  <a:lnTo>
                    <a:pt x="1524" y="574"/>
                  </a:lnTo>
                  <a:lnTo>
                    <a:pt x="1524" y="574"/>
                  </a:lnTo>
                  <a:lnTo>
                    <a:pt x="1519" y="579"/>
                  </a:lnTo>
                  <a:lnTo>
                    <a:pt x="1519" y="579"/>
                  </a:lnTo>
                  <a:lnTo>
                    <a:pt x="1519" y="579"/>
                  </a:lnTo>
                  <a:lnTo>
                    <a:pt x="1519" y="579"/>
                  </a:lnTo>
                  <a:lnTo>
                    <a:pt x="1519" y="579"/>
                  </a:lnTo>
                  <a:lnTo>
                    <a:pt x="1519" y="579"/>
                  </a:lnTo>
                  <a:lnTo>
                    <a:pt x="1519" y="579"/>
                  </a:lnTo>
                  <a:lnTo>
                    <a:pt x="1519" y="579"/>
                  </a:lnTo>
                  <a:lnTo>
                    <a:pt x="1519" y="579"/>
                  </a:lnTo>
                  <a:lnTo>
                    <a:pt x="1519" y="579"/>
                  </a:lnTo>
                  <a:lnTo>
                    <a:pt x="1519" y="579"/>
                  </a:lnTo>
                  <a:lnTo>
                    <a:pt x="1519" y="579"/>
                  </a:lnTo>
                  <a:lnTo>
                    <a:pt x="1519" y="578"/>
                  </a:lnTo>
                  <a:lnTo>
                    <a:pt x="1519" y="578"/>
                  </a:lnTo>
                  <a:lnTo>
                    <a:pt x="1518" y="576"/>
                  </a:lnTo>
                  <a:lnTo>
                    <a:pt x="1518" y="576"/>
                  </a:lnTo>
                  <a:lnTo>
                    <a:pt x="1515" y="572"/>
                  </a:lnTo>
                  <a:lnTo>
                    <a:pt x="1515" y="572"/>
                  </a:lnTo>
                  <a:lnTo>
                    <a:pt x="1515" y="572"/>
                  </a:lnTo>
                  <a:lnTo>
                    <a:pt x="1515" y="572"/>
                  </a:lnTo>
                  <a:lnTo>
                    <a:pt x="1515" y="572"/>
                  </a:lnTo>
                  <a:lnTo>
                    <a:pt x="1515" y="572"/>
                  </a:lnTo>
                  <a:lnTo>
                    <a:pt x="1515" y="572"/>
                  </a:lnTo>
                  <a:lnTo>
                    <a:pt x="1515" y="572"/>
                  </a:lnTo>
                  <a:lnTo>
                    <a:pt x="1513" y="568"/>
                  </a:lnTo>
                  <a:lnTo>
                    <a:pt x="1513" y="568"/>
                  </a:lnTo>
                  <a:lnTo>
                    <a:pt x="1513" y="562"/>
                  </a:lnTo>
                  <a:lnTo>
                    <a:pt x="1513" y="562"/>
                  </a:lnTo>
                  <a:lnTo>
                    <a:pt x="1513" y="537"/>
                  </a:lnTo>
                  <a:lnTo>
                    <a:pt x="1513" y="537"/>
                  </a:lnTo>
                  <a:lnTo>
                    <a:pt x="1513" y="532"/>
                  </a:lnTo>
                  <a:lnTo>
                    <a:pt x="1513" y="532"/>
                  </a:lnTo>
                  <a:lnTo>
                    <a:pt x="1513" y="523"/>
                  </a:lnTo>
                  <a:lnTo>
                    <a:pt x="1511" y="514"/>
                  </a:lnTo>
                  <a:lnTo>
                    <a:pt x="1511" y="514"/>
                  </a:lnTo>
                  <a:lnTo>
                    <a:pt x="1508" y="507"/>
                  </a:lnTo>
                  <a:lnTo>
                    <a:pt x="1508" y="507"/>
                  </a:lnTo>
                  <a:lnTo>
                    <a:pt x="1503" y="501"/>
                  </a:lnTo>
                  <a:lnTo>
                    <a:pt x="1503" y="501"/>
                  </a:lnTo>
                  <a:lnTo>
                    <a:pt x="1500" y="501"/>
                  </a:lnTo>
                  <a:lnTo>
                    <a:pt x="1500" y="501"/>
                  </a:lnTo>
                  <a:lnTo>
                    <a:pt x="1496" y="501"/>
                  </a:lnTo>
                  <a:lnTo>
                    <a:pt x="1496" y="501"/>
                  </a:lnTo>
                  <a:lnTo>
                    <a:pt x="1487" y="507"/>
                  </a:lnTo>
                  <a:lnTo>
                    <a:pt x="1477" y="513"/>
                  </a:lnTo>
                  <a:lnTo>
                    <a:pt x="1477" y="513"/>
                  </a:lnTo>
                  <a:lnTo>
                    <a:pt x="1470" y="520"/>
                  </a:lnTo>
                  <a:lnTo>
                    <a:pt x="1470" y="520"/>
                  </a:lnTo>
                  <a:lnTo>
                    <a:pt x="1467" y="523"/>
                  </a:lnTo>
                  <a:lnTo>
                    <a:pt x="1467" y="523"/>
                  </a:lnTo>
                  <a:lnTo>
                    <a:pt x="1466" y="524"/>
                  </a:lnTo>
                  <a:lnTo>
                    <a:pt x="1466" y="524"/>
                  </a:lnTo>
                  <a:lnTo>
                    <a:pt x="1464" y="529"/>
                  </a:lnTo>
                  <a:lnTo>
                    <a:pt x="1464" y="529"/>
                  </a:lnTo>
                  <a:lnTo>
                    <a:pt x="1466" y="532"/>
                  </a:lnTo>
                  <a:lnTo>
                    <a:pt x="1466" y="532"/>
                  </a:lnTo>
                  <a:lnTo>
                    <a:pt x="1470" y="539"/>
                  </a:lnTo>
                  <a:lnTo>
                    <a:pt x="1470" y="539"/>
                  </a:lnTo>
                  <a:lnTo>
                    <a:pt x="1471" y="542"/>
                  </a:lnTo>
                  <a:lnTo>
                    <a:pt x="1471" y="542"/>
                  </a:lnTo>
                  <a:lnTo>
                    <a:pt x="1470" y="547"/>
                  </a:lnTo>
                  <a:lnTo>
                    <a:pt x="1467" y="555"/>
                  </a:lnTo>
                  <a:lnTo>
                    <a:pt x="1467" y="555"/>
                  </a:lnTo>
                  <a:lnTo>
                    <a:pt x="1460" y="574"/>
                  </a:lnTo>
                  <a:lnTo>
                    <a:pt x="1460" y="574"/>
                  </a:lnTo>
                  <a:lnTo>
                    <a:pt x="1454" y="584"/>
                  </a:lnTo>
                  <a:lnTo>
                    <a:pt x="1448" y="594"/>
                  </a:lnTo>
                  <a:lnTo>
                    <a:pt x="1448" y="594"/>
                  </a:lnTo>
                  <a:lnTo>
                    <a:pt x="1443" y="603"/>
                  </a:lnTo>
                  <a:lnTo>
                    <a:pt x="1443" y="603"/>
                  </a:lnTo>
                  <a:lnTo>
                    <a:pt x="1438" y="607"/>
                  </a:lnTo>
                  <a:lnTo>
                    <a:pt x="1438" y="607"/>
                  </a:lnTo>
                  <a:lnTo>
                    <a:pt x="1437" y="610"/>
                  </a:lnTo>
                  <a:lnTo>
                    <a:pt x="1437" y="611"/>
                  </a:lnTo>
                  <a:lnTo>
                    <a:pt x="1437" y="611"/>
                  </a:lnTo>
                  <a:lnTo>
                    <a:pt x="1438" y="616"/>
                  </a:lnTo>
                  <a:lnTo>
                    <a:pt x="1438" y="616"/>
                  </a:lnTo>
                  <a:lnTo>
                    <a:pt x="1443" y="623"/>
                  </a:lnTo>
                  <a:lnTo>
                    <a:pt x="1443" y="623"/>
                  </a:lnTo>
                  <a:lnTo>
                    <a:pt x="1447" y="629"/>
                  </a:lnTo>
                  <a:lnTo>
                    <a:pt x="1447" y="629"/>
                  </a:lnTo>
                  <a:lnTo>
                    <a:pt x="1450" y="633"/>
                  </a:lnTo>
                  <a:lnTo>
                    <a:pt x="1450" y="639"/>
                  </a:lnTo>
                  <a:lnTo>
                    <a:pt x="1450" y="639"/>
                  </a:lnTo>
                  <a:lnTo>
                    <a:pt x="1450" y="642"/>
                  </a:lnTo>
                  <a:lnTo>
                    <a:pt x="1448" y="646"/>
                  </a:lnTo>
                  <a:lnTo>
                    <a:pt x="1448" y="646"/>
                  </a:lnTo>
                  <a:lnTo>
                    <a:pt x="1448" y="646"/>
                  </a:lnTo>
                  <a:lnTo>
                    <a:pt x="1448" y="646"/>
                  </a:lnTo>
                  <a:lnTo>
                    <a:pt x="1448" y="646"/>
                  </a:lnTo>
                  <a:lnTo>
                    <a:pt x="1448" y="646"/>
                  </a:lnTo>
                  <a:lnTo>
                    <a:pt x="1448" y="647"/>
                  </a:lnTo>
                  <a:lnTo>
                    <a:pt x="1448" y="646"/>
                  </a:lnTo>
                  <a:lnTo>
                    <a:pt x="1448" y="646"/>
                  </a:lnTo>
                  <a:lnTo>
                    <a:pt x="1448" y="646"/>
                  </a:lnTo>
                  <a:lnTo>
                    <a:pt x="1448" y="647"/>
                  </a:lnTo>
                  <a:lnTo>
                    <a:pt x="1448" y="646"/>
                  </a:lnTo>
                  <a:lnTo>
                    <a:pt x="1448" y="646"/>
                  </a:lnTo>
                  <a:lnTo>
                    <a:pt x="1450" y="646"/>
                  </a:lnTo>
                  <a:lnTo>
                    <a:pt x="1448" y="646"/>
                  </a:lnTo>
                  <a:lnTo>
                    <a:pt x="1448" y="646"/>
                  </a:lnTo>
                  <a:lnTo>
                    <a:pt x="1450" y="646"/>
                  </a:lnTo>
                  <a:lnTo>
                    <a:pt x="1450" y="646"/>
                  </a:lnTo>
                  <a:lnTo>
                    <a:pt x="1448" y="645"/>
                  </a:lnTo>
                  <a:lnTo>
                    <a:pt x="1448" y="645"/>
                  </a:lnTo>
                  <a:lnTo>
                    <a:pt x="1443" y="630"/>
                  </a:lnTo>
                  <a:lnTo>
                    <a:pt x="1443" y="630"/>
                  </a:lnTo>
                  <a:lnTo>
                    <a:pt x="1438" y="621"/>
                  </a:lnTo>
                  <a:lnTo>
                    <a:pt x="1438" y="621"/>
                  </a:lnTo>
                  <a:lnTo>
                    <a:pt x="1435" y="616"/>
                  </a:lnTo>
                  <a:lnTo>
                    <a:pt x="1435" y="616"/>
                  </a:lnTo>
                  <a:lnTo>
                    <a:pt x="1432" y="613"/>
                  </a:lnTo>
                  <a:lnTo>
                    <a:pt x="1428" y="613"/>
                  </a:lnTo>
                  <a:lnTo>
                    <a:pt x="1428" y="613"/>
                  </a:lnTo>
                  <a:lnTo>
                    <a:pt x="1418" y="611"/>
                  </a:lnTo>
                  <a:lnTo>
                    <a:pt x="1418" y="611"/>
                  </a:lnTo>
                  <a:lnTo>
                    <a:pt x="1408" y="611"/>
                  </a:lnTo>
                  <a:lnTo>
                    <a:pt x="1408" y="611"/>
                  </a:lnTo>
                  <a:lnTo>
                    <a:pt x="1402" y="610"/>
                  </a:lnTo>
                  <a:lnTo>
                    <a:pt x="1396" y="607"/>
                  </a:lnTo>
                  <a:lnTo>
                    <a:pt x="1396" y="607"/>
                  </a:lnTo>
                  <a:lnTo>
                    <a:pt x="1390" y="603"/>
                  </a:lnTo>
                  <a:lnTo>
                    <a:pt x="1386" y="598"/>
                  </a:lnTo>
                  <a:lnTo>
                    <a:pt x="1386" y="598"/>
                  </a:lnTo>
                  <a:lnTo>
                    <a:pt x="1383" y="595"/>
                  </a:lnTo>
                  <a:lnTo>
                    <a:pt x="1383" y="595"/>
                  </a:lnTo>
                  <a:lnTo>
                    <a:pt x="1380" y="594"/>
                  </a:lnTo>
                  <a:lnTo>
                    <a:pt x="1380" y="594"/>
                  </a:lnTo>
                  <a:lnTo>
                    <a:pt x="1377" y="595"/>
                  </a:lnTo>
                  <a:lnTo>
                    <a:pt x="1374" y="597"/>
                  </a:lnTo>
                  <a:lnTo>
                    <a:pt x="1374" y="597"/>
                  </a:lnTo>
                  <a:lnTo>
                    <a:pt x="1372" y="598"/>
                  </a:lnTo>
                  <a:lnTo>
                    <a:pt x="1372" y="598"/>
                  </a:lnTo>
                  <a:lnTo>
                    <a:pt x="1372" y="600"/>
                  </a:lnTo>
                  <a:lnTo>
                    <a:pt x="1372" y="598"/>
                  </a:lnTo>
                  <a:lnTo>
                    <a:pt x="1372" y="598"/>
                  </a:lnTo>
                  <a:lnTo>
                    <a:pt x="1372" y="600"/>
                  </a:lnTo>
                  <a:lnTo>
                    <a:pt x="1372" y="598"/>
                  </a:lnTo>
                  <a:lnTo>
                    <a:pt x="1372" y="600"/>
                  </a:lnTo>
                  <a:lnTo>
                    <a:pt x="1373" y="600"/>
                  </a:lnTo>
                  <a:lnTo>
                    <a:pt x="1372" y="598"/>
                  </a:lnTo>
                  <a:lnTo>
                    <a:pt x="1372" y="600"/>
                  </a:lnTo>
                  <a:lnTo>
                    <a:pt x="1373" y="600"/>
                  </a:lnTo>
                  <a:lnTo>
                    <a:pt x="1372" y="600"/>
                  </a:lnTo>
                  <a:lnTo>
                    <a:pt x="1373" y="600"/>
                  </a:lnTo>
                  <a:lnTo>
                    <a:pt x="1373" y="600"/>
                  </a:lnTo>
                  <a:lnTo>
                    <a:pt x="1372" y="600"/>
                  </a:lnTo>
                  <a:lnTo>
                    <a:pt x="1373" y="600"/>
                  </a:lnTo>
                  <a:lnTo>
                    <a:pt x="1373" y="600"/>
                  </a:lnTo>
                  <a:lnTo>
                    <a:pt x="1373" y="600"/>
                  </a:lnTo>
                  <a:lnTo>
                    <a:pt x="1373" y="597"/>
                  </a:lnTo>
                  <a:lnTo>
                    <a:pt x="1373" y="597"/>
                  </a:lnTo>
                  <a:lnTo>
                    <a:pt x="1376" y="594"/>
                  </a:lnTo>
                  <a:lnTo>
                    <a:pt x="1376" y="594"/>
                  </a:lnTo>
                  <a:lnTo>
                    <a:pt x="1376" y="594"/>
                  </a:lnTo>
                  <a:lnTo>
                    <a:pt x="1379" y="594"/>
                  </a:lnTo>
                  <a:lnTo>
                    <a:pt x="1379" y="594"/>
                  </a:lnTo>
                  <a:lnTo>
                    <a:pt x="1386" y="592"/>
                  </a:lnTo>
                  <a:lnTo>
                    <a:pt x="1386" y="592"/>
                  </a:lnTo>
                  <a:lnTo>
                    <a:pt x="1408" y="594"/>
                  </a:lnTo>
                  <a:lnTo>
                    <a:pt x="1408" y="594"/>
                  </a:lnTo>
                  <a:lnTo>
                    <a:pt x="1414" y="594"/>
                  </a:lnTo>
                  <a:lnTo>
                    <a:pt x="1418" y="592"/>
                  </a:lnTo>
                  <a:lnTo>
                    <a:pt x="1418" y="592"/>
                  </a:lnTo>
                  <a:lnTo>
                    <a:pt x="1428" y="587"/>
                  </a:lnTo>
                  <a:lnTo>
                    <a:pt x="1428" y="587"/>
                  </a:lnTo>
                  <a:lnTo>
                    <a:pt x="1432" y="582"/>
                  </a:lnTo>
                  <a:lnTo>
                    <a:pt x="1432" y="582"/>
                  </a:lnTo>
                  <a:lnTo>
                    <a:pt x="1440" y="568"/>
                  </a:lnTo>
                  <a:lnTo>
                    <a:pt x="1445" y="550"/>
                  </a:lnTo>
                  <a:lnTo>
                    <a:pt x="1445" y="550"/>
                  </a:lnTo>
                  <a:lnTo>
                    <a:pt x="1454" y="526"/>
                  </a:lnTo>
                  <a:lnTo>
                    <a:pt x="1454" y="526"/>
                  </a:lnTo>
                  <a:lnTo>
                    <a:pt x="1454" y="521"/>
                  </a:lnTo>
                  <a:lnTo>
                    <a:pt x="1454" y="521"/>
                  </a:lnTo>
                  <a:lnTo>
                    <a:pt x="1453" y="514"/>
                  </a:lnTo>
                  <a:lnTo>
                    <a:pt x="1453" y="514"/>
                  </a:lnTo>
                  <a:lnTo>
                    <a:pt x="1450" y="510"/>
                  </a:lnTo>
                  <a:lnTo>
                    <a:pt x="1447" y="507"/>
                  </a:lnTo>
                  <a:lnTo>
                    <a:pt x="1447" y="507"/>
                  </a:lnTo>
                  <a:lnTo>
                    <a:pt x="1445" y="505"/>
                  </a:lnTo>
                  <a:lnTo>
                    <a:pt x="1445" y="505"/>
                  </a:lnTo>
                  <a:lnTo>
                    <a:pt x="1444" y="498"/>
                  </a:lnTo>
                  <a:lnTo>
                    <a:pt x="1441" y="487"/>
                  </a:lnTo>
                  <a:lnTo>
                    <a:pt x="1441" y="487"/>
                  </a:lnTo>
                  <a:lnTo>
                    <a:pt x="1440" y="463"/>
                  </a:lnTo>
                  <a:lnTo>
                    <a:pt x="1440" y="463"/>
                  </a:lnTo>
                  <a:lnTo>
                    <a:pt x="1440" y="450"/>
                  </a:lnTo>
                  <a:lnTo>
                    <a:pt x="1441" y="439"/>
                  </a:lnTo>
                  <a:lnTo>
                    <a:pt x="1441" y="439"/>
                  </a:lnTo>
                  <a:lnTo>
                    <a:pt x="1444" y="419"/>
                  </a:lnTo>
                  <a:lnTo>
                    <a:pt x="1444" y="419"/>
                  </a:lnTo>
                  <a:lnTo>
                    <a:pt x="1441" y="411"/>
                  </a:lnTo>
                  <a:lnTo>
                    <a:pt x="1441" y="411"/>
                  </a:lnTo>
                  <a:lnTo>
                    <a:pt x="1435" y="398"/>
                  </a:lnTo>
                  <a:lnTo>
                    <a:pt x="1435" y="398"/>
                  </a:lnTo>
                  <a:lnTo>
                    <a:pt x="1429" y="388"/>
                  </a:lnTo>
                  <a:lnTo>
                    <a:pt x="1429" y="388"/>
                  </a:lnTo>
                  <a:lnTo>
                    <a:pt x="1429" y="385"/>
                  </a:lnTo>
                  <a:lnTo>
                    <a:pt x="1429" y="385"/>
                  </a:lnTo>
                  <a:lnTo>
                    <a:pt x="1429" y="382"/>
                  </a:lnTo>
                  <a:lnTo>
                    <a:pt x="1431" y="379"/>
                  </a:lnTo>
                  <a:lnTo>
                    <a:pt x="1431" y="379"/>
                  </a:lnTo>
                  <a:lnTo>
                    <a:pt x="1435" y="374"/>
                  </a:lnTo>
                  <a:lnTo>
                    <a:pt x="1435" y="374"/>
                  </a:lnTo>
                  <a:lnTo>
                    <a:pt x="1437" y="369"/>
                  </a:lnTo>
                  <a:lnTo>
                    <a:pt x="1437" y="369"/>
                  </a:lnTo>
                  <a:lnTo>
                    <a:pt x="1440" y="359"/>
                  </a:lnTo>
                  <a:lnTo>
                    <a:pt x="1441" y="348"/>
                  </a:lnTo>
                  <a:lnTo>
                    <a:pt x="1441" y="348"/>
                  </a:lnTo>
                  <a:lnTo>
                    <a:pt x="1444" y="329"/>
                  </a:lnTo>
                  <a:lnTo>
                    <a:pt x="1444" y="329"/>
                  </a:lnTo>
                  <a:lnTo>
                    <a:pt x="1445" y="324"/>
                  </a:lnTo>
                  <a:lnTo>
                    <a:pt x="1447" y="322"/>
                  </a:lnTo>
                  <a:lnTo>
                    <a:pt x="1447" y="322"/>
                  </a:lnTo>
                  <a:lnTo>
                    <a:pt x="1450" y="319"/>
                  </a:lnTo>
                  <a:lnTo>
                    <a:pt x="1450" y="319"/>
                  </a:lnTo>
                  <a:lnTo>
                    <a:pt x="1451" y="314"/>
                  </a:lnTo>
                  <a:lnTo>
                    <a:pt x="1451" y="314"/>
                  </a:lnTo>
                  <a:lnTo>
                    <a:pt x="1450" y="311"/>
                  </a:lnTo>
                  <a:lnTo>
                    <a:pt x="1448" y="310"/>
                  </a:lnTo>
                  <a:lnTo>
                    <a:pt x="1448" y="310"/>
                  </a:lnTo>
                  <a:lnTo>
                    <a:pt x="1445" y="307"/>
                  </a:lnTo>
                  <a:lnTo>
                    <a:pt x="1443" y="306"/>
                  </a:lnTo>
                  <a:lnTo>
                    <a:pt x="1443" y="306"/>
                  </a:lnTo>
                  <a:lnTo>
                    <a:pt x="1435" y="304"/>
                  </a:lnTo>
                  <a:lnTo>
                    <a:pt x="1435" y="304"/>
                  </a:lnTo>
                  <a:lnTo>
                    <a:pt x="1414" y="306"/>
                  </a:lnTo>
                  <a:lnTo>
                    <a:pt x="1414" y="306"/>
                  </a:lnTo>
                  <a:lnTo>
                    <a:pt x="1408" y="306"/>
                  </a:lnTo>
                  <a:lnTo>
                    <a:pt x="1405" y="304"/>
                  </a:lnTo>
                  <a:lnTo>
                    <a:pt x="1405" y="304"/>
                  </a:lnTo>
                  <a:lnTo>
                    <a:pt x="1401" y="301"/>
                  </a:lnTo>
                  <a:lnTo>
                    <a:pt x="1401" y="301"/>
                  </a:lnTo>
                  <a:lnTo>
                    <a:pt x="1398" y="301"/>
                  </a:lnTo>
                  <a:lnTo>
                    <a:pt x="1398" y="301"/>
                  </a:lnTo>
                  <a:lnTo>
                    <a:pt x="1395" y="301"/>
                  </a:lnTo>
                  <a:lnTo>
                    <a:pt x="1392" y="303"/>
                  </a:lnTo>
                  <a:lnTo>
                    <a:pt x="1392" y="303"/>
                  </a:lnTo>
                  <a:lnTo>
                    <a:pt x="1386" y="307"/>
                  </a:lnTo>
                  <a:lnTo>
                    <a:pt x="1386" y="307"/>
                  </a:lnTo>
                  <a:lnTo>
                    <a:pt x="1385" y="310"/>
                  </a:lnTo>
                  <a:lnTo>
                    <a:pt x="1385" y="313"/>
                  </a:lnTo>
                  <a:lnTo>
                    <a:pt x="1385" y="313"/>
                  </a:lnTo>
                  <a:lnTo>
                    <a:pt x="1382" y="326"/>
                  </a:lnTo>
                  <a:lnTo>
                    <a:pt x="1382" y="326"/>
                  </a:lnTo>
                  <a:lnTo>
                    <a:pt x="1380" y="337"/>
                  </a:lnTo>
                  <a:lnTo>
                    <a:pt x="1374" y="352"/>
                  </a:lnTo>
                  <a:lnTo>
                    <a:pt x="1374" y="352"/>
                  </a:lnTo>
                  <a:lnTo>
                    <a:pt x="1372" y="362"/>
                  </a:lnTo>
                  <a:lnTo>
                    <a:pt x="1366" y="369"/>
                  </a:lnTo>
                  <a:lnTo>
                    <a:pt x="1361" y="375"/>
                  </a:lnTo>
                  <a:lnTo>
                    <a:pt x="1357" y="379"/>
                  </a:lnTo>
                  <a:lnTo>
                    <a:pt x="1357" y="379"/>
                  </a:lnTo>
                  <a:lnTo>
                    <a:pt x="1350" y="385"/>
                  </a:lnTo>
                  <a:lnTo>
                    <a:pt x="1350" y="385"/>
                  </a:lnTo>
                  <a:lnTo>
                    <a:pt x="1347" y="388"/>
                  </a:lnTo>
                  <a:lnTo>
                    <a:pt x="1347" y="388"/>
                  </a:lnTo>
                  <a:lnTo>
                    <a:pt x="1345" y="392"/>
                  </a:lnTo>
                  <a:lnTo>
                    <a:pt x="1345" y="392"/>
                  </a:lnTo>
                  <a:lnTo>
                    <a:pt x="1344" y="395"/>
                  </a:lnTo>
                  <a:lnTo>
                    <a:pt x="1343" y="398"/>
                  </a:lnTo>
                  <a:lnTo>
                    <a:pt x="1343" y="398"/>
                  </a:lnTo>
                  <a:lnTo>
                    <a:pt x="1338" y="407"/>
                  </a:lnTo>
                  <a:lnTo>
                    <a:pt x="1338" y="407"/>
                  </a:lnTo>
                  <a:lnTo>
                    <a:pt x="1338" y="410"/>
                  </a:lnTo>
                  <a:lnTo>
                    <a:pt x="1338" y="410"/>
                  </a:lnTo>
                  <a:lnTo>
                    <a:pt x="1338" y="411"/>
                  </a:lnTo>
                  <a:lnTo>
                    <a:pt x="1338" y="411"/>
                  </a:lnTo>
                  <a:lnTo>
                    <a:pt x="1340" y="414"/>
                  </a:lnTo>
                  <a:lnTo>
                    <a:pt x="1340" y="414"/>
                  </a:lnTo>
                  <a:lnTo>
                    <a:pt x="1343" y="414"/>
                  </a:lnTo>
                  <a:lnTo>
                    <a:pt x="1343" y="414"/>
                  </a:lnTo>
                  <a:lnTo>
                    <a:pt x="1344" y="414"/>
                  </a:lnTo>
                  <a:lnTo>
                    <a:pt x="1344" y="414"/>
                  </a:lnTo>
                  <a:lnTo>
                    <a:pt x="1345" y="414"/>
                  </a:lnTo>
                  <a:lnTo>
                    <a:pt x="1347" y="413"/>
                  </a:lnTo>
                  <a:lnTo>
                    <a:pt x="1345" y="414"/>
                  </a:lnTo>
                  <a:lnTo>
                    <a:pt x="1345" y="414"/>
                  </a:lnTo>
                  <a:lnTo>
                    <a:pt x="1347" y="413"/>
                  </a:lnTo>
                  <a:lnTo>
                    <a:pt x="1345" y="414"/>
                  </a:lnTo>
                  <a:lnTo>
                    <a:pt x="1345" y="413"/>
                  </a:lnTo>
                  <a:lnTo>
                    <a:pt x="1345" y="414"/>
                  </a:lnTo>
                  <a:lnTo>
                    <a:pt x="1345" y="414"/>
                  </a:lnTo>
                  <a:lnTo>
                    <a:pt x="1345" y="413"/>
                  </a:lnTo>
                  <a:lnTo>
                    <a:pt x="1345" y="414"/>
                  </a:lnTo>
                  <a:lnTo>
                    <a:pt x="1345" y="414"/>
                  </a:lnTo>
                  <a:lnTo>
                    <a:pt x="1345" y="416"/>
                  </a:lnTo>
                  <a:lnTo>
                    <a:pt x="1345" y="416"/>
                  </a:lnTo>
                  <a:lnTo>
                    <a:pt x="1347" y="432"/>
                  </a:lnTo>
                  <a:lnTo>
                    <a:pt x="1347" y="432"/>
                  </a:lnTo>
                  <a:lnTo>
                    <a:pt x="1347" y="448"/>
                  </a:lnTo>
                  <a:lnTo>
                    <a:pt x="1347" y="449"/>
                  </a:lnTo>
                  <a:lnTo>
                    <a:pt x="1347" y="449"/>
                  </a:lnTo>
                  <a:lnTo>
                    <a:pt x="1347" y="449"/>
                  </a:lnTo>
                  <a:lnTo>
                    <a:pt x="1347" y="449"/>
                  </a:lnTo>
                  <a:lnTo>
                    <a:pt x="1347" y="449"/>
                  </a:lnTo>
                  <a:lnTo>
                    <a:pt x="1347" y="449"/>
                  </a:lnTo>
                  <a:lnTo>
                    <a:pt x="1348" y="449"/>
                  </a:lnTo>
                  <a:lnTo>
                    <a:pt x="1347" y="448"/>
                  </a:lnTo>
                  <a:lnTo>
                    <a:pt x="1347" y="449"/>
                  </a:lnTo>
                  <a:lnTo>
                    <a:pt x="1348" y="449"/>
                  </a:lnTo>
                  <a:lnTo>
                    <a:pt x="1347" y="448"/>
                  </a:lnTo>
                  <a:lnTo>
                    <a:pt x="1348" y="449"/>
                  </a:lnTo>
                  <a:lnTo>
                    <a:pt x="1348" y="448"/>
                  </a:lnTo>
                  <a:lnTo>
                    <a:pt x="1347" y="448"/>
                  </a:lnTo>
                  <a:lnTo>
                    <a:pt x="1348" y="449"/>
                  </a:lnTo>
                  <a:lnTo>
                    <a:pt x="1348" y="448"/>
                  </a:lnTo>
                  <a:lnTo>
                    <a:pt x="1347" y="448"/>
                  </a:lnTo>
                  <a:lnTo>
                    <a:pt x="1347" y="448"/>
                  </a:lnTo>
                  <a:lnTo>
                    <a:pt x="1345" y="448"/>
                  </a:lnTo>
                  <a:lnTo>
                    <a:pt x="1345" y="448"/>
                  </a:lnTo>
                  <a:lnTo>
                    <a:pt x="1344" y="446"/>
                  </a:lnTo>
                  <a:lnTo>
                    <a:pt x="1344" y="446"/>
                  </a:lnTo>
                  <a:lnTo>
                    <a:pt x="1341" y="448"/>
                  </a:lnTo>
                  <a:lnTo>
                    <a:pt x="1341" y="448"/>
                  </a:lnTo>
                  <a:lnTo>
                    <a:pt x="1341" y="449"/>
                  </a:lnTo>
                  <a:lnTo>
                    <a:pt x="1341" y="449"/>
                  </a:lnTo>
                  <a:lnTo>
                    <a:pt x="1340" y="450"/>
                  </a:lnTo>
                  <a:lnTo>
                    <a:pt x="1340" y="450"/>
                  </a:lnTo>
                  <a:lnTo>
                    <a:pt x="1340" y="458"/>
                  </a:lnTo>
                  <a:lnTo>
                    <a:pt x="1340" y="458"/>
                  </a:lnTo>
                  <a:lnTo>
                    <a:pt x="1340" y="468"/>
                  </a:lnTo>
                  <a:lnTo>
                    <a:pt x="1340" y="468"/>
                  </a:lnTo>
                  <a:lnTo>
                    <a:pt x="1341" y="471"/>
                  </a:lnTo>
                  <a:lnTo>
                    <a:pt x="1343" y="475"/>
                  </a:lnTo>
                  <a:lnTo>
                    <a:pt x="1343" y="475"/>
                  </a:lnTo>
                  <a:lnTo>
                    <a:pt x="1344" y="476"/>
                  </a:lnTo>
                  <a:lnTo>
                    <a:pt x="1344" y="476"/>
                  </a:lnTo>
                  <a:lnTo>
                    <a:pt x="1347" y="478"/>
                  </a:lnTo>
                  <a:lnTo>
                    <a:pt x="1347" y="478"/>
                  </a:lnTo>
                  <a:lnTo>
                    <a:pt x="1350" y="476"/>
                  </a:lnTo>
                  <a:lnTo>
                    <a:pt x="1350" y="476"/>
                  </a:lnTo>
                  <a:lnTo>
                    <a:pt x="1350" y="476"/>
                  </a:lnTo>
                  <a:lnTo>
                    <a:pt x="1353" y="474"/>
                  </a:lnTo>
                  <a:lnTo>
                    <a:pt x="1353" y="472"/>
                  </a:lnTo>
                  <a:lnTo>
                    <a:pt x="1354" y="472"/>
                  </a:lnTo>
                  <a:lnTo>
                    <a:pt x="1353" y="472"/>
                  </a:lnTo>
                  <a:lnTo>
                    <a:pt x="1353" y="472"/>
                  </a:lnTo>
                  <a:lnTo>
                    <a:pt x="1354" y="472"/>
                  </a:lnTo>
                  <a:lnTo>
                    <a:pt x="1353" y="472"/>
                  </a:lnTo>
                  <a:lnTo>
                    <a:pt x="1353" y="472"/>
                  </a:lnTo>
                  <a:lnTo>
                    <a:pt x="1353" y="472"/>
                  </a:lnTo>
                  <a:lnTo>
                    <a:pt x="1353" y="471"/>
                  </a:lnTo>
                  <a:lnTo>
                    <a:pt x="1353" y="472"/>
                  </a:lnTo>
                  <a:lnTo>
                    <a:pt x="1353" y="472"/>
                  </a:lnTo>
                  <a:lnTo>
                    <a:pt x="1353" y="471"/>
                  </a:lnTo>
                  <a:lnTo>
                    <a:pt x="1353" y="472"/>
                  </a:lnTo>
                  <a:lnTo>
                    <a:pt x="1353" y="471"/>
                  </a:lnTo>
                  <a:lnTo>
                    <a:pt x="1353" y="472"/>
                  </a:lnTo>
                  <a:lnTo>
                    <a:pt x="1353" y="472"/>
                  </a:lnTo>
                  <a:lnTo>
                    <a:pt x="1353" y="471"/>
                  </a:lnTo>
                  <a:lnTo>
                    <a:pt x="1353" y="472"/>
                  </a:lnTo>
                  <a:lnTo>
                    <a:pt x="1353" y="471"/>
                  </a:lnTo>
                  <a:lnTo>
                    <a:pt x="1351" y="472"/>
                  </a:lnTo>
                  <a:lnTo>
                    <a:pt x="1353" y="472"/>
                  </a:lnTo>
                  <a:lnTo>
                    <a:pt x="1353" y="471"/>
                  </a:lnTo>
                  <a:lnTo>
                    <a:pt x="1351" y="472"/>
                  </a:lnTo>
                  <a:lnTo>
                    <a:pt x="1353" y="472"/>
                  </a:lnTo>
                  <a:lnTo>
                    <a:pt x="1351" y="472"/>
                  </a:lnTo>
                  <a:lnTo>
                    <a:pt x="1353" y="472"/>
                  </a:lnTo>
                  <a:lnTo>
                    <a:pt x="1351" y="472"/>
                  </a:lnTo>
                  <a:lnTo>
                    <a:pt x="1351" y="472"/>
                  </a:lnTo>
                  <a:lnTo>
                    <a:pt x="1353" y="475"/>
                  </a:lnTo>
                  <a:lnTo>
                    <a:pt x="1353" y="475"/>
                  </a:lnTo>
                  <a:lnTo>
                    <a:pt x="1356" y="484"/>
                  </a:lnTo>
                  <a:lnTo>
                    <a:pt x="1356" y="484"/>
                  </a:lnTo>
                  <a:lnTo>
                    <a:pt x="1357" y="490"/>
                  </a:lnTo>
                  <a:lnTo>
                    <a:pt x="1359" y="494"/>
                  </a:lnTo>
                  <a:lnTo>
                    <a:pt x="1359" y="494"/>
                  </a:lnTo>
                  <a:lnTo>
                    <a:pt x="1361" y="497"/>
                  </a:lnTo>
                  <a:lnTo>
                    <a:pt x="1364" y="500"/>
                  </a:lnTo>
                  <a:lnTo>
                    <a:pt x="1364" y="500"/>
                  </a:lnTo>
                  <a:lnTo>
                    <a:pt x="1369" y="503"/>
                  </a:lnTo>
                  <a:lnTo>
                    <a:pt x="1373" y="503"/>
                  </a:lnTo>
                  <a:lnTo>
                    <a:pt x="1373" y="503"/>
                  </a:lnTo>
                  <a:lnTo>
                    <a:pt x="1377" y="503"/>
                  </a:lnTo>
                  <a:lnTo>
                    <a:pt x="1377" y="503"/>
                  </a:lnTo>
                  <a:lnTo>
                    <a:pt x="1377" y="501"/>
                  </a:lnTo>
                  <a:lnTo>
                    <a:pt x="1377" y="503"/>
                  </a:lnTo>
                  <a:lnTo>
                    <a:pt x="1377" y="503"/>
                  </a:lnTo>
                  <a:lnTo>
                    <a:pt x="1377" y="501"/>
                  </a:lnTo>
                  <a:lnTo>
                    <a:pt x="1377" y="503"/>
                  </a:lnTo>
                  <a:lnTo>
                    <a:pt x="1377" y="501"/>
                  </a:lnTo>
                  <a:lnTo>
                    <a:pt x="1376" y="501"/>
                  </a:lnTo>
                  <a:lnTo>
                    <a:pt x="1376" y="501"/>
                  </a:lnTo>
                  <a:lnTo>
                    <a:pt x="1377" y="503"/>
                  </a:lnTo>
                  <a:lnTo>
                    <a:pt x="1377" y="501"/>
                  </a:lnTo>
                  <a:lnTo>
                    <a:pt x="1376" y="501"/>
                  </a:lnTo>
                  <a:lnTo>
                    <a:pt x="1376" y="501"/>
                  </a:lnTo>
                  <a:lnTo>
                    <a:pt x="1376" y="501"/>
                  </a:lnTo>
                  <a:lnTo>
                    <a:pt x="1376" y="501"/>
                  </a:lnTo>
                  <a:lnTo>
                    <a:pt x="1376" y="501"/>
                  </a:lnTo>
                  <a:lnTo>
                    <a:pt x="1376" y="501"/>
                  </a:lnTo>
                  <a:lnTo>
                    <a:pt x="1376" y="501"/>
                  </a:lnTo>
                  <a:lnTo>
                    <a:pt x="1376" y="504"/>
                  </a:lnTo>
                  <a:lnTo>
                    <a:pt x="1376" y="504"/>
                  </a:lnTo>
                  <a:lnTo>
                    <a:pt x="1373" y="519"/>
                  </a:lnTo>
                  <a:lnTo>
                    <a:pt x="1373" y="519"/>
                  </a:lnTo>
                  <a:lnTo>
                    <a:pt x="1372" y="526"/>
                  </a:lnTo>
                  <a:lnTo>
                    <a:pt x="1372" y="526"/>
                  </a:lnTo>
                  <a:lnTo>
                    <a:pt x="1370" y="530"/>
                  </a:lnTo>
                  <a:lnTo>
                    <a:pt x="1370" y="530"/>
                  </a:lnTo>
                  <a:lnTo>
                    <a:pt x="1370" y="532"/>
                  </a:lnTo>
                  <a:lnTo>
                    <a:pt x="1370" y="530"/>
                  </a:lnTo>
                  <a:lnTo>
                    <a:pt x="1370" y="530"/>
                  </a:lnTo>
                  <a:lnTo>
                    <a:pt x="1370" y="532"/>
                  </a:lnTo>
                  <a:lnTo>
                    <a:pt x="1370" y="530"/>
                  </a:lnTo>
                  <a:lnTo>
                    <a:pt x="1370" y="532"/>
                  </a:lnTo>
                  <a:lnTo>
                    <a:pt x="1370" y="530"/>
                  </a:lnTo>
                  <a:lnTo>
                    <a:pt x="1370" y="530"/>
                  </a:lnTo>
                  <a:lnTo>
                    <a:pt x="1370" y="532"/>
                  </a:lnTo>
                  <a:lnTo>
                    <a:pt x="1370" y="530"/>
                  </a:lnTo>
                  <a:lnTo>
                    <a:pt x="1370" y="532"/>
                  </a:lnTo>
                  <a:lnTo>
                    <a:pt x="1372" y="530"/>
                  </a:lnTo>
                  <a:lnTo>
                    <a:pt x="1370" y="530"/>
                  </a:lnTo>
                  <a:lnTo>
                    <a:pt x="1370" y="532"/>
                  </a:lnTo>
                  <a:lnTo>
                    <a:pt x="1372" y="530"/>
                  </a:lnTo>
                  <a:lnTo>
                    <a:pt x="1372" y="532"/>
                  </a:lnTo>
                  <a:lnTo>
                    <a:pt x="1372" y="530"/>
                  </a:lnTo>
                  <a:lnTo>
                    <a:pt x="1372" y="530"/>
                  </a:lnTo>
                  <a:lnTo>
                    <a:pt x="1372" y="532"/>
                  </a:lnTo>
                  <a:lnTo>
                    <a:pt x="1372" y="530"/>
                  </a:lnTo>
                  <a:lnTo>
                    <a:pt x="1372" y="530"/>
                  </a:lnTo>
                  <a:lnTo>
                    <a:pt x="1370" y="530"/>
                  </a:lnTo>
                  <a:lnTo>
                    <a:pt x="1370" y="530"/>
                  </a:lnTo>
                  <a:lnTo>
                    <a:pt x="1367" y="519"/>
                  </a:lnTo>
                  <a:lnTo>
                    <a:pt x="1367" y="519"/>
                  </a:lnTo>
                  <a:lnTo>
                    <a:pt x="1364" y="511"/>
                  </a:lnTo>
                  <a:lnTo>
                    <a:pt x="1359" y="505"/>
                  </a:lnTo>
                  <a:lnTo>
                    <a:pt x="1359" y="505"/>
                  </a:lnTo>
                  <a:lnTo>
                    <a:pt x="1344" y="494"/>
                  </a:lnTo>
                  <a:lnTo>
                    <a:pt x="1334" y="487"/>
                  </a:lnTo>
                  <a:lnTo>
                    <a:pt x="1334" y="487"/>
                  </a:lnTo>
                  <a:lnTo>
                    <a:pt x="1330" y="482"/>
                  </a:lnTo>
                  <a:lnTo>
                    <a:pt x="1330" y="482"/>
                  </a:lnTo>
                  <a:lnTo>
                    <a:pt x="1318" y="472"/>
                  </a:lnTo>
                  <a:lnTo>
                    <a:pt x="1318" y="472"/>
                  </a:lnTo>
                  <a:lnTo>
                    <a:pt x="1311" y="468"/>
                  </a:lnTo>
                  <a:lnTo>
                    <a:pt x="1303" y="466"/>
                  </a:lnTo>
                  <a:lnTo>
                    <a:pt x="1303" y="466"/>
                  </a:lnTo>
                  <a:lnTo>
                    <a:pt x="1296" y="465"/>
                  </a:lnTo>
                  <a:lnTo>
                    <a:pt x="1289" y="462"/>
                  </a:lnTo>
                  <a:lnTo>
                    <a:pt x="1289" y="462"/>
                  </a:lnTo>
                  <a:lnTo>
                    <a:pt x="1282" y="461"/>
                  </a:lnTo>
                  <a:lnTo>
                    <a:pt x="1273" y="459"/>
                  </a:lnTo>
                  <a:lnTo>
                    <a:pt x="1273" y="459"/>
                  </a:lnTo>
                  <a:lnTo>
                    <a:pt x="1272" y="459"/>
                  </a:lnTo>
                  <a:lnTo>
                    <a:pt x="1272" y="459"/>
                  </a:lnTo>
                  <a:lnTo>
                    <a:pt x="1266" y="459"/>
                  </a:lnTo>
                  <a:lnTo>
                    <a:pt x="1263" y="458"/>
                  </a:lnTo>
                  <a:lnTo>
                    <a:pt x="1263" y="458"/>
                  </a:lnTo>
                  <a:lnTo>
                    <a:pt x="1257" y="453"/>
                  </a:lnTo>
                  <a:lnTo>
                    <a:pt x="1257" y="453"/>
                  </a:lnTo>
                  <a:lnTo>
                    <a:pt x="1254" y="452"/>
                  </a:lnTo>
                  <a:lnTo>
                    <a:pt x="1254" y="452"/>
                  </a:lnTo>
                  <a:lnTo>
                    <a:pt x="1251" y="452"/>
                  </a:lnTo>
                  <a:lnTo>
                    <a:pt x="1248" y="453"/>
                  </a:lnTo>
                  <a:lnTo>
                    <a:pt x="1248" y="453"/>
                  </a:lnTo>
                  <a:lnTo>
                    <a:pt x="1247" y="456"/>
                  </a:lnTo>
                  <a:lnTo>
                    <a:pt x="1246" y="459"/>
                  </a:lnTo>
                  <a:lnTo>
                    <a:pt x="1246" y="459"/>
                  </a:lnTo>
                  <a:lnTo>
                    <a:pt x="1246" y="461"/>
                  </a:lnTo>
                  <a:lnTo>
                    <a:pt x="1246" y="461"/>
                  </a:lnTo>
                  <a:lnTo>
                    <a:pt x="1247" y="461"/>
                  </a:lnTo>
                  <a:lnTo>
                    <a:pt x="1246" y="461"/>
                  </a:lnTo>
                  <a:lnTo>
                    <a:pt x="1246" y="461"/>
                  </a:lnTo>
                  <a:lnTo>
                    <a:pt x="1247" y="461"/>
                  </a:lnTo>
                  <a:lnTo>
                    <a:pt x="1246" y="461"/>
                  </a:lnTo>
                  <a:lnTo>
                    <a:pt x="1246" y="461"/>
                  </a:lnTo>
                  <a:lnTo>
                    <a:pt x="1246" y="461"/>
                  </a:lnTo>
                  <a:lnTo>
                    <a:pt x="1246" y="462"/>
                  </a:lnTo>
                  <a:lnTo>
                    <a:pt x="1246" y="462"/>
                  </a:lnTo>
                  <a:lnTo>
                    <a:pt x="1243" y="466"/>
                  </a:lnTo>
                  <a:lnTo>
                    <a:pt x="1241" y="474"/>
                  </a:lnTo>
                  <a:lnTo>
                    <a:pt x="1241" y="474"/>
                  </a:lnTo>
                  <a:lnTo>
                    <a:pt x="1241" y="478"/>
                  </a:lnTo>
                  <a:lnTo>
                    <a:pt x="1241" y="478"/>
                  </a:lnTo>
                  <a:lnTo>
                    <a:pt x="1246" y="491"/>
                  </a:lnTo>
                  <a:lnTo>
                    <a:pt x="1251" y="501"/>
                  </a:lnTo>
                  <a:lnTo>
                    <a:pt x="1251" y="501"/>
                  </a:lnTo>
                  <a:lnTo>
                    <a:pt x="1251" y="503"/>
                  </a:lnTo>
                  <a:lnTo>
                    <a:pt x="1251" y="504"/>
                  </a:lnTo>
                  <a:lnTo>
                    <a:pt x="1251" y="504"/>
                  </a:lnTo>
                  <a:lnTo>
                    <a:pt x="1247" y="505"/>
                  </a:lnTo>
                  <a:lnTo>
                    <a:pt x="1247" y="505"/>
                  </a:lnTo>
                  <a:lnTo>
                    <a:pt x="1240" y="507"/>
                  </a:lnTo>
                  <a:lnTo>
                    <a:pt x="1240" y="507"/>
                  </a:lnTo>
                  <a:lnTo>
                    <a:pt x="1238" y="508"/>
                  </a:lnTo>
                  <a:lnTo>
                    <a:pt x="1235" y="510"/>
                  </a:lnTo>
                  <a:lnTo>
                    <a:pt x="1235" y="510"/>
                  </a:lnTo>
                  <a:lnTo>
                    <a:pt x="1235" y="514"/>
                  </a:lnTo>
                  <a:lnTo>
                    <a:pt x="1235" y="514"/>
                  </a:lnTo>
                  <a:lnTo>
                    <a:pt x="1235" y="523"/>
                  </a:lnTo>
                  <a:lnTo>
                    <a:pt x="1235" y="523"/>
                  </a:lnTo>
                  <a:lnTo>
                    <a:pt x="1235" y="524"/>
                  </a:lnTo>
                  <a:lnTo>
                    <a:pt x="1235" y="524"/>
                  </a:lnTo>
                  <a:lnTo>
                    <a:pt x="1235" y="527"/>
                  </a:lnTo>
                  <a:lnTo>
                    <a:pt x="1235" y="527"/>
                  </a:lnTo>
                  <a:lnTo>
                    <a:pt x="1235" y="526"/>
                  </a:lnTo>
                  <a:lnTo>
                    <a:pt x="1235" y="527"/>
                  </a:lnTo>
                  <a:lnTo>
                    <a:pt x="1235" y="527"/>
                  </a:lnTo>
                  <a:lnTo>
                    <a:pt x="1235" y="526"/>
                  </a:lnTo>
                  <a:lnTo>
                    <a:pt x="1237" y="527"/>
                  </a:lnTo>
                  <a:lnTo>
                    <a:pt x="1237" y="526"/>
                  </a:lnTo>
                  <a:lnTo>
                    <a:pt x="1235" y="526"/>
                  </a:lnTo>
                  <a:lnTo>
                    <a:pt x="1237" y="527"/>
                  </a:lnTo>
                  <a:lnTo>
                    <a:pt x="1237" y="526"/>
                  </a:lnTo>
                  <a:lnTo>
                    <a:pt x="1237" y="527"/>
                  </a:lnTo>
                  <a:lnTo>
                    <a:pt x="1237" y="526"/>
                  </a:lnTo>
                  <a:lnTo>
                    <a:pt x="1237" y="526"/>
                  </a:lnTo>
                  <a:lnTo>
                    <a:pt x="1237" y="527"/>
                  </a:lnTo>
                  <a:lnTo>
                    <a:pt x="1237" y="526"/>
                  </a:lnTo>
                  <a:lnTo>
                    <a:pt x="1237" y="526"/>
                  </a:lnTo>
                  <a:lnTo>
                    <a:pt x="1237" y="526"/>
                  </a:lnTo>
                  <a:lnTo>
                    <a:pt x="1237" y="526"/>
                  </a:lnTo>
                  <a:lnTo>
                    <a:pt x="1234" y="523"/>
                  </a:lnTo>
                  <a:lnTo>
                    <a:pt x="1234" y="523"/>
                  </a:lnTo>
                  <a:lnTo>
                    <a:pt x="1230" y="520"/>
                  </a:lnTo>
                  <a:lnTo>
                    <a:pt x="1230" y="520"/>
                  </a:lnTo>
                  <a:lnTo>
                    <a:pt x="1228" y="519"/>
                  </a:lnTo>
                  <a:lnTo>
                    <a:pt x="1228" y="519"/>
                  </a:lnTo>
                  <a:lnTo>
                    <a:pt x="1228" y="520"/>
                  </a:lnTo>
                  <a:lnTo>
                    <a:pt x="1228" y="520"/>
                  </a:lnTo>
                  <a:lnTo>
                    <a:pt x="1228" y="519"/>
                  </a:lnTo>
                  <a:lnTo>
                    <a:pt x="1228" y="520"/>
                  </a:lnTo>
                  <a:lnTo>
                    <a:pt x="1228" y="520"/>
                  </a:lnTo>
                  <a:lnTo>
                    <a:pt x="1228" y="520"/>
                  </a:lnTo>
                  <a:lnTo>
                    <a:pt x="1228" y="520"/>
                  </a:lnTo>
                  <a:lnTo>
                    <a:pt x="1228" y="520"/>
                  </a:lnTo>
                  <a:lnTo>
                    <a:pt x="1228" y="520"/>
                  </a:lnTo>
                  <a:lnTo>
                    <a:pt x="1228" y="520"/>
                  </a:lnTo>
                  <a:lnTo>
                    <a:pt x="1228" y="520"/>
                  </a:lnTo>
                  <a:lnTo>
                    <a:pt x="1228" y="520"/>
                  </a:lnTo>
                  <a:lnTo>
                    <a:pt x="1228" y="520"/>
                  </a:lnTo>
                  <a:lnTo>
                    <a:pt x="1228" y="520"/>
                  </a:lnTo>
                  <a:lnTo>
                    <a:pt x="1228" y="520"/>
                  </a:lnTo>
                  <a:lnTo>
                    <a:pt x="1228" y="520"/>
                  </a:lnTo>
                  <a:lnTo>
                    <a:pt x="1228" y="520"/>
                  </a:lnTo>
                  <a:lnTo>
                    <a:pt x="1228" y="520"/>
                  </a:lnTo>
                  <a:lnTo>
                    <a:pt x="1231" y="520"/>
                  </a:lnTo>
                  <a:lnTo>
                    <a:pt x="1231" y="520"/>
                  </a:lnTo>
                  <a:lnTo>
                    <a:pt x="1233" y="517"/>
                  </a:lnTo>
                  <a:lnTo>
                    <a:pt x="1233" y="517"/>
                  </a:lnTo>
                  <a:lnTo>
                    <a:pt x="1233" y="514"/>
                  </a:lnTo>
                  <a:lnTo>
                    <a:pt x="1233" y="514"/>
                  </a:lnTo>
                  <a:lnTo>
                    <a:pt x="1233" y="513"/>
                  </a:lnTo>
                  <a:lnTo>
                    <a:pt x="1233" y="511"/>
                  </a:lnTo>
                  <a:lnTo>
                    <a:pt x="1233" y="513"/>
                  </a:lnTo>
                  <a:lnTo>
                    <a:pt x="1233" y="513"/>
                  </a:lnTo>
                  <a:lnTo>
                    <a:pt x="1234" y="510"/>
                  </a:lnTo>
                  <a:lnTo>
                    <a:pt x="1234" y="510"/>
                  </a:lnTo>
                  <a:lnTo>
                    <a:pt x="1233" y="507"/>
                  </a:lnTo>
                  <a:lnTo>
                    <a:pt x="1233" y="507"/>
                  </a:lnTo>
                  <a:lnTo>
                    <a:pt x="1230" y="503"/>
                  </a:lnTo>
                  <a:lnTo>
                    <a:pt x="1227" y="500"/>
                  </a:lnTo>
                  <a:lnTo>
                    <a:pt x="1227" y="500"/>
                  </a:lnTo>
                  <a:lnTo>
                    <a:pt x="1222" y="498"/>
                  </a:lnTo>
                  <a:lnTo>
                    <a:pt x="1222" y="498"/>
                  </a:lnTo>
                  <a:lnTo>
                    <a:pt x="1219" y="498"/>
                  </a:lnTo>
                  <a:lnTo>
                    <a:pt x="1217" y="500"/>
                  </a:lnTo>
                  <a:lnTo>
                    <a:pt x="1217" y="500"/>
                  </a:lnTo>
                  <a:lnTo>
                    <a:pt x="1209" y="505"/>
                  </a:lnTo>
                  <a:lnTo>
                    <a:pt x="1209" y="505"/>
                  </a:lnTo>
                  <a:lnTo>
                    <a:pt x="1201" y="510"/>
                  </a:lnTo>
                  <a:lnTo>
                    <a:pt x="1201" y="510"/>
                  </a:lnTo>
                  <a:lnTo>
                    <a:pt x="1191" y="513"/>
                  </a:lnTo>
                  <a:lnTo>
                    <a:pt x="1191" y="513"/>
                  </a:lnTo>
                  <a:lnTo>
                    <a:pt x="1186" y="513"/>
                  </a:lnTo>
                  <a:lnTo>
                    <a:pt x="1186" y="513"/>
                  </a:lnTo>
                  <a:lnTo>
                    <a:pt x="1182" y="513"/>
                  </a:lnTo>
                  <a:lnTo>
                    <a:pt x="1182" y="513"/>
                  </a:lnTo>
                  <a:lnTo>
                    <a:pt x="1177" y="511"/>
                  </a:lnTo>
                  <a:lnTo>
                    <a:pt x="1177" y="511"/>
                  </a:lnTo>
                  <a:lnTo>
                    <a:pt x="1172" y="513"/>
                  </a:lnTo>
                  <a:lnTo>
                    <a:pt x="1172" y="513"/>
                  </a:lnTo>
                  <a:lnTo>
                    <a:pt x="1163" y="517"/>
                  </a:lnTo>
                  <a:lnTo>
                    <a:pt x="1163" y="517"/>
                  </a:lnTo>
                  <a:lnTo>
                    <a:pt x="1159" y="521"/>
                  </a:lnTo>
                  <a:lnTo>
                    <a:pt x="1159" y="521"/>
                  </a:lnTo>
                  <a:lnTo>
                    <a:pt x="1157" y="526"/>
                  </a:lnTo>
                  <a:lnTo>
                    <a:pt x="1157" y="526"/>
                  </a:lnTo>
                  <a:lnTo>
                    <a:pt x="1157" y="529"/>
                  </a:lnTo>
                  <a:lnTo>
                    <a:pt x="1159" y="529"/>
                  </a:lnTo>
                  <a:lnTo>
                    <a:pt x="1159" y="529"/>
                  </a:lnTo>
                  <a:lnTo>
                    <a:pt x="1159" y="529"/>
                  </a:lnTo>
                  <a:lnTo>
                    <a:pt x="1159" y="529"/>
                  </a:lnTo>
                  <a:lnTo>
                    <a:pt x="1159" y="529"/>
                  </a:lnTo>
                  <a:lnTo>
                    <a:pt x="1159" y="529"/>
                  </a:lnTo>
                  <a:lnTo>
                    <a:pt x="1159" y="529"/>
                  </a:lnTo>
                  <a:lnTo>
                    <a:pt x="1159" y="529"/>
                  </a:lnTo>
                  <a:lnTo>
                    <a:pt x="1159" y="529"/>
                  </a:lnTo>
                  <a:lnTo>
                    <a:pt x="1159" y="529"/>
                  </a:lnTo>
                  <a:lnTo>
                    <a:pt x="1159" y="529"/>
                  </a:lnTo>
                  <a:lnTo>
                    <a:pt x="1159" y="529"/>
                  </a:lnTo>
                  <a:lnTo>
                    <a:pt x="1159" y="529"/>
                  </a:lnTo>
                  <a:lnTo>
                    <a:pt x="1159" y="529"/>
                  </a:lnTo>
                  <a:lnTo>
                    <a:pt x="1157" y="530"/>
                  </a:lnTo>
                  <a:lnTo>
                    <a:pt x="1157" y="530"/>
                  </a:lnTo>
                  <a:lnTo>
                    <a:pt x="1156" y="530"/>
                  </a:lnTo>
                  <a:lnTo>
                    <a:pt x="1156" y="530"/>
                  </a:lnTo>
                  <a:lnTo>
                    <a:pt x="1154" y="530"/>
                  </a:lnTo>
                  <a:lnTo>
                    <a:pt x="1154" y="530"/>
                  </a:lnTo>
                  <a:lnTo>
                    <a:pt x="1151" y="529"/>
                  </a:lnTo>
                  <a:lnTo>
                    <a:pt x="1151" y="529"/>
                  </a:lnTo>
                  <a:lnTo>
                    <a:pt x="1149" y="530"/>
                  </a:lnTo>
                  <a:lnTo>
                    <a:pt x="1149" y="530"/>
                  </a:lnTo>
                  <a:lnTo>
                    <a:pt x="1147" y="533"/>
                  </a:lnTo>
                  <a:lnTo>
                    <a:pt x="1147" y="533"/>
                  </a:lnTo>
                  <a:lnTo>
                    <a:pt x="1147" y="533"/>
                  </a:lnTo>
                  <a:lnTo>
                    <a:pt x="1146" y="537"/>
                  </a:lnTo>
                  <a:lnTo>
                    <a:pt x="1143" y="539"/>
                  </a:lnTo>
                  <a:lnTo>
                    <a:pt x="1143" y="539"/>
                  </a:lnTo>
                  <a:lnTo>
                    <a:pt x="1138" y="542"/>
                  </a:lnTo>
                  <a:lnTo>
                    <a:pt x="1137" y="542"/>
                  </a:lnTo>
                  <a:lnTo>
                    <a:pt x="1137" y="542"/>
                  </a:lnTo>
                  <a:lnTo>
                    <a:pt x="1137" y="542"/>
                  </a:lnTo>
                  <a:lnTo>
                    <a:pt x="1137" y="542"/>
                  </a:lnTo>
                  <a:lnTo>
                    <a:pt x="1137" y="542"/>
                  </a:lnTo>
                  <a:lnTo>
                    <a:pt x="1137" y="542"/>
                  </a:lnTo>
                  <a:lnTo>
                    <a:pt x="1137" y="542"/>
                  </a:lnTo>
                  <a:lnTo>
                    <a:pt x="1137" y="542"/>
                  </a:lnTo>
                  <a:lnTo>
                    <a:pt x="1137" y="542"/>
                  </a:lnTo>
                  <a:lnTo>
                    <a:pt x="1137" y="542"/>
                  </a:lnTo>
                  <a:lnTo>
                    <a:pt x="1137" y="542"/>
                  </a:lnTo>
                  <a:lnTo>
                    <a:pt x="1137" y="542"/>
                  </a:lnTo>
                  <a:lnTo>
                    <a:pt x="1137" y="542"/>
                  </a:lnTo>
                  <a:lnTo>
                    <a:pt x="1137" y="542"/>
                  </a:lnTo>
                  <a:lnTo>
                    <a:pt x="1137" y="542"/>
                  </a:lnTo>
                  <a:lnTo>
                    <a:pt x="1134" y="542"/>
                  </a:lnTo>
                  <a:lnTo>
                    <a:pt x="1134" y="542"/>
                  </a:lnTo>
                  <a:lnTo>
                    <a:pt x="1131" y="542"/>
                  </a:lnTo>
                  <a:lnTo>
                    <a:pt x="1131" y="542"/>
                  </a:lnTo>
                  <a:lnTo>
                    <a:pt x="1131" y="542"/>
                  </a:lnTo>
                  <a:lnTo>
                    <a:pt x="1131" y="542"/>
                  </a:lnTo>
                  <a:lnTo>
                    <a:pt x="1131" y="542"/>
                  </a:lnTo>
                  <a:lnTo>
                    <a:pt x="1131" y="542"/>
                  </a:lnTo>
                  <a:lnTo>
                    <a:pt x="1131" y="542"/>
                  </a:lnTo>
                  <a:lnTo>
                    <a:pt x="1131" y="542"/>
                  </a:lnTo>
                  <a:lnTo>
                    <a:pt x="1133" y="542"/>
                  </a:lnTo>
                  <a:lnTo>
                    <a:pt x="1131" y="542"/>
                  </a:lnTo>
                  <a:lnTo>
                    <a:pt x="1131" y="542"/>
                  </a:lnTo>
                  <a:lnTo>
                    <a:pt x="1133" y="542"/>
                  </a:lnTo>
                  <a:lnTo>
                    <a:pt x="1133" y="542"/>
                  </a:lnTo>
                  <a:lnTo>
                    <a:pt x="1133" y="542"/>
                  </a:lnTo>
                  <a:lnTo>
                    <a:pt x="1133" y="542"/>
                  </a:lnTo>
                  <a:lnTo>
                    <a:pt x="1133" y="542"/>
                  </a:lnTo>
                  <a:lnTo>
                    <a:pt x="1133" y="542"/>
                  </a:lnTo>
                  <a:lnTo>
                    <a:pt x="1133" y="542"/>
                  </a:lnTo>
                  <a:lnTo>
                    <a:pt x="1131" y="540"/>
                  </a:lnTo>
                  <a:lnTo>
                    <a:pt x="1131" y="540"/>
                  </a:lnTo>
                  <a:lnTo>
                    <a:pt x="1130" y="539"/>
                  </a:lnTo>
                  <a:lnTo>
                    <a:pt x="1130" y="539"/>
                  </a:lnTo>
                  <a:lnTo>
                    <a:pt x="1128" y="537"/>
                  </a:lnTo>
                  <a:lnTo>
                    <a:pt x="1128" y="537"/>
                  </a:lnTo>
                  <a:lnTo>
                    <a:pt x="1125" y="539"/>
                  </a:lnTo>
                  <a:lnTo>
                    <a:pt x="1124" y="539"/>
                  </a:lnTo>
                  <a:lnTo>
                    <a:pt x="1124" y="539"/>
                  </a:lnTo>
                  <a:lnTo>
                    <a:pt x="1124" y="540"/>
                  </a:lnTo>
                  <a:lnTo>
                    <a:pt x="1124" y="539"/>
                  </a:lnTo>
                  <a:lnTo>
                    <a:pt x="1124" y="539"/>
                  </a:lnTo>
                  <a:lnTo>
                    <a:pt x="1124" y="540"/>
                  </a:lnTo>
                  <a:lnTo>
                    <a:pt x="1124" y="539"/>
                  </a:lnTo>
                  <a:lnTo>
                    <a:pt x="1124" y="542"/>
                  </a:lnTo>
                  <a:lnTo>
                    <a:pt x="1125" y="540"/>
                  </a:lnTo>
                  <a:lnTo>
                    <a:pt x="1125" y="540"/>
                  </a:lnTo>
                  <a:lnTo>
                    <a:pt x="1124" y="539"/>
                  </a:lnTo>
                  <a:lnTo>
                    <a:pt x="1124" y="542"/>
                  </a:lnTo>
                  <a:lnTo>
                    <a:pt x="1125" y="540"/>
                  </a:lnTo>
                  <a:lnTo>
                    <a:pt x="1124" y="542"/>
                  </a:lnTo>
                  <a:lnTo>
                    <a:pt x="1127" y="542"/>
                  </a:lnTo>
                  <a:lnTo>
                    <a:pt x="1127" y="542"/>
                  </a:lnTo>
                  <a:lnTo>
                    <a:pt x="1125" y="540"/>
                  </a:lnTo>
                  <a:lnTo>
                    <a:pt x="1124" y="542"/>
                  </a:lnTo>
                  <a:lnTo>
                    <a:pt x="1127" y="542"/>
                  </a:lnTo>
                  <a:lnTo>
                    <a:pt x="1125" y="542"/>
                  </a:lnTo>
                  <a:lnTo>
                    <a:pt x="1127" y="542"/>
                  </a:lnTo>
                  <a:lnTo>
                    <a:pt x="1127" y="542"/>
                  </a:lnTo>
                  <a:lnTo>
                    <a:pt x="1125" y="542"/>
                  </a:lnTo>
                  <a:lnTo>
                    <a:pt x="1127" y="542"/>
                  </a:lnTo>
                  <a:lnTo>
                    <a:pt x="1127" y="542"/>
                  </a:lnTo>
                  <a:lnTo>
                    <a:pt x="1127" y="539"/>
                  </a:lnTo>
                  <a:lnTo>
                    <a:pt x="1127" y="539"/>
                  </a:lnTo>
                  <a:lnTo>
                    <a:pt x="1130" y="536"/>
                  </a:lnTo>
                  <a:lnTo>
                    <a:pt x="1128" y="536"/>
                  </a:lnTo>
                  <a:lnTo>
                    <a:pt x="1128" y="536"/>
                  </a:lnTo>
                  <a:lnTo>
                    <a:pt x="1130" y="536"/>
                  </a:lnTo>
                  <a:lnTo>
                    <a:pt x="1128" y="536"/>
                  </a:lnTo>
                  <a:lnTo>
                    <a:pt x="1128" y="536"/>
                  </a:lnTo>
                  <a:lnTo>
                    <a:pt x="1128" y="536"/>
                  </a:lnTo>
                  <a:lnTo>
                    <a:pt x="1131" y="534"/>
                  </a:lnTo>
                  <a:lnTo>
                    <a:pt x="1131" y="534"/>
                  </a:lnTo>
                  <a:lnTo>
                    <a:pt x="1138" y="529"/>
                  </a:lnTo>
                  <a:lnTo>
                    <a:pt x="1138" y="529"/>
                  </a:lnTo>
                  <a:lnTo>
                    <a:pt x="1143" y="524"/>
                  </a:lnTo>
                  <a:lnTo>
                    <a:pt x="1143" y="524"/>
                  </a:lnTo>
                  <a:lnTo>
                    <a:pt x="1146" y="521"/>
                  </a:lnTo>
                  <a:lnTo>
                    <a:pt x="1146" y="521"/>
                  </a:lnTo>
                  <a:lnTo>
                    <a:pt x="1146" y="517"/>
                  </a:lnTo>
                  <a:lnTo>
                    <a:pt x="1147" y="510"/>
                  </a:lnTo>
                  <a:lnTo>
                    <a:pt x="1147" y="510"/>
                  </a:lnTo>
                  <a:lnTo>
                    <a:pt x="1146" y="507"/>
                  </a:lnTo>
                  <a:lnTo>
                    <a:pt x="1146" y="507"/>
                  </a:lnTo>
                  <a:lnTo>
                    <a:pt x="1146" y="503"/>
                  </a:lnTo>
                  <a:lnTo>
                    <a:pt x="1146" y="503"/>
                  </a:lnTo>
                  <a:lnTo>
                    <a:pt x="1144" y="504"/>
                  </a:lnTo>
                  <a:lnTo>
                    <a:pt x="1146" y="504"/>
                  </a:lnTo>
                  <a:lnTo>
                    <a:pt x="1146" y="503"/>
                  </a:lnTo>
                  <a:lnTo>
                    <a:pt x="1144" y="504"/>
                  </a:lnTo>
                  <a:lnTo>
                    <a:pt x="1146" y="504"/>
                  </a:lnTo>
                  <a:lnTo>
                    <a:pt x="1146" y="504"/>
                  </a:lnTo>
                  <a:lnTo>
                    <a:pt x="1146" y="504"/>
                  </a:lnTo>
                  <a:lnTo>
                    <a:pt x="1146" y="504"/>
                  </a:lnTo>
                  <a:lnTo>
                    <a:pt x="1146" y="504"/>
                  </a:lnTo>
                  <a:lnTo>
                    <a:pt x="1146" y="504"/>
                  </a:lnTo>
                  <a:lnTo>
                    <a:pt x="1146" y="503"/>
                  </a:lnTo>
                  <a:lnTo>
                    <a:pt x="1146" y="503"/>
                  </a:lnTo>
                  <a:lnTo>
                    <a:pt x="1150" y="500"/>
                  </a:lnTo>
                  <a:lnTo>
                    <a:pt x="1150" y="500"/>
                  </a:lnTo>
                  <a:lnTo>
                    <a:pt x="1151" y="498"/>
                  </a:lnTo>
                  <a:lnTo>
                    <a:pt x="1151" y="498"/>
                  </a:lnTo>
                  <a:lnTo>
                    <a:pt x="1153" y="498"/>
                  </a:lnTo>
                  <a:lnTo>
                    <a:pt x="1154" y="497"/>
                  </a:lnTo>
                  <a:lnTo>
                    <a:pt x="1154" y="497"/>
                  </a:lnTo>
                  <a:lnTo>
                    <a:pt x="1154" y="497"/>
                  </a:lnTo>
                  <a:lnTo>
                    <a:pt x="1154" y="495"/>
                  </a:lnTo>
                  <a:lnTo>
                    <a:pt x="1154" y="494"/>
                  </a:lnTo>
                  <a:lnTo>
                    <a:pt x="1154" y="494"/>
                  </a:lnTo>
                  <a:lnTo>
                    <a:pt x="1153" y="492"/>
                  </a:lnTo>
                  <a:lnTo>
                    <a:pt x="1151" y="492"/>
                  </a:lnTo>
                  <a:lnTo>
                    <a:pt x="1151" y="492"/>
                  </a:lnTo>
                  <a:lnTo>
                    <a:pt x="1151" y="492"/>
                  </a:lnTo>
                  <a:lnTo>
                    <a:pt x="1151" y="492"/>
                  </a:lnTo>
                  <a:lnTo>
                    <a:pt x="1149" y="494"/>
                  </a:lnTo>
                  <a:lnTo>
                    <a:pt x="1149" y="494"/>
                  </a:lnTo>
                  <a:lnTo>
                    <a:pt x="1135" y="500"/>
                  </a:lnTo>
                  <a:lnTo>
                    <a:pt x="1135" y="500"/>
                  </a:lnTo>
                  <a:lnTo>
                    <a:pt x="1125" y="507"/>
                  </a:lnTo>
                  <a:lnTo>
                    <a:pt x="1125" y="507"/>
                  </a:lnTo>
                  <a:lnTo>
                    <a:pt x="1117" y="514"/>
                  </a:lnTo>
                  <a:lnTo>
                    <a:pt x="1117" y="514"/>
                  </a:lnTo>
                  <a:lnTo>
                    <a:pt x="1108" y="517"/>
                  </a:lnTo>
                  <a:lnTo>
                    <a:pt x="1095" y="521"/>
                  </a:lnTo>
                  <a:lnTo>
                    <a:pt x="1095" y="521"/>
                  </a:lnTo>
                  <a:lnTo>
                    <a:pt x="1091" y="524"/>
                  </a:lnTo>
                  <a:lnTo>
                    <a:pt x="1088" y="526"/>
                  </a:lnTo>
                  <a:lnTo>
                    <a:pt x="1082" y="532"/>
                  </a:lnTo>
                  <a:lnTo>
                    <a:pt x="1082" y="532"/>
                  </a:lnTo>
                  <a:lnTo>
                    <a:pt x="1078" y="537"/>
                  </a:lnTo>
                  <a:lnTo>
                    <a:pt x="1078" y="537"/>
                  </a:lnTo>
                  <a:lnTo>
                    <a:pt x="1076" y="539"/>
                  </a:lnTo>
                  <a:lnTo>
                    <a:pt x="1076" y="540"/>
                  </a:lnTo>
                  <a:lnTo>
                    <a:pt x="1076" y="540"/>
                  </a:lnTo>
                  <a:lnTo>
                    <a:pt x="1076" y="540"/>
                  </a:lnTo>
                  <a:lnTo>
                    <a:pt x="1076" y="540"/>
                  </a:lnTo>
                  <a:lnTo>
                    <a:pt x="1076" y="540"/>
                  </a:lnTo>
                  <a:lnTo>
                    <a:pt x="1070" y="539"/>
                  </a:lnTo>
                  <a:lnTo>
                    <a:pt x="1070" y="539"/>
                  </a:lnTo>
                  <a:lnTo>
                    <a:pt x="1065" y="537"/>
                  </a:lnTo>
                  <a:lnTo>
                    <a:pt x="1065" y="537"/>
                  </a:lnTo>
                  <a:lnTo>
                    <a:pt x="1062" y="539"/>
                  </a:lnTo>
                  <a:lnTo>
                    <a:pt x="1062" y="539"/>
                  </a:lnTo>
                  <a:lnTo>
                    <a:pt x="1060" y="540"/>
                  </a:lnTo>
                  <a:lnTo>
                    <a:pt x="1060" y="540"/>
                  </a:lnTo>
                  <a:lnTo>
                    <a:pt x="1062" y="543"/>
                  </a:lnTo>
                  <a:lnTo>
                    <a:pt x="1062" y="543"/>
                  </a:lnTo>
                  <a:lnTo>
                    <a:pt x="1063" y="547"/>
                  </a:lnTo>
                  <a:lnTo>
                    <a:pt x="1063" y="547"/>
                  </a:lnTo>
                  <a:lnTo>
                    <a:pt x="1066" y="550"/>
                  </a:lnTo>
                  <a:lnTo>
                    <a:pt x="1066" y="550"/>
                  </a:lnTo>
                  <a:lnTo>
                    <a:pt x="1066" y="550"/>
                  </a:lnTo>
                  <a:lnTo>
                    <a:pt x="1067" y="549"/>
                  </a:lnTo>
                  <a:lnTo>
                    <a:pt x="1065" y="549"/>
                  </a:lnTo>
                  <a:lnTo>
                    <a:pt x="1066" y="550"/>
                  </a:lnTo>
                  <a:lnTo>
                    <a:pt x="1067" y="549"/>
                  </a:lnTo>
                  <a:lnTo>
                    <a:pt x="1065" y="549"/>
                  </a:lnTo>
                  <a:lnTo>
                    <a:pt x="1067" y="549"/>
                  </a:lnTo>
                  <a:lnTo>
                    <a:pt x="1066" y="549"/>
                  </a:lnTo>
                  <a:lnTo>
                    <a:pt x="1065" y="549"/>
                  </a:lnTo>
                  <a:lnTo>
                    <a:pt x="1067" y="549"/>
                  </a:lnTo>
                  <a:lnTo>
                    <a:pt x="1066" y="549"/>
                  </a:lnTo>
                  <a:lnTo>
                    <a:pt x="1066" y="549"/>
                  </a:lnTo>
                  <a:lnTo>
                    <a:pt x="1066" y="549"/>
                  </a:lnTo>
                  <a:lnTo>
                    <a:pt x="1066" y="549"/>
                  </a:lnTo>
                  <a:lnTo>
                    <a:pt x="1066" y="549"/>
                  </a:lnTo>
                  <a:lnTo>
                    <a:pt x="1066" y="549"/>
                  </a:lnTo>
                  <a:lnTo>
                    <a:pt x="1066" y="549"/>
                  </a:lnTo>
                  <a:lnTo>
                    <a:pt x="1063" y="549"/>
                  </a:lnTo>
                  <a:lnTo>
                    <a:pt x="1063" y="549"/>
                  </a:lnTo>
                  <a:lnTo>
                    <a:pt x="1057" y="552"/>
                  </a:lnTo>
                  <a:lnTo>
                    <a:pt x="1057" y="552"/>
                  </a:lnTo>
                  <a:lnTo>
                    <a:pt x="1054" y="552"/>
                  </a:lnTo>
                  <a:lnTo>
                    <a:pt x="1054" y="552"/>
                  </a:lnTo>
                  <a:lnTo>
                    <a:pt x="1051" y="553"/>
                  </a:lnTo>
                  <a:lnTo>
                    <a:pt x="1051" y="553"/>
                  </a:lnTo>
                  <a:lnTo>
                    <a:pt x="1050" y="555"/>
                  </a:lnTo>
                  <a:lnTo>
                    <a:pt x="1050" y="555"/>
                  </a:lnTo>
                  <a:lnTo>
                    <a:pt x="1049" y="559"/>
                  </a:lnTo>
                  <a:lnTo>
                    <a:pt x="1049" y="559"/>
                  </a:lnTo>
                  <a:lnTo>
                    <a:pt x="1049" y="563"/>
                  </a:lnTo>
                  <a:lnTo>
                    <a:pt x="1049" y="563"/>
                  </a:lnTo>
                  <a:lnTo>
                    <a:pt x="1049" y="569"/>
                  </a:lnTo>
                  <a:lnTo>
                    <a:pt x="1047" y="578"/>
                  </a:lnTo>
                  <a:lnTo>
                    <a:pt x="1047" y="578"/>
                  </a:lnTo>
                  <a:lnTo>
                    <a:pt x="1047" y="581"/>
                  </a:lnTo>
                  <a:lnTo>
                    <a:pt x="1047" y="581"/>
                  </a:lnTo>
                  <a:lnTo>
                    <a:pt x="1043" y="582"/>
                  </a:lnTo>
                  <a:lnTo>
                    <a:pt x="1043" y="582"/>
                  </a:lnTo>
                  <a:lnTo>
                    <a:pt x="1036" y="584"/>
                  </a:lnTo>
                  <a:lnTo>
                    <a:pt x="1036" y="584"/>
                  </a:lnTo>
                  <a:lnTo>
                    <a:pt x="1028" y="582"/>
                  </a:lnTo>
                  <a:lnTo>
                    <a:pt x="1028" y="582"/>
                  </a:lnTo>
                  <a:lnTo>
                    <a:pt x="1024" y="584"/>
                  </a:lnTo>
                  <a:lnTo>
                    <a:pt x="1024" y="584"/>
                  </a:lnTo>
                  <a:lnTo>
                    <a:pt x="1023" y="584"/>
                  </a:lnTo>
                  <a:lnTo>
                    <a:pt x="1023" y="584"/>
                  </a:lnTo>
                  <a:lnTo>
                    <a:pt x="1020" y="582"/>
                  </a:lnTo>
                  <a:lnTo>
                    <a:pt x="1020" y="582"/>
                  </a:lnTo>
                  <a:lnTo>
                    <a:pt x="1018" y="579"/>
                  </a:lnTo>
                  <a:lnTo>
                    <a:pt x="1018" y="579"/>
                  </a:lnTo>
                  <a:lnTo>
                    <a:pt x="1015" y="572"/>
                  </a:lnTo>
                  <a:lnTo>
                    <a:pt x="1015" y="572"/>
                  </a:lnTo>
                  <a:lnTo>
                    <a:pt x="1012" y="569"/>
                  </a:lnTo>
                  <a:lnTo>
                    <a:pt x="1009" y="566"/>
                  </a:lnTo>
                  <a:lnTo>
                    <a:pt x="1009" y="566"/>
                  </a:lnTo>
                  <a:lnTo>
                    <a:pt x="1005" y="563"/>
                  </a:lnTo>
                  <a:lnTo>
                    <a:pt x="1004" y="563"/>
                  </a:lnTo>
                  <a:lnTo>
                    <a:pt x="1005" y="563"/>
                  </a:lnTo>
                  <a:lnTo>
                    <a:pt x="1005" y="563"/>
                  </a:lnTo>
                  <a:lnTo>
                    <a:pt x="1004" y="563"/>
                  </a:lnTo>
                  <a:lnTo>
                    <a:pt x="1005" y="563"/>
                  </a:lnTo>
                  <a:lnTo>
                    <a:pt x="1005" y="563"/>
                  </a:lnTo>
                  <a:lnTo>
                    <a:pt x="1005" y="563"/>
                  </a:lnTo>
                  <a:lnTo>
                    <a:pt x="1005" y="563"/>
                  </a:lnTo>
                  <a:lnTo>
                    <a:pt x="1007" y="559"/>
                  </a:lnTo>
                  <a:lnTo>
                    <a:pt x="1007" y="559"/>
                  </a:lnTo>
                  <a:lnTo>
                    <a:pt x="1009" y="553"/>
                  </a:lnTo>
                  <a:lnTo>
                    <a:pt x="1009" y="553"/>
                  </a:lnTo>
                  <a:lnTo>
                    <a:pt x="1012" y="550"/>
                  </a:lnTo>
                  <a:lnTo>
                    <a:pt x="1012" y="550"/>
                  </a:lnTo>
                  <a:lnTo>
                    <a:pt x="1021" y="546"/>
                  </a:lnTo>
                  <a:lnTo>
                    <a:pt x="1021" y="546"/>
                  </a:lnTo>
                  <a:lnTo>
                    <a:pt x="1024" y="545"/>
                  </a:lnTo>
                  <a:lnTo>
                    <a:pt x="1024" y="545"/>
                  </a:lnTo>
                  <a:lnTo>
                    <a:pt x="1028" y="543"/>
                  </a:lnTo>
                  <a:lnTo>
                    <a:pt x="1028" y="543"/>
                  </a:lnTo>
                  <a:lnTo>
                    <a:pt x="1028" y="540"/>
                  </a:lnTo>
                  <a:lnTo>
                    <a:pt x="1028" y="540"/>
                  </a:lnTo>
                  <a:lnTo>
                    <a:pt x="1027" y="534"/>
                  </a:lnTo>
                  <a:lnTo>
                    <a:pt x="1027" y="534"/>
                  </a:lnTo>
                  <a:lnTo>
                    <a:pt x="1023" y="529"/>
                  </a:lnTo>
                  <a:lnTo>
                    <a:pt x="1023" y="529"/>
                  </a:lnTo>
                  <a:lnTo>
                    <a:pt x="1020" y="523"/>
                  </a:lnTo>
                  <a:lnTo>
                    <a:pt x="1020" y="523"/>
                  </a:lnTo>
                  <a:lnTo>
                    <a:pt x="1015" y="519"/>
                  </a:lnTo>
                  <a:lnTo>
                    <a:pt x="1011" y="516"/>
                  </a:lnTo>
                  <a:lnTo>
                    <a:pt x="1011" y="516"/>
                  </a:lnTo>
                  <a:lnTo>
                    <a:pt x="1005" y="514"/>
                  </a:lnTo>
                  <a:lnTo>
                    <a:pt x="999" y="513"/>
                  </a:lnTo>
                  <a:lnTo>
                    <a:pt x="999" y="513"/>
                  </a:lnTo>
                  <a:lnTo>
                    <a:pt x="989" y="511"/>
                  </a:lnTo>
                  <a:lnTo>
                    <a:pt x="979" y="508"/>
                  </a:lnTo>
                  <a:lnTo>
                    <a:pt x="979" y="508"/>
                  </a:lnTo>
                  <a:lnTo>
                    <a:pt x="975" y="507"/>
                  </a:lnTo>
                  <a:lnTo>
                    <a:pt x="975" y="507"/>
                  </a:lnTo>
                  <a:lnTo>
                    <a:pt x="973" y="508"/>
                  </a:lnTo>
                  <a:lnTo>
                    <a:pt x="973" y="508"/>
                  </a:lnTo>
                  <a:lnTo>
                    <a:pt x="972" y="511"/>
                  </a:lnTo>
                  <a:lnTo>
                    <a:pt x="972" y="511"/>
                  </a:lnTo>
                  <a:lnTo>
                    <a:pt x="972" y="513"/>
                  </a:lnTo>
                  <a:lnTo>
                    <a:pt x="972" y="513"/>
                  </a:lnTo>
                  <a:lnTo>
                    <a:pt x="976" y="519"/>
                  </a:lnTo>
                  <a:lnTo>
                    <a:pt x="976" y="519"/>
                  </a:lnTo>
                  <a:lnTo>
                    <a:pt x="981" y="526"/>
                  </a:lnTo>
                  <a:lnTo>
                    <a:pt x="981" y="526"/>
                  </a:lnTo>
                  <a:lnTo>
                    <a:pt x="983" y="532"/>
                  </a:lnTo>
                  <a:lnTo>
                    <a:pt x="986" y="536"/>
                  </a:lnTo>
                  <a:lnTo>
                    <a:pt x="986" y="537"/>
                  </a:lnTo>
                  <a:lnTo>
                    <a:pt x="986" y="537"/>
                  </a:lnTo>
                  <a:lnTo>
                    <a:pt x="983" y="545"/>
                  </a:lnTo>
                  <a:lnTo>
                    <a:pt x="983" y="545"/>
                  </a:lnTo>
                  <a:lnTo>
                    <a:pt x="978" y="559"/>
                  </a:lnTo>
                  <a:lnTo>
                    <a:pt x="978" y="559"/>
                  </a:lnTo>
                  <a:lnTo>
                    <a:pt x="975" y="566"/>
                  </a:lnTo>
                  <a:lnTo>
                    <a:pt x="975" y="566"/>
                  </a:lnTo>
                  <a:lnTo>
                    <a:pt x="975" y="571"/>
                  </a:lnTo>
                  <a:lnTo>
                    <a:pt x="975" y="571"/>
                  </a:lnTo>
                  <a:lnTo>
                    <a:pt x="975" y="575"/>
                  </a:lnTo>
                  <a:lnTo>
                    <a:pt x="975" y="575"/>
                  </a:lnTo>
                  <a:lnTo>
                    <a:pt x="979" y="578"/>
                  </a:lnTo>
                  <a:lnTo>
                    <a:pt x="979" y="578"/>
                  </a:lnTo>
                  <a:lnTo>
                    <a:pt x="986" y="582"/>
                  </a:lnTo>
                  <a:lnTo>
                    <a:pt x="986" y="582"/>
                  </a:lnTo>
                  <a:lnTo>
                    <a:pt x="989" y="585"/>
                  </a:lnTo>
                  <a:lnTo>
                    <a:pt x="992" y="589"/>
                  </a:lnTo>
                  <a:lnTo>
                    <a:pt x="992" y="589"/>
                  </a:lnTo>
                  <a:lnTo>
                    <a:pt x="992" y="592"/>
                  </a:lnTo>
                  <a:lnTo>
                    <a:pt x="992" y="592"/>
                  </a:lnTo>
                  <a:lnTo>
                    <a:pt x="991" y="598"/>
                  </a:lnTo>
                  <a:lnTo>
                    <a:pt x="988" y="605"/>
                  </a:lnTo>
                  <a:lnTo>
                    <a:pt x="988" y="605"/>
                  </a:lnTo>
                  <a:lnTo>
                    <a:pt x="983" y="611"/>
                  </a:lnTo>
                  <a:lnTo>
                    <a:pt x="983" y="611"/>
                  </a:lnTo>
                  <a:lnTo>
                    <a:pt x="981" y="616"/>
                  </a:lnTo>
                  <a:lnTo>
                    <a:pt x="981" y="616"/>
                  </a:lnTo>
                  <a:lnTo>
                    <a:pt x="979" y="616"/>
                  </a:lnTo>
                  <a:lnTo>
                    <a:pt x="979" y="616"/>
                  </a:lnTo>
                  <a:lnTo>
                    <a:pt x="976" y="616"/>
                  </a:lnTo>
                  <a:lnTo>
                    <a:pt x="976" y="614"/>
                  </a:lnTo>
                  <a:lnTo>
                    <a:pt x="976" y="614"/>
                  </a:lnTo>
                  <a:lnTo>
                    <a:pt x="975" y="616"/>
                  </a:lnTo>
                  <a:lnTo>
                    <a:pt x="976" y="614"/>
                  </a:lnTo>
                  <a:lnTo>
                    <a:pt x="976" y="614"/>
                  </a:lnTo>
                  <a:lnTo>
                    <a:pt x="975" y="616"/>
                  </a:lnTo>
                  <a:lnTo>
                    <a:pt x="976" y="614"/>
                  </a:lnTo>
                  <a:lnTo>
                    <a:pt x="976" y="614"/>
                  </a:lnTo>
                  <a:lnTo>
                    <a:pt x="975" y="611"/>
                  </a:lnTo>
                  <a:lnTo>
                    <a:pt x="975" y="611"/>
                  </a:lnTo>
                  <a:lnTo>
                    <a:pt x="970" y="607"/>
                  </a:lnTo>
                  <a:lnTo>
                    <a:pt x="970" y="607"/>
                  </a:lnTo>
                  <a:lnTo>
                    <a:pt x="967" y="605"/>
                  </a:lnTo>
                  <a:lnTo>
                    <a:pt x="965" y="605"/>
                  </a:lnTo>
                  <a:lnTo>
                    <a:pt x="963" y="605"/>
                  </a:lnTo>
                  <a:lnTo>
                    <a:pt x="963" y="605"/>
                  </a:lnTo>
                  <a:lnTo>
                    <a:pt x="963" y="605"/>
                  </a:lnTo>
                  <a:lnTo>
                    <a:pt x="963" y="605"/>
                  </a:lnTo>
                  <a:lnTo>
                    <a:pt x="962" y="604"/>
                  </a:lnTo>
                  <a:lnTo>
                    <a:pt x="962" y="604"/>
                  </a:lnTo>
                  <a:lnTo>
                    <a:pt x="960" y="603"/>
                  </a:lnTo>
                  <a:lnTo>
                    <a:pt x="960" y="603"/>
                  </a:lnTo>
                  <a:lnTo>
                    <a:pt x="959" y="601"/>
                  </a:lnTo>
                  <a:lnTo>
                    <a:pt x="959" y="601"/>
                  </a:lnTo>
                  <a:lnTo>
                    <a:pt x="957" y="600"/>
                  </a:lnTo>
                  <a:lnTo>
                    <a:pt x="957" y="600"/>
                  </a:lnTo>
                  <a:lnTo>
                    <a:pt x="954" y="601"/>
                  </a:lnTo>
                  <a:lnTo>
                    <a:pt x="954" y="601"/>
                  </a:lnTo>
                  <a:lnTo>
                    <a:pt x="952" y="604"/>
                  </a:lnTo>
                  <a:lnTo>
                    <a:pt x="952" y="604"/>
                  </a:lnTo>
                  <a:lnTo>
                    <a:pt x="943" y="614"/>
                  </a:lnTo>
                  <a:lnTo>
                    <a:pt x="943" y="614"/>
                  </a:lnTo>
                  <a:lnTo>
                    <a:pt x="940" y="617"/>
                  </a:lnTo>
                  <a:lnTo>
                    <a:pt x="940" y="617"/>
                  </a:lnTo>
                  <a:lnTo>
                    <a:pt x="933" y="620"/>
                  </a:lnTo>
                  <a:lnTo>
                    <a:pt x="933" y="620"/>
                  </a:lnTo>
                  <a:lnTo>
                    <a:pt x="928" y="623"/>
                  </a:lnTo>
                  <a:lnTo>
                    <a:pt x="925" y="626"/>
                  </a:lnTo>
                  <a:lnTo>
                    <a:pt x="925" y="626"/>
                  </a:lnTo>
                  <a:lnTo>
                    <a:pt x="918" y="633"/>
                  </a:lnTo>
                  <a:lnTo>
                    <a:pt x="918" y="633"/>
                  </a:lnTo>
                  <a:lnTo>
                    <a:pt x="911" y="642"/>
                  </a:lnTo>
                  <a:lnTo>
                    <a:pt x="911" y="642"/>
                  </a:lnTo>
                  <a:lnTo>
                    <a:pt x="911" y="642"/>
                  </a:lnTo>
                  <a:lnTo>
                    <a:pt x="911" y="645"/>
                  </a:lnTo>
                  <a:lnTo>
                    <a:pt x="911" y="645"/>
                  </a:lnTo>
                  <a:lnTo>
                    <a:pt x="911" y="647"/>
                  </a:lnTo>
                  <a:lnTo>
                    <a:pt x="912" y="652"/>
                  </a:lnTo>
                  <a:lnTo>
                    <a:pt x="912" y="652"/>
                  </a:lnTo>
                  <a:lnTo>
                    <a:pt x="920" y="660"/>
                  </a:lnTo>
                  <a:lnTo>
                    <a:pt x="920" y="660"/>
                  </a:lnTo>
                  <a:lnTo>
                    <a:pt x="925" y="668"/>
                  </a:lnTo>
                  <a:lnTo>
                    <a:pt x="925" y="668"/>
                  </a:lnTo>
                  <a:lnTo>
                    <a:pt x="925" y="669"/>
                  </a:lnTo>
                  <a:lnTo>
                    <a:pt x="925" y="669"/>
                  </a:lnTo>
                  <a:lnTo>
                    <a:pt x="923" y="675"/>
                  </a:lnTo>
                  <a:lnTo>
                    <a:pt x="923" y="675"/>
                  </a:lnTo>
                  <a:lnTo>
                    <a:pt x="923" y="675"/>
                  </a:lnTo>
                  <a:lnTo>
                    <a:pt x="923" y="675"/>
                  </a:lnTo>
                  <a:lnTo>
                    <a:pt x="923" y="675"/>
                  </a:lnTo>
                  <a:lnTo>
                    <a:pt x="923" y="675"/>
                  </a:lnTo>
                  <a:lnTo>
                    <a:pt x="923" y="675"/>
                  </a:lnTo>
                  <a:lnTo>
                    <a:pt x="923" y="675"/>
                  </a:lnTo>
                  <a:lnTo>
                    <a:pt x="923" y="675"/>
                  </a:lnTo>
                  <a:lnTo>
                    <a:pt x="923" y="675"/>
                  </a:lnTo>
                  <a:lnTo>
                    <a:pt x="923" y="675"/>
                  </a:lnTo>
                  <a:lnTo>
                    <a:pt x="923" y="675"/>
                  </a:lnTo>
                  <a:lnTo>
                    <a:pt x="923" y="675"/>
                  </a:lnTo>
                  <a:lnTo>
                    <a:pt x="918" y="673"/>
                  </a:lnTo>
                  <a:lnTo>
                    <a:pt x="918" y="673"/>
                  </a:lnTo>
                  <a:lnTo>
                    <a:pt x="910" y="671"/>
                  </a:lnTo>
                  <a:lnTo>
                    <a:pt x="910" y="671"/>
                  </a:lnTo>
                  <a:lnTo>
                    <a:pt x="902" y="666"/>
                  </a:lnTo>
                  <a:lnTo>
                    <a:pt x="902" y="666"/>
                  </a:lnTo>
                  <a:lnTo>
                    <a:pt x="896" y="665"/>
                  </a:lnTo>
                  <a:lnTo>
                    <a:pt x="896" y="665"/>
                  </a:lnTo>
                  <a:lnTo>
                    <a:pt x="892" y="666"/>
                  </a:lnTo>
                  <a:lnTo>
                    <a:pt x="892" y="666"/>
                  </a:lnTo>
                  <a:lnTo>
                    <a:pt x="889" y="668"/>
                  </a:lnTo>
                  <a:lnTo>
                    <a:pt x="889" y="668"/>
                  </a:lnTo>
                  <a:lnTo>
                    <a:pt x="889" y="668"/>
                  </a:lnTo>
                  <a:lnTo>
                    <a:pt x="888" y="668"/>
                  </a:lnTo>
                  <a:lnTo>
                    <a:pt x="888" y="668"/>
                  </a:lnTo>
                  <a:lnTo>
                    <a:pt x="883" y="663"/>
                  </a:lnTo>
                  <a:lnTo>
                    <a:pt x="881" y="658"/>
                  </a:lnTo>
                  <a:lnTo>
                    <a:pt x="881" y="658"/>
                  </a:lnTo>
                  <a:lnTo>
                    <a:pt x="878" y="655"/>
                  </a:lnTo>
                  <a:lnTo>
                    <a:pt x="878" y="655"/>
                  </a:lnTo>
                  <a:lnTo>
                    <a:pt x="875" y="653"/>
                  </a:lnTo>
                  <a:lnTo>
                    <a:pt x="875" y="653"/>
                  </a:lnTo>
                  <a:lnTo>
                    <a:pt x="870" y="653"/>
                  </a:lnTo>
                  <a:lnTo>
                    <a:pt x="870" y="653"/>
                  </a:lnTo>
                  <a:lnTo>
                    <a:pt x="869" y="653"/>
                  </a:lnTo>
                  <a:lnTo>
                    <a:pt x="869" y="653"/>
                  </a:lnTo>
                  <a:lnTo>
                    <a:pt x="866" y="652"/>
                  </a:lnTo>
                  <a:lnTo>
                    <a:pt x="866" y="652"/>
                  </a:lnTo>
                  <a:lnTo>
                    <a:pt x="865" y="653"/>
                  </a:lnTo>
                  <a:lnTo>
                    <a:pt x="865" y="653"/>
                  </a:lnTo>
                  <a:lnTo>
                    <a:pt x="863" y="655"/>
                  </a:lnTo>
                  <a:lnTo>
                    <a:pt x="863" y="655"/>
                  </a:lnTo>
                  <a:lnTo>
                    <a:pt x="863" y="656"/>
                  </a:lnTo>
                  <a:lnTo>
                    <a:pt x="863" y="656"/>
                  </a:lnTo>
                  <a:lnTo>
                    <a:pt x="863" y="658"/>
                  </a:lnTo>
                  <a:lnTo>
                    <a:pt x="863" y="659"/>
                  </a:lnTo>
                  <a:lnTo>
                    <a:pt x="863" y="659"/>
                  </a:lnTo>
                  <a:lnTo>
                    <a:pt x="862" y="660"/>
                  </a:lnTo>
                  <a:lnTo>
                    <a:pt x="862" y="660"/>
                  </a:lnTo>
                  <a:lnTo>
                    <a:pt x="859" y="662"/>
                  </a:lnTo>
                  <a:lnTo>
                    <a:pt x="859" y="662"/>
                  </a:lnTo>
                  <a:lnTo>
                    <a:pt x="857" y="665"/>
                  </a:lnTo>
                  <a:lnTo>
                    <a:pt x="857" y="665"/>
                  </a:lnTo>
                  <a:lnTo>
                    <a:pt x="856" y="666"/>
                  </a:lnTo>
                  <a:lnTo>
                    <a:pt x="856" y="666"/>
                  </a:lnTo>
                  <a:lnTo>
                    <a:pt x="859" y="675"/>
                  </a:lnTo>
                  <a:lnTo>
                    <a:pt x="859" y="675"/>
                  </a:lnTo>
                  <a:lnTo>
                    <a:pt x="865" y="685"/>
                  </a:lnTo>
                  <a:lnTo>
                    <a:pt x="865" y="685"/>
                  </a:lnTo>
                  <a:lnTo>
                    <a:pt x="869" y="689"/>
                  </a:lnTo>
                  <a:lnTo>
                    <a:pt x="869" y="689"/>
                  </a:lnTo>
                  <a:lnTo>
                    <a:pt x="872" y="691"/>
                  </a:lnTo>
                  <a:lnTo>
                    <a:pt x="872" y="691"/>
                  </a:lnTo>
                  <a:lnTo>
                    <a:pt x="875" y="689"/>
                  </a:lnTo>
                  <a:lnTo>
                    <a:pt x="875" y="689"/>
                  </a:lnTo>
                  <a:lnTo>
                    <a:pt x="878" y="688"/>
                  </a:lnTo>
                  <a:lnTo>
                    <a:pt x="881" y="687"/>
                  </a:lnTo>
                  <a:lnTo>
                    <a:pt x="881" y="687"/>
                  </a:lnTo>
                  <a:lnTo>
                    <a:pt x="881" y="687"/>
                  </a:lnTo>
                  <a:lnTo>
                    <a:pt x="881" y="685"/>
                  </a:lnTo>
                  <a:lnTo>
                    <a:pt x="881" y="687"/>
                  </a:lnTo>
                  <a:lnTo>
                    <a:pt x="881" y="687"/>
                  </a:lnTo>
                  <a:lnTo>
                    <a:pt x="881" y="685"/>
                  </a:lnTo>
                  <a:lnTo>
                    <a:pt x="881" y="687"/>
                  </a:lnTo>
                  <a:lnTo>
                    <a:pt x="881" y="687"/>
                  </a:lnTo>
                  <a:lnTo>
                    <a:pt x="881" y="687"/>
                  </a:lnTo>
                  <a:lnTo>
                    <a:pt x="881" y="687"/>
                  </a:lnTo>
                  <a:lnTo>
                    <a:pt x="881" y="687"/>
                  </a:lnTo>
                  <a:lnTo>
                    <a:pt x="881" y="687"/>
                  </a:lnTo>
                  <a:lnTo>
                    <a:pt x="881" y="687"/>
                  </a:lnTo>
                  <a:lnTo>
                    <a:pt x="881" y="687"/>
                  </a:lnTo>
                  <a:lnTo>
                    <a:pt x="882" y="689"/>
                  </a:lnTo>
                  <a:lnTo>
                    <a:pt x="882" y="689"/>
                  </a:lnTo>
                  <a:lnTo>
                    <a:pt x="882" y="697"/>
                  </a:lnTo>
                  <a:lnTo>
                    <a:pt x="882" y="697"/>
                  </a:lnTo>
                  <a:lnTo>
                    <a:pt x="883" y="700"/>
                  </a:lnTo>
                  <a:lnTo>
                    <a:pt x="885" y="702"/>
                  </a:lnTo>
                  <a:lnTo>
                    <a:pt x="885" y="704"/>
                  </a:lnTo>
                  <a:lnTo>
                    <a:pt x="885" y="702"/>
                  </a:lnTo>
                  <a:lnTo>
                    <a:pt x="885" y="702"/>
                  </a:lnTo>
                  <a:lnTo>
                    <a:pt x="885" y="704"/>
                  </a:lnTo>
                  <a:lnTo>
                    <a:pt x="885" y="702"/>
                  </a:lnTo>
                  <a:lnTo>
                    <a:pt x="885" y="702"/>
                  </a:lnTo>
                  <a:lnTo>
                    <a:pt x="885" y="702"/>
                  </a:lnTo>
                  <a:lnTo>
                    <a:pt x="885" y="702"/>
                  </a:lnTo>
                  <a:lnTo>
                    <a:pt x="885" y="702"/>
                  </a:lnTo>
                  <a:lnTo>
                    <a:pt x="885" y="702"/>
                  </a:lnTo>
                  <a:lnTo>
                    <a:pt x="885" y="702"/>
                  </a:lnTo>
                  <a:lnTo>
                    <a:pt x="885" y="702"/>
                  </a:lnTo>
                  <a:lnTo>
                    <a:pt x="885" y="702"/>
                  </a:lnTo>
                  <a:lnTo>
                    <a:pt x="885" y="702"/>
                  </a:lnTo>
                  <a:lnTo>
                    <a:pt x="885" y="702"/>
                  </a:lnTo>
                  <a:lnTo>
                    <a:pt x="885" y="702"/>
                  </a:lnTo>
                  <a:lnTo>
                    <a:pt x="885" y="702"/>
                  </a:lnTo>
                  <a:lnTo>
                    <a:pt x="883" y="702"/>
                  </a:lnTo>
                  <a:lnTo>
                    <a:pt x="883" y="702"/>
                  </a:lnTo>
                  <a:lnTo>
                    <a:pt x="881" y="704"/>
                  </a:lnTo>
                  <a:lnTo>
                    <a:pt x="881" y="704"/>
                  </a:lnTo>
                  <a:lnTo>
                    <a:pt x="876" y="704"/>
                  </a:lnTo>
                  <a:lnTo>
                    <a:pt x="876" y="704"/>
                  </a:lnTo>
                  <a:lnTo>
                    <a:pt x="875" y="705"/>
                  </a:lnTo>
                  <a:lnTo>
                    <a:pt x="875" y="705"/>
                  </a:lnTo>
                  <a:lnTo>
                    <a:pt x="866" y="702"/>
                  </a:lnTo>
                  <a:lnTo>
                    <a:pt x="866" y="702"/>
                  </a:lnTo>
                  <a:lnTo>
                    <a:pt x="859" y="698"/>
                  </a:lnTo>
                  <a:lnTo>
                    <a:pt x="859" y="698"/>
                  </a:lnTo>
                  <a:lnTo>
                    <a:pt x="856" y="695"/>
                  </a:lnTo>
                  <a:lnTo>
                    <a:pt x="854" y="692"/>
                  </a:lnTo>
                  <a:lnTo>
                    <a:pt x="854" y="692"/>
                  </a:lnTo>
                  <a:lnTo>
                    <a:pt x="853" y="689"/>
                  </a:lnTo>
                  <a:lnTo>
                    <a:pt x="853" y="689"/>
                  </a:lnTo>
                  <a:lnTo>
                    <a:pt x="850" y="688"/>
                  </a:lnTo>
                  <a:lnTo>
                    <a:pt x="849" y="687"/>
                  </a:lnTo>
                  <a:lnTo>
                    <a:pt x="849" y="687"/>
                  </a:lnTo>
                  <a:lnTo>
                    <a:pt x="843" y="685"/>
                  </a:lnTo>
                  <a:lnTo>
                    <a:pt x="843" y="685"/>
                  </a:lnTo>
                  <a:lnTo>
                    <a:pt x="839" y="681"/>
                  </a:lnTo>
                  <a:lnTo>
                    <a:pt x="839" y="681"/>
                  </a:lnTo>
                  <a:lnTo>
                    <a:pt x="839" y="681"/>
                  </a:lnTo>
                  <a:lnTo>
                    <a:pt x="839" y="681"/>
                  </a:lnTo>
                  <a:lnTo>
                    <a:pt x="836" y="676"/>
                  </a:lnTo>
                  <a:lnTo>
                    <a:pt x="836" y="676"/>
                  </a:lnTo>
                  <a:lnTo>
                    <a:pt x="834" y="675"/>
                  </a:lnTo>
                  <a:lnTo>
                    <a:pt x="834" y="675"/>
                  </a:lnTo>
                  <a:lnTo>
                    <a:pt x="834" y="675"/>
                  </a:lnTo>
                  <a:lnTo>
                    <a:pt x="834" y="675"/>
                  </a:lnTo>
                  <a:lnTo>
                    <a:pt x="834" y="675"/>
                  </a:lnTo>
                  <a:lnTo>
                    <a:pt x="834" y="675"/>
                  </a:lnTo>
                  <a:lnTo>
                    <a:pt x="834" y="675"/>
                  </a:lnTo>
                  <a:lnTo>
                    <a:pt x="833" y="675"/>
                  </a:lnTo>
                  <a:lnTo>
                    <a:pt x="834" y="675"/>
                  </a:lnTo>
                  <a:lnTo>
                    <a:pt x="834" y="675"/>
                  </a:lnTo>
                  <a:lnTo>
                    <a:pt x="833" y="675"/>
                  </a:lnTo>
                  <a:lnTo>
                    <a:pt x="834" y="675"/>
                  </a:lnTo>
                  <a:lnTo>
                    <a:pt x="834" y="675"/>
                  </a:lnTo>
                  <a:lnTo>
                    <a:pt x="834" y="676"/>
                  </a:lnTo>
                  <a:lnTo>
                    <a:pt x="834" y="675"/>
                  </a:lnTo>
                  <a:lnTo>
                    <a:pt x="834" y="675"/>
                  </a:lnTo>
                  <a:lnTo>
                    <a:pt x="834" y="676"/>
                  </a:lnTo>
                  <a:lnTo>
                    <a:pt x="834" y="676"/>
                  </a:lnTo>
                  <a:lnTo>
                    <a:pt x="834" y="675"/>
                  </a:lnTo>
                  <a:lnTo>
                    <a:pt x="834" y="676"/>
                  </a:lnTo>
                  <a:lnTo>
                    <a:pt x="834" y="676"/>
                  </a:lnTo>
                  <a:lnTo>
                    <a:pt x="836" y="672"/>
                  </a:lnTo>
                  <a:lnTo>
                    <a:pt x="836" y="672"/>
                  </a:lnTo>
                  <a:lnTo>
                    <a:pt x="836" y="668"/>
                  </a:lnTo>
                  <a:lnTo>
                    <a:pt x="836" y="668"/>
                  </a:lnTo>
                  <a:lnTo>
                    <a:pt x="836" y="659"/>
                  </a:lnTo>
                  <a:lnTo>
                    <a:pt x="834" y="652"/>
                  </a:lnTo>
                  <a:lnTo>
                    <a:pt x="834" y="652"/>
                  </a:lnTo>
                  <a:lnTo>
                    <a:pt x="833" y="647"/>
                  </a:lnTo>
                  <a:lnTo>
                    <a:pt x="830" y="646"/>
                  </a:lnTo>
                  <a:lnTo>
                    <a:pt x="830" y="646"/>
                  </a:lnTo>
                  <a:lnTo>
                    <a:pt x="828" y="645"/>
                  </a:lnTo>
                  <a:lnTo>
                    <a:pt x="828" y="645"/>
                  </a:lnTo>
                  <a:lnTo>
                    <a:pt x="828" y="645"/>
                  </a:lnTo>
                  <a:lnTo>
                    <a:pt x="828" y="646"/>
                  </a:lnTo>
                  <a:lnTo>
                    <a:pt x="828" y="645"/>
                  </a:lnTo>
                  <a:lnTo>
                    <a:pt x="828" y="645"/>
                  </a:lnTo>
                  <a:lnTo>
                    <a:pt x="828" y="646"/>
                  </a:lnTo>
                  <a:lnTo>
                    <a:pt x="828" y="645"/>
                  </a:lnTo>
                  <a:lnTo>
                    <a:pt x="827" y="646"/>
                  </a:lnTo>
                  <a:lnTo>
                    <a:pt x="830" y="645"/>
                  </a:lnTo>
                  <a:lnTo>
                    <a:pt x="828" y="645"/>
                  </a:lnTo>
                  <a:lnTo>
                    <a:pt x="827" y="646"/>
                  </a:lnTo>
                  <a:lnTo>
                    <a:pt x="830" y="645"/>
                  </a:lnTo>
                  <a:lnTo>
                    <a:pt x="827" y="646"/>
                  </a:lnTo>
                  <a:lnTo>
                    <a:pt x="830" y="646"/>
                  </a:lnTo>
                  <a:lnTo>
                    <a:pt x="830" y="646"/>
                  </a:lnTo>
                  <a:lnTo>
                    <a:pt x="830" y="645"/>
                  </a:lnTo>
                  <a:lnTo>
                    <a:pt x="827" y="646"/>
                  </a:lnTo>
                  <a:lnTo>
                    <a:pt x="830" y="646"/>
                  </a:lnTo>
                  <a:lnTo>
                    <a:pt x="827" y="646"/>
                  </a:lnTo>
                  <a:lnTo>
                    <a:pt x="830" y="647"/>
                  </a:lnTo>
                  <a:lnTo>
                    <a:pt x="830" y="647"/>
                  </a:lnTo>
                  <a:lnTo>
                    <a:pt x="830" y="646"/>
                  </a:lnTo>
                  <a:lnTo>
                    <a:pt x="827" y="646"/>
                  </a:lnTo>
                  <a:lnTo>
                    <a:pt x="830" y="647"/>
                  </a:lnTo>
                  <a:lnTo>
                    <a:pt x="827" y="646"/>
                  </a:lnTo>
                  <a:lnTo>
                    <a:pt x="828" y="649"/>
                  </a:lnTo>
                  <a:lnTo>
                    <a:pt x="828" y="649"/>
                  </a:lnTo>
                  <a:lnTo>
                    <a:pt x="830" y="647"/>
                  </a:lnTo>
                  <a:lnTo>
                    <a:pt x="827" y="646"/>
                  </a:lnTo>
                  <a:lnTo>
                    <a:pt x="828" y="649"/>
                  </a:lnTo>
                  <a:lnTo>
                    <a:pt x="827" y="646"/>
                  </a:lnTo>
                  <a:lnTo>
                    <a:pt x="828" y="649"/>
                  </a:lnTo>
                  <a:lnTo>
                    <a:pt x="828" y="649"/>
                  </a:lnTo>
                  <a:lnTo>
                    <a:pt x="827" y="646"/>
                  </a:lnTo>
                  <a:lnTo>
                    <a:pt x="828" y="649"/>
                  </a:lnTo>
                  <a:lnTo>
                    <a:pt x="828" y="649"/>
                  </a:lnTo>
                  <a:lnTo>
                    <a:pt x="830" y="647"/>
                  </a:lnTo>
                  <a:lnTo>
                    <a:pt x="830" y="647"/>
                  </a:lnTo>
                  <a:lnTo>
                    <a:pt x="831" y="647"/>
                  </a:lnTo>
                  <a:lnTo>
                    <a:pt x="833" y="646"/>
                  </a:lnTo>
                  <a:lnTo>
                    <a:pt x="833" y="646"/>
                  </a:lnTo>
                  <a:lnTo>
                    <a:pt x="834" y="640"/>
                  </a:lnTo>
                  <a:lnTo>
                    <a:pt x="834" y="640"/>
                  </a:lnTo>
                  <a:lnTo>
                    <a:pt x="834" y="636"/>
                  </a:lnTo>
                  <a:lnTo>
                    <a:pt x="834" y="636"/>
                  </a:lnTo>
                  <a:lnTo>
                    <a:pt x="834" y="631"/>
                  </a:lnTo>
                  <a:lnTo>
                    <a:pt x="834" y="631"/>
                  </a:lnTo>
                  <a:lnTo>
                    <a:pt x="833" y="629"/>
                  </a:lnTo>
                  <a:lnTo>
                    <a:pt x="833" y="629"/>
                  </a:lnTo>
                  <a:lnTo>
                    <a:pt x="830" y="624"/>
                  </a:lnTo>
                  <a:lnTo>
                    <a:pt x="830" y="624"/>
                  </a:lnTo>
                  <a:lnTo>
                    <a:pt x="823" y="617"/>
                  </a:lnTo>
                  <a:lnTo>
                    <a:pt x="823" y="617"/>
                  </a:lnTo>
                  <a:lnTo>
                    <a:pt x="818" y="614"/>
                  </a:lnTo>
                  <a:lnTo>
                    <a:pt x="818" y="614"/>
                  </a:lnTo>
                  <a:lnTo>
                    <a:pt x="817" y="613"/>
                  </a:lnTo>
                  <a:lnTo>
                    <a:pt x="817" y="613"/>
                  </a:lnTo>
                  <a:lnTo>
                    <a:pt x="814" y="613"/>
                  </a:lnTo>
                  <a:lnTo>
                    <a:pt x="814" y="613"/>
                  </a:lnTo>
                  <a:lnTo>
                    <a:pt x="814" y="613"/>
                  </a:lnTo>
                  <a:lnTo>
                    <a:pt x="814" y="613"/>
                  </a:lnTo>
                  <a:lnTo>
                    <a:pt x="814" y="613"/>
                  </a:lnTo>
                  <a:lnTo>
                    <a:pt x="814" y="613"/>
                  </a:lnTo>
                  <a:lnTo>
                    <a:pt x="814" y="613"/>
                  </a:lnTo>
                  <a:lnTo>
                    <a:pt x="814" y="613"/>
                  </a:lnTo>
                  <a:lnTo>
                    <a:pt x="811" y="608"/>
                  </a:lnTo>
                  <a:lnTo>
                    <a:pt x="811" y="608"/>
                  </a:lnTo>
                  <a:lnTo>
                    <a:pt x="810" y="607"/>
                  </a:lnTo>
                  <a:lnTo>
                    <a:pt x="810" y="605"/>
                  </a:lnTo>
                  <a:lnTo>
                    <a:pt x="810" y="605"/>
                  </a:lnTo>
                  <a:lnTo>
                    <a:pt x="808" y="605"/>
                  </a:lnTo>
                  <a:lnTo>
                    <a:pt x="810" y="605"/>
                  </a:lnTo>
                  <a:lnTo>
                    <a:pt x="810" y="605"/>
                  </a:lnTo>
                  <a:lnTo>
                    <a:pt x="808" y="605"/>
                  </a:lnTo>
                  <a:lnTo>
                    <a:pt x="810" y="605"/>
                  </a:lnTo>
                  <a:lnTo>
                    <a:pt x="810" y="605"/>
                  </a:lnTo>
                  <a:lnTo>
                    <a:pt x="810" y="604"/>
                  </a:lnTo>
                  <a:lnTo>
                    <a:pt x="810" y="604"/>
                  </a:lnTo>
                  <a:lnTo>
                    <a:pt x="805" y="598"/>
                  </a:lnTo>
                  <a:lnTo>
                    <a:pt x="805" y="598"/>
                  </a:lnTo>
                  <a:lnTo>
                    <a:pt x="802" y="595"/>
                  </a:lnTo>
                  <a:lnTo>
                    <a:pt x="802" y="595"/>
                  </a:lnTo>
                  <a:lnTo>
                    <a:pt x="799" y="594"/>
                  </a:lnTo>
                  <a:lnTo>
                    <a:pt x="799" y="594"/>
                  </a:lnTo>
                  <a:lnTo>
                    <a:pt x="797" y="594"/>
                  </a:lnTo>
                  <a:lnTo>
                    <a:pt x="797" y="594"/>
                  </a:lnTo>
                  <a:lnTo>
                    <a:pt x="791" y="594"/>
                  </a:lnTo>
                  <a:lnTo>
                    <a:pt x="786" y="591"/>
                  </a:lnTo>
                  <a:lnTo>
                    <a:pt x="785" y="591"/>
                  </a:lnTo>
                  <a:lnTo>
                    <a:pt x="785" y="591"/>
                  </a:lnTo>
                  <a:lnTo>
                    <a:pt x="785" y="591"/>
                  </a:lnTo>
                  <a:lnTo>
                    <a:pt x="785" y="591"/>
                  </a:lnTo>
                  <a:lnTo>
                    <a:pt x="785" y="591"/>
                  </a:lnTo>
                  <a:lnTo>
                    <a:pt x="785" y="591"/>
                  </a:lnTo>
                  <a:lnTo>
                    <a:pt x="785" y="591"/>
                  </a:lnTo>
                  <a:lnTo>
                    <a:pt x="786" y="591"/>
                  </a:lnTo>
                  <a:lnTo>
                    <a:pt x="785" y="591"/>
                  </a:lnTo>
                  <a:lnTo>
                    <a:pt x="785" y="591"/>
                  </a:lnTo>
                  <a:lnTo>
                    <a:pt x="786" y="591"/>
                  </a:lnTo>
                  <a:lnTo>
                    <a:pt x="785" y="591"/>
                  </a:lnTo>
                  <a:lnTo>
                    <a:pt x="786" y="591"/>
                  </a:lnTo>
                  <a:lnTo>
                    <a:pt x="786" y="591"/>
                  </a:lnTo>
                  <a:lnTo>
                    <a:pt x="785" y="591"/>
                  </a:lnTo>
                  <a:lnTo>
                    <a:pt x="786" y="591"/>
                  </a:lnTo>
                  <a:lnTo>
                    <a:pt x="785" y="591"/>
                  </a:lnTo>
                  <a:lnTo>
                    <a:pt x="786" y="591"/>
                  </a:lnTo>
                  <a:lnTo>
                    <a:pt x="785" y="591"/>
                  </a:lnTo>
                  <a:lnTo>
                    <a:pt x="786" y="591"/>
                  </a:lnTo>
                  <a:lnTo>
                    <a:pt x="786" y="591"/>
                  </a:lnTo>
                  <a:lnTo>
                    <a:pt x="788" y="589"/>
                  </a:lnTo>
                  <a:lnTo>
                    <a:pt x="788" y="589"/>
                  </a:lnTo>
                  <a:lnTo>
                    <a:pt x="789" y="589"/>
                  </a:lnTo>
                  <a:lnTo>
                    <a:pt x="789" y="589"/>
                  </a:lnTo>
                  <a:lnTo>
                    <a:pt x="791" y="588"/>
                  </a:lnTo>
                  <a:lnTo>
                    <a:pt x="792" y="587"/>
                  </a:lnTo>
                  <a:lnTo>
                    <a:pt x="792" y="587"/>
                  </a:lnTo>
                  <a:lnTo>
                    <a:pt x="795" y="582"/>
                  </a:lnTo>
                  <a:lnTo>
                    <a:pt x="795" y="582"/>
                  </a:lnTo>
                  <a:lnTo>
                    <a:pt x="795" y="581"/>
                  </a:lnTo>
                  <a:lnTo>
                    <a:pt x="795" y="581"/>
                  </a:lnTo>
                  <a:lnTo>
                    <a:pt x="795" y="581"/>
                  </a:lnTo>
                  <a:lnTo>
                    <a:pt x="795" y="579"/>
                  </a:lnTo>
                  <a:lnTo>
                    <a:pt x="795" y="581"/>
                  </a:lnTo>
                  <a:lnTo>
                    <a:pt x="795" y="581"/>
                  </a:lnTo>
                  <a:lnTo>
                    <a:pt x="795" y="579"/>
                  </a:lnTo>
                  <a:lnTo>
                    <a:pt x="795" y="581"/>
                  </a:lnTo>
                  <a:lnTo>
                    <a:pt x="795" y="579"/>
                  </a:lnTo>
                  <a:lnTo>
                    <a:pt x="794" y="581"/>
                  </a:lnTo>
                  <a:lnTo>
                    <a:pt x="795" y="581"/>
                  </a:lnTo>
                  <a:lnTo>
                    <a:pt x="795" y="579"/>
                  </a:lnTo>
                  <a:lnTo>
                    <a:pt x="794" y="581"/>
                  </a:lnTo>
                  <a:lnTo>
                    <a:pt x="794" y="581"/>
                  </a:lnTo>
                  <a:lnTo>
                    <a:pt x="795" y="582"/>
                  </a:lnTo>
                  <a:lnTo>
                    <a:pt x="795" y="582"/>
                  </a:lnTo>
                  <a:lnTo>
                    <a:pt x="799" y="588"/>
                  </a:lnTo>
                  <a:lnTo>
                    <a:pt x="799" y="588"/>
                  </a:lnTo>
                  <a:lnTo>
                    <a:pt x="805" y="594"/>
                  </a:lnTo>
                  <a:lnTo>
                    <a:pt x="805" y="594"/>
                  </a:lnTo>
                  <a:lnTo>
                    <a:pt x="812" y="598"/>
                  </a:lnTo>
                  <a:lnTo>
                    <a:pt x="821" y="603"/>
                  </a:lnTo>
                  <a:lnTo>
                    <a:pt x="821" y="603"/>
                  </a:lnTo>
                  <a:lnTo>
                    <a:pt x="828" y="605"/>
                  </a:lnTo>
                  <a:lnTo>
                    <a:pt x="828" y="605"/>
                  </a:lnTo>
                  <a:lnTo>
                    <a:pt x="834" y="608"/>
                  </a:lnTo>
                  <a:lnTo>
                    <a:pt x="834" y="608"/>
                  </a:lnTo>
                  <a:lnTo>
                    <a:pt x="840" y="611"/>
                  </a:lnTo>
                  <a:lnTo>
                    <a:pt x="840" y="611"/>
                  </a:lnTo>
                  <a:lnTo>
                    <a:pt x="854" y="616"/>
                  </a:lnTo>
                  <a:lnTo>
                    <a:pt x="868" y="617"/>
                  </a:lnTo>
                  <a:lnTo>
                    <a:pt x="868" y="617"/>
                  </a:lnTo>
                  <a:lnTo>
                    <a:pt x="881" y="621"/>
                  </a:lnTo>
                  <a:lnTo>
                    <a:pt x="881" y="621"/>
                  </a:lnTo>
                  <a:lnTo>
                    <a:pt x="888" y="623"/>
                  </a:lnTo>
                  <a:lnTo>
                    <a:pt x="894" y="623"/>
                  </a:lnTo>
                  <a:lnTo>
                    <a:pt x="894" y="623"/>
                  </a:lnTo>
                  <a:lnTo>
                    <a:pt x="899" y="623"/>
                  </a:lnTo>
                  <a:lnTo>
                    <a:pt x="905" y="620"/>
                  </a:lnTo>
                  <a:lnTo>
                    <a:pt x="905" y="620"/>
                  </a:lnTo>
                  <a:lnTo>
                    <a:pt x="910" y="618"/>
                  </a:lnTo>
                  <a:lnTo>
                    <a:pt x="914" y="618"/>
                  </a:lnTo>
                  <a:lnTo>
                    <a:pt x="914" y="618"/>
                  </a:lnTo>
                  <a:lnTo>
                    <a:pt x="920" y="617"/>
                  </a:lnTo>
                  <a:lnTo>
                    <a:pt x="924" y="614"/>
                  </a:lnTo>
                  <a:lnTo>
                    <a:pt x="924" y="614"/>
                  </a:lnTo>
                  <a:lnTo>
                    <a:pt x="928" y="608"/>
                  </a:lnTo>
                  <a:lnTo>
                    <a:pt x="934" y="603"/>
                  </a:lnTo>
                  <a:lnTo>
                    <a:pt x="934" y="603"/>
                  </a:lnTo>
                  <a:lnTo>
                    <a:pt x="937" y="597"/>
                  </a:lnTo>
                  <a:lnTo>
                    <a:pt x="939" y="591"/>
                  </a:lnTo>
                  <a:lnTo>
                    <a:pt x="940" y="579"/>
                  </a:lnTo>
                  <a:lnTo>
                    <a:pt x="940" y="579"/>
                  </a:lnTo>
                  <a:lnTo>
                    <a:pt x="940" y="575"/>
                  </a:lnTo>
                  <a:lnTo>
                    <a:pt x="940" y="575"/>
                  </a:lnTo>
                  <a:lnTo>
                    <a:pt x="939" y="572"/>
                  </a:lnTo>
                  <a:lnTo>
                    <a:pt x="937" y="572"/>
                  </a:lnTo>
                  <a:lnTo>
                    <a:pt x="939" y="572"/>
                  </a:lnTo>
                  <a:lnTo>
                    <a:pt x="939" y="572"/>
                  </a:lnTo>
                  <a:lnTo>
                    <a:pt x="937" y="572"/>
                  </a:lnTo>
                  <a:lnTo>
                    <a:pt x="939" y="572"/>
                  </a:lnTo>
                  <a:lnTo>
                    <a:pt x="939" y="572"/>
                  </a:lnTo>
                  <a:lnTo>
                    <a:pt x="939" y="572"/>
                  </a:lnTo>
                  <a:lnTo>
                    <a:pt x="939" y="572"/>
                  </a:lnTo>
                  <a:lnTo>
                    <a:pt x="939" y="572"/>
                  </a:lnTo>
                  <a:lnTo>
                    <a:pt x="939" y="572"/>
                  </a:lnTo>
                  <a:lnTo>
                    <a:pt x="939" y="572"/>
                  </a:lnTo>
                  <a:lnTo>
                    <a:pt x="939" y="571"/>
                  </a:lnTo>
                  <a:lnTo>
                    <a:pt x="939" y="571"/>
                  </a:lnTo>
                  <a:lnTo>
                    <a:pt x="939" y="558"/>
                  </a:lnTo>
                  <a:lnTo>
                    <a:pt x="939" y="558"/>
                  </a:lnTo>
                  <a:lnTo>
                    <a:pt x="937" y="552"/>
                  </a:lnTo>
                  <a:lnTo>
                    <a:pt x="937" y="552"/>
                  </a:lnTo>
                  <a:lnTo>
                    <a:pt x="936" y="549"/>
                  </a:lnTo>
                  <a:lnTo>
                    <a:pt x="936" y="549"/>
                  </a:lnTo>
                  <a:lnTo>
                    <a:pt x="934" y="546"/>
                  </a:lnTo>
                  <a:lnTo>
                    <a:pt x="934" y="546"/>
                  </a:lnTo>
                  <a:lnTo>
                    <a:pt x="930" y="542"/>
                  </a:lnTo>
                  <a:lnTo>
                    <a:pt x="930" y="542"/>
                  </a:lnTo>
                  <a:lnTo>
                    <a:pt x="925" y="536"/>
                  </a:lnTo>
                  <a:lnTo>
                    <a:pt x="925" y="536"/>
                  </a:lnTo>
                  <a:lnTo>
                    <a:pt x="920" y="532"/>
                  </a:lnTo>
                  <a:lnTo>
                    <a:pt x="920" y="532"/>
                  </a:lnTo>
                  <a:lnTo>
                    <a:pt x="915" y="530"/>
                  </a:lnTo>
                  <a:lnTo>
                    <a:pt x="915" y="530"/>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0" y="529"/>
                  </a:lnTo>
                  <a:lnTo>
                    <a:pt x="910" y="529"/>
                  </a:lnTo>
                  <a:lnTo>
                    <a:pt x="905" y="524"/>
                  </a:lnTo>
                  <a:lnTo>
                    <a:pt x="905" y="524"/>
                  </a:lnTo>
                  <a:lnTo>
                    <a:pt x="898" y="521"/>
                  </a:lnTo>
                  <a:lnTo>
                    <a:pt x="898" y="521"/>
                  </a:lnTo>
                  <a:lnTo>
                    <a:pt x="891" y="520"/>
                  </a:lnTo>
                  <a:lnTo>
                    <a:pt x="891" y="520"/>
                  </a:lnTo>
                  <a:lnTo>
                    <a:pt x="888" y="519"/>
                  </a:lnTo>
                  <a:lnTo>
                    <a:pt x="886" y="517"/>
                  </a:lnTo>
                  <a:lnTo>
                    <a:pt x="886" y="517"/>
                  </a:lnTo>
                  <a:lnTo>
                    <a:pt x="881" y="511"/>
                  </a:lnTo>
                  <a:lnTo>
                    <a:pt x="881" y="511"/>
                  </a:lnTo>
                  <a:lnTo>
                    <a:pt x="875" y="505"/>
                  </a:lnTo>
                  <a:lnTo>
                    <a:pt x="875" y="505"/>
                  </a:lnTo>
                  <a:lnTo>
                    <a:pt x="862" y="495"/>
                  </a:lnTo>
                  <a:lnTo>
                    <a:pt x="862" y="495"/>
                  </a:lnTo>
                  <a:lnTo>
                    <a:pt x="852" y="488"/>
                  </a:lnTo>
                  <a:lnTo>
                    <a:pt x="852" y="488"/>
                  </a:lnTo>
                  <a:lnTo>
                    <a:pt x="849" y="485"/>
                  </a:lnTo>
                  <a:lnTo>
                    <a:pt x="843" y="484"/>
                  </a:lnTo>
                  <a:lnTo>
                    <a:pt x="834" y="482"/>
                  </a:lnTo>
                  <a:lnTo>
                    <a:pt x="834" y="482"/>
                  </a:lnTo>
                  <a:lnTo>
                    <a:pt x="830" y="482"/>
                  </a:lnTo>
                  <a:lnTo>
                    <a:pt x="830" y="482"/>
                  </a:lnTo>
                  <a:lnTo>
                    <a:pt x="828" y="482"/>
                  </a:lnTo>
                  <a:lnTo>
                    <a:pt x="828" y="482"/>
                  </a:lnTo>
                  <a:lnTo>
                    <a:pt x="824" y="481"/>
                  </a:lnTo>
                  <a:lnTo>
                    <a:pt x="824" y="481"/>
                  </a:lnTo>
                  <a:lnTo>
                    <a:pt x="818" y="481"/>
                  </a:lnTo>
                  <a:lnTo>
                    <a:pt x="817" y="481"/>
                  </a:lnTo>
                  <a:lnTo>
                    <a:pt x="815" y="481"/>
                  </a:lnTo>
                  <a:lnTo>
                    <a:pt x="815" y="481"/>
                  </a:lnTo>
                  <a:lnTo>
                    <a:pt x="814" y="479"/>
                  </a:lnTo>
                  <a:lnTo>
                    <a:pt x="814" y="479"/>
                  </a:lnTo>
                  <a:lnTo>
                    <a:pt x="812" y="478"/>
                  </a:lnTo>
                  <a:lnTo>
                    <a:pt x="812" y="478"/>
                  </a:lnTo>
                  <a:lnTo>
                    <a:pt x="811" y="475"/>
                  </a:lnTo>
                  <a:lnTo>
                    <a:pt x="811" y="475"/>
                  </a:lnTo>
                  <a:lnTo>
                    <a:pt x="808" y="475"/>
                  </a:lnTo>
                  <a:lnTo>
                    <a:pt x="808" y="475"/>
                  </a:lnTo>
                  <a:lnTo>
                    <a:pt x="805" y="475"/>
                  </a:lnTo>
                  <a:lnTo>
                    <a:pt x="805" y="475"/>
                  </a:lnTo>
                  <a:lnTo>
                    <a:pt x="798" y="481"/>
                  </a:lnTo>
                  <a:lnTo>
                    <a:pt x="797" y="481"/>
                  </a:lnTo>
                  <a:lnTo>
                    <a:pt x="798" y="482"/>
                  </a:lnTo>
                  <a:lnTo>
                    <a:pt x="798" y="481"/>
                  </a:lnTo>
                  <a:lnTo>
                    <a:pt x="797" y="481"/>
                  </a:lnTo>
                  <a:lnTo>
                    <a:pt x="798" y="482"/>
                  </a:lnTo>
                  <a:lnTo>
                    <a:pt x="798" y="481"/>
                  </a:lnTo>
                  <a:lnTo>
                    <a:pt x="798" y="482"/>
                  </a:lnTo>
                  <a:lnTo>
                    <a:pt x="799" y="482"/>
                  </a:lnTo>
                  <a:lnTo>
                    <a:pt x="799" y="482"/>
                  </a:lnTo>
                  <a:lnTo>
                    <a:pt x="798" y="481"/>
                  </a:lnTo>
                  <a:lnTo>
                    <a:pt x="798" y="482"/>
                  </a:lnTo>
                  <a:lnTo>
                    <a:pt x="799" y="482"/>
                  </a:lnTo>
                  <a:lnTo>
                    <a:pt x="798" y="482"/>
                  </a:lnTo>
                  <a:lnTo>
                    <a:pt x="799" y="482"/>
                  </a:lnTo>
                  <a:lnTo>
                    <a:pt x="799" y="482"/>
                  </a:lnTo>
                  <a:lnTo>
                    <a:pt x="799" y="482"/>
                  </a:lnTo>
                  <a:lnTo>
                    <a:pt x="798" y="482"/>
                  </a:lnTo>
                  <a:lnTo>
                    <a:pt x="799" y="482"/>
                  </a:lnTo>
                  <a:lnTo>
                    <a:pt x="799" y="482"/>
                  </a:lnTo>
                  <a:lnTo>
                    <a:pt x="799" y="482"/>
                  </a:lnTo>
                  <a:lnTo>
                    <a:pt x="799" y="482"/>
                  </a:lnTo>
                  <a:lnTo>
                    <a:pt x="799" y="482"/>
                  </a:lnTo>
                  <a:lnTo>
                    <a:pt x="799" y="482"/>
                  </a:lnTo>
                  <a:lnTo>
                    <a:pt x="799" y="482"/>
                  </a:lnTo>
                  <a:lnTo>
                    <a:pt x="801" y="481"/>
                  </a:lnTo>
                  <a:lnTo>
                    <a:pt x="801" y="481"/>
                  </a:lnTo>
                  <a:lnTo>
                    <a:pt x="801" y="476"/>
                  </a:lnTo>
                  <a:lnTo>
                    <a:pt x="801" y="476"/>
                  </a:lnTo>
                  <a:lnTo>
                    <a:pt x="801" y="474"/>
                  </a:lnTo>
                  <a:lnTo>
                    <a:pt x="801" y="474"/>
                  </a:lnTo>
                  <a:lnTo>
                    <a:pt x="799" y="472"/>
                  </a:lnTo>
                  <a:lnTo>
                    <a:pt x="798" y="472"/>
                  </a:lnTo>
                  <a:lnTo>
                    <a:pt x="798" y="472"/>
                  </a:lnTo>
                  <a:lnTo>
                    <a:pt x="794" y="471"/>
                  </a:lnTo>
                  <a:lnTo>
                    <a:pt x="794" y="471"/>
                  </a:lnTo>
                  <a:lnTo>
                    <a:pt x="792" y="471"/>
                  </a:lnTo>
                  <a:lnTo>
                    <a:pt x="792" y="469"/>
                  </a:lnTo>
                  <a:lnTo>
                    <a:pt x="792" y="469"/>
                  </a:lnTo>
                  <a:lnTo>
                    <a:pt x="791" y="471"/>
                  </a:lnTo>
                  <a:lnTo>
                    <a:pt x="792" y="471"/>
                  </a:lnTo>
                  <a:lnTo>
                    <a:pt x="792" y="471"/>
                  </a:lnTo>
                  <a:lnTo>
                    <a:pt x="792" y="469"/>
                  </a:lnTo>
                  <a:lnTo>
                    <a:pt x="791" y="471"/>
                  </a:lnTo>
                  <a:lnTo>
                    <a:pt x="792" y="471"/>
                  </a:lnTo>
                  <a:lnTo>
                    <a:pt x="791" y="471"/>
                  </a:lnTo>
                  <a:lnTo>
                    <a:pt x="792" y="472"/>
                  </a:lnTo>
                  <a:lnTo>
                    <a:pt x="792" y="471"/>
                  </a:lnTo>
                  <a:lnTo>
                    <a:pt x="791" y="471"/>
                  </a:lnTo>
                  <a:lnTo>
                    <a:pt x="792" y="472"/>
                  </a:lnTo>
                  <a:lnTo>
                    <a:pt x="791" y="471"/>
                  </a:lnTo>
                  <a:lnTo>
                    <a:pt x="791" y="472"/>
                  </a:lnTo>
                  <a:lnTo>
                    <a:pt x="791" y="472"/>
                  </a:lnTo>
                  <a:lnTo>
                    <a:pt x="792" y="472"/>
                  </a:lnTo>
                  <a:lnTo>
                    <a:pt x="791" y="471"/>
                  </a:lnTo>
                  <a:lnTo>
                    <a:pt x="791" y="472"/>
                  </a:lnTo>
                  <a:lnTo>
                    <a:pt x="791" y="472"/>
                  </a:lnTo>
                  <a:lnTo>
                    <a:pt x="791" y="472"/>
                  </a:lnTo>
                  <a:lnTo>
                    <a:pt x="791" y="472"/>
                  </a:lnTo>
                  <a:lnTo>
                    <a:pt x="791" y="472"/>
                  </a:lnTo>
                  <a:lnTo>
                    <a:pt x="791" y="472"/>
                  </a:lnTo>
                  <a:lnTo>
                    <a:pt x="791" y="472"/>
                  </a:lnTo>
                  <a:lnTo>
                    <a:pt x="792" y="472"/>
                  </a:lnTo>
                  <a:lnTo>
                    <a:pt x="792" y="472"/>
                  </a:lnTo>
                  <a:lnTo>
                    <a:pt x="797" y="472"/>
                  </a:lnTo>
                  <a:lnTo>
                    <a:pt x="797" y="472"/>
                  </a:lnTo>
                  <a:lnTo>
                    <a:pt x="802" y="469"/>
                  </a:lnTo>
                  <a:lnTo>
                    <a:pt x="802" y="469"/>
                  </a:lnTo>
                  <a:lnTo>
                    <a:pt x="804" y="466"/>
                  </a:lnTo>
                  <a:lnTo>
                    <a:pt x="804" y="466"/>
                  </a:lnTo>
                  <a:lnTo>
                    <a:pt x="805" y="462"/>
                  </a:lnTo>
                  <a:lnTo>
                    <a:pt x="805" y="462"/>
                  </a:lnTo>
                  <a:lnTo>
                    <a:pt x="804" y="459"/>
                  </a:lnTo>
                  <a:lnTo>
                    <a:pt x="804" y="459"/>
                  </a:lnTo>
                  <a:lnTo>
                    <a:pt x="802" y="458"/>
                  </a:lnTo>
                  <a:lnTo>
                    <a:pt x="802" y="458"/>
                  </a:lnTo>
                  <a:lnTo>
                    <a:pt x="795" y="455"/>
                  </a:lnTo>
                  <a:lnTo>
                    <a:pt x="788" y="453"/>
                  </a:lnTo>
                  <a:lnTo>
                    <a:pt x="788" y="453"/>
                  </a:lnTo>
                  <a:lnTo>
                    <a:pt x="782" y="453"/>
                  </a:lnTo>
                  <a:lnTo>
                    <a:pt x="782" y="453"/>
                  </a:lnTo>
                  <a:lnTo>
                    <a:pt x="779" y="456"/>
                  </a:lnTo>
                  <a:lnTo>
                    <a:pt x="779" y="456"/>
                  </a:lnTo>
                  <a:lnTo>
                    <a:pt x="776" y="459"/>
                  </a:lnTo>
                  <a:lnTo>
                    <a:pt x="776" y="459"/>
                  </a:lnTo>
                  <a:lnTo>
                    <a:pt x="770" y="459"/>
                  </a:lnTo>
                  <a:lnTo>
                    <a:pt x="770" y="459"/>
                  </a:lnTo>
                  <a:lnTo>
                    <a:pt x="763" y="459"/>
                  </a:lnTo>
                  <a:lnTo>
                    <a:pt x="763" y="459"/>
                  </a:lnTo>
                  <a:lnTo>
                    <a:pt x="757" y="458"/>
                  </a:lnTo>
                  <a:lnTo>
                    <a:pt x="753" y="456"/>
                  </a:lnTo>
                  <a:lnTo>
                    <a:pt x="753" y="456"/>
                  </a:lnTo>
                  <a:lnTo>
                    <a:pt x="750" y="455"/>
                  </a:lnTo>
                  <a:lnTo>
                    <a:pt x="750" y="455"/>
                  </a:lnTo>
                  <a:lnTo>
                    <a:pt x="750" y="455"/>
                  </a:lnTo>
                  <a:lnTo>
                    <a:pt x="750" y="455"/>
                  </a:lnTo>
                  <a:lnTo>
                    <a:pt x="750" y="455"/>
                  </a:lnTo>
                  <a:lnTo>
                    <a:pt x="750" y="455"/>
                  </a:lnTo>
                  <a:lnTo>
                    <a:pt x="750" y="455"/>
                  </a:lnTo>
                  <a:lnTo>
                    <a:pt x="750" y="455"/>
                  </a:lnTo>
                  <a:lnTo>
                    <a:pt x="750" y="455"/>
                  </a:lnTo>
                  <a:lnTo>
                    <a:pt x="749" y="452"/>
                  </a:lnTo>
                  <a:lnTo>
                    <a:pt x="749" y="452"/>
                  </a:lnTo>
                  <a:lnTo>
                    <a:pt x="746" y="449"/>
                  </a:lnTo>
                  <a:lnTo>
                    <a:pt x="746" y="449"/>
                  </a:lnTo>
                  <a:lnTo>
                    <a:pt x="739" y="446"/>
                  </a:lnTo>
                  <a:lnTo>
                    <a:pt x="739" y="446"/>
                  </a:lnTo>
                  <a:lnTo>
                    <a:pt x="736" y="445"/>
                  </a:lnTo>
                  <a:lnTo>
                    <a:pt x="736" y="445"/>
                  </a:lnTo>
                  <a:lnTo>
                    <a:pt x="734" y="443"/>
                  </a:lnTo>
                  <a:lnTo>
                    <a:pt x="734" y="443"/>
                  </a:lnTo>
                  <a:lnTo>
                    <a:pt x="733" y="445"/>
                  </a:lnTo>
                  <a:lnTo>
                    <a:pt x="734" y="445"/>
                  </a:lnTo>
                  <a:lnTo>
                    <a:pt x="734" y="443"/>
                  </a:lnTo>
                  <a:lnTo>
                    <a:pt x="733" y="445"/>
                  </a:lnTo>
                  <a:lnTo>
                    <a:pt x="734" y="445"/>
                  </a:lnTo>
                  <a:lnTo>
                    <a:pt x="733" y="445"/>
                  </a:lnTo>
                  <a:lnTo>
                    <a:pt x="734" y="445"/>
                  </a:lnTo>
                  <a:lnTo>
                    <a:pt x="734" y="445"/>
                  </a:lnTo>
                  <a:lnTo>
                    <a:pt x="733" y="445"/>
                  </a:lnTo>
                  <a:lnTo>
                    <a:pt x="734" y="445"/>
                  </a:lnTo>
                  <a:lnTo>
                    <a:pt x="731" y="445"/>
                  </a:lnTo>
                  <a:lnTo>
                    <a:pt x="733" y="446"/>
                  </a:lnTo>
                  <a:lnTo>
                    <a:pt x="733" y="446"/>
                  </a:lnTo>
                  <a:lnTo>
                    <a:pt x="734" y="445"/>
                  </a:lnTo>
                  <a:lnTo>
                    <a:pt x="731" y="445"/>
                  </a:lnTo>
                  <a:lnTo>
                    <a:pt x="733" y="446"/>
                  </a:lnTo>
                  <a:lnTo>
                    <a:pt x="733" y="445"/>
                  </a:lnTo>
                  <a:lnTo>
                    <a:pt x="733" y="446"/>
                  </a:lnTo>
                  <a:lnTo>
                    <a:pt x="733" y="446"/>
                  </a:lnTo>
                  <a:lnTo>
                    <a:pt x="733" y="445"/>
                  </a:lnTo>
                  <a:lnTo>
                    <a:pt x="733" y="446"/>
                  </a:lnTo>
                  <a:lnTo>
                    <a:pt x="733" y="446"/>
                  </a:lnTo>
                  <a:lnTo>
                    <a:pt x="733" y="446"/>
                  </a:lnTo>
                  <a:lnTo>
                    <a:pt x="733" y="446"/>
                  </a:lnTo>
                  <a:lnTo>
                    <a:pt x="733" y="446"/>
                  </a:lnTo>
                  <a:lnTo>
                    <a:pt x="733" y="446"/>
                  </a:lnTo>
                  <a:lnTo>
                    <a:pt x="734" y="446"/>
                  </a:lnTo>
                  <a:lnTo>
                    <a:pt x="734" y="446"/>
                  </a:lnTo>
                  <a:lnTo>
                    <a:pt x="746" y="449"/>
                  </a:lnTo>
                  <a:lnTo>
                    <a:pt x="746" y="449"/>
                  </a:lnTo>
                  <a:lnTo>
                    <a:pt x="752" y="449"/>
                  </a:lnTo>
                  <a:lnTo>
                    <a:pt x="752" y="449"/>
                  </a:lnTo>
                  <a:lnTo>
                    <a:pt x="756" y="449"/>
                  </a:lnTo>
                  <a:lnTo>
                    <a:pt x="756" y="449"/>
                  </a:lnTo>
                  <a:lnTo>
                    <a:pt x="759" y="446"/>
                  </a:lnTo>
                  <a:lnTo>
                    <a:pt x="759" y="446"/>
                  </a:lnTo>
                  <a:lnTo>
                    <a:pt x="765" y="442"/>
                  </a:lnTo>
                  <a:lnTo>
                    <a:pt x="765" y="442"/>
                  </a:lnTo>
                  <a:lnTo>
                    <a:pt x="770" y="436"/>
                  </a:lnTo>
                  <a:lnTo>
                    <a:pt x="770" y="436"/>
                  </a:lnTo>
                  <a:lnTo>
                    <a:pt x="772" y="432"/>
                  </a:lnTo>
                  <a:lnTo>
                    <a:pt x="772" y="432"/>
                  </a:lnTo>
                  <a:lnTo>
                    <a:pt x="772" y="429"/>
                  </a:lnTo>
                  <a:lnTo>
                    <a:pt x="770" y="427"/>
                  </a:lnTo>
                  <a:lnTo>
                    <a:pt x="770" y="427"/>
                  </a:lnTo>
                  <a:lnTo>
                    <a:pt x="768" y="426"/>
                  </a:lnTo>
                  <a:lnTo>
                    <a:pt x="765" y="424"/>
                  </a:lnTo>
                  <a:lnTo>
                    <a:pt x="765" y="424"/>
                  </a:lnTo>
                  <a:lnTo>
                    <a:pt x="763" y="424"/>
                  </a:lnTo>
                  <a:lnTo>
                    <a:pt x="763" y="424"/>
                  </a:lnTo>
                  <a:lnTo>
                    <a:pt x="760" y="421"/>
                  </a:lnTo>
                  <a:lnTo>
                    <a:pt x="760" y="421"/>
                  </a:lnTo>
                  <a:lnTo>
                    <a:pt x="757" y="419"/>
                  </a:lnTo>
                  <a:lnTo>
                    <a:pt x="753" y="417"/>
                  </a:lnTo>
                  <a:lnTo>
                    <a:pt x="753" y="417"/>
                  </a:lnTo>
                  <a:lnTo>
                    <a:pt x="750" y="416"/>
                  </a:lnTo>
                  <a:lnTo>
                    <a:pt x="750" y="416"/>
                  </a:lnTo>
                  <a:lnTo>
                    <a:pt x="749" y="414"/>
                  </a:lnTo>
                  <a:lnTo>
                    <a:pt x="749" y="414"/>
                  </a:lnTo>
                  <a:lnTo>
                    <a:pt x="747" y="414"/>
                  </a:lnTo>
                  <a:lnTo>
                    <a:pt x="747" y="414"/>
                  </a:lnTo>
                  <a:lnTo>
                    <a:pt x="744" y="414"/>
                  </a:lnTo>
                  <a:lnTo>
                    <a:pt x="743" y="414"/>
                  </a:lnTo>
                  <a:lnTo>
                    <a:pt x="743" y="414"/>
                  </a:lnTo>
                  <a:lnTo>
                    <a:pt x="743" y="416"/>
                  </a:lnTo>
                  <a:lnTo>
                    <a:pt x="743" y="414"/>
                  </a:lnTo>
                  <a:lnTo>
                    <a:pt x="743" y="414"/>
                  </a:lnTo>
                  <a:lnTo>
                    <a:pt x="743" y="416"/>
                  </a:lnTo>
                  <a:lnTo>
                    <a:pt x="743" y="414"/>
                  </a:lnTo>
                  <a:lnTo>
                    <a:pt x="743" y="416"/>
                  </a:lnTo>
                  <a:lnTo>
                    <a:pt x="744" y="416"/>
                  </a:lnTo>
                  <a:lnTo>
                    <a:pt x="743" y="414"/>
                  </a:lnTo>
                  <a:lnTo>
                    <a:pt x="743" y="416"/>
                  </a:lnTo>
                  <a:lnTo>
                    <a:pt x="744" y="416"/>
                  </a:lnTo>
                  <a:lnTo>
                    <a:pt x="744" y="416"/>
                  </a:lnTo>
                  <a:lnTo>
                    <a:pt x="744" y="416"/>
                  </a:lnTo>
                  <a:lnTo>
                    <a:pt x="744" y="416"/>
                  </a:lnTo>
                  <a:lnTo>
                    <a:pt x="744" y="416"/>
                  </a:lnTo>
                  <a:lnTo>
                    <a:pt x="744" y="416"/>
                  </a:lnTo>
                  <a:lnTo>
                    <a:pt x="744" y="416"/>
                  </a:lnTo>
                  <a:lnTo>
                    <a:pt x="744" y="414"/>
                  </a:lnTo>
                  <a:lnTo>
                    <a:pt x="744" y="414"/>
                  </a:lnTo>
                  <a:lnTo>
                    <a:pt x="743" y="410"/>
                  </a:lnTo>
                  <a:lnTo>
                    <a:pt x="742" y="406"/>
                  </a:lnTo>
                  <a:lnTo>
                    <a:pt x="742" y="406"/>
                  </a:lnTo>
                  <a:lnTo>
                    <a:pt x="742" y="406"/>
                  </a:lnTo>
                  <a:lnTo>
                    <a:pt x="739" y="404"/>
                  </a:lnTo>
                  <a:lnTo>
                    <a:pt x="736" y="404"/>
                  </a:lnTo>
                  <a:lnTo>
                    <a:pt x="736" y="404"/>
                  </a:lnTo>
                  <a:lnTo>
                    <a:pt x="733" y="404"/>
                  </a:lnTo>
                  <a:lnTo>
                    <a:pt x="733" y="404"/>
                  </a:lnTo>
                  <a:lnTo>
                    <a:pt x="730" y="407"/>
                  </a:lnTo>
                  <a:lnTo>
                    <a:pt x="727" y="411"/>
                  </a:lnTo>
                  <a:lnTo>
                    <a:pt x="727" y="411"/>
                  </a:lnTo>
                  <a:lnTo>
                    <a:pt x="727" y="411"/>
                  </a:lnTo>
                  <a:lnTo>
                    <a:pt x="724" y="417"/>
                  </a:lnTo>
                  <a:lnTo>
                    <a:pt x="724" y="417"/>
                  </a:lnTo>
                  <a:lnTo>
                    <a:pt x="724" y="420"/>
                  </a:lnTo>
                  <a:lnTo>
                    <a:pt x="724" y="420"/>
                  </a:lnTo>
                  <a:lnTo>
                    <a:pt x="723" y="421"/>
                  </a:lnTo>
                  <a:lnTo>
                    <a:pt x="721" y="421"/>
                  </a:lnTo>
                  <a:lnTo>
                    <a:pt x="723" y="423"/>
                  </a:lnTo>
                  <a:lnTo>
                    <a:pt x="723" y="421"/>
                  </a:lnTo>
                  <a:lnTo>
                    <a:pt x="721" y="421"/>
                  </a:lnTo>
                  <a:lnTo>
                    <a:pt x="723" y="423"/>
                  </a:lnTo>
                  <a:lnTo>
                    <a:pt x="723" y="421"/>
                  </a:lnTo>
                  <a:lnTo>
                    <a:pt x="723" y="423"/>
                  </a:lnTo>
                  <a:lnTo>
                    <a:pt x="724" y="423"/>
                  </a:lnTo>
                  <a:lnTo>
                    <a:pt x="724" y="423"/>
                  </a:lnTo>
                  <a:lnTo>
                    <a:pt x="723" y="421"/>
                  </a:lnTo>
                  <a:lnTo>
                    <a:pt x="723" y="423"/>
                  </a:lnTo>
                  <a:lnTo>
                    <a:pt x="724" y="423"/>
                  </a:lnTo>
                  <a:lnTo>
                    <a:pt x="723" y="423"/>
                  </a:lnTo>
                  <a:lnTo>
                    <a:pt x="724" y="423"/>
                  </a:lnTo>
                  <a:lnTo>
                    <a:pt x="724" y="423"/>
                  </a:lnTo>
                  <a:lnTo>
                    <a:pt x="724" y="423"/>
                  </a:lnTo>
                  <a:lnTo>
                    <a:pt x="723" y="423"/>
                  </a:lnTo>
                  <a:lnTo>
                    <a:pt x="724" y="423"/>
                  </a:lnTo>
                  <a:lnTo>
                    <a:pt x="723" y="423"/>
                  </a:lnTo>
                  <a:lnTo>
                    <a:pt x="724" y="423"/>
                  </a:lnTo>
                  <a:lnTo>
                    <a:pt x="724" y="423"/>
                  </a:lnTo>
                  <a:lnTo>
                    <a:pt x="723" y="423"/>
                  </a:lnTo>
                  <a:lnTo>
                    <a:pt x="724" y="423"/>
                  </a:lnTo>
                  <a:lnTo>
                    <a:pt x="724" y="423"/>
                  </a:lnTo>
                  <a:lnTo>
                    <a:pt x="724" y="423"/>
                  </a:lnTo>
                  <a:lnTo>
                    <a:pt x="724" y="423"/>
                  </a:lnTo>
                  <a:lnTo>
                    <a:pt x="726" y="420"/>
                  </a:lnTo>
                  <a:lnTo>
                    <a:pt x="726" y="420"/>
                  </a:lnTo>
                  <a:lnTo>
                    <a:pt x="726" y="420"/>
                  </a:lnTo>
                  <a:lnTo>
                    <a:pt x="726" y="420"/>
                  </a:lnTo>
                  <a:lnTo>
                    <a:pt x="727" y="419"/>
                  </a:lnTo>
                  <a:lnTo>
                    <a:pt x="727" y="419"/>
                  </a:lnTo>
                  <a:lnTo>
                    <a:pt x="726" y="417"/>
                  </a:lnTo>
                  <a:lnTo>
                    <a:pt x="726" y="417"/>
                  </a:lnTo>
                  <a:lnTo>
                    <a:pt x="724" y="416"/>
                  </a:lnTo>
                  <a:lnTo>
                    <a:pt x="723" y="416"/>
                  </a:lnTo>
                  <a:lnTo>
                    <a:pt x="723" y="416"/>
                  </a:lnTo>
                  <a:lnTo>
                    <a:pt x="721" y="416"/>
                  </a:lnTo>
                  <a:lnTo>
                    <a:pt x="721" y="416"/>
                  </a:lnTo>
                  <a:lnTo>
                    <a:pt x="720" y="416"/>
                  </a:lnTo>
                  <a:lnTo>
                    <a:pt x="720" y="416"/>
                  </a:lnTo>
                  <a:lnTo>
                    <a:pt x="718" y="417"/>
                  </a:lnTo>
                  <a:lnTo>
                    <a:pt x="720" y="416"/>
                  </a:lnTo>
                  <a:lnTo>
                    <a:pt x="720" y="416"/>
                  </a:lnTo>
                  <a:lnTo>
                    <a:pt x="718" y="417"/>
                  </a:lnTo>
                  <a:lnTo>
                    <a:pt x="720" y="416"/>
                  </a:lnTo>
                  <a:lnTo>
                    <a:pt x="718" y="417"/>
                  </a:lnTo>
                  <a:lnTo>
                    <a:pt x="720" y="417"/>
                  </a:lnTo>
                  <a:lnTo>
                    <a:pt x="720" y="416"/>
                  </a:lnTo>
                  <a:lnTo>
                    <a:pt x="718" y="417"/>
                  </a:lnTo>
                  <a:lnTo>
                    <a:pt x="720" y="417"/>
                  </a:lnTo>
                  <a:lnTo>
                    <a:pt x="720" y="417"/>
                  </a:lnTo>
                  <a:lnTo>
                    <a:pt x="720" y="417"/>
                  </a:lnTo>
                  <a:lnTo>
                    <a:pt x="720" y="417"/>
                  </a:lnTo>
                  <a:lnTo>
                    <a:pt x="720" y="417"/>
                  </a:lnTo>
                  <a:lnTo>
                    <a:pt x="720" y="417"/>
                  </a:lnTo>
                  <a:lnTo>
                    <a:pt x="720" y="416"/>
                  </a:lnTo>
                  <a:lnTo>
                    <a:pt x="720" y="416"/>
                  </a:lnTo>
                  <a:lnTo>
                    <a:pt x="721" y="416"/>
                  </a:lnTo>
                  <a:lnTo>
                    <a:pt x="721" y="416"/>
                  </a:lnTo>
                  <a:lnTo>
                    <a:pt x="721" y="416"/>
                  </a:lnTo>
                  <a:lnTo>
                    <a:pt x="721" y="416"/>
                  </a:lnTo>
                  <a:lnTo>
                    <a:pt x="727" y="410"/>
                  </a:lnTo>
                  <a:lnTo>
                    <a:pt x="727" y="410"/>
                  </a:lnTo>
                  <a:lnTo>
                    <a:pt x="728" y="406"/>
                  </a:lnTo>
                  <a:lnTo>
                    <a:pt x="728" y="406"/>
                  </a:lnTo>
                  <a:lnTo>
                    <a:pt x="728" y="403"/>
                  </a:lnTo>
                  <a:lnTo>
                    <a:pt x="728" y="403"/>
                  </a:lnTo>
                  <a:lnTo>
                    <a:pt x="728" y="400"/>
                  </a:lnTo>
                  <a:lnTo>
                    <a:pt x="728" y="400"/>
                  </a:lnTo>
                  <a:lnTo>
                    <a:pt x="727" y="397"/>
                  </a:lnTo>
                  <a:lnTo>
                    <a:pt x="727" y="397"/>
                  </a:lnTo>
                  <a:lnTo>
                    <a:pt x="724" y="395"/>
                  </a:lnTo>
                  <a:lnTo>
                    <a:pt x="724" y="395"/>
                  </a:lnTo>
                  <a:lnTo>
                    <a:pt x="723" y="394"/>
                  </a:lnTo>
                  <a:lnTo>
                    <a:pt x="723" y="394"/>
                  </a:lnTo>
                  <a:lnTo>
                    <a:pt x="718" y="395"/>
                  </a:lnTo>
                  <a:lnTo>
                    <a:pt x="718" y="395"/>
                  </a:lnTo>
                  <a:lnTo>
                    <a:pt x="718" y="395"/>
                  </a:lnTo>
                  <a:lnTo>
                    <a:pt x="718" y="395"/>
                  </a:lnTo>
                  <a:lnTo>
                    <a:pt x="715" y="395"/>
                  </a:lnTo>
                  <a:lnTo>
                    <a:pt x="715" y="395"/>
                  </a:lnTo>
                  <a:lnTo>
                    <a:pt x="713" y="394"/>
                  </a:lnTo>
                  <a:lnTo>
                    <a:pt x="713" y="394"/>
                  </a:lnTo>
                  <a:lnTo>
                    <a:pt x="711" y="395"/>
                  </a:lnTo>
                  <a:lnTo>
                    <a:pt x="708" y="395"/>
                  </a:lnTo>
                  <a:lnTo>
                    <a:pt x="708" y="395"/>
                  </a:lnTo>
                  <a:lnTo>
                    <a:pt x="707" y="400"/>
                  </a:lnTo>
                  <a:lnTo>
                    <a:pt x="707" y="400"/>
                  </a:lnTo>
                  <a:lnTo>
                    <a:pt x="702" y="410"/>
                  </a:lnTo>
                  <a:lnTo>
                    <a:pt x="702" y="410"/>
                  </a:lnTo>
                  <a:lnTo>
                    <a:pt x="701" y="419"/>
                  </a:lnTo>
                  <a:lnTo>
                    <a:pt x="701" y="419"/>
                  </a:lnTo>
                  <a:lnTo>
                    <a:pt x="701" y="421"/>
                  </a:lnTo>
                  <a:lnTo>
                    <a:pt x="701" y="421"/>
                  </a:lnTo>
                  <a:lnTo>
                    <a:pt x="701" y="421"/>
                  </a:lnTo>
                  <a:lnTo>
                    <a:pt x="701" y="421"/>
                  </a:lnTo>
                  <a:lnTo>
                    <a:pt x="700" y="421"/>
                  </a:lnTo>
                  <a:lnTo>
                    <a:pt x="698" y="421"/>
                  </a:lnTo>
                  <a:lnTo>
                    <a:pt x="698" y="423"/>
                  </a:lnTo>
                  <a:lnTo>
                    <a:pt x="700" y="423"/>
                  </a:lnTo>
                  <a:lnTo>
                    <a:pt x="700" y="423"/>
                  </a:lnTo>
                  <a:lnTo>
                    <a:pt x="698" y="421"/>
                  </a:lnTo>
                  <a:lnTo>
                    <a:pt x="698" y="423"/>
                  </a:lnTo>
                  <a:lnTo>
                    <a:pt x="700" y="423"/>
                  </a:lnTo>
                  <a:lnTo>
                    <a:pt x="698" y="423"/>
                  </a:lnTo>
                  <a:lnTo>
                    <a:pt x="700" y="423"/>
                  </a:lnTo>
                  <a:lnTo>
                    <a:pt x="700" y="423"/>
                  </a:lnTo>
                  <a:lnTo>
                    <a:pt x="698" y="423"/>
                  </a:lnTo>
                  <a:lnTo>
                    <a:pt x="700" y="423"/>
                  </a:lnTo>
                  <a:lnTo>
                    <a:pt x="700" y="423"/>
                  </a:lnTo>
                  <a:lnTo>
                    <a:pt x="700" y="423"/>
                  </a:lnTo>
                  <a:lnTo>
                    <a:pt x="700" y="423"/>
                  </a:lnTo>
                  <a:lnTo>
                    <a:pt x="700" y="423"/>
                  </a:lnTo>
                  <a:lnTo>
                    <a:pt x="700" y="423"/>
                  </a:lnTo>
                  <a:lnTo>
                    <a:pt x="700" y="423"/>
                  </a:lnTo>
                  <a:lnTo>
                    <a:pt x="700" y="420"/>
                  </a:lnTo>
                  <a:lnTo>
                    <a:pt x="700" y="420"/>
                  </a:lnTo>
                  <a:lnTo>
                    <a:pt x="701" y="407"/>
                  </a:lnTo>
                  <a:lnTo>
                    <a:pt x="701" y="407"/>
                  </a:lnTo>
                  <a:lnTo>
                    <a:pt x="702" y="400"/>
                  </a:lnTo>
                  <a:lnTo>
                    <a:pt x="702" y="400"/>
                  </a:lnTo>
                  <a:lnTo>
                    <a:pt x="702" y="398"/>
                  </a:lnTo>
                  <a:lnTo>
                    <a:pt x="702" y="398"/>
                  </a:lnTo>
                  <a:lnTo>
                    <a:pt x="702" y="397"/>
                  </a:lnTo>
                  <a:lnTo>
                    <a:pt x="702" y="397"/>
                  </a:lnTo>
                  <a:lnTo>
                    <a:pt x="704" y="395"/>
                  </a:lnTo>
                  <a:lnTo>
                    <a:pt x="704" y="395"/>
                  </a:lnTo>
                  <a:lnTo>
                    <a:pt x="702" y="394"/>
                  </a:lnTo>
                  <a:lnTo>
                    <a:pt x="702" y="394"/>
                  </a:lnTo>
                  <a:lnTo>
                    <a:pt x="701" y="392"/>
                  </a:lnTo>
                  <a:lnTo>
                    <a:pt x="701" y="392"/>
                  </a:lnTo>
                  <a:lnTo>
                    <a:pt x="700" y="392"/>
                  </a:lnTo>
                  <a:lnTo>
                    <a:pt x="700" y="392"/>
                  </a:lnTo>
                  <a:lnTo>
                    <a:pt x="697" y="394"/>
                  </a:lnTo>
                  <a:lnTo>
                    <a:pt x="697" y="394"/>
                  </a:lnTo>
                  <a:lnTo>
                    <a:pt x="689" y="401"/>
                  </a:lnTo>
                  <a:lnTo>
                    <a:pt x="689" y="401"/>
                  </a:lnTo>
                  <a:lnTo>
                    <a:pt x="684" y="411"/>
                  </a:lnTo>
                  <a:lnTo>
                    <a:pt x="684" y="411"/>
                  </a:lnTo>
                  <a:lnTo>
                    <a:pt x="679" y="420"/>
                  </a:lnTo>
                  <a:lnTo>
                    <a:pt x="679" y="420"/>
                  </a:lnTo>
                  <a:lnTo>
                    <a:pt x="678" y="426"/>
                  </a:lnTo>
                  <a:lnTo>
                    <a:pt x="678" y="426"/>
                  </a:lnTo>
                  <a:lnTo>
                    <a:pt x="675" y="434"/>
                  </a:lnTo>
                  <a:lnTo>
                    <a:pt x="675" y="434"/>
                  </a:lnTo>
                  <a:lnTo>
                    <a:pt x="671" y="443"/>
                  </a:lnTo>
                  <a:lnTo>
                    <a:pt x="671" y="443"/>
                  </a:lnTo>
                  <a:lnTo>
                    <a:pt x="671" y="443"/>
                  </a:lnTo>
                  <a:lnTo>
                    <a:pt x="672" y="445"/>
                  </a:lnTo>
                  <a:lnTo>
                    <a:pt x="671" y="443"/>
                  </a:lnTo>
                  <a:lnTo>
                    <a:pt x="671" y="443"/>
                  </a:lnTo>
                  <a:lnTo>
                    <a:pt x="672" y="445"/>
                  </a:lnTo>
                  <a:lnTo>
                    <a:pt x="671" y="443"/>
                  </a:lnTo>
                  <a:lnTo>
                    <a:pt x="672" y="445"/>
                  </a:lnTo>
                  <a:lnTo>
                    <a:pt x="672" y="443"/>
                  </a:lnTo>
                  <a:lnTo>
                    <a:pt x="671" y="443"/>
                  </a:lnTo>
                  <a:lnTo>
                    <a:pt x="672" y="445"/>
                  </a:lnTo>
                  <a:lnTo>
                    <a:pt x="672" y="443"/>
                  </a:lnTo>
                  <a:lnTo>
                    <a:pt x="672" y="445"/>
                  </a:lnTo>
                  <a:lnTo>
                    <a:pt x="673" y="443"/>
                  </a:lnTo>
                  <a:lnTo>
                    <a:pt x="673" y="443"/>
                  </a:lnTo>
                  <a:lnTo>
                    <a:pt x="672" y="443"/>
                  </a:lnTo>
                  <a:lnTo>
                    <a:pt x="672" y="445"/>
                  </a:lnTo>
                  <a:lnTo>
                    <a:pt x="673" y="443"/>
                  </a:lnTo>
                  <a:lnTo>
                    <a:pt x="672" y="445"/>
                  </a:lnTo>
                  <a:lnTo>
                    <a:pt x="673" y="443"/>
                  </a:lnTo>
                  <a:lnTo>
                    <a:pt x="673" y="443"/>
                  </a:lnTo>
                  <a:lnTo>
                    <a:pt x="672" y="445"/>
                  </a:lnTo>
                  <a:lnTo>
                    <a:pt x="673" y="443"/>
                  </a:lnTo>
                  <a:lnTo>
                    <a:pt x="673" y="443"/>
                  </a:lnTo>
                  <a:lnTo>
                    <a:pt x="673" y="442"/>
                  </a:lnTo>
                  <a:lnTo>
                    <a:pt x="673" y="442"/>
                  </a:lnTo>
                  <a:lnTo>
                    <a:pt x="673" y="436"/>
                  </a:lnTo>
                  <a:lnTo>
                    <a:pt x="673" y="436"/>
                  </a:lnTo>
                  <a:lnTo>
                    <a:pt x="675" y="433"/>
                  </a:lnTo>
                  <a:lnTo>
                    <a:pt x="675" y="433"/>
                  </a:lnTo>
                  <a:lnTo>
                    <a:pt x="675" y="432"/>
                  </a:lnTo>
                  <a:lnTo>
                    <a:pt x="675" y="432"/>
                  </a:lnTo>
                  <a:lnTo>
                    <a:pt x="678" y="427"/>
                  </a:lnTo>
                  <a:lnTo>
                    <a:pt x="678" y="427"/>
                  </a:lnTo>
                  <a:lnTo>
                    <a:pt x="679" y="420"/>
                  </a:lnTo>
                  <a:lnTo>
                    <a:pt x="679" y="420"/>
                  </a:lnTo>
                  <a:lnTo>
                    <a:pt x="681" y="416"/>
                  </a:lnTo>
                  <a:lnTo>
                    <a:pt x="681" y="416"/>
                  </a:lnTo>
                  <a:lnTo>
                    <a:pt x="685" y="411"/>
                  </a:lnTo>
                  <a:lnTo>
                    <a:pt x="685" y="411"/>
                  </a:lnTo>
                  <a:lnTo>
                    <a:pt x="686" y="408"/>
                  </a:lnTo>
                  <a:lnTo>
                    <a:pt x="686" y="408"/>
                  </a:lnTo>
                  <a:lnTo>
                    <a:pt x="686" y="406"/>
                  </a:lnTo>
                  <a:lnTo>
                    <a:pt x="686" y="406"/>
                  </a:lnTo>
                  <a:lnTo>
                    <a:pt x="686" y="403"/>
                  </a:lnTo>
                  <a:lnTo>
                    <a:pt x="686" y="403"/>
                  </a:lnTo>
                  <a:lnTo>
                    <a:pt x="684" y="401"/>
                  </a:lnTo>
                  <a:lnTo>
                    <a:pt x="682" y="401"/>
                  </a:lnTo>
                  <a:lnTo>
                    <a:pt x="682" y="401"/>
                  </a:lnTo>
                  <a:lnTo>
                    <a:pt x="682" y="401"/>
                  </a:lnTo>
                  <a:lnTo>
                    <a:pt x="679" y="400"/>
                  </a:lnTo>
                  <a:lnTo>
                    <a:pt x="679" y="400"/>
                  </a:lnTo>
                  <a:lnTo>
                    <a:pt x="676" y="398"/>
                  </a:lnTo>
                  <a:lnTo>
                    <a:pt x="676" y="398"/>
                  </a:lnTo>
                  <a:lnTo>
                    <a:pt x="673" y="398"/>
                  </a:lnTo>
                  <a:lnTo>
                    <a:pt x="673" y="398"/>
                  </a:lnTo>
                  <a:lnTo>
                    <a:pt x="671" y="398"/>
                  </a:lnTo>
                  <a:lnTo>
                    <a:pt x="671" y="398"/>
                  </a:lnTo>
                  <a:lnTo>
                    <a:pt x="671" y="400"/>
                  </a:lnTo>
                  <a:lnTo>
                    <a:pt x="671" y="400"/>
                  </a:lnTo>
                  <a:lnTo>
                    <a:pt x="671" y="400"/>
                  </a:lnTo>
                  <a:lnTo>
                    <a:pt x="671" y="400"/>
                  </a:lnTo>
                  <a:lnTo>
                    <a:pt x="671" y="400"/>
                  </a:lnTo>
                  <a:lnTo>
                    <a:pt x="671" y="400"/>
                  </a:lnTo>
                  <a:lnTo>
                    <a:pt x="671" y="400"/>
                  </a:lnTo>
                  <a:lnTo>
                    <a:pt x="671" y="400"/>
                  </a:lnTo>
                  <a:lnTo>
                    <a:pt x="671" y="400"/>
                  </a:lnTo>
                  <a:lnTo>
                    <a:pt x="671" y="400"/>
                  </a:lnTo>
                  <a:lnTo>
                    <a:pt x="671" y="400"/>
                  </a:lnTo>
                  <a:lnTo>
                    <a:pt x="671" y="400"/>
                  </a:lnTo>
                  <a:lnTo>
                    <a:pt x="671" y="400"/>
                  </a:lnTo>
                  <a:lnTo>
                    <a:pt x="671" y="400"/>
                  </a:lnTo>
                  <a:lnTo>
                    <a:pt x="671" y="400"/>
                  </a:lnTo>
                  <a:lnTo>
                    <a:pt x="671" y="400"/>
                  </a:lnTo>
                  <a:lnTo>
                    <a:pt x="671" y="400"/>
                  </a:lnTo>
                  <a:lnTo>
                    <a:pt x="671" y="400"/>
                  </a:lnTo>
                  <a:lnTo>
                    <a:pt x="669" y="398"/>
                  </a:lnTo>
                  <a:lnTo>
                    <a:pt x="669" y="398"/>
                  </a:lnTo>
                  <a:lnTo>
                    <a:pt x="666" y="395"/>
                  </a:lnTo>
                  <a:lnTo>
                    <a:pt x="666" y="395"/>
                  </a:lnTo>
                  <a:lnTo>
                    <a:pt x="666" y="395"/>
                  </a:lnTo>
                  <a:lnTo>
                    <a:pt x="663" y="394"/>
                  </a:lnTo>
                  <a:lnTo>
                    <a:pt x="663" y="394"/>
                  </a:lnTo>
                  <a:lnTo>
                    <a:pt x="660" y="395"/>
                  </a:lnTo>
                  <a:lnTo>
                    <a:pt x="660" y="395"/>
                  </a:lnTo>
                  <a:lnTo>
                    <a:pt x="660" y="398"/>
                  </a:lnTo>
                  <a:lnTo>
                    <a:pt x="660" y="398"/>
                  </a:lnTo>
                  <a:lnTo>
                    <a:pt x="659" y="400"/>
                  </a:lnTo>
                  <a:lnTo>
                    <a:pt x="659" y="400"/>
                  </a:lnTo>
                  <a:lnTo>
                    <a:pt x="660" y="404"/>
                  </a:lnTo>
                  <a:lnTo>
                    <a:pt x="660" y="404"/>
                  </a:lnTo>
                  <a:lnTo>
                    <a:pt x="662" y="408"/>
                  </a:lnTo>
                  <a:lnTo>
                    <a:pt x="662" y="408"/>
                  </a:lnTo>
                  <a:lnTo>
                    <a:pt x="662" y="408"/>
                  </a:lnTo>
                  <a:lnTo>
                    <a:pt x="662" y="408"/>
                  </a:lnTo>
                  <a:lnTo>
                    <a:pt x="662" y="408"/>
                  </a:lnTo>
                  <a:lnTo>
                    <a:pt x="662" y="408"/>
                  </a:lnTo>
                  <a:lnTo>
                    <a:pt x="662" y="408"/>
                  </a:lnTo>
                  <a:lnTo>
                    <a:pt x="660" y="408"/>
                  </a:lnTo>
                  <a:lnTo>
                    <a:pt x="660" y="408"/>
                  </a:lnTo>
                  <a:lnTo>
                    <a:pt x="659" y="411"/>
                  </a:lnTo>
                  <a:lnTo>
                    <a:pt x="659" y="411"/>
                  </a:lnTo>
                  <a:lnTo>
                    <a:pt x="658" y="413"/>
                  </a:lnTo>
                  <a:lnTo>
                    <a:pt x="658" y="416"/>
                  </a:lnTo>
                  <a:lnTo>
                    <a:pt x="658" y="416"/>
                  </a:lnTo>
                  <a:lnTo>
                    <a:pt x="659" y="416"/>
                  </a:lnTo>
                  <a:lnTo>
                    <a:pt x="658" y="416"/>
                  </a:lnTo>
                  <a:lnTo>
                    <a:pt x="658" y="416"/>
                  </a:lnTo>
                  <a:lnTo>
                    <a:pt x="659" y="416"/>
                  </a:lnTo>
                  <a:lnTo>
                    <a:pt x="658" y="416"/>
                  </a:lnTo>
                  <a:lnTo>
                    <a:pt x="659" y="417"/>
                  </a:lnTo>
                  <a:lnTo>
                    <a:pt x="659" y="414"/>
                  </a:lnTo>
                  <a:lnTo>
                    <a:pt x="659" y="414"/>
                  </a:lnTo>
                  <a:lnTo>
                    <a:pt x="658" y="416"/>
                  </a:lnTo>
                  <a:lnTo>
                    <a:pt x="659" y="417"/>
                  </a:lnTo>
                  <a:lnTo>
                    <a:pt x="659" y="414"/>
                  </a:lnTo>
                  <a:lnTo>
                    <a:pt x="659" y="416"/>
                  </a:lnTo>
                  <a:lnTo>
                    <a:pt x="660" y="414"/>
                  </a:lnTo>
                  <a:lnTo>
                    <a:pt x="659" y="414"/>
                  </a:lnTo>
                  <a:lnTo>
                    <a:pt x="659" y="416"/>
                  </a:lnTo>
                  <a:lnTo>
                    <a:pt x="660" y="414"/>
                  </a:lnTo>
                  <a:lnTo>
                    <a:pt x="660" y="416"/>
                  </a:lnTo>
                  <a:lnTo>
                    <a:pt x="660" y="414"/>
                  </a:lnTo>
                  <a:lnTo>
                    <a:pt x="660" y="414"/>
                  </a:lnTo>
                  <a:lnTo>
                    <a:pt x="660" y="416"/>
                  </a:lnTo>
                  <a:lnTo>
                    <a:pt x="660" y="414"/>
                  </a:lnTo>
                  <a:lnTo>
                    <a:pt x="660" y="414"/>
                  </a:lnTo>
                  <a:lnTo>
                    <a:pt x="659" y="414"/>
                  </a:lnTo>
                  <a:lnTo>
                    <a:pt x="659" y="414"/>
                  </a:lnTo>
                  <a:lnTo>
                    <a:pt x="658" y="413"/>
                  </a:lnTo>
                  <a:lnTo>
                    <a:pt x="658" y="413"/>
                  </a:lnTo>
                  <a:lnTo>
                    <a:pt x="656" y="413"/>
                  </a:lnTo>
                  <a:lnTo>
                    <a:pt x="656" y="413"/>
                  </a:lnTo>
                  <a:lnTo>
                    <a:pt x="653" y="413"/>
                  </a:lnTo>
                  <a:lnTo>
                    <a:pt x="653" y="413"/>
                  </a:lnTo>
                  <a:lnTo>
                    <a:pt x="652" y="416"/>
                  </a:lnTo>
                  <a:lnTo>
                    <a:pt x="652" y="416"/>
                  </a:lnTo>
                  <a:lnTo>
                    <a:pt x="652" y="417"/>
                  </a:lnTo>
                  <a:lnTo>
                    <a:pt x="652" y="417"/>
                  </a:lnTo>
                  <a:lnTo>
                    <a:pt x="655" y="426"/>
                  </a:lnTo>
                  <a:lnTo>
                    <a:pt x="655" y="426"/>
                  </a:lnTo>
                  <a:lnTo>
                    <a:pt x="655" y="424"/>
                  </a:lnTo>
                  <a:lnTo>
                    <a:pt x="655" y="424"/>
                  </a:lnTo>
                  <a:lnTo>
                    <a:pt x="655" y="426"/>
                  </a:lnTo>
                  <a:lnTo>
                    <a:pt x="655" y="424"/>
                  </a:lnTo>
                  <a:lnTo>
                    <a:pt x="655" y="424"/>
                  </a:lnTo>
                  <a:lnTo>
                    <a:pt x="656" y="424"/>
                  </a:lnTo>
                  <a:lnTo>
                    <a:pt x="655" y="423"/>
                  </a:lnTo>
                  <a:lnTo>
                    <a:pt x="655" y="423"/>
                  </a:lnTo>
                  <a:lnTo>
                    <a:pt x="655" y="424"/>
                  </a:lnTo>
                  <a:lnTo>
                    <a:pt x="656" y="424"/>
                  </a:lnTo>
                  <a:lnTo>
                    <a:pt x="655" y="423"/>
                  </a:lnTo>
                  <a:lnTo>
                    <a:pt x="656" y="424"/>
                  </a:lnTo>
                  <a:lnTo>
                    <a:pt x="656" y="423"/>
                  </a:lnTo>
                  <a:lnTo>
                    <a:pt x="656" y="423"/>
                  </a:lnTo>
                  <a:lnTo>
                    <a:pt x="655" y="423"/>
                  </a:lnTo>
                  <a:lnTo>
                    <a:pt x="656" y="424"/>
                  </a:lnTo>
                  <a:lnTo>
                    <a:pt x="656" y="423"/>
                  </a:lnTo>
                  <a:lnTo>
                    <a:pt x="656" y="424"/>
                  </a:lnTo>
                  <a:lnTo>
                    <a:pt x="656" y="423"/>
                  </a:lnTo>
                  <a:lnTo>
                    <a:pt x="656" y="423"/>
                  </a:lnTo>
                  <a:lnTo>
                    <a:pt x="656" y="424"/>
                  </a:lnTo>
                  <a:lnTo>
                    <a:pt x="656" y="423"/>
                  </a:lnTo>
                  <a:lnTo>
                    <a:pt x="656" y="423"/>
                  </a:lnTo>
                  <a:lnTo>
                    <a:pt x="656" y="423"/>
                  </a:lnTo>
                  <a:lnTo>
                    <a:pt x="656" y="423"/>
                  </a:lnTo>
                  <a:lnTo>
                    <a:pt x="656" y="423"/>
                  </a:lnTo>
                  <a:lnTo>
                    <a:pt x="656" y="423"/>
                  </a:lnTo>
                  <a:lnTo>
                    <a:pt x="656" y="423"/>
                  </a:lnTo>
                  <a:lnTo>
                    <a:pt x="655" y="421"/>
                  </a:lnTo>
                  <a:lnTo>
                    <a:pt x="655" y="421"/>
                  </a:lnTo>
                  <a:lnTo>
                    <a:pt x="653" y="419"/>
                  </a:lnTo>
                  <a:lnTo>
                    <a:pt x="653" y="419"/>
                  </a:lnTo>
                  <a:lnTo>
                    <a:pt x="650" y="417"/>
                  </a:lnTo>
                  <a:lnTo>
                    <a:pt x="650" y="417"/>
                  </a:lnTo>
                  <a:lnTo>
                    <a:pt x="649" y="417"/>
                  </a:lnTo>
                  <a:lnTo>
                    <a:pt x="649" y="417"/>
                  </a:lnTo>
                  <a:lnTo>
                    <a:pt x="644" y="417"/>
                  </a:lnTo>
                  <a:lnTo>
                    <a:pt x="644" y="417"/>
                  </a:lnTo>
                  <a:lnTo>
                    <a:pt x="642" y="419"/>
                  </a:lnTo>
                  <a:lnTo>
                    <a:pt x="642" y="419"/>
                  </a:lnTo>
                  <a:lnTo>
                    <a:pt x="639" y="420"/>
                  </a:lnTo>
                  <a:lnTo>
                    <a:pt x="639" y="420"/>
                  </a:lnTo>
                  <a:lnTo>
                    <a:pt x="637" y="421"/>
                  </a:lnTo>
                  <a:lnTo>
                    <a:pt x="637" y="424"/>
                  </a:lnTo>
                  <a:lnTo>
                    <a:pt x="637" y="424"/>
                  </a:lnTo>
                  <a:lnTo>
                    <a:pt x="636" y="427"/>
                  </a:lnTo>
                  <a:lnTo>
                    <a:pt x="636" y="427"/>
                  </a:lnTo>
                  <a:lnTo>
                    <a:pt x="636" y="427"/>
                  </a:lnTo>
                  <a:lnTo>
                    <a:pt x="637" y="432"/>
                  </a:lnTo>
                  <a:lnTo>
                    <a:pt x="637" y="432"/>
                  </a:lnTo>
                  <a:lnTo>
                    <a:pt x="642" y="437"/>
                  </a:lnTo>
                  <a:lnTo>
                    <a:pt x="642" y="437"/>
                  </a:lnTo>
                  <a:lnTo>
                    <a:pt x="643" y="439"/>
                  </a:lnTo>
                  <a:lnTo>
                    <a:pt x="643" y="439"/>
                  </a:lnTo>
                  <a:lnTo>
                    <a:pt x="643" y="439"/>
                  </a:lnTo>
                  <a:lnTo>
                    <a:pt x="644" y="439"/>
                  </a:lnTo>
                  <a:lnTo>
                    <a:pt x="643" y="439"/>
                  </a:lnTo>
                  <a:lnTo>
                    <a:pt x="643" y="439"/>
                  </a:lnTo>
                  <a:lnTo>
                    <a:pt x="644" y="439"/>
                  </a:lnTo>
                  <a:lnTo>
                    <a:pt x="643" y="439"/>
                  </a:lnTo>
                  <a:lnTo>
                    <a:pt x="644" y="439"/>
                  </a:lnTo>
                  <a:lnTo>
                    <a:pt x="643" y="437"/>
                  </a:lnTo>
                  <a:lnTo>
                    <a:pt x="643" y="439"/>
                  </a:lnTo>
                  <a:lnTo>
                    <a:pt x="644" y="439"/>
                  </a:lnTo>
                  <a:lnTo>
                    <a:pt x="643" y="437"/>
                  </a:lnTo>
                  <a:lnTo>
                    <a:pt x="643" y="437"/>
                  </a:lnTo>
                  <a:lnTo>
                    <a:pt x="643" y="437"/>
                  </a:lnTo>
                  <a:lnTo>
                    <a:pt x="643" y="437"/>
                  </a:lnTo>
                  <a:lnTo>
                    <a:pt x="643" y="440"/>
                  </a:lnTo>
                  <a:lnTo>
                    <a:pt x="643" y="440"/>
                  </a:lnTo>
                  <a:lnTo>
                    <a:pt x="642" y="449"/>
                  </a:lnTo>
                  <a:lnTo>
                    <a:pt x="642" y="449"/>
                  </a:lnTo>
                  <a:lnTo>
                    <a:pt x="642" y="453"/>
                  </a:lnTo>
                  <a:lnTo>
                    <a:pt x="642" y="453"/>
                  </a:lnTo>
                  <a:lnTo>
                    <a:pt x="642" y="453"/>
                  </a:lnTo>
                  <a:lnTo>
                    <a:pt x="643" y="453"/>
                  </a:lnTo>
                  <a:lnTo>
                    <a:pt x="642" y="453"/>
                  </a:lnTo>
                  <a:lnTo>
                    <a:pt x="642" y="453"/>
                  </a:lnTo>
                  <a:lnTo>
                    <a:pt x="643" y="453"/>
                  </a:lnTo>
                  <a:lnTo>
                    <a:pt x="642" y="453"/>
                  </a:lnTo>
                  <a:lnTo>
                    <a:pt x="644" y="453"/>
                  </a:lnTo>
                  <a:lnTo>
                    <a:pt x="643" y="452"/>
                  </a:lnTo>
                  <a:lnTo>
                    <a:pt x="642" y="453"/>
                  </a:lnTo>
                  <a:lnTo>
                    <a:pt x="644" y="453"/>
                  </a:lnTo>
                  <a:lnTo>
                    <a:pt x="643" y="452"/>
                  </a:lnTo>
                  <a:lnTo>
                    <a:pt x="644" y="455"/>
                  </a:lnTo>
                  <a:lnTo>
                    <a:pt x="644" y="452"/>
                  </a:lnTo>
                  <a:lnTo>
                    <a:pt x="644" y="452"/>
                  </a:lnTo>
                  <a:lnTo>
                    <a:pt x="643" y="452"/>
                  </a:lnTo>
                  <a:lnTo>
                    <a:pt x="644" y="455"/>
                  </a:lnTo>
                  <a:lnTo>
                    <a:pt x="644" y="452"/>
                  </a:lnTo>
                  <a:lnTo>
                    <a:pt x="644" y="453"/>
                  </a:lnTo>
                  <a:lnTo>
                    <a:pt x="644" y="452"/>
                  </a:lnTo>
                  <a:lnTo>
                    <a:pt x="644" y="452"/>
                  </a:lnTo>
                  <a:lnTo>
                    <a:pt x="644" y="452"/>
                  </a:lnTo>
                  <a:lnTo>
                    <a:pt x="644" y="453"/>
                  </a:lnTo>
                  <a:lnTo>
                    <a:pt x="644" y="452"/>
                  </a:lnTo>
                  <a:lnTo>
                    <a:pt x="644" y="452"/>
                  </a:lnTo>
                  <a:lnTo>
                    <a:pt x="644" y="452"/>
                  </a:lnTo>
                  <a:lnTo>
                    <a:pt x="644" y="452"/>
                  </a:lnTo>
                  <a:lnTo>
                    <a:pt x="642" y="449"/>
                  </a:lnTo>
                  <a:lnTo>
                    <a:pt x="642" y="449"/>
                  </a:lnTo>
                  <a:lnTo>
                    <a:pt x="640" y="448"/>
                  </a:lnTo>
                  <a:lnTo>
                    <a:pt x="640" y="448"/>
                  </a:lnTo>
                  <a:lnTo>
                    <a:pt x="639" y="446"/>
                  </a:lnTo>
                  <a:lnTo>
                    <a:pt x="639" y="446"/>
                  </a:lnTo>
                  <a:lnTo>
                    <a:pt x="636" y="448"/>
                  </a:lnTo>
                  <a:lnTo>
                    <a:pt x="636" y="448"/>
                  </a:lnTo>
                  <a:lnTo>
                    <a:pt x="636" y="449"/>
                  </a:lnTo>
                  <a:lnTo>
                    <a:pt x="636" y="448"/>
                  </a:lnTo>
                  <a:lnTo>
                    <a:pt x="636" y="448"/>
                  </a:lnTo>
                  <a:lnTo>
                    <a:pt x="636" y="449"/>
                  </a:lnTo>
                  <a:lnTo>
                    <a:pt x="636" y="448"/>
                  </a:lnTo>
                  <a:lnTo>
                    <a:pt x="637" y="449"/>
                  </a:lnTo>
                  <a:lnTo>
                    <a:pt x="637" y="448"/>
                  </a:lnTo>
                  <a:lnTo>
                    <a:pt x="637" y="448"/>
                  </a:lnTo>
                  <a:lnTo>
                    <a:pt x="636" y="448"/>
                  </a:lnTo>
                  <a:lnTo>
                    <a:pt x="637" y="449"/>
                  </a:lnTo>
                  <a:lnTo>
                    <a:pt x="637" y="448"/>
                  </a:lnTo>
                  <a:lnTo>
                    <a:pt x="637" y="449"/>
                  </a:lnTo>
                  <a:lnTo>
                    <a:pt x="637" y="448"/>
                  </a:lnTo>
                  <a:lnTo>
                    <a:pt x="637" y="448"/>
                  </a:lnTo>
                  <a:lnTo>
                    <a:pt x="637" y="448"/>
                  </a:lnTo>
                  <a:lnTo>
                    <a:pt x="637" y="449"/>
                  </a:lnTo>
                  <a:lnTo>
                    <a:pt x="637" y="448"/>
                  </a:lnTo>
                  <a:lnTo>
                    <a:pt x="637" y="449"/>
                  </a:lnTo>
                  <a:lnTo>
                    <a:pt x="639" y="448"/>
                  </a:lnTo>
                  <a:lnTo>
                    <a:pt x="637" y="448"/>
                  </a:lnTo>
                  <a:lnTo>
                    <a:pt x="637" y="449"/>
                  </a:lnTo>
                  <a:lnTo>
                    <a:pt x="639" y="448"/>
                  </a:lnTo>
                  <a:lnTo>
                    <a:pt x="637" y="448"/>
                  </a:lnTo>
                  <a:lnTo>
                    <a:pt x="639" y="448"/>
                  </a:lnTo>
                  <a:lnTo>
                    <a:pt x="639" y="448"/>
                  </a:lnTo>
                  <a:lnTo>
                    <a:pt x="637" y="448"/>
                  </a:lnTo>
                  <a:lnTo>
                    <a:pt x="639" y="448"/>
                  </a:lnTo>
                  <a:lnTo>
                    <a:pt x="639" y="448"/>
                  </a:lnTo>
                  <a:lnTo>
                    <a:pt x="637" y="446"/>
                  </a:lnTo>
                  <a:lnTo>
                    <a:pt x="637" y="446"/>
                  </a:lnTo>
                  <a:lnTo>
                    <a:pt x="637" y="445"/>
                  </a:lnTo>
                  <a:lnTo>
                    <a:pt x="637" y="445"/>
                  </a:lnTo>
                  <a:lnTo>
                    <a:pt x="637" y="442"/>
                  </a:lnTo>
                  <a:lnTo>
                    <a:pt x="637" y="442"/>
                  </a:lnTo>
                  <a:lnTo>
                    <a:pt x="637" y="442"/>
                  </a:lnTo>
                  <a:lnTo>
                    <a:pt x="637" y="442"/>
                  </a:lnTo>
                  <a:lnTo>
                    <a:pt x="637" y="442"/>
                  </a:lnTo>
                  <a:lnTo>
                    <a:pt x="637" y="442"/>
                  </a:lnTo>
                  <a:lnTo>
                    <a:pt x="637" y="442"/>
                  </a:lnTo>
                  <a:lnTo>
                    <a:pt x="637" y="442"/>
                  </a:lnTo>
                  <a:lnTo>
                    <a:pt x="637" y="442"/>
                  </a:lnTo>
                  <a:lnTo>
                    <a:pt x="639" y="439"/>
                  </a:lnTo>
                  <a:lnTo>
                    <a:pt x="640" y="437"/>
                  </a:lnTo>
                  <a:lnTo>
                    <a:pt x="640" y="437"/>
                  </a:lnTo>
                  <a:lnTo>
                    <a:pt x="639" y="433"/>
                  </a:lnTo>
                  <a:lnTo>
                    <a:pt x="639" y="433"/>
                  </a:lnTo>
                  <a:lnTo>
                    <a:pt x="637" y="432"/>
                  </a:lnTo>
                  <a:lnTo>
                    <a:pt x="634" y="430"/>
                  </a:lnTo>
                  <a:lnTo>
                    <a:pt x="634" y="430"/>
                  </a:lnTo>
                  <a:lnTo>
                    <a:pt x="631" y="432"/>
                  </a:lnTo>
                  <a:lnTo>
                    <a:pt x="630" y="433"/>
                  </a:lnTo>
                  <a:lnTo>
                    <a:pt x="629" y="433"/>
                  </a:lnTo>
                  <a:lnTo>
                    <a:pt x="629" y="433"/>
                  </a:lnTo>
                  <a:lnTo>
                    <a:pt x="629" y="433"/>
                  </a:lnTo>
                  <a:lnTo>
                    <a:pt x="629" y="433"/>
                  </a:lnTo>
                  <a:lnTo>
                    <a:pt x="629" y="433"/>
                  </a:lnTo>
                  <a:lnTo>
                    <a:pt x="629" y="433"/>
                  </a:lnTo>
                  <a:lnTo>
                    <a:pt x="629" y="433"/>
                  </a:lnTo>
                  <a:lnTo>
                    <a:pt x="629" y="434"/>
                  </a:lnTo>
                  <a:lnTo>
                    <a:pt x="629" y="433"/>
                  </a:lnTo>
                  <a:lnTo>
                    <a:pt x="629" y="433"/>
                  </a:lnTo>
                  <a:lnTo>
                    <a:pt x="629" y="434"/>
                  </a:lnTo>
                  <a:lnTo>
                    <a:pt x="629" y="433"/>
                  </a:lnTo>
                  <a:lnTo>
                    <a:pt x="629" y="434"/>
                  </a:lnTo>
                  <a:lnTo>
                    <a:pt x="630" y="433"/>
                  </a:lnTo>
                  <a:lnTo>
                    <a:pt x="629" y="433"/>
                  </a:lnTo>
                  <a:lnTo>
                    <a:pt x="629" y="434"/>
                  </a:lnTo>
                  <a:lnTo>
                    <a:pt x="630" y="433"/>
                  </a:lnTo>
                  <a:lnTo>
                    <a:pt x="630" y="434"/>
                  </a:lnTo>
                  <a:lnTo>
                    <a:pt x="630" y="433"/>
                  </a:lnTo>
                  <a:lnTo>
                    <a:pt x="630" y="433"/>
                  </a:lnTo>
                  <a:lnTo>
                    <a:pt x="630" y="434"/>
                  </a:lnTo>
                  <a:lnTo>
                    <a:pt x="630" y="433"/>
                  </a:lnTo>
                  <a:lnTo>
                    <a:pt x="630" y="433"/>
                  </a:lnTo>
                  <a:lnTo>
                    <a:pt x="630" y="433"/>
                  </a:lnTo>
                  <a:lnTo>
                    <a:pt x="630" y="433"/>
                  </a:lnTo>
                  <a:lnTo>
                    <a:pt x="630" y="433"/>
                  </a:lnTo>
                  <a:lnTo>
                    <a:pt x="630" y="433"/>
                  </a:lnTo>
                  <a:lnTo>
                    <a:pt x="630" y="433"/>
                  </a:lnTo>
                  <a:lnTo>
                    <a:pt x="629" y="432"/>
                  </a:lnTo>
                  <a:lnTo>
                    <a:pt x="629" y="432"/>
                  </a:lnTo>
                  <a:lnTo>
                    <a:pt x="626" y="430"/>
                  </a:lnTo>
                  <a:lnTo>
                    <a:pt x="623" y="429"/>
                  </a:lnTo>
                  <a:lnTo>
                    <a:pt x="623" y="429"/>
                  </a:lnTo>
                  <a:lnTo>
                    <a:pt x="621" y="429"/>
                  </a:lnTo>
                  <a:lnTo>
                    <a:pt x="621" y="429"/>
                  </a:lnTo>
                  <a:lnTo>
                    <a:pt x="611" y="433"/>
                  </a:lnTo>
                  <a:lnTo>
                    <a:pt x="611" y="433"/>
                  </a:lnTo>
                  <a:lnTo>
                    <a:pt x="607" y="436"/>
                  </a:lnTo>
                  <a:lnTo>
                    <a:pt x="604" y="439"/>
                  </a:lnTo>
                  <a:lnTo>
                    <a:pt x="604" y="439"/>
                  </a:lnTo>
                  <a:lnTo>
                    <a:pt x="604" y="439"/>
                  </a:lnTo>
                  <a:lnTo>
                    <a:pt x="604" y="440"/>
                  </a:lnTo>
                  <a:lnTo>
                    <a:pt x="604" y="440"/>
                  </a:lnTo>
                  <a:lnTo>
                    <a:pt x="605" y="443"/>
                  </a:lnTo>
                  <a:lnTo>
                    <a:pt x="605" y="443"/>
                  </a:lnTo>
                  <a:lnTo>
                    <a:pt x="608" y="446"/>
                  </a:lnTo>
                  <a:lnTo>
                    <a:pt x="608" y="446"/>
                  </a:lnTo>
                  <a:lnTo>
                    <a:pt x="616" y="449"/>
                  </a:lnTo>
                  <a:lnTo>
                    <a:pt x="616" y="449"/>
                  </a:lnTo>
                  <a:lnTo>
                    <a:pt x="620" y="452"/>
                  </a:lnTo>
                  <a:lnTo>
                    <a:pt x="620" y="452"/>
                  </a:lnTo>
                  <a:lnTo>
                    <a:pt x="621" y="452"/>
                  </a:lnTo>
                  <a:lnTo>
                    <a:pt x="621" y="452"/>
                  </a:lnTo>
                  <a:lnTo>
                    <a:pt x="621" y="455"/>
                  </a:lnTo>
                  <a:lnTo>
                    <a:pt x="621" y="455"/>
                  </a:lnTo>
                  <a:lnTo>
                    <a:pt x="621" y="456"/>
                  </a:lnTo>
                  <a:lnTo>
                    <a:pt x="621" y="456"/>
                  </a:lnTo>
                  <a:lnTo>
                    <a:pt x="621" y="459"/>
                  </a:lnTo>
                  <a:lnTo>
                    <a:pt x="621" y="459"/>
                  </a:lnTo>
                  <a:lnTo>
                    <a:pt x="623" y="461"/>
                  </a:lnTo>
                  <a:lnTo>
                    <a:pt x="623" y="461"/>
                  </a:lnTo>
                  <a:lnTo>
                    <a:pt x="623" y="461"/>
                  </a:lnTo>
                  <a:lnTo>
                    <a:pt x="623" y="461"/>
                  </a:lnTo>
                  <a:lnTo>
                    <a:pt x="623" y="461"/>
                  </a:lnTo>
                  <a:lnTo>
                    <a:pt x="624" y="459"/>
                  </a:lnTo>
                  <a:lnTo>
                    <a:pt x="623" y="461"/>
                  </a:lnTo>
                  <a:lnTo>
                    <a:pt x="623" y="461"/>
                  </a:lnTo>
                  <a:lnTo>
                    <a:pt x="624" y="459"/>
                  </a:lnTo>
                  <a:lnTo>
                    <a:pt x="623" y="461"/>
                  </a:lnTo>
                  <a:lnTo>
                    <a:pt x="624" y="459"/>
                  </a:lnTo>
                  <a:lnTo>
                    <a:pt x="623" y="459"/>
                  </a:lnTo>
                  <a:lnTo>
                    <a:pt x="623" y="459"/>
                  </a:lnTo>
                  <a:lnTo>
                    <a:pt x="623" y="461"/>
                  </a:lnTo>
                  <a:lnTo>
                    <a:pt x="624" y="459"/>
                  </a:lnTo>
                  <a:lnTo>
                    <a:pt x="623" y="459"/>
                  </a:lnTo>
                  <a:lnTo>
                    <a:pt x="624" y="459"/>
                  </a:lnTo>
                  <a:lnTo>
                    <a:pt x="623" y="458"/>
                  </a:lnTo>
                  <a:lnTo>
                    <a:pt x="623" y="458"/>
                  </a:lnTo>
                  <a:lnTo>
                    <a:pt x="623" y="459"/>
                  </a:lnTo>
                  <a:lnTo>
                    <a:pt x="624" y="459"/>
                  </a:lnTo>
                  <a:lnTo>
                    <a:pt x="623" y="458"/>
                  </a:lnTo>
                  <a:lnTo>
                    <a:pt x="624" y="459"/>
                  </a:lnTo>
                  <a:lnTo>
                    <a:pt x="624" y="456"/>
                  </a:lnTo>
                  <a:lnTo>
                    <a:pt x="624" y="456"/>
                  </a:lnTo>
                  <a:lnTo>
                    <a:pt x="623" y="458"/>
                  </a:lnTo>
                  <a:lnTo>
                    <a:pt x="624" y="459"/>
                  </a:lnTo>
                  <a:lnTo>
                    <a:pt x="624" y="456"/>
                  </a:lnTo>
                  <a:lnTo>
                    <a:pt x="624" y="459"/>
                  </a:lnTo>
                  <a:lnTo>
                    <a:pt x="626" y="458"/>
                  </a:lnTo>
                  <a:lnTo>
                    <a:pt x="626" y="458"/>
                  </a:lnTo>
                  <a:lnTo>
                    <a:pt x="624" y="456"/>
                  </a:lnTo>
                  <a:lnTo>
                    <a:pt x="624" y="459"/>
                  </a:lnTo>
                  <a:lnTo>
                    <a:pt x="626" y="458"/>
                  </a:lnTo>
                  <a:lnTo>
                    <a:pt x="626" y="459"/>
                  </a:lnTo>
                  <a:lnTo>
                    <a:pt x="626" y="458"/>
                  </a:lnTo>
                  <a:lnTo>
                    <a:pt x="626" y="458"/>
                  </a:lnTo>
                  <a:lnTo>
                    <a:pt x="626" y="459"/>
                  </a:lnTo>
                  <a:lnTo>
                    <a:pt x="626" y="458"/>
                  </a:lnTo>
                  <a:lnTo>
                    <a:pt x="626" y="458"/>
                  </a:lnTo>
                  <a:lnTo>
                    <a:pt x="626" y="458"/>
                  </a:lnTo>
                  <a:lnTo>
                    <a:pt x="626" y="458"/>
                  </a:lnTo>
                  <a:lnTo>
                    <a:pt x="626" y="458"/>
                  </a:lnTo>
                  <a:lnTo>
                    <a:pt x="626" y="458"/>
                  </a:lnTo>
                  <a:lnTo>
                    <a:pt x="626" y="458"/>
                  </a:lnTo>
                  <a:lnTo>
                    <a:pt x="624" y="456"/>
                  </a:lnTo>
                  <a:lnTo>
                    <a:pt x="624" y="456"/>
                  </a:lnTo>
                  <a:lnTo>
                    <a:pt x="618" y="452"/>
                  </a:lnTo>
                  <a:lnTo>
                    <a:pt x="618" y="452"/>
                  </a:lnTo>
                  <a:lnTo>
                    <a:pt x="616" y="449"/>
                  </a:lnTo>
                  <a:lnTo>
                    <a:pt x="616" y="449"/>
                  </a:lnTo>
                  <a:lnTo>
                    <a:pt x="613" y="448"/>
                  </a:lnTo>
                  <a:lnTo>
                    <a:pt x="611" y="448"/>
                  </a:lnTo>
                  <a:lnTo>
                    <a:pt x="611" y="448"/>
                  </a:lnTo>
                  <a:lnTo>
                    <a:pt x="610" y="449"/>
                  </a:lnTo>
                  <a:lnTo>
                    <a:pt x="608" y="449"/>
                  </a:lnTo>
                  <a:lnTo>
                    <a:pt x="608" y="449"/>
                  </a:lnTo>
                  <a:lnTo>
                    <a:pt x="607" y="452"/>
                  </a:lnTo>
                  <a:lnTo>
                    <a:pt x="607" y="452"/>
                  </a:lnTo>
                  <a:lnTo>
                    <a:pt x="608" y="456"/>
                  </a:lnTo>
                  <a:lnTo>
                    <a:pt x="608" y="456"/>
                  </a:lnTo>
                  <a:lnTo>
                    <a:pt x="608" y="461"/>
                  </a:lnTo>
                  <a:lnTo>
                    <a:pt x="608" y="461"/>
                  </a:lnTo>
                  <a:lnTo>
                    <a:pt x="610" y="461"/>
                  </a:lnTo>
                  <a:lnTo>
                    <a:pt x="608" y="461"/>
                  </a:lnTo>
                  <a:lnTo>
                    <a:pt x="608" y="461"/>
                  </a:lnTo>
                  <a:lnTo>
                    <a:pt x="610" y="461"/>
                  </a:lnTo>
                  <a:lnTo>
                    <a:pt x="608" y="461"/>
                  </a:lnTo>
                  <a:lnTo>
                    <a:pt x="611" y="461"/>
                  </a:lnTo>
                  <a:lnTo>
                    <a:pt x="610" y="459"/>
                  </a:lnTo>
                  <a:lnTo>
                    <a:pt x="608" y="461"/>
                  </a:lnTo>
                  <a:lnTo>
                    <a:pt x="611" y="461"/>
                  </a:lnTo>
                  <a:lnTo>
                    <a:pt x="610" y="459"/>
                  </a:lnTo>
                  <a:lnTo>
                    <a:pt x="611" y="461"/>
                  </a:lnTo>
                  <a:lnTo>
                    <a:pt x="610" y="459"/>
                  </a:lnTo>
                  <a:lnTo>
                    <a:pt x="610" y="459"/>
                  </a:lnTo>
                  <a:lnTo>
                    <a:pt x="611" y="461"/>
                  </a:lnTo>
                  <a:lnTo>
                    <a:pt x="610" y="459"/>
                  </a:lnTo>
                  <a:lnTo>
                    <a:pt x="611" y="461"/>
                  </a:lnTo>
                  <a:lnTo>
                    <a:pt x="611" y="459"/>
                  </a:lnTo>
                  <a:lnTo>
                    <a:pt x="610" y="459"/>
                  </a:lnTo>
                  <a:lnTo>
                    <a:pt x="611" y="461"/>
                  </a:lnTo>
                  <a:lnTo>
                    <a:pt x="611" y="459"/>
                  </a:lnTo>
                  <a:lnTo>
                    <a:pt x="611" y="461"/>
                  </a:lnTo>
                  <a:lnTo>
                    <a:pt x="613" y="459"/>
                  </a:lnTo>
                  <a:lnTo>
                    <a:pt x="613" y="459"/>
                  </a:lnTo>
                  <a:lnTo>
                    <a:pt x="611" y="459"/>
                  </a:lnTo>
                  <a:lnTo>
                    <a:pt x="611" y="461"/>
                  </a:lnTo>
                  <a:lnTo>
                    <a:pt x="613" y="459"/>
                  </a:lnTo>
                  <a:lnTo>
                    <a:pt x="611" y="461"/>
                  </a:lnTo>
                  <a:lnTo>
                    <a:pt x="613" y="459"/>
                  </a:lnTo>
                  <a:lnTo>
                    <a:pt x="613" y="459"/>
                  </a:lnTo>
                  <a:lnTo>
                    <a:pt x="611" y="461"/>
                  </a:lnTo>
                  <a:lnTo>
                    <a:pt x="613" y="459"/>
                  </a:lnTo>
                  <a:lnTo>
                    <a:pt x="613" y="459"/>
                  </a:lnTo>
                  <a:lnTo>
                    <a:pt x="613" y="459"/>
                  </a:lnTo>
                  <a:lnTo>
                    <a:pt x="613" y="459"/>
                  </a:lnTo>
                  <a:lnTo>
                    <a:pt x="613" y="459"/>
                  </a:lnTo>
                  <a:lnTo>
                    <a:pt x="613" y="459"/>
                  </a:lnTo>
                  <a:lnTo>
                    <a:pt x="613" y="459"/>
                  </a:lnTo>
                  <a:lnTo>
                    <a:pt x="613" y="458"/>
                  </a:lnTo>
                  <a:lnTo>
                    <a:pt x="613" y="458"/>
                  </a:lnTo>
                  <a:lnTo>
                    <a:pt x="611" y="455"/>
                  </a:lnTo>
                  <a:lnTo>
                    <a:pt x="611" y="455"/>
                  </a:lnTo>
                  <a:lnTo>
                    <a:pt x="608" y="452"/>
                  </a:lnTo>
                  <a:lnTo>
                    <a:pt x="608" y="452"/>
                  </a:lnTo>
                  <a:lnTo>
                    <a:pt x="607" y="452"/>
                  </a:lnTo>
                  <a:lnTo>
                    <a:pt x="607" y="452"/>
                  </a:lnTo>
                  <a:lnTo>
                    <a:pt x="604" y="452"/>
                  </a:lnTo>
                  <a:lnTo>
                    <a:pt x="604" y="452"/>
                  </a:lnTo>
                  <a:lnTo>
                    <a:pt x="602" y="453"/>
                  </a:lnTo>
                  <a:lnTo>
                    <a:pt x="602" y="453"/>
                  </a:lnTo>
                  <a:lnTo>
                    <a:pt x="602" y="456"/>
                  </a:lnTo>
                  <a:lnTo>
                    <a:pt x="602" y="456"/>
                  </a:lnTo>
                  <a:lnTo>
                    <a:pt x="601" y="461"/>
                  </a:lnTo>
                  <a:lnTo>
                    <a:pt x="601" y="461"/>
                  </a:lnTo>
                  <a:lnTo>
                    <a:pt x="601" y="462"/>
                  </a:lnTo>
                  <a:lnTo>
                    <a:pt x="600" y="462"/>
                  </a:lnTo>
                  <a:lnTo>
                    <a:pt x="600" y="462"/>
                  </a:lnTo>
                  <a:lnTo>
                    <a:pt x="600" y="462"/>
                  </a:lnTo>
                  <a:lnTo>
                    <a:pt x="600" y="462"/>
                  </a:lnTo>
                  <a:lnTo>
                    <a:pt x="600" y="462"/>
                  </a:lnTo>
                  <a:lnTo>
                    <a:pt x="600" y="462"/>
                  </a:lnTo>
                  <a:lnTo>
                    <a:pt x="600" y="462"/>
                  </a:lnTo>
                  <a:lnTo>
                    <a:pt x="600" y="462"/>
                  </a:lnTo>
                  <a:lnTo>
                    <a:pt x="600" y="463"/>
                  </a:lnTo>
                  <a:lnTo>
                    <a:pt x="600" y="462"/>
                  </a:lnTo>
                  <a:lnTo>
                    <a:pt x="600" y="462"/>
                  </a:lnTo>
                  <a:lnTo>
                    <a:pt x="600" y="463"/>
                  </a:lnTo>
                  <a:lnTo>
                    <a:pt x="600" y="462"/>
                  </a:lnTo>
                  <a:lnTo>
                    <a:pt x="600" y="463"/>
                  </a:lnTo>
                  <a:lnTo>
                    <a:pt x="601" y="463"/>
                  </a:lnTo>
                  <a:lnTo>
                    <a:pt x="600" y="462"/>
                  </a:lnTo>
                  <a:lnTo>
                    <a:pt x="600" y="463"/>
                  </a:lnTo>
                  <a:lnTo>
                    <a:pt x="601" y="463"/>
                  </a:lnTo>
                  <a:lnTo>
                    <a:pt x="601" y="463"/>
                  </a:lnTo>
                  <a:lnTo>
                    <a:pt x="601" y="463"/>
                  </a:lnTo>
                  <a:lnTo>
                    <a:pt x="601" y="463"/>
                  </a:lnTo>
                  <a:lnTo>
                    <a:pt x="601" y="463"/>
                  </a:lnTo>
                  <a:lnTo>
                    <a:pt x="601" y="463"/>
                  </a:lnTo>
                  <a:lnTo>
                    <a:pt x="601" y="463"/>
                  </a:lnTo>
                  <a:lnTo>
                    <a:pt x="601" y="463"/>
                  </a:lnTo>
                  <a:lnTo>
                    <a:pt x="601" y="463"/>
                  </a:lnTo>
                  <a:lnTo>
                    <a:pt x="601" y="463"/>
                  </a:lnTo>
                  <a:lnTo>
                    <a:pt x="601" y="463"/>
                  </a:lnTo>
                  <a:lnTo>
                    <a:pt x="601" y="463"/>
                  </a:lnTo>
                  <a:lnTo>
                    <a:pt x="601" y="462"/>
                  </a:lnTo>
                  <a:lnTo>
                    <a:pt x="601" y="462"/>
                  </a:lnTo>
                  <a:lnTo>
                    <a:pt x="602" y="458"/>
                  </a:lnTo>
                  <a:lnTo>
                    <a:pt x="602" y="458"/>
                  </a:lnTo>
                  <a:lnTo>
                    <a:pt x="602" y="456"/>
                  </a:lnTo>
                  <a:lnTo>
                    <a:pt x="602" y="456"/>
                  </a:lnTo>
                  <a:lnTo>
                    <a:pt x="602" y="455"/>
                  </a:lnTo>
                  <a:lnTo>
                    <a:pt x="602" y="455"/>
                  </a:lnTo>
                  <a:lnTo>
                    <a:pt x="602" y="453"/>
                  </a:lnTo>
                  <a:lnTo>
                    <a:pt x="602" y="453"/>
                  </a:lnTo>
                  <a:lnTo>
                    <a:pt x="601" y="452"/>
                  </a:lnTo>
                  <a:lnTo>
                    <a:pt x="601" y="452"/>
                  </a:lnTo>
                  <a:lnTo>
                    <a:pt x="600" y="452"/>
                  </a:lnTo>
                  <a:lnTo>
                    <a:pt x="600" y="452"/>
                  </a:lnTo>
                  <a:lnTo>
                    <a:pt x="598" y="452"/>
                  </a:lnTo>
                  <a:lnTo>
                    <a:pt x="598" y="452"/>
                  </a:lnTo>
                  <a:lnTo>
                    <a:pt x="598" y="452"/>
                  </a:lnTo>
                  <a:lnTo>
                    <a:pt x="598" y="452"/>
                  </a:lnTo>
                  <a:lnTo>
                    <a:pt x="595" y="456"/>
                  </a:lnTo>
                  <a:lnTo>
                    <a:pt x="595" y="456"/>
                  </a:lnTo>
                  <a:lnTo>
                    <a:pt x="592" y="461"/>
                  </a:lnTo>
                  <a:lnTo>
                    <a:pt x="592" y="461"/>
                  </a:lnTo>
                  <a:lnTo>
                    <a:pt x="591" y="462"/>
                  </a:lnTo>
                  <a:lnTo>
                    <a:pt x="591" y="462"/>
                  </a:lnTo>
                  <a:lnTo>
                    <a:pt x="592" y="463"/>
                  </a:lnTo>
                  <a:lnTo>
                    <a:pt x="592" y="462"/>
                  </a:lnTo>
                  <a:lnTo>
                    <a:pt x="592" y="462"/>
                  </a:lnTo>
                  <a:lnTo>
                    <a:pt x="591" y="462"/>
                  </a:lnTo>
                  <a:lnTo>
                    <a:pt x="592" y="463"/>
                  </a:lnTo>
                  <a:lnTo>
                    <a:pt x="592" y="462"/>
                  </a:lnTo>
                  <a:lnTo>
                    <a:pt x="592" y="463"/>
                  </a:lnTo>
                  <a:lnTo>
                    <a:pt x="594" y="462"/>
                  </a:lnTo>
                  <a:lnTo>
                    <a:pt x="594" y="462"/>
                  </a:lnTo>
                  <a:lnTo>
                    <a:pt x="592" y="462"/>
                  </a:lnTo>
                  <a:lnTo>
                    <a:pt x="592" y="463"/>
                  </a:lnTo>
                  <a:lnTo>
                    <a:pt x="594" y="462"/>
                  </a:lnTo>
                  <a:lnTo>
                    <a:pt x="592" y="463"/>
                  </a:lnTo>
                  <a:lnTo>
                    <a:pt x="594" y="463"/>
                  </a:lnTo>
                  <a:lnTo>
                    <a:pt x="594" y="462"/>
                  </a:lnTo>
                  <a:lnTo>
                    <a:pt x="592" y="463"/>
                  </a:lnTo>
                  <a:lnTo>
                    <a:pt x="594" y="463"/>
                  </a:lnTo>
                  <a:lnTo>
                    <a:pt x="594" y="463"/>
                  </a:lnTo>
                  <a:lnTo>
                    <a:pt x="594" y="463"/>
                  </a:lnTo>
                  <a:lnTo>
                    <a:pt x="594" y="463"/>
                  </a:lnTo>
                  <a:lnTo>
                    <a:pt x="594" y="463"/>
                  </a:lnTo>
                  <a:lnTo>
                    <a:pt x="594" y="463"/>
                  </a:lnTo>
                  <a:lnTo>
                    <a:pt x="594" y="462"/>
                  </a:lnTo>
                  <a:lnTo>
                    <a:pt x="594" y="462"/>
                  </a:lnTo>
                  <a:lnTo>
                    <a:pt x="594" y="459"/>
                  </a:lnTo>
                  <a:lnTo>
                    <a:pt x="594" y="459"/>
                  </a:lnTo>
                  <a:lnTo>
                    <a:pt x="594" y="456"/>
                  </a:lnTo>
                  <a:lnTo>
                    <a:pt x="594" y="456"/>
                  </a:lnTo>
                  <a:lnTo>
                    <a:pt x="594" y="453"/>
                  </a:lnTo>
                  <a:lnTo>
                    <a:pt x="594" y="453"/>
                  </a:lnTo>
                  <a:lnTo>
                    <a:pt x="591" y="452"/>
                  </a:lnTo>
                  <a:lnTo>
                    <a:pt x="589" y="450"/>
                  </a:lnTo>
                  <a:lnTo>
                    <a:pt x="589" y="450"/>
                  </a:lnTo>
                  <a:lnTo>
                    <a:pt x="582" y="449"/>
                  </a:lnTo>
                  <a:lnTo>
                    <a:pt x="582" y="449"/>
                  </a:lnTo>
                  <a:lnTo>
                    <a:pt x="582" y="449"/>
                  </a:lnTo>
                  <a:lnTo>
                    <a:pt x="581" y="448"/>
                  </a:lnTo>
                  <a:lnTo>
                    <a:pt x="581" y="449"/>
                  </a:lnTo>
                  <a:lnTo>
                    <a:pt x="581" y="449"/>
                  </a:lnTo>
                  <a:lnTo>
                    <a:pt x="581" y="448"/>
                  </a:lnTo>
                  <a:lnTo>
                    <a:pt x="581" y="449"/>
                  </a:lnTo>
                  <a:lnTo>
                    <a:pt x="581" y="449"/>
                  </a:lnTo>
                  <a:lnTo>
                    <a:pt x="581" y="449"/>
                  </a:lnTo>
                  <a:lnTo>
                    <a:pt x="581" y="449"/>
                  </a:lnTo>
                  <a:lnTo>
                    <a:pt x="581" y="449"/>
                  </a:lnTo>
                  <a:lnTo>
                    <a:pt x="581" y="449"/>
                  </a:lnTo>
                  <a:lnTo>
                    <a:pt x="581" y="449"/>
                  </a:lnTo>
                  <a:lnTo>
                    <a:pt x="581" y="449"/>
                  </a:lnTo>
                  <a:lnTo>
                    <a:pt x="581" y="449"/>
                  </a:lnTo>
                  <a:lnTo>
                    <a:pt x="581" y="449"/>
                  </a:lnTo>
                  <a:lnTo>
                    <a:pt x="581" y="449"/>
                  </a:lnTo>
                  <a:lnTo>
                    <a:pt x="581" y="449"/>
                  </a:lnTo>
                  <a:lnTo>
                    <a:pt x="581" y="449"/>
                  </a:lnTo>
                  <a:lnTo>
                    <a:pt x="581" y="449"/>
                  </a:lnTo>
                  <a:lnTo>
                    <a:pt x="582" y="446"/>
                  </a:lnTo>
                  <a:lnTo>
                    <a:pt x="582" y="446"/>
                  </a:lnTo>
                  <a:lnTo>
                    <a:pt x="584" y="440"/>
                  </a:lnTo>
                  <a:lnTo>
                    <a:pt x="584" y="440"/>
                  </a:lnTo>
                  <a:lnTo>
                    <a:pt x="582" y="439"/>
                  </a:lnTo>
                  <a:lnTo>
                    <a:pt x="582" y="439"/>
                  </a:lnTo>
                  <a:lnTo>
                    <a:pt x="582" y="437"/>
                  </a:lnTo>
                  <a:lnTo>
                    <a:pt x="582" y="437"/>
                  </a:lnTo>
                  <a:lnTo>
                    <a:pt x="579" y="437"/>
                  </a:lnTo>
                  <a:lnTo>
                    <a:pt x="579" y="437"/>
                  </a:lnTo>
                  <a:lnTo>
                    <a:pt x="576" y="439"/>
                  </a:lnTo>
                  <a:lnTo>
                    <a:pt x="576" y="439"/>
                  </a:lnTo>
                  <a:lnTo>
                    <a:pt x="574" y="442"/>
                  </a:lnTo>
                  <a:lnTo>
                    <a:pt x="574" y="442"/>
                  </a:lnTo>
                  <a:lnTo>
                    <a:pt x="571" y="446"/>
                  </a:lnTo>
                  <a:lnTo>
                    <a:pt x="571" y="446"/>
                  </a:lnTo>
                  <a:lnTo>
                    <a:pt x="571" y="446"/>
                  </a:lnTo>
                  <a:lnTo>
                    <a:pt x="571" y="446"/>
                  </a:lnTo>
                  <a:lnTo>
                    <a:pt x="569" y="449"/>
                  </a:lnTo>
                  <a:lnTo>
                    <a:pt x="569" y="449"/>
                  </a:lnTo>
                  <a:lnTo>
                    <a:pt x="568" y="453"/>
                  </a:lnTo>
                  <a:lnTo>
                    <a:pt x="568" y="453"/>
                  </a:lnTo>
                  <a:lnTo>
                    <a:pt x="569" y="461"/>
                  </a:lnTo>
                  <a:lnTo>
                    <a:pt x="569" y="461"/>
                  </a:lnTo>
                  <a:lnTo>
                    <a:pt x="571" y="462"/>
                  </a:lnTo>
                  <a:lnTo>
                    <a:pt x="571" y="462"/>
                  </a:lnTo>
                  <a:lnTo>
                    <a:pt x="571" y="462"/>
                  </a:lnTo>
                  <a:lnTo>
                    <a:pt x="571" y="461"/>
                  </a:lnTo>
                  <a:lnTo>
                    <a:pt x="571" y="462"/>
                  </a:lnTo>
                  <a:lnTo>
                    <a:pt x="571" y="462"/>
                  </a:lnTo>
                  <a:lnTo>
                    <a:pt x="571" y="461"/>
                  </a:lnTo>
                  <a:lnTo>
                    <a:pt x="571" y="462"/>
                  </a:lnTo>
                  <a:lnTo>
                    <a:pt x="571" y="462"/>
                  </a:lnTo>
                  <a:lnTo>
                    <a:pt x="566" y="462"/>
                  </a:lnTo>
                  <a:lnTo>
                    <a:pt x="566" y="462"/>
                  </a:lnTo>
                  <a:lnTo>
                    <a:pt x="563" y="463"/>
                  </a:lnTo>
                  <a:lnTo>
                    <a:pt x="563" y="463"/>
                  </a:lnTo>
                  <a:lnTo>
                    <a:pt x="560" y="466"/>
                  </a:lnTo>
                  <a:lnTo>
                    <a:pt x="560" y="466"/>
                  </a:lnTo>
                  <a:lnTo>
                    <a:pt x="560" y="468"/>
                  </a:lnTo>
                  <a:lnTo>
                    <a:pt x="560" y="468"/>
                  </a:lnTo>
                  <a:lnTo>
                    <a:pt x="562" y="472"/>
                  </a:lnTo>
                  <a:lnTo>
                    <a:pt x="562" y="472"/>
                  </a:lnTo>
                  <a:lnTo>
                    <a:pt x="565" y="474"/>
                  </a:lnTo>
                  <a:lnTo>
                    <a:pt x="565" y="474"/>
                  </a:lnTo>
                  <a:lnTo>
                    <a:pt x="569" y="476"/>
                  </a:lnTo>
                  <a:lnTo>
                    <a:pt x="569" y="476"/>
                  </a:lnTo>
                  <a:lnTo>
                    <a:pt x="571" y="476"/>
                  </a:lnTo>
                  <a:lnTo>
                    <a:pt x="571" y="476"/>
                  </a:lnTo>
                  <a:lnTo>
                    <a:pt x="571" y="479"/>
                  </a:lnTo>
                  <a:lnTo>
                    <a:pt x="571" y="479"/>
                  </a:lnTo>
                  <a:lnTo>
                    <a:pt x="571" y="484"/>
                  </a:lnTo>
                  <a:lnTo>
                    <a:pt x="571" y="484"/>
                  </a:lnTo>
                  <a:lnTo>
                    <a:pt x="571" y="485"/>
                  </a:lnTo>
                  <a:lnTo>
                    <a:pt x="574" y="485"/>
                  </a:lnTo>
                  <a:lnTo>
                    <a:pt x="571" y="485"/>
                  </a:lnTo>
                  <a:lnTo>
                    <a:pt x="571" y="485"/>
                  </a:lnTo>
                  <a:lnTo>
                    <a:pt x="574" y="485"/>
                  </a:lnTo>
                  <a:lnTo>
                    <a:pt x="571" y="485"/>
                  </a:lnTo>
                  <a:lnTo>
                    <a:pt x="574" y="485"/>
                  </a:lnTo>
                  <a:lnTo>
                    <a:pt x="572" y="484"/>
                  </a:lnTo>
                  <a:lnTo>
                    <a:pt x="572" y="484"/>
                  </a:lnTo>
                  <a:lnTo>
                    <a:pt x="571" y="485"/>
                  </a:lnTo>
                  <a:lnTo>
                    <a:pt x="574" y="485"/>
                  </a:lnTo>
                  <a:lnTo>
                    <a:pt x="572" y="484"/>
                  </a:lnTo>
                  <a:lnTo>
                    <a:pt x="574" y="485"/>
                  </a:lnTo>
                  <a:lnTo>
                    <a:pt x="572" y="482"/>
                  </a:lnTo>
                  <a:lnTo>
                    <a:pt x="572" y="484"/>
                  </a:lnTo>
                  <a:lnTo>
                    <a:pt x="574" y="485"/>
                  </a:lnTo>
                  <a:lnTo>
                    <a:pt x="572" y="482"/>
                  </a:lnTo>
                  <a:lnTo>
                    <a:pt x="572" y="484"/>
                  </a:lnTo>
                  <a:lnTo>
                    <a:pt x="572" y="482"/>
                  </a:lnTo>
                  <a:lnTo>
                    <a:pt x="572" y="482"/>
                  </a:lnTo>
                  <a:lnTo>
                    <a:pt x="572" y="484"/>
                  </a:lnTo>
                  <a:lnTo>
                    <a:pt x="572" y="482"/>
                  </a:lnTo>
                  <a:lnTo>
                    <a:pt x="572" y="482"/>
                  </a:lnTo>
                  <a:lnTo>
                    <a:pt x="572" y="482"/>
                  </a:lnTo>
                  <a:lnTo>
                    <a:pt x="568" y="482"/>
                  </a:lnTo>
                  <a:lnTo>
                    <a:pt x="568" y="482"/>
                  </a:lnTo>
                  <a:lnTo>
                    <a:pt x="563" y="484"/>
                  </a:lnTo>
                  <a:lnTo>
                    <a:pt x="563" y="484"/>
                  </a:lnTo>
                  <a:lnTo>
                    <a:pt x="562" y="484"/>
                  </a:lnTo>
                  <a:lnTo>
                    <a:pt x="562" y="484"/>
                  </a:lnTo>
                  <a:lnTo>
                    <a:pt x="560" y="487"/>
                  </a:lnTo>
                  <a:lnTo>
                    <a:pt x="560" y="487"/>
                  </a:lnTo>
                  <a:lnTo>
                    <a:pt x="558" y="490"/>
                  </a:lnTo>
                  <a:lnTo>
                    <a:pt x="558" y="490"/>
                  </a:lnTo>
                  <a:lnTo>
                    <a:pt x="553" y="492"/>
                  </a:lnTo>
                  <a:lnTo>
                    <a:pt x="553" y="492"/>
                  </a:lnTo>
                  <a:lnTo>
                    <a:pt x="552" y="492"/>
                  </a:lnTo>
                  <a:lnTo>
                    <a:pt x="552" y="492"/>
                  </a:lnTo>
                  <a:lnTo>
                    <a:pt x="550" y="494"/>
                  </a:lnTo>
                  <a:lnTo>
                    <a:pt x="550" y="494"/>
                  </a:lnTo>
                  <a:lnTo>
                    <a:pt x="549" y="495"/>
                  </a:lnTo>
                  <a:lnTo>
                    <a:pt x="549" y="495"/>
                  </a:lnTo>
                  <a:lnTo>
                    <a:pt x="550" y="498"/>
                  </a:lnTo>
                  <a:lnTo>
                    <a:pt x="550" y="500"/>
                  </a:lnTo>
                  <a:lnTo>
                    <a:pt x="550" y="500"/>
                  </a:lnTo>
                  <a:lnTo>
                    <a:pt x="553" y="503"/>
                  </a:lnTo>
                  <a:lnTo>
                    <a:pt x="555" y="503"/>
                  </a:lnTo>
                  <a:lnTo>
                    <a:pt x="555" y="503"/>
                  </a:lnTo>
                  <a:lnTo>
                    <a:pt x="556" y="503"/>
                  </a:lnTo>
                  <a:lnTo>
                    <a:pt x="555" y="503"/>
                  </a:lnTo>
                  <a:lnTo>
                    <a:pt x="555" y="503"/>
                  </a:lnTo>
                  <a:lnTo>
                    <a:pt x="556" y="503"/>
                  </a:lnTo>
                  <a:lnTo>
                    <a:pt x="555" y="503"/>
                  </a:lnTo>
                  <a:lnTo>
                    <a:pt x="556" y="503"/>
                  </a:lnTo>
                  <a:lnTo>
                    <a:pt x="555" y="501"/>
                  </a:lnTo>
                  <a:lnTo>
                    <a:pt x="555" y="503"/>
                  </a:lnTo>
                  <a:lnTo>
                    <a:pt x="556" y="503"/>
                  </a:lnTo>
                  <a:lnTo>
                    <a:pt x="555" y="501"/>
                  </a:lnTo>
                  <a:lnTo>
                    <a:pt x="556" y="503"/>
                  </a:lnTo>
                  <a:lnTo>
                    <a:pt x="555" y="501"/>
                  </a:lnTo>
                  <a:lnTo>
                    <a:pt x="555" y="501"/>
                  </a:lnTo>
                  <a:lnTo>
                    <a:pt x="555" y="501"/>
                  </a:lnTo>
                  <a:lnTo>
                    <a:pt x="556" y="503"/>
                  </a:lnTo>
                  <a:lnTo>
                    <a:pt x="555" y="501"/>
                  </a:lnTo>
                  <a:lnTo>
                    <a:pt x="555" y="501"/>
                  </a:lnTo>
                  <a:lnTo>
                    <a:pt x="555" y="501"/>
                  </a:lnTo>
                  <a:lnTo>
                    <a:pt x="555" y="501"/>
                  </a:lnTo>
                  <a:lnTo>
                    <a:pt x="553" y="500"/>
                  </a:lnTo>
                  <a:lnTo>
                    <a:pt x="553" y="500"/>
                  </a:lnTo>
                  <a:lnTo>
                    <a:pt x="552" y="500"/>
                  </a:lnTo>
                  <a:lnTo>
                    <a:pt x="552" y="500"/>
                  </a:lnTo>
                  <a:lnTo>
                    <a:pt x="549" y="501"/>
                  </a:lnTo>
                  <a:lnTo>
                    <a:pt x="549" y="501"/>
                  </a:lnTo>
                  <a:lnTo>
                    <a:pt x="545" y="504"/>
                  </a:lnTo>
                  <a:lnTo>
                    <a:pt x="545" y="504"/>
                  </a:lnTo>
                  <a:lnTo>
                    <a:pt x="540" y="505"/>
                  </a:lnTo>
                  <a:lnTo>
                    <a:pt x="540" y="505"/>
                  </a:lnTo>
                  <a:lnTo>
                    <a:pt x="537" y="507"/>
                  </a:lnTo>
                  <a:lnTo>
                    <a:pt x="537" y="507"/>
                  </a:lnTo>
                  <a:lnTo>
                    <a:pt x="534" y="508"/>
                  </a:lnTo>
                  <a:lnTo>
                    <a:pt x="534" y="508"/>
                  </a:lnTo>
                  <a:lnTo>
                    <a:pt x="533" y="507"/>
                  </a:lnTo>
                  <a:lnTo>
                    <a:pt x="533" y="507"/>
                  </a:lnTo>
                  <a:lnTo>
                    <a:pt x="532" y="505"/>
                  </a:lnTo>
                  <a:lnTo>
                    <a:pt x="527" y="504"/>
                  </a:lnTo>
                  <a:lnTo>
                    <a:pt x="527" y="504"/>
                  </a:lnTo>
                  <a:lnTo>
                    <a:pt x="526" y="505"/>
                  </a:lnTo>
                  <a:lnTo>
                    <a:pt x="523" y="507"/>
                  </a:lnTo>
                  <a:lnTo>
                    <a:pt x="523" y="507"/>
                  </a:lnTo>
                  <a:lnTo>
                    <a:pt x="521" y="508"/>
                  </a:lnTo>
                  <a:lnTo>
                    <a:pt x="521" y="511"/>
                  </a:lnTo>
                  <a:lnTo>
                    <a:pt x="521" y="511"/>
                  </a:lnTo>
                  <a:lnTo>
                    <a:pt x="521" y="513"/>
                  </a:lnTo>
                  <a:lnTo>
                    <a:pt x="521" y="513"/>
                  </a:lnTo>
                  <a:lnTo>
                    <a:pt x="517" y="517"/>
                  </a:lnTo>
                  <a:lnTo>
                    <a:pt x="517" y="517"/>
                  </a:lnTo>
                  <a:lnTo>
                    <a:pt x="516" y="520"/>
                  </a:lnTo>
                  <a:lnTo>
                    <a:pt x="516" y="520"/>
                  </a:lnTo>
                  <a:lnTo>
                    <a:pt x="516" y="523"/>
                  </a:lnTo>
                  <a:lnTo>
                    <a:pt x="516" y="523"/>
                  </a:lnTo>
                  <a:lnTo>
                    <a:pt x="516" y="526"/>
                  </a:lnTo>
                  <a:lnTo>
                    <a:pt x="516" y="526"/>
                  </a:lnTo>
                  <a:lnTo>
                    <a:pt x="518" y="527"/>
                  </a:lnTo>
                  <a:lnTo>
                    <a:pt x="518" y="527"/>
                  </a:lnTo>
                  <a:lnTo>
                    <a:pt x="521" y="527"/>
                  </a:lnTo>
                  <a:lnTo>
                    <a:pt x="521" y="527"/>
                  </a:lnTo>
                  <a:lnTo>
                    <a:pt x="530" y="526"/>
                  </a:lnTo>
                  <a:lnTo>
                    <a:pt x="530" y="526"/>
                  </a:lnTo>
                  <a:lnTo>
                    <a:pt x="530" y="524"/>
                  </a:lnTo>
                  <a:lnTo>
                    <a:pt x="529" y="526"/>
                  </a:lnTo>
                  <a:lnTo>
                    <a:pt x="529" y="526"/>
                  </a:lnTo>
                  <a:lnTo>
                    <a:pt x="530" y="526"/>
                  </a:lnTo>
                  <a:lnTo>
                    <a:pt x="530" y="524"/>
                  </a:lnTo>
                  <a:lnTo>
                    <a:pt x="529" y="526"/>
                  </a:lnTo>
                  <a:lnTo>
                    <a:pt x="530" y="524"/>
                  </a:lnTo>
                  <a:lnTo>
                    <a:pt x="529" y="524"/>
                  </a:lnTo>
                  <a:lnTo>
                    <a:pt x="529" y="524"/>
                  </a:lnTo>
                  <a:lnTo>
                    <a:pt x="529" y="526"/>
                  </a:lnTo>
                  <a:lnTo>
                    <a:pt x="530" y="524"/>
                  </a:lnTo>
                  <a:lnTo>
                    <a:pt x="529" y="524"/>
                  </a:lnTo>
                  <a:lnTo>
                    <a:pt x="530" y="524"/>
                  </a:lnTo>
                  <a:lnTo>
                    <a:pt x="529" y="523"/>
                  </a:lnTo>
                  <a:lnTo>
                    <a:pt x="529" y="524"/>
                  </a:lnTo>
                  <a:lnTo>
                    <a:pt x="530" y="524"/>
                  </a:lnTo>
                  <a:lnTo>
                    <a:pt x="529" y="523"/>
                  </a:lnTo>
                  <a:lnTo>
                    <a:pt x="529" y="523"/>
                  </a:lnTo>
                  <a:lnTo>
                    <a:pt x="529" y="523"/>
                  </a:lnTo>
                  <a:lnTo>
                    <a:pt x="529" y="523"/>
                  </a:lnTo>
                  <a:lnTo>
                    <a:pt x="529" y="523"/>
                  </a:lnTo>
                  <a:lnTo>
                    <a:pt x="529" y="523"/>
                  </a:lnTo>
                  <a:lnTo>
                    <a:pt x="529" y="523"/>
                  </a:lnTo>
                  <a:lnTo>
                    <a:pt x="526" y="527"/>
                  </a:lnTo>
                  <a:lnTo>
                    <a:pt x="526" y="527"/>
                  </a:lnTo>
                  <a:lnTo>
                    <a:pt x="521" y="532"/>
                  </a:lnTo>
                  <a:lnTo>
                    <a:pt x="521" y="532"/>
                  </a:lnTo>
                  <a:lnTo>
                    <a:pt x="521" y="532"/>
                  </a:lnTo>
                  <a:lnTo>
                    <a:pt x="521" y="532"/>
                  </a:lnTo>
                  <a:lnTo>
                    <a:pt x="520" y="536"/>
                  </a:lnTo>
                  <a:lnTo>
                    <a:pt x="520" y="536"/>
                  </a:lnTo>
                  <a:lnTo>
                    <a:pt x="520" y="537"/>
                  </a:lnTo>
                  <a:lnTo>
                    <a:pt x="520" y="537"/>
                  </a:lnTo>
                  <a:lnTo>
                    <a:pt x="523" y="539"/>
                  </a:lnTo>
                  <a:lnTo>
                    <a:pt x="523" y="539"/>
                  </a:lnTo>
                  <a:lnTo>
                    <a:pt x="524" y="539"/>
                  </a:lnTo>
                  <a:lnTo>
                    <a:pt x="524" y="539"/>
                  </a:lnTo>
                  <a:lnTo>
                    <a:pt x="529" y="539"/>
                  </a:lnTo>
                  <a:lnTo>
                    <a:pt x="529" y="539"/>
                  </a:lnTo>
                  <a:lnTo>
                    <a:pt x="532" y="537"/>
                  </a:lnTo>
                  <a:lnTo>
                    <a:pt x="532" y="536"/>
                  </a:lnTo>
                  <a:lnTo>
                    <a:pt x="532" y="536"/>
                  </a:lnTo>
                  <a:lnTo>
                    <a:pt x="532" y="536"/>
                  </a:lnTo>
                  <a:lnTo>
                    <a:pt x="532" y="536"/>
                  </a:lnTo>
                  <a:lnTo>
                    <a:pt x="532" y="536"/>
                  </a:lnTo>
                  <a:lnTo>
                    <a:pt x="532" y="536"/>
                  </a:lnTo>
                  <a:lnTo>
                    <a:pt x="532" y="534"/>
                  </a:lnTo>
                  <a:lnTo>
                    <a:pt x="530" y="536"/>
                  </a:lnTo>
                  <a:lnTo>
                    <a:pt x="532" y="536"/>
                  </a:lnTo>
                  <a:lnTo>
                    <a:pt x="532" y="534"/>
                  </a:lnTo>
                  <a:lnTo>
                    <a:pt x="530" y="536"/>
                  </a:lnTo>
                  <a:lnTo>
                    <a:pt x="532" y="534"/>
                  </a:lnTo>
                  <a:lnTo>
                    <a:pt x="530" y="536"/>
                  </a:lnTo>
                  <a:lnTo>
                    <a:pt x="530" y="536"/>
                  </a:lnTo>
                  <a:lnTo>
                    <a:pt x="532" y="534"/>
                  </a:lnTo>
                  <a:lnTo>
                    <a:pt x="530" y="536"/>
                  </a:lnTo>
                  <a:lnTo>
                    <a:pt x="530" y="536"/>
                  </a:lnTo>
                  <a:lnTo>
                    <a:pt x="530" y="536"/>
                  </a:lnTo>
                  <a:lnTo>
                    <a:pt x="530" y="536"/>
                  </a:lnTo>
                  <a:lnTo>
                    <a:pt x="530" y="536"/>
                  </a:lnTo>
                  <a:lnTo>
                    <a:pt x="530" y="536"/>
                  </a:lnTo>
                  <a:lnTo>
                    <a:pt x="530" y="536"/>
                  </a:lnTo>
                  <a:lnTo>
                    <a:pt x="530" y="537"/>
                  </a:lnTo>
                  <a:lnTo>
                    <a:pt x="530" y="537"/>
                  </a:lnTo>
                  <a:lnTo>
                    <a:pt x="527" y="539"/>
                  </a:lnTo>
                  <a:lnTo>
                    <a:pt x="527" y="539"/>
                  </a:lnTo>
                  <a:lnTo>
                    <a:pt x="521" y="542"/>
                  </a:lnTo>
                  <a:lnTo>
                    <a:pt x="521" y="542"/>
                  </a:lnTo>
                  <a:lnTo>
                    <a:pt x="517" y="543"/>
                  </a:lnTo>
                  <a:lnTo>
                    <a:pt x="514" y="547"/>
                  </a:lnTo>
                  <a:lnTo>
                    <a:pt x="514" y="547"/>
                  </a:lnTo>
                  <a:lnTo>
                    <a:pt x="513" y="550"/>
                  </a:lnTo>
                  <a:lnTo>
                    <a:pt x="513" y="550"/>
                  </a:lnTo>
                  <a:lnTo>
                    <a:pt x="514" y="553"/>
                  </a:lnTo>
                  <a:lnTo>
                    <a:pt x="514" y="553"/>
                  </a:lnTo>
                  <a:lnTo>
                    <a:pt x="517" y="555"/>
                  </a:lnTo>
                  <a:lnTo>
                    <a:pt x="517" y="555"/>
                  </a:lnTo>
                  <a:lnTo>
                    <a:pt x="523" y="556"/>
                  </a:lnTo>
                  <a:lnTo>
                    <a:pt x="523" y="556"/>
                  </a:lnTo>
                  <a:lnTo>
                    <a:pt x="529" y="556"/>
                  </a:lnTo>
                  <a:lnTo>
                    <a:pt x="529" y="558"/>
                  </a:lnTo>
                  <a:lnTo>
                    <a:pt x="529" y="558"/>
                  </a:lnTo>
                  <a:lnTo>
                    <a:pt x="530" y="555"/>
                  </a:lnTo>
                  <a:lnTo>
                    <a:pt x="529" y="558"/>
                  </a:lnTo>
                  <a:lnTo>
                    <a:pt x="529" y="558"/>
                  </a:lnTo>
                  <a:lnTo>
                    <a:pt x="530" y="555"/>
                  </a:lnTo>
                  <a:lnTo>
                    <a:pt x="529" y="558"/>
                  </a:lnTo>
                  <a:lnTo>
                    <a:pt x="530" y="555"/>
                  </a:lnTo>
                  <a:lnTo>
                    <a:pt x="529" y="556"/>
                  </a:lnTo>
                  <a:lnTo>
                    <a:pt x="529" y="558"/>
                  </a:lnTo>
                  <a:lnTo>
                    <a:pt x="530" y="555"/>
                  </a:lnTo>
                  <a:lnTo>
                    <a:pt x="529" y="556"/>
                  </a:lnTo>
                  <a:lnTo>
                    <a:pt x="530" y="555"/>
                  </a:lnTo>
                  <a:lnTo>
                    <a:pt x="529" y="556"/>
                  </a:lnTo>
                  <a:lnTo>
                    <a:pt x="529" y="556"/>
                  </a:lnTo>
                  <a:lnTo>
                    <a:pt x="530" y="555"/>
                  </a:lnTo>
                  <a:lnTo>
                    <a:pt x="529" y="556"/>
                  </a:lnTo>
                  <a:lnTo>
                    <a:pt x="530" y="555"/>
                  </a:lnTo>
                  <a:lnTo>
                    <a:pt x="527" y="556"/>
                  </a:lnTo>
                  <a:lnTo>
                    <a:pt x="529" y="556"/>
                  </a:lnTo>
                  <a:lnTo>
                    <a:pt x="530" y="555"/>
                  </a:lnTo>
                  <a:lnTo>
                    <a:pt x="527" y="556"/>
                  </a:lnTo>
                  <a:lnTo>
                    <a:pt x="530" y="555"/>
                  </a:lnTo>
                  <a:lnTo>
                    <a:pt x="527" y="555"/>
                  </a:lnTo>
                  <a:lnTo>
                    <a:pt x="527" y="555"/>
                  </a:lnTo>
                  <a:lnTo>
                    <a:pt x="527" y="556"/>
                  </a:lnTo>
                  <a:lnTo>
                    <a:pt x="530" y="555"/>
                  </a:lnTo>
                  <a:lnTo>
                    <a:pt x="527" y="555"/>
                  </a:lnTo>
                  <a:lnTo>
                    <a:pt x="530" y="555"/>
                  </a:lnTo>
                  <a:lnTo>
                    <a:pt x="527" y="553"/>
                  </a:lnTo>
                  <a:lnTo>
                    <a:pt x="527" y="553"/>
                  </a:lnTo>
                  <a:lnTo>
                    <a:pt x="527" y="555"/>
                  </a:lnTo>
                  <a:lnTo>
                    <a:pt x="530" y="555"/>
                  </a:lnTo>
                  <a:lnTo>
                    <a:pt x="527" y="553"/>
                  </a:lnTo>
                  <a:lnTo>
                    <a:pt x="530" y="555"/>
                  </a:lnTo>
                  <a:lnTo>
                    <a:pt x="529" y="552"/>
                  </a:lnTo>
                  <a:lnTo>
                    <a:pt x="529" y="552"/>
                  </a:lnTo>
                  <a:lnTo>
                    <a:pt x="527" y="553"/>
                  </a:lnTo>
                  <a:lnTo>
                    <a:pt x="530" y="555"/>
                  </a:lnTo>
                  <a:lnTo>
                    <a:pt x="529" y="552"/>
                  </a:lnTo>
                  <a:lnTo>
                    <a:pt x="530" y="555"/>
                  </a:lnTo>
                  <a:lnTo>
                    <a:pt x="530" y="552"/>
                  </a:lnTo>
                  <a:lnTo>
                    <a:pt x="529" y="552"/>
                  </a:lnTo>
                  <a:lnTo>
                    <a:pt x="530" y="555"/>
                  </a:lnTo>
                  <a:lnTo>
                    <a:pt x="530" y="552"/>
                  </a:lnTo>
                  <a:lnTo>
                    <a:pt x="530" y="555"/>
                  </a:lnTo>
                  <a:lnTo>
                    <a:pt x="530" y="552"/>
                  </a:lnTo>
                  <a:lnTo>
                    <a:pt x="530" y="552"/>
                  </a:lnTo>
                  <a:lnTo>
                    <a:pt x="530" y="555"/>
                  </a:lnTo>
                  <a:lnTo>
                    <a:pt x="530" y="552"/>
                  </a:lnTo>
                  <a:lnTo>
                    <a:pt x="530" y="552"/>
                  </a:lnTo>
                  <a:lnTo>
                    <a:pt x="527" y="552"/>
                  </a:lnTo>
                  <a:lnTo>
                    <a:pt x="527" y="552"/>
                  </a:lnTo>
                  <a:lnTo>
                    <a:pt x="521" y="552"/>
                  </a:lnTo>
                  <a:lnTo>
                    <a:pt x="521" y="552"/>
                  </a:lnTo>
                  <a:lnTo>
                    <a:pt x="514" y="552"/>
                  </a:lnTo>
                  <a:lnTo>
                    <a:pt x="514" y="552"/>
                  </a:lnTo>
                  <a:lnTo>
                    <a:pt x="510" y="553"/>
                  </a:lnTo>
                  <a:lnTo>
                    <a:pt x="510" y="553"/>
                  </a:lnTo>
                  <a:lnTo>
                    <a:pt x="508" y="555"/>
                  </a:lnTo>
                  <a:lnTo>
                    <a:pt x="508" y="555"/>
                  </a:lnTo>
                  <a:lnTo>
                    <a:pt x="508" y="556"/>
                  </a:lnTo>
                  <a:lnTo>
                    <a:pt x="508" y="556"/>
                  </a:lnTo>
                  <a:lnTo>
                    <a:pt x="508" y="558"/>
                  </a:lnTo>
                  <a:lnTo>
                    <a:pt x="508" y="558"/>
                  </a:lnTo>
                  <a:lnTo>
                    <a:pt x="508" y="559"/>
                  </a:lnTo>
                  <a:lnTo>
                    <a:pt x="508" y="559"/>
                  </a:lnTo>
                  <a:lnTo>
                    <a:pt x="508" y="561"/>
                  </a:lnTo>
                  <a:lnTo>
                    <a:pt x="508" y="561"/>
                  </a:lnTo>
                  <a:lnTo>
                    <a:pt x="505" y="563"/>
                  </a:lnTo>
                  <a:lnTo>
                    <a:pt x="505" y="563"/>
                  </a:lnTo>
                  <a:lnTo>
                    <a:pt x="504" y="566"/>
                  </a:lnTo>
                  <a:lnTo>
                    <a:pt x="503" y="568"/>
                  </a:lnTo>
                  <a:lnTo>
                    <a:pt x="503" y="568"/>
                  </a:lnTo>
                  <a:lnTo>
                    <a:pt x="503" y="569"/>
                  </a:lnTo>
                  <a:lnTo>
                    <a:pt x="503" y="569"/>
                  </a:lnTo>
                  <a:lnTo>
                    <a:pt x="504" y="572"/>
                  </a:lnTo>
                  <a:lnTo>
                    <a:pt x="504" y="572"/>
                  </a:lnTo>
                  <a:lnTo>
                    <a:pt x="507" y="574"/>
                  </a:lnTo>
                  <a:lnTo>
                    <a:pt x="507" y="574"/>
                  </a:lnTo>
                  <a:lnTo>
                    <a:pt x="510" y="574"/>
                  </a:lnTo>
                  <a:lnTo>
                    <a:pt x="510" y="574"/>
                  </a:lnTo>
                  <a:lnTo>
                    <a:pt x="516" y="574"/>
                  </a:lnTo>
                  <a:lnTo>
                    <a:pt x="517" y="574"/>
                  </a:lnTo>
                  <a:lnTo>
                    <a:pt x="516" y="574"/>
                  </a:lnTo>
                  <a:lnTo>
                    <a:pt x="516" y="574"/>
                  </a:lnTo>
                  <a:lnTo>
                    <a:pt x="517" y="574"/>
                  </a:lnTo>
                  <a:lnTo>
                    <a:pt x="516" y="574"/>
                  </a:lnTo>
                  <a:lnTo>
                    <a:pt x="516" y="574"/>
                  </a:lnTo>
                  <a:lnTo>
                    <a:pt x="516" y="572"/>
                  </a:lnTo>
                  <a:lnTo>
                    <a:pt x="516" y="574"/>
                  </a:lnTo>
                  <a:lnTo>
                    <a:pt x="516" y="574"/>
                  </a:lnTo>
                  <a:lnTo>
                    <a:pt x="516" y="574"/>
                  </a:lnTo>
                  <a:lnTo>
                    <a:pt x="516" y="572"/>
                  </a:lnTo>
                  <a:lnTo>
                    <a:pt x="516" y="574"/>
                  </a:lnTo>
                  <a:lnTo>
                    <a:pt x="517" y="571"/>
                  </a:lnTo>
                  <a:lnTo>
                    <a:pt x="514" y="572"/>
                  </a:lnTo>
                  <a:lnTo>
                    <a:pt x="516" y="574"/>
                  </a:lnTo>
                  <a:lnTo>
                    <a:pt x="517" y="571"/>
                  </a:lnTo>
                  <a:lnTo>
                    <a:pt x="514" y="572"/>
                  </a:lnTo>
                  <a:lnTo>
                    <a:pt x="517" y="571"/>
                  </a:lnTo>
                  <a:lnTo>
                    <a:pt x="514" y="571"/>
                  </a:lnTo>
                  <a:lnTo>
                    <a:pt x="514" y="572"/>
                  </a:lnTo>
                  <a:lnTo>
                    <a:pt x="517" y="571"/>
                  </a:lnTo>
                  <a:lnTo>
                    <a:pt x="514" y="571"/>
                  </a:lnTo>
                  <a:lnTo>
                    <a:pt x="517" y="571"/>
                  </a:lnTo>
                  <a:lnTo>
                    <a:pt x="514" y="569"/>
                  </a:lnTo>
                  <a:lnTo>
                    <a:pt x="514" y="569"/>
                  </a:lnTo>
                  <a:lnTo>
                    <a:pt x="514" y="571"/>
                  </a:lnTo>
                  <a:lnTo>
                    <a:pt x="517" y="571"/>
                  </a:lnTo>
                  <a:lnTo>
                    <a:pt x="514" y="569"/>
                  </a:lnTo>
                  <a:lnTo>
                    <a:pt x="516" y="571"/>
                  </a:lnTo>
                  <a:lnTo>
                    <a:pt x="514" y="569"/>
                  </a:lnTo>
                  <a:lnTo>
                    <a:pt x="514" y="569"/>
                  </a:lnTo>
                  <a:lnTo>
                    <a:pt x="516" y="571"/>
                  </a:lnTo>
                  <a:lnTo>
                    <a:pt x="514" y="569"/>
                  </a:lnTo>
                  <a:lnTo>
                    <a:pt x="514" y="569"/>
                  </a:lnTo>
                  <a:lnTo>
                    <a:pt x="514" y="569"/>
                  </a:lnTo>
                  <a:lnTo>
                    <a:pt x="510" y="572"/>
                  </a:lnTo>
                  <a:lnTo>
                    <a:pt x="510" y="572"/>
                  </a:lnTo>
                  <a:lnTo>
                    <a:pt x="505" y="574"/>
                  </a:lnTo>
                  <a:lnTo>
                    <a:pt x="505" y="574"/>
                  </a:lnTo>
                  <a:lnTo>
                    <a:pt x="504" y="575"/>
                  </a:lnTo>
                  <a:lnTo>
                    <a:pt x="504" y="575"/>
                  </a:lnTo>
                  <a:lnTo>
                    <a:pt x="500" y="576"/>
                  </a:lnTo>
                  <a:lnTo>
                    <a:pt x="500" y="576"/>
                  </a:lnTo>
                  <a:lnTo>
                    <a:pt x="495" y="579"/>
                  </a:lnTo>
                  <a:lnTo>
                    <a:pt x="495" y="579"/>
                  </a:lnTo>
                  <a:lnTo>
                    <a:pt x="492" y="582"/>
                  </a:lnTo>
                  <a:lnTo>
                    <a:pt x="492" y="587"/>
                  </a:lnTo>
                  <a:lnTo>
                    <a:pt x="492" y="588"/>
                  </a:lnTo>
                  <a:lnTo>
                    <a:pt x="492" y="588"/>
                  </a:lnTo>
                  <a:lnTo>
                    <a:pt x="492" y="588"/>
                  </a:lnTo>
                  <a:lnTo>
                    <a:pt x="491" y="592"/>
                  </a:lnTo>
                  <a:lnTo>
                    <a:pt x="491" y="592"/>
                  </a:lnTo>
                  <a:lnTo>
                    <a:pt x="485" y="597"/>
                  </a:lnTo>
                  <a:lnTo>
                    <a:pt x="485" y="597"/>
                  </a:lnTo>
                  <a:lnTo>
                    <a:pt x="482" y="600"/>
                  </a:lnTo>
                  <a:lnTo>
                    <a:pt x="479" y="604"/>
                  </a:lnTo>
                  <a:lnTo>
                    <a:pt x="479" y="604"/>
                  </a:lnTo>
                  <a:lnTo>
                    <a:pt x="478" y="611"/>
                  </a:lnTo>
                  <a:lnTo>
                    <a:pt x="478" y="613"/>
                  </a:lnTo>
                  <a:lnTo>
                    <a:pt x="478" y="613"/>
                  </a:lnTo>
                  <a:lnTo>
                    <a:pt x="479" y="614"/>
                  </a:lnTo>
                  <a:lnTo>
                    <a:pt x="479" y="614"/>
                  </a:lnTo>
                  <a:lnTo>
                    <a:pt x="481" y="617"/>
                  </a:lnTo>
                  <a:lnTo>
                    <a:pt x="481" y="617"/>
                  </a:lnTo>
                  <a:lnTo>
                    <a:pt x="484" y="618"/>
                  </a:lnTo>
                  <a:lnTo>
                    <a:pt x="484" y="618"/>
                  </a:lnTo>
                  <a:lnTo>
                    <a:pt x="490" y="621"/>
                  </a:lnTo>
                  <a:lnTo>
                    <a:pt x="490" y="621"/>
                  </a:lnTo>
                  <a:lnTo>
                    <a:pt x="491" y="621"/>
                  </a:lnTo>
                  <a:lnTo>
                    <a:pt x="491" y="621"/>
                  </a:lnTo>
                  <a:lnTo>
                    <a:pt x="492" y="621"/>
                  </a:lnTo>
                  <a:lnTo>
                    <a:pt x="491" y="621"/>
                  </a:lnTo>
                  <a:lnTo>
                    <a:pt x="491" y="621"/>
                  </a:lnTo>
                  <a:lnTo>
                    <a:pt x="492" y="621"/>
                  </a:lnTo>
                  <a:lnTo>
                    <a:pt x="491" y="621"/>
                  </a:lnTo>
                  <a:lnTo>
                    <a:pt x="492" y="620"/>
                  </a:lnTo>
                  <a:lnTo>
                    <a:pt x="491" y="620"/>
                  </a:lnTo>
                  <a:lnTo>
                    <a:pt x="491" y="620"/>
                  </a:lnTo>
                  <a:lnTo>
                    <a:pt x="491" y="621"/>
                  </a:lnTo>
                  <a:lnTo>
                    <a:pt x="492" y="620"/>
                  </a:lnTo>
                  <a:lnTo>
                    <a:pt x="491" y="620"/>
                  </a:lnTo>
                  <a:lnTo>
                    <a:pt x="494" y="620"/>
                  </a:lnTo>
                  <a:lnTo>
                    <a:pt x="491" y="618"/>
                  </a:lnTo>
                  <a:lnTo>
                    <a:pt x="491" y="618"/>
                  </a:lnTo>
                  <a:lnTo>
                    <a:pt x="491" y="620"/>
                  </a:lnTo>
                  <a:lnTo>
                    <a:pt x="494" y="620"/>
                  </a:lnTo>
                  <a:lnTo>
                    <a:pt x="491" y="618"/>
                  </a:lnTo>
                  <a:lnTo>
                    <a:pt x="492" y="620"/>
                  </a:lnTo>
                  <a:lnTo>
                    <a:pt x="492" y="618"/>
                  </a:lnTo>
                  <a:lnTo>
                    <a:pt x="492" y="618"/>
                  </a:lnTo>
                  <a:lnTo>
                    <a:pt x="491" y="618"/>
                  </a:lnTo>
                  <a:lnTo>
                    <a:pt x="492" y="620"/>
                  </a:lnTo>
                  <a:lnTo>
                    <a:pt x="492" y="618"/>
                  </a:lnTo>
                  <a:lnTo>
                    <a:pt x="492" y="620"/>
                  </a:lnTo>
                  <a:lnTo>
                    <a:pt x="492" y="618"/>
                  </a:lnTo>
                  <a:lnTo>
                    <a:pt x="492" y="618"/>
                  </a:lnTo>
                  <a:lnTo>
                    <a:pt x="492" y="620"/>
                  </a:lnTo>
                  <a:lnTo>
                    <a:pt x="492" y="618"/>
                  </a:lnTo>
                  <a:lnTo>
                    <a:pt x="492" y="618"/>
                  </a:lnTo>
                  <a:lnTo>
                    <a:pt x="492" y="618"/>
                  </a:lnTo>
                  <a:lnTo>
                    <a:pt x="491" y="618"/>
                  </a:lnTo>
                  <a:lnTo>
                    <a:pt x="491" y="618"/>
                  </a:lnTo>
                  <a:lnTo>
                    <a:pt x="482" y="617"/>
                  </a:lnTo>
                  <a:lnTo>
                    <a:pt x="482" y="617"/>
                  </a:lnTo>
                  <a:lnTo>
                    <a:pt x="481" y="617"/>
                  </a:lnTo>
                  <a:lnTo>
                    <a:pt x="481" y="617"/>
                  </a:lnTo>
                  <a:lnTo>
                    <a:pt x="478" y="618"/>
                  </a:lnTo>
                  <a:lnTo>
                    <a:pt x="475" y="620"/>
                  </a:lnTo>
                  <a:lnTo>
                    <a:pt x="475" y="620"/>
                  </a:lnTo>
                  <a:lnTo>
                    <a:pt x="474" y="623"/>
                  </a:lnTo>
                  <a:lnTo>
                    <a:pt x="472" y="626"/>
                  </a:lnTo>
                  <a:lnTo>
                    <a:pt x="472" y="626"/>
                  </a:lnTo>
                  <a:lnTo>
                    <a:pt x="474" y="629"/>
                  </a:lnTo>
                  <a:lnTo>
                    <a:pt x="474" y="629"/>
                  </a:lnTo>
                  <a:lnTo>
                    <a:pt x="476" y="630"/>
                  </a:lnTo>
                  <a:lnTo>
                    <a:pt x="476" y="631"/>
                  </a:lnTo>
                  <a:lnTo>
                    <a:pt x="476" y="631"/>
                  </a:lnTo>
                  <a:lnTo>
                    <a:pt x="476" y="630"/>
                  </a:lnTo>
                  <a:lnTo>
                    <a:pt x="476" y="631"/>
                  </a:lnTo>
                  <a:lnTo>
                    <a:pt x="476" y="631"/>
                  </a:lnTo>
                  <a:lnTo>
                    <a:pt x="476" y="630"/>
                  </a:lnTo>
                  <a:lnTo>
                    <a:pt x="476" y="631"/>
                  </a:lnTo>
                  <a:lnTo>
                    <a:pt x="476" y="630"/>
                  </a:lnTo>
                  <a:lnTo>
                    <a:pt x="476" y="631"/>
                  </a:lnTo>
                  <a:lnTo>
                    <a:pt x="476" y="631"/>
                  </a:lnTo>
                  <a:lnTo>
                    <a:pt x="476" y="630"/>
                  </a:lnTo>
                  <a:lnTo>
                    <a:pt x="476" y="631"/>
                  </a:lnTo>
                  <a:lnTo>
                    <a:pt x="476" y="631"/>
                  </a:lnTo>
                  <a:lnTo>
                    <a:pt x="476" y="633"/>
                  </a:lnTo>
                  <a:lnTo>
                    <a:pt x="476" y="633"/>
                  </a:lnTo>
                  <a:lnTo>
                    <a:pt x="475" y="637"/>
                  </a:lnTo>
                  <a:lnTo>
                    <a:pt x="475" y="639"/>
                  </a:lnTo>
                  <a:lnTo>
                    <a:pt x="475" y="639"/>
                  </a:lnTo>
                  <a:lnTo>
                    <a:pt x="475" y="640"/>
                  </a:lnTo>
                  <a:lnTo>
                    <a:pt x="475" y="640"/>
                  </a:lnTo>
                  <a:lnTo>
                    <a:pt x="475" y="643"/>
                  </a:lnTo>
                  <a:lnTo>
                    <a:pt x="474" y="646"/>
                  </a:lnTo>
                  <a:lnTo>
                    <a:pt x="474" y="646"/>
                  </a:lnTo>
                  <a:lnTo>
                    <a:pt x="468" y="652"/>
                  </a:lnTo>
                  <a:lnTo>
                    <a:pt x="468" y="652"/>
                  </a:lnTo>
                  <a:lnTo>
                    <a:pt x="466" y="655"/>
                  </a:lnTo>
                  <a:lnTo>
                    <a:pt x="465" y="656"/>
                  </a:lnTo>
                  <a:lnTo>
                    <a:pt x="465" y="656"/>
                  </a:lnTo>
                  <a:lnTo>
                    <a:pt x="466" y="658"/>
                  </a:lnTo>
                  <a:lnTo>
                    <a:pt x="466" y="658"/>
                  </a:lnTo>
                  <a:lnTo>
                    <a:pt x="468" y="659"/>
                  </a:lnTo>
                  <a:lnTo>
                    <a:pt x="468" y="659"/>
                  </a:lnTo>
                  <a:lnTo>
                    <a:pt x="469" y="659"/>
                  </a:lnTo>
                  <a:lnTo>
                    <a:pt x="469" y="659"/>
                  </a:lnTo>
                  <a:lnTo>
                    <a:pt x="474" y="659"/>
                  </a:lnTo>
                  <a:lnTo>
                    <a:pt x="474" y="659"/>
                  </a:lnTo>
                  <a:lnTo>
                    <a:pt x="478" y="658"/>
                  </a:lnTo>
                  <a:lnTo>
                    <a:pt x="478" y="658"/>
                  </a:lnTo>
                  <a:lnTo>
                    <a:pt x="478" y="658"/>
                  </a:lnTo>
                  <a:lnTo>
                    <a:pt x="478" y="658"/>
                  </a:lnTo>
                  <a:lnTo>
                    <a:pt x="478" y="658"/>
                  </a:lnTo>
                  <a:lnTo>
                    <a:pt x="478" y="656"/>
                  </a:lnTo>
                  <a:lnTo>
                    <a:pt x="478" y="658"/>
                  </a:lnTo>
                  <a:lnTo>
                    <a:pt x="478" y="658"/>
                  </a:lnTo>
                  <a:lnTo>
                    <a:pt x="478" y="656"/>
                  </a:lnTo>
                  <a:lnTo>
                    <a:pt x="478" y="658"/>
                  </a:lnTo>
                  <a:lnTo>
                    <a:pt x="478" y="655"/>
                  </a:lnTo>
                  <a:lnTo>
                    <a:pt x="475" y="656"/>
                  </a:lnTo>
                  <a:lnTo>
                    <a:pt x="475" y="656"/>
                  </a:lnTo>
                  <a:lnTo>
                    <a:pt x="478" y="658"/>
                  </a:lnTo>
                  <a:lnTo>
                    <a:pt x="478" y="655"/>
                  </a:lnTo>
                  <a:lnTo>
                    <a:pt x="475" y="656"/>
                  </a:lnTo>
                  <a:lnTo>
                    <a:pt x="478" y="655"/>
                  </a:lnTo>
                  <a:lnTo>
                    <a:pt x="475" y="655"/>
                  </a:lnTo>
                  <a:lnTo>
                    <a:pt x="475" y="655"/>
                  </a:lnTo>
                  <a:lnTo>
                    <a:pt x="475" y="656"/>
                  </a:lnTo>
                  <a:lnTo>
                    <a:pt x="478" y="655"/>
                  </a:lnTo>
                  <a:lnTo>
                    <a:pt x="475" y="655"/>
                  </a:lnTo>
                  <a:lnTo>
                    <a:pt x="476" y="655"/>
                  </a:lnTo>
                  <a:lnTo>
                    <a:pt x="475" y="655"/>
                  </a:lnTo>
                  <a:lnTo>
                    <a:pt x="475" y="655"/>
                  </a:lnTo>
                  <a:lnTo>
                    <a:pt x="475" y="655"/>
                  </a:lnTo>
                  <a:lnTo>
                    <a:pt x="476" y="655"/>
                  </a:lnTo>
                  <a:lnTo>
                    <a:pt x="475" y="655"/>
                  </a:lnTo>
                  <a:lnTo>
                    <a:pt x="475" y="655"/>
                  </a:lnTo>
                  <a:lnTo>
                    <a:pt x="474" y="656"/>
                  </a:lnTo>
                  <a:lnTo>
                    <a:pt x="474" y="656"/>
                  </a:lnTo>
                  <a:lnTo>
                    <a:pt x="469" y="660"/>
                  </a:lnTo>
                  <a:lnTo>
                    <a:pt x="469" y="660"/>
                  </a:lnTo>
                  <a:lnTo>
                    <a:pt x="465" y="665"/>
                  </a:lnTo>
                  <a:lnTo>
                    <a:pt x="465" y="665"/>
                  </a:lnTo>
                  <a:lnTo>
                    <a:pt x="461" y="668"/>
                  </a:lnTo>
                  <a:lnTo>
                    <a:pt x="461" y="668"/>
                  </a:lnTo>
                  <a:lnTo>
                    <a:pt x="458" y="671"/>
                  </a:lnTo>
                  <a:lnTo>
                    <a:pt x="458" y="671"/>
                  </a:lnTo>
                  <a:lnTo>
                    <a:pt x="458" y="675"/>
                  </a:lnTo>
                  <a:lnTo>
                    <a:pt x="458" y="675"/>
                  </a:lnTo>
                  <a:lnTo>
                    <a:pt x="458" y="675"/>
                  </a:lnTo>
                  <a:lnTo>
                    <a:pt x="458" y="676"/>
                  </a:lnTo>
                  <a:lnTo>
                    <a:pt x="458" y="676"/>
                  </a:lnTo>
                  <a:lnTo>
                    <a:pt x="458" y="676"/>
                  </a:lnTo>
                  <a:lnTo>
                    <a:pt x="458" y="676"/>
                  </a:lnTo>
                  <a:lnTo>
                    <a:pt x="458" y="676"/>
                  </a:lnTo>
                  <a:lnTo>
                    <a:pt x="458" y="676"/>
                  </a:lnTo>
                  <a:lnTo>
                    <a:pt x="458" y="676"/>
                  </a:lnTo>
                  <a:lnTo>
                    <a:pt x="459" y="676"/>
                  </a:lnTo>
                  <a:lnTo>
                    <a:pt x="458" y="675"/>
                  </a:lnTo>
                  <a:lnTo>
                    <a:pt x="458" y="676"/>
                  </a:lnTo>
                  <a:lnTo>
                    <a:pt x="459" y="676"/>
                  </a:lnTo>
                  <a:lnTo>
                    <a:pt x="458" y="675"/>
                  </a:lnTo>
                  <a:lnTo>
                    <a:pt x="459" y="676"/>
                  </a:lnTo>
                  <a:lnTo>
                    <a:pt x="459" y="675"/>
                  </a:lnTo>
                  <a:lnTo>
                    <a:pt x="458" y="675"/>
                  </a:lnTo>
                  <a:lnTo>
                    <a:pt x="459" y="676"/>
                  </a:lnTo>
                  <a:lnTo>
                    <a:pt x="459" y="675"/>
                  </a:lnTo>
                  <a:lnTo>
                    <a:pt x="459" y="675"/>
                  </a:lnTo>
                  <a:lnTo>
                    <a:pt x="456" y="675"/>
                  </a:lnTo>
                  <a:lnTo>
                    <a:pt x="456" y="675"/>
                  </a:lnTo>
                  <a:lnTo>
                    <a:pt x="450" y="673"/>
                  </a:lnTo>
                  <a:lnTo>
                    <a:pt x="450" y="673"/>
                  </a:lnTo>
                  <a:lnTo>
                    <a:pt x="449" y="673"/>
                  </a:lnTo>
                  <a:lnTo>
                    <a:pt x="449" y="673"/>
                  </a:lnTo>
                  <a:lnTo>
                    <a:pt x="446" y="675"/>
                  </a:lnTo>
                  <a:lnTo>
                    <a:pt x="443" y="678"/>
                  </a:lnTo>
                  <a:lnTo>
                    <a:pt x="443" y="678"/>
                  </a:lnTo>
                  <a:lnTo>
                    <a:pt x="437" y="687"/>
                  </a:lnTo>
                  <a:lnTo>
                    <a:pt x="437" y="687"/>
                  </a:lnTo>
                  <a:lnTo>
                    <a:pt x="436" y="691"/>
                  </a:lnTo>
                  <a:lnTo>
                    <a:pt x="436" y="691"/>
                  </a:lnTo>
                  <a:lnTo>
                    <a:pt x="434" y="694"/>
                  </a:lnTo>
                  <a:lnTo>
                    <a:pt x="434" y="694"/>
                  </a:lnTo>
                  <a:lnTo>
                    <a:pt x="429" y="700"/>
                  </a:lnTo>
                  <a:lnTo>
                    <a:pt x="429" y="700"/>
                  </a:lnTo>
                  <a:lnTo>
                    <a:pt x="426" y="707"/>
                  </a:lnTo>
                  <a:lnTo>
                    <a:pt x="426" y="707"/>
                  </a:lnTo>
                  <a:lnTo>
                    <a:pt x="426" y="707"/>
                  </a:lnTo>
                  <a:lnTo>
                    <a:pt x="426" y="707"/>
                  </a:lnTo>
                  <a:lnTo>
                    <a:pt x="424" y="708"/>
                  </a:lnTo>
                  <a:lnTo>
                    <a:pt x="424" y="708"/>
                  </a:lnTo>
                  <a:lnTo>
                    <a:pt x="426" y="710"/>
                  </a:lnTo>
                  <a:lnTo>
                    <a:pt x="426" y="710"/>
                  </a:lnTo>
                  <a:lnTo>
                    <a:pt x="429" y="713"/>
                  </a:lnTo>
                  <a:lnTo>
                    <a:pt x="429" y="713"/>
                  </a:lnTo>
                  <a:lnTo>
                    <a:pt x="433" y="715"/>
                  </a:lnTo>
                  <a:lnTo>
                    <a:pt x="439" y="715"/>
                  </a:lnTo>
                  <a:lnTo>
                    <a:pt x="439" y="715"/>
                  </a:lnTo>
                  <a:lnTo>
                    <a:pt x="443" y="715"/>
                  </a:lnTo>
                  <a:lnTo>
                    <a:pt x="448" y="713"/>
                  </a:lnTo>
                  <a:lnTo>
                    <a:pt x="448" y="713"/>
                  </a:lnTo>
                  <a:lnTo>
                    <a:pt x="453" y="710"/>
                  </a:lnTo>
                  <a:lnTo>
                    <a:pt x="453" y="710"/>
                  </a:lnTo>
                  <a:lnTo>
                    <a:pt x="453" y="708"/>
                  </a:lnTo>
                  <a:lnTo>
                    <a:pt x="453" y="710"/>
                  </a:lnTo>
                  <a:lnTo>
                    <a:pt x="453" y="710"/>
                  </a:lnTo>
                  <a:lnTo>
                    <a:pt x="453" y="710"/>
                  </a:lnTo>
                  <a:lnTo>
                    <a:pt x="453" y="708"/>
                  </a:lnTo>
                  <a:lnTo>
                    <a:pt x="453" y="710"/>
                  </a:lnTo>
                  <a:lnTo>
                    <a:pt x="453" y="707"/>
                  </a:lnTo>
                  <a:lnTo>
                    <a:pt x="452" y="710"/>
                  </a:lnTo>
                  <a:lnTo>
                    <a:pt x="452" y="710"/>
                  </a:lnTo>
                  <a:lnTo>
                    <a:pt x="453" y="710"/>
                  </a:lnTo>
                  <a:lnTo>
                    <a:pt x="453" y="707"/>
                  </a:lnTo>
                  <a:lnTo>
                    <a:pt x="452" y="710"/>
                  </a:lnTo>
                  <a:lnTo>
                    <a:pt x="453" y="707"/>
                  </a:lnTo>
                  <a:lnTo>
                    <a:pt x="450" y="707"/>
                  </a:lnTo>
                  <a:lnTo>
                    <a:pt x="450" y="707"/>
                  </a:lnTo>
                  <a:lnTo>
                    <a:pt x="452" y="710"/>
                  </a:lnTo>
                  <a:lnTo>
                    <a:pt x="453" y="707"/>
                  </a:lnTo>
                  <a:lnTo>
                    <a:pt x="450" y="707"/>
                  </a:lnTo>
                  <a:lnTo>
                    <a:pt x="453" y="707"/>
                  </a:lnTo>
                  <a:lnTo>
                    <a:pt x="450" y="707"/>
                  </a:lnTo>
                  <a:lnTo>
                    <a:pt x="450" y="707"/>
                  </a:lnTo>
                  <a:lnTo>
                    <a:pt x="450" y="707"/>
                  </a:lnTo>
                  <a:lnTo>
                    <a:pt x="453" y="707"/>
                  </a:lnTo>
                  <a:lnTo>
                    <a:pt x="450" y="707"/>
                  </a:lnTo>
                  <a:lnTo>
                    <a:pt x="452" y="707"/>
                  </a:lnTo>
                  <a:lnTo>
                    <a:pt x="450" y="707"/>
                  </a:lnTo>
                  <a:lnTo>
                    <a:pt x="450" y="707"/>
                  </a:lnTo>
                  <a:lnTo>
                    <a:pt x="452" y="707"/>
                  </a:lnTo>
                  <a:lnTo>
                    <a:pt x="450" y="707"/>
                  </a:lnTo>
                  <a:lnTo>
                    <a:pt x="450" y="707"/>
                  </a:lnTo>
                  <a:lnTo>
                    <a:pt x="450" y="707"/>
                  </a:lnTo>
                  <a:lnTo>
                    <a:pt x="443" y="713"/>
                  </a:lnTo>
                  <a:lnTo>
                    <a:pt x="443" y="713"/>
                  </a:lnTo>
                  <a:lnTo>
                    <a:pt x="440" y="715"/>
                  </a:lnTo>
                  <a:lnTo>
                    <a:pt x="440" y="715"/>
                  </a:lnTo>
                  <a:lnTo>
                    <a:pt x="437" y="717"/>
                  </a:lnTo>
                  <a:lnTo>
                    <a:pt x="437" y="718"/>
                  </a:lnTo>
                  <a:lnTo>
                    <a:pt x="437" y="717"/>
                  </a:lnTo>
                  <a:lnTo>
                    <a:pt x="437" y="717"/>
                  </a:lnTo>
                  <a:lnTo>
                    <a:pt x="434" y="715"/>
                  </a:lnTo>
                  <a:lnTo>
                    <a:pt x="434" y="715"/>
                  </a:lnTo>
                  <a:lnTo>
                    <a:pt x="433" y="714"/>
                  </a:lnTo>
                  <a:lnTo>
                    <a:pt x="433" y="714"/>
                  </a:lnTo>
                  <a:lnTo>
                    <a:pt x="432" y="713"/>
                  </a:lnTo>
                  <a:lnTo>
                    <a:pt x="432" y="713"/>
                  </a:lnTo>
                  <a:lnTo>
                    <a:pt x="427" y="714"/>
                  </a:lnTo>
                  <a:lnTo>
                    <a:pt x="427" y="714"/>
                  </a:lnTo>
                  <a:lnTo>
                    <a:pt x="426" y="718"/>
                  </a:lnTo>
                  <a:lnTo>
                    <a:pt x="426" y="718"/>
                  </a:lnTo>
                  <a:lnTo>
                    <a:pt x="424" y="721"/>
                  </a:lnTo>
                  <a:lnTo>
                    <a:pt x="424" y="721"/>
                  </a:lnTo>
                  <a:lnTo>
                    <a:pt x="424" y="721"/>
                  </a:lnTo>
                  <a:lnTo>
                    <a:pt x="424" y="721"/>
                  </a:lnTo>
                  <a:lnTo>
                    <a:pt x="424" y="721"/>
                  </a:lnTo>
                  <a:lnTo>
                    <a:pt x="424" y="721"/>
                  </a:lnTo>
                  <a:lnTo>
                    <a:pt x="424" y="721"/>
                  </a:lnTo>
                  <a:lnTo>
                    <a:pt x="424" y="721"/>
                  </a:lnTo>
                  <a:lnTo>
                    <a:pt x="424" y="721"/>
                  </a:lnTo>
                  <a:lnTo>
                    <a:pt x="424" y="721"/>
                  </a:lnTo>
                  <a:lnTo>
                    <a:pt x="424" y="721"/>
                  </a:lnTo>
                  <a:lnTo>
                    <a:pt x="424" y="721"/>
                  </a:lnTo>
                  <a:lnTo>
                    <a:pt x="423" y="721"/>
                  </a:lnTo>
                  <a:lnTo>
                    <a:pt x="423" y="721"/>
                  </a:lnTo>
                  <a:lnTo>
                    <a:pt x="417" y="721"/>
                  </a:lnTo>
                  <a:lnTo>
                    <a:pt x="417" y="721"/>
                  </a:lnTo>
                  <a:lnTo>
                    <a:pt x="414" y="721"/>
                  </a:lnTo>
                  <a:lnTo>
                    <a:pt x="411" y="723"/>
                  </a:lnTo>
                  <a:lnTo>
                    <a:pt x="411" y="723"/>
                  </a:lnTo>
                  <a:lnTo>
                    <a:pt x="408" y="727"/>
                  </a:lnTo>
                  <a:lnTo>
                    <a:pt x="407" y="731"/>
                  </a:lnTo>
                  <a:lnTo>
                    <a:pt x="407" y="731"/>
                  </a:lnTo>
                  <a:lnTo>
                    <a:pt x="408" y="736"/>
                  </a:lnTo>
                  <a:lnTo>
                    <a:pt x="408" y="736"/>
                  </a:lnTo>
                  <a:lnTo>
                    <a:pt x="408" y="739"/>
                  </a:lnTo>
                  <a:lnTo>
                    <a:pt x="408" y="740"/>
                  </a:lnTo>
                  <a:lnTo>
                    <a:pt x="408" y="740"/>
                  </a:lnTo>
                  <a:lnTo>
                    <a:pt x="408" y="744"/>
                  </a:lnTo>
                  <a:lnTo>
                    <a:pt x="410" y="746"/>
                  </a:lnTo>
                  <a:lnTo>
                    <a:pt x="410" y="746"/>
                  </a:lnTo>
                  <a:lnTo>
                    <a:pt x="410" y="746"/>
                  </a:lnTo>
                  <a:lnTo>
                    <a:pt x="411" y="746"/>
                  </a:lnTo>
                  <a:lnTo>
                    <a:pt x="410" y="744"/>
                  </a:lnTo>
                  <a:lnTo>
                    <a:pt x="410" y="744"/>
                  </a:lnTo>
                  <a:lnTo>
                    <a:pt x="410" y="746"/>
                  </a:lnTo>
                  <a:lnTo>
                    <a:pt x="411" y="746"/>
                  </a:lnTo>
                  <a:lnTo>
                    <a:pt x="410" y="744"/>
                  </a:lnTo>
                  <a:lnTo>
                    <a:pt x="411" y="746"/>
                  </a:lnTo>
                  <a:lnTo>
                    <a:pt x="410" y="744"/>
                  </a:lnTo>
                  <a:lnTo>
                    <a:pt x="410" y="744"/>
                  </a:lnTo>
                  <a:lnTo>
                    <a:pt x="411" y="746"/>
                  </a:lnTo>
                  <a:lnTo>
                    <a:pt x="410" y="744"/>
                  </a:lnTo>
                  <a:lnTo>
                    <a:pt x="411" y="746"/>
                  </a:lnTo>
                  <a:lnTo>
                    <a:pt x="411" y="744"/>
                  </a:lnTo>
                  <a:lnTo>
                    <a:pt x="410" y="744"/>
                  </a:lnTo>
                  <a:lnTo>
                    <a:pt x="411" y="746"/>
                  </a:lnTo>
                  <a:lnTo>
                    <a:pt x="411" y="744"/>
                  </a:lnTo>
                  <a:lnTo>
                    <a:pt x="411" y="746"/>
                  </a:lnTo>
                  <a:lnTo>
                    <a:pt x="411" y="744"/>
                  </a:lnTo>
                  <a:lnTo>
                    <a:pt x="411" y="744"/>
                  </a:lnTo>
                  <a:lnTo>
                    <a:pt x="411" y="746"/>
                  </a:lnTo>
                  <a:lnTo>
                    <a:pt x="411" y="744"/>
                  </a:lnTo>
                  <a:lnTo>
                    <a:pt x="411" y="744"/>
                  </a:lnTo>
                  <a:lnTo>
                    <a:pt x="413" y="744"/>
                  </a:lnTo>
                  <a:lnTo>
                    <a:pt x="411" y="744"/>
                  </a:lnTo>
                  <a:lnTo>
                    <a:pt x="411" y="744"/>
                  </a:lnTo>
                  <a:lnTo>
                    <a:pt x="413" y="744"/>
                  </a:lnTo>
                  <a:lnTo>
                    <a:pt x="413" y="744"/>
                  </a:lnTo>
                  <a:lnTo>
                    <a:pt x="411" y="743"/>
                  </a:lnTo>
                  <a:lnTo>
                    <a:pt x="411" y="743"/>
                  </a:lnTo>
                  <a:lnTo>
                    <a:pt x="408" y="742"/>
                  </a:lnTo>
                  <a:lnTo>
                    <a:pt x="404" y="739"/>
                  </a:lnTo>
                  <a:lnTo>
                    <a:pt x="404" y="739"/>
                  </a:lnTo>
                  <a:lnTo>
                    <a:pt x="401" y="739"/>
                  </a:lnTo>
                  <a:lnTo>
                    <a:pt x="401" y="739"/>
                  </a:lnTo>
                  <a:lnTo>
                    <a:pt x="397" y="740"/>
                  </a:lnTo>
                  <a:lnTo>
                    <a:pt x="397" y="740"/>
                  </a:lnTo>
                  <a:lnTo>
                    <a:pt x="394" y="743"/>
                  </a:lnTo>
                  <a:lnTo>
                    <a:pt x="394" y="743"/>
                  </a:lnTo>
                  <a:lnTo>
                    <a:pt x="392" y="746"/>
                  </a:lnTo>
                  <a:lnTo>
                    <a:pt x="392" y="746"/>
                  </a:lnTo>
                  <a:lnTo>
                    <a:pt x="390" y="746"/>
                  </a:lnTo>
                  <a:lnTo>
                    <a:pt x="385" y="747"/>
                  </a:lnTo>
                  <a:lnTo>
                    <a:pt x="385" y="747"/>
                  </a:lnTo>
                  <a:lnTo>
                    <a:pt x="381" y="747"/>
                  </a:lnTo>
                  <a:lnTo>
                    <a:pt x="381" y="747"/>
                  </a:lnTo>
                  <a:lnTo>
                    <a:pt x="377" y="749"/>
                  </a:lnTo>
                  <a:lnTo>
                    <a:pt x="377" y="749"/>
                  </a:lnTo>
                  <a:lnTo>
                    <a:pt x="375" y="749"/>
                  </a:lnTo>
                  <a:lnTo>
                    <a:pt x="375" y="749"/>
                  </a:lnTo>
                  <a:lnTo>
                    <a:pt x="374" y="752"/>
                  </a:lnTo>
                  <a:lnTo>
                    <a:pt x="374" y="752"/>
                  </a:lnTo>
                  <a:lnTo>
                    <a:pt x="375" y="755"/>
                  </a:lnTo>
                  <a:lnTo>
                    <a:pt x="375" y="755"/>
                  </a:lnTo>
                  <a:lnTo>
                    <a:pt x="378" y="756"/>
                  </a:lnTo>
                  <a:lnTo>
                    <a:pt x="378" y="756"/>
                  </a:lnTo>
                  <a:lnTo>
                    <a:pt x="381" y="759"/>
                  </a:lnTo>
                  <a:lnTo>
                    <a:pt x="382" y="759"/>
                  </a:lnTo>
                  <a:lnTo>
                    <a:pt x="384" y="759"/>
                  </a:lnTo>
                  <a:lnTo>
                    <a:pt x="382" y="759"/>
                  </a:lnTo>
                  <a:lnTo>
                    <a:pt x="382" y="759"/>
                  </a:lnTo>
                  <a:lnTo>
                    <a:pt x="384" y="759"/>
                  </a:lnTo>
                  <a:lnTo>
                    <a:pt x="382" y="759"/>
                  </a:lnTo>
                  <a:lnTo>
                    <a:pt x="384" y="757"/>
                  </a:lnTo>
                  <a:lnTo>
                    <a:pt x="382" y="757"/>
                  </a:lnTo>
                  <a:lnTo>
                    <a:pt x="382" y="757"/>
                  </a:lnTo>
                  <a:lnTo>
                    <a:pt x="382" y="759"/>
                  </a:lnTo>
                  <a:lnTo>
                    <a:pt x="384" y="757"/>
                  </a:lnTo>
                  <a:lnTo>
                    <a:pt x="382" y="757"/>
                  </a:lnTo>
                  <a:lnTo>
                    <a:pt x="384" y="757"/>
                  </a:lnTo>
                  <a:lnTo>
                    <a:pt x="382" y="756"/>
                  </a:lnTo>
                  <a:lnTo>
                    <a:pt x="382" y="756"/>
                  </a:lnTo>
                  <a:lnTo>
                    <a:pt x="382" y="757"/>
                  </a:lnTo>
                  <a:lnTo>
                    <a:pt x="384" y="757"/>
                  </a:lnTo>
                  <a:lnTo>
                    <a:pt x="382" y="756"/>
                  </a:lnTo>
                  <a:lnTo>
                    <a:pt x="384" y="757"/>
                  </a:lnTo>
                  <a:lnTo>
                    <a:pt x="384" y="756"/>
                  </a:lnTo>
                  <a:lnTo>
                    <a:pt x="384" y="756"/>
                  </a:lnTo>
                  <a:lnTo>
                    <a:pt x="382" y="756"/>
                  </a:lnTo>
                  <a:lnTo>
                    <a:pt x="384" y="757"/>
                  </a:lnTo>
                  <a:lnTo>
                    <a:pt x="384" y="756"/>
                  </a:lnTo>
                  <a:lnTo>
                    <a:pt x="384" y="756"/>
                  </a:lnTo>
                  <a:lnTo>
                    <a:pt x="384" y="756"/>
                  </a:lnTo>
                  <a:lnTo>
                    <a:pt x="384" y="756"/>
                  </a:lnTo>
                  <a:lnTo>
                    <a:pt x="379" y="756"/>
                  </a:lnTo>
                  <a:lnTo>
                    <a:pt x="379" y="756"/>
                  </a:lnTo>
                  <a:lnTo>
                    <a:pt x="374" y="755"/>
                  </a:lnTo>
                  <a:lnTo>
                    <a:pt x="372" y="755"/>
                  </a:lnTo>
                  <a:lnTo>
                    <a:pt x="372" y="755"/>
                  </a:lnTo>
                  <a:lnTo>
                    <a:pt x="368" y="756"/>
                  </a:lnTo>
                  <a:lnTo>
                    <a:pt x="368" y="756"/>
                  </a:lnTo>
                  <a:lnTo>
                    <a:pt x="366" y="757"/>
                  </a:lnTo>
                  <a:lnTo>
                    <a:pt x="366" y="757"/>
                  </a:lnTo>
                  <a:lnTo>
                    <a:pt x="366" y="760"/>
                  </a:lnTo>
                  <a:lnTo>
                    <a:pt x="366" y="760"/>
                  </a:lnTo>
                  <a:lnTo>
                    <a:pt x="366" y="762"/>
                  </a:lnTo>
                  <a:lnTo>
                    <a:pt x="366" y="762"/>
                  </a:lnTo>
                  <a:lnTo>
                    <a:pt x="368" y="765"/>
                  </a:lnTo>
                  <a:lnTo>
                    <a:pt x="368" y="765"/>
                  </a:lnTo>
                  <a:lnTo>
                    <a:pt x="368" y="765"/>
                  </a:lnTo>
                  <a:lnTo>
                    <a:pt x="368" y="765"/>
                  </a:lnTo>
                  <a:lnTo>
                    <a:pt x="368" y="765"/>
                  </a:lnTo>
                  <a:lnTo>
                    <a:pt x="368" y="765"/>
                  </a:lnTo>
                  <a:lnTo>
                    <a:pt x="368" y="765"/>
                  </a:lnTo>
                  <a:lnTo>
                    <a:pt x="368" y="765"/>
                  </a:lnTo>
                  <a:lnTo>
                    <a:pt x="368" y="765"/>
                  </a:lnTo>
                  <a:lnTo>
                    <a:pt x="368" y="765"/>
                  </a:lnTo>
                  <a:lnTo>
                    <a:pt x="368" y="765"/>
                  </a:lnTo>
                  <a:lnTo>
                    <a:pt x="368" y="765"/>
                  </a:lnTo>
                  <a:lnTo>
                    <a:pt x="368" y="765"/>
                  </a:lnTo>
                  <a:lnTo>
                    <a:pt x="366" y="765"/>
                  </a:lnTo>
                  <a:lnTo>
                    <a:pt x="366" y="765"/>
                  </a:lnTo>
                  <a:lnTo>
                    <a:pt x="362" y="765"/>
                  </a:lnTo>
                  <a:lnTo>
                    <a:pt x="362" y="765"/>
                  </a:lnTo>
                  <a:lnTo>
                    <a:pt x="359" y="766"/>
                  </a:lnTo>
                  <a:lnTo>
                    <a:pt x="356" y="768"/>
                  </a:lnTo>
                  <a:lnTo>
                    <a:pt x="356" y="768"/>
                  </a:lnTo>
                  <a:lnTo>
                    <a:pt x="356" y="771"/>
                  </a:lnTo>
                  <a:lnTo>
                    <a:pt x="356" y="771"/>
                  </a:lnTo>
                  <a:lnTo>
                    <a:pt x="356" y="773"/>
                  </a:lnTo>
                  <a:lnTo>
                    <a:pt x="356" y="773"/>
                  </a:lnTo>
                  <a:lnTo>
                    <a:pt x="359" y="775"/>
                  </a:lnTo>
                  <a:lnTo>
                    <a:pt x="361" y="775"/>
                  </a:lnTo>
                  <a:lnTo>
                    <a:pt x="361" y="775"/>
                  </a:lnTo>
                  <a:lnTo>
                    <a:pt x="361" y="775"/>
                  </a:lnTo>
                  <a:lnTo>
                    <a:pt x="359" y="775"/>
                  </a:lnTo>
                  <a:lnTo>
                    <a:pt x="361" y="775"/>
                  </a:lnTo>
                  <a:lnTo>
                    <a:pt x="361" y="775"/>
                  </a:lnTo>
                  <a:lnTo>
                    <a:pt x="359" y="775"/>
                  </a:lnTo>
                  <a:lnTo>
                    <a:pt x="362" y="773"/>
                  </a:lnTo>
                  <a:lnTo>
                    <a:pt x="359" y="773"/>
                  </a:lnTo>
                  <a:lnTo>
                    <a:pt x="359" y="773"/>
                  </a:lnTo>
                  <a:lnTo>
                    <a:pt x="359" y="775"/>
                  </a:lnTo>
                  <a:lnTo>
                    <a:pt x="362" y="773"/>
                  </a:lnTo>
                  <a:lnTo>
                    <a:pt x="359" y="773"/>
                  </a:lnTo>
                  <a:lnTo>
                    <a:pt x="362" y="773"/>
                  </a:lnTo>
                  <a:lnTo>
                    <a:pt x="361" y="772"/>
                  </a:lnTo>
                  <a:lnTo>
                    <a:pt x="361" y="772"/>
                  </a:lnTo>
                  <a:lnTo>
                    <a:pt x="359" y="773"/>
                  </a:lnTo>
                  <a:lnTo>
                    <a:pt x="362" y="773"/>
                  </a:lnTo>
                  <a:lnTo>
                    <a:pt x="361" y="772"/>
                  </a:lnTo>
                  <a:lnTo>
                    <a:pt x="362" y="773"/>
                  </a:lnTo>
                  <a:lnTo>
                    <a:pt x="361" y="772"/>
                  </a:lnTo>
                  <a:lnTo>
                    <a:pt x="361" y="772"/>
                  </a:lnTo>
                  <a:lnTo>
                    <a:pt x="361" y="772"/>
                  </a:lnTo>
                  <a:lnTo>
                    <a:pt x="362" y="773"/>
                  </a:lnTo>
                  <a:lnTo>
                    <a:pt x="361" y="772"/>
                  </a:lnTo>
                  <a:lnTo>
                    <a:pt x="361" y="772"/>
                  </a:lnTo>
                  <a:lnTo>
                    <a:pt x="361" y="772"/>
                  </a:lnTo>
                  <a:lnTo>
                    <a:pt x="355" y="773"/>
                  </a:lnTo>
                  <a:lnTo>
                    <a:pt x="355" y="773"/>
                  </a:lnTo>
                  <a:lnTo>
                    <a:pt x="352" y="775"/>
                  </a:lnTo>
                  <a:lnTo>
                    <a:pt x="352" y="775"/>
                  </a:lnTo>
                  <a:lnTo>
                    <a:pt x="350" y="779"/>
                  </a:lnTo>
                  <a:lnTo>
                    <a:pt x="350" y="779"/>
                  </a:lnTo>
                  <a:lnTo>
                    <a:pt x="352" y="782"/>
                  </a:lnTo>
                  <a:lnTo>
                    <a:pt x="352" y="782"/>
                  </a:lnTo>
                  <a:lnTo>
                    <a:pt x="355" y="788"/>
                  </a:lnTo>
                  <a:lnTo>
                    <a:pt x="355" y="788"/>
                  </a:lnTo>
                  <a:lnTo>
                    <a:pt x="358" y="797"/>
                  </a:lnTo>
                  <a:lnTo>
                    <a:pt x="358" y="797"/>
                  </a:lnTo>
                  <a:lnTo>
                    <a:pt x="362" y="802"/>
                  </a:lnTo>
                  <a:lnTo>
                    <a:pt x="362" y="802"/>
                  </a:lnTo>
                  <a:lnTo>
                    <a:pt x="364" y="804"/>
                  </a:lnTo>
                  <a:lnTo>
                    <a:pt x="365" y="804"/>
                  </a:lnTo>
                  <a:lnTo>
                    <a:pt x="365" y="804"/>
                  </a:lnTo>
                  <a:lnTo>
                    <a:pt x="365" y="802"/>
                  </a:lnTo>
                  <a:lnTo>
                    <a:pt x="365" y="804"/>
                  </a:lnTo>
                  <a:lnTo>
                    <a:pt x="365" y="804"/>
                  </a:lnTo>
                  <a:lnTo>
                    <a:pt x="365" y="802"/>
                  </a:lnTo>
                  <a:lnTo>
                    <a:pt x="365" y="804"/>
                  </a:lnTo>
                  <a:lnTo>
                    <a:pt x="365" y="802"/>
                  </a:lnTo>
                  <a:lnTo>
                    <a:pt x="364" y="804"/>
                  </a:lnTo>
                  <a:lnTo>
                    <a:pt x="365" y="804"/>
                  </a:lnTo>
                  <a:lnTo>
                    <a:pt x="365" y="802"/>
                  </a:lnTo>
                  <a:lnTo>
                    <a:pt x="364" y="804"/>
                  </a:lnTo>
                  <a:lnTo>
                    <a:pt x="365" y="802"/>
                  </a:lnTo>
                  <a:lnTo>
                    <a:pt x="364" y="804"/>
                  </a:lnTo>
                  <a:lnTo>
                    <a:pt x="364" y="804"/>
                  </a:lnTo>
                  <a:lnTo>
                    <a:pt x="365" y="802"/>
                  </a:lnTo>
                  <a:lnTo>
                    <a:pt x="364" y="804"/>
                  </a:lnTo>
                  <a:lnTo>
                    <a:pt x="365" y="802"/>
                  </a:lnTo>
                  <a:lnTo>
                    <a:pt x="364" y="802"/>
                  </a:lnTo>
                  <a:lnTo>
                    <a:pt x="364" y="802"/>
                  </a:lnTo>
                  <a:lnTo>
                    <a:pt x="364" y="804"/>
                  </a:lnTo>
                  <a:lnTo>
                    <a:pt x="365" y="802"/>
                  </a:lnTo>
                  <a:lnTo>
                    <a:pt x="364" y="802"/>
                  </a:lnTo>
                  <a:lnTo>
                    <a:pt x="365" y="802"/>
                  </a:lnTo>
                  <a:lnTo>
                    <a:pt x="364" y="801"/>
                  </a:lnTo>
                  <a:lnTo>
                    <a:pt x="364" y="802"/>
                  </a:lnTo>
                  <a:lnTo>
                    <a:pt x="365" y="802"/>
                  </a:lnTo>
                  <a:lnTo>
                    <a:pt x="364" y="801"/>
                  </a:lnTo>
                  <a:lnTo>
                    <a:pt x="365" y="802"/>
                  </a:lnTo>
                  <a:lnTo>
                    <a:pt x="365" y="800"/>
                  </a:lnTo>
                  <a:lnTo>
                    <a:pt x="365" y="800"/>
                  </a:lnTo>
                  <a:lnTo>
                    <a:pt x="364" y="801"/>
                  </a:lnTo>
                  <a:lnTo>
                    <a:pt x="365" y="802"/>
                  </a:lnTo>
                  <a:lnTo>
                    <a:pt x="365" y="800"/>
                  </a:lnTo>
                  <a:lnTo>
                    <a:pt x="365" y="802"/>
                  </a:lnTo>
                  <a:lnTo>
                    <a:pt x="365" y="800"/>
                  </a:lnTo>
                  <a:lnTo>
                    <a:pt x="365" y="800"/>
                  </a:lnTo>
                  <a:lnTo>
                    <a:pt x="365" y="802"/>
                  </a:lnTo>
                  <a:lnTo>
                    <a:pt x="365" y="800"/>
                  </a:lnTo>
                  <a:lnTo>
                    <a:pt x="365" y="801"/>
                  </a:lnTo>
                  <a:lnTo>
                    <a:pt x="366" y="800"/>
                  </a:lnTo>
                  <a:lnTo>
                    <a:pt x="365" y="800"/>
                  </a:lnTo>
                  <a:lnTo>
                    <a:pt x="365" y="801"/>
                  </a:lnTo>
                  <a:lnTo>
                    <a:pt x="366" y="800"/>
                  </a:lnTo>
                  <a:lnTo>
                    <a:pt x="366" y="801"/>
                  </a:lnTo>
                  <a:lnTo>
                    <a:pt x="366" y="800"/>
                  </a:lnTo>
                  <a:lnTo>
                    <a:pt x="366" y="800"/>
                  </a:lnTo>
                  <a:lnTo>
                    <a:pt x="366" y="801"/>
                  </a:lnTo>
                  <a:lnTo>
                    <a:pt x="366" y="800"/>
                  </a:lnTo>
                  <a:lnTo>
                    <a:pt x="366" y="800"/>
                  </a:lnTo>
                  <a:lnTo>
                    <a:pt x="365" y="800"/>
                  </a:lnTo>
                  <a:lnTo>
                    <a:pt x="365" y="800"/>
                  </a:lnTo>
                  <a:lnTo>
                    <a:pt x="362" y="798"/>
                  </a:lnTo>
                  <a:lnTo>
                    <a:pt x="362" y="798"/>
                  </a:lnTo>
                  <a:lnTo>
                    <a:pt x="361" y="798"/>
                  </a:lnTo>
                  <a:lnTo>
                    <a:pt x="361" y="798"/>
                  </a:lnTo>
                  <a:lnTo>
                    <a:pt x="356" y="800"/>
                  </a:lnTo>
                  <a:lnTo>
                    <a:pt x="356" y="800"/>
                  </a:lnTo>
                  <a:lnTo>
                    <a:pt x="355" y="801"/>
                  </a:lnTo>
                  <a:lnTo>
                    <a:pt x="355" y="801"/>
                  </a:lnTo>
                  <a:lnTo>
                    <a:pt x="353" y="804"/>
                  </a:lnTo>
                  <a:lnTo>
                    <a:pt x="353" y="804"/>
                  </a:lnTo>
                  <a:lnTo>
                    <a:pt x="355" y="807"/>
                  </a:lnTo>
                  <a:lnTo>
                    <a:pt x="355" y="807"/>
                  </a:lnTo>
                  <a:lnTo>
                    <a:pt x="358" y="810"/>
                  </a:lnTo>
                  <a:lnTo>
                    <a:pt x="358" y="810"/>
                  </a:lnTo>
                  <a:lnTo>
                    <a:pt x="358" y="813"/>
                  </a:lnTo>
                  <a:lnTo>
                    <a:pt x="358" y="813"/>
                  </a:lnTo>
                  <a:lnTo>
                    <a:pt x="359" y="811"/>
                  </a:lnTo>
                  <a:lnTo>
                    <a:pt x="358" y="811"/>
                  </a:lnTo>
                  <a:lnTo>
                    <a:pt x="358" y="813"/>
                  </a:lnTo>
                  <a:lnTo>
                    <a:pt x="359" y="811"/>
                  </a:lnTo>
                  <a:lnTo>
                    <a:pt x="358" y="811"/>
                  </a:lnTo>
                  <a:lnTo>
                    <a:pt x="361" y="811"/>
                  </a:lnTo>
                  <a:lnTo>
                    <a:pt x="359" y="811"/>
                  </a:lnTo>
                  <a:lnTo>
                    <a:pt x="358" y="811"/>
                  </a:lnTo>
                  <a:lnTo>
                    <a:pt x="361" y="811"/>
                  </a:lnTo>
                  <a:lnTo>
                    <a:pt x="359" y="811"/>
                  </a:lnTo>
                  <a:lnTo>
                    <a:pt x="361" y="811"/>
                  </a:lnTo>
                  <a:lnTo>
                    <a:pt x="359" y="810"/>
                  </a:lnTo>
                  <a:lnTo>
                    <a:pt x="359" y="811"/>
                  </a:lnTo>
                  <a:lnTo>
                    <a:pt x="361" y="811"/>
                  </a:lnTo>
                  <a:lnTo>
                    <a:pt x="359" y="810"/>
                  </a:lnTo>
                  <a:lnTo>
                    <a:pt x="359" y="810"/>
                  </a:lnTo>
                  <a:lnTo>
                    <a:pt x="359" y="810"/>
                  </a:lnTo>
                  <a:lnTo>
                    <a:pt x="359" y="810"/>
                  </a:lnTo>
                  <a:lnTo>
                    <a:pt x="359" y="810"/>
                  </a:lnTo>
                  <a:lnTo>
                    <a:pt x="359" y="810"/>
                  </a:lnTo>
                  <a:lnTo>
                    <a:pt x="359" y="810"/>
                  </a:lnTo>
                  <a:lnTo>
                    <a:pt x="356" y="811"/>
                  </a:lnTo>
                  <a:lnTo>
                    <a:pt x="356" y="811"/>
                  </a:lnTo>
                  <a:lnTo>
                    <a:pt x="352" y="813"/>
                  </a:lnTo>
                  <a:lnTo>
                    <a:pt x="352" y="813"/>
                  </a:lnTo>
                  <a:lnTo>
                    <a:pt x="349" y="814"/>
                  </a:lnTo>
                  <a:lnTo>
                    <a:pt x="349" y="815"/>
                  </a:lnTo>
                  <a:lnTo>
                    <a:pt x="349" y="815"/>
                  </a:lnTo>
                  <a:lnTo>
                    <a:pt x="348" y="817"/>
                  </a:lnTo>
                  <a:lnTo>
                    <a:pt x="348" y="817"/>
                  </a:lnTo>
                  <a:lnTo>
                    <a:pt x="349" y="820"/>
                  </a:lnTo>
                  <a:lnTo>
                    <a:pt x="349" y="820"/>
                  </a:lnTo>
                  <a:lnTo>
                    <a:pt x="350" y="820"/>
                  </a:lnTo>
                  <a:lnTo>
                    <a:pt x="350" y="820"/>
                  </a:lnTo>
                  <a:lnTo>
                    <a:pt x="356" y="823"/>
                  </a:lnTo>
                  <a:lnTo>
                    <a:pt x="356" y="824"/>
                  </a:lnTo>
                  <a:lnTo>
                    <a:pt x="356" y="824"/>
                  </a:lnTo>
                  <a:lnTo>
                    <a:pt x="356" y="824"/>
                  </a:lnTo>
                  <a:lnTo>
                    <a:pt x="356" y="826"/>
                  </a:lnTo>
                  <a:lnTo>
                    <a:pt x="356" y="826"/>
                  </a:lnTo>
                  <a:lnTo>
                    <a:pt x="355" y="827"/>
                  </a:lnTo>
                  <a:lnTo>
                    <a:pt x="355" y="827"/>
                  </a:lnTo>
                  <a:lnTo>
                    <a:pt x="356" y="830"/>
                  </a:lnTo>
                  <a:lnTo>
                    <a:pt x="356" y="830"/>
                  </a:lnTo>
                  <a:lnTo>
                    <a:pt x="358" y="831"/>
                  </a:lnTo>
                  <a:lnTo>
                    <a:pt x="358" y="831"/>
                  </a:lnTo>
                  <a:lnTo>
                    <a:pt x="358" y="831"/>
                  </a:lnTo>
                  <a:lnTo>
                    <a:pt x="359" y="830"/>
                  </a:lnTo>
                  <a:lnTo>
                    <a:pt x="358" y="831"/>
                  </a:lnTo>
                  <a:lnTo>
                    <a:pt x="358" y="831"/>
                  </a:lnTo>
                  <a:lnTo>
                    <a:pt x="359" y="830"/>
                  </a:lnTo>
                  <a:lnTo>
                    <a:pt x="358" y="831"/>
                  </a:lnTo>
                  <a:lnTo>
                    <a:pt x="359" y="830"/>
                  </a:lnTo>
                  <a:lnTo>
                    <a:pt x="358" y="830"/>
                  </a:lnTo>
                  <a:lnTo>
                    <a:pt x="358" y="831"/>
                  </a:lnTo>
                  <a:lnTo>
                    <a:pt x="359" y="830"/>
                  </a:lnTo>
                  <a:lnTo>
                    <a:pt x="358" y="830"/>
                  </a:lnTo>
                  <a:lnTo>
                    <a:pt x="359" y="830"/>
                  </a:lnTo>
                  <a:lnTo>
                    <a:pt x="358" y="830"/>
                  </a:lnTo>
                  <a:lnTo>
                    <a:pt x="358" y="830"/>
                  </a:lnTo>
                  <a:lnTo>
                    <a:pt x="359" y="830"/>
                  </a:lnTo>
                  <a:lnTo>
                    <a:pt x="358" y="830"/>
                  </a:lnTo>
                  <a:lnTo>
                    <a:pt x="358" y="830"/>
                  </a:lnTo>
                  <a:lnTo>
                    <a:pt x="358" y="830"/>
                  </a:lnTo>
                  <a:lnTo>
                    <a:pt x="358" y="830"/>
                  </a:lnTo>
                  <a:lnTo>
                    <a:pt x="358" y="830"/>
                  </a:lnTo>
                  <a:lnTo>
                    <a:pt x="358" y="830"/>
                  </a:lnTo>
                  <a:lnTo>
                    <a:pt x="358" y="830"/>
                  </a:lnTo>
                  <a:lnTo>
                    <a:pt x="356" y="831"/>
                  </a:lnTo>
                  <a:lnTo>
                    <a:pt x="356" y="831"/>
                  </a:lnTo>
                  <a:lnTo>
                    <a:pt x="355" y="834"/>
                  </a:lnTo>
                  <a:lnTo>
                    <a:pt x="355" y="837"/>
                  </a:lnTo>
                  <a:lnTo>
                    <a:pt x="355" y="837"/>
                  </a:lnTo>
                  <a:lnTo>
                    <a:pt x="355" y="840"/>
                  </a:lnTo>
                  <a:lnTo>
                    <a:pt x="355" y="840"/>
                  </a:lnTo>
                  <a:lnTo>
                    <a:pt x="358" y="842"/>
                  </a:lnTo>
                  <a:lnTo>
                    <a:pt x="358" y="842"/>
                  </a:lnTo>
                  <a:lnTo>
                    <a:pt x="361" y="843"/>
                  </a:lnTo>
                  <a:lnTo>
                    <a:pt x="364" y="844"/>
                  </a:lnTo>
                  <a:lnTo>
                    <a:pt x="364" y="844"/>
                  </a:lnTo>
                  <a:lnTo>
                    <a:pt x="366" y="843"/>
                  </a:lnTo>
                  <a:lnTo>
                    <a:pt x="366" y="843"/>
                  </a:lnTo>
                  <a:lnTo>
                    <a:pt x="368" y="839"/>
                  </a:lnTo>
                  <a:lnTo>
                    <a:pt x="368" y="839"/>
                  </a:lnTo>
                  <a:lnTo>
                    <a:pt x="371" y="836"/>
                  </a:lnTo>
                  <a:lnTo>
                    <a:pt x="371" y="836"/>
                  </a:lnTo>
                  <a:lnTo>
                    <a:pt x="372" y="834"/>
                  </a:lnTo>
                  <a:lnTo>
                    <a:pt x="372" y="834"/>
                  </a:lnTo>
                  <a:lnTo>
                    <a:pt x="371" y="833"/>
                  </a:lnTo>
                  <a:lnTo>
                    <a:pt x="371" y="836"/>
                  </a:lnTo>
                  <a:lnTo>
                    <a:pt x="371" y="836"/>
                  </a:lnTo>
                  <a:lnTo>
                    <a:pt x="372" y="834"/>
                  </a:lnTo>
                  <a:lnTo>
                    <a:pt x="371" y="833"/>
                  </a:lnTo>
                  <a:lnTo>
                    <a:pt x="371" y="836"/>
                  </a:lnTo>
                  <a:lnTo>
                    <a:pt x="371" y="833"/>
                  </a:lnTo>
                  <a:lnTo>
                    <a:pt x="369" y="834"/>
                  </a:lnTo>
                  <a:lnTo>
                    <a:pt x="371" y="836"/>
                  </a:lnTo>
                  <a:lnTo>
                    <a:pt x="371" y="833"/>
                  </a:lnTo>
                  <a:lnTo>
                    <a:pt x="369" y="834"/>
                  </a:lnTo>
                  <a:lnTo>
                    <a:pt x="371" y="833"/>
                  </a:lnTo>
                  <a:lnTo>
                    <a:pt x="368" y="834"/>
                  </a:lnTo>
                  <a:lnTo>
                    <a:pt x="368" y="834"/>
                  </a:lnTo>
                  <a:lnTo>
                    <a:pt x="369" y="834"/>
                  </a:lnTo>
                  <a:lnTo>
                    <a:pt x="371" y="833"/>
                  </a:lnTo>
                  <a:lnTo>
                    <a:pt x="368" y="834"/>
                  </a:lnTo>
                  <a:lnTo>
                    <a:pt x="369" y="833"/>
                  </a:lnTo>
                  <a:lnTo>
                    <a:pt x="368" y="833"/>
                  </a:lnTo>
                  <a:lnTo>
                    <a:pt x="368" y="834"/>
                  </a:lnTo>
                  <a:lnTo>
                    <a:pt x="369" y="833"/>
                  </a:lnTo>
                  <a:lnTo>
                    <a:pt x="368" y="833"/>
                  </a:lnTo>
                  <a:lnTo>
                    <a:pt x="368" y="833"/>
                  </a:lnTo>
                  <a:lnTo>
                    <a:pt x="368" y="833"/>
                  </a:lnTo>
                  <a:lnTo>
                    <a:pt x="368" y="833"/>
                  </a:lnTo>
                  <a:lnTo>
                    <a:pt x="368" y="833"/>
                  </a:lnTo>
                  <a:lnTo>
                    <a:pt x="368" y="833"/>
                  </a:lnTo>
                  <a:lnTo>
                    <a:pt x="368" y="833"/>
                  </a:lnTo>
                  <a:lnTo>
                    <a:pt x="368" y="834"/>
                  </a:lnTo>
                  <a:lnTo>
                    <a:pt x="368" y="834"/>
                  </a:lnTo>
                  <a:lnTo>
                    <a:pt x="364" y="844"/>
                  </a:lnTo>
                  <a:lnTo>
                    <a:pt x="364" y="844"/>
                  </a:lnTo>
                  <a:lnTo>
                    <a:pt x="364" y="846"/>
                  </a:lnTo>
                  <a:lnTo>
                    <a:pt x="364" y="846"/>
                  </a:lnTo>
                  <a:lnTo>
                    <a:pt x="364" y="846"/>
                  </a:lnTo>
                  <a:lnTo>
                    <a:pt x="364" y="846"/>
                  </a:lnTo>
                  <a:lnTo>
                    <a:pt x="364" y="846"/>
                  </a:lnTo>
                  <a:lnTo>
                    <a:pt x="364" y="846"/>
                  </a:lnTo>
                  <a:lnTo>
                    <a:pt x="364" y="846"/>
                  </a:lnTo>
                  <a:lnTo>
                    <a:pt x="364" y="846"/>
                  </a:lnTo>
                  <a:lnTo>
                    <a:pt x="364" y="846"/>
                  </a:lnTo>
                  <a:lnTo>
                    <a:pt x="364" y="846"/>
                  </a:lnTo>
                  <a:lnTo>
                    <a:pt x="364" y="846"/>
                  </a:lnTo>
                  <a:lnTo>
                    <a:pt x="364" y="846"/>
                  </a:lnTo>
                  <a:lnTo>
                    <a:pt x="364" y="846"/>
                  </a:lnTo>
                  <a:lnTo>
                    <a:pt x="364" y="846"/>
                  </a:lnTo>
                  <a:lnTo>
                    <a:pt x="362" y="844"/>
                  </a:lnTo>
                  <a:lnTo>
                    <a:pt x="362" y="844"/>
                  </a:lnTo>
                  <a:lnTo>
                    <a:pt x="358" y="843"/>
                  </a:lnTo>
                  <a:lnTo>
                    <a:pt x="358" y="843"/>
                  </a:lnTo>
                  <a:lnTo>
                    <a:pt x="355" y="843"/>
                  </a:lnTo>
                  <a:lnTo>
                    <a:pt x="355" y="843"/>
                  </a:lnTo>
                  <a:lnTo>
                    <a:pt x="352" y="844"/>
                  </a:lnTo>
                  <a:lnTo>
                    <a:pt x="352" y="844"/>
                  </a:lnTo>
                  <a:lnTo>
                    <a:pt x="350" y="847"/>
                  </a:lnTo>
                  <a:lnTo>
                    <a:pt x="350" y="847"/>
                  </a:lnTo>
                  <a:lnTo>
                    <a:pt x="352" y="850"/>
                  </a:lnTo>
                  <a:lnTo>
                    <a:pt x="352" y="850"/>
                  </a:lnTo>
                  <a:lnTo>
                    <a:pt x="355" y="855"/>
                  </a:lnTo>
                  <a:lnTo>
                    <a:pt x="356" y="859"/>
                  </a:lnTo>
                  <a:lnTo>
                    <a:pt x="356" y="859"/>
                  </a:lnTo>
                  <a:lnTo>
                    <a:pt x="358" y="865"/>
                  </a:lnTo>
                  <a:lnTo>
                    <a:pt x="358" y="865"/>
                  </a:lnTo>
                  <a:lnTo>
                    <a:pt x="359" y="866"/>
                  </a:lnTo>
                  <a:lnTo>
                    <a:pt x="359" y="866"/>
                  </a:lnTo>
                  <a:lnTo>
                    <a:pt x="362" y="868"/>
                  </a:lnTo>
                  <a:lnTo>
                    <a:pt x="362" y="868"/>
                  </a:lnTo>
                  <a:lnTo>
                    <a:pt x="365" y="866"/>
                  </a:lnTo>
                  <a:lnTo>
                    <a:pt x="365" y="866"/>
                  </a:lnTo>
                  <a:lnTo>
                    <a:pt x="369" y="866"/>
                  </a:lnTo>
                  <a:lnTo>
                    <a:pt x="369" y="866"/>
                  </a:lnTo>
                  <a:lnTo>
                    <a:pt x="371" y="865"/>
                  </a:lnTo>
                  <a:lnTo>
                    <a:pt x="372" y="863"/>
                  </a:lnTo>
                  <a:lnTo>
                    <a:pt x="372" y="863"/>
                  </a:lnTo>
                  <a:lnTo>
                    <a:pt x="375" y="860"/>
                  </a:lnTo>
                  <a:lnTo>
                    <a:pt x="375" y="860"/>
                  </a:lnTo>
                  <a:lnTo>
                    <a:pt x="375" y="860"/>
                  </a:lnTo>
                  <a:lnTo>
                    <a:pt x="374" y="859"/>
                  </a:lnTo>
                  <a:lnTo>
                    <a:pt x="375" y="860"/>
                  </a:lnTo>
                  <a:lnTo>
                    <a:pt x="375" y="860"/>
                  </a:lnTo>
                  <a:lnTo>
                    <a:pt x="374" y="859"/>
                  </a:lnTo>
                  <a:lnTo>
                    <a:pt x="375" y="860"/>
                  </a:lnTo>
                  <a:lnTo>
                    <a:pt x="374" y="859"/>
                  </a:lnTo>
                  <a:lnTo>
                    <a:pt x="374" y="860"/>
                  </a:lnTo>
                  <a:lnTo>
                    <a:pt x="374" y="860"/>
                  </a:lnTo>
                  <a:lnTo>
                    <a:pt x="375" y="860"/>
                  </a:lnTo>
                  <a:lnTo>
                    <a:pt x="374" y="859"/>
                  </a:lnTo>
                  <a:lnTo>
                    <a:pt x="374" y="860"/>
                  </a:lnTo>
                  <a:lnTo>
                    <a:pt x="374" y="859"/>
                  </a:lnTo>
                  <a:lnTo>
                    <a:pt x="372" y="860"/>
                  </a:lnTo>
                  <a:lnTo>
                    <a:pt x="372" y="860"/>
                  </a:lnTo>
                  <a:lnTo>
                    <a:pt x="374" y="860"/>
                  </a:lnTo>
                  <a:lnTo>
                    <a:pt x="374" y="859"/>
                  </a:lnTo>
                  <a:lnTo>
                    <a:pt x="372" y="860"/>
                  </a:lnTo>
                  <a:lnTo>
                    <a:pt x="374" y="859"/>
                  </a:lnTo>
                  <a:lnTo>
                    <a:pt x="371" y="859"/>
                  </a:lnTo>
                  <a:lnTo>
                    <a:pt x="371" y="859"/>
                  </a:lnTo>
                  <a:lnTo>
                    <a:pt x="372" y="860"/>
                  </a:lnTo>
                  <a:lnTo>
                    <a:pt x="374" y="859"/>
                  </a:lnTo>
                  <a:lnTo>
                    <a:pt x="371" y="859"/>
                  </a:lnTo>
                  <a:lnTo>
                    <a:pt x="372" y="859"/>
                  </a:lnTo>
                  <a:lnTo>
                    <a:pt x="371" y="859"/>
                  </a:lnTo>
                  <a:lnTo>
                    <a:pt x="371" y="859"/>
                  </a:lnTo>
                  <a:lnTo>
                    <a:pt x="372" y="859"/>
                  </a:lnTo>
                  <a:lnTo>
                    <a:pt x="371" y="859"/>
                  </a:lnTo>
                  <a:lnTo>
                    <a:pt x="371" y="859"/>
                  </a:lnTo>
                  <a:lnTo>
                    <a:pt x="371" y="859"/>
                  </a:lnTo>
                  <a:lnTo>
                    <a:pt x="371" y="862"/>
                  </a:lnTo>
                  <a:lnTo>
                    <a:pt x="371" y="862"/>
                  </a:lnTo>
                  <a:lnTo>
                    <a:pt x="371" y="868"/>
                  </a:lnTo>
                  <a:lnTo>
                    <a:pt x="371" y="868"/>
                  </a:lnTo>
                  <a:lnTo>
                    <a:pt x="371" y="872"/>
                  </a:lnTo>
                  <a:lnTo>
                    <a:pt x="371" y="873"/>
                  </a:lnTo>
                  <a:lnTo>
                    <a:pt x="371" y="873"/>
                  </a:lnTo>
                  <a:lnTo>
                    <a:pt x="371" y="873"/>
                  </a:lnTo>
                  <a:lnTo>
                    <a:pt x="371" y="873"/>
                  </a:lnTo>
                  <a:lnTo>
                    <a:pt x="371" y="873"/>
                  </a:lnTo>
                  <a:lnTo>
                    <a:pt x="371" y="873"/>
                  </a:lnTo>
                  <a:lnTo>
                    <a:pt x="371" y="873"/>
                  </a:lnTo>
                  <a:lnTo>
                    <a:pt x="372" y="873"/>
                  </a:lnTo>
                  <a:lnTo>
                    <a:pt x="371" y="872"/>
                  </a:lnTo>
                  <a:lnTo>
                    <a:pt x="371" y="872"/>
                  </a:lnTo>
                  <a:lnTo>
                    <a:pt x="371" y="873"/>
                  </a:lnTo>
                  <a:lnTo>
                    <a:pt x="372" y="873"/>
                  </a:lnTo>
                  <a:lnTo>
                    <a:pt x="371" y="872"/>
                  </a:lnTo>
                  <a:lnTo>
                    <a:pt x="372" y="873"/>
                  </a:lnTo>
                  <a:lnTo>
                    <a:pt x="372" y="870"/>
                  </a:lnTo>
                  <a:lnTo>
                    <a:pt x="372" y="870"/>
                  </a:lnTo>
                  <a:lnTo>
                    <a:pt x="371" y="872"/>
                  </a:lnTo>
                  <a:lnTo>
                    <a:pt x="372" y="873"/>
                  </a:lnTo>
                  <a:lnTo>
                    <a:pt x="372" y="870"/>
                  </a:lnTo>
                  <a:lnTo>
                    <a:pt x="372" y="872"/>
                  </a:lnTo>
                  <a:lnTo>
                    <a:pt x="372" y="870"/>
                  </a:lnTo>
                  <a:lnTo>
                    <a:pt x="372" y="870"/>
                  </a:lnTo>
                  <a:lnTo>
                    <a:pt x="372" y="872"/>
                  </a:lnTo>
                  <a:lnTo>
                    <a:pt x="372" y="870"/>
                  </a:lnTo>
                  <a:lnTo>
                    <a:pt x="372" y="870"/>
                  </a:lnTo>
                  <a:lnTo>
                    <a:pt x="372" y="870"/>
                  </a:lnTo>
                  <a:lnTo>
                    <a:pt x="368" y="869"/>
                  </a:lnTo>
                  <a:lnTo>
                    <a:pt x="368" y="869"/>
                  </a:lnTo>
                  <a:lnTo>
                    <a:pt x="364" y="870"/>
                  </a:lnTo>
                  <a:lnTo>
                    <a:pt x="364" y="870"/>
                  </a:lnTo>
                  <a:lnTo>
                    <a:pt x="361" y="873"/>
                  </a:lnTo>
                  <a:lnTo>
                    <a:pt x="361" y="876"/>
                  </a:lnTo>
                  <a:lnTo>
                    <a:pt x="361" y="876"/>
                  </a:lnTo>
                  <a:lnTo>
                    <a:pt x="362" y="882"/>
                  </a:lnTo>
                  <a:lnTo>
                    <a:pt x="362" y="882"/>
                  </a:lnTo>
                  <a:lnTo>
                    <a:pt x="365" y="886"/>
                  </a:lnTo>
                  <a:lnTo>
                    <a:pt x="365" y="886"/>
                  </a:lnTo>
                  <a:lnTo>
                    <a:pt x="379" y="899"/>
                  </a:lnTo>
                  <a:lnTo>
                    <a:pt x="379" y="899"/>
                  </a:lnTo>
                  <a:lnTo>
                    <a:pt x="384" y="902"/>
                  </a:lnTo>
                  <a:lnTo>
                    <a:pt x="388" y="904"/>
                  </a:lnTo>
                  <a:lnTo>
                    <a:pt x="388" y="904"/>
                  </a:lnTo>
                  <a:lnTo>
                    <a:pt x="394" y="902"/>
                  </a:lnTo>
                  <a:lnTo>
                    <a:pt x="400" y="901"/>
                  </a:lnTo>
                  <a:lnTo>
                    <a:pt x="400" y="901"/>
                  </a:lnTo>
                  <a:lnTo>
                    <a:pt x="401" y="901"/>
                  </a:lnTo>
                  <a:lnTo>
                    <a:pt x="401" y="901"/>
                  </a:lnTo>
                  <a:lnTo>
                    <a:pt x="403" y="901"/>
                  </a:lnTo>
                  <a:lnTo>
                    <a:pt x="403" y="901"/>
                  </a:lnTo>
                  <a:lnTo>
                    <a:pt x="406" y="901"/>
                  </a:lnTo>
                  <a:lnTo>
                    <a:pt x="406" y="901"/>
                  </a:lnTo>
                  <a:lnTo>
                    <a:pt x="410" y="899"/>
                  </a:lnTo>
                  <a:lnTo>
                    <a:pt x="410" y="899"/>
                  </a:lnTo>
                  <a:lnTo>
                    <a:pt x="419" y="891"/>
                  </a:lnTo>
                  <a:lnTo>
                    <a:pt x="423" y="885"/>
                  </a:lnTo>
                  <a:lnTo>
                    <a:pt x="427" y="878"/>
                  </a:lnTo>
                  <a:lnTo>
                    <a:pt x="427" y="878"/>
                  </a:lnTo>
                  <a:lnTo>
                    <a:pt x="432" y="872"/>
                  </a:lnTo>
                  <a:lnTo>
                    <a:pt x="434" y="869"/>
                  </a:lnTo>
                  <a:lnTo>
                    <a:pt x="434" y="869"/>
                  </a:lnTo>
                  <a:lnTo>
                    <a:pt x="436" y="868"/>
                  </a:lnTo>
                  <a:lnTo>
                    <a:pt x="436" y="868"/>
                  </a:lnTo>
                  <a:lnTo>
                    <a:pt x="440" y="868"/>
                  </a:lnTo>
                  <a:lnTo>
                    <a:pt x="440" y="868"/>
                  </a:lnTo>
                  <a:lnTo>
                    <a:pt x="445" y="866"/>
                  </a:lnTo>
                  <a:lnTo>
                    <a:pt x="445" y="866"/>
                  </a:lnTo>
                  <a:lnTo>
                    <a:pt x="446" y="863"/>
                  </a:lnTo>
                  <a:lnTo>
                    <a:pt x="446" y="863"/>
                  </a:lnTo>
                  <a:lnTo>
                    <a:pt x="448" y="859"/>
                  </a:lnTo>
                  <a:lnTo>
                    <a:pt x="448" y="855"/>
                  </a:lnTo>
                  <a:lnTo>
                    <a:pt x="448" y="855"/>
                  </a:lnTo>
                  <a:lnTo>
                    <a:pt x="448" y="855"/>
                  </a:lnTo>
                  <a:lnTo>
                    <a:pt x="446" y="853"/>
                  </a:lnTo>
                  <a:lnTo>
                    <a:pt x="448" y="855"/>
                  </a:lnTo>
                  <a:lnTo>
                    <a:pt x="448" y="855"/>
                  </a:lnTo>
                  <a:lnTo>
                    <a:pt x="446" y="853"/>
                  </a:lnTo>
                  <a:lnTo>
                    <a:pt x="448" y="855"/>
                  </a:lnTo>
                  <a:lnTo>
                    <a:pt x="445" y="853"/>
                  </a:lnTo>
                  <a:lnTo>
                    <a:pt x="446" y="855"/>
                  </a:lnTo>
                  <a:lnTo>
                    <a:pt x="448" y="855"/>
                  </a:lnTo>
                  <a:lnTo>
                    <a:pt x="445" y="853"/>
                  </a:lnTo>
                  <a:lnTo>
                    <a:pt x="446" y="855"/>
                  </a:lnTo>
                  <a:lnTo>
                    <a:pt x="445" y="853"/>
                  </a:lnTo>
                  <a:lnTo>
                    <a:pt x="445" y="856"/>
                  </a:lnTo>
                  <a:lnTo>
                    <a:pt x="445" y="856"/>
                  </a:lnTo>
                  <a:lnTo>
                    <a:pt x="446" y="855"/>
                  </a:lnTo>
                  <a:lnTo>
                    <a:pt x="445" y="853"/>
                  </a:lnTo>
                  <a:lnTo>
                    <a:pt x="445" y="856"/>
                  </a:lnTo>
                  <a:lnTo>
                    <a:pt x="445" y="853"/>
                  </a:lnTo>
                  <a:lnTo>
                    <a:pt x="443" y="855"/>
                  </a:lnTo>
                  <a:lnTo>
                    <a:pt x="443" y="855"/>
                  </a:lnTo>
                  <a:lnTo>
                    <a:pt x="445" y="856"/>
                  </a:lnTo>
                  <a:lnTo>
                    <a:pt x="445" y="853"/>
                  </a:lnTo>
                  <a:lnTo>
                    <a:pt x="443" y="855"/>
                  </a:lnTo>
                  <a:lnTo>
                    <a:pt x="445" y="855"/>
                  </a:lnTo>
                  <a:lnTo>
                    <a:pt x="443" y="855"/>
                  </a:lnTo>
                  <a:lnTo>
                    <a:pt x="443" y="855"/>
                  </a:lnTo>
                  <a:lnTo>
                    <a:pt x="445" y="855"/>
                  </a:lnTo>
                  <a:lnTo>
                    <a:pt x="443" y="855"/>
                  </a:lnTo>
                  <a:lnTo>
                    <a:pt x="443" y="855"/>
                  </a:lnTo>
                  <a:lnTo>
                    <a:pt x="443" y="857"/>
                  </a:lnTo>
                  <a:lnTo>
                    <a:pt x="443" y="857"/>
                  </a:lnTo>
                  <a:lnTo>
                    <a:pt x="446" y="866"/>
                  </a:lnTo>
                  <a:lnTo>
                    <a:pt x="446" y="866"/>
                  </a:lnTo>
                  <a:lnTo>
                    <a:pt x="449" y="873"/>
                  </a:lnTo>
                  <a:lnTo>
                    <a:pt x="449" y="873"/>
                  </a:lnTo>
                  <a:lnTo>
                    <a:pt x="450" y="878"/>
                  </a:lnTo>
                  <a:lnTo>
                    <a:pt x="450" y="878"/>
                  </a:lnTo>
                  <a:lnTo>
                    <a:pt x="452" y="888"/>
                  </a:lnTo>
                  <a:lnTo>
                    <a:pt x="452" y="888"/>
                  </a:lnTo>
                  <a:lnTo>
                    <a:pt x="453" y="892"/>
                  </a:lnTo>
                  <a:lnTo>
                    <a:pt x="453" y="892"/>
                  </a:lnTo>
                  <a:lnTo>
                    <a:pt x="455" y="897"/>
                  </a:lnTo>
                  <a:lnTo>
                    <a:pt x="455" y="897"/>
                  </a:lnTo>
                  <a:lnTo>
                    <a:pt x="456" y="899"/>
                  </a:lnTo>
                  <a:lnTo>
                    <a:pt x="456" y="899"/>
                  </a:lnTo>
                  <a:lnTo>
                    <a:pt x="461" y="901"/>
                  </a:lnTo>
                  <a:lnTo>
                    <a:pt x="461" y="901"/>
                  </a:lnTo>
                  <a:lnTo>
                    <a:pt x="465" y="899"/>
                  </a:lnTo>
                  <a:lnTo>
                    <a:pt x="468" y="898"/>
                  </a:lnTo>
                  <a:lnTo>
                    <a:pt x="468" y="898"/>
                  </a:lnTo>
                  <a:lnTo>
                    <a:pt x="468" y="897"/>
                  </a:lnTo>
                  <a:lnTo>
                    <a:pt x="468" y="898"/>
                  </a:lnTo>
                  <a:lnTo>
                    <a:pt x="468" y="898"/>
                  </a:lnTo>
                  <a:lnTo>
                    <a:pt x="468" y="898"/>
                  </a:lnTo>
                  <a:lnTo>
                    <a:pt x="468" y="897"/>
                  </a:lnTo>
                  <a:lnTo>
                    <a:pt x="468" y="898"/>
                  </a:lnTo>
                  <a:lnTo>
                    <a:pt x="468" y="895"/>
                  </a:lnTo>
                  <a:lnTo>
                    <a:pt x="466" y="897"/>
                  </a:lnTo>
                  <a:lnTo>
                    <a:pt x="468" y="898"/>
                  </a:lnTo>
                  <a:lnTo>
                    <a:pt x="468" y="895"/>
                  </a:lnTo>
                  <a:lnTo>
                    <a:pt x="466" y="897"/>
                  </a:lnTo>
                  <a:lnTo>
                    <a:pt x="466" y="895"/>
                  </a:lnTo>
                  <a:lnTo>
                    <a:pt x="465" y="897"/>
                  </a:lnTo>
                  <a:lnTo>
                    <a:pt x="465" y="897"/>
                  </a:lnTo>
                  <a:lnTo>
                    <a:pt x="466" y="897"/>
                  </a:lnTo>
                  <a:lnTo>
                    <a:pt x="466" y="895"/>
                  </a:lnTo>
                  <a:lnTo>
                    <a:pt x="465" y="897"/>
                  </a:lnTo>
                  <a:lnTo>
                    <a:pt x="465" y="897"/>
                  </a:lnTo>
                  <a:lnTo>
                    <a:pt x="465" y="897"/>
                  </a:lnTo>
                  <a:lnTo>
                    <a:pt x="465" y="897"/>
                  </a:lnTo>
                  <a:lnTo>
                    <a:pt x="465" y="897"/>
                  </a:lnTo>
                  <a:lnTo>
                    <a:pt x="465" y="897"/>
                  </a:lnTo>
                  <a:lnTo>
                    <a:pt x="465" y="897"/>
                  </a:lnTo>
                  <a:lnTo>
                    <a:pt x="465" y="897"/>
                  </a:lnTo>
                  <a:lnTo>
                    <a:pt x="465" y="899"/>
                  </a:lnTo>
                  <a:lnTo>
                    <a:pt x="465" y="899"/>
                  </a:lnTo>
                  <a:lnTo>
                    <a:pt x="463" y="908"/>
                  </a:lnTo>
                  <a:lnTo>
                    <a:pt x="463" y="908"/>
                  </a:lnTo>
                  <a:lnTo>
                    <a:pt x="461" y="915"/>
                  </a:lnTo>
                  <a:lnTo>
                    <a:pt x="461" y="917"/>
                  </a:lnTo>
                  <a:lnTo>
                    <a:pt x="461" y="917"/>
                  </a:lnTo>
                  <a:lnTo>
                    <a:pt x="462" y="923"/>
                  </a:lnTo>
                  <a:lnTo>
                    <a:pt x="462" y="923"/>
                  </a:lnTo>
                  <a:lnTo>
                    <a:pt x="468" y="933"/>
                  </a:lnTo>
                  <a:lnTo>
                    <a:pt x="468" y="933"/>
                  </a:lnTo>
                  <a:lnTo>
                    <a:pt x="472" y="940"/>
                  </a:lnTo>
                  <a:lnTo>
                    <a:pt x="472" y="940"/>
                  </a:lnTo>
                  <a:lnTo>
                    <a:pt x="476" y="949"/>
                  </a:lnTo>
                  <a:lnTo>
                    <a:pt x="476" y="949"/>
                  </a:lnTo>
                  <a:lnTo>
                    <a:pt x="478" y="959"/>
                  </a:lnTo>
                  <a:lnTo>
                    <a:pt x="478" y="959"/>
                  </a:lnTo>
                  <a:lnTo>
                    <a:pt x="478" y="959"/>
                  </a:lnTo>
                  <a:lnTo>
                    <a:pt x="478" y="959"/>
                  </a:lnTo>
                  <a:lnTo>
                    <a:pt x="478" y="966"/>
                  </a:lnTo>
                  <a:lnTo>
                    <a:pt x="478" y="966"/>
                  </a:lnTo>
                  <a:lnTo>
                    <a:pt x="476" y="973"/>
                  </a:lnTo>
                  <a:lnTo>
                    <a:pt x="476" y="973"/>
                  </a:lnTo>
                  <a:lnTo>
                    <a:pt x="476" y="975"/>
                  </a:lnTo>
                  <a:lnTo>
                    <a:pt x="476" y="975"/>
                  </a:lnTo>
                  <a:lnTo>
                    <a:pt x="478" y="976"/>
                  </a:lnTo>
                  <a:lnTo>
                    <a:pt x="478" y="976"/>
                  </a:lnTo>
                  <a:lnTo>
                    <a:pt x="479" y="978"/>
                  </a:lnTo>
                  <a:lnTo>
                    <a:pt x="479" y="978"/>
                  </a:lnTo>
                  <a:lnTo>
                    <a:pt x="479" y="978"/>
                  </a:lnTo>
                  <a:lnTo>
                    <a:pt x="487" y="979"/>
                  </a:lnTo>
                  <a:lnTo>
                    <a:pt x="487" y="979"/>
                  </a:lnTo>
                  <a:lnTo>
                    <a:pt x="491" y="981"/>
                  </a:lnTo>
                  <a:lnTo>
                    <a:pt x="497" y="981"/>
                  </a:lnTo>
                  <a:lnTo>
                    <a:pt x="497" y="981"/>
                  </a:lnTo>
                  <a:lnTo>
                    <a:pt x="501" y="981"/>
                  </a:lnTo>
                  <a:lnTo>
                    <a:pt x="504" y="981"/>
                  </a:lnTo>
                  <a:lnTo>
                    <a:pt x="504" y="981"/>
                  </a:lnTo>
                  <a:lnTo>
                    <a:pt x="507" y="978"/>
                  </a:lnTo>
                  <a:lnTo>
                    <a:pt x="507" y="978"/>
                  </a:lnTo>
                  <a:lnTo>
                    <a:pt x="508" y="973"/>
                  </a:lnTo>
                  <a:lnTo>
                    <a:pt x="508" y="973"/>
                  </a:lnTo>
                  <a:lnTo>
                    <a:pt x="510" y="968"/>
                  </a:lnTo>
                  <a:lnTo>
                    <a:pt x="510" y="968"/>
                  </a:lnTo>
                  <a:lnTo>
                    <a:pt x="511" y="963"/>
                  </a:lnTo>
                  <a:lnTo>
                    <a:pt x="516" y="960"/>
                  </a:lnTo>
                  <a:lnTo>
                    <a:pt x="516" y="960"/>
                  </a:lnTo>
                  <a:lnTo>
                    <a:pt x="520" y="957"/>
                  </a:lnTo>
                  <a:lnTo>
                    <a:pt x="523" y="956"/>
                  </a:lnTo>
                  <a:lnTo>
                    <a:pt x="523" y="956"/>
                  </a:lnTo>
                  <a:lnTo>
                    <a:pt x="526" y="957"/>
                  </a:lnTo>
                  <a:lnTo>
                    <a:pt x="526" y="957"/>
                  </a:lnTo>
                  <a:lnTo>
                    <a:pt x="529" y="957"/>
                  </a:lnTo>
                  <a:lnTo>
                    <a:pt x="529" y="957"/>
                  </a:lnTo>
                  <a:lnTo>
                    <a:pt x="532" y="957"/>
                  </a:lnTo>
                  <a:lnTo>
                    <a:pt x="532" y="957"/>
                  </a:lnTo>
                  <a:lnTo>
                    <a:pt x="533" y="956"/>
                  </a:lnTo>
                  <a:lnTo>
                    <a:pt x="533" y="956"/>
                  </a:lnTo>
                  <a:lnTo>
                    <a:pt x="534" y="953"/>
                  </a:lnTo>
                  <a:lnTo>
                    <a:pt x="534" y="953"/>
                  </a:lnTo>
                  <a:lnTo>
                    <a:pt x="542" y="936"/>
                  </a:lnTo>
                  <a:lnTo>
                    <a:pt x="542" y="936"/>
                  </a:lnTo>
                  <a:lnTo>
                    <a:pt x="546" y="918"/>
                  </a:lnTo>
                  <a:lnTo>
                    <a:pt x="546" y="918"/>
                  </a:lnTo>
                  <a:lnTo>
                    <a:pt x="547" y="908"/>
                  </a:lnTo>
                  <a:lnTo>
                    <a:pt x="547" y="908"/>
                  </a:lnTo>
                  <a:lnTo>
                    <a:pt x="547" y="899"/>
                  </a:lnTo>
                  <a:lnTo>
                    <a:pt x="547" y="899"/>
                  </a:lnTo>
                  <a:lnTo>
                    <a:pt x="547" y="897"/>
                  </a:lnTo>
                  <a:lnTo>
                    <a:pt x="547" y="897"/>
                  </a:lnTo>
                  <a:lnTo>
                    <a:pt x="549" y="892"/>
                  </a:lnTo>
                  <a:lnTo>
                    <a:pt x="549" y="892"/>
                  </a:lnTo>
                  <a:lnTo>
                    <a:pt x="555" y="882"/>
                  </a:lnTo>
                  <a:lnTo>
                    <a:pt x="555" y="882"/>
                  </a:lnTo>
                  <a:lnTo>
                    <a:pt x="558" y="876"/>
                  </a:lnTo>
                  <a:lnTo>
                    <a:pt x="558" y="876"/>
                  </a:lnTo>
                  <a:lnTo>
                    <a:pt x="560" y="875"/>
                  </a:lnTo>
                  <a:lnTo>
                    <a:pt x="560" y="875"/>
                  </a:lnTo>
                  <a:lnTo>
                    <a:pt x="560" y="873"/>
                  </a:lnTo>
                  <a:lnTo>
                    <a:pt x="560" y="875"/>
                  </a:lnTo>
                  <a:lnTo>
                    <a:pt x="560" y="875"/>
                  </a:lnTo>
                  <a:lnTo>
                    <a:pt x="560" y="873"/>
                  </a:lnTo>
                  <a:lnTo>
                    <a:pt x="560" y="875"/>
                  </a:lnTo>
                  <a:lnTo>
                    <a:pt x="560" y="875"/>
                  </a:lnTo>
                  <a:lnTo>
                    <a:pt x="560" y="875"/>
                  </a:lnTo>
                  <a:lnTo>
                    <a:pt x="562" y="875"/>
                  </a:lnTo>
                  <a:lnTo>
                    <a:pt x="562" y="875"/>
                  </a:lnTo>
                  <a:lnTo>
                    <a:pt x="563" y="875"/>
                  </a:lnTo>
                  <a:lnTo>
                    <a:pt x="563" y="875"/>
                  </a:lnTo>
                  <a:lnTo>
                    <a:pt x="565" y="875"/>
                  </a:lnTo>
                  <a:lnTo>
                    <a:pt x="565" y="875"/>
                  </a:lnTo>
                  <a:lnTo>
                    <a:pt x="568" y="873"/>
                  </a:lnTo>
                  <a:lnTo>
                    <a:pt x="568" y="873"/>
                  </a:lnTo>
                  <a:lnTo>
                    <a:pt x="569" y="869"/>
                  </a:lnTo>
                  <a:lnTo>
                    <a:pt x="569" y="869"/>
                  </a:lnTo>
                  <a:lnTo>
                    <a:pt x="572" y="862"/>
                  </a:lnTo>
                  <a:lnTo>
                    <a:pt x="572" y="862"/>
                  </a:lnTo>
                  <a:lnTo>
                    <a:pt x="574" y="859"/>
                  </a:lnTo>
                  <a:lnTo>
                    <a:pt x="575" y="859"/>
                  </a:lnTo>
                  <a:lnTo>
                    <a:pt x="575" y="859"/>
                  </a:lnTo>
                  <a:lnTo>
                    <a:pt x="575" y="859"/>
                  </a:lnTo>
                  <a:lnTo>
                    <a:pt x="575" y="857"/>
                  </a:lnTo>
                  <a:lnTo>
                    <a:pt x="575" y="859"/>
                  </a:lnTo>
                  <a:lnTo>
                    <a:pt x="575" y="859"/>
                  </a:lnTo>
                  <a:lnTo>
                    <a:pt x="575" y="857"/>
                  </a:lnTo>
                  <a:lnTo>
                    <a:pt x="575" y="859"/>
                  </a:lnTo>
                  <a:lnTo>
                    <a:pt x="575" y="859"/>
                  </a:lnTo>
                  <a:lnTo>
                    <a:pt x="578" y="856"/>
                  </a:lnTo>
                  <a:lnTo>
                    <a:pt x="579" y="853"/>
                  </a:lnTo>
                  <a:lnTo>
                    <a:pt x="579" y="853"/>
                  </a:lnTo>
                  <a:lnTo>
                    <a:pt x="581" y="850"/>
                  </a:lnTo>
                  <a:lnTo>
                    <a:pt x="582" y="846"/>
                  </a:lnTo>
                  <a:lnTo>
                    <a:pt x="582" y="846"/>
                  </a:lnTo>
                  <a:lnTo>
                    <a:pt x="579" y="837"/>
                  </a:lnTo>
                  <a:lnTo>
                    <a:pt x="579" y="837"/>
                  </a:lnTo>
                  <a:lnTo>
                    <a:pt x="576" y="827"/>
                  </a:lnTo>
                  <a:lnTo>
                    <a:pt x="576" y="827"/>
                  </a:lnTo>
                  <a:lnTo>
                    <a:pt x="576" y="827"/>
                  </a:lnTo>
                  <a:lnTo>
                    <a:pt x="574" y="823"/>
                  </a:lnTo>
                  <a:lnTo>
                    <a:pt x="571" y="820"/>
                  </a:lnTo>
                  <a:lnTo>
                    <a:pt x="571" y="820"/>
                  </a:lnTo>
                  <a:lnTo>
                    <a:pt x="565" y="818"/>
                  </a:lnTo>
                  <a:lnTo>
                    <a:pt x="560" y="817"/>
                  </a:lnTo>
                  <a:lnTo>
                    <a:pt x="560" y="817"/>
                  </a:lnTo>
                  <a:lnTo>
                    <a:pt x="558" y="817"/>
                  </a:lnTo>
                  <a:lnTo>
                    <a:pt x="558" y="817"/>
                  </a:lnTo>
                  <a:lnTo>
                    <a:pt x="555" y="814"/>
                  </a:lnTo>
                  <a:lnTo>
                    <a:pt x="555" y="814"/>
                  </a:lnTo>
                  <a:lnTo>
                    <a:pt x="552" y="807"/>
                  </a:lnTo>
                  <a:lnTo>
                    <a:pt x="552" y="807"/>
                  </a:lnTo>
                  <a:lnTo>
                    <a:pt x="550" y="802"/>
                  </a:lnTo>
                  <a:lnTo>
                    <a:pt x="550" y="802"/>
                  </a:lnTo>
                  <a:lnTo>
                    <a:pt x="552" y="795"/>
                  </a:lnTo>
                  <a:lnTo>
                    <a:pt x="552" y="795"/>
                  </a:lnTo>
                  <a:lnTo>
                    <a:pt x="555" y="789"/>
                  </a:lnTo>
                  <a:lnTo>
                    <a:pt x="555" y="789"/>
                  </a:lnTo>
                  <a:lnTo>
                    <a:pt x="556" y="786"/>
                  </a:lnTo>
                  <a:lnTo>
                    <a:pt x="556" y="784"/>
                  </a:lnTo>
                  <a:lnTo>
                    <a:pt x="556" y="784"/>
                  </a:lnTo>
                  <a:lnTo>
                    <a:pt x="558" y="772"/>
                  </a:lnTo>
                  <a:lnTo>
                    <a:pt x="558" y="772"/>
                  </a:lnTo>
                  <a:lnTo>
                    <a:pt x="558" y="768"/>
                  </a:lnTo>
                  <a:lnTo>
                    <a:pt x="558" y="768"/>
                  </a:lnTo>
                  <a:lnTo>
                    <a:pt x="558" y="765"/>
                  </a:lnTo>
                  <a:lnTo>
                    <a:pt x="558" y="765"/>
                  </a:lnTo>
                  <a:lnTo>
                    <a:pt x="558" y="765"/>
                  </a:lnTo>
                  <a:lnTo>
                    <a:pt x="558" y="763"/>
                  </a:lnTo>
                  <a:lnTo>
                    <a:pt x="558" y="763"/>
                  </a:lnTo>
                  <a:lnTo>
                    <a:pt x="556" y="759"/>
                  </a:lnTo>
                  <a:lnTo>
                    <a:pt x="556" y="759"/>
                  </a:lnTo>
                  <a:lnTo>
                    <a:pt x="553" y="755"/>
                  </a:lnTo>
                  <a:lnTo>
                    <a:pt x="553" y="755"/>
                  </a:lnTo>
                  <a:lnTo>
                    <a:pt x="552" y="752"/>
                  </a:lnTo>
                  <a:lnTo>
                    <a:pt x="552" y="752"/>
                  </a:lnTo>
                  <a:lnTo>
                    <a:pt x="552" y="752"/>
                  </a:lnTo>
                  <a:lnTo>
                    <a:pt x="550" y="752"/>
                  </a:lnTo>
                  <a:lnTo>
                    <a:pt x="552" y="753"/>
                  </a:lnTo>
                  <a:lnTo>
                    <a:pt x="552" y="752"/>
                  </a:lnTo>
                  <a:lnTo>
                    <a:pt x="550" y="752"/>
                  </a:lnTo>
                  <a:lnTo>
                    <a:pt x="552" y="753"/>
                  </a:lnTo>
                  <a:lnTo>
                    <a:pt x="550" y="752"/>
                  </a:lnTo>
                  <a:lnTo>
                    <a:pt x="550" y="753"/>
                  </a:lnTo>
                  <a:lnTo>
                    <a:pt x="552" y="753"/>
                  </a:lnTo>
                  <a:lnTo>
                    <a:pt x="550" y="752"/>
                  </a:lnTo>
                  <a:lnTo>
                    <a:pt x="550" y="753"/>
                  </a:lnTo>
                  <a:lnTo>
                    <a:pt x="550" y="752"/>
                  </a:lnTo>
                  <a:lnTo>
                    <a:pt x="550" y="753"/>
                  </a:lnTo>
                  <a:lnTo>
                    <a:pt x="550" y="753"/>
                  </a:lnTo>
                  <a:lnTo>
                    <a:pt x="550" y="752"/>
                  </a:lnTo>
                  <a:lnTo>
                    <a:pt x="550" y="753"/>
                  </a:lnTo>
                  <a:lnTo>
                    <a:pt x="550" y="753"/>
                  </a:lnTo>
                  <a:lnTo>
                    <a:pt x="550" y="753"/>
                  </a:lnTo>
                  <a:lnTo>
                    <a:pt x="550" y="753"/>
                  </a:lnTo>
                  <a:lnTo>
                    <a:pt x="555" y="756"/>
                  </a:lnTo>
                  <a:lnTo>
                    <a:pt x="555" y="756"/>
                  </a:lnTo>
                  <a:lnTo>
                    <a:pt x="558" y="757"/>
                  </a:lnTo>
                  <a:lnTo>
                    <a:pt x="559" y="757"/>
                  </a:lnTo>
                  <a:lnTo>
                    <a:pt x="559" y="757"/>
                  </a:lnTo>
                  <a:lnTo>
                    <a:pt x="562" y="756"/>
                  </a:lnTo>
                  <a:lnTo>
                    <a:pt x="562" y="756"/>
                  </a:lnTo>
                  <a:lnTo>
                    <a:pt x="566" y="752"/>
                  </a:lnTo>
                  <a:lnTo>
                    <a:pt x="566" y="752"/>
                  </a:lnTo>
                  <a:lnTo>
                    <a:pt x="572" y="743"/>
                  </a:lnTo>
                  <a:lnTo>
                    <a:pt x="576" y="737"/>
                  </a:lnTo>
                  <a:lnTo>
                    <a:pt x="576" y="737"/>
                  </a:lnTo>
                  <a:lnTo>
                    <a:pt x="581" y="727"/>
                  </a:lnTo>
                  <a:lnTo>
                    <a:pt x="581" y="727"/>
                  </a:lnTo>
                  <a:lnTo>
                    <a:pt x="584" y="720"/>
                  </a:lnTo>
                  <a:lnTo>
                    <a:pt x="582" y="720"/>
                  </a:lnTo>
                  <a:lnTo>
                    <a:pt x="584" y="720"/>
                  </a:lnTo>
                  <a:lnTo>
                    <a:pt x="584" y="720"/>
                  </a:lnTo>
                  <a:lnTo>
                    <a:pt x="582" y="720"/>
                  </a:lnTo>
                  <a:lnTo>
                    <a:pt x="584" y="720"/>
                  </a:lnTo>
                  <a:lnTo>
                    <a:pt x="584" y="720"/>
                  </a:lnTo>
                  <a:lnTo>
                    <a:pt x="585" y="718"/>
                  </a:lnTo>
                  <a:lnTo>
                    <a:pt x="585" y="718"/>
                  </a:lnTo>
                  <a:lnTo>
                    <a:pt x="592" y="715"/>
                  </a:lnTo>
                  <a:lnTo>
                    <a:pt x="592" y="715"/>
                  </a:lnTo>
                  <a:lnTo>
                    <a:pt x="598" y="713"/>
                  </a:lnTo>
                  <a:lnTo>
                    <a:pt x="598" y="713"/>
                  </a:lnTo>
                  <a:lnTo>
                    <a:pt x="601" y="710"/>
                  </a:lnTo>
                  <a:lnTo>
                    <a:pt x="601" y="710"/>
                  </a:lnTo>
                  <a:lnTo>
                    <a:pt x="607" y="707"/>
                  </a:lnTo>
                  <a:lnTo>
                    <a:pt x="607" y="707"/>
                  </a:lnTo>
                  <a:lnTo>
                    <a:pt x="610" y="702"/>
                  </a:lnTo>
                  <a:lnTo>
                    <a:pt x="611" y="698"/>
                  </a:lnTo>
                  <a:lnTo>
                    <a:pt x="611" y="698"/>
                  </a:lnTo>
                  <a:lnTo>
                    <a:pt x="613" y="695"/>
                  </a:lnTo>
                  <a:lnTo>
                    <a:pt x="616" y="689"/>
                  </a:lnTo>
                  <a:lnTo>
                    <a:pt x="616" y="689"/>
                  </a:lnTo>
                  <a:lnTo>
                    <a:pt x="623" y="682"/>
                  </a:lnTo>
                  <a:lnTo>
                    <a:pt x="623" y="682"/>
                  </a:lnTo>
                  <a:lnTo>
                    <a:pt x="624" y="678"/>
                  </a:lnTo>
                  <a:lnTo>
                    <a:pt x="624" y="678"/>
                  </a:lnTo>
                  <a:lnTo>
                    <a:pt x="623" y="675"/>
                  </a:lnTo>
                  <a:lnTo>
                    <a:pt x="623" y="675"/>
                  </a:lnTo>
                  <a:lnTo>
                    <a:pt x="620" y="671"/>
                  </a:lnTo>
                  <a:lnTo>
                    <a:pt x="620" y="671"/>
                  </a:lnTo>
                  <a:lnTo>
                    <a:pt x="617" y="668"/>
                  </a:lnTo>
                  <a:lnTo>
                    <a:pt x="617" y="668"/>
                  </a:lnTo>
                  <a:lnTo>
                    <a:pt x="617" y="668"/>
                  </a:lnTo>
                  <a:lnTo>
                    <a:pt x="617" y="665"/>
                  </a:lnTo>
                  <a:lnTo>
                    <a:pt x="617" y="665"/>
                  </a:lnTo>
                  <a:lnTo>
                    <a:pt x="617" y="665"/>
                  </a:lnTo>
                  <a:lnTo>
                    <a:pt x="617" y="665"/>
                  </a:lnTo>
                  <a:lnTo>
                    <a:pt x="617" y="665"/>
                  </a:lnTo>
                  <a:lnTo>
                    <a:pt x="620" y="662"/>
                  </a:lnTo>
                  <a:lnTo>
                    <a:pt x="620" y="662"/>
                  </a:lnTo>
                  <a:lnTo>
                    <a:pt x="620" y="662"/>
                  </a:lnTo>
                  <a:lnTo>
                    <a:pt x="623" y="658"/>
                  </a:lnTo>
                  <a:lnTo>
                    <a:pt x="624" y="655"/>
                  </a:lnTo>
                  <a:lnTo>
                    <a:pt x="624" y="655"/>
                  </a:lnTo>
                  <a:lnTo>
                    <a:pt x="624" y="655"/>
                  </a:lnTo>
                  <a:lnTo>
                    <a:pt x="626" y="652"/>
                  </a:lnTo>
                  <a:lnTo>
                    <a:pt x="626" y="652"/>
                  </a:lnTo>
                  <a:lnTo>
                    <a:pt x="631" y="647"/>
                  </a:lnTo>
                  <a:lnTo>
                    <a:pt x="631" y="647"/>
                  </a:lnTo>
                  <a:lnTo>
                    <a:pt x="634" y="645"/>
                  </a:lnTo>
                  <a:lnTo>
                    <a:pt x="634" y="645"/>
                  </a:lnTo>
                  <a:lnTo>
                    <a:pt x="636" y="642"/>
                  </a:lnTo>
                  <a:lnTo>
                    <a:pt x="636" y="642"/>
                  </a:lnTo>
                  <a:lnTo>
                    <a:pt x="634" y="639"/>
                  </a:lnTo>
                  <a:lnTo>
                    <a:pt x="634" y="639"/>
                  </a:lnTo>
                  <a:lnTo>
                    <a:pt x="634" y="637"/>
                  </a:lnTo>
                  <a:lnTo>
                    <a:pt x="634" y="637"/>
                  </a:lnTo>
                  <a:lnTo>
                    <a:pt x="634" y="637"/>
                  </a:lnTo>
                  <a:lnTo>
                    <a:pt x="633" y="637"/>
                  </a:lnTo>
                  <a:lnTo>
                    <a:pt x="634" y="637"/>
                  </a:lnTo>
                  <a:lnTo>
                    <a:pt x="634" y="637"/>
                  </a:lnTo>
                  <a:lnTo>
                    <a:pt x="633" y="637"/>
                  </a:lnTo>
                  <a:lnTo>
                    <a:pt x="634" y="637"/>
                  </a:lnTo>
                  <a:lnTo>
                    <a:pt x="634" y="637"/>
                  </a:lnTo>
                  <a:lnTo>
                    <a:pt x="634" y="637"/>
                  </a:lnTo>
                  <a:lnTo>
                    <a:pt x="634" y="637"/>
                  </a:lnTo>
                  <a:lnTo>
                    <a:pt x="634" y="637"/>
                  </a:lnTo>
                  <a:lnTo>
                    <a:pt x="634" y="637"/>
                  </a:lnTo>
                  <a:lnTo>
                    <a:pt x="634" y="637"/>
                  </a:lnTo>
                  <a:lnTo>
                    <a:pt x="636" y="637"/>
                  </a:lnTo>
                  <a:lnTo>
                    <a:pt x="636" y="637"/>
                  </a:lnTo>
                  <a:lnTo>
                    <a:pt x="646" y="639"/>
                  </a:lnTo>
                  <a:lnTo>
                    <a:pt x="646" y="639"/>
                  </a:lnTo>
                  <a:lnTo>
                    <a:pt x="650" y="639"/>
                  </a:lnTo>
                  <a:lnTo>
                    <a:pt x="650" y="639"/>
                  </a:lnTo>
                  <a:lnTo>
                    <a:pt x="658" y="639"/>
                  </a:lnTo>
                  <a:lnTo>
                    <a:pt x="663" y="637"/>
                  </a:lnTo>
                  <a:lnTo>
                    <a:pt x="665" y="637"/>
                  </a:lnTo>
                  <a:lnTo>
                    <a:pt x="665" y="637"/>
                  </a:lnTo>
                  <a:lnTo>
                    <a:pt x="666" y="637"/>
                  </a:lnTo>
                  <a:lnTo>
                    <a:pt x="669" y="639"/>
                  </a:lnTo>
                  <a:lnTo>
                    <a:pt x="669" y="639"/>
                  </a:lnTo>
                  <a:lnTo>
                    <a:pt x="673" y="646"/>
                  </a:lnTo>
                  <a:lnTo>
                    <a:pt x="673" y="646"/>
                  </a:lnTo>
                  <a:lnTo>
                    <a:pt x="675" y="653"/>
                  </a:lnTo>
                  <a:lnTo>
                    <a:pt x="675" y="653"/>
                  </a:lnTo>
                  <a:lnTo>
                    <a:pt x="673" y="659"/>
                  </a:lnTo>
                  <a:lnTo>
                    <a:pt x="673" y="659"/>
                  </a:lnTo>
                  <a:lnTo>
                    <a:pt x="672" y="662"/>
                  </a:lnTo>
                  <a:lnTo>
                    <a:pt x="672" y="662"/>
                  </a:lnTo>
                  <a:lnTo>
                    <a:pt x="672" y="662"/>
                  </a:lnTo>
                  <a:lnTo>
                    <a:pt x="672" y="662"/>
                  </a:lnTo>
                  <a:lnTo>
                    <a:pt x="669" y="663"/>
                  </a:lnTo>
                  <a:lnTo>
                    <a:pt x="669" y="663"/>
                  </a:lnTo>
                  <a:lnTo>
                    <a:pt x="665" y="669"/>
                  </a:lnTo>
                  <a:lnTo>
                    <a:pt x="659" y="675"/>
                  </a:lnTo>
                  <a:lnTo>
                    <a:pt x="659" y="675"/>
                  </a:lnTo>
                  <a:lnTo>
                    <a:pt x="653" y="688"/>
                  </a:lnTo>
                  <a:lnTo>
                    <a:pt x="653" y="688"/>
                  </a:lnTo>
                  <a:lnTo>
                    <a:pt x="653" y="688"/>
                  </a:lnTo>
                  <a:lnTo>
                    <a:pt x="650" y="692"/>
                  </a:lnTo>
                  <a:lnTo>
                    <a:pt x="650" y="692"/>
                  </a:lnTo>
                  <a:lnTo>
                    <a:pt x="640" y="704"/>
                  </a:lnTo>
                  <a:lnTo>
                    <a:pt x="640" y="704"/>
                  </a:lnTo>
                  <a:lnTo>
                    <a:pt x="636" y="710"/>
                  </a:lnTo>
                  <a:lnTo>
                    <a:pt x="633" y="715"/>
                  </a:lnTo>
                  <a:lnTo>
                    <a:pt x="633" y="715"/>
                  </a:lnTo>
                  <a:lnTo>
                    <a:pt x="630" y="721"/>
                  </a:lnTo>
                  <a:lnTo>
                    <a:pt x="630" y="721"/>
                  </a:lnTo>
                  <a:lnTo>
                    <a:pt x="620" y="733"/>
                  </a:lnTo>
                  <a:lnTo>
                    <a:pt x="620" y="733"/>
                  </a:lnTo>
                  <a:lnTo>
                    <a:pt x="613" y="742"/>
                  </a:lnTo>
                  <a:lnTo>
                    <a:pt x="613" y="742"/>
                  </a:lnTo>
                  <a:lnTo>
                    <a:pt x="611" y="744"/>
                  </a:lnTo>
                  <a:lnTo>
                    <a:pt x="611" y="744"/>
                  </a:lnTo>
                  <a:lnTo>
                    <a:pt x="610" y="747"/>
                  </a:lnTo>
                  <a:lnTo>
                    <a:pt x="610" y="747"/>
                  </a:lnTo>
                  <a:lnTo>
                    <a:pt x="611" y="752"/>
                  </a:lnTo>
                  <a:lnTo>
                    <a:pt x="611" y="752"/>
                  </a:lnTo>
                  <a:lnTo>
                    <a:pt x="613" y="757"/>
                  </a:lnTo>
                  <a:lnTo>
                    <a:pt x="613" y="757"/>
                  </a:lnTo>
                  <a:lnTo>
                    <a:pt x="617" y="773"/>
                  </a:lnTo>
                  <a:lnTo>
                    <a:pt x="617" y="773"/>
                  </a:lnTo>
                  <a:lnTo>
                    <a:pt x="618" y="789"/>
                  </a:lnTo>
                  <a:lnTo>
                    <a:pt x="618" y="789"/>
                  </a:lnTo>
                  <a:lnTo>
                    <a:pt x="618" y="791"/>
                  </a:lnTo>
                  <a:lnTo>
                    <a:pt x="618" y="791"/>
                  </a:lnTo>
                  <a:lnTo>
                    <a:pt x="616" y="800"/>
                  </a:lnTo>
                  <a:lnTo>
                    <a:pt x="616" y="810"/>
                  </a:lnTo>
                  <a:lnTo>
                    <a:pt x="616" y="810"/>
                  </a:lnTo>
                  <a:lnTo>
                    <a:pt x="616" y="814"/>
                  </a:lnTo>
                  <a:lnTo>
                    <a:pt x="617" y="817"/>
                  </a:lnTo>
                  <a:lnTo>
                    <a:pt x="617" y="817"/>
                  </a:lnTo>
                  <a:lnTo>
                    <a:pt x="620" y="821"/>
                  </a:lnTo>
                  <a:lnTo>
                    <a:pt x="624" y="821"/>
                  </a:lnTo>
                  <a:lnTo>
                    <a:pt x="624" y="821"/>
                  </a:lnTo>
                  <a:lnTo>
                    <a:pt x="627" y="823"/>
                  </a:lnTo>
                  <a:lnTo>
                    <a:pt x="630" y="824"/>
                  </a:lnTo>
                  <a:lnTo>
                    <a:pt x="630" y="824"/>
                  </a:lnTo>
                  <a:lnTo>
                    <a:pt x="631" y="827"/>
                  </a:lnTo>
                  <a:lnTo>
                    <a:pt x="633" y="828"/>
                  </a:lnTo>
                  <a:lnTo>
                    <a:pt x="633" y="828"/>
                  </a:lnTo>
                  <a:lnTo>
                    <a:pt x="633" y="828"/>
                  </a:lnTo>
                  <a:lnTo>
                    <a:pt x="633" y="831"/>
                  </a:lnTo>
                  <a:lnTo>
                    <a:pt x="634" y="834"/>
                  </a:lnTo>
                  <a:lnTo>
                    <a:pt x="634" y="834"/>
                  </a:lnTo>
                  <a:lnTo>
                    <a:pt x="637" y="837"/>
                  </a:lnTo>
                  <a:lnTo>
                    <a:pt x="642" y="840"/>
                  </a:lnTo>
                  <a:lnTo>
                    <a:pt x="642" y="840"/>
                  </a:lnTo>
                  <a:lnTo>
                    <a:pt x="646" y="842"/>
                  </a:lnTo>
                  <a:lnTo>
                    <a:pt x="653" y="842"/>
                  </a:lnTo>
                  <a:lnTo>
                    <a:pt x="653" y="842"/>
                  </a:lnTo>
                  <a:lnTo>
                    <a:pt x="658" y="842"/>
                  </a:lnTo>
                  <a:lnTo>
                    <a:pt x="658" y="842"/>
                  </a:lnTo>
                  <a:lnTo>
                    <a:pt x="662" y="840"/>
                  </a:lnTo>
                  <a:lnTo>
                    <a:pt x="662" y="840"/>
                  </a:lnTo>
                  <a:lnTo>
                    <a:pt x="668" y="836"/>
                  </a:lnTo>
                  <a:lnTo>
                    <a:pt x="668" y="836"/>
                  </a:lnTo>
                  <a:lnTo>
                    <a:pt x="671" y="834"/>
                  </a:lnTo>
                  <a:lnTo>
                    <a:pt x="676" y="834"/>
                  </a:lnTo>
                  <a:lnTo>
                    <a:pt x="676" y="834"/>
                  </a:lnTo>
                  <a:lnTo>
                    <a:pt x="691" y="831"/>
                  </a:lnTo>
                  <a:lnTo>
                    <a:pt x="691" y="831"/>
                  </a:lnTo>
                  <a:lnTo>
                    <a:pt x="697" y="830"/>
                  </a:lnTo>
                  <a:lnTo>
                    <a:pt x="702" y="827"/>
                  </a:lnTo>
                  <a:lnTo>
                    <a:pt x="702" y="827"/>
                  </a:lnTo>
                  <a:lnTo>
                    <a:pt x="705" y="826"/>
                  </a:lnTo>
                  <a:lnTo>
                    <a:pt x="708" y="826"/>
                  </a:lnTo>
                  <a:lnTo>
                    <a:pt x="708" y="826"/>
                  </a:lnTo>
                  <a:lnTo>
                    <a:pt x="711" y="826"/>
                  </a:lnTo>
                  <a:lnTo>
                    <a:pt x="711" y="826"/>
                  </a:lnTo>
                  <a:lnTo>
                    <a:pt x="715" y="826"/>
                  </a:lnTo>
                  <a:lnTo>
                    <a:pt x="715" y="826"/>
                  </a:lnTo>
                  <a:lnTo>
                    <a:pt x="721" y="826"/>
                  </a:lnTo>
                  <a:lnTo>
                    <a:pt x="727" y="824"/>
                  </a:lnTo>
                  <a:lnTo>
                    <a:pt x="727" y="824"/>
                  </a:lnTo>
                  <a:lnTo>
                    <a:pt x="730" y="823"/>
                  </a:lnTo>
                  <a:lnTo>
                    <a:pt x="730" y="823"/>
                  </a:lnTo>
                  <a:lnTo>
                    <a:pt x="731" y="823"/>
                  </a:lnTo>
                  <a:lnTo>
                    <a:pt x="731" y="821"/>
                  </a:lnTo>
                  <a:lnTo>
                    <a:pt x="730" y="821"/>
                  </a:lnTo>
                  <a:lnTo>
                    <a:pt x="731" y="823"/>
                  </a:lnTo>
                  <a:lnTo>
                    <a:pt x="731" y="821"/>
                  </a:lnTo>
                  <a:lnTo>
                    <a:pt x="730" y="821"/>
                  </a:lnTo>
                  <a:lnTo>
                    <a:pt x="731" y="821"/>
                  </a:lnTo>
                  <a:lnTo>
                    <a:pt x="730" y="821"/>
                  </a:lnTo>
                  <a:lnTo>
                    <a:pt x="730" y="821"/>
                  </a:lnTo>
                  <a:lnTo>
                    <a:pt x="731" y="821"/>
                  </a:lnTo>
                  <a:lnTo>
                    <a:pt x="730" y="821"/>
                  </a:lnTo>
                  <a:lnTo>
                    <a:pt x="730" y="821"/>
                  </a:lnTo>
                  <a:lnTo>
                    <a:pt x="730" y="821"/>
                  </a:lnTo>
                  <a:lnTo>
                    <a:pt x="730" y="821"/>
                  </a:lnTo>
                  <a:lnTo>
                    <a:pt x="730" y="821"/>
                  </a:lnTo>
                  <a:lnTo>
                    <a:pt x="730" y="821"/>
                  </a:lnTo>
                  <a:lnTo>
                    <a:pt x="730" y="821"/>
                  </a:lnTo>
                  <a:lnTo>
                    <a:pt x="730" y="821"/>
                  </a:lnTo>
                  <a:lnTo>
                    <a:pt x="728" y="824"/>
                  </a:lnTo>
                  <a:lnTo>
                    <a:pt x="728" y="824"/>
                  </a:lnTo>
                  <a:lnTo>
                    <a:pt x="728" y="824"/>
                  </a:lnTo>
                  <a:lnTo>
                    <a:pt x="728" y="827"/>
                  </a:lnTo>
                  <a:lnTo>
                    <a:pt x="728" y="827"/>
                  </a:lnTo>
                  <a:lnTo>
                    <a:pt x="730" y="830"/>
                  </a:lnTo>
                  <a:lnTo>
                    <a:pt x="730" y="830"/>
                  </a:lnTo>
                  <a:lnTo>
                    <a:pt x="731" y="831"/>
                  </a:lnTo>
                  <a:lnTo>
                    <a:pt x="733" y="833"/>
                  </a:lnTo>
                  <a:lnTo>
                    <a:pt x="733" y="833"/>
                  </a:lnTo>
                  <a:lnTo>
                    <a:pt x="739" y="833"/>
                  </a:lnTo>
                  <a:lnTo>
                    <a:pt x="739" y="833"/>
                  </a:lnTo>
                  <a:lnTo>
                    <a:pt x="742" y="834"/>
                  </a:lnTo>
                  <a:lnTo>
                    <a:pt x="742" y="834"/>
                  </a:lnTo>
                  <a:lnTo>
                    <a:pt x="743" y="836"/>
                  </a:lnTo>
                  <a:lnTo>
                    <a:pt x="744" y="837"/>
                  </a:lnTo>
                  <a:lnTo>
                    <a:pt x="744" y="837"/>
                  </a:lnTo>
                  <a:lnTo>
                    <a:pt x="744" y="839"/>
                  </a:lnTo>
                  <a:lnTo>
                    <a:pt x="744" y="839"/>
                  </a:lnTo>
                  <a:lnTo>
                    <a:pt x="742" y="840"/>
                  </a:lnTo>
                  <a:lnTo>
                    <a:pt x="742" y="840"/>
                  </a:lnTo>
                  <a:lnTo>
                    <a:pt x="731" y="842"/>
                  </a:lnTo>
                  <a:lnTo>
                    <a:pt x="731" y="842"/>
                  </a:lnTo>
                  <a:lnTo>
                    <a:pt x="727" y="843"/>
                  </a:lnTo>
                  <a:lnTo>
                    <a:pt x="727" y="843"/>
                  </a:lnTo>
                  <a:lnTo>
                    <a:pt x="724" y="843"/>
                  </a:lnTo>
                  <a:lnTo>
                    <a:pt x="724" y="843"/>
                  </a:lnTo>
                  <a:lnTo>
                    <a:pt x="723" y="846"/>
                  </a:lnTo>
                  <a:lnTo>
                    <a:pt x="723" y="846"/>
                  </a:lnTo>
                  <a:lnTo>
                    <a:pt x="724" y="849"/>
                  </a:lnTo>
                  <a:lnTo>
                    <a:pt x="724" y="849"/>
                  </a:lnTo>
                  <a:lnTo>
                    <a:pt x="724" y="850"/>
                  </a:lnTo>
                  <a:lnTo>
                    <a:pt x="724" y="850"/>
                  </a:lnTo>
                  <a:lnTo>
                    <a:pt x="724" y="852"/>
                  </a:lnTo>
                  <a:lnTo>
                    <a:pt x="724" y="852"/>
                  </a:lnTo>
                  <a:lnTo>
                    <a:pt x="717" y="852"/>
                  </a:lnTo>
                  <a:lnTo>
                    <a:pt x="717" y="852"/>
                  </a:lnTo>
                  <a:lnTo>
                    <a:pt x="684" y="852"/>
                  </a:lnTo>
                  <a:lnTo>
                    <a:pt x="684" y="852"/>
                  </a:lnTo>
                  <a:lnTo>
                    <a:pt x="679" y="852"/>
                  </a:lnTo>
                  <a:lnTo>
                    <a:pt x="679" y="852"/>
                  </a:lnTo>
                  <a:lnTo>
                    <a:pt x="671" y="853"/>
                  </a:lnTo>
                  <a:lnTo>
                    <a:pt x="662" y="856"/>
                  </a:lnTo>
                  <a:lnTo>
                    <a:pt x="662" y="856"/>
                  </a:lnTo>
                  <a:lnTo>
                    <a:pt x="655" y="862"/>
                  </a:lnTo>
                  <a:lnTo>
                    <a:pt x="655" y="862"/>
                  </a:lnTo>
                  <a:lnTo>
                    <a:pt x="652" y="865"/>
                  </a:lnTo>
                  <a:lnTo>
                    <a:pt x="652" y="869"/>
                  </a:lnTo>
                  <a:lnTo>
                    <a:pt x="652" y="869"/>
                  </a:lnTo>
                  <a:lnTo>
                    <a:pt x="652" y="870"/>
                  </a:lnTo>
                  <a:lnTo>
                    <a:pt x="652" y="870"/>
                  </a:lnTo>
                  <a:lnTo>
                    <a:pt x="652" y="876"/>
                  </a:lnTo>
                  <a:lnTo>
                    <a:pt x="653" y="882"/>
                  </a:lnTo>
                  <a:lnTo>
                    <a:pt x="653" y="882"/>
                  </a:lnTo>
                  <a:lnTo>
                    <a:pt x="656" y="888"/>
                  </a:lnTo>
                  <a:lnTo>
                    <a:pt x="660" y="891"/>
                  </a:lnTo>
                  <a:lnTo>
                    <a:pt x="660" y="891"/>
                  </a:lnTo>
                  <a:lnTo>
                    <a:pt x="662" y="894"/>
                  </a:lnTo>
                  <a:lnTo>
                    <a:pt x="662" y="894"/>
                  </a:lnTo>
                  <a:lnTo>
                    <a:pt x="665" y="902"/>
                  </a:lnTo>
                  <a:lnTo>
                    <a:pt x="666" y="911"/>
                  </a:lnTo>
                  <a:lnTo>
                    <a:pt x="666" y="911"/>
                  </a:lnTo>
                  <a:lnTo>
                    <a:pt x="666" y="914"/>
                  </a:lnTo>
                  <a:lnTo>
                    <a:pt x="666" y="914"/>
                  </a:lnTo>
                  <a:lnTo>
                    <a:pt x="665" y="920"/>
                  </a:lnTo>
                  <a:lnTo>
                    <a:pt x="662" y="924"/>
                  </a:lnTo>
                  <a:lnTo>
                    <a:pt x="662" y="924"/>
                  </a:lnTo>
                  <a:lnTo>
                    <a:pt x="659" y="928"/>
                  </a:lnTo>
                  <a:lnTo>
                    <a:pt x="659" y="928"/>
                  </a:lnTo>
                  <a:lnTo>
                    <a:pt x="656" y="930"/>
                  </a:lnTo>
                  <a:lnTo>
                    <a:pt x="656" y="930"/>
                  </a:lnTo>
                  <a:lnTo>
                    <a:pt x="656" y="930"/>
                  </a:lnTo>
                  <a:lnTo>
                    <a:pt x="656" y="930"/>
                  </a:lnTo>
                  <a:lnTo>
                    <a:pt x="653" y="926"/>
                  </a:lnTo>
                  <a:lnTo>
                    <a:pt x="653" y="926"/>
                  </a:lnTo>
                  <a:lnTo>
                    <a:pt x="643" y="915"/>
                  </a:lnTo>
                  <a:lnTo>
                    <a:pt x="643" y="915"/>
                  </a:lnTo>
                  <a:lnTo>
                    <a:pt x="640" y="910"/>
                  </a:lnTo>
                  <a:lnTo>
                    <a:pt x="640" y="910"/>
                  </a:lnTo>
                  <a:lnTo>
                    <a:pt x="637" y="908"/>
                  </a:lnTo>
                  <a:lnTo>
                    <a:pt x="637" y="908"/>
                  </a:lnTo>
                  <a:lnTo>
                    <a:pt x="636" y="907"/>
                  </a:lnTo>
                  <a:lnTo>
                    <a:pt x="636" y="907"/>
                  </a:lnTo>
                  <a:lnTo>
                    <a:pt x="634" y="907"/>
                  </a:lnTo>
                  <a:lnTo>
                    <a:pt x="634" y="907"/>
                  </a:lnTo>
                  <a:lnTo>
                    <a:pt x="629" y="908"/>
                  </a:lnTo>
                  <a:lnTo>
                    <a:pt x="629" y="908"/>
                  </a:lnTo>
                  <a:lnTo>
                    <a:pt x="623" y="912"/>
                  </a:lnTo>
                  <a:lnTo>
                    <a:pt x="623" y="912"/>
                  </a:lnTo>
                  <a:lnTo>
                    <a:pt x="620" y="915"/>
                  </a:lnTo>
                  <a:lnTo>
                    <a:pt x="620" y="915"/>
                  </a:lnTo>
                  <a:lnTo>
                    <a:pt x="618" y="920"/>
                  </a:lnTo>
                  <a:lnTo>
                    <a:pt x="618" y="920"/>
                  </a:lnTo>
                  <a:lnTo>
                    <a:pt x="617" y="926"/>
                  </a:lnTo>
                  <a:lnTo>
                    <a:pt x="617" y="926"/>
                  </a:lnTo>
                  <a:lnTo>
                    <a:pt x="613" y="933"/>
                  </a:lnTo>
                  <a:lnTo>
                    <a:pt x="613" y="933"/>
                  </a:lnTo>
                  <a:lnTo>
                    <a:pt x="611" y="936"/>
                  </a:lnTo>
                  <a:lnTo>
                    <a:pt x="611" y="940"/>
                  </a:lnTo>
                  <a:lnTo>
                    <a:pt x="611" y="940"/>
                  </a:lnTo>
                  <a:lnTo>
                    <a:pt x="611" y="953"/>
                  </a:lnTo>
                  <a:lnTo>
                    <a:pt x="611" y="953"/>
                  </a:lnTo>
                  <a:lnTo>
                    <a:pt x="610" y="969"/>
                  </a:lnTo>
                  <a:lnTo>
                    <a:pt x="610" y="969"/>
                  </a:lnTo>
                  <a:lnTo>
                    <a:pt x="607" y="976"/>
                  </a:lnTo>
                  <a:lnTo>
                    <a:pt x="602" y="982"/>
                  </a:lnTo>
                  <a:lnTo>
                    <a:pt x="602" y="982"/>
                  </a:lnTo>
                  <a:lnTo>
                    <a:pt x="597" y="986"/>
                  </a:lnTo>
                  <a:lnTo>
                    <a:pt x="597" y="986"/>
                  </a:lnTo>
                  <a:lnTo>
                    <a:pt x="595" y="989"/>
                  </a:lnTo>
                  <a:lnTo>
                    <a:pt x="594" y="992"/>
                  </a:lnTo>
                  <a:lnTo>
                    <a:pt x="594" y="992"/>
                  </a:lnTo>
                  <a:lnTo>
                    <a:pt x="592" y="995"/>
                  </a:lnTo>
                  <a:lnTo>
                    <a:pt x="589" y="998"/>
                  </a:lnTo>
                  <a:lnTo>
                    <a:pt x="589" y="998"/>
                  </a:lnTo>
                  <a:lnTo>
                    <a:pt x="587" y="1001"/>
                  </a:lnTo>
                  <a:lnTo>
                    <a:pt x="584" y="1002"/>
                  </a:lnTo>
                  <a:lnTo>
                    <a:pt x="582" y="1002"/>
                  </a:lnTo>
                  <a:lnTo>
                    <a:pt x="582" y="1002"/>
                  </a:lnTo>
                  <a:lnTo>
                    <a:pt x="582" y="1002"/>
                  </a:lnTo>
                  <a:lnTo>
                    <a:pt x="581" y="1001"/>
                  </a:lnTo>
                  <a:lnTo>
                    <a:pt x="581" y="1001"/>
                  </a:lnTo>
                  <a:lnTo>
                    <a:pt x="578" y="995"/>
                  </a:lnTo>
                  <a:lnTo>
                    <a:pt x="578" y="995"/>
                  </a:lnTo>
                  <a:lnTo>
                    <a:pt x="575" y="994"/>
                  </a:lnTo>
                  <a:lnTo>
                    <a:pt x="571" y="992"/>
                  </a:lnTo>
                  <a:lnTo>
                    <a:pt x="571" y="992"/>
                  </a:lnTo>
                  <a:lnTo>
                    <a:pt x="560" y="994"/>
                  </a:lnTo>
                  <a:lnTo>
                    <a:pt x="547" y="996"/>
                  </a:lnTo>
                  <a:lnTo>
                    <a:pt x="547" y="996"/>
                  </a:lnTo>
                  <a:lnTo>
                    <a:pt x="536" y="999"/>
                  </a:lnTo>
                  <a:lnTo>
                    <a:pt x="536" y="999"/>
                  </a:lnTo>
                  <a:lnTo>
                    <a:pt x="527" y="1004"/>
                  </a:lnTo>
                  <a:lnTo>
                    <a:pt x="527" y="1004"/>
                  </a:lnTo>
                  <a:lnTo>
                    <a:pt x="521" y="1007"/>
                  </a:lnTo>
                  <a:lnTo>
                    <a:pt x="516" y="1010"/>
                  </a:lnTo>
                  <a:lnTo>
                    <a:pt x="504" y="1010"/>
                  </a:lnTo>
                  <a:lnTo>
                    <a:pt x="504" y="1010"/>
                  </a:lnTo>
                  <a:lnTo>
                    <a:pt x="503" y="1010"/>
                  </a:lnTo>
                  <a:lnTo>
                    <a:pt x="503" y="1010"/>
                  </a:lnTo>
                  <a:lnTo>
                    <a:pt x="501" y="1005"/>
                  </a:lnTo>
                  <a:lnTo>
                    <a:pt x="501" y="1005"/>
                  </a:lnTo>
                  <a:lnTo>
                    <a:pt x="501" y="1002"/>
                  </a:lnTo>
                  <a:lnTo>
                    <a:pt x="501" y="1002"/>
                  </a:lnTo>
                  <a:lnTo>
                    <a:pt x="500" y="999"/>
                  </a:lnTo>
                  <a:lnTo>
                    <a:pt x="500" y="999"/>
                  </a:lnTo>
                  <a:lnTo>
                    <a:pt x="497" y="999"/>
                  </a:lnTo>
                  <a:lnTo>
                    <a:pt x="497" y="999"/>
                  </a:lnTo>
                  <a:lnTo>
                    <a:pt x="495" y="999"/>
                  </a:lnTo>
                  <a:lnTo>
                    <a:pt x="495" y="999"/>
                  </a:lnTo>
                  <a:lnTo>
                    <a:pt x="494" y="1001"/>
                  </a:lnTo>
                  <a:lnTo>
                    <a:pt x="494" y="1001"/>
                  </a:lnTo>
                  <a:lnTo>
                    <a:pt x="490" y="1007"/>
                  </a:lnTo>
                  <a:lnTo>
                    <a:pt x="490" y="1007"/>
                  </a:lnTo>
                  <a:lnTo>
                    <a:pt x="490" y="1008"/>
                  </a:lnTo>
                  <a:lnTo>
                    <a:pt x="490" y="1007"/>
                  </a:lnTo>
                  <a:lnTo>
                    <a:pt x="490" y="1007"/>
                  </a:lnTo>
                  <a:lnTo>
                    <a:pt x="490" y="1008"/>
                  </a:lnTo>
                  <a:lnTo>
                    <a:pt x="490" y="1007"/>
                  </a:lnTo>
                  <a:lnTo>
                    <a:pt x="490" y="1008"/>
                  </a:lnTo>
                  <a:lnTo>
                    <a:pt x="490" y="1007"/>
                  </a:lnTo>
                  <a:lnTo>
                    <a:pt x="490" y="1007"/>
                  </a:lnTo>
                  <a:lnTo>
                    <a:pt x="490" y="1008"/>
                  </a:lnTo>
                  <a:lnTo>
                    <a:pt x="490" y="1007"/>
                  </a:lnTo>
                  <a:lnTo>
                    <a:pt x="490" y="1008"/>
                  </a:lnTo>
                  <a:lnTo>
                    <a:pt x="490" y="1007"/>
                  </a:lnTo>
                  <a:lnTo>
                    <a:pt x="490" y="1007"/>
                  </a:lnTo>
                  <a:lnTo>
                    <a:pt x="490" y="1008"/>
                  </a:lnTo>
                  <a:lnTo>
                    <a:pt x="490" y="1007"/>
                  </a:lnTo>
                  <a:lnTo>
                    <a:pt x="490" y="1008"/>
                  </a:lnTo>
                  <a:lnTo>
                    <a:pt x="490" y="1007"/>
                  </a:lnTo>
                  <a:lnTo>
                    <a:pt x="490" y="1007"/>
                  </a:lnTo>
                  <a:lnTo>
                    <a:pt x="490" y="1008"/>
                  </a:lnTo>
                  <a:lnTo>
                    <a:pt x="490" y="1007"/>
                  </a:lnTo>
                  <a:lnTo>
                    <a:pt x="490" y="1007"/>
                  </a:lnTo>
                  <a:lnTo>
                    <a:pt x="490" y="1007"/>
                  </a:lnTo>
                  <a:lnTo>
                    <a:pt x="487" y="1004"/>
                  </a:lnTo>
                  <a:lnTo>
                    <a:pt x="487" y="1004"/>
                  </a:lnTo>
                  <a:lnTo>
                    <a:pt x="484" y="1001"/>
                  </a:lnTo>
                  <a:lnTo>
                    <a:pt x="479" y="1001"/>
                  </a:lnTo>
                  <a:lnTo>
                    <a:pt x="479" y="1001"/>
                  </a:lnTo>
                  <a:lnTo>
                    <a:pt x="479" y="1001"/>
                  </a:lnTo>
                  <a:lnTo>
                    <a:pt x="472" y="1002"/>
                  </a:lnTo>
                  <a:lnTo>
                    <a:pt x="472" y="1002"/>
                  </a:lnTo>
                  <a:lnTo>
                    <a:pt x="465" y="1007"/>
                  </a:lnTo>
                  <a:lnTo>
                    <a:pt x="465" y="1007"/>
                  </a:lnTo>
                  <a:lnTo>
                    <a:pt x="459" y="1010"/>
                  </a:lnTo>
                  <a:lnTo>
                    <a:pt x="458" y="1010"/>
                  </a:lnTo>
                  <a:lnTo>
                    <a:pt x="458" y="1010"/>
                  </a:lnTo>
                  <a:lnTo>
                    <a:pt x="458" y="1011"/>
                  </a:lnTo>
                  <a:lnTo>
                    <a:pt x="459" y="1010"/>
                  </a:lnTo>
                  <a:lnTo>
                    <a:pt x="458" y="1010"/>
                  </a:lnTo>
                  <a:lnTo>
                    <a:pt x="458" y="1011"/>
                  </a:lnTo>
                  <a:lnTo>
                    <a:pt x="459" y="1010"/>
                  </a:lnTo>
                  <a:lnTo>
                    <a:pt x="458" y="1011"/>
                  </a:lnTo>
                  <a:lnTo>
                    <a:pt x="459" y="1011"/>
                  </a:lnTo>
                  <a:lnTo>
                    <a:pt x="459" y="1010"/>
                  </a:lnTo>
                  <a:lnTo>
                    <a:pt x="458" y="1011"/>
                  </a:lnTo>
                  <a:lnTo>
                    <a:pt x="459" y="1011"/>
                  </a:lnTo>
                  <a:lnTo>
                    <a:pt x="459" y="1011"/>
                  </a:lnTo>
                  <a:lnTo>
                    <a:pt x="459" y="1011"/>
                  </a:lnTo>
                  <a:lnTo>
                    <a:pt x="459" y="1011"/>
                  </a:lnTo>
                  <a:lnTo>
                    <a:pt x="459" y="1011"/>
                  </a:lnTo>
                  <a:lnTo>
                    <a:pt x="459" y="1011"/>
                  </a:lnTo>
                  <a:lnTo>
                    <a:pt x="459" y="1011"/>
                  </a:lnTo>
                  <a:lnTo>
                    <a:pt x="459" y="1011"/>
                  </a:lnTo>
                  <a:lnTo>
                    <a:pt x="459" y="1008"/>
                  </a:lnTo>
                  <a:lnTo>
                    <a:pt x="459" y="1008"/>
                  </a:lnTo>
                  <a:lnTo>
                    <a:pt x="459" y="1004"/>
                  </a:lnTo>
                  <a:lnTo>
                    <a:pt x="459" y="1004"/>
                  </a:lnTo>
                  <a:lnTo>
                    <a:pt x="459" y="1001"/>
                  </a:lnTo>
                  <a:lnTo>
                    <a:pt x="459" y="1001"/>
                  </a:lnTo>
                  <a:lnTo>
                    <a:pt x="458" y="999"/>
                  </a:lnTo>
                  <a:lnTo>
                    <a:pt x="458" y="999"/>
                  </a:lnTo>
                  <a:lnTo>
                    <a:pt x="456" y="999"/>
                  </a:lnTo>
                  <a:lnTo>
                    <a:pt x="456" y="999"/>
                  </a:lnTo>
                  <a:lnTo>
                    <a:pt x="452" y="1001"/>
                  </a:lnTo>
                  <a:lnTo>
                    <a:pt x="452" y="1001"/>
                  </a:lnTo>
                  <a:lnTo>
                    <a:pt x="445" y="1004"/>
                  </a:lnTo>
                  <a:lnTo>
                    <a:pt x="445" y="1004"/>
                  </a:lnTo>
                  <a:lnTo>
                    <a:pt x="442" y="1005"/>
                  </a:lnTo>
                  <a:lnTo>
                    <a:pt x="442" y="1005"/>
                  </a:lnTo>
                  <a:lnTo>
                    <a:pt x="442" y="1005"/>
                  </a:lnTo>
                  <a:lnTo>
                    <a:pt x="442" y="1005"/>
                  </a:lnTo>
                  <a:lnTo>
                    <a:pt x="442" y="1005"/>
                  </a:lnTo>
                  <a:lnTo>
                    <a:pt x="442" y="1005"/>
                  </a:lnTo>
                  <a:lnTo>
                    <a:pt x="442" y="1005"/>
                  </a:lnTo>
                  <a:lnTo>
                    <a:pt x="442" y="1005"/>
                  </a:lnTo>
                  <a:lnTo>
                    <a:pt x="442" y="1005"/>
                  </a:lnTo>
                  <a:lnTo>
                    <a:pt x="442" y="1007"/>
                  </a:lnTo>
                  <a:lnTo>
                    <a:pt x="443" y="1005"/>
                  </a:lnTo>
                  <a:lnTo>
                    <a:pt x="443" y="1005"/>
                  </a:lnTo>
                  <a:lnTo>
                    <a:pt x="442" y="1005"/>
                  </a:lnTo>
                  <a:lnTo>
                    <a:pt x="442" y="1007"/>
                  </a:lnTo>
                  <a:lnTo>
                    <a:pt x="443" y="1005"/>
                  </a:lnTo>
                  <a:lnTo>
                    <a:pt x="443" y="1005"/>
                  </a:lnTo>
                  <a:lnTo>
                    <a:pt x="440" y="1004"/>
                  </a:lnTo>
                  <a:lnTo>
                    <a:pt x="440" y="1004"/>
                  </a:lnTo>
                  <a:lnTo>
                    <a:pt x="440" y="1001"/>
                  </a:lnTo>
                  <a:lnTo>
                    <a:pt x="440" y="1001"/>
                  </a:lnTo>
                  <a:lnTo>
                    <a:pt x="440" y="1001"/>
                  </a:lnTo>
                  <a:lnTo>
                    <a:pt x="440" y="1001"/>
                  </a:lnTo>
                  <a:lnTo>
                    <a:pt x="440" y="1001"/>
                  </a:lnTo>
                  <a:lnTo>
                    <a:pt x="440" y="1001"/>
                  </a:lnTo>
                  <a:lnTo>
                    <a:pt x="440" y="1001"/>
                  </a:lnTo>
                  <a:lnTo>
                    <a:pt x="440" y="1001"/>
                  </a:lnTo>
                  <a:lnTo>
                    <a:pt x="440" y="1001"/>
                  </a:lnTo>
                  <a:lnTo>
                    <a:pt x="440" y="1001"/>
                  </a:lnTo>
                  <a:lnTo>
                    <a:pt x="440" y="1001"/>
                  </a:lnTo>
                  <a:lnTo>
                    <a:pt x="440" y="1001"/>
                  </a:lnTo>
                  <a:lnTo>
                    <a:pt x="440" y="1001"/>
                  </a:lnTo>
                  <a:lnTo>
                    <a:pt x="440" y="1001"/>
                  </a:lnTo>
                  <a:lnTo>
                    <a:pt x="442" y="999"/>
                  </a:lnTo>
                  <a:lnTo>
                    <a:pt x="442" y="999"/>
                  </a:lnTo>
                  <a:lnTo>
                    <a:pt x="442" y="998"/>
                  </a:lnTo>
                  <a:lnTo>
                    <a:pt x="442" y="998"/>
                  </a:lnTo>
                  <a:lnTo>
                    <a:pt x="442" y="995"/>
                  </a:lnTo>
                  <a:lnTo>
                    <a:pt x="442" y="995"/>
                  </a:lnTo>
                  <a:lnTo>
                    <a:pt x="436" y="988"/>
                  </a:lnTo>
                  <a:lnTo>
                    <a:pt x="436" y="988"/>
                  </a:lnTo>
                  <a:lnTo>
                    <a:pt x="434" y="985"/>
                  </a:lnTo>
                  <a:lnTo>
                    <a:pt x="434" y="985"/>
                  </a:lnTo>
                  <a:lnTo>
                    <a:pt x="433" y="983"/>
                  </a:lnTo>
                  <a:lnTo>
                    <a:pt x="433" y="983"/>
                  </a:lnTo>
                  <a:lnTo>
                    <a:pt x="433" y="983"/>
                  </a:lnTo>
                  <a:lnTo>
                    <a:pt x="433" y="983"/>
                  </a:lnTo>
                  <a:lnTo>
                    <a:pt x="433" y="983"/>
                  </a:lnTo>
                  <a:lnTo>
                    <a:pt x="433" y="983"/>
                  </a:lnTo>
                  <a:lnTo>
                    <a:pt x="433" y="983"/>
                  </a:lnTo>
                  <a:lnTo>
                    <a:pt x="433" y="983"/>
                  </a:lnTo>
                  <a:lnTo>
                    <a:pt x="432" y="983"/>
                  </a:lnTo>
                  <a:lnTo>
                    <a:pt x="433" y="983"/>
                  </a:lnTo>
                  <a:lnTo>
                    <a:pt x="433" y="983"/>
                  </a:lnTo>
                  <a:lnTo>
                    <a:pt x="432"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4" y="983"/>
                  </a:lnTo>
                  <a:lnTo>
                    <a:pt x="434" y="983"/>
                  </a:lnTo>
                  <a:lnTo>
                    <a:pt x="440" y="983"/>
                  </a:lnTo>
                  <a:lnTo>
                    <a:pt x="440" y="983"/>
                  </a:lnTo>
                  <a:lnTo>
                    <a:pt x="443" y="983"/>
                  </a:lnTo>
                  <a:lnTo>
                    <a:pt x="446" y="982"/>
                  </a:lnTo>
                  <a:lnTo>
                    <a:pt x="446" y="982"/>
                  </a:lnTo>
                  <a:lnTo>
                    <a:pt x="448" y="981"/>
                  </a:lnTo>
                  <a:lnTo>
                    <a:pt x="448" y="981"/>
                  </a:lnTo>
                  <a:lnTo>
                    <a:pt x="449" y="979"/>
                  </a:lnTo>
                  <a:lnTo>
                    <a:pt x="449" y="979"/>
                  </a:lnTo>
                  <a:lnTo>
                    <a:pt x="448" y="976"/>
                  </a:lnTo>
                  <a:lnTo>
                    <a:pt x="448" y="976"/>
                  </a:lnTo>
                  <a:lnTo>
                    <a:pt x="445" y="975"/>
                  </a:lnTo>
                  <a:lnTo>
                    <a:pt x="445" y="975"/>
                  </a:lnTo>
                  <a:lnTo>
                    <a:pt x="433" y="970"/>
                  </a:lnTo>
                  <a:lnTo>
                    <a:pt x="433" y="970"/>
                  </a:lnTo>
                  <a:lnTo>
                    <a:pt x="433" y="972"/>
                  </a:lnTo>
                  <a:lnTo>
                    <a:pt x="433" y="970"/>
                  </a:lnTo>
                  <a:lnTo>
                    <a:pt x="433" y="970"/>
                  </a:lnTo>
                  <a:lnTo>
                    <a:pt x="433" y="972"/>
                  </a:lnTo>
                  <a:lnTo>
                    <a:pt x="433" y="970"/>
                  </a:lnTo>
                  <a:lnTo>
                    <a:pt x="433" y="972"/>
                  </a:lnTo>
                  <a:lnTo>
                    <a:pt x="433" y="972"/>
                  </a:lnTo>
                  <a:lnTo>
                    <a:pt x="433" y="970"/>
                  </a:lnTo>
                  <a:lnTo>
                    <a:pt x="433" y="972"/>
                  </a:lnTo>
                  <a:lnTo>
                    <a:pt x="433" y="972"/>
                  </a:lnTo>
                  <a:lnTo>
                    <a:pt x="433" y="972"/>
                  </a:lnTo>
                  <a:lnTo>
                    <a:pt x="433" y="972"/>
                  </a:lnTo>
                  <a:lnTo>
                    <a:pt x="433" y="972"/>
                  </a:lnTo>
                  <a:lnTo>
                    <a:pt x="433" y="972"/>
                  </a:lnTo>
                  <a:lnTo>
                    <a:pt x="434" y="969"/>
                  </a:lnTo>
                  <a:lnTo>
                    <a:pt x="434" y="969"/>
                  </a:lnTo>
                  <a:lnTo>
                    <a:pt x="443" y="959"/>
                  </a:lnTo>
                  <a:lnTo>
                    <a:pt x="443" y="959"/>
                  </a:lnTo>
                  <a:lnTo>
                    <a:pt x="449" y="954"/>
                  </a:lnTo>
                  <a:lnTo>
                    <a:pt x="449" y="954"/>
                  </a:lnTo>
                  <a:lnTo>
                    <a:pt x="450" y="953"/>
                  </a:lnTo>
                  <a:lnTo>
                    <a:pt x="450" y="953"/>
                  </a:lnTo>
                  <a:lnTo>
                    <a:pt x="453" y="950"/>
                  </a:lnTo>
                  <a:lnTo>
                    <a:pt x="453" y="950"/>
                  </a:lnTo>
                  <a:lnTo>
                    <a:pt x="453" y="947"/>
                  </a:lnTo>
                  <a:lnTo>
                    <a:pt x="453" y="947"/>
                  </a:lnTo>
                  <a:lnTo>
                    <a:pt x="453" y="946"/>
                  </a:lnTo>
                  <a:lnTo>
                    <a:pt x="453" y="946"/>
                  </a:lnTo>
                  <a:lnTo>
                    <a:pt x="450" y="944"/>
                  </a:lnTo>
                  <a:lnTo>
                    <a:pt x="450" y="944"/>
                  </a:lnTo>
                  <a:lnTo>
                    <a:pt x="448" y="943"/>
                  </a:lnTo>
                  <a:lnTo>
                    <a:pt x="448" y="943"/>
                  </a:lnTo>
                  <a:lnTo>
                    <a:pt x="445" y="944"/>
                  </a:lnTo>
                  <a:lnTo>
                    <a:pt x="440" y="946"/>
                  </a:lnTo>
                  <a:lnTo>
                    <a:pt x="442" y="947"/>
                  </a:lnTo>
                  <a:lnTo>
                    <a:pt x="442" y="946"/>
                  </a:lnTo>
                  <a:lnTo>
                    <a:pt x="440" y="946"/>
                  </a:lnTo>
                  <a:lnTo>
                    <a:pt x="442" y="947"/>
                  </a:lnTo>
                  <a:lnTo>
                    <a:pt x="442" y="946"/>
                  </a:lnTo>
                  <a:lnTo>
                    <a:pt x="442" y="947"/>
                  </a:lnTo>
                  <a:lnTo>
                    <a:pt x="442" y="946"/>
                  </a:lnTo>
                  <a:lnTo>
                    <a:pt x="442" y="946"/>
                  </a:lnTo>
                  <a:lnTo>
                    <a:pt x="442" y="947"/>
                  </a:lnTo>
                  <a:lnTo>
                    <a:pt x="442" y="946"/>
                  </a:lnTo>
                  <a:lnTo>
                    <a:pt x="442" y="946"/>
                  </a:lnTo>
                  <a:lnTo>
                    <a:pt x="442" y="946"/>
                  </a:lnTo>
                  <a:lnTo>
                    <a:pt x="442" y="946"/>
                  </a:lnTo>
                  <a:lnTo>
                    <a:pt x="442" y="946"/>
                  </a:lnTo>
                  <a:lnTo>
                    <a:pt x="442" y="946"/>
                  </a:lnTo>
                  <a:lnTo>
                    <a:pt x="442" y="946"/>
                  </a:lnTo>
                  <a:lnTo>
                    <a:pt x="442" y="944"/>
                  </a:lnTo>
                  <a:lnTo>
                    <a:pt x="442" y="944"/>
                  </a:lnTo>
                  <a:lnTo>
                    <a:pt x="440" y="937"/>
                  </a:lnTo>
                  <a:lnTo>
                    <a:pt x="440" y="937"/>
                  </a:lnTo>
                  <a:lnTo>
                    <a:pt x="440" y="933"/>
                  </a:lnTo>
                  <a:lnTo>
                    <a:pt x="440" y="933"/>
                  </a:lnTo>
                  <a:lnTo>
                    <a:pt x="442" y="933"/>
                  </a:lnTo>
                  <a:lnTo>
                    <a:pt x="442" y="933"/>
                  </a:lnTo>
                  <a:lnTo>
                    <a:pt x="440" y="931"/>
                  </a:lnTo>
                  <a:lnTo>
                    <a:pt x="442" y="933"/>
                  </a:lnTo>
                  <a:lnTo>
                    <a:pt x="442" y="933"/>
                  </a:lnTo>
                  <a:lnTo>
                    <a:pt x="440" y="931"/>
                  </a:lnTo>
                  <a:lnTo>
                    <a:pt x="442" y="933"/>
                  </a:lnTo>
                  <a:lnTo>
                    <a:pt x="442" y="933"/>
                  </a:lnTo>
                  <a:lnTo>
                    <a:pt x="443" y="930"/>
                  </a:lnTo>
                  <a:lnTo>
                    <a:pt x="445" y="928"/>
                  </a:lnTo>
                  <a:lnTo>
                    <a:pt x="445" y="928"/>
                  </a:lnTo>
                  <a:lnTo>
                    <a:pt x="446" y="920"/>
                  </a:lnTo>
                  <a:lnTo>
                    <a:pt x="446" y="920"/>
                  </a:lnTo>
                  <a:lnTo>
                    <a:pt x="446" y="912"/>
                  </a:lnTo>
                  <a:lnTo>
                    <a:pt x="446" y="912"/>
                  </a:lnTo>
                  <a:lnTo>
                    <a:pt x="446" y="910"/>
                  </a:lnTo>
                  <a:lnTo>
                    <a:pt x="446" y="910"/>
                  </a:lnTo>
                  <a:lnTo>
                    <a:pt x="443" y="908"/>
                  </a:lnTo>
                  <a:lnTo>
                    <a:pt x="443" y="908"/>
                  </a:lnTo>
                  <a:lnTo>
                    <a:pt x="439" y="910"/>
                  </a:lnTo>
                  <a:lnTo>
                    <a:pt x="439" y="910"/>
                  </a:lnTo>
                  <a:lnTo>
                    <a:pt x="434" y="914"/>
                  </a:lnTo>
                  <a:lnTo>
                    <a:pt x="434" y="914"/>
                  </a:lnTo>
                  <a:lnTo>
                    <a:pt x="430" y="917"/>
                  </a:lnTo>
                  <a:lnTo>
                    <a:pt x="430" y="917"/>
                  </a:lnTo>
                  <a:lnTo>
                    <a:pt x="427" y="921"/>
                  </a:lnTo>
                  <a:lnTo>
                    <a:pt x="427" y="921"/>
                  </a:lnTo>
                  <a:lnTo>
                    <a:pt x="426" y="924"/>
                  </a:lnTo>
                  <a:lnTo>
                    <a:pt x="424" y="928"/>
                  </a:lnTo>
                  <a:lnTo>
                    <a:pt x="424" y="928"/>
                  </a:lnTo>
                  <a:lnTo>
                    <a:pt x="424" y="931"/>
                  </a:lnTo>
                  <a:lnTo>
                    <a:pt x="427" y="933"/>
                  </a:lnTo>
                  <a:lnTo>
                    <a:pt x="427" y="933"/>
                  </a:lnTo>
                  <a:lnTo>
                    <a:pt x="427" y="933"/>
                  </a:lnTo>
                  <a:lnTo>
                    <a:pt x="427" y="933"/>
                  </a:lnTo>
                  <a:lnTo>
                    <a:pt x="427" y="933"/>
                  </a:lnTo>
                  <a:lnTo>
                    <a:pt x="427" y="933"/>
                  </a:lnTo>
                  <a:lnTo>
                    <a:pt x="427" y="933"/>
                  </a:lnTo>
                  <a:lnTo>
                    <a:pt x="427" y="933"/>
                  </a:lnTo>
                  <a:lnTo>
                    <a:pt x="427" y="933"/>
                  </a:lnTo>
                  <a:lnTo>
                    <a:pt x="427" y="933"/>
                  </a:lnTo>
                  <a:lnTo>
                    <a:pt x="427" y="933"/>
                  </a:lnTo>
                  <a:lnTo>
                    <a:pt x="427" y="933"/>
                  </a:lnTo>
                  <a:lnTo>
                    <a:pt x="427" y="934"/>
                  </a:lnTo>
                  <a:lnTo>
                    <a:pt x="427" y="934"/>
                  </a:lnTo>
                  <a:lnTo>
                    <a:pt x="424" y="937"/>
                  </a:lnTo>
                  <a:lnTo>
                    <a:pt x="424" y="937"/>
                  </a:lnTo>
                  <a:lnTo>
                    <a:pt x="421" y="939"/>
                  </a:lnTo>
                  <a:lnTo>
                    <a:pt x="421" y="940"/>
                  </a:lnTo>
                  <a:lnTo>
                    <a:pt x="421" y="939"/>
                  </a:lnTo>
                  <a:lnTo>
                    <a:pt x="421" y="939"/>
                  </a:lnTo>
                  <a:lnTo>
                    <a:pt x="421" y="940"/>
                  </a:lnTo>
                  <a:lnTo>
                    <a:pt x="421" y="939"/>
                  </a:lnTo>
                  <a:lnTo>
                    <a:pt x="421" y="940"/>
                  </a:lnTo>
                  <a:lnTo>
                    <a:pt x="423" y="939"/>
                  </a:lnTo>
                  <a:lnTo>
                    <a:pt x="421" y="939"/>
                  </a:lnTo>
                  <a:lnTo>
                    <a:pt x="421" y="940"/>
                  </a:lnTo>
                  <a:lnTo>
                    <a:pt x="423" y="939"/>
                  </a:lnTo>
                  <a:lnTo>
                    <a:pt x="423" y="940"/>
                  </a:lnTo>
                  <a:lnTo>
                    <a:pt x="423" y="939"/>
                  </a:lnTo>
                  <a:lnTo>
                    <a:pt x="423" y="939"/>
                  </a:lnTo>
                  <a:lnTo>
                    <a:pt x="423" y="940"/>
                  </a:lnTo>
                  <a:lnTo>
                    <a:pt x="423" y="939"/>
                  </a:lnTo>
                  <a:lnTo>
                    <a:pt x="423" y="939"/>
                  </a:lnTo>
                  <a:lnTo>
                    <a:pt x="421" y="937"/>
                  </a:lnTo>
                  <a:lnTo>
                    <a:pt x="421" y="937"/>
                  </a:lnTo>
                  <a:lnTo>
                    <a:pt x="420" y="933"/>
                  </a:lnTo>
                  <a:lnTo>
                    <a:pt x="420" y="933"/>
                  </a:lnTo>
                  <a:lnTo>
                    <a:pt x="417" y="928"/>
                  </a:lnTo>
                  <a:lnTo>
                    <a:pt x="417" y="928"/>
                  </a:lnTo>
                  <a:lnTo>
                    <a:pt x="416" y="927"/>
                  </a:lnTo>
                  <a:lnTo>
                    <a:pt x="416" y="927"/>
                  </a:lnTo>
                  <a:lnTo>
                    <a:pt x="414" y="927"/>
                  </a:lnTo>
                  <a:lnTo>
                    <a:pt x="414" y="927"/>
                  </a:lnTo>
                  <a:lnTo>
                    <a:pt x="413" y="928"/>
                  </a:lnTo>
                  <a:lnTo>
                    <a:pt x="413" y="928"/>
                  </a:lnTo>
                  <a:lnTo>
                    <a:pt x="410" y="930"/>
                  </a:lnTo>
                  <a:lnTo>
                    <a:pt x="410" y="930"/>
                  </a:lnTo>
                  <a:lnTo>
                    <a:pt x="408" y="934"/>
                  </a:lnTo>
                  <a:lnTo>
                    <a:pt x="408" y="934"/>
                  </a:lnTo>
                  <a:lnTo>
                    <a:pt x="407" y="937"/>
                  </a:lnTo>
                  <a:lnTo>
                    <a:pt x="407" y="937"/>
                  </a:lnTo>
                  <a:lnTo>
                    <a:pt x="406" y="939"/>
                  </a:lnTo>
                  <a:lnTo>
                    <a:pt x="406" y="939"/>
                  </a:lnTo>
                  <a:lnTo>
                    <a:pt x="406" y="944"/>
                  </a:lnTo>
                  <a:lnTo>
                    <a:pt x="406" y="944"/>
                  </a:lnTo>
                  <a:lnTo>
                    <a:pt x="406" y="954"/>
                  </a:lnTo>
                  <a:lnTo>
                    <a:pt x="406" y="954"/>
                  </a:lnTo>
                  <a:lnTo>
                    <a:pt x="404" y="957"/>
                  </a:lnTo>
                  <a:lnTo>
                    <a:pt x="404" y="957"/>
                  </a:lnTo>
                  <a:lnTo>
                    <a:pt x="404" y="959"/>
                  </a:lnTo>
                  <a:lnTo>
                    <a:pt x="404" y="959"/>
                  </a:lnTo>
                  <a:lnTo>
                    <a:pt x="404" y="963"/>
                  </a:lnTo>
                  <a:lnTo>
                    <a:pt x="404" y="963"/>
                  </a:lnTo>
                  <a:lnTo>
                    <a:pt x="406" y="970"/>
                  </a:lnTo>
                  <a:lnTo>
                    <a:pt x="406" y="970"/>
                  </a:lnTo>
                  <a:lnTo>
                    <a:pt x="408" y="978"/>
                  </a:lnTo>
                  <a:lnTo>
                    <a:pt x="408" y="978"/>
                  </a:lnTo>
                  <a:lnTo>
                    <a:pt x="411" y="996"/>
                  </a:lnTo>
                  <a:lnTo>
                    <a:pt x="411" y="996"/>
                  </a:lnTo>
                  <a:lnTo>
                    <a:pt x="414" y="1007"/>
                  </a:lnTo>
                  <a:lnTo>
                    <a:pt x="414" y="1007"/>
                  </a:lnTo>
                  <a:lnTo>
                    <a:pt x="416" y="1014"/>
                  </a:lnTo>
                  <a:lnTo>
                    <a:pt x="416" y="1014"/>
                  </a:lnTo>
                  <a:lnTo>
                    <a:pt x="414" y="1020"/>
                  </a:lnTo>
                  <a:lnTo>
                    <a:pt x="414" y="1020"/>
                  </a:lnTo>
                  <a:lnTo>
                    <a:pt x="411" y="1024"/>
                  </a:lnTo>
                  <a:lnTo>
                    <a:pt x="411" y="1024"/>
                  </a:lnTo>
                  <a:lnTo>
                    <a:pt x="411" y="1024"/>
                  </a:lnTo>
                  <a:lnTo>
                    <a:pt x="411" y="1024"/>
                  </a:lnTo>
                  <a:lnTo>
                    <a:pt x="411" y="1024"/>
                  </a:lnTo>
                  <a:lnTo>
                    <a:pt x="411" y="1024"/>
                  </a:lnTo>
                  <a:lnTo>
                    <a:pt x="411" y="1024"/>
                  </a:lnTo>
                  <a:lnTo>
                    <a:pt x="411" y="1024"/>
                  </a:lnTo>
                  <a:lnTo>
                    <a:pt x="411" y="1024"/>
                  </a:lnTo>
                  <a:lnTo>
                    <a:pt x="411" y="1024"/>
                  </a:lnTo>
                  <a:lnTo>
                    <a:pt x="411" y="1024"/>
                  </a:lnTo>
                  <a:lnTo>
                    <a:pt x="411" y="1024"/>
                  </a:lnTo>
                  <a:lnTo>
                    <a:pt x="408" y="1023"/>
                  </a:lnTo>
                  <a:lnTo>
                    <a:pt x="408" y="1023"/>
                  </a:lnTo>
                  <a:lnTo>
                    <a:pt x="403" y="1020"/>
                  </a:lnTo>
                  <a:lnTo>
                    <a:pt x="403" y="1020"/>
                  </a:lnTo>
                  <a:lnTo>
                    <a:pt x="400" y="1018"/>
                  </a:lnTo>
                  <a:lnTo>
                    <a:pt x="395" y="1018"/>
                  </a:lnTo>
                  <a:lnTo>
                    <a:pt x="395" y="1018"/>
                  </a:lnTo>
                  <a:lnTo>
                    <a:pt x="394" y="1018"/>
                  </a:lnTo>
                  <a:lnTo>
                    <a:pt x="391" y="1020"/>
                  </a:lnTo>
                  <a:lnTo>
                    <a:pt x="391" y="1020"/>
                  </a:lnTo>
                  <a:lnTo>
                    <a:pt x="384" y="1025"/>
                  </a:lnTo>
                  <a:lnTo>
                    <a:pt x="384" y="1025"/>
                  </a:lnTo>
                  <a:lnTo>
                    <a:pt x="381" y="1027"/>
                  </a:lnTo>
                  <a:lnTo>
                    <a:pt x="378" y="1028"/>
                  </a:lnTo>
                  <a:lnTo>
                    <a:pt x="378" y="1028"/>
                  </a:lnTo>
                  <a:lnTo>
                    <a:pt x="374" y="1028"/>
                  </a:lnTo>
                  <a:lnTo>
                    <a:pt x="369" y="1028"/>
                  </a:lnTo>
                  <a:lnTo>
                    <a:pt x="369" y="1028"/>
                  </a:lnTo>
                  <a:lnTo>
                    <a:pt x="366" y="1031"/>
                  </a:lnTo>
                  <a:lnTo>
                    <a:pt x="362" y="1036"/>
                  </a:lnTo>
                  <a:lnTo>
                    <a:pt x="362" y="1036"/>
                  </a:lnTo>
                  <a:lnTo>
                    <a:pt x="358" y="1040"/>
                  </a:lnTo>
                  <a:lnTo>
                    <a:pt x="356" y="1040"/>
                  </a:lnTo>
                  <a:lnTo>
                    <a:pt x="356" y="1040"/>
                  </a:lnTo>
                  <a:lnTo>
                    <a:pt x="355" y="1040"/>
                  </a:lnTo>
                  <a:lnTo>
                    <a:pt x="355" y="1040"/>
                  </a:lnTo>
                  <a:lnTo>
                    <a:pt x="353" y="1041"/>
                  </a:lnTo>
                  <a:lnTo>
                    <a:pt x="352" y="1041"/>
                  </a:lnTo>
                  <a:lnTo>
                    <a:pt x="352" y="1041"/>
                  </a:lnTo>
                  <a:lnTo>
                    <a:pt x="348" y="1047"/>
                  </a:lnTo>
                  <a:lnTo>
                    <a:pt x="348" y="1047"/>
                  </a:lnTo>
                  <a:lnTo>
                    <a:pt x="342" y="1060"/>
                  </a:lnTo>
                  <a:lnTo>
                    <a:pt x="337" y="1072"/>
                  </a:lnTo>
                  <a:lnTo>
                    <a:pt x="337" y="1072"/>
                  </a:lnTo>
                  <a:lnTo>
                    <a:pt x="336" y="1078"/>
                  </a:lnTo>
                  <a:lnTo>
                    <a:pt x="332" y="1081"/>
                  </a:lnTo>
                  <a:lnTo>
                    <a:pt x="332" y="1081"/>
                  </a:lnTo>
                  <a:lnTo>
                    <a:pt x="327" y="1082"/>
                  </a:lnTo>
                  <a:lnTo>
                    <a:pt x="324" y="1082"/>
                  </a:lnTo>
                  <a:lnTo>
                    <a:pt x="324" y="1082"/>
                  </a:lnTo>
                  <a:lnTo>
                    <a:pt x="323" y="1082"/>
                  </a:lnTo>
                  <a:lnTo>
                    <a:pt x="323" y="1082"/>
                  </a:lnTo>
                  <a:lnTo>
                    <a:pt x="316" y="1082"/>
                  </a:lnTo>
                  <a:lnTo>
                    <a:pt x="316" y="1082"/>
                  </a:lnTo>
                  <a:lnTo>
                    <a:pt x="314" y="1082"/>
                  </a:lnTo>
                  <a:lnTo>
                    <a:pt x="314" y="1082"/>
                  </a:lnTo>
                  <a:lnTo>
                    <a:pt x="310" y="1082"/>
                  </a:lnTo>
                  <a:lnTo>
                    <a:pt x="307" y="1083"/>
                  </a:lnTo>
                  <a:lnTo>
                    <a:pt x="307" y="1083"/>
                  </a:lnTo>
                  <a:lnTo>
                    <a:pt x="304" y="1086"/>
                  </a:lnTo>
                  <a:lnTo>
                    <a:pt x="303" y="1089"/>
                  </a:lnTo>
                  <a:lnTo>
                    <a:pt x="303" y="1089"/>
                  </a:lnTo>
                  <a:lnTo>
                    <a:pt x="300" y="1094"/>
                  </a:lnTo>
                  <a:lnTo>
                    <a:pt x="300" y="1098"/>
                  </a:lnTo>
                  <a:lnTo>
                    <a:pt x="300" y="1098"/>
                  </a:lnTo>
                  <a:lnTo>
                    <a:pt x="300" y="1105"/>
                  </a:lnTo>
                  <a:lnTo>
                    <a:pt x="300" y="1105"/>
                  </a:lnTo>
                  <a:lnTo>
                    <a:pt x="301" y="1108"/>
                  </a:lnTo>
                  <a:lnTo>
                    <a:pt x="301" y="1108"/>
                  </a:lnTo>
                  <a:lnTo>
                    <a:pt x="301" y="1108"/>
                  </a:lnTo>
                  <a:lnTo>
                    <a:pt x="301" y="1108"/>
                  </a:lnTo>
                  <a:lnTo>
                    <a:pt x="301" y="1108"/>
                  </a:lnTo>
                  <a:lnTo>
                    <a:pt x="301" y="1108"/>
                  </a:lnTo>
                  <a:lnTo>
                    <a:pt x="301" y="1108"/>
                  </a:lnTo>
                  <a:lnTo>
                    <a:pt x="300" y="1109"/>
                  </a:lnTo>
                  <a:lnTo>
                    <a:pt x="300" y="1109"/>
                  </a:lnTo>
                  <a:lnTo>
                    <a:pt x="297" y="1115"/>
                  </a:lnTo>
                  <a:lnTo>
                    <a:pt x="297" y="1115"/>
                  </a:lnTo>
                  <a:lnTo>
                    <a:pt x="294" y="1118"/>
                  </a:lnTo>
                  <a:lnTo>
                    <a:pt x="294" y="1118"/>
                  </a:lnTo>
                  <a:lnTo>
                    <a:pt x="293" y="1118"/>
                  </a:lnTo>
                  <a:lnTo>
                    <a:pt x="293" y="1118"/>
                  </a:lnTo>
                  <a:lnTo>
                    <a:pt x="288" y="1120"/>
                  </a:lnTo>
                  <a:lnTo>
                    <a:pt x="285" y="1121"/>
                  </a:lnTo>
                  <a:lnTo>
                    <a:pt x="281" y="1123"/>
                  </a:lnTo>
                  <a:lnTo>
                    <a:pt x="281" y="1123"/>
                  </a:lnTo>
                  <a:lnTo>
                    <a:pt x="278" y="1125"/>
                  </a:lnTo>
                  <a:lnTo>
                    <a:pt x="277" y="1130"/>
                  </a:lnTo>
                  <a:lnTo>
                    <a:pt x="277" y="1130"/>
                  </a:lnTo>
                  <a:lnTo>
                    <a:pt x="275" y="1133"/>
                  </a:lnTo>
                  <a:lnTo>
                    <a:pt x="272" y="1134"/>
                  </a:lnTo>
                  <a:lnTo>
                    <a:pt x="272" y="1134"/>
                  </a:lnTo>
                  <a:lnTo>
                    <a:pt x="269" y="1136"/>
                  </a:lnTo>
                  <a:lnTo>
                    <a:pt x="269" y="1136"/>
                  </a:lnTo>
                  <a:lnTo>
                    <a:pt x="265" y="1134"/>
                  </a:lnTo>
                  <a:lnTo>
                    <a:pt x="265" y="1134"/>
                  </a:lnTo>
                  <a:lnTo>
                    <a:pt x="258" y="1131"/>
                  </a:lnTo>
                  <a:lnTo>
                    <a:pt x="258" y="1131"/>
                  </a:lnTo>
                  <a:lnTo>
                    <a:pt x="255" y="1128"/>
                  </a:lnTo>
                  <a:lnTo>
                    <a:pt x="251" y="1128"/>
                  </a:lnTo>
                  <a:lnTo>
                    <a:pt x="251" y="1128"/>
                  </a:lnTo>
                  <a:lnTo>
                    <a:pt x="248" y="1130"/>
                  </a:lnTo>
                  <a:lnTo>
                    <a:pt x="248" y="1130"/>
                  </a:lnTo>
                  <a:lnTo>
                    <a:pt x="246" y="1131"/>
                  </a:lnTo>
                  <a:lnTo>
                    <a:pt x="246" y="1133"/>
                  </a:lnTo>
                  <a:lnTo>
                    <a:pt x="246" y="1133"/>
                  </a:lnTo>
                  <a:lnTo>
                    <a:pt x="246" y="1136"/>
                  </a:lnTo>
                  <a:lnTo>
                    <a:pt x="246" y="1136"/>
                  </a:lnTo>
                  <a:lnTo>
                    <a:pt x="249" y="1143"/>
                  </a:lnTo>
                  <a:lnTo>
                    <a:pt x="249" y="1143"/>
                  </a:lnTo>
                  <a:lnTo>
                    <a:pt x="252" y="1150"/>
                  </a:lnTo>
                  <a:lnTo>
                    <a:pt x="252" y="1150"/>
                  </a:lnTo>
                  <a:lnTo>
                    <a:pt x="252" y="1150"/>
                  </a:lnTo>
                  <a:lnTo>
                    <a:pt x="252" y="1150"/>
                  </a:lnTo>
                  <a:lnTo>
                    <a:pt x="252" y="1151"/>
                  </a:lnTo>
                  <a:lnTo>
                    <a:pt x="252" y="1151"/>
                  </a:lnTo>
                  <a:lnTo>
                    <a:pt x="243" y="1153"/>
                  </a:lnTo>
                  <a:lnTo>
                    <a:pt x="242" y="1153"/>
                  </a:lnTo>
                  <a:lnTo>
                    <a:pt x="242" y="1153"/>
                  </a:lnTo>
                  <a:lnTo>
                    <a:pt x="238" y="1153"/>
                  </a:lnTo>
                  <a:lnTo>
                    <a:pt x="233" y="1151"/>
                  </a:lnTo>
                  <a:lnTo>
                    <a:pt x="233" y="1151"/>
                  </a:lnTo>
                  <a:lnTo>
                    <a:pt x="227" y="1149"/>
                  </a:lnTo>
                  <a:lnTo>
                    <a:pt x="220" y="1147"/>
                  </a:lnTo>
                  <a:lnTo>
                    <a:pt x="220" y="1147"/>
                  </a:lnTo>
                  <a:lnTo>
                    <a:pt x="216" y="1149"/>
                  </a:lnTo>
                  <a:lnTo>
                    <a:pt x="216" y="1149"/>
                  </a:lnTo>
                  <a:lnTo>
                    <a:pt x="204" y="1150"/>
                  </a:lnTo>
                  <a:lnTo>
                    <a:pt x="204" y="1150"/>
                  </a:lnTo>
                  <a:lnTo>
                    <a:pt x="201" y="1151"/>
                  </a:lnTo>
                  <a:lnTo>
                    <a:pt x="201" y="1151"/>
                  </a:lnTo>
                  <a:lnTo>
                    <a:pt x="200" y="1153"/>
                  </a:lnTo>
                  <a:lnTo>
                    <a:pt x="200" y="1153"/>
                  </a:lnTo>
                  <a:lnTo>
                    <a:pt x="198" y="1156"/>
                  </a:lnTo>
                  <a:lnTo>
                    <a:pt x="198" y="1156"/>
                  </a:lnTo>
                  <a:lnTo>
                    <a:pt x="198" y="1157"/>
                  </a:lnTo>
                  <a:lnTo>
                    <a:pt x="200" y="1157"/>
                  </a:lnTo>
                  <a:lnTo>
                    <a:pt x="200" y="1157"/>
                  </a:lnTo>
                  <a:lnTo>
                    <a:pt x="200" y="1157"/>
                  </a:lnTo>
                  <a:lnTo>
                    <a:pt x="200" y="1157"/>
                  </a:lnTo>
                  <a:lnTo>
                    <a:pt x="200" y="1157"/>
                  </a:lnTo>
                  <a:lnTo>
                    <a:pt x="200" y="1157"/>
                  </a:lnTo>
                  <a:lnTo>
                    <a:pt x="200" y="1157"/>
                  </a:lnTo>
                  <a:lnTo>
                    <a:pt x="200" y="1157"/>
                  </a:lnTo>
                  <a:lnTo>
                    <a:pt x="200" y="1160"/>
                  </a:lnTo>
                  <a:lnTo>
                    <a:pt x="200" y="1160"/>
                  </a:lnTo>
                  <a:lnTo>
                    <a:pt x="203" y="1170"/>
                  </a:lnTo>
                  <a:lnTo>
                    <a:pt x="203" y="1170"/>
                  </a:lnTo>
                  <a:lnTo>
                    <a:pt x="206" y="1173"/>
                  </a:lnTo>
                  <a:lnTo>
                    <a:pt x="206" y="1173"/>
                  </a:lnTo>
                  <a:lnTo>
                    <a:pt x="214" y="1178"/>
                  </a:lnTo>
                  <a:lnTo>
                    <a:pt x="214" y="1178"/>
                  </a:lnTo>
                  <a:lnTo>
                    <a:pt x="229" y="1185"/>
                  </a:lnTo>
                  <a:lnTo>
                    <a:pt x="240" y="1188"/>
                  </a:lnTo>
                  <a:lnTo>
                    <a:pt x="240" y="1188"/>
                  </a:lnTo>
                  <a:lnTo>
                    <a:pt x="240" y="1189"/>
                  </a:lnTo>
                  <a:lnTo>
                    <a:pt x="240" y="1189"/>
                  </a:lnTo>
                  <a:lnTo>
                    <a:pt x="240" y="1191"/>
                  </a:lnTo>
                  <a:lnTo>
                    <a:pt x="240" y="1191"/>
                  </a:lnTo>
                  <a:lnTo>
                    <a:pt x="240" y="1193"/>
                  </a:lnTo>
                  <a:lnTo>
                    <a:pt x="240" y="1193"/>
                  </a:lnTo>
                  <a:lnTo>
                    <a:pt x="242" y="1198"/>
                  </a:lnTo>
                  <a:lnTo>
                    <a:pt x="242" y="1198"/>
                  </a:lnTo>
                  <a:lnTo>
                    <a:pt x="245" y="1202"/>
                  </a:lnTo>
                  <a:lnTo>
                    <a:pt x="245" y="1202"/>
                  </a:lnTo>
                  <a:lnTo>
                    <a:pt x="252" y="1211"/>
                  </a:lnTo>
                  <a:lnTo>
                    <a:pt x="252" y="1211"/>
                  </a:lnTo>
                  <a:lnTo>
                    <a:pt x="255" y="1217"/>
                  </a:lnTo>
                  <a:lnTo>
                    <a:pt x="258" y="1227"/>
                  </a:lnTo>
                  <a:lnTo>
                    <a:pt x="258" y="1227"/>
                  </a:lnTo>
                  <a:lnTo>
                    <a:pt x="258" y="1237"/>
                  </a:lnTo>
                  <a:lnTo>
                    <a:pt x="258" y="1237"/>
                  </a:lnTo>
                  <a:lnTo>
                    <a:pt x="258" y="1243"/>
                  </a:lnTo>
                  <a:lnTo>
                    <a:pt x="256" y="1249"/>
                  </a:lnTo>
                  <a:lnTo>
                    <a:pt x="256" y="1249"/>
                  </a:lnTo>
                  <a:lnTo>
                    <a:pt x="255" y="1251"/>
                  </a:lnTo>
                  <a:lnTo>
                    <a:pt x="255" y="1257"/>
                  </a:lnTo>
                  <a:lnTo>
                    <a:pt x="255" y="1257"/>
                  </a:lnTo>
                  <a:lnTo>
                    <a:pt x="255" y="1259"/>
                  </a:lnTo>
                  <a:lnTo>
                    <a:pt x="255" y="1259"/>
                  </a:lnTo>
                  <a:lnTo>
                    <a:pt x="255" y="1263"/>
                  </a:lnTo>
                  <a:lnTo>
                    <a:pt x="253" y="1267"/>
                  </a:lnTo>
                  <a:lnTo>
                    <a:pt x="253" y="1267"/>
                  </a:lnTo>
                  <a:lnTo>
                    <a:pt x="251" y="1270"/>
                  </a:lnTo>
                  <a:lnTo>
                    <a:pt x="248" y="1273"/>
                  </a:lnTo>
                  <a:lnTo>
                    <a:pt x="248" y="1273"/>
                  </a:lnTo>
                  <a:lnTo>
                    <a:pt x="245" y="1273"/>
                  </a:lnTo>
                  <a:lnTo>
                    <a:pt x="245" y="1273"/>
                  </a:lnTo>
                  <a:lnTo>
                    <a:pt x="238" y="1273"/>
                  </a:lnTo>
                  <a:lnTo>
                    <a:pt x="229" y="1270"/>
                  </a:lnTo>
                  <a:lnTo>
                    <a:pt x="229" y="1270"/>
                  </a:lnTo>
                  <a:lnTo>
                    <a:pt x="220" y="1269"/>
                  </a:lnTo>
                  <a:lnTo>
                    <a:pt x="211" y="1267"/>
                  </a:lnTo>
                  <a:lnTo>
                    <a:pt x="211" y="1267"/>
                  </a:lnTo>
                  <a:lnTo>
                    <a:pt x="210" y="1269"/>
                  </a:lnTo>
                  <a:lnTo>
                    <a:pt x="210" y="1269"/>
                  </a:lnTo>
                  <a:lnTo>
                    <a:pt x="196" y="1269"/>
                  </a:lnTo>
                  <a:lnTo>
                    <a:pt x="196" y="1269"/>
                  </a:lnTo>
                  <a:lnTo>
                    <a:pt x="168" y="1267"/>
                  </a:lnTo>
                  <a:lnTo>
                    <a:pt x="168" y="1267"/>
                  </a:lnTo>
                  <a:lnTo>
                    <a:pt x="162" y="1267"/>
                  </a:lnTo>
                  <a:lnTo>
                    <a:pt x="162" y="1267"/>
                  </a:lnTo>
                  <a:lnTo>
                    <a:pt x="152" y="1269"/>
                  </a:lnTo>
                  <a:lnTo>
                    <a:pt x="149" y="1270"/>
                  </a:lnTo>
                  <a:lnTo>
                    <a:pt x="145" y="1273"/>
                  </a:lnTo>
                  <a:lnTo>
                    <a:pt x="145" y="1273"/>
                  </a:lnTo>
                  <a:lnTo>
                    <a:pt x="143" y="1273"/>
                  </a:lnTo>
                  <a:lnTo>
                    <a:pt x="143" y="1273"/>
                  </a:lnTo>
                  <a:lnTo>
                    <a:pt x="138" y="1275"/>
                  </a:lnTo>
                  <a:lnTo>
                    <a:pt x="133" y="1276"/>
                  </a:lnTo>
                  <a:lnTo>
                    <a:pt x="129" y="1279"/>
                  </a:lnTo>
                  <a:lnTo>
                    <a:pt x="129" y="1279"/>
                  </a:lnTo>
                  <a:lnTo>
                    <a:pt x="126" y="1282"/>
                  </a:lnTo>
                  <a:lnTo>
                    <a:pt x="126" y="1282"/>
                  </a:lnTo>
                  <a:lnTo>
                    <a:pt x="126" y="1285"/>
                  </a:lnTo>
                  <a:lnTo>
                    <a:pt x="126" y="1285"/>
                  </a:lnTo>
                  <a:lnTo>
                    <a:pt x="126" y="1289"/>
                  </a:lnTo>
                  <a:lnTo>
                    <a:pt x="126" y="1289"/>
                  </a:lnTo>
                  <a:lnTo>
                    <a:pt x="129" y="1293"/>
                  </a:lnTo>
                  <a:lnTo>
                    <a:pt x="132" y="1298"/>
                  </a:lnTo>
                  <a:lnTo>
                    <a:pt x="132" y="1298"/>
                  </a:lnTo>
                  <a:lnTo>
                    <a:pt x="135" y="1317"/>
                  </a:lnTo>
                  <a:lnTo>
                    <a:pt x="135" y="1317"/>
                  </a:lnTo>
                  <a:lnTo>
                    <a:pt x="138" y="1335"/>
                  </a:lnTo>
                  <a:lnTo>
                    <a:pt x="138" y="1337"/>
                  </a:lnTo>
                  <a:lnTo>
                    <a:pt x="138" y="1337"/>
                  </a:lnTo>
                  <a:lnTo>
                    <a:pt x="138" y="1343"/>
                  </a:lnTo>
                  <a:lnTo>
                    <a:pt x="138" y="1343"/>
                  </a:lnTo>
                  <a:lnTo>
                    <a:pt x="132" y="1356"/>
                  </a:lnTo>
                  <a:lnTo>
                    <a:pt x="126" y="1367"/>
                  </a:lnTo>
                  <a:lnTo>
                    <a:pt x="126" y="1367"/>
                  </a:lnTo>
                  <a:lnTo>
                    <a:pt x="125" y="1373"/>
                  </a:lnTo>
                  <a:lnTo>
                    <a:pt x="125" y="1373"/>
                  </a:lnTo>
                  <a:lnTo>
                    <a:pt x="125" y="1376"/>
                  </a:lnTo>
                  <a:lnTo>
                    <a:pt x="125" y="1376"/>
                  </a:lnTo>
                  <a:lnTo>
                    <a:pt x="127" y="1377"/>
                  </a:lnTo>
                  <a:lnTo>
                    <a:pt x="127" y="1377"/>
                  </a:lnTo>
                  <a:lnTo>
                    <a:pt x="130" y="1377"/>
                  </a:lnTo>
                  <a:lnTo>
                    <a:pt x="130" y="1377"/>
                  </a:lnTo>
                  <a:lnTo>
                    <a:pt x="132" y="1377"/>
                  </a:lnTo>
                  <a:lnTo>
                    <a:pt x="132" y="1377"/>
                  </a:lnTo>
                  <a:lnTo>
                    <a:pt x="132" y="1377"/>
                  </a:lnTo>
                  <a:lnTo>
                    <a:pt x="132" y="1377"/>
                  </a:lnTo>
                  <a:lnTo>
                    <a:pt x="132" y="1377"/>
                  </a:lnTo>
                  <a:lnTo>
                    <a:pt x="132" y="1377"/>
                  </a:lnTo>
                  <a:lnTo>
                    <a:pt x="132" y="1377"/>
                  </a:lnTo>
                  <a:lnTo>
                    <a:pt x="132" y="1377"/>
                  </a:lnTo>
                  <a:lnTo>
                    <a:pt x="133" y="1376"/>
                  </a:lnTo>
                  <a:lnTo>
                    <a:pt x="132" y="1377"/>
                  </a:lnTo>
                  <a:lnTo>
                    <a:pt x="132" y="1377"/>
                  </a:lnTo>
                  <a:lnTo>
                    <a:pt x="133" y="1376"/>
                  </a:lnTo>
                  <a:lnTo>
                    <a:pt x="132" y="1377"/>
                  </a:lnTo>
                  <a:lnTo>
                    <a:pt x="132" y="1377"/>
                  </a:lnTo>
                  <a:lnTo>
                    <a:pt x="132" y="1377"/>
                  </a:lnTo>
                  <a:lnTo>
                    <a:pt x="132" y="1377"/>
                  </a:lnTo>
                  <a:lnTo>
                    <a:pt x="132" y="1377"/>
                  </a:lnTo>
                  <a:lnTo>
                    <a:pt x="132" y="1377"/>
                  </a:lnTo>
                  <a:lnTo>
                    <a:pt x="133" y="1379"/>
                  </a:lnTo>
                  <a:lnTo>
                    <a:pt x="133" y="1379"/>
                  </a:lnTo>
                  <a:lnTo>
                    <a:pt x="135" y="1385"/>
                  </a:lnTo>
                  <a:lnTo>
                    <a:pt x="135" y="1390"/>
                  </a:lnTo>
                  <a:lnTo>
                    <a:pt x="135" y="1390"/>
                  </a:lnTo>
                  <a:lnTo>
                    <a:pt x="135" y="1395"/>
                  </a:lnTo>
                  <a:lnTo>
                    <a:pt x="135" y="1395"/>
                  </a:lnTo>
                  <a:lnTo>
                    <a:pt x="135" y="1399"/>
                  </a:lnTo>
                  <a:lnTo>
                    <a:pt x="135" y="1399"/>
                  </a:lnTo>
                  <a:lnTo>
                    <a:pt x="135" y="1402"/>
                  </a:lnTo>
                  <a:lnTo>
                    <a:pt x="136" y="1405"/>
                  </a:lnTo>
                  <a:lnTo>
                    <a:pt x="136" y="1405"/>
                  </a:lnTo>
                  <a:lnTo>
                    <a:pt x="140" y="1408"/>
                  </a:lnTo>
                  <a:lnTo>
                    <a:pt x="145" y="1409"/>
                  </a:lnTo>
                  <a:lnTo>
                    <a:pt x="145" y="1409"/>
                  </a:lnTo>
                  <a:lnTo>
                    <a:pt x="149" y="1409"/>
                  </a:lnTo>
                  <a:lnTo>
                    <a:pt x="149" y="1409"/>
                  </a:lnTo>
                  <a:lnTo>
                    <a:pt x="152" y="1409"/>
                  </a:lnTo>
                  <a:lnTo>
                    <a:pt x="156" y="1408"/>
                  </a:lnTo>
                  <a:lnTo>
                    <a:pt x="156" y="1408"/>
                  </a:lnTo>
                  <a:lnTo>
                    <a:pt x="161" y="1406"/>
                  </a:lnTo>
                  <a:lnTo>
                    <a:pt x="161" y="1406"/>
                  </a:lnTo>
                  <a:lnTo>
                    <a:pt x="161" y="1405"/>
                  </a:lnTo>
                  <a:lnTo>
                    <a:pt x="161" y="1406"/>
                  </a:lnTo>
                  <a:lnTo>
                    <a:pt x="161" y="1406"/>
                  </a:lnTo>
                  <a:lnTo>
                    <a:pt x="161" y="1405"/>
                  </a:lnTo>
                  <a:lnTo>
                    <a:pt x="161" y="1406"/>
                  </a:lnTo>
                  <a:lnTo>
                    <a:pt x="161" y="1406"/>
                  </a:lnTo>
                  <a:lnTo>
                    <a:pt x="161" y="1406"/>
                  </a:lnTo>
                  <a:lnTo>
                    <a:pt x="161" y="1406"/>
                  </a:lnTo>
                  <a:lnTo>
                    <a:pt x="161" y="1406"/>
                  </a:lnTo>
                  <a:lnTo>
                    <a:pt x="161" y="1406"/>
                  </a:lnTo>
                  <a:lnTo>
                    <a:pt x="161" y="1406"/>
                  </a:lnTo>
                  <a:lnTo>
                    <a:pt x="162" y="1406"/>
                  </a:lnTo>
                  <a:lnTo>
                    <a:pt x="162" y="1406"/>
                  </a:lnTo>
                  <a:lnTo>
                    <a:pt x="167" y="1411"/>
                  </a:lnTo>
                  <a:lnTo>
                    <a:pt x="172" y="1417"/>
                  </a:lnTo>
                  <a:lnTo>
                    <a:pt x="172" y="1417"/>
                  </a:lnTo>
                  <a:lnTo>
                    <a:pt x="178" y="1424"/>
                  </a:lnTo>
                  <a:lnTo>
                    <a:pt x="178" y="1424"/>
                  </a:lnTo>
                  <a:lnTo>
                    <a:pt x="181" y="1427"/>
                  </a:lnTo>
                  <a:lnTo>
                    <a:pt x="181" y="1427"/>
                  </a:lnTo>
                  <a:lnTo>
                    <a:pt x="184" y="1430"/>
                  </a:lnTo>
                  <a:lnTo>
                    <a:pt x="187" y="1431"/>
                  </a:lnTo>
                  <a:lnTo>
                    <a:pt x="187" y="1431"/>
                  </a:lnTo>
                  <a:lnTo>
                    <a:pt x="191" y="1430"/>
                  </a:lnTo>
                  <a:lnTo>
                    <a:pt x="194" y="1428"/>
                  </a:lnTo>
                  <a:lnTo>
                    <a:pt x="194" y="1428"/>
                  </a:lnTo>
                  <a:lnTo>
                    <a:pt x="198" y="1424"/>
                  </a:lnTo>
                  <a:lnTo>
                    <a:pt x="198" y="1424"/>
                  </a:lnTo>
                  <a:lnTo>
                    <a:pt x="207" y="1419"/>
                  </a:lnTo>
                  <a:lnTo>
                    <a:pt x="207" y="1419"/>
                  </a:lnTo>
                  <a:lnTo>
                    <a:pt x="213" y="1418"/>
                  </a:lnTo>
                  <a:lnTo>
                    <a:pt x="213" y="1418"/>
                  </a:lnTo>
                  <a:lnTo>
                    <a:pt x="213" y="1418"/>
                  </a:lnTo>
                  <a:lnTo>
                    <a:pt x="213" y="1418"/>
                  </a:lnTo>
                  <a:lnTo>
                    <a:pt x="214" y="1419"/>
                  </a:lnTo>
                  <a:lnTo>
                    <a:pt x="214" y="1419"/>
                  </a:lnTo>
                  <a:lnTo>
                    <a:pt x="217" y="1419"/>
                  </a:lnTo>
                  <a:lnTo>
                    <a:pt x="219" y="1419"/>
                  </a:lnTo>
                  <a:lnTo>
                    <a:pt x="219" y="1419"/>
                  </a:lnTo>
                  <a:lnTo>
                    <a:pt x="222" y="1419"/>
                  </a:lnTo>
                  <a:lnTo>
                    <a:pt x="222" y="1419"/>
                  </a:lnTo>
                  <a:lnTo>
                    <a:pt x="245" y="1411"/>
                  </a:lnTo>
                  <a:lnTo>
                    <a:pt x="245" y="1411"/>
                  </a:lnTo>
                  <a:lnTo>
                    <a:pt x="256" y="1405"/>
                  </a:lnTo>
                  <a:lnTo>
                    <a:pt x="256" y="1405"/>
                  </a:lnTo>
                  <a:lnTo>
                    <a:pt x="264" y="1402"/>
                  </a:lnTo>
                  <a:lnTo>
                    <a:pt x="264" y="1402"/>
                  </a:lnTo>
                  <a:lnTo>
                    <a:pt x="268" y="1399"/>
                  </a:lnTo>
                  <a:lnTo>
                    <a:pt x="271" y="1395"/>
                  </a:lnTo>
                  <a:lnTo>
                    <a:pt x="271" y="1395"/>
                  </a:lnTo>
                  <a:lnTo>
                    <a:pt x="272" y="1389"/>
                  </a:lnTo>
                  <a:lnTo>
                    <a:pt x="272" y="1389"/>
                  </a:lnTo>
                  <a:lnTo>
                    <a:pt x="274" y="1388"/>
                  </a:lnTo>
                  <a:lnTo>
                    <a:pt x="274" y="1388"/>
                  </a:lnTo>
                  <a:lnTo>
                    <a:pt x="278" y="1382"/>
                  </a:lnTo>
                  <a:lnTo>
                    <a:pt x="278" y="1382"/>
                  </a:lnTo>
                  <a:lnTo>
                    <a:pt x="282" y="1376"/>
                  </a:lnTo>
                  <a:lnTo>
                    <a:pt x="282" y="1376"/>
                  </a:lnTo>
                  <a:lnTo>
                    <a:pt x="282" y="1376"/>
                  </a:lnTo>
                  <a:lnTo>
                    <a:pt x="282" y="1372"/>
                  </a:lnTo>
                  <a:lnTo>
                    <a:pt x="282" y="1372"/>
                  </a:lnTo>
                  <a:lnTo>
                    <a:pt x="281" y="1364"/>
                  </a:lnTo>
                  <a:lnTo>
                    <a:pt x="281" y="1364"/>
                  </a:lnTo>
                  <a:lnTo>
                    <a:pt x="280" y="1356"/>
                  </a:lnTo>
                  <a:lnTo>
                    <a:pt x="280" y="1356"/>
                  </a:lnTo>
                  <a:lnTo>
                    <a:pt x="280" y="1354"/>
                  </a:lnTo>
                  <a:lnTo>
                    <a:pt x="280" y="1354"/>
                  </a:lnTo>
                  <a:lnTo>
                    <a:pt x="281" y="1348"/>
                  </a:lnTo>
                  <a:lnTo>
                    <a:pt x="284" y="1343"/>
                  </a:lnTo>
                  <a:lnTo>
                    <a:pt x="284" y="1343"/>
                  </a:lnTo>
                  <a:lnTo>
                    <a:pt x="287" y="1337"/>
                  </a:lnTo>
                  <a:lnTo>
                    <a:pt x="287" y="1337"/>
                  </a:lnTo>
                  <a:lnTo>
                    <a:pt x="288" y="1335"/>
                  </a:lnTo>
                  <a:lnTo>
                    <a:pt x="288" y="1335"/>
                  </a:lnTo>
                  <a:lnTo>
                    <a:pt x="290" y="1333"/>
                  </a:lnTo>
                  <a:lnTo>
                    <a:pt x="288" y="1333"/>
                  </a:lnTo>
                  <a:lnTo>
                    <a:pt x="290" y="1334"/>
                  </a:lnTo>
                  <a:lnTo>
                    <a:pt x="290" y="1333"/>
                  </a:lnTo>
                  <a:lnTo>
                    <a:pt x="288" y="1333"/>
                  </a:lnTo>
                  <a:lnTo>
                    <a:pt x="290" y="1334"/>
                  </a:lnTo>
                  <a:lnTo>
                    <a:pt x="290" y="1334"/>
                  </a:lnTo>
                  <a:lnTo>
                    <a:pt x="291" y="1331"/>
                  </a:lnTo>
                  <a:lnTo>
                    <a:pt x="291" y="1331"/>
                  </a:lnTo>
                  <a:lnTo>
                    <a:pt x="303" y="1324"/>
                  </a:lnTo>
                  <a:lnTo>
                    <a:pt x="303" y="1324"/>
                  </a:lnTo>
                  <a:lnTo>
                    <a:pt x="306" y="1322"/>
                  </a:lnTo>
                  <a:lnTo>
                    <a:pt x="306" y="1322"/>
                  </a:lnTo>
                  <a:lnTo>
                    <a:pt x="306" y="1322"/>
                  </a:lnTo>
                  <a:lnTo>
                    <a:pt x="306" y="1321"/>
                  </a:lnTo>
                  <a:lnTo>
                    <a:pt x="306" y="1322"/>
                  </a:lnTo>
                  <a:lnTo>
                    <a:pt x="306" y="1322"/>
                  </a:lnTo>
                  <a:lnTo>
                    <a:pt x="306" y="1321"/>
                  </a:lnTo>
                  <a:lnTo>
                    <a:pt x="306" y="1322"/>
                  </a:lnTo>
                  <a:lnTo>
                    <a:pt x="306" y="1321"/>
                  </a:lnTo>
                  <a:lnTo>
                    <a:pt x="304" y="1321"/>
                  </a:lnTo>
                  <a:lnTo>
                    <a:pt x="306" y="1322"/>
                  </a:lnTo>
                  <a:lnTo>
                    <a:pt x="306" y="1321"/>
                  </a:lnTo>
                  <a:lnTo>
                    <a:pt x="304" y="1321"/>
                  </a:lnTo>
                  <a:lnTo>
                    <a:pt x="306" y="1321"/>
                  </a:lnTo>
                  <a:lnTo>
                    <a:pt x="304" y="1321"/>
                  </a:lnTo>
                  <a:lnTo>
                    <a:pt x="304" y="1321"/>
                  </a:lnTo>
                  <a:lnTo>
                    <a:pt x="306" y="1321"/>
                  </a:lnTo>
                  <a:lnTo>
                    <a:pt x="304" y="1321"/>
                  </a:lnTo>
                  <a:lnTo>
                    <a:pt x="304" y="1321"/>
                  </a:lnTo>
                  <a:lnTo>
                    <a:pt x="304" y="1321"/>
                  </a:lnTo>
                  <a:lnTo>
                    <a:pt x="304" y="1321"/>
                  </a:lnTo>
                  <a:lnTo>
                    <a:pt x="304" y="1321"/>
                  </a:lnTo>
                  <a:lnTo>
                    <a:pt x="304" y="1321"/>
                  </a:lnTo>
                  <a:lnTo>
                    <a:pt x="304" y="1321"/>
                  </a:lnTo>
                  <a:lnTo>
                    <a:pt x="304" y="1322"/>
                  </a:lnTo>
                  <a:lnTo>
                    <a:pt x="304" y="1322"/>
                  </a:lnTo>
                  <a:lnTo>
                    <a:pt x="306" y="1324"/>
                  </a:lnTo>
                  <a:lnTo>
                    <a:pt x="306" y="1324"/>
                  </a:lnTo>
                  <a:lnTo>
                    <a:pt x="308" y="1324"/>
                  </a:lnTo>
                  <a:lnTo>
                    <a:pt x="308" y="1324"/>
                  </a:lnTo>
                  <a:lnTo>
                    <a:pt x="310" y="1324"/>
                  </a:lnTo>
                  <a:lnTo>
                    <a:pt x="310" y="1324"/>
                  </a:lnTo>
                  <a:lnTo>
                    <a:pt x="320" y="1317"/>
                  </a:lnTo>
                  <a:lnTo>
                    <a:pt x="320" y="1317"/>
                  </a:lnTo>
                  <a:lnTo>
                    <a:pt x="329" y="1309"/>
                  </a:lnTo>
                  <a:lnTo>
                    <a:pt x="329" y="1309"/>
                  </a:lnTo>
                  <a:lnTo>
                    <a:pt x="332" y="1305"/>
                  </a:lnTo>
                  <a:lnTo>
                    <a:pt x="332" y="1302"/>
                  </a:lnTo>
                  <a:lnTo>
                    <a:pt x="332" y="1302"/>
                  </a:lnTo>
                  <a:lnTo>
                    <a:pt x="330" y="1295"/>
                  </a:lnTo>
                  <a:lnTo>
                    <a:pt x="330" y="1295"/>
                  </a:lnTo>
                  <a:lnTo>
                    <a:pt x="329" y="1291"/>
                  </a:lnTo>
                  <a:lnTo>
                    <a:pt x="329" y="1291"/>
                  </a:lnTo>
                  <a:lnTo>
                    <a:pt x="329" y="1291"/>
                  </a:lnTo>
                  <a:lnTo>
                    <a:pt x="327" y="1291"/>
                  </a:lnTo>
                  <a:lnTo>
                    <a:pt x="329" y="1291"/>
                  </a:lnTo>
                  <a:lnTo>
                    <a:pt x="329" y="1291"/>
                  </a:lnTo>
                  <a:lnTo>
                    <a:pt x="327" y="1291"/>
                  </a:lnTo>
                  <a:lnTo>
                    <a:pt x="329" y="1291"/>
                  </a:lnTo>
                  <a:lnTo>
                    <a:pt x="329" y="1291"/>
                  </a:lnTo>
                  <a:lnTo>
                    <a:pt x="329" y="1292"/>
                  </a:lnTo>
                  <a:lnTo>
                    <a:pt x="329" y="1291"/>
                  </a:lnTo>
                  <a:lnTo>
                    <a:pt x="329" y="1291"/>
                  </a:lnTo>
                  <a:lnTo>
                    <a:pt x="329" y="1292"/>
                  </a:lnTo>
                  <a:lnTo>
                    <a:pt x="329" y="1291"/>
                  </a:lnTo>
                  <a:lnTo>
                    <a:pt x="329" y="1291"/>
                  </a:lnTo>
                  <a:lnTo>
                    <a:pt x="332" y="1286"/>
                  </a:lnTo>
                  <a:lnTo>
                    <a:pt x="332" y="1286"/>
                  </a:lnTo>
                  <a:lnTo>
                    <a:pt x="340" y="1277"/>
                  </a:lnTo>
                  <a:lnTo>
                    <a:pt x="340" y="1277"/>
                  </a:lnTo>
                  <a:lnTo>
                    <a:pt x="343" y="1275"/>
                  </a:lnTo>
                  <a:lnTo>
                    <a:pt x="343" y="1275"/>
                  </a:lnTo>
                  <a:lnTo>
                    <a:pt x="346" y="1273"/>
                  </a:lnTo>
                  <a:lnTo>
                    <a:pt x="346" y="1273"/>
                  </a:lnTo>
                  <a:lnTo>
                    <a:pt x="346" y="1273"/>
                  </a:lnTo>
                  <a:lnTo>
                    <a:pt x="352" y="1275"/>
                  </a:lnTo>
                  <a:lnTo>
                    <a:pt x="352" y="1275"/>
                  </a:lnTo>
                  <a:lnTo>
                    <a:pt x="364" y="1279"/>
                  </a:lnTo>
                  <a:lnTo>
                    <a:pt x="364" y="1279"/>
                  </a:lnTo>
                  <a:lnTo>
                    <a:pt x="371" y="1280"/>
                  </a:lnTo>
                  <a:lnTo>
                    <a:pt x="377" y="1282"/>
                  </a:lnTo>
                  <a:lnTo>
                    <a:pt x="377" y="1282"/>
                  </a:lnTo>
                  <a:lnTo>
                    <a:pt x="377" y="1282"/>
                  </a:lnTo>
                  <a:lnTo>
                    <a:pt x="382" y="1280"/>
                  </a:lnTo>
                  <a:lnTo>
                    <a:pt x="388" y="1277"/>
                  </a:lnTo>
                  <a:lnTo>
                    <a:pt x="388" y="1277"/>
                  </a:lnTo>
                  <a:lnTo>
                    <a:pt x="398" y="1270"/>
                  </a:lnTo>
                  <a:lnTo>
                    <a:pt x="407" y="1263"/>
                  </a:lnTo>
                  <a:lnTo>
                    <a:pt x="407" y="1263"/>
                  </a:lnTo>
                  <a:lnTo>
                    <a:pt x="420" y="1253"/>
                  </a:lnTo>
                  <a:lnTo>
                    <a:pt x="420" y="1253"/>
                  </a:lnTo>
                  <a:lnTo>
                    <a:pt x="420" y="1253"/>
                  </a:lnTo>
                  <a:lnTo>
                    <a:pt x="420" y="1253"/>
                  </a:lnTo>
                  <a:lnTo>
                    <a:pt x="424" y="1253"/>
                  </a:lnTo>
                  <a:lnTo>
                    <a:pt x="429" y="1256"/>
                  </a:lnTo>
                  <a:lnTo>
                    <a:pt x="429" y="1256"/>
                  </a:lnTo>
                  <a:lnTo>
                    <a:pt x="437" y="1260"/>
                  </a:lnTo>
                  <a:lnTo>
                    <a:pt x="437" y="1260"/>
                  </a:lnTo>
                  <a:lnTo>
                    <a:pt x="440" y="1262"/>
                  </a:lnTo>
                  <a:lnTo>
                    <a:pt x="440" y="1262"/>
                  </a:lnTo>
                  <a:lnTo>
                    <a:pt x="445" y="1269"/>
                  </a:lnTo>
                  <a:lnTo>
                    <a:pt x="449" y="1279"/>
                  </a:lnTo>
                  <a:lnTo>
                    <a:pt x="449" y="1279"/>
                  </a:lnTo>
                  <a:lnTo>
                    <a:pt x="455" y="1288"/>
                  </a:lnTo>
                  <a:lnTo>
                    <a:pt x="462" y="1296"/>
                  </a:lnTo>
                  <a:lnTo>
                    <a:pt x="462" y="1296"/>
                  </a:lnTo>
                  <a:lnTo>
                    <a:pt x="469" y="1302"/>
                  </a:lnTo>
                  <a:lnTo>
                    <a:pt x="469" y="1302"/>
                  </a:lnTo>
                  <a:lnTo>
                    <a:pt x="474" y="1306"/>
                  </a:lnTo>
                  <a:lnTo>
                    <a:pt x="474" y="1306"/>
                  </a:lnTo>
                  <a:lnTo>
                    <a:pt x="476" y="1309"/>
                  </a:lnTo>
                  <a:lnTo>
                    <a:pt x="476" y="1309"/>
                  </a:lnTo>
                  <a:lnTo>
                    <a:pt x="495" y="1322"/>
                  </a:lnTo>
                  <a:lnTo>
                    <a:pt x="495" y="1322"/>
                  </a:lnTo>
                  <a:lnTo>
                    <a:pt x="511" y="1333"/>
                  </a:lnTo>
                  <a:lnTo>
                    <a:pt x="511" y="1333"/>
                  </a:lnTo>
                  <a:lnTo>
                    <a:pt x="516" y="1335"/>
                  </a:lnTo>
                  <a:lnTo>
                    <a:pt x="518" y="1340"/>
                  </a:lnTo>
                  <a:lnTo>
                    <a:pt x="518" y="1340"/>
                  </a:lnTo>
                  <a:lnTo>
                    <a:pt x="521" y="1346"/>
                  </a:lnTo>
                  <a:lnTo>
                    <a:pt x="521" y="1346"/>
                  </a:lnTo>
                  <a:lnTo>
                    <a:pt x="524" y="1348"/>
                  </a:lnTo>
                  <a:lnTo>
                    <a:pt x="524" y="1348"/>
                  </a:lnTo>
                  <a:lnTo>
                    <a:pt x="530" y="1351"/>
                  </a:lnTo>
                  <a:lnTo>
                    <a:pt x="530" y="1351"/>
                  </a:lnTo>
                  <a:lnTo>
                    <a:pt x="533" y="1356"/>
                  </a:lnTo>
                  <a:lnTo>
                    <a:pt x="533" y="1356"/>
                  </a:lnTo>
                  <a:lnTo>
                    <a:pt x="537" y="1363"/>
                  </a:lnTo>
                  <a:lnTo>
                    <a:pt x="537" y="1363"/>
                  </a:lnTo>
                  <a:lnTo>
                    <a:pt x="539" y="1370"/>
                  </a:lnTo>
                  <a:lnTo>
                    <a:pt x="539" y="1370"/>
                  </a:lnTo>
                  <a:lnTo>
                    <a:pt x="539" y="1370"/>
                  </a:lnTo>
                  <a:lnTo>
                    <a:pt x="536" y="1380"/>
                  </a:lnTo>
                  <a:lnTo>
                    <a:pt x="536" y="1380"/>
                  </a:lnTo>
                  <a:lnTo>
                    <a:pt x="533" y="1386"/>
                  </a:lnTo>
                  <a:lnTo>
                    <a:pt x="533" y="1386"/>
                  </a:lnTo>
                  <a:lnTo>
                    <a:pt x="532" y="1390"/>
                  </a:lnTo>
                  <a:lnTo>
                    <a:pt x="532" y="1390"/>
                  </a:lnTo>
                  <a:lnTo>
                    <a:pt x="533" y="1392"/>
                  </a:lnTo>
                  <a:lnTo>
                    <a:pt x="533" y="1392"/>
                  </a:lnTo>
                  <a:lnTo>
                    <a:pt x="533" y="1393"/>
                  </a:lnTo>
                  <a:lnTo>
                    <a:pt x="536" y="1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67" name="Freeform 1274"/>
            <p:cNvSpPr>
              <a:spLocks/>
            </p:cNvSpPr>
            <p:nvPr/>
          </p:nvSpPr>
          <p:spPr bwMode="auto">
            <a:xfrm>
              <a:off x="3871913" y="1522841"/>
              <a:ext cx="5257801" cy="4189413"/>
            </a:xfrm>
            <a:custGeom>
              <a:avLst/>
              <a:gdLst>
                <a:gd name="T0" fmla="*/ 251 w 3312"/>
                <a:gd name="T1" fmla="*/ 1133 h 2639"/>
                <a:gd name="T2" fmla="*/ 497 w 3312"/>
                <a:gd name="T3" fmla="*/ 1002 h 2639"/>
                <a:gd name="T4" fmla="*/ 560 w 3312"/>
                <a:gd name="T5" fmla="*/ 823 h 2639"/>
                <a:gd name="T6" fmla="*/ 359 w 3312"/>
                <a:gd name="T7" fmla="*/ 815 h 2639"/>
                <a:gd name="T8" fmla="*/ 484 w 3312"/>
                <a:gd name="T9" fmla="*/ 611 h 2639"/>
                <a:gd name="T10" fmla="*/ 598 w 3312"/>
                <a:gd name="T11" fmla="*/ 455 h 2639"/>
                <a:gd name="T12" fmla="*/ 682 w 3312"/>
                <a:gd name="T13" fmla="*/ 427 h 2639"/>
                <a:gd name="T14" fmla="*/ 934 w 3312"/>
                <a:gd name="T15" fmla="*/ 589 h 2639"/>
                <a:gd name="T16" fmla="*/ 979 w 3312"/>
                <a:gd name="T17" fmla="*/ 516 h 2639"/>
                <a:gd name="T18" fmla="*/ 1241 w 3312"/>
                <a:gd name="T19" fmla="*/ 511 h 2639"/>
                <a:gd name="T20" fmla="*/ 1509 w 3312"/>
                <a:gd name="T21" fmla="*/ 572 h 2639"/>
                <a:gd name="T22" fmla="*/ 1582 w 3312"/>
                <a:gd name="T23" fmla="*/ 266 h 2639"/>
                <a:gd name="T24" fmla="*/ 2065 w 3312"/>
                <a:gd name="T25" fmla="*/ 80 h 2639"/>
                <a:gd name="T26" fmla="*/ 2342 w 3312"/>
                <a:gd name="T27" fmla="*/ 310 h 2639"/>
                <a:gd name="T28" fmla="*/ 2510 w 3312"/>
                <a:gd name="T29" fmla="*/ 348 h 2639"/>
                <a:gd name="T30" fmla="*/ 3007 w 3312"/>
                <a:gd name="T31" fmla="*/ 479 h 2639"/>
                <a:gd name="T32" fmla="*/ 3178 w 3312"/>
                <a:gd name="T33" fmla="*/ 639 h 2639"/>
                <a:gd name="T34" fmla="*/ 2876 w 3312"/>
                <a:gd name="T35" fmla="*/ 901 h 2639"/>
                <a:gd name="T36" fmla="*/ 2807 w 3312"/>
                <a:gd name="T37" fmla="*/ 789 h 2639"/>
                <a:gd name="T38" fmla="*/ 2500 w 3312"/>
                <a:gd name="T39" fmla="*/ 1004 h 2639"/>
                <a:gd name="T40" fmla="*/ 2242 w 3312"/>
                <a:gd name="T41" fmla="*/ 1328 h 2639"/>
                <a:gd name="T42" fmla="*/ 1991 w 3312"/>
                <a:gd name="T43" fmla="*/ 1886 h 2639"/>
                <a:gd name="T44" fmla="*/ 1729 w 3312"/>
                <a:gd name="T45" fmla="*/ 1680 h 2639"/>
                <a:gd name="T46" fmla="*/ 1079 w 3312"/>
                <a:gd name="T47" fmla="*/ 1540 h 2639"/>
                <a:gd name="T48" fmla="*/ 899 w 3312"/>
                <a:gd name="T49" fmla="*/ 1651 h 2639"/>
                <a:gd name="T50" fmla="*/ 812 w 3312"/>
                <a:gd name="T51" fmla="*/ 2467 h 2639"/>
                <a:gd name="T52" fmla="*/ 33 w 3312"/>
                <a:gd name="T53" fmla="*/ 1861 h 2639"/>
                <a:gd name="T54" fmla="*/ 652 w 3312"/>
                <a:gd name="T55" fmla="*/ 1503 h 2639"/>
                <a:gd name="T56" fmla="*/ 901 w 3312"/>
                <a:gd name="T57" fmla="*/ 1244 h 2639"/>
                <a:gd name="T58" fmla="*/ 672 w 3312"/>
                <a:gd name="T59" fmla="*/ 1386 h 2639"/>
                <a:gd name="T60" fmla="*/ 482 w 3312"/>
                <a:gd name="T61" fmla="*/ 1262 h 2639"/>
                <a:gd name="T62" fmla="*/ 605 w 3312"/>
                <a:gd name="T63" fmla="*/ 1363 h 2639"/>
                <a:gd name="T64" fmla="*/ 801 w 3312"/>
                <a:gd name="T65" fmla="*/ 1227 h 2639"/>
                <a:gd name="T66" fmla="*/ 772 w 3312"/>
                <a:gd name="T67" fmla="*/ 1422 h 2639"/>
                <a:gd name="T68" fmla="*/ 272 w 3312"/>
                <a:gd name="T69" fmla="*/ 1431 h 2639"/>
                <a:gd name="T70" fmla="*/ 500 w 3312"/>
                <a:gd name="T71" fmla="*/ 2239 h 2639"/>
                <a:gd name="T72" fmla="*/ 1030 w 3312"/>
                <a:gd name="T73" fmla="*/ 1867 h 2639"/>
                <a:gd name="T74" fmla="*/ 1222 w 3312"/>
                <a:gd name="T75" fmla="*/ 1708 h 2639"/>
                <a:gd name="T76" fmla="*/ 1440 w 3312"/>
                <a:gd name="T77" fmla="*/ 1700 h 2639"/>
                <a:gd name="T78" fmla="*/ 1955 w 3312"/>
                <a:gd name="T79" fmla="*/ 2026 h 2639"/>
                <a:gd name="T80" fmla="*/ 2194 w 3312"/>
                <a:gd name="T81" fmla="*/ 1628 h 2639"/>
                <a:gd name="T82" fmla="*/ 2336 w 3312"/>
                <a:gd name="T83" fmla="*/ 1364 h 2639"/>
                <a:gd name="T84" fmla="*/ 2671 w 3312"/>
                <a:gd name="T85" fmla="*/ 853 h 2639"/>
                <a:gd name="T86" fmla="*/ 2823 w 3312"/>
                <a:gd name="T87" fmla="*/ 878 h 2639"/>
                <a:gd name="T88" fmla="*/ 3021 w 3312"/>
                <a:gd name="T89" fmla="*/ 794 h 2639"/>
                <a:gd name="T90" fmla="*/ 3285 w 3312"/>
                <a:gd name="T91" fmla="*/ 630 h 2639"/>
                <a:gd name="T92" fmla="*/ 2953 w 3312"/>
                <a:gd name="T93" fmla="*/ 461 h 2639"/>
                <a:gd name="T94" fmla="*/ 2514 w 3312"/>
                <a:gd name="T95" fmla="*/ 352 h 2639"/>
                <a:gd name="T96" fmla="*/ 2332 w 3312"/>
                <a:gd name="T97" fmla="*/ 294 h 2639"/>
                <a:gd name="T98" fmla="*/ 2093 w 3312"/>
                <a:gd name="T99" fmla="*/ 107 h 2639"/>
                <a:gd name="T100" fmla="*/ 1681 w 3312"/>
                <a:gd name="T101" fmla="*/ 177 h 2639"/>
                <a:gd name="T102" fmla="*/ 1460 w 3312"/>
                <a:gd name="T103" fmla="*/ 485 h 2639"/>
                <a:gd name="T104" fmla="*/ 1353 w 3312"/>
                <a:gd name="T105" fmla="*/ 472 h 2639"/>
                <a:gd name="T106" fmla="*/ 1070 w 3312"/>
                <a:gd name="T107" fmla="*/ 539 h 2639"/>
                <a:gd name="T108" fmla="*/ 833 w 3312"/>
                <a:gd name="T109" fmla="*/ 629 h 2639"/>
                <a:gd name="T110" fmla="*/ 736 w 3312"/>
                <a:gd name="T111" fmla="*/ 404 h 2639"/>
                <a:gd name="T112" fmla="*/ 637 w 3312"/>
                <a:gd name="T113" fmla="*/ 448 h 2639"/>
                <a:gd name="T114" fmla="*/ 553 w 3312"/>
                <a:gd name="T115" fmla="*/ 503 h 2639"/>
                <a:gd name="T116" fmla="*/ 458 w 3312"/>
                <a:gd name="T117" fmla="*/ 676 h 2639"/>
                <a:gd name="T118" fmla="*/ 359 w 3312"/>
                <a:gd name="T119" fmla="*/ 830 h 2639"/>
                <a:gd name="T120" fmla="*/ 552 w 3312"/>
                <a:gd name="T121" fmla="*/ 795 h 2639"/>
                <a:gd name="T122" fmla="*/ 490 w 3312"/>
                <a:gd name="T123" fmla="*/ 1007 h 2639"/>
                <a:gd name="T124" fmla="*/ 252 w 3312"/>
                <a:gd name="T125" fmla="*/ 1151 h 2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12" h="2639">
                  <a:moveTo>
                    <a:pt x="536" y="1392"/>
                  </a:moveTo>
                  <a:lnTo>
                    <a:pt x="537" y="1390"/>
                  </a:lnTo>
                  <a:lnTo>
                    <a:pt x="536" y="1390"/>
                  </a:lnTo>
                  <a:lnTo>
                    <a:pt x="537" y="1390"/>
                  </a:lnTo>
                  <a:lnTo>
                    <a:pt x="537" y="1390"/>
                  </a:lnTo>
                  <a:lnTo>
                    <a:pt x="536" y="1390"/>
                  </a:lnTo>
                  <a:lnTo>
                    <a:pt x="537" y="1390"/>
                  </a:lnTo>
                  <a:lnTo>
                    <a:pt x="537" y="1390"/>
                  </a:lnTo>
                  <a:lnTo>
                    <a:pt x="537" y="1390"/>
                  </a:lnTo>
                  <a:lnTo>
                    <a:pt x="537" y="1390"/>
                  </a:lnTo>
                  <a:lnTo>
                    <a:pt x="537" y="1390"/>
                  </a:lnTo>
                  <a:lnTo>
                    <a:pt x="537" y="1390"/>
                  </a:lnTo>
                  <a:lnTo>
                    <a:pt x="537" y="1390"/>
                  </a:lnTo>
                  <a:lnTo>
                    <a:pt x="537" y="1390"/>
                  </a:lnTo>
                  <a:lnTo>
                    <a:pt x="537" y="1388"/>
                  </a:lnTo>
                  <a:lnTo>
                    <a:pt x="537" y="1388"/>
                  </a:lnTo>
                  <a:lnTo>
                    <a:pt x="542" y="1379"/>
                  </a:lnTo>
                  <a:lnTo>
                    <a:pt x="542" y="1379"/>
                  </a:lnTo>
                  <a:lnTo>
                    <a:pt x="543" y="1372"/>
                  </a:lnTo>
                  <a:lnTo>
                    <a:pt x="543" y="1372"/>
                  </a:lnTo>
                  <a:lnTo>
                    <a:pt x="543" y="1370"/>
                  </a:lnTo>
                  <a:lnTo>
                    <a:pt x="543" y="1370"/>
                  </a:lnTo>
                  <a:lnTo>
                    <a:pt x="543" y="1366"/>
                  </a:lnTo>
                  <a:lnTo>
                    <a:pt x="542" y="1362"/>
                  </a:lnTo>
                  <a:lnTo>
                    <a:pt x="542" y="1362"/>
                  </a:lnTo>
                  <a:lnTo>
                    <a:pt x="539" y="1354"/>
                  </a:lnTo>
                  <a:lnTo>
                    <a:pt x="539" y="1354"/>
                  </a:lnTo>
                  <a:lnTo>
                    <a:pt x="536" y="1351"/>
                  </a:lnTo>
                  <a:lnTo>
                    <a:pt x="533" y="1347"/>
                  </a:lnTo>
                  <a:lnTo>
                    <a:pt x="533" y="1347"/>
                  </a:lnTo>
                  <a:lnTo>
                    <a:pt x="527" y="1344"/>
                  </a:lnTo>
                  <a:lnTo>
                    <a:pt x="527" y="1344"/>
                  </a:lnTo>
                  <a:lnTo>
                    <a:pt x="526" y="1341"/>
                  </a:lnTo>
                  <a:lnTo>
                    <a:pt x="526" y="1341"/>
                  </a:lnTo>
                  <a:lnTo>
                    <a:pt x="521" y="1335"/>
                  </a:lnTo>
                  <a:lnTo>
                    <a:pt x="521" y="1335"/>
                  </a:lnTo>
                  <a:lnTo>
                    <a:pt x="518" y="1331"/>
                  </a:lnTo>
                  <a:lnTo>
                    <a:pt x="514" y="1328"/>
                  </a:lnTo>
                  <a:lnTo>
                    <a:pt x="514" y="1328"/>
                  </a:lnTo>
                  <a:lnTo>
                    <a:pt x="495" y="1315"/>
                  </a:lnTo>
                  <a:lnTo>
                    <a:pt x="495" y="1315"/>
                  </a:lnTo>
                  <a:lnTo>
                    <a:pt x="484" y="1308"/>
                  </a:lnTo>
                  <a:lnTo>
                    <a:pt x="484" y="1308"/>
                  </a:lnTo>
                  <a:lnTo>
                    <a:pt x="479" y="1305"/>
                  </a:lnTo>
                  <a:lnTo>
                    <a:pt x="479" y="1305"/>
                  </a:lnTo>
                  <a:lnTo>
                    <a:pt x="478" y="1304"/>
                  </a:lnTo>
                  <a:lnTo>
                    <a:pt x="478" y="1304"/>
                  </a:lnTo>
                  <a:lnTo>
                    <a:pt x="472" y="1298"/>
                  </a:lnTo>
                  <a:lnTo>
                    <a:pt x="472" y="1298"/>
                  </a:lnTo>
                  <a:lnTo>
                    <a:pt x="462" y="1288"/>
                  </a:lnTo>
                  <a:lnTo>
                    <a:pt x="458" y="1282"/>
                  </a:lnTo>
                  <a:lnTo>
                    <a:pt x="453" y="1276"/>
                  </a:lnTo>
                  <a:lnTo>
                    <a:pt x="453" y="1276"/>
                  </a:lnTo>
                  <a:lnTo>
                    <a:pt x="448" y="1263"/>
                  </a:lnTo>
                  <a:lnTo>
                    <a:pt x="448" y="1263"/>
                  </a:lnTo>
                  <a:lnTo>
                    <a:pt x="445" y="1259"/>
                  </a:lnTo>
                  <a:lnTo>
                    <a:pt x="445" y="1259"/>
                  </a:lnTo>
                  <a:lnTo>
                    <a:pt x="440" y="1256"/>
                  </a:lnTo>
                  <a:lnTo>
                    <a:pt x="440" y="1256"/>
                  </a:lnTo>
                  <a:lnTo>
                    <a:pt x="432" y="1250"/>
                  </a:lnTo>
                  <a:lnTo>
                    <a:pt x="432" y="1250"/>
                  </a:lnTo>
                  <a:lnTo>
                    <a:pt x="426" y="1249"/>
                  </a:lnTo>
                  <a:lnTo>
                    <a:pt x="420" y="1247"/>
                  </a:lnTo>
                  <a:lnTo>
                    <a:pt x="420" y="1247"/>
                  </a:lnTo>
                  <a:lnTo>
                    <a:pt x="419" y="1247"/>
                  </a:lnTo>
                  <a:lnTo>
                    <a:pt x="416" y="1249"/>
                  </a:lnTo>
                  <a:lnTo>
                    <a:pt x="416" y="1249"/>
                  </a:lnTo>
                  <a:lnTo>
                    <a:pt x="410" y="1254"/>
                  </a:lnTo>
                  <a:lnTo>
                    <a:pt x="410" y="1254"/>
                  </a:lnTo>
                  <a:lnTo>
                    <a:pt x="392" y="1269"/>
                  </a:lnTo>
                  <a:lnTo>
                    <a:pt x="392" y="1269"/>
                  </a:lnTo>
                  <a:lnTo>
                    <a:pt x="384" y="1275"/>
                  </a:lnTo>
                  <a:lnTo>
                    <a:pt x="384" y="1275"/>
                  </a:lnTo>
                  <a:lnTo>
                    <a:pt x="377" y="1276"/>
                  </a:lnTo>
                  <a:lnTo>
                    <a:pt x="377" y="1276"/>
                  </a:lnTo>
                  <a:lnTo>
                    <a:pt x="377" y="1276"/>
                  </a:lnTo>
                  <a:lnTo>
                    <a:pt x="369" y="1275"/>
                  </a:lnTo>
                  <a:lnTo>
                    <a:pt x="361" y="1273"/>
                  </a:lnTo>
                  <a:lnTo>
                    <a:pt x="361" y="1273"/>
                  </a:lnTo>
                  <a:lnTo>
                    <a:pt x="353" y="1270"/>
                  </a:lnTo>
                  <a:lnTo>
                    <a:pt x="353" y="1270"/>
                  </a:lnTo>
                  <a:lnTo>
                    <a:pt x="346" y="1269"/>
                  </a:lnTo>
                  <a:lnTo>
                    <a:pt x="346" y="1269"/>
                  </a:lnTo>
                  <a:lnTo>
                    <a:pt x="345" y="1269"/>
                  </a:lnTo>
                  <a:lnTo>
                    <a:pt x="345" y="1269"/>
                  </a:lnTo>
                  <a:lnTo>
                    <a:pt x="342" y="1270"/>
                  </a:lnTo>
                  <a:lnTo>
                    <a:pt x="342" y="1270"/>
                  </a:lnTo>
                  <a:lnTo>
                    <a:pt x="336" y="1275"/>
                  </a:lnTo>
                  <a:lnTo>
                    <a:pt x="330" y="1280"/>
                  </a:lnTo>
                  <a:lnTo>
                    <a:pt x="330" y="1280"/>
                  </a:lnTo>
                  <a:lnTo>
                    <a:pt x="326" y="1286"/>
                  </a:lnTo>
                  <a:lnTo>
                    <a:pt x="326" y="1286"/>
                  </a:lnTo>
                  <a:lnTo>
                    <a:pt x="324" y="1289"/>
                  </a:lnTo>
                  <a:lnTo>
                    <a:pt x="324" y="1289"/>
                  </a:lnTo>
                  <a:lnTo>
                    <a:pt x="324" y="1291"/>
                  </a:lnTo>
                  <a:lnTo>
                    <a:pt x="324" y="1292"/>
                  </a:lnTo>
                  <a:lnTo>
                    <a:pt x="326" y="1292"/>
                  </a:lnTo>
                  <a:lnTo>
                    <a:pt x="324" y="1292"/>
                  </a:lnTo>
                  <a:lnTo>
                    <a:pt x="324" y="1292"/>
                  </a:lnTo>
                  <a:lnTo>
                    <a:pt x="326" y="1296"/>
                  </a:lnTo>
                  <a:lnTo>
                    <a:pt x="326" y="1296"/>
                  </a:lnTo>
                  <a:lnTo>
                    <a:pt x="326" y="1302"/>
                  </a:lnTo>
                  <a:lnTo>
                    <a:pt x="326" y="1302"/>
                  </a:lnTo>
                  <a:lnTo>
                    <a:pt x="326" y="1305"/>
                  </a:lnTo>
                  <a:lnTo>
                    <a:pt x="326" y="1305"/>
                  </a:lnTo>
                  <a:lnTo>
                    <a:pt x="316" y="1314"/>
                  </a:lnTo>
                  <a:lnTo>
                    <a:pt x="316" y="1314"/>
                  </a:lnTo>
                  <a:lnTo>
                    <a:pt x="310" y="1318"/>
                  </a:lnTo>
                  <a:lnTo>
                    <a:pt x="310" y="1318"/>
                  </a:lnTo>
                  <a:lnTo>
                    <a:pt x="308" y="1318"/>
                  </a:lnTo>
                  <a:lnTo>
                    <a:pt x="307" y="1319"/>
                  </a:lnTo>
                  <a:lnTo>
                    <a:pt x="307" y="1319"/>
                  </a:lnTo>
                  <a:lnTo>
                    <a:pt x="308" y="1319"/>
                  </a:lnTo>
                  <a:lnTo>
                    <a:pt x="308" y="1319"/>
                  </a:lnTo>
                  <a:lnTo>
                    <a:pt x="307" y="1319"/>
                  </a:lnTo>
                  <a:lnTo>
                    <a:pt x="308" y="1319"/>
                  </a:lnTo>
                  <a:lnTo>
                    <a:pt x="308" y="1319"/>
                  </a:lnTo>
                  <a:lnTo>
                    <a:pt x="308" y="1319"/>
                  </a:lnTo>
                  <a:lnTo>
                    <a:pt x="308" y="1319"/>
                  </a:lnTo>
                  <a:lnTo>
                    <a:pt x="308" y="1319"/>
                  </a:lnTo>
                  <a:lnTo>
                    <a:pt x="308" y="1319"/>
                  </a:lnTo>
                  <a:lnTo>
                    <a:pt x="308" y="1319"/>
                  </a:lnTo>
                  <a:lnTo>
                    <a:pt x="307" y="1319"/>
                  </a:lnTo>
                  <a:lnTo>
                    <a:pt x="308" y="1319"/>
                  </a:lnTo>
                  <a:lnTo>
                    <a:pt x="308" y="1319"/>
                  </a:lnTo>
                  <a:lnTo>
                    <a:pt x="307" y="1319"/>
                  </a:lnTo>
                  <a:lnTo>
                    <a:pt x="308" y="1319"/>
                  </a:lnTo>
                  <a:lnTo>
                    <a:pt x="308" y="1319"/>
                  </a:lnTo>
                  <a:lnTo>
                    <a:pt x="308" y="1319"/>
                  </a:lnTo>
                  <a:lnTo>
                    <a:pt x="308" y="1319"/>
                  </a:lnTo>
                  <a:lnTo>
                    <a:pt x="308" y="1319"/>
                  </a:lnTo>
                  <a:lnTo>
                    <a:pt x="308" y="1319"/>
                  </a:lnTo>
                  <a:lnTo>
                    <a:pt x="308" y="1319"/>
                  </a:lnTo>
                  <a:lnTo>
                    <a:pt x="308" y="1318"/>
                  </a:lnTo>
                  <a:lnTo>
                    <a:pt x="308" y="1318"/>
                  </a:lnTo>
                  <a:lnTo>
                    <a:pt x="307" y="1317"/>
                  </a:lnTo>
                  <a:lnTo>
                    <a:pt x="307" y="1317"/>
                  </a:lnTo>
                  <a:lnTo>
                    <a:pt x="306" y="1317"/>
                  </a:lnTo>
                  <a:lnTo>
                    <a:pt x="306" y="1317"/>
                  </a:lnTo>
                  <a:lnTo>
                    <a:pt x="303" y="1318"/>
                  </a:lnTo>
                  <a:lnTo>
                    <a:pt x="303" y="1318"/>
                  </a:lnTo>
                  <a:lnTo>
                    <a:pt x="300" y="1319"/>
                  </a:lnTo>
                  <a:lnTo>
                    <a:pt x="300" y="1319"/>
                  </a:lnTo>
                  <a:lnTo>
                    <a:pt x="291" y="1325"/>
                  </a:lnTo>
                  <a:lnTo>
                    <a:pt x="291" y="1325"/>
                  </a:lnTo>
                  <a:lnTo>
                    <a:pt x="287" y="1328"/>
                  </a:lnTo>
                  <a:lnTo>
                    <a:pt x="287" y="1328"/>
                  </a:lnTo>
                  <a:lnTo>
                    <a:pt x="285" y="1330"/>
                  </a:lnTo>
                  <a:lnTo>
                    <a:pt x="285" y="1330"/>
                  </a:lnTo>
                  <a:lnTo>
                    <a:pt x="285" y="1333"/>
                  </a:lnTo>
                  <a:lnTo>
                    <a:pt x="285" y="1333"/>
                  </a:lnTo>
                  <a:lnTo>
                    <a:pt x="285" y="1331"/>
                  </a:lnTo>
                  <a:lnTo>
                    <a:pt x="285" y="1333"/>
                  </a:lnTo>
                  <a:lnTo>
                    <a:pt x="285" y="1333"/>
                  </a:lnTo>
                  <a:lnTo>
                    <a:pt x="285" y="1331"/>
                  </a:lnTo>
                  <a:lnTo>
                    <a:pt x="285" y="1331"/>
                  </a:lnTo>
                  <a:lnTo>
                    <a:pt x="284" y="1333"/>
                  </a:lnTo>
                  <a:lnTo>
                    <a:pt x="284" y="1333"/>
                  </a:lnTo>
                  <a:lnTo>
                    <a:pt x="278" y="1341"/>
                  </a:lnTo>
                  <a:lnTo>
                    <a:pt x="278" y="1341"/>
                  </a:lnTo>
                  <a:lnTo>
                    <a:pt x="275" y="1348"/>
                  </a:lnTo>
                  <a:lnTo>
                    <a:pt x="274" y="1354"/>
                  </a:lnTo>
                  <a:lnTo>
                    <a:pt x="274" y="1354"/>
                  </a:lnTo>
                  <a:lnTo>
                    <a:pt x="274" y="1357"/>
                  </a:lnTo>
                  <a:lnTo>
                    <a:pt x="274" y="1357"/>
                  </a:lnTo>
                  <a:lnTo>
                    <a:pt x="277" y="1367"/>
                  </a:lnTo>
                  <a:lnTo>
                    <a:pt x="277" y="1367"/>
                  </a:lnTo>
                  <a:lnTo>
                    <a:pt x="278" y="1372"/>
                  </a:lnTo>
                  <a:lnTo>
                    <a:pt x="278" y="1372"/>
                  </a:lnTo>
                  <a:lnTo>
                    <a:pt x="278" y="1373"/>
                  </a:lnTo>
                  <a:lnTo>
                    <a:pt x="278" y="1373"/>
                  </a:lnTo>
                  <a:lnTo>
                    <a:pt x="278" y="1373"/>
                  </a:lnTo>
                  <a:lnTo>
                    <a:pt x="272" y="1380"/>
                  </a:lnTo>
                  <a:lnTo>
                    <a:pt x="272" y="1380"/>
                  </a:lnTo>
                  <a:lnTo>
                    <a:pt x="269" y="1385"/>
                  </a:lnTo>
                  <a:lnTo>
                    <a:pt x="269" y="1385"/>
                  </a:lnTo>
                  <a:lnTo>
                    <a:pt x="268" y="1389"/>
                  </a:lnTo>
                  <a:lnTo>
                    <a:pt x="268" y="1389"/>
                  </a:lnTo>
                  <a:lnTo>
                    <a:pt x="266" y="1393"/>
                  </a:lnTo>
                  <a:lnTo>
                    <a:pt x="266" y="1393"/>
                  </a:lnTo>
                  <a:lnTo>
                    <a:pt x="261" y="1398"/>
                  </a:lnTo>
                  <a:lnTo>
                    <a:pt x="261" y="1398"/>
                  </a:lnTo>
                  <a:lnTo>
                    <a:pt x="253" y="1402"/>
                  </a:lnTo>
                  <a:lnTo>
                    <a:pt x="253" y="1402"/>
                  </a:lnTo>
                  <a:lnTo>
                    <a:pt x="232" y="1409"/>
                  </a:lnTo>
                  <a:lnTo>
                    <a:pt x="232" y="1409"/>
                  </a:lnTo>
                  <a:lnTo>
                    <a:pt x="223" y="1414"/>
                  </a:lnTo>
                  <a:lnTo>
                    <a:pt x="223" y="1414"/>
                  </a:lnTo>
                  <a:lnTo>
                    <a:pt x="219" y="1415"/>
                  </a:lnTo>
                  <a:lnTo>
                    <a:pt x="217" y="1415"/>
                  </a:lnTo>
                  <a:lnTo>
                    <a:pt x="217" y="1415"/>
                  </a:lnTo>
                  <a:lnTo>
                    <a:pt x="216" y="1414"/>
                  </a:lnTo>
                  <a:lnTo>
                    <a:pt x="216" y="1414"/>
                  </a:lnTo>
                  <a:lnTo>
                    <a:pt x="214" y="1414"/>
                  </a:lnTo>
                  <a:lnTo>
                    <a:pt x="214" y="1414"/>
                  </a:lnTo>
                  <a:lnTo>
                    <a:pt x="213" y="1414"/>
                  </a:lnTo>
                  <a:lnTo>
                    <a:pt x="213" y="1414"/>
                  </a:lnTo>
                  <a:lnTo>
                    <a:pt x="206" y="1415"/>
                  </a:lnTo>
                  <a:lnTo>
                    <a:pt x="206" y="1415"/>
                  </a:lnTo>
                  <a:lnTo>
                    <a:pt x="200" y="1417"/>
                  </a:lnTo>
                  <a:lnTo>
                    <a:pt x="196" y="1419"/>
                  </a:lnTo>
                  <a:lnTo>
                    <a:pt x="196" y="1419"/>
                  </a:lnTo>
                  <a:lnTo>
                    <a:pt x="191" y="1424"/>
                  </a:lnTo>
                  <a:lnTo>
                    <a:pt x="191" y="1424"/>
                  </a:lnTo>
                  <a:lnTo>
                    <a:pt x="187" y="1425"/>
                  </a:lnTo>
                  <a:lnTo>
                    <a:pt x="187" y="1425"/>
                  </a:lnTo>
                  <a:lnTo>
                    <a:pt x="185" y="1424"/>
                  </a:lnTo>
                  <a:lnTo>
                    <a:pt x="185" y="1424"/>
                  </a:lnTo>
                  <a:lnTo>
                    <a:pt x="181" y="1419"/>
                  </a:lnTo>
                  <a:lnTo>
                    <a:pt x="181" y="1419"/>
                  </a:lnTo>
                  <a:lnTo>
                    <a:pt x="171" y="1408"/>
                  </a:lnTo>
                  <a:lnTo>
                    <a:pt x="171" y="1408"/>
                  </a:lnTo>
                  <a:lnTo>
                    <a:pt x="167" y="1404"/>
                  </a:lnTo>
                  <a:lnTo>
                    <a:pt x="167" y="1404"/>
                  </a:lnTo>
                  <a:lnTo>
                    <a:pt x="164" y="1402"/>
                  </a:lnTo>
                  <a:lnTo>
                    <a:pt x="164" y="1402"/>
                  </a:lnTo>
                  <a:lnTo>
                    <a:pt x="161" y="1401"/>
                  </a:lnTo>
                  <a:lnTo>
                    <a:pt x="161" y="1401"/>
                  </a:lnTo>
                  <a:lnTo>
                    <a:pt x="161" y="1404"/>
                  </a:lnTo>
                  <a:lnTo>
                    <a:pt x="161" y="1401"/>
                  </a:lnTo>
                  <a:lnTo>
                    <a:pt x="161" y="1401"/>
                  </a:lnTo>
                  <a:lnTo>
                    <a:pt x="154" y="1404"/>
                  </a:lnTo>
                  <a:lnTo>
                    <a:pt x="154" y="1404"/>
                  </a:lnTo>
                  <a:lnTo>
                    <a:pt x="149" y="1404"/>
                  </a:lnTo>
                  <a:lnTo>
                    <a:pt x="149" y="1404"/>
                  </a:lnTo>
                  <a:lnTo>
                    <a:pt x="145" y="1404"/>
                  </a:lnTo>
                  <a:lnTo>
                    <a:pt x="145" y="1404"/>
                  </a:lnTo>
                  <a:lnTo>
                    <a:pt x="142" y="1404"/>
                  </a:lnTo>
                  <a:lnTo>
                    <a:pt x="140" y="1402"/>
                  </a:lnTo>
                  <a:lnTo>
                    <a:pt x="140" y="1402"/>
                  </a:lnTo>
                  <a:lnTo>
                    <a:pt x="139" y="1399"/>
                  </a:lnTo>
                  <a:lnTo>
                    <a:pt x="139" y="1399"/>
                  </a:lnTo>
                  <a:lnTo>
                    <a:pt x="139" y="1395"/>
                  </a:lnTo>
                  <a:lnTo>
                    <a:pt x="139" y="1395"/>
                  </a:lnTo>
                  <a:lnTo>
                    <a:pt x="139" y="1390"/>
                  </a:lnTo>
                  <a:lnTo>
                    <a:pt x="139" y="1390"/>
                  </a:lnTo>
                  <a:lnTo>
                    <a:pt x="139" y="1380"/>
                  </a:lnTo>
                  <a:lnTo>
                    <a:pt x="139" y="1380"/>
                  </a:lnTo>
                  <a:lnTo>
                    <a:pt x="138" y="1376"/>
                  </a:lnTo>
                  <a:lnTo>
                    <a:pt x="138" y="1376"/>
                  </a:lnTo>
                  <a:lnTo>
                    <a:pt x="136" y="1375"/>
                  </a:lnTo>
                  <a:lnTo>
                    <a:pt x="136" y="1375"/>
                  </a:lnTo>
                  <a:lnTo>
                    <a:pt x="135" y="1373"/>
                  </a:lnTo>
                  <a:lnTo>
                    <a:pt x="135" y="1373"/>
                  </a:lnTo>
                  <a:lnTo>
                    <a:pt x="132" y="1373"/>
                  </a:lnTo>
                  <a:lnTo>
                    <a:pt x="132" y="1373"/>
                  </a:lnTo>
                  <a:lnTo>
                    <a:pt x="130" y="1373"/>
                  </a:lnTo>
                  <a:lnTo>
                    <a:pt x="129" y="1373"/>
                  </a:lnTo>
                  <a:lnTo>
                    <a:pt x="129" y="1372"/>
                  </a:lnTo>
                  <a:lnTo>
                    <a:pt x="129" y="1373"/>
                  </a:lnTo>
                  <a:lnTo>
                    <a:pt x="129" y="1373"/>
                  </a:lnTo>
                  <a:lnTo>
                    <a:pt x="129" y="1372"/>
                  </a:lnTo>
                  <a:lnTo>
                    <a:pt x="129" y="1373"/>
                  </a:lnTo>
                  <a:lnTo>
                    <a:pt x="129" y="1373"/>
                  </a:lnTo>
                  <a:lnTo>
                    <a:pt x="129" y="1373"/>
                  </a:lnTo>
                  <a:lnTo>
                    <a:pt x="129" y="1373"/>
                  </a:lnTo>
                  <a:lnTo>
                    <a:pt x="129" y="1373"/>
                  </a:lnTo>
                  <a:lnTo>
                    <a:pt x="129" y="1373"/>
                  </a:lnTo>
                  <a:lnTo>
                    <a:pt x="129" y="1373"/>
                  </a:lnTo>
                  <a:lnTo>
                    <a:pt x="129" y="1373"/>
                  </a:lnTo>
                  <a:lnTo>
                    <a:pt x="129" y="1373"/>
                  </a:lnTo>
                  <a:lnTo>
                    <a:pt x="129" y="1373"/>
                  </a:lnTo>
                  <a:lnTo>
                    <a:pt x="129" y="1373"/>
                  </a:lnTo>
                  <a:lnTo>
                    <a:pt x="129" y="1373"/>
                  </a:lnTo>
                  <a:lnTo>
                    <a:pt x="129" y="1373"/>
                  </a:lnTo>
                  <a:lnTo>
                    <a:pt x="129" y="1373"/>
                  </a:lnTo>
                  <a:lnTo>
                    <a:pt x="130" y="1370"/>
                  </a:lnTo>
                  <a:lnTo>
                    <a:pt x="130" y="1370"/>
                  </a:lnTo>
                  <a:lnTo>
                    <a:pt x="138" y="1353"/>
                  </a:lnTo>
                  <a:lnTo>
                    <a:pt x="138" y="1353"/>
                  </a:lnTo>
                  <a:lnTo>
                    <a:pt x="142" y="1344"/>
                  </a:lnTo>
                  <a:lnTo>
                    <a:pt x="142" y="1344"/>
                  </a:lnTo>
                  <a:lnTo>
                    <a:pt x="143" y="1337"/>
                  </a:lnTo>
                  <a:lnTo>
                    <a:pt x="143" y="1337"/>
                  </a:lnTo>
                  <a:lnTo>
                    <a:pt x="143" y="1334"/>
                  </a:lnTo>
                  <a:lnTo>
                    <a:pt x="143" y="1334"/>
                  </a:lnTo>
                  <a:lnTo>
                    <a:pt x="140" y="1317"/>
                  </a:lnTo>
                  <a:lnTo>
                    <a:pt x="140" y="1317"/>
                  </a:lnTo>
                  <a:lnTo>
                    <a:pt x="136" y="1296"/>
                  </a:lnTo>
                  <a:lnTo>
                    <a:pt x="136" y="1296"/>
                  </a:lnTo>
                  <a:lnTo>
                    <a:pt x="135" y="1292"/>
                  </a:lnTo>
                  <a:lnTo>
                    <a:pt x="133" y="1289"/>
                  </a:lnTo>
                  <a:lnTo>
                    <a:pt x="133" y="1289"/>
                  </a:lnTo>
                  <a:lnTo>
                    <a:pt x="132" y="1286"/>
                  </a:lnTo>
                  <a:lnTo>
                    <a:pt x="132" y="1286"/>
                  </a:lnTo>
                  <a:lnTo>
                    <a:pt x="130" y="1285"/>
                  </a:lnTo>
                  <a:lnTo>
                    <a:pt x="130" y="1285"/>
                  </a:lnTo>
                  <a:lnTo>
                    <a:pt x="130" y="1285"/>
                  </a:lnTo>
                  <a:lnTo>
                    <a:pt x="132" y="1283"/>
                  </a:lnTo>
                  <a:lnTo>
                    <a:pt x="132" y="1283"/>
                  </a:lnTo>
                  <a:lnTo>
                    <a:pt x="136" y="1280"/>
                  </a:lnTo>
                  <a:lnTo>
                    <a:pt x="140" y="1279"/>
                  </a:lnTo>
                  <a:lnTo>
                    <a:pt x="140" y="1279"/>
                  </a:lnTo>
                  <a:lnTo>
                    <a:pt x="145" y="1279"/>
                  </a:lnTo>
                  <a:lnTo>
                    <a:pt x="145" y="1279"/>
                  </a:lnTo>
                  <a:lnTo>
                    <a:pt x="149" y="1276"/>
                  </a:lnTo>
                  <a:lnTo>
                    <a:pt x="149" y="1276"/>
                  </a:lnTo>
                  <a:lnTo>
                    <a:pt x="154" y="1273"/>
                  </a:lnTo>
                  <a:lnTo>
                    <a:pt x="162" y="1272"/>
                  </a:lnTo>
                  <a:lnTo>
                    <a:pt x="162" y="1272"/>
                  </a:lnTo>
                  <a:lnTo>
                    <a:pt x="168" y="1272"/>
                  </a:lnTo>
                  <a:lnTo>
                    <a:pt x="168" y="1272"/>
                  </a:lnTo>
                  <a:lnTo>
                    <a:pt x="196" y="1273"/>
                  </a:lnTo>
                  <a:lnTo>
                    <a:pt x="196" y="1273"/>
                  </a:lnTo>
                  <a:lnTo>
                    <a:pt x="210" y="1273"/>
                  </a:lnTo>
                  <a:lnTo>
                    <a:pt x="210" y="1273"/>
                  </a:lnTo>
                  <a:lnTo>
                    <a:pt x="211" y="1273"/>
                  </a:lnTo>
                  <a:lnTo>
                    <a:pt x="211" y="1273"/>
                  </a:lnTo>
                  <a:lnTo>
                    <a:pt x="219" y="1275"/>
                  </a:lnTo>
                  <a:lnTo>
                    <a:pt x="227" y="1276"/>
                  </a:lnTo>
                  <a:lnTo>
                    <a:pt x="227" y="1276"/>
                  </a:lnTo>
                  <a:lnTo>
                    <a:pt x="236" y="1277"/>
                  </a:lnTo>
                  <a:lnTo>
                    <a:pt x="245" y="1279"/>
                  </a:lnTo>
                  <a:lnTo>
                    <a:pt x="245" y="1279"/>
                  </a:lnTo>
                  <a:lnTo>
                    <a:pt x="249" y="1277"/>
                  </a:lnTo>
                  <a:lnTo>
                    <a:pt x="249" y="1277"/>
                  </a:lnTo>
                  <a:lnTo>
                    <a:pt x="255" y="1275"/>
                  </a:lnTo>
                  <a:lnTo>
                    <a:pt x="258" y="1269"/>
                  </a:lnTo>
                  <a:lnTo>
                    <a:pt x="258" y="1269"/>
                  </a:lnTo>
                  <a:lnTo>
                    <a:pt x="259" y="1264"/>
                  </a:lnTo>
                  <a:lnTo>
                    <a:pt x="259" y="1259"/>
                  </a:lnTo>
                  <a:lnTo>
                    <a:pt x="259" y="1259"/>
                  </a:lnTo>
                  <a:lnTo>
                    <a:pt x="259" y="1257"/>
                  </a:lnTo>
                  <a:lnTo>
                    <a:pt x="259" y="1257"/>
                  </a:lnTo>
                  <a:lnTo>
                    <a:pt x="259" y="1257"/>
                  </a:lnTo>
                  <a:lnTo>
                    <a:pt x="261" y="1250"/>
                  </a:lnTo>
                  <a:lnTo>
                    <a:pt x="261" y="1250"/>
                  </a:lnTo>
                  <a:lnTo>
                    <a:pt x="262" y="1244"/>
                  </a:lnTo>
                  <a:lnTo>
                    <a:pt x="264" y="1237"/>
                  </a:lnTo>
                  <a:lnTo>
                    <a:pt x="264" y="1237"/>
                  </a:lnTo>
                  <a:lnTo>
                    <a:pt x="262" y="1225"/>
                  </a:lnTo>
                  <a:lnTo>
                    <a:pt x="262" y="1225"/>
                  </a:lnTo>
                  <a:lnTo>
                    <a:pt x="261" y="1218"/>
                  </a:lnTo>
                  <a:lnTo>
                    <a:pt x="258" y="1212"/>
                  </a:lnTo>
                  <a:lnTo>
                    <a:pt x="253" y="1204"/>
                  </a:lnTo>
                  <a:lnTo>
                    <a:pt x="253" y="1204"/>
                  </a:lnTo>
                  <a:lnTo>
                    <a:pt x="249" y="1199"/>
                  </a:lnTo>
                  <a:lnTo>
                    <a:pt x="249" y="1199"/>
                  </a:lnTo>
                  <a:lnTo>
                    <a:pt x="246" y="1196"/>
                  </a:lnTo>
                  <a:lnTo>
                    <a:pt x="246" y="1196"/>
                  </a:lnTo>
                  <a:lnTo>
                    <a:pt x="246" y="1193"/>
                  </a:lnTo>
                  <a:lnTo>
                    <a:pt x="246" y="1193"/>
                  </a:lnTo>
                  <a:lnTo>
                    <a:pt x="246" y="1191"/>
                  </a:lnTo>
                  <a:lnTo>
                    <a:pt x="246" y="1191"/>
                  </a:lnTo>
                  <a:lnTo>
                    <a:pt x="245" y="1186"/>
                  </a:lnTo>
                  <a:lnTo>
                    <a:pt x="245" y="1186"/>
                  </a:lnTo>
                  <a:lnTo>
                    <a:pt x="243" y="1185"/>
                  </a:lnTo>
                  <a:lnTo>
                    <a:pt x="242" y="1183"/>
                  </a:lnTo>
                  <a:lnTo>
                    <a:pt x="242" y="1183"/>
                  </a:lnTo>
                  <a:lnTo>
                    <a:pt x="223" y="1176"/>
                  </a:lnTo>
                  <a:lnTo>
                    <a:pt x="223" y="1176"/>
                  </a:lnTo>
                  <a:lnTo>
                    <a:pt x="213" y="1172"/>
                  </a:lnTo>
                  <a:lnTo>
                    <a:pt x="213" y="1172"/>
                  </a:lnTo>
                  <a:lnTo>
                    <a:pt x="209" y="1170"/>
                  </a:lnTo>
                  <a:lnTo>
                    <a:pt x="209" y="1169"/>
                  </a:lnTo>
                  <a:lnTo>
                    <a:pt x="207" y="1169"/>
                  </a:lnTo>
                  <a:lnTo>
                    <a:pt x="207" y="1169"/>
                  </a:lnTo>
                  <a:lnTo>
                    <a:pt x="207" y="1169"/>
                  </a:lnTo>
                  <a:lnTo>
                    <a:pt x="207" y="1169"/>
                  </a:lnTo>
                  <a:lnTo>
                    <a:pt x="207" y="1169"/>
                  </a:lnTo>
                  <a:lnTo>
                    <a:pt x="207" y="1169"/>
                  </a:lnTo>
                  <a:lnTo>
                    <a:pt x="207" y="1169"/>
                  </a:lnTo>
                  <a:lnTo>
                    <a:pt x="207" y="1169"/>
                  </a:lnTo>
                  <a:lnTo>
                    <a:pt x="206" y="1160"/>
                  </a:lnTo>
                  <a:lnTo>
                    <a:pt x="206" y="1160"/>
                  </a:lnTo>
                  <a:lnTo>
                    <a:pt x="206" y="1157"/>
                  </a:lnTo>
                  <a:lnTo>
                    <a:pt x="206" y="1157"/>
                  </a:lnTo>
                  <a:lnTo>
                    <a:pt x="203" y="1154"/>
                  </a:lnTo>
                  <a:lnTo>
                    <a:pt x="203" y="1154"/>
                  </a:lnTo>
                  <a:lnTo>
                    <a:pt x="203" y="1154"/>
                  </a:lnTo>
                  <a:lnTo>
                    <a:pt x="203" y="1154"/>
                  </a:lnTo>
                  <a:lnTo>
                    <a:pt x="203" y="1154"/>
                  </a:lnTo>
                  <a:lnTo>
                    <a:pt x="203" y="1154"/>
                  </a:lnTo>
                  <a:lnTo>
                    <a:pt x="201" y="1156"/>
                  </a:lnTo>
                  <a:lnTo>
                    <a:pt x="204" y="1156"/>
                  </a:lnTo>
                  <a:lnTo>
                    <a:pt x="204" y="1156"/>
                  </a:lnTo>
                  <a:lnTo>
                    <a:pt x="203" y="1154"/>
                  </a:lnTo>
                  <a:lnTo>
                    <a:pt x="201" y="1156"/>
                  </a:lnTo>
                  <a:lnTo>
                    <a:pt x="204" y="1156"/>
                  </a:lnTo>
                  <a:lnTo>
                    <a:pt x="201" y="1156"/>
                  </a:lnTo>
                  <a:lnTo>
                    <a:pt x="203" y="1156"/>
                  </a:lnTo>
                  <a:lnTo>
                    <a:pt x="203" y="1156"/>
                  </a:lnTo>
                  <a:lnTo>
                    <a:pt x="204" y="1156"/>
                  </a:lnTo>
                  <a:lnTo>
                    <a:pt x="201" y="1156"/>
                  </a:lnTo>
                  <a:lnTo>
                    <a:pt x="203" y="1156"/>
                  </a:lnTo>
                  <a:lnTo>
                    <a:pt x="203" y="1156"/>
                  </a:lnTo>
                  <a:lnTo>
                    <a:pt x="203" y="1156"/>
                  </a:lnTo>
                  <a:lnTo>
                    <a:pt x="203" y="1156"/>
                  </a:lnTo>
                  <a:lnTo>
                    <a:pt x="203" y="1156"/>
                  </a:lnTo>
                  <a:lnTo>
                    <a:pt x="203" y="1156"/>
                  </a:lnTo>
                  <a:lnTo>
                    <a:pt x="203" y="1156"/>
                  </a:lnTo>
                  <a:lnTo>
                    <a:pt x="204" y="1156"/>
                  </a:lnTo>
                  <a:lnTo>
                    <a:pt x="204" y="1156"/>
                  </a:lnTo>
                  <a:lnTo>
                    <a:pt x="217" y="1153"/>
                  </a:lnTo>
                  <a:lnTo>
                    <a:pt x="217" y="1153"/>
                  </a:lnTo>
                  <a:lnTo>
                    <a:pt x="220" y="1153"/>
                  </a:lnTo>
                  <a:lnTo>
                    <a:pt x="220" y="1153"/>
                  </a:lnTo>
                  <a:lnTo>
                    <a:pt x="226" y="1154"/>
                  </a:lnTo>
                  <a:lnTo>
                    <a:pt x="230" y="1156"/>
                  </a:lnTo>
                  <a:lnTo>
                    <a:pt x="230" y="1156"/>
                  </a:lnTo>
                  <a:lnTo>
                    <a:pt x="236" y="1157"/>
                  </a:lnTo>
                  <a:lnTo>
                    <a:pt x="242" y="1159"/>
                  </a:lnTo>
                  <a:lnTo>
                    <a:pt x="242" y="1159"/>
                  </a:lnTo>
                  <a:lnTo>
                    <a:pt x="243" y="1159"/>
                  </a:lnTo>
                  <a:lnTo>
                    <a:pt x="243" y="1159"/>
                  </a:lnTo>
                  <a:lnTo>
                    <a:pt x="252" y="1156"/>
                  </a:lnTo>
                  <a:lnTo>
                    <a:pt x="252" y="1156"/>
                  </a:lnTo>
                  <a:lnTo>
                    <a:pt x="255" y="1154"/>
                  </a:lnTo>
                  <a:lnTo>
                    <a:pt x="255" y="1154"/>
                  </a:lnTo>
                  <a:lnTo>
                    <a:pt x="256" y="1150"/>
                  </a:lnTo>
                  <a:lnTo>
                    <a:pt x="256" y="1150"/>
                  </a:lnTo>
                  <a:lnTo>
                    <a:pt x="256" y="1149"/>
                  </a:lnTo>
                  <a:lnTo>
                    <a:pt x="256" y="1149"/>
                  </a:lnTo>
                  <a:lnTo>
                    <a:pt x="255" y="1141"/>
                  </a:lnTo>
                  <a:lnTo>
                    <a:pt x="255" y="1141"/>
                  </a:lnTo>
                  <a:lnTo>
                    <a:pt x="252" y="1134"/>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6" y="1136"/>
                  </a:lnTo>
                  <a:lnTo>
                    <a:pt x="256" y="1136"/>
                  </a:lnTo>
                  <a:lnTo>
                    <a:pt x="262" y="1138"/>
                  </a:lnTo>
                  <a:lnTo>
                    <a:pt x="262" y="1138"/>
                  </a:lnTo>
                  <a:lnTo>
                    <a:pt x="265" y="1140"/>
                  </a:lnTo>
                  <a:lnTo>
                    <a:pt x="269" y="1141"/>
                  </a:lnTo>
                  <a:lnTo>
                    <a:pt x="269" y="1141"/>
                  </a:lnTo>
                  <a:lnTo>
                    <a:pt x="272" y="1140"/>
                  </a:lnTo>
                  <a:lnTo>
                    <a:pt x="275" y="1138"/>
                  </a:lnTo>
                  <a:lnTo>
                    <a:pt x="275" y="1138"/>
                  </a:lnTo>
                  <a:lnTo>
                    <a:pt x="280" y="1136"/>
                  </a:lnTo>
                  <a:lnTo>
                    <a:pt x="281" y="1131"/>
                  </a:lnTo>
                  <a:lnTo>
                    <a:pt x="281" y="1131"/>
                  </a:lnTo>
                  <a:lnTo>
                    <a:pt x="282" y="1128"/>
                  </a:lnTo>
                  <a:lnTo>
                    <a:pt x="285" y="1127"/>
                  </a:lnTo>
                  <a:lnTo>
                    <a:pt x="285" y="1127"/>
                  </a:lnTo>
                  <a:lnTo>
                    <a:pt x="288" y="1125"/>
                  </a:lnTo>
                  <a:lnTo>
                    <a:pt x="290" y="1124"/>
                  </a:lnTo>
                  <a:lnTo>
                    <a:pt x="290" y="1124"/>
                  </a:lnTo>
                  <a:lnTo>
                    <a:pt x="294" y="1124"/>
                  </a:lnTo>
                  <a:lnTo>
                    <a:pt x="294" y="1124"/>
                  </a:lnTo>
                  <a:lnTo>
                    <a:pt x="297" y="1123"/>
                  </a:lnTo>
                  <a:lnTo>
                    <a:pt x="297" y="1123"/>
                  </a:lnTo>
                  <a:lnTo>
                    <a:pt x="303" y="1115"/>
                  </a:lnTo>
                  <a:lnTo>
                    <a:pt x="303" y="1115"/>
                  </a:lnTo>
                  <a:lnTo>
                    <a:pt x="304" y="1112"/>
                  </a:lnTo>
                  <a:lnTo>
                    <a:pt x="304" y="1112"/>
                  </a:lnTo>
                  <a:lnTo>
                    <a:pt x="306" y="1108"/>
                  </a:lnTo>
                  <a:lnTo>
                    <a:pt x="306" y="1108"/>
                  </a:lnTo>
                  <a:lnTo>
                    <a:pt x="306" y="1104"/>
                  </a:lnTo>
                  <a:lnTo>
                    <a:pt x="306" y="1104"/>
                  </a:lnTo>
                  <a:lnTo>
                    <a:pt x="306" y="1098"/>
                  </a:lnTo>
                  <a:lnTo>
                    <a:pt x="306" y="1098"/>
                  </a:lnTo>
                  <a:lnTo>
                    <a:pt x="306" y="1092"/>
                  </a:lnTo>
                  <a:lnTo>
                    <a:pt x="306" y="1092"/>
                  </a:lnTo>
                  <a:lnTo>
                    <a:pt x="310" y="1088"/>
                  </a:lnTo>
                  <a:lnTo>
                    <a:pt x="310" y="1088"/>
                  </a:lnTo>
                  <a:lnTo>
                    <a:pt x="314" y="1086"/>
                  </a:lnTo>
                  <a:lnTo>
                    <a:pt x="314" y="1086"/>
                  </a:lnTo>
                  <a:lnTo>
                    <a:pt x="314" y="1086"/>
                  </a:lnTo>
                  <a:lnTo>
                    <a:pt x="323" y="1088"/>
                  </a:lnTo>
                  <a:lnTo>
                    <a:pt x="323" y="1088"/>
                  </a:lnTo>
                  <a:lnTo>
                    <a:pt x="326" y="1088"/>
                  </a:lnTo>
                  <a:lnTo>
                    <a:pt x="326" y="1088"/>
                  </a:lnTo>
                  <a:lnTo>
                    <a:pt x="329" y="1086"/>
                  </a:lnTo>
                  <a:lnTo>
                    <a:pt x="335" y="1085"/>
                  </a:lnTo>
                  <a:lnTo>
                    <a:pt x="335" y="1085"/>
                  </a:lnTo>
                  <a:lnTo>
                    <a:pt x="339" y="1081"/>
                  </a:lnTo>
                  <a:lnTo>
                    <a:pt x="342" y="1078"/>
                  </a:lnTo>
                  <a:lnTo>
                    <a:pt x="343" y="1073"/>
                  </a:lnTo>
                  <a:lnTo>
                    <a:pt x="343" y="1073"/>
                  </a:lnTo>
                  <a:lnTo>
                    <a:pt x="345" y="1065"/>
                  </a:lnTo>
                  <a:lnTo>
                    <a:pt x="349" y="1056"/>
                  </a:lnTo>
                  <a:lnTo>
                    <a:pt x="349" y="1056"/>
                  </a:lnTo>
                  <a:lnTo>
                    <a:pt x="353" y="1047"/>
                  </a:lnTo>
                  <a:lnTo>
                    <a:pt x="353" y="1047"/>
                  </a:lnTo>
                  <a:lnTo>
                    <a:pt x="355" y="1046"/>
                  </a:lnTo>
                  <a:lnTo>
                    <a:pt x="356" y="1046"/>
                  </a:lnTo>
                  <a:lnTo>
                    <a:pt x="356" y="1046"/>
                  </a:lnTo>
                  <a:lnTo>
                    <a:pt x="356" y="1046"/>
                  </a:lnTo>
                  <a:lnTo>
                    <a:pt x="356" y="1046"/>
                  </a:lnTo>
                  <a:lnTo>
                    <a:pt x="356" y="1046"/>
                  </a:lnTo>
                  <a:lnTo>
                    <a:pt x="356" y="1046"/>
                  </a:lnTo>
                  <a:lnTo>
                    <a:pt x="355" y="1044"/>
                  </a:lnTo>
                  <a:lnTo>
                    <a:pt x="355" y="1046"/>
                  </a:lnTo>
                  <a:lnTo>
                    <a:pt x="356" y="1046"/>
                  </a:lnTo>
                  <a:lnTo>
                    <a:pt x="355" y="1044"/>
                  </a:lnTo>
                  <a:lnTo>
                    <a:pt x="355" y="1046"/>
                  </a:lnTo>
                  <a:lnTo>
                    <a:pt x="355" y="1046"/>
                  </a:lnTo>
                  <a:lnTo>
                    <a:pt x="358" y="1046"/>
                  </a:lnTo>
                  <a:lnTo>
                    <a:pt x="358" y="1046"/>
                  </a:lnTo>
                  <a:lnTo>
                    <a:pt x="361" y="1044"/>
                  </a:lnTo>
                  <a:lnTo>
                    <a:pt x="361" y="1044"/>
                  </a:lnTo>
                  <a:lnTo>
                    <a:pt x="366" y="1038"/>
                  </a:lnTo>
                  <a:lnTo>
                    <a:pt x="366" y="1038"/>
                  </a:lnTo>
                  <a:lnTo>
                    <a:pt x="369" y="1036"/>
                  </a:lnTo>
                  <a:lnTo>
                    <a:pt x="372" y="1034"/>
                  </a:lnTo>
                  <a:lnTo>
                    <a:pt x="372" y="1034"/>
                  </a:lnTo>
                  <a:lnTo>
                    <a:pt x="378" y="1033"/>
                  </a:lnTo>
                  <a:lnTo>
                    <a:pt x="378" y="1033"/>
                  </a:lnTo>
                  <a:lnTo>
                    <a:pt x="382" y="1033"/>
                  </a:lnTo>
                  <a:lnTo>
                    <a:pt x="387" y="1030"/>
                  </a:lnTo>
                  <a:lnTo>
                    <a:pt x="387" y="1030"/>
                  </a:lnTo>
                  <a:lnTo>
                    <a:pt x="395" y="1023"/>
                  </a:lnTo>
                  <a:lnTo>
                    <a:pt x="395" y="1023"/>
                  </a:lnTo>
                  <a:lnTo>
                    <a:pt x="395" y="1023"/>
                  </a:lnTo>
                  <a:lnTo>
                    <a:pt x="395" y="1023"/>
                  </a:lnTo>
                  <a:lnTo>
                    <a:pt x="398" y="1024"/>
                  </a:lnTo>
                  <a:lnTo>
                    <a:pt x="398" y="1024"/>
                  </a:lnTo>
                  <a:lnTo>
                    <a:pt x="404" y="1027"/>
                  </a:lnTo>
                  <a:lnTo>
                    <a:pt x="404" y="1027"/>
                  </a:lnTo>
                  <a:lnTo>
                    <a:pt x="407" y="1028"/>
                  </a:lnTo>
                  <a:lnTo>
                    <a:pt x="411" y="1028"/>
                  </a:lnTo>
                  <a:lnTo>
                    <a:pt x="411" y="1028"/>
                  </a:lnTo>
                  <a:lnTo>
                    <a:pt x="414" y="1028"/>
                  </a:lnTo>
                  <a:lnTo>
                    <a:pt x="414" y="1028"/>
                  </a:lnTo>
                  <a:lnTo>
                    <a:pt x="417" y="1024"/>
                  </a:lnTo>
                  <a:lnTo>
                    <a:pt x="419" y="1021"/>
                  </a:lnTo>
                  <a:lnTo>
                    <a:pt x="419" y="1021"/>
                  </a:lnTo>
                  <a:lnTo>
                    <a:pt x="420" y="1014"/>
                  </a:lnTo>
                  <a:lnTo>
                    <a:pt x="420" y="1014"/>
                  </a:lnTo>
                  <a:lnTo>
                    <a:pt x="419" y="1007"/>
                  </a:lnTo>
                  <a:lnTo>
                    <a:pt x="419" y="1007"/>
                  </a:lnTo>
                  <a:lnTo>
                    <a:pt x="413" y="978"/>
                  </a:lnTo>
                  <a:lnTo>
                    <a:pt x="413" y="978"/>
                  </a:lnTo>
                  <a:lnTo>
                    <a:pt x="410" y="969"/>
                  </a:lnTo>
                  <a:lnTo>
                    <a:pt x="410" y="969"/>
                  </a:lnTo>
                  <a:lnTo>
                    <a:pt x="408" y="963"/>
                  </a:lnTo>
                  <a:lnTo>
                    <a:pt x="408" y="962"/>
                  </a:lnTo>
                  <a:lnTo>
                    <a:pt x="408" y="962"/>
                  </a:lnTo>
                  <a:lnTo>
                    <a:pt x="410" y="959"/>
                  </a:lnTo>
                  <a:lnTo>
                    <a:pt x="410" y="959"/>
                  </a:lnTo>
                  <a:lnTo>
                    <a:pt x="410" y="947"/>
                  </a:lnTo>
                  <a:lnTo>
                    <a:pt x="410" y="947"/>
                  </a:lnTo>
                  <a:lnTo>
                    <a:pt x="410" y="941"/>
                  </a:lnTo>
                  <a:lnTo>
                    <a:pt x="410" y="941"/>
                  </a:lnTo>
                  <a:lnTo>
                    <a:pt x="411" y="940"/>
                  </a:lnTo>
                  <a:lnTo>
                    <a:pt x="411" y="940"/>
                  </a:lnTo>
                  <a:lnTo>
                    <a:pt x="411" y="940"/>
                  </a:lnTo>
                  <a:lnTo>
                    <a:pt x="411" y="940"/>
                  </a:lnTo>
                  <a:lnTo>
                    <a:pt x="411" y="940"/>
                  </a:lnTo>
                  <a:lnTo>
                    <a:pt x="411" y="940"/>
                  </a:lnTo>
                  <a:lnTo>
                    <a:pt x="411" y="940"/>
                  </a:lnTo>
                  <a:lnTo>
                    <a:pt x="411" y="940"/>
                  </a:lnTo>
                  <a:lnTo>
                    <a:pt x="411" y="940"/>
                  </a:lnTo>
                  <a:lnTo>
                    <a:pt x="414" y="934"/>
                  </a:lnTo>
                  <a:lnTo>
                    <a:pt x="414" y="934"/>
                  </a:lnTo>
                  <a:lnTo>
                    <a:pt x="416" y="931"/>
                  </a:lnTo>
                  <a:lnTo>
                    <a:pt x="416" y="931"/>
                  </a:lnTo>
                  <a:lnTo>
                    <a:pt x="416" y="931"/>
                  </a:lnTo>
                  <a:lnTo>
                    <a:pt x="414" y="930"/>
                  </a:lnTo>
                  <a:lnTo>
                    <a:pt x="414" y="931"/>
                  </a:lnTo>
                  <a:lnTo>
                    <a:pt x="414" y="931"/>
                  </a:lnTo>
                  <a:lnTo>
                    <a:pt x="416" y="931"/>
                  </a:lnTo>
                  <a:lnTo>
                    <a:pt x="414" y="930"/>
                  </a:lnTo>
                  <a:lnTo>
                    <a:pt x="414" y="931"/>
                  </a:lnTo>
                  <a:lnTo>
                    <a:pt x="414" y="930"/>
                  </a:lnTo>
                  <a:lnTo>
                    <a:pt x="414" y="931"/>
                  </a:lnTo>
                  <a:lnTo>
                    <a:pt x="414" y="931"/>
                  </a:lnTo>
                  <a:lnTo>
                    <a:pt x="414" y="930"/>
                  </a:lnTo>
                  <a:lnTo>
                    <a:pt x="414" y="931"/>
                  </a:lnTo>
                  <a:lnTo>
                    <a:pt x="414" y="931"/>
                  </a:lnTo>
                  <a:lnTo>
                    <a:pt x="413" y="931"/>
                  </a:lnTo>
                  <a:lnTo>
                    <a:pt x="414" y="931"/>
                  </a:lnTo>
                  <a:lnTo>
                    <a:pt x="414" y="931"/>
                  </a:lnTo>
                  <a:lnTo>
                    <a:pt x="413" y="931"/>
                  </a:lnTo>
                  <a:lnTo>
                    <a:pt x="413" y="931"/>
                  </a:lnTo>
                  <a:lnTo>
                    <a:pt x="414" y="934"/>
                  </a:lnTo>
                  <a:lnTo>
                    <a:pt x="414" y="934"/>
                  </a:lnTo>
                  <a:lnTo>
                    <a:pt x="417" y="940"/>
                  </a:lnTo>
                  <a:lnTo>
                    <a:pt x="417" y="940"/>
                  </a:lnTo>
                  <a:lnTo>
                    <a:pt x="419" y="941"/>
                  </a:lnTo>
                  <a:lnTo>
                    <a:pt x="419" y="941"/>
                  </a:lnTo>
                  <a:lnTo>
                    <a:pt x="420" y="943"/>
                  </a:lnTo>
                  <a:lnTo>
                    <a:pt x="420" y="943"/>
                  </a:lnTo>
                  <a:lnTo>
                    <a:pt x="421" y="944"/>
                  </a:lnTo>
                  <a:lnTo>
                    <a:pt x="421" y="944"/>
                  </a:lnTo>
                  <a:lnTo>
                    <a:pt x="424" y="943"/>
                  </a:lnTo>
                  <a:lnTo>
                    <a:pt x="424" y="943"/>
                  </a:lnTo>
                  <a:lnTo>
                    <a:pt x="429" y="940"/>
                  </a:lnTo>
                  <a:lnTo>
                    <a:pt x="429" y="940"/>
                  </a:lnTo>
                  <a:lnTo>
                    <a:pt x="432" y="937"/>
                  </a:lnTo>
                  <a:lnTo>
                    <a:pt x="432" y="937"/>
                  </a:lnTo>
                  <a:lnTo>
                    <a:pt x="432" y="933"/>
                  </a:lnTo>
                  <a:lnTo>
                    <a:pt x="432" y="933"/>
                  </a:lnTo>
                  <a:lnTo>
                    <a:pt x="432" y="931"/>
                  </a:lnTo>
                  <a:lnTo>
                    <a:pt x="430" y="928"/>
                  </a:lnTo>
                  <a:lnTo>
                    <a:pt x="430" y="928"/>
                  </a:lnTo>
                  <a:lnTo>
                    <a:pt x="430" y="928"/>
                  </a:lnTo>
                  <a:lnTo>
                    <a:pt x="430" y="928"/>
                  </a:lnTo>
                  <a:lnTo>
                    <a:pt x="430" y="924"/>
                  </a:lnTo>
                  <a:lnTo>
                    <a:pt x="430" y="924"/>
                  </a:lnTo>
                  <a:lnTo>
                    <a:pt x="434" y="921"/>
                  </a:lnTo>
                  <a:lnTo>
                    <a:pt x="434" y="921"/>
                  </a:lnTo>
                  <a:lnTo>
                    <a:pt x="439" y="917"/>
                  </a:lnTo>
                  <a:lnTo>
                    <a:pt x="439" y="917"/>
                  </a:lnTo>
                  <a:lnTo>
                    <a:pt x="442" y="914"/>
                  </a:lnTo>
                  <a:lnTo>
                    <a:pt x="443" y="914"/>
                  </a:lnTo>
                  <a:lnTo>
                    <a:pt x="443" y="914"/>
                  </a:lnTo>
                  <a:lnTo>
                    <a:pt x="443" y="914"/>
                  </a:lnTo>
                  <a:lnTo>
                    <a:pt x="443" y="914"/>
                  </a:lnTo>
                  <a:lnTo>
                    <a:pt x="443" y="914"/>
                  </a:lnTo>
                  <a:lnTo>
                    <a:pt x="443" y="914"/>
                  </a:lnTo>
                  <a:lnTo>
                    <a:pt x="443" y="914"/>
                  </a:lnTo>
                  <a:lnTo>
                    <a:pt x="443" y="912"/>
                  </a:lnTo>
                  <a:lnTo>
                    <a:pt x="442" y="914"/>
                  </a:lnTo>
                  <a:lnTo>
                    <a:pt x="442" y="914"/>
                  </a:lnTo>
                  <a:lnTo>
                    <a:pt x="443" y="914"/>
                  </a:lnTo>
                  <a:lnTo>
                    <a:pt x="443" y="912"/>
                  </a:lnTo>
                  <a:lnTo>
                    <a:pt x="442" y="914"/>
                  </a:lnTo>
                  <a:lnTo>
                    <a:pt x="443" y="912"/>
                  </a:lnTo>
                  <a:lnTo>
                    <a:pt x="442" y="912"/>
                  </a:lnTo>
                  <a:lnTo>
                    <a:pt x="442" y="914"/>
                  </a:lnTo>
                  <a:lnTo>
                    <a:pt x="443" y="912"/>
                  </a:lnTo>
                  <a:lnTo>
                    <a:pt x="442" y="912"/>
                  </a:lnTo>
                  <a:lnTo>
                    <a:pt x="442" y="912"/>
                  </a:lnTo>
                  <a:lnTo>
                    <a:pt x="442" y="912"/>
                  </a:lnTo>
                  <a:lnTo>
                    <a:pt x="442" y="912"/>
                  </a:lnTo>
                  <a:lnTo>
                    <a:pt x="442" y="912"/>
                  </a:lnTo>
                  <a:lnTo>
                    <a:pt x="442" y="912"/>
                  </a:lnTo>
                  <a:lnTo>
                    <a:pt x="442" y="912"/>
                  </a:lnTo>
                  <a:lnTo>
                    <a:pt x="442" y="912"/>
                  </a:lnTo>
                  <a:lnTo>
                    <a:pt x="440" y="923"/>
                  </a:lnTo>
                  <a:lnTo>
                    <a:pt x="440" y="923"/>
                  </a:lnTo>
                  <a:lnTo>
                    <a:pt x="440" y="927"/>
                  </a:lnTo>
                  <a:lnTo>
                    <a:pt x="440" y="927"/>
                  </a:lnTo>
                  <a:lnTo>
                    <a:pt x="439" y="927"/>
                  </a:lnTo>
                  <a:lnTo>
                    <a:pt x="439" y="928"/>
                  </a:lnTo>
                  <a:lnTo>
                    <a:pt x="439" y="928"/>
                  </a:lnTo>
                  <a:lnTo>
                    <a:pt x="439" y="928"/>
                  </a:lnTo>
                  <a:lnTo>
                    <a:pt x="439" y="928"/>
                  </a:lnTo>
                  <a:lnTo>
                    <a:pt x="439" y="928"/>
                  </a:lnTo>
                  <a:lnTo>
                    <a:pt x="439" y="928"/>
                  </a:lnTo>
                  <a:lnTo>
                    <a:pt x="439" y="928"/>
                  </a:lnTo>
                  <a:lnTo>
                    <a:pt x="439" y="928"/>
                  </a:lnTo>
                  <a:lnTo>
                    <a:pt x="437" y="930"/>
                  </a:lnTo>
                  <a:lnTo>
                    <a:pt x="437" y="930"/>
                  </a:lnTo>
                  <a:lnTo>
                    <a:pt x="436" y="933"/>
                  </a:lnTo>
                  <a:lnTo>
                    <a:pt x="436" y="933"/>
                  </a:lnTo>
                  <a:lnTo>
                    <a:pt x="436" y="937"/>
                  </a:lnTo>
                  <a:lnTo>
                    <a:pt x="436" y="937"/>
                  </a:lnTo>
                  <a:lnTo>
                    <a:pt x="436" y="946"/>
                  </a:lnTo>
                  <a:lnTo>
                    <a:pt x="436" y="946"/>
                  </a:lnTo>
                  <a:lnTo>
                    <a:pt x="437" y="949"/>
                  </a:lnTo>
                  <a:lnTo>
                    <a:pt x="437" y="949"/>
                  </a:lnTo>
                  <a:lnTo>
                    <a:pt x="439" y="950"/>
                  </a:lnTo>
                  <a:lnTo>
                    <a:pt x="439" y="950"/>
                  </a:lnTo>
                  <a:lnTo>
                    <a:pt x="442" y="950"/>
                  </a:lnTo>
                  <a:lnTo>
                    <a:pt x="442" y="950"/>
                  </a:lnTo>
                  <a:lnTo>
                    <a:pt x="443" y="950"/>
                  </a:lnTo>
                  <a:lnTo>
                    <a:pt x="443" y="950"/>
                  </a:lnTo>
                  <a:lnTo>
                    <a:pt x="448" y="949"/>
                  </a:lnTo>
                  <a:lnTo>
                    <a:pt x="449" y="949"/>
                  </a:lnTo>
                  <a:lnTo>
                    <a:pt x="449" y="949"/>
                  </a:lnTo>
                  <a:lnTo>
                    <a:pt x="449" y="947"/>
                  </a:lnTo>
                  <a:lnTo>
                    <a:pt x="449" y="949"/>
                  </a:lnTo>
                  <a:lnTo>
                    <a:pt x="449" y="949"/>
                  </a:lnTo>
                  <a:lnTo>
                    <a:pt x="449" y="947"/>
                  </a:lnTo>
                  <a:lnTo>
                    <a:pt x="449" y="949"/>
                  </a:lnTo>
                  <a:lnTo>
                    <a:pt x="449" y="947"/>
                  </a:lnTo>
                  <a:lnTo>
                    <a:pt x="449" y="947"/>
                  </a:lnTo>
                  <a:lnTo>
                    <a:pt x="449" y="949"/>
                  </a:lnTo>
                  <a:lnTo>
                    <a:pt x="449" y="947"/>
                  </a:lnTo>
                  <a:lnTo>
                    <a:pt x="449" y="947"/>
                  </a:lnTo>
                  <a:lnTo>
                    <a:pt x="449" y="947"/>
                  </a:lnTo>
                  <a:lnTo>
                    <a:pt x="449" y="947"/>
                  </a:lnTo>
                  <a:lnTo>
                    <a:pt x="449" y="947"/>
                  </a:lnTo>
                  <a:lnTo>
                    <a:pt x="449" y="947"/>
                  </a:lnTo>
                  <a:lnTo>
                    <a:pt x="449" y="947"/>
                  </a:lnTo>
                  <a:lnTo>
                    <a:pt x="448" y="947"/>
                  </a:lnTo>
                  <a:lnTo>
                    <a:pt x="448" y="947"/>
                  </a:lnTo>
                  <a:lnTo>
                    <a:pt x="448" y="949"/>
                  </a:lnTo>
                  <a:lnTo>
                    <a:pt x="448" y="949"/>
                  </a:lnTo>
                  <a:lnTo>
                    <a:pt x="445" y="950"/>
                  </a:lnTo>
                  <a:lnTo>
                    <a:pt x="439" y="956"/>
                  </a:lnTo>
                  <a:lnTo>
                    <a:pt x="439" y="956"/>
                  </a:lnTo>
                  <a:lnTo>
                    <a:pt x="433" y="963"/>
                  </a:lnTo>
                  <a:lnTo>
                    <a:pt x="433" y="963"/>
                  </a:lnTo>
                  <a:lnTo>
                    <a:pt x="430" y="968"/>
                  </a:lnTo>
                  <a:lnTo>
                    <a:pt x="430" y="968"/>
                  </a:lnTo>
                  <a:lnTo>
                    <a:pt x="429" y="972"/>
                  </a:lnTo>
                  <a:lnTo>
                    <a:pt x="429" y="972"/>
                  </a:lnTo>
                  <a:lnTo>
                    <a:pt x="429" y="973"/>
                  </a:lnTo>
                  <a:lnTo>
                    <a:pt x="429" y="973"/>
                  </a:lnTo>
                  <a:lnTo>
                    <a:pt x="432" y="975"/>
                  </a:lnTo>
                  <a:lnTo>
                    <a:pt x="432" y="975"/>
                  </a:lnTo>
                  <a:lnTo>
                    <a:pt x="440" y="978"/>
                  </a:lnTo>
                  <a:lnTo>
                    <a:pt x="440" y="978"/>
                  </a:lnTo>
                  <a:lnTo>
                    <a:pt x="443" y="979"/>
                  </a:lnTo>
                  <a:lnTo>
                    <a:pt x="443" y="979"/>
                  </a:lnTo>
                  <a:lnTo>
                    <a:pt x="443" y="979"/>
                  </a:lnTo>
                  <a:lnTo>
                    <a:pt x="443" y="979"/>
                  </a:lnTo>
                  <a:lnTo>
                    <a:pt x="443" y="979"/>
                  </a:lnTo>
                  <a:lnTo>
                    <a:pt x="443" y="979"/>
                  </a:lnTo>
                  <a:lnTo>
                    <a:pt x="443" y="979"/>
                  </a:lnTo>
                  <a:lnTo>
                    <a:pt x="445" y="979"/>
                  </a:lnTo>
                  <a:lnTo>
                    <a:pt x="443" y="979"/>
                  </a:lnTo>
                  <a:lnTo>
                    <a:pt x="443" y="979"/>
                  </a:lnTo>
                  <a:lnTo>
                    <a:pt x="445" y="979"/>
                  </a:lnTo>
                  <a:lnTo>
                    <a:pt x="443" y="979"/>
                  </a:lnTo>
                  <a:lnTo>
                    <a:pt x="445" y="979"/>
                  </a:lnTo>
                  <a:lnTo>
                    <a:pt x="443" y="978"/>
                  </a:lnTo>
                  <a:lnTo>
                    <a:pt x="443" y="979"/>
                  </a:lnTo>
                  <a:lnTo>
                    <a:pt x="445" y="979"/>
                  </a:lnTo>
                  <a:lnTo>
                    <a:pt x="443" y="978"/>
                  </a:lnTo>
                  <a:lnTo>
                    <a:pt x="445" y="979"/>
                  </a:lnTo>
                  <a:lnTo>
                    <a:pt x="443" y="978"/>
                  </a:lnTo>
                  <a:lnTo>
                    <a:pt x="443" y="978"/>
                  </a:lnTo>
                  <a:lnTo>
                    <a:pt x="445" y="979"/>
                  </a:lnTo>
                  <a:lnTo>
                    <a:pt x="443" y="978"/>
                  </a:lnTo>
                  <a:lnTo>
                    <a:pt x="443" y="978"/>
                  </a:lnTo>
                  <a:lnTo>
                    <a:pt x="443" y="978"/>
                  </a:lnTo>
                  <a:lnTo>
                    <a:pt x="440" y="979"/>
                  </a:lnTo>
                  <a:lnTo>
                    <a:pt x="440" y="979"/>
                  </a:lnTo>
                  <a:lnTo>
                    <a:pt x="434" y="979"/>
                  </a:lnTo>
                  <a:lnTo>
                    <a:pt x="434" y="979"/>
                  </a:lnTo>
                  <a:lnTo>
                    <a:pt x="432" y="979"/>
                  </a:lnTo>
                  <a:lnTo>
                    <a:pt x="432" y="979"/>
                  </a:lnTo>
                  <a:lnTo>
                    <a:pt x="430" y="981"/>
                  </a:lnTo>
                  <a:lnTo>
                    <a:pt x="429" y="982"/>
                  </a:lnTo>
                  <a:lnTo>
                    <a:pt x="429" y="982"/>
                  </a:lnTo>
                  <a:lnTo>
                    <a:pt x="429" y="983"/>
                  </a:lnTo>
                  <a:lnTo>
                    <a:pt x="429" y="983"/>
                  </a:lnTo>
                  <a:lnTo>
                    <a:pt x="429" y="985"/>
                  </a:lnTo>
                  <a:lnTo>
                    <a:pt x="429" y="985"/>
                  </a:lnTo>
                  <a:lnTo>
                    <a:pt x="433" y="994"/>
                  </a:lnTo>
                  <a:lnTo>
                    <a:pt x="433" y="994"/>
                  </a:lnTo>
                  <a:lnTo>
                    <a:pt x="436" y="996"/>
                  </a:lnTo>
                  <a:lnTo>
                    <a:pt x="436" y="996"/>
                  </a:lnTo>
                  <a:lnTo>
                    <a:pt x="436" y="998"/>
                  </a:lnTo>
                  <a:lnTo>
                    <a:pt x="436" y="998"/>
                  </a:lnTo>
                  <a:lnTo>
                    <a:pt x="436" y="998"/>
                  </a:lnTo>
                  <a:lnTo>
                    <a:pt x="437" y="998"/>
                  </a:lnTo>
                  <a:lnTo>
                    <a:pt x="436" y="998"/>
                  </a:lnTo>
                  <a:lnTo>
                    <a:pt x="436" y="998"/>
                  </a:lnTo>
                  <a:lnTo>
                    <a:pt x="437" y="998"/>
                  </a:lnTo>
                  <a:lnTo>
                    <a:pt x="436" y="998"/>
                  </a:lnTo>
                  <a:lnTo>
                    <a:pt x="437" y="998"/>
                  </a:lnTo>
                  <a:lnTo>
                    <a:pt x="437" y="998"/>
                  </a:lnTo>
                  <a:lnTo>
                    <a:pt x="436" y="998"/>
                  </a:lnTo>
                  <a:lnTo>
                    <a:pt x="437" y="998"/>
                  </a:lnTo>
                  <a:lnTo>
                    <a:pt x="437" y="998"/>
                  </a:lnTo>
                  <a:lnTo>
                    <a:pt x="439" y="998"/>
                  </a:lnTo>
                  <a:lnTo>
                    <a:pt x="437" y="996"/>
                  </a:lnTo>
                  <a:lnTo>
                    <a:pt x="437" y="998"/>
                  </a:lnTo>
                  <a:lnTo>
                    <a:pt x="439" y="998"/>
                  </a:lnTo>
                  <a:lnTo>
                    <a:pt x="437" y="996"/>
                  </a:lnTo>
                  <a:lnTo>
                    <a:pt x="437" y="996"/>
                  </a:lnTo>
                  <a:lnTo>
                    <a:pt x="436" y="999"/>
                  </a:lnTo>
                  <a:lnTo>
                    <a:pt x="436" y="999"/>
                  </a:lnTo>
                  <a:lnTo>
                    <a:pt x="434" y="1001"/>
                  </a:lnTo>
                  <a:lnTo>
                    <a:pt x="434" y="1001"/>
                  </a:lnTo>
                  <a:lnTo>
                    <a:pt x="436" y="1007"/>
                  </a:lnTo>
                  <a:lnTo>
                    <a:pt x="436" y="1007"/>
                  </a:lnTo>
                  <a:lnTo>
                    <a:pt x="439" y="1010"/>
                  </a:lnTo>
                  <a:lnTo>
                    <a:pt x="439" y="1010"/>
                  </a:lnTo>
                  <a:lnTo>
                    <a:pt x="442" y="1010"/>
                  </a:lnTo>
                  <a:lnTo>
                    <a:pt x="442" y="1010"/>
                  </a:lnTo>
                  <a:lnTo>
                    <a:pt x="443" y="1010"/>
                  </a:lnTo>
                  <a:lnTo>
                    <a:pt x="443" y="1010"/>
                  </a:lnTo>
                  <a:lnTo>
                    <a:pt x="450" y="1007"/>
                  </a:lnTo>
                  <a:lnTo>
                    <a:pt x="450" y="1007"/>
                  </a:lnTo>
                  <a:lnTo>
                    <a:pt x="453" y="1005"/>
                  </a:lnTo>
                  <a:lnTo>
                    <a:pt x="453" y="1005"/>
                  </a:lnTo>
                  <a:lnTo>
                    <a:pt x="456" y="1004"/>
                  </a:lnTo>
                  <a:lnTo>
                    <a:pt x="456" y="1004"/>
                  </a:lnTo>
                  <a:lnTo>
                    <a:pt x="455" y="1004"/>
                  </a:lnTo>
                  <a:lnTo>
                    <a:pt x="456" y="1004"/>
                  </a:lnTo>
                  <a:lnTo>
                    <a:pt x="456" y="1004"/>
                  </a:lnTo>
                  <a:lnTo>
                    <a:pt x="455" y="1004"/>
                  </a:lnTo>
                  <a:lnTo>
                    <a:pt x="456" y="1002"/>
                  </a:lnTo>
                  <a:lnTo>
                    <a:pt x="455" y="1004"/>
                  </a:lnTo>
                  <a:lnTo>
                    <a:pt x="455" y="1004"/>
                  </a:lnTo>
                  <a:lnTo>
                    <a:pt x="456" y="1002"/>
                  </a:lnTo>
                  <a:lnTo>
                    <a:pt x="455" y="1004"/>
                  </a:lnTo>
                  <a:lnTo>
                    <a:pt x="455" y="1004"/>
                  </a:lnTo>
                  <a:lnTo>
                    <a:pt x="455" y="1004"/>
                  </a:lnTo>
                  <a:lnTo>
                    <a:pt x="455" y="1007"/>
                  </a:lnTo>
                  <a:lnTo>
                    <a:pt x="455" y="1007"/>
                  </a:lnTo>
                  <a:lnTo>
                    <a:pt x="453" y="1011"/>
                  </a:lnTo>
                  <a:lnTo>
                    <a:pt x="453" y="1011"/>
                  </a:lnTo>
                  <a:lnTo>
                    <a:pt x="455" y="1014"/>
                  </a:lnTo>
                  <a:lnTo>
                    <a:pt x="455" y="1014"/>
                  </a:lnTo>
                  <a:lnTo>
                    <a:pt x="456" y="1015"/>
                  </a:lnTo>
                  <a:lnTo>
                    <a:pt x="456" y="1015"/>
                  </a:lnTo>
                  <a:lnTo>
                    <a:pt x="458" y="1015"/>
                  </a:lnTo>
                  <a:lnTo>
                    <a:pt x="459" y="1015"/>
                  </a:lnTo>
                  <a:lnTo>
                    <a:pt x="459" y="1015"/>
                  </a:lnTo>
                  <a:lnTo>
                    <a:pt x="465" y="1012"/>
                  </a:lnTo>
                  <a:lnTo>
                    <a:pt x="465" y="1012"/>
                  </a:lnTo>
                  <a:lnTo>
                    <a:pt x="472" y="1008"/>
                  </a:lnTo>
                  <a:lnTo>
                    <a:pt x="472" y="1008"/>
                  </a:lnTo>
                  <a:lnTo>
                    <a:pt x="476" y="1007"/>
                  </a:lnTo>
                  <a:lnTo>
                    <a:pt x="479" y="1005"/>
                  </a:lnTo>
                  <a:lnTo>
                    <a:pt x="479" y="1005"/>
                  </a:lnTo>
                  <a:lnTo>
                    <a:pt x="479" y="1005"/>
                  </a:lnTo>
                  <a:lnTo>
                    <a:pt x="481" y="1007"/>
                  </a:lnTo>
                  <a:lnTo>
                    <a:pt x="484" y="1008"/>
                  </a:lnTo>
                  <a:lnTo>
                    <a:pt x="484" y="1008"/>
                  </a:lnTo>
                  <a:lnTo>
                    <a:pt x="487" y="1011"/>
                  </a:lnTo>
                  <a:lnTo>
                    <a:pt x="487" y="1011"/>
                  </a:lnTo>
                  <a:lnTo>
                    <a:pt x="488" y="1011"/>
                  </a:lnTo>
                  <a:lnTo>
                    <a:pt x="488" y="1011"/>
                  </a:lnTo>
                  <a:lnTo>
                    <a:pt x="490" y="1012"/>
                  </a:lnTo>
                  <a:lnTo>
                    <a:pt x="490" y="1012"/>
                  </a:lnTo>
                  <a:lnTo>
                    <a:pt x="492" y="1011"/>
                  </a:lnTo>
                  <a:lnTo>
                    <a:pt x="492" y="1011"/>
                  </a:lnTo>
                  <a:lnTo>
                    <a:pt x="492" y="1011"/>
                  </a:lnTo>
                  <a:lnTo>
                    <a:pt x="492" y="1011"/>
                  </a:lnTo>
                  <a:lnTo>
                    <a:pt x="497" y="1005"/>
                  </a:lnTo>
                  <a:lnTo>
                    <a:pt x="497" y="1005"/>
                  </a:lnTo>
                  <a:lnTo>
                    <a:pt x="498" y="1004"/>
                  </a:lnTo>
                  <a:lnTo>
                    <a:pt x="498" y="1004"/>
                  </a:lnTo>
                  <a:lnTo>
                    <a:pt x="498" y="1004"/>
                  </a:lnTo>
                  <a:lnTo>
                    <a:pt x="497" y="1002"/>
                  </a:lnTo>
                  <a:lnTo>
                    <a:pt x="497" y="1004"/>
                  </a:lnTo>
                  <a:lnTo>
                    <a:pt x="497" y="1004"/>
                  </a:lnTo>
                  <a:lnTo>
                    <a:pt x="498" y="1004"/>
                  </a:lnTo>
                  <a:lnTo>
                    <a:pt x="497" y="1002"/>
                  </a:lnTo>
                  <a:lnTo>
                    <a:pt x="497" y="1004"/>
                  </a:lnTo>
                  <a:lnTo>
                    <a:pt x="497" y="1002"/>
                  </a:lnTo>
                  <a:lnTo>
                    <a:pt x="495" y="1004"/>
                  </a:lnTo>
                  <a:lnTo>
                    <a:pt x="495" y="1004"/>
                  </a:lnTo>
                  <a:lnTo>
                    <a:pt x="497" y="1004"/>
                  </a:lnTo>
                  <a:lnTo>
                    <a:pt x="497" y="1002"/>
                  </a:lnTo>
                  <a:lnTo>
                    <a:pt x="495" y="1004"/>
                  </a:lnTo>
                  <a:lnTo>
                    <a:pt x="497" y="1002"/>
                  </a:lnTo>
                  <a:lnTo>
                    <a:pt x="495" y="1002"/>
                  </a:lnTo>
                  <a:lnTo>
                    <a:pt x="495" y="1004"/>
                  </a:lnTo>
                  <a:lnTo>
                    <a:pt x="497" y="1002"/>
                  </a:lnTo>
                  <a:lnTo>
                    <a:pt x="495" y="1002"/>
                  </a:lnTo>
                  <a:lnTo>
                    <a:pt x="495" y="1002"/>
                  </a:lnTo>
                  <a:lnTo>
                    <a:pt x="495" y="1002"/>
                  </a:lnTo>
                  <a:lnTo>
                    <a:pt x="495" y="1002"/>
                  </a:lnTo>
                  <a:lnTo>
                    <a:pt x="495" y="1002"/>
                  </a:lnTo>
                  <a:lnTo>
                    <a:pt x="495" y="1002"/>
                  </a:lnTo>
                  <a:lnTo>
                    <a:pt x="495" y="1002"/>
                  </a:lnTo>
                  <a:lnTo>
                    <a:pt x="495" y="1005"/>
                  </a:lnTo>
                  <a:lnTo>
                    <a:pt x="495" y="1005"/>
                  </a:lnTo>
                  <a:lnTo>
                    <a:pt x="498" y="1011"/>
                  </a:lnTo>
                  <a:lnTo>
                    <a:pt x="498" y="1011"/>
                  </a:lnTo>
                  <a:lnTo>
                    <a:pt x="500" y="1014"/>
                  </a:lnTo>
                  <a:lnTo>
                    <a:pt x="500" y="1014"/>
                  </a:lnTo>
                  <a:lnTo>
                    <a:pt x="504" y="1015"/>
                  </a:lnTo>
                  <a:lnTo>
                    <a:pt x="504" y="1015"/>
                  </a:lnTo>
                  <a:lnTo>
                    <a:pt x="517" y="1014"/>
                  </a:lnTo>
                  <a:lnTo>
                    <a:pt x="523" y="1012"/>
                  </a:lnTo>
                  <a:lnTo>
                    <a:pt x="530" y="1008"/>
                  </a:lnTo>
                  <a:lnTo>
                    <a:pt x="530" y="1008"/>
                  </a:lnTo>
                  <a:lnTo>
                    <a:pt x="537" y="1005"/>
                  </a:lnTo>
                  <a:lnTo>
                    <a:pt x="537" y="1005"/>
                  </a:lnTo>
                  <a:lnTo>
                    <a:pt x="556" y="999"/>
                  </a:lnTo>
                  <a:lnTo>
                    <a:pt x="556" y="999"/>
                  </a:lnTo>
                  <a:lnTo>
                    <a:pt x="571" y="998"/>
                  </a:lnTo>
                  <a:lnTo>
                    <a:pt x="571" y="998"/>
                  </a:lnTo>
                  <a:lnTo>
                    <a:pt x="574" y="998"/>
                  </a:lnTo>
                  <a:lnTo>
                    <a:pt x="574" y="998"/>
                  </a:lnTo>
                  <a:lnTo>
                    <a:pt x="576" y="1002"/>
                  </a:lnTo>
                  <a:lnTo>
                    <a:pt x="576" y="1002"/>
                  </a:lnTo>
                  <a:lnTo>
                    <a:pt x="579" y="1005"/>
                  </a:lnTo>
                  <a:lnTo>
                    <a:pt x="579" y="1005"/>
                  </a:lnTo>
                  <a:lnTo>
                    <a:pt x="581" y="1007"/>
                  </a:lnTo>
                  <a:lnTo>
                    <a:pt x="582" y="1008"/>
                  </a:lnTo>
                  <a:lnTo>
                    <a:pt x="584" y="1008"/>
                  </a:lnTo>
                  <a:lnTo>
                    <a:pt x="584" y="1008"/>
                  </a:lnTo>
                  <a:lnTo>
                    <a:pt x="589" y="1005"/>
                  </a:lnTo>
                  <a:lnTo>
                    <a:pt x="594" y="1002"/>
                  </a:lnTo>
                  <a:lnTo>
                    <a:pt x="594" y="1002"/>
                  </a:lnTo>
                  <a:lnTo>
                    <a:pt x="597" y="998"/>
                  </a:lnTo>
                  <a:lnTo>
                    <a:pt x="600" y="994"/>
                  </a:lnTo>
                  <a:lnTo>
                    <a:pt x="600" y="994"/>
                  </a:lnTo>
                  <a:lnTo>
                    <a:pt x="601" y="991"/>
                  </a:lnTo>
                  <a:lnTo>
                    <a:pt x="601" y="991"/>
                  </a:lnTo>
                  <a:lnTo>
                    <a:pt x="608" y="982"/>
                  </a:lnTo>
                  <a:lnTo>
                    <a:pt x="613" y="976"/>
                  </a:lnTo>
                  <a:lnTo>
                    <a:pt x="614" y="969"/>
                  </a:lnTo>
                  <a:lnTo>
                    <a:pt x="614" y="969"/>
                  </a:lnTo>
                  <a:lnTo>
                    <a:pt x="616" y="959"/>
                  </a:lnTo>
                  <a:lnTo>
                    <a:pt x="616" y="949"/>
                  </a:lnTo>
                  <a:lnTo>
                    <a:pt x="616" y="949"/>
                  </a:lnTo>
                  <a:lnTo>
                    <a:pt x="616" y="940"/>
                  </a:lnTo>
                  <a:lnTo>
                    <a:pt x="616" y="940"/>
                  </a:lnTo>
                  <a:lnTo>
                    <a:pt x="617" y="936"/>
                  </a:lnTo>
                  <a:lnTo>
                    <a:pt x="617" y="936"/>
                  </a:lnTo>
                  <a:lnTo>
                    <a:pt x="621" y="928"/>
                  </a:lnTo>
                  <a:lnTo>
                    <a:pt x="621" y="928"/>
                  </a:lnTo>
                  <a:lnTo>
                    <a:pt x="623" y="920"/>
                  </a:lnTo>
                  <a:lnTo>
                    <a:pt x="623" y="920"/>
                  </a:lnTo>
                  <a:lnTo>
                    <a:pt x="624" y="918"/>
                  </a:lnTo>
                  <a:lnTo>
                    <a:pt x="624" y="918"/>
                  </a:lnTo>
                  <a:lnTo>
                    <a:pt x="629" y="914"/>
                  </a:lnTo>
                  <a:lnTo>
                    <a:pt x="629" y="914"/>
                  </a:lnTo>
                  <a:lnTo>
                    <a:pt x="634" y="912"/>
                  </a:lnTo>
                  <a:lnTo>
                    <a:pt x="634" y="912"/>
                  </a:lnTo>
                  <a:lnTo>
                    <a:pt x="634" y="912"/>
                  </a:lnTo>
                  <a:lnTo>
                    <a:pt x="634" y="912"/>
                  </a:lnTo>
                  <a:lnTo>
                    <a:pt x="634" y="912"/>
                  </a:lnTo>
                  <a:lnTo>
                    <a:pt x="634" y="912"/>
                  </a:lnTo>
                  <a:lnTo>
                    <a:pt x="634" y="912"/>
                  </a:lnTo>
                  <a:lnTo>
                    <a:pt x="634" y="912"/>
                  </a:lnTo>
                  <a:lnTo>
                    <a:pt x="636" y="914"/>
                  </a:lnTo>
                  <a:lnTo>
                    <a:pt x="636" y="914"/>
                  </a:lnTo>
                  <a:lnTo>
                    <a:pt x="644" y="924"/>
                  </a:lnTo>
                  <a:lnTo>
                    <a:pt x="644" y="924"/>
                  </a:lnTo>
                  <a:lnTo>
                    <a:pt x="650" y="931"/>
                  </a:lnTo>
                  <a:lnTo>
                    <a:pt x="650" y="931"/>
                  </a:lnTo>
                  <a:lnTo>
                    <a:pt x="653" y="933"/>
                  </a:lnTo>
                  <a:lnTo>
                    <a:pt x="653" y="933"/>
                  </a:lnTo>
                  <a:lnTo>
                    <a:pt x="655" y="934"/>
                  </a:lnTo>
                  <a:lnTo>
                    <a:pt x="655" y="934"/>
                  </a:lnTo>
                  <a:lnTo>
                    <a:pt x="656" y="934"/>
                  </a:lnTo>
                  <a:lnTo>
                    <a:pt x="656" y="934"/>
                  </a:lnTo>
                  <a:lnTo>
                    <a:pt x="659" y="934"/>
                  </a:lnTo>
                  <a:lnTo>
                    <a:pt x="662" y="933"/>
                  </a:lnTo>
                  <a:lnTo>
                    <a:pt x="662" y="933"/>
                  </a:lnTo>
                  <a:lnTo>
                    <a:pt x="665" y="928"/>
                  </a:lnTo>
                  <a:lnTo>
                    <a:pt x="668" y="924"/>
                  </a:lnTo>
                  <a:lnTo>
                    <a:pt x="668" y="924"/>
                  </a:lnTo>
                  <a:lnTo>
                    <a:pt x="669" y="920"/>
                  </a:lnTo>
                  <a:lnTo>
                    <a:pt x="671" y="914"/>
                  </a:lnTo>
                  <a:lnTo>
                    <a:pt x="671" y="914"/>
                  </a:lnTo>
                  <a:lnTo>
                    <a:pt x="671" y="911"/>
                  </a:lnTo>
                  <a:lnTo>
                    <a:pt x="671" y="911"/>
                  </a:lnTo>
                  <a:lnTo>
                    <a:pt x="671" y="904"/>
                  </a:lnTo>
                  <a:lnTo>
                    <a:pt x="669" y="898"/>
                  </a:lnTo>
                  <a:lnTo>
                    <a:pt x="669" y="898"/>
                  </a:lnTo>
                  <a:lnTo>
                    <a:pt x="668" y="892"/>
                  </a:lnTo>
                  <a:lnTo>
                    <a:pt x="668" y="892"/>
                  </a:lnTo>
                  <a:lnTo>
                    <a:pt x="663" y="886"/>
                  </a:lnTo>
                  <a:lnTo>
                    <a:pt x="663" y="886"/>
                  </a:lnTo>
                  <a:lnTo>
                    <a:pt x="660" y="885"/>
                  </a:lnTo>
                  <a:lnTo>
                    <a:pt x="659" y="881"/>
                  </a:lnTo>
                  <a:lnTo>
                    <a:pt x="659" y="881"/>
                  </a:lnTo>
                  <a:lnTo>
                    <a:pt x="658" y="875"/>
                  </a:lnTo>
                  <a:lnTo>
                    <a:pt x="656" y="870"/>
                  </a:lnTo>
                  <a:lnTo>
                    <a:pt x="656" y="869"/>
                  </a:lnTo>
                  <a:lnTo>
                    <a:pt x="656" y="869"/>
                  </a:lnTo>
                  <a:lnTo>
                    <a:pt x="658" y="868"/>
                  </a:lnTo>
                  <a:lnTo>
                    <a:pt x="659" y="865"/>
                  </a:lnTo>
                  <a:lnTo>
                    <a:pt x="659" y="865"/>
                  </a:lnTo>
                  <a:lnTo>
                    <a:pt x="663" y="862"/>
                  </a:lnTo>
                  <a:lnTo>
                    <a:pt x="669" y="859"/>
                  </a:lnTo>
                  <a:lnTo>
                    <a:pt x="669" y="859"/>
                  </a:lnTo>
                  <a:lnTo>
                    <a:pt x="679" y="856"/>
                  </a:lnTo>
                  <a:lnTo>
                    <a:pt x="679" y="856"/>
                  </a:lnTo>
                  <a:lnTo>
                    <a:pt x="684" y="856"/>
                  </a:lnTo>
                  <a:lnTo>
                    <a:pt x="684" y="856"/>
                  </a:lnTo>
                  <a:lnTo>
                    <a:pt x="717" y="857"/>
                  </a:lnTo>
                  <a:lnTo>
                    <a:pt x="717" y="857"/>
                  </a:lnTo>
                  <a:lnTo>
                    <a:pt x="723" y="856"/>
                  </a:lnTo>
                  <a:lnTo>
                    <a:pt x="726" y="856"/>
                  </a:lnTo>
                  <a:lnTo>
                    <a:pt x="726" y="856"/>
                  </a:lnTo>
                  <a:lnTo>
                    <a:pt x="728" y="853"/>
                  </a:lnTo>
                  <a:lnTo>
                    <a:pt x="728" y="853"/>
                  </a:lnTo>
                  <a:lnTo>
                    <a:pt x="730" y="850"/>
                  </a:lnTo>
                  <a:lnTo>
                    <a:pt x="730" y="850"/>
                  </a:lnTo>
                  <a:lnTo>
                    <a:pt x="728" y="846"/>
                  </a:lnTo>
                  <a:lnTo>
                    <a:pt x="728" y="846"/>
                  </a:lnTo>
                  <a:lnTo>
                    <a:pt x="728" y="846"/>
                  </a:lnTo>
                  <a:lnTo>
                    <a:pt x="728" y="846"/>
                  </a:lnTo>
                  <a:lnTo>
                    <a:pt x="728" y="846"/>
                  </a:lnTo>
                  <a:lnTo>
                    <a:pt x="728" y="846"/>
                  </a:lnTo>
                  <a:lnTo>
                    <a:pt x="728" y="846"/>
                  </a:lnTo>
                  <a:lnTo>
                    <a:pt x="728" y="846"/>
                  </a:lnTo>
                  <a:lnTo>
                    <a:pt x="727" y="846"/>
                  </a:lnTo>
                  <a:lnTo>
                    <a:pt x="728" y="847"/>
                  </a:lnTo>
                  <a:lnTo>
                    <a:pt x="728" y="846"/>
                  </a:lnTo>
                  <a:lnTo>
                    <a:pt x="727" y="846"/>
                  </a:lnTo>
                  <a:lnTo>
                    <a:pt x="728" y="847"/>
                  </a:lnTo>
                  <a:lnTo>
                    <a:pt x="728" y="847"/>
                  </a:lnTo>
                  <a:lnTo>
                    <a:pt x="728" y="847"/>
                  </a:lnTo>
                  <a:lnTo>
                    <a:pt x="730" y="847"/>
                  </a:lnTo>
                  <a:lnTo>
                    <a:pt x="730" y="847"/>
                  </a:lnTo>
                  <a:lnTo>
                    <a:pt x="736" y="846"/>
                  </a:lnTo>
                  <a:lnTo>
                    <a:pt x="736" y="846"/>
                  </a:lnTo>
                  <a:lnTo>
                    <a:pt x="743" y="844"/>
                  </a:lnTo>
                  <a:lnTo>
                    <a:pt x="743" y="844"/>
                  </a:lnTo>
                  <a:lnTo>
                    <a:pt x="747" y="843"/>
                  </a:lnTo>
                  <a:lnTo>
                    <a:pt x="747" y="843"/>
                  </a:lnTo>
                  <a:lnTo>
                    <a:pt x="749" y="840"/>
                  </a:lnTo>
                  <a:lnTo>
                    <a:pt x="749" y="837"/>
                  </a:lnTo>
                  <a:lnTo>
                    <a:pt x="749" y="837"/>
                  </a:lnTo>
                  <a:lnTo>
                    <a:pt x="747" y="833"/>
                  </a:lnTo>
                  <a:lnTo>
                    <a:pt x="744" y="830"/>
                  </a:lnTo>
                  <a:lnTo>
                    <a:pt x="744" y="830"/>
                  </a:lnTo>
                  <a:lnTo>
                    <a:pt x="740" y="828"/>
                  </a:lnTo>
                  <a:lnTo>
                    <a:pt x="736" y="828"/>
                  </a:lnTo>
                  <a:lnTo>
                    <a:pt x="736" y="828"/>
                  </a:lnTo>
                  <a:lnTo>
                    <a:pt x="734" y="827"/>
                  </a:lnTo>
                  <a:lnTo>
                    <a:pt x="734" y="827"/>
                  </a:lnTo>
                  <a:lnTo>
                    <a:pt x="734" y="828"/>
                  </a:lnTo>
                  <a:lnTo>
                    <a:pt x="734" y="827"/>
                  </a:lnTo>
                  <a:lnTo>
                    <a:pt x="734" y="827"/>
                  </a:lnTo>
                  <a:lnTo>
                    <a:pt x="734" y="828"/>
                  </a:lnTo>
                  <a:lnTo>
                    <a:pt x="734" y="827"/>
                  </a:lnTo>
                  <a:lnTo>
                    <a:pt x="734" y="827"/>
                  </a:lnTo>
                  <a:lnTo>
                    <a:pt x="734" y="827"/>
                  </a:lnTo>
                  <a:lnTo>
                    <a:pt x="734" y="826"/>
                  </a:lnTo>
                  <a:lnTo>
                    <a:pt x="734" y="826"/>
                  </a:lnTo>
                  <a:lnTo>
                    <a:pt x="734" y="821"/>
                  </a:lnTo>
                  <a:lnTo>
                    <a:pt x="734" y="821"/>
                  </a:lnTo>
                  <a:lnTo>
                    <a:pt x="734" y="818"/>
                  </a:lnTo>
                  <a:lnTo>
                    <a:pt x="734" y="818"/>
                  </a:lnTo>
                  <a:lnTo>
                    <a:pt x="733" y="817"/>
                  </a:lnTo>
                  <a:lnTo>
                    <a:pt x="733" y="817"/>
                  </a:lnTo>
                  <a:lnTo>
                    <a:pt x="731" y="817"/>
                  </a:lnTo>
                  <a:lnTo>
                    <a:pt x="731" y="817"/>
                  </a:lnTo>
                  <a:lnTo>
                    <a:pt x="727" y="818"/>
                  </a:lnTo>
                  <a:lnTo>
                    <a:pt x="727" y="818"/>
                  </a:lnTo>
                  <a:lnTo>
                    <a:pt x="724" y="820"/>
                  </a:lnTo>
                  <a:lnTo>
                    <a:pt x="724" y="820"/>
                  </a:lnTo>
                  <a:lnTo>
                    <a:pt x="720" y="821"/>
                  </a:lnTo>
                  <a:lnTo>
                    <a:pt x="715" y="821"/>
                  </a:lnTo>
                  <a:lnTo>
                    <a:pt x="715" y="821"/>
                  </a:lnTo>
                  <a:lnTo>
                    <a:pt x="713" y="821"/>
                  </a:lnTo>
                  <a:lnTo>
                    <a:pt x="713" y="821"/>
                  </a:lnTo>
                  <a:lnTo>
                    <a:pt x="708" y="820"/>
                  </a:lnTo>
                  <a:lnTo>
                    <a:pt x="708" y="820"/>
                  </a:lnTo>
                  <a:lnTo>
                    <a:pt x="704" y="821"/>
                  </a:lnTo>
                  <a:lnTo>
                    <a:pt x="700" y="823"/>
                  </a:lnTo>
                  <a:lnTo>
                    <a:pt x="700" y="823"/>
                  </a:lnTo>
                  <a:lnTo>
                    <a:pt x="695" y="826"/>
                  </a:lnTo>
                  <a:lnTo>
                    <a:pt x="689" y="827"/>
                  </a:lnTo>
                  <a:lnTo>
                    <a:pt x="689" y="827"/>
                  </a:lnTo>
                  <a:lnTo>
                    <a:pt x="676" y="828"/>
                  </a:lnTo>
                  <a:lnTo>
                    <a:pt x="676" y="828"/>
                  </a:lnTo>
                  <a:lnTo>
                    <a:pt x="669" y="830"/>
                  </a:lnTo>
                  <a:lnTo>
                    <a:pt x="665" y="831"/>
                  </a:lnTo>
                  <a:lnTo>
                    <a:pt x="665" y="831"/>
                  </a:lnTo>
                  <a:lnTo>
                    <a:pt x="660" y="836"/>
                  </a:lnTo>
                  <a:lnTo>
                    <a:pt x="660" y="836"/>
                  </a:lnTo>
                  <a:lnTo>
                    <a:pt x="658" y="836"/>
                  </a:lnTo>
                  <a:lnTo>
                    <a:pt x="658" y="836"/>
                  </a:lnTo>
                  <a:lnTo>
                    <a:pt x="653" y="836"/>
                  </a:lnTo>
                  <a:lnTo>
                    <a:pt x="653" y="836"/>
                  </a:lnTo>
                  <a:lnTo>
                    <a:pt x="647" y="836"/>
                  </a:lnTo>
                  <a:lnTo>
                    <a:pt x="643" y="834"/>
                  </a:lnTo>
                  <a:lnTo>
                    <a:pt x="643" y="834"/>
                  </a:lnTo>
                  <a:lnTo>
                    <a:pt x="639" y="831"/>
                  </a:lnTo>
                  <a:lnTo>
                    <a:pt x="639" y="831"/>
                  </a:lnTo>
                  <a:lnTo>
                    <a:pt x="637" y="828"/>
                  </a:lnTo>
                  <a:lnTo>
                    <a:pt x="637" y="828"/>
                  </a:lnTo>
                  <a:lnTo>
                    <a:pt x="636" y="824"/>
                  </a:lnTo>
                  <a:lnTo>
                    <a:pt x="633" y="820"/>
                  </a:lnTo>
                  <a:lnTo>
                    <a:pt x="633" y="820"/>
                  </a:lnTo>
                  <a:lnTo>
                    <a:pt x="629" y="818"/>
                  </a:lnTo>
                  <a:lnTo>
                    <a:pt x="624" y="817"/>
                  </a:lnTo>
                  <a:lnTo>
                    <a:pt x="624" y="817"/>
                  </a:lnTo>
                  <a:lnTo>
                    <a:pt x="623" y="817"/>
                  </a:lnTo>
                  <a:lnTo>
                    <a:pt x="621" y="814"/>
                  </a:lnTo>
                  <a:lnTo>
                    <a:pt x="621" y="814"/>
                  </a:lnTo>
                  <a:lnTo>
                    <a:pt x="620" y="810"/>
                  </a:lnTo>
                  <a:lnTo>
                    <a:pt x="620" y="810"/>
                  </a:lnTo>
                  <a:lnTo>
                    <a:pt x="621" y="801"/>
                  </a:lnTo>
                  <a:lnTo>
                    <a:pt x="623" y="792"/>
                  </a:lnTo>
                  <a:lnTo>
                    <a:pt x="623" y="792"/>
                  </a:lnTo>
                  <a:lnTo>
                    <a:pt x="624" y="789"/>
                  </a:lnTo>
                  <a:lnTo>
                    <a:pt x="624" y="789"/>
                  </a:lnTo>
                  <a:lnTo>
                    <a:pt x="621" y="772"/>
                  </a:lnTo>
                  <a:lnTo>
                    <a:pt x="621" y="772"/>
                  </a:lnTo>
                  <a:lnTo>
                    <a:pt x="618" y="756"/>
                  </a:lnTo>
                  <a:lnTo>
                    <a:pt x="618" y="756"/>
                  </a:lnTo>
                  <a:lnTo>
                    <a:pt x="616" y="749"/>
                  </a:lnTo>
                  <a:lnTo>
                    <a:pt x="616" y="749"/>
                  </a:lnTo>
                  <a:lnTo>
                    <a:pt x="616" y="747"/>
                  </a:lnTo>
                  <a:lnTo>
                    <a:pt x="616" y="746"/>
                  </a:lnTo>
                  <a:lnTo>
                    <a:pt x="616" y="746"/>
                  </a:lnTo>
                  <a:lnTo>
                    <a:pt x="617" y="744"/>
                  </a:lnTo>
                  <a:lnTo>
                    <a:pt x="617" y="744"/>
                  </a:lnTo>
                  <a:lnTo>
                    <a:pt x="627" y="731"/>
                  </a:lnTo>
                  <a:lnTo>
                    <a:pt x="627" y="731"/>
                  </a:lnTo>
                  <a:lnTo>
                    <a:pt x="633" y="724"/>
                  </a:lnTo>
                  <a:lnTo>
                    <a:pt x="633" y="724"/>
                  </a:lnTo>
                  <a:lnTo>
                    <a:pt x="637" y="717"/>
                  </a:lnTo>
                  <a:lnTo>
                    <a:pt x="637" y="717"/>
                  </a:lnTo>
                  <a:lnTo>
                    <a:pt x="642" y="711"/>
                  </a:lnTo>
                  <a:lnTo>
                    <a:pt x="642" y="711"/>
                  </a:lnTo>
                  <a:lnTo>
                    <a:pt x="652" y="700"/>
                  </a:lnTo>
                  <a:lnTo>
                    <a:pt x="652" y="700"/>
                  </a:lnTo>
                  <a:lnTo>
                    <a:pt x="656" y="694"/>
                  </a:lnTo>
                  <a:lnTo>
                    <a:pt x="656" y="694"/>
                  </a:lnTo>
                  <a:lnTo>
                    <a:pt x="659" y="689"/>
                  </a:lnTo>
                  <a:lnTo>
                    <a:pt x="659" y="689"/>
                  </a:lnTo>
                  <a:lnTo>
                    <a:pt x="660" y="684"/>
                  </a:lnTo>
                  <a:lnTo>
                    <a:pt x="660" y="684"/>
                  </a:lnTo>
                  <a:lnTo>
                    <a:pt x="668" y="673"/>
                  </a:lnTo>
                  <a:lnTo>
                    <a:pt x="668" y="673"/>
                  </a:lnTo>
                  <a:lnTo>
                    <a:pt x="671" y="669"/>
                  </a:lnTo>
                  <a:lnTo>
                    <a:pt x="671" y="669"/>
                  </a:lnTo>
                  <a:lnTo>
                    <a:pt x="673" y="668"/>
                  </a:lnTo>
                  <a:lnTo>
                    <a:pt x="673" y="668"/>
                  </a:lnTo>
                  <a:lnTo>
                    <a:pt x="676" y="665"/>
                  </a:lnTo>
                  <a:lnTo>
                    <a:pt x="676" y="665"/>
                  </a:lnTo>
                  <a:lnTo>
                    <a:pt x="679" y="659"/>
                  </a:lnTo>
                  <a:lnTo>
                    <a:pt x="679" y="653"/>
                  </a:lnTo>
                  <a:lnTo>
                    <a:pt x="679" y="653"/>
                  </a:lnTo>
                  <a:lnTo>
                    <a:pt x="679" y="647"/>
                  </a:lnTo>
                  <a:lnTo>
                    <a:pt x="678" y="643"/>
                  </a:lnTo>
                  <a:lnTo>
                    <a:pt x="678" y="643"/>
                  </a:lnTo>
                  <a:lnTo>
                    <a:pt x="678" y="643"/>
                  </a:lnTo>
                  <a:lnTo>
                    <a:pt x="672" y="636"/>
                  </a:lnTo>
                  <a:lnTo>
                    <a:pt x="672" y="636"/>
                  </a:lnTo>
                  <a:lnTo>
                    <a:pt x="669" y="633"/>
                  </a:lnTo>
                  <a:lnTo>
                    <a:pt x="665" y="631"/>
                  </a:lnTo>
                  <a:lnTo>
                    <a:pt x="665" y="631"/>
                  </a:lnTo>
                  <a:lnTo>
                    <a:pt x="663" y="631"/>
                  </a:lnTo>
                  <a:lnTo>
                    <a:pt x="663" y="631"/>
                  </a:lnTo>
                  <a:lnTo>
                    <a:pt x="656" y="633"/>
                  </a:lnTo>
                  <a:lnTo>
                    <a:pt x="650" y="634"/>
                  </a:lnTo>
                  <a:lnTo>
                    <a:pt x="650" y="634"/>
                  </a:lnTo>
                  <a:lnTo>
                    <a:pt x="647" y="633"/>
                  </a:lnTo>
                  <a:lnTo>
                    <a:pt x="647" y="633"/>
                  </a:lnTo>
                  <a:lnTo>
                    <a:pt x="636" y="631"/>
                  </a:lnTo>
                  <a:lnTo>
                    <a:pt x="636" y="631"/>
                  </a:lnTo>
                  <a:lnTo>
                    <a:pt x="631" y="633"/>
                  </a:lnTo>
                  <a:lnTo>
                    <a:pt x="631" y="633"/>
                  </a:lnTo>
                  <a:lnTo>
                    <a:pt x="630" y="633"/>
                  </a:lnTo>
                  <a:lnTo>
                    <a:pt x="629" y="636"/>
                  </a:lnTo>
                  <a:lnTo>
                    <a:pt x="629" y="636"/>
                  </a:lnTo>
                  <a:lnTo>
                    <a:pt x="629" y="636"/>
                  </a:lnTo>
                  <a:lnTo>
                    <a:pt x="629" y="636"/>
                  </a:lnTo>
                  <a:lnTo>
                    <a:pt x="629" y="637"/>
                  </a:lnTo>
                  <a:lnTo>
                    <a:pt x="629" y="637"/>
                  </a:lnTo>
                  <a:lnTo>
                    <a:pt x="630" y="640"/>
                  </a:lnTo>
                  <a:lnTo>
                    <a:pt x="630" y="640"/>
                  </a:lnTo>
                  <a:lnTo>
                    <a:pt x="630" y="642"/>
                  </a:lnTo>
                  <a:lnTo>
                    <a:pt x="630" y="642"/>
                  </a:lnTo>
                  <a:lnTo>
                    <a:pt x="630" y="642"/>
                  </a:lnTo>
                  <a:lnTo>
                    <a:pt x="629" y="643"/>
                  </a:lnTo>
                  <a:lnTo>
                    <a:pt x="629" y="643"/>
                  </a:lnTo>
                  <a:lnTo>
                    <a:pt x="623" y="647"/>
                  </a:lnTo>
                  <a:lnTo>
                    <a:pt x="623" y="647"/>
                  </a:lnTo>
                  <a:lnTo>
                    <a:pt x="621" y="650"/>
                  </a:lnTo>
                  <a:lnTo>
                    <a:pt x="618" y="652"/>
                  </a:lnTo>
                  <a:lnTo>
                    <a:pt x="618" y="652"/>
                  </a:lnTo>
                  <a:lnTo>
                    <a:pt x="617" y="656"/>
                  </a:lnTo>
                  <a:lnTo>
                    <a:pt x="616" y="659"/>
                  </a:lnTo>
                  <a:lnTo>
                    <a:pt x="616" y="659"/>
                  </a:lnTo>
                  <a:lnTo>
                    <a:pt x="616" y="659"/>
                  </a:lnTo>
                  <a:lnTo>
                    <a:pt x="614" y="660"/>
                  </a:lnTo>
                  <a:lnTo>
                    <a:pt x="614" y="660"/>
                  </a:lnTo>
                  <a:lnTo>
                    <a:pt x="613" y="662"/>
                  </a:lnTo>
                  <a:lnTo>
                    <a:pt x="613" y="662"/>
                  </a:lnTo>
                  <a:lnTo>
                    <a:pt x="611" y="665"/>
                  </a:lnTo>
                  <a:lnTo>
                    <a:pt x="611" y="665"/>
                  </a:lnTo>
                  <a:lnTo>
                    <a:pt x="613" y="669"/>
                  </a:lnTo>
                  <a:lnTo>
                    <a:pt x="613" y="669"/>
                  </a:lnTo>
                  <a:lnTo>
                    <a:pt x="613" y="669"/>
                  </a:lnTo>
                  <a:lnTo>
                    <a:pt x="617" y="675"/>
                  </a:lnTo>
                  <a:lnTo>
                    <a:pt x="617" y="675"/>
                  </a:lnTo>
                  <a:lnTo>
                    <a:pt x="618" y="678"/>
                  </a:lnTo>
                  <a:lnTo>
                    <a:pt x="620" y="678"/>
                  </a:lnTo>
                  <a:lnTo>
                    <a:pt x="620" y="678"/>
                  </a:lnTo>
                  <a:lnTo>
                    <a:pt x="620" y="678"/>
                  </a:lnTo>
                  <a:lnTo>
                    <a:pt x="620" y="678"/>
                  </a:lnTo>
                  <a:lnTo>
                    <a:pt x="620" y="678"/>
                  </a:lnTo>
                  <a:lnTo>
                    <a:pt x="620" y="678"/>
                  </a:lnTo>
                  <a:lnTo>
                    <a:pt x="620" y="678"/>
                  </a:lnTo>
                  <a:lnTo>
                    <a:pt x="620" y="679"/>
                  </a:lnTo>
                  <a:lnTo>
                    <a:pt x="620" y="679"/>
                  </a:lnTo>
                  <a:lnTo>
                    <a:pt x="613" y="687"/>
                  </a:lnTo>
                  <a:lnTo>
                    <a:pt x="613" y="687"/>
                  </a:lnTo>
                  <a:lnTo>
                    <a:pt x="608" y="692"/>
                  </a:lnTo>
                  <a:lnTo>
                    <a:pt x="605" y="698"/>
                  </a:lnTo>
                  <a:lnTo>
                    <a:pt x="605" y="698"/>
                  </a:lnTo>
                  <a:lnTo>
                    <a:pt x="605" y="701"/>
                  </a:lnTo>
                  <a:lnTo>
                    <a:pt x="605" y="701"/>
                  </a:lnTo>
                  <a:lnTo>
                    <a:pt x="600" y="705"/>
                  </a:lnTo>
                  <a:lnTo>
                    <a:pt x="600" y="705"/>
                  </a:lnTo>
                  <a:lnTo>
                    <a:pt x="595" y="708"/>
                  </a:lnTo>
                  <a:lnTo>
                    <a:pt x="595" y="708"/>
                  </a:lnTo>
                  <a:lnTo>
                    <a:pt x="592" y="710"/>
                  </a:lnTo>
                  <a:lnTo>
                    <a:pt x="592" y="710"/>
                  </a:lnTo>
                  <a:lnTo>
                    <a:pt x="584" y="714"/>
                  </a:lnTo>
                  <a:lnTo>
                    <a:pt x="584" y="714"/>
                  </a:lnTo>
                  <a:lnTo>
                    <a:pt x="581" y="715"/>
                  </a:lnTo>
                  <a:lnTo>
                    <a:pt x="581" y="715"/>
                  </a:lnTo>
                  <a:lnTo>
                    <a:pt x="579" y="717"/>
                  </a:lnTo>
                  <a:lnTo>
                    <a:pt x="579" y="717"/>
                  </a:lnTo>
                  <a:lnTo>
                    <a:pt x="579" y="718"/>
                  </a:lnTo>
                  <a:lnTo>
                    <a:pt x="579" y="718"/>
                  </a:lnTo>
                  <a:lnTo>
                    <a:pt x="579" y="718"/>
                  </a:lnTo>
                  <a:lnTo>
                    <a:pt x="576" y="726"/>
                  </a:lnTo>
                  <a:lnTo>
                    <a:pt x="576" y="726"/>
                  </a:lnTo>
                  <a:lnTo>
                    <a:pt x="572" y="734"/>
                  </a:lnTo>
                  <a:lnTo>
                    <a:pt x="572" y="734"/>
                  </a:lnTo>
                  <a:lnTo>
                    <a:pt x="565" y="746"/>
                  </a:lnTo>
                  <a:lnTo>
                    <a:pt x="565" y="746"/>
                  </a:lnTo>
                  <a:lnTo>
                    <a:pt x="560" y="750"/>
                  </a:lnTo>
                  <a:lnTo>
                    <a:pt x="560" y="750"/>
                  </a:lnTo>
                  <a:lnTo>
                    <a:pt x="559" y="752"/>
                  </a:lnTo>
                  <a:lnTo>
                    <a:pt x="559" y="752"/>
                  </a:lnTo>
                  <a:lnTo>
                    <a:pt x="559" y="752"/>
                  </a:lnTo>
                  <a:lnTo>
                    <a:pt x="559" y="753"/>
                  </a:lnTo>
                  <a:lnTo>
                    <a:pt x="559" y="752"/>
                  </a:lnTo>
                  <a:lnTo>
                    <a:pt x="559" y="752"/>
                  </a:lnTo>
                  <a:lnTo>
                    <a:pt x="559" y="753"/>
                  </a:lnTo>
                  <a:lnTo>
                    <a:pt x="559" y="752"/>
                  </a:lnTo>
                  <a:lnTo>
                    <a:pt x="559" y="753"/>
                  </a:lnTo>
                  <a:lnTo>
                    <a:pt x="559" y="752"/>
                  </a:lnTo>
                  <a:lnTo>
                    <a:pt x="559" y="752"/>
                  </a:lnTo>
                  <a:lnTo>
                    <a:pt x="559" y="753"/>
                  </a:lnTo>
                  <a:lnTo>
                    <a:pt x="559" y="752"/>
                  </a:lnTo>
                  <a:lnTo>
                    <a:pt x="559" y="752"/>
                  </a:lnTo>
                  <a:lnTo>
                    <a:pt x="555" y="750"/>
                  </a:lnTo>
                  <a:lnTo>
                    <a:pt x="555" y="750"/>
                  </a:lnTo>
                  <a:lnTo>
                    <a:pt x="553" y="749"/>
                  </a:lnTo>
                  <a:lnTo>
                    <a:pt x="553" y="749"/>
                  </a:lnTo>
                  <a:lnTo>
                    <a:pt x="550" y="749"/>
                  </a:lnTo>
                  <a:lnTo>
                    <a:pt x="550" y="749"/>
                  </a:lnTo>
                  <a:lnTo>
                    <a:pt x="547" y="749"/>
                  </a:lnTo>
                  <a:lnTo>
                    <a:pt x="547" y="749"/>
                  </a:lnTo>
                  <a:lnTo>
                    <a:pt x="547" y="752"/>
                  </a:lnTo>
                  <a:lnTo>
                    <a:pt x="547" y="752"/>
                  </a:lnTo>
                  <a:lnTo>
                    <a:pt x="547" y="752"/>
                  </a:lnTo>
                  <a:lnTo>
                    <a:pt x="549" y="756"/>
                  </a:lnTo>
                  <a:lnTo>
                    <a:pt x="550" y="759"/>
                  </a:lnTo>
                  <a:lnTo>
                    <a:pt x="550" y="759"/>
                  </a:lnTo>
                  <a:lnTo>
                    <a:pt x="552" y="762"/>
                  </a:lnTo>
                  <a:lnTo>
                    <a:pt x="552" y="762"/>
                  </a:lnTo>
                  <a:lnTo>
                    <a:pt x="553" y="763"/>
                  </a:lnTo>
                  <a:lnTo>
                    <a:pt x="553" y="763"/>
                  </a:lnTo>
                  <a:lnTo>
                    <a:pt x="553" y="763"/>
                  </a:lnTo>
                  <a:lnTo>
                    <a:pt x="552" y="769"/>
                  </a:lnTo>
                  <a:lnTo>
                    <a:pt x="552" y="769"/>
                  </a:lnTo>
                  <a:lnTo>
                    <a:pt x="552" y="779"/>
                  </a:lnTo>
                  <a:lnTo>
                    <a:pt x="552" y="779"/>
                  </a:lnTo>
                  <a:lnTo>
                    <a:pt x="552" y="784"/>
                  </a:lnTo>
                  <a:lnTo>
                    <a:pt x="552" y="784"/>
                  </a:lnTo>
                  <a:lnTo>
                    <a:pt x="550" y="786"/>
                  </a:lnTo>
                  <a:lnTo>
                    <a:pt x="550" y="786"/>
                  </a:lnTo>
                  <a:lnTo>
                    <a:pt x="547" y="792"/>
                  </a:lnTo>
                  <a:lnTo>
                    <a:pt x="547" y="792"/>
                  </a:lnTo>
                  <a:lnTo>
                    <a:pt x="546" y="797"/>
                  </a:lnTo>
                  <a:lnTo>
                    <a:pt x="546" y="802"/>
                  </a:lnTo>
                  <a:lnTo>
                    <a:pt x="546" y="802"/>
                  </a:lnTo>
                  <a:lnTo>
                    <a:pt x="546" y="805"/>
                  </a:lnTo>
                  <a:lnTo>
                    <a:pt x="547" y="810"/>
                  </a:lnTo>
                  <a:lnTo>
                    <a:pt x="547" y="810"/>
                  </a:lnTo>
                  <a:lnTo>
                    <a:pt x="552" y="817"/>
                  </a:lnTo>
                  <a:lnTo>
                    <a:pt x="552" y="817"/>
                  </a:lnTo>
                  <a:lnTo>
                    <a:pt x="555" y="821"/>
                  </a:lnTo>
                  <a:lnTo>
                    <a:pt x="555" y="821"/>
                  </a:lnTo>
                  <a:lnTo>
                    <a:pt x="560" y="823"/>
                  </a:lnTo>
                  <a:lnTo>
                    <a:pt x="560" y="823"/>
                  </a:lnTo>
                  <a:lnTo>
                    <a:pt x="563" y="823"/>
                  </a:lnTo>
                  <a:lnTo>
                    <a:pt x="568" y="824"/>
                  </a:lnTo>
                  <a:lnTo>
                    <a:pt x="568" y="824"/>
                  </a:lnTo>
                  <a:lnTo>
                    <a:pt x="571" y="826"/>
                  </a:lnTo>
                  <a:lnTo>
                    <a:pt x="572" y="828"/>
                  </a:lnTo>
                  <a:lnTo>
                    <a:pt x="572" y="828"/>
                  </a:lnTo>
                  <a:lnTo>
                    <a:pt x="572" y="828"/>
                  </a:lnTo>
                  <a:lnTo>
                    <a:pt x="575" y="839"/>
                  </a:lnTo>
                  <a:lnTo>
                    <a:pt x="575" y="839"/>
                  </a:lnTo>
                  <a:lnTo>
                    <a:pt x="576" y="846"/>
                  </a:lnTo>
                  <a:lnTo>
                    <a:pt x="576" y="846"/>
                  </a:lnTo>
                  <a:lnTo>
                    <a:pt x="575" y="850"/>
                  </a:lnTo>
                  <a:lnTo>
                    <a:pt x="575" y="850"/>
                  </a:lnTo>
                  <a:lnTo>
                    <a:pt x="572" y="855"/>
                  </a:lnTo>
                  <a:lnTo>
                    <a:pt x="572" y="855"/>
                  </a:lnTo>
                  <a:lnTo>
                    <a:pt x="571" y="856"/>
                  </a:lnTo>
                  <a:lnTo>
                    <a:pt x="571" y="856"/>
                  </a:lnTo>
                  <a:lnTo>
                    <a:pt x="568" y="860"/>
                  </a:lnTo>
                  <a:lnTo>
                    <a:pt x="568" y="860"/>
                  </a:lnTo>
                  <a:lnTo>
                    <a:pt x="565" y="868"/>
                  </a:lnTo>
                  <a:lnTo>
                    <a:pt x="565" y="868"/>
                  </a:lnTo>
                  <a:lnTo>
                    <a:pt x="563" y="870"/>
                  </a:lnTo>
                  <a:lnTo>
                    <a:pt x="563" y="870"/>
                  </a:lnTo>
                  <a:lnTo>
                    <a:pt x="563" y="870"/>
                  </a:lnTo>
                  <a:lnTo>
                    <a:pt x="565" y="872"/>
                  </a:lnTo>
                  <a:lnTo>
                    <a:pt x="563" y="870"/>
                  </a:lnTo>
                  <a:lnTo>
                    <a:pt x="563" y="870"/>
                  </a:lnTo>
                  <a:lnTo>
                    <a:pt x="565" y="872"/>
                  </a:lnTo>
                  <a:lnTo>
                    <a:pt x="563" y="870"/>
                  </a:lnTo>
                  <a:lnTo>
                    <a:pt x="563" y="870"/>
                  </a:lnTo>
                  <a:lnTo>
                    <a:pt x="563" y="870"/>
                  </a:lnTo>
                  <a:lnTo>
                    <a:pt x="563" y="870"/>
                  </a:lnTo>
                  <a:lnTo>
                    <a:pt x="563" y="870"/>
                  </a:lnTo>
                  <a:lnTo>
                    <a:pt x="563" y="870"/>
                  </a:lnTo>
                  <a:lnTo>
                    <a:pt x="563" y="870"/>
                  </a:lnTo>
                  <a:lnTo>
                    <a:pt x="563" y="870"/>
                  </a:lnTo>
                  <a:lnTo>
                    <a:pt x="563" y="870"/>
                  </a:lnTo>
                  <a:lnTo>
                    <a:pt x="563" y="870"/>
                  </a:lnTo>
                  <a:lnTo>
                    <a:pt x="563" y="870"/>
                  </a:lnTo>
                  <a:lnTo>
                    <a:pt x="563" y="870"/>
                  </a:lnTo>
                  <a:lnTo>
                    <a:pt x="563" y="870"/>
                  </a:lnTo>
                  <a:lnTo>
                    <a:pt x="563" y="870"/>
                  </a:lnTo>
                  <a:lnTo>
                    <a:pt x="560" y="869"/>
                  </a:lnTo>
                  <a:lnTo>
                    <a:pt x="560" y="869"/>
                  </a:lnTo>
                  <a:lnTo>
                    <a:pt x="556" y="870"/>
                  </a:lnTo>
                  <a:lnTo>
                    <a:pt x="556" y="870"/>
                  </a:lnTo>
                  <a:lnTo>
                    <a:pt x="555" y="873"/>
                  </a:lnTo>
                  <a:lnTo>
                    <a:pt x="555" y="873"/>
                  </a:lnTo>
                  <a:lnTo>
                    <a:pt x="547" y="885"/>
                  </a:lnTo>
                  <a:lnTo>
                    <a:pt x="547" y="885"/>
                  </a:lnTo>
                  <a:lnTo>
                    <a:pt x="545" y="891"/>
                  </a:lnTo>
                  <a:lnTo>
                    <a:pt x="545" y="891"/>
                  </a:lnTo>
                  <a:lnTo>
                    <a:pt x="542" y="895"/>
                  </a:lnTo>
                  <a:lnTo>
                    <a:pt x="542" y="895"/>
                  </a:lnTo>
                  <a:lnTo>
                    <a:pt x="542" y="899"/>
                  </a:lnTo>
                  <a:lnTo>
                    <a:pt x="542" y="899"/>
                  </a:lnTo>
                  <a:lnTo>
                    <a:pt x="542" y="908"/>
                  </a:lnTo>
                  <a:lnTo>
                    <a:pt x="542" y="908"/>
                  </a:lnTo>
                  <a:lnTo>
                    <a:pt x="542" y="918"/>
                  </a:lnTo>
                  <a:lnTo>
                    <a:pt x="542" y="918"/>
                  </a:lnTo>
                  <a:lnTo>
                    <a:pt x="536" y="939"/>
                  </a:lnTo>
                  <a:lnTo>
                    <a:pt x="536" y="939"/>
                  </a:lnTo>
                  <a:lnTo>
                    <a:pt x="532" y="949"/>
                  </a:lnTo>
                  <a:lnTo>
                    <a:pt x="532" y="949"/>
                  </a:lnTo>
                  <a:lnTo>
                    <a:pt x="529" y="952"/>
                  </a:lnTo>
                  <a:lnTo>
                    <a:pt x="529" y="953"/>
                  </a:lnTo>
                  <a:lnTo>
                    <a:pt x="529" y="953"/>
                  </a:lnTo>
                  <a:lnTo>
                    <a:pt x="529" y="953"/>
                  </a:lnTo>
                  <a:lnTo>
                    <a:pt x="529" y="953"/>
                  </a:lnTo>
                  <a:lnTo>
                    <a:pt x="529" y="953"/>
                  </a:lnTo>
                  <a:lnTo>
                    <a:pt x="529" y="953"/>
                  </a:lnTo>
                  <a:lnTo>
                    <a:pt x="529" y="953"/>
                  </a:lnTo>
                  <a:lnTo>
                    <a:pt x="530" y="953"/>
                  </a:lnTo>
                  <a:lnTo>
                    <a:pt x="529" y="952"/>
                  </a:lnTo>
                  <a:lnTo>
                    <a:pt x="529" y="953"/>
                  </a:lnTo>
                  <a:lnTo>
                    <a:pt x="530" y="953"/>
                  </a:lnTo>
                  <a:lnTo>
                    <a:pt x="529" y="952"/>
                  </a:lnTo>
                  <a:lnTo>
                    <a:pt x="529" y="952"/>
                  </a:lnTo>
                  <a:lnTo>
                    <a:pt x="529" y="952"/>
                  </a:lnTo>
                  <a:lnTo>
                    <a:pt x="527" y="952"/>
                  </a:lnTo>
                  <a:lnTo>
                    <a:pt x="527" y="952"/>
                  </a:lnTo>
                  <a:lnTo>
                    <a:pt x="523" y="952"/>
                  </a:lnTo>
                  <a:lnTo>
                    <a:pt x="523" y="952"/>
                  </a:lnTo>
                  <a:lnTo>
                    <a:pt x="518" y="953"/>
                  </a:lnTo>
                  <a:lnTo>
                    <a:pt x="513" y="956"/>
                  </a:lnTo>
                  <a:lnTo>
                    <a:pt x="513" y="956"/>
                  </a:lnTo>
                  <a:lnTo>
                    <a:pt x="508" y="960"/>
                  </a:lnTo>
                  <a:lnTo>
                    <a:pt x="505" y="965"/>
                  </a:lnTo>
                  <a:lnTo>
                    <a:pt x="505" y="965"/>
                  </a:lnTo>
                  <a:lnTo>
                    <a:pt x="503" y="972"/>
                  </a:lnTo>
                  <a:lnTo>
                    <a:pt x="503" y="972"/>
                  </a:lnTo>
                  <a:lnTo>
                    <a:pt x="503" y="975"/>
                  </a:lnTo>
                  <a:lnTo>
                    <a:pt x="503" y="975"/>
                  </a:lnTo>
                  <a:lnTo>
                    <a:pt x="501" y="976"/>
                  </a:lnTo>
                  <a:lnTo>
                    <a:pt x="501" y="976"/>
                  </a:lnTo>
                  <a:lnTo>
                    <a:pt x="497" y="976"/>
                  </a:lnTo>
                  <a:lnTo>
                    <a:pt x="497" y="976"/>
                  </a:lnTo>
                  <a:lnTo>
                    <a:pt x="487" y="975"/>
                  </a:lnTo>
                  <a:lnTo>
                    <a:pt x="487" y="975"/>
                  </a:lnTo>
                  <a:lnTo>
                    <a:pt x="484" y="973"/>
                  </a:lnTo>
                  <a:lnTo>
                    <a:pt x="484" y="973"/>
                  </a:lnTo>
                  <a:lnTo>
                    <a:pt x="479" y="972"/>
                  </a:lnTo>
                  <a:lnTo>
                    <a:pt x="479" y="973"/>
                  </a:lnTo>
                  <a:lnTo>
                    <a:pt x="481" y="972"/>
                  </a:lnTo>
                  <a:lnTo>
                    <a:pt x="479" y="972"/>
                  </a:lnTo>
                  <a:lnTo>
                    <a:pt x="479" y="973"/>
                  </a:lnTo>
                  <a:lnTo>
                    <a:pt x="481" y="972"/>
                  </a:lnTo>
                  <a:lnTo>
                    <a:pt x="479" y="973"/>
                  </a:lnTo>
                  <a:lnTo>
                    <a:pt x="481" y="973"/>
                  </a:lnTo>
                  <a:lnTo>
                    <a:pt x="481" y="973"/>
                  </a:lnTo>
                  <a:lnTo>
                    <a:pt x="481" y="972"/>
                  </a:lnTo>
                  <a:lnTo>
                    <a:pt x="479" y="973"/>
                  </a:lnTo>
                  <a:lnTo>
                    <a:pt x="481" y="973"/>
                  </a:lnTo>
                  <a:lnTo>
                    <a:pt x="481" y="973"/>
                  </a:lnTo>
                  <a:lnTo>
                    <a:pt x="481" y="973"/>
                  </a:lnTo>
                  <a:lnTo>
                    <a:pt x="481" y="973"/>
                  </a:lnTo>
                  <a:lnTo>
                    <a:pt x="481" y="973"/>
                  </a:lnTo>
                  <a:lnTo>
                    <a:pt x="481" y="973"/>
                  </a:lnTo>
                  <a:lnTo>
                    <a:pt x="481" y="973"/>
                  </a:lnTo>
                  <a:lnTo>
                    <a:pt x="481" y="973"/>
                  </a:lnTo>
                  <a:lnTo>
                    <a:pt x="482" y="968"/>
                  </a:lnTo>
                  <a:lnTo>
                    <a:pt x="482" y="968"/>
                  </a:lnTo>
                  <a:lnTo>
                    <a:pt x="484" y="959"/>
                  </a:lnTo>
                  <a:lnTo>
                    <a:pt x="484" y="959"/>
                  </a:lnTo>
                  <a:lnTo>
                    <a:pt x="484" y="957"/>
                  </a:lnTo>
                  <a:lnTo>
                    <a:pt x="484" y="957"/>
                  </a:lnTo>
                  <a:lnTo>
                    <a:pt x="481" y="947"/>
                  </a:lnTo>
                  <a:lnTo>
                    <a:pt x="481" y="947"/>
                  </a:lnTo>
                  <a:lnTo>
                    <a:pt x="478" y="937"/>
                  </a:lnTo>
                  <a:lnTo>
                    <a:pt x="478" y="937"/>
                  </a:lnTo>
                  <a:lnTo>
                    <a:pt x="471" y="927"/>
                  </a:lnTo>
                  <a:lnTo>
                    <a:pt x="471" y="927"/>
                  </a:lnTo>
                  <a:lnTo>
                    <a:pt x="468" y="921"/>
                  </a:lnTo>
                  <a:lnTo>
                    <a:pt x="468" y="921"/>
                  </a:lnTo>
                  <a:lnTo>
                    <a:pt x="466" y="917"/>
                  </a:lnTo>
                  <a:lnTo>
                    <a:pt x="466" y="917"/>
                  </a:lnTo>
                  <a:lnTo>
                    <a:pt x="466" y="917"/>
                  </a:lnTo>
                  <a:lnTo>
                    <a:pt x="466" y="917"/>
                  </a:lnTo>
                  <a:lnTo>
                    <a:pt x="468" y="907"/>
                  </a:lnTo>
                  <a:lnTo>
                    <a:pt x="468" y="907"/>
                  </a:lnTo>
                  <a:lnTo>
                    <a:pt x="469" y="901"/>
                  </a:lnTo>
                  <a:lnTo>
                    <a:pt x="469" y="901"/>
                  </a:lnTo>
                  <a:lnTo>
                    <a:pt x="471" y="897"/>
                  </a:lnTo>
                  <a:lnTo>
                    <a:pt x="471" y="897"/>
                  </a:lnTo>
                  <a:lnTo>
                    <a:pt x="471" y="894"/>
                  </a:lnTo>
                  <a:lnTo>
                    <a:pt x="471" y="894"/>
                  </a:lnTo>
                  <a:lnTo>
                    <a:pt x="469" y="894"/>
                  </a:lnTo>
                  <a:lnTo>
                    <a:pt x="469" y="894"/>
                  </a:lnTo>
                  <a:lnTo>
                    <a:pt x="468" y="892"/>
                  </a:lnTo>
                  <a:lnTo>
                    <a:pt x="468" y="892"/>
                  </a:lnTo>
                  <a:lnTo>
                    <a:pt x="465" y="894"/>
                  </a:lnTo>
                  <a:lnTo>
                    <a:pt x="465" y="894"/>
                  </a:lnTo>
                  <a:lnTo>
                    <a:pt x="461" y="895"/>
                  </a:lnTo>
                  <a:lnTo>
                    <a:pt x="459" y="895"/>
                  </a:lnTo>
                  <a:lnTo>
                    <a:pt x="459" y="895"/>
                  </a:lnTo>
                  <a:lnTo>
                    <a:pt x="459" y="894"/>
                  </a:lnTo>
                  <a:lnTo>
                    <a:pt x="459" y="894"/>
                  </a:lnTo>
                  <a:lnTo>
                    <a:pt x="459" y="894"/>
                  </a:lnTo>
                  <a:lnTo>
                    <a:pt x="458" y="891"/>
                  </a:lnTo>
                  <a:lnTo>
                    <a:pt x="458" y="891"/>
                  </a:lnTo>
                  <a:lnTo>
                    <a:pt x="456" y="881"/>
                  </a:lnTo>
                  <a:lnTo>
                    <a:pt x="456" y="881"/>
                  </a:lnTo>
                  <a:lnTo>
                    <a:pt x="456" y="875"/>
                  </a:lnTo>
                  <a:lnTo>
                    <a:pt x="453" y="870"/>
                  </a:lnTo>
                  <a:lnTo>
                    <a:pt x="453" y="870"/>
                  </a:lnTo>
                  <a:lnTo>
                    <a:pt x="452" y="866"/>
                  </a:lnTo>
                  <a:lnTo>
                    <a:pt x="452" y="866"/>
                  </a:lnTo>
                  <a:lnTo>
                    <a:pt x="449" y="857"/>
                  </a:lnTo>
                  <a:lnTo>
                    <a:pt x="449" y="857"/>
                  </a:lnTo>
                  <a:lnTo>
                    <a:pt x="448" y="853"/>
                  </a:lnTo>
                  <a:lnTo>
                    <a:pt x="448" y="853"/>
                  </a:lnTo>
                  <a:lnTo>
                    <a:pt x="448" y="852"/>
                  </a:lnTo>
                  <a:lnTo>
                    <a:pt x="448" y="852"/>
                  </a:lnTo>
                  <a:lnTo>
                    <a:pt x="446" y="852"/>
                  </a:lnTo>
                  <a:lnTo>
                    <a:pt x="446" y="852"/>
                  </a:lnTo>
                  <a:lnTo>
                    <a:pt x="445" y="850"/>
                  </a:lnTo>
                  <a:lnTo>
                    <a:pt x="445" y="850"/>
                  </a:lnTo>
                  <a:lnTo>
                    <a:pt x="443" y="852"/>
                  </a:lnTo>
                  <a:lnTo>
                    <a:pt x="443" y="852"/>
                  </a:lnTo>
                  <a:lnTo>
                    <a:pt x="442" y="853"/>
                  </a:lnTo>
                  <a:lnTo>
                    <a:pt x="442" y="853"/>
                  </a:lnTo>
                  <a:lnTo>
                    <a:pt x="442" y="855"/>
                  </a:lnTo>
                  <a:lnTo>
                    <a:pt x="442" y="855"/>
                  </a:lnTo>
                  <a:lnTo>
                    <a:pt x="442" y="862"/>
                  </a:lnTo>
                  <a:lnTo>
                    <a:pt x="442" y="862"/>
                  </a:lnTo>
                  <a:lnTo>
                    <a:pt x="440" y="862"/>
                  </a:lnTo>
                  <a:lnTo>
                    <a:pt x="440" y="862"/>
                  </a:lnTo>
                  <a:lnTo>
                    <a:pt x="439" y="862"/>
                  </a:lnTo>
                  <a:lnTo>
                    <a:pt x="439" y="862"/>
                  </a:lnTo>
                  <a:lnTo>
                    <a:pt x="436" y="863"/>
                  </a:lnTo>
                  <a:lnTo>
                    <a:pt x="436" y="863"/>
                  </a:lnTo>
                  <a:lnTo>
                    <a:pt x="433" y="865"/>
                  </a:lnTo>
                  <a:lnTo>
                    <a:pt x="430" y="866"/>
                  </a:lnTo>
                  <a:lnTo>
                    <a:pt x="430" y="866"/>
                  </a:lnTo>
                  <a:lnTo>
                    <a:pt x="423" y="875"/>
                  </a:lnTo>
                  <a:lnTo>
                    <a:pt x="423" y="875"/>
                  </a:lnTo>
                  <a:lnTo>
                    <a:pt x="414" y="888"/>
                  </a:lnTo>
                  <a:lnTo>
                    <a:pt x="407" y="895"/>
                  </a:lnTo>
                  <a:lnTo>
                    <a:pt x="407" y="895"/>
                  </a:lnTo>
                  <a:lnTo>
                    <a:pt x="406" y="897"/>
                  </a:lnTo>
                  <a:lnTo>
                    <a:pt x="406" y="897"/>
                  </a:lnTo>
                  <a:lnTo>
                    <a:pt x="406" y="897"/>
                  </a:lnTo>
                  <a:lnTo>
                    <a:pt x="406" y="897"/>
                  </a:lnTo>
                  <a:lnTo>
                    <a:pt x="406" y="897"/>
                  </a:lnTo>
                  <a:lnTo>
                    <a:pt x="406" y="897"/>
                  </a:lnTo>
                  <a:lnTo>
                    <a:pt x="406" y="897"/>
                  </a:lnTo>
                  <a:lnTo>
                    <a:pt x="406" y="897"/>
                  </a:lnTo>
                  <a:lnTo>
                    <a:pt x="404" y="897"/>
                  </a:lnTo>
                  <a:lnTo>
                    <a:pt x="404" y="897"/>
                  </a:lnTo>
                  <a:lnTo>
                    <a:pt x="401" y="895"/>
                  </a:lnTo>
                  <a:lnTo>
                    <a:pt x="401" y="895"/>
                  </a:lnTo>
                  <a:lnTo>
                    <a:pt x="398" y="897"/>
                  </a:lnTo>
                  <a:lnTo>
                    <a:pt x="398" y="897"/>
                  </a:lnTo>
                  <a:lnTo>
                    <a:pt x="392" y="898"/>
                  </a:lnTo>
                  <a:lnTo>
                    <a:pt x="388" y="898"/>
                  </a:lnTo>
                  <a:lnTo>
                    <a:pt x="388" y="898"/>
                  </a:lnTo>
                  <a:lnTo>
                    <a:pt x="385" y="898"/>
                  </a:lnTo>
                  <a:lnTo>
                    <a:pt x="382" y="897"/>
                  </a:lnTo>
                  <a:lnTo>
                    <a:pt x="382" y="897"/>
                  </a:lnTo>
                  <a:lnTo>
                    <a:pt x="368" y="884"/>
                  </a:lnTo>
                  <a:lnTo>
                    <a:pt x="368" y="884"/>
                  </a:lnTo>
                  <a:lnTo>
                    <a:pt x="366" y="881"/>
                  </a:lnTo>
                  <a:lnTo>
                    <a:pt x="366" y="881"/>
                  </a:lnTo>
                  <a:lnTo>
                    <a:pt x="365" y="876"/>
                  </a:lnTo>
                  <a:lnTo>
                    <a:pt x="365" y="876"/>
                  </a:lnTo>
                  <a:lnTo>
                    <a:pt x="366" y="875"/>
                  </a:lnTo>
                  <a:lnTo>
                    <a:pt x="366" y="875"/>
                  </a:lnTo>
                  <a:lnTo>
                    <a:pt x="368" y="875"/>
                  </a:lnTo>
                  <a:lnTo>
                    <a:pt x="368" y="875"/>
                  </a:lnTo>
                  <a:lnTo>
                    <a:pt x="369" y="875"/>
                  </a:lnTo>
                  <a:lnTo>
                    <a:pt x="369" y="875"/>
                  </a:lnTo>
                  <a:lnTo>
                    <a:pt x="371" y="876"/>
                  </a:lnTo>
                  <a:lnTo>
                    <a:pt x="371" y="876"/>
                  </a:lnTo>
                  <a:lnTo>
                    <a:pt x="372" y="876"/>
                  </a:lnTo>
                  <a:lnTo>
                    <a:pt x="372" y="876"/>
                  </a:lnTo>
                  <a:lnTo>
                    <a:pt x="375" y="875"/>
                  </a:lnTo>
                  <a:lnTo>
                    <a:pt x="375" y="875"/>
                  </a:lnTo>
                  <a:lnTo>
                    <a:pt x="377" y="873"/>
                  </a:lnTo>
                  <a:lnTo>
                    <a:pt x="377" y="873"/>
                  </a:lnTo>
                  <a:lnTo>
                    <a:pt x="375" y="870"/>
                  </a:lnTo>
                  <a:lnTo>
                    <a:pt x="375" y="870"/>
                  </a:lnTo>
                  <a:lnTo>
                    <a:pt x="375" y="868"/>
                  </a:lnTo>
                  <a:lnTo>
                    <a:pt x="375" y="868"/>
                  </a:lnTo>
                  <a:lnTo>
                    <a:pt x="375" y="863"/>
                  </a:lnTo>
                  <a:lnTo>
                    <a:pt x="375" y="863"/>
                  </a:lnTo>
                  <a:lnTo>
                    <a:pt x="377" y="859"/>
                  </a:lnTo>
                  <a:lnTo>
                    <a:pt x="377" y="859"/>
                  </a:lnTo>
                  <a:lnTo>
                    <a:pt x="377" y="857"/>
                  </a:lnTo>
                  <a:lnTo>
                    <a:pt x="377" y="857"/>
                  </a:lnTo>
                  <a:lnTo>
                    <a:pt x="375" y="856"/>
                  </a:lnTo>
                  <a:lnTo>
                    <a:pt x="375" y="856"/>
                  </a:lnTo>
                  <a:lnTo>
                    <a:pt x="374" y="856"/>
                  </a:lnTo>
                  <a:lnTo>
                    <a:pt x="374" y="856"/>
                  </a:lnTo>
                  <a:lnTo>
                    <a:pt x="372" y="856"/>
                  </a:lnTo>
                  <a:lnTo>
                    <a:pt x="371" y="857"/>
                  </a:lnTo>
                  <a:lnTo>
                    <a:pt x="371" y="857"/>
                  </a:lnTo>
                  <a:lnTo>
                    <a:pt x="368" y="860"/>
                  </a:lnTo>
                  <a:lnTo>
                    <a:pt x="368" y="862"/>
                  </a:lnTo>
                  <a:lnTo>
                    <a:pt x="368" y="862"/>
                  </a:lnTo>
                  <a:lnTo>
                    <a:pt x="365" y="862"/>
                  </a:lnTo>
                  <a:lnTo>
                    <a:pt x="365" y="862"/>
                  </a:lnTo>
                  <a:lnTo>
                    <a:pt x="362" y="862"/>
                  </a:lnTo>
                  <a:lnTo>
                    <a:pt x="361" y="863"/>
                  </a:lnTo>
                  <a:lnTo>
                    <a:pt x="362" y="862"/>
                  </a:lnTo>
                  <a:lnTo>
                    <a:pt x="362" y="862"/>
                  </a:lnTo>
                  <a:lnTo>
                    <a:pt x="361" y="863"/>
                  </a:lnTo>
                  <a:lnTo>
                    <a:pt x="362" y="862"/>
                  </a:lnTo>
                  <a:lnTo>
                    <a:pt x="362" y="863"/>
                  </a:lnTo>
                  <a:lnTo>
                    <a:pt x="362" y="863"/>
                  </a:lnTo>
                  <a:lnTo>
                    <a:pt x="362" y="862"/>
                  </a:lnTo>
                  <a:lnTo>
                    <a:pt x="362" y="863"/>
                  </a:lnTo>
                  <a:lnTo>
                    <a:pt x="362" y="863"/>
                  </a:lnTo>
                  <a:lnTo>
                    <a:pt x="362" y="863"/>
                  </a:lnTo>
                  <a:lnTo>
                    <a:pt x="362" y="863"/>
                  </a:lnTo>
                  <a:lnTo>
                    <a:pt x="362" y="863"/>
                  </a:lnTo>
                  <a:lnTo>
                    <a:pt x="362" y="863"/>
                  </a:lnTo>
                  <a:lnTo>
                    <a:pt x="362" y="863"/>
                  </a:lnTo>
                  <a:lnTo>
                    <a:pt x="362" y="862"/>
                  </a:lnTo>
                  <a:lnTo>
                    <a:pt x="362" y="862"/>
                  </a:lnTo>
                  <a:lnTo>
                    <a:pt x="362" y="859"/>
                  </a:lnTo>
                  <a:lnTo>
                    <a:pt x="362" y="859"/>
                  </a:lnTo>
                  <a:lnTo>
                    <a:pt x="361" y="855"/>
                  </a:lnTo>
                  <a:lnTo>
                    <a:pt x="358" y="850"/>
                  </a:lnTo>
                  <a:lnTo>
                    <a:pt x="358" y="850"/>
                  </a:lnTo>
                  <a:lnTo>
                    <a:pt x="356" y="849"/>
                  </a:lnTo>
                  <a:lnTo>
                    <a:pt x="356" y="847"/>
                  </a:lnTo>
                  <a:lnTo>
                    <a:pt x="356" y="847"/>
                  </a:lnTo>
                  <a:lnTo>
                    <a:pt x="355" y="847"/>
                  </a:lnTo>
                  <a:lnTo>
                    <a:pt x="356" y="847"/>
                  </a:lnTo>
                  <a:lnTo>
                    <a:pt x="356" y="847"/>
                  </a:lnTo>
                  <a:lnTo>
                    <a:pt x="355" y="847"/>
                  </a:lnTo>
                  <a:lnTo>
                    <a:pt x="356" y="847"/>
                  </a:lnTo>
                  <a:lnTo>
                    <a:pt x="355" y="847"/>
                  </a:lnTo>
                  <a:lnTo>
                    <a:pt x="356" y="849"/>
                  </a:lnTo>
                  <a:lnTo>
                    <a:pt x="356" y="847"/>
                  </a:lnTo>
                  <a:lnTo>
                    <a:pt x="355" y="847"/>
                  </a:lnTo>
                  <a:lnTo>
                    <a:pt x="356" y="849"/>
                  </a:lnTo>
                  <a:lnTo>
                    <a:pt x="356" y="849"/>
                  </a:lnTo>
                  <a:lnTo>
                    <a:pt x="356" y="849"/>
                  </a:lnTo>
                  <a:lnTo>
                    <a:pt x="356" y="849"/>
                  </a:lnTo>
                  <a:lnTo>
                    <a:pt x="356" y="849"/>
                  </a:lnTo>
                  <a:lnTo>
                    <a:pt x="356" y="849"/>
                  </a:lnTo>
                  <a:lnTo>
                    <a:pt x="356" y="849"/>
                  </a:lnTo>
                  <a:lnTo>
                    <a:pt x="356" y="847"/>
                  </a:lnTo>
                  <a:lnTo>
                    <a:pt x="358" y="847"/>
                  </a:lnTo>
                  <a:lnTo>
                    <a:pt x="358" y="847"/>
                  </a:lnTo>
                  <a:lnTo>
                    <a:pt x="359" y="849"/>
                  </a:lnTo>
                  <a:lnTo>
                    <a:pt x="359" y="849"/>
                  </a:lnTo>
                  <a:lnTo>
                    <a:pt x="361" y="850"/>
                  </a:lnTo>
                  <a:lnTo>
                    <a:pt x="361" y="850"/>
                  </a:lnTo>
                  <a:lnTo>
                    <a:pt x="364" y="850"/>
                  </a:lnTo>
                  <a:lnTo>
                    <a:pt x="364" y="850"/>
                  </a:lnTo>
                  <a:lnTo>
                    <a:pt x="366" y="849"/>
                  </a:lnTo>
                  <a:lnTo>
                    <a:pt x="366" y="849"/>
                  </a:lnTo>
                  <a:lnTo>
                    <a:pt x="369" y="846"/>
                  </a:lnTo>
                  <a:lnTo>
                    <a:pt x="369" y="846"/>
                  </a:lnTo>
                  <a:lnTo>
                    <a:pt x="372" y="839"/>
                  </a:lnTo>
                  <a:lnTo>
                    <a:pt x="372" y="839"/>
                  </a:lnTo>
                  <a:lnTo>
                    <a:pt x="372" y="836"/>
                  </a:lnTo>
                  <a:lnTo>
                    <a:pt x="372" y="836"/>
                  </a:lnTo>
                  <a:lnTo>
                    <a:pt x="374" y="833"/>
                  </a:lnTo>
                  <a:lnTo>
                    <a:pt x="374" y="833"/>
                  </a:lnTo>
                  <a:lnTo>
                    <a:pt x="374" y="831"/>
                  </a:lnTo>
                  <a:lnTo>
                    <a:pt x="374" y="831"/>
                  </a:lnTo>
                  <a:lnTo>
                    <a:pt x="372" y="830"/>
                  </a:lnTo>
                  <a:lnTo>
                    <a:pt x="372" y="830"/>
                  </a:lnTo>
                  <a:lnTo>
                    <a:pt x="371" y="830"/>
                  </a:lnTo>
                  <a:lnTo>
                    <a:pt x="371" y="830"/>
                  </a:lnTo>
                  <a:lnTo>
                    <a:pt x="369" y="830"/>
                  </a:lnTo>
                  <a:lnTo>
                    <a:pt x="369" y="830"/>
                  </a:lnTo>
                  <a:lnTo>
                    <a:pt x="366" y="833"/>
                  </a:lnTo>
                  <a:lnTo>
                    <a:pt x="366" y="833"/>
                  </a:lnTo>
                  <a:lnTo>
                    <a:pt x="364" y="837"/>
                  </a:lnTo>
                  <a:lnTo>
                    <a:pt x="364" y="837"/>
                  </a:lnTo>
                  <a:lnTo>
                    <a:pt x="362" y="839"/>
                  </a:lnTo>
                  <a:lnTo>
                    <a:pt x="362" y="839"/>
                  </a:lnTo>
                  <a:lnTo>
                    <a:pt x="364" y="839"/>
                  </a:lnTo>
                  <a:lnTo>
                    <a:pt x="364" y="839"/>
                  </a:lnTo>
                  <a:lnTo>
                    <a:pt x="362" y="839"/>
                  </a:lnTo>
                  <a:lnTo>
                    <a:pt x="364" y="839"/>
                  </a:lnTo>
                  <a:lnTo>
                    <a:pt x="364" y="839"/>
                  </a:lnTo>
                  <a:lnTo>
                    <a:pt x="362" y="839"/>
                  </a:lnTo>
                  <a:lnTo>
                    <a:pt x="362" y="839"/>
                  </a:lnTo>
                  <a:lnTo>
                    <a:pt x="361" y="837"/>
                  </a:lnTo>
                  <a:lnTo>
                    <a:pt x="361" y="837"/>
                  </a:lnTo>
                  <a:lnTo>
                    <a:pt x="361" y="837"/>
                  </a:lnTo>
                  <a:lnTo>
                    <a:pt x="359" y="837"/>
                  </a:lnTo>
                  <a:lnTo>
                    <a:pt x="359" y="837"/>
                  </a:lnTo>
                  <a:lnTo>
                    <a:pt x="361" y="834"/>
                  </a:lnTo>
                  <a:lnTo>
                    <a:pt x="361" y="834"/>
                  </a:lnTo>
                  <a:lnTo>
                    <a:pt x="362" y="833"/>
                  </a:lnTo>
                  <a:lnTo>
                    <a:pt x="362" y="833"/>
                  </a:lnTo>
                  <a:lnTo>
                    <a:pt x="364" y="830"/>
                  </a:lnTo>
                  <a:lnTo>
                    <a:pt x="364" y="830"/>
                  </a:lnTo>
                  <a:lnTo>
                    <a:pt x="362" y="827"/>
                  </a:lnTo>
                  <a:lnTo>
                    <a:pt x="362" y="827"/>
                  </a:lnTo>
                  <a:lnTo>
                    <a:pt x="361" y="826"/>
                  </a:lnTo>
                  <a:lnTo>
                    <a:pt x="359" y="826"/>
                  </a:lnTo>
                  <a:lnTo>
                    <a:pt x="359" y="826"/>
                  </a:lnTo>
                  <a:lnTo>
                    <a:pt x="359" y="827"/>
                  </a:lnTo>
                  <a:lnTo>
                    <a:pt x="359" y="827"/>
                  </a:lnTo>
                  <a:lnTo>
                    <a:pt x="359" y="826"/>
                  </a:lnTo>
                  <a:lnTo>
                    <a:pt x="359" y="827"/>
                  </a:lnTo>
                  <a:lnTo>
                    <a:pt x="359" y="827"/>
                  </a:lnTo>
                  <a:lnTo>
                    <a:pt x="358" y="827"/>
                  </a:lnTo>
                  <a:lnTo>
                    <a:pt x="361" y="827"/>
                  </a:lnTo>
                  <a:lnTo>
                    <a:pt x="359" y="827"/>
                  </a:lnTo>
                  <a:lnTo>
                    <a:pt x="358" y="827"/>
                  </a:lnTo>
                  <a:lnTo>
                    <a:pt x="361" y="827"/>
                  </a:lnTo>
                  <a:lnTo>
                    <a:pt x="359" y="827"/>
                  </a:lnTo>
                  <a:lnTo>
                    <a:pt x="361" y="827"/>
                  </a:lnTo>
                  <a:lnTo>
                    <a:pt x="361" y="827"/>
                  </a:lnTo>
                  <a:lnTo>
                    <a:pt x="359" y="827"/>
                  </a:lnTo>
                  <a:lnTo>
                    <a:pt x="361" y="827"/>
                  </a:lnTo>
                  <a:lnTo>
                    <a:pt x="359" y="827"/>
                  </a:lnTo>
                  <a:lnTo>
                    <a:pt x="361" y="828"/>
                  </a:lnTo>
                  <a:lnTo>
                    <a:pt x="361" y="827"/>
                  </a:lnTo>
                  <a:lnTo>
                    <a:pt x="359" y="827"/>
                  </a:lnTo>
                  <a:lnTo>
                    <a:pt x="361" y="828"/>
                  </a:lnTo>
                  <a:lnTo>
                    <a:pt x="361" y="828"/>
                  </a:lnTo>
                  <a:lnTo>
                    <a:pt x="361" y="827"/>
                  </a:lnTo>
                  <a:lnTo>
                    <a:pt x="361" y="827"/>
                  </a:lnTo>
                  <a:lnTo>
                    <a:pt x="361" y="824"/>
                  </a:lnTo>
                  <a:lnTo>
                    <a:pt x="361" y="824"/>
                  </a:lnTo>
                  <a:lnTo>
                    <a:pt x="361" y="821"/>
                  </a:lnTo>
                  <a:lnTo>
                    <a:pt x="359" y="820"/>
                  </a:lnTo>
                  <a:lnTo>
                    <a:pt x="359" y="820"/>
                  </a:lnTo>
                  <a:lnTo>
                    <a:pt x="356" y="817"/>
                  </a:lnTo>
                  <a:lnTo>
                    <a:pt x="353" y="817"/>
                  </a:lnTo>
                  <a:lnTo>
                    <a:pt x="353" y="817"/>
                  </a:lnTo>
                  <a:lnTo>
                    <a:pt x="352" y="815"/>
                  </a:lnTo>
                  <a:lnTo>
                    <a:pt x="352" y="815"/>
                  </a:lnTo>
                  <a:lnTo>
                    <a:pt x="352" y="817"/>
                  </a:lnTo>
                  <a:lnTo>
                    <a:pt x="352" y="815"/>
                  </a:lnTo>
                  <a:lnTo>
                    <a:pt x="352" y="815"/>
                  </a:lnTo>
                  <a:lnTo>
                    <a:pt x="352" y="817"/>
                  </a:lnTo>
                  <a:lnTo>
                    <a:pt x="352" y="815"/>
                  </a:lnTo>
                  <a:lnTo>
                    <a:pt x="350" y="817"/>
                  </a:lnTo>
                  <a:lnTo>
                    <a:pt x="353" y="817"/>
                  </a:lnTo>
                  <a:lnTo>
                    <a:pt x="353" y="817"/>
                  </a:lnTo>
                  <a:lnTo>
                    <a:pt x="352" y="815"/>
                  </a:lnTo>
                  <a:lnTo>
                    <a:pt x="350" y="817"/>
                  </a:lnTo>
                  <a:lnTo>
                    <a:pt x="353" y="817"/>
                  </a:lnTo>
                  <a:lnTo>
                    <a:pt x="350" y="817"/>
                  </a:lnTo>
                  <a:lnTo>
                    <a:pt x="352" y="818"/>
                  </a:lnTo>
                  <a:lnTo>
                    <a:pt x="352" y="818"/>
                  </a:lnTo>
                  <a:lnTo>
                    <a:pt x="353" y="817"/>
                  </a:lnTo>
                  <a:lnTo>
                    <a:pt x="350" y="817"/>
                  </a:lnTo>
                  <a:lnTo>
                    <a:pt x="352" y="818"/>
                  </a:lnTo>
                  <a:lnTo>
                    <a:pt x="352" y="817"/>
                  </a:lnTo>
                  <a:lnTo>
                    <a:pt x="352" y="818"/>
                  </a:lnTo>
                  <a:lnTo>
                    <a:pt x="352" y="818"/>
                  </a:lnTo>
                  <a:lnTo>
                    <a:pt x="352" y="817"/>
                  </a:lnTo>
                  <a:lnTo>
                    <a:pt x="352" y="818"/>
                  </a:lnTo>
                  <a:lnTo>
                    <a:pt x="352" y="818"/>
                  </a:lnTo>
                  <a:lnTo>
                    <a:pt x="352" y="818"/>
                  </a:lnTo>
                  <a:lnTo>
                    <a:pt x="355" y="817"/>
                  </a:lnTo>
                  <a:lnTo>
                    <a:pt x="355" y="817"/>
                  </a:lnTo>
                  <a:lnTo>
                    <a:pt x="359" y="815"/>
                  </a:lnTo>
                  <a:lnTo>
                    <a:pt x="359" y="815"/>
                  </a:lnTo>
                  <a:lnTo>
                    <a:pt x="362" y="814"/>
                  </a:lnTo>
                  <a:lnTo>
                    <a:pt x="362" y="814"/>
                  </a:lnTo>
                  <a:lnTo>
                    <a:pt x="362" y="814"/>
                  </a:lnTo>
                  <a:lnTo>
                    <a:pt x="362" y="814"/>
                  </a:lnTo>
                  <a:lnTo>
                    <a:pt x="364" y="811"/>
                  </a:lnTo>
                  <a:lnTo>
                    <a:pt x="364" y="811"/>
                  </a:lnTo>
                  <a:lnTo>
                    <a:pt x="362" y="810"/>
                  </a:lnTo>
                  <a:lnTo>
                    <a:pt x="362" y="810"/>
                  </a:lnTo>
                  <a:lnTo>
                    <a:pt x="361" y="807"/>
                  </a:lnTo>
                  <a:lnTo>
                    <a:pt x="361" y="807"/>
                  </a:lnTo>
                  <a:lnTo>
                    <a:pt x="359" y="804"/>
                  </a:lnTo>
                  <a:lnTo>
                    <a:pt x="359" y="804"/>
                  </a:lnTo>
                  <a:lnTo>
                    <a:pt x="359" y="804"/>
                  </a:lnTo>
                  <a:lnTo>
                    <a:pt x="359" y="804"/>
                  </a:lnTo>
                  <a:lnTo>
                    <a:pt x="358" y="804"/>
                  </a:lnTo>
                  <a:lnTo>
                    <a:pt x="359" y="804"/>
                  </a:lnTo>
                  <a:lnTo>
                    <a:pt x="359" y="804"/>
                  </a:lnTo>
                  <a:lnTo>
                    <a:pt x="358" y="804"/>
                  </a:lnTo>
                  <a:lnTo>
                    <a:pt x="359" y="804"/>
                  </a:lnTo>
                  <a:lnTo>
                    <a:pt x="358" y="804"/>
                  </a:lnTo>
                  <a:lnTo>
                    <a:pt x="359" y="804"/>
                  </a:lnTo>
                  <a:lnTo>
                    <a:pt x="359" y="804"/>
                  </a:lnTo>
                  <a:lnTo>
                    <a:pt x="358" y="804"/>
                  </a:lnTo>
                  <a:lnTo>
                    <a:pt x="359" y="804"/>
                  </a:lnTo>
                  <a:lnTo>
                    <a:pt x="359" y="804"/>
                  </a:lnTo>
                  <a:lnTo>
                    <a:pt x="361" y="804"/>
                  </a:lnTo>
                  <a:lnTo>
                    <a:pt x="362" y="804"/>
                  </a:lnTo>
                  <a:lnTo>
                    <a:pt x="362" y="804"/>
                  </a:lnTo>
                  <a:lnTo>
                    <a:pt x="365" y="804"/>
                  </a:lnTo>
                  <a:lnTo>
                    <a:pt x="365" y="804"/>
                  </a:lnTo>
                  <a:lnTo>
                    <a:pt x="365" y="804"/>
                  </a:lnTo>
                  <a:lnTo>
                    <a:pt x="365" y="804"/>
                  </a:lnTo>
                  <a:lnTo>
                    <a:pt x="365" y="804"/>
                  </a:lnTo>
                  <a:lnTo>
                    <a:pt x="365" y="804"/>
                  </a:lnTo>
                  <a:lnTo>
                    <a:pt x="365" y="804"/>
                  </a:lnTo>
                  <a:lnTo>
                    <a:pt x="366" y="804"/>
                  </a:lnTo>
                  <a:lnTo>
                    <a:pt x="368" y="802"/>
                  </a:lnTo>
                  <a:lnTo>
                    <a:pt x="368" y="802"/>
                  </a:lnTo>
                  <a:lnTo>
                    <a:pt x="368" y="802"/>
                  </a:lnTo>
                  <a:lnTo>
                    <a:pt x="368" y="800"/>
                  </a:lnTo>
                  <a:lnTo>
                    <a:pt x="366" y="800"/>
                  </a:lnTo>
                  <a:lnTo>
                    <a:pt x="366" y="800"/>
                  </a:lnTo>
                  <a:lnTo>
                    <a:pt x="366" y="800"/>
                  </a:lnTo>
                  <a:lnTo>
                    <a:pt x="365" y="798"/>
                  </a:lnTo>
                  <a:lnTo>
                    <a:pt x="365" y="798"/>
                  </a:lnTo>
                  <a:lnTo>
                    <a:pt x="362" y="794"/>
                  </a:lnTo>
                  <a:lnTo>
                    <a:pt x="362" y="794"/>
                  </a:lnTo>
                  <a:lnTo>
                    <a:pt x="359" y="786"/>
                  </a:lnTo>
                  <a:lnTo>
                    <a:pt x="359" y="786"/>
                  </a:lnTo>
                  <a:lnTo>
                    <a:pt x="356" y="779"/>
                  </a:lnTo>
                  <a:lnTo>
                    <a:pt x="356" y="779"/>
                  </a:lnTo>
                  <a:lnTo>
                    <a:pt x="355" y="779"/>
                  </a:lnTo>
                  <a:lnTo>
                    <a:pt x="355" y="778"/>
                  </a:lnTo>
                  <a:lnTo>
                    <a:pt x="355" y="778"/>
                  </a:lnTo>
                  <a:lnTo>
                    <a:pt x="358" y="778"/>
                  </a:lnTo>
                  <a:lnTo>
                    <a:pt x="358" y="778"/>
                  </a:lnTo>
                  <a:lnTo>
                    <a:pt x="361" y="776"/>
                  </a:lnTo>
                  <a:lnTo>
                    <a:pt x="361" y="776"/>
                  </a:lnTo>
                  <a:lnTo>
                    <a:pt x="362" y="776"/>
                  </a:lnTo>
                  <a:lnTo>
                    <a:pt x="362" y="776"/>
                  </a:lnTo>
                  <a:lnTo>
                    <a:pt x="364" y="776"/>
                  </a:lnTo>
                  <a:lnTo>
                    <a:pt x="364" y="776"/>
                  </a:lnTo>
                  <a:lnTo>
                    <a:pt x="365" y="773"/>
                  </a:lnTo>
                  <a:lnTo>
                    <a:pt x="365" y="773"/>
                  </a:lnTo>
                  <a:lnTo>
                    <a:pt x="364" y="772"/>
                  </a:lnTo>
                  <a:lnTo>
                    <a:pt x="364" y="772"/>
                  </a:lnTo>
                  <a:lnTo>
                    <a:pt x="364" y="772"/>
                  </a:lnTo>
                  <a:lnTo>
                    <a:pt x="364" y="772"/>
                  </a:lnTo>
                  <a:lnTo>
                    <a:pt x="361" y="771"/>
                  </a:lnTo>
                  <a:lnTo>
                    <a:pt x="361" y="769"/>
                  </a:lnTo>
                  <a:lnTo>
                    <a:pt x="361" y="769"/>
                  </a:lnTo>
                  <a:lnTo>
                    <a:pt x="361" y="771"/>
                  </a:lnTo>
                  <a:lnTo>
                    <a:pt x="361" y="771"/>
                  </a:lnTo>
                  <a:lnTo>
                    <a:pt x="361" y="769"/>
                  </a:lnTo>
                  <a:lnTo>
                    <a:pt x="361" y="771"/>
                  </a:lnTo>
                  <a:lnTo>
                    <a:pt x="361" y="771"/>
                  </a:lnTo>
                  <a:lnTo>
                    <a:pt x="359" y="771"/>
                  </a:lnTo>
                  <a:lnTo>
                    <a:pt x="361" y="771"/>
                  </a:lnTo>
                  <a:lnTo>
                    <a:pt x="361" y="771"/>
                  </a:lnTo>
                  <a:lnTo>
                    <a:pt x="359" y="771"/>
                  </a:lnTo>
                  <a:lnTo>
                    <a:pt x="361" y="771"/>
                  </a:lnTo>
                  <a:lnTo>
                    <a:pt x="361" y="771"/>
                  </a:lnTo>
                  <a:lnTo>
                    <a:pt x="361" y="771"/>
                  </a:lnTo>
                  <a:lnTo>
                    <a:pt x="361" y="771"/>
                  </a:lnTo>
                  <a:lnTo>
                    <a:pt x="361" y="771"/>
                  </a:lnTo>
                  <a:lnTo>
                    <a:pt x="361" y="771"/>
                  </a:lnTo>
                  <a:lnTo>
                    <a:pt x="361" y="771"/>
                  </a:lnTo>
                  <a:lnTo>
                    <a:pt x="361" y="771"/>
                  </a:lnTo>
                  <a:lnTo>
                    <a:pt x="361" y="771"/>
                  </a:lnTo>
                  <a:lnTo>
                    <a:pt x="361" y="771"/>
                  </a:lnTo>
                  <a:lnTo>
                    <a:pt x="361" y="771"/>
                  </a:lnTo>
                  <a:lnTo>
                    <a:pt x="362" y="771"/>
                  </a:lnTo>
                  <a:lnTo>
                    <a:pt x="362" y="771"/>
                  </a:lnTo>
                  <a:lnTo>
                    <a:pt x="368" y="769"/>
                  </a:lnTo>
                  <a:lnTo>
                    <a:pt x="368" y="769"/>
                  </a:lnTo>
                  <a:lnTo>
                    <a:pt x="371" y="769"/>
                  </a:lnTo>
                  <a:lnTo>
                    <a:pt x="371" y="769"/>
                  </a:lnTo>
                  <a:lnTo>
                    <a:pt x="372" y="768"/>
                  </a:lnTo>
                  <a:lnTo>
                    <a:pt x="372" y="765"/>
                  </a:lnTo>
                  <a:lnTo>
                    <a:pt x="372" y="765"/>
                  </a:lnTo>
                  <a:lnTo>
                    <a:pt x="372" y="765"/>
                  </a:lnTo>
                  <a:lnTo>
                    <a:pt x="372" y="762"/>
                  </a:lnTo>
                  <a:lnTo>
                    <a:pt x="372" y="762"/>
                  </a:lnTo>
                  <a:lnTo>
                    <a:pt x="372" y="760"/>
                  </a:lnTo>
                  <a:lnTo>
                    <a:pt x="372" y="760"/>
                  </a:lnTo>
                  <a:lnTo>
                    <a:pt x="371" y="759"/>
                  </a:lnTo>
                  <a:lnTo>
                    <a:pt x="372" y="760"/>
                  </a:lnTo>
                  <a:lnTo>
                    <a:pt x="372" y="760"/>
                  </a:lnTo>
                  <a:lnTo>
                    <a:pt x="371" y="759"/>
                  </a:lnTo>
                  <a:lnTo>
                    <a:pt x="372" y="760"/>
                  </a:lnTo>
                  <a:lnTo>
                    <a:pt x="371" y="759"/>
                  </a:lnTo>
                  <a:lnTo>
                    <a:pt x="371" y="760"/>
                  </a:lnTo>
                  <a:lnTo>
                    <a:pt x="372" y="760"/>
                  </a:lnTo>
                  <a:lnTo>
                    <a:pt x="371" y="759"/>
                  </a:lnTo>
                  <a:lnTo>
                    <a:pt x="371" y="760"/>
                  </a:lnTo>
                  <a:lnTo>
                    <a:pt x="371" y="760"/>
                  </a:lnTo>
                  <a:lnTo>
                    <a:pt x="371" y="760"/>
                  </a:lnTo>
                  <a:lnTo>
                    <a:pt x="371" y="760"/>
                  </a:lnTo>
                  <a:lnTo>
                    <a:pt x="371" y="760"/>
                  </a:lnTo>
                  <a:lnTo>
                    <a:pt x="371" y="760"/>
                  </a:lnTo>
                  <a:lnTo>
                    <a:pt x="371" y="760"/>
                  </a:lnTo>
                  <a:lnTo>
                    <a:pt x="372" y="760"/>
                  </a:lnTo>
                  <a:lnTo>
                    <a:pt x="374" y="760"/>
                  </a:lnTo>
                  <a:lnTo>
                    <a:pt x="374" y="760"/>
                  </a:lnTo>
                  <a:lnTo>
                    <a:pt x="379" y="760"/>
                  </a:lnTo>
                  <a:lnTo>
                    <a:pt x="379" y="760"/>
                  </a:lnTo>
                  <a:lnTo>
                    <a:pt x="384" y="760"/>
                  </a:lnTo>
                  <a:lnTo>
                    <a:pt x="384" y="760"/>
                  </a:lnTo>
                  <a:lnTo>
                    <a:pt x="385" y="760"/>
                  </a:lnTo>
                  <a:lnTo>
                    <a:pt x="385" y="760"/>
                  </a:lnTo>
                  <a:lnTo>
                    <a:pt x="385" y="760"/>
                  </a:lnTo>
                  <a:lnTo>
                    <a:pt x="385" y="760"/>
                  </a:lnTo>
                  <a:lnTo>
                    <a:pt x="387" y="757"/>
                  </a:lnTo>
                  <a:lnTo>
                    <a:pt x="387" y="757"/>
                  </a:lnTo>
                  <a:lnTo>
                    <a:pt x="387" y="756"/>
                  </a:lnTo>
                  <a:lnTo>
                    <a:pt x="387" y="756"/>
                  </a:lnTo>
                  <a:lnTo>
                    <a:pt x="384" y="755"/>
                  </a:lnTo>
                  <a:lnTo>
                    <a:pt x="384" y="755"/>
                  </a:lnTo>
                  <a:lnTo>
                    <a:pt x="379" y="752"/>
                  </a:lnTo>
                  <a:lnTo>
                    <a:pt x="379" y="752"/>
                  </a:lnTo>
                  <a:lnTo>
                    <a:pt x="379" y="752"/>
                  </a:lnTo>
                  <a:lnTo>
                    <a:pt x="379" y="752"/>
                  </a:lnTo>
                  <a:lnTo>
                    <a:pt x="378" y="752"/>
                  </a:lnTo>
                  <a:lnTo>
                    <a:pt x="379" y="752"/>
                  </a:lnTo>
                  <a:lnTo>
                    <a:pt x="379" y="752"/>
                  </a:lnTo>
                  <a:lnTo>
                    <a:pt x="379" y="752"/>
                  </a:lnTo>
                  <a:lnTo>
                    <a:pt x="378" y="752"/>
                  </a:lnTo>
                  <a:lnTo>
                    <a:pt x="379" y="752"/>
                  </a:lnTo>
                  <a:lnTo>
                    <a:pt x="378" y="752"/>
                  </a:lnTo>
                  <a:lnTo>
                    <a:pt x="378" y="753"/>
                  </a:lnTo>
                  <a:lnTo>
                    <a:pt x="378" y="753"/>
                  </a:lnTo>
                  <a:lnTo>
                    <a:pt x="379" y="752"/>
                  </a:lnTo>
                  <a:lnTo>
                    <a:pt x="378" y="752"/>
                  </a:lnTo>
                  <a:lnTo>
                    <a:pt x="378" y="753"/>
                  </a:lnTo>
                  <a:lnTo>
                    <a:pt x="378" y="753"/>
                  </a:lnTo>
                  <a:lnTo>
                    <a:pt x="378" y="753"/>
                  </a:lnTo>
                  <a:lnTo>
                    <a:pt x="378" y="753"/>
                  </a:lnTo>
                  <a:lnTo>
                    <a:pt x="378" y="753"/>
                  </a:lnTo>
                  <a:lnTo>
                    <a:pt x="378" y="753"/>
                  </a:lnTo>
                  <a:lnTo>
                    <a:pt x="379" y="753"/>
                  </a:lnTo>
                  <a:lnTo>
                    <a:pt x="379" y="753"/>
                  </a:lnTo>
                  <a:lnTo>
                    <a:pt x="381" y="752"/>
                  </a:lnTo>
                  <a:lnTo>
                    <a:pt x="381" y="752"/>
                  </a:lnTo>
                  <a:lnTo>
                    <a:pt x="388" y="752"/>
                  </a:lnTo>
                  <a:lnTo>
                    <a:pt x="388" y="752"/>
                  </a:lnTo>
                  <a:lnTo>
                    <a:pt x="391" y="752"/>
                  </a:lnTo>
                  <a:lnTo>
                    <a:pt x="395" y="750"/>
                  </a:lnTo>
                  <a:lnTo>
                    <a:pt x="395" y="750"/>
                  </a:lnTo>
                  <a:lnTo>
                    <a:pt x="397" y="747"/>
                  </a:lnTo>
                  <a:lnTo>
                    <a:pt x="400" y="744"/>
                  </a:lnTo>
                  <a:lnTo>
                    <a:pt x="400" y="744"/>
                  </a:lnTo>
                  <a:lnTo>
                    <a:pt x="400" y="744"/>
                  </a:lnTo>
                  <a:lnTo>
                    <a:pt x="401" y="744"/>
                  </a:lnTo>
                  <a:lnTo>
                    <a:pt x="401" y="744"/>
                  </a:lnTo>
                  <a:lnTo>
                    <a:pt x="403" y="744"/>
                  </a:lnTo>
                  <a:lnTo>
                    <a:pt x="403" y="744"/>
                  </a:lnTo>
                  <a:lnTo>
                    <a:pt x="407" y="746"/>
                  </a:lnTo>
                  <a:lnTo>
                    <a:pt x="407" y="746"/>
                  </a:lnTo>
                  <a:lnTo>
                    <a:pt x="408" y="747"/>
                  </a:lnTo>
                  <a:lnTo>
                    <a:pt x="410" y="749"/>
                  </a:lnTo>
                  <a:lnTo>
                    <a:pt x="410" y="749"/>
                  </a:lnTo>
                  <a:lnTo>
                    <a:pt x="411" y="749"/>
                  </a:lnTo>
                  <a:lnTo>
                    <a:pt x="411" y="749"/>
                  </a:lnTo>
                  <a:lnTo>
                    <a:pt x="413" y="749"/>
                  </a:lnTo>
                  <a:lnTo>
                    <a:pt x="413" y="749"/>
                  </a:lnTo>
                  <a:lnTo>
                    <a:pt x="414" y="747"/>
                  </a:lnTo>
                  <a:lnTo>
                    <a:pt x="414" y="747"/>
                  </a:lnTo>
                  <a:lnTo>
                    <a:pt x="414" y="746"/>
                  </a:lnTo>
                  <a:lnTo>
                    <a:pt x="414" y="746"/>
                  </a:lnTo>
                  <a:lnTo>
                    <a:pt x="414" y="744"/>
                  </a:lnTo>
                  <a:lnTo>
                    <a:pt x="414" y="744"/>
                  </a:lnTo>
                  <a:lnTo>
                    <a:pt x="414" y="740"/>
                  </a:lnTo>
                  <a:lnTo>
                    <a:pt x="414" y="739"/>
                  </a:lnTo>
                  <a:lnTo>
                    <a:pt x="414" y="739"/>
                  </a:lnTo>
                  <a:lnTo>
                    <a:pt x="413" y="736"/>
                  </a:lnTo>
                  <a:lnTo>
                    <a:pt x="411" y="733"/>
                  </a:lnTo>
                  <a:lnTo>
                    <a:pt x="411" y="733"/>
                  </a:lnTo>
                  <a:lnTo>
                    <a:pt x="411" y="731"/>
                  </a:lnTo>
                  <a:lnTo>
                    <a:pt x="411" y="731"/>
                  </a:lnTo>
                  <a:lnTo>
                    <a:pt x="413" y="729"/>
                  </a:lnTo>
                  <a:lnTo>
                    <a:pt x="414" y="727"/>
                  </a:lnTo>
                  <a:lnTo>
                    <a:pt x="414" y="727"/>
                  </a:lnTo>
                  <a:lnTo>
                    <a:pt x="417" y="726"/>
                  </a:lnTo>
                  <a:lnTo>
                    <a:pt x="417" y="726"/>
                  </a:lnTo>
                  <a:lnTo>
                    <a:pt x="423" y="726"/>
                  </a:lnTo>
                  <a:lnTo>
                    <a:pt x="423" y="726"/>
                  </a:lnTo>
                  <a:lnTo>
                    <a:pt x="426" y="726"/>
                  </a:lnTo>
                  <a:lnTo>
                    <a:pt x="426" y="726"/>
                  </a:lnTo>
                  <a:lnTo>
                    <a:pt x="427" y="724"/>
                  </a:lnTo>
                  <a:lnTo>
                    <a:pt x="427" y="724"/>
                  </a:lnTo>
                  <a:lnTo>
                    <a:pt x="429" y="723"/>
                  </a:lnTo>
                  <a:lnTo>
                    <a:pt x="429" y="723"/>
                  </a:lnTo>
                  <a:lnTo>
                    <a:pt x="430" y="720"/>
                  </a:lnTo>
                  <a:lnTo>
                    <a:pt x="430" y="720"/>
                  </a:lnTo>
                  <a:lnTo>
                    <a:pt x="432" y="718"/>
                  </a:lnTo>
                  <a:lnTo>
                    <a:pt x="432" y="718"/>
                  </a:lnTo>
                  <a:lnTo>
                    <a:pt x="432" y="718"/>
                  </a:lnTo>
                  <a:lnTo>
                    <a:pt x="432" y="718"/>
                  </a:lnTo>
                  <a:lnTo>
                    <a:pt x="432" y="718"/>
                  </a:lnTo>
                  <a:lnTo>
                    <a:pt x="432" y="718"/>
                  </a:lnTo>
                  <a:lnTo>
                    <a:pt x="432" y="718"/>
                  </a:lnTo>
                  <a:lnTo>
                    <a:pt x="432" y="717"/>
                  </a:lnTo>
                  <a:lnTo>
                    <a:pt x="432" y="718"/>
                  </a:lnTo>
                  <a:lnTo>
                    <a:pt x="432" y="718"/>
                  </a:lnTo>
                  <a:lnTo>
                    <a:pt x="432" y="717"/>
                  </a:lnTo>
                  <a:lnTo>
                    <a:pt x="432" y="718"/>
                  </a:lnTo>
                  <a:lnTo>
                    <a:pt x="432" y="717"/>
                  </a:lnTo>
                  <a:lnTo>
                    <a:pt x="430" y="718"/>
                  </a:lnTo>
                  <a:lnTo>
                    <a:pt x="432" y="718"/>
                  </a:lnTo>
                  <a:lnTo>
                    <a:pt x="432" y="717"/>
                  </a:lnTo>
                  <a:lnTo>
                    <a:pt x="430" y="718"/>
                  </a:lnTo>
                  <a:lnTo>
                    <a:pt x="430" y="718"/>
                  </a:lnTo>
                  <a:lnTo>
                    <a:pt x="430" y="718"/>
                  </a:lnTo>
                  <a:lnTo>
                    <a:pt x="430" y="718"/>
                  </a:lnTo>
                  <a:lnTo>
                    <a:pt x="430" y="718"/>
                  </a:lnTo>
                  <a:lnTo>
                    <a:pt x="430" y="718"/>
                  </a:lnTo>
                  <a:lnTo>
                    <a:pt x="430" y="718"/>
                  </a:lnTo>
                  <a:lnTo>
                    <a:pt x="432" y="720"/>
                  </a:lnTo>
                  <a:lnTo>
                    <a:pt x="432" y="720"/>
                  </a:lnTo>
                  <a:lnTo>
                    <a:pt x="434" y="721"/>
                  </a:lnTo>
                  <a:lnTo>
                    <a:pt x="434" y="721"/>
                  </a:lnTo>
                  <a:lnTo>
                    <a:pt x="437" y="723"/>
                  </a:lnTo>
                  <a:lnTo>
                    <a:pt x="437" y="723"/>
                  </a:lnTo>
                  <a:lnTo>
                    <a:pt x="440" y="723"/>
                  </a:lnTo>
                  <a:lnTo>
                    <a:pt x="440" y="723"/>
                  </a:lnTo>
                  <a:lnTo>
                    <a:pt x="445" y="720"/>
                  </a:lnTo>
                  <a:lnTo>
                    <a:pt x="445" y="720"/>
                  </a:lnTo>
                  <a:lnTo>
                    <a:pt x="452" y="713"/>
                  </a:lnTo>
                  <a:lnTo>
                    <a:pt x="452" y="713"/>
                  </a:lnTo>
                  <a:lnTo>
                    <a:pt x="453" y="710"/>
                  </a:lnTo>
                  <a:lnTo>
                    <a:pt x="455" y="710"/>
                  </a:lnTo>
                  <a:lnTo>
                    <a:pt x="455" y="708"/>
                  </a:lnTo>
                  <a:lnTo>
                    <a:pt x="455" y="708"/>
                  </a:lnTo>
                  <a:lnTo>
                    <a:pt x="456" y="707"/>
                  </a:lnTo>
                  <a:lnTo>
                    <a:pt x="456" y="707"/>
                  </a:lnTo>
                  <a:lnTo>
                    <a:pt x="455" y="705"/>
                  </a:lnTo>
                  <a:lnTo>
                    <a:pt x="455" y="705"/>
                  </a:lnTo>
                  <a:lnTo>
                    <a:pt x="453" y="705"/>
                  </a:lnTo>
                  <a:lnTo>
                    <a:pt x="453" y="705"/>
                  </a:lnTo>
                  <a:lnTo>
                    <a:pt x="452" y="705"/>
                  </a:lnTo>
                  <a:lnTo>
                    <a:pt x="452" y="705"/>
                  </a:lnTo>
                  <a:lnTo>
                    <a:pt x="452" y="705"/>
                  </a:lnTo>
                  <a:lnTo>
                    <a:pt x="445" y="708"/>
                  </a:lnTo>
                  <a:lnTo>
                    <a:pt x="445" y="708"/>
                  </a:lnTo>
                  <a:lnTo>
                    <a:pt x="439" y="711"/>
                  </a:lnTo>
                  <a:lnTo>
                    <a:pt x="439" y="711"/>
                  </a:lnTo>
                  <a:lnTo>
                    <a:pt x="433" y="710"/>
                  </a:lnTo>
                  <a:lnTo>
                    <a:pt x="433" y="710"/>
                  </a:lnTo>
                  <a:lnTo>
                    <a:pt x="430" y="708"/>
                  </a:lnTo>
                  <a:lnTo>
                    <a:pt x="430" y="707"/>
                  </a:lnTo>
                  <a:lnTo>
                    <a:pt x="430" y="708"/>
                  </a:lnTo>
                  <a:lnTo>
                    <a:pt x="430" y="707"/>
                  </a:lnTo>
                  <a:lnTo>
                    <a:pt x="430" y="707"/>
                  </a:lnTo>
                  <a:lnTo>
                    <a:pt x="430" y="708"/>
                  </a:lnTo>
                  <a:lnTo>
                    <a:pt x="430" y="707"/>
                  </a:lnTo>
                  <a:lnTo>
                    <a:pt x="429" y="708"/>
                  </a:lnTo>
                  <a:lnTo>
                    <a:pt x="430" y="708"/>
                  </a:lnTo>
                  <a:lnTo>
                    <a:pt x="430" y="707"/>
                  </a:lnTo>
                  <a:lnTo>
                    <a:pt x="429" y="708"/>
                  </a:lnTo>
                  <a:lnTo>
                    <a:pt x="430" y="708"/>
                  </a:lnTo>
                  <a:lnTo>
                    <a:pt x="429" y="708"/>
                  </a:lnTo>
                  <a:lnTo>
                    <a:pt x="430" y="708"/>
                  </a:lnTo>
                  <a:lnTo>
                    <a:pt x="430" y="708"/>
                  </a:lnTo>
                  <a:lnTo>
                    <a:pt x="429" y="708"/>
                  </a:lnTo>
                  <a:lnTo>
                    <a:pt x="430" y="708"/>
                  </a:lnTo>
                  <a:lnTo>
                    <a:pt x="430" y="708"/>
                  </a:lnTo>
                  <a:lnTo>
                    <a:pt x="430" y="708"/>
                  </a:lnTo>
                  <a:lnTo>
                    <a:pt x="433" y="704"/>
                  </a:lnTo>
                  <a:lnTo>
                    <a:pt x="433" y="704"/>
                  </a:lnTo>
                  <a:lnTo>
                    <a:pt x="439" y="697"/>
                  </a:lnTo>
                  <a:lnTo>
                    <a:pt x="439" y="697"/>
                  </a:lnTo>
                  <a:lnTo>
                    <a:pt x="440" y="692"/>
                  </a:lnTo>
                  <a:lnTo>
                    <a:pt x="440" y="692"/>
                  </a:lnTo>
                  <a:lnTo>
                    <a:pt x="446" y="684"/>
                  </a:lnTo>
                  <a:lnTo>
                    <a:pt x="446" y="684"/>
                  </a:lnTo>
                  <a:lnTo>
                    <a:pt x="449" y="679"/>
                  </a:lnTo>
                  <a:lnTo>
                    <a:pt x="449" y="679"/>
                  </a:lnTo>
                  <a:lnTo>
                    <a:pt x="450" y="678"/>
                  </a:lnTo>
                  <a:lnTo>
                    <a:pt x="450" y="678"/>
                  </a:lnTo>
                  <a:lnTo>
                    <a:pt x="450" y="678"/>
                  </a:lnTo>
                  <a:lnTo>
                    <a:pt x="455" y="679"/>
                  </a:lnTo>
                  <a:lnTo>
                    <a:pt x="455" y="679"/>
                  </a:lnTo>
                  <a:lnTo>
                    <a:pt x="456" y="679"/>
                  </a:lnTo>
                  <a:lnTo>
                    <a:pt x="456" y="679"/>
                  </a:lnTo>
                  <a:lnTo>
                    <a:pt x="459" y="681"/>
                  </a:lnTo>
                  <a:lnTo>
                    <a:pt x="459" y="681"/>
                  </a:lnTo>
                  <a:lnTo>
                    <a:pt x="461" y="681"/>
                  </a:lnTo>
                  <a:lnTo>
                    <a:pt x="461" y="681"/>
                  </a:lnTo>
                  <a:lnTo>
                    <a:pt x="462" y="678"/>
                  </a:lnTo>
                  <a:lnTo>
                    <a:pt x="462" y="678"/>
                  </a:lnTo>
                  <a:lnTo>
                    <a:pt x="462" y="676"/>
                  </a:lnTo>
                  <a:lnTo>
                    <a:pt x="462" y="675"/>
                  </a:lnTo>
                  <a:lnTo>
                    <a:pt x="462" y="675"/>
                  </a:lnTo>
                  <a:lnTo>
                    <a:pt x="462" y="675"/>
                  </a:lnTo>
                  <a:lnTo>
                    <a:pt x="462" y="675"/>
                  </a:lnTo>
                  <a:lnTo>
                    <a:pt x="462" y="672"/>
                  </a:lnTo>
                  <a:lnTo>
                    <a:pt x="462" y="672"/>
                  </a:lnTo>
                  <a:lnTo>
                    <a:pt x="465" y="671"/>
                  </a:lnTo>
                  <a:lnTo>
                    <a:pt x="465" y="671"/>
                  </a:lnTo>
                  <a:lnTo>
                    <a:pt x="468" y="668"/>
                  </a:lnTo>
                  <a:lnTo>
                    <a:pt x="468" y="668"/>
                  </a:lnTo>
                  <a:lnTo>
                    <a:pt x="475" y="662"/>
                  </a:lnTo>
                  <a:lnTo>
                    <a:pt x="475" y="662"/>
                  </a:lnTo>
                  <a:lnTo>
                    <a:pt x="478" y="659"/>
                  </a:lnTo>
                  <a:lnTo>
                    <a:pt x="478" y="659"/>
                  </a:lnTo>
                  <a:lnTo>
                    <a:pt x="479" y="658"/>
                  </a:lnTo>
                  <a:lnTo>
                    <a:pt x="479" y="656"/>
                  </a:lnTo>
                  <a:lnTo>
                    <a:pt x="479" y="656"/>
                  </a:lnTo>
                  <a:lnTo>
                    <a:pt x="479" y="655"/>
                  </a:lnTo>
                  <a:lnTo>
                    <a:pt x="479" y="655"/>
                  </a:lnTo>
                  <a:lnTo>
                    <a:pt x="479" y="653"/>
                  </a:lnTo>
                  <a:lnTo>
                    <a:pt x="479" y="653"/>
                  </a:lnTo>
                  <a:lnTo>
                    <a:pt x="478" y="652"/>
                  </a:lnTo>
                  <a:lnTo>
                    <a:pt x="478" y="652"/>
                  </a:lnTo>
                  <a:lnTo>
                    <a:pt x="475" y="653"/>
                  </a:lnTo>
                  <a:lnTo>
                    <a:pt x="475" y="653"/>
                  </a:lnTo>
                  <a:lnTo>
                    <a:pt x="475" y="653"/>
                  </a:lnTo>
                  <a:lnTo>
                    <a:pt x="472" y="653"/>
                  </a:lnTo>
                  <a:lnTo>
                    <a:pt x="472" y="653"/>
                  </a:lnTo>
                  <a:lnTo>
                    <a:pt x="469" y="655"/>
                  </a:lnTo>
                  <a:lnTo>
                    <a:pt x="469" y="655"/>
                  </a:lnTo>
                  <a:lnTo>
                    <a:pt x="469" y="656"/>
                  </a:lnTo>
                  <a:lnTo>
                    <a:pt x="471" y="655"/>
                  </a:lnTo>
                  <a:lnTo>
                    <a:pt x="469" y="655"/>
                  </a:lnTo>
                  <a:lnTo>
                    <a:pt x="469" y="656"/>
                  </a:lnTo>
                  <a:lnTo>
                    <a:pt x="471" y="655"/>
                  </a:lnTo>
                  <a:lnTo>
                    <a:pt x="469" y="656"/>
                  </a:lnTo>
                  <a:lnTo>
                    <a:pt x="471" y="656"/>
                  </a:lnTo>
                  <a:lnTo>
                    <a:pt x="471" y="655"/>
                  </a:lnTo>
                  <a:lnTo>
                    <a:pt x="469" y="656"/>
                  </a:lnTo>
                  <a:lnTo>
                    <a:pt x="471" y="656"/>
                  </a:lnTo>
                  <a:lnTo>
                    <a:pt x="469" y="656"/>
                  </a:lnTo>
                  <a:lnTo>
                    <a:pt x="471" y="656"/>
                  </a:lnTo>
                  <a:lnTo>
                    <a:pt x="471" y="656"/>
                  </a:lnTo>
                  <a:lnTo>
                    <a:pt x="469" y="656"/>
                  </a:lnTo>
                  <a:lnTo>
                    <a:pt x="471" y="656"/>
                  </a:lnTo>
                  <a:lnTo>
                    <a:pt x="471" y="656"/>
                  </a:lnTo>
                  <a:lnTo>
                    <a:pt x="471" y="656"/>
                  </a:lnTo>
                  <a:lnTo>
                    <a:pt x="471" y="656"/>
                  </a:lnTo>
                  <a:lnTo>
                    <a:pt x="471" y="656"/>
                  </a:lnTo>
                  <a:lnTo>
                    <a:pt x="471" y="656"/>
                  </a:lnTo>
                  <a:lnTo>
                    <a:pt x="471" y="656"/>
                  </a:lnTo>
                  <a:lnTo>
                    <a:pt x="471" y="656"/>
                  </a:lnTo>
                  <a:lnTo>
                    <a:pt x="471" y="656"/>
                  </a:lnTo>
                  <a:lnTo>
                    <a:pt x="476" y="649"/>
                  </a:lnTo>
                  <a:lnTo>
                    <a:pt x="476" y="649"/>
                  </a:lnTo>
                  <a:lnTo>
                    <a:pt x="479" y="645"/>
                  </a:lnTo>
                  <a:lnTo>
                    <a:pt x="481" y="640"/>
                  </a:lnTo>
                  <a:lnTo>
                    <a:pt x="481" y="639"/>
                  </a:lnTo>
                  <a:lnTo>
                    <a:pt x="481" y="639"/>
                  </a:lnTo>
                  <a:lnTo>
                    <a:pt x="481" y="637"/>
                  </a:lnTo>
                  <a:lnTo>
                    <a:pt x="481" y="637"/>
                  </a:lnTo>
                  <a:lnTo>
                    <a:pt x="481" y="634"/>
                  </a:lnTo>
                  <a:lnTo>
                    <a:pt x="481" y="634"/>
                  </a:lnTo>
                  <a:lnTo>
                    <a:pt x="482" y="631"/>
                  </a:lnTo>
                  <a:lnTo>
                    <a:pt x="482" y="631"/>
                  </a:lnTo>
                  <a:lnTo>
                    <a:pt x="481" y="629"/>
                  </a:lnTo>
                  <a:lnTo>
                    <a:pt x="481" y="629"/>
                  </a:lnTo>
                  <a:lnTo>
                    <a:pt x="478" y="626"/>
                  </a:lnTo>
                  <a:lnTo>
                    <a:pt x="478" y="626"/>
                  </a:lnTo>
                  <a:lnTo>
                    <a:pt x="478" y="626"/>
                  </a:lnTo>
                  <a:lnTo>
                    <a:pt x="478" y="626"/>
                  </a:lnTo>
                  <a:lnTo>
                    <a:pt x="479" y="623"/>
                  </a:lnTo>
                  <a:lnTo>
                    <a:pt x="479" y="623"/>
                  </a:lnTo>
                  <a:lnTo>
                    <a:pt x="481" y="621"/>
                  </a:lnTo>
                  <a:lnTo>
                    <a:pt x="482" y="621"/>
                  </a:lnTo>
                  <a:lnTo>
                    <a:pt x="482" y="621"/>
                  </a:lnTo>
                  <a:lnTo>
                    <a:pt x="488" y="623"/>
                  </a:lnTo>
                  <a:lnTo>
                    <a:pt x="488" y="623"/>
                  </a:lnTo>
                  <a:lnTo>
                    <a:pt x="490" y="623"/>
                  </a:lnTo>
                  <a:lnTo>
                    <a:pt x="490" y="623"/>
                  </a:lnTo>
                  <a:lnTo>
                    <a:pt x="492" y="623"/>
                  </a:lnTo>
                  <a:lnTo>
                    <a:pt x="492" y="623"/>
                  </a:lnTo>
                  <a:lnTo>
                    <a:pt x="494" y="623"/>
                  </a:lnTo>
                  <a:lnTo>
                    <a:pt x="494" y="623"/>
                  </a:lnTo>
                  <a:lnTo>
                    <a:pt x="495" y="623"/>
                  </a:lnTo>
                  <a:lnTo>
                    <a:pt x="495" y="623"/>
                  </a:lnTo>
                  <a:lnTo>
                    <a:pt x="495" y="620"/>
                  </a:lnTo>
                  <a:lnTo>
                    <a:pt x="495" y="620"/>
                  </a:lnTo>
                  <a:lnTo>
                    <a:pt x="495" y="618"/>
                  </a:lnTo>
                  <a:lnTo>
                    <a:pt x="495" y="618"/>
                  </a:lnTo>
                  <a:lnTo>
                    <a:pt x="494" y="617"/>
                  </a:lnTo>
                  <a:lnTo>
                    <a:pt x="494" y="617"/>
                  </a:lnTo>
                  <a:lnTo>
                    <a:pt x="492" y="617"/>
                  </a:lnTo>
                  <a:lnTo>
                    <a:pt x="492" y="617"/>
                  </a:lnTo>
                  <a:lnTo>
                    <a:pt x="487" y="614"/>
                  </a:lnTo>
                  <a:lnTo>
                    <a:pt x="484" y="613"/>
                  </a:lnTo>
                  <a:lnTo>
                    <a:pt x="484" y="613"/>
                  </a:lnTo>
                  <a:lnTo>
                    <a:pt x="484" y="613"/>
                  </a:lnTo>
                  <a:lnTo>
                    <a:pt x="484" y="613"/>
                  </a:lnTo>
                  <a:lnTo>
                    <a:pt x="484" y="613"/>
                  </a:lnTo>
                  <a:lnTo>
                    <a:pt x="484" y="613"/>
                  </a:lnTo>
                  <a:lnTo>
                    <a:pt x="484" y="613"/>
                  </a:lnTo>
                  <a:lnTo>
                    <a:pt x="484" y="613"/>
                  </a:lnTo>
                  <a:lnTo>
                    <a:pt x="482" y="613"/>
                  </a:lnTo>
                  <a:lnTo>
                    <a:pt x="484" y="613"/>
                  </a:lnTo>
                  <a:lnTo>
                    <a:pt x="484" y="613"/>
                  </a:lnTo>
                  <a:lnTo>
                    <a:pt x="482" y="613"/>
                  </a:lnTo>
                  <a:lnTo>
                    <a:pt x="484" y="613"/>
                  </a:lnTo>
                  <a:lnTo>
                    <a:pt x="484" y="611"/>
                  </a:lnTo>
                  <a:lnTo>
                    <a:pt x="484" y="611"/>
                  </a:lnTo>
                  <a:lnTo>
                    <a:pt x="484" y="611"/>
                  </a:lnTo>
                  <a:lnTo>
                    <a:pt x="484" y="611"/>
                  </a:lnTo>
                  <a:lnTo>
                    <a:pt x="485" y="605"/>
                  </a:lnTo>
                  <a:lnTo>
                    <a:pt x="485" y="605"/>
                  </a:lnTo>
                  <a:lnTo>
                    <a:pt x="488" y="600"/>
                  </a:lnTo>
                  <a:lnTo>
                    <a:pt x="488" y="600"/>
                  </a:lnTo>
                  <a:lnTo>
                    <a:pt x="494" y="595"/>
                  </a:lnTo>
                  <a:lnTo>
                    <a:pt x="494" y="595"/>
                  </a:lnTo>
                  <a:lnTo>
                    <a:pt x="497" y="592"/>
                  </a:lnTo>
                  <a:lnTo>
                    <a:pt x="498" y="588"/>
                  </a:lnTo>
                  <a:lnTo>
                    <a:pt x="498" y="588"/>
                  </a:lnTo>
                  <a:lnTo>
                    <a:pt x="497" y="587"/>
                  </a:lnTo>
                  <a:lnTo>
                    <a:pt x="497" y="587"/>
                  </a:lnTo>
                  <a:lnTo>
                    <a:pt x="497" y="587"/>
                  </a:lnTo>
                  <a:lnTo>
                    <a:pt x="497" y="587"/>
                  </a:lnTo>
                  <a:lnTo>
                    <a:pt x="498" y="585"/>
                  </a:lnTo>
                  <a:lnTo>
                    <a:pt x="500" y="582"/>
                  </a:lnTo>
                  <a:lnTo>
                    <a:pt x="500" y="582"/>
                  </a:lnTo>
                  <a:lnTo>
                    <a:pt x="503" y="581"/>
                  </a:lnTo>
                  <a:lnTo>
                    <a:pt x="503" y="581"/>
                  </a:lnTo>
                  <a:lnTo>
                    <a:pt x="504" y="579"/>
                  </a:lnTo>
                  <a:lnTo>
                    <a:pt x="504" y="579"/>
                  </a:lnTo>
                  <a:lnTo>
                    <a:pt x="508" y="578"/>
                  </a:lnTo>
                  <a:lnTo>
                    <a:pt x="508" y="578"/>
                  </a:lnTo>
                  <a:lnTo>
                    <a:pt x="514" y="575"/>
                  </a:lnTo>
                  <a:lnTo>
                    <a:pt x="514" y="575"/>
                  </a:lnTo>
                  <a:lnTo>
                    <a:pt x="517" y="574"/>
                  </a:lnTo>
                  <a:lnTo>
                    <a:pt x="518" y="574"/>
                  </a:lnTo>
                  <a:lnTo>
                    <a:pt x="518" y="572"/>
                  </a:lnTo>
                  <a:lnTo>
                    <a:pt x="518" y="572"/>
                  </a:lnTo>
                  <a:lnTo>
                    <a:pt x="520" y="571"/>
                  </a:lnTo>
                  <a:lnTo>
                    <a:pt x="520" y="571"/>
                  </a:lnTo>
                  <a:lnTo>
                    <a:pt x="518" y="569"/>
                  </a:lnTo>
                  <a:lnTo>
                    <a:pt x="518" y="569"/>
                  </a:lnTo>
                  <a:lnTo>
                    <a:pt x="517" y="568"/>
                  </a:lnTo>
                  <a:lnTo>
                    <a:pt x="516" y="568"/>
                  </a:lnTo>
                  <a:lnTo>
                    <a:pt x="516" y="568"/>
                  </a:lnTo>
                  <a:lnTo>
                    <a:pt x="516" y="568"/>
                  </a:lnTo>
                  <a:lnTo>
                    <a:pt x="510" y="569"/>
                  </a:lnTo>
                  <a:lnTo>
                    <a:pt x="510" y="569"/>
                  </a:lnTo>
                  <a:lnTo>
                    <a:pt x="508" y="568"/>
                  </a:lnTo>
                  <a:lnTo>
                    <a:pt x="508" y="568"/>
                  </a:lnTo>
                  <a:lnTo>
                    <a:pt x="507" y="569"/>
                  </a:lnTo>
                  <a:lnTo>
                    <a:pt x="508" y="569"/>
                  </a:lnTo>
                  <a:lnTo>
                    <a:pt x="508" y="568"/>
                  </a:lnTo>
                  <a:lnTo>
                    <a:pt x="507" y="569"/>
                  </a:lnTo>
                  <a:lnTo>
                    <a:pt x="508" y="569"/>
                  </a:lnTo>
                  <a:lnTo>
                    <a:pt x="507" y="569"/>
                  </a:lnTo>
                  <a:lnTo>
                    <a:pt x="508" y="569"/>
                  </a:lnTo>
                  <a:lnTo>
                    <a:pt x="508" y="569"/>
                  </a:lnTo>
                  <a:lnTo>
                    <a:pt x="507" y="569"/>
                  </a:lnTo>
                  <a:lnTo>
                    <a:pt x="508" y="569"/>
                  </a:lnTo>
                  <a:lnTo>
                    <a:pt x="507" y="569"/>
                  </a:lnTo>
                  <a:lnTo>
                    <a:pt x="508" y="569"/>
                  </a:lnTo>
                  <a:lnTo>
                    <a:pt x="508" y="569"/>
                  </a:lnTo>
                  <a:lnTo>
                    <a:pt x="507" y="569"/>
                  </a:lnTo>
                  <a:lnTo>
                    <a:pt x="508" y="569"/>
                  </a:lnTo>
                  <a:lnTo>
                    <a:pt x="508" y="569"/>
                  </a:lnTo>
                  <a:lnTo>
                    <a:pt x="508" y="569"/>
                  </a:lnTo>
                  <a:lnTo>
                    <a:pt x="508" y="568"/>
                  </a:lnTo>
                  <a:lnTo>
                    <a:pt x="508" y="568"/>
                  </a:lnTo>
                  <a:lnTo>
                    <a:pt x="511" y="565"/>
                  </a:lnTo>
                  <a:lnTo>
                    <a:pt x="511" y="565"/>
                  </a:lnTo>
                  <a:lnTo>
                    <a:pt x="513" y="562"/>
                  </a:lnTo>
                  <a:lnTo>
                    <a:pt x="514" y="559"/>
                  </a:lnTo>
                  <a:lnTo>
                    <a:pt x="514" y="559"/>
                  </a:lnTo>
                  <a:lnTo>
                    <a:pt x="513" y="556"/>
                  </a:lnTo>
                  <a:lnTo>
                    <a:pt x="513" y="556"/>
                  </a:lnTo>
                  <a:lnTo>
                    <a:pt x="513" y="556"/>
                  </a:lnTo>
                  <a:lnTo>
                    <a:pt x="511" y="556"/>
                  </a:lnTo>
                  <a:lnTo>
                    <a:pt x="513" y="556"/>
                  </a:lnTo>
                  <a:lnTo>
                    <a:pt x="513" y="556"/>
                  </a:lnTo>
                  <a:lnTo>
                    <a:pt x="511" y="556"/>
                  </a:lnTo>
                  <a:lnTo>
                    <a:pt x="513" y="556"/>
                  </a:lnTo>
                  <a:lnTo>
                    <a:pt x="511" y="556"/>
                  </a:lnTo>
                  <a:lnTo>
                    <a:pt x="513" y="558"/>
                  </a:lnTo>
                  <a:lnTo>
                    <a:pt x="513" y="556"/>
                  </a:lnTo>
                  <a:lnTo>
                    <a:pt x="511" y="556"/>
                  </a:lnTo>
                  <a:lnTo>
                    <a:pt x="513" y="558"/>
                  </a:lnTo>
                  <a:lnTo>
                    <a:pt x="513" y="558"/>
                  </a:lnTo>
                  <a:lnTo>
                    <a:pt x="513" y="558"/>
                  </a:lnTo>
                  <a:lnTo>
                    <a:pt x="513" y="558"/>
                  </a:lnTo>
                  <a:lnTo>
                    <a:pt x="513" y="558"/>
                  </a:lnTo>
                  <a:lnTo>
                    <a:pt x="513" y="558"/>
                  </a:lnTo>
                  <a:lnTo>
                    <a:pt x="513" y="558"/>
                  </a:lnTo>
                  <a:lnTo>
                    <a:pt x="513" y="558"/>
                  </a:lnTo>
                  <a:lnTo>
                    <a:pt x="513" y="558"/>
                  </a:lnTo>
                  <a:lnTo>
                    <a:pt x="513" y="558"/>
                  </a:lnTo>
                  <a:lnTo>
                    <a:pt x="513" y="558"/>
                  </a:lnTo>
                  <a:lnTo>
                    <a:pt x="516" y="558"/>
                  </a:lnTo>
                  <a:lnTo>
                    <a:pt x="516" y="558"/>
                  </a:lnTo>
                  <a:lnTo>
                    <a:pt x="521" y="556"/>
                  </a:lnTo>
                  <a:lnTo>
                    <a:pt x="521" y="556"/>
                  </a:lnTo>
                  <a:lnTo>
                    <a:pt x="527" y="556"/>
                  </a:lnTo>
                  <a:lnTo>
                    <a:pt x="527" y="556"/>
                  </a:lnTo>
                  <a:lnTo>
                    <a:pt x="530" y="558"/>
                  </a:lnTo>
                  <a:lnTo>
                    <a:pt x="530" y="558"/>
                  </a:lnTo>
                  <a:lnTo>
                    <a:pt x="530" y="558"/>
                  </a:lnTo>
                  <a:lnTo>
                    <a:pt x="532" y="556"/>
                  </a:lnTo>
                  <a:lnTo>
                    <a:pt x="532" y="556"/>
                  </a:lnTo>
                  <a:lnTo>
                    <a:pt x="532" y="556"/>
                  </a:lnTo>
                  <a:lnTo>
                    <a:pt x="533" y="555"/>
                  </a:lnTo>
                  <a:lnTo>
                    <a:pt x="533" y="555"/>
                  </a:lnTo>
                  <a:lnTo>
                    <a:pt x="532" y="553"/>
                  </a:lnTo>
                  <a:lnTo>
                    <a:pt x="532" y="553"/>
                  </a:lnTo>
                  <a:lnTo>
                    <a:pt x="532" y="552"/>
                  </a:lnTo>
                  <a:lnTo>
                    <a:pt x="530" y="552"/>
                  </a:lnTo>
                  <a:lnTo>
                    <a:pt x="530" y="552"/>
                  </a:lnTo>
                  <a:lnTo>
                    <a:pt x="530" y="552"/>
                  </a:lnTo>
                  <a:lnTo>
                    <a:pt x="529" y="552"/>
                  </a:lnTo>
                  <a:lnTo>
                    <a:pt x="529" y="552"/>
                  </a:lnTo>
                  <a:lnTo>
                    <a:pt x="520" y="550"/>
                  </a:lnTo>
                  <a:lnTo>
                    <a:pt x="520"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20" y="547"/>
                  </a:lnTo>
                  <a:lnTo>
                    <a:pt x="523" y="546"/>
                  </a:lnTo>
                  <a:lnTo>
                    <a:pt x="523" y="546"/>
                  </a:lnTo>
                  <a:lnTo>
                    <a:pt x="530" y="543"/>
                  </a:lnTo>
                  <a:lnTo>
                    <a:pt x="530" y="543"/>
                  </a:lnTo>
                  <a:lnTo>
                    <a:pt x="532" y="542"/>
                  </a:lnTo>
                  <a:lnTo>
                    <a:pt x="534" y="540"/>
                  </a:lnTo>
                  <a:lnTo>
                    <a:pt x="534" y="540"/>
                  </a:lnTo>
                  <a:lnTo>
                    <a:pt x="536" y="536"/>
                  </a:lnTo>
                  <a:lnTo>
                    <a:pt x="536" y="536"/>
                  </a:lnTo>
                  <a:lnTo>
                    <a:pt x="534" y="533"/>
                  </a:lnTo>
                  <a:lnTo>
                    <a:pt x="534" y="533"/>
                  </a:lnTo>
                  <a:lnTo>
                    <a:pt x="532" y="532"/>
                  </a:lnTo>
                  <a:lnTo>
                    <a:pt x="532" y="532"/>
                  </a:lnTo>
                  <a:lnTo>
                    <a:pt x="529" y="532"/>
                  </a:lnTo>
                  <a:lnTo>
                    <a:pt x="529" y="532"/>
                  </a:lnTo>
                  <a:lnTo>
                    <a:pt x="527" y="533"/>
                  </a:lnTo>
                  <a:lnTo>
                    <a:pt x="527" y="533"/>
                  </a:lnTo>
                  <a:lnTo>
                    <a:pt x="524" y="534"/>
                  </a:lnTo>
                  <a:lnTo>
                    <a:pt x="524" y="534"/>
                  </a:lnTo>
                  <a:lnTo>
                    <a:pt x="524" y="534"/>
                  </a:lnTo>
                  <a:lnTo>
                    <a:pt x="524" y="534"/>
                  </a:lnTo>
                  <a:lnTo>
                    <a:pt x="524" y="534"/>
                  </a:lnTo>
                  <a:lnTo>
                    <a:pt x="524" y="534"/>
                  </a:lnTo>
                  <a:lnTo>
                    <a:pt x="524" y="534"/>
                  </a:lnTo>
                  <a:lnTo>
                    <a:pt x="523" y="536"/>
                  </a:lnTo>
                  <a:lnTo>
                    <a:pt x="526" y="536"/>
                  </a:lnTo>
                  <a:lnTo>
                    <a:pt x="524" y="534"/>
                  </a:lnTo>
                  <a:lnTo>
                    <a:pt x="523" y="536"/>
                  </a:lnTo>
                  <a:lnTo>
                    <a:pt x="526" y="536"/>
                  </a:lnTo>
                  <a:lnTo>
                    <a:pt x="524" y="536"/>
                  </a:lnTo>
                  <a:lnTo>
                    <a:pt x="526" y="536"/>
                  </a:lnTo>
                  <a:lnTo>
                    <a:pt x="526" y="536"/>
                  </a:lnTo>
                  <a:lnTo>
                    <a:pt x="524" y="536"/>
                  </a:lnTo>
                  <a:lnTo>
                    <a:pt x="526" y="536"/>
                  </a:lnTo>
                  <a:lnTo>
                    <a:pt x="526" y="536"/>
                  </a:lnTo>
                  <a:lnTo>
                    <a:pt x="526" y="534"/>
                  </a:lnTo>
                  <a:lnTo>
                    <a:pt x="526" y="534"/>
                  </a:lnTo>
                  <a:lnTo>
                    <a:pt x="530" y="529"/>
                  </a:lnTo>
                  <a:lnTo>
                    <a:pt x="530" y="529"/>
                  </a:lnTo>
                  <a:lnTo>
                    <a:pt x="532" y="527"/>
                  </a:lnTo>
                  <a:lnTo>
                    <a:pt x="533" y="526"/>
                  </a:lnTo>
                  <a:lnTo>
                    <a:pt x="533" y="526"/>
                  </a:lnTo>
                  <a:lnTo>
                    <a:pt x="533" y="524"/>
                  </a:lnTo>
                  <a:lnTo>
                    <a:pt x="533" y="524"/>
                  </a:lnTo>
                  <a:lnTo>
                    <a:pt x="532" y="521"/>
                  </a:lnTo>
                  <a:lnTo>
                    <a:pt x="532" y="521"/>
                  </a:lnTo>
                  <a:lnTo>
                    <a:pt x="530" y="521"/>
                  </a:lnTo>
                  <a:lnTo>
                    <a:pt x="530" y="521"/>
                  </a:lnTo>
                  <a:lnTo>
                    <a:pt x="529" y="521"/>
                  </a:lnTo>
                  <a:lnTo>
                    <a:pt x="529" y="521"/>
                  </a:lnTo>
                  <a:lnTo>
                    <a:pt x="521" y="521"/>
                  </a:lnTo>
                  <a:lnTo>
                    <a:pt x="521" y="521"/>
                  </a:lnTo>
                  <a:lnTo>
                    <a:pt x="520" y="521"/>
                  </a:lnTo>
                  <a:lnTo>
                    <a:pt x="520" y="521"/>
                  </a:lnTo>
                  <a:lnTo>
                    <a:pt x="520" y="523"/>
                  </a:lnTo>
                  <a:lnTo>
                    <a:pt x="520" y="521"/>
                  </a:lnTo>
                  <a:lnTo>
                    <a:pt x="520" y="521"/>
                  </a:lnTo>
                  <a:lnTo>
                    <a:pt x="520" y="523"/>
                  </a:lnTo>
                  <a:lnTo>
                    <a:pt x="520" y="521"/>
                  </a:lnTo>
                  <a:lnTo>
                    <a:pt x="518" y="523"/>
                  </a:lnTo>
                  <a:lnTo>
                    <a:pt x="520" y="523"/>
                  </a:lnTo>
                  <a:lnTo>
                    <a:pt x="520" y="521"/>
                  </a:lnTo>
                  <a:lnTo>
                    <a:pt x="518" y="523"/>
                  </a:lnTo>
                  <a:lnTo>
                    <a:pt x="520" y="523"/>
                  </a:lnTo>
                  <a:lnTo>
                    <a:pt x="520" y="523"/>
                  </a:lnTo>
                  <a:lnTo>
                    <a:pt x="520" y="523"/>
                  </a:lnTo>
                  <a:lnTo>
                    <a:pt x="520" y="523"/>
                  </a:lnTo>
                  <a:lnTo>
                    <a:pt x="520" y="523"/>
                  </a:lnTo>
                  <a:lnTo>
                    <a:pt x="520" y="523"/>
                  </a:lnTo>
                  <a:lnTo>
                    <a:pt x="520" y="523"/>
                  </a:lnTo>
                  <a:lnTo>
                    <a:pt x="521" y="521"/>
                  </a:lnTo>
                  <a:lnTo>
                    <a:pt x="521" y="521"/>
                  </a:lnTo>
                  <a:lnTo>
                    <a:pt x="524" y="517"/>
                  </a:lnTo>
                  <a:lnTo>
                    <a:pt x="524" y="517"/>
                  </a:lnTo>
                  <a:lnTo>
                    <a:pt x="526" y="514"/>
                  </a:lnTo>
                  <a:lnTo>
                    <a:pt x="527" y="511"/>
                  </a:lnTo>
                  <a:lnTo>
                    <a:pt x="527" y="511"/>
                  </a:lnTo>
                  <a:lnTo>
                    <a:pt x="527" y="510"/>
                  </a:lnTo>
                  <a:lnTo>
                    <a:pt x="527" y="510"/>
                  </a:lnTo>
                  <a:lnTo>
                    <a:pt x="527" y="510"/>
                  </a:lnTo>
                  <a:lnTo>
                    <a:pt x="530" y="511"/>
                  </a:lnTo>
                  <a:lnTo>
                    <a:pt x="530" y="511"/>
                  </a:lnTo>
                  <a:lnTo>
                    <a:pt x="532" y="513"/>
                  </a:lnTo>
                  <a:lnTo>
                    <a:pt x="534" y="513"/>
                  </a:lnTo>
                  <a:lnTo>
                    <a:pt x="534" y="513"/>
                  </a:lnTo>
                  <a:lnTo>
                    <a:pt x="539" y="511"/>
                  </a:lnTo>
                  <a:lnTo>
                    <a:pt x="539" y="511"/>
                  </a:lnTo>
                  <a:lnTo>
                    <a:pt x="543" y="510"/>
                  </a:lnTo>
                  <a:lnTo>
                    <a:pt x="543" y="510"/>
                  </a:lnTo>
                  <a:lnTo>
                    <a:pt x="547" y="507"/>
                  </a:lnTo>
                  <a:lnTo>
                    <a:pt x="547" y="507"/>
                  </a:lnTo>
                  <a:lnTo>
                    <a:pt x="550" y="505"/>
                  </a:lnTo>
                  <a:lnTo>
                    <a:pt x="550" y="505"/>
                  </a:lnTo>
                  <a:lnTo>
                    <a:pt x="552" y="505"/>
                  </a:lnTo>
                  <a:lnTo>
                    <a:pt x="552" y="505"/>
                  </a:lnTo>
                  <a:lnTo>
                    <a:pt x="552" y="504"/>
                  </a:lnTo>
                  <a:lnTo>
                    <a:pt x="552" y="505"/>
                  </a:lnTo>
                  <a:lnTo>
                    <a:pt x="552" y="505"/>
                  </a:lnTo>
                  <a:lnTo>
                    <a:pt x="552" y="504"/>
                  </a:lnTo>
                  <a:lnTo>
                    <a:pt x="552" y="505"/>
                  </a:lnTo>
                  <a:lnTo>
                    <a:pt x="552" y="505"/>
                  </a:lnTo>
                  <a:lnTo>
                    <a:pt x="555" y="505"/>
                  </a:lnTo>
                  <a:lnTo>
                    <a:pt x="555" y="505"/>
                  </a:lnTo>
                  <a:lnTo>
                    <a:pt x="558" y="505"/>
                  </a:lnTo>
                  <a:lnTo>
                    <a:pt x="558" y="505"/>
                  </a:lnTo>
                  <a:lnTo>
                    <a:pt x="559" y="504"/>
                  </a:lnTo>
                  <a:lnTo>
                    <a:pt x="559" y="504"/>
                  </a:lnTo>
                  <a:lnTo>
                    <a:pt x="559" y="503"/>
                  </a:lnTo>
                  <a:lnTo>
                    <a:pt x="559" y="503"/>
                  </a:lnTo>
                  <a:lnTo>
                    <a:pt x="559" y="500"/>
                  </a:lnTo>
                  <a:lnTo>
                    <a:pt x="559" y="500"/>
                  </a:lnTo>
                  <a:lnTo>
                    <a:pt x="558" y="498"/>
                  </a:lnTo>
                  <a:lnTo>
                    <a:pt x="558" y="498"/>
                  </a:lnTo>
                  <a:lnTo>
                    <a:pt x="555" y="495"/>
                  </a:lnTo>
                  <a:lnTo>
                    <a:pt x="555" y="495"/>
                  </a:lnTo>
                  <a:lnTo>
                    <a:pt x="555" y="495"/>
                  </a:lnTo>
                  <a:lnTo>
                    <a:pt x="553" y="495"/>
                  </a:lnTo>
                  <a:lnTo>
                    <a:pt x="555" y="495"/>
                  </a:lnTo>
                  <a:lnTo>
                    <a:pt x="555" y="495"/>
                  </a:lnTo>
                  <a:lnTo>
                    <a:pt x="553" y="495"/>
                  </a:lnTo>
                  <a:lnTo>
                    <a:pt x="555" y="495"/>
                  </a:lnTo>
                  <a:lnTo>
                    <a:pt x="553" y="495"/>
                  </a:lnTo>
                  <a:lnTo>
                    <a:pt x="555" y="497"/>
                  </a:lnTo>
                  <a:lnTo>
                    <a:pt x="555" y="495"/>
                  </a:lnTo>
                  <a:lnTo>
                    <a:pt x="553" y="495"/>
                  </a:lnTo>
                  <a:lnTo>
                    <a:pt x="555" y="497"/>
                  </a:lnTo>
                  <a:lnTo>
                    <a:pt x="553" y="497"/>
                  </a:lnTo>
                  <a:lnTo>
                    <a:pt x="553" y="497"/>
                  </a:lnTo>
                  <a:lnTo>
                    <a:pt x="555" y="497"/>
                  </a:lnTo>
                  <a:lnTo>
                    <a:pt x="553" y="497"/>
                  </a:lnTo>
                  <a:lnTo>
                    <a:pt x="553" y="497"/>
                  </a:lnTo>
                  <a:lnTo>
                    <a:pt x="553" y="497"/>
                  </a:lnTo>
                  <a:lnTo>
                    <a:pt x="553" y="497"/>
                  </a:lnTo>
                  <a:lnTo>
                    <a:pt x="553" y="497"/>
                  </a:lnTo>
                  <a:lnTo>
                    <a:pt x="553" y="497"/>
                  </a:lnTo>
                  <a:lnTo>
                    <a:pt x="553" y="497"/>
                  </a:lnTo>
                  <a:lnTo>
                    <a:pt x="553" y="497"/>
                  </a:lnTo>
                  <a:lnTo>
                    <a:pt x="555" y="497"/>
                  </a:lnTo>
                  <a:lnTo>
                    <a:pt x="555" y="497"/>
                  </a:lnTo>
                  <a:lnTo>
                    <a:pt x="559" y="495"/>
                  </a:lnTo>
                  <a:lnTo>
                    <a:pt x="562" y="494"/>
                  </a:lnTo>
                  <a:lnTo>
                    <a:pt x="562" y="494"/>
                  </a:lnTo>
                  <a:lnTo>
                    <a:pt x="563" y="491"/>
                  </a:lnTo>
                  <a:lnTo>
                    <a:pt x="565" y="488"/>
                  </a:lnTo>
                  <a:lnTo>
                    <a:pt x="565" y="488"/>
                  </a:lnTo>
                  <a:lnTo>
                    <a:pt x="565" y="488"/>
                  </a:lnTo>
                  <a:lnTo>
                    <a:pt x="565" y="488"/>
                  </a:lnTo>
                  <a:lnTo>
                    <a:pt x="565" y="488"/>
                  </a:lnTo>
                  <a:lnTo>
                    <a:pt x="565" y="488"/>
                  </a:lnTo>
                  <a:lnTo>
                    <a:pt x="565" y="488"/>
                  </a:lnTo>
                  <a:lnTo>
                    <a:pt x="565" y="488"/>
                  </a:lnTo>
                  <a:lnTo>
                    <a:pt x="565" y="488"/>
                  </a:lnTo>
                  <a:lnTo>
                    <a:pt x="565" y="488"/>
                  </a:lnTo>
                  <a:lnTo>
                    <a:pt x="565" y="488"/>
                  </a:lnTo>
                  <a:lnTo>
                    <a:pt x="565" y="488"/>
                  </a:lnTo>
                  <a:lnTo>
                    <a:pt x="568" y="488"/>
                  </a:lnTo>
                  <a:lnTo>
                    <a:pt x="568" y="488"/>
                  </a:lnTo>
                  <a:lnTo>
                    <a:pt x="572" y="488"/>
                  </a:lnTo>
                  <a:lnTo>
                    <a:pt x="572" y="488"/>
                  </a:lnTo>
                  <a:lnTo>
                    <a:pt x="574" y="488"/>
                  </a:lnTo>
                  <a:lnTo>
                    <a:pt x="574" y="488"/>
                  </a:lnTo>
                  <a:lnTo>
                    <a:pt x="575" y="487"/>
                  </a:lnTo>
                  <a:lnTo>
                    <a:pt x="575" y="487"/>
                  </a:lnTo>
                  <a:lnTo>
                    <a:pt x="576" y="485"/>
                  </a:lnTo>
                  <a:lnTo>
                    <a:pt x="576" y="484"/>
                  </a:lnTo>
                  <a:lnTo>
                    <a:pt x="576" y="484"/>
                  </a:lnTo>
                  <a:lnTo>
                    <a:pt x="575" y="484"/>
                  </a:lnTo>
                  <a:lnTo>
                    <a:pt x="576" y="484"/>
                  </a:lnTo>
                  <a:lnTo>
                    <a:pt x="576" y="484"/>
                  </a:lnTo>
                  <a:lnTo>
                    <a:pt x="575" y="484"/>
                  </a:lnTo>
                  <a:lnTo>
                    <a:pt x="576" y="484"/>
                  </a:lnTo>
                  <a:lnTo>
                    <a:pt x="576" y="484"/>
                  </a:lnTo>
                  <a:lnTo>
                    <a:pt x="576" y="484"/>
                  </a:lnTo>
                  <a:lnTo>
                    <a:pt x="576" y="479"/>
                  </a:lnTo>
                  <a:lnTo>
                    <a:pt x="576" y="479"/>
                  </a:lnTo>
                  <a:lnTo>
                    <a:pt x="575" y="475"/>
                  </a:lnTo>
                  <a:lnTo>
                    <a:pt x="575" y="475"/>
                  </a:lnTo>
                  <a:lnTo>
                    <a:pt x="574" y="474"/>
                  </a:lnTo>
                  <a:lnTo>
                    <a:pt x="571" y="471"/>
                  </a:lnTo>
                  <a:lnTo>
                    <a:pt x="571" y="471"/>
                  </a:lnTo>
                  <a:lnTo>
                    <a:pt x="566" y="469"/>
                  </a:lnTo>
                  <a:lnTo>
                    <a:pt x="566" y="468"/>
                  </a:lnTo>
                  <a:lnTo>
                    <a:pt x="566" y="468"/>
                  </a:lnTo>
                  <a:lnTo>
                    <a:pt x="566" y="468"/>
                  </a:lnTo>
                  <a:lnTo>
                    <a:pt x="566" y="468"/>
                  </a:lnTo>
                  <a:lnTo>
                    <a:pt x="565" y="468"/>
                  </a:lnTo>
                  <a:lnTo>
                    <a:pt x="566" y="468"/>
                  </a:lnTo>
                  <a:lnTo>
                    <a:pt x="566" y="468"/>
                  </a:lnTo>
                  <a:lnTo>
                    <a:pt x="565" y="468"/>
                  </a:lnTo>
                  <a:lnTo>
                    <a:pt x="566" y="468"/>
                  </a:lnTo>
                  <a:lnTo>
                    <a:pt x="565" y="468"/>
                  </a:lnTo>
                  <a:lnTo>
                    <a:pt x="566" y="468"/>
                  </a:lnTo>
                  <a:lnTo>
                    <a:pt x="566" y="468"/>
                  </a:lnTo>
                  <a:lnTo>
                    <a:pt x="565" y="468"/>
                  </a:lnTo>
                  <a:lnTo>
                    <a:pt x="566" y="468"/>
                  </a:lnTo>
                  <a:lnTo>
                    <a:pt x="566" y="468"/>
                  </a:lnTo>
                  <a:lnTo>
                    <a:pt x="566" y="468"/>
                  </a:lnTo>
                  <a:lnTo>
                    <a:pt x="566" y="468"/>
                  </a:lnTo>
                  <a:lnTo>
                    <a:pt x="572" y="466"/>
                  </a:lnTo>
                  <a:lnTo>
                    <a:pt x="572" y="466"/>
                  </a:lnTo>
                  <a:lnTo>
                    <a:pt x="574" y="465"/>
                  </a:lnTo>
                  <a:lnTo>
                    <a:pt x="574" y="465"/>
                  </a:lnTo>
                  <a:lnTo>
                    <a:pt x="575" y="462"/>
                  </a:lnTo>
                  <a:lnTo>
                    <a:pt x="575" y="462"/>
                  </a:lnTo>
                  <a:lnTo>
                    <a:pt x="575" y="458"/>
                  </a:lnTo>
                  <a:lnTo>
                    <a:pt x="575" y="458"/>
                  </a:lnTo>
                  <a:lnTo>
                    <a:pt x="572" y="453"/>
                  </a:lnTo>
                  <a:lnTo>
                    <a:pt x="572" y="453"/>
                  </a:lnTo>
                  <a:lnTo>
                    <a:pt x="574" y="452"/>
                  </a:lnTo>
                  <a:lnTo>
                    <a:pt x="574" y="452"/>
                  </a:lnTo>
                  <a:lnTo>
                    <a:pt x="575" y="449"/>
                  </a:lnTo>
                  <a:lnTo>
                    <a:pt x="575" y="449"/>
                  </a:lnTo>
                  <a:lnTo>
                    <a:pt x="575" y="449"/>
                  </a:lnTo>
                  <a:lnTo>
                    <a:pt x="575" y="449"/>
                  </a:lnTo>
                  <a:lnTo>
                    <a:pt x="579" y="443"/>
                  </a:lnTo>
                  <a:lnTo>
                    <a:pt x="579" y="443"/>
                  </a:lnTo>
                  <a:lnTo>
                    <a:pt x="581" y="442"/>
                  </a:lnTo>
                  <a:lnTo>
                    <a:pt x="581" y="442"/>
                  </a:lnTo>
                  <a:lnTo>
                    <a:pt x="579" y="440"/>
                  </a:lnTo>
                  <a:lnTo>
                    <a:pt x="579" y="442"/>
                  </a:lnTo>
                  <a:lnTo>
                    <a:pt x="581" y="442"/>
                  </a:lnTo>
                  <a:lnTo>
                    <a:pt x="579" y="440"/>
                  </a:lnTo>
                  <a:lnTo>
                    <a:pt x="579" y="442"/>
                  </a:lnTo>
                  <a:lnTo>
                    <a:pt x="579" y="440"/>
                  </a:lnTo>
                  <a:lnTo>
                    <a:pt x="579" y="442"/>
                  </a:lnTo>
                  <a:lnTo>
                    <a:pt x="579" y="442"/>
                  </a:lnTo>
                  <a:lnTo>
                    <a:pt x="579" y="440"/>
                  </a:lnTo>
                  <a:lnTo>
                    <a:pt x="579" y="442"/>
                  </a:lnTo>
                  <a:lnTo>
                    <a:pt x="579" y="440"/>
                  </a:lnTo>
                  <a:lnTo>
                    <a:pt x="578" y="440"/>
                  </a:lnTo>
                  <a:lnTo>
                    <a:pt x="578" y="440"/>
                  </a:lnTo>
                  <a:lnTo>
                    <a:pt x="579" y="442"/>
                  </a:lnTo>
                  <a:lnTo>
                    <a:pt x="579" y="440"/>
                  </a:lnTo>
                  <a:lnTo>
                    <a:pt x="578" y="440"/>
                  </a:lnTo>
                  <a:lnTo>
                    <a:pt x="579" y="440"/>
                  </a:lnTo>
                  <a:lnTo>
                    <a:pt x="578" y="440"/>
                  </a:lnTo>
                  <a:lnTo>
                    <a:pt x="578" y="440"/>
                  </a:lnTo>
                  <a:lnTo>
                    <a:pt x="579" y="440"/>
                  </a:lnTo>
                  <a:lnTo>
                    <a:pt x="578" y="440"/>
                  </a:lnTo>
                  <a:lnTo>
                    <a:pt x="578" y="440"/>
                  </a:lnTo>
                  <a:lnTo>
                    <a:pt x="578" y="440"/>
                  </a:lnTo>
                  <a:lnTo>
                    <a:pt x="578" y="445"/>
                  </a:lnTo>
                  <a:lnTo>
                    <a:pt x="578" y="445"/>
                  </a:lnTo>
                  <a:lnTo>
                    <a:pt x="576" y="449"/>
                  </a:lnTo>
                  <a:lnTo>
                    <a:pt x="576" y="449"/>
                  </a:lnTo>
                  <a:lnTo>
                    <a:pt x="576" y="450"/>
                  </a:lnTo>
                  <a:lnTo>
                    <a:pt x="578" y="452"/>
                  </a:lnTo>
                  <a:lnTo>
                    <a:pt x="578" y="452"/>
                  </a:lnTo>
                  <a:lnTo>
                    <a:pt x="582" y="453"/>
                  </a:lnTo>
                  <a:lnTo>
                    <a:pt x="582" y="453"/>
                  </a:lnTo>
                  <a:lnTo>
                    <a:pt x="588" y="455"/>
                  </a:lnTo>
                  <a:lnTo>
                    <a:pt x="588" y="455"/>
                  </a:lnTo>
                  <a:lnTo>
                    <a:pt x="589" y="456"/>
                  </a:lnTo>
                  <a:lnTo>
                    <a:pt x="589" y="456"/>
                  </a:lnTo>
                  <a:lnTo>
                    <a:pt x="589" y="458"/>
                  </a:lnTo>
                  <a:lnTo>
                    <a:pt x="589" y="458"/>
                  </a:lnTo>
                  <a:lnTo>
                    <a:pt x="588" y="462"/>
                  </a:lnTo>
                  <a:lnTo>
                    <a:pt x="588" y="462"/>
                  </a:lnTo>
                  <a:lnTo>
                    <a:pt x="589" y="465"/>
                  </a:lnTo>
                  <a:lnTo>
                    <a:pt x="589" y="465"/>
                  </a:lnTo>
                  <a:lnTo>
                    <a:pt x="589" y="466"/>
                  </a:lnTo>
                  <a:lnTo>
                    <a:pt x="589" y="466"/>
                  </a:lnTo>
                  <a:lnTo>
                    <a:pt x="592" y="466"/>
                  </a:lnTo>
                  <a:lnTo>
                    <a:pt x="592" y="466"/>
                  </a:lnTo>
                  <a:lnTo>
                    <a:pt x="594" y="466"/>
                  </a:lnTo>
                  <a:lnTo>
                    <a:pt x="594" y="466"/>
                  </a:lnTo>
                  <a:lnTo>
                    <a:pt x="595" y="463"/>
                  </a:lnTo>
                  <a:lnTo>
                    <a:pt x="595" y="463"/>
                  </a:lnTo>
                  <a:lnTo>
                    <a:pt x="600" y="458"/>
                  </a:lnTo>
                  <a:lnTo>
                    <a:pt x="600" y="458"/>
                  </a:lnTo>
                  <a:lnTo>
                    <a:pt x="601" y="456"/>
                  </a:lnTo>
                  <a:lnTo>
                    <a:pt x="601" y="456"/>
                  </a:lnTo>
                  <a:lnTo>
                    <a:pt x="601" y="456"/>
                  </a:lnTo>
                  <a:lnTo>
                    <a:pt x="600" y="455"/>
                  </a:lnTo>
                  <a:lnTo>
                    <a:pt x="600" y="456"/>
                  </a:lnTo>
                  <a:lnTo>
                    <a:pt x="600" y="456"/>
                  </a:lnTo>
                  <a:lnTo>
                    <a:pt x="601" y="456"/>
                  </a:lnTo>
                  <a:lnTo>
                    <a:pt x="600" y="455"/>
                  </a:lnTo>
                  <a:lnTo>
                    <a:pt x="600" y="456"/>
                  </a:lnTo>
                  <a:lnTo>
                    <a:pt x="600" y="453"/>
                  </a:lnTo>
                  <a:lnTo>
                    <a:pt x="598" y="456"/>
                  </a:lnTo>
                  <a:lnTo>
                    <a:pt x="600" y="456"/>
                  </a:lnTo>
                  <a:lnTo>
                    <a:pt x="600" y="453"/>
                  </a:lnTo>
                  <a:lnTo>
                    <a:pt x="598" y="456"/>
                  </a:lnTo>
                  <a:lnTo>
                    <a:pt x="600" y="453"/>
                  </a:lnTo>
                  <a:lnTo>
                    <a:pt x="598" y="455"/>
                  </a:lnTo>
                  <a:lnTo>
                    <a:pt x="598" y="455"/>
                  </a:lnTo>
                  <a:lnTo>
                    <a:pt x="598" y="456"/>
                  </a:lnTo>
                  <a:lnTo>
                    <a:pt x="600" y="453"/>
                  </a:lnTo>
                  <a:lnTo>
                    <a:pt x="598" y="455"/>
                  </a:lnTo>
                  <a:lnTo>
                    <a:pt x="600" y="455"/>
                  </a:lnTo>
                  <a:lnTo>
                    <a:pt x="598" y="455"/>
                  </a:lnTo>
                  <a:lnTo>
                    <a:pt x="598" y="455"/>
                  </a:lnTo>
                  <a:lnTo>
                    <a:pt x="600" y="455"/>
                  </a:lnTo>
                  <a:lnTo>
                    <a:pt x="598" y="455"/>
                  </a:lnTo>
                  <a:lnTo>
                    <a:pt x="598" y="455"/>
                  </a:lnTo>
                  <a:lnTo>
                    <a:pt x="598" y="455"/>
                  </a:lnTo>
                  <a:lnTo>
                    <a:pt x="598" y="455"/>
                  </a:lnTo>
                  <a:lnTo>
                    <a:pt x="598" y="455"/>
                  </a:lnTo>
                  <a:lnTo>
                    <a:pt x="598" y="455"/>
                  </a:lnTo>
                  <a:lnTo>
                    <a:pt x="598" y="455"/>
                  </a:lnTo>
                  <a:lnTo>
                    <a:pt x="597" y="455"/>
                  </a:lnTo>
                  <a:lnTo>
                    <a:pt x="597" y="455"/>
                  </a:lnTo>
                  <a:lnTo>
                    <a:pt x="597" y="462"/>
                  </a:lnTo>
                  <a:lnTo>
                    <a:pt x="597" y="462"/>
                  </a:lnTo>
                  <a:lnTo>
                    <a:pt x="597" y="465"/>
                  </a:lnTo>
                  <a:lnTo>
                    <a:pt x="597" y="465"/>
                  </a:lnTo>
                  <a:lnTo>
                    <a:pt x="598" y="468"/>
                  </a:lnTo>
                  <a:lnTo>
                    <a:pt x="598" y="468"/>
                  </a:lnTo>
                  <a:lnTo>
                    <a:pt x="600" y="468"/>
                  </a:lnTo>
                  <a:lnTo>
                    <a:pt x="600" y="468"/>
                  </a:lnTo>
                  <a:lnTo>
                    <a:pt x="601" y="468"/>
                  </a:lnTo>
                  <a:lnTo>
                    <a:pt x="601" y="468"/>
                  </a:lnTo>
                  <a:lnTo>
                    <a:pt x="604" y="466"/>
                  </a:lnTo>
                  <a:lnTo>
                    <a:pt x="604" y="466"/>
                  </a:lnTo>
                  <a:lnTo>
                    <a:pt x="605" y="462"/>
                  </a:lnTo>
                  <a:lnTo>
                    <a:pt x="605" y="462"/>
                  </a:lnTo>
                  <a:lnTo>
                    <a:pt x="607" y="456"/>
                  </a:lnTo>
                  <a:lnTo>
                    <a:pt x="607" y="456"/>
                  </a:lnTo>
                  <a:lnTo>
                    <a:pt x="608" y="456"/>
                  </a:lnTo>
                  <a:lnTo>
                    <a:pt x="608" y="455"/>
                  </a:lnTo>
                  <a:lnTo>
                    <a:pt x="607" y="455"/>
                  </a:lnTo>
                  <a:lnTo>
                    <a:pt x="608" y="456"/>
                  </a:lnTo>
                  <a:lnTo>
                    <a:pt x="608" y="455"/>
                  </a:lnTo>
                  <a:lnTo>
                    <a:pt x="607" y="455"/>
                  </a:lnTo>
                  <a:lnTo>
                    <a:pt x="608" y="456"/>
                  </a:lnTo>
                  <a:lnTo>
                    <a:pt x="607" y="455"/>
                  </a:lnTo>
                  <a:lnTo>
                    <a:pt x="607" y="456"/>
                  </a:lnTo>
                  <a:lnTo>
                    <a:pt x="607" y="456"/>
                  </a:lnTo>
                  <a:lnTo>
                    <a:pt x="608" y="456"/>
                  </a:lnTo>
                  <a:lnTo>
                    <a:pt x="607" y="455"/>
                  </a:lnTo>
                  <a:lnTo>
                    <a:pt x="607" y="456"/>
                  </a:lnTo>
                  <a:lnTo>
                    <a:pt x="607" y="455"/>
                  </a:lnTo>
                  <a:lnTo>
                    <a:pt x="605" y="456"/>
                  </a:lnTo>
                  <a:lnTo>
                    <a:pt x="607" y="456"/>
                  </a:lnTo>
                  <a:lnTo>
                    <a:pt x="607" y="455"/>
                  </a:lnTo>
                  <a:lnTo>
                    <a:pt x="605" y="456"/>
                  </a:lnTo>
                  <a:lnTo>
                    <a:pt x="605" y="455"/>
                  </a:lnTo>
                  <a:lnTo>
                    <a:pt x="605" y="456"/>
                  </a:lnTo>
                  <a:lnTo>
                    <a:pt x="605" y="456"/>
                  </a:lnTo>
                  <a:lnTo>
                    <a:pt x="605" y="455"/>
                  </a:lnTo>
                  <a:lnTo>
                    <a:pt x="605" y="456"/>
                  </a:lnTo>
                  <a:lnTo>
                    <a:pt x="605" y="456"/>
                  </a:lnTo>
                  <a:lnTo>
                    <a:pt x="607" y="459"/>
                  </a:lnTo>
                  <a:lnTo>
                    <a:pt x="607" y="459"/>
                  </a:lnTo>
                  <a:lnTo>
                    <a:pt x="608" y="462"/>
                  </a:lnTo>
                  <a:lnTo>
                    <a:pt x="610" y="462"/>
                  </a:lnTo>
                  <a:lnTo>
                    <a:pt x="610" y="463"/>
                  </a:lnTo>
                  <a:lnTo>
                    <a:pt x="610" y="463"/>
                  </a:lnTo>
                  <a:lnTo>
                    <a:pt x="611" y="463"/>
                  </a:lnTo>
                  <a:lnTo>
                    <a:pt x="611" y="463"/>
                  </a:lnTo>
                  <a:lnTo>
                    <a:pt x="614" y="462"/>
                  </a:lnTo>
                  <a:lnTo>
                    <a:pt x="614" y="462"/>
                  </a:lnTo>
                  <a:lnTo>
                    <a:pt x="614" y="461"/>
                  </a:lnTo>
                  <a:lnTo>
                    <a:pt x="614" y="461"/>
                  </a:lnTo>
                  <a:lnTo>
                    <a:pt x="614" y="461"/>
                  </a:lnTo>
                  <a:lnTo>
                    <a:pt x="613" y="455"/>
                  </a:lnTo>
                  <a:lnTo>
                    <a:pt x="613" y="455"/>
                  </a:lnTo>
                  <a:lnTo>
                    <a:pt x="613" y="452"/>
                  </a:lnTo>
                  <a:lnTo>
                    <a:pt x="613" y="452"/>
                  </a:lnTo>
                  <a:lnTo>
                    <a:pt x="613" y="452"/>
                  </a:lnTo>
                  <a:lnTo>
                    <a:pt x="613" y="452"/>
                  </a:lnTo>
                  <a:lnTo>
                    <a:pt x="613" y="452"/>
                  </a:lnTo>
                  <a:lnTo>
                    <a:pt x="613" y="452"/>
                  </a:lnTo>
                  <a:lnTo>
                    <a:pt x="613" y="452"/>
                  </a:lnTo>
                  <a:lnTo>
                    <a:pt x="611" y="452"/>
                  </a:lnTo>
                  <a:lnTo>
                    <a:pt x="611" y="453"/>
                  </a:lnTo>
                  <a:lnTo>
                    <a:pt x="613" y="452"/>
                  </a:lnTo>
                  <a:lnTo>
                    <a:pt x="611" y="452"/>
                  </a:lnTo>
                  <a:lnTo>
                    <a:pt x="611" y="453"/>
                  </a:lnTo>
                  <a:lnTo>
                    <a:pt x="611" y="452"/>
                  </a:lnTo>
                  <a:lnTo>
                    <a:pt x="611" y="453"/>
                  </a:lnTo>
                  <a:lnTo>
                    <a:pt x="611" y="453"/>
                  </a:lnTo>
                  <a:lnTo>
                    <a:pt x="611" y="452"/>
                  </a:lnTo>
                  <a:lnTo>
                    <a:pt x="611" y="453"/>
                  </a:lnTo>
                  <a:lnTo>
                    <a:pt x="611" y="453"/>
                  </a:lnTo>
                  <a:lnTo>
                    <a:pt x="611" y="453"/>
                  </a:lnTo>
                  <a:lnTo>
                    <a:pt x="614" y="455"/>
                  </a:lnTo>
                  <a:lnTo>
                    <a:pt x="614" y="455"/>
                  </a:lnTo>
                  <a:lnTo>
                    <a:pt x="620" y="459"/>
                  </a:lnTo>
                  <a:lnTo>
                    <a:pt x="620" y="459"/>
                  </a:lnTo>
                  <a:lnTo>
                    <a:pt x="623" y="461"/>
                  </a:lnTo>
                  <a:lnTo>
                    <a:pt x="623" y="462"/>
                  </a:lnTo>
                  <a:lnTo>
                    <a:pt x="623" y="462"/>
                  </a:lnTo>
                  <a:lnTo>
                    <a:pt x="624" y="462"/>
                  </a:lnTo>
                  <a:lnTo>
                    <a:pt x="624" y="462"/>
                  </a:lnTo>
                  <a:lnTo>
                    <a:pt x="624" y="462"/>
                  </a:lnTo>
                  <a:lnTo>
                    <a:pt x="624" y="462"/>
                  </a:lnTo>
                  <a:lnTo>
                    <a:pt x="627" y="461"/>
                  </a:lnTo>
                  <a:lnTo>
                    <a:pt x="627" y="461"/>
                  </a:lnTo>
                  <a:lnTo>
                    <a:pt x="627" y="459"/>
                  </a:lnTo>
                  <a:lnTo>
                    <a:pt x="627" y="459"/>
                  </a:lnTo>
                  <a:lnTo>
                    <a:pt x="627" y="458"/>
                  </a:lnTo>
                  <a:lnTo>
                    <a:pt x="627" y="458"/>
                  </a:lnTo>
                  <a:lnTo>
                    <a:pt x="627" y="458"/>
                  </a:lnTo>
                  <a:lnTo>
                    <a:pt x="627" y="458"/>
                  </a:lnTo>
                  <a:lnTo>
                    <a:pt x="626" y="458"/>
                  </a:lnTo>
                  <a:lnTo>
                    <a:pt x="627" y="458"/>
                  </a:lnTo>
                  <a:lnTo>
                    <a:pt x="627" y="458"/>
                  </a:lnTo>
                  <a:lnTo>
                    <a:pt x="626" y="458"/>
                  </a:lnTo>
                  <a:lnTo>
                    <a:pt x="627" y="458"/>
                  </a:lnTo>
                  <a:lnTo>
                    <a:pt x="627" y="458"/>
                  </a:lnTo>
                  <a:lnTo>
                    <a:pt x="627" y="456"/>
                  </a:lnTo>
                  <a:lnTo>
                    <a:pt x="627" y="456"/>
                  </a:lnTo>
                  <a:lnTo>
                    <a:pt x="627" y="455"/>
                  </a:lnTo>
                  <a:lnTo>
                    <a:pt x="627" y="455"/>
                  </a:lnTo>
                  <a:lnTo>
                    <a:pt x="626" y="450"/>
                  </a:lnTo>
                  <a:lnTo>
                    <a:pt x="626" y="450"/>
                  </a:lnTo>
                  <a:lnTo>
                    <a:pt x="624" y="449"/>
                  </a:lnTo>
                  <a:lnTo>
                    <a:pt x="623" y="446"/>
                  </a:lnTo>
                  <a:lnTo>
                    <a:pt x="623" y="446"/>
                  </a:lnTo>
                  <a:lnTo>
                    <a:pt x="614" y="443"/>
                  </a:lnTo>
                  <a:lnTo>
                    <a:pt x="614" y="443"/>
                  </a:lnTo>
                  <a:lnTo>
                    <a:pt x="610" y="440"/>
                  </a:lnTo>
                  <a:lnTo>
                    <a:pt x="610" y="440"/>
                  </a:lnTo>
                  <a:lnTo>
                    <a:pt x="610" y="440"/>
                  </a:lnTo>
                  <a:lnTo>
                    <a:pt x="608" y="440"/>
                  </a:lnTo>
                  <a:lnTo>
                    <a:pt x="610" y="440"/>
                  </a:lnTo>
                  <a:lnTo>
                    <a:pt x="610" y="440"/>
                  </a:lnTo>
                  <a:lnTo>
                    <a:pt x="608" y="440"/>
                  </a:lnTo>
                  <a:lnTo>
                    <a:pt x="610" y="440"/>
                  </a:lnTo>
                  <a:lnTo>
                    <a:pt x="608" y="440"/>
                  </a:lnTo>
                  <a:lnTo>
                    <a:pt x="610" y="442"/>
                  </a:lnTo>
                  <a:lnTo>
                    <a:pt x="610" y="440"/>
                  </a:lnTo>
                  <a:lnTo>
                    <a:pt x="608" y="440"/>
                  </a:lnTo>
                  <a:lnTo>
                    <a:pt x="610" y="442"/>
                  </a:lnTo>
                  <a:lnTo>
                    <a:pt x="610" y="442"/>
                  </a:lnTo>
                  <a:lnTo>
                    <a:pt x="610" y="439"/>
                  </a:lnTo>
                  <a:lnTo>
                    <a:pt x="613" y="437"/>
                  </a:lnTo>
                  <a:lnTo>
                    <a:pt x="613" y="437"/>
                  </a:lnTo>
                  <a:lnTo>
                    <a:pt x="621" y="434"/>
                  </a:lnTo>
                  <a:lnTo>
                    <a:pt x="621" y="434"/>
                  </a:lnTo>
                  <a:lnTo>
                    <a:pt x="623" y="434"/>
                  </a:lnTo>
                  <a:lnTo>
                    <a:pt x="623" y="434"/>
                  </a:lnTo>
                  <a:lnTo>
                    <a:pt x="624" y="434"/>
                  </a:lnTo>
                  <a:lnTo>
                    <a:pt x="624" y="434"/>
                  </a:lnTo>
                  <a:lnTo>
                    <a:pt x="626" y="436"/>
                  </a:lnTo>
                  <a:lnTo>
                    <a:pt x="626" y="436"/>
                  </a:lnTo>
                  <a:lnTo>
                    <a:pt x="627" y="437"/>
                  </a:lnTo>
                  <a:lnTo>
                    <a:pt x="627" y="437"/>
                  </a:lnTo>
                  <a:lnTo>
                    <a:pt x="629" y="439"/>
                  </a:lnTo>
                  <a:lnTo>
                    <a:pt x="629" y="439"/>
                  </a:lnTo>
                  <a:lnTo>
                    <a:pt x="631" y="437"/>
                  </a:lnTo>
                  <a:lnTo>
                    <a:pt x="633" y="436"/>
                  </a:lnTo>
                  <a:lnTo>
                    <a:pt x="634" y="436"/>
                  </a:lnTo>
                  <a:lnTo>
                    <a:pt x="634" y="436"/>
                  </a:lnTo>
                  <a:lnTo>
                    <a:pt x="634" y="436"/>
                  </a:lnTo>
                  <a:lnTo>
                    <a:pt x="634" y="436"/>
                  </a:lnTo>
                  <a:lnTo>
                    <a:pt x="634" y="436"/>
                  </a:lnTo>
                  <a:lnTo>
                    <a:pt x="634" y="436"/>
                  </a:lnTo>
                  <a:lnTo>
                    <a:pt x="634" y="436"/>
                  </a:lnTo>
                  <a:lnTo>
                    <a:pt x="634" y="436"/>
                  </a:lnTo>
                  <a:lnTo>
                    <a:pt x="634" y="436"/>
                  </a:lnTo>
                  <a:lnTo>
                    <a:pt x="634" y="436"/>
                  </a:lnTo>
                  <a:lnTo>
                    <a:pt x="634" y="436"/>
                  </a:lnTo>
                  <a:lnTo>
                    <a:pt x="634" y="436"/>
                  </a:lnTo>
                  <a:lnTo>
                    <a:pt x="634" y="436"/>
                  </a:lnTo>
                  <a:lnTo>
                    <a:pt x="634" y="437"/>
                  </a:lnTo>
                  <a:lnTo>
                    <a:pt x="634" y="437"/>
                  </a:lnTo>
                  <a:lnTo>
                    <a:pt x="634" y="437"/>
                  </a:lnTo>
                  <a:lnTo>
                    <a:pt x="634" y="439"/>
                  </a:lnTo>
                  <a:lnTo>
                    <a:pt x="634" y="437"/>
                  </a:lnTo>
                  <a:lnTo>
                    <a:pt x="634" y="437"/>
                  </a:lnTo>
                  <a:lnTo>
                    <a:pt x="634" y="439"/>
                  </a:lnTo>
                  <a:lnTo>
                    <a:pt x="634" y="437"/>
                  </a:lnTo>
                  <a:lnTo>
                    <a:pt x="634" y="437"/>
                  </a:lnTo>
                  <a:lnTo>
                    <a:pt x="633" y="442"/>
                  </a:lnTo>
                  <a:lnTo>
                    <a:pt x="633" y="442"/>
                  </a:lnTo>
                  <a:lnTo>
                    <a:pt x="633" y="445"/>
                  </a:lnTo>
                  <a:lnTo>
                    <a:pt x="633" y="445"/>
                  </a:lnTo>
                  <a:lnTo>
                    <a:pt x="633" y="449"/>
                  </a:lnTo>
                  <a:lnTo>
                    <a:pt x="633" y="449"/>
                  </a:lnTo>
                  <a:lnTo>
                    <a:pt x="634" y="450"/>
                  </a:lnTo>
                  <a:lnTo>
                    <a:pt x="634" y="452"/>
                  </a:lnTo>
                  <a:lnTo>
                    <a:pt x="634" y="452"/>
                  </a:lnTo>
                  <a:lnTo>
                    <a:pt x="637" y="452"/>
                  </a:lnTo>
                  <a:lnTo>
                    <a:pt x="637" y="452"/>
                  </a:lnTo>
                  <a:lnTo>
                    <a:pt x="639" y="452"/>
                  </a:lnTo>
                  <a:lnTo>
                    <a:pt x="639" y="450"/>
                  </a:lnTo>
                  <a:lnTo>
                    <a:pt x="639" y="450"/>
                  </a:lnTo>
                  <a:lnTo>
                    <a:pt x="639" y="450"/>
                  </a:lnTo>
                  <a:lnTo>
                    <a:pt x="639" y="450"/>
                  </a:lnTo>
                  <a:lnTo>
                    <a:pt x="639" y="452"/>
                  </a:lnTo>
                  <a:lnTo>
                    <a:pt x="639" y="452"/>
                  </a:lnTo>
                  <a:lnTo>
                    <a:pt x="639" y="450"/>
                  </a:lnTo>
                  <a:lnTo>
                    <a:pt x="639" y="450"/>
                  </a:lnTo>
                  <a:lnTo>
                    <a:pt x="639" y="452"/>
                  </a:lnTo>
                  <a:lnTo>
                    <a:pt x="639" y="450"/>
                  </a:lnTo>
                  <a:lnTo>
                    <a:pt x="637" y="452"/>
                  </a:lnTo>
                  <a:lnTo>
                    <a:pt x="639" y="452"/>
                  </a:lnTo>
                  <a:lnTo>
                    <a:pt x="639" y="450"/>
                  </a:lnTo>
                  <a:lnTo>
                    <a:pt x="637" y="452"/>
                  </a:lnTo>
                  <a:lnTo>
                    <a:pt x="637" y="450"/>
                  </a:lnTo>
                  <a:lnTo>
                    <a:pt x="637" y="452"/>
                  </a:lnTo>
                  <a:lnTo>
                    <a:pt x="637" y="452"/>
                  </a:lnTo>
                  <a:lnTo>
                    <a:pt x="637" y="450"/>
                  </a:lnTo>
                  <a:lnTo>
                    <a:pt x="637" y="452"/>
                  </a:lnTo>
                  <a:lnTo>
                    <a:pt x="637" y="452"/>
                  </a:lnTo>
                  <a:lnTo>
                    <a:pt x="640" y="453"/>
                  </a:lnTo>
                  <a:lnTo>
                    <a:pt x="640" y="453"/>
                  </a:lnTo>
                  <a:lnTo>
                    <a:pt x="642" y="455"/>
                  </a:lnTo>
                  <a:lnTo>
                    <a:pt x="642" y="456"/>
                  </a:lnTo>
                  <a:lnTo>
                    <a:pt x="642" y="456"/>
                  </a:lnTo>
                  <a:lnTo>
                    <a:pt x="644" y="456"/>
                  </a:lnTo>
                  <a:lnTo>
                    <a:pt x="644" y="456"/>
                  </a:lnTo>
                  <a:lnTo>
                    <a:pt x="646" y="456"/>
                  </a:lnTo>
                  <a:lnTo>
                    <a:pt x="646" y="456"/>
                  </a:lnTo>
                  <a:lnTo>
                    <a:pt x="647" y="455"/>
                  </a:lnTo>
                  <a:lnTo>
                    <a:pt x="647" y="455"/>
                  </a:lnTo>
                  <a:lnTo>
                    <a:pt x="647" y="453"/>
                  </a:lnTo>
                  <a:lnTo>
                    <a:pt x="647" y="453"/>
                  </a:lnTo>
                  <a:lnTo>
                    <a:pt x="647" y="453"/>
                  </a:lnTo>
                  <a:lnTo>
                    <a:pt x="647" y="449"/>
                  </a:lnTo>
                  <a:lnTo>
                    <a:pt x="647" y="449"/>
                  </a:lnTo>
                  <a:lnTo>
                    <a:pt x="647" y="443"/>
                  </a:lnTo>
                  <a:lnTo>
                    <a:pt x="647" y="443"/>
                  </a:lnTo>
                  <a:lnTo>
                    <a:pt x="647" y="442"/>
                  </a:lnTo>
                  <a:lnTo>
                    <a:pt x="647" y="440"/>
                  </a:lnTo>
                  <a:lnTo>
                    <a:pt x="647" y="440"/>
                  </a:lnTo>
                  <a:lnTo>
                    <a:pt x="647" y="440"/>
                  </a:lnTo>
                  <a:lnTo>
                    <a:pt x="647" y="440"/>
                  </a:lnTo>
                  <a:lnTo>
                    <a:pt x="647" y="440"/>
                  </a:lnTo>
                  <a:lnTo>
                    <a:pt x="647" y="440"/>
                  </a:lnTo>
                  <a:lnTo>
                    <a:pt x="647" y="440"/>
                  </a:lnTo>
                  <a:lnTo>
                    <a:pt x="647" y="440"/>
                  </a:lnTo>
                  <a:lnTo>
                    <a:pt x="647" y="440"/>
                  </a:lnTo>
                  <a:lnTo>
                    <a:pt x="647" y="440"/>
                  </a:lnTo>
                  <a:lnTo>
                    <a:pt x="649" y="439"/>
                  </a:lnTo>
                  <a:lnTo>
                    <a:pt x="649" y="439"/>
                  </a:lnTo>
                  <a:lnTo>
                    <a:pt x="647" y="437"/>
                  </a:lnTo>
                  <a:lnTo>
                    <a:pt x="647" y="437"/>
                  </a:lnTo>
                  <a:lnTo>
                    <a:pt x="646" y="434"/>
                  </a:lnTo>
                  <a:lnTo>
                    <a:pt x="646" y="434"/>
                  </a:lnTo>
                  <a:lnTo>
                    <a:pt x="643" y="430"/>
                  </a:lnTo>
                  <a:lnTo>
                    <a:pt x="643" y="430"/>
                  </a:lnTo>
                  <a:lnTo>
                    <a:pt x="642" y="427"/>
                  </a:lnTo>
                  <a:lnTo>
                    <a:pt x="642" y="427"/>
                  </a:lnTo>
                  <a:lnTo>
                    <a:pt x="642" y="427"/>
                  </a:lnTo>
                  <a:lnTo>
                    <a:pt x="642" y="424"/>
                  </a:lnTo>
                  <a:lnTo>
                    <a:pt x="642" y="424"/>
                  </a:lnTo>
                  <a:lnTo>
                    <a:pt x="642" y="424"/>
                  </a:lnTo>
                  <a:lnTo>
                    <a:pt x="643" y="423"/>
                  </a:lnTo>
                  <a:lnTo>
                    <a:pt x="643" y="423"/>
                  </a:lnTo>
                  <a:lnTo>
                    <a:pt x="647" y="423"/>
                  </a:lnTo>
                  <a:lnTo>
                    <a:pt x="647" y="423"/>
                  </a:lnTo>
                  <a:lnTo>
                    <a:pt x="649" y="421"/>
                  </a:lnTo>
                  <a:lnTo>
                    <a:pt x="649" y="421"/>
                  </a:lnTo>
                  <a:lnTo>
                    <a:pt x="649" y="421"/>
                  </a:lnTo>
                  <a:lnTo>
                    <a:pt x="649" y="421"/>
                  </a:lnTo>
                  <a:lnTo>
                    <a:pt x="649" y="421"/>
                  </a:lnTo>
                  <a:lnTo>
                    <a:pt x="649" y="421"/>
                  </a:lnTo>
                  <a:lnTo>
                    <a:pt x="649" y="421"/>
                  </a:lnTo>
                  <a:lnTo>
                    <a:pt x="649" y="421"/>
                  </a:lnTo>
                  <a:lnTo>
                    <a:pt x="649" y="421"/>
                  </a:lnTo>
                  <a:lnTo>
                    <a:pt x="649" y="421"/>
                  </a:lnTo>
                  <a:lnTo>
                    <a:pt x="649" y="421"/>
                  </a:lnTo>
                  <a:lnTo>
                    <a:pt x="649" y="421"/>
                  </a:lnTo>
                  <a:lnTo>
                    <a:pt x="649" y="421"/>
                  </a:lnTo>
                  <a:lnTo>
                    <a:pt x="649" y="421"/>
                  </a:lnTo>
                  <a:lnTo>
                    <a:pt x="649" y="421"/>
                  </a:lnTo>
                  <a:lnTo>
                    <a:pt x="649" y="421"/>
                  </a:lnTo>
                  <a:lnTo>
                    <a:pt x="649" y="421"/>
                  </a:lnTo>
                  <a:lnTo>
                    <a:pt x="649" y="421"/>
                  </a:lnTo>
                  <a:lnTo>
                    <a:pt x="652" y="426"/>
                  </a:lnTo>
                  <a:lnTo>
                    <a:pt x="652" y="426"/>
                  </a:lnTo>
                  <a:lnTo>
                    <a:pt x="653" y="427"/>
                  </a:lnTo>
                  <a:lnTo>
                    <a:pt x="655" y="427"/>
                  </a:lnTo>
                  <a:lnTo>
                    <a:pt x="655" y="427"/>
                  </a:lnTo>
                  <a:lnTo>
                    <a:pt x="656" y="427"/>
                  </a:lnTo>
                  <a:lnTo>
                    <a:pt x="656" y="427"/>
                  </a:lnTo>
                  <a:lnTo>
                    <a:pt x="658" y="427"/>
                  </a:lnTo>
                  <a:lnTo>
                    <a:pt x="658" y="427"/>
                  </a:lnTo>
                  <a:lnTo>
                    <a:pt x="659" y="424"/>
                  </a:lnTo>
                  <a:lnTo>
                    <a:pt x="659" y="424"/>
                  </a:lnTo>
                  <a:lnTo>
                    <a:pt x="659" y="423"/>
                  </a:lnTo>
                  <a:lnTo>
                    <a:pt x="659" y="423"/>
                  </a:lnTo>
                  <a:lnTo>
                    <a:pt x="658" y="417"/>
                  </a:lnTo>
                  <a:lnTo>
                    <a:pt x="658" y="416"/>
                  </a:lnTo>
                  <a:lnTo>
                    <a:pt x="658" y="416"/>
                  </a:lnTo>
                  <a:lnTo>
                    <a:pt x="656" y="416"/>
                  </a:lnTo>
                  <a:lnTo>
                    <a:pt x="658" y="417"/>
                  </a:lnTo>
                  <a:lnTo>
                    <a:pt x="658" y="416"/>
                  </a:lnTo>
                  <a:lnTo>
                    <a:pt x="656" y="416"/>
                  </a:lnTo>
                  <a:lnTo>
                    <a:pt x="658" y="417"/>
                  </a:lnTo>
                  <a:lnTo>
                    <a:pt x="656" y="416"/>
                  </a:lnTo>
                  <a:lnTo>
                    <a:pt x="656" y="417"/>
                  </a:lnTo>
                  <a:lnTo>
                    <a:pt x="656" y="417"/>
                  </a:lnTo>
                  <a:lnTo>
                    <a:pt x="658" y="417"/>
                  </a:lnTo>
                  <a:lnTo>
                    <a:pt x="656" y="416"/>
                  </a:lnTo>
                  <a:lnTo>
                    <a:pt x="656" y="417"/>
                  </a:lnTo>
                  <a:lnTo>
                    <a:pt x="656" y="416"/>
                  </a:lnTo>
                  <a:lnTo>
                    <a:pt x="655" y="417"/>
                  </a:lnTo>
                  <a:lnTo>
                    <a:pt x="656" y="417"/>
                  </a:lnTo>
                  <a:lnTo>
                    <a:pt x="656" y="416"/>
                  </a:lnTo>
                  <a:lnTo>
                    <a:pt x="655" y="417"/>
                  </a:lnTo>
                  <a:lnTo>
                    <a:pt x="655" y="417"/>
                  </a:lnTo>
                  <a:lnTo>
                    <a:pt x="656" y="419"/>
                  </a:lnTo>
                  <a:lnTo>
                    <a:pt x="658" y="419"/>
                  </a:lnTo>
                  <a:lnTo>
                    <a:pt x="658" y="419"/>
                  </a:lnTo>
                  <a:lnTo>
                    <a:pt x="659" y="420"/>
                  </a:lnTo>
                  <a:lnTo>
                    <a:pt x="659" y="420"/>
                  </a:lnTo>
                  <a:lnTo>
                    <a:pt x="662" y="419"/>
                  </a:lnTo>
                  <a:lnTo>
                    <a:pt x="662" y="419"/>
                  </a:lnTo>
                  <a:lnTo>
                    <a:pt x="662" y="417"/>
                  </a:lnTo>
                  <a:lnTo>
                    <a:pt x="662" y="417"/>
                  </a:lnTo>
                  <a:lnTo>
                    <a:pt x="663" y="416"/>
                  </a:lnTo>
                  <a:lnTo>
                    <a:pt x="663" y="416"/>
                  </a:lnTo>
                  <a:lnTo>
                    <a:pt x="663" y="416"/>
                  </a:lnTo>
                  <a:lnTo>
                    <a:pt x="665" y="413"/>
                  </a:lnTo>
                  <a:lnTo>
                    <a:pt x="665" y="413"/>
                  </a:lnTo>
                  <a:lnTo>
                    <a:pt x="666" y="410"/>
                  </a:lnTo>
                  <a:lnTo>
                    <a:pt x="666" y="408"/>
                  </a:lnTo>
                  <a:lnTo>
                    <a:pt x="666" y="408"/>
                  </a:lnTo>
                  <a:lnTo>
                    <a:pt x="666" y="406"/>
                  </a:lnTo>
                  <a:lnTo>
                    <a:pt x="666" y="406"/>
                  </a:lnTo>
                  <a:lnTo>
                    <a:pt x="665" y="403"/>
                  </a:lnTo>
                  <a:lnTo>
                    <a:pt x="665" y="403"/>
                  </a:lnTo>
                  <a:lnTo>
                    <a:pt x="665" y="400"/>
                  </a:lnTo>
                  <a:lnTo>
                    <a:pt x="665" y="400"/>
                  </a:lnTo>
                  <a:lnTo>
                    <a:pt x="665" y="398"/>
                  </a:lnTo>
                  <a:lnTo>
                    <a:pt x="665" y="398"/>
                  </a:lnTo>
                  <a:lnTo>
                    <a:pt x="665" y="400"/>
                  </a:lnTo>
                  <a:lnTo>
                    <a:pt x="665" y="398"/>
                  </a:lnTo>
                  <a:lnTo>
                    <a:pt x="665" y="398"/>
                  </a:lnTo>
                  <a:lnTo>
                    <a:pt x="665" y="400"/>
                  </a:lnTo>
                  <a:lnTo>
                    <a:pt x="663" y="398"/>
                  </a:lnTo>
                  <a:lnTo>
                    <a:pt x="665" y="400"/>
                  </a:lnTo>
                  <a:lnTo>
                    <a:pt x="665" y="400"/>
                  </a:lnTo>
                  <a:lnTo>
                    <a:pt x="663" y="398"/>
                  </a:lnTo>
                  <a:lnTo>
                    <a:pt x="665" y="400"/>
                  </a:lnTo>
                  <a:lnTo>
                    <a:pt x="663" y="398"/>
                  </a:lnTo>
                  <a:lnTo>
                    <a:pt x="663" y="400"/>
                  </a:lnTo>
                  <a:lnTo>
                    <a:pt x="665" y="400"/>
                  </a:lnTo>
                  <a:lnTo>
                    <a:pt x="663" y="398"/>
                  </a:lnTo>
                  <a:lnTo>
                    <a:pt x="663" y="400"/>
                  </a:lnTo>
                  <a:lnTo>
                    <a:pt x="663" y="398"/>
                  </a:lnTo>
                  <a:lnTo>
                    <a:pt x="663" y="400"/>
                  </a:lnTo>
                  <a:lnTo>
                    <a:pt x="663" y="400"/>
                  </a:lnTo>
                  <a:lnTo>
                    <a:pt x="663" y="398"/>
                  </a:lnTo>
                  <a:lnTo>
                    <a:pt x="663" y="400"/>
                  </a:lnTo>
                  <a:lnTo>
                    <a:pt x="663" y="400"/>
                  </a:lnTo>
                  <a:lnTo>
                    <a:pt x="663" y="400"/>
                  </a:lnTo>
                  <a:lnTo>
                    <a:pt x="663" y="400"/>
                  </a:lnTo>
                  <a:lnTo>
                    <a:pt x="666" y="403"/>
                  </a:lnTo>
                  <a:lnTo>
                    <a:pt x="666" y="403"/>
                  </a:lnTo>
                  <a:lnTo>
                    <a:pt x="668" y="404"/>
                  </a:lnTo>
                  <a:lnTo>
                    <a:pt x="668" y="404"/>
                  </a:lnTo>
                  <a:lnTo>
                    <a:pt x="671" y="404"/>
                  </a:lnTo>
                  <a:lnTo>
                    <a:pt x="671" y="404"/>
                  </a:lnTo>
                  <a:lnTo>
                    <a:pt x="673" y="403"/>
                  </a:lnTo>
                  <a:lnTo>
                    <a:pt x="673" y="403"/>
                  </a:lnTo>
                  <a:lnTo>
                    <a:pt x="673" y="403"/>
                  </a:lnTo>
                  <a:lnTo>
                    <a:pt x="675" y="403"/>
                  </a:lnTo>
                  <a:lnTo>
                    <a:pt x="675" y="403"/>
                  </a:lnTo>
                  <a:lnTo>
                    <a:pt x="678" y="406"/>
                  </a:lnTo>
                  <a:lnTo>
                    <a:pt x="678" y="406"/>
                  </a:lnTo>
                  <a:lnTo>
                    <a:pt x="679" y="406"/>
                  </a:lnTo>
                  <a:lnTo>
                    <a:pt x="682" y="407"/>
                  </a:lnTo>
                  <a:lnTo>
                    <a:pt x="684" y="407"/>
                  </a:lnTo>
                  <a:lnTo>
                    <a:pt x="684" y="407"/>
                  </a:lnTo>
                  <a:lnTo>
                    <a:pt x="684" y="406"/>
                  </a:lnTo>
                  <a:lnTo>
                    <a:pt x="684" y="407"/>
                  </a:lnTo>
                  <a:lnTo>
                    <a:pt x="684" y="407"/>
                  </a:lnTo>
                  <a:lnTo>
                    <a:pt x="684" y="406"/>
                  </a:lnTo>
                  <a:lnTo>
                    <a:pt x="684" y="407"/>
                  </a:lnTo>
                  <a:lnTo>
                    <a:pt x="684" y="406"/>
                  </a:lnTo>
                  <a:lnTo>
                    <a:pt x="682" y="406"/>
                  </a:lnTo>
                  <a:lnTo>
                    <a:pt x="684" y="407"/>
                  </a:lnTo>
                  <a:lnTo>
                    <a:pt x="684" y="406"/>
                  </a:lnTo>
                  <a:lnTo>
                    <a:pt x="682" y="406"/>
                  </a:lnTo>
                  <a:lnTo>
                    <a:pt x="684" y="406"/>
                  </a:lnTo>
                  <a:lnTo>
                    <a:pt x="682" y="406"/>
                  </a:lnTo>
                  <a:lnTo>
                    <a:pt x="682" y="406"/>
                  </a:lnTo>
                  <a:lnTo>
                    <a:pt x="684" y="406"/>
                  </a:lnTo>
                  <a:lnTo>
                    <a:pt x="682" y="406"/>
                  </a:lnTo>
                  <a:lnTo>
                    <a:pt x="682" y="406"/>
                  </a:lnTo>
                  <a:lnTo>
                    <a:pt x="682" y="406"/>
                  </a:lnTo>
                  <a:lnTo>
                    <a:pt x="681" y="408"/>
                  </a:lnTo>
                  <a:lnTo>
                    <a:pt x="681" y="408"/>
                  </a:lnTo>
                  <a:lnTo>
                    <a:pt x="678" y="413"/>
                  </a:lnTo>
                  <a:lnTo>
                    <a:pt x="678" y="413"/>
                  </a:lnTo>
                  <a:lnTo>
                    <a:pt x="675" y="417"/>
                  </a:lnTo>
                  <a:lnTo>
                    <a:pt x="675" y="417"/>
                  </a:lnTo>
                  <a:lnTo>
                    <a:pt x="673" y="424"/>
                  </a:lnTo>
                  <a:lnTo>
                    <a:pt x="673" y="424"/>
                  </a:lnTo>
                  <a:lnTo>
                    <a:pt x="672" y="429"/>
                  </a:lnTo>
                  <a:lnTo>
                    <a:pt x="672" y="429"/>
                  </a:lnTo>
                  <a:lnTo>
                    <a:pt x="671" y="432"/>
                  </a:lnTo>
                  <a:lnTo>
                    <a:pt x="671" y="432"/>
                  </a:lnTo>
                  <a:lnTo>
                    <a:pt x="668" y="442"/>
                  </a:lnTo>
                  <a:lnTo>
                    <a:pt x="668" y="442"/>
                  </a:lnTo>
                  <a:lnTo>
                    <a:pt x="669" y="445"/>
                  </a:lnTo>
                  <a:lnTo>
                    <a:pt x="669" y="445"/>
                  </a:lnTo>
                  <a:lnTo>
                    <a:pt x="669" y="446"/>
                  </a:lnTo>
                  <a:lnTo>
                    <a:pt x="669" y="446"/>
                  </a:lnTo>
                  <a:lnTo>
                    <a:pt x="672" y="448"/>
                  </a:lnTo>
                  <a:lnTo>
                    <a:pt x="672" y="448"/>
                  </a:lnTo>
                  <a:lnTo>
                    <a:pt x="673" y="448"/>
                  </a:lnTo>
                  <a:lnTo>
                    <a:pt x="673" y="448"/>
                  </a:lnTo>
                  <a:lnTo>
                    <a:pt x="675" y="446"/>
                  </a:lnTo>
                  <a:lnTo>
                    <a:pt x="675" y="446"/>
                  </a:lnTo>
                  <a:lnTo>
                    <a:pt x="678" y="440"/>
                  </a:lnTo>
                  <a:lnTo>
                    <a:pt x="681" y="433"/>
                  </a:lnTo>
                  <a:lnTo>
                    <a:pt x="681" y="433"/>
                  </a:lnTo>
                  <a:lnTo>
                    <a:pt x="682" y="427"/>
                  </a:lnTo>
                  <a:lnTo>
                    <a:pt x="682" y="427"/>
                  </a:lnTo>
                  <a:lnTo>
                    <a:pt x="684" y="423"/>
                  </a:lnTo>
                  <a:lnTo>
                    <a:pt x="684" y="423"/>
                  </a:lnTo>
                  <a:lnTo>
                    <a:pt x="688" y="414"/>
                  </a:lnTo>
                  <a:lnTo>
                    <a:pt x="688" y="414"/>
                  </a:lnTo>
                  <a:lnTo>
                    <a:pt x="694" y="406"/>
                  </a:lnTo>
                  <a:lnTo>
                    <a:pt x="694" y="406"/>
                  </a:lnTo>
                  <a:lnTo>
                    <a:pt x="700" y="400"/>
                  </a:lnTo>
                  <a:lnTo>
                    <a:pt x="700" y="400"/>
                  </a:lnTo>
                  <a:lnTo>
                    <a:pt x="701" y="398"/>
                  </a:lnTo>
                  <a:lnTo>
                    <a:pt x="701" y="397"/>
                  </a:lnTo>
                  <a:lnTo>
                    <a:pt x="701" y="397"/>
                  </a:lnTo>
                  <a:lnTo>
                    <a:pt x="701" y="395"/>
                  </a:lnTo>
                  <a:lnTo>
                    <a:pt x="701" y="397"/>
                  </a:lnTo>
                  <a:lnTo>
                    <a:pt x="701" y="397"/>
                  </a:lnTo>
                  <a:lnTo>
                    <a:pt x="701" y="397"/>
                  </a:lnTo>
                  <a:lnTo>
                    <a:pt x="701" y="395"/>
                  </a:lnTo>
                  <a:lnTo>
                    <a:pt x="701" y="397"/>
                  </a:lnTo>
                  <a:lnTo>
                    <a:pt x="701" y="395"/>
                  </a:lnTo>
                  <a:lnTo>
                    <a:pt x="700" y="397"/>
                  </a:lnTo>
                  <a:lnTo>
                    <a:pt x="700" y="397"/>
                  </a:lnTo>
                  <a:lnTo>
                    <a:pt x="701" y="397"/>
                  </a:lnTo>
                  <a:lnTo>
                    <a:pt x="701" y="395"/>
                  </a:lnTo>
                  <a:lnTo>
                    <a:pt x="700" y="397"/>
                  </a:lnTo>
                  <a:lnTo>
                    <a:pt x="701" y="395"/>
                  </a:lnTo>
                  <a:lnTo>
                    <a:pt x="698" y="395"/>
                  </a:lnTo>
                  <a:lnTo>
                    <a:pt x="698" y="395"/>
                  </a:lnTo>
                  <a:lnTo>
                    <a:pt x="700" y="397"/>
                  </a:lnTo>
                  <a:lnTo>
                    <a:pt x="701" y="395"/>
                  </a:lnTo>
                  <a:lnTo>
                    <a:pt x="698" y="395"/>
                  </a:lnTo>
                  <a:lnTo>
                    <a:pt x="700" y="395"/>
                  </a:lnTo>
                  <a:lnTo>
                    <a:pt x="698" y="395"/>
                  </a:lnTo>
                  <a:lnTo>
                    <a:pt x="698" y="395"/>
                  </a:lnTo>
                  <a:lnTo>
                    <a:pt x="700" y="395"/>
                  </a:lnTo>
                  <a:lnTo>
                    <a:pt x="698" y="395"/>
                  </a:lnTo>
                  <a:lnTo>
                    <a:pt x="698" y="395"/>
                  </a:lnTo>
                  <a:lnTo>
                    <a:pt x="698" y="395"/>
                  </a:lnTo>
                  <a:lnTo>
                    <a:pt x="698" y="395"/>
                  </a:lnTo>
                  <a:lnTo>
                    <a:pt x="698" y="395"/>
                  </a:lnTo>
                  <a:lnTo>
                    <a:pt x="698" y="395"/>
                  </a:lnTo>
                  <a:lnTo>
                    <a:pt x="698" y="395"/>
                  </a:lnTo>
                  <a:lnTo>
                    <a:pt x="698" y="395"/>
                  </a:lnTo>
                  <a:lnTo>
                    <a:pt x="698" y="395"/>
                  </a:lnTo>
                  <a:lnTo>
                    <a:pt x="698" y="395"/>
                  </a:lnTo>
                  <a:lnTo>
                    <a:pt x="698" y="397"/>
                  </a:lnTo>
                  <a:lnTo>
                    <a:pt x="698" y="397"/>
                  </a:lnTo>
                  <a:lnTo>
                    <a:pt x="695" y="408"/>
                  </a:lnTo>
                  <a:lnTo>
                    <a:pt x="694" y="420"/>
                  </a:lnTo>
                  <a:lnTo>
                    <a:pt x="694" y="420"/>
                  </a:lnTo>
                  <a:lnTo>
                    <a:pt x="695" y="424"/>
                  </a:lnTo>
                  <a:lnTo>
                    <a:pt x="695" y="424"/>
                  </a:lnTo>
                  <a:lnTo>
                    <a:pt x="695" y="426"/>
                  </a:lnTo>
                  <a:lnTo>
                    <a:pt x="695" y="426"/>
                  </a:lnTo>
                  <a:lnTo>
                    <a:pt x="698" y="427"/>
                  </a:lnTo>
                  <a:lnTo>
                    <a:pt x="700" y="427"/>
                  </a:lnTo>
                  <a:lnTo>
                    <a:pt x="700" y="427"/>
                  </a:lnTo>
                  <a:lnTo>
                    <a:pt x="701" y="426"/>
                  </a:lnTo>
                  <a:lnTo>
                    <a:pt x="704" y="426"/>
                  </a:lnTo>
                  <a:lnTo>
                    <a:pt x="704" y="426"/>
                  </a:lnTo>
                  <a:lnTo>
                    <a:pt x="705" y="423"/>
                  </a:lnTo>
                  <a:lnTo>
                    <a:pt x="705" y="423"/>
                  </a:lnTo>
                  <a:lnTo>
                    <a:pt x="707" y="419"/>
                  </a:lnTo>
                  <a:lnTo>
                    <a:pt x="707" y="419"/>
                  </a:lnTo>
                  <a:lnTo>
                    <a:pt x="708" y="408"/>
                  </a:lnTo>
                  <a:lnTo>
                    <a:pt x="708" y="408"/>
                  </a:lnTo>
                  <a:lnTo>
                    <a:pt x="711" y="403"/>
                  </a:lnTo>
                  <a:lnTo>
                    <a:pt x="711" y="403"/>
                  </a:lnTo>
                  <a:lnTo>
                    <a:pt x="713" y="400"/>
                  </a:lnTo>
                  <a:lnTo>
                    <a:pt x="713" y="400"/>
                  </a:lnTo>
                  <a:lnTo>
                    <a:pt x="713" y="400"/>
                  </a:lnTo>
                  <a:lnTo>
                    <a:pt x="715" y="400"/>
                  </a:lnTo>
                  <a:lnTo>
                    <a:pt x="715" y="400"/>
                  </a:lnTo>
                  <a:lnTo>
                    <a:pt x="718" y="400"/>
                  </a:lnTo>
                  <a:lnTo>
                    <a:pt x="718" y="400"/>
                  </a:lnTo>
                  <a:lnTo>
                    <a:pt x="720" y="400"/>
                  </a:lnTo>
                  <a:lnTo>
                    <a:pt x="723" y="398"/>
                  </a:lnTo>
                  <a:lnTo>
                    <a:pt x="723" y="398"/>
                  </a:lnTo>
                  <a:lnTo>
                    <a:pt x="723" y="398"/>
                  </a:lnTo>
                  <a:lnTo>
                    <a:pt x="723" y="398"/>
                  </a:lnTo>
                  <a:lnTo>
                    <a:pt x="723" y="398"/>
                  </a:lnTo>
                  <a:lnTo>
                    <a:pt x="723" y="398"/>
                  </a:lnTo>
                  <a:lnTo>
                    <a:pt x="723" y="398"/>
                  </a:lnTo>
                  <a:lnTo>
                    <a:pt x="723" y="398"/>
                  </a:lnTo>
                  <a:lnTo>
                    <a:pt x="723" y="398"/>
                  </a:lnTo>
                  <a:lnTo>
                    <a:pt x="723" y="398"/>
                  </a:lnTo>
                  <a:lnTo>
                    <a:pt x="723" y="398"/>
                  </a:lnTo>
                  <a:lnTo>
                    <a:pt x="723" y="398"/>
                  </a:lnTo>
                  <a:lnTo>
                    <a:pt x="723" y="398"/>
                  </a:lnTo>
                  <a:lnTo>
                    <a:pt x="721" y="398"/>
                  </a:lnTo>
                  <a:lnTo>
                    <a:pt x="723" y="398"/>
                  </a:lnTo>
                  <a:lnTo>
                    <a:pt x="723" y="398"/>
                  </a:lnTo>
                  <a:lnTo>
                    <a:pt x="721" y="398"/>
                  </a:lnTo>
                  <a:lnTo>
                    <a:pt x="721" y="398"/>
                  </a:lnTo>
                  <a:lnTo>
                    <a:pt x="723" y="401"/>
                  </a:lnTo>
                  <a:lnTo>
                    <a:pt x="724" y="401"/>
                  </a:lnTo>
                  <a:lnTo>
                    <a:pt x="724" y="403"/>
                  </a:lnTo>
                  <a:lnTo>
                    <a:pt x="724" y="403"/>
                  </a:lnTo>
                  <a:lnTo>
                    <a:pt x="724" y="403"/>
                  </a:lnTo>
                  <a:lnTo>
                    <a:pt x="721" y="407"/>
                  </a:lnTo>
                  <a:lnTo>
                    <a:pt x="721" y="407"/>
                  </a:lnTo>
                  <a:lnTo>
                    <a:pt x="718" y="411"/>
                  </a:lnTo>
                  <a:lnTo>
                    <a:pt x="718" y="411"/>
                  </a:lnTo>
                  <a:lnTo>
                    <a:pt x="718" y="411"/>
                  </a:lnTo>
                  <a:lnTo>
                    <a:pt x="715" y="414"/>
                  </a:lnTo>
                  <a:lnTo>
                    <a:pt x="715" y="414"/>
                  </a:lnTo>
                  <a:lnTo>
                    <a:pt x="715" y="417"/>
                  </a:lnTo>
                  <a:lnTo>
                    <a:pt x="715" y="417"/>
                  </a:lnTo>
                  <a:lnTo>
                    <a:pt x="715" y="420"/>
                  </a:lnTo>
                  <a:lnTo>
                    <a:pt x="715" y="420"/>
                  </a:lnTo>
                  <a:lnTo>
                    <a:pt x="720" y="420"/>
                  </a:lnTo>
                  <a:lnTo>
                    <a:pt x="720" y="420"/>
                  </a:lnTo>
                  <a:lnTo>
                    <a:pt x="721" y="420"/>
                  </a:lnTo>
                  <a:lnTo>
                    <a:pt x="721" y="420"/>
                  </a:lnTo>
                  <a:lnTo>
                    <a:pt x="723" y="420"/>
                  </a:lnTo>
                  <a:lnTo>
                    <a:pt x="723" y="419"/>
                  </a:lnTo>
                  <a:lnTo>
                    <a:pt x="723" y="420"/>
                  </a:lnTo>
                  <a:lnTo>
                    <a:pt x="723" y="420"/>
                  </a:lnTo>
                  <a:lnTo>
                    <a:pt x="723" y="420"/>
                  </a:lnTo>
                  <a:lnTo>
                    <a:pt x="723" y="420"/>
                  </a:lnTo>
                  <a:lnTo>
                    <a:pt x="723" y="420"/>
                  </a:lnTo>
                  <a:lnTo>
                    <a:pt x="723" y="419"/>
                  </a:lnTo>
                  <a:lnTo>
                    <a:pt x="723" y="420"/>
                  </a:lnTo>
                  <a:lnTo>
                    <a:pt x="724" y="419"/>
                  </a:lnTo>
                  <a:lnTo>
                    <a:pt x="721" y="420"/>
                  </a:lnTo>
                  <a:lnTo>
                    <a:pt x="723" y="420"/>
                  </a:lnTo>
                  <a:lnTo>
                    <a:pt x="724" y="419"/>
                  </a:lnTo>
                  <a:lnTo>
                    <a:pt x="721" y="420"/>
                  </a:lnTo>
                  <a:lnTo>
                    <a:pt x="724" y="419"/>
                  </a:lnTo>
                  <a:lnTo>
                    <a:pt x="721" y="419"/>
                  </a:lnTo>
                  <a:lnTo>
                    <a:pt x="721" y="420"/>
                  </a:lnTo>
                  <a:lnTo>
                    <a:pt x="724" y="419"/>
                  </a:lnTo>
                  <a:lnTo>
                    <a:pt x="721" y="419"/>
                  </a:lnTo>
                  <a:lnTo>
                    <a:pt x="723" y="419"/>
                  </a:lnTo>
                  <a:lnTo>
                    <a:pt x="721" y="417"/>
                  </a:lnTo>
                  <a:lnTo>
                    <a:pt x="721" y="417"/>
                  </a:lnTo>
                  <a:lnTo>
                    <a:pt x="721" y="419"/>
                  </a:lnTo>
                  <a:lnTo>
                    <a:pt x="723" y="419"/>
                  </a:lnTo>
                  <a:lnTo>
                    <a:pt x="721" y="417"/>
                  </a:lnTo>
                  <a:lnTo>
                    <a:pt x="721" y="417"/>
                  </a:lnTo>
                  <a:lnTo>
                    <a:pt x="721" y="417"/>
                  </a:lnTo>
                  <a:lnTo>
                    <a:pt x="721" y="417"/>
                  </a:lnTo>
                  <a:lnTo>
                    <a:pt x="721" y="417"/>
                  </a:lnTo>
                  <a:lnTo>
                    <a:pt x="721" y="417"/>
                  </a:lnTo>
                  <a:lnTo>
                    <a:pt x="721" y="417"/>
                  </a:lnTo>
                  <a:lnTo>
                    <a:pt x="721" y="417"/>
                  </a:lnTo>
                  <a:lnTo>
                    <a:pt x="720" y="420"/>
                  </a:lnTo>
                  <a:lnTo>
                    <a:pt x="720" y="420"/>
                  </a:lnTo>
                  <a:lnTo>
                    <a:pt x="718" y="423"/>
                  </a:lnTo>
                  <a:lnTo>
                    <a:pt x="718" y="423"/>
                  </a:lnTo>
                  <a:lnTo>
                    <a:pt x="720" y="426"/>
                  </a:lnTo>
                  <a:lnTo>
                    <a:pt x="720" y="426"/>
                  </a:lnTo>
                  <a:lnTo>
                    <a:pt x="723" y="427"/>
                  </a:lnTo>
                  <a:lnTo>
                    <a:pt x="723" y="427"/>
                  </a:lnTo>
                  <a:lnTo>
                    <a:pt x="724" y="426"/>
                  </a:lnTo>
                  <a:lnTo>
                    <a:pt x="724" y="426"/>
                  </a:lnTo>
                  <a:lnTo>
                    <a:pt x="728" y="423"/>
                  </a:lnTo>
                  <a:lnTo>
                    <a:pt x="728" y="423"/>
                  </a:lnTo>
                  <a:lnTo>
                    <a:pt x="730" y="417"/>
                  </a:lnTo>
                  <a:lnTo>
                    <a:pt x="730" y="417"/>
                  </a:lnTo>
                  <a:lnTo>
                    <a:pt x="731" y="414"/>
                  </a:lnTo>
                  <a:lnTo>
                    <a:pt x="731" y="413"/>
                  </a:lnTo>
                  <a:lnTo>
                    <a:pt x="731" y="414"/>
                  </a:lnTo>
                  <a:lnTo>
                    <a:pt x="731" y="414"/>
                  </a:lnTo>
                  <a:lnTo>
                    <a:pt x="734" y="410"/>
                  </a:lnTo>
                  <a:lnTo>
                    <a:pt x="734" y="410"/>
                  </a:lnTo>
                  <a:lnTo>
                    <a:pt x="736" y="408"/>
                  </a:lnTo>
                  <a:lnTo>
                    <a:pt x="736" y="408"/>
                  </a:lnTo>
                  <a:lnTo>
                    <a:pt x="736" y="408"/>
                  </a:lnTo>
                  <a:lnTo>
                    <a:pt x="737" y="410"/>
                  </a:lnTo>
                  <a:lnTo>
                    <a:pt x="737" y="410"/>
                  </a:lnTo>
                  <a:lnTo>
                    <a:pt x="737" y="410"/>
                  </a:lnTo>
                  <a:lnTo>
                    <a:pt x="737" y="410"/>
                  </a:lnTo>
                  <a:lnTo>
                    <a:pt x="739" y="411"/>
                  </a:lnTo>
                  <a:lnTo>
                    <a:pt x="739" y="414"/>
                  </a:lnTo>
                  <a:lnTo>
                    <a:pt x="739" y="414"/>
                  </a:lnTo>
                  <a:lnTo>
                    <a:pt x="740" y="417"/>
                  </a:lnTo>
                  <a:lnTo>
                    <a:pt x="740" y="417"/>
                  </a:lnTo>
                  <a:lnTo>
                    <a:pt x="742" y="419"/>
                  </a:lnTo>
                  <a:lnTo>
                    <a:pt x="742" y="419"/>
                  </a:lnTo>
                  <a:lnTo>
                    <a:pt x="743" y="420"/>
                  </a:lnTo>
                  <a:lnTo>
                    <a:pt x="743" y="420"/>
                  </a:lnTo>
                  <a:lnTo>
                    <a:pt x="746" y="419"/>
                  </a:lnTo>
                  <a:lnTo>
                    <a:pt x="746" y="419"/>
                  </a:lnTo>
                  <a:lnTo>
                    <a:pt x="747" y="419"/>
                  </a:lnTo>
                  <a:lnTo>
                    <a:pt x="747" y="419"/>
                  </a:lnTo>
                  <a:lnTo>
                    <a:pt x="746" y="419"/>
                  </a:lnTo>
                  <a:lnTo>
                    <a:pt x="747" y="419"/>
                  </a:lnTo>
                  <a:lnTo>
                    <a:pt x="747" y="419"/>
                  </a:lnTo>
                  <a:lnTo>
                    <a:pt x="746" y="419"/>
                  </a:lnTo>
                  <a:lnTo>
                    <a:pt x="747" y="419"/>
                  </a:lnTo>
                  <a:lnTo>
                    <a:pt x="746" y="419"/>
                  </a:lnTo>
                  <a:lnTo>
                    <a:pt x="746" y="419"/>
                  </a:lnTo>
                  <a:lnTo>
                    <a:pt x="747" y="419"/>
                  </a:lnTo>
                  <a:lnTo>
                    <a:pt x="746" y="419"/>
                  </a:lnTo>
                  <a:lnTo>
                    <a:pt x="746" y="419"/>
                  </a:lnTo>
                  <a:lnTo>
                    <a:pt x="749" y="420"/>
                  </a:lnTo>
                  <a:lnTo>
                    <a:pt x="749" y="420"/>
                  </a:lnTo>
                  <a:lnTo>
                    <a:pt x="753" y="421"/>
                  </a:lnTo>
                  <a:lnTo>
                    <a:pt x="753" y="421"/>
                  </a:lnTo>
                  <a:lnTo>
                    <a:pt x="755" y="423"/>
                  </a:lnTo>
                  <a:lnTo>
                    <a:pt x="755" y="423"/>
                  </a:lnTo>
                  <a:lnTo>
                    <a:pt x="757" y="427"/>
                  </a:lnTo>
                  <a:lnTo>
                    <a:pt x="757" y="427"/>
                  </a:lnTo>
                  <a:lnTo>
                    <a:pt x="760" y="429"/>
                  </a:lnTo>
                  <a:lnTo>
                    <a:pt x="760" y="429"/>
                  </a:lnTo>
                  <a:lnTo>
                    <a:pt x="765" y="430"/>
                  </a:lnTo>
                  <a:lnTo>
                    <a:pt x="765" y="430"/>
                  </a:lnTo>
                  <a:lnTo>
                    <a:pt x="766" y="430"/>
                  </a:lnTo>
                  <a:lnTo>
                    <a:pt x="766" y="430"/>
                  </a:lnTo>
                  <a:lnTo>
                    <a:pt x="768" y="432"/>
                  </a:lnTo>
                  <a:lnTo>
                    <a:pt x="768" y="432"/>
                  </a:lnTo>
                  <a:lnTo>
                    <a:pt x="766" y="433"/>
                  </a:lnTo>
                  <a:lnTo>
                    <a:pt x="766" y="433"/>
                  </a:lnTo>
                  <a:lnTo>
                    <a:pt x="762" y="437"/>
                  </a:lnTo>
                  <a:lnTo>
                    <a:pt x="762" y="437"/>
                  </a:lnTo>
                  <a:lnTo>
                    <a:pt x="756" y="442"/>
                  </a:lnTo>
                  <a:lnTo>
                    <a:pt x="756" y="442"/>
                  </a:lnTo>
                  <a:lnTo>
                    <a:pt x="755" y="443"/>
                  </a:lnTo>
                  <a:lnTo>
                    <a:pt x="755" y="443"/>
                  </a:lnTo>
                  <a:lnTo>
                    <a:pt x="752" y="445"/>
                  </a:lnTo>
                  <a:lnTo>
                    <a:pt x="752" y="445"/>
                  </a:lnTo>
                  <a:lnTo>
                    <a:pt x="747" y="443"/>
                  </a:lnTo>
                  <a:lnTo>
                    <a:pt x="747" y="443"/>
                  </a:lnTo>
                  <a:lnTo>
                    <a:pt x="734" y="442"/>
                  </a:lnTo>
                  <a:lnTo>
                    <a:pt x="734" y="442"/>
                  </a:lnTo>
                  <a:lnTo>
                    <a:pt x="731" y="442"/>
                  </a:lnTo>
                  <a:lnTo>
                    <a:pt x="731" y="442"/>
                  </a:lnTo>
                  <a:lnTo>
                    <a:pt x="730" y="443"/>
                  </a:lnTo>
                  <a:lnTo>
                    <a:pt x="730" y="443"/>
                  </a:lnTo>
                  <a:lnTo>
                    <a:pt x="728" y="445"/>
                  </a:lnTo>
                  <a:lnTo>
                    <a:pt x="728" y="445"/>
                  </a:lnTo>
                  <a:lnTo>
                    <a:pt x="730" y="446"/>
                  </a:lnTo>
                  <a:lnTo>
                    <a:pt x="730" y="448"/>
                  </a:lnTo>
                  <a:lnTo>
                    <a:pt x="730" y="448"/>
                  </a:lnTo>
                  <a:lnTo>
                    <a:pt x="734" y="450"/>
                  </a:lnTo>
                  <a:lnTo>
                    <a:pt x="734" y="450"/>
                  </a:lnTo>
                  <a:lnTo>
                    <a:pt x="743" y="453"/>
                  </a:lnTo>
                  <a:lnTo>
                    <a:pt x="743" y="453"/>
                  </a:lnTo>
                  <a:lnTo>
                    <a:pt x="744" y="455"/>
                  </a:lnTo>
                  <a:lnTo>
                    <a:pt x="746" y="455"/>
                  </a:lnTo>
                  <a:lnTo>
                    <a:pt x="746" y="455"/>
                  </a:lnTo>
                  <a:lnTo>
                    <a:pt x="746" y="455"/>
                  </a:lnTo>
                  <a:lnTo>
                    <a:pt x="746" y="455"/>
                  </a:lnTo>
                  <a:lnTo>
                    <a:pt x="746" y="455"/>
                  </a:lnTo>
                  <a:lnTo>
                    <a:pt x="746" y="455"/>
                  </a:lnTo>
                  <a:lnTo>
                    <a:pt x="746" y="455"/>
                  </a:lnTo>
                  <a:lnTo>
                    <a:pt x="746" y="455"/>
                  </a:lnTo>
                  <a:lnTo>
                    <a:pt x="744" y="455"/>
                  </a:lnTo>
                  <a:lnTo>
                    <a:pt x="746" y="455"/>
                  </a:lnTo>
                  <a:lnTo>
                    <a:pt x="746" y="455"/>
                  </a:lnTo>
                  <a:lnTo>
                    <a:pt x="744" y="455"/>
                  </a:lnTo>
                  <a:lnTo>
                    <a:pt x="744" y="455"/>
                  </a:lnTo>
                  <a:lnTo>
                    <a:pt x="746" y="456"/>
                  </a:lnTo>
                  <a:lnTo>
                    <a:pt x="747" y="459"/>
                  </a:lnTo>
                  <a:lnTo>
                    <a:pt x="747" y="459"/>
                  </a:lnTo>
                  <a:lnTo>
                    <a:pt x="753" y="462"/>
                  </a:lnTo>
                  <a:lnTo>
                    <a:pt x="753" y="462"/>
                  </a:lnTo>
                  <a:lnTo>
                    <a:pt x="763" y="465"/>
                  </a:lnTo>
                  <a:lnTo>
                    <a:pt x="763" y="465"/>
                  </a:lnTo>
                  <a:lnTo>
                    <a:pt x="770" y="465"/>
                  </a:lnTo>
                  <a:lnTo>
                    <a:pt x="770" y="465"/>
                  </a:lnTo>
                  <a:lnTo>
                    <a:pt x="778" y="463"/>
                  </a:lnTo>
                  <a:lnTo>
                    <a:pt x="778" y="463"/>
                  </a:lnTo>
                  <a:lnTo>
                    <a:pt x="781" y="462"/>
                  </a:lnTo>
                  <a:lnTo>
                    <a:pt x="784" y="459"/>
                  </a:lnTo>
                  <a:lnTo>
                    <a:pt x="784" y="459"/>
                  </a:lnTo>
                  <a:lnTo>
                    <a:pt x="785" y="458"/>
                  </a:lnTo>
                  <a:lnTo>
                    <a:pt x="785" y="458"/>
                  </a:lnTo>
                  <a:lnTo>
                    <a:pt x="788" y="458"/>
                  </a:lnTo>
                  <a:lnTo>
                    <a:pt x="788" y="458"/>
                  </a:lnTo>
                  <a:lnTo>
                    <a:pt x="794" y="459"/>
                  </a:lnTo>
                  <a:lnTo>
                    <a:pt x="799" y="462"/>
                  </a:lnTo>
                  <a:lnTo>
                    <a:pt x="799" y="462"/>
                  </a:lnTo>
                  <a:lnTo>
                    <a:pt x="799" y="462"/>
                  </a:lnTo>
                  <a:lnTo>
                    <a:pt x="801" y="462"/>
                  </a:lnTo>
                  <a:lnTo>
                    <a:pt x="801" y="462"/>
                  </a:lnTo>
                  <a:lnTo>
                    <a:pt x="799" y="463"/>
                  </a:lnTo>
                  <a:lnTo>
                    <a:pt x="799" y="463"/>
                  </a:lnTo>
                  <a:lnTo>
                    <a:pt x="795" y="466"/>
                  </a:lnTo>
                  <a:lnTo>
                    <a:pt x="795" y="466"/>
                  </a:lnTo>
                  <a:lnTo>
                    <a:pt x="792" y="468"/>
                  </a:lnTo>
                  <a:lnTo>
                    <a:pt x="792" y="468"/>
                  </a:lnTo>
                  <a:lnTo>
                    <a:pt x="791" y="468"/>
                  </a:lnTo>
                  <a:lnTo>
                    <a:pt x="791" y="468"/>
                  </a:lnTo>
                  <a:lnTo>
                    <a:pt x="789" y="468"/>
                  </a:lnTo>
                  <a:lnTo>
                    <a:pt x="789" y="468"/>
                  </a:lnTo>
                  <a:lnTo>
                    <a:pt x="788" y="469"/>
                  </a:lnTo>
                  <a:lnTo>
                    <a:pt x="788" y="469"/>
                  </a:lnTo>
                  <a:lnTo>
                    <a:pt x="788" y="471"/>
                  </a:lnTo>
                  <a:lnTo>
                    <a:pt x="788" y="471"/>
                  </a:lnTo>
                  <a:lnTo>
                    <a:pt x="788" y="472"/>
                  </a:lnTo>
                  <a:lnTo>
                    <a:pt x="788" y="472"/>
                  </a:lnTo>
                  <a:lnTo>
                    <a:pt x="789" y="475"/>
                  </a:lnTo>
                  <a:lnTo>
                    <a:pt x="789" y="475"/>
                  </a:lnTo>
                  <a:lnTo>
                    <a:pt x="794" y="476"/>
                  </a:lnTo>
                  <a:lnTo>
                    <a:pt x="798" y="478"/>
                  </a:lnTo>
                  <a:lnTo>
                    <a:pt x="798" y="476"/>
                  </a:lnTo>
                  <a:lnTo>
                    <a:pt x="797" y="478"/>
                  </a:lnTo>
                  <a:lnTo>
                    <a:pt x="798" y="478"/>
                  </a:lnTo>
                  <a:lnTo>
                    <a:pt x="798" y="476"/>
                  </a:lnTo>
                  <a:lnTo>
                    <a:pt x="797" y="478"/>
                  </a:lnTo>
                  <a:lnTo>
                    <a:pt x="798" y="476"/>
                  </a:lnTo>
                  <a:lnTo>
                    <a:pt x="797" y="476"/>
                  </a:lnTo>
                  <a:lnTo>
                    <a:pt x="797" y="478"/>
                  </a:lnTo>
                  <a:lnTo>
                    <a:pt x="798" y="476"/>
                  </a:lnTo>
                  <a:lnTo>
                    <a:pt x="797" y="476"/>
                  </a:lnTo>
                  <a:lnTo>
                    <a:pt x="797" y="476"/>
                  </a:lnTo>
                  <a:lnTo>
                    <a:pt x="797" y="476"/>
                  </a:lnTo>
                  <a:lnTo>
                    <a:pt x="797" y="476"/>
                  </a:lnTo>
                  <a:lnTo>
                    <a:pt x="797" y="476"/>
                  </a:lnTo>
                  <a:lnTo>
                    <a:pt x="797" y="476"/>
                  </a:lnTo>
                  <a:lnTo>
                    <a:pt x="797" y="476"/>
                  </a:lnTo>
                  <a:lnTo>
                    <a:pt x="797" y="476"/>
                  </a:lnTo>
                  <a:lnTo>
                    <a:pt x="795" y="479"/>
                  </a:lnTo>
                  <a:lnTo>
                    <a:pt x="795" y="479"/>
                  </a:lnTo>
                  <a:lnTo>
                    <a:pt x="795" y="481"/>
                  </a:lnTo>
                  <a:lnTo>
                    <a:pt x="795" y="481"/>
                  </a:lnTo>
                  <a:lnTo>
                    <a:pt x="795" y="482"/>
                  </a:lnTo>
                  <a:lnTo>
                    <a:pt x="795" y="482"/>
                  </a:lnTo>
                  <a:lnTo>
                    <a:pt x="795" y="484"/>
                  </a:lnTo>
                  <a:lnTo>
                    <a:pt x="795" y="484"/>
                  </a:lnTo>
                  <a:lnTo>
                    <a:pt x="798" y="485"/>
                  </a:lnTo>
                  <a:lnTo>
                    <a:pt x="798" y="485"/>
                  </a:lnTo>
                  <a:lnTo>
                    <a:pt x="799" y="485"/>
                  </a:lnTo>
                  <a:lnTo>
                    <a:pt x="801" y="485"/>
                  </a:lnTo>
                  <a:lnTo>
                    <a:pt x="801" y="485"/>
                  </a:lnTo>
                  <a:lnTo>
                    <a:pt x="805" y="481"/>
                  </a:lnTo>
                  <a:lnTo>
                    <a:pt x="805" y="481"/>
                  </a:lnTo>
                  <a:lnTo>
                    <a:pt x="807" y="479"/>
                  </a:lnTo>
                  <a:lnTo>
                    <a:pt x="808" y="479"/>
                  </a:lnTo>
                  <a:lnTo>
                    <a:pt x="808" y="479"/>
                  </a:lnTo>
                  <a:lnTo>
                    <a:pt x="808" y="479"/>
                  </a:lnTo>
                  <a:lnTo>
                    <a:pt x="808" y="479"/>
                  </a:lnTo>
                  <a:lnTo>
                    <a:pt x="808" y="479"/>
                  </a:lnTo>
                  <a:lnTo>
                    <a:pt x="808" y="479"/>
                  </a:lnTo>
                  <a:lnTo>
                    <a:pt x="808" y="479"/>
                  </a:lnTo>
                  <a:lnTo>
                    <a:pt x="808" y="479"/>
                  </a:lnTo>
                  <a:lnTo>
                    <a:pt x="807" y="479"/>
                  </a:lnTo>
                  <a:lnTo>
                    <a:pt x="808" y="479"/>
                  </a:lnTo>
                  <a:lnTo>
                    <a:pt x="808" y="479"/>
                  </a:lnTo>
                  <a:lnTo>
                    <a:pt x="807" y="479"/>
                  </a:lnTo>
                  <a:lnTo>
                    <a:pt x="808" y="479"/>
                  </a:lnTo>
                  <a:lnTo>
                    <a:pt x="807" y="479"/>
                  </a:lnTo>
                  <a:lnTo>
                    <a:pt x="807" y="479"/>
                  </a:lnTo>
                  <a:lnTo>
                    <a:pt x="808" y="479"/>
                  </a:lnTo>
                  <a:lnTo>
                    <a:pt x="807" y="479"/>
                  </a:lnTo>
                  <a:lnTo>
                    <a:pt x="807" y="479"/>
                  </a:lnTo>
                  <a:lnTo>
                    <a:pt x="807" y="479"/>
                  </a:lnTo>
                  <a:lnTo>
                    <a:pt x="808" y="482"/>
                  </a:lnTo>
                  <a:lnTo>
                    <a:pt x="811" y="484"/>
                  </a:lnTo>
                  <a:lnTo>
                    <a:pt x="811" y="484"/>
                  </a:lnTo>
                  <a:lnTo>
                    <a:pt x="812" y="485"/>
                  </a:lnTo>
                  <a:lnTo>
                    <a:pt x="815" y="485"/>
                  </a:lnTo>
                  <a:lnTo>
                    <a:pt x="815" y="485"/>
                  </a:lnTo>
                  <a:lnTo>
                    <a:pt x="818" y="485"/>
                  </a:lnTo>
                  <a:lnTo>
                    <a:pt x="818" y="485"/>
                  </a:lnTo>
                  <a:lnTo>
                    <a:pt x="818" y="485"/>
                  </a:lnTo>
                  <a:lnTo>
                    <a:pt x="823" y="487"/>
                  </a:lnTo>
                  <a:lnTo>
                    <a:pt x="823" y="487"/>
                  </a:lnTo>
                  <a:lnTo>
                    <a:pt x="828" y="488"/>
                  </a:lnTo>
                  <a:lnTo>
                    <a:pt x="828" y="488"/>
                  </a:lnTo>
                  <a:lnTo>
                    <a:pt x="831" y="488"/>
                  </a:lnTo>
                  <a:lnTo>
                    <a:pt x="831" y="488"/>
                  </a:lnTo>
                  <a:lnTo>
                    <a:pt x="834" y="487"/>
                  </a:lnTo>
                  <a:lnTo>
                    <a:pt x="834" y="487"/>
                  </a:lnTo>
                  <a:lnTo>
                    <a:pt x="841" y="488"/>
                  </a:lnTo>
                  <a:lnTo>
                    <a:pt x="849" y="492"/>
                  </a:lnTo>
                  <a:lnTo>
                    <a:pt x="849" y="492"/>
                  </a:lnTo>
                  <a:lnTo>
                    <a:pt x="863" y="503"/>
                  </a:lnTo>
                  <a:lnTo>
                    <a:pt x="863" y="503"/>
                  </a:lnTo>
                  <a:lnTo>
                    <a:pt x="872" y="510"/>
                  </a:lnTo>
                  <a:lnTo>
                    <a:pt x="872" y="510"/>
                  </a:lnTo>
                  <a:lnTo>
                    <a:pt x="878" y="514"/>
                  </a:lnTo>
                  <a:lnTo>
                    <a:pt x="878" y="514"/>
                  </a:lnTo>
                  <a:lnTo>
                    <a:pt x="882" y="521"/>
                  </a:lnTo>
                  <a:lnTo>
                    <a:pt x="882" y="521"/>
                  </a:lnTo>
                  <a:lnTo>
                    <a:pt x="886" y="523"/>
                  </a:lnTo>
                  <a:lnTo>
                    <a:pt x="891" y="524"/>
                  </a:lnTo>
                  <a:lnTo>
                    <a:pt x="891" y="524"/>
                  </a:lnTo>
                  <a:lnTo>
                    <a:pt x="896" y="526"/>
                  </a:lnTo>
                  <a:lnTo>
                    <a:pt x="896" y="526"/>
                  </a:lnTo>
                  <a:lnTo>
                    <a:pt x="902" y="529"/>
                  </a:lnTo>
                  <a:lnTo>
                    <a:pt x="902" y="529"/>
                  </a:lnTo>
                  <a:lnTo>
                    <a:pt x="905" y="533"/>
                  </a:lnTo>
                  <a:lnTo>
                    <a:pt x="905" y="533"/>
                  </a:lnTo>
                  <a:lnTo>
                    <a:pt x="908" y="534"/>
                  </a:lnTo>
                  <a:lnTo>
                    <a:pt x="908" y="534"/>
                  </a:lnTo>
                  <a:lnTo>
                    <a:pt x="911" y="536"/>
                  </a:lnTo>
                  <a:lnTo>
                    <a:pt x="911" y="536"/>
                  </a:lnTo>
                  <a:lnTo>
                    <a:pt x="914" y="536"/>
                  </a:lnTo>
                  <a:lnTo>
                    <a:pt x="914" y="536"/>
                  </a:lnTo>
                  <a:lnTo>
                    <a:pt x="915" y="536"/>
                  </a:lnTo>
                  <a:lnTo>
                    <a:pt x="915" y="536"/>
                  </a:lnTo>
                  <a:lnTo>
                    <a:pt x="917" y="536"/>
                  </a:lnTo>
                  <a:lnTo>
                    <a:pt x="917" y="536"/>
                  </a:lnTo>
                  <a:lnTo>
                    <a:pt x="921" y="540"/>
                  </a:lnTo>
                  <a:lnTo>
                    <a:pt x="921" y="540"/>
                  </a:lnTo>
                  <a:lnTo>
                    <a:pt x="927" y="546"/>
                  </a:lnTo>
                  <a:lnTo>
                    <a:pt x="927" y="546"/>
                  </a:lnTo>
                  <a:lnTo>
                    <a:pt x="931" y="550"/>
                  </a:lnTo>
                  <a:lnTo>
                    <a:pt x="931" y="550"/>
                  </a:lnTo>
                  <a:lnTo>
                    <a:pt x="933" y="553"/>
                  </a:lnTo>
                  <a:lnTo>
                    <a:pt x="933" y="553"/>
                  </a:lnTo>
                  <a:lnTo>
                    <a:pt x="933" y="566"/>
                  </a:lnTo>
                  <a:lnTo>
                    <a:pt x="933" y="566"/>
                  </a:lnTo>
                  <a:lnTo>
                    <a:pt x="934" y="571"/>
                  </a:lnTo>
                  <a:lnTo>
                    <a:pt x="934" y="571"/>
                  </a:lnTo>
                  <a:lnTo>
                    <a:pt x="934" y="574"/>
                  </a:lnTo>
                  <a:lnTo>
                    <a:pt x="934" y="574"/>
                  </a:lnTo>
                  <a:lnTo>
                    <a:pt x="934" y="575"/>
                  </a:lnTo>
                  <a:lnTo>
                    <a:pt x="936" y="575"/>
                  </a:lnTo>
                  <a:lnTo>
                    <a:pt x="934" y="575"/>
                  </a:lnTo>
                  <a:lnTo>
                    <a:pt x="934" y="575"/>
                  </a:lnTo>
                  <a:lnTo>
                    <a:pt x="936" y="575"/>
                  </a:lnTo>
                  <a:lnTo>
                    <a:pt x="934" y="575"/>
                  </a:lnTo>
                  <a:lnTo>
                    <a:pt x="934" y="575"/>
                  </a:lnTo>
                  <a:lnTo>
                    <a:pt x="934" y="576"/>
                  </a:lnTo>
                  <a:lnTo>
                    <a:pt x="934" y="576"/>
                  </a:lnTo>
                  <a:lnTo>
                    <a:pt x="936" y="579"/>
                  </a:lnTo>
                  <a:lnTo>
                    <a:pt x="936" y="579"/>
                  </a:lnTo>
                  <a:lnTo>
                    <a:pt x="934" y="589"/>
                  </a:lnTo>
                  <a:lnTo>
                    <a:pt x="931" y="595"/>
                  </a:lnTo>
                  <a:lnTo>
                    <a:pt x="930" y="600"/>
                  </a:lnTo>
                  <a:lnTo>
                    <a:pt x="930" y="600"/>
                  </a:lnTo>
                  <a:lnTo>
                    <a:pt x="921" y="610"/>
                  </a:lnTo>
                  <a:lnTo>
                    <a:pt x="921" y="610"/>
                  </a:lnTo>
                  <a:lnTo>
                    <a:pt x="917" y="613"/>
                  </a:lnTo>
                  <a:lnTo>
                    <a:pt x="914" y="613"/>
                  </a:lnTo>
                  <a:lnTo>
                    <a:pt x="914" y="613"/>
                  </a:lnTo>
                  <a:lnTo>
                    <a:pt x="908" y="614"/>
                  </a:lnTo>
                  <a:lnTo>
                    <a:pt x="904" y="616"/>
                  </a:lnTo>
                  <a:lnTo>
                    <a:pt x="904" y="616"/>
                  </a:lnTo>
                  <a:lnTo>
                    <a:pt x="898" y="617"/>
                  </a:lnTo>
                  <a:lnTo>
                    <a:pt x="894" y="618"/>
                  </a:lnTo>
                  <a:lnTo>
                    <a:pt x="894" y="618"/>
                  </a:lnTo>
                  <a:lnTo>
                    <a:pt x="882" y="616"/>
                  </a:lnTo>
                  <a:lnTo>
                    <a:pt x="882" y="616"/>
                  </a:lnTo>
                  <a:lnTo>
                    <a:pt x="868" y="613"/>
                  </a:lnTo>
                  <a:lnTo>
                    <a:pt x="868" y="613"/>
                  </a:lnTo>
                  <a:lnTo>
                    <a:pt x="850" y="610"/>
                  </a:lnTo>
                  <a:lnTo>
                    <a:pt x="850" y="610"/>
                  </a:lnTo>
                  <a:lnTo>
                    <a:pt x="843" y="607"/>
                  </a:lnTo>
                  <a:lnTo>
                    <a:pt x="843" y="607"/>
                  </a:lnTo>
                  <a:lnTo>
                    <a:pt x="837" y="604"/>
                  </a:lnTo>
                  <a:lnTo>
                    <a:pt x="837" y="604"/>
                  </a:lnTo>
                  <a:lnTo>
                    <a:pt x="831" y="601"/>
                  </a:lnTo>
                  <a:lnTo>
                    <a:pt x="831" y="601"/>
                  </a:lnTo>
                  <a:lnTo>
                    <a:pt x="818" y="595"/>
                  </a:lnTo>
                  <a:lnTo>
                    <a:pt x="818" y="595"/>
                  </a:lnTo>
                  <a:lnTo>
                    <a:pt x="808" y="591"/>
                  </a:lnTo>
                  <a:lnTo>
                    <a:pt x="808" y="591"/>
                  </a:lnTo>
                  <a:lnTo>
                    <a:pt x="805" y="587"/>
                  </a:lnTo>
                  <a:lnTo>
                    <a:pt x="802" y="582"/>
                  </a:lnTo>
                  <a:lnTo>
                    <a:pt x="802" y="582"/>
                  </a:lnTo>
                  <a:lnTo>
                    <a:pt x="798" y="578"/>
                  </a:lnTo>
                  <a:lnTo>
                    <a:pt x="798" y="578"/>
                  </a:lnTo>
                  <a:lnTo>
                    <a:pt x="797" y="576"/>
                  </a:lnTo>
                  <a:lnTo>
                    <a:pt x="797" y="576"/>
                  </a:lnTo>
                  <a:lnTo>
                    <a:pt x="795" y="575"/>
                  </a:lnTo>
                  <a:lnTo>
                    <a:pt x="795" y="575"/>
                  </a:lnTo>
                  <a:lnTo>
                    <a:pt x="792" y="576"/>
                  </a:lnTo>
                  <a:lnTo>
                    <a:pt x="792" y="576"/>
                  </a:lnTo>
                  <a:lnTo>
                    <a:pt x="791" y="579"/>
                  </a:lnTo>
                  <a:lnTo>
                    <a:pt x="791" y="579"/>
                  </a:lnTo>
                  <a:lnTo>
                    <a:pt x="789" y="584"/>
                  </a:lnTo>
                  <a:lnTo>
                    <a:pt x="789" y="584"/>
                  </a:lnTo>
                  <a:lnTo>
                    <a:pt x="788" y="584"/>
                  </a:lnTo>
                  <a:lnTo>
                    <a:pt x="788" y="584"/>
                  </a:lnTo>
                  <a:lnTo>
                    <a:pt x="789" y="585"/>
                  </a:lnTo>
                  <a:lnTo>
                    <a:pt x="789" y="584"/>
                  </a:lnTo>
                  <a:lnTo>
                    <a:pt x="788" y="584"/>
                  </a:lnTo>
                  <a:lnTo>
                    <a:pt x="789" y="585"/>
                  </a:lnTo>
                  <a:lnTo>
                    <a:pt x="789" y="584"/>
                  </a:lnTo>
                  <a:lnTo>
                    <a:pt x="789" y="584"/>
                  </a:lnTo>
                  <a:lnTo>
                    <a:pt x="784" y="587"/>
                  </a:lnTo>
                  <a:lnTo>
                    <a:pt x="784" y="587"/>
                  </a:lnTo>
                  <a:lnTo>
                    <a:pt x="782" y="588"/>
                  </a:lnTo>
                  <a:lnTo>
                    <a:pt x="782" y="588"/>
                  </a:lnTo>
                  <a:lnTo>
                    <a:pt x="781" y="591"/>
                  </a:lnTo>
                  <a:lnTo>
                    <a:pt x="781" y="591"/>
                  </a:lnTo>
                  <a:lnTo>
                    <a:pt x="782" y="594"/>
                  </a:lnTo>
                  <a:lnTo>
                    <a:pt x="782" y="594"/>
                  </a:lnTo>
                  <a:lnTo>
                    <a:pt x="784" y="595"/>
                  </a:lnTo>
                  <a:lnTo>
                    <a:pt x="784" y="595"/>
                  </a:lnTo>
                  <a:lnTo>
                    <a:pt x="791" y="598"/>
                  </a:lnTo>
                  <a:lnTo>
                    <a:pt x="797" y="598"/>
                  </a:lnTo>
                  <a:lnTo>
                    <a:pt x="797" y="598"/>
                  </a:lnTo>
                  <a:lnTo>
                    <a:pt x="799" y="598"/>
                  </a:lnTo>
                  <a:lnTo>
                    <a:pt x="799" y="598"/>
                  </a:lnTo>
                  <a:lnTo>
                    <a:pt x="799" y="598"/>
                  </a:lnTo>
                  <a:lnTo>
                    <a:pt x="799" y="598"/>
                  </a:lnTo>
                  <a:lnTo>
                    <a:pt x="799" y="598"/>
                  </a:lnTo>
                  <a:lnTo>
                    <a:pt x="799" y="598"/>
                  </a:lnTo>
                  <a:lnTo>
                    <a:pt x="799" y="598"/>
                  </a:lnTo>
                  <a:lnTo>
                    <a:pt x="799" y="598"/>
                  </a:lnTo>
                  <a:lnTo>
                    <a:pt x="802" y="603"/>
                  </a:lnTo>
                  <a:lnTo>
                    <a:pt x="802" y="603"/>
                  </a:lnTo>
                  <a:lnTo>
                    <a:pt x="804" y="604"/>
                  </a:lnTo>
                  <a:lnTo>
                    <a:pt x="804" y="605"/>
                  </a:lnTo>
                  <a:lnTo>
                    <a:pt x="804" y="605"/>
                  </a:lnTo>
                  <a:lnTo>
                    <a:pt x="805" y="605"/>
                  </a:lnTo>
                  <a:lnTo>
                    <a:pt x="804" y="605"/>
                  </a:lnTo>
                  <a:lnTo>
                    <a:pt x="804" y="605"/>
                  </a:lnTo>
                  <a:lnTo>
                    <a:pt x="805" y="605"/>
                  </a:lnTo>
                  <a:lnTo>
                    <a:pt x="804" y="605"/>
                  </a:lnTo>
                  <a:lnTo>
                    <a:pt x="804" y="605"/>
                  </a:lnTo>
                  <a:lnTo>
                    <a:pt x="805" y="607"/>
                  </a:lnTo>
                  <a:lnTo>
                    <a:pt x="805" y="607"/>
                  </a:lnTo>
                  <a:lnTo>
                    <a:pt x="808" y="613"/>
                  </a:lnTo>
                  <a:lnTo>
                    <a:pt x="808" y="613"/>
                  </a:lnTo>
                  <a:lnTo>
                    <a:pt x="811" y="616"/>
                  </a:lnTo>
                  <a:lnTo>
                    <a:pt x="811" y="616"/>
                  </a:lnTo>
                  <a:lnTo>
                    <a:pt x="814" y="617"/>
                  </a:lnTo>
                  <a:lnTo>
                    <a:pt x="814" y="616"/>
                  </a:lnTo>
                  <a:lnTo>
                    <a:pt x="814" y="617"/>
                  </a:lnTo>
                  <a:lnTo>
                    <a:pt x="814" y="617"/>
                  </a:lnTo>
                  <a:lnTo>
                    <a:pt x="814" y="616"/>
                  </a:lnTo>
                  <a:lnTo>
                    <a:pt x="814" y="617"/>
                  </a:lnTo>
                  <a:lnTo>
                    <a:pt x="814" y="617"/>
                  </a:lnTo>
                  <a:lnTo>
                    <a:pt x="814" y="617"/>
                  </a:lnTo>
                  <a:lnTo>
                    <a:pt x="814" y="617"/>
                  </a:lnTo>
                  <a:lnTo>
                    <a:pt x="814" y="617"/>
                  </a:lnTo>
                  <a:lnTo>
                    <a:pt x="814" y="617"/>
                  </a:lnTo>
                  <a:lnTo>
                    <a:pt x="814" y="617"/>
                  </a:lnTo>
                  <a:lnTo>
                    <a:pt x="815" y="618"/>
                  </a:lnTo>
                  <a:lnTo>
                    <a:pt x="815" y="618"/>
                  </a:lnTo>
                  <a:lnTo>
                    <a:pt x="823" y="626"/>
                  </a:lnTo>
                  <a:lnTo>
                    <a:pt x="823" y="626"/>
                  </a:lnTo>
                  <a:lnTo>
                    <a:pt x="827" y="629"/>
                  </a:lnTo>
                  <a:lnTo>
                    <a:pt x="827" y="629"/>
                  </a:lnTo>
                  <a:lnTo>
                    <a:pt x="830" y="631"/>
                  </a:lnTo>
                  <a:lnTo>
                    <a:pt x="830" y="631"/>
                  </a:lnTo>
                  <a:lnTo>
                    <a:pt x="830" y="631"/>
                  </a:lnTo>
                  <a:lnTo>
                    <a:pt x="830" y="631"/>
                  </a:lnTo>
                  <a:lnTo>
                    <a:pt x="830" y="631"/>
                  </a:lnTo>
                  <a:lnTo>
                    <a:pt x="830" y="631"/>
                  </a:lnTo>
                  <a:lnTo>
                    <a:pt x="830" y="631"/>
                  </a:lnTo>
                  <a:lnTo>
                    <a:pt x="830" y="633"/>
                  </a:lnTo>
                  <a:lnTo>
                    <a:pt x="830" y="633"/>
                  </a:lnTo>
                  <a:lnTo>
                    <a:pt x="830" y="636"/>
                  </a:lnTo>
                  <a:lnTo>
                    <a:pt x="830" y="636"/>
                  </a:lnTo>
                  <a:lnTo>
                    <a:pt x="828" y="642"/>
                  </a:lnTo>
                  <a:lnTo>
                    <a:pt x="828" y="642"/>
                  </a:lnTo>
                  <a:lnTo>
                    <a:pt x="828" y="643"/>
                  </a:lnTo>
                  <a:lnTo>
                    <a:pt x="828" y="643"/>
                  </a:lnTo>
                  <a:lnTo>
                    <a:pt x="828" y="643"/>
                  </a:lnTo>
                  <a:lnTo>
                    <a:pt x="828" y="643"/>
                  </a:lnTo>
                  <a:lnTo>
                    <a:pt x="828" y="643"/>
                  </a:lnTo>
                  <a:lnTo>
                    <a:pt x="828" y="643"/>
                  </a:lnTo>
                  <a:lnTo>
                    <a:pt x="828" y="643"/>
                  </a:lnTo>
                  <a:lnTo>
                    <a:pt x="828" y="643"/>
                  </a:lnTo>
                  <a:lnTo>
                    <a:pt x="827" y="643"/>
                  </a:lnTo>
                  <a:lnTo>
                    <a:pt x="827" y="643"/>
                  </a:lnTo>
                  <a:lnTo>
                    <a:pt x="826" y="645"/>
                  </a:lnTo>
                  <a:lnTo>
                    <a:pt x="826" y="645"/>
                  </a:lnTo>
                  <a:lnTo>
                    <a:pt x="826" y="645"/>
                  </a:lnTo>
                  <a:lnTo>
                    <a:pt x="824" y="646"/>
                  </a:lnTo>
                  <a:lnTo>
                    <a:pt x="824" y="646"/>
                  </a:lnTo>
                  <a:lnTo>
                    <a:pt x="826" y="647"/>
                  </a:lnTo>
                  <a:lnTo>
                    <a:pt x="826" y="647"/>
                  </a:lnTo>
                  <a:lnTo>
                    <a:pt x="826" y="647"/>
                  </a:lnTo>
                  <a:lnTo>
                    <a:pt x="826" y="649"/>
                  </a:lnTo>
                  <a:lnTo>
                    <a:pt x="826" y="649"/>
                  </a:lnTo>
                  <a:lnTo>
                    <a:pt x="827" y="649"/>
                  </a:lnTo>
                  <a:lnTo>
                    <a:pt x="827" y="649"/>
                  </a:lnTo>
                  <a:lnTo>
                    <a:pt x="828" y="653"/>
                  </a:lnTo>
                  <a:lnTo>
                    <a:pt x="828" y="653"/>
                  </a:lnTo>
                  <a:lnTo>
                    <a:pt x="830" y="659"/>
                  </a:lnTo>
                  <a:lnTo>
                    <a:pt x="831" y="668"/>
                  </a:lnTo>
                  <a:lnTo>
                    <a:pt x="831" y="668"/>
                  </a:lnTo>
                  <a:lnTo>
                    <a:pt x="830" y="671"/>
                  </a:lnTo>
                  <a:lnTo>
                    <a:pt x="830" y="671"/>
                  </a:lnTo>
                  <a:lnTo>
                    <a:pt x="830" y="672"/>
                  </a:lnTo>
                  <a:lnTo>
                    <a:pt x="830" y="673"/>
                  </a:lnTo>
                  <a:lnTo>
                    <a:pt x="830" y="673"/>
                  </a:lnTo>
                  <a:lnTo>
                    <a:pt x="830" y="673"/>
                  </a:lnTo>
                  <a:lnTo>
                    <a:pt x="830" y="673"/>
                  </a:lnTo>
                  <a:lnTo>
                    <a:pt x="830" y="673"/>
                  </a:lnTo>
                  <a:lnTo>
                    <a:pt x="830" y="673"/>
                  </a:lnTo>
                  <a:lnTo>
                    <a:pt x="830" y="673"/>
                  </a:lnTo>
                  <a:lnTo>
                    <a:pt x="830" y="673"/>
                  </a:lnTo>
                  <a:lnTo>
                    <a:pt x="830" y="675"/>
                  </a:lnTo>
                  <a:lnTo>
                    <a:pt x="830" y="675"/>
                  </a:lnTo>
                  <a:lnTo>
                    <a:pt x="830" y="678"/>
                  </a:lnTo>
                  <a:lnTo>
                    <a:pt x="830" y="678"/>
                  </a:lnTo>
                  <a:lnTo>
                    <a:pt x="833" y="681"/>
                  </a:lnTo>
                  <a:lnTo>
                    <a:pt x="833" y="681"/>
                  </a:lnTo>
                  <a:lnTo>
                    <a:pt x="834" y="684"/>
                  </a:lnTo>
                  <a:lnTo>
                    <a:pt x="834" y="684"/>
                  </a:lnTo>
                  <a:lnTo>
                    <a:pt x="834" y="684"/>
                  </a:lnTo>
                  <a:lnTo>
                    <a:pt x="840" y="689"/>
                  </a:lnTo>
                  <a:lnTo>
                    <a:pt x="840" y="689"/>
                  </a:lnTo>
                  <a:lnTo>
                    <a:pt x="844" y="691"/>
                  </a:lnTo>
                  <a:lnTo>
                    <a:pt x="849" y="692"/>
                  </a:lnTo>
                  <a:lnTo>
                    <a:pt x="849" y="692"/>
                  </a:lnTo>
                  <a:lnTo>
                    <a:pt x="849" y="692"/>
                  </a:lnTo>
                  <a:lnTo>
                    <a:pt x="849" y="692"/>
                  </a:lnTo>
                  <a:lnTo>
                    <a:pt x="849" y="692"/>
                  </a:lnTo>
                  <a:lnTo>
                    <a:pt x="849" y="692"/>
                  </a:lnTo>
                  <a:lnTo>
                    <a:pt x="849" y="692"/>
                  </a:lnTo>
                  <a:lnTo>
                    <a:pt x="849" y="692"/>
                  </a:lnTo>
                  <a:lnTo>
                    <a:pt x="849" y="694"/>
                  </a:lnTo>
                  <a:lnTo>
                    <a:pt x="849" y="694"/>
                  </a:lnTo>
                  <a:lnTo>
                    <a:pt x="850" y="697"/>
                  </a:lnTo>
                  <a:lnTo>
                    <a:pt x="854" y="702"/>
                  </a:lnTo>
                  <a:lnTo>
                    <a:pt x="854" y="702"/>
                  </a:lnTo>
                  <a:lnTo>
                    <a:pt x="860" y="705"/>
                  </a:lnTo>
                  <a:lnTo>
                    <a:pt x="865" y="708"/>
                  </a:lnTo>
                  <a:lnTo>
                    <a:pt x="865" y="708"/>
                  </a:lnTo>
                  <a:lnTo>
                    <a:pt x="870" y="710"/>
                  </a:lnTo>
                  <a:lnTo>
                    <a:pt x="875" y="710"/>
                  </a:lnTo>
                  <a:lnTo>
                    <a:pt x="875" y="710"/>
                  </a:lnTo>
                  <a:lnTo>
                    <a:pt x="878" y="710"/>
                  </a:lnTo>
                  <a:lnTo>
                    <a:pt x="878" y="710"/>
                  </a:lnTo>
                  <a:lnTo>
                    <a:pt x="883" y="708"/>
                  </a:lnTo>
                  <a:lnTo>
                    <a:pt x="883" y="708"/>
                  </a:lnTo>
                  <a:lnTo>
                    <a:pt x="886" y="707"/>
                  </a:lnTo>
                  <a:lnTo>
                    <a:pt x="886" y="707"/>
                  </a:lnTo>
                  <a:lnTo>
                    <a:pt x="889" y="705"/>
                  </a:lnTo>
                  <a:lnTo>
                    <a:pt x="889" y="705"/>
                  </a:lnTo>
                  <a:lnTo>
                    <a:pt x="889" y="702"/>
                  </a:lnTo>
                  <a:lnTo>
                    <a:pt x="889" y="702"/>
                  </a:lnTo>
                  <a:lnTo>
                    <a:pt x="888" y="700"/>
                  </a:lnTo>
                  <a:lnTo>
                    <a:pt x="888" y="700"/>
                  </a:lnTo>
                  <a:lnTo>
                    <a:pt x="888" y="700"/>
                  </a:lnTo>
                  <a:lnTo>
                    <a:pt x="888" y="700"/>
                  </a:lnTo>
                  <a:lnTo>
                    <a:pt x="888" y="697"/>
                  </a:lnTo>
                  <a:lnTo>
                    <a:pt x="888" y="697"/>
                  </a:lnTo>
                  <a:lnTo>
                    <a:pt x="886" y="688"/>
                  </a:lnTo>
                  <a:lnTo>
                    <a:pt x="886" y="688"/>
                  </a:lnTo>
                  <a:lnTo>
                    <a:pt x="885" y="684"/>
                  </a:lnTo>
                  <a:lnTo>
                    <a:pt x="885" y="684"/>
                  </a:lnTo>
                  <a:lnTo>
                    <a:pt x="883" y="682"/>
                  </a:lnTo>
                  <a:lnTo>
                    <a:pt x="883" y="682"/>
                  </a:lnTo>
                  <a:lnTo>
                    <a:pt x="881" y="681"/>
                  </a:lnTo>
                  <a:lnTo>
                    <a:pt x="881" y="681"/>
                  </a:lnTo>
                  <a:lnTo>
                    <a:pt x="879" y="681"/>
                  </a:lnTo>
                  <a:lnTo>
                    <a:pt x="879" y="681"/>
                  </a:lnTo>
                  <a:lnTo>
                    <a:pt x="875" y="682"/>
                  </a:lnTo>
                  <a:lnTo>
                    <a:pt x="873" y="685"/>
                  </a:lnTo>
                  <a:lnTo>
                    <a:pt x="873" y="685"/>
                  </a:lnTo>
                  <a:lnTo>
                    <a:pt x="872" y="685"/>
                  </a:lnTo>
                  <a:lnTo>
                    <a:pt x="872" y="685"/>
                  </a:lnTo>
                  <a:lnTo>
                    <a:pt x="872" y="685"/>
                  </a:lnTo>
                  <a:lnTo>
                    <a:pt x="872" y="687"/>
                  </a:lnTo>
                  <a:lnTo>
                    <a:pt x="872" y="685"/>
                  </a:lnTo>
                  <a:lnTo>
                    <a:pt x="872" y="685"/>
                  </a:lnTo>
                  <a:lnTo>
                    <a:pt x="872" y="687"/>
                  </a:lnTo>
                  <a:lnTo>
                    <a:pt x="872" y="685"/>
                  </a:lnTo>
                  <a:lnTo>
                    <a:pt x="872" y="687"/>
                  </a:lnTo>
                  <a:lnTo>
                    <a:pt x="872" y="685"/>
                  </a:lnTo>
                  <a:lnTo>
                    <a:pt x="872" y="685"/>
                  </a:lnTo>
                  <a:lnTo>
                    <a:pt x="872" y="687"/>
                  </a:lnTo>
                  <a:lnTo>
                    <a:pt x="872" y="685"/>
                  </a:lnTo>
                  <a:lnTo>
                    <a:pt x="872" y="685"/>
                  </a:lnTo>
                  <a:lnTo>
                    <a:pt x="872" y="685"/>
                  </a:lnTo>
                  <a:lnTo>
                    <a:pt x="869" y="682"/>
                  </a:lnTo>
                  <a:lnTo>
                    <a:pt x="869" y="682"/>
                  </a:lnTo>
                  <a:lnTo>
                    <a:pt x="863" y="673"/>
                  </a:lnTo>
                  <a:lnTo>
                    <a:pt x="863" y="673"/>
                  </a:lnTo>
                  <a:lnTo>
                    <a:pt x="862" y="666"/>
                  </a:lnTo>
                  <a:lnTo>
                    <a:pt x="862" y="666"/>
                  </a:lnTo>
                  <a:lnTo>
                    <a:pt x="862" y="666"/>
                  </a:lnTo>
                  <a:lnTo>
                    <a:pt x="862" y="666"/>
                  </a:lnTo>
                  <a:lnTo>
                    <a:pt x="862" y="666"/>
                  </a:lnTo>
                  <a:lnTo>
                    <a:pt x="862" y="666"/>
                  </a:lnTo>
                  <a:lnTo>
                    <a:pt x="862" y="666"/>
                  </a:lnTo>
                  <a:lnTo>
                    <a:pt x="860" y="665"/>
                  </a:lnTo>
                  <a:lnTo>
                    <a:pt x="862" y="666"/>
                  </a:lnTo>
                  <a:lnTo>
                    <a:pt x="862" y="666"/>
                  </a:lnTo>
                  <a:lnTo>
                    <a:pt x="860" y="665"/>
                  </a:lnTo>
                  <a:lnTo>
                    <a:pt x="862" y="666"/>
                  </a:lnTo>
                  <a:lnTo>
                    <a:pt x="862" y="666"/>
                  </a:lnTo>
                  <a:lnTo>
                    <a:pt x="865" y="665"/>
                  </a:lnTo>
                  <a:lnTo>
                    <a:pt x="865" y="665"/>
                  </a:lnTo>
                  <a:lnTo>
                    <a:pt x="868" y="662"/>
                  </a:lnTo>
                  <a:lnTo>
                    <a:pt x="868" y="659"/>
                  </a:lnTo>
                  <a:lnTo>
                    <a:pt x="868" y="659"/>
                  </a:lnTo>
                  <a:lnTo>
                    <a:pt x="868" y="658"/>
                  </a:lnTo>
                  <a:lnTo>
                    <a:pt x="868" y="658"/>
                  </a:lnTo>
                  <a:lnTo>
                    <a:pt x="868" y="656"/>
                  </a:lnTo>
                  <a:lnTo>
                    <a:pt x="868" y="656"/>
                  </a:lnTo>
                  <a:lnTo>
                    <a:pt x="868" y="656"/>
                  </a:lnTo>
                  <a:lnTo>
                    <a:pt x="868" y="656"/>
                  </a:lnTo>
                  <a:lnTo>
                    <a:pt x="868" y="656"/>
                  </a:lnTo>
                  <a:lnTo>
                    <a:pt x="868" y="656"/>
                  </a:lnTo>
                  <a:lnTo>
                    <a:pt x="868" y="656"/>
                  </a:lnTo>
                  <a:lnTo>
                    <a:pt x="866" y="656"/>
                  </a:lnTo>
                  <a:lnTo>
                    <a:pt x="868" y="658"/>
                  </a:lnTo>
                  <a:lnTo>
                    <a:pt x="868" y="656"/>
                  </a:lnTo>
                  <a:lnTo>
                    <a:pt x="866" y="656"/>
                  </a:lnTo>
                  <a:lnTo>
                    <a:pt x="868" y="658"/>
                  </a:lnTo>
                  <a:lnTo>
                    <a:pt x="866" y="656"/>
                  </a:lnTo>
                  <a:lnTo>
                    <a:pt x="866" y="658"/>
                  </a:lnTo>
                  <a:lnTo>
                    <a:pt x="868" y="658"/>
                  </a:lnTo>
                  <a:lnTo>
                    <a:pt x="866" y="656"/>
                  </a:lnTo>
                  <a:lnTo>
                    <a:pt x="866" y="658"/>
                  </a:lnTo>
                  <a:lnTo>
                    <a:pt x="866" y="658"/>
                  </a:lnTo>
                  <a:lnTo>
                    <a:pt x="868" y="658"/>
                  </a:lnTo>
                  <a:lnTo>
                    <a:pt x="868" y="658"/>
                  </a:lnTo>
                  <a:lnTo>
                    <a:pt x="870" y="658"/>
                  </a:lnTo>
                  <a:lnTo>
                    <a:pt x="870" y="658"/>
                  </a:lnTo>
                  <a:lnTo>
                    <a:pt x="875" y="658"/>
                  </a:lnTo>
                  <a:lnTo>
                    <a:pt x="875" y="658"/>
                  </a:lnTo>
                  <a:lnTo>
                    <a:pt x="875" y="658"/>
                  </a:lnTo>
                  <a:lnTo>
                    <a:pt x="875" y="658"/>
                  </a:lnTo>
                  <a:lnTo>
                    <a:pt x="876" y="659"/>
                  </a:lnTo>
                  <a:lnTo>
                    <a:pt x="876" y="659"/>
                  </a:lnTo>
                  <a:lnTo>
                    <a:pt x="878" y="663"/>
                  </a:lnTo>
                  <a:lnTo>
                    <a:pt x="881" y="668"/>
                  </a:lnTo>
                  <a:lnTo>
                    <a:pt x="881" y="668"/>
                  </a:lnTo>
                  <a:lnTo>
                    <a:pt x="885" y="671"/>
                  </a:lnTo>
                  <a:lnTo>
                    <a:pt x="885" y="671"/>
                  </a:lnTo>
                  <a:lnTo>
                    <a:pt x="889" y="672"/>
                  </a:lnTo>
                  <a:lnTo>
                    <a:pt x="889" y="672"/>
                  </a:lnTo>
                  <a:lnTo>
                    <a:pt x="892" y="672"/>
                  </a:lnTo>
                  <a:lnTo>
                    <a:pt x="892" y="672"/>
                  </a:lnTo>
                  <a:lnTo>
                    <a:pt x="895" y="671"/>
                  </a:lnTo>
                  <a:lnTo>
                    <a:pt x="895" y="671"/>
                  </a:lnTo>
                  <a:lnTo>
                    <a:pt x="896" y="671"/>
                  </a:lnTo>
                  <a:lnTo>
                    <a:pt x="896" y="671"/>
                  </a:lnTo>
                  <a:lnTo>
                    <a:pt x="899" y="671"/>
                  </a:lnTo>
                  <a:lnTo>
                    <a:pt x="899" y="671"/>
                  </a:lnTo>
                  <a:lnTo>
                    <a:pt x="910" y="676"/>
                  </a:lnTo>
                  <a:lnTo>
                    <a:pt x="910" y="676"/>
                  </a:lnTo>
                  <a:lnTo>
                    <a:pt x="915" y="679"/>
                  </a:lnTo>
                  <a:lnTo>
                    <a:pt x="915" y="679"/>
                  </a:lnTo>
                  <a:lnTo>
                    <a:pt x="923" y="681"/>
                  </a:lnTo>
                  <a:lnTo>
                    <a:pt x="923" y="681"/>
                  </a:lnTo>
                  <a:lnTo>
                    <a:pt x="924" y="679"/>
                  </a:lnTo>
                  <a:lnTo>
                    <a:pt x="924" y="679"/>
                  </a:lnTo>
                  <a:lnTo>
                    <a:pt x="927" y="678"/>
                  </a:lnTo>
                  <a:lnTo>
                    <a:pt x="927" y="678"/>
                  </a:lnTo>
                  <a:lnTo>
                    <a:pt x="930" y="673"/>
                  </a:lnTo>
                  <a:lnTo>
                    <a:pt x="930" y="669"/>
                  </a:lnTo>
                  <a:lnTo>
                    <a:pt x="930" y="669"/>
                  </a:lnTo>
                  <a:lnTo>
                    <a:pt x="930" y="666"/>
                  </a:lnTo>
                  <a:lnTo>
                    <a:pt x="928" y="663"/>
                  </a:lnTo>
                  <a:lnTo>
                    <a:pt x="928" y="663"/>
                  </a:lnTo>
                  <a:lnTo>
                    <a:pt x="925" y="660"/>
                  </a:lnTo>
                  <a:lnTo>
                    <a:pt x="925" y="660"/>
                  </a:lnTo>
                  <a:lnTo>
                    <a:pt x="918" y="652"/>
                  </a:lnTo>
                  <a:lnTo>
                    <a:pt x="918" y="652"/>
                  </a:lnTo>
                  <a:lnTo>
                    <a:pt x="917" y="647"/>
                  </a:lnTo>
                  <a:lnTo>
                    <a:pt x="917" y="647"/>
                  </a:lnTo>
                  <a:lnTo>
                    <a:pt x="915" y="645"/>
                  </a:lnTo>
                  <a:lnTo>
                    <a:pt x="915" y="645"/>
                  </a:lnTo>
                  <a:lnTo>
                    <a:pt x="915" y="645"/>
                  </a:lnTo>
                  <a:lnTo>
                    <a:pt x="915" y="645"/>
                  </a:lnTo>
                  <a:lnTo>
                    <a:pt x="915" y="645"/>
                  </a:lnTo>
                  <a:lnTo>
                    <a:pt x="915" y="645"/>
                  </a:lnTo>
                  <a:lnTo>
                    <a:pt x="915" y="645"/>
                  </a:lnTo>
                  <a:lnTo>
                    <a:pt x="915" y="645"/>
                  </a:lnTo>
                  <a:lnTo>
                    <a:pt x="923" y="637"/>
                  </a:lnTo>
                  <a:lnTo>
                    <a:pt x="923" y="637"/>
                  </a:lnTo>
                  <a:lnTo>
                    <a:pt x="930" y="629"/>
                  </a:lnTo>
                  <a:lnTo>
                    <a:pt x="930" y="629"/>
                  </a:lnTo>
                  <a:lnTo>
                    <a:pt x="933" y="626"/>
                  </a:lnTo>
                  <a:lnTo>
                    <a:pt x="933" y="626"/>
                  </a:lnTo>
                  <a:lnTo>
                    <a:pt x="940" y="623"/>
                  </a:lnTo>
                  <a:lnTo>
                    <a:pt x="940" y="623"/>
                  </a:lnTo>
                  <a:lnTo>
                    <a:pt x="944" y="620"/>
                  </a:lnTo>
                  <a:lnTo>
                    <a:pt x="947" y="617"/>
                  </a:lnTo>
                  <a:lnTo>
                    <a:pt x="947" y="617"/>
                  </a:lnTo>
                  <a:lnTo>
                    <a:pt x="953" y="610"/>
                  </a:lnTo>
                  <a:lnTo>
                    <a:pt x="953" y="610"/>
                  </a:lnTo>
                  <a:lnTo>
                    <a:pt x="956" y="607"/>
                  </a:lnTo>
                  <a:lnTo>
                    <a:pt x="957" y="605"/>
                  </a:lnTo>
                  <a:lnTo>
                    <a:pt x="957" y="605"/>
                  </a:lnTo>
                  <a:lnTo>
                    <a:pt x="957" y="605"/>
                  </a:lnTo>
                  <a:lnTo>
                    <a:pt x="957" y="604"/>
                  </a:lnTo>
                  <a:lnTo>
                    <a:pt x="957" y="605"/>
                  </a:lnTo>
                  <a:lnTo>
                    <a:pt x="957" y="605"/>
                  </a:lnTo>
                  <a:lnTo>
                    <a:pt x="957" y="604"/>
                  </a:lnTo>
                  <a:lnTo>
                    <a:pt x="957" y="605"/>
                  </a:lnTo>
                  <a:lnTo>
                    <a:pt x="957" y="604"/>
                  </a:lnTo>
                  <a:lnTo>
                    <a:pt x="956" y="605"/>
                  </a:lnTo>
                  <a:lnTo>
                    <a:pt x="957" y="605"/>
                  </a:lnTo>
                  <a:lnTo>
                    <a:pt x="957" y="604"/>
                  </a:lnTo>
                  <a:lnTo>
                    <a:pt x="956" y="605"/>
                  </a:lnTo>
                  <a:lnTo>
                    <a:pt x="956" y="605"/>
                  </a:lnTo>
                  <a:lnTo>
                    <a:pt x="956" y="605"/>
                  </a:lnTo>
                  <a:lnTo>
                    <a:pt x="956" y="604"/>
                  </a:lnTo>
                  <a:lnTo>
                    <a:pt x="956" y="605"/>
                  </a:lnTo>
                  <a:lnTo>
                    <a:pt x="956" y="605"/>
                  </a:lnTo>
                  <a:lnTo>
                    <a:pt x="956" y="604"/>
                  </a:lnTo>
                  <a:lnTo>
                    <a:pt x="956" y="605"/>
                  </a:lnTo>
                  <a:lnTo>
                    <a:pt x="956" y="605"/>
                  </a:lnTo>
                  <a:lnTo>
                    <a:pt x="956" y="605"/>
                  </a:lnTo>
                  <a:lnTo>
                    <a:pt x="959" y="608"/>
                  </a:lnTo>
                  <a:lnTo>
                    <a:pt x="959" y="608"/>
                  </a:lnTo>
                  <a:lnTo>
                    <a:pt x="960" y="610"/>
                  </a:lnTo>
                  <a:lnTo>
                    <a:pt x="963" y="611"/>
                  </a:lnTo>
                  <a:lnTo>
                    <a:pt x="965" y="611"/>
                  </a:lnTo>
                  <a:lnTo>
                    <a:pt x="965" y="611"/>
                  </a:lnTo>
                  <a:lnTo>
                    <a:pt x="965" y="611"/>
                  </a:lnTo>
                  <a:lnTo>
                    <a:pt x="969" y="613"/>
                  </a:lnTo>
                  <a:lnTo>
                    <a:pt x="969" y="613"/>
                  </a:lnTo>
                  <a:lnTo>
                    <a:pt x="970" y="614"/>
                  </a:lnTo>
                  <a:lnTo>
                    <a:pt x="970" y="616"/>
                  </a:lnTo>
                  <a:lnTo>
                    <a:pt x="970" y="616"/>
                  </a:lnTo>
                  <a:lnTo>
                    <a:pt x="970" y="616"/>
                  </a:lnTo>
                  <a:lnTo>
                    <a:pt x="972" y="618"/>
                  </a:lnTo>
                  <a:lnTo>
                    <a:pt x="973" y="620"/>
                  </a:lnTo>
                  <a:lnTo>
                    <a:pt x="973" y="620"/>
                  </a:lnTo>
                  <a:lnTo>
                    <a:pt x="979" y="621"/>
                  </a:lnTo>
                  <a:lnTo>
                    <a:pt x="979" y="621"/>
                  </a:lnTo>
                  <a:lnTo>
                    <a:pt x="982" y="620"/>
                  </a:lnTo>
                  <a:lnTo>
                    <a:pt x="985" y="618"/>
                  </a:lnTo>
                  <a:lnTo>
                    <a:pt x="985" y="618"/>
                  </a:lnTo>
                  <a:lnTo>
                    <a:pt x="988" y="614"/>
                  </a:lnTo>
                  <a:lnTo>
                    <a:pt x="988" y="614"/>
                  </a:lnTo>
                  <a:lnTo>
                    <a:pt x="994" y="604"/>
                  </a:lnTo>
                  <a:lnTo>
                    <a:pt x="994" y="604"/>
                  </a:lnTo>
                  <a:lnTo>
                    <a:pt x="996" y="598"/>
                  </a:lnTo>
                  <a:lnTo>
                    <a:pt x="998" y="592"/>
                  </a:lnTo>
                  <a:lnTo>
                    <a:pt x="998" y="592"/>
                  </a:lnTo>
                  <a:lnTo>
                    <a:pt x="996" y="587"/>
                  </a:lnTo>
                  <a:lnTo>
                    <a:pt x="996" y="587"/>
                  </a:lnTo>
                  <a:lnTo>
                    <a:pt x="991" y="581"/>
                  </a:lnTo>
                  <a:lnTo>
                    <a:pt x="985" y="576"/>
                  </a:lnTo>
                  <a:lnTo>
                    <a:pt x="985" y="576"/>
                  </a:lnTo>
                  <a:lnTo>
                    <a:pt x="981" y="574"/>
                  </a:lnTo>
                  <a:lnTo>
                    <a:pt x="981" y="574"/>
                  </a:lnTo>
                  <a:lnTo>
                    <a:pt x="979" y="572"/>
                  </a:lnTo>
                  <a:lnTo>
                    <a:pt x="979" y="571"/>
                  </a:lnTo>
                  <a:lnTo>
                    <a:pt x="979" y="571"/>
                  </a:lnTo>
                  <a:lnTo>
                    <a:pt x="979" y="569"/>
                  </a:lnTo>
                  <a:lnTo>
                    <a:pt x="979" y="569"/>
                  </a:lnTo>
                  <a:lnTo>
                    <a:pt x="986" y="555"/>
                  </a:lnTo>
                  <a:lnTo>
                    <a:pt x="986" y="555"/>
                  </a:lnTo>
                  <a:lnTo>
                    <a:pt x="989" y="545"/>
                  </a:lnTo>
                  <a:lnTo>
                    <a:pt x="989" y="545"/>
                  </a:lnTo>
                  <a:lnTo>
                    <a:pt x="991" y="537"/>
                  </a:lnTo>
                  <a:lnTo>
                    <a:pt x="991" y="537"/>
                  </a:lnTo>
                  <a:lnTo>
                    <a:pt x="991" y="534"/>
                  </a:lnTo>
                  <a:lnTo>
                    <a:pt x="991" y="534"/>
                  </a:lnTo>
                  <a:lnTo>
                    <a:pt x="988" y="529"/>
                  </a:lnTo>
                  <a:lnTo>
                    <a:pt x="985" y="524"/>
                  </a:lnTo>
                  <a:lnTo>
                    <a:pt x="985" y="524"/>
                  </a:lnTo>
                  <a:lnTo>
                    <a:pt x="979" y="516"/>
                  </a:lnTo>
                  <a:lnTo>
                    <a:pt x="979" y="516"/>
                  </a:lnTo>
                  <a:lnTo>
                    <a:pt x="978" y="513"/>
                  </a:lnTo>
                  <a:lnTo>
                    <a:pt x="978" y="513"/>
                  </a:lnTo>
                  <a:lnTo>
                    <a:pt x="976" y="511"/>
                  </a:lnTo>
                  <a:lnTo>
                    <a:pt x="976" y="511"/>
                  </a:lnTo>
                  <a:lnTo>
                    <a:pt x="976" y="511"/>
                  </a:lnTo>
                  <a:lnTo>
                    <a:pt x="976" y="511"/>
                  </a:lnTo>
                  <a:lnTo>
                    <a:pt x="976" y="511"/>
                  </a:lnTo>
                  <a:lnTo>
                    <a:pt x="976" y="511"/>
                  </a:lnTo>
                  <a:lnTo>
                    <a:pt x="976" y="511"/>
                  </a:lnTo>
                  <a:lnTo>
                    <a:pt x="976" y="511"/>
                  </a:lnTo>
                  <a:lnTo>
                    <a:pt x="975" y="511"/>
                  </a:lnTo>
                  <a:lnTo>
                    <a:pt x="976" y="511"/>
                  </a:lnTo>
                  <a:lnTo>
                    <a:pt x="976" y="511"/>
                  </a:lnTo>
                  <a:lnTo>
                    <a:pt x="975" y="511"/>
                  </a:lnTo>
                  <a:lnTo>
                    <a:pt x="976" y="511"/>
                  </a:lnTo>
                  <a:lnTo>
                    <a:pt x="975" y="511"/>
                  </a:lnTo>
                  <a:lnTo>
                    <a:pt x="976" y="513"/>
                  </a:lnTo>
                  <a:lnTo>
                    <a:pt x="976" y="511"/>
                  </a:lnTo>
                  <a:lnTo>
                    <a:pt x="975" y="511"/>
                  </a:lnTo>
                  <a:lnTo>
                    <a:pt x="976" y="513"/>
                  </a:lnTo>
                  <a:lnTo>
                    <a:pt x="975" y="511"/>
                  </a:lnTo>
                  <a:lnTo>
                    <a:pt x="975" y="513"/>
                  </a:lnTo>
                  <a:lnTo>
                    <a:pt x="976" y="513"/>
                  </a:lnTo>
                  <a:lnTo>
                    <a:pt x="975" y="511"/>
                  </a:lnTo>
                  <a:lnTo>
                    <a:pt x="975" y="513"/>
                  </a:lnTo>
                  <a:lnTo>
                    <a:pt x="975" y="513"/>
                  </a:lnTo>
                  <a:lnTo>
                    <a:pt x="975" y="513"/>
                  </a:lnTo>
                  <a:lnTo>
                    <a:pt x="978" y="513"/>
                  </a:lnTo>
                  <a:lnTo>
                    <a:pt x="978" y="513"/>
                  </a:lnTo>
                  <a:lnTo>
                    <a:pt x="988" y="516"/>
                  </a:lnTo>
                  <a:lnTo>
                    <a:pt x="998" y="517"/>
                  </a:lnTo>
                  <a:lnTo>
                    <a:pt x="998" y="517"/>
                  </a:lnTo>
                  <a:lnTo>
                    <a:pt x="1009" y="520"/>
                  </a:lnTo>
                  <a:lnTo>
                    <a:pt x="1009" y="520"/>
                  </a:lnTo>
                  <a:lnTo>
                    <a:pt x="1012" y="523"/>
                  </a:lnTo>
                  <a:lnTo>
                    <a:pt x="1015" y="524"/>
                  </a:lnTo>
                  <a:lnTo>
                    <a:pt x="1015" y="524"/>
                  </a:lnTo>
                  <a:lnTo>
                    <a:pt x="1020" y="533"/>
                  </a:lnTo>
                  <a:lnTo>
                    <a:pt x="1020" y="533"/>
                  </a:lnTo>
                  <a:lnTo>
                    <a:pt x="1023" y="537"/>
                  </a:lnTo>
                  <a:lnTo>
                    <a:pt x="1023" y="537"/>
                  </a:lnTo>
                  <a:lnTo>
                    <a:pt x="1024" y="539"/>
                  </a:lnTo>
                  <a:lnTo>
                    <a:pt x="1024" y="540"/>
                  </a:lnTo>
                  <a:lnTo>
                    <a:pt x="1024" y="540"/>
                  </a:lnTo>
                  <a:lnTo>
                    <a:pt x="1024" y="539"/>
                  </a:lnTo>
                  <a:lnTo>
                    <a:pt x="1024" y="540"/>
                  </a:lnTo>
                  <a:lnTo>
                    <a:pt x="1024" y="540"/>
                  </a:lnTo>
                  <a:lnTo>
                    <a:pt x="1024" y="539"/>
                  </a:lnTo>
                  <a:lnTo>
                    <a:pt x="1025" y="540"/>
                  </a:lnTo>
                  <a:lnTo>
                    <a:pt x="1024" y="539"/>
                  </a:lnTo>
                  <a:lnTo>
                    <a:pt x="1024" y="539"/>
                  </a:lnTo>
                  <a:lnTo>
                    <a:pt x="1025" y="540"/>
                  </a:lnTo>
                  <a:lnTo>
                    <a:pt x="1024" y="539"/>
                  </a:lnTo>
                  <a:lnTo>
                    <a:pt x="1024" y="539"/>
                  </a:lnTo>
                  <a:lnTo>
                    <a:pt x="1024" y="539"/>
                  </a:lnTo>
                  <a:lnTo>
                    <a:pt x="1024" y="539"/>
                  </a:lnTo>
                  <a:lnTo>
                    <a:pt x="1021" y="540"/>
                  </a:lnTo>
                  <a:lnTo>
                    <a:pt x="1021" y="540"/>
                  </a:lnTo>
                  <a:lnTo>
                    <a:pt x="1012" y="545"/>
                  </a:lnTo>
                  <a:lnTo>
                    <a:pt x="1012" y="545"/>
                  </a:lnTo>
                  <a:lnTo>
                    <a:pt x="1008" y="546"/>
                  </a:lnTo>
                  <a:lnTo>
                    <a:pt x="1005" y="550"/>
                  </a:lnTo>
                  <a:lnTo>
                    <a:pt x="1005" y="550"/>
                  </a:lnTo>
                  <a:lnTo>
                    <a:pt x="1001" y="556"/>
                  </a:lnTo>
                  <a:lnTo>
                    <a:pt x="1001" y="556"/>
                  </a:lnTo>
                  <a:lnTo>
                    <a:pt x="999" y="563"/>
                  </a:lnTo>
                  <a:lnTo>
                    <a:pt x="999" y="563"/>
                  </a:lnTo>
                  <a:lnTo>
                    <a:pt x="1001" y="566"/>
                  </a:lnTo>
                  <a:lnTo>
                    <a:pt x="1001" y="566"/>
                  </a:lnTo>
                  <a:lnTo>
                    <a:pt x="1002" y="568"/>
                  </a:lnTo>
                  <a:lnTo>
                    <a:pt x="1002" y="568"/>
                  </a:lnTo>
                  <a:lnTo>
                    <a:pt x="1007" y="571"/>
                  </a:lnTo>
                  <a:lnTo>
                    <a:pt x="1007" y="571"/>
                  </a:lnTo>
                  <a:lnTo>
                    <a:pt x="1009" y="572"/>
                  </a:lnTo>
                  <a:lnTo>
                    <a:pt x="1011" y="575"/>
                  </a:lnTo>
                  <a:lnTo>
                    <a:pt x="1011" y="575"/>
                  </a:lnTo>
                  <a:lnTo>
                    <a:pt x="1014" y="582"/>
                  </a:lnTo>
                  <a:lnTo>
                    <a:pt x="1014" y="582"/>
                  </a:lnTo>
                  <a:lnTo>
                    <a:pt x="1017" y="587"/>
                  </a:lnTo>
                  <a:lnTo>
                    <a:pt x="1017" y="587"/>
                  </a:lnTo>
                  <a:lnTo>
                    <a:pt x="1020" y="588"/>
                  </a:lnTo>
                  <a:lnTo>
                    <a:pt x="1023" y="588"/>
                  </a:lnTo>
                  <a:lnTo>
                    <a:pt x="1023" y="588"/>
                  </a:lnTo>
                  <a:lnTo>
                    <a:pt x="1024" y="588"/>
                  </a:lnTo>
                  <a:lnTo>
                    <a:pt x="1024" y="588"/>
                  </a:lnTo>
                  <a:lnTo>
                    <a:pt x="1028" y="588"/>
                  </a:lnTo>
                  <a:lnTo>
                    <a:pt x="1028" y="588"/>
                  </a:lnTo>
                  <a:lnTo>
                    <a:pt x="1036" y="588"/>
                  </a:lnTo>
                  <a:lnTo>
                    <a:pt x="1036" y="588"/>
                  </a:lnTo>
                  <a:lnTo>
                    <a:pt x="1041" y="588"/>
                  </a:lnTo>
                  <a:lnTo>
                    <a:pt x="1046" y="587"/>
                  </a:lnTo>
                  <a:lnTo>
                    <a:pt x="1046" y="587"/>
                  </a:lnTo>
                  <a:lnTo>
                    <a:pt x="1050" y="584"/>
                  </a:lnTo>
                  <a:lnTo>
                    <a:pt x="1050" y="584"/>
                  </a:lnTo>
                  <a:lnTo>
                    <a:pt x="1053" y="578"/>
                  </a:lnTo>
                  <a:lnTo>
                    <a:pt x="1053" y="578"/>
                  </a:lnTo>
                  <a:lnTo>
                    <a:pt x="1054" y="571"/>
                  </a:lnTo>
                  <a:lnTo>
                    <a:pt x="1054" y="563"/>
                  </a:lnTo>
                  <a:lnTo>
                    <a:pt x="1054" y="563"/>
                  </a:lnTo>
                  <a:lnTo>
                    <a:pt x="1054" y="558"/>
                  </a:lnTo>
                  <a:lnTo>
                    <a:pt x="1054" y="558"/>
                  </a:lnTo>
                  <a:lnTo>
                    <a:pt x="1054" y="558"/>
                  </a:lnTo>
                  <a:lnTo>
                    <a:pt x="1054" y="558"/>
                  </a:lnTo>
                  <a:lnTo>
                    <a:pt x="1053" y="556"/>
                  </a:lnTo>
                  <a:lnTo>
                    <a:pt x="1054" y="558"/>
                  </a:lnTo>
                  <a:lnTo>
                    <a:pt x="1054" y="558"/>
                  </a:lnTo>
                  <a:lnTo>
                    <a:pt x="1053" y="556"/>
                  </a:lnTo>
                  <a:lnTo>
                    <a:pt x="1054" y="558"/>
                  </a:lnTo>
                  <a:lnTo>
                    <a:pt x="1054" y="558"/>
                  </a:lnTo>
                  <a:lnTo>
                    <a:pt x="1054" y="558"/>
                  </a:lnTo>
                  <a:lnTo>
                    <a:pt x="1054" y="558"/>
                  </a:lnTo>
                  <a:lnTo>
                    <a:pt x="1063" y="555"/>
                  </a:lnTo>
                  <a:lnTo>
                    <a:pt x="1063" y="555"/>
                  </a:lnTo>
                  <a:lnTo>
                    <a:pt x="1067" y="553"/>
                  </a:lnTo>
                  <a:lnTo>
                    <a:pt x="1067" y="553"/>
                  </a:lnTo>
                  <a:lnTo>
                    <a:pt x="1069" y="552"/>
                  </a:lnTo>
                  <a:lnTo>
                    <a:pt x="1069" y="552"/>
                  </a:lnTo>
                  <a:lnTo>
                    <a:pt x="1070" y="549"/>
                  </a:lnTo>
                  <a:lnTo>
                    <a:pt x="1070" y="549"/>
                  </a:lnTo>
                  <a:lnTo>
                    <a:pt x="1070" y="549"/>
                  </a:lnTo>
                  <a:lnTo>
                    <a:pt x="1070" y="549"/>
                  </a:lnTo>
                  <a:lnTo>
                    <a:pt x="1067" y="543"/>
                  </a:lnTo>
                  <a:lnTo>
                    <a:pt x="1067" y="543"/>
                  </a:lnTo>
                  <a:lnTo>
                    <a:pt x="1066" y="542"/>
                  </a:lnTo>
                  <a:lnTo>
                    <a:pt x="1065" y="540"/>
                  </a:lnTo>
                  <a:lnTo>
                    <a:pt x="1065" y="540"/>
                  </a:lnTo>
                  <a:lnTo>
                    <a:pt x="1065" y="540"/>
                  </a:lnTo>
                  <a:lnTo>
                    <a:pt x="1065" y="540"/>
                  </a:lnTo>
                  <a:lnTo>
                    <a:pt x="1065" y="540"/>
                  </a:lnTo>
                  <a:lnTo>
                    <a:pt x="1065" y="540"/>
                  </a:lnTo>
                  <a:lnTo>
                    <a:pt x="1065" y="540"/>
                  </a:lnTo>
                  <a:lnTo>
                    <a:pt x="1063" y="540"/>
                  </a:lnTo>
                  <a:lnTo>
                    <a:pt x="1065" y="542"/>
                  </a:lnTo>
                  <a:lnTo>
                    <a:pt x="1065" y="542"/>
                  </a:lnTo>
                  <a:lnTo>
                    <a:pt x="1065" y="540"/>
                  </a:lnTo>
                  <a:lnTo>
                    <a:pt x="1063" y="540"/>
                  </a:lnTo>
                  <a:lnTo>
                    <a:pt x="1065" y="542"/>
                  </a:lnTo>
                  <a:lnTo>
                    <a:pt x="1063" y="542"/>
                  </a:lnTo>
                  <a:lnTo>
                    <a:pt x="1065" y="543"/>
                  </a:lnTo>
                  <a:lnTo>
                    <a:pt x="1065" y="542"/>
                  </a:lnTo>
                  <a:lnTo>
                    <a:pt x="1063" y="542"/>
                  </a:lnTo>
                  <a:lnTo>
                    <a:pt x="1065" y="543"/>
                  </a:lnTo>
                  <a:lnTo>
                    <a:pt x="1063" y="542"/>
                  </a:lnTo>
                  <a:lnTo>
                    <a:pt x="1065" y="543"/>
                  </a:lnTo>
                  <a:lnTo>
                    <a:pt x="1065" y="543"/>
                  </a:lnTo>
                  <a:lnTo>
                    <a:pt x="1063" y="542"/>
                  </a:lnTo>
                  <a:lnTo>
                    <a:pt x="1065" y="543"/>
                  </a:lnTo>
                  <a:lnTo>
                    <a:pt x="1065" y="543"/>
                  </a:lnTo>
                  <a:lnTo>
                    <a:pt x="1065" y="543"/>
                  </a:lnTo>
                  <a:lnTo>
                    <a:pt x="1069" y="543"/>
                  </a:lnTo>
                  <a:lnTo>
                    <a:pt x="1069" y="543"/>
                  </a:lnTo>
                  <a:lnTo>
                    <a:pt x="1076" y="545"/>
                  </a:lnTo>
                  <a:lnTo>
                    <a:pt x="1076" y="545"/>
                  </a:lnTo>
                  <a:lnTo>
                    <a:pt x="1079" y="545"/>
                  </a:lnTo>
                  <a:lnTo>
                    <a:pt x="1079" y="545"/>
                  </a:lnTo>
                  <a:lnTo>
                    <a:pt x="1080" y="543"/>
                  </a:lnTo>
                  <a:lnTo>
                    <a:pt x="1080" y="543"/>
                  </a:lnTo>
                  <a:lnTo>
                    <a:pt x="1086" y="534"/>
                  </a:lnTo>
                  <a:lnTo>
                    <a:pt x="1086" y="534"/>
                  </a:lnTo>
                  <a:lnTo>
                    <a:pt x="1092" y="530"/>
                  </a:lnTo>
                  <a:lnTo>
                    <a:pt x="1098" y="527"/>
                  </a:lnTo>
                  <a:lnTo>
                    <a:pt x="1098" y="527"/>
                  </a:lnTo>
                  <a:lnTo>
                    <a:pt x="1111" y="523"/>
                  </a:lnTo>
                  <a:lnTo>
                    <a:pt x="1120" y="519"/>
                  </a:lnTo>
                  <a:lnTo>
                    <a:pt x="1120" y="519"/>
                  </a:lnTo>
                  <a:lnTo>
                    <a:pt x="1128" y="511"/>
                  </a:lnTo>
                  <a:lnTo>
                    <a:pt x="1128" y="511"/>
                  </a:lnTo>
                  <a:lnTo>
                    <a:pt x="1138" y="504"/>
                  </a:lnTo>
                  <a:lnTo>
                    <a:pt x="1138" y="504"/>
                  </a:lnTo>
                  <a:lnTo>
                    <a:pt x="1147" y="500"/>
                  </a:lnTo>
                  <a:lnTo>
                    <a:pt x="1147" y="500"/>
                  </a:lnTo>
                  <a:lnTo>
                    <a:pt x="1151" y="498"/>
                  </a:lnTo>
                  <a:lnTo>
                    <a:pt x="1151" y="498"/>
                  </a:lnTo>
                  <a:lnTo>
                    <a:pt x="1151" y="498"/>
                  </a:lnTo>
                  <a:lnTo>
                    <a:pt x="1153" y="498"/>
                  </a:lnTo>
                  <a:lnTo>
                    <a:pt x="1153" y="497"/>
                  </a:lnTo>
                  <a:lnTo>
                    <a:pt x="1153" y="498"/>
                  </a:lnTo>
                  <a:lnTo>
                    <a:pt x="1153" y="498"/>
                  </a:lnTo>
                  <a:lnTo>
                    <a:pt x="1153" y="497"/>
                  </a:lnTo>
                  <a:lnTo>
                    <a:pt x="1153" y="498"/>
                  </a:lnTo>
                  <a:lnTo>
                    <a:pt x="1151" y="495"/>
                  </a:lnTo>
                  <a:lnTo>
                    <a:pt x="1151" y="498"/>
                  </a:lnTo>
                  <a:lnTo>
                    <a:pt x="1153" y="498"/>
                  </a:lnTo>
                  <a:lnTo>
                    <a:pt x="1151" y="495"/>
                  </a:lnTo>
                  <a:lnTo>
                    <a:pt x="1151" y="498"/>
                  </a:lnTo>
                  <a:lnTo>
                    <a:pt x="1151" y="495"/>
                  </a:lnTo>
                  <a:lnTo>
                    <a:pt x="1151" y="498"/>
                  </a:lnTo>
                  <a:lnTo>
                    <a:pt x="1151" y="498"/>
                  </a:lnTo>
                  <a:lnTo>
                    <a:pt x="1151" y="498"/>
                  </a:lnTo>
                  <a:lnTo>
                    <a:pt x="1151" y="495"/>
                  </a:lnTo>
                  <a:lnTo>
                    <a:pt x="1151" y="498"/>
                  </a:lnTo>
                  <a:lnTo>
                    <a:pt x="1151" y="495"/>
                  </a:lnTo>
                  <a:lnTo>
                    <a:pt x="1150" y="497"/>
                  </a:lnTo>
                  <a:lnTo>
                    <a:pt x="1151" y="498"/>
                  </a:lnTo>
                  <a:lnTo>
                    <a:pt x="1151" y="495"/>
                  </a:lnTo>
                  <a:lnTo>
                    <a:pt x="1150" y="497"/>
                  </a:lnTo>
                  <a:lnTo>
                    <a:pt x="1151" y="495"/>
                  </a:lnTo>
                  <a:lnTo>
                    <a:pt x="1150" y="495"/>
                  </a:lnTo>
                  <a:lnTo>
                    <a:pt x="1150" y="497"/>
                  </a:lnTo>
                  <a:lnTo>
                    <a:pt x="1151" y="495"/>
                  </a:lnTo>
                  <a:lnTo>
                    <a:pt x="1150" y="495"/>
                  </a:lnTo>
                  <a:lnTo>
                    <a:pt x="1151" y="495"/>
                  </a:lnTo>
                  <a:lnTo>
                    <a:pt x="1150" y="494"/>
                  </a:lnTo>
                  <a:lnTo>
                    <a:pt x="1150" y="494"/>
                  </a:lnTo>
                  <a:lnTo>
                    <a:pt x="1150" y="495"/>
                  </a:lnTo>
                  <a:lnTo>
                    <a:pt x="1151" y="495"/>
                  </a:lnTo>
                  <a:lnTo>
                    <a:pt x="1150" y="494"/>
                  </a:lnTo>
                  <a:lnTo>
                    <a:pt x="1151" y="495"/>
                  </a:lnTo>
                  <a:lnTo>
                    <a:pt x="1150" y="494"/>
                  </a:lnTo>
                  <a:lnTo>
                    <a:pt x="1150" y="494"/>
                  </a:lnTo>
                  <a:lnTo>
                    <a:pt x="1150" y="494"/>
                  </a:lnTo>
                  <a:lnTo>
                    <a:pt x="1151" y="495"/>
                  </a:lnTo>
                  <a:lnTo>
                    <a:pt x="1150" y="494"/>
                  </a:lnTo>
                  <a:lnTo>
                    <a:pt x="1150" y="494"/>
                  </a:lnTo>
                  <a:lnTo>
                    <a:pt x="1149" y="495"/>
                  </a:lnTo>
                  <a:lnTo>
                    <a:pt x="1149" y="495"/>
                  </a:lnTo>
                  <a:lnTo>
                    <a:pt x="1144" y="498"/>
                  </a:lnTo>
                  <a:lnTo>
                    <a:pt x="1144" y="498"/>
                  </a:lnTo>
                  <a:lnTo>
                    <a:pt x="1141" y="500"/>
                  </a:lnTo>
                  <a:lnTo>
                    <a:pt x="1141" y="500"/>
                  </a:lnTo>
                  <a:lnTo>
                    <a:pt x="1141" y="504"/>
                  </a:lnTo>
                  <a:lnTo>
                    <a:pt x="1141" y="504"/>
                  </a:lnTo>
                  <a:lnTo>
                    <a:pt x="1141" y="505"/>
                  </a:lnTo>
                  <a:lnTo>
                    <a:pt x="1141" y="505"/>
                  </a:lnTo>
                  <a:lnTo>
                    <a:pt x="1141" y="507"/>
                  </a:lnTo>
                  <a:lnTo>
                    <a:pt x="1141" y="507"/>
                  </a:lnTo>
                  <a:lnTo>
                    <a:pt x="1141" y="510"/>
                  </a:lnTo>
                  <a:lnTo>
                    <a:pt x="1141" y="510"/>
                  </a:lnTo>
                  <a:lnTo>
                    <a:pt x="1141" y="517"/>
                  </a:lnTo>
                  <a:lnTo>
                    <a:pt x="1141" y="517"/>
                  </a:lnTo>
                  <a:lnTo>
                    <a:pt x="1140" y="520"/>
                  </a:lnTo>
                  <a:lnTo>
                    <a:pt x="1140" y="521"/>
                  </a:lnTo>
                  <a:lnTo>
                    <a:pt x="1140" y="521"/>
                  </a:lnTo>
                  <a:lnTo>
                    <a:pt x="1140" y="521"/>
                  </a:lnTo>
                  <a:lnTo>
                    <a:pt x="1140" y="521"/>
                  </a:lnTo>
                  <a:lnTo>
                    <a:pt x="1140" y="521"/>
                  </a:lnTo>
                  <a:lnTo>
                    <a:pt x="1140" y="521"/>
                  </a:lnTo>
                  <a:lnTo>
                    <a:pt x="1140" y="521"/>
                  </a:lnTo>
                  <a:lnTo>
                    <a:pt x="1140" y="521"/>
                  </a:lnTo>
                  <a:lnTo>
                    <a:pt x="1140" y="521"/>
                  </a:lnTo>
                  <a:lnTo>
                    <a:pt x="1137" y="523"/>
                  </a:lnTo>
                  <a:lnTo>
                    <a:pt x="1137" y="523"/>
                  </a:lnTo>
                  <a:lnTo>
                    <a:pt x="1130" y="529"/>
                  </a:lnTo>
                  <a:lnTo>
                    <a:pt x="1130" y="529"/>
                  </a:lnTo>
                  <a:lnTo>
                    <a:pt x="1127" y="532"/>
                  </a:lnTo>
                  <a:lnTo>
                    <a:pt x="1127" y="532"/>
                  </a:lnTo>
                  <a:lnTo>
                    <a:pt x="1125" y="533"/>
                  </a:lnTo>
                  <a:lnTo>
                    <a:pt x="1125" y="533"/>
                  </a:lnTo>
                  <a:lnTo>
                    <a:pt x="1122" y="536"/>
                  </a:lnTo>
                  <a:lnTo>
                    <a:pt x="1122" y="536"/>
                  </a:lnTo>
                  <a:lnTo>
                    <a:pt x="1121" y="539"/>
                  </a:lnTo>
                  <a:lnTo>
                    <a:pt x="1121" y="539"/>
                  </a:lnTo>
                  <a:lnTo>
                    <a:pt x="1121" y="542"/>
                  </a:lnTo>
                  <a:lnTo>
                    <a:pt x="1121" y="542"/>
                  </a:lnTo>
                  <a:lnTo>
                    <a:pt x="1122" y="543"/>
                  </a:lnTo>
                  <a:lnTo>
                    <a:pt x="1122" y="543"/>
                  </a:lnTo>
                  <a:lnTo>
                    <a:pt x="1124" y="545"/>
                  </a:lnTo>
                  <a:lnTo>
                    <a:pt x="1124" y="545"/>
                  </a:lnTo>
                  <a:lnTo>
                    <a:pt x="1127" y="543"/>
                  </a:lnTo>
                  <a:lnTo>
                    <a:pt x="1128" y="543"/>
                  </a:lnTo>
                  <a:lnTo>
                    <a:pt x="1128" y="543"/>
                  </a:lnTo>
                  <a:lnTo>
                    <a:pt x="1128" y="543"/>
                  </a:lnTo>
                  <a:lnTo>
                    <a:pt x="1128" y="543"/>
                  </a:lnTo>
                  <a:lnTo>
                    <a:pt x="1128" y="543"/>
                  </a:lnTo>
                  <a:lnTo>
                    <a:pt x="1128" y="543"/>
                  </a:lnTo>
                  <a:lnTo>
                    <a:pt x="1128" y="543"/>
                  </a:lnTo>
                  <a:lnTo>
                    <a:pt x="1128" y="542"/>
                  </a:lnTo>
                  <a:lnTo>
                    <a:pt x="1127" y="543"/>
                  </a:lnTo>
                  <a:lnTo>
                    <a:pt x="1128" y="543"/>
                  </a:lnTo>
                  <a:lnTo>
                    <a:pt x="1128" y="542"/>
                  </a:lnTo>
                  <a:lnTo>
                    <a:pt x="1127" y="543"/>
                  </a:lnTo>
                  <a:lnTo>
                    <a:pt x="1128" y="542"/>
                  </a:lnTo>
                  <a:lnTo>
                    <a:pt x="1127" y="543"/>
                  </a:lnTo>
                  <a:lnTo>
                    <a:pt x="1127" y="543"/>
                  </a:lnTo>
                  <a:lnTo>
                    <a:pt x="1128" y="542"/>
                  </a:lnTo>
                  <a:lnTo>
                    <a:pt x="1127" y="543"/>
                  </a:lnTo>
                  <a:lnTo>
                    <a:pt x="1128" y="542"/>
                  </a:lnTo>
                  <a:lnTo>
                    <a:pt x="1127" y="543"/>
                  </a:lnTo>
                  <a:lnTo>
                    <a:pt x="1127" y="543"/>
                  </a:lnTo>
                  <a:lnTo>
                    <a:pt x="1128" y="542"/>
                  </a:lnTo>
                  <a:lnTo>
                    <a:pt x="1127" y="543"/>
                  </a:lnTo>
                  <a:lnTo>
                    <a:pt x="1127" y="543"/>
                  </a:lnTo>
                  <a:lnTo>
                    <a:pt x="1127" y="543"/>
                  </a:lnTo>
                  <a:lnTo>
                    <a:pt x="1127" y="543"/>
                  </a:lnTo>
                  <a:lnTo>
                    <a:pt x="1127" y="543"/>
                  </a:lnTo>
                  <a:lnTo>
                    <a:pt x="1127" y="543"/>
                  </a:lnTo>
                  <a:lnTo>
                    <a:pt x="1127" y="543"/>
                  </a:lnTo>
                  <a:lnTo>
                    <a:pt x="1128" y="545"/>
                  </a:lnTo>
                  <a:lnTo>
                    <a:pt x="1128" y="545"/>
                  </a:lnTo>
                  <a:lnTo>
                    <a:pt x="1130" y="546"/>
                  </a:lnTo>
                  <a:lnTo>
                    <a:pt x="1130" y="546"/>
                  </a:lnTo>
                  <a:lnTo>
                    <a:pt x="1131" y="546"/>
                  </a:lnTo>
                  <a:lnTo>
                    <a:pt x="1133" y="546"/>
                  </a:lnTo>
                  <a:lnTo>
                    <a:pt x="1134" y="546"/>
                  </a:lnTo>
                  <a:lnTo>
                    <a:pt x="1134" y="546"/>
                  </a:lnTo>
                  <a:lnTo>
                    <a:pt x="1135" y="546"/>
                  </a:lnTo>
                  <a:lnTo>
                    <a:pt x="1135" y="546"/>
                  </a:lnTo>
                  <a:lnTo>
                    <a:pt x="1137" y="547"/>
                  </a:lnTo>
                  <a:lnTo>
                    <a:pt x="1137" y="547"/>
                  </a:lnTo>
                  <a:lnTo>
                    <a:pt x="1141" y="546"/>
                  </a:lnTo>
                  <a:lnTo>
                    <a:pt x="1141" y="546"/>
                  </a:lnTo>
                  <a:lnTo>
                    <a:pt x="1146" y="543"/>
                  </a:lnTo>
                  <a:lnTo>
                    <a:pt x="1146" y="543"/>
                  </a:lnTo>
                  <a:lnTo>
                    <a:pt x="1149" y="540"/>
                  </a:lnTo>
                  <a:lnTo>
                    <a:pt x="1151" y="536"/>
                  </a:lnTo>
                  <a:lnTo>
                    <a:pt x="1151" y="536"/>
                  </a:lnTo>
                  <a:lnTo>
                    <a:pt x="1153" y="534"/>
                  </a:lnTo>
                  <a:lnTo>
                    <a:pt x="1153" y="534"/>
                  </a:lnTo>
                  <a:lnTo>
                    <a:pt x="1151" y="533"/>
                  </a:lnTo>
                  <a:lnTo>
                    <a:pt x="1151" y="534"/>
                  </a:lnTo>
                  <a:lnTo>
                    <a:pt x="1153" y="534"/>
                  </a:lnTo>
                  <a:lnTo>
                    <a:pt x="1151" y="533"/>
                  </a:lnTo>
                  <a:lnTo>
                    <a:pt x="1151" y="534"/>
                  </a:lnTo>
                  <a:lnTo>
                    <a:pt x="1151" y="533"/>
                  </a:lnTo>
                  <a:lnTo>
                    <a:pt x="1151" y="534"/>
                  </a:lnTo>
                  <a:lnTo>
                    <a:pt x="1151" y="534"/>
                  </a:lnTo>
                  <a:lnTo>
                    <a:pt x="1151" y="533"/>
                  </a:lnTo>
                  <a:lnTo>
                    <a:pt x="1151" y="534"/>
                  </a:lnTo>
                  <a:lnTo>
                    <a:pt x="1151" y="534"/>
                  </a:lnTo>
                  <a:lnTo>
                    <a:pt x="1151" y="534"/>
                  </a:lnTo>
                  <a:lnTo>
                    <a:pt x="1151" y="534"/>
                  </a:lnTo>
                  <a:lnTo>
                    <a:pt x="1151" y="534"/>
                  </a:lnTo>
                  <a:lnTo>
                    <a:pt x="1151" y="534"/>
                  </a:lnTo>
                  <a:lnTo>
                    <a:pt x="1151" y="534"/>
                  </a:lnTo>
                  <a:lnTo>
                    <a:pt x="1153" y="534"/>
                  </a:lnTo>
                  <a:lnTo>
                    <a:pt x="1153" y="534"/>
                  </a:lnTo>
                  <a:lnTo>
                    <a:pt x="1156" y="536"/>
                  </a:lnTo>
                  <a:lnTo>
                    <a:pt x="1156" y="536"/>
                  </a:lnTo>
                  <a:lnTo>
                    <a:pt x="1159" y="534"/>
                  </a:lnTo>
                  <a:lnTo>
                    <a:pt x="1159" y="534"/>
                  </a:lnTo>
                  <a:lnTo>
                    <a:pt x="1162" y="532"/>
                  </a:lnTo>
                  <a:lnTo>
                    <a:pt x="1162" y="532"/>
                  </a:lnTo>
                  <a:lnTo>
                    <a:pt x="1163" y="529"/>
                  </a:lnTo>
                  <a:lnTo>
                    <a:pt x="1163" y="529"/>
                  </a:lnTo>
                  <a:lnTo>
                    <a:pt x="1163" y="527"/>
                  </a:lnTo>
                  <a:lnTo>
                    <a:pt x="1163" y="527"/>
                  </a:lnTo>
                  <a:lnTo>
                    <a:pt x="1163" y="526"/>
                  </a:lnTo>
                  <a:lnTo>
                    <a:pt x="1163" y="524"/>
                  </a:lnTo>
                  <a:lnTo>
                    <a:pt x="1163" y="524"/>
                  </a:lnTo>
                  <a:lnTo>
                    <a:pt x="1166" y="521"/>
                  </a:lnTo>
                  <a:lnTo>
                    <a:pt x="1166" y="521"/>
                  </a:lnTo>
                  <a:lnTo>
                    <a:pt x="1173" y="517"/>
                  </a:lnTo>
                  <a:lnTo>
                    <a:pt x="1173" y="517"/>
                  </a:lnTo>
                  <a:lnTo>
                    <a:pt x="1177" y="517"/>
                  </a:lnTo>
                  <a:lnTo>
                    <a:pt x="1177" y="517"/>
                  </a:lnTo>
                  <a:lnTo>
                    <a:pt x="1180" y="517"/>
                  </a:lnTo>
                  <a:lnTo>
                    <a:pt x="1180" y="517"/>
                  </a:lnTo>
                  <a:lnTo>
                    <a:pt x="1186" y="519"/>
                  </a:lnTo>
                  <a:lnTo>
                    <a:pt x="1186" y="519"/>
                  </a:lnTo>
                  <a:lnTo>
                    <a:pt x="1192" y="519"/>
                  </a:lnTo>
                  <a:lnTo>
                    <a:pt x="1192" y="519"/>
                  </a:lnTo>
                  <a:lnTo>
                    <a:pt x="1204" y="514"/>
                  </a:lnTo>
                  <a:lnTo>
                    <a:pt x="1204" y="514"/>
                  </a:lnTo>
                  <a:lnTo>
                    <a:pt x="1208" y="513"/>
                  </a:lnTo>
                  <a:lnTo>
                    <a:pt x="1212" y="508"/>
                  </a:lnTo>
                  <a:lnTo>
                    <a:pt x="1212" y="508"/>
                  </a:lnTo>
                  <a:lnTo>
                    <a:pt x="1218" y="504"/>
                  </a:lnTo>
                  <a:lnTo>
                    <a:pt x="1218" y="504"/>
                  </a:lnTo>
                  <a:lnTo>
                    <a:pt x="1222" y="503"/>
                  </a:lnTo>
                  <a:lnTo>
                    <a:pt x="1224" y="503"/>
                  </a:lnTo>
                  <a:lnTo>
                    <a:pt x="1224" y="503"/>
                  </a:lnTo>
                  <a:lnTo>
                    <a:pt x="1227" y="507"/>
                  </a:lnTo>
                  <a:lnTo>
                    <a:pt x="1227" y="507"/>
                  </a:lnTo>
                  <a:lnTo>
                    <a:pt x="1228" y="508"/>
                  </a:lnTo>
                  <a:lnTo>
                    <a:pt x="1228" y="508"/>
                  </a:lnTo>
                  <a:lnTo>
                    <a:pt x="1228" y="510"/>
                  </a:lnTo>
                  <a:lnTo>
                    <a:pt x="1230" y="510"/>
                  </a:lnTo>
                  <a:lnTo>
                    <a:pt x="1228" y="510"/>
                  </a:lnTo>
                  <a:lnTo>
                    <a:pt x="1228" y="510"/>
                  </a:lnTo>
                  <a:lnTo>
                    <a:pt x="1230" y="510"/>
                  </a:lnTo>
                  <a:lnTo>
                    <a:pt x="1228" y="510"/>
                  </a:lnTo>
                  <a:lnTo>
                    <a:pt x="1228" y="510"/>
                  </a:lnTo>
                  <a:lnTo>
                    <a:pt x="1228" y="513"/>
                  </a:lnTo>
                  <a:lnTo>
                    <a:pt x="1228" y="513"/>
                  </a:lnTo>
                  <a:lnTo>
                    <a:pt x="1227" y="516"/>
                  </a:lnTo>
                  <a:lnTo>
                    <a:pt x="1227" y="516"/>
                  </a:lnTo>
                  <a:lnTo>
                    <a:pt x="1227" y="516"/>
                  </a:lnTo>
                  <a:lnTo>
                    <a:pt x="1228" y="516"/>
                  </a:lnTo>
                  <a:lnTo>
                    <a:pt x="1228" y="516"/>
                  </a:lnTo>
                  <a:lnTo>
                    <a:pt x="1227" y="516"/>
                  </a:lnTo>
                  <a:lnTo>
                    <a:pt x="1228" y="516"/>
                  </a:lnTo>
                  <a:lnTo>
                    <a:pt x="1228" y="516"/>
                  </a:lnTo>
                  <a:lnTo>
                    <a:pt x="1228" y="516"/>
                  </a:lnTo>
                  <a:lnTo>
                    <a:pt x="1228" y="516"/>
                  </a:lnTo>
                  <a:lnTo>
                    <a:pt x="1228" y="516"/>
                  </a:lnTo>
                  <a:lnTo>
                    <a:pt x="1228" y="516"/>
                  </a:lnTo>
                  <a:lnTo>
                    <a:pt x="1228" y="516"/>
                  </a:lnTo>
                  <a:lnTo>
                    <a:pt x="1228" y="516"/>
                  </a:lnTo>
                  <a:lnTo>
                    <a:pt x="1225" y="517"/>
                  </a:lnTo>
                  <a:lnTo>
                    <a:pt x="1225" y="517"/>
                  </a:lnTo>
                  <a:lnTo>
                    <a:pt x="1224" y="517"/>
                  </a:lnTo>
                  <a:lnTo>
                    <a:pt x="1224" y="520"/>
                  </a:lnTo>
                  <a:lnTo>
                    <a:pt x="1224" y="520"/>
                  </a:lnTo>
                  <a:lnTo>
                    <a:pt x="1225" y="523"/>
                  </a:lnTo>
                  <a:lnTo>
                    <a:pt x="1225" y="523"/>
                  </a:lnTo>
                  <a:lnTo>
                    <a:pt x="1228" y="524"/>
                  </a:lnTo>
                  <a:lnTo>
                    <a:pt x="1228" y="524"/>
                  </a:lnTo>
                  <a:lnTo>
                    <a:pt x="1231" y="527"/>
                  </a:lnTo>
                  <a:lnTo>
                    <a:pt x="1231" y="527"/>
                  </a:lnTo>
                  <a:lnTo>
                    <a:pt x="1234" y="530"/>
                  </a:lnTo>
                  <a:lnTo>
                    <a:pt x="1234" y="530"/>
                  </a:lnTo>
                  <a:lnTo>
                    <a:pt x="1234" y="530"/>
                  </a:lnTo>
                  <a:lnTo>
                    <a:pt x="1234" y="530"/>
                  </a:lnTo>
                  <a:lnTo>
                    <a:pt x="1237" y="532"/>
                  </a:lnTo>
                  <a:lnTo>
                    <a:pt x="1237" y="532"/>
                  </a:lnTo>
                  <a:lnTo>
                    <a:pt x="1238" y="530"/>
                  </a:lnTo>
                  <a:lnTo>
                    <a:pt x="1238" y="530"/>
                  </a:lnTo>
                  <a:lnTo>
                    <a:pt x="1240" y="529"/>
                  </a:lnTo>
                  <a:lnTo>
                    <a:pt x="1240" y="529"/>
                  </a:lnTo>
                  <a:lnTo>
                    <a:pt x="1241" y="526"/>
                  </a:lnTo>
                  <a:lnTo>
                    <a:pt x="1241" y="526"/>
                  </a:lnTo>
                  <a:lnTo>
                    <a:pt x="1241" y="523"/>
                  </a:lnTo>
                  <a:lnTo>
                    <a:pt x="1241" y="523"/>
                  </a:lnTo>
                  <a:lnTo>
                    <a:pt x="1240" y="514"/>
                  </a:lnTo>
                  <a:lnTo>
                    <a:pt x="1240" y="514"/>
                  </a:lnTo>
                  <a:lnTo>
                    <a:pt x="1241" y="513"/>
                  </a:lnTo>
                  <a:lnTo>
                    <a:pt x="1241" y="513"/>
                  </a:lnTo>
                  <a:lnTo>
                    <a:pt x="1241" y="511"/>
                  </a:lnTo>
                  <a:lnTo>
                    <a:pt x="1241" y="511"/>
                  </a:lnTo>
                  <a:lnTo>
                    <a:pt x="1250" y="510"/>
                  </a:lnTo>
                  <a:lnTo>
                    <a:pt x="1250" y="510"/>
                  </a:lnTo>
                  <a:lnTo>
                    <a:pt x="1254" y="507"/>
                  </a:lnTo>
                  <a:lnTo>
                    <a:pt x="1254" y="507"/>
                  </a:lnTo>
                  <a:lnTo>
                    <a:pt x="1256" y="505"/>
                  </a:lnTo>
                  <a:lnTo>
                    <a:pt x="1256" y="503"/>
                  </a:lnTo>
                  <a:lnTo>
                    <a:pt x="1256" y="503"/>
                  </a:lnTo>
                  <a:lnTo>
                    <a:pt x="1256" y="500"/>
                  </a:lnTo>
                  <a:lnTo>
                    <a:pt x="1256" y="500"/>
                  </a:lnTo>
                  <a:lnTo>
                    <a:pt x="1251" y="488"/>
                  </a:lnTo>
                  <a:lnTo>
                    <a:pt x="1247" y="476"/>
                  </a:lnTo>
                  <a:lnTo>
                    <a:pt x="1247" y="476"/>
                  </a:lnTo>
                  <a:lnTo>
                    <a:pt x="1247" y="474"/>
                  </a:lnTo>
                  <a:lnTo>
                    <a:pt x="1247" y="474"/>
                  </a:lnTo>
                  <a:lnTo>
                    <a:pt x="1247" y="471"/>
                  </a:lnTo>
                  <a:lnTo>
                    <a:pt x="1248" y="466"/>
                  </a:lnTo>
                  <a:lnTo>
                    <a:pt x="1248" y="466"/>
                  </a:lnTo>
                  <a:lnTo>
                    <a:pt x="1250" y="463"/>
                  </a:lnTo>
                  <a:lnTo>
                    <a:pt x="1250" y="463"/>
                  </a:lnTo>
                  <a:lnTo>
                    <a:pt x="1251" y="461"/>
                  </a:lnTo>
                  <a:lnTo>
                    <a:pt x="1251" y="459"/>
                  </a:lnTo>
                  <a:lnTo>
                    <a:pt x="1251" y="459"/>
                  </a:lnTo>
                  <a:lnTo>
                    <a:pt x="1251" y="459"/>
                  </a:lnTo>
                  <a:lnTo>
                    <a:pt x="1251" y="459"/>
                  </a:lnTo>
                  <a:lnTo>
                    <a:pt x="1251" y="458"/>
                  </a:lnTo>
                  <a:lnTo>
                    <a:pt x="1251" y="458"/>
                  </a:lnTo>
                  <a:lnTo>
                    <a:pt x="1254" y="456"/>
                  </a:lnTo>
                  <a:lnTo>
                    <a:pt x="1254" y="458"/>
                  </a:lnTo>
                  <a:lnTo>
                    <a:pt x="1254" y="458"/>
                  </a:lnTo>
                  <a:lnTo>
                    <a:pt x="1260" y="462"/>
                  </a:lnTo>
                  <a:lnTo>
                    <a:pt x="1260" y="462"/>
                  </a:lnTo>
                  <a:lnTo>
                    <a:pt x="1264" y="463"/>
                  </a:lnTo>
                  <a:lnTo>
                    <a:pt x="1272" y="465"/>
                  </a:lnTo>
                  <a:lnTo>
                    <a:pt x="1272" y="465"/>
                  </a:lnTo>
                  <a:lnTo>
                    <a:pt x="1273" y="465"/>
                  </a:lnTo>
                  <a:lnTo>
                    <a:pt x="1273" y="465"/>
                  </a:lnTo>
                  <a:lnTo>
                    <a:pt x="1273" y="465"/>
                  </a:lnTo>
                  <a:lnTo>
                    <a:pt x="1280" y="465"/>
                  </a:lnTo>
                  <a:lnTo>
                    <a:pt x="1288" y="468"/>
                  </a:lnTo>
                  <a:lnTo>
                    <a:pt x="1288" y="468"/>
                  </a:lnTo>
                  <a:lnTo>
                    <a:pt x="1295" y="469"/>
                  </a:lnTo>
                  <a:lnTo>
                    <a:pt x="1303" y="471"/>
                  </a:lnTo>
                  <a:lnTo>
                    <a:pt x="1303" y="471"/>
                  </a:lnTo>
                  <a:lnTo>
                    <a:pt x="1311" y="474"/>
                  </a:lnTo>
                  <a:lnTo>
                    <a:pt x="1311" y="474"/>
                  </a:lnTo>
                  <a:lnTo>
                    <a:pt x="1317" y="478"/>
                  </a:lnTo>
                  <a:lnTo>
                    <a:pt x="1322" y="484"/>
                  </a:lnTo>
                  <a:lnTo>
                    <a:pt x="1322" y="484"/>
                  </a:lnTo>
                  <a:lnTo>
                    <a:pt x="1328" y="488"/>
                  </a:lnTo>
                  <a:lnTo>
                    <a:pt x="1328" y="488"/>
                  </a:lnTo>
                  <a:lnTo>
                    <a:pt x="1331" y="491"/>
                  </a:lnTo>
                  <a:lnTo>
                    <a:pt x="1331" y="491"/>
                  </a:lnTo>
                  <a:lnTo>
                    <a:pt x="1341" y="498"/>
                  </a:lnTo>
                  <a:lnTo>
                    <a:pt x="1356" y="508"/>
                  </a:lnTo>
                  <a:lnTo>
                    <a:pt x="1356" y="508"/>
                  </a:lnTo>
                  <a:lnTo>
                    <a:pt x="1360" y="516"/>
                  </a:lnTo>
                  <a:lnTo>
                    <a:pt x="1363" y="523"/>
                  </a:lnTo>
                  <a:lnTo>
                    <a:pt x="1363" y="523"/>
                  </a:lnTo>
                  <a:lnTo>
                    <a:pt x="1366" y="530"/>
                  </a:lnTo>
                  <a:lnTo>
                    <a:pt x="1366" y="530"/>
                  </a:lnTo>
                  <a:lnTo>
                    <a:pt x="1367" y="533"/>
                  </a:lnTo>
                  <a:lnTo>
                    <a:pt x="1367" y="533"/>
                  </a:lnTo>
                  <a:lnTo>
                    <a:pt x="1369" y="534"/>
                  </a:lnTo>
                  <a:lnTo>
                    <a:pt x="1369" y="534"/>
                  </a:lnTo>
                  <a:lnTo>
                    <a:pt x="1370" y="536"/>
                  </a:lnTo>
                  <a:lnTo>
                    <a:pt x="1370" y="536"/>
                  </a:lnTo>
                  <a:lnTo>
                    <a:pt x="1372" y="534"/>
                  </a:lnTo>
                  <a:lnTo>
                    <a:pt x="1372" y="534"/>
                  </a:lnTo>
                  <a:lnTo>
                    <a:pt x="1373" y="533"/>
                  </a:lnTo>
                  <a:lnTo>
                    <a:pt x="1373" y="533"/>
                  </a:lnTo>
                  <a:lnTo>
                    <a:pt x="1376" y="529"/>
                  </a:lnTo>
                  <a:lnTo>
                    <a:pt x="1376" y="529"/>
                  </a:lnTo>
                  <a:lnTo>
                    <a:pt x="1379" y="516"/>
                  </a:lnTo>
                  <a:lnTo>
                    <a:pt x="1380" y="504"/>
                  </a:lnTo>
                  <a:lnTo>
                    <a:pt x="1380" y="504"/>
                  </a:lnTo>
                  <a:lnTo>
                    <a:pt x="1380" y="500"/>
                  </a:lnTo>
                  <a:lnTo>
                    <a:pt x="1380" y="500"/>
                  </a:lnTo>
                  <a:lnTo>
                    <a:pt x="1379" y="498"/>
                  </a:lnTo>
                  <a:lnTo>
                    <a:pt x="1379" y="498"/>
                  </a:lnTo>
                  <a:lnTo>
                    <a:pt x="1377" y="497"/>
                  </a:lnTo>
                  <a:lnTo>
                    <a:pt x="1377" y="497"/>
                  </a:lnTo>
                  <a:lnTo>
                    <a:pt x="1374" y="497"/>
                  </a:lnTo>
                  <a:lnTo>
                    <a:pt x="1374" y="497"/>
                  </a:lnTo>
                  <a:lnTo>
                    <a:pt x="1374" y="497"/>
                  </a:lnTo>
                  <a:lnTo>
                    <a:pt x="1373" y="498"/>
                  </a:lnTo>
                  <a:lnTo>
                    <a:pt x="1373" y="498"/>
                  </a:lnTo>
                  <a:lnTo>
                    <a:pt x="1369" y="497"/>
                  </a:lnTo>
                  <a:lnTo>
                    <a:pt x="1369" y="497"/>
                  </a:lnTo>
                  <a:lnTo>
                    <a:pt x="1363" y="491"/>
                  </a:lnTo>
                  <a:lnTo>
                    <a:pt x="1363" y="491"/>
                  </a:lnTo>
                  <a:lnTo>
                    <a:pt x="1361" y="485"/>
                  </a:lnTo>
                  <a:lnTo>
                    <a:pt x="1359" y="478"/>
                  </a:lnTo>
                  <a:lnTo>
                    <a:pt x="1359" y="478"/>
                  </a:lnTo>
                  <a:lnTo>
                    <a:pt x="1357" y="472"/>
                  </a:lnTo>
                  <a:lnTo>
                    <a:pt x="1357" y="472"/>
                  </a:lnTo>
                  <a:lnTo>
                    <a:pt x="1356" y="469"/>
                  </a:lnTo>
                  <a:lnTo>
                    <a:pt x="1356" y="469"/>
                  </a:lnTo>
                  <a:lnTo>
                    <a:pt x="1356" y="468"/>
                  </a:lnTo>
                  <a:lnTo>
                    <a:pt x="1356" y="468"/>
                  </a:lnTo>
                  <a:lnTo>
                    <a:pt x="1353" y="468"/>
                  </a:lnTo>
                  <a:lnTo>
                    <a:pt x="1353" y="468"/>
                  </a:lnTo>
                  <a:lnTo>
                    <a:pt x="1353" y="468"/>
                  </a:lnTo>
                  <a:lnTo>
                    <a:pt x="1353" y="468"/>
                  </a:lnTo>
                  <a:lnTo>
                    <a:pt x="1350" y="469"/>
                  </a:lnTo>
                  <a:lnTo>
                    <a:pt x="1350" y="469"/>
                  </a:lnTo>
                  <a:lnTo>
                    <a:pt x="1347" y="472"/>
                  </a:lnTo>
                  <a:lnTo>
                    <a:pt x="1347" y="472"/>
                  </a:lnTo>
                  <a:lnTo>
                    <a:pt x="1347" y="472"/>
                  </a:lnTo>
                  <a:lnTo>
                    <a:pt x="1347" y="474"/>
                  </a:lnTo>
                  <a:lnTo>
                    <a:pt x="1347" y="472"/>
                  </a:lnTo>
                  <a:lnTo>
                    <a:pt x="1347" y="472"/>
                  </a:lnTo>
                  <a:lnTo>
                    <a:pt x="1347" y="474"/>
                  </a:lnTo>
                  <a:lnTo>
                    <a:pt x="1347" y="472"/>
                  </a:lnTo>
                  <a:lnTo>
                    <a:pt x="1347" y="474"/>
                  </a:lnTo>
                  <a:lnTo>
                    <a:pt x="1347" y="472"/>
                  </a:lnTo>
                  <a:lnTo>
                    <a:pt x="1347" y="472"/>
                  </a:lnTo>
                  <a:lnTo>
                    <a:pt x="1347" y="474"/>
                  </a:lnTo>
                  <a:lnTo>
                    <a:pt x="1347" y="472"/>
                  </a:lnTo>
                  <a:lnTo>
                    <a:pt x="1347" y="472"/>
                  </a:lnTo>
                  <a:lnTo>
                    <a:pt x="1347" y="472"/>
                  </a:lnTo>
                  <a:lnTo>
                    <a:pt x="1347" y="472"/>
                  </a:lnTo>
                  <a:lnTo>
                    <a:pt x="1347" y="472"/>
                  </a:lnTo>
                  <a:lnTo>
                    <a:pt x="1347" y="472"/>
                  </a:lnTo>
                  <a:lnTo>
                    <a:pt x="1347" y="472"/>
                  </a:lnTo>
                  <a:lnTo>
                    <a:pt x="1347" y="472"/>
                  </a:lnTo>
                  <a:lnTo>
                    <a:pt x="1347" y="472"/>
                  </a:lnTo>
                  <a:lnTo>
                    <a:pt x="1345" y="466"/>
                  </a:lnTo>
                  <a:lnTo>
                    <a:pt x="1345" y="466"/>
                  </a:lnTo>
                  <a:lnTo>
                    <a:pt x="1344" y="458"/>
                  </a:lnTo>
                  <a:lnTo>
                    <a:pt x="1344" y="458"/>
                  </a:lnTo>
                  <a:lnTo>
                    <a:pt x="1345" y="453"/>
                  </a:lnTo>
                  <a:lnTo>
                    <a:pt x="1345" y="453"/>
                  </a:lnTo>
                  <a:lnTo>
                    <a:pt x="1345" y="450"/>
                  </a:lnTo>
                  <a:lnTo>
                    <a:pt x="1345" y="450"/>
                  </a:lnTo>
                  <a:lnTo>
                    <a:pt x="1345" y="450"/>
                  </a:lnTo>
                  <a:lnTo>
                    <a:pt x="1344" y="450"/>
                  </a:lnTo>
                  <a:lnTo>
                    <a:pt x="1344" y="452"/>
                  </a:lnTo>
                  <a:lnTo>
                    <a:pt x="1344" y="452"/>
                  </a:lnTo>
                  <a:lnTo>
                    <a:pt x="1345" y="450"/>
                  </a:lnTo>
                  <a:lnTo>
                    <a:pt x="1344" y="450"/>
                  </a:lnTo>
                  <a:lnTo>
                    <a:pt x="1344" y="452"/>
                  </a:lnTo>
                  <a:lnTo>
                    <a:pt x="1344" y="450"/>
                  </a:lnTo>
                  <a:lnTo>
                    <a:pt x="1344" y="452"/>
                  </a:lnTo>
                  <a:lnTo>
                    <a:pt x="1344" y="452"/>
                  </a:lnTo>
                  <a:lnTo>
                    <a:pt x="1344" y="450"/>
                  </a:lnTo>
                  <a:lnTo>
                    <a:pt x="1344" y="452"/>
                  </a:lnTo>
                  <a:lnTo>
                    <a:pt x="1344" y="452"/>
                  </a:lnTo>
                  <a:lnTo>
                    <a:pt x="1344" y="452"/>
                  </a:lnTo>
                  <a:lnTo>
                    <a:pt x="1344" y="452"/>
                  </a:lnTo>
                  <a:lnTo>
                    <a:pt x="1344" y="452"/>
                  </a:lnTo>
                  <a:lnTo>
                    <a:pt x="1344" y="452"/>
                  </a:lnTo>
                  <a:lnTo>
                    <a:pt x="1344" y="452"/>
                  </a:lnTo>
                  <a:lnTo>
                    <a:pt x="1345" y="452"/>
                  </a:lnTo>
                  <a:lnTo>
                    <a:pt x="1345" y="452"/>
                  </a:lnTo>
                  <a:lnTo>
                    <a:pt x="1348" y="453"/>
                  </a:lnTo>
                  <a:lnTo>
                    <a:pt x="1348" y="453"/>
                  </a:lnTo>
                  <a:lnTo>
                    <a:pt x="1350" y="453"/>
                  </a:lnTo>
                  <a:lnTo>
                    <a:pt x="1350" y="453"/>
                  </a:lnTo>
                  <a:lnTo>
                    <a:pt x="1351" y="450"/>
                  </a:lnTo>
                  <a:lnTo>
                    <a:pt x="1351" y="450"/>
                  </a:lnTo>
                  <a:lnTo>
                    <a:pt x="1351" y="448"/>
                  </a:lnTo>
                  <a:lnTo>
                    <a:pt x="1351" y="448"/>
                  </a:lnTo>
                  <a:lnTo>
                    <a:pt x="1353" y="432"/>
                  </a:lnTo>
                  <a:lnTo>
                    <a:pt x="1353" y="432"/>
                  </a:lnTo>
                  <a:lnTo>
                    <a:pt x="1351" y="417"/>
                  </a:lnTo>
                  <a:lnTo>
                    <a:pt x="1351" y="417"/>
                  </a:lnTo>
                  <a:lnTo>
                    <a:pt x="1350" y="413"/>
                  </a:lnTo>
                  <a:lnTo>
                    <a:pt x="1350" y="413"/>
                  </a:lnTo>
                  <a:lnTo>
                    <a:pt x="1350" y="410"/>
                  </a:lnTo>
                  <a:lnTo>
                    <a:pt x="1350" y="410"/>
                  </a:lnTo>
                  <a:lnTo>
                    <a:pt x="1347" y="408"/>
                  </a:lnTo>
                  <a:lnTo>
                    <a:pt x="1347" y="408"/>
                  </a:lnTo>
                  <a:lnTo>
                    <a:pt x="1344" y="408"/>
                  </a:lnTo>
                  <a:lnTo>
                    <a:pt x="1344" y="408"/>
                  </a:lnTo>
                  <a:lnTo>
                    <a:pt x="1343" y="408"/>
                  </a:lnTo>
                  <a:lnTo>
                    <a:pt x="1341" y="408"/>
                  </a:lnTo>
                  <a:lnTo>
                    <a:pt x="1341" y="410"/>
                  </a:lnTo>
                  <a:lnTo>
                    <a:pt x="1341" y="408"/>
                  </a:lnTo>
                  <a:lnTo>
                    <a:pt x="1341" y="408"/>
                  </a:lnTo>
                  <a:lnTo>
                    <a:pt x="1341" y="410"/>
                  </a:lnTo>
                  <a:lnTo>
                    <a:pt x="1341" y="408"/>
                  </a:lnTo>
                  <a:lnTo>
                    <a:pt x="1341" y="410"/>
                  </a:lnTo>
                  <a:lnTo>
                    <a:pt x="1343" y="410"/>
                  </a:lnTo>
                  <a:lnTo>
                    <a:pt x="1341" y="408"/>
                  </a:lnTo>
                  <a:lnTo>
                    <a:pt x="1341" y="410"/>
                  </a:lnTo>
                  <a:lnTo>
                    <a:pt x="1343" y="410"/>
                  </a:lnTo>
                  <a:lnTo>
                    <a:pt x="1341" y="410"/>
                  </a:lnTo>
                  <a:lnTo>
                    <a:pt x="1343" y="410"/>
                  </a:lnTo>
                  <a:lnTo>
                    <a:pt x="1343" y="410"/>
                  </a:lnTo>
                  <a:lnTo>
                    <a:pt x="1341" y="410"/>
                  </a:lnTo>
                  <a:lnTo>
                    <a:pt x="1343" y="410"/>
                  </a:lnTo>
                  <a:lnTo>
                    <a:pt x="1343" y="410"/>
                  </a:lnTo>
                  <a:lnTo>
                    <a:pt x="1343" y="410"/>
                  </a:lnTo>
                  <a:lnTo>
                    <a:pt x="1343" y="408"/>
                  </a:lnTo>
                  <a:lnTo>
                    <a:pt x="1343" y="408"/>
                  </a:lnTo>
                  <a:lnTo>
                    <a:pt x="1347" y="401"/>
                  </a:lnTo>
                  <a:lnTo>
                    <a:pt x="1347" y="401"/>
                  </a:lnTo>
                  <a:lnTo>
                    <a:pt x="1348" y="397"/>
                  </a:lnTo>
                  <a:lnTo>
                    <a:pt x="1350" y="392"/>
                  </a:lnTo>
                  <a:lnTo>
                    <a:pt x="1350" y="392"/>
                  </a:lnTo>
                  <a:lnTo>
                    <a:pt x="1350" y="392"/>
                  </a:lnTo>
                  <a:lnTo>
                    <a:pt x="1350" y="392"/>
                  </a:lnTo>
                  <a:lnTo>
                    <a:pt x="1350" y="392"/>
                  </a:lnTo>
                  <a:lnTo>
                    <a:pt x="1350" y="392"/>
                  </a:lnTo>
                  <a:lnTo>
                    <a:pt x="1350" y="392"/>
                  </a:lnTo>
                  <a:lnTo>
                    <a:pt x="1350" y="392"/>
                  </a:lnTo>
                  <a:lnTo>
                    <a:pt x="1354" y="388"/>
                  </a:lnTo>
                  <a:lnTo>
                    <a:pt x="1354" y="388"/>
                  </a:lnTo>
                  <a:lnTo>
                    <a:pt x="1360" y="384"/>
                  </a:lnTo>
                  <a:lnTo>
                    <a:pt x="1367" y="378"/>
                  </a:lnTo>
                  <a:lnTo>
                    <a:pt x="1373" y="368"/>
                  </a:lnTo>
                  <a:lnTo>
                    <a:pt x="1380" y="353"/>
                  </a:lnTo>
                  <a:lnTo>
                    <a:pt x="1380" y="353"/>
                  </a:lnTo>
                  <a:lnTo>
                    <a:pt x="1386" y="335"/>
                  </a:lnTo>
                  <a:lnTo>
                    <a:pt x="1387" y="322"/>
                  </a:lnTo>
                  <a:lnTo>
                    <a:pt x="1387" y="322"/>
                  </a:lnTo>
                  <a:lnTo>
                    <a:pt x="1389" y="314"/>
                  </a:lnTo>
                  <a:lnTo>
                    <a:pt x="1389" y="314"/>
                  </a:lnTo>
                  <a:lnTo>
                    <a:pt x="1390" y="311"/>
                  </a:lnTo>
                  <a:lnTo>
                    <a:pt x="1390" y="311"/>
                  </a:lnTo>
                  <a:lnTo>
                    <a:pt x="1395" y="307"/>
                  </a:lnTo>
                  <a:lnTo>
                    <a:pt x="1395" y="307"/>
                  </a:lnTo>
                  <a:lnTo>
                    <a:pt x="1398" y="306"/>
                  </a:lnTo>
                  <a:lnTo>
                    <a:pt x="1398" y="306"/>
                  </a:lnTo>
                  <a:lnTo>
                    <a:pt x="1398" y="306"/>
                  </a:lnTo>
                  <a:lnTo>
                    <a:pt x="1402" y="308"/>
                  </a:lnTo>
                  <a:lnTo>
                    <a:pt x="1402" y="308"/>
                  </a:lnTo>
                  <a:lnTo>
                    <a:pt x="1406" y="310"/>
                  </a:lnTo>
                  <a:lnTo>
                    <a:pt x="1414" y="310"/>
                  </a:lnTo>
                  <a:lnTo>
                    <a:pt x="1414" y="310"/>
                  </a:lnTo>
                  <a:lnTo>
                    <a:pt x="1435" y="310"/>
                  </a:lnTo>
                  <a:lnTo>
                    <a:pt x="1435" y="310"/>
                  </a:lnTo>
                  <a:lnTo>
                    <a:pt x="1443" y="311"/>
                  </a:lnTo>
                  <a:lnTo>
                    <a:pt x="1443" y="311"/>
                  </a:lnTo>
                  <a:lnTo>
                    <a:pt x="1445" y="313"/>
                  </a:lnTo>
                  <a:lnTo>
                    <a:pt x="1445" y="313"/>
                  </a:lnTo>
                  <a:lnTo>
                    <a:pt x="1445" y="314"/>
                  </a:lnTo>
                  <a:lnTo>
                    <a:pt x="1445" y="314"/>
                  </a:lnTo>
                  <a:lnTo>
                    <a:pt x="1445" y="317"/>
                  </a:lnTo>
                  <a:lnTo>
                    <a:pt x="1445" y="317"/>
                  </a:lnTo>
                  <a:lnTo>
                    <a:pt x="1443" y="320"/>
                  </a:lnTo>
                  <a:lnTo>
                    <a:pt x="1443" y="320"/>
                  </a:lnTo>
                  <a:lnTo>
                    <a:pt x="1440" y="323"/>
                  </a:lnTo>
                  <a:lnTo>
                    <a:pt x="1438" y="327"/>
                  </a:lnTo>
                  <a:lnTo>
                    <a:pt x="1438" y="327"/>
                  </a:lnTo>
                  <a:lnTo>
                    <a:pt x="1438" y="336"/>
                  </a:lnTo>
                  <a:lnTo>
                    <a:pt x="1438" y="336"/>
                  </a:lnTo>
                  <a:lnTo>
                    <a:pt x="1435" y="356"/>
                  </a:lnTo>
                  <a:lnTo>
                    <a:pt x="1435" y="356"/>
                  </a:lnTo>
                  <a:lnTo>
                    <a:pt x="1432" y="366"/>
                  </a:lnTo>
                  <a:lnTo>
                    <a:pt x="1432" y="366"/>
                  </a:lnTo>
                  <a:lnTo>
                    <a:pt x="1432" y="369"/>
                  </a:lnTo>
                  <a:lnTo>
                    <a:pt x="1432" y="369"/>
                  </a:lnTo>
                  <a:lnTo>
                    <a:pt x="1431" y="371"/>
                  </a:lnTo>
                  <a:lnTo>
                    <a:pt x="1431" y="371"/>
                  </a:lnTo>
                  <a:lnTo>
                    <a:pt x="1427" y="377"/>
                  </a:lnTo>
                  <a:lnTo>
                    <a:pt x="1427" y="377"/>
                  </a:lnTo>
                  <a:lnTo>
                    <a:pt x="1425" y="381"/>
                  </a:lnTo>
                  <a:lnTo>
                    <a:pt x="1425" y="385"/>
                  </a:lnTo>
                  <a:lnTo>
                    <a:pt x="1425" y="385"/>
                  </a:lnTo>
                  <a:lnTo>
                    <a:pt x="1425" y="390"/>
                  </a:lnTo>
                  <a:lnTo>
                    <a:pt x="1425" y="390"/>
                  </a:lnTo>
                  <a:lnTo>
                    <a:pt x="1432" y="404"/>
                  </a:lnTo>
                  <a:lnTo>
                    <a:pt x="1432" y="404"/>
                  </a:lnTo>
                  <a:lnTo>
                    <a:pt x="1437" y="413"/>
                  </a:lnTo>
                  <a:lnTo>
                    <a:pt x="1437" y="413"/>
                  </a:lnTo>
                  <a:lnTo>
                    <a:pt x="1438" y="419"/>
                  </a:lnTo>
                  <a:lnTo>
                    <a:pt x="1438" y="419"/>
                  </a:lnTo>
                  <a:lnTo>
                    <a:pt x="1437" y="437"/>
                  </a:lnTo>
                  <a:lnTo>
                    <a:pt x="1437" y="437"/>
                  </a:lnTo>
                  <a:lnTo>
                    <a:pt x="1435" y="450"/>
                  </a:lnTo>
                  <a:lnTo>
                    <a:pt x="1434" y="463"/>
                  </a:lnTo>
                  <a:lnTo>
                    <a:pt x="1434" y="463"/>
                  </a:lnTo>
                  <a:lnTo>
                    <a:pt x="1435" y="476"/>
                  </a:lnTo>
                  <a:lnTo>
                    <a:pt x="1437" y="491"/>
                  </a:lnTo>
                  <a:lnTo>
                    <a:pt x="1437" y="491"/>
                  </a:lnTo>
                  <a:lnTo>
                    <a:pt x="1440" y="503"/>
                  </a:lnTo>
                  <a:lnTo>
                    <a:pt x="1440" y="503"/>
                  </a:lnTo>
                  <a:lnTo>
                    <a:pt x="1441" y="507"/>
                  </a:lnTo>
                  <a:lnTo>
                    <a:pt x="1441" y="507"/>
                  </a:lnTo>
                  <a:lnTo>
                    <a:pt x="1444" y="511"/>
                  </a:lnTo>
                  <a:lnTo>
                    <a:pt x="1444" y="511"/>
                  </a:lnTo>
                  <a:lnTo>
                    <a:pt x="1448" y="516"/>
                  </a:lnTo>
                  <a:lnTo>
                    <a:pt x="1448" y="516"/>
                  </a:lnTo>
                  <a:lnTo>
                    <a:pt x="1448" y="521"/>
                  </a:lnTo>
                  <a:lnTo>
                    <a:pt x="1448" y="521"/>
                  </a:lnTo>
                  <a:lnTo>
                    <a:pt x="1448" y="524"/>
                  </a:lnTo>
                  <a:lnTo>
                    <a:pt x="1448" y="524"/>
                  </a:lnTo>
                  <a:lnTo>
                    <a:pt x="1440" y="553"/>
                  </a:lnTo>
                  <a:lnTo>
                    <a:pt x="1440" y="553"/>
                  </a:lnTo>
                  <a:lnTo>
                    <a:pt x="1432" y="572"/>
                  </a:lnTo>
                  <a:lnTo>
                    <a:pt x="1432" y="572"/>
                  </a:lnTo>
                  <a:lnTo>
                    <a:pt x="1428" y="579"/>
                  </a:lnTo>
                  <a:lnTo>
                    <a:pt x="1428" y="579"/>
                  </a:lnTo>
                  <a:lnTo>
                    <a:pt x="1427" y="582"/>
                  </a:lnTo>
                  <a:lnTo>
                    <a:pt x="1427" y="582"/>
                  </a:lnTo>
                  <a:lnTo>
                    <a:pt x="1416" y="588"/>
                  </a:lnTo>
                  <a:lnTo>
                    <a:pt x="1416" y="588"/>
                  </a:lnTo>
                  <a:lnTo>
                    <a:pt x="1408" y="588"/>
                  </a:lnTo>
                  <a:lnTo>
                    <a:pt x="1408" y="588"/>
                  </a:lnTo>
                  <a:lnTo>
                    <a:pt x="1386" y="588"/>
                  </a:lnTo>
                  <a:lnTo>
                    <a:pt x="1386" y="588"/>
                  </a:lnTo>
                  <a:lnTo>
                    <a:pt x="1377" y="588"/>
                  </a:lnTo>
                  <a:lnTo>
                    <a:pt x="1377" y="588"/>
                  </a:lnTo>
                  <a:lnTo>
                    <a:pt x="1374" y="589"/>
                  </a:lnTo>
                  <a:lnTo>
                    <a:pt x="1374" y="589"/>
                  </a:lnTo>
                  <a:lnTo>
                    <a:pt x="1372" y="591"/>
                  </a:lnTo>
                  <a:lnTo>
                    <a:pt x="1372" y="591"/>
                  </a:lnTo>
                  <a:lnTo>
                    <a:pt x="1369" y="595"/>
                  </a:lnTo>
                  <a:lnTo>
                    <a:pt x="1369" y="595"/>
                  </a:lnTo>
                  <a:lnTo>
                    <a:pt x="1369" y="600"/>
                  </a:lnTo>
                  <a:lnTo>
                    <a:pt x="1369" y="600"/>
                  </a:lnTo>
                  <a:lnTo>
                    <a:pt x="1369" y="601"/>
                  </a:lnTo>
                  <a:lnTo>
                    <a:pt x="1369" y="601"/>
                  </a:lnTo>
                  <a:lnTo>
                    <a:pt x="1370" y="603"/>
                  </a:lnTo>
                  <a:lnTo>
                    <a:pt x="1372" y="604"/>
                  </a:lnTo>
                  <a:lnTo>
                    <a:pt x="1372" y="604"/>
                  </a:lnTo>
                  <a:lnTo>
                    <a:pt x="1374" y="603"/>
                  </a:lnTo>
                  <a:lnTo>
                    <a:pt x="1374" y="603"/>
                  </a:lnTo>
                  <a:lnTo>
                    <a:pt x="1377" y="600"/>
                  </a:lnTo>
                  <a:lnTo>
                    <a:pt x="1377" y="600"/>
                  </a:lnTo>
                  <a:lnTo>
                    <a:pt x="1380" y="600"/>
                  </a:lnTo>
                  <a:lnTo>
                    <a:pt x="1380" y="600"/>
                  </a:lnTo>
                  <a:lnTo>
                    <a:pt x="1380" y="600"/>
                  </a:lnTo>
                  <a:lnTo>
                    <a:pt x="1382" y="601"/>
                  </a:lnTo>
                  <a:lnTo>
                    <a:pt x="1382" y="601"/>
                  </a:lnTo>
                  <a:lnTo>
                    <a:pt x="1386" y="607"/>
                  </a:lnTo>
                  <a:lnTo>
                    <a:pt x="1393" y="611"/>
                  </a:lnTo>
                  <a:lnTo>
                    <a:pt x="1393" y="611"/>
                  </a:lnTo>
                  <a:lnTo>
                    <a:pt x="1399" y="616"/>
                  </a:lnTo>
                  <a:lnTo>
                    <a:pt x="1408" y="617"/>
                  </a:lnTo>
                  <a:lnTo>
                    <a:pt x="1408" y="617"/>
                  </a:lnTo>
                  <a:lnTo>
                    <a:pt x="1418" y="617"/>
                  </a:lnTo>
                  <a:lnTo>
                    <a:pt x="1418" y="617"/>
                  </a:lnTo>
                  <a:lnTo>
                    <a:pt x="1427" y="617"/>
                  </a:lnTo>
                  <a:lnTo>
                    <a:pt x="1427" y="617"/>
                  </a:lnTo>
                  <a:lnTo>
                    <a:pt x="1429" y="618"/>
                  </a:lnTo>
                  <a:lnTo>
                    <a:pt x="1432" y="620"/>
                  </a:lnTo>
                  <a:lnTo>
                    <a:pt x="1432" y="620"/>
                  </a:lnTo>
                  <a:lnTo>
                    <a:pt x="1432" y="621"/>
                  </a:lnTo>
                  <a:lnTo>
                    <a:pt x="1432" y="621"/>
                  </a:lnTo>
                  <a:lnTo>
                    <a:pt x="1440" y="639"/>
                  </a:lnTo>
                  <a:lnTo>
                    <a:pt x="1440" y="639"/>
                  </a:lnTo>
                  <a:lnTo>
                    <a:pt x="1444" y="646"/>
                  </a:lnTo>
                  <a:lnTo>
                    <a:pt x="1444" y="646"/>
                  </a:lnTo>
                  <a:lnTo>
                    <a:pt x="1445" y="649"/>
                  </a:lnTo>
                  <a:lnTo>
                    <a:pt x="1445" y="649"/>
                  </a:lnTo>
                  <a:lnTo>
                    <a:pt x="1447" y="650"/>
                  </a:lnTo>
                  <a:lnTo>
                    <a:pt x="1447" y="650"/>
                  </a:lnTo>
                  <a:lnTo>
                    <a:pt x="1448" y="650"/>
                  </a:lnTo>
                  <a:lnTo>
                    <a:pt x="1448" y="650"/>
                  </a:lnTo>
                  <a:lnTo>
                    <a:pt x="1451" y="650"/>
                  </a:lnTo>
                  <a:lnTo>
                    <a:pt x="1451" y="650"/>
                  </a:lnTo>
                  <a:lnTo>
                    <a:pt x="1451" y="649"/>
                  </a:lnTo>
                  <a:lnTo>
                    <a:pt x="1451" y="649"/>
                  </a:lnTo>
                  <a:lnTo>
                    <a:pt x="1454" y="643"/>
                  </a:lnTo>
                  <a:lnTo>
                    <a:pt x="1456" y="639"/>
                  </a:lnTo>
                  <a:lnTo>
                    <a:pt x="1456" y="639"/>
                  </a:lnTo>
                  <a:lnTo>
                    <a:pt x="1454" y="631"/>
                  </a:lnTo>
                  <a:lnTo>
                    <a:pt x="1451" y="626"/>
                  </a:lnTo>
                  <a:lnTo>
                    <a:pt x="1451" y="626"/>
                  </a:lnTo>
                  <a:lnTo>
                    <a:pt x="1444" y="617"/>
                  </a:lnTo>
                  <a:lnTo>
                    <a:pt x="1444" y="617"/>
                  </a:lnTo>
                  <a:lnTo>
                    <a:pt x="1443" y="614"/>
                  </a:lnTo>
                  <a:lnTo>
                    <a:pt x="1443" y="614"/>
                  </a:lnTo>
                  <a:lnTo>
                    <a:pt x="1441" y="611"/>
                  </a:lnTo>
                  <a:lnTo>
                    <a:pt x="1441" y="611"/>
                  </a:lnTo>
                  <a:lnTo>
                    <a:pt x="1441" y="611"/>
                  </a:lnTo>
                  <a:lnTo>
                    <a:pt x="1447" y="605"/>
                  </a:lnTo>
                  <a:lnTo>
                    <a:pt x="1447" y="605"/>
                  </a:lnTo>
                  <a:lnTo>
                    <a:pt x="1456" y="592"/>
                  </a:lnTo>
                  <a:lnTo>
                    <a:pt x="1460" y="584"/>
                  </a:lnTo>
                  <a:lnTo>
                    <a:pt x="1464" y="575"/>
                  </a:lnTo>
                  <a:lnTo>
                    <a:pt x="1464" y="575"/>
                  </a:lnTo>
                  <a:lnTo>
                    <a:pt x="1471" y="558"/>
                  </a:lnTo>
                  <a:lnTo>
                    <a:pt x="1471" y="558"/>
                  </a:lnTo>
                  <a:lnTo>
                    <a:pt x="1474" y="549"/>
                  </a:lnTo>
                  <a:lnTo>
                    <a:pt x="1476" y="542"/>
                  </a:lnTo>
                  <a:lnTo>
                    <a:pt x="1476" y="542"/>
                  </a:lnTo>
                  <a:lnTo>
                    <a:pt x="1474" y="537"/>
                  </a:lnTo>
                  <a:lnTo>
                    <a:pt x="1474" y="537"/>
                  </a:lnTo>
                  <a:lnTo>
                    <a:pt x="1471" y="530"/>
                  </a:lnTo>
                  <a:lnTo>
                    <a:pt x="1471" y="530"/>
                  </a:lnTo>
                  <a:lnTo>
                    <a:pt x="1470" y="529"/>
                  </a:lnTo>
                  <a:lnTo>
                    <a:pt x="1470" y="529"/>
                  </a:lnTo>
                  <a:lnTo>
                    <a:pt x="1470" y="529"/>
                  </a:lnTo>
                  <a:lnTo>
                    <a:pt x="1470" y="527"/>
                  </a:lnTo>
                  <a:lnTo>
                    <a:pt x="1470" y="527"/>
                  </a:lnTo>
                  <a:lnTo>
                    <a:pt x="1470" y="527"/>
                  </a:lnTo>
                  <a:lnTo>
                    <a:pt x="1470" y="527"/>
                  </a:lnTo>
                  <a:lnTo>
                    <a:pt x="1470" y="527"/>
                  </a:lnTo>
                  <a:lnTo>
                    <a:pt x="1470" y="527"/>
                  </a:lnTo>
                  <a:lnTo>
                    <a:pt x="1470" y="527"/>
                  </a:lnTo>
                  <a:lnTo>
                    <a:pt x="1471" y="526"/>
                  </a:lnTo>
                  <a:lnTo>
                    <a:pt x="1471" y="526"/>
                  </a:lnTo>
                  <a:lnTo>
                    <a:pt x="1486" y="513"/>
                  </a:lnTo>
                  <a:lnTo>
                    <a:pt x="1486" y="513"/>
                  </a:lnTo>
                  <a:lnTo>
                    <a:pt x="1495" y="508"/>
                  </a:lnTo>
                  <a:lnTo>
                    <a:pt x="1495" y="508"/>
                  </a:lnTo>
                  <a:lnTo>
                    <a:pt x="1500" y="505"/>
                  </a:lnTo>
                  <a:lnTo>
                    <a:pt x="1500" y="505"/>
                  </a:lnTo>
                  <a:lnTo>
                    <a:pt x="1500" y="505"/>
                  </a:lnTo>
                  <a:lnTo>
                    <a:pt x="1500" y="505"/>
                  </a:lnTo>
                  <a:lnTo>
                    <a:pt x="1500" y="505"/>
                  </a:lnTo>
                  <a:lnTo>
                    <a:pt x="1500" y="505"/>
                  </a:lnTo>
                  <a:lnTo>
                    <a:pt x="1500" y="505"/>
                  </a:lnTo>
                  <a:lnTo>
                    <a:pt x="1500" y="505"/>
                  </a:lnTo>
                  <a:lnTo>
                    <a:pt x="1503" y="508"/>
                  </a:lnTo>
                  <a:lnTo>
                    <a:pt x="1503" y="508"/>
                  </a:lnTo>
                  <a:lnTo>
                    <a:pt x="1506" y="520"/>
                  </a:lnTo>
                  <a:lnTo>
                    <a:pt x="1509" y="532"/>
                  </a:lnTo>
                  <a:lnTo>
                    <a:pt x="1509" y="532"/>
                  </a:lnTo>
                  <a:lnTo>
                    <a:pt x="1509" y="537"/>
                  </a:lnTo>
                  <a:lnTo>
                    <a:pt x="1509" y="537"/>
                  </a:lnTo>
                  <a:lnTo>
                    <a:pt x="1509" y="562"/>
                  </a:lnTo>
                  <a:lnTo>
                    <a:pt x="1509" y="562"/>
                  </a:lnTo>
                  <a:lnTo>
                    <a:pt x="1509" y="569"/>
                  </a:lnTo>
                  <a:lnTo>
                    <a:pt x="1509" y="569"/>
                  </a:lnTo>
                  <a:lnTo>
                    <a:pt x="1509" y="572"/>
                  </a:lnTo>
                  <a:lnTo>
                    <a:pt x="1509" y="572"/>
                  </a:lnTo>
                  <a:lnTo>
                    <a:pt x="1511" y="575"/>
                  </a:lnTo>
                  <a:lnTo>
                    <a:pt x="1511" y="575"/>
                  </a:lnTo>
                  <a:lnTo>
                    <a:pt x="1511" y="575"/>
                  </a:lnTo>
                  <a:lnTo>
                    <a:pt x="1511" y="575"/>
                  </a:lnTo>
                  <a:lnTo>
                    <a:pt x="1515" y="581"/>
                  </a:lnTo>
                  <a:lnTo>
                    <a:pt x="1515" y="581"/>
                  </a:lnTo>
                  <a:lnTo>
                    <a:pt x="1516" y="582"/>
                  </a:lnTo>
                  <a:lnTo>
                    <a:pt x="1516" y="582"/>
                  </a:lnTo>
                  <a:lnTo>
                    <a:pt x="1519" y="584"/>
                  </a:lnTo>
                  <a:lnTo>
                    <a:pt x="1519" y="584"/>
                  </a:lnTo>
                  <a:lnTo>
                    <a:pt x="1522" y="582"/>
                  </a:lnTo>
                  <a:lnTo>
                    <a:pt x="1522" y="582"/>
                  </a:lnTo>
                  <a:lnTo>
                    <a:pt x="1527" y="578"/>
                  </a:lnTo>
                  <a:lnTo>
                    <a:pt x="1527" y="578"/>
                  </a:lnTo>
                  <a:lnTo>
                    <a:pt x="1532" y="576"/>
                  </a:lnTo>
                  <a:lnTo>
                    <a:pt x="1532" y="576"/>
                  </a:lnTo>
                  <a:lnTo>
                    <a:pt x="1538" y="575"/>
                  </a:lnTo>
                  <a:lnTo>
                    <a:pt x="1538" y="575"/>
                  </a:lnTo>
                  <a:lnTo>
                    <a:pt x="1542" y="574"/>
                  </a:lnTo>
                  <a:lnTo>
                    <a:pt x="1542" y="574"/>
                  </a:lnTo>
                  <a:lnTo>
                    <a:pt x="1544" y="574"/>
                  </a:lnTo>
                  <a:lnTo>
                    <a:pt x="1544" y="574"/>
                  </a:lnTo>
                  <a:lnTo>
                    <a:pt x="1544" y="571"/>
                  </a:lnTo>
                  <a:lnTo>
                    <a:pt x="1544" y="571"/>
                  </a:lnTo>
                  <a:lnTo>
                    <a:pt x="1544" y="569"/>
                  </a:lnTo>
                  <a:lnTo>
                    <a:pt x="1544" y="569"/>
                  </a:lnTo>
                  <a:lnTo>
                    <a:pt x="1541" y="566"/>
                  </a:lnTo>
                  <a:lnTo>
                    <a:pt x="1541" y="566"/>
                  </a:lnTo>
                  <a:lnTo>
                    <a:pt x="1535" y="563"/>
                  </a:lnTo>
                  <a:lnTo>
                    <a:pt x="1531" y="562"/>
                  </a:lnTo>
                  <a:lnTo>
                    <a:pt x="1531" y="562"/>
                  </a:lnTo>
                  <a:lnTo>
                    <a:pt x="1529" y="558"/>
                  </a:lnTo>
                  <a:lnTo>
                    <a:pt x="1528" y="552"/>
                  </a:lnTo>
                  <a:lnTo>
                    <a:pt x="1528" y="552"/>
                  </a:lnTo>
                  <a:lnTo>
                    <a:pt x="1528" y="549"/>
                  </a:lnTo>
                  <a:lnTo>
                    <a:pt x="1528" y="549"/>
                  </a:lnTo>
                  <a:lnTo>
                    <a:pt x="1529" y="542"/>
                  </a:lnTo>
                  <a:lnTo>
                    <a:pt x="1534" y="537"/>
                  </a:lnTo>
                  <a:lnTo>
                    <a:pt x="1534" y="537"/>
                  </a:lnTo>
                  <a:lnTo>
                    <a:pt x="1537" y="534"/>
                  </a:lnTo>
                  <a:lnTo>
                    <a:pt x="1537" y="534"/>
                  </a:lnTo>
                  <a:lnTo>
                    <a:pt x="1538" y="532"/>
                  </a:lnTo>
                  <a:lnTo>
                    <a:pt x="1540" y="529"/>
                  </a:lnTo>
                  <a:lnTo>
                    <a:pt x="1540" y="529"/>
                  </a:lnTo>
                  <a:lnTo>
                    <a:pt x="1538" y="526"/>
                  </a:lnTo>
                  <a:lnTo>
                    <a:pt x="1538" y="526"/>
                  </a:lnTo>
                  <a:lnTo>
                    <a:pt x="1532" y="513"/>
                  </a:lnTo>
                  <a:lnTo>
                    <a:pt x="1532" y="513"/>
                  </a:lnTo>
                  <a:lnTo>
                    <a:pt x="1527" y="501"/>
                  </a:lnTo>
                  <a:lnTo>
                    <a:pt x="1527" y="501"/>
                  </a:lnTo>
                  <a:lnTo>
                    <a:pt x="1524" y="491"/>
                  </a:lnTo>
                  <a:lnTo>
                    <a:pt x="1524" y="491"/>
                  </a:lnTo>
                  <a:lnTo>
                    <a:pt x="1521" y="487"/>
                  </a:lnTo>
                  <a:lnTo>
                    <a:pt x="1516" y="482"/>
                  </a:lnTo>
                  <a:lnTo>
                    <a:pt x="1516" y="482"/>
                  </a:lnTo>
                  <a:lnTo>
                    <a:pt x="1509" y="481"/>
                  </a:lnTo>
                  <a:lnTo>
                    <a:pt x="1502" y="481"/>
                  </a:lnTo>
                  <a:lnTo>
                    <a:pt x="1502" y="481"/>
                  </a:lnTo>
                  <a:lnTo>
                    <a:pt x="1487" y="482"/>
                  </a:lnTo>
                  <a:lnTo>
                    <a:pt x="1487" y="482"/>
                  </a:lnTo>
                  <a:lnTo>
                    <a:pt x="1483" y="484"/>
                  </a:lnTo>
                  <a:lnTo>
                    <a:pt x="1480" y="485"/>
                  </a:lnTo>
                  <a:lnTo>
                    <a:pt x="1480" y="485"/>
                  </a:lnTo>
                  <a:lnTo>
                    <a:pt x="1476" y="488"/>
                  </a:lnTo>
                  <a:lnTo>
                    <a:pt x="1476" y="488"/>
                  </a:lnTo>
                  <a:lnTo>
                    <a:pt x="1471" y="490"/>
                  </a:lnTo>
                  <a:lnTo>
                    <a:pt x="1470" y="490"/>
                  </a:lnTo>
                  <a:lnTo>
                    <a:pt x="1470" y="490"/>
                  </a:lnTo>
                  <a:lnTo>
                    <a:pt x="1469" y="491"/>
                  </a:lnTo>
                  <a:lnTo>
                    <a:pt x="1469" y="491"/>
                  </a:lnTo>
                  <a:lnTo>
                    <a:pt x="1469" y="491"/>
                  </a:lnTo>
                  <a:lnTo>
                    <a:pt x="1467" y="491"/>
                  </a:lnTo>
                  <a:lnTo>
                    <a:pt x="1467" y="491"/>
                  </a:lnTo>
                  <a:lnTo>
                    <a:pt x="1466" y="490"/>
                  </a:lnTo>
                  <a:lnTo>
                    <a:pt x="1466" y="490"/>
                  </a:lnTo>
                  <a:lnTo>
                    <a:pt x="1464" y="481"/>
                  </a:lnTo>
                  <a:lnTo>
                    <a:pt x="1464" y="481"/>
                  </a:lnTo>
                  <a:lnTo>
                    <a:pt x="1464" y="469"/>
                  </a:lnTo>
                  <a:lnTo>
                    <a:pt x="1464" y="469"/>
                  </a:lnTo>
                  <a:lnTo>
                    <a:pt x="1466" y="443"/>
                  </a:lnTo>
                  <a:lnTo>
                    <a:pt x="1466" y="443"/>
                  </a:lnTo>
                  <a:lnTo>
                    <a:pt x="1469" y="423"/>
                  </a:lnTo>
                  <a:lnTo>
                    <a:pt x="1469" y="423"/>
                  </a:lnTo>
                  <a:lnTo>
                    <a:pt x="1469" y="423"/>
                  </a:lnTo>
                  <a:lnTo>
                    <a:pt x="1469" y="421"/>
                  </a:lnTo>
                  <a:lnTo>
                    <a:pt x="1469" y="421"/>
                  </a:lnTo>
                  <a:lnTo>
                    <a:pt x="1471" y="417"/>
                  </a:lnTo>
                  <a:lnTo>
                    <a:pt x="1471" y="417"/>
                  </a:lnTo>
                  <a:lnTo>
                    <a:pt x="1473" y="411"/>
                  </a:lnTo>
                  <a:lnTo>
                    <a:pt x="1473" y="411"/>
                  </a:lnTo>
                  <a:lnTo>
                    <a:pt x="1471" y="408"/>
                  </a:lnTo>
                  <a:lnTo>
                    <a:pt x="1470" y="407"/>
                  </a:lnTo>
                  <a:lnTo>
                    <a:pt x="1470" y="407"/>
                  </a:lnTo>
                  <a:lnTo>
                    <a:pt x="1467" y="401"/>
                  </a:lnTo>
                  <a:lnTo>
                    <a:pt x="1467" y="401"/>
                  </a:lnTo>
                  <a:lnTo>
                    <a:pt x="1458" y="391"/>
                  </a:lnTo>
                  <a:lnTo>
                    <a:pt x="1458" y="391"/>
                  </a:lnTo>
                  <a:lnTo>
                    <a:pt x="1454" y="387"/>
                  </a:lnTo>
                  <a:lnTo>
                    <a:pt x="1454" y="387"/>
                  </a:lnTo>
                  <a:lnTo>
                    <a:pt x="1454" y="382"/>
                  </a:lnTo>
                  <a:lnTo>
                    <a:pt x="1454" y="381"/>
                  </a:lnTo>
                  <a:lnTo>
                    <a:pt x="1454" y="381"/>
                  </a:lnTo>
                  <a:lnTo>
                    <a:pt x="1458" y="372"/>
                  </a:lnTo>
                  <a:lnTo>
                    <a:pt x="1458" y="372"/>
                  </a:lnTo>
                  <a:lnTo>
                    <a:pt x="1461" y="368"/>
                  </a:lnTo>
                  <a:lnTo>
                    <a:pt x="1461" y="362"/>
                  </a:lnTo>
                  <a:lnTo>
                    <a:pt x="1461" y="362"/>
                  </a:lnTo>
                  <a:lnTo>
                    <a:pt x="1464" y="358"/>
                  </a:lnTo>
                  <a:lnTo>
                    <a:pt x="1464" y="358"/>
                  </a:lnTo>
                  <a:lnTo>
                    <a:pt x="1473" y="349"/>
                  </a:lnTo>
                  <a:lnTo>
                    <a:pt x="1473" y="349"/>
                  </a:lnTo>
                  <a:lnTo>
                    <a:pt x="1479" y="343"/>
                  </a:lnTo>
                  <a:lnTo>
                    <a:pt x="1479" y="343"/>
                  </a:lnTo>
                  <a:lnTo>
                    <a:pt x="1480" y="342"/>
                  </a:lnTo>
                  <a:lnTo>
                    <a:pt x="1480" y="339"/>
                  </a:lnTo>
                  <a:lnTo>
                    <a:pt x="1480" y="339"/>
                  </a:lnTo>
                  <a:lnTo>
                    <a:pt x="1482" y="322"/>
                  </a:lnTo>
                  <a:lnTo>
                    <a:pt x="1482" y="322"/>
                  </a:lnTo>
                  <a:lnTo>
                    <a:pt x="1483" y="311"/>
                  </a:lnTo>
                  <a:lnTo>
                    <a:pt x="1483" y="311"/>
                  </a:lnTo>
                  <a:lnTo>
                    <a:pt x="1483" y="308"/>
                  </a:lnTo>
                  <a:lnTo>
                    <a:pt x="1483" y="308"/>
                  </a:lnTo>
                  <a:lnTo>
                    <a:pt x="1483" y="308"/>
                  </a:lnTo>
                  <a:lnTo>
                    <a:pt x="1482" y="308"/>
                  </a:lnTo>
                  <a:lnTo>
                    <a:pt x="1483" y="308"/>
                  </a:lnTo>
                  <a:lnTo>
                    <a:pt x="1483" y="308"/>
                  </a:lnTo>
                  <a:lnTo>
                    <a:pt x="1482" y="308"/>
                  </a:lnTo>
                  <a:lnTo>
                    <a:pt x="1483" y="308"/>
                  </a:lnTo>
                  <a:lnTo>
                    <a:pt x="1482" y="307"/>
                  </a:lnTo>
                  <a:lnTo>
                    <a:pt x="1483" y="308"/>
                  </a:lnTo>
                  <a:lnTo>
                    <a:pt x="1483" y="308"/>
                  </a:lnTo>
                  <a:lnTo>
                    <a:pt x="1482" y="307"/>
                  </a:lnTo>
                  <a:lnTo>
                    <a:pt x="1483" y="308"/>
                  </a:lnTo>
                  <a:lnTo>
                    <a:pt x="1482" y="307"/>
                  </a:lnTo>
                  <a:lnTo>
                    <a:pt x="1482" y="308"/>
                  </a:lnTo>
                  <a:lnTo>
                    <a:pt x="1483" y="308"/>
                  </a:lnTo>
                  <a:lnTo>
                    <a:pt x="1482" y="307"/>
                  </a:lnTo>
                  <a:lnTo>
                    <a:pt x="1482" y="308"/>
                  </a:lnTo>
                  <a:lnTo>
                    <a:pt x="1482" y="308"/>
                  </a:lnTo>
                  <a:lnTo>
                    <a:pt x="1482" y="308"/>
                  </a:lnTo>
                  <a:lnTo>
                    <a:pt x="1482" y="308"/>
                  </a:lnTo>
                  <a:lnTo>
                    <a:pt x="1482" y="308"/>
                  </a:lnTo>
                  <a:lnTo>
                    <a:pt x="1482" y="308"/>
                  </a:lnTo>
                  <a:lnTo>
                    <a:pt x="1482" y="308"/>
                  </a:lnTo>
                  <a:lnTo>
                    <a:pt x="1482" y="308"/>
                  </a:lnTo>
                  <a:lnTo>
                    <a:pt x="1482" y="308"/>
                  </a:lnTo>
                  <a:lnTo>
                    <a:pt x="1482" y="308"/>
                  </a:lnTo>
                  <a:lnTo>
                    <a:pt x="1482" y="308"/>
                  </a:lnTo>
                  <a:lnTo>
                    <a:pt x="1482" y="308"/>
                  </a:lnTo>
                  <a:lnTo>
                    <a:pt x="1483" y="310"/>
                  </a:lnTo>
                  <a:lnTo>
                    <a:pt x="1483" y="310"/>
                  </a:lnTo>
                  <a:lnTo>
                    <a:pt x="1489" y="317"/>
                  </a:lnTo>
                  <a:lnTo>
                    <a:pt x="1489" y="317"/>
                  </a:lnTo>
                  <a:lnTo>
                    <a:pt x="1489" y="319"/>
                  </a:lnTo>
                  <a:lnTo>
                    <a:pt x="1489" y="319"/>
                  </a:lnTo>
                  <a:lnTo>
                    <a:pt x="1490" y="335"/>
                  </a:lnTo>
                  <a:lnTo>
                    <a:pt x="1490" y="335"/>
                  </a:lnTo>
                  <a:lnTo>
                    <a:pt x="1489" y="356"/>
                  </a:lnTo>
                  <a:lnTo>
                    <a:pt x="1489" y="372"/>
                  </a:lnTo>
                  <a:lnTo>
                    <a:pt x="1489" y="372"/>
                  </a:lnTo>
                  <a:lnTo>
                    <a:pt x="1487" y="375"/>
                  </a:lnTo>
                  <a:lnTo>
                    <a:pt x="1487" y="375"/>
                  </a:lnTo>
                  <a:lnTo>
                    <a:pt x="1489" y="379"/>
                  </a:lnTo>
                  <a:lnTo>
                    <a:pt x="1490" y="384"/>
                  </a:lnTo>
                  <a:lnTo>
                    <a:pt x="1490" y="384"/>
                  </a:lnTo>
                  <a:lnTo>
                    <a:pt x="1493" y="387"/>
                  </a:lnTo>
                  <a:lnTo>
                    <a:pt x="1498" y="388"/>
                  </a:lnTo>
                  <a:lnTo>
                    <a:pt x="1498" y="388"/>
                  </a:lnTo>
                  <a:lnTo>
                    <a:pt x="1498" y="388"/>
                  </a:lnTo>
                  <a:lnTo>
                    <a:pt x="1506" y="387"/>
                  </a:lnTo>
                  <a:lnTo>
                    <a:pt x="1516" y="385"/>
                  </a:lnTo>
                  <a:lnTo>
                    <a:pt x="1518" y="384"/>
                  </a:lnTo>
                  <a:lnTo>
                    <a:pt x="1518" y="384"/>
                  </a:lnTo>
                  <a:lnTo>
                    <a:pt x="1521" y="385"/>
                  </a:lnTo>
                  <a:lnTo>
                    <a:pt x="1524" y="387"/>
                  </a:lnTo>
                  <a:lnTo>
                    <a:pt x="1524" y="387"/>
                  </a:lnTo>
                  <a:lnTo>
                    <a:pt x="1528" y="390"/>
                  </a:lnTo>
                  <a:lnTo>
                    <a:pt x="1528" y="390"/>
                  </a:lnTo>
                  <a:lnTo>
                    <a:pt x="1531" y="391"/>
                  </a:lnTo>
                  <a:lnTo>
                    <a:pt x="1531" y="391"/>
                  </a:lnTo>
                  <a:lnTo>
                    <a:pt x="1534" y="391"/>
                  </a:lnTo>
                  <a:lnTo>
                    <a:pt x="1535" y="390"/>
                  </a:lnTo>
                  <a:lnTo>
                    <a:pt x="1535" y="390"/>
                  </a:lnTo>
                  <a:lnTo>
                    <a:pt x="1537" y="385"/>
                  </a:lnTo>
                  <a:lnTo>
                    <a:pt x="1538" y="379"/>
                  </a:lnTo>
                  <a:lnTo>
                    <a:pt x="1538" y="379"/>
                  </a:lnTo>
                  <a:lnTo>
                    <a:pt x="1537" y="374"/>
                  </a:lnTo>
                  <a:lnTo>
                    <a:pt x="1535" y="369"/>
                  </a:lnTo>
                  <a:lnTo>
                    <a:pt x="1535" y="369"/>
                  </a:lnTo>
                  <a:lnTo>
                    <a:pt x="1531" y="365"/>
                  </a:lnTo>
                  <a:lnTo>
                    <a:pt x="1531" y="365"/>
                  </a:lnTo>
                  <a:lnTo>
                    <a:pt x="1524" y="362"/>
                  </a:lnTo>
                  <a:lnTo>
                    <a:pt x="1524" y="362"/>
                  </a:lnTo>
                  <a:lnTo>
                    <a:pt x="1516" y="361"/>
                  </a:lnTo>
                  <a:lnTo>
                    <a:pt x="1516" y="361"/>
                  </a:lnTo>
                  <a:lnTo>
                    <a:pt x="1513" y="358"/>
                  </a:lnTo>
                  <a:lnTo>
                    <a:pt x="1513" y="358"/>
                  </a:lnTo>
                  <a:lnTo>
                    <a:pt x="1508" y="352"/>
                  </a:lnTo>
                  <a:lnTo>
                    <a:pt x="1508" y="352"/>
                  </a:lnTo>
                  <a:lnTo>
                    <a:pt x="1505" y="345"/>
                  </a:lnTo>
                  <a:lnTo>
                    <a:pt x="1505" y="345"/>
                  </a:lnTo>
                  <a:lnTo>
                    <a:pt x="1505" y="342"/>
                  </a:lnTo>
                  <a:lnTo>
                    <a:pt x="1505" y="342"/>
                  </a:lnTo>
                  <a:lnTo>
                    <a:pt x="1505" y="333"/>
                  </a:lnTo>
                  <a:lnTo>
                    <a:pt x="1505" y="333"/>
                  </a:lnTo>
                  <a:lnTo>
                    <a:pt x="1505" y="329"/>
                  </a:lnTo>
                  <a:lnTo>
                    <a:pt x="1505" y="329"/>
                  </a:lnTo>
                  <a:lnTo>
                    <a:pt x="1503" y="329"/>
                  </a:lnTo>
                  <a:lnTo>
                    <a:pt x="1505" y="329"/>
                  </a:lnTo>
                  <a:lnTo>
                    <a:pt x="1505" y="329"/>
                  </a:lnTo>
                  <a:lnTo>
                    <a:pt x="1503" y="329"/>
                  </a:lnTo>
                  <a:lnTo>
                    <a:pt x="1505" y="329"/>
                  </a:lnTo>
                  <a:lnTo>
                    <a:pt x="1503" y="329"/>
                  </a:lnTo>
                  <a:lnTo>
                    <a:pt x="1505" y="330"/>
                  </a:lnTo>
                  <a:lnTo>
                    <a:pt x="1505" y="329"/>
                  </a:lnTo>
                  <a:lnTo>
                    <a:pt x="1503" y="329"/>
                  </a:lnTo>
                  <a:lnTo>
                    <a:pt x="1505" y="330"/>
                  </a:lnTo>
                  <a:lnTo>
                    <a:pt x="1503" y="330"/>
                  </a:lnTo>
                  <a:lnTo>
                    <a:pt x="1503" y="330"/>
                  </a:lnTo>
                  <a:lnTo>
                    <a:pt x="1505" y="330"/>
                  </a:lnTo>
                  <a:lnTo>
                    <a:pt x="1503" y="330"/>
                  </a:lnTo>
                  <a:lnTo>
                    <a:pt x="1503" y="330"/>
                  </a:lnTo>
                  <a:lnTo>
                    <a:pt x="1505" y="330"/>
                  </a:lnTo>
                  <a:lnTo>
                    <a:pt x="1505" y="330"/>
                  </a:lnTo>
                  <a:lnTo>
                    <a:pt x="1511" y="330"/>
                  </a:lnTo>
                  <a:lnTo>
                    <a:pt x="1511" y="330"/>
                  </a:lnTo>
                  <a:lnTo>
                    <a:pt x="1515" y="330"/>
                  </a:lnTo>
                  <a:lnTo>
                    <a:pt x="1515" y="330"/>
                  </a:lnTo>
                  <a:lnTo>
                    <a:pt x="1521" y="333"/>
                  </a:lnTo>
                  <a:lnTo>
                    <a:pt x="1521" y="333"/>
                  </a:lnTo>
                  <a:lnTo>
                    <a:pt x="1524" y="335"/>
                  </a:lnTo>
                  <a:lnTo>
                    <a:pt x="1524" y="335"/>
                  </a:lnTo>
                  <a:lnTo>
                    <a:pt x="1528" y="336"/>
                  </a:lnTo>
                  <a:lnTo>
                    <a:pt x="1528" y="336"/>
                  </a:lnTo>
                  <a:lnTo>
                    <a:pt x="1531" y="335"/>
                  </a:lnTo>
                  <a:lnTo>
                    <a:pt x="1532" y="335"/>
                  </a:lnTo>
                  <a:lnTo>
                    <a:pt x="1531" y="335"/>
                  </a:lnTo>
                  <a:lnTo>
                    <a:pt x="1531" y="335"/>
                  </a:lnTo>
                  <a:lnTo>
                    <a:pt x="1532" y="335"/>
                  </a:lnTo>
                  <a:lnTo>
                    <a:pt x="1531" y="335"/>
                  </a:lnTo>
                  <a:lnTo>
                    <a:pt x="1531" y="335"/>
                  </a:lnTo>
                  <a:lnTo>
                    <a:pt x="1531" y="333"/>
                  </a:lnTo>
                  <a:lnTo>
                    <a:pt x="1531" y="335"/>
                  </a:lnTo>
                  <a:lnTo>
                    <a:pt x="1531" y="335"/>
                  </a:lnTo>
                  <a:lnTo>
                    <a:pt x="1531" y="333"/>
                  </a:lnTo>
                  <a:lnTo>
                    <a:pt x="1531" y="335"/>
                  </a:lnTo>
                  <a:lnTo>
                    <a:pt x="1531" y="335"/>
                  </a:lnTo>
                  <a:lnTo>
                    <a:pt x="1531" y="335"/>
                  </a:lnTo>
                  <a:lnTo>
                    <a:pt x="1532" y="336"/>
                  </a:lnTo>
                  <a:lnTo>
                    <a:pt x="1532" y="336"/>
                  </a:lnTo>
                  <a:lnTo>
                    <a:pt x="1534" y="339"/>
                  </a:lnTo>
                  <a:lnTo>
                    <a:pt x="1534" y="339"/>
                  </a:lnTo>
                  <a:lnTo>
                    <a:pt x="1535" y="339"/>
                  </a:lnTo>
                  <a:lnTo>
                    <a:pt x="1535" y="339"/>
                  </a:lnTo>
                  <a:lnTo>
                    <a:pt x="1537" y="340"/>
                  </a:lnTo>
                  <a:lnTo>
                    <a:pt x="1537" y="340"/>
                  </a:lnTo>
                  <a:lnTo>
                    <a:pt x="1540" y="339"/>
                  </a:lnTo>
                  <a:lnTo>
                    <a:pt x="1540" y="339"/>
                  </a:lnTo>
                  <a:lnTo>
                    <a:pt x="1540" y="339"/>
                  </a:lnTo>
                  <a:lnTo>
                    <a:pt x="1542" y="335"/>
                  </a:lnTo>
                  <a:lnTo>
                    <a:pt x="1542" y="330"/>
                  </a:lnTo>
                  <a:lnTo>
                    <a:pt x="1542" y="330"/>
                  </a:lnTo>
                  <a:lnTo>
                    <a:pt x="1542" y="327"/>
                  </a:lnTo>
                  <a:lnTo>
                    <a:pt x="1542" y="327"/>
                  </a:lnTo>
                  <a:lnTo>
                    <a:pt x="1538" y="323"/>
                  </a:lnTo>
                  <a:lnTo>
                    <a:pt x="1538" y="323"/>
                  </a:lnTo>
                  <a:lnTo>
                    <a:pt x="1532" y="320"/>
                  </a:lnTo>
                  <a:lnTo>
                    <a:pt x="1532" y="320"/>
                  </a:lnTo>
                  <a:lnTo>
                    <a:pt x="1529" y="319"/>
                  </a:lnTo>
                  <a:lnTo>
                    <a:pt x="1529" y="319"/>
                  </a:lnTo>
                  <a:lnTo>
                    <a:pt x="1529" y="319"/>
                  </a:lnTo>
                  <a:lnTo>
                    <a:pt x="1529" y="319"/>
                  </a:lnTo>
                  <a:lnTo>
                    <a:pt x="1529" y="319"/>
                  </a:lnTo>
                  <a:lnTo>
                    <a:pt x="1529" y="319"/>
                  </a:lnTo>
                  <a:lnTo>
                    <a:pt x="1529" y="319"/>
                  </a:lnTo>
                  <a:lnTo>
                    <a:pt x="1529" y="319"/>
                  </a:lnTo>
                  <a:lnTo>
                    <a:pt x="1529" y="319"/>
                  </a:lnTo>
                  <a:lnTo>
                    <a:pt x="1529" y="319"/>
                  </a:lnTo>
                  <a:lnTo>
                    <a:pt x="1529" y="319"/>
                  </a:lnTo>
                  <a:lnTo>
                    <a:pt x="1529" y="319"/>
                  </a:lnTo>
                  <a:lnTo>
                    <a:pt x="1529" y="319"/>
                  </a:lnTo>
                  <a:lnTo>
                    <a:pt x="1529" y="319"/>
                  </a:lnTo>
                  <a:lnTo>
                    <a:pt x="1532" y="317"/>
                  </a:lnTo>
                  <a:lnTo>
                    <a:pt x="1532" y="317"/>
                  </a:lnTo>
                  <a:lnTo>
                    <a:pt x="1538" y="311"/>
                  </a:lnTo>
                  <a:lnTo>
                    <a:pt x="1538" y="311"/>
                  </a:lnTo>
                  <a:lnTo>
                    <a:pt x="1544" y="307"/>
                  </a:lnTo>
                  <a:lnTo>
                    <a:pt x="1544" y="307"/>
                  </a:lnTo>
                  <a:lnTo>
                    <a:pt x="1545" y="307"/>
                  </a:lnTo>
                  <a:lnTo>
                    <a:pt x="1545" y="307"/>
                  </a:lnTo>
                  <a:lnTo>
                    <a:pt x="1551" y="308"/>
                  </a:lnTo>
                  <a:lnTo>
                    <a:pt x="1551" y="308"/>
                  </a:lnTo>
                  <a:lnTo>
                    <a:pt x="1553" y="311"/>
                  </a:lnTo>
                  <a:lnTo>
                    <a:pt x="1554" y="314"/>
                  </a:lnTo>
                  <a:lnTo>
                    <a:pt x="1554" y="314"/>
                  </a:lnTo>
                  <a:lnTo>
                    <a:pt x="1564" y="339"/>
                  </a:lnTo>
                  <a:lnTo>
                    <a:pt x="1564" y="339"/>
                  </a:lnTo>
                  <a:lnTo>
                    <a:pt x="1571" y="352"/>
                  </a:lnTo>
                  <a:lnTo>
                    <a:pt x="1571" y="352"/>
                  </a:lnTo>
                  <a:lnTo>
                    <a:pt x="1574" y="358"/>
                  </a:lnTo>
                  <a:lnTo>
                    <a:pt x="1574" y="358"/>
                  </a:lnTo>
                  <a:lnTo>
                    <a:pt x="1579" y="361"/>
                  </a:lnTo>
                  <a:lnTo>
                    <a:pt x="1579" y="361"/>
                  </a:lnTo>
                  <a:lnTo>
                    <a:pt x="1586" y="364"/>
                  </a:lnTo>
                  <a:lnTo>
                    <a:pt x="1586" y="364"/>
                  </a:lnTo>
                  <a:lnTo>
                    <a:pt x="1602" y="368"/>
                  </a:lnTo>
                  <a:lnTo>
                    <a:pt x="1602" y="368"/>
                  </a:lnTo>
                  <a:lnTo>
                    <a:pt x="1608" y="371"/>
                  </a:lnTo>
                  <a:lnTo>
                    <a:pt x="1608" y="371"/>
                  </a:lnTo>
                  <a:lnTo>
                    <a:pt x="1609" y="371"/>
                  </a:lnTo>
                  <a:lnTo>
                    <a:pt x="1609" y="371"/>
                  </a:lnTo>
                  <a:lnTo>
                    <a:pt x="1611" y="371"/>
                  </a:lnTo>
                  <a:lnTo>
                    <a:pt x="1609" y="371"/>
                  </a:lnTo>
                  <a:lnTo>
                    <a:pt x="1609" y="371"/>
                  </a:lnTo>
                  <a:lnTo>
                    <a:pt x="1611" y="371"/>
                  </a:lnTo>
                  <a:lnTo>
                    <a:pt x="1609" y="371"/>
                  </a:lnTo>
                  <a:lnTo>
                    <a:pt x="1611" y="371"/>
                  </a:lnTo>
                  <a:lnTo>
                    <a:pt x="1609" y="371"/>
                  </a:lnTo>
                  <a:lnTo>
                    <a:pt x="1609" y="371"/>
                  </a:lnTo>
                  <a:lnTo>
                    <a:pt x="1611" y="371"/>
                  </a:lnTo>
                  <a:lnTo>
                    <a:pt x="1609" y="371"/>
                  </a:lnTo>
                  <a:lnTo>
                    <a:pt x="1611" y="371"/>
                  </a:lnTo>
                  <a:lnTo>
                    <a:pt x="1609" y="371"/>
                  </a:lnTo>
                  <a:lnTo>
                    <a:pt x="1609" y="371"/>
                  </a:lnTo>
                  <a:lnTo>
                    <a:pt x="1611" y="371"/>
                  </a:lnTo>
                  <a:lnTo>
                    <a:pt x="1609" y="371"/>
                  </a:lnTo>
                  <a:lnTo>
                    <a:pt x="1609" y="371"/>
                  </a:lnTo>
                  <a:lnTo>
                    <a:pt x="1609" y="371"/>
                  </a:lnTo>
                  <a:lnTo>
                    <a:pt x="1606" y="379"/>
                  </a:lnTo>
                  <a:lnTo>
                    <a:pt x="1606" y="379"/>
                  </a:lnTo>
                  <a:lnTo>
                    <a:pt x="1605" y="384"/>
                  </a:lnTo>
                  <a:lnTo>
                    <a:pt x="1603" y="388"/>
                  </a:lnTo>
                  <a:lnTo>
                    <a:pt x="1603" y="388"/>
                  </a:lnTo>
                  <a:lnTo>
                    <a:pt x="1597" y="397"/>
                  </a:lnTo>
                  <a:lnTo>
                    <a:pt x="1597" y="397"/>
                  </a:lnTo>
                  <a:lnTo>
                    <a:pt x="1595" y="401"/>
                  </a:lnTo>
                  <a:lnTo>
                    <a:pt x="1595" y="401"/>
                  </a:lnTo>
                  <a:lnTo>
                    <a:pt x="1593" y="404"/>
                  </a:lnTo>
                  <a:lnTo>
                    <a:pt x="1593" y="404"/>
                  </a:lnTo>
                  <a:lnTo>
                    <a:pt x="1593" y="406"/>
                  </a:lnTo>
                  <a:lnTo>
                    <a:pt x="1593" y="406"/>
                  </a:lnTo>
                  <a:lnTo>
                    <a:pt x="1593" y="407"/>
                  </a:lnTo>
                  <a:lnTo>
                    <a:pt x="1593" y="407"/>
                  </a:lnTo>
                  <a:lnTo>
                    <a:pt x="1596" y="408"/>
                  </a:lnTo>
                  <a:lnTo>
                    <a:pt x="1596" y="408"/>
                  </a:lnTo>
                  <a:lnTo>
                    <a:pt x="1597" y="408"/>
                  </a:lnTo>
                  <a:lnTo>
                    <a:pt x="1597" y="407"/>
                  </a:lnTo>
                  <a:lnTo>
                    <a:pt x="1597" y="407"/>
                  </a:lnTo>
                  <a:lnTo>
                    <a:pt x="1600" y="406"/>
                  </a:lnTo>
                  <a:lnTo>
                    <a:pt x="1603" y="406"/>
                  </a:lnTo>
                  <a:lnTo>
                    <a:pt x="1603" y="406"/>
                  </a:lnTo>
                  <a:lnTo>
                    <a:pt x="1605" y="406"/>
                  </a:lnTo>
                  <a:lnTo>
                    <a:pt x="1605" y="406"/>
                  </a:lnTo>
                  <a:lnTo>
                    <a:pt x="1605" y="406"/>
                  </a:lnTo>
                  <a:lnTo>
                    <a:pt x="1605" y="406"/>
                  </a:lnTo>
                  <a:lnTo>
                    <a:pt x="1605" y="406"/>
                  </a:lnTo>
                  <a:lnTo>
                    <a:pt x="1605" y="406"/>
                  </a:lnTo>
                  <a:lnTo>
                    <a:pt x="1605" y="406"/>
                  </a:lnTo>
                  <a:lnTo>
                    <a:pt x="1605" y="406"/>
                  </a:lnTo>
                  <a:lnTo>
                    <a:pt x="1605" y="406"/>
                  </a:lnTo>
                  <a:lnTo>
                    <a:pt x="1605" y="406"/>
                  </a:lnTo>
                  <a:lnTo>
                    <a:pt x="1605" y="406"/>
                  </a:lnTo>
                  <a:lnTo>
                    <a:pt x="1605" y="406"/>
                  </a:lnTo>
                  <a:lnTo>
                    <a:pt x="1605" y="407"/>
                  </a:lnTo>
                  <a:lnTo>
                    <a:pt x="1605" y="407"/>
                  </a:lnTo>
                  <a:lnTo>
                    <a:pt x="1606" y="414"/>
                  </a:lnTo>
                  <a:lnTo>
                    <a:pt x="1606" y="414"/>
                  </a:lnTo>
                  <a:lnTo>
                    <a:pt x="1608" y="417"/>
                  </a:lnTo>
                  <a:lnTo>
                    <a:pt x="1608" y="417"/>
                  </a:lnTo>
                  <a:lnTo>
                    <a:pt x="1609" y="419"/>
                  </a:lnTo>
                  <a:lnTo>
                    <a:pt x="1611" y="420"/>
                  </a:lnTo>
                  <a:lnTo>
                    <a:pt x="1611" y="420"/>
                  </a:lnTo>
                  <a:lnTo>
                    <a:pt x="1612" y="420"/>
                  </a:lnTo>
                  <a:lnTo>
                    <a:pt x="1612" y="420"/>
                  </a:lnTo>
                  <a:lnTo>
                    <a:pt x="1613" y="420"/>
                  </a:lnTo>
                  <a:lnTo>
                    <a:pt x="1613" y="420"/>
                  </a:lnTo>
                  <a:lnTo>
                    <a:pt x="1615" y="419"/>
                  </a:lnTo>
                  <a:lnTo>
                    <a:pt x="1615" y="419"/>
                  </a:lnTo>
                  <a:lnTo>
                    <a:pt x="1616" y="411"/>
                  </a:lnTo>
                  <a:lnTo>
                    <a:pt x="1616" y="411"/>
                  </a:lnTo>
                  <a:lnTo>
                    <a:pt x="1619" y="397"/>
                  </a:lnTo>
                  <a:lnTo>
                    <a:pt x="1619" y="397"/>
                  </a:lnTo>
                  <a:lnTo>
                    <a:pt x="1621" y="385"/>
                  </a:lnTo>
                  <a:lnTo>
                    <a:pt x="1621" y="385"/>
                  </a:lnTo>
                  <a:lnTo>
                    <a:pt x="1622" y="371"/>
                  </a:lnTo>
                  <a:lnTo>
                    <a:pt x="1622" y="371"/>
                  </a:lnTo>
                  <a:lnTo>
                    <a:pt x="1622" y="364"/>
                  </a:lnTo>
                  <a:lnTo>
                    <a:pt x="1622" y="364"/>
                  </a:lnTo>
                  <a:lnTo>
                    <a:pt x="1621" y="361"/>
                  </a:lnTo>
                  <a:lnTo>
                    <a:pt x="1619" y="358"/>
                  </a:lnTo>
                  <a:lnTo>
                    <a:pt x="1619" y="358"/>
                  </a:lnTo>
                  <a:lnTo>
                    <a:pt x="1612" y="353"/>
                  </a:lnTo>
                  <a:lnTo>
                    <a:pt x="1612" y="353"/>
                  </a:lnTo>
                  <a:lnTo>
                    <a:pt x="1609" y="352"/>
                  </a:lnTo>
                  <a:lnTo>
                    <a:pt x="1606" y="349"/>
                  </a:lnTo>
                  <a:lnTo>
                    <a:pt x="1606" y="349"/>
                  </a:lnTo>
                  <a:lnTo>
                    <a:pt x="1597" y="339"/>
                  </a:lnTo>
                  <a:lnTo>
                    <a:pt x="1593" y="335"/>
                  </a:lnTo>
                  <a:lnTo>
                    <a:pt x="1589" y="332"/>
                  </a:lnTo>
                  <a:lnTo>
                    <a:pt x="1589" y="332"/>
                  </a:lnTo>
                  <a:lnTo>
                    <a:pt x="1584" y="330"/>
                  </a:lnTo>
                  <a:lnTo>
                    <a:pt x="1583" y="327"/>
                  </a:lnTo>
                  <a:lnTo>
                    <a:pt x="1583" y="327"/>
                  </a:lnTo>
                  <a:lnTo>
                    <a:pt x="1577" y="317"/>
                  </a:lnTo>
                  <a:lnTo>
                    <a:pt x="1577" y="317"/>
                  </a:lnTo>
                  <a:lnTo>
                    <a:pt x="1574" y="308"/>
                  </a:lnTo>
                  <a:lnTo>
                    <a:pt x="1574" y="308"/>
                  </a:lnTo>
                  <a:lnTo>
                    <a:pt x="1573" y="301"/>
                  </a:lnTo>
                  <a:lnTo>
                    <a:pt x="1573" y="301"/>
                  </a:lnTo>
                  <a:lnTo>
                    <a:pt x="1574" y="297"/>
                  </a:lnTo>
                  <a:lnTo>
                    <a:pt x="1574" y="297"/>
                  </a:lnTo>
                  <a:lnTo>
                    <a:pt x="1576" y="288"/>
                  </a:lnTo>
                  <a:lnTo>
                    <a:pt x="1576" y="288"/>
                  </a:lnTo>
                  <a:lnTo>
                    <a:pt x="1576" y="275"/>
                  </a:lnTo>
                  <a:lnTo>
                    <a:pt x="1576" y="275"/>
                  </a:lnTo>
                  <a:lnTo>
                    <a:pt x="1577" y="271"/>
                  </a:lnTo>
                  <a:lnTo>
                    <a:pt x="1577" y="271"/>
                  </a:lnTo>
                  <a:lnTo>
                    <a:pt x="1579" y="268"/>
                  </a:lnTo>
                  <a:lnTo>
                    <a:pt x="1579" y="268"/>
                  </a:lnTo>
                  <a:lnTo>
                    <a:pt x="1582" y="266"/>
                  </a:lnTo>
                  <a:lnTo>
                    <a:pt x="1582" y="266"/>
                  </a:lnTo>
                  <a:lnTo>
                    <a:pt x="1593" y="265"/>
                  </a:lnTo>
                  <a:lnTo>
                    <a:pt x="1599" y="265"/>
                  </a:lnTo>
                  <a:lnTo>
                    <a:pt x="1608" y="262"/>
                  </a:lnTo>
                  <a:lnTo>
                    <a:pt x="1608" y="262"/>
                  </a:lnTo>
                  <a:lnTo>
                    <a:pt x="1616" y="258"/>
                  </a:lnTo>
                  <a:lnTo>
                    <a:pt x="1622" y="255"/>
                  </a:lnTo>
                  <a:lnTo>
                    <a:pt x="1622" y="255"/>
                  </a:lnTo>
                  <a:lnTo>
                    <a:pt x="1626" y="252"/>
                  </a:lnTo>
                  <a:lnTo>
                    <a:pt x="1632" y="251"/>
                  </a:lnTo>
                  <a:lnTo>
                    <a:pt x="1632" y="251"/>
                  </a:lnTo>
                  <a:lnTo>
                    <a:pt x="1639" y="249"/>
                  </a:lnTo>
                  <a:lnTo>
                    <a:pt x="1639" y="249"/>
                  </a:lnTo>
                  <a:lnTo>
                    <a:pt x="1642" y="246"/>
                  </a:lnTo>
                  <a:lnTo>
                    <a:pt x="1644" y="243"/>
                  </a:lnTo>
                  <a:lnTo>
                    <a:pt x="1644" y="243"/>
                  </a:lnTo>
                  <a:lnTo>
                    <a:pt x="1647" y="240"/>
                  </a:lnTo>
                  <a:lnTo>
                    <a:pt x="1647" y="240"/>
                  </a:lnTo>
                  <a:lnTo>
                    <a:pt x="1648" y="239"/>
                  </a:lnTo>
                  <a:lnTo>
                    <a:pt x="1648" y="236"/>
                  </a:lnTo>
                  <a:lnTo>
                    <a:pt x="1648" y="236"/>
                  </a:lnTo>
                  <a:lnTo>
                    <a:pt x="1648" y="235"/>
                  </a:lnTo>
                  <a:lnTo>
                    <a:pt x="1648" y="235"/>
                  </a:lnTo>
                  <a:lnTo>
                    <a:pt x="1645" y="232"/>
                  </a:lnTo>
                  <a:lnTo>
                    <a:pt x="1645" y="232"/>
                  </a:lnTo>
                  <a:lnTo>
                    <a:pt x="1642" y="230"/>
                  </a:lnTo>
                  <a:lnTo>
                    <a:pt x="1642" y="230"/>
                  </a:lnTo>
                  <a:lnTo>
                    <a:pt x="1641" y="227"/>
                  </a:lnTo>
                  <a:lnTo>
                    <a:pt x="1641" y="227"/>
                  </a:lnTo>
                  <a:lnTo>
                    <a:pt x="1641" y="219"/>
                  </a:lnTo>
                  <a:lnTo>
                    <a:pt x="1641" y="219"/>
                  </a:lnTo>
                  <a:lnTo>
                    <a:pt x="1642" y="214"/>
                  </a:lnTo>
                  <a:lnTo>
                    <a:pt x="1642" y="214"/>
                  </a:lnTo>
                  <a:lnTo>
                    <a:pt x="1645" y="211"/>
                  </a:lnTo>
                  <a:lnTo>
                    <a:pt x="1645" y="211"/>
                  </a:lnTo>
                  <a:lnTo>
                    <a:pt x="1650" y="209"/>
                  </a:lnTo>
                  <a:lnTo>
                    <a:pt x="1653" y="206"/>
                  </a:lnTo>
                  <a:lnTo>
                    <a:pt x="1653" y="206"/>
                  </a:lnTo>
                  <a:lnTo>
                    <a:pt x="1654" y="204"/>
                  </a:lnTo>
                  <a:lnTo>
                    <a:pt x="1657" y="201"/>
                  </a:lnTo>
                  <a:lnTo>
                    <a:pt x="1657" y="201"/>
                  </a:lnTo>
                  <a:lnTo>
                    <a:pt x="1667" y="194"/>
                  </a:lnTo>
                  <a:lnTo>
                    <a:pt x="1677" y="188"/>
                  </a:lnTo>
                  <a:lnTo>
                    <a:pt x="1677" y="188"/>
                  </a:lnTo>
                  <a:lnTo>
                    <a:pt x="1681" y="185"/>
                  </a:lnTo>
                  <a:lnTo>
                    <a:pt x="1681" y="185"/>
                  </a:lnTo>
                  <a:lnTo>
                    <a:pt x="1684" y="181"/>
                  </a:lnTo>
                  <a:lnTo>
                    <a:pt x="1684" y="181"/>
                  </a:lnTo>
                  <a:lnTo>
                    <a:pt x="1689" y="175"/>
                  </a:lnTo>
                  <a:lnTo>
                    <a:pt x="1689" y="175"/>
                  </a:lnTo>
                  <a:lnTo>
                    <a:pt x="1695" y="169"/>
                  </a:lnTo>
                  <a:lnTo>
                    <a:pt x="1699" y="162"/>
                  </a:lnTo>
                  <a:lnTo>
                    <a:pt x="1699" y="162"/>
                  </a:lnTo>
                  <a:lnTo>
                    <a:pt x="1705" y="153"/>
                  </a:lnTo>
                  <a:lnTo>
                    <a:pt x="1712" y="148"/>
                  </a:lnTo>
                  <a:lnTo>
                    <a:pt x="1712" y="148"/>
                  </a:lnTo>
                  <a:lnTo>
                    <a:pt x="1722" y="142"/>
                  </a:lnTo>
                  <a:lnTo>
                    <a:pt x="1734" y="138"/>
                  </a:lnTo>
                  <a:lnTo>
                    <a:pt x="1734" y="138"/>
                  </a:lnTo>
                  <a:lnTo>
                    <a:pt x="1744" y="135"/>
                  </a:lnTo>
                  <a:lnTo>
                    <a:pt x="1744" y="135"/>
                  </a:lnTo>
                  <a:lnTo>
                    <a:pt x="1750" y="130"/>
                  </a:lnTo>
                  <a:lnTo>
                    <a:pt x="1750" y="130"/>
                  </a:lnTo>
                  <a:lnTo>
                    <a:pt x="1758" y="125"/>
                  </a:lnTo>
                  <a:lnTo>
                    <a:pt x="1758" y="125"/>
                  </a:lnTo>
                  <a:lnTo>
                    <a:pt x="1764" y="122"/>
                  </a:lnTo>
                  <a:lnTo>
                    <a:pt x="1768" y="119"/>
                  </a:lnTo>
                  <a:lnTo>
                    <a:pt x="1768" y="119"/>
                  </a:lnTo>
                  <a:lnTo>
                    <a:pt x="1773" y="117"/>
                  </a:lnTo>
                  <a:lnTo>
                    <a:pt x="1777" y="114"/>
                  </a:lnTo>
                  <a:lnTo>
                    <a:pt x="1777" y="114"/>
                  </a:lnTo>
                  <a:lnTo>
                    <a:pt x="1781" y="111"/>
                  </a:lnTo>
                  <a:lnTo>
                    <a:pt x="1781" y="111"/>
                  </a:lnTo>
                  <a:lnTo>
                    <a:pt x="1781" y="111"/>
                  </a:lnTo>
                  <a:lnTo>
                    <a:pt x="1781" y="111"/>
                  </a:lnTo>
                  <a:lnTo>
                    <a:pt x="1781" y="110"/>
                  </a:lnTo>
                  <a:lnTo>
                    <a:pt x="1781" y="111"/>
                  </a:lnTo>
                  <a:lnTo>
                    <a:pt x="1781" y="111"/>
                  </a:lnTo>
                  <a:lnTo>
                    <a:pt x="1781" y="110"/>
                  </a:lnTo>
                  <a:lnTo>
                    <a:pt x="1781" y="111"/>
                  </a:lnTo>
                  <a:lnTo>
                    <a:pt x="1781" y="109"/>
                  </a:lnTo>
                  <a:lnTo>
                    <a:pt x="1780" y="110"/>
                  </a:lnTo>
                  <a:lnTo>
                    <a:pt x="1780" y="110"/>
                  </a:lnTo>
                  <a:lnTo>
                    <a:pt x="1781" y="111"/>
                  </a:lnTo>
                  <a:lnTo>
                    <a:pt x="1781" y="109"/>
                  </a:lnTo>
                  <a:lnTo>
                    <a:pt x="1780" y="110"/>
                  </a:lnTo>
                  <a:lnTo>
                    <a:pt x="1781" y="109"/>
                  </a:lnTo>
                  <a:lnTo>
                    <a:pt x="1780" y="109"/>
                  </a:lnTo>
                  <a:lnTo>
                    <a:pt x="1780" y="109"/>
                  </a:lnTo>
                  <a:lnTo>
                    <a:pt x="1780" y="110"/>
                  </a:lnTo>
                  <a:lnTo>
                    <a:pt x="1781" y="109"/>
                  </a:lnTo>
                  <a:lnTo>
                    <a:pt x="1780" y="109"/>
                  </a:lnTo>
                  <a:lnTo>
                    <a:pt x="1780" y="109"/>
                  </a:lnTo>
                  <a:lnTo>
                    <a:pt x="1780" y="109"/>
                  </a:lnTo>
                  <a:lnTo>
                    <a:pt x="1780" y="109"/>
                  </a:lnTo>
                  <a:lnTo>
                    <a:pt x="1780" y="109"/>
                  </a:lnTo>
                  <a:lnTo>
                    <a:pt x="1780" y="109"/>
                  </a:lnTo>
                  <a:lnTo>
                    <a:pt x="1780" y="109"/>
                  </a:lnTo>
                  <a:lnTo>
                    <a:pt x="1780" y="109"/>
                  </a:lnTo>
                  <a:lnTo>
                    <a:pt x="1779" y="111"/>
                  </a:lnTo>
                  <a:lnTo>
                    <a:pt x="1779" y="111"/>
                  </a:lnTo>
                  <a:lnTo>
                    <a:pt x="1777" y="116"/>
                  </a:lnTo>
                  <a:lnTo>
                    <a:pt x="1777" y="116"/>
                  </a:lnTo>
                  <a:lnTo>
                    <a:pt x="1779" y="117"/>
                  </a:lnTo>
                  <a:lnTo>
                    <a:pt x="1779" y="117"/>
                  </a:lnTo>
                  <a:lnTo>
                    <a:pt x="1780" y="119"/>
                  </a:lnTo>
                  <a:lnTo>
                    <a:pt x="1780" y="119"/>
                  </a:lnTo>
                  <a:lnTo>
                    <a:pt x="1783" y="120"/>
                  </a:lnTo>
                  <a:lnTo>
                    <a:pt x="1784" y="120"/>
                  </a:lnTo>
                  <a:lnTo>
                    <a:pt x="1784" y="120"/>
                  </a:lnTo>
                  <a:lnTo>
                    <a:pt x="1789" y="119"/>
                  </a:lnTo>
                  <a:lnTo>
                    <a:pt x="1792" y="117"/>
                  </a:lnTo>
                  <a:lnTo>
                    <a:pt x="1792" y="117"/>
                  </a:lnTo>
                  <a:lnTo>
                    <a:pt x="1794" y="117"/>
                  </a:lnTo>
                  <a:lnTo>
                    <a:pt x="1797" y="116"/>
                  </a:lnTo>
                  <a:lnTo>
                    <a:pt x="1797" y="116"/>
                  </a:lnTo>
                  <a:lnTo>
                    <a:pt x="1799" y="116"/>
                  </a:lnTo>
                  <a:lnTo>
                    <a:pt x="1799" y="116"/>
                  </a:lnTo>
                  <a:lnTo>
                    <a:pt x="1805" y="117"/>
                  </a:lnTo>
                  <a:lnTo>
                    <a:pt x="1805" y="117"/>
                  </a:lnTo>
                  <a:lnTo>
                    <a:pt x="1810" y="116"/>
                  </a:lnTo>
                  <a:lnTo>
                    <a:pt x="1810" y="116"/>
                  </a:lnTo>
                  <a:lnTo>
                    <a:pt x="1816" y="114"/>
                  </a:lnTo>
                  <a:lnTo>
                    <a:pt x="1816" y="114"/>
                  </a:lnTo>
                  <a:lnTo>
                    <a:pt x="1819" y="113"/>
                  </a:lnTo>
                  <a:lnTo>
                    <a:pt x="1819" y="113"/>
                  </a:lnTo>
                  <a:lnTo>
                    <a:pt x="1819" y="113"/>
                  </a:lnTo>
                  <a:lnTo>
                    <a:pt x="1819" y="113"/>
                  </a:lnTo>
                  <a:lnTo>
                    <a:pt x="1819" y="113"/>
                  </a:lnTo>
                  <a:lnTo>
                    <a:pt x="1819" y="113"/>
                  </a:lnTo>
                  <a:lnTo>
                    <a:pt x="1819" y="113"/>
                  </a:lnTo>
                  <a:lnTo>
                    <a:pt x="1819" y="113"/>
                  </a:lnTo>
                  <a:lnTo>
                    <a:pt x="1819" y="113"/>
                  </a:lnTo>
                  <a:lnTo>
                    <a:pt x="1821" y="114"/>
                  </a:lnTo>
                  <a:lnTo>
                    <a:pt x="1821" y="114"/>
                  </a:lnTo>
                  <a:lnTo>
                    <a:pt x="1823" y="117"/>
                  </a:lnTo>
                  <a:lnTo>
                    <a:pt x="1823" y="117"/>
                  </a:lnTo>
                  <a:lnTo>
                    <a:pt x="1825" y="120"/>
                  </a:lnTo>
                  <a:lnTo>
                    <a:pt x="1825" y="123"/>
                  </a:lnTo>
                  <a:lnTo>
                    <a:pt x="1825" y="123"/>
                  </a:lnTo>
                  <a:lnTo>
                    <a:pt x="1825" y="127"/>
                  </a:lnTo>
                  <a:lnTo>
                    <a:pt x="1825" y="127"/>
                  </a:lnTo>
                  <a:lnTo>
                    <a:pt x="1826" y="129"/>
                  </a:lnTo>
                  <a:lnTo>
                    <a:pt x="1826" y="129"/>
                  </a:lnTo>
                  <a:lnTo>
                    <a:pt x="1829" y="130"/>
                  </a:lnTo>
                  <a:lnTo>
                    <a:pt x="1829" y="130"/>
                  </a:lnTo>
                  <a:lnTo>
                    <a:pt x="1832" y="129"/>
                  </a:lnTo>
                  <a:lnTo>
                    <a:pt x="1832" y="129"/>
                  </a:lnTo>
                  <a:lnTo>
                    <a:pt x="1838" y="127"/>
                  </a:lnTo>
                  <a:lnTo>
                    <a:pt x="1838" y="127"/>
                  </a:lnTo>
                  <a:lnTo>
                    <a:pt x="1841" y="126"/>
                  </a:lnTo>
                  <a:lnTo>
                    <a:pt x="1841" y="126"/>
                  </a:lnTo>
                  <a:lnTo>
                    <a:pt x="1847" y="127"/>
                  </a:lnTo>
                  <a:lnTo>
                    <a:pt x="1847" y="127"/>
                  </a:lnTo>
                  <a:lnTo>
                    <a:pt x="1851" y="130"/>
                  </a:lnTo>
                  <a:lnTo>
                    <a:pt x="1854" y="133"/>
                  </a:lnTo>
                  <a:lnTo>
                    <a:pt x="1857" y="138"/>
                  </a:lnTo>
                  <a:lnTo>
                    <a:pt x="1858" y="142"/>
                  </a:lnTo>
                  <a:lnTo>
                    <a:pt x="1858" y="142"/>
                  </a:lnTo>
                  <a:lnTo>
                    <a:pt x="1861" y="149"/>
                  </a:lnTo>
                  <a:lnTo>
                    <a:pt x="1861" y="149"/>
                  </a:lnTo>
                  <a:lnTo>
                    <a:pt x="1865" y="152"/>
                  </a:lnTo>
                  <a:lnTo>
                    <a:pt x="1865" y="152"/>
                  </a:lnTo>
                  <a:lnTo>
                    <a:pt x="1870" y="153"/>
                  </a:lnTo>
                  <a:lnTo>
                    <a:pt x="1870" y="153"/>
                  </a:lnTo>
                  <a:lnTo>
                    <a:pt x="1873" y="153"/>
                  </a:lnTo>
                  <a:lnTo>
                    <a:pt x="1873" y="153"/>
                  </a:lnTo>
                  <a:lnTo>
                    <a:pt x="1878" y="152"/>
                  </a:lnTo>
                  <a:lnTo>
                    <a:pt x="1878" y="152"/>
                  </a:lnTo>
                  <a:lnTo>
                    <a:pt x="1880" y="152"/>
                  </a:lnTo>
                  <a:lnTo>
                    <a:pt x="1880" y="152"/>
                  </a:lnTo>
                  <a:lnTo>
                    <a:pt x="1881" y="153"/>
                  </a:lnTo>
                  <a:lnTo>
                    <a:pt x="1881" y="153"/>
                  </a:lnTo>
                  <a:lnTo>
                    <a:pt x="1881" y="158"/>
                  </a:lnTo>
                  <a:lnTo>
                    <a:pt x="1881" y="158"/>
                  </a:lnTo>
                  <a:lnTo>
                    <a:pt x="1881" y="168"/>
                  </a:lnTo>
                  <a:lnTo>
                    <a:pt x="1881" y="168"/>
                  </a:lnTo>
                  <a:lnTo>
                    <a:pt x="1881" y="169"/>
                  </a:lnTo>
                  <a:lnTo>
                    <a:pt x="1881" y="169"/>
                  </a:lnTo>
                  <a:lnTo>
                    <a:pt x="1881" y="169"/>
                  </a:lnTo>
                  <a:lnTo>
                    <a:pt x="1883" y="171"/>
                  </a:lnTo>
                  <a:lnTo>
                    <a:pt x="1883" y="171"/>
                  </a:lnTo>
                  <a:lnTo>
                    <a:pt x="1884" y="171"/>
                  </a:lnTo>
                  <a:lnTo>
                    <a:pt x="1884" y="171"/>
                  </a:lnTo>
                  <a:lnTo>
                    <a:pt x="1886" y="171"/>
                  </a:lnTo>
                  <a:lnTo>
                    <a:pt x="1886" y="169"/>
                  </a:lnTo>
                  <a:lnTo>
                    <a:pt x="1886" y="169"/>
                  </a:lnTo>
                  <a:lnTo>
                    <a:pt x="1886" y="169"/>
                  </a:lnTo>
                  <a:lnTo>
                    <a:pt x="1890" y="164"/>
                  </a:lnTo>
                  <a:lnTo>
                    <a:pt x="1892" y="159"/>
                  </a:lnTo>
                  <a:lnTo>
                    <a:pt x="1893" y="155"/>
                  </a:lnTo>
                  <a:lnTo>
                    <a:pt x="1893" y="155"/>
                  </a:lnTo>
                  <a:lnTo>
                    <a:pt x="1892" y="149"/>
                  </a:lnTo>
                  <a:lnTo>
                    <a:pt x="1892" y="149"/>
                  </a:lnTo>
                  <a:lnTo>
                    <a:pt x="1892" y="149"/>
                  </a:lnTo>
                  <a:lnTo>
                    <a:pt x="1887" y="139"/>
                  </a:lnTo>
                  <a:lnTo>
                    <a:pt x="1887" y="139"/>
                  </a:lnTo>
                  <a:lnTo>
                    <a:pt x="1884" y="136"/>
                  </a:lnTo>
                  <a:lnTo>
                    <a:pt x="1884" y="136"/>
                  </a:lnTo>
                  <a:lnTo>
                    <a:pt x="1880" y="136"/>
                  </a:lnTo>
                  <a:lnTo>
                    <a:pt x="1880" y="136"/>
                  </a:lnTo>
                  <a:lnTo>
                    <a:pt x="1876" y="135"/>
                  </a:lnTo>
                  <a:lnTo>
                    <a:pt x="1876" y="135"/>
                  </a:lnTo>
                  <a:lnTo>
                    <a:pt x="1874" y="133"/>
                  </a:lnTo>
                  <a:lnTo>
                    <a:pt x="1874" y="133"/>
                  </a:lnTo>
                  <a:lnTo>
                    <a:pt x="1874" y="133"/>
                  </a:lnTo>
                  <a:lnTo>
                    <a:pt x="1873" y="135"/>
                  </a:lnTo>
                  <a:lnTo>
                    <a:pt x="1874" y="135"/>
                  </a:lnTo>
                  <a:lnTo>
                    <a:pt x="1874" y="135"/>
                  </a:lnTo>
                  <a:lnTo>
                    <a:pt x="1874" y="133"/>
                  </a:lnTo>
                  <a:lnTo>
                    <a:pt x="1873" y="135"/>
                  </a:lnTo>
                  <a:lnTo>
                    <a:pt x="1874" y="135"/>
                  </a:lnTo>
                  <a:lnTo>
                    <a:pt x="1873" y="135"/>
                  </a:lnTo>
                  <a:lnTo>
                    <a:pt x="1874" y="135"/>
                  </a:lnTo>
                  <a:lnTo>
                    <a:pt x="1874" y="135"/>
                  </a:lnTo>
                  <a:lnTo>
                    <a:pt x="1874" y="135"/>
                  </a:lnTo>
                  <a:lnTo>
                    <a:pt x="1873" y="135"/>
                  </a:lnTo>
                  <a:lnTo>
                    <a:pt x="1874" y="135"/>
                  </a:lnTo>
                  <a:lnTo>
                    <a:pt x="1873" y="135"/>
                  </a:lnTo>
                  <a:lnTo>
                    <a:pt x="1874" y="136"/>
                  </a:lnTo>
                  <a:lnTo>
                    <a:pt x="1874" y="135"/>
                  </a:lnTo>
                  <a:lnTo>
                    <a:pt x="1873" y="135"/>
                  </a:lnTo>
                  <a:lnTo>
                    <a:pt x="1874" y="136"/>
                  </a:lnTo>
                  <a:lnTo>
                    <a:pt x="1874" y="135"/>
                  </a:lnTo>
                  <a:lnTo>
                    <a:pt x="1874" y="135"/>
                  </a:lnTo>
                  <a:lnTo>
                    <a:pt x="1874" y="135"/>
                  </a:lnTo>
                  <a:lnTo>
                    <a:pt x="1876" y="135"/>
                  </a:lnTo>
                  <a:lnTo>
                    <a:pt x="1876" y="135"/>
                  </a:lnTo>
                  <a:lnTo>
                    <a:pt x="1886" y="136"/>
                  </a:lnTo>
                  <a:lnTo>
                    <a:pt x="1886" y="136"/>
                  </a:lnTo>
                  <a:lnTo>
                    <a:pt x="1889" y="136"/>
                  </a:lnTo>
                  <a:lnTo>
                    <a:pt x="1889" y="136"/>
                  </a:lnTo>
                  <a:lnTo>
                    <a:pt x="1892" y="135"/>
                  </a:lnTo>
                  <a:lnTo>
                    <a:pt x="1892" y="132"/>
                  </a:lnTo>
                  <a:lnTo>
                    <a:pt x="1892" y="132"/>
                  </a:lnTo>
                  <a:lnTo>
                    <a:pt x="1892" y="132"/>
                  </a:lnTo>
                  <a:lnTo>
                    <a:pt x="1893" y="130"/>
                  </a:lnTo>
                  <a:lnTo>
                    <a:pt x="1893" y="130"/>
                  </a:lnTo>
                  <a:lnTo>
                    <a:pt x="1892" y="129"/>
                  </a:lnTo>
                  <a:lnTo>
                    <a:pt x="1892" y="127"/>
                  </a:lnTo>
                  <a:lnTo>
                    <a:pt x="1892" y="127"/>
                  </a:lnTo>
                  <a:lnTo>
                    <a:pt x="1890" y="127"/>
                  </a:lnTo>
                  <a:lnTo>
                    <a:pt x="1890" y="127"/>
                  </a:lnTo>
                  <a:lnTo>
                    <a:pt x="1887" y="126"/>
                  </a:lnTo>
                  <a:lnTo>
                    <a:pt x="1887" y="126"/>
                  </a:lnTo>
                  <a:lnTo>
                    <a:pt x="1877" y="120"/>
                  </a:lnTo>
                  <a:lnTo>
                    <a:pt x="1877" y="120"/>
                  </a:lnTo>
                  <a:lnTo>
                    <a:pt x="1870" y="114"/>
                  </a:lnTo>
                  <a:lnTo>
                    <a:pt x="1863" y="109"/>
                  </a:lnTo>
                  <a:lnTo>
                    <a:pt x="1863" y="109"/>
                  </a:lnTo>
                  <a:lnTo>
                    <a:pt x="1860" y="104"/>
                  </a:lnTo>
                  <a:lnTo>
                    <a:pt x="1858" y="100"/>
                  </a:lnTo>
                  <a:lnTo>
                    <a:pt x="1858" y="100"/>
                  </a:lnTo>
                  <a:lnTo>
                    <a:pt x="1860" y="96"/>
                  </a:lnTo>
                  <a:lnTo>
                    <a:pt x="1860" y="96"/>
                  </a:lnTo>
                  <a:lnTo>
                    <a:pt x="1863" y="94"/>
                  </a:lnTo>
                  <a:lnTo>
                    <a:pt x="1863" y="94"/>
                  </a:lnTo>
                  <a:lnTo>
                    <a:pt x="1863" y="94"/>
                  </a:lnTo>
                  <a:lnTo>
                    <a:pt x="1863" y="94"/>
                  </a:lnTo>
                  <a:lnTo>
                    <a:pt x="1863" y="94"/>
                  </a:lnTo>
                  <a:lnTo>
                    <a:pt x="1865" y="96"/>
                  </a:lnTo>
                  <a:lnTo>
                    <a:pt x="1871" y="96"/>
                  </a:lnTo>
                  <a:lnTo>
                    <a:pt x="1871" y="96"/>
                  </a:lnTo>
                  <a:lnTo>
                    <a:pt x="1878" y="96"/>
                  </a:lnTo>
                  <a:lnTo>
                    <a:pt x="1878" y="96"/>
                  </a:lnTo>
                  <a:lnTo>
                    <a:pt x="1887" y="93"/>
                  </a:lnTo>
                  <a:lnTo>
                    <a:pt x="1894" y="88"/>
                  </a:lnTo>
                  <a:lnTo>
                    <a:pt x="1894" y="88"/>
                  </a:lnTo>
                  <a:lnTo>
                    <a:pt x="1897" y="85"/>
                  </a:lnTo>
                  <a:lnTo>
                    <a:pt x="1899" y="81"/>
                  </a:lnTo>
                  <a:lnTo>
                    <a:pt x="1899" y="81"/>
                  </a:lnTo>
                  <a:lnTo>
                    <a:pt x="1900" y="74"/>
                  </a:lnTo>
                  <a:lnTo>
                    <a:pt x="1900" y="74"/>
                  </a:lnTo>
                  <a:lnTo>
                    <a:pt x="1900" y="68"/>
                  </a:lnTo>
                  <a:lnTo>
                    <a:pt x="1900" y="68"/>
                  </a:lnTo>
                  <a:lnTo>
                    <a:pt x="1900" y="56"/>
                  </a:lnTo>
                  <a:lnTo>
                    <a:pt x="1900" y="56"/>
                  </a:lnTo>
                  <a:lnTo>
                    <a:pt x="1900" y="51"/>
                  </a:lnTo>
                  <a:lnTo>
                    <a:pt x="1905" y="46"/>
                  </a:lnTo>
                  <a:lnTo>
                    <a:pt x="1905" y="45"/>
                  </a:lnTo>
                  <a:lnTo>
                    <a:pt x="1905" y="46"/>
                  </a:lnTo>
                  <a:lnTo>
                    <a:pt x="1905" y="46"/>
                  </a:lnTo>
                  <a:lnTo>
                    <a:pt x="1909" y="38"/>
                  </a:lnTo>
                  <a:lnTo>
                    <a:pt x="1912" y="32"/>
                  </a:lnTo>
                  <a:lnTo>
                    <a:pt x="1915" y="22"/>
                  </a:lnTo>
                  <a:lnTo>
                    <a:pt x="1915" y="22"/>
                  </a:lnTo>
                  <a:lnTo>
                    <a:pt x="1915" y="22"/>
                  </a:lnTo>
                  <a:lnTo>
                    <a:pt x="1918" y="19"/>
                  </a:lnTo>
                  <a:lnTo>
                    <a:pt x="1918" y="19"/>
                  </a:lnTo>
                  <a:lnTo>
                    <a:pt x="1925" y="14"/>
                  </a:lnTo>
                  <a:lnTo>
                    <a:pt x="1934" y="10"/>
                  </a:lnTo>
                  <a:lnTo>
                    <a:pt x="1934" y="10"/>
                  </a:lnTo>
                  <a:lnTo>
                    <a:pt x="1936" y="7"/>
                  </a:lnTo>
                  <a:lnTo>
                    <a:pt x="1939" y="6"/>
                  </a:lnTo>
                  <a:lnTo>
                    <a:pt x="1939" y="6"/>
                  </a:lnTo>
                  <a:lnTo>
                    <a:pt x="1941" y="4"/>
                  </a:lnTo>
                  <a:lnTo>
                    <a:pt x="1941" y="4"/>
                  </a:lnTo>
                  <a:lnTo>
                    <a:pt x="1941" y="4"/>
                  </a:lnTo>
                  <a:lnTo>
                    <a:pt x="1941" y="4"/>
                  </a:lnTo>
                  <a:lnTo>
                    <a:pt x="1945" y="6"/>
                  </a:lnTo>
                  <a:lnTo>
                    <a:pt x="1945" y="6"/>
                  </a:lnTo>
                  <a:lnTo>
                    <a:pt x="1952" y="9"/>
                  </a:lnTo>
                  <a:lnTo>
                    <a:pt x="1952" y="9"/>
                  </a:lnTo>
                  <a:lnTo>
                    <a:pt x="1957" y="12"/>
                  </a:lnTo>
                  <a:lnTo>
                    <a:pt x="1960" y="14"/>
                  </a:lnTo>
                  <a:lnTo>
                    <a:pt x="1960" y="14"/>
                  </a:lnTo>
                  <a:lnTo>
                    <a:pt x="1962" y="19"/>
                  </a:lnTo>
                  <a:lnTo>
                    <a:pt x="1968" y="22"/>
                  </a:lnTo>
                  <a:lnTo>
                    <a:pt x="1968" y="22"/>
                  </a:lnTo>
                  <a:lnTo>
                    <a:pt x="1973" y="25"/>
                  </a:lnTo>
                  <a:lnTo>
                    <a:pt x="1973" y="25"/>
                  </a:lnTo>
                  <a:lnTo>
                    <a:pt x="1974" y="26"/>
                  </a:lnTo>
                  <a:lnTo>
                    <a:pt x="1974" y="26"/>
                  </a:lnTo>
                  <a:lnTo>
                    <a:pt x="1974" y="29"/>
                  </a:lnTo>
                  <a:lnTo>
                    <a:pt x="1974" y="29"/>
                  </a:lnTo>
                  <a:lnTo>
                    <a:pt x="1974" y="32"/>
                  </a:lnTo>
                  <a:lnTo>
                    <a:pt x="1974" y="32"/>
                  </a:lnTo>
                  <a:lnTo>
                    <a:pt x="1973" y="36"/>
                  </a:lnTo>
                  <a:lnTo>
                    <a:pt x="1973" y="39"/>
                  </a:lnTo>
                  <a:lnTo>
                    <a:pt x="1973" y="39"/>
                  </a:lnTo>
                  <a:lnTo>
                    <a:pt x="1968" y="43"/>
                  </a:lnTo>
                  <a:lnTo>
                    <a:pt x="1968" y="43"/>
                  </a:lnTo>
                  <a:lnTo>
                    <a:pt x="1967" y="45"/>
                  </a:lnTo>
                  <a:lnTo>
                    <a:pt x="1967" y="45"/>
                  </a:lnTo>
                  <a:lnTo>
                    <a:pt x="1962" y="51"/>
                  </a:lnTo>
                  <a:lnTo>
                    <a:pt x="1962" y="51"/>
                  </a:lnTo>
                  <a:lnTo>
                    <a:pt x="1960" y="52"/>
                  </a:lnTo>
                  <a:lnTo>
                    <a:pt x="1960" y="54"/>
                  </a:lnTo>
                  <a:lnTo>
                    <a:pt x="1960" y="54"/>
                  </a:lnTo>
                  <a:lnTo>
                    <a:pt x="1958" y="55"/>
                  </a:lnTo>
                  <a:lnTo>
                    <a:pt x="1958" y="55"/>
                  </a:lnTo>
                  <a:lnTo>
                    <a:pt x="1960" y="58"/>
                  </a:lnTo>
                  <a:lnTo>
                    <a:pt x="1960" y="58"/>
                  </a:lnTo>
                  <a:lnTo>
                    <a:pt x="1962" y="58"/>
                  </a:lnTo>
                  <a:lnTo>
                    <a:pt x="1962" y="58"/>
                  </a:lnTo>
                  <a:lnTo>
                    <a:pt x="1967" y="58"/>
                  </a:lnTo>
                  <a:lnTo>
                    <a:pt x="1967" y="58"/>
                  </a:lnTo>
                  <a:lnTo>
                    <a:pt x="1973" y="59"/>
                  </a:lnTo>
                  <a:lnTo>
                    <a:pt x="1973" y="59"/>
                  </a:lnTo>
                  <a:lnTo>
                    <a:pt x="1974" y="59"/>
                  </a:lnTo>
                  <a:lnTo>
                    <a:pt x="1974" y="59"/>
                  </a:lnTo>
                  <a:lnTo>
                    <a:pt x="1974" y="59"/>
                  </a:lnTo>
                  <a:lnTo>
                    <a:pt x="1974" y="59"/>
                  </a:lnTo>
                  <a:lnTo>
                    <a:pt x="1976" y="58"/>
                  </a:lnTo>
                  <a:lnTo>
                    <a:pt x="1974" y="58"/>
                  </a:lnTo>
                  <a:lnTo>
                    <a:pt x="1974" y="59"/>
                  </a:lnTo>
                  <a:lnTo>
                    <a:pt x="1976" y="58"/>
                  </a:lnTo>
                  <a:lnTo>
                    <a:pt x="1974" y="58"/>
                  </a:lnTo>
                  <a:lnTo>
                    <a:pt x="1974" y="58"/>
                  </a:lnTo>
                  <a:lnTo>
                    <a:pt x="1974" y="58"/>
                  </a:lnTo>
                  <a:lnTo>
                    <a:pt x="1974" y="58"/>
                  </a:lnTo>
                  <a:lnTo>
                    <a:pt x="1974" y="58"/>
                  </a:lnTo>
                  <a:lnTo>
                    <a:pt x="1974" y="58"/>
                  </a:lnTo>
                  <a:lnTo>
                    <a:pt x="1974" y="58"/>
                  </a:lnTo>
                  <a:lnTo>
                    <a:pt x="1974" y="58"/>
                  </a:lnTo>
                  <a:lnTo>
                    <a:pt x="1974" y="58"/>
                  </a:lnTo>
                  <a:lnTo>
                    <a:pt x="1974" y="58"/>
                  </a:lnTo>
                  <a:lnTo>
                    <a:pt x="1974" y="58"/>
                  </a:lnTo>
                  <a:lnTo>
                    <a:pt x="1974" y="58"/>
                  </a:lnTo>
                  <a:lnTo>
                    <a:pt x="1968" y="71"/>
                  </a:lnTo>
                  <a:lnTo>
                    <a:pt x="1968" y="71"/>
                  </a:lnTo>
                  <a:lnTo>
                    <a:pt x="1964" y="83"/>
                  </a:lnTo>
                  <a:lnTo>
                    <a:pt x="1964" y="83"/>
                  </a:lnTo>
                  <a:lnTo>
                    <a:pt x="1962" y="90"/>
                  </a:lnTo>
                  <a:lnTo>
                    <a:pt x="1962" y="90"/>
                  </a:lnTo>
                  <a:lnTo>
                    <a:pt x="1961" y="98"/>
                  </a:lnTo>
                  <a:lnTo>
                    <a:pt x="1961" y="98"/>
                  </a:lnTo>
                  <a:lnTo>
                    <a:pt x="1962" y="101"/>
                  </a:lnTo>
                  <a:lnTo>
                    <a:pt x="1962" y="101"/>
                  </a:lnTo>
                  <a:lnTo>
                    <a:pt x="1962" y="103"/>
                  </a:lnTo>
                  <a:lnTo>
                    <a:pt x="1962" y="103"/>
                  </a:lnTo>
                  <a:lnTo>
                    <a:pt x="1965" y="104"/>
                  </a:lnTo>
                  <a:lnTo>
                    <a:pt x="1965" y="104"/>
                  </a:lnTo>
                  <a:lnTo>
                    <a:pt x="1967" y="103"/>
                  </a:lnTo>
                  <a:lnTo>
                    <a:pt x="1967" y="103"/>
                  </a:lnTo>
                  <a:lnTo>
                    <a:pt x="1983" y="93"/>
                  </a:lnTo>
                  <a:lnTo>
                    <a:pt x="1983" y="93"/>
                  </a:lnTo>
                  <a:lnTo>
                    <a:pt x="1987" y="88"/>
                  </a:lnTo>
                  <a:lnTo>
                    <a:pt x="1987" y="88"/>
                  </a:lnTo>
                  <a:lnTo>
                    <a:pt x="1990" y="83"/>
                  </a:lnTo>
                  <a:lnTo>
                    <a:pt x="1990" y="83"/>
                  </a:lnTo>
                  <a:lnTo>
                    <a:pt x="1993" y="81"/>
                  </a:lnTo>
                  <a:lnTo>
                    <a:pt x="1993" y="81"/>
                  </a:lnTo>
                  <a:lnTo>
                    <a:pt x="1997" y="81"/>
                  </a:lnTo>
                  <a:lnTo>
                    <a:pt x="1997" y="81"/>
                  </a:lnTo>
                  <a:lnTo>
                    <a:pt x="2000" y="81"/>
                  </a:lnTo>
                  <a:lnTo>
                    <a:pt x="2000" y="81"/>
                  </a:lnTo>
                  <a:lnTo>
                    <a:pt x="2025" y="83"/>
                  </a:lnTo>
                  <a:lnTo>
                    <a:pt x="2025" y="83"/>
                  </a:lnTo>
                  <a:lnTo>
                    <a:pt x="2048" y="84"/>
                  </a:lnTo>
                  <a:lnTo>
                    <a:pt x="2048" y="84"/>
                  </a:lnTo>
                  <a:lnTo>
                    <a:pt x="2051" y="84"/>
                  </a:lnTo>
                  <a:lnTo>
                    <a:pt x="2051" y="84"/>
                  </a:lnTo>
                  <a:lnTo>
                    <a:pt x="2054" y="83"/>
                  </a:lnTo>
                  <a:lnTo>
                    <a:pt x="2054" y="83"/>
                  </a:lnTo>
                  <a:lnTo>
                    <a:pt x="2054" y="83"/>
                  </a:lnTo>
                  <a:lnTo>
                    <a:pt x="2054" y="83"/>
                  </a:lnTo>
                  <a:lnTo>
                    <a:pt x="2061" y="80"/>
                  </a:lnTo>
                  <a:lnTo>
                    <a:pt x="2061" y="80"/>
                  </a:lnTo>
                  <a:lnTo>
                    <a:pt x="2064" y="78"/>
                  </a:lnTo>
                  <a:lnTo>
                    <a:pt x="2064" y="78"/>
                  </a:lnTo>
                  <a:lnTo>
                    <a:pt x="2064" y="78"/>
                  </a:lnTo>
                  <a:lnTo>
                    <a:pt x="2064" y="77"/>
                  </a:lnTo>
                  <a:lnTo>
                    <a:pt x="2064" y="78"/>
                  </a:lnTo>
                  <a:lnTo>
                    <a:pt x="2064" y="78"/>
                  </a:lnTo>
                  <a:lnTo>
                    <a:pt x="2064" y="77"/>
                  </a:lnTo>
                  <a:lnTo>
                    <a:pt x="2064" y="78"/>
                  </a:lnTo>
                  <a:lnTo>
                    <a:pt x="2064" y="77"/>
                  </a:lnTo>
                  <a:lnTo>
                    <a:pt x="2064" y="78"/>
                  </a:lnTo>
                  <a:lnTo>
                    <a:pt x="2064" y="78"/>
                  </a:lnTo>
                  <a:lnTo>
                    <a:pt x="2064" y="77"/>
                  </a:lnTo>
                  <a:lnTo>
                    <a:pt x="2064" y="78"/>
                  </a:lnTo>
                  <a:lnTo>
                    <a:pt x="2064" y="78"/>
                  </a:lnTo>
                  <a:lnTo>
                    <a:pt x="2064" y="78"/>
                  </a:lnTo>
                  <a:lnTo>
                    <a:pt x="2064" y="78"/>
                  </a:lnTo>
                  <a:lnTo>
                    <a:pt x="2064" y="78"/>
                  </a:lnTo>
                  <a:lnTo>
                    <a:pt x="2064" y="78"/>
                  </a:lnTo>
                  <a:lnTo>
                    <a:pt x="2064" y="78"/>
                  </a:lnTo>
                  <a:lnTo>
                    <a:pt x="2065" y="80"/>
                  </a:lnTo>
                  <a:lnTo>
                    <a:pt x="2065" y="80"/>
                  </a:lnTo>
                  <a:lnTo>
                    <a:pt x="2068" y="81"/>
                  </a:lnTo>
                  <a:lnTo>
                    <a:pt x="2068" y="81"/>
                  </a:lnTo>
                  <a:lnTo>
                    <a:pt x="2071" y="83"/>
                  </a:lnTo>
                  <a:lnTo>
                    <a:pt x="2074" y="84"/>
                  </a:lnTo>
                  <a:lnTo>
                    <a:pt x="2074" y="84"/>
                  </a:lnTo>
                  <a:lnTo>
                    <a:pt x="2077" y="84"/>
                  </a:lnTo>
                  <a:lnTo>
                    <a:pt x="2080" y="84"/>
                  </a:lnTo>
                  <a:lnTo>
                    <a:pt x="2080" y="84"/>
                  </a:lnTo>
                  <a:lnTo>
                    <a:pt x="2081" y="87"/>
                  </a:lnTo>
                  <a:lnTo>
                    <a:pt x="2084" y="91"/>
                  </a:lnTo>
                  <a:lnTo>
                    <a:pt x="2084" y="91"/>
                  </a:lnTo>
                  <a:lnTo>
                    <a:pt x="2086" y="97"/>
                  </a:lnTo>
                  <a:lnTo>
                    <a:pt x="2086" y="101"/>
                  </a:lnTo>
                  <a:lnTo>
                    <a:pt x="2086" y="101"/>
                  </a:lnTo>
                  <a:lnTo>
                    <a:pt x="2087" y="106"/>
                  </a:lnTo>
                  <a:lnTo>
                    <a:pt x="2088" y="110"/>
                  </a:lnTo>
                  <a:lnTo>
                    <a:pt x="2088" y="110"/>
                  </a:lnTo>
                  <a:lnTo>
                    <a:pt x="2091" y="114"/>
                  </a:lnTo>
                  <a:lnTo>
                    <a:pt x="2091" y="119"/>
                  </a:lnTo>
                  <a:lnTo>
                    <a:pt x="2091" y="119"/>
                  </a:lnTo>
                  <a:lnTo>
                    <a:pt x="2090" y="135"/>
                  </a:lnTo>
                  <a:lnTo>
                    <a:pt x="2090" y="135"/>
                  </a:lnTo>
                  <a:lnTo>
                    <a:pt x="2088" y="146"/>
                  </a:lnTo>
                  <a:lnTo>
                    <a:pt x="2087" y="162"/>
                  </a:lnTo>
                  <a:lnTo>
                    <a:pt x="2087" y="162"/>
                  </a:lnTo>
                  <a:lnTo>
                    <a:pt x="2083" y="177"/>
                  </a:lnTo>
                  <a:lnTo>
                    <a:pt x="2083" y="177"/>
                  </a:lnTo>
                  <a:lnTo>
                    <a:pt x="2080" y="182"/>
                  </a:lnTo>
                  <a:lnTo>
                    <a:pt x="2077" y="185"/>
                  </a:lnTo>
                  <a:lnTo>
                    <a:pt x="2077" y="185"/>
                  </a:lnTo>
                  <a:lnTo>
                    <a:pt x="2070" y="191"/>
                  </a:lnTo>
                  <a:lnTo>
                    <a:pt x="2064" y="194"/>
                  </a:lnTo>
                  <a:lnTo>
                    <a:pt x="2064" y="194"/>
                  </a:lnTo>
                  <a:lnTo>
                    <a:pt x="2058" y="195"/>
                  </a:lnTo>
                  <a:lnTo>
                    <a:pt x="2052" y="198"/>
                  </a:lnTo>
                  <a:lnTo>
                    <a:pt x="2052" y="198"/>
                  </a:lnTo>
                  <a:lnTo>
                    <a:pt x="2044" y="206"/>
                  </a:lnTo>
                  <a:lnTo>
                    <a:pt x="2044" y="206"/>
                  </a:lnTo>
                  <a:lnTo>
                    <a:pt x="2036" y="210"/>
                  </a:lnTo>
                  <a:lnTo>
                    <a:pt x="2036" y="210"/>
                  </a:lnTo>
                  <a:lnTo>
                    <a:pt x="2033" y="213"/>
                  </a:lnTo>
                  <a:lnTo>
                    <a:pt x="2033" y="213"/>
                  </a:lnTo>
                  <a:lnTo>
                    <a:pt x="2018" y="233"/>
                  </a:lnTo>
                  <a:lnTo>
                    <a:pt x="2018" y="233"/>
                  </a:lnTo>
                  <a:lnTo>
                    <a:pt x="2009" y="242"/>
                  </a:lnTo>
                  <a:lnTo>
                    <a:pt x="2009" y="242"/>
                  </a:lnTo>
                  <a:lnTo>
                    <a:pt x="2006" y="245"/>
                  </a:lnTo>
                  <a:lnTo>
                    <a:pt x="2006" y="246"/>
                  </a:lnTo>
                  <a:lnTo>
                    <a:pt x="2004" y="246"/>
                  </a:lnTo>
                  <a:lnTo>
                    <a:pt x="2004" y="246"/>
                  </a:lnTo>
                  <a:lnTo>
                    <a:pt x="2004" y="246"/>
                  </a:lnTo>
                  <a:lnTo>
                    <a:pt x="2004" y="246"/>
                  </a:lnTo>
                  <a:lnTo>
                    <a:pt x="1999" y="245"/>
                  </a:lnTo>
                  <a:lnTo>
                    <a:pt x="1999" y="245"/>
                  </a:lnTo>
                  <a:lnTo>
                    <a:pt x="1996" y="243"/>
                  </a:lnTo>
                  <a:lnTo>
                    <a:pt x="1996" y="243"/>
                  </a:lnTo>
                  <a:lnTo>
                    <a:pt x="1993" y="243"/>
                  </a:lnTo>
                  <a:lnTo>
                    <a:pt x="1993" y="243"/>
                  </a:lnTo>
                  <a:lnTo>
                    <a:pt x="1990" y="245"/>
                  </a:lnTo>
                  <a:lnTo>
                    <a:pt x="1990" y="245"/>
                  </a:lnTo>
                  <a:lnTo>
                    <a:pt x="1990" y="248"/>
                  </a:lnTo>
                  <a:lnTo>
                    <a:pt x="1990" y="248"/>
                  </a:lnTo>
                  <a:lnTo>
                    <a:pt x="1991" y="248"/>
                  </a:lnTo>
                  <a:lnTo>
                    <a:pt x="1990" y="248"/>
                  </a:lnTo>
                  <a:lnTo>
                    <a:pt x="1990" y="248"/>
                  </a:lnTo>
                  <a:lnTo>
                    <a:pt x="1990" y="253"/>
                  </a:lnTo>
                  <a:lnTo>
                    <a:pt x="1991" y="261"/>
                  </a:lnTo>
                  <a:lnTo>
                    <a:pt x="1991" y="261"/>
                  </a:lnTo>
                  <a:lnTo>
                    <a:pt x="1991" y="269"/>
                  </a:lnTo>
                  <a:lnTo>
                    <a:pt x="1991" y="269"/>
                  </a:lnTo>
                  <a:lnTo>
                    <a:pt x="1991" y="269"/>
                  </a:lnTo>
                  <a:lnTo>
                    <a:pt x="1989" y="282"/>
                  </a:lnTo>
                  <a:lnTo>
                    <a:pt x="1989" y="282"/>
                  </a:lnTo>
                  <a:lnTo>
                    <a:pt x="1986" y="295"/>
                  </a:lnTo>
                  <a:lnTo>
                    <a:pt x="1986" y="295"/>
                  </a:lnTo>
                  <a:lnTo>
                    <a:pt x="1987" y="298"/>
                  </a:lnTo>
                  <a:lnTo>
                    <a:pt x="1987" y="298"/>
                  </a:lnTo>
                  <a:lnTo>
                    <a:pt x="1989" y="300"/>
                  </a:lnTo>
                  <a:lnTo>
                    <a:pt x="1989" y="300"/>
                  </a:lnTo>
                  <a:lnTo>
                    <a:pt x="1990" y="300"/>
                  </a:lnTo>
                  <a:lnTo>
                    <a:pt x="1990" y="300"/>
                  </a:lnTo>
                  <a:lnTo>
                    <a:pt x="1993" y="298"/>
                  </a:lnTo>
                  <a:lnTo>
                    <a:pt x="1993" y="298"/>
                  </a:lnTo>
                  <a:lnTo>
                    <a:pt x="2002" y="291"/>
                  </a:lnTo>
                  <a:lnTo>
                    <a:pt x="2002" y="291"/>
                  </a:lnTo>
                  <a:lnTo>
                    <a:pt x="2015" y="272"/>
                  </a:lnTo>
                  <a:lnTo>
                    <a:pt x="2015" y="272"/>
                  </a:lnTo>
                  <a:lnTo>
                    <a:pt x="2022" y="265"/>
                  </a:lnTo>
                  <a:lnTo>
                    <a:pt x="2022" y="265"/>
                  </a:lnTo>
                  <a:lnTo>
                    <a:pt x="2026" y="261"/>
                  </a:lnTo>
                  <a:lnTo>
                    <a:pt x="2026" y="261"/>
                  </a:lnTo>
                  <a:lnTo>
                    <a:pt x="2036" y="255"/>
                  </a:lnTo>
                  <a:lnTo>
                    <a:pt x="2036" y="255"/>
                  </a:lnTo>
                  <a:lnTo>
                    <a:pt x="2041" y="252"/>
                  </a:lnTo>
                  <a:lnTo>
                    <a:pt x="2046" y="248"/>
                  </a:lnTo>
                  <a:lnTo>
                    <a:pt x="2046" y="248"/>
                  </a:lnTo>
                  <a:lnTo>
                    <a:pt x="2052" y="240"/>
                  </a:lnTo>
                  <a:lnTo>
                    <a:pt x="2052" y="240"/>
                  </a:lnTo>
                  <a:lnTo>
                    <a:pt x="2054" y="239"/>
                  </a:lnTo>
                  <a:lnTo>
                    <a:pt x="2054" y="239"/>
                  </a:lnTo>
                  <a:lnTo>
                    <a:pt x="2058" y="238"/>
                  </a:lnTo>
                  <a:lnTo>
                    <a:pt x="2058" y="238"/>
                  </a:lnTo>
                  <a:lnTo>
                    <a:pt x="2062" y="236"/>
                  </a:lnTo>
                  <a:lnTo>
                    <a:pt x="2065" y="233"/>
                  </a:lnTo>
                  <a:lnTo>
                    <a:pt x="2065" y="233"/>
                  </a:lnTo>
                  <a:lnTo>
                    <a:pt x="2067" y="230"/>
                  </a:lnTo>
                  <a:lnTo>
                    <a:pt x="2067" y="230"/>
                  </a:lnTo>
                  <a:lnTo>
                    <a:pt x="2067" y="230"/>
                  </a:lnTo>
                  <a:lnTo>
                    <a:pt x="2067" y="230"/>
                  </a:lnTo>
                  <a:lnTo>
                    <a:pt x="2067" y="230"/>
                  </a:lnTo>
                  <a:lnTo>
                    <a:pt x="2067" y="230"/>
                  </a:lnTo>
                  <a:lnTo>
                    <a:pt x="2067" y="230"/>
                  </a:lnTo>
                  <a:lnTo>
                    <a:pt x="2067" y="229"/>
                  </a:lnTo>
                  <a:lnTo>
                    <a:pt x="2067" y="230"/>
                  </a:lnTo>
                  <a:lnTo>
                    <a:pt x="2067" y="230"/>
                  </a:lnTo>
                  <a:lnTo>
                    <a:pt x="2067" y="229"/>
                  </a:lnTo>
                  <a:lnTo>
                    <a:pt x="2067" y="230"/>
                  </a:lnTo>
                  <a:lnTo>
                    <a:pt x="2067" y="229"/>
                  </a:lnTo>
                  <a:lnTo>
                    <a:pt x="2065" y="230"/>
                  </a:lnTo>
                  <a:lnTo>
                    <a:pt x="2067" y="230"/>
                  </a:lnTo>
                  <a:lnTo>
                    <a:pt x="2067" y="229"/>
                  </a:lnTo>
                  <a:lnTo>
                    <a:pt x="2065" y="230"/>
                  </a:lnTo>
                  <a:lnTo>
                    <a:pt x="2067" y="229"/>
                  </a:lnTo>
                  <a:lnTo>
                    <a:pt x="2064" y="229"/>
                  </a:lnTo>
                  <a:lnTo>
                    <a:pt x="2064" y="229"/>
                  </a:lnTo>
                  <a:lnTo>
                    <a:pt x="2065" y="230"/>
                  </a:lnTo>
                  <a:lnTo>
                    <a:pt x="2067" y="229"/>
                  </a:lnTo>
                  <a:lnTo>
                    <a:pt x="2064" y="229"/>
                  </a:lnTo>
                  <a:lnTo>
                    <a:pt x="2065" y="229"/>
                  </a:lnTo>
                  <a:lnTo>
                    <a:pt x="2064" y="229"/>
                  </a:lnTo>
                  <a:lnTo>
                    <a:pt x="2064" y="229"/>
                  </a:lnTo>
                  <a:lnTo>
                    <a:pt x="2065" y="229"/>
                  </a:lnTo>
                  <a:lnTo>
                    <a:pt x="2064" y="229"/>
                  </a:lnTo>
                  <a:lnTo>
                    <a:pt x="2065" y="229"/>
                  </a:lnTo>
                  <a:lnTo>
                    <a:pt x="2064" y="229"/>
                  </a:lnTo>
                  <a:lnTo>
                    <a:pt x="2064" y="229"/>
                  </a:lnTo>
                  <a:lnTo>
                    <a:pt x="2065" y="229"/>
                  </a:lnTo>
                  <a:lnTo>
                    <a:pt x="2064" y="229"/>
                  </a:lnTo>
                  <a:lnTo>
                    <a:pt x="2064" y="229"/>
                  </a:lnTo>
                  <a:lnTo>
                    <a:pt x="2064" y="229"/>
                  </a:lnTo>
                  <a:lnTo>
                    <a:pt x="2064" y="233"/>
                  </a:lnTo>
                  <a:lnTo>
                    <a:pt x="2064" y="233"/>
                  </a:lnTo>
                  <a:lnTo>
                    <a:pt x="2065" y="243"/>
                  </a:lnTo>
                  <a:lnTo>
                    <a:pt x="2065" y="243"/>
                  </a:lnTo>
                  <a:lnTo>
                    <a:pt x="2067" y="249"/>
                  </a:lnTo>
                  <a:lnTo>
                    <a:pt x="2067" y="249"/>
                  </a:lnTo>
                  <a:lnTo>
                    <a:pt x="2070" y="251"/>
                  </a:lnTo>
                  <a:lnTo>
                    <a:pt x="2070" y="251"/>
                  </a:lnTo>
                  <a:lnTo>
                    <a:pt x="2071" y="252"/>
                  </a:lnTo>
                  <a:lnTo>
                    <a:pt x="2073" y="252"/>
                  </a:lnTo>
                  <a:lnTo>
                    <a:pt x="2073" y="252"/>
                  </a:lnTo>
                  <a:lnTo>
                    <a:pt x="2080" y="251"/>
                  </a:lnTo>
                  <a:lnTo>
                    <a:pt x="2080" y="251"/>
                  </a:lnTo>
                  <a:lnTo>
                    <a:pt x="2083" y="251"/>
                  </a:lnTo>
                  <a:lnTo>
                    <a:pt x="2083" y="252"/>
                  </a:lnTo>
                  <a:lnTo>
                    <a:pt x="2083" y="252"/>
                  </a:lnTo>
                  <a:lnTo>
                    <a:pt x="2083" y="253"/>
                  </a:lnTo>
                  <a:lnTo>
                    <a:pt x="2083" y="253"/>
                  </a:lnTo>
                  <a:lnTo>
                    <a:pt x="2083" y="256"/>
                  </a:lnTo>
                  <a:lnTo>
                    <a:pt x="2083" y="256"/>
                  </a:lnTo>
                  <a:lnTo>
                    <a:pt x="2088" y="277"/>
                  </a:lnTo>
                  <a:lnTo>
                    <a:pt x="2088" y="277"/>
                  </a:lnTo>
                  <a:lnTo>
                    <a:pt x="2090" y="288"/>
                  </a:lnTo>
                  <a:lnTo>
                    <a:pt x="2090" y="288"/>
                  </a:lnTo>
                  <a:lnTo>
                    <a:pt x="2091" y="294"/>
                  </a:lnTo>
                  <a:lnTo>
                    <a:pt x="2091" y="294"/>
                  </a:lnTo>
                  <a:lnTo>
                    <a:pt x="2090" y="297"/>
                  </a:lnTo>
                  <a:lnTo>
                    <a:pt x="2090" y="297"/>
                  </a:lnTo>
                  <a:lnTo>
                    <a:pt x="2088" y="303"/>
                  </a:lnTo>
                  <a:lnTo>
                    <a:pt x="2088" y="303"/>
                  </a:lnTo>
                  <a:lnTo>
                    <a:pt x="2087" y="306"/>
                  </a:lnTo>
                  <a:lnTo>
                    <a:pt x="2087" y="306"/>
                  </a:lnTo>
                  <a:lnTo>
                    <a:pt x="2087" y="308"/>
                  </a:lnTo>
                  <a:lnTo>
                    <a:pt x="2087" y="308"/>
                  </a:lnTo>
                  <a:lnTo>
                    <a:pt x="2087" y="310"/>
                  </a:lnTo>
                  <a:lnTo>
                    <a:pt x="2087" y="310"/>
                  </a:lnTo>
                  <a:lnTo>
                    <a:pt x="2090" y="311"/>
                  </a:lnTo>
                  <a:lnTo>
                    <a:pt x="2090" y="311"/>
                  </a:lnTo>
                  <a:lnTo>
                    <a:pt x="2091" y="311"/>
                  </a:lnTo>
                  <a:lnTo>
                    <a:pt x="2091" y="311"/>
                  </a:lnTo>
                  <a:lnTo>
                    <a:pt x="2100" y="304"/>
                  </a:lnTo>
                  <a:lnTo>
                    <a:pt x="2100" y="304"/>
                  </a:lnTo>
                  <a:lnTo>
                    <a:pt x="2104" y="300"/>
                  </a:lnTo>
                  <a:lnTo>
                    <a:pt x="2104" y="300"/>
                  </a:lnTo>
                  <a:lnTo>
                    <a:pt x="2106" y="297"/>
                  </a:lnTo>
                  <a:lnTo>
                    <a:pt x="2107" y="294"/>
                  </a:lnTo>
                  <a:lnTo>
                    <a:pt x="2107" y="294"/>
                  </a:lnTo>
                  <a:lnTo>
                    <a:pt x="2106" y="293"/>
                  </a:lnTo>
                  <a:lnTo>
                    <a:pt x="2106" y="293"/>
                  </a:lnTo>
                  <a:lnTo>
                    <a:pt x="2102" y="281"/>
                  </a:lnTo>
                  <a:lnTo>
                    <a:pt x="2102" y="281"/>
                  </a:lnTo>
                  <a:lnTo>
                    <a:pt x="2099" y="277"/>
                  </a:lnTo>
                  <a:lnTo>
                    <a:pt x="2097" y="272"/>
                  </a:lnTo>
                  <a:lnTo>
                    <a:pt x="2097" y="272"/>
                  </a:lnTo>
                  <a:lnTo>
                    <a:pt x="2099" y="271"/>
                  </a:lnTo>
                  <a:lnTo>
                    <a:pt x="2099" y="271"/>
                  </a:lnTo>
                  <a:lnTo>
                    <a:pt x="2100" y="269"/>
                  </a:lnTo>
                  <a:lnTo>
                    <a:pt x="2100" y="269"/>
                  </a:lnTo>
                  <a:lnTo>
                    <a:pt x="2103" y="268"/>
                  </a:lnTo>
                  <a:lnTo>
                    <a:pt x="2103" y="268"/>
                  </a:lnTo>
                  <a:lnTo>
                    <a:pt x="2113" y="269"/>
                  </a:lnTo>
                  <a:lnTo>
                    <a:pt x="2113" y="269"/>
                  </a:lnTo>
                  <a:lnTo>
                    <a:pt x="2117" y="271"/>
                  </a:lnTo>
                  <a:lnTo>
                    <a:pt x="2117" y="271"/>
                  </a:lnTo>
                  <a:lnTo>
                    <a:pt x="2128" y="277"/>
                  </a:lnTo>
                  <a:lnTo>
                    <a:pt x="2128" y="277"/>
                  </a:lnTo>
                  <a:lnTo>
                    <a:pt x="2133" y="278"/>
                  </a:lnTo>
                  <a:lnTo>
                    <a:pt x="2133" y="278"/>
                  </a:lnTo>
                  <a:lnTo>
                    <a:pt x="2138" y="280"/>
                  </a:lnTo>
                  <a:lnTo>
                    <a:pt x="2138" y="280"/>
                  </a:lnTo>
                  <a:lnTo>
                    <a:pt x="2139" y="280"/>
                  </a:lnTo>
                  <a:lnTo>
                    <a:pt x="2141" y="278"/>
                  </a:lnTo>
                  <a:lnTo>
                    <a:pt x="2141" y="278"/>
                  </a:lnTo>
                  <a:lnTo>
                    <a:pt x="2141" y="278"/>
                  </a:lnTo>
                  <a:lnTo>
                    <a:pt x="2144" y="275"/>
                  </a:lnTo>
                  <a:lnTo>
                    <a:pt x="2144" y="275"/>
                  </a:lnTo>
                  <a:lnTo>
                    <a:pt x="2144" y="275"/>
                  </a:lnTo>
                  <a:lnTo>
                    <a:pt x="2144" y="275"/>
                  </a:lnTo>
                  <a:lnTo>
                    <a:pt x="2144" y="275"/>
                  </a:lnTo>
                  <a:lnTo>
                    <a:pt x="2144" y="275"/>
                  </a:lnTo>
                  <a:lnTo>
                    <a:pt x="2144" y="275"/>
                  </a:lnTo>
                  <a:lnTo>
                    <a:pt x="2144" y="275"/>
                  </a:lnTo>
                  <a:lnTo>
                    <a:pt x="2144" y="275"/>
                  </a:lnTo>
                  <a:lnTo>
                    <a:pt x="2144" y="275"/>
                  </a:lnTo>
                  <a:lnTo>
                    <a:pt x="2144" y="275"/>
                  </a:lnTo>
                  <a:lnTo>
                    <a:pt x="2148" y="278"/>
                  </a:lnTo>
                  <a:lnTo>
                    <a:pt x="2148" y="278"/>
                  </a:lnTo>
                  <a:lnTo>
                    <a:pt x="2157" y="282"/>
                  </a:lnTo>
                  <a:lnTo>
                    <a:pt x="2157" y="282"/>
                  </a:lnTo>
                  <a:lnTo>
                    <a:pt x="2161" y="285"/>
                  </a:lnTo>
                  <a:lnTo>
                    <a:pt x="2167" y="285"/>
                  </a:lnTo>
                  <a:lnTo>
                    <a:pt x="2167" y="285"/>
                  </a:lnTo>
                  <a:lnTo>
                    <a:pt x="2168" y="285"/>
                  </a:lnTo>
                  <a:lnTo>
                    <a:pt x="2168" y="285"/>
                  </a:lnTo>
                  <a:lnTo>
                    <a:pt x="2174" y="285"/>
                  </a:lnTo>
                  <a:lnTo>
                    <a:pt x="2174" y="285"/>
                  </a:lnTo>
                  <a:lnTo>
                    <a:pt x="2184" y="287"/>
                  </a:lnTo>
                  <a:lnTo>
                    <a:pt x="2184" y="287"/>
                  </a:lnTo>
                  <a:lnTo>
                    <a:pt x="2187" y="287"/>
                  </a:lnTo>
                  <a:lnTo>
                    <a:pt x="2187" y="287"/>
                  </a:lnTo>
                  <a:lnTo>
                    <a:pt x="2187" y="287"/>
                  </a:lnTo>
                  <a:lnTo>
                    <a:pt x="2187" y="287"/>
                  </a:lnTo>
                  <a:lnTo>
                    <a:pt x="2187" y="287"/>
                  </a:lnTo>
                  <a:lnTo>
                    <a:pt x="2187" y="287"/>
                  </a:lnTo>
                  <a:lnTo>
                    <a:pt x="2187" y="287"/>
                  </a:lnTo>
                  <a:lnTo>
                    <a:pt x="2187" y="287"/>
                  </a:lnTo>
                  <a:lnTo>
                    <a:pt x="2188" y="285"/>
                  </a:lnTo>
                  <a:lnTo>
                    <a:pt x="2187" y="285"/>
                  </a:lnTo>
                  <a:lnTo>
                    <a:pt x="2187" y="287"/>
                  </a:lnTo>
                  <a:lnTo>
                    <a:pt x="2188" y="285"/>
                  </a:lnTo>
                  <a:lnTo>
                    <a:pt x="2187" y="285"/>
                  </a:lnTo>
                  <a:lnTo>
                    <a:pt x="2187" y="285"/>
                  </a:lnTo>
                  <a:lnTo>
                    <a:pt x="2187" y="288"/>
                  </a:lnTo>
                  <a:lnTo>
                    <a:pt x="2187" y="288"/>
                  </a:lnTo>
                  <a:lnTo>
                    <a:pt x="2190" y="300"/>
                  </a:lnTo>
                  <a:lnTo>
                    <a:pt x="2190" y="300"/>
                  </a:lnTo>
                  <a:lnTo>
                    <a:pt x="2191" y="306"/>
                  </a:lnTo>
                  <a:lnTo>
                    <a:pt x="2191" y="306"/>
                  </a:lnTo>
                  <a:lnTo>
                    <a:pt x="2193" y="308"/>
                  </a:lnTo>
                  <a:lnTo>
                    <a:pt x="2193" y="308"/>
                  </a:lnTo>
                  <a:lnTo>
                    <a:pt x="2197" y="308"/>
                  </a:lnTo>
                  <a:lnTo>
                    <a:pt x="2197" y="308"/>
                  </a:lnTo>
                  <a:lnTo>
                    <a:pt x="2197" y="308"/>
                  </a:lnTo>
                  <a:lnTo>
                    <a:pt x="2203" y="308"/>
                  </a:lnTo>
                  <a:lnTo>
                    <a:pt x="2203" y="308"/>
                  </a:lnTo>
                  <a:lnTo>
                    <a:pt x="2212" y="307"/>
                  </a:lnTo>
                  <a:lnTo>
                    <a:pt x="2212" y="307"/>
                  </a:lnTo>
                  <a:lnTo>
                    <a:pt x="2216" y="307"/>
                  </a:lnTo>
                  <a:lnTo>
                    <a:pt x="2220" y="308"/>
                  </a:lnTo>
                  <a:lnTo>
                    <a:pt x="2220" y="308"/>
                  </a:lnTo>
                  <a:lnTo>
                    <a:pt x="2229" y="311"/>
                  </a:lnTo>
                  <a:lnTo>
                    <a:pt x="2238" y="313"/>
                  </a:lnTo>
                  <a:lnTo>
                    <a:pt x="2238" y="313"/>
                  </a:lnTo>
                  <a:lnTo>
                    <a:pt x="2243" y="311"/>
                  </a:lnTo>
                  <a:lnTo>
                    <a:pt x="2243" y="311"/>
                  </a:lnTo>
                  <a:lnTo>
                    <a:pt x="2245" y="310"/>
                  </a:lnTo>
                  <a:lnTo>
                    <a:pt x="2245" y="310"/>
                  </a:lnTo>
                  <a:lnTo>
                    <a:pt x="2246" y="307"/>
                  </a:lnTo>
                  <a:lnTo>
                    <a:pt x="2246" y="307"/>
                  </a:lnTo>
                  <a:lnTo>
                    <a:pt x="2245" y="306"/>
                  </a:lnTo>
                  <a:lnTo>
                    <a:pt x="2245" y="304"/>
                  </a:lnTo>
                  <a:lnTo>
                    <a:pt x="2245" y="304"/>
                  </a:lnTo>
                  <a:lnTo>
                    <a:pt x="2245" y="304"/>
                  </a:lnTo>
                  <a:lnTo>
                    <a:pt x="2245" y="304"/>
                  </a:lnTo>
                  <a:lnTo>
                    <a:pt x="2245" y="304"/>
                  </a:lnTo>
                  <a:lnTo>
                    <a:pt x="2245" y="304"/>
                  </a:lnTo>
                  <a:lnTo>
                    <a:pt x="2245" y="304"/>
                  </a:lnTo>
                  <a:lnTo>
                    <a:pt x="2245" y="304"/>
                  </a:lnTo>
                  <a:lnTo>
                    <a:pt x="2245" y="306"/>
                  </a:lnTo>
                  <a:lnTo>
                    <a:pt x="2245" y="304"/>
                  </a:lnTo>
                  <a:lnTo>
                    <a:pt x="2245" y="304"/>
                  </a:lnTo>
                  <a:lnTo>
                    <a:pt x="2245" y="306"/>
                  </a:lnTo>
                  <a:lnTo>
                    <a:pt x="2245" y="304"/>
                  </a:lnTo>
                  <a:lnTo>
                    <a:pt x="2245" y="306"/>
                  </a:lnTo>
                  <a:lnTo>
                    <a:pt x="2245" y="306"/>
                  </a:lnTo>
                  <a:lnTo>
                    <a:pt x="2245" y="304"/>
                  </a:lnTo>
                  <a:lnTo>
                    <a:pt x="2245" y="306"/>
                  </a:lnTo>
                  <a:lnTo>
                    <a:pt x="2245" y="306"/>
                  </a:lnTo>
                  <a:lnTo>
                    <a:pt x="2245" y="306"/>
                  </a:lnTo>
                  <a:lnTo>
                    <a:pt x="2248" y="306"/>
                  </a:lnTo>
                  <a:lnTo>
                    <a:pt x="2248" y="306"/>
                  </a:lnTo>
                  <a:lnTo>
                    <a:pt x="2249" y="304"/>
                  </a:lnTo>
                  <a:lnTo>
                    <a:pt x="2249" y="304"/>
                  </a:lnTo>
                  <a:lnTo>
                    <a:pt x="2251" y="303"/>
                  </a:lnTo>
                  <a:lnTo>
                    <a:pt x="2251" y="303"/>
                  </a:lnTo>
                  <a:lnTo>
                    <a:pt x="2252" y="301"/>
                  </a:lnTo>
                  <a:lnTo>
                    <a:pt x="2252" y="301"/>
                  </a:lnTo>
                  <a:lnTo>
                    <a:pt x="2249" y="297"/>
                  </a:lnTo>
                  <a:lnTo>
                    <a:pt x="2249" y="297"/>
                  </a:lnTo>
                  <a:lnTo>
                    <a:pt x="2248" y="294"/>
                  </a:lnTo>
                  <a:lnTo>
                    <a:pt x="2248" y="294"/>
                  </a:lnTo>
                  <a:lnTo>
                    <a:pt x="2246" y="293"/>
                  </a:lnTo>
                  <a:lnTo>
                    <a:pt x="2246" y="293"/>
                  </a:lnTo>
                  <a:lnTo>
                    <a:pt x="2246" y="293"/>
                  </a:lnTo>
                  <a:lnTo>
                    <a:pt x="2246" y="293"/>
                  </a:lnTo>
                  <a:lnTo>
                    <a:pt x="2246" y="293"/>
                  </a:lnTo>
                  <a:lnTo>
                    <a:pt x="2246" y="293"/>
                  </a:lnTo>
                  <a:lnTo>
                    <a:pt x="2246" y="293"/>
                  </a:lnTo>
                  <a:lnTo>
                    <a:pt x="2245" y="293"/>
                  </a:lnTo>
                  <a:lnTo>
                    <a:pt x="2246" y="293"/>
                  </a:lnTo>
                  <a:lnTo>
                    <a:pt x="2246" y="293"/>
                  </a:lnTo>
                  <a:lnTo>
                    <a:pt x="2245" y="293"/>
                  </a:lnTo>
                  <a:lnTo>
                    <a:pt x="2246" y="293"/>
                  </a:lnTo>
                  <a:lnTo>
                    <a:pt x="2246" y="293"/>
                  </a:lnTo>
                  <a:lnTo>
                    <a:pt x="2246" y="293"/>
                  </a:lnTo>
                  <a:lnTo>
                    <a:pt x="2246" y="293"/>
                  </a:lnTo>
                  <a:lnTo>
                    <a:pt x="2246" y="293"/>
                  </a:lnTo>
                  <a:lnTo>
                    <a:pt x="2246" y="293"/>
                  </a:lnTo>
                  <a:lnTo>
                    <a:pt x="2246" y="293"/>
                  </a:lnTo>
                  <a:lnTo>
                    <a:pt x="2246" y="293"/>
                  </a:lnTo>
                  <a:lnTo>
                    <a:pt x="2246" y="293"/>
                  </a:lnTo>
                  <a:lnTo>
                    <a:pt x="2246" y="293"/>
                  </a:lnTo>
                  <a:lnTo>
                    <a:pt x="2246" y="293"/>
                  </a:lnTo>
                  <a:lnTo>
                    <a:pt x="2246" y="293"/>
                  </a:lnTo>
                  <a:lnTo>
                    <a:pt x="2248" y="293"/>
                  </a:lnTo>
                  <a:lnTo>
                    <a:pt x="2248" y="293"/>
                  </a:lnTo>
                  <a:lnTo>
                    <a:pt x="2251" y="290"/>
                  </a:lnTo>
                  <a:lnTo>
                    <a:pt x="2251" y="290"/>
                  </a:lnTo>
                  <a:lnTo>
                    <a:pt x="2252" y="288"/>
                  </a:lnTo>
                  <a:lnTo>
                    <a:pt x="2254" y="287"/>
                  </a:lnTo>
                  <a:lnTo>
                    <a:pt x="2254" y="287"/>
                  </a:lnTo>
                  <a:lnTo>
                    <a:pt x="2252" y="284"/>
                  </a:lnTo>
                  <a:lnTo>
                    <a:pt x="2252" y="284"/>
                  </a:lnTo>
                  <a:lnTo>
                    <a:pt x="2249" y="281"/>
                  </a:lnTo>
                  <a:lnTo>
                    <a:pt x="2249" y="281"/>
                  </a:lnTo>
                  <a:lnTo>
                    <a:pt x="2245" y="275"/>
                  </a:lnTo>
                  <a:lnTo>
                    <a:pt x="2245" y="275"/>
                  </a:lnTo>
                  <a:lnTo>
                    <a:pt x="2242" y="272"/>
                  </a:lnTo>
                  <a:lnTo>
                    <a:pt x="2242" y="271"/>
                  </a:lnTo>
                  <a:lnTo>
                    <a:pt x="2242" y="269"/>
                  </a:lnTo>
                  <a:lnTo>
                    <a:pt x="2242" y="269"/>
                  </a:lnTo>
                  <a:lnTo>
                    <a:pt x="2245" y="264"/>
                  </a:lnTo>
                  <a:lnTo>
                    <a:pt x="2245" y="264"/>
                  </a:lnTo>
                  <a:lnTo>
                    <a:pt x="2248" y="261"/>
                  </a:lnTo>
                  <a:lnTo>
                    <a:pt x="2249" y="261"/>
                  </a:lnTo>
                  <a:lnTo>
                    <a:pt x="2249" y="261"/>
                  </a:lnTo>
                  <a:lnTo>
                    <a:pt x="2252" y="261"/>
                  </a:lnTo>
                  <a:lnTo>
                    <a:pt x="2252" y="261"/>
                  </a:lnTo>
                  <a:lnTo>
                    <a:pt x="2255" y="264"/>
                  </a:lnTo>
                  <a:lnTo>
                    <a:pt x="2255" y="264"/>
                  </a:lnTo>
                  <a:lnTo>
                    <a:pt x="2259" y="265"/>
                  </a:lnTo>
                  <a:lnTo>
                    <a:pt x="2262" y="266"/>
                  </a:lnTo>
                  <a:lnTo>
                    <a:pt x="2262" y="266"/>
                  </a:lnTo>
                  <a:lnTo>
                    <a:pt x="2265" y="266"/>
                  </a:lnTo>
                  <a:lnTo>
                    <a:pt x="2265" y="266"/>
                  </a:lnTo>
                  <a:lnTo>
                    <a:pt x="2268" y="268"/>
                  </a:lnTo>
                  <a:lnTo>
                    <a:pt x="2268" y="268"/>
                  </a:lnTo>
                  <a:lnTo>
                    <a:pt x="2270" y="272"/>
                  </a:lnTo>
                  <a:lnTo>
                    <a:pt x="2270" y="272"/>
                  </a:lnTo>
                  <a:lnTo>
                    <a:pt x="2270" y="272"/>
                  </a:lnTo>
                  <a:lnTo>
                    <a:pt x="2274" y="275"/>
                  </a:lnTo>
                  <a:lnTo>
                    <a:pt x="2274" y="275"/>
                  </a:lnTo>
                  <a:lnTo>
                    <a:pt x="2280" y="278"/>
                  </a:lnTo>
                  <a:lnTo>
                    <a:pt x="2280" y="278"/>
                  </a:lnTo>
                  <a:lnTo>
                    <a:pt x="2287" y="280"/>
                  </a:lnTo>
                  <a:lnTo>
                    <a:pt x="2287" y="280"/>
                  </a:lnTo>
                  <a:lnTo>
                    <a:pt x="2297" y="281"/>
                  </a:lnTo>
                  <a:lnTo>
                    <a:pt x="2297" y="281"/>
                  </a:lnTo>
                  <a:lnTo>
                    <a:pt x="2300" y="280"/>
                  </a:lnTo>
                  <a:lnTo>
                    <a:pt x="2303" y="278"/>
                  </a:lnTo>
                  <a:lnTo>
                    <a:pt x="2303" y="278"/>
                  </a:lnTo>
                  <a:lnTo>
                    <a:pt x="2303" y="278"/>
                  </a:lnTo>
                  <a:lnTo>
                    <a:pt x="2303" y="278"/>
                  </a:lnTo>
                  <a:lnTo>
                    <a:pt x="2303" y="278"/>
                  </a:lnTo>
                  <a:lnTo>
                    <a:pt x="2303" y="278"/>
                  </a:lnTo>
                  <a:lnTo>
                    <a:pt x="2304" y="278"/>
                  </a:lnTo>
                  <a:lnTo>
                    <a:pt x="2304" y="278"/>
                  </a:lnTo>
                  <a:lnTo>
                    <a:pt x="2309" y="280"/>
                  </a:lnTo>
                  <a:lnTo>
                    <a:pt x="2309" y="280"/>
                  </a:lnTo>
                  <a:lnTo>
                    <a:pt x="2313" y="281"/>
                  </a:lnTo>
                  <a:lnTo>
                    <a:pt x="2316" y="281"/>
                  </a:lnTo>
                  <a:lnTo>
                    <a:pt x="2316" y="281"/>
                  </a:lnTo>
                  <a:lnTo>
                    <a:pt x="2317" y="282"/>
                  </a:lnTo>
                  <a:lnTo>
                    <a:pt x="2317" y="282"/>
                  </a:lnTo>
                  <a:lnTo>
                    <a:pt x="2319" y="281"/>
                  </a:lnTo>
                  <a:lnTo>
                    <a:pt x="2317" y="281"/>
                  </a:lnTo>
                  <a:lnTo>
                    <a:pt x="2317" y="282"/>
                  </a:lnTo>
                  <a:lnTo>
                    <a:pt x="2319" y="281"/>
                  </a:lnTo>
                  <a:lnTo>
                    <a:pt x="2317" y="281"/>
                  </a:lnTo>
                  <a:lnTo>
                    <a:pt x="2319" y="281"/>
                  </a:lnTo>
                  <a:lnTo>
                    <a:pt x="2317" y="281"/>
                  </a:lnTo>
                  <a:lnTo>
                    <a:pt x="2317" y="281"/>
                  </a:lnTo>
                  <a:lnTo>
                    <a:pt x="2319" y="281"/>
                  </a:lnTo>
                  <a:lnTo>
                    <a:pt x="2317" y="281"/>
                  </a:lnTo>
                  <a:lnTo>
                    <a:pt x="2317" y="281"/>
                  </a:lnTo>
                  <a:lnTo>
                    <a:pt x="2319" y="284"/>
                  </a:lnTo>
                  <a:lnTo>
                    <a:pt x="2319" y="284"/>
                  </a:lnTo>
                  <a:lnTo>
                    <a:pt x="2323" y="287"/>
                  </a:lnTo>
                  <a:lnTo>
                    <a:pt x="2323" y="287"/>
                  </a:lnTo>
                  <a:lnTo>
                    <a:pt x="2325" y="288"/>
                  </a:lnTo>
                  <a:lnTo>
                    <a:pt x="2325" y="288"/>
                  </a:lnTo>
                  <a:lnTo>
                    <a:pt x="2326" y="293"/>
                  </a:lnTo>
                  <a:lnTo>
                    <a:pt x="2326" y="293"/>
                  </a:lnTo>
                  <a:lnTo>
                    <a:pt x="2327" y="297"/>
                  </a:lnTo>
                  <a:lnTo>
                    <a:pt x="2330" y="301"/>
                  </a:lnTo>
                  <a:lnTo>
                    <a:pt x="2330" y="301"/>
                  </a:lnTo>
                  <a:lnTo>
                    <a:pt x="2340" y="307"/>
                  </a:lnTo>
                  <a:lnTo>
                    <a:pt x="2340" y="307"/>
                  </a:lnTo>
                  <a:lnTo>
                    <a:pt x="2342" y="310"/>
                  </a:lnTo>
                  <a:lnTo>
                    <a:pt x="2342" y="310"/>
                  </a:lnTo>
                  <a:lnTo>
                    <a:pt x="2343" y="313"/>
                  </a:lnTo>
                  <a:lnTo>
                    <a:pt x="2343" y="313"/>
                  </a:lnTo>
                  <a:lnTo>
                    <a:pt x="2342" y="332"/>
                  </a:lnTo>
                  <a:lnTo>
                    <a:pt x="2342" y="332"/>
                  </a:lnTo>
                  <a:lnTo>
                    <a:pt x="2340" y="345"/>
                  </a:lnTo>
                  <a:lnTo>
                    <a:pt x="2340" y="345"/>
                  </a:lnTo>
                  <a:lnTo>
                    <a:pt x="2340" y="352"/>
                  </a:lnTo>
                  <a:lnTo>
                    <a:pt x="2340" y="352"/>
                  </a:lnTo>
                  <a:lnTo>
                    <a:pt x="2340" y="352"/>
                  </a:lnTo>
                  <a:lnTo>
                    <a:pt x="2340" y="350"/>
                  </a:lnTo>
                  <a:lnTo>
                    <a:pt x="2340" y="352"/>
                  </a:lnTo>
                  <a:lnTo>
                    <a:pt x="2340" y="352"/>
                  </a:lnTo>
                  <a:lnTo>
                    <a:pt x="2340" y="350"/>
                  </a:lnTo>
                  <a:lnTo>
                    <a:pt x="2340" y="352"/>
                  </a:lnTo>
                  <a:lnTo>
                    <a:pt x="2340" y="350"/>
                  </a:lnTo>
                  <a:lnTo>
                    <a:pt x="2340" y="350"/>
                  </a:lnTo>
                  <a:lnTo>
                    <a:pt x="2340" y="352"/>
                  </a:lnTo>
                  <a:lnTo>
                    <a:pt x="2340" y="350"/>
                  </a:lnTo>
                  <a:lnTo>
                    <a:pt x="2340" y="350"/>
                  </a:lnTo>
                  <a:lnTo>
                    <a:pt x="2340" y="350"/>
                  </a:lnTo>
                  <a:lnTo>
                    <a:pt x="2338" y="350"/>
                  </a:lnTo>
                  <a:lnTo>
                    <a:pt x="2338" y="350"/>
                  </a:lnTo>
                  <a:lnTo>
                    <a:pt x="2333" y="348"/>
                  </a:lnTo>
                  <a:lnTo>
                    <a:pt x="2333" y="348"/>
                  </a:lnTo>
                  <a:lnTo>
                    <a:pt x="2330" y="343"/>
                  </a:lnTo>
                  <a:lnTo>
                    <a:pt x="2329" y="340"/>
                  </a:lnTo>
                  <a:lnTo>
                    <a:pt x="2329" y="340"/>
                  </a:lnTo>
                  <a:lnTo>
                    <a:pt x="2326" y="336"/>
                  </a:lnTo>
                  <a:lnTo>
                    <a:pt x="2322" y="333"/>
                  </a:lnTo>
                  <a:lnTo>
                    <a:pt x="2322" y="333"/>
                  </a:lnTo>
                  <a:lnTo>
                    <a:pt x="2310" y="327"/>
                  </a:lnTo>
                  <a:lnTo>
                    <a:pt x="2310" y="327"/>
                  </a:lnTo>
                  <a:lnTo>
                    <a:pt x="2303" y="324"/>
                  </a:lnTo>
                  <a:lnTo>
                    <a:pt x="2303" y="324"/>
                  </a:lnTo>
                  <a:lnTo>
                    <a:pt x="2298" y="323"/>
                  </a:lnTo>
                  <a:lnTo>
                    <a:pt x="2298" y="323"/>
                  </a:lnTo>
                  <a:lnTo>
                    <a:pt x="2296" y="324"/>
                  </a:lnTo>
                  <a:lnTo>
                    <a:pt x="2296" y="324"/>
                  </a:lnTo>
                  <a:lnTo>
                    <a:pt x="2294" y="326"/>
                  </a:lnTo>
                  <a:lnTo>
                    <a:pt x="2294" y="326"/>
                  </a:lnTo>
                  <a:lnTo>
                    <a:pt x="2294" y="327"/>
                  </a:lnTo>
                  <a:lnTo>
                    <a:pt x="2294" y="327"/>
                  </a:lnTo>
                  <a:lnTo>
                    <a:pt x="2296" y="330"/>
                  </a:lnTo>
                  <a:lnTo>
                    <a:pt x="2296" y="330"/>
                  </a:lnTo>
                  <a:lnTo>
                    <a:pt x="2300" y="337"/>
                  </a:lnTo>
                  <a:lnTo>
                    <a:pt x="2300" y="337"/>
                  </a:lnTo>
                  <a:lnTo>
                    <a:pt x="2303" y="340"/>
                  </a:lnTo>
                  <a:lnTo>
                    <a:pt x="2303" y="340"/>
                  </a:lnTo>
                  <a:lnTo>
                    <a:pt x="2306" y="340"/>
                  </a:lnTo>
                  <a:lnTo>
                    <a:pt x="2307" y="340"/>
                  </a:lnTo>
                  <a:lnTo>
                    <a:pt x="2307" y="340"/>
                  </a:lnTo>
                  <a:lnTo>
                    <a:pt x="2309" y="340"/>
                  </a:lnTo>
                  <a:lnTo>
                    <a:pt x="2309" y="340"/>
                  </a:lnTo>
                  <a:lnTo>
                    <a:pt x="2314" y="342"/>
                  </a:lnTo>
                  <a:lnTo>
                    <a:pt x="2319" y="345"/>
                  </a:lnTo>
                  <a:lnTo>
                    <a:pt x="2319" y="345"/>
                  </a:lnTo>
                  <a:lnTo>
                    <a:pt x="2320" y="346"/>
                  </a:lnTo>
                  <a:lnTo>
                    <a:pt x="2320" y="346"/>
                  </a:lnTo>
                  <a:lnTo>
                    <a:pt x="2323" y="353"/>
                  </a:lnTo>
                  <a:lnTo>
                    <a:pt x="2323" y="353"/>
                  </a:lnTo>
                  <a:lnTo>
                    <a:pt x="2325" y="358"/>
                  </a:lnTo>
                  <a:lnTo>
                    <a:pt x="2325" y="358"/>
                  </a:lnTo>
                  <a:lnTo>
                    <a:pt x="2326" y="359"/>
                  </a:lnTo>
                  <a:lnTo>
                    <a:pt x="2326" y="359"/>
                  </a:lnTo>
                  <a:lnTo>
                    <a:pt x="2327" y="361"/>
                  </a:lnTo>
                  <a:lnTo>
                    <a:pt x="2327" y="361"/>
                  </a:lnTo>
                  <a:lnTo>
                    <a:pt x="2330" y="359"/>
                  </a:lnTo>
                  <a:lnTo>
                    <a:pt x="2330" y="359"/>
                  </a:lnTo>
                  <a:lnTo>
                    <a:pt x="2330" y="359"/>
                  </a:lnTo>
                  <a:lnTo>
                    <a:pt x="2330" y="359"/>
                  </a:lnTo>
                  <a:lnTo>
                    <a:pt x="2332" y="358"/>
                  </a:lnTo>
                  <a:lnTo>
                    <a:pt x="2332" y="358"/>
                  </a:lnTo>
                  <a:lnTo>
                    <a:pt x="2332" y="358"/>
                  </a:lnTo>
                  <a:lnTo>
                    <a:pt x="2332" y="358"/>
                  </a:lnTo>
                  <a:lnTo>
                    <a:pt x="2332" y="358"/>
                  </a:lnTo>
                  <a:lnTo>
                    <a:pt x="2332" y="358"/>
                  </a:lnTo>
                  <a:lnTo>
                    <a:pt x="2332" y="358"/>
                  </a:lnTo>
                  <a:lnTo>
                    <a:pt x="2332" y="358"/>
                  </a:lnTo>
                  <a:lnTo>
                    <a:pt x="2333" y="356"/>
                  </a:lnTo>
                  <a:lnTo>
                    <a:pt x="2332" y="358"/>
                  </a:lnTo>
                  <a:lnTo>
                    <a:pt x="2332" y="358"/>
                  </a:lnTo>
                  <a:lnTo>
                    <a:pt x="2333" y="356"/>
                  </a:lnTo>
                  <a:lnTo>
                    <a:pt x="2332" y="358"/>
                  </a:lnTo>
                  <a:lnTo>
                    <a:pt x="2332" y="358"/>
                  </a:lnTo>
                  <a:lnTo>
                    <a:pt x="2332" y="358"/>
                  </a:lnTo>
                  <a:lnTo>
                    <a:pt x="2332" y="358"/>
                  </a:lnTo>
                  <a:lnTo>
                    <a:pt x="2332" y="358"/>
                  </a:lnTo>
                  <a:lnTo>
                    <a:pt x="2332" y="358"/>
                  </a:lnTo>
                  <a:lnTo>
                    <a:pt x="2332" y="358"/>
                  </a:lnTo>
                  <a:lnTo>
                    <a:pt x="2332" y="358"/>
                  </a:lnTo>
                  <a:lnTo>
                    <a:pt x="2332" y="362"/>
                  </a:lnTo>
                  <a:lnTo>
                    <a:pt x="2332" y="362"/>
                  </a:lnTo>
                  <a:lnTo>
                    <a:pt x="2333" y="365"/>
                  </a:lnTo>
                  <a:lnTo>
                    <a:pt x="2333" y="365"/>
                  </a:lnTo>
                  <a:lnTo>
                    <a:pt x="2335" y="366"/>
                  </a:lnTo>
                  <a:lnTo>
                    <a:pt x="2336" y="366"/>
                  </a:lnTo>
                  <a:lnTo>
                    <a:pt x="2336" y="366"/>
                  </a:lnTo>
                  <a:lnTo>
                    <a:pt x="2338" y="366"/>
                  </a:lnTo>
                  <a:lnTo>
                    <a:pt x="2338" y="366"/>
                  </a:lnTo>
                  <a:lnTo>
                    <a:pt x="2340" y="366"/>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6"/>
                  </a:lnTo>
                  <a:lnTo>
                    <a:pt x="2340" y="366"/>
                  </a:lnTo>
                  <a:lnTo>
                    <a:pt x="2340" y="366"/>
                  </a:lnTo>
                  <a:lnTo>
                    <a:pt x="2342" y="372"/>
                  </a:lnTo>
                  <a:lnTo>
                    <a:pt x="2342" y="372"/>
                  </a:lnTo>
                  <a:lnTo>
                    <a:pt x="2343" y="375"/>
                  </a:lnTo>
                  <a:lnTo>
                    <a:pt x="2343" y="375"/>
                  </a:lnTo>
                  <a:lnTo>
                    <a:pt x="2348" y="378"/>
                  </a:lnTo>
                  <a:lnTo>
                    <a:pt x="2348" y="378"/>
                  </a:lnTo>
                  <a:lnTo>
                    <a:pt x="2352" y="382"/>
                  </a:lnTo>
                  <a:lnTo>
                    <a:pt x="2352" y="382"/>
                  </a:lnTo>
                  <a:lnTo>
                    <a:pt x="2355" y="387"/>
                  </a:lnTo>
                  <a:lnTo>
                    <a:pt x="2355" y="387"/>
                  </a:lnTo>
                  <a:lnTo>
                    <a:pt x="2358" y="392"/>
                  </a:lnTo>
                  <a:lnTo>
                    <a:pt x="2358" y="397"/>
                  </a:lnTo>
                  <a:lnTo>
                    <a:pt x="2358" y="397"/>
                  </a:lnTo>
                  <a:lnTo>
                    <a:pt x="2359" y="404"/>
                  </a:lnTo>
                  <a:lnTo>
                    <a:pt x="2359" y="404"/>
                  </a:lnTo>
                  <a:lnTo>
                    <a:pt x="2361" y="408"/>
                  </a:lnTo>
                  <a:lnTo>
                    <a:pt x="2361" y="408"/>
                  </a:lnTo>
                  <a:lnTo>
                    <a:pt x="2362" y="410"/>
                  </a:lnTo>
                  <a:lnTo>
                    <a:pt x="2362" y="410"/>
                  </a:lnTo>
                  <a:lnTo>
                    <a:pt x="2365" y="410"/>
                  </a:lnTo>
                  <a:lnTo>
                    <a:pt x="2365" y="410"/>
                  </a:lnTo>
                  <a:lnTo>
                    <a:pt x="2369" y="410"/>
                  </a:lnTo>
                  <a:lnTo>
                    <a:pt x="2369" y="410"/>
                  </a:lnTo>
                  <a:lnTo>
                    <a:pt x="2371" y="410"/>
                  </a:lnTo>
                  <a:lnTo>
                    <a:pt x="2371" y="411"/>
                  </a:lnTo>
                  <a:lnTo>
                    <a:pt x="2372" y="410"/>
                  </a:lnTo>
                  <a:lnTo>
                    <a:pt x="2371" y="410"/>
                  </a:lnTo>
                  <a:lnTo>
                    <a:pt x="2371" y="411"/>
                  </a:lnTo>
                  <a:lnTo>
                    <a:pt x="2372" y="410"/>
                  </a:lnTo>
                  <a:lnTo>
                    <a:pt x="2371" y="410"/>
                  </a:lnTo>
                  <a:lnTo>
                    <a:pt x="2371" y="410"/>
                  </a:lnTo>
                  <a:lnTo>
                    <a:pt x="2372" y="416"/>
                  </a:lnTo>
                  <a:lnTo>
                    <a:pt x="2372" y="416"/>
                  </a:lnTo>
                  <a:lnTo>
                    <a:pt x="2374" y="419"/>
                  </a:lnTo>
                  <a:lnTo>
                    <a:pt x="2374" y="419"/>
                  </a:lnTo>
                  <a:lnTo>
                    <a:pt x="2374" y="420"/>
                  </a:lnTo>
                  <a:lnTo>
                    <a:pt x="2374" y="420"/>
                  </a:lnTo>
                  <a:lnTo>
                    <a:pt x="2377" y="421"/>
                  </a:lnTo>
                  <a:lnTo>
                    <a:pt x="2377" y="421"/>
                  </a:lnTo>
                  <a:lnTo>
                    <a:pt x="2378" y="421"/>
                  </a:lnTo>
                  <a:lnTo>
                    <a:pt x="2378" y="421"/>
                  </a:lnTo>
                  <a:lnTo>
                    <a:pt x="2380" y="420"/>
                  </a:lnTo>
                  <a:lnTo>
                    <a:pt x="2380" y="420"/>
                  </a:lnTo>
                  <a:lnTo>
                    <a:pt x="2380" y="420"/>
                  </a:lnTo>
                  <a:lnTo>
                    <a:pt x="2380" y="420"/>
                  </a:lnTo>
                  <a:lnTo>
                    <a:pt x="2382" y="417"/>
                  </a:lnTo>
                  <a:lnTo>
                    <a:pt x="2382" y="417"/>
                  </a:lnTo>
                  <a:lnTo>
                    <a:pt x="2390" y="408"/>
                  </a:lnTo>
                  <a:lnTo>
                    <a:pt x="2390" y="408"/>
                  </a:lnTo>
                  <a:lnTo>
                    <a:pt x="2393" y="403"/>
                  </a:lnTo>
                  <a:lnTo>
                    <a:pt x="2393" y="395"/>
                  </a:lnTo>
                  <a:lnTo>
                    <a:pt x="2393" y="395"/>
                  </a:lnTo>
                  <a:lnTo>
                    <a:pt x="2394" y="381"/>
                  </a:lnTo>
                  <a:lnTo>
                    <a:pt x="2394" y="381"/>
                  </a:lnTo>
                  <a:lnTo>
                    <a:pt x="2396" y="375"/>
                  </a:lnTo>
                  <a:lnTo>
                    <a:pt x="2398" y="369"/>
                  </a:lnTo>
                  <a:lnTo>
                    <a:pt x="2398" y="369"/>
                  </a:lnTo>
                  <a:lnTo>
                    <a:pt x="2403" y="362"/>
                  </a:lnTo>
                  <a:lnTo>
                    <a:pt x="2403" y="362"/>
                  </a:lnTo>
                  <a:lnTo>
                    <a:pt x="2403" y="361"/>
                  </a:lnTo>
                  <a:lnTo>
                    <a:pt x="2404" y="361"/>
                  </a:lnTo>
                  <a:lnTo>
                    <a:pt x="2403" y="359"/>
                  </a:lnTo>
                  <a:lnTo>
                    <a:pt x="2403" y="361"/>
                  </a:lnTo>
                  <a:lnTo>
                    <a:pt x="2404" y="361"/>
                  </a:lnTo>
                  <a:lnTo>
                    <a:pt x="2403" y="359"/>
                  </a:lnTo>
                  <a:lnTo>
                    <a:pt x="2403" y="361"/>
                  </a:lnTo>
                  <a:lnTo>
                    <a:pt x="2401" y="359"/>
                  </a:lnTo>
                  <a:lnTo>
                    <a:pt x="2401" y="361"/>
                  </a:lnTo>
                  <a:lnTo>
                    <a:pt x="2401" y="361"/>
                  </a:lnTo>
                  <a:lnTo>
                    <a:pt x="2403" y="361"/>
                  </a:lnTo>
                  <a:lnTo>
                    <a:pt x="2401" y="359"/>
                  </a:lnTo>
                  <a:lnTo>
                    <a:pt x="2401" y="361"/>
                  </a:lnTo>
                  <a:lnTo>
                    <a:pt x="2401" y="359"/>
                  </a:lnTo>
                  <a:lnTo>
                    <a:pt x="2401" y="361"/>
                  </a:lnTo>
                  <a:lnTo>
                    <a:pt x="2401" y="361"/>
                  </a:lnTo>
                  <a:lnTo>
                    <a:pt x="2401" y="361"/>
                  </a:lnTo>
                  <a:lnTo>
                    <a:pt x="2401" y="359"/>
                  </a:lnTo>
                  <a:lnTo>
                    <a:pt x="2401" y="361"/>
                  </a:lnTo>
                  <a:lnTo>
                    <a:pt x="2401" y="359"/>
                  </a:lnTo>
                  <a:lnTo>
                    <a:pt x="2401" y="361"/>
                  </a:lnTo>
                  <a:lnTo>
                    <a:pt x="2401" y="361"/>
                  </a:lnTo>
                  <a:lnTo>
                    <a:pt x="2401" y="359"/>
                  </a:lnTo>
                  <a:lnTo>
                    <a:pt x="2401" y="361"/>
                  </a:lnTo>
                  <a:lnTo>
                    <a:pt x="2401" y="361"/>
                  </a:lnTo>
                  <a:lnTo>
                    <a:pt x="2401" y="361"/>
                  </a:lnTo>
                  <a:lnTo>
                    <a:pt x="2401" y="361"/>
                  </a:lnTo>
                  <a:lnTo>
                    <a:pt x="2401" y="361"/>
                  </a:lnTo>
                  <a:lnTo>
                    <a:pt x="2401" y="361"/>
                  </a:lnTo>
                  <a:lnTo>
                    <a:pt x="2401" y="361"/>
                  </a:lnTo>
                  <a:lnTo>
                    <a:pt x="2401" y="362"/>
                  </a:lnTo>
                  <a:lnTo>
                    <a:pt x="2401" y="362"/>
                  </a:lnTo>
                  <a:lnTo>
                    <a:pt x="2404" y="366"/>
                  </a:lnTo>
                  <a:lnTo>
                    <a:pt x="2404" y="366"/>
                  </a:lnTo>
                  <a:lnTo>
                    <a:pt x="2409" y="378"/>
                  </a:lnTo>
                  <a:lnTo>
                    <a:pt x="2409" y="378"/>
                  </a:lnTo>
                  <a:lnTo>
                    <a:pt x="2411" y="382"/>
                  </a:lnTo>
                  <a:lnTo>
                    <a:pt x="2411" y="382"/>
                  </a:lnTo>
                  <a:lnTo>
                    <a:pt x="2414" y="384"/>
                  </a:lnTo>
                  <a:lnTo>
                    <a:pt x="2416" y="385"/>
                  </a:lnTo>
                  <a:lnTo>
                    <a:pt x="2416" y="385"/>
                  </a:lnTo>
                  <a:lnTo>
                    <a:pt x="2419" y="385"/>
                  </a:lnTo>
                  <a:lnTo>
                    <a:pt x="2419" y="385"/>
                  </a:lnTo>
                  <a:lnTo>
                    <a:pt x="2426" y="384"/>
                  </a:lnTo>
                  <a:lnTo>
                    <a:pt x="2426" y="384"/>
                  </a:lnTo>
                  <a:lnTo>
                    <a:pt x="2430" y="382"/>
                  </a:lnTo>
                  <a:lnTo>
                    <a:pt x="2430" y="382"/>
                  </a:lnTo>
                  <a:lnTo>
                    <a:pt x="2430" y="382"/>
                  </a:lnTo>
                  <a:lnTo>
                    <a:pt x="2432" y="379"/>
                  </a:lnTo>
                  <a:lnTo>
                    <a:pt x="2432" y="379"/>
                  </a:lnTo>
                  <a:lnTo>
                    <a:pt x="2435" y="377"/>
                  </a:lnTo>
                  <a:lnTo>
                    <a:pt x="2435" y="377"/>
                  </a:lnTo>
                  <a:lnTo>
                    <a:pt x="2440" y="375"/>
                  </a:lnTo>
                  <a:lnTo>
                    <a:pt x="2440" y="375"/>
                  </a:lnTo>
                  <a:lnTo>
                    <a:pt x="2442" y="377"/>
                  </a:lnTo>
                  <a:lnTo>
                    <a:pt x="2442" y="377"/>
                  </a:lnTo>
                  <a:lnTo>
                    <a:pt x="2445" y="377"/>
                  </a:lnTo>
                  <a:lnTo>
                    <a:pt x="2449" y="379"/>
                  </a:lnTo>
                  <a:lnTo>
                    <a:pt x="2449" y="379"/>
                  </a:lnTo>
                  <a:lnTo>
                    <a:pt x="2452" y="381"/>
                  </a:lnTo>
                  <a:lnTo>
                    <a:pt x="2452" y="381"/>
                  </a:lnTo>
                  <a:lnTo>
                    <a:pt x="2456" y="381"/>
                  </a:lnTo>
                  <a:lnTo>
                    <a:pt x="2456" y="381"/>
                  </a:lnTo>
                  <a:lnTo>
                    <a:pt x="2458" y="381"/>
                  </a:lnTo>
                  <a:lnTo>
                    <a:pt x="2458" y="381"/>
                  </a:lnTo>
                  <a:lnTo>
                    <a:pt x="2462" y="382"/>
                  </a:lnTo>
                  <a:lnTo>
                    <a:pt x="2462" y="382"/>
                  </a:lnTo>
                  <a:lnTo>
                    <a:pt x="2468" y="387"/>
                  </a:lnTo>
                  <a:lnTo>
                    <a:pt x="2468" y="387"/>
                  </a:lnTo>
                  <a:lnTo>
                    <a:pt x="2471" y="390"/>
                  </a:lnTo>
                  <a:lnTo>
                    <a:pt x="2471" y="390"/>
                  </a:lnTo>
                  <a:lnTo>
                    <a:pt x="2477" y="398"/>
                  </a:lnTo>
                  <a:lnTo>
                    <a:pt x="2477" y="398"/>
                  </a:lnTo>
                  <a:lnTo>
                    <a:pt x="2480" y="401"/>
                  </a:lnTo>
                  <a:lnTo>
                    <a:pt x="2480" y="401"/>
                  </a:lnTo>
                  <a:lnTo>
                    <a:pt x="2481" y="403"/>
                  </a:lnTo>
                  <a:lnTo>
                    <a:pt x="2481" y="403"/>
                  </a:lnTo>
                  <a:lnTo>
                    <a:pt x="2484" y="404"/>
                  </a:lnTo>
                  <a:lnTo>
                    <a:pt x="2484" y="404"/>
                  </a:lnTo>
                  <a:lnTo>
                    <a:pt x="2487" y="403"/>
                  </a:lnTo>
                  <a:lnTo>
                    <a:pt x="2487" y="403"/>
                  </a:lnTo>
                  <a:lnTo>
                    <a:pt x="2488" y="398"/>
                  </a:lnTo>
                  <a:lnTo>
                    <a:pt x="2488" y="398"/>
                  </a:lnTo>
                  <a:lnTo>
                    <a:pt x="2488" y="392"/>
                  </a:lnTo>
                  <a:lnTo>
                    <a:pt x="2488" y="392"/>
                  </a:lnTo>
                  <a:lnTo>
                    <a:pt x="2488" y="392"/>
                  </a:lnTo>
                  <a:lnTo>
                    <a:pt x="2488" y="391"/>
                  </a:lnTo>
                  <a:lnTo>
                    <a:pt x="2488" y="392"/>
                  </a:lnTo>
                  <a:lnTo>
                    <a:pt x="2488" y="392"/>
                  </a:lnTo>
                  <a:lnTo>
                    <a:pt x="2488" y="391"/>
                  </a:lnTo>
                  <a:lnTo>
                    <a:pt x="2488" y="392"/>
                  </a:lnTo>
                  <a:lnTo>
                    <a:pt x="2488" y="391"/>
                  </a:lnTo>
                  <a:lnTo>
                    <a:pt x="2488" y="392"/>
                  </a:lnTo>
                  <a:lnTo>
                    <a:pt x="2488" y="392"/>
                  </a:lnTo>
                  <a:lnTo>
                    <a:pt x="2488" y="391"/>
                  </a:lnTo>
                  <a:lnTo>
                    <a:pt x="2488" y="392"/>
                  </a:lnTo>
                  <a:lnTo>
                    <a:pt x="2488" y="392"/>
                  </a:lnTo>
                  <a:lnTo>
                    <a:pt x="2490" y="392"/>
                  </a:lnTo>
                  <a:lnTo>
                    <a:pt x="2490" y="392"/>
                  </a:lnTo>
                  <a:lnTo>
                    <a:pt x="2493" y="392"/>
                  </a:lnTo>
                  <a:lnTo>
                    <a:pt x="2493" y="392"/>
                  </a:lnTo>
                  <a:lnTo>
                    <a:pt x="2495" y="392"/>
                  </a:lnTo>
                  <a:lnTo>
                    <a:pt x="2495" y="392"/>
                  </a:lnTo>
                  <a:lnTo>
                    <a:pt x="2495" y="391"/>
                  </a:lnTo>
                  <a:lnTo>
                    <a:pt x="2495" y="391"/>
                  </a:lnTo>
                  <a:lnTo>
                    <a:pt x="2497" y="390"/>
                  </a:lnTo>
                  <a:lnTo>
                    <a:pt x="2497" y="390"/>
                  </a:lnTo>
                  <a:lnTo>
                    <a:pt x="2495" y="388"/>
                  </a:lnTo>
                  <a:lnTo>
                    <a:pt x="2495" y="388"/>
                  </a:lnTo>
                  <a:lnTo>
                    <a:pt x="2495" y="388"/>
                  </a:lnTo>
                  <a:lnTo>
                    <a:pt x="2493" y="381"/>
                  </a:lnTo>
                  <a:lnTo>
                    <a:pt x="2493" y="381"/>
                  </a:lnTo>
                  <a:lnTo>
                    <a:pt x="2491" y="377"/>
                  </a:lnTo>
                  <a:lnTo>
                    <a:pt x="2491" y="377"/>
                  </a:lnTo>
                  <a:lnTo>
                    <a:pt x="2491" y="377"/>
                  </a:lnTo>
                  <a:lnTo>
                    <a:pt x="2491" y="377"/>
                  </a:lnTo>
                  <a:lnTo>
                    <a:pt x="2497" y="375"/>
                  </a:lnTo>
                  <a:lnTo>
                    <a:pt x="2497" y="375"/>
                  </a:lnTo>
                  <a:lnTo>
                    <a:pt x="2500" y="375"/>
                  </a:lnTo>
                  <a:lnTo>
                    <a:pt x="2500" y="375"/>
                  </a:lnTo>
                  <a:lnTo>
                    <a:pt x="2501" y="375"/>
                  </a:lnTo>
                  <a:lnTo>
                    <a:pt x="2501" y="375"/>
                  </a:lnTo>
                  <a:lnTo>
                    <a:pt x="2500" y="375"/>
                  </a:lnTo>
                  <a:lnTo>
                    <a:pt x="2501" y="375"/>
                  </a:lnTo>
                  <a:lnTo>
                    <a:pt x="2501" y="375"/>
                  </a:lnTo>
                  <a:lnTo>
                    <a:pt x="2500" y="375"/>
                  </a:lnTo>
                  <a:lnTo>
                    <a:pt x="2501" y="374"/>
                  </a:lnTo>
                  <a:lnTo>
                    <a:pt x="2500" y="374"/>
                  </a:lnTo>
                  <a:lnTo>
                    <a:pt x="2500" y="374"/>
                  </a:lnTo>
                  <a:lnTo>
                    <a:pt x="2500" y="375"/>
                  </a:lnTo>
                  <a:lnTo>
                    <a:pt x="2501" y="374"/>
                  </a:lnTo>
                  <a:lnTo>
                    <a:pt x="2500" y="374"/>
                  </a:lnTo>
                  <a:lnTo>
                    <a:pt x="2501" y="374"/>
                  </a:lnTo>
                  <a:lnTo>
                    <a:pt x="2500" y="372"/>
                  </a:lnTo>
                  <a:lnTo>
                    <a:pt x="2500" y="372"/>
                  </a:lnTo>
                  <a:lnTo>
                    <a:pt x="2500" y="374"/>
                  </a:lnTo>
                  <a:lnTo>
                    <a:pt x="2501" y="374"/>
                  </a:lnTo>
                  <a:lnTo>
                    <a:pt x="2500" y="372"/>
                  </a:lnTo>
                  <a:lnTo>
                    <a:pt x="2500" y="372"/>
                  </a:lnTo>
                  <a:lnTo>
                    <a:pt x="2500" y="372"/>
                  </a:lnTo>
                  <a:lnTo>
                    <a:pt x="2500" y="375"/>
                  </a:lnTo>
                  <a:lnTo>
                    <a:pt x="2500" y="375"/>
                  </a:lnTo>
                  <a:lnTo>
                    <a:pt x="2500" y="378"/>
                  </a:lnTo>
                  <a:lnTo>
                    <a:pt x="2500" y="378"/>
                  </a:lnTo>
                  <a:lnTo>
                    <a:pt x="2503" y="384"/>
                  </a:lnTo>
                  <a:lnTo>
                    <a:pt x="2503" y="384"/>
                  </a:lnTo>
                  <a:lnTo>
                    <a:pt x="2504" y="387"/>
                  </a:lnTo>
                  <a:lnTo>
                    <a:pt x="2504" y="387"/>
                  </a:lnTo>
                  <a:lnTo>
                    <a:pt x="2507" y="388"/>
                  </a:lnTo>
                  <a:lnTo>
                    <a:pt x="2507" y="388"/>
                  </a:lnTo>
                  <a:lnTo>
                    <a:pt x="2510" y="387"/>
                  </a:lnTo>
                  <a:lnTo>
                    <a:pt x="2510" y="387"/>
                  </a:lnTo>
                  <a:lnTo>
                    <a:pt x="2514" y="384"/>
                  </a:lnTo>
                  <a:lnTo>
                    <a:pt x="2514" y="382"/>
                  </a:lnTo>
                  <a:lnTo>
                    <a:pt x="2514" y="382"/>
                  </a:lnTo>
                  <a:lnTo>
                    <a:pt x="2516" y="382"/>
                  </a:lnTo>
                  <a:lnTo>
                    <a:pt x="2516" y="382"/>
                  </a:lnTo>
                  <a:lnTo>
                    <a:pt x="2519" y="382"/>
                  </a:lnTo>
                  <a:lnTo>
                    <a:pt x="2519" y="382"/>
                  </a:lnTo>
                  <a:lnTo>
                    <a:pt x="2522" y="384"/>
                  </a:lnTo>
                  <a:lnTo>
                    <a:pt x="2522" y="384"/>
                  </a:lnTo>
                  <a:lnTo>
                    <a:pt x="2523" y="382"/>
                  </a:lnTo>
                  <a:lnTo>
                    <a:pt x="2523" y="382"/>
                  </a:lnTo>
                  <a:lnTo>
                    <a:pt x="2524" y="381"/>
                  </a:lnTo>
                  <a:lnTo>
                    <a:pt x="2524" y="381"/>
                  </a:lnTo>
                  <a:lnTo>
                    <a:pt x="2524" y="378"/>
                  </a:lnTo>
                  <a:lnTo>
                    <a:pt x="2524" y="378"/>
                  </a:lnTo>
                  <a:lnTo>
                    <a:pt x="2523" y="377"/>
                  </a:lnTo>
                  <a:lnTo>
                    <a:pt x="2523" y="377"/>
                  </a:lnTo>
                  <a:lnTo>
                    <a:pt x="2517" y="368"/>
                  </a:lnTo>
                  <a:lnTo>
                    <a:pt x="2517" y="368"/>
                  </a:lnTo>
                  <a:lnTo>
                    <a:pt x="2514" y="364"/>
                  </a:lnTo>
                  <a:lnTo>
                    <a:pt x="2514" y="364"/>
                  </a:lnTo>
                  <a:lnTo>
                    <a:pt x="2514" y="361"/>
                  </a:lnTo>
                  <a:lnTo>
                    <a:pt x="2514" y="361"/>
                  </a:lnTo>
                  <a:lnTo>
                    <a:pt x="2514" y="359"/>
                  </a:lnTo>
                  <a:lnTo>
                    <a:pt x="2514" y="359"/>
                  </a:lnTo>
                  <a:lnTo>
                    <a:pt x="2514" y="359"/>
                  </a:lnTo>
                  <a:lnTo>
                    <a:pt x="2517" y="356"/>
                  </a:lnTo>
                  <a:lnTo>
                    <a:pt x="2517" y="356"/>
                  </a:lnTo>
                  <a:lnTo>
                    <a:pt x="2519" y="355"/>
                  </a:lnTo>
                  <a:lnTo>
                    <a:pt x="2519" y="355"/>
                  </a:lnTo>
                  <a:lnTo>
                    <a:pt x="2520" y="352"/>
                  </a:lnTo>
                  <a:lnTo>
                    <a:pt x="2519" y="352"/>
                  </a:lnTo>
                  <a:lnTo>
                    <a:pt x="2520" y="352"/>
                  </a:lnTo>
                  <a:lnTo>
                    <a:pt x="2520" y="352"/>
                  </a:lnTo>
                  <a:lnTo>
                    <a:pt x="2519" y="352"/>
                  </a:lnTo>
                  <a:lnTo>
                    <a:pt x="2520" y="352"/>
                  </a:lnTo>
                  <a:lnTo>
                    <a:pt x="2519" y="352"/>
                  </a:lnTo>
                  <a:lnTo>
                    <a:pt x="2519" y="353"/>
                  </a:lnTo>
                  <a:lnTo>
                    <a:pt x="2520" y="352"/>
                  </a:lnTo>
                  <a:lnTo>
                    <a:pt x="2519" y="352"/>
                  </a:lnTo>
                  <a:lnTo>
                    <a:pt x="2519" y="353"/>
                  </a:lnTo>
                  <a:lnTo>
                    <a:pt x="2519" y="353"/>
                  </a:lnTo>
                  <a:lnTo>
                    <a:pt x="2519" y="353"/>
                  </a:lnTo>
                  <a:lnTo>
                    <a:pt x="2520" y="353"/>
                  </a:lnTo>
                  <a:lnTo>
                    <a:pt x="2520" y="353"/>
                  </a:lnTo>
                  <a:lnTo>
                    <a:pt x="2522" y="353"/>
                  </a:lnTo>
                  <a:lnTo>
                    <a:pt x="2522" y="353"/>
                  </a:lnTo>
                  <a:lnTo>
                    <a:pt x="2524" y="353"/>
                  </a:lnTo>
                  <a:lnTo>
                    <a:pt x="2524" y="353"/>
                  </a:lnTo>
                  <a:lnTo>
                    <a:pt x="2524" y="353"/>
                  </a:lnTo>
                  <a:lnTo>
                    <a:pt x="2526" y="352"/>
                  </a:lnTo>
                  <a:lnTo>
                    <a:pt x="2526" y="352"/>
                  </a:lnTo>
                  <a:lnTo>
                    <a:pt x="2526" y="352"/>
                  </a:lnTo>
                  <a:lnTo>
                    <a:pt x="2527" y="350"/>
                  </a:lnTo>
                  <a:lnTo>
                    <a:pt x="2527" y="350"/>
                  </a:lnTo>
                  <a:lnTo>
                    <a:pt x="2526" y="349"/>
                  </a:lnTo>
                  <a:lnTo>
                    <a:pt x="2526" y="348"/>
                  </a:lnTo>
                  <a:lnTo>
                    <a:pt x="2526" y="348"/>
                  </a:lnTo>
                  <a:lnTo>
                    <a:pt x="2523" y="348"/>
                  </a:lnTo>
                  <a:lnTo>
                    <a:pt x="2523" y="348"/>
                  </a:lnTo>
                  <a:lnTo>
                    <a:pt x="2520" y="345"/>
                  </a:lnTo>
                  <a:lnTo>
                    <a:pt x="2520" y="345"/>
                  </a:lnTo>
                  <a:lnTo>
                    <a:pt x="2517" y="343"/>
                  </a:lnTo>
                  <a:lnTo>
                    <a:pt x="2517" y="343"/>
                  </a:lnTo>
                  <a:lnTo>
                    <a:pt x="2514" y="342"/>
                  </a:lnTo>
                  <a:lnTo>
                    <a:pt x="2514" y="342"/>
                  </a:lnTo>
                  <a:lnTo>
                    <a:pt x="2511" y="343"/>
                  </a:lnTo>
                  <a:lnTo>
                    <a:pt x="2511" y="343"/>
                  </a:lnTo>
                  <a:lnTo>
                    <a:pt x="2508" y="346"/>
                  </a:lnTo>
                  <a:lnTo>
                    <a:pt x="2508" y="348"/>
                  </a:lnTo>
                  <a:lnTo>
                    <a:pt x="2508" y="348"/>
                  </a:lnTo>
                  <a:lnTo>
                    <a:pt x="2508" y="348"/>
                  </a:lnTo>
                  <a:lnTo>
                    <a:pt x="2508" y="348"/>
                  </a:lnTo>
                  <a:lnTo>
                    <a:pt x="2508" y="348"/>
                  </a:lnTo>
                  <a:lnTo>
                    <a:pt x="2508" y="348"/>
                  </a:lnTo>
                  <a:lnTo>
                    <a:pt x="2508" y="348"/>
                  </a:lnTo>
                  <a:lnTo>
                    <a:pt x="2508" y="349"/>
                  </a:lnTo>
                  <a:lnTo>
                    <a:pt x="2508" y="348"/>
                  </a:lnTo>
                  <a:lnTo>
                    <a:pt x="2508" y="348"/>
                  </a:lnTo>
                  <a:lnTo>
                    <a:pt x="2508" y="349"/>
                  </a:lnTo>
                  <a:lnTo>
                    <a:pt x="2508" y="348"/>
                  </a:lnTo>
                  <a:lnTo>
                    <a:pt x="2508" y="349"/>
                  </a:lnTo>
                  <a:lnTo>
                    <a:pt x="2510" y="348"/>
                  </a:lnTo>
                  <a:lnTo>
                    <a:pt x="2508" y="348"/>
                  </a:lnTo>
                  <a:lnTo>
                    <a:pt x="2508" y="349"/>
                  </a:lnTo>
                  <a:lnTo>
                    <a:pt x="2510" y="348"/>
                  </a:lnTo>
                  <a:lnTo>
                    <a:pt x="2510" y="349"/>
                  </a:lnTo>
                  <a:lnTo>
                    <a:pt x="2510" y="348"/>
                  </a:lnTo>
                  <a:lnTo>
                    <a:pt x="2510" y="348"/>
                  </a:lnTo>
                  <a:lnTo>
                    <a:pt x="2510" y="349"/>
                  </a:lnTo>
                  <a:lnTo>
                    <a:pt x="2510" y="348"/>
                  </a:lnTo>
                  <a:lnTo>
                    <a:pt x="2510" y="348"/>
                  </a:lnTo>
                  <a:lnTo>
                    <a:pt x="2510" y="348"/>
                  </a:lnTo>
                  <a:lnTo>
                    <a:pt x="2510" y="346"/>
                  </a:lnTo>
                  <a:lnTo>
                    <a:pt x="2510" y="346"/>
                  </a:lnTo>
                  <a:lnTo>
                    <a:pt x="2510" y="343"/>
                  </a:lnTo>
                  <a:lnTo>
                    <a:pt x="2510" y="343"/>
                  </a:lnTo>
                  <a:lnTo>
                    <a:pt x="2510" y="336"/>
                  </a:lnTo>
                  <a:lnTo>
                    <a:pt x="2510" y="336"/>
                  </a:lnTo>
                  <a:lnTo>
                    <a:pt x="2511" y="333"/>
                  </a:lnTo>
                  <a:lnTo>
                    <a:pt x="2511" y="333"/>
                  </a:lnTo>
                  <a:lnTo>
                    <a:pt x="2511" y="333"/>
                  </a:lnTo>
                  <a:lnTo>
                    <a:pt x="2511" y="333"/>
                  </a:lnTo>
                  <a:lnTo>
                    <a:pt x="2511" y="333"/>
                  </a:lnTo>
                  <a:lnTo>
                    <a:pt x="2511" y="333"/>
                  </a:lnTo>
                  <a:lnTo>
                    <a:pt x="2511" y="333"/>
                  </a:lnTo>
                  <a:lnTo>
                    <a:pt x="2511" y="333"/>
                  </a:lnTo>
                  <a:lnTo>
                    <a:pt x="2511" y="333"/>
                  </a:lnTo>
                  <a:lnTo>
                    <a:pt x="2517" y="332"/>
                  </a:lnTo>
                  <a:lnTo>
                    <a:pt x="2517" y="332"/>
                  </a:lnTo>
                  <a:lnTo>
                    <a:pt x="2530" y="327"/>
                  </a:lnTo>
                  <a:lnTo>
                    <a:pt x="2530" y="327"/>
                  </a:lnTo>
                  <a:lnTo>
                    <a:pt x="2542" y="324"/>
                  </a:lnTo>
                  <a:lnTo>
                    <a:pt x="2542" y="324"/>
                  </a:lnTo>
                  <a:lnTo>
                    <a:pt x="2548" y="323"/>
                  </a:lnTo>
                  <a:lnTo>
                    <a:pt x="2548" y="323"/>
                  </a:lnTo>
                  <a:lnTo>
                    <a:pt x="2566" y="326"/>
                  </a:lnTo>
                  <a:lnTo>
                    <a:pt x="2566" y="326"/>
                  </a:lnTo>
                  <a:lnTo>
                    <a:pt x="2587" y="327"/>
                  </a:lnTo>
                  <a:lnTo>
                    <a:pt x="2587" y="327"/>
                  </a:lnTo>
                  <a:lnTo>
                    <a:pt x="2597" y="329"/>
                  </a:lnTo>
                  <a:lnTo>
                    <a:pt x="2610" y="332"/>
                  </a:lnTo>
                  <a:lnTo>
                    <a:pt x="2610" y="332"/>
                  </a:lnTo>
                  <a:lnTo>
                    <a:pt x="2621" y="336"/>
                  </a:lnTo>
                  <a:lnTo>
                    <a:pt x="2621" y="336"/>
                  </a:lnTo>
                  <a:lnTo>
                    <a:pt x="2624" y="337"/>
                  </a:lnTo>
                  <a:lnTo>
                    <a:pt x="2624" y="337"/>
                  </a:lnTo>
                  <a:lnTo>
                    <a:pt x="2624" y="337"/>
                  </a:lnTo>
                  <a:lnTo>
                    <a:pt x="2624" y="337"/>
                  </a:lnTo>
                  <a:lnTo>
                    <a:pt x="2624" y="337"/>
                  </a:lnTo>
                  <a:lnTo>
                    <a:pt x="2624" y="337"/>
                  </a:lnTo>
                  <a:lnTo>
                    <a:pt x="2624" y="337"/>
                  </a:lnTo>
                  <a:lnTo>
                    <a:pt x="2626" y="337"/>
                  </a:lnTo>
                  <a:lnTo>
                    <a:pt x="2624" y="337"/>
                  </a:lnTo>
                  <a:lnTo>
                    <a:pt x="2624" y="337"/>
                  </a:lnTo>
                  <a:lnTo>
                    <a:pt x="2624" y="337"/>
                  </a:lnTo>
                  <a:lnTo>
                    <a:pt x="2626" y="337"/>
                  </a:lnTo>
                  <a:lnTo>
                    <a:pt x="2624" y="337"/>
                  </a:lnTo>
                  <a:lnTo>
                    <a:pt x="2626" y="337"/>
                  </a:lnTo>
                  <a:lnTo>
                    <a:pt x="2624" y="335"/>
                  </a:lnTo>
                  <a:lnTo>
                    <a:pt x="2624" y="335"/>
                  </a:lnTo>
                  <a:lnTo>
                    <a:pt x="2624" y="337"/>
                  </a:lnTo>
                  <a:lnTo>
                    <a:pt x="2626" y="337"/>
                  </a:lnTo>
                  <a:lnTo>
                    <a:pt x="2624" y="335"/>
                  </a:lnTo>
                  <a:lnTo>
                    <a:pt x="2626" y="336"/>
                  </a:lnTo>
                  <a:lnTo>
                    <a:pt x="2626" y="335"/>
                  </a:lnTo>
                  <a:lnTo>
                    <a:pt x="2624" y="335"/>
                  </a:lnTo>
                  <a:lnTo>
                    <a:pt x="2626" y="336"/>
                  </a:lnTo>
                  <a:lnTo>
                    <a:pt x="2626" y="335"/>
                  </a:lnTo>
                  <a:lnTo>
                    <a:pt x="2624" y="335"/>
                  </a:lnTo>
                  <a:lnTo>
                    <a:pt x="2624" y="335"/>
                  </a:lnTo>
                  <a:lnTo>
                    <a:pt x="2617" y="335"/>
                  </a:lnTo>
                  <a:lnTo>
                    <a:pt x="2617" y="335"/>
                  </a:lnTo>
                  <a:lnTo>
                    <a:pt x="2604" y="330"/>
                  </a:lnTo>
                  <a:lnTo>
                    <a:pt x="2604" y="330"/>
                  </a:lnTo>
                  <a:lnTo>
                    <a:pt x="2598" y="329"/>
                  </a:lnTo>
                  <a:lnTo>
                    <a:pt x="2598" y="329"/>
                  </a:lnTo>
                  <a:lnTo>
                    <a:pt x="2594" y="329"/>
                  </a:lnTo>
                  <a:lnTo>
                    <a:pt x="2594" y="329"/>
                  </a:lnTo>
                  <a:lnTo>
                    <a:pt x="2588" y="329"/>
                  </a:lnTo>
                  <a:lnTo>
                    <a:pt x="2588" y="329"/>
                  </a:lnTo>
                  <a:lnTo>
                    <a:pt x="2585" y="332"/>
                  </a:lnTo>
                  <a:lnTo>
                    <a:pt x="2585" y="332"/>
                  </a:lnTo>
                  <a:lnTo>
                    <a:pt x="2584" y="335"/>
                  </a:lnTo>
                  <a:lnTo>
                    <a:pt x="2584" y="335"/>
                  </a:lnTo>
                  <a:lnTo>
                    <a:pt x="2585" y="336"/>
                  </a:lnTo>
                  <a:lnTo>
                    <a:pt x="2585" y="336"/>
                  </a:lnTo>
                  <a:lnTo>
                    <a:pt x="2585" y="336"/>
                  </a:lnTo>
                  <a:lnTo>
                    <a:pt x="2587" y="339"/>
                  </a:lnTo>
                  <a:lnTo>
                    <a:pt x="2587" y="339"/>
                  </a:lnTo>
                  <a:lnTo>
                    <a:pt x="2585" y="342"/>
                  </a:lnTo>
                  <a:lnTo>
                    <a:pt x="2585" y="342"/>
                  </a:lnTo>
                  <a:lnTo>
                    <a:pt x="2581" y="345"/>
                  </a:lnTo>
                  <a:lnTo>
                    <a:pt x="2581" y="345"/>
                  </a:lnTo>
                  <a:lnTo>
                    <a:pt x="2579" y="346"/>
                  </a:lnTo>
                  <a:lnTo>
                    <a:pt x="2579" y="346"/>
                  </a:lnTo>
                  <a:lnTo>
                    <a:pt x="2578" y="349"/>
                  </a:lnTo>
                  <a:lnTo>
                    <a:pt x="2578" y="349"/>
                  </a:lnTo>
                  <a:lnTo>
                    <a:pt x="2579" y="350"/>
                  </a:lnTo>
                  <a:lnTo>
                    <a:pt x="2579" y="350"/>
                  </a:lnTo>
                  <a:lnTo>
                    <a:pt x="2582" y="352"/>
                  </a:lnTo>
                  <a:lnTo>
                    <a:pt x="2582" y="352"/>
                  </a:lnTo>
                  <a:lnTo>
                    <a:pt x="2584" y="352"/>
                  </a:lnTo>
                  <a:lnTo>
                    <a:pt x="2584" y="352"/>
                  </a:lnTo>
                  <a:lnTo>
                    <a:pt x="2594" y="352"/>
                  </a:lnTo>
                  <a:lnTo>
                    <a:pt x="2594" y="352"/>
                  </a:lnTo>
                  <a:lnTo>
                    <a:pt x="2600" y="352"/>
                  </a:lnTo>
                  <a:lnTo>
                    <a:pt x="2600" y="352"/>
                  </a:lnTo>
                  <a:lnTo>
                    <a:pt x="2606" y="350"/>
                  </a:lnTo>
                  <a:lnTo>
                    <a:pt x="2606" y="350"/>
                  </a:lnTo>
                  <a:lnTo>
                    <a:pt x="2611" y="346"/>
                  </a:lnTo>
                  <a:lnTo>
                    <a:pt x="2611" y="346"/>
                  </a:lnTo>
                  <a:lnTo>
                    <a:pt x="2617" y="343"/>
                  </a:lnTo>
                  <a:lnTo>
                    <a:pt x="2617" y="343"/>
                  </a:lnTo>
                  <a:lnTo>
                    <a:pt x="2621" y="343"/>
                  </a:lnTo>
                  <a:lnTo>
                    <a:pt x="2621" y="343"/>
                  </a:lnTo>
                  <a:lnTo>
                    <a:pt x="2627" y="345"/>
                  </a:lnTo>
                  <a:lnTo>
                    <a:pt x="2627" y="345"/>
                  </a:lnTo>
                  <a:lnTo>
                    <a:pt x="2630" y="345"/>
                  </a:lnTo>
                  <a:lnTo>
                    <a:pt x="2630" y="345"/>
                  </a:lnTo>
                  <a:lnTo>
                    <a:pt x="2633" y="342"/>
                  </a:lnTo>
                  <a:lnTo>
                    <a:pt x="2633" y="342"/>
                  </a:lnTo>
                  <a:lnTo>
                    <a:pt x="2633" y="342"/>
                  </a:lnTo>
                  <a:lnTo>
                    <a:pt x="2633" y="342"/>
                  </a:lnTo>
                  <a:lnTo>
                    <a:pt x="2633" y="342"/>
                  </a:lnTo>
                  <a:lnTo>
                    <a:pt x="2633" y="342"/>
                  </a:lnTo>
                  <a:lnTo>
                    <a:pt x="2633" y="342"/>
                  </a:lnTo>
                  <a:lnTo>
                    <a:pt x="2633" y="342"/>
                  </a:lnTo>
                  <a:lnTo>
                    <a:pt x="2633" y="342"/>
                  </a:lnTo>
                  <a:lnTo>
                    <a:pt x="2633" y="342"/>
                  </a:lnTo>
                  <a:lnTo>
                    <a:pt x="2637" y="340"/>
                  </a:lnTo>
                  <a:lnTo>
                    <a:pt x="2637" y="340"/>
                  </a:lnTo>
                  <a:lnTo>
                    <a:pt x="2637" y="340"/>
                  </a:lnTo>
                  <a:lnTo>
                    <a:pt x="2642" y="342"/>
                  </a:lnTo>
                  <a:lnTo>
                    <a:pt x="2646" y="343"/>
                  </a:lnTo>
                  <a:lnTo>
                    <a:pt x="2646" y="343"/>
                  </a:lnTo>
                  <a:lnTo>
                    <a:pt x="2650" y="345"/>
                  </a:lnTo>
                  <a:lnTo>
                    <a:pt x="2656" y="346"/>
                  </a:lnTo>
                  <a:lnTo>
                    <a:pt x="2656" y="346"/>
                  </a:lnTo>
                  <a:lnTo>
                    <a:pt x="2662" y="346"/>
                  </a:lnTo>
                  <a:lnTo>
                    <a:pt x="2668" y="349"/>
                  </a:lnTo>
                  <a:lnTo>
                    <a:pt x="2668" y="349"/>
                  </a:lnTo>
                  <a:lnTo>
                    <a:pt x="2672" y="352"/>
                  </a:lnTo>
                  <a:lnTo>
                    <a:pt x="2674" y="355"/>
                  </a:lnTo>
                  <a:lnTo>
                    <a:pt x="2674" y="355"/>
                  </a:lnTo>
                  <a:lnTo>
                    <a:pt x="2675" y="361"/>
                  </a:lnTo>
                  <a:lnTo>
                    <a:pt x="2676" y="366"/>
                  </a:lnTo>
                  <a:lnTo>
                    <a:pt x="2676" y="366"/>
                  </a:lnTo>
                  <a:lnTo>
                    <a:pt x="2676" y="368"/>
                  </a:lnTo>
                  <a:lnTo>
                    <a:pt x="2676" y="368"/>
                  </a:lnTo>
                  <a:lnTo>
                    <a:pt x="2676" y="369"/>
                  </a:lnTo>
                  <a:lnTo>
                    <a:pt x="2676" y="368"/>
                  </a:lnTo>
                  <a:lnTo>
                    <a:pt x="2676" y="368"/>
                  </a:lnTo>
                  <a:lnTo>
                    <a:pt x="2676" y="369"/>
                  </a:lnTo>
                  <a:lnTo>
                    <a:pt x="2676" y="368"/>
                  </a:lnTo>
                  <a:lnTo>
                    <a:pt x="2678" y="369"/>
                  </a:lnTo>
                  <a:lnTo>
                    <a:pt x="2678" y="368"/>
                  </a:lnTo>
                  <a:lnTo>
                    <a:pt x="2676" y="368"/>
                  </a:lnTo>
                  <a:lnTo>
                    <a:pt x="2678" y="369"/>
                  </a:lnTo>
                  <a:lnTo>
                    <a:pt x="2678" y="368"/>
                  </a:lnTo>
                  <a:lnTo>
                    <a:pt x="2678" y="369"/>
                  </a:lnTo>
                  <a:lnTo>
                    <a:pt x="2678" y="368"/>
                  </a:lnTo>
                  <a:lnTo>
                    <a:pt x="2678" y="368"/>
                  </a:lnTo>
                  <a:lnTo>
                    <a:pt x="2678" y="369"/>
                  </a:lnTo>
                  <a:lnTo>
                    <a:pt x="2678" y="368"/>
                  </a:lnTo>
                  <a:lnTo>
                    <a:pt x="2678" y="368"/>
                  </a:lnTo>
                  <a:lnTo>
                    <a:pt x="2675" y="366"/>
                  </a:lnTo>
                  <a:lnTo>
                    <a:pt x="2675" y="366"/>
                  </a:lnTo>
                  <a:lnTo>
                    <a:pt x="2669" y="365"/>
                  </a:lnTo>
                  <a:lnTo>
                    <a:pt x="2669" y="365"/>
                  </a:lnTo>
                  <a:lnTo>
                    <a:pt x="2666" y="366"/>
                  </a:lnTo>
                  <a:lnTo>
                    <a:pt x="2666" y="366"/>
                  </a:lnTo>
                  <a:lnTo>
                    <a:pt x="2665" y="369"/>
                  </a:lnTo>
                  <a:lnTo>
                    <a:pt x="2665" y="369"/>
                  </a:lnTo>
                  <a:lnTo>
                    <a:pt x="2663" y="371"/>
                  </a:lnTo>
                  <a:lnTo>
                    <a:pt x="2663" y="371"/>
                  </a:lnTo>
                  <a:lnTo>
                    <a:pt x="2665" y="372"/>
                  </a:lnTo>
                  <a:lnTo>
                    <a:pt x="2665" y="372"/>
                  </a:lnTo>
                  <a:lnTo>
                    <a:pt x="2668" y="375"/>
                  </a:lnTo>
                  <a:lnTo>
                    <a:pt x="2668" y="375"/>
                  </a:lnTo>
                  <a:lnTo>
                    <a:pt x="2672" y="377"/>
                  </a:lnTo>
                  <a:lnTo>
                    <a:pt x="2672" y="377"/>
                  </a:lnTo>
                  <a:lnTo>
                    <a:pt x="2675" y="379"/>
                  </a:lnTo>
                  <a:lnTo>
                    <a:pt x="2675" y="379"/>
                  </a:lnTo>
                  <a:lnTo>
                    <a:pt x="2684" y="394"/>
                  </a:lnTo>
                  <a:lnTo>
                    <a:pt x="2684" y="394"/>
                  </a:lnTo>
                  <a:lnTo>
                    <a:pt x="2690" y="403"/>
                  </a:lnTo>
                  <a:lnTo>
                    <a:pt x="2690" y="403"/>
                  </a:lnTo>
                  <a:lnTo>
                    <a:pt x="2695" y="407"/>
                  </a:lnTo>
                  <a:lnTo>
                    <a:pt x="2695" y="407"/>
                  </a:lnTo>
                  <a:lnTo>
                    <a:pt x="2704" y="414"/>
                  </a:lnTo>
                  <a:lnTo>
                    <a:pt x="2704" y="414"/>
                  </a:lnTo>
                  <a:lnTo>
                    <a:pt x="2711" y="417"/>
                  </a:lnTo>
                  <a:lnTo>
                    <a:pt x="2717" y="417"/>
                  </a:lnTo>
                  <a:lnTo>
                    <a:pt x="2717" y="417"/>
                  </a:lnTo>
                  <a:lnTo>
                    <a:pt x="2724" y="417"/>
                  </a:lnTo>
                  <a:lnTo>
                    <a:pt x="2724" y="417"/>
                  </a:lnTo>
                  <a:lnTo>
                    <a:pt x="2742" y="413"/>
                  </a:lnTo>
                  <a:lnTo>
                    <a:pt x="2758" y="410"/>
                  </a:lnTo>
                  <a:lnTo>
                    <a:pt x="2758" y="410"/>
                  </a:lnTo>
                  <a:lnTo>
                    <a:pt x="2775" y="408"/>
                  </a:lnTo>
                  <a:lnTo>
                    <a:pt x="2794" y="407"/>
                  </a:lnTo>
                  <a:lnTo>
                    <a:pt x="2794" y="407"/>
                  </a:lnTo>
                  <a:lnTo>
                    <a:pt x="2802" y="407"/>
                  </a:lnTo>
                  <a:lnTo>
                    <a:pt x="2808" y="408"/>
                  </a:lnTo>
                  <a:lnTo>
                    <a:pt x="2808" y="408"/>
                  </a:lnTo>
                  <a:lnTo>
                    <a:pt x="2814" y="414"/>
                  </a:lnTo>
                  <a:lnTo>
                    <a:pt x="2818" y="421"/>
                  </a:lnTo>
                  <a:lnTo>
                    <a:pt x="2818" y="421"/>
                  </a:lnTo>
                  <a:lnTo>
                    <a:pt x="2826" y="436"/>
                  </a:lnTo>
                  <a:lnTo>
                    <a:pt x="2826" y="436"/>
                  </a:lnTo>
                  <a:lnTo>
                    <a:pt x="2829" y="443"/>
                  </a:lnTo>
                  <a:lnTo>
                    <a:pt x="2829" y="443"/>
                  </a:lnTo>
                  <a:lnTo>
                    <a:pt x="2830" y="449"/>
                  </a:lnTo>
                  <a:lnTo>
                    <a:pt x="2830" y="449"/>
                  </a:lnTo>
                  <a:lnTo>
                    <a:pt x="2830" y="450"/>
                  </a:lnTo>
                  <a:lnTo>
                    <a:pt x="2830" y="450"/>
                  </a:lnTo>
                  <a:lnTo>
                    <a:pt x="2829" y="452"/>
                  </a:lnTo>
                  <a:lnTo>
                    <a:pt x="2829" y="453"/>
                  </a:lnTo>
                  <a:lnTo>
                    <a:pt x="2829" y="453"/>
                  </a:lnTo>
                  <a:lnTo>
                    <a:pt x="2827" y="455"/>
                  </a:lnTo>
                  <a:lnTo>
                    <a:pt x="2827" y="455"/>
                  </a:lnTo>
                  <a:lnTo>
                    <a:pt x="2829" y="458"/>
                  </a:lnTo>
                  <a:lnTo>
                    <a:pt x="2829" y="458"/>
                  </a:lnTo>
                  <a:lnTo>
                    <a:pt x="2830" y="461"/>
                  </a:lnTo>
                  <a:lnTo>
                    <a:pt x="2830" y="461"/>
                  </a:lnTo>
                  <a:lnTo>
                    <a:pt x="2842" y="474"/>
                  </a:lnTo>
                  <a:lnTo>
                    <a:pt x="2842" y="474"/>
                  </a:lnTo>
                  <a:lnTo>
                    <a:pt x="2846" y="478"/>
                  </a:lnTo>
                  <a:lnTo>
                    <a:pt x="2849" y="479"/>
                  </a:lnTo>
                  <a:lnTo>
                    <a:pt x="2849" y="479"/>
                  </a:lnTo>
                  <a:lnTo>
                    <a:pt x="2850" y="482"/>
                  </a:lnTo>
                  <a:lnTo>
                    <a:pt x="2850" y="482"/>
                  </a:lnTo>
                  <a:lnTo>
                    <a:pt x="2852" y="482"/>
                  </a:lnTo>
                  <a:lnTo>
                    <a:pt x="2850" y="482"/>
                  </a:lnTo>
                  <a:lnTo>
                    <a:pt x="2850" y="482"/>
                  </a:lnTo>
                  <a:lnTo>
                    <a:pt x="2852" y="482"/>
                  </a:lnTo>
                  <a:lnTo>
                    <a:pt x="2850" y="482"/>
                  </a:lnTo>
                  <a:lnTo>
                    <a:pt x="2852" y="482"/>
                  </a:lnTo>
                  <a:lnTo>
                    <a:pt x="2850" y="482"/>
                  </a:lnTo>
                  <a:lnTo>
                    <a:pt x="2850" y="482"/>
                  </a:lnTo>
                  <a:lnTo>
                    <a:pt x="2852" y="482"/>
                  </a:lnTo>
                  <a:lnTo>
                    <a:pt x="2850" y="482"/>
                  </a:lnTo>
                  <a:lnTo>
                    <a:pt x="2850" y="482"/>
                  </a:lnTo>
                  <a:lnTo>
                    <a:pt x="2850" y="482"/>
                  </a:lnTo>
                  <a:lnTo>
                    <a:pt x="2850" y="482"/>
                  </a:lnTo>
                  <a:lnTo>
                    <a:pt x="2850" y="484"/>
                  </a:lnTo>
                  <a:lnTo>
                    <a:pt x="2850" y="484"/>
                  </a:lnTo>
                  <a:lnTo>
                    <a:pt x="2850" y="487"/>
                  </a:lnTo>
                  <a:lnTo>
                    <a:pt x="2850" y="487"/>
                  </a:lnTo>
                  <a:lnTo>
                    <a:pt x="2852" y="497"/>
                  </a:lnTo>
                  <a:lnTo>
                    <a:pt x="2852" y="497"/>
                  </a:lnTo>
                  <a:lnTo>
                    <a:pt x="2853" y="501"/>
                  </a:lnTo>
                  <a:lnTo>
                    <a:pt x="2853" y="501"/>
                  </a:lnTo>
                  <a:lnTo>
                    <a:pt x="2853" y="503"/>
                  </a:lnTo>
                  <a:lnTo>
                    <a:pt x="2853" y="503"/>
                  </a:lnTo>
                  <a:lnTo>
                    <a:pt x="2856" y="504"/>
                  </a:lnTo>
                  <a:lnTo>
                    <a:pt x="2856" y="504"/>
                  </a:lnTo>
                  <a:lnTo>
                    <a:pt x="2859" y="504"/>
                  </a:lnTo>
                  <a:lnTo>
                    <a:pt x="2859" y="504"/>
                  </a:lnTo>
                  <a:lnTo>
                    <a:pt x="2859" y="504"/>
                  </a:lnTo>
                  <a:lnTo>
                    <a:pt x="2859" y="504"/>
                  </a:lnTo>
                  <a:lnTo>
                    <a:pt x="2860" y="501"/>
                  </a:lnTo>
                  <a:lnTo>
                    <a:pt x="2860" y="501"/>
                  </a:lnTo>
                  <a:lnTo>
                    <a:pt x="2860" y="495"/>
                  </a:lnTo>
                  <a:lnTo>
                    <a:pt x="2860" y="495"/>
                  </a:lnTo>
                  <a:lnTo>
                    <a:pt x="2862" y="485"/>
                  </a:lnTo>
                  <a:lnTo>
                    <a:pt x="2862" y="485"/>
                  </a:lnTo>
                  <a:lnTo>
                    <a:pt x="2862" y="481"/>
                  </a:lnTo>
                  <a:lnTo>
                    <a:pt x="2862" y="481"/>
                  </a:lnTo>
                  <a:lnTo>
                    <a:pt x="2862" y="478"/>
                  </a:lnTo>
                  <a:lnTo>
                    <a:pt x="2862" y="478"/>
                  </a:lnTo>
                  <a:lnTo>
                    <a:pt x="2868" y="471"/>
                  </a:lnTo>
                  <a:lnTo>
                    <a:pt x="2872" y="468"/>
                  </a:lnTo>
                  <a:lnTo>
                    <a:pt x="2878" y="465"/>
                  </a:lnTo>
                  <a:lnTo>
                    <a:pt x="2878" y="465"/>
                  </a:lnTo>
                  <a:lnTo>
                    <a:pt x="2885" y="463"/>
                  </a:lnTo>
                  <a:lnTo>
                    <a:pt x="2885" y="463"/>
                  </a:lnTo>
                  <a:lnTo>
                    <a:pt x="2900" y="465"/>
                  </a:lnTo>
                  <a:lnTo>
                    <a:pt x="2913" y="468"/>
                  </a:lnTo>
                  <a:lnTo>
                    <a:pt x="2913" y="468"/>
                  </a:lnTo>
                  <a:lnTo>
                    <a:pt x="2926" y="471"/>
                  </a:lnTo>
                  <a:lnTo>
                    <a:pt x="2926" y="471"/>
                  </a:lnTo>
                  <a:lnTo>
                    <a:pt x="2943" y="472"/>
                  </a:lnTo>
                  <a:lnTo>
                    <a:pt x="2943" y="472"/>
                  </a:lnTo>
                  <a:lnTo>
                    <a:pt x="2950" y="472"/>
                  </a:lnTo>
                  <a:lnTo>
                    <a:pt x="2950" y="472"/>
                  </a:lnTo>
                  <a:lnTo>
                    <a:pt x="2953" y="471"/>
                  </a:lnTo>
                  <a:lnTo>
                    <a:pt x="2955" y="469"/>
                  </a:lnTo>
                  <a:lnTo>
                    <a:pt x="2955" y="469"/>
                  </a:lnTo>
                  <a:lnTo>
                    <a:pt x="2956" y="468"/>
                  </a:lnTo>
                  <a:lnTo>
                    <a:pt x="2956" y="468"/>
                  </a:lnTo>
                  <a:lnTo>
                    <a:pt x="2956" y="463"/>
                  </a:lnTo>
                  <a:lnTo>
                    <a:pt x="2956" y="463"/>
                  </a:lnTo>
                  <a:lnTo>
                    <a:pt x="2956" y="463"/>
                  </a:lnTo>
                  <a:lnTo>
                    <a:pt x="2956" y="463"/>
                  </a:lnTo>
                  <a:lnTo>
                    <a:pt x="2956" y="463"/>
                  </a:lnTo>
                  <a:lnTo>
                    <a:pt x="2956" y="463"/>
                  </a:lnTo>
                  <a:lnTo>
                    <a:pt x="2956" y="463"/>
                  </a:lnTo>
                  <a:lnTo>
                    <a:pt x="2956" y="463"/>
                  </a:lnTo>
                  <a:lnTo>
                    <a:pt x="2956" y="462"/>
                  </a:lnTo>
                  <a:lnTo>
                    <a:pt x="2956" y="463"/>
                  </a:lnTo>
                  <a:lnTo>
                    <a:pt x="2956" y="463"/>
                  </a:lnTo>
                  <a:lnTo>
                    <a:pt x="2956" y="462"/>
                  </a:lnTo>
                  <a:lnTo>
                    <a:pt x="2956" y="463"/>
                  </a:lnTo>
                  <a:lnTo>
                    <a:pt x="2956" y="463"/>
                  </a:lnTo>
                  <a:lnTo>
                    <a:pt x="2956" y="463"/>
                  </a:lnTo>
                  <a:lnTo>
                    <a:pt x="2956" y="463"/>
                  </a:lnTo>
                  <a:lnTo>
                    <a:pt x="2956" y="463"/>
                  </a:lnTo>
                  <a:lnTo>
                    <a:pt x="2956" y="463"/>
                  </a:lnTo>
                  <a:lnTo>
                    <a:pt x="2956" y="463"/>
                  </a:lnTo>
                  <a:lnTo>
                    <a:pt x="2956" y="463"/>
                  </a:lnTo>
                  <a:lnTo>
                    <a:pt x="2956" y="463"/>
                  </a:lnTo>
                  <a:lnTo>
                    <a:pt x="2956" y="463"/>
                  </a:lnTo>
                  <a:lnTo>
                    <a:pt x="2956" y="463"/>
                  </a:lnTo>
                  <a:lnTo>
                    <a:pt x="2956" y="463"/>
                  </a:lnTo>
                  <a:lnTo>
                    <a:pt x="2957" y="466"/>
                  </a:lnTo>
                  <a:lnTo>
                    <a:pt x="2957" y="466"/>
                  </a:lnTo>
                  <a:lnTo>
                    <a:pt x="2959" y="475"/>
                  </a:lnTo>
                  <a:lnTo>
                    <a:pt x="2959" y="475"/>
                  </a:lnTo>
                  <a:lnTo>
                    <a:pt x="2959" y="479"/>
                  </a:lnTo>
                  <a:lnTo>
                    <a:pt x="2960" y="484"/>
                  </a:lnTo>
                  <a:lnTo>
                    <a:pt x="2960" y="484"/>
                  </a:lnTo>
                  <a:lnTo>
                    <a:pt x="2965" y="488"/>
                  </a:lnTo>
                  <a:lnTo>
                    <a:pt x="2965" y="488"/>
                  </a:lnTo>
                  <a:lnTo>
                    <a:pt x="2972" y="494"/>
                  </a:lnTo>
                  <a:lnTo>
                    <a:pt x="2972" y="494"/>
                  </a:lnTo>
                  <a:lnTo>
                    <a:pt x="2973" y="497"/>
                  </a:lnTo>
                  <a:lnTo>
                    <a:pt x="2975" y="497"/>
                  </a:lnTo>
                  <a:lnTo>
                    <a:pt x="2975" y="497"/>
                  </a:lnTo>
                  <a:lnTo>
                    <a:pt x="2975" y="497"/>
                  </a:lnTo>
                  <a:lnTo>
                    <a:pt x="2975" y="497"/>
                  </a:lnTo>
                  <a:lnTo>
                    <a:pt x="2975" y="497"/>
                  </a:lnTo>
                  <a:lnTo>
                    <a:pt x="2975" y="497"/>
                  </a:lnTo>
                  <a:lnTo>
                    <a:pt x="2975" y="497"/>
                  </a:lnTo>
                  <a:lnTo>
                    <a:pt x="2975" y="497"/>
                  </a:lnTo>
                  <a:lnTo>
                    <a:pt x="2975" y="497"/>
                  </a:lnTo>
                  <a:lnTo>
                    <a:pt x="2975" y="497"/>
                  </a:lnTo>
                  <a:lnTo>
                    <a:pt x="2975" y="497"/>
                  </a:lnTo>
                  <a:lnTo>
                    <a:pt x="2975" y="497"/>
                  </a:lnTo>
                  <a:lnTo>
                    <a:pt x="2976" y="497"/>
                  </a:lnTo>
                  <a:lnTo>
                    <a:pt x="2975" y="497"/>
                  </a:lnTo>
                  <a:lnTo>
                    <a:pt x="2975" y="498"/>
                  </a:lnTo>
                  <a:lnTo>
                    <a:pt x="2975" y="498"/>
                  </a:lnTo>
                  <a:lnTo>
                    <a:pt x="2975" y="503"/>
                  </a:lnTo>
                  <a:lnTo>
                    <a:pt x="2975" y="503"/>
                  </a:lnTo>
                  <a:lnTo>
                    <a:pt x="2978" y="511"/>
                  </a:lnTo>
                  <a:lnTo>
                    <a:pt x="2978" y="511"/>
                  </a:lnTo>
                  <a:lnTo>
                    <a:pt x="2979" y="516"/>
                  </a:lnTo>
                  <a:lnTo>
                    <a:pt x="2979" y="516"/>
                  </a:lnTo>
                  <a:lnTo>
                    <a:pt x="2981" y="516"/>
                  </a:lnTo>
                  <a:lnTo>
                    <a:pt x="2981" y="517"/>
                  </a:lnTo>
                  <a:lnTo>
                    <a:pt x="2981" y="517"/>
                  </a:lnTo>
                  <a:lnTo>
                    <a:pt x="2982" y="517"/>
                  </a:lnTo>
                  <a:lnTo>
                    <a:pt x="2982" y="517"/>
                  </a:lnTo>
                  <a:lnTo>
                    <a:pt x="2985" y="517"/>
                  </a:lnTo>
                  <a:lnTo>
                    <a:pt x="2985" y="516"/>
                  </a:lnTo>
                  <a:lnTo>
                    <a:pt x="2985" y="516"/>
                  </a:lnTo>
                  <a:lnTo>
                    <a:pt x="2985" y="516"/>
                  </a:lnTo>
                  <a:lnTo>
                    <a:pt x="2985" y="514"/>
                  </a:lnTo>
                  <a:lnTo>
                    <a:pt x="2985" y="514"/>
                  </a:lnTo>
                  <a:lnTo>
                    <a:pt x="2986" y="508"/>
                  </a:lnTo>
                  <a:lnTo>
                    <a:pt x="2986" y="508"/>
                  </a:lnTo>
                  <a:lnTo>
                    <a:pt x="2986" y="507"/>
                  </a:lnTo>
                  <a:lnTo>
                    <a:pt x="2988" y="507"/>
                  </a:lnTo>
                  <a:lnTo>
                    <a:pt x="2988" y="507"/>
                  </a:lnTo>
                  <a:lnTo>
                    <a:pt x="2986" y="505"/>
                  </a:lnTo>
                  <a:lnTo>
                    <a:pt x="2986" y="507"/>
                  </a:lnTo>
                  <a:lnTo>
                    <a:pt x="2988" y="507"/>
                  </a:lnTo>
                  <a:lnTo>
                    <a:pt x="2986" y="505"/>
                  </a:lnTo>
                  <a:lnTo>
                    <a:pt x="2986" y="507"/>
                  </a:lnTo>
                  <a:lnTo>
                    <a:pt x="2985" y="505"/>
                  </a:lnTo>
                  <a:lnTo>
                    <a:pt x="2985" y="507"/>
                  </a:lnTo>
                  <a:lnTo>
                    <a:pt x="2985" y="507"/>
                  </a:lnTo>
                  <a:lnTo>
                    <a:pt x="2986" y="507"/>
                  </a:lnTo>
                  <a:lnTo>
                    <a:pt x="2985" y="505"/>
                  </a:lnTo>
                  <a:lnTo>
                    <a:pt x="2985" y="507"/>
                  </a:lnTo>
                  <a:lnTo>
                    <a:pt x="2985" y="505"/>
                  </a:lnTo>
                  <a:lnTo>
                    <a:pt x="2984" y="507"/>
                  </a:lnTo>
                  <a:lnTo>
                    <a:pt x="2984" y="507"/>
                  </a:lnTo>
                  <a:lnTo>
                    <a:pt x="2985" y="507"/>
                  </a:lnTo>
                  <a:lnTo>
                    <a:pt x="2985" y="505"/>
                  </a:lnTo>
                  <a:lnTo>
                    <a:pt x="2984" y="507"/>
                  </a:lnTo>
                  <a:lnTo>
                    <a:pt x="2984" y="507"/>
                  </a:lnTo>
                  <a:lnTo>
                    <a:pt x="2984" y="507"/>
                  </a:lnTo>
                  <a:lnTo>
                    <a:pt x="2985" y="508"/>
                  </a:lnTo>
                  <a:lnTo>
                    <a:pt x="2985" y="508"/>
                  </a:lnTo>
                  <a:lnTo>
                    <a:pt x="2988" y="513"/>
                  </a:lnTo>
                  <a:lnTo>
                    <a:pt x="2988" y="513"/>
                  </a:lnTo>
                  <a:lnTo>
                    <a:pt x="2989" y="516"/>
                  </a:lnTo>
                  <a:lnTo>
                    <a:pt x="2989" y="516"/>
                  </a:lnTo>
                  <a:lnTo>
                    <a:pt x="2994" y="516"/>
                  </a:lnTo>
                  <a:lnTo>
                    <a:pt x="2994" y="516"/>
                  </a:lnTo>
                  <a:lnTo>
                    <a:pt x="2995" y="516"/>
                  </a:lnTo>
                  <a:lnTo>
                    <a:pt x="2995" y="516"/>
                  </a:lnTo>
                  <a:lnTo>
                    <a:pt x="2997" y="514"/>
                  </a:lnTo>
                  <a:lnTo>
                    <a:pt x="2998" y="511"/>
                  </a:lnTo>
                  <a:lnTo>
                    <a:pt x="2998" y="511"/>
                  </a:lnTo>
                  <a:lnTo>
                    <a:pt x="3001" y="505"/>
                  </a:lnTo>
                  <a:lnTo>
                    <a:pt x="3001" y="505"/>
                  </a:lnTo>
                  <a:lnTo>
                    <a:pt x="3002" y="503"/>
                  </a:lnTo>
                  <a:lnTo>
                    <a:pt x="3002" y="503"/>
                  </a:lnTo>
                  <a:lnTo>
                    <a:pt x="3002" y="503"/>
                  </a:lnTo>
                  <a:lnTo>
                    <a:pt x="3002" y="503"/>
                  </a:lnTo>
                  <a:lnTo>
                    <a:pt x="3002" y="503"/>
                  </a:lnTo>
                  <a:lnTo>
                    <a:pt x="3002" y="503"/>
                  </a:lnTo>
                  <a:lnTo>
                    <a:pt x="3002" y="503"/>
                  </a:lnTo>
                  <a:lnTo>
                    <a:pt x="3001" y="503"/>
                  </a:lnTo>
                  <a:lnTo>
                    <a:pt x="3002" y="503"/>
                  </a:lnTo>
                  <a:lnTo>
                    <a:pt x="3002" y="503"/>
                  </a:lnTo>
                  <a:lnTo>
                    <a:pt x="3001" y="503"/>
                  </a:lnTo>
                  <a:lnTo>
                    <a:pt x="3002" y="503"/>
                  </a:lnTo>
                  <a:lnTo>
                    <a:pt x="3002" y="503"/>
                  </a:lnTo>
                  <a:lnTo>
                    <a:pt x="3007" y="501"/>
                  </a:lnTo>
                  <a:lnTo>
                    <a:pt x="3007" y="501"/>
                  </a:lnTo>
                  <a:lnTo>
                    <a:pt x="3008" y="498"/>
                  </a:lnTo>
                  <a:lnTo>
                    <a:pt x="3008" y="498"/>
                  </a:lnTo>
                  <a:lnTo>
                    <a:pt x="3010" y="495"/>
                  </a:lnTo>
                  <a:lnTo>
                    <a:pt x="3010" y="495"/>
                  </a:lnTo>
                  <a:lnTo>
                    <a:pt x="3008" y="492"/>
                  </a:lnTo>
                  <a:lnTo>
                    <a:pt x="3007" y="491"/>
                  </a:lnTo>
                  <a:lnTo>
                    <a:pt x="3007" y="491"/>
                  </a:lnTo>
                  <a:lnTo>
                    <a:pt x="3005" y="488"/>
                  </a:lnTo>
                  <a:lnTo>
                    <a:pt x="3004" y="487"/>
                  </a:lnTo>
                  <a:lnTo>
                    <a:pt x="3004" y="487"/>
                  </a:lnTo>
                  <a:lnTo>
                    <a:pt x="3005" y="482"/>
                  </a:lnTo>
                  <a:lnTo>
                    <a:pt x="3005" y="482"/>
                  </a:lnTo>
                  <a:lnTo>
                    <a:pt x="3007" y="479"/>
                  </a:lnTo>
                  <a:lnTo>
                    <a:pt x="3007" y="479"/>
                  </a:lnTo>
                  <a:lnTo>
                    <a:pt x="3007" y="476"/>
                  </a:lnTo>
                  <a:lnTo>
                    <a:pt x="3007" y="476"/>
                  </a:lnTo>
                  <a:lnTo>
                    <a:pt x="3005" y="474"/>
                  </a:lnTo>
                  <a:lnTo>
                    <a:pt x="3005" y="474"/>
                  </a:lnTo>
                  <a:lnTo>
                    <a:pt x="3002" y="472"/>
                  </a:lnTo>
                  <a:lnTo>
                    <a:pt x="3002" y="472"/>
                  </a:lnTo>
                  <a:lnTo>
                    <a:pt x="2998" y="469"/>
                  </a:lnTo>
                  <a:lnTo>
                    <a:pt x="2998" y="469"/>
                  </a:lnTo>
                  <a:lnTo>
                    <a:pt x="2997" y="465"/>
                  </a:lnTo>
                  <a:lnTo>
                    <a:pt x="2997" y="465"/>
                  </a:lnTo>
                  <a:lnTo>
                    <a:pt x="2997" y="465"/>
                  </a:lnTo>
                  <a:lnTo>
                    <a:pt x="2997" y="465"/>
                  </a:lnTo>
                  <a:lnTo>
                    <a:pt x="2997" y="465"/>
                  </a:lnTo>
                  <a:lnTo>
                    <a:pt x="2998" y="463"/>
                  </a:lnTo>
                  <a:lnTo>
                    <a:pt x="2998" y="463"/>
                  </a:lnTo>
                  <a:lnTo>
                    <a:pt x="3002" y="462"/>
                  </a:lnTo>
                  <a:lnTo>
                    <a:pt x="3002" y="462"/>
                  </a:lnTo>
                  <a:lnTo>
                    <a:pt x="3004" y="461"/>
                  </a:lnTo>
                  <a:lnTo>
                    <a:pt x="3004" y="461"/>
                  </a:lnTo>
                  <a:lnTo>
                    <a:pt x="3005" y="461"/>
                  </a:lnTo>
                  <a:lnTo>
                    <a:pt x="3005" y="461"/>
                  </a:lnTo>
                  <a:lnTo>
                    <a:pt x="3007" y="458"/>
                  </a:lnTo>
                  <a:lnTo>
                    <a:pt x="3007" y="458"/>
                  </a:lnTo>
                  <a:lnTo>
                    <a:pt x="3005" y="455"/>
                  </a:lnTo>
                  <a:lnTo>
                    <a:pt x="3005" y="455"/>
                  </a:lnTo>
                  <a:lnTo>
                    <a:pt x="3005" y="455"/>
                  </a:lnTo>
                  <a:lnTo>
                    <a:pt x="3002" y="453"/>
                  </a:lnTo>
                  <a:lnTo>
                    <a:pt x="3002" y="453"/>
                  </a:lnTo>
                  <a:lnTo>
                    <a:pt x="3002" y="452"/>
                  </a:lnTo>
                  <a:lnTo>
                    <a:pt x="3002" y="452"/>
                  </a:lnTo>
                  <a:lnTo>
                    <a:pt x="3002" y="449"/>
                  </a:lnTo>
                  <a:lnTo>
                    <a:pt x="3004" y="449"/>
                  </a:lnTo>
                  <a:lnTo>
                    <a:pt x="3004" y="449"/>
                  </a:lnTo>
                  <a:lnTo>
                    <a:pt x="3005" y="450"/>
                  </a:lnTo>
                  <a:lnTo>
                    <a:pt x="3005" y="450"/>
                  </a:lnTo>
                  <a:lnTo>
                    <a:pt x="3013" y="453"/>
                  </a:lnTo>
                  <a:lnTo>
                    <a:pt x="3017" y="455"/>
                  </a:lnTo>
                  <a:lnTo>
                    <a:pt x="3023" y="456"/>
                  </a:lnTo>
                  <a:lnTo>
                    <a:pt x="3023" y="456"/>
                  </a:lnTo>
                  <a:lnTo>
                    <a:pt x="3028" y="456"/>
                  </a:lnTo>
                  <a:lnTo>
                    <a:pt x="3028" y="456"/>
                  </a:lnTo>
                  <a:lnTo>
                    <a:pt x="3060" y="456"/>
                  </a:lnTo>
                  <a:lnTo>
                    <a:pt x="3060" y="456"/>
                  </a:lnTo>
                  <a:lnTo>
                    <a:pt x="3072" y="456"/>
                  </a:lnTo>
                  <a:lnTo>
                    <a:pt x="3072" y="456"/>
                  </a:lnTo>
                  <a:lnTo>
                    <a:pt x="3081" y="459"/>
                  </a:lnTo>
                  <a:lnTo>
                    <a:pt x="3081" y="459"/>
                  </a:lnTo>
                  <a:lnTo>
                    <a:pt x="3085" y="462"/>
                  </a:lnTo>
                  <a:lnTo>
                    <a:pt x="3088" y="466"/>
                  </a:lnTo>
                  <a:lnTo>
                    <a:pt x="3088" y="466"/>
                  </a:lnTo>
                  <a:lnTo>
                    <a:pt x="3091" y="471"/>
                  </a:lnTo>
                  <a:lnTo>
                    <a:pt x="3091" y="471"/>
                  </a:lnTo>
                  <a:lnTo>
                    <a:pt x="3092" y="472"/>
                  </a:lnTo>
                  <a:lnTo>
                    <a:pt x="3095" y="474"/>
                  </a:lnTo>
                  <a:lnTo>
                    <a:pt x="3095" y="474"/>
                  </a:lnTo>
                  <a:lnTo>
                    <a:pt x="3107" y="478"/>
                  </a:lnTo>
                  <a:lnTo>
                    <a:pt x="3107" y="478"/>
                  </a:lnTo>
                  <a:lnTo>
                    <a:pt x="3117" y="482"/>
                  </a:lnTo>
                  <a:lnTo>
                    <a:pt x="3117" y="482"/>
                  </a:lnTo>
                  <a:lnTo>
                    <a:pt x="3118" y="484"/>
                  </a:lnTo>
                  <a:lnTo>
                    <a:pt x="3118" y="484"/>
                  </a:lnTo>
                  <a:lnTo>
                    <a:pt x="3121" y="491"/>
                  </a:lnTo>
                  <a:lnTo>
                    <a:pt x="3121" y="491"/>
                  </a:lnTo>
                  <a:lnTo>
                    <a:pt x="3123" y="495"/>
                  </a:lnTo>
                  <a:lnTo>
                    <a:pt x="3123" y="495"/>
                  </a:lnTo>
                  <a:lnTo>
                    <a:pt x="3124" y="497"/>
                  </a:lnTo>
                  <a:lnTo>
                    <a:pt x="3125" y="498"/>
                  </a:lnTo>
                  <a:lnTo>
                    <a:pt x="3125" y="498"/>
                  </a:lnTo>
                  <a:lnTo>
                    <a:pt x="3130" y="498"/>
                  </a:lnTo>
                  <a:lnTo>
                    <a:pt x="3131" y="498"/>
                  </a:lnTo>
                  <a:lnTo>
                    <a:pt x="3131" y="498"/>
                  </a:lnTo>
                  <a:lnTo>
                    <a:pt x="3134" y="500"/>
                  </a:lnTo>
                  <a:lnTo>
                    <a:pt x="3134" y="500"/>
                  </a:lnTo>
                  <a:lnTo>
                    <a:pt x="3137" y="501"/>
                  </a:lnTo>
                  <a:lnTo>
                    <a:pt x="3137" y="501"/>
                  </a:lnTo>
                  <a:lnTo>
                    <a:pt x="3141" y="508"/>
                  </a:lnTo>
                  <a:lnTo>
                    <a:pt x="3141" y="508"/>
                  </a:lnTo>
                  <a:lnTo>
                    <a:pt x="3146" y="511"/>
                  </a:lnTo>
                  <a:lnTo>
                    <a:pt x="3152" y="516"/>
                  </a:lnTo>
                  <a:lnTo>
                    <a:pt x="3152" y="516"/>
                  </a:lnTo>
                  <a:lnTo>
                    <a:pt x="3162" y="521"/>
                  </a:lnTo>
                  <a:lnTo>
                    <a:pt x="3169" y="527"/>
                  </a:lnTo>
                  <a:lnTo>
                    <a:pt x="3169" y="527"/>
                  </a:lnTo>
                  <a:lnTo>
                    <a:pt x="3175" y="532"/>
                  </a:lnTo>
                  <a:lnTo>
                    <a:pt x="3181" y="533"/>
                  </a:lnTo>
                  <a:lnTo>
                    <a:pt x="3192" y="537"/>
                  </a:lnTo>
                  <a:lnTo>
                    <a:pt x="3192" y="537"/>
                  </a:lnTo>
                  <a:lnTo>
                    <a:pt x="3195" y="540"/>
                  </a:lnTo>
                  <a:lnTo>
                    <a:pt x="3195" y="540"/>
                  </a:lnTo>
                  <a:lnTo>
                    <a:pt x="3199" y="549"/>
                  </a:lnTo>
                  <a:lnTo>
                    <a:pt x="3199" y="549"/>
                  </a:lnTo>
                  <a:lnTo>
                    <a:pt x="3202" y="552"/>
                  </a:lnTo>
                  <a:lnTo>
                    <a:pt x="3202" y="552"/>
                  </a:lnTo>
                  <a:lnTo>
                    <a:pt x="3205" y="555"/>
                  </a:lnTo>
                  <a:lnTo>
                    <a:pt x="3208" y="555"/>
                  </a:lnTo>
                  <a:lnTo>
                    <a:pt x="3208" y="555"/>
                  </a:lnTo>
                  <a:lnTo>
                    <a:pt x="3223" y="556"/>
                  </a:lnTo>
                  <a:lnTo>
                    <a:pt x="3234" y="558"/>
                  </a:lnTo>
                  <a:lnTo>
                    <a:pt x="3234" y="556"/>
                  </a:lnTo>
                  <a:lnTo>
                    <a:pt x="3233" y="558"/>
                  </a:lnTo>
                  <a:lnTo>
                    <a:pt x="3234" y="558"/>
                  </a:lnTo>
                  <a:lnTo>
                    <a:pt x="3234" y="556"/>
                  </a:lnTo>
                  <a:lnTo>
                    <a:pt x="3233" y="558"/>
                  </a:lnTo>
                  <a:lnTo>
                    <a:pt x="3233" y="556"/>
                  </a:lnTo>
                  <a:lnTo>
                    <a:pt x="3233" y="558"/>
                  </a:lnTo>
                  <a:lnTo>
                    <a:pt x="3233" y="558"/>
                  </a:lnTo>
                  <a:lnTo>
                    <a:pt x="3233" y="556"/>
                  </a:lnTo>
                  <a:lnTo>
                    <a:pt x="3233" y="558"/>
                  </a:lnTo>
                  <a:lnTo>
                    <a:pt x="3233" y="558"/>
                  </a:lnTo>
                  <a:lnTo>
                    <a:pt x="3233" y="558"/>
                  </a:lnTo>
                  <a:lnTo>
                    <a:pt x="3236" y="562"/>
                  </a:lnTo>
                  <a:lnTo>
                    <a:pt x="3236" y="562"/>
                  </a:lnTo>
                  <a:lnTo>
                    <a:pt x="3236" y="568"/>
                  </a:lnTo>
                  <a:lnTo>
                    <a:pt x="3236" y="568"/>
                  </a:lnTo>
                  <a:lnTo>
                    <a:pt x="3236" y="579"/>
                  </a:lnTo>
                  <a:lnTo>
                    <a:pt x="3236" y="579"/>
                  </a:lnTo>
                  <a:lnTo>
                    <a:pt x="3236" y="597"/>
                  </a:lnTo>
                  <a:lnTo>
                    <a:pt x="3236" y="597"/>
                  </a:lnTo>
                  <a:lnTo>
                    <a:pt x="3237" y="603"/>
                  </a:lnTo>
                  <a:lnTo>
                    <a:pt x="3237" y="603"/>
                  </a:lnTo>
                  <a:lnTo>
                    <a:pt x="3237" y="605"/>
                  </a:lnTo>
                  <a:lnTo>
                    <a:pt x="3238" y="607"/>
                  </a:lnTo>
                  <a:lnTo>
                    <a:pt x="3238" y="607"/>
                  </a:lnTo>
                  <a:lnTo>
                    <a:pt x="3241" y="607"/>
                  </a:lnTo>
                  <a:lnTo>
                    <a:pt x="3241" y="607"/>
                  </a:lnTo>
                  <a:lnTo>
                    <a:pt x="3241" y="607"/>
                  </a:lnTo>
                  <a:lnTo>
                    <a:pt x="3241" y="607"/>
                  </a:lnTo>
                  <a:lnTo>
                    <a:pt x="3243" y="607"/>
                  </a:lnTo>
                  <a:lnTo>
                    <a:pt x="3243" y="607"/>
                  </a:lnTo>
                  <a:lnTo>
                    <a:pt x="3244" y="604"/>
                  </a:lnTo>
                  <a:lnTo>
                    <a:pt x="3244" y="604"/>
                  </a:lnTo>
                  <a:lnTo>
                    <a:pt x="3246" y="598"/>
                  </a:lnTo>
                  <a:lnTo>
                    <a:pt x="3246" y="598"/>
                  </a:lnTo>
                  <a:lnTo>
                    <a:pt x="3247" y="588"/>
                  </a:lnTo>
                  <a:lnTo>
                    <a:pt x="3247" y="588"/>
                  </a:lnTo>
                  <a:lnTo>
                    <a:pt x="3247" y="584"/>
                  </a:lnTo>
                  <a:lnTo>
                    <a:pt x="3247" y="584"/>
                  </a:lnTo>
                  <a:lnTo>
                    <a:pt x="3249" y="584"/>
                  </a:lnTo>
                  <a:lnTo>
                    <a:pt x="3249" y="582"/>
                  </a:lnTo>
                  <a:lnTo>
                    <a:pt x="3249" y="582"/>
                  </a:lnTo>
                  <a:lnTo>
                    <a:pt x="3249" y="582"/>
                  </a:lnTo>
                  <a:lnTo>
                    <a:pt x="3249" y="582"/>
                  </a:lnTo>
                  <a:lnTo>
                    <a:pt x="3249" y="582"/>
                  </a:lnTo>
                  <a:lnTo>
                    <a:pt x="3249" y="582"/>
                  </a:lnTo>
                  <a:lnTo>
                    <a:pt x="3249" y="582"/>
                  </a:lnTo>
                  <a:lnTo>
                    <a:pt x="3249" y="582"/>
                  </a:lnTo>
                  <a:lnTo>
                    <a:pt x="3250" y="582"/>
                  </a:lnTo>
                  <a:lnTo>
                    <a:pt x="3250" y="582"/>
                  </a:lnTo>
                  <a:lnTo>
                    <a:pt x="3253" y="582"/>
                  </a:lnTo>
                  <a:lnTo>
                    <a:pt x="3253" y="582"/>
                  </a:lnTo>
                  <a:lnTo>
                    <a:pt x="3262" y="582"/>
                  </a:lnTo>
                  <a:lnTo>
                    <a:pt x="3262" y="582"/>
                  </a:lnTo>
                  <a:lnTo>
                    <a:pt x="3265" y="582"/>
                  </a:lnTo>
                  <a:lnTo>
                    <a:pt x="3265" y="582"/>
                  </a:lnTo>
                  <a:lnTo>
                    <a:pt x="3265" y="582"/>
                  </a:lnTo>
                  <a:lnTo>
                    <a:pt x="3265" y="582"/>
                  </a:lnTo>
                  <a:lnTo>
                    <a:pt x="3265" y="582"/>
                  </a:lnTo>
                  <a:lnTo>
                    <a:pt x="3265" y="582"/>
                  </a:lnTo>
                  <a:lnTo>
                    <a:pt x="3265" y="582"/>
                  </a:lnTo>
                  <a:lnTo>
                    <a:pt x="3265" y="582"/>
                  </a:lnTo>
                  <a:lnTo>
                    <a:pt x="3269" y="584"/>
                  </a:lnTo>
                  <a:lnTo>
                    <a:pt x="3269" y="584"/>
                  </a:lnTo>
                  <a:lnTo>
                    <a:pt x="3276" y="585"/>
                  </a:lnTo>
                  <a:lnTo>
                    <a:pt x="3276" y="585"/>
                  </a:lnTo>
                  <a:lnTo>
                    <a:pt x="3276" y="584"/>
                  </a:lnTo>
                  <a:lnTo>
                    <a:pt x="3276" y="585"/>
                  </a:lnTo>
                  <a:lnTo>
                    <a:pt x="3276" y="585"/>
                  </a:lnTo>
                  <a:lnTo>
                    <a:pt x="3276" y="584"/>
                  </a:lnTo>
                  <a:lnTo>
                    <a:pt x="3276" y="585"/>
                  </a:lnTo>
                  <a:lnTo>
                    <a:pt x="3276" y="584"/>
                  </a:lnTo>
                  <a:lnTo>
                    <a:pt x="3276" y="585"/>
                  </a:lnTo>
                  <a:lnTo>
                    <a:pt x="3276" y="585"/>
                  </a:lnTo>
                  <a:lnTo>
                    <a:pt x="3276" y="584"/>
                  </a:lnTo>
                  <a:lnTo>
                    <a:pt x="3276" y="585"/>
                  </a:lnTo>
                  <a:lnTo>
                    <a:pt x="3276" y="585"/>
                  </a:lnTo>
                  <a:lnTo>
                    <a:pt x="3276" y="585"/>
                  </a:lnTo>
                  <a:lnTo>
                    <a:pt x="3276" y="585"/>
                  </a:lnTo>
                  <a:lnTo>
                    <a:pt x="3276" y="585"/>
                  </a:lnTo>
                  <a:lnTo>
                    <a:pt x="3276" y="585"/>
                  </a:lnTo>
                  <a:lnTo>
                    <a:pt x="3276" y="585"/>
                  </a:lnTo>
                  <a:lnTo>
                    <a:pt x="3276" y="585"/>
                  </a:lnTo>
                  <a:lnTo>
                    <a:pt x="3276" y="585"/>
                  </a:lnTo>
                  <a:lnTo>
                    <a:pt x="3276" y="585"/>
                  </a:lnTo>
                  <a:lnTo>
                    <a:pt x="3276" y="585"/>
                  </a:lnTo>
                  <a:lnTo>
                    <a:pt x="3276" y="585"/>
                  </a:lnTo>
                  <a:lnTo>
                    <a:pt x="3278" y="587"/>
                  </a:lnTo>
                  <a:lnTo>
                    <a:pt x="3278" y="587"/>
                  </a:lnTo>
                  <a:lnTo>
                    <a:pt x="3279" y="594"/>
                  </a:lnTo>
                  <a:lnTo>
                    <a:pt x="3279" y="594"/>
                  </a:lnTo>
                  <a:lnTo>
                    <a:pt x="3280" y="597"/>
                  </a:lnTo>
                  <a:lnTo>
                    <a:pt x="3280" y="597"/>
                  </a:lnTo>
                  <a:lnTo>
                    <a:pt x="3282" y="598"/>
                  </a:lnTo>
                  <a:lnTo>
                    <a:pt x="3282" y="598"/>
                  </a:lnTo>
                  <a:lnTo>
                    <a:pt x="3283" y="598"/>
                  </a:lnTo>
                  <a:lnTo>
                    <a:pt x="3283" y="598"/>
                  </a:lnTo>
                  <a:lnTo>
                    <a:pt x="3285" y="598"/>
                  </a:lnTo>
                  <a:lnTo>
                    <a:pt x="3285" y="598"/>
                  </a:lnTo>
                  <a:lnTo>
                    <a:pt x="3288" y="597"/>
                  </a:lnTo>
                  <a:lnTo>
                    <a:pt x="3289" y="597"/>
                  </a:lnTo>
                  <a:lnTo>
                    <a:pt x="3289" y="597"/>
                  </a:lnTo>
                  <a:lnTo>
                    <a:pt x="3289" y="595"/>
                  </a:lnTo>
                  <a:lnTo>
                    <a:pt x="3289" y="597"/>
                  </a:lnTo>
                  <a:lnTo>
                    <a:pt x="3289" y="597"/>
                  </a:lnTo>
                  <a:lnTo>
                    <a:pt x="3289" y="595"/>
                  </a:lnTo>
                  <a:lnTo>
                    <a:pt x="3289" y="597"/>
                  </a:lnTo>
                  <a:lnTo>
                    <a:pt x="3289" y="595"/>
                  </a:lnTo>
                  <a:lnTo>
                    <a:pt x="3289" y="597"/>
                  </a:lnTo>
                  <a:lnTo>
                    <a:pt x="3289" y="597"/>
                  </a:lnTo>
                  <a:lnTo>
                    <a:pt x="3289" y="595"/>
                  </a:lnTo>
                  <a:lnTo>
                    <a:pt x="3289" y="597"/>
                  </a:lnTo>
                  <a:lnTo>
                    <a:pt x="3289" y="595"/>
                  </a:lnTo>
                  <a:lnTo>
                    <a:pt x="3289" y="597"/>
                  </a:lnTo>
                  <a:lnTo>
                    <a:pt x="3289" y="597"/>
                  </a:lnTo>
                  <a:lnTo>
                    <a:pt x="3289" y="595"/>
                  </a:lnTo>
                  <a:lnTo>
                    <a:pt x="3289" y="597"/>
                  </a:lnTo>
                  <a:lnTo>
                    <a:pt x="3289" y="597"/>
                  </a:lnTo>
                  <a:lnTo>
                    <a:pt x="3289" y="597"/>
                  </a:lnTo>
                  <a:lnTo>
                    <a:pt x="3289" y="597"/>
                  </a:lnTo>
                  <a:lnTo>
                    <a:pt x="3289" y="597"/>
                  </a:lnTo>
                  <a:lnTo>
                    <a:pt x="3289" y="597"/>
                  </a:lnTo>
                  <a:lnTo>
                    <a:pt x="3289" y="597"/>
                  </a:lnTo>
                  <a:lnTo>
                    <a:pt x="3289" y="598"/>
                  </a:lnTo>
                  <a:lnTo>
                    <a:pt x="3289" y="597"/>
                  </a:lnTo>
                  <a:lnTo>
                    <a:pt x="3289" y="597"/>
                  </a:lnTo>
                  <a:lnTo>
                    <a:pt x="3291" y="607"/>
                  </a:lnTo>
                  <a:lnTo>
                    <a:pt x="3291" y="607"/>
                  </a:lnTo>
                  <a:lnTo>
                    <a:pt x="3295" y="611"/>
                  </a:lnTo>
                  <a:lnTo>
                    <a:pt x="3296" y="614"/>
                  </a:lnTo>
                  <a:lnTo>
                    <a:pt x="3301" y="616"/>
                  </a:lnTo>
                  <a:lnTo>
                    <a:pt x="3301" y="616"/>
                  </a:lnTo>
                  <a:lnTo>
                    <a:pt x="3307" y="618"/>
                  </a:lnTo>
                  <a:lnTo>
                    <a:pt x="3307" y="618"/>
                  </a:lnTo>
                  <a:lnTo>
                    <a:pt x="3308" y="620"/>
                  </a:lnTo>
                  <a:lnTo>
                    <a:pt x="3308" y="620"/>
                  </a:lnTo>
                  <a:lnTo>
                    <a:pt x="3308" y="620"/>
                  </a:lnTo>
                  <a:lnTo>
                    <a:pt x="3308" y="620"/>
                  </a:lnTo>
                  <a:lnTo>
                    <a:pt x="3308" y="620"/>
                  </a:lnTo>
                  <a:lnTo>
                    <a:pt x="3308" y="620"/>
                  </a:lnTo>
                  <a:lnTo>
                    <a:pt x="3308" y="620"/>
                  </a:lnTo>
                  <a:lnTo>
                    <a:pt x="3309" y="620"/>
                  </a:lnTo>
                  <a:lnTo>
                    <a:pt x="3308" y="620"/>
                  </a:lnTo>
                  <a:lnTo>
                    <a:pt x="3308" y="620"/>
                  </a:lnTo>
                  <a:lnTo>
                    <a:pt x="3309" y="620"/>
                  </a:lnTo>
                  <a:lnTo>
                    <a:pt x="3308" y="620"/>
                  </a:lnTo>
                  <a:lnTo>
                    <a:pt x="3309" y="620"/>
                  </a:lnTo>
                  <a:lnTo>
                    <a:pt x="3308" y="618"/>
                  </a:lnTo>
                  <a:lnTo>
                    <a:pt x="3308" y="620"/>
                  </a:lnTo>
                  <a:lnTo>
                    <a:pt x="3309" y="620"/>
                  </a:lnTo>
                  <a:lnTo>
                    <a:pt x="3308" y="618"/>
                  </a:lnTo>
                  <a:lnTo>
                    <a:pt x="3309" y="618"/>
                  </a:lnTo>
                  <a:lnTo>
                    <a:pt x="3308" y="618"/>
                  </a:lnTo>
                  <a:lnTo>
                    <a:pt x="3308" y="618"/>
                  </a:lnTo>
                  <a:lnTo>
                    <a:pt x="3309" y="618"/>
                  </a:lnTo>
                  <a:lnTo>
                    <a:pt x="3308" y="618"/>
                  </a:lnTo>
                  <a:lnTo>
                    <a:pt x="3308" y="618"/>
                  </a:lnTo>
                  <a:lnTo>
                    <a:pt x="3308" y="618"/>
                  </a:lnTo>
                  <a:lnTo>
                    <a:pt x="3308" y="618"/>
                  </a:lnTo>
                  <a:lnTo>
                    <a:pt x="3308" y="618"/>
                  </a:lnTo>
                  <a:lnTo>
                    <a:pt x="3308" y="618"/>
                  </a:lnTo>
                  <a:lnTo>
                    <a:pt x="3308" y="618"/>
                  </a:lnTo>
                  <a:lnTo>
                    <a:pt x="3308" y="618"/>
                  </a:lnTo>
                  <a:lnTo>
                    <a:pt x="3308" y="618"/>
                  </a:lnTo>
                  <a:lnTo>
                    <a:pt x="3304" y="620"/>
                  </a:lnTo>
                  <a:lnTo>
                    <a:pt x="3301" y="621"/>
                  </a:lnTo>
                  <a:lnTo>
                    <a:pt x="3301" y="621"/>
                  </a:lnTo>
                  <a:lnTo>
                    <a:pt x="3296" y="629"/>
                  </a:lnTo>
                  <a:lnTo>
                    <a:pt x="3296" y="629"/>
                  </a:lnTo>
                  <a:lnTo>
                    <a:pt x="3295" y="636"/>
                  </a:lnTo>
                  <a:lnTo>
                    <a:pt x="3295" y="636"/>
                  </a:lnTo>
                  <a:lnTo>
                    <a:pt x="3295" y="637"/>
                  </a:lnTo>
                  <a:lnTo>
                    <a:pt x="3295" y="637"/>
                  </a:lnTo>
                  <a:lnTo>
                    <a:pt x="3295" y="637"/>
                  </a:lnTo>
                  <a:lnTo>
                    <a:pt x="3295" y="637"/>
                  </a:lnTo>
                  <a:lnTo>
                    <a:pt x="3295" y="637"/>
                  </a:lnTo>
                  <a:lnTo>
                    <a:pt x="3295" y="637"/>
                  </a:lnTo>
                  <a:lnTo>
                    <a:pt x="3295" y="639"/>
                  </a:lnTo>
                  <a:lnTo>
                    <a:pt x="3295" y="636"/>
                  </a:lnTo>
                  <a:lnTo>
                    <a:pt x="3295" y="637"/>
                  </a:lnTo>
                  <a:lnTo>
                    <a:pt x="3295" y="639"/>
                  </a:lnTo>
                  <a:lnTo>
                    <a:pt x="3295" y="636"/>
                  </a:lnTo>
                  <a:lnTo>
                    <a:pt x="3295" y="637"/>
                  </a:lnTo>
                  <a:lnTo>
                    <a:pt x="3296" y="636"/>
                  </a:lnTo>
                  <a:lnTo>
                    <a:pt x="3295" y="636"/>
                  </a:lnTo>
                  <a:lnTo>
                    <a:pt x="3295" y="637"/>
                  </a:lnTo>
                  <a:lnTo>
                    <a:pt x="3296" y="636"/>
                  </a:lnTo>
                  <a:lnTo>
                    <a:pt x="3296" y="636"/>
                  </a:lnTo>
                  <a:lnTo>
                    <a:pt x="3295" y="636"/>
                  </a:lnTo>
                  <a:lnTo>
                    <a:pt x="3295" y="636"/>
                  </a:lnTo>
                  <a:lnTo>
                    <a:pt x="3289" y="631"/>
                  </a:lnTo>
                  <a:lnTo>
                    <a:pt x="3289" y="631"/>
                  </a:lnTo>
                  <a:lnTo>
                    <a:pt x="3286" y="629"/>
                  </a:lnTo>
                  <a:lnTo>
                    <a:pt x="3286" y="629"/>
                  </a:lnTo>
                  <a:lnTo>
                    <a:pt x="3285" y="627"/>
                  </a:lnTo>
                  <a:lnTo>
                    <a:pt x="3285" y="627"/>
                  </a:lnTo>
                  <a:lnTo>
                    <a:pt x="3283" y="627"/>
                  </a:lnTo>
                  <a:lnTo>
                    <a:pt x="3283" y="627"/>
                  </a:lnTo>
                  <a:lnTo>
                    <a:pt x="3280" y="629"/>
                  </a:lnTo>
                  <a:lnTo>
                    <a:pt x="3280" y="629"/>
                  </a:lnTo>
                  <a:lnTo>
                    <a:pt x="3280" y="630"/>
                  </a:lnTo>
                  <a:lnTo>
                    <a:pt x="3280" y="631"/>
                  </a:lnTo>
                  <a:lnTo>
                    <a:pt x="3280" y="631"/>
                  </a:lnTo>
                  <a:lnTo>
                    <a:pt x="3280" y="631"/>
                  </a:lnTo>
                  <a:lnTo>
                    <a:pt x="3282" y="636"/>
                  </a:lnTo>
                  <a:lnTo>
                    <a:pt x="3282" y="636"/>
                  </a:lnTo>
                  <a:lnTo>
                    <a:pt x="3282" y="639"/>
                  </a:lnTo>
                  <a:lnTo>
                    <a:pt x="3282" y="639"/>
                  </a:lnTo>
                  <a:lnTo>
                    <a:pt x="3282" y="639"/>
                  </a:lnTo>
                  <a:lnTo>
                    <a:pt x="3282" y="639"/>
                  </a:lnTo>
                  <a:lnTo>
                    <a:pt x="3283" y="639"/>
                  </a:lnTo>
                  <a:lnTo>
                    <a:pt x="3283" y="639"/>
                  </a:lnTo>
                  <a:lnTo>
                    <a:pt x="3282" y="639"/>
                  </a:lnTo>
                  <a:lnTo>
                    <a:pt x="3283" y="639"/>
                  </a:lnTo>
                  <a:lnTo>
                    <a:pt x="3283" y="639"/>
                  </a:lnTo>
                  <a:lnTo>
                    <a:pt x="3283" y="639"/>
                  </a:lnTo>
                  <a:lnTo>
                    <a:pt x="3283" y="637"/>
                  </a:lnTo>
                  <a:lnTo>
                    <a:pt x="3283" y="639"/>
                  </a:lnTo>
                  <a:lnTo>
                    <a:pt x="3283" y="639"/>
                  </a:lnTo>
                  <a:lnTo>
                    <a:pt x="3283" y="637"/>
                  </a:lnTo>
                  <a:lnTo>
                    <a:pt x="3283" y="637"/>
                  </a:lnTo>
                  <a:lnTo>
                    <a:pt x="3283" y="637"/>
                  </a:lnTo>
                  <a:lnTo>
                    <a:pt x="3273" y="637"/>
                  </a:lnTo>
                  <a:lnTo>
                    <a:pt x="3273" y="637"/>
                  </a:lnTo>
                  <a:lnTo>
                    <a:pt x="3269" y="636"/>
                  </a:lnTo>
                  <a:lnTo>
                    <a:pt x="3269" y="636"/>
                  </a:lnTo>
                  <a:lnTo>
                    <a:pt x="3266" y="636"/>
                  </a:lnTo>
                  <a:lnTo>
                    <a:pt x="3266" y="636"/>
                  </a:lnTo>
                  <a:lnTo>
                    <a:pt x="3265" y="636"/>
                  </a:lnTo>
                  <a:lnTo>
                    <a:pt x="3265" y="636"/>
                  </a:lnTo>
                  <a:lnTo>
                    <a:pt x="3263" y="639"/>
                  </a:lnTo>
                  <a:lnTo>
                    <a:pt x="3263" y="639"/>
                  </a:lnTo>
                  <a:lnTo>
                    <a:pt x="3263" y="640"/>
                  </a:lnTo>
                  <a:lnTo>
                    <a:pt x="3263" y="640"/>
                  </a:lnTo>
                  <a:lnTo>
                    <a:pt x="3263" y="645"/>
                  </a:lnTo>
                  <a:lnTo>
                    <a:pt x="3263" y="645"/>
                  </a:lnTo>
                  <a:lnTo>
                    <a:pt x="3265" y="649"/>
                  </a:lnTo>
                  <a:lnTo>
                    <a:pt x="3265" y="649"/>
                  </a:lnTo>
                  <a:lnTo>
                    <a:pt x="3266" y="653"/>
                  </a:lnTo>
                  <a:lnTo>
                    <a:pt x="3266" y="653"/>
                  </a:lnTo>
                  <a:lnTo>
                    <a:pt x="3266" y="659"/>
                  </a:lnTo>
                  <a:lnTo>
                    <a:pt x="3266" y="659"/>
                  </a:lnTo>
                  <a:lnTo>
                    <a:pt x="3266" y="660"/>
                  </a:lnTo>
                  <a:lnTo>
                    <a:pt x="3266" y="660"/>
                  </a:lnTo>
                  <a:lnTo>
                    <a:pt x="3266" y="660"/>
                  </a:lnTo>
                  <a:lnTo>
                    <a:pt x="3266" y="660"/>
                  </a:lnTo>
                  <a:lnTo>
                    <a:pt x="3266" y="660"/>
                  </a:lnTo>
                  <a:lnTo>
                    <a:pt x="3266" y="660"/>
                  </a:lnTo>
                  <a:lnTo>
                    <a:pt x="3266" y="660"/>
                  </a:lnTo>
                  <a:lnTo>
                    <a:pt x="3266" y="660"/>
                  </a:lnTo>
                  <a:lnTo>
                    <a:pt x="3266" y="660"/>
                  </a:lnTo>
                  <a:lnTo>
                    <a:pt x="3260" y="662"/>
                  </a:lnTo>
                  <a:lnTo>
                    <a:pt x="3260" y="662"/>
                  </a:lnTo>
                  <a:lnTo>
                    <a:pt x="3257" y="663"/>
                  </a:lnTo>
                  <a:lnTo>
                    <a:pt x="3257" y="663"/>
                  </a:lnTo>
                  <a:lnTo>
                    <a:pt x="3256" y="665"/>
                  </a:lnTo>
                  <a:lnTo>
                    <a:pt x="3256" y="665"/>
                  </a:lnTo>
                  <a:lnTo>
                    <a:pt x="3254" y="666"/>
                  </a:lnTo>
                  <a:lnTo>
                    <a:pt x="3254" y="666"/>
                  </a:lnTo>
                  <a:lnTo>
                    <a:pt x="3256" y="669"/>
                  </a:lnTo>
                  <a:lnTo>
                    <a:pt x="3256" y="669"/>
                  </a:lnTo>
                  <a:lnTo>
                    <a:pt x="3256" y="669"/>
                  </a:lnTo>
                  <a:lnTo>
                    <a:pt x="3257" y="672"/>
                  </a:lnTo>
                  <a:lnTo>
                    <a:pt x="3257" y="672"/>
                  </a:lnTo>
                  <a:lnTo>
                    <a:pt x="3259" y="675"/>
                  </a:lnTo>
                  <a:lnTo>
                    <a:pt x="3259" y="675"/>
                  </a:lnTo>
                  <a:lnTo>
                    <a:pt x="3262" y="675"/>
                  </a:lnTo>
                  <a:lnTo>
                    <a:pt x="3262" y="675"/>
                  </a:lnTo>
                  <a:lnTo>
                    <a:pt x="3263" y="675"/>
                  </a:lnTo>
                  <a:lnTo>
                    <a:pt x="3263" y="675"/>
                  </a:lnTo>
                  <a:lnTo>
                    <a:pt x="3265" y="675"/>
                  </a:lnTo>
                  <a:lnTo>
                    <a:pt x="3265" y="675"/>
                  </a:lnTo>
                  <a:lnTo>
                    <a:pt x="3267" y="675"/>
                  </a:lnTo>
                  <a:lnTo>
                    <a:pt x="3267" y="675"/>
                  </a:lnTo>
                  <a:lnTo>
                    <a:pt x="3267" y="676"/>
                  </a:lnTo>
                  <a:lnTo>
                    <a:pt x="3267" y="676"/>
                  </a:lnTo>
                  <a:lnTo>
                    <a:pt x="3267" y="676"/>
                  </a:lnTo>
                  <a:lnTo>
                    <a:pt x="3267" y="676"/>
                  </a:lnTo>
                  <a:lnTo>
                    <a:pt x="3267" y="676"/>
                  </a:lnTo>
                  <a:lnTo>
                    <a:pt x="3266" y="678"/>
                  </a:lnTo>
                  <a:lnTo>
                    <a:pt x="3266" y="678"/>
                  </a:lnTo>
                  <a:lnTo>
                    <a:pt x="3262" y="681"/>
                  </a:lnTo>
                  <a:lnTo>
                    <a:pt x="3256" y="681"/>
                  </a:lnTo>
                  <a:lnTo>
                    <a:pt x="3256" y="681"/>
                  </a:lnTo>
                  <a:lnTo>
                    <a:pt x="3254" y="681"/>
                  </a:lnTo>
                  <a:lnTo>
                    <a:pt x="3254" y="681"/>
                  </a:lnTo>
                  <a:lnTo>
                    <a:pt x="3250" y="679"/>
                  </a:lnTo>
                  <a:lnTo>
                    <a:pt x="3249" y="678"/>
                  </a:lnTo>
                  <a:lnTo>
                    <a:pt x="3249" y="678"/>
                  </a:lnTo>
                  <a:lnTo>
                    <a:pt x="3246" y="675"/>
                  </a:lnTo>
                  <a:lnTo>
                    <a:pt x="3240" y="672"/>
                  </a:lnTo>
                  <a:lnTo>
                    <a:pt x="3240" y="672"/>
                  </a:lnTo>
                  <a:lnTo>
                    <a:pt x="3234" y="671"/>
                  </a:lnTo>
                  <a:lnTo>
                    <a:pt x="3227" y="669"/>
                  </a:lnTo>
                  <a:lnTo>
                    <a:pt x="3227" y="669"/>
                  </a:lnTo>
                  <a:lnTo>
                    <a:pt x="3221" y="669"/>
                  </a:lnTo>
                  <a:lnTo>
                    <a:pt x="3221" y="669"/>
                  </a:lnTo>
                  <a:lnTo>
                    <a:pt x="3217" y="668"/>
                  </a:lnTo>
                  <a:lnTo>
                    <a:pt x="3217" y="668"/>
                  </a:lnTo>
                  <a:lnTo>
                    <a:pt x="3214" y="665"/>
                  </a:lnTo>
                  <a:lnTo>
                    <a:pt x="3214" y="665"/>
                  </a:lnTo>
                  <a:lnTo>
                    <a:pt x="3212" y="662"/>
                  </a:lnTo>
                  <a:lnTo>
                    <a:pt x="3212" y="660"/>
                  </a:lnTo>
                  <a:lnTo>
                    <a:pt x="3212" y="660"/>
                  </a:lnTo>
                  <a:lnTo>
                    <a:pt x="3214" y="659"/>
                  </a:lnTo>
                  <a:lnTo>
                    <a:pt x="3214" y="659"/>
                  </a:lnTo>
                  <a:lnTo>
                    <a:pt x="3215" y="656"/>
                  </a:lnTo>
                  <a:lnTo>
                    <a:pt x="3215" y="656"/>
                  </a:lnTo>
                  <a:lnTo>
                    <a:pt x="3214" y="650"/>
                  </a:lnTo>
                  <a:lnTo>
                    <a:pt x="3212" y="646"/>
                  </a:lnTo>
                  <a:lnTo>
                    <a:pt x="3212" y="646"/>
                  </a:lnTo>
                  <a:lnTo>
                    <a:pt x="3209" y="643"/>
                  </a:lnTo>
                  <a:lnTo>
                    <a:pt x="3209" y="643"/>
                  </a:lnTo>
                  <a:lnTo>
                    <a:pt x="3205" y="640"/>
                  </a:lnTo>
                  <a:lnTo>
                    <a:pt x="3205" y="640"/>
                  </a:lnTo>
                  <a:lnTo>
                    <a:pt x="3199" y="640"/>
                  </a:lnTo>
                  <a:lnTo>
                    <a:pt x="3199" y="640"/>
                  </a:lnTo>
                  <a:lnTo>
                    <a:pt x="3185" y="640"/>
                  </a:lnTo>
                  <a:lnTo>
                    <a:pt x="3185" y="640"/>
                  </a:lnTo>
                  <a:lnTo>
                    <a:pt x="3178" y="639"/>
                  </a:lnTo>
                  <a:lnTo>
                    <a:pt x="3178" y="639"/>
                  </a:lnTo>
                  <a:lnTo>
                    <a:pt x="3175" y="639"/>
                  </a:lnTo>
                  <a:lnTo>
                    <a:pt x="3175" y="639"/>
                  </a:lnTo>
                  <a:lnTo>
                    <a:pt x="3170" y="634"/>
                  </a:lnTo>
                  <a:lnTo>
                    <a:pt x="3170" y="634"/>
                  </a:lnTo>
                  <a:lnTo>
                    <a:pt x="3167" y="630"/>
                  </a:lnTo>
                  <a:lnTo>
                    <a:pt x="3167" y="630"/>
                  </a:lnTo>
                  <a:lnTo>
                    <a:pt x="3166" y="624"/>
                  </a:lnTo>
                  <a:lnTo>
                    <a:pt x="3166" y="624"/>
                  </a:lnTo>
                  <a:lnTo>
                    <a:pt x="3166" y="624"/>
                  </a:lnTo>
                  <a:lnTo>
                    <a:pt x="3166" y="624"/>
                  </a:lnTo>
                  <a:lnTo>
                    <a:pt x="3167" y="623"/>
                  </a:lnTo>
                  <a:lnTo>
                    <a:pt x="3167" y="623"/>
                  </a:lnTo>
                  <a:lnTo>
                    <a:pt x="3167" y="620"/>
                  </a:lnTo>
                  <a:lnTo>
                    <a:pt x="3167" y="620"/>
                  </a:lnTo>
                  <a:lnTo>
                    <a:pt x="3167" y="616"/>
                  </a:lnTo>
                  <a:lnTo>
                    <a:pt x="3167" y="616"/>
                  </a:lnTo>
                  <a:lnTo>
                    <a:pt x="3165" y="613"/>
                  </a:lnTo>
                  <a:lnTo>
                    <a:pt x="3165" y="613"/>
                  </a:lnTo>
                  <a:lnTo>
                    <a:pt x="3165" y="613"/>
                  </a:lnTo>
                  <a:lnTo>
                    <a:pt x="3160" y="610"/>
                  </a:lnTo>
                  <a:lnTo>
                    <a:pt x="3160" y="610"/>
                  </a:lnTo>
                  <a:lnTo>
                    <a:pt x="3159" y="608"/>
                  </a:lnTo>
                  <a:lnTo>
                    <a:pt x="3159" y="608"/>
                  </a:lnTo>
                  <a:lnTo>
                    <a:pt x="3157" y="608"/>
                  </a:lnTo>
                  <a:lnTo>
                    <a:pt x="3157" y="608"/>
                  </a:lnTo>
                  <a:lnTo>
                    <a:pt x="3154" y="610"/>
                  </a:lnTo>
                  <a:lnTo>
                    <a:pt x="3154" y="610"/>
                  </a:lnTo>
                  <a:lnTo>
                    <a:pt x="3153" y="611"/>
                  </a:lnTo>
                  <a:lnTo>
                    <a:pt x="3153" y="611"/>
                  </a:lnTo>
                  <a:lnTo>
                    <a:pt x="3153" y="614"/>
                  </a:lnTo>
                  <a:lnTo>
                    <a:pt x="3153" y="614"/>
                  </a:lnTo>
                  <a:lnTo>
                    <a:pt x="3150" y="623"/>
                  </a:lnTo>
                  <a:lnTo>
                    <a:pt x="3150" y="623"/>
                  </a:lnTo>
                  <a:lnTo>
                    <a:pt x="3150" y="631"/>
                  </a:lnTo>
                  <a:lnTo>
                    <a:pt x="3150" y="631"/>
                  </a:lnTo>
                  <a:lnTo>
                    <a:pt x="3150" y="633"/>
                  </a:lnTo>
                  <a:lnTo>
                    <a:pt x="3150" y="634"/>
                  </a:lnTo>
                  <a:lnTo>
                    <a:pt x="3150" y="634"/>
                  </a:lnTo>
                  <a:lnTo>
                    <a:pt x="3152" y="636"/>
                  </a:lnTo>
                  <a:lnTo>
                    <a:pt x="3152" y="636"/>
                  </a:lnTo>
                  <a:lnTo>
                    <a:pt x="3152" y="636"/>
                  </a:lnTo>
                  <a:lnTo>
                    <a:pt x="3152" y="636"/>
                  </a:lnTo>
                  <a:lnTo>
                    <a:pt x="3153" y="640"/>
                  </a:lnTo>
                  <a:lnTo>
                    <a:pt x="3153" y="640"/>
                  </a:lnTo>
                  <a:lnTo>
                    <a:pt x="3152" y="643"/>
                  </a:lnTo>
                  <a:lnTo>
                    <a:pt x="3152" y="643"/>
                  </a:lnTo>
                  <a:lnTo>
                    <a:pt x="3149" y="652"/>
                  </a:lnTo>
                  <a:lnTo>
                    <a:pt x="3149" y="652"/>
                  </a:lnTo>
                  <a:lnTo>
                    <a:pt x="3147" y="656"/>
                  </a:lnTo>
                  <a:lnTo>
                    <a:pt x="3144" y="658"/>
                  </a:lnTo>
                  <a:lnTo>
                    <a:pt x="3144" y="658"/>
                  </a:lnTo>
                  <a:lnTo>
                    <a:pt x="3133" y="663"/>
                  </a:lnTo>
                  <a:lnTo>
                    <a:pt x="3133" y="663"/>
                  </a:lnTo>
                  <a:lnTo>
                    <a:pt x="3123" y="668"/>
                  </a:lnTo>
                  <a:lnTo>
                    <a:pt x="3121" y="668"/>
                  </a:lnTo>
                  <a:lnTo>
                    <a:pt x="3121" y="668"/>
                  </a:lnTo>
                  <a:lnTo>
                    <a:pt x="3117" y="666"/>
                  </a:lnTo>
                  <a:lnTo>
                    <a:pt x="3117" y="666"/>
                  </a:lnTo>
                  <a:lnTo>
                    <a:pt x="3114" y="665"/>
                  </a:lnTo>
                  <a:lnTo>
                    <a:pt x="3111" y="665"/>
                  </a:lnTo>
                  <a:lnTo>
                    <a:pt x="3111" y="665"/>
                  </a:lnTo>
                  <a:lnTo>
                    <a:pt x="3104" y="662"/>
                  </a:lnTo>
                  <a:lnTo>
                    <a:pt x="3104" y="662"/>
                  </a:lnTo>
                  <a:lnTo>
                    <a:pt x="3095" y="660"/>
                  </a:lnTo>
                  <a:lnTo>
                    <a:pt x="3095" y="660"/>
                  </a:lnTo>
                  <a:lnTo>
                    <a:pt x="3095" y="660"/>
                  </a:lnTo>
                  <a:lnTo>
                    <a:pt x="3089" y="663"/>
                  </a:lnTo>
                  <a:lnTo>
                    <a:pt x="3089" y="663"/>
                  </a:lnTo>
                  <a:lnTo>
                    <a:pt x="3088" y="665"/>
                  </a:lnTo>
                  <a:lnTo>
                    <a:pt x="3088" y="665"/>
                  </a:lnTo>
                  <a:lnTo>
                    <a:pt x="3086" y="668"/>
                  </a:lnTo>
                  <a:lnTo>
                    <a:pt x="3086" y="668"/>
                  </a:lnTo>
                  <a:lnTo>
                    <a:pt x="3086" y="669"/>
                  </a:lnTo>
                  <a:lnTo>
                    <a:pt x="3088" y="671"/>
                  </a:lnTo>
                  <a:lnTo>
                    <a:pt x="3088" y="671"/>
                  </a:lnTo>
                  <a:lnTo>
                    <a:pt x="3092" y="672"/>
                  </a:lnTo>
                  <a:lnTo>
                    <a:pt x="3092" y="672"/>
                  </a:lnTo>
                  <a:lnTo>
                    <a:pt x="3097" y="673"/>
                  </a:lnTo>
                  <a:lnTo>
                    <a:pt x="3097" y="675"/>
                  </a:lnTo>
                  <a:lnTo>
                    <a:pt x="3097" y="675"/>
                  </a:lnTo>
                  <a:lnTo>
                    <a:pt x="3097" y="675"/>
                  </a:lnTo>
                  <a:lnTo>
                    <a:pt x="3097" y="678"/>
                  </a:lnTo>
                  <a:lnTo>
                    <a:pt x="3097" y="678"/>
                  </a:lnTo>
                  <a:lnTo>
                    <a:pt x="3095" y="684"/>
                  </a:lnTo>
                  <a:lnTo>
                    <a:pt x="3095" y="684"/>
                  </a:lnTo>
                  <a:lnTo>
                    <a:pt x="3094" y="692"/>
                  </a:lnTo>
                  <a:lnTo>
                    <a:pt x="3094" y="692"/>
                  </a:lnTo>
                  <a:lnTo>
                    <a:pt x="3094" y="697"/>
                  </a:lnTo>
                  <a:lnTo>
                    <a:pt x="3095" y="700"/>
                  </a:lnTo>
                  <a:lnTo>
                    <a:pt x="3095" y="700"/>
                  </a:lnTo>
                  <a:lnTo>
                    <a:pt x="3097" y="702"/>
                  </a:lnTo>
                  <a:lnTo>
                    <a:pt x="3101" y="704"/>
                  </a:lnTo>
                  <a:lnTo>
                    <a:pt x="3101" y="704"/>
                  </a:lnTo>
                  <a:lnTo>
                    <a:pt x="3108" y="705"/>
                  </a:lnTo>
                  <a:lnTo>
                    <a:pt x="3108" y="705"/>
                  </a:lnTo>
                  <a:lnTo>
                    <a:pt x="3112" y="704"/>
                  </a:lnTo>
                  <a:lnTo>
                    <a:pt x="3112" y="704"/>
                  </a:lnTo>
                  <a:lnTo>
                    <a:pt x="3115" y="701"/>
                  </a:lnTo>
                  <a:lnTo>
                    <a:pt x="3115" y="701"/>
                  </a:lnTo>
                  <a:lnTo>
                    <a:pt x="3118" y="698"/>
                  </a:lnTo>
                  <a:lnTo>
                    <a:pt x="3118" y="698"/>
                  </a:lnTo>
                  <a:lnTo>
                    <a:pt x="3118" y="697"/>
                  </a:lnTo>
                  <a:lnTo>
                    <a:pt x="3120" y="697"/>
                  </a:lnTo>
                  <a:lnTo>
                    <a:pt x="3118" y="697"/>
                  </a:lnTo>
                  <a:lnTo>
                    <a:pt x="3118" y="697"/>
                  </a:lnTo>
                  <a:lnTo>
                    <a:pt x="3120" y="697"/>
                  </a:lnTo>
                  <a:lnTo>
                    <a:pt x="3118" y="697"/>
                  </a:lnTo>
                  <a:lnTo>
                    <a:pt x="3118" y="697"/>
                  </a:lnTo>
                  <a:lnTo>
                    <a:pt x="3118" y="695"/>
                  </a:lnTo>
                  <a:lnTo>
                    <a:pt x="3118" y="698"/>
                  </a:lnTo>
                  <a:lnTo>
                    <a:pt x="3118" y="698"/>
                  </a:lnTo>
                  <a:lnTo>
                    <a:pt x="3118" y="697"/>
                  </a:lnTo>
                  <a:lnTo>
                    <a:pt x="3118" y="695"/>
                  </a:lnTo>
                  <a:lnTo>
                    <a:pt x="3118" y="698"/>
                  </a:lnTo>
                  <a:lnTo>
                    <a:pt x="3118" y="695"/>
                  </a:lnTo>
                  <a:lnTo>
                    <a:pt x="3115" y="697"/>
                  </a:lnTo>
                  <a:lnTo>
                    <a:pt x="3115" y="697"/>
                  </a:lnTo>
                  <a:lnTo>
                    <a:pt x="3118" y="698"/>
                  </a:lnTo>
                  <a:lnTo>
                    <a:pt x="3118" y="695"/>
                  </a:lnTo>
                  <a:lnTo>
                    <a:pt x="3115" y="697"/>
                  </a:lnTo>
                  <a:lnTo>
                    <a:pt x="3117" y="695"/>
                  </a:lnTo>
                  <a:lnTo>
                    <a:pt x="3115" y="697"/>
                  </a:lnTo>
                  <a:lnTo>
                    <a:pt x="3115" y="697"/>
                  </a:lnTo>
                  <a:lnTo>
                    <a:pt x="3117" y="695"/>
                  </a:lnTo>
                  <a:lnTo>
                    <a:pt x="3115" y="697"/>
                  </a:lnTo>
                  <a:lnTo>
                    <a:pt x="3115" y="697"/>
                  </a:lnTo>
                  <a:lnTo>
                    <a:pt x="3115" y="697"/>
                  </a:lnTo>
                  <a:lnTo>
                    <a:pt x="3115" y="698"/>
                  </a:lnTo>
                  <a:lnTo>
                    <a:pt x="3115" y="698"/>
                  </a:lnTo>
                  <a:lnTo>
                    <a:pt x="3115" y="698"/>
                  </a:lnTo>
                  <a:lnTo>
                    <a:pt x="3115" y="702"/>
                  </a:lnTo>
                  <a:lnTo>
                    <a:pt x="3115" y="702"/>
                  </a:lnTo>
                  <a:lnTo>
                    <a:pt x="3115" y="705"/>
                  </a:lnTo>
                  <a:lnTo>
                    <a:pt x="3117" y="707"/>
                  </a:lnTo>
                  <a:lnTo>
                    <a:pt x="3117" y="707"/>
                  </a:lnTo>
                  <a:lnTo>
                    <a:pt x="3118" y="710"/>
                  </a:lnTo>
                  <a:lnTo>
                    <a:pt x="3121" y="711"/>
                  </a:lnTo>
                  <a:lnTo>
                    <a:pt x="3121" y="711"/>
                  </a:lnTo>
                  <a:lnTo>
                    <a:pt x="3123" y="713"/>
                  </a:lnTo>
                  <a:lnTo>
                    <a:pt x="3123" y="713"/>
                  </a:lnTo>
                  <a:lnTo>
                    <a:pt x="3125" y="717"/>
                  </a:lnTo>
                  <a:lnTo>
                    <a:pt x="3125" y="717"/>
                  </a:lnTo>
                  <a:lnTo>
                    <a:pt x="3127" y="718"/>
                  </a:lnTo>
                  <a:lnTo>
                    <a:pt x="3127" y="718"/>
                  </a:lnTo>
                  <a:lnTo>
                    <a:pt x="3130" y="721"/>
                  </a:lnTo>
                  <a:lnTo>
                    <a:pt x="3130" y="721"/>
                  </a:lnTo>
                  <a:lnTo>
                    <a:pt x="3131" y="723"/>
                  </a:lnTo>
                  <a:lnTo>
                    <a:pt x="3131" y="723"/>
                  </a:lnTo>
                  <a:lnTo>
                    <a:pt x="3134" y="729"/>
                  </a:lnTo>
                  <a:lnTo>
                    <a:pt x="3134" y="729"/>
                  </a:lnTo>
                  <a:lnTo>
                    <a:pt x="3134" y="733"/>
                  </a:lnTo>
                  <a:lnTo>
                    <a:pt x="3134" y="734"/>
                  </a:lnTo>
                  <a:lnTo>
                    <a:pt x="3134" y="733"/>
                  </a:lnTo>
                  <a:lnTo>
                    <a:pt x="3134" y="733"/>
                  </a:lnTo>
                  <a:lnTo>
                    <a:pt x="3134" y="740"/>
                  </a:lnTo>
                  <a:lnTo>
                    <a:pt x="3134" y="740"/>
                  </a:lnTo>
                  <a:lnTo>
                    <a:pt x="3134" y="742"/>
                  </a:lnTo>
                  <a:lnTo>
                    <a:pt x="3134" y="742"/>
                  </a:lnTo>
                  <a:lnTo>
                    <a:pt x="3133" y="743"/>
                  </a:lnTo>
                  <a:lnTo>
                    <a:pt x="3133" y="743"/>
                  </a:lnTo>
                  <a:lnTo>
                    <a:pt x="3130" y="746"/>
                  </a:lnTo>
                  <a:lnTo>
                    <a:pt x="3128" y="747"/>
                  </a:lnTo>
                  <a:lnTo>
                    <a:pt x="3128" y="747"/>
                  </a:lnTo>
                  <a:lnTo>
                    <a:pt x="3127" y="747"/>
                  </a:lnTo>
                  <a:lnTo>
                    <a:pt x="3127" y="747"/>
                  </a:lnTo>
                  <a:lnTo>
                    <a:pt x="3124" y="746"/>
                  </a:lnTo>
                  <a:lnTo>
                    <a:pt x="3124" y="746"/>
                  </a:lnTo>
                  <a:lnTo>
                    <a:pt x="3117" y="743"/>
                  </a:lnTo>
                  <a:lnTo>
                    <a:pt x="3117" y="743"/>
                  </a:lnTo>
                  <a:lnTo>
                    <a:pt x="3114" y="742"/>
                  </a:lnTo>
                  <a:lnTo>
                    <a:pt x="3111" y="742"/>
                  </a:lnTo>
                  <a:lnTo>
                    <a:pt x="3111" y="742"/>
                  </a:lnTo>
                  <a:lnTo>
                    <a:pt x="3110" y="742"/>
                  </a:lnTo>
                  <a:lnTo>
                    <a:pt x="3110" y="742"/>
                  </a:lnTo>
                  <a:lnTo>
                    <a:pt x="3104" y="742"/>
                  </a:lnTo>
                  <a:lnTo>
                    <a:pt x="3092" y="744"/>
                  </a:lnTo>
                  <a:lnTo>
                    <a:pt x="3092" y="744"/>
                  </a:lnTo>
                  <a:lnTo>
                    <a:pt x="3079" y="749"/>
                  </a:lnTo>
                  <a:lnTo>
                    <a:pt x="3072" y="753"/>
                  </a:lnTo>
                  <a:lnTo>
                    <a:pt x="3065" y="757"/>
                  </a:lnTo>
                  <a:lnTo>
                    <a:pt x="3065" y="757"/>
                  </a:lnTo>
                  <a:lnTo>
                    <a:pt x="3052" y="769"/>
                  </a:lnTo>
                  <a:lnTo>
                    <a:pt x="3043" y="778"/>
                  </a:lnTo>
                  <a:lnTo>
                    <a:pt x="3043" y="778"/>
                  </a:lnTo>
                  <a:lnTo>
                    <a:pt x="3039" y="784"/>
                  </a:lnTo>
                  <a:lnTo>
                    <a:pt x="3039" y="784"/>
                  </a:lnTo>
                  <a:lnTo>
                    <a:pt x="3037" y="785"/>
                  </a:lnTo>
                  <a:lnTo>
                    <a:pt x="3037" y="785"/>
                  </a:lnTo>
                  <a:lnTo>
                    <a:pt x="3037" y="785"/>
                  </a:lnTo>
                  <a:lnTo>
                    <a:pt x="3039" y="786"/>
                  </a:lnTo>
                  <a:lnTo>
                    <a:pt x="3039" y="785"/>
                  </a:lnTo>
                  <a:lnTo>
                    <a:pt x="3039" y="785"/>
                  </a:lnTo>
                  <a:lnTo>
                    <a:pt x="3037" y="785"/>
                  </a:lnTo>
                  <a:lnTo>
                    <a:pt x="3039" y="786"/>
                  </a:lnTo>
                  <a:lnTo>
                    <a:pt x="3039" y="785"/>
                  </a:lnTo>
                  <a:lnTo>
                    <a:pt x="3039" y="786"/>
                  </a:lnTo>
                  <a:lnTo>
                    <a:pt x="3039" y="785"/>
                  </a:lnTo>
                  <a:lnTo>
                    <a:pt x="3039" y="785"/>
                  </a:lnTo>
                  <a:lnTo>
                    <a:pt x="3039" y="786"/>
                  </a:lnTo>
                  <a:lnTo>
                    <a:pt x="3039" y="785"/>
                  </a:lnTo>
                  <a:lnTo>
                    <a:pt x="3039" y="785"/>
                  </a:lnTo>
                  <a:lnTo>
                    <a:pt x="3037" y="785"/>
                  </a:lnTo>
                  <a:lnTo>
                    <a:pt x="3037" y="785"/>
                  </a:lnTo>
                  <a:lnTo>
                    <a:pt x="3036" y="784"/>
                  </a:lnTo>
                  <a:lnTo>
                    <a:pt x="3036" y="784"/>
                  </a:lnTo>
                  <a:lnTo>
                    <a:pt x="3034" y="784"/>
                  </a:lnTo>
                  <a:lnTo>
                    <a:pt x="3034" y="784"/>
                  </a:lnTo>
                  <a:lnTo>
                    <a:pt x="3031" y="784"/>
                  </a:lnTo>
                  <a:lnTo>
                    <a:pt x="3031" y="784"/>
                  </a:lnTo>
                  <a:lnTo>
                    <a:pt x="3031" y="785"/>
                  </a:lnTo>
                  <a:lnTo>
                    <a:pt x="3031" y="785"/>
                  </a:lnTo>
                  <a:lnTo>
                    <a:pt x="3031" y="785"/>
                  </a:lnTo>
                  <a:lnTo>
                    <a:pt x="3030" y="786"/>
                  </a:lnTo>
                  <a:lnTo>
                    <a:pt x="3030" y="786"/>
                  </a:lnTo>
                  <a:lnTo>
                    <a:pt x="3026" y="789"/>
                  </a:lnTo>
                  <a:lnTo>
                    <a:pt x="3026" y="789"/>
                  </a:lnTo>
                  <a:lnTo>
                    <a:pt x="3024" y="791"/>
                  </a:lnTo>
                  <a:lnTo>
                    <a:pt x="3023" y="791"/>
                  </a:lnTo>
                  <a:lnTo>
                    <a:pt x="3023" y="791"/>
                  </a:lnTo>
                  <a:lnTo>
                    <a:pt x="3024" y="792"/>
                  </a:lnTo>
                  <a:lnTo>
                    <a:pt x="3024" y="791"/>
                  </a:lnTo>
                  <a:lnTo>
                    <a:pt x="3023" y="791"/>
                  </a:lnTo>
                  <a:lnTo>
                    <a:pt x="3024" y="792"/>
                  </a:lnTo>
                  <a:lnTo>
                    <a:pt x="3024" y="791"/>
                  </a:lnTo>
                  <a:lnTo>
                    <a:pt x="3024" y="791"/>
                  </a:lnTo>
                  <a:lnTo>
                    <a:pt x="3024" y="791"/>
                  </a:lnTo>
                  <a:lnTo>
                    <a:pt x="3024" y="791"/>
                  </a:lnTo>
                  <a:lnTo>
                    <a:pt x="3024" y="791"/>
                  </a:lnTo>
                  <a:lnTo>
                    <a:pt x="3024" y="791"/>
                  </a:lnTo>
                  <a:lnTo>
                    <a:pt x="3024" y="791"/>
                  </a:lnTo>
                  <a:lnTo>
                    <a:pt x="3023" y="789"/>
                  </a:lnTo>
                  <a:lnTo>
                    <a:pt x="3023" y="789"/>
                  </a:lnTo>
                  <a:lnTo>
                    <a:pt x="3020" y="789"/>
                  </a:lnTo>
                  <a:lnTo>
                    <a:pt x="3020" y="789"/>
                  </a:lnTo>
                  <a:lnTo>
                    <a:pt x="3017" y="791"/>
                  </a:lnTo>
                  <a:lnTo>
                    <a:pt x="3017" y="791"/>
                  </a:lnTo>
                  <a:lnTo>
                    <a:pt x="3015" y="792"/>
                  </a:lnTo>
                  <a:lnTo>
                    <a:pt x="3015" y="792"/>
                  </a:lnTo>
                  <a:lnTo>
                    <a:pt x="3017" y="795"/>
                  </a:lnTo>
                  <a:lnTo>
                    <a:pt x="3017" y="795"/>
                  </a:lnTo>
                  <a:lnTo>
                    <a:pt x="3018" y="798"/>
                  </a:lnTo>
                  <a:lnTo>
                    <a:pt x="3018" y="798"/>
                  </a:lnTo>
                  <a:lnTo>
                    <a:pt x="3020" y="801"/>
                  </a:lnTo>
                  <a:lnTo>
                    <a:pt x="3020" y="801"/>
                  </a:lnTo>
                  <a:lnTo>
                    <a:pt x="3020" y="801"/>
                  </a:lnTo>
                  <a:lnTo>
                    <a:pt x="3020" y="801"/>
                  </a:lnTo>
                  <a:lnTo>
                    <a:pt x="3020" y="801"/>
                  </a:lnTo>
                  <a:lnTo>
                    <a:pt x="3020" y="801"/>
                  </a:lnTo>
                  <a:lnTo>
                    <a:pt x="3020" y="801"/>
                  </a:lnTo>
                  <a:lnTo>
                    <a:pt x="3020" y="801"/>
                  </a:lnTo>
                  <a:lnTo>
                    <a:pt x="3020" y="801"/>
                  </a:lnTo>
                  <a:lnTo>
                    <a:pt x="3020" y="801"/>
                  </a:lnTo>
                  <a:lnTo>
                    <a:pt x="3020" y="801"/>
                  </a:lnTo>
                  <a:lnTo>
                    <a:pt x="3020" y="801"/>
                  </a:lnTo>
                  <a:lnTo>
                    <a:pt x="3020" y="800"/>
                  </a:lnTo>
                  <a:lnTo>
                    <a:pt x="3020" y="801"/>
                  </a:lnTo>
                  <a:lnTo>
                    <a:pt x="3020" y="801"/>
                  </a:lnTo>
                  <a:lnTo>
                    <a:pt x="3020" y="800"/>
                  </a:lnTo>
                  <a:lnTo>
                    <a:pt x="3020" y="800"/>
                  </a:lnTo>
                  <a:lnTo>
                    <a:pt x="3020" y="800"/>
                  </a:lnTo>
                  <a:lnTo>
                    <a:pt x="3017" y="800"/>
                  </a:lnTo>
                  <a:lnTo>
                    <a:pt x="3017" y="800"/>
                  </a:lnTo>
                  <a:lnTo>
                    <a:pt x="3015" y="798"/>
                  </a:lnTo>
                  <a:lnTo>
                    <a:pt x="3015" y="798"/>
                  </a:lnTo>
                  <a:lnTo>
                    <a:pt x="3014" y="798"/>
                  </a:lnTo>
                  <a:lnTo>
                    <a:pt x="3014" y="798"/>
                  </a:lnTo>
                  <a:lnTo>
                    <a:pt x="3011" y="800"/>
                  </a:lnTo>
                  <a:lnTo>
                    <a:pt x="3011" y="800"/>
                  </a:lnTo>
                  <a:lnTo>
                    <a:pt x="3010" y="801"/>
                  </a:lnTo>
                  <a:lnTo>
                    <a:pt x="3010" y="801"/>
                  </a:lnTo>
                  <a:lnTo>
                    <a:pt x="3010" y="808"/>
                  </a:lnTo>
                  <a:lnTo>
                    <a:pt x="3010" y="808"/>
                  </a:lnTo>
                  <a:lnTo>
                    <a:pt x="3008" y="811"/>
                  </a:lnTo>
                  <a:lnTo>
                    <a:pt x="3008" y="811"/>
                  </a:lnTo>
                  <a:lnTo>
                    <a:pt x="3008" y="811"/>
                  </a:lnTo>
                  <a:lnTo>
                    <a:pt x="3010" y="811"/>
                  </a:lnTo>
                  <a:lnTo>
                    <a:pt x="3010" y="811"/>
                  </a:lnTo>
                  <a:lnTo>
                    <a:pt x="3008" y="811"/>
                  </a:lnTo>
                  <a:lnTo>
                    <a:pt x="3010" y="811"/>
                  </a:lnTo>
                  <a:lnTo>
                    <a:pt x="3010" y="811"/>
                  </a:lnTo>
                  <a:lnTo>
                    <a:pt x="3010" y="811"/>
                  </a:lnTo>
                  <a:lnTo>
                    <a:pt x="3010" y="810"/>
                  </a:lnTo>
                  <a:lnTo>
                    <a:pt x="3010" y="811"/>
                  </a:lnTo>
                  <a:lnTo>
                    <a:pt x="3010" y="811"/>
                  </a:lnTo>
                  <a:lnTo>
                    <a:pt x="3010" y="810"/>
                  </a:lnTo>
                  <a:lnTo>
                    <a:pt x="3010" y="810"/>
                  </a:lnTo>
                  <a:lnTo>
                    <a:pt x="3005" y="811"/>
                  </a:lnTo>
                  <a:lnTo>
                    <a:pt x="3005" y="811"/>
                  </a:lnTo>
                  <a:lnTo>
                    <a:pt x="3001" y="813"/>
                  </a:lnTo>
                  <a:lnTo>
                    <a:pt x="2998" y="814"/>
                  </a:lnTo>
                  <a:lnTo>
                    <a:pt x="2998" y="814"/>
                  </a:lnTo>
                  <a:lnTo>
                    <a:pt x="2998" y="814"/>
                  </a:lnTo>
                  <a:lnTo>
                    <a:pt x="2998" y="814"/>
                  </a:lnTo>
                  <a:lnTo>
                    <a:pt x="2994" y="821"/>
                  </a:lnTo>
                  <a:lnTo>
                    <a:pt x="2994" y="821"/>
                  </a:lnTo>
                  <a:lnTo>
                    <a:pt x="2989" y="830"/>
                  </a:lnTo>
                  <a:lnTo>
                    <a:pt x="2989" y="830"/>
                  </a:lnTo>
                  <a:lnTo>
                    <a:pt x="2988" y="831"/>
                  </a:lnTo>
                  <a:lnTo>
                    <a:pt x="2988" y="831"/>
                  </a:lnTo>
                  <a:lnTo>
                    <a:pt x="2986" y="833"/>
                  </a:lnTo>
                  <a:lnTo>
                    <a:pt x="2986" y="833"/>
                  </a:lnTo>
                  <a:lnTo>
                    <a:pt x="2986" y="833"/>
                  </a:lnTo>
                  <a:lnTo>
                    <a:pt x="2985" y="831"/>
                  </a:lnTo>
                  <a:lnTo>
                    <a:pt x="2985" y="831"/>
                  </a:lnTo>
                  <a:lnTo>
                    <a:pt x="2982" y="821"/>
                  </a:lnTo>
                  <a:lnTo>
                    <a:pt x="2982" y="821"/>
                  </a:lnTo>
                  <a:lnTo>
                    <a:pt x="2979" y="815"/>
                  </a:lnTo>
                  <a:lnTo>
                    <a:pt x="2979" y="815"/>
                  </a:lnTo>
                  <a:lnTo>
                    <a:pt x="2978" y="814"/>
                  </a:lnTo>
                  <a:lnTo>
                    <a:pt x="2975" y="813"/>
                  </a:lnTo>
                  <a:lnTo>
                    <a:pt x="2975" y="813"/>
                  </a:lnTo>
                  <a:lnTo>
                    <a:pt x="2972" y="813"/>
                  </a:lnTo>
                  <a:lnTo>
                    <a:pt x="2972" y="813"/>
                  </a:lnTo>
                  <a:lnTo>
                    <a:pt x="2965" y="814"/>
                  </a:lnTo>
                  <a:lnTo>
                    <a:pt x="2965" y="814"/>
                  </a:lnTo>
                  <a:lnTo>
                    <a:pt x="2962" y="815"/>
                  </a:lnTo>
                  <a:lnTo>
                    <a:pt x="2959" y="817"/>
                  </a:lnTo>
                  <a:lnTo>
                    <a:pt x="2959" y="817"/>
                  </a:lnTo>
                  <a:lnTo>
                    <a:pt x="2956" y="821"/>
                  </a:lnTo>
                  <a:lnTo>
                    <a:pt x="2953" y="824"/>
                  </a:lnTo>
                  <a:lnTo>
                    <a:pt x="2953" y="824"/>
                  </a:lnTo>
                  <a:lnTo>
                    <a:pt x="2949" y="827"/>
                  </a:lnTo>
                  <a:lnTo>
                    <a:pt x="2949" y="827"/>
                  </a:lnTo>
                  <a:lnTo>
                    <a:pt x="2942" y="834"/>
                  </a:lnTo>
                  <a:lnTo>
                    <a:pt x="2942" y="834"/>
                  </a:lnTo>
                  <a:lnTo>
                    <a:pt x="2940" y="836"/>
                  </a:lnTo>
                  <a:lnTo>
                    <a:pt x="2939" y="837"/>
                  </a:lnTo>
                  <a:lnTo>
                    <a:pt x="2939" y="837"/>
                  </a:lnTo>
                  <a:lnTo>
                    <a:pt x="2939" y="837"/>
                  </a:lnTo>
                  <a:lnTo>
                    <a:pt x="2939" y="837"/>
                  </a:lnTo>
                  <a:lnTo>
                    <a:pt x="2939" y="837"/>
                  </a:lnTo>
                  <a:lnTo>
                    <a:pt x="2939" y="837"/>
                  </a:lnTo>
                  <a:lnTo>
                    <a:pt x="2939" y="837"/>
                  </a:lnTo>
                  <a:lnTo>
                    <a:pt x="2939" y="839"/>
                  </a:lnTo>
                  <a:lnTo>
                    <a:pt x="2939" y="837"/>
                  </a:lnTo>
                  <a:lnTo>
                    <a:pt x="2939" y="837"/>
                  </a:lnTo>
                  <a:lnTo>
                    <a:pt x="2939" y="839"/>
                  </a:lnTo>
                  <a:lnTo>
                    <a:pt x="2939" y="837"/>
                  </a:lnTo>
                  <a:lnTo>
                    <a:pt x="2939" y="837"/>
                  </a:lnTo>
                  <a:lnTo>
                    <a:pt x="2939" y="837"/>
                  </a:lnTo>
                  <a:lnTo>
                    <a:pt x="2939" y="837"/>
                  </a:lnTo>
                  <a:lnTo>
                    <a:pt x="2940" y="837"/>
                  </a:lnTo>
                  <a:lnTo>
                    <a:pt x="2939" y="837"/>
                  </a:lnTo>
                  <a:lnTo>
                    <a:pt x="2939" y="837"/>
                  </a:lnTo>
                  <a:lnTo>
                    <a:pt x="2940" y="837"/>
                  </a:lnTo>
                  <a:lnTo>
                    <a:pt x="2940" y="837"/>
                  </a:lnTo>
                  <a:lnTo>
                    <a:pt x="2940" y="837"/>
                  </a:lnTo>
                  <a:lnTo>
                    <a:pt x="2940" y="833"/>
                  </a:lnTo>
                  <a:lnTo>
                    <a:pt x="2940" y="833"/>
                  </a:lnTo>
                  <a:lnTo>
                    <a:pt x="2942" y="828"/>
                  </a:lnTo>
                  <a:lnTo>
                    <a:pt x="2942" y="828"/>
                  </a:lnTo>
                  <a:lnTo>
                    <a:pt x="2940" y="827"/>
                  </a:lnTo>
                  <a:lnTo>
                    <a:pt x="2940" y="827"/>
                  </a:lnTo>
                  <a:lnTo>
                    <a:pt x="2939" y="826"/>
                  </a:lnTo>
                  <a:lnTo>
                    <a:pt x="2939" y="826"/>
                  </a:lnTo>
                  <a:lnTo>
                    <a:pt x="2937" y="826"/>
                  </a:lnTo>
                  <a:lnTo>
                    <a:pt x="2937" y="826"/>
                  </a:lnTo>
                  <a:lnTo>
                    <a:pt x="2933" y="826"/>
                  </a:lnTo>
                  <a:lnTo>
                    <a:pt x="2933" y="826"/>
                  </a:lnTo>
                  <a:lnTo>
                    <a:pt x="2926" y="830"/>
                  </a:lnTo>
                  <a:lnTo>
                    <a:pt x="2926" y="830"/>
                  </a:lnTo>
                  <a:lnTo>
                    <a:pt x="2923" y="831"/>
                  </a:lnTo>
                  <a:lnTo>
                    <a:pt x="2920" y="834"/>
                  </a:lnTo>
                  <a:lnTo>
                    <a:pt x="2920" y="834"/>
                  </a:lnTo>
                  <a:lnTo>
                    <a:pt x="2917" y="839"/>
                  </a:lnTo>
                  <a:lnTo>
                    <a:pt x="2917" y="839"/>
                  </a:lnTo>
                  <a:lnTo>
                    <a:pt x="2917" y="840"/>
                  </a:lnTo>
                  <a:lnTo>
                    <a:pt x="2917" y="842"/>
                  </a:lnTo>
                  <a:lnTo>
                    <a:pt x="2918" y="842"/>
                  </a:lnTo>
                  <a:lnTo>
                    <a:pt x="2917" y="840"/>
                  </a:lnTo>
                  <a:lnTo>
                    <a:pt x="2917" y="842"/>
                  </a:lnTo>
                  <a:lnTo>
                    <a:pt x="2918" y="842"/>
                  </a:lnTo>
                  <a:lnTo>
                    <a:pt x="2917" y="840"/>
                  </a:lnTo>
                  <a:lnTo>
                    <a:pt x="2918" y="842"/>
                  </a:lnTo>
                  <a:lnTo>
                    <a:pt x="2917" y="840"/>
                  </a:lnTo>
                  <a:lnTo>
                    <a:pt x="2917" y="840"/>
                  </a:lnTo>
                  <a:lnTo>
                    <a:pt x="2918" y="842"/>
                  </a:lnTo>
                  <a:lnTo>
                    <a:pt x="2917" y="840"/>
                  </a:lnTo>
                  <a:lnTo>
                    <a:pt x="2917" y="840"/>
                  </a:lnTo>
                  <a:lnTo>
                    <a:pt x="2917" y="840"/>
                  </a:lnTo>
                  <a:lnTo>
                    <a:pt x="2915" y="840"/>
                  </a:lnTo>
                  <a:lnTo>
                    <a:pt x="2915" y="840"/>
                  </a:lnTo>
                  <a:lnTo>
                    <a:pt x="2911" y="839"/>
                  </a:lnTo>
                  <a:lnTo>
                    <a:pt x="2911" y="839"/>
                  </a:lnTo>
                  <a:lnTo>
                    <a:pt x="2907" y="840"/>
                  </a:lnTo>
                  <a:lnTo>
                    <a:pt x="2907" y="840"/>
                  </a:lnTo>
                  <a:lnTo>
                    <a:pt x="2901" y="843"/>
                  </a:lnTo>
                  <a:lnTo>
                    <a:pt x="2901" y="843"/>
                  </a:lnTo>
                  <a:lnTo>
                    <a:pt x="2898" y="846"/>
                  </a:lnTo>
                  <a:lnTo>
                    <a:pt x="2898" y="846"/>
                  </a:lnTo>
                  <a:lnTo>
                    <a:pt x="2897" y="850"/>
                  </a:lnTo>
                  <a:lnTo>
                    <a:pt x="2897" y="850"/>
                  </a:lnTo>
                  <a:lnTo>
                    <a:pt x="2895" y="855"/>
                  </a:lnTo>
                  <a:lnTo>
                    <a:pt x="2895" y="855"/>
                  </a:lnTo>
                  <a:lnTo>
                    <a:pt x="2892" y="859"/>
                  </a:lnTo>
                  <a:lnTo>
                    <a:pt x="2892" y="859"/>
                  </a:lnTo>
                  <a:lnTo>
                    <a:pt x="2888" y="863"/>
                  </a:lnTo>
                  <a:lnTo>
                    <a:pt x="2888" y="863"/>
                  </a:lnTo>
                  <a:lnTo>
                    <a:pt x="2882" y="872"/>
                  </a:lnTo>
                  <a:lnTo>
                    <a:pt x="2882" y="872"/>
                  </a:lnTo>
                  <a:lnTo>
                    <a:pt x="2878" y="881"/>
                  </a:lnTo>
                  <a:lnTo>
                    <a:pt x="2878" y="881"/>
                  </a:lnTo>
                  <a:lnTo>
                    <a:pt x="2878" y="882"/>
                  </a:lnTo>
                  <a:lnTo>
                    <a:pt x="2878" y="885"/>
                  </a:lnTo>
                  <a:lnTo>
                    <a:pt x="2878" y="885"/>
                  </a:lnTo>
                  <a:lnTo>
                    <a:pt x="2878" y="891"/>
                  </a:lnTo>
                  <a:lnTo>
                    <a:pt x="2878" y="891"/>
                  </a:lnTo>
                  <a:lnTo>
                    <a:pt x="2878" y="895"/>
                  </a:lnTo>
                  <a:lnTo>
                    <a:pt x="2878" y="897"/>
                  </a:lnTo>
                  <a:lnTo>
                    <a:pt x="2878" y="897"/>
                  </a:lnTo>
                  <a:lnTo>
                    <a:pt x="2879" y="897"/>
                  </a:lnTo>
                  <a:lnTo>
                    <a:pt x="2878" y="897"/>
                  </a:lnTo>
                  <a:lnTo>
                    <a:pt x="2878" y="897"/>
                  </a:lnTo>
                  <a:lnTo>
                    <a:pt x="2879" y="897"/>
                  </a:lnTo>
                  <a:lnTo>
                    <a:pt x="2878" y="897"/>
                  </a:lnTo>
                  <a:lnTo>
                    <a:pt x="2878" y="897"/>
                  </a:lnTo>
                  <a:lnTo>
                    <a:pt x="2878" y="897"/>
                  </a:lnTo>
                  <a:lnTo>
                    <a:pt x="2878" y="897"/>
                  </a:lnTo>
                  <a:lnTo>
                    <a:pt x="2876" y="898"/>
                  </a:lnTo>
                  <a:lnTo>
                    <a:pt x="2876" y="901"/>
                  </a:lnTo>
                  <a:lnTo>
                    <a:pt x="2876" y="901"/>
                  </a:lnTo>
                  <a:lnTo>
                    <a:pt x="2878" y="904"/>
                  </a:lnTo>
                  <a:lnTo>
                    <a:pt x="2878" y="904"/>
                  </a:lnTo>
                  <a:lnTo>
                    <a:pt x="2882" y="905"/>
                  </a:lnTo>
                  <a:lnTo>
                    <a:pt x="2882" y="905"/>
                  </a:lnTo>
                  <a:lnTo>
                    <a:pt x="2884" y="905"/>
                  </a:lnTo>
                  <a:lnTo>
                    <a:pt x="2884" y="905"/>
                  </a:lnTo>
                  <a:lnTo>
                    <a:pt x="2884" y="905"/>
                  </a:lnTo>
                  <a:lnTo>
                    <a:pt x="2885" y="907"/>
                  </a:lnTo>
                  <a:lnTo>
                    <a:pt x="2885" y="907"/>
                  </a:lnTo>
                  <a:lnTo>
                    <a:pt x="2888" y="910"/>
                  </a:lnTo>
                  <a:lnTo>
                    <a:pt x="2888" y="910"/>
                  </a:lnTo>
                  <a:lnTo>
                    <a:pt x="2888" y="912"/>
                  </a:lnTo>
                  <a:lnTo>
                    <a:pt x="2888" y="912"/>
                  </a:lnTo>
                  <a:lnTo>
                    <a:pt x="2888" y="912"/>
                  </a:lnTo>
                  <a:lnTo>
                    <a:pt x="2889" y="912"/>
                  </a:lnTo>
                  <a:lnTo>
                    <a:pt x="2889" y="912"/>
                  </a:lnTo>
                  <a:lnTo>
                    <a:pt x="2888" y="912"/>
                  </a:lnTo>
                  <a:lnTo>
                    <a:pt x="2889" y="912"/>
                  </a:lnTo>
                  <a:lnTo>
                    <a:pt x="2889" y="912"/>
                  </a:lnTo>
                  <a:lnTo>
                    <a:pt x="2889" y="912"/>
                  </a:lnTo>
                  <a:lnTo>
                    <a:pt x="2884" y="915"/>
                  </a:lnTo>
                  <a:lnTo>
                    <a:pt x="2884" y="915"/>
                  </a:lnTo>
                  <a:lnTo>
                    <a:pt x="2879" y="920"/>
                  </a:lnTo>
                  <a:lnTo>
                    <a:pt x="2879" y="920"/>
                  </a:lnTo>
                  <a:lnTo>
                    <a:pt x="2878" y="924"/>
                  </a:lnTo>
                  <a:lnTo>
                    <a:pt x="2878" y="926"/>
                  </a:lnTo>
                  <a:lnTo>
                    <a:pt x="2878" y="926"/>
                  </a:lnTo>
                  <a:lnTo>
                    <a:pt x="2881" y="936"/>
                  </a:lnTo>
                  <a:lnTo>
                    <a:pt x="2881" y="936"/>
                  </a:lnTo>
                  <a:lnTo>
                    <a:pt x="2882" y="940"/>
                  </a:lnTo>
                  <a:lnTo>
                    <a:pt x="2882" y="940"/>
                  </a:lnTo>
                  <a:lnTo>
                    <a:pt x="2884" y="941"/>
                  </a:lnTo>
                  <a:lnTo>
                    <a:pt x="2887" y="941"/>
                  </a:lnTo>
                  <a:lnTo>
                    <a:pt x="2887" y="941"/>
                  </a:lnTo>
                  <a:lnTo>
                    <a:pt x="2888" y="941"/>
                  </a:lnTo>
                  <a:lnTo>
                    <a:pt x="2888" y="941"/>
                  </a:lnTo>
                  <a:lnTo>
                    <a:pt x="2892" y="943"/>
                  </a:lnTo>
                  <a:lnTo>
                    <a:pt x="2892" y="943"/>
                  </a:lnTo>
                  <a:lnTo>
                    <a:pt x="2894" y="944"/>
                  </a:lnTo>
                  <a:lnTo>
                    <a:pt x="2895" y="944"/>
                  </a:lnTo>
                  <a:lnTo>
                    <a:pt x="2895" y="946"/>
                  </a:lnTo>
                  <a:lnTo>
                    <a:pt x="2895" y="946"/>
                  </a:lnTo>
                  <a:lnTo>
                    <a:pt x="2894" y="952"/>
                  </a:lnTo>
                  <a:lnTo>
                    <a:pt x="2894" y="952"/>
                  </a:lnTo>
                  <a:lnTo>
                    <a:pt x="2892" y="953"/>
                  </a:lnTo>
                  <a:lnTo>
                    <a:pt x="2892" y="953"/>
                  </a:lnTo>
                  <a:lnTo>
                    <a:pt x="2891" y="953"/>
                  </a:lnTo>
                  <a:lnTo>
                    <a:pt x="2891" y="953"/>
                  </a:lnTo>
                  <a:lnTo>
                    <a:pt x="2889" y="953"/>
                  </a:lnTo>
                  <a:lnTo>
                    <a:pt x="2889" y="953"/>
                  </a:lnTo>
                  <a:lnTo>
                    <a:pt x="2888" y="952"/>
                  </a:lnTo>
                  <a:lnTo>
                    <a:pt x="2885" y="952"/>
                  </a:lnTo>
                  <a:lnTo>
                    <a:pt x="2885" y="952"/>
                  </a:lnTo>
                  <a:lnTo>
                    <a:pt x="2882" y="952"/>
                  </a:lnTo>
                  <a:lnTo>
                    <a:pt x="2882" y="952"/>
                  </a:lnTo>
                  <a:lnTo>
                    <a:pt x="2879" y="954"/>
                  </a:lnTo>
                  <a:lnTo>
                    <a:pt x="2875" y="957"/>
                  </a:lnTo>
                  <a:lnTo>
                    <a:pt x="2875" y="957"/>
                  </a:lnTo>
                  <a:lnTo>
                    <a:pt x="2872" y="960"/>
                  </a:lnTo>
                  <a:lnTo>
                    <a:pt x="2872" y="960"/>
                  </a:lnTo>
                  <a:lnTo>
                    <a:pt x="2871" y="965"/>
                  </a:lnTo>
                  <a:lnTo>
                    <a:pt x="2871" y="965"/>
                  </a:lnTo>
                  <a:lnTo>
                    <a:pt x="2873" y="965"/>
                  </a:lnTo>
                  <a:lnTo>
                    <a:pt x="2871" y="965"/>
                  </a:lnTo>
                  <a:lnTo>
                    <a:pt x="2871" y="965"/>
                  </a:lnTo>
                  <a:lnTo>
                    <a:pt x="2871" y="968"/>
                  </a:lnTo>
                  <a:lnTo>
                    <a:pt x="2871" y="968"/>
                  </a:lnTo>
                  <a:lnTo>
                    <a:pt x="2871" y="970"/>
                  </a:lnTo>
                  <a:lnTo>
                    <a:pt x="2871" y="970"/>
                  </a:lnTo>
                  <a:lnTo>
                    <a:pt x="2869" y="973"/>
                  </a:lnTo>
                  <a:lnTo>
                    <a:pt x="2868" y="976"/>
                  </a:lnTo>
                  <a:lnTo>
                    <a:pt x="2868" y="976"/>
                  </a:lnTo>
                  <a:lnTo>
                    <a:pt x="2869" y="981"/>
                  </a:lnTo>
                  <a:lnTo>
                    <a:pt x="2872" y="983"/>
                  </a:lnTo>
                  <a:lnTo>
                    <a:pt x="2872" y="983"/>
                  </a:lnTo>
                  <a:lnTo>
                    <a:pt x="2872" y="985"/>
                  </a:lnTo>
                  <a:lnTo>
                    <a:pt x="2872" y="985"/>
                  </a:lnTo>
                  <a:lnTo>
                    <a:pt x="2873" y="986"/>
                  </a:lnTo>
                  <a:lnTo>
                    <a:pt x="2873" y="986"/>
                  </a:lnTo>
                  <a:lnTo>
                    <a:pt x="2872" y="991"/>
                  </a:lnTo>
                  <a:lnTo>
                    <a:pt x="2872" y="991"/>
                  </a:lnTo>
                  <a:lnTo>
                    <a:pt x="2872" y="992"/>
                  </a:lnTo>
                  <a:lnTo>
                    <a:pt x="2872" y="992"/>
                  </a:lnTo>
                  <a:lnTo>
                    <a:pt x="2869" y="992"/>
                  </a:lnTo>
                  <a:lnTo>
                    <a:pt x="2869" y="992"/>
                  </a:lnTo>
                  <a:lnTo>
                    <a:pt x="2865" y="992"/>
                  </a:lnTo>
                  <a:lnTo>
                    <a:pt x="2865" y="992"/>
                  </a:lnTo>
                  <a:lnTo>
                    <a:pt x="2859" y="992"/>
                  </a:lnTo>
                  <a:lnTo>
                    <a:pt x="2859" y="992"/>
                  </a:lnTo>
                  <a:lnTo>
                    <a:pt x="2850" y="996"/>
                  </a:lnTo>
                  <a:lnTo>
                    <a:pt x="2850" y="996"/>
                  </a:lnTo>
                  <a:lnTo>
                    <a:pt x="2847" y="999"/>
                  </a:lnTo>
                  <a:lnTo>
                    <a:pt x="2843" y="1002"/>
                  </a:lnTo>
                  <a:lnTo>
                    <a:pt x="2843" y="1002"/>
                  </a:lnTo>
                  <a:lnTo>
                    <a:pt x="2839" y="1008"/>
                  </a:lnTo>
                  <a:lnTo>
                    <a:pt x="2839" y="1008"/>
                  </a:lnTo>
                  <a:lnTo>
                    <a:pt x="2836" y="1011"/>
                  </a:lnTo>
                  <a:lnTo>
                    <a:pt x="2833" y="1017"/>
                  </a:lnTo>
                  <a:lnTo>
                    <a:pt x="2833" y="1017"/>
                  </a:lnTo>
                  <a:lnTo>
                    <a:pt x="2833" y="1020"/>
                  </a:lnTo>
                  <a:lnTo>
                    <a:pt x="2833" y="1020"/>
                  </a:lnTo>
                  <a:lnTo>
                    <a:pt x="2834" y="1028"/>
                  </a:lnTo>
                  <a:lnTo>
                    <a:pt x="2834" y="1028"/>
                  </a:lnTo>
                  <a:lnTo>
                    <a:pt x="2834" y="1033"/>
                  </a:lnTo>
                  <a:lnTo>
                    <a:pt x="2834" y="1033"/>
                  </a:lnTo>
                  <a:lnTo>
                    <a:pt x="2836" y="1034"/>
                  </a:lnTo>
                  <a:lnTo>
                    <a:pt x="2836" y="1034"/>
                  </a:lnTo>
                  <a:lnTo>
                    <a:pt x="2837" y="1036"/>
                  </a:lnTo>
                  <a:lnTo>
                    <a:pt x="2836" y="1034"/>
                  </a:lnTo>
                  <a:lnTo>
                    <a:pt x="2836" y="1034"/>
                  </a:lnTo>
                  <a:lnTo>
                    <a:pt x="2837" y="1036"/>
                  </a:lnTo>
                  <a:lnTo>
                    <a:pt x="2836" y="1034"/>
                  </a:lnTo>
                  <a:lnTo>
                    <a:pt x="2837" y="1036"/>
                  </a:lnTo>
                  <a:lnTo>
                    <a:pt x="2837" y="1033"/>
                  </a:lnTo>
                  <a:lnTo>
                    <a:pt x="2837" y="1033"/>
                  </a:lnTo>
                  <a:lnTo>
                    <a:pt x="2836" y="1034"/>
                  </a:lnTo>
                  <a:lnTo>
                    <a:pt x="2837" y="1036"/>
                  </a:lnTo>
                  <a:lnTo>
                    <a:pt x="2837" y="1033"/>
                  </a:lnTo>
                  <a:lnTo>
                    <a:pt x="2837" y="1033"/>
                  </a:lnTo>
                  <a:lnTo>
                    <a:pt x="2836" y="1033"/>
                  </a:lnTo>
                  <a:lnTo>
                    <a:pt x="2836" y="1033"/>
                  </a:lnTo>
                  <a:lnTo>
                    <a:pt x="2829" y="1033"/>
                  </a:lnTo>
                  <a:lnTo>
                    <a:pt x="2829" y="1033"/>
                  </a:lnTo>
                  <a:lnTo>
                    <a:pt x="2826" y="1033"/>
                  </a:lnTo>
                  <a:lnTo>
                    <a:pt x="2823" y="1034"/>
                  </a:lnTo>
                  <a:lnTo>
                    <a:pt x="2823" y="1034"/>
                  </a:lnTo>
                  <a:lnTo>
                    <a:pt x="2817" y="1040"/>
                  </a:lnTo>
                  <a:lnTo>
                    <a:pt x="2817" y="1040"/>
                  </a:lnTo>
                  <a:lnTo>
                    <a:pt x="2816" y="1044"/>
                  </a:lnTo>
                  <a:lnTo>
                    <a:pt x="2816" y="1044"/>
                  </a:lnTo>
                  <a:lnTo>
                    <a:pt x="2814" y="1049"/>
                  </a:lnTo>
                  <a:lnTo>
                    <a:pt x="2814" y="1049"/>
                  </a:lnTo>
                  <a:lnTo>
                    <a:pt x="2814" y="1050"/>
                  </a:lnTo>
                  <a:lnTo>
                    <a:pt x="2814" y="1050"/>
                  </a:lnTo>
                  <a:lnTo>
                    <a:pt x="2814" y="1050"/>
                  </a:lnTo>
                  <a:lnTo>
                    <a:pt x="2816" y="1053"/>
                  </a:lnTo>
                  <a:lnTo>
                    <a:pt x="2816" y="1053"/>
                  </a:lnTo>
                  <a:lnTo>
                    <a:pt x="2816" y="1056"/>
                  </a:lnTo>
                  <a:lnTo>
                    <a:pt x="2816" y="1056"/>
                  </a:lnTo>
                  <a:lnTo>
                    <a:pt x="2816" y="1056"/>
                  </a:lnTo>
                  <a:lnTo>
                    <a:pt x="2814" y="1059"/>
                  </a:lnTo>
                  <a:lnTo>
                    <a:pt x="2814" y="1059"/>
                  </a:lnTo>
                  <a:lnTo>
                    <a:pt x="2816" y="1060"/>
                  </a:lnTo>
                  <a:lnTo>
                    <a:pt x="2816" y="1060"/>
                  </a:lnTo>
                  <a:lnTo>
                    <a:pt x="2817" y="1062"/>
                  </a:lnTo>
                  <a:lnTo>
                    <a:pt x="2817" y="1062"/>
                  </a:lnTo>
                  <a:lnTo>
                    <a:pt x="2818" y="1063"/>
                  </a:lnTo>
                  <a:lnTo>
                    <a:pt x="2818" y="1065"/>
                  </a:lnTo>
                  <a:lnTo>
                    <a:pt x="2818" y="1065"/>
                  </a:lnTo>
                  <a:lnTo>
                    <a:pt x="2818" y="1065"/>
                  </a:lnTo>
                  <a:lnTo>
                    <a:pt x="2814" y="1075"/>
                  </a:lnTo>
                  <a:lnTo>
                    <a:pt x="2814" y="1075"/>
                  </a:lnTo>
                  <a:lnTo>
                    <a:pt x="2811" y="1079"/>
                  </a:lnTo>
                  <a:lnTo>
                    <a:pt x="2811" y="1079"/>
                  </a:lnTo>
                  <a:lnTo>
                    <a:pt x="2808" y="1082"/>
                  </a:lnTo>
                  <a:lnTo>
                    <a:pt x="2808" y="1082"/>
                  </a:lnTo>
                  <a:lnTo>
                    <a:pt x="2805" y="1083"/>
                  </a:lnTo>
                  <a:lnTo>
                    <a:pt x="2805" y="1083"/>
                  </a:lnTo>
                  <a:lnTo>
                    <a:pt x="2802" y="1088"/>
                  </a:lnTo>
                  <a:lnTo>
                    <a:pt x="2802" y="1088"/>
                  </a:lnTo>
                  <a:lnTo>
                    <a:pt x="2800" y="1095"/>
                  </a:lnTo>
                  <a:lnTo>
                    <a:pt x="2800" y="1095"/>
                  </a:lnTo>
                  <a:lnTo>
                    <a:pt x="2798" y="1096"/>
                  </a:lnTo>
                  <a:lnTo>
                    <a:pt x="2798" y="1096"/>
                  </a:lnTo>
                  <a:lnTo>
                    <a:pt x="2798" y="1096"/>
                  </a:lnTo>
                  <a:lnTo>
                    <a:pt x="2798" y="1096"/>
                  </a:lnTo>
                  <a:lnTo>
                    <a:pt x="2798" y="1096"/>
                  </a:lnTo>
                  <a:lnTo>
                    <a:pt x="2798" y="1096"/>
                  </a:lnTo>
                  <a:lnTo>
                    <a:pt x="2798" y="1096"/>
                  </a:lnTo>
                  <a:lnTo>
                    <a:pt x="2798" y="1098"/>
                  </a:lnTo>
                  <a:lnTo>
                    <a:pt x="2800" y="1096"/>
                  </a:lnTo>
                  <a:lnTo>
                    <a:pt x="2798" y="1096"/>
                  </a:lnTo>
                  <a:lnTo>
                    <a:pt x="2798" y="1098"/>
                  </a:lnTo>
                  <a:lnTo>
                    <a:pt x="2800" y="1096"/>
                  </a:lnTo>
                  <a:lnTo>
                    <a:pt x="2798" y="1096"/>
                  </a:lnTo>
                  <a:lnTo>
                    <a:pt x="2800" y="1096"/>
                  </a:lnTo>
                  <a:lnTo>
                    <a:pt x="2800" y="1096"/>
                  </a:lnTo>
                  <a:lnTo>
                    <a:pt x="2798" y="1096"/>
                  </a:lnTo>
                  <a:lnTo>
                    <a:pt x="2800" y="1096"/>
                  </a:lnTo>
                  <a:lnTo>
                    <a:pt x="2798" y="1096"/>
                  </a:lnTo>
                  <a:lnTo>
                    <a:pt x="2798" y="1096"/>
                  </a:lnTo>
                  <a:lnTo>
                    <a:pt x="2797" y="1091"/>
                  </a:lnTo>
                  <a:lnTo>
                    <a:pt x="2795" y="1085"/>
                  </a:lnTo>
                  <a:lnTo>
                    <a:pt x="2795" y="1085"/>
                  </a:lnTo>
                  <a:lnTo>
                    <a:pt x="2794" y="1073"/>
                  </a:lnTo>
                  <a:lnTo>
                    <a:pt x="2794" y="1073"/>
                  </a:lnTo>
                  <a:lnTo>
                    <a:pt x="2789" y="1063"/>
                  </a:lnTo>
                  <a:lnTo>
                    <a:pt x="2789" y="1063"/>
                  </a:lnTo>
                  <a:lnTo>
                    <a:pt x="2787" y="1059"/>
                  </a:lnTo>
                  <a:lnTo>
                    <a:pt x="2787" y="1059"/>
                  </a:lnTo>
                  <a:lnTo>
                    <a:pt x="2785" y="1056"/>
                  </a:lnTo>
                  <a:lnTo>
                    <a:pt x="2785" y="1056"/>
                  </a:lnTo>
                  <a:lnTo>
                    <a:pt x="2785" y="1056"/>
                  </a:lnTo>
                  <a:lnTo>
                    <a:pt x="2784" y="1054"/>
                  </a:lnTo>
                  <a:lnTo>
                    <a:pt x="2784" y="1054"/>
                  </a:lnTo>
                  <a:lnTo>
                    <a:pt x="2781" y="1049"/>
                  </a:lnTo>
                  <a:lnTo>
                    <a:pt x="2778" y="1038"/>
                  </a:lnTo>
                  <a:lnTo>
                    <a:pt x="2778" y="1038"/>
                  </a:lnTo>
                  <a:lnTo>
                    <a:pt x="2778" y="1020"/>
                  </a:lnTo>
                  <a:lnTo>
                    <a:pt x="2778" y="1020"/>
                  </a:lnTo>
                  <a:lnTo>
                    <a:pt x="2776" y="1008"/>
                  </a:lnTo>
                  <a:lnTo>
                    <a:pt x="2774" y="998"/>
                  </a:lnTo>
                  <a:lnTo>
                    <a:pt x="2774" y="998"/>
                  </a:lnTo>
                  <a:lnTo>
                    <a:pt x="2772" y="988"/>
                  </a:lnTo>
                  <a:lnTo>
                    <a:pt x="2772" y="973"/>
                  </a:lnTo>
                  <a:lnTo>
                    <a:pt x="2772" y="973"/>
                  </a:lnTo>
                  <a:lnTo>
                    <a:pt x="2772" y="962"/>
                  </a:lnTo>
                  <a:lnTo>
                    <a:pt x="2772" y="962"/>
                  </a:lnTo>
                  <a:lnTo>
                    <a:pt x="2772" y="957"/>
                  </a:lnTo>
                  <a:lnTo>
                    <a:pt x="2772" y="957"/>
                  </a:lnTo>
                  <a:lnTo>
                    <a:pt x="2774" y="954"/>
                  </a:lnTo>
                  <a:lnTo>
                    <a:pt x="2774" y="954"/>
                  </a:lnTo>
                  <a:lnTo>
                    <a:pt x="2778" y="949"/>
                  </a:lnTo>
                  <a:lnTo>
                    <a:pt x="2778" y="949"/>
                  </a:lnTo>
                  <a:lnTo>
                    <a:pt x="2788" y="934"/>
                  </a:lnTo>
                  <a:lnTo>
                    <a:pt x="2788" y="934"/>
                  </a:lnTo>
                  <a:lnTo>
                    <a:pt x="2792" y="927"/>
                  </a:lnTo>
                  <a:lnTo>
                    <a:pt x="2792" y="927"/>
                  </a:lnTo>
                  <a:lnTo>
                    <a:pt x="2794" y="921"/>
                  </a:lnTo>
                  <a:lnTo>
                    <a:pt x="2794" y="921"/>
                  </a:lnTo>
                  <a:lnTo>
                    <a:pt x="2795" y="915"/>
                  </a:lnTo>
                  <a:lnTo>
                    <a:pt x="2795" y="915"/>
                  </a:lnTo>
                  <a:lnTo>
                    <a:pt x="2797" y="912"/>
                  </a:lnTo>
                  <a:lnTo>
                    <a:pt x="2797" y="912"/>
                  </a:lnTo>
                  <a:lnTo>
                    <a:pt x="2800" y="911"/>
                  </a:lnTo>
                  <a:lnTo>
                    <a:pt x="2800" y="911"/>
                  </a:lnTo>
                  <a:lnTo>
                    <a:pt x="2808" y="910"/>
                  </a:lnTo>
                  <a:lnTo>
                    <a:pt x="2808" y="910"/>
                  </a:lnTo>
                  <a:lnTo>
                    <a:pt x="2811" y="908"/>
                  </a:lnTo>
                  <a:lnTo>
                    <a:pt x="2811" y="908"/>
                  </a:lnTo>
                  <a:lnTo>
                    <a:pt x="2814" y="905"/>
                  </a:lnTo>
                  <a:lnTo>
                    <a:pt x="2814" y="905"/>
                  </a:lnTo>
                  <a:lnTo>
                    <a:pt x="2814" y="905"/>
                  </a:lnTo>
                  <a:lnTo>
                    <a:pt x="2821" y="889"/>
                  </a:lnTo>
                  <a:lnTo>
                    <a:pt x="2821" y="889"/>
                  </a:lnTo>
                  <a:lnTo>
                    <a:pt x="2827" y="881"/>
                  </a:lnTo>
                  <a:lnTo>
                    <a:pt x="2827" y="881"/>
                  </a:lnTo>
                  <a:lnTo>
                    <a:pt x="2831" y="875"/>
                  </a:lnTo>
                  <a:lnTo>
                    <a:pt x="2831" y="875"/>
                  </a:lnTo>
                  <a:lnTo>
                    <a:pt x="2845" y="860"/>
                  </a:lnTo>
                  <a:lnTo>
                    <a:pt x="2845" y="860"/>
                  </a:lnTo>
                  <a:lnTo>
                    <a:pt x="2852" y="852"/>
                  </a:lnTo>
                  <a:lnTo>
                    <a:pt x="2852" y="852"/>
                  </a:lnTo>
                  <a:lnTo>
                    <a:pt x="2858" y="847"/>
                  </a:lnTo>
                  <a:lnTo>
                    <a:pt x="2858" y="847"/>
                  </a:lnTo>
                  <a:lnTo>
                    <a:pt x="2865" y="842"/>
                  </a:lnTo>
                  <a:lnTo>
                    <a:pt x="2865" y="842"/>
                  </a:lnTo>
                  <a:lnTo>
                    <a:pt x="2868" y="839"/>
                  </a:lnTo>
                  <a:lnTo>
                    <a:pt x="2869" y="834"/>
                  </a:lnTo>
                  <a:lnTo>
                    <a:pt x="2869" y="833"/>
                  </a:lnTo>
                  <a:lnTo>
                    <a:pt x="2869" y="833"/>
                  </a:lnTo>
                  <a:lnTo>
                    <a:pt x="2873" y="830"/>
                  </a:lnTo>
                  <a:lnTo>
                    <a:pt x="2873" y="830"/>
                  </a:lnTo>
                  <a:lnTo>
                    <a:pt x="2881" y="823"/>
                  </a:lnTo>
                  <a:lnTo>
                    <a:pt x="2881" y="823"/>
                  </a:lnTo>
                  <a:lnTo>
                    <a:pt x="2885" y="820"/>
                  </a:lnTo>
                  <a:lnTo>
                    <a:pt x="2885" y="820"/>
                  </a:lnTo>
                  <a:lnTo>
                    <a:pt x="2887" y="818"/>
                  </a:lnTo>
                  <a:lnTo>
                    <a:pt x="2887" y="818"/>
                  </a:lnTo>
                  <a:lnTo>
                    <a:pt x="2887" y="817"/>
                  </a:lnTo>
                  <a:lnTo>
                    <a:pt x="2887" y="817"/>
                  </a:lnTo>
                  <a:lnTo>
                    <a:pt x="2887" y="814"/>
                  </a:lnTo>
                  <a:lnTo>
                    <a:pt x="2887" y="814"/>
                  </a:lnTo>
                  <a:lnTo>
                    <a:pt x="2884"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7" y="808"/>
                  </a:lnTo>
                  <a:lnTo>
                    <a:pt x="2887" y="808"/>
                  </a:lnTo>
                  <a:lnTo>
                    <a:pt x="2888" y="807"/>
                  </a:lnTo>
                  <a:lnTo>
                    <a:pt x="2888" y="807"/>
                  </a:lnTo>
                  <a:lnTo>
                    <a:pt x="2889" y="802"/>
                  </a:lnTo>
                  <a:lnTo>
                    <a:pt x="2889" y="802"/>
                  </a:lnTo>
                  <a:lnTo>
                    <a:pt x="2888" y="801"/>
                  </a:lnTo>
                  <a:lnTo>
                    <a:pt x="2888" y="801"/>
                  </a:lnTo>
                  <a:lnTo>
                    <a:pt x="2888" y="801"/>
                  </a:lnTo>
                  <a:lnTo>
                    <a:pt x="2887" y="797"/>
                  </a:lnTo>
                  <a:lnTo>
                    <a:pt x="2887" y="797"/>
                  </a:lnTo>
                  <a:lnTo>
                    <a:pt x="2885" y="792"/>
                  </a:lnTo>
                  <a:lnTo>
                    <a:pt x="2885" y="792"/>
                  </a:lnTo>
                  <a:lnTo>
                    <a:pt x="2885" y="788"/>
                  </a:lnTo>
                  <a:lnTo>
                    <a:pt x="2885" y="788"/>
                  </a:lnTo>
                  <a:lnTo>
                    <a:pt x="2888" y="778"/>
                  </a:lnTo>
                  <a:lnTo>
                    <a:pt x="2888" y="778"/>
                  </a:lnTo>
                  <a:lnTo>
                    <a:pt x="2891" y="772"/>
                  </a:lnTo>
                  <a:lnTo>
                    <a:pt x="2891" y="772"/>
                  </a:lnTo>
                  <a:lnTo>
                    <a:pt x="2894" y="768"/>
                  </a:lnTo>
                  <a:lnTo>
                    <a:pt x="2894" y="768"/>
                  </a:lnTo>
                  <a:lnTo>
                    <a:pt x="2895" y="765"/>
                  </a:lnTo>
                  <a:lnTo>
                    <a:pt x="2895" y="765"/>
                  </a:lnTo>
                  <a:lnTo>
                    <a:pt x="2895" y="762"/>
                  </a:lnTo>
                  <a:lnTo>
                    <a:pt x="2895" y="762"/>
                  </a:lnTo>
                  <a:lnTo>
                    <a:pt x="2895" y="762"/>
                  </a:lnTo>
                  <a:lnTo>
                    <a:pt x="2895" y="760"/>
                  </a:lnTo>
                  <a:lnTo>
                    <a:pt x="2895" y="757"/>
                  </a:lnTo>
                  <a:lnTo>
                    <a:pt x="2895" y="757"/>
                  </a:lnTo>
                  <a:lnTo>
                    <a:pt x="2895" y="755"/>
                  </a:lnTo>
                  <a:lnTo>
                    <a:pt x="2895" y="755"/>
                  </a:lnTo>
                  <a:lnTo>
                    <a:pt x="2894" y="752"/>
                  </a:lnTo>
                  <a:lnTo>
                    <a:pt x="2894" y="752"/>
                  </a:lnTo>
                  <a:lnTo>
                    <a:pt x="2891" y="750"/>
                  </a:lnTo>
                  <a:lnTo>
                    <a:pt x="2891" y="750"/>
                  </a:lnTo>
                  <a:lnTo>
                    <a:pt x="2889" y="752"/>
                  </a:lnTo>
                  <a:lnTo>
                    <a:pt x="2889" y="752"/>
                  </a:lnTo>
                  <a:lnTo>
                    <a:pt x="2889" y="752"/>
                  </a:lnTo>
                  <a:lnTo>
                    <a:pt x="2885" y="755"/>
                  </a:lnTo>
                  <a:lnTo>
                    <a:pt x="2879" y="757"/>
                  </a:lnTo>
                  <a:lnTo>
                    <a:pt x="2879" y="757"/>
                  </a:lnTo>
                  <a:lnTo>
                    <a:pt x="2876" y="759"/>
                  </a:lnTo>
                  <a:lnTo>
                    <a:pt x="2872" y="760"/>
                  </a:lnTo>
                  <a:lnTo>
                    <a:pt x="2872" y="760"/>
                  </a:lnTo>
                  <a:lnTo>
                    <a:pt x="2871" y="765"/>
                  </a:lnTo>
                  <a:lnTo>
                    <a:pt x="2869" y="769"/>
                  </a:lnTo>
                  <a:lnTo>
                    <a:pt x="2869" y="769"/>
                  </a:lnTo>
                  <a:lnTo>
                    <a:pt x="2869" y="772"/>
                  </a:lnTo>
                  <a:lnTo>
                    <a:pt x="2869" y="772"/>
                  </a:lnTo>
                  <a:lnTo>
                    <a:pt x="2869" y="772"/>
                  </a:lnTo>
                  <a:lnTo>
                    <a:pt x="2869" y="772"/>
                  </a:lnTo>
                  <a:lnTo>
                    <a:pt x="2872" y="779"/>
                  </a:lnTo>
                  <a:lnTo>
                    <a:pt x="2872" y="779"/>
                  </a:lnTo>
                  <a:lnTo>
                    <a:pt x="2872" y="785"/>
                  </a:lnTo>
                  <a:lnTo>
                    <a:pt x="2872" y="785"/>
                  </a:lnTo>
                  <a:lnTo>
                    <a:pt x="2872" y="786"/>
                  </a:lnTo>
                  <a:lnTo>
                    <a:pt x="2872" y="786"/>
                  </a:lnTo>
                  <a:lnTo>
                    <a:pt x="2869" y="789"/>
                  </a:lnTo>
                  <a:lnTo>
                    <a:pt x="2869" y="789"/>
                  </a:lnTo>
                  <a:lnTo>
                    <a:pt x="2860" y="798"/>
                  </a:lnTo>
                  <a:lnTo>
                    <a:pt x="2860" y="798"/>
                  </a:lnTo>
                  <a:lnTo>
                    <a:pt x="2853" y="807"/>
                  </a:lnTo>
                  <a:lnTo>
                    <a:pt x="2853" y="807"/>
                  </a:lnTo>
                  <a:lnTo>
                    <a:pt x="2849" y="811"/>
                  </a:lnTo>
                  <a:lnTo>
                    <a:pt x="2849" y="811"/>
                  </a:lnTo>
                  <a:lnTo>
                    <a:pt x="2849" y="813"/>
                  </a:lnTo>
                  <a:lnTo>
                    <a:pt x="2849" y="813"/>
                  </a:lnTo>
                  <a:lnTo>
                    <a:pt x="2849" y="813"/>
                  </a:lnTo>
                  <a:lnTo>
                    <a:pt x="2849" y="814"/>
                  </a:lnTo>
                  <a:lnTo>
                    <a:pt x="2849" y="813"/>
                  </a:lnTo>
                  <a:lnTo>
                    <a:pt x="2849" y="813"/>
                  </a:lnTo>
                  <a:lnTo>
                    <a:pt x="2849" y="814"/>
                  </a:lnTo>
                  <a:lnTo>
                    <a:pt x="2849" y="813"/>
                  </a:lnTo>
                  <a:lnTo>
                    <a:pt x="2849" y="814"/>
                  </a:lnTo>
                  <a:lnTo>
                    <a:pt x="2849" y="813"/>
                  </a:lnTo>
                  <a:lnTo>
                    <a:pt x="2849" y="813"/>
                  </a:lnTo>
                  <a:lnTo>
                    <a:pt x="2849" y="814"/>
                  </a:lnTo>
                  <a:lnTo>
                    <a:pt x="2849" y="813"/>
                  </a:lnTo>
                  <a:lnTo>
                    <a:pt x="2849" y="813"/>
                  </a:lnTo>
                  <a:lnTo>
                    <a:pt x="2849" y="813"/>
                  </a:lnTo>
                  <a:lnTo>
                    <a:pt x="2849" y="813"/>
                  </a:lnTo>
                  <a:lnTo>
                    <a:pt x="2849" y="813"/>
                  </a:lnTo>
                  <a:lnTo>
                    <a:pt x="2849" y="813"/>
                  </a:lnTo>
                  <a:lnTo>
                    <a:pt x="2849" y="813"/>
                  </a:lnTo>
                  <a:lnTo>
                    <a:pt x="2849" y="813"/>
                  </a:lnTo>
                  <a:lnTo>
                    <a:pt x="2846" y="811"/>
                  </a:lnTo>
                  <a:lnTo>
                    <a:pt x="2846" y="811"/>
                  </a:lnTo>
                  <a:lnTo>
                    <a:pt x="2842" y="808"/>
                  </a:lnTo>
                  <a:lnTo>
                    <a:pt x="2842" y="808"/>
                  </a:lnTo>
                  <a:lnTo>
                    <a:pt x="2839" y="805"/>
                  </a:lnTo>
                  <a:lnTo>
                    <a:pt x="2839" y="804"/>
                  </a:lnTo>
                  <a:lnTo>
                    <a:pt x="2839" y="804"/>
                  </a:lnTo>
                  <a:lnTo>
                    <a:pt x="2839" y="804"/>
                  </a:lnTo>
                  <a:lnTo>
                    <a:pt x="2840" y="801"/>
                  </a:lnTo>
                  <a:lnTo>
                    <a:pt x="2843" y="798"/>
                  </a:lnTo>
                  <a:lnTo>
                    <a:pt x="2843" y="798"/>
                  </a:lnTo>
                  <a:lnTo>
                    <a:pt x="2846" y="794"/>
                  </a:lnTo>
                  <a:lnTo>
                    <a:pt x="2847" y="788"/>
                  </a:lnTo>
                  <a:lnTo>
                    <a:pt x="2847" y="788"/>
                  </a:lnTo>
                  <a:lnTo>
                    <a:pt x="2852" y="778"/>
                  </a:lnTo>
                  <a:lnTo>
                    <a:pt x="2852" y="778"/>
                  </a:lnTo>
                  <a:lnTo>
                    <a:pt x="2853" y="772"/>
                  </a:lnTo>
                  <a:lnTo>
                    <a:pt x="2853" y="772"/>
                  </a:lnTo>
                  <a:lnTo>
                    <a:pt x="2855" y="771"/>
                  </a:lnTo>
                  <a:lnTo>
                    <a:pt x="2855" y="771"/>
                  </a:lnTo>
                  <a:lnTo>
                    <a:pt x="2855" y="768"/>
                  </a:lnTo>
                  <a:lnTo>
                    <a:pt x="2855" y="768"/>
                  </a:lnTo>
                  <a:lnTo>
                    <a:pt x="2855" y="766"/>
                  </a:lnTo>
                  <a:lnTo>
                    <a:pt x="2853" y="766"/>
                  </a:lnTo>
                  <a:lnTo>
                    <a:pt x="2852" y="765"/>
                  </a:lnTo>
                  <a:lnTo>
                    <a:pt x="2852" y="765"/>
                  </a:lnTo>
                  <a:lnTo>
                    <a:pt x="2850" y="766"/>
                  </a:lnTo>
                  <a:lnTo>
                    <a:pt x="2850" y="766"/>
                  </a:lnTo>
                  <a:lnTo>
                    <a:pt x="2850" y="766"/>
                  </a:lnTo>
                  <a:lnTo>
                    <a:pt x="2849" y="768"/>
                  </a:lnTo>
                  <a:lnTo>
                    <a:pt x="2849" y="768"/>
                  </a:lnTo>
                  <a:lnTo>
                    <a:pt x="2843" y="775"/>
                  </a:lnTo>
                  <a:lnTo>
                    <a:pt x="2843" y="775"/>
                  </a:lnTo>
                  <a:lnTo>
                    <a:pt x="2840" y="778"/>
                  </a:lnTo>
                  <a:lnTo>
                    <a:pt x="2839" y="779"/>
                  </a:lnTo>
                  <a:lnTo>
                    <a:pt x="2839" y="779"/>
                  </a:lnTo>
                  <a:lnTo>
                    <a:pt x="2834" y="781"/>
                  </a:lnTo>
                  <a:lnTo>
                    <a:pt x="2834" y="781"/>
                  </a:lnTo>
                  <a:lnTo>
                    <a:pt x="2830" y="779"/>
                  </a:lnTo>
                  <a:lnTo>
                    <a:pt x="2830" y="779"/>
                  </a:lnTo>
                  <a:lnTo>
                    <a:pt x="2826" y="781"/>
                  </a:lnTo>
                  <a:lnTo>
                    <a:pt x="2826" y="781"/>
                  </a:lnTo>
                  <a:lnTo>
                    <a:pt x="2823" y="782"/>
                  </a:lnTo>
                  <a:lnTo>
                    <a:pt x="2823" y="782"/>
                  </a:lnTo>
                  <a:lnTo>
                    <a:pt x="2813" y="786"/>
                  </a:lnTo>
                  <a:lnTo>
                    <a:pt x="2813" y="786"/>
                  </a:lnTo>
                  <a:lnTo>
                    <a:pt x="2807" y="789"/>
                  </a:lnTo>
                  <a:lnTo>
                    <a:pt x="2802" y="792"/>
                  </a:lnTo>
                  <a:lnTo>
                    <a:pt x="2802" y="792"/>
                  </a:lnTo>
                  <a:lnTo>
                    <a:pt x="2800" y="797"/>
                  </a:lnTo>
                  <a:lnTo>
                    <a:pt x="2797" y="802"/>
                  </a:lnTo>
                  <a:lnTo>
                    <a:pt x="2797" y="802"/>
                  </a:lnTo>
                  <a:lnTo>
                    <a:pt x="2791" y="820"/>
                  </a:lnTo>
                  <a:lnTo>
                    <a:pt x="2791" y="820"/>
                  </a:lnTo>
                  <a:lnTo>
                    <a:pt x="2787" y="827"/>
                  </a:lnTo>
                  <a:lnTo>
                    <a:pt x="2787" y="827"/>
                  </a:lnTo>
                  <a:lnTo>
                    <a:pt x="2785" y="830"/>
                  </a:lnTo>
                  <a:lnTo>
                    <a:pt x="2785" y="830"/>
                  </a:lnTo>
                  <a:lnTo>
                    <a:pt x="2776" y="833"/>
                  </a:lnTo>
                  <a:lnTo>
                    <a:pt x="2776" y="833"/>
                  </a:lnTo>
                  <a:lnTo>
                    <a:pt x="2772" y="836"/>
                  </a:lnTo>
                  <a:lnTo>
                    <a:pt x="2769" y="839"/>
                  </a:lnTo>
                  <a:lnTo>
                    <a:pt x="2769" y="839"/>
                  </a:lnTo>
                  <a:lnTo>
                    <a:pt x="2763" y="846"/>
                  </a:lnTo>
                  <a:lnTo>
                    <a:pt x="2763" y="846"/>
                  </a:lnTo>
                  <a:lnTo>
                    <a:pt x="2758" y="853"/>
                  </a:lnTo>
                  <a:lnTo>
                    <a:pt x="2758" y="853"/>
                  </a:lnTo>
                  <a:lnTo>
                    <a:pt x="2755" y="857"/>
                  </a:lnTo>
                  <a:lnTo>
                    <a:pt x="2755" y="857"/>
                  </a:lnTo>
                  <a:lnTo>
                    <a:pt x="2753" y="862"/>
                  </a:lnTo>
                  <a:lnTo>
                    <a:pt x="2753" y="862"/>
                  </a:lnTo>
                  <a:lnTo>
                    <a:pt x="2755" y="865"/>
                  </a:lnTo>
                  <a:lnTo>
                    <a:pt x="2755" y="865"/>
                  </a:lnTo>
                  <a:lnTo>
                    <a:pt x="2758" y="865"/>
                  </a:lnTo>
                  <a:lnTo>
                    <a:pt x="2758" y="865"/>
                  </a:lnTo>
                  <a:lnTo>
                    <a:pt x="2759" y="865"/>
                  </a:lnTo>
                  <a:lnTo>
                    <a:pt x="2759" y="865"/>
                  </a:lnTo>
                  <a:lnTo>
                    <a:pt x="2769" y="863"/>
                  </a:lnTo>
                  <a:lnTo>
                    <a:pt x="2769" y="863"/>
                  </a:lnTo>
                  <a:lnTo>
                    <a:pt x="2772" y="865"/>
                  </a:lnTo>
                  <a:lnTo>
                    <a:pt x="2774" y="865"/>
                  </a:lnTo>
                  <a:lnTo>
                    <a:pt x="2774" y="865"/>
                  </a:lnTo>
                  <a:lnTo>
                    <a:pt x="2774" y="865"/>
                  </a:lnTo>
                  <a:lnTo>
                    <a:pt x="2774" y="865"/>
                  </a:lnTo>
                  <a:lnTo>
                    <a:pt x="2774" y="865"/>
                  </a:lnTo>
                  <a:lnTo>
                    <a:pt x="2774" y="865"/>
                  </a:lnTo>
                  <a:lnTo>
                    <a:pt x="2774" y="865"/>
                  </a:lnTo>
                  <a:lnTo>
                    <a:pt x="2774" y="865"/>
                  </a:lnTo>
                  <a:lnTo>
                    <a:pt x="2774" y="866"/>
                  </a:lnTo>
                  <a:lnTo>
                    <a:pt x="2774" y="866"/>
                  </a:lnTo>
                  <a:lnTo>
                    <a:pt x="2774" y="868"/>
                  </a:lnTo>
                  <a:lnTo>
                    <a:pt x="2774" y="868"/>
                  </a:lnTo>
                  <a:lnTo>
                    <a:pt x="2772" y="868"/>
                  </a:lnTo>
                  <a:lnTo>
                    <a:pt x="2772" y="868"/>
                  </a:lnTo>
                  <a:lnTo>
                    <a:pt x="2769" y="869"/>
                  </a:lnTo>
                  <a:lnTo>
                    <a:pt x="2769" y="869"/>
                  </a:lnTo>
                  <a:lnTo>
                    <a:pt x="2762" y="872"/>
                  </a:lnTo>
                  <a:lnTo>
                    <a:pt x="2762" y="872"/>
                  </a:lnTo>
                  <a:lnTo>
                    <a:pt x="2759" y="873"/>
                  </a:lnTo>
                  <a:lnTo>
                    <a:pt x="2758" y="873"/>
                  </a:lnTo>
                  <a:lnTo>
                    <a:pt x="2758" y="873"/>
                  </a:lnTo>
                  <a:lnTo>
                    <a:pt x="2750" y="872"/>
                  </a:lnTo>
                  <a:lnTo>
                    <a:pt x="2750" y="872"/>
                  </a:lnTo>
                  <a:lnTo>
                    <a:pt x="2747" y="873"/>
                  </a:lnTo>
                  <a:lnTo>
                    <a:pt x="2747" y="873"/>
                  </a:lnTo>
                  <a:lnTo>
                    <a:pt x="2746" y="873"/>
                  </a:lnTo>
                  <a:lnTo>
                    <a:pt x="2746" y="873"/>
                  </a:lnTo>
                  <a:lnTo>
                    <a:pt x="2742" y="872"/>
                  </a:lnTo>
                  <a:lnTo>
                    <a:pt x="2742" y="872"/>
                  </a:lnTo>
                  <a:lnTo>
                    <a:pt x="2734" y="870"/>
                  </a:lnTo>
                  <a:lnTo>
                    <a:pt x="2734" y="870"/>
                  </a:lnTo>
                  <a:lnTo>
                    <a:pt x="2730" y="872"/>
                  </a:lnTo>
                  <a:lnTo>
                    <a:pt x="2727" y="873"/>
                  </a:lnTo>
                  <a:lnTo>
                    <a:pt x="2727" y="873"/>
                  </a:lnTo>
                  <a:lnTo>
                    <a:pt x="2714" y="881"/>
                  </a:lnTo>
                  <a:lnTo>
                    <a:pt x="2714" y="881"/>
                  </a:lnTo>
                  <a:lnTo>
                    <a:pt x="2708" y="884"/>
                  </a:lnTo>
                  <a:lnTo>
                    <a:pt x="2708" y="884"/>
                  </a:lnTo>
                  <a:lnTo>
                    <a:pt x="2705" y="884"/>
                  </a:lnTo>
                  <a:lnTo>
                    <a:pt x="2705" y="884"/>
                  </a:lnTo>
                  <a:lnTo>
                    <a:pt x="2704" y="884"/>
                  </a:lnTo>
                  <a:lnTo>
                    <a:pt x="2704" y="885"/>
                  </a:lnTo>
                  <a:lnTo>
                    <a:pt x="2704" y="884"/>
                  </a:lnTo>
                  <a:lnTo>
                    <a:pt x="2704" y="884"/>
                  </a:lnTo>
                  <a:lnTo>
                    <a:pt x="2704" y="885"/>
                  </a:lnTo>
                  <a:lnTo>
                    <a:pt x="2704" y="884"/>
                  </a:lnTo>
                  <a:lnTo>
                    <a:pt x="2704" y="884"/>
                  </a:lnTo>
                  <a:lnTo>
                    <a:pt x="2704" y="884"/>
                  </a:lnTo>
                  <a:lnTo>
                    <a:pt x="2704" y="884"/>
                  </a:lnTo>
                  <a:lnTo>
                    <a:pt x="2704" y="884"/>
                  </a:lnTo>
                  <a:lnTo>
                    <a:pt x="2704" y="884"/>
                  </a:lnTo>
                  <a:lnTo>
                    <a:pt x="2704" y="884"/>
                  </a:lnTo>
                  <a:lnTo>
                    <a:pt x="2704" y="884"/>
                  </a:lnTo>
                  <a:lnTo>
                    <a:pt x="2701" y="881"/>
                  </a:lnTo>
                  <a:lnTo>
                    <a:pt x="2701" y="881"/>
                  </a:lnTo>
                  <a:lnTo>
                    <a:pt x="2700" y="879"/>
                  </a:lnTo>
                  <a:lnTo>
                    <a:pt x="2700" y="878"/>
                  </a:lnTo>
                  <a:lnTo>
                    <a:pt x="2700" y="878"/>
                  </a:lnTo>
                  <a:lnTo>
                    <a:pt x="2698" y="878"/>
                  </a:lnTo>
                  <a:lnTo>
                    <a:pt x="2700" y="879"/>
                  </a:lnTo>
                  <a:lnTo>
                    <a:pt x="2700" y="878"/>
                  </a:lnTo>
                  <a:lnTo>
                    <a:pt x="2698" y="878"/>
                  </a:lnTo>
                  <a:lnTo>
                    <a:pt x="2700" y="879"/>
                  </a:lnTo>
                  <a:lnTo>
                    <a:pt x="2698" y="878"/>
                  </a:lnTo>
                  <a:lnTo>
                    <a:pt x="2698" y="879"/>
                  </a:lnTo>
                  <a:lnTo>
                    <a:pt x="2700" y="879"/>
                  </a:lnTo>
                  <a:lnTo>
                    <a:pt x="2698" y="878"/>
                  </a:lnTo>
                  <a:lnTo>
                    <a:pt x="2698" y="879"/>
                  </a:lnTo>
                  <a:lnTo>
                    <a:pt x="2698" y="879"/>
                  </a:lnTo>
                  <a:lnTo>
                    <a:pt x="2701" y="879"/>
                  </a:lnTo>
                  <a:lnTo>
                    <a:pt x="2701" y="879"/>
                  </a:lnTo>
                  <a:lnTo>
                    <a:pt x="2707" y="878"/>
                  </a:lnTo>
                  <a:lnTo>
                    <a:pt x="2707" y="878"/>
                  </a:lnTo>
                  <a:lnTo>
                    <a:pt x="2710" y="876"/>
                  </a:lnTo>
                  <a:lnTo>
                    <a:pt x="2710" y="876"/>
                  </a:lnTo>
                  <a:lnTo>
                    <a:pt x="2710" y="875"/>
                  </a:lnTo>
                  <a:lnTo>
                    <a:pt x="2710" y="875"/>
                  </a:lnTo>
                  <a:lnTo>
                    <a:pt x="2711" y="873"/>
                  </a:lnTo>
                  <a:lnTo>
                    <a:pt x="2711" y="873"/>
                  </a:lnTo>
                  <a:lnTo>
                    <a:pt x="2710" y="869"/>
                  </a:lnTo>
                  <a:lnTo>
                    <a:pt x="2710" y="869"/>
                  </a:lnTo>
                  <a:lnTo>
                    <a:pt x="2707" y="866"/>
                  </a:lnTo>
                  <a:lnTo>
                    <a:pt x="2703" y="865"/>
                  </a:lnTo>
                  <a:lnTo>
                    <a:pt x="2703" y="865"/>
                  </a:lnTo>
                  <a:lnTo>
                    <a:pt x="2701" y="863"/>
                  </a:lnTo>
                  <a:lnTo>
                    <a:pt x="2701" y="863"/>
                  </a:lnTo>
                  <a:lnTo>
                    <a:pt x="2701" y="863"/>
                  </a:lnTo>
                  <a:lnTo>
                    <a:pt x="2701" y="863"/>
                  </a:lnTo>
                  <a:lnTo>
                    <a:pt x="2701" y="863"/>
                  </a:lnTo>
                  <a:lnTo>
                    <a:pt x="2701" y="863"/>
                  </a:lnTo>
                  <a:lnTo>
                    <a:pt x="2701" y="863"/>
                  </a:lnTo>
                  <a:lnTo>
                    <a:pt x="2701" y="863"/>
                  </a:lnTo>
                  <a:lnTo>
                    <a:pt x="2701" y="857"/>
                  </a:lnTo>
                  <a:lnTo>
                    <a:pt x="2701" y="857"/>
                  </a:lnTo>
                  <a:lnTo>
                    <a:pt x="2701" y="855"/>
                  </a:lnTo>
                  <a:lnTo>
                    <a:pt x="2701" y="855"/>
                  </a:lnTo>
                  <a:lnTo>
                    <a:pt x="2700" y="853"/>
                  </a:lnTo>
                  <a:lnTo>
                    <a:pt x="2700" y="853"/>
                  </a:lnTo>
                  <a:lnTo>
                    <a:pt x="2698" y="852"/>
                  </a:lnTo>
                  <a:lnTo>
                    <a:pt x="2697" y="852"/>
                  </a:lnTo>
                  <a:lnTo>
                    <a:pt x="2697" y="852"/>
                  </a:lnTo>
                  <a:lnTo>
                    <a:pt x="2697" y="852"/>
                  </a:lnTo>
                  <a:lnTo>
                    <a:pt x="2694" y="853"/>
                  </a:lnTo>
                  <a:lnTo>
                    <a:pt x="2694" y="853"/>
                  </a:lnTo>
                  <a:lnTo>
                    <a:pt x="2690" y="856"/>
                  </a:lnTo>
                  <a:lnTo>
                    <a:pt x="2690" y="856"/>
                  </a:lnTo>
                  <a:lnTo>
                    <a:pt x="2688" y="856"/>
                  </a:lnTo>
                  <a:lnTo>
                    <a:pt x="2688" y="856"/>
                  </a:lnTo>
                  <a:lnTo>
                    <a:pt x="2688" y="856"/>
                  </a:lnTo>
                  <a:lnTo>
                    <a:pt x="2688" y="857"/>
                  </a:lnTo>
                  <a:lnTo>
                    <a:pt x="2688" y="856"/>
                  </a:lnTo>
                  <a:lnTo>
                    <a:pt x="2688" y="856"/>
                  </a:lnTo>
                  <a:lnTo>
                    <a:pt x="2688" y="857"/>
                  </a:lnTo>
                  <a:lnTo>
                    <a:pt x="2688" y="856"/>
                  </a:lnTo>
                  <a:lnTo>
                    <a:pt x="2688" y="859"/>
                  </a:lnTo>
                  <a:lnTo>
                    <a:pt x="2690" y="857"/>
                  </a:lnTo>
                  <a:lnTo>
                    <a:pt x="2690" y="857"/>
                  </a:lnTo>
                  <a:lnTo>
                    <a:pt x="2688" y="856"/>
                  </a:lnTo>
                  <a:lnTo>
                    <a:pt x="2688" y="859"/>
                  </a:lnTo>
                  <a:lnTo>
                    <a:pt x="2690" y="857"/>
                  </a:lnTo>
                  <a:lnTo>
                    <a:pt x="2688" y="859"/>
                  </a:lnTo>
                  <a:lnTo>
                    <a:pt x="2690" y="857"/>
                  </a:lnTo>
                  <a:lnTo>
                    <a:pt x="2690" y="857"/>
                  </a:lnTo>
                  <a:lnTo>
                    <a:pt x="2690" y="857"/>
                  </a:lnTo>
                  <a:lnTo>
                    <a:pt x="2688" y="859"/>
                  </a:lnTo>
                  <a:lnTo>
                    <a:pt x="2690" y="857"/>
                  </a:lnTo>
                  <a:lnTo>
                    <a:pt x="2690" y="859"/>
                  </a:lnTo>
                  <a:lnTo>
                    <a:pt x="2690" y="857"/>
                  </a:lnTo>
                  <a:lnTo>
                    <a:pt x="2690" y="857"/>
                  </a:lnTo>
                  <a:lnTo>
                    <a:pt x="2690" y="859"/>
                  </a:lnTo>
                  <a:lnTo>
                    <a:pt x="2690" y="857"/>
                  </a:lnTo>
                  <a:lnTo>
                    <a:pt x="2690" y="857"/>
                  </a:lnTo>
                  <a:lnTo>
                    <a:pt x="2690" y="857"/>
                  </a:lnTo>
                  <a:lnTo>
                    <a:pt x="2690" y="856"/>
                  </a:lnTo>
                  <a:lnTo>
                    <a:pt x="2690" y="856"/>
                  </a:lnTo>
                  <a:lnTo>
                    <a:pt x="2690" y="855"/>
                  </a:lnTo>
                  <a:lnTo>
                    <a:pt x="2690" y="853"/>
                  </a:lnTo>
                  <a:lnTo>
                    <a:pt x="2690" y="853"/>
                  </a:lnTo>
                  <a:lnTo>
                    <a:pt x="2687" y="852"/>
                  </a:lnTo>
                  <a:lnTo>
                    <a:pt x="2687" y="852"/>
                  </a:lnTo>
                  <a:lnTo>
                    <a:pt x="2685" y="850"/>
                  </a:lnTo>
                  <a:lnTo>
                    <a:pt x="2685" y="850"/>
                  </a:lnTo>
                  <a:lnTo>
                    <a:pt x="2678" y="850"/>
                  </a:lnTo>
                  <a:lnTo>
                    <a:pt x="2678" y="850"/>
                  </a:lnTo>
                  <a:lnTo>
                    <a:pt x="2671" y="850"/>
                  </a:lnTo>
                  <a:lnTo>
                    <a:pt x="2671" y="850"/>
                  </a:lnTo>
                  <a:lnTo>
                    <a:pt x="2668" y="852"/>
                  </a:lnTo>
                  <a:lnTo>
                    <a:pt x="2668" y="852"/>
                  </a:lnTo>
                  <a:lnTo>
                    <a:pt x="2666" y="852"/>
                  </a:lnTo>
                  <a:lnTo>
                    <a:pt x="2665" y="853"/>
                  </a:lnTo>
                  <a:lnTo>
                    <a:pt x="2665" y="853"/>
                  </a:lnTo>
                  <a:lnTo>
                    <a:pt x="2665" y="855"/>
                  </a:lnTo>
                  <a:lnTo>
                    <a:pt x="2665" y="855"/>
                  </a:lnTo>
                  <a:lnTo>
                    <a:pt x="2665" y="856"/>
                  </a:lnTo>
                  <a:lnTo>
                    <a:pt x="2666" y="857"/>
                  </a:lnTo>
                  <a:lnTo>
                    <a:pt x="2666" y="857"/>
                  </a:lnTo>
                  <a:lnTo>
                    <a:pt x="2668" y="857"/>
                  </a:lnTo>
                  <a:lnTo>
                    <a:pt x="2668" y="859"/>
                  </a:lnTo>
                  <a:lnTo>
                    <a:pt x="2668" y="857"/>
                  </a:lnTo>
                  <a:lnTo>
                    <a:pt x="2668" y="859"/>
                  </a:lnTo>
                  <a:lnTo>
                    <a:pt x="2668" y="859"/>
                  </a:lnTo>
                  <a:lnTo>
                    <a:pt x="2668" y="857"/>
                  </a:lnTo>
                  <a:lnTo>
                    <a:pt x="2668" y="859"/>
                  </a:lnTo>
                  <a:lnTo>
                    <a:pt x="2669" y="857"/>
                  </a:lnTo>
                  <a:lnTo>
                    <a:pt x="2668" y="857"/>
                  </a:lnTo>
                  <a:lnTo>
                    <a:pt x="2668" y="857"/>
                  </a:lnTo>
                  <a:lnTo>
                    <a:pt x="2668" y="859"/>
                  </a:lnTo>
                  <a:lnTo>
                    <a:pt x="2669" y="857"/>
                  </a:lnTo>
                  <a:lnTo>
                    <a:pt x="2668" y="857"/>
                  </a:lnTo>
                  <a:lnTo>
                    <a:pt x="2669" y="857"/>
                  </a:lnTo>
                  <a:lnTo>
                    <a:pt x="2668" y="856"/>
                  </a:lnTo>
                  <a:lnTo>
                    <a:pt x="2668" y="856"/>
                  </a:lnTo>
                  <a:lnTo>
                    <a:pt x="2668" y="857"/>
                  </a:lnTo>
                  <a:lnTo>
                    <a:pt x="2669" y="857"/>
                  </a:lnTo>
                  <a:lnTo>
                    <a:pt x="2668" y="856"/>
                  </a:lnTo>
                  <a:lnTo>
                    <a:pt x="2669" y="856"/>
                  </a:lnTo>
                  <a:lnTo>
                    <a:pt x="2668" y="855"/>
                  </a:lnTo>
                  <a:lnTo>
                    <a:pt x="2668" y="856"/>
                  </a:lnTo>
                  <a:lnTo>
                    <a:pt x="2669" y="856"/>
                  </a:lnTo>
                  <a:lnTo>
                    <a:pt x="2668" y="855"/>
                  </a:lnTo>
                  <a:lnTo>
                    <a:pt x="2668" y="856"/>
                  </a:lnTo>
                  <a:lnTo>
                    <a:pt x="2668" y="855"/>
                  </a:lnTo>
                  <a:lnTo>
                    <a:pt x="2668" y="855"/>
                  </a:lnTo>
                  <a:lnTo>
                    <a:pt x="2668" y="856"/>
                  </a:lnTo>
                  <a:lnTo>
                    <a:pt x="2668" y="855"/>
                  </a:lnTo>
                  <a:lnTo>
                    <a:pt x="2668" y="855"/>
                  </a:lnTo>
                  <a:lnTo>
                    <a:pt x="2666" y="856"/>
                  </a:lnTo>
                  <a:lnTo>
                    <a:pt x="2666" y="856"/>
                  </a:lnTo>
                  <a:lnTo>
                    <a:pt x="2658" y="859"/>
                  </a:lnTo>
                  <a:lnTo>
                    <a:pt x="2658" y="859"/>
                  </a:lnTo>
                  <a:lnTo>
                    <a:pt x="2653" y="860"/>
                  </a:lnTo>
                  <a:lnTo>
                    <a:pt x="2653" y="860"/>
                  </a:lnTo>
                  <a:lnTo>
                    <a:pt x="2652" y="862"/>
                  </a:lnTo>
                  <a:lnTo>
                    <a:pt x="2652" y="863"/>
                  </a:lnTo>
                  <a:lnTo>
                    <a:pt x="2652" y="863"/>
                  </a:lnTo>
                  <a:lnTo>
                    <a:pt x="2650" y="865"/>
                  </a:lnTo>
                  <a:lnTo>
                    <a:pt x="2650" y="865"/>
                  </a:lnTo>
                  <a:lnTo>
                    <a:pt x="2652" y="866"/>
                  </a:lnTo>
                  <a:lnTo>
                    <a:pt x="2652" y="866"/>
                  </a:lnTo>
                  <a:lnTo>
                    <a:pt x="2653" y="868"/>
                  </a:lnTo>
                  <a:lnTo>
                    <a:pt x="2653" y="868"/>
                  </a:lnTo>
                  <a:lnTo>
                    <a:pt x="2655" y="868"/>
                  </a:lnTo>
                  <a:lnTo>
                    <a:pt x="2655" y="868"/>
                  </a:lnTo>
                  <a:lnTo>
                    <a:pt x="2662" y="869"/>
                  </a:lnTo>
                  <a:lnTo>
                    <a:pt x="2662" y="869"/>
                  </a:lnTo>
                  <a:lnTo>
                    <a:pt x="2663" y="869"/>
                  </a:lnTo>
                  <a:lnTo>
                    <a:pt x="2663" y="869"/>
                  </a:lnTo>
                  <a:lnTo>
                    <a:pt x="2665" y="869"/>
                  </a:lnTo>
                  <a:lnTo>
                    <a:pt x="2663" y="869"/>
                  </a:lnTo>
                  <a:lnTo>
                    <a:pt x="2663" y="869"/>
                  </a:lnTo>
                  <a:lnTo>
                    <a:pt x="2665" y="869"/>
                  </a:lnTo>
                  <a:lnTo>
                    <a:pt x="2663" y="869"/>
                  </a:lnTo>
                  <a:lnTo>
                    <a:pt x="2665" y="868"/>
                  </a:lnTo>
                  <a:lnTo>
                    <a:pt x="2663" y="868"/>
                  </a:lnTo>
                  <a:lnTo>
                    <a:pt x="2663" y="869"/>
                  </a:lnTo>
                  <a:lnTo>
                    <a:pt x="2665" y="868"/>
                  </a:lnTo>
                  <a:lnTo>
                    <a:pt x="2663" y="868"/>
                  </a:lnTo>
                  <a:lnTo>
                    <a:pt x="2665" y="868"/>
                  </a:lnTo>
                  <a:lnTo>
                    <a:pt x="2663" y="868"/>
                  </a:lnTo>
                  <a:lnTo>
                    <a:pt x="2663" y="868"/>
                  </a:lnTo>
                  <a:lnTo>
                    <a:pt x="2665" y="868"/>
                  </a:lnTo>
                  <a:lnTo>
                    <a:pt x="2663" y="868"/>
                  </a:lnTo>
                  <a:lnTo>
                    <a:pt x="2663" y="868"/>
                  </a:lnTo>
                  <a:lnTo>
                    <a:pt x="2663" y="868"/>
                  </a:lnTo>
                  <a:lnTo>
                    <a:pt x="2663" y="868"/>
                  </a:lnTo>
                  <a:lnTo>
                    <a:pt x="2663" y="868"/>
                  </a:lnTo>
                  <a:lnTo>
                    <a:pt x="2663" y="868"/>
                  </a:lnTo>
                  <a:lnTo>
                    <a:pt x="2663" y="868"/>
                  </a:lnTo>
                  <a:lnTo>
                    <a:pt x="2663" y="868"/>
                  </a:lnTo>
                  <a:lnTo>
                    <a:pt x="2662" y="869"/>
                  </a:lnTo>
                  <a:lnTo>
                    <a:pt x="2662" y="869"/>
                  </a:lnTo>
                  <a:lnTo>
                    <a:pt x="2658" y="869"/>
                  </a:lnTo>
                  <a:lnTo>
                    <a:pt x="2658" y="869"/>
                  </a:lnTo>
                  <a:lnTo>
                    <a:pt x="2648" y="868"/>
                  </a:lnTo>
                  <a:lnTo>
                    <a:pt x="2648" y="868"/>
                  </a:lnTo>
                  <a:lnTo>
                    <a:pt x="2639" y="866"/>
                  </a:lnTo>
                  <a:lnTo>
                    <a:pt x="2639" y="866"/>
                  </a:lnTo>
                  <a:lnTo>
                    <a:pt x="2626" y="866"/>
                  </a:lnTo>
                  <a:lnTo>
                    <a:pt x="2626" y="866"/>
                  </a:lnTo>
                  <a:lnTo>
                    <a:pt x="2613" y="863"/>
                  </a:lnTo>
                  <a:lnTo>
                    <a:pt x="2613" y="863"/>
                  </a:lnTo>
                  <a:lnTo>
                    <a:pt x="2603" y="862"/>
                  </a:lnTo>
                  <a:lnTo>
                    <a:pt x="2587" y="860"/>
                  </a:lnTo>
                  <a:lnTo>
                    <a:pt x="2587" y="860"/>
                  </a:lnTo>
                  <a:lnTo>
                    <a:pt x="2577" y="862"/>
                  </a:lnTo>
                  <a:lnTo>
                    <a:pt x="2568" y="863"/>
                  </a:lnTo>
                  <a:lnTo>
                    <a:pt x="2568" y="863"/>
                  </a:lnTo>
                  <a:lnTo>
                    <a:pt x="2561" y="866"/>
                  </a:lnTo>
                  <a:lnTo>
                    <a:pt x="2553" y="870"/>
                  </a:lnTo>
                  <a:lnTo>
                    <a:pt x="2553" y="870"/>
                  </a:lnTo>
                  <a:lnTo>
                    <a:pt x="2545" y="879"/>
                  </a:lnTo>
                  <a:lnTo>
                    <a:pt x="2540" y="886"/>
                  </a:lnTo>
                  <a:lnTo>
                    <a:pt x="2540" y="886"/>
                  </a:lnTo>
                  <a:lnTo>
                    <a:pt x="2537" y="892"/>
                  </a:lnTo>
                  <a:lnTo>
                    <a:pt x="2533" y="897"/>
                  </a:lnTo>
                  <a:lnTo>
                    <a:pt x="2533" y="897"/>
                  </a:lnTo>
                  <a:lnTo>
                    <a:pt x="2522" y="912"/>
                  </a:lnTo>
                  <a:lnTo>
                    <a:pt x="2522" y="912"/>
                  </a:lnTo>
                  <a:lnTo>
                    <a:pt x="2517" y="920"/>
                  </a:lnTo>
                  <a:lnTo>
                    <a:pt x="2517" y="920"/>
                  </a:lnTo>
                  <a:lnTo>
                    <a:pt x="2513" y="924"/>
                  </a:lnTo>
                  <a:lnTo>
                    <a:pt x="2513" y="924"/>
                  </a:lnTo>
                  <a:lnTo>
                    <a:pt x="2500" y="934"/>
                  </a:lnTo>
                  <a:lnTo>
                    <a:pt x="2500" y="934"/>
                  </a:lnTo>
                  <a:lnTo>
                    <a:pt x="2493" y="940"/>
                  </a:lnTo>
                  <a:lnTo>
                    <a:pt x="2493" y="940"/>
                  </a:lnTo>
                  <a:lnTo>
                    <a:pt x="2487" y="946"/>
                  </a:lnTo>
                  <a:lnTo>
                    <a:pt x="2487" y="946"/>
                  </a:lnTo>
                  <a:lnTo>
                    <a:pt x="2481" y="952"/>
                  </a:lnTo>
                  <a:lnTo>
                    <a:pt x="2481" y="952"/>
                  </a:lnTo>
                  <a:lnTo>
                    <a:pt x="2465" y="969"/>
                  </a:lnTo>
                  <a:lnTo>
                    <a:pt x="2448" y="982"/>
                  </a:lnTo>
                  <a:lnTo>
                    <a:pt x="2448" y="982"/>
                  </a:lnTo>
                  <a:lnTo>
                    <a:pt x="2442" y="988"/>
                  </a:lnTo>
                  <a:lnTo>
                    <a:pt x="2442" y="988"/>
                  </a:lnTo>
                  <a:lnTo>
                    <a:pt x="2440" y="991"/>
                  </a:lnTo>
                  <a:lnTo>
                    <a:pt x="2439" y="994"/>
                  </a:lnTo>
                  <a:lnTo>
                    <a:pt x="2439" y="994"/>
                  </a:lnTo>
                  <a:lnTo>
                    <a:pt x="2440" y="996"/>
                  </a:lnTo>
                  <a:lnTo>
                    <a:pt x="2442" y="998"/>
                  </a:lnTo>
                  <a:lnTo>
                    <a:pt x="2442" y="998"/>
                  </a:lnTo>
                  <a:lnTo>
                    <a:pt x="2445" y="999"/>
                  </a:lnTo>
                  <a:lnTo>
                    <a:pt x="2445" y="999"/>
                  </a:lnTo>
                  <a:lnTo>
                    <a:pt x="2446" y="999"/>
                  </a:lnTo>
                  <a:lnTo>
                    <a:pt x="2448" y="999"/>
                  </a:lnTo>
                  <a:lnTo>
                    <a:pt x="2448" y="999"/>
                  </a:lnTo>
                  <a:lnTo>
                    <a:pt x="2451" y="1001"/>
                  </a:lnTo>
                  <a:lnTo>
                    <a:pt x="2451" y="1001"/>
                  </a:lnTo>
                  <a:lnTo>
                    <a:pt x="2458" y="1004"/>
                  </a:lnTo>
                  <a:lnTo>
                    <a:pt x="2458" y="1004"/>
                  </a:lnTo>
                  <a:lnTo>
                    <a:pt x="2461" y="1005"/>
                  </a:lnTo>
                  <a:lnTo>
                    <a:pt x="2461" y="1005"/>
                  </a:lnTo>
                  <a:lnTo>
                    <a:pt x="2464" y="1005"/>
                  </a:lnTo>
                  <a:lnTo>
                    <a:pt x="2465" y="1005"/>
                  </a:lnTo>
                  <a:lnTo>
                    <a:pt x="2465" y="1005"/>
                  </a:lnTo>
                  <a:lnTo>
                    <a:pt x="2469" y="1004"/>
                  </a:lnTo>
                  <a:lnTo>
                    <a:pt x="2469" y="1004"/>
                  </a:lnTo>
                  <a:lnTo>
                    <a:pt x="2469" y="1004"/>
                  </a:lnTo>
                  <a:lnTo>
                    <a:pt x="2469" y="1004"/>
                  </a:lnTo>
                  <a:lnTo>
                    <a:pt x="2469" y="1004"/>
                  </a:lnTo>
                  <a:lnTo>
                    <a:pt x="2469" y="1004"/>
                  </a:lnTo>
                  <a:lnTo>
                    <a:pt x="2469" y="1004"/>
                  </a:lnTo>
                  <a:lnTo>
                    <a:pt x="2469" y="1004"/>
                  </a:lnTo>
                  <a:lnTo>
                    <a:pt x="2468" y="1004"/>
                  </a:lnTo>
                  <a:lnTo>
                    <a:pt x="2469" y="1004"/>
                  </a:lnTo>
                  <a:lnTo>
                    <a:pt x="2469" y="1004"/>
                  </a:lnTo>
                  <a:lnTo>
                    <a:pt x="2468" y="1004"/>
                  </a:lnTo>
                  <a:lnTo>
                    <a:pt x="2469" y="1004"/>
                  </a:lnTo>
                  <a:lnTo>
                    <a:pt x="2468" y="1004"/>
                  </a:lnTo>
                  <a:lnTo>
                    <a:pt x="2468" y="1004"/>
                  </a:lnTo>
                  <a:lnTo>
                    <a:pt x="2469" y="1004"/>
                  </a:lnTo>
                  <a:lnTo>
                    <a:pt x="2468" y="1004"/>
                  </a:lnTo>
                  <a:lnTo>
                    <a:pt x="2469" y="1004"/>
                  </a:lnTo>
                  <a:lnTo>
                    <a:pt x="2468" y="1004"/>
                  </a:lnTo>
                  <a:lnTo>
                    <a:pt x="2468" y="1004"/>
                  </a:lnTo>
                  <a:lnTo>
                    <a:pt x="2469" y="1004"/>
                  </a:lnTo>
                  <a:lnTo>
                    <a:pt x="2468" y="1004"/>
                  </a:lnTo>
                  <a:lnTo>
                    <a:pt x="2468" y="1004"/>
                  </a:lnTo>
                  <a:lnTo>
                    <a:pt x="2468" y="1004"/>
                  </a:lnTo>
                  <a:lnTo>
                    <a:pt x="2466" y="1008"/>
                  </a:lnTo>
                  <a:lnTo>
                    <a:pt x="2466" y="1008"/>
                  </a:lnTo>
                  <a:lnTo>
                    <a:pt x="2465" y="1011"/>
                  </a:lnTo>
                  <a:lnTo>
                    <a:pt x="2465" y="1011"/>
                  </a:lnTo>
                  <a:lnTo>
                    <a:pt x="2465" y="1014"/>
                  </a:lnTo>
                  <a:lnTo>
                    <a:pt x="2465" y="1014"/>
                  </a:lnTo>
                  <a:lnTo>
                    <a:pt x="2465" y="1017"/>
                  </a:lnTo>
                  <a:lnTo>
                    <a:pt x="2465" y="1017"/>
                  </a:lnTo>
                  <a:lnTo>
                    <a:pt x="2468" y="1018"/>
                  </a:lnTo>
                  <a:lnTo>
                    <a:pt x="2468" y="1018"/>
                  </a:lnTo>
                  <a:lnTo>
                    <a:pt x="2468" y="1018"/>
                  </a:lnTo>
                  <a:lnTo>
                    <a:pt x="2472" y="1017"/>
                  </a:lnTo>
                  <a:lnTo>
                    <a:pt x="2472" y="1017"/>
                  </a:lnTo>
                  <a:lnTo>
                    <a:pt x="2478" y="1015"/>
                  </a:lnTo>
                  <a:lnTo>
                    <a:pt x="2478" y="1015"/>
                  </a:lnTo>
                  <a:lnTo>
                    <a:pt x="2484" y="1014"/>
                  </a:lnTo>
                  <a:lnTo>
                    <a:pt x="2484" y="1014"/>
                  </a:lnTo>
                  <a:lnTo>
                    <a:pt x="2484" y="1012"/>
                  </a:lnTo>
                  <a:lnTo>
                    <a:pt x="2482" y="1014"/>
                  </a:lnTo>
                  <a:lnTo>
                    <a:pt x="2484" y="1014"/>
                  </a:lnTo>
                  <a:lnTo>
                    <a:pt x="2484" y="1012"/>
                  </a:lnTo>
                  <a:lnTo>
                    <a:pt x="2482" y="1014"/>
                  </a:lnTo>
                  <a:lnTo>
                    <a:pt x="2484" y="1012"/>
                  </a:lnTo>
                  <a:lnTo>
                    <a:pt x="2482" y="1012"/>
                  </a:lnTo>
                  <a:lnTo>
                    <a:pt x="2482" y="1014"/>
                  </a:lnTo>
                  <a:lnTo>
                    <a:pt x="2484" y="1012"/>
                  </a:lnTo>
                  <a:lnTo>
                    <a:pt x="2482" y="1012"/>
                  </a:lnTo>
                  <a:lnTo>
                    <a:pt x="2482" y="1012"/>
                  </a:lnTo>
                  <a:lnTo>
                    <a:pt x="2484" y="1012"/>
                  </a:lnTo>
                  <a:lnTo>
                    <a:pt x="2482" y="1012"/>
                  </a:lnTo>
                  <a:lnTo>
                    <a:pt x="2482" y="1012"/>
                  </a:lnTo>
                  <a:lnTo>
                    <a:pt x="2484" y="1012"/>
                  </a:lnTo>
                  <a:lnTo>
                    <a:pt x="2482" y="1012"/>
                  </a:lnTo>
                  <a:lnTo>
                    <a:pt x="2484" y="1012"/>
                  </a:lnTo>
                  <a:lnTo>
                    <a:pt x="2482" y="1011"/>
                  </a:lnTo>
                  <a:lnTo>
                    <a:pt x="2482" y="1012"/>
                  </a:lnTo>
                  <a:lnTo>
                    <a:pt x="2484" y="1012"/>
                  </a:lnTo>
                  <a:lnTo>
                    <a:pt x="2482" y="1011"/>
                  </a:lnTo>
                  <a:lnTo>
                    <a:pt x="2482" y="1011"/>
                  </a:lnTo>
                  <a:lnTo>
                    <a:pt x="2481" y="1012"/>
                  </a:lnTo>
                  <a:lnTo>
                    <a:pt x="2481" y="1012"/>
                  </a:lnTo>
                  <a:lnTo>
                    <a:pt x="2480" y="1014"/>
                  </a:lnTo>
                  <a:lnTo>
                    <a:pt x="2478" y="1015"/>
                  </a:lnTo>
                  <a:lnTo>
                    <a:pt x="2478" y="1015"/>
                  </a:lnTo>
                  <a:lnTo>
                    <a:pt x="2478" y="1017"/>
                  </a:lnTo>
                  <a:lnTo>
                    <a:pt x="2478" y="1017"/>
                  </a:lnTo>
                  <a:lnTo>
                    <a:pt x="2478" y="1018"/>
                  </a:lnTo>
                  <a:lnTo>
                    <a:pt x="2478" y="1018"/>
                  </a:lnTo>
                  <a:lnTo>
                    <a:pt x="2481" y="1020"/>
                  </a:lnTo>
                  <a:lnTo>
                    <a:pt x="2481" y="1020"/>
                  </a:lnTo>
                  <a:lnTo>
                    <a:pt x="2484" y="1021"/>
                  </a:lnTo>
                  <a:lnTo>
                    <a:pt x="2484" y="1021"/>
                  </a:lnTo>
                  <a:lnTo>
                    <a:pt x="2485" y="1021"/>
                  </a:lnTo>
                  <a:lnTo>
                    <a:pt x="2485" y="1021"/>
                  </a:lnTo>
                  <a:lnTo>
                    <a:pt x="2491" y="1020"/>
                  </a:lnTo>
                  <a:lnTo>
                    <a:pt x="2494" y="1017"/>
                  </a:lnTo>
                  <a:lnTo>
                    <a:pt x="2494" y="1017"/>
                  </a:lnTo>
                  <a:lnTo>
                    <a:pt x="2497" y="1015"/>
                  </a:lnTo>
                  <a:lnTo>
                    <a:pt x="2497" y="1015"/>
                  </a:lnTo>
                  <a:lnTo>
                    <a:pt x="2498" y="1015"/>
                  </a:lnTo>
                  <a:lnTo>
                    <a:pt x="2498" y="1015"/>
                  </a:lnTo>
                  <a:lnTo>
                    <a:pt x="2501" y="1014"/>
                  </a:lnTo>
                  <a:lnTo>
                    <a:pt x="2501" y="1014"/>
                  </a:lnTo>
                  <a:lnTo>
                    <a:pt x="2503" y="1011"/>
                  </a:lnTo>
                  <a:lnTo>
                    <a:pt x="2503" y="1011"/>
                  </a:lnTo>
                  <a:lnTo>
                    <a:pt x="2501" y="1008"/>
                  </a:lnTo>
                  <a:lnTo>
                    <a:pt x="2501" y="1008"/>
                  </a:lnTo>
                  <a:lnTo>
                    <a:pt x="2500" y="1004"/>
                  </a:lnTo>
                  <a:lnTo>
                    <a:pt x="2500" y="1004"/>
                  </a:lnTo>
                  <a:lnTo>
                    <a:pt x="2498" y="1002"/>
                  </a:lnTo>
                  <a:lnTo>
                    <a:pt x="2498" y="1002"/>
                  </a:lnTo>
                  <a:lnTo>
                    <a:pt x="2498" y="1002"/>
                  </a:lnTo>
                  <a:lnTo>
                    <a:pt x="2498" y="1002"/>
                  </a:lnTo>
                  <a:lnTo>
                    <a:pt x="2498" y="1002"/>
                  </a:lnTo>
                  <a:lnTo>
                    <a:pt x="2498" y="1002"/>
                  </a:lnTo>
                  <a:lnTo>
                    <a:pt x="2497" y="1001"/>
                  </a:lnTo>
                  <a:lnTo>
                    <a:pt x="2498" y="1002"/>
                  </a:lnTo>
                  <a:lnTo>
                    <a:pt x="2498" y="1002"/>
                  </a:lnTo>
                  <a:lnTo>
                    <a:pt x="2497" y="1001"/>
                  </a:lnTo>
                  <a:lnTo>
                    <a:pt x="2498" y="1002"/>
                  </a:lnTo>
                  <a:lnTo>
                    <a:pt x="2497" y="1002"/>
                  </a:lnTo>
                  <a:lnTo>
                    <a:pt x="2498" y="1002"/>
                  </a:lnTo>
                  <a:lnTo>
                    <a:pt x="2498" y="1002"/>
                  </a:lnTo>
                  <a:lnTo>
                    <a:pt x="2497" y="1002"/>
                  </a:lnTo>
                  <a:lnTo>
                    <a:pt x="2498" y="1002"/>
                  </a:lnTo>
                  <a:lnTo>
                    <a:pt x="2498" y="1002"/>
                  </a:lnTo>
                  <a:lnTo>
                    <a:pt x="2498" y="1002"/>
                  </a:lnTo>
                  <a:lnTo>
                    <a:pt x="2498" y="1002"/>
                  </a:lnTo>
                  <a:lnTo>
                    <a:pt x="2498" y="1002"/>
                  </a:lnTo>
                  <a:lnTo>
                    <a:pt x="2498" y="1002"/>
                  </a:lnTo>
                  <a:lnTo>
                    <a:pt x="2498" y="1002"/>
                  </a:lnTo>
                  <a:lnTo>
                    <a:pt x="2498" y="1002"/>
                  </a:lnTo>
                  <a:lnTo>
                    <a:pt x="2498" y="1002"/>
                  </a:lnTo>
                  <a:lnTo>
                    <a:pt x="2508" y="1005"/>
                  </a:lnTo>
                  <a:lnTo>
                    <a:pt x="2508" y="1005"/>
                  </a:lnTo>
                  <a:lnTo>
                    <a:pt x="2519" y="1010"/>
                  </a:lnTo>
                  <a:lnTo>
                    <a:pt x="2519" y="1010"/>
                  </a:lnTo>
                  <a:lnTo>
                    <a:pt x="2520" y="1011"/>
                  </a:lnTo>
                  <a:lnTo>
                    <a:pt x="2520" y="1011"/>
                  </a:lnTo>
                  <a:lnTo>
                    <a:pt x="2522" y="1017"/>
                  </a:lnTo>
                  <a:lnTo>
                    <a:pt x="2522" y="1017"/>
                  </a:lnTo>
                  <a:lnTo>
                    <a:pt x="2523" y="1021"/>
                  </a:lnTo>
                  <a:lnTo>
                    <a:pt x="2523" y="1021"/>
                  </a:lnTo>
                  <a:lnTo>
                    <a:pt x="2527" y="1024"/>
                  </a:lnTo>
                  <a:lnTo>
                    <a:pt x="2527" y="1024"/>
                  </a:lnTo>
                  <a:lnTo>
                    <a:pt x="2536" y="1028"/>
                  </a:lnTo>
                  <a:lnTo>
                    <a:pt x="2536" y="1028"/>
                  </a:lnTo>
                  <a:lnTo>
                    <a:pt x="2540" y="1033"/>
                  </a:lnTo>
                  <a:lnTo>
                    <a:pt x="2540" y="1033"/>
                  </a:lnTo>
                  <a:lnTo>
                    <a:pt x="2540" y="1034"/>
                  </a:lnTo>
                  <a:lnTo>
                    <a:pt x="2542" y="1034"/>
                  </a:lnTo>
                  <a:lnTo>
                    <a:pt x="2542" y="1034"/>
                  </a:lnTo>
                  <a:lnTo>
                    <a:pt x="2540" y="1034"/>
                  </a:lnTo>
                  <a:lnTo>
                    <a:pt x="2542" y="1034"/>
                  </a:lnTo>
                  <a:lnTo>
                    <a:pt x="2542" y="1034"/>
                  </a:lnTo>
                  <a:lnTo>
                    <a:pt x="2540" y="1034"/>
                  </a:lnTo>
                  <a:lnTo>
                    <a:pt x="2542" y="1034"/>
                  </a:lnTo>
                  <a:lnTo>
                    <a:pt x="2540" y="1034"/>
                  </a:lnTo>
                  <a:lnTo>
                    <a:pt x="2540" y="1034"/>
                  </a:lnTo>
                  <a:lnTo>
                    <a:pt x="2542" y="1034"/>
                  </a:lnTo>
                  <a:lnTo>
                    <a:pt x="2540" y="1034"/>
                  </a:lnTo>
                  <a:lnTo>
                    <a:pt x="2543" y="1034"/>
                  </a:lnTo>
                  <a:lnTo>
                    <a:pt x="2542" y="1033"/>
                  </a:lnTo>
                  <a:lnTo>
                    <a:pt x="2540" y="1034"/>
                  </a:lnTo>
                  <a:lnTo>
                    <a:pt x="2543" y="1034"/>
                  </a:lnTo>
                  <a:lnTo>
                    <a:pt x="2542" y="1033"/>
                  </a:lnTo>
                  <a:lnTo>
                    <a:pt x="2542" y="1033"/>
                  </a:lnTo>
                  <a:lnTo>
                    <a:pt x="2539" y="1034"/>
                  </a:lnTo>
                  <a:lnTo>
                    <a:pt x="2539" y="1034"/>
                  </a:lnTo>
                  <a:lnTo>
                    <a:pt x="2537" y="1036"/>
                  </a:lnTo>
                  <a:lnTo>
                    <a:pt x="2537" y="1036"/>
                  </a:lnTo>
                  <a:lnTo>
                    <a:pt x="2536" y="1038"/>
                  </a:lnTo>
                  <a:lnTo>
                    <a:pt x="2536" y="1038"/>
                  </a:lnTo>
                  <a:lnTo>
                    <a:pt x="2537" y="1040"/>
                  </a:lnTo>
                  <a:lnTo>
                    <a:pt x="2537" y="1040"/>
                  </a:lnTo>
                  <a:lnTo>
                    <a:pt x="2537" y="1044"/>
                  </a:lnTo>
                  <a:lnTo>
                    <a:pt x="2537" y="1044"/>
                  </a:lnTo>
                  <a:lnTo>
                    <a:pt x="2542" y="1053"/>
                  </a:lnTo>
                  <a:lnTo>
                    <a:pt x="2542" y="1053"/>
                  </a:lnTo>
                  <a:lnTo>
                    <a:pt x="2543" y="1056"/>
                  </a:lnTo>
                  <a:lnTo>
                    <a:pt x="2543" y="1056"/>
                  </a:lnTo>
                  <a:lnTo>
                    <a:pt x="2545" y="1059"/>
                  </a:lnTo>
                  <a:lnTo>
                    <a:pt x="2545" y="1059"/>
                  </a:lnTo>
                  <a:lnTo>
                    <a:pt x="2546" y="1059"/>
                  </a:lnTo>
                  <a:lnTo>
                    <a:pt x="2546" y="1059"/>
                  </a:lnTo>
                  <a:lnTo>
                    <a:pt x="2549" y="1059"/>
                  </a:lnTo>
                  <a:lnTo>
                    <a:pt x="2548" y="1059"/>
                  </a:lnTo>
                  <a:lnTo>
                    <a:pt x="2548" y="1059"/>
                  </a:lnTo>
                  <a:lnTo>
                    <a:pt x="2549" y="1059"/>
                  </a:lnTo>
                  <a:lnTo>
                    <a:pt x="2548" y="1059"/>
                  </a:lnTo>
                  <a:lnTo>
                    <a:pt x="2548" y="1059"/>
                  </a:lnTo>
                  <a:lnTo>
                    <a:pt x="2548" y="1059"/>
                  </a:lnTo>
                  <a:lnTo>
                    <a:pt x="2548" y="1059"/>
                  </a:lnTo>
                  <a:lnTo>
                    <a:pt x="2548" y="1059"/>
                  </a:lnTo>
                  <a:lnTo>
                    <a:pt x="2548" y="1059"/>
                  </a:lnTo>
                  <a:lnTo>
                    <a:pt x="2548" y="1059"/>
                  </a:lnTo>
                  <a:lnTo>
                    <a:pt x="2548" y="1059"/>
                  </a:lnTo>
                  <a:lnTo>
                    <a:pt x="2548" y="1059"/>
                  </a:lnTo>
                  <a:lnTo>
                    <a:pt x="2549" y="1060"/>
                  </a:lnTo>
                  <a:lnTo>
                    <a:pt x="2549" y="1060"/>
                  </a:lnTo>
                  <a:lnTo>
                    <a:pt x="2550" y="1063"/>
                  </a:lnTo>
                  <a:lnTo>
                    <a:pt x="2550" y="1063"/>
                  </a:lnTo>
                  <a:lnTo>
                    <a:pt x="2549" y="1065"/>
                  </a:lnTo>
                  <a:lnTo>
                    <a:pt x="2549" y="1065"/>
                  </a:lnTo>
                  <a:lnTo>
                    <a:pt x="2548" y="1069"/>
                  </a:lnTo>
                  <a:lnTo>
                    <a:pt x="2548" y="1069"/>
                  </a:lnTo>
                  <a:lnTo>
                    <a:pt x="2542" y="1081"/>
                  </a:lnTo>
                  <a:lnTo>
                    <a:pt x="2542" y="1081"/>
                  </a:lnTo>
                  <a:lnTo>
                    <a:pt x="2536" y="1092"/>
                  </a:lnTo>
                  <a:lnTo>
                    <a:pt x="2536" y="1092"/>
                  </a:lnTo>
                  <a:lnTo>
                    <a:pt x="2536" y="1096"/>
                  </a:lnTo>
                  <a:lnTo>
                    <a:pt x="2536" y="1096"/>
                  </a:lnTo>
                  <a:lnTo>
                    <a:pt x="2537" y="1104"/>
                  </a:lnTo>
                  <a:lnTo>
                    <a:pt x="2537" y="1104"/>
                  </a:lnTo>
                  <a:lnTo>
                    <a:pt x="2537" y="1109"/>
                  </a:lnTo>
                  <a:lnTo>
                    <a:pt x="2537" y="1109"/>
                  </a:lnTo>
                  <a:lnTo>
                    <a:pt x="2536" y="1120"/>
                  </a:lnTo>
                  <a:lnTo>
                    <a:pt x="2536" y="1120"/>
                  </a:lnTo>
                  <a:lnTo>
                    <a:pt x="2535" y="1133"/>
                  </a:lnTo>
                  <a:lnTo>
                    <a:pt x="2533" y="1146"/>
                  </a:lnTo>
                  <a:lnTo>
                    <a:pt x="2533" y="1146"/>
                  </a:lnTo>
                  <a:lnTo>
                    <a:pt x="2532" y="1157"/>
                  </a:lnTo>
                  <a:lnTo>
                    <a:pt x="2532" y="1157"/>
                  </a:lnTo>
                  <a:lnTo>
                    <a:pt x="2530" y="1160"/>
                  </a:lnTo>
                  <a:lnTo>
                    <a:pt x="2530" y="1160"/>
                  </a:lnTo>
                  <a:lnTo>
                    <a:pt x="2529" y="1162"/>
                  </a:lnTo>
                  <a:lnTo>
                    <a:pt x="2529" y="1162"/>
                  </a:lnTo>
                  <a:lnTo>
                    <a:pt x="2523" y="1167"/>
                  </a:lnTo>
                  <a:lnTo>
                    <a:pt x="2517" y="1178"/>
                  </a:lnTo>
                  <a:lnTo>
                    <a:pt x="2517" y="1178"/>
                  </a:lnTo>
                  <a:lnTo>
                    <a:pt x="2507" y="1192"/>
                  </a:lnTo>
                  <a:lnTo>
                    <a:pt x="2507" y="1192"/>
                  </a:lnTo>
                  <a:lnTo>
                    <a:pt x="2503" y="1199"/>
                  </a:lnTo>
                  <a:lnTo>
                    <a:pt x="2503" y="1199"/>
                  </a:lnTo>
                  <a:lnTo>
                    <a:pt x="2500" y="1205"/>
                  </a:lnTo>
                  <a:lnTo>
                    <a:pt x="2500" y="1205"/>
                  </a:lnTo>
                  <a:lnTo>
                    <a:pt x="2495" y="1217"/>
                  </a:lnTo>
                  <a:lnTo>
                    <a:pt x="2495" y="1217"/>
                  </a:lnTo>
                  <a:lnTo>
                    <a:pt x="2491" y="1222"/>
                  </a:lnTo>
                  <a:lnTo>
                    <a:pt x="2487" y="1228"/>
                  </a:lnTo>
                  <a:lnTo>
                    <a:pt x="2487" y="1228"/>
                  </a:lnTo>
                  <a:lnTo>
                    <a:pt x="2477" y="1235"/>
                  </a:lnTo>
                  <a:lnTo>
                    <a:pt x="2469" y="1241"/>
                  </a:lnTo>
                  <a:lnTo>
                    <a:pt x="2469" y="1241"/>
                  </a:lnTo>
                  <a:lnTo>
                    <a:pt x="2461" y="1251"/>
                  </a:lnTo>
                  <a:lnTo>
                    <a:pt x="2461" y="1251"/>
                  </a:lnTo>
                  <a:lnTo>
                    <a:pt x="2455" y="1260"/>
                  </a:lnTo>
                  <a:lnTo>
                    <a:pt x="2455" y="1260"/>
                  </a:lnTo>
                  <a:lnTo>
                    <a:pt x="2452" y="1264"/>
                  </a:lnTo>
                  <a:lnTo>
                    <a:pt x="2452" y="1264"/>
                  </a:lnTo>
                  <a:lnTo>
                    <a:pt x="2443" y="1273"/>
                  </a:lnTo>
                  <a:lnTo>
                    <a:pt x="2443" y="1273"/>
                  </a:lnTo>
                  <a:lnTo>
                    <a:pt x="2440" y="1277"/>
                  </a:lnTo>
                  <a:lnTo>
                    <a:pt x="2440" y="1277"/>
                  </a:lnTo>
                  <a:lnTo>
                    <a:pt x="2436" y="1280"/>
                  </a:lnTo>
                  <a:lnTo>
                    <a:pt x="2436" y="1280"/>
                  </a:lnTo>
                  <a:lnTo>
                    <a:pt x="2426" y="1283"/>
                  </a:lnTo>
                  <a:lnTo>
                    <a:pt x="2426" y="1283"/>
                  </a:lnTo>
                  <a:lnTo>
                    <a:pt x="2420" y="1285"/>
                  </a:lnTo>
                  <a:lnTo>
                    <a:pt x="2416" y="1286"/>
                  </a:lnTo>
                  <a:lnTo>
                    <a:pt x="2416" y="1286"/>
                  </a:lnTo>
                  <a:lnTo>
                    <a:pt x="2411" y="1285"/>
                  </a:lnTo>
                  <a:lnTo>
                    <a:pt x="2411" y="1285"/>
                  </a:lnTo>
                  <a:lnTo>
                    <a:pt x="2406" y="1279"/>
                  </a:lnTo>
                  <a:lnTo>
                    <a:pt x="2406" y="1279"/>
                  </a:lnTo>
                  <a:lnTo>
                    <a:pt x="2403" y="1276"/>
                  </a:lnTo>
                  <a:lnTo>
                    <a:pt x="2403" y="1276"/>
                  </a:lnTo>
                  <a:lnTo>
                    <a:pt x="2401" y="1275"/>
                  </a:lnTo>
                  <a:lnTo>
                    <a:pt x="2398" y="1273"/>
                  </a:lnTo>
                  <a:lnTo>
                    <a:pt x="2398" y="1273"/>
                  </a:lnTo>
                  <a:lnTo>
                    <a:pt x="2396" y="1275"/>
                  </a:lnTo>
                  <a:lnTo>
                    <a:pt x="2396" y="1275"/>
                  </a:lnTo>
                  <a:lnTo>
                    <a:pt x="2393" y="1277"/>
                  </a:lnTo>
                  <a:lnTo>
                    <a:pt x="2393" y="1277"/>
                  </a:lnTo>
                  <a:lnTo>
                    <a:pt x="2390" y="1283"/>
                  </a:lnTo>
                  <a:lnTo>
                    <a:pt x="2390" y="1283"/>
                  </a:lnTo>
                  <a:lnTo>
                    <a:pt x="2388" y="1286"/>
                  </a:lnTo>
                  <a:lnTo>
                    <a:pt x="2388" y="1286"/>
                  </a:lnTo>
                  <a:lnTo>
                    <a:pt x="2388" y="1286"/>
                  </a:lnTo>
                  <a:lnTo>
                    <a:pt x="2388" y="1286"/>
                  </a:lnTo>
                  <a:lnTo>
                    <a:pt x="2388" y="1286"/>
                  </a:lnTo>
                  <a:lnTo>
                    <a:pt x="2388" y="1286"/>
                  </a:lnTo>
                  <a:lnTo>
                    <a:pt x="2388" y="1286"/>
                  </a:lnTo>
                  <a:lnTo>
                    <a:pt x="2390" y="1288"/>
                  </a:lnTo>
                  <a:lnTo>
                    <a:pt x="2388" y="1286"/>
                  </a:lnTo>
                  <a:lnTo>
                    <a:pt x="2388" y="1286"/>
                  </a:lnTo>
                  <a:lnTo>
                    <a:pt x="2390" y="1288"/>
                  </a:lnTo>
                  <a:lnTo>
                    <a:pt x="2388" y="1286"/>
                  </a:lnTo>
                  <a:lnTo>
                    <a:pt x="2388" y="1286"/>
                  </a:lnTo>
                  <a:lnTo>
                    <a:pt x="2385" y="1286"/>
                  </a:lnTo>
                  <a:lnTo>
                    <a:pt x="2385" y="1286"/>
                  </a:lnTo>
                  <a:lnTo>
                    <a:pt x="2380" y="1289"/>
                  </a:lnTo>
                  <a:lnTo>
                    <a:pt x="2380" y="1289"/>
                  </a:lnTo>
                  <a:lnTo>
                    <a:pt x="2377" y="1292"/>
                  </a:lnTo>
                  <a:lnTo>
                    <a:pt x="2377" y="1292"/>
                  </a:lnTo>
                  <a:lnTo>
                    <a:pt x="2374" y="1293"/>
                  </a:lnTo>
                  <a:lnTo>
                    <a:pt x="2374" y="1293"/>
                  </a:lnTo>
                  <a:lnTo>
                    <a:pt x="2371" y="1298"/>
                  </a:lnTo>
                  <a:lnTo>
                    <a:pt x="2371" y="1298"/>
                  </a:lnTo>
                  <a:lnTo>
                    <a:pt x="2362" y="1317"/>
                  </a:lnTo>
                  <a:lnTo>
                    <a:pt x="2362" y="1317"/>
                  </a:lnTo>
                  <a:lnTo>
                    <a:pt x="2359" y="1321"/>
                  </a:lnTo>
                  <a:lnTo>
                    <a:pt x="2359" y="1321"/>
                  </a:lnTo>
                  <a:lnTo>
                    <a:pt x="2351" y="1333"/>
                  </a:lnTo>
                  <a:lnTo>
                    <a:pt x="2351" y="1333"/>
                  </a:lnTo>
                  <a:lnTo>
                    <a:pt x="2346" y="1338"/>
                  </a:lnTo>
                  <a:lnTo>
                    <a:pt x="2346" y="1338"/>
                  </a:lnTo>
                  <a:lnTo>
                    <a:pt x="2343" y="1341"/>
                  </a:lnTo>
                  <a:lnTo>
                    <a:pt x="2343" y="1341"/>
                  </a:lnTo>
                  <a:lnTo>
                    <a:pt x="2335" y="1346"/>
                  </a:lnTo>
                  <a:lnTo>
                    <a:pt x="2335" y="1346"/>
                  </a:lnTo>
                  <a:lnTo>
                    <a:pt x="2330" y="1347"/>
                  </a:lnTo>
                  <a:lnTo>
                    <a:pt x="2330" y="1347"/>
                  </a:lnTo>
                  <a:lnTo>
                    <a:pt x="2327" y="1351"/>
                  </a:lnTo>
                  <a:lnTo>
                    <a:pt x="2327" y="1351"/>
                  </a:lnTo>
                  <a:lnTo>
                    <a:pt x="2326" y="1354"/>
                  </a:lnTo>
                  <a:lnTo>
                    <a:pt x="2326" y="1354"/>
                  </a:lnTo>
                  <a:lnTo>
                    <a:pt x="2325" y="1359"/>
                  </a:lnTo>
                  <a:lnTo>
                    <a:pt x="2325" y="1359"/>
                  </a:lnTo>
                  <a:lnTo>
                    <a:pt x="2326" y="1362"/>
                  </a:lnTo>
                  <a:lnTo>
                    <a:pt x="2327" y="1363"/>
                  </a:lnTo>
                  <a:lnTo>
                    <a:pt x="2327" y="1363"/>
                  </a:lnTo>
                  <a:lnTo>
                    <a:pt x="2333" y="1369"/>
                  </a:lnTo>
                  <a:lnTo>
                    <a:pt x="2333" y="1369"/>
                  </a:lnTo>
                  <a:lnTo>
                    <a:pt x="2339" y="1375"/>
                  </a:lnTo>
                  <a:lnTo>
                    <a:pt x="2343" y="1382"/>
                  </a:lnTo>
                  <a:lnTo>
                    <a:pt x="2343" y="1382"/>
                  </a:lnTo>
                  <a:lnTo>
                    <a:pt x="2349" y="1392"/>
                  </a:lnTo>
                  <a:lnTo>
                    <a:pt x="2349" y="1392"/>
                  </a:lnTo>
                  <a:lnTo>
                    <a:pt x="2351" y="1398"/>
                  </a:lnTo>
                  <a:lnTo>
                    <a:pt x="2351" y="1398"/>
                  </a:lnTo>
                  <a:lnTo>
                    <a:pt x="2351" y="1409"/>
                  </a:lnTo>
                  <a:lnTo>
                    <a:pt x="2351" y="1409"/>
                  </a:lnTo>
                  <a:lnTo>
                    <a:pt x="2352" y="1419"/>
                  </a:lnTo>
                  <a:lnTo>
                    <a:pt x="2352" y="1419"/>
                  </a:lnTo>
                  <a:lnTo>
                    <a:pt x="2355" y="1427"/>
                  </a:lnTo>
                  <a:lnTo>
                    <a:pt x="2356" y="1432"/>
                  </a:lnTo>
                  <a:lnTo>
                    <a:pt x="2356" y="1432"/>
                  </a:lnTo>
                  <a:lnTo>
                    <a:pt x="2355" y="1437"/>
                  </a:lnTo>
                  <a:lnTo>
                    <a:pt x="2355" y="1437"/>
                  </a:lnTo>
                  <a:lnTo>
                    <a:pt x="2348" y="1444"/>
                  </a:lnTo>
                  <a:lnTo>
                    <a:pt x="2348" y="1444"/>
                  </a:lnTo>
                  <a:lnTo>
                    <a:pt x="2345" y="1447"/>
                  </a:lnTo>
                  <a:lnTo>
                    <a:pt x="2345" y="1448"/>
                  </a:lnTo>
                  <a:lnTo>
                    <a:pt x="2343" y="1448"/>
                  </a:lnTo>
                  <a:lnTo>
                    <a:pt x="2343" y="1448"/>
                  </a:lnTo>
                  <a:lnTo>
                    <a:pt x="2343" y="1448"/>
                  </a:lnTo>
                  <a:lnTo>
                    <a:pt x="2343" y="1448"/>
                  </a:lnTo>
                  <a:lnTo>
                    <a:pt x="2343" y="1448"/>
                  </a:lnTo>
                  <a:lnTo>
                    <a:pt x="2343" y="1448"/>
                  </a:lnTo>
                  <a:lnTo>
                    <a:pt x="2343" y="1448"/>
                  </a:lnTo>
                  <a:lnTo>
                    <a:pt x="2343" y="1448"/>
                  </a:lnTo>
                  <a:lnTo>
                    <a:pt x="2343" y="1448"/>
                  </a:lnTo>
                  <a:lnTo>
                    <a:pt x="2343" y="1448"/>
                  </a:lnTo>
                  <a:lnTo>
                    <a:pt x="2343" y="1448"/>
                  </a:lnTo>
                  <a:lnTo>
                    <a:pt x="2343" y="1448"/>
                  </a:lnTo>
                  <a:lnTo>
                    <a:pt x="2338" y="1448"/>
                  </a:lnTo>
                  <a:lnTo>
                    <a:pt x="2338" y="1448"/>
                  </a:lnTo>
                  <a:lnTo>
                    <a:pt x="2329" y="1448"/>
                  </a:lnTo>
                  <a:lnTo>
                    <a:pt x="2329" y="1448"/>
                  </a:lnTo>
                  <a:lnTo>
                    <a:pt x="2326" y="1451"/>
                  </a:lnTo>
                  <a:lnTo>
                    <a:pt x="2326" y="1451"/>
                  </a:lnTo>
                  <a:lnTo>
                    <a:pt x="2319" y="1457"/>
                  </a:lnTo>
                  <a:lnTo>
                    <a:pt x="2319" y="1457"/>
                  </a:lnTo>
                  <a:lnTo>
                    <a:pt x="2316" y="1459"/>
                  </a:lnTo>
                  <a:lnTo>
                    <a:pt x="2314" y="1459"/>
                  </a:lnTo>
                  <a:lnTo>
                    <a:pt x="2314" y="1459"/>
                  </a:lnTo>
                  <a:lnTo>
                    <a:pt x="2314" y="1460"/>
                  </a:lnTo>
                  <a:lnTo>
                    <a:pt x="2314" y="1459"/>
                  </a:lnTo>
                  <a:lnTo>
                    <a:pt x="2314" y="1459"/>
                  </a:lnTo>
                  <a:lnTo>
                    <a:pt x="2314" y="1460"/>
                  </a:lnTo>
                  <a:lnTo>
                    <a:pt x="2314" y="1459"/>
                  </a:lnTo>
                  <a:lnTo>
                    <a:pt x="2314" y="1459"/>
                  </a:lnTo>
                  <a:lnTo>
                    <a:pt x="2313" y="1459"/>
                  </a:lnTo>
                  <a:lnTo>
                    <a:pt x="2313" y="1459"/>
                  </a:lnTo>
                  <a:lnTo>
                    <a:pt x="2312" y="1454"/>
                  </a:lnTo>
                  <a:lnTo>
                    <a:pt x="2310" y="1450"/>
                  </a:lnTo>
                  <a:lnTo>
                    <a:pt x="2310" y="1450"/>
                  </a:lnTo>
                  <a:lnTo>
                    <a:pt x="2310" y="1447"/>
                  </a:lnTo>
                  <a:lnTo>
                    <a:pt x="2310" y="1447"/>
                  </a:lnTo>
                  <a:lnTo>
                    <a:pt x="2310" y="1447"/>
                  </a:lnTo>
                  <a:lnTo>
                    <a:pt x="2310" y="1447"/>
                  </a:lnTo>
                  <a:lnTo>
                    <a:pt x="2314" y="1440"/>
                  </a:lnTo>
                  <a:lnTo>
                    <a:pt x="2314" y="1440"/>
                  </a:lnTo>
                  <a:lnTo>
                    <a:pt x="2317" y="1434"/>
                  </a:lnTo>
                  <a:lnTo>
                    <a:pt x="2317" y="1434"/>
                  </a:lnTo>
                  <a:lnTo>
                    <a:pt x="2317" y="1430"/>
                  </a:lnTo>
                  <a:lnTo>
                    <a:pt x="2317" y="1430"/>
                  </a:lnTo>
                  <a:lnTo>
                    <a:pt x="2317" y="1427"/>
                  </a:lnTo>
                  <a:lnTo>
                    <a:pt x="2317" y="1427"/>
                  </a:lnTo>
                  <a:lnTo>
                    <a:pt x="2314" y="1419"/>
                  </a:lnTo>
                  <a:lnTo>
                    <a:pt x="2314" y="1419"/>
                  </a:lnTo>
                  <a:lnTo>
                    <a:pt x="2312" y="1411"/>
                  </a:lnTo>
                  <a:lnTo>
                    <a:pt x="2312" y="1411"/>
                  </a:lnTo>
                  <a:lnTo>
                    <a:pt x="2312" y="1411"/>
                  </a:lnTo>
                  <a:lnTo>
                    <a:pt x="2312" y="1411"/>
                  </a:lnTo>
                  <a:lnTo>
                    <a:pt x="2312" y="1411"/>
                  </a:lnTo>
                  <a:lnTo>
                    <a:pt x="2312" y="1411"/>
                  </a:lnTo>
                  <a:lnTo>
                    <a:pt x="2312" y="1411"/>
                  </a:lnTo>
                  <a:lnTo>
                    <a:pt x="2312" y="1409"/>
                  </a:lnTo>
                  <a:lnTo>
                    <a:pt x="2312" y="1411"/>
                  </a:lnTo>
                  <a:lnTo>
                    <a:pt x="2312" y="1411"/>
                  </a:lnTo>
                  <a:lnTo>
                    <a:pt x="2312" y="1409"/>
                  </a:lnTo>
                  <a:lnTo>
                    <a:pt x="2312" y="1411"/>
                  </a:lnTo>
                  <a:lnTo>
                    <a:pt x="2312" y="1411"/>
                  </a:lnTo>
                  <a:lnTo>
                    <a:pt x="2312" y="1411"/>
                  </a:lnTo>
                  <a:lnTo>
                    <a:pt x="2314" y="1411"/>
                  </a:lnTo>
                  <a:lnTo>
                    <a:pt x="2314" y="1411"/>
                  </a:lnTo>
                  <a:lnTo>
                    <a:pt x="2317" y="1412"/>
                  </a:lnTo>
                  <a:lnTo>
                    <a:pt x="2317" y="1412"/>
                  </a:lnTo>
                  <a:lnTo>
                    <a:pt x="2319" y="1412"/>
                  </a:lnTo>
                  <a:lnTo>
                    <a:pt x="2319" y="1412"/>
                  </a:lnTo>
                  <a:lnTo>
                    <a:pt x="2320" y="1409"/>
                  </a:lnTo>
                  <a:lnTo>
                    <a:pt x="2320" y="1409"/>
                  </a:lnTo>
                  <a:lnTo>
                    <a:pt x="2322" y="1406"/>
                  </a:lnTo>
                  <a:lnTo>
                    <a:pt x="2322" y="1406"/>
                  </a:lnTo>
                  <a:lnTo>
                    <a:pt x="2320" y="1404"/>
                  </a:lnTo>
                  <a:lnTo>
                    <a:pt x="2319" y="1399"/>
                  </a:lnTo>
                  <a:lnTo>
                    <a:pt x="2319" y="1399"/>
                  </a:lnTo>
                  <a:lnTo>
                    <a:pt x="2317" y="1395"/>
                  </a:lnTo>
                  <a:lnTo>
                    <a:pt x="2317" y="1395"/>
                  </a:lnTo>
                  <a:lnTo>
                    <a:pt x="2314" y="1392"/>
                  </a:lnTo>
                  <a:lnTo>
                    <a:pt x="2314" y="1392"/>
                  </a:lnTo>
                  <a:lnTo>
                    <a:pt x="2314" y="1392"/>
                  </a:lnTo>
                  <a:lnTo>
                    <a:pt x="2314" y="1392"/>
                  </a:lnTo>
                  <a:lnTo>
                    <a:pt x="2307" y="1390"/>
                  </a:lnTo>
                  <a:lnTo>
                    <a:pt x="2307" y="1390"/>
                  </a:lnTo>
                  <a:lnTo>
                    <a:pt x="2293" y="1386"/>
                  </a:lnTo>
                  <a:lnTo>
                    <a:pt x="2293" y="1386"/>
                  </a:lnTo>
                  <a:lnTo>
                    <a:pt x="2287" y="1385"/>
                  </a:lnTo>
                  <a:lnTo>
                    <a:pt x="2287" y="1385"/>
                  </a:lnTo>
                  <a:lnTo>
                    <a:pt x="2285" y="1385"/>
                  </a:lnTo>
                  <a:lnTo>
                    <a:pt x="2285" y="1385"/>
                  </a:lnTo>
                  <a:lnTo>
                    <a:pt x="2285" y="1385"/>
                  </a:lnTo>
                  <a:lnTo>
                    <a:pt x="2285" y="1385"/>
                  </a:lnTo>
                  <a:lnTo>
                    <a:pt x="2285" y="1385"/>
                  </a:lnTo>
                  <a:lnTo>
                    <a:pt x="2285" y="1385"/>
                  </a:lnTo>
                  <a:lnTo>
                    <a:pt x="2285" y="1385"/>
                  </a:lnTo>
                  <a:lnTo>
                    <a:pt x="2284" y="1386"/>
                  </a:lnTo>
                  <a:lnTo>
                    <a:pt x="2287" y="1386"/>
                  </a:lnTo>
                  <a:lnTo>
                    <a:pt x="2285" y="1385"/>
                  </a:lnTo>
                  <a:lnTo>
                    <a:pt x="2284" y="1386"/>
                  </a:lnTo>
                  <a:lnTo>
                    <a:pt x="2287" y="1386"/>
                  </a:lnTo>
                  <a:lnTo>
                    <a:pt x="2284" y="1386"/>
                  </a:lnTo>
                  <a:lnTo>
                    <a:pt x="2287" y="1386"/>
                  </a:lnTo>
                  <a:lnTo>
                    <a:pt x="2287" y="1386"/>
                  </a:lnTo>
                  <a:lnTo>
                    <a:pt x="2284" y="1386"/>
                  </a:lnTo>
                  <a:lnTo>
                    <a:pt x="2287" y="1386"/>
                  </a:lnTo>
                  <a:lnTo>
                    <a:pt x="2287" y="1386"/>
                  </a:lnTo>
                  <a:lnTo>
                    <a:pt x="2287" y="1386"/>
                  </a:lnTo>
                  <a:lnTo>
                    <a:pt x="2287" y="1386"/>
                  </a:lnTo>
                  <a:lnTo>
                    <a:pt x="2287" y="1385"/>
                  </a:lnTo>
                  <a:lnTo>
                    <a:pt x="2287" y="1385"/>
                  </a:lnTo>
                  <a:lnTo>
                    <a:pt x="2291" y="1377"/>
                  </a:lnTo>
                  <a:lnTo>
                    <a:pt x="2291" y="1377"/>
                  </a:lnTo>
                  <a:lnTo>
                    <a:pt x="2293" y="1375"/>
                  </a:lnTo>
                  <a:lnTo>
                    <a:pt x="2294" y="1370"/>
                  </a:lnTo>
                  <a:lnTo>
                    <a:pt x="2294" y="1369"/>
                  </a:lnTo>
                  <a:lnTo>
                    <a:pt x="2294" y="1369"/>
                  </a:lnTo>
                  <a:lnTo>
                    <a:pt x="2294" y="1367"/>
                  </a:lnTo>
                  <a:lnTo>
                    <a:pt x="2294" y="1367"/>
                  </a:lnTo>
                  <a:lnTo>
                    <a:pt x="2294" y="1363"/>
                  </a:lnTo>
                  <a:lnTo>
                    <a:pt x="2294" y="1363"/>
                  </a:lnTo>
                  <a:lnTo>
                    <a:pt x="2296" y="1357"/>
                  </a:lnTo>
                  <a:lnTo>
                    <a:pt x="2296" y="1357"/>
                  </a:lnTo>
                  <a:lnTo>
                    <a:pt x="2296" y="1354"/>
                  </a:lnTo>
                  <a:lnTo>
                    <a:pt x="2296" y="1354"/>
                  </a:lnTo>
                  <a:lnTo>
                    <a:pt x="2294" y="1354"/>
                  </a:lnTo>
                  <a:lnTo>
                    <a:pt x="2294" y="1354"/>
                  </a:lnTo>
                  <a:lnTo>
                    <a:pt x="2293" y="1353"/>
                  </a:lnTo>
                  <a:lnTo>
                    <a:pt x="2293" y="1353"/>
                  </a:lnTo>
                  <a:lnTo>
                    <a:pt x="2288" y="1353"/>
                  </a:lnTo>
                  <a:lnTo>
                    <a:pt x="2288" y="1353"/>
                  </a:lnTo>
                  <a:lnTo>
                    <a:pt x="2285" y="1353"/>
                  </a:lnTo>
                  <a:lnTo>
                    <a:pt x="2285" y="1353"/>
                  </a:lnTo>
                  <a:lnTo>
                    <a:pt x="2284" y="1351"/>
                  </a:lnTo>
                  <a:lnTo>
                    <a:pt x="2284" y="1351"/>
                  </a:lnTo>
                  <a:lnTo>
                    <a:pt x="2281" y="1350"/>
                  </a:lnTo>
                  <a:lnTo>
                    <a:pt x="2281" y="1350"/>
                  </a:lnTo>
                  <a:lnTo>
                    <a:pt x="2278" y="1348"/>
                  </a:lnTo>
                  <a:lnTo>
                    <a:pt x="2278" y="1348"/>
                  </a:lnTo>
                  <a:lnTo>
                    <a:pt x="2272" y="1350"/>
                  </a:lnTo>
                  <a:lnTo>
                    <a:pt x="2272" y="1350"/>
                  </a:lnTo>
                  <a:lnTo>
                    <a:pt x="2265" y="1351"/>
                  </a:lnTo>
                  <a:lnTo>
                    <a:pt x="2265" y="1351"/>
                  </a:lnTo>
                  <a:lnTo>
                    <a:pt x="2261" y="1353"/>
                  </a:lnTo>
                  <a:lnTo>
                    <a:pt x="2256" y="1354"/>
                  </a:lnTo>
                  <a:lnTo>
                    <a:pt x="2256" y="1354"/>
                  </a:lnTo>
                  <a:lnTo>
                    <a:pt x="2243" y="1362"/>
                  </a:lnTo>
                  <a:lnTo>
                    <a:pt x="2243" y="1362"/>
                  </a:lnTo>
                  <a:lnTo>
                    <a:pt x="2238" y="1364"/>
                  </a:lnTo>
                  <a:lnTo>
                    <a:pt x="2238" y="1364"/>
                  </a:lnTo>
                  <a:lnTo>
                    <a:pt x="2236" y="1366"/>
                  </a:lnTo>
                  <a:lnTo>
                    <a:pt x="2236" y="1366"/>
                  </a:lnTo>
                  <a:lnTo>
                    <a:pt x="2236" y="1366"/>
                  </a:lnTo>
                  <a:lnTo>
                    <a:pt x="2236" y="1366"/>
                  </a:lnTo>
                  <a:lnTo>
                    <a:pt x="2236" y="1366"/>
                  </a:lnTo>
                  <a:lnTo>
                    <a:pt x="2236" y="1366"/>
                  </a:lnTo>
                  <a:lnTo>
                    <a:pt x="2236" y="1366"/>
                  </a:lnTo>
                  <a:lnTo>
                    <a:pt x="2236" y="1367"/>
                  </a:lnTo>
                  <a:lnTo>
                    <a:pt x="2236" y="1366"/>
                  </a:lnTo>
                  <a:lnTo>
                    <a:pt x="2236" y="1366"/>
                  </a:lnTo>
                  <a:lnTo>
                    <a:pt x="2236" y="1366"/>
                  </a:lnTo>
                  <a:lnTo>
                    <a:pt x="2236" y="1367"/>
                  </a:lnTo>
                  <a:lnTo>
                    <a:pt x="2236" y="1366"/>
                  </a:lnTo>
                  <a:lnTo>
                    <a:pt x="2236" y="1366"/>
                  </a:lnTo>
                  <a:lnTo>
                    <a:pt x="2236" y="1366"/>
                  </a:lnTo>
                  <a:lnTo>
                    <a:pt x="2236" y="1366"/>
                  </a:lnTo>
                  <a:lnTo>
                    <a:pt x="2238" y="1360"/>
                  </a:lnTo>
                  <a:lnTo>
                    <a:pt x="2238" y="1360"/>
                  </a:lnTo>
                  <a:lnTo>
                    <a:pt x="2236" y="1357"/>
                  </a:lnTo>
                  <a:lnTo>
                    <a:pt x="2236" y="1357"/>
                  </a:lnTo>
                  <a:lnTo>
                    <a:pt x="2235" y="1354"/>
                  </a:lnTo>
                  <a:lnTo>
                    <a:pt x="2235" y="1354"/>
                  </a:lnTo>
                  <a:lnTo>
                    <a:pt x="2235" y="1353"/>
                  </a:lnTo>
                  <a:lnTo>
                    <a:pt x="2235" y="1351"/>
                  </a:lnTo>
                  <a:lnTo>
                    <a:pt x="2235" y="1351"/>
                  </a:lnTo>
                  <a:lnTo>
                    <a:pt x="2236" y="1351"/>
                  </a:lnTo>
                  <a:lnTo>
                    <a:pt x="2236" y="1351"/>
                  </a:lnTo>
                  <a:lnTo>
                    <a:pt x="2242" y="1346"/>
                  </a:lnTo>
                  <a:lnTo>
                    <a:pt x="2242" y="1346"/>
                  </a:lnTo>
                  <a:lnTo>
                    <a:pt x="2245" y="1341"/>
                  </a:lnTo>
                  <a:lnTo>
                    <a:pt x="2245" y="1337"/>
                  </a:lnTo>
                  <a:lnTo>
                    <a:pt x="2245" y="1337"/>
                  </a:lnTo>
                  <a:lnTo>
                    <a:pt x="2245" y="1335"/>
                  </a:lnTo>
                  <a:lnTo>
                    <a:pt x="2245" y="1335"/>
                  </a:lnTo>
                  <a:lnTo>
                    <a:pt x="2243" y="1331"/>
                  </a:lnTo>
                  <a:lnTo>
                    <a:pt x="2242" y="1328"/>
                  </a:lnTo>
                  <a:lnTo>
                    <a:pt x="2242" y="1328"/>
                  </a:lnTo>
                  <a:lnTo>
                    <a:pt x="2239" y="1325"/>
                  </a:lnTo>
                  <a:lnTo>
                    <a:pt x="2236" y="1325"/>
                  </a:lnTo>
                  <a:lnTo>
                    <a:pt x="2236" y="1325"/>
                  </a:lnTo>
                  <a:lnTo>
                    <a:pt x="2233" y="1325"/>
                  </a:lnTo>
                  <a:lnTo>
                    <a:pt x="2233" y="1325"/>
                  </a:lnTo>
                  <a:lnTo>
                    <a:pt x="2230" y="1325"/>
                  </a:lnTo>
                  <a:lnTo>
                    <a:pt x="2228" y="1327"/>
                  </a:lnTo>
                  <a:lnTo>
                    <a:pt x="2228" y="1327"/>
                  </a:lnTo>
                  <a:lnTo>
                    <a:pt x="2214" y="1337"/>
                  </a:lnTo>
                  <a:lnTo>
                    <a:pt x="2214" y="1337"/>
                  </a:lnTo>
                  <a:lnTo>
                    <a:pt x="2206" y="1343"/>
                  </a:lnTo>
                  <a:lnTo>
                    <a:pt x="2206" y="1343"/>
                  </a:lnTo>
                  <a:lnTo>
                    <a:pt x="2200" y="1348"/>
                  </a:lnTo>
                  <a:lnTo>
                    <a:pt x="2200" y="1348"/>
                  </a:lnTo>
                  <a:lnTo>
                    <a:pt x="2197" y="1353"/>
                  </a:lnTo>
                  <a:lnTo>
                    <a:pt x="2197" y="1357"/>
                  </a:lnTo>
                  <a:lnTo>
                    <a:pt x="2197" y="1357"/>
                  </a:lnTo>
                  <a:lnTo>
                    <a:pt x="2196" y="1360"/>
                  </a:lnTo>
                  <a:lnTo>
                    <a:pt x="2196" y="1360"/>
                  </a:lnTo>
                  <a:lnTo>
                    <a:pt x="2194" y="1360"/>
                  </a:lnTo>
                  <a:lnTo>
                    <a:pt x="2194" y="1360"/>
                  </a:lnTo>
                  <a:lnTo>
                    <a:pt x="2184" y="1362"/>
                  </a:lnTo>
                  <a:lnTo>
                    <a:pt x="2174" y="1363"/>
                  </a:lnTo>
                  <a:lnTo>
                    <a:pt x="2174" y="1363"/>
                  </a:lnTo>
                  <a:lnTo>
                    <a:pt x="2168" y="1364"/>
                  </a:lnTo>
                  <a:lnTo>
                    <a:pt x="2168" y="1364"/>
                  </a:lnTo>
                  <a:lnTo>
                    <a:pt x="2167" y="1367"/>
                  </a:lnTo>
                  <a:lnTo>
                    <a:pt x="2167" y="1367"/>
                  </a:lnTo>
                  <a:lnTo>
                    <a:pt x="2167" y="1369"/>
                  </a:lnTo>
                  <a:lnTo>
                    <a:pt x="2167" y="1369"/>
                  </a:lnTo>
                  <a:lnTo>
                    <a:pt x="2167" y="1373"/>
                  </a:lnTo>
                  <a:lnTo>
                    <a:pt x="2167" y="1373"/>
                  </a:lnTo>
                  <a:lnTo>
                    <a:pt x="2170" y="1376"/>
                  </a:lnTo>
                  <a:lnTo>
                    <a:pt x="2170" y="1376"/>
                  </a:lnTo>
                  <a:lnTo>
                    <a:pt x="2178" y="1386"/>
                  </a:lnTo>
                  <a:lnTo>
                    <a:pt x="2178" y="1386"/>
                  </a:lnTo>
                  <a:lnTo>
                    <a:pt x="2183" y="1390"/>
                  </a:lnTo>
                  <a:lnTo>
                    <a:pt x="2186" y="1396"/>
                  </a:lnTo>
                  <a:lnTo>
                    <a:pt x="2186" y="1396"/>
                  </a:lnTo>
                  <a:lnTo>
                    <a:pt x="2191" y="1404"/>
                  </a:lnTo>
                  <a:lnTo>
                    <a:pt x="2191" y="1404"/>
                  </a:lnTo>
                  <a:lnTo>
                    <a:pt x="2196" y="1406"/>
                  </a:lnTo>
                  <a:lnTo>
                    <a:pt x="2196" y="1406"/>
                  </a:lnTo>
                  <a:lnTo>
                    <a:pt x="2199" y="1408"/>
                  </a:lnTo>
                  <a:lnTo>
                    <a:pt x="2199" y="1408"/>
                  </a:lnTo>
                  <a:lnTo>
                    <a:pt x="2201" y="1406"/>
                  </a:lnTo>
                  <a:lnTo>
                    <a:pt x="2201" y="1406"/>
                  </a:lnTo>
                  <a:lnTo>
                    <a:pt x="2212" y="1402"/>
                  </a:lnTo>
                  <a:lnTo>
                    <a:pt x="2212" y="1402"/>
                  </a:lnTo>
                  <a:lnTo>
                    <a:pt x="2217" y="1399"/>
                  </a:lnTo>
                  <a:lnTo>
                    <a:pt x="2217" y="1399"/>
                  </a:lnTo>
                  <a:lnTo>
                    <a:pt x="2223" y="1398"/>
                  </a:lnTo>
                  <a:lnTo>
                    <a:pt x="2223" y="1398"/>
                  </a:lnTo>
                  <a:lnTo>
                    <a:pt x="2225" y="1398"/>
                  </a:lnTo>
                  <a:lnTo>
                    <a:pt x="2225" y="1398"/>
                  </a:lnTo>
                  <a:lnTo>
                    <a:pt x="2235" y="1402"/>
                  </a:lnTo>
                  <a:lnTo>
                    <a:pt x="2241" y="1404"/>
                  </a:lnTo>
                  <a:lnTo>
                    <a:pt x="2248" y="1405"/>
                  </a:lnTo>
                  <a:lnTo>
                    <a:pt x="2248" y="1405"/>
                  </a:lnTo>
                  <a:lnTo>
                    <a:pt x="2252" y="1405"/>
                  </a:lnTo>
                  <a:lnTo>
                    <a:pt x="2254" y="1406"/>
                  </a:lnTo>
                  <a:lnTo>
                    <a:pt x="2254" y="1406"/>
                  </a:lnTo>
                  <a:lnTo>
                    <a:pt x="2254" y="1406"/>
                  </a:lnTo>
                  <a:lnTo>
                    <a:pt x="2254" y="1406"/>
                  </a:lnTo>
                  <a:lnTo>
                    <a:pt x="2254" y="1406"/>
                  </a:lnTo>
                  <a:lnTo>
                    <a:pt x="2254" y="1406"/>
                  </a:lnTo>
                  <a:lnTo>
                    <a:pt x="2254" y="1406"/>
                  </a:lnTo>
                  <a:lnTo>
                    <a:pt x="2254" y="1406"/>
                  </a:lnTo>
                  <a:lnTo>
                    <a:pt x="2254" y="1406"/>
                  </a:lnTo>
                  <a:lnTo>
                    <a:pt x="2254" y="1406"/>
                  </a:lnTo>
                  <a:lnTo>
                    <a:pt x="2254" y="1406"/>
                  </a:lnTo>
                  <a:lnTo>
                    <a:pt x="2254" y="1406"/>
                  </a:lnTo>
                  <a:lnTo>
                    <a:pt x="2254" y="1405"/>
                  </a:lnTo>
                  <a:lnTo>
                    <a:pt x="2254" y="1406"/>
                  </a:lnTo>
                  <a:lnTo>
                    <a:pt x="2254" y="1406"/>
                  </a:lnTo>
                  <a:lnTo>
                    <a:pt x="2254" y="1405"/>
                  </a:lnTo>
                  <a:lnTo>
                    <a:pt x="2254" y="1405"/>
                  </a:lnTo>
                  <a:lnTo>
                    <a:pt x="2252" y="1406"/>
                  </a:lnTo>
                  <a:lnTo>
                    <a:pt x="2249" y="1408"/>
                  </a:lnTo>
                  <a:lnTo>
                    <a:pt x="2249" y="1408"/>
                  </a:lnTo>
                  <a:lnTo>
                    <a:pt x="2226" y="1412"/>
                  </a:lnTo>
                  <a:lnTo>
                    <a:pt x="2226" y="1412"/>
                  </a:lnTo>
                  <a:lnTo>
                    <a:pt x="2220" y="1414"/>
                  </a:lnTo>
                  <a:lnTo>
                    <a:pt x="2216" y="1417"/>
                  </a:lnTo>
                  <a:lnTo>
                    <a:pt x="2216" y="1417"/>
                  </a:lnTo>
                  <a:lnTo>
                    <a:pt x="2213" y="1421"/>
                  </a:lnTo>
                  <a:lnTo>
                    <a:pt x="2212" y="1424"/>
                  </a:lnTo>
                  <a:lnTo>
                    <a:pt x="2212" y="1424"/>
                  </a:lnTo>
                  <a:lnTo>
                    <a:pt x="2206" y="1431"/>
                  </a:lnTo>
                  <a:lnTo>
                    <a:pt x="2206" y="1431"/>
                  </a:lnTo>
                  <a:lnTo>
                    <a:pt x="2199" y="1438"/>
                  </a:lnTo>
                  <a:lnTo>
                    <a:pt x="2199" y="1438"/>
                  </a:lnTo>
                  <a:lnTo>
                    <a:pt x="2197" y="1443"/>
                  </a:lnTo>
                  <a:lnTo>
                    <a:pt x="2196" y="1447"/>
                  </a:lnTo>
                  <a:lnTo>
                    <a:pt x="2196" y="1447"/>
                  </a:lnTo>
                  <a:lnTo>
                    <a:pt x="2197" y="1451"/>
                  </a:lnTo>
                  <a:lnTo>
                    <a:pt x="2200" y="1454"/>
                  </a:lnTo>
                  <a:lnTo>
                    <a:pt x="2200" y="1454"/>
                  </a:lnTo>
                  <a:lnTo>
                    <a:pt x="2203" y="1457"/>
                  </a:lnTo>
                  <a:lnTo>
                    <a:pt x="2203" y="1457"/>
                  </a:lnTo>
                  <a:lnTo>
                    <a:pt x="2209" y="1467"/>
                  </a:lnTo>
                  <a:lnTo>
                    <a:pt x="2213" y="1476"/>
                  </a:lnTo>
                  <a:lnTo>
                    <a:pt x="2213" y="1476"/>
                  </a:lnTo>
                  <a:lnTo>
                    <a:pt x="2214" y="1482"/>
                  </a:lnTo>
                  <a:lnTo>
                    <a:pt x="2219" y="1488"/>
                  </a:lnTo>
                  <a:lnTo>
                    <a:pt x="2219" y="1488"/>
                  </a:lnTo>
                  <a:lnTo>
                    <a:pt x="2223" y="1493"/>
                  </a:lnTo>
                  <a:lnTo>
                    <a:pt x="2228" y="1496"/>
                  </a:lnTo>
                  <a:lnTo>
                    <a:pt x="2228" y="1496"/>
                  </a:lnTo>
                  <a:lnTo>
                    <a:pt x="2229" y="1498"/>
                  </a:lnTo>
                  <a:lnTo>
                    <a:pt x="2229" y="1498"/>
                  </a:lnTo>
                  <a:lnTo>
                    <a:pt x="2233" y="1502"/>
                  </a:lnTo>
                  <a:lnTo>
                    <a:pt x="2233" y="1502"/>
                  </a:lnTo>
                  <a:lnTo>
                    <a:pt x="2233" y="1506"/>
                  </a:lnTo>
                  <a:lnTo>
                    <a:pt x="2233" y="1506"/>
                  </a:lnTo>
                  <a:lnTo>
                    <a:pt x="2233" y="1506"/>
                  </a:lnTo>
                  <a:lnTo>
                    <a:pt x="2235" y="1508"/>
                  </a:lnTo>
                  <a:lnTo>
                    <a:pt x="2235" y="1506"/>
                  </a:lnTo>
                  <a:lnTo>
                    <a:pt x="2233" y="1506"/>
                  </a:lnTo>
                  <a:lnTo>
                    <a:pt x="2235" y="1508"/>
                  </a:lnTo>
                  <a:lnTo>
                    <a:pt x="2235" y="1506"/>
                  </a:lnTo>
                  <a:lnTo>
                    <a:pt x="2235" y="1506"/>
                  </a:lnTo>
                  <a:lnTo>
                    <a:pt x="2232" y="1508"/>
                  </a:lnTo>
                  <a:lnTo>
                    <a:pt x="2232" y="1509"/>
                  </a:lnTo>
                  <a:lnTo>
                    <a:pt x="2232" y="1509"/>
                  </a:lnTo>
                  <a:lnTo>
                    <a:pt x="2230" y="1511"/>
                  </a:lnTo>
                  <a:lnTo>
                    <a:pt x="2230" y="1511"/>
                  </a:lnTo>
                  <a:lnTo>
                    <a:pt x="2230" y="1512"/>
                  </a:lnTo>
                  <a:lnTo>
                    <a:pt x="2232" y="1514"/>
                  </a:lnTo>
                  <a:lnTo>
                    <a:pt x="2232" y="1514"/>
                  </a:lnTo>
                  <a:lnTo>
                    <a:pt x="2235" y="1518"/>
                  </a:lnTo>
                  <a:lnTo>
                    <a:pt x="2235" y="1518"/>
                  </a:lnTo>
                  <a:lnTo>
                    <a:pt x="2236" y="1519"/>
                  </a:lnTo>
                  <a:lnTo>
                    <a:pt x="2238" y="1521"/>
                  </a:lnTo>
                  <a:lnTo>
                    <a:pt x="2238" y="1521"/>
                  </a:lnTo>
                  <a:lnTo>
                    <a:pt x="2238" y="1521"/>
                  </a:lnTo>
                  <a:lnTo>
                    <a:pt x="2238" y="1521"/>
                  </a:lnTo>
                  <a:lnTo>
                    <a:pt x="2238" y="1521"/>
                  </a:lnTo>
                  <a:lnTo>
                    <a:pt x="2238" y="1521"/>
                  </a:lnTo>
                  <a:lnTo>
                    <a:pt x="2238" y="1521"/>
                  </a:lnTo>
                  <a:lnTo>
                    <a:pt x="2238" y="1521"/>
                  </a:lnTo>
                  <a:lnTo>
                    <a:pt x="2238" y="1521"/>
                  </a:lnTo>
                  <a:lnTo>
                    <a:pt x="2238" y="1521"/>
                  </a:lnTo>
                  <a:lnTo>
                    <a:pt x="2238" y="1521"/>
                  </a:lnTo>
                  <a:lnTo>
                    <a:pt x="2238" y="1521"/>
                  </a:lnTo>
                  <a:lnTo>
                    <a:pt x="2238" y="1521"/>
                  </a:lnTo>
                  <a:lnTo>
                    <a:pt x="2238" y="1521"/>
                  </a:lnTo>
                  <a:lnTo>
                    <a:pt x="2238" y="1521"/>
                  </a:lnTo>
                  <a:lnTo>
                    <a:pt x="2238" y="1521"/>
                  </a:lnTo>
                  <a:lnTo>
                    <a:pt x="2235" y="1524"/>
                  </a:lnTo>
                  <a:lnTo>
                    <a:pt x="2235" y="1524"/>
                  </a:lnTo>
                  <a:lnTo>
                    <a:pt x="2228" y="1530"/>
                  </a:lnTo>
                  <a:lnTo>
                    <a:pt x="2228" y="1530"/>
                  </a:lnTo>
                  <a:lnTo>
                    <a:pt x="2225" y="1534"/>
                  </a:lnTo>
                  <a:lnTo>
                    <a:pt x="2225" y="1534"/>
                  </a:lnTo>
                  <a:lnTo>
                    <a:pt x="2223" y="1537"/>
                  </a:lnTo>
                  <a:lnTo>
                    <a:pt x="2223" y="1537"/>
                  </a:lnTo>
                  <a:lnTo>
                    <a:pt x="2223" y="1540"/>
                  </a:lnTo>
                  <a:lnTo>
                    <a:pt x="2225" y="1541"/>
                  </a:lnTo>
                  <a:lnTo>
                    <a:pt x="2225" y="1541"/>
                  </a:lnTo>
                  <a:lnTo>
                    <a:pt x="2229" y="1543"/>
                  </a:lnTo>
                  <a:lnTo>
                    <a:pt x="2229" y="1543"/>
                  </a:lnTo>
                  <a:lnTo>
                    <a:pt x="2236" y="1544"/>
                  </a:lnTo>
                  <a:lnTo>
                    <a:pt x="2236" y="1544"/>
                  </a:lnTo>
                  <a:lnTo>
                    <a:pt x="2239" y="1545"/>
                  </a:lnTo>
                  <a:lnTo>
                    <a:pt x="2239" y="1545"/>
                  </a:lnTo>
                  <a:lnTo>
                    <a:pt x="2239" y="1545"/>
                  </a:lnTo>
                  <a:lnTo>
                    <a:pt x="2239" y="1545"/>
                  </a:lnTo>
                  <a:lnTo>
                    <a:pt x="2239" y="1545"/>
                  </a:lnTo>
                  <a:lnTo>
                    <a:pt x="2239" y="1545"/>
                  </a:lnTo>
                  <a:lnTo>
                    <a:pt x="2239" y="1545"/>
                  </a:lnTo>
                  <a:lnTo>
                    <a:pt x="2239" y="1545"/>
                  </a:lnTo>
                  <a:lnTo>
                    <a:pt x="2241" y="1553"/>
                  </a:lnTo>
                  <a:lnTo>
                    <a:pt x="2241" y="1553"/>
                  </a:lnTo>
                  <a:lnTo>
                    <a:pt x="2241" y="1554"/>
                  </a:lnTo>
                  <a:lnTo>
                    <a:pt x="2241" y="1556"/>
                  </a:lnTo>
                  <a:lnTo>
                    <a:pt x="2241" y="1556"/>
                  </a:lnTo>
                  <a:lnTo>
                    <a:pt x="2241" y="1554"/>
                  </a:lnTo>
                  <a:lnTo>
                    <a:pt x="2241" y="1556"/>
                  </a:lnTo>
                  <a:lnTo>
                    <a:pt x="2241" y="1556"/>
                  </a:lnTo>
                  <a:lnTo>
                    <a:pt x="2241" y="1554"/>
                  </a:lnTo>
                  <a:lnTo>
                    <a:pt x="2241" y="1554"/>
                  </a:lnTo>
                  <a:lnTo>
                    <a:pt x="2236" y="1558"/>
                  </a:lnTo>
                  <a:lnTo>
                    <a:pt x="2235" y="1563"/>
                  </a:lnTo>
                  <a:lnTo>
                    <a:pt x="2233" y="1569"/>
                  </a:lnTo>
                  <a:lnTo>
                    <a:pt x="2233" y="1569"/>
                  </a:lnTo>
                  <a:lnTo>
                    <a:pt x="2233" y="1572"/>
                  </a:lnTo>
                  <a:lnTo>
                    <a:pt x="2233" y="1572"/>
                  </a:lnTo>
                  <a:lnTo>
                    <a:pt x="2233" y="1573"/>
                  </a:lnTo>
                  <a:lnTo>
                    <a:pt x="2233" y="1573"/>
                  </a:lnTo>
                  <a:lnTo>
                    <a:pt x="2232" y="1574"/>
                  </a:lnTo>
                  <a:lnTo>
                    <a:pt x="2232" y="1574"/>
                  </a:lnTo>
                  <a:lnTo>
                    <a:pt x="2228" y="1574"/>
                  </a:lnTo>
                  <a:lnTo>
                    <a:pt x="2228" y="1574"/>
                  </a:lnTo>
                  <a:lnTo>
                    <a:pt x="2223" y="1576"/>
                  </a:lnTo>
                  <a:lnTo>
                    <a:pt x="2217" y="1579"/>
                  </a:lnTo>
                  <a:lnTo>
                    <a:pt x="2217" y="1579"/>
                  </a:lnTo>
                  <a:lnTo>
                    <a:pt x="2213" y="1583"/>
                  </a:lnTo>
                  <a:lnTo>
                    <a:pt x="2210" y="1587"/>
                  </a:lnTo>
                  <a:lnTo>
                    <a:pt x="2210" y="1587"/>
                  </a:lnTo>
                  <a:lnTo>
                    <a:pt x="2207" y="1599"/>
                  </a:lnTo>
                  <a:lnTo>
                    <a:pt x="2207" y="1599"/>
                  </a:lnTo>
                  <a:lnTo>
                    <a:pt x="2204" y="1605"/>
                  </a:lnTo>
                  <a:lnTo>
                    <a:pt x="2204" y="1605"/>
                  </a:lnTo>
                  <a:lnTo>
                    <a:pt x="2204" y="1606"/>
                  </a:lnTo>
                  <a:lnTo>
                    <a:pt x="2204" y="1606"/>
                  </a:lnTo>
                  <a:lnTo>
                    <a:pt x="2203" y="1608"/>
                  </a:lnTo>
                  <a:lnTo>
                    <a:pt x="2203" y="1608"/>
                  </a:lnTo>
                  <a:lnTo>
                    <a:pt x="2203" y="1611"/>
                  </a:lnTo>
                  <a:lnTo>
                    <a:pt x="2203" y="1611"/>
                  </a:lnTo>
                  <a:lnTo>
                    <a:pt x="2203" y="1614"/>
                  </a:lnTo>
                  <a:lnTo>
                    <a:pt x="2203" y="1614"/>
                  </a:lnTo>
                  <a:lnTo>
                    <a:pt x="2203" y="1615"/>
                  </a:lnTo>
                  <a:lnTo>
                    <a:pt x="2203" y="1615"/>
                  </a:lnTo>
                  <a:lnTo>
                    <a:pt x="2201" y="1618"/>
                  </a:lnTo>
                  <a:lnTo>
                    <a:pt x="2201" y="1618"/>
                  </a:lnTo>
                  <a:lnTo>
                    <a:pt x="2194" y="1622"/>
                  </a:lnTo>
                  <a:lnTo>
                    <a:pt x="2194" y="1622"/>
                  </a:lnTo>
                  <a:lnTo>
                    <a:pt x="2190" y="1625"/>
                  </a:lnTo>
                  <a:lnTo>
                    <a:pt x="2190" y="1625"/>
                  </a:lnTo>
                  <a:lnTo>
                    <a:pt x="2188" y="1625"/>
                  </a:lnTo>
                  <a:lnTo>
                    <a:pt x="2188" y="1627"/>
                  </a:lnTo>
                  <a:lnTo>
                    <a:pt x="2188" y="1627"/>
                  </a:lnTo>
                  <a:lnTo>
                    <a:pt x="2187" y="1628"/>
                  </a:lnTo>
                  <a:lnTo>
                    <a:pt x="2187" y="1628"/>
                  </a:lnTo>
                  <a:lnTo>
                    <a:pt x="2187" y="1629"/>
                  </a:lnTo>
                  <a:lnTo>
                    <a:pt x="2187" y="1629"/>
                  </a:lnTo>
                  <a:lnTo>
                    <a:pt x="2187" y="1634"/>
                  </a:lnTo>
                  <a:lnTo>
                    <a:pt x="2186" y="1634"/>
                  </a:lnTo>
                  <a:lnTo>
                    <a:pt x="2186" y="1634"/>
                  </a:lnTo>
                  <a:lnTo>
                    <a:pt x="2186" y="1635"/>
                  </a:lnTo>
                  <a:lnTo>
                    <a:pt x="2186" y="1635"/>
                  </a:lnTo>
                  <a:lnTo>
                    <a:pt x="2181" y="1637"/>
                  </a:lnTo>
                  <a:lnTo>
                    <a:pt x="2181" y="1637"/>
                  </a:lnTo>
                  <a:lnTo>
                    <a:pt x="2178" y="1638"/>
                  </a:lnTo>
                  <a:lnTo>
                    <a:pt x="2178" y="1641"/>
                  </a:lnTo>
                  <a:lnTo>
                    <a:pt x="2178" y="1641"/>
                  </a:lnTo>
                  <a:lnTo>
                    <a:pt x="2175" y="1645"/>
                  </a:lnTo>
                  <a:lnTo>
                    <a:pt x="2175" y="1645"/>
                  </a:lnTo>
                  <a:lnTo>
                    <a:pt x="2168" y="1654"/>
                  </a:lnTo>
                  <a:lnTo>
                    <a:pt x="2168" y="1654"/>
                  </a:lnTo>
                  <a:lnTo>
                    <a:pt x="2164" y="1657"/>
                  </a:lnTo>
                  <a:lnTo>
                    <a:pt x="2164" y="1657"/>
                  </a:lnTo>
                  <a:lnTo>
                    <a:pt x="2161" y="1657"/>
                  </a:lnTo>
                  <a:lnTo>
                    <a:pt x="2161" y="1657"/>
                  </a:lnTo>
                  <a:lnTo>
                    <a:pt x="2158" y="1657"/>
                  </a:lnTo>
                  <a:lnTo>
                    <a:pt x="2155" y="1658"/>
                  </a:lnTo>
                  <a:lnTo>
                    <a:pt x="2151" y="1663"/>
                  </a:lnTo>
                  <a:lnTo>
                    <a:pt x="2151" y="1663"/>
                  </a:lnTo>
                  <a:lnTo>
                    <a:pt x="2146" y="1667"/>
                  </a:lnTo>
                  <a:lnTo>
                    <a:pt x="2146" y="1667"/>
                  </a:lnTo>
                  <a:lnTo>
                    <a:pt x="2144" y="1667"/>
                  </a:lnTo>
                  <a:lnTo>
                    <a:pt x="2141" y="1669"/>
                  </a:lnTo>
                  <a:lnTo>
                    <a:pt x="2141" y="1669"/>
                  </a:lnTo>
                  <a:lnTo>
                    <a:pt x="2136" y="1667"/>
                  </a:lnTo>
                  <a:lnTo>
                    <a:pt x="2136" y="1667"/>
                  </a:lnTo>
                  <a:lnTo>
                    <a:pt x="2133" y="1666"/>
                  </a:lnTo>
                  <a:lnTo>
                    <a:pt x="2130" y="1666"/>
                  </a:lnTo>
                  <a:lnTo>
                    <a:pt x="2130" y="1666"/>
                  </a:lnTo>
                  <a:lnTo>
                    <a:pt x="2128" y="1666"/>
                  </a:lnTo>
                  <a:lnTo>
                    <a:pt x="2126" y="1667"/>
                  </a:lnTo>
                  <a:lnTo>
                    <a:pt x="2126" y="1667"/>
                  </a:lnTo>
                  <a:lnTo>
                    <a:pt x="2120" y="1673"/>
                  </a:lnTo>
                  <a:lnTo>
                    <a:pt x="2120" y="1673"/>
                  </a:lnTo>
                  <a:lnTo>
                    <a:pt x="2119" y="1674"/>
                  </a:lnTo>
                  <a:lnTo>
                    <a:pt x="2119" y="1674"/>
                  </a:lnTo>
                  <a:lnTo>
                    <a:pt x="2117" y="1676"/>
                  </a:lnTo>
                  <a:lnTo>
                    <a:pt x="2117" y="1676"/>
                  </a:lnTo>
                  <a:lnTo>
                    <a:pt x="2117" y="1676"/>
                  </a:lnTo>
                  <a:lnTo>
                    <a:pt x="2113" y="1674"/>
                  </a:lnTo>
                  <a:lnTo>
                    <a:pt x="2113" y="1674"/>
                  </a:lnTo>
                  <a:lnTo>
                    <a:pt x="2110" y="1673"/>
                  </a:lnTo>
                  <a:lnTo>
                    <a:pt x="2110" y="1673"/>
                  </a:lnTo>
                  <a:lnTo>
                    <a:pt x="2107" y="1673"/>
                  </a:lnTo>
                  <a:lnTo>
                    <a:pt x="2107" y="1673"/>
                  </a:lnTo>
                  <a:lnTo>
                    <a:pt x="2106" y="1673"/>
                  </a:lnTo>
                  <a:lnTo>
                    <a:pt x="2106" y="1673"/>
                  </a:lnTo>
                  <a:lnTo>
                    <a:pt x="2104" y="1674"/>
                  </a:lnTo>
                  <a:lnTo>
                    <a:pt x="2104" y="1674"/>
                  </a:lnTo>
                  <a:lnTo>
                    <a:pt x="2104" y="1680"/>
                  </a:lnTo>
                  <a:lnTo>
                    <a:pt x="2104" y="1680"/>
                  </a:lnTo>
                  <a:lnTo>
                    <a:pt x="2103" y="1683"/>
                  </a:lnTo>
                  <a:lnTo>
                    <a:pt x="2103" y="1683"/>
                  </a:lnTo>
                  <a:lnTo>
                    <a:pt x="2103" y="1685"/>
                  </a:lnTo>
                  <a:lnTo>
                    <a:pt x="2103" y="1685"/>
                  </a:lnTo>
                  <a:lnTo>
                    <a:pt x="2102" y="1685"/>
                  </a:lnTo>
                  <a:lnTo>
                    <a:pt x="2102" y="1685"/>
                  </a:lnTo>
                  <a:lnTo>
                    <a:pt x="2091" y="1689"/>
                  </a:lnTo>
                  <a:lnTo>
                    <a:pt x="2091" y="1689"/>
                  </a:lnTo>
                  <a:lnTo>
                    <a:pt x="2080" y="1690"/>
                  </a:lnTo>
                  <a:lnTo>
                    <a:pt x="2080" y="1690"/>
                  </a:lnTo>
                  <a:lnTo>
                    <a:pt x="2068" y="1692"/>
                  </a:lnTo>
                  <a:lnTo>
                    <a:pt x="2068" y="1692"/>
                  </a:lnTo>
                  <a:lnTo>
                    <a:pt x="2062" y="1692"/>
                  </a:lnTo>
                  <a:lnTo>
                    <a:pt x="2062" y="1692"/>
                  </a:lnTo>
                  <a:lnTo>
                    <a:pt x="2058" y="1695"/>
                  </a:lnTo>
                  <a:lnTo>
                    <a:pt x="2058" y="1695"/>
                  </a:lnTo>
                  <a:lnTo>
                    <a:pt x="2054" y="1700"/>
                  </a:lnTo>
                  <a:lnTo>
                    <a:pt x="2054" y="1700"/>
                  </a:lnTo>
                  <a:lnTo>
                    <a:pt x="2052" y="1702"/>
                  </a:lnTo>
                  <a:lnTo>
                    <a:pt x="2052" y="1705"/>
                  </a:lnTo>
                  <a:lnTo>
                    <a:pt x="2052" y="1706"/>
                  </a:lnTo>
                  <a:lnTo>
                    <a:pt x="2054" y="1706"/>
                  </a:lnTo>
                  <a:lnTo>
                    <a:pt x="2052" y="1706"/>
                  </a:lnTo>
                  <a:lnTo>
                    <a:pt x="2052" y="1706"/>
                  </a:lnTo>
                  <a:lnTo>
                    <a:pt x="2054" y="1706"/>
                  </a:lnTo>
                  <a:lnTo>
                    <a:pt x="2052" y="1706"/>
                  </a:lnTo>
                  <a:lnTo>
                    <a:pt x="2054" y="1706"/>
                  </a:lnTo>
                  <a:lnTo>
                    <a:pt x="2052" y="1706"/>
                  </a:lnTo>
                  <a:lnTo>
                    <a:pt x="2052" y="1706"/>
                  </a:lnTo>
                  <a:lnTo>
                    <a:pt x="2054" y="1706"/>
                  </a:lnTo>
                  <a:lnTo>
                    <a:pt x="2052" y="1706"/>
                  </a:lnTo>
                  <a:lnTo>
                    <a:pt x="2054" y="1706"/>
                  </a:lnTo>
                  <a:lnTo>
                    <a:pt x="2052" y="1706"/>
                  </a:lnTo>
                  <a:lnTo>
                    <a:pt x="2052" y="1706"/>
                  </a:lnTo>
                  <a:lnTo>
                    <a:pt x="2054" y="1706"/>
                  </a:lnTo>
                  <a:lnTo>
                    <a:pt x="2052" y="1706"/>
                  </a:lnTo>
                  <a:lnTo>
                    <a:pt x="2052" y="1706"/>
                  </a:lnTo>
                  <a:lnTo>
                    <a:pt x="2051" y="1706"/>
                  </a:lnTo>
                  <a:lnTo>
                    <a:pt x="2051" y="1706"/>
                  </a:lnTo>
                  <a:lnTo>
                    <a:pt x="2048" y="1705"/>
                  </a:lnTo>
                  <a:lnTo>
                    <a:pt x="2048" y="1705"/>
                  </a:lnTo>
                  <a:lnTo>
                    <a:pt x="2046" y="1703"/>
                  </a:lnTo>
                  <a:lnTo>
                    <a:pt x="2046" y="1703"/>
                  </a:lnTo>
                  <a:lnTo>
                    <a:pt x="2046" y="1700"/>
                  </a:lnTo>
                  <a:lnTo>
                    <a:pt x="2046" y="1700"/>
                  </a:lnTo>
                  <a:lnTo>
                    <a:pt x="2046" y="1696"/>
                  </a:lnTo>
                  <a:lnTo>
                    <a:pt x="2046" y="1696"/>
                  </a:lnTo>
                  <a:lnTo>
                    <a:pt x="2046" y="1692"/>
                  </a:lnTo>
                  <a:lnTo>
                    <a:pt x="2046" y="1692"/>
                  </a:lnTo>
                  <a:lnTo>
                    <a:pt x="2045" y="1690"/>
                  </a:lnTo>
                  <a:lnTo>
                    <a:pt x="2045" y="1690"/>
                  </a:lnTo>
                  <a:lnTo>
                    <a:pt x="2042" y="1690"/>
                  </a:lnTo>
                  <a:lnTo>
                    <a:pt x="2041" y="1690"/>
                  </a:lnTo>
                  <a:lnTo>
                    <a:pt x="2041" y="1690"/>
                  </a:lnTo>
                  <a:lnTo>
                    <a:pt x="2038" y="1692"/>
                  </a:lnTo>
                  <a:lnTo>
                    <a:pt x="2035" y="1693"/>
                  </a:lnTo>
                  <a:lnTo>
                    <a:pt x="2035" y="1693"/>
                  </a:lnTo>
                  <a:lnTo>
                    <a:pt x="2032" y="1695"/>
                  </a:lnTo>
                  <a:lnTo>
                    <a:pt x="2031" y="1695"/>
                  </a:lnTo>
                  <a:lnTo>
                    <a:pt x="2031" y="1695"/>
                  </a:lnTo>
                  <a:lnTo>
                    <a:pt x="2031" y="1695"/>
                  </a:lnTo>
                  <a:lnTo>
                    <a:pt x="2031" y="1695"/>
                  </a:lnTo>
                  <a:lnTo>
                    <a:pt x="2029" y="1693"/>
                  </a:lnTo>
                  <a:lnTo>
                    <a:pt x="2029" y="1693"/>
                  </a:lnTo>
                  <a:lnTo>
                    <a:pt x="2028" y="1690"/>
                  </a:lnTo>
                  <a:lnTo>
                    <a:pt x="2028" y="1690"/>
                  </a:lnTo>
                  <a:lnTo>
                    <a:pt x="2025" y="1690"/>
                  </a:lnTo>
                  <a:lnTo>
                    <a:pt x="2025" y="1690"/>
                  </a:lnTo>
                  <a:lnTo>
                    <a:pt x="2022" y="1690"/>
                  </a:lnTo>
                  <a:lnTo>
                    <a:pt x="2022" y="1690"/>
                  </a:lnTo>
                  <a:lnTo>
                    <a:pt x="2016" y="1693"/>
                  </a:lnTo>
                  <a:lnTo>
                    <a:pt x="2016" y="1693"/>
                  </a:lnTo>
                  <a:lnTo>
                    <a:pt x="2004" y="1699"/>
                  </a:lnTo>
                  <a:lnTo>
                    <a:pt x="2004" y="1699"/>
                  </a:lnTo>
                  <a:lnTo>
                    <a:pt x="1999" y="1702"/>
                  </a:lnTo>
                  <a:lnTo>
                    <a:pt x="1993" y="1706"/>
                  </a:lnTo>
                  <a:lnTo>
                    <a:pt x="1993" y="1706"/>
                  </a:lnTo>
                  <a:lnTo>
                    <a:pt x="1989" y="1713"/>
                  </a:lnTo>
                  <a:lnTo>
                    <a:pt x="1989" y="1713"/>
                  </a:lnTo>
                  <a:lnTo>
                    <a:pt x="1986" y="1718"/>
                  </a:lnTo>
                  <a:lnTo>
                    <a:pt x="1986" y="1718"/>
                  </a:lnTo>
                  <a:lnTo>
                    <a:pt x="1983" y="1721"/>
                  </a:lnTo>
                  <a:lnTo>
                    <a:pt x="1983" y="1724"/>
                  </a:lnTo>
                  <a:lnTo>
                    <a:pt x="1983" y="1724"/>
                  </a:lnTo>
                  <a:lnTo>
                    <a:pt x="1981" y="1729"/>
                  </a:lnTo>
                  <a:lnTo>
                    <a:pt x="1981" y="1729"/>
                  </a:lnTo>
                  <a:lnTo>
                    <a:pt x="1980" y="1732"/>
                  </a:lnTo>
                  <a:lnTo>
                    <a:pt x="1980" y="1732"/>
                  </a:lnTo>
                  <a:lnTo>
                    <a:pt x="1980" y="1737"/>
                  </a:lnTo>
                  <a:lnTo>
                    <a:pt x="1980" y="1737"/>
                  </a:lnTo>
                  <a:lnTo>
                    <a:pt x="1981" y="1741"/>
                  </a:lnTo>
                  <a:lnTo>
                    <a:pt x="1981" y="1741"/>
                  </a:lnTo>
                  <a:lnTo>
                    <a:pt x="1984" y="1744"/>
                  </a:lnTo>
                  <a:lnTo>
                    <a:pt x="1984" y="1744"/>
                  </a:lnTo>
                  <a:lnTo>
                    <a:pt x="1990" y="1750"/>
                  </a:lnTo>
                  <a:lnTo>
                    <a:pt x="1990" y="1750"/>
                  </a:lnTo>
                  <a:lnTo>
                    <a:pt x="1996" y="1758"/>
                  </a:lnTo>
                  <a:lnTo>
                    <a:pt x="1996" y="1758"/>
                  </a:lnTo>
                  <a:lnTo>
                    <a:pt x="2003" y="1771"/>
                  </a:lnTo>
                  <a:lnTo>
                    <a:pt x="2006" y="1776"/>
                  </a:lnTo>
                  <a:lnTo>
                    <a:pt x="2010" y="1779"/>
                  </a:lnTo>
                  <a:lnTo>
                    <a:pt x="2010" y="1779"/>
                  </a:lnTo>
                  <a:lnTo>
                    <a:pt x="2020" y="1787"/>
                  </a:lnTo>
                  <a:lnTo>
                    <a:pt x="2020" y="1787"/>
                  </a:lnTo>
                  <a:lnTo>
                    <a:pt x="2026" y="1792"/>
                  </a:lnTo>
                  <a:lnTo>
                    <a:pt x="2026" y="1792"/>
                  </a:lnTo>
                  <a:lnTo>
                    <a:pt x="2029" y="1797"/>
                  </a:lnTo>
                  <a:lnTo>
                    <a:pt x="2029" y="1797"/>
                  </a:lnTo>
                  <a:lnTo>
                    <a:pt x="2033" y="1812"/>
                  </a:lnTo>
                  <a:lnTo>
                    <a:pt x="2033" y="1812"/>
                  </a:lnTo>
                  <a:lnTo>
                    <a:pt x="2036" y="1826"/>
                  </a:lnTo>
                  <a:lnTo>
                    <a:pt x="2036" y="1826"/>
                  </a:lnTo>
                  <a:lnTo>
                    <a:pt x="2036" y="1831"/>
                  </a:lnTo>
                  <a:lnTo>
                    <a:pt x="2036" y="1831"/>
                  </a:lnTo>
                  <a:lnTo>
                    <a:pt x="2035" y="1847"/>
                  </a:lnTo>
                  <a:lnTo>
                    <a:pt x="2035" y="1847"/>
                  </a:lnTo>
                  <a:lnTo>
                    <a:pt x="2032" y="1854"/>
                  </a:lnTo>
                  <a:lnTo>
                    <a:pt x="2032" y="1854"/>
                  </a:lnTo>
                  <a:lnTo>
                    <a:pt x="2031" y="1858"/>
                  </a:lnTo>
                  <a:lnTo>
                    <a:pt x="2031" y="1858"/>
                  </a:lnTo>
                  <a:lnTo>
                    <a:pt x="2019" y="1868"/>
                  </a:lnTo>
                  <a:lnTo>
                    <a:pt x="2019" y="1868"/>
                  </a:lnTo>
                  <a:lnTo>
                    <a:pt x="2012" y="1874"/>
                  </a:lnTo>
                  <a:lnTo>
                    <a:pt x="2012" y="1874"/>
                  </a:lnTo>
                  <a:lnTo>
                    <a:pt x="2010" y="1876"/>
                  </a:lnTo>
                  <a:lnTo>
                    <a:pt x="2009" y="1876"/>
                  </a:lnTo>
                  <a:lnTo>
                    <a:pt x="2009" y="1876"/>
                  </a:lnTo>
                  <a:lnTo>
                    <a:pt x="2009" y="1876"/>
                  </a:lnTo>
                  <a:lnTo>
                    <a:pt x="2009" y="1876"/>
                  </a:lnTo>
                  <a:lnTo>
                    <a:pt x="2004" y="1874"/>
                  </a:lnTo>
                  <a:lnTo>
                    <a:pt x="2004" y="1874"/>
                  </a:lnTo>
                  <a:lnTo>
                    <a:pt x="2000" y="1874"/>
                  </a:lnTo>
                  <a:lnTo>
                    <a:pt x="2000" y="1874"/>
                  </a:lnTo>
                  <a:lnTo>
                    <a:pt x="1996" y="1876"/>
                  </a:lnTo>
                  <a:lnTo>
                    <a:pt x="1996" y="1876"/>
                  </a:lnTo>
                  <a:lnTo>
                    <a:pt x="1993" y="1879"/>
                  </a:lnTo>
                  <a:lnTo>
                    <a:pt x="1993" y="1879"/>
                  </a:lnTo>
                  <a:lnTo>
                    <a:pt x="1991" y="1886"/>
                  </a:lnTo>
                  <a:lnTo>
                    <a:pt x="1991" y="1886"/>
                  </a:lnTo>
                  <a:lnTo>
                    <a:pt x="1989" y="1892"/>
                  </a:lnTo>
                  <a:lnTo>
                    <a:pt x="1989" y="1892"/>
                  </a:lnTo>
                  <a:lnTo>
                    <a:pt x="1989" y="1892"/>
                  </a:lnTo>
                  <a:lnTo>
                    <a:pt x="1989" y="1892"/>
                  </a:lnTo>
                  <a:lnTo>
                    <a:pt x="1989" y="1892"/>
                  </a:lnTo>
                  <a:lnTo>
                    <a:pt x="1989" y="1892"/>
                  </a:lnTo>
                  <a:lnTo>
                    <a:pt x="1989" y="1892"/>
                  </a:lnTo>
                  <a:lnTo>
                    <a:pt x="1987" y="1892"/>
                  </a:lnTo>
                  <a:lnTo>
                    <a:pt x="1987" y="1892"/>
                  </a:lnTo>
                  <a:lnTo>
                    <a:pt x="1981" y="1893"/>
                  </a:lnTo>
                  <a:lnTo>
                    <a:pt x="1981" y="1893"/>
                  </a:lnTo>
                  <a:lnTo>
                    <a:pt x="1977" y="1895"/>
                  </a:lnTo>
                  <a:lnTo>
                    <a:pt x="1977" y="1895"/>
                  </a:lnTo>
                  <a:lnTo>
                    <a:pt x="1976" y="1897"/>
                  </a:lnTo>
                  <a:lnTo>
                    <a:pt x="1976" y="1897"/>
                  </a:lnTo>
                  <a:lnTo>
                    <a:pt x="1970" y="1905"/>
                  </a:lnTo>
                  <a:lnTo>
                    <a:pt x="1970" y="1905"/>
                  </a:lnTo>
                  <a:lnTo>
                    <a:pt x="1967" y="1908"/>
                  </a:lnTo>
                  <a:lnTo>
                    <a:pt x="1967" y="1908"/>
                  </a:lnTo>
                  <a:lnTo>
                    <a:pt x="1965" y="1908"/>
                  </a:lnTo>
                  <a:lnTo>
                    <a:pt x="1965" y="1908"/>
                  </a:lnTo>
                  <a:lnTo>
                    <a:pt x="1965" y="1908"/>
                  </a:lnTo>
                  <a:lnTo>
                    <a:pt x="1965" y="1908"/>
                  </a:lnTo>
                  <a:lnTo>
                    <a:pt x="1965" y="1908"/>
                  </a:lnTo>
                  <a:lnTo>
                    <a:pt x="1965" y="1908"/>
                  </a:lnTo>
                  <a:lnTo>
                    <a:pt x="1965" y="1909"/>
                  </a:lnTo>
                  <a:lnTo>
                    <a:pt x="1965" y="1908"/>
                  </a:lnTo>
                  <a:lnTo>
                    <a:pt x="1965" y="1908"/>
                  </a:lnTo>
                  <a:lnTo>
                    <a:pt x="1965" y="1909"/>
                  </a:lnTo>
                  <a:lnTo>
                    <a:pt x="1965" y="1908"/>
                  </a:lnTo>
                  <a:lnTo>
                    <a:pt x="1965" y="1909"/>
                  </a:lnTo>
                  <a:lnTo>
                    <a:pt x="1967" y="1909"/>
                  </a:lnTo>
                  <a:lnTo>
                    <a:pt x="1965" y="1908"/>
                  </a:lnTo>
                  <a:lnTo>
                    <a:pt x="1965" y="1909"/>
                  </a:lnTo>
                  <a:lnTo>
                    <a:pt x="1967" y="1909"/>
                  </a:lnTo>
                  <a:lnTo>
                    <a:pt x="1965" y="1909"/>
                  </a:lnTo>
                  <a:lnTo>
                    <a:pt x="1967" y="1909"/>
                  </a:lnTo>
                  <a:lnTo>
                    <a:pt x="1967" y="1909"/>
                  </a:lnTo>
                  <a:lnTo>
                    <a:pt x="1965" y="1909"/>
                  </a:lnTo>
                  <a:lnTo>
                    <a:pt x="1967" y="1909"/>
                  </a:lnTo>
                  <a:lnTo>
                    <a:pt x="1967" y="1909"/>
                  </a:lnTo>
                  <a:lnTo>
                    <a:pt x="1967" y="1909"/>
                  </a:lnTo>
                  <a:lnTo>
                    <a:pt x="1967" y="1909"/>
                  </a:lnTo>
                  <a:lnTo>
                    <a:pt x="1967" y="1909"/>
                  </a:lnTo>
                  <a:lnTo>
                    <a:pt x="1967" y="1909"/>
                  </a:lnTo>
                  <a:lnTo>
                    <a:pt x="1967" y="1909"/>
                  </a:lnTo>
                  <a:lnTo>
                    <a:pt x="1967" y="1909"/>
                  </a:lnTo>
                  <a:lnTo>
                    <a:pt x="1967" y="1909"/>
                  </a:lnTo>
                  <a:lnTo>
                    <a:pt x="1967" y="1905"/>
                  </a:lnTo>
                  <a:lnTo>
                    <a:pt x="1967" y="1905"/>
                  </a:lnTo>
                  <a:lnTo>
                    <a:pt x="1970" y="1896"/>
                  </a:lnTo>
                  <a:lnTo>
                    <a:pt x="1970" y="1896"/>
                  </a:lnTo>
                  <a:lnTo>
                    <a:pt x="1973" y="1889"/>
                  </a:lnTo>
                  <a:lnTo>
                    <a:pt x="1973" y="1889"/>
                  </a:lnTo>
                  <a:lnTo>
                    <a:pt x="1971" y="1886"/>
                  </a:lnTo>
                  <a:lnTo>
                    <a:pt x="1971" y="1884"/>
                  </a:lnTo>
                  <a:lnTo>
                    <a:pt x="1971" y="1884"/>
                  </a:lnTo>
                  <a:lnTo>
                    <a:pt x="1964" y="1879"/>
                  </a:lnTo>
                  <a:lnTo>
                    <a:pt x="1964" y="1879"/>
                  </a:lnTo>
                  <a:lnTo>
                    <a:pt x="1960" y="1874"/>
                  </a:lnTo>
                  <a:lnTo>
                    <a:pt x="1957" y="1870"/>
                  </a:lnTo>
                  <a:lnTo>
                    <a:pt x="1957" y="1870"/>
                  </a:lnTo>
                  <a:lnTo>
                    <a:pt x="1955" y="1867"/>
                  </a:lnTo>
                  <a:lnTo>
                    <a:pt x="1955" y="1867"/>
                  </a:lnTo>
                  <a:lnTo>
                    <a:pt x="1951" y="1867"/>
                  </a:lnTo>
                  <a:lnTo>
                    <a:pt x="1951" y="1867"/>
                  </a:lnTo>
                  <a:lnTo>
                    <a:pt x="1945" y="1868"/>
                  </a:lnTo>
                  <a:lnTo>
                    <a:pt x="1945" y="1868"/>
                  </a:lnTo>
                  <a:lnTo>
                    <a:pt x="1941" y="1868"/>
                  </a:lnTo>
                  <a:lnTo>
                    <a:pt x="1941" y="1868"/>
                  </a:lnTo>
                  <a:lnTo>
                    <a:pt x="1941" y="1868"/>
                  </a:lnTo>
                  <a:lnTo>
                    <a:pt x="1941" y="1868"/>
                  </a:lnTo>
                  <a:lnTo>
                    <a:pt x="1941" y="1868"/>
                  </a:lnTo>
                  <a:lnTo>
                    <a:pt x="1941" y="1868"/>
                  </a:lnTo>
                  <a:lnTo>
                    <a:pt x="1941" y="1868"/>
                  </a:lnTo>
                  <a:lnTo>
                    <a:pt x="1941" y="1870"/>
                  </a:lnTo>
                  <a:lnTo>
                    <a:pt x="1941" y="1868"/>
                  </a:lnTo>
                  <a:lnTo>
                    <a:pt x="1941" y="1868"/>
                  </a:lnTo>
                  <a:lnTo>
                    <a:pt x="1941" y="1870"/>
                  </a:lnTo>
                  <a:lnTo>
                    <a:pt x="1941" y="1868"/>
                  </a:lnTo>
                  <a:lnTo>
                    <a:pt x="1941" y="1870"/>
                  </a:lnTo>
                  <a:lnTo>
                    <a:pt x="1941" y="1870"/>
                  </a:lnTo>
                  <a:lnTo>
                    <a:pt x="1941" y="1868"/>
                  </a:lnTo>
                  <a:lnTo>
                    <a:pt x="1941" y="1870"/>
                  </a:lnTo>
                  <a:lnTo>
                    <a:pt x="1941" y="1870"/>
                  </a:lnTo>
                  <a:lnTo>
                    <a:pt x="1941" y="1870"/>
                  </a:lnTo>
                  <a:lnTo>
                    <a:pt x="1941" y="1870"/>
                  </a:lnTo>
                  <a:lnTo>
                    <a:pt x="1941" y="1870"/>
                  </a:lnTo>
                  <a:lnTo>
                    <a:pt x="1941" y="1870"/>
                  </a:lnTo>
                  <a:lnTo>
                    <a:pt x="1941" y="1870"/>
                  </a:lnTo>
                  <a:lnTo>
                    <a:pt x="1936" y="1858"/>
                  </a:lnTo>
                  <a:lnTo>
                    <a:pt x="1936" y="1858"/>
                  </a:lnTo>
                  <a:lnTo>
                    <a:pt x="1934" y="1851"/>
                  </a:lnTo>
                  <a:lnTo>
                    <a:pt x="1934" y="1851"/>
                  </a:lnTo>
                  <a:lnTo>
                    <a:pt x="1932" y="1850"/>
                  </a:lnTo>
                  <a:lnTo>
                    <a:pt x="1932" y="1850"/>
                  </a:lnTo>
                  <a:lnTo>
                    <a:pt x="1928" y="1848"/>
                  </a:lnTo>
                  <a:lnTo>
                    <a:pt x="1928" y="1848"/>
                  </a:lnTo>
                  <a:lnTo>
                    <a:pt x="1925" y="1848"/>
                  </a:lnTo>
                  <a:lnTo>
                    <a:pt x="1925" y="1848"/>
                  </a:lnTo>
                  <a:lnTo>
                    <a:pt x="1923" y="1850"/>
                  </a:lnTo>
                  <a:lnTo>
                    <a:pt x="1923" y="1850"/>
                  </a:lnTo>
                  <a:lnTo>
                    <a:pt x="1923" y="1850"/>
                  </a:lnTo>
                  <a:lnTo>
                    <a:pt x="1923" y="1850"/>
                  </a:lnTo>
                  <a:lnTo>
                    <a:pt x="1923" y="1850"/>
                  </a:lnTo>
                  <a:lnTo>
                    <a:pt x="1923" y="1850"/>
                  </a:lnTo>
                  <a:lnTo>
                    <a:pt x="1923" y="1850"/>
                  </a:lnTo>
                  <a:lnTo>
                    <a:pt x="1925" y="1850"/>
                  </a:lnTo>
                  <a:lnTo>
                    <a:pt x="1923" y="1850"/>
                  </a:lnTo>
                  <a:lnTo>
                    <a:pt x="1923" y="1850"/>
                  </a:lnTo>
                  <a:lnTo>
                    <a:pt x="1925" y="1850"/>
                  </a:lnTo>
                  <a:lnTo>
                    <a:pt x="1923" y="1848"/>
                  </a:lnTo>
                  <a:lnTo>
                    <a:pt x="1923" y="1848"/>
                  </a:lnTo>
                  <a:lnTo>
                    <a:pt x="1923" y="1848"/>
                  </a:lnTo>
                  <a:lnTo>
                    <a:pt x="1923" y="1848"/>
                  </a:lnTo>
                  <a:lnTo>
                    <a:pt x="1919" y="1839"/>
                  </a:lnTo>
                  <a:lnTo>
                    <a:pt x="1919" y="1839"/>
                  </a:lnTo>
                  <a:lnTo>
                    <a:pt x="1918" y="1837"/>
                  </a:lnTo>
                  <a:lnTo>
                    <a:pt x="1918" y="1837"/>
                  </a:lnTo>
                  <a:lnTo>
                    <a:pt x="1915" y="1835"/>
                  </a:lnTo>
                  <a:lnTo>
                    <a:pt x="1913" y="1834"/>
                  </a:lnTo>
                  <a:lnTo>
                    <a:pt x="1913" y="1834"/>
                  </a:lnTo>
                  <a:lnTo>
                    <a:pt x="1909" y="1835"/>
                  </a:lnTo>
                  <a:lnTo>
                    <a:pt x="1909" y="1835"/>
                  </a:lnTo>
                  <a:lnTo>
                    <a:pt x="1906" y="1835"/>
                  </a:lnTo>
                  <a:lnTo>
                    <a:pt x="1906" y="1835"/>
                  </a:lnTo>
                  <a:lnTo>
                    <a:pt x="1905" y="1835"/>
                  </a:lnTo>
                  <a:lnTo>
                    <a:pt x="1905" y="1835"/>
                  </a:lnTo>
                  <a:lnTo>
                    <a:pt x="1902" y="1829"/>
                  </a:lnTo>
                  <a:lnTo>
                    <a:pt x="1902" y="1829"/>
                  </a:lnTo>
                  <a:lnTo>
                    <a:pt x="1900" y="1828"/>
                  </a:lnTo>
                  <a:lnTo>
                    <a:pt x="1900" y="1828"/>
                  </a:lnTo>
                  <a:lnTo>
                    <a:pt x="1899" y="1826"/>
                  </a:lnTo>
                  <a:lnTo>
                    <a:pt x="1899" y="1826"/>
                  </a:lnTo>
                  <a:lnTo>
                    <a:pt x="1896" y="1825"/>
                  </a:lnTo>
                  <a:lnTo>
                    <a:pt x="1896" y="1825"/>
                  </a:lnTo>
                  <a:lnTo>
                    <a:pt x="1894" y="1826"/>
                  </a:lnTo>
                  <a:lnTo>
                    <a:pt x="1894" y="1826"/>
                  </a:lnTo>
                  <a:lnTo>
                    <a:pt x="1893" y="1828"/>
                  </a:lnTo>
                  <a:lnTo>
                    <a:pt x="1893" y="1828"/>
                  </a:lnTo>
                  <a:lnTo>
                    <a:pt x="1892" y="1831"/>
                  </a:lnTo>
                  <a:lnTo>
                    <a:pt x="1892" y="1831"/>
                  </a:lnTo>
                  <a:lnTo>
                    <a:pt x="1886" y="1847"/>
                  </a:lnTo>
                  <a:lnTo>
                    <a:pt x="1886" y="1847"/>
                  </a:lnTo>
                  <a:lnTo>
                    <a:pt x="1881" y="1863"/>
                  </a:lnTo>
                  <a:lnTo>
                    <a:pt x="1881" y="1863"/>
                  </a:lnTo>
                  <a:lnTo>
                    <a:pt x="1877" y="1873"/>
                  </a:lnTo>
                  <a:lnTo>
                    <a:pt x="1877" y="1873"/>
                  </a:lnTo>
                  <a:lnTo>
                    <a:pt x="1874" y="1880"/>
                  </a:lnTo>
                  <a:lnTo>
                    <a:pt x="1874" y="1880"/>
                  </a:lnTo>
                  <a:lnTo>
                    <a:pt x="1873" y="1883"/>
                  </a:lnTo>
                  <a:lnTo>
                    <a:pt x="1873" y="1886"/>
                  </a:lnTo>
                  <a:lnTo>
                    <a:pt x="1873" y="1886"/>
                  </a:lnTo>
                  <a:lnTo>
                    <a:pt x="1874" y="1895"/>
                  </a:lnTo>
                  <a:lnTo>
                    <a:pt x="1874" y="1895"/>
                  </a:lnTo>
                  <a:lnTo>
                    <a:pt x="1876" y="1897"/>
                  </a:lnTo>
                  <a:lnTo>
                    <a:pt x="1876" y="1897"/>
                  </a:lnTo>
                  <a:lnTo>
                    <a:pt x="1876" y="1899"/>
                  </a:lnTo>
                  <a:lnTo>
                    <a:pt x="1876" y="1899"/>
                  </a:lnTo>
                  <a:lnTo>
                    <a:pt x="1878" y="1900"/>
                  </a:lnTo>
                  <a:lnTo>
                    <a:pt x="1878" y="1900"/>
                  </a:lnTo>
                  <a:lnTo>
                    <a:pt x="1880" y="1900"/>
                  </a:lnTo>
                  <a:lnTo>
                    <a:pt x="1880" y="1900"/>
                  </a:lnTo>
                  <a:lnTo>
                    <a:pt x="1880" y="1900"/>
                  </a:lnTo>
                  <a:lnTo>
                    <a:pt x="1883" y="1899"/>
                  </a:lnTo>
                  <a:lnTo>
                    <a:pt x="1883" y="1899"/>
                  </a:lnTo>
                  <a:lnTo>
                    <a:pt x="1883" y="1899"/>
                  </a:lnTo>
                  <a:lnTo>
                    <a:pt x="1884" y="1900"/>
                  </a:lnTo>
                  <a:lnTo>
                    <a:pt x="1884" y="1900"/>
                  </a:lnTo>
                  <a:lnTo>
                    <a:pt x="1890" y="1919"/>
                  </a:lnTo>
                  <a:lnTo>
                    <a:pt x="1890" y="1919"/>
                  </a:lnTo>
                  <a:lnTo>
                    <a:pt x="1896" y="1929"/>
                  </a:lnTo>
                  <a:lnTo>
                    <a:pt x="1896" y="1929"/>
                  </a:lnTo>
                  <a:lnTo>
                    <a:pt x="1899" y="1934"/>
                  </a:lnTo>
                  <a:lnTo>
                    <a:pt x="1902" y="1937"/>
                  </a:lnTo>
                  <a:lnTo>
                    <a:pt x="1902" y="1937"/>
                  </a:lnTo>
                  <a:lnTo>
                    <a:pt x="1910" y="1941"/>
                  </a:lnTo>
                  <a:lnTo>
                    <a:pt x="1910" y="1941"/>
                  </a:lnTo>
                  <a:lnTo>
                    <a:pt x="1920" y="1948"/>
                  </a:lnTo>
                  <a:lnTo>
                    <a:pt x="1920" y="1948"/>
                  </a:lnTo>
                  <a:lnTo>
                    <a:pt x="1935" y="1961"/>
                  </a:lnTo>
                  <a:lnTo>
                    <a:pt x="1935" y="1961"/>
                  </a:lnTo>
                  <a:lnTo>
                    <a:pt x="1941" y="1967"/>
                  </a:lnTo>
                  <a:lnTo>
                    <a:pt x="1941" y="1967"/>
                  </a:lnTo>
                  <a:lnTo>
                    <a:pt x="1942" y="1968"/>
                  </a:lnTo>
                  <a:lnTo>
                    <a:pt x="1942" y="1970"/>
                  </a:lnTo>
                  <a:lnTo>
                    <a:pt x="1942" y="1970"/>
                  </a:lnTo>
                  <a:lnTo>
                    <a:pt x="1942" y="1970"/>
                  </a:lnTo>
                  <a:lnTo>
                    <a:pt x="1942" y="1970"/>
                  </a:lnTo>
                  <a:lnTo>
                    <a:pt x="1942" y="1970"/>
                  </a:lnTo>
                  <a:lnTo>
                    <a:pt x="1942" y="1970"/>
                  </a:lnTo>
                  <a:lnTo>
                    <a:pt x="1942" y="1970"/>
                  </a:lnTo>
                  <a:lnTo>
                    <a:pt x="1942" y="1970"/>
                  </a:lnTo>
                  <a:lnTo>
                    <a:pt x="1942" y="1983"/>
                  </a:lnTo>
                  <a:lnTo>
                    <a:pt x="1942" y="1983"/>
                  </a:lnTo>
                  <a:lnTo>
                    <a:pt x="1944" y="1993"/>
                  </a:lnTo>
                  <a:lnTo>
                    <a:pt x="1944" y="1993"/>
                  </a:lnTo>
                  <a:lnTo>
                    <a:pt x="1945" y="1997"/>
                  </a:lnTo>
                  <a:lnTo>
                    <a:pt x="1947" y="2000"/>
                  </a:lnTo>
                  <a:lnTo>
                    <a:pt x="1947" y="2000"/>
                  </a:lnTo>
                  <a:lnTo>
                    <a:pt x="1951" y="2010"/>
                  </a:lnTo>
                  <a:lnTo>
                    <a:pt x="1951" y="2010"/>
                  </a:lnTo>
                  <a:lnTo>
                    <a:pt x="1954" y="2018"/>
                  </a:lnTo>
                  <a:lnTo>
                    <a:pt x="1954" y="2018"/>
                  </a:lnTo>
                  <a:lnTo>
                    <a:pt x="1954" y="2022"/>
                  </a:lnTo>
                  <a:lnTo>
                    <a:pt x="1954" y="2022"/>
                  </a:lnTo>
                  <a:lnTo>
                    <a:pt x="1954" y="2022"/>
                  </a:lnTo>
                  <a:lnTo>
                    <a:pt x="1955" y="2022"/>
                  </a:lnTo>
                  <a:lnTo>
                    <a:pt x="1954" y="2022"/>
                  </a:lnTo>
                  <a:lnTo>
                    <a:pt x="1954" y="2022"/>
                  </a:lnTo>
                  <a:lnTo>
                    <a:pt x="1955" y="2022"/>
                  </a:lnTo>
                  <a:lnTo>
                    <a:pt x="1954" y="2022"/>
                  </a:lnTo>
                  <a:lnTo>
                    <a:pt x="1955" y="2023"/>
                  </a:lnTo>
                  <a:lnTo>
                    <a:pt x="1955" y="2021"/>
                  </a:lnTo>
                  <a:lnTo>
                    <a:pt x="1955" y="2021"/>
                  </a:lnTo>
                  <a:lnTo>
                    <a:pt x="1954" y="2022"/>
                  </a:lnTo>
                  <a:lnTo>
                    <a:pt x="1955" y="2023"/>
                  </a:lnTo>
                  <a:lnTo>
                    <a:pt x="1955" y="2021"/>
                  </a:lnTo>
                  <a:lnTo>
                    <a:pt x="1955" y="2021"/>
                  </a:lnTo>
                  <a:lnTo>
                    <a:pt x="1949" y="2021"/>
                  </a:lnTo>
                  <a:lnTo>
                    <a:pt x="1949" y="2021"/>
                  </a:lnTo>
                  <a:lnTo>
                    <a:pt x="1939" y="2018"/>
                  </a:lnTo>
                  <a:lnTo>
                    <a:pt x="1939" y="2018"/>
                  </a:lnTo>
                  <a:lnTo>
                    <a:pt x="1935" y="2016"/>
                  </a:lnTo>
                  <a:lnTo>
                    <a:pt x="1935" y="2016"/>
                  </a:lnTo>
                  <a:lnTo>
                    <a:pt x="1923" y="2008"/>
                  </a:lnTo>
                  <a:lnTo>
                    <a:pt x="1923" y="2008"/>
                  </a:lnTo>
                  <a:lnTo>
                    <a:pt x="1915" y="2000"/>
                  </a:lnTo>
                  <a:lnTo>
                    <a:pt x="1915" y="2000"/>
                  </a:lnTo>
                  <a:lnTo>
                    <a:pt x="1912" y="1997"/>
                  </a:lnTo>
                  <a:lnTo>
                    <a:pt x="1909" y="1993"/>
                  </a:lnTo>
                  <a:lnTo>
                    <a:pt x="1909" y="1993"/>
                  </a:lnTo>
                  <a:lnTo>
                    <a:pt x="1903" y="1984"/>
                  </a:lnTo>
                  <a:lnTo>
                    <a:pt x="1903" y="1984"/>
                  </a:lnTo>
                  <a:lnTo>
                    <a:pt x="1902" y="1980"/>
                  </a:lnTo>
                  <a:lnTo>
                    <a:pt x="1900" y="1974"/>
                  </a:lnTo>
                  <a:lnTo>
                    <a:pt x="1900" y="1974"/>
                  </a:lnTo>
                  <a:lnTo>
                    <a:pt x="1896" y="1961"/>
                  </a:lnTo>
                  <a:lnTo>
                    <a:pt x="1896" y="1961"/>
                  </a:lnTo>
                  <a:lnTo>
                    <a:pt x="1896" y="1960"/>
                  </a:lnTo>
                  <a:lnTo>
                    <a:pt x="1896" y="1960"/>
                  </a:lnTo>
                  <a:lnTo>
                    <a:pt x="1896" y="1955"/>
                  </a:lnTo>
                  <a:lnTo>
                    <a:pt x="1896" y="1955"/>
                  </a:lnTo>
                  <a:lnTo>
                    <a:pt x="1897" y="1951"/>
                  </a:lnTo>
                  <a:lnTo>
                    <a:pt x="1897" y="1951"/>
                  </a:lnTo>
                  <a:lnTo>
                    <a:pt x="1896" y="1948"/>
                  </a:lnTo>
                  <a:lnTo>
                    <a:pt x="1896" y="1948"/>
                  </a:lnTo>
                  <a:lnTo>
                    <a:pt x="1894" y="1944"/>
                  </a:lnTo>
                  <a:lnTo>
                    <a:pt x="1894" y="1944"/>
                  </a:lnTo>
                  <a:lnTo>
                    <a:pt x="1889" y="1935"/>
                  </a:lnTo>
                  <a:lnTo>
                    <a:pt x="1881" y="1926"/>
                  </a:lnTo>
                  <a:lnTo>
                    <a:pt x="1881" y="1926"/>
                  </a:lnTo>
                  <a:lnTo>
                    <a:pt x="1874" y="1919"/>
                  </a:lnTo>
                  <a:lnTo>
                    <a:pt x="1874" y="1919"/>
                  </a:lnTo>
                  <a:lnTo>
                    <a:pt x="1870" y="1915"/>
                  </a:lnTo>
                  <a:lnTo>
                    <a:pt x="1870" y="1915"/>
                  </a:lnTo>
                  <a:lnTo>
                    <a:pt x="1865" y="1912"/>
                  </a:lnTo>
                  <a:lnTo>
                    <a:pt x="1865" y="1912"/>
                  </a:lnTo>
                  <a:lnTo>
                    <a:pt x="1863" y="1909"/>
                  </a:lnTo>
                  <a:lnTo>
                    <a:pt x="1863" y="1909"/>
                  </a:lnTo>
                  <a:lnTo>
                    <a:pt x="1861" y="1905"/>
                  </a:lnTo>
                  <a:lnTo>
                    <a:pt x="1861" y="1905"/>
                  </a:lnTo>
                  <a:lnTo>
                    <a:pt x="1858" y="1895"/>
                  </a:lnTo>
                  <a:lnTo>
                    <a:pt x="1858" y="1895"/>
                  </a:lnTo>
                  <a:lnTo>
                    <a:pt x="1857" y="1887"/>
                  </a:lnTo>
                  <a:lnTo>
                    <a:pt x="1857" y="1886"/>
                  </a:lnTo>
                  <a:lnTo>
                    <a:pt x="1857" y="1886"/>
                  </a:lnTo>
                  <a:lnTo>
                    <a:pt x="1858" y="1882"/>
                  </a:lnTo>
                  <a:lnTo>
                    <a:pt x="1858" y="1882"/>
                  </a:lnTo>
                  <a:lnTo>
                    <a:pt x="1861" y="1876"/>
                  </a:lnTo>
                  <a:lnTo>
                    <a:pt x="1861" y="1876"/>
                  </a:lnTo>
                  <a:lnTo>
                    <a:pt x="1864" y="1868"/>
                  </a:lnTo>
                  <a:lnTo>
                    <a:pt x="1865" y="1861"/>
                  </a:lnTo>
                  <a:lnTo>
                    <a:pt x="1865" y="1860"/>
                  </a:lnTo>
                  <a:lnTo>
                    <a:pt x="1865" y="1860"/>
                  </a:lnTo>
                  <a:lnTo>
                    <a:pt x="1865" y="1860"/>
                  </a:lnTo>
                  <a:lnTo>
                    <a:pt x="1865" y="1860"/>
                  </a:lnTo>
                  <a:lnTo>
                    <a:pt x="1865" y="1860"/>
                  </a:lnTo>
                  <a:lnTo>
                    <a:pt x="1865" y="1857"/>
                  </a:lnTo>
                  <a:lnTo>
                    <a:pt x="1865" y="1857"/>
                  </a:lnTo>
                  <a:lnTo>
                    <a:pt x="1867" y="1851"/>
                  </a:lnTo>
                  <a:lnTo>
                    <a:pt x="1868" y="1842"/>
                  </a:lnTo>
                  <a:lnTo>
                    <a:pt x="1868" y="1842"/>
                  </a:lnTo>
                  <a:lnTo>
                    <a:pt x="1868" y="1839"/>
                  </a:lnTo>
                  <a:lnTo>
                    <a:pt x="1867" y="1837"/>
                  </a:lnTo>
                  <a:lnTo>
                    <a:pt x="1867" y="1837"/>
                  </a:lnTo>
                  <a:lnTo>
                    <a:pt x="1864" y="1828"/>
                  </a:lnTo>
                  <a:lnTo>
                    <a:pt x="1864" y="1828"/>
                  </a:lnTo>
                  <a:lnTo>
                    <a:pt x="1860" y="1813"/>
                  </a:lnTo>
                  <a:lnTo>
                    <a:pt x="1860" y="1813"/>
                  </a:lnTo>
                  <a:lnTo>
                    <a:pt x="1852" y="1790"/>
                  </a:lnTo>
                  <a:lnTo>
                    <a:pt x="1852" y="1790"/>
                  </a:lnTo>
                  <a:lnTo>
                    <a:pt x="1849" y="1779"/>
                  </a:lnTo>
                  <a:lnTo>
                    <a:pt x="1849" y="1779"/>
                  </a:lnTo>
                  <a:lnTo>
                    <a:pt x="1848" y="1776"/>
                  </a:lnTo>
                  <a:lnTo>
                    <a:pt x="1848" y="1776"/>
                  </a:lnTo>
                  <a:lnTo>
                    <a:pt x="1847" y="1774"/>
                  </a:lnTo>
                  <a:lnTo>
                    <a:pt x="1847" y="1774"/>
                  </a:lnTo>
                  <a:lnTo>
                    <a:pt x="1845" y="1773"/>
                  </a:lnTo>
                  <a:lnTo>
                    <a:pt x="1845" y="1773"/>
                  </a:lnTo>
                  <a:lnTo>
                    <a:pt x="1842" y="1771"/>
                  </a:lnTo>
                  <a:lnTo>
                    <a:pt x="1842" y="1770"/>
                  </a:lnTo>
                  <a:lnTo>
                    <a:pt x="1842" y="1770"/>
                  </a:lnTo>
                  <a:lnTo>
                    <a:pt x="1841" y="1770"/>
                  </a:lnTo>
                  <a:lnTo>
                    <a:pt x="1841" y="1770"/>
                  </a:lnTo>
                  <a:lnTo>
                    <a:pt x="1841" y="1769"/>
                  </a:lnTo>
                  <a:lnTo>
                    <a:pt x="1841" y="1769"/>
                  </a:lnTo>
                  <a:lnTo>
                    <a:pt x="1838" y="1767"/>
                  </a:lnTo>
                  <a:lnTo>
                    <a:pt x="1838" y="1767"/>
                  </a:lnTo>
                  <a:lnTo>
                    <a:pt x="1836" y="1769"/>
                  </a:lnTo>
                  <a:lnTo>
                    <a:pt x="1836" y="1769"/>
                  </a:lnTo>
                  <a:lnTo>
                    <a:pt x="1834" y="1770"/>
                  </a:lnTo>
                  <a:lnTo>
                    <a:pt x="1834" y="1770"/>
                  </a:lnTo>
                  <a:lnTo>
                    <a:pt x="1828" y="1776"/>
                  </a:lnTo>
                  <a:lnTo>
                    <a:pt x="1828" y="1776"/>
                  </a:lnTo>
                  <a:lnTo>
                    <a:pt x="1822" y="1780"/>
                  </a:lnTo>
                  <a:lnTo>
                    <a:pt x="1822" y="1780"/>
                  </a:lnTo>
                  <a:lnTo>
                    <a:pt x="1813" y="1784"/>
                  </a:lnTo>
                  <a:lnTo>
                    <a:pt x="1813" y="1784"/>
                  </a:lnTo>
                  <a:lnTo>
                    <a:pt x="1807" y="1787"/>
                  </a:lnTo>
                  <a:lnTo>
                    <a:pt x="1807" y="1787"/>
                  </a:lnTo>
                  <a:lnTo>
                    <a:pt x="1805" y="1786"/>
                  </a:lnTo>
                  <a:lnTo>
                    <a:pt x="1805" y="1786"/>
                  </a:lnTo>
                  <a:lnTo>
                    <a:pt x="1799" y="1783"/>
                  </a:lnTo>
                  <a:lnTo>
                    <a:pt x="1799" y="1783"/>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800" y="1770"/>
                  </a:lnTo>
                  <a:lnTo>
                    <a:pt x="1800" y="1770"/>
                  </a:lnTo>
                  <a:lnTo>
                    <a:pt x="1802" y="1764"/>
                  </a:lnTo>
                  <a:lnTo>
                    <a:pt x="1803" y="1758"/>
                  </a:lnTo>
                  <a:lnTo>
                    <a:pt x="1803" y="1758"/>
                  </a:lnTo>
                  <a:lnTo>
                    <a:pt x="1803" y="1755"/>
                  </a:lnTo>
                  <a:lnTo>
                    <a:pt x="1803" y="1755"/>
                  </a:lnTo>
                  <a:lnTo>
                    <a:pt x="1800" y="1745"/>
                  </a:lnTo>
                  <a:lnTo>
                    <a:pt x="1797" y="1738"/>
                  </a:lnTo>
                  <a:lnTo>
                    <a:pt x="1792" y="1732"/>
                  </a:lnTo>
                  <a:lnTo>
                    <a:pt x="1792" y="1732"/>
                  </a:lnTo>
                  <a:lnTo>
                    <a:pt x="1781" y="1721"/>
                  </a:lnTo>
                  <a:lnTo>
                    <a:pt x="1771" y="1712"/>
                  </a:lnTo>
                  <a:lnTo>
                    <a:pt x="1771" y="1712"/>
                  </a:lnTo>
                  <a:lnTo>
                    <a:pt x="1767" y="1705"/>
                  </a:lnTo>
                  <a:lnTo>
                    <a:pt x="1763" y="1698"/>
                  </a:lnTo>
                  <a:lnTo>
                    <a:pt x="1763" y="1698"/>
                  </a:lnTo>
                  <a:lnTo>
                    <a:pt x="1758" y="1683"/>
                  </a:lnTo>
                  <a:lnTo>
                    <a:pt x="1758" y="1683"/>
                  </a:lnTo>
                  <a:lnTo>
                    <a:pt x="1755" y="1674"/>
                  </a:lnTo>
                  <a:lnTo>
                    <a:pt x="1755" y="1674"/>
                  </a:lnTo>
                  <a:lnTo>
                    <a:pt x="1752" y="1670"/>
                  </a:lnTo>
                  <a:lnTo>
                    <a:pt x="1752" y="1670"/>
                  </a:lnTo>
                  <a:lnTo>
                    <a:pt x="1752" y="1669"/>
                  </a:lnTo>
                  <a:lnTo>
                    <a:pt x="1751" y="1669"/>
                  </a:lnTo>
                  <a:lnTo>
                    <a:pt x="1751" y="1669"/>
                  </a:lnTo>
                  <a:lnTo>
                    <a:pt x="1750" y="1667"/>
                  </a:lnTo>
                  <a:lnTo>
                    <a:pt x="1750" y="1667"/>
                  </a:lnTo>
                  <a:lnTo>
                    <a:pt x="1748" y="1669"/>
                  </a:lnTo>
                  <a:lnTo>
                    <a:pt x="1748" y="1669"/>
                  </a:lnTo>
                  <a:lnTo>
                    <a:pt x="1747" y="1670"/>
                  </a:lnTo>
                  <a:lnTo>
                    <a:pt x="1747" y="1670"/>
                  </a:lnTo>
                  <a:lnTo>
                    <a:pt x="1747" y="1670"/>
                  </a:lnTo>
                  <a:lnTo>
                    <a:pt x="1747" y="1673"/>
                  </a:lnTo>
                  <a:lnTo>
                    <a:pt x="1745" y="1674"/>
                  </a:lnTo>
                  <a:lnTo>
                    <a:pt x="1745" y="1674"/>
                  </a:lnTo>
                  <a:lnTo>
                    <a:pt x="1745" y="1674"/>
                  </a:lnTo>
                  <a:lnTo>
                    <a:pt x="1745" y="1674"/>
                  </a:lnTo>
                  <a:lnTo>
                    <a:pt x="1745" y="1674"/>
                  </a:lnTo>
                  <a:lnTo>
                    <a:pt x="1745" y="1674"/>
                  </a:lnTo>
                  <a:lnTo>
                    <a:pt x="1745" y="1674"/>
                  </a:lnTo>
                  <a:lnTo>
                    <a:pt x="1745" y="1674"/>
                  </a:lnTo>
                  <a:lnTo>
                    <a:pt x="1745" y="1674"/>
                  </a:lnTo>
                  <a:lnTo>
                    <a:pt x="1745" y="1674"/>
                  </a:lnTo>
                  <a:lnTo>
                    <a:pt x="1745" y="1674"/>
                  </a:lnTo>
                  <a:lnTo>
                    <a:pt x="1745" y="1674"/>
                  </a:lnTo>
                  <a:lnTo>
                    <a:pt x="1745" y="1674"/>
                  </a:lnTo>
                  <a:lnTo>
                    <a:pt x="1745" y="1674"/>
                  </a:lnTo>
                  <a:lnTo>
                    <a:pt x="1744" y="1673"/>
                  </a:lnTo>
                  <a:lnTo>
                    <a:pt x="1741" y="1671"/>
                  </a:lnTo>
                  <a:lnTo>
                    <a:pt x="1741" y="1671"/>
                  </a:lnTo>
                  <a:lnTo>
                    <a:pt x="1737" y="1673"/>
                  </a:lnTo>
                  <a:lnTo>
                    <a:pt x="1737" y="1673"/>
                  </a:lnTo>
                  <a:lnTo>
                    <a:pt x="1735" y="1674"/>
                  </a:lnTo>
                  <a:lnTo>
                    <a:pt x="1735" y="1677"/>
                  </a:lnTo>
                  <a:lnTo>
                    <a:pt x="1735" y="1677"/>
                  </a:lnTo>
                  <a:lnTo>
                    <a:pt x="1735" y="1677"/>
                  </a:lnTo>
                  <a:lnTo>
                    <a:pt x="1735" y="1677"/>
                  </a:lnTo>
                  <a:lnTo>
                    <a:pt x="1735" y="1682"/>
                  </a:lnTo>
                  <a:lnTo>
                    <a:pt x="1735" y="1683"/>
                  </a:lnTo>
                  <a:lnTo>
                    <a:pt x="1735" y="1683"/>
                  </a:lnTo>
                  <a:lnTo>
                    <a:pt x="1737" y="1683"/>
                  </a:lnTo>
                  <a:lnTo>
                    <a:pt x="1735" y="1683"/>
                  </a:lnTo>
                  <a:lnTo>
                    <a:pt x="1735" y="1683"/>
                  </a:lnTo>
                  <a:lnTo>
                    <a:pt x="1737" y="1683"/>
                  </a:lnTo>
                  <a:lnTo>
                    <a:pt x="1735" y="1683"/>
                  </a:lnTo>
                  <a:lnTo>
                    <a:pt x="1735" y="1683"/>
                  </a:lnTo>
                  <a:lnTo>
                    <a:pt x="1735" y="1683"/>
                  </a:lnTo>
                  <a:lnTo>
                    <a:pt x="1735" y="1683"/>
                  </a:lnTo>
                  <a:lnTo>
                    <a:pt x="1735" y="1683"/>
                  </a:lnTo>
                  <a:lnTo>
                    <a:pt x="1735" y="1683"/>
                  </a:lnTo>
                  <a:lnTo>
                    <a:pt x="1735" y="1683"/>
                  </a:lnTo>
                  <a:lnTo>
                    <a:pt x="1735" y="1683"/>
                  </a:lnTo>
                  <a:lnTo>
                    <a:pt x="1731" y="1682"/>
                  </a:lnTo>
                  <a:lnTo>
                    <a:pt x="1731" y="1682"/>
                  </a:lnTo>
                  <a:lnTo>
                    <a:pt x="1729" y="1680"/>
                  </a:lnTo>
                  <a:lnTo>
                    <a:pt x="1729" y="1680"/>
                  </a:lnTo>
                  <a:lnTo>
                    <a:pt x="1726" y="1680"/>
                  </a:lnTo>
                  <a:lnTo>
                    <a:pt x="1726" y="1680"/>
                  </a:lnTo>
                  <a:lnTo>
                    <a:pt x="1725" y="1680"/>
                  </a:lnTo>
                  <a:lnTo>
                    <a:pt x="1723" y="1682"/>
                  </a:lnTo>
                  <a:lnTo>
                    <a:pt x="1723" y="1682"/>
                  </a:lnTo>
                  <a:lnTo>
                    <a:pt x="1721" y="1683"/>
                  </a:lnTo>
                  <a:lnTo>
                    <a:pt x="1721" y="1683"/>
                  </a:lnTo>
                  <a:lnTo>
                    <a:pt x="1712" y="1686"/>
                  </a:lnTo>
                  <a:lnTo>
                    <a:pt x="1712" y="1686"/>
                  </a:lnTo>
                  <a:lnTo>
                    <a:pt x="1709" y="1687"/>
                  </a:lnTo>
                  <a:lnTo>
                    <a:pt x="1709" y="1687"/>
                  </a:lnTo>
                  <a:lnTo>
                    <a:pt x="1708" y="1687"/>
                  </a:lnTo>
                  <a:lnTo>
                    <a:pt x="1708" y="1687"/>
                  </a:lnTo>
                  <a:lnTo>
                    <a:pt x="1708" y="1687"/>
                  </a:lnTo>
                  <a:lnTo>
                    <a:pt x="1708" y="1689"/>
                  </a:lnTo>
                  <a:lnTo>
                    <a:pt x="1708" y="1687"/>
                  </a:lnTo>
                  <a:lnTo>
                    <a:pt x="1708" y="1687"/>
                  </a:lnTo>
                  <a:lnTo>
                    <a:pt x="1708" y="1689"/>
                  </a:lnTo>
                  <a:lnTo>
                    <a:pt x="1708" y="1687"/>
                  </a:lnTo>
                  <a:lnTo>
                    <a:pt x="1708" y="1689"/>
                  </a:lnTo>
                  <a:lnTo>
                    <a:pt x="1708" y="1687"/>
                  </a:lnTo>
                  <a:lnTo>
                    <a:pt x="1708" y="1687"/>
                  </a:lnTo>
                  <a:lnTo>
                    <a:pt x="1708" y="1689"/>
                  </a:lnTo>
                  <a:lnTo>
                    <a:pt x="1708" y="1687"/>
                  </a:lnTo>
                  <a:lnTo>
                    <a:pt x="1708" y="1687"/>
                  </a:lnTo>
                  <a:lnTo>
                    <a:pt x="1708" y="1687"/>
                  </a:lnTo>
                  <a:lnTo>
                    <a:pt x="1703" y="1686"/>
                  </a:lnTo>
                  <a:lnTo>
                    <a:pt x="1703" y="1686"/>
                  </a:lnTo>
                  <a:lnTo>
                    <a:pt x="1697" y="1685"/>
                  </a:lnTo>
                  <a:lnTo>
                    <a:pt x="1697" y="1685"/>
                  </a:lnTo>
                  <a:lnTo>
                    <a:pt x="1695" y="1686"/>
                  </a:lnTo>
                  <a:lnTo>
                    <a:pt x="1695" y="1686"/>
                  </a:lnTo>
                  <a:lnTo>
                    <a:pt x="1679" y="1692"/>
                  </a:lnTo>
                  <a:lnTo>
                    <a:pt x="1679" y="1692"/>
                  </a:lnTo>
                  <a:lnTo>
                    <a:pt x="1677" y="1693"/>
                  </a:lnTo>
                  <a:lnTo>
                    <a:pt x="1676" y="1695"/>
                  </a:lnTo>
                  <a:lnTo>
                    <a:pt x="1676" y="1695"/>
                  </a:lnTo>
                  <a:lnTo>
                    <a:pt x="1676" y="1699"/>
                  </a:lnTo>
                  <a:lnTo>
                    <a:pt x="1676" y="1699"/>
                  </a:lnTo>
                  <a:lnTo>
                    <a:pt x="1676" y="1705"/>
                  </a:lnTo>
                  <a:lnTo>
                    <a:pt x="1676" y="1705"/>
                  </a:lnTo>
                  <a:lnTo>
                    <a:pt x="1676" y="1706"/>
                  </a:lnTo>
                  <a:lnTo>
                    <a:pt x="1676" y="1706"/>
                  </a:lnTo>
                  <a:lnTo>
                    <a:pt x="1674" y="1715"/>
                  </a:lnTo>
                  <a:lnTo>
                    <a:pt x="1674" y="1715"/>
                  </a:lnTo>
                  <a:lnTo>
                    <a:pt x="1674" y="1716"/>
                  </a:lnTo>
                  <a:lnTo>
                    <a:pt x="1673" y="1716"/>
                  </a:lnTo>
                  <a:lnTo>
                    <a:pt x="1673" y="1716"/>
                  </a:lnTo>
                  <a:lnTo>
                    <a:pt x="1673" y="1716"/>
                  </a:lnTo>
                  <a:lnTo>
                    <a:pt x="1668" y="1716"/>
                  </a:lnTo>
                  <a:lnTo>
                    <a:pt x="1663" y="1718"/>
                  </a:lnTo>
                  <a:lnTo>
                    <a:pt x="1663" y="1718"/>
                  </a:lnTo>
                  <a:lnTo>
                    <a:pt x="1657" y="1721"/>
                  </a:lnTo>
                  <a:lnTo>
                    <a:pt x="1650" y="1725"/>
                  </a:lnTo>
                  <a:lnTo>
                    <a:pt x="1650" y="1725"/>
                  </a:lnTo>
                  <a:lnTo>
                    <a:pt x="1628" y="1744"/>
                  </a:lnTo>
                  <a:lnTo>
                    <a:pt x="1628" y="1744"/>
                  </a:lnTo>
                  <a:lnTo>
                    <a:pt x="1616" y="1754"/>
                  </a:lnTo>
                  <a:lnTo>
                    <a:pt x="1616" y="1754"/>
                  </a:lnTo>
                  <a:lnTo>
                    <a:pt x="1608" y="1760"/>
                  </a:lnTo>
                  <a:lnTo>
                    <a:pt x="1608" y="1760"/>
                  </a:lnTo>
                  <a:lnTo>
                    <a:pt x="1603" y="1761"/>
                  </a:lnTo>
                  <a:lnTo>
                    <a:pt x="1600" y="1764"/>
                  </a:lnTo>
                  <a:lnTo>
                    <a:pt x="1597" y="1769"/>
                  </a:lnTo>
                  <a:lnTo>
                    <a:pt x="1597" y="1769"/>
                  </a:lnTo>
                  <a:lnTo>
                    <a:pt x="1595" y="1774"/>
                  </a:lnTo>
                  <a:lnTo>
                    <a:pt x="1595" y="1774"/>
                  </a:lnTo>
                  <a:lnTo>
                    <a:pt x="1595" y="1774"/>
                  </a:lnTo>
                  <a:lnTo>
                    <a:pt x="1595" y="1776"/>
                  </a:lnTo>
                  <a:lnTo>
                    <a:pt x="1595" y="1776"/>
                  </a:lnTo>
                  <a:lnTo>
                    <a:pt x="1595" y="1774"/>
                  </a:lnTo>
                  <a:lnTo>
                    <a:pt x="1595" y="1776"/>
                  </a:lnTo>
                  <a:lnTo>
                    <a:pt x="1595" y="1776"/>
                  </a:lnTo>
                  <a:lnTo>
                    <a:pt x="1595" y="1774"/>
                  </a:lnTo>
                  <a:lnTo>
                    <a:pt x="1595" y="1774"/>
                  </a:lnTo>
                  <a:lnTo>
                    <a:pt x="1590" y="1779"/>
                  </a:lnTo>
                  <a:lnTo>
                    <a:pt x="1590" y="1779"/>
                  </a:lnTo>
                  <a:lnTo>
                    <a:pt x="1586" y="1783"/>
                  </a:lnTo>
                  <a:lnTo>
                    <a:pt x="1586" y="1783"/>
                  </a:lnTo>
                  <a:lnTo>
                    <a:pt x="1584" y="1784"/>
                  </a:lnTo>
                  <a:lnTo>
                    <a:pt x="1584" y="1784"/>
                  </a:lnTo>
                  <a:lnTo>
                    <a:pt x="1580" y="1784"/>
                  </a:lnTo>
                  <a:lnTo>
                    <a:pt x="1580" y="1784"/>
                  </a:lnTo>
                  <a:lnTo>
                    <a:pt x="1577" y="1786"/>
                  </a:lnTo>
                  <a:lnTo>
                    <a:pt x="1574" y="1790"/>
                  </a:lnTo>
                  <a:lnTo>
                    <a:pt x="1574" y="1790"/>
                  </a:lnTo>
                  <a:lnTo>
                    <a:pt x="1571" y="1797"/>
                  </a:lnTo>
                  <a:lnTo>
                    <a:pt x="1571" y="1806"/>
                  </a:lnTo>
                  <a:lnTo>
                    <a:pt x="1571" y="1806"/>
                  </a:lnTo>
                  <a:lnTo>
                    <a:pt x="1571" y="1815"/>
                  </a:lnTo>
                  <a:lnTo>
                    <a:pt x="1571" y="1815"/>
                  </a:lnTo>
                  <a:lnTo>
                    <a:pt x="1573" y="1819"/>
                  </a:lnTo>
                  <a:lnTo>
                    <a:pt x="1573" y="1819"/>
                  </a:lnTo>
                  <a:lnTo>
                    <a:pt x="1571" y="1826"/>
                  </a:lnTo>
                  <a:lnTo>
                    <a:pt x="1570" y="1832"/>
                  </a:lnTo>
                  <a:lnTo>
                    <a:pt x="1570" y="1832"/>
                  </a:lnTo>
                  <a:lnTo>
                    <a:pt x="1569" y="1838"/>
                  </a:lnTo>
                  <a:lnTo>
                    <a:pt x="1569" y="1838"/>
                  </a:lnTo>
                  <a:lnTo>
                    <a:pt x="1567" y="1841"/>
                  </a:lnTo>
                  <a:lnTo>
                    <a:pt x="1567" y="1841"/>
                  </a:lnTo>
                  <a:lnTo>
                    <a:pt x="1561" y="1847"/>
                  </a:lnTo>
                  <a:lnTo>
                    <a:pt x="1561" y="1847"/>
                  </a:lnTo>
                  <a:lnTo>
                    <a:pt x="1560" y="1851"/>
                  </a:lnTo>
                  <a:lnTo>
                    <a:pt x="1560" y="1854"/>
                  </a:lnTo>
                  <a:lnTo>
                    <a:pt x="1560" y="1854"/>
                  </a:lnTo>
                  <a:lnTo>
                    <a:pt x="1560" y="1858"/>
                  </a:lnTo>
                  <a:lnTo>
                    <a:pt x="1560" y="1858"/>
                  </a:lnTo>
                  <a:lnTo>
                    <a:pt x="1563" y="1864"/>
                  </a:lnTo>
                  <a:lnTo>
                    <a:pt x="1564" y="1870"/>
                  </a:lnTo>
                  <a:lnTo>
                    <a:pt x="1564" y="1870"/>
                  </a:lnTo>
                  <a:lnTo>
                    <a:pt x="1563" y="1873"/>
                  </a:lnTo>
                  <a:lnTo>
                    <a:pt x="1563" y="1873"/>
                  </a:lnTo>
                  <a:lnTo>
                    <a:pt x="1558" y="1880"/>
                  </a:lnTo>
                  <a:lnTo>
                    <a:pt x="1558" y="1880"/>
                  </a:lnTo>
                  <a:lnTo>
                    <a:pt x="1553" y="1886"/>
                  </a:lnTo>
                  <a:lnTo>
                    <a:pt x="1553" y="1886"/>
                  </a:lnTo>
                  <a:lnTo>
                    <a:pt x="1551" y="1889"/>
                  </a:lnTo>
                  <a:lnTo>
                    <a:pt x="1551" y="1889"/>
                  </a:lnTo>
                  <a:lnTo>
                    <a:pt x="1548" y="1893"/>
                  </a:lnTo>
                  <a:lnTo>
                    <a:pt x="1548" y="1893"/>
                  </a:lnTo>
                  <a:lnTo>
                    <a:pt x="1547" y="1896"/>
                  </a:lnTo>
                  <a:lnTo>
                    <a:pt x="1547" y="1896"/>
                  </a:lnTo>
                  <a:lnTo>
                    <a:pt x="1547" y="1896"/>
                  </a:lnTo>
                  <a:lnTo>
                    <a:pt x="1547" y="1896"/>
                  </a:lnTo>
                  <a:lnTo>
                    <a:pt x="1547" y="1896"/>
                  </a:lnTo>
                  <a:lnTo>
                    <a:pt x="1547" y="1896"/>
                  </a:lnTo>
                  <a:lnTo>
                    <a:pt x="1547" y="1896"/>
                  </a:lnTo>
                  <a:lnTo>
                    <a:pt x="1547" y="1896"/>
                  </a:lnTo>
                  <a:lnTo>
                    <a:pt x="1547" y="1896"/>
                  </a:lnTo>
                  <a:lnTo>
                    <a:pt x="1544" y="1896"/>
                  </a:lnTo>
                  <a:lnTo>
                    <a:pt x="1544" y="1896"/>
                  </a:lnTo>
                  <a:lnTo>
                    <a:pt x="1540" y="1897"/>
                  </a:lnTo>
                  <a:lnTo>
                    <a:pt x="1540" y="1897"/>
                  </a:lnTo>
                  <a:lnTo>
                    <a:pt x="1537" y="1899"/>
                  </a:lnTo>
                  <a:lnTo>
                    <a:pt x="1537" y="1899"/>
                  </a:lnTo>
                  <a:lnTo>
                    <a:pt x="1535" y="1902"/>
                  </a:lnTo>
                  <a:lnTo>
                    <a:pt x="1535" y="1902"/>
                  </a:lnTo>
                  <a:lnTo>
                    <a:pt x="1532" y="1909"/>
                  </a:lnTo>
                  <a:lnTo>
                    <a:pt x="1532" y="1909"/>
                  </a:lnTo>
                  <a:lnTo>
                    <a:pt x="1529" y="1912"/>
                  </a:lnTo>
                  <a:lnTo>
                    <a:pt x="1528" y="1912"/>
                  </a:lnTo>
                  <a:lnTo>
                    <a:pt x="1528" y="1912"/>
                  </a:lnTo>
                  <a:lnTo>
                    <a:pt x="1528" y="1912"/>
                  </a:lnTo>
                  <a:lnTo>
                    <a:pt x="1528" y="1912"/>
                  </a:lnTo>
                  <a:lnTo>
                    <a:pt x="1528" y="1912"/>
                  </a:lnTo>
                  <a:lnTo>
                    <a:pt x="1528" y="1912"/>
                  </a:lnTo>
                  <a:lnTo>
                    <a:pt x="1528" y="1912"/>
                  </a:lnTo>
                  <a:lnTo>
                    <a:pt x="1528" y="1913"/>
                  </a:lnTo>
                  <a:lnTo>
                    <a:pt x="1528" y="1912"/>
                  </a:lnTo>
                  <a:lnTo>
                    <a:pt x="1528" y="1912"/>
                  </a:lnTo>
                  <a:lnTo>
                    <a:pt x="1528" y="1913"/>
                  </a:lnTo>
                  <a:lnTo>
                    <a:pt x="1528" y="1912"/>
                  </a:lnTo>
                  <a:lnTo>
                    <a:pt x="1528" y="1912"/>
                  </a:lnTo>
                  <a:lnTo>
                    <a:pt x="1522" y="1908"/>
                  </a:lnTo>
                  <a:lnTo>
                    <a:pt x="1522" y="1908"/>
                  </a:lnTo>
                  <a:lnTo>
                    <a:pt x="1515" y="1900"/>
                  </a:lnTo>
                  <a:lnTo>
                    <a:pt x="1515" y="1900"/>
                  </a:lnTo>
                  <a:lnTo>
                    <a:pt x="1511" y="1892"/>
                  </a:lnTo>
                  <a:lnTo>
                    <a:pt x="1511" y="1892"/>
                  </a:lnTo>
                  <a:lnTo>
                    <a:pt x="1495" y="1855"/>
                  </a:lnTo>
                  <a:lnTo>
                    <a:pt x="1495" y="1855"/>
                  </a:lnTo>
                  <a:lnTo>
                    <a:pt x="1492" y="1851"/>
                  </a:lnTo>
                  <a:lnTo>
                    <a:pt x="1492" y="1851"/>
                  </a:lnTo>
                  <a:lnTo>
                    <a:pt x="1486" y="1839"/>
                  </a:lnTo>
                  <a:lnTo>
                    <a:pt x="1486" y="1839"/>
                  </a:lnTo>
                  <a:lnTo>
                    <a:pt x="1485" y="1832"/>
                  </a:lnTo>
                  <a:lnTo>
                    <a:pt x="1483" y="1828"/>
                  </a:lnTo>
                  <a:lnTo>
                    <a:pt x="1483" y="1828"/>
                  </a:lnTo>
                  <a:lnTo>
                    <a:pt x="1483" y="1828"/>
                  </a:lnTo>
                  <a:lnTo>
                    <a:pt x="1483" y="1828"/>
                  </a:lnTo>
                  <a:lnTo>
                    <a:pt x="1483" y="1825"/>
                  </a:lnTo>
                  <a:lnTo>
                    <a:pt x="1483" y="1825"/>
                  </a:lnTo>
                  <a:lnTo>
                    <a:pt x="1482" y="1819"/>
                  </a:lnTo>
                  <a:lnTo>
                    <a:pt x="1480" y="1815"/>
                  </a:lnTo>
                  <a:lnTo>
                    <a:pt x="1480" y="1815"/>
                  </a:lnTo>
                  <a:lnTo>
                    <a:pt x="1474" y="1805"/>
                  </a:lnTo>
                  <a:lnTo>
                    <a:pt x="1474" y="1805"/>
                  </a:lnTo>
                  <a:lnTo>
                    <a:pt x="1466" y="1782"/>
                  </a:lnTo>
                  <a:lnTo>
                    <a:pt x="1466" y="1782"/>
                  </a:lnTo>
                  <a:lnTo>
                    <a:pt x="1457" y="1754"/>
                  </a:lnTo>
                  <a:lnTo>
                    <a:pt x="1457" y="1754"/>
                  </a:lnTo>
                  <a:lnTo>
                    <a:pt x="1453" y="1738"/>
                  </a:lnTo>
                  <a:lnTo>
                    <a:pt x="1453" y="1738"/>
                  </a:lnTo>
                  <a:lnTo>
                    <a:pt x="1451" y="1731"/>
                  </a:lnTo>
                  <a:lnTo>
                    <a:pt x="1451" y="1731"/>
                  </a:lnTo>
                  <a:lnTo>
                    <a:pt x="1451" y="1725"/>
                  </a:lnTo>
                  <a:lnTo>
                    <a:pt x="1451" y="1725"/>
                  </a:lnTo>
                  <a:lnTo>
                    <a:pt x="1451" y="1725"/>
                  </a:lnTo>
                  <a:lnTo>
                    <a:pt x="1451" y="1725"/>
                  </a:lnTo>
                  <a:lnTo>
                    <a:pt x="1451" y="1725"/>
                  </a:lnTo>
                  <a:lnTo>
                    <a:pt x="1451" y="1724"/>
                  </a:lnTo>
                  <a:lnTo>
                    <a:pt x="1451" y="1724"/>
                  </a:lnTo>
                  <a:lnTo>
                    <a:pt x="1450" y="1709"/>
                  </a:lnTo>
                  <a:lnTo>
                    <a:pt x="1450" y="1709"/>
                  </a:lnTo>
                  <a:lnTo>
                    <a:pt x="1448" y="1700"/>
                  </a:lnTo>
                  <a:lnTo>
                    <a:pt x="1448" y="1700"/>
                  </a:lnTo>
                  <a:lnTo>
                    <a:pt x="1448" y="1696"/>
                  </a:lnTo>
                  <a:lnTo>
                    <a:pt x="1448" y="1696"/>
                  </a:lnTo>
                  <a:lnTo>
                    <a:pt x="1447" y="1687"/>
                  </a:lnTo>
                  <a:lnTo>
                    <a:pt x="1447" y="1687"/>
                  </a:lnTo>
                  <a:lnTo>
                    <a:pt x="1445" y="1683"/>
                  </a:lnTo>
                  <a:lnTo>
                    <a:pt x="1445" y="1683"/>
                  </a:lnTo>
                  <a:lnTo>
                    <a:pt x="1444" y="1680"/>
                  </a:lnTo>
                  <a:lnTo>
                    <a:pt x="1444" y="1680"/>
                  </a:lnTo>
                  <a:lnTo>
                    <a:pt x="1443" y="1679"/>
                  </a:lnTo>
                  <a:lnTo>
                    <a:pt x="1443" y="1679"/>
                  </a:lnTo>
                  <a:lnTo>
                    <a:pt x="1441" y="1679"/>
                  </a:lnTo>
                  <a:lnTo>
                    <a:pt x="1441" y="1679"/>
                  </a:lnTo>
                  <a:lnTo>
                    <a:pt x="1438" y="1679"/>
                  </a:lnTo>
                  <a:lnTo>
                    <a:pt x="1438" y="1679"/>
                  </a:lnTo>
                  <a:lnTo>
                    <a:pt x="1437" y="1682"/>
                  </a:lnTo>
                  <a:lnTo>
                    <a:pt x="1437" y="1682"/>
                  </a:lnTo>
                  <a:lnTo>
                    <a:pt x="1437" y="1686"/>
                  </a:lnTo>
                  <a:lnTo>
                    <a:pt x="1437" y="1686"/>
                  </a:lnTo>
                  <a:lnTo>
                    <a:pt x="1435" y="1695"/>
                  </a:lnTo>
                  <a:lnTo>
                    <a:pt x="1435" y="1695"/>
                  </a:lnTo>
                  <a:lnTo>
                    <a:pt x="1435" y="1699"/>
                  </a:lnTo>
                  <a:lnTo>
                    <a:pt x="1435" y="1699"/>
                  </a:lnTo>
                  <a:lnTo>
                    <a:pt x="1434" y="1699"/>
                  </a:lnTo>
                  <a:lnTo>
                    <a:pt x="1434" y="1699"/>
                  </a:lnTo>
                  <a:lnTo>
                    <a:pt x="1427" y="1705"/>
                  </a:lnTo>
                  <a:lnTo>
                    <a:pt x="1427" y="1705"/>
                  </a:lnTo>
                  <a:lnTo>
                    <a:pt x="1418" y="1706"/>
                  </a:lnTo>
                  <a:lnTo>
                    <a:pt x="1418" y="1706"/>
                  </a:lnTo>
                  <a:lnTo>
                    <a:pt x="1416" y="1706"/>
                  </a:lnTo>
                  <a:lnTo>
                    <a:pt x="1416" y="1706"/>
                  </a:lnTo>
                  <a:lnTo>
                    <a:pt x="1416" y="1706"/>
                  </a:lnTo>
                  <a:lnTo>
                    <a:pt x="1416" y="1706"/>
                  </a:lnTo>
                  <a:lnTo>
                    <a:pt x="1416" y="1706"/>
                  </a:lnTo>
                  <a:lnTo>
                    <a:pt x="1416" y="1706"/>
                  </a:lnTo>
                  <a:lnTo>
                    <a:pt x="1416" y="1706"/>
                  </a:lnTo>
                  <a:lnTo>
                    <a:pt x="1414" y="1705"/>
                  </a:lnTo>
                  <a:lnTo>
                    <a:pt x="1414" y="1705"/>
                  </a:lnTo>
                  <a:lnTo>
                    <a:pt x="1406" y="1698"/>
                  </a:lnTo>
                  <a:lnTo>
                    <a:pt x="1399" y="1687"/>
                  </a:lnTo>
                  <a:lnTo>
                    <a:pt x="1399" y="1687"/>
                  </a:lnTo>
                  <a:lnTo>
                    <a:pt x="1392" y="1677"/>
                  </a:lnTo>
                  <a:lnTo>
                    <a:pt x="1392" y="1677"/>
                  </a:lnTo>
                  <a:lnTo>
                    <a:pt x="1390" y="1674"/>
                  </a:lnTo>
                  <a:lnTo>
                    <a:pt x="1389" y="1674"/>
                  </a:lnTo>
                  <a:lnTo>
                    <a:pt x="1389" y="1673"/>
                  </a:lnTo>
                  <a:lnTo>
                    <a:pt x="1389" y="1673"/>
                  </a:lnTo>
                  <a:lnTo>
                    <a:pt x="1387" y="1674"/>
                  </a:lnTo>
                  <a:lnTo>
                    <a:pt x="1389" y="1674"/>
                  </a:lnTo>
                  <a:lnTo>
                    <a:pt x="1389" y="1674"/>
                  </a:lnTo>
                  <a:lnTo>
                    <a:pt x="1389" y="1673"/>
                  </a:lnTo>
                  <a:lnTo>
                    <a:pt x="1387" y="1674"/>
                  </a:lnTo>
                  <a:lnTo>
                    <a:pt x="1389" y="1674"/>
                  </a:lnTo>
                  <a:lnTo>
                    <a:pt x="1387" y="1674"/>
                  </a:lnTo>
                  <a:lnTo>
                    <a:pt x="1389" y="1676"/>
                  </a:lnTo>
                  <a:lnTo>
                    <a:pt x="1389" y="1676"/>
                  </a:lnTo>
                  <a:lnTo>
                    <a:pt x="1389" y="1674"/>
                  </a:lnTo>
                  <a:lnTo>
                    <a:pt x="1387" y="1674"/>
                  </a:lnTo>
                  <a:lnTo>
                    <a:pt x="1389" y="1676"/>
                  </a:lnTo>
                  <a:lnTo>
                    <a:pt x="1387" y="1674"/>
                  </a:lnTo>
                  <a:lnTo>
                    <a:pt x="1387" y="1676"/>
                  </a:lnTo>
                  <a:lnTo>
                    <a:pt x="1387" y="1676"/>
                  </a:lnTo>
                  <a:lnTo>
                    <a:pt x="1389" y="1676"/>
                  </a:lnTo>
                  <a:lnTo>
                    <a:pt x="1387" y="1674"/>
                  </a:lnTo>
                  <a:lnTo>
                    <a:pt x="1387" y="1676"/>
                  </a:lnTo>
                  <a:lnTo>
                    <a:pt x="1387" y="1676"/>
                  </a:lnTo>
                  <a:lnTo>
                    <a:pt x="1387" y="1676"/>
                  </a:lnTo>
                  <a:lnTo>
                    <a:pt x="1387" y="1676"/>
                  </a:lnTo>
                  <a:lnTo>
                    <a:pt x="1387" y="1676"/>
                  </a:lnTo>
                  <a:lnTo>
                    <a:pt x="1387" y="1676"/>
                  </a:lnTo>
                  <a:lnTo>
                    <a:pt x="1387" y="1676"/>
                  </a:lnTo>
                  <a:lnTo>
                    <a:pt x="1389" y="1677"/>
                  </a:lnTo>
                  <a:lnTo>
                    <a:pt x="1389" y="1677"/>
                  </a:lnTo>
                  <a:lnTo>
                    <a:pt x="1393" y="1679"/>
                  </a:lnTo>
                  <a:lnTo>
                    <a:pt x="1399" y="1679"/>
                  </a:lnTo>
                  <a:lnTo>
                    <a:pt x="1399" y="1679"/>
                  </a:lnTo>
                  <a:lnTo>
                    <a:pt x="1402" y="1679"/>
                  </a:lnTo>
                  <a:lnTo>
                    <a:pt x="1402" y="1679"/>
                  </a:lnTo>
                  <a:lnTo>
                    <a:pt x="1409" y="1676"/>
                  </a:lnTo>
                  <a:lnTo>
                    <a:pt x="1409" y="1676"/>
                  </a:lnTo>
                  <a:lnTo>
                    <a:pt x="1411" y="1674"/>
                  </a:lnTo>
                  <a:lnTo>
                    <a:pt x="1411" y="1674"/>
                  </a:lnTo>
                  <a:lnTo>
                    <a:pt x="1412" y="1673"/>
                  </a:lnTo>
                  <a:lnTo>
                    <a:pt x="1412" y="1673"/>
                  </a:lnTo>
                  <a:lnTo>
                    <a:pt x="1414" y="1671"/>
                  </a:lnTo>
                  <a:lnTo>
                    <a:pt x="1414" y="1671"/>
                  </a:lnTo>
                  <a:lnTo>
                    <a:pt x="1412" y="1669"/>
                  </a:lnTo>
                  <a:lnTo>
                    <a:pt x="1412" y="1669"/>
                  </a:lnTo>
                  <a:lnTo>
                    <a:pt x="1409" y="1667"/>
                  </a:lnTo>
                  <a:lnTo>
                    <a:pt x="1409" y="1667"/>
                  </a:lnTo>
                  <a:lnTo>
                    <a:pt x="1403" y="1666"/>
                  </a:lnTo>
                  <a:lnTo>
                    <a:pt x="1403" y="1666"/>
                  </a:lnTo>
                  <a:lnTo>
                    <a:pt x="1390" y="1664"/>
                  </a:lnTo>
                  <a:lnTo>
                    <a:pt x="1390" y="1664"/>
                  </a:lnTo>
                  <a:lnTo>
                    <a:pt x="1387" y="1663"/>
                  </a:lnTo>
                  <a:lnTo>
                    <a:pt x="1387" y="1663"/>
                  </a:lnTo>
                  <a:lnTo>
                    <a:pt x="1386" y="1660"/>
                  </a:lnTo>
                  <a:lnTo>
                    <a:pt x="1386" y="1660"/>
                  </a:lnTo>
                  <a:lnTo>
                    <a:pt x="1386" y="1657"/>
                  </a:lnTo>
                  <a:lnTo>
                    <a:pt x="1386" y="1657"/>
                  </a:lnTo>
                  <a:lnTo>
                    <a:pt x="1386" y="1653"/>
                  </a:lnTo>
                  <a:lnTo>
                    <a:pt x="1386" y="1653"/>
                  </a:lnTo>
                  <a:lnTo>
                    <a:pt x="1386" y="1651"/>
                  </a:lnTo>
                  <a:lnTo>
                    <a:pt x="1386" y="1651"/>
                  </a:lnTo>
                  <a:lnTo>
                    <a:pt x="1383" y="1648"/>
                  </a:lnTo>
                  <a:lnTo>
                    <a:pt x="1383" y="1648"/>
                  </a:lnTo>
                  <a:lnTo>
                    <a:pt x="1382" y="1648"/>
                  </a:lnTo>
                  <a:lnTo>
                    <a:pt x="1380" y="1648"/>
                  </a:lnTo>
                  <a:lnTo>
                    <a:pt x="1380" y="1648"/>
                  </a:lnTo>
                  <a:lnTo>
                    <a:pt x="1373" y="1648"/>
                  </a:lnTo>
                  <a:lnTo>
                    <a:pt x="1373" y="1648"/>
                  </a:lnTo>
                  <a:lnTo>
                    <a:pt x="1367" y="1647"/>
                  </a:lnTo>
                  <a:lnTo>
                    <a:pt x="1367" y="1647"/>
                  </a:lnTo>
                  <a:lnTo>
                    <a:pt x="1364" y="1645"/>
                  </a:lnTo>
                  <a:lnTo>
                    <a:pt x="1364" y="1645"/>
                  </a:lnTo>
                  <a:lnTo>
                    <a:pt x="1363" y="1641"/>
                  </a:lnTo>
                  <a:lnTo>
                    <a:pt x="1363" y="1641"/>
                  </a:lnTo>
                  <a:lnTo>
                    <a:pt x="1363" y="1638"/>
                  </a:lnTo>
                  <a:lnTo>
                    <a:pt x="1363" y="1638"/>
                  </a:lnTo>
                  <a:lnTo>
                    <a:pt x="1360" y="1635"/>
                  </a:lnTo>
                  <a:lnTo>
                    <a:pt x="1360" y="1635"/>
                  </a:lnTo>
                  <a:lnTo>
                    <a:pt x="1359" y="1632"/>
                  </a:lnTo>
                  <a:lnTo>
                    <a:pt x="1359" y="1632"/>
                  </a:lnTo>
                  <a:lnTo>
                    <a:pt x="1356" y="1625"/>
                  </a:lnTo>
                  <a:lnTo>
                    <a:pt x="1356" y="1625"/>
                  </a:lnTo>
                  <a:lnTo>
                    <a:pt x="1353" y="1622"/>
                  </a:lnTo>
                  <a:lnTo>
                    <a:pt x="1353" y="1622"/>
                  </a:lnTo>
                  <a:lnTo>
                    <a:pt x="1350" y="1621"/>
                  </a:lnTo>
                  <a:lnTo>
                    <a:pt x="1350" y="1621"/>
                  </a:lnTo>
                  <a:lnTo>
                    <a:pt x="1348" y="1619"/>
                  </a:lnTo>
                  <a:lnTo>
                    <a:pt x="1348" y="1619"/>
                  </a:lnTo>
                  <a:lnTo>
                    <a:pt x="1341" y="1621"/>
                  </a:lnTo>
                  <a:lnTo>
                    <a:pt x="1341" y="1621"/>
                  </a:lnTo>
                  <a:lnTo>
                    <a:pt x="1328" y="1624"/>
                  </a:lnTo>
                  <a:lnTo>
                    <a:pt x="1328" y="1624"/>
                  </a:lnTo>
                  <a:lnTo>
                    <a:pt x="1317" y="1624"/>
                  </a:lnTo>
                  <a:lnTo>
                    <a:pt x="1317" y="1624"/>
                  </a:lnTo>
                  <a:lnTo>
                    <a:pt x="1315" y="1624"/>
                  </a:lnTo>
                  <a:lnTo>
                    <a:pt x="1315" y="1624"/>
                  </a:lnTo>
                  <a:lnTo>
                    <a:pt x="1309" y="1622"/>
                  </a:lnTo>
                  <a:lnTo>
                    <a:pt x="1309" y="1622"/>
                  </a:lnTo>
                  <a:lnTo>
                    <a:pt x="1308" y="1622"/>
                  </a:lnTo>
                  <a:lnTo>
                    <a:pt x="1308" y="1622"/>
                  </a:lnTo>
                  <a:lnTo>
                    <a:pt x="1305" y="1621"/>
                  </a:lnTo>
                  <a:lnTo>
                    <a:pt x="1305" y="1621"/>
                  </a:lnTo>
                  <a:lnTo>
                    <a:pt x="1302" y="1621"/>
                  </a:lnTo>
                  <a:lnTo>
                    <a:pt x="1302" y="1621"/>
                  </a:lnTo>
                  <a:lnTo>
                    <a:pt x="1296" y="1622"/>
                  </a:lnTo>
                  <a:lnTo>
                    <a:pt x="1296" y="1622"/>
                  </a:lnTo>
                  <a:lnTo>
                    <a:pt x="1285" y="1624"/>
                  </a:lnTo>
                  <a:lnTo>
                    <a:pt x="1285" y="1624"/>
                  </a:lnTo>
                  <a:lnTo>
                    <a:pt x="1279" y="1625"/>
                  </a:lnTo>
                  <a:lnTo>
                    <a:pt x="1279" y="1625"/>
                  </a:lnTo>
                  <a:lnTo>
                    <a:pt x="1266" y="1624"/>
                  </a:lnTo>
                  <a:lnTo>
                    <a:pt x="1266" y="1624"/>
                  </a:lnTo>
                  <a:lnTo>
                    <a:pt x="1256" y="1621"/>
                  </a:lnTo>
                  <a:lnTo>
                    <a:pt x="1256" y="1621"/>
                  </a:lnTo>
                  <a:lnTo>
                    <a:pt x="1253" y="1621"/>
                  </a:lnTo>
                  <a:lnTo>
                    <a:pt x="1253" y="1621"/>
                  </a:lnTo>
                  <a:lnTo>
                    <a:pt x="1230" y="1618"/>
                  </a:lnTo>
                  <a:lnTo>
                    <a:pt x="1230" y="1618"/>
                  </a:lnTo>
                  <a:lnTo>
                    <a:pt x="1217" y="1616"/>
                  </a:lnTo>
                  <a:lnTo>
                    <a:pt x="1206" y="1615"/>
                  </a:lnTo>
                  <a:lnTo>
                    <a:pt x="1206" y="1615"/>
                  </a:lnTo>
                  <a:lnTo>
                    <a:pt x="1202" y="1612"/>
                  </a:lnTo>
                  <a:lnTo>
                    <a:pt x="1202" y="1612"/>
                  </a:lnTo>
                  <a:lnTo>
                    <a:pt x="1199" y="1611"/>
                  </a:lnTo>
                  <a:lnTo>
                    <a:pt x="1198" y="1609"/>
                  </a:lnTo>
                  <a:lnTo>
                    <a:pt x="1198" y="1609"/>
                  </a:lnTo>
                  <a:lnTo>
                    <a:pt x="1196" y="1603"/>
                  </a:lnTo>
                  <a:lnTo>
                    <a:pt x="1196" y="1603"/>
                  </a:lnTo>
                  <a:lnTo>
                    <a:pt x="1192" y="1593"/>
                  </a:lnTo>
                  <a:lnTo>
                    <a:pt x="1192" y="1593"/>
                  </a:lnTo>
                  <a:lnTo>
                    <a:pt x="1189" y="1589"/>
                  </a:lnTo>
                  <a:lnTo>
                    <a:pt x="1189" y="1589"/>
                  </a:lnTo>
                  <a:lnTo>
                    <a:pt x="1188" y="1587"/>
                  </a:lnTo>
                  <a:lnTo>
                    <a:pt x="1188" y="1587"/>
                  </a:lnTo>
                  <a:lnTo>
                    <a:pt x="1185" y="1587"/>
                  </a:lnTo>
                  <a:lnTo>
                    <a:pt x="1185" y="1587"/>
                  </a:lnTo>
                  <a:lnTo>
                    <a:pt x="1183" y="1587"/>
                  </a:lnTo>
                  <a:lnTo>
                    <a:pt x="1183" y="1587"/>
                  </a:lnTo>
                  <a:lnTo>
                    <a:pt x="1183" y="1587"/>
                  </a:lnTo>
                  <a:lnTo>
                    <a:pt x="1175" y="1595"/>
                  </a:lnTo>
                  <a:lnTo>
                    <a:pt x="1175" y="1595"/>
                  </a:lnTo>
                  <a:lnTo>
                    <a:pt x="1169" y="1598"/>
                  </a:lnTo>
                  <a:lnTo>
                    <a:pt x="1169" y="1598"/>
                  </a:lnTo>
                  <a:lnTo>
                    <a:pt x="1166" y="1599"/>
                  </a:lnTo>
                  <a:lnTo>
                    <a:pt x="1166" y="1599"/>
                  </a:lnTo>
                  <a:lnTo>
                    <a:pt x="1164" y="1599"/>
                  </a:lnTo>
                  <a:lnTo>
                    <a:pt x="1164" y="1599"/>
                  </a:lnTo>
                  <a:lnTo>
                    <a:pt x="1159" y="1598"/>
                  </a:lnTo>
                  <a:lnTo>
                    <a:pt x="1159" y="1598"/>
                  </a:lnTo>
                  <a:lnTo>
                    <a:pt x="1149" y="1595"/>
                  </a:lnTo>
                  <a:lnTo>
                    <a:pt x="1149" y="1595"/>
                  </a:lnTo>
                  <a:lnTo>
                    <a:pt x="1140" y="1592"/>
                  </a:lnTo>
                  <a:lnTo>
                    <a:pt x="1140" y="1592"/>
                  </a:lnTo>
                  <a:lnTo>
                    <a:pt x="1134" y="1590"/>
                  </a:lnTo>
                  <a:lnTo>
                    <a:pt x="1130" y="1587"/>
                  </a:lnTo>
                  <a:lnTo>
                    <a:pt x="1130" y="1587"/>
                  </a:lnTo>
                  <a:lnTo>
                    <a:pt x="1128" y="1585"/>
                  </a:lnTo>
                  <a:lnTo>
                    <a:pt x="1125" y="1580"/>
                  </a:lnTo>
                  <a:lnTo>
                    <a:pt x="1125" y="1580"/>
                  </a:lnTo>
                  <a:lnTo>
                    <a:pt x="1122" y="1577"/>
                  </a:lnTo>
                  <a:lnTo>
                    <a:pt x="1122" y="1577"/>
                  </a:lnTo>
                  <a:lnTo>
                    <a:pt x="1117" y="1574"/>
                  </a:lnTo>
                  <a:lnTo>
                    <a:pt x="1117" y="1574"/>
                  </a:lnTo>
                  <a:lnTo>
                    <a:pt x="1111" y="1573"/>
                  </a:lnTo>
                  <a:lnTo>
                    <a:pt x="1108" y="1572"/>
                  </a:lnTo>
                  <a:lnTo>
                    <a:pt x="1108" y="1572"/>
                  </a:lnTo>
                  <a:lnTo>
                    <a:pt x="1105" y="1569"/>
                  </a:lnTo>
                  <a:lnTo>
                    <a:pt x="1102" y="1564"/>
                  </a:lnTo>
                  <a:lnTo>
                    <a:pt x="1102" y="1564"/>
                  </a:lnTo>
                  <a:lnTo>
                    <a:pt x="1095" y="1551"/>
                  </a:lnTo>
                  <a:lnTo>
                    <a:pt x="1095" y="1551"/>
                  </a:lnTo>
                  <a:lnTo>
                    <a:pt x="1092" y="1547"/>
                  </a:lnTo>
                  <a:lnTo>
                    <a:pt x="1092" y="1547"/>
                  </a:lnTo>
                  <a:lnTo>
                    <a:pt x="1091" y="1544"/>
                  </a:lnTo>
                  <a:lnTo>
                    <a:pt x="1091" y="1544"/>
                  </a:lnTo>
                  <a:lnTo>
                    <a:pt x="1088" y="1544"/>
                  </a:lnTo>
                  <a:lnTo>
                    <a:pt x="1088" y="1544"/>
                  </a:lnTo>
                  <a:lnTo>
                    <a:pt x="1083" y="1543"/>
                  </a:lnTo>
                  <a:lnTo>
                    <a:pt x="1083" y="1543"/>
                  </a:lnTo>
                  <a:lnTo>
                    <a:pt x="1079" y="1540"/>
                  </a:lnTo>
                  <a:lnTo>
                    <a:pt x="1079" y="1540"/>
                  </a:lnTo>
                  <a:lnTo>
                    <a:pt x="1076" y="1537"/>
                  </a:lnTo>
                  <a:lnTo>
                    <a:pt x="1076" y="1537"/>
                  </a:lnTo>
                  <a:lnTo>
                    <a:pt x="1073" y="1535"/>
                  </a:lnTo>
                  <a:lnTo>
                    <a:pt x="1073" y="1535"/>
                  </a:lnTo>
                  <a:lnTo>
                    <a:pt x="1072" y="1534"/>
                  </a:lnTo>
                  <a:lnTo>
                    <a:pt x="1072" y="1534"/>
                  </a:lnTo>
                  <a:lnTo>
                    <a:pt x="1069" y="1535"/>
                  </a:lnTo>
                  <a:lnTo>
                    <a:pt x="1069" y="1535"/>
                  </a:lnTo>
                  <a:lnTo>
                    <a:pt x="1067" y="1538"/>
                  </a:lnTo>
                  <a:lnTo>
                    <a:pt x="1067" y="1538"/>
                  </a:lnTo>
                  <a:lnTo>
                    <a:pt x="1067" y="1540"/>
                  </a:lnTo>
                  <a:lnTo>
                    <a:pt x="1067" y="1540"/>
                  </a:lnTo>
                  <a:lnTo>
                    <a:pt x="1067" y="1540"/>
                  </a:lnTo>
                  <a:lnTo>
                    <a:pt x="1069" y="1540"/>
                  </a:lnTo>
                  <a:lnTo>
                    <a:pt x="1067" y="1540"/>
                  </a:lnTo>
                  <a:lnTo>
                    <a:pt x="1067" y="1540"/>
                  </a:lnTo>
                  <a:lnTo>
                    <a:pt x="1069" y="1540"/>
                  </a:lnTo>
                  <a:lnTo>
                    <a:pt x="1067" y="1540"/>
                  </a:lnTo>
                  <a:lnTo>
                    <a:pt x="1069" y="1540"/>
                  </a:lnTo>
                  <a:lnTo>
                    <a:pt x="1069" y="1538"/>
                  </a:lnTo>
                  <a:lnTo>
                    <a:pt x="1067" y="1540"/>
                  </a:lnTo>
                  <a:lnTo>
                    <a:pt x="1069" y="1540"/>
                  </a:lnTo>
                  <a:lnTo>
                    <a:pt x="1069" y="1538"/>
                  </a:lnTo>
                  <a:lnTo>
                    <a:pt x="1069" y="1540"/>
                  </a:lnTo>
                  <a:lnTo>
                    <a:pt x="1069" y="1538"/>
                  </a:lnTo>
                  <a:lnTo>
                    <a:pt x="1069" y="1538"/>
                  </a:lnTo>
                  <a:lnTo>
                    <a:pt x="1069" y="1540"/>
                  </a:lnTo>
                  <a:lnTo>
                    <a:pt x="1069" y="1538"/>
                  </a:lnTo>
                  <a:lnTo>
                    <a:pt x="1069" y="1538"/>
                  </a:lnTo>
                  <a:lnTo>
                    <a:pt x="1066" y="1538"/>
                  </a:lnTo>
                  <a:lnTo>
                    <a:pt x="1066" y="1538"/>
                  </a:lnTo>
                  <a:lnTo>
                    <a:pt x="1059" y="1540"/>
                  </a:lnTo>
                  <a:lnTo>
                    <a:pt x="1059" y="1540"/>
                  </a:lnTo>
                  <a:lnTo>
                    <a:pt x="1054" y="1541"/>
                  </a:lnTo>
                  <a:lnTo>
                    <a:pt x="1054" y="1541"/>
                  </a:lnTo>
                  <a:lnTo>
                    <a:pt x="1053" y="1543"/>
                  </a:lnTo>
                  <a:lnTo>
                    <a:pt x="1053" y="1543"/>
                  </a:lnTo>
                  <a:lnTo>
                    <a:pt x="1053" y="1544"/>
                  </a:lnTo>
                  <a:lnTo>
                    <a:pt x="1053" y="1544"/>
                  </a:lnTo>
                  <a:lnTo>
                    <a:pt x="1053" y="1544"/>
                  </a:lnTo>
                  <a:lnTo>
                    <a:pt x="1053" y="1544"/>
                  </a:lnTo>
                  <a:lnTo>
                    <a:pt x="1053" y="1544"/>
                  </a:lnTo>
                  <a:lnTo>
                    <a:pt x="1051" y="1545"/>
                  </a:lnTo>
                  <a:lnTo>
                    <a:pt x="1051" y="1545"/>
                  </a:lnTo>
                  <a:lnTo>
                    <a:pt x="1050" y="1547"/>
                  </a:lnTo>
                  <a:lnTo>
                    <a:pt x="1050" y="1547"/>
                  </a:lnTo>
                  <a:lnTo>
                    <a:pt x="1050" y="1551"/>
                  </a:lnTo>
                  <a:lnTo>
                    <a:pt x="1050" y="1551"/>
                  </a:lnTo>
                  <a:lnTo>
                    <a:pt x="1051" y="1556"/>
                  </a:lnTo>
                  <a:lnTo>
                    <a:pt x="1051" y="1556"/>
                  </a:lnTo>
                  <a:lnTo>
                    <a:pt x="1057" y="1564"/>
                  </a:lnTo>
                  <a:lnTo>
                    <a:pt x="1062" y="1572"/>
                  </a:lnTo>
                  <a:lnTo>
                    <a:pt x="1062" y="1572"/>
                  </a:lnTo>
                  <a:lnTo>
                    <a:pt x="1065" y="1576"/>
                  </a:lnTo>
                  <a:lnTo>
                    <a:pt x="1069" y="1580"/>
                  </a:lnTo>
                  <a:lnTo>
                    <a:pt x="1069" y="1580"/>
                  </a:lnTo>
                  <a:lnTo>
                    <a:pt x="1076" y="1586"/>
                  </a:lnTo>
                  <a:lnTo>
                    <a:pt x="1076" y="1586"/>
                  </a:lnTo>
                  <a:lnTo>
                    <a:pt x="1080" y="1593"/>
                  </a:lnTo>
                  <a:lnTo>
                    <a:pt x="1080" y="1593"/>
                  </a:lnTo>
                  <a:lnTo>
                    <a:pt x="1083" y="1596"/>
                  </a:lnTo>
                  <a:lnTo>
                    <a:pt x="1083" y="1596"/>
                  </a:lnTo>
                  <a:lnTo>
                    <a:pt x="1085" y="1599"/>
                  </a:lnTo>
                  <a:lnTo>
                    <a:pt x="1085" y="1599"/>
                  </a:lnTo>
                  <a:lnTo>
                    <a:pt x="1085" y="1599"/>
                  </a:lnTo>
                  <a:lnTo>
                    <a:pt x="1086" y="1608"/>
                  </a:lnTo>
                  <a:lnTo>
                    <a:pt x="1086" y="1608"/>
                  </a:lnTo>
                  <a:lnTo>
                    <a:pt x="1088" y="1612"/>
                  </a:lnTo>
                  <a:lnTo>
                    <a:pt x="1088" y="1612"/>
                  </a:lnTo>
                  <a:lnTo>
                    <a:pt x="1088" y="1614"/>
                  </a:lnTo>
                  <a:lnTo>
                    <a:pt x="1088" y="1614"/>
                  </a:lnTo>
                  <a:lnTo>
                    <a:pt x="1089" y="1616"/>
                  </a:lnTo>
                  <a:lnTo>
                    <a:pt x="1089" y="1616"/>
                  </a:lnTo>
                  <a:lnTo>
                    <a:pt x="1092" y="1619"/>
                  </a:lnTo>
                  <a:lnTo>
                    <a:pt x="1092" y="1619"/>
                  </a:lnTo>
                  <a:lnTo>
                    <a:pt x="1095" y="1621"/>
                  </a:lnTo>
                  <a:lnTo>
                    <a:pt x="1095" y="1621"/>
                  </a:lnTo>
                  <a:lnTo>
                    <a:pt x="1098" y="1622"/>
                  </a:lnTo>
                  <a:lnTo>
                    <a:pt x="1098" y="1622"/>
                  </a:lnTo>
                  <a:lnTo>
                    <a:pt x="1101" y="1621"/>
                  </a:lnTo>
                  <a:lnTo>
                    <a:pt x="1101" y="1621"/>
                  </a:lnTo>
                  <a:lnTo>
                    <a:pt x="1104" y="1618"/>
                  </a:lnTo>
                  <a:lnTo>
                    <a:pt x="1104" y="1618"/>
                  </a:lnTo>
                  <a:lnTo>
                    <a:pt x="1105" y="1614"/>
                  </a:lnTo>
                  <a:lnTo>
                    <a:pt x="1105" y="1614"/>
                  </a:lnTo>
                  <a:lnTo>
                    <a:pt x="1107" y="1612"/>
                  </a:lnTo>
                  <a:lnTo>
                    <a:pt x="1107" y="1612"/>
                  </a:lnTo>
                  <a:lnTo>
                    <a:pt x="1107" y="1611"/>
                  </a:lnTo>
                  <a:lnTo>
                    <a:pt x="1107" y="1612"/>
                  </a:lnTo>
                  <a:lnTo>
                    <a:pt x="1107" y="1612"/>
                  </a:lnTo>
                  <a:lnTo>
                    <a:pt x="1107" y="1611"/>
                  </a:lnTo>
                  <a:lnTo>
                    <a:pt x="1107" y="1612"/>
                  </a:lnTo>
                  <a:lnTo>
                    <a:pt x="1107" y="1611"/>
                  </a:lnTo>
                  <a:lnTo>
                    <a:pt x="1107" y="1612"/>
                  </a:lnTo>
                  <a:lnTo>
                    <a:pt x="1107" y="1612"/>
                  </a:lnTo>
                  <a:lnTo>
                    <a:pt x="1107" y="1611"/>
                  </a:lnTo>
                  <a:lnTo>
                    <a:pt x="1107" y="1612"/>
                  </a:lnTo>
                  <a:lnTo>
                    <a:pt x="1107" y="1611"/>
                  </a:lnTo>
                  <a:lnTo>
                    <a:pt x="1107" y="1612"/>
                  </a:lnTo>
                  <a:lnTo>
                    <a:pt x="1107" y="1612"/>
                  </a:lnTo>
                  <a:lnTo>
                    <a:pt x="1107" y="1611"/>
                  </a:lnTo>
                  <a:lnTo>
                    <a:pt x="1107" y="1612"/>
                  </a:lnTo>
                  <a:lnTo>
                    <a:pt x="1107" y="1611"/>
                  </a:lnTo>
                  <a:lnTo>
                    <a:pt x="1105" y="1612"/>
                  </a:lnTo>
                  <a:lnTo>
                    <a:pt x="1107" y="1612"/>
                  </a:lnTo>
                  <a:lnTo>
                    <a:pt x="1107" y="1611"/>
                  </a:lnTo>
                  <a:lnTo>
                    <a:pt x="1105" y="1612"/>
                  </a:lnTo>
                  <a:lnTo>
                    <a:pt x="1107" y="1612"/>
                  </a:lnTo>
                  <a:lnTo>
                    <a:pt x="1107" y="1612"/>
                  </a:lnTo>
                  <a:lnTo>
                    <a:pt x="1108" y="1614"/>
                  </a:lnTo>
                  <a:lnTo>
                    <a:pt x="1108" y="1614"/>
                  </a:lnTo>
                  <a:lnTo>
                    <a:pt x="1111" y="1619"/>
                  </a:lnTo>
                  <a:lnTo>
                    <a:pt x="1111" y="1619"/>
                  </a:lnTo>
                  <a:lnTo>
                    <a:pt x="1112" y="1622"/>
                  </a:lnTo>
                  <a:lnTo>
                    <a:pt x="1112" y="1622"/>
                  </a:lnTo>
                  <a:lnTo>
                    <a:pt x="1112" y="1624"/>
                  </a:lnTo>
                  <a:lnTo>
                    <a:pt x="1114" y="1624"/>
                  </a:lnTo>
                  <a:lnTo>
                    <a:pt x="1112" y="1624"/>
                  </a:lnTo>
                  <a:lnTo>
                    <a:pt x="1112" y="1624"/>
                  </a:lnTo>
                  <a:lnTo>
                    <a:pt x="1114" y="1624"/>
                  </a:lnTo>
                  <a:lnTo>
                    <a:pt x="1112" y="1624"/>
                  </a:lnTo>
                  <a:lnTo>
                    <a:pt x="1112" y="1624"/>
                  </a:lnTo>
                  <a:lnTo>
                    <a:pt x="1112" y="1624"/>
                  </a:lnTo>
                  <a:lnTo>
                    <a:pt x="1112" y="1624"/>
                  </a:lnTo>
                  <a:lnTo>
                    <a:pt x="1112" y="1624"/>
                  </a:lnTo>
                  <a:lnTo>
                    <a:pt x="1112" y="1624"/>
                  </a:lnTo>
                  <a:lnTo>
                    <a:pt x="1111" y="1625"/>
                  </a:lnTo>
                  <a:lnTo>
                    <a:pt x="1111" y="1625"/>
                  </a:lnTo>
                  <a:lnTo>
                    <a:pt x="1107" y="1629"/>
                  </a:lnTo>
                  <a:lnTo>
                    <a:pt x="1107" y="1629"/>
                  </a:lnTo>
                  <a:lnTo>
                    <a:pt x="1104" y="1631"/>
                  </a:lnTo>
                  <a:lnTo>
                    <a:pt x="1104" y="1631"/>
                  </a:lnTo>
                  <a:lnTo>
                    <a:pt x="1104" y="1634"/>
                  </a:lnTo>
                  <a:lnTo>
                    <a:pt x="1104" y="1634"/>
                  </a:lnTo>
                  <a:lnTo>
                    <a:pt x="1104" y="1635"/>
                  </a:lnTo>
                  <a:lnTo>
                    <a:pt x="1104" y="1635"/>
                  </a:lnTo>
                  <a:lnTo>
                    <a:pt x="1108" y="1641"/>
                  </a:lnTo>
                  <a:lnTo>
                    <a:pt x="1108" y="1641"/>
                  </a:lnTo>
                  <a:lnTo>
                    <a:pt x="1111" y="1644"/>
                  </a:lnTo>
                  <a:lnTo>
                    <a:pt x="1115" y="1647"/>
                  </a:lnTo>
                  <a:lnTo>
                    <a:pt x="1115" y="1647"/>
                  </a:lnTo>
                  <a:lnTo>
                    <a:pt x="1121" y="1647"/>
                  </a:lnTo>
                  <a:lnTo>
                    <a:pt x="1121" y="1647"/>
                  </a:lnTo>
                  <a:lnTo>
                    <a:pt x="1131" y="1647"/>
                  </a:lnTo>
                  <a:lnTo>
                    <a:pt x="1131" y="1647"/>
                  </a:lnTo>
                  <a:lnTo>
                    <a:pt x="1133" y="1645"/>
                  </a:lnTo>
                  <a:lnTo>
                    <a:pt x="1133" y="1645"/>
                  </a:lnTo>
                  <a:lnTo>
                    <a:pt x="1147" y="1647"/>
                  </a:lnTo>
                  <a:lnTo>
                    <a:pt x="1147" y="1647"/>
                  </a:lnTo>
                  <a:lnTo>
                    <a:pt x="1154" y="1647"/>
                  </a:lnTo>
                  <a:lnTo>
                    <a:pt x="1154" y="1647"/>
                  </a:lnTo>
                  <a:lnTo>
                    <a:pt x="1156" y="1645"/>
                  </a:lnTo>
                  <a:lnTo>
                    <a:pt x="1159" y="1643"/>
                  </a:lnTo>
                  <a:lnTo>
                    <a:pt x="1159" y="1643"/>
                  </a:lnTo>
                  <a:lnTo>
                    <a:pt x="1160" y="1641"/>
                  </a:lnTo>
                  <a:lnTo>
                    <a:pt x="1160" y="1641"/>
                  </a:lnTo>
                  <a:lnTo>
                    <a:pt x="1176" y="1624"/>
                  </a:lnTo>
                  <a:lnTo>
                    <a:pt x="1176" y="1624"/>
                  </a:lnTo>
                  <a:lnTo>
                    <a:pt x="1185" y="1616"/>
                  </a:lnTo>
                  <a:lnTo>
                    <a:pt x="1185" y="1616"/>
                  </a:lnTo>
                  <a:lnTo>
                    <a:pt x="1188" y="1615"/>
                  </a:lnTo>
                  <a:lnTo>
                    <a:pt x="1188" y="1614"/>
                  </a:lnTo>
                  <a:lnTo>
                    <a:pt x="1189" y="1614"/>
                  </a:lnTo>
                  <a:lnTo>
                    <a:pt x="1188" y="1612"/>
                  </a:lnTo>
                  <a:lnTo>
                    <a:pt x="1188" y="1614"/>
                  </a:lnTo>
                  <a:lnTo>
                    <a:pt x="1189" y="1614"/>
                  </a:lnTo>
                  <a:lnTo>
                    <a:pt x="1188" y="1612"/>
                  </a:lnTo>
                  <a:lnTo>
                    <a:pt x="1188" y="1614"/>
                  </a:lnTo>
                  <a:lnTo>
                    <a:pt x="1188" y="1614"/>
                  </a:lnTo>
                  <a:lnTo>
                    <a:pt x="1188" y="1614"/>
                  </a:lnTo>
                  <a:lnTo>
                    <a:pt x="1188" y="1614"/>
                  </a:lnTo>
                  <a:lnTo>
                    <a:pt x="1188" y="1614"/>
                  </a:lnTo>
                  <a:lnTo>
                    <a:pt x="1188" y="1614"/>
                  </a:lnTo>
                  <a:lnTo>
                    <a:pt x="1188" y="1612"/>
                  </a:lnTo>
                  <a:lnTo>
                    <a:pt x="1186" y="1614"/>
                  </a:lnTo>
                  <a:lnTo>
                    <a:pt x="1186" y="1614"/>
                  </a:lnTo>
                  <a:lnTo>
                    <a:pt x="1188" y="1614"/>
                  </a:lnTo>
                  <a:lnTo>
                    <a:pt x="1188" y="1612"/>
                  </a:lnTo>
                  <a:lnTo>
                    <a:pt x="1186" y="1614"/>
                  </a:lnTo>
                  <a:lnTo>
                    <a:pt x="1188" y="1612"/>
                  </a:lnTo>
                  <a:lnTo>
                    <a:pt x="1186" y="1612"/>
                  </a:lnTo>
                  <a:lnTo>
                    <a:pt x="1186" y="1612"/>
                  </a:lnTo>
                  <a:lnTo>
                    <a:pt x="1186" y="1614"/>
                  </a:lnTo>
                  <a:lnTo>
                    <a:pt x="1188" y="1612"/>
                  </a:lnTo>
                  <a:lnTo>
                    <a:pt x="1186" y="1612"/>
                  </a:lnTo>
                  <a:lnTo>
                    <a:pt x="1188" y="1612"/>
                  </a:lnTo>
                  <a:lnTo>
                    <a:pt x="1186" y="1612"/>
                  </a:lnTo>
                  <a:lnTo>
                    <a:pt x="1186" y="1612"/>
                  </a:lnTo>
                  <a:lnTo>
                    <a:pt x="1188" y="1612"/>
                  </a:lnTo>
                  <a:lnTo>
                    <a:pt x="1186" y="1612"/>
                  </a:lnTo>
                  <a:lnTo>
                    <a:pt x="1186" y="1612"/>
                  </a:lnTo>
                  <a:lnTo>
                    <a:pt x="1185" y="1615"/>
                  </a:lnTo>
                  <a:lnTo>
                    <a:pt x="1185" y="1615"/>
                  </a:lnTo>
                  <a:lnTo>
                    <a:pt x="1183" y="1618"/>
                  </a:lnTo>
                  <a:lnTo>
                    <a:pt x="1183" y="1622"/>
                  </a:lnTo>
                  <a:lnTo>
                    <a:pt x="1183" y="1622"/>
                  </a:lnTo>
                  <a:lnTo>
                    <a:pt x="1183" y="1625"/>
                  </a:lnTo>
                  <a:lnTo>
                    <a:pt x="1183" y="1625"/>
                  </a:lnTo>
                  <a:lnTo>
                    <a:pt x="1186" y="1634"/>
                  </a:lnTo>
                  <a:lnTo>
                    <a:pt x="1189" y="1641"/>
                  </a:lnTo>
                  <a:lnTo>
                    <a:pt x="1189" y="1641"/>
                  </a:lnTo>
                  <a:lnTo>
                    <a:pt x="1195" y="1648"/>
                  </a:lnTo>
                  <a:lnTo>
                    <a:pt x="1195" y="1648"/>
                  </a:lnTo>
                  <a:lnTo>
                    <a:pt x="1198" y="1651"/>
                  </a:lnTo>
                  <a:lnTo>
                    <a:pt x="1201" y="1653"/>
                  </a:lnTo>
                  <a:lnTo>
                    <a:pt x="1201" y="1653"/>
                  </a:lnTo>
                  <a:lnTo>
                    <a:pt x="1214" y="1654"/>
                  </a:lnTo>
                  <a:lnTo>
                    <a:pt x="1214" y="1654"/>
                  </a:lnTo>
                  <a:lnTo>
                    <a:pt x="1218" y="1656"/>
                  </a:lnTo>
                  <a:lnTo>
                    <a:pt x="1221" y="1658"/>
                  </a:lnTo>
                  <a:lnTo>
                    <a:pt x="1221" y="1658"/>
                  </a:lnTo>
                  <a:lnTo>
                    <a:pt x="1227" y="1667"/>
                  </a:lnTo>
                  <a:lnTo>
                    <a:pt x="1227" y="1667"/>
                  </a:lnTo>
                  <a:lnTo>
                    <a:pt x="1231" y="1670"/>
                  </a:lnTo>
                  <a:lnTo>
                    <a:pt x="1235" y="1671"/>
                  </a:lnTo>
                  <a:lnTo>
                    <a:pt x="1235" y="1671"/>
                  </a:lnTo>
                  <a:lnTo>
                    <a:pt x="1237" y="1673"/>
                  </a:lnTo>
                  <a:lnTo>
                    <a:pt x="1237" y="1673"/>
                  </a:lnTo>
                  <a:lnTo>
                    <a:pt x="1237" y="1673"/>
                  </a:lnTo>
                  <a:lnTo>
                    <a:pt x="1237" y="1673"/>
                  </a:lnTo>
                  <a:lnTo>
                    <a:pt x="1237" y="1673"/>
                  </a:lnTo>
                  <a:lnTo>
                    <a:pt x="1237" y="1673"/>
                  </a:lnTo>
                  <a:lnTo>
                    <a:pt x="1237" y="1673"/>
                  </a:lnTo>
                  <a:lnTo>
                    <a:pt x="1237" y="1673"/>
                  </a:lnTo>
                  <a:lnTo>
                    <a:pt x="1237" y="1673"/>
                  </a:lnTo>
                  <a:lnTo>
                    <a:pt x="1237" y="1673"/>
                  </a:lnTo>
                  <a:lnTo>
                    <a:pt x="1237" y="1673"/>
                  </a:lnTo>
                  <a:lnTo>
                    <a:pt x="1237" y="1673"/>
                  </a:lnTo>
                  <a:lnTo>
                    <a:pt x="1237" y="1673"/>
                  </a:lnTo>
                  <a:lnTo>
                    <a:pt x="1237" y="1674"/>
                  </a:lnTo>
                  <a:lnTo>
                    <a:pt x="1237" y="1674"/>
                  </a:lnTo>
                  <a:lnTo>
                    <a:pt x="1235" y="1677"/>
                  </a:lnTo>
                  <a:lnTo>
                    <a:pt x="1235" y="1677"/>
                  </a:lnTo>
                  <a:lnTo>
                    <a:pt x="1231" y="1687"/>
                  </a:lnTo>
                  <a:lnTo>
                    <a:pt x="1231" y="1687"/>
                  </a:lnTo>
                  <a:lnTo>
                    <a:pt x="1225" y="1693"/>
                  </a:lnTo>
                  <a:lnTo>
                    <a:pt x="1225" y="1693"/>
                  </a:lnTo>
                  <a:lnTo>
                    <a:pt x="1222" y="1698"/>
                  </a:lnTo>
                  <a:lnTo>
                    <a:pt x="1222" y="1698"/>
                  </a:lnTo>
                  <a:lnTo>
                    <a:pt x="1218" y="1703"/>
                  </a:lnTo>
                  <a:lnTo>
                    <a:pt x="1218" y="1703"/>
                  </a:lnTo>
                  <a:lnTo>
                    <a:pt x="1217" y="1706"/>
                  </a:lnTo>
                  <a:lnTo>
                    <a:pt x="1217" y="1706"/>
                  </a:lnTo>
                  <a:lnTo>
                    <a:pt x="1217" y="1706"/>
                  </a:lnTo>
                  <a:lnTo>
                    <a:pt x="1217" y="1706"/>
                  </a:lnTo>
                  <a:lnTo>
                    <a:pt x="1217" y="1706"/>
                  </a:lnTo>
                  <a:lnTo>
                    <a:pt x="1217" y="1706"/>
                  </a:lnTo>
                  <a:lnTo>
                    <a:pt x="1217" y="1706"/>
                  </a:lnTo>
                  <a:lnTo>
                    <a:pt x="1217" y="1708"/>
                  </a:lnTo>
                  <a:lnTo>
                    <a:pt x="1217" y="1706"/>
                  </a:lnTo>
                  <a:lnTo>
                    <a:pt x="1217" y="1706"/>
                  </a:lnTo>
                  <a:lnTo>
                    <a:pt x="1217" y="1708"/>
                  </a:lnTo>
                  <a:lnTo>
                    <a:pt x="1217" y="1706"/>
                  </a:lnTo>
                  <a:lnTo>
                    <a:pt x="1217" y="1708"/>
                  </a:lnTo>
                  <a:lnTo>
                    <a:pt x="1218" y="1706"/>
                  </a:lnTo>
                  <a:lnTo>
                    <a:pt x="1217" y="1706"/>
                  </a:lnTo>
                  <a:lnTo>
                    <a:pt x="1217" y="1708"/>
                  </a:lnTo>
                  <a:lnTo>
                    <a:pt x="1218" y="1706"/>
                  </a:lnTo>
                  <a:lnTo>
                    <a:pt x="1218" y="1706"/>
                  </a:lnTo>
                  <a:lnTo>
                    <a:pt x="1218" y="1706"/>
                  </a:lnTo>
                  <a:lnTo>
                    <a:pt x="1218" y="1706"/>
                  </a:lnTo>
                  <a:lnTo>
                    <a:pt x="1218" y="1706"/>
                  </a:lnTo>
                  <a:lnTo>
                    <a:pt x="1218" y="1706"/>
                  </a:lnTo>
                  <a:lnTo>
                    <a:pt x="1218" y="1706"/>
                  </a:lnTo>
                  <a:lnTo>
                    <a:pt x="1217" y="1705"/>
                  </a:lnTo>
                  <a:lnTo>
                    <a:pt x="1217" y="1705"/>
                  </a:lnTo>
                  <a:lnTo>
                    <a:pt x="1215" y="1702"/>
                  </a:lnTo>
                  <a:lnTo>
                    <a:pt x="1215" y="1702"/>
                  </a:lnTo>
                  <a:lnTo>
                    <a:pt x="1215" y="1702"/>
                  </a:lnTo>
                  <a:lnTo>
                    <a:pt x="1212" y="1700"/>
                  </a:lnTo>
                  <a:lnTo>
                    <a:pt x="1212" y="1700"/>
                  </a:lnTo>
                  <a:lnTo>
                    <a:pt x="1211" y="1702"/>
                  </a:lnTo>
                  <a:lnTo>
                    <a:pt x="1211" y="1702"/>
                  </a:lnTo>
                  <a:lnTo>
                    <a:pt x="1209" y="1703"/>
                  </a:lnTo>
                  <a:lnTo>
                    <a:pt x="1209" y="1703"/>
                  </a:lnTo>
                  <a:lnTo>
                    <a:pt x="1209" y="1706"/>
                  </a:lnTo>
                  <a:lnTo>
                    <a:pt x="1209" y="1706"/>
                  </a:lnTo>
                  <a:lnTo>
                    <a:pt x="1206" y="1715"/>
                  </a:lnTo>
                  <a:lnTo>
                    <a:pt x="1205" y="1722"/>
                  </a:lnTo>
                  <a:lnTo>
                    <a:pt x="1205" y="1724"/>
                  </a:lnTo>
                  <a:lnTo>
                    <a:pt x="1205" y="1724"/>
                  </a:lnTo>
                  <a:lnTo>
                    <a:pt x="1205" y="1724"/>
                  </a:lnTo>
                  <a:lnTo>
                    <a:pt x="1206" y="1727"/>
                  </a:lnTo>
                  <a:lnTo>
                    <a:pt x="1206" y="1727"/>
                  </a:lnTo>
                  <a:lnTo>
                    <a:pt x="1206" y="1729"/>
                  </a:lnTo>
                  <a:lnTo>
                    <a:pt x="1206" y="1731"/>
                  </a:lnTo>
                  <a:lnTo>
                    <a:pt x="1206" y="1731"/>
                  </a:lnTo>
                  <a:lnTo>
                    <a:pt x="1206" y="1731"/>
                  </a:lnTo>
                  <a:lnTo>
                    <a:pt x="1206" y="1731"/>
                  </a:lnTo>
                  <a:lnTo>
                    <a:pt x="1205" y="1731"/>
                  </a:lnTo>
                  <a:lnTo>
                    <a:pt x="1205" y="1731"/>
                  </a:lnTo>
                  <a:lnTo>
                    <a:pt x="1195" y="1734"/>
                  </a:lnTo>
                  <a:lnTo>
                    <a:pt x="1195" y="1734"/>
                  </a:lnTo>
                  <a:lnTo>
                    <a:pt x="1191" y="1737"/>
                  </a:lnTo>
                  <a:lnTo>
                    <a:pt x="1191" y="1737"/>
                  </a:lnTo>
                  <a:lnTo>
                    <a:pt x="1188" y="1738"/>
                  </a:lnTo>
                  <a:lnTo>
                    <a:pt x="1188" y="1738"/>
                  </a:lnTo>
                  <a:lnTo>
                    <a:pt x="1185" y="1744"/>
                  </a:lnTo>
                  <a:lnTo>
                    <a:pt x="1185" y="1744"/>
                  </a:lnTo>
                  <a:lnTo>
                    <a:pt x="1183" y="1747"/>
                  </a:lnTo>
                  <a:lnTo>
                    <a:pt x="1180" y="1747"/>
                  </a:lnTo>
                  <a:lnTo>
                    <a:pt x="1180" y="1747"/>
                  </a:lnTo>
                  <a:lnTo>
                    <a:pt x="1176" y="1748"/>
                  </a:lnTo>
                  <a:lnTo>
                    <a:pt x="1173" y="1751"/>
                  </a:lnTo>
                  <a:lnTo>
                    <a:pt x="1173" y="1751"/>
                  </a:lnTo>
                  <a:lnTo>
                    <a:pt x="1172" y="1754"/>
                  </a:lnTo>
                  <a:lnTo>
                    <a:pt x="1170" y="1758"/>
                  </a:lnTo>
                  <a:lnTo>
                    <a:pt x="1170" y="1758"/>
                  </a:lnTo>
                  <a:lnTo>
                    <a:pt x="1169" y="1760"/>
                  </a:lnTo>
                  <a:lnTo>
                    <a:pt x="1169" y="1760"/>
                  </a:lnTo>
                  <a:lnTo>
                    <a:pt x="1162" y="1761"/>
                  </a:lnTo>
                  <a:lnTo>
                    <a:pt x="1162" y="1761"/>
                  </a:lnTo>
                  <a:lnTo>
                    <a:pt x="1154" y="1763"/>
                  </a:lnTo>
                  <a:lnTo>
                    <a:pt x="1154" y="1763"/>
                  </a:lnTo>
                  <a:lnTo>
                    <a:pt x="1147" y="1764"/>
                  </a:lnTo>
                  <a:lnTo>
                    <a:pt x="1147" y="1764"/>
                  </a:lnTo>
                  <a:lnTo>
                    <a:pt x="1133" y="1769"/>
                  </a:lnTo>
                  <a:lnTo>
                    <a:pt x="1133" y="1769"/>
                  </a:lnTo>
                  <a:lnTo>
                    <a:pt x="1127" y="1771"/>
                  </a:lnTo>
                  <a:lnTo>
                    <a:pt x="1127" y="1771"/>
                  </a:lnTo>
                  <a:lnTo>
                    <a:pt x="1122" y="1774"/>
                  </a:lnTo>
                  <a:lnTo>
                    <a:pt x="1122" y="1774"/>
                  </a:lnTo>
                  <a:lnTo>
                    <a:pt x="1120" y="1779"/>
                  </a:lnTo>
                  <a:lnTo>
                    <a:pt x="1120" y="1779"/>
                  </a:lnTo>
                  <a:lnTo>
                    <a:pt x="1117" y="1786"/>
                  </a:lnTo>
                  <a:lnTo>
                    <a:pt x="1117" y="1786"/>
                  </a:lnTo>
                  <a:lnTo>
                    <a:pt x="1117" y="1787"/>
                  </a:lnTo>
                  <a:lnTo>
                    <a:pt x="1115" y="1789"/>
                  </a:lnTo>
                  <a:lnTo>
                    <a:pt x="1115" y="1789"/>
                  </a:lnTo>
                  <a:lnTo>
                    <a:pt x="1117" y="1789"/>
                  </a:lnTo>
                  <a:lnTo>
                    <a:pt x="1115" y="1789"/>
                  </a:lnTo>
                  <a:lnTo>
                    <a:pt x="1115" y="1789"/>
                  </a:lnTo>
                  <a:lnTo>
                    <a:pt x="1117" y="1789"/>
                  </a:lnTo>
                  <a:lnTo>
                    <a:pt x="1115" y="1789"/>
                  </a:lnTo>
                  <a:lnTo>
                    <a:pt x="1115" y="1789"/>
                  </a:lnTo>
                  <a:lnTo>
                    <a:pt x="1114" y="1789"/>
                  </a:lnTo>
                  <a:lnTo>
                    <a:pt x="1114" y="1789"/>
                  </a:lnTo>
                  <a:lnTo>
                    <a:pt x="1096" y="1795"/>
                  </a:lnTo>
                  <a:lnTo>
                    <a:pt x="1096" y="1795"/>
                  </a:lnTo>
                  <a:lnTo>
                    <a:pt x="1086" y="1797"/>
                  </a:lnTo>
                  <a:lnTo>
                    <a:pt x="1086" y="1797"/>
                  </a:lnTo>
                  <a:lnTo>
                    <a:pt x="1079" y="1802"/>
                  </a:lnTo>
                  <a:lnTo>
                    <a:pt x="1079" y="1802"/>
                  </a:lnTo>
                  <a:lnTo>
                    <a:pt x="1070" y="1808"/>
                  </a:lnTo>
                  <a:lnTo>
                    <a:pt x="1057" y="1813"/>
                  </a:lnTo>
                  <a:lnTo>
                    <a:pt x="1057" y="1813"/>
                  </a:lnTo>
                  <a:lnTo>
                    <a:pt x="1046" y="1819"/>
                  </a:lnTo>
                  <a:lnTo>
                    <a:pt x="1046" y="1819"/>
                  </a:lnTo>
                  <a:lnTo>
                    <a:pt x="1036" y="1821"/>
                  </a:lnTo>
                  <a:lnTo>
                    <a:pt x="1036" y="1821"/>
                  </a:lnTo>
                  <a:lnTo>
                    <a:pt x="1018" y="1822"/>
                  </a:lnTo>
                  <a:lnTo>
                    <a:pt x="1018" y="1822"/>
                  </a:lnTo>
                  <a:lnTo>
                    <a:pt x="1011" y="1824"/>
                  </a:lnTo>
                  <a:lnTo>
                    <a:pt x="1011" y="1824"/>
                  </a:lnTo>
                  <a:lnTo>
                    <a:pt x="1005" y="1825"/>
                  </a:lnTo>
                  <a:lnTo>
                    <a:pt x="1005" y="1825"/>
                  </a:lnTo>
                  <a:lnTo>
                    <a:pt x="1002" y="1828"/>
                  </a:lnTo>
                  <a:lnTo>
                    <a:pt x="1002" y="1828"/>
                  </a:lnTo>
                  <a:lnTo>
                    <a:pt x="994" y="1831"/>
                  </a:lnTo>
                  <a:lnTo>
                    <a:pt x="994" y="1831"/>
                  </a:lnTo>
                  <a:lnTo>
                    <a:pt x="986" y="1832"/>
                  </a:lnTo>
                  <a:lnTo>
                    <a:pt x="986" y="1832"/>
                  </a:lnTo>
                  <a:lnTo>
                    <a:pt x="986" y="1832"/>
                  </a:lnTo>
                  <a:lnTo>
                    <a:pt x="983" y="1832"/>
                  </a:lnTo>
                  <a:lnTo>
                    <a:pt x="982" y="1829"/>
                  </a:lnTo>
                  <a:lnTo>
                    <a:pt x="982" y="1829"/>
                  </a:lnTo>
                  <a:lnTo>
                    <a:pt x="979" y="1826"/>
                  </a:lnTo>
                  <a:lnTo>
                    <a:pt x="979" y="1824"/>
                  </a:lnTo>
                  <a:lnTo>
                    <a:pt x="979" y="1824"/>
                  </a:lnTo>
                  <a:lnTo>
                    <a:pt x="978" y="1813"/>
                  </a:lnTo>
                  <a:lnTo>
                    <a:pt x="978" y="1813"/>
                  </a:lnTo>
                  <a:lnTo>
                    <a:pt x="970" y="1796"/>
                  </a:lnTo>
                  <a:lnTo>
                    <a:pt x="970" y="1796"/>
                  </a:lnTo>
                  <a:lnTo>
                    <a:pt x="969" y="1789"/>
                  </a:lnTo>
                  <a:lnTo>
                    <a:pt x="969" y="1789"/>
                  </a:lnTo>
                  <a:lnTo>
                    <a:pt x="967" y="1783"/>
                  </a:lnTo>
                  <a:lnTo>
                    <a:pt x="967" y="1783"/>
                  </a:lnTo>
                  <a:lnTo>
                    <a:pt x="967" y="1782"/>
                  </a:lnTo>
                  <a:lnTo>
                    <a:pt x="967" y="1782"/>
                  </a:lnTo>
                  <a:lnTo>
                    <a:pt x="967" y="1779"/>
                  </a:lnTo>
                  <a:lnTo>
                    <a:pt x="967" y="1779"/>
                  </a:lnTo>
                  <a:lnTo>
                    <a:pt x="967" y="1776"/>
                  </a:lnTo>
                  <a:lnTo>
                    <a:pt x="967" y="1776"/>
                  </a:lnTo>
                  <a:lnTo>
                    <a:pt x="967" y="1773"/>
                  </a:lnTo>
                  <a:lnTo>
                    <a:pt x="966" y="1769"/>
                  </a:lnTo>
                  <a:lnTo>
                    <a:pt x="966" y="1769"/>
                  </a:lnTo>
                  <a:lnTo>
                    <a:pt x="949" y="1738"/>
                  </a:lnTo>
                  <a:lnTo>
                    <a:pt x="949" y="1738"/>
                  </a:lnTo>
                  <a:lnTo>
                    <a:pt x="941" y="1727"/>
                  </a:lnTo>
                  <a:lnTo>
                    <a:pt x="941" y="1727"/>
                  </a:lnTo>
                  <a:lnTo>
                    <a:pt x="934" y="1718"/>
                  </a:lnTo>
                  <a:lnTo>
                    <a:pt x="934" y="1718"/>
                  </a:lnTo>
                  <a:lnTo>
                    <a:pt x="927" y="1713"/>
                  </a:lnTo>
                  <a:lnTo>
                    <a:pt x="927" y="1713"/>
                  </a:lnTo>
                  <a:lnTo>
                    <a:pt x="923" y="1711"/>
                  </a:lnTo>
                  <a:lnTo>
                    <a:pt x="921" y="1708"/>
                  </a:lnTo>
                  <a:lnTo>
                    <a:pt x="921" y="1708"/>
                  </a:lnTo>
                  <a:lnTo>
                    <a:pt x="914" y="1695"/>
                  </a:lnTo>
                  <a:lnTo>
                    <a:pt x="914" y="1695"/>
                  </a:lnTo>
                  <a:lnTo>
                    <a:pt x="912" y="1687"/>
                  </a:lnTo>
                  <a:lnTo>
                    <a:pt x="912" y="1687"/>
                  </a:lnTo>
                  <a:lnTo>
                    <a:pt x="911" y="1683"/>
                  </a:lnTo>
                  <a:lnTo>
                    <a:pt x="911" y="1683"/>
                  </a:lnTo>
                  <a:lnTo>
                    <a:pt x="910" y="1683"/>
                  </a:lnTo>
                  <a:lnTo>
                    <a:pt x="911" y="1683"/>
                  </a:lnTo>
                  <a:lnTo>
                    <a:pt x="911" y="1683"/>
                  </a:lnTo>
                  <a:lnTo>
                    <a:pt x="910" y="1683"/>
                  </a:lnTo>
                  <a:lnTo>
                    <a:pt x="911" y="1683"/>
                  </a:lnTo>
                  <a:lnTo>
                    <a:pt x="911" y="1683"/>
                  </a:lnTo>
                  <a:lnTo>
                    <a:pt x="912" y="1680"/>
                  </a:lnTo>
                  <a:lnTo>
                    <a:pt x="912" y="1680"/>
                  </a:lnTo>
                  <a:lnTo>
                    <a:pt x="914" y="1679"/>
                  </a:lnTo>
                  <a:lnTo>
                    <a:pt x="914" y="1679"/>
                  </a:lnTo>
                  <a:lnTo>
                    <a:pt x="914" y="1677"/>
                  </a:lnTo>
                  <a:lnTo>
                    <a:pt x="914" y="1677"/>
                  </a:lnTo>
                  <a:lnTo>
                    <a:pt x="914" y="1674"/>
                  </a:lnTo>
                  <a:lnTo>
                    <a:pt x="914" y="1674"/>
                  </a:lnTo>
                  <a:lnTo>
                    <a:pt x="910" y="1667"/>
                  </a:lnTo>
                  <a:lnTo>
                    <a:pt x="910" y="1667"/>
                  </a:lnTo>
                  <a:lnTo>
                    <a:pt x="899" y="1651"/>
                  </a:lnTo>
                  <a:lnTo>
                    <a:pt x="899" y="1651"/>
                  </a:lnTo>
                  <a:lnTo>
                    <a:pt x="894" y="1644"/>
                  </a:lnTo>
                  <a:lnTo>
                    <a:pt x="894" y="1644"/>
                  </a:lnTo>
                  <a:lnTo>
                    <a:pt x="892" y="1641"/>
                  </a:lnTo>
                  <a:lnTo>
                    <a:pt x="892" y="1641"/>
                  </a:lnTo>
                  <a:lnTo>
                    <a:pt x="889" y="1640"/>
                  </a:lnTo>
                  <a:lnTo>
                    <a:pt x="889" y="1640"/>
                  </a:lnTo>
                  <a:lnTo>
                    <a:pt x="882" y="1635"/>
                  </a:lnTo>
                  <a:lnTo>
                    <a:pt x="882" y="1635"/>
                  </a:lnTo>
                  <a:lnTo>
                    <a:pt x="879" y="1632"/>
                  </a:lnTo>
                  <a:lnTo>
                    <a:pt x="879" y="1632"/>
                  </a:lnTo>
                  <a:lnTo>
                    <a:pt x="879" y="1631"/>
                  </a:lnTo>
                  <a:lnTo>
                    <a:pt x="879" y="1631"/>
                  </a:lnTo>
                  <a:lnTo>
                    <a:pt x="881" y="1628"/>
                  </a:lnTo>
                  <a:lnTo>
                    <a:pt x="881" y="1628"/>
                  </a:lnTo>
                  <a:lnTo>
                    <a:pt x="882" y="1627"/>
                  </a:lnTo>
                  <a:lnTo>
                    <a:pt x="882" y="1627"/>
                  </a:lnTo>
                  <a:lnTo>
                    <a:pt x="882" y="1625"/>
                  </a:lnTo>
                  <a:lnTo>
                    <a:pt x="882" y="1625"/>
                  </a:lnTo>
                  <a:lnTo>
                    <a:pt x="882" y="1624"/>
                  </a:lnTo>
                  <a:lnTo>
                    <a:pt x="882" y="1624"/>
                  </a:lnTo>
                  <a:lnTo>
                    <a:pt x="882" y="1622"/>
                  </a:lnTo>
                  <a:lnTo>
                    <a:pt x="882" y="1622"/>
                  </a:lnTo>
                  <a:lnTo>
                    <a:pt x="881" y="1621"/>
                  </a:lnTo>
                  <a:lnTo>
                    <a:pt x="881" y="1621"/>
                  </a:lnTo>
                  <a:lnTo>
                    <a:pt x="872" y="1614"/>
                  </a:lnTo>
                  <a:lnTo>
                    <a:pt x="868" y="1608"/>
                  </a:lnTo>
                  <a:lnTo>
                    <a:pt x="863" y="1602"/>
                  </a:lnTo>
                  <a:lnTo>
                    <a:pt x="863" y="1602"/>
                  </a:lnTo>
                  <a:lnTo>
                    <a:pt x="854" y="1585"/>
                  </a:lnTo>
                  <a:lnTo>
                    <a:pt x="854" y="1585"/>
                  </a:lnTo>
                  <a:lnTo>
                    <a:pt x="849" y="1576"/>
                  </a:lnTo>
                  <a:lnTo>
                    <a:pt x="849" y="1576"/>
                  </a:lnTo>
                  <a:lnTo>
                    <a:pt x="844" y="1573"/>
                  </a:lnTo>
                  <a:lnTo>
                    <a:pt x="841" y="1572"/>
                  </a:lnTo>
                  <a:lnTo>
                    <a:pt x="840" y="1572"/>
                  </a:lnTo>
                  <a:lnTo>
                    <a:pt x="840" y="1572"/>
                  </a:lnTo>
                  <a:lnTo>
                    <a:pt x="836" y="1572"/>
                  </a:lnTo>
                  <a:lnTo>
                    <a:pt x="833" y="1574"/>
                  </a:lnTo>
                  <a:lnTo>
                    <a:pt x="833" y="1574"/>
                  </a:lnTo>
                  <a:lnTo>
                    <a:pt x="831" y="1574"/>
                  </a:lnTo>
                  <a:lnTo>
                    <a:pt x="831" y="1574"/>
                  </a:lnTo>
                  <a:lnTo>
                    <a:pt x="831" y="1576"/>
                  </a:lnTo>
                  <a:lnTo>
                    <a:pt x="830" y="1574"/>
                  </a:lnTo>
                  <a:lnTo>
                    <a:pt x="830" y="1574"/>
                  </a:lnTo>
                  <a:lnTo>
                    <a:pt x="827" y="1573"/>
                  </a:lnTo>
                  <a:lnTo>
                    <a:pt x="827" y="1573"/>
                  </a:lnTo>
                  <a:lnTo>
                    <a:pt x="818" y="1564"/>
                  </a:lnTo>
                  <a:lnTo>
                    <a:pt x="818" y="1564"/>
                  </a:lnTo>
                  <a:lnTo>
                    <a:pt x="814" y="1561"/>
                  </a:lnTo>
                  <a:lnTo>
                    <a:pt x="814" y="1561"/>
                  </a:lnTo>
                  <a:lnTo>
                    <a:pt x="812" y="1561"/>
                  </a:lnTo>
                  <a:lnTo>
                    <a:pt x="812" y="1560"/>
                  </a:lnTo>
                  <a:lnTo>
                    <a:pt x="812" y="1560"/>
                  </a:lnTo>
                  <a:lnTo>
                    <a:pt x="811" y="1560"/>
                  </a:lnTo>
                  <a:lnTo>
                    <a:pt x="811" y="1560"/>
                  </a:lnTo>
                  <a:lnTo>
                    <a:pt x="808" y="1561"/>
                  </a:lnTo>
                  <a:lnTo>
                    <a:pt x="808" y="1561"/>
                  </a:lnTo>
                  <a:lnTo>
                    <a:pt x="808" y="1563"/>
                  </a:lnTo>
                  <a:lnTo>
                    <a:pt x="808" y="1563"/>
                  </a:lnTo>
                  <a:lnTo>
                    <a:pt x="808" y="1564"/>
                  </a:lnTo>
                  <a:lnTo>
                    <a:pt x="808" y="1564"/>
                  </a:lnTo>
                  <a:lnTo>
                    <a:pt x="808" y="1564"/>
                  </a:lnTo>
                  <a:lnTo>
                    <a:pt x="811" y="1569"/>
                  </a:lnTo>
                  <a:lnTo>
                    <a:pt x="815" y="1572"/>
                  </a:lnTo>
                  <a:lnTo>
                    <a:pt x="815" y="1572"/>
                  </a:lnTo>
                  <a:lnTo>
                    <a:pt x="818" y="1576"/>
                  </a:lnTo>
                  <a:lnTo>
                    <a:pt x="818" y="1576"/>
                  </a:lnTo>
                  <a:lnTo>
                    <a:pt x="818" y="1577"/>
                  </a:lnTo>
                  <a:lnTo>
                    <a:pt x="818" y="1577"/>
                  </a:lnTo>
                  <a:lnTo>
                    <a:pt x="818" y="1577"/>
                  </a:lnTo>
                  <a:lnTo>
                    <a:pt x="818" y="1579"/>
                  </a:lnTo>
                  <a:lnTo>
                    <a:pt x="818" y="1579"/>
                  </a:lnTo>
                  <a:lnTo>
                    <a:pt x="818" y="1582"/>
                  </a:lnTo>
                  <a:lnTo>
                    <a:pt x="818" y="1582"/>
                  </a:lnTo>
                  <a:lnTo>
                    <a:pt x="818" y="1586"/>
                  </a:lnTo>
                  <a:lnTo>
                    <a:pt x="823" y="1592"/>
                  </a:lnTo>
                  <a:lnTo>
                    <a:pt x="823" y="1592"/>
                  </a:lnTo>
                  <a:lnTo>
                    <a:pt x="828" y="1603"/>
                  </a:lnTo>
                  <a:lnTo>
                    <a:pt x="828" y="1603"/>
                  </a:lnTo>
                  <a:lnTo>
                    <a:pt x="850" y="1648"/>
                  </a:lnTo>
                  <a:lnTo>
                    <a:pt x="850" y="1648"/>
                  </a:lnTo>
                  <a:lnTo>
                    <a:pt x="850" y="1648"/>
                  </a:lnTo>
                  <a:lnTo>
                    <a:pt x="849" y="1651"/>
                  </a:lnTo>
                  <a:lnTo>
                    <a:pt x="849" y="1651"/>
                  </a:lnTo>
                  <a:lnTo>
                    <a:pt x="847" y="1657"/>
                  </a:lnTo>
                  <a:lnTo>
                    <a:pt x="847" y="1657"/>
                  </a:lnTo>
                  <a:lnTo>
                    <a:pt x="849" y="1658"/>
                  </a:lnTo>
                  <a:lnTo>
                    <a:pt x="849" y="1658"/>
                  </a:lnTo>
                  <a:lnTo>
                    <a:pt x="854" y="1667"/>
                  </a:lnTo>
                  <a:lnTo>
                    <a:pt x="854" y="1667"/>
                  </a:lnTo>
                  <a:lnTo>
                    <a:pt x="859" y="1671"/>
                  </a:lnTo>
                  <a:lnTo>
                    <a:pt x="866" y="1676"/>
                  </a:lnTo>
                  <a:lnTo>
                    <a:pt x="866" y="1676"/>
                  </a:lnTo>
                  <a:lnTo>
                    <a:pt x="870" y="1679"/>
                  </a:lnTo>
                  <a:lnTo>
                    <a:pt x="870" y="1679"/>
                  </a:lnTo>
                  <a:lnTo>
                    <a:pt x="870" y="1679"/>
                  </a:lnTo>
                  <a:lnTo>
                    <a:pt x="870" y="1679"/>
                  </a:lnTo>
                  <a:lnTo>
                    <a:pt x="870" y="1682"/>
                  </a:lnTo>
                  <a:lnTo>
                    <a:pt x="870" y="1682"/>
                  </a:lnTo>
                  <a:lnTo>
                    <a:pt x="870" y="1685"/>
                  </a:lnTo>
                  <a:lnTo>
                    <a:pt x="870" y="1685"/>
                  </a:lnTo>
                  <a:lnTo>
                    <a:pt x="872" y="1698"/>
                  </a:lnTo>
                  <a:lnTo>
                    <a:pt x="875" y="1712"/>
                  </a:lnTo>
                  <a:lnTo>
                    <a:pt x="875" y="1712"/>
                  </a:lnTo>
                  <a:lnTo>
                    <a:pt x="876" y="1721"/>
                  </a:lnTo>
                  <a:lnTo>
                    <a:pt x="881" y="1729"/>
                  </a:lnTo>
                  <a:lnTo>
                    <a:pt x="881" y="1729"/>
                  </a:lnTo>
                  <a:lnTo>
                    <a:pt x="886" y="1737"/>
                  </a:lnTo>
                  <a:lnTo>
                    <a:pt x="886" y="1737"/>
                  </a:lnTo>
                  <a:lnTo>
                    <a:pt x="891" y="1741"/>
                  </a:lnTo>
                  <a:lnTo>
                    <a:pt x="891" y="1741"/>
                  </a:lnTo>
                  <a:lnTo>
                    <a:pt x="894" y="1744"/>
                  </a:lnTo>
                  <a:lnTo>
                    <a:pt x="894" y="1744"/>
                  </a:lnTo>
                  <a:lnTo>
                    <a:pt x="902" y="1754"/>
                  </a:lnTo>
                  <a:lnTo>
                    <a:pt x="907" y="1763"/>
                  </a:lnTo>
                  <a:lnTo>
                    <a:pt x="907" y="1763"/>
                  </a:lnTo>
                  <a:lnTo>
                    <a:pt x="912" y="1780"/>
                  </a:lnTo>
                  <a:lnTo>
                    <a:pt x="912" y="1780"/>
                  </a:lnTo>
                  <a:lnTo>
                    <a:pt x="915" y="1787"/>
                  </a:lnTo>
                  <a:lnTo>
                    <a:pt x="915" y="1787"/>
                  </a:lnTo>
                  <a:lnTo>
                    <a:pt x="918" y="1790"/>
                  </a:lnTo>
                  <a:lnTo>
                    <a:pt x="918" y="1790"/>
                  </a:lnTo>
                  <a:lnTo>
                    <a:pt x="921" y="1793"/>
                  </a:lnTo>
                  <a:lnTo>
                    <a:pt x="921" y="1793"/>
                  </a:lnTo>
                  <a:lnTo>
                    <a:pt x="925" y="1796"/>
                  </a:lnTo>
                  <a:lnTo>
                    <a:pt x="925" y="1796"/>
                  </a:lnTo>
                  <a:lnTo>
                    <a:pt x="934" y="1802"/>
                  </a:lnTo>
                  <a:lnTo>
                    <a:pt x="934" y="1802"/>
                  </a:lnTo>
                  <a:lnTo>
                    <a:pt x="939" y="1805"/>
                  </a:lnTo>
                  <a:lnTo>
                    <a:pt x="939" y="1805"/>
                  </a:lnTo>
                  <a:lnTo>
                    <a:pt x="943" y="1808"/>
                  </a:lnTo>
                  <a:lnTo>
                    <a:pt x="943" y="1808"/>
                  </a:lnTo>
                  <a:lnTo>
                    <a:pt x="943" y="1808"/>
                  </a:lnTo>
                  <a:lnTo>
                    <a:pt x="943" y="1808"/>
                  </a:lnTo>
                  <a:lnTo>
                    <a:pt x="946" y="1812"/>
                  </a:lnTo>
                  <a:lnTo>
                    <a:pt x="946" y="1812"/>
                  </a:lnTo>
                  <a:lnTo>
                    <a:pt x="952" y="1819"/>
                  </a:lnTo>
                  <a:lnTo>
                    <a:pt x="952" y="1819"/>
                  </a:lnTo>
                  <a:lnTo>
                    <a:pt x="967" y="1829"/>
                  </a:lnTo>
                  <a:lnTo>
                    <a:pt x="967" y="1829"/>
                  </a:lnTo>
                  <a:lnTo>
                    <a:pt x="970" y="1834"/>
                  </a:lnTo>
                  <a:lnTo>
                    <a:pt x="973" y="1839"/>
                  </a:lnTo>
                  <a:lnTo>
                    <a:pt x="973" y="1839"/>
                  </a:lnTo>
                  <a:lnTo>
                    <a:pt x="975" y="1845"/>
                  </a:lnTo>
                  <a:lnTo>
                    <a:pt x="975" y="1845"/>
                  </a:lnTo>
                  <a:lnTo>
                    <a:pt x="976" y="1850"/>
                  </a:lnTo>
                  <a:lnTo>
                    <a:pt x="976" y="1850"/>
                  </a:lnTo>
                  <a:lnTo>
                    <a:pt x="976" y="1850"/>
                  </a:lnTo>
                  <a:lnTo>
                    <a:pt x="976" y="1850"/>
                  </a:lnTo>
                  <a:lnTo>
                    <a:pt x="976" y="1850"/>
                  </a:lnTo>
                  <a:lnTo>
                    <a:pt x="976" y="1850"/>
                  </a:lnTo>
                  <a:lnTo>
                    <a:pt x="976" y="1850"/>
                  </a:lnTo>
                  <a:lnTo>
                    <a:pt x="978" y="1850"/>
                  </a:lnTo>
                  <a:lnTo>
                    <a:pt x="976" y="1848"/>
                  </a:lnTo>
                  <a:lnTo>
                    <a:pt x="976" y="1850"/>
                  </a:lnTo>
                  <a:lnTo>
                    <a:pt x="978" y="1850"/>
                  </a:lnTo>
                  <a:lnTo>
                    <a:pt x="976" y="1848"/>
                  </a:lnTo>
                  <a:lnTo>
                    <a:pt x="976" y="1848"/>
                  </a:lnTo>
                  <a:lnTo>
                    <a:pt x="975" y="1851"/>
                  </a:lnTo>
                  <a:lnTo>
                    <a:pt x="975" y="1851"/>
                  </a:lnTo>
                  <a:lnTo>
                    <a:pt x="976" y="1853"/>
                  </a:lnTo>
                  <a:lnTo>
                    <a:pt x="976" y="1853"/>
                  </a:lnTo>
                  <a:lnTo>
                    <a:pt x="978" y="1854"/>
                  </a:lnTo>
                  <a:lnTo>
                    <a:pt x="978" y="1854"/>
                  </a:lnTo>
                  <a:lnTo>
                    <a:pt x="979" y="1855"/>
                  </a:lnTo>
                  <a:lnTo>
                    <a:pt x="981" y="1858"/>
                  </a:lnTo>
                  <a:lnTo>
                    <a:pt x="981" y="1858"/>
                  </a:lnTo>
                  <a:lnTo>
                    <a:pt x="986" y="1870"/>
                  </a:lnTo>
                  <a:lnTo>
                    <a:pt x="986" y="1870"/>
                  </a:lnTo>
                  <a:lnTo>
                    <a:pt x="991" y="1876"/>
                  </a:lnTo>
                  <a:lnTo>
                    <a:pt x="991" y="1876"/>
                  </a:lnTo>
                  <a:lnTo>
                    <a:pt x="994" y="1877"/>
                  </a:lnTo>
                  <a:lnTo>
                    <a:pt x="994" y="1877"/>
                  </a:lnTo>
                  <a:lnTo>
                    <a:pt x="996" y="1879"/>
                  </a:lnTo>
                  <a:lnTo>
                    <a:pt x="998" y="1879"/>
                  </a:lnTo>
                  <a:lnTo>
                    <a:pt x="998" y="1879"/>
                  </a:lnTo>
                  <a:lnTo>
                    <a:pt x="1002" y="1876"/>
                  </a:lnTo>
                  <a:lnTo>
                    <a:pt x="1002" y="1876"/>
                  </a:lnTo>
                  <a:lnTo>
                    <a:pt x="1012" y="1871"/>
                  </a:lnTo>
                  <a:lnTo>
                    <a:pt x="1012" y="1871"/>
                  </a:lnTo>
                  <a:lnTo>
                    <a:pt x="1023" y="1870"/>
                  </a:lnTo>
                  <a:lnTo>
                    <a:pt x="1023" y="1870"/>
                  </a:lnTo>
                  <a:lnTo>
                    <a:pt x="1023" y="1870"/>
                  </a:lnTo>
                  <a:lnTo>
                    <a:pt x="1025" y="1870"/>
                  </a:lnTo>
                  <a:lnTo>
                    <a:pt x="1027" y="1871"/>
                  </a:lnTo>
                  <a:lnTo>
                    <a:pt x="1027" y="1871"/>
                  </a:lnTo>
                  <a:lnTo>
                    <a:pt x="1028" y="1873"/>
                  </a:lnTo>
                  <a:lnTo>
                    <a:pt x="1028" y="1873"/>
                  </a:lnTo>
                  <a:lnTo>
                    <a:pt x="1031" y="1874"/>
                  </a:lnTo>
                  <a:lnTo>
                    <a:pt x="1031" y="1874"/>
                  </a:lnTo>
                  <a:lnTo>
                    <a:pt x="1036" y="1873"/>
                  </a:lnTo>
                  <a:lnTo>
                    <a:pt x="1036" y="1873"/>
                  </a:lnTo>
                  <a:lnTo>
                    <a:pt x="1041" y="1868"/>
                  </a:lnTo>
                  <a:lnTo>
                    <a:pt x="1041" y="1868"/>
                  </a:lnTo>
                  <a:lnTo>
                    <a:pt x="1047" y="1866"/>
                  </a:lnTo>
                  <a:lnTo>
                    <a:pt x="1047" y="1866"/>
                  </a:lnTo>
                  <a:lnTo>
                    <a:pt x="1054" y="1866"/>
                  </a:lnTo>
                  <a:lnTo>
                    <a:pt x="1054" y="1866"/>
                  </a:lnTo>
                  <a:lnTo>
                    <a:pt x="1065" y="1866"/>
                  </a:lnTo>
                  <a:lnTo>
                    <a:pt x="1065" y="1866"/>
                  </a:lnTo>
                  <a:lnTo>
                    <a:pt x="1070" y="1864"/>
                  </a:lnTo>
                  <a:lnTo>
                    <a:pt x="1076" y="1863"/>
                  </a:lnTo>
                  <a:lnTo>
                    <a:pt x="1076" y="1863"/>
                  </a:lnTo>
                  <a:lnTo>
                    <a:pt x="1088" y="1857"/>
                  </a:lnTo>
                  <a:lnTo>
                    <a:pt x="1088" y="1857"/>
                  </a:lnTo>
                  <a:lnTo>
                    <a:pt x="1099" y="1851"/>
                  </a:lnTo>
                  <a:lnTo>
                    <a:pt x="1099" y="1851"/>
                  </a:lnTo>
                  <a:lnTo>
                    <a:pt x="1101" y="1851"/>
                  </a:lnTo>
                  <a:lnTo>
                    <a:pt x="1101" y="1851"/>
                  </a:lnTo>
                  <a:lnTo>
                    <a:pt x="1101" y="1851"/>
                  </a:lnTo>
                  <a:lnTo>
                    <a:pt x="1101" y="1851"/>
                  </a:lnTo>
                  <a:lnTo>
                    <a:pt x="1101" y="1851"/>
                  </a:lnTo>
                  <a:lnTo>
                    <a:pt x="1101" y="1851"/>
                  </a:lnTo>
                  <a:lnTo>
                    <a:pt x="1101" y="1851"/>
                  </a:lnTo>
                  <a:lnTo>
                    <a:pt x="1101" y="1851"/>
                  </a:lnTo>
                  <a:lnTo>
                    <a:pt x="1101" y="1850"/>
                  </a:lnTo>
                  <a:lnTo>
                    <a:pt x="1099" y="1851"/>
                  </a:lnTo>
                  <a:lnTo>
                    <a:pt x="1101" y="1851"/>
                  </a:lnTo>
                  <a:lnTo>
                    <a:pt x="1101" y="1850"/>
                  </a:lnTo>
                  <a:lnTo>
                    <a:pt x="1099" y="1851"/>
                  </a:lnTo>
                  <a:lnTo>
                    <a:pt x="1099" y="1850"/>
                  </a:lnTo>
                  <a:lnTo>
                    <a:pt x="1099" y="1851"/>
                  </a:lnTo>
                  <a:lnTo>
                    <a:pt x="1099" y="1851"/>
                  </a:lnTo>
                  <a:lnTo>
                    <a:pt x="1099" y="1850"/>
                  </a:lnTo>
                  <a:lnTo>
                    <a:pt x="1099" y="1851"/>
                  </a:lnTo>
                  <a:lnTo>
                    <a:pt x="1099" y="1851"/>
                  </a:lnTo>
                  <a:lnTo>
                    <a:pt x="1099" y="1853"/>
                  </a:lnTo>
                  <a:lnTo>
                    <a:pt x="1099" y="1853"/>
                  </a:lnTo>
                  <a:lnTo>
                    <a:pt x="1099" y="1857"/>
                  </a:lnTo>
                  <a:lnTo>
                    <a:pt x="1099" y="1857"/>
                  </a:lnTo>
                  <a:lnTo>
                    <a:pt x="1098" y="1877"/>
                  </a:lnTo>
                  <a:lnTo>
                    <a:pt x="1098" y="1877"/>
                  </a:lnTo>
                  <a:lnTo>
                    <a:pt x="1096" y="1887"/>
                  </a:lnTo>
                  <a:lnTo>
                    <a:pt x="1096" y="1887"/>
                  </a:lnTo>
                  <a:lnTo>
                    <a:pt x="1093" y="1895"/>
                  </a:lnTo>
                  <a:lnTo>
                    <a:pt x="1093" y="1895"/>
                  </a:lnTo>
                  <a:lnTo>
                    <a:pt x="1082" y="1913"/>
                  </a:lnTo>
                  <a:lnTo>
                    <a:pt x="1082" y="1913"/>
                  </a:lnTo>
                  <a:lnTo>
                    <a:pt x="1070" y="1935"/>
                  </a:lnTo>
                  <a:lnTo>
                    <a:pt x="1070" y="1935"/>
                  </a:lnTo>
                  <a:lnTo>
                    <a:pt x="1056" y="1961"/>
                  </a:lnTo>
                  <a:lnTo>
                    <a:pt x="1056" y="1961"/>
                  </a:lnTo>
                  <a:lnTo>
                    <a:pt x="1046" y="1976"/>
                  </a:lnTo>
                  <a:lnTo>
                    <a:pt x="1046" y="1976"/>
                  </a:lnTo>
                  <a:lnTo>
                    <a:pt x="1043" y="1981"/>
                  </a:lnTo>
                  <a:lnTo>
                    <a:pt x="1043" y="1981"/>
                  </a:lnTo>
                  <a:lnTo>
                    <a:pt x="1040" y="1983"/>
                  </a:lnTo>
                  <a:lnTo>
                    <a:pt x="1040" y="1983"/>
                  </a:lnTo>
                  <a:lnTo>
                    <a:pt x="1031" y="1989"/>
                  </a:lnTo>
                  <a:lnTo>
                    <a:pt x="1025" y="1994"/>
                  </a:lnTo>
                  <a:lnTo>
                    <a:pt x="1025" y="1994"/>
                  </a:lnTo>
                  <a:lnTo>
                    <a:pt x="1024" y="1997"/>
                  </a:lnTo>
                  <a:lnTo>
                    <a:pt x="1024" y="1997"/>
                  </a:lnTo>
                  <a:lnTo>
                    <a:pt x="1024" y="1999"/>
                  </a:lnTo>
                  <a:lnTo>
                    <a:pt x="1025" y="1999"/>
                  </a:lnTo>
                  <a:lnTo>
                    <a:pt x="1024" y="1997"/>
                  </a:lnTo>
                  <a:lnTo>
                    <a:pt x="1024" y="1999"/>
                  </a:lnTo>
                  <a:lnTo>
                    <a:pt x="1025" y="1999"/>
                  </a:lnTo>
                  <a:lnTo>
                    <a:pt x="1024" y="1997"/>
                  </a:lnTo>
                  <a:lnTo>
                    <a:pt x="1024" y="1997"/>
                  </a:lnTo>
                  <a:lnTo>
                    <a:pt x="1020" y="2000"/>
                  </a:lnTo>
                  <a:lnTo>
                    <a:pt x="1020" y="2000"/>
                  </a:lnTo>
                  <a:lnTo>
                    <a:pt x="1012" y="2005"/>
                  </a:lnTo>
                  <a:lnTo>
                    <a:pt x="1002" y="2012"/>
                  </a:lnTo>
                  <a:lnTo>
                    <a:pt x="992" y="2019"/>
                  </a:lnTo>
                  <a:lnTo>
                    <a:pt x="983" y="2029"/>
                  </a:lnTo>
                  <a:lnTo>
                    <a:pt x="983" y="2029"/>
                  </a:lnTo>
                  <a:lnTo>
                    <a:pt x="966" y="2052"/>
                  </a:lnTo>
                  <a:lnTo>
                    <a:pt x="966" y="2052"/>
                  </a:lnTo>
                  <a:lnTo>
                    <a:pt x="957" y="2064"/>
                  </a:lnTo>
                  <a:lnTo>
                    <a:pt x="957" y="2064"/>
                  </a:lnTo>
                  <a:lnTo>
                    <a:pt x="954" y="2068"/>
                  </a:lnTo>
                  <a:lnTo>
                    <a:pt x="953" y="2068"/>
                  </a:lnTo>
                  <a:lnTo>
                    <a:pt x="953" y="2070"/>
                  </a:lnTo>
                  <a:lnTo>
                    <a:pt x="953" y="2070"/>
                  </a:lnTo>
                  <a:lnTo>
                    <a:pt x="953" y="2070"/>
                  </a:lnTo>
                  <a:lnTo>
                    <a:pt x="946" y="2070"/>
                  </a:lnTo>
                  <a:lnTo>
                    <a:pt x="946" y="2070"/>
                  </a:lnTo>
                  <a:lnTo>
                    <a:pt x="941" y="2071"/>
                  </a:lnTo>
                  <a:lnTo>
                    <a:pt x="941" y="2071"/>
                  </a:lnTo>
                  <a:lnTo>
                    <a:pt x="939" y="2074"/>
                  </a:lnTo>
                  <a:lnTo>
                    <a:pt x="939" y="2074"/>
                  </a:lnTo>
                  <a:lnTo>
                    <a:pt x="936" y="2078"/>
                  </a:lnTo>
                  <a:lnTo>
                    <a:pt x="936" y="2078"/>
                  </a:lnTo>
                  <a:lnTo>
                    <a:pt x="921" y="2102"/>
                  </a:lnTo>
                  <a:lnTo>
                    <a:pt x="921" y="2102"/>
                  </a:lnTo>
                  <a:lnTo>
                    <a:pt x="915" y="2113"/>
                  </a:lnTo>
                  <a:lnTo>
                    <a:pt x="915" y="2113"/>
                  </a:lnTo>
                  <a:lnTo>
                    <a:pt x="912" y="2118"/>
                  </a:lnTo>
                  <a:lnTo>
                    <a:pt x="912" y="2118"/>
                  </a:lnTo>
                  <a:lnTo>
                    <a:pt x="912" y="2119"/>
                  </a:lnTo>
                  <a:lnTo>
                    <a:pt x="912" y="2119"/>
                  </a:lnTo>
                  <a:lnTo>
                    <a:pt x="912" y="2119"/>
                  </a:lnTo>
                  <a:lnTo>
                    <a:pt x="912" y="2120"/>
                  </a:lnTo>
                  <a:lnTo>
                    <a:pt x="912" y="2119"/>
                  </a:lnTo>
                  <a:lnTo>
                    <a:pt x="912" y="2119"/>
                  </a:lnTo>
                  <a:lnTo>
                    <a:pt x="912" y="2120"/>
                  </a:lnTo>
                  <a:lnTo>
                    <a:pt x="912" y="2119"/>
                  </a:lnTo>
                  <a:lnTo>
                    <a:pt x="912" y="2119"/>
                  </a:lnTo>
                  <a:lnTo>
                    <a:pt x="912" y="2119"/>
                  </a:lnTo>
                  <a:lnTo>
                    <a:pt x="911" y="2120"/>
                  </a:lnTo>
                  <a:lnTo>
                    <a:pt x="911" y="2120"/>
                  </a:lnTo>
                  <a:lnTo>
                    <a:pt x="910" y="2123"/>
                  </a:lnTo>
                  <a:lnTo>
                    <a:pt x="910" y="2123"/>
                  </a:lnTo>
                  <a:lnTo>
                    <a:pt x="910" y="2134"/>
                  </a:lnTo>
                  <a:lnTo>
                    <a:pt x="910" y="2134"/>
                  </a:lnTo>
                  <a:lnTo>
                    <a:pt x="911" y="2139"/>
                  </a:lnTo>
                  <a:lnTo>
                    <a:pt x="911" y="2139"/>
                  </a:lnTo>
                  <a:lnTo>
                    <a:pt x="914" y="2148"/>
                  </a:lnTo>
                  <a:lnTo>
                    <a:pt x="914" y="2148"/>
                  </a:lnTo>
                  <a:lnTo>
                    <a:pt x="915" y="2154"/>
                  </a:lnTo>
                  <a:lnTo>
                    <a:pt x="915" y="2154"/>
                  </a:lnTo>
                  <a:lnTo>
                    <a:pt x="915" y="2163"/>
                  </a:lnTo>
                  <a:lnTo>
                    <a:pt x="915" y="2163"/>
                  </a:lnTo>
                  <a:lnTo>
                    <a:pt x="915" y="2176"/>
                  </a:lnTo>
                  <a:lnTo>
                    <a:pt x="915" y="2176"/>
                  </a:lnTo>
                  <a:lnTo>
                    <a:pt x="915" y="2184"/>
                  </a:lnTo>
                  <a:lnTo>
                    <a:pt x="915" y="2184"/>
                  </a:lnTo>
                  <a:lnTo>
                    <a:pt x="915" y="2189"/>
                  </a:lnTo>
                  <a:lnTo>
                    <a:pt x="915" y="2189"/>
                  </a:lnTo>
                  <a:lnTo>
                    <a:pt x="917" y="2191"/>
                  </a:lnTo>
                  <a:lnTo>
                    <a:pt x="917" y="2191"/>
                  </a:lnTo>
                  <a:lnTo>
                    <a:pt x="924" y="2200"/>
                  </a:lnTo>
                  <a:lnTo>
                    <a:pt x="924" y="2200"/>
                  </a:lnTo>
                  <a:lnTo>
                    <a:pt x="931" y="2210"/>
                  </a:lnTo>
                  <a:lnTo>
                    <a:pt x="931" y="2210"/>
                  </a:lnTo>
                  <a:lnTo>
                    <a:pt x="933" y="2213"/>
                  </a:lnTo>
                  <a:lnTo>
                    <a:pt x="933" y="2220"/>
                  </a:lnTo>
                  <a:lnTo>
                    <a:pt x="933" y="2220"/>
                  </a:lnTo>
                  <a:lnTo>
                    <a:pt x="931" y="2229"/>
                  </a:lnTo>
                  <a:lnTo>
                    <a:pt x="931" y="2229"/>
                  </a:lnTo>
                  <a:lnTo>
                    <a:pt x="931" y="2236"/>
                  </a:lnTo>
                  <a:lnTo>
                    <a:pt x="931" y="2236"/>
                  </a:lnTo>
                  <a:lnTo>
                    <a:pt x="933" y="2255"/>
                  </a:lnTo>
                  <a:lnTo>
                    <a:pt x="933" y="2255"/>
                  </a:lnTo>
                  <a:lnTo>
                    <a:pt x="933" y="2264"/>
                  </a:lnTo>
                  <a:lnTo>
                    <a:pt x="933" y="2264"/>
                  </a:lnTo>
                  <a:lnTo>
                    <a:pt x="934" y="2270"/>
                  </a:lnTo>
                  <a:lnTo>
                    <a:pt x="934" y="2270"/>
                  </a:lnTo>
                  <a:lnTo>
                    <a:pt x="939" y="2278"/>
                  </a:lnTo>
                  <a:lnTo>
                    <a:pt x="939" y="2278"/>
                  </a:lnTo>
                  <a:lnTo>
                    <a:pt x="940" y="2286"/>
                  </a:lnTo>
                  <a:lnTo>
                    <a:pt x="940" y="2286"/>
                  </a:lnTo>
                  <a:lnTo>
                    <a:pt x="940" y="2286"/>
                  </a:lnTo>
                  <a:lnTo>
                    <a:pt x="940" y="2286"/>
                  </a:lnTo>
                  <a:lnTo>
                    <a:pt x="940" y="2286"/>
                  </a:lnTo>
                  <a:lnTo>
                    <a:pt x="940" y="2286"/>
                  </a:lnTo>
                  <a:lnTo>
                    <a:pt x="940" y="2286"/>
                  </a:lnTo>
                  <a:lnTo>
                    <a:pt x="940" y="2286"/>
                  </a:lnTo>
                  <a:lnTo>
                    <a:pt x="940" y="2286"/>
                  </a:lnTo>
                  <a:lnTo>
                    <a:pt x="940" y="2286"/>
                  </a:lnTo>
                  <a:lnTo>
                    <a:pt x="940" y="2286"/>
                  </a:lnTo>
                  <a:lnTo>
                    <a:pt x="940" y="2286"/>
                  </a:lnTo>
                  <a:lnTo>
                    <a:pt x="940" y="2286"/>
                  </a:lnTo>
                  <a:lnTo>
                    <a:pt x="939" y="2287"/>
                  </a:lnTo>
                  <a:lnTo>
                    <a:pt x="939" y="2287"/>
                  </a:lnTo>
                  <a:lnTo>
                    <a:pt x="927" y="2300"/>
                  </a:lnTo>
                  <a:lnTo>
                    <a:pt x="927" y="2300"/>
                  </a:lnTo>
                  <a:lnTo>
                    <a:pt x="921" y="2306"/>
                  </a:lnTo>
                  <a:lnTo>
                    <a:pt x="921" y="2306"/>
                  </a:lnTo>
                  <a:lnTo>
                    <a:pt x="917" y="2309"/>
                  </a:lnTo>
                  <a:lnTo>
                    <a:pt x="917" y="2309"/>
                  </a:lnTo>
                  <a:lnTo>
                    <a:pt x="914" y="2312"/>
                  </a:lnTo>
                  <a:lnTo>
                    <a:pt x="914" y="2312"/>
                  </a:lnTo>
                  <a:lnTo>
                    <a:pt x="904" y="2315"/>
                  </a:lnTo>
                  <a:lnTo>
                    <a:pt x="892" y="2322"/>
                  </a:lnTo>
                  <a:lnTo>
                    <a:pt x="892" y="2322"/>
                  </a:lnTo>
                  <a:lnTo>
                    <a:pt x="866" y="2342"/>
                  </a:lnTo>
                  <a:lnTo>
                    <a:pt x="866" y="2342"/>
                  </a:lnTo>
                  <a:lnTo>
                    <a:pt x="853" y="2354"/>
                  </a:lnTo>
                  <a:lnTo>
                    <a:pt x="853" y="2354"/>
                  </a:lnTo>
                  <a:lnTo>
                    <a:pt x="847" y="2359"/>
                  </a:lnTo>
                  <a:lnTo>
                    <a:pt x="847" y="2359"/>
                  </a:lnTo>
                  <a:lnTo>
                    <a:pt x="844" y="2364"/>
                  </a:lnTo>
                  <a:lnTo>
                    <a:pt x="844" y="2364"/>
                  </a:lnTo>
                  <a:lnTo>
                    <a:pt x="843" y="2368"/>
                  </a:lnTo>
                  <a:lnTo>
                    <a:pt x="841" y="2373"/>
                  </a:lnTo>
                  <a:lnTo>
                    <a:pt x="841" y="2373"/>
                  </a:lnTo>
                  <a:lnTo>
                    <a:pt x="843" y="2377"/>
                  </a:lnTo>
                  <a:lnTo>
                    <a:pt x="843" y="2377"/>
                  </a:lnTo>
                  <a:lnTo>
                    <a:pt x="844" y="2378"/>
                  </a:lnTo>
                  <a:lnTo>
                    <a:pt x="847" y="2378"/>
                  </a:lnTo>
                  <a:lnTo>
                    <a:pt x="847" y="2377"/>
                  </a:lnTo>
                  <a:lnTo>
                    <a:pt x="846" y="2378"/>
                  </a:lnTo>
                  <a:lnTo>
                    <a:pt x="847" y="2378"/>
                  </a:lnTo>
                  <a:lnTo>
                    <a:pt x="847" y="2377"/>
                  </a:lnTo>
                  <a:lnTo>
                    <a:pt x="846" y="2378"/>
                  </a:lnTo>
                  <a:lnTo>
                    <a:pt x="846" y="2378"/>
                  </a:lnTo>
                  <a:lnTo>
                    <a:pt x="846" y="2378"/>
                  </a:lnTo>
                  <a:lnTo>
                    <a:pt x="846" y="2378"/>
                  </a:lnTo>
                  <a:lnTo>
                    <a:pt x="846" y="2378"/>
                  </a:lnTo>
                  <a:lnTo>
                    <a:pt x="846" y="2378"/>
                  </a:lnTo>
                  <a:lnTo>
                    <a:pt x="846" y="2378"/>
                  </a:lnTo>
                  <a:lnTo>
                    <a:pt x="847" y="2381"/>
                  </a:lnTo>
                  <a:lnTo>
                    <a:pt x="847" y="2381"/>
                  </a:lnTo>
                  <a:lnTo>
                    <a:pt x="849" y="2391"/>
                  </a:lnTo>
                  <a:lnTo>
                    <a:pt x="849" y="2391"/>
                  </a:lnTo>
                  <a:lnTo>
                    <a:pt x="849" y="2396"/>
                  </a:lnTo>
                  <a:lnTo>
                    <a:pt x="849" y="2396"/>
                  </a:lnTo>
                  <a:lnTo>
                    <a:pt x="850" y="2400"/>
                  </a:lnTo>
                  <a:lnTo>
                    <a:pt x="850" y="2400"/>
                  </a:lnTo>
                  <a:lnTo>
                    <a:pt x="850" y="2404"/>
                  </a:lnTo>
                  <a:lnTo>
                    <a:pt x="850" y="2404"/>
                  </a:lnTo>
                  <a:lnTo>
                    <a:pt x="852" y="2415"/>
                  </a:lnTo>
                  <a:lnTo>
                    <a:pt x="853" y="2428"/>
                  </a:lnTo>
                  <a:lnTo>
                    <a:pt x="853" y="2428"/>
                  </a:lnTo>
                  <a:lnTo>
                    <a:pt x="852" y="2436"/>
                  </a:lnTo>
                  <a:lnTo>
                    <a:pt x="852" y="2436"/>
                  </a:lnTo>
                  <a:lnTo>
                    <a:pt x="850" y="2439"/>
                  </a:lnTo>
                  <a:lnTo>
                    <a:pt x="849" y="2442"/>
                  </a:lnTo>
                  <a:lnTo>
                    <a:pt x="849" y="2442"/>
                  </a:lnTo>
                  <a:lnTo>
                    <a:pt x="841" y="2446"/>
                  </a:lnTo>
                  <a:lnTo>
                    <a:pt x="834" y="2451"/>
                  </a:lnTo>
                  <a:lnTo>
                    <a:pt x="834" y="2451"/>
                  </a:lnTo>
                  <a:lnTo>
                    <a:pt x="823" y="2458"/>
                  </a:lnTo>
                  <a:lnTo>
                    <a:pt x="823" y="2458"/>
                  </a:lnTo>
                  <a:lnTo>
                    <a:pt x="817" y="2462"/>
                  </a:lnTo>
                  <a:lnTo>
                    <a:pt x="812" y="2467"/>
                  </a:lnTo>
                  <a:lnTo>
                    <a:pt x="812" y="2467"/>
                  </a:lnTo>
                  <a:lnTo>
                    <a:pt x="811" y="2471"/>
                  </a:lnTo>
                  <a:lnTo>
                    <a:pt x="810" y="2475"/>
                  </a:lnTo>
                  <a:lnTo>
                    <a:pt x="810" y="2477"/>
                  </a:lnTo>
                  <a:lnTo>
                    <a:pt x="810" y="2477"/>
                  </a:lnTo>
                  <a:lnTo>
                    <a:pt x="810" y="2478"/>
                  </a:lnTo>
                  <a:lnTo>
                    <a:pt x="810" y="2478"/>
                  </a:lnTo>
                  <a:lnTo>
                    <a:pt x="810" y="2490"/>
                  </a:lnTo>
                  <a:lnTo>
                    <a:pt x="810" y="2490"/>
                  </a:lnTo>
                  <a:lnTo>
                    <a:pt x="808" y="2499"/>
                  </a:lnTo>
                  <a:lnTo>
                    <a:pt x="808" y="2499"/>
                  </a:lnTo>
                  <a:lnTo>
                    <a:pt x="804" y="2510"/>
                  </a:lnTo>
                  <a:lnTo>
                    <a:pt x="804" y="2510"/>
                  </a:lnTo>
                  <a:lnTo>
                    <a:pt x="801" y="2517"/>
                  </a:lnTo>
                  <a:lnTo>
                    <a:pt x="801" y="2517"/>
                  </a:lnTo>
                  <a:lnTo>
                    <a:pt x="794" y="2525"/>
                  </a:lnTo>
                  <a:lnTo>
                    <a:pt x="794" y="2525"/>
                  </a:lnTo>
                  <a:lnTo>
                    <a:pt x="786" y="2533"/>
                  </a:lnTo>
                  <a:lnTo>
                    <a:pt x="786" y="2533"/>
                  </a:lnTo>
                  <a:lnTo>
                    <a:pt x="779" y="2545"/>
                  </a:lnTo>
                  <a:lnTo>
                    <a:pt x="779" y="2545"/>
                  </a:lnTo>
                  <a:lnTo>
                    <a:pt x="773" y="2551"/>
                  </a:lnTo>
                  <a:lnTo>
                    <a:pt x="773" y="2551"/>
                  </a:lnTo>
                  <a:lnTo>
                    <a:pt x="772" y="2552"/>
                  </a:lnTo>
                  <a:lnTo>
                    <a:pt x="772" y="2552"/>
                  </a:lnTo>
                  <a:lnTo>
                    <a:pt x="772" y="2552"/>
                  </a:lnTo>
                  <a:lnTo>
                    <a:pt x="772" y="2552"/>
                  </a:lnTo>
                  <a:lnTo>
                    <a:pt x="772" y="2552"/>
                  </a:lnTo>
                  <a:lnTo>
                    <a:pt x="772" y="2552"/>
                  </a:lnTo>
                  <a:lnTo>
                    <a:pt x="772" y="2552"/>
                  </a:lnTo>
                  <a:lnTo>
                    <a:pt x="772" y="2552"/>
                  </a:lnTo>
                  <a:lnTo>
                    <a:pt x="772" y="2552"/>
                  </a:lnTo>
                  <a:lnTo>
                    <a:pt x="766" y="2552"/>
                  </a:lnTo>
                  <a:lnTo>
                    <a:pt x="766" y="2552"/>
                  </a:lnTo>
                  <a:lnTo>
                    <a:pt x="763" y="2554"/>
                  </a:lnTo>
                  <a:lnTo>
                    <a:pt x="760" y="2558"/>
                  </a:lnTo>
                  <a:lnTo>
                    <a:pt x="760" y="2558"/>
                  </a:lnTo>
                  <a:lnTo>
                    <a:pt x="756" y="2564"/>
                  </a:lnTo>
                  <a:lnTo>
                    <a:pt x="756" y="2564"/>
                  </a:lnTo>
                  <a:lnTo>
                    <a:pt x="744" y="2577"/>
                  </a:lnTo>
                  <a:lnTo>
                    <a:pt x="744" y="2577"/>
                  </a:lnTo>
                  <a:lnTo>
                    <a:pt x="740" y="2583"/>
                  </a:lnTo>
                  <a:lnTo>
                    <a:pt x="740" y="2583"/>
                  </a:lnTo>
                  <a:lnTo>
                    <a:pt x="737" y="2584"/>
                  </a:lnTo>
                  <a:lnTo>
                    <a:pt x="737" y="2584"/>
                  </a:lnTo>
                  <a:lnTo>
                    <a:pt x="737" y="2584"/>
                  </a:lnTo>
                  <a:lnTo>
                    <a:pt x="737" y="2585"/>
                  </a:lnTo>
                  <a:lnTo>
                    <a:pt x="737" y="2584"/>
                  </a:lnTo>
                  <a:lnTo>
                    <a:pt x="737" y="2584"/>
                  </a:lnTo>
                  <a:lnTo>
                    <a:pt x="737" y="2585"/>
                  </a:lnTo>
                  <a:lnTo>
                    <a:pt x="737" y="2584"/>
                  </a:lnTo>
                  <a:lnTo>
                    <a:pt x="737" y="2584"/>
                  </a:lnTo>
                  <a:lnTo>
                    <a:pt x="736" y="2585"/>
                  </a:lnTo>
                  <a:lnTo>
                    <a:pt x="736" y="2585"/>
                  </a:lnTo>
                  <a:lnTo>
                    <a:pt x="721" y="2597"/>
                  </a:lnTo>
                  <a:lnTo>
                    <a:pt x="721" y="2597"/>
                  </a:lnTo>
                  <a:lnTo>
                    <a:pt x="708" y="2609"/>
                  </a:lnTo>
                  <a:lnTo>
                    <a:pt x="708" y="2609"/>
                  </a:lnTo>
                  <a:lnTo>
                    <a:pt x="700" y="2613"/>
                  </a:lnTo>
                  <a:lnTo>
                    <a:pt x="692" y="2616"/>
                  </a:lnTo>
                  <a:lnTo>
                    <a:pt x="692" y="2616"/>
                  </a:lnTo>
                  <a:lnTo>
                    <a:pt x="684" y="2617"/>
                  </a:lnTo>
                  <a:lnTo>
                    <a:pt x="684" y="2617"/>
                  </a:lnTo>
                  <a:lnTo>
                    <a:pt x="678" y="2617"/>
                  </a:lnTo>
                  <a:lnTo>
                    <a:pt x="678" y="2617"/>
                  </a:lnTo>
                  <a:lnTo>
                    <a:pt x="673" y="2619"/>
                  </a:lnTo>
                  <a:lnTo>
                    <a:pt x="673" y="2619"/>
                  </a:lnTo>
                  <a:lnTo>
                    <a:pt x="672" y="2620"/>
                  </a:lnTo>
                  <a:lnTo>
                    <a:pt x="672" y="2620"/>
                  </a:lnTo>
                  <a:lnTo>
                    <a:pt x="662" y="2617"/>
                  </a:lnTo>
                  <a:lnTo>
                    <a:pt x="662" y="2617"/>
                  </a:lnTo>
                  <a:lnTo>
                    <a:pt x="658" y="2617"/>
                  </a:lnTo>
                  <a:lnTo>
                    <a:pt x="658" y="2617"/>
                  </a:lnTo>
                  <a:lnTo>
                    <a:pt x="644" y="2619"/>
                  </a:lnTo>
                  <a:lnTo>
                    <a:pt x="644" y="2619"/>
                  </a:lnTo>
                  <a:lnTo>
                    <a:pt x="642" y="2619"/>
                  </a:lnTo>
                  <a:lnTo>
                    <a:pt x="642" y="2619"/>
                  </a:lnTo>
                  <a:lnTo>
                    <a:pt x="636" y="2617"/>
                  </a:lnTo>
                  <a:lnTo>
                    <a:pt x="636" y="2617"/>
                  </a:lnTo>
                  <a:lnTo>
                    <a:pt x="630" y="2619"/>
                  </a:lnTo>
                  <a:lnTo>
                    <a:pt x="630" y="2619"/>
                  </a:lnTo>
                  <a:lnTo>
                    <a:pt x="624" y="2622"/>
                  </a:lnTo>
                  <a:lnTo>
                    <a:pt x="624" y="2622"/>
                  </a:lnTo>
                  <a:lnTo>
                    <a:pt x="618" y="2626"/>
                  </a:lnTo>
                  <a:lnTo>
                    <a:pt x="618" y="2626"/>
                  </a:lnTo>
                  <a:lnTo>
                    <a:pt x="617" y="2627"/>
                  </a:lnTo>
                  <a:lnTo>
                    <a:pt x="617" y="2627"/>
                  </a:lnTo>
                  <a:lnTo>
                    <a:pt x="616" y="2627"/>
                  </a:lnTo>
                  <a:lnTo>
                    <a:pt x="616" y="2627"/>
                  </a:lnTo>
                  <a:lnTo>
                    <a:pt x="613" y="2626"/>
                  </a:lnTo>
                  <a:lnTo>
                    <a:pt x="613" y="2626"/>
                  </a:lnTo>
                  <a:lnTo>
                    <a:pt x="607" y="2626"/>
                  </a:lnTo>
                  <a:lnTo>
                    <a:pt x="607" y="2626"/>
                  </a:lnTo>
                  <a:lnTo>
                    <a:pt x="604" y="2626"/>
                  </a:lnTo>
                  <a:lnTo>
                    <a:pt x="604" y="2626"/>
                  </a:lnTo>
                  <a:lnTo>
                    <a:pt x="601" y="2629"/>
                  </a:lnTo>
                  <a:lnTo>
                    <a:pt x="601" y="2629"/>
                  </a:lnTo>
                  <a:lnTo>
                    <a:pt x="598" y="2633"/>
                  </a:lnTo>
                  <a:lnTo>
                    <a:pt x="598" y="2633"/>
                  </a:lnTo>
                  <a:lnTo>
                    <a:pt x="598" y="2633"/>
                  </a:lnTo>
                  <a:lnTo>
                    <a:pt x="597" y="2633"/>
                  </a:lnTo>
                  <a:lnTo>
                    <a:pt x="597" y="2633"/>
                  </a:lnTo>
                  <a:lnTo>
                    <a:pt x="594" y="2633"/>
                  </a:lnTo>
                  <a:lnTo>
                    <a:pt x="594" y="2633"/>
                  </a:lnTo>
                  <a:lnTo>
                    <a:pt x="589" y="2632"/>
                  </a:lnTo>
                  <a:lnTo>
                    <a:pt x="588" y="2630"/>
                  </a:lnTo>
                  <a:lnTo>
                    <a:pt x="588" y="2630"/>
                  </a:lnTo>
                  <a:lnTo>
                    <a:pt x="585" y="2627"/>
                  </a:lnTo>
                  <a:lnTo>
                    <a:pt x="585" y="2627"/>
                  </a:lnTo>
                  <a:lnTo>
                    <a:pt x="581" y="2626"/>
                  </a:lnTo>
                  <a:lnTo>
                    <a:pt x="581" y="2626"/>
                  </a:lnTo>
                  <a:lnTo>
                    <a:pt x="575" y="2626"/>
                  </a:lnTo>
                  <a:lnTo>
                    <a:pt x="575" y="2626"/>
                  </a:lnTo>
                  <a:lnTo>
                    <a:pt x="574" y="2625"/>
                  </a:lnTo>
                  <a:lnTo>
                    <a:pt x="574" y="2625"/>
                  </a:lnTo>
                  <a:lnTo>
                    <a:pt x="572" y="2623"/>
                  </a:lnTo>
                  <a:lnTo>
                    <a:pt x="572" y="2623"/>
                  </a:lnTo>
                  <a:lnTo>
                    <a:pt x="571" y="2616"/>
                  </a:lnTo>
                  <a:lnTo>
                    <a:pt x="571" y="2616"/>
                  </a:lnTo>
                  <a:lnTo>
                    <a:pt x="568" y="2609"/>
                  </a:lnTo>
                  <a:lnTo>
                    <a:pt x="568" y="2609"/>
                  </a:lnTo>
                  <a:lnTo>
                    <a:pt x="565" y="2603"/>
                  </a:lnTo>
                  <a:lnTo>
                    <a:pt x="565" y="2603"/>
                  </a:lnTo>
                  <a:lnTo>
                    <a:pt x="565" y="2601"/>
                  </a:lnTo>
                  <a:lnTo>
                    <a:pt x="565" y="2601"/>
                  </a:lnTo>
                  <a:lnTo>
                    <a:pt x="566" y="2598"/>
                  </a:lnTo>
                  <a:lnTo>
                    <a:pt x="566" y="2598"/>
                  </a:lnTo>
                  <a:lnTo>
                    <a:pt x="569" y="2593"/>
                  </a:lnTo>
                  <a:lnTo>
                    <a:pt x="569" y="2588"/>
                  </a:lnTo>
                  <a:lnTo>
                    <a:pt x="569" y="2588"/>
                  </a:lnTo>
                  <a:lnTo>
                    <a:pt x="568" y="2580"/>
                  </a:lnTo>
                  <a:lnTo>
                    <a:pt x="565" y="2571"/>
                  </a:lnTo>
                  <a:lnTo>
                    <a:pt x="565" y="2571"/>
                  </a:lnTo>
                  <a:lnTo>
                    <a:pt x="560" y="2559"/>
                  </a:lnTo>
                  <a:lnTo>
                    <a:pt x="560" y="2559"/>
                  </a:lnTo>
                  <a:lnTo>
                    <a:pt x="558" y="2552"/>
                  </a:lnTo>
                  <a:lnTo>
                    <a:pt x="558" y="2552"/>
                  </a:lnTo>
                  <a:lnTo>
                    <a:pt x="558" y="2551"/>
                  </a:lnTo>
                  <a:lnTo>
                    <a:pt x="558" y="2551"/>
                  </a:lnTo>
                  <a:lnTo>
                    <a:pt x="558" y="2551"/>
                  </a:lnTo>
                  <a:lnTo>
                    <a:pt x="558" y="2551"/>
                  </a:lnTo>
                  <a:lnTo>
                    <a:pt x="562" y="2549"/>
                  </a:lnTo>
                  <a:lnTo>
                    <a:pt x="562" y="2549"/>
                  </a:lnTo>
                  <a:lnTo>
                    <a:pt x="565" y="2548"/>
                  </a:lnTo>
                  <a:lnTo>
                    <a:pt x="565" y="2548"/>
                  </a:lnTo>
                  <a:lnTo>
                    <a:pt x="566" y="2545"/>
                  </a:lnTo>
                  <a:lnTo>
                    <a:pt x="566" y="2545"/>
                  </a:lnTo>
                  <a:lnTo>
                    <a:pt x="565" y="2541"/>
                  </a:lnTo>
                  <a:lnTo>
                    <a:pt x="565" y="2541"/>
                  </a:lnTo>
                  <a:lnTo>
                    <a:pt x="560" y="2530"/>
                  </a:lnTo>
                  <a:lnTo>
                    <a:pt x="556" y="2525"/>
                  </a:lnTo>
                  <a:lnTo>
                    <a:pt x="552" y="2520"/>
                  </a:lnTo>
                  <a:lnTo>
                    <a:pt x="552" y="2520"/>
                  </a:lnTo>
                  <a:lnTo>
                    <a:pt x="545" y="2513"/>
                  </a:lnTo>
                  <a:lnTo>
                    <a:pt x="537" y="2504"/>
                  </a:lnTo>
                  <a:lnTo>
                    <a:pt x="537" y="2504"/>
                  </a:lnTo>
                  <a:lnTo>
                    <a:pt x="532" y="2494"/>
                  </a:lnTo>
                  <a:lnTo>
                    <a:pt x="529" y="2490"/>
                  </a:lnTo>
                  <a:lnTo>
                    <a:pt x="529" y="2486"/>
                  </a:lnTo>
                  <a:lnTo>
                    <a:pt x="529" y="2486"/>
                  </a:lnTo>
                  <a:lnTo>
                    <a:pt x="529" y="2475"/>
                  </a:lnTo>
                  <a:lnTo>
                    <a:pt x="527" y="2467"/>
                  </a:lnTo>
                  <a:lnTo>
                    <a:pt x="523" y="2449"/>
                  </a:lnTo>
                  <a:lnTo>
                    <a:pt x="523" y="2449"/>
                  </a:lnTo>
                  <a:lnTo>
                    <a:pt x="521" y="2441"/>
                  </a:lnTo>
                  <a:lnTo>
                    <a:pt x="521" y="2428"/>
                  </a:lnTo>
                  <a:lnTo>
                    <a:pt x="521" y="2428"/>
                  </a:lnTo>
                  <a:lnTo>
                    <a:pt x="520" y="2416"/>
                  </a:lnTo>
                  <a:lnTo>
                    <a:pt x="518" y="2410"/>
                  </a:lnTo>
                  <a:lnTo>
                    <a:pt x="516" y="2406"/>
                  </a:lnTo>
                  <a:lnTo>
                    <a:pt x="516" y="2406"/>
                  </a:lnTo>
                  <a:lnTo>
                    <a:pt x="505" y="2391"/>
                  </a:lnTo>
                  <a:lnTo>
                    <a:pt x="505" y="2391"/>
                  </a:lnTo>
                  <a:lnTo>
                    <a:pt x="503" y="2384"/>
                  </a:lnTo>
                  <a:lnTo>
                    <a:pt x="500" y="2377"/>
                  </a:lnTo>
                  <a:lnTo>
                    <a:pt x="500" y="2377"/>
                  </a:lnTo>
                  <a:lnTo>
                    <a:pt x="497" y="2367"/>
                  </a:lnTo>
                  <a:lnTo>
                    <a:pt x="492" y="2358"/>
                  </a:lnTo>
                  <a:lnTo>
                    <a:pt x="492" y="2358"/>
                  </a:lnTo>
                  <a:lnTo>
                    <a:pt x="481" y="2341"/>
                  </a:lnTo>
                  <a:lnTo>
                    <a:pt x="481" y="2341"/>
                  </a:lnTo>
                  <a:lnTo>
                    <a:pt x="479" y="2336"/>
                  </a:lnTo>
                  <a:lnTo>
                    <a:pt x="478" y="2331"/>
                  </a:lnTo>
                  <a:lnTo>
                    <a:pt x="478" y="2331"/>
                  </a:lnTo>
                  <a:lnTo>
                    <a:pt x="478" y="2319"/>
                  </a:lnTo>
                  <a:lnTo>
                    <a:pt x="478" y="2319"/>
                  </a:lnTo>
                  <a:lnTo>
                    <a:pt x="478" y="2309"/>
                  </a:lnTo>
                  <a:lnTo>
                    <a:pt x="478" y="2309"/>
                  </a:lnTo>
                  <a:lnTo>
                    <a:pt x="478" y="2303"/>
                  </a:lnTo>
                  <a:lnTo>
                    <a:pt x="478" y="2303"/>
                  </a:lnTo>
                  <a:lnTo>
                    <a:pt x="482" y="2280"/>
                  </a:lnTo>
                  <a:lnTo>
                    <a:pt x="482" y="2280"/>
                  </a:lnTo>
                  <a:lnTo>
                    <a:pt x="487" y="2265"/>
                  </a:lnTo>
                  <a:lnTo>
                    <a:pt x="487" y="2265"/>
                  </a:lnTo>
                  <a:lnTo>
                    <a:pt x="488" y="2261"/>
                  </a:lnTo>
                  <a:lnTo>
                    <a:pt x="488" y="2261"/>
                  </a:lnTo>
                  <a:lnTo>
                    <a:pt x="488" y="2258"/>
                  </a:lnTo>
                  <a:lnTo>
                    <a:pt x="488" y="2258"/>
                  </a:lnTo>
                  <a:lnTo>
                    <a:pt x="492" y="2254"/>
                  </a:lnTo>
                  <a:lnTo>
                    <a:pt x="492" y="2254"/>
                  </a:lnTo>
                  <a:lnTo>
                    <a:pt x="500" y="2248"/>
                  </a:lnTo>
                  <a:lnTo>
                    <a:pt x="500" y="2248"/>
                  </a:lnTo>
                  <a:lnTo>
                    <a:pt x="504" y="2244"/>
                  </a:lnTo>
                  <a:lnTo>
                    <a:pt x="504" y="2244"/>
                  </a:lnTo>
                  <a:lnTo>
                    <a:pt x="504" y="2239"/>
                  </a:lnTo>
                  <a:lnTo>
                    <a:pt x="504" y="2239"/>
                  </a:lnTo>
                  <a:lnTo>
                    <a:pt x="504" y="2235"/>
                  </a:lnTo>
                  <a:lnTo>
                    <a:pt x="504" y="2235"/>
                  </a:lnTo>
                  <a:lnTo>
                    <a:pt x="503" y="2220"/>
                  </a:lnTo>
                  <a:lnTo>
                    <a:pt x="503" y="2220"/>
                  </a:lnTo>
                  <a:lnTo>
                    <a:pt x="500" y="2213"/>
                  </a:lnTo>
                  <a:lnTo>
                    <a:pt x="497" y="2206"/>
                  </a:lnTo>
                  <a:lnTo>
                    <a:pt x="497" y="2206"/>
                  </a:lnTo>
                  <a:lnTo>
                    <a:pt x="495" y="2200"/>
                  </a:lnTo>
                  <a:lnTo>
                    <a:pt x="495" y="2200"/>
                  </a:lnTo>
                  <a:lnTo>
                    <a:pt x="495" y="2187"/>
                  </a:lnTo>
                  <a:lnTo>
                    <a:pt x="495" y="2187"/>
                  </a:lnTo>
                  <a:lnTo>
                    <a:pt x="495" y="2180"/>
                  </a:lnTo>
                  <a:lnTo>
                    <a:pt x="494" y="2174"/>
                  </a:lnTo>
                  <a:lnTo>
                    <a:pt x="494" y="2174"/>
                  </a:lnTo>
                  <a:lnTo>
                    <a:pt x="490" y="2161"/>
                  </a:lnTo>
                  <a:lnTo>
                    <a:pt x="490" y="2161"/>
                  </a:lnTo>
                  <a:lnTo>
                    <a:pt x="488" y="2157"/>
                  </a:lnTo>
                  <a:lnTo>
                    <a:pt x="488" y="2157"/>
                  </a:lnTo>
                  <a:lnTo>
                    <a:pt x="488" y="2154"/>
                  </a:lnTo>
                  <a:lnTo>
                    <a:pt x="488" y="2154"/>
                  </a:lnTo>
                  <a:lnTo>
                    <a:pt x="487" y="2152"/>
                  </a:lnTo>
                  <a:lnTo>
                    <a:pt x="487" y="2152"/>
                  </a:lnTo>
                  <a:lnTo>
                    <a:pt x="485" y="2151"/>
                  </a:lnTo>
                  <a:lnTo>
                    <a:pt x="485" y="2151"/>
                  </a:lnTo>
                  <a:lnTo>
                    <a:pt x="481" y="2147"/>
                  </a:lnTo>
                  <a:lnTo>
                    <a:pt x="481" y="2147"/>
                  </a:lnTo>
                  <a:lnTo>
                    <a:pt x="478" y="2142"/>
                  </a:lnTo>
                  <a:lnTo>
                    <a:pt x="478" y="2139"/>
                  </a:lnTo>
                  <a:lnTo>
                    <a:pt x="478" y="2139"/>
                  </a:lnTo>
                  <a:lnTo>
                    <a:pt x="476" y="2131"/>
                  </a:lnTo>
                  <a:lnTo>
                    <a:pt x="474" y="2122"/>
                  </a:lnTo>
                  <a:lnTo>
                    <a:pt x="474" y="2122"/>
                  </a:lnTo>
                  <a:lnTo>
                    <a:pt x="471" y="2119"/>
                  </a:lnTo>
                  <a:lnTo>
                    <a:pt x="471" y="2119"/>
                  </a:lnTo>
                  <a:lnTo>
                    <a:pt x="450" y="2097"/>
                  </a:lnTo>
                  <a:lnTo>
                    <a:pt x="450" y="2097"/>
                  </a:lnTo>
                  <a:lnTo>
                    <a:pt x="440" y="2087"/>
                  </a:lnTo>
                  <a:lnTo>
                    <a:pt x="440" y="2087"/>
                  </a:lnTo>
                  <a:lnTo>
                    <a:pt x="437" y="2083"/>
                  </a:lnTo>
                  <a:lnTo>
                    <a:pt x="437" y="2083"/>
                  </a:lnTo>
                  <a:lnTo>
                    <a:pt x="436" y="2080"/>
                  </a:lnTo>
                  <a:lnTo>
                    <a:pt x="436" y="2080"/>
                  </a:lnTo>
                  <a:lnTo>
                    <a:pt x="436" y="2076"/>
                  </a:lnTo>
                  <a:lnTo>
                    <a:pt x="436" y="2076"/>
                  </a:lnTo>
                  <a:lnTo>
                    <a:pt x="434" y="2073"/>
                  </a:lnTo>
                  <a:lnTo>
                    <a:pt x="434" y="2073"/>
                  </a:lnTo>
                  <a:lnTo>
                    <a:pt x="432" y="2070"/>
                  </a:lnTo>
                  <a:lnTo>
                    <a:pt x="432" y="2070"/>
                  </a:lnTo>
                  <a:lnTo>
                    <a:pt x="426" y="2064"/>
                  </a:lnTo>
                  <a:lnTo>
                    <a:pt x="426" y="2064"/>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6" y="2061"/>
                  </a:lnTo>
                  <a:lnTo>
                    <a:pt x="426" y="2061"/>
                  </a:lnTo>
                  <a:lnTo>
                    <a:pt x="429" y="2060"/>
                  </a:lnTo>
                  <a:lnTo>
                    <a:pt x="429" y="2060"/>
                  </a:lnTo>
                  <a:lnTo>
                    <a:pt x="432" y="2055"/>
                  </a:lnTo>
                  <a:lnTo>
                    <a:pt x="432" y="2055"/>
                  </a:lnTo>
                  <a:lnTo>
                    <a:pt x="433" y="2052"/>
                  </a:lnTo>
                  <a:lnTo>
                    <a:pt x="433" y="2052"/>
                  </a:lnTo>
                  <a:lnTo>
                    <a:pt x="434" y="2047"/>
                  </a:lnTo>
                  <a:lnTo>
                    <a:pt x="434" y="2047"/>
                  </a:lnTo>
                  <a:lnTo>
                    <a:pt x="436" y="2026"/>
                  </a:lnTo>
                  <a:lnTo>
                    <a:pt x="436" y="2026"/>
                  </a:lnTo>
                  <a:lnTo>
                    <a:pt x="437" y="2022"/>
                  </a:lnTo>
                  <a:lnTo>
                    <a:pt x="437" y="2022"/>
                  </a:lnTo>
                  <a:lnTo>
                    <a:pt x="440" y="2013"/>
                  </a:lnTo>
                  <a:lnTo>
                    <a:pt x="440" y="2013"/>
                  </a:lnTo>
                  <a:lnTo>
                    <a:pt x="442" y="2005"/>
                  </a:lnTo>
                  <a:lnTo>
                    <a:pt x="443" y="2003"/>
                  </a:lnTo>
                  <a:lnTo>
                    <a:pt x="443" y="2003"/>
                  </a:lnTo>
                  <a:lnTo>
                    <a:pt x="442" y="1997"/>
                  </a:lnTo>
                  <a:lnTo>
                    <a:pt x="440" y="1992"/>
                  </a:lnTo>
                  <a:lnTo>
                    <a:pt x="440" y="1992"/>
                  </a:lnTo>
                  <a:lnTo>
                    <a:pt x="437" y="1987"/>
                  </a:lnTo>
                  <a:lnTo>
                    <a:pt x="437" y="1987"/>
                  </a:lnTo>
                  <a:lnTo>
                    <a:pt x="434" y="1983"/>
                  </a:lnTo>
                  <a:lnTo>
                    <a:pt x="434" y="1983"/>
                  </a:lnTo>
                  <a:lnTo>
                    <a:pt x="430" y="1979"/>
                  </a:lnTo>
                  <a:lnTo>
                    <a:pt x="430" y="1979"/>
                  </a:lnTo>
                  <a:lnTo>
                    <a:pt x="427" y="1977"/>
                  </a:lnTo>
                  <a:lnTo>
                    <a:pt x="420" y="1976"/>
                  </a:lnTo>
                  <a:lnTo>
                    <a:pt x="420" y="1976"/>
                  </a:lnTo>
                  <a:lnTo>
                    <a:pt x="417" y="1976"/>
                  </a:lnTo>
                  <a:lnTo>
                    <a:pt x="417" y="1976"/>
                  </a:lnTo>
                  <a:lnTo>
                    <a:pt x="401" y="1976"/>
                  </a:lnTo>
                  <a:lnTo>
                    <a:pt x="401" y="1976"/>
                  </a:lnTo>
                  <a:lnTo>
                    <a:pt x="384" y="1977"/>
                  </a:lnTo>
                  <a:lnTo>
                    <a:pt x="384" y="1977"/>
                  </a:lnTo>
                  <a:lnTo>
                    <a:pt x="378" y="1977"/>
                  </a:lnTo>
                  <a:lnTo>
                    <a:pt x="378" y="1977"/>
                  </a:lnTo>
                  <a:lnTo>
                    <a:pt x="375" y="1974"/>
                  </a:lnTo>
                  <a:lnTo>
                    <a:pt x="375" y="1974"/>
                  </a:lnTo>
                  <a:lnTo>
                    <a:pt x="371" y="1964"/>
                  </a:lnTo>
                  <a:lnTo>
                    <a:pt x="371" y="1964"/>
                  </a:lnTo>
                  <a:lnTo>
                    <a:pt x="369" y="1960"/>
                  </a:lnTo>
                  <a:lnTo>
                    <a:pt x="369" y="1960"/>
                  </a:lnTo>
                  <a:lnTo>
                    <a:pt x="366" y="1957"/>
                  </a:lnTo>
                  <a:lnTo>
                    <a:pt x="366" y="1957"/>
                  </a:lnTo>
                  <a:lnTo>
                    <a:pt x="364" y="1954"/>
                  </a:lnTo>
                  <a:lnTo>
                    <a:pt x="364" y="1954"/>
                  </a:lnTo>
                  <a:lnTo>
                    <a:pt x="358" y="1947"/>
                  </a:lnTo>
                  <a:lnTo>
                    <a:pt x="358" y="1947"/>
                  </a:lnTo>
                  <a:lnTo>
                    <a:pt x="353" y="1944"/>
                  </a:lnTo>
                  <a:lnTo>
                    <a:pt x="353" y="1944"/>
                  </a:lnTo>
                  <a:lnTo>
                    <a:pt x="352" y="1942"/>
                  </a:lnTo>
                  <a:lnTo>
                    <a:pt x="350" y="1942"/>
                  </a:lnTo>
                  <a:lnTo>
                    <a:pt x="350" y="1942"/>
                  </a:lnTo>
                  <a:lnTo>
                    <a:pt x="329" y="1942"/>
                  </a:lnTo>
                  <a:lnTo>
                    <a:pt x="329" y="1942"/>
                  </a:lnTo>
                  <a:lnTo>
                    <a:pt x="316" y="1942"/>
                  </a:lnTo>
                  <a:lnTo>
                    <a:pt x="316" y="1942"/>
                  </a:lnTo>
                  <a:lnTo>
                    <a:pt x="310" y="1944"/>
                  </a:lnTo>
                  <a:lnTo>
                    <a:pt x="310" y="1944"/>
                  </a:lnTo>
                  <a:lnTo>
                    <a:pt x="308" y="1944"/>
                  </a:lnTo>
                  <a:lnTo>
                    <a:pt x="308" y="1944"/>
                  </a:lnTo>
                  <a:lnTo>
                    <a:pt x="307" y="1945"/>
                  </a:lnTo>
                  <a:lnTo>
                    <a:pt x="307" y="1945"/>
                  </a:lnTo>
                  <a:lnTo>
                    <a:pt x="307" y="1945"/>
                  </a:lnTo>
                  <a:lnTo>
                    <a:pt x="307" y="1945"/>
                  </a:lnTo>
                  <a:lnTo>
                    <a:pt x="307" y="1945"/>
                  </a:lnTo>
                  <a:lnTo>
                    <a:pt x="307" y="1945"/>
                  </a:lnTo>
                  <a:lnTo>
                    <a:pt x="304" y="1947"/>
                  </a:lnTo>
                  <a:lnTo>
                    <a:pt x="304" y="1947"/>
                  </a:lnTo>
                  <a:lnTo>
                    <a:pt x="278" y="1958"/>
                  </a:lnTo>
                  <a:lnTo>
                    <a:pt x="278" y="1958"/>
                  </a:lnTo>
                  <a:lnTo>
                    <a:pt x="262" y="1966"/>
                  </a:lnTo>
                  <a:lnTo>
                    <a:pt x="262" y="1966"/>
                  </a:lnTo>
                  <a:lnTo>
                    <a:pt x="252" y="1967"/>
                  </a:lnTo>
                  <a:lnTo>
                    <a:pt x="252" y="1967"/>
                  </a:lnTo>
                  <a:lnTo>
                    <a:pt x="252" y="1967"/>
                  </a:lnTo>
                  <a:lnTo>
                    <a:pt x="232" y="1963"/>
                  </a:lnTo>
                  <a:lnTo>
                    <a:pt x="232" y="1963"/>
                  </a:lnTo>
                  <a:lnTo>
                    <a:pt x="222" y="1960"/>
                  </a:lnTo>
                  <a:lnTo>
                    <a:pt x="211" y="1958"/>
                  </a:lnTo>
                  <a:lnTo>
                    <a:pt x="210" y="1958"/>
                  </a:lnTo>
                  <a:lnTo>
                    <a:pt x="210" y="1958"/>
                  </a:lnTo>
                  <a:lnTo>
                    <a:pt x="200" y="1961"/>
                  </a:lnTo>
                  <a:lnTo>
                    <a:pt x="200" y="1961"/>
                  </a:lnTo>
                  <a:lnTo>
                    <a:pt x="178" y="1968"/>
                  </a:lnTo>
                  <a:lnTo>
                    <a:pt x="178" y="1968"/>
                  </a:lnTo>
                  <a:lnTo>
                    <a:pt x="168" y="1971"/>
                  </a:lnTo>
                  <a:lnTo>
                    <a:pt x="168" y="1971"/>
                  </a:lnTo>
                  <a:lnTo>
                    <a:pt x="162" y="1971"/>
                  </a:lnTo>
                  <a:lnTo>
                    <a:pt x="161" y="1971"/>
                  </a:lnTo>
                  <a:lnTo>
                    <a:pt x="161" y="1971"/>
                  </a:lnTo>
                  <a:lnTo>
                    <a:pt x="148" y="1968"/>
                  </a:lnTo>
                  <a:lnTo>
                    <a:pt x="135" y="1961"/>
                  </a:lnTo>
                  <a:lnTo>
                    <a:pt x="135" y="1961"/>
                  </a:lnTo>
                  <a:lnTo>
                    <a:pt x="101" y="1938"/>
                  </a:lnTo>
                  <a:lnTo>
                    <a:pt x="101" y="1938"/>
                  </a:lnTo>
                  <a:lnTo>
                    <a:pt x="90" y="1931"/>
                  </a:lnTo>
                  <a:lnTo>
                    <a:pt x="90" y="1931"/>
                  </a:lnTo>
                  <a:lnTo>
                    <a:pt x="81" y="1925"/>
                  </a:lnTo>
                  <a:lnTo>
                    <a:pt x="81" y="1925"/>
                  </a:lnTo>
                  <a:lnTo>
                    <a:pt x="77" y="1919"/>
                  </a:lnTo>
                  <a:lnTo>
                    <a:pt x="74" y="1913"/>
                  </a:lnTo>
                  <a:lnTo>
                    <a:pt x="74" y="1913"/>
                  </a:lnTo>
                  <a:lnTo>
                    <a:pt x="72" y="1910"/>
                  </a:lnTo>
                  <a:lnTo>
                    <a:pt x="72" y="1910"/>
                  </a:lnTo>
                  <a:lnTo>
                    <a:pt x="70" y="1902"/>
                  </a:lnTo>
                  <a:lnTo>
                    <a:pt x="70" y="1902"/>
                  </a:lnTo>
                  <a:lnTo>
                    <a:pt x="68" y="1899"/>
                  </a:lnTo>
                  <a:lnTo>
                    <a:pt x="68" y="1899"/>
                  </a:lnTo>
                  <a:lnTo>
                    <a:pt x="67" y="1897"/>
                  </a:lnTo>
                  <a:lnTo>
                    <a:pt x="67" y="1897"/>
                  </a:lnTo>
                  <a:lnTo>
                    <a:pt x="65" y="1896"/>
                  </a:lnTo>
                  <a:lnTo>
                    <a:pt x="65" y="1896"/>
                  </a:lnTo>
                  <a:lnTo>
                    <a:pt x="62" y="1893"/>
                  </a:lnTo>
                  <a:lnTo>
                    <a:pt x="62" y="1893"/>
                  </a:lnTo>
                  <a:lnTo>
                    <a:pt x="58" y="1887"/>
                  </a:lnTo>
                  <a:lnTo>
                    <a:pt x="58" y="1887"/>
                  </a:lnTo>
                  <a:lnTo>
                    <a:pt x="56" y="1884"/>
                  </a:lnTo>
                  <a:lnTo>
                    <a:pt x="56" y="1884"/>
                  </a:lnTo>
                  <a:lnTo>
                    <a:pt x="54" y="1880"/>
                  </a:lnTo>
                  <a:lnTo>
                    <a:pt x="54" y="1880"/>
                  </a:lnTo>
                  <a:lnTo>
                    <a:pt x="46" y="1876"/>
                  </a:lnTo>
                  <a:lnTo>
                    <a:pt x="46" y="1876"/>
                  </a:lnTo>
                  <a:lnTo>
                    <a:pt x="42" y="1871"/>
                  </a:lnTo>
                  <a:lnTo>
                    <a:pt x="38" y="1868"/>
                  </a:lnTo>
                  <a:lnTo>
                    <a:pt x="38" y="1868"/>
                  </a:lnTo>
                  <a:lnTo>
                    <a:pt x="36" y="1867"/>
                  </a:lnTo>
                  <a:lnTo>
                    <a:pt x="36" y="1867"/>
                  </a:lnTo>
                  <a:lnTo>
                    <a:pt x="35" y="1866"/>
                  </a:lnTo>
                  <a:lnTo>
                    <a:pt x="33" y="1866"/>
                  </a:lnTo>
                  <a:lnTo>
                    <a:pt x="35" y="1866"/>
                  </a:lnTo>
                  <a:lnTo>
                    <a:pt x="35" y="1866"/>
                  </a:lnTo>
                  <a:lnTo>
                    <a:pt x="33" y="1866"/>
                  </a:lnTo>
                  <a:lnTo>
                    <a:pt x="35" y="1866"/>
                  </a:lnTo>
                  <a:lnTo>
                    <a:pt x="33" y="1866"/>
                  </a:lnTo>
                  <a:lnTo>
                    <a:pt x="35" y="1866"/>
                  </a:lnTo>
                  <a:lnTo>
                    <a:pt x="35" y="1866"/>
                  </a:lnTo>
                  <a:lnTo>
                    <a:pt x="33" y="1866"/>
                  </a:lnTo>
                  <a:lnTo>
                    <a:pt x="35" y="1866"/>
                  </a:lnTo>
                  <a:lnTo>
                    <a:pt x="35" y="1866"/>
                  </a:lnTo>
                  <a:lnTo>
                    <a:pt x="35" y="1866"/>
                  </a:lnTo>
                  <a:lnTo>
                    <a:pt x="33" y="1861"/>
                  </a:lnTo>
                  <a:lnTo>
                    <a:pt x="33" y="1861"/>
                  </a:lnTo>
                  <a:lnTo>
                    <a:pt x="32" y="1858"/>
                  </a:lnTo>
                  <a:lnTo>
                    <a:pt x="28" y="1855"/>
                  </a:lnTo>
                  <a:lnTo>
                    <a:pt x="28" y="1855"/>
                  </a:lnTo>
                  <a:lnTo>
                    <a:pt x="17" y="1848"/>
                  </a:lnTo>
                  <a:lnTo>
                    <a:pt x="17" y="1848"/>
                  </a:lnTo>
                  <a:lnTo>
                    <a:pt x="14" y="1847"/>
                  </a:lnTo>
                  <a:lnTo>
                    <a:pt x="14" y="1847"/>
                  </a:lnTo>
                  <a:lnTo>
                    <a:pt x="13" y="1844"/>
                  </a:lnTo>
                  <a:lnTo>
                    <a:pt x="14" y="1842"/>
                  </a:lnTo>
                  <a:lnTo>
                    <a:pt x="14" y="1842"/>
                  </a:lnTo>
                  <a:lnTo>
                    <a:pt x="16" y="1838"/>
                  </a:lnTo>
                  <a:lnTo>
                    <a:pt x="16" y="1838"/>
                  </a:lnTo>
                  <a:lnTo>
                    <a:pt x="16" y="1837"/>
                  </a:lnTo>
                  <a:lnTo>
                    <a:pt x="17" y="1834"/>
                  </a:lnTo>
                  <a:lnTo>
                    <a:pt x="17" y="1834"/>
                  </a:lnTo>
                  <a:lnTo>
                    <a:pt x="16" y="1831"/>
                  </a:lnTo>
                  <a:lnTo>
                    <a:pt x="14" y="1826"/>
                  </a:lnTo>
                  <a:lnTo>
                    <a:pt x="14" y="1826"/>
                  </a:lnTo>
                  <a:lnTo>
                    <a:pt x="13" y="1821"/>
                  </a:lnTo>
                  <a:lnTo>
                    <a:pt x="12" y="1818"/>
                  </a:lnTo>
                  <a:lnTo>
                    <a:pt x="12" y="1818"/>
                  </a:lnTo>
                  <a:lnTo>
                    <a:pt x="10" y="1813"/>
                  </a:lnTo>
                  <a:lnTo>
                    <a:pt x="10" y="1813"/>
                  </a:lnTo>
                  <a:lnTo>
                    <a:pt x="6" y="1811"/>
                  </a:lnTo>
                  <a:lnTo>
                    <a:pt x="6" y="1811"/>
                  </a:lnTo>
                  <a:lnTo>
                    <a:pt x="6" y="1809"/>
                  </a:lnTo>
                  <a:lnTo>
                    <a:pt x="6" y="1809"/>
                  </a:lnTo>
                  <a:lnTo>
                    <a:pt x="9" y="1805"/>
                  </a:lnTo>
                  <a:lnTo>
                    <a:pt x="9" y="1805"/>
                  </a:lnTo>
                  <a:lnTo>
                    <a:pt x="13" y="1799"/>
                  </a:lnTo>
                  <a:lnTo>
                    <a:pt x="13" y="1799"/>
                  </a:lnTo>
                  <a:lnTo>
                    <a:pt x="16" y="1795"/>
                  </a:lnTo>
                  <a:lnTo>
                    <a:pt x="19" y="1789"/>
                  </a:lnTo>
                  <a:lnTo>
                    <a:pt x="19" y="1789"/>
                  </a:lnTo>
                  <a:lnTo>
                    <a:pt x="20" y="1782"/>
                  </a:lnTo>
                  <a:lnTo>
                    <a:pt x="22" y="1776"/>
                  </a:lnTo>
                  <a:lnTo>
                    <a:pt x="22" y="1774"/>
                  </a:lnTo>
                  <a:lnTo>
                    <a:pt x="22" y="1774"/>
                  </a:lnTo>
                  <a:lnTo>
                    <a:pt x="22" y="1774"/>
                  </a:lnTo>
                  <a:lnTo>
                    <a:pt x="22" y="1769"/>
                  </a:lnTo>
                  <a:lnTo>
                    <a:pt x="25" y="1764"/>
                  </a:lnTo>
                  <a:lnTo>
                    <a:pt x="25" y="1764"/>
                  </a:lnTo>
                  <a:lnTo>
                    <a:pt x="26" y="1758"/>
                  </a:lnTo>
                  <a:lnTo>
                    <a:pt x="28" y="1753"/>
                  </a:lnTo>
                  <a:lnTo>
                    <a:pt x="28" y="1753"/>
                  </a:lnTo>
                  <a:lnTo>
                    <a:pt x="26" y="1748"/>
                  </a:lnTo>
                  <a:lnTo>
                    <a:pt x="26" y="1748"/>
                  </a:lnTo>
                  <a:lnTo>
                    <a:pt x="23" y="1742"/>
                  </a:lnTo>
                  <a:lnTo>
                    <a:pt x="22" y="1738"/>
                  </a:lnTo>
                  <a:lnTo>
                    <a:pt x="22" y="1738"/>
                  </a:lnTo>
                  <a:lnTo>
                    <a:pt x="19" y="1735"/>
                  </a:lnTo>
                  <a:lnTo>
                    <a:pt x="19" y="1732"/>
                  </a:lnTo>
                  <a:lnTo>
                    <a:pt x="19" y="1731"/>
                  </a:lnTo>
                  <a:lnTo>
                    <a:pt x="19" y="1731"/>
                  </a:lnTo>
                  <a:lnTo>
                    <a:pt x="20" y="1725"/>
                  </a:lnTo>
                  <a:lnTo>
                    <a:pt x="20" y="1725"/>
                  </a:lnTo>
                  <a:lnTo>
                    <a:pt x="22" y="1721"/>
                  </a:lnTo>
                  <a:lnTo>
                    <a:pt x="22" y="1721"/>
                  </a:lnTo>
                  <a:lnTo>
                    <a:pt x="20" y="1716"/>
                  </a:lnTo>
                  <a:lnTo>
                    <a:pt x="20" y="1716"/>
                  </a:lnTo>
                  <a:lnTo>
                    <a:pt x="13" y="1709"/>
                  </a:lnTo>
                  <a:lnTo>
                    <a:pt x="13" y="1709"/>
                  </a:lnTo>
                  <a:lnTo>
                    <a:pt x="10" y="1705"/>
                  </a:lnTo>
                  <a:lnTo>
                    <a:pt x="10" y="1705"/>
                  </a:lnTo>
                  <a:lnTo>
                    <a:pt x="7" y="1703"/>
                  </a:lnTo>
                  <a:lnTo>
                    <a:pt x="7" y="1703"/>
                  </a:lnTo>
                  <a:lnTo>
                    <a:pt x="7" y="1698"/>
                  </a:lnTo>
                  <a:lnTo>
                    <a:pt x="7" y="1698"/>
                  </a:lnTo>
                  <a:lnTo>
                    <a:pt x="9" y="1690"/>
                  </a:lnTo>
                  <a:lnTo>
                    <a:pt x="9" y="1690"/>
                  </a:lnTo>
                  <a:lnTo>
                    <a:pt x="10" y="1687"/>
                  </a:lnTo>
                  <a:lnTo>
                    <a:pt x="10" y="1687"/>
                  </a:lnTo>
                  <a:lnTo>
                    <a:pt x="10" y="1686"/>
                  </a:lnTo>
                  <a:lnTo>
                    <a:pt x="10" y="1686"/>
                  </a:lnTo>
                  <a:lnTo>
                    <a:pt x="14" y="1682"/>
                  </a:lnTo>
                  <a:lnTo>
                    <a:pt x="17" y="1677"/>
                  </a:lnTo>
                  <a:lnTo>
                    <a:pt x="17" y="1677"/>
                  </a:lnTo>
                  <a:lnTo>
                    <a:pt x="20" y="1670"/>
                  </a:lnTo>
                  <a:lnTo>
                    <a:pt x="23" y="1664"/>
                  </a:lnTo>
                  <a:lnTo>
                    <a:pt x="23" y="1664"/>
                  </a:lnTo>
                  <a:lnTo>
                    <a:pt x="26" y="1657"/>
                  </a:lnTo>
                  <a:lnTo>
                    <a:pt x="26" y="1657"/>
                  </a:lnTo>
                  <a:lnTo>
                    <a:pt x="38" y="1645"/>
                  </a:lnTo>
                  <a:lnTo>
                    <a:pt x="38" y="1645"/>
                  </a:lnTo>
                  <a:lnTo>
                    <a:pt x="42" y="1641"/>
                  </a:lnTo>
                  <a:lnTo>
                    <a:pt x="42" y="1641"/>
                  </a:lnTo>
                  <a:lnTo>
                    <a:pt x="43" y="1638"/>
                  </a:lnTo>
                  <a:lnTo>
                    <a:pt x="43" y="1638"/>
                  </a:lnTo>
                  <a:lnTo>
                    <a:pt x="45" y="1635"/>
                  </a:lnTo>
                  <a:lnTo>
                    <a:pt x="45" y="1635"/>
                  </a:lnTo>
                  <a:lnTo>
                    <a:pt x="45" y="1631"/>
                  </a:lnTo>
                  <a:lnTo>
                    <a:pt x="45" y="1631"/>
                  </a:lnTo>
                  <a:lnTo>
                    <a:pt x="49" y="1618"/>
                  </a:lnTo>
                  <a:lnTo>
                    <a:pt x="49" y="1618"/>
                  </a:lnTo>
                  <a:lnTo>
                    <a:pt x="52" y="1612"/>
                  </a:lnTo>
                  <a:lnTo>
                    <a:pt x="55" y="1609"/>
                  </a:lnTo>
                  <a:lnTo>
                    <a:pt x="55" y="1609"/>
                  </a:lnTo>
                  <a:lnTo>
                    <a:pt x="61" y="1605"/>
                  </a:lnTo>
                  <a:lnTo>
                    <a:pt x="64" y="1601"/>
                  </a:lnTo>
                  <a:lnTo>
                    <a:pt x="64" y="1601"/>
                  </a:lnTo>
                  <a:lnTo>
                    <a:pt x="68" y="1590"/>
                  </a:lnTo>
                  <a:lnTo>
                    <a:pt x="68" y="1590"/>
                  </a:lnTo>
                  <a:lnTo>
                    <a:pt x="72" y="1587"/>
                  </a:lnTo>
                  <a:lnTo>
                    <a:pt x="78" y="1583"/>
                  </a:lnTo>
                  <a:lnTo>
                    <a:pt x="84" y="1579"/>
                  </a:lnTo>
                  <a:lnTo>
                    <a:pt x="91" y="1576"/>
                  </a:lnTo>
                  <a:lnTo>
                    <a:pt x="91" y="1576"/>
                  </a:lnTo>
                  <a:lnTo>
                    <a:pt x="100" y="1572"/>
                  </a:lnTo>
                  <a:lnTo>
                    <a:pt x="112" y="1566"/>
                  </a:lnTo>
                  <a:lnTo>
                    <a:pt x="112" y="1566"/>
                  </a:lnTo>
                  <a:lnTo>
                    <a:pt x="116" y="1561"/>
                  </a:lnTo>
                  <a:lnTo>
                    <a:pt x="120" y="1556"/>
                  </a:lnTo>
                  <a:lnTo>
                    <a:pt x="120" y="1556"/>
                  </a:lnTo>
                  <a:lnTo>
                    <a:pt x="123" y="1550"/>
                  </a:lnTo>
                  <a:lnTo>
                    <a:pt x="125" y="1544"/>
                  </a:lnTo>
                  <a:lnTo>
                    <a:pt x="125" y="1544"/>
                  </a:lnTo>
                  <a:lnTo>
                    <a:pt x="125" y="1544"/>
                  </a:lnTo>
                  <a:lnTo>
                    <a:pt x="122" y="1521"/>
                  </a:lnTo>
                  <a:lnTo>
                    <a:pt x="122" y="1521"/>
                  </a:lnTo>
                  <a:lnTo>
                    <a:pt x="123" y="1516"/>
                  </a:lnTo>
                  <a:lnTo>
                    <a:pt x="125" y="1512"/>
                  </a:lnTo>
                  <a:lnTo>
                    <a:pt x="125" y="1512"/>
                  </a:lnTo>
                  <a:lnTo>
                    <a:pt x="127" y="1509"/>
                  </a:lnTo>
                  <a:lnTo>
                    <a:pt x="129" y="1508"/>
                  </a:lnTo>
                  <a:lnTo>
                    <a:pt x="129" y="1508"/>
                  </a:lnTo>
                  <a:lnTo>
                    <a:pt x="132" y="1505"/>
                  </a:lnTo>
                  <a:lnTo>
                    <a:pt x="132" y="1505"/>
                  </a:lnTo>
                  <a:lnTo>
                    <a:pt x="133" y="1501"/>
                  </a:lnTo>
                  <a:lnTo>
                    <a:pt x="133" y="1501"/>
                  </a:lnTo>
                  <a:lnTo>
                    <a:pt x="135" y="1496"/>
                  </a:lnTo>
                  <a:lnTo>
                    <a:pt x="138" y="1490"/>
                  </a:lnTo>
                  <a:lnTo>
                    <a:pt x="138" y="1490"/>
                  </a:lnTo>
                  <a:lnTo>
                    <a:pt x="145" y="1483"/>
                  </a:lnTo>
                  <a:lnTo>
                    <a:pt x="145" y="1483"/>
                  </a:lnTo>
                  <a:lnTo>
                    <a:pt x="146" y="1482"/>
                  </a:lnTo>
                  <a:lnTo>
                    <a:pt x="146" y="1482"/>
                  </a:lnTo>
                  <a:lnTo>
                    <a:pt x="154" y="1480"/>
                  </a:lnTo>
                  <a:lnTo>
                    <a:pt x="154" y="1480"/>
                  </a:lnTo>
                  <a:lnTo>
                    <a:pt x="159" y="1479"/>
                  </a:lnTo>
                  <a:lnTo>
                    <a:pt x="164" y="1476"/>
                  </a:lnTo>
                  <a:lnTo>
                    <a:pt x="164" y="1476"/>
                  </a:lnTo>
                  <a:lnTo>
                    <a:pt x="171" y="1470"/>
                  </a:lnTo>
                  <a:lnTo>
                    <a:pt x="175" y="1461"/>
                  </a:lnTo>
                  <a:lnTo>
                    <a:pt x="175" y="1461"/>
                  </a:lnTo>
                  <a:lnTo>
                    <a:pt x="180" y="1454"/>
                  </a:lnTo>
                  <a:lnTo>
                    <a:pt x="182" y="1448"/>
                  </a:lnTo>
                  <a:lnTo>
                    <a:pt x="182" y="1448"/>
                  </a:lnTo>
                  <a:lnTo>
                    <a:pt x="187" y="1438"/>
                  </a:lnTo>
                  <a:lnTo>
                    <a:pt x="187" y="1438"/>
                  </a:lnTo>
                  <a:lnTo>
                    <a:pt x="190" y="1435"/>
                  </a:lnTo>
                  <a:lnTo>
                    <a:pt x="190" y="1435"/>
                  </a:lnTo>
                  <a:lnTo>
                    <a:pt x="191" y="1435"/>
                  </a:lnTo>
                  <a:lnTo>
                    <a:pt x="191" y="1435"/>
                  </a:lnTo>
                  <a:lnTo>
                    <a:pt x="191" y="1435"/>
                  </a:lnTo>
                  <a:lnTo>
                    <a:pt x="191" y="1435"/>
                  </a:lnTo>
                  <a:lnTo>
                    <a:pt x="191" y="1435"/>
                  </a:lnTo>
                  <a:lnTo>
                    <a:pt x="191" y="1435"/>
                  </a:lnTo>
                  <a:lnTo>
                    <a:pt x="191" y="1435"/>
                  </a:lnTo>
                  <a:lnTo>
                    <a:pt x="191" y="1435"/>
                  </a:lnTo>
                  <a:lnTo>
                    <a:pt x="191" y="1435"/>
                  </a:lnTo>
                  <a:lnTo>
                    <a:pt x="191" y="1435"/>
                  </a:lnTo>
                  <a:lnTo>
                    <a:pt x="191" y="1435"/>
                  </a:lnTo>
                  <a:lnTo>
                    <a:pt x="191" y="1435"/>
                  </a:lnTo>
                  <a:lnTo>
                    <a:pt x="191" y="1435"/>
                  </a:lnTo>
                  <a:lnTo>
                    <a:pt x="191" y="1435"/>
                  </a:lnTo>
                  <a:lnTo>
                    <a:pt x="193" y="1437"/>
                  </a:lnTo>
                  <a:lnTo>
                    <a:pt x="193" y="1437"/>
                  </a:lnTo>
                  <a:lnTo>
                    <a:pt x="200" y="1443"/>
                  </a:lnTo>
                  <a:lnTo>
                    <a:pt x="200" y="1443"/>
                  </a:lnTo>
                  <a:lnTo>
                    <a:pt x="204" y="1444"/>
                  </a:lnTo>
                  <a:lnTo>
                    <a:pt x="209" y="1446"/>
                  </a:lnTo>
                  <a:lnTo>
                    <a:pt x="209" y="1446"/>
                  </a:lnTo>
                  <a:lnTo>
                    <a:pt x="213" y="1446"/>
                  </a:lnTo>
                  <a:lnTo>
                    <a:pt x="213" y="1446"/>
                  </a:lnTo>
                  <a:lnTo>
                    <a:pt x="230" y="1446"/>
                  </a:lnTo>
                  <a:lnTo>
                    <a:pt x="230" y="1446"/>
                  </a:lnTo>
                  <a:lnTo>
                    <a:pt x="235" y="1446"/>
                  </a:lnTo>
                  <a:lnTo>
                    <a:pt x="235" y="1446"/>
                  </a:lnTo>
                  <a:lnTo>
                    <a:pt x="238" y="1446"/>
                  </a:lnTo>
                  <a:lnTo>
                    <a:pt x="238" y="1446"/>
                  </a:lnTo>
                  <a:lnTo>
                    <a:pt x="240" y="1448"/>
                  </a:lnTo>
                  <a:lnTo>
                    <a:pt x="240" y="1448"/>
                  </a:lnTo>
                  <a:lnTo>
                    <a:pt x="243" y="1450"/>
                  </a:lnTo>
                  <a:lnTo>
                    <a:pt x="245" y="1450"/>
                  </a:lnTo>
                  <a:lnTo>
                    <a:pt x="245" y="1450"/>
                  </a:lnTo>
                  <a:lnTo>
                    <a:pt x="248" y="1450"/>
                  </a:lnTo>
                  <a:lnTo>
                    <a:pt x="251" y="1448"/>
                  </a:lnTo>
                  <a:lnTo>
                    <a:pt x="251" y="1448"/>
                  </a:lnTo>
                  <a:lnTo>
                    <a:pt x="256" y="1443"/>
                  </a:lnTo>
                  <a:lnTo>
                    <a:pt x="256" y="1443"/>
                  </a:lnTo>
                  <a:lnTo>
                    <a:pt x="264" y="1438"/>
                  </a:lnTo>
                  <a:lnTo>
                    <a:pt x="264" y="1438"/>
                  </a:lnTo>
                  <a:lnTo>
                    <a:pt x="268" y="1437"/>
                  </a:lnTo>
                  <a:lnTo>
                    <a:pt x="272" y="1435"/>
                  </a:lnTo>
                  <a:lnTo>
                    <a:pt x="272" y="1435"/>
                  </a:lnTo>
                  <a:lnTo>
                    <a:pt x="277" y="1435"/>
                  </a:lnTo>
                  <a:lnTo>
                    <a:pt x="281" y="1434"/>
                  </a:lnTo>
                  <a:lnTo>
                    <a:pt x="281" y="1434"/>
                  </a:lnTo>
                  <a:lnTo>
                    <a:pt x="287" y="1428"/>
                  </a:lnTo>
                  <a:lnTo>
                    <a:pt x="287" y="1428"/>
                  </a:lnTo>
                  <a:lnTo>
                    <a:pt x="294" y="1424"/>
                  </a:lnTo>
                  <a:lnTo>
                    <a:pt x="294" y="1424"/>
                  </a:lnTo>
                  <a:lnTo>
                    <a:pt x="306" y="1421"/>
                  </a:lnTo>
                  <a:lnTo>
                    <a:pt x="306" y="1421"/>
                  </a:lnTo>
                  <a:lnTo>
                    <a:pt x="311" y="1419"/>
                  </a:lnTo>
                  <a:lnTo>
                    <a:pt x="311" y="1419"/>
                  </a:lnTo>
                  <a:lnTo>
                    <a:pt x="314" y="1418"/>
                  </a:lnTo>
                  <a:lnTo>
                    <a:pt x="316" y="1417"/>
                  </a:lnTo>
                  <a:lnTo>
                    <a:pt x="316" y="1417"/>
                  </a:lnTo>
                  <a:lnTo>
                    <a:pt x="319" y="1411"/>
                  </a:lnTo>
                  <a:lnTo>
                    <a:pt x="319" y="1411"/>
                  </a:lnTo>
                  <a:lnTo>
                    <a:pt x="322" y="1409"/>
                  </a:lnTo>
                  <a:lnTo>
                    <a:pt x="322" y="1409"/>
                  </a:lnTo>
                  <a:lnTo>
                    <a:pt x="322" y="1409"/>
                  </a:lnTo>
                  <a:lnTo>
                    <a:pt x="322" y="1409"/>
                  </a:lnTo>
                  <a:lnTo>
                    <a:pt x="322" y="1409"/>
                  </a:lnTo>
                  <a:lnTo>
                    <a:pt x="323" y="1409"/>
                  </a:lnTo>
                  <a:lnTo>
                    <a:pt x="323" y="1409"/>
                  </a:lnTo>
                  <a:lnTo>
                    <a:pt x="324" y="1411"/>
                  </a:lnTo>
                  <a:lnTo>
                    <a:pt x="324" y="1411"/>
                  </a:lnTo>
                  <a:lnTo>
                    <a:pt x="327" y="1412"/>
                  </a:lnTo>
                  <a:lnTo>
                    <a:pt x="327" y="1412"/>
                  </a:lnTo>
                  <a:lnTo>
                    <a:pt x="333" y="1414"/>
                  </a:lnTo>
                  <a:lnTo>
                    <a:pt x="333" y="1414"/>
                  </a:lnTo>
                  <a:lnTo>
                    <a:pt x="336" y="1414"/>
                  </a:lnTo>
                  <a:lnTo>
                    <a:pt x="336" y="1414"/>
                  </a:lnTo>
                  <a:lnTo>
                    <a:pt x="353" y="1412"/>
                  </a:lnTo>
                  <a:lnTo>
                    <a:pt x="353" y="1412"/>
                  </a:lnTo>
                  <a:lnTo>
                    <a:pt x="356" y="1414"/>
                  </a:lnTo>
                  <a:lnTo>
                    <a:pt x="356" y="1414"/>
                  </a:lnTo>
                  <a:lnTo>
                    <a:pt x="361" y="1415"/>
                  </a:lnTo>
                  <a:lnTo>
                    <a:pt x="361" y="1415"/>
                  </a:lnTo>
                  <a:lnTo>
                    <a:pt x="364" y="1417"/>
                  </a:lnTo>
                  <a:lnTo>
                    <a:pt x="366" y="1418"/>
                  </a:lnTo>
                  <a:lnTo>
                    <a:pt x="366" y="1418"/>
                  </a:lnTo>
                  <a:lnTo>
                    <a:pt x="372" y="1417"/>
                  </a:lnTo>
                  <a:lnTo>
                    <a:pt x="372" y="1417"/>
                  </a:lnTo>
                  <a:lnTo>
                    <a:pt x="385" y="1412"/>
                  </a:lnTo>
                  <a:lnTo>
                    <a:pt x="385" y="1412"/>
                  </a:lnTo>
                  <a:lnTo>
                    <a:pt x="392" y="1409"/>
                  </a:lnTo>
                  <a:lnTo>
                    <a:pt x="400" y="1408"/>
                  </a:lnTo>
                  <a:lnTo>
                    <a:pt x="400" y="1408"/>
                  </a:lnTo>
                  <a:lnTo>
                    <a:pt x="401" y="1409"/>
                  </a:lnTo>
                  <a:lnTo>
                    <a:pt x="401" y="1409"/>
                  </a:lnTo>
                  <a:lnTo>
                    <a:pt x="410" y="1411"/>
                  </a:lnTo>
                  <a:lnTo>
                    <a:pt x="417" y="1411"/>
                  </a:lnTo>
                  <a:lnTo>
                    <a:pt x="417" y="1411"/>
                  </a:lnTo>
                  <a:lnTo>
                    <a:pt x="423" y="1411"/>
                  </a:lnTo>
                  <a:lnTo>
                    <a:pt x="423" y="1411"/>
                  </a:lnTo>
                  <a:lnTo>
                    <a:pt x="430" y="1406"/>
                  </a:lnTo>
                  <a:lnTo>
                    <a:pt x="430" y="1406"/>
                  </a:lnTo>
                  <a:lnTo>
                    <a:pt x="436" y="1404"/>
                  </a:lnTo>
                  <a:lnTo>
                    <a:pt x="440" y="1404"/>
                  </a:lnTo>
                  <a:lnTo>
                    <a:pt x="440" y="1404"/>
                  </a:lnTo>
                  <a:lnTo>
                    <a:pt x="442" y="1404"/>
                  </a:lnTo>
                  <a:lnTo>
                    <a:pt x="442" y="1404"/>
                  </a:lnTo>
                  <a:lnTo>
                    <a:pt x="448" y="1409"/>
                  </a:lnTo>
                  <a:lnTo>
                    <a:pt x="448" y="1409"/>
                  </a:lnTo>
                  <a:lnTo>
                    <a:pt x="452" y="1411"/>
                  </a:lnTo>
                  <a:lnTo>
                    <a:pt x="455" y="1412"/>
                  </a:lnTo>
                  <a:lnTo>
                    <a:pt x="456" y="1412"/>
                  </a:lnTo>
                  <a:lnTo>
                    <a:pt x="456" y="1412"/>
                  </a:lnTo>
                  <a:lnTo>
                    <a:pt x="456" y="1412"/>
                  </a:lnTo>
                  <a:lnTo>
                    <a:pt x="456" y="1411"/>
                  </a:lnTo>
                  <a:lnTo>
                    <a:pt x="455" y="1412"/>
                  </a:lnTo>
                  <a:lnTo>
                    <a:pt x="456" y="1412"/>
                  </a:lnTo>
                  <a:lnTo>
                    <a:pt x="456" y="1411"/>
                  </a:lnTo>
                  <a:lnTo>
                    <a:pt x="455" y="1412"/>
                  </a:lnTo>
                  <a:lnTo>
                    <a:pt x="456" y="1411"/>
                  </a:lnTo>
                  <a:lnTo>
                    <a:pt x="455" y="1411"/>
                  </a:lnTo>
                  <a:lnTo>
                    <a:pt x="455" y="1412"/>
                  </a:lnTo>
                  <a:lnTo>
                    <a:pt x="456" y="1411"/>
                  </a:lnTo>
                  <a:lnTo>
                    <a:pt x="455" y="1411"/>
                  </a:lnTo>
                  <a:lnTo>
                    <a:pt x="455" y="1411"/>
                  </a:lnTo>
                  <a:lnTo>
                    <a:pt x="455" y="1411"/>
                  </a:lnTo>
                  <a:lnTo>
                    <a:pt x="455" y="1411"/>
                  </a:lnTo>
                  <a:lnTo>
                    <a:pt x="455" y="1411"/>
                  </a:lnTo>
                  <a:lnTo>
                    <a:pt x="455" y="1411"/>
                  </a:lnTo>
                  <a:lnTo>
                    <a:pt x="455" y="1411"/>
                  </a:lnTo>
                  <a:lnTo>
                    <a:pt x="453" y="1414"/>
                  </a:lnTo>
                  <a:lnTo>
                    <a:pt x="453" y="1414"/>
                  </a:lnTo>
                  <a:lnTo>
                    <a:pt x="452" y="1418"/>
                  </a:lnTo>
                  <a:lnTo>
                    <a:pt x="452" y="1418"/>
                  </a:lnTo>
                  <a:lnTo>
                    <a:pt x="450" y="1427"/>
                  </a:lnTo>
                  <a:lnTo>
                    <a:pt x="450" y="1427"/>
                  </a:lnTo>
                  <a:lnTo>
                    <a:pt x="452" y="1432"/>
                  </a:lnTo>
                  <a:lnTo>
                    <a:pt x="452" y="1432"/>
                  </a:lnTo>
                  <a:lnTo>
                    <a:pt x="452" y="1435"/>
                  </a:lnTo>
                  <a:lnTo>
                    <a:pt x="453" y="1438"/>
                  </a:lnTo>
                  <a:lnTo>
                    <a:pt x="453" y="1438"/>
                  </a:lnTo>
                  <a:lnTo>
                    <a:pt x="453" y="1438"/>
                  </a:lnTo>
                  <a:lnTo>
                    <a:pt x="455" y="1441"/>
                  </a:lnTo>
                  <a:lnTo>
                    <a:pt x="455" y="1441"/>
                  </a:lnTo>
                  <a:lnTo>
                    <a:pt x="453" y="1448"/>
                  </a:lnTo>
                  <a:lnTo>
                    <a:pt x="453" y="1448"/>
                  </a:lnTo>
                  <a:lnTo>
                    <a:pt x="450" y="1453"/>
                  </a:lnTo>
                  <a:lnTo>
                    <a:pt x="450" y="1453"/>
                  </a:lnTo>
                  <a:lnTo>
                    <a:pt x="445" y="1460"/>
                  </a:lnTo>
                  <a:lnTo>
                    <a:pt x="445" y="1460"/>
                  </a:lnTo>
                  <a:lnTo>
                    <a:pt x="443" y="1464"/>
                  </a:lnTo>
                  <a:lnTo>
                    <a:pt x="443" y="1469"/>
                  </a:lnTo>
                  <a:lnTo>
                    <a:pt x="443" y="1469"/>
                  </a:lnTo>
                  <a:lnTo>
                    <a:pt x="443" y="1473"/>
                  </a:lnTo>
                  <a:lnTo>
                    <a:pt x="443" y="1473"/>
                  </a:lnTo>
                  <a:lnTo>
                    <a:pt x="446" y="1476"/>
                  </a:lnTo>
                  <a:lnTo>
                    <a:pt x="446" y="1476"/>
                  </a:lnTo>
                  <a:lnTo>
                    <a:pt x="450" y="1477"/>
                  </a:lnTo>
                  <a:lnTo>
                    <a:pt x="455" y="1477"/>
                  </a:lnTo>
                  <a:lnTo>
                    <a:pt x="455" y="1477"/>
                  </a:lnTo>
                  <a:lnTo>
                    <a:pt x="456" y="1477"/>
                  </a:lnTo>
                  <a:lnTo>
                    <a:pt x="456"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6" y="1480"/>
                  </a:lnTo>
                  <a:lnTo>
                    <a:pt x="456" y="1480"/>
                  </a:lnTo>
                  <a:lnTo>
                    <a:pt x="456" y="1483"/>
                  </a:lnTo>
                  <a:lnTo>
                    <a:pt x="456" y="1483"/>
                  </a:lnTo>
                  <a:lnTo>
                    <a:pt x="458" y="1486"/>
                  </a:lnTo>
                  <a:lnTo>
                    <a:pt x="458" y="1486"/>
                  </a:lnTo>
                  <a:lnTo>
                    <a:pt x="459" y="1488"/>
                  </a:lnTo>
                  <a:lnTo>
                    <a:pt x="459" y="1488"/>
                  </a:lnTo>
                  <a:lnTo>
                    <a:pt x="459" y="1488"/>
                  </a:lnTo>
                  <a:lnTo>
                    <a:pt x="459" y="1488"/>
                  </a:lnTo>
                  <a:lnTo>
                    <a:pt x="463" y="1486"/>
                  </a:lnTo>
                  <a:lnTo>
                    <a:pt x="463" y="1486"/>
                  </a:lnTo>
                  <a:lnTo>
                    <a:pt x="468" y="1485"/>
                  </a:lnTo>
                  <a:lnTo>
                    <a:pt x="468" y="1485"/>
                  </a:lnTo>
                  <a:lnTo>
                    <a:pt x="471" y="1486"/>
                  </a:lnTo>
                  <a:lnTo>
                    <a:pt x="471" y="1486"/>
                  </a:lnTo>
                  <a:lnTo>
                    <a:pt x="475" y="1489"/>
                  </a:lnTo>
                  <a:lnTo>
                    <a:pt x="475" y="1489"/>
                  </a:lnTo>
                  <a:lnTo>
                    <a:pt x="481" y="1490"/>
                  </a:lnTo>
                  <a:lnTo>
                    <a:pt x="488" y="1490"/>
                  </a:lnTo>
                  <a:lnTo>
                    <a:pt x="488" y="1490"/>
                  </a:lnTo>
                  <a:lnTo>
                    <a:pt x="492" y="1490"/>
                  </a:lnTo>
                  <a:lnTo>
                    <a:pt x="492" y="1490"/>
                  </a:lnTo>
                  <a:lnTo>
                    <a:pt x="498" y="1490"/>
                  </a:lnTo>
                  <a:lnTo>
                    <a:pt x="498" y="1490"/>
                  </a:lnTo>
                  <a:lnTo>
                    <a:pt x="504" y="1492"/>
                  </a:lnTo>
                  <a:lnTo>
                    <a:pt x="508" y="1495"/>
                  </a:lnTo>
                  <a:lnTo>
                    <a:pt x="508" y="1495"/>
                  </a:lnTo>
                  <a:lnTo>
                    <a:pt x="513" y="1498"/>
                  </a:lnTo>
                  <a:lnTo>
                    <a:pt x="513" y="1498"/>
                  </a:lnTo>
                  <a:lnTo>
                    <a:pt x="518" y="1498"/>
                  </a:lnTo>
                  <a:lnTo>
                    <a:pt x="518" y="1498"/>
                  </a:lnTo>
                  <a:lnTo>
                    <a:pt x="521" y="1499"/>
                  </a:lnTo>
                  <a:lnTo>
                    <a:pt x="521" y="1499"/>
                  </a:lnTo>
                  <a:lnTo>
                    <a:pt x="524" y="1502"/>
                  </a:lnTo>
                  <a:lnTo>
                    <a:pt x="524" y="1502"/>
                  </a:lnTo>
                  <a:lnTo>
                    <a:pt x="526" y="1508"/>
                  </a:lnTo>
                  <a:lnTo>
                    <a:pt x="526" y="1508"/>
                  </a:lnTo>
                  <a:lnTo>
                    <a:pt x="527" y="1512"/>
                  </a:lnTo>
                  <a:lnTo>
                    <a:pt x="527" y="1512"/>
                  </a:lnTo>
                  <a:lnTo>
                    <a:pt x="530" y="1516"/>
                  </a:lnTo>
                  <a:lnTo>
                    <a:pt x="534" y="1519"/>
                  </a:lnTo>
                  <a:lnTo>
                    <a:pt x="534" y="1519"/>
                  </a:lnTo>
                  <a:lnTo>
                    <a:pt x="539" y="1522"/>
                  </a:lnTo>
                  <a:lnTo>
                    <a:pt x="545" y="1524"/>
                  </a:lnTo>
                  <a:lnTo>
                    <a:pt x="545" y="1524"/>
                  </a:lnTo>
                  <a:lnTo>
                    <a:pt x="550" y="1524"/>
                  </a:lnTo>
                  <a:lnTo>
                    <a:pt x="556" y="1525"/>
                  </a:lnTo>
                  <a:lnTo>
                    <a:pt x="556" y="1525"/>
                  </a:lnTo>
                  <a:lnTo>
                    <a:pt x="569" y="1532"/>
                  </a:lnTo>
                  <a:lnTo>
                    <a:pt x="569" y="1532"/>
                  </a:lnTo>
                  <a:lnTo>
                    <a:pt x="579" y="1538"/>
                  </a:lnTo>
                  <a:lnTo>
                    <a:pt x="579" y="1538"/>
                  </a:lnTo>
                  <a:lnTo>
                    <a:pt x="584" y="1540"/>
                  </a:lnTo>
                  <a:lnTo>
                    <a:pt x="587" y="1541"/>
                  </a:lnTo>
                  <a:lnTo>
                    <a:pt x="587" y="1541"/>
                  </a:lnTo>
                  <a:lnTo>
                    <a:pt x="591" y="1540"/>
                  </a:lnTo>
                  <a:lnTo>
                    <a:pt x="595" y="1538"/>
                  </a:lnTo>
                  <a:lnTo>
                    <a:pt x="595" y="1538"/>
                  </a:lnTo>
                  <a:lnTo>
                    <a:pt x="600" y="1534"/>
                  </a:lnTo>
                  <a:lnTo>
                    <a:pt x="602" y="1531"/>
                  </a:lnTo>
                  <a:lnTo>
                    <a:pt x="602" y="1531"/>
                  </a:lnTo>
                  <a:lnTo>
                    <a:pt x="604" y="1527"/>
                  </a:lnTo>
                  <a:lnTo>
                    <a:pt x="604" y="1521"/>
                  </a:lnTo>
                  <a:lnTo>
                    <a:pt x="604" y="1521"/>
                  </a:lnTo>
                  <a:lnTo>
                    <a:pt x="602" y="1511"/>
                  </a:lnTo>
                  <a:lnTo>
                    <a:pt x="602" y="1511"/>
                  </a:lnTo>
                  <a:lnTo>
                    <a:pt x="602" y="1506"/>
                  </a:lnTo>
                  <a:lnTo>
                    <a:pt x="602" y="1506"/>
                  </a:lnTo>
                  <a:lnTo>
                    <a:pt x="602" y="1505"/>
                  </a:lnTo>
                  <a:lnTo>
                    <a:pt x="604" y="1503"/>
                  </a:lnTo>
                  <a:lnTo>
                    <a:pt x="604" y="1503"/>
                  </a:lnTo>
                  <a:lnTo>
                    <a:pt x="610" y="1499"/>
                  </a:lnTo>
                  <a:lnTo>
                    <a:pt x="610" y="1499"/>
                  </a:lnTo>
                  <a:lnTo>
                    <a:pt x="614" y="1496"/>
                  </a:lnTo>
                  <a:lnTo>
                    <a:pt x="614" y="1496"/>
                  </a:lnTo>
                  <a:lnTo>
                    <a:pt x="627" y="1492"/>
                  </a:lnTo>
                  <a:lnTo>
                    <a:pt x="627" y="1492"/>
                  </a:lnTo>
                  <a:lnTo>
                    <a:pt x="637" y="1490"/>
                  </a:lnTo>
                  <a:lnTo>
                    <a:pt x="637" y="1490"/>
                  </a:lnTo>
                  <a:lnTo>
                    <a:pt x="637" y="1490"/>
                  </a:lnTo>
                  <a:lnTo>
                    <a:pt x="642" y="1492"/>
                  </a:lnTo>
                  <a:lnTo>
                    <a:pt x="643" y="1493"/>
                  </a:lnTo>
                  <a:lnTo>
                    <a:pt x="643" y="1493"/>
                  </a:lnTo>
                  <a:lnTo>
                    <a:pt x="649" y="1499"/>
                  </a:lnTo>
                  <a:lnTo>
                    <a:pt x="649" y="1499"/>
                  </a:lnTo>
                  <a:lnTo>
                    <a:pt x="650" y="1502"/>
                  </a:lnTo>
                  <a:lnTo>
                    <a:pt x="650" y="1502"/>
                  </a:lnTo>
                  <a:lnTo>
                    <a:pt x="652" y="1503"/>
                  </a:lnTo>
                  <a:lnTo>
                    <a:pt x="652" y="1503"/>
                  </a:lnTo>
                  <a:lnTo>
                    <a:pt x="655" y="1506"/>
                  </a:lnTo>
                  <a:lnTo>
                    <a:pt x="655" y="1506"/>
                  </a:lnTo>
                  <a:lnTo>
                    <a:pt x="663" y="1508"/>
                  </a:lnTo>
                  <a:lnTo>
                    <a:pt x="663" y="1508"/>
                  </a:lnTo>
                  <a:lnTo>
                    <a:pt x="671" y="1509"/>
                  </a:lnTo>
                  <a:lnTo>
                    <a:pt x="679" y="1512"/>
                  </a:lnTo>
                  <a:lnTo>
                    <a:pt x="679" y="1512"/>
                  </a:lnTo>
                  <a:lnTo>
                    <a:pt x="685" y="1514"/>
                  </a:lnTo>
                  <a:lnTo>
                    <a:pt x="685" y="1514"/>
                  </a:lnTo>
                  <a:lnTo>
                    <a:pt x="691" y="1515"/>
                  </a:lnTo>
                  <a:lnTo>
                    <a:pt x="691" y="1515"/>
                  </a:lnTo>
                  <a:lnTo>
                    <a:pt x="695" y="1515"/>
                  </a:lnTo>
                  <a:lnTo>
                    <a:pt x="695" y="1515"/>
                  </a:lnTo>
                  <a:lnTo>
                    <a:pt x="708" y="1518"/>
                  </a:lnTo>
                  <a:lnTo>
                    <a:pt x="708" y="1518"/>
                  </a:lnTo>
                  <a:lnTo>
                    <a:pt x="718" y="1521"/>
                  </a:lnTo>
                  <a:lnTo>
                    <a:pt x="718" y="1521"/>
                  </a:lnTo>
                  <a:lnTo>
                    <a:pt x="733" y="1525"/>
                  </a:lnTo>
                  <a:lnTo>
                    <a:pt x="733" y="1525"/>
                  </a:lnTo>
                  <a:lnTo>
                    <a:pt x="742" y="1528"/>
                  </a:lnTo>
                  <a:lnTo>
                    <a:pt x="749" y="1528"/>
                  </a:lnTo>
                  <a:lnTo>
                    <a:pt x="749" y="1528"/>
                  </a:lnTo>
                  <a:lnTo>
                    <a:pt x="753" y="1528"/>
                  </a:lnTo>
                  <a:lnTo>
                    <a:pt x="753" y="1528"/>
                  </a:lnTo>
                  <a:lnTo>
                    <a:pt x="757" y="1525"/>
                  </a:lnTo>
                  <a:lnTo>
                    <a:pt x="757" y="1525"/>
                  </a:lnTo>
                  <a:lnTo>
                    <a:pt x="765" y="1518"/>
                  </a:lnTo>
                  <a:lnTo>
                    <a:pt x="765" y="1518"/>
                  </a:lnTo>
                  <a:lnTo>
                    <a:pt x="770" y="1514"/>
                  </a:lnTo>
                  <a:lnTo>
                    <a:pt x="770" y="1514"/>
                  </a:lnTo>
                  <a:lnTo>
                    <a:pt x="775" y="1512"/>
                  </a:lnTo>
                  <a:lnTo>
                    <a:pt x="775" y="1512"/>
                  </a:lnTo>
                  <a:lnTo>
                    <a:pt x="775" y="1512"/>
                  </a:lnTo>
                  <a:lnTo>
                    <a:pt x="775" y="1512"/>
                  </a:lnTo>
                  <a:lnTo>
                    <a:pt x="775" y="1512"/>
                  </a:lnTo>
                  <a:lnTo>
                    <a:pt x="775" y="1512"/>
                  </a:lnTo>
                  <a:lnTo>
                    <a:pt x="775" y="1512"/>
                  </a:lnTo>
                  <a:lnTo>
                    <a:pt x="775" y="1511"/>
                  </a:lnTo>
                  <a:lnTo>
                    <a:pt x="775" y="1512"/>
                  </a:lnTo>
                  <a:lnTo>
                    <a:pt x="775" y="1512"/>
                  </a:lnTo>
                  <a:lnTo>
                    <a:pt x="775" y="1511"/>
                  </a:lnTo>
                  <a:lnTo>
                    <a:pt x="775" y="1512"/>
                  </a:lnTo>
                  <a:lnTo>
                    <a:pt x="775" y="1511"/>
                  </a:lnTo>
                  <a:lnTo>
                    <a:pt x="775" y="1512"/>
                  </a:lnTo>
                  <a:lnTo>
                    <a:pt x="775" y="1512"/>
                  </a:lnTo>
                  <a:lnTo>
                    <a:pt x="775" y="1511"/>
                  </a:lnTo>
                  <a:lnTo>
                    <a:pt x="775" y="1512"/>
                  </a:lnTo>
                  <a:lnTo>
                    <a:pt x="775" y="1512"/>
                  </a:lnTo>
                  <a:lnTo>
                    <a:pt x="775" y="1512"/>
                  </a:lnTo>
                  <a:lnTo>
                    <a:pt x="775" y="1512"/>
                  </a:lnTo>
                  <a:lnTo>
                    <a:pt x="775" y="1512"/>
                  </a:lnTo>
                  <a:lnTo>
                    <a:pt x="775" y="1512"/>
                  </a:lnTo>
                  <a:lnTo>
                    <a:pt x="775" y="1512"/>
                  </a:lnTo>
                  <a:lnTo>
                    <a:pt x="776" y="1512"/>
                  </a:lnTo>
                  <a:lnTo>
                    <a:pt x="776" y="1512"/>
                  </a:lnTo>
                  <a:lnTo>
                    <a:pt x="779" y="1515"/>
                  </a:lnTo>
                  <a:lnTo>
                    <a:pt x="779" y="1515"/>
                  </a:lnTo>
                  <a:lnTo>
                    <a:pt x="782" y="1514"/>
                  </a:lnTo>
                  <a:lnTo>
                    <a:pt x="782" y="1514"/>
                  </a:lnTo>
                  <a:lnTo>
                    <a:pt x="784" y="1512"/>
                  </a:lnTo>
                  <a:lnTo>
                    <a:pt x="785" y="1512"/>
                  </a:lnTo>
                  <a:lnTo>
                    <a:pt x="785" y="1512"/>
                  </a:lnTo>
                  <a:lnTo>
                    <a:pt x="785" y="1512"/>
                  </a:lnTo>
                  <a:lnTo>
                    <a:pt x="785" y="1512"/>
                  </a:lnTo>
                  <a:lnTo>
                    <a:pt x="785" y="1512"/>
                  </a:lnTo>
                  <a:lnTo>
                    <a:pt x="789" y="1518"/>
                  </a:lnTo>
                  <a:lnTo>
                    <a:pt x="789" y="1518"/>
                  </a:lnTo>
                  <a:lnTo>
                    <a:pt x="794" y="1519"/>
                  </a:lnTo>
                  <a:lnTo>
                    <a:pt x="794" y="1519"/>
                  </a:lnTo>
                  <a:lnTo>
                    <a:pt x="798" y="1521"/>
                  </a:lnTo>
                  <a:lnTo>
                    <a:pt x="798" y="1521"/>
                  </a:lnTo>
                  <a:lnTo>
                    <a:pt x="799" y="1521"/>
                  </a:lnTo>
                  <a:lnTo>
                    <a:pt x="799" y="1521"/>
                  </a:lnTo>
                  <a:lnTo>
                    <a:pt x="808" y="1522"/>
                  </a:lnTo>
                  <a:lnTo>
                    <a:pt x="808" y="1522"/>
                  </a:lnTo>
                  <a:lnTo>
                    <a:pt x="818" y="1522"/>
                  </a:lnTo>
                  <a:lnTo>
                    <a:pt x="818" y="1522"/>
                  </a:lnTo>
                  <a:lnTo>
                    <a:pt x="826" y="1522"/>
                  </a:lnTo>
                  <a:lnTo>
                    <a:pt x="826" y="1522"/>
                  </a:lnTo>
                  <a:lnTo>
                    <a:pt x="828" y="1521"/>
                  </a:lnTo>
                  <a:lnTo>
                    <a:pt x="830" y="1519"/>
                  </a:lnTo>
                  <a:lnTo>
                    <a:pt x="830" y="1519"/>
                  </a:lnTo>
                  <a:lnTo>
                    <a:pt x="833" y="1514"/>
                  </a:lnTo>
                  <a:lnTo>
                    <a:pt x="836" y="1508"/>
                  </a:lnTo>
                  <a:lnTo>
                    <a:pt x="836" y="1508"/>
                  </a:lnTo>
                  <a:lnTo>
                    <a:pt x="837" y="1502"/>
                  </a:lnTo>
                  <a:lnTo>
                    <a:pt x="841" y="1495"/>
                  </a:lnTo>
                  <a:lnTo>
                    <a:pt x="841" y="1495"/>
                  </a:lnTo>
                  <a:lnTo>
                    <a:pt x="846" y="1485"/>
                  </a:lnTo>
                  <a:lnTo>
                    <a:pt x="849" y="1476"/>
                  </a:lnTo>
                  <a:lnTo>
                    <a:pt x="849" y="1476"/>
                  </a:lnTo>
                  <a:lnTo>
                    <a:pt x="852" y="1467"/>
                  </a:lnTo>
                  <a:lnTo>
                    <a:pt x="852" y="1461"/>
                  </a:lnTo>
                  <a:lnTo>
                    <a:pt x="852" y="1461"/>
                  </a:lnTo>
                  <a:lnTo>
                    <a:pt x="853" y="1459"/>
                  </a:lnTo>
                  <a:lnTo>
                    <a:pt x="853" y="1459"/>
                  </a:lnTo>
                  <a:lnTo>
                    <a:pt x="856" y="1456"/>
                  </a:lnTo>
                  <a:lnTo>
                    <a:pt x="856" y="1456"/>
                  </a:lnTo>
                  <a:lnTo>
                    <a:pt x="859" y="1453"/>
                  </a:lnTo>
                  <a:lnTo>
                    <a:pt x="860" y="1448"/>
                  </a:lnTo>
                  <a:lnTo>
                    <a:pt x="860" y="1448"/>
                  </a:lnTo>
                  <a:lnTo>
                    <a:pt x="860" y="1430"/>
                  </a:lnTo>
                  <a:lnTo>
                    <a:pt x="860" y="1430"/>
                  </a:lnTo>
                  <a:lnTo>
                    <a:pt x="860" y="1424"/>
                  </a:lnTo>
                  <a:lnTo>
                    <a:pt x="860" y="1424"/>
                  </a:lnTo>
                  <a:lnTo>
                    <a:pt x="860" y="1424"/>
                  </a:lnTo>
                  <a:lnTo>
                    <a:pt x="862" y="1418"/>
                  </a:lnTo>
                  <a:lnTo>
                    <a:pt x="862" y="1418"/>
                  </a:lnTo>
                  <a:lnTo>
                    <a:pt x="862" y="1415"/>
                  </a:lnTo>
                  <a:lnTo>
                    <a:pt x="862" y="1415"/>
                  </a:lnTo>
                  <a:lnTo>
                    <a:pt x="863" y="1412"/>
                  </a:lnTo>
                  <a:lnTo>
                    <a:pt x="863" y="1412"/>
                  </a:lnTo>
                  <a:lnTo>
                    <a:pt x="862" y="1409"/>
                  </a:lnTo>
                  <a:lnTo>
                    <a:pt x="862" y="1409"/>
                  </a:lnTo>
                  <a:lnTo>
                    <a:pt x="862" y="1409"/>
                  </a:lnTo>
                  <a:lnTo>
                    <a:pt x="862" y="1409"/>
                  </a:lnTo>
                  <a:lnTo>
                    <a:pt x="860" y="1408"/>
                  </a:lnTo>
                  <a:lnTo>
                    <a:pt x="860" y="1408"/>
                  </a:lnTo>
                  <a:lnTo>
                    <a:pt x="857" y="1409"/>
                  </a:lnTo>
                  <a:lnTo>
                    <a:pt x="857" y="1409"/>
                  </a:lnTo>
                  <a:lnTo>
                    <a:pt x="856" y="1411"/>
                  </a:lnTo>
                  <a:lnTo>
                    <a:pt x="856" y="1411"/>
                  </a:lnTo>
                  <a:lnTo>
                    <a:pt x="856" y="1411"/>
                  </a:lnTo>
                  <a:lnTo>
                    <a:pt x="854" y="1409"/>
                  </a:lnTo>
                  <a:lnTo>
                    <a:pt x="854" y="1409"/>
                  </a:lnTo>
                  <a:lnTo>
                    <a:pt x="852" y="1408"/>
                  </a:lnTo>
                  <a:lnTo>
                    <a:pt x="852" y="1408"/>
                  </a:lnTo>
                  <a:lnTo>
                    <a:pt x="850" y="1406"/>
                  </a:lnTo>
                  <a:lnTo>
                    <a:pt x="850" y="1406"/>
                  </a:lnTo>
                  <a:lnTo>
                    <a:pt x="847" y="1405"/>
                  </a:lnTo>
                  <a:lnTo>
                    <a:pt x="847" y="1405"/>
                  </a:lnTo>
                  <a:lnTo>
                    <a:pt x="846" y="1406"/>
                  </a:lnTo>
                  <a:lnTo>
                    <a:pt x="844" y="1406"/>
                  </a:lnTo>
                  <a:lnTo>
                    <a:pt x="844" y="1406"/>
                  </a:lnTo>
                  <a:lnTo>
                    <a:pt x="843" y="1405"/>
                  </a:lnTo>
                  <a:lnTo>
                    <a:pt x="843" y="1405"/>
                  </a:lnTo>
                  <a:lnTo>
                    <a:pt x="840" y="1405"/>
                  </a:lnTo>
                  <a:lnTo>
                    <a:pt x="840" y="1405"/>
                  </a:lnTo>
                  <a:lnTo>
                    <a:pt x="837" y="1405"/>
                  </a:lnTo>
                  <a:lnTo>
                    <a:pt x="836" y="1406"/>
                  </a:lnTo>
                  <a:lnTo>
                    <a:pt x="836" y="1406"/>
                  </a:lnTo>
                  <a:lnTo>
                    <a:pt x="833" y="1411"/>
                  </a:lnTo>
                  <a:lnTo>
                    <a:pt x="833" y="1411"/>
                  </a:lnTo>
                  <a:lnTo>
                    <a:pt x="828" y="1415"/>
                  </a:lnTo>
                  <a:lnTo>
                    <a:pt x="828" y="1415"/>
                  </a:lnTo>
                  <a:lnTo>
                    <a:pt x="826" y="1418"/>
                  </a:lnTo>
                  <a:lnTo>
                    <a:pt x="823" y="1419"/>
                  </a:lnTo>
                  <a:lnTo>
                    <a:pt x="823" y="1419"/>
                  </a:lnTo>
                  <a:lnTo>
                    <a:pt x="810" y="1419"/>
                  </a:lnTo>
                  <a:lnTo>
                    <a:pt x="810" y="1419"/>
                  </a:lnTo>
                  <a:lnTo>
                    <a:pt x="804" y="1419"/>
                  </a:lnTo>
                  <a:lnTo>
                    <a:pt x="799" y="1417"/>
                  </a:lnTo>
                  <a:lnTo>
                    <a:pt x="799" y="1417"/>
                  </a:lnTo>
                  <a:lnTo>
                    <a:pt x="794" y="1414"/>
                  </a:lnTo>
                  <a:lnTo>
                    <a:pt x="786" y="1411"/>
                  </a:lnTo>
                  <a:lnTo>
                    <a:pt x="786" y="1411"/>
                  </a:lnTo>
                  <a:lnTo>
                    <a:pt x="779" y="1409"/>
                  </a:lnTo>
                  <a:lnTo>
                    <a:pt x="779" y="1409"/>
                  </a:lnTo>
                  <a:lnTo>
                    <a:pt x="775" y="1408"/>
                  </a:lnTo>
                  <a:lnTo>
                    <a:pt x="775" y="1408"/>
                  </a:lnTo>
                  <a:lnTo>
                    <a:pt x="772" y="1408"/>
                  </a:lnTo>
                  <a:lnTo>
                    <a:pt x="772" y="1409"/>
                  </a:lnTo>
                  <a:lnTo>
                    <a:pt x="772" y="1409"/>
                  </a:lnTo>
                  <a:lnTo>
                    <a:pt x="770" y="1411"/>
                  </a:lnTo>
                  <a:lnTo>
                    <a:pt x="770" y="1411"/>
                  </a:lnTo>
                  <a:lnTo>
                    <a:pt x="770" y="1411"/>
                  </a:lnTo>
                  <a:lnTo>
                    <a:pt x="770" y="1414"/>
                  </a:lnTo>
                  <a:lnTo>
                    <a:pt x="770" y="1414"/>
                  </a:lnTo>
                  <a:lnTo>
                    <a:pt x="769" y="1418"/>
                  </a:lnTo>
                  <a:lnTo>
                    <a:pt x="769" y="1418"/>
                  </a:lnTo>
                  <a:lnTo>
                    <a:pt x="768" y="1419"/>
                  </a:lnTo>
                  <a:lnTo>
                    <a:pt x="766" y="1419"/>
                  </a:lnTo>
                  <a:lnTo>
                    <a:pt x="766" y="1419"/>
                  </a:lnTo>
                  <a:lnTo>
                    <a:pt x="759" y="1418"/>
                  </a:lnTo>
                  <a:lnTo>
                    <a:pt x="752" y="1414"/>
                  </a:lnTo>
                  <a:lnTo>
                    <a:pt x="752" y="1414"/>
                  </a:lnTo>
                  <a:lnTo>
                    <a:pt x="744" y="1409"/>
                  </a:lnTo>
                  <a:lnTo>
                    <a:pt x="744" y="1409"/>
                  </a:lnTo>
                  <a:lnTo>
                    <a:pt x="739" y="1406"/>
                  </a:lnTo>
                  <a:lnTo>
                    <a:pt x="739" y="1406"/>
                  </a:lnTo>
                  <a:lnTo>
                    <a:pt x="726" y="1402"/>
                  </a:lnTo>
                  <a:lnTo>
                    <a:pt x="726" y="1402"/>
                  </a:lnTo>
                  <a:lnTo>
                    <a:pt x="723" y="1401"/>
                  </a:lnTo>
                  <a:lnTo>
                    <a:pt x="721" y="1399"/>
                  </a:lnTo>
                  <a:lnTo>
                    <a:pt x="721" y="1399"/>
                  </a:lnTo>
                  <a:lnTo>
                    <a:pt x="718" y="1395"/>
                  </a:lnTo>
                  <a:lnTo>
                    <a:pt x="718" y="1395"/>
                  </a:lnTo>
                  <a:lnTo>
                    <a:pt x="717" y="1393"/>
                  </a:lnTo>
                  <a:lnTo>
                    <a:pt x="717" y="1390"/>
                  </a:lnTo>
                  <a:lnTo>
                    <a:pt x="717" y="1390"/>
                  </a:lnTo>
                  <a:lnTo>
                    <a:pt x="717" y="1389"/>
                  </a:lnTo>
                  <a:lnTo>
                    <a:pt x="717" y="1389"/>
                  </a:lnTo>
                  <a:lnTo>
                    <a:pt x="718" y="1386"/>
                  </a:lnTo>
                  <a:lnTo>
                    <a:pt x="718" y="1383"/>
                  </a:lnTo>
                  <a:lnTo>
                    <a:pt x="718" y="1383"/>
                  </a:lnTo>
                  <a:lnTo>
                    <a:pt x="717" y="1380"/>
                  </a:lnTo>
                  <a:lnTo>
                    <a:pt x="717" y="1380"/>
                  </a:lnTo>
                  <a:lnTo>
                    <a:pt x="715" y="1379"/>
                  </a:lnTo>
                  <a:lnTo>
                    <a:pt x="714" y="1379"/>
                  </a:lnTo>
                  <a:lnTo>
                    <a:pt x="713" y="1379"/>
                  </a:lnTo>
                  <a:lnTo>
                    <a:pt x="713" y="1379"/>
                  </a:lnTo>
                  <a:lnTo>
                    <a:pt x="710" y="1379"/>
                  </a:lnTo>
                  <a:lnTo>
                    <a:pt x="710" y="1379"/>
                  </a:lnTo>
                  <a:lnTo>
                    <a:pt x="707" y="1380"/>
                  </a:lnTo>
                  <a:lnTo>
                    <a:pt x="707" y="1380"/>
                  </a:lnTo>
                  <a:lnTo>
                    <a:pt x="702" y="1379"/>
                  </a:lnTo>
                  <a:lnTo>
                    <a:pt x="702" y="1379"/>
                  </a:lnTo>
                  <a:lnTo>
                    <a:pt x="698" y="1375"/>
                  </a:lnTo>
                  <a:lnTo>
                    <a:pt x="698" y="1375"/>
                  </a:lnTo>
                  <a:lnTo>
                    <a:pt x="697" y="1373"/>
                  </a:lnTo>
                  <a:lnTo>
                    <a:pt x="697" y="1373"/>
                  </a:lnTo>
                  <a:lnTo>
                    <a:pt x="697" y="1373"/>
                  </a:lnTo>
                  <a:lnTo>
                    <a:pt x="697" y="1373"/>
                  </a:lnTo>
                  <a:lnTo>
                    <a:pt x="697" y="1373"/>
                  </a:lnTo>
                  <a:lnTo>
                    <a:pt x="697" y="1373"/>
                  </a:lnTo>
                  <a:lnTo>
                    <a:pt x="697" y="1373"/>
                  </a:lnTo>
                  <a:lnTo>
                    <a:pt x="695" y="1373"/>
                  </a:lnTo>
                  <a:lnTo>
                    <a:pt x="697" y="1373"/>
                  </a:lnTo>
                  <a:lnTo>
                    <a:pt x="697" y="1373"/>
                  </a:lnTo>
                  <a:lnTo>
                    <a:pt x="695" y="1373"/>
                  </a:lnTo>
                  <a:lnTo>
                    <a:pt x="697" y="1373"/>
                  </a:lnTo>
                  <a:lnTo>
                    <a:pt x="694" y="1373"/>
                  </a:lnTo>
                  <a:lnTo>
                    <a:pt x="697" y="1375"/>
                  </a:lnTo>
                  <a:lnTo>
                    <a:pt x="697" y="1373"/>
                  </a:lnTo>
                  <a:lnTo>
                    <a:pt x="694" y="1373"/>
                  </a:lnTo>
                  <a:lnTo>
                    <a:pt x="697" y="1375"/>
                  </a:lnTo>
                  <a:lnTo>
                    <a:pt x="695" y="1375"/>
                  </a:lnTo>
                  <a:lnTo>
                    <a:pt x="695" y="1376"/>
                  </a:lnTo>
                  <a:lnTo>
                    <a:pt x="695" y="1376"/>
                  </a:lnTo>
                  <a:lnTo>
                    <a:pt x="697" y="1375"/>
                  </a:lnTo>
                  <a:lnTo>
                    <a:pt x="695" y="1375"/>
                  </a:lnTo>
                  <a:lnTo>
                    <a:pt x="695" y="1376"/>
                  </a:lnTo>
                  <a:lnTo>
                    <a:pt x="695" y="1375"/>
                  </a:lnTo>
                  <a:lnTo>
                    <a:pt x="695" y="1376"/>
                  </a:lnTo>
                  <a:lnTo>
                    <a:pt x="695" y="1376"/>
                  </a:lnTo>
                  <a:lnTo>
                    <a:pt x="695" y="1375"/>
                  </a:lnTo>
                  <a:lnTo>
                    <a:pt x="695" y="1376"/>
                  </a:lnTo>
                  <a:lnTo>
                    <a:pt x="695" y="1376"/>
                  </a:lnTo>
                  <a:lnTo>
                    <a:pt x="695" y="1376"/>
                  </a:lnTo>
                  <a:lnTo>
                    <a:pt x="695" y="1376"/>
                  </a:lnTo>
                  <a:lnTo>
                    <a:pt x="704" y="1376"/>
                  </a:lnTo>
                  <a:lnTo>
                    <a:pt x="704" y="1376"/>
                  </a:lnTo>
                  <a:lnTo>
                    <a:pt x="707" y="1376"/>
                  </a:lnTo>
                  <a:lnTo>
                    <a:pt x="710" y="1375"/>
                  </a:lnTo>
                  <a:lnTo>
                    <a:pt x="710" y="1375"/>
                  </a:lnTo>
                  <a:lnTo>
                    <a:pt x="713" y="1372"/>
                  </a:lnTo>
                  <a:lnTo>
                    <a:pt x="714" y="1367"/>
                  </a:lnTo>
                  <a:lnTo>
                    <a:pt x="714" y="1367"/>
                  </a:lnTo>
                  <a:lnTo>
                    <a:pt x="714" y="1363"/>
                  </a:lnTo>
                  <a:lnTo>
                    <a:pt x="711" y="1359"/>
                  </a:lnTo>
                  <a:lnTo>
                    <a:pt x="711" y="1359"/>
                  </a:lnTo>
                  <a:lnTo>
                    <a:pt x="708" y="1354"/>
                  </a:lnTo>
                  <a:lnTo>
                    <a:pt x="708" y="1350"/>
                  </a:lnTo>
                  <a:lnTo>
                    <a:pt x="708" y="1350"/>
                  </a:lnTo>
                  <a:lnTo>
                    <a:pt x="708" y="1347"/>
                  </a:lnTo>
                  <a:lnTo>
                    <a:pt x="708" y="1347"/>
                  </a:lnTo>
                  <a:lnTo>
                    <a:pt x="711" y="1341"/>
                  </a:lnTo>
                  <a:lnTo>
                    <a:pt x="711" y="1341"/>
                  </a:lnTo>
                  <a:lnTo>
                    <a:pt x="714" y="1340"/>
                  </a:lnTo>
                  <a:lnTo>
                    <a:pt x="717" y="1338"/>
                  </a:lnTo>
                  <a:lnTo>
                    <a:pt x="717" y="1338"/>
                  </a:lnTo>
                  <a:lnTo>
                    <a:pt x="718" y="1338"/>
                  </a:lnTo>
                  <a:lnTo>
                    <a:pt x="718" y="1338"/>
                  </a:lnTo>
                  <a:lnTo>
                    <a:pt x="731" y="1338"/>
                  </a:lnTo>
                  <a:lnTo>
                    <a:pt x="731" y="1338"/>
                  </a:lnTo>
                  <a:lnTo>
                    <a:pt x="739" y="1338"/>
                  </a:lnTo>
                  <a:lnTo>
                    <a:pt x="739" y="1338"/>
                  </a:lnTo>
                  <a:lnTo>
                    <a:pt x="742" y="1338"/>
                  </a:lnTo>
                  <a:lnTo>
                    <a:pt x="742" y="1338"/>
                  </a:lnTo>
                  <a:lnTo>
                    <a:pt x="744" y="1337"/>
                  </a:lnTo>
                  <a:lnTo>
                    <a:pt x="744" y="1337"/>
                  </a:lnTo>
                  <a:lnTo>
                    <a:pt x="746" y="1335"/>
                  </a:lnTo>
                  <a:lnTo>
                    <a:pt x="746" y="1335"/>
                  </a:lnTo>
                  <a:lnTo>
                    <a:pt x="746" y="1333"/>
                  </a:lnTo>
                  <a:lnTo>
                    <a:pt x="746" y="1333"/>
                  </a:lnTo>
                  <a:lnTo>
                    <a:pt x="746" y="1331"/>
                  </a:lnTo>
                  <a:lnTo>
                    <a:pt x="746" y="1331"/>
                  </a:lnTo>
                  <a:lnTo>
                    <a:pt x="744" y="1331"/>
                  </a:lnTo>
                  <a:lnTo>
                    <a:pt x="746" y="1331"/>
                  </a:lnTo>
                  <a:lnTo>
                    <a:pt x="746" y="1331"/>
                  </a:lnTo>
                  <a:lnTo>
                    <a:pt x="744" y="1331"/>
                  </a:lnTo>
                  <a:lnTo>
                    <a:pt x="746" y="1331"/>
                  </a:lnTo>
                  <a:lnTo>
                    <a:pt x="744" y="1331"/>
                  </a:lnTo>
                  <a:lnTo>
                    <a:pt x="746" y="1333"/>
                  </a:lnTo>
                  <a:lnTo>
                    <a:pt x="746" y="1331"/>
                  </a:lnTo>
                  <a:lnTo>
                    <a:pt x="744" y="1331"/>
                  </a:lnTo>
                  <a:lnTo>
                    <a:pt x="746" y="1333"/>
                  </a:lnTo>
                  <a:lnTo>
                    <a:pt x="744" y="1333"/>
                  </a:lnTo>
                  <a:lnTo>
                    <a:pt x="746" y="1333"/>
                  </a:lnTo>
                  <a:lnTo>
                    <a:pt x="746" y="1333"/>
                  </a:lnTo>
                  <a:lnTo>
                    <a:pt x="744" y="1333"/>
                  </a:lnTo>
                  <a:lnTo>
                    <a:pt x="746" y="1333"/>
                  </a:lnTo>
                  <a:lnTo>
                    <a:pt x="746" y="1333"/>
                  </a:lnTo>
                  <a:lnTo>
                    <a:pt x="746" y="1333"/>
                  </a:lnTo>
                  <a:lnTo>
                    <a:pt x="746" y="1333"/>
                  </a:lnTo>
                  <a:lnTo>
                    <a:pt x="746" y="1333"/>
                  </a:lnTo>
                  <a:lnTo>
                    <a:pt x="746" y="1333"/>
                  </a:lnTo>
                  <a:lnTo>
                    <a:pt x="746" y="1333"/>
                  </a:lnTo>
                  <a:lnTo>
                    <a:pt x="747" y="1333"/>
                  </a:lnTo>
                  <a:lnTo>
                    <a:pt x="747" y="1333"/>
                  </a:lnTo>
                  <a:lnTo>
                    <a:pt x="750" y="1331"/>
                  </a:lnTo>
                  <a:lnTo>
                    <a:pt x="750" y="1331"/>
                  </a:lnTo>
                  <a:lnTo>
                    <a:pt x="752" y="1331"/>
                  </a:lnTo>
                  <a:lnTo>
                    <a:pt x="752" y="1331"/>
                  </a:lnTo>
                  <a:lnTo>
                    <a:pt x="755" y="1331"/>
                  </a:lnTo>
                  <a:lnTo>
                    <a:pt x="755" y="1331"/>
                  </a:lnTo>
                  <a:lnTo>
                    <a:pt x="756" y="1331"/>
                  </a:lnTo>
                  <a:lnTo>
                    <a:pt x="756" y="1331"/>
                  </a:lnTo>
                  <a:lnTo>
                    <a:pt x="756" y="1328"/>
                  </a:lnTo>
                  <a:lnTo>
                    <a:pt x="756" y="1328"/>
                  </a:lnTo>
                  <a:lnTo>
                    <a:pt x="756" y="1327"/>
                  </a:lnTo>
                  <a:lnTo>
                    <a:pt x="756" y="1327"/>
                  </a:lnTo>
                  <a:lnTo>
                    <a:pt x="755" y="1325"/>
                  </a:lnTo>
                  <a:lnTo>
                    <a:pt x="755" y="1325"/>
                  </a:lnTo>
                  <a:lnTo>
                    <a:pt x="752" y="1321"/>
                  </a:lnTo>
                  <a:lnTo>
                    <a:pt x="752" y="1321"/>
                  </a:lnTo>
                  <a:lnTo>
                    <a:pt x="750" y="1319"/>
                  </a:lnTo>
                  <a:lnTo>
                    <a:pt x="750" y="1319"/>
                  </a:lnTo>
                  <a:lnTo>
                    <a:pt x="750" y="1319"/>
                  </a:lnTo>
                  <a:lnTo>
                    <a:pt x="750" y="1319"/>
                  </a:lnTo>
                  <a:lnTo>
                    <a:pt x="750" y="1319"/>
                  </a:lnTo>
                  <a:lnTo>
                    <a:pt x="750" y="1319"/>
                  </a:lnTo>
                  <a:lnTo>
                    <a:pt x="750" y="1319"/>
                  </a:lnTo>
                  <a:lnTo>
                    <a:pt x="750" y="1319"/>
                  </a:lnTo>
                  <a:lnTo>
                    <a:pt x="749" y="1319"/>
                  </a:lnTo>
                  <a:lnTo>
                    <a:pt x="750" y="1321"/>
                  </a:lnTo>
                  <a:lnTo>
                    <a:pt x="750" y="1319"/>
                  </a:lnTo>
                  <a:lnTo>
                    <a:pt x="749" y="1319"/>
                  </a:lnTo>
                  <a:lnTo>
                    <a:pt x="750" y="1321"/>
                  </a:lnTo>
                  <a:lnTo>
                    <a:pt x="749" y="1319"/>
                  </a:lnTo>
                  <a:lnTo>
                    <a:pt x="750" y="1321"/>
                  </a:lnTo>
                  <a:lnTo>
                    <a:pt x="750" y="1321"/>
                  </a:lnTo>
                  <a:lnTo>
                    <a:pt x="749" y="1319"/>
                  </a:lnTo>
                  <a:lnTo>
                    <a:pt x="750" y="1321"/>
                  </a:lnTo>
                  <a:lnTo>
                    <a:pt x="750" y="1321"/>
                  </a:lnTo>
                  <a:lnTo>
                    <a:pt x="750" y="1321"/>
                  </a:lnTo>
                  <a:lnTo>
                    <a:pt x="750" y="1321"/>
                  </a:lnTo>
                  <a:lnTo>
                    <a:pt x="750" y="1321"/>
                  </a:lnTo>
                  <a:lnTo>
                    <a:pt x="750" y="1321"/>
                  </a:lnTo>
                  <a:lnTo>
                    <a:pt x="750" y="1321"/>
                  </a:lnTo>
                  <a:lnTo>
                    <a:pt x="752" y="1321"/>
                  </a:lnTo>
                  <a:lnTo>
                    <a:pt x="752" y="1321"/>
                  </a:lnTo>
                  <a:lnTo>
                    <a:pt x="765" y="1321"/>
                  </a:lnTo>
                  <a:lnTo>
                    <a:pt x="765" y="1321"/>
                  </a:lnTo>
                  <a:lnTo>
                    <a:pt x="776" y="1319"/>
                  </a:lnTo>
                  <a:lnTo>
                    <a:pt x="784" y="1318"/>
                  </a:lnTo>
                  <a:lnTo>
                    <a:pt x="789" y="1315"/>
                  </a:lnTo>
                  <a:lnTo>
                    <a:pt x="789" y="1315"/>
                  </a:lnTo>
                  <a:lnTo>
                    <a:pt x="795" y="1309"/>
                  </a:lnTo>
                  <a:lnTo>
                    <a:pt x="801" y="1306"/>
                  </a:lnTo>
                  <a:lnTo>
                    <a:pt x="801" y="1306"/>
                  </a:lnTo>
                  <a:lnTo>
                    <a:pt x="807" y="1304"/>
                  </a:lnTo>
                  <a:lnTo>
                    <a:pt x="815" y="1304"/>
                  </a:lnTo>
                  <a:lnTo>
                    <a:pt x="815" y="1304"/>
                  </a:lnTo>
                  <a:lnTo>
                    <a:pt x="818" y="1304"/>
                  </a:lnTo>
                  <a:lnTo>
                    <a:pt x="818" y="1304"/>
                  </a:lnTo>
                  <a:lnTo>
                    <a:pt x="828" y="1305"/>
                  </a:lnTo>
                  <a:lnTo>
                    <a:pt x="837" y="1306"/>
                  </a:lnTo>
                  <a:lnTo>
                    <a:pt x="837" y="1306"/>
                  </a:lnTo>
                  <a:lnTo>
                    <a:pt x="843" y="1308"/>
                  </a:lnTo>
                  <a:lnTo>
                    <a:pt x="850" y="1309"/>
                  </a:lnTo>
                  <a:lnTo>
                    <a:pt x="850" y="1309"/>
                  </a:lnTo>
                  <a:lnTo>
                    <a:pt x="854" y="1311"/>
                  </a:lnTo>
                  <a:lnTo>
                    <a:pt x="857" y="1312"/>
                  </a:lnTo>
                  <a:lnTo>
                    <a:pt x="857" y="1312"/>
                  </a:lnTo>
                  <a:lnTo>
                    <a:pt x="860" y="1315"/>
                  </a:lnTo>
                  <a:lnTo>
                    <a:pt x="865" y="1318"/>
                  </a:lnTo>
                  <a:lnTo>
                    <a:pt x="865" y="1318"/>
                  </a:lnTo>
                  <a:lnTo>
                    <a:pt x="879" y="1324"/>
                  </a:lnTo>
                  <a:lnTo>
                    <a:pt x="879" y="1324"/>
                  </a:lnTo>
                  <a:lnTo>
                    <a:pt x="888" y="1327"/>
                  </a:lnTo>
                  <a:lnTo>
                    <a:pt x="896" y="1328"/>
                  </a:lnTo>
                  <a:lnTo>
                    <a:pt x="896" y="1328"/>
                  </a:lnTo>
                  <a:lnTo>
                    <a:pt x="899" y="1328"/>
                  </a:lnTo>
                  <a:lnTo>
                    <a:pt x="899" y="1328"/>
                  </a:lnTo>
                  <a:lnTo>
                    <a:pt x="908" y="1327"/>
                  </a:lnTo>
                  <a:lnTo>
                    <a:pt x="915" y="1325"/>
                  </a:lnTo>
                  <a:lnTo>
                    <a:pt x="915" y="1325"/>
                  </a:lnTo>
                  <a:lnTo>
                    <a:pt x="917" y="1325"/>
                  </a:lnTo>
                  <a:lnTo>
                    <a:pt x="917" y="1325"/>
                  </a:lnTo>
                  <a:lnTo>
                    <a:pt x="918" y="1325"/>
                  </a:lnTo>
                  <a:lnTo>
                    <a:pt x="918" y="1325"/>
                  </a:lnTo>
                  <a:lnTo>
                    <a:pt x="923" y="1327"/>
                  </a:lnTo>
                  <a:lnTo>
                    <a:pt x="923" y="1327"/>
                  </a:lnTo>
                  <a:lnTo>
                    <a:pt x="930" y="1325"/>
                  </a:lnTo>
                  <a:lnTo>
                    <a:pt x="930" y="1325"/>
                  </a:lnTo>
                  <a:lnTo>
                    <a:pt x="939" y="1322"/>
                  </a:lnTo>
                  <a:lnTo>
                    <a:pt x="946" y="1318"/>
                  </a:lnTo>
                  <a:lnTo>
                    <a:pt x="946" y="1318"/>
                  </a:lnTo>
                  <a:lnTo>
                    <a:pt x="952" y="1312"/>
                  </a:lnTo>
                  <a:lnTo>
                    <a:pt x="952" y="1312"/>
                  </a:lnTo>
                  <a:lnTo>
                    <a:pt x="953" y="1309"/>
                  </a:lnTo>
                  <a:lnTo>
                    <a:pt x="954" y="1306"/>
                  </a:lnTo>
                  <a:lnTo>
                    <a:pt x="954" y="1305"/>
                  </a:lnTo>
                  <a:lnTo>
                    <a:pt x="954" y="1305"/>
                  </a:lnTo>
                  <a:lnTo>
                    <a:pt x="953" y="1301"/>
                  </a:lnTo>
                  <a:lnTo>
                    <a:pt x="952" y="1296"/>
                  </a:lnTo>
                  <a:lnTo>
                    <a:pt x="952" y="1296"/>
                  </a:lnTo>
                  <a:lnTo>
                    <a:pt x="947" y="1288"/>
                  </a:lnTo>
                  <a:lnTo>
                    <a:pt x="947" y="1288"/>
                  </a:lnTo>
                  <a:lnTo>
                    <a:pt x="944" y="1279"/>
                  </a:lnTo>
                  <a:lnTo>
                    <a:pt x="944" y="1279"/>
                  </a:lnTo>
                  <a:lnTo>
                    <a:pt x="943" y="1277"/>
                  </a:lnTo>
                  <a:lnTo>
                    <a:pt x="941" y="1276"/>
                  </a:lnTo>
                  <a:lnTo>
                    <a:pt x="941" y="1276"/>
                  </a:lnTo>
                  <a:lnTo>
                    <a:pt x="936" y="1275"/>
                  </a:lnTo>
                  <a:lnTo>
                    <a:pt x="936" y="1275"/>
                  </a:lnTo>
                  <a:lnTo>
                    <a:pt x="927" y="1273"/>
                  </a:lnTo>
                  <a:lnTo>
                    <a:pt x="927" y="1273"/>
                  </a:lnTo>
                  <a:lnTo>
                    <a:pt x="925" y="1273"/>
                  </a:lnTo>
                  <a:lnTo>
                    <a:pt x="925" y="1273"/>
                  </a:lnTo>
                  <a:lnTo>
                    <a:pt x="923" y="1269"/>
                  </a:lnTo>
                  <a:lnTo>
                    <a:pt x="923" y="1269"/>
                  </a:lnTo>
                  <a:lnTo>
                    <a:pt x="912" y="1256"/>
                  </a:lnTo>
                  <a:lnTo>
                    <a:pt x="912" y="1256"/>
                  </a:lnTo>
                  <a:lnTo>
                    <a:pt x="907" y="1249"/>
                  </a:lnTo>
                  <a:lnTo>
                    <a:pt x="907" y="1249"/>
                  </a:lnTo>
                  <a:lnTo>
                    <a:pt x="901" y="1244"/>
                  </a:lnTo>
                  <a:lnTo>
                    <a:pt x="901" y="1244"/>
                  </a:lnTo>
                  <a:lnTo>
                    <a:pt x="895" y="1243"/>
                  </a:lnTo>
                  <a:lnTo>
                    <a:pt x="891" y="1241"/>
                  </a:lnTo>
                  <a:lnTo>
                    <a:pt x="891" y="1241"/>
                  </a:lnTo>
                  <a:lnTo>
                    <a:pt x="888" y="1241"/>
                  </a:lnTo>
                  <a:lnTo>
                    <a:pt x="883" y="1240"/>
                  </a:lnTo>
                  <a:lnTo>
                    <a:pt x="883" y="1240"/>
                  </a:lnTo>
                  <a:lnTo>
                    <a:pt x="876" y="1234"/>
                  </a:lnTo>
                  <a:lnTo>
                    <a:pt x="876" y="1234"/>
                  </a:lnTo>
                  <a:lnTo>
                    <a:pt x="873" y="1231"/>
                  </a:lnTo>
                  <a:lnTo>
                    <a:pt x="873" y="1231"/>
                  </a:lnTo>
                  <a:lnTo>
                    <a:pt x="873" y="1230"/>
                  </a:lnTo>
                  <a:lnTo>
                    <a:pt x="872" y="1231"/>
                  </a:lnTo>
                  <a:lnTo>
                    <a:pt x="873" y="1231"/>
                  </a:lnTo>
                  <a:lnTo>
                    <a:pt x="873" y="1230"/>
                  </a:lnTo>
                  <a:lnTo>
                    <a:pt x="872" y="1231"/>
                  </a:lnTo>
                  <a:lnTo>
                    <a:pt x="873" y="1231"/>
                  </a:lnTo>
                  <a:lnTo>
                    <a:pt x="872" y="1231"/>
                  </a:lnTo>
                  <a:lnTo>
                    <a:pt x="873" y="1231"/>
                  </a:lnTo>
                  <a:lnTo>
                    <a:pt x="873" y="1231"/>
                  </a:lnTo>
                  <a:lnTo>
                    <a:pt x="872" y="1231"/>
                  </a:lnTo>
                  <a:lnTo>
                    <a:pt x="873" y="1231"/>
                  </a:lnTo>
                  <a:lnTo>
                    <a:pt x="872" y="1231"/>
                  </a:lnTo>
                  <a:lnTo>
                    <a:pt x="873" y="1233"/>
                  </a:lnTo>
                  <a:lnTo>
                    <a:pt x="873" y="1231"/>
                  </a:lnTo>
                  <a:lnTo>
                    <a:pt x="872" y="1231"/>
                  </a:lnTo>
                  <a:lnTo>
                    <a:pt x="873" y="1233"/>
                  </a:lnTo>
                  <a:lnTo>
                    <a:pt x="873" y="1231"/>
                  </a:lnTo>
                  <a:lnTo>
                    <a:pt x="873" y="1231"/>
                  </a:lnTo>
                  <a:lnTo>
                    <a:pt x="878" y="1231"/>
                  </a:lnTo>
                  <a:lnTo>
                    <a:pt x="878" y="1231"/>
                  </a:lnTo>
                  <a:lnTo>
                    <a:pt x="881" y="1231"/>
                  </a:lnTo>
                  <a:lnTo>
                    <a:pt x="881" y="1231"/>
                  </a:lnTo>
                  <a:lnTo>
                    <a:pt x="883" y="1228"/>
                  </a:lnTo>
                  <a:lnTo>
                    <a:pt x="883" y="1228"/>
                  </a:lnTo>
                  <a:lnTo>
                    <a:pt x="886" y="1225"/>
                  </a:lnTo>
                  <a:lnTo>
                    <a:pt x="886" y="1225"/>
                  </a:lnTo>
                  <a:lnTo>
                    <a:pt x="889" y="1217"/>
                  </a:lnTo>
                  <a:lnTo>
                    <a:pt x="891" y="1208"/>
                  </a:lnTo>
                  <a:lnTo>
                    <a:pt x="891" y="1208"/>
                  </a:lnTo>
                  <a:lnTo>
                    <a:pt x="889" y="1202"/>
                  </a:lnTo>
                  <a:lnTo>
                    <a:pt x="889" y="1202"/>
                  </a:lnTo>
                  <a:lnTo>
                    <a:pt x="889" y="1202"/>
                  </a:lnTo>
                  <a:lnTo>
                    <a:pt x="889" y="1202"/>
                  </a:lnTo>
                  <a:lnTo>
                    <a:pt x="889" y="1201"/>
                  </a:lnTo>
                  <a:lnTo>
                    <a:pt x="889" y="1201"/>
                  </a:lnTo>
                  <a:lnTo>
                    <a:pt x="892" y="1199"/>
                  </a:lnTo>
                  <a:lnTo>
                    <a:pt x="892" y="1199"/>
                  </a:lnTo>
                  <a:lnTo>
                    <a:pt x="896" y="1198"/>
                  </a:lnTo>
                  <a:lnTo>
                    <a:pt x="896" y="1198"/>
                  </a:lnTo>
                  <a:lnTo>
                    <a:pt x="905" y="1192"/>
                  </a:lnTo>
                  <a:lnTo>
                    <a:pt x="905" y="1192"/>
                  </a:lnTo>
                  <a:lnTo>
                    <a:pt x="910" y="1189"/>
                  </a:lnTo>
                  <a:lnTo>
                    <a:pt x="910" y="1189"/>
                  </a:lnTo>
                  <a:lnTo>
                    <a:pt x="912" y="1188"/>
                  </a:lnTo>
                  <a:lnTo>
                    <a:pt x="912" y="1188"/>
                  </a:lnTo>
                  <a:lnTo>
                    <a:pt x="914" y="1185"/>
                  </a:lnTo>
                  <a:lnTo>
                    <a:pt x="914" y="1185"/>
                  </a:lnTo>
                  <a:lnTo>
                    <a:pt x="914" y="1185"/>
                  </a:lnTo>
                  <a:lnTo>
                    <a:pt x="914" y="1185"/>
                  </a:lnTo>
                  <a:lnTo>
                    <a:pt x="912" y="1182"/>
                  </a:lnTo>
                  <a:lnTo>
                    <a:pt x="912" y="1182"/>
                  </a:lnTo>
                  <a:lnTo>
                    <a:pt x="910" y="1180"/>
                  </a:lnTo>
                  <a:lnTo>
                    <a:pt x="910" y="1180"/>
                  </a:lnTo>
                  <a:lnTo>
                    <a:pt x="907" y="1179"/>
                  </a:lnTo>
                  <a:lnTo>
                    <a:pt x="907" y="1179"/>
                  </a:lnTo>
                  <a:lnTo>
                    <a:pt x="902" y="1180"/>
                  </a:lnTo>
                  <a:lnTo>
                    <a:pt x="902" y="1180"/>
                  </a:lnTo>
                  <a:lnTo>
                    <a:pt x="894" y="1182"/>
                  </a:lnTo>
                  <a:lnTo>
                    <a:pt x="894" y="1182"/>
                  </a:lnTo>
                  <a:lnTo>
                    <a:pt x="885" y="1185"/>
                  </a:lnTo>
                  <a:lnTo>
                    <a:pt x="885" y="1185"/>
                  </a:lnTo>
                  <a:lnTo>
                    <a:pt x="881" y="1185"/>
                  </a:lnTo>
                  <a:lnTo>
                    <a:pt x="876" y="1188"/>
                  </a:lnTo>
                  <a:lnTo>
                    <a:pt x="876" y="1188"/>
                  </a:lnTo>
                  <a:lnTo>
                    <a:pt x="870" y="1192"/>
                  </a:lnTo>
                  <a:lnTo>
                    <a:pt x="870" y="1192"/>
                  </a:lnTo>
                  <a:lnTo>
                    <a:pt x="868" y="1192"/>
                  </a:lnTo>
                  <a:lnTo>
                    <a:pt x="868" y="1192"/>
                  </a:lnTo>
                  <a:lnTo>
                    <a:pt x="862" y="1191"/>
                  </a:lnTo>
                  <a:lnTo>
                    <a:pt x="862" y="1191"/>
                  </a:lnTo>
                  <a:lnTo>
                    <a:pt x="859" y="1192"/>
                  </a:lnTo>
                  <a:lnTo>
                    <a:pt x="856" y="1192"/>
                  </a:lnTo>
                  <a:lnTo>
                    <a:pt x="856" y="1192"/>
                  </a:lnTo>
                  <a:lnTo>
                    <a:pt x="849" y="1198"/>
                  </a:lnTo>
                  <a:lnTo>
                    <a:pt x="849" y="1198"/>
                  </a:lnTo>
                  <a:lnTo>
                    <a:pt x="843" y="1202"/>
                  </a:lnTo>
                  <a:lnTo>
                    <a:pt x="843" y="1202"/>
                  </a:lnTo>
                  <a:lnTo>
                    <a:pt x="839" y="1205"/>
                  </a:lnTo>
                  <a:lnTo>
                    <a:pt x="839" y="1205"/>
                  </a:lnTo>
                  <a:lnTo>
                    <a:pt x="837" y="1207"/>
                  </a:lnTo>
                  <a:lnTo>
                    <a:pt x="837" y="1207"/>
                  </a:lnTo>
                  <a:lnTo>
                    <a:pt x="836" y="1208"/>
                  </a:lnTo>
                  <a:lnTo>
                    <a:pt x="836" y="1209"/>
                  </a:lnTo>
                  <a:lnTo>
                    <a:pt x="836" y="1209"/>
                  </a:lnTo>
                  <a:lnTo>
                    <a:pt x="836" y="1212"/>
                  </a:lnTo>
                  <a:lnTo>
                    <a:pt x="836" y="1212"/>
                  </a:lnTo>
                  <a:lnTo>
                    <a:pt x="837" y="1212"/>
                  </a:lnTo>
                  <a:lnTo>
                    <a:pt x="837" y="1212"/>
                  </a:lnTo>
                  <a:lnTo>
                    <a:pt x="839" y="1214"/>
                  </a:lnTo>
                  <a:lnTo>
                    <a:pt x="839" y="1214"/>
                  </a:lnTo>
                  <a:lnTo>
                    <a:pt x="841" y="1220"/>
                  </a:lnTo>
                  <a:lnTo>
                    <a:pt x="841" y="1220"/>
                  </a:lnTo>
                  <a:lnTo>
                    <a:pt x="843" y="1222"/>
                  </a:lnTo>
                  <a:lnTo>
                    <a:pt x="843" y="1222"/>
                  </a:lnTo>
                  <a:lnTo>
                    <a:pt x="847" y="1224"/>
                  </a:lnTo>
                  <a:lnTo>
                    <a:pt x="847" y="1224"/>
                  </a:lnTo>
                  <a:lnTo>
                    <a:pt x="847" y="1224"/>
                  </a:lnTo>
                  <a:lnTo>
                    <a:pt x="856" y="1224"/>
                  </a:lnTo>
                  <a:lnTo>
                    <a:pt x="856" y="1224"/>
                  </a:lnTo>
                  <a:lnTo>
                    <a:pt x="857" y="1224"/>
                  </a:lnTo>
                  <a:lnTo>
                    <a:pt x="857" y="1224"/>
                  </a:lnTo>
                  <a:lnTo>
                    <a:pt x="857" y="1225"/>
                  </a:lnTo>
                  <a:lnTo>
                    <a:pt x="857" y="1225"/>
                  </a:lnTo>
                  <a:lnTo>
                    <a:pt x="860" y="1228"/>
                  </a:lnTo>
                  <a:lnTo>
                    <a:pt x="860" y="1228"/>
                  </a:lnTo>
                  <a:lnTo>
                    <a:pt x="862" y="1228"/>
                  </a:lnTo>
                  <a:lnTo>
                    <a:pt x="862" y="1228"/>
                  </a:lnTo>
                  <a:lnTo>
                    <a:pt x="862" y="1228"/>
                  </a:lnTo>
                  <a:lnTo>
                    <a:pt x="862" y="1228"/>
                  </a:lnTo>
                  <a:lnTo>
                    <a:pt x="862" y="1228"/>
                  </a:lnTo>
                  <a:lnTo>
                    <a:pt x="862" y="1228"/>
                  </a:lnTo>
                  <a:lnTo>
                    <a:pt x="862" y="1228"/>
                  </a:lnTo>
                  <a:lnTo>
                    <a:pt x="862" y="1228"/>
                  </a:lnTo>
                  <a:lnTo>
                    <a:pt x="862" y="1228"/>
                  </a:lnTo>
                  <a:lnTo>
                    <a:pt x="862" y="1228"/>
                  </a:lnTo>
                  <a:lnTo>
                    <a:pt x="862" y="1228"/>
                  </a:lnTo>
                  <a:lnTo>
                    <a:pt x="862" y="1228"/>
                  </a:lnTo>
                  <a:lnTo>
                    <a:pt x="862" y="1228"/>
                  </a:lnTo>
                  <a:lnTo>
                    <a:pt x="862" y="1228"/>
                  </a:lnTo>
                  <a:lnTo>
                    <a:pt x="862" y="1231"/>
                  </a:lnTo>
                  <a:lnTo>
                    <a:pt x="862" y="1231"/>
                  </a:lnTo>
                  <a:lnTo>
                    <a:pt x="863" y="1237"/>
                  </a:lnTo>
                  <a:lnTo>
                    <a:pt x="863" y="1237"/>
                  </a:lnTo>
                  <a:lnTo>
                    <a:pt x="863" y="1238"/>
                  </a:lnTo>
                  <a:lnTo>
                    <a:pt x="863" y="1238"/>
                  </a:lnTo>
                  <a:lnTo>
                    <a:pt x="863" y="1240"/>
                  </a:lnTo>
                  <a:lnTo>
                    <a:pt x="865" y="1238"/>
                  </a:lnTo>
                  <a:lnTo>
                    <a:pt x="863" y="1238"/>
                  </a:lnTo>
                  <a:lnTo>
                    <a:pt x="863" y="1240"/>
                  </a:lnTo>
                  <a:lnTo>
                    <a:pt x="865" y="1238"/>
                  </a:lnTo>
                  <a:lnTo>
                    <a:pt x="863" y="1238"/>
                  </a:lnTo>
                  <a:lnTo>
                    <a:pt x="866" y="1238"/>
                  </a:lnTo>
                  <a:lnTo>
                    <a:pt x="865" y="1238"/>
                  </a:lnTo>
                  <a:lnTo>
                    <a:pt x="865" y="1238"/>
                  </a:lnTo>
                  <a:lnTo>
                    <a:pt x="863" y="1238"/>
                  </a:lnTo>
                  <a:lnTo>
                    <a:pt x="866" y="1238"/>
                  </a:lnTo>
                  <a:lnTo>
                    <a:pt x="865" y="1238"/>
                  </a:lnTo>
                  <a:lnTo>
                    <a:pt x="866" y="1238"/>
                  </a:lnTo>
                  <a:lnTo>
                    <a:pt x="866" y="1237"/>
                  </a:lnTo>
                  <a:lnTo>
                    <a:pt x="866" y="1237"/>
                  </a:lnTo>
                  <a:lnTo>
                    <a:pt x="865" y="1238"/>
                  </a:lnTo>
                  <a:lnTo>
                    <a:pt x="866" y="1238"/>
                  </a:lnTo>
                  <a:lnTo>
                    <a:pt x="866" y="1237"/>
                  </a:lnTo>
                  <a:lnTo>
                    <a:pt x="866" y="1238"/>
                  </a:lnTo>
                  <a:lnTo>
                    <a:pt x="866" y="1237"/>
                  </a:lnTo>
                  <a:lnTo>
                    <a:pt x="866" y="1237"/>
                  </a:lnTo>
                  <a:lnTo>
                    <a:pt x="866" y="1238"/>
                  </a:lnTo>
                  <a:lnTo>
                    <a:pt x="866" y="1237"/>
                  </a:lnTo>
                  <a:lnTo>
                    <a:pt x="866" y="1237"/>
                  </a:lnTo>
                  <a:lnTo>
                    <a:pt x="865" y="1237"/>
                  </a:lnTo>
                  <a:lnTo>
                    <a:pt x="865" y="1237"/>
                  </a:lnTo>
                  <a:lnTo>
                    <a:pt x="860" y="1235"/>
                  </a:lnTo>
                  <a:lnTo>
                    <a:pt x="860" y="1235"/>
                  </a:lnTo>
                  <a:lnTo>
                    <a:pt x="857" y="1235"/>
                  </a:lnTo>
                  <a:lnTo>
                    <a:pt x="857" y="1235"/>
                  </a:lnTo>
                  <a:lnTo>
                    <a:pt x="856" y="1237"/>
                  </a:lnTo>
                  <a:lnTo>
                    <a:pt x="856" y="1235"/>
                  </a:lnTo>
                  <a:lnTo>
                    <a:pt x="854" y="1235"/>
                  </a:lnTo>
                  <a:lnTo>
                    <a:pt x="854" y="1235"/>
                  </a:lnTo>
                  <a:lnTo>
                    <a:pt x="853" y="1234"/>
                  </a:lnTo>
                  <a:lnTo>
                    <a:pt x="853" y="1234"/>
                  </a:lnTo>
                  <a:lnTo>
                    <a:pt x="852" y="1233"/>
                  </a:lnTo>
                  <a:lnTo>
                    <a:pt x="852" y="1233"/>
                  </a:lnTo>
                  <a:lnTo>
                    <a:pt x="849" y="1231"/>
                  </a:lnTo>
                  <a:lnTo>
                    <a:pt x="849" y="1231"/>
                  </a:lnTo>
                  <a:lnTo>
                    <a:pt x="847" y="1231"/>
                  </a:lnTo>
                  <a:lnTo>
                    <a:pt x="847" y="1231"/>
                  </a:lnTo>
                  <a:lnTo>
                    <a:pt x="841" y="1234"/>
                  </a:lnTo>
                  <a:lnTo>
                    <a:pt x="841" y="1234"/>
                  </a:lnTo>
                  <a:lnTo>
                    <a:pt x="836" y="1237"/>
                  </a:lnTo>
                  <a:lnTo>
                    <a:pt x="836" y="1237"/>
                  </a:lnTo>
                  <a:lnTo>
                    <a:pt x="833" y="1240"/>
                  </a:lnTo>
                  <a:lnTo>
                    <a:pt x="831" y="1243"/>
                  </a:lnTo>
                  <a:lnTo>
                    <a:pt x="831" y="1243"/>
                  </a:lnTo>
                  <a:lnTo>
                    <a:pt x="830" y="1244"/>
                  </a:lnTo>
                  <a:lnTo>
                    <a:pt x="830" y="1244"/>
                  </a:lnTo>
                  <a:lnTo>
                    <a:pt x="827" y="1244"/>
                  </a:lnTo>
                  <a:lnTo>
                    <a:pt x="827" y="1244"/>
                  </a:lnTo>
                  <a:lnTo>
                    <a:pt x="824" y="1244"/>
                  </a:lnTo>
                  <a:lnTo>
                    <a:pt x="823" y="1243"/>
                  </a:lnTo>
                  <a:lnTo>
                    <a:pt x="823" y="1243"/>
                  </a:lnTo>
                  <a:lnTo>
                    <a:pt x="817" y="1238"/>
                  </a:lnTo>
                  <a:lnTo>
                    <a:pt x="817" y="1238"/>
                  </a:lnTo>
                  <a:lnTo>
                    <a:pt x="811" y="1230"/>
                  </a:lnTo>
                  <a:lnTo>
                    <a:pt x="811" y="1230"/>
                  </a:lnTo>
                  <a:lnTo>
                    <a:pt x="808" y="1225"/>
                  </a:lnTo>
                  <a:lnTo>
                    <a:pt x="804" y="1222"/>
                  </a:lnTo>
                  <a:lnTo>
                    <a:pt x="804" y="1221"/>
                  </a:lnTo>
                  <a:lnTo>
                    <a:pt x="804" y="1221"/>
                  </a:lnTo>
                  <a:lnTo>
                    <a:pt x="804" y="1221"/>
                  </a:lnTo>
                  <a:lnTo>
                    <a:pt x="804" y="1221"/>
                  </a:lnTo>
                  <a:lnTo>
                    <a:pt x="804" y="1221"/>
                  </a:lnTo>
                  <a:lnTo>
                    <a:pt x="804" y="1221"/>
                  </a:lnTo>
                  <a:lnTo>
                    <a:pt x="804" y="1221"/>
                  </a:lnTo>
                  <a:lnTo>
                    <a:pt x="804" y="1221"/>
                  </a:lnTo>
                  <a:lnTo>
                    <a:pt x="805" y="1220"/>
                  </a:lnTo>
                  <a:lnTo>
                    <a:pt x="810" y="1218"/>
                  </a:lnTo>
                  <a:lnTo>
                    <a:pt x="810" y="1218"/>
                  </a:lnTo>
                  <a:lnTo>
                    <a:pt x="818" y="1212"/>
                  </a:lnTo>
                  <a:lnTo>
                    <a:pt x="818" y="1212"/>
                  </a:lnTo>
                  <a:lnTo>
                    <a:pt x="823" y="1209"/>
                  </a:lnTo>
                  <a:lnTo>
                    <a:pt x="823" y="1209"/>
                  </a:lnTo>
                  <a:lnTo>
                    <a:pt x="824" y="1208"/>
                  </a:lnTo>
                  <a:lnTo>
                    <a:pt x="824" y="1208"/>
                  </a:lnTo>
                  <a:lnTo>
                    <a:pt x="826" y="1207"/>
                  </a:lnTo>
                  <a:lnTo>
                    <a:pt x="826" y="1207"/>
                  </a:lnTo>
                  <a:lnTo>
                    <a:pt x="824" y="1205"/>
                  </a:lnTo>
                  <a:lnTo>
                    <a:pt x="824" y="1205"/>
                  </a:lnTo>
                  <a:lnTo>
                    <a:pt x="823" y="1204"/>
                  </a:lnTo>
                  <a:lnTo>
                    <a:pt x="823" y="1204"/>
                  </a:lnTo>
                  <a:lnTo>
                    <a:pt x="821" y="1204"/>
                  </a:lnTo>
                  <a:lnTo>
                    <a:pt x="821" y="1204"/>
                  </a:lnTo>
                  <a:lnTo>
                    <a:pt x="814" y="1204"/>
                  </a:lnTo>
                  <a:lnTo>
                    <a:pt x="814" y="1204"/>
                  </a:lnTo>
                  <a:lnTo>
                    <a:pt x="804" y="1205"/>
                  </a:lnTo>
                  <a:lnTo>
                    <a:pt x="804" y="1205"/>
                  </a:lnTo>
                  <a:lnTo>
                    <a:pt x="801" y="1204"/>
                  </a:lnTo>
                  <a:lnTo>
                    <a:pt x="799" y="1204"/>
                  </a:lnTo>
                  <a:lnTo>
                    <a:pt x="799" y="1204"/>
                  </a:lnTo>
                  <a:lnTo>
                    <a:pt x="799" y="1204"/>
                  </a:lnTo>
                  <a:lnTo>
                    <a:pt x="799" y="1204"/>
                  </a:lnTo>
                  <a:lnTo>
                    <a:pt x="799" y="1204"/>
                  </a:lnTo>
                  <a:lnTo>
                    <a:pt x="799" y="1204"/>
                  </a:lnTo>
                  <a:lnTo>
                    <a:pt x="799" y="1204"/>
                  </a:lnTo>
                  <a:lnTo>
                    <a:pt x="799" y="1204"/>
                  </a:lnTo>
                  <a:lnTo>
                    <a:pt x="798" y="1198"/>
                  </a:lnTo>
                  <a:lnTo>
                    <a:pt x="798" y="1198"/>
                  </a:lnTo>
                  <a:lnTo>
                    <a:pt x="797" y="1195"/>
                  </a:lnTo>
                  <a:lnTo>
                    <a:pt x="797" y="1195"/>
                  </a:lnTo>
                  <a:lnTo>
                    <a:pt x="795" y="1193"/>
                  </a:lnTo>
                  <a:lnTo>
                    <a:pt x="795" y="1193"/>
                  </a:lnTo>
                  <a:lnTo>
                    <a:pt x="794" y="1192"/>
                  </a:lnTo>
                  <a:lnTo>
                    <a:pt x="794" y="1192"/>
                  </a:lnTo>
                  <a:lnTo>
                    <a:pt x="789" y="1192"/>
                  </a:lnTo>
                  <a:lnTo>
                    <a:pt x="789" y="1192"/>
                  </a:lnTo>
                  <a:lnTo>
                    <a:pt x="784" y="1192"/>
                  </a:lnTo>
                  <a:lnTo>
                    <a:pt x="784" y="1192"/>
                  </a:lnTo>
                  <a:lnTo>
                    <a:pt x="776" y="1192"/>
                  </a:lnTo>
                  <a:lnTo>
                    <a:pt x="776" y="1192"/>
                  </a:lnTo>
                  <a:lnTo>
                    <a:pt x="773" y="1193"/>
                  </a:lnTo>
                  <a:lnTo>
                    <a:pt x="773" y="1193"/>
                  </a:lnTo>
                  <a:lnTo>
                    <a:pt x="772" y="1196"/>
                  </a:lnTo>
                  <a:lnTo>
                    <a:pt x="772" y="1196"/>
                  </a:lnTo>
                  <a:lnTo>
                    <a:pt x="768" y="1205"/>
                  </a:lnTo>
                  <a:lnTo>
                    <a:pt x="763" y="1211"/>
                  </a:lnTo>
                  <a:lnTo>
                    <a:pt x="763" y="1211"/>
                  </a:lnTo>
                  <a:lnTo>
                    <a:pt x="757" y="1217"/>
                  </a:lnTo>
                  <a:lnTo>
                    <a:pt x="757" y="1217"/>
                  </a:lnTo>
                  <a:lnTo>
                    <a:pt x="756" y="1220"/>
                  </a:lnTo>
                  <a:lnTo>
                    <a:pt x="755" y="1224"/>
                  </a:lnTo>
                  <a:lnTo>
                    <a:pt x="755" y="1224"/>
                  </a:lnTo>
                  <a:lnTo>
                    <a:pt x="755" y="1224"/>
                  </a:lnTo>
                  <a:lnTo>
                    <a:pt x="755" y="1224"/>
                  </a:lnTo>
                  <a:lnTo>
                    <a:pt x="756" y="1228"/>
                  </a:lnTo>
                  <a:lnTo>
                    <a:pt x="756" y="1228"/>
                  </a:lnTo>
                  <a:lnTo>
                    <a:pt x="755" y="1231"/>
                  </a:lnTo>
                  <a:lnTo>
                    <a:pt x="755" y="1231"/>
                  </a:lnTo>
                  <a:lnTo>
                    <a:pt x="753" y="1233"/>
                  </a:lnTo>
                  <a:lnTo>
                    <a:pt x="752" y="1234"/>
                  </a:lnTo>
                  <a:lnTo>
                    <a:pt x="752" y="1234"/>
                  </a:lnTo>
                  <a:lnTo>
                    <a:pt x="746" y="1237"/>
                  </a:lnTo>
                  <a:lnTo>
                    <a:pt x="742" y="1241"/>
                  </a:lnTo>
                  <a:lnTo>
                    <a:pt x="742" y="1241"/>
                  </a:lnTo>
                  <a:lnTo>
                    <a:pt x="737" y="1246"/>
                  </a:lnTo>
                  <a:lnTo>
                    <a:pt x="737" y="1251"/>
                  </a:lnTo>
                  <a:lnTo>
                    <a:pt x="737" y="1251"/>
                  </a:lnTo>
                  <a:lnTo>
                    <a:pt x="734" y="1260"/>
                  </a:lnTo>
                  <a:lnTo>
                    <a:pt x="734" y="1260"/>
                  </a:lnTo>
                  <a:lnTo>
                    <a:pt x="733" y="1264"/>
                  </a:lnTo>
                  <a:lnTo>
                    <a:pt x="733" y="1264"/>
                  </a:lnTo>
                  <a:lnTo>
                    <a:pt x="733" y="1267"/>
                  </a:lnTo>
                  <a:lnTo>
                    <a:pt x="733" y="1267"/>
                  </a:lnTo>
                  <a:lnTo>
                    <a:pt x="728" y="1272"/>
                  </a:lnTo>
                  <a:lnTo>
                    <a:pt x="728" y="1272"/>
                  </a:lnTo>
                  <a:lnTo>
                    <a:pt x="727" y="1275"/>
                  </a:lnTo>
                  <a:lnTo>
                    <a:pt x="727" y="1277"/>
                  </a:lnTo>
                  <a:lnTo>
                    <a:pt x="726" y="1279"/>
                  </a:lnTo>
                  <a:lnTo>
                    <a:pt x="726" y="1279"/>
                  </a:lnTo>
                  <a:lnTo>
                    <a:pt x="724" y="1280"/>
                  </a:lnTo>
                  <a:lnTo>
                    <a:pt x="724" y="1280"/>
                  </a:lnTo>
                  <a:lnTo>
                    <a:pt x="721" y="1286"/>
                  </a:lnTo>
                  <a:lnTo>
                    <a:pt x="721" y="1286"/>
                  </a:lnTo>
                  <a:lnTo>
                    <a:pt x="721" y="1289"/>
                  </a:lnTo>
                  <a:lnTo>
                    <a:pt x="721" y="1289"/>
                  </a:lnTo>
                  <a:lnTo>
                    <a:pt x="721" y="1291"/>
                  </a:lnTo>
                  <a:lnTo>
                    <a:pt x="723" y="1292"/>
                  </a:lnTo>
                  <a:lnTo>
                    <a:pt x="723" y="1292"/>
                  </a:lnTo>
                  <a:lnTo>
                    <a:pt x="727" y="1296"/>
                  </a:lnTo>
                  <a:lnTo>
                    <a:pt x="727" y="1296"/>
                  </a:lnTo>
                  <a:lnTo>
                    <a:pt x="730" y="1301"/>
                  </a:lnTo>
                  <a:lnTo>
                    <a:pt x="730" y="1301"/>
                  </a:lnTo>
                  <a:lnTo>
                    <a:pt x="730" y="1304"/>
                  </a:lnTo>
                  <a:lnTo>
                    <a:pt x="730" y="1304"/>
                  </a:lnTo>
                  <a:lnTo>
                    <a:pt x="728" y="1312"/>
                  </a:lnTo>
                  <a:lnTo>
                    <a:pt x="728" y="1312"/>
                  </a:lnTo>
                  <a:lnTo>
                    <a:pt x="730" y="1315"/>
                  </a:lnTo>
                  <a:lnTo>
                    <a:pt x="730" y="1315"/>
                  </a:lnTo>
                  <a:lnTo>
                    <a:pt x="731" y="1318"/>
                  </a:lnTo>
                  <a:lnTo>
                    <a:pt x="731" y="1318"/>
                  </a:lnTo>
                  <a:lnTo>
                    <a:pt x="736" y="1319"/>
                  </a:lnTo>
                  <a:lnTo>
                    <a:pt x="737" y="1321"/>
                  </a:lnTo>
                  <a:lnTo>
                    <a:pt x="737" y="1319"/>
                  </a:lnTo>
                  <a:lnTo>
                    <a:pt x="736" y="1321"/>
                  </a:lnTo>
                  <a:lnTo>
                    <a:pt x="737" y="1321"/>
                  </a:lnTo>
                  <a:lnTo>
                    <a:pt x="737" y="1319"/>
                  </a:lnTo>
                  <a:lnTo>
                    <a:pt x="736" y="1321"/>
                  </a:lnTo>
                  <a:lnTo>
                    <a:pt x="737" y="1318"/>
                  </a:lnTo>
                  <a:lnTo>
                    <a:pt x="736" y="1318"/>
                  </a:lnTo>
                  <a:lnTo>
                    <a:pt x="736" y="1318"/>
                  </a:lnTo>
                  <a:lnTo>
                    <a:pt x="736" y="1321"/>
                  </a:lnTo>
                  <a:lnTo>
                    <a:pt x="737" y="1318"/>
                  </a:lnTo>
                  <a:lnTo>
                    <a:pt x="736" y="1318"/>
                  </a:lnTo>
                  <a:lnTo>
                    <a:pt x="737" y="1318"/>
                  </a:lnTo>
                  <a:lnTo>
                    <a:pt x="736" y="1317"/>
                  </a:lnTo>
                  <a:lnTo>
                    <a:pt x="736" y="1317"/>
                  </a:lnTo>
                  <a:lnTo>
                    <a:pt x="736" y="1318"/>
                  </a:lnTo>
                  <a:lnTo>
                    <a:pt x="737" y="1318"/>
                  </a:lnTo>
                  <a:lnTo>
                    <a:pt x="736" y="1317"/>
                  </a:lnTo>
                  <a:lnTo>
                    <a:pt x="737" y="1318"/>
                  </a:lnTo>
                  <a:lnTo>
                    <a:pt x="736" y="1317"/>
                  </a:lnTo>
                  <a:lnTo>
                    <a:pt x="736" y="1317"/>
                  </a:lnTo>
                  <a:lnTo>
                    <a:pt x="737" y="1318"/>
                  </a:lnTo>
                  <a:lnTo>
                    <a:pt x="736" y="1317"/>
                  </a:lnTo>
                  <a:lnTo>
                    <a:pt x="736" y="1317"/>
                  </a:lnTo>
                  <a:lnTo>
                    <a:pt x="734" y="1318"/>
                  </a:lnTo>
                  <a:lnTo>
                    <a:pt x="734" y="1318"/>
                  </a:lnTo>
                  <a:lnTo>
                    <a:pt x="730" y="1321"/>
                  </a:lnTo>
                  <a:lnTo>
                    <a:pt x="730" y="1321"/>
                  </a:lnTo>
                  <a:lnTo>
                    <a:pt x="723" y="1325"/>
                  </a:lnTo>
                  <a:lnTo>
                    <a:pt x="723" y="1325"/>
                  </a:lnTo>
                  <a:lnTo>
                    <a:pt x="721" y="1325"/>
                  </a:lnTo>
                  <a:lnTo>
                    <a:pt x="721" y="1325"/>
                  </a:lnTo>
                  <a:lnTo>
                    <a:pt x="718" y="1325"/>
                  </a:lnTo>
                  <a:lnTo>
                    <a:pt x="718" y="1325"/>
                  </a:lnTo>
                  <a:lnTo>
                    <a:pt x="713" y="1328"/>
                  </a:lnTo>
                  <a:lnTo>
                    <a:pt x="713" y="1328"/>
                  </a:lnTo>
                  <a:lnTo>
                    <a:pt x="708" y="1328"/>
                  </a:lnTo>
                  <a:lnTo>
                    <a:pt x="708" y="1328"/>
                  </a:lnTo>
                  <a:lnTo>
                    <a:pt x="707" y="1328"/>
                  </a:lnTo>
                  <a:lnTo>
                    <a:pt x="707" y="1328"/>
                  </a:lnTo>
                  <a:lnTo>
                    <a:pt x="700" y="1325"/>
                  </a:lnTo>
                  <a:lnTo>
                    <a:pt x="700" y="1325"/>
                  </a:lnTo>
                  <a:lnTo>
                    <a:pt x="695" y="1324"/>
                  </a:lnTo>
                  <a:lnTo>
                    <a:pt x="691" y="1322"/>
                  </a:lnTo>
                  <a:lnTo>
                    <a:pt x="691" y="1322"/>
                  </a:lnTo>
                  <a:lnTo>
                    <a:pt x="688" y="1324"/>
                  </a:lnTo>
                  <a:lnTo>
                    <a:pt x="688" y="1324"/>
                  </a:lnTo>
                  <a:lnTo>
                    <a:pt x="682" y="1325"/>
                  </a:lnTo>
                  <a:lnTo>
                    <a:pt x="682" y="1325"/>
                  </a:lnTo>
                  <a:lnTo>
                    <a:pt x="675" y="1327"/>
                  </a:lnTo>
                  <a:lnTo>
                    <a:pt x="675" y="1327"/>
                  </a:lnTo>
                  <a:lnTo>
                    <a:pt x="669" y="1327"/>
                  </a:lnTo>
                  <a:lnTo>
                    <a:pt x="669" y="1327"/>
                  </a:lnTo>
                  <a:lnTo>
                    <a:pt x="663" y="1327"/>
                  </a:lnTo>
                  <a:lnTo>
                    <a:pt x="663" y="1327"/>
                  </a:lnTo>
                  <a:lnTo>
                    <a:pt x="660" y="1328"/>
                  </a:lnTo>
                  <a:lnTo>
                    <a:pt x="660" y="1328"/>
                  </a:lnTo>
                  <a:lnTo>
                    <a:pt x="659" y="1331"/>
                  </a:lnTo>
                  <a:lnTo>
                    <a:pt x="659" y="1333"/>
                  </a:lnTo>
                  <a:lnTo>
                    <a:pt x="659" y="1333"/>
                  </a:lnTo>
                  <a:lnTo>
                    <a:pt x="659" y="1333"/>
                  </a:lnTo>
                  <a:lnTo>
                    <a:pt x="659" y="1335"/>
                  </a:lnTo>
                  <a:lnTo>
                    <a:pt x="659" y="1335"/>
                  </a:lnTo>
                  <a:lnTo>
                    <a:pt x="659" y="1338"/>
                  </a:lnTo>
                  <a:lnTo>
                    <a:pt x="658" y="1338"/>
                  </a:lnTo>
                  <a:lnTo>
                    <a:pt x="658" y="1340"/>
                  </a:lnTo>
                  <a:lnTo>
                    <a:pt x="659" y="1340"/>
                  </a:lnTo>
                  <a:lnTo>
                    <a:pt x="658" y="1340"/>
                  </a:lnTo>
                  <a:lnTo>
                    <a:pt x="658" y="1340"/>
                  </a:lnTo>
                  <a:lnTo>
                    <a:pt x="659" y="1340"/>
                  </a:lnTo>
                  <a:lnTo>
                    <a:pt x="658" y="1340"/>
                  </a:lnTo>
                  <a:lnTo>
                    <a:pt x="659" y="1340"/>
                  </a:lnTo>
                  <a:lnTo>
                    <a:pt x="658" y="1340"/>
                  </a:lnTo>
                  <a:lnTo>
                    <a:pt x="658" y="1340"/>
                  </a:lnTo>
                  <a:lnTo>
                    <a:pt x="659" y="1340"/>
                  </a:lnTo>
                  <a:lnTo>
                    <a:pt x="658" y="1340"/>
                  </a:lnTo>
                  <a:lnTo>
                    <a:pt x="658" y="1340"/>
                  </a:lnTo>
                  <a:lnTo>
                    <a:pt x="658" y="1338"/>
                  </a:lnTo>
                  <a:lnTo>
                    <a:pt x="658" y="1338"/>
                  </a:lnTo>
                  <a:lnTo>
                    <a:pt x="653" y="1337"/>
                  </a:lnTo>
                  <a:lnTo>
                    <a:pt x="653" y="1337"/>
                  </a:lnTo>
                  <a:lnTo>
                    <a:pt x="650" y="1334"/>
                  </a:lnTo>
                  <a:lnTo>
                    <a:pt x="650" y="1334"/>
                  </a:lnTo>
                  <a:lnTo>
                    <a:pt x="647" y="1334"/>
                  </a:lnTo>
                  <a:lnTo>
                    <a:pt x="647" y="1334"/>
                  </a:lnTo>
                  <a:lnTo>
                    <a:pt x="644" y="1334"/>
                  </a:lnTo>
                  <a:lnTo>
                    <a:pt x="644" y="1334"/>
                  </a:lnTo>
                  <a:lnTo>
                    <a:pt x="643" y="1337"/>
                  </a:lnTo>
                  <a:lnTo>
                    <a:pt x="643" y="1337"/>
                  </a:lnTo>
                  <a:lnTo>
                    <a:pt x="643" y="1340"/>
                  </a:lnTo>
                  <a:lnTo>
                    <a:pt x="643" y="1340"/>
                  </a:lnTo>
                  <a:lnTo>
                    <a:pt x="644" y="1348"/>
                  </a:lnTo>
                  <a:lnTo>
                    <a:pt x="649" y="1357"/>
                  </a:lnTo>
                  <a:lnTo>
                    <a:pt x="649" y="1357"/>
                  </a:lnTo>
                  <a:lnTo>
                    <a:pt x="656" y="1367"/>
                  </a:lnTo>
                  <a:lnTo>
                    <a:pt x="656" y="1367"/>
                  </a:lnTo>
                  <a:lnTo>
                    <a:pt x="660" y="1373"/>
                  </a:lnTo>
                  <a:lnTo>
                    <a:pt x="660" y="1373"/>
                  </a:lnTo>
                  <a:lnTo>
                    <a:pt x="662" y="1375"/>
                  </a:lnTo>
                  <a:lnTo>
                    <a:pt x="665" y="1376"/>
                  </a:lnTo>
                  <a:lnTo>
                    <a:pt x="665" y="1376"/>
                  </a:lnTo>
                  <a:lnTo>
                    <a:pt x="669" y="1377"/>
                  </a:lnTo>
                  <a:lnTo>
                    <a:pt x="669" y="1377"/>
                  </a:lnTo>
                  <a:lnTo>
                    <a:pt x="671" y="1379"/>
                  </a:lnTo>
                  <a:lnTo>
                    <a:pt x="671" y="1379"/>
                  </a:lnTo>
                  <a:lnTo>
                    <a:pt x="671" y="1380"/>
                  </a:lnTo>
                  <a:lnTo>
                    <a:pt x="671" y="1380"/>
                  </a:lnTo>
                  <a:lnTo>
                    <a:pt x="672" y="1385"/>
                  </a:lnTo>
                  <a:lnTo>
                    <a:pt x="672" y="1385"/>
                  </a:lnTo>
                  <a:lnTo>
                    <a:pt x="672" y="1386"/>
                  </a:lnTo>
                  <a:lnTo>
                    <a:pt x="673" y="1388"/>
                  </a:lnTo>
                  <a:lnTo>
                    <a:pt x="673" y="1388"/>
                  </a:lnTo>
                  <a:lnTo>
                    <a:pt x="673" y="1388"/>
                  </a:lnTo>
                  <a:lnTo>
                    <a:pt x="673" y="1388"/>
                  </a:lnTo>
                  <a:lnTo>
                    <a:pt x="673" y="1388"/>
                  </a:lnTo>
                  <a:lnTo>
                    <a:pt x="673" y="1388"/>
                  </a:lnTo>
                  <a:lnTo>
                    <a:pt x="673" y="1386"/>
                  </a:lnTo>
                  <a:lnTo>
                    <a:pt x="672" y="1386"/>
                  </a:lnTo>
                  <a:lnTo>
                    <a:pt x="673" y="1388"/>
                  </a:lnTo>
                  <a:lnTo>
                    <a:pt x="673" y="1386"/>
                  </a:lnTo>
                  <a:lnTo>
                    <a:pt x="672" y="1386"/>
                  </a:lnTo>
                  <a:lnTo>
                    <a:pt x="675" y="1386"/>
                  </a:lnTo>
                  <a:lnTo>
                    <a:pt x="673" y="1385"/>
                  </a:lnTo>
                  <a:lnTo>
                    <a:pt x="673" y="1385"/>
                  </a:lnTo>
                  <a:lnTo>
                    <a:pt x="672" y="1386"/>
                  </a:lnTo>
                  <a:lnTo>
                    <a:pt x="675" y="1386"/>
                  </a:lnTo>
                  <a:lnTo>
                    <a:pt x="673" y="1385"/>
                  </a:lnTo>
                  <a:lnTo>
                    <a:pt x="675" y="1386"/>
                  </a:lnTo>
                  <a:lnTo>
                    <a:pt x="675" y="1385"/>
                  </a:lnTo>
                  <a:lnTo>
                    <a:pt x="675" y="1385"/>
                  </a:lnTo>
                  <a:lnTo>
                    <a:pt x="673" y="1385"/>
                  </a:lnTo>
                  <a:lnTo>
                    <a:pt x="675" y="1386"/>
                  </a:lnTo>
                  <a:lnTo>
                    <a:pt x="675" y="1385"/>
                  </a:lnTo>
                  <a:lnTo>
                    <a:pt x="675" y="1386"/>
                  </a:lnTo>
                  <a:lnTo>
                    <a:pt x="675" y="1385"/>
                  </a:lnTo>
                  <a:lnTo>
                    <a:pt x="675" y="1385"/>
                  </a:lnTo>
                  <a:lnTo>
                    <a:pt x="675" y="1386"/>
                  </a:lnTo>
                  <a:lnTo>
                    <a:pt x="675" y="1385"/>
                  </a:lnTo>
                  <a:lnTo>
                    <a:pt x="675" y="1385"/>
                  </a:lnTo>
                  <a:lnTo>
                    <a:pt x="675" y="1385"/>
                  </a:lnTo>
                  <a:lnTo>
                    <a:pt x="671" y="1382"/>
                  </a:lnTo>
                  <a:lnTo>
                    <a:pt x="671" y="1382"/>
                  </a:lnTo>
                  <a:lnTo>
                    <a:pt x="666" y="1380"/>
                  </a:lnTo>
                  <a:lnTo>
                    <a:pt x="666" y="1380"/>
                  </a:lnTo>
                  <a:lnTo>
                    <a:pt x="663" y="1379"/>
                  </a:lnTo>
                  <a:lnTo>
                    <a:pt x="663" y="1379"/>
                  </a:lnTo>
                  <a:lnTo>
                    <a:pt x="662" y="1380"/>
                  </a:lnTo>
                  <a:lnTo>
                    <a:pt x="662" y="1380"/>
                  </a:lnTo>
                  <a:lnTo>
                    <a:pt x="660" y="1382"/>
                  </a:lnTo>
                  <a:lnTo>
                    <a:pt x="660" y="1382"/>
                  </a:lnTo>
                  <a:lnTo>
                    <a:pt x="659" y="1383"/>
                  </a:lnTo>
                  <a:lnTo>
                    <a:pt x="659" y="1383"/>
                  </a:lnTo>
                  <a:lnTo>
                    <a:pt x="660" y="1388"/>
                  </a:lnTo>
                  <a:lnTo>
                    <a:pt x="660" y="1388"/>
                  </a:lnTo>
                  <a:lnTo>
                    <a:pt x="662" y="1388"/>
                  </a:lnTo>
                  <a:lnTo>
                    <a:pt x="660" y="1386"/>
                  </a:lnTo>
                  <a:lnTo>
                    <a:pt x="660" y="1388"/>
                  </a:lnTo>
                  <a:lnTo>
                    <a:pt x="662" y="1388"/>
                  </a:lnTo>
                  <a:lnTo>
                    <a:pt x="660" y="1386"/>
                  </a:lnTo>
                  <a:lnTo>
                    <a:pt x="662" y="1388"/>
                  </a:lnTo>
                  <a:lnTo>
                    <a:pt x="662" y="1386"/>
                  </a:lnTo>
                  <a:lnTo>
                    <a:pt x="662" y="1386"/>
                  </a:lnTo>
                  <a:lnTo>
                    <a:pt x="660" y="1386"/>
                  </a:lnTo>
                  <a:lnTo>
                    <a:pt x="662" y="1388"/>
                  </a:lnTo>
                  <a:lnTo>
                    <a:pt x="662" y="1386"/>
                  </a:lnTo>
                  <a:lnTo>
                    <a:pt x="662" y="1388"/>
                  </a:lnTo>
                  <a:lnTo>
                    <a:pt x="662" y="1386"/>
                  </a:lnTo>
                  <a:lnTo>
                    <a:pt x="662" y="1386"/>
                  </a:lnTo>
                  <a:lnTo>
                    <a:pt x="662" y="1388"/>
                  </a:lnTo>
                  <a:lnTo>
                    <a:pt x="662" y="1386"/>
                  </a:lnTo>
                  <a:lnTo>
                    <a:pt x="662" y="1386"/>
                  </a:lnTo>
                  <a:lnTo>
                    <a:pt x="662" y="1386"/>
                  </a:lnTo>
                  <a:lnTo>
                    <a:pt x="662" y="1386"/>
                  </a:lnTo>
                  <a:lnTo>
                    <a:pt x="662" y="1386"/>
                  </a:lnTo>
                  <a:lnTo>
                    <a:pt x="662" y="1386"/>
                  </a:lnTo>
                  <a:lnTo>
                    <a:pt x="662" y="1386"/>
                  </a:lnTo>
                  <a:lnTo>
                    <a:pt x="662" y="1386"/>
                  </a:lnTo>
                  <a:lnTo>
                    <a:pt x="660" y="1383"/>
                  </a:lnTo>
                  <a:lnTo>
                    <a:pt x="660" y="1383"/>
                  </a:lnTo>
                  <a:lnTo>
                    <a:pt x="659" y="1382"/>
                  </a:lnTo>
                  <a:lnTo>
                    <a:pt x="658" y="1382"/>
                  </a:lnTo>
                  <a:lnTo>
                    <a:pt x="658" y="1382"/>
                  </a:lnTo>
                  <a:lnTo>
                    <a:pt x="656" y="1380"/>
                  </a:lnTo>
                  <a:lnTo>
                    <a:pt x="656" y="1380"/>
                  </a:lnTo>
                  <a:lnTo>
                    <a:pt x="655" y="1382"/>
                  </a:lnTo>
                  <a:lnTo>
                    <a:pt x="655" y="1382"/>
                  </a:lnTo>
                  <a:lnTo>
                    <a:pt x="653" y="1383"/>
                  </a:lnTo>
                  <a:lnTo>
                    <a:pt x="653" y="1383"/>
                  </a:lnTo>
                  <a:lnTo>
                    <a:pt x="653" y="1385"/>
                  </a:lnTo>
                  <a:lnTo>
                    <a:pt x="653" y="1385"/>
                  </a:lnTo>
                  <a:lnTo>
                    <a:pt x="653" y="1389"/>
                  </a:lnTo>
                  <a:lnTo>
                    <a:pt x="653" y="1389"/>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0" y="1393"/>
                  </a:lnTo>
                  <a:lnTo>
                    <a:pt x="650" y="1393"/>
                  </a:lnTo>
                  <a:lnTo>
                    <a:pt x="647" y="1396"/>
                  </a:lnTo>
                  <a:lnTo>
                    <a:pt x="647" y="1396"/>
                  </a:lnTo>
                  <a:lnTo>
                    <a:pt x="647" y="1401"/>
                  </a:lnTo>
                  <a:lnTo>
                    <a:pt x="647" y="1401"/>
                  </a:lnTo>
                  <a:lnTo>
                    <a:pt x="647" y="1401"/>
                  </a:lnTo>
                  <a:lnTo>
                    <a:pt x="647" y="1408"/>
                  </a:lnTo>
                  <a:lnTo>
                    <a:pt x="647" y="1408"/>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4" y="1409"/>
                  </a:lnTo>
                  <a:lnTo>
                    <a:pt x="644" y="1409"/>
                  </a:lnTo>
                  <a:lnTo>
                    <a:pt x="643" y="1412"/>
                  </a:lnTo>
                  <a:lnTo>
                    <a:pt x="643" y="1412"/>
                  </a:lnTo>
                  <a:lnTo>
                    <a:pt x="640" y="1415"/>
                  </a:lnTo>
                  <a:lnTo>
                    <a:pt x="640" y="1415"/>
                  </a:lnTo>
                  <a:lnTo>
                    <a:pt x="640" y="1415"/>
                  </a:lnTo>
                  <a:lnTo>
                    <a:pt x="640" y="1415"/>
                  </a:lnTo>
                  <a:lnTo>
                    <a:pt x="640" y="1415"/>
                  </a:lnTo>
                  <a:lnTo>
                    <a:pt x="640" y="1415"/>
                  </a:lnTo>
                  <a:lnTo>
                    <a:pt x="640" y="1415"/>
                  </a:lnTo>
                  <a:lnTo>
                    <a:pt x="642" y="1417"/>
                  </a:lnTo>
                  <a:lnTo>
                    <a:pt x="642" y="1415"/>
                  </a:lnTo>
                  <a:lnTo>
                    <a:pt x="642" y="1415"/>
                  </a:lnTo>
                  <a:lnTo>
                    <a:pt x="640" y="1415"/>
                  </a:lnTo>
                  <a:lnTo>
                    <a:pt x="642" y="1417"/>
                  </a:lnTo>
                  <a:lnTo>
                    <a:pt x="642" y="1415"/>
                  </a:lnTo>
                  <a:lnTo>
                    <a:pt x="642" y="1417"/>
                  </a:lnTo>
                  <a:lnTo>
                    <a:pt x="642" y="1415"/>
                  </a:lnTo>
                  <a:lnTo>
                    <a:pt x="642" y="1415"/>
                  </a:lnTo>
                  <a:lnTo>
                    <a:pt x="642" y="1415"/>
                  </a:lnTo>
                  <a:lnTo>
                    <a:pt x="642" y="1417"/>
                  </a:lnTo>
                  <a:lnTo>
                    <a:pt x="642" y="1415"/>
                  </a:lnTo>
                  <a:lnTo>
                    <a:pt x="642" y="1415"/>
                  </a:lnTo>
                  <a:lnTo>
                    <a:pt x="643" y="1415"/>
                  </a:lnTo>
                  <a:lnTo>
                    <a:pt x="642" y="1415"/>
                  </a:lnTo>
                  <a:lnTo>
                    <a:pt x="642" y="1415"/>
                  </a:lnTo>
                  <a:lnTo>
                    <a:pt x="643" y="1415"/>
                  </a:lnTo>
                  <a:lnTo>
                    <a:pt x="642" y="1415"/>
                  </a:lnTo>
                  <a:lnTo>
                    <a:pt x="642" y="1415"/>
                  </a:lnTo>
                  <a:lnTo>
                    <a:pt x="640" y="1409"/>
                  </a:lnTo>
                  <a:lnTo>
                    <a:pt x="640" y="1409"/>
                  </a:lnTo>
                  <a:lnTo>
                    <a:pt x="637" y="1406"/>
                  </a:lnTo>
                  <a:lnTo>
                    <a:pt x="637" y="1406"/>
                  </a:lnTo>
                  <a:lnTo>
                    <a:pt x="634" y="1405"/>
                  </a:lnTo>
                  <a:lnTo>
                    <a:pt x="634" y="1405"/>
                  </a:lnTo>
                  <a:lnTo>
                    <a:pt x="630" y="1404"/>
                  </a:lnTo>
                  <a:lnTo>
                    <a:pt x="630" y="1404"/>
                  </a:lnTo>
                  <a:lnTo>
                    <a:pt x="630" y="1402"/>
                  </a:lnTo>
                  <a:lnTo>
                    <a:pt x="630" y="1401"/>
                  </a:lnTo>
                  <a:lnTo>
                    <a:pt x="630" y="1401"/>
                  </a:lnTo>
                  <a:lnTo>
                    <a:pt x="629" y="1396"/>
                  </a:lnTo>
                  <a:lnTo>
                    <a:pt x="629" y="1396"/>
                  </a:lnTo>
                  <a:lnTo>
                    <a:pt x="624" y="1392"/>
                  </a:lnTo>
                  <a:lnTo>
                    <a:pt x="624" y="1392"/>
                  </a:lnTo>
                  <a:lnTo>
                    <a:pt x="623" y="1389"/>
                  </a:lnTo>
                  <a:lnTo>
                    <a:pt x="623" y="1389"/>
                  </a:lnTo>
                  <a:lnTo>
                    <a:pt x="623" y="1389"/>
                  </a:lnTo>
                  <a:lnTo>
                    <a:pt x="626" y="1386"/>
                  </a:lnTo>
                  <a:lnTo>
                    <a:pt x="626" y="1386"/>
                  </a:lnTo>
                  <a:lnTo>
                    <a:pt x="627" y="1385"/>
                  </a:lnTo>
                  <a:lnTo>
                    <a:pt x="627" y="1385"/>
                  </a:lnTo>
                  <a:lnTo>
                    <a:pt x="629" y="1385"/>
                  </a:lnTo>
                  <a:lnTo>
                    <a:pt x="629" y="1385"/>
                  </a:lnTo>
                  <a:lnTo>
                    <a:pt x="636" y="1388"/>
                  </a:lnTo>
                  <a:lnTo>
                    <a:pt x="636" y="1388"/>
                  </a:lnTo>
                  <a:lnTo>
                    <a:pt x="644" y="1389"/>
                  </a:lnTo>
                  <a:lnTo>
                    <a:pt x="644" y="1389"/>
                  </a:lnTo>
                  <a:lnTo>
                    <a:pt x="647" y="1389"/>
                  </a:lnTo>
                  <a:lnTo>
                    <a:pt x="649" y="1388"/>
                  </a:lnTo>
                  <a:lnTo>
                    <a:pt x="649" y="1388"/>
                  </a:lnTo>
                  <a:lnTo>
                    <a:pt x="652" y="1385"/>
                  </a:lnTo>
                  <a:lnTo>
                    <a:pt x="652" y="1382"/>
                  </a:lnTo>
                  <a:lnTo>
                    <a:pt x="652" y="1382"/>
                  </a:lnTo>
                  <a:lnTo>
                    <a:pt x="652" y="1379"/>
                  </a:lnTo>
                  <a:lnTo>
                    <a:pt x="652" y="1379"/>
                  </a:lnTo>
                  <a:lnTo>
                    <a:pt x="647" y="1376"/>
                  </a:lnTo>
                  <a:lnTo>
                    <a:pt x="647" y="1376"/>
                  </a:lnTo>
                  <a:lnTo>
                    <a:pt x="646" y="1376"/>
                  </a:lnTo>
                  <a:lnTo>
                    <a:pt x="646" y="1376"/>
                  </a:lnTo>
                  <a:lnTo>
                    <a:pt x="631" y="1376"/>
                  </a:lnTo>
                  <a:lnTo>
                    <a:pt x="631" y="1376"/>
                  </a:lnTo>
                  <a:lnTo>
                    <a:pt x="624" y="1375"/>
                  </a:lnTo>
                  <a:lnTo>
                    <a:pt x="624" y="1375"/>
                  </a:lnTo>
                  <a:lnTo>
                    <a:pt x="620" y="1375"/>
                  </a:lnTo>
                  <a:lnTo>
                    <a:pt x="620" y="1373"/>
                  </a:lnTo>
                  <a:lnTo>
                    <a:pt x="618" y="1375"/>
                  </a:lnTo>
                  <a:lnTo>
                    <a:pt x="620" y="1373"/>
                  </a:lnTo>
                  <a:lnTo>
                    <a:pt x="620" y="1373"/>
                  </a:lnTo>
                  <a:lnTo>
                    <a:pt x="618" y="1375"/>
                  </a:lnTo>
                  <a:lnTo>
                    <a:pt x="620" y="1373"/>
                  </a:lnTo>
                  <a:lnTo>
                    <a:pt x="618" y="1375"/>
                  </a:lnTo>
                  <a:lnTo>
                    <a:pt x="620" y="1375"/>
                  </a:lnTo>
                  <a:lnTo>
                    <a:pt x="620" y="1373"/>
                  </a:lnTo>
                  <a:lnTo>
                    <a:pt x="618" y="1375"/>
                  </a:lnTo>
                  <a:lnTo>
                    <a:pt x="620" y="1375"/>
                  </a:lnTo>
                  <a:lnTo>
                    <a:pt x="618" y="1375"/>
                  </a:lnTo>
                  <a:lnTo>
                    <a:pt x="620" y="1375"/>
                  </a:lnTo>
                  <a:lnTo>
                    <a:pt x="620" y="1375"/>
                  </a:lnTo>
                  <a:lnTo>
                    <a:pt x="618" y="1375"/>
                  </a:lnTo>
                  <a:lnTo>
                    <a:pt x="620" y="1375"/>
                  </a:lnTo>
                  <a:lnTo>
                    <a:pt x="618" y="1375"/>
                  </a:lnTo>
                  <a:lnTo>
                    <a:pt x="620" y="1375"/>
                  </a:lnTo>
                  <a:lnTo>
                    <a:pt x="620" y="1375"/>
                  </a:lnTo>
                  <a:lnTo>
                    <a:pt x="618" y="1375"/>
                  </a:lnTo>
                  <a:lnTo>
                    <a:pt x="620" y="1375"/>
                  </a:lnTo>
                  <a:lnTo>
                    <a:pt x="620" y="1375"/>
                  </a:lnTo>
                  <a:lnTo>
                    <a:pt x="620" y="1373"/>
                  </a:lnTo>
                  <a:lnTo>
                    <a:pt x="620" y="1373"/>
                  </a:lnTo>
                  <a:lnTo>
                    <a:pt x="621" y="1370"/>
                  </a:lnTo>
                  <a:lnTo>
                    <a:pt x="621" y="1370"/>
                  </a:lnTo>
                  <a:lnTo>
                    <a:pt x="620" y="1367"/>
                  </a:lnTo>
                  <a:lnTo>
                    <a:pt x="620" y="1367"/>
                  </a:lnTo>
                  <a:lnTo>
                    <a:pt x="618" y="1366"/>
                  </a:lnTo>
                  <a:lnTo>
                    <a:pt x="618" y="1366"/>
                  </a:lnTo>
                  <a:lnTo>
                    <a:pt x="614" y="1362"/>
                  </a:lnTo>
                  <a:lnTo>
                    <a:pt x="611" y="1362"/>
                  </a:lnTo>
                  <a:lnTo>
                    <a:pt x="611" y="1362"/>
                  </a:lnTo>
                  <a:lnTo>
                    <a:pt x="610" y="1360"/>
                  </a:lnTo>
                  <a:lnTo>
                    <a:pt x="610" y="1360"/>
                  </a:lnTo>
                  <a:lnTo>
                    <a:pt x="610" y="1360"/>
                  </a:lnTo>
                  <a:lnTo>
                    <a:pt x="607" y="1359"/>
                  </a:lnTo>
                  <a:lnTo>
                    <a:pt x="607" y="1359"/>
                  </a:lnTo>
                  <a:lnTo>
                    <a:pt x="605" y="1360"/>
                  </a:lnTo>
                  <a:lnTo>
                    <a:pt x="605" y="1360"/>
                  </a:lnTo>
                  <a:lnTo>
                    <a:pt x="604" y="1360"/>
                  </a:lnTo>
                  <a:lnTo>
                    <a:pt x="602" y="1360"/>
                  </a:lnTo>
                  <a:lnTo>
                    <a:pt x="602" y="1360"/>
                  </a:lnTo>
                  <a:lnTo>
                    <a:pt x="602" y="1360"/>
                  </a:lnTo>
                  <a:lnTo>
                    <a:pt x="602" y="1360"/>
                  </a:lnTo>
                  <a:lnTo>
                    <a:pt x="602" y="1360"/>
                  </a:lnTo>
                  <a:lnTo>
                    <a:pt x="602" y="1360"/>
                  </a:lnTo>
                  <a:lnTo>
                    <a:pt x="602" y="1360"/>
                  </a:lnTo>
                  <a:lnTo>
                    <a:pt x="602" y="1362"/>
                  </a:lnTo>
                  <a:lnTo>
                    <a:pt x="602" y="1360"/>
                  </a:lnTo>
                  <a:lnTo>
                    <a:pt x="602" y="1360"/>
                  </a:lnTo>
                  <a:lnTo>
                    <a:pt x="602" y="1362"/>
                  </a:lnTo>
                  <a:lnTo>
                    <a:pt x="602" y="1360"/>
                  </a:lnTo>
                  <a:lnTo>
                    <a:pt x="602" y="1362"/>
                  </a:lnTo>
                  <a:lnTo>
                    <a:pt x="602" y="1360"/>
                  </a:lnTo>
                  <a:lnTo>
                    <a:pt x="602" y="1360"/>
                  </a:lnTo>
                  <a:lnTo>
                    <a:pt x="602" y="1362"/>
                  </a:lnTo>
                  <a:lnTo>
                    <a:pt x="602" y="1360"/>
                  </a:lnTo>
                  <a:lnTo>
                    <a:pt x="602" y="1360"/>
                  </a:lnTo>
                  <a:lnTo>
                    <a:pt x="602" y="1360"/>
                  </a:lnTo>
                  <a:lnTo>
                    <a:pt x="602" y="1359"/>
                  </a:lnTo>
                  <a:lnTo>
                    <a:pt x="602" y="1359"/>
                  </a:lnTo>
                  <a:lnTo>
                    <a:pt x="598" y="1351"/>
                  </a:lnTo>
                  <a:lnTo>
                    <a:pt x="598" y="1351"/>
                  </a:lnTo>
                  <a:lnTo>
                    <a:pt x="595" y="1343"/>
                  </a:lnTo>
                  <a:lnTo>
                    <a:pt x="595" y="1343"/>
                  </a:lnTo>
                  <a:lnTo>
                    <a:pt x="594" y="1331"/>
                  </a:lnTo>
                  <a:lnTo>
                    <a:pt x="594" y="1331"/>
                  </a:lnTo>
                  <a:lnTo>
                    <a:pt x="594" y="1315"/>
                  </a:lnTo>
                  <a:lnTo>
                    <a:pt x="594" y="1315"/>
                  </a:lnTo>
                  <a:lnTo>
                    <a:pt x="594" y="1308"/>
                  </a:lnTo>
                  <a:lnTo>
                    <a:pt x="594" y="1308"/>
                  </a:lnTo>
                  <a:lnTo>
                    <a:pt x="591" y="1304"/>
                  </a:lnTo>
                  <a:lnTo>
                    <a:pt x="591" y="1304"/>
                  </a:lnTo>
                  <a:lnTo>
                    <a:pt x="585" y="1301"/>
                  </a:lnTo>
                  <a:lnTo>
                    <a:pt x="585" y="1301"/>
                  </a:lnTo>
                  <a:lnTo>
                    <a:pt x="581" y="1298"/>
                  </a:lnTo>
                  <a:lnTo>
                    <a:pt x="581" y="1298"/>
                  </a:lnTo>
                  <a:lnTo>
                    <a:pt x="574" y="1289"/>
                  </a:lnTo>
                  <a:lnTo>
                    <a:pt x="566" y="1283"/>
                  </a:lnTo>
                  <a:lnTo>
                    <a:pt x="566" y="1283"/>
                  </a:lnTo>
                  <a:lnTo>
                    <a:pt x="559" y="1282"/>
                  </a:lnTo>
                  <a:lnTo>
                    <a:pt x="559" y="1282"/>
                  </a:lnTo>
                  <a:lnTo>
                    <a:pt x="556" y="1280"/>
                  </a:lnTo>
                  <a:lnTo>
                    <a:pt x="556" y="1280"/>
                  </a:lnTo>
                  <a:lnTo>
                    <a:pt x="550" y="1276"/>
                  </a:lnTo>
                  <a:lnTo>
                    <a:pt x="550" y="1276"/>
                  </a:lnTo>
                  <a:lnTo>
                    <a:pt x="547" y="1273"/>
                  </a:lnTo>
                  <a:lnTo>
                    <a:pt x="545" y="1270"/>
                  </a:lnTo>
                  <a:lnTo>
                    <a:pt x="545" y="1270"/>
                  </a:lnTo>
                  <a:lnTo>
                    <a:pt x="534" y="1267"/>
                  </a:lnTo>
                  <a:lnTo>
                    <a:pt x="534" y="1267"/>
                  </a:lnTo>
                  <a:lnTo>
                    <a:pt x="530" y="1264"/>
                  </a:lnTo>
                  <a:lnTo>
                    <a:pt x="527" y="1263"/>
                  </a:lnTo>
                  <a:lnTo>
                    <a:pt x="527" y="1263"/>
                  </a:lnTo>
                  <a:lnTo>
                    <a:pt x="526" y="1260"/>
                  </a:lnTo>
                  <a:lnTo>
                    <a:pt x="526" y="1260"/>
                  </a:lnTo>
                  <a:lnTo>
                    <a:pt x="526" y="1257"/>
                  </a:lnTo>
                  <a:lnTo>
                    <a:pt x="526" y="1257"/>
                  </a:lnTo>
                  <a:lnTo>
                    <a:pt x="526" y="1254"/>
                  </a:lnTo>
                  <a:lnTo>
                    <a:pt x="526" y="1254"/>
                  </a:lnTo>
                  <a:lnTo>
                    <a:pt x="521" y="1250"/>
                  </a:lnTo>
                  <a:lnTo>
                    <a:pt x="521" y="1250"/>
                  </a:lnTo>
                  <a:lnTo>
                    <a:pt x="517" y="1249"/>
                  </a:lnTo>
                  <a:lnTo>
                    <a:pt x="517" y="1249"/>
                  </a:lnTo>
                  <a:lnTo>
                    <a:pt x="514" y="1247"/>
                  </a:lnTo>
                  <a:lnTo>
                    <a:pt x="514" y="1247"/>
                  </a:lnTo>
                  <a:lnTo>
                    <a:pt x="514" y="1247"/>
                  </a:lnTo>
                  <a:lnTo>
                    <a:pt x="514" y="1249"/>
                  </a:lnTo>
                  <a:lnTo>
                    <a:pt x="514" y="1247"/>
                  </a:lnTo>
                  <a:lnTo>
                    <a:pt x="514" y="1247"/>
                  </a:lnTo>
                  <a:lnTo>
                    <a:pt x="514" y="1249"/>
                  </a:lnTo>
                  <a:lnTo>
                    <a:pt x="514" y="1247"/>
                  </a:lnTo>
                  <a:lnTo>
                    <a:pt x="514" y="1249"/>
                  </a:lnTo>
                  <a:lnTo>
                    <a:pt x="514" y="1247"/>
                  </a:lnTo>
                  <a:lnTo>
                    <a:pt x="514" y="1247"/>
                  </a:lnTo>
                  <a:lnTo>
                    <a:pt x="514" y="1249"/>
                  </a:lnTo>
                  <a:lnTo>
                    <a:pt x="514" y="1247"/>
                  </a:lnTo>
                  <a:lnTo>
                    <a:pt x="514" y="1247"/>
                  </a:lnTo>
                  <a:lnTo>
                    <a:pt x="514" y="1246"/>
                  </a:lnTo>
                  <a:lnTo>
                    <a:pt x="514" y="1246"/>
                  </a:lnTo>
                  <a:lnTo>
                    <a:pt x="516" y="1235"/>
                  </a:lnTo>
                  <a:lnTo>
                    <a:pt x="516" y="1235"/>
                  </a:lnTo>
                  <a:lnTo>
                    <a:pt x="514" y="1233"/>
                  </a:lnTo>
                  <a:lnTo>
                    <a:pt x="514" y="1233"/>
                  </a:lnTo>
                  <a:lnTo>
                    <a:pt x="514" y="1231"/>
                  </a:lnTo>
                  <a:lnTo>
                    <a:pt x="514" y="1231"/>
                  </a:lnTo>
                  <a:lnTo>
                    <a:pt x="511" y="1230"/>
                  </a:lnTo>
                  <a:lnTo>
                    <a:pt x="511" y="1230"/>
                  </a:lnTo>
                  <a:lnTo>
                    <a:pt x="510" y="1231"/>
                  </a:lnTo>
                  <a:lnTo>
                    <a:pt x="508" y="1231"/>
                  </a:lnTo>
                  <a:lnTo>
                    <a:pt x="508" y="1231"/>
                  </a:lnTo>
                  <a:lnTo>
                    <a:pt x="505" y="1235"/>
                  </a:lnTo>
                  <a:lnTo>
                    <a:pt x="505" y="1235"/>
                  </a:lnTo>
                  <a:lnTo>
                    <a:pt x="504" y="1237"/>
                  </a:lnTo>
                  <a:lnTo>
                    <a:pt x="504" y="1237"/>
                  </a:lnTo>
                  <a:lnTo>
                    <a:pt x="504" y="1237"/>
                  </a:lnTo>
                  <a:lnTo>
                    <a:pt x="504" y="1238"/>
                  </a:lnTo>
                  <a:lnTo>
                    <a:pt x="504" y="1237"/>
                  </a:lnTo>
                  <a:lnTo>
                    <a:pt x="504" y="1237"/>
                  </a:lnTo>
                  <a:lnTo>
                    <a:pt x="504" y="1238"/>
                  </a:lnTo>
                  <a:lnTo>
                    <a:pt x="504" y="1237"/>
                  </a:lnTo>
                  <a:lnTo>
                    <a:pt x="504" y="1238"/>
                  </a:lnTo>
                  <a:lnTo>
                    <a:pt x="504" y="1237"/>
                  </a:lnTo>
                  <a:lnTo>
                    <a:pt x="504" y="1237"/>
                  </a:lnTo>
                  <a:lnTo>
                    <a:pt x="504" y="1238"/>
                  </a:lnTo>
                  <a:lnTo>
                    <a:pt x="504" y="1237"/>
                  </a:lnTo>
                  <a:lnTo>
                    <a:pt x="504" y="1237"/>
                  </a:lnTo>
                  <a:lnTo>
                    <a:pt x="504" y="1237"/>
                  </a:lnTo>
                  <a:lnTo>
                    <a:pt x="504" y="1237"/>
                  </a:lnTo>
                  <a:lnTo>
                    <a:pt x="501" y="1233"/>
                  </a:lnTo>
                  <a:lnTo>
                    <a:pt x="500" y="1227"/>
                  </a:lnTo>
                  <a:lnTo>
                    <a:pt x="500" y="1227"/>
                  </a:lnTo>
                  <a:lnTo>
                    <a:pt x="498" y="1222"/>
                  </a:lnTo>
                  <a:lnTo>
                    <a:pt x="498" y="1222"/>
                  </a:lnTo>
                  <a:lnTo>
                    <a:pt x="497" y="1220"/>
                  </a:lnTo>
                  <a:lnTo>
                    <a:pt x="497" y="1220"/>
                  </a:lnTo>
                  <a:lnTo>
                    <a:pt x="495" y="1220"/>
                  </a:lnTo>
                  <a:lnTo>
                    <a:pt x="495" y="1220"/>
                  </a:lnTo>
                  <a:lnTo>
                    <a:pt x="494" y="1218"/>
                  </a:lnTo>
                  <a:lnTo>
                    <a:pt x="494" y="1218"/>
                  </a:lnTo>
                  <a:lnTo>
                    <a:pt x="492" y="1220"/>
                  </a:lnTo>
                  <a:lnTo>
                    <a:pt x="492" y="1220"/>
                  </a:lnTo>
                  <a:lnTo>
                    <a:pt x="485" y="1222"/>
                  </a:lnTo>
                  <a:lnTo>
                    <a:pt x="485" y="1222"/>
                  </a:lnTo>
                  <a:lnTo>
                    <a:pt x="478" y="1227"/>
                  </a:lnTo>
                  <a:lnTo>
                    <a:pt x="478" y="1227"/>
                  </a:lnTo>
                  <a:lnTo>
                    <a:pt x="475" y="1228"/>
                  </a:lnTo>
                  <a:lnTo>
                    <a:pt x="475" y="1228"/>
                  </a:lnTo>
                  <a:lnTo>
                    <a:pt x="474" y="1228"/>
                  </a:lnTo>
                  <a:lnTo>
                    <a:pt x="474" y="1228"/>
                  </a:lnTo>
                  <a:lnTo>
                    <a:pt x="472" y="1231"/>
                  </a:lnTo>
                  <a:lnTo>
                    <a:pt x="472" y="1231"/>
                  </a:lnTo>
                  <a:lnTo>
                    <a:pt x="474" y="1234"/>
                  </a:lnTo>
                  <a:lnTo>
                    <a:pt x="474" y="1234"/>
                  </a:lnTo>
                  <a:lnTo>
                    <a:pt x="475" y="1235"/>
                  </a:lnTo>
                  <a:lnTo>
                    <a:pt x="475" y="1235"/>
                  </a:lnTo>
                  <a:lnTo>
                    <a:pt x="478" y="1237"/>
                  </a:lnTo>
                  <a:lnTo>
                    <a:pt x="479" y="1238"/>
                  </a:lnTo>
                  <a:lnTo>
                    <a:pt x="479" y="1238"/>
                  </a:lnTo>
                  <a:lnTo>
                    <a:pt x="481" y="1238"/>
                  </a:lnTo>
                  <a:lnTo>
                    <a:pt x="481" y="1238"/>
                  </a:lnTo>
                  <a:lnTo>
                    <a:pt x="481" y="1237"/>
                  </a:lnTo>
                  <a:lnTo>
                    <a:pt x="479" y="1237"/>
                  </a:lnTo>
                  <a:lnTo>
                    <a:pt x="481" y="1238"/>
                  </a:lnTo>
                  <a:lnTo>
                    <a:pt x="481" y="1237"/>
                  </a:lnTo>
                  <a:lnTo>
                    <a:pt x="479" y="1237"/>
                  </a:lnTo>
                  <a:lnTo>
                    <a:pt x="481" y="1237"/>
                  </a:lnTo>
                  <a:lnTo>
                    <a:pt x="479" y="1237"/>
                  </a:lnTo>
                  <a:lnTo>
                    <a:pt x="479" y="1237"/>
                  </a:lnTo>
                  <a:lnTo>
                    <a:pt x="481" y="1237"/>
                  </a:lnTo>
                  <a:lnTo>
                    <a:pt x="479" y="1237"/>
                  </a:lnTo>
                  <a:lnTo>
                    <a:pt x="481" y="1237"/>
                  </a:lnTo>
                  <a:lnTo>
                    <a:pt x="479" y="1235"/>
                  </a:lnTo>
                  <a:lnTo>
                    <a:pt x="479" y="1237"/>
                  </a:lnTo>
                  <a:lnTo>
                    <a:pt x="481" y="1237"/>
                  </a:lnTo>
                  <a:lnTo>
                    <a:pt x="479" y="1235"/>
                  </a:lnTo>
                  <a:lnTo>
                    <a:pt x="479" y="1237"/>
                  </a:lnTo>
                  <a:lnTo>
                    <a:pt x="478" y="1237"/>
                  </a:lnTo>
                  <a:lnTo>
                    <a:pt x="478" y="1237"/>
                  </a:lnTo>
                  <a:lnTo>
                    <a:pt x="475" y="1243"/>
                  </a:lnTo>
                  <a:lnTo>
                    <a:pt x="475" y="1243"/>
                  </a:lnTo>
                  <a:lnTo>
                    <a:pt x="474" y="1246"/>
                  </a:lnTo>
                  <a:lnTo>
                    <a:pt x="474" y="1246"/>
                  </a:lnTo>
                  <a:lnTo>
                    <a:pt x="474" y="1249"/>
                  </a:lnTo>
                  <a:lnTo>
                    <a:pt x="474" y="1249"/>
                  </a:lnTo>
                  <a:lnTo>
                    <a:pt x="474" y="1251"/>
                  </a:lnTo>
                  <a:lnTo>
                    <a:pt x="474" y="1251"/>
                  </a:lnTo>
                  <a:lnTo>
                    <a:pt x="476" y="1253"/>
                  </a:lnTo>
                  <a:lnTo>
                    <a:pt x="476" y="1253"/>
                  </a:lnTo>
                  <a:lnTo>
                    <a:pt x="478" y="1254"/>
                  </a:lnTo>
                  <a:lnTo>
                    <a:pt x="478" y="1254"/>
                  </a:lnTo>
                  <a:lnTo>
                    <a:pt x="481" y="1259"/>
                  </a:lnTo>
                  <a:lnTo>
                    <a:pt x="481" y="1259"/>
                  </a:lnTo>
                  <a:lnTo>
                    <a:pt x="482" y="1262"/>
                  </a:lnTo>
                  <a:lnTo>
                    <a:pt x="482" y="1262"/>
                  </a:lnTo>
                  <a:lnTo>
                    <a:pt x="487" y="1264"/>
                  </a:lnTo>
                  <a:lnTo>
                    <a:pt x="487" y="1264"/>
                  </a:lnTo>
                  <a:lnTo>
                    <a:pt x="492" y="1267"/>
                  </a:lnTo>
                  <a:lnTo>
                    <a:pt x="492" y="1267"/>
                  </a:lnTo>
                  <a:lnTo>
                    <a:pt x="495" y="1270"/>
                  </a:lnTo>
                  <a:lnTo>
                    <a:pt x="495" y="1270"/>
                  </a:lnTo>
                  <a:lnTo>
                    <a:pt x="495" y="1272"/>
                  </a:lnTo>
                  <a:lnTo>
                    <a:pt x="495" y="1272"/>
                  </a:lnTo>
                  <a:lnTo>
                    <a:pt x="498" y="1277"/>
                  </a:lnTo>
                  <a:lnTo>
                    <a:pt x="498" y="1277"/>
                  </a:lnTo>
                  <a:lnTo>
                    <a:pt x="504" y="1288"/>
                  </a:lnTo>
                  <a:lnTo>
                    <a:pt x="504" y="1288"/>
                  </a:lnTo>
                  <a:lnTo>
                    <a:pt x="510" y="1298"/>
                  </a:lnTo>
                  <a:lnTo>
                    <a:pt x="510" y="1298"/>
                  </a:lnTo>
                  <a:lnTo>
                    <a:pt x="517" y="1304"/>
                  </a:lnTo>
                  <a:lnTo>
                    <a:pt x="517" y="1304"/>
                  </a:lnTo>
                  <a:lnTo>
                    <a:pt x="520" y="1305"/>
                  </a:lnTo>
                  <a:lnTo>
                    <a:pt x="524" y="1306"/>
                  </a:lnTo>
                  <a:lnTo>
                    <a:pt x="526" y="1306"/>
                  </a:lnTo>
                  <a:lnTo>
                    <a:pt x="526" y="1306"/>
                  </a:lnTo>
                  <a:lnTo>
                    <a:pt x="533" y="1305"/>
                  </a:lnTo>
                  <a:lnTo>
                    <a:pt x="533" y="1305"/>
                  </a:lnTo>
                  <a:lnTo>
                    <a:pt x="534" y="1306"/>
                  </a:lnTo>
                  <a:lnTo>
                    <a:pt x="534" y="1306"/>
                  </a:lnTo>
                  <a:lnTo>
                    <a:pt x="534" y="1305"/>
                  </a:lnTo>
                  <a:lnTo>
                    <a:pt x="534" y="1305"/>
                  </a:lnTo>
                  <a:lnTo>
                    <a:pt x="534" y="1306"/>
                  </a:lnTo>
                  <a:lnTo>
                    <a:pt x="534" y="1305"/>
                  </a:lnTo>
                  <a:lnTo>
                    <a:pt x="534" y="1305"/>
                  </a:lnTo>
                  <a:lnTo>
                    <a:pt x="536" y="1305"/>
                  </a:lnTo>
                  <a:lnTo>
                    <a:pt x="534" y="1305"/>
                  </a:lnTo>
                  <a:lnTo>
                    <a:pt x="534" y="1305"/>
                  </a:lnTo>
                  <a:lnTo>
                    <a:pt x="536" y="1305"/>
                  </a:lnTo>
                  <a:lnTo>
                    <a:pt x="534" y="1305"/>
                  </a:lnTo>
                  <a:lnTo>
                    <a:pt x="534" y="1305"/>
                  </a:lnTo>
                  <a:lnTo>
                    <a:pt x="534" y="1308"/>
                  </a:lnTo>
                  <a:lnTo>
                    <a:pt x="534" y="1308"/>
                  </a:lnTo>
                  <a:lnTo>
                    <a:pt x="533" y="1312"/>
                  </a:lnTo>
                  <a:lnTo>
                    <a:pt x="533" y="1312"/>
                  </a:lnTo>
                  <a:lnTo>
                    <a:pt x="534" y="1317"/>
                  </a:lnTo>
                  <a:lnTo>
                    <a:pt x="534" y="1317"/>
                  </a:lnTo>
                  <a:lnTo>
                    <a:pt x="536" y="1318"/>
                  </a:lnTo>
                  <a:lnTo>
                    <a:pt x="537" y="1319"/>
                  </a:lnTo>
                  <a:lnTo>
                    <a:pt x="537" y="1319"/>
                  </a:lnTo>
                  <a:lnTo>
                    <a:pt x="550" y="1322"/>
                  </a:lnTo>
                  <a:lnTo>
                    <a:pt x="550" y="1322"/>
                  </a:lnTo>
                  <a:lnTo>
                    <a:pt x="556" y="1324"/>
                  </a:lnTo>
                  <a:lnTo>
                    <a:pt x="562" y="1327"/>
                  </a:lnTo>
                  <a:lnTo>
                    <a:pt x="562" y="1327"/>
                  </a:lnTo>
                  <a:lnTo>
                    <a:pt x="569" y="1335"/>
                  </a:lnTo>
                  <a:lnTo>
                    <a:pt x="569" y="1335"/>
                  </a:lnTo>
                  <a:lnTo>
                    <a:pt x="572" y="1340"/>
                  </a:lnTo>
                  <a:lnTo>
                    <a:pt x="572" y="1340"/>
                  </a:lnTo>
                  <a:lnTo>
                    <a:pt x="574" y="1343"/>
                  </a:lnTo>
                  <a:lnTo>
                    <a:pt x="574" y="1343"/>
                  </a:lnTo>
                  <a:lnTo>
                    <a:pt x="574" y="1341"/>
                  </a:lnTo>
                  <a:lnTo>
                    <a:pt x="574" y="1343"/>
                  </a:lnTo>
                  <a:lnTo>
                    <a:pt x="574" y="1343"/>
                  </a:lnTo>
                  <a:lnTo>
                    <a:pt x="574" y="1341"/>
                  </a:lnTo>
                  <a:lnTo>
                    <a:pt x="575" y="1343"/>
                  </a:lnTo>
                  <a:lnTo>
                    <a:pt x="574" y="1341"/>
                  </a:lnTo>
                  <a:lnTo>
                    <a:pt x="574" y="1341"/>
                  </a:lnTo>
                  <a:lnTo>
                    <a:pt x="575" y="1343"/>
                  </a:lnTo>
                  <a:lnTo>
                    <a:pt x="574" y="1341"/>
                  </a:lnTo>
                  <a:lnTo>
                    <a:pt x="574" y="1341"/>
                  </a:lnTo>
                  <a:lnTo>
                    <a:pt x="574" y="1343"/>
                  </a:lnTo>
                  <a:lnTo>
                    <a:pt x="574" y="1343"/>
                  </a:lnTo>
                  <a:lnTo>
                    <a:pt x="571" y="1343"/>
                  </a:lnTo>
                  <a:lnTo>
                    <a:pt x="571" y="1343"/>
                  </a:lnTo>
                  <a:lnTo>
                    <a:pt x="566" y="1341"/>
                  </a:lnTo>
                  <a:lnTo>
                    <a:pt x="566" y="1341"/>
                  </a:lnTo>
                  <a:lnTo>
                    <a:pt x="559" y="1338"/>
                  </a:lnTo>
                  <a:lnTo>
                    <a:pt x="559" y="1338"/>
                  </a:lnTo>
                  <a:lnTo>
                    <a:pt x="553" y="1337"/>
                  </a:lnTo>
                  <a:lnTo>
                    <a:pt x="553" y="1337"/>
                  </a:lnTo>
                  <a:lnTo>
                    <a:pt x="550" y="1337"/>
                  </a:lnTo>
                  <a:lnTo>
                    <a:pt x="550" y="1337"/>
                  </a:lnTo>
                  <a:lnTo>
                    <a:pt x="547" y="1338"/>
                  </a:lnTo>
                  <a:lnTo>
                    <a:pt x="547" y="1338"/>
                  </a:lnTo>
                  <a:lnTo>
                    <a:pt x="545" y="1344"/>
                  </a:lnTo>
                  <a:lnTo>
                    <a:pt x="545" y="1344"/>
                  </a:lnTo>
                  <a:lnTo>
                    <a:pt x="543" y="1347"/>
                  </a:lnTo>
                  <a:lnTo>
                    <a:pt x="542" y="1350"/>
                  </a:lnTo>
                  <a:lnTo>
                    <a:pt x="542" y="1350"/>
                  </a:lnTo>
                  <a:lnTo>
                    <a:pt x="543" y="1353"/>
                  </a:lnTo>
                  <a:lnTo>
                    <a:pt x="543" y="1353"/>
                  </a:lnTo>
                  <a:lnTo>
                    <a:pt x="547" y="1357"/>
                  </a:lnTo>
                  <a:lnTo>
                    <a:pt x="547" y="1357"/>
                  </a:lnTo>
                  <a:lnTo>
                    <a:pt x="549" y="1359"/>
                  </a:lnTo>
                  <a:lnTo>
                    <a:pt x="549" y="1359"/>
                  </a:lnTo>
                  <a:lnTo>
                    <a:pt x="549" y="1360"/>
                  </a:lnTo>
                  <a:lnTo>
                    <a:pt x="549" y="1360"/>
                  </a:lnTo>
                  <a:lnTo>
                    <a:pt x="549" y="1360"/>
                  </a:lnTo>
                  <a:lnTo>
                    <a:pt x="547" y="1369"/>
                  </a:lnTo>
                  <a:lnTo>
                    <a:pt x="547" y="1369"/>
                  </a:lnTo>
                  <a:lnTo>
                    <a:pt x="543" y="1377"/>
                  </a:lnTo>
                  <a:lnTo>
                    <a:pt x="543" y="1377"/>
                  </a:lnTo>
                  <a:lnTo>
                    <a:pt x="540" y="1385"/>
                  </a:lnTo>
                  <a:lnTo>
                    <a:pt x="540" y="1385"/>
                  </a:lnTo>
                  <a:lnTo>
                    <a:pt x="537" y="1389"/>
                  </a:lnTo>
                  <a:lnTo>
                    <a:pt x="536" y="1389"/>
                  </a:lnTo>
                  <a:lnTo>
                    <a:pt x="536" y="1389"/>
                  </a:lnTo>
                  <a:lnTo>
                    <a:pt x="536" y="1390"/>
                  </a:lnTo>
                  <a:lnTo>
                    <a:pt x="536" y="1389"/>
                  </a:lnTo>
                  <a:lnTo>
                    <a:pt x="536" y="1389"/>
                  </a:lnTo>
                  <a:lnTo>
                    <a:pt x="536" y="1390"/>
                  </a:lnTo>
                  <a:lnTo>
                    <a:pt x="536" y="1389"/>
                  </a:lnTo>
                  <a:lnTo>
                    <a:pt x="536" y="1390"/>
                  </a:lnTo>
                  <a:lnTo>
                    <a:pt x="537" y="1390"/>
                  </a:lnTo>
                  <a:lnTo>
                    <a:pt x="536" y="1389"/>
                  </a:lnTo>
                  <a:lnTo>
                    <a:pt x="536" y="1390"/>
                  </a:lnTo>
                  <a:lnTo>
                    <a:pt x="537" y="1390"/>
                  </a:lnTo>
                  <a:lnTo>
                    <a:pt x="536" y="1392"/>
                  </a:lnTo>
                  <a:lnTo>
                    <a:pt x="533" y="1393"/>
                  </a:lnTo>
                  <a:lnTo>
                    <a:pt x="533" y="1393"/>
                  </a:lnTo>
                  <a:lnTo>
                    <a:pt x="536" y="1395"/>
                  </a:lnTo>
                  <a:lnTo>
                    <a:pt x="536" y="1395"/>
                  </a:lnTo>
                  <a:lnTo>
                    <a:pt x="539" y="1393"/>
                  </a:lnTo>
                  <a:lnTo>
                    <a:pt x="539" y="1393"/>
                  </a:lnTo>
                  <a:lnTo>
                    <a:pt x="542" y="1390"/>
                  </a:lnTo>
                  <a:lnTo>
                    <a:pt x="542" y="1390"/>
                  </a:lnTo>
                  <a:lnTo>
                    <a:pt x="546" y="1385"/>
                  </a:lnTo>
                  <a:lnTo>
                    <a:pt x="546" y="1385"/>
                  </a:lnTo>
                  <a:lnTo>
                    <a:pt x="549" y="1379"/>
                  </a:lnTo>
                  <a:lnTo>
                    <a:pt x="549" y="1379"/>
                  </a:lnTo>
                  <a:lnTo>
                    <a:pt x="552" y="1372"/>
                  </a:lnTo>
                  <a:lnTo>
                    <a:pt x="552" y="1372"/>
                  </a:lnTo>
                  <a:lnTo>
                    <a:pt x="555" y="1362"/>
                  </a:lnTo>
                  <a:lnTo>
                    <a:pt x="555" y="1362"/>
                  </a:lnTo>
                  <a:lnTo>
                    <a:pt x="555" y="1360"/>
                  </a:lnTo>
                  <a:lnTo>
                    <a:pt x="555" y="1360"/>
                  </a:lnTo>
                  <a:lnTo>
                    <a:pt x="553" y="1356"/>
                  </a:lnTo>
                  <a:lnTo>
                    <a:pt x="553" y="1356"/>
                  </a:lnTo>
                  <a:lnTo>
                    <a:pt x="550" y="1353"/>
                  </a:lnTo>
                  <a:lnTo>
                    <a:pt x="550" y="1353"/>
                  </a:lnTo>
                  <a:lnTo>
                    <a:pt x="547" y="1350"/>
                  </a:lnTo>
                  <a:lnTo>
                    <a:pt x="547" y="1350"/>
                  </a:lnTo>
                  <a:lnTo>
                    <a:pt x="547" y="1350"/>
                  </a:lnTo>
                  <a:lnTo>
                    <a:pt x="547" y="1350"/>
                  </a:lnTo>
                  <a:lnTo>
                    <a:pt x="547" y="1350"/>
                  </a:lnTo>
                  <a:lnTo>
                    <a:pt x="547" y="1350"/>
                  </a:lnTo>
                  <a:lnTo>
                    <a:pt x="547" y="1350"/>
                  </a:lnTo>
                  <a:lnTo>
                    <a:pt x="547" y="1350"/>
                  </a:lnTo>
                  <a:lnTo>
                    <a:pt x="547" y="1348"/>
                  </a:lnTo>
                  <a:lnTo>
                    <a:pt x="547" y="1348"/>
                  </a:lnTo>
                  <a:lnTo>
                    <a:pt x="550" y="1344"/>
                  </a:lnTo>
                  <a:lnTo>
                    <a:pt x="550" y="1344"/>
                  </a:lnTo>
                  <a:lnTo>
                    <a:pt x="552" y="1343"/>
                  </a:lnTo>
                  <a:lnTo>
                    <a:pt x="552" y="1341"/>
                  </a:lnTo>
                  <a:lnTo>
                    <a:pt x="552" y="1341"/>
                  </a:lnTo>
                  <a:lnTo>
                    <a:pt x="552" y="1341"/>
                  </a:lnTo>
                  <a:lnTo>
                    <a:pt x="552" y="1341"/>
                  </a:lnTo>
                  <a:lnTo>
                    <a:pt x="552" y="1341"/>
                  </a:lnTo>
                  <a:lnTo>
                    <a:pt x="552" y="1341"/>
                  </a:lnTo>
                  <a:lnTo>
                    <a:pt x="552" y="1341"/>
                  </a:lnTo>
                  <a:lnTo>
                    <a:pt x="552" y="1341"/>
                  </a:lnTo>
                  <a:lnTo>
                    <a:pt x="552" y="1341"/>
                  </a:lnTo>
                  <a:lnTo>
                    <a:pt x="552" y="1341"/>
                  </a:lnTo>
                  <a:lnTo>
                    <a:pt x="552" y="1341"/>
                  </a:lnTo>
                  <a:lnTo>
                    <a:pt x="552" y="1341"/>
                  </a:lnTo>
                  <a:lnTo>
                    <a:pt x="553" y="1341"/>
                  </a:lnTo>
                  <a:lnTo>
                    <a:pt x="553" y="1341"/>
                  </a:lnTo>
                  <a:lnTo>
                    <a:pt x="558" y="1343"/>
                  </a:lnTo>
                  <a:lnTo>
                    <a:pt x="558" y="1343"/>
                  </a:lnTo>
                  <a:lnTo>
                    <a:pt x="563" y="1346"/>
                  </a:lnTo>
                  <a:lnTo>
                    <a:pt x="563" y="1346"/>
                  </a:lnTo>
                  <a:lnTo>
                    <a:pt x="568" y="1348"/>
                  </a:lnTo>
                  <a:lnTo>
                    <a:pt x="571" y="1348"/>
                  </a:lnTo>
                  <a:lnTo>
                    <a:pt x="571" y="1348"/>
                  </a:lnTo>
                  <a:lnTo>
                    <a:pt x="575" y="1347"/>
                  </a:lnTo>
                  <a:lnTo>
                    <a:pt x="575" y="1347"/>
                  </a:lnTo>
                  <a:lnTo>
                    <a:pt x="578" y="1344"/>
                  </a:lnTo>
                  <a:lnTo>
                    <a:pt x="578" y="1344"/>
                  </a:lnTo>
                  <a:lnTo>
                    <a:pt x="579" y="1343"/>
                  </a:lnTo>
                  <a:lnTo>
                    <a:pt x="579" y="1343"/>
                  </a:lnTo>
                  <a:lnTo>
                    <a:pt x="576" y="1337"/>
                  </a:lnTo>
                  <a:lnTo>
                    <a:pt x="576" y="1337"/>
                  </a:lnTo>
                  <a:lnTo>
                    <a:pt x="571" y="1330"/>
                  </a:lnTo>
                  <a:lnTo>
                    <a:pt x="565" y="1322"/>
                  </a:lnTo>
                  <a:lnTo>
                    <a:pt x="565" y="1322"/>
                  </a:lnTo>
                  <a:lnTo>
                    <a:pt x="559" y="1319"/>
                  </a:lnTo>
                  <a:lnTo>
                    <a:pt x="550" y="1318"/>
                  </a:lnTo>
                  <a:lnTo>
                    <a:pt x="550" y="1318"/>
                  </a:lnTo>
                  <a:lnTo>
                    <a:pt x="539" y="1315"/>
                  </a:lnTo>
                  <a:lnTo>
                    <a:pt x="539" y="1314"/>
                  </a:lnTo>
                  <a:lnTo>
                    <a:pt x="539" y="1314"/>
                  </a:lnTo>
                  <a:lnTo>
                    <a:pt x="539" y="1312"/>
                  </a:lnTo>
                  <a:lnTo>
                    <a:pt x="539" y="1312"/>
                  </a:lnTo>
                  <a:lnTo>
                    <a:pt x="539" y="1309"/>
                  </a:lnTo>
                  <a:lnTo>
                    <a:pt x="539" y="1309"/>
                  </a:lnTo>
                  <a:lnTo>
                    <a:pt x="539" y="1305"/>
                  </a:lnTo>
                  <a:lnTo>
                    <a:pt x="539" y="1305"/>
                  </a:lnTo>
                  <a:lnTo>
                    <a:pt x="539" y="1302"/>
                  </a:lnTo>
                  <a:lnTo>
                    <a:pt x="539" y="1302"/>
                  </a:lnTo>
                  <a:lnTo>
                    <a:pt x="536" y="1301"/>
                  </a:lnTo>
                  <a:lnTo>
                    <a:pt x="536" y="1301"/>
                  </a:lnTo>
                  <a:lnTo>
                    <a:pt x="533" y="1301"/>
                  </a:lnTo>
                  <a:lnTo>
                    <a:pt x="533" y="1301"/>
                  </a:lnTo>
                  <a:lnTo>
                    <a:pt x="524" y="1301"/>
                  </a:lnTo>
                  <a:lnTo>
                    <a:pt x="524" y="1301"/>
                  </a:lnTo>
                  <a:lnTo>
                    <a:pt x="524" y="1301"/>
                  </a:lnTo>
                  <a:lnTo>
                    <a:pt x="521" y="1301"/>
                  </a:lnTo>
                  <a:lnTo>
                    <a:pt x="520" y="1299"/>
                  </a:lnTo>
                  <a:lnTo>
                    <a:pt x="520" y="1299"/>
                  </a:lnTo>
                  <a:lnTo>
                    <a:pt x="514" y="1293"/>
                  </a:lnTo>
                  <a:lnTo>
                    <a:pt x="514" y="1293"/>
                  </a:lnTo>
                  <a:lnTo>
                    <a:pt x="510" y="1289"/>
                  </a:lnTo>
                  <a:lnTo>
                    <a:pt x="505" y="1282"/>
                  </a:lnTo>
                  <a:lnTo>
                    <a:pt x="505" y="1282"/>
                  </a:lnTo>
                  <a:lnTo>
                    <a:pt x="503" y="1275"/>
                  </a:lnTo>
                  <a:lnTo>
                    <a:pt x="503" y="1275"/>
                  </a:lnTo>
                  <a:lnTo>
                    <a:pt x="501" y="1272"/>
                  </a:lnTo>
                  <a:lnTo>
                    <a:pt x="501" y="1272"/>
                  </a:lnTo>
                  <a:lnTo>
                    <a:pt x="500" y="1267"/>
                  </a:lnTo>
                  <a:lnTo>
                    <a:pt x="500" y="1267"/>
                  </a:lnTo>
                  <a:lnTo>
                    <a:pt x="494" y="1262"/>
                  </a:lnTo>
                  <a:lnTo>
                    <a:pt x="494" y="1262"/>
                  </a:lnTo>
                  <a:lnTo>
                    <a:pt x="487" y="1259"/>
                  </a:lnTo>
                  <a:lnTo>
                    <a:pt x="487" y="1259"/>
                  </a:lnTo>
                  <a:lnTo>
                    <a:pt x="487" y="1259"/>
                  </a:lnTo>
                  <a:lnTo>
                    <a:pt x="487" y="1259"/>
                  </a:lnTo>
                  <a:lnTo>
                    <a:pt x="484" y="1253"/>
                  </a:lnTo>
                  <a:lnTo>
                    <a:pt x="484" y="1253"/>
                  </a:lnTo>
                  <a:lnTo>
                    <a:pt x="481" y="1250"/>
                  </a:lnTo>
                  <a:lnTo>
                    <a:pt x="481" y="1250"/>
                  </a:lnTo>
                  <a:lnTo>
                    <a:pt x="478" y="1247"/>
                  </a:lnTo>
                  <a:lnTo>
                    <a:pt x="478" y="1247"/>
                  </a:lnTo>
                  <a:lnTo>
                    <a:pt x="478" y="1247"/>
                  </a:lnTo>
                  <a:lnTo>
                    <a:pt x="476" y="1249"/>
                  </a:lnTo>
                  <a:lnTo>
                    <a:pt x="478" y="1249"/>
                  </a:lnTo>
                  <a:lnTo>
                    <a:pt x="478" y="1247"/>
                  </a:lnTo>
                  <a:lnTo>
                    <a:pt x="476" y="1249"/>
                  </a:lnTo>
                  <a:lnTo>
                    <a:pt x="478" y="1249"/>
                  </a:lnTo>
                  <a:lnTo>
                    <a:pt x="476" y="1249"/>
                  </a:lnTo>
                  <a:lnTo>
                    <a:pt x="478" y="1249"/>
                  </a:lnTo>
                  <a:lnTo>
                    <a:pt x="478" y="1249"/>
                  </a:lnTo>
                  <a:lnTo>
                    <a:pt x="476" y="1249"/>
                  </a:lnTo>
                  <a:lnTo>
                    <a:pt x="478" y="1249"/>
                  </a:lnTo>
                  <a:lnTo>
                    <a:pt x="478" y="1249"/>
                  </a:lnTo>
                  <a:lnTo>
                    <a:pt x="478" y="1249"/>
                  </a:lnTo>
                  <a:lnTo>
                    <a:pt x="478" y="1249"/>
                  </a:lnTo>
                  <a:lnTo>
                    <a:pt x="478" y="1249"/>
                  </a:lnTo>
                  <a:lnTo>
                    <a:pt x="478" y="1249"/>
                  </a:lnTo>
                  <a:lnTo>
                    <a:pt x="478" y="1249"/>
                  </a:lnTo>
                  <a:lnTo>
                    <a:pt x="478" y="1247"/>
                  </a:lnTo>
                  <a:lnTo>
                    <a:pt x="478" y="1247"/>
                  </a:lnTo>
                  <a:lnTo>
                    <a:pt x="482" y="1240"/>
                  </a:lnTo>
                  <a:lnTo>
                    <a:pt x="482" y="1240"/>
                  </a:lnTo>
                  <a:lnTo>
                    <a:pt x="484" y="1238"/>
                  </a:lnTo>
                  <a:lnTo>
                    <a:pt x="484" y="1238"/>
                  </a:lnTo>
                  <a:lnTo>
                    <a:pt x="484" y="1237"/>
                  </a:lnTo>
                  <a:lnTo>
                    <a:pt x="484" y="1237"/>
                  </a:lnTo>
                  <a:lnTo>
                    <a:pt x="484" y="1234"/>
                  </a:lnTo>
                  <a:lnTo>
                    <a:pt x="484" y="1234"/>
                  </a:lnTo>
                  <a:lnTo>
                    <a:pt x="482" y="1233"/>
                  </a:lnTo>
                  <a:lnTo>
                    <a:pt x="482" y="1233"/>
                  </a:lnTo>
                  <a:lnTo>
                    <a:pt x="478" y="1231"/>
                  </a:lnTo>
                  <a:lnTo>
                    <a:pt x="478" y="1231"/>
                  </a:lnTo>
                  <a:lnTo>
                    <a:pt x="478" y="1231"/>
                  </a:lnTo>
                  <a:lnTo>
                    <a:pt x="476" y="1231"/>
                  </a:lnTo>
                  <a:lnTo>
                    <a:pt x="478" y="1231"/>
                  </a:lnTo>
                  <a:lnTo>
                    <a:pt x="478" y="1231"/>
                  </a:lnTo>
                  <a:lnTo>
                    <a:pt x="476" y="1231"/>
                  </a:lnTo>
                  <a:lnTo>
                    <a:pt x="478" y="1231"/>
                  </a:lnTo>
                  <a:lnTo>
                    <a:pt x="476" y="1231"/>
                  </a:lnTo>
                  <a:lnTo>
                    <a:pt x="478" y="1233"/>
                  </a:lnTo>
                  <a:lnTo>
                    <a:pt x="478" y="1233"/>
                  </a:lnTo>
                  <a:lnTo>
                    <a:pt x="478" y="1231"/>
                  </a:lnTo>
                  <a:lnTo>
                    <a:pt x="476" y="1231"/>
                  </a:lnTo>
                  <a:lnTo>
                    <a:pt x="478" y="1233"/>
                  </a:lnTo>
                  <a:lnTo>
                    <a:pt x="476" y="1233"/>
                  </a:lnTo>
                  <a:lnTo>
                    <a:pt x="476" y="1233"/>
                  </a:lnTo>
                  <a:lnTo>
                    <a:pt x="478" y="1233"/>
                  </a:lnTo>
                  <a:lnTo>
                    <a:pt x="476" y="1233"/>
                  </a:lnTo>
                  <a:lnTo>
                    <a:pt x="476" y="1233"/>
                  </a:lnTo>
                  <a:lnTo>
                    <a:pt x="476" y="1233"/>
                  </a:lnTo>
                  <a:lnTo>
                    <a:pt x="478" y="1233"/>
                  </a:lnTo>
                  <a:lnTo>
                    <a:pt x="478" y="1233"/>
                  </a:lnTo>
                  <a:lnTo>
                    <a:pt x="481" y="1231"/>
                  </a:lnTo>
                  <a:lnTo>
                    <a:pt x="481" y="1231"/>
                  </a:lnTo>
                  <a:lnTo>
                    <a:pt x="488" y="1227"/>
                  </a:lnTo>
                  <a:lnTo>
                    <a:pt x="488" y="1227"/>
                  </a:lnTo>
                  <a:lnTo>
                    <a:pt x="492" y="1224"/>
                  </a:lnTo>
                  <a:lnTo>
                    <a:pt x="492" y="1224"/>
                  </a:lnTo>
                  <a:lnTo>
                    <a:pt x="494" y="1224"/>
                  </a:lnTo>
                  <a:lnTo>
                    <a:pt x="494" y="1224"/>
                  </a:lnTo>
                  <a:lnTo>
                    <a:pt x="494" y="1224"/>
                  </a:lnTo>
                  <a:lnTo>
                    <a:pt x="494" y="1222"/>
                  </a:lnTo>
                  <a:lnTo>
                    <a:pt x="494" y="1224"/>
                  </a:lnTo>
                  <a:lnTo>
                    <a:pt x="494" y="1224"/>
                  </a:lnTo>
                  <a:lnTo>
                    <a:pt x="494" y="1222"/>
                  </a:lnTo>
                  <a:lnTo>
                    <a:pt x="494" y="1224"/>
                  </a:lnTo>
                  <a:lnTo>
                    <a:pt x="494" y="1222"/>
                  </a:lnTo>
                  <a:lnTo>
                    <a:pt x="494" y="1224"/>
                  </a:lnTo>
                  <a:lnTo>
                    <a:pt x="494" y="1224"/>
                  </a:lnTo>
                  <a:lnTo>
                    <a:pt x="494" y="1222"/>
                  </a:lnTo>
                  <a:lnTo>
                    <a:pt x="494" y="1224"/>
                  </a:lnTo>
                  <a:lnTo>
                    <a:pt x="494" y="1222"/>
                  </a:lnTo>
                  <a:lnTo>
                    <a:pt x="492" y="1222"/>
                  </a:lnTo>
                  <a:lnTo>
                    <a:pt x="494" y="1224"/>
                  </a:lnTo>
                  <a:lnTo>
                    <a:pt x="494" y="1222"/>
                  </a:lnTo>
                  <a:lnTo>
                    <a:pt x="492" y="1222"/>
                  </a:lnTo>
                  <a:lnTo>
                    <a:pt x="492" y="1222"/>
                  </a:lnTo>
                  <a:lnTo>
                    <a:pt x="494" y="1225"/>
                  </a:lnTo>
                  <a:lnTo>
                    <a:pt x="494" y="1225"/>
                  </a:lnTo>
                  <a:lnTo>
                    <a:pt x="495" y="1233"/>
                  </a:lnTo>
                  <a:lnTo>
                    <a:pt x="495" y="1233"/>
                  </a:lnTo>
                  <a:lnTo>
                    <a:pt x="498" y="1235"/>
                  </a:lnTo>
                  <a:lnTo>
                    <a:pt x="500" y="1240"/>
                  </a:lnTo>
                  <a:lnTo>
                    <a:pt x="500" y="1240"/>
                  </a:lnTo>
                  <a:lnTo>
                    <a:pt x="503" y="1241"/>
                  </a:lnTo>
                  <a:lnTo>
                    <a:pt x="503" y="1241"/>
                  </a:lnTo>
                  <a:lnTo>
                    <a:pt x="504" y="1243"/>
                  </a:lnTo>
                  <a:lnTo>
                    <a:pt x="504" y="1243"/>
                  </a:lnTo>
                  <a:lnTo>
                    <a:pt x="508" y="1241"/>
                  </a:lnTo>
                  <a:lnTo>
                    <a:pt x="508" y="1241"/>
                  </a:lnTo>
                  <a:lnTo>
                    <a:pt x="510" y="1238"/>
                  </a:lnTo>
                  <a:lnTo>
                    <a:pt x="510" y="1238"/>
                  </a:lnTo>
                  <a:lnTo>
                    <a:pt x="513" y="1235"/>
                  </a:lnTo>
                  <a:lnTo>
                    <a:pt x="513" y="1235"/>
                  </a:lnTo>
                  <a:lnTo>
                    <a:pt x="513" y="1235"/>
                  </a:lnTo>
                  <a:lnTo>
                    <a:pt x="513" y="1234"/>
                  </a:lnTo>
                  <a:lnTo>
                    <a:pt x="513" y="1235"/>
                  </a:lnTo>
                  <a:lnTo>
                    <a:pt x="513" y="1235"/>
                  </a:lnTo>
                  <a:lnTo>
                    <a:pt x="513" y="1234"/>
                  </a:lnTo>
                  <a:lnTo>
                    <a:pt x="513" y="1235"/>
                  </a:lnTo>
                  <a:lnTo>
                    <a:pt x="511" y="1234"/>
                  </a:lnTo>
                  <a:lnTo>
                    <a:pt x="511" y="1235"/>
                  </a:lnTo>
                  <a:lnTo>
                    <a:pt x="513" y="1235"/>
                  </a:lnTo>
                  <a:lnTo>
                    <a:pt x="511" y="1234"/>
                  </a:lnTo>
                  <a:lnTo>
                    <a:pt x="511" y="1235"/>
                  </a:lnTo>
                  <a:lnTo>
                    <a:pt x="511" y="1233"/>
                  </a:lnTo>
                  <a:lnTo>
                    <a:pt x="510" y="1234"/>
                  </a:lnTo>
                  <a:lnTo>
                    <a:pt x="510" y="1234"/>
                  </a:lnTo>
                  <a:lnTo>
                    <a:pt x="511" y="1235"/>
                  </a:lnTo>
                  <a:lnTo>
                    <a:pt x="511" y="1233"/>
                  </a:lnTo>
                  <a:lnTo>
                    <a:pt x="510" y="1234"/>
                  </a:lnTo>
                  <a:lnTo>
                    <a:pt x="511" y="1234"/>
                  </a:lnTo>
                  <a:lnTo>
                    <a:pt x="510" y="1234"/>
                  </a:lnTo>
                  <a:lnTo>
                    <a:pt x="510" y="1234"/>
                  </a:lnTo>
                  <a:lnTo>
                    <a:pt x="511" y="1234"/>
                  </a:lnTo>
                  <a:lnTo>
                    <a:pt x="510" y="1234"/>
                  </a:lnTo>
                  <a:lnTo>
                    <a:pt x="511" y="1234"/>
                  </a:lnTo>
                  <a:lnTo>
                    <a:pt x="510" y="1234"/>
                  </a:lnTo>
                  <a:lnTo>
                    <a:pt x="510" y="1234"/>
                  </a:lnTo>
                  <a:lnTo>
                    <a:pt x="511" y="1234"/>
                  </a:lnTo>
                  <a:lnTo>
                    <a:pt x="510" y="1234"/>
                  </a:lnTo>
                  <a:lnTo>
                    <a:pt x="510" y="1235"/>
                  </a:lnTo>
                  <a:lnTo>
                    <a:pt x="510" y="1235"/>
                  </a:lnTo>
                  <a:lnTo>
                    <a:pt x="510" y="1246"/>
                  </a:lnTo>
                  <a:lnTo>
                    <a:pt x="510" y="1246"/>
                  </a:lnTo>
                  <a:lnTo>
                    <a:pt x="510" y="1250"/>
                  </a:lnTo>
                  <a:lnTo>
                    <a:pt x="510" y="1250"/>
                  </a:lnTo>
                  <a:lnTo>
                    <a:pt x="511" y="1251"/>
                  </a:lnTo>
                  <a:lnTo>
                    <a:pt x="511" y="1251"/>
                  </a:lnTo>
                  <a:lnTo>
                    <a:pt x="514" y="1253"/>
                  </a:lnTo>
                  <a:lnTo>
                    <a:pt x="514" y="1253"/>
                  </a:lnTo>
                  <a:lnTo>
                    <a:pt x="518" y="1254"/>
                  </a:lnTo>
                  <a:lnTo>
                    <a:pt x="518" y="1254"/>
                  </a:lnTo>
                  <a:lnTo>
                    <a:pt x="521" y="1257"/>
                  </a:lnTo>
                  <a:lnTo>
                    <a:pt x="521" y="1257"/>
                  </a:lnTo>
                  <a:lnTo>
                    <a:pt x="521" y="1257"/>
                  </a:lnTo>
                  <a:lnTo>
                    <a:pt x="521" y="1260"/>
                  </a:lnTo>
                  <a:lnTo>
                    <a:pt x="521" y="1260"/>
                  </a:lnTo>
                  <a:lnTo>
                    <a:pt x="523" y="1264"/>
                  </a:lnTo>
                  <a:lnTo>
                    <a:pt x="523" y="1264"/>
                  </a:lnTo>
                  <a:lnTo>
                    <a:pt x="527" y="1269"/>
                  </a:lnTo>
                  <a:lnTo>
                    <a:pt x="533" y="1272"/>
                  </a:lnTo>
                  <a:lnTo>
                    <a:pt x="533" y="1272"/>
                  </a:lnTo>
                  <a:lnTo>
                    <a:pt x="542" y="1275"/>
                  </a:lnTo>
                  <a:lnTo>
                    <a:pt x="542" y="1275"/>
                  </a:lnTo>
                  <a:lnTo>
                    <a:pt x="547" y="1279"/>
                  </a:lnTo>
                  <a:lnTo>
                    <a:pt x="547" y="1279"/>
                  </a:lnTo>
                  <a:lnTo>
                    <a:pt x="553" y="1285"/>
                  </a:lnTo>
                  <a:lnTo>
                    <a:pt x="553" y="1285"/>
                  </a:lnTo>
                  <a:lnTo>
                    <a:pt x="556" y="1286"/>
                  </a:lnTo>
                  <a:lnTo>
                    <a:pt x="558" y="1286"/>
                  </a:lnTo>
                  <a:lnTo>
                    <a:pt x="558" y="1286"/>
                  </a:lnTo>
                  <a:lnTo>
                    <a:pt x="563" y="1288"/>
                  </a:lnTo>
                  <a:lnTo>
                    <a:pt x="563" y="1288"/>
                  </a:lnTo>
                  <a:lnTo>
                    <a:pt x="571" y="1293"/>
                  </a:lnTo>
                  <a:lnTo>
                    <a:pt x="576" y="1301"/>
                  </a:lnTo>
                  <a:lnTo>
                    <a:pt x="576" y="1301"/>
                  </a:lnTo>
                  <a:lnTo>
                    <a:pt x="581" y="1304"/>
                  </a:lnTo>
                  <a:lnTo>
                    <a:pt x="585" y="1306"/>
                  </a:lnTo>
                  <a:lnTo>
                    <a:pt x="585" y="1306"/>
                  </a:lnTo>
                  <a:lnTo>
                    <a:pt x="587" y="1308"/>
                  </a:lnTo>
                  <a:lnTo>
                    <a:pt x="587" y="1308"/>
                  </a:lnTo>
                  <a:lnTo>
                    <a:pt x="589" y="1311"/>
                  </a:lnTo>
                  <a:lnTo>
                    <a:pt x="589" y="1311"/>
                  </a:lnTo>
                  <a:lnTo>
                    <a:pt x="589" y="1315"/>
                  </a:lnTo>
                  <a:lnTo>
                    <a:pt x="589" y="1315"/>
                  </a:lnTo>
                  <a:lnTo>
                    <a:pt x="589" y="1331"/>
                  </a:lnTo>
                  <a:lnTo>
                    <a:pt x="589" y="1331"/>
                  </a:lnTo>
                  <a:lnTo>
                    <a:pt x="589" y="1337"/>
                  </a:lnTo>
                  <a:lnTo>
                    <a:pt x="589" y="1343"/>
                  </a:lnTo>
                  <a:lnTo>
                    <a:pt x="589" y="1343"/>
                  </a:lnTo>
                  <a:lnTo>
                    <a:pt x="592" y="1350"/>
                  </a:lnTo>
                  <a:lnTo>
                    <a:pt x="594" y="1354"/>
                  </a:lnTo>
                  <a:lnTo>
                    <a:pt x="594" y="1354"/>
                  </a:lnTo>
                  <a:lnTo>
                    <a:pt x="597" y="1360"/>
                  </a:lnTo>
                  <a:lnTo>
                    <a:pt x="597" y="1360"/>
                  </a:lnTo>
                  <a:lnTo>
                    <a:pt x="600" y="1364"/>
                  </a:lnTo>
                  <a:lnTo>
                    <a:pt x="600" y="1364"/>
                  </a:lnTo>
                  <a:lnTo>
                    <a:pt x="602" y="1366"/>
                  </a:lnTo>
                  <a:lnTo>
                    <a:pt x="602" y="1366"/>
                  </a:lnTo>
                  <a:lnTo>
                    <a:pt x="607" y="1364"/>
                  </a:lnTo>
                  <a:lnTo>
                    <a:pt x="607" y="1364"/>
                  </a:lnTo>
                  <a:lnTo>
                    <a:pt x="607" y="1364"/>
                  </a:lnTo>
                  <a:lnTo>
                    <a:pt x="607" y="1363"/>
                  </a:lnTo>
                  <a:lnTo>
                    <a:pt x="607" y="1364"/>
                  </a:lnTo>
                  <a:lnTo>
                    <a:pt x="607" y="1364"/>
                  </a:lnTo>
                  <a:lnTo>
                    <a:pt x="607" y="1363"/>
                  </a:lnTo>
                  <a:lnTo>
                    <a:pt x="607" y="1364"/>
                  </a:lnTo>
                  <a:lnTo>
                    <a:pt x="607" y="1363"/>
                  </a:lnTo>
                  <a:lnTo>
                    <a:pt x="605" y="1363"/>
                  </a:lnTo>
                  <a:lnTo>
                    <a:pt x="607" y="1364"/>
                  </a:lnTo>
                  <a:lnTo>
                    <a:pt x="607" y="1363"/>
                  </a:lnTo>
                  <a:lnTo>
                    <a:pt x="605" y="1363"/>
                  </a:lnTo>
                  <a:lnTo>
                    <a:pt x="605" y="1363"/>
                  </a:lnTo>
                  <a:lnTo>
                    <a:pt x="608" y="1364"/>
                  </a:lnTo>
                  <a:lnTo>
                    <a:pt x="608" y="1364"/>
                  </a:lnTo>
                  <a:lnTo>
                    <a:pt x="610" y="1366"/>
                  </a:lnTo>
                  <a:lnTo>
                    <a:pt x="610" y="1366"/>
                  </a:lnTo>
                  <a:lnTo>
                    <a:pt x="614" y="1369"/>
                  </a:lnTo>
                  <a:lnTo>
                    <a:pt x="614" y="1369"/>
                  </a:lnTo>
                  <a:lnTo>
                    <a:pt x="616" y="1370"/>
                  </a:lnTo>
                  <a:lnTo>
                    <a:pt x="616" y="1370"/>
                  </a:lnTo>
                  <a:lnTo>
                    <a:pt x="616" y="1370"/>
                  </a:lnTo>
                  <a:lnTo>
                    <a:pt x="616" y="1370"/>
                  </a:lnTo>
                  <a:lnTo>
                    <a:pt x="616" y="1370"/>
                  </a:lnTo>
                  <a:lnTo>
                    <a:pt x="616" y="1370"/>
                  </a:lnTo>
                  <a:lnTo>
                    <a:pt x="616" y="1370"/>
                  </a:lnTo>
                  <a:lnTo>
                    <a:pt x="616" y="1370"/>
                  </a:lnTo>
                  <a:lnTo>
                    <a:pt x="616" y="1370"/>
                  </a:lnTo>
                  <a:lnTo>
                    <a:pt x="616" y="1370"/>
                  </a:lnTo>
                  <a:lnTo>
                    <a:pt x="616" y="1370"/>
                  </a:lnTo>
                  <a:lnTo>
                    <a:pt x="616" y="1370"/>
                  </a:lnTo>
                  <a:lnTo>
                    <a:pt x="616" y="1370"/>
                  </a:lnTo>
                  <a:lnTo>
                    <a:pt x="616" y="1370"/>
                  </a:lnTo>
                  <a:lnTo>
                    <a:pt x="616" y="1370"/>
                  </a:lnTo>
                  <a:lnTo>
                    <a:pt x="616" y="1372"/>
                  </a:lnTo>
                  <a:lnTo>
                    <a:pt x="616" y="1372"/>
                  </a:lnTo>
                  <a:lnTo>
                    <a:pt x="614" y="1375"/>
                  </a:lnTo>
                  <a:lnTo>
                    <a:pt x="614" y="1375"/>
                  </a:lnTo>
                  <a:lnTo>
                    <a:pt x="616" y="1376"/>
                  </a:lnTo>
                  <a:lnTo>
                    <a:pt x="616" y="1376"/>
                  </a:lnTo>
                  <a:lnTo>
                    <a:pt x="617" y="1377"/>
                  </a:lnTo>
                  <a:lnTo>
                    <a:pt x="617" y="1377"/>
                  </a:lnTo>
                  <a:lnTo>
                    <a:pt x="620" y="1380"/>
                  </a:lnTo>
                  <a:lnTo>
                    <a:pt x="624" y="1380"/>
                  </a:lnTo>
                  <a:lnTo>
                    <a:pt x="624" y="1380"/>
                  </a:lnTo>
                  <a:lnTo>
                    <a:pt x="639" y="1382"/>
                  </a:lnTo>
                  <a:lnTo>
                    <a:pt x="639" y="1382"/>
                  </a:lnTo>
                  <a:lnTo>
                    <a:pt x="644" y="1382"/>
                  </a:lnTo>
                  <a:lnTo>
                    <a:pt x="644" y="1382"/>
                  </a:lnTo>
                  <a:lnTo>
                    <a:pt x="647" y="1382"/>
                  </a:lnTo>
                  <a:lnTo>
                    <a:pt x="647" y="1382"/>
                  </a:lnTo>
                  <a:lnTo>
                    <a:pt x="647" y="1382"/>
                  </a:lnTo>
                  <a:lnTo>
                    <a:pt x="647" y="1382"/>
                  </a:lnTo>
                  <a:lnTo>
                    <a:pt x="647" y="1382"/>
                  </a:lnTo>
                  <a:lnTo>
                    <a:pt x="647" y="1382"/>
                  </a:lnTo>
                  <a:lnTo>
                    <a:pt x="647" y="1382"/>
                  </a:lnTo>
                  <a:lnTo>
                    <a:pt x="647" y="1382"/>
                  </a:lnTo>
                  <a:lnTo>
                    <a:pt x="647" y="1382"/>
                  </a:lnTo>
                  <a:lnTo>
                    <a:pt x="647" y="1382"/>
                  </a:lnTo>
                  <a:lnTo>
                    <a:pt x="647" y="1382"/>
                  </a:lnTo>
                  <a:lnTo>
                    <a:pt x="647" y="1382"/>
                  </a:lnTo>
                  <a:lnTo>
                    <a:pt x="647" y="1382"/>
                  </a:lnTo>
                  <a:lnTo>
                    <a:pt x="647" y="1382"/>
                  </a:lnTo>
                  <a:lnTo>
                    <a:pt x="647" y="1382"/>
                  </a:lnTo>
                  <a:lnTo>
                    <a:pt x="646" y="1385"/>
                  </a:lnTo>
                  <a:lnTo>
                    <a:pt x="646" y="1385"/>
                  </a:lnTo>
                  <a:lnTo>
                    <a:pt x="646" y="1383"/>
                  </a:lnTo>
                  <a:lnTo>
                    <a:pt x="646" y="1385"/>
                  </a:lnTo>
                  <a:lnTo>
                    <a:pt x="646" y="1385"/>
                  </a:lnTo>
                  <a:lnTo>
                    <a:pt x="646" y="1383"/>
                  </a:lnTo>
                  <a:lnTo>
                    <a:pt x="644" y="1385"/>
                  </a:lnTo>
                  <a:lnTo>
                    <a:pt x="644" y="1385"/>
                  </a:lnTo>
                  <a:lnTo>
                    <a:pt x="637" y="1382"/>
                  </a:lnTo>
                  <a:lnTo>
                    <a:pt x="637" y="1382"/>
                  </a:lnTo>
                  <a:lnTo>
                    <a:pt x="630" y="1380"/>
                  </a:lnTo>
                  <a:lnTo>
                    <a:pt x="630" y="1380"/>
                  </a:lnTo>
                  <a:lnTo>
                    <a:pt x="627" y="1380"/>
                  </a:lnTo>
                  <a:lnTo>
                    <a:pt x="627" y="1380"/>
                  </a:lnTo>
                  <a:lnTo>
                    <a:pt x="624" y="1380"/>
                  </a:lnTo>
                  <a:lnTo>
                    <a:pt x="623" y="1382"/>
                  </a:lnTo>
                  <a:lnTo>
                    <a:pt x="623" y="1382"/>
                  </a:lnTo>
                  <a:lnTo>
                    <a:pt x="618" y="1386"/>
                  </a:lnTo>
                  <a:lnTo>
                    <a:pt x="618" y="1386"/>
                  </a:lnTo>
                  <a:lnTo>
                    <a:pt x="618" y="1389"/>
                  </a:lnTo>
                  <a:lnTo>
                    <a:pt x="618" y="1389"/>
                  </a:lnTo>
                  <a:lnTo>
                    <a:pt x="620" y="1393"/>
                  </a:lnTo>
                  <a:lnTo>
                    <a:pt x="620" y="1393"/>
                  </a:lnTo>
                  <a:lnTo>
                    <a:pt x="623" y="1398"/>
                  </a:lnTo>
                  <a:lnTo>
                    <a:pt x="623" y="1398"/>
                  </a:lnTo>
                  <a:lnTo>
                    <a:pt x="624" y="1401"/>
                  </a:lnTo>
                  <a:lnTo>
                    <a:pt x="624" y="1401"/>
                  </a:lnTo>
                  <a:lnTo>
                    <a:pt x="626" y="1405"/>
                  </a:lnTo>
                  <a:lnTo>
                    <a:pt x="627" y="1408"/>
                  </a:lnTo>
                  <a:lnTo>
                    <a:pt x="627" y="1408"/>
                  </a:lnTo>
                  <a:lnTo>
                    <a:pt x="630" y="1409"/>
                  </a:lnTo>
                  <a:lnTo>
                    <a:pt x="634" y="1409"/>
                  </a:lnTo>
                  <a:lnTo>
                    <a:pt x="634" y="1409"/>
                  </a:lnTo>
                  <a:lnTo>
                    <a:pt x="634" y="1409"/>
                  </a:lnTo>
                  <a:lnTo>
                    <a:pt x="634" y="1409"/>
                  </a:lnTo>
                  <a:lnTo>
                    <a:pt x="636" y="1412"/>
                  </a:lnTo>
                  <a:lnTo>
                    <a:pt x="636" y="1412"/>
                  </a:lnTo>
                  <a:lnTo>
                    <a:pt x="637" y="1418"/>
                  </a:lnTo>
                  <a:lnTo>
                    <a:pt x="637" y="1418"/>
                  </a:lnTo>
                  <a:lnTo>
                    <a:pt x="639" y="1419"/>
                  </a:lnTo>
                  <a:lnTo>
                    <a:pt x="639" y="1419"/>
                  </a:lnTo>
                  <a:lnTo>
                    <a:pt x="642" y="1421"/>
                  </a:lnTo>
                  <a:lnTo>
                    <a:pt x="642" y="1421"/>
                  </a:lnTo>
                  <a:lnTo>
                    <a:pt x="643" y="1419"/>
                  </a:lnTo>
                  <a:lnTo>
                    <a:pt x="643" y="1419"/>
                  </a:lnTo>
                  <a:lnTo>
                    <a:pt x="646" y="1417"/>
                  </a:lnTo>
                  <a:lnTo>
                    <a:pt x="646" y="1417"/>
                  </a:lnTo>
                  <a:lnTo>
                    <a:pt x="647" y="1414"/>
                  </a:lnTo>
                  <a:lnTo>
                    <a:pt x="647" y="1414"/>
                  </a:lnTo>
                  <a:lnTo>
                    <a:pt x="647" y="1412"/>
                  </a:lnTo>
                  <a:lnTo>
                    <a:pt x="647" y="1414"/>
                  </a:lnTo>
                  <a:lnTo>
                    <a:pt x="647" y="1414"/>
                  </a:lnTo>
                  <a:lnTo>
                    <a:pt x="647" y="1412"/>
                  </a:lnTo>
                  <a:lnTo>
                    <a:pt x="647" y="1414"/>
                  </a:lnTo>
                  <a:lnTo>
                    <a:pt x="647" y="1412"/>
                  </a:lnTo>
                  <a:lnTo>
                    <a:pt x="647" y="1414"/>
                  </a:lnTo>
                  <a:lnTo>
                    <a:pt x="647" y="1414"/>
                  </a:lnTo>
                  <a:lnTo>
                    <a:pt x="647" y="1412"/>
                  </a:lnTo>
                  <a:lnTo>
                    <a:pt x="647" y="1414"/>
                  </a:lnTo>
                  <a:lnTo>
                    <a:pt x="647" y="1414"/>
                  </a:lnTo>
                  <a:lnTo>
                    <a:pt x="647" y="1414"/>
                  </a:lnTo>
                  <a:lnTo>
                    <a:pt x="649" y="1414"/>
                  </a:lnTo>
                  <a:lnTo>
                    <a:pt x="649" y="1414"/>
                  </a:lnTo>
                  <a:lnTo>
                    <a:pt x="652" y="1411"/>
                  </a:lnTo>
                  <a:lnTo>
                    <a:pt x="652" y="1411"/>
                  </a:lnTo>
                  <a:lnTo>
                    <a:pt x="652" y="1406"/>
                  </a:lnTo>
                  <a:lnTo>
                    <a:pt x="652" y="1406"/>
                  </a:lnTo>
                  <a:lnTo>
                    <a:pt x="653" y="1401"/>
                  </a:lnTo>
                  <a:lnTo>
                    <a:pt x="653" y="1401"/>
                  </a:lnTo>
                  <a:lnTo>
                    <a:pt x="653" y="1401"/>
                  </a:lnTo>
                  <a:lnTo>
                    <a:pt x="653" y="1398"/>
                  </a:lnTo>
                  <a:lnTo>
                    <a:pt x="653" y="1398"/>
                  </a:lnTo>
                  <a:lnTo>
                    <a:pt x="653" y="1398"/>
                  </a:lnTo>
                  <a:lnTo>
                    <a:pt x="653" y="1398"/>
                  </a:lnTo>
                  <a:lnTo>
                    <a:pt x="655" y="1396"/>
                  </a:lnTo>
                  <a:lnTo>
                    <a:pt x="655" y="1396"/>
                  </a:lnTo>
                  <a:lnTo>
                    <a:pt x="656" y="1396"/>
                  </a:lnTo>
                  <a:lnTo>
                    <a:pt x="656" y="1396"/>
                  </a:lnTo>
                  <a:lnTo>
                    <a:pt x="658" y="1393"/>
                  </a:lnTo>
                  <a:lnTo>
                    <a:pt x="658" y="1393"/>
                  </a:lnTo>
                  <a:lnTo>
                    <a:pt x="658" y="1392"/>
                  </a:lnTo>
                  <a:lnTo>
                    <a:pt x="658" y="1392"/>
                  </a:lnTo>
                  <a:lnTo>
                    <a:pt x="658" y="1389"/>
                  </a:lnTo>
                  <a:lnTo>
                    <a:pt x="658" y="1389"/>
                  </a:lnTo>
                  <a:lnTo>
                    <a:pt x="658" y="1386"/>
                  </a:lnTo>
                  <a:lnTo>
                    <a:pt x="658" y="1385"/>
                  </a:lnTo>
                  <a:lnTo>
                    <a:pt x="658" y="1385"/>
                  </a:lnTo>
                  <a:lnTo>
                    <a:pt x="658" y="1385"/>
                  </a:lnTo>
                  <a:lnTo>
                    <a:pt x="658" y="1385"/>
                  </a:lnTo>
                  <a:lnTo>
                    <a:pt x="658" y="1386"/>
                  </a:lnTo>
                  <a:lnTo>
                    <a:pt x="658" y="1385"/>
                  </a:lnTo>
                  <a:lnTo>
                    <a:pt x="658" y="1385"/>
                  </a:lnTo>
                  <a:lnTo>
                    <a:pt x="658" y="1386"/>
                  </a:lnTo>
                  <a:lnTo>
                    <a:pt x="656" y="1385"/>
                  </a:lnTo>
                  <a:lnTo>
                    <a:pt x="656" y="1386"/>
                  </a:lnTo>
                  <a:lnTo>
                    <a:pt x="658" y="1386"/>
                  </a:lnTo>
                  <a:lnTo>
                    <a:pt x="656" y="1385"/>
                  </a:lnTo>
                  <a:lnTo>
                    <a:pt x="656" y="1386"/>
                  </a:lnTo>
                  <a:lnTo>
                    <a:pt x="656" y="1385"/>
                  </a:lnTo>
                  <a:lnTo>
                    <a:pt x="656" y="1386"/>
                  </a:lnTo>
                  <a:lnTo>
                    <a:pt x="656" y="1386"/>
                  </a:lnTo>
                  <a:lnTo>
                    <a:pt x="656" y="1386"/>
                  </a:lnTo>
                  <a:lnTo>
                    <a:pt x="656" y="1385"/>
                  </a:lnTo>
                  <a:lnTo>
                    <a:pt x="656" y="1386"/>
                  </a:lnTo>
                  <a:lnTo>
                    <a:pt x="656" y="1385"/>
                  </a:lnTo>
                  <a:lnTo>
                    <a:pt x="656" y="1386"/>
                  </a:lnTo>
                  <a:lnTo>
                    <a:pt x="656" y="1386"/>
                  </a:lnTo>
                  <a:lnTo>
                    <a:pt x="656" y="1385"/>
                  </a:lnTo>
                  <a:lnTo>
                    <a:pt x="656" y="1386"/>
                  </a:lnTo>
                  <a:lnTo>
                    <a:pt x="656" y="1386"/>
                  </a:lnTo>
                  <a:lnTo>
                    <a:pt x="658" y="1388"/>
                  </a:lnTo>
                  <a:lnTo>
                    <a:pt x="658" y="1388"/>
                  </a:lnTo>
                  <a:lnTo>
                    <a:pt x="659" y="1390"/>
                  </a:lnTo>
                  <a:lnTo>
                    <a:pt x="659" y="1390"/>
                  </a:lnTo>
                  <a:lnTo>
                    <a:pt x="662" y="1390"/>
                  </a:lnTo>
                  <a:lnTo>
                    <a:pt x="662" y="1390"/>
                  </a:lnTo>
                  <a:lnTo>
                    <a:pt x="663" y="1390"/>
                  </a:lnTo>
                  <a:lnTo>
                    <a:pt x="663" y="1390"/>
                  </a:lnTo>
                  <a:lnTo>
                    <a:pt x="665" y="1389"/>
                  </a:lnTo>
                  <a:lnTo>
                    <a:pt x="665" y="1389"/>
                  </a:lnTo>
                  <a:lnTo>
                    <a:pt x="665" y="1388"/>
                  </a:lnTo>
                  <a:lnTo>
                    <a:pt x="665" y="1388"/>
                  </a:lnTo>
                  <a:lnTo>
                    <a:pt x="665" y="1383"/>
                  </a:lnTo>
                  <a:lnTo>
                    <a:pt x="665" y="1383"/>
                  </a:lnTo>
                  <a:lnTo>
                    <a:pt x="663" y="1383"/>
                  </a:lnTo>
                  <a:lnTo>
                    <a:pt x="663" y="1385"/>
                  </a:lnTo>
                  <a:lnTo>
                    <a:pt x="665" y="1383"/>
                  </a:lnTo>
                  <a:lnTo>
                    <a:pt x="663" y="1383"/>
                  </a:lnTo>
                  <a:lnTo>
                    <a:pt x="663" y="1385"/>
                  </a:lnTo>
                  <a:lnTo>
                    <a:pt x="663" y="1383"/>
                  </a:lnTo>
                  <a:lnTo>
                    <a:pt x="663" y="1385"/>
                  </a:lnTo>
                  <a:lnTo>
                    <a:pt x="663" y="1385"/>
                  </a:lnTo>
                  <a:lnTo>
                    <a:pt x="663" y="1383"/>
                  </a:lnTo>
                  <a:lnTo>
                    <a:pt x="663" y="1385"/>
                  </a:lnTo>
                  <a:lnTo>
                    <a:pt x="663" y="1385"/>
                  </a:lnTo>
                  <a:lnTo>
                    <a:pt x="665" y="1385"/>
                  </a:lnTo>
                  <a:lnTo>
                    <a:pt x="665" y="1385"/>
                  </a:lnTo>
                  <a:lnTo>
                    <a:pt x="669" y="1388"/>
                  </a:lnTo>
                  <a:lnTo>
                    <a:pt x="669" y="1388"/>
                  </a:lnTo>
                  <a:lnTo>
                    <a:pt x="673" y="1389"/>
                  </a:lnTo>
                  <a:lnTo>
                    <a:pt x="673" y="1389"/>
                  </a:lnTo>
                  <a:lnTo>
                    <a:pt x="675" y="1389"/>
                  </a:lnTo>
                  <a:lnTo>
                    <a:pt x="675" y="1389"/>
                  </a:lnTo>
                  <a:lnTo>
                    <a:pt x="678" y="1389"/>
                  </a:lnTo>
                  <a:lnTo>
                    <a:pt x="678" y="1389"/>
                  </a:lnTo>
                  <a:lnTo>
                    <a:pt x="678" y="1386"/>
                  </a:lnTo>
                  <a:lnTo>
                    <a:pt x="678" y="1386"/>
                  </a:lnTo>
                  <a:lnTo>
                    <a:pt x="678" y="1385"/>
                  </a:lnTo>
                  <a:lnTo>
                    <a:pt x="678" y="1385"/>
                  </a:lnTo>
                  <a:lnTo>
                    <a:pt x="676" y="1380"/>
                  </a:lnTo>
                  <a:lnTo>
                    <a:pt x="676" y="1380"/>
                  </a:lnTo>
                  <a:lnTo>
                    <a:pt x="675" y="1376"/>
                  </a:lnTo>
                  <a:lnTo>
                    <a:pt x="675" y="1376"/>
                  </a:lnTo>
                  <a:lnTo>
                    <a:pt x="673" y="1375"/>
                  </a:lnTo>
                  <a:lnTo>
                    <a:pt x="672" y="1373"/>
                  </a:lnTo>
                  <a:lnTo>
                    <a:pt x="672" y="1373"/>
                  </a:lnTo>
                  <a:lnTo>
                    <a:pt x="666" y="1372"/>
                  </a:lnTo>
                  <a:lnTo>
                    <a:pt x="666" y="1372"/>
                  </a:lnTo>
                  <a:lnTo>
                    <a:pt x="663" y="1369"/>
                  </a:lnTo>
                  <a:lnTo>
                    <a:pt x="663" y="1369"/>
                  </a:lnTo>
                  <a:lnTo>
                    <a:pt x="659" y="1362"/>
                  </a:lnTo>
                  <a:lnTo>
                    <a:pt x="659" y="1362"/>
                  </a:lnTo>
                  <a:lnTo>
                    <a:pt x="653" y="1353"/>
                  </a:lnTo>
                  <a:lnTo>
                    <a:pt x="653" y="1353"/>
                  </a:lnTo>
                  <a:lnTo>
                    <a:pt x="649" y="1346"/>
                  </a:lnTo>
                  <a:lnTo>
                    <a:pt x="647" y="1340"/>
                  </a:lnTo>
                  <a:lnTo>
                    <a:pt x="647" y="1340"/>
                  </a:lnTo>
                  <a:lnTo>
                    <a:pt x="647" y="1338"/>
                  </a:lnTo>
                  <a:lnTo>
                    <a:pt x="647" y="1337"/>
                  </a:lnTo>
                  <a:lnTo>
                    <a:pt x="647" y="1338"/>
                  </a:lnTo>
                  <a:lnTo>
                    <a:pt x="647" y="1338"/>
                  </a:lnTo>
                  <a:lnTo>
                    <a:pt x="647" y="1337"/>
                  </a:lnTo>
                  <a:lnTo>
                    <a:pt x="647" y="1338"/>
                  </a:lnTo>
                  <a:lnTo>
                    <a:pt x="647" y="1337"/>
                  </a:lnTo>
                  <a:lnTo>
                    <a:pt x="647" y="1338"/>
                  </a:lnTo>
                  <a:lnTo>
                    <a:pt x="647" y="1338"/>
                  </a:lnTo>
                  <a:lnTo>
                    <a:pt x="647" y="1337"/>
                  </a:lnTo>
                  <a:lnTo>
                    <a:pt x="647" y="1338"/>
                  </a:lnTo>
                  <a:lnTo>
                    <a:pt x="647" y="1338"/>
                  </a:lnTo>
                  <a:lnTo>
                    <a:pt x="649" y="1340"/>
                  </a:lnTo>
                  <a:lnTo>
                    <a:pt x="649" y="1340"/>
                  </a:lnTo>
                  <a:lnTo>
                    <a:pt x="652" y="1341"/>
                  </a:lnTo>
                  <a:lnTo>
                    <a:pt x="652" y="1341"/>
                  </a:lnTo>
                  <a:lnTo>
                    <a:pt x="656" y="1344"/>
                  </a:lnTo>
                  <a:lnTo>
                    <a:pt x="656" y="1344"/>
                  </a:lnTo>
                  <a:lnTo>
                    <a:pt x="658" y="1344"/>
                  </a:lnTo>
                  <a:lnTo>
                    <a:pt x="658" y="1344"/>
                  </a:lnTo>
                  <a:lnTo>
                    <a:pt x="662" y="1343"/>
                  </a:lnTo>
                  <a:lnTo>
                    <a:pt x="662" y="1343"/>
                  </a:lnTo>
                  <a:lnTo>
                    <a:pt x="663" y="1340"/>
                  </a:lnTo>
                  <a:lnTo>
                    <a:pt x="663" y="1340"/>
                  </a:lnTo>
                  <a:lnTo>
                    <a:pt x="663" y="1335"/>
                  </a:lnTo>
                  <a:lnTo>
                    <a:pt x="663" y="1335"/>
                  </a:lnTo>
                  <a:lnTo>
                    <a:pt x="663" y="1331"/>
                  </a:lnTo>
                  <a:lnTo>
                    <a:pt x="663" y="1331"/>
                  </a:lnTo>
                  <a:lnTo>
                    <a:pt x="663" y="1331"/>
                  </a:lnTo>
                  <a:lnTo>
                    <a:pt x="663" y="1331"/>
                  </a:lnTo>
                  <a:lnTo>
                    <a:pt x="663" y="1331"/>
                  </a:lnTo>
                  <a:lnTo>
                    <a:pt x="663" y="1333"/>
                  </a:lnTo>
                  <a:lnTo>
                    <a:pt x="663" y="1331"/>
                  </a:lnTo>
                  <a:lnTo>
                    <a:pt x="663" y="1331"/>
                  </a:lnTo>
                  <a:lnTo>
                    <a:pt x="663" y="1333"/>
                  </a:lnTo>
                  <a:lnTo>
                    <a:pt x="663" y="1331"/>
                  </a:lnTo>
                  <a:lnTo>
                    <a:pt x="663" y="1331"/>
                  </a:lnTo>
                  <a:lnTo>
                    <a:pt x="669" y="1331"/>
                  </a:lnTo>
                  <a:lnTo>
                    <a:pt x="669" y="1331"/>
                  </a:lnTo>
                  <a:lnTo>
                    <a:pt x="675" y="1331"/>
                  </a:lnTo>
                  <a:lnTo>
                    <a:pt x="675" y="1331"/>
                  </a:lnTo>
                  <a:lnTo>
                    <a:pt x="684" y="1330"/>
                  </a:lnTo>
                  <a:lnTo>
                    <a:pt x="684" y="1330"/>
                  </a:lnTo>
                  <a:lnTo>
                    <a:pt x="689" y="1328"/>
                  </a:lnTo>
                  <a:lnTo>
                    <a:pt x="691" y="1328"/>
                  </a:lnTo>
                  <a:lnTo>
                    <a:pt x="691" y="1328"/>
                  </a:lnTo>
                  <a:lnTo>
                    <a:pt x="697" y="1331"/>
                  </a:lnTo>
                  <a:lnTo>
                    <a:pt x="697" y="1331"/>
                  </a:lnTo>
                  <a:lnTo>
                    <a:pt x="701" y="1333"/>
                  </a:lnTo>
                  <a:lnTo>
                    <a:pt x="707" y="1334"/>
                  </a:lnTo>
                  <a:lnTo>
                    <a:pt x="707" y="1334"/>
                  </a:lnTo>
                  <a:lnTo>
                    <a:pt x="708" y="1334"/>
                  </a:lnTo>
                  <a:lnTo>
                    <a:pt x="708" y="1334"/>
                  </a:lnTo>
                  <a:lnTo>
                    <a:pt x="713" y="1334"/>
                  </a:lnTo>
                  <a:lnTo>
                    <a:pt x="715" y="1333"/>
                  </a:lnTo>
                  <a:lnTo>
                    <a:pt x="715" y="1333"/>
                  </a:lnTo>
                  <a:lnTo>
                    <a:pt x="720" y="1331"/>
                  </a:lnTo>
                  <a:lnTo>
                    <a:pt x="720" y="1331"/>
                  </a:lnTo>
                  <a:lnTo>
                    <a:pt x="721" y="1331"/>
                  </a:lnTo>
                  <a:lnTo>
                    <a:pt x="721" y="1331"/>
                  </a:lnTo>
                  <a:lnTo>
                    <a:pt x="726" y="1330"/>
                  </a:lnTo>
                  <a:lnTo>
                    <a:pt x="726" y="1330"/>
                  </a:lnTo>
                  <a:lnTo>
                    <a:pt x="733" y="1325"/>
                  </a:lnTo>
                  <a:lnTo>
                    <a:pt x="733" y="1325"/>
                  </a:lnTo>
                  <a:lnTo>
                    <a:pt x="739" y="1322"/>
                  </a:lnTo>
                  <a:lnTo>
                    <a:pt x="739" y="1322"/>
                  </a:lnTo>
                  <a:lnTo>
                    <a:pt x="739" y="1321"/>
                  </a:lnTo>
                  <a:lnTo>
                    <a:pt x="740" y="1321"/>
                  </a:lnTo>
                  <a:lnTo>
                    <a:pt x="740" y="1321"/>
                  </a:lnTo>
                  <a:lnTo>
                    <a:pt x="740" y="1318"/>
                  </a:lnTo>
                  <a:lnTo>
                    <a:pt x="740" y="1318"/>
                  </a:lnTo>
                  <a:lnTo>
                    <a:pt x="740" y="1317"/>
                  </a:lnTo>
                  <a:lnTo>
                    <a:pt x="740" y="1317"/>
                  </a:lnTo>
                  <a:lnTo>
                    <a:pt x="739" y="1315"/>
                  </a:lnTo>
                  <a:lnTo>
                    <a:pt x="739" y="1315"/>
                  </a:lnTo>
                  <a:lnTo>
                    <a:pt x="736" y="1314"/>
                  </a:lnTo>
                  <a:lnTo>
                    <a:pt x="736" y="1314"/>
                  </a:lnTo>
                  <a:lnTo>
                    <a:pt x="734" y="1314"/>
                  </a:lnTo>
                  <a:lnTo>
                    <a:pt x="734" y="1314"/>
                  </a:lnTo>
                  <a:lnTo>
                    <a:pt x="734" y="1312"/>
                  </a:lnTo>
                  <a:lnTo>
                    <a:pt x="734" y="1312"/>
                  </a:lnTo>
                  <a:lnTo>
                    <a:pt x="736" y="1304"/>
                  </a:lnTo>
                  <a:lnTo>
                    <a:pt x="736" y="1304"/>
                  </a:lnTo>
                  <a:lnTo>
                    <a:pt x="734" y="1299"/>
                  </a:lnTo>
                  <a:lnTo>
                    <a:pt x="734" y="1299"/>
                  </a:lnTo>
                  <a:lnTo>
                    <a:pt x="731" y="1293"/>
                  </a:lnTo>
                  <a:lnTo>
                    <a:pt x="728" y="1291"/>
                  </a:lnTo>
                  <a:lnTo>
                    <a:pt x="728" y="1291"/>
                  </a:lnTo>
                  <a:lnTo>
                    <a:pt x="727" y="1289"/>
                  </a:lnTo>
                  <a:lnTo>
                    <a:pt x="727" y="1289"/>
                  </a:lnTo>
                  <a:lnTo>
                    <a:pt x="726" y="1289"/>
                  </a:lnTo>
                  <a:lnTo>
                    <a:pt x="727" y="1288"/>
                  </a:lnTo>
                  <a:lnTo>
                    <a:pt x="727" y="1288"/>
                  </a:lnTo>
                  <a:lnTo>
                    <a:pt x="728" y="1283"/>
                  </a:lnTo>
                  <a:lnTo>
                    <a:pt x="728" y="1283"/>
                  </a:lnTo>
                  <a:lnTo>
                    <a:pt x="731" y="1280"/>
                  </a:lnTo>
                  <a:lnTo>
                    <a:pt x="731" y="1280"/>
                  </a:lnTo>
                  <a:lnTo>
                    <a:pt x="731" y="1277"/>
                  </a:lnTo>
                  <a:lnTo>
                    <a:pt x="731" y="1277"/>
                  </a:lnTo>
                  <a:lnTo>
                    <a:pt x="733" y="1275"/>
                  </a:lnTo>
                  <a:lnTo>
                    <a:pt x="733" y="1275"/>
                  </a:lnTo>
                  <a:lnTo>
                    <a:pt x="736" y="1270"/>
                  </a:lnTo>
                  <a:lnTo>
                    <a:pt x="736" y="1270"/>
                  </a:lnTo>
                  <a:lnTo>
                    <a:pt x="739" y="1267"/>
                  </a:lnTo>
                  <a:lnTo>
                    <a:pt x="739" y="1267"/>
                  </a:lnTo>
                  <a:lnTo>
                    <a:pt x="740" y="1259"/>
                  </a:lnTo>
                  <a:lnTo>
                    <a:pt x="740" y="1259"/>
                  </a:lnTo>
                  <a:lnTo>
                    <a:pt x="742" y="1251"/>
                  </a:lnTo>
                  <a:lnTo>
                    <a:pt x="742" y="1251"/>
                  </a:lnTo>
                  <a:lnTo>
                    <a:pt x="743" y="1249"/>
                  </a:lnTo>
                  <a:lnTo>
                    <a:pt x="744" y="1244"/>
                  </a:lnTo>
                  <a:lnTo>
                    <a:pt x="744" y="1244"/>
                  </a:lnTo>
                  <a:lnTo>
                    <a:pt x="749" y="1241"/>
                  </a:lnTo>
                  <a:lnTo>
                    <a:pt x="753" y="1238"/>
                  </a:lnTo>
                  <a:lnTo>
                    <a:pt x="753" y="1238"/>
                  </a:lnTo>
                  <a:lnTo>
                    <a:pt x="756" y="1237"/>
                  </a:lnTo>
                  <a:lnTo>
                    <a:pt x="759" y="1234"/>
                  </a:lnTo>
                  <a:lnTo>
                    <a:pt x="759" y="1234"/>
                  </a:lnTo>
                  <a:lnTo>
                    <a:pt x="760" y="1231"/>
                  </a:lnTo>
                  <a:lnTo>
                    <a:pt x="760" y="1228"/>
                  </a:lnTo>
                  <a:lnTo>
                    <a:pt x="760" y="1228"/>
                  </a:lnTo>
                  <a:lnTo>
                    <a:pt x="760" y="1224"/>
                  </a:lnTo>
                  <a:lnTo>
                    <a:pt x="760" y="1224"/>
                  </a:lnTo>
                  <a:lnTo>
                    <a:pt x="760" y="1224"/>
                  </a:lnTo>
                  <a:lnTo>
                    <a:pt x="760" y="1224"/>
                  </a:lnTo>
                  <a:lnTo>
                    <a:pt x="762" y="1220"/>
                  </a:lnTo>
                  <a:lnTo>
                    <a:pt x="762" y="1220"/>
                  </a:lnTo>
                  <a:lnTo>
                    <a:pt x="768" y="1215"/>
                  </a:lnTo>
                  <a:lnTo>
                    <a:pt x="768" y="1215"/>
                  </a:lnTo>
                  <a:lnTo>
                    <a:pt x="772" y="1207"/>
                  </a:lnTo>
                  <a:lnTo>
                    <a:pt x="776" y="1199"/>
                  </a:lnTo>
                  <a:lnTo>
                    <a:pt x="776" y="1198"/>
                  </a:lnTo>
                  <a:lnTo>
                    <a:pt x="776" y="1198"/>
                  </a:lnTo>
                  <a:lnTo>
                    <a:pt x="784" y="1196"/>
                  </a:lnTo>
                  <a:lnTo>
                    <a:pt x="784" y="1196"/>
                  </a:lnTo>
                  <a:lnTo>
                    <a:pt x="789" y="1198"/>
                  </a:lnTo>
                  <a:lnTo>
                    <a:pt x="789" y="1198"/>
                  </a:lnTo>
                  <a:lnTo>
                    <a:pt x="794" y="1198"/>
                  </a:lnTo>
                  <a:lnTo>
                    <a:pt x="794" y="1196"/>
                  </a:lnTo>
                  <a:lnTo>
                    <a:pt x="792" y="1198"/>
                  </a:lnTo>
                  <a:lnTo>
                    <a:pt x="794" y="1198"/>
                  </a:lnTo>
                  <a:lnTo>
                    <a:pt x="794" y="1196"/>
                  </a:lnTo>
                  <a:lnTo>
                    <a:pt x="792" y="1198"/>
                  </a:lnTo>
                  <a:lnTo>
                    <a:pt x="792" y="1196"/>
                  </a:lnTo>
                  <a:lnTo>
                    <a:pt x="792" y="1198"/>
                  </a:lnTo>
                  <a:lnTo>
                    <a:pt x="792" y="1198"/>
                  </a:lnTo>
                  <a:lnTo>
                    <a:pt x="792" y="1196"/>
                  </a:lnTo>
                  <a:lnTo>
                    <a:pt x="792" y="1198"/>
                  </a:lnTo>
                  <a:lnTo>
                    <a:pt x="792" y="1198"/>
                  </a:lnTo>
                  <a:lnTo>
                    <a:pt x="792" y="1198"/>
                  </a:lnTo>
                  <a:lnTo>
                    <a:pt x="794" y="1201"/>
                  </a:lnTo>
                  <a:lnTo>
                    <a:pt x="794" y="1201"/>
                  </a:lnTo>
                  <a:lnTo>
                    <a:pt x="795" y="1207"/>
                  </a:lnTo>
                  <a:lnTo>
                    <a:pt x="795" y="1207"/>
                  </a:lnTo>
                  <a:lnTo>
                    <a:pt x="798" y="1208"/>
                  </a:lnTo>
                  <a:lnTo>
                    <a:pt x="798" y="1208"/>
                  </a:lnTo>
                  <a:lnTo>
                    <a:pt x="801" y="1209"/>
                  </a:lnTo>
                  <a:lnTo>
                    <a:pt x="804" y="1209"/>
                  </a:lnTo>
                  <a:lnTo>
                    <a:pt x="804" y="1209"/>
                  </a:lnTo>
                  <a:lnTo>
                    <a:pt x="814" y="1209"/>
                  </a:lnTo>
                  <a:lnTo>
                    <a:pt x="814" y="1209"/>
                  </a:lnTo>
                  <a:lnTo>
                    <a:pt x="821" y="1208"/>
                  </a:lnTo>
                  <a:lnTo>
                    <a:pt x="821" y="1208"/>
                  </a:lnTo>
                  <a:lnTo>
                    <a:pt x="821" y="1208"/>
                  </a:lnTo>
                  <a:lnTo>
                    <a:pt x="821" y="1208"/>
                  </a:lnTo>
                  <a:lnTo>
                    <a:pt x="821" y="1208"/>
                  </a:lnTo>
                  <a:lnTo>
                    <a:pt x="821" y="1208"/>
                  </a:lnTo>
                  <a:lnTo>
                    <a:pt x="821" y="1208"/>
                  </a:lnTo>
                  <a:lnTo>
                    <a:pt x="821" y="1207"/>
                  </a:lnTo>
                  <a:lnTo>
                    <a:pt x="820" y="1208"/>
                  </a:lnTo>
                  <a:lnTo>
                    <a:pt x="821" y="1208"/>
                  </a:lnTo>
                  <a:lnTo>
                    <a:pt x="821" y="1207"/>
                  </a:lnTo>
                  <a:lnTo>
                    <a:pt x="820" y="1208"/>
                  </a:lnTo>
                  <a:lnTo>
                    <a:pt x="821" y="1207"/>
                  </a:lnTo>
                  <a:lnTo>
                    <a:pt x="820" y="1207"/>
                  </a:lnTo>
                  <a:lnTo>
                    <a:pt x="820" y="1208"/>
                  </a:lnTo>
                  <a:lnTo>
                    <a:pt x="821" y="1207"/>
                  </a:lnTo>
                  <a:lnTo>
                    <a:pt x="820" y="1207"/>
                  </a:lnTo>
                  <a:lnTo>
                    <a:pt x="821" y="1207"/>
                  </a:lnTo>
                  <a:lnTo>
                    <a:pt x="820" y="1205"/>
                  </a:lnTo>
                  <a:lnTo>
                    <a:pt x="820" y="1207"/>
                  </a:lnTo>
                  <a:lnTo>
                    <a:pt x="821" y="1207"/>
                  </a:lnTo>
                  <a:lnTo>
                    <a:pt x="820" y="1205"/>
                  </a:lnTo>
                  <a:lnTo>
                    <a:pt x="821" y="1207"/>
                  </a:lnTo>
                  <a:lnTo>
                    <a:pt x="820" y="1205"/>
                  </a:lnTo>
                  <a:lnTo>
                    <a:pt x="820" y="1205"/>
                  </a:lnTo>
                  <a:lnTo>
                    <a:pt x="821" y="1207"/>
                  </a:lnTo>
                  <a:lnTo>
                    <a:pt x="820" y="1205"/>
                  </a:lnTo>
                  <a:lnTo>
                    <a:pt x="820" y="1205"/>
                  </a:lnTo>
                  <a:lnTo>
                    <a:pt x="818" y="1207"/>
                  </a:lnTo>
                  <a:lnTo>
                    <a:pt x="818" y="1207"/>
                  </a:lnTo>
                  <a:lnTo>
                    <a:pt x="814" y="1211"/>
                  </a:lnTo>
                  <a:lnTo>
                    <a:pt x="807" y="1214"/>
                  </a:lnTo>
                  <a:lnTo>
                    <a:pt x="807" y="1214"/>
                  </a:lnTo>
                  <a:lnTo>
                    <a:pt x="801" y="1217"/>
                  </a:lnTo>
                  <a:lnTo>
                    <a:pt x="801" y="1217"/>
                  </a:lnTo>
                  <a:lnTo>
                    <a:pt x="799" y="1218"/>
                  </a:lnTo>
                  <a:lnTo>
                    <a:pt x="798" y="1221"/>
                  </a:lnTo>
                  <a:lnTo>
                    <a:pt x="798" y="1221"/>
                  </a:lnTo>
                  <a:lnTo>
                    <a:pt x="799" y="1224"/>
                  </a:lnTo>
                  <a:lnTo>
                    <a:pt x="799" y="1224"/>
                  </a:lnTo>
                  <a:lnTo>
                    <a:pt x="801" y="1227"/>
                  </a:lnTo>
                  <a:lnTo>
                    <a:pt x="801" y="1227"/>
                  </a:lnTo>
                  <a:lnTo>
                    <a:pt x="807" y="1233"/>
                  </a:lnTo>
                  <a:lnTo>
                    <a:pt x="807" y="1233"/>
                  </a:lnTo>
                  <a:lnTo>
                    <a:pt x="812" y="1241"/>
                  </a:lnTo>
                  <a:lnTo>
                    <a:pt x="812" y="1241"/>
                  </a:lnTo>
                  <a:lnTo>
                    <a:pt x="815" y="1244"/>
                  </a:lnTo>
                  <a:lnTo>
                    <a:pt x="820" y="1247"/>
                  </a:lnTo>
                  <a:lnTo>
                    <a:pt x="820" y="1247"/>
                  </a:lnTo>
                  <a:lnTo>
                    <a:pt x="823" y="1249"/>
                  </a:lnTo>
                  <a:lnTo>
                    <a:pt x="827" y="1250"/>
                  </a:lnTo>
                  <a:lnTo>
                    <a:pt x="827" y="1250"/>
                  </a:lnTo>
                  <a:lnTo>
                    <a:pt x="831" y="1249"/>
                  </a:lnTo>
                  <a:lnTo>
                    <a:pt x="831" y="1249"/>
                  </a:lnTo>
                  <a:lnTo>
                    <a:pt x="836" y="1244"/>
                  </a:lnTo>
                  <a:lnTo>
                    <a:pt x="836" y="1244"/>
                  </a:lnTo>
                  <a:lnTo>
                    <a:pt x="839" y="1241"/>
                  </a:lnTo>
                  <a:lnTo>
                    <a:pt x="839" y="1241"/>
                  </a:lnTo>
                  <a:lnTo>
                    <a:pt x="843" y="1238"/>
                  </a:lnTo>
                  <a:lnTo>
                    <a:pt x="843" y="1238"/>
                  </a:lnTo>
                  <a:lnTo>
                    <a:pt x="849" y="1235"/>
                  </a:lnTo>
                  <a:lnTo>
                    <a:pt x="849" y="1235"/>
                  </a:lnTo>
                  <a:lnTo>
                    <a:pt x="849" y="1235"/>
                  </a:lnTo>
                  <a:lnTo>
                    <a:pt x="849" y="1235"/>
                  </a:lnTo>
                  <a:lnTo>
                    <a:pt x="849" y="1235"/>
                  </a:lnTo>
                  <a:lnTo>
                    <a:pt x="849" y="1235"/>
                  </a:lnTo>
                  <a:lnTo>
                    <a:pt x="849" y="1235"/>
                  </a:lnTo>
                  <a:lnTo>
                    <a:pt x="847" y="1235"/>
                  </a:lnTo>
                  <a:lnTo>
                    <a:pt x="849" y="1235"/>
                  </a:lnTo>
                  <a:lnTo>
                    <a:pt x="849" y="1235"/>
                  </a:lnTo>
                  <a:lnTo>
                    <a:pt x="847" y="1235"/>
                  </a:lnTo>
                  <a:lnTo>
                    <a:pt x="849" y="1235"/>
                  </a:lnTo>
                  <a:lnTo>
                    <a:pt x="847" y="1235"/>
                  </a:lnTo>
                  <a:lnTo>
                    <a:pt x="847" y="1235"/>
                  </a:lnTo>
                  <a:lnTo>
                    <a:pt x="849" y="1235"/>
                  </a:lnTo>
                  <a:lnTo>
                    <a:pt x="847" y="1235"/>
                  </a:lnTo>
                  <a:lnTo>
                    <a:pt x="847" y="1235"/>
                  </a:lnTo>
                  <a:lnTo>
                    <a:pt x="850" y="1238"/>
                  </a:lnTo>
                  <a:lnTo>
                    <a:pt x="850" y="1238"/>
                  </a:lnTo>
                  <a:lnTo>
                    <a:pt x="852" y="1240"/>
                  </a:lnTo>
                  <a:lnTo>
                    <a:pt x="854" y="1241"/>
                  </a:lnTo>
                  <a:lnTo>
                    <a:pt x="854" y="1241"/>
                  </a:lnTo>
                  <a:lnTo>
                    <a:pt x="856" y="1241"/>
                  </a:lnTo>
                  <a:lnTo>
                    <a:pt x="856" y="1241"/>
                  </a:lnTo>
                  <a:lnTo>
                    <a:pt x="859" y="1241"/>
                  </a:lnTo>
                  <a:lnTo>
                    <a:pt x="859" y="1241"/>
                  </a:lnTo>
                  <a:lnTo>
                    <a:pt x="860" y="1241"/>
                  </a:lnTo>
                  <a:lnTo>
                    <a:pt x="860" y="1241"/>
                  </a:lnTo>
                  <a:lnTo>
                    <a:pt x="863" y="1241"/>
                  </a:lnTo>
                  <a:lnTo>
                    <a:pt x="863" y="1241"/>
                  </a:lnTo>
                  <a:lnTo>
                    <a:pt x="866" y="1243"/>
                  </a:lnTo>
                  <a:lnTo>
                    <a:pt x="866" y="1243"/>
                  </a:lnTo>
                  <a:lnTo>
                    <a:pt x="868" y="1241"/>
                  </a:lnTo>
                  <a:lnTo>
                    <a:pt x="868" y="1241"/>
                  </a:lnTo>
                  <a:lnTo>
                    <a:pt x="869" y="1238"/>
                  </a:lnTo>
                  <a:lnTo>
                    <a:pt x="869" y="1238"/>
                  </a:lnTo>
                  <a:lnTo>
                    <a:pt x="869" y="1237"/>
                  </a:lnTo>
                  <a:lnTo>
                    <a:pt x="869" y="1237"/>
                  </a:lnTo>
                  <a:lnTo>
                    <a:pt x="866" y="1230"/>
                  </a:lnTo>
                  <a:lnTo>
                    <a:pt x="866" y="1230"/>
                  </a:lnTo>
                  <a:lnTo>
                    <a:pt x="866" y="1227"/>
                  </a:lnTo>
                  <a:lnTo>
                    <a:pt x="866" y="1227"/>
                  </a:lnTo>
                  <a:lnTo>
                    <a:pt x="865" y="1225"/>
                  </a:lnTo>
                  <a:lnTo>
                    <a:pt x="865" y="1225"/>
                  </a:lnTo>
                  <a:lnTo>
                    <a:pt x="863" y="1224"/>
                  </a:lnTo>
                  <a:lnTo>
                    <a:pt x="863" y="1224"/>
                  </a:lnTo>
                  <a:lnTo>
                    <a:pt x="862" y="1222"/>
                  </a:lnTo>
                  <a:lnTo>
                    <a:pt x="862" y="1222"/>
                  </a:lnTo>
                  <a:lnTo>
                    <a:pt x="859" y="1220"/>
                  </a:lnTo>
                  <a:lnTo>
                    <a:pt x="859" y="1220"/>
                  </a:lnTo>
                  <a:lnTo>
                    <a:pt x="856" y="1218"/>
                  </a:lnTo>
                  <a:lnTo>
                    <a:pt x="856" y="1218"/>
                  </a:lnTo>
                  <a:lnTo>
                    <a:pt x="847" y="1220"/>
                  </a:lnTo>
                  <a:lnTo>
                    <a:pt x="847" y="1220"/>
                  </a:lnTo>
                  <a:lnTo>
                    <a:pt x="847" y="1220"/>
                  </a:lnTo>
                  <a:lnTo>
                    <a:pt x="846" y="1218"/>
                  </a:lnTo>
                  <a:lnTo>
                    <a:pt x="846" y="1218"/>
                  </a:lnTo>
                  <a:lnTo>
                    <a:pt x="844" y="1214"/>
                  </a:lnTo>
                  <a:lnTo>
                    <a:pt x="844" y="1214"/>
                  </a:lnTo>
                  <a:lnTo>
                    <a:pt x="843" y="1211"/>
                  </a:lnTo>
                  <a:lnTo>
                    <a:pt x="843" y="1211"/>
                  </a:lnTo>
                  <a:lnTo>
                    <a:pt x="840" y="1208"/>
                  </a:lnTo>
                  <a:lnTo>
                    <a:pt x="840" y="1208"/>
                  </a:lnTo>
                  <a:lnTo>
                    <a:pt x="840" y="1209"/>
                  </a:lnTo>
                  <a:lnTo>
                    <a:pt x="840" y="1209"/>
                  </a:lnTo>
                  <a:lnTo>
                    <a:pt x="840" y="1208"/>
                  </a:lnTo>
                  <a:lnTo>
                    <a:pt x="840" y="1209"/>
                  </a:lnTo>
                  <a:lnTo>
                    <a:pt x="840" y="1209"/>
                  </a:lnTo>
                  <a:lnTo>
                    <a:pt x="839" y="1209"/>
                  </a:lnTo>
                  <a:lnTo>
                    <a:pt x="840" y="1209"/>
                  </a:lnTo>
                  <a:lnTo>
                    <a:pt x="840" y="1209"/>
                  </a:lnTo>
                  <a:lnTo>
                    <a:pt x="839" y="1209"/>
                  </a:lnTo>
                  <a:lnTo>
                    <a:pt x="840" y="1209"/>
                  </a:lnTo>
                  <a:lnTo>
                    <a:pt x="840" y="1209"/>
                  </a:lnTo>
                  <a:lnTo>
                    <a:pt x="840" y="1209"/>
                  </a:lnTo>
                  <a:lnTo>
                    <a:pt x="840" y="1209"/>
                  </a:lnTo>
                  <a:lnTo>
                    <a:pt x="840" y="1209"/>
                  </a:lnTo>
                  <a:lnTo>
                    <a:pt x="840" y="1209"/>
                  </a:lnTo>
                  <a:lnTo>
                    <a:pt x="840" y="1209"/>
                  </a:lnTo>
                  <a:lnTo>
                    <a:pt x="840" y="1209"/>
                  </a:lnTo>
                  <a:lnTo>
                    <a:pt x="840" y="1209"/>
                  </a:lnTo>
                  <a:lnTo>
                    <a:pt x="840" y="1209"/>
                  </a:lnTo>
                  <a:lnTo>
                    <a:pt x="840" y="1209"/>
                  </a:lnTo>
                  <a:lnTo>
                    <a:pt x="843" y="1208"/>
                  </a:lnTo>
                  <a:lnTo>
                    <a:pt x="843" y="1208"/>
                  </a:lnTo>
                  <a:lnTo>
                    <a:pt x="846" y="1207"/>
                  </a:lnTo>
                  <a:lnTo>
                    <a:pt x="846" y="1207"/>
                  </a:lnTo>
                  <a:lnTo>
                    <a:pt x="852" y="1202"/>
                  </a:lnTo>
                  <a:lnTo>
                    <a:pt x="852" y="1202"/>
                  </a:lnTo>
                  <a:lnTo>
                    <a:pt x="857" y="1196"/>
                  </a:lnTo>
                  <a:lnTo>
                    <a:pt x="857" y="1196"/>
                  </a:lnTo>
                  <a:lnTo>
                    <a:pt x="862" y="1196"/>
                  </a:lnTo>
                  <a:lnTo>
                    <a:pt x="862" y="1196"/>
                  </a:lnTo>
                  <a:lnTo>
                    <a:pt x="868" y="1196"/>
                  </a:lnTo>
                  <a:lnTo>
                    <a:pt x="868" y="1196"/>
                  </a:lnTo>
                  <a:lnTo>
                    <a:pt x="870" y="1196"/>
                  </a:lnTo>
                  <a:lnTo>
                    <a:pt x="870" y="1196"/>
                  </a:lnTo>
                  <a:lnTo>
                    <a:pt x="875" y="1195"/>
                  </a:lnTo>
                  <a:lnTo>
                    <a:pt x="879" y="1192"/>
                  </a:lnTo>
                  <a:lnTo>
                    <a:pt x="879" y="1192"/>
                  </a:lnTo>
                  <a:lnTo>
                    <a:pt x="882" y="1191"/>
                  </a:lnTo>
                  <a:lnTo>
                    <a:pt x="885" y="1189"/>
                  </a:lnTo>
                  <a:lnTo>
                    <a:pt x="885" y="1189"/>
                  </a:lnTo>
                  <a:lnTo>
                    <a:pt x="895" y="1188"/>
                  </a:lnTo>
                  <a:lnTo>
                    <a:pt x="895" y="1188"/>
                  </a:lnTo>
                  <a:lnTo>
                    <a:pt x="904" y="1185"/>
                  </a:lnTo>
                  <a:lnTo>
                    <a:pt x="904" y="1185"/>
                  </a:lnTo>
                  <a:lnTo>
                    <a:pt x="907" y="1185"/>
                  </a:lnTo>
                  <a:lnTo>
                    <a:pt x="907" y="1185"/>
                  </a:lnTo>
                  <a:lnTo>
                    <a:pt x="908" y="1185"/>
                  </a:lnTo>
                  <a:lnTo>
                    <a:pt x="908" y="1185"/>
                  </a:lnTo>
                  <a:lnTo>
                    <a:pt x="910" y="1185"/>
                  </a:lnTo>
                  <a:lnTo>
                    <a:pt x="908" y="1185"/>
                  </a:lnTo>
                  <a:lnTo>
                    <a:pt x="908" y="1185"/>
                  </a:lnTo>
                  <a:lnTo>
                    <a:pt x="910" y="1185"/>
                  </a:lnTo>
                  <a:lnTo>
                    <a:pt x="908" y="1185"/>
                  </a:lnTo>
                  <a:lnTo>
                    <a:pt x="910" y="1185"/>
                  </a:lnTo>
                  <a:lnTo>
                    <a:pt x="908" y="1185"/>
                  </a:lnTo>
                  <a:lnTo>
                    <a:pt x="908" y="1185"/>
                  </a:lnTo>
                  <a:lnTo>
                    <a:pt x="910" y="1185"/>
                  </a:lnTo>
                  <a:lnTo>
                    <a:pt x="908" y="1185"/>
                  </a:lnTo>
                  <a:lnTo>
                    <a:pt x="910" y="1185"/>
                  </a:lnTo>
                  <a:lnTo>
                    <a:pt x="908" y="1183"/>
                  </a:lnTo>
                  <a:lnTo>
                    <a:pt x="908" y="1185"/>
                  </a:lnTo>
                  <a:lnTo>
                    <a:pt x="910" y="1185"/>
                  </a:lnTo>
                  <a:lnTo>
                    <a:pt x="908" y="1183"/>
                  </a:lnTo>
                  <a:lnTo>
                    <a:pt x="910" y="1185"/>
                  </a:lnTo>
                  <a:lnTo>
                    <a:pt x="908" y="1183"/>
                  </a:lnTo>
                  <a:lnTo>
                    <a:pt x="908" y="1183"/>
                  </a:lnTo>
                  <a:lnTo>
                    <a:pt x="910" y="1185"/>
                  </a:lnTo>
                  <a:lnTo>
                    <a:pt x="908" y="1183"/>
                  </a:lnTo>
                  <a:lnTo>
                    <a:pt x="908" y="1183"/>
                  </a:lnTo>
                  <a:lnTo>
                    <a:pt x="908" y="1183"/>
                  </a:lnTo>
                  <a:lnTo>
                    <a:pt x="907" y="1186"/>
                  </a:lnTo>
                  <a:lnTo>
                    <a:pt x="907" y="1186"/>
                  </a:lnTo>
                  <a:lnTo>
                    <a:pt x="894" y="1193"/>
                  </a:lnTo>
                  <a:lnTo>
                    <a:pt x="894" y="1193"/>
                  </a:lnTo>
                  <a:lnTo>
                    <a:pt x="889" y="1195"/>
                  </a:lnTo>
                  <a:lnTo>
                    <a:pt x="889" y="1195"/>
                  </a:lnTo>
                  <a:lnTo>
                    <a:pt x="886" y="1198"/>
                  </a:lnTo>
                  <a:lnTo>
                    <a:pt x="886" y="1198"/>
                  </a:lnTo>
                  <a:lnTo>
                    <a:pt x="885" y="1202"/>
                  </a:lnTo>
                  <a:lnTo>
                    <a:pt x="885" y="1202"/>
                  </a:lnTo>
                  <a:lnTo>
                    <a:pt x="885" y="1204"/>
                  </a:lnTo>
                  <a:lnTo>
                    <a:pt x="885" y="1204"/>
                  </a:lnTo>
                  <a:lnTo>
                    <a:pt x="885" y="1208"/>
                  </a:lnTo>
                  <a:lnTo>
                    <a:pt x="885" y="1208"/>
                  </a:lnTo>
                  <a:lnTo>
                    <a:pt x="883" y="1218"/>
                  </a:lnTo>
                  <a:lnTo>
                    <a:pt x="883" y="1218"/>
                  </a:lnTo>
                  <a:lnTo>
                    <a:pt x="882" y="1222"/>
                  </a:lnTo>
                  <a:lnTo>
                    <a:pt x="882" y="1222"/>
                  </a:lnTo>
                  <a:lnTo>
                    <a:pt x="881" y="1224"/>
                  </a:lnTo>
                  <a:lnTo>
                    <a:pt x="881" y="1224"/>
                  </a:lnTo>
                  <a:lnTo>
                    <a:pt x="878" y="1225"/>
                  </a:lnTo>
                  <a:lnTo>
                    <a:pt x="878" y="1225"/>
                  </a:lnTo>
                  <a:lnTo>
                    <a:pt x="876" y="1227"/>
                  </a:lnTo>
                  <a:lnTo>
                    <a:pt x="876" y="1227"/>
                  </a:lnTo>
                  <a:lnTo>
                    <a:pt x="870" y="1227"/>
                  </a:lnTo>
                  <a:lnTo>
                    <a:pt x="870" y="1227"/>
                  </a:lnTo>
                  <a:lnTo>
                    <a:pt x="869" y="1228"/>
                  </a:lnTo>
                  <a:lnTo>
                    <a:pt x="869" y="1228"/>
                  </a:lnTo>
                  <a:lnTo>
                    <a:pt x="868" y="1231"/>
                  </a:lnTo>
                  <a:lnTo>
                    <a:pt x="868" y="1231"/>
                  </a:lnTo>
                  <a:lnTo>
                    <a:pt x="869" y="1233"/>
                  </a:lnTo>
                  <a:lnTo>
                    <a:pt x="870" y="1234"/>
                  </a:lnTo>
                  <a:lnTo>
                    <a:pt x="870" y="1234"/>
                  </a:lnTo>
                  <a:lnTo>
                    <a:pt x="875" y="1238"/>
                  </a:lnTo>
                  <a:lnTo>
                    <a:pt x="875" y="1238"/>
                  </a:lnTo>
                  <a:lnTo>
                    <a:pt x="881" y="1243"/>
                  </a:lnTo>
                  <a:lnTo>
                    <a:pt x="881" y="1243"/>
                  </a:lnTo>
                  <a:lnTo>
                    <a:pt x="886" y="1246"/>
                  </a:lnTo>
                  <a:lnTo>
                    <a:pt x="891" y="1247"/>
                  </a:lnTo>
                  <a:lnTo>
                    <a:pt x="891" y="1247"/>
                  </a:lnTo>
                  <a:lnTo>
                    <a:pt x="895" y="1247"/>
                  </a:lnTo>
                  <a:lnTo>
                    <a:pt x="898" y="1249"/>
                  </a:lnTo>
                  <a:lnTo>
                    <a:pt x="898" y="1249"/>
                  </a:lnTo>
                  <a:lnTo>
                    <a:pt x="902" y="1251"/>
                  </a:lnTo>
                  <a:lnTo>
                    <a:pt x="902" y="1251"/>
                  </a:lnTo>
                  <a:lnTo>
                    <a:pt x="911" y="1263"/>
                  </a:lnTo>
                  <a:lnTo>
                    <a:pt x="918" y="1272"/>
                  </a:lnTo>
                  <a:lnTo>
                    <a:pt x="918" y="1272"/>
                  </a:lnTo>
                  <a:lnTo>
                    <a:pt x="923" y="1276"/>
                  </a:lnTo>
                  <a:lnTo>
                    <a:pt x="923" y="1276"/>
                  </a:lnTo>
                  <a:lnTo>
                    <a:pt x="925" y="1277"/>
                  </a:lnTo>
                  <a:lnTo>
                    <a:pt x="928" y="1279"/>
                  </a:lnTo>
                  <a:lnTo>
                    <a:pt x="928" y="1279"/>
                  </a:lnTo>
                  <a:lnTo>
                    <a:pt x="936" y="1279"/>
                  </a:lnTo>
                  <a:lnTo>
                    <a:pt x="936" y="1279"/>
                  </a:lnTo>
                  <a:lnTo>
                    <a:pt x="939" y="1280"/>
                  </a:lnTo>
                  <a:lnTo>
                    <a:pt x="940" y="1280"/>
                  </a:lnTo>
                  <a:lnTo>
                    <a:pt x="940" y="1280"/>
                  </a:lnTo>
                  <a:lnTo>
                    <a:pt x="940" y="1283"/>
                  </a:lnTo>
                  <a:lnTo>
                    <a:pt x="940" y="1283"/>
                  </a:lnTo>
                  <a:lnTo>
                    <a:pt x="943" y="1289"/>
                  </a:lnTo>
                  <a:lnTo>
                    <a:pt x="943" y="1289"/>
                  </a:lnTo>
                  <a:lnTo>
                    <a:pt x="947" y="1299"/>
                  </a:lnTo>
                  <a:lnTo>
                    <a:pt x="947" y="1299"/>
                  </a:lnTo>
                  <a:lnTo>
                    <a:pt x="949" y="1302"/>
                  </a:lnTo>
                  <a:lnTo>
                    <a:pt x="949" y="1305"/>
                  </a:lnTo>
                  <a:lnTo>
                    <a:pt x="949" y="1306"/>
                  </a:lnTo>
                  <a:lnTo>
                    <a:pt x="949" y="1306"/>
                  </a:lnTo>
                  <a:lnTo>
                    <a:pt x="947" y="1309"/>
                  </a:lnTo>
                  <a:lnTo>
                    <a:pt x="947" y="1309"/>
                  </a:lnTo>
                  <a:lnTo>
                    <a:pt x="944" y="1312"/>
                  </a:lnTo>
                  <a:lnTo>
                    <a:pt x="940" y="1315"/>
                  </a:lnTo>
                  <a:lnTo>
                    <a:pt x="928" y="1319"/>
                  </a:lnTo>
                  <a:lnTo>
                    <a:pt x="928" y="1319"/>
                  </a:lnTo>
                  <a:lnTo>
                    <a:pt x="923" y="1321"/>
                  </a:lnTo>
                  <a:lnTo>
                    <a:pt x="923" y="1321"/>
                  </a:lnTo>
                  <a:lnTo>
                    <a:pt x="920" y="1321"/>
                  </a:lnTo>
                  <a:lnTo>
                    <a:pt x="920" y="1321"/>
                  </a:lnTo>
                  <a:lnTo>
                    <a:pt x="917" y="1319"/>
                  </a:lnTo>
                  <a:lnTo>
                    <a:pt x="917" y="1319"/>
                  </a:lnTo>
                  <a:lnTo>
                    <a:pt x="914" y="1321"/>
                  </a:lnTo>
                  <a:lnTo>
                    <a:pt x="914" y="1321"/>
                  </a:lnTo>
                  <a:lnTo>
                    <a:pt x="907" y="1322"/>
                  </a:lnTo>
                  <a:lnTo>
                    <a:pt x="899" y="1322"/>
                  </a:lnTo>
                  <a:lnTo>
                    <a:pt x="899" y="1322"/>
                  </a:lnTo>
                  <a:lnTo>
                    <a:pt x="896" y="1322"/>
                  </a:lnTo>
                  <a:lnTo>
                    <a:pt x="896" y="1322"/>
                  </a:lnTo>
                  <a:lnTo>
                    <a:pt x="889" y="1321"/>
                  </a:lnTo>
                  <a:lnTo>
                    <a:pt x="881" y="1318"/>
                  </a:lnTo>
                  <a:lnTo>
                    <a:pt x="881" y="1318"/>
                  </a:lnTo>
                  <a:lnTo>
                    <a:pt x="868" y="1314"/>
                  </a:lnTo>
                  <a:lnTo>
                    <a:pt x="868" y="1314"/>
                  </a:lnTo>
                  <a:lnTo>
                    <a:pt x="865" y="1311"/>
                  </a:lnTo>
                  <a:lnTo>
                    <a:pt x="862" y="1308"/>
                  </a:lnTo>
                  <a:lnTo>
                    <a:pt x="862" y="1308"/>
                  </a:lnTo>
                  <a:lnTo>
                    <a:pt x="857" y="1305"/>
                  </a:lnTo>
                  <a:lnTo>
                    <a:pt x="852" y="1304"/>
                  </a:lnTo>
                  <a:lnTo>
                    <a:pt x="852" y="1304"/>
                  </a:lnTo>
                  <a:lnTo>
                    <a:pt x="844" y="1304"/>
                  </a:lnTo>
                  <a:lnTo>
                    <a:pt x="839" y="1301"/>
                  </a:lnTo>
                  <a:lnTo>
                    <a:pt x="839" y="1301"/>
                  </a:lnTo>
                  <a:lnTo>
                    <a:pt x="830" y="1299"/>
                  </a:lnTo>
                  <a:lnTo>
                    <a:pt x="818" y="1298"/>
                  </a:lnTo>
                  <a:lnTo>
                    <a:pt x="818" y="1298"/>
                  </a:lnTo>
                  <a:lnTo>
                    <a:pt x="815" y="1298"/>
                  </a:lnTo>
                  <a:lnTo>
                    <a:pt x="815" y="1298"/>
                  </a:lnTo>
                  <a:lnTo>
                    <a:pt x="807" y="1299"/>
                  </a:lnTo>
                  <a:lnTo>
                    <a:pt x="799" y="1302"/>
                  </a:lnTo>
                  <a:lnTo>
                    <a:pt x="799" y="1302"/>
                  </a:lnTo>
                  <a:lnTo>
                    <a:pt x="792" y="1305"/>
                  </a:lnTo>
                  <a:lnTo>
                    <a:pt x="786" y="1311"/>
                  </a:lnTo>
                  <a:lnTo>
                    <a:pt x="786" y="1311"/>
                  </a:lnTo>
                  <a:lnTo>
                    <a:pt x="781" y="1314"/>
                  </a:lnTo>
                  <a:lnTo>
                    <a:pt x="776" y="1315"/>
                  </a:lnTo>
                  <a:lnTo>
                    <a:pt x="765" y="1317"/>
                  </a:lnTo>
                  <a:lnTo>
                    <a:pt x="765" y="1317"/>
                  </a:lnTo>
                  <a:lnTo>
                    <a:pt x="752" y="1315"/>
                  </a:lnTo>
                  <a:lnTo>
                    <a:pt x="752" y="1315"/>
                  </a:lnTo>
                  <a:lnTo>
                    <a:pt x="747" y="1317"/>
                  </a:lnTo>
                  <a:lnTo>
                    <a:pt x="747" y="1317"/>
                  </a:lnTo>
                  <a:lnTo>
                    <a:pt x="746" y="1318"/>
                  </a:lnTo>
                  <a:lnTo>
                    <a:pt x="746" y="1318"/>
                  </a:lnTo>
                  <a:lnTo>
                    <a:pt x="746" y="1319"/>
                  </a:lnTo>
                  <a:lnTo>
                    <a:pt x="746" y="1319"/>
                  </a:lnTo>
                  <a:lnTo>
                    <a:pt x="746" y="1322"/>
                  </a:lnTo>
                  <a:lnTo>
                    <a:pt x="746" y="1322"/>
                  </a:lnTo>
                  <a:lnTo>
                    <a:pt x="750" y="1328"/>
                  </a:lnTo>
                  <a:lnTo>
                    <a:pt x="752" y="1330"/>
                  </a:lnTo>
                  <a:lnTo>
                    <a:pt x="752" y="1330"/>
                  </a:lnTo>
                  <a:lnTo>
                    <a:pt x="753" y="1328"/>
                  </a:lnTo>
                  <a:lnTo>
                    <a:pt x="752" y="1328"/>
                  </a:lnTo>
                  <a:lnTo>
                    <a:pt x="752" y="1328"/>
                  </a:lnTo>
                  <a:lnTo>
                    <a:pt x="752" y="1330"/>
                  </a:lnTo>
                  <a:lnTo>
                    <a:pt x="753" y="1328"/>
                  </a:lnTo>
                  <a:lnTo>
                    <a:pt x="752" y="1328"/>
                  </a:lnTo>
                  <a:lnTo>
                    <a:pt x="753" y="1328"/>
                  </a:lnTo>
                  <a:lnTo>
                    <a:pt x="752" y="1327"/>
                  </a:lnTo>
                  <a:lnTo>
                    <a:pt x="752" y="1328"/>
                  </a:lnTo>
                  <a:lnTo>
                    <a:pt x="753" y="1328"/>
                  </a:lnTo>
                  <a:lnTo>
                    <a:pt x="752" y="1327"/>
                  </a:lnTo>
                  <a:lnTo>
                    <a:pt x="753" y="1328"/>
                  </a:lnTo>
                  <a:lnTo>
                    <a:pt x="753" y="1327"/>
                  </a:lnTo>
                  <a:lnTo>
                    <a:pt x="753" y="1327"/>
                  </a:lnTo>
                  <a:lnTo>
                    <a:pt x="752" y="1327"/>
                  </a:lnTo>
                  <a:lnTo>
                    <a:pt x="753" y="1328"/>
                  </a:lnTo>
                  <a:lnTo>
                    <a:pt x="753" y="1327"/>
                  </a:lnTo>
                  <a:lnTo>
                    <a:pt x="753" y="1327"/>
                  </a:lnTo>
                  <a:lnTo>
                    <a:pt x="752" y="1327"/>
                  </a:lnTo>
                  <a:lnTo>
                    <a:pt x="752" y="1327"/>
                  </a:lnTo>
                  <a:lnTo>
                    <a:pt x="750" y="1327"/>
                  </a:lnTo>
                  <a:lnTo>
                    <a:pt x="750" y="1327"/>
                  </a:lnTo>
                  <a:lnTo>
                    <a:pt x="744" y="1328"/>
                  </a:lnTo>
                  <a:lnTo>
                    <a:pt x="744" y="1328"/>
                  </a:lnTo>
                  <a:lnTo>
                    <a:pt x="743" y="1330"/>
                  </a:lnTo>
                  <a:lnTo>
                    <a:pt x="743" y="1330"/>
                  </a:lnTo>
                  <a:lnTo>
                    <a:pt x="742" y="1330"/>
                  </a:lnTo>
                  <a:lnTo>
                    <a:pt x="742" y="1330"/>
                  </a:lnTo>
                  <a:lnTo>
                    <a:pt x="742" y="1331"/>
                  </a:lnTo>
                  <a:lnTo>
                    <a:pt x="742" y="1331"/>
                  </a:lnTo>
                  <a:lnTo>
                    <a:pt x="742" y="1334"/>
                  </a:lnTo>
                  <a:lnTo>
                    <a:pt x="742" y="1334"/>
                  </a:lnTo>
                  <a:lnTo>
                    <a:pt x="743" y="1333"/>
                  </a:lnTo>
                  <a:lnTo>
                    <a:pt x="742" y="1333"/>
                  </a:lnTo>
                  <a:lnTo>
                    <a:pt x="742" y="1334"/>
                  </a:lnTo>
                  <a:lnTo>
                    <a:pt x="743" y="1333"/>
                  </a:lnTo>
                  <a:lnTo>
                    <a:pt x="742" y="1333"/>
                  </a:lnTo>
                  <a:lnTo>
                    <a:pt x="743" y="1333"/>
                  </a:lnTo>
                  <a:lnTo>
                    <a:pt x="742" y="1333"/>
                  </a:lnTo>
                  <a:lnTo>
                    <a:pt x="742" y="1333"/>
                  </a:lnTo>
                  <a:lnTo>
                    <a:pt x="743" y="1333"/>
                  </a:lnTo>
                  <a:lnTo>
                    <a:pt x="742" y="1333"/>
                  </a:lnTo>
                  <a:lnTo>
                    <a:pt x="742" y="1333"/>
                  </a:lnTo>
                  <a:lnTo>
                    <a:pt x="742" y="1333"/>
                  </a:lnTo>
                  <a:lnTo>
                    <a:pt x="742" y="1333"/>
                  </a:lnTo>
                  <a:lnTo>
                    <a:pt x="742" y="1333"/>
                  </a:lnTo>
                  <a:lnTo>
                    <a:pt x="742" y="1333"/>
                  </a:lnTo>
                  <a:lnTo>
                    <a:pt x="742" y="1333"/>
                  </a:lnTo>
                  <a:lnTo>
                    <a:pt x="742" y="1333"/>
                  </a:lnTo>
                  <a:lnTo>
                    <a:pt x="742" y="1333"/>
                  </a:lnTo>
                  <a:lnTo>
                    <a:pt x="742" y="1333"/>
                  </a:lnTo>
                  <a:lnTo>
                    <a:pt x="742" y="1333"/>
                  </a:lnTo>
                  <a:lnTo>
                    <a:pt x="742" y="1333"/>
                  </a:lnTo>
                  <a:lnTo>
                    <a:pt x="742" y="1333"/>
                  </a:lnTo>
                  <a:lnTo>
                    <a:pt x="739" y="1334"/>
                  </a:lnTo>
                  <a:lnTo>
                    <a:pt x="739" y="1334"/>
                  </a:lnTo>
                  <a:lnTo>
                    <a:pt x="731" y="1334"/>
                  </a:lnTo>
                  <a:lnTo>
                    <a:pt x="731" y="1334"/>
                  </a:lnTo>
                  <a:lnTo>
                    <a:pt x="718" y="1334"/>
                  </a:lnTo>
                  <a:lnTo>
                    <a:pt x="718" y="1334"/>
                  </a:lnTo>
                  <a:lnTo>
                    <a:pt x="715" y="1334"/>
                  </a:lnTo>
                  <a:lnTo>
                    <a:pt x="715" y="1334"/>
                  </a:lnTo>
                  <a:lnTo>
                    <a:pt x="711" y="1335"/>
                  </a:lnTo>
                  <a:lnTo>
                    <a:pt x="708" y="1338"/>
                  </a:lnTo>
                  <a:lnTo>
                    <a:pt x="708" y="1338"/>
                  </a:lnTo>
                  <a:lnTo>
                    <a:pt x="704" y="1346"/>
                  </a:lnTo>
                  <a:lnTo>
                    <a:pt x="704" y="1346"/>
                  </a:lnTo>
                  <a:lnTo>
                    <a:pt x="702" y="1350"/>
                  </a:lnTo>
                  <a:lnTo>
                    <a:pt x="702" y="1350"/>
                  </a:lnTo>
                  <a:lnTo>
                    <a:pt x="704" y="1356"/>
                  </a:lnTo>
                  <a:lnTo>
                    <a:pt x="707" y="1362"/>
                  </a:lnTo>
                  <a:lnTo>
                    <a:pt x="707" y="1362"/>
                  </a:lnTo>
                  <a:lnTo>
                    <a:pt x="708" y="1364"/>
                  </a:lnTo>
                  <a:lnTo>
                    <a:pt x="708" y="1367"/>
                  </a:lnTo>
                  <a:lnTo>
                    <a:pt x="708" y="1367"/>
                  </a:lnTo>
                  <a:lnTo>
                    <a:pt x="708" y="1369"/>
                  </a:lnTo>
                  <a:lnTo>
                    <a:pt x="707" y="1370"/>
                  </a:lnTo>
                  <a:lnTo>
                    <a:pt x="707" y="1370"/>
                  </a:lnTo>
                  <a:lnTo>
                    <a:pt x="704" y="1372"/>
                  </a:lnTo>
                  <a:lnTo>
                    <a:pt x="704" y="1372"/>
                  </a:lnTo>
                  <a:lnTo>
                    <a:pt x="695" y="1370"/>
                  </a:lnTo>
                  <a:lnTo>
                    <a:pt x="695" y="1370"/>
                  </a:lnTo>
                  <a:lnTo>
                    <a:pt x="694" y="1372"/>
                  </a:lnTo>
                  <a:lnTo>
                    <a:pt x="694" y="1372"/>
                  </a:lnTo>
                  <a:lnTo>
                    <a:pt x="692" y="1372"/>
                  </a:lnTo>
                  <a:lnTo>
                    <a:pt x="692" y="1372"/>
                  </a:lnTo>
                  <a:lnTo>
                    <a:pt x="691" y="1373"/>
                  </a:lnTo>
                  <a:lnTo>
                    <a:pt x="691" y="1373"/>
                  </a:lnTo>
                  <a:lnTo>
                    <a:pt x="692" y="1376"/>
                  </a:lnTo>
                  <a:lnTo>
                    <a:pt x="692" y="1376"/>
                  </a:lnTo>
                  <a:lnTo>
                    <a:pt x="695" y="1379"/>
                  </a:lnTo>
                  <a:lnTo>
                    <a:pt x="695" y="1379"/>
                  </a:lnTo>
                  <a:lnTo>
                    <a:pt x="700" y="1382"/>
                  </a:lnTo>
                  <a:lnTo>
                    <a:pt x="700" y="1382"/>
                  </a:lnTo>
                  <a:lnTo>
                    <a:pt x="704" y="1385"/>
                  </a:lnTo>
                  <a:lnTo>
                    <a:pt x="707" y="1385"/>
                  </a:lnTo>
                  <a:lnTo>
                    <a:pt x="707" y="1385"/>
                  </a:lnTo>
                  <a:lnTo>
                    <a:pt x="711" y="1385"/>
                  </a:lnTo>
                  <a:lnTo>
                    <a:pt x="711" y="1385"/>
                  </a:lnTo>
                  <a:lnTo>
                    <a:pt x="714" y="1383"/>
                  </a:lnTo>
                  <a:lnTo>
                    <a:pt x="714" y="1383"/>
                  </a:lnTo>
                  <a:lnTo>
                    <a:pt x="714" y="1383"/>
                  </a:lnTo>
                  <a:lnTo>
                    <a:pt x="714" y="1383"/>
                  </a:lnTo>
                  <a:lnTo>
                    <a:pt x="714" y="1383"/>
                  </a:lnTo>
                  <a:lnTo>
                    <a:pt x="714" y="1383"/>
                  </a:lnTo>
                  <a:lnTo>
                    <a:pt x="714" y="1383"/>
                  </a:lnTo>
                  <a:lnTo>
                    <a:pt x="714" y="1383"/>
                  </a:lnTo>
                  <a:lnTo>
                    <a:pt x="714" y="1383"/>
                  </a:lnTo>
                  <a:lnTo>
                    <a:pt x="714" y="1383"/>
                  </a:lnTo>
                  <a:lnTo>
                    <a:pt x="714" y="1383"/>
                  </a:lnTo>
                  <a:lnTo>
                    <a:pt x="714" y="1383"/>
                  </a:lnTo>
                  <a:lnTo>
                    <a:pt x="714" y="1383"/>
                  </a:lnTo>
                  <a:lnTo>
                    <a:pt x="714" y="1383"/>
                  </a:lnTo>
                  <a:lnTo>
                    <a:pt x="714" y="1383"/>
                  </a:lnTo>
                  <a:lnTo>
                    <a:pt x="714" y="1383"/>
                  </a:lnTo>
                  <a:lnTo>
                    <a:pt x="713" y="1386"/>
                  </a:lnTo>
                  <a:lnTo>
                    <a:pt x="713" y="1386"/>
                  </a:lnTo>
                  <a:lnTo>
                    <a:pt x="711" y="1390"/>
                  </a:lnTo>
                  <a:lnTo>
                    <a:pt x="711" y="1390"/>
                  </a:lnTo>
                  <a:lnTo>
                    <a:pt x="713" y="1395"/>
                  </a:lnTo>
                  <a:lnTo>
                    <a:pt x="715" y="1399"/>
                  </a:lnTo>
                  <a:lnTo>
                    <a:pt x="715" y="1399"/>
                  </a:lnTo>
                  <a:lnTo>
                    <a:pt x="718" y="1402"/>
                  </a:lnTo>
                  <a:lnTo>
                    <a:pt x="718" y="1402"/>
                  </a:lnTo>
                  <a:lnTo>
                    <a:pt x="720" y="1405"/>
                  </a:lnTo>
                  <a:lnTo>
                    <a:pt x="724" y="1406"/>
                  </a:lnTo>
                  <a:lnTo>
                    <a:pt x="724" y="1406"/>
                  </a:lnTo>
                  <a:lnTo>
                    <a:pt x="736" y="1411"/>
                  </a:lnTo>
                  <a:lnTo>
                    <a:pt x="736" y="1411"/>
                  </a:lnTo>
                  <a:lnTo>
                    <a:pt x="743" y="1414"/>
                  </a:lnTo>
                  <a:lnTo>
                    <a:pt x="743" y="1414"/>
                  </a:lnTo>
                  <a:lnTo>
                    <a:pt x="749" y="1418"/>
                  </a:lnTo>
                  <a:lnTo>
                    <a:pt x="749" y="1418"/>
                  </a:lnTo>
                  <a:lnTo>
                    <a:pt x="753" y="1421"/>
                  </a:lnTo>
                  <a:lnTo>
                    <a:pt x="757" y="1422"/>
                  </a:lnTo>
                  <a:lnTo>
                    <a:pt x="766" y="1424"/>
                  </a:lnTo>
                  <a:lnTo>
                    <a:pt x="766" y="1424"/>
                  </a:lnTo>
                  <a:lnTo>
                    <a:pt x="769" y="1424"/>
                  </a:lnTo>
                  <a:lnTo>
                    <a:pt x="772" y="1422"/>
                  </a:lnTo>
                  <a:lnTo>
                    <a:pt x="772" y="1422"/>
                  </a:lnTo>
                  <a:lnTo>
                    <a:pt x="773" y="1419"/>
                  </a:lnTo>
                  <a:lnTo>
                    <a:pt x="775" y="1417"/>
                  </a:lnTo>
                  <a:lnTo>
                    <a:pt x="775" y="1417"/>
                  </a:lnTo>
                  <a:lnTo>
                    <a:pt x="775" y="1412"/>
                  </a:lnTo>
                  <a:lnTo>
                    <a:pt x="773" y="1411"/>
                  </a:lnTo>
                  <a:lnTo>
                    <a:pt x="775" y="1412"/>
                  </a:lnTo>
                  <a:lnTo>
                    <a:pt x="775" y="1412"/>
                  </a:lnTo>
                  <a:lnTo>
                    <a:pt x="775" y="1412"/>
                  </a:lnTo>
                  <a:lnTo>
                    <a:pt x="773" y="1411"/>
                  </a:lnTo>
                  <a:lnTo>
                    <a:pt x="775" y="1412"/>
                  </a:lnTo>
                  <a:lnTo>
                    <a:pt x="773" y="1412"/>
                  </a:lnTo>
                  <a:lnTo>
                    <a:pt x="775" y="1414"/>
                  </a:lnTo>
                  <a:lnTo>
                    <a:pt x="775" y="1412"/>
                  </a:lnTo>
                  <a:lnTo>
                    <a:pt x="773" y="1412"/>
                  </a:lnTo>
                  <a:lnTo>
                    <a:pt x="775" y="1414"/>
                  </a:lnTo>
                  <a:lnTo>
                    <a:pt x="775" y="1414"/>
                  </a:lnTo>
                  <a:lnTo>
                    <a:pt x="775" y="1414"/>
                  </a:lnTo>
                  <a:lnTo>
                    <a:pt x="779" y="1414"/>
                  </a:lnTo>
                  <a:lnTo>
                    <a:pt x="779" y="1414"/>
                  </a:lnTo>
                  <a:lnTo>
                    <a:pt x="788" y="1417"/>
                  </a:lnTo>
                  <a:lnTo>
                    <a:pt x="788" y="1417"/>
                  </a:lnTo>
                  <a:lnTo>
                    <a:pt x="797" y="1421"/>
                  </a:lnTo>
                  <a:lnTo>
                    <a:pt x="797" y="1421"/>
                  </a:lnTo>
                  <a:lnTo>
                    <a:pt x="802" y="1424"/>
                  </a:lnTo>
                  <a:lnTo>
                    <a:pt x="810" y="1425"/>
                  </a:lnTo>
                  <a:lnTo>
                    <a:pt x="810" y="1425"/>
                  </a:lnTo>
                  <a:lnTo>
                    <a:pt x="824" y="1424"/>
                  </a:lnTo>
                  <a:lnTo>
                    <a:pt x="824" y="1424"/>
                  </a:lnTo>
                  <a:lnTo>
                    <a:pt x="827" y="1422"/>
                  </a:lnTo>
                  <a:lnTo>
                    <a:pt x="830" y="1421"/>
                  </a:lnTo>
                  <a:lnTo>
                    <a:pt x="834" y="1417"/>
                  </a:lnTo>
                  <a:lnTo>
                    <a:pt x="834" y="1417"/>
                  </a:lnTo>
                  <a:lnTo>
                    <a:pt x="837" y="1414"/>
                  </a:lnTo>
                  <a:lnTo>
                    <a:pt x="837" y="1414"/>
                  </a:lnTo>
                  <a:lnTo>
                    <a:pt x="839" y="1411"/>
                  </a:lnTo>
                  <a:lnTo>
                    <a:pt x="840" y="1411"/>
                  </a:lnTo>
                  <a:lnTo>
                    <a:pt x="840" y="1411"/>
                  </a:lnTo>
                  <a:lnTo>
                    <a:pt x="841" y="1411"/>
                  </a:lnTo>
                  <a:lnTo>
                    <a:pt x="841" y="1411"/>
                  </a:lnTo>
                  <a:lnTo>
                    <a:pt x="844" y="1411"/>
                  </a:lnTo>
                  <a:lnTo>
                    <a:pt x="844" y="1411"/>
                  </a:lnTo>
                  <a:lnTo>
                    <a:pt x="847" y="1411"/>
                  </a:lnTo>
                  <a:lnTo>
                    <a:pt x="847" y="1411"/>
                  </a:lnTo>
                  <a:lnTo>
                    <a:pt x="847" y="1411"/>
                  </a:lnTo>
                  <a:lnTo>
                    <a:pt x="847" y="1411"/>
                  </a:lnTo>
                  <a:lnTo>
                    <a:pt x="847" y="1411"/>
                  </a:lnTo>
                  <a:lnTo>
                    <a:pt x="847" y="1411"/>
                  </a:lnTo>
                  <a:lnTo>
                    <a:pt x="847" y="1411"/>
                  </a:lnTo>
                  <a:lnTo>
                    <a:pt x="847" y="1411"/>
                  </a:lnTo>
                  <a:lnTo>
                    <a:pt x="847" y="1411"/>
                  </a:lnTo>
                  <a:lnTo>
                    <a:pt x="849" y="1412"/>
                  </a:lnTo>
                  <a:lnTo>
                    <a:pt x="849" y="1412"/>
                  </a:lnTo>
                  <a:lnTo>
                    <a:pt x="852" y="1414"/>
                  </a:lnTo>
                  <a:lnTo>
                    <a:pt x="852" y="1414"/>
                  </a:lnTo>
                  <a:lnTo>
                    <a:pt x="856" y="1415"/>
                  </a:lnTo>
                  <a:lnTo>
                    <a:pt x="856" y="1415"/>
                  </a:lnTo>
                  <a:lnTo>
                    <a:pt x="859" y="1415"/>
                  </a:lnTo>
                  <a:lnTo>
                    <a:pt x="860" y="1414"/>
                  </a:lnTo>
                  <a:lnTo>
                    <a:pt x="860" y="1414"/>
                  </a:lnTo>
                  <a:lnTo>
                    <a:pt x="860" y="1412"/>
                  </a:lnTo>
                  <a:lnTo>
                    <a:pt x="860" y="1414"/>
                  </a:lnTo>
                  <a:lnTo>
                    <a:pt x="860" y="1414"/>
                  </a:lnTo>
                  <a:lnTo>
                    <a:pt x="860" y="1412"/>
                  </a:lnTo>
                  <a:lnTo>
                    <a:pt x="860" y="1414"/>
                  </a:lnTo>
                  <a:lnTo>
                    <a:pt x="860" y="1412"/>
                  </a:lnTo>
                  <a:lnTo>
                    <a:pt x="860" y="1414"/>
                  </a:lnTo>
                  <a:lnTo>
                    <a:pt x="860" y="1414"/>
                  </a:lnTo>
                  <a:lnTo>
                    <a:pt x="860" y="1412"/>
                  </a:lnTo>
                  <a:lnTo>
                    <a:pt x="860" y="1414"/>
                  </a:lnTo>
                  <a:lnTo>
                    <a:pt x="860" y="1411"/>
                  </a:lnTo>
                  <a:lnTo>
                    <a:pt x="859" y="1412"/>
                  </a:lnTo>
                  <a:lnTo>
                    <a:pt x="860" y="1414"/>
                  </a:lnTo>
                  <a:lnTo>
                    <a:pt x="860" y="1411"/>
                  </a:lnTo>
                  <a:lnTo>
                    <a:pt x="859" y="1412"/>
                  </a:lnTo>
                  <a:lnTo>
                    <a:pt x="860" y="1411"/>
                  </a:lnTo>
                  <a:lnTo>
                    <a:pt x="857" y="1412"/>
                  </a:lnTo>
                  <a:lnTo>
                    <a:pt x="857" y="1412"/>
                  </a:lnTo>
                  <a:lnTo>
                    <a:pt x="859" y="1412"/>
                  </a:lnTo>
                  <a:lnTo>
                    <a:pt x="860" y="1411"/>
                  </a:lnTo>
                  <a:lnTo>
                    <a:pt x="857" y="1412"/>
                  </a:lnTo>
                  <a:lnTo>
                    <a:pt x="859" y="1412"/>
                  </a:lnTo>
                  <a:lnTo>
                    <a:pt x="857" y="1412"/>
                  </a:lnTo>
                  <a:lnTo>
                    <a:pt x="857" y="1412"/>
                  </a:lnTo>
                  <a:lnTo>
                    <a:pt x="859" y="1412"/>
                  </a:lnTo>
                  <a:lnTo>
                    <a:pt x="857" y="1412"/>
                  </a:lnTo>
                  <a:lnTo>
                    <a:pt x="857" y="1412"/>
                  </a:lnTo>
                  <a:lnTo>
                    <a:pt x="857" y="1414"/>
                  </a:lnTo>
                  <a:lnTo>
                    <a:pt x="857" y="1414"/>
                  </a:lnTo>
                  <a:lnTo>
                    <a:pt x="856" y="1418"/>
                  </a:lnTo>
                  <a:lnTo>
                    <a:pt x="856" y="1418"/>
                  </a:lnTo>
                  <a:lnTo>
                    <a:pt x="856" y="1424"/>
                  </a:lnTo>
                  <a:lnTo>
                    <a:pt x="856" y="1424"/>
                  </a:lnTo>
                  <a:lnTo>
                    <a:pt x="856" y="1424"/>
                  </a:lnTo>
                  <a:lnTo>
                    <a:pt x="856" y="1430"/>
                  </a:lnTo>
                  <a:lnTo>
                    <a:pt x="856" y="1430"/>
                  </a:lnTo>
                  <a:lnTo>
                    <a:pt x="854" y="1448"/>
                  </a:lnTo>
                  <a:lnTo>
                    <a:pt x="854" y="1448"/>
                  </a:lnTo>
                  <a:lnTo>
                    <a:pt x="854" y="1451"/>
                  </a:lnTo>
                  <a:lnTo>
                    <a:pt x="854" y="1451"/>
                  </a:lnTo>
                  <a:lnTo>
                    <a:pt x="850" y="1454"/>
                  </a:lnTo>
                  <a:lnTo>
                    <a:pt x="850" y="1454"/>
                  </a:lnTo>
                  <a:lnTo>
                    <a:pt x="849" y="1457"/>
                  </a:lnTo>
                  <a:lnTo>
                    <a:pt x="849" y="1457"/>
                  </a:lnTo>
                  <a:lnTo>
                    <a:pt x="847" y="1461"/>
                  </a:lnTo>
                  <a:lnTo>
                    <a:pt x="847" y="1461"/>
                  </a:lnTo>
                  <a:lnTo>
                    <a:pt x="844" y="1474"/>
                  </a:lnTo>
                  <a:lnTo>
                    <a:pt x="844" y="1474"/>
                  </a:lnTo>
                  <a:lnTo>
                    <a:pt x="841" y="1483"/>
                  </a:lnTo>
                  <a:lnTo>
                    <a:pt x="837" y="1492"/>
                  </a:lnTo>
                  <a:lnTo>
                    <a:pt x="837" y="1492"/>
                  </a:lnTo>
                  <a:lnTo>
                    <a:pt x="833" y="1501"/>
                  </a:lnTo>
                  <a:lnTo>
                    <a:pt x="831" y="1506"/>
                  </a:lnTo>
                  <a:lnTo>
                    <a:pt x="831" y="1506"/>
                  </a:lnTo>
                  <a:lnTo>
                    <a:pt x="828" y="1512"/>
                  </a:lnTo>
                  <a:lnTo>
                    <a:pt x="827" y="1515"/>
                  </a:lnTo>
                  <a:lnTo>
                    <a:pt x="827" y="1515"/>
                  </a:lnTo>
                  <a:lnTo>
                    <a:pt x="824" y="1516"/>
                  </a:lnTo>
                  <a:lnTo>
                    <a:pt x="824" y="1516"/>
                  </a:lnTo>
                  <a:lnTo>
                    <a:pt x="818" y="1518"/>
                  </a:lnTo>
                  <a:lnTo>
                    <a:pt x="818" y="1518"/>
                  </a:lnTo>
                  <a:lnTo>
                    <a:pt x="808" y="1516"/>
                  </a:lnTo>
                  <a:lnTo>
                    <a:pt x="808" y="1516"/>
                  </a:lnTo>
                  <a:lnTo>
                    <a:pt x="799" y="1516"/>
                  </a:lnTo>
                  <a:lnTo>
                    <a:pt x="798" y="1516"/>
                  </a:lnTo>
                  <a:lnTo>
                    <a:pt x="798" y="1516"/>
                  </a:lnTo>
                  <a:lnTo>
                    <a:pt x="798" y="1516"/>
                  </a:lnTo>
                  <a:lnTo>
                    <a:pt x="795" y="1515"/>
                  </a:lnTo>
                  <a:lnTo>
                    <a:pt x="795" y="1515"/>
                  </a:lnTo>
                  <a:lnTo>
                    <a:pt x="792" y="1514"/>
                  </a:lnTo>
                  <a:lnTo>
                    <a:pt x="792" y="1514"/>
                  </a:lnTo>
                  <a:lnTo>
                    <a:pt x="788" y="1509"/>
                  </a:lnTo>
                  <a:lnTo>
                    <a:pt x="788" y="1509"/>
                  </a:lnTo>
                  <a:lnTo>
                    <a:pt x="785" y="1506"/>
                  </a:lnTo>
                  <a:lnTo>
                    <a:pt x="785" y="1506"/>
                  </a:lnTo>
                  <a:lnTo>
                    <a:pt x="782" y="1508"/>
                  </a:lnTo>
                  <a:lnTo>
                    <a:pt x="782" y="1508"/>
                  </a:lnTo>
                  <a:lnTo>
                    <a:pt x="781"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8" y="1508"/>
                  </a:lnTo>
                  <a:lnTo>
                    <a:pt x="778" y="1508"/>
                  </a:lnTo>
                  <a:lnTo>
                    <a:pt x="775" y="1506"/>
                  </a:lnTo>
                  <a:lnTo>
                    <a:pt x="775" y="1506"/>
                  </a:lnTo>
                  <a:lnTo>
                    <a:pt x="773" y="1508"/>
                  </a:lnTo>
                  <a:lnTo>
                    <a:pt x="773" y="1508"/>
                  </a:lnTo>
                  <a:lnTo>
                    <a:pt x="769" y="1509"/>
                  </a:lnTo>
                  <a:lnTo>
                    <a:pt x="769" y="1509"/>
                  </a:lnTo>
                  <a:lnTo>
                    <a:pt x="765" y="1512"/>
                  </a:lnTo>
                  <a:lnTo>
                    <a:pt x="765" y="1512"/>
                  </a:lnTo>
                  <a:lnTo>
                    <a:pt x="756" y="1519"/>
                  </a:lnTo>
                  <a:lnTo>
                    <a:pt x="756" y="1519"/>
                  </a:lnTo>
                  <a:lnTo>
                    <a:pt x="750" y="1524"/>
                  </a:lnTo>
                  <a:lnTo>
                    <a:pt x="750" y="1524"/>
                  </a:lnTo>
                  <a:lnTo>
                    <a:pt x="750" y="1524"/>
                  </a:lnTo>
                  <a:lnTo>
                    <a:pt x="750" y="1524"/>
                  </a:lnTo>
                  <a:lnTo>
                    <a:pt x="750" y="1524"/>
                  </a:lnTo>
                  <a:lnTo>
                    <a:pt x="750" y="1524"/>
                  </a:lnTo>
                  <a:lnTo>
                    <a:pt x="749" y="1524"/>
                  </a:lnTo>
                  <a:lnTo>
                    <a:pt x="749" y="1524"/>
                  </a:lnTo>
                  <a:lnTo>
                    <a:pt x="743" y="1522"/>
                  </a:lnTo>
                  <a:lnTo>
                    <a:pt x="734" y="1521"/>
                  </a:lnTo>
                  <a:lnTo>
                    <a:pt x="734" y="1521"/>
                  </a:lnTo>
                  <a:lnTo>
                    <a:pt x="720" y="1516"/>
                  </a:lnTo>
                  <a:lnTo>
                    <a:pt x="720" y="1516"/>
                  </a:lnTo>
                  <a:lnTo>
                    <a:pt x="705" y="1512"/>
                  </a:lnTo>
                  <a:lnTo>
                    <a:pt x="705" y="1512"/>
                  </a:lnTo>
                  <a:lnTo>
                    <a:pt x="697" y="1511"/>
                  </a:lnTo>
                  <a:lnTo>
                    <a:pt x="697" y="1511"/>
                  </a:lnTo>
                  <a:lnTo>
                    <a:pt x="691" y="1509"/>
                  </a:lnTo>
                  <a:lnTo>
                    <a:pt x="691" y="1509"/>
                  </a:lnTo>
                  <a:lnTo>
                    <a:pt x="686" y="1509"/>
                  </a:lnTo>
                  <a:lnTo>
                    <a:pt x="686" y="1509"/>
                  </a:lnTo>
                  <a:lnTo>
                    <a:pt x="676" y="1505"/>
                  </a:lnTo>
                  <a:lnTo>
                    <a:pt x="663" y="1502"/>
                  </a:lnTo>
                  <a:lnTo>
                    <a:pt x="663" y="1502"/>
                  </a:lnTo>
                  <a:lnTo>
                    <a:pt x="658" y="1501"/>
                  </a:lnTo>
                  <a:lnTo>
                    <a:pt x="658" y="1501"/>
                  </a:lnTo>
                  <a:lnTo>
                    <a:pt x="655" y="1501"/>
                  </a:lnTo>
                  <a:lnTo>
                    <a:pt x="655" y="1501"/>
                  </a:lnTo>
                  <a:lnTo>
                    <a:pt x="655" y="1499"/>
                  </a:lnTo>
                  <a:lnTo>
                    <a:pt x="655" y="1499"/>
                  </a:lnTo>
                  <a:lnTo>
                    <a:pt x="653" y="1496"/>
                  </a:lnTo>
                  <a:lnTo>
                    <a:pt x="653" y="1496"/>
                  </a:lnTo>
                  <a:lnTo>
                    <a:pt x="647" y="1489"/>
                  </a:lnTo>
                  <a:lnTo>
                    <a:pt x="647" y="1489"/>
                  </a:lnTo>
                  <a:lnTo>
                    <a:pt x="643" y="1486"/>
                  </a:lnTo>
                  <a:lnTo>
                    <a:pt x="637" y="1486"/>
                  </a:lnTo>
                  <a:lnTo>
                    <a:pt x="637" y="1486"/>
                  </a:lnTo>
                  <a:lnTo>
                    <a:pt x="637" y="1486"/>
                  </a:lnTo>
                  <a:lnTo>
                    <a:pt x="630" y="1486"/>
                  </a:lnTo>
                  <a:lnTo>
                    <a:pt x="621" y="1489"/>
                  </a:lnTo>
                  <a:lnTo>
                    <a:pt x="621" y="1489"/>
                  </a:lnTo>
                  <a:lnTo>
                    <a:pt x="613" y="1492"/>
                  </a:lnTo>
                  <a:lnTo>
                    <a:pt x="613" y="1492"/>
                  </a:lnTo>
                  <a:lnTo>
                    <a:pt x="607" y="1495"/>
                  </a:lnTo>
                  <a:lnTo>
                    <a:pt x="607" y="1495"/>
                  </a:lnTo>
                  <a:lnTo>
                    <a:pt x="601" y="1499"/>
                  </a:lnTo>
                  <a:lnTo>
                    <a:pt x="601" y="1499"/>
                  </a:lnTo>
                  <a:lnTo>
                    <a:pt x="598" y="1502"/>
                  </a:lnTo>
                  <a:lnTo>
                    <a:pt x="597" y="1506"/>
                  </a:lnTo>
                  <a:lnTo>
                    <a:pt x="597" y="1506"/>
                  </a:lnTo>
                  <a:lnTo>
                    <a:pt x="598" y="1512"/>
                  </a:lnTo>
                  <a:lnTo>
                    <a:pt x="598" y="1512"/>
                  </a:lnTo>
                  <a:lnTo>
                    <a:pt x="600" y="1521"/>
                  </a:lnTo>
                  <a:lnTo>
                    <a:pt x="600" y="1521"/>
                  </a:lnTo>
                  <a:lnTo>
                    <a:pt x="598" y="1528"/>
                  </a:lnTo>
                  <a:lnTo>
                    <a:pt x="598" y="1528"/>
                  </a:lnTo>
                  <a:lnTo>
                    <a:pt x="597" y="1531"/>
                  </a:lnTo>
                  <a:lnTo>
                    <a:pt x="594" y="1534"/>
                  </a:lnTo>
                  <a:lnTo>
                    <a:pt x="594" y="1534"/>
                  </a:lnTo>
                  <a:lnTo>
                    <a:pt x="589" y="1535"/>
                  </a:lnTo>
                  <a:lnTo>
                    <a:pt x="587" y="1535"/>
                  </a:lnTo>
                  <a:lnTo>
                    <a:pt x="587" y="1535"/>
                  </a:lnTo>
                  <a:lnTo>
                    <a:pt x="581" y="1534"/>
                  </a:lnTo>
                  <a:lnTo>
                    <a:pt x="581" y="1534"/>
                  </a:lnTo>
                  <a:lnTo>
                    <a:pt x="572" y="1528"/>
                  </a:lnTo>
                  <a:lnTo>
                    <a:pt x="572" y="1528"/>
                  </a:lnTo>
                  <a:lnTo>
                    <a:pt x="558" y="1521"/>
                  </a:lnTo>
                  <a:lnTo>
                    <a:pt x="558" y="1521"/>
                  </a:lnTo>
                  <a:lnTo>
                    <a:pt x="552" y="1519"/>
                  </a:lnTo>
                  <a:lnTo>
                    <a:pt x="545" y="1518"/>
                  </a:lnTo>
                  <a:lnTo>
                    <a:pt x="545" y="1518"/>
                  </a:lnTo>
                  <a:lnTo>
                    <a:pt x="540" y="1516"/>
                  </a:lnTo>
                  <a:lnTo>
                    <a:pt x="536" y="1514"/>
                  </a:lnTo>
                  <a:lnTo>
                    <a:pt x="536" y="1514"/>
                  </a:lnTo>
                  <a:lnTo>
                    <a:pt x="532" y="1509"/>
                  </a:lnTo>
                  <a:lnTo>
                    <a:pt x="532" y="1509"/>
                  </a:lnTo>
                  <a:lnTo>
                    <a:pt x="530" y="1506"/>
                  </a:lnTo>
                  <a:lnTo>
                    <a:pt x="530" y="1506"/>
                  </a:lnTo>
                  <a:lnTo>
                    <a:pt x="530" y="1502"/>
                  </a:lnTo>
                  <a:lnTo>
                    <a:pt x="527" y="1499"/>
                  </a:lnTo>
                  <a:lnTo>
                    <a:pt x="527" y="1499"/>
                  </a:lnTo>
                  <a:lnTo>
                    <a:pt x="524" y="1495"/>
                  </a:lnTo>
                  <a:lnTo>
                    <a:pt x="524" y="1495"/>
                  </a:lnTo>
                  <a:lnTo>
                    <a:pt x="521" y="1493"/>
                  </a:lnTo>
                  <a:lnTo>
                    <a:pt x="518" y="1493"/>
                  </a:lnTo>
                  <a:lnTo>
                    <a:pt x="518" y="1493"/>
                  </a:lnTo>
                  <a:lnTo>
                    <a:pt x="516" y="1492"/>
                  </a:lnTo>
                  <a:lnTo>
                    <a:pt x="516" y="1492"/>
                  </a:lnTo>
                  <a:lnTo>
                    <a:pt x="508" y="1489"/>
                  </a:lnTo>
                  <a:lnTo>
                    <a:pt x="504" y="1488"/>
                  </a:lnTo>
                  <a:lnTo>
                    <a:pt x="498" y="1486"/>
                  </a:lnTo>
                  <a:lnTo>
                    <a:pt x="498" y="1486"/>
                  </a:lnTo>
                  <a:lnTo>
                    <a:pt x="492" y="1486"/>
                  </a:lnTo>
                  <a:lnTo>
                    <a:pt x="492" y="1486"/>
                  </a:lnTo>
                  <a:lnTo>
                    <a:pt x="488" y="1486"/>
                  </a:lnTo>
                  <a:lnTo>
                    <a:pt x="488" y="1486"/>
                  </a:lnTo>
                  <a:lnTo>
                    <a:pt x="482" y="1486"/>
                  </a:lnTo>
                  <a:lnTo>
                    <a:pt x="476" y="1485"/>
                  </a:lnTo>
                  <a:lnTo>
                    <a:pt x="476" y="1485"/>
                  </a:lnTo>
                  <a:lnTo>
                    <a:pt x="472" y="1482"/>
                  </a:lnTo>
                  <a:lnTo>
                    <a:pt x="472" y="1482"/>
                  </a:lnTo>
                  <a:lnTo>
                    <a:pt x="468" y="1480"/>
                  </a:lnTo>
                  <a:lnTo>
                    <a:pt x="468" y="1480"/>
                  </a:lnTo>
                  <a:lnTo>
                    <a:pt x="462" y="1482"/>
                  </a:lnTo>
                  <a:lnTo>
                    <a:pt x="462" y="1482"/>
                  </a:lnTo>
                  <a:lnTo>
                    <a:pt x="461" y="1482"/>
                  </a:lnTo>
                  <a:lnTo>
                    <a:pt x="461" y="1482"/>
                  </a:lnTo>
                  <a:lnTo>
                    <a:pt x="459" y="1482"/>
                  </a:lnTo>
                  <a:lnTo>
                    <a:pt x="459" y="1482"/>
                  </a:lnTo>
                  <a:lnTo>
                    <a:pt x="459" y="1482"/>
                  </a:lnTo>
                  <a:lnTo>
                    <a:pt x="459" y="1482"/>
                  </a:lnTo>
                  <a:lnTo>
                    <a:pt x="459" y="1482"/>
                  </a:lnTo>
                  <a:lnTo>
                    <a:pt x="459" y="1482"/>
                  </a:lnTo>
                  <a:lnTo>
                    <a:pt x="459" y="1483"/>
                  </a:lnTo>
                  <a:lnTo>
                    <a:pt x="461" y="1482"/>
                  </a:lnTo>
                  <a:lnTo>
                    <a:pt x="459" y="1482"/>
                  </a:lnTo>
                  <a:lnTo>
                    <a:pt x="459" y="1483"/>
                  </a:lnTo>
                  <a:lnTo>
                    <a:pt x="461" y="1482"/>
                  </a:lnTo>
                  <a:lnTo>
                    <a:pt x="459" y="1485"/>
                  </a:lnTo>
                  <a:lnTo>
                    <a:pt x="462" y="1483"/>
                  </a:lnTo>
                  <a:lnTo>
                    <a:pt x="461" y="1482"/>
                  </a:lnTo>
                  <a:lnTo>
                    <a:pt x="459" y="1485"/>
                  </a:lnTo>
                  <a:lnTo>
                    <a:pt x="462" y="1483"/>
                  </a:lnTo>
                  <a:lnTo>
                    <a:pt x="461" y="1483"/>
                  </a:lnTo>
                  <a:lnTo>
                    <a:pt x="462" y="1483"/>
                  </a:lnTo>
                  <a:lnTo>
                    <a:pt x="462" y="1483"/>
                  </a:lnTo>
                  <a:lnTo>
                    <a:pt x="461" y="1483"/>
                  </a:lnTo>
                  <a:lnTo>
                    <a:pt x="462" y="1483"/>
                  </a:lnTo>
                  <a:lnTo>
                    <a:pt x="461" y="1483"/>
                  </a:lnTo>
                  <a:lnTo>
                    <a:pt x="462" y="1483"/>
                  </a:lnTo>
                  <a:lnTo>
                    <a:pt x="462" y="1483"/>
                  </a:lnTo>
                  <a:lnTo>
                    <a:pt x="461" y="1483"/>
                  </a:lnTo>
                  <a:lnTo>
                    <a:pt x="462" y="1483"/>
                  </a:lnTo>
                  <a:lnTo>
                    <a:pt x="462" y="1483"/>
                  </a:lnTo>
                  <a:lnTo>
                    <a:pt x="462" y="1482"/>
                  </a:lnTo>
                  <a:lnTo>
                    <a:pt x="462" y="1482"/>
                  </a:lnTo>
                  <a:lnTo>
                    <a:pt x="462" y="1479"/>
                  </a:lnTo>
                  <a:lnTo>
                    <a:pt x="462" y="1477"/>
                  </a:lnTo>
                  <a:lnTo>
                    <a:pt x="462" y="1477"/>
                  </a:lnTo>
                  <a:lnTo>
                    <a:pt x="462" y="1474"/>
                  </a:lnTo>
                  <a:lnTo>
                    <a:pt x="462" y="1474"/>
                  </a:lnTo>
                  <a:lnTo>
                    <a:pt x="461" y="1473"/>
                  </a:lnTo>
                  <a:lnTo>
                    <a:pt x="459" y="1473"/>
                  </a:lnTo>
                  <a:lnTo>
                    <a:pt x="459" y="1473"/>
                  </a:lnTo>
                  <a:lnTo>
                    <a:pt x="456" y="1473"/>
                  </a:lnTo>
                  <a:lnTo>
                    <a:pt x="456" y="1473"/>
                  </a:lnTo>
                  <a:lnTo>
                    <a:pt x="455" y="1473"/>
                  </a:lnTo>
                  <a:lnTo>
                    <a:pt x="455" y="1473"/>
                  </a:lnTo>
                  <a:lnTo>
                    <a:pt x="452" y="1473"/>
                  </a:lnTo>
                  <a:lnTo>
                    <a:pt x="449" y="1472"/>
                  </a:lnTo>
                  <a:lnTo>
                    <a:pt x="449" y="1472"/>
                  </a:lnTo>
                  <a:lnTo>
                    <a:pt x="449" y="1470"/>
                  </a:lnTo>
                  <a:lnTo>
                    <a:pt x="449" y="1470"/>
                  </a:lnTo>
                  <a:lnTo>
                    <a:pt x="448" y="1469"/>
                  </a:lnTo>
                  <a:lnTo>
                    <a:pt x="448" y="1469"/>
                  </a:lnTo>
                  <a:lnTo>
                    <a:pt x="450" y="1463"/>
                  </a:lnTo>
                  <a:lnTo>
                    <a:pt x="450" y="1463"/>
                  </a:lnTo>
                  <a:lnTo>
                    <a:pt x="453" y="1457"/>
                  </a:lnTo>
                  <a:lnTo>
                    <a:pt x="453" y="1457"/>
                  </a:lnTo>
                  <a:lnTo>
                    <a:pt x="456" y="1454"/>
                  </a:lnTo>
                  <a:lnTo>
                    <a:pt x="458" y="1450"/>
                  </a:lnTo>
                  <a:lnTo>
                    <a:pt x="458" y="1450"/>
                  </a:lnTo>
                  <a:lnTo>
                    <a:pt x="459" y="1441"/>
                  </a:lnTo>
                  <a:lnTo>
                    <a:pt x="459" y="1441"/>
                  </a:lnTo>
                  <a:lnTo>
                    <a:pt x="459" y="1437"/>
                  </a:lnTo>
                  <a:lnTo>
                    <a:pt x="459" y="1437"/>
                  </a:lnTo>
                  <a:lnTo>
                    <a:pt x="458" y="1434"/>
                  </a:lnTo>
                  <a:lnTo>
                    <a:pt x="458" y="1434"/>
                  </a:lnTo>
                  <a:lnTo>
                    <a:pt x="456" y="1431"/>
                  </a:lnTo>
                  <a:lnTo>
                    <a:pt x="456" y="1431"/>
                  </a:lnTo>
                  <a:lnTo>
                    <a:pt x="456" y="1427"/>
                  </a:lnTo>
                  <a:lnTo>
                    <a:pt x="456" y="1427"/>
                  </a:lnTo>
                  <a:lnTo>
                    <a:pt x="456" y="1419"/>
                  </a:lnTo>
                  <a:lnTo>
                    <a:pt x="456" y="1419"/>
                  </a:lnTo>
                  <a:lnTo>
                    <a:pt x="459" y="1415"/>
                  </a:lnTo>
                  <a:lnTo>
                    <a:pt x="459" y="1415"/>
                  </a:lnTo>
                  <a:lnTo>
                    <a:pt x="459" y="1412"/>
                  </a:lnTo>
                  <a:lnTo>
                    <a:pt x="459" y="1412"/>
                  </a:lnTo>
                  <a:lnTo>
                    <a:pt x="461" y="1411"/>
                  </a:lnTo>
                  <a:lnTo>
                    <a:pt x="461" y="1411"/>
                  </a:lnTo>
                  <a:lnTo>
                    <a:pt x="459" y="1408"/>
                  </a:lnTo>
                  <a:lnTo>
                    <a:pt x="459" y="1408"/>
                  </a:lnTo>
                  <a:lnTo>
                    <a:pt x="456" y="1406"/>
                  </a:lnTo>
                  <a:lnTo>
                    <a:pt x="455" y="1406"/>
                  </a:lnTo>
                  <a:lnTo>
                    <a:pt x="455" y="1406"/>
                  </a:lnTo>
                  <a:lnTo>
                    <a:pt x="455" y="1406"/>
                  </a:lnTo>
                  <a:lnTo>
                    <a:pt x="452" y="1405"/>
                  </a:lnTo>
                  <a:lnTo>
                    <a:pt x="452" y="1405"/>
                  </a:lnTo>
                  <a:lnTo>
                    <a:pt x="446" y="1401"/>
                  </a:lnTo>
                  <a:lnTo>
                    <a:pt x="446" y="1401"/>
                  </a:lnTo>
                  <a:lnTo>
                    <a:pt x="443" y="1398"/>
                  </a:lnTo>
                  <a:lnTo>
                    <a:pt x="440" y="1398"/>
                  </a:lnTo>
                  <a:lnTo>
                    <a:pt x="440" y="1398"/>
                  </a:lnTo>
                  <a:lnTo>
                    <a:pt x="434" y="1399"/>
                  </a:lnTo>
                  <a:lnTo>
                    <a:pt x="429" y="1401"/>
                  </a:lnTo>
                  <a:lnTo>
                    <a:pt x="429" y="1401"/>
                  </a:lnTo>
                  <a:lnTo>
                    <a:pt x="420" y="1405"/>
                  </a:lnTo>
                  <a:lnTo>
                    <a:pt x="420" y="1405"/>
                  </a:lnTo>
                  <a:lnTo>
                    <a:pt x="417" y="1406"/>
                  </a:lnTo>
                  <a:lnTo>
                    <a:pt x="417" y="1406"/>
                  </a:lnTo>
                  <a:lnTo>
                    <a:pt x="403" y="1404"/>
                  </a:lnTo>
                  <a:lnTo>
                    <a:pt x="403" y="1404"/>
                  </a:lnTo>
                  <a:lnTo>
                    <a:pt x="400" y="1404"/>
                  </a:lnTo>
                  <a:lnTo>
                    <a:pt x="400" y="1404"/>
                  </a:lnTo>
                  <a:lnTo>
                    <a:pt x="391" y="1405"/>
                  </a:lnTo>
                  <a:lnTo>
                    <a:pt x="384" y="1406"/>
                  </a:lnTo>
                  <a:lnTo>
                    <a:pt x="384" y="1406"/>
                  </a:lnTo>
                  <a:lnTo>
                    <a:pt x="371" y="1412"/>
                  </a:lnTo>
                  <a:lnTo>
                    <a:pt x="371" y="1412"/>
                  </a:lnTo>
                  <a:lnTo>
                    <a:pt x="366" y="1412"/>
                  </a:lnTo>
                  <a:lnTo>
                    <a:pt x="366" y="1412"/>
                  </a:lnTo>
                  <a:lnTo>
                    <a:pt x="364" y="1411"/>
                  </a:lnTo>
                  <a:lnTo>
                    <a:pt x="364" y="1411"/>
                  </a:lnTo>
                  <a:lnTo>
                    <a:pt x="359" y="1408"/>
                  </a:lnTo>
                  <a:lnTo>
                    <a:pt x="359" y="1408"/>
                  </a:lnTo>
                  <a:lnTo>
                    <a:pt x="356" y="1408"/>
                  </a:lnTo>
                  <a:lnTo>
                    <a:pt x="353" y="1408"/>
                  </a:lnTo>
                  <a:lnTo>
                    <a:pt x="353" y="1408"/>
                  </a:lnTo>
                  <a:lnTo>
                    <a:pt x="336" y="1408"/>
                  </a:lnTo>
                  <a:lnTo>
                    <a:pt x="336" y="1408"/>
                  </a:lnTo>
                  <a:lnTo>
                    <a:pt x="335" y="1408"/>
                  </a:lnTo>
                  <a:lnTo>
                    <a:pt x="335" y="1408"/>
                  </a:lnTo>
                  <a:lnTo>
                    <a:pt x="329" y="1408"/>
                  </a:lnTo>
                  <a:lnTo>
                    <a:pt x="329" y="1408"/>
                  </a:lnTo>
                  <a:lnTo>
                    <a:pt x="329" y="1408"/>
                  </a:lnTo>
                  <a:lnTo>
                    <a:pt x="329" y="1408"/>
                  </a:lnTo>
                  <a:lnTo>
                    <a:pt x="327" y="1406"/>
                  </a:lnTo>
                  <a:lnTo>
                    <a:pt x="327" y="1406"/>
                  </a:lnTo>
                  <a:lnTo>
                    <a:pt x="324" y="1405"/>
                  </a:lnTo>
                  <a:lnTo>
                    <a:pt x="324" y="1405"/>
                  </a:lnTo>
                  <a:lnTo>
                    <a:pt x="322" y="1404"/>
                  </a:lnTo>
                  <a:lnTo>
                    <a:pt x="322" y="1404"/>
                  </a:lnTo>
                  <a:lnTo>
                    <a:pt x="317" y="1405"/>
                  </a:lnTo>
                  <a:lnTo>
                    <a:pt x="317" y="1405"/>
                  </a:lnTo>
                  <a:lnTo>
                    <a:pt x="314" y="1409"/>
                  </a:lnTo>
                  <a:lnTo>
                    <a:pt x="314" y="1409"/>
                  </a:lnTo>
                  <a:lnTo>
                    <a:pt x="311" y="1414"/>
                  </a:lnTo>
                  <a:lnTo>
                    <a:pt x="311" y="1414"/>
                  </a:lnTo>
                  <a:lnTo>
                    <a:pt x="311" y="1414"/>
                  </a:lnTo>
                  <a:lnTo>
                    <a:pt x="308" y="1415"/>
                  </a:lnTo>
                  <a:lnTo>
                    <a:pt x="308" y="1415"/>
                  </a:lnTo>
                  <a:lnTo>
                    <a:pt x="301" y="1417"/>
                  </a:lnTo>
                  <a:lnTo>
                    <a:pt x="301" y="1417"/>
                  </a:lnTo>
                  <a:lnTo>
                    <a:pt x="293" y="1419"/>
                  </a:lnTo>
                  <a:lnTo>
                    <a:pt x="293" y="1419"/>
                  </a:lnTo>
                  <a:lnTo>
                    <a:pt x="288" y="1421"/>
                  </a:lnTo>
                  <a:lnTo>
                    <a:pt x="284" y="1424"/>
                  </a:lnTo>
                  <a:lnTo>
                    <a:pt x="284" y="1424"/>
                  </a:lnTo>
                  <a:lnTo>
                    <a:pt x="278" y="1430"/>
                  </a:lnTo>
                  <a:lnTo>
                    <a:pt x="278" y="1430"/>
                  </a:lnTo>
                  <a:lnTo>
                    <a:pt x="272" y="1431"/>
                  </a:lnTo>
                  <a:lnTo>
                    <a:pt x="272" y="1431"/>
                  </a:lnTo>
                  <a:lnTo>
                    <a:pt x="266" y="1431"/>
                  </a:lnTo>
                  <a:lnTo>
                    <a:pt x="261" y="1432"/>
                  </a:lnTo>
                  <a:lnTo>
                    <a:pt x="261" y="1432"/>
                  </a:lnTo>
                  <a:lnTo>
                    <a:pt x="256" y="1435"/>
                  </a:lnTo>
                  <a:lnTo>
                    <a:pt x="253" y="1438"/>
                  </a:lnTo>
                  <a:lnTo>
                    <a:pt x="253" y="1438"/>
                  </a:lnTo>
                  <a:lnTo>
                    <a:pt x="248" y="1444"/>
                  </a:lnTo>
                  <a:lnTo>
                    <a:pt x="248" y="1444"/>
                  </a:lnTo>
                  <a:lnTo>
                    <a:pt x="245" y="1446"/>
                  </a:lnTo>
                  <a:lnTo>
                    <a:pt x="245" y="1446"/>
                  </a:lnTo>
                  <a:lnTo>
                    <a:pt x="243" y="1444"/>
                  </a:lnTo>
                  <a:lnTo>
                    <a:pt x="243" y="1444"/>
                  </a:lnTo>
                  <a:lnTo>
                    <a:pt x="239" y="1441"/>
                  </a:lnTo>
                  <a:lnTo>
                    <a:pt x="239" y="1441"/>
                  </a:lnTo>
                  <a:lnTo>
                    <a:pt x="235" y="1441"/>
                  </a:lnTo>
                  <a:lnTo>
                    <a:pt x="235" y="1441"/>
                  </a:lnTo>
                  <a:lnTo>
                    <a:pt x="230" y="1440"/>
                  </a:lnTo>
                  <a:lnTo>
                    <a:pt x="230" y="1440"/>
                  </a:lnTo>
                  <a:lnTo>
                    <a:pt x="213" y="1441"/>
                  </a:lnTo>
                  <a:lnTo>
                    <a:pt x="213" y="1441"/>
                  </a:lnTo>
                  <a:lnTo>
                    <a:pt x="210" y="1441"/>
                  </a:lnTo>
                  <a:lnTo>
                    <a:pt x="210" y="1441"/>
                  </a:lnTo>
                  <a:lnTo>
                    <a:pt x="206" y="1440"/>
                  </a:lnTo>
                  <a:lnTo>
                    <a:pt x="200" y="1435"/>
                  </a:lnTo>
                  <a:lnTo>
                    <a:pt x="200" y="1435"/>
                  </a:lnTo>
                  <a:lnTo>
                    <a:pt x="196" y="1432"/>
                  </a:lnTo>
                  <a:lnTo>
                    <a:pt x="196" y="1432"/>
                  </a:lnTo>
                  <a:lnTo>
                    <a:pt x="194" y="1431"/>
                  </a:lnTo>
                  <a:lnTo>
                    <a:pt x="194" y="1431"/>
                  </a:lnTo>
                  <a:lnTo>
                    <a:pt x="191" y="1430"/>
                  </a:lnTo>
                  <a:lnTo>
                    <a:pt x="191" y="1430"/>
                  </a:lnTo>
                  <a:lnTo>
                    <a:pt x="191" y="1430"/>
                  </a:lnTo>
                  <a:lnTo>
                    <a:pt x="188" y="1431"/>
                  </a:lnTo>
                  <a:lnTo>
                    <a:pt x="187" y="1432"/>
                  </a:lnTo>
                  <a:lnTo>
                    <a:pt x="187" y="1432"/>
                  </a:lnTo>
                  <a:lnTo>
                    <a:pt x="181" y="1438"/>
                  </a:lnTo>
                  <a:lnTo>
                    <a:pt x="177" y="1447"/>
                  </a:lnTo>
                  <a:lnTo>
                    <a:pt x="177" y="1447"/>
                  </a:lnTo>
                  <a:lnTo>
                    <a:pt x="171" y="1460"/>
                  </a:lnTo>
                  <a:lnTo>
                    <a:pt x="171" y="1460"/>
                  </a:lnTo>
                  <a:lnTo>
                    <a:pt x="167" y="1466"/>
                  </a:lnTo>
                  <a:lnTo>
                    <a:pt x="161" y="1472"/>
                  </a:lnTo>
                  <a:lnTo>
                    <a:pt x="161" y="1472"/>
                  </a:lnTo>
                  <a:lnTo>
                    <a:pt x="156" y="1474"/>
                  </a:lnTo>
                  <a:lnTo>
                    <a:pt x="151" y="1476"/>
                  </a:lnTo>
                  <a:lnTo>
                    <a:pt x="151" y="1476"/>
                  </a:lnTo>
                  <a:lnTo>
                    <a:pt x="145" y="1477"/>
                  </a:lnTo>
                  <a:lnTo>
                    <a:pt x="145" y="1477"/>
                  </a:lnTo>
                  <a:lnTo>
                    <a:pt x="142" y="1477"/>
                  </a:lnTo>
                  <a:lnTo>
                    <a:pt x="140" y="1480"/>
                  </a:lnTo>
                  <a:lnTo>
                    <a:pt x="140" y="1480"/>
                  </a:lnTo>
                  <a:lnTo>
                    <a:pt x="133" y="1488"/>
                  </a:lnTo>
                  <a:lnTo>
                    <a:pt x="133" y="1488"/>
                  </a:lnTo>
                  <a:lnTo>
                    <a:pt x="130" y="1493"/>
                  </a:lnTo>
                  <a:lnTo>
                    <a:pt x="129" y="1499"/>
                  </a:lnTo>
                  <a:lnTo>
                    <a:pt x="129" y="1499"/>
                  </a:lnTo>
                  <a:lnTo>
                    <a:pt x="127" y="1502"/>
                  </a:lnTo>
                  <a:lnTo>
                    <a:pt x="127" y="1502"/>
                  </a:lnTo>
                  <a:lnTo>
                    <a:pt x="125" y="1505"/>
                  </a:lnTo>
                  <a:lnTo>
                    <a:pt x="125" y="1505"/>
                  </a:lnTo>
                  <a:lnTo>
                    <a:pt x="120" y="1509"/>
                  </a:lnTo>
                  <a:lnTo>
                    <a:pt x="120" y="1509"/>
                  </a:lnTo>
                  <a:lnTo>
                    <a:pt x="117" y="1515"/>
                  </a:lnTo>
                  <a:lnTo>
                    <a:pt x="117" y="1521"/>
                  </a:lnTo>
                  <a:lnTo>
                    <a:pt x="117" y="1521"/>
                  </a:lnTo>
                  <a:lnTo>
                    <a:pt x="119" y="1544"/>
                  </a:lnTo>
                  <a:lnTo>
                    <a:pt x="119" y="1544"/>
                  </a:lnTo>
                  <a:lnTo>
                    <a:pt x="119" y="1544"/>
                  </a:lnTo>
                  <a:lnTo>
                    <a:pt x="119" y="1548"/>
                  </a:lnTo>
                  <a:lnTo>
                    <a:pt x="116" y="1553"/>
                  </a:lnTo>
                  <a:lnTo>
                    <a:pt x="116" y="1553"/>
                  </a:lnTo>
                  <a:lnTo>
                    <a:pt x="110" y="1560"/>
                  </a:lnTo>
                  <a:lnTo>
                    <a:pt x="103" y="1564"/>
                  </a:lnTo>
                  <a:lnTo>
                    <a:pt x="103" y="1564"/>
                  </a:lnTo>
                  <a:lnTo>
                    <a:pt x="96" y="1569"/>
                  </a:lnTo>
                  <a:lnTo>
                    <a:pt x="90" y="1572"/>
                  </a:lnTo>
                  <a:lnTo>
                    <a:pt x="90" y="1572"/>
                  </a:lnTo>
                  <a:lnTo>
                    <a:pt x="81" y="1574"/>
                  </a:lnTo>
                  <a:lnTo>
                    <a:pt x="75" y="1579"/>
                  </a:lnTo>
                  <a:lnTo>
                    <a:pt x="70" y="1583"/>
                  </a:lnTo>
                  <a:lnTo>
                    <a:pt x="65" y="1587"/>
                  </a:lnTo>
                  <a:lnTo>
                    <a:pt x="65" y="1587"/>
                  </a:lnTo>
                  <a:lnTo>
                    <a:pt x="59" y="1598"/>
                  </a:lnTo>
                  <a:lnTo>
                    <a:pt x="59" y="1598"/>
                  </a:lnTo>
                  <a:lnTo>
                    <a:pt x="56" y="1601"/>
                  </a:lnTo>
                  <a:lnTo>
                    <a:pt x="52" y="1605"/>
                  </a:lnTo>
                  <a:lnTo>
                    <a:pt x="52" y="1605"/>
                  </a:lnTo>
                  <a:lnTo>
                    <a:pt x="49" y="1608"/>
                  </a:lnTo>
                  <a:lnTo>
                    <a:pt x="46" y="1612"/>
                  </a:lnTo>
                  <a:lnTo>
                    <a:pt x="46" y="1612"/>
                  </a:lnTo>
                  <a:lnTo>
                    <a:pt x="43" y="1618"/>
                  </a:lnTo>
                  <a:lnTo>
                    <a:pt x="41" y="1625"/>
                  </a:lnTo>
                  <a:lnTo>
                    <a:pt x="41" y="1625"/>
                  </a:lnTo>
                  <a:lnTo>
                    <a:pt x="39" y="1631"/>
                  </a:lnTo>
                  <a:lnTo>
                    <a:pt x="39" y="1631"/>
                  </a:lnTo>
                  <a:lnTo>
                    <a:pt x="39" y="1635"/>
                  </a:lnTo>
                  <a:lnTo>
                    <a:pt x="41" y="1635"/>
                  </a:lnTo>
                  <a:lnTo>
                    <a:pt x="39" y="1635"/>
                  </a:lnTo>
                  <a:lnTo>
                    <a:pt x="39" y="1635"/>
                  </a:lnTo>
                  <a:lnTo>
                    <a:pt x="41" y="1635"/>
                  </a:lnTo>
                  <a:lnTo>
                    <a:pt x="39" y="1635"/>
                  </a:lnTo>
                  <a:lnTo>
                    <a:pt x="39" y="1635"/>
                  </a:lnTo>
                  <a:lnTo>
                    <a:pt x="39" y="1635"/>
                  </a:lnTo>
                  <a:lnTo>
                    <a:pt x="35" y="1641"/>
                  </a:lnTo>
                  <a:lnTo>
                    <a:pt x="35" y="1641"/>
                  </a:lnTo>
                  <a:lnTo>
                    <a:pt x="25" y="1651"/>
                  </a:lnTo>
                  <a:lnTo>
                    <a:pt x="25" y="1651"/>
                  </a:lnTo>
                  <a:lnTo>
                    <a:pt x="20" y="1657"/>
                  </a:lnTo>
                  <a:lnTo>
                    <a:pt x="20" y="1657"/>
                  </a:lnTo>
                  <a:lnTo>
                    <a:pt x="17" y="1663"/>
                  </a:lnTo>
                  <a:lnTo>
                    <a:pt x="17" y="1663"/>
                  </a:lnTo>
                  <a:lnTo>
                    <a:pt x="16" y="1669"/>
                  </a:lnTo>
                  <a:lnTo>
                    <a:pt x="13" y="1674"/>
                  </a:lnTo>
                  <a:lnTo>
                    <a:pt x="13" y="1674"/>
                  </a:lnTo>
                  <a:lnTo>
                    <a:pt x="10" y="1679"/>
                  </a:lnTo>
                  <a:lnTo>
                    <a:pt x="7" y="1682"/>
                  </a:lnTo>
                  <a:lnTo>
                    <a:pt x="7" y="1682"/>
                  </a:lnTo>
                  <a:lnTo>
                    <a:pt x="4" y="1685"/>
                  </a:lnTo>
                  <a:lnTo>
                    <a:pt x="4" y="1685"/>
                  </a:lnTo>
                  <a:lnTo>
                    <a:pt x="3" y="1690"/>
                  </a:lnTo>
                  <a:lnTo>
                    <a:pt x="3" y="1698"/>
                  </a:lnTo>
                  <a:lnTo>
                    <a:pt x="3" y="1698"/>
                  </a:lnTo>
                  <a:lnTo>
                    <a:pt x="3" y="1703"/>
                  </a:lnTo>
                  <a:lnTo>
                    <a:pt x="3" y="1703"/>
                  </a:lnTo>
                  <a:lnTo>
                    <a:pt x="6" y="1709"/>
                  </a:lnTo>
                  <a:lnTo>
                    <a:pt x="6" y="1709"/>
                  </a:lnTo>
                  <a:lnTo>
                    <a:pt x="12" y="1715"/>
                  </a:lnTo>
                  <a:lnTo>
                    <a:pt x="12" y="1715"/>
                  </a:lnTo>
                  <a:lnTo>
                    <a:pt x="16" y="1719"/>
                  </a:lnTo>
                  <a:lnTo>
                    <a:pt x="16" y="1719"/>
                  </a:lnTo>
                  <a:lnTo>
                    <a:pt x="17" y="1721"/>
                  </a:lnTo>
                  <a:lnTo>
                    <a:pt x="17" y="1721"/>
                  </a:lnTo>
                  <a:lnTo>
                    <a:pt x="16" y="1724"/>
                  </a:lnTo>
                  <a:lnTo>
                    <a:pt x="16" y="1724"/>
                  </a:lnTo>
                  <a:lnTo>
                    <a:pt x="14" y="1731"/>
                  </a:lnTo>
                  <a:lnTo>
                    <a:pt x="14" y="1731"/>
                  </a:lnTo>
                  <a:lnTo>
                    <a:pt x="13" y="1732"/>
                  </a:lnTo>
                  <a:lnTo>
                    <a:pt x="13" y="1732"/>
                  </a:lnTo>
                  <a:lnTo>
                    <a:pt x="14" y="1737"/>
                  </a:lnTo>
                  <a:lnTo>
                    <a:pt x="17" y="1741"/>
                  </a:lnTo>
                  <a:lnTo>
                    <a:pt x="17" y="1741"/>
                  </a:lnTo>
                  <a:lnTo>
                    <a:pt x="19" y="1744"/>
                  </a:lnTo>
                  <a:lnTo>
                    <a:pt x="22" y="1750"/>
                  </a:lnTo>
                  <a:lnTo>
                    <a:pt x="22" y="1750"/>
                  </a:lnTo>
                  <a:lnTo>
                    <a:pt x="22" y="1753"/>
                  </a:lnTo>
                  <a:lnTo>
                    <a:pt x="22" y="1753"/>
                  </a:lnTo>
                  <a:lnTo>
                    <a:pt x="22" y="1757"/>
                  </a:lnTo>
                  <a:lnTo>
                    <a:pt x="19" y="1763"/>
                  </a:lnTo>
                  <a:lnTo>
                    <a:pt x="19" y="1763"/>
                  </a:lnTo>
                  <a:lnTo>
                    <a:pt x="17" y="1767"/>
                  </a:lnTo>
                  <a:lnTo>
                    <a:pt x="16" y="1774"/>
                  </a:lnTo>
                  <a:lnTo>
                    <a:pt x="16" y="1774"/>
                  </a:lnTo>
                  <a:lnTo>
                    <a:pt x="16" y="1776"/>
                  </a:lnTo>
                  <a:lnTo>
                    <a:pt x="16" y="1776"/>
                  </a:lnTo>
                  <a:lnTo>
                    <a:pt x="16" y="1782"/>
                  </a:lnTo>
                  <a:lnTo>
                    <a:pt x="14" y="1787"/>
                  </a:lnTo>
                  <a:lnTo>
                    <a:pt x="14" y="1787"/>
                  </a:lnTo>
                  <a:lnTo>
                    <a:pt x="10" y="1795"/>
                  </a:lnTo>
                  <a:lnTo>
                    <a:pt x="10" y="1795"/>
                  </a:lnTo>
                  <a:lnTo>
                    <a:pt x="4" y="1800"/>
                  </a:lnTo>
                  <a:lnTo>
                    <a:pt x="4" y="1800"/>
                  </a:lnTo>
                  <a:lnTo>
                    <a:pt x="1" y="1805"/>
                  </a:lnTo>
                  <a:lnTo>
                    <a:pt x="0" y="1809"/>
                  </a:lnTo>
                  <a:lnTo>
                    <a:pt x="0" y="1809"/>
                  </a:lnTo>
                  <a:lnTo>
                    <a:pt x="1" y="1812"/>
                  </a:lnTo>
                  <a:lnTo>
                    <a:pt x="3" y="1815"/>
                  </a:lnTo>
                  <a:lnTo>
                    <a:pt x="3" y="1815"/>
                  </a:lnTo>
                  <a:lnTo>
                    <a:pt x="6" y="1816"/>
                  </a:lnTo>
                  <a:lnTo>
                    <a:pt x="6" y="1816"/>
                  </a:lnTo>
                  <a:lnTo>
                    <a:pt x="7" y="1821"/>
                  </a:lnTo>
                  <a:lnTo>
                    <a:pt x="7" y="1821"/>
                  </a:lnTo>
                  <a:lnTo>
                    <a:pt x="10" y="1828"/>
                  </a:lnTo>
                  <a:lnTo>
                    <a:pt x="10" y="1828"/>
                  </a:lnTo>
                  <a:lnTo>
                    <a:pt x="12" y="1834"/>
                  </a:lnTo>
                  <a:lnTo>
                    <a:pt x="12" y="1834"/>
                  </a:lnTo>
                  <a:lnTo>
                    <a:pt x="12" y="1837"/>
                  </a:lnTo>
                  <a:lnTo>
                    <a:pt x="12" y="1837"/>
                  </a:lnTo>
                  <a:lnTo>
                    <a:pt x="9" y="1842"/>
                  </a:lnTo>
                  <a:lnTo>
                    <a:pt x="9" y="1842"/>
                  </a:lnTo>
                  <a:lnTo>
                    <a:pt x="9" y="1844"/>
                  </a:lnTo>
                  <a:lnTo>
                    <a:pt x="9" y="1844"/>
                  </a:lnTo>
                  <a:lnTo>
                    <a:pt x="9" y="1847"/>
                  </a:lnTo>
                  <a:lnTo>
                    <a:pt x="10" y="1850"/>
                  </a:lnTo>
                  <a:lnTo>
                    <a:pt x="10" y="1850"/>
                  </a:lnTo>
                  <a:lnTo>
                    <a:pt x="13" y="1853"/>
                  </a:lnTo>
                  <a:lnTo>
                    <a:pt x="16" y="1854"/>
                  </a:lnTo>
                  <a:lnTo>
                    <a:pt x="16" y="1854"/>
                  </a:lnTo>
                  <a:lnTo>
                    <a:pt x="25" y="1860"/>
                  </a:lnTo>
                  <a:lnTo>
                    <a:pt x="25" y="1860"/>
                  </a:lnTo>
                  <a:lnTo>
                    <a:pt x="29" y="1863"/>
                  </a:lnTo>
                  <a:lnTo>
                    <a:pt x="29" y="1863"/>
                  </a:lnTo>
                  <a:lnTo>
                    <a:pt x="29" y="1866"/>
                  </a:lnTo>
                  <a:lnTo>
                    <a:pt x="29" y="1866"/>
                  </a:lnTo>
                  <a:lnTo>
                    <a:pt x="30" y="1867"/>
                  </a:lnTo>
                  <a:lnTo>
                    <a:pt x="30" y="1867"/>
                  </a:lnTo>
                  <a:lnTo>
                    <a:pt x="32" y="1868"/>
                  </a:lnTo>
                  <a:lnTo>
                    <a:pt x="32" y="1868"/>
                  </a:lnTo>
                  <a:lnTo>
                    <a:pt x="32" y="1870"/>
                  </a:lnTo>
                  <a:lnTo>
                    <a:pt x="32" y="1870"/>
                  </a:lnTo>
                  <a:lnTo>
                    <a:pt x="36" y="1874"/>
                  </a:lnTo>
                  <a:lnTo>
                    <a:pt x="45" y="1880"/>
                  </a:lnTo>
                  <a:lnTo>
                    <a:pt x="45" y="1880"/>
                  </a:lnTo>
                  <a:lnTo>
                    <a:pt x="49" y="1883"/>
                  </a:lnTo>
                  <a:lnTo>
                    <a:pt x="51" y="1884"/>
                  </a:lnTo>
                  <a:lnTo>
                    <a:pt x="51" y="1884"/>
                  </a:lnTo>
                  <a:lnTo>
                    <a:pt x="52" y="1886"/>
                  </a:lnTo>
                  <a:lnTo>
                    <a:pt x="52" y="1886"/>
                  </a:lnTo>
                  <a:lnTo>
                    <a:pt x="54" y="1889"/>
                  </a:lnTo>
                  <a:lnTo>
                    <a:pt x="54" y="1889"/>
                  </a:lnTo>
                  <a:lnTo>
                    <a:pt x="58" y="1896"/>
                  </a:lnTo>
                  <a:lnTo>
                    <a:pt x="58" y="1896"/>
                  </a:lnTo>
                  <a:lnTo>
                    <a:pt x="64" y="1900"/>
                  </a:lnTo>
                  <a:lnTo>
                    <a:pt x="64" y="1899"/>
                  </a:lnTo>
                  <a:lnTo>
                    <a:pt x="64" y="1900"/>
                  </a:lnTo>
                  <a:lnTo>
                    <a:pt x="64" y="1900"/>
                  </a:lnTo>
                  <a:lnTo>
                    <a:pt x="64" y="1899"/>
                  </a:lnTo>
                  <a:lnTo>
                    <a:pt x="64" y="1900"/>
                  </a:lnTo>
                  <a:lnTo>
                    <a:pt x="64" y="1900"/>
                  </a:lnTo>
                  <a:lnTo>
                    <a:pt x="64" y="1900"/>
                  </a:lnTo>
                  <a:lnTo>
                    <a:pt x="64" y="1900"/>
                  </a:lnTo>
                  <a:lnTo>
                    <a:pt x="64" y="1900"/>
                  </a:lnTo>
                  <a:lnTo>
                    <a:pt x="64" y="1900"/>
                  </a:lnTo>
                  <a:lnTo>
                    <a:pt x="64" y="1900"/>
                  </a:lnTo>
                  <a:lnTo>
                    <a:pt x="65" y="1903"/>
                  </a:lnTo>
                  <a:lnTo>
                    <a:pt x="65" y="1903"/>
                  </a:lnTo>
                  <a:lnTo>
                    <a:pt x="67" y="1910"/>
                  </a:lnTo>
                  <a:lnTo>
                    <a:pt x="67" y="1910"/>
                  </a:lnTo>
                  <a:lnTo>
                    <a:pt x="68" y="1913"/>
                  </a:lnTo>
                  <a:lnTo>
                    <a:pt x="68" y="1913"/>
                  </a:lnTo>
                  <a:lnTo>
                    <a:pt x="70" y="1916"/>
                  </a:lnTo>
                  <a:lnTo>
                    <a:pt x="70" y="1916"/>
                  </a:lnTo>
                  <a:lnTo>
                    <a:pt x="72" y="1922"/>
                  </a:lnTo>
                  <a:lnTo>
                    <a:pt x="77" y="1928"/>
                  </a:lnTo>
                  <a:lnTo>
                    <a:pt x="77" y="1928"/>
                  </a:lnTo>
                  <a:lnTo>
                    <a:pt x="81" y="1932"/>
                  </a:lnTo>
                  <a:lnTo>
                    <a:pt x="87" y="1935"/>
                  </a:lnTo>
                  <a:lnTo>
                    <a:pt x="87" y="1935"/>
                  </a:lnTo>
                  <a:lnTo>
                    <a:pt x="98" y="1942"/>
                  </a:lnTo>
                  <a:lnTo>
                    <a:pt x="98" y="1942"/>
                  </a:lnTo>
                  <a:lnTo>
                    <a:pt x="132" y="1966"/>
                  </a:lnTo>
                  <a:lnTo>
                    <a:pt x="132" y="1966"/>
                  </a:lnTo>
                  <a:lnTo>
                    <a:pt x="146" y="1973"/>
                  </a:lnTo>
                  <a:lnTo>
                    <a:pt x="161" y="1977"/>
                  </a:lnTo>
                  <a:lnTo>
                    <a:pt x="161" y="1977"/>
                  </a:lnTo>
                  <a:lnTo>
                    <a:pt x="162" y="1977"/>
                  </a:lnTo>
                  <a:lnTo>
                    <a:pt x="162" y="1977"/>
                  </a:lnTo>
                  <a:lnTo>
                    <a:pt x="172" y="1974"/>
                  </a:lnTo>
                  <a:lnTo>
                    <a:pt x="172" y="1974"/>
                  </a:lnTo>
                  <a:lnTo>
                    <a:pt x="194" y="1967"/>
                  </a:lnTo>
                  <a:lnTo>
                    <a:pt x="194" y="1967"/>
                  </a:lnTo>
                  <a:lnTo>
                    <a:pt x="204" y="1964"/>
                  </a:lnTo>
                  <a:lnTo>
                    <a:pt x="204" y="1964"/>
                  </a:lnTo>
                  <a:lnTo>
                    <a:pt x="210" y="1963"/>
                  </a:lnTo>
                  <a:lnTo>
                    <a:pt x="211" y="1963"/>
                  </a:lnTo>
                  <a:lnTo>
                    <a:pt x="211" y="1963"/>
                  </a:lnTo>
                  <a:lnTo>
                    <a:pt x="220" y="1964"/>
                  </a:lnTo>
                  <a:lnTo>
                    <a:pt x="230" y="1967"/>
                  </a:lnTo>
                  <a:lnTo>
                    <a:pt x="230" y="1967"/>
                  </a:lnTo>
                  <a:lnTo>
                    <a:pt x="251" y="1973"/>
                  </a:lnTo>
                  <a:lnTo>
                    <a:pt x="251" y="1973"/>
                  </a:lnTo>
                  <a:lnTo>
                    <a:pt x="252" y="1973"/>
                  </a:lnTo>
                  <a:lnTo>
                    <a:pt x="252" y="1973"/>
                  </a:lnTo>
                  <a:lnTo>
                    <a:pt x="258" y="1971"/>
                  </a:lnTo>
                  <a:lnTo>
                    <a:pt x="266" y="1968"/>
                  </a:lnTo>
                  <a:lnTo>
                    <a:pt x="266" y="1968"/>
                  </a:lnTo>
                  <a:lnTo>
                    <a:pt x="294" y="1957"/>
                  </a:lnTo>
                  <a:lnTo>
                    <a:pt x="294" y="1957"/>
                  </a:lnTo>
                  <a:lnTo>
                    <a:pt x="304" y="1952"/>
                  </a:lnTo>
                  <a:lnTo>
                    <a:pt x="304" y="1952"/>
                  </a:lnTo>
                  <a:lnTo>
                    <a:pt x="307" y="1950"/>
                  </a:lnTo>
                  <a:lnTo>
                    <a:pt x="307" y="1950"/>
                  </a:lnTo>
                  <a:lnTo>
                    <a:pt x="310" y="1948"/>
                  </a:lnTo>
                  <a:lnTo>
                    <a:pt x="308" y="1948"/>
                  </a:lnTo>
                  <a:lnTo>
                    <a:pt x="310" y="1950"/>
                  </a:lnTo>
                  <a:lnTo>
                    <a:pt x="310" y="1948"/>
                  </a:lnTo>
                  <a:lnTo>
                    <a:pt x="308" y="1948"/>
                  </a:lnTo>
                  <a:lnTo>
                    <a:pt x="310" y="1950"/>
                  </a:lnTo>
                  <a:lnTo>
                    <a:pt x="310" y="1950"/>
                  </a:lnTo>
                  <a:lnTo>
                    <a:pt x="311" y="1948"/>
                  </a:lnTo>
                  <a:lnTo>
                    <a:pt x="311" y="1948"/>
                  </a:lnTo>
                  <a:lnTo>
                    <a:pt x="333" y="1947"/>
                  </a:lnTo>
                  <a:lnTo>
                    <a:pt x="333" y="1947"/>
                  </a:lnTo>
                  <a:lnTo>
                    <a:pt x="350" y="1947"/>
                  </a:lnTo>
                  <a:lnTo>
                    <a:pt x="350" y="1947"/>
                  </a:lnTo>
                  <a:lnTo>
                    <a:pt x="350" y="1947"/>
                  </a:lnTo>
                  <a:lnTo>
                    <a:pt x="350" y="1947"/>
                  </a:lnTo>
                  <a:lnTo>
                    <a:pt x="350" y="1947"/>
                  </a:lnTo>
                  <a:lnTo>
                    <a:pt x="350" y="1947"/>
                  </a:lnTo>
                  <a:lnTo>
                    <a:pt x="350" y="1947"/>
                  </a:lnTo>
                  <a:lnTo>
                    <a:pt x="350" y="1947"/>
                  </a:lnTo>
                  <a:lnTo>
                    <a:pt x="358" y="1954"/>
                  </a:lnTo>
                  <a:lnTo>
                    <a:pt x="358" y="1954"/>
                  </a:lnTo>
                  <a:lnTo>
                    <a:pt x="361" y="1958"/>
                  </a:lnTo>
                  <a:lnTo>
                    <a:pt x="361" y="1958"/>
                  </a:lnTo>
                  <a:lnTo>
                    <a:pt x="364" y="1961"/>
                  </a:lnTo>
                  <a:lnTo>
                    <a:pt x="364" y="1960"/>
                  </a:lnTo>
                  <a:lnTo>
                    <a:pt x="364" y="1961"/>
                  </a:lnTo>
                  <a:lnTo>
                    <a:pt x="364" y="1961"/>
                  </a:lnTo>
                  <a:lnTo>
                    <a:pt x="364" y="1960"/>
                  </a:lnTo>
                  <a:lnTo>
                    <a:pt x="364" y="1961"/>
                  </a:lnTo>
                  <a:lnTo>
                    <a:pt x="364" y="1961"/>
                  </a:lnTo>
                  <a:lnTo>
                    <a:pt x="364" y="1961"/>
                  </a:lnTo>
                  <a:lnTo>
                    <a:pt x="364" y="1961"/>
                  </a:lnTo>
                  <a:lnTo>
                    <a:pt x="368" y="1971"/>
                  </a:lnTo>
                  <a:lnTo>
                    <a:pt x="368" y="1971"/>
                  </a:lnTo>
                  <a:lnTo>
                    <a:pt x="371" y="1977"/>
                  </a:lnTo>
                  <a:lnTo>
                    <a:pt x="371" y="1977"/>
                  </a:lnTo>
                  <a:lnTo>
                    <a:pt x="372" y="1980"/>
                  </a:lnTo>
                  <a:lnTo>
                    <a:pt x="375" y="1981"/>
                  </a:lnTo>
                  <a:lnTo>
                    <a:pt x="375" y="1981"/>
                  </a:lnTo>
                  <a:lnTo>
                    <a:pt x="384" y="1983"/>
                  </a:lnTo>
                  <a:lnTo>
                    <a:pt x="384" y="1983"/>
                  </a:lnTo>
                  <a:lnTo>
                    <a:pt x="401" y="1981"/>
                  </a:lnTo>
                  <a:lnTo>
                    <a:pt x="401" y="1981"/>
                  </a:lnTo>
                  <a:lnTo>
                    <a:pt x="417" y="1980"/>
                  </a:lnTo>
                  <a:lnTo>
                    <a:pt x="417" y="1980"/>
                  </a:lnTo>
                  <a:lnTo>
                    <a:pt x="420" y="1980"/>
                  </a:lnTo>
                  <a:lnTo>
                    <a:pt x="420" y="1980"/>
                  </a:lnTo>
                  <a:lnTo>
                    <a:pt x="424" y="1981"/>
                  </a:lnTo>
                  <a:lnTo>
                    <a:pt x="427" y="1983"/>
                  </a:lnTo>
                  <a:lnTo>
                    <a:pt x="427" y="1983"/>
                  </a:lnTo>
                  <a:lnTo>
                    <a:pt x="432" y="1987"/>
                  </a:lnTo>
                  <a:lnTo>
                    <a:pt x="432" y="1987"/>
                  </a:lnTo>
                  <a:lnTo>
                    <a:pt x="433" y="1989"/>
                  </a:lnTo>
                  <a:lnTo>
                    <a:pt x="433" y="1989"/>
                  </a:lnTo>
                  <a:lnTo>
                    <a:pt x="436" y="1996"/>
                  </a:lnTo>
                  <a:lnTo>
                    <a:pt x="437" y="2003"/>
                  </a:lnTo>
                  <a:lnTo>
                    <a:pt x="437" y="2005"/>
                  </a:lnTo>
                  <a:lnTo>
                    <a:pt x="437" y="2005"/>
                  </a:lnTo>
                  <a:lnTo>
                    <a:pt x="436" y="2009"/>
                  </a:lnTo>
                  <a:lnTo>
                    <a:pt x="434" y="2015"/>
                  </a:lnTo>
                  <a:lnTo>
                    <a:pt x="434" y="2015"/>
                  </a:lnTo>
                  <a:lnTo>
                    <a:pt x="432" y="2021"/>
                  </a:lnTo>
                  <a:lnTo>
                    <a:pt x="432" y="2021"/>
                  </a:lnTo>
                  <a:lnTo>
                    <a:pt x="432" y="2026"/>
                  </a:lnTo>
                  <a:lnTo>
                    <a:pt x="432" y="2026"/>
                  </a:lnTo>
                  <a:lnTo>
                    <a:pt x="430" y="2039"/>
                  </a:lnTo>
                  <a:lnTo>
                    <a:pt x="430" y="2039"/>
                  </a:lnTo>
                  <a:lnTo>
                    <a:pt x="429" y="2045"/>
                  </a:lnTo>
                  <a:lnTo>
                    <a:pt x="429" y="2045"/>
                  </a:lnTo>
                  <a:lnTo>
                    <a:pt x="429" y="2051"/>
                  </a:lnTo>
                  <a:lnTo>
                    <a:pt x="429" y="2051"/>
                  </a:lnTo>
                  <a:lnTo>
                    <a:pt x="427" y="2054"/>
                  </a:lnTo>
                  <a:lnTo>
                    <a:pt x="427" y="2054"/>
                  </a:lnTo>
                  <a:lnTo>
                    <a:pt x="426" y="2055"/>
                  </a:lnTo>
                  <a:lnTo>
                    <a:pt x="426" y="2055"/>
                  </a:lnTo>
                  <a:lnTo>
                    <a:pt x="423" y="2057"/>
                  </a:lnTo>
                  <a:lnTo>
                    <a:pt x="423" y="2057"/>
                  </a:lnTo>
                  <a:lnTo>
                    <a:pt x="420" y="2060"/>
                  </a:lnTo>
                  <a:lnTo>
                    <a:pt x="420" y="2060"/>
                  </a:lnTo>
                  <a:lnTo>
                    <a:pt x="420" y="2063"/>
                  </a:lnTo>
                  <a:lnTo>
                    <a:pt x="420" y="2063"/>
                  </a:lnTo>
                  <a:lnTo>
                    <a:pt x="421" y="2065"/>
                  </a:lnTo>
                  <a:lnTo>
                    <a:pt x="421" y="2065"/>
                  </a:lnTo>
                  <a:lnTo>
                    <a:pt x="424" y="2068"/>
                  </a:lnTo>
                  <a:lnTo>
                    <a:pt x="424" y="2068"/>
                  </a:lnTo>
                  <a:lnTo>
                    <a:pt x="427" y="2073"/>
                  </a:lnTo>
                  <a:lnTo>
                    <a:pt x="427" y="2073"/>
                  </a:lnTo>
                  <a:lnTo>
                    <a:pt x="430" y="2076"/>
                  </a:lnTo>
                  <a:lnTo>
                    <a:pt x="430" y="2076"/>
                  </a:lnTo>
                  <a:lnTo>
                    <a:pt x="430" y="2076"/>
                  </a:lnTo>
                  <a:lnTo>
                    <a:pt x="430" y="2077"/>
                  </a:lnTo>
                  <a:lnTo>
                    <a:pt x="430" y="2077"/>
                  </a:lnTo>
                  <a:lnTo>
                    <a:pt x="432" y="2081"/>
                  </a:lnTo>
                  <a:lnTo>
                    <a:pt x="432" y="2081"/>
                  </a:lnTo>
                  <a:lnTo>
                    <a:pt x="433" y="2086"/>
                  </a:lnTo>
                  <a:lnTo>
                    <a:pt x="433" y="2086"/>
                  </a:lnTo>
                  <a:lnTo>
                    <a:pt x="442" y="2096"/>
                  </a:lnTo>
                  <a:lnTo>
                    <a:pt x="453" y="2107"/>
                  </a:lnTo>
                  <a:lnTo>
                    <a:pt x="453" y="2107"/>
                  </a:lnTo>
                  <a:lnTo>
                    <a:pt x="463" y="2119"/>
                  </a:lnTo>
                  <a:lnTo>
                    <a:pt x="463" y="2119"/>
                  </a:lnTo>
                  <a:lnTo>
                    <a:pt x="468" y="2122"/>
                  </a:lnTo>
                  <a:lnTo>
                    <a:pt x="468" y="2122"/>
                  </a:lnTo>
                  <a:lnTo>
                    <a:pt x="468" y="2123"/>
                  </a:lnTo>
                  <a:lnTo>
                    <a:pt x="468" y="2123"/>
                  </a:lnTo>
                  <a:lnTo>
                    <a:pt x="471" y="2132"/>
                  </a:lnTo>
                  <a:lnTo>
                    <a:pt x="472" y="2139"/>
                  </a:lnTo>
                  <a:lnTo>
                    <a:pt x="472" y="2139"/>
                  </a:lnTo>
                  <a:lnTo>
                    <a:pt x="474" y="2144"/>
                  </a:lnTo>
                  <a:lnTo>
                    <a:pt x="474" y="2145"/>
                  </a:lnTo>
                  <a:lnTo>
                    <a:pt x="474" y="2145"/>
                  </a:lnTo>
                  <a:lnTo>
                    <a:pt x="479" y="2152"/>
                  </a:lnTo>
                  <a:lnTo>
                    <a:pt x="479" y="2152"/>
                  </a:lnTo>
                  <a:lnTo>
                    <a:pt x="482" y="2154"/>
                  </a:lnTo>
                  <a:lnTo>
                    <a:pt x="482" y="2155"/>
                  </a:lnTo>
                  <a:lnTo>
                    <a:pt x="482" y="2155"/>
                  </a:lnTo>
                  <a:lnTo>
                    <a:pt x="484" y="2154"/>
                  </a:lnTo>
                  <a:lnTo>
                    <a:pt x="482" y="2155"/>
                  </a:lnTo>
                  <a:lnTo>
                    <a:pt x="482" y="2155"/>
                  </a:lnTo>
                  <a:lnTo>
                    <a:pt x="484" y="2154"/>
                  </a:lnTo>
                  <a:lnTo>
                    <a:pt x="482" y="2155"/>
                  </a:lnTo>
                  <a:lnTo>
                    <a:pt x="484" y="2154"/>
                  </a:lnTo>
                  <a:lnTo>
                    <a:pt x="482" y="2155"/>
                  </a:lnTo>
                  <a:lnTo>
                    <a:pt x="482" y="2155"/>
                  </a:lnTo>
                  <a:lnTo>
                    <a:pt x="484" y="2154"/>
                  </a:lnTo>
                  <a:lnTo>
                    <a:pt x="482" y="2155"/>
                  </a:lnTo>
                  <a:lnTo>
                    <a:pt x="482" y="2155"/>
                  </a:lnTo>
                  <a:lnTo>
                    <a:pt x="482" y="2155"/>
                  </a:lnTo>
                  <a:lnTo>
                    <a:pt x="482" y="2155"/>
                  </a:lnTo>
                  <a:lnTo>
                    <a:pt x="485" y="2165"/>
                  </a:lnTo>
                  <a:lnTo>
                    <a:pt x="485" y="2165"/>
                  </a:lnTo>
                  <a:lnTo>
                    <a:pt x="488" y="2176"/>
                  </a:lnTo>
                  <a:lnTo>
                    <a:pt x="488" y="2176"/>
                  </a:lnTo>
                  <a:lnTo>
                    <a:pt x="490" y="2183"/>
                  </a:lnTo>
                  <a:lnTo>
                    <a:pt x="490" y="2183"/>
                  </a:lnTo>
                  <a:lnTo>
                    <a:pt x="491" y="2197"/>
                  </a:lnTo>
                  <a:lnTo>
                    <a:pt x="491" y="2197"/>
                  </a:lnTo>
                  <a:lnTo>
                    <a:pt x="491" y="2203"/>
                  </a:lnTo>
                  <a:lnTo>
                    <a:pt x="491" y="2203"/>
                  </a:lnTo>
                  <a:lnTo>
                    <a:pt x="494" y="2209"/>
                  </a:lnTo>
                  <a:lnTo>
                    <a:pt x="494" y="2209"/>
                  </a:lnTo>
                  <a:lnTo>
                    <a:pt x="495" y="2215"/>
                  </a:lnTo>
                  <a:lnTo>
                    <a:pt x="498" y="2222"/>
                  </a:lnTo>
                  <a:lnTo>
                    <a:pt x="498" y="2222"/>
                  </a:lnTo>
                  <a:lnTo>
                    <a:pt x="500" y="2235"/>
                  </a:lnTo>
                  <a:lnTo>
                    <a:pt x="500" y="2235"/>
                  </a:lnTo>
                  <a:lnTo>
                    <a:pt x="500" y="2239"/>
                  </a:lnTo>
                  <a:lnTo>
                    <a:pt x="500" y="2239"/>
                  </a:lnTo>
                  <a:lnTo>
                    <a:pt x="498" y="2241"/>
                  </a:lnTo>
                  <a:lnTo>
                    <a:pt x="498" y="2241"/>
                  </a:lnTo>
                  <a:lnTo>
                    <a:pt x="495" y="2245"/>
                  </a:lnTo>
                  <a:lnTo>
                    <a:pt x="495" y="2245"/>
                  </a:lnTo>
                  <a:lnTo>
                    <a:pt x="490" y="2249"/>
                  </a:lnTo>
                  <a:lnTo>
                    <a:pt x="490" y="2249"/>
                  </a:lnTo>
                  <a:lnTo>
                    <a:pt x="487" y="2252"/>
                  </a:lnTo>
                  <a:lnTo>
                    <a:pt x="484" y="2255"/>
                  </a:lnTo>
                  <a:lnTo>
                    <a:pt x="484" y="2255"/>
                  </a:lnTo>
                  <a:lnTo>
                    <a:pt x="482" y="2260"/>
                  </a:lnTo>
                  <a:lnTo>
                    <a:pt x="482" y="2260"/>
                  </a:lnTo>
                  <a:lnTo>
                    <a:pt x="476" y="2283"/>
                  </a:lnTo>
                  <a:lnTo>
                    <a:pt x="476" y="2283"/>
                  </a:lnTo>
                  <a:lnTo>
                    <a:pt x="474" y="2302"/>
                  </a:lnTo>
                  <a:lnTo>
                    <a:pt x="474" y="2302"/>
                  </a:lnTo>
                  <a:lnTo>
                    <a:pt x="472" y="2309"/>
                  </a:lnTo>
                  <a:lnTo>
                    <a:pt x="472" y="2309"/>
                  </a:lnTo>
                  <a:lnTo>
                    <a:pt x="472" y="2319"/>
                  </a:lnTo>
                  <a:lnTo>
                    <a:pt x="472" y="2319"/>
                  </a:lnTo>
                  <a:lnTo>
                    <a:pt x="474" y="2332"/>
                  </a:lnTo>
                  <a:lnTo>
                    <a:pt x="474" y="2332"/>
                  </a:lnTo>
                  <a:lnTo>
                    <a:pt x="475" y="2338"/>
                  </a:lnTo>
                  <a:lnTo>
                    <a:pt x="476" y="2344"/>
                  </a:lnTo>
                  <a:lnTo>
                    <a:pt x="476" y="2344"/>
                  </a:lnTo>
                  <a:lnTo>
                    <a:pt x="488" y="2359"/>
                  </a:lnTo>
                  <a:lnTo>
                    <a:pt x="488" y="2359"/>
                  </a:lnTo>
                  <a:lnTo>
                    <a:pt x="492" y="2370"/>
                  </a:lnTo>
                  <a:lnTo>
                    <a:pt x="495" y="2377"/>
                  </a:lnTo>
                  <a:lnTo>
                    <a:pt x="495" y="2377"/>
                  </a:lnTo>
                  <a:lnTo>
                    <a:pt x="497" y="2386"/>
                  </a:lnTo>
                  <a:lnTo>
                    <a:pt x="501" y="2394"/>
                  </a:lnTo>
                  <a:lnTo>
                    <a:pt x="501" y="2394"/>
                  </a:lnTo>
                  <a:lnTo>
                    <a:pt x="511" y="2409"/>
                  </a:lnTo>
                  <a:lnTo>
                    <a:pt x="511" y="2409"/>
                  </a:lnTo>
                  <a:lnTo>
                    <a:pt x="514" y="2412"/>
                  </a:lnTo>
                  <a:lnTo>
                    <a:pt x="514" y="2417"/>
                  </a:lnTo>
                  <a:lnTo>
                    <a:pt x="516" y="2429"/>
                  </a:lnTo>
                  <a:lnTo>
                    <a:pt x="516" y="2429"/>
                  </a:lnTo>
                  <a:lnTo>
                    <a:pt x="516" y="2441"/>
                  </a:lnTo>
                  <a:lnTo>
                    <a:pt x="518" y="2451"/>
                  </a:lnTo>
                  <a:lnTo>
                    <a:pt x="518" y="2451"/>
                  </a:lnTo>
                  <a:lnTo>
                    <a:pt x="521" y="2467"/>
                  </a:lnTo>
                  <a:lnTo>
                    <a:pt x="523" y="2475"/>
                  </a:lnTo>
                  <a:lnTo>
                    <a:pt x="524" y="2486"/>
                  </a:lnTo>
                  <a:lnTo>
                    <a:pt x="524" y="2486"/>
                  </a:lnTo>
                  <a:lnTo>
                    <a:pt x="524" y="2491"/>
                  </a:lnTo>
                  <a:lnTo>
                    <a:pt x="527" y="2496"/>
                  </a:lnTo>
                  <a:lnTo>
                    <a:pt x="533" y="2507"/>
                  </a:lnTo>
                  <a:lnTo>
                    <a:pt x="533" y="2507"/>
                  </a:lnTo>
                  <a:lnTo>
                    <a:pt x="542" y="2517"/>
                  </a:lnTo>
                  <a:lnTo>
                    <a:pt x="547" y="2523"/>
                  </a:lnTo>
                  <a:lnTo>
                    <a:pt x="547" y="2523"/>
                  </a:lnTo>
                  <a:lnTo>
                    <a:pt x="556" y="2533"/>
                  </a:lnTo>
                  <a:lnTo>
                    <a:pt x="560" y="2543"/>
                  </a:lnTo>
                  <a:lnTo>
                    <a:pt x="560" y="2543"/>
                  </a:lnTo>
                  <a:lnTo>
                    <a:pt x="560" y="2545"/>
                  </a:lnTo>
                  <a:lnTo>
                    <a:pt x="560" y="2545"/>
                  </a:lnTo>
                  <a:lnTo>
                    <a:pt x="560" y="2545"/>
                  </a:lnTo>
                  <a:lnTo>
                    <a:pt x="560" y="2545"/>
                  </a:lnTo>
                  <a:lnTo>
                    <a:pt x="560" y="2545"/>
                  </a:lnTo>
                  <a:lnTo>
                    <a:pt x="560" y="2545"/>
                  </a:lnTo>
                  <a:lnTo>
                    <a:pt x="560" y="2545"/>
                  </a:lnTo>
                  <a:lnTo>
                    <a:pt x="560" y="2545"/>
                  </a:lnTo>
                  <a:lnTo>
                    <a:pt x="560" y="2545"/>
                  </a:lnTo>
                  <a:lnTo>
                    <a:pt x="560" y="2545"/>
                  </a:lnTo>
                  <a:lnTo>
                    <a:pt x="560" y="2545"/>
                  </a:lnTo>
                  <a:lnTo>
                    <a:pt x="560" y="2545"/>
                  </a:lnTo>
                  <a:lnTo>
                    <a:pt x="560" y="2545"/>
                  </a:lnTo>
                  <a:lnTo>
                    <a:pt x="560" y="2545"/>
                  </a:lnTo>
                  <a:lnTo>
                    <a:pt x="560" y="2545"/>
                  </a:lnTo>
                  <a:lnTo>
                    <a:pt x="558" y="2545"/>
                  </a:lnTo>
                  <a:lnTo>
                    <a:pt x="558" y="2545"/>
                  </a:lnTo>
                  <a:lnTo>
                    <a:pt x="556" y="2546"/>
                  </a:lnTo>
                  <a:lnTo>
                    <a:pt x="556" y="2546"/>
                  </a:lnTo>
                  <a:lnTo>
                    <a:pt x="553" y="2548"/>
                  </a:lnTo>
                  <a:lnTo>
                    <a:pt x="553" y="2548"/>
                  </a:lnTo>
                  <a:lnTo>
                    <a:pt x="552" y="2552"/>
                  </a:lnTo>
                  <a:lnTo>
                    <a:pt x="552" y="2552"/>
                  </a:lnTo>
                  <a:lnTo>
                    <a:pt x="553" y="2556"/>
                  </a:lnTo>
                  <a:lnTo>
                    <a:pt x="555" y="2562"/>
                  </a:lnTo>
                  <a:lnTo>
                    <a:pt x="555" y="2562"/>
                  </a:lnTo>
                  <a:lnTo>
                    <a:pt x="560" y="2574"/>
                  </a:lnTo>
                  <a:lnTo>
                    <a:pt x="560" y="2574"/>
                  </a:lnTo>
                  <a:lnTo>
                    <a:pt x="563" y="2581"/>
                  </a:lnTo>
                  <a:lnTo>
                    <a:pt x="565" y="2588"/>
                  </a:lnTo>
                  <a:lnTo>
                    <a:pt x="565" y="2588"/>
                  </a:lnTo>
                  <a:lnTo>
                    <a:pt x="563" y="2591"/>
                  </a:lnTo>
                  <a:lnTo>
                    <a:pt x="562" y="2594"/>
                  </a:lnTo>
                  <a:lnTo>
                    <a:pt x="562" y="2594"/>
                  </a:lnTo>
                  <a:lnTo>
                    <a:pt x="560" y="2597"/>
                  </a:lnTo>
                  <a:lnTo>
                    <a:pt x="559" y="2601"/>
                  </a:lnTo>
                  <a:lnTo>
                    <a:pt x="559" y="2601"/>
                  </a:lnTo>
                  <a:lnTo>
                    <a:pt x="560" y="2606"/>
                  </a:lnTo>
                  <a:lnTo>
                    <a:pt x="560" y="2606"/>
                  </a:lnTo>
                  <a:lnTo>
                    <a:pt x="563" y="2610"/>
                  </a:lnTo>
                  <a:lnTo>
                    <a:pt x="563" y="2610"/>
                  </a:lnTo>
                  <a:lnTo>
                    <a:pt x="566" y="2617"/>
                  </a:lnTo>
                  <a:lnTo>
                    <a:pt x="566" y="2617"/>
                  </a:lnTo>
                  <a:lnTo>
                    <a:pt x="568" y="2625"/>
                  </a:lnTo>
                  <a:lnTo>
                    <a:pt x="568" y="2625"/>
                  </a:lnTo>
                  <a:lnTo>
                    <a:pt x="571" y="2629"/>
                  </a:lnTo>
                  <a:lnTo>
                    <a:pt x="571" y="2629"/>
                  </a:lnTo>
                  <a:lnTo>
                    <a:pt x="572" y="2630"/>
                  </a:lnTo>
                  <a:lnTo>
                    <a:pt x="572" y="2630"/>
                  </a:lnTo>
                  <a:lnTo>
                    <a:pt x="576" y="2630"/>
                  </a:lnTo>
                  <a:lnTo>
                    <a:pt x="576" y="2630"/>
                  </a:lnTo>
                  <a:lnTo>
                    <a:pt x="581" y="2630"/>
                  </a:lnTo>
                  <a:lnTo>
                    <a:pt x="581" y="2630"/>
                  </a:lnTo>
                  <a:lnTo>
                    <a:pt x="582" y="2632"/>
                  </a:lnTo>
                  <a:lnTo>
                    <a:pt x="582" y="2632"/>
                  </a:lnTo>
                  <a:lnTo>
                    <a:pt x="585" y="2635"/>
                  </a:lnTo>
                  <a:lnTo>
                    <a:pt x="585" y="2635"/>
                  </a:lnTo>
                  <a:lnTo>
                    <a:pt x="588" y="2636"/>
                  </a:lnTo>
                  <a:lnTo>
                    <a:pt x="592" y="2639"/>
                  </a:lnTo>
                  <a:lnTo>
                    <a:pt x="592" y="2639"/>
                  </a:lnTo>
                  <a:lnTo>
                    <a:pt x="597" y="2639"/>
                  </a:lnTo>
                  <a:lnTo>
                    <a:pt x="597" y="2639"/>
                  </a:lnTo>
                  <a:lnTo>
                    <a:pt x="600" y="2638"/>
                  </a:lnTo>
                  <a:lnTo>
                    <a:pt x="600" y="2638"/>
                  </a:lnTo>
                  <a:lnTo>
                    <a:pt x="602" y="2636"/>
                  </a:lnTo>
                  <a:lnTo>
                    <a:pt x="602" y="2635"/>
                  </a:lnTo>
                  <a:lnTo>
                    <a:pt x="602" y="2635"/>
                  </a:lnTo>
                  <a:lnTo>
                    <a:pt x="605" y="2632"/>
                  </a:lnTo>
                  <a:lnTo>
                    <a:pt x="605" y="2632"/>
                  </a:lnTo>
                  <a:lnTo>
                    <a:pt x="605" y="2632"/>
                  </a:lnTo>
                  <a:lnTo>
                    <a:pt x="607" y="2632"/>
                  </a:lnTo>
                  <a:lnTo>
                    <a:pt x="607" y="2632"/>
                  </a:lnTo>
                  <a:lnTo>
                    <a:pt x="611" y="2632"/>
                  </a:lnTo>
                  <a:lnTo>
                    <a:pt x="611" y="2632"/>
                  </a:lnTo>
                  <a:lnTo>
                    <a:pt x="616" y="2632"/>
                  </a:lnTo>
                  <a:lnTo>
                    <a:pt x="616" y="2632"/>
                  </a:lnTo>
                  <a:lnTo>
                    <a:pt x="620" y="2632"/>
                  </a:lnTo>
                  <a:lnTo>
                    <a:pt x="620" y="2632"/>
                  </a:lnTo>
                  <a:lnTo>
                    <a:pt x="623" y="2629"/>
                  </a:lnTo>
                  <a:lnTo>
                    <a:pt x="623" y="2629"/>
                  </a:lnTo>
                  <a:lnTo>
                    <a:pt x="627" y="2626"/>
                  </a:lnTo>
                  <a:lnTo>
                    <a:pt x="627" y="2626"/>
                  </a:lnTo>
                  <a:lnTo>
                    <a:pt x="631" y="2623"/>
                  </a:lnTo>
                  <a:lnTo>
                    <a:pt x="631" y="2623"/>
                  </a:lnTo>
                  <a:lnTo>
                    <a:pt x="636" y="2623"/>
                  </a:lnTo>
                  <a:lnTo>
                    <a:pt x="636" y="2623"/>
                  </a:lnTo>
                  <a:lnTo>
                    <a:pt x="640" y="2623"/>
                  </a:lnTo>
                  <a:lnTo>
                    <a:pt x="640" y="2623"/>
                  </a:lnTo>
                  <a:lnTo>
                    <a:pt x="644" y="2623"/>
                  </a:lnTo>
                  <a:lnTo>
                    <a:pt x="644" y="2623"/>
                  </a:lnTo>
                  <a:lnTo>
                    <a:pt x="658" y="2623"/>
                  </a:lnTo>
                  <a:lnTo>
                    <a:pt x="658" y="2623"/>
                  </a:lnTo>
                  <a:lnTo>
                    <a:pt x="660" y="2623"/>
                  </a:lnTo>
                  <a:lnTo>
                    <a:pt x="660" y="2623"/>
                  </a:lnTo>
                  <a:lnTo>
                    <a:pt x="666" y="2625"/>
                  </a:lnTo>
                  <a:lnTo>
                    <a:pt x="672" y="2625"/>
                  </a:lnTo>
                  <a:lnTo>
                    <a:pt x="672" y="2625"/>
                  </a:lnTo>
                  <a:lnTo>
                    <a:pt x="676" y="2623"/>
                  </a:lnTo>
                  <a:lnTo>
                    <a:pt x="676" y="2623"/>
                  </a:lnTo>
                  <a:lnTo>
                    <a:pt x="679" y="2623"/>
                  </a:lnTo>
                  <a:lnTo>
                    <a:pt x="679" y="2623"/>
                  </a:lnTo>
                  <a:lnTo>
                    <a:pt x="686" y="2622"/>
                  </a:lnTo>
                  <a:lnTo>
                    <a:pt x="686" y="2622"/>
                  </a:lnTo>
                  <a:lnTo>
                    <a:pt x="694" y="2620"/>
                  </a:lnTo>
                  <a:lnTo>
                    <a:pt x="694" y="2620"/>
                  </a:lnTo>
                  <a:lnTo>
                    <a:pt x="702" y="2617"/>
                  </a:lnTo>
                  <a:lnTo>
                    <a:pt x="707" y="2616"/>
                  </a:lnTo>
                  <a:lnTo>
                    <a:pt x="711" y="2613"/>
                  </a:lnTo>
                  <a:lnTo>
                    <a:pt x="711" y="2613"/>
                  </a:lnTo>
                  <a:lnTo>
                    <a:pt x="727" y="2600"/>
                  </a:lnTo>
                  <a:lnTo>
                    <a:pt x="727" y="2600"/>
                  </a:lnTo>
                  <a:lnTo>
                    <a:pt x="736" y="2593"/>
                  </a:lnTo>
                  <a:lnTo>
                    <a:pt x="736" y="2593"/>
                  </a:lnTo>
                  <a:lnTo>
                    <a:pt x="739" y="2590"/>
                  </a:lnTo>
                  <a:lnTo>
                    <a:pt x="739" y="2588"/>
                  </a:lnTo>
                  <a:lnTo>
                    <a:pt x="740" y="2588"/>
                  </a:lnTo>
                  <a:lnTo>
                    <a:pt x="740" y="2588"/>
                  </a:lnTo>
                  <a:lnTo>
                    <a:pt x="740" y="2588"/>
                  </a:lnTo>
                  <a:lnTo>
                    <a:pt x="740" y="2588"/>
                  </a:lnTo>
                  <a:lnTo>
                    <a:pt x="740" y="2588"/>
                  </a:lnTo>
                  <a:lnTo>
                    <a:pt x="740" y="2588"/>
                  </a:lnTo>
                  <a:lnTo>
                    <a:pt x="740" y="2588"/>
                  </a:lnTo>
                  <a:lnTo>
                    <a:pt x="740" y="2588"/>
                  </a:lnTo>
                  <a:lnTo>
                    <a:pt x="740" y="2588"/>
                  </a:lnTo>
                  <a:lnTo>
                    <a:pt x="746" y="2583"/>
                  </a:lnTo>
                  <a:lnTo>
                    <a:pt x="746" y="2583"/>
                  </a:lnTo>
                  <a:lnTo>
                    <a:pt x="756" y="2570"/>
                  </a:lnTo>
                  <a:lnTo>
                    <a:pt x="756" y="2570"/>
                  </a:lnTo>
                  <a:lnTo>
                    <a:pt x="765" y="2561"/>
                  </a:lnTo>
                  <a:lnTo>
                    <a:pt x="765" y="2561"/>
                  </a:lnTo>
                  <a:lnTo>
                    <a:pt x="766" y="2558"/>
                  </a:lnTo>
                  <a:lnTo>
                    <a:pt x="768" y="2558"/>
                  </a:lnTo>
                  <a:lnTo>
                    <a:pt x="768" y="2558"/>
                  </a:lnTo>
                  <a:lnTo>
                    <a:pt x="772" y="2556"/>
                  </a:lnTo>
                  <a:lnTo>
                    <a:pt x="772" y="2556"/>
                  </a:lnTo>
                  <a:lnTo>
                    <a:pt x="775" y="2555"/>
                  </a:lnTo>
                  <a:lnTo>
                    <a:pt x="775" y="2555"/>
                  </a:lnTo>
                  <a:lnTo>
                    <a:pt x="779" y="2552"/>
                  </a:lnTo>
                  <a:lnTo>
                    <a:pt x="779" y="2552"/>
                  </a:lnTo>
                  <a:lnTo>
                    <a:pt x="786" y="2543"/>
                  </a:lnTo>
                  <a:lnTo>
                    <a:pt x="791" y="2536"/>
                  </a:lnTo>
                  <a:lnTo>
                    <a:pt x="791" y="2536"/>
                  </a:lnTo>
                  <a:lnTo>
                    <a:pt x="797" y="2529"/>
                  </a:lnTo>
                  <a:lnTo>
                    <a:pt x="797" y="2529"/>
                  </a:lnTo>
                  <a:lnTo>
                    <a:pt x="804" y="2522"/>
                  </a:lnTo>
                  <a:lnTo>
                    <a:pt x="804" y="2522"/>
                  </a:lnTo>
                  <a:lnTo>
                    <a:pt x="807" y="2517"/>
                  </a:lnTo>
                  <a:lnTo>
                    <a:pt x="808" y="2512"/>
                  </a:lnTo>
                  <a:lnTo>
                    <a:pt x="808" y="2512"/>
                  </a:lnTo>
                  <a:lnTo>
                    <a:pt x="812" y="2501"/>
                  </a:lnTo>
                  <a:lnTo>
                    <a:pt x="812" y="2501"/>
                  </a:lnTo>
                  <a:lnTo>
                    <a:pt x="814" y="2490"/>
                  </a:lnTo>
                  <a:lnTo>
                    <a:pt x="814" y="2490"/>
                  </a:lnTo>
                  <a:lnTo>
                    <a:pt x="815" y="2478"/>
                  </a:lnTo>
                  <a:lnTo>
                    <a:pt x="815" y="2478"/>
                  </a:lnTo>
                  <a:lnTo>
                    <a:pt x="815" y="2475"/>
                  </a:lnTo>
                  <a:lnTo>
                    <a:pt x="815" y="2475"/>
                  </a:lnTo>
                  <a:lnTo>
                    <a:pt x="815" y="2475"/>
                  </a:lnTo>
                  <a:lnTo>
                    <a:pt x="815" y="2472"/>
                  </a:lnTo>
                  <a:lnTo>
                    <a:pt x="817" y="2470"/>
                  </a:lnTo>
                  <a:lnTo>
                    <a:pt x="817" y="2470"/>
                  </a:lnTo>
                  <a:lnTo>
                    <a:pt x="820" y="2465"/>
                  </a:lnTo>
                  <a:lnTo>
                    <a:pt x="824" y="2462"/>
                  </a:lnTo>
                  <a:lnTo>
                    <a:pt x="824" y="2462"/>
                  </a:lnTo>
                  <a:lnTo>
                    <a:pt x="841" y="2452"/>
                  </a:lnTo>
                  <a:lnTo>
                    <a:pt x="841" y="2452"/>
                  </a:lnTo>
                  <a:lnTo>
                    <a:pt x="852" y="2446"/>
                  </a:lnTo>
                  <a:lnTo>
                    <a:pt x="852" y="2446"/>
                  </a:lnTo>
                  <a:lnTo>
                    <a:pt x="854" y="2442"/>
                  </a:lnTo>
                  <a:lnTo>
                    <a:pt x="857" y="2438"/>
                  </a:lnTo>
                  <a:lnTo>
                    <a:pt x="857" y="2438"/>
                  </a:lnTo>
                  <a:lnTo>
                    <a:pt x="857" y="2428"/>
                  </a:lnTo>
                  <a:lnTo>
                    <a:pt x="857" y="2428"/>
                  </a:lnTo>
                  <a:lnTo>
                    <a:pt x="857" y="2410"/>
                  </a:lnTo>
                  <a:lnTo>
                    <a:pt x="857" y="2410"/>
                  </a:lnTo>
                  <a:lnTo>
                    <a:pt x="856" y="2403"/>
                  </a:lnTo>
                  <a:lnTo>
                    <a:pt x="856" y="2403"/>
                  </a:lnTo>
                  <a:lnTo>
                    <a:pt x="854" y="2399"/>
                  </a:lnTo>
                  <a:lnTo>
                    <a:pt x="854" y="2399"/>
                  </a:lnTo>
                  <a:lnTo>
                    <a:pt x="854" y="2393"/>
                  </a:lnTo>
                  <a:lnTo>
                    <a:pt x="854" y="2393"/>
                  </a:lnTo>
                  <a:lnTo>
                    <a:pt x="853" y="2381"/>
                  </a:lnTo>
                  <a:lnTo>
                    <a:pt x="853" y="2381"/>
                  </a:lnTo>
                  <a:lnTo>
                    <a:pt x="852" y="2377"/>
                  </a:lnTo>
                  <a:lnTo>
                    <a:pt x="852" y="2377"/>
                  </a:lnTo>
                  <a:lnTo>
                    <a:pt x="850" y="2375"/>
                  </a:lnTo>
                  <a:lnTo>
                    <a:pt x="850" y="2375"/>
                  </a:lnTo>
                  <a:lnTo>
                    <a:pt x="847" y="2374"/>
                  </a:lnTo>
                  <a:lnTo>
                    <a:pt x="847" y="2373"/>
                  </a:lnTo>
                  <a:lnTo>
                    <a:pt x="847" y="2373"/>
                  </a:lnTo>
                  <a:lnTo>
                    <a:pt x="847" y="2373"/>
                  </a:lnTo>
                  <a:lnTo>
                    <a:pt x="847" y="2373"/>
                  </a:lnTo>
                  <a:lnTo>
                    <a:pt x="847" y="2370"/>
                  </a:lnTo>
                  <a:lnTo>
                    <a:pt x="849" y="2365"/>
                  </a:lnTo>
                  <a:lnTo>
                    <a:pt x="849" y="2365"/>
                  </a:lnTo>
                  <a:lnTo>
                    <a:pt x="852" y="2362"/>
                  </a:lnTo>
                  <a:lnTo>
                    <a:pt x="852" y="2362"/>
                  </a:lnTo>
                  <a:lnTo>
                    <a:pt x="860" y="2354"/>
                  </a:lnTo>
                  <a:lnTo>
                    <a:pt x="873" y="2344"/>
                  </a:lnTo>
                  <a:lnTo>
                    <a:pt x="873" y="2344"/>
                  </a:lnTo>
                  <a:lnTo>
                    <a:pt x="895" y="2326"/>
                  </a:lnTo>
                  <a:lnTo>
                    <a:pt x="895" y="2326"/>
                  </a:lnTo>
                  <a:lnTo>
                    <a:pt x="902" y="2322"/>
                  </a:lnTo>
                  <a:lnTo>
                    <a:pt x="910" y="2319"/>
                  </a:lnTo>
                  <a:lnTo>
                    <a:pt x="910" y="2319"/>
                  </a:lnTo>
                  <a:lnTo>
                    <a:pt x="915" y="2316"/>
                  </a:lnTo>
                  <a:lnTo>
                    <a:pt x="915" y="2316"/>
                  </a:lnTo>
                  <a:lnTo>
                    <a:pt x="920" y="2313"/>
                  </a:lnTo>
                  <a:lnTo>
                    <a:pt x="920" y="2313"/>
                  </a:lnTo>
                  <a:lnTo>
                    <a:pt x="923" y="2312"/>
                  </a:lnTo>
                  <a:lnTo>
                    <a:pt x="923" y="2312"/>
                  </a:lnTo>
                  <a:lnTo>
                    <a:pt x="934" y="2299"/>
                  </a:lnTo>
                  <a:lnTo>
                    <a:pt x="934" y="2299"/>
                  </a:lnTo>
                  <a:lnTo>
                    <a:pt x="940" y="2293"/>
                  </a:lnTo>
                  <a:lnTo>
                    <a:pt x="940" y="2293"/>
                  </a:lnTo>
                  <a:lnTo>
                    <a:pt x="941" y="2291"/>
                  </a:lnTo>
                  <a:lnTo>
                    <a:pt x="941" y="2291"/>
                  </a:lnTo>
                  <a:lnTo>
                    <a:pt x="943" y="2290"/>
                  </a:lnTo>
                  <a:lnTo>
                    <a:pt x="943" y="2290"/>
                  </a:lnTo>
                  <a:lnTo>
                    <a:pt x="944" y="2289"/>
                  </a:lnTo>
                  <a:lnTo>
                    <a:pt x="944" y="2289"/>
                  </a:lnTo>
                  <a:lnTo>
                    <a:pt x="946" y="2286"/>
                  </a:lnTo>
                  <a:lnTo>
                    <a:pt x="946" y="2286"/>
                  </a:lnTo>
                  <a:lnTo>
                    <a:pt x="944" y="2281"/>
                  </a:lnTo>
                  <a:lnTo>
                    <a:pt x="943" y="2277"/>
                  </a:lnTo>
                  <a:lnTo>
                    <a:pt x="943" y="2277"/>
                  </a:lnTo>
                  <a:lnTo>
                    <a:pt x="940" y="2268"/>
                  </a:lnTo>
                  <a:lnTo>
                    <a:pt x="940" y="2268"/>
                  </a:lnTo>
                  <a:lnTo>
                    <a:pt x="939" y="2262"/>
                  </a:lnTo>
                  <a:lnTo>
                    <a:pt x="939" y="2262"/>
                  </a:lnTo>
                  <a:lnTo>
                    <a:pt x="937" y="2249"/>
                  </a:lnTo>
                  <a:lnTo>
                    <a:pt x="936" y="2236"/>
                  </a:lnTo>
                  <a:lnTo>
                    <a:pt x="936" y="2236"/>
                  </a:lnTo>
                  <a:lnTo>
                    <a:pt x="937" y="2231"/>
                  </a:lnTo>
                  <a:lnTo>
                    <a:pt x="937" y="2231"/>
                  </a:lnTo>
                  <a:lnTo>
                    <a:pt x="937" y="2220"/>
                  </a:lnTo>
                  <a:lnTo>
                    <a:pt x="937" y="2220"/>
                  </a:lnTo>
                  <a:lnTo>
                    <a:pt x="937" y="2213"/>
                  </a:lnTo>
                  <a:lnTo>
                    <a:pt x="936" y="2207"/>
                  </a:lnTo>
                  <a:lnTo>
                    <a:pt x="936" y="2207"/>
                  </a:lnTo>
                  <a:lnTo>
                    <a:pt x="928" y="2197"/>
                  </a:lnTo>
                  <a:lnTo>
                    <a:pt x="928" y="2197"/>
                  </a:lnTo>
                  <a:lnTo>
                    <a:pt x="921" y="2189"/>
                  </a:lnTo>
                  <a:lnTo>
                    <a:pt x="921" y="2189"/>
                  </a:lnTo>
                  <a:lnTo>
                    <a:pt x="921" y="2187"/>
                  </a:lnTo>
                  <a:lnTo>
                    <a:pt x="921" y="2187"/>
                  </a:lnTo>
                  <a:lnTo>
                    <a:pt x="920" y="2176"/>
                  </a:lnTo>
                  <a:lnTo>
                    <a:pt x="920" y="2176"/>
                  </a:lnTo>
                  <a:lnTo>
                    <a:pt x="921" y="2163"/>
                  </a:lnTo>
                  <a:lnTo>
                    <a:pt x="921" y="2163"/>
                  </a:lnTo>
                  <a:lnTo>
                    <a:pt x="921" y="2154"/>
                  </a:lnTo>
                  <a:lnTo>
                    <a:pt x="921" y="2154"/>
                  </a:lnTo>
                  <a:lnTo>
                    <a:pt x="920" y="2148"/>
                  </a:lnTo>
                  <a:lnTo>
                    <a:pt x="920" y="2148"/>
                  </a:lnTo>
                  <a:lnTo>
                    <a:pt x="917" y="2139"/>
                  </a:lnTo>
                  <a:lnTo>
                    <a:pt x="917" y="2139"/>
                  </a:lnTo>
                  <a:lnTo>
                    <a:pt x="915" y="2134"/>
                  </a:lnTo>
                  <a:lnTo>
                    <a:pt x="915" y="2134"/>
                  </a:lnTo>
                  <a:lnTo>
                    <a:pt x="915" y="2126"/>
                  </a:lnTo>
                  <a:lnTo>
                    <a:pt x="915" y="2126"/>
                  </a:lnTo>
                  <a:lnTo>
                    <a:pt x="915" y="2123"/>
                  </a:lnTo>
                  <a:lnTo>
                    <a:pt x="915" y="2123"/>
                  </a:lnTo>
                  <a:lnTo>
                    <a:pt x="915" y="2123"/>
                  </a:lnTo>
                  <a:lnTo>
                    <a:pt x="915" y="2123"/>
                  </a:lnTo>
                  <a:lnTo>
                    <a:pt x="915" y="2123"/>
                  </a:lnTo>
                  <a:lnTo>
                    <a:pt x="915" y="2123"/>
                  </a:lnTo>
                  <a:lnTo>
                    <a:pt x="915" y="2123"/>
                  </a:lnTo>
                  <a:lnTo>
                    <a:pt x="914" y="2122"/>
                  </a:lnTo>
                  <a:lnTo>
                    <a:pt x="915" y="2123"/>
                  </a:lnTo>
                  <a:lnTo>
                    <a:pt x="915" y="2123"/>
                  </a:lnTo>
                  <a:lnTo>
                    <a:pt x="914" y="2122"/>
                  </a:lnTo>
                  <a:lnTo>
                    <a:pt x="915" y="2123"/>
                  </a:lnTo>
                  <a:lnTo>
                    <a:pt x="915" y="2123"/>
                  </a:lnTo>
                  <a:lnTo>
                    <a:pt x="915" y="2123"/>
                  </a:lnTo>
                  <a:lnTo>
                    <a:pt x="917" y="2122"/>
                  </a:lnTo>
                  <a:lnTo>
                    <a:pt x="917" y="2122"/>
                  </a:lnTo>
                  <a:lnTo>
                    <a:pt x="921" y="2115"/>
                  </a:lnTo>
                  <a:lnTo>
                    <a:pt x="921" y="2115"/>
                  </a:lnTo>
                  <a:lnTo>
                    <a:pt x="927" y="2105"/>
                  </a:lnTo>
                  <a:lnTo>
                    <a:pt x="927" y="2105"/>
                  </a:lnTo>
                  <a:lnTo>
                    <a:pt x="934" y="2090"/>
                  </a:lnTo>
                  <a:lnTo>
                    <a:pt x="934" y="2090"/>
                  </a:lnTo>
                  <a:lnTo>
                    <a:pt x="940" y="2081"/>
                  </a:lnTo>
                  <a:lnTo>
                    <a:pt x="940" y="2081"/>
                  </a:lnTo>
                  <a:lnTo>
                    <a:pt x="943" y="2077"/>
                  </a:lnTo>
                  <a:lnTo>
                    <a:pt x="943" y="2077"/>
                  </a:lnTo>
                  <a:lnTo>
                    <a:pt x="944" y="2076"/>
                  </a:lnTo>
                  <a:lnTo>
                    <a:pt x="944" y="2076"/>
                  </a:lnTo>
                  <a:lnTo>
                    <a:pt x="949" y="2076"/>
                  </a:lnTo>
                  <a:lnTo>
                    <a:pt x="949" y="2076"/>
                  </a:lnTo>
                  <a:lnTo>
                    <a:pt x="954" y="2074"/>
                  </a:lnTo>
                  <a:lnTo>
                    <a:pt x="954" y="2074"/>
                  </a:lnTo>
                  <a:lnTo>
                    <a:pt x="957" y="2071"/>
                  </a:lnTo>
                  <a:lnTo>
                    <a:pt x="957" y="2071"/>
                  </a:lnTo>
                  <a:lnTo>
                    <a:pt x="973" y="2052"/>
                  </a:lnTo>
                  <a:lnTo>
                    <a:pt x="973" y="2052"/>
                  </a:lnTo>
                  <a:lnTo>
                    <a:pt x="988" y="2032"/>
                  </a:lnTo>
                  <a:lnTo>
                    <a:pt x="988" y="2032"/>
                  </a:lnTo>
                  <a:lnTo>
                    <a:pt x="996" y="2023"/>
                  </a:lnTo>
                  <a:lnTo>
                    <a:pt x="1005" y="2015"/>
                  </a:lnTo>
                  <a:lnTo>
                    <a:pt x="1015" y="2009"/>
                  </a:lnTo>
                  <a:lnTo>
                    <a:pt x="1023" y="2005"/>
                  </a:lnTo>
                  <a:lnTo>
                    <a:pt x="1023" y="2005"/>
                  </a:lnTo>
                  <a:lnTo>
                    <a:pt x="1027" y="2003"/>
                  </a:lnTo>
                  <a:lnTo>
                    <a:pt x="1027" y="2003"/>
                  </a:lnTo>
                  <a:lnTo>
                    <a:pt x="1028" y="2002"/>
                  </a:lnTo>
                  <a:lnTo>
                    <a:pt x="1028" y="2000"/>
                  </a:lnTo>
                  <a:lnTo>
                    <a:pt x="1028" y="2000"/>
                  </a:lnTo>
                  <a:lnTo>
                    <a:pt x="1030" y="1999"/>
                  </a:lnTo>
                  <a:lnTo>
                    <a:pt x="1030" y="1999"/>
                  </a:lnTo>
                  <a:lnTo>
                    <a:pt x="1030" y="1997"/>
                  </a:lnTo>
                  <a:lnTo>
                    <a:pt x="1030" y="1997"/>
                  </a:lnTo>
                  <a:lnTo>
                    <a:pt x="1036" y="1993"/>
                  </a:lnTo>
                  <a:lnTo>
                    <a:pt x="1043" y="1987"/>
                  </a:lnTo>
                  <a:lnTo>
                    <a:pt x="1043" y="1987"/>
                  </a:lnTo>
                  <a:lnTo>
                    <a:pt x="1046" y="1984"/>
                  </a:lnTo>
                  <a:lnTo>
                    <a:pt x="1046" y="1984"/>
                  </a:lnTo>
                  <a:lnTo>
                    <a:pt x="1054" y="1974"/>
                  </a:lnTo>
                  <a:lnTo>
                    <a:pt x="1063" y="1960"/>
                  </a:lnTo>
                  <a:lnTo>
                    <a:pt x="1063" y="1960"/>
                  </a:lnTo>
                  <a:lnTo>
                    <a:pt x="1076" y="1937"/>
                  </a:lnTo>
                  <a:lnTo>
                    <a:pt x="1076" y="1937"/>
                  </a:lnTo>
                  <a:lnTo>
                    <a:pt x="1086" y="1916"/>
                  </a:lnTo>
                  <a:lnTo>
                    <a:pt x="1086" y="1916"/>
                  </a:lnTo>
                  <a:lnTo>
                    <a:pt x="1098" y="1897"/>
                  </a:lnTo>
                  <a:lnTo>
                    <a:pt x="1098" y="1897"/>
                  </a:lnTo>
                  <a:lnTo>
                    <a:pt x="1101" y="1889"/>
                  </a:lnTo>
                  <a:lnTo>
                    <a:pt x="1101" y="1889"/>
                  </a:lnTo>
                  <a:lnTo>
                    <a:pt x="1104" y="1871"/>
                  </a:lnTo>
                  <a:lnTo>
                    <a:pt x="1105" y="1857"/>
                  </a:lnTo>
                  <a:lnTo>
                    <a:pt x="1105" y="1857"/>
                  </a:lnTo>
                  <a:lnTo>
                    <a:pt x="1105" y="1850"/>
                  </a:lnTo>
                  <a:lnTo>
                    <a:pt x="1105" y="1850"/>
                  </a:lnTo>
                  <a:lnTo>
                    <a:pt x="1104" y="1847"/>
                  </a:lnTo>
                  <a:lnTo>
                    <a:pt x="1104" y="1847"/>
                  </a:lnTo>
                  <a:lnTo>
                    <a:pt x="1101" y="1845"/>
                  </a:lnTo>
                  <a:lnTo>
                    <a:pt x="1101" y="1845"/>
                  </a:lnTo>
                  <a:lnTo>
                    <a:pt x="1096" y="1847"/>
                  </a:lnTo>
                  <a:lnTo>
                    <a:pt x="1096" y="1847"/>
                  </a:lnTo>
                  <a:lnTo>
                    <a:pt x="1085" y="1853"/>
                  </a:lnTo>
                  <a:lnTo>
                    <a:pt x="1085" y="1853"/>
                  </a:lnTo>
                  <a:lnTo>
                    <a:pt x="1073" y="1858"/>
                  </a:lnTo>
                  <a:lnTo>
                    <a:pt x="1073" y="1858"/>
                  </a:lnTo>
                  <a:lnTo>
                    <a:pt x="1069" y="1860"/>
                  </a:lnTo>
                  <a:lnTo>
                    <a:pt x="1065" y="1860"/>
                  </a:lnTo>
                  <a:lnTo>
                    <a:pt x="1065" y="1860"/>
                  </a:lnTo>
                  <a:lnTo>
                    <a:pt x="1054" y="1860"/>
                  </a:lnTo>
                  <a:lnTo>
                    <a:pt x="1054" y="1860"/>
                  </a:lnTo>
                  <a:lnTo>
                    <a:pt x="1046" y="1861"/>
                  </a:lnTo>
                  <a:lnTo>
                    <a:pt x="1046" y="1861"/>
                  </a:lnTo>
                  <a:lnTo>
                    <a:pt x="1041" y="1863"/>
                  </a:lnTo>
                  <a:lnTo>
                    <a:pt x="1038" y="1864"/>
                  </a:lnTo>
                  <a:lnTo>
                    <a:pt x="1038" y="1864"/>
                  </a:lnTo>
                  <a:lnTo>
                    <a:pt x="1033" y="1868"/>
                  </a:lnTo>
                  <a:lnTo>
                    <a:pt x="1031" y="1868"/>
                  </a:lnTo>
                  <a:lnTo>
                    <a:pt x="1031" y="1868"/>
                  </a:lnTo>
                  <a:lnTo>
                    <a:pt x="1031" y="1868"/>
                  </a:lnTo>
                  <a:lnTo>
                    <a:pt x="1031" y="1868"/>
                  </a:lnTo>
                  <a:lnTo>
                    <a:pt x="1031" y="1868"/>
                  </a:lnTo>
                  <a:lnTo>
                    <a:pt x="1031" y="1868"/>
                  </a:lnTo>
                  <a:lnTo>
                    <a:pt x="1031" y="1868"/>
                  </a:lnTo>
                  <a:lnTo>
                    <a:pt x="1031" y="1868"/>
                  </a:lnTo>
                  <a:lnTo>
                    <a:pt x="1031" y="1868"/>
                  </a:lnTo>
                  <a:lnTo>
                    <a:pt x="1030" y="1867"/>
                  </a:lnTo>
                  <a:lnTo>
                    <a:pt x="1030" y="1867"/>
                  </a:lnTo>
                  <a:lnTo>
                    <a:pt x="1027" y="1866"/>
                  </a:lnTo>
                  <a:lnTo>
                    <a:pt x="1024" y="1864"/>
                  </a:lnTo>
                  <a:lnTo>
                    <a:pt x="1023" y="1864"/>
                  </a:lnTo>
                  <a:lnTo>
                    <a:pt x="1023" y="1864"/>
                  </a:lnTo>
                  <a:lnTo>
                    <a:pt x="1015" y="1866"/>
                  </a:lnTo>
                  <a:lnTo>
                    <a:pt x="1015" y="1866"/>
                  </a:lnTo>
                  <a:lnTo>
                    <a:pt x="1004" y="1870"/>
                  </a:lnTo>
                  <a:lnTo>
                    <a:pt x="1004" y="1870"/>
                  </a:lnTo>
                  <a:lnTo>
                    <a:pt x="996" y="1873"/>
                  </a:lnTo>
                  <a:lnTo>
                    <a:pt x="996" y="1874"/>
                  </a:lnTo>
                  <a:lnTo>
                    <a:pt x="996" y="1873"/>
                  </a:lnTo>
                  <a:lnTo>
                    <a:pt x="996" y="1873"/>
                  </a:lnTo>
                  <a:lnTo>
                    <a:pt x="996" y="1874"/>
                  </a:lnTo>
                  <a:lnTo>
                    <a:pt x="996" y="1873"/>
                  </a:lnTo>
                  <a:lnTo>
                    <a:pt x="996" y="1874"/>
                  </a:lnTo>
                  <a:lnTo>
                    <a:pt x="996" y="1873"/>
                  </a:lnTo>
                  <a:lnTo>
                    <a:pt x="996" y="1873"/>
                  </a:lnTo>
                  <a:lnTo>
                    <a:pt x="996" y="1874"/>
                  </a:lnTo>
                  <a:lnTo>
                    <a:pt x="996" y="1873"/>
                  </a:lnTo>
                  <a:lnTo>
                    <a:pt x="996" y="1874"/>
                  </a:lnTo>
                  <a:lnTo>
                    <a:pt x="996" y="1873"/>
                  </a:lnTo>
                  <a:lnTo>
                    <a:pt x="996" y="1873"/>
                  </a:lnTo>
                  <a:lnTo>
                    <a:pt x="996" y="1874"/>
                  </a:lnTo>
                  <a:lnTo>
                    <a:pt x="996" y="1873"/>
                  </a:lnTo>
                  <a:lnTo>
                    <a:pt x="996" y="1873"/>
                  </a:lnTo>
                  <a:lnTo>
                    <a:pt x="996" y="1873"/>
                  </a:lnTo>
                  <a:lnTo>
                    <a:pt x="989" y="1866"/>
                  </a:lnTo>
                  <a:lnTo>
                    <a:pt x="989" y="1866"/>
                  </a:lnTo>
                  <a:lnTo>
                    <a:pt x="985" y="1857"/>
                  </a:lnTo>
                  <a:lnTo>
                    <a:pt x="985" y="1857"/>
                  </a:lnTo>
                  <a:lnTo>
                    <a:pt x="983" y="1854"/>
                  </a:lnTo>
                  <a:lnTo>
                    <a:pt x="982" y="1851"/>
                  </a:lnTo>
                  <a:lnTo>
                    <a:pt x="982" y="1851"/>
                  </a:lnTo>
                  <a:lnTo>
                    <a:pt x="981" y="1850"/>
                  </a:lnTo>
                  <a:lnTo>
                    <a:pt x="981" y="1850"/>
                  </a:lnTo>
                  <a:lnTo>
                    <a:pt x="981" y="1850"/>
                  </a:lnTo>
                  <a:lnTo>
                    <a:pt x="981" y="1850"/>
                  </a:lnTo>
                  <a:lnTo>
                    <a:pt x="981" y="1850"/>
                  </a:lnTo>
                  <a:lnTo>
                    <a:pt x="981" y="1850"/>
                  </a:lnTo>
                  <a:lnTo>
                    <a:pt x="979" y="1851"/>
                  </a:lnTo>
                  <a:lnTo>
                    <a:pt x="981" y="1851"/>
                  </a:lnTo>
                  <a:lnTo>
                    <a:pt x="981" y="1851"/>
                  </a:lnTo>
                  <a:lnTo>
                    <a:pt x="981" y="1850"/>
                  </a:lnTo>
                  <a:lnTo>
                    <a:pt x="979" y="1851"/>
                  </a:lnTo>
                  <a:lnTo>
                    <a:pt x="981" y="1851"/>
                  </a:lnTo>
                  <a:lnTo>
                    <a:pt x="979" y="1851"/>
                  </a:lnTo>
                  <a:lnTo>
                    <a:pt x="981" y="1853"/>
                  </a:lnTo>
                  <a:lnTo>
                    <a:pt x="981" y="1853"/>
                  </a:lnTo>
                  <a:lnTo>
                    <a:pt x="981" y="1851"/>
                  </a:lnTo>
                  <a:lnTo>
                    <a:pt x="979" y="1851"/>
                  </a:lnTo>
                  <a:lnTo>
                    <a:pt x="981" y="1853"/>
                  </a:lnTo>
                  <a:lnTo>
                    <a:pt x="981" y="1853"/>
                  </a:lnTo>
                  <a:lnTo>
                    <a:pt x="981" y="1851"/>
                  </a:lnTo>
                  <a:lnTo>
                    <a:pt x="981" y="1850"/>
                  </a:lnTo>
                  <a:lnTo>
                    <a:pt x="981" y="1850"/>
                  </a:lnTo>
                  <a:lnTo>
                    <a:pt x="981" y="1844"/>
                  </a:lnTo>
                  <a:lnTo>
                    <a:pt x="981" y="1844"/>
                  </a:lnTo>
                  <a:lnTo>
                    <a:pt x="976" y="1835"/>
                  </a:lnTo>
                  <a:lnTo>
                    <a:pt x="976" y="1835"/>
                  </a:lnTo>
                  <a:lnTo>
                    <a:pt x="973" y="1829"/>
                  </a:lnTo>
                  <a:lnTo>
                    <a:pt x="970" y="1826"/>
                  </a:lnTo>
                  <a:lnTo>
                    <a:pt x="970" y="1826"/>
                  </a:lnTo>
                  <a:lnTo>
                    <a:pt x="954" y="1815"/>
                  </a:lnTo>
                  <a:lnTo>
                    <a:pt x="954" y="1815"/>
                  </a:lnTo>
                  <a:lnTo>
                    <a:pt x="952" y="1812"/>
                  </a:lnTo>
                  <a:lnTo>
                    <a:pt x="950" y="1808"/>
                  </a:lnTo>
                  <a:lnTo>
                    <a:pt x="950" y="1808"/>
                  </a:lnTo>
                  <a:lnTo>
                    <a:pt x="947" y="1805"/>
                  </a:lnTo>
                  <a:lnTo>
                    <a:pt x="947" y="1805"/>
                  </a:lnTo>
                  <a:lnTo>
                    <a:pt x="943" y="1802"/>
                  </a:lnTo>
                  <a:lnTo>
                    <a:pt x="943" y="1802"/>
                  </a:lnTo>
                  <a:lnTo>
                    <a:pt x="943" y="1802"/>
                  </a:lnTo>
                  <a:lnTo>
                    <a:pt x="940" y="1800"/>
                  </a:lnTo>
                  <a:lnTo>
                    <a:pt x="940" y="1800"/>
                  </a:lnTo>
                  <a:lnTo>
                    <a:pt x="931" y="1793"/>
                  </a:lnTo>
                  <a:lnTo>
                    <a:pt x="931" y="1793"/>
                  </a:lnTo>
                  <a:lnTo>
                    <a:pt x="923" y="1787"/>
                  </a:lnTo>
                  <a:lnTo>
                    <a:pt x="923" y="1787"/>
                  </a:lnTo>
                  <a:lnTo>
                    <a:pt x="921" y="1787"/>
                  </a:lnTo>
                  <a:lnTo>
                    <a:pt x="921" y="1787"/>
                  </a:lnTo>
                  <a:lnTo>
                    <a:pt x="918" y="1783"/>
                  </a:lnTo>
                  <a:lnTo>
                    <a:pt x="918" y="1783"/>
                  </a:lnTo>
                  <a:lnTo>
                    <a:pt x="915" y="1771"/>
                  </a:lnTo>
                  <a:lnTo>
                    <a:pt x="915" y="1771"/>
                  </a:lnTo>
                  <a:lnTo>
                    <a:pt x="912" y="1761"/>
                  </a:lnTo>
                  <a:lnTo>
                    <a:pt x="912" y="1761"/>
                  </a:lnTo>
                  <a:lnTo>
                    <a:pt x="908" y="1754"/>
                  </a:lnTo>
                  <a:lnTo>
                    <a:pt x="904" y="1747"/>
                  </a:lnTo>
                  <a:lnTo>
                    <a:pt x="904" y="1747"/>
                  </a:lnTo>
                  <a:lnTo>
                    <a:pt x="898" y="1741"/>
                  </a:lnTo>
                  <a:lnTo>
                    <a:pt x="898" y="1741"/>
                  </a:lnTo>
                  <a:lnTo>
                    <a:pt x="894" y="1737"/>
                  </a:lnTo>
                  <a:lnTo>
                    <a:pt x="894" y="1737"/>
                  </a:lnTo>
                  <a:lnTo>
                    <a:pt x="889" y="1734"/>
                  </a:lnTo>
                  <a:lnTo>
                    <a:pt x="889" y="1734"/>
                  </a:lnTo>
                  <a:lnTo>
                    <a:pt x="883" y="1722"/>
                  </a:lnTo>
                  <a:lnTo>
                    <a:pt x="883" y="1722"/>
                  </a:lnTo>
                  <a:lnTo>
                    <a:pt x="881" y="1716"/>
                  </a:lnTo>
                  <a:lnTo>
                    <a:pt x="879" y="1711"/>
                  </a:lnTo>
                  <a:lnTo>
                    <a:pt x="879" y="1711"/>
                  </a:lnTo>
                  <a:lnTo>
                    <a:pt x="878" y="1696"/>
                  </a:lnTo>
                  <a:lnTo>
                    <a:pt x="876" y="1685"/>
                  </a:lnTo>
                  <a:lnTo>
                    <a:pt x="876" y="1685"/>
                  </a:lnTo>
                  <a:lnTo>
                    <a:pt x="876" y="1682"/>
                  </a:lnTo>
                  <a:lnTo>
                    <a:pt x="876" y="1682"/>
                  </a:lnTo>
                  <a:lnTo>
                    <a:pt x="876" y="1679"/>
                  </a:lnTo>
                  <a:lnTo>
                    <a:pt x="876" y="1679"/>
                  </a:lnTo>
                  <a:lnTo>
                    <a:pt x="875" y="1676"/>
                  </a:lnTo>
                  <a:lnTo>
                    <a:pt x="873" y="1674"/>
                  </a:lnTo>
                  <a:lnTo>
                    <a:pt x="873" y="1674"/>
                  </a:lnTo>
                  <a:lnTo>
                    <a:pt x="868" y="1670"/>
                  </a:lnTo>
                  <a:lnTo>
                    <a:pt x="868" y="1670"/>
                  </a:lnTo>
                  <a:lnTo>
                    <a:pt x="862" y="1667"/>
                  </a:lnTo>
                  <a:lnTo>
                    <a:pt x="859" y="1663"/>
                  </a:lnTo>
                  <a:lnTo>
                    <a:pt x="859" y="1663"/>
                  </a:lnTo>
                  <a:lnTo>
                    <a:pt x="853" y="1656"/>
                  </a:lnTo>
                  <a:lnTo>
                    <a:pt x="853" y="1657"/>
                  </a:lnTo>
                  <a:lnTo>
                    <a:pt x="853" y="1657"/>
                  </a:lnTo>
                  <a:lnTo>
                    <a:pt x="853" y="1656"/>
                  </a:lnTo>
                  <a:lnTo>
                    <a:pt x="853" y="1657"/>
                  </a:lnTo>
                  <a:lnTo>
                    <a:pt x="853" y="1657"/>
                  </a:lnTo>
                  <a:lnTo>
                    <a:pt x="853" y="1657"/>
                  </a:lnTo>
                  <a:lnTo>
                    <a:pt x="853" y="1657"/>
                  </a:lnTo>
                  <a:lnTo>
                    <a:pt x="853" y="1657"/>
                  </a:lnTo>
                  <a:lnTo>
                    <a:pt x="853" y="1657"/>
                  </a:lnTo>
                  <a:lnTo>
                    <a:pt x="853" y="1657"/>
                  </a:lnTo>
                  <a:lnTo>
                    <a:pt x="853" y="1657"/>
                  </a:lnTo>
                  <a:lnTo>
                    <a:pt x="854" y="1654"/>
                  </a:lnTo>
                  <a:lnTo>
                    <a:pt x="854" y="1654"/>
                  </a:lnTo>
                  <a:lnTo>
                    <a:pt x="856" y="1648"/>
                  </a:lnTo>
                  <a:lnTo>
                    <a:pt x="856" y="1648"/>
                  </a:lnTo>
                  <a:lnTo>
                    <a:pt x="854" y="1645"/>
                  </a:lnTo>
                  <a:lnTo>
                    <a:pt x="854" y="1645"/>
                  </a:lnTo>
                  <a:lnTo>
                    <a:pt x="843" y="1619"/>
                  </a:lnTo>
                  <a:lnTo>
                    <a:pt x="843" y="1619"/>
                  </a:lnTo>
                  <a:lnTo>
                    <a:pt x="833" y="1602"/>
                  </a:lnTo>
                  <a:lnTo>
                    <a:pt x="833" y="1602"/>
                  </a:lnTo>
                  <a:lnTo>
                    <a:pt x="826" y="1589"/>
                  </a:lnTo>
                  <a:lnTo>
                    <a:pt x="826" y="1589"/>
                  </a:lnTo>
                  <a:lnTo>
                    <a:pt x="823" y="1585"/>
                  </a:lnTo>
                  <a:lnTo>
                    <a:pt x="823" y="1582"/>
                  </a:lnTo>
                  <a:lnTo>
                    <a:pt x="823" y="1582"/>
                  </a:lnTo>
                  <a:lnTo>
                    <a:pt x="823" y="1580"/>
                  </a:lnTo>
                  <a:lnTo>
                    <a:pt x="823" y="1580"/>
                  </a:lnTo>
                  <a:lnTo>
                    <a:pt x="824" y="1577"/>
                  </a:lnTo>
                  <a:lnTo>
                    <a:pt x="824" y="1577"/>
                  </a:lnTo>
                  <a:lnTo>
                    <a:pt x="823" y="1574"/>
                  </a:lnTo>
                  <a:lnTo>
                    <a:pt x="821" y="1573"/>
                  </a:lnTo>
                  <a:lnTo>
                    <a:pt x="821" y="1573"/>
                  </a:lnTo>
                  <a:lnTo>
                    <a:pt x="817" y="1567"/>
                  </a:lnTo>
                  <a:lnTo>
                    <a:pt x="817" y="1567"/>
                  </a:lnTo>
                  <a:lnTo>
                    <a:pt x="812" y="1563"/>
                  </a:lnTo>
                  <a:lnTo>
                    <a:pt x="812" y="1563"/>
                  </a:lnTo>
                  <a:lnTo>
                    <a:pt x="812" y="1563"/>
                  </a:lnTo>
                  <a:lnTo>
                    <a:pt x="812" y="1563"/>
                  </a:lnTo>
                  <a:lnTo>
                    <a:pt x="812" y="1563"/>
                  </a:lnTo>
                  <a:lnTo>
                    <a:pt x="812" y="1563"/>
                  </a:lnTo>
                  <a:lnTo>
                    <a:pt x="812" y="1563"/>
                  </a:lnTo>
                  <a:lnTo>
                    <a:pt x="811" y="1563"/>
                  </a:lnTo>
                  <a:lnTo>
                    <a:pt x="812" y="1563"/>
                  </a:lnTo>
                  <a:lnTo>
                    <a:pt x="812" y="1563"/>
                  </a:lnTo>
                  <a:lnTo>
                    <a:pt x="811" y="1563"/>
                  </a:lnTo>
                  <a:lnTo>
                    <a:pt x="812" y="1563"/>
                  </a:lnTo>
                  <a:lnTo>
                    <a:pt x="811" y="1563"/>
                  </a:lnTo>
                  <a:lnTo>
                    <a:pt x="812" y="1564"/>
                  </a:lnTo>
                  <a:lnTo>
                    <a:pt x="812" y="1564"/>
                  </a:lnTo>
                  <a:lnTo>
                    <a:pt x="812" y="1563"/>
                  </a:lnTo>
                  <a:lnTo>
                    <a:pt x="811" y="1563"/>
                  </a:lnTo>
                  <a:lnTo>
                    <a:pt x="812" y="1564"/>
                  </a:lnTo>
                  <a:lnTo>
                    <a:pt x="811" y="1563"/>
                  </a:lnTo>
                  <a:lnTo>
                    <a:pt x="811" y="1566"/>
                  </a:lnTo>
                  <a:lnTo>
                    <a:pt x="811" y="1566"/>
                  </a:lnTo>
                  <a:lnTo>
                    <a:pt x="812" y="1564"/>
                  </a:lnTo>
                  <a:lnTo>
                    <a:pt x="811" y="1563"/>
                  </a:lnTo>
                  <a:lnTo>
                    <a:pt x="811" y="1566"/>
                  </a:lnTo>
                  <a:lnTo>
                    <a:pt x="811" y="1563"/>
                  </a:lnTo>
                  <a:lnTo>
                    <a:pt x="810" y="1566"/>
                  </a:lnTo>
                  <a:lnTo>
                    <a:pt x="811" y="1566"/>
                  </a:lnTo>
                  <a:lnTo>
                    <a:pt x="811" y="1563"/>
                  </a:lnTo>
                  <a:lnTo>
                    <a:pt x="810" y="1566"/>
                  </a:lnTo>
                  <a:lnTo>
                    <a:pt x="810" y="1564"/>
                  </a:lnTo>
                  <a:lnTo>
                    <a:pt x="810" y="1566"/>
                  </a:lnTo>
                  <a:lnTo>
                    <a:pt x="810" y="1566"/>
                  </a:lnTo>
                  <a:lnTo>
                    <a:pt x="810" y="1564"/>
                  </a:lnTo>
                  <a:lnTo>
                    <a:pt x="810" y="1566"/>
                  </a:lnTo>
                  <a:lnTo>
                    <a:pt x="810" y="1566"/>
                  </a:lnTo>
                  <a:lnTo>
                    <a:pt x="811" y="1566"/>
                  </a:lnTo>
                  <a:lnTo>
                    <a:pt x="811" y="1566"/>
                  </a:lnTo>
                  <a:lnTo>
                    <a:pt x="820" y="1573"/>
                  </a:lnTo>
                  <a:lnTo>
                    <a:pt x="820" y="1573"/>
                  </a:lnTo>
                  <a:lnTo>
                    <a:pt x="824" y="1577"/>
                  </a:lnTo>
                  <a:lnTo>
                    <a:pt x="824" y="1577"/>
                  </a:lnTo>
                  <a:lnTo>
                    <a:pt x="828" y="1580"/>
                  </a:lnTo>
                  <a:lnTo>
                    <a:pt x="828" y="1580"/>
                  </a:lnTo>
                  <a:lnTo>
                    <a:pt x="831" y="1580"/>
                  </a:lnTo>
                  <a:lnTo>
                    <a:pt x="831" y="1580"/>
                  </a:lnTo>
                  <a:lnTo>
                    <a:pt x="834" y="1579"/>
                  </a:lnTo>
                  <a:lnTo>
                    <a:pt x="834" y="1579"/>
                  </a:lnTo>
                  <a:lnTo>
                    <a:pt x="837" y="1577"/>
                  </a:lnTo>
                  <a:lnTo>
                    <a:pt x="837" y="1577"/>
                  </a:lnTo>
                  <a:lnTo>
                    <a:pt x="840" y="1576"/>
                  </a:lnTo>
                  <a:lnTo>
                    <a:pt x="841" y="1576"/>
                  </a:lnTo>
                  <a:lnTo>
                    <a:pt x="841" y="1576"/>
                  </a:lnTo>
                  <a:lnTo>
                    <a:pt x="844" y="1579"/>
                  </a:lnTo>
                  <a:lnTo>
                    <a:pt x="844" y="1579"/>
                  </a:lnTo>
                  <a:lnTo>
                    <a:pt x="853" y="1592"/>
                  </a:lnTo>
                  <a:lnTo>
                    <a:pt x="853" y="1592"/>
                  </a:lnTo>
                  <a:lnTo>
                    <a:pt x="859" y="1605"/>
                  </a:lnTo>
                  <a:lnTo>
                    <a:pt x="859" y="1605"/>
                  </a:lnTo>
                  <a:lnTo>
                    <a:pt x="863" y="1611"/>
                  </a:lnTo>
                  <a:lnTo>
                    <a:pt x="869" y="1616"/>
                  </a:lnTo>
                  <a:lnTo>
                    <a:pt x="878" y="1625"/>
                  </a:lnTo>
                  <a:lnTo>
                    <a:pt x="878" y="1625"/>
                  </a:lnTo>
                  <a:lnTo>
                    <a:pt x="878" y="1625"/>
                  </a:lnTo>
                  <a:lnTo>
                    <a:pt x="879" y="1624"/>
                  </a:lnTo>
                  <a:lnTo>
                    <a:pt x="878" y="1624"/>
                  </a:lnTo>
                  <a:lnTo>
                    <a:pt x="878" y="1625"/>
                  </a:lnTo>
                  <a:lnTo>
                    <a:pt x="879" y="1624"/>
                  </a:lnTo>
                  <a:lnTo>
                    <a:pt x="878" y="1624"/>
                  </a:lnTo>
                  <a:lnTo>
                    <a:pt x="879" y="1624"/>
                  </a:lnTo>
                  <a:lnTo>
                    <a:pt x="878" y="1624"/>
                  </a:lnTo>
                  <a:lnTo>
                    <a:pt x="878" y="1624"/>
                  </a:lnTo>
                  <a:lnTo>
                    <a:pt x="879" y="1624"/>
                  </a:lnTo>
                  <a:lnTo>
                    <a:pt x="878" y="1624"/>
                  </a:lnTo>
                  <a:lnTo>
                    <a:pt x="878" y="1624"/>
                  </a:lnTo>
                  <a:lnTo>
                    <a:pt x="878" y="1624"/>
                  </a:lnTo>
                  <a:lnTo>
                    <a:pt x="878" y="1624"/>
                  </a:lnTo>
                  <a:lnTo>
                    <a:pt x="878" y="1624"/>
                  </a:lnTo>
                  <a:lnTo>
                    <a:pt x="878" y="1624"/>
                  </a:lnTo>
                  <a:lnTo>
                    <a:pt x="878" y="1624"/>
                  </a:lnTo>
                  <a:lnTo>
                    <a:pt x="876" y="1625"/>
                  </a:lnTo>
                  <a:lnTo>
                    <a:pt x="876" y="1625"/>
                  </a:lnTo>
                  <a:lnTo>
                    <a:pt x="875" y="1628"/>
                  </a:lnTo>
                  <a:lnTo>
                    <a:pt x="873" y="1631"/>
                  </a:lnTo>
                  <a:lnTo>
                    <a:pt x="873" y="1631"/>
                  </a:lnTo>
                  <a:lnTo>
                    <a:pt x="875" y="1634"/>
                  </a:lnTo>
                  <a:lnTo>
                    <a:pt x="875" y="1635"/>
                  </a:lnTo>
                  <a:lnTo>
                    <a:pt x="875" y="1635"/>
                  </a:lnTo>
                  <a:lnTo>
                    <a:pt x="878" y="1638"/>
                  </a:lnTo>
                  <a:lnTo>
                    <a:pt x="881" y="1641"/>
                  </a:lnTo>
                  <a:lnTo>
                    <a:pt x="881" y="1641"/>
                  </a:lnTo>
                  <a:lnTo>
                    <a:pt x="888" y="1644"/>
                  </a:lnTo>
                  <a:lnTo>
                    <a:pt x="888" y="1644"/>
                  </a:lnTo>
                  <a:lnTo>
                    <a:pt x="889" y="1645"/>
                  </a:lnTo>
                  <a:lnTo>
                    <a:pt x="889" y="1645"/>
                  </a:lnTo>
                  <a:lnTo>
                    <a:pt x="901" y="1663"/>
                  </a:lnTo>
                  <a:lnTo>
                    <a:pt x="901" y="1663"/>
                  </a:lnTo>
                  <a:lnTo>
                    <a:pt x="907" y="1671"/>
                  </a:lnTo>
                  <a:lnTo>
                    <a:pt x="907" y="1671"/>
                  </a:lnTo>
                  <a:lnTo>
                    <a:pt x="910" y="1676"/>
                  </a:lnTo>
                  <a:lnTo>
                    <a:pt x="910" y="1677"/>
                  </a:lnTo>
                  <a:lnTo>
                    <a:pt x="910" y="1677"/>
                  </a:lnTo>
                  <a:lnTo>
                    <a:pt x="910" y="1677"/>
                  </a:lnTo>
                  <a:lnTo>
                    <a:pt x="910" y="1677"/>
                  </a:lnTo>
                  <a:lnTo>
                    <a:pt x="910" y="1677"/>
                  </a:lnTo>
                  <a:lnTo>
                    <a:pt x="910" y="1677"/>
                  </a:lnTo>
                  <a:lnTo>
                    <a:pt x="910" y="1677"/>
                  </a:lnTo>
                  <a:lnTo>
                    <a:pt x="910" y="1677"/>
                  </a:lnTo>
                  <a:lnTo>
                    <a:pt x="910" y="1677"/>
                  </a:lnTo>
                  <a:lnTo>
                    <a:pt x="908" y="1679"/>
                  </a:lnTo>
                  <a:lnTo>
                    <a:pt x="908" y="1679"/>
                  </a:lnTo>
                  <a:lnTo>
                    <a:pt x="905" y="1682"/>
                  </a:lnTo>
                  <a:lnTo>
                    <a:pt x="905" y="1682"/>
                  </a:lnTo>
                  <a:lnTo>
                    <a:pt x="905" y="1682"/>
                  </a:lnTo>
                  <a:lnTo>
                    <a:pt x="905" y="1683"/>
                  </a:lnTo>
                  <a:lnTo>
                    <a:pt x="905" y="1683"/>
                  </a:lnTo>
                  <a:lnTo>
                    <a:pt x="907" y="1689"/>
                  </a:lnTo>
                  <a:lnTo>
                    <a:pt x="907" y="1689"/>
                  </a:lnTo>
                  <a:lnTo>
                    <a:pt x="911" y="1700"/>
                  </a:lnTo>
                  <a:lnTo>
                    <a:pt x="917" y="1711"/>
                  </a:lnTo>
                  <a:lnTo>
                    <a:pt x="917" y="1711"/>
                  </a:lnTo>
                  <a:lnTo>
                    <a:pt x="920" y="1715"/>
                  </a:lnTo>
                  <a:lnTo>
                    <a:pt x="924" y="1718"/>
                  </a:lnTo>
                  <a:lnTo>
                    <a:pt x="924" y="1718"/>
                  </a:lnTo>
                  <a:lnTo>
                    <a:pt x="931" y="1722"/>
                  </a:lnTo>
                  <a:lnTo>
                    <a:pt x="931" y="1722"/>
                  </a:lnTo>
                  <a:lnTo>
                    <a:pt x="937" y="1729"/>
                  </a:lnTo>
                  <a:lnTo>
                    <a:pt x="937" y="1729"/>
                  </a:lnTo>
                  <a:lnTo>
                    <a:pt x="944" y="1741"/>
                  </a:lnTo>
                  <a:lnTo>
                    <a:pt x="944" y="1741"/>
                  </a:lnTo>
                  <a:lnTo>
                    <a:pt x="962" y="1770"/>
                  </a:lnTo>
                  <a:lnTo>
                    <a:pt x="962" y="1770"/>
                  </a:lnTo>
                  <a:lnTo>
                    <a:pt x="963" y="1776"/>
                  </a:lnTo>
                  <a:lnTo>
                    <a:pt x="963" y="1776"/>
                  </a:lnTo>
                  <a:lnTo>
                    <a:pt x="963" y="1777"/>
                  </a:lnTo>
                  <a:lnTo>
                    <a:pt x="963" y="1777"/>
                  </a:lnTo>
                  <a:lnTo>
                    <a:pt x="962" y="1782"/>
                  </a:lnTo>
                  <a:lnTo>
                    <a:pt x="962" y="1782"/>
                  </a:lnTo>
                  <a:lnTo>
                    <a:pt x="962" y="1784"/>
                  </a:lnTo>
                  <a:lnTo>
                    <a:pt x="962" y="1784"/>
                  </a:lnTo>
                  <a:lnTo>
                    <a:pt x="965" y="1792"/>
                  </a:lnTo>
                  <a:lnTo>
                    <a:pt x="965" y="1792"/>
                  </a:lnTo>
                  <a:lnTo>
                    <a:pt x="970" y="1811"/>
                  </a:lnTo>
                  <a:lnTo>
                    <a:pt x="970" y="1811"/>
                  </a:lnTo>
                  <a:lnTo>
                    <a:pt x="973" y="1818"/>
                  </a:lnTo>
                  <a:lnTo>
                    <a:pt x="973" y="1818"/>
                  </a:lnTo>
                  <a:lnTo>
                    <a:pt x="973" y="1824"/>
                  </a:lnTo>
                  <a:lnTo>
                    <a:pt x="973" y="1824"/>
                  </a:lnTo>
                  <a:lnTo>
                    <a:pt x="975" y="1828"/>
                  </a:lnTo>
                  <a:lnTo>
                    <a:pt x="978" y="1834"/>
                  </a:lnTo>
                  <a:lnTo>
                    <a:pt x="978" y="1834"/>
                  </a:lnTo>
                  <a:lnTo>
                    <a:pt x="982" y="1837"/>
                  </a:lnTo>
                  <a:lnTo>
                    <a:pt x="986" y="1838"/>
                  </a:lnTo>
                  <a:lnTo>
                    <a:pt x="986" y="1838"/>
                  </a:lnTo>
                  <a:lnTo>
                    <a:pt x="986" y="1838"/>
                  </a:lnTo>
                  <a:lnTo>
                    <a:pt x="992" y="1837"/>
                  </a:lnTo>
                  <a:lnTo>
                    <a:pt x="992" y="1837"/>
                  </a:lnTo>
                  <a:lnTo>
                    <a:pt x="1001" y="1834"/>
                  </a:lnTo>
                  <a:lnTo>
                    <a:pt x="1001" y="1834"/>
                  </a:lnTo>
                  <a:lnTo>
                    <a:pt x="1008" y="1829"/>
                  </a:lnTo>
                  <a:lnTo>
                    <a:pt x="1008" y="1829"/>
                  </a:lnTo>
                  <a:lnTo>
                    <a:pt x="1012" y="1828"/>
                  </a:lnTo>
                  <a:lnTo>
                    <a:pt x="1012" y="1828"/>
                  </a:lnTo>
                  <a:lnTo>
                    <a:pt x="1024" y="1826"/>
                  </a:lnTo>
                  <a:lnTo>
                    <a:pt x="1036" y="1826"/>
                  </a:lnTo>
                  <a:lnTo>
                    <a:pt x="1036" y="1826"/>
                  </a:lnTo>
                  <a:lnTo>
                    <a:pt x="1041" y="1825"/>
                  </a:lnTo>
                  <a:lnTo>
                    <a:pt x="1047" y="1824"/>
                  </a:lnTo>
                  <a:lnTo>
                    <a:pt x="1047" y="1824"/>
                  </a:lnTo>
                  <a:lnTo>
                    <a:pt x="1066" y="1815"/>
                  </a:lnTo>
                  <a:lnTo>
                    <a:pt x="1066" y="1815"/>
                  </a:lnTo>
                  <a:lnTo>
                    <a:pt x="1082" y="1806"/>
                  </a:lnTo>
                  <a:lnTo>
                    <a:pt x="1082" y="1806"/>
                  </a:lnTo>
                  <a:lnTo>
                    <a:pt x="1091" y="1802"/>
                  </a:lnTo>
                  <a:lnTo>
                    <a:pt x="1091" y="1802"/>
                  </a:lnTo>
                  <a:lnTo>
                    <a:pt x="1107" y="1796"/>
                  </a:lnTo>
                  <a:lnTo>
                    <a:pt x="1107" y="1796"/>
                  </a:lnTo>
                  <a:lnTo>
                    <a:pt x="1114" y="1795"/>
                  </a:lnTo>
                  <a:lnTo>
                    <a:pt x="1114" y="1795"/>
                  </a:lnTo>
                  <a:lnTo>
                    <a:pt x="1117" y="1793"/>
                  </a:lnTo>
                  <a:lnTo>
                    <a:pt x="1117" y="1793"/>
                  </a:lnTo>
                  <a:lnTo>
                    <a:pt x="1118" y="1793"/>
                  </a:lnTo>
                  <a:lnTo>
                    <a:pt x="1118" y="1793"/>
                  </a:lnTo>
                  <a:lnTo>
                    <a:pt x="1121" y="1789"/>
                  </a:lnTo>
                  <a:lnTo>
                    <a:pt x="1121" y="1789"/>
                  </a:lnTo>
                  <a:lnTo>
                    <a:pt x="1124" y="1783"/>
                  </a:lnTo>
                  <a:lnTo>
                    <a:pt x="1124" y="1783"/>
                  </a:lnTo>
                  <a:lnTo>
                    <a:pt x="1127" y="1777"/>
                  </a:lnTo>
                  <a:lnTo>
                    <a:pt x="1127" y="1777"/>
                  </a:lnTo>
                  <a:lnTo>
                    <a:pt x="1128" y="1777"/>
                  </a:lnTo>
                  <a:lnTo>
                    <a:pt x="1128" y="1777"/>
                  </a:lnTo>
                  <a:lnTo>
                    <a:pt x="1143" y="1771"/>
                  </a:lnTo>
                  <a:lnTo>
                    <a:pt x="1143" y="1771"/>
                  </a:lnTo>
                  <a:lnTo>
                    <a:pt x="1150" y="1769"/>
                  </a:lnTo>
                  <a:lnTo>
                    <a:pt x="1150" y="1769"/>
                  </a:lnTo>
                  <a:lnTo>
                    <a:pt x="1154" y="1767"/>
                  </a:lnTo>
                  <a:lnTo>
                    <a:pt x="1154" y="1767"/>
                  </a:lnTo>
                  <a:lnTo>
                    <a:pt x="1160" y="1767"/>
                  </a:lnTo>
                  <a:lnTo>
                    <a:pt x="1166" y="1766"/>
                  </a:lnTo>
                  <a:lnTo>
                    <a:pt x="1166" y="1766"/>
                  </a:lnTo>
                  <a:lnTo>
                    <a:pt x="1172" y="1764"/>
                  </a:lnTo>
                  <a:lnTo>
                    <a:pt x="1172" y="1764"/>
                  </a:lnTo>
                  <a:lnTo>
                    <a:pt x="1173" y="1761"/>
                  </a:lnTo>
                  <a:lnTo>
                    <a:pt x="1175" y="1758"/>
                  </a:lnTo>
                  <a:lnTo>
                    <a:pt x="1175" y="1758"/>
                  </a:lnTo>
                  <a:lnTo>
                    <a:pt x="1177" y="1754"/>
                  </a:lnTo>
                  <a:lnTo>
                    <a:pt x="1177" y="1754"/>
                  </a:lnTo>
                  <a:lnTo>
                    <a:pt x="1182" y="1753"/>
                  </a:lnTo>
                  <a:lnTo>
                    <a:pt x="1182" y="1753"/>
                  </a:lnTo>
                  <a:lnTo>
                    <a:pt x="1186" y="1750"/>
                  </a:lnTo>
                  <a:lnTo>
                    <a:pt x="1189" y="1747"/>
                  </a:lnTo>
                  <a:lnTo>
                    <a:pt x="1189" y="1747"/>
                  </a:lnTo>
                  <a:lnTo>
                    <a:pt x="1192" y="1741"/>
                  </a:lnTo>
                  <a:lnTo>
                    <a:pt x="1192" y="1741"/>
                  </a:lnTo>
                  <a:lnTo>
                    <a:pt x="1193" y="1740"/>
                  </a:lnTo>
                  <a:lnTo>
                    <a:pt x="1193" y="1740"/>
                  </a:lnTo>
                  <a:lnTo>
                    <a:pt x="1199" y="1738"/>
                  </a:lnTo>
                  <a:lnTo>
                    <a:pt x="1206" y="1735"/>
                  </a:lnTo>
                  <a:lnTo>
                    <a:pt x="1206" y="1735"/>
                  </a:lnTo>
                  <a:lnTo>
                    <a:pt x="1208" y="1735"/>
                  </a:lnTo>
                  <a:lnTo>
                    <a:pt x="1211" y="1734"/>
                  </a:lnTo>
                  <a:lnTo>
                    <a:pt x="1211" y="1734"/>
                  </a:lnTo>
                  <a:lnTo>
                    <a:pt x="1211" y="1732"/>
                  </a:lnTo>
                  <a:lnTo>
                    <a:pt x="1212" y="1729"/>
                  </a:lnTo>
                  <a:lnTo>
                    <a:pt x="1212" y="1729"/>
                  </a:lnTo>
                  <a:lnTo>
                    <a:pt x="1211" y="1725"/>
                  </a:lnTo>
                  <a:lnTo>
                    <a:pt x="1211" y="1725"/>
                  </a:lnTo>
                  <a:lnTo>
                    <a:pt x="1209" y="1722"/>
                  </a:lnTo>
                  <a:lnTo>
                    <a:pt x="1209" y="1722"/>
                  </a:lnTo>
                  <a:lnTo>
                    <a:pt x="1209" y="1722"/>
                  </a:lnTo>
                  <a:lnTo>
                    <a:pt x="1209" y="1722"/>
                  </a:lnTo>
                  <a:lnTo>
                    <a:pt x="1211" y="1716"/>
                  </a:lnTo>
                  <a:lnTo>
                    <a:pt x="1214" y="1706"/>
                  </a:lnTo>
                  <a:lnTo>
                    <a:pt x="1214" y="1706"/>
                  </a:lnTo>
                  <a:lnTo>
                    <a:pt x="1214" y="1705"/>
                  </a:lnTo>
                  <a:lnTo>
                    <a:pt x="1214" y="1705"/>
                  </a:lnTo>
                  <a:lnTo>
                    <a:pt x="1214" y="1703"/>
                  </a:lnTo>
                  <a:lnTo>
                    <a:pt x="1214" y="1705"/>
                  </a:lnTo>
                  <a:lnTo>
                    <a:pt x="1214" y="1705"/>
                  </a:lnTo>
                  <a:lnTo>
                    <a:pt x="1214" y="1703"/>
                  </a:lnTo>
                  <a:lnTo>
                    <a:pt x="1214" y="1705"/>
                  </a:lnTo>
                  <a:lnTo>
                    <a:pt x="1212" y="1703"/>
                  </a:lnTo>
                  <a:lnTo>
                    <a:pt x="1212" y="1706"/>
                  </a:lnTo>
                  <a:lnTo>
                    <a:pt x="1212" y="1706"/>
                  </a:lnTo>
                  <a:lnTo>
                    <a:pt x="1214" y="1705"/>
                  </a:lnTo>
                  <a:lnTo>
                    <a:pt x="1212" y="1703"/>
                  </a:lnTo>
                  <a:lnTo>
                    <a:pt x="1212" y="1706"/>
                  </a:lnTo>
                  <a:lnTo>
                    <a:pt x="1212" y="1703"/>
                  </a:lnTo>
                  <a:lnTo>
                    <a:pt x="1212" y="1705"/>
                  </a:lnTo>
                  <a:lnTo>
                    <a:pt x="1212" y="1705"/>
                  </a:lnTo>
                  <a:lnTo>
                    <a:pt x="1212" y="1706"/>
                  </a:lnTo>
                  <a:lnTo>
                    <a:pt x="1212" y="1703"/>
                  </a:lnTo>
                  <a:lnTo>
                    <a:pt x="1212" y="1705"/>
                  </a:lnTo>
                  <a:lnTo>
                    <a:pt x="1212" y="1705"/>
                  </a:lnTo>
                  <a:lnTo>
                    <a:pt x="1211" y="1705"/>
                  </a:lnTo>
                  <a:lnTo>
                    <a:pt x="1212" y="1705"/>
                  </a:lnTo>
                  <a:lnTo>
                    <a:pt x="1212" y="1705"/>
                  </a:lnTo>
                  <a:lnTo>
                    <a:pt x="1211" y="1705"/>
                  </a:lnTo>
                  <a:lnTo>
                    <a:pt x="1211" y="1706"/>
                  </a:lnTo>
                  <a:lnTo>
                    <a:pt x="1211" y="1706"/>
                  </a:lnTo>
                  <a:lnTo>
                    <a:pt x="1212" y="1708"/>
                  </a:lnTo>
                  <a:lnTo>
                    <a:pt x="1212" y="1708"/>
                  </a:lnTo>
                  <a:lnTo>
                    <a:pt x="1215" y="1711"/>
                  </a:lnTo>
                  <a:lnTo>
                    <a:pt x="1215" y="1711"/>
                  </a:lnTo>
                  <a:lnTo>
                    <a:pt x="1217" y="1711"/>
                  </a:lnTo>
                  <a:lnTo>
                    <a:pt x="1217" y="1711"/>
                  </a:lnTo>
                  <a:lnTo>
                    <a:pt x="1219" y="1711"/>
                  </a:lnTo>
                  <a:lnTo>
                    <a:pt x="1219" y="1711"/>
                  </a:lnTo>
                  <a:lnTo>
                    <a:pt x="1222" y="1708"/>
                  </a:lnTo>
                  <a:lnTo>
                    <a:pt x="1222" y="1708"/>
                  </a:lnTo>
                  <a:lnTo>
                    <a:pt x="1227" y="1702"/>
                  </a:lnTo>
                  <a:lnTo>
                    <a:pt x="1227" y="1702"/>
                  </a:lnTo>
                  <a:lnTo>
                    <a:pt x="1230" y="1698"/>
                  </a:lnTo>
                  <a:lnTo>
                    <a:pt x="1230" y="1698"/>
                  </a:lnTo>
                  <a:lnTo>
                    <a:pt x="1233" y="1695"/>
                  </a:lnTo>
                  <a:lnTo>
                    <a:pt x="1235" y="1690"/>
                  </a:lnTo>
                  <a:lnTo>
                    <a:pt x="1235" y="1690"/>
                  </a:lnTo>
                  <a:lnTo>
                    <a:pt x="1240" y="1680"/>
                  </a:lnTo>
                  <a:lnTo>
                    <a:pt x="1240" y="1680"/>
                  </a:lnTo>
                  <a:lnTo>
                    <a:pt x="1241" y="1676"/>
                  </a:lnTo>
                  <a:lnTo>
                    <a:pt x="1241" y="1676"/>
                  </a:lnTo>
                  <a:lnTo>
                    <a:pt x="1241" y="1673"/>
                  </a:lnTo>
                  <a:lnTo>
                    <a:pt x="1241" y="1673"/>
                  </a:lnTo>
                  <a:lnTo>
                    <a:pt x="1241" y="1670"/>
                  </a:lnTo>
                  <a:lnTo>
                    <a:pt x="1240" y="1669"/>
                  </a:lnTo>
                  <a:lnTo>
                    <a:pt x="1240" y="1669"/>
                  </a:lnTo>
                  <a:lnTo>
                    <a:pt x="1235" y="1667"/>
                  </a:lnTo>
                  <a:lnTo>
                    <a:pt x="1235" y="1667"/>
                  </a:lnTo>
                  <a:lnTo>
                    <a:pt x="1234" y="1666"/>
                  </a:lnTo>
                  <a:lnTo>
                    <a:pt x="1231" y="1663"/>
                  </a:lnTo>
                  <a:lnTo>
                    <a:pt x="1231" y="1663"/>
                  </a:lnTo>
                  <a:lnTo>
                    <a:pt x="1225" y="1656"/>
                  </a:lnTo>
                  <a:lnTo>
                    <a:pt x="1225" y="1656"/>
                  </a:lnTo>
                  <a:lnTo>
                    <a:pt x="1221" y="1651"/>
                  </a:lnTo>
                  <a:lnTo>
                    <a:pt x="1214" y="1650"/>
                  </a:lnTo>
                  <a:lnTo>
                    <a:pt x="1214" y="1650"/>
                  </a:lnTo>
                  <a:lnTo>
                    <a:pt x="1202" y="1648"/>
                  </a:lnTo>
                  <a:lnTo>
                    <a:pt x="1202" y="1648"/>
                  </a:lnTo>
                  <a:lnTo>
                    <a:pt x="1198" y="1645"/>
                  </a:lnTo>
                  <a:lnTo>
                    <a:pt x="1198" y="1645"/>
                  </a:lnTo>
                  <a:lnTo>
                    <a:pt x="1195" y="1641"/>
                  </a:lnTo>
                  <a:lnTo>
                    <a:pt x="1192" y="1635"/>
                  </a:lnTo>
                  <a:lnTo>
                    <a:pt x="1188" y="1625"/>
                  </a:lnTo>
                  <a:lnTo>
                    <a:pt x="1188" y="1625"/>
                  </a:lnTo>
                  <a:lnTo>
                    <a:pt x="1188" y="1622"/>
                  </a:lnTo>
                  <a:lnTo>
                    <a:pt x="1188" y="1622"/>
                  </a:lnTo>
                  <a:lnTo>
                    <a:pt x="1189" y="1616"/>
                  </a:lnTo>
                  <a:lnTo>
                    <a:pt x="1189" y="1616"/>
                  </a:lnTo>
                  <a:lnTo>
                    <a:pt x="1191" y="1615"/>
                  </a:lnTo>
                  <a:lnTo>
                    <a:pt x="1191" y="1614"/>
                  </a:lnTo>
                  <a:lnTo>
                    <a:pt x="1191" y="1614"/>
                  </a:lnTo>
                  <a:lnTo>
                    <a:pt x="1191" y="1612"/>
                  </a:lnTo>
                  <a:lnTo>
                    <a:pt x="1191" y="1612"/>
                  </a:lnTo>
                  <a:lnTo>
                    <a:pt x="1191" y="1609"/>
                  </a:lnTo>
                  <a:lnTo>
                    <a:pt x="1191" y="1609"/>
                  </a:lnTo>
                  <a:lnTo>
                    <a:pt x="1188" y="1609"/>
                  </a:lnTo>
                  <a:lnTo>
                    <a:pt x="1188" y="1609"/>
                  </a:lnTo>
                  <a:lnTo>
                    <a:pt x="1188" y="1609"/>
                  </a:lnTo>
                  <a:lnTo>
                    <a:pt x="1186" y="1609"/>
                  </a:lnTo>
                  <a:lnTo>
                    <a:pt x="1186" y="1609"/>
                  </a:lnTo>
                  <a:lnTo>
                    <a:pt x="1179" y="1615"/>
                  </a:lnTo>
                  <a:lnTo>
                    <a:pt x="1179" y="1615"/>
                  </a:lnTo>
                  <a:lnTo>
                    <a:pt x="1164" y="1629"/>
                  </a:lnTo>
                  <a:lnTo>
                    <a:pt x="1164" y="1629"/>
                  </a:lnTo>
                  <a:lnTo>
                    <a:pt x="1157" y="1635"/>
                  </a:lnTo>
                  <a:lnTo>
                    <a:pt x="1157" y="1635"/>
                  </a:lnTo>
                  <a:lnTo>
                    <a:pt x="1154" y="1640"/>
                  </a:lnTo>
                  <a:lnTo>
                    <a:pt x="1154" y="1640"/>
                  </a:lnTo>
                  <a:lnTo>
                    <a:pt x="1153" y="1641"/>
                  </a:lnTo>
                  <a:lnTo>
                    <a:pt x="1153" y="1641"/>
                  </a:lnTo>
                  <a:lnTo>
                    <a:pt x="1147" y="1641"/>
                  </a:lnTo>
                  <a:lnTo>
                    <a:pt x="1147" y="1641"/>
                  </a:lnTo>
                  <a:lnTo>
                    <a:pt x="1133" y="1641"/>
                  </a:lnTo>
                  <a:lnTo>
                    <a:pt x="1133" y="1641"/>
                  </a:lnTo>
                  <a:lnTo>
                    <a:pt x="1130" y="1641"/>
                  </a:lnTo>
                  <a:lnTo>
                    <a:pt x="1130" y="1641"/>
                  </a:lnTo>
                  <a:lnTo>
                    <a:pt x="1121" y="1643"/>
                  </a:lnTo>
                  <a:lnTo>
                    <a:pt x="1121" y="1643"/>
                  </a:lnTo>
                  <a:lnTo>
                    <a:pt x="1117" y="1641"/>
                  </a:lnTo>
                  <a:lnTo>
                    <a:pt x="1117" y="1641"/>
                  </a:lnTo>
                  <a:lnTo>
                    <a:pt x="1114" y="1640"/>
                  </a:lnTo>
                  <a:lnTo>
                    <a:pt x="1111" y="1638"/>
                  </a:lnTo>
                  <a:lnTo>
                    <a:pt x="1111" y="1638"/>
                  </a:lnTo>
                  <a:lnTo>
                    <a:pt x="1108" y="1634"/>
                  </a:lnTo>
                  <a:lnTo>
                    <a:pt x="1107" y="1634"/>
                  </a:lnTo>
                  <a:lnTo>
                    <a:pt x="1108" y="1634"/>
                  </a:lnTo>
                  <a:lnTo>
                    <a:pt x="1108" y="1634"/>
                  </a:lnTo>
                  <a:lnTo>
                    <a:pt x="1107" y="1634"/>
                  </a:lnTo>
                  <a:lnTo>
                    <a:pt x="1108" y="1634"/>
                  </a:lnTo>
                  <a:lnTo>
                    <a:pt x="1108" y="1634"/>
                  </a:lnTo>
                  <a:lnTo>
                    <a:pt x="1108" y="1634"/>
                  </a:lnTo>
                  <a:lnTo>
                    <a:pt x="1108" y="1634"/>
                  </a:lnTo>
                  <a:lnTo>
                    <a:pt x="1108" y="1634"/>
                  </a:lnTo>
                  <a:lnTo>
                    <a:pt x="1108" y="1634"/>
                  </a:lnTo>
                  <a:lnTo>
                    <a:pt x="1108" y="1634"/>
                  </a:lnTo>
                  <a:lnTo>
                    <a:pt x="1108" y="1634"/>
                  </a:lnTo>
                  <a:lnTo>
                    <a:pt x="1109" y="1632"/>
                  </a:lnTo>
                  <a:lnTo>
                    <a:pt x="1109" y="1632"/>
                  </a:lnTo>
                  <a:lnTo>
                    <a:pt x="1114" y="1629"/>
                  </a:lnTo>
                  <a:lnTo>
                    <a:pt x="1114" y="1629"/>
                  </a:lnTo>
                  <a:lnTo>
                    <a:pt x="1117" y="1627"/>
                  </a:lnTo>
                  <a:lnTo>
                    <a:pt x="1117" y="1627"/>
                  </a:lnTo>
                  <a:lnTo>
                    <a:pt x="1118" y="1624"/>
                  </a:lnTo>
                  <a:lnTo>
                    <a:pt x="1118" y="1624"/>
                  </a:lnTo>
                  <a:lnTo>
                    <a:pt x="1117" y="1619"/>
                  </a:lnTo>
                  <a:lnTo>
                    <a:pt x="1117" y="1619"/>
                  </a:lnTo>
                  <a:lnTo>
                    <a:pt x="1112" y="1612"/>
                  </a:lnTo>
                  <a:lnTo>
                    <a:pt x="1112" y="1612"/>
                  </a:lnTo>
                  <a:lnTo>
                    <a:pt x="1111" y="1609"/>
                  </a:lnTo>
                  <a:lnTo>
                    <a:pt x="1111" y="1609"/>
                  </a:lnTo>
                  <a:lnTo>
                    <a:pt x="1107" y="1606"/>
                  </a:lnTo>
                  <a:lnTo>
                    <a:pt x="1107" y="1606"/>
                  </a:lnTo>
                  <a:lnTo>
                    <a:pt x="1107" y="1606"/>
                  </a:lnTo>
                  <a:lnTo>
                    <a:pt x="1104" y="1608"/>
                  </a:lnTo>
                  <a:lnTo>
                    <a:pt x="1104" y="1608"/>
                  </a:lnTo>
                  <a:lnTo>
                    <a:pt x="1101" y="1611"/>
                  </a:lnTo>
                  <a:lnTo>
                    <a:pt x="1101" y="1611"/>
                  </a:lnTo>
                  <a:lnTo>
                    <a:pt x="1099" y="1615"/>
                  </a:lnTo>
                  <a:lnTo>
                    <a:pt x="1099" y="1615"/>
                  </a:lnTo>
                  <a:lnTo>
                    <a:pt x="1098" y="1616"/>
                  </a:lnTo>
                  <a:lnTo>
                    <a:pt x="1098" y="1616"/>
                  </a:lnTo>
                  <a:lnTo>
                    <a:pt x="1098" y="1616"/>
                  </a:lnTo>
                  <a:lnTo>
                    <a:pt x="1098" y="1616"/>
                  </a:lnTo>
                  <a:lnTo>
                    <a:pt x="1098" y="1616"/>
                  </a:lnTo>
                  <a:lnTo>
                    <a:pt x="1098" y="1616"/>
                  </a:lnTo>
                  <a:lnTo>
                    <a:pt x="1098" y="1616"/>
                  </a:lnTo>
                  <a:lnTo>
                    <a:pt x="1098" y="1616"/>
                  </a:lnTo>
                  <a:lnTo>
                    <a:pt x="1098" y="1616"/>
                  </a:lnTo>
                  <a:lnTo>
                    <a:pt x="1098" y="1616"/>
                  </a:lnTo>
                  <a:lnTo>
                    <a:pt x="1098" y="1616"/>
                  </a:lnTo>
                  <a:lnTo>
                    <a:pt x="1095" y="1615"/>
                  </a:lnTo>
                  <a:lnTo>
                    <a:pt x="1095" y="1615"/>
                  </a:lnTo>
                  <a:lnTo>
                    <a:pt x="1092" y="1612"/>
                  </a:lnTo>
                  <a:lnTo>
                    <a:pt x="1092" y="1614"/>
                  </a:lnTo>
                  <a:lnTo>
                    <a:pt x="1093" y="1612"/>
                  </a:lnTo>
                  <a:lnTo>
                    <a:pt x="1092" y="1612"/>
                  </a:lnTo>
                  <a:lnTo>
                    <a:pt x="1092" y="1614"/>
                  </a:lnTo>
                  <a:lnTo>
                    <a:pt x="1093" y="1612"/>
                  </a:lnTo>
                  <a:lnTo>
                    <a:pt x="1092" y="1612"/>
                  </a:lnTo>
                  <a:lnTo>
                    <a:pt x="1093" y="1612"/>
                  </a:lnTo>
                  <a:lnTo>
                    <a:pt x="1093" y="1612"/>
                  </a:lnTo>
                  <a:lnTo>
                    <a:pt x="1092" y="1612"/>
                  </a:lnTo>
                  <a:lnTo>
                    <a:pt x="1093" y="1612"/>
                  </a:lnTo>
                  <a:lnTo>
                    <a:pt x="1093" y="1612"/>
                  </a:lnTo>
                  <a:lnTo>
                    <a:pt x="1092" y="1611"/>
                  </a:lnTo>
                  <a:lnTo>
                    <a:pt x="1092" y="1611"/>
                  </a:lnTo>
                  <a:lnTo>
                    <a:pt x="1089" y="1598"/>
                  </a:lnTo>
                  <a:lnTo>
                    <a:pt x="1089" y="1598"/>
                  </a:lnTo>
                  <a:lnTo>
                    <a:pt x="1088" y="1595"/>
                  </a:lnTo>
                  <a:lnTo>
                    <a:pt x="1088" y="1595"/>
                  </a:lnTo>
                  <a:lnTo>
                    <a:pt x="1083" y="1587"/>
                  </a:lnTo>
                  <a:lnTo>
                    <a:pt x="1083" y="1587"/>
                  </a:lnTo>
                  <a:lnTo>
                    <a:pt x="1079" y="1583"/>
                  </a:lnTo>
                  <a:lnTo>
                    <a:pt x="1079" y="1583"/>
                  </a:lnTo>
                  <a:lnTo>
                    <a:pt x="1072" y="1577"/>
                  </a:lnTo>
                  <a:lnTo>
                    <a:pt x="1072" y="1577"/>
                  </a:lnTo>
                  <a:lnTo>
                    <a:pt x="1067" y="1570"/>
                  </a:lnTo>
                  <a:lnTo>
                    <a:pt x="1067" y="1570"/>
                  </a:lnTo>
                  <a:lnTo>
                    <a:pt x="1062" y="1561"/>
                  </a:lnTo>
                  <a:lnTo>
                    <a:pt x="1056" y="1553"/>
                  </a:lnTo>
                  <a:lnTo>
                    <a:pt x="1056" y="1553"/>
                  </a:lnTo>
                  <a:lnTo>
                    <a:pt x="1054" y="1551"/>
                  </a:lnTo>
                  <a:lnTo>
                    <a:pt x="1054" y="1550"/>
                  </a:lnTo>
                  <a:lnTo>
                    <a:pt x="1054" y="1550"/>
                  </a:lnTo>
                  <a:lnTo>
                    <a:pt x="1056" y="1548"/>
                  </a:lnTo>
                  <a:lnTo>
                    <a:pt x="1056" y="1548"/>
                  </a:lnTo>
                  <a:lnTo>
                    <a:pt x="1057" y="1547"/>
                  </a:lnTo>
                  <a:lnTo>
                    <a:pt x="1057" y="1544"/>
                  </a:lnTo>
                  <a:lnTo>
                    <a:pt x="1057" y="1544"/>
                  </a:lnTo>
                  <a:lnTo>
                    <a:pt x="1057" y="1545"/>
                  </a:lnTo>
                  <a:lnTo>
                    <a:pt x="1057" y="1544"/>
                  </a:lnTo>
                  <a:lnTo>
                    <a:pt x="1057" y="1544"/>
                  </a:lnTo>
                  <a:lnTo>
                    <a:pt x="1057" y="1545"/>
                  </a:lnTo>
                  <a:lnTo>
                    <a:pt x="1057" y="1544"/>
                  </a:lnTo>
                  <a:lnTo>
                    <a:pt x="1057" y="1545"/>
                  </a:lnTo>
                  <a:lnTo>
                    <a:pt x="1057" y="1545"/>
                  </a:lnTo>
                  <a:lnTo>
                    <a:pt x="1057" y="1544"/>
                  </a:lnTo>
                  <a:lnTo>
                    <a:pt x="1057" y="1545"/>
                  </a:lnTo>
                  <a:lnTo>
                    <a:pt x="1057" y="1545"/>
                  </a:lnTo>
                  <a:lnTo>
                    <a:pt x="1057" y="1545"/>
                  </a:lnTo>
                  <a:lnTo>
                    <a:pt x="1057" y="1545"/>
                  </a:lnTo>
                  <a:lnTo>
                    <a:pt x="1057" y="1545"/>
                  </a:lnTo>
                  <a:lnTo>
                    <a:pt x="1057" y="1545"/>
                  </a:lnTo>
                  <a:lnTo>
                    <a:pt x="1057" y="1545"/>
                  </a:lnTo>
                  <a:lnTo>
                    <a:pt x="1060" y="1544"/>
                  </a:lnTo>
                  <a:lnTo>
                    <a:pt x="1060" y="1544"/>
                  </a:lnTo>
                  <a:lnTo>
                    <a:pt x="1067" y="1544"/>
                  </a:lnTo>
                  <a:lnTo>
                    <a:pt x="1067" y="1544"/>
                  </a:lnTo>
                  <a:lnTo>
                    <a:pt x="1070" y="1543"/>
                  </a:lnTo>
                  <a:lnTo>
                    <a:pt x="1070" y="1543"/>
                  </a:lnTo>
                  <a:lnTo>
                    <a:pt x="1072" y="1541"/>
                  </a:lnTo>
                  <a:lnTo>
                    <a:pt x="1072" y="1541"/>
                  </a:lnTo>
                  <a:lnTo>
                    <a:pt x="1073" y="1540"/>
                  </a:lnTo>
                  <a:lnTo>
                    <a:pt x="1073" y="1540"/>
                  </a:lnTo>
                  <a:lnTo>
                    <a:pt x="1073" y="1538"/>
                  </a:lnTo>
                  <a:lnTo>
                    <a:pt x="1072" y="1538"/>
                  </a:lnTo>
                  <a:lnTo>
                    <a:pt x="1072" y="1540"/>
                  </a:lnTo>
                  <a:lnTo>
                    <a:pt x="1073" y="1538"/>
                  </a:lnTo>
                  <a:lnTo>
                    <a:pt x="1072" y="1538"/>
                  </a:lnTo>
                  <a:lnTo>
                    <a:pt x="1072" y="1540"/>
                  </a:lnTo>
                  <a:lnTo>
                    <a:pt x="1072" y="1538"/>
                  </a:lnTo>
                  <a:lnTo>
                    <a:pt x="1072" y="1540"/>
                  </a:lnTo>
                  <a:lnTo>
                    <a:pt x="1072" y="1540"/>
                  </a:lnTo>
                  <a:lnTo>
                    <a:pt x="1072" y="1538"/>
                  </a:lnTo>
                  <a:lnTo>
                    <a:pt x="1072" y="1540"/>
                  </a:lnTo>
                  <a:lnTo>
                    <a:pt x="1072" y="1540"/>
                  </a:lnTo>
                  <a:lnTo>
                    <a:pt x="1072" y="1540"/>
                  </a:lnTo>
                  <a:lnTo>
                    <a:pt x="1072" y="1540"/>
                  </a:lnTo>
                  <a:lnTo>
                    <a:pt x="1072" y="1540"/>
                  </a:lnTo>
                  <a:lnTo>
                    <a:pt x="1072" y="1540"/>
                  </a:lnTo>
                  <a:lnTo>
                    <a:pt x="1072" y="1540"/>
                  </a:lnTo>
                  <a:lnTo>
                    <a:pt x="1072" y="1540"/>
                  </a:lnTo>
                  <a:lnTo>
                    <a:pt x="1076" y="1543"/>
                  </a:lnTo>
                  <a:lnTo>
                    <a:pt x="1076" y="1543"/>
                  </a:lnTo>
                  <a:lnTo>
                    <a:pt x="1080" y="1547"/>
                  </a:lnTo>
                  <a:lnTo>
                    <a:pt x="1080" y="1547"/>
                  </a:lnTo>
                  <a:lnTo>
                    <a:pt x="1088" y="1548"/>
                  </a:lnTo>
                  <a:lnTo>
                    <a:pt x="1088" y="1548"/>
                  </a:lnTo>
                  <a:lnTo>
                    <a:pt x="1086" y="1548"/>
                  </a:lnTo>
                  <a:lnTo>
                    <a:pt x="1088" y="1548"/>
                  </a:lnTo>
                  <a:lnTo>
                    <a:pt x="1088" y="1548"/>
                  </a:lnTo>
                  <a:lnTo>
                    <a:pt x="1086" y="1548"/>
                  </a:lnTo>
                  <a:lnTo>
                    <a:pt x="1086" y="1548"/>
                  </a:lnTo>
                  <a:lnTo>
                    <a:pt x="1089" y="1550"/>
                  </a:lnTo>
                  <a:lnTo>
                    <a:pt x="1089" y="1550"/>
                  </a:lnTo>
                  <a:lnTo>
                    <a:pt x="1093" y="1557"/>
                  </a:lnTo>
                  <a:lnTo>
                    <a:pt x="1098" y="1567"/>
                  </a:lnTo>
                  <a:lnTo>
                    <a:pt x="1098" y="1567"/>
                  </a:lnTo>
                  <a:lnTo>
                    <a:pt x="1101" y="1572"/>
                  </a:lnTo>
                  <a:lnTo>
                    <a:pt x="1105" y="1576"/>
                  </a:lnTo>
                  <a:lnTo>
                    <a:pt x="1105" y="1576"/>
                  </a:lnTo>
                  <a:lnTo>
                    <a:pt x="1109" y="1579"/>
                  </a:lnTo>
                  <a:lnTo>
                    <a:pt x="1115" y="1579"/>
                  </a:lnTo>
                  <a:lnTo>
                    <a:pt x="1115" y="1579"/>
                  </a:lnTo>
                  <a:lnTo>
                    <a:pt x="1120" y="1580"/>
                  </a:lnTo>
                  <a:lnTo>
                    <a:pt x="1120" y="1580"/>
                  </a:lnTo>
                  <a:lnTo>
                    <a:pt x="1122" y="1585"/>
                  </a:lnTo>
                  <a:lnTo>
                    <a:pt x="1122" y="1585"/>
                  </a:lnTo>
                  <a:lnTo>
                    <a:pt x="1124" y="1587"/>
                  </a:lnTo>
                  <a:lnTo>
                    <a:pt x="1127" y="1590"/>
                  </a:lnTo>
                  <a:lnTo>
                    <a:pt x="1127" y="1590"/>
                  </a:lnTo>
                  <a:lnTo>
                    <a:pt x="1131" y="1595"/>
                  </a:lnTo>
                  <a:lnTo>
                    <a:pt x="1137" y="1598"/>
                  </a:lnTo>
                  <a:lnTo>
                    <a:pt x="1137" y="1598"/>
                  </a:lnTo>
                  <a:lnTo>
                    <a:pt x="1149" y="1601"/>
                  </a:lnTo>
                  <a:lnTo>
                    <a:pt x="1149" y="1601"/>
                  </a:lnTo>
                  <a:lnTo>
                    <a:pt x="1156" y="1602"/>
                  </a:lnTo>
                  <a:lnTo>
                    <a:pt x="1156" y="1602"/>
                  </a:lnTo>
                  <a:lnTo>
                    <a:pt x="1160" y="1603"/>
                  </a:lnTo>
                  <a:lnTo>
                    <a:pt x="1164" y="1605"/>
                  </a:lnTo>
                  <a:lnTo>
                    <a:pt x="1164" y="1605"/>
                  </a:lnTo>
                  <a:lnTo>
                    <a:pt x="1167" y="1605"/>
                  </a:lnTo>
                  <a:lnTo>
                    <a:pt x="1167" y="1605"/>
                  </a:lnTo>
                  <a:lnTo>
                    <a:pt x="1173" y="1602"/>
                  </a:lnTo>
                  <a:lnTo>
                    <a:pt x="1179" y="1598"/>
                  </a:lnTo>
                  <a:lnTo>
                    <a:pt x="1179" y="1598"/>
                  </a:lnTo>
                  <a:lnTo>
                    <a:pt x="1186" y="1592"/>
                  </a:lnTo>
                  <a:lnTo>
                    <a:pt x="1185" y="1590"/>
                  </a:lnTo>
                  <a:lnTo>
                    <a:pt x="1185" y="1592"/>
                  </a:lnTo>
                  <a:lnTo>
                    <a:pt x="1186" y="1592"/>
                  </a:lnTo>
                  <a:lnTo>
                    <a:pt x="1185" y="1590"/>
                  </a:lnTo>
                  <a:lnTo>
                    <a:pt x="1185" y="1592"/>
                  </a:lnTo>
                  <a:lnTo>
                    <a:pt x="1185" y="1590"/>
                  </a:lnTo>
                  <a:lnTo>
                    <a:pt x="1185" y="1592"/>
                  </a:lnTo>
                  <a:lnTo>
                    <a:pt x="1185" y="1592"/>
                  </a:lnTo>
                  <a:lnTo>
                    <a:pt x="1185" y="1590"/>
                  </a:lnTo>
                  <a:lnTo>
                    <a:pt x="1185" y="1592"/>
                  </a:lnTo>
                  <a:lnTo>
                    <a:pt x="1185" y="1592"/>
                  </a:lnTo>
                  <a:lnTo>
                    <a:pt x="1185" y="1592"/>
                  </a:lnTo>
                  <a:lnTo>
                    <a:pt x="1185" y="1592"/>
                  </a:lnTo>
                  <a:lnTo>
                    <a:pt x="1185" y="1592"/>
                  </a:lnTo>
                  <a:lnTo>
                    <a:pt x="1185" y="1592"/>
                  </a:lnTo>
                  <a:lnTo>
                    <a:pt x="1185" y="1592"/>
                  </a:lnTo>
                  <a:lnTo>
                    <a:pt x="1186" y="1593"/>
                  </a:lnTo>
                  <a:lnTo>
                    <a:pt x="1186" y="1593"/>
                  </a:lnTo>
                  <a:lnTo>
                    <a:pt x="1189" y="1598"/>
                  </a:lnTo>
                  <a:lnTo>
                    <a:pt x="1192" y="1605"/>
                  </a:lnTo>
                  <a:lnTo>
                    <a:pt x="1192" y="1605"/>
                  </a:lnTo>
                  <a:lnTo>
                    <a:pt x="1193" y="1609"/>
                  </a:lnTo>
                  <a:lnTo>
                    <a:pt x="1195" y="1614"/>
                  </a:lnTo>
                  <a:lnTo>
                    <a:pt x="1195" y="1614"/>
                  </a:lnTo>
                  <a:lnTo>
                    <a:pt x="1199" y="1616"/>
                  </a:lnTo>
                  <a:lnTo>
                    <a:pt x="1199" y="1616"/>
                  </a:lnTo>
                  <a:lnTo>
                    <a:pt x="1205" y="1619"/>
                  </a:lnTo>
                  <a:lnTo>
                    <a:pt x="1205" y="1619"/>
                  </a:lnTo>
                  <a:lnTo>
                    <a:pt x="1218" y="1622"/>
                  </a:lnTo>
                  <a:lnTo>
                    <a:pt x="1218" y="1622"/>
                  </a:lnTo>
                  <a:lnTo>
                    <a:pt x="1240" y="1624"/>
                  </a:lnTo>
                  <a:lnTo>
                    <a:pt x="1240" y="1624"/>
                  </a:lnTo>
                  <a:lnTo>
                    <a:pt x="1250" y="1625"/>
                  </a:lnTo>
                  <a:lnTo>
                    <a:pt x="1250" y="1625"/>
                  </a:lnTo>
                  <a:lnTo>
                    <a:pt x="1253" y="1625"/>
                  </a:lnTo>
                  <a:lnTo>
                    <a:pt x="1253" y="1625"/>
                  </a:lnTo>
                  <a:lnTo>
                    <a:pt x="1254" y="1627"/>
                  </a:lnTo>
                  <a:lnTo>
                    <a:pt x="1254" y="1627"/>
                  </a:lnTo>
                  <a:lnTo>
                    <a:pt x="1264" y="1628"/>
                  </a:lnTo>
                  <a:lnTo>
                    <a:pt x="1264" y="1628"/>
                  </a:lnTo>
                  <a:lnTo>
                    <a:pt x="1279" y="1629"/>
                  </a:lnTo>
                  <a:lnTo>
                    <a:pt x="1279" y="1629"/>
                  </a:lnTo>
                  <a:lnTo>
                    <a:pt x="1286" y="1629"/>
                  </a:lnTo>
                  <a:lnTo>
                    <a:pt x="1286" y="1629"/>
                  </a:lnTo>
                  <a:lnTo>
                    <a:pt x="1296" y="1628"/>
                  </a:lnTo>
                  <a:lnTo>
                    <a:pt x="1296" y="1628"/>
                  </a:lnTo>
                  <a:lnTo>
                    <a:pt x="1303" y="1627"/>
                  </a:lnTo>
                  <a:lnTo>
                    <a:pt x="1303" y="1627"/>
                  </a:lnTo>
                  <a:lnTo>
                    <a:pt x="1305" y="1627"/>
                  </a:lnTo>
                  <a:lnTo>
                    <a:pt x="1306" y="1627"/>
                  </a:lnTo>
                  <a:lnTo>
                    <a:pt x="1306" y="1627"/>
                  </a:lnTo>
                  <a:lnTo>
                    <a:pt x="1309" y="1628"/>
                  </a:lnTo>
                  <a:lnTo>
                    <a:pt x="1315" y="1629"/>
                  </a:lnTo>
                  <a:lnTo>
                    <a:pt x="1315" y="1629"/>
                  </a:lnTo>
                  <a:lnTo>
                    <a:pt x="1317" y="1629"/>
                  </a:lnTo>
                  <a:lnTo>
                    <a:pt x="1317" y="1629"/>
                  </a:lnTo>
                  <a:lnTo>
                    <a:pt x="1334" y="1627"/>
                  </a:lnTo>
                  <a:lnTo>
                    <a:pt x="1334" y="1627"/>
                  </a:lnTo>
                  <a:lnTo>
                    <a:pt x="1343" y="1625"/>
                  </a:lnTo>
                  <a:lnTo>
                    <a:pt x="1343" y="1625"/>
                  </a:lnTo>
                  <a:lnTo>
                    <a:pt x="1348" y="1625"/>
                  </a:lnTo>
                  <a:lnTo>
                    <a:pt x="1348" y="1625"/>
                  </a:lnTo>
                  <a:lnTo>
                    <a:pt x="1348" y="1625"/>
                  </a:lnTo>
                  <a:lnTo>
                    <a:pt x="1348" y="1625"/>
                  </a:lnTo>
                  <a:lnTo>
                    <a:pt x="1353" y="1632"/>
                  </a:lnTo>
                  <a:lnTo>
                    <a:pt x="1353" y="1632"/>
                  </a:lnTo>
                  <a:lnTo>
                    <a:pt x="1354" y="1635"/>
                  </a:lnTo>
                  <a:lnTo>
                    <a:pt x="1354" y="1635"/>
                  </a:lnTo>
                  <a:lnTo>
                    <a:pt x="1357" y="1640"/>
                  </a:lnTo>
                  <a:lnTo>
                    <a:pt x="1357" y="1640"/>
                  </a:lnTo>
                  <a:lnTo>
                    <a:pt x="1359" y="1641"/>
                  </a:lnTo>
                  <a:lnTo>
                    <a:pt x="1359" y="1641"/>
                  </a:lnTo>
                  <a:lnTo>
                    <a:pt x="1359" y="1645"/>
                  </a:lnTo>
                  <a:lnTo>
                    <a:pt x="1359" y="1645"/>
                  </a:lnTo>
                  <a:lnTo>
                    <a:pt x="1360" y="1650"/>
                  </a:lnTo>
                  <a:lnTo>
                    <a:pt x="1364" y="1653"/>
                  </a:lnTo>
                  <a:lnTo>
                    <a:pt x="1364" y="1653"/>
                  </a:lnTo>
                  <a:lnTo>
                    <a:pt x="1369" y="1654"/>
                  </a:lnTo>
                  <a:lnTo>
                    <a:pt x="1373" y="1654"/>
                  </a:lnTo>
                  <a:lnTo>
                    <a:pt x="1373" y="1654"/>
                  </a:lnTo>
                  <a:lnTo>
                    <a:pt x="1380" y="1653"/>
                  </a:lnTo>
                  <a:lnTo>
                    <a:pt x="1382" y="1653"/>
                  </a:lnTo>
                  <a:lnTo>
                    <a:pt x="1382" y="1653"/>
                  </a:lnTo>
                  <a:lnTo>
                    <a:pt x="1382" y="1653"/>
                  </a:lnTo>
                  <a:lnTo>
                    <a:pt x="1382" y="1653"/>
                  </a:lnTo>
                  <a:lnTo>
                    <a:pt x="1382" y="1653"/>
                  </a:lnTo>
                  <a:lnTo>
                    <a:pt x="1382" y="1653"/>
                  </a:lnTo>
                  <a:lnTo>
                    <a:pt x="1382" y="1653"/>
                  </a:lnTo>
                  <a:lnTo>
                    <a:pt x="1382" y="1651"/>
                  </a:lnTo>
                  <a:lnTo>
                    <a:pt x="1380" y="1653"/>
                  </a:lnTo>
                  <a:lnTo>
                    <a:pt x="1382" y="1653"/>
                  </a:lnTo>
                  <a:lnTo>
                    <a:pt x="1382" y="1651"/>
                  </a:lnTo>
                  <a:lnTo>
                    <a:pt x="1380" y="1653"/>
                  </a:lnTo>
                  <a:lnTo>
                    <a:pt x="1382" y="1651"/>
                  </a:lnTo>
                  <a:lnTo>
                    <a:pt x="1380" y="1651"/>
                  </a:lnTo>
                  <a:lnTo>
                    <a:pt x="1380" y="1653"/>
                  </a:lnTo>
                  <a:lnTo>
                    <a:pt x="1382" y="1651"/>
                  </a:lnTo>
                  <a:lnTo>
                    <a:pt x="1380" y="1651"/>
                  </a:lnTo>
                  <a:lnTo>
                    <a:pt x="1380" y="1653"/>
                  </a:lnTo>
                  <a:lnTo>
                    <a:pt x="1380" y="1653"/>
                  </a:lnTo>
                  <a:lnTo>
                    <a:pt x="1380" y="1657"/>
                  </a:lnTo>
                  <a:lnTo>
                    <a:pt x="1380" y="1657"/>
                  </a:lnTo>
                  <a:lnTo>
                    <a:pt x="1380" y="1660"/>
                  </a:lnTo>
                  <a:lnTo>
                    <a:pt x="1380" y="1660"/>
                  </a:lnTo>
                  <a:lnTo>
                    <a:pt x="1382" y="1664"/>
                  </a:lnTo>
                  <a:lnTo>
                    <a:pt x="1382" y="1664"/>
                  </a:lnTo>
                  <a:lnTo>
                    <a:pt x="1385" y="1667"/>
                  </a:lnTo>
                  <a:lnTo>
                    <a:pt x="1389" y="1669"/>
                  </a:lnTo>
                  <a:lnTo>
                    <a:pt x="1389" y="1669"/>
                  </a:lnTo>
                  <a:lnTo>
                    <a:pt x="1401" y="1671"/>
                  </a:lnTo>
                  <a:lnTo>
                    <a:pt x="1401" y="1671"/>
                  </a:lnTo>
                  <a:lnTo>
                    <a:pt x="1405" y="1671"/>
                  </a:lnTo>
                  <a:lnTo>
                    <a:pt x="1405" y="1671"/>
                  </a:lnTo>
                  <a:lnTo>
                    <a:pt x="1408" y="1673"/>
                  </a:lnTo>
                  <a:lnTo>
                    <a:pt x="1408" y="1673"/>
                  </a:lnTo>
                  <a:lnTo>
                    <a:pt x="1408" y="1673"/>
                  </a:lnTo>
                  <a:lnTo>
                    <a:pt x="1409" y="1671"/>
                  </a:lnTo>
                  <a:lnTo>
                    <a:pt x="1408" y="1673"/>
                  </a:lnTo>
                  <a:lnTo>
                    <a:pt x="1408" y="1673"/>
                  </a:lnTo>
                  <a:lnTo>
                    <a:pt x="1409" y="1671"/>
                  </a:lnTo>
                  <a:lnTo>
                    <a:pt x="1408" y="1673"/>
                  </a:lnTo>
                  <a:lnTo>
                    <a:pt x="1409" y="1671"/>
                  </a:lnTo>
                  <a:lnTo>
                    <a:pt x="1408" y="1671"/>
                  </a:lnTo>
                  <a:lnTo>
                    <a:pt x="1408" y="1673"/>
                  </a:lnTo>
                  <a:lnTo>
                    <a:pt x="1409" y="1671"/>
                  </a:lnTo>
                  <a:lnTo>
                    <a:pt x="1408" y="1671"/>
                  </a:lnTo>
                  <a:lnTo>
                    <a:pt x="1409" y="1671"/>
                  </a:lnTo>
                  <a:lnTo>
                    <a:pt x="1408" y="1670"/>
                  </a:lnTo>
                  <a:lnTo>
                    <a:pt x="1408" y="1671"/>
                  </a:lnTo>
                  <a:lnTo>
                    <a:pt x="1409" y="1671"/>
                  </a:lnTo>
                  <a:lnTo>
                    <a:pt x="1408" y="1670"/>
                  </a:lnTo>
                  <a:lnTo>
                    <a:pt x="1408" y="1671"/>
                  </a:lnTo>
                  <a:lnTo>
                    <a:pt x="1408" y="1670"/>
                  </a:lnTo>
                  <a:lnTo>
                    <a:pt x="1408" y="1670"/>
                  </a:lnTo>
                  <a:lnTo>
                    <a:pt x="1408" y="1671"/>
                  </a:lnTo>
                  <a:lnTo>
                    <a:pt x="1408" y="1670"/>
                  </a:lnTo>
                  <a:lnTo>
                    <a:pt x="1408" y="1670"/>
                  </a:lnTo>
                  <a:lnTo>
                    <a:pt x="1405" y="1671"/>
                  </a:lnTo>
                  <a:lnTo>
                    <a:pt x="1405" y="1671"/>
                  </a:lnTo>
                  <a:lnTo>
                    <a:pt x="1401" y="1674"/>
                  </a:lnTo>
                  <a:lnTo>
                    <a:pt x="1401" y="1674"/>
                  </a:lnTo>
                  <a:lnTo>
                    <a:pt x="1399" y="1674"/>
                  </a:lnTo>
                  <a:lnTo>
                    <a:pt x="1399" y="1674"/>
                  </a:lnTo>
                  <a:lnTo>
                    <a:pt x="1393" y="1673"/>
                  </a:lnTo>
                  <a:lnTo>
                    <a:pt x="1393" y="1673"/>
                  </a:lnTo>
                  <a:lnTo>
                    <a:pt x="1390" y="1671"/>
                  </a:lnTo>
                  <a:lnTo>
                    <a:pt x="1390" y="1671"/>
                  </a:lnTo>
                  <a:lnTo>
                    <a:pt x="1387" y="1671"/>
                  </a:lnTo>
                  <a:lnTo>
                    <a:pt x="1387" y="1671"/>
                  </a:lnTo>
                  <a:lnTo>
                    <a:pt x="1386" y="1671"/>
                  </a:lnTo>
                  <a:lnTo>
                    <a:pt x="1386" y="1671"/>
                  </a:lnTo>
                  <a:lnTo>
                    <a:pt x="1385" y="1674"/>
                  </a:lnTo>
                  <a:lnTo>
                    <a:pt x="1385" y="1674"/>
                  </a:lnTo>
                  <a:lnTo>
                    <a:pt x="1385" y="1676"/>
                  </a:lnTo>
                  <a:lnTo>
                    <a:pt x="1385" y="1676"/>
                  </a:lnTo>
                  <a:lnTo>
                    <a:pt x="1386" y="1679"/>
                  </a:lnTo>
                  <a:lnTo>
                    <a:pt x="1386" y="1679"/>
                  </a:lnTo>
                  <a:lnTo>
                    <a:pt x="1401" y="1698"/>
                  </a:lnTo>
                  <a:lnTo>
                    <a:pt x="1401" y="1698"/>
                  </a:lnTo>
                  <a:lnTo>
                    <a:pt x="1408" y="1706"/>
                  </a:lnTo>
                  <a:lnTo>
                    <a:pt x="1408" y="1706"/>
                  </a:lnTo>
                  <a:lnTo>
                    <a:pt x="1412" y="1709"/>
                  </a:lnTo>
                  <a:lnTo>
                    <a:pt x="1412" y="1709"/>
                  </a:lnTo>
                  <a:lnTo>
                    <a:pt x="1415" y="1711"/>
                  </a:lnTo>
                  <a:lnTo>
                    <a:pt x="1415" y="1711"/>
                  </a:lnTo>
                  <a:lnTo>
                    <a:pt x="1418" y="1712"/>
                  </a:lnTo>
                  <a:lnTo>
                    <a:pt x="1418" y="1712"/>
                  </a:lnTo>
                  <a:lnTo>
                    <a:pt x="1422" y="1711"/>
                  </a:lnTo>
                  <a:lnTo>
                    <a:pt x="1428" y="1709"/>
                  </a:lnTo>
                  <a:lnTo>
                    <a:pt x="1428" y="1709"/>
                  </a:lnTo>
                  <a:lnTo>
                    <a:pt x="1437" y="1703"/>
                  </a:lnTo>
                  <a:lnTo>
                    <a:pt x="1437" y="1703"/>
                  </a:lnTo>
                  <a:lnTo>
                    <a:pt x="1440" y="1700"/>
                  </a:lnTo>
                  <a:lnTo>
                    <a:pt x="1440" y="1700"/>
                  </a:lnTo>
                  <a:lnTo>
                    <a:pt x="1441" y="1695"/>
                  </a:lnTo>
                  <a:lnTo>
                    <a:pt x="1441" y="1695"/>
                  </a:lnTo>
                  <a:lnTo>
                    <a:pt x="1441" y="1686"/>
                  </a:lnTo>
                  <a:lnTo>
                    <a:pt x="1441" y="1686"/>
                  </a:lnTo>
                  <a:lnTo>
                    <a:pt x="1443" y="1683"/>
                  </a:lnTo>
                  <a:lnTo>
                    <a:pt x="1443" y="1683"/>
                  </a:lnTo>
                  <a:lnTo>
                    <a:pt x="1443" y="1683"/>
                  </a:lnTo>
                  <a:lnTo>
                    <a:pt x="1441" y="1682"/>
                  </a:lnTo>
                  <a:lnTo>
                    <a:pt x="1443" y="1683"/>
                  </a:lnTo>
                  <a:lnTo>
                    <a:pt x="1443" y="1683"/>
                  </a:lnTo>
                  <a:lnTo>
                    <a:pt x="1441" y="1682"/>
                  </a:lnTo>
                  <a:lnTo>
                    <a:pt x="1443" y="1683"/>
                  </a:lnTo>
                  <a:lnTo>
                    <a:pt x="1441" y="1682"/>
                  </a:lnTo>
                  <a:lnTo>
                    <a:pt x="1441" y="1683"/>
                  </a:lnTo>
                  <a:lnTo>
                    <a:pt x="1441" y="1683"/>
                  </a:lnTo>
                  <a:lnTo>
                    <a:pt x="1443" y="1683"/>
                  </a:lnTo>
                  <a:lnTo>
                    <a:pt x="1441" y="1682"/>
                  </a:lnTo>
                  <a:lnTo>
                    <a:pt x="1441" y="1683"/>
                  </a:lnTo>
                  <a:lnTo>
                    <a:pt x="1441" y="1682"/>
                  </a:lnTo>
                  <a:lnTo>
                    <a:pt x="1440" y="1683"/>
                  </a:lnTo>
                  <a:lnTo>
                    <a:pt x="1441" y="1683"/>
                  </a:lnTo>
                  <a:lnTo>
                    <a:pt x="1441" y="1682"/>
                  </a:lnTo>
                  <a:lnTo>
                    <a:pt x="1440" y="1683"/>
                  </a:lnTo>
                  <a:lnTo>
                    <a:pt x="1440" y="1683"/>
                  </a:lnTo>
                  <a:lnTo>
                    <a:pt x="1440" y="1683"/>
                  </a:lnTo>
                  <a:lnTo>
                    <a:pt x="1440" y="1683"/>
                  </a:lnTo>
                  <a:lnTo>
                    <a:pt x="1440" y="1683"/>
                  </a:lnTo>
                  <a:lnTo>
                    <a:pt x="1440" y="1683"/>
                  </a:lnTo>
                  <a:lnTo>
                    <a:pt x="1440" y="1683"/>
                  </a:lnTo>
                  <a:lnTo>
                    <a:pt x="1441" y="1686"/>
                  </a:lnTo>
                  <a:lnTo>
                    <a:pt x="1441" y="1686"/>
                  </a:lnTo>
                  <a:lnTo>
                    <a:pt x="1443" y="1692"/>
                  </a:lnTo>
                  <a:lnTo>
                    <a:pt x="1443" y="1692"/>
                  </a:lnTo>
                  <a:lnTo>
                    <a:pt x="1444" y="1698"/>
                  </a:lnTo>
                  <a:lnTo>
                    <a:pt x="1444" y="1698"/>
                  </a:lnTo>
                  <a:lnTo>
                    <a:pt x="1444" y="1702"/>
                  </a:lnTo>
                  <a:lnTo>
                    <a:pt x="1444" y="1702"/>
                  </a:lnTo>
                  <a:lnTo>
                    <a:pt x="1445" y="1724"/>
                  </a:lnTo>
                  <a:lnTo>
                    <a:pt x="1445" y="1724"/>
                  </a:lnTo>
                  <a:lnTo>
                    <a:pt x="1445" y="1725"/>
                  </a:lnTo>
                  <a:lnTo>
                    <a:pt x="1445" y="1725"/>
                  </a:lnTo>
                  <a:lnTo>
                    <a:pt x="1445" y="1725"/>
                  </a:lnTo>
                  <a:lnTo>
                    <a:pt x="1445" y="1725"/>
                  </a:lnTo>
                  <a:lnTo>
                    <a:pt x="1447" y="1731"/>
                  </a:lnTo>
                  <a:lnTo>
                    <a:pt x="1447" y="1731"/>
                  </a:lnTo>
                  <a:lnTo>
                    <a:pt x="1453" y="1755"/>
                  </a:lnTo>
                  <a:lnTo>
                    <a:pt x="1453" y="1755"/>
                  </a:lnTo>
                  <a:lnTo>
                    <a:pt x="1460" y="1783"/>
                  </a:lnTo>
                  <a:lnTo>
                    <a:pt x="1460" y="1783"/>
                  </a:lnTo>
                  <a:lnTo>
                    <a:pt x="1470" y="1808"/>
                  </a:lnTo>
                  <a:lnTo>
                    <a:pt x="1470" y="1808"/>
                  </a:lnTo>
                  <a:lnTo>
                    <a:pt x="1476" y="1818"/>
                  </a:lnTo>
                  <a:lnTo>
                    <a:pt x="1476" y="1818"/>
                  </a:lnTo>
                  <a:lnTo>
                    <a:pt x="1477" y="1822"/>
                  </a:lnTo>
                  <a:lnTo>
                    <a:pt x="1479" y="1825"/>
                  </a:lnTo>
                  <a:lnTo>
                    <a:pt x="1479" y="1825"/>
                  </a:lnTo>
                  <a:lnTo>
                    <a:pt x="1479" y="1826"/>
                  </a:lnTo>
                  <a:lnTo>
                    <a:pt x="1479" y="1826"/>
                  </a:lnTo>
                  <a:lnTo>
                    <a:pt x="1479" y="1826"/>
                  </a:lnTo>
                  <a:lnTo>
                    <a:pt x="1477" y="1828"/>
                  </a:lnTo>
                  <a:lnTo>
                    <a:pt x="1477" y="1828"/>
                  </a:lnTo>
                  <a:lnTo>
                    <a:pt x="1480" y="1837"/>
                  </a:lnTo>
                  <a:lnTo>
                    <a:pt x="1480" y="1837"/>
                  </a:lnTo>
                  <a:lnTo>
                    <a:pt x="1486" y="1850"/>
                  </a:lnTo>
                  <a:lnTo>
                    <a:pt x="1486" y="1850"/>
                  </a:lnTo>
                  <a:lnTo>
                    <a:pt x="1490" y="1858"/>
                  </a:lnTo>
                  <a:lnTo>
                    <a:pt x="1490" y="1858"/>
                  </a:lnTo>
                  <a:lnTo>
                    <a:pt x="1499" y="1880"/>
                  </a:lnTo>
                  <a:lnTo>
                    <a:pt x="1499" y="1880"/>
                  </a:lnTo>
                  <a:lnTo>
                    <a:pt x="1506" y="1895"/>
                  </a:lnTo>
                  <a:lnTo>
                    <a:pt x="1506" y="1895"/>
                  </a:lnTo>
                  <a:lnTo>
                    <a:pt x="1511" y="1903"/>
                  </a:lnTo>
                  <a:lnTo>
                    <a:pt x="1511" y="1903"/>
                  </a:lnTo>
                  <a:lnTo>
                    <a:pt x="1518" y="1912"/>
                  </a:lnTo>
                  <a:lnTo>
                    <a:pt x="1518" y="1912"/>
                  </a:lnTo>
                  <a:lnTo>
                    <a:pt x="1525" y="1916"/>
                  </a:lnTo>
                  <a:lnTo>
                    <a:pt x="1525" y="1916"/>
                  </a:lnTo>
                  <a:lnTo>
                    <a:pt x="1528" y="1918"/>
                  </a:lnTo>
                  <a:lnTo>
                    <a:pt x="1528" y="1918"/>
                  </a:lnTo>
                  <a:lnTo>
                    <a:pt x="1529" y="1916"/>
                  </a:lnTo>
                  <a:lnTo>
                    <a:pt x="1532" y="1915"/>
                  </a:lnTo>
                  <a:lnTo>
                    <a:pt x="1532" y="1915"/>
                  </a:lnTo>
                  <a:lnTo>
                    <a:pt x="1537" y="1910"/>
                  </a:lnTo>
                  <a:lnTo>
                    <a:pt x="1537" y="1910"/>
                  </a:lnTo>
                  <a:lnTo>
                    <a:pt x="1540" y="1903"/>
                  </a:lnTo>
                  <a:lnTo>
                    <a:pt x="1540" y="1903"/>
                  </a:lnTo>
                  <a:lnTo>
                    <a:pt x="1541" y="1902"/>
                  </a:lnTo>
                  <a:lnTo>
                    <a:pt x="1541" y="1902"/>
                  </a:lnTo>
                  <a:lnTo>
                    <a:pt x="1544" y="1902"/>
                  </a:lnTo>
                  <a:lnTo>
                    <a:pt x="1544" y="1902"/>
                  </a:lnTo>
                  <a:lnTo>
                    <a:pt x="1548" y="1900"/>
                  </a:lnTo>
                  <a:lnTo>
                    <a:pt x="1548" y="1900"/>
                  </a:lnTo>
                  <a:lnTo>
                    <a:pt x="1551" y="1897"/>
                  </a:lnTo>
                  <a:lnTo>
                    <a:pt x="1551" y="1897"/>
                  </a:lnTo>
                  <a:lnTo>
                    <a:pt x="1554" y="1893"/>
                  </a:lnTo>
                  <a:lnTo>
                    <a:pt x="1554" y="1893"/>
                  </a:lnTo>
                  <a:lnTo>
                    <a:pt x="1557" y="1889"/>
                  </a:lnTo>
                  <a:lnTo>
                    <a:pt x="1557" y="1889"/>
                  </a:lnTo>
                  <a:lnTo>
                    <a:pt x="1561" y="1883"/>
                  </a:lnTo>
                  <a:lnTo>
                    <a:pt x="1561" y="1883"/>
                  </a:lnTo>
                  <a:lnTo>
                    <a:pt x="1569" y="1874"/>
                  </a:lnTo>
                  <a:lnTo>
                    <a:pt x="1569" y="1874"/>
                  </a:lnTo>
                  <a:lnTo>
                    <a:pt x="1569" y="1870"/>
                  </a:lnTo>
                  <a:lnTo>
                    <a:pt x="1569" y="1870"/>
                  </a:lnTo>
                  <a:lnTo>
                    <a:pt x="1569" y="1866"/>
                  </a:lnTo>
                  <a:lnTo>
                    <a:pt x="1567" y="1861"/>
                  </a:lnTo>
                  <a:lnTo>
                    <a:pt x="1564" y="1855"/>
                  </a:lnTo>
                  <a:lnTo>
                    <a:pt x="1564" y="1854"/>
                  </a:lnTo>
                  <a:lnTo>
                    <a:pt x="1564" y="1854"/>
                  </a:lnTo>
                  <a:lnTo>
                    <a:pt x="1566" y="1850"/>
                  </a:lnTo>
                  <a:lnTo>
                    <a:pt x="1566" y="1850"/>
                  </a:lnTo>
                  <a:lnTo>
                    <a:pt x="1570" y="1845"/>
                  </a:lnTo>
                  <a:lnTo>
                    <a:pt x="1570" y="1845"/>
                  </a:lnTo>
                  <a:lnTo>
                    <a:pt x="1573" y="1839"/>
                  </a:lnTo>
                  <a:lnTo>
                    <a:pt x="1573" y="1839"/>
                  </a:lnTo>
                  <a:lnTo>
                    <a:pt x="1576" y="1831"/>
                  </a:lnTo>
                  <a:lnTo>
                    <a:pt x="1577" y="1819"/>
                  </a:lnTo>
                  <a:lnTo>
                    <a:pt x="1577" y="1819"/>
                  </a:lnTo>
                  <a:lnTo>
                    <a:pt x="1577" y="1815"/>
                  </a:lnTo>
                  <a:lnTo>
                    <a:pt x="1577" y="1815"/>
                  </a:lnTo>
                  <a:lnTo>
                    <a:pt x="1576" y="1806"/>
                  </a:lnTo>
                  <a:lnTo>
                    <a:pt x="1576" y="1806"/>
                  </a:lnTo>
                  <a:lnTo>
                    <a:pt x="1577" y="1799"/>
                  </a:lnTo>
                  <a:lnTo>
                    <a:pt x="1579" y="1792"/>
                  </a:lnTo>
                  <a:lnTo>
                    <a:pt x="1579" y="1792"/>
                  </a:lnTo>
                  <a:lnTo>
                    <a:pt x="1580" y="1790"/>
                  </a:lnTo>
                  <a:lnTo>
                    <a:pt x="1580" y="1790"/>
                  </a:lnTo>
                  <a:lnTo>
                    <a:pt x="1583" y="1789"/>
                  </a:lnTo>
                  <a:lnTo>
                    <a:pt x="1583" y="1789"/>
                  </a:lnTo>
                  <a:lnTo>
                    <a:pt x="1586" y="1789"/>
                  </a:lnTo>
                  <a:lnTo>
                    <a:pt x="1589" y="1787"/>
                  </a:lnTo>
                  <a:lnTo>
                    <a:pt x="1589" y="1787"/>
                  </a:lnTo>
                  <a:lnTo>
                    <a:pt x="1593" y="1783"/>
                  </a:lnTo>
                  <a:lnTo>
                    <a:pt x="1593" y="1783"/>
                  </a:lnTo>
                  <a:lnTo>
                    <a:pt x="1596" y="1780"/>
                  </a:lnTo>
                  <a:lnTo>
                    <a:pt x="1596" y="1780"/>
                  </a:lnTo>
                  <a:lnTo>
                    <a:pt x="1599" y="1777"/>
                  </a:lnTo>
                  <a:lnTo>
                    <a:pt x="1599" y="1777"/>
                  </a:lnTo>
                  <a:lnTo>
                    <a:pt x="1600" y="1774"/>
                  </a:lnTo>
                  <a:lnTo>
                    <a:pt x="1600" y="1774"/>
                  </a:lnTo>
                  <a:lnTo>
                    <a:pt x="1603" y="1769"/>
                  </a:lnTo>
                  <a:lnTo>
                    <a:pt x="1603" y="1769"/>
                  </a:lnTo>
                  <a:lnTo>
                    <a:pt x="1606" y="1766"/>
                  </a:lnTo>
                  <a:lnTo>
                    <a:pt x="1609" y="1764"/>
                  </a:lnTo>
                  <a:lnTo>
                    <a:pt x="1609" y="1764"/>
                  </a:lnTo>
                  <a:lnTo>
                    <a:pt x="1619" y="1758"/>
                  </a:lnTo>
                  <a:lnTo>
                    <a:pt x="1619" y="1758"/>
                  </a:lnTo>
                  <a:lnTo>
                    <a:pt x="1638" y="1742"/>
                  </a:lnTo>
                  <a:lnTo>
                    <a:pt x="1654" y="1729"/>
                  </a:lnTo>
                  <a:lnTo>
                    <a:pt x="1654" y="1729"/>
                  </a:lnTo>
                  <a:lnTo>
                    <a:pt x="1660" y="1725"/>
                  </a:lnTo>
                  <a:lnTo>
                    <a:pt x="1664" y="1722"/>
                  </a:lnTo>
                  <a:lnTo>
                    <a:pt x="1664" y="1722"/>
                  </a:lnTo>
                  <a:lnTo>
                    <a:pt x="1673" y="1722"/>
                  </a:lnTo>
                  <a:lnTo>
                    <a:pt x="1673" y="1722"/>
                  </a:lnTo>
                  <a:lnTo>
                    <a:pt x="1673" y="1722"/>
                  </a:lnTo>
                  <a:lnTo>
                    <a:pt x="1676" y="1721"/>
                  </a:lnTo>
                  <a:lnTo>
                    <a:pt x="1677" y="1719"/>
                  </a:lnTo>
                  <a:lnTo>
                    <a:pt x="1677" y="1719"/>
                  </a:lnTo>
                  <a:lnTo>
                    <a:pt x="1679" y="1716"/>
                  </a:lnTo>
                  <a:lnTo>
                    <a:pt x="1680" y="1713"/>
                  </a:lnTo>
                  <a:lnTo>
                    <a:pt x="1680" y="1713"/>
                  </a:lnTo>
                  <a:lnTo>
                    <a:pt x="1680" y="1706"/>
                  </a:lnTo>
                  <a:lnTo>
                    <a:pt x="1680" y="1706"/>
                  </a:lnTo>
                  <a:lnTo>
                    <a:pt x="1680" y="1705"/>
                  </a:lnTo>
                  <a:lnTo>
                    <a:pt x="1680" y="1705"/>
                  </a:lnTo>
                  <a:lnTo>
                    <a:pt x="1680" y="1699"/>
                  </a:lnTo>
                  <a:lnTo>
                    <a:pt x="1680" y="1699"/>
                  </a:lnTo>
                  <a:lnTo>
                    <a:pt x="1680" y="1696"/>
                  </a:lnTo>
                  <a:lnTo>
                    <a:pt x="1680" y="1696"/>
                  </a:lnTo>
                  <a:lnTo>
                    <a:pt x="1681" y="1696"/>
                  </a:lnTo>
                  <a:lnTo>
                    <a:pt x="1681" y="1696"/>
                  </a:lnTo>
                  <a:lnTo>
                    <a:pt x="1696" y="1690"/>
                  </a:lnTo>
                  <a:lnTo>
                    <a:pt x="1697" y="1690"/>
                  </a:lnTo>
                  <a:lnTo>
                    <a:pt x="1697" y="1690"/>
                  </a:lnTo>
                  <a:lnTo>
                    <a:pt x="1702" y="1692"/>
                  </a:lnTo>
                  <a:lnTo>
                    <a:pt x="1702" y="1692"/>
                  </a:lnTo>
                  <a:lnTo>
                    <a:pt x="1705" y="1693"/>
                  </a:lnTo>
                  <a:lnTo>
                    <a:pt x="1705" y="1693"/>
                  </a:lnTo>
                  <a:lnTo>
                    <a:pt x="1708" y="1693"/>
                  </a:lnTo>
                  <a:lnTo>
                    <a:pt x="1708" y="1693"/>
                  </a:lnTo>
                  <a:lnTo>
                    <a:pt x="1709" y="1693"/>
                  </a:lnTo>
                  <a:lnTo>
                    <a:pt x="1709" y="1693"/>
                  </a:lnTo>
                  <a:lnTo>
                    <a:pt x="1719" y="1690"/>
                  </a:lnTo>
                  <a:lnTo>
                    <a:pt x="1719" y="1690"/>
                  </a:lnTo>
                  <a:lnTo>
                    <a:pt x="1723" y="1687"/>
                  </a:lnTo>
                  <a:lnTo>
                    <a:pt x="1723" y="1687"/>
                  </a:lnTo>
                  <a:lnTo>
                    <a:pt x="1726" y="1686"/>
                  </a:lnTo>
                  <a:lnTo>
                    <a:pt x="1726" y="1685"/>
                  </a:lnTo>
                  <a:lnTo>
                    <a:pt x="1726" y="1685"/>
                  </a:lnTo>
                  <a:lnTo>
                    <a:pt x="1726" y="1685"/>
                  </a:lnTo>
                  <a:lnTo>
                    <a:pt x="1726" y="1685"/>
                  </a:lnTo>
                  <a:lnTo>
                    <a:pt x="1726" y="1685"/>
                  </a:lnTo>
                  <a:lnTo>
                    <a:pt x="1726" y="1685"/>
                  </a:lnTo>
                  <a:lnTo>
                    <a:pt x="1726" y="1685"/>
                  </a:lnTo>
                  <a:lnTo>
                    <a:pt x="1726" y="1685"/>
                  </a:lnTo>
                  <a:lnTo>
                    <a:pt x="1726" y="1685"/>
                  </a:lnTo>
                  <a:lnTo>
                    <a:pt x="1726" y="1685"/>
                  </a:lnTo>
                  <a:lnTo>
                    <a:pt x="1726" y="1685"/>
                  </a:lnTo>
                  <a:lnTo>
                    <a:pt x="1726" y="1685"/>
                  </a:lnTo>
                  <a:lnTo>
                    <a:pt x="1728" y="1686"/>
                  </a:lnTo>
                  <a:lnTo>
                    <a:pt x="1728" y="1686"/>
                  </a:lnTo>
                  <a:lnTo>
                    <a:pt x="1729" y="1686"/>
                  </a:lnTo>
                  <a:lnTo>
                    <a:pt x="1734" y="1687"/>
                  </a:lnTo>
                  <a:lnTo>
                    <a:pt x="1734" y="1687"/>
                  </a:lnTo>
                  <a:lnTo>
                    <a:pt x="1735" y="1687"/>
                  </a:lnTo>
                  <a:lnTo>
                    <a:pt x="1735" y="1687"/>
                  </a:lnTo>
                  <a:lnTo>
                    <a:pt x="1738" y="1687"/>
                  </a:lnTo>
                  <a:lnTo>
                    <a:pt x="1738" y="1687"/>
                  </a:lnTo>
                  <a:lnTo>
                    <a:pt x="1741" y="1685"/>
                  </a:lnTo>
                  <a:lnTo>
                    <a:pt x="1741" y="1685"/>
                  </a:lnTo>
                  <a:lnTo>
                    <a:pt x="1741" y="1682"/>
                  </a:lnTo>
                  <a:lnTo>
                    <a:pt x="1741" y="1682"/>
                  </a:lnTo>
                  <a:lnTo>
                    <a:pt x="1739" y="1677"/>
                  </a:lnTo>
                  <a:lnTo>
                    <a:pt x="1739" y="1677"/>
                  </a:lnTo>
                  <a:lnTo>
                    <a:pt x="1739" y="1677"/>
                  </a:lnTo>
                  <a:lnTo>
                    <a:pt x="1739" y="1677"/>
                  </a:lnTo>
                  <a:lnTo>
                    <a:pt x="1739" y="1677"/>
                  </a:lnTo>
                  <a:lnTo>
                    <a:pt x="1739" y="1677"/>
                  </a:lnTo>
                  <a:lnTo>
                    <a:pt x="1739" y="1677"/>
                  </a:lnTo>
                  <a:lnTo>
                    <a:pt x="1739" y="1677"/>
                  </a:lnTo>
                  <a:lnTo>
                    <a:pt x="1739" y="1677"/>
                  </a:lnTo>
                  <a:lnTo>
                    <a:pt x="1739" y="1677"/>
                  </a:lnTo>
                  <a:lnTo>
                    <a:pt x="1739" y="1677"/>
                  </a:lnTo>
                  <a:lnTo>
                    <a:pt x="1739" y="1677"/>
                  </a:lnTo>
                  <a:lnTo>
                    <a:pt x="1739" y="1677"/>
                  </a:lnTo>
                  <a:lnTo>
                    <a:pt x="1741" y="1677"/>
                  </a:lnTo>
                  <a:lnTo>
                    <a:pt x="1741" y="1677"/>
                  </a:lnTo>
                  <a:lnTo>
                    <a:pt x="1741" y="1677"/>
                  </a:lnTo>
                  <a:lnTo>
                    <a:pt x="1742" y="1677"/>
                  </a:lnTo>
                  <a:lnTo>
                    <a:pt x="1742" y="1677"/>
                  </a:lnTo>
                  <a:lnTo>
                    <a:pt x="1745" y="1679"/>
                  </a:lnTo>
                  <a:lnTo>
                    <a:pt x="1745" y="1679"/>
                  </a:lnTo>
                  <a:lnTo>
                    <a:pt x="1748" y="1679"/>
                  </a:lnTo>
                  <a:lnTo>
                    <a:pt x="1748" y="1679"/>
                  </a:lnTo>
                  <a:lnTo>
                    <a:pt x="1751" y="1674"/>
                  </a:lnTo>
                  <a:lnTo>
                    <a:pt x="1751" y="1674"/>
                  </a:lnTo>
                  <a:lnTo>
                    <a:pt x="1752" y="1670"/>
                  </a:lnTo>
                  <a:lnTo>
                    <a:pt x="1752" y="1670"/>
                  </a:lnTo>
                  <a:lnTo>
                    <a:pt x="1751" y="1670"/>
                  </a:lnTo>
                  <a:lnTo>
                    <a:pt x="1752" y="1671"/>
                  </a:lnTo>
                  <a:lnTo>
                    <a:pt x="1752" y="1670"/>
                  </a:lnTo>
                  <a:lnTo>
                    <a:pt x="1751" y="1670"/>
                  </a:lnTo>
                  <a:lnTo>
                    <a:pt x="1752" y="1671"/>
                  </a:lnTo>
                  <a:lnTo>
                    <a:pt x="1750" y="1670"/>
                  </a:lnTo>
                  <a:lnTo>
                    <a:pt x="1751" y="1671"/>
                  </a:lnTo>
                  <a:lnTo>
                    <a:pt x="1752" y="1671"/>
                  </a:lnTo>
                  <a:lnTo>
                    <a:pt x="1750" y="1670"/>
                  </a:lnTo>
                  <a:lnTo>
                    <a:pt x="1751" y="1671"/>
                  </a:lnTo>
                  <a:lnTo>
                    <a:pt x="1750" y="1670"/>
                  </a:lnTo>
                  <a:lnTo>
                    <a:pt x="1750" y="1673"/>
                  </a:lnTo>
                  <a:lnTo>
                    <a:pt x="1751" y="1671"/>
                  </a:lnTo>
                  <a:lnTo>
                    <a:pt x="1750" y="1670"/>
                  </a:lnTo>
                  <a:lnTo>
                    <a:pt x="1750" y="1673"/>
                  </a:lnTo>
                  <a:lnTo>
                    <a:pt x="1750" y="1670"/>
                  </a:lnTo>
                  <a:lnTo>
                    <a:pt x="1748" y="1671"/>
                  </a:lnTo>
                  <a:lnTo>
                    <a:pt x="1748" y="1671"/>
                  </a:lnTo>
                  <a:lnTo>
                    <a:pt x="1750" y="1673"/>
                  </a:lnTo>
                  <a:lnTo>
                    <a:pt x="1750" y="1670"/>
                  </a:lnTo>
                  <a:lnTo>
                    <a:pt x="1748" y="1671"/>
                  </a:lnTo>
                  <a:lnTo>
                    <a:pt x="1750" y="1671"/>
                  </a:lnTo>
                  <a:lnTo>
                    <a:pt x="1748" y="1671"/>
                  </a:lnTo>
                  <a:lnTo>
                    <a:pt x="1748" y="1671"/>
                  </a:lnTo>
                  <a:lnTo>
                    <a:pt x="1750" y="1671"/>
                  </a:lnTo>
                  <a:lnTo>
                    <a:pt x="1748" y="1671"/>
                  </a:lnTo>
                  <a:lnTo>
                    <a:pt x="1748" y="1671"/>
                  </a:lnTo>
                  <a:lnTo>
                    <a:pt x="1748" y="1671"/>
                  </a:lnTo>
                  <a:lnTo>
                    <a:pt x="1748" y="1671"/>
                  </a:lnTo>
                  <a:lnTo>
                    <a:pt x="1748" y="1671"/>
                  </a:lnTo>
                  <a:lnTo>
                    <a:pt x="1748" y="1671"/>
                  </a:lnTo>
                  <a:lnTo>
                    <a:pt x="1750" y="1674"/>
                  </a:lnTo>
                  <a:lnTo>
                    <a:pt x="1750" y="1674"/>
                  </a:lnTo>
                  <a:lnTo>
                    <a:pt x="1754" y="1685"/>
                  </a:lnTo>
                  <a:lnTo>
                    <a:pt x="1754" y="1685"/>
                  </a:lnTo>
                  <a:lnTo>
                    <a:pt x="1758" y="1699"/>
                  </a:lnTo>
                  <a:lnTo>
                    <a:pt x="1758" y="1699"/>
                  </a:lnTo>
                  <a:lnTo>
                    <a:pt x="1763" y="1708"/>
                  </a:lnTo>
                  <a:lnTo>
                    <a:pt x="1768" y="1715"/>
                  </a:lnTo>
                  <a:lnTo>
                    <a:pt x="1768" y="1715"/>
                  </a:lnTo>
                  <a:lnTo>
                    <a:pt x="1779" y="1725"/>
                  </a:lnTo>
                  <a:lnTo>
                    <a:pt x="1789" y="1735"/>
                  </a:lnTo>
                  <a:lnTo>
                    <a:pt x="1789" y="1735"/>
                  </a:lnTo>
                  <a:lnTo>
                    <a:pt x="1793" y="1741"/>
                  </a:lnTo>
                  <a:lnTo>
                    <a:pt x="1796" y="1747"/>
                  </a:lnTo>
                  <a:lnTo>
                    <a:pt x="1797" y="1757"/>
                  </a:lnTo>
                  <a:lnTo>
                    <a:pt x="1799" y="1758"/>
                  </a:lnTo>
                  <a:lnTo>
                    <a:pt x="1799" y="1758"/>
                  </a:lnTo>
                  <a:lnTo>
                    <a:pt x="1796" y="1769"/>
                  </a:lnTo>
                  <a:lnTo>
                    <a:pt x="1796" y="1769"/>
                  </a:lnTo>
                  <a:lnTo>
                    <a:pt x="1792" y="1777"/>
                  </a:lnTo>
                  <a:lnTo>
                    <a:pt x="1792" y="1777"/>
                  </a:lnTo>
                  <a:lnTo>
                    <a:pt x="1792" y="1780"/>
                  </a:lnTo>
                  <a:lnTo>
                    <a:pt x="1792" y="1780"/>
                  </a:lnTo>
                  <a:lnTo>
                    <a:pt x="1792" y="1782"/>
                  </a:lnTo>
                  <a:lnTo>
                    <a:pt x="1793" y="1784"/>
                  </a:lnTo>
                  <a:lnTo>
                    <a:pt x="1793" y="1784"/>
                  </a:lnTo>
                  <a:lnTo>
                    <a:pt x="1797" y="1787"/>
                  </a:lnTo>
                  <a:lnTo>
                    <a:pt x="1797" y="1787"/>
                  </a:lnTo>
                  <a:lnTo>
                    <a:pt x="1803" y="1790"/>
                  </a:lnTo>
                  <a:lnTo>
                    <a:pt x="1803" y="1790"/>
                  </a:lnTo>
                  <a:lnTo>
                    <a:pt x="1807" y="1792"/>
                  </a:lnTo>
                  <a:lnTo>
                    <a:pt x="1807" y="1792"/>
                  </a:lnTo>
                  <a:lnTo>
                    <a:pt x="1810" y="1792"/>
                  </a:lnTo>
                  <a:lnTo>
                    <a:pt x="1815" y="1789"/>
                  </a:lnTo>
                  <a:lnTo>
                    <a:pt x="1815" y="1789"/>
                  </a:lnTo>
                  <a:lnTo>
                    <a:pt x="1823" y="1784"/>
                  </a:lnTo>
                  <a:lnTo>
                    <a:pt x="1823" y="1784"/>
                  </a:lnTo>
                  <a:lnTo>
                    <a:pt x="1829" y="1782"/>
                  </a:lnTo>
                  <a:lnTo>
                    <a:pt x="1834" y="1777"/>
                  </a:lnTo>
                  <a:lnTo>
                    <a:pt x="1834" y="1777"/>
                  </a:lnTo>
                  <a:lnTo>
                    <a:pt x="1838" y="1773"/>
                  </a:lnTo>
                  <a:lnTo>
                    <a:pt x="1838" y="1773"/>
                  </a:lnTo>
                  <a:lnTo>
                    <a:pt x="1839" y="1771"/>
                  </a:lnTo>
                  <a:lnTo>
                    <a:pt x="1839" y="1771"/>
                  </a:lnTo>
                  <a:lnTo>
                    <a:pt x="1839" y="1771"/>
                  </a:lnTo>
                  <a:lnTo>
                    <a:pt x="1838" y="1771"/>
                  </a:lnTo>
                  <a:lnTo>
                    <a:pt x="1838" y="1771"/>
                  </a:lnTo>
                  <a:lnTo>
                    <a:pt x="1839" y="1771"/>
                  </a:lnTo>
                  <a:lnTo>
                    <a:pt x="1838" y="1771"/>
                  </a:lnTo>
                  <a:lnTo>
                    <a:pt x="1838" y="1771"/>
                  </a:lnTo>
                  <a:lnTo>
                    <a:pt x="1838" y="1770"/>
                  </a:lnTo>
                  <a:lnTo>
                    <a:pt x="1836" y="1771"/>
                  </a:lnTo>
                  <a:lnTo>
                    <a:pt x="1838" y="1771"/>
                  </a:lnTo>
                  <a:lnTo>
                    <a:pt x="1838" y="1770"/>
                  </a:lnTo>
                  <a:lnTo>
                    <a:pt x="1836" y="1771"/>
                  </a:lnTo>
                  <a:lnTo>
                    <a:pt x="1838" y="1770"/>
                  </a:lnTo>
                  <a:lnTo>
                    <a:pt x="1836" y="1771"/>
                  </a:lnTo>
                  <a:lnTo>
                    <a:pt x="1836" y="1771"/>
                  </a:lnTo>
                  <a:lnTo>
                    <a:pt x="1838" y="1770"/>
                  </a:lnTo>
                  <a:lnTo>
                    <a:pt x="1836" y="1771"/>
                  </a:lnTo>
                  <a:lnTo>
                    <a:pt x="1836" y="1771"/>
                  </a:lnTo>
                  <a:lnTo>
                    <a:pt x="1838" y="1773"/>
                  </a:lnTo>
                  <a:lnTo>
                    <a:pt x="1838" y="1773"/>
                  </a:lnTo>
                  <a:lnTo>
                    <a:pt x="1841" y="1776"/>
                  </a:lnTo>
                  <a:lnTo>
                    <a:pt x="1841" y="1776"/>
                  </a:lnTo>
                  <a:lnTo>
                    <a:pt x="1842" y="1777"/>
                  </a:lnTo>
                  <a:lnTo>
                    <a:pt x="1844" y="1776"/>
                  </a:lnTo>
                  <a:lnTo>
                    <a:pt x="1842" y="1777"/>
                  </a:lnTo>
                  <a:lnTo>
                    <a:pt x="1842" y="1777"/>
                  </a:lnTo>
                  <a:lnTo>
                    <a:pt x="1844" y="1776"/>
                  </a:lnTo>
                  <a:lnTo>
                    <a:pt x="1842" y="1777"/>
                  </a:lnTo>
                  <a:lnTo>
                    <a:pt x="1842" y="1777"/>
                  </a:lnTo>
                  <a:lnTo>
                    <a:pt x="1844" y="1779"/>
                  </a:lnTo>
                  <a:lnTo>
                    <a:pt x="1844" y="1779"/>
                  </a:lnTo>
                  <a:lnTo>
                    <a:pt x="1848" y="1795"/>
                  </a:lnTo>
                  <a:lnTo>
                    <a:pt x="1848" y="1795"/>
                  </a:lnTo>
                  <a:lnTo>
                    <a:pt x="1855" y="1815"/>
                  </a:lnTo>
                  <a:lnTo>
                    <a:pt x="1855" y="1815"/>
                  </a:lnTo>
                  <a:lnTo>
                    <a:pt x="1860" y="1829"/>
                  </a:lnTo>
                  <a:lnTo>
                    <a:pt x="1860" y="1829"/>
                  </a:lnTo>
                  <a:lnTo>
                    <a:pt x="1861" y="1834"/>
                  </a:lnTo>
                  <a:lnTo>
                    <a:pt x="1863" y="1839"/>
                  </a:lnTo>
                  <a:lnTo>
                    <a:pt x="1863" y="1839"/>
                  </a:lnTo>
                  <a:lnTo>
                    <a:pt x="1864" y="1842"/>
                  </a:lnTo>
                  <a:lnTo>
                    <a:pt x="1864" y="1842"/>
                  </a:lnTo>
                  <a:lnTo>
                    <a:pt x="1863" y="1851"/>
                  </a:lnTo>
                  <a:lnTo>
                    <a:pt x="1863" y="1851"/>
                  </a:lnTo>
                  <a:lnTo>
                    <a:pt x="1861" y="1855"/>
                  </a:lnTo>
                  <a:lnTo>
                    <a:pt x="1861" y="1855"/>
                  </a:lnTo>
                  <a:lnTo>
                    <a:pt x="1860" y="1860"/>
                  </a:lnTo>
                  <a:lnTo>
                    <a:pt x="1860" y="1860"/>
                  </a:lnTo>
                  <a:lnTo>
                    <a:pt x="1860" y="1861"/>
                  </a:lnTo>
                  <a:lnTo>
                    <a:pt x="1860" y="1861"/>
                  </a:lnTo>
                  <a:lnTo>
                    <a:pt x="1860" y="1867"/>
                  </a:lnTo>
                  <a:lnTo>
                    <a:pt x="1857" y="1873"/>
                  </a:lnTo>
                  <a:lnTo>
                    <a:pt x="1857" y="1873"/>
                  </a:lnTo>
                  <a:lnTo>
                    <a:pt x="1854" y="1879"/>
                  </a:lnTo>
                  <a:lnTo>
                    <a:pt x="1854" y="1879"/>
                  </a:lnTo>
                  <a:lnTo>
                    <a:pt x="1852" y="1882"/>
                  </a:lnTo>
                  <a:lnTo>
                    <a:pt x="1852" y="1886"/>
                  </a:lnTo>
                  <a:lnTo>
                    <a:pt x="1852" y="1886"/>
                  </a:lnTo>
                  <a:lnTo>
                    <a:pt x="1852" y="1889"/>
                  </a:lnTo>
                  <a:lnTo>
                    <a:pt x="1852" y="1889"/>
                  </a:lnTo>
                  <a:lnTo>
                    <a:pt x="1854" y="1899"/>
                  </a:lnTo>
                  <a:lnTo>
                    <a:pt x="1854" y="1899"/>
                  </a:lnTo>
                  <a:lnTo>
                    <a:pt x="1855" y="1906"/>
                  </a:lnTo>
                  <a:lnTo>
                    <a:pt x="1855" y="1906"/>
                  </a:lnTo>
                  <a:lnTo>
                    <a:pt x="1858" y="1912"/>
                  </a:lnTo>
                  <a:lnTo>
                    <a:pt x="1858" y="1912"/>
                  </a:lnTo>
                  <a:lnTo>
                    <a:pt x="1860" y="1915"/>
                  </a:lnTo>
                  <a:lnTo>
                    <a:pt x="1863" y="1916"/>
                  </a:lnTo>
                  <a:lnTo>
                    <a:pt x="1863" y="1916"/>
                  </a:lnTo>
                  <a:lnTo>
                    <a:pt x="1865" y="1918"/>
                  </a:lnTo>
                  <a:lnTo>
                    <a:pt x="1865" y="1918"/>
                  </a:lnTo>
                  <a:lnTo>
                    <a:pt x="1871" y="1924"/>
                  </a:lnTo>
                  <a:lnTo>
                    <a:pt x="1871" y="1924"/>
                  </a:lnTo>
                  <a:lnTo>
                    <a:pt x="1884" y="1938"/>
                  </a:lnTo>
                  <a:lnTo>
                    <a:pt x="1884" y="1938"/>
                  </a:lnTo>
                  <a:lnTo>
                    <a:pt x="1889" y="1944"/>
                  </a:lnTo>
                  <a:lnTo>
                    <a:pt x="1889" y="1944"/>
                  </a:lnTo>
                  <a:lnTo>
                    <a:pt x="1892" y="1948"/>
                  </a:lnTo>
                  <a:lnTo>
                    <a:pt x="1892" y="1948"/>
                  </a:lnTo>
                  <a:lnTo>
                    <a:pt x="1892" y="1951"/>
                  </a:lnTo>
                  <a:lnTo>
                    <a:pt x="1892" y="1951"/>
                  </a:lnTo>
                  <a:lnTo>
                    <a:pt x="1892" y="1955"/>
                  </a:lnTo>
                  <a:lnTo>
                    <a:pt x="1892" y="1955"/>
                  </a:lnTo>
                  <a:lnTo>
                    <a:pt x="1890" y="1960"/>
                  </a:lnTo>
                  <a:lnTo>
                    <a:pt x="1890" y="1960"/>
                  </a:lnTo>
                  <a:lnTo>
                    <a:pt x="1892" y="1964"/>
                  </a:lnTo>
                  <a:lnTo>
                    <a:pt x="1892" y="1964"/>
                  </a:lnTo>
                  <a:lnTo>
                    <a:pt x="1894" y="1976"/>
                  </a:lnTo>
                  <a:lnTo>
                    <a:pt x="1894" y="1976"/>
                  </a:lnTo>
                  <a:lnTo>
                    <a:pt x="1897" y="1981"/>
                  </a:lnTo>
                  <a:lnTo>
                    <a:pt x="1899" y="1987"/>
                  </a:lnTo>
                  <a:lnTo>
                    <a:pt x="1899" y="1987"/>
                  </a:lnTo>
                  <a:lnTo>
                    <a:pt x="1905" y="1996"/>
                  </a:lnTo>
                  <a:lnTo>
                    <a:pt x="1905" y="1996"/>
                  </a:lnTo>
                  <a:lnTo>
                    <a:pt x="1907" y="2000"/>
                  </a:lnTo>
                  <a:lnTo>
                    <a:pt x="1912" y="2005"/>
                  </a:lnTo>
                  <a:lnTo>
                    <a:pt x="1912" y="2005"/>
                  </a:lnTo>
                  <a:lnTo>
                    <a:pt x="1925" y="2015"/>
                  </a:lnTo>
                  <a:lnTo>
                    <a:pt x="1925" y="2015"/>
                  </a:lnTo>
                  <a:lnTo>
                    <a:pt x="1932" y="2021"/>
                  </a:lnTo>
                  <a:lnTo>
                    <a:pt x="1932" y="2021"/>
                  </a:lnTo>
                  <a:lnTo>
                    <a:pt x="1939" y="2023"/>
                  </a:lnTo>
                  <a:lnTo>
                    <a:pt x="1939" y="2023"/>
                  </a:lnTo>
                  <a:lnTo>
                    <a:pt x="1948" y="2025"/>
                  </a:lnTo>
                  <a:lnTo>
                    <a:pt x="1948" y="2025"/>
                  </a:lnTo>
                  <a:lnTo>
                    <a:pt x="1955" y="2026"/>
                  </a:lnTo>
                  <a:lnTo>
                    <a:pt x="1955" y="2026"/>
                  </a:lnTo>
                  <a:lnTo>
                    <a:pt x="1958" y="2025"/>
                  </a:lnTo>
                  <a:lnTo>
                    <a:pt x="1958" y="2025"/>
                  </a:lnTo>
                  <a:lnTo>
                    <a:pt x="1960" y="2023"/>
                  </a:lnTo>
                  <a:lnTo>
                    <a:pt x="1960" y="2023"/>
                  </a:lnTo>
                  <a:lnTo>
                    <a:pt x="1960" y="2022"/>
                  </a:lnTo>
                  <a:lnTo>
                    <a:pt x="1960" y="2022"/>
                  </a:lnTo>
                  <a:lnTo>
                    <a:pt x="1958" y="2016"/>
                  </a:lnTo>
                  <a:lnTo>
                    <a:pt x="1958" y="2016"/>
                  </a:lnTo>
                  <a:lnTo>
                    <a:pt x="1955" y="2006"/>
                  </a:lnTo>
                  <a:lnTo>
                    <a:pt x="1955" y="2006"/>
                  </a:lnTo>
                  <a:lnTo>
                    <a:pt x="1951" y="1997"/>
                  </a:lnTo>
                  <a:lnTo>
                    <a:pt x="1951" y="1997"/>
                  </a:lnTo>
                  <a:lnTo>
                    <a:pt x="1949" y="1992"/>
                  </a:lnTo>
                  <a:lnTo>
                    <a:pt x="1949" y="1992"/>
                  </a:lnTo>
                  <a:lnTo>
                    <a:pt x="1948" y="1979"/>
                  </a:lnTo>
                  <a:lnTo>
                    <a:pt x="1948" y="1970"/>
                  </a:lnTo>
                  <a:lnTo>
                    <a:pt x="1948" y="1970"/>
                  </a:lnTo>
                  <a:lnTo>
                    <a:pt x="1947" y="1966"/>
                  </a:lnTo>
                  <a:lnTo>
                    <a:pt x="1947" y="1966"/>
                  </a:lnTo>
                  <a:lnTo>
                    <a:pt x="1942" y="1961"/>
                  </a:lnTo>
                  <a:lnTo>
                    <a:pt x="1942" y="1961"/>
                  </a:lnTo>
                  <a:lnTo>
                    <a:pt x="1923" y="1944"/>
                  </a:lnTo>
                  <a:lnTo>
                    <a:pt x="1923" y="1944"/>
                  </a:lnTo>
                  <a:lnTo>
                    <a:pt x="1913" y="1937"/>
                  </a:lnTo>
                  <a:lnTo>
                    <a:pt x="1913" y="1937"/>
                  </a:lnTo>
                  <a:lnTo>
                    <a:pt x="1905" y="1932"/>
                  </a:lnTo>
                  <a:lnTo>
                    <a:pt x="1905" y="1932"/>
                  </a:lnTo>
                  <a:lnTo>
                    <a:pt x="1900" y="1928"/>
                  </a:lnTo>
                  <a:lnTo>
                    <a:pt x="1900" y="1928"/>
                  </a:lnTo>
                  <a:lnTo>
                    <a:pt x="1896" y="1919"/>
                  </a:lnTo>
                  <a:lnTo>
                    <a:pt x="1893" y="1912"/>
                  </a:lnTo>
                  <a:lnTo>
                    <a:pt x="1893" y="1912"/>
                  </a:lnTo>
                  <a:lnTo>
                    <a:pt x="1889" y="1899"/>
                  </a:lnTo>
                  <a:lnTo>
                    <a:pt x="1889" y="1899"/>
                  </a:lnTo>
                  <a:lnTo>
                    <a:pt x="1887" y="1895"/>
                  </a:lnTo>
                  <a:lnTo>
                    <a:pt x="1887" y="1895"/>
                  </a:lnTo>
                  <a:lnTo>
                    <a:pt x="1883" y="1893"/>
                  </a:lnTo>
                  <a:lnTo>
                    <a:pt x="1883" y="1893"/>
                  </a:lnTo>
                  <a:lnTo>
                    <a:pt x="1880" y="1895"/>
                  </a:lnTo>
                  <a:lnTo>
                    <a:pt x="1877" y="1895"/>
                  </a:lnTo>
                  <a:lnTo>
                    <a:pt x="1877" y="1895"/>
                  </a:lnTo>
                  <a:lnTo>
                    <a:pt x="1878" y="1896"/>
                  </a:lnTo>
                  <a:lnTo>
                    <a:pt x="1878" y="1895"/>
                  </a:lnTo>
                  <a:lnTo>
                    <a:pt x="1877" y="1895"/>
                  </a:lnTo>
                  <a:lnTo>
                    <a:pt x="1878" y="1896"/>
                  </a:lnTo>
                  <a:lnTo>
                    <a:pt x="1878" y="1895"/>
                  </a:lnTo>
                  <a:lnTo>
                    <a:pt x="1878" y="1896"/>
                  </a:lnTo>
                  <a:lnTo>
                    <a:pt x="1880" y="1895"/>
                  </a:lnTo>
                  <a:lnTo>
                    <a:pt x="1880" y="1895"/>
                  </a:lnTo>
                  <a:lnTo>
                    <a:pt x="1878" y="1895"/>
                  </a:lnTo>
                  <a:lnTo>
                    <a:pt x="1878" y="1896"/>
                  </a:lnTo>
                  <a:lnTo>
                    <a:pt x="1880" y="1895"/>
                  </a:lnTo>
                  <a:lnTo>
                    <a:pt x="1880" y="1896"/>
                  </a:lnTo>
                  <a:lnTo>
                    <a:pt x="1880" y="1895"/>
                  </a:lnTo>
                  <a:lnTo>
                    <a:pt x="1880" y="1895"/>
                  </a:lnTo>
                  <a:lnTo>
                    <a:pt x="1880" y="1896"/>
                  </a:lnTo>
                  <a:lnTo>
                    <a:pt x="1880" y="1895"/>
                  </a:lnTo>
                  <a:lnTo>
                    <a:pt x="1880" y="1895"/>
                  </a:lnTo>
                  <a:lnTo>
                    <a:pt x="1878" y="1895"/>
                  </a:lnTo>
                  <a:lnTo>
                    <a:pt x="1878" y="1895"/>
                  </a:lnTo>
                  <a:lnTo>
                    <a:pt x="1877" y="1886"/>
                  </a:lnTo>
                  <a:lnTo>
                    <a:pt x="1877" y="1886"/>
                  </a:lnTo>
                  <a:lnTo>
                    <a:pt x="1877" y="1883"/>
                  </a:lnTo>
                  <a:lnTo>
                    <a:pt x="1877" y="1883"/>
                  </a:lnTo>
                  <a:lnTo>
                    <a:pt x="1878" y="1883"/>
                  </a:lnTo>
                  <a:lnTo>
                    <a:pt x="1878" y="1883"/>
                  </a:lnTo>
                  <a:lnTo>
                    <a:pt x="1881" y="1876"/>
                  </a:lnTo>
                  <a:lnTo>
                    <a:pt x="1881" y="1876"/>
                  </a:lnTo>
                  <a:lnTo>
                    <a:pt x="1886" y="1866"/>
                  </a:lnTo>
                  <a:lnTo>
                    <a:pt x="1886" y="1866"/>
                  </a:lnTo>
                  <a:lnTo>
                    <a:pt x="1892" y="1845"/>
                  </a:lnTo>
                  <a:lnTo>
                    <a:pt x="1892" y="1845"/>
                  </a:lnTo>
                  <a:lnTo>
                    <a:pt x="1894" y="1835"/>
                  </a:lnTo>
                  <a:lnTo>
                    <a:pt x="1894" y="1835"/>
                  </a:lnTo>
                  <a:lnTo>
                    <a:pt x="1896" y="1832"/>
                  </a:lnTo>
                  <a:lnTo>
                    <a:pt x="1896" y="1832"/>
                  </a:lnTo>
                  <a:lnTo>
                    <a:pt x="1897" y="1831"/>
                  </a:lnTo>
                  <a:lnTo>
                    <a:pt x="1897" y="1831"/>
                  </a:lnTo>
                  <a:lnTo>
                    <a:pt x="1896" y="1829"/>
                  </a:lnTo>
                  <a:lnTo>
                    <a:pt x="1897" y="1831"/>
                  </a:lnTo>
                  <a:lnTo>
                    <a:pt x="1897" y="1831"/>
                  </a:lnTo>
                  <a:lnTo>
                    <a:pt x="1896" y="1829"/>
                  </a:lnTo>
                  <a:lnTo>
                    <a:pt x="1897" y="1831"/>
                  </a:lnTo>
                  <a:lnTo>
                    <a:pt x="1896" y="1829"/>
                  </a:lnTo>
                  <a:lnTo>
                    <a:pt x="1896" y="1831"/>
                  </a:lnTo>
                  <a:lnTo>
                    <a:pt x="1897" y="1831"/>
                  </a:lnTo>
                  <a:lnTo>
                    <a:pt x="1896" y="1829"/>
                  </a:lnTo>
                  <a:lnTo>
                    <a:pt x="1896" y="1831"/>
                  </a:lnTo>
                  <a:lnTo>
                    <a:pt x="1896" y="1829"/>
                  </a:lnTo>
                  <a:lnTo>
                    <a:pt x="1896" y="1831"/>
                  </a:lnTo>
                  <a:lnTo>
                    <a:pt x="1896" y="1831"/>
                  </a:lnTo>
                  <a:lnTo>
                    <a:pt x="1896" y="1829"/>
                  </a:lnTo>
                  <a:lnTo>
                    <a:pt x="1896" y="1831"/>
                  </a:lnTo>
                  <a:lnTo>
                    <a:pt x="1896" y="1831"/>
                  </a:lnTo>
                  <a:lnTo>
                    <a:pt x="1896" y="1831"/>
                  </a:lnTo>
                  <a:lnTo>
                    <a:pt x="1899" y="1834"/>
                  </a:lnTo>
                  <a:lnTo>
                    <a:pt x="1899" y="1834"/>
                  </a:lnTo>
                  <a:lnTo>
                    <a:pt x="1902" y="1838"/>
                  </a:lnTo>
                  <a:lnTo>
                    <a:pt x="1902" y="1838"/>
                  </a:lnTo>
                  <a:lnTo>
                    <a:pt x="1903" y="1839"/>
                  </a:lnTo>
                  <a:lnTo>
                    <a:pt x="1906" y="1841"/>
                  </a:lnTo>
                  <a:lnTo>
                    <a:pt x="1906" y="1841"/>
                  </a:lnTo>
                  <a:lnTo>
                    <a:pt x="1910" y="1839"/>
                  </a:lnTo>
                  <a:lnTo>
                    <a:pt x="1910" y="1839"/>
                  </a:lnTo>
                  <a:lnTo>
                    <a:pt x="1913" y="1839"/>
                  </a:lnTo>
                  <a:lnTo>
                    <a:pt x="1913" y="1839"/>
                  </a:lnTo>
                  <a:lnTo>
                    <a:pt x="1913" y="1839"/>
                  </a:lnTo>
                  <a:lnTo>
                    <a:pt x="1913" y="1839"/>
                  </a:lnTo>
                  <a:lnTo>
                    <a:pt x="1916" y="1844"/>
                  </a:lnTo>
                  <a:lnTo>
                    <a:pt x="1916" y="1844"/>
                  </a:lnTo>
                  <a:lnTo>
                    <a:pt x="1919" y="1850"/>
                  </a:lnTo>
                  <a:lnTo>
                    <a:pt x="1919" y="1850"/>
                  </a:lnTo>
                  <a:lnTo>
                    <a:pt x="1920" y="1853"/>
                  </a:lnTo>
                  <a:lnTo>
                    <a:pt x="1920" y="1853"/>
                  </a:lnTo>
                  <a:lnTo>
                    <a:pt x="1923" y="1854"/>
                  </a:lnTo>
                  <a:lnTo>
                    <a:pt x="1923" y="1854"/>
                  </a:lnTo>
                  <a:lnTo>
                    <a:pt x="1926" y="1854"/>
                  </a:lnTo>
                  <a:lnTo>
                    <a:pt x="1926" y="1854"/>
                  </a:lnTo>
                  <a:lnTo>
                    <a:pt x="1928" y="1854"/>
                  </a:lnTo>
                  <a:lnTo>
                    <a:pt x="1928" y="1853"/>
                  </a:lnTo>
                  <a:lnTo>
                    <a:pt x="1928" y="1854"/>
                  </a:lnTo>
                  <a:lnTo>
                    <a:pt x="1928" y="1854"/>
                  </a:lnTo>
                  <a:lnTo>
                    <a:pt x="1928" y="1853"/>
                  </a:lnTo>
                  <a:lnTo>
                    <a:pt x="1928" y="1854"/>
                  </a:lnTo>
                  <a:lnTo>
                    <a:pt x="1928" y="1854"/>
                  </a:lnTo>
                  <a:lnTo>
                    <a:pt x="1928" y="1854"/>
                  </a:lnTo>
                  <a:lnTo>
                    <a:pt x="1931" y="1857"/>
                  </a:lnTo>
                  <a:lnTo>
                    <a:pt x="1931" y="1857"/>
                  </a:lnTo>
                  <a:lnTo>
                    <a:pt x="1934" y="1864"/>
                  </a:lnTo>
                  <a:lnTo>
                    <a:pt x="1934" y="1864"/>
                  </a:lnTo>
                  <a:lnTo>
                    <a:pt x="1936" y="1871"/>
                  </a:lnTo>
                  <a:lnTo>
                    <a:pt x="1936" y="1871"/>
                  </a:lnTo>
                  <a:lnTo>
                    <a:pt x="1938" y="1874"/>
                  </a:lnTo>
                  <a:lnTo>
                    <a:pt x="1938" y="1874"/>
                  </a:lnTo>
                  <a:lnTo>
                    <a:pt x="1941" y="1874"/>
                  </a:lnTo>
                  <a:lnTo>
                    <a:pt x="1941" y="1874"/>
                  </a:lnTo>
                  <a:lnTo>
                    <a:pt x="1947" y="1873"/>
                  </a:lnTo>
                  <a:lnTo>
                    <a:pt x="1947" y="1873"/>
                  </a:lnTo>
                  <a:lnTo>
                    <a:pt x="1951" y="1871"/>
                  </a:lnTo>
                  <a:lnTo>
                    <a:pt x="1951" y="1871"/>
                  </a:lnTo>
                  <a:lnTo>
                    <a:pt x="1952" y="1871"/>
                  </a:lnTo>
                  <a:lnTo>
                    <a:pt x="1952" y="1873"/>
                  </a:lnTo>
                  <a:lnTo>
                    <a:pt x="1952" y="1873"/>
                  </a:lnTo>
                  <a:lnTo>
                    <a:pt x="1957" y="1877"/>
                  </a:lnTo>
                  <a:lnTo>
                    <a:pt x="1960" y="1882"/>
                  </a:lnTo>
                  <a:lnTo>
                    <a:pt x="1960" y="1882"/>
                  </a:lnTo>
                  <a:lnTo>
                    <a:pt x="1967" y="1887"/>
                  </a:lnTo>
                  <a:lnTo>
                    <a:pt x="1967" y="1887"/>
                  </a:lnTo>
                  <a:lnTo>
                    <a:pt x="1967" y="1887"/>
                  </a:lnTo>
                  <a:lnTo>
                    <a:pt x="1967" y="1887"/>
                  </a:lnTo>
                  <a:lnTo>
                    <a:pt x="1967" y="1887"/>
                  </a:lnTo>
                  <a:lnTo>
                    <a:pt x="1967" y="1887"/>
                  </a:lnTo>
                  <a:lnTo>
                    <a:pt x="1967" y="1887"/>
                  </a:lnTo>
                  <a:lnTo>
                    <a:pt x="1967" y="1887"/>
                  </a:lnTo>
                  <a:lnTo>
                    <a:pt x="1967" y="1887"/>
                  </a:lnTo>
                  <a:lnTo>
                    <a:pt x="1967" y="1887"/>
                  </a:lnTo>
                  <a:lnTo>
                    <a:pt x="1967" y="1887"/>
                  </a:lnTo>
                  <a:lnTo>
                    <a:pt x="1967" y="1889"/>
                  </a:lnTo>
                  <a:lnTo>
                    <a:pt x="1967" y="1889"/>
                  </a:lnTo>
                  <a:lnTo>
                    <a:pt x="1967" y="1892"/>
                  </a:lnTo>
                  <a:lnTo>
                    <a:pt x="1967" y="1892"/>
                  </a:lnTo>
                  <a:lnTo>
                    <a:pt x="1964" y="1900"/>
                  </a:lnTo>
                  <a:lnTo>
                    <a:pt x="1964" y="1900"/>
                  </a:lnTo>
                  <a:lnTo>
                    <a:pt x="1962" y="1909"/>
                  </a:lnTo>
                  <a:lnTo>
                    <a:pt x="1962" y="1909"/>
                  </a:lnTo>
                  <a:lnTo>
                    <a:pt x="1962" y="1912"/>
                  </a:lnTo>
                  <a:lnTo>
                    <a:pt x="1962" y="1912"/>
                  </a:lnTo>
                  <a:lnTo>
                    <a:pt x="1964" y="1913"/>
                  </a:lnTo>
                  <a:lnTo>
                    <a:pt x="1964" y="1913"/>
                  </a:lnTo>
                  <a:lnTo>
                    <a:pt x="1965" y="1913"/>
                  </a:lnTo>
                  <a:lnTo>
                    <a:pt x="1965" y="1913"/>
                  </a:lnTo>
                  <a:lnTo>
                    <a:pt x="1968" y="1912"/>
                  </a:lnTo>
                  <a:lnTo>
                    <a:pt x="1968" y="1912"/>
                  </a:lnTo>
                  <a:lnTo>
                    <a:pt x="1971" y="1910"/>
                  </a:lnTo>
                  <a:lnTo>
                    <a:pt x="1976" y="1906"/>
                  </a:lnTo>
                  <a:lnTo>
                    <a:pt x="1976" y="1906"/>
                  </a:lnTo>
                  <a:lnTo>
                    <a:pt x="1980" y="1899"/>
                  </a:lnTo>
                  <a:lnTo>
                    <a:pt x="1980" y="1899"/>
                  </a:lnTo>
                  <a:lnTo>
                    <a:pt x="1980" y="1899"/>
                  </a:lnTo>
                  <a:lnTo>
                    <a:pt x="1986" y="1897"/>
                  </a:lnTo>
                  <a:lnTo>
                    <a:pt x="1986" y="1897"/>
                  </a:lnTo>
                  <a:lnTo>
                    <a:pt x="1989" y="1897"/>
                  </a:lnTo>
                  <a:lnTo>
                    <a:pt x="1989" y="1897"/>
                  </a:lnTo>
                  <a:lnTo>
                    <a:pt x="1993" y="1895"/>
                  </a:lnTo>
                  <a:lnTo>
                    <a:pt x="1993" y="1895"/>
                  </a:lnTo>
                  <a:lnTo>
                    <a:pt x="1996" y="1887"/>
                  </a:lnTo>
                  <a:lnTo>
                    <a:pt x="1996" y="1887"/>
                  </a:lnTo>
                  <a:lnTo>
                    <a:pt x="1999" y="1880"/>
                  </a:lnTo>
                  <a:lnTo>
                    <a:pt x="1999" y="1880"/>
                  </a:lnTo>
                  <a:lnTo>
                    <a:pt x="1999" y="1880"/>
                  </a:lnTo>
                  <a:lnTo>
                    <a:pt x="1999" y="1880"/>
                  </a:lnTo>
                  <a:lnTo>
                    <a:pt x="2000" y="1879"/>
                  </a:lnTo>
                  <a:lnTo>
                    <a:pt x="2000" y="1879"/>
                  </a:lnTo>
                  <a:lnTo>
                    <a:pt x="2004" y="1880"/>
                  </a:lnTo>
                  <a:lnTo>
                    <a:pt x="2004" y="1880"/>
                  </a:lnTo>
                  <a:lnTo>
                    <a:pt x="2009" y="1880"/>
                  </a:lnTo>
                  <a:lnTo>
                    <a:pt x="2009" y="1880"/>
                  </a:lnTo>
                  <a:lnTo>
                    <a:pt x="2012" y="1880"/>
                  </a:lnTo>
                  <a:lnTo>
                    <a:pt x="2012" y="1880"/>
                  </a:lnTo>
                  <a:lnTo>
                    <a:pt x="2018" y="1876"/>
                  </a:lnTo>
                  <a:lnTo>
                    <a:pt x="2023" y="1871"/>
                  </a:lnTo>
                  <a:lnTo>
                    <a:pt x="2023" y="1871"/>
                  </a:lnTo>
                  <a:lnTo>
                    <a:pt x="2033" y="1863"/>
                  </a:lnTo>
                  <a:lnTo>
                    <a:pt x="2033" y="1863"/>
                  </a:lnTo>
                  <a:lnTo>
                    <a:pt x="2035" y="1860"/>
                  </a:lnTo>
                  <a:lnTo>
                    <a:pt x="2038" y="1855"/>
                  </a:lnTo>
                  <a:lnTo>
                    <a:pt x="2038" y="1855"/>
                  </a:lnTo>
                  <a:lnTo>
                    <a:pt x="2039" y="1842"/>
                  </a:lnTo>
                  <a:lnTo>
                    <a:pt x="2041" y="1831"/>
                  </a:lnTo>
                  <a:lnTo>
                    <a:pt x="2041" y="1831"/>
                  </a:lnTo>
                  <a:lnTo>
                    <a:pt x="2041" y="1826"/>
                  </a:lnTo>
                  <a:lnTo>
                    <a:pt x="2041" y="1826"/>
                  </a:lnTo>
                  <a:lnTo>
                    <a:pt x="2038" y="1811"/>
                  </a:lnTo>
                  <a:lnTo>
                    <a:pt x="2038" y="1811"/>
                  </a:lnTo>
                  <a:lnTo>
                    <a:pt x="2033" y="1795"/>
                  </a:lnTo>
                  <a:lnTo>
                    <a:pt x="2033" y="1795"/>
                  </a:lnTo>
                  <a:lnTo>
                    <a:pt x="2029" y="1789"/>
                  </a:lnTo>
                  <a:lnTo>
                    <a:pt x="2029" y="1789"/>
                  </a:lnTo>
                  <a:lnTo>
                    <a:pt x="2020" y="1780"/>
                  </a:lnTo>
                  <a:lnTo>
                    <a:pt x="2013" y="1774"/>
                  </a:lnTo>
                  <a:lnTo>
                    <a:pt x="2013" y="1774"/>
                  </a:lnTo>
                  <a:lnTo>
                    <a:pt x="2010" y="1771"/>
                  </a:lnTo>
                  <a:lnTo>
                    <a:pt x="2007" y="1769"/>
                  </a:lnTo>
                  <a:lnTo>
                    <a:pt x="2000" y="1755"/>
                  </a:lnTo>
                  <a:lnTo>
                    <a:pt x="2000" y="1755"/>
                  </a:lnTo>
                  <a:lnTo>
                    <a:pt x="1993" y="1747"/>
                  </a:lnTo>
                  <a:lnTo>
                    <a:pt x="1993" y="1747"/>
                  </a:lnTo>
                  <a:lnTo>
                    <a:pt x="1987" y="1740"/>
                  </a:lnTo>
                  <a:lnTo>
                    <a:pt x="1987" y="1740"/>
                  </a:lnTo>
                  <a:lnTo>
                    <a:pt x="1986" y="1738"/>
                  </a:lnTo>
                  <a:lnTo>
                    <a:pt x="1986" y="1738"/>
                  </a:lnTo>
                  <a:lnTo>
                    <a:pt x="1984" y="1737"/>
                  </a:lnTo>
                  <a:lnTo>
                    <a:pt x="1984" y="1737"/>
                  </a:lnTo>
                  <a:lnTo>
                    <a:pt x="1986" y="1735"/>
                  </a:lnTo>
                  <a:lnTo>
                    <a:pt x="1986" y="1735"/>
                  </a:lnTo>
                  <a:lnTo>
                    <a:pt x="1987" y="1731"/>
                  </a:lnTo>
                  <a:lnTo>
                    <a:pt x="1987" y="1731"/>
                  </a:lnTo>
                  <a:lnTo>
                    <a:pt x="1987" y="1724"/>
                  </a:lnTo>
                  <a:lnTo>
                    <a:pt x="1987" y="1724"/>
                  </a:lnTo>
                  <a:lnTo>
                    <a:pt x="1989" y="1721"/>
                  </a:lnTo>
                  <a:lnTo>
                    <a:pt x="1989" y="1721"/>
                  </a:lnTo>
                  <a:lnTo>
                    <a:pt x="1993" y="1716"/>
                  </a:lnTo>
                  <a:lnTo>
                    <a:pt x="1993" y="1716"/>
                  </a:lnTo>
                  <a:lnTo>
                    <a:pt x="1997" y="1709"/>
                  </a:lnTo>
                  <a:lnTo>
                    <a:pt x="1997" y="1709"/>
                  </a:lnTo>
                  <a:lnTo>
                    <a:pt x="2003" y="1706"/>
                  </a:lnTo>
                  <a:lnTo>
                    <a:pt x="2003" y="1706"/>
                  </a:lnTo>
                  <a:lnTo>
                    <a:pt x="2015" y="1699"/>
                  </a:lnTo>
                  <a:lnTo>
                    <a:pt x="2015" y="1699"/>
                  </a:lnTo>
                  <a:lnTo>
                    <a:pt x="2020" y="1698"/>
                  </a:lnTo>
                  <a:lnTo>
                    <a:pt x="2020" y="1698"/>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6" y="1698"/>
                  </a:lnTo>
                  <a:lnTo>
                    <a:pt x="2026" y="1698"/>
                  </a:lnTo>
                  <a:lnTo>
                    <a:pt x="2028" y="1699"/>
                  </a:lnTo>
                  <a:lnTo>
                    <a:pt x="2031" y="1700"/>
                  </a:lnTo>
                  <a:lnTo>
                    <a:pt x="2032" y="1700"/>
                  </a:lnTo>
                  <a:lnTo>
                    <a:pt x="2032" y="1700"/>
                  </a:lnTo>
                  <a:lnTo>
                    <a:pt x="2035" y="1699"/>
                  </a:lnTo>
                  <a:lnTo>
                    <a:pt x="2038" y="1698"/>
                  </a:lnTo>
                  <a:lnTo>
                    <a:pt x="2038" y="1698"/>
                  </a:lnTo>
                  <a:lnTo>
                    <a:pt x="2042" y="1696"/>
                  </a:lnTo>
                  <a:lnTo>
                    <a:pt x="2042" y="1696"/>
                  </a:lnTo>
                  <a:lnTo>
                    <a:pt x="2042" y="1696"/>
                  </a:lnTo>
                  <a:lnTo>
                    <a:pt x="2042" y="1696"/>
                  </a:lnTo>
                  <a:lnTo>
                    <a:pt x="2042" y="1695"/>
                  </a:lnTo>
                  <a:lnTo>
                    <a:pt x="2042" y="1696"/>
                  </a:lnTo>
                  <a:lnTo>
                    <a:pt x="2042" y="1696"/>
                  </a:lnTo>
                  <a:lnTo>
                    <a:pt x="2042" y="1695"/>
                  </a:lnTo>
                  <a:lnTo>
                    <a:pt x="2042" y="1696"/>
                  </a:lnTo>
                  <a:lnTo>
                    <a:pt x="2044" y="1695"/>
                  </a:lnTo>
                  <a:lnTo>
                    <a:pt x="2042" y="1695"/>
                  </a:lnTo>
                  <a:lnTo>
                    <a:pt x="2042" y="1696"/>
                  </a:lnTo>
                  <a:lnTo>
                    <a:pt x="2044" y="1695"/>
                  </a:lnTo>
                  <a:lnTo>
                    <a:pt x="2042" y="1695"/>
                  </a:lnTo>
                  <a:lnTo>
                    <a:pt x="2042" y="1695"/>
                  </a:lnTo>
                  <a:lnTo>
                    <a:pt x="2042" y="1695"/>
                  </a:lnTo>
                  <a:lnTo>
                    <a:pt x="2042" y="1695"/>
                  </a:lnTo>
                  <a:lnTo>
                    <a:pt x="2042" y="1695"/>
                  </a:lnTo>
                  <a:lnTo>
                    <a:pt x="2042" y="1695"/>
                  </a:lnTo>
                  <a:lnTo>
                    <a:pt x="2042" y="1696"/>
                  </a:lnTo>
                  <a:lnTo>
                    <a:pt x="2042" y="1696"/>
                  </a:lnTo>
                  <a:lnTo>
                    <a:pt x="2042" y="1700"/>
                  </a:lnTo>
                  <a:lnTo>
                    <a:pt x="2042" y="1700"/>
                  </a:lnTo>
                  <a:lnTo>
                    <a:pt x="2042" y="1703"/>
                  </a:lnTo>
                  <a:lnTo>
                    <a:pt x="2042" y="1703"/>
                  </a:lnTo>
                  <a:lnTo>
                    <a:pt x="2044" y="1706"/>
                  </a:lnTo>
                  <a:lnTo>
                    <a:pt x="2045" y="1709"/>
                  </a:lnTo>
                  <a:lnTo>
                    <a:pt x="2045" y="1709"/>
                  </a:lnTo>
                  <a:lnTo>
                    <a:pt x="2048" y="1711"/>
                  </a:lnTo>
                  <a:lnTo>
                    <a:pt x="2051" y="1711"/>
                  </a:lnTo>
                  <a:lnTo>
                    <a:pt x="2051" y="1711"/>
                  </a:lnTo>
                  <a:lnTo>
                    <a:pt x="2055" y="1711"/>
                  </a:lnTo>
                  <a:lnTo>
                    <a:pt x="2055" y="1711"/>
                  </a:lnTo>
                  <a:lnTo>
                    <a:pt x="2057" y="1709"/>
                  </a:lnTo>
                  <a:lnTo>
                    <a:pt x="2057" y="1709"/>
                  </a:lnTo>
                  <a:lnTo>
                    <a:pt x="2058" y="1706"/>
                  </a:lnTo>
                  <a:lnTo>
                    <a:pt x="2058" y="1706"/>
                  </a:lnTo>
                  <a:lnTo>
                    <a:pt x="2058" y="1705"/>
                  </a:lnTo>
                  <a:lnTo>
                    <a:pt x="2058" y="1705"/>
                  </a:lnTo>
                  <a:lnTo>
                    <a:pt x="2058" y="1703"/>
                  </a:lnTo>
                  <a:lnTo>
                    <a:pt x="2058" y="1703"/>
                  </a:lnTo>
                  <a:lnTo>
                    <a:pt x="2062" y="1699"/>
                  </a:lnTo>
                  <a:lnTo>
                    <a:pt x="2062" y="1699"/>
                  </a:lnTo>
                  <a:lnTo>
                    <a:pt x="2065" y="1698"/>
                  </a:lnTo>
                  <a:lnTo>
                    <a:pt x="2065" y="1698"/>
                  </a:lnTo>
                  <a:lnTo>
                    <a:pt x="2073" y="1696"/>
                  </a:lnTo>
                  <a:lnTo>
                    <a:pt x="2080" y="1696"/>
                  </a:lnTo>
                  <a:lnTo>
                    <a:pt x="2080" y="1696"/>
                  </a:lnTo>
                  <a:lnTo>
                    <a:pt x="2087" y="1695"/>
                  </a:lnTo>
                  <a:lnTo>
                    <a:pt x="2087" y="1695"/>
                  </a:lnTo>
                  <a:lnTo>
                    <a:pt x="2099" y="1692"/>
                  </a:lnTo>
                  <a:lnTo>
                    <a:pt x="2099" y="1692"/>
                  </a:lnTo>
                  <a:lnTo>
                    <a:pt x="2103" y="1690"/>
                  </a:lnTo>
                  <a:lnTo>
                    <a:pt x="2103" y="1690"/>
                  </a:lnTo>
                  <a:lnTo>
                    <a:pt x="2106" y="1687"/>
                  </a:lnTo>
                  <a:lnTo>
                    <a:pt x="2106" y="1687"/>
                  </a:lnTo>
                  <a:lnTo>
                    <a:pt x="2109" y="1685"/>
                  </a:lnTo>
                  <a:lnTo>
                    <a:pt x="2109" y="1685"/>
                  </a:lnTo>
                  <a:lnTo>
                    <a:pt x="2109" y="1680"/>
                  </a:lnTo>
                  <a:lnTo>
                    <a:pt x="2109" y="1680"/>
                  </a:lnTo>
                  <a:lnTo>
                    <a:pt x="2110" y="1676"/>
                  </a:lnTo>
                  <a:lnTo>
                    <a:pt x="2107" y="1676"/>
                  </a:lnTo>
                  <a:lnTo>
                    <a:pt x="2109" y="1677"/>
                  </a:lnTo>
                  <a:lnTo>
                    <a:pt x="2109" y="1677"/>
                  </a:lnTo>
                  <a:lnTo>
                    <a:pt x="2110" y="1676"/>
                  </a:lnTo>
                  <a:lnTo>
                    <a:pt x="2107" y="1676"/>
                  </a:lnTo>
                  <a:lnTo>
                    <a:pt x="2109" y="1677"/>
                  </a:lnTo>
                  <a:lnTo>
                    <a:pt x="2107" y="1676"/>
                  </a:lnTo>
                  <a:lnTo>
                    <a:pt x="2107" y="1677"/>
                  </a:lnTo>
                  <a:lnTo>
                    <a:pt x="2109" y="1677"/>
                  </a:lnTo>
                  <a:lnTo>
                    <a:pt x="2107" y="1676"/>
                  </a:lnTo>
                  <a:lnTo>
                    <a:pt x="2107" y="1677"/>
                  </a:lnTo>
                  <a:lnTo>
                    <a:pt x="2107" y="1677"/>
                  </a:lnTo>
                  <a:lnTo>
                    <a:pt x="2107" y="1677"/>
                  </a:lnTo>
                  <a:lnTo>
                    <a:pt x="2107" y="1677"/>
                  </a:lnTo>
                  <a:lnTo>
                    <a:pt x="2107" y="1677"/>
                  </a:lnTo>
                  <a:lnTo>
                    <a:pt x="2107" y="1677"/>
                  </a:lnTo>
                  <a:lnTo>
                    <a:pt x="2107" y="1677"/>
                  </a:lnTo>
                  <a:lnTo>
                    <a:pt x="2109" y="1677"/>
                  </a:lnTo>
                  <a:lnTo>
                    <a:pt x="2109" y="1677"/>
                  </a:lnTo>
                  <a:lnTo>
                    <a:pt x="2113" y="1679"/>
                  </a:lnTo>
                  <a:lnTo>
                    <a:pt x="2113" y="1679"/>
                  </a:lnTo>
                  <a:lnTo>
                    <a:pt x="2117" y="1680"/>
                  </a:lnTo>
                  <a:lnTo>
                    <a:pt x="2117" y="1680"/>
                  </a:lnTo>
                  <a:lnTo>
                    <a:pt x="2117" y="1680"/>
                  </a:lnTo>
                  <a:lnTo>
                    <a:pt x="2122" y="1679"/>
                  </a:lnTo>
                  <a:lnTo>
                    <a:pt x="2122" y="1679"/>
                  </a:lnTo>
                  <a:lnTo>
                    <a:pt x="2126" y="1674"/>
                  </a:lnTo>
                  <a:lnTo>
                    <a:pt x="2126" y="1674"/>
                  </a:lnTo>
                  <a:lnTo>
                    <a:pt x="2129" y="1670"/>
                  </a:lnTo>
                  <a:lnTo>
                    <a:pt x="2129" y="1670"/>
                  </a:lnTo>
                  <a:lnTo>
                    <a:pt x="2130" y="1670"/>
                  </a:lnTo>
                  <a:lnTo>
                    <a:pt x="2130" y="1670"/>
                  </a:lnTo>
                  <a:lnTo>
                    <a:pt x="2135" y="1671"/>
                  </a:lnTo>
                  <a:lnTo>
                    <a:pt x="2135" y="1671"/>
                  </a:lnTo>
                  <a:lnTo>
                    <a:pt x="2138" y="1673"/>
                  </a:lnTo>
                  <a:lnTo>
                    <a:pt x="2141" y="1673"/>
                  </a:lnTo>
                  <a:lnTo>
                    <a:pt x="2141" y="1673"/>
                  </a:lnTo>
                  <a:lnTo>
                    <a:pt x="2146" y="1673"/>
                  </a:lnTo>
                  <a:lnTo>
                    <a:pt x="2149" y="1670"/>
                  </a:lnTo>
                  <a:lnTo>
                    <a:pt x="2149" y="1670"/>
                  </a:lnTo>
                  <a:lnTo>
                    <a:pt x="2154" y="1666"/>
                  </a:lnTo>
                  <a:lnTo>
                    <a:pt x="2154" y="1666"/>
                  </a:lnTo>
                  <a:lnTo>
                    <a:pt x="2158" y="1663"/>
                  </a:lnTo>
                  <a:lnTo>
                    <a:pt x="2161" y="1663"/>
                  </a:lnTo>
                  <a:lnTo>
                    <a:pt x="2161" y="1663"/>
                  </a:lnTo>
                  <a:lnTo>
                    <a:pt x="2167" y="1661"/>
                  </a:lnTo>
                  <a:lnTo>
                    <a:pt x="2167" y="1661"/>
                  </a:lnTo>
                  <a:lnTo>
                    <a:pt x="2174" y="1656"/>
                  </a:lnTo>
                  <a:lnTo>
                    <a:pt x="2180" y="1648"/>
                  </a:lnTo>
                  <a:lnTo>
                    <a:pt x="2180" y="1648"/>
                  </a:lnTo>
                  <a:lnTo>
                    <a:pt x="2183" y="1641"/>
                  </a:lnTo>
                  <a:lnTo>
                    <a:pt x="2183" y="1641"/>
                  </a:lnTo>
                  <a:lnTo>
                    <a:pt x="2184" y="1641"/>
                  </a:lnTo>
                  <a:lnTo>
                    <a:pt x="2184" y="1641"/>
                  </a:lnTo>
                  <a:lnTo>
                    <a:pt x="2186" y="1640"/>
                  </a:lnTo>
                  <a:lnTo>
                    <a:pt x="2186" y="1640"/>
                  </a:lnTo>
                  <a:lnTo>
                    <a:pt x="2190" y="1638"/>
                  </a:lnTo>
                  <a:lnTo>
                    <a:pt x="2190" y="1638"/>
                  </a:lnTo>
                  <a:lnTo>
                    <a:pt x="2191" y="1637"/>
                  </a:lnTo>
                  <a:lnTo>
                    <a:pt x="2193" y="1634"/>
                  </a:lnTo>
                  <a:lnTo>
                    <a:pt x="2193" y="1634"/>
                  </a:lnTo>
                  <a:lnTo>
                    <a:pt x="2193" y="1629"/>
                  </a:lnTo>
                  <a:lnTo>
                    <a:pt x="2193" y="1629"/>
                  </a:lnTo>
                  <a:lnTo>
                    <a:pt x="2193" y="1628"/>
                  </a:lnTo>
                  <a:lnTo>
                    <a:pt x="2190" y="1628"/>
                  </a:lnTo>
                  <a:lnTo>
                    <a:pt x="2193" y="1629"/>
                  </a:lnTo>
                  <a:lnTo>
                    <a:pt x="2193" y="1629"/>
                  </a:lnTo>
                  <a:lnTo>
                    <a:pt x="2193" y="1628"/>
                  </a:lnTo>
                  <a:lnTo>
                    <a:pt x="2190" y="1628"/>
                  </a:lnTo>
                  <a:lnTo>
                    <a:pt x="2193" y="1629"/>
                  </a:lnTo>
                  <a:lnTo>
                    <a:pt x="2191" y="1628"/>
                  </a:lnTo>
                  <a:lnTo>
                    <a:pt x="2191" y="1629"/>
                  </a:lnTo>
                  <a:lnTo>
                    <a:pt x="2193" y="1629"/>
                  </a:lnTo>
                  <a:lnTo>
                    <a:pt x="2191" y="1628"/>
                  </a:lnTo>
                  <a:lnTo>
                    <a:pt x="2191" y="1629"/>
                  </a:lnTo>
                  <a:lnTo>
                    <a:pt x="2191" y="1629"/>
                  </a:lnTo>
                  <a:lnTo>
                    <a:pt x="2194" y="1628"/>
                  </a:lnTo>
                  <a:lnTo>
                    <a:pt x="2194" y="1628"/>
                  </a:lnTo>
                  <a:lnTo>
                    <a:pt x="2199" y="1625"/>
                  </a:lnTo>
                  <a:lnTo>
                    <a:pt x="2206" y="1622"/>
                  </a:lnTo>
                  <a:lnTo>
                    <a:pt x="2206" y="1622"/>
                  </a:lnTo>
                  <a:lnTo>
                    <a:pt x="2207" y="1619"/>
                  </a:lnTo>
                  <a:lnTo>
                    <a:pt x="2209" y="1615"/>
                  </a:lnTo>
                  <a:lnTo>
                    <a:pt x="2209" y="1615"/>
                  </a:lnTo>
                  <a:lnTo>
                    <a:pt x="2207" y="1612"/>
                  </a:lnTo>
                  <a:lnTo>
                    <a:pt x="2207" y="1612"/>
                  </a:lnTo>
                  <a:lnTo>
                    <a:pt x="2207" y="1611"/>
                  </a:lnTo>
                  <a:lnTo>
                    <a:pt x="2207" y="1611"/>
                  </a:lnTo>
                  <a:lnTo>
                    <a:pt x="2207" y="1611"/>
                  </a:lnTo>
                  <a:lnTo>
                    <a:pt x="2207" y="1611"/>
                  </a:lnTo>
                  <a:lnTo>
                    <a:pt x="2207" y="1611"/>
                  </a:lnTo>
                  <a:lnTo>
                    <a:pt x="2207" y="1611"/>
                  </a:lnTo>
                  <a:lnTo>
                    <a:pt x="2207" y="1611"/>
                  </a:lnTo>
                  <a:lnTo>
                    <a:pt x="2207" y="1611"/>
                  </a:lnTo>
                  <a:lnTo>
                    <a:pt x="2207" y="1611"/>
                  </a:lnTo>
                  <a:lnTo>
                    <a:pt x="2207" y="1611"/>
                  </a:lnTo>
                  <a:lnTo>
                    <a:pt x="2207" y="1611"/>
                  </a:lnTo>
                  <a:lnTo>
                    <a:pt x="2207" y="1611"/>
                  </a:lnTo>
                  <a:lnTo>
                    <a:pt x="2209" y="1609"/>
                  </a:lnTo>
                  <a:lnTo>
                    <a:pt x="2209" y="1609"/>
                  </a:lnTo>
                  <a:lnTo>
                    <a:pt x="2213" y="1599"/>
                  </a:lnTo>
                  <a:lnTo>
                    <a:pt x="2213" y="1599"/>
                  </a:lnTo>
                  <a:lnTo>
                    <a:pt x="2216" y="1589"/>
                  </a:lnTo>
                  <a:lnTo>
                    <a:pt x="2216" y="1589"/>
                  </a:lnTo>
                  <a:lnTo>
                    <a:pt x="2217" y="1586"/>
                  </a:lnTo>
                  <a:lnTo>
                    <a:pt x="2220" y="1583"/>
                  </a:lnTo>
                  <a:lnTo>
                    <a:pt x="2220" y="1583"/>
                  </a:lnTo>
                  <a:lnTo>
                    <a:pt x="2225" y="1580"/>
                  </a:lnTo>
                  <a:lnTo>
                    <a:pt x="2229" y="1579"/>
                  </a:lnTo>
                  <a:lnTo>
                    <a:pt x="2229" y="1579"/>
                  </a:lnTo>
                  <a:lnTo>
                    <a:pt x="2233" y="1579"/>
                  </a:lnTo>
                  <a:lnTo>
                    <a:pt x="2233" y="1579"/>
                  </a:lnTo>
                  <a:lnTo>
                    <a:pt x="2235" y="1577"/>
                  </a:lnTo>
                  <a:lnTo>
                    <a:pt x="2235" y="1577"/>
                  </a:lnTo>
                  <a:lnTo>
                    <a:pt x="2238" y="1574"/>
                  </a:lnTo>
                  <a:lnTo>
                    <a:pt x="2238" y="1574"/>
                  </a:lnTo>
                  <a:lnTo>
                    <a:pt x="2239" y="1569"/>
                  </a:lnTo>
                  <a:lnTo>
                    <a:pt x="2239" y="1569"/>
                  </a:lnTo>
                  <a:lnTo>
                    <a:pt x="2241" y="1561"/>
                  </a:lnTo>
                  <a:lnTo>
                    <a:pt x="2243" y="1558"/>
                  </a:lnTo>
                  <a:lnTo>
                    <a:pt x="2243" y="1558"/>
                  </a:lnTo>
                  <a:lnTo>
                    <a:pt x="2245" y="1556"/>
                  </a:lnTo>
                  <a:lnTo>
                    <a:pt x="2245" y="1556"/>
                  </a:lnTo>
                  <a:lnTo>
                    <a:pt x="2245" y="1553"/>
                  </a:lnTo>
                  <a:lnTo>
                    <a:pt x="2245" y="1553"/>
                  </a:lnTo>
                  <a:lnTo>
                    <a:pt x="2243" y="1544"/>
                  </a:lnTo>
                  <a:lnTo>
                    <a:pt x="2243" y="1544"/>
                  </a:lnTo>
                  <a:lnTo>
                    <a:pt x="2242" y="1541"/>
                  </a:lnTo>
                  <a:lnTo>
                    <a:pt x="2242" y="1541"/>
                  </a:lnTo>
                  <a:lnTo>
                    <a:pt x="2239" y="1540"/>
                  </a:lnTo>
                  <a:lnTo>
                    <a:pt x="2239" y="1540"/>
                  </a:lnTo>
                  <a:lnTo>
                    <a:pt x="2232" y="1538"/>
                  </a:lnTo>
                  <a:lnTo>
                    <a:pt x="2232" y="1538"/>
                  </a:lnTo>
                  <a:lnTo>
                    <a:pt x="2228" y="1537"/>
                  </a:lnTo>
                  <a:lnTo>
                    <a:pt x="2228" y="1537"/>
                  </a:lnTo>
                  <a:lnTo>
                    <a:pt x="2228" y="1537"/>
                  </a:lnTo>
                  <a:lnTo>
                    <a:pt x="2228" y="1537"/>
                  </a:lnTo>
                  <a:lnTo>
                    <a:pt x="2228" y="1537"/>
                  </a:lnTo>
                  <a:lnTo>
                    <a:pt x="2228" y="1537"/>
                  </a:lnTo>
                  <a:lnTo>
                    <a:pt x="2228" y="1537"/>
                  </a:lnTo>
                  <a:lnTo>
                    <a:pt x="2228" y="1537"/>
                  </a:lnTo>
                  <a:lnTo>
                    <a:pt x="2228" y="1537"/>
                  </a:lnTo>
                  <a:lnTo>
                    <a:pt x="2228" y="1537"/>
                  </a:lnTo>
                  <a:lnTo>
                    <a:pt x="2228" y="1537"/>
                  </a:lnTo>
                  <a:lnTo>
                    <a:pt x="2228" y="1537"/>
                  </a:lnTo>
                  <a:lnTo>
                    <a:pt x="2230" y="1535"/>
                  </a:lnTo>
                  <a:lnTo>
                    <a:pt x="2230" y="1535"/>
                  </a:lnTo>
                  <a:lnTo>
                    <a:pt x="2236" y="1528"/>
                  </a:lnTo>
                  <a:lnTo>
                    <a:pt x="2236" y="1528"/>
                  </a:lnTo>
                  <a:lnTo>
                    <a:pt x="2239" y="1525"/>
                  </a:lnTo>
                  <a:lnTo>
                    <a:pt x="2241" y="1524"/>
                  </a:lnTo>
                  <a:lnTo>
                    <a:pt x="2241" y="1524"/>
                  </a:lnTo>
                  <a:lnTo>
                    <a:pt x="2242" y="1522"/>
                  </a:lnTo>
                  <a:lnTo>
                    <a:pt x="2242" y="1522"/>
                  </a:lnTo>
                  <a:lnTo>
                    <a:pt x="2242" y="1522"/>
                  </a:lnTo>
                  <a:lnTo>
                    <a:pt x="2242" y="1521"/>
                  </a:lnTo>
                  <a:lnTo>
                    <a:pt x="2242" y="1521"/>
                  </a:lnTo>
                  <a:lnTo>
                    <a:pt x="2241" y="1518"/>
                  </a:lnTo>
                  <a:lnTo>
                    <a:pt x="2241" y="1518"/>
                  </a:lnTo>
                  <a:lnTo>
                    <a:pt x="2235" y="1511"/>
                  </a:lnTo>
                  <a:lnTo>
                    <a:pt x="2235" y="1511"/>
                  </a:lnTo>
                  <a:lnTo>
                    <a:pt x="2233" y="1511"/>
                  </a:lnTo>
                  <a:lnTo>
                    <a:pt x="2236" y="1511"/>
                  </a:lnTo>
                  <a:lnTo>
                    <a:pt x="2236" y="1511"/>
                  </a:lnTo>
                  <a:lnTo>
                    <a:pt x="2235" y="1511"/>
                  </a:lnTo>
                  <a:lnTo>
                    <a:pt x="2233" y="1511"/>
                  </a:lnTo>
                  <a:lnTo>
                    <a:pt x="2236" y="1511"/>
                  </a:lnTo>
                  <a:lnTo>
                    <a:pt x="2233" y="1511"/>
                  </a:lnTo>
                  <a:lnTo>
                    <a:pt x="2235" y="1512"/>
                  </a:lnTo>
                  <a:lnTo>
                    <a:pt x="2235" y="1512"/>
                  </a:lnTo>
                  <a:lnTo>
                    <a:pt x="2236" y="1511"/>
                  </a:lnTo>
                  <a:lnTo>
                    <a:pt x="2233" y="1511"/>
                  </a:lnTo>
                  <a:lnTo>
                    <a:pt x="2235" y="1512"/>
                  </a:lnTo>
                  <a:lnTo>
                    <a:pt x="2235" y="1512"/>
                  </a:lnTo>
                  <a:lnTo>
                    <a:pt x="2235" y="1512"/>
                  </a:lnTo>
                  <a:lnTo>
                    <a:pt x="2235" y="1512"/>
                  </a:lnTo>
                  <a:lnTo>
                    <a:pt x="2235" y="1512"/>
                  </a:lnTo>
                  <a:lnTo>
                    <a:pt x="2235" y="1512"/>
                  </a:lnTo>
                  <a:lnTo>
                    <a:pt x="2235" y="1512"/>
                  </a:lnTo>
                  <a:lnTo>
                    <a:pt x="2236" y="1512"/>
                  </a:lnTo>
                  <a:lnTo>
                    <a:pt x="2236" y="1512"/>
                  </a:lnTo>
                  <a:lnTo>
                    <a:pt x="2238" y="1511"/>
                  </a:lnTo>
                  <a:lnTo>
                    <a:pt x="2238" y="1511"/>
                  </a:lnTo>
                  <a:lnTo>
                    <a:pt x="2239" y="1508"/>
                  </a:lnTo>
                  <a:lnTo>
                    <a:pt x="2239" y="1506"/>
                  </a:lnTo>
                  <a:lnTo>
                    <a:pt x="2239" y="1506"/>
                  </a:lnTo>
                  <a:lnTo>
                    <a:pt x="2238" y="1502"/>
                  </a:lnTo>
                  <a:lnTo>
                    <a:pt x="2238" y="1502"/>
                  </a:lnTo>
                  <a:lnTo>
                    <a:pt x="2235" y="1496"/>
                  </a:lnTo>
                  <a:lnTo>
                    <a:pt x="2235" y="1496"/>
                  </a:lnTo>
                  <a:lnTo>
                    <a:pt x="2233" y="1493"/>
                  </a:lnTo>
                  <a:lnTo>
                    <a:pt x="2230" y="1492"/>
                  </a:lnTo>
                  <a:lnTo>
                    <a:pt x="2230" y="1492"/>
                  </a:lnTo>
                  <a:lnTo>
                    <a:pt x="2223" y="1485"/>
                  </a:lnTo>
                  <a:lnTo>
                    <a:pt x="2223" y="1485"/>
                  </a:lnTo>
                  <a:lnTo>
                    <a:pt x="2219" y="1480"/>
                  </a:lnTo>
                  <a:lnTo>
                    <a:pt x="2217" y="1476"/>
                  </a:lnTo>
                  <a:lnTo>
                    <a:pt x="2217" y="1476"/>
                  </a:lnTo>
                  <a:lnTo>
                    <a:pt x="2212" y="1461"/>
                  </a:lnTo>
                  <a:lnTo>
                    <a:pt x="2212" y="1461"/>
                  </a:lnTo>
                  <a:lnTo>
                    <a:pt x="2207" y="1454"/>
                  </a:lnTo>
                  <a:lnTo>
                    <a:pt x="2207" y="1454"/>
                  </a:lnTo>
                  <a:lnTo>
                    <a:pt x="2203" y="1450"/>
                  </a:lnTo>
                  <a:lnTo>
                    <a:pt x="2203" y="1450"/>
                  </a:lnTo>
                  <a:lnTo>
                    <a:pt x="2201" y="1448"/>
                  </a:lnTo>
                  <a:lnTo>
                    <a:pt x="2200" y="1447"/>
                  </a:lnTo>
                  <a:lnTo>
                    <a:pt x="2200" y="1447"/>
                  </a:lnTo>
                  <a:lnTo>
                    <a:pt x="2201" y="1444"/>
                  </a:lnTo>
                  <a:lnTo>
                    <a:pt x="2203" y="1443"/>
                  </a:lnTo>
                  <a:lnTo>
                    <a:pt x="2203" y="1443"/>
                  </a:lnTo>
                  <a:lnTo>
                    <a:pt x="2210" y="1435"/>
                  </a:lnTo>
                  <a:lnTo>
                    <a:pt x="2210" y="1435"/>
                  </a:lnTo>
                  <a:lnTo>
                    <a:pt x="2216" y="1427"/>
                  </a:lnTo>
                  <a:lnTo>
                    <a:pt x="2216" y="1427"/>
                  </a:lnTo>
                  <a:lnTo>
                    <a:pt x="2220" y="1421"/>
                  </a:lnTo>
                  <a:lnTo>
                    <a:pt x="2220" y="1421"/>
                  </a:lnTo>
                  <a:lnTo>
                    <a:pt x="2223" y="1418"/>
                  </a:lnTo>
                  <a:lnTo>
                    <a:pt x="2226" y="1417"/>
                  </a:lnTo>
                  <a:lnTo>
                    <a:pt x="2226" y="1417"/>
                  </a:lnTo>
                  <a:lnTo>
                    <a:pt x="2238" y="1415"/>
                  </a:lnTo>
                  <a:lnTo>
                    <a:pt x="2251" y="1412"/>
                  </a:lnTo>
                  <a:lnTo>
                    <a:pt x="2251" y="1412"/>
                  </a:lnTo>
                  <a:lnTo>
                    <a:pt x="2256" y="1411"/>
                  </a:lnTo>
                  <a:lnTo>
                    <a:pt x="2256" y="1411"/>
                  </a:lnTo>
                  <a:lnTo>
                    <a:pt x="2258" y="1408"/>
                  </a:lnTo>
                  <a:lnTo>
                    <a:pt x="2258" y="1406"/>
                  </a:lnTo>
                  <a:lnTo>
                    <a:pt x="2258" y="1406"/>
                  </a:lnTo>
                  <a:lnTo>
                    <a:pt x="2258" y="1404"/>
                  </a:lnTo>
                  <a:lnTo>
                    <a:pt x="2258" y="1404"/>
                  </a:lnTo>
                  <a:lnTo>
                    <a:pt x="2254" y="1401"/>
                  </a:lnTo>
                  <a:lnTo>
                    <a:pt x="2254" y="1401"/>
                  </a:lnTo>
                  <a:lnTo>
                    <a:pt x="2248" y="1399"/>
                  </a:lnTo>
                  <a:lnTo>
                    <a:pt x="2248" y="1399"/>
                  </a:lnTo>
                  <a:lnTo>
                    <a:pt x="2242" y="1399"/>
                  </a:lnTo>
                  <a:lnTo>
                    <a:pt x="2236" y="1398"/>
                  </a:lnTo>
                  <a:lnTo>
                    <a:pt x="2226" y="1393"/>
                  </a:lnTo>
                  <a:lnTo>
                    <a:pt x="2226" y="1393"/>
                  </a:lnTo>
                  <a:lnTo>
                    <a:pt x="2223" y="1393"/>
                  </a:lnTo>
                  <a:lnTo>
                    <a:pt x="2223" y="1393"/>
                  </a:lnTo>
                  <a:lnTo>
                    <a:pt x="2216" y="1393"/>
                  </a:lnTo>
                  <a:lnTo>
                    <a:pt x="2216" y="1393"/>
                  </a:lnTo>
                  <a:lnTo>
                    <a:pt x="2206" y="1399"/>
                  </a:lnTo>
                  <a:lnTo>
                    <a:pt x="2199" y="1402"/>
                  </a:lnTo>
                  <a:lnTo>
                    <a:pt x="2199" y="1402"/>
                  </a:lnTo>
                  <a:lnTo>
                    <a:pt x="2199" y="1402"/>
                  </a:lnTo>
                  <a:lnTo>
                    <a:pt x="2197" y="1402"/>
                  </a:lnTo>
                  <a:lnTo>
                    <a:pt x="2197" y="1402"/>
                  </a:lnTo>
                  <a:lnTo>
                    <a:pt x="2194" y="1399"/>
                  </a:lnTo>
                  <a:lnTo>
                    <a:pt x="2190" y="1393"/>
                  </a:lnTo>
                  <a:lnTo>
                    <a:pt x="2190" y="1393"/>
                  </a:lnTo>
                  <a:lnTo>
                    <a:pt x="2187" y="1388"/>
                  </a:lnTo>
                  <a:lnTo>
                    <a:pt x="2183" y="1383"/>
                  </a:lnTo>
                  <a:lnTo>
                    <a:pt x="2183" y="1383"/>
                  </a:lnTo>
                  <a:lnTo>
                    <a:pt x="2174" y="1373"/>
                  </a:lnTo>
                  <a:lnTo>
                    <a:pt x="2174" y="1373"/>
                  </a:lnTo>
                  <a:lnTo>
                    <a:pt x="2172" y="1370"/>
                  </a:lnTo>
                  <a:lnTo>
                    <a:pt x="2172" y="1370"/>
                  </a:lnTo>
                  <a:lnTo>
                    <a:pt x="2171" y="1369"/>
                  </a:lnTo>
                  <a:lnTo>
                    <a:pt x="2171" y="1369"/>
                  </a:lnTo>
                  <a:lnTo>
                    <a:pt x="2171" y="1369"/>
                  </a:lnTo>
                  <a:lnTo>
                    <a:pt x="2171" y="1369"/>
                  </a:lnTo>
                  <a:lnTo>
                    <a:pt x="2171" y="1369"/>
                  </a:lnTo>
                  <a:lnTo>
                    <a:pt x="2171" y="1369"/>
                  </a:lnTo>
                  <a:lnTo>
                    <a:pt x="2171" y="1369"/>
                  </a:lnTo>
                  <a:lnTo>
                    <a:pt x="2171" y="1369"/>
                  </a:lnTo>
                  <a:lnTo>
                    <a:pt x="2175" y="1367"/>
                  </a:lnTo>
                  <a:lnTo>
                    <a:pt x="2175" y="1367"/>
                  </a:lnTo>
                  <a:lnTo>
                    <a:pt x="2186" y="1366"/>
                  </a:lnTo>
                  <a:lnTo>
                    <a:pt x="2196" y="1364"/>
                  </a:lnTo>
                  <a:lnTo>
                    <a:pt x="2196" y="1364"/>
                  </a:lnTo>
                  <a:lnTo>
                    <a:pt x="2199" y="1364"/>
                  </a:lnTo>
                  <a:lnTo>
                    <a:pt x="2200" y="1363"/>
                  </a:lnTo>
                  <a:lnTo>
                    <a:pt x="2200" y="1363"/>
                  </a:lnTo>
                  <a:lnTo>
                    <a:pt x="2201" y="1359"/>
                  </a:lnTo>
                  <a:lnTo>
                    <a:pt x="2201" y="1359"/>
                  </a:lnTo>
                  <a:lnTo>
                    <a:pt x="2201" y="1354"/>
                  </a:lnTo>
                  <a:lnTo>
                    <a:pt x="2201" y="1354"/>
                  </a:lnTo>
                  <a:lnTo>
                    <a:pt x="2203" y="1351"/>
                  </a:lnTo>
                  <a:lnTo>
                    <a:pt x="2203" y="1351"/>
                  </a:lnTo>
                  <a:lnTo>
                    <a:pt x="2209" y="1347"/>
                  </a:lnTo>
                  <a:lnTo>
                    <a:pt x="2209" y="1347"/>
                  </a:lnTo>
                  <a:lnTo>
                    <a:pt x="2230" y="1331"/>
                  </a:lnTo>
                  <a:lnTo>
                    <a:pt x="2230" y="1331"/>
                  </a:lnTo>
                  <a:lnTo>
                    <a:pt x="2233" y="1331"/>
                  </a:lnTo>
                  <a:lnTo>
                    <a:pt x="2233" y="1331"/>
                  </a:lnTo>
                  <a:lnTo>
                    <a:pt x="2236" y="1331"/>
                  </a:lnTo>
                  <a:lnTo>
                    <a:pt x="2236" y="1331"/>
                  </a:lnTo>
                  <a:lnTo>
                    <a:pt x="2239" y="1331"/>
                  </a:lnTo>
                  <a:lnTo>
                    <a:pt x="2239" y="1331"/>
                  </a:lnTo>
                  <a:lnTo>
                    <a:pt x="2239" y="1333"/>
                  </a:lnTo>
                  <a:lnTo>
                    <a:pt x="2241" y="1335"/>
                  </a:lnTo>
                  <a:lnTo>
                    <a:pt x="2241" y="1337"/>
                  </a:lnTo>
                  <a:lnTo>
                    <a:pt x="2241" y="1337"/>
                  </a:lnTo>
                  <a:lnTo>
                    <a:pt x="2239" y="1338"/>
                  </a:lnTo>
                  <a:lnTo>
                    <a:pt x="2238" y="1341"/>
                  </a:lnTo>
                  <a:lnTo>
                    <a:pt x="2238" y="1341"/>
                  </a:lnTo>
                  <a:lnTo>
                    <a:pt x="2233" y="1347"/>
                  </a:lnTo>
                  <a:lnTo>
                    <a:pt x="2233" y="1347"/>
                  </a:lnTo>
                  <a:lnTo>
                    <a:pt x="2230" y="1350"/>
                  </a:lnTo>
                  <a:lnTo>
                    <a:pt x="2230" y="1350"/>
                  </a:lnTo>
                  <a:lnTo>
                    <a:pt x="2230" y="1353"/>
                  </a:lnTo>
                  <a:lnTo>
                    <a:pt x="2230" y="1353"/>
                  </a:lnTo>
                  <a:lnTo>
                    <a:pt x="2230" y="1356"/>
                  </a:lnTo>
                  <a:lnTo>
                    <a:pt x="2230" y="1356"/>
                  </a:lnTo>
                  <a:lnTo>
                    <a:pt x="2232" y="1359"/>
                  </a:lnTo>
                  <a:lnTo>
                    <a:pt x="2232" y="1359"/>
                  </a:lnTo>
                  <a:lnTo>
                    <a:pt x="2232" y="1360"/>
                  </a:lnTo>
                  <a:lnTo>
                    <a:pt x="2232" y="1360"/>
                  </a:lnTo>
                  <a:lnTo>
                    <a:pt x="2232" y="1366"/>
                  </a:lnTo>
                  <a:lnTo>
                    <a:pt x="2232" y="1366"/>
                  </a:lnTo>
                  <a:lnTo>
                    <a:pt x="2232" y="1369"/>
                  </a:lnTo>
                  <a:lnTo>
                    <a:pt x="2232" y="1369"/>
                  </a:lnTo>
                  <a:lnTo>
                    <a:pt x="2233" y="1370"/>
                  </a:lnTo>
                  <a:lnTo>
                    <a:pt x="2233" y="1370"/>
                  </a:lnTo>
                  <a:lnTo>
                    <a:pt x="2236" y="1372"/>
                  </a:lnTo>
                  <a:lnTo>
                    <a:pt x="2236" y="1372"/>
                  </a:lnTo>
                  <a:lnTo>
                    <a:pt x="2239" y="1370"/>
                  </a:lnTo>
                  <a:lnTo>
                    <a:pt x="2239" y="1370"/>
                  </a:lnTo>
                  <a:lnTo>
                    <a:pt x="2252" y="1363"/>
                  </a:lnTo>
                  <a:lnTo>
                    <a:pt x="2252" y="1363"/>
                  </a:lnTo>
                  <a:lnTo>
                    <a:pt x="2259" y="1359"/>
                  </a:lnTo>
                  <a:lnTo>
                    <a:pt x="2259" y="1359"/>
                  </a:lnTo>
                  <a:lnTo>
                    <a:pt x="2265" y="1357"/>
                  </a:lnTo>
                  <a:lnTo>
                    <a:pt x="2265" y="1357"/>
                  </a:lnTo>
                  <a:lnTo>
                    <a:pt x="2274" y="1356"/>
                  </a:lnTo>
                  <a:lnTo>
                    <a:pt x="2274" y="1356"/>
                  </a:lnTo>
                  <a:lnTo>
                    <a:pt x="2278" y="1354"/>
                  </a:lnTo>
                  <a:lnTo>
                    <a:pt x="2278" y="1354"/>
                  </a:lnTo>
                  <a:lnTo>
                    <a:pt x="2280" y="1354"/>
                  </a:lnTo>
                  <a:lnTo>
                    <a:pt x="2280" y="1354"/>
                  </a:lnTo>
                  <a:lnTo>
                    <a:pt x="2281" y="1357"/>
                  </a:lnTo>
                  <a:lnTo>
                    <a:pt x="2284" y="1359"/>
                  </a:lnTo>
                  <a:lnTo>
                    <a:pt x="2284" y="1359"/>
                  </a:lnTo>
                  <a:lnTo>
                    <a:pt x="2288" y="1359"/>
                  </a:lnTo>
                  <a:lnTo>
                    <a:pt x="2288" y="1359"/>
                  </a:lnTo>
                  <a:lnTo>
                    <a:pt x="2293" y="1359"/>
                  </a:lnTo>
                  <a:lnTo>
                    <a:pt x="2293" y="1357"/>
                  </a:lnTo>
                  <a:lnTo>
                    <a:pt x="2291" y="1359"/>
                  </a:lnTo>
                  <a:lnTo>
                    <a:pt x="2293" y="1359"/>
                  </a:lnTo>
                  <a:lnTo>
                    <a:pt x="2293" y="1357"/>
                  </a:lnTo>
                  <a:lnTo>
                    <a:pt x="2291" y="1359"/>
                  </a:lnTo>
                  <a:lnTo>
                    <a:pt x="2293" y="1357"/>
                  </a:lnTo>
                  <a:lnTo>
                    <a:pt x="2291" y="1357"/>
                  </a:lnTo>
                  <a:lnTo>
                    <a:pt x="2291" y="1357"/>
                  </a:lnTo>
                  <a:lnTo>
                    <a:pt x="2291" y="1359"/>
                  </a:lnTo>
                  <a:lnTo>
                    <a:pt x="2293" y="1357"/>
                  </a:lnTo>
                  <a:lnTo>
                    <a:pt x="2291" y="1357"/>
                  </a:lnTo>
                  <a:lnTo>
                    <a:pt x="2291" y="1357"/>
                  </a:lnTo>
                  <a:lnTo>
                    <a:pt x="2290" y="1357"/>
                  </a:lnTo>
                  <a:lnTo>
                    <a:pt x="2291" y="1357"/>
                  </a:lnTo>
                  <a:lnTo>
                    <a:pt x="2291" y="1357"/>
                  </a:lnTo>
                  <a:lnTo>
                    <a:pt x="2290" y="1357"/>
                  </a:lnTo>
                  <a:lnTo>
                    <a:pt x="2290" y="1357"/>
                  </a:lnTo>
                  <a:lnTo>
                    <a:pt x="2290" y="1357"/>
                  </a:lnTo>
                  <a:lnTo>
                    <a:pt x="2290" y="1362"/>
                  </a:lnTo>
                  <a:lnTo>
                    <a:pt x="2290" y="1362"/>
                  </a:lnTo>
                  <a:lnTo>
                    <a:pt x="2288" y="1367"/>
                  </a:lnTo>
                  <a:lnTo>
                    <a:pt x="2288" y="1367"/>
                  </a:lnTo>
                  <a:lnTo>
                    <a:pt x="2288" y="1370"/>
                  </a:lnTo>
                  <a:lnTo>
                    <a:pt x="2288" y="1370"/>
                  </a:lnTo>
                  <a:lnTo>
                    <a:pt x="2288" y="1370"/>
                  </a:lnTo>
                  <a:lnTo>
                    <a:pt x="2288" y="1370"/>
                  </a:lnTo>
                  <a:lnTo>
                    <a:pt x="2288" y="1373"/>
                  </a:lnTo>
                  <a:lnTo>
                    <a:pt x="2285" y="1377"/>
                  </a:lnTo>
                  <a:lnTo>
                    <a:pt x="2285" y="1377"/>
                  </a:lnTo>
                  <a:lnTo>
                    <a:pt x="2283" y="1382"/>
                  </a:lnTo>
                  <a:lnTo>
                    <a:pt x="2283" y="1382"/>
                  </a:lnTo>
                  <a:lnTo>
                    <a:pt x="2281" y="1385"/>
                  </a:lnTo>
                  <a:lnTo>
                    <a:pt x="2284" y="1386"/>
                  </a:lnTo>
                  <a:lnTo>
                    <a:pt x="2281" y="1385"/>
                  </a:lnTo>
                  <a:lnTo>
                    <a:pt x="2281" y="1386"/>
                  </a:lnTo>
                  <a:lnTo>
                    <a:pt x="2281" y="1386"/>
                  </a:lnTo>
                  <a:lnTo>
                    <a:pt x="2283" y="1388"/>
                  </a:lnTo>
                  <a:lnTo>
                    <a:pt x="2283" y="1388"/>
                  </a:lnTo>
                  <a:lnTo>
                    <a:pt x="2285" y="1389"/>
                  </a:lnTo>
                  <a:lnTo>
                    <a:pt x="2285" y="1389"/>
                  </a:lnTo>
                  <a:lnTo>
                    <a:pt x="2301" y="1395"/>
                  </a:lnTo>
                  <a:lnTo>
                    <a:pt x="2301" y="1395"/>
                  </a:lnTo>
                  <a:lnTo>
                    <a:pt x="2309" y="1396"/>
                  </a:lnTo>
                  <a:lnTo>
                    <a:pt x="2309" y="1396"/>
                  </a:lnTo>
                  <a:lnTo>
                    <a:pt x="2312" y="1396"/>
                  </a:lnTo>
                  <a:lnTo>
                    <a:pt x="2313" y="1396"/>
                  </a:lnTo>
                  <a:lnTo>
                    <a:pt x="2313" y="1396"/>
                  </a:lnTo>
                  <a:lnTo>
                    <a:pt x="2313" y="1396"/>
                  </a:lnTo>
                  <a:lnTo>
                    <a:pt x="2313" y="1396"/>
                  </a:lnTo>
                  <a:lnTo>
                    <a:pt x="2313" y="1396"/>
                  </a:lnTo>
                  <a:lnTo>
                    <a:pt x="2313" y="1396"/>
                  </a:lnTo>
                  <a:lnTo>
                    <a:pt x="2313" y="1396"/>
                  </a:lnTo>
                  <a:lnTo>
                    <a:pt x="2313" y="1396"/>
                  </a:lnTo>
                  <a:lnTo>
                    <a:pt x="2313" y="1396"/>
                  </a:lnTo>
                  <a:lnTo>
                    <a:pt x="2313" y="1396"/>
                  </a:lnTo>
                  <a:lnTo>
                    <a:pt x="2313" y="1396"/>
                  </a:lnTo>
                  <a:lnTo>
                    <a:pt x="2313" y="1396"/>
                  </a:lnTo>
                  <a:lnTo>
                    <a:pt x="2313" y="1396"/>
                  </a:lnTo>
                  <a:lnTo>
                    <a:pt x="2313" y="1398"/>
                  </a:lnTo>
                  <a:lnTo>
                    <a:pt x="2313" y="1398"/>
                  </a:lnTo>
                  <a:lnTo>
                    <a:pt x="2316" y="1404"/>
                  </a:lnTo>
                  <a:lnTo>
                    <a:pt x="2316" y="1404"/>
                  </a:lnTo>
                  <a:lnTo>
                    <a:pt x="2316" y="1406"/>
                  </a:lnTo>
                  <a:lnTo>
                    <a:pt x="2316" y="1408"/>
                  </a:lnTo>
                  <a:lnTo>
                    <a:pt x="2316" y="1408"/>
                  </a:lnTo>
                  <a:lnTo>
                    <a:pt x="2316" y="1408"/>
                  </a:lnTo>
                  <a:lnTo>
                    <a:pt x="2316" y="1408"/>
                  </a:lnTo>
                  <a:lnTo>
                    <a:pt x="2316" y="1408"/>
                  </a:lnTo>
                  <a:lnTo>
                    <a:pt x="2316" y="1408"/>
                  </a:lnTo>
                  <a:lnTo>
                    <a:pt x="2316" y="1408"/>
                  </a:lnTo>
                  <a:lnTo>
                    <a:pt x="2316" y="1408"/>
                  </a:lnTo>
                  <a:lnTo>
                    <a:pt x="2317" y="1408"/>
                  </a:lnTo>
                  <a:lnTo>
                    <a:pt x="2316" y="1408"/>
                  </a:lnTo>
                  <a:lnTo>
                    <a:pt x="2316" y="1408"/>
                  </a:lnTo>
                  <a:lnTo>
                    <a:pt x="2317" y="1408"/>
                  </a:lnTo>
                  <a:lnTo>
                    <a:pt x="2316" y="1408"/>
                  </a:lnTo>
                  <a:lnTo>
                    <a:pt x="2317" y="1408"/>
                  </a:lnTo>
                  <a:lnTo>
                    <a:pt x="2317" y="1406"/>
                  </a:lnTo>
                  <a:lnTo>
                    <a:pt x="2316" y="1408"/>
                  </a:lnTo>
                  <a:lnTo>
                    <a:pt x="2317" y="1408"/>
                  </a:lnTo>
                  <a:lnTo>
                    <a:pt x="2317" y="1406"/>
                  </a:lnTo>
                  <a:lnTo>
                    <a:pt x="2317" y="1408"/>
                  </a:lnTo>
                  <a:lnTo>
                    <a:pt x="2317" y="1408"/>
                  </a:lnTo>
                  <a:lnTo>
                    <a:pt x="2317" y="1406"/>
                  </a:lnTo>
                  <a:lnTo>
                    <a:pt x="2317" y="1408"/>
                  </a:lnTo>
                  <a:lnTo>
                    <a:pt x="2317" y="1408"/>
                  </a:lnTo>
                  <a:lnTo>
                    <a:pt x="2317" y="1408"/>
                  </a:lnTo>
                  <a:lnTo>
                    <a:pt x="2316" y="1406"/>
                  </a:lnTo>
                  <a:lnTo>
                    <a:pt x="2316" y="1406"/>
                  </a:lnTo>
                  <a:lnTo>
                    <a:pt x="2312" y="1406"/>
                  </a:lnTo>
                  <a:lnTo>
                    <a:pt x="2312" y="1406"/>
                  </a:lnTo>
                  <a:lnTo>
                    <a:pt x="2309" y="1406"/>
                  </a:lnTo>
                  <a:lnTo>
                    <a:pt x="2309" y="1406"/>
                  </a:lnTo>
                  <a:lnTo>
                    <a:pt x="2307" y="1409"/>
                  </a:lnTo>
                  <a:lnTo>
                    <a:pt x="2307" y="1409"/>
                  </a:lnTo>
                  <a:lnTo>
                    <a:pt x="2307" y="1411"/>
                  </a:lnTo>
                  <a:lnTo>
                    <a:pt x="2307" y="1411"/>
                  </a:lnTo>
                  <a:lnTo>
                    <a:pt x="2307" y="1417"/>
                  </a:lnTo>
                  <a:lnTo>
                    <a:pt x="2309" y="1421"/>
                  </a:lnTo>
                  <a:lnTo>
                    <a:pt x="2309" y="1421"/>
                  </a:lnTo>
                  <a:lnTo>
                    <a:pt x="2313" y="1430"/>
                  </a:lnTo>
                  <a:lnTo>
                    <a:pt x="2313" y="1430"/>
                  </a:lnTo>
                  <a:lnTo>
                    <a:pt x="2313" y="1430"/>
                  </a:lnTo>
                  <a:lnTo>
                    <a:pt x="2313" y="1430"/>
                  </a:lnTo>
                  <a:lnTo>
                    <a:pt x="2313" y="1430"/>
                  </a:lnTo>
                  <a:lnTo>
                    <a:pt x="2313" y="1430"/>
                  </a:lnTo>
                  <a:lnTo>
                    <a:pt x="2313" y="1430"/>
                  </a:lnTo>
                  <a:lnTo>
                    <a:pt x="2313" y="1430"/>
                  </a:lnTo>
                  <a:lnTo>
                    <a:pt x="2312" y="1432"/>
                  </a:lnTo>
                  <a:lnTo>
                    <a:pt x="2312" y="1432"/>
                  </a:lnTo>
                  <a:lnTo>
                    <a:pt x="2309" y="1438"/>
                  </a:lnTo>
                  <a:lnTo>
                    <a:pt x="2309" y="1438"/>
                  </a:lnTo>
                  <a:lnTo>
                    <a:pt x="2306" y="1446"/>
                  </a:lnTo>
                  <a:lnTo>
                    <a:pt x="2306" y="1446"/>
                  </a:lnTo>
                  <a:lnTo>
                    <a:pt x="2306" y="1450"/>
                  </a:lnTo>
                  <a:lnTo>
                    <a:pt x="2306" y="1450"/>
                  </a:lnTo>
                  <a:lnTo>
                    <a:pt x="2306" y="1454"/>
                  </a:lnTo>
                  <a:lnTo>
                    <a:pt x="2307" y="1459"/>
                  </a:lnTo>
                  <a:lnTo>
                    <a:pt x="2307" y="1459"/>
                  </a:lnTo>
                  <a:lnTo>
                    <a:pt x="2310" y="1461"/>
                  </a:lnTo>
                  <a:lnTo>
                    <a:pt x="2310" y="1461"/>
                  </a:lnTo>
                  <a:lnTo>
                    <a:pt x="2313" y="1464"/>
                  </a:lnTo>
                  <a:lnTo>
                    <a:pt x="2313" y="1464"/>
                  </a:lnTo>
                  <a:lnTo>
                    <a:pt x="2314" y="1464"/>
                  </a:lnTo>
                  <a:lnTo>
                    <a:pt x="2314" y="1464"/>
                  </a:lnTo>
                  <a:lnTo>
                    <a:pt x="2317" y="1463"/>
                  </a:lnTo>
                  <a:lnTo>
                    <a:pt x="2319" y="1463"/>
                  </a:lnTo>
                  <a:lnTo>
                    <a:pt x="2319" y="1463"/>
                  </a:lnTo>
                  <a:lnTo>
                    <a:pt x="2326" y="1457"/>
                  </a:lnTo>
                  <a:lnTo>
                    <a:pt x="2326" y="1457"/>
                  </a:lnTo>
                  <a:lnTo>
                    <a:pt x="2329" y="1454"/>
                  </a:lnTo>
                  <a:lnTo>
                    <a:pt x="2329" y="1454"/>
                  </a:lnTo>
                  <a:lnTo>
                    <a:pt x="2332" y="1454"/>
                  </a:lnTo>
                  <a:lnTo>
                    <a:pt x="2332" y="1454"/>
                  </a:lnTo>
                  <a:lnTo>
                    <a:pt x="2338" y="1453"/>
                  </a:lnTo>
                  <a:lnTo>
                    <a:pt x="2338" y="1453"/>
                  </a:lnTo>
                  <a:lnTo>
                    <a:pt x="2343" y="1453"/>
                  </a:lnTo>
                  <a:lnTo>
                    <a:pt x="2343" y="1453"/>
                  </a:lnTo>
                  <a:lnTo>
                    <a:pt x="2343" y="1453"/>
                  </a:lnTo>
                  <a:lnTo>
                    <a:pt x="2346" y="1453"/>
                  </a:lnTo>
                  <a:lnTo>
                    <a:pt x="2348" y="1451"/>
                  </a:lnTo>
                  <a:lnTo>
                    <a:pt x="2348" y="1451"/>
                  </a:lnTo>
                  <a:lnTo>
                    <a:pt x="2354" y="1446"/>
                  </a:lnTo>
                  <a:lnTo>
                    <a:pt x="2354" y="1446"/>
                  </a:lnTo>
                  <a:lnTo>
                    <a:pt x="2358" y="1440"/>
                  </a:lnTo>
                  <a:lnTo>
                    <a:pt x="2358" y="1440"/>
                  </a:lnTo>
                  <a:lnTo>
                    <a:pt x="2361" y="1437"/>
                  </a:lnTo>
                  <a:lnTo>
                    <a:pt x="2361" y="1432"/>
                  </a:lnTo>
                  <a:lnTo>
                    <a:pt x="2361" y="1432"/>
                  </a:lnTo>
                  <a:lnTo>
                    <a:pt x="2359" y="1425"/>
                  </a:lnTo>
                  <a:lnTo>
                    <a:pt x="2358" y="1418"/>
                  </a:lnTo>
                  <a:lnTo>
                    <a:pt x="2358" y="1418"/>
                  </a:lnTo>
                  <a:lnTo>
                    <a:pt x="2356" y="1405"/>
                  </a:lnTo>
                  <a:lnTo>
                    <a:pt x="2356" y="1405"/>
                  </a:lnTo>
                  <a:lnTo>
                    <a:pt x="2355" y="1396"/>
                  </a:lnTo>
                  <a:lnTo>
                    <a:pt x="2355" y="1396"/>
                  </a:lnTo>
                  <a:lnTo>
                    <a:pt x="2354" y="1390"/>
                  </a:lnTo>
                  <a:lnTo>
                    <a:pt x="2354" y="1390"/>
                  </a:lnTo>
                  <a:lnTo>
                    <a:pt x="2348" y="1379"/>
                  </a:lnTo>
                  <a:lnTo>
                    <a:pt x="2348" y="1379"/>
                  </a:lnTo>
                  <a:lnTo>
                    <a:pt x="2343" y="1370"/>
                  </a:lnTo>
                  <a:lnTo>
                    <a:pt x="2336" y="1364"/>
                  </a:lnTo>
                  <a:lnTo>
                    <a:pt x="2336" y="1364"/>
                  </a:lnTo>
                  <a:lnTo>
                    <a:pt x="2330" y="1360"/>
                  </a:lnTo>
                  <a:lnTo>
                    <a:pt x="2330" y="1360"/>
                  </a:lnTo>
                  <a:lnTo>
                    <a:pt x="2330" y="1359"/>
                  </a:lnTo>
                  <a:lnTo>
                    <a:pt x="2330" y="1359"/>
                  </a:lnTo>
                  <a:lnTo>
                    <a:pt x="2330" y="1356"/>
                  </a:lnTo>
                  <a:lnTo>
                    <a:pt x="2330" y="1356"/>
                  </a:lnTo>
                  <a:lnTo>
                    <a:pt x="2332" y="1353"/>
                  </a:lnTo>
                  <a:lnTo>
                    <a:pt x="2332" y="1353"/>
                  </a:lnTo>
                  <a:lnTo>
                    <a:pt x="2333" y="1351"/>
                  </a:lnTo>
                  <a:lnTo>
                    <a:pt x="2333" y="1351"/>
                  </a:lnTo>
                  <a:lnTo>
                    <a:pt x="2339" y="1348"/>
                  </a:lnTo>
                  <a:lnTo>
                    <a:pt x="2339" y="1348"/>
                  </a:lnTo>
                  <a:lnTo>
                    <a:pt x="2346" y="1344"/>
                  </a:lnTo>
                  <a:lnTo>
                    <a:pt x="2346" y="1344"/>
                  </a:lnTo>
                  <a:lnTo>
                    <a:pt x="2352" y="1340"/>
                  </a:lnTo>
                  <a:lnTo>
                    <a:pt x="2352" y="1340"/>
                  </a:lnTo>
                  <a:lnTo>
                    <a:pt x="2361" y="1328"/>
                  </a:lnTo>
                  <a:lnTo>
                    <a:pt x="2361" y="1328"/>
                  </a:lnTo>
                  <a:lnTo>
                    <a:pt x="2365" y="1322"/>
                  </a:lnTo>
                  <a:lnTo>
                    <a:pt x="2365" y="1322"/>
                  </a:lnTo>
                  <a:lnTo>
                    <a:pt x="2367" y="1319"/>
                  </a:lnTo>
                  <a:lnTo>
                    <a:pt x="2367" y="1319"/>
                  </a:lnTo>
                  <a:lnTo>
                    <a:pt x="2372" y="1308"/>
                  </a:lnTo>
                  <a:lnTo>
                    <a:pt x="2372" y="1308"/>
                  </a:lnTo>
                  <a:lnTo>
                    <a:pt x="2375" y="1301"/>
                  </a:lnTo>
                  <a:lnTo>
                    <a:pt x="2375" y="1301"/>
                  </a:lnTo>
                  <a:lnTo>
                    <a:pt x="2378" y="1296"/>
                  </a:lnTo>
                  <a:lnTo>
                    <a:pt x="2378" y="1296"/>
                  </a:lnTo>
                  <a:lnTo>
                    <a:pt x="2378" y="1296"/>
                  </a:lnTo>
                  <a:lnTo>
                    <a:pt x="2378" y="1296"/>
                  </a:lnTo>
                  <a:lnTo>
                    <a:pt x="2380" y="1295"/>
                  </a:lnTo>
                  <a:lnTo>
                    <a:pt x="2380" y="1295"/>
                  </a:lnTo>
                  <a:lnTo>
                    <a:pt x="2385" y="1292"/>
                  </a:lnTo>
                  <a:lnTo>
                    <a:pt x="2385" y="1292"/>
                  </a:lnTo>
                  <a:lnTo>
                    <a:pt x="2390" y="1291"/>
                  </a:lnTo>
                  <a:lnTo>
                    <a:pt x="2390" y="1291"/>
                  </a:lnTo>
                  <a:lnTo>
                    <a:pt x="2393" y="1289"/>
                  </a:lnTo>
                  <a:lnTo>
                    <a:pt x="2393" y="1289"/>
                  </a:lnTo>
                  <a:lnTo>
                    <a:pt x="2394" y="1286"/>
                  </a:lnTo>
                  <a:lnTo>
                    <a:pt x="2394" y="1286"/>
                  </a:lnTo>
                  <a:lnTo>
                    <a:pt x="2397" y="1282"/>
                  </a:lnTo>
                  <a:lnTo>
                    <a:pt x="2397" y="1282"/>
                  </a:lnTo>
                  <a:lnTo>
                    <a:pt x="2398" y="1279"/>
                  </a:lnTo>
                  <a:lnTo>
                    <a:pt x="2398" y="1279"/>
                  </a:lnTo>
                  <a:lnTo>
                    <a:pt x="2398" y="1279"/>
                  </a:lnTo>
                  <a:lnTo>
                    <a:pt x="2398" y="1279"/>
                  </a:lnTo>
                  <a:lnTo>
                    <a:pt x="2398" y="1279"/>
                  </a:lnTo>
                  <a:lnTo>
                    <a:pt x="2398" y="1279"/>
                  </a:lnTo>
                  <a:lnTo>
                    <a:pt x="2398" y="1279"/>
                  </a:lnTo>
                  <a:lnTo>
                    <a:pt x="2398" y="1279"/>
                  </a:lnTo>
                  <a:lnTo>
                    <a:pt x="2398" y="1279"/>
                  </a:lnTo>
                  <a:lnTo>
                    <a:pt x="2398" y="1279"/>
                  </a:lnTo>
                  <a:lnTo>
                    <a:pt x="2398" y="1279"/>
                  </a:lnTo>
                  <a:lnTo>
                    <a:pt x="2398" y="1279"/>
                  </a:lnTo>
                  <a:lnTo>
                    <a:pt x="2400" y="1280"/>
                  </a:lnTo>
                  <a:lnTo>
                    <a:pt x="2400" y="1280"/>
                  </a:lnTo>
                  <a:lnTo>
                    <a:pt x="2404" y="1283"/>
                  </a:lnTo>
                  <a:lnTo>
                    <a:pt x="2404" y="1283"/>
                  </a:lnTo>
                  <a:lnTo>
                    <a:pt x="2409" y="1289"/>
                  </a:lnTo>
                  <a:lnTo>
                    <a:pt x="2409" y="1289"/>
                  </a:lnTo>
                  <a:lnTo>
                    <a:pt x="2413" y="1291"/>
                  </a:lnTo>
                  <a:lnTo>
                    <a:pt x="2416" y="1291"/>
                  </a:lnTo>
                  <a:lnTo>
                    <a:pt x="2416" y="1291"/>
                  </a:lnTo>
                  <a:lnTo>
                    <a:pt x="2422" y="1291"/>
                  </a:lnTo>
                  <a:lnTo>
                    <a:pt x="2429" y="1288"/>
                  </a:lnTo>
                  <a:lnTo>
                    <a:pt x="2429" y="1288"/>
                  </a:lnTo>
                  <a:lnTo>
                    <a:pt x="2439" y="1285"/>
                  </a:lnTo>
                  <a:lnTo>
                    <a:pt x="2439" y="1285"/>
                  </a:lnTo>
                  <a:lnTo>
                    <a:pt x="2442" y="1283"/>
                  </a:lnTo>
                  <a:lnTo>
                    <a:pt x="2445" y="1280"/>
                  </a:lnTo>
                  <a:lnTo>
                    <a:pt x="2445" y="1280"/>
                  </a:lnTo>
                  <a:lnTo>
                    <a:pt x="2453" y="1270"/>
                  </a:lnTo>
                  <a:lnTo>
                    <a:pt x="2453" y="1270"/>
                  </a:lnTo>
                  <a:lnTo>
                    <a:pt x="2456" y="1266"/>
                  </a:lnTo>
                  <a:lnTo>
                    <a:pt x="2456" y="1266"/>
                  </a:lnTo>
                  <a:lnTo>
                    <a:pt x="2459" y="1263"/>
                  </a:lnTo>
                  <a:lnTo>
                    <a:pt x="2459" y="1263"/>
                  </a:lnTo>
                  <a:lnTo>
                    <a:pt x="2465" y="1254"/>
                  </a:lnTo>
                  <a:lnTo>
                    <a:pt x="2465" y="1254"/>
                  </a:lnTo>
                  <a:lnTo>
                    <a:pt x="2474" y="1246"/>
                  </a:lnTo>
                  <a:lnTo>
                    <a:pt x="2474" y="1246"/>
                  </a:lnTo>
                  <a:lnTo>
                    <a:pt x="2481" y="1238"/>
                  </a:lnTo>
                  <a:lnTo>
                    <a:pt x="2490" y="1233"/>
                  </a:lnTo>
                  <a:lnTo>
                    <a:pt x="2490" y="1233"/>
                  </a:lnTo>
                  <a:lnTo>
                    <a:pt x="2495" y="1227"/>
                  </a:lnTo>
                  <a:lnTo>
                    <a:pt x="2500" y="1220"/>
                  </a:lnTo>
                  <a:lnTo>
                    <a:pt x="2500" y="1220"/>
                  </a:lnTo>
                  <a:lnTo>
                    <a:pt x="2506" y="1207"/>
                  </a:lnTo>
                  <a:lnTo>
                    <a:pt x="2506" y="1207"/>
                  </a:lnTo>
                  <a:lnTo>
                    <a:pt x="2507" y="1202"/>
                  </a:lnTo>
                  <a:lnTo>
                    <a:pt x="2507" y="1202"/>
                  </a:lnTo>
                  <a:lnTo>
                    <a:pt x="2522" y="1179"/>
                  </a:lnTo>
                  <a:lnTo>
                    <a:pt x="2522" y="1179"/>
                  </a:lnTo>
                  <a:lnTo>
                    <a:pt x="2527" y="1172"/>
                  </a:lnTo>
                  <a:lnTo>
                    <a:pt x="2533" y="1166"/>
                  </a:lnTo>
                  <a:lnTo>
                    <a:pt x="2533" y="1166"/>
                  </a:lnTo>
                  <a:lnTo>
                    <a:pt x="2535" y="1162"/>
                  </a:lnTo>
                  <a:lnTo>
                    <a:pt x="2535" y="1162"/>
                  </a:lnTo>
                  <a:lnTo>
                    <a:pt x="2536" y="1154"/>
                  </a:lnTo>
                  <a:lnTo>
                    <a:pt x="2537" y="1143"/>
                  </a:lnTo>
                  <a:lnTo>
                    <a:pt x="2537" y="1143"/>
                  </a:lnTo>
                  <a:lnTo>
                    <a:pt x="2542" y="1121"/>
                  </a:lnTo>
                  <a:lnTo>
                    <a:pt x="2542" y="1121"/>
                  </a:lnTo>
                  <a:lnTo>
                    <a:pt x="2542" y="1109"/>
                  </a:lnTo>
                  <a:lnTo>
                    <a:pt x="2542" y="1109"/>
                  </a:lnTo>
                  <a:lnTo>
                    <a:pt x="2542" y="1102"/>
                  </a:lnTo>
                  <a:lnTo>
                    <a:pt x="2542" y="1102"/>
                  </a:lnTo>
                  <a:lnTo>
                    <a:pt x="2542" y="1096"/>
                  </a:lnTo>
                  <a:lnTo>
                    <a:pt x="2542" y="1096"/>
                  </a:lnTo>
                  <a:lnTo>
                    <a:pt x="2542" y="1094"/>
                  </a:lnTo>
                  <a:lnTo>
                    <a:pt x="2542" y="1094"/>
                  </a:lnTo>
                  <a:lnTo>
                    <a:pt x="2543" y="1088"/>
                  </a:lnTo>
                  <a:lnTo>
                    <a:pt x="2548" y="1079"/>
                  </a:lnTo>
                  <a:lnTo>
                    <a:pt x="2548" y="1079"/>
                  </a:lnTo>
                  <a:lnTo>
                    <a:pt x="2552" y="1072"/>
                  </a:lnTo>
                  <a:lnTo>
                    <a:pt x="2552" y="1072"/>
                  </a:lnTo>
                  <a:lnTo>
                    <a:pt x="2555" y="1066"/>
                  </a:lnTo>
                  <a:lnTo>
                    <a:pt x="2555" y="1066"/>
                  </a:lnTo>
                  <a:lnTo>
                    <a:pt x="2555" y="1063"/>
                  </a:lnTo>
                  <a:lnTo>
                    <a:pt x="2555" y="1063"/>
                  </a:lnTo>
                  <a:lnTo>
                    <a:pt x="2555" y="1059"/>
                  </a:lnTo>
                  <a:lnTo>
                    <a:pt x="2553" y="1056"/>
                  </a:lnTo>
                  <a:lnTo>
                    <a:pt x="2553" y="1056"/>
                  </a:lnTo>
                  <a:lnTo>
                    <a:pt x="2550" y="1054"/>
                  </a:lnTo>
                  <a:lnTo>
                    <a:pt x="2548" y="1053"/>
                  </a:lnTo>
                  <a:lnTo>
                    <a:pt x="2548" y="1053"/>
                  </a:lnTo>
                  <a:lnTo>
                    <a:pt x="2546" y="1054"/>
                  </a:lnTo>
                  <a:lnTo>
                    <a:pt x="2546" y="1056"/>
                  </a:lnTo>
                  <a:lnTo>
                    <a:pt x="2546" y="1054"/>
                  </a:lnTo>
                  <a:lnTo>
                    <a:pt x="2546" y="1054"/>
                  </a:lnTo>
                  <a:lnTo>
                    <a:pt x="2546" y="1056"/>
                  </a:lnTo>
                  <a:lnTo>
                    <a:pt x="2546" y="1054"/>
                  </a:lnTo>
                  <a:lnTo>
                    <a:pt x="2546" y="1056"/>
                  </a:lnTo>
                  <a:lnTo>
                    <a:pt x="2548" y="1054"/>
                  </a:lnTo>
                  <a:lnTo>
                    <a:pt x="2548" y="1054"/>
                  </a:lnTo>
                  <a:lnTo>
                    <a:pt x="2546" y="1054"/>
                  </a:lnTo>
                  <a:lnTo>
                    <a:pt x="2546" y="1056"/>
                  </a:lnTo>
                  <a:lnTo>
                    <a:pt x="2548" y="1054"/>
                  </a:lnTo>
                  <a:lnTo>
                    <a:pt x="2548" y="1054"/>
                  </a:lnTo>
                  <a:lnTo>
                    <a:pt x="2548" y="1054"/>
                  </a:lnTo>
                  <a:lnTo>
                    <a:pt x="2548" y="1054"/>
                  </a:lnTo>
                  <a:lnTo>
                    <a:pt x="2548" y="1054"/>
                  </a:lnTo>
                  <a:lnTo>
                    <a:pt x="2548" y="1054"/>
                  </a:lnTo>
                  <a:lnTo>
                    <a:pt x="2548" y="1054"/>
                  </a:lnTo>
                  <a:lnTo>
                    <a:pt x="2548" y="1054"/>
                  </a:lnTo>
                  <a:lnTo>
                    <a:pt x="2546" y="1052"/>
                  </a:lnTo>
                  <a:lnTo>
                    <a:pt x="2546" y="1052"/>
                  </a:lnTo>
                  <a:lnTo>
                    <a:pt x="2543" y="1044"/>
                  </a:lnTo>
                  <a:lnTo>
                    <a:pt x="2543" y="1044"/>
                  </a:lnTo>
                  <a:lnTo>
                    <a:pt x="2542" y="1040"/>
                  </a:lnTo>
                  <a:lnTo>
                    <a:pt x="2542" y="1040"/>
                  </a:lnTo>
                  <a:lnTo>
                    <a:pt x="2542" y="1038"/>
                  </a:lnTo>
                  <a:lnTo>
                    <a:pt x="2542" y="1038"/>
                  </a:lnTo>
                  <a:lnTo>
                    <a:pt x="2542" y="1037"/>
                  </a:lnTo>
                  <a:lnTo>
                    <a:pt x="2540" y="1038"/>
                  </a:lnTo>
                  <a:lnTo>
                    <a:pt x="2542" y="1038"/>
                  </a:lnTo>
                  <a:lnTo>
                    <a:pt x="2542" y="1037"/>
                  </a:lnTo>
                  <a:lnTo>
                    <a:pt x="2540" y="1038"/>
                  </a:lnTo>
                  <a:lnTo>
                    <a:pt x="2542" y="1038"/>
                  </a:lnTo>
                  <a:lnTo>
                    <a:pt x="2540" y="1038"/>
                  </a:lnTo>
                  <a:lnTo>
                    <a:pt x="2540" y="1038"/>
                  </a:lnTo>
                  <a:lnTo>
                    <a:pt x="2542" y="1038"/>
                  </a:lnTo>
                  <a:lnTo>
                    <a:pt x="2540" y="1038"/>
                  </a:lnTo>
                  <a:lnTo>
                    <a:pt x="2540" y="1038"/>
                  </a:lnTo>
                  <a:lnTo>
                    <a:pt x="2540" y="1038"/>
                  </a:lnTo>
                  <a:lnTo>
                    <a:pt x="2542" y="1038"/>
                  </a:lnTo>
                  <a:lnTo>
                    <a:pt x="2542" y="1038"/>
                  </a:lnTo>
                  <a:lnTo>
                    <a:pt x="2545" y="1037"/>
                  </a:lnTo>
                  <a:lnTo>
                    <a:pt x="2545" y="1037"/>
                  </a:lnTo>
                  <a:lnTo>
                    <a:pt x="2546" y="1034"/>
                  </a:lnTo>
                  <a:lnTo>
                    <a:pt x="2546" y="1034"/>
                  </a:lnTo>
                  <a:lnTo>
                    <a:pt x="2545" y="1031"/>
                  </a:lnTo>
                  <a:lnTo>
                    <a:pt x="2545" y="1031"/>
                  </a:lnTo>
                  <a:lnTo>
                    <a:pt x="2542" y="1027"/>
                  </a:lnTo>
                  <a:lnTo>
                    <a:pt x="2542" y="1027"/>
                  </a:lnTo>
                  <a:lnTo>
                    <a:pt x="2535" y="1023"/>
                  </a:lnTo>
                  <a:lnTo>
                    <a:pt x="2535" y="1023"/>
                  </a:lnTo>
                  <a:lnTo>
                    <a:pt x="2529" y="1018"/>
                  </a:lnTo>
                  <a:lnTo>
                    <a:pt x="2529" y="1018"/>
                  </a:lnTo>
                  <a:lnTo>
                    <a:pt x="2527" y="1017"/>
                  </a:lnTo>
                  <a:lnTo>
                    <a:pt x="2527" y="1017"/>
                  </a:lnTo>
                  <a:lnTo>
                    <a:pt x="2526" y="1012"/>
                  </a:lnTo>
                  <a:lnTo>
                    <a:pt x="2526" y="1012"/>
                  </a:lnTo>
                  <a:lnTo>
                    <a:pt x="2524" y="1008"/>
                  </a:lnTo>
                  <a:lnTo>
                    <a:pt x="2524" y="1008"/>
                  </a:lnTo>
                  <a:lnTo>
                    <a:pt x="2522" y="1005"/>
                  </a:lnTo>
                  <a:lnTo>
                    <a:pt x="2522" y="1005"/>
                  </a:lnTo>
                  <a:lnTo>
                    <a:pt x="2510" y="1001"/>
                  </a:lnTo>
                  <a:lnTo>
                    <a:pt x="2510" y="1001"/>
                  </a:lnTo>
                  <a:lnTo>
                    <a:pt x="2504" y="998"/>
                  </a:lnTo>
                  <a:lnTo>
                    <a:pt x="2498" y="998"/>
                  </a:lnTo>
                  <a:lnTo>
                    <a:pt x="2497" y="998"/>
                  </a:lnTo>
                  <a:lnTo>
                    <a:pt x="2497" y="998"/>
                  </a:lnTo>
                  <a:lnTo>
                    <a:pt x="2494" y="999"/>
                  </a:lnTo>
                  <a:lnTo>
                    <a:pt x="2494" y="999"/>
                  </a:lnTo>
                  <a:lnTo>
                    <a:pt x="2494" y="1002"/>
                  </a:lnTo>
                  <a:lnTo>
                    <a:pt x="2494" y="1002"/>
                  </a:lnTo>
                  <a:lnTo>
                    <a:pt x="2494" y="1005"/>
                  </a:lnTo>
                  <a:lnTo>
                    <a:pt x="2494" y="1005"/>
                  </a:lnTo>
                  <a:lnTo>
                    <a:pt x="2497" y="1010"/>
                  </a:lnTo>
                  <a:lnTo>
                    <a:pt x="2497" y="1010"/>
                  </a:lnTo>
                  <a:lnTo>
                    <a:pt x="2497" y="1011"/>
                  </a:lnTo>
                  <a:lnTo>
                    <a:pt x="2497" y="1011"/>
                  </a:lnTo>
                  <a:lnTo>
                    <a:pt x="2497" y="1011"/>
                  </a:lnTo>
                  <a:lnTo>
                    <a:pt x="2497" y="1011"/>
                  </a:lnTo>
                  <a:lnTo>
                    <a:pt x="2497" y="1011"/>
                  </a:lnTo>
                  <a:lnTo>
                    <a:pt x="2497" y="1011"/>
                  </a:lnTo>
                  <a:lnTo>
                    <a:pt x="2497" y="1011"/>
                  </a:lnTo>
                  <a:lnTo>
                    <a:pt x="2497" y="1011"/>
                  </a:lnTo>
                  <a:lnTo>
                    <a:pt x="2498" y="1011"/>
                  </a:lnTo>
                  <a:lnTo>
                    <a:pt x="2498" y="1011"/>
                  </a:lnTo>
                  <a:lnTo>
                    <a:pt x="2498" y="1011"/>
                  </a:lnTo>
                  <a:lnTo>
                    <a:pt x="2497" y="1011"/>
                  </a:lnTo>
                  <a:lnTo>
                    <a:pt x="2498" y="1011"/>
                  </a:lnTo>
                  <a:lnTo>
                    <a:pt x="2498" y="1011"/>
                  </a:lnTo>
                  <a:lnTo>
                    <a:pt x="2498" y="1011"/>
                  </a:lnTo>
                  <a:lnTo>
                    <a:pt x="2498" y="1010"/>
                  </a:lnTo>
                  <a:lnTo>
                    <a:pt x="2498" y="1010"/>
                  </a:lnTo>
                  <a:lnTo>
                    <a:pt x="2498" y="1011"/>
                  </a:lnTo>
                  <a:lnTo>
                    <a:pt x="2498" y="1011"/>
                  </a:lnTo>
                  <a:lnTo>
                    <a:pt x="2498" y="1010"/>
                  </a:lnTo>
                  <a:lnTo>
                    <a:pt x="2498" y="1010"/>
                  </a:lnTo>
                  <a:lnTo>
                    <a:pt x="2495" y="1011"/>
                  </a:lnTo>
                  <a:lnTo>
                    <a:pt x="2495" y="1011"/>
                  </a:lnTo>
                  <a:lnTo>
                    <a:pt x="2491" y="1014"/>
                  </a:lnTo>
                  <a:lnTo>
                    <a:pt x="2485" y="1015"/>
                  </a:lnTo>
                  <a:lnTo>
                    <a:pt x="2484" y="1015"/>
                  </a:lnTo>
                  <a:lnTo>
                    <a:pt x="2484" y="1015"/>
                  </a:lnTo>
                  <a:lnTo>
                    <a:pt x="2482" y="1015"/>
                  </a:lnTo>
                  <a:lnTo>
                    <a:pt x="2481" y="1017"/>
                  </a:lnTo>
                  <a:lnTo>
                    <a:pt x="2482" y="1015"/>
                  </a:lnTo>
                  <a:lnTo>
                    <a:pt x="2482" y="1015"/>
                  </a:lnTo>
                  <a:lnTo>
                    <a:pt x="2481" y="1017"/>
                  </a:lnTo>
                  <a:lnTo>
                    <a:pt x="2482" y="1015"/>
                  </a:lnTo>
                  <a:lnTo>
                    <a:pt x="2481" y="1017"/>
                  </a:lnTo>
                  <a:lnTo>
                    <a:pt x="2482" y="1017"/>
                  </a:lnTo>
                  <a:lnTo>
                    <a:pt x="2482" y="1015"/>
                  </a:lnTo>
                  <a:lnTo>
                    <a:pt x="2481" y="1017"/>
                  </a:lnTo>
                  <a:lnTo>
                    <a:pt x="2482" y="1017"/>
                  </a:lnTo>
                  <a:lnTo>
                    <a:pt x="2481" y="1017"/>
                  </a:lnTo>
                  <a:lnTo>
                    <a:pt x="2482" y="1018"/>
                  </a:lnTo>
                  <a:lnTo>
                    <a:pt x="2482" y="1018"/>
                  </a:lnTo>
                  <a:lnTo>
                    <a:pt x="2482" y="1017"/>
                  </a:lnTo>
                  <a:lnTo>
                    <a:pt x="2481" y="1017"/>
                  </a:lnTo>
                  <a:lnTo>
                    <a:pt x="2482" y="1018"/>
                  </a:lnTo>
                  <a:lnTo>
                    <a:pt x="2482" y="1017"/>
                  </a:lnTo>
                  <a:lnTo>
                    <a:pt x="2482" y="1018"/>
                  </a:lnTo>
                  <a:lnTo>
                    <a:pt x="2482" y="1018"/>
                  </a:lnTo>
                  <a:lnTo>
                    <a:pt x="2482" y="1017"/>
                  </a:lnTo>
                  <a:lnTo>
                    <a:pt x="2482" y="1018"/>
                  </a:lnTo>
                  <a:lnTo>
                    <a:pt x="2482" y="1017"/>
                  </a:lnTo>
                  <a:lnTo>
                    <a:pt x="2482" y="1017"/>
                  </a:lnTo>
                  <a:lnTo>
                    <a:pt x="2485" y="1015"/>
                  </a:lnTo>
                  <a:lnTo>
                    <a:pt x="2485" y="1015"/>
                  </a:lnTo>
                  <a:lnTo>
                    <a:pt x="2487" y="1014"/>
                  </a:lnTo>
                  <a:lnTo>
                    <a:pt x="2487" y="1014"/>
                  </a:lnTo>
                  <a:lnTo>
                    <a:pt x="2487" y="1012"/>
                  </a:lnTo>
                  <a:lnTo>
                    <a:pt x="2487" y="1011"/>
                  </a:lnTo>
                  <a:lnTo>
                    <a:pt x="2487" y="1011"/>
                  </a:lnTo>
                  <a:lnTo>
                    <a:pt x="2487" y="1011"/>
                  </a:lnTo>
                  <a:lnTo>
                    <a:pt x="2485" y="1010"/>
                  </a:lnTo>
                  <a:lnTo>
                    <a:pt x="2485" y="1010"/>
                  </a:lnTo>
                  <a:lnTo>
                    <a:pt x="2484" y="1008"/>
                  </a:lnTo>
                  <a:lnTo>
                    <a:pt x="2484" y="1008"/>
                  </a:lnTo>
                  <a:lnTo>
                    <a:pt x="2480" y="1010"/>
                  </a:lnTo>
                  <a:lnTo>
                    <a:pt x="2480" y="1010"/>
                  </a:lnTo>
                  <a:lnTo>
                    <a:pt x="2472" y="1011"/>
                  </a:lnTo>
                  <a:lnTo>
                    <a:pt x="2472" y="1011"/>
                  </a:lnTo>
                  <a:lnTo>
                    <a:pt x="2468" y="1012"/>
                  </a:lnTo>
                  <a:lnTo>
                    <a:pt x="2468" y="1012"/>
                  </a:lnTo>
                  <a:lnTo>
                    <a:pt x="2468" y="1012"/>
                  </a:lnTo>
                  <a:lnTo>
                    <a:pt x="2468" y="1012"/>
                  </a:lnTo>
                  <a:lnTo>
                    <a:pt x="2468" y="1012"/>
                  </a:lnTo>
                  <a:lnTo>
                    <a:pt x="2468" y="1012"/>
                  </a:lnTo>
                  <a:lnTo>
                    <a:pt x="2468" y="1014"/>
                  </a:lnTo>
                  <a:lnTo>
                    <a:pt x="2469" y="1014"/>
                  </a:lnTo>
                  <a:lnTo>
                    <a:pt x="2469" y="1014"/>
                  </a:lnTo>
                  <a:lnTo>
                    <a:pt x="2468" y="1012"/>
                  </a:lnTo>
                  <a:lnTo>
                    <a:pt x="2468" y="1014"/>
                  </a:lnTo>
                  <a:lnTo>
                    <a:pt x="2469" y="1014"/>
                  </a:lnTo>
                  <a:lnTo>
                    <a:pt x="2468" y="1014"/>
                  </a:lnTo>
                  <a:lnTo>
                    <a:pt x="2469" y="1014"/>
                  </a:lnTo>
                  <a:lnTo>
                    <a:pt x="2469" y="1014"/>
                  </a:lnTo>
                  <a:lnTo>
                    <a:pt x="2469" y="1014"/>
                  </a:lnTo>
                  <a:lnTo>
                    <a:pt x="2468" y="1014"/>
                  </a:lnTo>
                  <a:lnTo>
                    <a:pt x="2469" y="1014"/>
                  </a:lnTo>
                  <a:lnTo>
                    <a:pt x="2469" y="1014"/>
                  </a:lnTo>
                  <a:lnTo>
                    <a:pt x="2469" y="1014"/>
                  </a:lnTo>
                  <a:lnTo>
                    <a:pt x="2471" y="1010"/>
                  </a:lnTo>
                  <a:lnTo>
                    <a:pt x="2471" y="1010"/>
                  </a:lnTo>
                  <a:lnTo>
                    <a:pt x="2472" y="1007"/>
                  </a:lnTo>
                  <a:lnTo>
                    <a:pt x="2472" y="1007"/>
                  </a:lnTo>
                  <a:lnTo>
                    <a:pt x="2474" y="1004"/>
                  </a:lnTo>
                  <a:lnTo>
                    <a:pt x="2474" y="1004"/>
                  </a:lnTo>
                  <a:lnTo>
                    <a:pt x="2474" y="1001"/>
                  </a:lnTo>
                  <a:lnTo>
                    <a:pt x="2472" y="999"/>
                  </a:lnTo>
                  <a:lnTo>
                    <a:pt x="2472" y="999"/>
                  </a:lnTo>
                  <a:lnTo>
                    <a:pt x="2469" y="999"/>
                  </a:lnTo>
                  <a:lnTo>
                    <a:pt x="2469" y="999"/>
                  </a:lnTo>
                  <a:lnTo>
                    <a:pt x="2464" y="1001"/>
                  </a:lnTo>
                  <a:lnTo>
                    <a:pt x="2464" y="1001"/>
                  </a:lnTo>
                  <a:lnTo>
                    <a:pt x="2464" y="1001"/>
                  </a:lnTo>
                  <a:lnTo>
                    <a:pt x="2464" y="1001"/>
                  </a:lnTo>
                  <a:lnTo>
                    <a:pt x="2464" y="1001"/>
                  </a:lnTo>
                  <a:lnTo>
                    <a:pt x="2464" y="1001"/>
                  </a:lnTo>
                  <a:lnTo>
                    <a:pt x="2464" y="1001"/>
                  </a:lnTo>
                  <a:lnTo>
                    <a:pt x="2462" y="999"/>
                  </a:lnTo>
                  <a:lnTo>
                    <a:pt x="2462" y="999"/>
                  </a:lnTo>
                  <a:lnTo>
                    <a:pt x="2455" y="996"/>
                  </a:lnTo>
                  <a:lnTo>
                    <a:pt x="2455" y="996"/>
                  </a:lnTo>
                  <a:lnTo>
                    <a:pt x="2451" y="995"/>
                  </a:lnTo>
                  <a:lnTo>
                    <a:pt x="2448" y="994"/>
                  </a:lnTo>
                  <a:lnTo>
                    <a:pt x="2446" y="995"/>
                  </a:lnTo>
                  <a:lnTo>
                    <a:pt x="2445" y="995"/>
                  </a:lnTo>
                  <a:lnTo>
                    <a:pt x="2445" y="995"/>
                  </a:lnTo>
                  <a:lnTo>
                    <a:pt x="2445" y="994"/>
                  </a:lnTo>
                  <a:lnTo>
                    <a:pt x="2445" y="994"/>
                  </a:lnTo>
                  <a:lnTo>
                    <a:pt x="2445" y="994"/>
                  </a:lnTo>
                  <a:lnTo>
                    <a:pt x="2446" y="991"/>
                  </a:lnTo>
                  <a:lnTo>
                    <a:pt x="2446" y="991"/>
                  </a:lnTo>
                  <a:lnTo>
                    <a:pt x="2451" y="986"/>
                  </a:lnTo>
                  <a:lnTo>
                    <a:pt x="2451" y="986"/>
                  </a:lnTo>
                  <a:lnTo>
                    <a:pt x="2462" y="978"/>
                  </a:lnTo>
                  <a:lnTo>
                    <a:pt x="2474" y="966"/>
                  </a:lnTo>
                  <a:lnTo>
                    <a:pt x="2474" y="966"/>
                  </a:lnTo>
                  <a:lnTo>
                    <a:pt x="2485" y="956"/>
                  </a:lnTo>
                  <a:lnTo>
                    <a:pt x="2485" y="956"/>
                  </a:lnTo>
                  <a:lnTo>
                    <a:pt x="2491" y="947"/>
                  </a:lnTo>
                  <a:lnTo>
                    <a:pt x="2491" y="947"/>
                  </a:lnTo>
                  <a:lnTo>
                    <a:pt x="2495" y="943"/>
                  </a:lnTo>
                  <a:lnTo>
                    <a:pt x="2495" y="943"/>
                  </a:lnTo>
                  <a:lnTo>
                    <a:pt x="2507" y="936"/>
                  </a:lnTo>
                  <a:lnTo>
                    <a:pt x="2507" y="936"/>
                  </a:lnTo>
                  <a:lnTo>
                    <a:pt x="2516" y="928"/>
                  </a:lnTo>
                  <a:lnTo>
                    <a:pt x="2516" y="928"/>
                  </a:lnTo>
                  <a:lnTo>
                    <a:pt x="2522" y="923"/>
                  </a:lnTo>
                  <a:lnTo>
                    <a:pt x="2522" y="923"/>
                  </a:lnTo>
                  <a:lnTo>
                    <a:pt x="2529" y="911"/>
                  </a:lnTo>
                  <a:lnTo>
                    <a:pt x="2537" y="901"/>
                  </a:lnTo>
                  <a:lnTo>
                    <a:pt x="2537" y="901"/>
                  </a:lnTo>
                  <a:lnTo>
                    <a:pt x="2542" y="894"/>
                  </a:lnTo>
                  <a:lnTo>
                    <a:pt x="2545" y="889"/>
                  </a:lnTo>
                  <a:lnTo>
                    <a:pt x="2545" y="889"/>
                  </a:lnTo>
                  <a:lnTo>
                    <a:pt x="2549" y="882"/>
                  </a:lnTo>
                  <a:lnTo>
                    <a:pt x="2556" y="873"/>
                  </a:lnTo>
                  <a:lnTo>
                    <a:pt x="2556" y="873"/>
                  </a:lnTo>
                  <a:lnTo>
                    <a:pt x="2562" y="870"/>
                  </a:lnTo>
                  <a:lnTo>
                    <a:pt x="2569" y="868"/>
                  </a:lnTo>
                  <a:lnTo>
                    <a:pt x="2569" y="868"/>
                  </a:lnTo>
                  <a:lnTo>
                    <a:pt x="2578" y="866"/>
                  </a:lnTo>
                  <a:lnTo>
                    <a:pt x="2587" y="866"/>
                  </a:lnTo>
                  <a:lnTo>
                    <a:pt x="2587" y="866"/>
                  </a:lnTo>
                  <a:lnTo>
                    <a:pt x="2603" y="868"/>
                  </a:lnTo>
                  <a:lnTo>
                    <a:pt x="2611" y="869"/>
                  </a:lnTo>
                  <a:lnTo>
                    <a:pt x="2611" y="869"/>
                  </a:lnTo>
                  <a:lnTo>
                    <a:pt x="2626" y="870"/>
                  </a:lnTo>
                  <a:lnTo>
                    <a:pt x="2626" y="870"/>
                  </a:lnTo>
                  <a:lnTo>
                    <a:pt x="2639" y="872"/>
                  </a:lnTo>
                  <a:lnTo>
                    <a:pt x="2639" y="872"/>
                  </a:lnTo>
                  <a:lnTo>
                    <a:pt x="2648" y="873"/>
                  </a:lnTo>
                  <a:lnTo>
                    <a:pt x="2648" y="873"/>
                  </a:lnTo>
                  <a:lnTo>
                    <a:pt x="2658" y="875"/>
                  </a:lnTo>
                  <a:lnTo>
                    <a:pt x="2658" y="875"/>
                  </a:lnTo>
                  <a:lnTo>
                    <a:pt x="2662" y="873"/>
                  </a:lnTo>
                  <a:lnTo>
                    <a:pt x="2665" y="872"/>
                  </a:lnTo>
                  <a:lnTo>
                    <a:pt x="2665" y="872"/>
                  </a:lnTo>
                  <a:lnTo>
                    <a:pt x="2668" y="870"/>
                  </a:lnTo>
                  <a:lnTo>
                    <a:pt x="2668" y="870"/>
                  </a:lnTo>
                  <a:lnTo>
                    <a:pt x="2668" y="868"/>
                  </a:lnTo>
                  <a:lnTo>
                    <a:pt x="2668" y="868"/>
                  </a:lnTo>
                  <a:lnTo>
                    <a:pt x="2668" y="866"/>
                  </a:lnTo>
                  <a:lnTo>
                    <a:pt x="2668" y="866"/>
                  </a:lnTo>
                  <a:lnTo>
                    <a:pt x="2665" y="865"/>
                  </a:lnTo>
                  <a:lnTo>
                    <a:pt x="2665" y="865"/>
                  </a:lnTo>
                  <a:lnTo>
                    <a:pt x="2661" y="863"/>
                  </a:lnTo>
                  <a:lnTo>
                    <a:pt x="2661" y="863"/>
                  </a:lnTo>
                  <a:lnTo>
                    <a:pt x="2656" y="863"/>
                  </a:lnTo>
                  <a:lnTo>
                    <a:pt x="2655" y="863"/>
                  </a:lnTo>
                  <a:lnTo>
                    <a:pt x="2655" y="863"/>
                  </a:lnTo>
                  <a:lnTo>
                    <a:pt x="2655" y="863"/>
                  </a:lnTo>
                  <a:lnTo>
                    <a:pt x="2656" y="863"/>
                  </a:lnTo>
                  <a:lnTo>
                    <a:pt x="2655" y="863"/>
                  </a:lnTo>
                  <a:lnTo>
                    <a:pt x="2655" y="863"/>
                  </a:lnTo>
                  <a:lnTo>
                    <a:pt x="2656" y="863"/>
                  </a:lnTo>
                  <a:lnTo>
                    <a:pt x="2655" y="865"/>
                  </a:lnTo>
                  <a:lnTo>
                    <a:pt x="2656" y="865"/>
                  </a:lnTo>
                  <a:lnTo>
                    <a:pt x="2656" y="865"/>
                  </a:lnTo>
                  <a:lnTo>
                    <a:pt x="2656" y="863"/>
                  </a:lnTo>
                  <a:lnTo>
                    <a:pt x="2655" y="865"/>
                  </a:lnTo>
                  <a:lnTo>
                    <a:pt x="2656" y="865"/>
                  </a:lnTo>
                  <a:lnTo>
                    <a:pt x="2655" y="865"/>
                  </a:lnTo>
                  <a:lnTo>
                    <a:pt x="2656" y="865"/>
                  </a:lnTo>
                  <a:lnTo>
                    <a:pt x="2656" y="865"/>
                  </a:lnTo>
                  <a:lnTo>
                    <a:pt x="2656" y="865"/>
                  </a:lnTo>
                  <a:lnTo>
                    <a:pt x="2655" y="865"/>
                  </a:lnTo>
                  <a:lnTo>
                    <a:pt x="2656" y="865"/>
                  </a:lnTo>
                  <a:lnTo>
                    <a:pt x="2655" y="865"/>
                  </a:lnTo>
                  <a:lnTo>
                    <a:pt x="2656" y="866"/>
                  </a:lnTo>
                  <a:lnTo>
                    <a:pt x="2656" y="865"/>
                  </a:lnTo>
                  <a:lnTo>
                    <a:pt x="2655" y="865"/>
                  </a:lnTo>
                  <a:lnTo>
                    <a:pt x="2656" y="866"/>
                  </a:lnTo>
                  <a:lnTo>
                    <a:pt x="2656" y="865"/>
                  </a:lnTo>
                  <a:lnTo>
                    <a:pt x="2656" y="866"/>
                  </a:lnTo>
                  <a:lnTo>
                    <a:pt x="2656" y="866"/>
                  </a:lnTo>
                  <a:lnTo>
                    <a:pt x="2656" y="865"/>
                  </a:lnTo>
                  <a:lnTo>
                    <a:pt x="2656" y="866"/>
                  </a:lnTo>
                  <a:lnTo>
                    <a:pt x="2656" y="866"/>
                  </a:lnTo>
                  <a:lnTo>
                    <a:pt x="2658" y="865"/>
                  </a:lnTo>
                  <a:lnTo>
                    <a:pt x="2658" y="865"/>
                  </a:lnTo>
                  <a:lnTo>
                    <a:pt x="2668" y="860"/>
                  </a:lnTo>
                  <a:lnTo>
                    <a:pt x="2668" y="860"/>
                  </a:lnTo>
                  <a:lnTo>
                    <a:pt x="2671" y="860"/>
                  </a:lnTo>
                  <a:lnTo>
                    <a:pt x="2672" y="859"/>
                  </a:lnTo>
                  <a:lnTo>
                    <a:pt x="2672" y="859"/>
                  </a:lnTo>
                  <a:lnTo>
                    <a:pt x="2672" y="857"/>
                  </a:lnTo>
                  <a:lnTo>
                    <a:pt x="2672" y="857"/>
                  </a:lnTo>
                  <a:lnTo>
                    <a:pt x="2672" y="855"/>
                  </a:lnTo>
                  <a:lnTo>
                    <a:pt x="2672" y="855"/>
                  </a:lnTo>
                  <a:lnTo>
                    <a:pt x="2671" y="853"/>
                  </a:lnTo>
                  <a:lnTo>
                    <a:pt x="2671" y="853"/>
                  </a:lnTo>
                  <a:lnTo>
                    <a:pt x="2669" y="853"/>
                  </a:lnTo>
                  <a:lnTo>
                    <a:pt x="2668" y="853"/>
                  </a:lnTo>
                  <a:lnTo>
                    <a:pt x="2669" y="853"/>
                  </a:lnTo>
                  <a:lnTo>
                    <a:pt x="2669" y="853"/>
                  </a:lnTo>
                  <a:lnTo>
                    <a:pt x="2668" y="853"/>
                  </a:lnTo>
                  <a:lnTo>
                    <a:pt x="2669" y="853"/>
                  </a:lnTo>
                  <a:lnTo>
                    <a:pt x="2668" y="855"/>
                  </a:lnTo>
                  <a:lnTo>
                    <a:pt x="2669" y="855"/>
                  </a:lnTo>
                  <a:lnTo>
                    <a:pt x="2669" y="855"/>
                  </a:lnTo>
                  <a:lnTo>
                    <a:pt x="2669" y="853"/>
                  </a:lnTo>
                  <a:lnTo>
                    <a:pt x="2668" y="855"/>
                  </a:lnTo>
                  <a:lnTo>
                    <a:pt x="2669" y="855"/>
                  </a:lnTo>
                  <a:lnTo>
                    <a:pt x="2668" y="855"/>
                  </a:lnTo>
                  <a:lnTo>
                    <a:pt x="2669" y="856"/>
                  </a:lnTo>
                  <a:lnTo>
                    <a:pt x="2669" y="856"/>
                  </a:lnTo>
                  <a:lnTo>
                    <a:pt x="2669" y="855"/>
                  </a:lnTo>
                  <a:lnTo>
                    <a:pt x="2668" y="855"/>
                  </a:lnTo>
                  <a:lnTo>
                    <a:pt x="2669" y="856"/>
                  </a:lnTo>
                  <a:lnTo>
                    <a:pt x="2668" y="855"/>
                  </a:lnTo>
                  <a:lnTo>
                    <a:pt x="2669" y="856"/>
                  </a:lnTo>
                  <a:lnTo>
                    <a:pt x="2669" y="856"/>
                  </a:lnTo>
                  <a:lnTo>
                    <a:pt x="2669" y="856"/>
                  </a:lnTo>
                  <a:lnTo>
                    <a:pt x="2668" y="855"/>
                  </a:lnTo>
                  <a:lnTo>
                    <a:pt x="2669" y="856"/>
                  </a:lnTo>
                  <a:lnTo>
                    <a:pt x="2669" y="856"/>
                  </a:lnTo>
                  <a:lnTo>
                    <a:pt x="2669" y="856"/>
                  </a:lnTo>
                  <a:lnTo>
                    <a:pt x="2669" y="856"/>
                  </a:lnTo>
                  <a:lnTo>
                    <a:pt x="2678" y="856"/>
                  </a:lnTo>
                  <a:lnTo>
                    <a:pt x="2678" y="856"/>
                  </a:lnTo>
                  <a:lnTo>
                    <a:pt x="2685" y="856"/>
                  </a:lnTo>
                  <a:lnTo>
                    <a:pt x="2685" y="856"/>
                  </a:lnTo>
                  <a:lnTo>
                    <a:pt x="2685" y="856"/>
                  </a:lnTo>
                  <a:lnTo>
                    <a:pt x="2685" y="856"/>
                  </a:lnTo>
                  <a:lnTo>
                    <a:pt x="2685" y="856"/>
                  </a:lnTo>
                  <a:lnTo>
                    <a:pt x="2685" y="856"/>
                  </a:lnTo>
                  <a:lnTo>
                    <a:pt x="2685" y="856"/>
                  </a:lnTo>
                  <a:lnTo>
                    <a:pt x="2685" y="856"/>
                  </a:lnTo>
                  <a:lnTo>
                    <a:pt x="2685" y="856"/>
                  </a:lnTo>
                  <a:lnTo>
                    <a:pt x="2685" y="857"/>
                  </a:lnTo>
                  <a:lnTo>
                    <a:pt x="2685" y="857"/>
                  </a:lnTo>
                  <a:lnTo>
                    <a:pt x="2685" y="859"/>
                  </a:lnTo>
                  <a:lnTo>
                    <a:pt x="2685" y="859"/>
                  </a:lnTo>
                  <a:lnTo>
                    <a:pt x="2687" y="862"/>
                  </a:lnTo>
                  <a:lnTo>
                    <a:pt x="2687" y="862"/>
                  </a:lnTo>
                  <a:lnTo>
                    <a:pt x="2688" y="862"/>
                  </a:lnTo>
                  <a:lnTo>
                    <a:pt x="2688" y="862"/>
                  </a:lnTo>
                  <a:lnTo>
                    <a:pt x="2690" y="862"/>
                  </a:lnTo>
                  <a:lnTo>
                    <a:pt x="2690" y="862"/>
                  </a:lnTo>
                  <a:lnTo>
                    <a:pt x="2695" y="859"/>
                  </a:lnTo>
                  <a:lnTo>
                    <a:pt x="2695" y="859"/>
                  </a:lnTo>
                  <a:lnTo>
                    <a:pt x="2697" y="857"/>
                  </a:lnTo>
                  <a:lnTo>
                    <a:pt x="2698" y="857"/>
                  </a:lnTo>
                  <a:lnTo>
                    <a:pt x="2698" y="857"/>
                  </a:lnTo>
                  <a:lnTo>
                    <a:pt x="2698" y="856"/>
                  </a:lnTo>
                  <a:lnTo>
                    <a:pt x="2698" y="857"/>
                  </a:lnTo>
                  <a:lnTo>
                    <a:pt x="2698" y="856"/>
                  </a:lnTo>
                  <a:lnTo>
                    <a:pt x="2698" y="857"/>
                  </a:lnTo>
                  <a:lnTo>
                    <a:pt x="2698" y="856"/>
                  </a:lnTo>
                  <a:lnTo>
                    <a:pt x="2698" y="857"/>
                  </a:lnTo>
                  <a:lnTo>
                    <a:pt x="2698" y="857"/>
                  </a:lnTo>
                  <a:lnTo>
                    <a:pt x="2698" y="856"/>
                  </a:lnTo>
                  <a:lnTo>
                    <a:pt x="2698" y="857"/>
                  </a:lnTo>
                  <a:lnTo>
                    <a:pt x="2698" y="855"/>
                  </a:lnTo>
                  <a:lnTo>
                    <a:pt x="2697" y="856"/>
                  </a:lnTo>
                  <a:lnTo>
                    <a:pt x="2697" y="856"/>
                  </a:lnTo>
                  <a:lnTo>
                    <a:pt x="2698" y="857"/>
                  </a:lnTo>
                  <a:lnTo>
                    <a:pt x="2698" y="855"/>
                  </a:lnTo>
                  <a:lnTo>
                    <a:pt x="2697" y="856"/>
                  </a:lnTo>
                  <a:lnTo>
                    <a:pt x="2697" y="856"/>
                  </a:lnTo>
                  <a:lnTo>
                    <a:pt x="2697" y="856"/>
                  </a:lnTo>
                  <a:lnTo>
                    <a:pt x="2697" y="856"/>
                  </a:lnTo>
                  <a:lnTo>
                    <a:pt x="2697" y="856"/>
                  </a:lnTo>
                  <a:lnTo>
                    <a:pt x="2697" y="856"/>
                  </a:lnTo>
                  <a:lnTo>
                    <a:pt x="2697" y="856"/>
                  </a:lnTo>
                  <a:lnTo>
                    <a:pt x="2697" y="857"/>
                  </a:lnTo>
                  <a:lnTo>
                    <a:pt x="2697" y="857"/>
                  </a:lnTo>
                  <a:lnTo>
                    <a:pt x="2697" y="863"/>
                  </a:lnTo>
                  <a:lnTo>
                    <a:pt x="2697" y="863"/>
                  </a:lnTo>
                  <a:lnTo>
                    <a:pt x="2697" y="865"/>
                  </a:lnTo>
                  <a:lnTo>
                    <a:pt x="2698" y="866"/>
                  </a:lnTo>
                  <a:lnTo>
                    <a:pt x="2698" y="866"/>
                  </a:lnTo>
                  <a:lnTo>
                    <a:pt x="2701" y="869"/>
                  </a:lnTo>
                  <a:lnTo>
                    <a:pt x="2701" y="869"/>
                  </a:lnTo>
                  <a:lnTo>
                    <a:pt x="2705" y="873"/>
                  </a:lnTo>
                  <a:lnTo>
                    <a:pt x="2705" y="873"/>
                  </a:lnTo>
                  <a:lnTo>
                    <a:pt x="2707" y="873"/>
                  </a:lnTo>
                  <a:lnTo>
                    <a:pt x="2705" y="873"/>
                  </a:lnTo>
                  <a:lnTo>
                    <a:pt x="2705" y="873"/>
                  </a:lnTo>
                  <a:lnTo>
                    <a:pt x="2707" y="873"/>
                  </a:lnTo>
                  <a:lnTo>
                    <a:pt x="2705" y="873"/>
                  </a:lnTo>
                  <a:lnTo>
                    <a:pt x="2707" y="873"/>
                  </a:lnTo>
                  <a:lnTo>
                    <a:pt x="2705" y="873"/>
                  </a:lnTo>
                  <a:lnTo>
                    <a:pt x="2705" y="873"/>
                  </a:lnTo>
                  <a:lnTo>
                    <a:pt x="2707" y="873"/>
                  </a:lnTo>
                  <a:lnTo>
                    <a:pt x="2705" y="873"/>
                  </a:lnTo>
                  <a:lnTo>
                    <a:pt x="2707" y="873"/>
                  </a:lnTo>
                  <a:lnTo>
                    <a:pt x="2707" y="872"/>
                  </a:lnTo>
                  <a:lnTo>
                    <a:pt x="2705" y="873"/>
                  </a:lnTo>
                  <a:lnTo>
                    <a:pt x="2707" y="873"/>
                  </a:lnTo>
                  <a:lnTo>
                    <a:pt x="2707" y="872"/>
                  </a:lnTo>
                  <a:lnTo>
                    <a:pt x="2707" y="872"/>
                  </a:lnTo>
                  <a:lnTo>
                    <a:pt x="2707" y="872"/>
                  </a:lnTo>
                  <a:lnTo>
                    <a:pt x="2707" y="872"/>
                  </a:lnTo>
                  <a:lnTo>
                    <a:pt x="2707" y="872"/>
                  </a:lnTo>
                  <a:lnTo>
                    <a:pt x="2707" y="872"/>
                  </a:lnTo>
                  <a:lnTo>
                    <a:pt x="2707" y="872"/>
                  </a:lnTo>
                  <a:lnTo>
                    <a:pt x="2705" y="873"/>
                  </a:lnTo>
                  <a:lnTo>
                    <a:pt x="2705" y="873"/>
                  </a:lnTo>
                  <a:lnTo>
                    <a:pt x="2701" y="873"/>
                  </a:lnTo>
                  <a:lnTo>
                    <a:pt x="2701" y="873"/>
                  </a:lnTo>
                  <a:lnTo>
                    <a:pt x="2697" y="875"/>
                  </a:lnTo>
                  <a:lnTo>
                    <a:pt x="2697" y="875"/>
                  </a:lnTo>
                  <a:lnTo>
                    <a:pt x="2695" y="876"/>
                  </a:lnTo>
                  <a:lnTo>
                    <a:pt x="2695" y="876"/>
                  </a:lnTo>
                  <a:lnTo>
                    <a:pt x="2694" y="878"/>
                  </a:lnTo>
                  <a:lnTo>
                    <a:pt x="2694" y="878"/>
                  </a:lnTo>
                  <a:lnTo>
                    <a:pt x="2695" y="882"/>
                  </a:lnTo>
                  <a:lnTo>
                    <a:pt x="2695" y="882"/>
                  </a:lnTo>
                  <a:lnTo>
                    <a:pt x="2700" y="886"/>
                  </a:lnTo>
                  <a:lnTo>
                    <a:pt x="2700" y="886"/>
                  </a:lnTo>
                  <a:lnTo>
                    <a:pt x="2701" y="888"/>
                  </a:lnTo>
                  <a:lnTo>
                    <a:pt x="2701" y="888"/>
                  </a:lnTo>
                  <a:lnTo>
                    <a:pt x="2704" y="889"/>
                  </a:lnTo>
                  <a:lnTo>
                    <a:pt x="2704" y="889"/>
                  </a:lnTo>
                  <a:lnTo>
                    <a:pt x="2704" y="889"/>
                  </a:lnTo>
                  <a:lnTo>
                    <a:pt x="2707" y="889"/>
                  </a:lnTo>
                  <a:lnTo>
                    <a:pt x="2707" y="889"/>
                  </a:lnTo>
                  <a:lnTo>
                    <a:pt x="2718" y="884"/>
                  </a:lnTo>
                  <a:lnTo>
                    <a:pt x="2718" y="884"/>
                  </a:lnTo>
                  <a:lnTo>
                    <a:pt x="2730" y="878"/>
                  </a:lnTo>
                  <a:lnTo>
                    <a:pt x="2730" y="878"/>
                  </a:lnTo>
                  <a:lnTo>
                    <a:pt x="2733" y="876"/>
                  </a:lnTo>
                  <a:lnTo>
                    <a:pt x="2734" y="876"/>
                  </a:lnTo>
                  <a:lnTo>
                    <a:pt x="2734" y="876"/>
                  </a:lnTo>
                  <a:lnTo>
                    <a:pt x="2740" y="878"/>
                  </a:lnTo>
                  <a:lnTo>
                    <a:pt x="2740" y="878"/>
                  </a:lnTo>
                  <a:lnTo>
                    <a:pt x="2746" y="879"/>
                  </a:lnTo>
                  <a:lnTo>
                    <a:pt x="2746" y="879"/>
                  </a:lnTo>
                  <a:lnTo>
                    <a:pt x="2750" y="878"/>
                  </a:lnTo>
                  <a:lnTo>
                    <a:pt x="2750" y="878"/>
                  </a:lnTo>
                  <a:lnTo>
                    <a:pt x="2750" y="878"/>
                  </a:lnTo>
                  <a:lnTo>
                    <a:pt x="2750" y="878"/>
                  </a:lnTo>
                  <a:lnTo>
                    <a:pt x="2758" y="879"/>
                  </a:lnTo>
                  <a:lnTo>
                    <a:pt x="2759" y="879"/>
                  </a:lnTo>
                  <a:lnTo>
                    <a:pt x="2759" y="879"/>
                  </a:lnTo>
                  <a:lnTo>
                    <a:pt x="2762" y="878"/>
                  </a:lnTo>
                  <a:lnTo>
                    <a:pt x="2765" y="878"/>
                  </a:lnTo>
                  <a:lnTo>
                    <a:pt x="2765" y="878"/>
                  </a:lnTo>
                  <a:lnTo>
                    <a:pt x="2771" y="875"/>
                  </a:lnTo>
                  <a:lnTo>
                    <a:pt x="2771" y="875"/>
                  </a:lnTo>
                  <a:lnTo>
                    <a:pt x="2776" y="872"/>
                  </a:lnTo>
                  <a:lnTo>
                    <a:pt x="2776" y="872"/>
                  </a:lnTo>
                  <a:lnTo>
                    <a:pt x="2778" y="869"/>
                  </a:lnTo>
                  <a:lnTo>
                    <a:pt x="2778" y="869"/>
                  </a:lnTo>
                  <a:lnTo>
                    <a:pt x="2778" y="866"/>
                  </a:lnTo>
                  <a:lnTo>
                    <a:pt x="2778" y="866"/>
                  </a:lnTo>
                  <a:lnTo>
                    <a:pt x="2778" y="863"/>
                  </a:lnTo>
                  <a:lnTo>
                    <a:pt x="2778" y="863"/>
                  </a:lnTo>
                  <a:lnTo>
                    <a:pt x="2776" y="860"/>
                  </a:lnTo>
                  <a:lnTo>
                    <a:pt x="2776" y="860"/>
                  </a:lnTo>
                  <a:lnTo>
                    <a:pt x="2774" y="859"/>
                  </a:lnTo>
                  <a:lnTo>
                    <a:pt x="2774" y="859"/>
                  </a:lnTo>
                  <a:lnTo>
                    <a:pt x="2769" y="859"/>
                  </a:lnTo>
                  <a:lnTo>
                    <a:pt x="2769" y="859"/>
                  </a:lnTo>
                  <a:lnTo>
                    <a:pt x="2758" y="860"/>
                  </a:lnTo>
                  <a:lnTo>
                    <a:pt x="2758" y="860"/>
                  </a:lnTo>
                  <a:lnTo>
                    <a:pt x="2758" y="860"/>
                  </a:lnTo>
                  <a:lnTo>
                    <a:pt x="2758" y="860"/>
                  </a:lnTo>
                  <a:lnTo>
                    <a:pt x="2758" y="860"/>
                  </a:lnTo>
                  <a:lnTo>
                    <a:pt x="2758" y="860"/>
                  </a:lnTo>
                  <a:lnTo>
                    <a:pt x="2758" y="860"/>
                  </a:lnTo>
                  <a:lnTo>
                    <a:pt x="2758" y="860"/>
                  </a:lnTo>
                  <a:lnTo>
                    <a:pt x="2756" y="862"/>
                  </a:lnTo>
                  <a:lnTo>
                    <a:pt x="2758" y="860"/>
                  </a:lnTo>
                  <a:lnTo>
                    <a:pt x="2758" y="860"/>
                  </a:lnTo>
                  <a:lnTo>
                    <a:pt x="2756" y="862"/>
                  </a:lnTo>
                  <a:lnTo>
                    <a:pt x="2758" y="860"/>
                  </a:lnTo>
                  <a:lnTo>
                    <a:pt x="2756" y="862"/>
                  </a:lnTo>
                  <a:lnTo>
                    <a:pt x="2758" y="862"/>
                  </a:lnTo>
                  <a:lnTo>
                    <a:pt x="2758" y="860"/>
                  </a:lnTo>
                  <a:lnTo>
                    <a:pt x="2756" y="862"/>
                  </a:lnTo>
                  <a:lnTo>
                    <a:pt x="2758" y="862"/>
                  </a:lnTo>
                  <a:lnTo>
                    <a:pt x="2758" y="862"/>
                  </a:lnTo>
                  <a:lnTo>
                    <a:pt x="2758" y="862"/>
                  </a:lnTo>
                  <a:lnTo>
                    <a:pt x="2758" y="862"/>
                  </a:lnTo>
                  <a:lnTo>
                    <a:pt x="2758" y="862"/>
                  </a:lnTo>
                  <a:lnTo>
                    <a:pt x="2758" y="862"/>
                  </a:lnTo>
                  <a:lnTo>
                    <a:pt x="2758" y="862"/>
                  </a:lnTo>
                  <a:lnTo>
                    <a:pt x="2759" y="860"/>
                  </a:lnTo>
                  <a:lnTo>
                    <a:pt x="2759" y="860"/>
                  </a:lnTo>
                  <a:lnTo>
                    <a:pt x="2760" y="857"/>
                  </a:lnTo>
                  <a:lnTo>
                    <a:pt x="2760" y="857"/>
                  </a:lnTo>
                  <a:lnTo>
                    <a:pt x="2765" y="853"/>
                  </a:lnTo>
                  <a:lnTo>
                    <a:pt x="2768" y="849"/>
                  </a:lnTo>
                  <a:lnTo>
                    <a:pt x="2768" y="849"/>
                  </a:lnTo>
                  <a:lnTo>
                    <a:pt x="2774" y="842"/>
                  </a:lnTo>
                  <a:lnTo>
                    <a:pt x="2774" y="842"/>
                  </a:lnTo>
                  <a:lnTo>
                    <a:pt x="2779" y="837"/>
                  </a:lnTo>
                  <a:lnTo>
                    <a:pt x="2779" y="837"/>
                  </a:lnTo>
                  <a:lnTo>
                    <a:pt x="2787" y="834"/>
                  </a:lnTo>
                  <a:lnTo>
                    <a:pt x="2787" y="834"/>
                  </a:lnTo>
                  <a:lnTo>
                    <a:pt x="2791" y="831"/>
                  </a:lnTo>
                  <a:lnTo>
                    <a:pt x="2791" y="831"/>
                  </a:lnTo>
                  <a:lnTo>
                    <a:pt x="2794" y="823"/>
                  </a:lnTo>
                  <a:lnTo>
                    <a:pt x="2794" y="823"/>
                  </a:lnTo>
                  <a:lnTo>
                    <a:pt x="2800" y="807"/>
                  </a:lnTo>
                  <a:lnTo>
                    <a:pt x="2800" y="807"/>
                  </a:lnTo>
                  <a:lnTo>
                    <a:pt x="2804" y="801"/>
                  </a:lnTo>
                  <a:lnTo>
                    <a:pt x="2805" y="797"/>
                  </a:lnTo>
                  <a:lnTo>
                    <a:pt x="2805" y="797"/>
                  </a:lnTo>
                  <a:lnTo>
                    <a:pt x="2811" y="792"/>
                  </a:lnTo>
                  <a:lnTo>
                    <a:pt x="2818" y="789"/>
                  </a:lnTo>
                  <a:lnTo>
                    <a:pt x="2818" y="789"/>
                  </a:lnTo>
                  <a:lnTo>
                    <a:pt x="2824" y="786"/>
                  </a:lnTo>
                  <a:lnTo>
                    <a:pt x="2824" y="786"/>
                  </a:lnTo>
                  <a:lnTo>
                    <a:pt x="2829" y="785"/>
                  </a:lnTo>
                  <a:lnTo>
                    <a:pt x="2830" y="785"/>
                  </a:lnTo>
                  <a:lnTo>
                    <a:pt x="2829" y="785"/>
                  </a:lnTo>
                  <a:lnTo>
                    <a:pt x="2829" y="785"/>
                  </a:lnTo>
                  <a:lnTo>
                    <a:pt x="2830" y="785"/>
                  </a:lnTo>
                  <a:lnTo>
                    <a:pt x="2830" y="785"/>
                  </a:lnTo>
                  <a:lnTo>
                    <a:pt x="2834" y="785"/>
                  </a:lnTo>
                  <a:lnTo>
                    <a:pt x="2834" y="785"/>
                  </a:lnTo>
                  <a:lnTo>
                    <a:pt x="2839" y="785"/>
                  </a:lnTo>
                  <a:lnTo>
                    <a:pt x="2839" y="785"/>
                  </a:lnTo>
                  <a:lnTo>
                    <a:pt x="2843" y="784"/>
                  </a:lnTo>
                  <a:lnTo>
                    <a:pt x="2845" y="781"/>
                  </a:lnTo>
                  <a:lnTo>
                    <a:pt x="2845" y="781"/>
                  </a:lnTo>
                  <a:lnTo>
                    <a:pt x="2850" y="773"/>
                  </a:lnTo>
                  <a:lnTo>
                    <a:pt x="2850" y="773"/>
                  </a:lnTo>
                  <a:lnTo>
                    <a:pt x="2852" y="771"/>
                  </a:lnTo>
                  <a:lnTo>
                    <a:pt x="2853" y="771"/>
                  </a:lnTo>
                  <a:lnTo>
                    <a:pt x="2853" y="771"/>
                  </a:lnTo>
                  <a:lnTo>
                    <a:pt x="2853" y="769"/>
                  </a:lnTo>
                  <a:lnTo>
                    <a:pt x="2853" y="771"/>
                  </a:lnTo>
                  <a:lnTo>
                    <a:pt x="2853" y="771"/>
                  </a:lnTo>
                  <a:lnTo>
                    <a:pt x="2853" y="769"/>
                  </a:lnTo>
                  <a:lnTo>
                    <a:pt x="2853" y="771"/>
                  </a:lnTo>
                  <a:lnTo>
                    <a:pt x="2853" y="771"/>
                  </a:lnTo>
                  <a:lnTo>
                    <a:pt x="2853" y="771"/>
                  </a:lnTo>
                  <a:lnTo>
                    <a:pt x="2852" y="768"/>
                  </a:lnTo>
                  <a:lnTo>
                    <a:pt x="2852" y="771"/>
                  </a:lnTo>
                  <a:lnTo>
                    <a:pt x="2852" y="771"/>
                  </a:lnTo>
                  <a:lnTo>
                    <a:pt x="2853" y="771"/>
                  </a:lnTo>
                  <a:lnTo>
                    <a:pt x="2852" y="768"/>
                  </a:lnTo>
                  <a:lnTo>
                    <a:pt x="2852" y="771"/>
                  </a:lnTo>
                  <a:lnTo>
                    <a:pt x="2852" y="768"/>
                  </a:lnTo>
                  <a:lnTo>
                    <a:pt x="2850" y="771"/>
                  </a:lnTo>
                  <a:lnTo>
                    <a:pt x="2852" y="771"/>
                  </a:lnTo>
                  <a:lnTo>
                    <a:pt x="2852" y="768"/>
                  </a:lnTo>
                  <a:lnTo>
                    <a:pt x="2850" y="771"/>
                  </a:lnTo>
                  <a:lnTo>
                    <a:pt x="2852" y="768"/>
                  </a:lnTo>
                  <a:lnTo>
                    <a:pt x="2850" y="769"/>
                  </a:lnTo>
                  <a:lnTo>
                    <a:pt x="2850" y="769"/>
                  </a:lnTo>
                  <a:lnTo>
                    <a:pt x="2850" y="771"/>
                  </a:lnTo>
                  <a:lnTo>
                    <a:pt x="2852" y="768"/>
                  </a:lnTo>
                  <a:lnTo>
                    <a:pt x="2850" y="769"/>
                  </a:lnTo>
                  <a:lnTo>
                    <a:pt x="2852" y="768"/>
                  </a:lnTo>
                  <a:lnTo>
                    <a:pt x="2850" y="768"/>
                  </a:lnTo>
                  <a:lnTo>
                    <a:pt x="2850" y="769"/>
                  </a:lnTo>
                  <a:lnTo>
                    <a:pt x="2852" y="768"/>
                  </a:lnTo>
                  <a:lnTo>
                    <a:pt x="2850" y="768"/>
                  </a:lnTo>
                  <a:lnTo>
                    <a:pt x="2850" y="768"/>
                  </a:lnTo>
                  <a:lnTo>
                    <a:pt x="2850" y="768"/>
                  </a:lnTo>
                  <a:lnTo>
                    <a:pt x="2850" y="768"/>
                  </a:lnTo>
                  <a:lnTo>
                    <a:pt x="2850" y="768"/>
                  </a:lnTo>
                  <a:lnTo>
                    <a:pt x="2850" y="768"/>
                  </a:lnTo>
                  <a:lnTo>
                    <a:pt x="2850" y="768"/>
                  </a:lnTo>
                  <a:lnTo>
                    <a:pt x="2849" y="771"/>
                  </a:lnTo>
                  <a:lnTo>
                    <a:pt x="2849" y="771"/>
                  </a:lnTo>
                  <a:lnTo>
                    <a:pt x="2845" y="779"/>
                  </a:lnTo>
                  <a:lnTo>
                    <a:pt x="2845" y="779"/>
                  </a:lnTo>
                  <a:lnTo>
                    <a:pt x="2842" y="788"/>
                  </a:lnTo>
                  <a:lnTo>
                    <a:pt x="2842" y="788"/>
                  </a:lnTo>
                  <a:lnTo>
                    <a:pt x="2842" y="791"/>
                  </a:lnTo>
                  <a:lnTo>
                    <a:pt x="2839" y="795"/>
                  </a:lnTo>
                  <a:lnTo>
                    <a:pt x="2839" y="795"/>
                  </a:lnTo>
                  <a:lnTo>
                    <a:pt x="2836" y="798"/>
                  </a:lnTo>
                  <a:lnTo>
                    <a:pt x="2834" y="804"/>
                  </a:lnTo>
                  <a:lnTo>
                    <a:pt x="2834" y="804"/>
                  </a:lnTo>
                  <a:lnTo>
                    <a:pt x="2834" y="805"/>
                  </a:lnTo>
                  <a:lnTo>
                    <a:pt x="2834" y="805"/>
                  </a:lnTo>
                  <a:lnTo>
                    <a:pt x="2834" y="808"/>
                  </a:lnTo>
                  <a:lnTo>
                    <a:pt x="2836" y="810"/>
                  </a:lnTo>
                  <a:lnTo>
                    <a:pt x="2836" y="810"/>
                  </a:lnTo>
                  <a:lnTo>
                    <a:pt x="2839" y="813"/>
                  </a:lnTo>
                  <a:lnTo>
                    <a:pt x="2842" y="814"/>
                  </a:lnTo>
                  <a:lnTo>
                    <a:pt x="2842" y="814"/>
                  </a:lnTo>
                  <a:lnTo>
                    <a:pt x="2846" y="817"/>
                  </a:lnTo>
                  <a:lnTo>
                    <a:pt x="2846" y="817"/>
                  </a:lnTo>
                  <a:lnTo>
                    <a:pt x="2849" y="818"/>
                  </a:lnTo>
                  <a:lnTo>
                    <a:pt x="2849" y="818"/>
                  </a:lnTo>
                  <a:lnTo>
                    <a:pt x="2852" y="817"/>
                  </a:lnTo>
                  <a:lnTo>
                    <a:pt x="2852" y="817"/>
                  </a:lnTo>
                  <a:lnTo>
                    <a:pt x="2855" y="813"/>
                  </a:lnTo>
                  <a:lnTo>
                    <a:pt x="2855" y="813"/>
                  </a:lnTo>
                  <a:lnTo>
                    <a:pt x="2858" y="810"/>
                  </a:lnTo>
                  <a:lnTo>
                    <a:pt x="2858" y="810"/>
                  </a:lnTo>
                  <a:lnTo>
                    <a:pt x="2860" y="805"/>
                  </a:lnTo>
                  <a:lnTo>
                    <a:pt x="2860" y="805"/>
                  </a:lnTo>
                  <a:lnTo>
                    <a:pt x="2869" y="797"/>
                  </a:lnTo>
                  <a:lnTo>
                    <a:pt x="2869" y="797"/>
                  </a:lnTo>
                  <a:lnTo>
                    <a:pt x="2876" y="789"/>
                  </a:lnTo>
                  <a:lnTo>
                    <a:pt x="2876" y="789"/>
                  </a:lnTo>
                  <a:lnTo>
                    <a:pt x="2878" y="786"/>
                  </a:lnTo>
                  <a:lnTo>
                    <a:pt x="2878" y="785"/>
                  </a:lnTo>
                  <a:lnTo>
                    <a:pt x="2878" y="785"/>
                  </a:lnTo>
                  <a:lnTo>
                    <a:pt x="2876" y="778"/>
                  </a:lnTo>
                  <a:lnTo>
                    <a:pt x="2876" y="778"/>
                  </a:lnTo>
                  <a:lnTo>
                    <a:pt x="2875" y="771"/>
                  </a:lnTo>
                  <a:lnTo>
                    <a:pt x="2875" y="771"/>
                  </a:lnTo>
                  <a:lnTo>
                    <a:pt x="2875" y="771"/>
                  </a:lnTo>
                  <a:lnTo>
                    <a:pt x="2875" y="771"/>
                  </a:lnTo>
                  <a:lnTo>
                    <a:pt x="2873" y="769"/>
                  </a:lnTo>
                  <a:lnTo>
                    <a:pt x="2873" y="769"/>
                  </a:lnTo>
                  <a:lnTo>
                    <a:pt x="2875" y="766"/>
                  </a:lnTo>
                  <a:lnTo>
                    <a:pt x="2876" y="765"/>
                  </a:lnTo>
                  <a:lnTo>
                    <a:pt x="2876" y="765"/>
                  </a:lnTo>
                  <a:lnTo>
                    <a:pt x="2881" y="762"/>
                  </a:lnTo>
                  <a:lnTo>
                    <a:pt x="2881" y="762"/>
                  </a:lnTo>
                  <a:lnTo>
                    <a:pt x="2888" y="759"/>
                  </a:lnTo>
                  <a:lnTo>
                    <a:pt x="2892" y="756"/>
                  </a:lnTo>
                  <a:lnTo>
                    <a:pt x="2891" y="755"/>
                  </a:lnTo>
                  <a:lnTo>
                    <a:pt x="2891" y="756"/>
                  </a:lnTo>
                  <a:lnTo>
                    <a:pt x="2892" y="756"/>
                  </a:lnTo>
                  <a:lnTo>
                    <a:pt x="2891" y="755"/>
                  </a:lnTo>
                  <a:lnTo>
                    <a:pt x="2891" y="756"/>
                  </a:lnTo>
                  <a:lnTo>
                    <a:pt x="2891" y="755"/>
                  </a:lnTo>
                  <a:lnTo>
                    <a:pt x="2891" y="756"/>
                  </a:lnTo>
                  <a:lnTo>
                    <a:pt x="2891" y="756"/>
                  </a:lnTo>
                  <a:lnTo>
                    <a:pt x="2891" y="755"/>
                  </a:lnTo>
                  <a:lnTo>
                    <a:pt x="2891" y="756"/>
                  </a:lnTo>
                  <a:lnTo>
                    <a:pt x="2891" y="755"/>
                  </a:lnTo>
                  <a:lnTo>
                    <a:pt x="2889" y="755"/>
                  </a:lnTo>
                  <a:lnTo>
                    <a:pt x="2889" y="755"/>
                  </a:lnTo>
                  <a:lnTo>
                    <a:pt x="2891" y="756"/>
                  </a:lnTo>
                  <a:lnTo>
                    <a:pt x="2891" y="755"/>
                  </a:lnTo>
                  <a:lnTo>
                    <a:pt x="2889" y="755"/>
                  </a:lnTo>
                  <a:lnTo>
                    <a:pt x="2891" y="755"/>
                  </a:lnTo>
                  <a:lnTo>
                    <a:pt x="2889" y="755"/>
                  </a:lnTo>
                  <a:lnTo>
                    <a:pt x="2889" y="755"/>
                  </a:lnTo>
                  <a:lnTo>
                    <a:pt x="2891" y="755"/>
                  </a:lnTo>
                  <a:lnTo>
                    <a:pt x="2889" y="755"/>
                  </a:lnTo>
                  <a:lnTo>
                    <a:pt x="2889" y="755"/>
                  </a:lnTo>
                  <a:lnTo>
                    <a:pt x="2889" y="755"/>
                  </a:lnTo>
                  <a:lnTo>
                    <a:pt x="2889" y="757"/>
                  </a:lnTo>
                  <a:lnTo>
                    <a:pt x="2889" y="760"/>
                  </a:lnTo>
                  <a:lnTo>
                    <a:pt x="2889" y="760"/>
                  </a:lnTo>
                  <a:lnTo>
                    <a:pt x="2889" y="763"/>
                  </a:lnTo>
                  <a:lnTo>
                    <a:pt x="2889" y="763"/>
                  </a:lnTo>
                  <a:lnTo>
                    <a:pt x="2891" y="765"/>
                  </a:lnTo>
                  <a:lnTo>
                    <a:pt x="2891" y="765"/>
                  </a:lnTo>
                  <a:lnTo>
                    <a:pt x="2889" y="765"/>
                  </a:lnTo>
                  <a:lnTo>
                    <a:pt x="2889" y="765"/>
                  </a:lnTo>
                  <a:lnTo>
                    <a:pt x="2888" y="768"/>
                  </a:lnTo>
                  <a:lnTo>
                    <a:pt x="2888" y="768"/>
                  </a:lnTo>
                  <a:lnTo>
                    <a:pt x="2884" y="773"/>
                  </a:lnTo>
                  <a:lnTo>
                    <a:pt x="2884" y="773"/>
                  </a:lnTo>
                  <a:lnTo>
                    <a:pt x="2881" y="784"/>
                  </a:lnTo>
                  <a:lnTo>
                    <a:pt x="2881" y="784"/>
                  </a:lnTo>
                  <a:lnTo>
                    <a:pt x="2881" y="789"/>
                  </a:lnTo>
                  <a:lnTo>
                    <a:pt x="2881" y="789"/>
                  </a:lnTo>
                  <a:lnTo>
                    <a:pt x="2879" y="792"/>
                  </a:lnTo>
                  <a:lnTo>
                    <a:pt x="2879" y="792"/>
                  </a:lnTo>
                  <a:lnTo>
                    <a:pt x="2881" y="798"/>
                  </a:lnTo>
                  <a:lnTo>
                    <a:pt x="2881" y="798"/>
                  </a:lnTo>
                  <a:lnTo>
                    <a:pt x="2884" y="804"/>
                  </a:lnTo>
                  <a:lnTo>
                    <a:pt x="2885" y="802"/>
                  </a:lnTo>
                  <a:lnTo>
                    <a:pt x="2884" y="802"/>
                  </a:lnTo>
                  <a:lnTo>
                    <a:pt x="2884" y="804"/>
                  </a:lnTo>
                  <a:lnTo>
                    <a:pt x="2885" y="802"/>
                  </a:lnTo>
                  <a:lnTo>
                    <a:pt x="2884" y="802"/>
                  </a:lnTo>
                  <a:lnTo>
                    <a:pt x="2884" y="802"/>
                  </a:lnTo>
                  <a:lnTo>
                    <a:pt x="2884" y="802"/>
                  </a:lnTo>
                  <a:lnTo>
                    <a:pt x="2884" y="802"/>
                  </a:lnTo>
                  <a:lnTo>
                    <a:pt x="2884" y="802"/>
                  </a:lnTo>
                  <a:lnTo>
                    <a:pt x="2884" y="802"/>
                  </a:lnTo>
                  <a:lnTo>
                    <a:pt x="2884" y="802"/>
                  </a:lnTo>
                  <a:lnTo>
                    <a:pt x="2882" y="805"/>
                  </a:lnTo>
                  <a:lnTo>
                    <a:pt x="2882" y="805"/>
                  </a:lnTo>
                  <a:lnTo>
                    <a:pt x="2879" y="807"/>
                  </a:lnTo>
                  <a:lnTo>
                    <a:pt x="2879" y="807"/>
                  </a:lnTo>
                  <a:lnTo>
                    <a:pt x="2878" y="811"/>
                  </a:lnTo>
                  <a:lnTo>
                    <a:pt x="2878" y="811"/>
                  </a:lnTo>
                  <a:lnTo>
                    <a:pt x="2878" y="814"/>
                  </a:lnTo>
                  <a:lnTo>
                    <a:pt x="2878" y="814"/>
                  </a:lnTo>
                  <a:lnTo>
                    <a:pt x="2882" y="818"/>
                  </a:lnTo>
                  <a:lnTo>
                    <a:pt x="2884" y="817"/>
                  </a:lnTo>
                  <a:lnTo>
                    <a:pt x="2882" y="817"/>
                  </a:lnTo>
                  <a:lnTo>
                    <a:pt x="2882" y="817"/>
                  </a:lnTo>
                  <a:lnTo>
                    <a:pt x="2882" y="818"/>
                  </a:lnTo>
                  <a:lnTo>
                    <a:pt x="2884" y="817"/>
                  </a:lnTo>
                  <a:lnTo>
                    <a:pt x="2882" y="817"/>
                  </a:lnTo>
                  <a:lnTo>
                    <a:pt x="2884" y="817"/>
                  </a:lnTo>
                  <a:lnTo>
                    <a:pt x="2882" y="815"/>
                  </a:lnTo>
                  <a:lnTo>
                    <a:pt x="2882" y="815"/>
                  </a:lnTo>
                  <a:lnTo>
                    <a:pt x="2882" y="817"/>
                  </a:lnTo>
                  <a:lnTo>
                    <a:pt x="2884" y="817"/>
                  </a:lnTo>
                  <a:lnTo>
                    <a:pt x="2882" y="815"/>
                  </a:lnTo>
                  <a:lnTo>
                    <a:pt x="2882" y="815"/>
                  </a:lnTo>
                  <a:lnTo>
                    <a:pt x="2881" y="817"/>
                  </a:lnTo>
                  <a:lnTo>
                    <a:pt x="2881" y="817"/>
                  </a:lnTo>
                  <a:lnTo>
                    <a:pt x="2872" y="824"/>
                  </a:lnTo>
                  <a:lnTo>
                    <a:pt x="2872" y="824"/>
                  </a:lnTo>
                  <a:lnTo>
                    <a:pt x="2868" y="828"/>
                  </a:lnTo>
                  <a:lnTo>
                    <a:pt x="2868" y="828"/>
                  </a:lnTo>
                  <a:lnTo>
                    <a:pt x="2866" y="830"/>
                  </a:lnTo>
                  <a:lnTo>
                    <a:pt x="2865" y="833"/>
                  </a:lnTo>
                  <a:lnTo>
                    <a:pt x="2865" y="833"/>
                  </a:lnTo>
                  <a:lnTo>
                    <a:pt x="2863" y="836"/>
                  </a:lnTo>
                  <a:lnTo>
                    <a:pt x="2862" y="839"/>
                  </a:lnTo>
                  <a:lnTo>
                    <a:pt x="2862" y="839"/>
                  </a:lnTo>
                  <a:lnTo>
                    <a:pt x="2855" y="843"/>
                  </a:lnTo>
                  <a:lnTo>
                    <a:pt x="2855" y="843"/>
                  </a:lnTo>
                  <a:lnTo>
                    <a:pt x="2849" y="849"/>
                  </a:lnTo>
                  <a:lnTo>
                    <a:pt x="2849" y="849"/>
                  </a:lnTo>
                  <a:lnTo>
                    <a:pt x="2827" y="870"/>
                  </a:lnTo>
                  <a:lnTo>
                    <a:pt x="2827" y="870"/>
                  </a:lnTo>
                  <a:lnTo>
                    <a:pt x="2823" y="878"/>
                  </a:lnTo>
                  <a:lnTo>
                    <a:pt x="2823" y="878"/>
                  </a:lnTo>
                  <a:lnTo>
                    <a:pt x="2814" y="892"/>
                  </a:lnTo>
                  <a:lnTo>
                    <a:pt x="2810" y="902"/>
                  </a:lnTo>
                  <a:lnTo>
                    <a:pt x="2810" y="902"/>
                  </a:lnTo>
                  <a:lnTo>
                    <a:pt x="2808" y="904"/>
                  </a:lnTo>
                  <a:lnTo>
                    <a:pt x="2808" y="904"/>
                  </a:lnTo>
                  <a:lnTo>
                    <a:pt x="2801" y="907"/>
                  </a:lnTo>
                  <a:lnTo>
                    <a:pt x="2801" y="907"/>
                  </a:lnTo>
                  <a:lnTo>
                    <a:pt x="2798" y="907"/>
                  </a:lnTo>
                  <a:lnTo>
                    <a:pt x="2798" y="907"/>
                  </a:lnTo>
                  <a:lnTo>
                    <a:pt x="2794" y="908"/>
                  </a:lnTo>
                  <a:lnTo>
                    <a:pt x="2794" y="908"/>
                  </a:lnTo>
                  <a:lnTo>
                    <a:pt x="2792" y="911"/>
                  </a:lnTo>
                  <a:lnTo>
                    <a:pt x="2789" y="914"/>
                  </a:lnTo>
                  <a:lnTo>
                    <a:pt x="2789" y="914"/>
                  </a:lnTo>
                  <a:lnTo>
                    <a:pt x="2789" y="921"/>
                  </a:lnTo>
                  <a:lnTo>
                    <a:pt x="2789" y="921"/>
                  </a:lnTo>
                  <a:lnTo>
                    <a:pt x="2788" y="923"/>
                  </a:lnTo>
                  <a:lnTo>
                    <a:pt x="2788" y="923"/>
                  </a:lnTo>
                  <a:lnTo>
                    <a:pt x="2778" y="939"/>
                  </a:lnTo>
                  <a:lnTo>
                    <a:pt x="2778" y="939"/>
                  </a:lnTo>
                  <a:lnTo>
                    <a:pt x="2772" y="947"/>
                  </a:lnTo>
                  <a:lnTo>
                    <a:pt x="2772" y="947"/>
                  </a:lnTo>
                  <a:lnTo>
                    <a:pt x="2769" y="952"/>
                  </a:lnTo>
                  <a:lnTo>
                    <a:pt x="2769" y="952"/>
                  </a:lnTo>
                  <a:lnTo>
                    <a:pt x="2768" y="956"/>
                  </a:lnTo>
                  <a:lnTo>
                    <a:pt x="2768" y="956"/>
                  </a:lnTo>
                  <a:lnTo>
                    <a:pt x="2766" y="973"/>
                  </a:lnTo>
                  <a:lnTo>
                    <a:pt x="2766" y="973"/>
                  </a:lnTo>
                  <a:lnTo>
                    <a:pt x="2768" y="988"/>
                  </a:lnTo>
                  <a:lnTo>
                    <a:pt x="2769" y="999"/>
                  </a:lnTo>
                  <a:lnTo>
                    <a:pt x="2769" y="999"/>
                  </a:lnTo>
                  <a:lnTo>
                    <a:pt x="2771" y="1010"/>
                  </a:lnTo>
                  <a:lnTo>
                    <a:pt x="2772" y="1020"/>
                  </a:lnTo>
                  <a:lnTo>
                    <a:pt x="2772" y="1020"/>
                  </a:lnTo>
                  <a:lnTo>
                    <a:pt x="2774" y="1040"/>
                  </a:lnTo>
                  <a:lnTo>
                    <a:pt x="2774" y="1040"/>
                  </a:lnTo>
                  <a:lnTo>
                    <a:pt x="2775" y="1047"/>
                  </a:lnTo>
                  <a:lnTo>
                    <a:pt x="2776" y="1053"/>
                  </a:lnTo>
                  <a:lnTo>
                    <a:pt x="2776" y="1053"/>
                  </a:lnTo>
                  <a:lnTo>
                    <a:pt x="2779" y="1057"/>
                  </a:lnTo>
                  <a:lnTo>
                    <a:pt x="2779" y="1057"/>
                  </a:lnTo>
                  <a:lnTo>
                    <a:pt x="2781" y="1060"/>
                  </a:lnTo>
                  <a:lnTo>
                    <a:pt x="2781" y="1060"/>
                  </a:lnTo>
                  <a:lnTo>
                    <a:pt x="2781" y="1060"/>
                  </a:lnTo>
                  <a:lnTo>
                    <a:pt x="2782" y="1062"/>
                  </a:lnTo>
                  <a:lnTo>
                    <a:pt x="2782" y="1062"/>
                  </a:lnTo>
                  <a:lnTo>
                    <a:pt x="2787" y="1067"/>
                  </a:lnTo>
                  <a:lnTo>
                    <a:pt x="2788" y="1075"/>
                  </a:lnTo>
                  <a:lnTo>
                    <a:pt x="2788" y="1075"/>
                  </a:lnTo>
                  <a:lnTo>
                    <a:pt x="2789" y="1085"/>
                  </a:lnTo>
                  <a:lnTo>
                    <a:pt x="2789" y="1085"/>
                  </a:lnTo>
                  <a:lnTo>
                    <a:pt x="2791" y="1092"/>
                  </a:lnTo>
                  <a:lnTo>
                    <a:pt x="2794" y="1099"/>
                  </a:lnTo>
                  <a:lnTo>
                    <a:pt x="2794" y="1099"/>
                  </a:lnTo>
                  <a:lnTo>
                    <a:pt x="2797" y="1101"/>
                  </a:lnTo>
                  <a:lnTo>
                    <a:pt x="2797" y="1101"/>
                  </a:lnTo>
                  <a:lnTo>
                    <a:pt x="2798" y="1102"/>
                  </a:lnTo>
                  <a:lnTo>
                    <a:pt x="2798" y="1102"/>
                  </a:lnTo>
                  <a:lnTo>
                    <a:pt x="2801" y="1101"/>
                  </a:lnTo>
                  <a:lnTo>
                    <a:pt x="2801" y="1101"/>
                  </a:lnTo>
                  <a:lnTo>
                    <a:pt x="2804" y="1096"/>
                  </a:lnTo>
                  <a:lnTo>
                    <a:pt x="2804" y="1096"/>
                  </a:lnTo>
                  <a:lnTo>
                    <a:pt x="2808" y="1089"/>
                  </a:lnTo>
                  <a:lnTo>
                    <a:pt x="2808" y="1089"/>
                  </a:lnTo>
                  <a:lnTo>
                    <a:pt x="2810" y="1088"/>
                  </a:lnTo>
                  <a:lnTo>
                    <a:pt x="2810" y="1086"/>
                  </a:lnTo>
                  <a:lnTo>
                    <a:pt x="2810" y="1086"/>
                  </a:lnTo>
                  <a:lnTo>
                    <a:pt x="2810" y="1086"/>
                  </a:lnTo>
                  <a:lnTo>
                    <a:pt x="2810" y="1086"/>
                  </a:lnTo>
                  <a:lnTo>
                    <a:pt x="2810" y="1086"/>
                  </a:lnTo>
                  <a:lnTo>
                    <a:pt x="2810" y="1086"/>
                  </a:lnTo>
                  <a:lnTo>
                    <a:pt x="2810" y="1086"/>
                  </a:lnTo>
                  <a:lnTo>
                    <a:pt x="2810" y="1086"/>
                  </a:lnTo>
                  <a:lnTo>
                    <a:pt x="2810" y="1086"/>
                  </a:lnTo>
                  <a:lnTo>
                    <a:pt x="2813" y="1085"/>
                  </a:lnTo>
                  <a:lnTo>
                    <a:pt x="2814" y="1083"/>
                  </a:lnTo>
                  <a:lnTo>
                    <a:pt x="2814" y="1083"/>
                  </a:lnTo>
                  <a:lnTo>
                    <a:pt x="2820" y="1075"/>
                  </a:lnTo>
                  <a:lnTo>
                    <a:pt x="2820" y="1075"/>
                  </a:lnTo>
                  <a:lnTo>
                    <a:pt x="2823" y="1067"/>
                  </a:lnTo>
                  <a:lnTo>
                    <a:pt x="2823" y="1067"/>
                  </a:lnTo>
                  <a:lnTo>
                    <a:pt x="2824" y="1065"/>
                  </a:lnTo>
                  <a:lnTo>
                    <a:pt x="2824" y="1065"/>
                  </a:lnTo>
                  <a:lnTo>
                    <a:pt x="2823" y="1060"/>
                  </a:lnTo>
                  <a:lnTo>
                    <a:pt x="2823" y="1060"/>
                  </a:lnTo>
                  <a:lnTo>
                    <a:pt x="2820" y="1059"/>
                  </a:lnTo>
                  <a:lnTo>
                    <a:pt x="2820" y="1057"/>
                  </a:lnTo>
                  <a:lnTo>
                    <a:pt x="2818" y="1059"/>
                  </a:lnTo>
                  <a:lnTo>
                    <a:pt x="2820" y="1059"/>
                  </a:lnTo>
                  <a:lnTo>
                    <a:pt x="2820" y="1057"/>
                  </a:lnTo>
                  <a:lnTo>
                    <a:pt x="2818" y="1059"/>
                  </a:lnTo>
                  <a:lnTo>
                    <a:pt x="2820" y="1059"/>
                  </a:lnTo>
                  <a:lnTo>
                    <a:pt x="2818" y="1059"/>
                  </a:lnTo>
                  <a:lnTo>
                    <a:pt x="2820" y="1059"/>
                  </a:lnTo>
                  <a:lnTo>
                    <a:pt x="2820" y="1059"/>
                  </a:lnTo>
                  <a:lnTo>
                    <a:pt x="2818" y="1059"/>
                  </a:lnTo>
                  <a:lnTo>
                    <a:pt x="2820" y="1059"/>
                  </a:lnTo>
                  <a:lnTo>
                    <a:pt x="2818" y="1059"/>
                  </a:lnTo>
                  <a:lnTo>
                    <a:pt x="2820" y="1060"/>
                  </a:lnTo>
                  <a:lnTo>
                    <a:pt x="2820" y="1060"/>
                  </a:lnTo>
                  <a:lnTo>
                    <a:pt x="2820" y="1059"/>
                  </a:lnTo>
                  <a:lnTo>
                    <a:pt x="2818" y="1059"/>
                  </a:lnTo>
                  <a:lnTo>
                    <a:pt x="2820" y="1060"/>
                  </a:lnTo>
                  <a:lnTo>
                    <a:pt x="2820" y="1060"/>
                  </a:lnTo>
                  <a:lnTo>
                    <a:pt x="2821" y="1059"/>
                  </a:lnTo>
                  <a:lnTo>
                    <a:pt x="2821" y="1056"/>
                  </a:lnTo>
                  <a:lnTo>
                    <a:pt x="2821" y="1056"/>
                  </a:lnTo>
                  <a:lnTo>
                    <a:pt x="2820" y="1052"/>
                  </a:lnTo>
                  <a:lnTo>
                    <a:pt x="2820" y="1052"/>
                  </a:lnTo>
                  <a:lnTo>
                    <a:pt x="2818" y="1049"/>
                  </a:lnTo>
                  <a:lnTo>
                    <a:pt x="2818" y="1049"/>
                  </a:lnTo>
                  <a:lnTo>
                    <a:pt x="2818" y="1049"/>
                  </a:lnTo>
                  <a:lnTo>
                    <a:pt x="2818" y="1049"/>
                  </a:lnTo>
                  <a:lnTo>
                    <a:pt x="2820" y="1046"/>
                  </a:lnTo>
                  <a:lnTo>
                    <a:pt x="2820" y="1046"/>
                  </a:lnTo>
                  <a:lnTo>
                    <a:pt x="2823" y="1041"/>
                  </a:lnTo>
                  <a:lnTo>
                    <a:pt x="2823" y="1041"/>
                  </a:lnTo>
                  <a:lnTo>
                    <a:pt x="2826" y="1038"/>
                  </a:lnTo>
                  <a:lnTo>
                    <a:pt x="2826" y="1038"/>
                  </a:lnTo>
                  <a:lnTo>
                    <a:pt x="2829" y="1038"/>
                  </a:lnTo>
                  <a:lnTo>
                    <a:pt x="2829" y="1038"/>
                  </a:lnTo>
                  <a:lnTo>
                    <a:pt x="2836" y="1038"/>
                  </a:lnTo>
                  <a:lnTo>
                    <a:pt x="2836" y="1038"/>
                  </a:lnTo>
                  <a:lnTo>
                    <a:pt x="2837" y="1038"/>
                  </a:lnTo>
                  <a:lnTo>
                    <a:pt x="2837" y="1038"/>
                  </a:lnTo>
                  <a:lnTo>
                    <a:pt x="2840" y="1037"/>
                  </a:lnTo>
                  <a:lnTo>
                    <a:pt x="2840" y="1037"/>
                  </a:lnTo>
                  <a:lnTo>
                    <a:pt x="2840" y="1034"/>
                  </a:lnTo>
                  <a:lnTo>
                    <a:pt x="2840" y="1034"/>
                  </a:lnTo>
                  <a:lnTo>
                    <a:pt x="2840" y="1031"/>
                  </a:lnTo>
                  <a:lnTo>
                    <a:pt x="2840" y="1031"/>
                  </a:lnTo>
                  <a:lnTo>
                    <a:pt x="2839" y="1025"/>
                  </a:lnTo>
                  <a:lnTo>
                    <a:pt x="2837" y="1020"/>
                  </a:lnTo>
                  <a:lnTo>
                    <a:pt x="2837" y="1020"/>
                  </a:lnTo>
                  <a:lnTo>
                    <a:pt x="2837" y="1017"/>
                  </a:lnTo>
                  <a:lnTo>
                    <a:pt x="2837" y="1017"/>
                  </a:lnTo>
                  <a:lnTo>
                    <a:pt x="2839" y="1014"/>
                  </a:lnTo>
                  <a:lnTo>
                    <a:pt x="2842" y="1012"/>
                  </a:lnTo>
                  <a:lnTo>
                    <a:pt x="2842" y="1012"/>
                  </a:lnTo>
                  <a:lnTo>
                    <a:pt x="2845" y="1010"/>
                  </a:lnTo>
                  <a:lnTo>
                    <a:pt x="2849" y="1005"/>
                  </a:lnTo>
                  <a:lnTo>
                    <a:pt x="2849" y="1005"/>
                  </a:lnTo>
                  <a:lnTo>
                    <a:pt x="2850" y="1002"/>
                  </a:lnTo>
                  <a:lnTo>
                    <a:pt x="2850" y="1002"/>
                  </a:lnTo>
                  <a:lnTo>
                    <a:pt x="2859" y="998"/>
                  </a:lnTo>
                  <a:lnTo>
                    <a:pt x="2859" y="998"/>
                  </a:lnTo>
                  <a:lnTo>
                    <a:pt x="2862" y="998"/>
                  </a:lnTo>
                  <a:lnTo>
                    <a:pt x="2862" y="998"/>
                  </a:lnTo>
                  <a:lnTo>
                    <a:pt x="2865" y="996"/>
                  </a:lnTo>
                  <a:lnTo>
                    <a:pt x="2865" y="996"/>
                  </a:lnTo>
                  <a:lnTo>
                    <a:pt x="2869" y="996"/>
                  </a:lnTo>
                  <a:lnTo>
                    <a:pt x="2869" y="996"/>
                  </a:lnTo>
                  <a:lnTo>
                    <a:pt x="2873" y="996"/>
                  </a:lnTo>
                  <a:lnTo>
                    <a:pt x="2873" y="996"/>
                  </a:lnTo>
                  <a:lnTo>
                    <a:pt x="2875" y="995"/>
                  </a:lnTo>
                  <a:lnTo>
                    <a:pt x="2876" y="992"/>
                  </a:lnTo>
                  <a:lnTo>
                    <a:pt x="2876" y="992"/>
                  </a:lnTo>
                  <a:lnTo>
                    <a:pt x="2878" y="986"/>
                  </a:lnTo>
                  <a:lnTo>
                    <a:pt x="2878" y="986"/>
                  </a:lnTo>
                  <a:lnTo>
                    <a:pt x="2878" y="982"/>
                  </a:lnTo>
                  <a:lnTo>
                    <a:pt x="2878" y="982"/>
                  </a:lnTo>
                  <a:lnTo>
                    <a:pt x="2875" y="979"/>
                  </a:lnTo>
                  <a:lnTo>
                    <a:pt x="2875" y="979"/>
                  </a:lnTo>
                  <a:lnTo>
                    <a:pt x="2873" y="976"/>
                  </a:lnTo>
                  <a:lnTo>
                    <a:pt x="2873" y="976"/>
                  </a:lnTo>
                  <a:lnTo>
                    <a:pt x="2873" y="975"/>
                  </a:lnTo>
                  <a:lnTo>
                    <a:pt x="2873" y="975"/>
                  </a:lnTo>
                  <a:lnTo>
                    <a:pt x="2876" y="972"/>
                  </a:lnTo>
                  <a:lnTo>
                    <a:pt x="2876" y="968"/>
                  </a:lnTo>
                  <a:lnTo>
                    <a:pt x="2876" y="968"/>
                  </a:lnTo>
                  <a:lnTo>
                    <a:pt x="2876" y="965"/>
                  </a:lnTo>
                  <a:lnTo>
                    <a:pt x="2876" y="965"/>
                  </a:lnTo>
                  <a:lnTo>
                    <a:pt x="2876" y="965"/>
                  </a:lnTo>
                  <a:lnTo>
                    <a:pt x="2875" y="965"/>
                  </a:lnTo>
                  <a:lnTo>
                    <a:pt x="2876" y="965"/>
                  </a:lnTo>
                  <a:lnTo>
                    <a:pt x="2876" y="965"/>
                  </a:lnTo>
                  <a:lnTo>
                    <a:pt x="2875" y="965"/>
                  </a:lnTo>
                  <a:lnTo>
                    <a:pt x="2876" y="965"/>
                  </a:lnTo>
                  <a:lnTo>
                    <a:pt x="2876" y="965"/>
                  </a:lnTo>
                  <a:lnTo>
                    <a:pt x="2876" y="965"/>
                  </a:lnTo>
                  <a:lnTo>
                    <a:pt x="2876" y="963"/>
                  </a:lnTo>
                  <a:lnTo>
                    <a:pt x="2876" y="963"/>
                  </a:lnTo>
                  <a:lnTo>
                    <a:pt x="2881" y="959"/>
                  </a:lnTo>
                  <a:lnTo>
                    <a:pt x="2881" y="959"/>
                  </a:lnTo>
                  <a:lnTo>
                    <a:pt x="2884" y="956"/>
                  </a:lnTo>
                  <a:lnTo>
                    <a:pt x="2885" y="956"/>
                  </a:lnTo>
                  <a:lnTo>
                    <a:pt x="2885" y="956"/>
                  </a:lnTo>
                  <a:lnTo>
                    <a:pt x="2887" y="957"/>
                  </a:lnTo>
                  <a:lnTo>
                    <a:pt x="2887" y="957"/>
                  </a:lnTo>
                  <a:lnTo>
                    <a:pt x="2889" y="957"/>
                  </a:lnTo>
                  <a:lnTo>
                    <a:pt x="2891" y="959"/>
                  </a:lnTo>
                  <a:lnTo>
                    <a:pt x="2891" y="959"/>
                  </a:lnTo>
                  <a:lnTo>
                    <a:pt x="2892" y="959"/>
                  </a:lnTo>
                  <a:lnTo>
                    <a:pt x="2892" y="959"/>
                  </a:lnTo>
                  <a:lnTo>
                    <a:pt x="2897" y="956"/>
                  </a:lnTo>
                  <a:lnTo>
                    <a:pt x="2897" y="956"/>
                  </a:lnTo>
                  <a:lnTo>
                    <a:pt x="2900" y="952"/>
                  </a:lnTo>
                  <a:lnTo>
                    <a:pt x="2900" y="952"/>
                  </a:lnTo>
                  <a:lnTo>
                    <a:pt x="2900" y="946"/>
                  </a:lnTo>
                  <a:lnTo>
                    <a:pt x="2900" y="946"/>
                  </a:lnTo>
                  <a:lnTo>
                    <a:pt x="2900" y="944"/>
                  </a:lnTo>
                  <a:lnTo>
                    <a:pt x="2900" y="944"/>
                  </a:lnTo>
                  <a:lnTo>
                    <a:pt x="2898" y="940"/>
                  </a:lnTo>
                  <a:lnTo>
                    <a:pt x="2898" y="940"/>
                  </a:lnTo>
                  <a:lnTo>
                    <a:pt x="2894" y="937"/>
                  </a:lnTo>
                  <a:lnTo>
                    <a:pt x="2894" y="937"/>
                  </a:lnTo>
                  <a:lnTo>
                    <a:pt x="2888" y="937"/>
                  </a:lnTo>
                  <a:lnTo>
                    <a:pt x="2888" y="937"/>
                  </a:lnTo>
                  <a:lnTo>
                    <a:pt x="2887" y="937"/>
                  </a:lnTo>
                  <a:lnTo>
                    <a:pt x="2887" y="937"/>
                  </a:lnTo>
                  <a:lnTo>
                    <a:pt x="2887" y="937"/>
                  </a:lnTo>
                  <a:lnTo>
                    <a:pt x="2887" y="937"/>
                  </a:lnTo>
                  <a:lnTo>
                    <a:pt x="2885" y="933"/>
                  </a:lnTo>
                  <a:lnTo>
                    <a:pt x="2885" y="933"/>
                  </a:lnTo>
                  <a:lnTo>
                    <a:pt x="2884" y="926"/>
                  </a:lnTo>
                  <a:lnTo>
                    <a:pt x="2884" y="926"/>
                  </a:lnTo>
                  <a:lnTo>
                    <a:pt x="2884" y="926"/>
                  </a:lnTo>
                  <a:lnTo>
                    <a:pt x="2884" y="924"/>
                  </a:lnTo>
                  <a:lnTo>
                    <a:pt x="2884" y="924"/>
                  </a:lnTo>
                  <a:lnTo>
                    <a:pt x="2884" y="921"/>
                  </a:lnTo>
                  <a:lnTo>
                    <a:pt x="2884" y="921"/>
                  </a:lnTo>
                  <a:lnTo>
                    <a:pt x="2888" y="918"/>
                  </a:lnTo>
                  <a:lnTo>
                    <a:pt x="2888" y="918"/>
                  </a:lnTo>
                  <a:lnTo>
                    <a:pt x="2892" y="915"/>
                  </a:lnTo>
                  <a:lnTo>
                    <a:pt x="2892" y="915"/>
                  </a:lnTo>
                  <a:lnTo>
                    <a:pt x="2894" y="914"/>
                  </a:lnTo>
                  <a:lnTo>
                    <a:pt x="2894" y="912"/>
                  </a:lnTo>
                  <a:lnTo>
                    <a:pt x="2894" y="912"/>
                  </a:lnTo>
                  <a:lnTo>
                    <a:pt x="2892" y="908"/>
                  </a:lnTo>
                  <a:lnTo>
                    <a:pt x="2892" y="908"/>
                  </a:lnTo>
                  <a:lnTo>
                    <a:pt x="2889" y="904"/>
                  </a:lnTo>
                  <a:lnTo>
                    <a:pt x="2889" y="904"/>
                  </a:lnTo>
                  <a:lnTo>
                    <a:pt x="2887" y="901"/>
                  </a:lnTo>
                  <a:lnTo>
                    <a:pt x="2884" y="901"/>
                  </a:lnTo>
                  <a:lnTo>
                    <a:pt x="2882" y="901"/>
                  </a:lnTo>
                  <a:lnTo>
                    <a:pt x="2882" y="901"/>
                  </a:lnTo>
                  <a:lnTo>
                    <a:pt x="2881" y="901"/>
                  </a:lnTo>
                  <a:lnTo>
                    <a:pt x="2881" y="901"/>
                  </a:lnTo>
                  <a:lnTo>
                    <a:pt x="2881" y="901"/>
                  </a:lnTo>
                  <a:lnTo>
                    <a:pt x="2881" y="901"/>
                  </a:lnTo>
                  <a:lnTo>
                    <a:pt x="2881" y="901"/>
                  </a:lnTo>
                  <a:lnTo>
                    <a:pt x="2881" y="901"/>
                  </a:lnTo>
                  <a:lnTo>
                    <a:pt x="2881" y="901"/>
                  </a:lnTo>
                  <a:lnTo>
                    <a:pt x="2881" y="901"/>
                  </a:lnTo>
                  <a:lnTo>
                    <a:pt x="2881" y="901"/>
                  </a:lnTo>
                  <a:lnTo>
                    <a:pt x="2881" y="901"/>
                  </a:lnTo>
                  <a:lnTo>
                    <a:pt x="2881" y="901"/>
                  </a:lnTo>
                  <a:lnTo>
                    <a:pt x="2881" y="901"/>
                  </a:lnTo>
                  <a:lnTo>
                    <a:pt x="2882" y="901"/>
                  </a:lnTo>
                  <a:lnTo>
                    <a:pt x="2881" y="901"/>
                  </a:lnTo>
                  <a:lnTo>
                    <a:pt x="2881" y="901"/>
                  </a:lnTo>
                  <a:lnTo>
                    <a:pt x="2882" y="901"/>
                  </a:lnTo>
                  <a:lnTo>
                    <a:pt x="2882" y="901"/>
                  </a:lnTo>
                  <a:lnTo>
                    <a:pt x="2882" y="901"/>
                  </a:lnTo>
                  <a:lnTo>
                    <a:pt x="2882" y="899"/>
                  </a:lnTo>
                  <a:lnTo>
                    <a:pt x="2882" y="899"/>
                  </a:lnTo>
                  <a:lnTo>
                    <a:pt x="2882" y="899"/>
                  </a:lnTo>
                  <a:lnTo>
                    <a:pt x="2882" y="899"/>
                  </a:lnTo>
                  <a:lnTo>
                    <a:pt x="2884" y="898"/>
                  </a:lnTo>
                  <a:lnTo>
                    <a:pt x="2884" y="895"/>
                  </a:lnTo>
                  <a:lnTo>
                    <a:pt x="2884" y="895"/>
                  </a:lnTo>
                  <a:lnTo>
                    <a:pt x="2882" y="891"/>
                  </a:lnTo>
                  <a:lnTo>
                    <a:pt x="2882" y="891"/>
                  </a:lnTo>
                  <a:lnTo>
                    <a:pt x="2882" y="885"/>
                  </a:lnTo>
                  <a:lnTo>
                    <a:pt x="2882" y="885"/>
                  </a:lnTo>
                  <a:lnTo>
                    <a:pt x="2882" y="884"/>
                  </a:lnTo>
                  <a:lnTo>
                    <a:pt x="2882" y="884"/>
                  </a:lnTo>
                  <a:lnTo>
                    <a:pt x="2885" y="878"/>
                  </a:lnTo>
                  <a:lnTo>
                    <a:pt x="2885" y="878"/>
                  </a:lnTo>
                  <a:lnTo>
                    <a:pt x="2891" y="869"/>
                  </a:lnTo>
                  <a:lnTo>
                    <a:pt x="2891" y="869"/>
                  </a:lnTo>
                  <a:lnTo>
                    <a:pt x="2894" y="865"/>
                  </a:lnTo>
                  <a:lnTo>
                    <a:pt x="2894" y="865"/>
                  </a:lnTo>
                  <a:lnTo>
                    <a:pt x="2895" y="863"/>
                  </a:lnTo>
                  <a:lnTo>
                    <a:pt x="2895" y="863"/>
                  </a:lnTo>
                  <a:lnTo>
                    <a:pt x="2898" y="860"/>
                  </a:lnTo>
                  <a:lnTo>
                    <a:pt x="2901" y="857"/>
                  </a:lnTo>
                  <a:lnTo>
                    <a:pt x="2901" y="857"/>
                  </a:lnTo>
                  <a:lnTo>
                    <a:pt x="2901" y="853"/>
                  </a:lnTo>
                  <a:lnTo>
                    <a:pt x="2902" y="850"/>
                  </a:lnTo>
                  <a:lnTo>
                    <a:pt x="2902" y="850"/>
                  </a:lnTo>
                  <a:lnTo>
                    <a:pt x="2902" y="849"/>
                  </a:lnTo>
                  <a:lnTo>
                    <a:pt x="2902" y="849"/>
                  </a:lnTo>
                  <a:lnTo>
                    <a:pt x="2904" y="847"/>
                  </a:lnTo>
                  <a:lnTo>
                    <a:pt x="2904" y="847"/>
                  </a:lnTo>
                  <a:lnTo>
                    <a:pt x="2910" y="844"/>
                  </a:lnTo>
                  <a:lnTo>
                    <a:pt x="2910" y="844"/>
                  </a:lnTo>
                  <a:lnTo>
                    <a:pt x="2911" y="844"/>
                  </a:lnTo>
                  <a:lnTo>
                    <a:pt x="2911" y="844"/>
                  </a:lnTo>
                  <a:lnTo>
                    <a:pt x="2913" y="844"/>
                  </a:lnTo>
                  <a:lnTo>
                    <a:pt x="2913" y="844"/>
                  </a:lnTo>
                  <a:lnTo>
                    <a:pt x="2917" y="846"/>
                  </a:lnTo>
                  <a:lnTo>
                    <a:pt x="2917" y="846"/>
                  </a:lnTo>
                  <a:lnTo>
                    <a:pt x="2918" y="844"/>
                  </a:lnTo>
                  <a:lnTo>
                    <a:pt x="2918" y="844"/>
                  </a:lnTo>
                  <a:lnTo>
                    <a:pt x="2920" y="844"/>
                  </a:lnTo>
                  <a:lnTo>
                    <a:pt x="2921" y="843"/>
                  </a:lnTo>
                  <a:lnTo>
                    <a:pt x="2921" y="843"/>
                  </a:lnTo>
                  <a:lnTo>
                    <a:pt x="2921" y="842"/>
                  </a:lnTo>
                  <a:lnTo>
                    <a:pt x="2921" y="842"/>
                  </a:lnTo>
                  <a:lnTo>
                    <a:pt x="2923" y="840"/>
                  </a:lnTo>
                  <a:lnTo>
                    <a:pt x="2923" y="840"/>
                  </a:lnTo>
                  <a:lnTo>
                    <a:pt x="2923" y="837"/>
                  </a:lnTo>
                  <a:lnTo>
                    <a:pt x="2923" y="837"/>
                  </a:lnTo>
                  <a:lnTo>
                    <a:pt x="2926" y="834"/>
                  </a:lnTo>
                  <a:lnTo>
                    <a:pt x="2930" y="833"/>
                  </a:lnTo>
                  <a:lnTo>
                    <a:pt x="2930" y="833"/>
                  </a:lnTo>
                  <a:lnTo>
                    <a:pt x="2934" y="830"/>
                  </a:lnTo>
                  <a:lnTo>
                    <a:pt x="2934" y="830"/>
                  </a:lnTo>
                  <a:lnTo>
                    <a:pt x="2937" y="830"/>
                  </a:lnTo>
                  <a:lnTo>
                    <a:pt x="2937" y="828"/>
                  </a:lnTo>
                  <a:lnTo>
                    <a:pt x="2937" y="830"/>
                  </a:lnTo>
                  <a:lnTo>
                    <a:pt x="2937" y="830"/>
                  </a:lnTo>
                  <a:lnTo>
                    <a:pt x="2937" y="828"/>
                  </a:lnTo>
                  <a:lnTo>
                    <a:pt x="2937" y="830"/>
                  </a:lnTo>
                  <a:lnTo>
                    <a:pt x="2937" y="828"/>
                  </a:lnTo>
                  <a:lnTo>
                    <a:pt x="2936" y="828"/>
                  </a:lnTo>
                  <a:lnTo>
                    <a:pt x="2937" y="830"/>
                  </a:lnTo>
                  <a:lnTo>
                    <a:pt x="2937" y="828"/>
                  </a:lnTo>
                  <a:lnTo>
                    <a:pt x="2936" y="828"/>
                  </a:lnTo>
                  <a:lnTo>
                    <a:pt x="2937" y="828"/>
                  </a:lnTo>
                  <a:lnTo>
                    <a:pt x="2936" y="828"/>
                  </a:lnTo>
                  <a:lnTo>
                    <a:pt x="2936" y="828"/>
                  </a:lnTo>
                  <a:lnTo>
                    <a:pt x="2937" y="828"/>
                  </a:lnTo>
                  <a:lnTo>
                    <a:pt x="2936" y="828"/>
                  </a:lnTo>
                  <a:lnTo>
                    <a:pt x="2936" y="828"/>
                  </a:lnTo>
                  <a:lnTo>
                    <a:pt x="2936" y="828"/>
                  </a:lnTo>
                  <a:lnTo>
                    <a:pt x="2936" y="831"/>
                  </a:lnTo>
                  <a:lnTo>
                    <a:pt x="2936" y="831"/>
                  </a:lnTo>
                  <a:lnTo>
                    <a:pt x="2934" y="837"/>
                  </a:lnTo>
                  <a:lnTo>
                    <a:pt x="2934" y="837"/>
                  </a:lnTo>
                  <a:lnTo>
                    <a:pt x="2934" y="839"/>
                  </a:lnTo>
                  <a:lnTo>
                    <a:pt x="2934" y="839"/>
                  </a:lnTo>
                  <a:lnTo>
                    <a:pt x="2936" y="840"/>
                  </a:lnTo>
                  <a:lnTo>
                    <a:pt x="2936" y="840"/>
                  </a:lnTo>
                  <a:lnTo>
                    <a:pt x="2936" y="840"/>
                  </a:lnTo>
                  <a:lnTo>
                    <a:pt x="2939" y="842"/>
                  </a:lnTo>
                  <a:lnTo>
                    <a:pt x="2939" y="842"/>
                  </a:lnTo>
                  <a:lnTo>
                    <a:pt x="2942" y="842"/>
                  </a:lnTo>
                  <a:lnTo>
                    <a:pt x="2942" y="842"/>
                  </a:lnTo>
                  <a:lnTo>
                    <a:pt x="2944" y="839"/>
                  </a:lnTo>
                  <a:lnTo>
                    <a:pt x="2949" y="834"/>
                  </a:lnTo>
                  <a:lnTo>
                    <a:pt x="2949" y="834"/>
                  </a:lnTo>
                  <a:lnTo>
                    <a:pt x="2953" y="830"/>
                  </a:lnTo>
                  <a:lnTo>
                    <a:pt x="2953" y="830"/>
                  </a:lnTo>
                  <a:lnTo>
                    <a:pt x="2956" y="828"/>
                  </a:lnTo>
                  <a:lnTo>
                    <a:pt x="2956" y="828"/>
                  </a:lnTo>
                  <a:lnTo>
                    <a:pt x="2960" y="824"/>
                  </a:lnTo>
                  <a:lnTo>
                    <a:pt x="2963" y="820"/>
                  </a:lnTo>
                  <a:lnTo>
                    <a:pt x="2963" y="820"/>
                  </a:lnTo>
                  <a:lnTo>
                    <a:pt x="2966" y="818"/>
                  </a:lnTo>
                  <a:lnTo>
                    <a:pt x="2966" y="818"/>
                  </a:lnTo>
                  <a:lnTo>
                    <a:pt x="2972" y="818"/>
                  </a:lnTo>
                  <a:lnTo>
                    <a:pt x="2972" y="818"/>
                  </a:lnTo>
                  <a:lnTo>
                    <a:pt x="2973" y="818"/>
                  </a:lnTo>
                  <a:lnTo>
                    <a:pt x="2973" y="818"/>
                  </a:lnTo>
                  <a:lnTo>
                    <a:pt x="2976" y="820"/>
                  </a:lnTo>
                  <a:lnTo>
                    <a:pt x="2976" y="820"/>
                  </a:lnTo>
                  <a:lnTo>
                    <a:pt x="2979" y="826"/>
                  </a:lnTo>
                  <a:lnTo>
                    <a:pt x="2979" y="826"/>
                  </a:lnTo>
                  <a:lnTo>
                    <a:pt x="2981" y="833"/>
                  </a:lnTo>
                  <a:lnTo>
                    <a:pt x="2981" y="833"/>
                  </a:lnTo>
                  <a:lnTo>
                    <a:pt x="2982" y="836"/>
                  </a:lnTo>
                  <a:lnTo>
                    <a:pt x="2982" y="836"/>
                  </a:lnTo>
                  <a:lnTo>
                    <a:pt x="2986" y="837"/>
                  </a:lnTo>
                  <a:lnTo>
                    <a:pt x="2986" y="837"/>
                  </a:lnTo>
                  <a:lnTo>
                    <a:pt x="2989" y="837"/>
                  </a:lnTo>
                  <a:lnTo>
                    <a:pt x="2991" y="836"/>
                  </a:lnTo>
                  <a:lnTo>
                    <a:pt x="2991" y="836"/>
                  </a:lnTo>
                  <a:lnTo>
                    <a:pt x="2995" y="831"/>
                  </a:lnTo>
                  <a:lnTo>
                    <a:pt x="2995" y="831"/>
                  </a:lnTo>
                  <a:lnTo>
                    <a:pt x="2998" y="824"/>
                  </a:lnTo>
                  <a:lnTo>
                    <a:pt x="2998" y="824"/>
                  </a:lnTo>
                  <a:lnTo>
                    <a:pt x="3002" y="818"/>
                  </a:lnTo>
                  <a:lnTo>
                    <a:pt x="3002" y="818"/>
                  </a:lnTo>
                  <a:lnTo>
                    <a:pt x="3002" y="818"/>
                  </a:lnTo>
                  <a:lnTo>
                    <a:pt x="3007" y="817"/>
                  </a:lnTo>
                  <a:lnTo>
                    <a:pt x="3007" y="817"/>
                  </a:lnTo>
                  <a:lnTo>
                    <a:pt x="3011" y="815"/>
                  </a:lnTo>
                  <a:lnTo>
                    <a:pt x="3011" y="815"/>
                  </a:lnTo>
                  <a:lnTo>
                    <a:pt x="3013" y="814"/>
                  </a:lnTo>
                  <a:lnTo>
                    <a:pt x="3013" y="814"/>
                  </a:lnTo>
                  <a:lnTo>
                    <a:pt x="3014" y="811"/>
                  </a:lnTo>
                  <a:lnTo>
                    <a:pt x="3014" y="811"/>
                  </a:lnTo>
                  <a:lnTo>
                    <a:pt x="3014" y="807"/>
                  </a:lnTo>
                  <a:lnTo>
                    <a:pt x="3014" y="807"/>
                  </a:lnTo>
                  <a:lnTo>
                    <a:pt x="3015" y="802"/>
                  </a:lnTo>
                  <a:lnTo>
                    <a:pt x="3015" y="802"/>
                  </a:lnTo>
                  <a:lnTo>
                    <a:pt x="3014" y="802"/>
                  </a:lnTo>
                  <a:lnTo>
                    <a:pt x="3014" y="804"/>
                  </a:lnTo>
                  <a:lnTo>
                    <a:pt x="3015" y="802"/>
                  </a:lnTo>
                  <a:lnTo>
                    <a:pt x="3014" y="802"/>
                  </a:lnTo>
                  <a:lnTo>
                    <a:pt x="3014" y="804"/>
                  </a:lnTo>
                  <a:lnTo>
                    <a:pt x="3014" y="802"/>
                  </a:lnTo>
                  <a:lnTo>
                    <a:pt x="3014" y="804"/>
                  </a:lnTo>
                  <a:lnTo>
                    <a:pt x="3014" y="804"/>
                  </a:lnTo>
                  <a:lnTo>
                    <a:pt x="3014" y="802"/>
                  </a:lnTo>
                  <a:lnTo>
                    <a:pt x="3014" y="804"/>
                  </a:lnTo>
                  <a:lnTo>
                    <a:pt x="3014" y="802"/>
                  </a:lnTo>
                  <a:lnTo>
                    <a:pt x="3014" y="804"/>
                  </a:lnTo>
                  <a:lnTo>
                    <a:pt x="3014" y="804"/>
                  </a:lnTo>
                  <a:lnTo>
                    <a:pt x="3014" y="802"/>
                  </a:lnTo>
                  <a:lnTo>
                    <a:pt x="3014" y="804"/>
                  </a:lnTo>
                  <a:lnTo>
                    <a:pt x="3014" y="804"/>
                  </a:lnTo>
                  <a:lnTo>
                    <a:pt x="3014" y="804"/>
                  </a:lnTo>
                  <a:lnTo>
                    <a:pt x="3015" y="804"/>
                  </a:lnTo>
                  <a:lnTo>
                    <a:pt x="3015" y="804"/>
                  </a:lnTo>
                  <a:lnTo>
                    <a:pt x="3020" y="805"/>
                  </a:lnTo>
                  <a:lnTo>
                    <a:pt x="3020" y="805"/>
                  </a:lnTo>
                  <a:lnTo>
                    <a:pt x="3021" y="805"/>
                  </a:lnTo>
                  <a:lnTo>
                    <a:pt x="3021" y="805"/>
                  </a:lnTo>
                  <a:lnTo>
                    <a:pt x="3024" y="804"/>
                  </a:lnTo>
                  <a:lnTo>
                    <a:pt x="3024" y="804"/>
                  </a:lnTo>
                  <a:lnTo>
                    <a:pt x="3024" y="801"/>
                  </a:lnTo>
                  <a:lnTo>
                    <a:pt x="3024" y="801"/>
                  </a:lnTo>
                  <a:lnTo>
                    <a:pt x="3024" y="798"/>
                  </a:lnTo>
                  <a:lnTo>
                    <a:pt x="3024" y="798"/>
                  </a:lnTo>
                  <a:lnTo>
                    <a:pt x="3021" y="794"/>
                  </a:lnTo>
                  <a:lnTo>
                    <a:pt x="3021" y="794"/>
                  </a:lnTo>
                  <a:lnTo>
                    <a:pt x="3021" y="792"/>
                  </a:lnTo>
                  <a:lnTo>
                    <a:pt x="3021" y="792"/>
                  </a:lnTo>
                  <a:lnTo>
                    <a:pt x="3021" y="792"/>
                  </a:lnTo>
                  <a:lnTo>
                    <a:pt x="3020" y="792"/>
                  </a:lnTo>
                  <a:lnTo>
                    <a:pt x="3021" y="792"/>
                  </a:lnTo>
                  <a:lnTo>
                    <a:pt x="3021" y="792"/>
                  </a:lnTo>
                  <a:lnTo>
                    <a:pt x="3020" y="792"/>
                  </a:lnTo>
                  <a:lnTo>
                    <a:pt x="3021" y="792"/>
                  </a:lnTo>
                  <a:lnTo>
                    <a:pt x="3020" y="792"/>
                  </a:lnTo>
                  <a:lnTo>
                    <a:pt x="3020" y="794"/>
                  </a:lnTo>
                  <a:lnTo>
                    <a:pt x="3020" y="794"/>
                  </a:lnTo>
                  <a:lnTo>
                    <a:pt x="3021" y="792"/>
                  </a:lnTo>
                  <a:lnTo>
                    <a:pt x="3020" y="792"/>
                  </a:lnTo>
                  <a:lnTo>
                    <a:pt x="3020" y="794"/>
                  </a:lnTo>
                  <a:lnTo>
                    <a:pt x="3020" y="792"/>
                  </a:lnTo>
                  <a:lnTo>
                    <a:pt x="3020" y="794"/>
                  </a:lnTo>
                  <a:lnTo>
                    <a:pt x="3020" y="794"/>
                  </a:lnTo>
                  <a:lnTo>
                    <a:pt x="3020" y="794"/>
                  </a:lnTo>
                  <a:lnTo>
                    <a:pt x="3020" y="792"/>
                  </a:lnTo>
                  <a:lnTo>
                    <a:pt x="3020" y="794"/>
                  </a:lnTo>
                  <a:lnTo>
                    <a:pt x="3020" y="794"/>
                  </a:lnTo>
                  <a:lnTo>
                    <a:pt x="3020" y="794"/>
                  </a:lnTo>
                  <a:lnTo>
                    <a:pt x="3020" y="794"/>
                  </a:lnTo>
                  <a:lnTo>
                    <a:pt x="3020" y="794"/>
                  </a:lnTo>
                  <a:lnTo>
                    <a:pt x="3020" y="794"/>
                  </a:lnTo>
                  <a:lnTo>
                    <a:pt x="3021" y="795"/>
                  </a:lnTo>
                  <a:lnTo>
                    <a:pt x="3023" y="795"/>
                  </a:lnTo>
                  <a:lnTo>
                    <a:pt x="3023" y="795"/>
                  </a:lnTo>
                  <a:lnTo>
                    <a:pt x="3024" y="795"/>
                  </a:lnTo>
                  <a:lnTo>
                    <a:pt x="3024" y="795"/>
                  </a:lnTo>
                  <a:lnTo>
                    <a:pt x="3026" y="795"/>
                  </a:lnTo>
                  <a:lnTo>
                    <a:pt x="3026" y="795"/>
                  </a:lnTo>
                  <a:lnTo>
                    <a:pt x="3030" y="792"/>
                  </a:lnTo>
                  <a:lnTo>
                    <a:pt x="3030" y="792"/>
                  </a:lnTo>
                  <a:lnTo>
                    <a:pt x="3033" y="789"/>
                  </a:lnTo>
                  <a:lnTo>
                    <a:pt x="3033" y="789"/>
                  </a:lnTo>
                  <a:lnTo>
                    <a:pt x="3034" y="788"/>
                  </a:lnTo>
                  <a:lnTo>
                    <a:pt x="3034" y="786"/>
                  </a:lnTo>
                  <a:lnTo>
                    <a:pt x="3034" y="788"/>
                  </a:lnTo>
                  <a:lnTo>
                    <a:pt x="3034" y="788"/>
                  </a:lnTo>
                  <a:lnTo>
                    <a:pt x="3034" y="786"/>
                  </a:lnTo>
                  <a:lnTo>
                    <a:pt x="3034" y="788"/>
                  </a:lnTo>
                  <a:lnTo>
                    <a:pt x="3034" y="786"/>
                  </a:lnTo>
                  <a:lnTo>
                    <a:pt x="3034" y="788"/>
                  </a:lnTo>
                  <a:lnTo>
                    <a:pt x="3034" y="788"/>
                  </a:lnTo>
                  <a:lnTo>
                    <a:pt x="3034" y="786"/>
                  </a:lnTo>
                  <a:lnTo>
                    <a:pt x="3034" y="788"/>
                  </a:lnTo>
                  <a:lnTo>
                    <a:pt x="3034" y="786"/>
                  </a:lnTo>
                  <a:lnTo>
                    <a:pt x="3033" y="788"/>
                  </a:lnTo>
                  <a:lnTo>
                    <a:pt x="3034" y="788"/>
                  </a:lnTo>
                  <a:lnTo>
                    <a:pt x="3034" y="786"/>
                  </a:lnTo>
                  <a:lnTo>
                    <a:pt x="3033" y="788"/>
                  </a:lnTo>
                  <a:lnTo>
                    <a:pt x="3033" y="788"/>
                  </a:lnTo>
                  <a:lnTo>
                    <a:pt x="3033" y="788"/>
                  </a:lnTo>
                  <a:lnTo>
                    <a:pt x="3033" y="788"/>
                  </a:lnTo>
                  <a:lnTo>
                    <a:pt x="3033" y="788"/>
                  </a:lnTo>
                  <a:lnTo>
                    <a:pt x="3033" y="788"/>
                  </a:lnTo>
                  <a:lnTo>
                    <a:pt x="3034" y="789"/>
                  </a:lnTo>
                  <a:lnTo>
                    <a:pt x="3034" y="789"/>
                  </a:lnTo>
                  <a:lnTo>
                    <a:pt x="3039" y="791"/>
                  </a:lnTo>
                  <a:lnTo>
                    <a:pt x="3039" y="791"/>
                  </a:lnTo>
                  <a:lnTo>
                    <a:pt x="3040" y="789"/>
                  </a:lnTo>
                  <a:lnTo>
                    <a:pt x="3040" y="789"/>
                  </a:lnTo>
                  <a:lnTo>
                    <a:pt x="3044" y="786"/>
                  </a:lnTo>
                  <a:lnTo>
                    <a:pt x="3044" y="786"/>
                  </a:lnTo>
                  <a:lnTo>
                    <a:pt x="3053" y="776"/>
                  </a:lnTo>
                  <a:lnTo>
                    <a:pt x="3068" y="762"/>
                  </a:lnTo>
                  <a:lnTo>
                    <a:pt x="3068" y="762"/>
                  </a:lnTo>
                  <a:lnTo>
                    <a:pt x="3075" y="757"/>
                  </a:lnTo>
                  <a:lnTo>
                    <a:pt x="3082" y="753"/>
                  </a:lnTo>
                  <a:lnTo>
                    <a:pt x="3094" y="749"/>
                  </a:lnTo>
                  <a:lnTo>
                    <a:pt x="3094" y="749"/>
                  </a:lnTo>
                  <a:lnTo>
                    <a:pt x="3104" y="747"/>
                  </a:lnTo>
                  <a:lnTo>
                    <a:pt x="3110" y="746"/>
                  </a:lnTo>
                  <a:lnTo>
                    <a:pt x="3111" y="746"/>
                  </a:lnTo>
                  <a:lnTo>
                    <a:pt x="3111" y="746"/>
                  </a:lnTo>
                  <a:lnTo>
                    <a:pt x="3115" y="747"/>
                  </a:lnTo>
                  <a:lnTo>
                    <a:pt x="3115" y="747"/>
                  </a:lnTo>
                  <a:lnTo>
                    <a:pt x="3123" y="752"/>
                  </a:lnTo>
                  <a:lnTo>
                    <a:pt x="3123" y="752"/>
                  </a:lnTo>
                  <a:lnTo>
                    <a:pt x="3127" y="752"/>
                  </a:lnTo>
                  <a:lnTo>
                    <a:pt x="3127" y="752"/>
                  </a:lnTo>
                  <a:lnTo>
                    <a:pt x="3131" y="752"/>
                  </a:lnTo>
                  <a:lnTo>
                    <a:pt x="3131" y="752"/>
                  </a:lnTo>
                  <a:lnTo>
                    <a:pt x="3134" y="749"/>
                  </a:lnTo>
                  <a:lnTo>
                    <a:pt x="3134" y="749"/>
                  </a:lnTo>
                  <a:lnTo>
                    <a:pt x="3136" y="747"/>
                  </a:lnTo>
                  <a:lnTo>
                    <a:pt x="3136" y="747"/>
                  </a:lnTo>
                  <a:lnTo>
                    <a:pt x="3139" y="744"/>
                  </a:lnTo>
                  <a:lnTo>
                    <a:pt x="3139" y="744"/>
                  </a:lnTo>
                  <a:lnTo>
                    <a:pt x="3140" y="739"/>
                  </a:lnTo>
                  <a:lnTo>
                    <a:pt x="3140" y="739"/>
                  </a:lnTo>
                  <a:lnTo>
                    <a:pt x="3140" y="734"/>
                  </a:lnTo>
                  <a:lnTo>
                    <a:pt x="3140" y="734"/>
                  </a:lnTo>
                  <a:lnTo>
                    <a:pt x="3140" y="733"/>
                  </a:lnTo>
                  <a:lnTo>
                    <a:pt x="3140" y="733"/>
                  </a:lnTo>
                  <a:lnTo>
                    <a:pt x="3139" y="724"/>
                  </a:lnTo>
                  <a:lnTo>
                    <a:pt x="3139" y="724"/>
                  </a:lnTo>
                  <a:lnTo>
                    <a:pt x="3136" y="720"/>
                  </a:lnTo>
                  <a:lnTo>
                    <a:pt x="3136" y="720"/>
                  </a:lnTo>
                  <a:lnTo>
                    <a:pt x="3134" y="717"/>
                  </a:lnTo>
                  <a:lnTo>
                    <a:pt x="3131" y="717"/>
                  </a:lnTo>
                  <a:lnTo>
                    <a:pt x="3131" y="717"/>
                  </a:lnTo>
                  <a:lnTo>
                    <a:pt x="3130" y="715"/>
                  </a:lnTo>
                  <a:lnTo>
                    <a:pt x="3130" y="715"/>
                  </a:lnTo>
                  <a:lnTo>
                    <a:pt x="3128" y="711"/>
                  </a:lnTo>
                  <a:lnTo>
                    <a:pt x="3128" y="711"/>
                  </a:lnTo>
                  <a:lnTo>
                    <a:pt x="3127" y="708"/>
                  </a:lnTo>
                  <a:lnTo>
                    <a:pt x="3123" y="705"/>
                  </a:lnTo>
                  <a:lnTo>
                    <a:pt x="3123" y="705"/>
                  </a:lnTo>
                  <a:lnTo>
                    <a:pt x="3121" y="705"/>
                  </a:lnTo>
                  <a:lnTo>
                    <a:pt x="3121" y="705"/>
                  </a:lnTo>
                  <a:lnTo>
                    <a:pt x="3121" y="702"/>
                  </a:lnTo>
                  <a:lnTo>
                    <a:pt x="3121" y="702"/>
                  </a:lnTo>
                  <a:lnTo>
                    <a:pt x="3121" y="698"/>
                  </a:lnTo>
                  <a:lnTo>
                    <a:pt x="3121" y="698"/>
                  </a:lnTo>
                  <a:lnTo>
                    <a:pt x="3121" y="697"/>
                  </a:lnTo>
                  <a:lnTo>
                    <a:pt x="3121" y="697"/>
                  </a:lnTo>
                  <a:lnTo>
                    <a:pt x="3120" y="695"/>
                  </a:lnTo>
                  <a:lnTo>
                    <a:pt x="3120" y="695"/>
                  </a:lnTo>
                  <a:lnTo>
                    <a:pt x="3120" y="694"/>
                  </a:lnTo>
                  <a:lnTo>
                    <a:pt x="3120" y="694"/>
                  </a:lnTo>
                  <a:lnTo>
                    <a:pt x="3118" y="692"/>
                  </a:lnTo>
                  <a:lnTo>
                    <a:pt x="3118" y="692"/>
                  </a:lnTo>
                  <a:lnTo>
                    <a:pt x="3115" y="694"/>
                  </a:lnTo>
                  <a:lnTo>
                    <a:pt x="3115" y="694"/>
                  </a:lnTo>
                  <a:lnTo>
                    <a:pt x="3115" y="694"/>
                  </a:lnTo>
                  <a:lnTo>
                    <a:pt x="3115" y="694"/>
                  </a:lnTo>
                  <a:lnTo>
                    <a:pt x="3112" y="698"/>
                  </a:lnTo>
                  <a:lnTo>
                    <a:pt x="3112" y="698"/>
                  </a:lnTo>
                  <a:lnTo>
                    <a:pt x="3110" y="700"/>
                  </a:lnTo>
                  <a:lnTo>
                    <a:pt x="3110" y="700"/>
                  </a:lnTo>
                  <a:lnTo>
                    <a:pt x="3108" y="700"/>
                  </a:lnTo>
                  <a:lnTo>
                    <a:pt x="3108" y="700"/>
                  </a:lnTo>
                  <a:lnTo>
                    <a:pt x="3102" y="700"/>
                  </a:lnTo>
                  <a:lnTo>
                    <a:pt x="3102" y="700"/>
                  </a:lnTo>
                  <a:lnTo>
                    <a:pt x="3099" y="698"/>
                  </a:lnTo>
                  <a:lnTo>
                    <a:pt x="3099" y="697"/>
                  </a:lnTo>
                  <a:lnTo>
                    <a:pt x="3099" y="697"/>
                  </a:lnTo>
                  <a:lnTo>
                    <a:pt x="3098" y="692"/>
                  </a:lnTo>
                  <a:lnTo>
                    <a:pt x="3098" y="692"/>
                  </a:lnTo>
                  <a:lnTo>
                    <a:pt x="3099" y="685"/>
                  </a:lnTo>
                  <a:lnTo>
                    <a:pt x="3099" y="685"/>
                  </a:lnTo>
                  <a:lnTo>
                    <a:pt x="3101" y="679"/>
                  </a:lnTo>
                  <a:lnTo>
                    <a:pt x="3101" y="679"/>
                  </a:lnTo>
                  <a:lnTo>
                    <a:pt x="3102" y="675"/>
                  </a:lnTo>
                  <a:lnTo>
                    <a:pt x="3102" y="675"/>
                  </a:lnTo>
                  <a:lnTo>
                    <a:pt x="3101" y="672"/>
                  </a:lnTo>
                  <a:lnTo>
                    <a:pt x="3101" y="672"/>
                  </a:lnTo>
                  <a:lnTo>
                    <a:pt x="3098" y="669"/>
                  </a:lnTo>
                  <a:lnTo>
                    <a:pt x="3098" y="669"/>
                  </a:lnTo>
                  <a:lnTo>
                    <a:pt x="3094" y="668"/>
                  </a:lnTo>
                  <a:lnTo>
                    <a:pt x="3094"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4" y="666"/>
                  </a:lnTo>
                  <a:lnTo>
                    <a:pt x="3094" y="666"/>
                  </a:lnTo>
                  <a:lnTo>
                    <a:pt x="3095" y="666"/>
                  </a:lnTo>
                  <a:lnTo>
                    <a:pt x="3095" y="666"/>
                  </a:lnTo>
                  <a:lnTo>
                    <a:pt x="3095" y="666"/>
                  </a:lnTo>
                  <a:lnTo>
                    <a:pt x="3102" y="668"/>
                  </a:lnTo>
                  <a:lnTo>
                    <a:pt x="3102" y="668"/>
                  </a:lnTo>
                  <a:lnTo>
                    <a:pt x="3111" y="669"/>
                  </a:lnTo>
                  <a:lnTo>
                    <a:pt x="3111" y="669"/>
                  </a:lnTo>
                  <a:lnTo>
                    <a:pt x="3114" y="671"/>
                  </a:lnTo>
                  <a:lnTo>
                    <a:pt x="3114" y="671"/>
                  </a:lnTo>
                  <a:lnTo>
                    <a:pt x="3117" y="672"/>
                  </a:lnTo>
                  <a:lnTo>
                    <a:pt x="3121" y="672"/>
                  </a:lnTo>
                  <a:lnTo>
                    <a:pt x="3121" y="672"/>
                  </a:lnTo>
                  <a:lnTo>
                    <a:pt x="3123" y="672"/>
                  </a:lnTo>
                  <a:lnTo>
                    <a:pt x="3123" y="672"/>
                  </a:lnTo>
                  <a:lnTo>
                    <a:pt x="3134" y="669"/>
                  </a:lnTo>
                  <a:lnTo>
                    <a:pt x="3134" y="669"/>
                  </a:lnTo>
                  <a:lnTo>
                    <a:pt x="3146" y="662"/>
                  </a:lnTo>
                  <a:lnTo>
                    <a:pt x="3146" y="662"/>
                  </a:lnTo>
                  <a:lnTo>
                    <a:pt x="3152" y="658"/>
                  </a:lnTo>
                  <a:lnTo>
                    <a:pt x="3154" y="652"/>
                  </a:lnTo>
                  <a:lnTo>
                    <a:pt x="3154" y="652"/>
                  </a:lnTo>
                  <a:lnTo>
                    <a:pt x="3157" y="645"/>
                  </a:lnTo>
                  <a:lnTo>
                    <a:pt x="3157" y="645"/>
                  </a:lnTo>
                  <a:lnTo>
                    <a:pt x="3157" y="640"/>
                  </a:lnTo>
                  <a:lnTo>
                    <a:pt x="3157" y="640"/>
                  </a:lnTo>
                  <a:lnTo>
                    <a:pt x="3157" y="634"/>
                  </a:lnTo>
                  <a:lnTo>
                    <a:pt x="3157" y="634"/>
                  </a:lnTo>
                  <a:lnTo>
                    <a:pt x="3156" y="633"/>
                  </a:lnTo>
                  <a:lnTo>
                    <a:pt x="3153" y="630"/>
                  </a:lnTo>
                  <a:lnTo>
                    <a:pt x="3153" y="630"/>
                  </a:lnTo>
                  <a:lnTo>
                    <a:pt x="3153" y="633"/>
                  </a:lnTo>
                  <a:lnTo>
                    <a:pt x="3154" y="631"/>
                  </a:lnTo>
                  <a:lnTo>
                    <a:pt x="3154" y="631"/>
                  </a:lnTo>
                  <a:lnTo>
                    <a:pt x="3153" y="630"/>
                  </a:lnTo>
                  <a:lnTo>
                    <a:pt x="3153" y="633"/>
                  </a:lnTo>
                  <a:lnTo>
                    <a:pt x="3154" y="631"/>
                  </a:lnTo>
                  <a:lnTo>
                    <a:pt x="3153" y="633"/>
                  </a:lnTo>
                  <a:lnTo>
                    <a:pt x="3154" y="631"/>
                  </a:lnTo>
                  <a:lnTo>
                    <a:pt x="3154" y="631"/>
                  </a:lnTo>
                  <a:lnTo>
                    <a:pt x="3153" y="633"/>
                  </a:lnTo>
                  <a:lnTo>
                    <a:pt x="3154" y="631"/>
                  </a:lnTo>
                  <a:lnTo>
                    <a:pt x="3154" y="631"/>
                  </a:lnTo>
                  <a:lnTo>
                    <a:pt x="3154" y="631"/>
                  </a:lnTo>
                  <a:lnTo>
                    <a:pt x="3154" y="631"/>
                  </a:lnTo>
                  <a:lnTo>
                    <a:pt x="3154" y="631"/>
                  </a:lnTo>
                  <a:lnTo>
                    <a:pt x="3154" y="631"/>
                  </a:lnTo>
                  <a:lnTo>
                    <a:pt x="3154" y="631"/>
                  </a:lnTo>
                  <a:lnTo>
                    <a:pt x="3154" y="631"/>
                  </a:lnTo>
                  <a:lnTo>
                    <a:pt x="3154" y="627"/>
                  </a:lnTo>
                  <a:lnTo>
                    <a:pt x="3154" y="627"/>
                  </a:lnTo>
                  <a:lnTo>
                    <a:pt x="3157" y="618"/>
                  </a:lnTo>
                  <a:lnTo>
                    <a:pt x="3157" y="618"/>
                  </a:lnTo>
                  <a:lnTo>
                    <a:pt x="3159" y="613"/>
                  </a:lnTo>
                  <a:lnTo>
                    <a:pt x="3159" y="613"/>
                  </a:lnTo>
                  <a:lnTo>
                    <a:pt x="3157" y="611"/>
                  </a:lnTo>
                  <a:lnTo>
                    <a:pt x="3157" y="613"/>
                  </a:lnTo>
                  <a:lnTo>
                    <a:pt x="3159" y="613"/>
                  </a:lnTo>
                  <a:lnTo>
                    <a:pt x="3157" y="611"/>
                  </a:lnTo>
                  <a:lnTo>
                    <a:pt x="3157" y="613"/>
                  </a:lnTo>
                  <a:lnTo>
                    <a:pt x="3157" y="611"/>
                  </a:lnTo>
                  <a:lnTo>
                    <a:pt x="3157" y="613"/>
                  </a:lnTo>
                  <a:lnTo>
                    <a:pt x="3157" y="613"/>
                  </a:lnTo>
                  <a:lnTo>
                    <a:pt x="3157" y="611"/>
                  </a:lnTo>
                  <a:lnTo>
                    <a:pt x="3157" y="613"/>
                  </a:lnTo>
                  <a:lnTo>
                    <a:pt x="3157" y="613"/>
                  </a:lnTo>
                  <a:lnTo>
                    <a:pt x="3156" y="613"/>
                  </a:lnTo>
                  <a:lnTo>
                    <a:pt x="3157" y="613"/>
                  </a:lnTo>
                  <a:lnTo>
                    <a:pt x="3157" y="613"/>
                  </a:lnTo>
                  <a:lnTo>
                    <a:pt x="3156" y="613"/>
                  </a:lnTo>
                  <a:lnTo>
                    <a:pt x="3156" y="613"/>
                  </a:lnTo>
                  <a:lnTo>
                    <a:pt x="3157" y="614"/>
                  </a:lnTo>
                  <a:lnTo>
                    <a:pt x="3157" y="614"/>
                  </a:lnTo>
                  <a:lnTo>
                    <a:pt x="3160" y="617"/>
                  </a:lnTo>
                  <a:lnTo>
                    <a:pt x="3162" y="617"/>
                  </a:lnTo>
                  <a:lnTo>
                    <a:pt x="3160" y="617"/>
                  </a:lnTo>
                  <a:lnTo>
                    <a:pt x="3160" y="617"/>
                  </a:lnTo>
                  <a:lnTo>
                    <a:pt x="3163" y="618"/>
                  </a:lnTo>
                  <a:lnTo>
                    <a:pt x="3163" y="620"/>
                  </a:lnTo>
                  <a:lnTo>
                    <a:pt x="3163" y="620"/>
                  </a:lnTo>
                  <a:lnTo>
                    <a:pt x="3163" y="620"/>
                  </a:lnTo>
                  <a:lnTo>
                    <a:pt x="3163" y="620"/>
                  </a:lnTo>
                  <a:lnTo>
                    <a:pt x="3163" y="620"/>
                  </a:lnTo>
                  <a:lnTo>
                    <a:pt x="3163" y="620"/>
                  </a:lnTo>
                  <a:lnTo>
                    <a:pt x="3163" y="620"/>
                  </a:lnTo>
                  <a:lnTo>
                    <a:pt x="3163" y="620"/>
                  </a:lnTo>
                  <a:lnTo>
                    <a:pt x="3163" y="620"/>
                  </a:lnTo>
                  <a:lnTo>
                    <a:pt x="3160" y="623"/>
                  </a:lnTo>
                  <a:lnTo>
                    <a:pt x="3160" y="623"/>
                  </a:lnTo>
                  <a:lnTo>
                    <a:pt x="3160" y="624"/>
                  </a:lnTo>
                  <a:lnTo>
                    <a:pt x="3160" y="624"/>
                  </a:lnTo>
                  <a:lnTo>
                    <a:pt x="3162" y="629"/>
                  </a:lnTo>
                  <a:lnTo>
                    <a:pt x="3163" y="633"/>
                  </a:lnTo>
                  <a:lnTo>
                    <a:pt x="3163" y="633"/>
                  </a:lnTo>
                  <a:lnTo>
                    <a:pt x="3163" y="633"/>
                  </a:lnTo>
                  <a:lnTo>
                    <a:pt x="3163" y="633"/>
                  </a:lnTo>
                  <a:lnTo>
                    <a:pt x="3166" y="639"/>
                  </a:lnTo>
                  <a:lnTo>
                    <a:pt x="3166" y="639"/>
                  </a:lnTo>
                  <a:lnTo>
                    <a:pt x="3169" y="640"/>
                  </a:lnTo>
                  <a:lnTo>
                    <a:pt x="3172" y="643"/>
                  </a:lnTo>
                  <a:lnTo>
                    <a:pt x="3172" y="643"/>
                  </a:lnTo>
                  <a:lnTo>
                    <a:pt x="3175" y="645"/>
                  </a:lnTo>
                  <a:lnTo>
                    <a:pt x="3175" y="645"/>
                  </a:lnTo>
                  <a:lnTo>
                    <a:pt x="3192" y="645"/>
                  </a:lnTo>
                  <a:lnTo>
                    <a:pt x="3192" y="645"/>
                  </a:lnTo>
                  <a:lnTo>
                    <a:pt x="3201" y="646"/>
                  </a:lnTo>
                  <a:lnTo>
                    <a:pt x="3201" y="646"/>
                  </a:lnTo>
                  <a:lnTo>
                    <a:pt x="3205" y="646"/>
                  </a:lnTo>
                  <a:lnTo>
                    <a:pt x="3205" y="646"/>
                  </a:lnTo>
                  <a:lnTo>
                    <a:pt x="3207" y="646"/>
                  </a:lnTo>
                  <a:lnTo>
                    <a:pt x="3207" y="646"/>
                  </a:lnTo>
                  <a:lnTo>
                    <a:pt x="3208" y="650"/>
                  </a:lnTo>
                  <a:lnTo>
                    <a:pt x="3208" y="650"/>
                  </a:lnTo>
                  <a:lnTo>
                    <a:pt x="3209" y="656"/>
                  </a:lnTo>
                  <a:lnTo>
                    <a:pt x="3209" y="656"/>
                  </a:lnTo>
                  <a:lnTo>
                    <a:pt x="3209" y="656"/>
                  </a:lnTo>
                  <a:lnTo>
                    <a:pt x="3209" y="656"/>
                  </a:lnTo>
                  <a:lnTo>
                    <a:pt x="3209" y="656"/>
                  </a:lnTo>
                  <a:lnTo>
                    <a:pt x="3209" y="656"/>
                  </a:lnTo>
                  <a:lnTo>
                    <a:pt x="3209" y="656"/>
                  </a:lnTo>
                  <a:lnTo>
                    <a:pt x="3209" y="656"/>
                  </a:lnTo>
                  <a:lnTo>
                    <a:pt x="3209" y="656"/>
                  </a:lnTo>
                  <a:lnTo>
                    <a:pt x="3209" y="656"/>
                  </a:lnTo>
                  <a:lnTo>
                    <a:pt x="3208" y="659"/>
                  </a:lnTo>
                  <a:lnTo>
                    <a:pt x="3207" y="662"/>
                  </a:lnTo>
                  <a:lnTo>
                    <a:pt x="3207" y="662"/>
                  </a:lnTo>
                  <a:lnTo>
                    <a:pt x="3208" y="665"/>
                  </a:lnTo>
                  <a:lnTo>
                    <a:pt x="3209" y="668"/>
                  </a:lnTo>
                  <a:lnTo>
                    <a:pt x="3209" y="668"/>
                  </a:lnTo>
                  <a:lnTo>
                    <a:pt x="3214" y="672"/>
                  </a:lnTo>
                  <a:lnTo>
                    <a:pt x="3214" y="672"/>
                  </a:lnTo>
                  <a:lnTo>
                    <a:pt x="3220" y="673"/>
                  </a:lnTo>
                  <a:lnTo>
                    <a:pt x="3220" y="673"/>
                  </a:lnTo>
                  <a:lnTo>
                    <a:pt x="3230" y="675"/>
                  </a:lnTo>
                  <a:lnTo>
                    <a:pt x="3230" y="675"/>
                  </a:lnTo>
                  <a:lnTo>
                    <a:pt x="3238" y="676"/>
                  </a:lnTo>
                  <a:lnTo>
                    <a:pt x="3238" y="676"/>
                  </a:lnTo>
                  <a:lnTo>
                    <a:pt x="3241" y="678"/>
                  </a:lnTo>
                  <a:lnTo>
                    <a:pt x="3244" y="681"/>
                  </a:lnTo>
                  <a:lnTo>
                    <a:pt x="3244" y="681"/>
                  </a:lnTo>
                  <a:lnTo>
                    <a:pt x="3247" y="684"/>
                  </a:lnTo>
                  <a:lnTo>
                    <a:pt x="3253" y="687"/>
                  </a:lnTo>
                  <a:lnTo>
                    <a:pt x="3253" y="687"/>
                  </a:lnTo>
                  <a:lnTo>
                    <a:pt x="3256" y="687"/>
                  </a:lnTo>
                  <a:lnTo>
                    <a:pt x="3256" y="687"/>
                  </a:lnTo>
                  <a:lnTo>
                    <a:pt x="3262" y="685"/>
                  </a:lnTo>
                  <a:lnTo>
                    <a:pt x="3266" y="684"/>
                  </a:lnTo>
                  <a:lnTo>
                    <a:pt x="3266" y="684"/>
                  </a:lnTo>
                  <a:lnTo>
                    <a:pt x="3270" y="681"/>
                  </a:lnTo>
                  <a:lnTo>
                    <a:pt x="3270" y="681"/>
                  </a:lnTo>
                  <a:lnTo>
                    <a:pt x="3272" y="678"/>
                  </a:lnTo>
                  <a:lnTo>
                    <a:pt x="3272" y="676"/>
                  </a:lnTo>
                  <a:lnTo>
                    <a:pt x="3272" y="676"/>
                  </a:lnTo>
                  <a:lnTo>
                    <a:pt x="3272" y="673"/>
                  </a:lnTo>
                  <a:lnTo>
                    <a:pt x="3270" y="671"/>
                  </a:lnTo>
                  <a:lnTo>
                    <a:pt x="3270" y="671"/>
                  </a:lnTo>
                  <a:lnTo>
                    <a:pt x="3267" y="669"/>
                  </a:lnTo>
                  <a:lnTo>
                    <a:pt x="3265" y="669"/>
                  </a:lnTo>
                  <a:lnTo>
                    <a:pt x="3265" y="669"/>
                  </a:lnTo>
                  <a:lnTo>
                    <a:pt x="3262" y="671"/>
                  </a:lnTo>
                  <a:lnTo>
                    <a:pt x="3260" y="671"/>
                  </a:lnTo>
                  <a:lnTo>
                    <a:pt x="3260" y="671"/>
                  </a:lnTo>
                  <a:lnTo>
                    <a:pt x="3260" y="671"/>
                  </a:lnTo>
                  <a:lnTo>
                    <a:pt x="3260" y="671"/>
                  </a:lnTo>
                  <a:lnTo>
                    <a:pt x="3260" y="671"/>
                  </a:lnTo>
                  <a:lnTo>
                    <a:pt x="3262" y="671"/>
                  </a:lnTo>
                  <a:lnTo>
                    <a:pt x="3262" y="671"/>
                  </a:lnTo>
                  <a:lnTo>
                    <a:pt x="3260" y="671"/>
                  </a:lnTo>
                  <a:lnTo>
                    <a:pt x="3262" y="671"/>
                  </a:lnTo>
                  <a:lnTo>
                    <a:pt x="3262" y="671"/>
                  </a:lnTo>
                  <a:lnTo>
                    <a:pt x="3262" y="672"/>
                  </a:lnTo>
                  <a:lnTo>
                    <a:pt x="3262" y="671"/>
                  </a:lnTo>
                  <a:lnTo>
                    <a:pt x="3262" y="671"/>
                  </a:lnTo>
                  <a:lnTo>
                    <a:pt x="3262" y="672"/>
                  </a:lnTo>
                  <a:lnTo>
                    <a:pt x="3262" y="671"/>
                  </a:lnTo>
                  <a:lnTo>
                    <a:pt x="3262" y="671"/>
                  </a:lnTo>
                  <a:lnTo>
                    <a:pt x="3262" y="671"/>
                  </a:lnTo>
                  <a:lnTo>
                    <a:pt x="3262" y="671"/>
                  </a:lnTo>
                  <a:lnTo>
                    <a:pt x="3262" y="671"/>
                  </a:lnTo>
                  <a:lnTo>
                    <a:pt x="3262" y="671"/>
                  </a:lnTo>
                  <a:lnTo>
                    <a:pt x="3262" y="669"/>
                  </a:lnTo>
                  <a:lnTo>
                    <a:pt x="3262" y="669"/>
                  </a:lnTo>
                  <a:lnTo>
                    <a:pt x="3260" y="666"/>
                  </a:lnTo>
                  <a:lnTo>
                    <a:pt x="3260" y="666"/>
                  </a:lnTo>
                  <a:lnTo>
                    <a:pt x="3260" y="666"/>
                  </a:lnTo>
                  <a:lnTo>
                    <a:pt x="3260" y="666"/>
                  </a:lnTo>
                  <a:lnTo>
                    <a:pt x="3260" y="666"/>
                  </a:lnTo>
                  <a:lnTo>
                    <a:pt x="3260" y="666"/>
                  </a:lnTo>
                  <a:lnTo>
                    <a:pt x="3260" y="666"/>
                  </a:lnTo>
                  <a:lnTo>
                    <a:pt x="3260" y="666"/>
                  </a:lnTo>
                  <a:lnTo>
                    <a:pt x="3259" y="666"/>
                  </a:lnTo>
                  <a:lnTo>
                    <a:pt x="3260" y="668"/>
                  </a:lnTo>
                  <a:lnTo>
                    <a:pt x="3260" y="666"/>
                  </a:lnTo>
                  <a:lnTo>
                    <a:pt x="3259" y="666"/>
                  </a:lnTo>
                  <a:lnTo>
                    <a:pt x="3260" y="668"/>
                  </a:lnTo>
                  <a:lnTo>
                    <a:pt x="3259" y="666"/>
                  </a:lnTo>
                  <a:lnTo>
                    <a:pt x="3260" y="668"/>
                  </a:lnTo>
                  <a:lnTo>
                    <a:pt x="3260" y="668"/>
                  </a:lnTo>
                  <a:lnTo>
                    <a:pt x="3259" y="666"/>
                  </a:lnTo>
                  <a:lnTo>
                    <a:pt x="3260" y="668"/>
                  </a:lnTo>
                  <a:lnTo>
                    <a:pt x="3260" y="668"/>
                  </a:lnTo>
                  <a:lnTo>
                    <a:pt x="3263" y="666"/>
                  </a:lnTo>
                  <a:lnTo>
                    <a:pt x="3263" y="666"/>
                  </a:lnTo>
                  <a:lnTo>
                    <a:pt x="3267" y="665"/>
                  </a:lnTo>
                  <a:lnTo>
                    <a:pt x="3267" y="665"/>
                  </a:lnTo>
                  <a:lnTo>
                    <a:pt x="3269" y="665"/>
                  </a:lnTo>
                  <a:lnTo>
                    <a:pt x="3270" y="662"/>
                  </a:lnTo>
                  <a:lnTo>
                    <a:pt x="3270" y="662"/>
                  </a:lnTo>
                  <a:lnTo>
                    <a:pt x="3270" y="659"/>
                  </a:lnTo>
                  <a:lnTo>
                    <a:pt x="3270" y="659"/>
                  </a:lnTo>
                  <a:lnTo>
                    <a:pt x="3270" y="653"/>
                  </a:lnTo>
                  <a:lnTo>
                    <a:pt x="3270" y="653"/>
                  </a:lnTo>
                  <a:lnTo>
                    <a:pt x="3269" y="647"/>
                  </a:lnTo>
                  <a:lnTo>
                    <a:pt x="3269" y="647"/>
                  </a:lnTo>
                  <a:lnTo>
                    <a:pt x="3269" y="643"/>
                  </a:lnTo>
                  <a:lnTo>
                    <a:pt x="3269" y="643"/>
                  </a:lnTo>
                  <a:lnTo>
                    <a:pt x="3267" y="640"/>
                  </a:lnTo>
                  <a:lnTo>
                    <a:pt x="3267" y="640"/>
                  </a:lnTo>
                  <a:lnTo>
                    <a:pt x="3266" y="640"/>
                  </a:lnTo>
                  <a:lnTo>
                    <a:pt x="3267" y="640"/>
                  </a:lnTo>
                  <a:lnTo>
                    <a:pt x="3267" y="640"/>
                  </a:lnTo>
                  <a:lnTo>
                    <a:pt x="3266" y="640"/>
                  </a:lnTo>
                  <a:lnTo>
                    <a:pt x="3267" y="640"/>
                  </a:lnTo>
                  <a:lnTo>
                    <a:pt x="3266" y="639"/>
                  </a:lnTo>
                  <a:lnTo>
                    <a:pt x="3266" y="642"/>
                  </a:lnTo>
                  <a:lnTo>
                    <a:pt x="3266" y="642"/>
                  </a:lnTo>
                  <a:lnTo>
                    <a:pt x="3267" y="640"/>
                  </a:lnTo>
                  <a:lnTo>
                    <a:pt x="3266" y="639"/>
                  </a:lnTo>
                  <a:lnTo>
                    <a:pt x="3266" y="642"/>
                  </a:lnTo>
                  <a:lnTo>
                    <a:pt x="3266" y="642"/>
                  </a:lnTo>
                  <a:lnTo>
                    <a:pt x="3269" y="642"/>
                  </a:lnTo>
                  <a:lnTo>
                    <a:pt x="3269" y="642"/>
                  </a:lnTo>
                  <a:lnTo>
                    <a:pt x="3283" y="643"/>
                  </a:lnTo>
                  <a:lnTo>
                    <a:pt x="3283" y="643"/>
                  </a:lnTo>
                  <a:lnTo>
                    <a:pt x="3286" y="642"/>
                  </a:lnTo>
                  <a:lnTo>
                    <a:pt x="3286" y="642"/>
                  </a:lnTo>
                  <a:lnTo>
                    <a:pt x="3288" y="640"/>
                  </a:lnTo>
                  <a:lnTo>
                    <a:pt x="3288" y="639"/>
                  </a:lnTo>
                  <a:lnTo>
                    <a:pt x="3288" y="639"/>
                  </a:lnTo>
                  <a:lnTo>
                    <a:pt x="3286" y="634"/>
                  </a:lnTo>
                  <a:lnTo>
                    <a:pt x="3286" y="634"/>
                  </a:lnTo>
                  <a:lnTo>
                    <a:pt x="3285" y="630"/>
                  </a:lnTo>
                  <a:lnTo>
                    <a:pt x="3285" y="630"/>
                  </a:lnTo>
                  <a:lnTo>
                    <a:pt x="3285" y="630"/>
                  </a:lnTo>
                  <a:lnTo>
                    <a:pt x="3285" y="630"/>
                  </a:lnTo>
                  <a:lnTo>
                    <a:pt x="3285" y="630"/>
                  </a:lnTo>
                  <a:lnTo>
                    <a:pt x="3285" y="630"/>
                  </a:lnTo>
                  <a:lnTo>
                    <a:pt x="3285" y="630"/>
                  </a:lnTo>
                  <a:lnTo>
                    <a:pt x="3285" y="630"/>
                  </a:lnTo>
                  <a:lnTo>
                    <a:pt x="3283" y="630"/>
                  </a:lnTo>
                  <a:lnTo>
                    <a:pt x="3285" y="631"/>
                  </a:lnTo>
                  <a:lnTo>
                    <a:pt x="3285" y="631"/>
                  </a:lnTo>
                  <a:lnTo>
                    <a:pt x="3285" y="630"/>
                  </a:lnTo>
                  <a:lnTo>
                    <a:pt x="3283" y="630"/>
                  </a:lnTo>
                  <a:lnTo>
                    <a:pt x="3285" y="631"/>
                  </a:lnTo>
                  <a:lnTo>
                    <a:pt x="3283" y="630"/>
                  </a:lnTo>
                  <a:lnTo>
                    <a:pt x="3283" y="631"/>
                  </a:lnTo>
                  <a:lnTo>
                    <a:pt x="3283" y="631"/>
                  </a:lnTo>
                  <a:lnTo>
                    <a:pt x="3285" y="631"/>
                  </a:lnTo>
                  <a:lnTo>
                    <a:pt x="3283" y="630"/>
                  </a:lnTo>
                  <a:lnTo>
                    <a:pt x="3283" y="631"/>
                  </a:lnTo>
                  <a:lnTo>
                    <a:pt x="3283" y="630"/>
                  </a:lnTo>
                  <a:lnTo>
                    <a:pt x="3282" y="631"/>
                  </a:lnTo>
                  <a:lnTo>
                    <a:pt x="3283" y="631"/>
                  </a:lnTo>
                  <a:lnTo>
                    <a:pt x="3283" y="630"/>
                  </a:lnTo>
                  <a:lnTo>
                    <a:pt x="3282" y="631"/>
                  </a:lnTo>
                  <a:lnTo>
                    <a:pt x="3282" y="631"/>
                  </a:lnTo>
                  <a:lnTo>
                    <a:pt x="3282" y="631"/>
                  </a:lnTo>
                  <a:lnTo>
                    <a:pt x="3282" y="631"/>
                  </a:lnTo>
                  <a:lnTo>
                    <a:pt x="3282" y="631"/>
                  </a:lnTo>
                  <a:lnTo>
                    <a:pt x="3282" y="631"/>
                  </a:lnTo>
                  <a:lnTo>
                    <a:pt x="3282" y="631"/>
                  </a:lnTo>
                  <a:lnTo>
                    <a:pt x="3283" y="633"/>
                  </a:lnTo>
                  <a:lnTo>
                    <a:pt x="3283" y="633"/>
                  </a:lnTo>
                  <a:lnTo>
                    <a:pt x="3288" y="637"/>
                  </a:lnTo>
                  <a:lnTo>
                    <a:pt x="3288" y="637"/>
                  </a:lnTo>
                  <a:lnTo>
                    <a:pt x="3292" y="640"/>
                  </a:lnTo>
                  <a:lnTo>
                    <a:pt x="3292" y="640"/>
                  </a:lnTo>
                  <a:lnTo>
                    <a:pt x="3295" y="642"/>
                  </a:lnTo>
                  <a:lnTo>
                    <a:pt x="3295" y="642"/>
                  </a:lnTo>
                  <a:lnTo>
                    <a:pt x="3298" y="640"/>
                  </a:lnTo>
                  <a:lnTo>
                    <a:pt x="3298" y="640"/>
                  </a:lnTo>
                  <a:lnTo>
                    <a:pt x="3299" y="639"/>
                  </a:lnTo>
                  <a:lnTo>
                    <a:pt x="3299" y="639"/>
                  </a:lnTo>
                  <a:lnTo>
                    <a:pt x="3301" y="634"/>
                  </a:lnTo>
                  <a:lnTo>
                    <a:pt x="3301" y="634"/>
                  </a:lnTo>
                  <a:lnTo>
                    <a:pt x="3301" y="631"/>
                  </a:lnTo>
                  <a:lnTo>
                    <a:pt x="3301" y="631"/>
                  </a:lnTo>
                  <a:lnTo>
                    <a:pt x="3305" y="626"/>
                  </a:lnTo>
                  <a:lnTo>
                    <a:pt x="3305" y="626"/>
                  </a:lnTo>
                  <a:lnTo>
                    <a:pt x="3308" y="624"/>
                  </a:lnTo>
                  <a:lnTo>
                    <a:pt x="3308" y="624"/>
                  </a:lnTo>
                  <a:lnTo>
                    <a:pt x="3311" y="623"/>
                  </a:lnTo>
                  <a:lnTo>
                    <a:pt x="3311" y="623"/>
                  </a:lnTo>
                  <a:lnTo>
                    <a:pt x="3312" y="621"/>
                  </a:lnTo>
                  <a:lnTo>
                    <a:pt x="3312" y="620"/>
                  </a:lnTo>
                  <a:lnTo>
                    <a:pt x="3312" y="620"/>
                  </a:lnTo>
                  <a:lnTo>
                    <a:pt x="3311" y="617"/>
                  </a:lnTo>
                  <a:lnTo>
                    <a:pt x="3311" y="617"/>
                  </a:lnTo>
                  <a:lnTo>
                    <a:pt x="3308" y="614"/>
                  </a:lnTo>
                  <a:lnTo>
                    <a:pt x="3308" y="614"/>
                  </a:lnTo>
                  <a:lnTo>
                    <a:pt x="3302" y="611"/>
                  </a:lnTo>
                  <a:lnTo>
                    <a:pt x="3302" y="611"/>
                  </a:lnTo>
                  <a:lnTo>
                    <a:pt x="3298" y="608"/>
                  </a:lnTo>
                  <a:lnTo>
                    <a:pt x="3296" y="604"/>
                  </a:lnTo>
                  <a:lnTo>
                    <a:pt x="3296" y="604"/>
                  </a:lnTo>
                  <a:lnTo>
                    <a:pt x="3293" y="595"/>
                  </a:lnTo>
                  <a:lnTo>
                    <a:pt x="3293" y="595"/>
                  </a:lnTo>
                  <a:lnTo>
                    <a:pt x="3292" y="592"/>
                  </a:lnTo>
                  <a:lnTo>
                    <a:pt x="3292" y="592"/>
                  </a:lnTo>
                  <a:lnTo>
                    <a:pt x="3289" y="591"/>
                  </a:lnTo>
                  <a:lnTo>
                    <a:pt x="3289" y="591"/>
                  </a:lnTo>
                  <a:lnTo>
                    <a:pt x="3286" y="592"/>
                  </a:lnTo>
                  <a:lnTo>
                    <a:pt x="3286" y="592"/>
                  </a:lnTo>
                  <a:lnTo>
                    <a:pt x="3283" y="594"/>
                  </a:lnTo>
                  <a:lnTo>
                    <a:pt x="3283" y="594"/>
                  </a:lnTo>
                  <a:lnTo>
                    <a:pt x="3283" y="595"/>
                  </a:lnTo>
                  <a:lnTo>
                    <a:pt x="3283" y="594"/>
                  </a:lnTo>
                  <a:lnTo>
                    <a:pt x="3283" y="594"/>
                  </a:lnTo>
                  <a:lnTo>
                    <a:pt x="3283" y="595"/>
                  </a:lnTo>
                  <a:lnTo>
                    <a:pt x="3283" y="594"/>
                  </a:lnTo>
                  <a:lnTo>
                    <a:pt x="3283" y="595"/>
                  </a:lnTo>
                  <a:lnTo>
                    <a:pt x="3285" y="594"/>
                  </a:lnTo>
                  <a:lnTo>
                    <a:pt x="3283" y="594"/>
                  </a:lnTo>
                  <a:lnTo>
                    <a:pt x="3283" y="595"/>
                  </a:lnTo>
                  <a:lnTo>
                    <a:pt x="3285" y="594"/>
                  </a:lnTo>
                  <a:lnTo>
                    <a:pt x="3285" y="594"/>
                  </a:lnTo>
                  <a:lnTo>
                    <a:pt x="3285" y="594"/>
                  </a:lnTo>
                  <a:lnTo>
                    <a:pt x="3285" y="594"/>
                  </a:lnTo>
                  <a:lnTo>
                    <a:pt x="3285" y="594"/>
                  </a:lnTo>
                  <a:lnTo>
                    <a:pt x="3285" y="594"/>
                  </a:lnTo>
                  <a:lnTo>
                    <a:pt x="3285" y="594"/>
                  </a:lnTo>
                  <a:lnTo>
                    <a:pt x="3283" y="592"/>
                  </a:lnTo>
                  <a:lnTo>
                    <a:pt x="3283" y="592"/>
                  </a:lnTo>
                  <a:lnTo>
                    <a:pt x="3282" y="585"/>
                  </a:lnTo>
                  <a:lnTo>
                    <a:pt x="3282" y="585"/>
                  </a:lnTo>
                  <a:lnTo>
                    <a:pt x="3280" y="582"/>
                  </a:lnTo>
                  <a:lnTo>
                    <a:pt x="3280" y="582"/>
                  </a:lnTo>
                  <a:lnTo>
                    <a:pt x="3279" y="581"/>
                  </a:lnTo>
                  <a:lnTo>
                    <a:pt x="3279" y="581"/>
                  </a:lnTo>
                  <a:lnTo>
                    <a:pt x="3276" y="581"/>
                  </a:lnTo>
                  <a:lnTo>
                    <a:pt x="3276" y="581"/>
                  </a:lnTo>
                  <a:lnTo>
                    <a:pt x="3276" y="581"/>
                  </a:lnTo>
                  <a:lnTo>
                    <a:pt x="3276" y="581"/>
                  </a:lnTo>
                  <a:lnTo>
                    <a:pt x="3270" y="579"/>
                  </a:lnTo>
                  <a:lnTo>
                    <a:pt x="3270" y="579"/>
                  </a:lnTo>
                  <a:lnTo>
                    <a:pt x="3265" y="578"/>
                  </a:lnTo>
                  <a:lnTo>
                    <a:pt x="3265" y="578"/>
                  </a:lnTo>
                  <a:lnTo>
                    <a:pt x="3263" y="578"/>
                  </a:lnTo>
                  <a:lnTo>
                    <a:pt x="3263" y="578"/>
                  </a:lnTo>
                  <a:lnTo>
                    <a:pt x="3263" y="578"/>
                  </a:lnTo>
                  <a:lnTo>
                    <a:pt x="3263" y="578"/>
                  </a:lnTo>
                  <a:lnTo>
                    <a:pt x="3263" y="578"/>
                  </a:lnTo>
                  <a:lnTo>
                    <a:pt x="3263" y="578"/>
                  </a:lnTo>
                  <a:lnTo>
                    <a:pt x="3262" y="578"/>
                  </a:lnTo>
                  <a:lnTo>
                    <a:pt x="3262" y="578"/>
                  </a:lnTo>
                  <a:lnTo>
                    <a:pt x="3253" y="576"/>
                  </a:lnTo>
                  <a:lnTo>
                    <a:pt x="3253" y="576"/>
                  </a:lnTo>
                  <a:lnTo>
                    <a:pt x="3249" y="578"/>
                  </a:lnTo>
                  <a:lnTo>
                    <a:pt x="3249" y="578"/>
                  </a:lnTo>
                  <a:lnTo>
                    <a:pt x="3246" y="579"/>
                  </a:lnTo>
                  <a:lnTo>
                    <a:pt x="3246" y="579"/>
                  </a:lnTo>
                  <a:lnTo>
                    <a:pt x="3243" y="582"/>
                  </a:lnTo>
                  <a:lnTo>
                    <a:pt x="3243" y="582"/>
                  </a:lnTo>
                  <a:lnTo>
                    <a:pt x="3241" y="588"/>
                  </a:lnTo>
                  <a:lnTo>
                    <a:pt x="3241" y="588"/>
                  </a:lnTo>
                  <a:lnTo>
                    <a:pt x="3240" y="598"/>
                  </a:lnTo>
                  <a:lnTo>
                    <a:pt x="3240" y="598"/>
                  </a:lnTo>
                  <a:lnTo>
                    <a:pt x="3240" y="603"/>
                  </a:lnTo>
                  <a:lnTo>
                    <a:pt x="3240" y="603"/>
                  </a:lnTo>
                  <a:lnTo>
                    <a:pt x="3240" y="604"/>
                  </a:lnTo>
                  <a:lnTo>
                    <a:pt x="3240" y="603"/>
                  </a:lnTo>
                  <a:lnTo>
                    <a:pt x="3240" y="603"/>
                  </a:lnTo>
                  <a:lnTo>
                    <a:pt x="3240" y="604"/>
                  </a:lnTo>
                  <a:lnTo>
                    <a:pt x="3240" y="603"/>
                  </a:lnTo>
                  <a:lnTo>
                    <a:pt x="3240" y="604"/>
                  </a:lnTo>
                  <a:lnTo>
                    <a:pt x="3240" y="603"/>
                  </a:lnTo>
                  <a:lnTo>
                    <a:pt x="3240" y="603"/>
                  </a:lnTo>
                  <a:lnTo>
                    <a:pt x="3240" y="604"/>
                  </a:lnTo>
                  <a:lnTo>
                    <a:pt x="3240" y="603"/>
                  </a:lnTo>
                  <a:lnTo>
                    <a:pt x="3240" y="603"/>
                  </a:lnTo>
                  <a:lnTo>
                    <a:pt x="3241" y="604"/>
                  </a:lnTo>
                  <a:lnTo>
                    <a:pt x="3241" y="603"/>
                  </a:lnTo>
                  <a:lnTo>
                    <a:pt x="3240" y="603"/>
                  </a:lnTo>
                  <a:lnTo>
                    <a:pt x="3241" y="604"/>
                  </a:lnTo>
                  <a:lnTo>
                    <a:pt x="3241" y="603"/>
                  </a:lnTo>
                  <a:lnTo>
                    <a:pt x="3241" y="604"/>
                  </a:lnTo>
                  <a:lnTo>
                    <a:pt x="3241" y="603"/>
                  </a:lnTo>
                  <a:lnTo>
                    <a:pt x="3241" y="603"/>
                  </a:lnTo>
                  <a:lnTo>
                    <a:pt x="3241" y="603"/>
                  </a:lnTo>
                  <a:lnTo>
                    <a:pt x="3241" y="604"/>
                  </a:lnTo>
                  <a:lnTo>
                    <a:pt x="3241" y="603"/>
                  </a:lnTo>
                  <a:lnTo>
                    <a:pt x="3241" y="604"/>
                  </a:lnTo>
                  <a:lnTo>
                    <a:pt x="3243" y="603"/>
                  </a:lnTo>
                  <a:lnTo>
                    <a:pt x="3241" y="603"/>
                  </a:lnTo>
                  <a:lnTo>
                    <a:pt x="3241" y="604"/>
                  </a:lnTo>
                  <a:lnTo>
                    <a:pt x="3243" y="603"/>
                  </a:lnTo>
                  <a:lnTo>
                    <a:pt x="3241" y="604"/>
                  </a:lnTo>
                  <a:lnTo>
                    <a:pt x="3243" y="604"/>
                  </a:lnTo>
                  <a:lnTo>
                    <a:pt x="3243" y="603"/>
                  </a:lnTo>
                  <a:lnTo>
                    <a:pt x="3241" y="604"/>
                  </a:lnTo>
                  <a:lnTo>
                    <a:pt x="3243" y="604"/>
                  </a:lnTo>
                  <a:lnTo>
                    <a:pt x="3243" y="604"/>
                  </a:lnTo>
                  <a:lnTo>
                    <a:pt x="3241" y="600"/>
                  </a:lnTo>
                  <a:lnTo>
                    <a:pt x="3241" y="600"/>
                  </a:lnTo>
                  <a:lnTo>
                    <a:pt x="3241" y="579"/>
                  </a:lnTo>
                  <a:lnTo>
                    <a:pt x="3241" y="579"/>
                  </a:lnTo>
                  <a:lnTo>
                    <a:pt x="3241" y="568"/>
                  </a:lnTo>
                  <a:lnTo>
                    <a:pt x="3241" y="568"/>
                  </a:lnTo>
                  <a:lnTo>
                    <a:pt x="3240" y="559"/>
                  </a:lnTo>
                  <a:lnTo>
                    <a:pt x="3240" y="559"/>
                  </a:lnTo>
                  <a:lnTo>
                    <a:pt x="3237" y="555"/>
                  </a:lnTo>
                  <a:lnTo>
                    <a:pt x="3237" y="555"/>
                  </a:lnTo>
                  <a:lnTo>
                    <a:pt x="3236" y="553"/>
                  </a:lnTo>
                  <a:lnTo>
                    <a:pt x="3236" y="553"/>
                  </a:lnTo>
                  <a:lnTo>
                    <a:pt x="3234" y="552"/>
                  </a:lnTo>
                  <a:lnTo>
                    <a:pt x="3234" y="552"/>
                  </a:lnTo>
                  <a:lnTo>
                    <a:pt x="3223" y="552"/>
                  </a:lnTo>
                  <a:lnTo>
                    <a:pt x="3208" y="550"/>
                  </a:lnTo>
                  <a:lnTo>
                    <a:pt x="3208" y="550"/>
                  </a:lnTo>
                  <a:lnTo>
                    <a:pt x="3205" y="547"/>
                  </a:lnTo>
                  <a:lnTo>
                    <a:pt x="3205" y="547"/>
                  </a:lnTo>
                  <a:lnTo>
                    <a:pt x="3201" y="540"/>
                  </a:lnTo>
                  <a:lnTo>
                    <a:pt x="3201" y="540"/>
                  </a:lnTo>
                  <a:lnTo>
                    <a:pt x="3198" y="536"/>
                  </a:lnTo>
                  <a:lnTo>
                    <a:pt x="3198" y="536"/>
                  </a:lnTo>
                  <a:lnTo>
                    <a:pt x="3195" y="533"/>
                  </a:lnTo>
                  <a:lnTo>
                    <a:pt x="3194" y="533"/>
                  </a:lnTo>
                  <a:lnTo>
                    <a:pt x="3194" y="533"/>
                  </a:lnTo>
                  <a:lnTo>
                    <a:pt x="3182" y="529"/>
                  </a:lnTo>
                  <a:lnTo>
                    <a:pt x="3172" y="523"/>
                  </a:lnTo>
                  <a:lnTo>
                    <a:pt x="3172" y="523"/>
                  </a:lnTo>
                  <a:lnTo>
                    <a:pt x="3165" y="519"/>
                  </a:lnTo>
                  <a:lnTo>
                    <a:pt x="3154" y="511"/>
                  </a:lnTo>
                  <a:lnTo>
                    <a:pt x="3154" y="511"/>
                  </a:lnTo>
                  <a:lnTo>
                    <a:pt x="3149" y="508"/>
                  </a:lnTo>
                  <a:lnTo>
                    <a:pt x="3146" y="505"/>
                  </a:lnTo>
                  <a:lnTo>
                    <a:pt x="3146" y="505"/>
                  </a:lnTo>
                  <a:lnTo>
                    <a:pt x="3141" y="498"/>
                  </a:lnTo>
                  <a:lnTo>
                    <a:pt x="3141" y="498"/>
                  </a:lnTo>
                  <a:lnTo>
                    <a:pt x="3139" y="495"/>
                  </a:lnTo>
                  <a:lnTo>
                    <a:pt x="3136" y="494"/>
                  </a:lnTo>
                  <a:lnTo>
                    <a:pt x="3136" y="494"/>
                  </a:lnTo>
                  <a:lnTo>
                    <a:pt x="3131" y="494"/>
                  </a:lnTo>
                  <a:lnTo>
                    <a:pt x="3130" y="494"/>
                  </a:lnTo>
                  <a:lnTo>
                    <a:pt x="3130" y="494"/>
                  </a:lnTo>
                  <a:lnTo>
                    <a:pt x="3127" y="494"/>
                  </a:lnTo>
                  <a:lnTo>
                    <a:pt x="3127" y="492"/>
                  </a:lnTo>
                  <a:lnTo>
                    <a:pt x="3127" y="492"/>
                  </a:lnTo>
                  <a:lnTo>
                    <a:pt x="3125" y="491"/>
                  </a:lnTo>
                  <a:lnTo>
                    <a:pt x="3125" y="491"/>
                  </a:lnTo>
                  <a:lnTo>
                    <a:pt x="3124" y="484"/>
                  </a:lnTo>
                  <a:lnTo>
                    <a:pt x="3124" y="484"/>
                  </a:lnTo>
                  <a:lnTo>
                    <a:pt x="3123" y="481"/>
                  </a:lnTo>
                  <a:lnTo>
                    <a:pt x="3123" y="481"/>
                  </a:lnTo>
                  <a:lnTo>
                    <a:pt x="3120" y="478"/>
                  </a:lnTo>
                  <a:lnTo>
                    <a:pt x="3120" y="478"/>
                  </a:lnTo>
                  <a:lnTo>
                    <a:pt x="3108" y="474"/>
                  </a:lnTo>
                  <a:lnTo>
                    <a:pt x="3108" y="474"/>
                  </a:lnTo>
                  <a:lnTo>
                    <a:pt x="3097" y="469"/>
                  </a:lnTo>
                  <a:lnTo>
                    <a:pt x="3097" y="469"/>
                  </a:lnTo>
                  <a:lnTo>
                    <a:pt x="3095" y="468"/>
                  </a:lnTo>
                  <a:lnTo>
                    <a:pt x="3095" y="468"/>
                  </a:lnTo>
                  <a:lnTo>
                    <a:pt x="3091" y="462"/>
                  </a:lnTo>
                  <a:lnTo>
                    <a:pt x="3091" y="462"/>
                  </a:lnTo>
                  <a:lnTo>
                    <a:pt x="3088" y="458"/>
                  </a:lnTo>
                  <a:lnTo>
                    <a:pt x="3083" y="453"/>
                  </a:lnTo>
                  <a:lnTo>
                    <a:pt x="3083" y="453"/>
                  </a:lnTo>
                  <a:lnTo>
                    <a:pt x="3079" y="452"/>
                  </a:lnTo>
                  <a:lnTo>
                    <a:pt x="3073" y="452"/>
                  </a:lnTo>
                  <a:lnTo>
                    <a:pt x="3073" y="452"/>
                  </a:lnTo>
                  <a:lnTo>
                    <a:pt x="3060" y="450"/>
                  </a:lnTo>
                  <a:lnTo>
                    <a:pt x="3060" y="450"/>
                  </a:lnTo>
                  <a:lnTo>
                    <a:pt x="3028" y="452"/>
                  </a:lnTo>
                  <a:lnTo>
                    <a:pt x="3028" y="452"/>
                  </a:lnTo>
                  <a:lnTo>
                    <a:pt x="3023" y="452"/>
                  </a:lnTo>
                  <a:lnTo>
                    <a:pt x="3023" y="452"/>
                  </a:lnTo>
                  <a:lnTo>
                    <a:pt x="3017" y="450"/>
                  </a:lnTo>
                  <a:lnTo>
                    <a:pt x="3013" y="448"/>
                  </a:lnTo>
                  <a:lnTo>
                    <a:pt x="3013" y="448"/>
                  </a:lnTo>
                  <a:lnTo>
                    <a:pt x="3008" y="446"/>
                  </a:lnTo>
                  <a:lnTo>
                    <a:pt x="3008" y="446"/>
                  </a:lnTo>
                  <a:lnTo>
                    <a:pt x="3004" y="445"/>
                  </a:lnTo>
                  <a:lnTo>
                    <a:pt x="3004" y="445"/>
                  </a:lnTo>
                  <a:lnTo>
                    <a:pt x="3001" y="445"/>
                  </a:lnTo>
                  <a:lnTo>
                    <a:pt x="2999" y="446"/>
                  </a:lnTo>
                  <a:lnTo>
                    <a:pt x="2999" y="446"/>
                  </a:lnTo>
                  <a:lnTo>
                    <a:pt x="2998" y="449"/>
                  </a:lnTo>
                  <a:lnTo>
                    <a:pt x="2997" y="452"/>
                  </a:lnTo>
                  <a:lnTo>
                    <a:pt x="2997" y="452"/>
                  </a:lnTo>
                  <a:lnTo>
                    <a:pt x="2998" y="453"/>
                  </a:lnTo>
                  <a:lnTo>
                    <a:pt x="2999" y="456"/>
                  </a:lnTo>
                  <a:lnTo>
                    <a:pt x="2999" y="456"/>
                  </a:lnTo>
                  <a:lnTo>
                    <a:pt x="3002" y="459"/>
                  </a:lnTo>
                  <a:lnTo>
                    <a:pt x="3002" y="458"/>
                  </a:lnTo>
                  <a:lnTo>
                    <a:pt x="3002" y="459"/>
                  </a:lnTo>
                  <a:lnTo>
                    <a:pt x="3002" y="459"/>
                  </a:lnTo>
                  <a:lnTo>
                    <a:pt x="3002" y="458"/>
                  </a:lnTo>
                  <a:lnTo>
                    <a:pt x="3002" y="459"/>
                  </a:lnTo>
                  <a:lnTo>
                    <a:pt x="3004" y="458"/>
                  </a:lnTo>
                  <a:lnTo>
                    <a:pt x="3001" y="458"/>
                  </a:lnTo>
                  <a:lnTo>
                    <a:pt x="3002" y="459"/>
                  </a:lnTo>
                  <a:lnTo>
                    <a:pt x="3004" y="458"/>
                  </a:lnTo>
                  <a:lnTo>
                    <a:pt x="3001" y="458"/>
                  </a:lnTo>
                  <a:lnTo>
                    <a:pt x="3004" y="458"/>
                  </a:lnTo>
                  <a:lnTo>
                    <a:pt x="3002" y="456"/>
                  </a:lnTo>
                  <a:lnTo>
                    <a:pt x="3001" y="458"/>
                  </a:lnTo>
                  <a:lnTo>
                    <a:pt x="3004" y="458"/>
                  </a:lnTo>
                  <a:lnTo>
                    <a:pt x="3002" y="456"/>
                  </a:lnTo>
                  <a:lnTo>
                    <a:pt x="3002" y="458"/>
                  </a:lnTo>
                  <a:lnTo>
                    <a:pt x="3002" y="456"/>
                  </a:lnTo>
                  <a:lnTo>
                    <a:pt x="3002" y="456"/>
                  </a:lnTo>
                  <a:lnTo>
                    <a:pt x="3002" y="458"/>
                  </a:lnTo>
                  <a:lnTo>
                    <a:pt x="3002" y="456"/>
                  </a:lnTo>
                  <a:lnTo>
                    <a:pt x="3002" y="456"/>
                  </a:lnTo>
                  <a:lnTo>
                    <a:pt x="3001" y="458"/>
                  </a:lnTo>
                  <a:lnTo>
                    <a:pt x="3001" y="458"/>
                  </a:lnTo>
                  <a:lnTo>
                    <a:pt x="2997" y="459"/>
                  </a:lnTo>
                  <a:lnTo>
                    <a:pt x="2997" y="459"/>
                  </a:lnTo>
                  <a:lnTo>
                    <a:pt x="2994" y="461"/>
                  </a:lnTo>
                  <a:lnTo>
                    <a:pt x="2994" y="461"/>
                  </a:lnTo>
                  <a:lnTo>
                    <a:pt x="2992" y="463"/>
                  </a:lnTo>
                  <a:lnTo>
                    <a:pt x="2992" y="463"/>
                  </a:lnTo>
                  <a:lnTo>
                    <a:pt x="2992" y="463"/>
                  </a:lnTo>
                  <a:lnTo>
                    <a:pt x="2992" y="465"/>
                  </a:lnTo>
                  <a:lnTo>
                    <a:pt x="2992" y="465"/>
                  </a:lnTo>
                  <a:lnTo>
                    <a:pt x="2992" y="469"/>
                  </a:lnTo>
                  <a:lnTo>
                    <a:pt x="2995" y="472"/>
                  </a:lnTo>
                  <a:lnTo>
                    <a:pt x="2995" y="472"/>
                  </a:lnTo>
                  <a:lnTo>
                    <a:pt x="2998" y="475"/>
                  </a:lnTo>
                  <a:lnTo>
                    <a:pt x="3001" y="476"/>
                  </a:lnTo>
                  <a:lnTo>
                    <a:pt x="3001" y="476"/>
                  </a:lnTo>
                  <a:lnTo>
                    <a:pt x="3002" y="476"/>
                  </a:lnTo>
                  <a:lnTo>
                    <a:pt x="3002" y="476"/>
                  </a:lnTo>
                  <a:lnTo>
                    <a:pt x="3002" y="476"/>
                  </a:lnTo>
                  <a:lnTo>
                    <a:pt x="3002" y="476"/>
                  </a:lnTo>
                  <a:lnTo>
                    <a:pt x="3002" y="476"/>
                  </a:lnTo>
                  <a:lnTo>
                    <a:pt x="3002" y="476"/>
                  </a:lnTo>
                  <a:lnTo>
                    <a:pt x="3002" y="476"/>
                  </a:lnTo>
                  <a:lnTo>
                    <a:pt x="3002" y="476"/>
                  </a:lnTo>
                  <a:lnTo>
                    <a:pt x="3002" y="476"/>
                  </a:lnTo>
                  <a:lnTo>
                    <a:pt x="3002" y="476"/>
                  </a:lnTo>
                  <a:lnTo>
                    <a:pt x="3002" y="476"/>
                  </a:lnTo>
                  <a:lnTo>
                    <a:pt x="3002" y="476"/>
                  </a:lnTo>
                  <a:lnTo>
                    <a:pt x="3002" y="476"/>
                  </a:lnTo>
                  <a:lnTo>
                    <a:pt x="3001" y="481"/>
                  </a:lnTo>
                  <a:lnTo>
                    <a:pt x="3001" y="481"/>
                  </a:lnTo>
                  <a:lnTo>
                    <a:pt x="3001" y="481"/>
                  </a:lnTo>
                  <a:lnTo>
                    <a:pt x="2999" y="487"/>
                  </a:lnTo>
                  <a:lnTo>
                    <a:pt x="2999" y="487"/>
                  </a:lnTo>
                  <a:lnTo>
                    <a:pt x="3001" y="491"/>
                  </a:lnTo>
                  <a:lnTo>
                    <a:pt x="3004" y="495"/>
                  </a:lnTo>
                  <a:lnTo>
                    <a:pt x="3004" y="495"/>
                  </a:lnTo>
                  <a:lnTo>
                    <a:pt x="3004" y="495"/>
                  </a:lnTo>
                  <a:lnTo>
                    <a:pt x="3004" y="495"/>
                  </a:lnTo>
                  <a:lnTo>
                    <a:pt x="3004" y="495"/>
                  </a:lnTo>
                  <a:lnTo>
                    <a:pt x="3002" y="497"/>
                  </a:lnTo>
                  <a:lnTo>
                    <a:pt x="3002" y="497"/>
                  </a:lnTo>
                  <a:lnTo>
                    <a:pt x="3001" y="498"/>
                  </a:lnTo>
                  <a:lnTo>
                    <a:pt x="3001" y="498"/>
                  </a:lnTo>
                  <a:lnTo>
                    <a:pt x="2998" y="500"/>
                  </a:lnTo>
                  <a:lnTo>
                    <a:pt x="2998" y="500"/>
                  </a:lnTo>
                  <a:lnTo>
                    <a:pt x="2997" y="503"/>
                  </a:lnTo>
                  <a:lnTo>
                    <a:pt x="2997" y="503"/>
                  </a:lnTo>
                  <a:lnTo>
                    <a:pt x="2994" y="508"/>
                  </a:lnTo>
                  <a:lnTo>
                    <a:pt x="2994" y="508"/>
                  </a:lnTo>
                  <a:lnTo>
                    <a:pt x="2994" y="510"/>
                  </a:lnTo>
                  <a:lnTo>
                    <a:pt x="2992" y="511"/>
                  </a:lnTo>
                  <a:lnTo>
                    <a:pt x="2992" y="511"/>
                  </a:lnTo>
                  <a:lnTo>
                    <a:pt x="2994" y="511"/>
                  </a:lnTo>
                  <a:lnTo>
                    <a:pt x="2994" y="511"/>
                  </a:lnTo>
                  <a:lnTo>
                    <a:pt x="2992" y="511"/>
                  </a:lnTo>
                  <a:lnTo>
                    <a:pt x="2994" y="511"/>
                  </a:lnTo>
                  <a:lnTo>
                    <a:pt x="2994" y="511"/>
                  </a:lnTo>
                  <a:lnTo>
                    <a:pt x="2994" y="511"/>
                  </a:lnTo>
                  <a:lnTo>
                    <a:pt x="2994" y="511"/>
                  </a:lnTo>
                  <a:lnTo>
                    <a:pt x="2994" y="511"/>
                  </a:lnTo>
                  <a:lnTo>
                    <a:pt x="2994" y="511"/>
                  </a:lnTo>
                  <a:lnTo>
                    <a:pt x="2994" y="511"/>
                  </a:lnTo>
                  <a:lnTo>
                    <a:pt x="2994" y="511"/>
                  </a:lnTo>
                  <a:lnTo>
                    <a:pt x="2994" y="511"/>
                  </a:lnTo>
                  <a:lnTo>
                    <a:pt x="2994" y="511"/>
                  </a:lnTo>
                  <a:lnTo>
                    <a:pt x="2994" y="511"/>
                  </a:lnTo>
                  <a:lnTo>
                    <a:pt x="2994" y="511"/>
                  </a:lnTo>
                  <a:lnTo>
                    <a:pt x="2994" y="511"/>
                  </a:lnTo>
                  <a:lnTo>
                    <a:pt x="2992" y="510"/>
                  </a:lnTo>
                  <a:lnTo>
                    <a:pt x="2992" y="510"/>
                  </a:lnTo>
                  <a:lnTo>
                    <a:pt x="2989" y="507"/>
                  </a:lnTo>
                  <a:lnTo>
                    <a:pt x="2989" y="507"/>
                  </a:lnTo>
                  <a:lnTo>
                    <a:pt x="2989" y="504"/>
                  </a:lnTo>
                  <a:lnTo>
                    <a:pt x="2989" y="504"/>
                  </a:lnTo>
                  <a:lnTo>
                    <a:pt x="2988" y="503"/>
                  </a:lnTo>
                  <a:lnTo>
                    <a:pt x="2988" y="503"/>
                  </a:lnTo>
                  <a:lnTo>
                    <a:pt x="2985" y="503"/>
                  </a:lnTo>
                  <a:lnTo>
                    <a:pt x="2985" y="503"/>
                  </a:lnTo>
                  <a:lnTo>
                    <a:pt x="2984" y="503"/>
                  </a:lnTo>
                  <a:lnTo>
                    <a:pt x="2984" y="503"/>
                  </a:lnTo>
                  <a:lnTo>
                    <a:pt x="2982" y="504"/>
                  </a:lnTo>
                  <a:lnTo>
                    <a:pt x="2982" y="504"/>
                  </a:lnTo>
                  <a:lnTo>
                    <a:pt x="2982" y="507"/>
                  </a:lnTo>
                  <a:lnTo>
                    <a:pt x="2982" y="507"/>
                  </a:lnTo>
                  <a:lnTo>
                    <a:pt x="2981" y="511"/>
                  </a:lnTo>
                  <a:lnTo>
                    <a:pt x="2981" y="511"/>
                  </a:lnTo>
                  <a:lnTo>
                    <a:pt x="2981" y="513"/>
                  </a:lnTo>
                  <a:lnTo>
                    <a:pt x="2981" y="514"/>
                  </a:lnTo>
                  <a:lnTo>
                    <a:pt x="2981" y="514"/>
                  </a:lnTo>
                  <a:lnTo>
                    <a:pt x="2981" y="514"/>
                  </a:lnTo>
                  <a:lnTo>
                    <a:pt x="2981" y="514"/>
                  </a:lnTo>
                  <a:lnTo>
                    <a:pt x="2981" y="514"/>
                  </a:lnTo>
                  <a:lnTo>
                    <a:pt x="2981" y="514"/>
                  </a:lnTo>
                  <a:lnTo>
                    <a:pt x="2981" y="514"/>
                  </a:lnTo>
                  <a:lnTo>
                    <a:pt x="2984" y="516"/>
                  </a:lnTo>
                  <a:lnTo>
                    <a:pt x="2981" y="514"/>
                  </a:lnTo>
                  <a:lnTo>
                    <a:pt x="2982" y="514"/>
                  </a:lnTo>
                  <a:lnTo>
                    <a:pt x="2981" y="513"/>
                  </a:lnTo>
                  <a:lnTo>
                    <a:pt x="2981" y="514"/>
                  </a:lnTo>
                  <a:lnTo>
                    <a:pt x="2982" y="514"/>
                  </a:lnTo>
                  <a:lnTo>
                    <a:pt x="2981" y="513"/>
                  </a:lnTo>
                  <a:lnTo>
                    <a:pt x="2982" y="516"/>
                  </a:lnTo>
                  <a:lnTo>
                    <a:pt x="2982" y="513"/>
                  </a:lnTo>
                  <a:lnTo>
                    <a:pt x="2982" y="513"/>
                  </a:lnTo>
                  <a:lnTo>
                    <a:pt x="2981" y="513"/>
                  </a:lnTo>
                  <a:lnTo>
                    <a:pt x="2982" y="516"/>
                  </a:lnTo>
                  <a:lnTo>
                    <a:pt x="2982" y="513"/>
                  </a:lnTo>
                  <a:lnTo>
                    <a:pt x="2982" y="514"/>
                  </a:lnTo>
                  <a:lnTo>
                    <a:pt x="2984" y="513"/>
                  </a:lnTo>
                  <a:lnTo>
                    <a:pt x="2984" y="513"/>
                  </a:lnTo>
                  <a:lnTo>
                    <a:pt x="2982" y="513"/>
                  </a:lnTo>
                  <a:lnTo>
                    <a:pt x="2982" y="514"/>
                  </a:lnTo>
                  <a:lnTo>
                    <a:pt x="2984" y="513"/>
                  </a:lnTo>
                  <a:lnTo>
                    <a:pt x="2984" y="514"/>
                  </a:lnTo>
                  <a:lnTo>
                    <a:pt x="2985" y="513"/>
                  </a:lnTo>
                  <a:lnTo>
                    <a:pt x="2984" y="513"/>
                  </a:lnTo>
                  <a:lnTo>
                    <a:pt x="2984" y="514"/>
                  </a:lnTo>
                  <a:lnTo>
                    <a:pt x="2985" y="513"/>
                  </a:lnTo>
                  <a:lnTo>
                    <a:pt x="2985" y="513"/>
                  </a:lnTo>
                  <a:lnTo>
                    <a:pt x="2984" y="511"/>
                  </a:lnTo>
                  <a:lnTo>
                    <a:pt x="2984" y="511"/>
                  </a:lnTo>
                  <a:lnTo>
                    <a:pt x="2981" y="504"/>
                  </a:lnTo>
                  <a:lnTo>
                    <a:pt x="2981" y="504"/>
                  </a:lnTo>
                  <a:lnTo>
                    <a:pt x="2979" y="498"/>
                  </a:lnTo>
                  <a:lnTo>
                    <a:pt x="2979" y="498"/>
                  </a:lnTo>
                  <a:lnTo>
                    <a:pt x="2979" y="497"/>
                  </a:lnTo>
                  <a:lnTo>
                    <a:pt x="2979" y="497"/>
                  </a:lnTo>
                  <a:lnTo>
                    <a:pt x="2979" y="497"/>
                  </a:lnTo>
                  <a:lnTo>
                    <a:pt x="2979" y="497"/>
                  </a:lnTo>
                  <a:lnTo>
                    <a:pt x="2979" y="494"/>
                  </a:lnTo>
                  <a:lnTo>
                    <a:pt x="2979" y="494"/>
                  </a:lnTo>
                  <a:lnTo>
                    <a:pt x="2975" y="491"/>
                  </a:lnTo>
                  <a:lnTo>
                    <a:pt x="2975" y="491"/>
                  </a:lnTo>
                  <a:lnTo>
                    <a:pt x="2969" y="485"/>
                  </a:lnTo>
                  <a:lnTo>
                    <a:pt x="2969" y="485"/>
                  </a:lnTo>
                  <a:lnTo>
                    <a:pt x="2965" y="481"/>
                  </a:lnTo>
                  <a:lnTo>
                    <a:pt x="2965" y="481"/>
                  </a:lnTo>
                  <a:lnTo>
                    <a:pt x="2963" y="476"/>
                  </a:lnTo>
                  <a:lnTo>
                    <a:pt x="2963" y="476"/>
                  </a:lnTo>
                  <a:lnTo>
                    <a:pt x="2963" y="468"/>
                  </a:lnTo>
                  <a:lnTo>
                    <a:pt x="2963" y="468"/>
                  </a:lnTo>
                  <a:lnTo>
                    <a:pt x="2962" y="463"/>
                  </a:lnTo>
                  <a:lnTo>
                    <a:pt x="2962" y="463"/>
                  </a:lnTo>
                  <a:lnTo>
                    <a:pt x="2960" y="461"/>
                  </a:lnTo>
                  <a:lnTo>
                    <a:pt x="2959" y="459"/>
                  </a:lnTo>
                  <a:lnTo>
                    <a:pt x="2959" y="459"/>
                  </a:lnTo>
                  <a:lnTo>
                    <a:pt x="2956" y="459"/>
                  </a:lnTo>
                  <a:lnTo>
                    <a:pt x="2956" y="459"/>
                  </a:lnTo>
                  <a:lnTo>
                    <a:pt x="2955" y="459"/>
                  </a:lnTo>
                  <a:lnTo>
                    <a:pt x="2953" y="461"/>
                  </a:lnTo>
                  <a:lnTo>
                    <a:pt x="2953" y="461"/>
                  </a:lnTo>
                  <a:lnTo>
                    <a:pt x="2952" y="463"/>
                  </a:lnTo>
                  <a:lnTo>
                    <a:pt x="2952" y="463"/>
                  </a:lnTo>
                  <a:lnTo>
                    <a:pt x="2950" y="468"/>
                  </a:lnTo>
                  <a:lnTo>
                    <a:pt x="2952" y="468"/>
                  </a:lnTo>
                  <a:lnTo>
                    <a:pt x="2952" y="466"/>
                  </a:lnTo>
                  <a:lnTo>
                    <a:pt x="2950" y="468"/>
                  </a:lnTo>
                  <a:lnTo>
                    <a:pt x="2952" y="468"/>
                  </a:lnTo>
                  <a:lnTo>
                    <a:pt x="2952" y="466"/>
                  </a:lnTo>
                  <a:lnTo>
                    <a:pt x="2952" y="466"/>
                  </a:lnTo>
                  <a:lnTo>
                    <a:pt x="2952" y="466"/>
                  </a:lnTo>
                  <a:lnTo>
                    <a:pt x="2952" y="466"/>
                  </a:lnTo>
                  <a:lnTo>
                    <a:pt x="2952" y="466"/>
                  </a:lnTo>
                  <a:lnTo>
                    <a:pt x="2952" y="466"/>
                  </a:lnTo>
                  <a:lnTo>
                    <a:pt x="2952" y="466"/>
                  </a:lnTo>
                  <a:lnTo>
                    <a:pt x="2952" y="466"/>
                  </a:lnTo>
                  <a:lnTo>
                    <a:pt x="2947" y="466"/>
                  </a:lnTo>
                  <a:lnTo>
                    <a:pt x="2947" y="466"/>
                  </a:lnTo>
                  <a:lnTo>
                    <a:pt x="2943" y="468"/>
                  </a:lnTo>
                  <a:lnTo>
                    <a:pt x="2943" y="468"/>
                  </a:lnTo>
                  <a:lnTo>
                    <a:pt x="2927" y="466"/>
                  </a:lnTo>
                  <a:lnTo>
                    <a:pt x="2927" y="466"/>
                  </a:lnTo>
                  <a:lnTo>
                    <a:pt x="2914" y="463"/>
                  </a:lnTo>
                  <a:lnTo>
                    <a:pt x="2914" y="463"/>
                  </a:lnTo>
                  <a:lnTo>
                    <a:pt x="2901" y="461"/>
                  </a:lnTo>
                  <a:lnTo>
                    <a:pt x="2885" y="459"/>
                  </a:lnTo>
                  <a:lnTo>
                    <a:pt x="2885" y="459"/>
                  </a:lnTo>
                  <a:lnTo>
                    <a:pt x="2879" y="459"/>
                  </a:lnTo>
                  <a:lnTo>
                    <a:pt x="2875" y="459"/>
                  </a:lnTo>
                  <a:lnTo>
                    <a:pt x="2875" y="459"/>
                  </a:lnTo>
                  <a:lnTo>
                    <a:pt x="2869" y="463"/>
                  </a:lnTo>
                  <a:lnTo>
                    <a:pt x="2865" y="466"/>
                  </a:lnTo>
                  <a:lnTo>
                    <a:pt x="2860" y="471"/>
                  </a:lnTo>
                  <a:lnTo>
                    <a:pt x="2858" y="476"/>
                  </a:lnTo>
                  <a:lnTo>
                    <a:pt x="2858" y="476"/>
                  </a:lnTo>
                  <a:lnTo>
                    <a:pt x="2856" y="482"/>
                  </a:lnTo>
                  <a:lnTo>
                    <a:pt x="2856" y="482"/>
                  </a:lnTo>
                  <a:lnTo>
                    <a:pt x="2856" y="494"/>
                  </a:lnTo>
                  <a:lnTo>
                    <a:pt x="2856" y="494"/>
                  </a:lnTo>
                  <a:lnTo>
                    <a:pt x="2856" y="498"/>
                  </a:lnTo>
                  <a:lnTo>
                    <a:pt x="2856" y="498"/>
                  </a:lnTo>
                  <a:lnTo>
                    <a:pt x="2855" y="500"/>
                  </a:lnTo>
                  <a:lnTo>
                    <a:pt x="2855" y="500"/>
                  </a:lnTo>
                  <a:lnTo>
                    <a:pt x="2856" y="500"/>
                  </a:lnTo>
                  <a:lnTo>
                    <a:pt x="2855" y="500"/>
                  </a:lnTo>
                  <a:lnTo>
                    <a:pt x="2855" y="500"/>
                  </a:lnTo>
                  <a:lnTo>
                    <a:pt x="2856" y="500"/>
                  </a:lnTo>
                  <a:lnTo>
                    <a:pt x="2855" y="500"/>
                  </a:lnTo>
                  <a:lnTo>
                    <a:pt x="2855" y="500"/>
                  </a:lnTo>
                  <a:lnTo>
                    <a:pt x="2856" y="501"/>
                  </a:lnTo>
                  <a:lnTo>
                    <a:pt x="2856" y="500"/>
                  </a:lnTo>
                  <a:lnTo>
                    <a:pt x="2856" y="500"/>
                  </a:lnTo>
                  <a:lnTo>
                    <a:pt x="2855" y="500"/>
                  </a:lnTo>
                  <a:lnTo>
                    <a:pt x="2856" y="501"/>
                  </a:lnTo>
                  <a:lnTo>
                    <a:pt x="2856" y="500"/>
                  </a:lnTo>
                  <a:lnTo>
                    <a:pt x="2856" y="501"/>
                  </a:lnTo>
                  <a:lnTo>
                    <a:pt x="2858" y="500"/>
                  </a:lnTo>
                  <a:lnTo>
                    <a:pt x="2858" y="500"/>
                  </a:lnTo>
                  <a:lnTo>
                    <a:pt x="2856" y="500"/>
                  </a:lnTo>
                  <a:lnTo>
                    <a:pt x="2856" y="501"/>
                  </a:lnTo>
                  <a:lnTo>
                    <a:pt x="2858" y="500"/>
                  </a:lnTo>
                  <a:lnTo>
                    <a:pt x="2858" y="500"/>
                  </a:lnTo>
                  <a:lnTo>
                    <a:pt x="2856" y="498"/>
                  </a:lnTo>
                  <a:lnTo>
                    <a:pt x="2856" y="498"/>
                  </a:lnTo>
                  <a:lnTo>
                    <a:pt x="2855" y="487"/>
                  </a:lnTo>
                  <a:lnTo>
                    <a:pt x="2855" y="487"/>
                  </a:lnTo>
                  <a:lnTo>
                    <a:pt x="2855" y="485"/>
                  </a:lnTo>
                  <a:lnTo>
                    <a:pt x="2855" y="484"/>
                  </a:lnTo>
                  <a:lnTo>
                    <a:pt x="2856" y="484"/>
                  </a:lnTo>
                  <a:lnTo>
                    <a:pt x="2856" y="484"/>
                  </a:lnTo>
                  <a:lnTo>
                    <a:pt x="2855" y="484"/>
                  </a:lnTo>
                  <a:lnTo>
                    <a:pt x="2856" y="484"/>
                  </a:lnTo>
                  <a:lnTo>
                    <a:pt x="2855" y="484"/>
                  </a:lnTo>
                  <a:lnTo>
                    <a:pt x="2856" y="484"/>
                  </a:lnTo>
                  <a:lnTo>
                    <a:pt x="2856" y="484"/>
                  </a:lnTo>
                  <a:lnTo>
                    <a:pt x="2856" y="482"/>
                  </a:lnTo>
                  <a:lnTo>
                    <a:pt x="2856" y="482"/>
                  </a:lnTo>
                  <a:lnTo>
                    <a:pt x="2856" y="479"/>
                  </a:lnTo>
                  <a:lnTo>
                    <a:pt x="2855" y="478"/>
                  </a:lnTo>
                  <a:lnTo>
                    <a:pt x="2855" y="478"/>
                  </a:lnTo>
                  <a:lnTo>
                    <a:pt x="2850" y="475"/>
                  </a:lnTo>
                  <a:lnTo>
                    <a:pt x="2850" y="475"/>
                  </a:lnTo>
                  <a:lnTo>
                    <a:pt x="2846" y="471"/>
                  </a:lnTo>
                  <a:lnTo>
                    <a:pt x="2846" y="471"/>
                  </a:lnTo>
                  <a:lnTo>
                    <a:pt x="2834" y="456"/>
                  </a:lnTo>
                  <a:lnTo>
                    <a:pt x="2834" y="456"/>
                  </a:lnTo>
                  <a:lnTo>
                    <a:pt x="2833" y="455"/>
                  </a:lnTo>
                  <a:lnTo>
                    <a:pt x="2833" y="455"/>
                  </a:lnTo>
                  <a:lnTo>
                    <a:pt x="2831" y="455"/>
                  </a:lnTo>
                  <a:lnTo>
                    <a:pt x="2833" y="455"/>
                  </a:lnTo>
                  <a:lnTo>
                    <a:pt x="2833" y="455"/>
                  </a:lnTo>
                  <a:lnTo>
                    <a:pt x="2831" y="455"/>
                  </a:lnTo>
                  <a:lnTo>
                    <a:pt x="2833" y="455"/>
                  </a:lnTo>
                  <a:lnTo>
                    <a:pt x="2830" y="455"/>
                  </a:lnTo>
                  <a:lnTo>
                    <a:pt x="2831" y="456"/>
                  </a:lnTo>
                  <a:lnTo>
                    <a:pt x="2831" y="456"/>
                  </a:lnTo>
                  <a:lnTo>
                    <a:pt x="2833" y="455"/>
                  </a:lnTo>
                  <a:lnTo>
                    <a:pt x="2830" y="455"/>
                  </a:lnTo>
                  <a:lnTo>
                    <a:pt x="2831" y="456"/>
                  </a:lnTo>
                  <a:lnTo>
                    <a:pt x="2831" y="456"/>
                  </a:lnTo>
                  <a:lnTo>
                    <a:pt x="2831" y="456"/>
                  </a:lnTo>
                  <a:lnTo>
                    <a:pt x="2833" y="455"/>
                  </a:lnTo>
                  <a:lnTo>
                    <a:pt x="2833" y="455"/>
                  </a:lnTo>
                  <a:lnTo>
                    <a:pt x="2834" y="452"/>
                  </a:lnTo>
                  <a:lnTo>
                    <a:pt x="2834" y="452"/>
                  </a:lnTo>
                  <a:lnTo>
                    <a:pt x="2834" y="449"/>
                  </a:lnTo>
                  <a:lnTo>
                    <a:pt x="2834" y="449"/>
                  </a:lnTo>
                  <a:lnTo>
                    <a:pt x="2833" y="442"/>
                  </a:lnTo>
                  <a:lnTo>
                    <a:pt x="2833" y="442"/>
                  </a:lnTo>
                  <a:lnTo>
                    <a:pt x="2830" y="434"/>
                  </a:lnTo>
                  <a:lnTo>
                    <a:pt x="2830" y="434"/>
                  </a:lnTo>
                  <a:lnTo>
                    <a:pt x="2824" y="419"/>
                  </a:lnTo>
                  <a:lnTo>
                    <a:pt x="2824" y="419"/>
                  </a:lnTo>
                  <a:lnTo>
                    <a:pt x="2818" y="411"/>
                  </a:lnTo>
                  <a:lnTo>
                    <a:pt x="2814" y="407"/>
                  </a:lnTo>
                  <a:lnTo>
                    <a:pt x="2811" y="404"/>
                  </a:lnTo>
                  <a:lnTo>
                    <a:pt x="2811" y="404"/>
                  </a:lnTo>
                  <a:lnTo>
                    <a:pt x="2804" y="403"/>
                  </a:lnTo>
                  <a:lnTo>
                    <a:pt x="2794" y="401"/>
                  </a:lnTo>
                  <a:lnTo>
                    <a:pt x="2794" y="401"/>
                  </a:lnTo>
                  <a:lnTo>
                    <a:pt x="2774" y="403"/>
                  </a:lnTo>
                  <a:lnTo>
                    <a:pt x="2758" y="406"/>
                  </a:lnTo>
                  <a:lnTo>
                    <a:pt x="2758" y="406"/>
                  </a:lnTo>
                  <a:lnTo>
                    <a:pt x="2734" y="410"/>
                  </a:lnTo>
                  <a:lnTo>
                    <a:pt x="2734" y="410"/>
                  </a:lnTo>
                  <a:lnTo>
                    <a:pt x="2724" y="411"/>
                  </a:lnTo>
                  <a:lnTo>
                    <a:pt x="2724" y="411"/>
                  </a:lnTo>
                  <a:lnTo>
                    <a:pt x="2717" y="413"/>
                  </a:lnTo>
                  <a:lnTo>
                    <a:pt x="2717" y="413"/>
                  </a:lnTo>
                  <a:lnTo>
                    <a:pt x="2713" y="411"/>
                  </a:lnTo>
                  <a:lnTo>
                    <a:pt x="2707" y="410"/>
                  </a:lnTo>
                  <a:lnTo>
                    <a:pt x="2707" y="410"/>
                  </a:lnTo>
                  <a:lnTo>
                    <a:pt x="2698" y="404"/>
                  </a:lnTo>
                  <a:lnTo>
                    <a:pt x="2698" y="404"/>
                  </a:lnTo>
                  <a:lnTo>
                    <a:pt x="2694" y="398"/>
                  </a:lnTo>
                  <a:lnTo>
                    <a:pt x="2694" y="398"/>
                  </a:lnTo>
                  <a:lnTo>
                    <a:pt x="2685" y="387"/>
                  </a:lnTo>
                  <a:lnTo>
                    <a:pt x="2685" y="387"/>
                  </a:lnTo>
                  <a:lnTo>
                    <a:pt x="2679" y="377"/>
                  </a:lnTo>
                  <a:lnTo>
                    <a:pt x="2679" y="377"/>
                  </a:lnTo>
                  <a:lnTo>
                    <a:pt x="2675" y="372"/>
                  </a:lnTo>
                  <a:lnTo>
                    <a:pt x="2672" y="371"/>
                  </a:lnTo>
                  <a:lnTo>
                    <a:pt x="2672" y="371"/>
                  </a:lnTo>
                  <a:lnTo>
                    <a:pt x="2669" y="369"/>
                  </a:lnTo>
                  <a:lnTo>
                    <a:pt x="2669" y="369"/>
                  </a:lnTo>
                  <a:lnTo>
                    <a:pt x="2668" y="371"/>
                  </a:lnTo>
                  <a:lnTo>
                    <a:pt x="2669" y="371"/>
                  </a:lnTo>
                  <a:lnTo>
                    <a:pt x="2669" y="369"/>
                  </a:lnTo>
                  <a:lnTo>
                    <a:pt x="2668" y="371"/>
                  </a:lnTo>
                  <a:lnTo>
                    <a:pt x="2669" y="371"/>
                  </a:lnTo>
                  <a:lnTo>
                    <a:pt x="2669" y="371"/>
                  </a:lnTo>
                  <a:lnTo>
                    <a:pt x="2669" y="371"/>
                  </a:lnTo>
                  <a:lnTo>
                    <a:pt x="2669" y="371"/>
                  </a:lnTo>
                  <a:lnTo>
                    <a:pt x="2669" y="371"/>
                  </a:lnTo>
                  <a:lnTo>
                    <a:pt x="2669" y="371"/>
                  </a:lnTo>
                  <a:lnTo>
                    <a:pt x="2669" y="371"/>
                  </a:lnTo>
                  <a:lnTo>
                    <a:pt x="2669" y="371"/>
                  </a:lnTo>
                  <a:lnTo>
                    <a:pt x="2669" y="371"/>
                  </a:lnTo>
                  <a:lnTo>
                    <a:pt x="2669" y="371"/>
                  </a:lnTo>
                  <a:lnTo>
                    <a:pt x="2669" y="371"/>
                  </a:lnTo>
                  <a:lnTo>
                    <a:pt x="2669" y="371"/>
                  </a:lnTo>
                  <a:lnTo>
                    <a:pt x="2669" y="371"/>
                  </a:lnTo>
                  <a:lnTo>
                    <a:pt x="2669" y="371"/>
                  </a:lnTo>
                  <a:lnTo>
                    <a:pt x="2669" y="371"/>
                  </a:lnTo>
                  <a:lnTo>
                    <a:pt x="2669" y="371"/>
                  </a:lnTo>
                  <a:lnTo>
                    <a:pt x="2672" y="371"/>
                  </a:lnTo>
                  <a:lnTo>
                    <a:pt x="2672" y="371"/>
                  </a:lnTo>
                  <a:lnTo>
                    <a:pt x="2676" y="372"/>
                  </a:lnTo>
                  <a:lnTo>
                    <a:pt x="2678" y="372"/>
                  </a:lnTo>
                  <a:lnTo>
                    <a:pt x="2678" y="372"/>
                  </a:lnTo>
                  <a:lnTo>
                    <a:pt x="2679" y="372"/>
                  </a:lnTo>
                  <a:lnTo>
                    <a:pt x="2679" y="372"/>
                  </a:lnTo>
                  <a:lnTo>
                    <a:pt x="2681" y="369"/>
                  </a:lnTo>
                  <a:lnTo>
                    <a:pt x="2681" y="369"/>
                  </a:lnTo>
                  <a:lnTo>
                    <a:pt x="2681" y="366"/>
                  </a:lnTo>
                  <a:lnTo>
                    <a:pt x="2681" y="366"/>
                  </a:lnTo>
                  <a:lnTo>
                    <a:pt x="2681" y="359"/>
                  </a:lnTo>
                  <a:lnTo>
                    <a:pt x="2678" y="353"/>
                  </a:lnTo>
                  <a:lnTo>
                    <a:pt x="2678" y="353"/>
                  </a:lnTo>
                  <a:lnTo>
                    <a:pt x="2675" y="348"/>
                  </a:lnTo>
                  <a:lnTo>
                    <a:pt x="2669" y="345"/>
                  </a:lnTo>
                  <a:lnTo>
                    <a:pt x="2669" y="345"/>
                  </a:lnTo>
                  <a:lnTo>
                    <a:pt x="2663" y="342"/>
                  </a:lnTo>
                  <a:lnTo>
                    <a:pt x="2656" y="340"/>
                  </a:lnTo>
                  <a:lnTo>
                    <a:pt x="2656" y="340"/>
                  </a:lnTo>
                  <a:lnTo>
                    <a:pt x="2652" y="340"/>
                  </a:lnTo>
                  <a:lnTo>
                    <a:pt x="2648" y="339"/>
                  </a:lnTo>
                  <a:lnTo>
                    <a:pt x="2648" y="339"/>
                  </a:lnTo>
                  <a:lnTo>
                    <a:pt x="2643" y="336"/>
                  </a:lnTo>
                  <a:lnTo>
                    <a:pt x="2637" y="336"/>
                  </a:lnTo>
                  <a:lnTo>
                    <a:pt x="2636" y="336"/>
                  </a:lnTo>
                  <a:lnTo>
                    <a:pt x="2636" y="336"/>
                  </a:lnTo>
                  <a:lnTo>
                    <a:pt x="2632" y="336"/>
                  </a:lnTo>
                  <a:lnTo>
                    <a:pt x="2632" y="336"/>
                  </a:lnTo>
                  <a:lnTo>
                    <a:pt x="2629" y="337"/>
                  </a:lnTo>
                  <a:lnTo>
                    <a:pt x="2629" y="337"/>
                  </a:lnTo>
                  <a:lnTo>
                    <a:pt x="2629" y="339"/>
                  </a:lnTo>
                  <a:lnTo>
                    <a:pt x="2629" y="339"/>
                  </a:lnTo>
                  <a:lnTo>
                    <a:pt x="2629" y="340"/>
                  </a:lnTo>
                  <a:lnTo>
                    <a:pt x="2629" y="339"/>
                  </a:lnTo>
                  <a:lnTo>
                    <a:pt x="2629" y="339"/>
                  </a:lnTo>
                  <a:lnTo>
                    <a:pt x="2629" y="340"/>
                  </a:lnTo>
                  <a:lnTo>
                    <a:pt x="2629" y="339"/>
                  </a:lnTo>
                  <a:lnTo>
                    <a:pt x="2629" y="340"/>
                  </a:lnTo>
                  <a:lnTo>
                    <a:pt x="2629" y="339"/>
                  </a:lnTo>
                  <a:lnTo>
                    <a:pt x="2629" y="339"/>
                  </a:lnTo>
                  <a:lnTo>
                    <a:pt x="2629" y="340"/>
                  </a:lnTo>
                  <a:lnTo>
                    <a:pt x="2629" y="339"/>
                  </a:lnTo>
                  <a:lnTo>
                    <a:pt x="2629" y="339"/>
                  </a:lnTo>
                  <a:lnTo>
                    <a:pt x="2629" y="339"/>
                  </a:lnTo>
                  <a:lnTo>
                    <a:pt x="2627" y="339"/>
                  </a:lnTo>
                  <a:lnTo>
                    <a:pt x="2627" y="339"/>
                  </a:lnTo>
                  <a:lnTo>
                    <a:pt x="2623" y="339"/>
                  </a:lnTo>
                  <a:lnTo>
                    <a:pt x="2623" y="339"/>
                  </a:lnTo>
                  <a:lnTo>
                    <a:pt x="2617" y="339"/>
                  </a:lnTo>
                  <a:lnTo>
                    <a:pt x="2617" y="339"/>
                  </a:lnTo>
                  <a:lnTo>
                    <a:pt x="2611" y="339"/>
                  </a:lnTo>
                  <a:lnTo>
                    <a:pt x="2608" y="342"/>
                  </a:lnTo>
                  <a:lnTo>
                    <a:pt x="2608" y="342"/>
                  </a:lnTo>
                  <a:lnTo>
                    <a:pt x="2603" y="346"/>
                  </a:lnTo>
                  <a:lnTo>
                    <a:pt x="2603" y="346"/>
                  </a:lnTo>
                  <a:lnTo>
                    <a:pt x="2600" y="348"/>
                  </a:lnTo>
                  <a:lnTo>
                    <a:pt x="2600" y="348"/>
                  </a:lnTo>
                  <a:lnTo>
                    <a:pt x="2594" y="348"/>
                  </a:lnTo>
                  <a:lnTo>
                    <a:pt x="2594" y="348"/>
                  </a:lnTo>
                  <a:lnTo>
                    <a:pt x="2584" y="348"/>
                  </a:lnTo>
                  <a:lnTo>
                    <a:pt x="2584" y="348"/>
                  </a:lnTo>
                  <a:lnTo>
                    <a:pt x="2582" y="348"/>
                  </a:lnTo>
                  <a:lnTo>
                    <a:pt x="2582" y="348"/>
                  </a:lnTo>
                  <a:lnTo>
                    <a:pt x="2582" y="348"/>
                  </a:lnTo>
                  <a:lnTo>
                    <a:pt x="2582" y="348"/>
                  </a:lnTo>
                  <a:lnTo>
                    <a:pt x="2582" y="348"/>
                  </a:lnTo>
                  <a:lnTo>
                    <a:pt x="2582" y="348"/>
                  </a:lnTo>
                  <a:lnTo>
                    <a:pt x="2582" y="349"/>
                  </a:lnTo>
                  <a:lnTo>
                    <a:pt x="2582" y="348"/>
                  </a:lnTo>
                  <a:lnTo>
                    <a:pt x="2582" y="348"/>
                  </a:lnTo>
                  <a:lnTo>
                    <a:pt x="2582" y="349"/>
                  </a:lnTo>
                  <a:lnTo>
                    <a:pt x="2582" y="348"/>
                  </a:lnTo>
                  <a:lnTo>
                    <a:pt x="2581" y="349"/>
                  </a:lnTo>
                  <a:lnTo>
                    <a:pt x="2584" y="349"/>
                  </a:lnTo>
                  <a:lnTo>
                    <a:pt x="2582" y="348"/>
                  </a:lnTo>
                  <a:lnTo>
                    <a:pt x="2581" y="349"/>
                  </a:lnTo>
                  <a:lnTo>
                    <a:pt x="2584" y="349"/>
                  </a:lnTo>
                  <a:lnTo>
                    <a:pt x="2582" y="349"/>
                  </a:lnTo>
                  <a:lnTo>
                    <a:pt x="2584" y="349"/>
                  </a:lnTo>
                  <a:lnTo>
                    <a:pt x="2584" y="349"/>
                  </a:lnTo>
                  <a:lnTo>
                    <a:pt x="2584" y="349"/>
                  </a:lnTo>
                  <a:lnTo>
                    <a:pt x="2582" y="349"/>
                  </a:lnTo>
                  <a:lnTo>
                    <a:pt x="2584" y="349"/>
                  </a:lnTo>
                  <a:lnTo>
                    <a:pt x="2582" y="349"/>
                  </a:lnTo>
                  <a:lnTo>
                    <a:pt x="2584" y="349"/>
                  </a:lnTo>
                  <a:lnTo>
                    <a:pt x="2584" y="349"/>
                  </a:lnTo>
                  <a:lnTo>
                    <a:pt x="2582" y="349"/>
                  </a:lnTo>
                  <a:lnTo>
                    <a:pt x="2584" y="349"/>
                  </a:lnTo>
                  <a:lnTo>
                    <a:pt x="2584" y="349"/>
                  </a:lnTo>
                  <a:lnTo>
                    <a:pt x="2585" y="348"/>
                  </a:lnTo>
                  <a:lnTo>
                    <a:pt x="2585" y="348"/>
                  </a:lnTo>
                  <a:lnTo>
                    <a:pt x="2588" y="345"/>
                  </a:lnTo>
                  <a:lnTo>
                    <a:pt x="2588" y="345"/>
                  </a:lnTo>
                  <a:lnTo>
                    <a:pt x="2591" y="342"/>
                  </a:lnTo>
                  <a:lnTo>
                    <a:pt x="2591" y="339"/>
                  </a:lnTo>
                  <a:lnTo>
                    <a:pt x="2591" y="339"/>
                  </a:lnTo>
                  <a:lnTo>
                    <a:pt x="2591" y="336"/>
                  </a:lnTo>
                  <a:lnTo>
                    <a:pt x="2590" y="333"/>
                  </a:lnTo>
                  <a:lnTo>
                    <a:pt x="2590" y="333"/>
                  </a:lnTo>
                  <a:lnTo>
                    <a:pt x="2590" y="333"/>
                  </a:lnTo>
                  <a:lnTo>
                    <a:pt x="2588" y="335"/>
                  </a:lnTo>
                  <a:lnTo>
                    <a:pt x="2590" y="335"/>
                  </a:lnTo>
                  <a:lnTo>
                    <a:pt x="2590" y="333"/>
                  </a:lnTo>
                  <a:lnTo>
                    <a:pt x="2588" y="335"/>
                  </a:lnTo>
                  <a:lnTo>
                    <a:pt x="2590" y="335"/>
                  </a:lnTo>
                  <a:lnTo>
                    <a:pt x="2588" y="335"/>
                  </a:lnTo>
                  <a:lnTo>
                    <a:pt x="2590" y="335"/>
                  </a:lnTo>
                  <a:lnTo>
                    <a:pt x="2590" y="335"/>
                  </a:lnTo>
                  <a:lnTo>
                    <a:pt x="2588" y="335"/>
                  </a:lnTo>
                  <a:lnTo>
                    <a:pt x="2590" y="335"/>
                  </a:lnTo>
                  <a:lnTo>
                    <a:pt x="2590" y="335"/>
                  </a:lnTo>
                  <a:lnTo>
                    <a:pt x="2590" y="335"/>
                  </a:lnTo>
                  <a:lnTo>
                    <a:pt x="2590" y="335"/>
                  </a:lnTo>
                  <a:lnTo>
                    <a:pt x="2590" y="335"/>
                  </a:lnTo>
                  <a:lnTo>
                    <a:pt x="2590" y="335"/>
                  </a:lnTo>
                  <a:lnTo>
                    <a:pt x="2590" y="335"/>
                  </a:lnTo>
                  <a:lnTo>
                    <a:pt x="2591" y="333"/>
                  </a:lnTo>
                  <a:lnTo>
                    <a:pt x="2591" y="333"/>
                  </a:lnTo>
                  <a:lnTo>
                    <a:pt x="2594" y="333"/>
                  </a:lnTo>
                  <a:lnTo>
                    <a:pt x="2594" y="333"/>
                  </a:lnTo>
                  <a:lnTo>
                    <a:pt x="2598" y="335"/>
                  </a:lnTo>
                  <a:lnTo>
                    <a:pt x="2598" y="335"/>
                  </a:lnTo>
                  <a:lnTo>
                    <a:pt x="2611" y="337"/>
                  </a:lnTo>
                  <a:lnTo>
                    <a:pt x="2611" y="337"/>
                  </a:lnTo>
                  <a:lnTo>
                    <a:pt x="2624" y="340"/>
                  </a:lnTo>
                  <a:lnTo>
                    <a:pt x="2624" y="340"/>
                  </a:lnTo>
                  <a:lnTo>
                    <a:pt x="2626" y="340"/>
                  </a:lnTo>
                  <a:lnTo>
                    <a:pt x="2626" y="340"/>
                  </a:lnTo>
                  <a:lnTo>
                    <a:pt x="2627" y="339"/>
                  </a:lnTo>
                  <a:lnTo>
                    <a:pt x="2627" y="339"/>
                  </a:lnTo>
                  <a:lnTo>
                    <a:pt x="2629" y="337"/>
                  </a:lnTo>
                  <a:lnTo>
                    <a:pt x="2629" y="337"/>
                  </a:lnTo>
                  <a:lnTo>
                    <a:pt x="2627" y="335"/>
                  </a:lnTo>
                  <a:lnTo>
                    <a:pt x="2627" y="335"/>
                  </a:lnTo>
                  <a:lnTo>
                    <a:pt x="2626" y="333"/>
                  </a:lnTo>
                  <a:lnTo>
                    <a:pt x="2626" y="333"/>
                  </a:lnTo>
                  <a:lnTo>
                    <a:pt x="2607" y="326"/>
                  </a:lnTo>
                  <a:lnTo>
                    <a:pt x="2607" y="326"/>
                  </a:lnTo>
                  <a:lnTo>
                    <a:pt x="2597" y="323"/>
                  </a:lnTo>
                  <a:lnTo>
                    <a:pt x="2587" y="322"/>
                  </a:lnTo>
                  <a:lnTo>
                    <a:pt x="2587" y="322"/>
                  </a:lnTo>
                  <a:lnTo>
                    <a:pt x="2568" y="320"/>
                  </a:lnTo>
                  <a:lnTo>
                    <a:pt x="2568" y="320"/>
                  </a:lnTo>
                  <a:lnTo>
                    <a:pt x="2548" y="319"/>
                  </a:lnTo>
                  <a:lnTo>
                    <a:pt x="2548" y="319"/>
                  </a:lnTo>
                  <a:lnTo>
                    <a:pt x="2540" y="320"/>
                  </a:lnTo>
                  <a:lnTo>
                    <a:pt x="2540" y="320"/>
                  </a:lnTo>
                  <a:lnTo>
                    <a:pt x="2524" y="324"/>
                  </a:lnTo>
                  <a:lnTo>
                    <a:pt x="2524" y="324"/>
                  </a:lnTo>
                  <a:lnTo>
                    <a:pt x="2516" y="327"/>
                  </a:lnTo>
                  <a:lnTo>
                    <a:pt x="2516" y="327"/>
                  </a:lnTo>
                  <a:lnTo>
                    <a:pt x="2511" y="329"/>
                  </a:lnTo>
                  <a:lnTo>
                    <a:pt x="2511" y="329"/>
                  </a:lnTo>
                  <a:lnTo>
                    <a:pt x="2510" y="329"/>
                  </a:lnTo>
                  <a:lnTo>
                    <a:pt x="2507" y="330"/>
                  </a:lnTo>
                  <a:lnTo>
                    <a:pt x="2507" y="330"/>
                  </a:lnTo>
                  <a:lnTo>
                    <a:pt x="2506" y="336"/>
                  </a:lnTo>
                  <a:lnTo>
                    <a:pt x="2506" y="336"/>
                  </a:lnTo>
                  <a:lnTo>
                    <a:pt x="2504" y="343"/>
                  </a:lnTo>
                  <a:lnTo>
                    <a:pt x="2504" y="343"/>
                  </a:lnTo>
                  <a:lnTo>
                    <a:pt x="2504" y="348"/>
                  </a:lnTo>
                  <a:lnTo>
                    <a:pt x="2504" y="348"/>
                  </a:lnTo>
                  <a:lnTo>
                    <a:pt x="2506" y="350"/>
                  </a:lnTo>
                  <a:lnTo>
                    <a:pt x="2506" y="350"/>
                  </a:lnTo>
                  <a:lnTo>
                    <a:pt x="2507" y="352"/>
                  </a:lnTo>
                  <a:lnTo>
                    <a:pt x="2507" y="352"/>
                  </a:lnTo>
                  <a:lnTo>
                    <a:pt x="2508" y="352"/>
                  </a:lnTo>
                  <a:lnTo>
                    <a:pt x="2508" y="352"/>
                  </a:lnTo>
                  <a:lnTo>
                    <a:pt x="2510" y="352"/>
                  </a:lnTo>
                  <a:lnTo>
                    <a:pt x="2510" y="352"/>
                  </a:lnTo>
                  <a:lnTo>
                    <a:pt x="2513" y="350"/>
                  </a:lnTo>
                  <a:lnTo>
                    <a:pt x="2513" y="350"/>
                  </a:lnTo>
                  <a:lnTo>
                    <a:pt x="2516" y="346"/>
                  </a:lnTo>
                  <a:lnTo>
                    <a:pt x="2516" y="346"/>
                  </a:lnTo>
                  <a:lnTo>
                    <a:pt x="2514" y="346"/>
                  </a:lnTo>
                  <a:lnTo>
                    <a:pt x="2514" y="346"/>
                  </a:lnTo>
                  <a:lnTo>
                    <a:pt x="2516" y="346"/>
                  </a:lnTo>
                  <a:lnTo>
                    <a:pt x="2514" y="346"/>
                  </a:lnTo>
                  <a:lnTo>
                    <a:pt x="2514" y="346"/>
                  </a:lnTo>
                  <a:lnTo>
                    <a:pt x="2514" y="346"/>
                  </a:lnTo>
                  <a:lnTo>
                    <a:pt x="2514" y="348"/>
                  </a:lnTo>
                  <a:lnTo>
                    <a:pt x="2514" y="346"/>
                  </a:lnTo>
                  <a:lnTo>
                    <a:pt x="2514" y="346"/>
                  </a:lnTo>
                  <a:lnTo>
                    <a:pt x="2514" y="348"/>
                  </a:lnTo>
                  <a:lnTo>
                    <a:pt x="2514" y="346"/>
                  </a:lnTo>
                  <a:lnTo>
                    <a:pt x="2514" y="346"/>
                  </a:lnTo>
                  <a:lnTo>
                    <a:pt x="2514" y="348"/>
                  </a:lnTo>
                  <a:lnTo>
                    <a:pt x="2514" y="346"/>
                  </a:lnTo>
                  <a:lnTo>
                    <a:pt x="2514" y="346"/>
                  </a:lnTo>
                  <a:lnTo>
                    <a:pt x="2514" y="348"/>
                  </a:lnTo>
                  <a:lnTo>
                    <a:pt x="2514" y="348"/>
                  </a:lnTo>
                  <a:lnTo>
                    <a:pt x="2517" y="349"/>
                  </a:lnTo>
                  <a:lnTo>
                    <a:pt x="2517" y="349"/>
                  </a:lnTo>
                  <a:lnTo>
                    <a:pt x="2522" y="352"/>
                  </a:lnTo>
                  <a:lnTo>
                    <a:pt x="2522" y="352"/>
                  </a:lnTo>
                  <a:lnTo>
                    <a:pt x="2523" y="352"/>
                  </a:lnTo>
                  <a:lnTo>
                    <a:pt x="2523" y="352"/>
                  </a:lnTo>
                  <a:lnTo>
                    <a:pt x="2523" y="350"/>
                  </a:lnTo>
                  <a:lnTo>
                    <a:pt x="2523" y="352"/>
                  </a:lnTo>
                  <a:lnTo>
                    <a:pt x="2523" y="352"/>
                  </a:lnTo>
                  <a:lnTo>
                    <a:pt x="2523" y="350"/>
                  </a:lnTo>
                  <a:lnTo>
                    <a:pt x="2523" y="352"/>
                  </a:lnTo>
                  <a:lnTo>
                    <a:pt x="2524" y="350"/>
                  </a:lnTo>
                  <a:lnTo>
                    <a:pt x="2522" y="352"/>
                  </a:lnTo>
                  <a:lnTo>
                    <a:pt x="2523" y="352"/>
                  </a:lnTo>
                  <a:lnTo>
                    <a:pt x="2524" y="350"/>
                  </a:lnTo>
                  <a:lnTo>
                    <a:pt x="2522" y="352"/>
                  </a:lnTo>
                  <a:lnTo>
                    <a:pt x="2524" y="350"/>
                  </a:lnTo>
                  <a:lnTo>
                    <a:pt x="2522" y="350"/>
                  </a:lnTo>
                  <a:lnTo>
                    <a:pt x="2522" y="350"/>
                  </a:lnTo>
                  <a:lnTo>
                    <a:pt x="2522" y="352"/>
                  </a:lnTo>
                  <a:lnTo>
                    <a:pt x="2524" y="350"/>
                  </a:lnTo>
                  <a:lnTo>
                    <a:pt x="2522" y="350"/>
                  </a:lnTo>
                  <a:lnTo>
                    <a:pt x="2524" y="350"/>
                  </a:lnTo>
                  <a:lnTo>
                    <a:pt x="2522" y="349"/>
                  </a:lnTo>
                  <a:lnTo>
                    <a:pt x="2522" y="349"/>
                  </a:lnTo>
                  <a:lnTo>
                    <a:pt x="2522" y="350"/>
                  </a:lnTo>
                  <a:lnTo>
                    <a:pt x="2524" y="350"/>
                  </a:lnTo>
                  <a:lnTo>
                    <a:pt x="2522" y="349"/>
                  </a:lnTo>
                  <a:lnTo>
                    <a:pt x="2524" y="350"/>
                  </a:lnTo>
                  <a:lnTo>
                    <a:pt x="2523" y="348"/>
                  </a:lnTo>
                  <a:lnTo>
                    <a:pt x="2523" y="348"/>
                  </a:lnTo>
                  <a:lnTo>
                    <a:pt x="2522" y="349"/>
                  </a:lnTo>
                  <a:lnTo>
                    <a:pt x="2524" y="350"/>
                  </a:lnTo>
                  <a:lnTo>
                    <a:pt x="2523" y="348"/>
                  </a:lnTo>
                  <a:lnTo>
                    <a:pt x="2524" y="350"/>
                  </a:lnTo>
                  <a:lnTo>
                    <a:pt x="2524" y="348"/>
                  </a:lnTo>
                  <a:lnTo>
                    <a:pt x="2523" y="348"/>
                  </a:lnTo>
                  <a:lnTo>
                    <a:pt x="2524" y="350"/>
                  </a:lnTo>
                  <a:lnTo>
                    <a:pt x="2524" y="348"/>
                  </a:lnTo>
                  <a:lnTo>
                    <a:pt x="2524" y="349"/>
                  </a:lnTo>
                  <a:lnTo>
                    <a:pt x="2524" y="348"/>
                  </a:lnTo>
                  <a:lnTo>
                    <a:pt x="2524" y="348"/>
                  </a:lnTo>
                  <a:lnTo>
                    <a:pt x="2524" y="349"/>
                  </a:lnTo>
                  <a:lnTo>
                    <a:pt x="2524" y="348"/>
                  </a:lnTo>
                  <a:lnTo>
                    <a:pt x="2524" y="348"/>
                  </a:lnTo>
                  <a:lnTo>
                    <a:pt x="2523" y="348"/>
                  </a:lnTo>
                  <a:lnTo>
                    <a:pt x="2523" y="348"/>
                  </a:lnTo>
                  <a:lnTo>
                    <a:pt x="2520" y="348"/>
                  </a:lnTo>
                  <a:lnTo>
                    <a:pt x="2520" y="348"/>
                  </a:lnTo>
                  <a:lnTo>
                    <a:pt x="2517" y="348"/>
                  </a:lnTo>
                  <a:lnTo>
                    <a:pt x="2517" y="348"/>
                  </a:lnTo>
                  <a:lnTo>
                    <a:pt x="2516" y="349"/>
                  </a:lnTo>
                  <a:lnTo>
                    <a:pt x="2516" y="349"/>
                  </a:lnTo>
                  <a:lnTo>
                    <a:pt x="2514" y="352"/>
                  </a:lnTo>
                  <a:lnTo>
                    <a:pt x="2514" y="352"/>
                  </a:lnTo>
                  <a:lnTo>
                    <a:pt x="2516" y="352"/>
                  </a:lnTo>
                  <a:lnTo>
                    <a:pt x="2514" y="352"/>
                  </a:lnTo>
                  <a:lnTo>
                    <a:pt x="2514" y="352"/>
                  </a:lnTo>
                  <a:lnTo>
                    <a:pt x="2516" y="352"/>
                  </a:lnTo>
                  <a:lnTo>
                    <a:pt x="2514" y="352"/>
                  </a:lnTo>
                  <a:lnTo>
                    <a:pt x="2516" y="352"/>
                  </a:lnTo>
                  <a:lnTo>
                    <a:pt x="2516" y="352"/>
                  </a:lnTo>
                  <a:lnTo>
                    <a:pt x="2514" y="352"/>
                  </a:lnTo>
                  <a:lnTo>
                    <a:pt x="2516" y="352"/>
                  </a:lnTo>
                  <a:lnTo>
                    <a:pt x="2516" y="352"/>
                  </a:lnTo>
                  <a:lnTo>
                    <a:pt x="2516" y="352"/>
                  </a:lnTo>
                  <a:lnTo>
                    <a:pt x="2513" y="353"/>
                  </a:lnTo>
                  <a:lnTo>
                    <a:pt x="2513" y="353"/>
                  </a:lnTo>
                  <a:lnTo>
                    <a:pt x="2510" y="358"/>
                  </a:lnTo>
                  <a:lnTo>
                    <a:pt x="2510" y="358"/>
                  </a:lnTo>
                  <a:lnTo>
                    <a:pt x="2510" y="358"/>
                  </a:lnTo>
                  <a:lnTo>
                    <a:pt x="2508" y="361"/>
                  </a:lnTo>
                  <a:lnTo>
                    <a:pt x="2508" y="361"/>
                  </a:lnTo>
                  <a:lnTo>
                    <a:pt x="2510" y="366"/>
                  </a:lnTo>
                  <a:lnTo>
                    <a:pt x="2510" y="366"/>
                  </a:lnTo>
                  <a:lnTo>
                    <a:pt x="2516" y="375"/>
                  </a:lnTo>
                  <a:lnTo>
                    <a:pt x="2516" y="375"/>
                  </a:lnTo>
                  <a:lnTo>
                    <a:pt x="2519" y="378"/>
                  </a:lnTo>
                  <a:lnTo>
                    <a:pt x="2519" y="379"/>
                  </a:lnTo>
                  <a:lnTo>
                    <a:pt x="2519" y="379"/>
                  </a:lnTo>
                  <a:lnTo>
                    <a:pt x="2519" y="379"/>
                  </a:lnTo>
                  <a:lnTo>
                    <a:pt x="2519" y="379"/>
                  </a:lnTo>
                  <a:lnTo>
                    <a:pt x="2519" y="379"/>
                  </a:lnTo>
                  <a:lnTo>
                    <a:pt x="2519" y="379"/>
                  </a:lnTo>
                  <a:lnTo>
                    <a:pt x="2519" y="379"/>
                  </a:lnTo>
                  <a:lnTo>
                    <a:pt x="2519" y="381"/>
                  </a:lnTo>
                  <a:lnTo>
                    <a:pt x="2519" y="381"/>
                  </a:lnTo>
                  <a:lnTo>
                    <a:pt x="2520" y="381"/>
                  </a:lnTo>
                  <a:lnTo>
                    <a:pt x="2519" y="381"/>
                  </a:lnTo>
                  <a:lnTo>
                    <a:pt x="2519" y="381"/>
                  </a:lnTo>
                  <a:lnTo>
                    <a:pt x="2520" y="381"/>
                  </a:lnTo>
                  <a:lnTo>
                    <a:pt x="2519" y="381"/>
                  </a:lnTo>
                  <a:lnTo>
                    <a:pt x="2522" y="381"/>
                  </a:lnTo>
                  <a:lnTo>
                    <a:pt x="2520" y="379"/>
                  </a:lnTo>
                  <a:lnTo>
                    <a:pt x="2520" y="379"/>
                  </a:lnTo>
                  <a:lnTo>
                    <a:pt x="2519" y="381"/>
                  </a:lnTo>
                  <a:lnTo>
                    <a:pt x="2522" y="381"/>
                  </a:lnTo>
                  <a:lnTo>
                    <a:pt x="2520" y="379"/>
                  </a:lnTo>
                  <a:lnTo>
                    <a:pt x="2522" y="381"/>
                  </a:lnTo>
                  <a:lnTo>
                    <a:pt x="2522" y="378"/>
                  </a:lnTo>
                  <a:lnTo>
                    <a:pt x="2522" y="378"/>
                  </a:lnTo>
                  <a:lnTo>
                    <a:pt x="2520" y="379"/>
                  </a:lnTo>
                  <a:lnTo>
                    <a:pt x="2522" y="381"/>
                  </a:lnTo>
                  <a:lnTo>
                    <a:pt x="2522" y="378"/>
                  </a:lnTo>
                  <a:lnTo>
                    <a:pt x="2522" y="379"/>
                  </a:lnTo>
                  <a:lnTo>
                    <a:pt x="2522" y="378"/>
                  </a:lnTo>
                  <a:lnTo>
                    <a:pt x="2522" y="378"/>
                  </a:lnTo>
                  <a:lnTo>
                    <a:pt x="2522" y="379"/>
                  </a:lnTo>
                  <a:lnTo>
                    <a:pt x="2522" y="378"/>
                  </a:lnTo>
                  <a:lnTo>
                    <a:pt x="2522" y="378"/>
                  </a:lnTo>
                  <a:lnTo>
                    <a:pt x="2520" y="378"/>
                  </a:lnTo>
                  <a:lnTo>
                    <a:pt x="2520" y="378"/>
                  </a:lnTo>
                  <a:lnTo>
                    <a:pt x="2516" y="378"/>
                  </a:lnTo>
                  <a:lnTo>
                    <a:pt x="2516" y="378"/>
                  </a:lnTo>
                  <a:lnTo>
                    <a:pt x="2513" y="378"/>
                  </a:lnTo>
                  <a:lnTo>
                    <a:pt x="2513" y="378"/>
                  </a:lnTo>
                  <a:lnTo>
                    <a:pt x="2510" y="381"/>
                  </a:lnTo>
                  <a:lnTo>
                    <a:pt x="2510" y="381"/>
                  </a:lnTo>
                  <a:lnTo>
                    <a:pt x="2507" y="382"/>
                  </a:lnTo>
                  <a:lnTo>
                    <a:pt x="2507" y="384"/>
                  </a:lnTo>
                  <a:lnTo>
                    <a:pt x="2507" y="382"/>
                  </a:lnTo>
                  <a:lnTo>
                    <a:pt x="2507" y="382"/>
                  </a:lnTo>
                  <a:lnTo>
                    <a:pt x="2507" y="384"/>
                  </a:lnTo>
                  <a:lnTo>
                    <a:pt x="2507" y="382"/>
                  </a:lnTo>
                  <a:lnTo>
                    <a:pt x="2507" y="384"/>
                  </a:lnTo>
                  <a:lnTo>
                    <a:pt x="2508" y="382"/>
                  </a:lnTo>
                  <a:lnTo>
                    <a:pt x="2507" y="382"/>
                  </a:lnTo>
                  <a:lnTo>
                    <a:pt x="2507" y="384"/>
                  </a:lnTo>
                  <a:lnTo>
                    <a:pt x="2508" y="382"/>
                  </a:lnTo>
                  <a:lnTo>
                    <a:pt x="2508" y="382"/>
                  </a:lnTo>
                  <a:lnTo>
                    <a:pt x="2508" y="382"/>
                  </a:lnTo>
                  <a:lnTo>
                    <a:pt x="2508" y="382"/>
                  </a:lnTo>
                  <a:lnTo>
                    <a:pt x="2508" y="382"/>
                  </a:lnTo>
                  <a:lnTo>
                    <a:pt x="2507" y="382"/>
                  </a:lnTo>
                  <a:lnTo>
                    <a:pt x="2507" y="382"/>
                  </a:lnTo>
                  <a:lnTo>
                    <a:pt x="2506" y="379"/>
                  </a:lnTo>
                  <a:lnTo>
                    <a:pt x="2506" y="379"/>
                  </a:lnTo>
                  <a:lnTo>
                    <a:pt x="2504" y="375"/>
                  </a:lnTo>
                  <a:lnTo>
                    <a:pt x="2504" y="375"/>
                  </a:lnTo>
                  <a:lnTo>
                    <a:pt x="2504" y="375"/>
                  </a:lnTo>
                  <a:lnTo>
                    <a:pt x="2504" y="375"/>
                  </a:lnTo>
                  <a:lnTo>
                    <a:pt x="2504" y="375"/>
                  </a:lnTo>
                  <a:lnTo>
                    <a:pt x="2504" y="375"/>
                  </a:lnTo>
                  <a:lnTo>
                    <a:pt x="2504" y="375"/>
                  </a:lnTo>
                  <a:lnTo>
                    <a:pt x="2503" y="375"/>
                  </a:lnTo>
                  <a:lnTo>
                    <a:pt x="2504" y="375"/>
                  </a:lnTo>
                  <a:lnTo>
                    <a:pt x="2504" y="375"/>
                  </a:lnTo>
                  <a:lnTo>
                    <a:pt x="2503" y="375"/>
                  </a:lnTo>
                  <a:lnTo>
                    <a:pt x="2504" y="375"/>
                  </a:lnTo>
                  <a:lnTo>
                    <a:pt x="2504" y="375"/>
                  </a:lnTo>
                  <a:lnTo>
                    <a:pt x="2504" y="375"/>
                  </a:lnTo>
                  <a:lnTo>
                    <a:pt x="2506" y="374"/>
                  </a:lnTo>
                  <a:lnTo>
                    <a:pt x="2506" y="374"/>
                  </a:lnTo>
                  <a:lnTo>
                    <a:pt x="2504" y="372"/>
                  </a:lnTo>
                  <a:lnTo>
                    <a:pt x="2504" y="372"/>
                  </a:lnTo>
                  <a:lnTo>
                    <a:pt x="2503" y="371"/>
                  </a:lnTo>
                  <a:lnTo>
                    <a:pt x="2503" y="371"/>
                  </a:lnTo>
                  <a:lnTo>
                    <a:pt x="2497" y="369"/>
                  </a:lnTo>
                  <a:lnTo>
                    <a:pt x="2497" y="369"/>
                  </a:lnTo>
                  <a:lnTo>
                    <a:pt x="2493" y="371"/>
                  </a:lnTo>
                  <a:lnTo>
                    <a:pt x="2488" y="372"/>
                  </a:lnTo>
                  <a:lnTo>
                    <a:pt x="2488" y="372"/>
                  </a:lnTo>
                  <a:lnTo>
                    <a:pt x="2487" y="374"/>
                  </a:lnTo>
                  <a:lnTo>
                    <a:pt x="2487" y="374"/>
                  </a:lnTo>
                  <a:lnTo>
                    <a:pt x="2485" y="377"/>
                  </a:lnTo>
                  <a:lnTo>
                    <a:pt x="2485" y="377"/>
                  </a:lnTo>
                  <a:lnTo>
                    <a:pt x="2487" y="381"/>
                  </a:lnTo>
                  <a:lnTo>
                    <a:pt x="2488" y="384"/>
                  </a:lnTo>
                  <a:lnTo>
                    <a:pt x="2488" y="384"/>
                  </a:lnTo>
                  <a:lnTo>
                    <a:pt x="2491" y="390"/>
                  </a:lnTo>
                  <a:lnTo>
                    <a:pt x="2491" y="390"/>
                  </a:lnTo>
                  <a:lnTo>
                    <a:pt x="2491" y="390"/>
                  </a:lnTo>
                  <a:lnTo>
                    <a:pt x="2493" y="390"/>
                  </a:lnTo>
                  <a:lnTo>
                    <a:pt x="2491" y="390"/>
                  </a:lnTo>
                  <a:lnTo>
                    <a:pt x="2491" y="390"/>
                  </a:lnTo>
                  <a:lnTo>
                    <a:pt x="2493" y="390"/>
                  </a:lnTo>
                  <a:lnTo>
                    <a:pt x="2491" y="390"/>
                  </a:lnTo>
                  <a:lnTo>
                    <a:pt x="2493" y="390"/>
                  </a:lnTo>
                  <a:lnTo>
                    <a:pt x="2493" y="388"/>
                  </a:lnTo>
                  <a:lnTo>
                    <a:pt x="2491" y="390"/>
                  </a:lnTo>
                  <a:lnTo>
                    <a:pt x="2493" y="390"/>
                  </a:lnTo>
                  <a:lnTo>
                    <a:pt x="2493" y="388"/>
                  </a:lnTo>
                  <a:lnTo>
                    <a:pt x="2493" y="390"/>
                  </a:lnTo>
                  <a:lnTo>
                    <a:pt x="2493" y="388"/>
                  </a:lnTo>
                  <a:lnTo>
                    <a:pt x="2493" y="388"/>
                  </a:lnTo>
                  <a:lnTo>
                    <a:pt x="2493" y="390"/>
                  </a:lnTo>
                  <a:lnTo>
                    <a:pt x="2493" y="388"/>
                  </a:lnTo>
                  <a:lnTo>
                    <a:pt x="2493" y="388"/>
                  </a:lnTo>
                  <a:lnTo>
                    <a:pt x="2493" y="388"/>
                  </a:lnTo>
                  <a:lnTo>
                    <a:pt x="2493" y="388"/>
                  </a:lnTo>
                  <a:lnTo>
                    <a:pt x="2493" y="388"/>
                  </a:lnTo>
                  <a:lnTo>
                    <a:pt x="2493" y="388"/>
                  </a:lnTo>
                  <a:lnTo>
                    <a:pt x="2493" y="388"/>
                  </a:lnTo>
                  <a:lnTo>
                    <a:pt x="2491" y="388"/>
                  </a:lnTo>
                  <a:lnTo>
                    <a:pt x="2491" y="388"/>
                  </a:lnTo>
                  <a:lnTo>
                    <a:pt x="2488" y="387"/>
                  </a:lnTo>
                  <a:lnTo>
                    <a:pt x="2488" y="387"/>
                  </a:lnTo>
                  <a:lnTo>
                    <a:pt x="2484" y="388"/>
                  </a:lnTo>
                  <a:lnTo>
                    <a:pt x="2484" y="388"/>
                  </a:lnTo>
                  <a:lnTo>
                    <a:pt x="2484" y="392"/>
                  </a:lnTo>
                  <a:lnTo>
                    <a:pt x="2484" y="392"/>
                  </a:lnTo>
                  <a:lnTo>
                    <a:pt x="2482" y="398"/>
                  </a:lnTo>
                  <a:lnTo>
                    <a:pt x="2482" y="398"/>
                  </a:lnTo>
                  <a:lnTo>
                    <a:pt x="2482" y="398"/>
                  </a:lnTo>
                  <a:lnTo>
                    <a:pt x="2482" y="400"/>
                  </a:lnTo>
                  <a:lnTo>
                    <a:pt x="2482" y="398"/>
                  </a:lnTo>
                  <a:lnTo>
                    <a:pt x="2482" y="398"/>
                  </a:lnTo>
                  <a:lnTo>
                    <a:pt x="2482" y="400"/>
                  </a:lnTo>
                  <a:lnTo>
                    <a:pt x="2482" y="398"/>
                  </a:lnTo>
                  <a:lnTo>
                    <a:pt x="2484" y="400"/>
                  </a:lnTo>
                  <a:lnTo>
                    <a:pt x="2484" y="398"/>
                  </a:lnTo>
                  <a:lnTo>
                    <a:pt x="2482" y="398"/>
                  </a:lnTo>
                  <a:lnTo>
                    <a:pt x="2484" y="400"/>
                  </a:lnTo>
                  <a:lnTo>
                    <a:pt x="2484" y="398"/>
                  </a:lnTo>
                  <a:lnTo>
                    <a:pt x="2484" y="400"/>
                  </a:lnTo>
                  <a:lnTo>
                    <a:pt x="2484" y="398"/>
                  </a:lnTo>
                  <a:lnTo>
                    <a:pt x="2484" y="398"/>
                  </a:lnTo>
                  <a:lnTo>
                    <a:pt x="2484" y="400"/>
                  </a:lnTo>
                  <a:lnTo>
                    <a:pt x="2484" y="398"/>
                  </a:lnTo>
                  <a:lnTo>
                    <a:pt x="2484" y="398"/>
                  </a:lnTo>
                  <a:lnTo>
                    <a:pt x="2484" y="398"/>
                  </a:lnTo>
                  <a:lnTo>
                    <a:pt x="2481" y="395"/>
                  </a:lnTo>
                  <a:lnTo>
                    <a:pt x="2481" y="395"/>
                  </a:lnTo>
                  <a:lnTo>
                    <a:pt x="2477" y="388"/>
                  </a:lnTo>
                  <a:lnTo>
                    <a:pt x="2477" y="388"/>
                  </a:lnTo>
                  <a:lnTo>
                    <a:pt x="2474" y="385"/>
                  </a:lnTo>
                  <a:lnTo>
                    <a:pt x="2471" y="382"/>
                  </a:lnTo>
                  <a:lnTo>
                    <a:pt x="2471" y="382"/>
                  </a:lnTo>
                  <a:lnTo>
                    <a:pt x="2464" y="378"/>
                  </a:lnTo>
                  <a:lnTo>
                    <a:pt x="2464" y="378"/>
                  </a:lnTo>
                  <a:lnTo>
                    <a:pt x="2461" y="377"/>
                  </a:lnTo>
                  <a:lnTo>
                    <a:pt x="2458" y="377"/>
                  </a:lnTo>
                  <a:lnTo>
                    <a:pt x="2456" y="377"/>
                  </a:lnTo>
                  <a:lnTo>
                    <a:pt x="2456" y="377"/>
                  </a:lnTo>
                  <a:lnTo>
                    <a:pt x="2456" y="377"/>
                  </a:lnTo>
                  <a:lnTo>
                    <a:pt x="2453" y="377"/>
                  </a:lnTo>
                  <a:lnTo>
                    <a:pt x="2453" y="377"/>
                  </a:lnTo>
                  <a:lnTo>
                    <a:pt x="2449" y="374"/>
                  </a:lnTo>
                  <a:lnTo>
                    <a:pt x="2442" y="371"/>
                  </a:lnTo>
                  <a:lnTo>
                    <a:pt x="2442" y="371"/>
                  </a:lnTo>
                  <a:lnTo>
                    <a:pt x="2440" y="371"/>
                  </a:lnTo>
                  <a:lnTo>
                    <a:pt x="2440" y="371"/>
                  </a:lnTo>
                  <a:lnTo>
                    <a:pt x="2435" y="372"/>
                  </a:lnTo>
                  <a:lnTo>
                    <a:pt x="2430" y="374"/>
                  </a:lnTo>
                  <a:lnTo>
                    <a:pt x="2430" y="374"/>
                  </a:lnTo>
                  <a:lnTo>
                    <a:pt x="2429" y="377"/>
                  </a:lnTo>
                  <a:lnTo>
                    <a:pt x="2429" y="377"/>
                  </a:lnTo>
                  <a:lnTo>
                    <a:pt x="2427" y="378"/>
                  </a:lnTo>
                  <a:lnTo>
                    <a:pt x="2427" y="378"/>
                  </a:lnTo>
                  <a:lnTo>
                    <a:pt x="2423" y="379"/>
                  </a:lnTo>
                  <a:lnTo>
                    <a:pt x="2423" y="379"/>
                  </a:lnTo>
                  <a:lnTo>
                    <a:pt x="2419" y="381"/>
                  </a:lnTo>
                  <a:lnTo>
                    <a:pt x="2419" y="381"/>
                  </a:lnTo>
                  <a:lnTo>
                    <a:pt x="2417" y="379"/>
                  </a:lnTo>
                  <a:lnTo>
                    <a:pt x="2417" y="381"/>
                  </a:lnTo>
                  <a:lnTo>
                    <a:pt x="2417" y="379"/>
                  </a:lnTo>
                  <a:lnTo>
                    <a:pt x="2417" y="379"/>
                  </a:lnTo>
                  <a:lnTo>
                    <a:pt x="2417" y="381"/>
                  </a:lnTo>
                  <a:lnTo>
                    <a:pt x="2417" y="379"/>
                  </a:lnTo>
                  <a:lnTo>
                    <a:pt x="2416" y="379"/>
                  </a:lnTo>
                  <a:lnTo>
                    <a:pt x="2416" y="379"/>
                  </a:lnTo>
                  <a:lnTo>
                    <a:pt x="2414" y="375"/>
                  </a:lnTo>
                  <a:lnTo>
                    <a:pt x="2411" y="369"/>
                  </a:lnTo>
                  <a:lnTo>
                    <a:pt x="2411" y="369"/>
                  </a:lnTo>
                  <a:lnTo>
                    <a:pt x="2409" y="364"/>
                  </a:lnTo>
                  <a:lnTo>
                    <a:pt x="2409" y="364"/>
                  </a:lnTo>
                  <a:lnTo>
                    <a:pt x="2406" y="359"/>
                  </a:lnTo>
                  <a:lnTo>
                    <a:pt x="2406" y="359"/>
                  </a:lnTo>
                  <a:lnTo>
                    <a:pt x="2404" y="356"/>
                  </a:lnTo>
                  <a:lnTo>
                    <a:pt x="2404" y="356"/>
                  </a:lnTo>
                  <a:lnTo>
                    <a:pt x="2404" y="356"/>
                  </a:lnTo>
                  <a:lnTo>
                    <a:pt x="2401" y="356"/>
                  </a:lnTo>
                  <a:lnTo>
                    <a:pt x="2401" y="356"/>
                  </a:lnTo>
                  <a:lnTo>
                    <a:pt x="2400" y="356"/>
                  </a:lnTo>
                  <a:lnTo>
                    <a:pt x="2400" y="356"/>
                  </a:lnTo>
                  <a:lnTo>
                    <a:pt x="2398" y="359"/>
                  </a:lnTo>
                  <a:lnTo>
                    <a:pt x="2398" y="359"/>
                  </a:lnTo>
                  <a:lnTo>
                    <a:pt x="2397" y="362"/>
                  </a:lnTo>
                  <a:lnTo>
                    <a:pt x="2394" y="366"/>
                  </a:lnTo>
                  <a:lnTo>
                    <a:pt x="2394" y="366"/>
                  </a:lnTo>
                  <a:lnTo>
                    <a:pt x="2391" y="374"/>
                  </a:lnTo>
                  <a:lnTo>
                    <a:pt x="2390" y="381"/>
                  </a:lnTo>
                  <a:lnTo>
                    <a:pt x="2390" y="381"/>
                  </a:lnTo>
                  <a:lnTo>
                    <a:pt x="2388" y="395"/>
                  </a:lnTo>
                  <a:lnTo>
                    <a:pt x="2388" y="395"/>
                  </a:lnTo>
                  <a:lnTo>
                    <a:pt x="2387" y="403"/>
                  </a:lnTo>
                  <a:lnTo>
                    <a:pt x="2382" y="408"/>
                  </a:lnTo>
                  <a:lnTo>
                    <a:pt x="2382" y="408"/>
                  </a:lnTo>
                  <a:lnTo>
                    <a:pt x="2378" y="414"/>
                  </a:lnTo>
                  <a:lnTo>
                    <a:pt x="2378" y="414"/>
                  </a:lnTo>
                  <a:lnTo>
                    <a:pt x="2375" y="417"/>
                  </a:lnTo>
                  <a:lnTo>
                    <a:pt x="2375" y="417"/>
                  </a:lnTo>
                  <a:lnTo>
                    <a:pt x="2377" y="419"/>
                  </a:lnTo>
                  <a:lnTo>
                    <a:pt x="2377" y="417"/>
                  </a:lnTo>
                  <a:lnTo>
                    <a:pt x="2377" y="417"/>
                  </a:lnTo>
                  <a:lnTo>
                    <a:pt x="2375" y="417"/>
                  </a:lnTo>
                  <a:lnTo>
                    <a:pt x="2377" y="419"/>
                  </a:lnTo>
                  <a:lnTo>
                    <a:pt x="2377" y="417"/>
                  </a:lnTo>
                  <a:lnTo>
                    <a:pt x="2377" y="419"/>
                  </a:lnTo>
                  <a:lnTo>
                    <a:pt x="2378" y="417"/>
                  </a:lnTo>
                  <a:lnTo>
                    <a:pt x="2378" y="417"/>
                  </a:lnTo>
                  <a:lnTo>
                    <a:pt x="2377" y="417"/>
                  </a:lnTo>
                  <a:lnTo>
                    <a:pt x="2377" y="419"/>
                  </a:lnTo>
                  <a:lnTo>
                    <a:pt x="2378" y="417"/>
                  </a:lnTo>
                  <a:lnTo>
                    <a:pt x="2378" y="417"/>
                  </a:lnTo>
                  <a:lnTo>
                    <a:pt x="2378" y="417"/>
                  </a:lnTo>
                  <a:lnTo>
                    <a:pt x="2378" y="417"/>
                  </a:lnTo>
                  <a:lnTo>
                    <a:pt x="2378" y="417"/>
                  </a:lnTo>
                  <a:lnTo>
                    <a:pt x="2378" y="417"/>
                  </a:lnTo>
                  <a:lnTo>
                    <a:pt x="2378" y="417"/>
                  </a:lnTo>
                  <a:lnTo>
                    <a:pt x="2378" y="416"/>
                  </a:lnTo>
                  <a:lnTo>
                    <a:pt x="2378" y="416"/>
                  </a:lnTo>
                  <a:lnTo>
                    <a:pt x="2377" y="413"/>
                  </a:lnTo>
                  <a:lnTo>
                    <a:pt x="2377" y="413"/>
                  </a:lnTo>
                  <a:lnTo>
                    <a:pt x="2377" y="408"/>
                  </a:lnTo>
                  <a:lnTo>
                    <a:pt x="2377" y="408"/>
                  </a:lnTo>
                  <a:lnTo>
                    <a:pt x="2375" y="407"/>
                  </a:lnTo>
                  <a:lnTo>
                    <a:pt x="2372" y="406"/>
                  </a:lnTo>
                  <a:lnTo>
                    <a:pt x="2372" y="406"/>
                  </a:lnTo>
                  <a:lnTo>
                    <a:pt x="2369" y="406"/>
                  </a:lnTo>
                  <a:lnTo>
                    <a:pt x="2369" y="406"/>
                  </a:lnTo>
                  <a:lnTo>
                    <a:pt x="2365" y="406"/>
                  </a:lnTo>
                  <a:lnTo>
                    <a:pt x="2365" y="407"/>
                  </a:lnTo>
                  <a:lnTo>
                    <a:pt x="2367" y="406"/>
                  </a:lnTo>
                  <a:lnTo>
                    <a:pt x="2367" y="406"/>
                  </a:lnTo>
                  <a:lnTo>
                    <a:pt x="2365" y="406"/>
                  </a:lnTo>
                  <a:lnTo>
                    <a:pt x="2365" y="407"/>
                  </a:lnTo>
                  <a:lnTo>
                    <a:pt x="2367" y="406"/>
                  </a:lnTo>
                  <a:lnTo>
                    <a:pt x="2365" y="406"/>
                  </a:lnTo>
                  <a:lnTo>
                    <a:pt x="2367" y="406"/>
                  </a:lnTo>
                  <a:lnTo>
                    <a:pt x="2367" y="406"/>
                  </a:lnTo>
                  <a:lnTo>
                    <a:pt x="2365" y="406"/>
                  </a:lnTo>
                  <a:lnTo>
                    <a:pt x="2367" y="406"/>
                  </a:lnTo>
                  <a:lnTo>
                    <a:pt x="2367" y="406"/>
                  </a:lnTo>
                  <a:lnTo>
                    <a:pt x="2365" y="404"/>
                  </a:lnTo>
                  <a:lnTo>
                    <a:pt x="2365" y="404"/>
                  </a:lnTo>
                  <a:lnTo>
                    <a:pt x="2364" y="395"/>
                  </a:lnTo>
                  <a:lnTo>
                    <a:pt x="2364" y="395"/>
                  </a:lnTo>
                  <a:lnTo>
                    <a:pt x="2362" y="390"/>
                  </a:lnTo>
                  <a:lnTo>
                    <a:pt x="2359" y="385"/>
                  </a:lnTo>
                  <a:lnTo>
                    <a:pt x="2359" y="385"/>
                  </a:lnTo>
                  <a:lnTo>
                    <a:pt x="2356" y="379"/>
                  </a:lnTo>
                  <a:lnTo>
                    <a:pt x="2356" y="379"/>
                  </a:lnTo>
                  <a:lnTo>
                    <a:pt x="2354" y="377"/>
                  </a:lnTo>
                  <a:lnTo>
                    <a:pt x="2349" y="374"/>
                  </a:lnTo>
                  <a:lnTo>
                    <a:pt x="2349" y="374"/>
                  </a:lnTo>
                  <a:lnTo>
                    <a:pt x="2348" y="372"/>
                  </a:lnTo>
                  <a:lnTo>
                    <a:pt x="2346" y="371"/>
                  </a:lnTo>
                  <a:lnTo>
                    <a:pt x="2346" y="371"/>
                  </a:lnTo>
                  <a:lnTo>
                    <a:pt x="2346" y="369"/>
                  </a:lnTo>
                  <a:lnTo>
                    <a:pt x="2346" y="369"/>
                  </a:lnTo>
                  <a:lnTo>
                    <a:pt x="2346" y="365"/>
                  </a:lnTo>
                  <a:lnTo>
                    <a:pt x="2346" y="365"/>
                  </a:lnTo>
                  <a:lnTo>
                    <a:pt x="2343" y="362"/>
                  </a:lnTo>
                  <a:lnTo>
                    <a:pt x="2343" y="362"/>
                  </a:lnTo>
                  <a:lnTo>
                    <a:pt x="2340" y="361"/>
                  </a:lnTo>
                  <a:lnTo>
                    <a:pt x="2340" y="361"/>
                  </a:lnTo>
                  <a:lnTo>
                    <a:pt x="2338" y="361"/>
                  </a:lnTo>
                  <a:lnTo>
                    <a:pt x="2338" y="361"/>
                  </a:lnTo>
                  <a:lnTo>
                    <a:pt x="2336" y="362"/>
                  </a:lnTo>
                  <a:lnTo>
                    <a:pt x="2336" y="364"/>
                  </a:lnTo>
                  <a:lnTo>
                    <a:pt x="2336" y="362"/>
                  </a:lnTo>
                  <a:lnTo>
                    <a:pt x="2336" y="362"/>
                  </a:lnTo>
                  <a:lnTo>
                    <a:pt x="2336" y="364"/>
                  </a:lnTo>
                  <a:lnTo>
                    <a:pt x="2336" y="362"/>
                  </a:lnTo>
                  <a:lnTo>
                    <a:pt x="2336" y="364"/>
                  </a:lnTo>
                  <a:lnTo>
                    <a:pt x="2338" y="362"/>
                  </a:lnTo>
                  <a:lnTo>
                    <a:pt x="2336" y="362"/>
                  </a:lnTo>
                  <a:lnTo>
                    <a:pt x="2336" y="364"/>
                  </a:lnTo>
                  <a:lnTo>
                    <a:pt x="2338" y="362"/>
                  </a:lnTo>
                  <a:lnTo>
                    <a:pt x="2336" y="364"/>
                  </a:lnTo>
                  <a:lnTo>
                    <a:pt x="2338" y="362"/>
                  </a:lnTo>
                  <a:lnTo>
                    <a:pt x="2338" y="362"/>
                  </a:lnTo>
                  <a:lnTo>
                    <a:pt x="2336" y="364"/>
                  </a:lnTo>
                  <a:lnTo>
                    <a:pt x="2338" y="362"/>
                  </a:lnTo>
                  <a:lnTo>
                    <a:pt x="2338" y="362"/>
                  </a:lnTo>
                  <a:lnTo>
                    <a:pt x="2336" y="361"/>
                  </a:lnTo>
                  <a:lnTo>
                    <a:pt x="2336" y="361"/>
                  </a:lnTo>
                  <a:lnTo>
                    <a:pt x="2336" y="358"/>
                  </a:lnTo>
                  <a:lnTo>
                    <a:pt x="2336" y="358"/>
                  </a:lnTo>
                  <a:lnTo>
                    <a:pt x="2335" y="353"/>
                  </a:lnTo>
                  <a:lnTo>
                    <a:pt x="2335" y="353"/>
                  </a:lnTo>
                  <a:lnTo>
                    <a:pt x="2332" y="353"/>
                  </a:lnTo>
                  <a:lnTo>
                    <a:pt x="2332" y="353"/>
                  </a:lnTo>
                  <a:lnTo>
                    <a:pt x="2329" y="353"/>
                  </a:lnTo>
                  <a:lnTo>
                    <a:pt x="2329" y="353"/>
                  </a:lnTo>
                  <a:lnTo>
                    <a:pt x="2326" y="355"/>
                  </a:lnTo>
                  <a:lnTo>
                    <a:pt x="2327" y="356"/>
                  </a:lnTo>
                  <a:lnTo>
                    <a:pt x="2327" y="355"/>
                  </a:lnTo>
                  <a:lnTo>
                    <a:pt x="2327" y="355"/>
                  </a:lnTo>
                  <a:lnTo>
                    <a:pt x="2326" y="355"/>
                  </a:lnTo>
                  <a:lnTo>
                    <a:pt x="2327" y="356"/>
                  </a:lnTo>
                  <a:lnTo>
                    <a:pt x="2327" y="355"/>
                  </a:lnTo>
                  <a:lnTo>
                    <a:pt x="2327" y="356"/>
                  </a:lnTo>
                  <a:lnTo>
                    <a:pt x="2329" y="355"/>
                  </a:lnTo>
                  <a:lnTo>
                    <a:pt x="2329" y="355"/>
                  </a:lnTo>
                  <a:lnTo>
                    <a:pt x="2327" y="355"/>
                  </a:lnTo>
                  <a:lnTo>
                    <a:pt x="2327" y="356"/>
                  </a:lnTo>
                  <a:lnTo>
                    <a:pt x="2329" y="355"/>
                  </a:lnTo>
                  <a:lnTo>
                    <a:pt x="2329" y="356"/>
                  </a:lnTo>
                  <a:lnTo>
                    <a:pt x="2329" y="355"/>
                  </a:lnTo>
                  <a:lnTo>
                    <a:pt x="2329" y="355"/>
                  </a:lnTo>
                  <a:lnTo>
                    <a:pt x="2329" y="356"/>
                  </a:lnTo>
                  <a:lnTo>
                    <a:pt x="2329" y="355"/>
                  </a:lnTo>
                  <a:lnTo>
                    <a:pt x="2329" y="356"/>
                  </a:lnTo>
                  <a:lnTo>
                    <a:pt x="2329" y="355"/>
                  </a:lnTo>
                  <a:lnTo>
                    <a:pt x="2329" y="355"/>
                  </a:lnTo>
                  <a:lnTo>
                    <a:pt x="2329" y="356"/>
                  </a:lnTo>
                  <a:lnTo>
                    <a:pt x="2329" y="355"/>
                  </a:lnTo>
                  <a:lnTo>
                    <a:pt x="2329" y="355"/>
                  </a:lnTo>
                  <a:lnTo>
                    <a:pt x="2327" y="353"/>
                  </a:lnTo>
                  <a:lnTo>
                    <a:pt x="2327" y="353"/>
                  </a:lnTo>
                  <a:lnTo>
                    <a:pt x="2326" y="346"/>
                  </a:lnTo>
                  <a:lnTo>
                    <a:pt x="2326" y="346"/>
                  </a:lnTo>
                  <a:lnTo>
                    <a:pt x="2325" y="343"/>
                  </a:lnTo>
                  <a:lnTo>
                    <a:pt x="2325" y="343"/>
                  </a:lnTo>
                  <a:lnTo>
                    <a:pt x="2322" y="340"/>
                  </a:lnTo>
                  <a:lnTo>
                    <a:pt x="2322" y="340"/>
                  </a:lnTo>
                  <a:lnTo>
                    <a:pt x="2322" y="340"/>
                  </a:lnTo>
                  <a:lnTo>
                    <a:pt x="2316" y="337"/>
                  </a:lnTo>
                  <a:lnTo>
                    <a:pt x="2309" y="336"/>
                  </a:lnTo>
                  <a:lnTo>
                    <a:pt x="2309" y="336"/>
                  </a:lnTo>
                  <a:lnTo>
                    <a:pt x="2306" y="336"/>
                  </a:lnTo>
                  <a:lnTo>
                    <a:pt x="2306" y="336"/>
                  </a:lnTo>
                  <a:lnTo>
                    <a:pt x="2306" y="336"/>
                  </a:lnTo>
                  <a:lnTo>
                    <a:pt x="2304" y="335"/>
                  </a:lnTo>
                  <a:lnTo>
                    <a:pt x="2304" y="335"/>
                  </a:lnTo>
                  <a:lnTo>
                    <a:pt x="2301" y="330"/>
                  </a:lnTo>
                  <a:lnTo>
                    <a:pt x="2301" y="330"/>
                  </a:lnTo>
                  <a:lnTo>
                    <a:pt x="2300" y="329"/>
                  </a:lnTo>
                  <a:lnTo>
                    <a:pt x="2300" y="329"/>
                  </a:lnTo>
                  <a:lnTo>
                    <a:pt x="2300" y="327"/>
                  </a:lnTo>
                  <a:lnTo>
                    <a:pt x="2297" y="327"/>
                  </a:lnTo>
                  <a:lnTo>
                    <a:pt x="2298" y="327"/>
                  </a:lnTo>
                  <a:lnTo>
                    <a:pt x="2300" y="327"/>
                  </a:lnTo>
                  <a:lnTo>
                    <a:pt x="2297" y="327"/>
                  </a:lnTo>
                  <a:lnTo>
                    <a:pt x="2298" y="327"/>
                  </a:lnTo>
                  <a:lnTo>
                    <a:pt x="2297" y="327"/>
                  </a:lnTo>
                  <a:lnTo>
                    <a:pt x="2298" y="329"/>
                  </a:lnTo>
                  <a:lnTo>
                    <a:pt x="2298" y="329"/>
                  </a:lnTo>
                  <a:lnTo>
                    <a:pt x="2298" y="327"/>
                  </a:lnTo>
                  <a:lnTo>
                    <a:pt x="2297" y="327"/>
                  </a:lnTo>
                  <a:lnTo>
                    <a:pt x="2298" y="329"/>
                  </a:lnTo>
                  <a:lnTo>
                    <a:pt x="2298" y="327"/>
                  </a:lnTo>
                  <a:lnTo>
                    <a:pt x="2298" y="329"/>
                  </a:lnTo>
                  <a:lnTo>
                    <a:pt x="2298" y="329"/>
                  </a:lnTo>
                  <a:lnTo>
                    <a:pt x="2298" y="327"/>
                  </a:lnTo>
                  <a:lnTo>
                    <a:pt x="2298" y="329"/>
                  </a:lnTo>
                  <a:lnTo>
                    <a:pt x="2298" y="329"/>
                  </a:lnTo>
                  <a:lnTo>
                    <a:pt x="2298" y="329"/>
                  </a:lnTo>
                  <a:lnTo>
                    <a:pt x="2301" y="330"/>
                  </a:lnTo>
                  <a:lnTo>
                    <a:pt x="2301" y="330"/>
                  </a:lnTo>
                  <a:lnTo>
                    <a:pt x="2320" y="337"/>
                  </a:lnTo>
                  <a:lnTo>
                    <a:pt x="2320" y="337"/>
                  </a:lnTo>
                  <a:lnTo>
                    <a:pt x="2323" y="340"/>
                  </a:lnTo>
                  <a:lnTo>
                    <a:pt x="2325" y="343"/>
                  </a:lnTo>
                  <a:lnTo>
                    <a:pt x="2325" y="343"/>
                  </a:lnTo>
                  <a:lnTo>
                    <a:pt x="2326" y="346"/>
                  </a:lnTo>
                  <a:lnTo>
                    <a:pt x="2330" y="350"/>
                  </a:lnTo>
                  <a:lnTo>
                    <a:pt x="2330" y="350"/>
                  </a:lnTo>
                  <a:lnTo>
                    <a:pt x="2336" y="355"/>
                  </a:lnTo>
                  <a:lnTo>
                    <a:pt x="2336" y="355"/>
                  </a:lnTo>
                  <a:lnTo>
                    <a:pt x="2340" y="356"/>
                  </a:lnTo>
                  <a:lnTo>
                    <a:pt x="2340" y="356"/>
                  </a:lnTo>
                  <a:lnTo>
                    <a:pt x="2343" y="355"/>
                  </a:lnTo>
                  <a:lnTo>
                    <a:pt x="2343" y="355"/>
                  </a:lnTo>
                  <a:lnTo>
                    <a:pt x="2345" y="352"/>
                  </a:lnTo>
                  <a:lnTo>
                    <a:pt x="2345" y="352"/>
                  </a:lnTo>
                  <a:lnTo>
                    <a:pt x="2346" y="345"/>
                  </a:lnTo>
                  <a:lnTo>
                    <a:pt x="2346" y="345"/>
                  </a:lnTo>
                  <a:lnTo>
                    <a:pt x="2348" y="326"/>
                  </a:lnTo>
                  <a:lnTo>
                    <a:pt x="2348" y="326"/>
                  </a:lnTo>
                  <a:lnTo>
                    <a:pt x="2348" y="313"/>
                  </a:lnTo>
                  <a:lnTo>
                    <a:pt x="2348" y="313"/>
                  </a:lnTo>
                  <a:lnTo>
                    <a:pt x="2348" y="310"/>
                  </a:lnTo>
                  <a:lnTo>
                    <a:pt x="2346" y="307"/>
                  </a:lnTo>
                  <a:lnTo>
                    <a:pt x="2346" y="307"/>
                  </a:lnTo>
                  <a:lnTo>
                    <a:pt x="2340" y="303"/>
                  </a:lnTo>
                  <a:lnTo>
                    <a:pt x="2340" y="303"/>
                  </a:lnTo>
                  <a:lnTo>
                    <a:pt x="2335" y="297"/>
                  </a:lnTo>
                  <a:lnTo>
                    <a:pt x="2335" y="297"/>
                  </a:lnTo>
                  <a:lnTo>
                    <a:pt x="2332" y="294"/>
                  </a:lnTo>
                  <a:lnTo>
                    <a:pt x="2332" y="294"/>
                  </a:lnTo>
                  <a:lnTo>
                    <a:pt x="2330" y="288"/>
                  </a:lnTo>
                  <a:lnTo>
                    <a:pt x="2330" y="288"/>
                  </a:lnTo>
                  <a:lnTo>
                    <a:pt x="2329" y="284"/>
                  </a:lnTo>
                  <a:lnTo>
                    <a:pt x="2329" y="284"/>
                  </a:lnTo>
                  <a:lnTo>
                    <a:pt x="2325" y="281"/>
                  </a:lnTo>
                  <a:lnTo>
                    <a:pt x="2325" y="281"/>
                  </a:lnTo>
                  <a:lnTo>
                    <a:pt x="2323" y="280"/>
                  </a:lnTo>
                  <a:lnTo>
                    <a:pt x="2322" y="280"/>
                  </a:lnTo>
                  <a:lnTo>
                    <a:pt x="2322" y="278"/>
                  </a:lnTo>
                  <a:lnTo>
                    <a:pt x="2322" y="278"/>
                  </a:lnTo>
                  <a:lnTo>
                    <a:pt x="2320" y="277"/>
                  </a:lnTo>
                  <a:lnTo>
                    <a:pt x="2320" y="277"/>
                  </a:lnTo>
                  <a:lnTo>
                    <a:pt x="2316" y="277"/>
                  </a:lnTo>
                  <a:lnTo>
                    <a:pt x="2316" y="277"/>
                  </a:lnTo>
                  <a:lnTo>
                    <a:pt x="2310" y="275"/>
                  </a:lnTo>
                  <a:lnTo>
                    <a:pt x="2310" y="275"/>
                  </a:lnTo>
                  <a:lnTo>
                    <a:pt x="2304" y="274"/>
                  </a:lnTo>
                  <a:lnTo>
                    <a:pt x="2304" y="274"/>
                  </a:lnTo>
                  <a:lnTo>
                    <a:pt x="2300" y="275"/>
                  </a:lnTo>
                  <a:lnTo>
                    <a:pt x="2300" y="275"/>
                  </a:lnTo>
                  <a:lnTo>
                    <a:pt x="2297" y="275"/>
                  </a:lnTo>
                  <a:lnTo>
                    <a:pt x="2297" y="275"/>
                  </a:lnTo>
                  <a:lnTo>
                    <a:pt x="2288" y="274"/>
                  </a:lnTo>
                  <a:lnTo>
                    <a:pt x="2288" y="274"/>
                  </a:lnTo>
                  <a:lnTo>
                    <a:pt x="2280" y="272"/>
                  </a:lnTo>
                  <a:lnTo>
                    <a:pt x="2280" y="272"/>
                  </a:lnTo>
                  <a:lnTo>
                    <a:pt x="2277" y="271"/>
                  </a:lnTo>
                  <a:lnTo>
                    <a:pt x="2277" y="271"/>
                  </a:lnTo>
                  <a:lnTo>
                    <a:pt x="2274" y="269"/>
                  </a:lnTo>
                  <a:lnTo>
                    <a:pt x="2274" y="269"/>
                  </a:lnTo>
                  <a:lnTo>
                    <a:pt x="2274" y="269"/>
                  </a:lnTo>
                  <a:lnTo>
                    <a:pt x="2271" y="264"/>
                  </a:lnTo>
                  <a:lnTo>
                    <a:pt x="2271" y="264"/>
                  </a:lnTo>
                  <a:lnTo>
                    <a:pt x="2267" y="262"/>
                  </a:lnTo>
                  <a:lnTo>
                    <a:pt x="2267" y="262"/>
                  </a:lnTo>
                  <a:lnTo>
                    <a:pt x="2262" y="261"/>
                  </a:lnTo>
                  <a:lnTo>
                    <a:pt x="2262" y="261"/>
                  </a:lnTo>
                  <a:lnTo>
                    <a:pt x="2259" y="261"/>
                  </a:lnTo>
                  <a:lnTo>
                    <a:pt x="2256" y="259"/>
                  </a:lnTo>
                  <a:lnTo>
                    <a:pt x="2256" y="259"/>
                  </a:lnTo>
                  <a:lnTo>
                    <a:pt x="2254" y="256"/>
                  </a:lnTo>
                  <a:lnTo>
                    <a:pt x="2254" y="256"/>
                  </a:lnTo>
                  <a:lnTo>
                    <a:pt x="2249" y="255"/>
                  </a:lnTo>
                  <a:lnTo>
                    <a:pt x="2249" y="255"/>
                  </a:lnTo>
                  <a:lnTo>
                    <a:pt x="2245" y="256"/>
                  </a:lnTo>
                  <a:lnTo>
                    <a:pt x="2242" y="261"/>
                  </a:lnTo>
                  <a:lnTo>
                    <a:pt x="2242" y="261"/>
                  </a:lnTo>
                  <a:lnTo>
                    <a:pt x="2239" y="264"/>
                  </a:lnTo>
                  <a:lnTo>
                    <a:pt x="2238" y="268"/>
                  </a:lnTo>
                  <a:lnTo>
                    <a:pt x="2238" y="268"/>
                  </a:lnTo>
                  <a:lnTo>
                    <a:pt x="2236" y="271"/>
                  </a:lnTo>
                  <a:lnTo>
                    <a:pt x="2236" y="271"/>
                  </a:lnTo>
                  <a:lnTo>
                    <a:pt x="2238" y="275"/>
                  </a:lnTo>
                  <a:lnTo>
                    <a:pt x="2241" y="278"/>
                  </a:lnTo>
                  <a:lnTo>
                    <a:pt x="2241" y="278"/>
                  </a:lnTo>
                  <a:lnTo>
                    <a:pt x="2246" y="285"/>
                  </a:lnTo>
                  <a:lnTo>
                    <a:pt x="2246" y="285"/>
                  </a:lnTo>
                  <a:lnTo>
                    <a:pt x="2248" y="287"/>
                  </a:lnTo>
                  <a:lnTo>
                    <a:pt x="2248" y="287"/>
                  </a:lnTo>
                  <a:lnTo>
                    <a:pt x="2248" y="287"/>
                  </a:lnTo>
                  <a:lnTo>
                    <a:pt x="2248" y="287"/>
                  </a:lnTo>
                  <a:lnTo>
                    <a:pt x="2248" y="287"/>
                  </a:lnTo>
                  <a:lnTo>
                    <a:pt x="2248" y="287"/>
                  </a:lnTo>
                  <a:lnTo>
                    <a:pt x="2248" y="287"/>
                  </a:lnTo>
                  <a:lnTo>
                    <a:pt x="2249" y="287"/>
                  </a:lnTo>
                  <a:lnTo>
                    <a:pt x="2248" y="287"/>
                  </a:lnTo>
                  <a:lnTo>
                    <a:pt x="2248" y="287"/>
                  </a:lnTo>
                  <a:lnTo>
                    <a:pt x="2249" y="287"/>
                  </a:lnTo>
                  <a:lnTo>
                    <a:pt x="2248" y="287"/>
                  </a:lnTo>
                  <a:lnTo>
                    <a:pt x="2248" y="287"/>
                  </a:lnTo>
                  <a:lnTo>
                    <a:pt x="2248" y="287"/>
                  </a:lnTo>
                  <a:lnTo>
                    <a:pt x="2248" y="287"/>
                  </a:lnTo>
                  <a:lnTo>
                    <a:pt x="2248" y="287"/>
                  </a:lnTo>
                  <a:lnTo>
                    <a:pt x="2248" y="287"/>
                  </a:lnTo>
                  <a:lnTo>
                    <a:pt x="2248" y="287"/>
                  </a:lnTo>
                  <a:lnTo>
                    <a:pt x="2246" y="287"/>
                  </a:lnTo>
                  <a:lnTo>
                    <a:pt x="2246" y="287"/>
                  </a:lnTo>
                  <a:lnTo>
                    <a:pt x="2243" y="290"/>
                  </a:lnTo>
                  <a:lnTo>
                    <a:pt x="2243" y="290"/>
                  </a:lnTo>
                  <a:lnTo>
                    <a:pt x="2242" y="290"/>
                  </a:lnTo>
                  <a:lnTo>
                    <a:pt x="2242" y="290"/>
                  </a:lnTo>
                  <a:lnTo>
                    <a:pt x="2242" y="293"/>
                  </a:lnTo>
                  <a:lnTo>
                    <a:pt x="2242" y="293"/>
                  </a:lnTo>
                  <a:lnTo>
                    <a:pt x="2243" y="295"/>
                  </a:lnTo>
                  <a:lnTo>
                    <a:pt x="2243" y="295"/>
                  </a:lnTo>
                  <a:lnTo>
                    <a:pt x="2246" y="300"/>
                  </a:lnTo>
                  <a:lnTo>
                    <a:pt x="2246" y="300"/>
                  </a:lnTo>
                  <a:lnTo>
                    <a:pt x="2246" y="301"/>
                  </a:lnTo>
                  <a:lnTo>
                    <a:pt x="2246" y="301"/>
                  </a:lnTo>
                  <a:lnTo>
                    <a:pt x="2246" y="301"/>
                  </a:lnTo>
                  <a:lnTo>
                    <a:pt x="2246" y="301"/>
                  </a:lnTo>
                  <a:lnTo>
                    <a:pt x="2246" y="301"/>
                  </a:lnTo>
                  <a:lnTo>
                    <a:pt x="2246" y="301"/>
                  </a:lnTo>
                  <a:lnTo>
                    <a:pt x="2246" y="301"/>
                  </a:lnTo>
                  <a:lnTo>
                    <a:pt x="2248" y="301"/>
                  </a:lnTo>
                  <a:lnTo>
                    <a:pt x="2246" y="300"/>
                  </a:lnTo>
                  <a:lnTo>
                    <a:pt x="2246" y="301"/>
                  </a:lnTo>
                  <a:lnTo>
                    <a:pt x="2248" y="301"/>
                  </a:lnTo>
                  <a:lnTo>
                    <a:pt x="2246" y="300"/>
                  </a:lnTo>
                  <a:lnTo>
                    <a:pt x="2248" y="301"/>
                  </a:lnTo>
                  <a:lnTo>
                    <a:pt x="2248" y="300"/>
                  </a:lnTo>
                  <a:lnTo>
                    <a:pt x="2246" y="300"/>
                  </a:lnTo>
                  <a:lnTo>
                    <a:pt x="2248" y="301"/>
                  </a:lnTo>
                  <a:lnTo>
                    <a:pt x="2248" y="300"/>
                  </a:lnTo>
                  <a:lnTo>
                    <a:pt x="2248" y="300"/>
                  </a:lnTo>
                  <a:lnTo>
                    <a:pt x="2246" y="300"/>
                  </a:lnTo>
                  <a:lnTo>
                    <a:pt x="2246" y="300"/>
                  </a:lnTo>
                  <a:lnTo>
                    <a:pt x="2243" y="301"/>
                  </a:lnTo>
                  <a:lnTo>
                    <a:pt x="2243" y="301"/>
                  </a:lnTo>
                  <a:lnTo>
                    <a:pt x="2242" y="303"/>
                  </a:lnTo>
                  <a:lnTo>
                    <a:pt x="2242" y="303"/>
                  </a:lnTo>
                  <a:lnTo>
                    <a:pt x="2241" y="304"/>
                  </a:lnTo>
                  <a:lnTo>
                    <a:pt x="2241" y="304"/>
                  </a:lnTo>
                  <a:lnTo>
                    <a:pt x="2241" y="307"/>
                  </a:lnTo>
                  <a:lnTo>
                    <a:pt x="2241" y="307"/>
                  </a:lnTo>
                  <a:lnTo>
                    <a:pt x="2241" y="307"/>
                  </a:lnTo>
                  <a:lnTo>
                    <a:pt x="2241" y="307"/>
                  </a:lnTo>
                  <a:lnTo>
                    <a:pt x="2241" y="307"/>
                  </a:lnTo>
                  <a:lnTo>
                    <a:pt x="2241" y="307"/>
                  </a:lnTo>
                  <a:lnTo>
                    <a:pt x="2241" y="307"/>
                  </a:lnTo>
                  <a:lnTo>
                    <a:pt x="2241" y="307"/>
                  </a:lnTo>
                  <a:lnTo>
                    <a:pt x="2242" y="307"/>
                  </a:lnTo>
                  <a:lnTo>
                    <a:pt x="2241" y="307"/>
                  </a:lnTo>
                  <a:lnTo>
                    <a:pt x="2241" y="307"/>
                  </a:lnTo>
                  <a:lnTo>
                    <a:pt x="2242" y="307"/>
                  </a:lnTo>
                  <a:lnTo>
                    <a:pt x="2241" y="307"/>
                  </a:lnTo>
                  <a:lnTo>
                    <a:pt x="2242" y="307"/>
                  </a:lnTo>
                  <a:lnTo>
                    <a:pt x="2241" y="307"/>
                  </a:lnTo>
                  <a:lnTo>
                    <a:pt x="2241" y="307"/>
                  </a:lnTo>
                  <a:lnTo>
                    <a:pt x="2242" y="307"/>
                  </a:lnTo>
                  <a:lnTo>
                    <a:pt x="2241" y="307"/>
                  </a:lnTo>
                  <a:lnTo>
                    <a:pt x="2241" y="307"/>
                  </a:lnTo>
                  <a:lnTo>
                    <a:pt x="2241" y="307"/>
                  </a:lnTo>
                  <a:lnTo>
                    <a:pt x="2241" y="307"/>
                  </a:lnTo>
                  <a:lnTo>
                    <a:pt x="2238" y="307"/>
                  </a:lnTo>
                  <a:lnTo>
                    <a:pt x="2238" y="307"/>
                  </a:lnTo>
                  <a:lnTo>
                    <a:pt x="2230" y="307"/>
                  </a:lnTo>
                  <a:lnTo>
                    <a:pt x="2222" y="304"/>
                  </a:lnTo>
                  <a:lnTo>
                    <a:pt x="2222" y="304"/>
                  </a:lnTo>
                  <a:lnTo>
                    <a:pt x="2217" y="303"/>
                  </a:lnTo>
                  <a:lnTo>
                    <a:pt x="2212" y="301"/>
                  </a:lnTo>
                  <a:lnTo>
                    <a:pt x="2212" y="301"/>
                  </a:lnTo>
                  <a:lnTo>
                    <a:pt x="2203" y="303"/>
                  </a:lnTo>
                  <a:lnTo>
                    <a:pt x="2203" y="303"/>
                  </a:lnTo>
                  <a:lnTo>
                    <a:pt x="2197" y="304"/>
                  </a:lnTo>
                  <a:lnTo>
                    <a:pt x="2197" y="306"/>
                  </a:lnTo>
                  <a:lnTo>
                    <a:pt x="2197" y="304"/>
                  </a:lnTo>
                  <a:lnTo>
                    <a:pt x="2197" y="304"/>
                  </a:lnTo>
                  <a:lnTo>
                    <a:pt x="2197" y="306"/>
                  </a:lnTo>
                  <a:lnTo>
                    <a:pt x="2197" y="304"/>
                  </a:lnTo>
                  <a:lnTo>
                    <a:pt x="2197" y="306"/>
                  </a:lnTo>
                  <a:lnTo>
                    <a:pt x="2197" y="304"/>
                  </a:lnTo>
                  <a:lnTo>
                    <a:pt x="2197" y="304"/>
                  </a:lnTo>
                  <a:lnTo>
                    <a:pt x="2197" y="306"/>
                  </a:lnTo>
                  <a:lnTo>
                    <a:pt x="2197" y="304"/>
                  </a:lnTo>
                  <a:lnTo>
                    <a:pt x="2197" y="304"/>
                  </a:lnTo>
                  <a:lnTo>
                    <a:pt x="2197" y="304"/>
                  </a:lnTo>
                  <a:lnTo>
                    <a:pt x="2197" y="304"/>
                  </a:lnTo>
                  <a:lnTo>
                    <a:pt x="2197" y="304"/>
                  </a:lnTo>
                  <a:lnTo>
                    <a:pt x="2197" y="304"/>
                  </a:lnTo>
                  <a:lnTo>
                    <a:pt x="2196" y="301"/>
                  </a:lnTo>
                  <a:lnTo>
                    <a:pt x="2196" y="301"/>
                  </a:lnTo>
                  <a:lnTo>
                    <a:pt x="2193" y="293"/>
                  </a:lnTo>
                  <a:lnTo>
                    <a:pt x="2193" y="293"/>
                  </a:lnTo>
                  <a:lnTo>
                    <a:pt x="2191" y="288"/>
                  </a:lnTo>
                  <a:lnTo>
                    <a:pt x="2191" y="288"/>
                  </a:lnTo>
                  <a:lnTo>
                    <a:pt x="2191" y="285"/>
                  </a:lnTo>
                  <a:lnTo>
                    <a:pt x="2191" y="285"/>
                  </a:lnTo>
                  <a:lnTo>
                    <a:pt x="2190" y="284"/>
                  </a:lnTo>
                  <a:lnTo>
                    <a:pt x="2190" y="284"/>
                  </a:lnTo>
                  <a:lnTo>
                    <a:pt x="2187" y="282"/>
                  </a:lnTo>
                  <a:lnTo>
                    <a:pt x="2187" y="282"/>
                  </a:lnTo>
                  <a:lnTo>
                    <a:pt x="2181" y="281"/>
                  </a:lnTo>
                  <a:lnTo>
                    <a:pt x="2174" y="280"/>
                  </a:lnTo>
                  <a:lnTo>
                    <a:pt x="2174" y="280"/>
                  </a:lnTo>
                  <a:lnTo>
                    <a:pt x="2168" y="281"/>
                  </a:lnTo>
                  <a:lnTo>
                    <a:pt x="2167" y="281"/>
                  </a:lnTo>
                  <a:lnTo>
                    <a:pt x="2167" y="281"/>
                  </a:lnTo>
                  <a:lnTo>
                    <a:pt x="2161" y="280"/>
                  </a:lnTo>
                  <a:lnTo>
                    <a:pt x="2155" y="277"/>
                  </a:lnTo>
                  <a:lnTo>
                    <a:pt x="2155" y="277"/>
                  </a:lnTo>
                  <a:lnTo>
                    <a:pt x="2151" y="274"/>
                  </a:lnTo>
                  <a:lnTo>
                    <a:pt x="2151" y="274"/>
                  </a:lnTo>
                  <a:lnTo>
                    <a:pt x="2146" y="271"/>
                  </a:lnTo>
                  <a:lnTo>
                    <a:pt x="2146" y="271"/>
                  </a:lnTo>
                  <a:lnTo>
                    <a:pt x="2144" y="271"/>
                  </a:lnTo>
                  <a:lnTo>
                    <a:pt x="2144" y="271"/>
                  </a:lnTo>
                  <a:lnTo>
                    <a:pt x="2141" y="271"/>
                  </a:lnTo>
                  <a:lnTo>
                    <a:pt x="2141" y="271"/>
                  </a:lnTo>
                  <a:lnTo>
                    <a:pt x="2138" y="274"/>
                  </a:lnTo>
                  <a:lnTo>
                    <a:pt x="2138" y="274"/>
                  </a:lnTo>
                  <a:lnTo>
                    <a:pt x="2136" y="275"/>
                  </a:lnTo>
                  <a:lnTo>
                    <a:pt x="2138" y="277"/>
                  </a:lnTo>
                  <a:lnTo>
                    <a:pt x="2138" y="275"/>
                  </a:lnTo>
                  <a:lnTo>
                    <a:pt x="2136" y="275"/>
                  </a:lnTo>
                  <a:lnTo>
                    <a:pt x="2138" y="277"/>
                  </a:lnTo>
                  <a:lnTo>
                    <a:pt x="2138" y="275"/>
                  </a:lnTo>
                  <a:lnTo>
                    <a:pt x="2138" y="275"/>
                  </a:lnTo>
                  <a:lnTo>
                    <a:pt x="2138" y="275"/>
                  </a:lnTo>
                  <a:lnTo>
                    <a:pt x="2138" y="275"/>
                  </a:lnTo>
                  <a:lnTo>
                    <a:pt x="2138" y="275"/>
                  </a:lnTo>
                  <a:lnTo>
                    <a:pt x="2138" y="275"/>
                  </a:lnTo>
                  <a:lnTo>
                    <a:pt x="2138" y="275"/>
                  </a:lnTo>
                  <a:lnTo>
                    <a:pt x="2138" y="275"/>
                  </a:lnTo>
                  <a:lnTo>
                    <a:pt x="2138" y="275"/>
                  </a:lnTo>
                  <a:lnTo>
                    <a:pt x="2138" y="275"/>
                  </a:lnTo>
                  <a:lnTo>
                    <a:pt x="2138" y="275"/>
                  </a:lnTo>
                  <a:lnTo>
                    <a:pt x="2136" y="275"/>
                  </a:lnTo>
                  <a:lnTo>
                    <a:pt x="2136" y="275"/>
                  </a:lnTo>
                  <a:lnTo>
                    <a:pt x="2125" y="269"/>
                  </a:lnTo>
                  <a:lnTo>
                    <a:pt x="2125" y="269"/>
                  </a:lnTo>
                  <a:lnTo>
                    <a:pt x="2119" y="265"/>
                  </a:lnTo>
                  <a:lnTo>
                    <a:pt x="2119" y="265"/>
                  </a:lnTo>
                  <a:lnTo>
                    <a:pt x="2113" y="264"/>
                  </a:lnTo>
                  <a:lnTo>
                    <a:pt x="2113" y="264"/>
                  </a:lnTo>
                  <a:lnTo>
                    <a:pt x="2103" y="264"/>
                  </a:lnTo>
                  <a:lnTo>
                    <a:pt x="2103" y="264"/>
                  </a:lnTo>
                  <a:lnTo>
                    <a:pt x="2097" y="264"/>
                  </a:lnTo>
                  <a:lnTo>
                    <a:pt x="2097" y="264"/>
                  </a:lnTo>
                  <a:lnTo>
                    <a:pt x="2096" y="266"/>
                  </a:lnTo>
                  <a:lnTo>
                    <a:pt x="2093" y="268"/>
                  </a:lnTo>
                  <a:lnTo>
                    <a:pt x="2093" y="268"/>
                  </a:lnTo>
                  <a:lnTo>
                    <a:pt x="2093" y="268"/>
                  </a:lnTo>
                  <a:lnTo>
                    <a:pt x="2093" y="272"/>
                  </a:lnTo>
                  <a:lnTo>
                    <a:pt x="2093" y="272"/>
                  </a:lnTo>
                  <a:lnTo>
                    <a:pt x="2094" y="278"/>
                  </a:lnTo>
                  <a:lnTo>
                    <a:pt x="2097" y="284"/>
                  </a:lnTo>
                  <a:lnTo>
                    <a:pt x="2097" y="284"/>
                  </a:lnTo>
                  <a:lnTo>
                    <a:pt x="2102" y="294"/>
                  </a:lnTo>
                  <a:lnTo>
                    <a:pt x="2102" y="294"/>
                  </a:lnTo>
                  <a:lnTo>
                    <a:pt x="2102" y="294"/>
                  </a:lnTo>
                  <a:lnTo>
                    <a:pt x="2100" y="297"/>
                  </a:lnTo>
                  <a:lnTo>
                    <a:pt x="2100" y="297"/>
                  </a:lnTo>
                  <a:lnTo>
                    <a:pt x="2096" y="303"/>
                  </a:lnTo>
                  <a:lnTo>
                    <a:pt x="2090" y="307"/>
                  </a:lnTo>
                  <a:lnTo>
                    <a:pt x="2088" y="307"/>
                  </a:lnTo>
                  <a:lnTo>
                    <a:pt x="2090" y="308"/>
                  </a:lnTo>
                  <a:lnTo>
                    <a:pt x="2090" y="307"/>
                  </a:lnTo>
                  <a:lnTo>
                    <a:pt x="2088" y="307"/>
                  </a:lnTo>
                  <a:lnTo>
                    <a:pt x="2090" y="308"/>
                  </a:lnTo>
                  <a:lnTo>
                    <a:pt x="2090" y="307"/>
                  </a:lnTo>
                  <a:lnTo>
                    <a:pt x="2090" y="308"/>
                  </a:lnTo>
                  <a:lnTo>
                    <a:pt x="2091" y="307"/>
                  </a:lnTo>
                  <a:lnTo>
                    <a:pt x="2091" y="307"/>
                  </a:lnTo>
                  <a:lnTo>
                    <a:pt x="2090" y="307"/>
                  </a:lnTo>
                  <a:lnTo>
                    <a:pt x="2090" y="308"/>
                  </a:lnTo>
                  <a:lnTo>
                    <a:pt x="2091" y="307"/>
                  </a:lnTo>
                  <a:lnTo>
                    <a:pt x="2090" y="308"/>
                  </a:lnTo>
                  <a:lnTo>
                    <a:pt x="2091" y="308"/>
                  </a:lnTo>
                  <a:lnTo>
                    <a:pt x="2091" y="308"/>
                  </a:lnTo>
                  <a:lnTo>
                    <a:pt x="2091" y="307"/>
                  </a:lnTo>
                  <a:lnTo>
                    <a:pt x="2090" y="308"/>
                  </a:lnTo>
                  <a:lnTo>
                    <a:pt x="2091" y="308"/>
                  </a:lnTo>
                  <a:lnTo>
                    <a:pt x="2091" y="308"/>
                  </a:lnTo>
                  <a:lnTo>
                    <a:pt x="2091" y="308"/>
                  </a:lnTo>
                  <a:lnTo>
                    <a:pt x="2091" y="308"/>
                  </a:lnTo>
                  <a:lnTo>
                    <a:pt x="2091" y="308"/>
                  </a:lnTo>
                  <a:lnTo>
                    <a:pt x="2091" y="308"/>
                  </a:lnTo>
                  <a:lnTo>
                    <a:pt x="2091" y="308"/>
                  </a:lnTo>
                  <a:lnTo>
                    <a:pt x="2093" y="307"/>
                  </a:lnTo>
                  <a:lnTo>
                    <a:pt x="2093" y="307"/>
                  </a:lnTo>
                  <a:lnTo>
                    <a:pt x="2094" y="301"/>
                  </a:lnTo>
                  <a:lnTo>
                    <a:pt x="2094" y="301"/>
                  </a:lnTo>
                  <a:lnTo>
                    <a:pt x="2096" y="294"/>
                  </a:lnTo>
                  <a:lnTo>
                    <a:pt x="2096" y="294"/>
                  </a:lnTo>
                  <a:lnTo>
                    <a:pt x="2096" y="291"/>
                  </a:lnTo>
                  <a:lnTo>
                    <a:pt x="2096" y="291"/>
                  </a:lnTo>
                  <a:lnTo>
                    <a:pt x="2091" y="269"/>
                  </a:lnTo>
                  <a:lnTo>
                    <a:pt x="2091" y="269"/>
                  </a:lnTo>
                  <a:lnTo>
                    <a:pt x="2088" y="259"/>
                  </a:lnTo>
                  <a:lnTo>
                    <a:pt x="2088" y="259"/>
                  </a:lnTo>
                  <a:lnTo>
                    <a:pt x="2088" y="255"/>
                  </a:lnTo>
                  <a:lnTo>
                    <a:pt x="2088" y="255"/>
                  </a:lnTo>
                  <a:lnTo>
                    <a:pt x="2088" y="253"/>
                  </a:lnTo>
                  <a:lnTo>
                    <a:pt x="2088" y="253"/>
                  </a:lnTo>
                  <a:lnTo>
                    <a:pt x="2087" y="249"/>
                  </a:lnTo>
                  <a:lnTo>
                    <a:pt x="2087" y="249"/>
                  </a:lnTo>
                  <a:lnTo>
                    <a:pt x="2086" y="248"/>
                  </a:lnTo>
                  <a:lnTo>
                    <a:pt x="2084" y="246"/>
                  </a:lnTo>
                  <a:lnTo>
                    <a:pt x="2084" y="246"/>
                  </a:lnTo>
                  <a:lnTo>
                    <a:pt x="2080" y="246"/>
                  </a:lnTo>
                  <a:lnTo>
                    <a:pt x="2080" y="246"/>
                  </a:lnTo>
                  <a:lnTo>
                    <a:pt x="2073" y="246"/>
                  </a:lnTo>
                  <a:lnTo>
                    <a:pt x="2071" y="246"/>
                  </a:lnTo>
                  <a:lnTo>
                    <a:pt x="2071" y="246"/>
                  </a:lnTo>
                  <a:lnTo>
                    <a:pt x="2073" y="246"/>
                  </a:lnTo>
                  <a:lnTo>
                    <a:pt x="2071" y="246"/>
                  </a:lnTo>
                  <a:lnTo>
                    <a:pt x="2071" y="246"/>
                  </a:lnTo>
                  <a:lnTo>
                    <a:pt x="2073" y="246"/>
                  </a:lnTo>
                  <a:lnTo>
                    <a:pt x="2071" y="246"/>
                  </a:lnTo>
                  <a:lnTo>
                    <a:pt x="2071" y="246"/>
                  </a:lnTo>
                  <a:lnTo>
                    <a:pt x="2071" y="243"/>
                  </a:lnTo>
                  <a:lnTo>
                    <a:pt x="2071" y="243"/>
                  </a:lnTo>
                  <a:lnTo>
                    <a:pt x="2070" y="235"/>
                  </a:lnTo>
                  <a:lnTo>
                    <a:pt x="2070" y="235"/>
                  </a:lnTo>
                  <a:lnTo>
                    <a:pt x="2070" y="232"/>
                  </a:lnTo>
                  <a:lnTo>
                    <a:pt x="2070" y="232"/>
                  </a:lnTo>
                  <a:lnTo>
                    <a:pt x="2070" y="229"/>
                  </a:lnTo>
                  <a:lnTo>
                    <a:pt x="2070" y="229"/>
                  </a:lnTo>
                  <a:lnTo>
                    <a:pt x="2070" y="229"/>
                  </a:lnTo>
                  <a:lnTo>
                    <a:pt x="2068" y="227"/>
                  </a:lnTo>
                  <a:lnTo>
                    <a:pt x="2068" y="226"/>
                  </a:lnTo>
                  <a:lnTo>
                    <a:pt x="2067" y="226"/>
                  </a:lnTo>
                  <a:lnTo>
                    <a:pt x="2067" y="226"/>
                  </a:lnTo>
                  <a:lnTo>
                    <a:pt x="2064" y="226"/>
                  </a:lnTo>
                  <a:lnTo>
                    <a:pt x="2064" y="226"/>
                  </a:lnTo>
                  <a:lnTo>
                    <a:pt x="2062" y="227"/>
                  </a:lnTo>
                  <a:lnTo>
                    <a:pt x="2062" y="227"/>
                  </a:lnTo>
                  <a:lnTo>
                    <a:pt x="2060" y="230"/>
                  </a:lnTo>
                  <a:lnTo>
                    <a:pt x="2057" y="233"/>
                  </a:lnTo>
                  <a:lnTo>
                    <a:pt x="2057" y="233"/>
                  </a:lnTo>
                  <a:lnTo>
                    <a:pt x="2052" y="235"/>
                  </a:lnTo>
                  <a:lnTo>
                    <a:pt x="2052" y="235"/>
                  </a:lnTo>
                  <a:lnTo>
                    <a:pt x="2048" y="238"/>
                  </a:lnTo>
                  <a:lnTo>
                    <a:pt x="2048" y="238"/>
                  </a:lnTo>
                  <a:lnTo>
                    <a:pt x="2042" y="243"/>
                  </a:lnTo>
                  <a:lnTo>
                    <a:pt x="2042" y="243"/>
                  </a:lnTo>
                  <a:lnTo>
                    <a:pt x="2038" y="248"/>
                  </a:lnTo>
                  <a:lnTo>
                    <a:pt x="2033" y="251"/>
                  </a:lnTo>
                  <a:lnTo>
                    <a:pt x="2033" y="251"/>
                  </a:lnTo>
                  <a:lnTo>
                    <a:pt x="2023" y="256"/>
                  </a:lnTo>
                  <a:lnTo>
                    <a:pt x="2023" y="256"/>
                  </a:lnTo>
                  <a:lnTo>
                    <a:pt x="2016" y="264"/>
                  </a:lnTo>
                  <a:lnTo>
                    <a:pt x="2016" y="264"/>
                  </a:lnTo>
                  <a:lnTo>
                    <a:pt x="2002" y="282"/>
                  </a:lnTo>
                  <a:lnTo>
                    <a:pt x="2002" y="282"/>
                  </a:lnTo>
                  <a:lnTo>
                    <a:pt x="1996" y="290"/>
                  </a:lnTo>
                  <a:lnTo>
                    <a:pt x="1996" y="290"/>
                  </a:lnTo>
                  <a:lnTo>
                    <a:pt x="1990" y="294"/>
                  </a:lnTo>
                  <a:lnTo>
                    <a:pt x="1990" y="295"/>
                  </a:lnTo>
                  <a:lnTo>
                    <a:pt x="1990" y="295"/>
                  </a:lnTo>
                  <a:lnTo>
                    <a:pt x="1990" y="295"/>
                  </a:lnTo>
                  <a:lnTo>
                    <a:pt x="1990" y="295"/>
                  </a:lnTo>
                  <a:lnTo>
                    <a:pt x="1990" y="295"/>
                  </a:lnTo>
                  <a:lnTo>
                    <a:pt x="1990" y="295"/>
                  </a:lnTo>
                  <a:lnTo>
                    <a:pt x="1990" y="295"/>
                  </a:lnTo>
                  <a:lnTo>
                    <a:pt x="1990" y="297"/>
                  </a:lnTo>
                  <a:lnTo>
                    <a:pt x="1991" y="295"/>
                  </a:lnTo>
                  <a:lnTo>
                    <a:pt x="1990" y="295"/>
                  </a:lnTo>
                  <a:lnTo>
                    <a:pt x="1990" y="297"/>
                  </a:lnTo>
                  <a:lnTo>
                    <a:pt x="1991" y="295"/>
                  </a:lnTo>
                  <a:lnTo>
                    <a:pt x="1990" y="297"/>
                  </a:lnTo>
                  <a:lnTo>
                    <a:pt x="1991" y="295"/>
                  </a:lnTo>
                  <a:lnTo>
                    <a:pt x="1991" y="295"/>
                  </a:lnTo>
                  <a:lnTo>
                    <a:pt x="1990" y="297"/>
                  </a:lnTo>
                  <a:lnTo>
                    <a:pt x="1991" y="295"/>
                  </a:lnTo>
                  <a:lnTo>
                    <a:pt x="1991" y="295"/>
                  </a:lnTo>
                  <a:lnTo>
                    <a:pt x="1991" y="295"/>
                  </a:lnTo>
                  <a:lnTo>
                    <a:pt x="1991" y="295"/>
                  </a:lnTo>
                  <a:lnTo>
                    <a:pt x="1991" y="295"/>
                  </a:lnTo>
                  <a:lnTo>
                    <a:pt x="1991" y="295"/>
                  </a:lnTo>
                  <a:lnTo>
                    <a:pt x="1991" y="295"/>
                  </a:lnTo>
                  <a:lnTo>
                    <a:pt x="1991" y="295"/>
                  </a:lnTo>
                  <a:lnTo>
                    <a:pt x="1991" y="295"/>
                  </a:lnTo>
                  <a:lnTo>
                    <a:pt x="1993" y="284"/>
                  </a:lnTo>
                  <a:lnTo>
                    <a:pt x="1993" y="284"/>
                  </a:lnTo>
                  <a:lnTo>
                    <a:pt x="1996" y="269"/>
                  </a:lnTo>
                  <a:lnTo>
                    <a:pt x="1996" y="269"/>
                  </a:lnTo>
                  <a:lnTo>
                    <a:pt x="1996" y="261"/>
                  </a:lnTo>
                  <a:lnTo>
                    <a:pt x="1996" y="261"/>
                  </a:lnTo>
                  <a:lnTo>
                    <a:pt x="1996" y="252"/>
                  </a:lnTo>
                  <a:lnTo>
                    <a:pt x="1994" y="248"/>
                  </a:lnTo>
                  <a:lnTo>
                    <a:pt x="1994" y="248"/>
                  </a:lnTo>
                  <a:lnTo>
                    <a:pt x="1994" y="248"/>
                  </a:lnTo>
                  <a:lnTo>
                    <a:pt x="1994" y="248"/>
                  </a:lnTo>
                  <a:lnTo>
                    <a:pt x="1994" y="248"/>
                  </a:lnTo>
                  <a:lnTo>
                    <a:pt x="1994" y="248"/>
                  </a:lnTo>
                  <a:lnTo>
                    <a:pt x="1994" y="248"/>
                  </a:lnTo>
                  <a:lnTo>
                    <a:pt x="1994" y="248"/>
                  </a:lnTo>
                  <a:lnTo>
                    <a:pt x="1993" y="246"/>
                  </a:lnTo>
                  <a:lnTo>
                    <a:pt x="1994" y="248"/>
                  </a:lnTo>
                  <a:lnTo>
                    <a:pt x="1994" y="248"/>
                  </a:lnTo>
                  <a:lnTo>
                    <a:pt x="1993" y="246"/>
                  </a:lnTo>
                  <a:lnTo>
                    <a:pt x="1994" y="248"/>
                  </a:lnTo>
                  <a:lnTo>
                    <a:pt x="1993" y="248"/>
                  </a:lnTo>
                  <a:lnTo>
                    <a:pt x="1993" y="249"/>
                  </a:lnTo>
                  <a:lnTo>
                    <a:pt x="1994" y="248"/>
                  </a:lnTo>
                  <a:lnTo>
                    <a:pt x="1993" y="248"/>
                  </a:lnTo>
                  <a:lnTo>
                    <a:pt x="1993" y="249"/>
                  </a:lnTo>
                  <a:lnTo>
                    <a:pt x="1993" y="249"/>
                  </a:lnTo>
                  <a:lnTo>
                    <a:pt x="1994" y="249"/>
                  </a:lnTo>
                  <a:lnTo>
                    <a:pt x="1994" y="249"/>
                  </a:lnTo>
                  <a:lnTo>
                    <a:pt x="1999" y="251"/>
                  </a:lnTo>
                  <a:lnTo>
                    <a:pt x="1999" y="251"/>
                  </a:lnTo>
                  <a:lnTo>
                    <a:pt x="2004" y="252"/>
                  </a:lnTo>
                  <a:lnTo>
                    <a:pt x="2004" y="252"/>
                  </a:lnTo>
                  <a:lnTo>
                    <a:pt x="2007" y="251"/>
                  </a:lnTo>
                  <a:lnTo>
                    <a:pt x="2007" y="251"/>
                  </a:lnTo>
                  <a:lnTo>
                    <a:pt x="2010" y="249"/>
                  </a:lnTo>
                  <a:lnTo>
                    <a:pt x="2010" y="249"/>
                  </a:lnTo>
                  <a:lnTo>
                    <a:pt x="2026" y="229"/>
                  </a:lnTo>
                  <a:lnTo>
                    <a:pt x="2026" y="229"/>
                  </a:lnTo>
                  <a:lnTo>
                    <a:pt x="2035" y="220"/>
                  </a:lnTo>
                  <a:lnTo>
                    <a:pt x="2035" y="220"/>
                  </a:lnTo>
                  <a:lnTo>
                    <a:pt x="2038" y="216"/>
                  </a:lnTo>
                  <a:lnTo>
                    <a:pt x="2038" y="216"/>
                  </a:lnTo>
                  <a:lnTo>
                    <a:pt x="2039" y="214"/>
                  </a:lnTo>
                  <a:lnTo>
                    <a:pt x="2039" y="214"/>
                  </a:lnTo>
                  <a:lnTo>
                    <a:pt x="2046" y="210"/>
                  </a:lnTo>
                  <a:lnTo>
                    <a:pt x="2046" y="210"/>
                  </a:lnTo>
                  <a:lnTo>
                    <a:pt x="2055" y="203"/>
                  </a:lnTo>
                  <a:lnTo>
                    <a:pt x="2055" y="203"/>
                  </a:lnTo>
                  <a:lnTo>
                    <a:pt x="2061" y="200"/>
                  </a:lnTo>
                  <a:lnTo>
                    <a:pt x="2065" y="198"/>
                  </a:lnTo>
                  <a:lnTo>
                    <a:pt x="2065" y="198"/>
                  </a:lnTo>
                  <a:lnTo>
                    <a:pt x="2073" y="195"/>
                  </a:lnTo>
                  <a:lnTo>
                    <a:pt x="2080" y="190"/>
                  </a:lnTo>
                  <a:lnTo>
                    <a:pt x="2080" y="190"/>
                  </a:lnTo>
                  <a:lnTo>
                    <a:pt x="2084" y="185"/>
                  </a:lnTo>
                  <a:lnTo>
                    <a:pt x="2087" y="178"/>
                  </a:lnTo>
                  <a:lnTo>
                    <a:pt x="2087" y="178"/>
                  </a:lnTo>
                  <a:lnTo>
                    <a:pt x="2091" y="167"/>
                  </a:lnTo>
                  <a:lnTo>
                    <a:pt x="2093" y="155"/>
                  </a:lnTo>
                  <a:lnTo>
                    <a:pt x="2093" y="155"/>
                  </a:lnTo>
                  <a:lnTo>
                    <a:pt x="2096" y="135"/>
                  </a:lnTo>
                  <a:lnTo>
                    <a:pt x="2096" y="135"/>
                  </a:lnTo>
                  <a:lnTo>
                    <a:pt x="2096" y="119"/>
                  </a:lnTo>
                  <a:lnTo>
                    <a:pt x="2096" y="119"/>
                  </a:lnTo>
                  <a:lnTo>
                    <a:pt x="2096" y="113"/>
                  </a:lnTo>
                  <a:lnTo>
                    <a:pt x="2093" y="107"/>
                  </a:lnTo>
                  <a:lnTo>
                    <a:pt x="2093" y="107"/>
                  </a:lnTo>
                  <a:lnTo>
                    <a:pt x="2091" y="104"/>
                  </a:lnTo>
                  <a:lnTo>
                    <a:pt x="2091" y="100"/>
                  </a:lnTo>
                  <a:lnTo>
                    <a:pt x="2091" y="100"/>
                  </a:lnTo>
                  <a:lnTo>
                    <a:pt x="2090" y="96"/>
                  </a:lnTo>
                  <a:lnTo>
                    <a:pt x="2088" y="90"/>
                  </a:lnTo>
                  <a:lnTo>
                    <a:pt x="2088" y="90"/>
                  </a:lnTo>
                  <a:lnTo>
                    <a:pt x="2086" y="84"/>
                  </a:lnTo>
                  <a:lnTo>
                    <a:pt x="2083" y="81"/>
                  </a:lnTo>
                  <a:lnTo>
                    <a:pt x="2083" y="81"/>
                  </a:lnTo>
                  <a:lnTo>
                    <a:pt x="2078" y="78"/>
                  </a:lnTo>
                  <a:lnTo>
                    <a:pt x="2074" y="78"/>
                  </a:lnTo>
                  <a:lnTo>
                    <a:pt x="2074" y="78"/>
                  </a:lnTo>
                  <a:lnTo>
                    <a:pt x="2070" y="77"/>
                  </a:lnTo>
                  <a:lnTo>
                    <a:pt x="2070" y="77"/>
                  </a:lnTo>
                  <a:lnTo>
                    <a:pt x="2067" y="74"/>
                  </a:lnTo>
                  <a:lnTo>
                    <a:pt x="2065" y="74"/>
                  </a:lnTo>
                  <a:lnTo>
                    <a:pt x="2065" y="74"/>
                  </a:lnTo>
                  <a:lnTo>
                    <a:pt x="2064" y="74"/>
                  </a:lnTo>
                  <a:lnTo>
                    <a:pt x="2064" y="74"/>
                  </a:lnTo>
                  <a:lnTo>
                    <a:pt x="2062" y="74"/>
                  </a:lnTo>
                  <a:lnTo>
                    <a:pt x="2062" y="74"/>
                  </a:lnTo>
                  <a:lnTo>
                    <a:pt x="2058" y="75"/>
                  </a:lnTo>
                  <a:lnTo>
                    <a:pt x="2058" y="75"/>
                  </a:lnTo>
                  <a:lnTo>
                    <a:pt x="2051" y="78"/>
                  </a:lnTo>
                  <a:lnTo>
                    <a:pt x="2051" y="78"/>
                  </a:lnTo>
                  <a:lnTo>
                    <a:pt x="2052" y="78"/>
                  </a:lnTo>
                  <a:lnTo>
                    <a:pt x="2051" y="78"/>
                  </a:lnTo>
                  <a:lnTo>
                    <a:pt x="2052" y="78"/>
                  </a:lnTo>
                  <a:lnTo>
                    <a:pt x="2051" y="78"/>
                  </a:lnTo>
                  <a:lnTo>
                    <a:pt x="2051" y="78"/>
                  </a:lnTo>
                  <a:lnTo>
                    <a:pt x="2051" y="78"/>
                  </a:lnTo>
                  <a:lnTo>
                    <a:pt x="2051" y="78"/>
                  </a:lnTo>
                  <a:lnTo>
                    <a:pt x="2048" y="78"/>
                  </a:lnTo>
                  <a:lnTo>
                    <a:pt x="2048" y="78"/>
                  </a:lnTo>
                  <a:lnTo>
                    <a:pt x="2025" y="77"/>
                  </a:lnTo>
                  <a:lnTo>
                    <a:pt x="2025" y="77"/>
                  </a:lnTo>
                  <a:lnTo>
                    <a:pt x="2000" y="75"/>
                  </a:lnTo>
                  <a:lnTo>
                    <a:pt x="2000" y="75"/>
                  </a:lnTo>
                  <a:lnTo>
                    <a:pt x="1997" y="75"/>
                  </a:lnTo>
                  <a:lnTo>
                    <a:pt x="1997" y="75"/>
                  </a:lnTo>
                  <a:lnTo>
                    <a:pt x="1989" y="78"/>
                  </a:lnTo>
                  <a:lnTo>
                    <a:pt x="1989" y="78"/>
                  </a:lnTo>
                  <a:lnTo>
                    <a:pt x="1986" y="81"/>
                  </a:lnTo>
                  <a:lnTo>
                    <a:pt x="1984" y="84"/>
                  </a:lnTo>
                  <a:lnTo>
                    <a:pt x="1984" y="84"/>
                  </a:lnTo>
                  <a:lnTo>
                    <a:pt x="1983" y="87"/>
                  </a:lnTo>
                  <a:lnTo>
                    <a:pt x="1980" y="88"/>
                  </a:lnTo>
                  <a:lnTo>
                    <a:pt x="1980" y="88"/>
                  </a:lnTo>
                  <a:lnTo>
                    <a:pt x="1980" y="88"/>
                  </a:lnTo>
                  <a:lnTo>
                    <a:pt x="1964" y="98"/>
                  </a:lnTo>
                  <a:lnTo>
                    <a:pt x="1965" y="100"/>
                  </a:lnTo>
                  <a:lnTo>
                    <a:pt x="1965" y="98"/>
                  </a:lnTo>
                  <a:lnTo>
                    <a:pt x="1965" y="98"/>
                  </a:lnTo>
                  <a:lnTo>
                    <a:pt x="1964" y="98"/>
                  </a:lnTo>
                  <a:lnTo>
                    <a:pt x="1965" y="100"/>
                  </a:lnTo>
                  <a:lnTo>
                    <a:pt x="1965" y="98"/>
                  </a:lnTo>
                  <a:lnTo>
                    <a:pt x="1965" y="101"/>
                  </a:lnTo>
                  <a:lnTo>
                    <a:pt x="1967" y="100"/>
                  </a:lnTo>
                  <a:lnTo>
                    <a:pt x="1967" y="100"/>
                  </a:lnTo>
                  <a:lnTo>
                    <a:pt x="1965" y="98"/>
                  </a:lnTo>
                  <a:lnTo>
                    <a:pt x="1965" y="101"/>
                  </a:lnTo>
                  <a:lnTo>
                    <a:pt x="1967" y="100"/>
                  </a:lnTo>
                  <a:lnTo>
                    <a:pt x="1965" y="100"/>
                  </a:lnTo>
                  <a:lnTo>
                    <a:pt x="1967" y="100"/>
                  </a:lnTo>
                  <a:lnTo>
                    <a:pt x="1967" y="100"/>
                  </a:lnTo>
                  <a:lnTo>
                    <a:pt x="1965" y="100"/>
                  </a:lnTo>
                  <a:lnTo>
                    <a:pt x="1967" y="100"/>
                  </a:lnTo>
                  <a:lnTo>
                    <a:pt x="1967" y="100"/>
                  </a:lnTo>
                  <a:lnTo>
                    <a:pt x="1967" y="98"/>
                  </a:lnTo>
                  <a:lnTo>
                    <a:pt x="1967" y="98"/>
                  </a:lnTo>
                  <a:lnTo>
                    <a:pt x="1967" y="91"/>
                  </a:lnTo>
                  <a:lnTo>
                    <a:pt x="1967" y="91"/>
                  </a:lnTo>
                  <a:lnTo>
                    <a:pt x="1968" y="84"/>
                  </a:lnTo>
                  <a:lnTo>
                    <a:pt x="1968" y="84"/>
                  </a:lnTo>
                  <a:lnTo>
                    <a:pt x="1973" y="72"/>
                  </a:lnTo>
                  <a:lnTo>
                    <a:pt x="1973" y="72"/>
                  </a:lnTo>
                  <a:lnTo>
                    <a:pt x="1978" y="61"/>
                  </a:lnTo>
                  <a:lnTo>
                    <a:pt x="1978" y="61"/>
                  </a:lnTo>
                  <a:lnTo>
                    <a:pt x="1978" y="58"/>
                  </a:lnTo>
                  <a:lnTo>
                    <a:pt x="1978" y="58"/>
                  </a:lnTo>
                  <a:lnTo>
                    <a:pt x="1978" y="56"/>
                  </a:lnTo>
                  <a:lnTo>
                    <a:pt x="1978" y="56"/>
                  </a:lnTo>
                  <a:lnTo>
                    <a:pt x="1976" y="55"/>
                  </a:lnTo>
                  <a:lnTo>
                    <a:pt x="1976" y="55"/>
                  </a:lnTo>
                  <a:lnTo>
                    <a:pt x="1971" y="54"/>
                  </a:lnTo>
                  <a:lnTo>
                    <a:pt x="1971" y="54"/>
                  </a:lnTo>
                  <a:lnTo>
                    <a:pt x="1967" y="54"/>
                  </a:lnTo>
                  <a:lnTo>
                    <a:pt x="1967" y="54"/>
                  </a:lnTo>
                  <a:lnTo>
                    <a:pt x="1962" y="54"/>
                  </a:lnTo>
                  <a:lnTo>
                    <a:pt x="1962" y="55"/>
                  </a:lnTo>
                  <a:lnTo>
                    <a:pt x="1962" y="54"/>
                  </a:lnTo>
                  <a:lnTo>
                    <a:pt x="1962" y="54"/>
                  </a:lnTo>
                  <a:lnTo>
                    <a:pt x="1962" y="54"/>
                  </a:lnTo>
                  <a:lnTo>
                    <a:pt x="1962" y="55"/>
                  </a:lnTo>
                  <a:lnTo>
                    <a:pt x="1962" y="54"/>
                  </a:lnTo>
                  <a:lnTo>
                    <a:pt x="1961" y="55"/>
                  </a:lnTo>
                  <a:lnTo>
                    <a:pt x="1964" y="55"/>
                  </a:lnTo>
                  <a:lnTo>
                    <a:pt x="1964" y="55"/>
                  </a:lnTo>
                  <a:lnTo>
                    <a:pt x="1962" y="54"/>
                  </a:lnTo>
                  <a:lnTo>
                    <a:pt x="1961" y="55"/>
                  </a:lnTo>
                  <a:lnTo>
                    <a:pt x="1964" y="55"/>
                  </a:lnTo>
                  <a:lnTo>
                    <a:pt x="1962" y="55"/>
                  </a:lnTo>
                  <a:lnTo>
                    <a:pt x="1964" y="56"/>
                  </a:lnTo>
                  <a:lnTo>
                    <a:pt x="1964" y="55"/>
                  </a:lnTo>
                  <a:lnTo>
                    <a:pt x="1962" y="55"/>
                  </a:lnTo>
                  <a:lnTo>
                    <a:pt x="1964" y="56"/>
                  </a:lnTo>
                  <a:lnTo>
                    <a:pt x="1964" y="56"/>
                  </a:lnTo>
                  <a:lnTo>
                    <a:pt x="1965" y="54"/>
                  </a:lnTo>
                  <a:lnTo>
                    <a:pt x="1965" y="54"/>
                  </a:lnTo>
                  <a:lnTo>
                    <a:pt x="1970" y="49"/>
                  </a:lnTo>
                  <a:lnTo>
                    <a:pt x="1970" y="49"/>
                  </a:lnTo>
                  <a:lnTo>
                    <a:pt x="1973" y="46"/>
                  </a:lnTo>
                  <a:lnTo>
                    <a:pt x="1973" y="46"/>
                  </a:lnTo>
                  <a:lnTo>
                    <a:pt x="1976" y="42"/>
                  </a:lnTo>
                  <a:lnTo>
                    <a:pt x="1976" y="42"/>
                  </a:lnTo>
                  <a:lnTo>
                    <a:pt x="1978" y="38"/>
                  </a:lnTo>
                  <a:lnTo>
                    <a:pt x="1978" y="32"/>
                  </a:lnTo>
                  <a:lnTo>
                    <a:pt x="1978" y="32"/>
                  </a:lnTo>
                  <a:lnTo>
                    <a:pt x="1978" y="29"/>
                  </a:lnTo>
                  <a:lnTo>
                    <a:pt x="1978" y="29"/>
                  </a:lnTo>
                  <a:lnTo>
                    <a:pt x="1978" y="25"/>
                  </a:lnTo>
                  <a:lnTo>
                    <a:pt x="1978" y="25"/>
                  </a:lnTo>
                  <a:lnTo>
                    <a:pt x="1977" y="23"/>
                  </a:lnTo>
                  <a:lnTo>
                    <a:pt x="1976" y="20"/>
                  </a:lnTo>
                  <a:lnTo>
                    <a:pt x="1976" y="20"/>
                  </a:lnTo>
                  <a:lnTo>
                    <a:pt x="1970" y="17"/>
                  </a:lnTo>
                  <a:lnTo>
                    <a:pt x="1970" y="17"/>
                  </a:lnTo>
                  <a:lnTo>
                    <a:pt x="1967" y="14"/>
                  </a:lnTo>
                  <a:lnTo>
                    <a:pt x="1962" y="12"/>
                  </a:lnTo>
                  <a:lnTo>
                    <a:pt x="1962" y="12"/>
                  </a:lnTo>
                  <a:lnTo>
                    <a:pt x="1960" y="7"/>
                  </a:lnTo>
                  <a:lnTo>
                    <a:pt x="1955" y="4"/>
                  </a:lnTo>
                  <a:lnTo>
                    <a:pt x="1955" y="4"/>
                  </a:lnTo>
                  <a:lnTo>
                    <a:pt x="1948" y="1"/>
                  </a:lnTo>
                  <a:lnTo>
                    <a:pt x="1948" y="1"/>
                  </a:lnTo>
                  <a:lnTo>
                    <a:pt x="1942" y="0"/>
                  </a:lnTo>
                  <a:lnTo>
                    <a:pt x="1942" y="0"/>
                  </a:lnTo>
                  <a:lnTo>
                    <a:pt x="1941" y="0"/>
                  </a:lnTo>
                  <a:lnTo>
                    <a:pt x="1941" y="0"/>
                  </a:lnTo>
                  <a:lnTo>
                    <a:pt x="1938" y="0"/>
                  </a:lnTo>
                  <a:lnTo>
                    <a:pt x="1938" y="0"/>
                  </a:lnTo>
                  <a:lnTo>
                    <a:pt x="1935" y="3"/>
                  </a:lnTo>
                  <a:lnTo>
                    <a:pt x="1935" y="3"/>
                  </a:lnTo>
                  <a:lnTo>
                    <a:pt x="1932" y="6"/>
                  </a:lnTo>
                  <a:lnTo>
                    <a:pt x="1932" y="6"/>
                  </a:lnTo>
                  <a:lnTo>
                    <a:pt x="1920" y="12"/>
                  </a:lnTo>
                  <a:lnTo>
                    <a:pt x="1920" y="12"/>
                  </a:lnTo>
                  <a:lnTo>
                    <a:pt x="1915" y="14"/>
                  </a:lnTo>
                  <a:lnTo>
                    <a:pt x="1915" y="14"/>
                  </a:lnTo>
                  <a:lnTo>
                    <a:pt x="1912" y="17"/>
                  </a:lnTo>
                  <a:lnTo>
                    <a:pt x="1910" y="20"/>
                  </a:lnTo>
                  <a:lnTo>
                    <a:pt x="1910" y="20"/>
                  </a:lnTo>
                  <a:lnTo>
                    <a:pt x="1907" y="30"/>
                  </a:lnTo>
                  <a:lnTo>
                    <a:pt x="1905" y="36"/>
                  </a:lnTo>
                  <a:lnTo>
                    <a:pt x="1900" y="42"/>
                  </a:lnTo>
                  <a:lnTo>
                    <a:pt x="1900" y="43"/>
                  </a:lnTo>
                  <a:lnTo>
                    <a:pt x="1900" y="42"/>
                  </a:lnTo>
                  <a:lnTo>
                    <a:pt x="1900" y="42"/>
                  </a:lnTo>
                  <a:lnTo>
                    <a:pt x="1896" y="49"/>
                  </a:lnTo>
                  <a:lnTo>
                    <a:pt x="1894" y="56"/>
                  </a:lnTo>
                  <a:lnTo>
                    <a:pt x="1894" y="56"/>
                  </a:lnTo>
                  <a:lnTo>
                    <a:pt x="1896" y="68"/>
                  </a:lnTo>
                  <a:lnTo>
                    <a:pt x="1896" y="68"/>
                  </a:lnTo>
                  <a:lnTo>
                    <a:pt x="1896" y="72"/>
                  </a:lnTo>
                  <a:lnTo>
                    <a:pt x="1896" y="72"/>
                  </a:lnTo>
                  <a:lnTo>
                    <a:pt x="1893" y="80"/>
                  </a:lnTo>
                  <a:lnTo>
                    <a:pt x="1893" y="80"/>
                  </a:lnTo>
                  <a:lnTo>
                    <a:pt x="1892" y="84"/>
                  </a:lnTo>
                  <a:lnTo>
                    <a:pt x="1889" y="85"/>
                  </a:lnTo>
                  <a:lnTo>
                    <a:pt x="1889" y="85"/>
                  </a:lnTo>
                  <a:lnTo>
                    <a:pt x="1884" y="88"/>
                  </a:lnTo>
                  <a:lnTo>
                    <a:pt x="1877" y="90"/>
                  </a:lnTo>
                  <a:lnTo>
                    <a:pt x="1877" y="90"/>
                  </a:lnTo>
                  <a:lnTo>
                    <a:pt x="1871" y="91"/>
                  </a:lnTo>
                  <a:lnTo>
                    <a:pt x="1871" y="91"/>
                  </a:lnTo>
                  <a:lnTo>
                    <a:pt x="1867" y="90"/>
                  </a:lnTo>
                  <a:lnTo>
                    <a:pt x="1867" y="90"/>
                  </a:lnTo>
                  <a:lnTo>
                    <a:pt x="1865" y="90"/>
                  </a:lnTo>
                  <a:lnTo>
                    <a:pt x="1865" y="90"/>
                  </a:lnTo>
                  <a:lnTo>
                    <a:pt x="1863" y="88"/>
                  </a:lnTo>
                  <a:lnTo>
                    <a:pt x="1863" y="88"/>
                  </a:lnTo>
                  <a:lnTo>
                    <a:pt x="1860" y="90"/>
                  </a:lnTo>
                  <a:lnTo>
                    <a:pt x="1860" y="90"/>
                  </a:lnTo>
                  <a:lnTo>
                    <a:pt x="1857" y="93"/>
                  </a:lnTo>
                  <a:lnTo>
                    <a:pt x="1857" y="93"/>
                  </a:lnTo>
                  <a:lnTo>
                    <a:pt x="1854" y="96"/>
                  </a:lnTo>
                  <a:lnTo>
                    <a:pt x="1854" y="100"/>
                  </a:lnTo>
                  <a:lnTo>
                    <a:pt x="1854" y="100"/>
                  </a:lnTo>
                  <a:lnTo>
                    <a:pt x="1855" y="106"/>
                  </a:lnTo>
                  <a:lnTo>
                    <a:pt x="1860" y="113"/>
                  </a:lnTo>
                  <a:lnTo>
                    <a:pt x="1860" y="113"/>
                  </a:lnTo>
                  <a:lnTo>
                    <a:pt x="1865" y="119"/>
                  </a:lnTo>
                  <a:lnTo>
                    <a:pt x="1874" y="125"/>
                  </a:lnTo>
                  <a:lnTo>
                    <a:pt x="1874" y="125"/>
                  </a:lnTo>
                  <a:lnTo>
                    <a:pt x="1886" y="132"/>
                  </a:lnTo>
                  <a:lnTo>
                    <a:pt x="1886" y="132"/>
                  </a:lnTo>
                  <a:lnTo>
                    <a:pt x="1889" y="132"/>
                  </a:lnTo>
                  <a:lnTo>
                    <a:pt x="1889" y="132"/>
                  </a:lnTo>
                  <a:lnTo>
                    <a:pt x="1889" y="130"/>
                  </a:lnTo>
                  <a:lnTo>
                    <a:pt x="1889" y="132"/>
                  </a:lnTo>
                  <a:lnTo>
                    <a:pt x="1889" y="132"/>
                  </a:lnTo>
                  <a:lnTo>
                    <a:pt x="1889" y="130"/>
                  </a:lnTo>
                  <a:lnTo>
                    <a:pt x="1889" y="132"/>
                  </a:lnTo>
                  <a:lnTo>
                    <a:pt x="1890" y="130"/>
                  </a:lnTo>
                  <a:lnTo>
                    <a:pt x="1887" y="130"/>
                  </a:lnTo>
                  <a:lnTo>
                    <a:pt x="1889" y="132"/>
                  </a:lnTo>
                  <a:lnTo>
                    <a:pt x="1890" y="130"/>
                  </a:lnTo>
                  <a:lnTo>
                    <a:pt x="1887" y="130"/>
                  </a:lnTo>
                  <a:lnTo>
                    <a:pt x="1889" y="130"/>
                  </a:lnTo>
                  <a:lnTo>
                    <a:pt x="1887" y="129"/>
                  </a:lnTo>
                  <a:lnTo>
                    <a:pt x="1887" y="130"/>
                  </a:lnTo>
                  <a:lnTo>
                    <a:pt x="1889" y="130"/>
                  </a:lnTo>
                  <a:lnTo>
                    <a:pt x="1887" y="129"/>
                  </a:lnTo>
                  <a:lnTo>
                    <a:pt x="1887" y="129"/>
                  </a:lnTo>
                  <a:lnTo>
                    <a:pt x="1887" y="132"/>
                  </a:lnTo>
                  <a:lnTo>
                    <a:pt x="1887" y="132"/>
                  </a:lnTo>
                  <a:lnTo>
                    <a:pt x="1887" y="132"/>
                  </a:lnTo>
                  <a:lnTo>
                    <a:pt x="1887" y="132"/>
                  </a:lnTo>
                  <a:lnTo>
                    <a:pt x="1887" y="130"/>
                  </a:lnTo>
                  <a:lnTo>
                    <a:pt x="1887" y="132"/>
                  </a:lnTo>
                  <a:lnTo>
                    <a:pt x="1887" y="132"/>
                  </a:lnTo>
                  <a:lnTo>
                    <a:pt x="1887" y="130"/>
                  </a:lnTo>
                  <a:lnTo>
                    <a:pt x="1887" y="132"/>
                  </a:lnTo>
                  <a:lnTo>
                    <a:pt x="1887" y="130"/>
                  </a:lnTo>
                  <a:lnTo>
                    <a:pt x="1887" y="130"/>
                  </a:lnTo>
                  <a:lnTo>
                    <a:pt x="1887" y="132"/>
                  </a:lnTo>
                  <a:lnTo>
                    <a:pt x="1887" y="130"/>
                  </a:lnTo>
                  <a:lnTo>
                    <a:pt x="1887" y="130"/>
                  </a:lnTo>
                  <a:lnTo>
                    <a:pt x="1886" y="130"/>
                  </a:lnTo>
                  <a:lnTo>
                    <a:pt x="1886" y="130"/>
                  </a:lnTo>
                  <a:lnTo>
                    <a:pt x="1876" y="130"/>
                  </a:lnTo>
                  <a:lnTo>
                    <a:pt x="1876" y="130"/>
                  </a:lnTo>
                  <a:lnTo>
                    <a:pt x="1873" y="130"/>
                  </a:lnTo>
                  <a:lnTo>
                    <a:pt x="1873" y="130"/>
                  </a:lnTo>
                  <a:lnTo>
                    <a:pt x="1870" y="132"/>
                  </a:lnTo>
                  <a:lnTo>
                    <a:pt x="1870" y="132"/>
                  </a:lnTo>
                  <a:lnTo>
                    <a:pt x="1870" y="135"/>
                  </a:lnTo>
                  <a:lnTo>
                    <a:pt x="1870" y="135"/>
                  </a:lnTo>
                  <a:lnTo>
                    <a:pt x="1870" y="136"/>
                  </a:lnTo>
                  <a:lnTo>
                    <a:pt x="1870" y="136"/>
                  </a:lnTo>
                  <a:lnTo>
                    <a:pt x="1871" y="138"/>
                  </a:lnTo>
                  <a:lnTo>
                    <a:pt x="1871" y="138"/>
                  </a:lnTo>
                  <a:lnTo>
                    <a:pt x="1876" y="140"/>
                  </a:lnTo>
                  <a:lnTo>
                    <a:pt x="1880" y="140"/>
                  </a:lnTo>
                  <a:lnTo>
                    <a:pt x="1880" y="140"/>
                  </a:lnTo>
                  <a:lnTo>
                    <a:pt x="1883" y="140"/>
                  </a:lnTo>
                  <a:lnTo>
                    <a:pt x="1883" y="140"/>
                  </a:lnTo>
                  <a:lnTo>
                    <a:pt x="1884" y="143"/>
                  </a:lnTo>
                  <a:lnTo>
                    <a:pt x="1884" y="143"/>
                  </a:lnTo>
                  <a:lnTo>
                    <a:pt x="1887" y="151"/>
                  </a:lnTo>
                  <a:lnTo>
                    <a:pt x="1887" y="151"/>
                  </a:lnTo>
                  <a:lnTo>
                    <a:pt x="1887" y="155"/>
                  </a:lnTo>
                  <a:lnTo>
                    <a:pt x="1887" y="155"/>
                  </a:lnTo>
                  <a:lnTo>
                    <a:pt x="1887" y="158"/>
                  </a:lnTo>
                  <a:lnTo>
                    <a:pt x="1886" y="162"/>
                  </a:lnTo>
                  <a:lnTo>
                    <a:pt x="1883" y="167"/>
                  </a:lnTo>
                  <a:lnTo>
                    <a:pt x="1883" y="167"/>
                  </a:lnTo>
                  <a:lnTo>
                    <a:pt x="1883" y="168"/>
                  </a:lnTo>
                  <a:lnTo>
                    <a:pt x="1883" y="167"/>
                  </a:lnTo>
                  <a:lnTo>
                    <a:pt x="1883" y="167"/>
                  </a:lnTo>
                  <a:lnTo>
                    <a:pt x="1883" y="168"/>
                  </a:lnTo>
                  <a:lnTo>
                    <a:pt x="1883" y="167"/>
                  </a:lnTo>
                  <a:lnTo>
                    <a:pt x="1884" y="168"/>
                  </a:lnTo>
                  <a:lnTo>
                    <a:pt x="1884" y="167"/>
                  </a:lnTo>
                  <a:lnTo>
                    <a:pt x="1884" y="167"/>
                  </a:lnTo>
                  <a:lnTo>
                    <a:pt x="1883" y="167"/>
                  </a:lnTo>
                  <a:lnTo>
                    <a:pt x="1884" y="168"/>
                  </a:lnTo>
                  <a:lnTo>
                    <a:pt x="1884" y="167"/>
                  </a:lnTo>
                  <a:lnTo>
                    <a:pt x="1884" y="168"/>
                  </a:lnTo>
                  <a:lnTo>
                    <a:pt x="1886" y="167"/>
                  </a:lnTo>
                  <a:lnTo>
                    <a:pt x="1884" y="167"/>
                  </a:lnTo>
                  <a:lnTo>
                    <a:pt x="1884" y="168"/>
                  </a:lnTo>
                  <a:lnTo>
                    <a:pt x="1886" y="167"/>
                  </a:lnTo>
                  <a:lnTo>
                    <a:pt x="1884" y="168"/>
                  </a:lnTo>
                  <a:lnTo>
                    <a:pt x="1886" y="168"/>
                  </a:lnTo>
                  <a:lnTo>
                    <a:pt x="1886" y="168"/>
                  </a:lnTo>
                  <a:lnTo>
                    <a:pt x="1886" y="167"/>
                  </a:lnTo>
                  <a:lnTo>
                    <a:pt x="1884" y="168"/>
                  </a:lnTo>
                  <a:lnTo>
                    <a:pt x="1886" y="168"/>
                  </a:lnTo>
                  <a:lnTo>
                    <a:pt x="1884" y="168"/>
                  </a:lnTo>
                  <a:lnTo>
                    <a:pt x="1886" y="168"/>
                  </a:lnTo>
                  <a:lnTo>
                    <a:pt x="1886" y="168"/>
                  </a:lnTo>
                  <a:lnTo>
                    <a:pt x="1884" y="168"/>
                  </a:lnTo>
                  <a:lnTo>
                    <a:pt x="1886" y="168"/>
                  </a:lnTo>
                  <a:lnTo>
                    <a:pt x="1886" y="168"/>
                  </a:lnTo>
                  <a:lnTo>
                    <a:pt x="1886" y="168"/>
                  </a:lnTo>
                  <a:lnTo>
                    <a:pt x="1886" y="168"/>
                  </a:lnTo>
                  <a:lnTo>
                    <a:pt x="1886" y="158"/>
                  </a:lnTo>
                  <a:lnTo>
                    <a:pt x="1886" y="158"/>
                  </a:lnTo>
                  <a:lnTo>
                    <a:pt x="1886" y="153"/>
                  </a:lnTo>
                  <a:lnTo>
                    <a:pt x="1886" y="153"/>
                  </a:lnTo>
                  <a:lnTo>
                    <a:pt x="1884" y="151"/>
                  </a:lnTo>
                  <a:lnTo>
                    <a:pt x="1883" y="148"/>
                  </a:lnTo>
                  <a:lnTo>
                    <a:pt x="1883" y="148"/>
                  </a:lnTo>
                  <a:lnTo>
                    <a:pt x="1881" y="146"/>
                  </a:lnTo>
                  <a:lnTo>
                    <a:pt x="1878" y="146"/>
                  </a:lnTo>
                  <a:lnTo>
                    <a:pt x="1878" y="146"/>
                  </a:lnTo>
                  <a:lnTo>
                    <a:pt x="1871" y="148"/>
                  </a:lnTo>
                  <a:lnTo>
                    <a:pt x="1871" y="148"/>
                  </a:lnTo>
                  <a:lnTo>
                    <a:pt x="1870" y="149"/>
                  </a:lnTo>
                  <a:lnTo>
                    <a:pt x="1870" y="149"/>
                  </a:lnTo>
                  <a:lnTo>
                    <a:pt x="1867" y="148"/>
                  </a:lnTo>
                  <a:lnTo>
                    <a:pt x="1867" y="148"/>
                  </a:lnTo>
                  <a:lnTo>
                    <a:pt x="1865" y="145"/>
                  </a:lnTo>
                  <a:lnTo>
                    <a:pt x="1865" y="145"/>
                  </a:lnTo>
                  <a:lnTo>
                    <a:pt x="1863" y="140"/>
                  </a:lnTo>
                  <a:lnTo>
                    <a:pt x="1863" y="140"/>
                  </a:lnTo>
                  <a:lnTo>
                    <a:pt x="1861" y="135"/>
                  </a:lnTo>
                  <a:lnTo>
                    <a:pt x="1858" y="130"/>
                  </a:lnTo>
                  <a:lnTo>
                    <a:pt x="1854" y="126"/>
                  </a:lnTo>
                  <a:lnTo>
                    <a:pt x="1848" y="123"/>
                  </a:lnTo>
                  <a:lnTo>
                    <a:pt x="1848" y="123"/>
                  </a:lnTo>
                  <a:lnTo>
                    <a:pt x="1841" y="120"/>
                  </a:lnTo>
                  <a:lnTo>
                    <a:pt x="1841" y="120"/>
                  </a:lnTo>
                  <a:lnTo>
                    <a:pt x="1836" y="122"/>
                  </a:lnTo>
                  <a:lnTo>
                    <a:pt x="1836" y="122"/>
                  </a:lnTo>
                  <a:lnTo>
                    <a:pt x="1831" y="125"/>
                  </a:lnTo>
                  <a:lnTo>
                    <a:pt x="1831" y="125"/>
                  </a:lnTo>
                  <a:lnTo>
                    <a:pt x="1829" y="125"/>
                  </a:lnTo>
                  <a:lnTo>
                    <a:pt x="1829" y="125"/>
                  </a:lnTo>
                  <a:lnTo>
                    <a:pt x="1829" y="126"/>
                  </a:lnTo>
                  <a:lnTo>
                    <a:pt x="1829" y="125"/>
                  </a:lnTo>
                  <a:lnTo>
                    <a:pt x="1829" y="125"/>
                  </a:lnTo>
                  <a:lnTo>
                    <a:pt x="1829" y="126"/>
                  </a:lnTo>
                  <a:lnTo>
                    <a:pt x="1829" y="125"/>
                  </a:lnTo>
                  <a:lnTo>
                    <a:pt x="1829" y="126"/>
                  </a:lnTo>
                  <a:lnTo>
                    <a:pt x="1829" y="126"/>
                  </a:lnTo>
                  <a:lnTo>
                    <a:pt x="1829" y="125"/>
                  </a:lnTo>
                  <a:lnTo>
                    <a:pt x="1829" y="126"/>
                  </a:lnTo>
                  <a:lnTo>
                    <a:pt x="1829" y="126"/>
                  </a:lnTo>
                  <a:lnTo>
                    <a:pt x="1829" y="126"/>
                  </a:lnTo>
                  <a:lnTo>
                    <a:pt x="1829" y="126"/>
                  </a:lnTo>
                  <a:lnTo>
                    <a:pt x="1829" y="126"/>
                  </a:lnTo>
                  <a:lnTo>
                    <a:pt x="1829" y="126"/>
                  </a:lnTo>
                  <a:lnTo>
                    <a:pt x="1829" y="126"/>
                  </a:lnTo>
                  <a:lnTo>
                    <a:pt x="1829" y="125"/>
                  </a:lnTo>
                  <a:lnTo>
                    <a:pt x="1829" y="125"/>
                  </a:lnTo>
                  <a:lnTo>
                    <a:pt x="1829" y="120"/>
                  </a:lnTo>
                  <a:lnTo>
                    <a:pt x="1829" y="120"/>
                  </a:lnTo>
                  <a:lnTo>
                    <a:pt x="1829" y="117"/>
                  </a:lnTo>
                  <a:lnTo>
                    <a:pt x="1828" y="114"/>
                  </a:lnTo>
                  <a:lnTo>
                    <a:pt x="1828" y="114"/>
                  </a:lnTo>
                  <a:lnTo>
                    <a:pt x="1823" y="110"/>
                  </a:lnTo>
                  <a:lnTo>
                    <a:pt x="1823" y="110"/>
                  </a:lnTo>
                  <a:lnTo>
                    <a:pt x="1822" y="109"/>
                  </a:lnTo>
                  <a:lnTo>
                    <a:pt x="1822" y="109"/>
                  </a:lnTo>
                  <a:lnTo>
                    <a:pt x="1819" y="109"/>
                  </a:lnTo>
                  <a:lnTo>
                    <a:pt x="1819" y="109"/>
                  </a:lnTo>
                  <a:lnTo>
                    <a:pt x="1815" y="109"/>
                  </a:lnTo>
                  <a:lnTo>
                    <a:pt x="1815" y="109"/>
                  </a:lnTo>
                  <a:lnTo>
                    <a:pt x="1809" y="110"/>
                  </a:lnTo>
                  <a:lnTo>
                    <a:pt x="1809" y="110"/>
                  </a:lnTo>
                  <a:lnTo>
                    <a:pt x="1805" y="111"/>
                  </a:lnTo>
                  <a:lnTo>
                    <a:pt x="1805" y="111"/>
                  </a:lnTo>
                  <a:lnTo>
                    <a:pt x="1800" y="111"/>
                  </a:lnTo>
                  <a:lnTo>
                    <a:pt x="1800" y="111"/>
                  </a:lnTo>
                  <a:lnTo>
                    <a:pt x="1797" y="111"/>
                  </a:lnTo>
                  <a:lnTo>
                    <a:pt x="1797" y="111"/>
                  </a:lnTo>
                  <a:lnTo>
                    <a:pt x="1793" y="111"/>
                  </a:lnTo>
                  <a:lnTo>
                    <a:pt x="1790" y="113"/>
                  </a:lnTo>
                  <a:lnTo>
                    <a:pt x="1790" y="113"/>
                  </a:lnTo>
                  <a:lnTo>
                    <a:pt x="1787" y="114"/>
                  </a:lnTo>
                  <a:lnTo>
                    <a:pt x="1784" y="114"/>
                  </a:lnTo>
                  <a:lnTo>
                    <a:pt x="1783" y="114"/>
                  </a:lnTo>
                  <a:lnTo>
                    <a:pt x="1783" y="114"/>
                  </a:lnTo>
                  <a:lnTo>
                    <a:pt x="1783" y="114"/>
                  </a:lnTo>
                  <a:lnTo>
                    <a:pt x="1783" y="114"/>
                  </a:lnTo>
                  <a:lnTo>
                    <a:pt x="1781" y="116"/>
                  </a:lnTo>
                  <a:lnTo>
                    <a:pt x="1783" y="114"/>
                  </a:lnTo>
                  <a:lnTo>
                    <a:pt x="1783" y="114"/>
                  </a:lnTo>
                  <a:lnTo>
                    <a:pt x="1781" y="116"/>
                  </a:lnTo>
                  <a:lnTo>
                    <a:pt x="1783" y="114"/>
                  </a:lnTo>
                  <a:lnTo>
                    <a:pt x="1781" y="116"/>
                  </a:lnTo>
                  <a:lnTo>
                    <a:pt x="1783" y="116"/>
                  </a:lnTo>
                  <a:lnTo>
                    <a:pt x="1783" y="114"/>
                  </a:lnTo>
                  <a:lnTo>
                    <a:pt x="1781" y="116"/>
                  </a:lnTo>
                  <a:lnTo>
                    <a:pt x="1783" y="116"/>
                  </a:lnTo>
                  <a:lnTo>
                    <a:pt x="1783" y="116"/>
                  </a:lnTo>
                  <a:lnTo>
                    <a:pt x="1783" y="116"/>
                  </a:lnTo>
                  <a:lnTo>
                    <a:pt x="1783" y="116"/>
                  </a:lnTo>
                  <a:lnTo>
                    <a:pt x="1783" y="116"/>
                  </a:lnTo>
                  <a:lnTo>
                    <a:pt x="1783" y="116"/>
                  </a:lnTo>
                  <a:lnTo>
                    <a:pt x="1783" y="116"/>
                  </a:lnTo>
                  <a:lnTo>
                    <a:pt x="1783" y="113"/>
                  </a:lnTo>
                  <a:lnTo>
                    <a:pt x="1783" y="113"/>
                  </a:lnTo>
                  <a:lnTo>
                    <a:pt x="1784" y="110"/>
                  </a:lnTo>
                  <a:lnTo>
                    <a:pt x="1784" y="110"/>
                  </a:lnTo>
                  <a:lnTo>
                    <a:pt x="1784" y="110"/>
                  </a:lnTo>
                  <a:lnTo>
                    <a:pt x="1784" y="109"/>
                  </a:lnTo>
                  <a:lnTo>
                    <a:pt x="1784" y="109"/>
                  </a:lnTo>
                  <a:lnTo>
                    <a:pt x="1784" y="107"/>
                  </a:lnTo>
                  <a:lnTo>
                    <a:pt x="1784" y="107"/>
                  </a:lnTo>
                  <a:lnTo>
                    <a:pt x="1781" y="106"/>
                  </a:lnTo>
                  <a:lnTo>
                    <a:pt x="1781" y="106"/>
                  </a:lnTo>
                  <a:lnTo>
                    <a:pt x="1780" y="107"/>
                  </a:lnTo>
                  <a:lnTo>
                    <a:pt x="1780" y="107"/>
                  </a:lnTo>
                  <a:lnTo>
                    <a:pt x="1773" y="110"/>
                  </a:lnTo>
                  <a:lnTo>
                    <a:pt x="1773" y="110"/>
                  </a:lnTo>
                  <a:lnTo>
                    <a:pt x="1767" y="114"/>
                  </a:lnTo>
                  <a:lnTo>
                    <a:pt x="1767" y="114"/>
                  </a:lnTo>
                  <a:lnTo>
                    <a:pt x="1761" y="116"/>
                  </a:lnTo>
                  <a:lnTo>
                    <a:pt x="1755" y="120"/>
                  </a:lnTo>
                  <a:lnTo>
                    <a:pt x="1755" y="120"/>
                  </a:lnTo>
                  <a:lnTo>
                    <a:pt x="1747" y="126"/>
                  </a:lnTo>
                  <a:lnTo>
                    <a:pt x="1747" y="126"/>
                  </a:lnTo>
                  <a:lnTo>
                    <a:pt x="1741" y="129"/>
                  </a:lnTo>
                  <a:lnTo>
                    <a:pt x="1741" y="129"/>
                  </a:lnTo>
                  <a:lnTo>
                    <a:pt x="1726" y="135"/>
                  </a:lnTo>
                  <a:lnTo>
                    <a:pt x="1718" y="139"/>
                  </a:lnTo>
                  <a:lnTo>
                    <a:pt x="1709" y="143"/>
                  </a:lnTo>
                  <a:lnTo>
                    <a:pt x="1709" y="143"/>
                  </a:lnTo>
                  <a:lnTo>
                    <a:pt x="1705" y="146"/>
                  </a:lnTo>
                  <a:lnTo>
                    <a:pt x="1700" y="151"/>
                  </a:lnTo>
                  <a:lnTo>
                    <a:pt x="1695" y="159"/>
                  </a:lnTo>
                  <a:lnTo>
                    <a:pt x="1695" y="159"/>
                  </a:lnTo>
                  <a:lnTo>
                    <a:pt x="1690" y="167"/>
                  </a:lnTo>
                  <a:lnTo>
                    <a:pt x="1686" y="172"/>
                  </a:lnTo>
                  <a:lnTo>
                    <a:pt x="1686" y="172"/>
                  </a:lnTo>
                  <a:lnTo>
                    <a:pt x="1681" y="177"/>
                  </a:lnTo>
                  <a:lnTo>
                    <a:pt x="1680" y="180"/>
                  </a:lnTo>
                  <a:lnTo>
                    <a:pt x="1680" y="180"/>
                  </a:lnTo>
                  <a:lnTo>
                    <a:pt x="1679" y="182"/>
                  </a:lnTo>
                  <a:lnTo>
                    <a:pt x="1679" y="182"/>
                  </a:lnTo>
                  <a:lnTo>
                    <a:pt x="1676" y="184"/>
                  </a:lnTo>
                  <a:lnTo>
                    <a:pt x="1676" y="184"/>
                  </a:lnTo>
                  <a:lnTo>
                    <a:pt x="1664" y="190"/>
                  </a:lnTo>
                  <a:lnTo>
                    <a:pt x="1654" y="197"/>
                  </a:lnTo>
                  <a:lnTo>
                    <a:pt x="1654" y="197"/>
                  </a:lnTo>
                  <a:lnTo>
                    <a:pt x="1650" y="200"/>
                  </a:lnTo>
                  <a:lnTo>
                    <a:pt x="1648" y="203"/>
                  </a:lnTo>
                  <a:lnTo>
                    <a:pt x="1648" y="203"/>
                  </a:lnTo>
                  <a:lnTo>
                    <a:pt x="1647" y="206"/>
                  </a:lnTo>
                  <a:lnTo>
                    <a:pt x="1642" y="207"/>
                  </a:lnTo>
                  <a:lnTo>
                    <a:pt x="1642" y="207"/>
                  </a:lnTo>
                  <a:lnTo>
                    <a:pt x="1639" y="210"/>
                  </a:lnTo>
                  <a:lnTo>
                    <a:pt x="1637" y="213"/>
                  </a:lnTo>
                  <a:lnTo>
                    <a:pt x="1637" y="213"/>
                  </a:lnTo>
                  <a:lnTo>
                    <a:pt x="1637" y="216"/>
                  </a:lnTo>
                  <a:lnTo>
                    <a:pt x="1635" y="219"/>
                  </a:lnTo>
                  <a:lnTo>
                    <a:pt x="1635" y="219"/>
                  </a:lnTo>
                  <a:lnTo>
                    <a:pt x="1637" y="227"/>
                  </a:lnTo>
                  <a:lnTo>
                    <a:pt x="1637" y="227"/>
                  </a:lnTo>
                  <a:lnTo>
                    <a:pt x="1638" y="232"/>
                  </a:lnTo>
                  <a:lnTo>
                    <a:pt x="1638" y="232"/>
                  </a:lnTo>
                  <a:lnTo>
                    <a:pt x="1642" y="236"/>
                  </a:lnTo>
                  <a:lnTo>
                    <a:pt x="1642" y="236"/>
                  </a:lnTo>
                  <a:lnTo>
                    <a:pt x="1642" y="236"/>
                  </a:lnTo>
                  <a:lnTo>
                    <a:pt x="1642" y="236"/>
                  </a:lnTo>
                  <a:lnTo>
                    <a:pt x="1644" y="236"/>
                  </a:lnTo>
                  <a:lnTo>
                    <a:pt x="1642" y="236"/>
                  </a:lnTo>
                  <a:lnTo>
                    <a:pt x="1642" y="236"/>
                  </a:lnTo>
                  <a:lnTo>
                    <a:pt x="1644" y="236"/>
                  </a:lnTo>
                  <a:lnTo>
                    <a:pt x="1642" y="236"/>
                  </a:lnTo>
                  <a:lnTo>
                    <a:pt x="1644" y="236"/>
                  </a:lnTo>
                  <a:lnTo>
                    <a:pt x="1644" y="236"/>
                  </a:lnTo>
                  <a:lnTo>
                    <a:pt x="1642" y="236"/>
                  </a:lnTo>
                  <a:lnTo>
                    <a:pt x="1644" y="236"/>
                  </a:lnTo>
                  <a:lnTo>
                    <a:pt x="1644" y="236"/>
                  </a:lnTo>
                  <a:lnTo>
                    <a:pt x="1644" y="236"/>
                  </a:lnTo>
                  <a:lnTo>
                    <a:pt x="1644" y="236"/>
                  </a:lnTo>
                  <a:lnTo>
                    <a:pt x="1644" y="236"/>
                  </a:lnTo>
                  <a:lnTo>
                    <a:pt x="1644" y="236"/>
                  </a:lnTo>
                  <a:lnTo>
                    <a:pt x="1644" y="236"/>
                  </a:lnTo>
                  <a:lnTo>
                    <a:pt x="1642" y="236"/>
                  </a:lnTo>
                  <a:lnTo>
                    <a:pt x="1642" y="236"/>
                  </a:lnTo>
                  <a:lnTo>
                    <a:pt x="1641" y="240"/>
                  </a:lnTo>
                  <a:lnTo>
                    <a:pt x="1641" y="240"/>
                  </a:lnTo>
                  <a:lnTo>
                    <a:pt x="1638" y="245"/>
                  </a:lnTo>
                  <a:lnTo>
                    <a:pt x="1638" y="245"/>
                  </a:lnTo>
                  <a:lnTo>
                    <a:pt x="1635" y="245"/>
                  </a:lnTo>
                  <a:lnTo>
                    <a:pt x="1632" y="246"/>
                  </a:lnTo>
                  <a:lnTo>
                    <a:pt x="1632" y="246"/>
                  </a:lnTo>
                  <a:lnTo>
                    <a:pt x="1625" y="248"/>
                  </a:lnTo>
                  <a:lnTo>
                    <a:pt x="1619" y="251"/>
                  </a:lnTo>
                  <a:lnTo>
                    <a:pt x="1619" y="251"/>
                  </a:lnTo>
                  <a:lnTo>
                    <a:pt x="1613" y="253"/>
                  </a:lnTo>
                  <a:lnTo>
                    <a:pt x="1605" y="258"/>
                  </a:lnTo>
                  <a:lnTo>
                    <a:pt x="1605" y="258"/>
                  </a:lnTo>
                  <a:lnTo>
                    <a:pt x="1596" y="261"/>
                  </a:lnTo>
                  <a:lnTo>
                    <a:pt x="1589" y="261"/>
                  </a:lnTo>
                  <a:lnTo>
                    <a:pt x="1589" y="261"/>
                  </a:lnTo>
                  <a:lnTo>
                    <a:pt x="1582" y="262"/>
                  </a:lnTo>
                  <a:lnTo>
                    <a:pt x="1582" y="262"/>
                  </a:lnTo>
                  <a:lnTo>
                    <a:pt x="1576" y="264"/>
                  </a:lnTo>
                  <a:lnTo>
                    <a:pt x="1576" y="264"/>
                  </a:lnTo>
                  <a:lnTo>
                    <a:pt x="1573" y="266"/>
                  </a:lnTo>
                  <a:lnTo>
                    <a:pt x="1571" y="271"/>
                  </a:lnTo>
                  <a:lnTo>
                    <a:pt x="1571" y="271"/>
                  </a:lnTo>
                  <a:lnTo>
                    <a:pt x="1570" y="277"/>
                  </a:lnTo>
                  <a:lnTo>
                    <a:pt x="1570" y="284"/>
                  </a:lnTo>
                  <a:lnTo>
                    <a:pt x="1570" y="284"/>
                  </a:lnTo>
                  <a:lnTo>
                    <a:pt x="1570" y="290"/>
                  </a:lnTo>
                  <a:lnTo>
                    <a:pt x="1570" y="295"/>
                  </a:lnTo>
                  <a:lnTo>
                    <a:pt x="1570" y="295"/>
                  </a:lnTo>
                  <a:lnTo>
                    <a:pt x="1569" y="301"/>
                  </a:lnTo>
                  <a:lnTo>
                    <a:pt x="1569" y="301"/>
                  </a:lnTo>
                  <a:lnTo>
                    <a:pt x="1570" y="310"/>
                  </a:lnTo>
                  <a:lnTo>
                    <a:pt x="1570" y="310"/>
                  </a:lnTo>
                  <a:lnTo>
                    <a:pt x="1573" y="319"/>
                  </a:lnTo>
                  <a:lnTo>
                    <a:pt x="1573" y="319"/>
                  </a:lnTo>
                  <a:lnTo>
                    <a:pt x="1576" y="324"/>
                  </a:lnTo>
                  <a:lnTo>
                    <a:pt x="1579" y="330"/>
                  </a:lnTo>
                  <a:lnTo>
                    <a:pt x="1579" y="330"/>
                  </a:lnTo>
                  <a:lnTo>
                    <a:pt x="1582" y="335"/>
                  </a:lnTo>
                  <a:lnTo>
                    <a:pt x="1586" y="337"/>
                  </a:lnTo>
                  <a:lnTo>
                    <a:pt x="1586" y="337"/>
                  </a:lnTo>
                  <a:lnTo>
                    <a:pt x="1595" y="343"/>
                  </a:lnTo>
                  <a:lnTo>
                    <a:pt x="1602" y="352"/>
                  </a:lnTo>
                  <a:lnTo>
                    <a:pt x="1602" y="352"/>
                  </a:lnTo>
                  <a:lnTo>
                    <a:pt x="1606" y="355"/>
                  </a:lnTo>
                  <a:lnTo>
                    <a:pt x="1611" y="358"/>
                  </a:lnTo>
                  <a:lnTo>
                    <a:pt x="1611" y="358"/>
                  </a:lnTo>
                  <a:lnTo>
                    <a:pt x="1616" y="362"/>
                  </a:lnTo>
                  <a:lnTo>
                    <a:pt x="1616" y="362"/>
                  </a:lnTo>
                  <a:lnTo>
                    <a:pt x="1618" y="365"/>
                  </a:lnTo>
                  <a:lnTo>
                    <a:pt x="1618" y="365"/>
                  </a:lnTo>
                  <a:lnTo>
                    <a:pt x="1618" y="371"/>
                  </a:lnTo>
                  <a:lnTo>
                    <a:pt x="1618" y="371"/>
                  </a:lnTo>
                  <a:lnTo>
                    <a:pt x="1616" y="384"/>
                  </a:lnTo>
                  <a:lnTo>
                    <a:pt x="1616" y="384"/>
                  </a:lnTo>
                  <a:lnTo>
                    <a:pt x="1613" y="400"/>
                  </a:lnTo>
                  <a:lnTo>
                    <a:pt x="1613" y="400"/>
                  </a:lnTo>
                  <a:lnTo>
                    <a:pt x="1612" y="410"/>
                  </a:lnTo>
                  <a:lnTo>
                    <a:pt x="1612" y="410"/>
                  </a:lnTo>
                  <a:lnTo>
                    <a:pt x="1611" y="416"/>
                  </a:lnTo>
                  <a:lnTo>
                    <a:pt x="1611" y="416"/>
                  </a:lnTo>
                  <a:lnTo>
                    <a:pt x="1611" y="417"/>
                  </a:lnTo>
                  <a:lnTo>
                    <a:pt x="1611" y="416"/>
                  </a:lnTo>
                  <a:lnTo>
                    <a:pt x="1611" y="416"/>
                  </a:lnTo>
                  <a:lnTo>
                    <a:pt x="1611" y="417"/>
                  </a:lnTo>
                  <a:lnTo>
                    <a:pt x="1611" y="416"/>
                  </a:lnTo>
                  <a:lnTo>
                    <a:pt x="1612" y="417"/>
                  </a:lnTo>
                  <a:lnTo>
                    <a:pt x="1612" y="416"/>
                  </a:lnTo>
                  <a:lnTo>
                    <a:pt x="1612" y="416"/>
                  </a:lnTo>
                  <a:lnTo>
                    <a:pt x="1611" y="416"/>
                  </a:lnTo>
                  <a:lnTo>
                    <a:pt x="1612" y="417"/>
                  </a:lnTo>
                  <a:lnTo>
                    <a:pt x="1612" y="416"/>
                  </a:lnTo>
                  <a:lnTo>
                    <a:pt x="1612" y="417"/>
                  </a:lnTo>
                  <a:lnTo>
                    <a:pt x="1612" y="416"/>
                  </a:lnTo>
                  <a:lnTo>
                    <a:pt x="1612" y="416"/>
                  </a:lnTo>
                  <a:lnTo>
                    <a:pt x="1612" y="416"/>
                  </a:lnTo>
                  <a:lnTo>
                    <a:pt x="1612" y="417"/>
                  </a:lnTo>
                  <a:lnTo>
                    <a:pt x="1612" y="416"/>
                  </a:lnTo>
                  <a:lnTo>
                    <a:pt x="1612" y="417"/>
                  </a:lnTo>
                  <a:lnTo>
                    <a:pt x="1613" y="416"/>
                  </a:lnTo>
                  <a:lnTo>
                    <a:pt x="1612" y="416"/>
                  </a:lnTo>
                  <a:lnTo>
                    <a:pt x="1612" y="417"/>
                  </a:lnTo>
                  <a:lnTo>
                    <a:pt x="1613" y="416"/>
                  </a:lnTo>
                  <a:lnTo>
                    <a:pt x="1612" y="416"/>
                  </a:lnTo>
                  <a:lnTo>
                    <a:pt x="1613" y="416"/>
                  </a:lnTo>
                  <a:lnTo>
                    <a:pt x="1613" y="416"/>
                  </a:lnTo>
                  <a:lnTo>
                    <a:pt x="1612" y="416"/>
                  </a:lnTo>
                  <a:lnTo>
                    <a:pt x="1613" y="416"/>
                  </a:lnTo>
                  <a:lnTo>
                    <a:pt x="1613" y="416"/>
                  </a:lnTo>
                  <a:lnTo>
                    <a:pt x="1612" y="414"/>
                  </a:lnTo>
                  <a:lnTo>
                    <a:pt x="1612" y="414"/>
                  </a:lnTo>
                  <a:lnTo>
                    <a:pt x="1611" y="407"/>
                  </a:lnTo>
                  <a:lnTo>
                    <a:pt x="1611" y="407"/>
                  </a:lnTo>
                  <a:lnTo>
                    <a:pt x="1609" y="406"/>
                  </a:lnTo>
                  <a:lnTo>
                    <a:pt x="1609" y="404"/>
                  </a:lnTo>
                  <a:lnTo>
                    <a:pt x="1608" y="403"/>
                  </a:lnTo>
                  <a:lnTo>
                    <a:pt x="1608" y="403"/>
                  </a:lnTo>
                  <a:lnTo>
                    <a:pt x="1606" y="401"/>
                  </a:lnTo>
                  <a:lnTo>
                    <a:pt x="1606" y="401"/>
                  </a:lnTo>
                  <a:lnTo>
                    <a:pt x="1603" y="401"/>
                  </a:lnTo>
                  <a:lnTo>
                    <a:pt x="1603" y="401"/>
                  </a:lnTo>
                  <a:lnTo>
                    <a:pt x="1599" y="401"/>
                  </a:lnTo>
                  <a:lnTo>
                    <a:pt x="1595" y="404"/>
                  </a:lnTo>
                  <a:lnTo>
                    <a:pt x="1595" y="404"/>
                  </a:lnTo>
                  <a:lnTo>
                    <a:pt x="1595" y="404"/>
                  </a:lnTo>
                  <a:lnTo>
                    <a:pt x="1595" y="404"/>
                  </a:lnTo>
                  <a:lnTo>
                    <a:pt x="1595" y="404"/>
                  </a:lnTo>
                  <a:lnTo>
                    <a:pt x="1595" y="404"/>
                  </a:lnTo>
                  <a:lnTo>
                    <a:pt x="1595" y="404"/>
                  </a:lnTo>
                  <a:lnTo>
                    <a:pt x="1596" y="406"/>
                  </a:lnTo>
                  <a:lnTo>
                    <a:pt x="1596" y="403"/>
                  </a:lnTo>
                  <a:lnTo>
                    <a:pt x="1595" y="404"/>
                  </a:lnTo>
                  <a:lnTo>
                    <a:pt x="1596" y="406"/>
                  </a:lnTo>
                  <a:lnTo>
                    <a:pt x="1596" y="403"/>
                  </a:lnTo>
                  <a:lnTo>
                    <a:pt x="1596" y="406"/>
                  </a:lnTo>
                  <a:lnTo>
                    <a:pt x="1597" y="404"/>
                  </a:lnTo>
                  <a:lnTo>
                    <a:pt x="1597" y="404"/>
                  </a:lnTo>
                  <a:lnTo>
                    <a:pt x="1596" y="403"/>
                  </a:lnTo>
                  <a:lnTo>
                    <a:pt x="1596" y="406"/>
                  </a:lnTo>
                  <a:lnTo>
                    <a:pt x="1597" y="404"/>
                  </a:lnTo>
                  <a:lnTo>
                    <a:pt x="1596" y="406"/>
                  </a:lnTo>
                  <a:lnTo>
                    <a:pt x="1597" y="406"/>
                  </a:lnTo>
                  <a:lnTo>
                    <a:pt x="1597" y="406"/>
                  </a:lnTo>
                  <a:lnTo>
                    <a:pt x="1597" y="404"/>
                  </a:lnTo>
                  <a:lnTo>
                    <a:pt x="1596" y="406"/>
                  </a:lnTo>
                  <a:lnTo>
                    <a:pt x="1597" y="406"/>
                  </a:lnTo>
                  <a:lnTo>
                    <a:pt x="1597" y="406"/>
                  </a:lnTo>
                  <a:lnTo>
                    <a:pt x="1597" y="406"/>
                  </a:lnTo>
                  <a:lnTo>
                    <a:pt x="1597" y="406"/>
                  </a:lnTo>
                  <a:lnTo>
                    <a:pt x="1597" y="406"/>
                  </a:lnTo>
                  <a:lnTo>
                    <a:pt x="1597" y="406"/>
                  </a:lnTo>
                  <a:lnTo>
                    <a:pt x="1597" y="406"/>
                  </a:lnTo>
                  <a:lnTo>
                    <a:pt x="1597" y="406"/>
                  </a:lnTo>
                  <a:lnTo>
                    <a:pt x="1599" y="403"/>
                  </a:lnTo>
                  <a:lnTo>
                    <a:pt x="1599" y="403"/>
                  </a:lnTo>
                  <a:lnTo>
                    <a:pt x="1603" y="397"/>
                  </a:lnTo>
                  <a:lnTo>
                    <a:pt x="1603" y="397"/>
                  </a:lnTo>
                  <a:lnTo>
                    <a:pt x="1606" y="391"/>
                  </a:lnTo>
                  <a:lnTo>
                    <a:pt x="1606" y="391"/>
                  </a:lnTo>
                  <a:lnTo>
                    <a:pt x="1609" y="387"/>
                  </a:lnTo>
                  <a:lnTo>
                    <a:pt x="1612" y="381"/>
                  </a:lnTo>
                  <a:lnTo>
                    <a:pt x="1612" y="381"/>
                  </a:lnTo>
                  <a:lnTo>
                    <a:pt x="1613" y="372"/>
                  </a:lnTo>
                  <a:lnTo>
                    <a:pt x="1613" y="372"/>
                  </a:lnTo>
                  <a:lnTo>
                    <a:pt x="1613" y="372"/>
                  </a:lnTo>
                  <a:lnTo>
                    <a:pt x="1615" y="371"/>
                  </a:lnTo>
                  <a:lnTo>
                    <a:pt x="1615" y="371"/>
                  </a:lnTo>
                  <a:lnTo>
                    <a:pt x="1613" y="368"/>
                  </a:lnTo>
                  <a:lnTo>
                    <a:pt x="1613" y="368"/>
                  </a:lnTo>
                  <a:lnTo>
                    <a:pt x="1611" y="366"/>
                  </a:lnTo>
                  <a:lnTo>
                    <a:pt x="1611" y="366"/>
                  </a:lnTo>
                  <a:lnTo>
                    <a:pt x="1603" y="364"/>
                  </a:lnTo>
                  <a:lnTo>
                    <a:pt x="1603" y="364"/>
                  </a:lnTo>
                  <a:lnTo>
                    <a:pt x="1590" y="359"/>
                  </a:lnTo>
                  <a:lnTo>
                    <a:pt x="1590" y="359"/>
                  </a:lnTo>
                  <a:lnTo>
                    <a:pt x="1580" y="356"/>
                  </a:lnTo>
                  <a:lnTo>
                    <a:pt x="1580" y="356"/>
                  </a:lnTo>
                  <a:lnTo>
                    <a:pt x="1579" y="355"/>
                  </a:lnTo>
                  <a:lnTo>
                    <a:pt x="1579" y="355"/>
                  </a:lnTo>
                  <a:lnTo>
                    <a:pt x="1573" y="345"/>
                  </a:lnTo>
                  <a:lnTo>
                    <a:pt x="1567" y="333"/>
                  </a:lnTo>
                  <a:lnTo>
                    <a:pt x="1567" y="333"/>
                  </a:lnTo>
                  <a:lnTo>
                    <a:pt x="1560" y="313"/>
                  </a:lnTo>
                  <a:lnTo>
                    <a:pt x="1560" y="313"/>
                  </a:lnTo>
                  <a:lnTo>
                    <a:pt x="1557" y="308"/>
                  </a:lnTo>
                  <a:lnTo>
                    <a:pt x="1553" y="304"/>
                  </a:lnTo>
                  <a:lnTo>
                    <a:pt x="1553" y="304"/>
                  </a:lnTo>
                  <a:lnTo>
                    <a:pt x="1550" y="303"/>
                  </a:lnTo>
                  <a:lnTo>
                    <a:pt x="1545" y="303"/>
                  </a:lnTo>
                  <a:lnTo>
                    <a:pt x="1545" y="303"/>
                  </a:lnTo>
                  <a:lnTo>
                    <a:pt x="1541" y="303"/>
                  </a:lnTo>
                  <a:lnTo>
                    <a:pt x="1541" y="303"/>
                  </a:lnTo>
                  <a:lnTo>
                    <a:pt x="1532" y="308"/>
                  </a:lnTo>
                  <a:lnTo>
                    <a:pt x="1532" y="308"/>
                  </a:lnTo>
                  <a:lnTo>
                    <a:pt x="1528" y="313"/>
                  </a:lnTo>
                  <a:lnTo>
                    <a:pt x="1528" y="313"/>
                  </a:lnTo>
                  <a:lnTo>
                    <a:pt x="1525" y="317"/>
                  </a:lnTo>
                  <a:lnTo>
                    <a:pt x="1525" y="317"/>
                  </a:lnTo>
                  <a:lnTo>
                    <a:pt x="1525" y="317"/>
                  </a:lnTo>
                  <a:lnTo>
                    <a:pt x="1525" y="319"/>
                  </a:lnTo>
                  <a:lnTo>
                    <a:pt x="1525" y="319"/>
                  </a:lnTo>
                  <a:lnTo>
                    <a:pt x="1525" y="322"/>
                  </a:lnTo>
                  <a:lnTo>
                    <a:pt x="1527" y="323"/>
                  </a:lnTo>
                  <a:lnTo>
                    <a:pt x="1527" y="323"/>
                  </a:lnTo>
                  <a:lnTo>
                    <a:pt x="1531" y="326"/>
                  </a:lnTo>
                  <a:lnTo>
                    <a:pt x="1531" y="326"/>
                  </a:lnTo>
                  <a:lnTo>
                    <a:pt x="1537" y="327"/>
                  </a:lnTo>
                  <a:lnTo>
                    <a:pt x="1537" y="327"/>
                  </a:lnTo>
                  <a:lnTo>
                    <a:pt x="1537" y="329"/>
                  </a:lnTo>
                  <a:lnTo>
                    <a:pt x="1537" y="329"/>
                  </a:lnTo>
                  <a:lnTo>
                    <a:pt x="1538" y="330"/>
                  </a:lnTo>
                  <a:lnTo>
                    <a:pt x="1538" y="330"/>
                  </a:lnTo>
                  <a:lnTo>
                    <a:pt x="1537" y="333"/>
                  </a:lnTo>
                  <a:lnTo>
                    <a:pt x="1535" y="335"/>
                  </a:lnTo>
                  <a:lnTo>
                    <a:pt x="1535" y="336"/>
                  </a:lnTo>
                  <a:lnTo>
                    <a:pt x="1535" y="335"/>
                  </a:lnTo>
                  <a:lnTo>
                    <a:pt x="1537" y="336"/>
                  </a:lnTo>
                  <a:lnTo>
                    <a:pt x="1537" y="335"/>
                  </a:lnTo>
                  <a:lnTo>
                    <a:pt x="1535" y="335"/>
                  </a:lnTo>
                  <a:lnTo>
                    <a:pt x="1537" y="336"/>
                  </a:lnTo>
                  <a:lnTo>
                    <a:pt x="1537" y="335"/>
                  </a:lnTo>
                  <a:lnTo>
                    <a:pt x="1537" y="336"/>
                  </a:lnTo>
                  <a:lnTo>
                    <a:pt x="1537" y="335"/>
                  </a:lnTo>
                  <a:lnTo>
                    <a:pt x="1537" y="335"/>
                  </a:lnTo>
                  <a:lnTo>
                    <a:pt x="1537" y="336"/>
                  </a:lnTo>
                  <a:lnTo>
                    <a:pt x="1537" y="335"/>
                  </a:lnTo>
                  <a:lnTo>
                    <a:pt x="1537" y="336"/>
                  </a:lnTo>
                  <a:lnTo>
                    <a:pt x="1538" y="335"/>
                  </a:lnTo>
                  <a:lnTo>
                    <a:pt x="1538" y="335"/>
                  </a:lnTo>
                  <a:lnTo>
                    <a:pt x="1537" y="335"/>
                  </a:lnTo>
                  <a:lnTo>
                    <a:pt x="1537" y="336"/>
                  </a:lnTo>
                  <a:lnTo>
                    <a:pt x="1538" y="335"/>
                  </a:lnTo>
                  <a:lnTo>
                    <a:pt x="1538" y="336"/>
                  </a:lnTo>
                  <a:lnTo>
                    <a:pt x="1538" y="335"/>
                  </a:lnTo>
                  <a:lnTo>
                    <a:pt x="1538" y="335"/>
                  </a:lnTo>
                  <a:lnTo>
                    <a:pt x="1538" y="336"/>
                  </a:lnTo>
                  <a:lnTo>
                    <a:pt x="1538" y="335"/>
                  </a:lnTo>
                  <a:lnTo>
                    <a:pt x="1538" y="335"/>
                  </a:lnTo>
                  <a:lnTo>
                    <a:pt x="1537" y="335"/>
                  </a:lnTo>
                  <a:lnTo>
                    <a:pt x="1537" y="335"/>
                  </a:lnTo>
                  <a:lnTo>
                    <a:pt x="1535" y="332"/>
                  </a:lnTo>
                  <a:lnTo>
                    <a:pt x="1535" y="332"/>
                  </a:lnTo>
                  <a:lnTo>
                    <a:pt x="1534" y="330"/>
                  </a:lnTo>
                  <a:lnTo>
                    <a:pt x="1534" y="330"/>
                  </a:lnTo>
                  <a:lnTo>
                    <a:pt x="1531" y="329"/>
                  </a:lnTo>
                  <a:lnTo>
                    <a:pt x="1531" y="329"/>
                  </a:lnTo>
                  <a:lnTo>
                    <a:pt x="1528" y="330"/>
                  </a:lnTo>
                  <a:lnTo>
                    <a:pt x="1528" y="330"/>
                  </a:lnTo>
                  <a:lnTo>
                    <a:pt x="1528" y="330"/>
                  </a:lnTo>
                  <a:lnTo>
                    <a:pt x="1527" y="330"/>
                  </a:lnTo>
                  <a:lnTo>
                    <a:pt x="1527" y="330"/>
                  </a:lnTo>
                  <a:lnTo>
                    <a:pt x="1522" y="327"/>
                  </a:lnTo>
                  <a:lnTo>
                    <a:pt x="1522" y="327"/>
                  </a:lnTo>
                  <a:lnTo>
                    <a:pt x="1519" y="326"/>
                  </a:lnTo>
                  <a:lnTo>
                    <a:pt x="1515" y="324"/>
                  </a:lnTo>
                  <a:lnTo>
                    <a:pt x="1515" y="324"/>
                  </a:lnTo>
                  <a:lnTo>
                    <a:pt x="1511" y="324"/>
                  </a:lnTo>
                  <a:lnTo>
                    <a:pt x="1511" y="324"/>
                  </a:lnTo>
                  <a:lnTo>
                    <a:pt x="1503" y="324"/>
                  </a:lnTo>
                  <a:lnTo>
                    <a:pt x="1503" y="324"/>
                  </a:lnTo>
                  <a:lnTo>
                    <a:pt x="1502" y="326"/>
                  </a:lnTo>
                  <a:lnTo>
                    <a:pt x="1502" y="326"/>
                  </a:lnTo>
                  <a:lnTo>
                    <a:pt x="1500" y="327"/>
                  </a:lnTo>
                  <a:lnTo>
                    <a:pt x="1500" y="327"/>
                  </a:lnTo>
                  <a:lnTo>
                    <a:pt x="1499" y="329"/>
                  </a:lnTo>
                  <a:lnTo>
                    <a:pt x="1499" y="329"/>
                  </a:lnTo>
                  <a:lnTo>
                    <a:pt x="1500" y="332"/>
                  </a:lnTo>
                  <a:lnTo>
                    <a:pt x="1500" y="332"/>
                  </a:lnTo>
                  <a:lnTo>
                    <a:pt x="1500" y="332"/>
                  </a:lnTo>
                  <a:lnTo>
                    <a:pt x="1500" y="333"/>
                  </a:lnTo>
                  <a:lnTo>
                    <a:pt x="1500" y="333"/>
                  </a:lnTo>
                  <a:lnTo>
                    <a:pt x="1499" y="342"/>
                  </a:lnTo>
                  <a:lnTo>
                    <a:pt x="1499" y="342"/>
                  </a:lnTo>
                  <a:lnTo>
                    <a:pt x="1499" y="346"/>
                  </a:lnTo>
                  <a:lnTo>
                    <a:pt x="1499" y="346"/>
                  </a:lnTo>
                  <a:lnTo>
                    <a:pt x="1502" y="352"/>
                  </a:lnTo>
                  <a:lnTo>
                    <a:pt x="1506" y="358"/>
                  </a:lnTo>
                  <a:lnTo>
                    <a:pt x="1506" y="358"/>
                  </a:lnTo>
                  <a:lnTo>
                    <a:pt x="1511" y="362"/>
                  </a:lnTo>
                  <a:lnTo>
                    <a:pt x="1511" y="362"/>
                  </a:lnTo>
                  <a:lnTo>
                    <a:pt x="1515" y="365"/>
                  </a:lnTo>
                  <a:lnTo>
                    <a:pt x="1515" y="365"/>
                  </a:lnTo>
                  <a:lnTo>
                    <a:pt x="1524" y="368"/>
                  </a:lnTo>
                  <a:lnTo>
                    <a:pt x="1524" y="368"/>
                  </a:lnTo>
                  <a:lnTo>
                    <a:pt x="1528" y="369"/>
                  </a:lnTo>
                  <a:lnTo>
                    <a:pt x="1528" y="369"/>
                  </a:lnTo>
                  <a:lnTo>
                    <a:pt x="1531" y="371"/>
                  </a:lnTo>
                  <a:lnTo>
                    <a:pt x="1531" y="371"/>
                  </a:lnTo>
                  <a:lnTo>
                    <a:pt x="1532" y="375"/>
                  </a:lnTo>
                  <a:lnTo>
                    <a:pt x="1532" y="379"/>
                  </a:lnTo>
                  <a:lnTo>
                    <a:pt x="1532" y="379"/>
                  </a:lnTo>
                  <a:lnTo>
                    <a:pt x="1532" y="384"/>
                  </a:lnTo>
                  <a:lnTo>
                    <a:pt x="1531" y="387"/>
                  </a:lnTo>
                  <a:lnTo>
                    <a:pt x="1531" y="387"/>
                  </a:lnTo>
                  <a:lnTo>
                    <a:pt x="1531" y="387"/>
                  </a:lnTo>
                  <a:lnTo>
                    <a:pt x="1531" y="387"/>
                  </a:lnTo>
                  <a:lnTo>
                    <a:pt x="1531" y="387"/>
                  </a:lnTo>
                  <a:lnTo>
                    <a:pt x="1531" y="387"/>
                  </a:lnTo>
                  <a:lnTo>
                    <a:pt x="1531" y="387"/>
                  </a:lnTo>
                  <a:lnTo>
                    <a:pt x="1531" y="387"/>
                  </a:lnTo>
                  <a:lnTo>
                    <a:pt x="1531" y="387"/>
                  </a:lnTo>
                  <a:lnTo>
                    <a:pt x="1531" y="385"/>
                  </a:lnTo>
                  <a:lnTo>
                    <a:pt x="1531" y="387"/>
                  </a:lnTo>
                  <a:lnTo>
                    <a:pt x="1531" y="387"/>
                  </a:lnTo>
                  <a:lnTo>
                    <a:pt x="1531" y="385"/>
                  </a:lnTo>
                  <a:lnTo>
                    <a:pt x="1531" y="385"/>
                  </a:lnTo>
                  <a:lnTo>
                    <a:pt x="1531" y="385"/>
                  </a:lnTo>
                  <a:lnTo>
                    <a:pt x="1529" y="385"/>
                  </a:lnTo>
                  <a:lnTo>
                    <a:pt x="1529" y="385"/>
                  </a:lnTo>
                  <a:lnTo>
                    <a:pt x="1525" y="381"/>
                  </a:lnTo>
                  <a:lnTo>
                    <a:pt x="1525" y="381"/>
                  </a:lnTo>
                  <a:lnTo>
                    <a:pt x="1522" y="379"/>
                  </a:lnTo>
                  <a:lnTo>
                    <a:pt x="1518" y="379"/>
                  </a:lnTo>
                  <a:lnTo>
                    <a:pt x="1518" y="379"/>
                  </a:lnTo>
                  <a:lnTo>
                    <a:pt x="1515" y="379"/>
                  </a:lnTo>
                  <a:lnTo>
                    <a:pt x="1515" y="379"/>
                  </a:lnTo>
                  <a:lnTo>
                    <a:pt x="1506" y="382"/>
                  </a:lnTo>
                  <a:lnTo>
                    <a:pt x="1498" y="382"/>
                  </a:lnTo>
                  <a:lnTo>
                    <a:pt x="1498" y="382"/>
                  </a:lnTo>
                  <a:lnTo>
                    <a:pt x="1498" y="382"/>
                  </a:lnTo>
                  <a:lnTo>
                    <a:pt x="1496" y="382"/>
                  </a:lnTo>
                  <a:lnTo>
                    <a:pt x="1495" y="381"/>
                  </a:lnTo>
                  <a:lnTo>
                    <a:pt x="1495" y="381"/>
                  </a:lnTo>
                  <a:lnTo>
                    <a:pt x="1493" y="378"/>
                  </a:lnTo>
                  <a:lnTo>
                    <a:pt x="1493" y="375"/>
                  </a:lnTo>
                  <a:lnTo>
                    <a:pt x="1493" y="375"/>
                  </a:lnTo>
                  <a:lnTo>
                    <a:pt x="1493" y="372"/>
                  </a:lnTo>
                  <a:lnTo>
                    <a:pt x="1493" y="372"/>
                  </a:lnTo>
                  <a:lnTo>
                    <a:pt x="1495" y="358"/>
                  </a:lnTo>
                  <a:lnTo>
                    <a:pt x="1495" y="335"/>
                  </a:lnTo>
                  <a:lnTo>
                    <a:pt x="1495" y="335"/>
                  </a:lnTo>
                  <a:lnTo>
                    <a:pt x="1495" y="322"/>
                  </a:lnTo>
                  <a:lnTo>
                    <a:pt x="1495" y="322"/>
                  </a:lnTo>
                  <a:lnTo>
                    <a:pt x="1495" y="317"/>
                  </a:lnTo>
                  <a:lnTo>
                    <a:pt x="1495" y="317"/>
                  </a:lnTo>
                  <a:lnTo>
                    <a:pt x="1493" y="314"/>
                  </a:lnTo>
                  <a:lnTo>
                    <a:pt x="1493" y="314"/>
                  </a:lnTo>
                  <a:lnTo>
                    <a:pt x="1487" y="307"/>
                  </a:lnTo>
                  <a:lnTo>
                    <a:pt x="1487" y="307"/>
                  </a:lnTo>
                  <a:lnTo>
                    <a:pt x="1485" y="306"/>
                  </a:lnTo>
                  <a:lnTo>
                    <a:pt x="1485" y="306"/>
                  </a:lnTo>
                  <a:lnTo>
                    <a:pt x="1482" y="304"/>
                  </a:lnTo>
                  <a:lnTo>
                    <a:pt x="1482" y="304"/>
                  </a:lnTo>
                  <a:lnTo>
                    <a:pt x="1480" y="304"/>
                  </a:lnTo>
                  <a:lnTo>
                    <a:pt x="1480" y="304"/>
                  </a:lnTo>
                  <a:lnTo>
                    <a:pt x="1479" y="306"/>
                  </a:lnTo>
                  <a:lnTo>
                    <a:pt x="1479" y="306"/>
                  </a:lnTo>
                  <a:lnTo>
                    <a:pt x="1479" y="307"/>
                  </a:lnTo>
                  <a:lnTo>
                    <a:pt x="1479" y="307"/>
                  </a:lnTo>
                  <a:lnTo>
                    <a:pt x="1477" y="313"/>
                  </a:lnTo>
                  <a:lnTo>
                    <a:pt x="1477" y="313"/>
                  </a:lnTo>
                  <a:lnTo>
                    <a:pt x="1476" y="337"/>
                  </a:lnTo>
                  <a:lnTo>
                    <a:pt x="1476" y="337"/>
                  </a:lnTo>
                  <a:lnTo>
                    <a:pt x="1473" y="342"/>
                  </a:lnTo>
                  <a:lnTo>
                    <a:pt x="1473" y="342"/>
                  </a:lnTo>
                  <a:lnTo>
                    <a:pt x="1464" y="350"/>
                  </a:lnTo>
                  <a:lnTo>
                    <a:pt x="1464" y="350"/>
                  </a:lnTo>
                  <a:lnTo>
                    <a:pt x="1460" y="355"/>
                  </a:lnTo>
                  <a:lnTo>
                    <a:pt x="1460" y="355"/>
                  </a:lnTo>
                  <a:lnTo>
                    <a:pt x="1457" y="358"/>
                  </a:lnTo>
                  <a:lnTo>
                    <a:pt x="1457" y="362"/>
                  </a:lnTo>
                  <a:lnTo>
                    <a:pt x="1457" y="362"/>
                  </a:lnTo>
                  <a:lnTo>
                    <a:pt x="1457" y="362"/>
                  </a:lnTo>
                  <a:lnTo>
                    <a:pt x="1457" y="362"/>
                  </a:lnTo>
                  <a:lnTo>
                    <a:pt x="1456" y="366"/>
                  </a:lnTo>
                  <a:lnTo>
                    <a:pt x="1454" y="369"/>
                  </a:lnTo>
                  <a:lnTo>
                    <a:pt x="1454" y="369"/>
                  </a:lnTo>
                  <a:lnTo>
                    <a:pt x="1451" y="374"/>
                  </a:lnTo>
                  <a:lnTo>
                    <a:pt x="1448" y="379"/>
                  </a:lnTo>
                  <a:lnTo>
                    <a:pt x="1448" y="379"/>
                  </a:lnTo>
                  <a:lnTo>
                    <a:pt x="1448" y="382"/>
                  </a:lnTo>
                  <a:lnTo>
                    <a:pt x="1448" y="382"/>
                  </a:lnTo>
                  <a:lnTo>
                    <a:pt x="1450" y="387"/>
                  </a:lnTo>
                  <a:lnTo>
                    <a:pt x="1451" y="391"/>
                  </a:lnTo>
                  <a:lnTo>
                    <a:pt x="1451" y="391"/>
                  </a:lnTo>
                  <a:lnTo>
                    <a:pt x="1460" y="403"/>
                  </a:lnTo>
                  <a:lnTo>
                    <a:pt x="1460" y="403"/>
                  </a:lnTo>
                  <a:lnTo>
                    <a:pt x="1467" y="410"/>
                  </a:lnTo>
                  <a:lnTo>
                    <a:pt x="1467" y="410"/>
                  </a:lnTo>
                  <a:lnTo>
                    <a:pt x="1467" y="411"/>
                  </a:lnTo>
                  <a:lnTo>
                    <a:pt x="1467" y="411"/>
                  </a:lnTo>
                  <a:lnTo>
                    <a:pt x="1466" y="417"/>
                  </a:lnTo>
                  <a:lnTo>
                    <a:pt x="1466" y="417"/>
                  </a:lnTo>
                  <a:lnTo>
                    <a:pt x="1464" y="419"/>
                  </a:lnTo>
                  <a:lnTo>
                    <a:pt x="1464" y="419"/>
                  </a:lnTo>
                  <a:lnTo>
                    <a:pt x="1464" y="421"/>
                  </a:lnTo>
                  <a:lnTo>
                    <a:pt x="1464" y="421"/>
                  </a:lnTo>
                  <a:lnTo>
                    <a:pt x="1464" y="421"/>
                  </a:lnTo>
                  <a:lnTo>
                    <a:pt x="1461" y="442"/>
                  </a:lnTo>
                  <a:lnTo>
                    <a:pt x="1461" y="442"/>
                  </a:lnTo>
                  <a:lnTo>
                    <a:pt x="1458" y="469"/>
                  </a:lnTo>
                  <a:lnTo>
                    <a:pt x="1458" y="469"/>
                  </a:lnTo>
                  <a:lnTo>
                    <a:pt x="1460" y="485"/>
                  </a:lnTo>
                  <a:lnTo>
                    <a:pt x="1460" y="485"/>
                  </a:lnTo>
                  <a:lnTo>
                    <a:pt x="1461" y="491"/>
                  </a:lnTo>
                  <a:lnTo>
                    <a:pt x="1461" y="491"/>
                  </a:lnTo>
                  <a:lnTo>
                    <a:pt x="1463" y="494"/>
                  </a:lnTo>
                  <a:lnTo>
                    <a:pt x="1464" y="495"/>
                  </a:lnTo>
                  <a:lnTo>
                    <a:pt x="1464" y="495"/>
                  </a:lnTo>
                  <a:lnTo>
                    <a:pt x="1469" y="497"/>
                  </a:lnTo>
                  <a:lnTo>
                    <a:pt x="1469" y="497"/>
                  </a:lnTo>
                  <a:lnTo>
                    <a:pt x="1471" y="495"/>
                  </a:lnTo>
                  <a:lnTo>
                    <a:pt x="1471" y="495"/>
                  </a:lnTo>
                  <a:lnTo>
                    <a:pt x="1473" y="494"/>
                  </a:lnTo>
                  <a:lnTo>
                    <a:pt x="1473" y="494"/>
                  </a:lnTo>
                  <a:lnTo>
                    <a:pt x="1476" y="492"/>
                  </a:lnTo>
                  <a:lnTo>
                    <a:pt x="1476" y="492"/>
                  </a:lnTo>
                  <a:lnTo>
                    <a:pt x="1480" y="491"/>
                  </a:lnTo>
                  <a:lnTo>
                    <a:pt x="1483" y="490"/>
                  </a:lnTo>
                  <a:lnTo>
                    <a:pt x="1483" y="490"/>
                  </a:lnTo>
                  <a:lnTo>
                    <a:pt x="1486" y="488"/>
                  </a:lnTo>
                  <a:lnTo>
                    <a:pt x="1489" y="487"/>
                  </a:lnTo>
                  <a:lnTo>
                    <a:pt x="1489" y="487"/>
                  </a:lnTo>
                  <a:lnTo>
                    <a:pt x="1502" y="485"/>
                  </a:lnTo>
                  <a:lnTo>
                    <a:pt x="1502" y="485"/>
                  </a:lnTo>
                  <a:lnTo>
                    <a:pt x="1508" y="485"/>
                  </a:lnTo>
                  <a:lnTo>
                    <a:pt x="1513" y="487"/>
                  </a:lnTo>
                  <a:lnTo>
                    <a:pt x="1513" y="487"/>
                  </a:lnTo>
                  <a:lnTo>
                    <a:pt x="1518" y="490"/>
                  </a:lnTo>
                  <a:lnTo>
                    <a:pt x="1519" y="492"/>
                  </a:lnTo>
                  <a:lnTo>
                    <a:pt x="1519" y="492"/>
                  </a:lnTo>
                  <a:lnTo>
                    <a:pt x="1522" y="503"/>
                  </a:lnTo>
                  <a:lnTo>
                    <a:pt x="1522" y="503"/>
                  </a:lnTo>
                  <a:lnTo>
                    <a:pt x="1525" y="510"/>
                  </a:lnTo>
                  <a:lnTo>
                    <a:pt x="1528" y="516"/>
                  </a:lnTo>
                  <a:lnTo>
                    <a:pt x="1528" y="516"/>
                  </a:lnTo>
                  <a:lnTo>
                    <a:pt x="1534" y="527"/>
                  </a:lnTo>
                  <a:lnTo>
                    <a:pt x="1534" y="527"/>
                  </a:lnTo>
                  <a:lnTo>
                    <a:pt x="1534" y="529"/>
                  </a:lnTo>
                  <a:lnTo>
                    <a:pt x="1534" y="529"/>
                  </a:lnTo>
                  <a:lnTo>
                    <a:pt x="1534" y="530"/>
                  </a:lnTo>
                  <a:lnTo>
                    <a:pt x="1534" y="530"/>
                  </a:lnTo>
                  <a:lnTo>
                    <a:pt x="1528" y="536"/>
                  </a:lnTo>
                  <a:lnTo>
                    <a:pt x="1528" y="536"/>
                  </a:lnTo>
                  <a:lnTo>
                    <a:pt x="1525" y="540"/>
                  </a:lnTo>
                  <a:lnTo>
                    <a:pt x="1522" y="547"/>
                  </a:lnTo>
                  <a:lnTo>
                    <a:pt x="1522" y="547"/>
                  </a:lnTo>
                  <a:lnTo>
                    <a:pt x="1522" y="552"/>
                  </a:lnTo>
                  <a:lnTo>
                    <a:pt x="1522" y="552"/>
                  </a:lnTo>
                  <a:lnTo>
                    <a:pt x="1524" y="559"/>
                  </a:lnTo>
                  <a:lnTo>
                    <a:pt x="1528" y="565"/>
                  </a:lnTo>
                  <a:lnTo>
                    <a:pt x="1528" y="565"/>
                  </a:lnTo>
                  <a:lnTo>
                    <a:pt x="1534" y="569"/>
                  </a:lnTo>
                  <a:lnTo>
                    <a:pt x="1538" y="571"/>
                  </a:lnTo>
                  <a:lnTo>
                    <a:pt x="1538" y="571"/>
                  </a:lnTo>
                  <a:lnTo>
                    <a:pt x="1540" y="572"/>
                  </a:lnTo>
                  <a:lnTo>
                    <a:pt x="1540" y="572"/>
                  </a:lnTo>
                  <a:lnTo>
                    <a:pt x="1541" y="571"/>
                  </a:lnTo>
                  <a:lnTo>
                    <a:pt x="1540" y="572"/>
                  </a:lnTo>
                  <a:lnTo>
                    <a:pt x="1540" y="572"/>
                  </a:lnTo>
                  <a:lnTo>
                    <a:pt x="1541" y="571"/>
                  </a:lnTo>
                  <a:lnTo>
                    <a:pt x="1540" y="572"/>
                  </a:lnTo>
                  <a:lnTo>
                    <a:pt x="1541" y="571"/>
                  </a:lnTo>
                  <a:lnTo>
                    <a:pt x="1540" y="571"/>
                  </a:lnTo>
                  <a:lnTo>
                    <a:pt x="1540" y="572"/>
                  </a:lnTo>
                  <a:lnTo>
                    <a:pt x="1541" y="571"/>
                  </a:lnTo>
                  <a:lnTo>
                    <a:pt x="1540" y="571"/>
                  </a:lnTo>
                  <a:lnTo>
                    <a:pt x="1541" y="571"/>
                  </a:lnTo>
                  <a:lnTo>
                    <a:pt x="1540" y="569"/>
                  </a:lnTo>
                  <a:lnTo>
                    <a:pt x="1540" y="569"/>
                  </a:lnTo>
                  <a:lnTo>
                    <a:pt x="1540" y="571"/>
                  </a:lnTo>
                  <a:lnTo>
                    <a:pt x="1541" y="571"/>
                  </a:lnTo>
                  <a:lnTo>
                    <a:pt x="1540" y="569"/>
                  </a:lnTo>
                  <a:lnTo>
                    <a:pt x="1540" y="569"/>
                  </a:lnTo>
                  <a:lnTo>
                    <a:pt x="1540" y="569"/>
                  </a:lnTo>
                  <a:lnTo>
                    <a:pt x="1540" y="569"/>
                  </a:lnTo>
                  <a:lnTo>
                    <a:pt x="1540" y="569"/>
                  </a:lnTo>
                  <a:lnTo>
                    <a:pt x="1540" y="569"/>
                  </a:lnTo>
                  <a:lnTo>
                    <a:pt x="1540" y="569"/>
                  </a:lnTo>
                  <a:lnTo>
                    <a:pt x="1538" y="571"/>
                  </a:lnTo>
                  <a:lnTo>
                    <a:pt x="1538" y="571"/>
                  </a:lnTo>
                  <a:lnTo>
                    <a:pt x="1532" y="571"/>
                  </a:lnTo>
                  <a:lnTo>
                    <a:pt x="1532" y="571"/>
                  </a:lnTo>
                  <a:lnTo>
                    <a:pt x="1528" y="572"/>
                  </a:lnTo>
                  <a:lnTo>
                    <a:pt x="1524" y="574"/>
                  </a:lnTo>
                  <a:lnTo>
                    <a:pt x="1524" y="574"/>
                  </a:lnTo>
                  <a:lnTo>
                    <a:pt x="1519" y="579"/>
                  </a:lnTo>
                  <a:lnTo>
                    <a:pt x="1519" y="579"/>
                  </a:lnTo>
                  <a:lnTo>
                    <a:pt x="1519" y="579"/>
                  </a:lnTo>
                  <a:lnTo>
                    <a:pt x="1519" y="579"/>
                  </a:lnTo>
                  <a:lnTo>
                    <a:pt x="1519" y="579"/>
                  </a:lnTo>
                  <a:lnTo>
                    <a:pt x="1519" y="579"/>
                  </a:lnTo>
                  <a:lnTo>
                    <a:pt x="1519" y="579"/>
                  </a:lnTo>
                  <a:lnTo>
                    <a:pt x="1519" y="579"/>
                  </a:lnTo>
                  <a:lnTo>
                    <a:pt x="1519" y="579"/>
                  </a:lnTo>
                  <a:lnTo>
                    <a:pt x="1519" y="579"/>
                  </a:lnTo>
                  <a:lnTo>
                    <a:pt x="1519" y="579"/>
                  </a:lnTo>
                  <a:lnTo>
                    <a:pt x="1519" y="579"/>
                  </a:lnTo>
                  <a:lnTo>
                    <a:pt x="1519" y="578"/>
                  </a:lnTo>
                  <a:lnTo>
                    <a:pt x="1519" y="578"/>
                  </a:lnTo>
                  <a:lnTo>
                    <a:pt x="1518" y="576"/>
                  </a:lnTo>
                  <a:lnTo>
                    <a:pt x="1518" y="576"/>
                  </a:lnTo>
                  <a:lnTo>
                    <a:pt x="1515" y="572"/>
                  </a:lnTo>
                  <a:lnTo>
                    <a:pt x="1515" y="572"/>
                  </a:lnTo>
                  <a:lnTo>
                    <a:pt x="1515" y="572"/>
                  </a:lnTo>
                  <a:lnTo>
                    <a:pt x="1515" y="572"/>
                  </a:lnTo>
                  <a:lnTo>
                    <a:pt x="1515" y="572"/>
                  </a:lnTo>
                  <a:lnTo>
                    <a:pt x="1515" y="572"/>
                  </a:lnTo>
                  <a:lnTo>
                    <a:pt x="1515" y="572"/>
                  </a:lnTo>
                  <a:lnTo>
                    <a:pt x="1515" y="572"/>
                  </a:lnTo>
                  <a:lnTo>
                    <a:pt x="1513" y="568"/>
                  </a:lnTo>
                  <a:lnTo>
                    <a:pt x="1513" y="568"/>
                  </a:lnTo>
                  <a:lnTo>
                    <a:pt x="1513" y="562"/>
                  </a:lnTo>
                  <a:lnTo>
                    <a:pt x="1513" y="562"/>
                  </a:lnTo>
                  <a:lnTo>
                    <a:pt x="1513" y="537"/>
                  </a:lnTo>
                  <a:lnTo>
                    <a:pt x="1513" y="537"/>
                  </a:lnTo>
                  <a:lnTo>
                    <a:pt x="1513" y="532"/>
                  </a:lnTo>
                  <a:lnTo>
                    <a:pt x="1513" y="532"/>
                  </a:lnTo>
                  <a:lnTo>
                    <a:pt x="1513" y="523"/>
                  </a:lnTo>
                  <a:lnTo>
                    <a:pt x="1511" y="514"/>
                  </a:lnTo>
                  <a:lnTo>
                    <a:pt x="1511" y="514"/>
                  </a:lnTo>
                  <a:lnTo>
                    <a:pt x="1508" y="507"/>
                  </a:lnTo>
                  <a:lnTo>
                    <a:pt x="1508" y="507"/>
                  </a:lnTo>
                  <a:lnTo>
                    <a:pt x="1503" y="501"/>
                  </a:lnTo>
                  <a:lnTo>
                    <a:pt x="1503" y="501"/>
                  </a:lnTo>
                  <a:lnTo>
                    <a:pt x="1500" y="501"/>
                  </a:lnTo>
                  <a:lnTo>
                    <a:pt x="1500" y="501"/>
                  </a:lnTo>
                  <a:lnTo>
                    <a:pt x="1496" y="501"/>
                  </a:lnTo>
                  <a:lnTo>
                    <a:pt x="1496" y="501"/>
                  </a:lnTo>
                  <a:lnTo>
                    <a:pt x="1487" y="507"/>
                  </a:lnTo>
                  <a:lnTo>
                    <a:pt x="1477" y="513"/>
                  </a:lnTo>
                  <a:lnTo>
                    <a:pt x="1477" y="513"/>
                  </a:lnTo>
                  <a:lnTo>
                    <a:pt x="1470" y="520"/>
                  </a:lnTo>
                  <a:lnTo>
                    <a:pt x="1470" y="520"/>
                  </a:lnTo>
                  <a:lnTo>
                    <a:pt x="1467" y="523"/>
                  </a:lnTo>
                  <a:lnTo>
                    <a:pt x="1467" y="523"/>
                  </a:lnTo>
                  <a:lnTo>
                    <a:pt x="1466" y="524"/>
                  </a:lnTo>
                  <a:lnTo>
                    <a:pt x="1466" y="524"/>
                  </a:lnTo>
                  <a:lnTo>
                    <a:pt x="1464" y="529"/>
                  </a:lnTo>
                  <a:lnTo>
                    <a:pt x="1464" y="529"/>
                  </a:lnTo>
                  <a:lnTo>
                    <a:pt x="1466" y="532"/>
                  </a:lnTo>
                  <a:lnTo>
                    <a:pt x="1466" y="532"/>
                  </a:lnTo>
                  <a:lnTo>
                    <a:pt x="1470" y="539"/>
                  </a:lnTo>
                  <a:lnTo>
                    <a:pt x="1470" y="539"/>
                  </a:lnTo>
                  <a:lnTo>
                    <a:pt x="1471" y="542"/>
                  </a:lnTo>
                  <a:lnTo>
                    <a:pt x="1471" y="542"/>
                  </a:lnTo>
                  <a:lnTo>
                    <a:pt x="1470" y="547"/>
                  </a:lnTo>
                  <a:lnTo>
                    <a:pt x="1467" y="555"/>
                  </a:lnTo>
                  <a:lnTo>
                    <a:pt x="1467" y="555"/>
                  </a:lnTo>
                  <a:lnTo>
                    <a:pt x="1460" y="574"/>
                  </a:lnTo>
                  <a:lnTo>
                    <a:pt x="1460" y="574"/>
                  </a:lnTo>
                  <a:lnTo>
                    <a:pt x="1454" y="584"/>
                  </a:lnTo>
                  <a:lnTo>
                    <a:pt x="1448" y="594"/>
                  </a:lnTo>
                  <a:lnTo>
                    <a:pt x="1448" y="594"/>
                  </a:lnTo>
                  <a:lnTo>
                    <a:pt x="1443" y="603"/>
                  </a:lnTo>
                  <a:lnTo>
                    <a:pt x="1443" y="603"/>
                  </a:lnTo>
                  <a:lnTo>
                    <a:pt x="1438" y="607"/>
                  </a:lnTo>
                  <a:lnTo>
                    <a:pt x="1438" y="607"/>
                  </a:lnTo>
                  <a:lnTo>
                    <a:pt x="1437" y="610"/>
                  </a:lnTo>
                  <a:lnTo>
                    <a:pt x="1437" y="611"/>
                  </a:lnTo>
                  <a:lnTo>
                    <a:pt x="1437" y="611"/>
                  </a:lnTo>
                  <a:lnTo>
                    <a:pt x="1438" y="616"/>
                  </a:lnTo>
                  <a:lnTo>
                    <a:pt x="1438" y="616"/>
                  </a:lnTo>
                  <a:lnTo>
                    <a:pt x="1443" y="623"/>
                  </a:lnTo>
                  <a:lnTo>
                    <a:pt x="1443" y="623"/>
                  </a:lnTo>
                  <a:lnTo>
                    <a:pt x="1447" y="629"/>
                  </a:lnTo>
                  <a:lnTo>
                    <a:pt x="1447" y="629"/>
                  </a:lnTo>
                  <a:lnTo>
                    <a:pt x="1450" y="633"/>
                  </a:lnTo>
                  <a:lnTo>
                    <a:pt x="1450" y="639"/>
                  </a:lnTo>
                  <a:lnTo>
                    <a:pt x="1450" y="639"/>
                  </a:lnTo>
                  <a:lnTo>
                    <a:pt x="1450" y="642"/>
                  </a:lnTo>
                  <a:lnTo>
                    <a:pt x="1448" y="646"/>
                  </a:lnTo>
                  <a:lnTo>
                    <a:pt x="1448" y="646"/>
                  </a:lnTo>
                  <a:lnTo>
                    <a:pt x="1448" y="646"/>
                  </a:lnTo>
                  <a:lnTo>
                    <a:pt x="1448" y="646"/>
                  </a:lnTo>
                  <a:lnTo>
                    <a:pt x="1448" y="646"/>
                  </a:lnTo>
                  <a:lnTo>
                    <a:pt x="1448" y="646"/>
                  </a:lnTo>
                  <a:lnTo>
                    <a:pt x="1448" y="647"/>
                  </a:lnTo>
                  <a:lnTo>
                    <a:pt x="1448" y="646"/>
                  </a:lnTo>
                  <a:lnTo>
                    <a:pt x="1448" y="646"/>
                  </a:lnTo>
                  <a:lnTo>
                    <a:pt x="1448" y="646"/>
                  </a:lnTo>
                  <a:lnTo>
                    <a:pt x="1448" y="647"/>
                  </a:lnTo>
                  <a:lnTo>
                    <a:pt x="1448" y="646"/>
                  </a:lnTo>
                  <a:lnTo>
                    <a:pt x="1448" y="646"/>
                  </a:lnTo>
                  <a:lnTo>
                    <a:pt x="1450" y="646"/>
                  </a:lnTo>
                  <a:lnTo>
                    <a:pt x="1448" y="646"/>
                  </a:lnTo>
                  <a:lnTo>
                    <a:pt x="1448" y="646"/>
                  </a:lnTo>
                  <a:lnTo>
                    <a:pt x="1450" y="646"/>
                  </a:lnTo>
                  <a:lnTo>
                    <a:pt x="1450" y="646"/>
                  </a:lnTo>
                  <a:lnTo>
                    <a:pt x="1448" y="645"/>
                  </a:lnTo>
                  <a:lnTo>
                    <a:pt x="1448" y="645"/>
                  </a:lnTo>
                  <a:lnTo>
                    <a:pt x="1443" y="630"/>
                  </a:lnTo>
                  <a:lnTo>
                    <a:pt x="1443" y="630"/>
                  </a:lnTo>
                  <a:lnTo>
                    <a:pt x="1438" y="621"/>
                  </a:lnTo>
                  <a:lnTo>
                    <a:pt x="1438" y="621"/>
                  </a:lnTo>
                  <a:lnTo>
                    <a:pt x="1435" y="616"/>
                  </a:lnTo>
                  <a:lnTo>
                    <a:pt x="1435" y="616"/>
                  </a:lnTo>
                  <a:lnTo>
                    <a:pt x="1432" y="613"/>
                  </a:lnTo>
                  <a:lnTo>
                    <a:pt x="1428" y="613"/>
                  </a:lnTo>
                  <a:lnTo>
                    <a:pt x="1428" y="613"/>
                  </a:lnTo>
                  <a:lnTo>
                    <a:pt x="1418" y="611"/>
                  </a:lnTo>
                  <a:lnTo>
                    <a:pt x="1418" y="611"/>
                  </a:lnTo>
                  <a:lnTo>
                    <a:pt x="1408" y="611"/>
                  </a:lnTo>
                  <a:lnTo>
                    <a:pt x="1408" y="611"/>
                  </a:lnTo>
                  <a:lnTo>
                    <a:pt x="1402" y="610"/>
                  </a:lnTo>
                  <a:lnTo>
                    <a:pt x="1396" y="607"/>
                  </a:lnTo>
                  <a:lnTo>
                    <a:pt x="1396" y="607"/>
                  </a:lnTo>
                  <a:lnTo>
                    <a:pt x="1390" y="603"/>
                  </a:lnTo>
                  <a:lnTo>
                    <a:pt x="1386" y="598"/>
                  </a:lnTo>
                  <a:lnTo>
                    <a:pt x="1386" y="598"/>
                  </a:lnTo>
                  <a:lnTo>
                    <a:pt x="1383" y="595"/>
                  </a:lnTo>
                  <a:lnTo>
                    <a:pt x="1383" y="595"/>
                  </a:lnTo>
                  <a:lnTo>
                    <a:pt x="1380" y="594"/>
                  </a:lnTo>
                  <a:lnTo>
                    <a:pt x="1380" y="594"/>
                  </a:lnTo>
                  <a:lnTo>
                    <a:pt x="1377" y="595"/>
                  </a:lnTo>
                  <a:lnTo>
                    <a:pt x="1374" y="597"/>
                  </a:lnTo>
                  <a:lnTo>
                    <a:pt x="1374" y="597"/>
                  </a:lnTo>
                  <a:lnTo>
                    <a:pt x="1372" y="598"/>
                  </a:lnTo>
                  <a:lnTo>
                    <a:pt x="1372" y="598"/>
                  </a:lnTo>
                  <a:lnTo>
                    <a:pt x="1372" y="600"/>
                  </a:lnTo>
                  <a:lnTo>
                    <a:pt x="1372" y="598"/>
                  </a:lnTo>
                  <a:lnTo>
                    <a:pt x="1372" y="598"/>
                  </a:lnTo>
                  <a:lnTo>
                    <a:pt x="1372" y="600"/>
                  </a:lnTo>
                  <a:lnTo>
                    <a:pt x="1372" y="598"/>
                  </a:lnTo>
                  <a:lnTo>
                    <a:pt x="1372" y="600"/>
                  </a:lnTo>
                  <a:lnTo>
                    <a:pt x="1373" y="600"/>
                  </a:lnTo>
                  <a:lnTo>
                    <a:pt x="1372" y="598"/>
                  </a:lnTo>
                  <a:lnTo>
                    <a:pt x="1372" y="600"/>
                  </a:lnTo>
                  <a:lnTo>
                    <a:pt x="1373" y="600"/>
                  </a:lnTo>
                  <a:lnTo>
                    <a:pt x="1372" y="600"/>
                  </a:lnTo>
                  <a:lnTo>
                    <a:pt x="1373" y="600"/>
                  </a:lnTo>
                  <a:lnTo>
                    <a:pt x="1373" y="600"/>
                  </a:lnTo>
                  <a:lnTo>
                    <a:pt x="1372" y="600"/>
                  </a:lnTo>
                  <a:lnTo>
                    <a:pt x="1373" y="600"/>
                  </a:lnTo>
                  <a:lnTo>
                    <a:pt x="1373" y="600"/>
                  </a:lnTo>
                  <a:lnTo>
                    <a:pt x="1373" y="600"/>
                  </a:lnTo>
                  <a:lnTo>
                    <a:pt x="1373" y="597"/>
                  </a:lnTo>
                  <a:lnTo>
                    <a:pt x="1373" y="597"/>
                  </a:lnTo>
                  <a:lnTo>
                    <a:pt x="1376" y="594"/>
                  </a:lnTo>
                  <a:lnTo>
                    <a:pt x="1376" y="594"/>
                  </a:lnTo>
                  <a:lnTo>
                    <a:pt x="1376" y="594"/>
                  </a:lnTo>
                  <a:lnTo>
                    <a:pt x="1379" y="594"/>
                  </a:lnTo>
                  <a:lnTo>
                    <a:pt x="1379" y="594"/>
                  </a:lnTo>
                  <a:lnTo>
                    <a:pt x="1386" y="592"/>
                  </a:lnTo>
                  <a:lnTo>
                    <a:pt x="1386" y="592"/>
                  </a:lnTo>
                  <a:lnTo>
                    <a:pt x="1408" y="594"/>
                  </a:lnTo>
                  <a:lnTo>
                    <a:pt x="1408" y="594"/>
                  </a:lnTo>
                  <a:lnTo>
                    <a:pt x="1414" y="594"/>
                  </a:lnTo>
                  <a:lnTo>
                    <a:pt x="1418" y="592"/>
                  </a:lnTo>
                  <a:lnTo>
                    <a:pt x="1418" y="592"/>
                  </a:lnTo>
                  <a:lnTo>
                    <a:pt x="1428" y="587"/>
                  </a:lnTo>
                  <a:lnTo>
                    <a:pt x="1428" y="587"/>
                  </a:lnTo>
                  <a:lnTo>
                    <a:pt x="1432" y="582"/>
                  </a:lnTo>
                  <a:lnTo>
                    <a:pt x="1432" y="582"/>
                  </a:lnTo>
                  <a:lnTo>
                    <a:pt x="1440" y="568"/>
                  </a:lnTo>
                  <a:lnTo>
                    <a:pt x="1445" y="550"/>
                  </a:lnTo>
                  <a:lnTo>
                    <a:pt x="1445" y="550"/>
                  </a:lnTo>
                  <a:lnTo>
                    <a:pt x="1454" y="526"/>
                  </a:lnTo>
                  <a:lnTo>
                    <a:pt x="1454" y="526"/>
                  </a:lnTo>
                  <a:lnTo>
                    <a:pt x="1454" y="521"/>
                  </a:lnTo>
                  <a:lnTo>
                    <a:pt x="1454" y="521"/>
                  </a:lnTo>
                  <a:lnTo>
                    <a:pt x="1453" y="514"/>
                  </a:lnTo>
                  <a:lnTo>
                    <a:pt x="1453" y="514"/>
                  </a:lnTo>
                  <a:lnTo>
                    <a:pt x="1450" y="510"/>
                  </a:lnTo>
                  <a:lnTo>
                    <a:pt x="1447" y="507"/>
                  </a:lnTo>
                  <a:lnTo>
                    <a:pt x="1447" y="507"/>
                  </a:lnTo>
                  <a:lnTo>
                    <a:pt x="1445" y="505"/>
                  </a:lnTo>
                  <a:lnTo>
                    <a:pt x="1445" y="505"/>
                  </a:lnTo>
                  <a:lnTo>
                    <a:pt x="1444" y="498"/>
                  </a:lnTo>
                  <a:lnTo>
                    <a:pt x="1441" y="487"/>
                  </a:lnTo>
                  <a:lnTo>
                    <a:pt x="1441" y="487"/>
                  </a:lnTo>
                  <a:lnTo>
                    <a:pt x="1440" y="463"/>
                  </a:lnTo>
                  <a:lnTo>
                    <a:pt x="1440" y="463"/>
                  </a:lnTo>
                  <a:lnTo>
                    <a:pt x="1440" y="450"/>
                  </a:lnTo>
                  <a:lnTo>
                    <a:pt x="1441" y="439"/>
                  </a:lnTo>
                  <a:lnTo>
                    <a:pt x="1441" y="439"/>
                  </a:lnTo>
                  <a:lnTo>
                    <a:pt x="1444" y="419"/>
                  </a:lnTo>
                  <a:lnTo>
                    <a:pt x="1444" y="419"/>
                  </a:lnTo>
                  <a:lnTo>
                    <a:pt x="1441" y="411"/>
                  </a:lnTo>
                  <a:lnTo>
                    <a:pt x="1441" y="411"/>
                  </a:lnTo>
                  <a:lnTo>
                    <a:pt x="1435" y="398"/>
                  </a:lnTo>
                  <a:lnTo>
                    <a:pt x="1435" y="398"/>
                  </a:lnTo>
                  <a:lnTo>
                    <a:pt x="1429" y="388"/>
                  </a:lnTo>
                  <a:lnTo>
                    <a:pt x="1429" y="388"/>
                  </a:lnTo>
                  <a:lnTo>
                    <a:pt x="1429" y="385"/>
                  </a:lnTo>
                  <a:lnTo>
                    <a:pt x="1429" y="385"/>
                  </a:lnTo>
                  <a:lnTo>
                    <a:pt x="1429" y="382"/>
                  </a:lnTo>
                  <a:lnTo>
                    <a:pt x="1431" y="379"/>
                  </a:lnTo>
                  <a:lnTo>
                    <a:pt x="1431" y="379"/>
                  </a:lnTo>
                  <a:lnTo>
                    <a:pt x="1435" y="374"/>
                  </a:lnTo>
                  <a:lnTo>
                    <a:pt x="1435" y="374"/>
                  </a:lnTo>
                  <a:lnTo>
                    <a:pt x="1437" y="369"/>
                  </a:lnTo>
                  <a:lnTo>
                    <a:pt x="1437" y="369"/>
                  </a:lnTo>
                  <a:lnTo>
                    <a:pt x="1440" y="359"/>
                  </a:lnTo>
                  <a:lnTo>
                    <a:pt x="1441" y="348"/>
                  </a:lnTo>
                  <a:lnTo>
                    <a:pt x="1441" y="348"/>
                  </a:lnTo>
                  <a:lnTo>
                    <a:pt x="1444" y="329"/>
                  </a:lnTo>
                  <a:lnTo>
                    <a:pt x="1444" y="329"/>
                  </a:lnTo>
                  <a:lnTo>
                    <a:pt x="1445" y="324"/>
                  </a:lnTo>
                  <a:lnTo>
                    <a:pt x="1447" y="322"/>
                  </a:lnTo>
                  <a:lnTo>
                    <a:pt x="1447" y="322"/>
                  </a:lnTo>
                  <a:lnTo>
                    <a:pt x="1450" y="319"/>
                  </a:lnTo>
                  <a:lnTo>
                    <a:pt x="1450" y="319"/>
                  </a:lnTo>
                  <a:lnTo>
                    <a:pt x="1451" y="314"/>
                  </a:lnTo>
                  <a:lnTo>
                    <a:pt x="1451" y="314"/>
                  </a:lnTo>
                  <a:lnTo>
                    <a:pt x="1450" y="311"/>
                  </a:lnTo>
                  <a:lnTo>
                    <a:pt x="1448" y="310"/>
                  </a:lnTo>
                  <a:lnTo>
                    <a:pt x="1448" y="310"/>
                  </a:lnTo>
                  <a:lnTo>
                    <a:pt x="1445" y="307"/>
                  </a:lnTo>
                  <a:lnTo>
                    <a:pt x="1443" y="306"/>
                  </a:lnTo>
                  <a:lnTo>
                    <a:pt x="1443" y="306"/>
                  </a:lnTo>
                  <a:lnTo>
                    <a:pt x="1435" y="304"/>
                  </a:lnTo>
                  <a:lnTo>
                    <a:pt x="1435" y="304"/>
                  </a:lnTo>
                  <a:lnTo>
                    <a:pt x="1414" y="306"/>
                  </a:lnTo>
                  <a:lnTo>
                    <a:pt x="1414" y="306"/>
                  </a:lnTo>
                  <a:lnTo>
                    <a:pt x="1408" y="306"/>
                  </a:lnTo>
                  <a:lnTo>
                    <a:pt x="1405" y="304"/>
                  </a:lnTo>
                  <a:lnTo>
                    <a:pt x="1405" y="304"/>
                  </a:lnTo>
                  <a:lnTo>
                    <a:pt x="1401" y="301"/>
                  </a:lnTo>
                  <a:lnTo>
                    <a:pt x="1401" y="301"/>
                  </a:lnTo>
                  <a:lnTo>
                    <a:pt x="1398" y="301"/>
                  </a:lnTo>
                  <a:lnTo>
                    <a:pt x="1398" y="301"/>
                  </a:lnTo>
                  <a:lnTo>
                    <a:pt x="1395" y="301"/>
                  </a:lnTo>
                  <a:lnTo>
                    <a:pt x="1392" y="303"/>
                  </a:lnTo>
                  <a:lnTo>
                    <a:pt x="1392" y="303"/>
                  </a:lnTo>
                  <a:lnTo>
                    <a:pt x="1386" y="307"/>
                  </a:lnTo>
                  <a:lnTo>
                    <a:pt x="1386" y="307"/>
                  </a:lnTo>
                  <a:lnTo>
                    <a:pt x="1385" y="310"/>
                  </a:lnTo>
                  <a:lnTo>
                    <a:pt x="1385" y="313"/>
                  </a:lnTo>
                  <a:lnTo>
                    <a:pt x="1385" y="313"/>
                  </a:lnTo>
                  <a:lnTo>
                    <a:pt x="1382" y="326"/>
                  </a:lnTo>
                  <a:lnTo>
                    <a:pt x="1382" y="326"/>
                  </a:lnTo>
                  <a:lnTo>
                    <a:pt x="1380" y="337"/>
                  </a:lnTo>
                  <a:lnTo>
                    <a:pt x="1374" y="352"/>
                  </a:lnTo>
                  <a:lnTo>
                    <a:pt x="1374" y="352"/>
                  </a:lnTo>
                  <a:lnTo>
                    <a:pt x="1372" y="362"/>
                  </a:lnTo>
                  <a:lnTo>
                    <a:pt x="1366" y="369"/>
                  </a:lnTo>
                  <a:lnTo>
                    <a:pt x="1361" y="375"/>
                  </a:lnTo>
                  <a:lnTo>
                    <a:pt x="1357" y="379"/>
                  </a:lnTo>
                  <a:lnTo>
                    <a:pt x="1357" y="379"/>
                  </a:lnTo>
                  <a:lnTo>
                    <a:pt x="1350" y="385"/>
                  </a:lnTo>
                  <a:lnTo>
                    <a:pt x="1350" y="385"/>
                  </a:lnTo>
                  <a:lnTo>
                    <a:pt x="1347" y="388"/>
                  </a:lnTo>
                  <a:lnTo>
                    <a:pt x="1347" y="388"/>
                  </a:lnTo>
                  <a:lnTo>
                    <a:pt x="1345" y="392"/>
                  </a:lnTo>
                  <a:lnTo>
                    <a:pt x="1345" y="392"/>
                  </a:lnTo>
                  <a:lnTo>
                    <a:pt x="1344" y="395"/>
                  </a:lnTo>
                  <a:lnTo>
                    <a:pt x="1343" y="398"/>
                  </a:lnTo>
                  <a:lnTo>
                    <a:pt x="1343" y="398"/>
                  </a:lnTo>
                  <a:lnTo>
                    <a:pt x="1338" y="407"/>
                  </a:lnTo>
                  <a:lnTo>
                    <a:pt x="1338" y="407"/>
                  </a:lnTo>
                  <a:lnTo>
                    <a:pt x="1338" y="410"/>
                  </a:lnTo>
                  <a:lnTo>
                    <a:pt x="1338" y="410"/>
                  </a:lnTo>
                  <a:lnTo>
                    <a:pt x="1338" y="411"/>
                  </a:lnTo>
                  <a:lnTo>
                    <a:pt x="1338" y="411"/>
                  </a:lnTo>
                  <a:lnTo>
                    <a:pt x="1340" y="414"/>
                  </a:lnTo>
                  <a:lnTo>
                    <a:pt x="1340" y="414"/>
                  </a:lnTo>
                  <a:lnTo>
                    <a:pt x="1343" y="414"/>
                  </a:lnTo>
                  <a:lnTo>
                    <a:pt x="1343" y="414"/>
                  </a:lnTo>
                  <a:lnTo>
                    <a:pt x="1344" y="414"/>
                  </a:lnTo>
                  <a:lnTo>
                    <a:pt x="1344" y="414"/>
                  </a:lnTo>
                  <a:lnTo>
                    <a:pt x="1345" y="414"/>
                  </a:lnTo>
                  <a:lnTo>
                    <a:pt x="1347" y="413"/>
                  </a:lnTo>
                  <a:lnTo>
                    <a:pt x="1345" y="414"/>
                  </a:lnTo>
                  <a:lnTo>
                    <a:pt x="1345" y="414"/>
                  </a:lnTo>
                  <a:lnTo>
                    <a:pt x="1347" y="413"/>
                  </a:lnTo>
                  <a:lnTo>
                    <a:pt x="1345" y="414"/>
                  </a:lnTo>
                  <a:lnTo>
                    <a:pt x="1345" y="413"/>
                  </a:lnTo>
                  <a:lnTo>
                    <a:pt x="1345" y="414"/>
                  </a:lnTo>
                  <a:lnTo>
                    <a:pt x="1345" y="414"/>
                  </a:lnTo>
                  <a:lnTo>
                    <a:pt x="1345" y="413"/>
                  </a:lnTo>
                  <a:lnTo>
                    <a:pt x="1345" y="414"/>
                  </a:lnTo>
                  <a:lnTo>
                    <a:pt x="1345" y="414"/>
                  </a:lnTo>
                  <a:lnTo>
                    <a:pt x="1345" y="416"/>
                  </a:lnTo>
                  <a:lnTo>
                    <a:pt x="1345" y="416"/>
                  </a:lnTo>
                  <a:lnTo>
                    <a:pt x="1347" y="432"/>
                  </a:lnTo>
                  <a:lnTo>
                    <a:pt x="1347" y="432"/>
                  </a:lnTo>
                  <a:lnTo>
                    <a:pt x="1347" y="448"/>
                  </a:lnTo>
                  <a:lnTo>
                    <a:pt x="1347" y="449"/>
                  </a:lnTo>
                  <a:lnTo>
                    <a:pt x="1347" y="449"/>
                  </a:lnTo>
                  <a:lnTo>
                    <a:pt x="1347" y="449"/>
                  </a:lnTo>
                  <a:lnTo>
                    <a:pt x="1347" y="449"/>
                  </a:lnTo>
                  <a:lnTo>
                    <a:pt x="1347" y="449"/>
                  </a:lnTo>
                  <a:lnTo>
                    <a:pt x="1347" y="449"/>
                  </a:lnTo>
                  <a:lnTo>
                    <a:pt x="1348" y="449"/>
                  </a:lnTo>
                  <a:lnTo>
                    <a:pt x="1347" y="448"/>
                  </a:lnTo>
                  <a:lnTo>
                    <a:pt x="1347" y="449"/>
                  </a:lnTo>
                  <a:lnTo>
                    <a:pt x="1348" y="449"/>
                  </a:lnTo>
                  <a:lnTo>
                    <a:pt x="1347" y="448"/>
                  </a:lnTo>
                  <a:lnTo>
                    <a:pt x="1348" y="449"/>
                  </a:lnTo>
                  <a:lnTo>
                    <a:pt x="1348" y="448"/>
                  </a:lnTo>
                  <a:lnTo>
                    <a:pt x="1347" y="448"/>
                  </a:lnTo>
                  <a:lnTo>
                    <a:pt x="1348" y="449"/>
                  </a:lnTo>
                  <a:lnTo>
                    <a:pt x="1348" y="448"/>
                  </a:lnTo>
                  <a:lnTo>
                    <a:pt x="1347" y="448"/>
                  </a:lnTo>
                  <a:lnTo>
                    <a:pt x="1347" y="448"/>
                  </a:lnTo>
                  <a:lnTo>
                    <a:pt x="1345" y="448"/>
                  </a:lnTo>
                  <a:lnTo>
                    <a:pt x="1345" y="448"/>
                  </a:lnTo>
                  <a:lnTo>
                    <a:pt x="1344" y="446"/>
                  </a:lnTo>
                  <a:lnTo>
                    <a:pt x="1344" y="446"/>
                  </a:lnTo>
                  <a:lnTo>
                    <a:pt x="1341" y="448"/>
                  </a:lnTo>
                  <a:lnTo>
                    <a:pt x="1341" y="448"/>
                  </a:lnTo>
                  <a:lnTo>
                    <a:pt x="1341" y="449"/>
                  </a:lnTo>
                  <a:lnTo>
                    <a:pt x="1341" y="449"/>
                  </a:lnTo>
                  <a:lnTo>
                    <a:pt x="1340" y="450"/>
                  </a:lnTo>
                  <a:lnTo>
                    <a:pt x="1340" y="450"/>
                  </a:lnTo>
                  <a:lnTo>
                    <a:pt x="1340" y="458"/>
                  </a:lnTo>
                  <a:lnTo>
                    <a:pt x="1340" y="458"/>
                  </a:lnTo>
                  <a:lnTo>
                    <a:pt x="1340" y="468"/>
                  </a:lnTo>
                  <a:lnTo>
                    <a:pt x="1340" y="468"/>
                  </a:lnTo>
                  <a:lnTo>
                    <a:pt x="1341" y="471"/>
                  </a:lnTo>
                  <a:lnTo>
                    <a:pt x="1343" y="475"/>
                  </a:lnTo>
                  <a:lnTo>
                    <a:pt x="1343" y="475"/>
                  </a:lnTo>
                  <a:lnTo>
                    <a:pt x="1344" y="476"/>
                  </a:lnTo>
                  <a:lnTo>
                    <a:pt x="1344" y="476"/>
                  </a:lnTo>
                  <a:lnTo>
                    <a:pt x="1347" y="478"/>
                  </a:lnTo>
                  <a:lnTo>
                    <a:pt x="1347" y="478"/>
                  </a:lnTo>
                  <a:lnTo>
                    <a:pt x="1350" y="476"/>
                  </a:lnTo>
                  <a:lnTo>
                    <a:pt x="1350" y="476"/>
                  </a:lnTo>
                  <a:lnTo>
                    <a:pt x="1350" y="476"/>
                  </a:lnTo>
                  <a:lnTo>
                    <a:pt x="1353" y="474"/>
                  </a:lnTo>
                  <a:lnTo>
                    <a:pt x="1353" y="472"/>
                  </a:lnTo>
                  <a:lnTo>
                    <a:pt x="1354" y="472"/>
                  </a:lnTo>
                  <a:lnTo>
                    <a:pt x="1353" y="472"/>
                  </a:lnTo>
                  <a:lnTo>
                    <a:pt x="1353" y="472"/>
                  </a:lnTo>
                  <a:lnTo>
                    <a:pt x="1354" y="472"/>
                  </a:lnTo>
                  <a:lnTo>
                    <a:pt x="1353" y="472"/>
                  </a:lnTo>
                  <a:lnTo>
                    <a:pt x="1353" y="472"/>
                  </a:lnTo>
                  <a:lnTo>
                    <a:pt x="1353" y="472"/>
                  </a:lnTo>
                  <a:lnTo>
                    <a:pt x="1353" y="471"/>
                  </a:lnTo>
                  <a:lnTo>
                    <a:pt x="1353" y="472"/>
                  </a:lnTo>
                  <a:lnTo>
                    <a:pt x="1353" y="472"/>
                  </a:lnTo>
                  <a:lnTo>
                    <a:pt x="1353" y="471"/>
                  </a:lnTo>
                  <a:lnTo>
                    <a:pt x="1353" y="472"/>
                  </a:lnTo>
                  <a:lnTo>
                    <a:pt x="1353" y="471"/>
                  </a:lnTo>
                  <a:lnTo>
                    <a:pt x="1353" y="472"/>
                  </a:lnTo>
                  <a:lnTo>
                    <a:pt x="1353" y="472"/>
                  </a:lnTo>
                  <a:lnTo>
                    <a:pt x="1353" y="471"/>
                  </a:lnTo>
                  <a:lnTo>
                    <a:pt x="1353" y="472"/>
                  </a:lnTo>
                  <a:lnTo>
                    <a:pt x="1353" y="471"/>
                  </a:lnTo>
                  <a:lnTo>
                    <a:pt x="1351" y="472"/>
                  </a:lnTo>
                  <a:lnTo>
                    <a:pt x="1353" y="472"/>
                  </a:lnTo>
                  <a:lnTo>
                    <a:pt x="1353" y="471"/>
                  </a:lnTo>
                  <a:lnTo>
                    <a:pt x="1351" y="472"/>
                  </a:lnTo>
                  <a:lnTo>
                    <a:pt x="1353" y="472"/>
                  </a:lnTo>
                  <a:lnTo>
                    <a:pt x="1351" y="472"/>
                  </a:lnTo>
                  <a:lnTo>
                    <a:pt x="1353" y="472"/>
                  </a:lnTo>
                  <a:lnTo>
                    <a:pt x="1351" y="472"/>
                  </a:lnTo>
                  <a:lnTo>
                    <a:pt x="1351" y="472"/>
                  </a:lnTo>
                  <a:lnTo>
                    <a:pt x="1353" y="475"/>
                  </a:lnTo>
                  <a:lnTo>
                    <a:pt x="1353" y="475"/>
                  </a:lnTo>
                  <a:lnTo>
                    <a:pt x="1356" y="484"/>
                  </a:lnTo>
                  <a:lnTo>
                    <a:pt x="1356" y="484"/>
                  </a:lnTo>
                  <a:lnTo>
                    <a:pt x="1357" y="490"/>
                  </a:lnTo>
                  <a:lnTo>
                    <a:pt x="1359" y="494"/>
                  </a:lnTo>
                  <a:lnTo>
                    <a:pt x="1359" y="494"/>
                  </a:lnTo>
                  <a:lnTo>
                    <a:pt x="1361" y="497"/>
                  </a:lnTo>
                  <a:lnTo>
                    <a:pt x="1364" y="500"/>
                  </a:lnTo>
                  <a:lnTo>
                    <a:pt x="1364" y="500"/>
                  </a:lnTo>
                  <a:lnTo>
                    <a:pt x="1369" y="503"/>
                  </a:lnTo>
                  <a:lnTo>
                    <a:pt x="1373" y="503"/>
                  </a:lnTo>
                  <a:lnTo>
                    <a:pt x="1373" y="503"/>
                  </a:lnTo>
                  <a:lnTo>
                    <a:pt x="1377" y="503"/>
                  </a:lnTo>
                  <a:lnTo>
                    <a:pt x="1377" y="503"/>
                  </a:lnTo>
                  <a:lnTo>
                    <a:pt x="1377" y="501"/>
                  </a:lnTo>
                  <a:lnTo>
                    <a:pt x="1377" y="503"/>
                  </a:lnTo>
                  <a:lnTo>
                    <a:pt x="1377" y="503"/>
                  </a:lnTo>
                  <a:lnTo>
                    <a:pt x="1377" y="501"/>
                  </a:lnTo>
                  <a:lnTo>
                    <a:pt x="1377" y="503"/>
                  </a:lnTo>
                  <a:lnTo>
                    <a:pt x="1377" y="501"/>
                  </a:lnTo>
                  <a:lnTo>
                    <a:pt x="1376" y="501"/>
                  </a:lnTo>
                  <a:lnTo>
                    <a:pt x="1376" y="501"/>
                  </a:lnTo>
                  <a:lnTo>
                    <a:pt x="1377" y="503"/>
                  </a:lnTo>
                  <a:lnTo>
                    <a:pt x="1377" y="501"/>
                  </a:lnTo>
                  <a:lnTo>
                    <a:pt x="1376" y="501"/>
                  </a:lnTo>
                  <a:lnTo>
                    <a:pt x="1376" y="501"/>
                  </a:lnTo>
                  <a:lnTo>
                    <a:pt x="1376" y="501"/>
                  </a:lnTo>
                  <a:lnTo>
                    <a:pt x="1376" y="501"/>
                  </a:lnTo>
                  <a:lnTo>
                    <a:pt x="1376" y="501"/>
                  </a:lnTo>
                  <a:lnTo>
                    <a:pt x="1376" y="501"/>
                  </a:lnTo>
                  <a:lnTo>
                    <a:pt x="1376" y="501"/>
                  </a:lnTo>
                  <a:lnTo>
                    <a:pt x="1376" y="504"/>
                  </a:lnTo>
                  <a:lnTo>
                    <a:pt x="1376" y="504"/>
                  </a:lnTo>
                  <a:lnTo>
                    <a:pt x="1373" y="519"/>
                  </a:lnTo>
                  <a:lnTo>
                    <a:pt x="1373" y="519"/>
                  </a:lnTo>
                  <a:lnTo>
                    <a:pt x="1372" y="526"/>
                  </a:lnTo>
                  <a:lnTo>
                    <a:pt x="1372" y="526"/>
                  </a:lnTo>
                  <a:lnTo>
                    <a:pt x="1370" y="530"/>
                  </a:lnTo>
                  <a:lnTo>
                    <a:pt x="1370" y="530"/>
                  </a:lnTo>
                  <a:lnTo>
                    <a:pt x="1370" y="532"/>
                  </a:lnTo>
                  <a:lnTo>
                    <a:pt x="1370" y="530"/>
                  </a:lnTo>
                  <a:lnTo>
                    <a:pt x="1370" y="530"/>
                  </a:lnTo>
                  <a:lnTo>
                    <a:pt x="1370" y="532"/>
                  </a:lnTo>
                  <a:lnTo>
                    <a:pt x="1370" y="530"/>
                  </a:lnTo>
                  <a:lnTo>
                    <a:pt x="1370" y="532"/>
                  </a:lnTo>
                  <a:lnTo>
                    <a:pt x="1370" y="530"/>
                  </a:lnTo>
                  <a:lnTo>
                    <a:pt x="1370" y="530"/>
                  </a:lnTo>
                  <a:lnTo>
                    <a:pt x="1370" y="532"/>
                  </a:lnTo>
                  <a:lnTo>
                    <a:pt x="1370" y="530"/>
                  </a:lnTo>
                  <a:lnTo>
                    <a:pt x="1370" y="532"/>
                  </a:lnTo>
                  <a:lnTo>
                    <a:pt x="1372" y="530"/>
                  </a:lnTo>
                  <a:lnTo>
                    <a:pt x="1370" y="530"/>
                  </a:lnTo>
                  <a:lnTo>
                    <a:pt x="1370" y="532"/>
                  </a:lnTo>
                  <a:lnTo>
                    <a:pt x="1372" y="530"/>
                  </a:lnTo>
                  <a:lnTo>
                    <a:pt x="1372" y="532"/>
                  </a:lnTo>
                  <a:lnTo>
                    <a:pt x="1372" y="530"/>
                  </a:lnTo>
                  <a:lnTo>
                    <a:pt x="1372" y="530"/>
                  </a:lnTo>
                  <a:lnTo>
                    <a:pt x="1372" y="532"/>
                  </a:lnTo>
                  <a:lnTo>
                    <a:pt x="1372" y="530"/>
                  </a:lnTo>
                  <a:lnTo>
                    <a:pt x="1372" y="530"/>
                  </a:lnTo>
                  <a:lnTo>
                    <a:pt x="1370" y="530"/>
                  </a:lnTo>
                  <a:lnTo>
                    <a:pt x="1370" y="530"/>
                  </a:lnTo>
                  <a:lnTo>
                    <a:pt x="1367" y="519"/>
                  </a:lnTo>
                  <a:lnTo>
                    <a:pt x="1367" y="519"/>
                  </a:lnTo>
                  <a:lnTo>
                    <a:pt x="1364" y="511"/>
                  </a:lnTo>
                  <a:lnTo>
                    <a:pt x="1359" y="505"/>
                  </a:lnTo>
                  <a:lnTo>
                    <a:pt x="1359" y="505"/>
                  </a:lnTo>
                  <a:lnTo>
                    <a:pt x="1344" y="494"/>
                  </a:lnTo>
                  <a:lnTo>
                    <a:pt x="1334" y="487"/>
                  </a:lnTo>
                  <a:lnTo>
                    <a:pt x="1334" y="487"/>
                  </a:lnTo>
                  <a:lnTo>
                    <a:pt x="1330" y="482"/>
                  </a:lnTo>
                  <a:lnTo>
                    <a:pt x="1330" y="482"/>
                  </a:lnTo>
                  <a:lnTo>
                    <a:pt x="1318" y="472"/>
                  </a:lnTo>
                  <a:lnTo>
                    <a:pt x="1318" y="472"/>
                  </a:lnTo>
                  <a:lnTo>
                    <a:pt x="1311" y="468"/>
                  </a:lnTo>
                  <a:lnTo>
                    <a:pt x="1303" y="466"/>
                  </a:lnTo>
                  <a:lnTo>
                    <a:pt x="1303" y="466"/>
                  </a:lnTo>
                  <a:lnTo>
                    <a:pt x="1296" y="465"/>
                  </a:lnTo>
                  <a:lnTo>
                    <a:pt x="1289" y="462"/>
                  </a:lnTo>
                  <a:lnTo>
                    <a:pt x="1289" y="462"/>
                  </a:lnTo>
                  <a:lnTo>
                    <a:pt x="1282" y="461"/>
                  </a:lnTo>
                  <a:lnTo>
                    <a:pt x="1273" y="459"/>
                  </a:lnTo>
                  <a:lnTo>
                    <a:pt x="1273" y="459"/>
                  </a:lnTo>
                  <a:lnTo>
                    <a:pt x="1272" y="459"/>
                  </a:lnTo>
                  <a:lnTo>
                    <a:pt x="1272" y="459"/>
                  </a:lnTo>
                  <a:lnTo>
                    <a:pt x="1266" y="459"/>
                  </a:lnTo>
                  <a:lnTo>
                    <a:pt x="1263" y="458"/>
                  </a:lnTo>
                  <a:lnTo>
                    <a:pt x="1263" y="458"/>
                  </a:lnTo>
                  <a:lnTo>
                    <a:pt x="1257" y="453"/>
                  </a:lnTo>
                  <a:lnTo>
                    <a:pt x="1257" y="453"/>
                  </a:lnTo>
                  <a:lnTo>
                    <a:pt x="1254" y="452"/>
                  </a:lnTo>
                  <a:lnTo>
                    <a:pt x="1254" y="452"/>
                  </a:lnTo>
                  <a:lnTo>
                    <a:pt x="1251" y="452"/>
                  </a:lnTo>
                  <a:lnTo>
                    <a:pt x="1248" y="453"/>
                  </a:lnTo>
                  <a:lnTo>
                    <a:pt x="1248" y="453"/>
                  </a:lnTo>
                  <a:lnTo>
                    <a:pt x="1247" y="456"/>
                  </a:lnTo>
                  <a:lnTo>
                    <a:pt x="1246" y="459"/>
                  </a:lnTo>
                  <a:lnTo>
                    <a:pt x="1246" y="459"/>
                  </a:lnTo>
                  <a:lnTo>
                    <a:pt x="1246" y="461"/>
                  </a:lnTo>
                  <a:lnTo>
                    <a:pt x="1246" y="461"/>
                  </a:lnTo>
                  <a:lnTo>
                    <a:pt x="1247" y="461"/>
                  </a:lnTo>
                  <a:lnTo>
                    <a:pt x="1246" y="461"/>
                  </a:lnTo>
                  <a:lnTo>
                    <a:pt x="1246" y="461"/>
                  </a:lnTo>
                  <a:lnTo>
                    <a:pt x="1247" y="461"/>
                  </a:lnTo>
                  <a:lnTo>
                    <a:pt x="1246" y="461"/>
                  </a:lnTo>
                  <a:lnTo>
                    <a:pt x="1246" y="461"/>
                  </a:lnTo>
                  <a:lnTo>
                    <a:pt x="1246" y="461"/>
                  </a:lnTo>
                  <a:lnTo>
                    <a:pt x="1246" y="462"/>
                  </a:lnTo>
                  <a:lnTo>
                    <a:pt x="1246" y="462"/>
                  </a:lnTo>
                  <a:lnTo>
                    <a:pt x="1243" y="466"/>
                  </a:lnTo>
                  <a:lnTo>
                    <a:pt x="1241" y="474"/>
                  </a:lnTo>
                  <a:lnTo>
                    <a:pt x="1241" y="474"/>
                  </a:lnTo>
                  <a:lnTo>
                    <a:pt x="1241" y="478"/>
                  </a:lnTo>
                  <a:lnTo>
                    <a:pt x="1241" y="478"/>
                  </a:lnTo>
                  <a:lnTo>
                    <a:pt x="1246" y="491"/>
                  </a:lnTo>
                  <a:lnTo>
                    <a:pt x="1251" y="501"/>
                  </a:lnTo>
                  <a:lnTo>
                    <a:pt x="1251" y="501"/>
                  </a:lnTo>
                  <a:lnTo>
                    <a:pt x="1251" y="503"/>
                  </a:lnTo>
                  <a:lnTo>
                    <a:pt x="1251" y="504"/>
                  </a:lnTo>
                  <a:lnTo>
                    <a:pt x="1251" y="504"/>
                  </a:lnTo>
                  <a:lnTo>
                    <a:pt x="1247" y="505"/>
                  </a:lnTo>
                  <a:lnTo>
                    <a:pt x="1247" y="505"/>
                  </a:lnTo>
                  <a:lnTo>
                    <a:pt x="1240" y="507"/>
                  </a:lnTo>
                  <a:lnTo>
                    <a:pt x="1240" y="507"/>
                  </a:lnTo>
                  <a:lnTo>
                    <a:pt x="1238" y="508"/>
                  </a:lnTo>
                  <a:lnTo>
                    <a:pt x="1235" y="510"/>
                  </a:lnTo>
                  <a:lnTo>
                    <a:pt x="1235" y="510"/>
                  </a:lnTo>
                  <a:lnTo>
                    <a:pt x="1235" y="514"/>
                  </a:lnTo>
                  <a:lnTo>
                    <a:pt x="1235" y="514"/>
                  </a:lnTo>
                  <a:lnTo>
                    <a:pt x="1235" y="523"/>
                  </a:lnTo>
                  <a:lnTo>
                    <a:pt x="1235" y="523"/>
                  </a:lnTo>
                  <a:lnTo>
                    <a:pt x="1235" y="524"/>
                  </a:lnTo>
                  <a:lnTo>
                    <a:pt x="1235" y="524"/>
                  </a:lnTo>
                  <a:lnTo>
                    <a:pt x="1235" y="527"/>
                  </a:lnTo>
                  <a:lnTo>
                    <a:pt x="1235" y="527"/>
                  </a:lnTo>
                  <a:lnTo>
                    <a:pt x="1235" y="526"/>
                  </a:lnTo>
                  <a:lnTo>
                    <a:pt x="1235" y="527"/>
                  </a:lnTo>
                  <a:lnTo>
                    <a:pt x="1235" y="527"/>
                  </a:lnTo>
                  <a:lnTo>
                    <a:pt x="1235" y="526"/>
                  </a:lnTo>
                  <a:lnTo>
                    <a:pt x="1237" y="527"/>
                  </a:lnTo>
                  <a:lnTo>
                    <a:pt x="1237" y="526"/>
                  </a:lnTo>
                  <a:lnTo>
                    <a:pt x="1235" y="526"/>
                  </a:lnTo>
                  <a:lnTo>
                    <a:pt x="1237" y="527"/>
                  </a:lnTo>
                  <a:lnTo>
                    <a:pt x="1237" y="526"/>
                  </a:lnTo>
                  <a:lnTo>
                    <a:pt x="1237" y="527"/>
                  </a:lnTo>
                  <a:lnTo>
                    <a:pt x="1237" y="526"/>
                  </a:lnTo>
                  <a:lnTo>
                    <a:pt x="1237" y="526"/>
                  </a:lnTo>
                  <a:lnTo>
                    <a:pt x="1237" y="527"/>
                  </a:lnTo>
                  <a:lnTo>
                    <a:pt x="1237" y="526"/>
                  </a:lnTo>
                  <a:lnTo>
                    <a:pt x="1237" y="526"/>
                  </a:lnTo>
                  <a:lnTo>
                    <a:pt x="1237" y="526"/>
                  </a:lnTo>
                  <a:lnTo>
                    <a:pt x="1237" y="526"/>
                  </a:lnTo>
                  <a:lnTo>
                    <a:pt x="1234" y="523"/>
                  </a:lnTo>
                  <a:lnTo>
                    <a:pt x="1234" y="523"/>
                  </a:lnTo>
                  <a:lnTo>
                    <a:pt x="1230" y="520"/>
                  </a:lnTo>
                  <a:lnTo>
                    <a:pt x="1230" y="520"/>
                  </a:lnTo>
                  <a:lnTo>
                    <a:pt x="1228" y="519"/>
                  </a:lnTo>
                  <a:lnTo>
                    <a:pt x="1228" y="519"/>
                  </a:lnTo>
                  <a:lnTo>
                    <a:pt x="1228" y="520"/>
                  </a:lnTo>
                  <a:lnTo>
                    <a:pt x="1228" y="520"/>
                  </a:lnTo>
                  <a:lnTo>
                    <a:pt x="1228" y="519"/>
                  </a:lnTo>
                  <a:lnTo>
                    <a:pt x="1228" y="520"/>
                  </a:lnTo>
                  <a:lnTo>
                    <a:pt x="1228" y="520"/>
                  </a:lnTo>
                  <a:lnTo>
                    <a:pt x="1228" y="520"/>
                  </a:lnTo>
                  <a:lnTo>
                    <a:pt x="1228" y="520"/>
                  </a:lnTo>
                  <a:lnTo>
                    <a:pt x="1228" y="520"/>
                  </a:lnTo>
                  <a:lnTo>
                    <a:pt x="1228" y="520"/>
                  </a:lnTo>
                  <a:lnTo>
                    <a:pt x="1228" y="520"/>
                  </a:lnTo>
                  <a:lnTo>
                    <a:pt x="1228" y="520"/>
                  </a:lnTo>
                  <a:lnTo>
                    <a:pt x="1228" y="520"/>
                  </a:lnTo>
                  <a:lnTo>
                    <a:pt x="1228" y="520"/>
                  </a:lnTo>
                  <a:lnTo>
                    <a:pt x="1228" y="520"/>
                  </a:lnTo>
                  <a:lnTo>
                    <a:pt x="1228" y="520"/>
                  </a:lnTo>
                  <a:lnTo>
                    <a:pt x="1228" y="520"/>
                  </a:lnTo>
                  <a:lnTo>
                    <a:pt x="1228" y="520"/>
                  </a:lnTo>
                  <a:lnTo>
                    <a:pt x="1228" y="520"/>
                  </a:lnTo>
                  <a:lnTo>
                    <a:pt x="1231" y="520"/>
                  </a:lnTo>
                  <a:lnTo>
                    <a:pt x="1231" y="520"/>
                  </a:lnTo>
                  <a:lnTo>
                    <a:pt x="1233" y="517"/>
                  </a:lnTo>
                  <a:lnTo>
                    <a:pt x="1233" y="517"/>
                  </a:lnTo>
                  <a:lnTo>
                    <a:pt x="1233" y="514"/>
                  </a:lnTo>
                  <a:lnTo>
                    <a:pt x="1233" y="514"/>
                  </a:lnTo>
                  <a:lnTo>
                    <a:pt x="1233" y="513"/>
                  </a:lnTo>
                  <a:lnTo>
                    <a:pt x="1233" y="511"/>
                  </a:lnTo>
                  <a:lnTo>
                    <a:pt x="1233" y="513"/>
                  </a:lnTo>
                  <a:lnTo>
                    <a:pt x="1233" y="513"/>
                  </a:lnTo>
                  <a:lnTo>
                    <a:pt x="1234" y="510"/>
                  </a:lnTo>
                  <a:lnTo>
                    <a:pt x="1234" y="510"/>
                  </a:lnTo>
                  <a:lnTo>
                    <a:pt x="1233" y="507"/>
                  </a:lnTo>
                  <a:lnTo>
                    <a:pt x="1233" y="507"/>
                  </a:lnTo>
                  <a:lnTo>
                    <a:pt x="1230" y="503"/>
                  </a:lnTo>
                  <a:lnTo>
                    <a:pt x="1227" y="500"/>
                  </a:lnTo>
                  <a:lnTo>
                    <a:pt x="1227" y="500"/>
                  </a:lnTo>
                  <a:lnTo>
                    <a:pt x="1222" y="498"/>
                  </a:lnTo>
                  <a:lnTo>
                    <a:pt x="1222" y="498"/>
                  </a:lnTo>
                  <a:lnTo>
                    <a:pt x="1219" y="498"/>
                  </a:lnTo>
                  <a:lnTo>
                    <a:pt x="1217" y="500"/>
                  </a:lnTo>
                  <a:lnTo>
                    <a:pt x="1217" y="500"/>
                  </a:lnTo>
                  <a:lnTo>
                    <a:pt x="1209" y="505"/>
                  </a:lnTo>
                  <a:lnTo>
                    <a:pt x="1209" y="505"/>
                  </a:lnTo>
                  <a:lnTo>
                    <a:pt x="1201" y="510"/>
                  </a:lnTo>
                  <a:lnTo>
                    <a:pt x="1201" y="510"/>
                  </a:lnTo>
                  <a:lnTo>
                    <a:pt x="1191" y="513"/>
                  </a:lnTo>
                  <a:lnTo>
                    <a:pt x="1191" y="513"/>
                  </a:lnTo>
                  <a:lnTo>
                    <a:pt x="1186" y="513"/>
                  </a:lnTo>
                  <a:lnTo>
                    <a:pt x="1186" y="513"/>
                  </a:lnTo>
                  <a:lnTo>
                    <a:pt x="1182" y="513"/>
                  </a:lnTo>
                  <a:lnTo>
                    <a:pt x="1182" y="513"/>
                  </a:lnTo>
                  <a:lnTo>
                    <a:pt x="1177" y="511"/>
                  </a:lnTo>
                  <a:lnTo>
                    <a:pt x="1177" y="511"/>
                  </a:lnTo>
                  <a:lnTo>
                    <a:pt x="1172" y="513"/>
                  </a:lnTo>
                  <a:lnTo>
                    <a:pt x="1172" y="513"/>
                  </a:lnTo>
                  <a:lnTo>
                    <a:pt x="1163" y="517"/>
                  </a:lnTo>
                  <a:lnTo>
                    <a:pt x="1163" y="517"/>
                  </a:lnTo>
                  <a:lnTo>
                    <a:pt x="1159" y="521"/>
                  </a:lnTo>
                  <a:lnTo>
                    <a:pt x="1159" y="521"/>
                  </a:lnTo>
                  <a:lnTo>
                    <a:pt x="1157" y="526"/>
                  </a:lnTo>
                  <a:lnTo>
                    <a:pt x="1157" y="526"/>
                  </a:lnTo>
                  <a:lnTo>
                    <a:pt x="1157" y="529"/>
                  </a:lnTo>
                  <a:lnTo>
                    <a:pt x="1159" y="529"/>
                  </a:lnTo>
                  <a:lnTo>
                    <a:pt x="1159" y="529"/>
                  </a:lnTo>
                  <a:lnTo>
                    <a:pt x="1159" y="529"/>
                  </a:lnTo>
                  <a:lnTo>
                    <a:pt x="1159" y="529"/>
                  </a:lnTo>
                  <a:lnTo>
                    <a:pt x="1159" y="529"/>
                  </a:lnTo>
                  <a:lnTo>
                    <a:pt x="1159" y="529"/>
                  </a:lnTo>
                  <a:lnTo>
                    <a:pt x="1159" y="529"/>
                  </a:lnTo>
                  <a:lnTo>
                    <a:pt x="1159" y="529"/>
                  </a:lnTo>
                  <a:lnTo>
                    <a:pt x="1159" y="529"/>
                  </a:lnTo>
                  <a:lnTo>
                    <a:pt x="1159" y="529"/>
                  </a:lnTo>
                  <a:lnTo>
                    <a:pt x="1159" y="529"/>
                  </a:lnTo>
                  <a:lnTo>
                    <a:pt x="1159" y="529"/>
                  </a:lnTo>
                  <a:lnTo>
                    <a:pt x="1159" y="529"/>
                  </a:lnTo>
                  <a:lnTo>
                    <a:pt x="1159" y="529"/>
                  </a:lnTo>
                  <a:lnTo>
                    <a:pt x="1157" y="530"/>
                  </a:lnTo>
                  <a:lnTo>
                    <a:pt x="1157" y="530"/>
                  </a:lnTo>
                  <a:lnTo>
                    <a:pt x="1156" y="530"/>
                  </a:lnTo>
                  <a:lnTo>
                    <a:pt x="1156" y="530"/>
                  </a:lnTo>
                  <a:lnTo>
                    <a:pt x="1154" y="530"/>
                  </a:lnTo>
                  <a:lnTo>
                    <a:pt x="1154" y="530"/>
                  </a:lnTo>
                  <a:lnTo>
                    <a:pt x="1151" y="529"/>
                  </a:lnTo>
                  <a:lnTo>
                    <a:pt x="1151" y="529"/>
                  </a:lnTo>
                  <a:lnTo>
                    <a:pt x="1149" y="530"/>
                  </a:lnTo>
                  <a:lnTo>
                    <a:pt x="1149" y="530"/>
                  </a:lnTo>
                  <a:lnTo>
                    <a:pt x="1147" y="533"/>
                  </a:lnTo>
                  <a:lnTo>
                    <a:pt x="1147" y="533"/>
                  </a:lnTo>
                  <a:lnTo>
                    <a:pt x="1147" y="533"/>
                  </a:lnTo>
                  <a:lnTo>
                    <a:pt x="1146" y="537"/>
                  </a:lnTo>
                  <a:lnTo>
                    <a:pt x="1143" y="539"/>
                  </a:lnTo>
                  <a:lnTo>
                    <a:pt x="1143" y="539"/>
                  </a:lnTo>
                  <a:lnTo>
                    <a:pt x="1138" y="542"/>
                  </a:lnTo>
                  <a:lnTo>
                    <a:pt x="1137" y="542"/>
                  </a:lnTo>
                  <a:lnTo>
                    <a:pt x="1137" y="542"/>
                  </a:lnTo>
                  <a:lnTo>
                    <a:pt x="1137" y="542"/>
                  </a:lnTo>
                  <a:lnTo>
                    <a:pt x="1137" y="542"/>
                  </a:lnTo>
                  <a:lnTo>
                    <a:pt x="1137" y="542"/>
                  </a:lnTo>
                  <a:lnTo>
                    <a:pt x="1137" y="542"/>
                  </a:lnTo>
                  <a:lnTo>
                    <a:pt x="1137" y="542"/>
                  </a:lnTo>
                  <a:lnTo>
                    <a:pt x="1137" y="542"/>
                  </a:lnTo>
                  <a:lnTo>
                    <a:pt x="1137" y="542"/>
                  </a:lnTo>
                  <a:lnTo>
                    <a:pt x="1137" y="542"/>
                  </a:lnTo>
                  <a:lnTo>
                    <a:pt x="1137" y="542"/>
                  </a:lnTo>
                  <a:lnTo>
                    <a:pt x="1137" y="542"/>
                  </a:lnTo>
                  <a:lnTo>
                    <a:pt x="1137" y="542"/>
                  </a:lnTo>
                  <a:lnTo>
                    <a:pt x="1137" y="542"/>
                  </a:lnTo>
                  <a:lnTo>
                    <a:pt x="1137" y="542"/>
                  </a:lnTo>
                  <a:lnTo>
                    <a:pt x="1134" y="542"/>
                  </a:lnTo>
                  <a:lnTo>
                    <a:pt x="1134" y="542"/>
                  </a:lnTo>
                  <a:lnTo>
                    <a:pt x="1131" y="542"/>
                  </a:lnTo>
                  <a:lnTo>
                    <a:pt x="1131" y="542"/>
                  </a:lnTo>
                  <a:lnTo>
                    <a:pt x="1131" y="542"/>
                  </a:lnTo>
                  <a:lnTo>
                    <a:pt x="1131" y="542"/>
                  </a:lnTo>
                  <a:lnTo>
                    <a:pt x="1131" y="542"/>
                  </a:lnTo>
                  <a:lnTo>
                    <a:pt x="1131" y="542"/>
                  </a:lnTo>
                  <a:lnTo>
                    <a:pt x="1131" y="542"/>
                  </a:lnTo>
                  <a:lnTo>
                    <a:pt x="1131" y="542"/>
                  </a:lnTo>
                  <a:lnTo>
                    <a:pt x="1133" y="542"/>
                  </a:lnTo>
                  <a:lnTo>
                    <a:pt x="1131" y="542"/>
                  </a:lnTo>
                  <a:lnTo>
                    <a:pt x="1131" y="542"/>
                  </a:lnTo>
                  <a:lnTo>
                    <a:pt x="1133" y="542"/>
                  </a:lnTo>
                  <a:lnTo>
                    <a:pt x="1133" y="542"/>
                  </a:lnTo>
                  <a:lnTo>
                    <a:pt x="1133" y="542"/>
                  </a:lnTo>
                  <a:lnTo>
                    <a:pt x="1133" y="542"/>
                  </a:lnTo>
                  <a:lnTo>
                    <a:pt x="1133" y="542"/>
                  </a:lnTo>
                  <a:lnTo>
                    <a:pt x="1133" y="542"/>
                  </a:lnTo>
                  <a:lnTo>
                    <a:pt x="1133" y="542"/>
                  </a:lnTo>
                  <a:lnTo>
                    <a:pt x="1131" y="540"/>
                  </a:lnTo>
                  <a:lnTo>
                    <a:pt x="1131" y="540"/>
                  </a:lnTo>
                  <a:lnTo>
                    <a:pt x="1130" y="539"/>
                  </a:lnTo>
                  <a:lnTo>
                    <a:pt x="1130" y="539"/>
                  </a:lnTo>
                  <a:lnTo>
                    <a:pt x="1128" y="537"/>
                  </a:lnTo>
                  <a:lnTo>
                    <a:pt x="1128" y="537"/>
                  </a:lnTo>
                  <a:lnTo>
                    <a:pt x="1125" y="539"/>
                  </a:lnTo>
                  <a:lnTo>
                    <a:pt x="1124" y="539"/>
                  </a:lnTo>
                  <a:lnTo>
                    <a:pt x="1124" y="539"/>
                  </a:lnTo>
                  <a:lnTo>
                    <a:pt x="1124" y="540"/>
                  </a:lnTo>
                  <a:lnTo>
                    <a:pt x="1124" y="539"/>
                  </a:lnTo>
                  <a:lnTo>
                    <a:pt x="1124" y="539"/>
                  </a:lnTo>
                  <a:lnTo>
                    <a:pt x="1124" y="540"/>
                  </a:lnTo>
                  <a:lnTo>
                    <a:pt x="1124" y="539"/>
                  </a:lnTo>
                  <a:lnTo>
                    <a:pt x="1124" y="542"/>
                  </a:lnTo>
                  <a:lnTo>
                    <a:pt x="1125" y="540"/>
                  </a:lnTo>
                  <a:lnTo>
                    <a:pt x="1125" y="540"/>
                  </a:lnTo>
                  <a:lnTo>
                    <a:pt x="1124" y="539"/>
                  </a:lnTo>
                  <a:lnTo>
                    <a:pt x="1124" y="542"/>
                  </a:lnTo>
                  <a:lnTo>
                    <a:pt x="1125" y="540"/>
                  </a:lnTo>
                  <a:lnTo>
                    <a:pt x="1124" y="542"/>
                  </a:lnTo>
                  <a:lnTo>
                    <a:pt x="1127" y="542"/>
                  </a:lnTo>
                  <a:lnTo>
                    <a:pt x="1127" y="542"/>
                  </a:lnTo>
                  <a:lnTo>
                    <a:pt x="1125" y="540"/>
                  </a:lnTo>
                  <a:lnTo>
                    <a:pt x="1124" y="542"/>
                  </a:lnTo>
                  <a:lnTo>
                    <a:pt x="1127" y="542"/>
                  </a:lnTo>
                  <a:lnTo>
                    <a:pt x="1125" y="542"/>
                  </a:lnTo>
                  <a:lnTo>
                    <a:pt x="1127" y="542"/>
                  </a:lnTo>
                  <a:lnTo>
                    <a:pt x="1127" y="542"/>
                  </a:lnTo>
                  <a:lnTo>
                    <a:pt x="1125" y="542"/>
                  </a:lnTo>
                  <a:lnTo>
                    <a:pt x="1127" y="542"/>
                  </a:lnTo>
                  <a:lnTo>
                    <a:pt x="1127" y="542"/>
                  </a:lnTo>
                  <a:lnTo>
                    <a:pt x="1127" y="539"/>
                  </a:lnTo>
                  <a:lnTo>
                    <a:pt x="1127" y="539"/>
                  </a:lnTo>
                  <a:lnTo>
                    <a:pt x="1130" y="536"/>
                  </a:lnTo>
                  <a:lnTo>
                    <a:pt x="1128" y="536"/>
                  </a:lnTo>
                  <a:lnTo>
                    <a:pt x="1128" y="536"/>
                  </a:lnTo>
                  <a:lnTo>
                    <a:pt x="1130" y="536"/>
                  </a:lnTo>
                  <a:lnTo>
                    <a:pt x="1128" y="536"/>
                  </a:lnTo>
                  <a:lnTo>
                    <a:pt x="1128" y="536"/>
                  </a:lnTo>
                  <a:lnTo>
                    <a:pt x="1128" y="536"/>
                  </a:lnTo>
                  <a:lnTo>
                    <a:pt x="1131" y="534"/>
                  </a:lnTo>
                  <a:lnTo>
                    <a:pt x="1131" y="534"/>
                  </a:lnTo>
                  <a:lnTo>
                    <a:pt x="1138" y="529"/>
                  </a:lnTo>
                  <a:lnTo>
                    <a:pt x="1138" y="529"/>
                  </a:lnTo>
                  <a:lnTo>
                    <a:pt x="1143" y="524"/>
                  </a:lnTo>
                  <a:lnTo>
                    <a:pt x="1143" y="524"/>
                  </a:lnTo>
                  <a:lnTo>
                    <a:pt x="1146" y="521"/>
                  </a:lnTo>
                  <a:lnTo>
                    <a:pt x="1146" y="521"/>
                  </a:lnTo>
                  <a:lnTo>
                    <a:pt x="1146" y="517"/>
                  </a:lnTo>
                  <a:lnTo>
                    <a:pt x="1147" y="510"/>
                  </a:lnTo>
                  <a:lnTo>
                    <a:pt x="1147" y="510"/>
                  </a:lnTo>
                  <a:lnTo>
                    <a:pt x="1146" y="507"/>
                  </a:lnTo>
                  <a:lnTo>
                    <a:pt x="1146" y="507"/>
                  </a:lnTo>
                  <a:lnTo>
                    <a:pt x="1146" y="503"/>
                  </a:lnTo>
                  <a:lnTo>
                    <a:pt x="1146" y="503"/>
                  </a:lnTo>
                  <a:lnTo>
                    <a:pt x="1144" y="504"/>
                  </a:lnTo>
                  <a:lnTo>
                    <a:pt x="1146" y="504"/>
                  </a:lnTo>
                  <a:lnTo>
                    <a:pt x="1146" y="503"/>
                  </a:lnTo>
                  <a:lnTo>
                    <a:pt x="1144" y="504"/>
                  </a:lnTo>
                  <a:lnTo>
                    <a:pt x="1146" y="504"/>
                  </a:lnTo>
                  <a:lnTo>
                    <a:pt x="1146" y="504"/>
                  </a:lnTo>
                  <a:lnTo>
                    <a:pt x="1146" y="504"/>
                  </a:lnTo>
                  <a:lnTo>
                    <a:pt x="1146" y="504"/>
                  </a:lnTo>
                  <a:lnTo>
                    <a:pt x="1146" y="504"/>
                  </a:lnTo>
                  <a:lnTo>
                    <a:pt x="1146" y="504"/>
                  </a:lnTo>
                  <a:lnTo>
                    <a:pt x="1146" y="503"/>
                  </a:lnTo>
                  <a:lnTo>
                    <a:pt x="1146" y="503"/>
                  </a:lnTo>
                  <a:lnTo>
                    <a:pt x="1150" y="500"/>
                  </a:lnTo>
                  <a:lnTo>
                    <a:pt x="1150" y="500"/>
                  </a:lnTo>
                  <a:lnTo>
                    <a:pt x="1151" y="498"/>
                  </a:lnTo>
                  <a:lnTo>
                    <a:pt x="1151" y="498"/>
                  </a:lnTo>
                  <a:lnTo>
                    <a:pt x="1153" y="498"/>
                  </a:lnTo>
                  <a:lnTo>
                    <a:pt x="1154" y="497"/>
                  </a:lnTo>
                  <a:lnTo>
                    <a:pt x="1154" y="497"/>
                  </a:lnTo>
                  <a:lnTo>
                    <a:pt x="1154" y="497"/>
                  </a:lnTo>
                  <a:lnTo>
                    <a:pt x="1154" y="495"/>
                  </a:lnTo>
                  <a:lnTo>
                    <a:pt x="1154" y="494"/>
                  </a:lnTo>
                  <a:lnTo>
                    <a:pt x="1154" y="494"/>
                  </a:lnTo>
                  <a:lnTo>
                    <a:pt x="1153" y="492"/>
                  </a:lnTo>
                  <a:lnTo>
                    <a:pt x="1151" y="492"/>
                  </a:lnTo>
                  <a:lnTo>
                    <a:pt x="1151" y="492"/>
                  </a:lnTo>
                  <a:lnTo>
                    <a:pt x="1151" y="492"/>
                  </a:lnTo>
                  <a:lnTo>
                    <a:pt x="1151" y="492"/>
                  </a:lnTo>
                  <a:lnTo>
                    <a:pt x="1149" y="494"/>
                  </a:lnTo>
                  <a:lnTo>
                    <a:pt x="1149" y="494"/>
                  </a:lnTo>
                  <a:lnTo>
                    <a:pt x="1135" y="500"/>
                  </a:lnTo>
                  <a:lnTo>
                    <a:pt x="1135" y="500"/>
                  </a:lnTo>
                  <a:lnTo>
                    <a:pt x="1125" y="507"/>
                  </a:lnTo>
                  <a:lnTo>
                    <a:pt x="1125" y="507"/>
                  </a:lnTo>
                  <a:lnTo>
                    <a:pt x="1117" y="514"/>
                  </a:lnTo>
                  <a:lnTo>
                    <a:pt x="1117" y="514"/>
                  </a:lnTo>
                  <a:lnTo>
                    <a:pt x="1108" y="517"/>
                  </a:lnTo>
                  <a:lnTo>
                    <a:pt x="1095" y="521"/>
                  </a:lnTo>
                  <a:lnTo>
                    <a:pt x="1095" y="521"/>
                  </a:lnTo>
                  <a:lnTo>
                    <a:pt x="1091" y="524"/>
                  </a:lnTo>
                  <a:lnTo>
                    <a:pt x="1088" y="526"/>
                  </a:lnTo>
                  <a:lnTo>
                    <a:pt x="1082" y="532"/>
                  </a:lnTo>
                  <a:lnTo>
                    <a:pt x="1082" y="532"/>
                  </a:lnTo>
                  <a:lnTo>
                    <a:pt x="1078" y="537"/>
                  </a:lnTo>
                  <a:lnTo>
                    <a:pt x="1078" y="537"/>
                  </a:lnTo>
                  <a:lnTo>
                    <a:pt x="1076" y="539"/>
                  </a:lnTo>
                  <a:lnTo>
                    <a:pt x="1076" y="540"/>
                  </a:lnTo>
                  <a:lnTo>
                    <a:pt x="1076" y="540"/>
                  </a:lnTo>
                  <a:lnTo>
                    <a:pt x="1076" y="540"/>
                  </a:lnTo>
                  <a:lnTo>
                    <a:pt x="1076" y="540"/>
                  </a:lnTo>
                  <a:lnTo>
                    <a:pt x="1076" y="540"/>
                  </a:lnTo>
                  <a:lnTo>
                    <a:pt x="1070" y="539"/>
                  </a:lnTo>
                  <a:lnTo>
                    <a:pt x="1070" y="539"/>
                  </a:lnTo>
                  <a:lnTo>
                    <a:pt x="1065" y="537"/>
                  </a:lnTo>
                  <a:lnTo>
                    <a:pt x="1065" y="537"/>
                  </a:lnTo>
                  <a:lnTo>
                    <a:pt x="1062" y="539"/>
                  </a:lnTo>
                  <a:lnTo>
                    <a:pt x="1062" y="539"/>
                  </a:lnTo>
                  <a:lnTo>
                    <a:pt x="1060" y="540"/>
                  </a:lnTo>
                  <a:lnTo>
                    <a:pt x="1060" y="540"/>
                  </a:lnTo>
                  <a:lnTo>
                    <a:pt x="1062" y="543"/>
                  </a:lnTo>
                  <a:lnTo>
                    <a:pt x="1062" y="543"/>
                  </a:lnTo>
                  <a:lnTo>
                    <a:pt x="1063" y="547"/>
                  </a:lnTo>
                  <a:lnTo>
                    <a:pt x="1063" y="547"/>
                  </a:lnTo>
                  <a:lnTo>
                    <a:pt x="1066" y="550"/>
                  </a:lnTo>
                  <a:lnTo>
                    <a:pt x="1066" y="550"/>
                  </a:lnTo>
                  <a:lnTo>
                    <a:pt x="1066" y="550"/>
                  </a:lnTo>
                  <a:lnTo>
                    <a:pt x="1067" y="549"/>
                  </a:lnTo>
                  <a:lnTo>
                    <a:pt x="1065" y="549"/>
                  </a:lnTo>
                  <a:lnTo>
                    <a:pt x="1066" y="550"/>
                  </a:lnTo>
                  <a:lnTo>
                    <a:pt x="1067" y="549"/>
                  </a:lnTo>
                  <a:lnTo>
                    <a:pt x="1065" y="549"/>
                  </a:lnTo>
                  <a:lnTo>
                    <a:pt x="1067" y="549"/>
                  </a:lnTo>
                  <a:lnTo>
                    <a:pt x="1066" y="549"/>
                  </a:lnTo>
                  <a:lnTo>
                    <a:pt x="1065" y="549"/>
                  </a:lnTo>
                  <a:lnTo>
                    <a:pt x="1067" y="549"/>
                  </a:lnTo>
                  <a:lnTo>
                    <a:pt x="1066" y="549"/>
                  </a:lnTo>
                  <a:lnTo>
                    <a:pt x="1066" y="549"/>
                  </a:lnTo>
                  <a:lnTo>
                    <a:pt x="1066" y="549"/>
                  </a:lnTo>
                  <a:lnTo>
                    <a:pt x="1066" y="549"/>
                  </a:lnTo>
                  <a:lnTo>
                    <a:pt x="1066" y="549"/>
                  </a:lnTo>
                  <a:lnTo>
                    <a:pt x="1066" y="549"/>
                  </a:lnTo>
                  <a:lnTo>
                    <a:pt x="1066" y="549"/>
                  </a:lnTo>
                  <a:lnTo>
                    <a:pt x="1063" y="549"/>
                  </a:lnTo>
                  <a:lnTo>
                    <a:pt x="1063" y="549"/>
                  </a:lnTo>
                  <a:lnTo>
                    <a:pt x="1057" y="552"/>
                  </a:lnTo>
                  <a:lnTo>
                    <a:pt x="1057" y="552"/>
                  </a:lnTo>
                  <a:lnTo>
                    <a:pt x="1054" y="552"/>
                  </a:lnTo>
                  <a:lnTo>
                    <a:pt x="1054" y="552"/>
                  </a:lnTo>
                  <a:lnTo>
                    <a:pt x="1051" y="553"/>
                  </a:lnTo>
                  <a:lnTo>
                    <a:pt x="1051" y="553"/>
                  </a:lnTo>
                  <a:lnTo>
                    <a:pt x="1050" y="555"/>
                  </a:lnTo>
                  <a:lnTo>
                    <a:pt x="1050" y="555"/>
                  </a:lnTo>
                  <a:lnTo>
                    <a:pt x="1049" y="559"/>
                  </a:lnTo>
                  <a:lnTo>
                    <a:pt x="1049" y="559"/>
                  </a:lnTo>
                  <a:lnTo>
                    <a:pt x="1049" y="563"/>
                  </a:lnTo>
                  <a:lnTo>
                    <a:pt x="1049" y="563"/>
                  </a:lnTo>
                  <a:lnTo>
                    <a:pt x="1049" y="569"/>
                  </a:lnTo>
                  <a:lnTo>
                    <a:pt x="1047" y="578"/>
                  </a:lnTo>
                  <a:lnTo>
                    <a:pt x="1047" y="578"/>
                  </a:lnTo>
                  <a:lnTo>
                    <a:pt x="1047" y="581"/>
                  </a:lnTo>
                  <a:lnTo>
                    <a:pt x="1047" y="581"/>
                  </a:lnTo>
                  <a:lnTo>
                    <a:pt x="1043" y="582"/>
                  </a:lnTo>
                  <a:lnTo>
                    <a:pt x="1043" y="582"/>
                  </a:lnTo>
                  <a:lnTo>
                    <a:pt x="1036" y="584"/>
                  </a:lnTo>
                  <a:lnTo>
                    <a:pt x="1036" y="584"/>
                  </a:lnTo>
                  <a:lnTo>
                    <a:pt x="1028" y="582"/>
                  </a:lnTo>
                  <a:lnTo>
                    <a:pt x="1028" y="582"/>
                  </a:lnTo>
                  <a:lnTo>
                    <a:pt x="1024" y="584"/>
                  </a:lnTo>
                  <a:lnTo>
                    <a:pt x="1024" y="584"/>
                  </a:lnTo>
                  <a:lnTo>
                    <a:pt x="1023" y="584"/>
                  </a:lnTo>
                  <a:lnTo>
                    <a:pt x="1023" y="584"/>
                  </a:lnTo>
                  <a:lnTo>
                    <a:pt x="1020" y="582"/>
                  </a:lnTo>
                  <a:lnTo>
                    <a:pt x="1020" y="582"/>
                  </a:lnTo>
                  <a:lnTo>
                    <a:pt x="1018" y="579"/>
                  </a:lnTo>
                  <a:lnTo>
                    <a:pt x="1018" y="579"/>
                  </a:lnTo>
                  <a:lnTo>
                    <a:pt x="1015" y="572"/>
                  </a:lnTo>
                  <a:lnTo>
                    <a:pt x="1015" y="572"/>
                  </a:lnTo>
                  <a:lnTo>
                    <a:pt x="1012" y="569"/>
                  </a:lnTo>
                  <a:lnTo>
                    <a:pt x="1009" y="566"/>
                  </a:lnTo>
                  <a:lnTo>
                    <a:pt x="1009" y="566"/>
                  </a:lnTo>
                  <a:lnTo>
                    <a:pt x="1005" y="563"/>
                  </a:lnTo>
                  <a:lnTo>
                    <a:pt x="1004" y="563"/>
                  </a:lnTo>
                  <a:lnTo>
                    <a:pt x="1005" y="563"/>
                  </a:lnTo>
                  <a:lnTo>
                    <a:pt x="1005" y="563"/>
                  </a:lnTo>
                  <a:lnTo>
                    <a:pt x="1004" y="563"/>
                  </a:lnTo>
                  <a:lnTo>
                    <a:pt x="1005" y="563"/>
                  </a:lnTo>
                  <a:lnTo>
                    <a:pt x="1005" y="563"/>
                  </a:lnTo>
                  <a:lnTo>
                    <a:pt x="1005" y="563"/>
                  </a:lnTo>
                  <a:lnTo>
                    <a:pt x="1005" y="563"/>
                  </a:lnTo>
                  <a:lnTo>
                    <a:pt x="1007" y="559"/>
                  </a:lnTo>
                  <a:lnTo>
                    <a:pt x="1007" y="559"/>
                  </a:lnTo>
                  <a:lnTo>
                    <a:pt x="1009" y="553"/>
                  </a:lnTo>
                  <a:lnTo>
                    <a:pt x="1009" y="553"/>
                  </a:lnTo>
                  <a:lnTo>
                    <a:pt x="1012" y="550"/>
                  </a:lnTo>
                  <a:lnTo>
                    <a:pt x="1012" y="550"/>
                  </a:lnTo>
                  <a:lnTo>
                    <a:pt x="1021" y="546"/>
                  </a:lnTo>
                  <a:lnTo>
                    <a:pt x="1021" y="546"/>
                  </a:lnTo>
                  <a:lnTo>
                    <a:pt x="1024" y="545"/>
                  </a:lnTo>
                  <a:lnTo>
                    <a:pt x="1024" y="545"/>
                  </a:lnTo>
                  <a:lnTo>
                    <a:pt x="1028" y="543"/>
                  </a:lnTo>
                  <a:lnTo>
                    <a:pt x="1028" y="543"/>
                  </a:lnTo>
                  <a:lnTo>
                    <a:pt x="1028" y="540"/>
                  </a:lnTo>
                  <a:lnTo>
                    <a:pt x="1028" y="540"/>
                  </a:lnTo>
                  <a:lnTo>
                    <a:pt x="1027" y="534"/>
                  </a:lnTo>
                  <a:lnTo>
                    <a:pt x="1027" y="534"/>
                  </a:lnTo>
                  <a:lnTo>
                    <a:pt x="1023" y="529"/>
                  </a:lnTo>
                  <a:lnTo>
                    <a:pt x="1023" y="529"/>
                  </a:lnTo>
                  <a:lnTo>
                    <a:pt x="1020" y="523"/>
                  </a:lnTo>
                  <a:lnTo>
                    <a:pt x="1020" y="523"/>
                  </a:lnTo>
                  <a:lnTo>
                    <a:pt x="1015" y="519"/>
                  </a:lnTo>
                  <a:lnTo>
                    <a:pt x="1011" y="516"/>
                  </a:lnTo>
                  <a:lnTo>
                    <a:pt x="1011" y="516"/>
                  </a:lnTo>
                  <a:lnTo>
                    <a:pt x="1005" y="514"/>
                  </a:lnTo>
                  <a:lnTo>
                    <a:pt x="999" y="513"/>
                  </a:lnTo>
                  <a:lnTo>
                    <a:pt x="999" y="513"/>
                  </a:lnTo>
                  <a:lnTo>
                    <a:pt x="989" y="511"/>
                  </a:lnTo>
                  <a:lnTo>
                    <a:pt x="979" y="508"/>
                  </a:lnTo>
                  <a:lnTo>
                    <a:pt x="979" y="508"/>
                  </a:lnTo>
                  <a:lnTo>
                    <a:pt x="975" y="507"/>
                  </a:lnTo>
                  <a:lnTo>
                    <a:pt x="975" y="507"/>
                  </a:lnTo>
                  <a:lnTo>
                    <a:pt x="973" y="508"/>
                  </a:lnTo>
                  <a:lnTo>
                    <a:pt x="973" y="508"/>
                  </a:lnTo>
                  <a:lnTo>
                    <a:pt x="972" y="511"/>
                  </a:lnTo>
                  <a:lnTo>
                    <a:pt x="972" y="511"/>
                  </a:lnTo>
                  <a:lnTo>
                    <a:pt x="972" y="513"/>
                  </a:lnTo>
                  <a:lnTo>
                    <a:pt x="972" y="513"/>
                  </a:lnTo>
                  <a:lnTo>
                    <a:pt x="976" y="519"/>
                  </a:lnTo>
                  <a:lnTo>
                    <a:pt x="976" y="519"/>
                  </a:lnTo>
                  <a:lnTo>
                    <a:pt x="981" y="526"/>
                  </a:lnTo>
                  <a:lnTo>
                    <a:pt x="981" y="526"/>
                  </a:lnTo>
                  <a:lnTo>
                    <a:pt x="983" y="532"/>
                  </a:lnTo>
                  <a:lnTo>
                    <a:pt x="986" y="536"/>
                  </a:lnTo>
                  <a:lnTo>
                    <a:pt x="986" y="537"/>
                  </a:lnTo>
                  <a:lnTo>
                    <a:pt x="986" y="537"/>
                  </a:lnTo>
                  <a:lnTo>
                    <a:pt x="983" y="545"/>
                  </a:lnTo>
                  <a:lnTo>
                    <a:pt x="983" y="545"/>
                  </a:lnTo>
                  <a:lnTo>
                    <a:pt x="978" y="559"/>
                  </a:lnTo>
                  <a:lnTo>
                    <a:pt x="978" y="559"/>
                  </a:lnTo>
                  <a:lnTo>
                    <a:pt x="975" y="566"/>
                  </a:lnTo>
                  <a:lnTo>
                    <a:pt x="975" y="566"/>
                  </a:lnTo>
                  <a:lnTo>
                    <a:pt x="975" y="571"/>
                  </a:lnTo>
                  <a:lnTo>
                    <a:pt x="975" y="571"/>
                  </a:lnTo>
                  <a:lnTo>
                    <a:pt x="975" y="575"/>
                  </a:lnTo>
                  <a:lnTo>
                    <a:pt x="975" y="575"/>
                  </a:lnTo>
                  <a:lnTo>
                    <a:pt x="979" y="578"/>
                  </a:lnTo>
                  <a:lnTo>
                    <a:pt x="979" y="578"/>
                  </a:lnTo>
                  <a:lnTo>
                    <a:pt x="986" y="582"/>
                  </a:lnTo>
                  <a:lnTo>
                    <a:pt x="986" y="582"/>
                  </a:lnTo>
                  <a:lnTo>
                    <a:pt x="989" y="585"/>
                  </a:lnTo>
                  <a:lnTo>
                    <a:pt x="992" y="589"/>
                  </a:lnTo>
                  <a:lnTo>
                    <a:pt x="992" y="589"/>
                  </a:lnTo>
                  <a:lnTo>
                    <a:pt x="992" y="592"/>
                  </a:lnTo>
                  <a:lnTo>
                    <a:pt x="992" y="592"/>
                  </a:lnTo>
                  <a:lnTo>
                    <a:pt x="991" y="598"/>
                  </a:lnTo>
                  <a:lnTo>
                    <a:pt x="988" y="605"/>
                  </a:lnTo>
                  <a:lnTo>
                    <a:pt x="988" y="605"/>
                  </a:lnTo>
                  <a:lnTo>
                    <a:pt x="983" y="611"/>
                  </a:lnTo>
                  <a:lnTo>
                    <a:pt x="983" y="611"/>
                  </a:lnTo>
                  <a:lnTo>
                    <a:pt x="981" y="616"/>
                  </a:lnTo>
                  <a:lnTo>
                    <a:pt x="981" y="616"/>
                  </a:lnTo>
                  <a:lnTo>
                    <a:pt x="979" y="616"/>
                  </a:lnTo>
                  <a:lnTo>
                    <a:pt x="979" y="616"/>
                  </a:lnTo>
                  <a:lnTo>
                    <a:pt x="976" y="616"/>
                  </a:lnTo>
                  <a:lnTo>
                    <a:pt x="976" y="614"/>
                  </a:lnTo>
                  <a:lnTo>
                    <a:pt x="976" y="614"/>
                  </a:lnTo>
                  <a:lnTo>
                    <a:pt x="975" y="616"/>
                  </a:lnTo>
                  <a:lnTo>
                    <a:pt x="976" y="614"/>
                  </a:lnTo>
                  <a:lnTo>
                    <a:pt x="976" y="614"/>
                  </a:lnTo>
                  <a:lnTo>
                    <a:pt x="975" y="616"/>
                  </a:lnTo>
                  <a:lnTo>
                    <a:pt x="976" y="614"/>
                  </a:lnTo>
                  <a:lnTo>
                    <a:pt x="976" y="614"/>
                  </a:lnTo>
                  <a:lnTo>
                    <a:pt x="975" y="611"/>
                  </a:lnTo>
                  <a:lnTo>
                    <a:pt x="975" y="611"/>
                  </a:lnTo>
                  <a:lnTo>
                    <a:pt x="970" y="607"/>
                  </a:lnTo>
                  <a:lnTo>
                    <a:pt x="970" y="607"/>
                  </a:lnTo>
                  <a:lnTo>
                    <a:pt x="967" y="605"/>
                  </a:lnTo>
                  <a:lnTo>
                    <a:pt x="965" y="605"/>
                  </a:lnTo>
                  <a:lnTo>
                    <a:pt x="963" y="605"/>
                  </a:lnTo>
                  <a:lnTo>
                    <a:pt x="963" y="605"/>
                  </a:lnTo>
                  <a:lnTo>
                    <a:pt x="963" y="605"/>
                  </a:lnTo>
                  <a:lnTo>
                    <a:pt x="963" y="605"/>
                  </a:lnTo>
                  <a:lnTo>
                    <a:pt x="962" y="604"/>
                  </a:lnTo>
                  <a:lnTo>
                    <a:pt x="962" y="604"/>
                  </a:lnTo>
                  <a:lnTo>
                    <a:pt x="960" y="603"/>
                  </a:lnTo>
                  <a:lnTo>
                    <a:pt x="960" y="603"/>
                  </a:lnTo>
                  <a:lnTo>
                    <a:pt x="959" y="601"/>
                  </a:lnTo>
                  <a:lnTo>
                    <a:pt x="959" y="601"/>
                  </a:lnTo>
                  <a:lnTo>
                    <a:pt x="957" y="600"/>
                  </a:lnTo>
                  <a:lnTo>
                    <a:pt x="957" y="600"/>
                  </a:lnTo>
                  <a:lnTo>
                    <a:pt x="954" y="601"/>
                  </a:lnTo>
                  <a:lnTo>
                    <a:pt x="954" y="601"/>
                  </a:lnTo>
                  <a:lnTo>
                    <a:pt x="952" y="604"/>
                  </a:lnTo>
                  <a:lnTo>
                    <a:pt x="952" y="604"/>
                  </a:lnTo>
                  <a:lnTo>
                    <a:pt x="943" y="614"/>
                  </a:lnTo>
                  <a:lnTo>
                    <a:pt x="943" y="614"/>
                  </a:lnTo>
                  <a:lnTo>
                    <a:pt x="940" y="617"/>
                  </a:lnTo>
                  <a:lnTo>
                    <a:pt x="940" y="617"/>
                  </a:lnTo>
                  <a:lnTo>
                    <a:pt x="933" y="620"/>
                  </a:lnTo>
                  <a:lnTo>
                    <a:pt x="933" y="620"/>
                  </a:lnTo>
                  <a:lnTo>
                    <a:pt x="928" y="623"/>
                  </a:lnTo>
                  <a:lnTo>
                    <a:pt x="925" y="626"/>
                  </a:lnTo>
                  <a:lnTo>
                    <a:pt x="925" y="626"/>
                  </a:lnTo>
                  <a:lnTo>
                    <a:pt x="918" y="633"/>
                  </a:lnTo>
                  <a:lnTo>
                    <a:pt x="918" y="633"/>
                  </a:lnTo>
                  <a:lnTo>
                    <a:pt x="911" y="642"/>
                  </a:lnTo>
                  <a:lnTo>
                    <a:pt x="911" y="642"/>
                  </a:lnTo>
                  <a:lnTo>
                    <a:pt x="911" y="642"/>
                  </a:lnTo>
                  <a:lnTo>
                    <a:pt x="911" y="645"/>
                  </a:lnTo>
                  <a:lnTo>
                    <a:pt x="911" y="645"/>
                  </a:lnTo>
                  <a:lnTo>
                    <a:pt x="911" y="647"/>
                  </a:lnTo>
                  <a:lnTo>
                    <a:pt x="912" y="652"/>
                  </a:lnTo>
                  <a:lnTo>
                    <a:pt x="912" y="652"/>
                  </a:lnTo>
                  <a:lnTo>
                    <a:pt x="920" y="660"/>
                  </a:lnTo>
                  <a:lnTo>
                    <a:pt x="920" y="660"/>
                  </a:lnTo>
                  <a:lnTo>
                    <a:pt x="925" y="668"/>
                  </a:lnTo>
                  <a:lnTo>
                    <a:pt x="925" y="668"/>
                  </a:lnTo>
                  <a:lnTo>
                    <a:pt x="925" y="669"/>
                  </a:lnTo>
                  <a:lnTo>
                    <a:pt x="925" y="669"/>
                  </a:lnTo>
                  <a:lnTo>
                    <a:pt x="923" y="675"/>
                  </a:lnTo>
                  <a:lnTo>
                    <a:pt x="923" y="675"/>
                  </a:lnTo>
                  <a:lnTo>
                    <a:pt x="923" y="675"/>
                  </a:lnTo>
                  <a:lnTo>
                    <a:pt x="923" y="675"/>
                  </a:lnTo>
                  <a:lnTo>
                    <a:pt x="923" y="675"/>
                  </a:lnTo>
                  <a:lnTo>
                    <a:pt x="923" y="675"/>
                  </a:lnTo>
                  <a:lnTo>
                    <a:pt x="923" y="675"/>
                  </a:lnTo>
                  <a:lnTo>
                    <a:pt x="923" y="675"/>
                  </a:lnTo>
                  <a:lnTo>
                    <a:pt x="923" y="675"/>
                  </a:lnTo>
                  <a:lnTo>
                    <a:pt x="923" y="675"/>
                  </a:lnTo>
                  <a:lnTo>
                    <a:pt x="923" y="675"/>
                  </a:lnTo>
                  <a:lnTo>
                    <a:pt x="923" y="675"/>
                  </a:lnTo>
                  <a:lnTo>
                    <a:pt x="923" y="675"/>
                  </a:lnTo>
                  <a:lnTo>
                    <a:pt x="918" y="673"/>
                  </a:lnTo>
                  <a:lnTo>
                    <a:pt x="918" y="673"/>
                  </a:lnTo>
                  <a:lnTo>
                    <a:pt x="910" y="671"/>
                  </a:lnTo>
                  <a:lnTo>
                    <a:pt x="910" y="671"/>
                  </a:lnTo>
                  <a:lnTo>
                    <a:pt x="902" y="666"/>
                  </a:lnTo>
                  <a:lnTo>
                    <a:pt x="902" y="666"/>
                  </a:lnTo>
                  <a:lnTo>
                    <a:pt x="896" y="665"/>
                  </a:lnTo>
                  <a:lnTo>
                    <a:pt x="896" y="665"/>
                  </a:lnTo>
                  <a:lnTo>
                    <a:pt x="892" y="666"/>
                  </a:lnTo>
                  <a:lnTo>
                    <a:pt x="892" y="666"/>
                  </a:lnTo>
                  <a:lnTo>
                    <a:pt x="889" y="668"/>
                  </a:lnTo>
                  <a:lnTo>
                    <a:pt x="889" y="668"/>
                  </a:lnTo>
                  <a:lnTo>
                    <a:pt x="889" y="668"/>
                  </a:lnTo>
                  <a:lnTo>
                    <a:pt x="888" y="668"/>
                  </a:lnTo>
                  <a:lnTo>
                    <a:pt x="888" y="668"/>
                  </a:lnTo>
                  <a:lnTo>
                    <a:pt x="883" y="663"/>
                  </a:lnTo>
                  <a:lnTo>
                    <a:pt x="881" y="658"/>
                  </a:lnTo>
                  <a:lnTo>
                    <a:pt x="881" y="658"/>
                  </a:lnTo>
                  <a:lnTo>
                    <a:pt x="878" y="655"/>
                  </a:lnTo>
                  <a:lnTo>
                    <a:pt x="878" y="655"/>
                  </a:lnTo>
                  <a:lnTo>
                    <a:pt x="875" y="653"/>
                  </a:lnTo>
                  <a:lnTo>
                    <a:pt x="875" y="653"/>
                  </a:lnTo>
                  <a:lnTo>
                    <a:pt x="870" y="653"/>
                  </a:lnTo>
                  <a:lnTo>
                    <a:pt x="870" y="653"/>
                  </a:lnTo>
                  <a:lnTo>
                    <a:pt x="869" y="653"/>
                  </a:lnTo>
                  <a:lnTo>
                    <a:pt x="869" y="653"/>
                  </a:lnTo>
                  <a:lnTo>
                    <a:pt x="866" y="652"/>
                  </a:lnTo>
                  <a:lnTo>
                    <a:pt x="866" y="652"/>
                  </a:lnTo>
                  <a:lnTo>
                    <a:pt x="865" y="653"/>
                  </a:lnTo>
                  <a:lnTo>
                    <a:pt x="865" y="653"/>
                  </a:lnTo>
                  <a:lnTo>
                    <a:pt x="863" y="655"/>
                  </a:lnTo>
                  <a:lnTo>
                    <a:pt x="863" y="655"/>
                  </a:lnTo>
                  <a:lnTo>
                    <a:pt x="863" y="656"/>
                  </a:lnTo>
                  <a:lnTo>
                    <a:pt x="863" y="656"/>
                  </a:lnTo>
                  <a:lnTo>
                    <a:pt x="863" y="658"/>
                  </a:lnTo>
                  <a:lnTo>
                    <a:pt x="863" y="659"/>
                  </a:lnTo>
                  <a:lnTo>
                    <a:pt x="863" y="659"/>
                  </a:lnTo>
                  <a:lnTo>
                    <a:pt x="862" y="660"/>
                  </a:lnTo>
                  <a:lnTo>
                    <a:pt x="862" y="660"/>
                  </a:lnTo>
                  <a:lnTo>
                    <a:pt x="859" y="662"/>
                  </a:lnTo>
                  <a:lnTo>
                    <a:pt x="859" y="662"/>
                  </a:lnTo>
                  <a:lnTo>
                    <a:pt x="857" y="665"/>
                  </a:lnTo>
                  <a:lnTo>
                    <a:pt x="857" y="665"/>
                  </a:lnTo>
                  <a:lnTo>
                    <a:pt x="856" y="666"/>
                  </a:lnTo>
                  <a:lnTo>
                    <a:pt x="856" y="666"/>
                  </a:lnTo>
                  <a:lnTo>
                    <a:pt x="859" y="675"/>
                  </a:lnTo>
                  <a:lnTo>
                    <a:pt x="859" y="675"/>
                  </a:lnTo>
                  <a:lnTo>
                    <a:pt x="865" y="685"/>
                  </a:lnTo>
                  <a:lnTo>
                    <a:pt x="865" y="685"/>
                  </a:lnTo>
                  <a:lnTo>
                    <a:pt x="869" y="689"/>
                  </a:lnTo>
                  <a:lnTo>
                    <a:pt x="869" y="689"/>
                  </a:lnTo>
                  <a:lnTo>
                    <a:pt x="872" y="691"/>
                  </a:lnTo>
                  <a:lnTo>
                    <a:pt x="872" y="691"/>
                  </a:lnTo>
                  <a:lnTo>
                    <a:pt x="875" y="689"/>
                  </a:lnTo>
                  <a:lnTo>
                    <a:pt x="875" y="689"/>
                  </a:lnTo>
                  <a:lnTo>
                    <a:pt x="878" y="688"/>
                  </a:lnTo>
                  <a:lnTo>
                    <a:pt x="881" y="687"/>
                  </a:lnTo>
                  <a:lnTo>
                    <a:pt x="881" y="687"/>
                  </a:lnTo>
                  <a:lnTo>
                    <a:pt x="881" y="687"/>
                  </a:lnTo>
                  <a:lnTo>
                    <a:pt x="881" y="685"/>
                  </a:lnTo>
                  <a:lnTo>
                    <a:pt x="881" y="687"/>
                  </a:lnTo>
                  <a:lnTo>
                    <a:pt x="881" y="687"/>
                  </a:lnTo>
                  <a:lnTo>
                    <a:pt x="881" y="685"/>
                  </a:lnTo>
                  <a:lnTo>
                    <a:pt x="881" y="687"/>
                  </a:lnTo>
                  <a:lnTo>
                    <a:pt x="881" y="687"/>
                  </a:lnTo>
                  <a:lnTo>
                    <a:pt x="881" y="687"/>
                  </a:lnTo>
                  <a:lnTo>
                    <a:pt x="881" y="687"/>
                  </a:lnTo>
                  <a:lnTo>
                    <a:pt x="881" y="687"/>
                  </a:lnTo>
                  <a:lnTo>
                    <a:pt x="881" y="687"/>
                  </a:lnTo>
                  <a:lnTo>
                    <a:pt x="881" y="687"/>
                  </a:lnTo>
                  <a:lnTo>
                    <a:pt x="881" y="687"/>
                  </a:lnTo>
                  <a:lnTo>
                    <a:pt x="882" y="689"/>
                  </a:lnTo>
                  <a:lnTo>
                    <a:pt x="882" y="689"/>
                  </a:lnTo>
                  <a:lnTo>
                    <a:pt x="882" y="697"/>
                  </a:lnTo>
                  <a:lnTo>
                    <a:pt x="882" y="697"/>
                  </a:lnTo>
                  <a:lnTo>
                    <a:pt x="883" y="700"/>
                  </a:lnTo>
                  <a:lnTo>
                    <a:pt x="885" y="702"/>
                  </a:lnTo>
                  <a:lnTo>
                    <a:pt x="885" y="704"/>
                  </a:lnTo>
                  <a:lnTo>
                    <a:pt x="885" y="702"/>
                  </a:lnTo>
                  <a:lnTo>
                    <a:pt x="885" y="702"/>
                  </a:lnTo>
                  <a:lnTo>
                    <a:pt x="885" y="704"/>
                  </a:lnTo>
                  <a:lnTo>
                    <a:pt x="885" y="702"/>
                  </a:lnTo>
                  <a:lnTo>
                    <a:pt x="885" y="702"/>
                  </a:lnTo>
                  <a:lnTo>
                    <a:pt x="885" y="702"/>
                  </a:lnTo>
                  <a:lnTo>
                    <a:pt x="885" y="702"/>
                  </a:lnTo>
                  <a:lnTo>
                    <a:pt x="885" y="702"/>
                  </a:lnTo>
                  <a:lnTo>
                    <a:pt x="885" y="702"/>
                  </a:lnTo>
                  <a:lnTo>
                    <a:pt x="885" y="702"/>
                  </a:lnTo>
                  <a:lnTo>
                    <a:pt x="885" y="702"/>
                  </a:lnTo>
                  <a:lnTo>
                    <a:pt x="885" y="702"/>
                  </a:lnTo>
                  <a:lnTo>
                    <a:pt x="885" y="702"/>
                  </a:lnTo>
                  <a:lnTo>
                    <a:pt x="885" y="702"/>
                  </a:lnTo>
                  <a:lnTo>
                    <a:pt x="885" y="702"/>
                  </a:lnTo>
                  <a:lnTo>
                    <a:pt x="885" y="702"/>
                  </a:lnTo>
                  <a:lnTo>
                    <a:pt x="883" y="702"/>
                  </a:lnTo>
                  <a:lnTo>
                    <a:pt x="883" y="702"/>
                  </a:lnTo>
                  <a:lnTo>
                    <a:pt x="881" y="704"/>
                  </a:lnTo>
                  <a:lnTo>
                    <a:pt x="881" y="704"/>
                  </a:lnTo>
                  <a:lnTo>
                    <a:pt x="876" y="704"/>
                  </a:lnTo>
                  <a:lnTo>
                    <a:pt x="876" y="704"/>
                  </a:lnTo>
                  <a:lnTo>
                    <a:pt x="875" y="705"/>
                  </a:lnTo>
                  <a:lnTo>
                    <a:pt x="875" y="705"/>
                  </a:lnTo>
                  <a:lnTo>
                    <a:pt x="866" y="702"/>
                  </a:lnTo>
                  <a:lnTo>
                    <a:pt x="866" y="702"/>
                  </a:lnTo>
                  <a:lnTo>
                    <a:pt x="859" y="698"/>
                  </a:lnTo>
                  <a:lnTo>
                    <a:pt x="859" y="698"/>
                  </a:lnTo>
                  <a:lnTo>
                    <a:pt x="856" y="695"/>
                  </a:lnTo>
                  <a:lnTo>
                    <a:pt x="854" y="692"/>
                  </a:lnTo>
                  <a:lnTo>
                    <a:pt x="854" y="692"/>
                  </a:lnTo>
                  <a:lnTo>
                    <a:pt x="853" y="689"/>
                  </a:lnTo>
                  <a:lnTo>
                    <a:pt x="853" y="689"/>
                  </a:lnTo>
                  <a:lnTo>
                    <a:pt x="850" y="688"/>
                  </a:lnTo>
                  <a:lnTo>
                    <a:pt x="849" y="687"/>
                  </a:lnTo>
                  <a:lnTo>
                    <a:pt x="849" y="687"/>
                  </a:lnTo>
                  <a:lnTo>
                    <a:pt x="843" y="685"/>
                  </a:lnTo>
                  <a:lnTo>
                    <a:pt x="843" y="685"/>
                  </a:lnTo>
                  <a:lnTo>
                    <a:pt x="839" y="681"/>
                  </a:lnTo>
                  <a:lnTo>
                    <a:pt x="839" y="681"/>
                  </a:lnTo>
                  <a:lnTo>
                    <a:pt x="839" y="681"/>
                  </a:lnTo>
                  <a:lnTo>
                    <a:pt x="839" y="681"/>
                  </a:lnTo>
                  <a:lnTo>
                    <a:pt x="836" y="676"/>
                  </a:lnTo>
                  <a:lnTo>
                    <a:pt x="836" y="676"/>
                  </a:lnTo>
                  <a:lnTo>
                    <a:pt x="834" y="675"/>
                  </a:lnTo>
                  <a:lnTo>
                    <a:pt x="834" y="675"/>
                  </a:lnTo>
                  <a:lnTo>
                    <a:pt x="834" y="675"/>
                  </a:lnTo>
                  <a:lnTo>
                    <a:pt x="834" y="675"/>
                  </a:lnTo>
                  <a:lnTo>
                    <a:pt x="834" y="675"/>
                  </a:lnTo>
                  <a:lnTo>
                    <a:pt x="834" y="675"/>
                  </a:lnTo>
                  <a:lnTo>
                    <a:pt x="834" y="675"/>
                  </a:lnTo>
                  <a:lnTo>
                    <a:pt x="833" y="675"/>
                  </a:lnTo>
                  <a:lnTo>
                    <a:pt x="834" y="675"/>
                  </a:lnTo>
                  <a:lnTo>
                    <a:pt x="834" y="675"/>
                  </a:lnTo>
                  <a:lnTo>
                    <a:pt x="833" y="675"/>
                  </a:lnTo>
                  <a:lnTo>
                    <a:pt x="834" y="675"/>
                  </a:lnTo>
                  <a:lnTo>
                    <a:pt x="834" y="675"/>
                  </a:lnTo>
                  <a:lnTo>
                    <a:pt x="834" y="676"/>
                  </a:lnTo>
                  <a:lnTo>
                    <a:pt x="834" y="675"/>
                  </a:lnTo>
                  <a:lnTo>
                    <a:pt x="834" y="675"/>
                  </a:lnTo>
                  <a:lnTo>
                    <a:pt x="834" y="676"/>
                  </a:lnTo>
                  <a:lnTo>
                    <a:pt x="834" y="676"/>
                  </a:lnTo>
                  <a:lnTo>
                    <a:pt x="834" y="675"/>
                  </a:lnTo>
                  <a:lnTo>
                    <a:pt x="834" y="676"/>
                  </a:lnTo>
                  <a:lnTo>
                    <a:pt x="834" y="676"/>
                  </a:lnTo>
                  <a:lnTo>
                    <a:pt x="836" y="672"/>
                  </a:lnTo>
                  <a:lnTo>
                    <a:pt x="836" y="672"/>
                  </a:lnTo>
                  <a:lnTo>
                    <a:pt x="836" y="668"/>
                  </a:lnTo>
                  <a:lnTo>
                    <a:pt x="836" y="668"/>
                  </a:lnTo>
                  <a:lnTo>
                    <a:pt x="836" y="659"/>
                  </a:lnTo>
                  <a:lnTo>
                    <a:pt x="834" y="652"/>
                  </a:lnTo>
                  <a:lnTo>
                    <a:pt x="834" y="652"/>
                  </a:lnTo>
                  <a:lnTo>
                    <a:pt x="833" y="647"/>
                  </a:lnTo>
                  <a:lnTo>
                    <a:pt x="830" y="646"/>
                  </a:lnTo>
                  <a:lnTo>
                    <a:pt x="830" y="646"/>
                  </a:lnTo>
                  <a:lnTo>
                    <a:pt x="828" y="645"/>
                  </a:lnTo>
                  <a:lnTo>
                    <a:pt x="828" y="645"/>
                  </a:lnTo>
                  <a:lnTo>
                    <a:pt x="828" y="645"/>
                  </a:lnTo>
                  <a:lnTo>
                    <a:pt x="828" y="646"/>
                  </a:lnTo>
                  <a:lnTo>
                    <a:pt x="828" y="645"/>
                  </a:lnTo>
                  <a:lnTo>
                    <a:pt x="828" y="645"/>
                  </a:lnTo>
                  <a:lnTo>
                    <a:pt x="828" y="646"/>
                  </a:lnTo>
                  <a:lnTo>
                    <a:pt x="828" y="645"/>
                  </a:lnTo>
                  <a:lnTo>
                    <a:pt x="827" y="646"/>
                  </a:lnTo>
                  <a:lnTo>
                    <a:pt x="830" y="645"/>
                  </a:lnTo>
                  <a:lnTo>
                    <a:pt x="828" y="645"/>
                  </a:lnTo>
                  <a:lnTo>
                    <a:pt x="827" y="646"/>
                  </a:lnTo>
                  <a:lnTo>
                    <a:pt x="830" y="645"/>
                  </a:lnTo>
                  <a:lnTo>
                    <a:pt x="827" y="646"/>
                  </a:lnTo>
                  <a:lnTo>
                    <a:pt x="830" y="646"/>
                  </a:lnTo>
                  <a:lnTo>
                    <a:pt x="830" y="646"/>
                  </a:lnTo>
                  <a:lnTo>
                    <a:pt x="830" y="645"/>
                  </a:lnTo>
                  <a:lnTo>
                    <a:pt x="827" y="646"/>
                  </a:lnTo>
                  <a:lnTo>
                    <a:pt x="830" y="646"/>
                  </a:lnTo>
                  <a:lnTo>
                    <a:pt x="827" y="646"/>
                  </a:lnTo>
                  <a:lnTo>
                    <a:pt x="830" y="647"/>
                  </a:lnTo>
                  <a:lnTo>
                    <a:pt x="830" y="647"/>
                  </a:lnTo>
                  <a:lnTo>
                    <a:pt x="830" y="646"/>
                  </a:lnTo>
                  <a:lnTo>
                    <a:pt x="827" y="646"/>
                  </a:lnTo>
                  <a:lnTo>
                    <a:pt x="830" y="647"/>
                  </a:lnTo>
                  <a:lnTo>
                    <a:pt x="827" y="646"/>
                  </a:lnTo>
                  <a:lnTo>
                    <a:pt x="828" y="649"/>
                  </a:lnTo>
                  <a:lnTo>
                    <a:pt x="828" y="649"/>
                  </a:lnTo>
                  <a:lnTo>
                    <a:pt x="830" y="647"/>
                  </a:lnTo>
                  <a:lnTo>
                    <a:pt x="827" y="646"/>
                  </a:lnTo>
                  <a:lnTo>
                    <a:pt x="828" y="649"/>
                  </a:lnTo>
                  <a:lnTo>
                    <a:pt x="827" y="646"/>
                  </a:lnTo>
                  <a:lnTo>
                    <a:pt x="828" y="649"/>
                  </a:lnTo>
                  <a:lnTo>
                    <a:pt x="828" y="649"/>
                  </a:lnTo>
                  <a:lnTo>
                    <a:pt x="827" y="646"/>
                  </a:lnTo>
                  <a:lnTo>
                    <a:pt x="828" y="649"/>
                  </a:lnTo>
                  <a:lnTo>
                    <a:pt x="828" y="649"/>
                  </a:lnTo>
                  <a:lnTo>
                    <a:pt x="830" y="647"/>
                  </a:lnTo>
                  <a:lnTo>
                    <a:pt x="830" y="647"/>
                  </a:lnTo>
                  <a:lnTo>
                    <a:pt x="831" y="647"/>
                  </a:lnTo>
                  <a:lnTo>
                    <a:pt x="833" y="646"/>
                  </a:lnTo>
                  <a:lnTo>
                    <a:pt x="833" y="646"/>
                  </a:lnTo>
                  <a:lnTo>
                    <a:pt x="834" y="640"/>
                  </a:lnTo>
                  <a:lnTo>
                    <a:pt x="834" y="640"/>
                  </a:lnTo>
                  <a:lnTo>
                    <a:pt x="834" y="636"/>
                  </a:lnTo>
                  <a:lnTo>
                    <a:pt x="834" y="636"/>
                  </a:lnTo>
                  <a:lnTo>
                    <a:pt x="834" y="631"/>
                  </a:lnTo>
                  <a:lnTo>
                    <a:pt x="834" y="631"/>
                  </a:lnTo>
                  <a:lnTo>
                    <a:pt x="833" y="629"/>
                  </a:lnTo>
                  <a:lnTo>
                    <a:pt x="833" y="629"/>
                  </a:lnTo>
                  <a:lnTo>
                    <a:pt x="830" y="624"/>
                  </a:lnTo>
                  <a:lnTo>
                    <a:pt x="830" y="624"/>
                  </a:lnTo>
                  <a:lnTo>
                    <a:pt x="823" y="617"/>
                  </a:lnTo>
                  <a:lnTo>
                    <a:pt x="823" y="617"/>
                  </a:lnTo>
                  <a:lnTo>
                    <a:pt x="818" y="614"/>
                  </a:lnTo>
                  <a:lnTo>
                    <a:pt x="818" y="614"/>
                  </a:lnTo>
                  <a:lnTo>
                    <a:pt x="817" y="613"/>
                  </a:lnTo>
                  <a:lnTo>
                    <a:pt x="817" y="613"/>
                  </a:lnTo>
                  <a:lnTo>
                    <a:pt x="814" y="613"/>
                  </a:lnTo>
                  <a:lnTo>
                    <a:pt x="814" y="613"/>
                  </a:lnTo>
                  <a:lnTo>
                    <a:pt x="814" y="613"/>
                  </a:lnTo>
                  <a:lnTo>
                    <a:pt x="814" y="613"/>
                  </a:lnTo>
                  <a:lnTo>
                    <a:pt x="814" y="613"/>
                  </a:lnTo>
                  <a:lnTo>
                    <a:pt x="814" y="613"/>
                  </a:lnTo>
                  <a:lnTo>
                    <a:pt x="814" y="613"/>
                  </a:lnTo>
                  <a:lnTo>
                    <a:pt x="814" y="613"/>
                  </a:lnTo>
                  <a:lnTo>
                    <a:pt x="811" y="608"/>
                  </a:lnTo>
                  <a:lnTo>
                    <a:pt x="811" y="608"/>
                  </a:lnTo>
                  <a:lnTo>
                    <a:pt x="810" y="607"/>
                  </a:lnTo>
                  <a:lnTo>
                    <a:pt x="810" y="605"/>
                  </a:lnTo>
                  <a:lnTo>
                    <a:pt x="810" y="605"/>
                  </a:lnTo>
                  <a:lnTo>
                    <a:pt x="808" y="605"/>
                  </a:lnTo>
                  <a:lnTo>
                    <a:pt x="810" y="605"/>
                  </a:lnTo>
                  <a:lnTo>
                    <a:pt x="810" y="605"/>
                  </a:lnTo>
                  <a:lnTo>
                    <a:pt x="808" y="605"/>
                  </a:lnTo>
                  <a:lnTo>
                    <a:pt x="810" y="605"/>
                  </a:lnTo>
                  <a:lnTo>
                    <a:pt x="810" y="605"/>
                  </a:lnTo>
                  <a:lnTo>
                    <a:pt x="810" y="604"/>
                  </a:lnTo>
                  <a:lnTo>
                    <a:pt x="810" y="604"/>
                  </a:lnTo>
                  <a:lnTo>
                    <a:pt x="805" y="598"/>
                  </a:lnTo>
                  <a:lnTo>
                    <a:pt x="805" y="598"/>
                  </a:lnTo>
                  <a:lnTo>
                    <a:pt x="802" y="595"/>
                  </a:lnTo>
                  <a:lnTo>
                    <a:pt x="802" y="595"/>
                  </a:lnTo>
                  <a:lnTo>
                    <a:pt x="799" y="594"/>
                  </a:lnTo>
                  <a:lnTo>
                    <a:pt x="799" y="594"/>
                  </a:lnTo>
                  <a:lnTo>
                    <a:pt x="797" y="594"/>
                  </a:lnTo>
                  <a:lnTo>
                    <a:pt x="797" y="594"/>
                  </a:lnTo>
                  <a:lnTo>
                    <a:pt x="791" y="594"/>
                  </a:lnTo>
                  <a:lnTo>
                    <a:pt x="786" y="591"/>
                  </a:lnTo>
                  <a:lnTo>
                    <a:pt x="785" y="591"/>
                  </a:lnTo>
                  <a:lnTo>
                    <a:pt x="785" y="591"/>
                  </a:lnTo>
                  <a:lnTo>
                    <a:pt x="785" y="591"/>
                  </a:lnTo>
                  <a:lnTo>
                    <a:pt x="785" y="591"/>
                  </a:lnTo>
                  <a:lnTo>
                    <a:pt x="785" y="591"/>
                  </a:lnTo>
                  <a:lnTo>
                    <a:pt x="785" y="591"/>
                  </a:lnTo>
                  <a:lnTo>
                    <a:pt x="785" y="591"/>
                  </a:lnTo>
                  <a:lnTo>
                    <a:pt x="786" y="591"/>
                  </a:lnTo>
                  <a:lnTo>
                    <a:pt x="785" y="591"/>
                  </a:lnTo>
                  <a:lnTo>
                    <a:pt x="785" y="591"/>
                  </a:lnTo>
                  <a:lnTo>
                    <a:pt x="786" y="591"/>
                  </a:lnTo>
                  <a:lnTo>
                    <a:pt x="785" y="591"/>
                  </a:lnTo>
                  <a:lnTo>
                    <a:pt x="786" y="591"/>
                  </a:lnTo>
                  <a:lnTo>
                    <a:pt x="786" y="591"/>
                  </a:lnTo>
                  <a:lnTo>
                    <a:pt x="785" y="591"/>
                  </a:lnTo>
                  <a:lnTo>
                    <a:pt x="786" y="591"/>
                  </a:lnTo>
                  <a:lnTo>
                    <a:pt x="785" y="591"/>
                  </a:lnTo>
                  <a:lnTo>
                    <a:pt x="786" y="591"/>
                  </a:lnTo>
                  <a:lnTo>
                    <a:pt x="785" y="591"/>
                  </a:lnTo>
                  <a:lnTo>
                    <a:pt x="786" y="591"/>
                  </a:lnTo>
                  <a:lnTo>
                    <a:pt x="786" y="591"/>
                  </a:lnTo>
                  <a:lnTo>
                    <a:pt x="788" y="589"/>
                  </a:lnTo>
                  <a:lnTo>
                    <a:pt x="788" y="589"/>
                  </a:lnTo>
                  <a:lnTo>
                    <a:pt x="789" y="589"/>
                  </a:lnTo>
                  <a:lnTo>
                    <a:pt x="789" y="589"/>
                  </a:lnTo>
                  <a:lnTo>
                    <a:pt x="791" y="588"/>
                  </a:lnTo>
                  <a:lnTo>
                    <a:pt x="792" y="587"/>
                  </a:lnTo>
                  <a:lnTo>
                    <a:pt x="792" y="587"/>
                  </a:lnTo>
                  <a:lnTo>
                    <a:pt x="795" y="582"/>
                  </a:lnTo>
                  <a:lnTo>
                    <a:pt x="795" y="582"/>
                  </a:lnTo>
                  <a:lnTo>
                    <a:pt x="795" y="581"/>
                  </a:lnTo>
                  <a:lnTo>
                    <a:pt x="795" y="581"/>
                  </a:lnTo>
                  <a:lnTo>
                    <a:pt x="795" y="581"/>
                  </a:lnTo>
                  <a:lnTo>
                    <a:pt x="795" y="579"/>
                  </a:lnTo>
                  <a:lnTo>
                    <a:pt x="795" y="581"/>
                  </a:lnTo>
                  <a:lnTo>
                    <a:pt x="795" y="581"/>
                  </a:lnTo>
                  <a:lnTo>
                    <a:pt x="795" y="579"/>
                  </a:lnTo>
                  <a:lnTo>
                    <a:pt x="795" y="581"/>
                  </a:lnTo>
                  <a:lnTo>
                    <a:pt x="795" y="579"/>
                  </a:lnTo>
                  <a:lnTo>
                    <a:pt x="794" y="581"/>
                  </a:lnTo>
                  <a:lnTo>
                    <a:pt x="795" y="581"/>
                  </a:lnTo>
                  <a:lnTo>
                    <a:pt x="795" y="579"/>
                  </a:lnTo>
                  <a:lnTo>
                    <a:pt x="794" y="581"/>
                  </a:lnTo>
                  <a:lnTo>
                    <a:pt x="794" y="581"/>
                  </a:lnTo>
                  <a:lnTo>
                    <a:pt x="795" y="582"/>
                  </a:lnTo>
                  <a:lnTo>
                    <a:pt x="795" y="582"/>
                  </a:lnTo>
                  <a:lnTo>
                    <a:pt x="799" y="588"/>
                  </a:lnTo>
                  <a:lnTo>
                    <a:pt x="799" y="588"/>
                  </a:lnTo>
                  <a:lnTo>
                    <a:pt x="805" y="594"/>
                  </a:lnTo>
                  <a:lnTo>
                    <a:pt x="805" y="594"/>
                  </a:lnTo>
                  <a:lnTo>
                    <a:pt x="812" y="598"/>
                  </a:lnTo>
                  <a:lnTo>
                    <a:pt x="821" y="603"/>
                  </a:lnTo>
                  <a:lnTo>
                    <a:pt x="821" y="603"/>
                  </a:lnTo>
                  <a:lnTo>
                    <a:pt x="828" y="605"/>
                  </a:lnTo>
                  <a:lnTo>
                    <a:pt x="828" y="605"/>
                  </a:lnTo>
                  <a:lnTo>
                    <a:pt x="834" y="608"/>
                  </a:lnTo>
                  <a:lnTo>
                    <a:pt x="834" y="608"/>
                  </a:lnTo>
                  <a:lnTo>
                    <a:pt x="840" y="611"/>
                  </a:lnTo>
                  <a:lnTo>
                    <a:pt x="840" y="611"/>
                  </a:lnTo>
                  <a:lnTo>
                    <a:pt x="854" y="616"/>
                  </a:lnTo>
                  <a:lnTo>
                    <a:pt x="868" y="617"/>
                  </a:lnTo>
                  <a:lnTo>
                    <a:pt x="868" y="617"/>
                  </a:lnTo>
                  <a:lnTo>
                    <a:pt x="881" y="621"/>
                  </a:lnTo>
                  <a:lnTo>
                    <a:pt x="881" y="621"/>
                  </a:lnTo>
                  <a:lnTo>
                    <a:pt x="888" y="623"/>
                  </a:lnTo>
                  <a:lnTo>
                    <a:pt x="894" y="623"/>
                  </a:lnTo>
                  <a:lnTo>
                    <a:pt x="894" y="623"/>
                  </a:lnTo>
                  <a:lnTo>
                    <a:pt x="899" y="623"/>
                  </a:lnTo>
                  <a:lnTo>
                    <a:pt x="905" y="620"/>
                  </a:lnTo>
                  <a:lnTo>
                    <a:pt x="905" y="620"/>
                  </a:lnTo>
                  <a:lnTo>
                    <a:pt x="910" y="618"/>
                  </a:lnTo>
                  <a:lnTo>
                    <a:pt x="914" y="618"/>
                  </a:lnTo>
                  <a:lnTo>
                    <a:pt x="914" y="618"/>
                  </a:lnTo>
                  <a:lnTo>
                    <a:pt x="920" y="617"/>
                  </a:lnTo>
                  <a:lnTo>
                    <a:pt x="924" y="614"/>
                  </a:lnTo>
                  <a:lnTo>
                    <a:pt x="924" y="614"/>
                  </a:lnTo>
                  <a:lnTo>
                    <a:pt x="928" y="608"/>
                  </a:lnTo>
                  <a:lnTo>
                    <a:pt x="934" y="603"/>
                  </a:lnTo>
                  <a:lnTo>
                    <a:pt x="934" y="603"/>
                  </a:lnTo>
                  <a:lnTo>
                    <a:pt x="937" y="597"/>
                  </a:lnTo>
                  <a:lnTo>
                    <a:pt x="939" y="591"/>
                  </a:lnTo>
                  <a:lnTo>
                    <a:pt x="940" y="579"/>
                  </a:lnTo>
                  <a:lnTo>
                    <a:pt x="940" y="579"/>
                  </a:lnTo>
                  <a:lnTo>
                    <a:pt x="940" y="575"/>
                  </a:lnTo>
                  <a:lnTo>
                    <a:pt x="940" y="575"/>
                  </a:lnTo>
                  <a:lnTo>
                    <a:pt x="939" y="572"/>
                  </a:lnTo>
                  <a:lnTo>
                    <a:pt x="937" y="572"/>
                  </a:lnTo>
                  <a:lnTo>
                    <a:pt x="939" y="572"/>
                  </a:lnTo>
                  <a:lnTo>
                    <a:pt x="939" y="572"/>
                  </a:lnTo>
                  <a:lnTo>
                    <a:pt x="937" y="572"/>
                  </a:lnTo>
                  <a:lnTo>
                    <a:pt x="939" y="572"/>
                  </a:lnTo>
                  <a:lnTo>
                    <a:pt x="939" y="572"/>
                  </a:lnTo>
                  <a:lnTo>
                    <a:pt x="939" y="572"/>
                  </a:lnTo>
                  <a:lnTo>
                    <a:pt x="939" y="572"/>
                  </a:lnTo>
                  <a:lnTo>
                    <a:pt x="939" y="572"/>
                  </a:lnTo>
                  <a:lnTo>
                    <a:pt x="939" y="572"/>
                  </a:lnTo>
                  <a:lnTo>
                    <a:pt x="939" y="572"/>
                  </a:lnTo>
                  <a:lnTo>
                    <a:pt x="939" y="571"/>
                  </a:lnTo>
                  <a:lnTo>
                    <a:pt x="939" y="571"/>
                  </a:lnTo>
                  <a:lnTo>
                    <a:pt x="939" y="558"/>
                  </a:lnTo>
                  <a:lnTo>
                    <a:pt x="939" y="558"/>
                  </a:lnTo>
                  <a:lnTo>
                    <a:pt x="937" y="552"/>
                  </a:lnTo>
                  <a:lnTo>
                    <a:pt x="937" y="552"/>
                  </a:lnTo>
                  <a:lnTo>
                    <a:pt x="936" y="549"/>
                  </a:lnTo>
                  <a:lnTo>
                    <a:pt x="936" y="549"/>
                  </a:lnTo>
                  <a:lnTo>
                    <a:pt x="934" y="546"/>
                  </a:lnTo>
                  <a:lnTo>
                    <a:pt x="934" y="546"/>
                  </a:lnTo>
                  <a:lnTo>
                    <a:pt x="930" y="542"/>
                  </a:lnTo>
                  <a:lnTo>
                    <a:pt x="930" y="542"/>
                  </a:lnTo>
                  <a:lnTo>
                    <a:pt x="925" y="536"/>
                  </a:lnTo>
                  <a:lnTo>
                    <a:pt x="925" y="536"/>
                  </a:lnTo>
                  <a:lnTo>
                    <a:pt x="920" y="532"/>
                  </a:lnTo>
                  <a:lnTo>
                    <a:pt x="920" y="532"/>
                  </a:lnTo>
                  <a:lnTo>
                    <a:pt x="915" y="530"/>
                  </a:lnTo>
                  <a:lnTo>
                    <a:pt x="915" y="530"/>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0" y="529"/>
                  </a:lnTo>
                  <a:lnTo>
                    <a:pt x="910" y="529"/>
                  </a:lnTo>
                  <a:lnTo>
                    <a:pt x="905" y="524"/>
                  </a:lnTo>
                  <a:lnTo>
                    <a:pt x="905" y="524"/>
                  </a:lnTo>
                  <a:lnTo>
                    <a:pt x="898" y="521"/>
                  </a:lnTo>
                  <a:lnTo>
                    <a:pt x="898" y="521"/>
                  </a:lnTo>
                  <a:lnTo>
                    <a:pt x="891" y="520"/>
                  </a:lnTo>
                  <a:lnTo>
                    <a:pt x="891" y="520"/>
                  </a:lnTo>
                  <a:lnTo>
                    <a:pt x="888" y="519"/>
                  </a:lnTo>
                  <a:lnTo>
                    <a:pt x="886" y="517"/>
                  </a:lnTo>
                  <a:lnTo>
                    <a:pt x="886" y="517"/>
                  </a:lnTo>
                  <a:lnTo>
                    <a:pt x="881" y="511"/>
                  </a:lnTo>
                  <a:lnTo>
                    <a:pt x="881" y="511"/>
                  </a:lnTo>
                  <a:lnTo>
                    <a:pt x="875" y="505"/>
                  </a:lnTo>
                  <a:lnTo>
                    <a:pt x="875" y="505"/>
                  </a:lnTo>
                  <a:lnTo>
                    <a:pt x="862" y="495"/>
                  </a:lnTo>
                  <a:lnTo>
                    <a:pt x="862" y="495"/>
                  </a:lnTo>
                  <a:lnTo>
                    <a:pt x="852" y="488"/>
                  </a:lnTo>
                  <a:lnTo>
                    <a:pt x="852" y="488"/>
                  </a:lnTo>
                  <a:lnTo>
                    <a:pt x="849" y="485"/>
                  </a:lnTo>
                  <a:lnTo>
                    <a:pt x="843" y="484"/>
                  </a:lnTo>
                  <a:lnTo>
                    <a:pt x="834" y="482"/>
                  </a:lnTo>
                  <a:lnTo>
                    <a:pt x="834" y="482"/>
                  </a:lnTo>
                  <a:lnTo>
                    <a:pt x="830" y="482"/>
                  </a:lnTo>
                  <a:lnTo>
                    <a:pt x="830" y="482"/>
                  </a:lnTo>
                  <a:lnTo>
                    <a:pt x="828" y="482"/>
                  </a:lnTo>
                  <a:lnTo>
                    <a:pt x="828" y="482"/>
                  </a:lnTo>
                  <a:lnTo>
                    <a:pt x="824" y="481"/>
                  </a:lnTo>
                  <a:lnTo>
                    <a:pt x="824" y="481"/>
                  </a:lnTo>
                  <a:lnTo>
                    <a:pt x="818" y="481"/>
                  </a:lnTo>
                  <a:lnTo>
                    <a:pt x="817" y="481"/>
                  </a:lnTo>
                  <a:lnTo>
                    <a:pt x="815" y="481"/>
                  </a:lnTo>
                  <a:lnTo>
                    <a:pt x="815" y="481"/>
                  </a:lnTo>
                  <a:lnTo>
                    <a:pt x="814" y="479"/>
                  </a:lnTo>
                  <a:lnTo>
                    <a:pt x="814" y="479"/>
                  </a:lnTo>
                  <a:lnTo>
                    <a:pt x="812" y="478"/>
                  </a:lnTo>
                  <a:lnTo>
                    <a:pt x="812" y="478"/>
                  </a:lnTo>
                  <a:lnTo>
                    <a:pt x="811" y="475"/>
                  </a:lnTo>
                  <a:lnTo>
                    <a:pt x="811" y="475"/>
                  </a:lnTo>
                  <a:lnTo>
                    <a:pt x="808" y="475"/>
                  </a:lnTo>
                  <a:lnTo>
                    <a:pt x="808" y="475"/>
                  </a:lnTo>
                  <a:lnTo>
                    <a:pt x="805" y="475"/>
                  </a:lnTo>
                  <a:lnTo>
                    <a:pt x="805" y="475"/>
                  </a:lnTo>
                  <a:lnTo>
                    <a:pt x="798" y="481"/>
                  </a:lnTo>
                  <a:lnTo>
                    <a:pt x="797" y="481"/>
                  </a:lnTo>
                  <a:lnTo>
                    <a:pt x="798" y="482"/>
                  </a:lnTo>
                  <a:lnTo>
                    <a:pt x="798" y="481"/>
                  </a:lnTo>
                  <a:lnTo>
                    <a:pt x="797" y="481"/>
                  </a:lnTo>
                  <a:lnTo>
                    <a:pt x="798" y="482"/>
                  </a:lnTo>
                  <a:lnTo>
                    <a:pt x="798" y="481"/>
                  </a:lnTo>
                  <a:lnTo>
                    <a:pt x="798" y="482"/>
                  </a:lnTo>
                  <a:lnTo>
                    <a:pt x="799" y="482"/>
                  </a:lnTo>
                  <a:lnTo>
                    <a:pt x="799" y="482"/>
                  </a:lnTo>
                  <a:lnTo>
                    <a:pt x="798" y="481"/>
                  </a:lnTo>
                  <a:lnTo>
                    <a:pt x="798" y="482"/>
                  </a:lnTo>
                  <a:lnTo>
                    <a:pt x="799" y="482"/>
                  </a:lnTo>
                  <a:lnTo>
                    <a:pt x="798" y="482"/>
                  </a:lnTo>
                  <a:lnTo>
                    <a:pt x="799" y="482"/>
                  </a:lnTo>
                  <a:lnTo>
                    <a:pt x="799" y="482"/>
                  </a:lnTo>
                  <a:lnTo>
                    <a:pt x="799" y="482"/>
                  </a:lnTo>
                  <a:lnTo>
                    <a:pt x="798" y="482"/>
                  </a:lnTo>
                  <a:lnTo>
                    <a:pt x="799" y="482"/>
                  </a:lnTo>
                  <a:lnTo>
                    <a:pt x="799" y="482"/>
                  </a:lnTo>
                  <a:lnTo>
                    <a:pt x="799" y="482"/>
                  </a:lnTo>
                  <a:lnTo>
                    <a:pt x="799" y="482"/>
                  </a:lnTo>
                  <a:lnTo>
                    <a:pt x="799" y="482"/>
                  </a:lnTo>
                  <a:lnTo>
                    <a:pt x="799" y="482"/>
                  </a:lnTo>
                  <a:lnTo>
                    <a:pt x="799" y="482"/>
                  </a:lnTo>
                  <a:lnTo>
                    <a:pt x="801" y="481"/>
                  </a:lnTo>
                  <a:lnTo>
                    <a:pt x="801" y="481"/>
                  </a:lnTo>
                  <a:lnTo>
                    <a:pt x="801" y="476"/>
                  </a:lnTo>
                  <a:lnTo>
                    <a:pt x="801" y="476"/>
                  </a:lnTo>
                  <a:lnTo>
                    <a:pt x="801" y="474"/>
                  </a:lnTo>
                  <a:lnTo>
                    <a:pt x="801" y="474"/>
                  </a:lnTo>
                  <a:lnTo>
                    <a:pt x="799" y="472"/>
                  </a:lnTo>
                  <a:lnTo>
                    <a:pt x="798" y="472"/>
                  </a:lnTo>
                  <a:lnTo>
                    <a:pt x="798" y="472"/>
                  </a:lnTo>
                  <a:lnTo>
                    <a:pt x="794" y="471"/>
                  </a:lnTo>
                  <a:lnTo>
                    <a:pt x="794" y="471"/>
                  </a:lnTo>
                  <a:lnTo>
                    <a:pt x="792" y="471"/>
                  </a:lnTo>
                  <a:lnTo>
                    <a:pt x="792" y="469"/>
                  </a:lnTo>
                  <a:lnTo>
                    <a:pt x="792" y="469"/>
                  </a:lnTo>
                  <a:lnTo>
                    <a:pt x="791" y="471"/>
                  </a:lnTo>
                  <a:lnTo>
                    <a:pt x="792" y="471"/>
                  </a:lnTo>
                  <a:lnTo>
                    <a:pt x="792" y="471"/>
                  </a:lnTo>
                  <a:lnTo>
                    <a:pt x="792" y="469"/>
                  </a:lnTo>
                  <a:lnTo>
                    <a:pt x="791" y="471"/>
                  </a:lnTo>
                  <a:lnTo>
                    <a:pt x="792" y="471"/>
                  </a:lnTo>
                  <a:lnTo>
                    <a:pt x="791" y="471"/>
                  </a:lnTo>
                  <a:lnTo>
                    <a:pt x="792" y="472"/>
                  </a:lnTo>
                  <a:lnTo>
                    <a:pt x="792" y="471"/>
                  </a:lnTo>
                  <a:lnTo>
                    <a:pt x="791" y="471"/>
                  </a:lnTo>
                  <a:lnTo>
                    <a:pt x="792" y="472"/>
                  </a:lnTo>
                  <a:lnTo>
                    <a:pt x="791" y="471"/>
                  </a:lnTo>
                  <a:lnTo>
                    <a:pt x="791" y="472"/>
                  </a:lnTo>
                  <a:lnTo>
                    <a:pt x="791" y="472"/>
                  </a:lnTo>
                  <a:lnTo>
                    <a:pt x="792" y="472"/>
                  </a:lnTo>
                  <a:lnTo>
                    <a:pt x="791" y="471"/>
                  </a:lnTo>
                  <a:lnTo>
                    <a:pt x="791" y="472"/>
                  </a:lnTo>
                  <a:lnTo>
                    <a:pt x="791" y="472"/>
                  </a:lnTo>
                  <a:lnTo>
                    <a:pt x="791" y="472"/>
                  </a:lnTo>
                  <a:lnTo>
                    <a:pt x="791" y="472"/>
                  </a:lnTo>
                  <a:lnTo>
                    <a:pt x="791" y="472"/>
                  </a:lnTo>
                  <a:lnTo>
                    <a:pt x="791" y="472"/>
                  </a:lnTo>
                  <a:lnTo>
                    <a:pt x="791" y="472"/>
                  </a:lnTo>
                  <a:lnTo>
                    <a:pt x="792" y="472"/>
                  </a:lnTo>
                  <a:lnTo>
                    <a:pt x="792" y="472"/>
                  </a:lnTo>
                  <a:lnTo>
                    <a:pt x="797" y="472"/>
                  </a:lnTo>
                  <a:lnTo>
                    <a:pt x="797" y="472"/>
                  </a:lnTo>
                  <a:lnTo>
                    <a:pt x="802" y="469"/>
                  </a:lnTo>
                  <a:lnTo>
                    <a:pt x="802" y="469"/>
                  </a:lnTo>
                  <a:lnTo>
                    <a:pt x="804" y="466"/>
                  </a:lnTo>
                  <a:lnTo>
                    <a:pt x="804" y="466"/>
                  </a:lnTo>
                  <a:lnTo>
                    <a:pt x="805" y="462"/>
                  </a:lnTo>
                  <a:lnTo>
                    <a:pt x="805" y="462"/>
                  </a:lnTo>
                  <a:lnTo>
                    <a:pt x="804" y="459"/>
                  </a:lnTo>
                  <a:lnTo>
                    <a:pt x="804" y="459"/>
                  </a:lnTo>
                  <a:lnTo>
                    <a:pt x="802" y="458"/>
                  </a:lnTo>
                  <a:lnTo>
                    <a:pt x="802" y="458"/>
                  </a:lnTo>
                  <a:lnTo>
                    <a:pt x="795" y="455"/>
                  </a:lnTo>
                  <a:lnTo>
                    <a:pt x="788" y="453"/>
                  </a:lnTo>
                  <a:lnTo>
                    <a:pt x="788" y="453"/>
                  </a:lnTo>
                  <a:lnTo>
                    <a:pt x="782" y="453"/>
                  </a:lnTo>
                  <a:lnTo>
                    <a:pt x="782" y="453"/>
                  </a:lnTo>
                  <a:lnTo>
                    <a:pt x="779" y="456"/>
                  </a:lnTo>
                  <a:lnTo>
                    <a:pt x="779" y="456"/>
                  </a:lnTo>
                  <a:lnTo>
                    <a:pt x="776" y="459"/>
                  </a:lnTo>
                  <a:lnTo>
                    <a:pt x="776" y="459"/>
                  </a:lnTo>
                  <a:lnTo>
                    <a:pt x="770" y="459"/>
                  </a:lnTo>
                  <a:lnTo>
                    <a:pt x="770" y="459"/>
                  </a:lnTo>
                  <a:lnTo>
                    <a:pt x="763" y="459"/>
                  </a:lnTo>
                  <a:lnTo>
                    <a:pt x="763" y="459"/>
                  </a:lnTo>
                  <a:lnTo>
                    <a:pt x="757" y="458"/>
                  </a:lnTo>
                  <a:lnTo>
                    <a:pt x="753" y="456"/>
                  </a:lnTo>
                  <a:lnTo>
                    <a:pt x="753" y="456"/>
                  </a:lnTo>
                  <a:lnTo>
                    <a:pt x="750" y="455"/>
                  </a:lnTo>
                  <a:lnTo>
                    <a:pt x="750" y="455"/>
                  </a:lnTo>
                  <a:lnTo>
                    <a:pt x="750" y="455"/>
                  </a:lnTo>
                  <a:lnTo>
                    <a:pt x="750" y="455"/>
                  </a:lnTo>
                  <a:lnTo>
                    <a:pt x="750" y="455"/>
                  </a:lnTo>
                  <a:lnTo>
                    <a:pt x="750" y="455"/>
                  </a:lnTo>
                  <a:lnTo>
                    <a:pt x="750" y="455"/>
                  </a:lnTo>
                  <a:lnTo>
                    <a:pt x="750" y="455"/>
                  </a:lnTo>
                  <a:lnTo>
                    <a:pt x="750" y="455"/>
                  </a:lnTo>
                  <a:lnTo>
                    <a:pt x="749" y="452"/>
                  </a:lnTo>
                  <a:lnTo>
                    <a:pt x="749" y="452"/>
                  </a:lnTo>
                  <a:lnTo>
                    <a:pt x="746" y="449"/>
                  </a:lnTo>
                  <a:lnTo>
                    <a:pt x="746" y="449"/>
                  </a:lnTo>
                  <a:lnTo>
                    <a:pt x="739" y="446"/>
                  </a:lnTo>
                  <a:lnTo>
                    <a:pt x="739" y="446"/>
                  </a:lnTo>
                  <a:lnTo>
                    <a:pt x="736" y="445"/>
                  </a:lnTo>
                  <a:lnTo>
                    <a:pt x="736" y="445"/>
                  </a:lnTo>
                  <a:lnTo>
                    <a:pt x="734" y="443"/>
                  </a:lnTo>
                  <a:lnTo>
                    <a:pt x="734" y="443"/>
                  </a:lnTo>
                  <a:lnTo>
                    <a:pt x="733" y="445"/>
                  </a:lnTo>
                  <a:lnTo>
                    <a:pt x="734" y="445"/>
                  </a:lnTo>
                  <a:lnTo>
                    <a:pt x="734" y="443"/>
                  </a:lnTo>
                  <a:lnTo>
                    <a:pt x="733" y="445"/>
                  </a:lnTo>
                  <a:lnTo>
                    <a:pt x="734" y="445"/>
                  </a:lnTo>
                  <a:lnTo>
                    <a:pt x="733" y="445"/>
                  </a:lnTo>
                  <a:lnTo>
                    <a:pt x="734" y="445"/>
                  </a:lnTo>
                  <a:lnTo>
                    <a:pt x="734" y="445"/>
                  </a:lnTo>
                  <a:lnTo>
                    <a:pt x="733" y="445"/>
                  </a:lnTo>
                  <a:lnTo>
                    <a:pt x="734" y="445"/>
                  </a:lnTo>
                  <a:lnTo>
                    <a:pt x="731" y="445"/>
                  </a:lnTo>
                  <a:lnTo>
                    <a:pt x="733" y="446"/>
                  </a:lnTo>
                  <a:lnTo>
                    <a:pt x="733" y="446"/>
                  </a:lnTo>
                  <a:lnTo>
                    <a:pt x="734" y="445"/>
                  </a:lnTo>
                  <a:lnTo>
                    <a:pt x="731" y="445"/>
                  </a:lnTo>
                  <a:lnTo>
                    <a:pt x="733" y="446"/>
                  </a:lnTo>
                  <a:lnTo>
                    <a:pt x="733" y="445"/>
                  </a:lnTo>
                  <a:lnTo>
                    <a:pt x="733" y="446"/>
                  </a:lnTo>
                  <a:lnTo>
                    <a:pt x="733" y="446"/>
                  </a:lnTo>
                  <a:lnTo>
                    <a:pt x="733" y="445"/>
                  </a:lnTo>
                  <a:lnTo>
                    <a:pt x="733" y="446"/>
                  </a:lnTo>
                  <a:lnTo>
                    <a:pt x="733" y="446"/>
                  </a:lnTo>
                  <a:lnTo>
                    <a:pt x="733" y="446"/>
                  </a:lnTo>
                  <a:lnTo>
                    <a:pt x="733" y="446"/>
                  </a:lnTo>
                  <a:lnTo>
                    <a:pt x="733" y="446"/>
                  </a:lnTo>
                  <a:lnTo>
                    <a:pt x="733" y="446"/>
                  </a:lnTo>
                  <a:lnTo>
                    <a:pt x="734" y="446"/>
                  </a:lnTo>
                  <a:lnTo>
                    <a:pt x="734" y="446"/>
                  </a:lnTo>
                  <a:lnTo>
                    <a:pt x="746" y="449"/>
                  </a:lnTo>
                  <a:lnTo>
                    <a:pt x="746" y="449"/>
                  </a:lnTo>
                  <a:lnTo>
                    <a:pt x="752" y="449"/>
                  </a:lnTo>
                  <a:lnTo>
                    <a:pt x="752" y="449"/>
                  </a:lnTo>
                  <a:lnTo>
                    <a:pt x="756" y="449"/>
                  </a:lnTo>
                  <a:lnTo>
                    <a:pt x="756" y="449"/>
                  </a:lnTo>
                  <a:lnTo>
                    <a:pt x="759" y="446"/>
                  </a:lnTo>
                  <a:lnTo>
                    <a:pt x="759" y="446"/>
                  </a:lnTo>
                  <a:lnTo>
                    <a:pt x="765" y="442"/>
                  </a:lnTo>
                  <a:lnTo>
                    <a:pt x="765" y="442"/>
                  </a:lnTo>
                  <a:lnTo>
                    <a:pt x="770" y="436"/>
                  </a:lnTo>
                  <a:lnTo>
                    <a:pt x="770" y="436"/>
                  </a:lnTo>
                  <a:lnTo>
                    <a:pt x="772" y="432"/>
                  </a:lnTo>
                  <a:lnTo>
                    <a:pt x="772" y="432"/>
                  </a:lnTo>
                  <a:lnTo>
                    <a:pt x="772" y="429"/>
                  </a:lnTo>
                  <a:lnTo>
                    <a:pt x="770" y="427"/>
                  </a:lnTo>
                  <a:lnTo>
                    <a:pt x="770" y="427"/>
                  </a:lnTo>
                  <a:lnTo>
                    <a:pt x="768" y="426"/>
                  </a:lnTo>
                  <a:lnTo>
                    <a:pt x="765" y="424"/>
                  </a:lnTo>
                  <a:lnTo>
                    <a:pt x="765" y="424"/>
                  </a:lnTo>
                  <a:lnTo>
                    <a:pt x="763" y="424"/>
                  </a:lnTo>
                  <a:lnTo>
                    <a:pt x="763" y="424"/>
                  </a:lnTo>
                  <a:lnTo>
                    <a:pt x="760" y="421"/>
                  </a:lnTo>
                  <a:lnTo>
                    <a:pt x="760" y="421"/>
                  </a:lnTo>
                  <a:lnTo>
                    <a:pt x="757" y="419"/>
                  </a:lnTo>
                  <a:lnTo>
                    <a:pt x="753" y="417"/>
                  </a:lnTo>
                  <a:lnTo>
                    <a:pt x="753" y="417"/>
                  </a:lnTo>
                  <a:lnTo>
                    <a:pt x="750" y="416"/>
                  </a:lnTo>
                  <a:lnTo>
                    <a:pt x="750" y="416"/>
                  </a:lnTo>
                  <a:lnTo>
                    <a:pt x="749" y="414"/>
                  </a:lnTo>
                  <a:lnTo>
                    <a:pt x="749" y="414"/>
                  </a:lnTo>
                  <a:lnTo>
                    <a:pt x="747" y="414"/>
                  </a:lnTo>
                  <a:lnTo>
                    <a:pt x="747" y="414"/>
                  </a:lnTo>
                  <a:lnTo>
                    <a:pt x="744" y="414"/>
                  </a:lnTo>
                  <a:lnTo>
                    <a:pt x="743" y="414"/>
                  </a:lnTo>
                  <a:lnTo>
                    <a:pt x="743" y="414"/>
                  </a:lnTo>
                  <a:lnTo>
                    <a:pt x="743" y="416"/>
                  </a:lnTo>
                  <a:lnTo>
                    <a:pt x="743" y="414"/>
                  </a:lnTo>
                  <a:lnTo>
                    <a:pt x="743" y="414"/>
                  </a:lnTo>
                  <a:lnTo>
                    <a:pt x="743" y="416"/>
                  </a:lnTo>
                  <a:lnTo>
                    <a:pt x="743" y="414"/>
                  </a:lnTo>
                  <a:lnTo>
                    <a:pt x="743" y="416"/>
                  </a:lnTo>
                  <a:lnTo>
                    <a:pt x="744" y="416"/>
                  </a:lnTo>
                  <a:lnTo>
                    <a:pt x="743" y="414"/>
                  </a:lnTo>
                  <a:lnTo>
                    <a:pt x="743" y="416"/>
                  </a:lnTo>
                  <a:lnTo>
                    <a:pt x="744" y="416"/>
                  </a:lnTo>
                  <a:lnTo>
                    <a:pt x="744" y="416"/>
                  </a:lnTo>
                  <a:lnTo>
                    <a:pt x="744" y="416"/>
                  </a:lnTo>
                  <a:lnTo>
                    <a:pt x="744" y="416"/>
                  </a:lnTo>
                  <a:lnTo>
                    <a:pt x="744" y="416"/>
                  </a:lnTo>
                  <a:lnTo>
                    <a:pt x="744" y="416"/>
                  </a:lnTo>
                  <a:lnTo>
                    <a:pt x="744" y="416"/>
                  </a:lnTo>
                  <a:lnTo>
                    <a:pt x="744" y="414"/>
                  </a:lnTo>
                  <a:lnTo>
                    <a:pt x="744" y="414"/>
                  </a:lnTo>
                  <a:lnTo>
                    <a:pt x="743" y="410"/>
                  </a:lnTo>
                  <a:lnTo>
                    <a:pt x="742" y="406"/>
                  </a:lnTo>
                  <a:lnTo>
                    <a:pt x="742" y="406"/>
                  </a:lnTo>
                  <a:lnTo>
                    <a:pt x="742" y="406"/>
                  </a:lnTo>
                  <a:lnTo>
                    <a:pt x="739" y="404"/>
                  </a:lnTo>
                  <a:lnTo>
                    <a:pt x="736" y="404"/>
                  </a:lnTo>
                  <a:lnTo>
                    <a:pt x="736" y="404"/>
                  </a:lnTo>
                  <a:lnTo>
                    <a:pt x="733" y="404"/>
                  </a:lnTo>
                  <a:lnTo>
                    <a:pt x="733" y="404"/>
                  </a:lnTo>
                  <a:lnTo>
                    <a:pt x="730" y="407"/>
                  </a:lnTo>
                  <a:lnTo>
                    <a:pt x="727" y="411"/>
                  </a:lnTo>
                  <a:lnTo>
                    <a:pt x="727" y="411"/>
                  </a:lnTo>
                  <a:lnTo>
                    <a:pt x="727" y="411"/>
                  </a:lnTo>
                  <a:lnTo>
                    <a:pt x="724" y="417"/>
                  </a:lnTo>
                  <a:lnTo>
                    <a:pt x="724" y="417"/>
                  </a:lnTo>
                  <a:lnTo>
                    <a:pt x="724" y="420"/>
                  </a:lnTo>
                  <a:lnTo>
                    <a:pt x="724" y="420"/>
                  </a:lnTo>
                  <a:lnTo>
                    <a:pt x="723" y="421"/>
                  </a:lnTo>
                  <a:lnTo>
                    <a:pt x="721" y="421"/>
                  </a:lnTo>
                  <a:lnTo>
                    <a:pt x="723" y="423"/>
                  </a:lnTo>
                  <a:lnTo>
                    <a:pt x="723" y="421"/>
                  </a:lnTo>
                  <a:lnTo>
                    <a:pt x="721" y="421"/>
                  </a:lnTo>
                  <a:lnTo>
                    <a:pt x="723" y="423"/>
                  </a:lnTo>
                  <a:lnTo>
                    <a:pt x="723" y="421"/>
                  </a:lnTo>
                  <a:lnTo>
                    <a:pt x="723" y="423"/>
                  </a:lnTo>
                  <a:lnTo>
                    <a:pt x="724" y="423"/>
                  </a:lnTo>
                  <a:lnTo>
                    <a:pt x="724" y="423"/>
                  </a:lnTo>
                  <a:lnTo>
                    <a:pt x="723" y="421"/>
                  </a:lnTo>
                  <a:lnTo>
                    <a:pt x="723" y="423"/>
                  </a:lnTo>
                  <a:lnTo>
                    <a:pt x="724" y="423"/>
                  </a:lnTo>
                  <a:lnTo>
                    <a:pt x="723" y="423"/>
                  </a:lnTo>
                  <a:lnTo>
                    <a:pt x="724" y="423"/>
                  </a:lnTo>
                  <a:lnTo>
                    <a:pt x="724" y="423"/>
                  </a:lnTo>
                  <a:lnTo>
                    <a:pt x="724" y="423"/>
                  </a:lnTo>
                  <a:lnTo>
                    <a:pt x="723" y="423"/>
                  </a:lnTo>
                  <a:lnTo>
                    <a:pt x="724" y="423"/>
                  </a:lnTo>
                  <a:lnTo>
                    <a:pt x="723" y="423"/>
                  </a:lnTo>
                  <a:lnTo>
                    <a:pt x="724" y="423"/>
                  </a:lnTo>
                  <a:lnTo>
                    <a:pt x="724" y="423"/>
                  </a:lnTo>
                  <a:lnTo>
                    <a:pt x="723" y="423"/>
                  </a:lnTo>
                  <a:lnTo>
                    <a:pt x="724" y="423"/>
                  </a:lnTo>
                  <a:lnTo>
                    <a:pt x="724" y="423"/>
                  </a:lnTo>
                  <a:lnTo>
                    <a:pt x="724" y="423"/>
                  </a:lnTo>
                  <a:lnTo>
                    <a:pt x="724" y="423"/>
                  </a:lnTo>
                  <a:lnTo>
                    <a:pt x="726" y="420"/>
                  </a:lnTo>
                  <a:lnTo>
                    <a:pt x="726" y="420"/>
                  </a:lnTo>
                  <a:lnTo>
                    <a:pt x="726" y="420"/>
                  </a:lnTo>
                  <a:lnTo>
                    <a:pt x="726" y="420"/>
                  </a:lnTo>
                  <a:lnTo>
                    <a:pt x="727" y="419"/>
                  </a:lnTo>
                  <a:lnTo>
                    <a:pt x="727" y="419"/>
                  </a:lnTo>
                  <a:lnTo>
                    <a:pt x="726" y="417"/>
                  </a:lnTo>
                  <a:lnTo>
                    <a:pt x="726" y="417"/>
                  </a:lnTo>
                  <a:lnTo>
                    <a:pt x="724" y="416"/>
                  </a:lnTo>
                  <a:lnTo>
                    <a:pt x="723" y="416"/>
                  </a:lnTo>
                  <a:lnTo>
                    <a:pt x="723" y="416"/>
                  </a:lnTo>
                  <a:lnTo>
                    <a:pt x="721" y="416"/>
                  </a:lnTo>
                  <a:lnTo>
                    <a:pt x="721" y="416"/>
                  </a:lnTo>
                  <a:lnTo>
                    <a:pt x="720" y="416"/>
                  </a:lnTo>
                  <a:lnTo>
                    <a:pt x="720" y="416"/>
                  </a:lnTo>
                  <a:lnTo>
                    <a:pt x="718" y="417"/>
                  </a:lnTo>
                  <a:lnTo>
                    <a:pt x="720" y="416"/>
                  </a:lnTo>
                  <a:lnTo>
                    <a:pt x="720" y="416"/>
                  </a:lnTo>
                  <a:lnTo>
                    <a:pt x="718" y="417"/>
                  </a:lnTo>
                  <a:lnTo>
                    <a:pt x="720" y="416"/>
                  </a:lnTo>
                  <a:lnTo>
                    <a:pt x="718" y="417"/>
                  </a:lnTo>
                  <a:lnTo>
                    <a:pt x="720" y="417"/>
                  </a:lnTo>
                  <a:lnTo>
                    <a:pt x="720" y="416"/>
                  </a:lnTo>
                  <a:lnTo>
                    <a:pt x="718" y="417"/>
                  </a:lnTo>
                  <a:lnTo>
                    <a:pt x="720" y="417"/>
                  </a:lnTo>
                  <a:lnTo>
                    <a:pt x="720" y="417"/>
                  </a:lnTo>
                  <a:lnTo>
                    <a:pt x="720" y="417"/>
                  </a:lnTo>
                  <a:lnTo>
                    <a:pt x="720" y="417"/>
                  </a:lnTo>
                  <a:lnTo>
                    <a:pt x="720" y="417"/>
                  </a:lnTo>
                  <a:lnTo>
                    <a:pt x="720" y="417"/>
                  </a:lnTo>
                  <a:lnTo>
                    <a:pt x="720" y="416"/>
                  </a:lnTo>
                  <a:lnTo>
                    <a:pt x="720" y="416"/>
                  </a:lnTo>
                  <a:lnTo>
                    <a:pt x="721" y="416"/>
                  </a:lnTo>
                  <a:lnTo>
                    <a:pt x="721" y="416"/>
                  </a:lnTo>
                  <a:lnTo>
                    <a:pt x="721" y="416"/>
                  </a:lnTo>
                  <a:lnTo>
                    <a:pt x="721" y="416"/>
                  </a:lnTo>
                  <a:lnTo>
                    <a:pt x="727" y="410"/>
                  </a:lnTo>
                  <a:lnTo>
                    <a:pt x="727" y="410"/>
                  </a:lnTo>
                  <a:lnTo>
                    <a:pt x="728" y="406"/>
                  </a:lnTo>
                  <a:lnTo>
                    <a:pt x="728" y="406"/>
                  </a:lnTo>
                  <a:lnTo>
                    <a:pt x="728" y="403"/>
                  </a:lnTo>
                  <a:lnTo>
                    <a:pt x="728" y="403"/>
                  </a:lnTo>
                  <a:lnTo>
                    <a:pt x="728" y="400"/>
                  </a:lnTo>
                  <a:lnTo>
                    <a:pt x="728" y="400"/>
                  </a:lnTo>
                  <a:lnTo>
                    <a:pt x="727" y="397"/>
                  </a:lnTo>
                  <a:lnTo>
                    <a:pt x="727" y="397"/>
                  </a:lnTo>
                  <a:lnTo>
                    <a:pt x="724" y="395"/>
                  </a:lnTo>
                  <a:lnTo>
                    <a:pt x="724" y="395"/>
                  </a:lnTo>
                  <a:lnTo>
                    <a:pt x="723" y="394"/>
                  </a:lnTo>
                  <a:lnTo>
                    <a:pt x="723" y="394"/>
                  </a:lnTo>
                  <a:lnTo>
                    <a:pt x="718" y="395"/>
                  </a:lnTo>
                  <a:lnTo>
                    <a:pt x="718" y="395"/>
                  </a:lnTo>
                  <a:lnTo>
                    <a:pt x="718" y="395"/>
                  </a:lnTo>
                  <a:lnTo>
                    <a:pt x="718" y="395"/>
                  </a:lnTo>
                  <a:lnTo>
                    <a:pt x="715" y="395"/>
                  </a:lnTo>
                  <a:lnTo>
                    <a:pt x="715" y="395"/>
                  </a:lnTo>
                  <a:lnTo>
                    <a:pt x="713" y="394"/>
                  </a:lnTo>
                  <a:lnTo>
                    <a:pt x="713" y="394"/>
                  </a:lnTo>
                  <a:lnTo>
                    <a:pt x="711" y="395"/>
                  </a:lnTo>
                  <a:lnTo>
                    <a:pt x="708" y="395"/>
                  </a:lnTo>
                  <a:lnTo>
                    <a:pt x="708" y="395"/>
                  </a:lnTo>
                  <a:lnTo>
                    <a:pt x="707" y="400"/>
                  </a:lnTo>
                  <a:lnTo>
                    <a:pt x="707" y="400"/>
                  </a:lnTo>
                  <a:lnTo>
                    <a:pt x="702" y="410"/>
                  </a:lnTo>
                  <a:lnTo>
                    <a:pt x="702" y="410"/>
                  </a:lnTo>
                  <a:lnTo>
                    <a:pt x="701" y="419"/>
                  </a:lnTo>
                  <a:lnTo>
                    <a:pt x="701" y="419"/>
                  </a:lnTo>
                  <a:lnTo>
                    <a:pt x="701" y="421"/>
                  </a:lnTo>
                  <a:lnTo>
                    <a:pt x="701" y="421"/>
                  </a:lnTo>
                  <a:lnTo>
                    <a:pt x="701" y="421"/>
                  </a:lnTo>
                  <a:lnTo>
                    <a:pt x="701" y="421"/>
                  </a:lnTo>
                  <a:lnTo>
                    <a:pt x="700" y="421"/>
                  </a:lnTo>
                  <a:lnTo>
                    <a:pt x="698" y="421"/>
                  </a:lnTo>
                  <a:lnTo>
                    <a:pt x="698" y="423"/>
                  </a:lnTo>
                  <a:lnTo>
                    <a:pt x="700" y="423"/>
                  </a:lnTo>
                  <a:lnTo>
                    <a:pt x="700" y="423"/>
                  </a:lnTo>
                  <a:lnTo>
                    <a:pt x="698" y="421"/>
                  </a:lnTo>
                  <a:lnTo>
                    <a:pt x="698" y="423"/>
                  </a:lnTo>
                  <a:lnTo>
                    <a:pt x="700" y="423"/>
                  </a:lnTo>
                  <a:lnTo>
                    <a:pt x="698" y="423"/>
                  </a:lnTo>
                  <a:lnTo>
                    <a:pt x="700" y="423"/>
                  </a:lnTo>
                  <a:lnTo>
                    <a:pt x="700" y="423"/>
                  </a:lnTo>
                  <a:lnTo>
                    <a:pt x="698" y="423"/>
                  </a:lnTo>
                  <a:lnTo>
                    <a:pt x="700" y="423"/>
                  </a:lnTo>
                  <a:lnTo>
                    <a:pt x="700" y="423"/>
                  </a:lnTo>
                  <a:lnTo>
                    <a:pt x="700" y="423"/>
                  </a:lnTo>
                  <a:lnTo>
                    <a:pt x="700" y="423"/>
                  </a:lnTo>
                  <a:lnTo>
                    <a:pt x="700" y="423"/>
                  </a:lnTo>
                  <a:lnTo>
                    <a:pt x="700" y="423"/>
                  </a:lnTo>
                  <a:lnTo>
                    <a:pt x="700" y="423"/>
                  </a:lnTo>
                  <a:lnTo>
                    <a:pt x="700" y="420"/>
                  </a:lnTo>
                  <a:lnTo>
                    <a:pt x="700" y="420"/>
                  </a:lnTo>
                  <a:lnTo>
                    <a:pt x="701" y="407"/>
                  </a:lnTo>
                  <a:lnTo>
                    <a:pt x="701" y="407"/>
                  </a:lnTo>
                  <a:lnTo>
                    <a:pt x="702" y="400"/>
                  </a:lnTo>
                  <a:lnTo>
                    <a:pt x="702" y="400"/>
                  </a:lnTo>
                  <a:lnTo>
                    <a:pt x="702" y="398"/>
                  </a:lnTo>
                  <a:lnTo>
                    <a:pt x="702" y="398"/>
                  </a:lnTo>
                  <a:lnTo>
                    <a:pt x="702" y="397"/>
                  </a:lnTo>
                  <a:lnTo>
                    <a:pt x="702" y="397"/>
                  </a:lnTo>
                  <a:lnTo>
                    <a:pt x="704" y="395"/>
                  </a:lnTo>
                  <a:lnTo>
                    <a:pt x="704" y="395"/>
                  </a:lnTo>
                  <a:lnTo>
                    <a:pt x="702" y="394"/>
                  </a:lnTo>
                  <a:lnTo>
                    <a:pt x="702" y="394"/>
                  </a:lnTo>
                  <a:lnTo>
                    <a:pt x="701" y="392"/>
                  </a:lnTo>
                  <a:lnTo>
                    <a:pt x="701" y="392"/>
                  </a:lnTo>
                  <a:lnTo>
                    <a:pt x="700" y="392"/>
                  </a:lnTo>
                  <a:lnTo>
                    <a:pt x="700" y="392"/>
                  </a:lnTo>
                  <a:lnTo>
                    <a:pt x="697" y="394"/>
                  </a:lnTo>
                  <a:lnTo>
                    <a:pt x="697" y="394"/>
                  </a:lnTo>
                  <a:lnTo>
                    <a:pt x="689" y="401"/>
                  </a:lnTo>
                  <a:lnTo>
                    <a:pt x="689" y="401"/>
                  </a:lnTo>
                  <a:lnTo>
                    <a:pt x="684" y="411"/>
                  </a:lnTo>
                  <a:lnTo>
                    <a:pt x="684" y="411"/>
                  </a:lnTo>
                  <a:lnTo>
                    <a:pt x="679" y="420"/>
                  </a:lnTo>
                  <a:lnTo>
                    <a:pt x="679" y="420"/>
                  </a:lnTo>
                  <a:lnTo>
                    <a:pt x="678" y="426"/>
                  </a:lnTo>
                  <a:lnTo>
                    <a:pt x="678" y="426"/>
                  </a:lnTo>
                  <a:lnTo>
                    <a:pt x="675" y="434"/>
                  </a:lnTo>
                  <a:lnTo>
                    <a:pt x="675" y="434"/>
                  </a:lnTo>
                  <a:lnTo>
                    <a:pt x="671" y="443"/>
                  </a:lnTo>
                  <a:lnTo>
                    <a:pt x="671" y="443"/>
                  </a:lnTo>
                  <a:lnTo>
                    <a:pt x="671" y="443"/>
                  </a:lnTo>
                  <a:lnTo>
                    <a:pt x="672" y="445"/>
                  </a:lnTo>
                  <a:lnTo>
                    <a:pt x="671" y="443"/>
                  </a:lnTo>
                  <a:lnTo>
                    <a:pt x="671" y="443"/>
                  </a:lnTo>
                  <a:lnTo>
                    <a:pt x="672" y="445"/>
                  </a:lnTo>
                  <a:lnTo>
                    <a:pt x="671" y="443"/>
                  </a:lnTo>
                  <a:lnTo>
                    <a:pt x="672" y="445"/>
                  </a:lnTo>
                  <a:lnTo>
                    <a:pt x="672" y="443"/>
                  </a:lnTo>
                  <a:lnTo>
                    <a:pt x="671" y="443"/>
                  </a:lnTo>
                  <a:lnTo>
                    <a:pt x="672" y="445"/>
                  </a:lnTo>
                  <a:lnTo>
                    <a:pt x="672" y="443"/>
                  </a:lnTo>
                  <a:lnTo>
                    <a:pt x="672" y="445"/>
                  </a:lnTo>
                  <a:lnTo>
                    <a:pt x="673" y="443"/>
                  </a:lnTo>
                  <a:lnTo>
                    <a:pt x="673" y="443"/>
                  </a:lnTo>
                  <a:lnTo>
                    <a:pt x="672" y="443"/>
                  </a:lnTo>
                  <a:lnTo>
                    <a:pt x="672" y="445"/>
                  </a:lnTo>
                  <a:lnTo>
                    <a:pt x="673" y="443"/>
                  </a:lnTo>
                  <a:lnTo>
                    <a:pt x="672" y="445"/>
                  </a:lnTo>
                  <a:lnTo>
                    <a:pt x="673" y="443"/>
                  </a:lnTo>
                  <a:lnTo>
                    <a:pt x="673" y="443"/>
                  </a:lnTo>
                  <a:lnTo>
                    <a:pt x="672" y="445"/>
                  </a:lnTo>
                  <a:lnTo>
                    <a:pt x="673" y="443"/>
                  </a:lnTo>
                  <a:lnTo>
                    <a:pt x="673" y="443"/>
                  </a:lnTo>
                  <a:lnTo>
                    <a:pt x="673" y="442"/>
                  </a:lnTo>
                  <a:lnTo>
                    <a:pt x="673" y="442"/>
                  </a:lnTo>
                  <a:lnTo>
                    <a:pt x="673" y="436"/>
                  </a:lnTo>
                  <a:lnTo>
                    <a:pt x="673" y="436"/>
                  </a:lnTo>
                  <a:lnTo>
                    <a:pt x="675" y="433"/>
                  </a:lnTo>
                  <a:lnTo>
                    <a:pt x="675" y="433"/>
                  </a:lnTo>
                  <a:lnTo>
                    <a:pt x="675" y="432"/>
                  </a:lnTo>
                  <a:lnTo>
                    <a:pt x="675" y="432"/>
                  </a:lnTo>
                  <a:lnTo>
                    <a:pt x="678" y="427"/>
                  </a:lnTo>
                  <a:lnTo>
                    <a:pt x="678" y="427"/>
                  </a:lnTo>
                  <a:lnTo>
                    <a:pt x="679" y="420"/>
                  </a:lnTo>
                  <a:lnTo>
                    <a:pt x="679" y="420"/>
                  </a:lnTo>
                  <a:lnTo>
                    <a:pt x="681" y="416"/>
                  </a:lnTo>
                  <a:lnTo>
                    <a:pt x="681" y="416"/>
                  </a:lnTo>
                  <a:lnTo>
                    <a:pt x="685" y="411"/>
                  </a:lnTo>
                  <a:lnTo>
                    <a:pt x="685" y="411"/>
                  </a:lnTo>
                  <a:lnTo>
                    <a:pt x="686" y="408"/>
                  </a:lnTo>
                  <a:lnTo>
                    <a:pt x="686" y="408"/>
                  </a:lnTo>
                  <a:lnTo>
                    <a:pt x="686" y="406"/>
                  </a:lnTo>
                  <a:lnTo>
                    <a:pt x="686" y="406"/>
                  </a:lnTo>
                  <a:lnTo>
                    <a:pt x="686" y="403"/>
                  </a:lnTo>
                  <a:lnTo>
                    <a:pt x="686" y="403"/>
                  </a:lnTo>
                  <a:lnTo>
                    <a:pt x="684" y="401"/>
                  </a:lnTo>
                  <a:lnTo>
                    <a:pt x="682" y="401"/>
                  </a:lnTo>
                  <a:lnTo>
                    <a:pt x="682" y="401"/>
                  </a:lnTo>
                  <a:lnTo>
                    <a:pt x="682" y="401"/>
                  </a:lnTo>
                  <a:lnTo>
                    <a:pt x="679" y="400"/>
                  </a:lnTo>
                  <a:lnTo>
                    <a:pt x="679" y="400"/>
                  </a:lnTo>
                  <a:lnTo>
                    <a:pt x="676" y="398"/>
                  </a:lnTo>
                  <a:lnTo>
                    <a:pt x="676" y="398"/>
                  </a:lnTo>
                  <a:lnTo>
                    <a:pt x="673" y="398"/>
                  </a:lnTo>
                  <a:lnTo>
                    <a:pt x="673" y="398"/>
                  </a:lnTo>
                  <a:lnTo>
                    <a:pt x="671" y="398"/>
                  </a:lnTo>
                  <a:lnTo>
                    <a:pt x="671" y="398"/>
                  </a:lnTo>
                  <a:lnTo>
                    <a:pt x="671" y="400"/>
                  </a:lnTo>
                  <a:lnTo>
                    <a:pt x="671" y="400"/>
                  </a:lnTo>
                  <a:lnTo>
                    <a:pt x="671" y="400"/>
                  </a:lnTo>
                  <a:lnTo>
                    <a:pt x="671" y="400"/>
                  </a:lnTo>
                  <a:lnTo>
                    <a:pt x="671" y="400"/>
                  </a:lnTo>
                  <a:lnTo>
                    <a:pt x="671" y="400"/>
                  </a:lnTo>
                  <a:lnTo>
                    <a:pt x="671" y="400"/>
                  </a:lnTo>
                  <a:lnTo>
                    <a:pt x="671" y="400"/>
                  </a:lnTo>
                  <a:lnTo>
                    <a:pt x="671" y="400"/>
                  </a:lnTo>
                  <a:lnTo>
                    <a:pt x="671" y="400"/>
                  </a:lnTo>
                  <a:lnTo>
                    <a:pt x="671" y="400"/>
                  </a:lnTo>
                  <a:lnTo>
                    <a:pt x="671" y="400"/>
                  </a:lnTo>
                  <a:lnTo>
                    <a:pt x="671" y="400"/>
                  </a:lnTo>
                  <a:lnTo>
                    <a:pt x="671" y="400"/>
                  </a:lnTo>
                  <a:lnTo>
                    <a:pt x="671" y="400"/>
                  </a:lnTo>
                  <a:lnTo>
                    <a:pt x="671" y="400"/>
                  </a:lnTo>
                  <a:lnTo>
                    <a:pt x="671" y="400"/>
                  </a:lnTo>
                  <a:lnTo>
                    <a:pt x="671" y="400"/>
                  </a:lnTo>
                  <a:lnTo>
                    <a:pt x="669" y="398"/>
                  </a:lnTo>
                  <a:lnTo>
                    <a:pt x="669" y="398"/>
                  </a:lnTo>
                  <a:lnTo>
                    <a:pt x="666" y="395"/>
                  </a:lnTo>
                  <a:lnTo>
                    <a:pt x="666" y="395"/>
                  </a:lnTo>
                  <a:lnTo>
                    <a:pt x="666" y="395"/>
                  </a:lnTo>
                  <a:lnTo>
                    <a:pt x="663" y="394"/>
                  </a:lnTo>
                  <a:lnTo>
                    <a:pt x="663" y="394"/>
                  </a:lnTo>
                  <a:lnTo>
                    <a:pt x="660" y="395"/>
                  </a:lnTo>
                  <a:lnTo>
                    <a:pt x="660" y="395"/>
                  </a:lnTo>
                  <a:lnTo>
                    <a:pt x="660" y="398"/>
                  </a:lnTo>
                  <a:lnTo>
                    <a:pt x="660" y="398"/>
                  </a:lnTo>
                  <a:lnTo>
                    <a:pt x="659" y="400"/>
                  </a:lnTo>
                  <a:lnTo>
                    <a:pt x="659" y="400"/>
                  </a:lnTo>
                  <a:lnTo>
                    <a:pt x="660" y="404"/>
                  </a:lnTo>
                  <a:lnTo>
                    <a:pt x="660" y="404"/>
                  </a:lnTo>
                  <a:lnTo>
                    <a:pt x="662" y="408"/>
                  </a:lnTo>
                  <a:lnTo>
                    <a:pt x="662" y="408"/>
                  </a:lnTo>
                  <a:lnTo>
                    <a:pt x="662" y="408"/>
                  </a:lnTo>
                  <a:lnTo>
                    <a:pt x="662" y="408"/>
                  </a:lnTo>
                  <a:lnTo>
                    <a:pt x="662" y="408"/>
                  </a:lnTo>
                  <a:lnTo>
                    <a:pt x="662" y="408"/>
                  </a:lnTo>
                  <a:lnTo>
                    <a:pt x="662" y="408"/>
                  </a:lnTo>
                  <a:lnTo>
                    <a:pt x="660" y="408"/>
                  </a:lnTo>
                  <a:lnTo>
                    <a:pt x="660" y="408"/>
                  </a:lnTo>
                  <a:lnTo>
                    <a:pt x="659" y="411"/>
                  </a:lnTo>
                  <a:lnTo>
                    <a:pt x="659" y="411"/>
                  </a:lnTo>
                  <a:lnTo>
                    <a:pt x="658" y="413"/>
                  </a:lnTo>
                  <a:lnTo>
                    <a:pt x="658" y="416"/>
                  </a:lnTo>
                  <a:lnTo>
                    <a:pt x="658" y="416"/>
                  </a:lnTo>
                  <a:lnTo>
                    <a:pt x="659" y="416"/>
                  </a:lnTo>
                  <a:lnTo>
                    <a:pt x="658" y="416"/>
                  </a:lnTo>
                  <a:lnTo>
                    <a:pt x="658" y="416"/>
                  </a:lnTo>
                  <a:lnTo>
                    <a:pt x="659" y="416"/>
                  </a:lnTo>
                  <a:lnTo>
                    <a:pt x="658" y="416"/>
                  </a:lnTo>
                  <a:lnTo>
                    <a:pt x="659" y="417"/>
                  </a:lnTo>
                  <a:lnTo>
                    <a:pt x="659" y="414"/>
                  </a:lnTo>
                  <a:lnTo>
                    <a:pt x="659" y="414"/>
                  </a:lnTo>
                  <a:lnTo>
                    <a:pt x="658" y="416"/>
                  </a:lnTo>
                  <a:lnTo>
                    <a:pt x="659" y="417"/>
                  </a:lnTo>
                  <a:lnTo>
                    <a:pt x="659" y="414"/>
                  </a:lnTo>
                  <a:lnTo>
                    <a:pt x="659" y="416"/>
                  </a:lnTo>
                  <a:lnTo>
                    <a:pt x="660" y="414"/>
                  </a:lnTo>
                  <a:lnTo>
                    <a:pt x="659" y="414"/>
                  </a:lnTo>
                  <a:lnTo>
                    <a:pt x="659" y="416"/>
                  </a:lnTo>
                  <a:lnTo>
                    <a:pt x="660" y="414"/>
                  </a:lnTo>
                  <a:lnTo>
                    <a:pt x="660" y="416"/>
                  </a:lnTo>
                  <a:lnTo>
                    <a:pt x="660" y="414"/>
                  </a:lnTo>
                  <a:lnTo>
                    <a:pt x="660" y="414"/>
                  </a:lnTo>
                  <a:lnTo>
                    <a:pt x="660" y="416"/>
                  </a:lnTo>
                  <a:lnTo>
                    <a:pt x="660" y="414"/>
                  </a:lnTo>
                  <a:lnTo>
                    <a:pt x="660" y="414"/>
                  </a:lnTo>
                  <a:lnTo>
                    <a:pt x="659" y="414"/>
                  </a:lnTo>
                  <a:lnTo>
                    <a:pt x="659" y="414"/>
                  </a:lnTo>
                  <a:lnTo>
                    <a:pt x="658" y="413"/>
                  </a:lnTo>
                  <a:lnTo>
                    <a:pt x="658" y="413"/>
                  </a:lnTo>
                  <a:lnTo>
                    <a:pt x="656" y="413"/>
                  </a:lnTo>
                  <a:lnTo>
                    <a:pt x="656" y="413"/>
                  </a:lnTo>
                  <a:lnTo>
                    <a:pt x="653" y="413"/>
                  </a:lnTo>
                  <a:lnTo>
                    <a:pt x="653" y="413"/>
                  </a:lnTo>
                  <a:lnTo>
                    <a:pt x="652" y="416"/>
                  </a:lnTo>
                  <a:lnTo>
                    <a:pt x="652" y="416"/>
                  </a:lnTo>
                  <a:lnTo>
                    <a:pt x="652" y="417"/>
                  </a:lnTo>
                  <a:lnTo>
                    <a:pt x="652" y="417"/>
                  </a:lnTo>
                  <a:lnTo>
                    <a:pt x="655" y="426"/>
                  </a:lnTo>
                  <a:lnTo>
                    <a:pt x="655" y="426"/>
                  </a:lnTo>
                  <a:lnTo>
                    <a:pt x="655" y="424"/>
                  </a:lnTo>
                  <a:lnTo>
                    <a:pt x="655" y="424"/>
                  </a:lnTo>
                  <a:lnTo>
                    <a:pt x="655" y="426"/>
                  </a:lnTo>
                  <a:lnTo>
                    <a:pt x="655" y="424"/>
                  </a:lnTo>
                  <a:lnTo>
                    <a:pt x="655" y="424"/>
                  </a:lnTo>
                  <a:lnTo>
                    <a:pt x="656" y="424"/>
                  </a:lnTo>
                  <a:lnTo>
                    <a:pt x="655" y="423"/>
                  </a:lnTo>
                  <a:lnTo>
                    <a:pt x="655" y="423"/>
                  </a:lnTo>
                  <a:lnTo>
                    <a:pt x="655" y="424"/>
                  </a:lnTo>
                  <a:lnTo>
                    <a:pt x="656" y="424"/>
                  </a:lnTo>
                  <a:lnTo>
                    <a:pt x="655" y="423"/>
                  </a:lnTo>
                  <a:lnTo>
                    <a:pt x="656" y="424"/>
                  </a:lnTo>
                  <a:lnTo>
                    <a:pt x="656" y="423"/>
                  </a:lnTo>
                  <a:lnTo>
                    <a:pt x="656" y="423"/>
                  </a:lnTo>
                  <a:lnTo>
                    <a:pt x="655" y="423"/>
                  </a:lnTo>
                  <a:lnTo>
                    <a:pt x="656" y="424"/>
                  </a:lnTo>
                  <a:lnTo>
                    <a:pt x="656" y="423"/>
                  </a:lnTo>
                  <a:lnTo>
                    <a:pt x="656" y="424"/>
                  </a:lnTo>
                  <a:lnTo>
                    <a:pt x="656" y="423"/>
                  </a:lnTo>
                  <a:lnTo>
                    <a:pt x="656" y="423"/>
                  </a:lnTo>
                  <a:lnTo>
                    <a:pt x="656" y="424"/>
                  </a:lnTo>
                  <a:lnTo>
                    <a:pt x="656" y="423"/>
                  </a:lnTo>
                  <a:lnTo>
                    <a:pt x="656" y="423"/>
                  </a:lnTo>
                  <a:lnTo>
                    <a:pt x="656" y="423"/>
                  </a:lnTo>
                  <a:lnTo>
                    <a:pt x="656" y="423"/>
                  </a:lnTo>
                  <a:lnTo>
                    <a:pt x="656" y="423"/>
                  </a:lnTo>
                  <a:lnTo>
                    <a:pt x="656" y="423"/>
                  </a:lnTo>
                  <a:lnTo>
                    <a:pt x="656" y="423"/>
                  </a:lnTo>
                  <a:lnTo>
                    <a:pt x="655" y="421"/>
                  </a:lnTo>
                  <a:lnTo>
                    <a:pt x="655" y="421"/>
                  </a:lnTo>
                  <a:lnTo>
                    <a:pt x="653" y="419"/>
                  </a:lnTo>
                  <a:lnTo>
                    <a:pt x="653" y="419"/>
                  </a:lnTo>
                  <a:lnTo>
                    <a:pt x="650" y="417"/>
                  </a:lnTo>
                  <a:lnTo>
                    <a:pt x="650" y="417"/>
                  </a:lnTo>
                  <a:lnTo>
                    <a:pt x="649" y="417"/>
                  </a:lnTo>
                  <a:lnTo>
                    <a:pt x="649" y="417"/>
                  </a:lnTo>
                  <a:lnTo>
                    <a:pt x="644" y="417"/>
                  </a:lnTo>
                  <a:lnTo>
                    <a:pt x="644" y="417"/>
                  </a:lnTo>
                  <a:lnTo>
                    <a:pt x="642" y="419"/>
                  </a:lnTo>
                  <a:lnTo>
                    <a:pt x="642" y="419"/>
                  </a:lnTo>
                  <a:lnTo>
                    <a:pt x="639" y="420"/>
                  </a:lnTo>
                  <a:lnTo>
                    <a:pt x="639" y="420"/>
                  </a:lnTo>
                  <a:lnTo>
                    <a:pt x="637" y="421"/>
                  </a:lnTo>
                  <a:lnTo>
                    <a:pt x="637" y="424"/>
                  </a:lnTo>
                  <a:lnTo>
                    <a:pt x="637" y="424"/>
                  </a:lnTo>
                  <a:lnTo>
                    <a:pt x="636" y="427"/>
                  </a:lnTo>
                  <a:lnTo>
                    <a:pt x="636" y="427"/>
                  </a:lnTo>
                  <a:lnTo>
                    <a:pt x="636" y="427"/>
                  </a:lnTo>
                  <a:lnTo>
                    <a:pt x="637" y="432"/>
                  </a:lnTo>
                  <a:lnTo>
                    <a:pt x="637" y="432"/>
                  </a:lnTo>
                  <a:lnTo>
                    <a:pt x="642" y="437"/>
                  </a:lnTo>
                  <a:lnTo>
                    <a:pt x="642" y="437"/>
                  </a:lnTo>
                  <a:lnTo>
                    <a:pt x="643" y="439"/>
                  </a:lnTo>
                  <a:lnTo>
                    <a:pt x="643" y="439"/>
                  </a:lnTo>
                  <a:lnTo>
                    <a:pt x="643" y="439"/>
                  </a:lnTo>
                  <a:lnTo>
                    <a:pt x="644" y="439"/>
                  </a:lnTo>
                  <a:lnTo>
                    <a:pt x="643" y="439"/>
                  </a:lnTo>
                  <a:lnTo>
                    <a:pt x="643" y="439"/>
                  </a:lnTo>
                  <a:lnTo>
                    <a:pt x="644" y="439"/>
                  </a:lnTo>
                  <a:lnTo>
                    <a:pt x="643" y="439"/>
                  </a:lnTo>
                  <a:lnTo>
                    <a:pt x="644" y="439"/>
                  </a:lnTo>
                  <a:lnTo>
                    <a:pt x="643" y="437"/>
                  </a:lnTo>
                  <a:lnTo>
                    <a:pt x="643" y="439"/>
                  </a:lnTo>
                  <a:lnTo>
                    <a:pt x="644" y="439"/>
                  </a:lnTo>
                  <a:lnTo>
                    <a:pt x="643" y="437"/>
                  </a:lnTo>
                  <a:lnTo>
                    <a:pt x="643" y="437"/>
                  </a:lnTo>
                  <a:lnTo>
                    <a:pt x="643" y="437"/>
                  </a:lnTo>
                  <a:lnTo>
                    <a:pt x="643" y="437"/>
                  </a:lnTo>
                  <a:lnTo>
                    <a:pt x="643" y="440"/>
                  </a:lnTo>
                  <a:lnTo>
                    <a:pt x="643" y="440"/>
                  </a:lnTo>
                  <a:lnTo>
                    <a:pt x="642" y="449"/>
                  </a:lnTo>
                  <a:lnTo>
                    <a:pt x="642" y="449"/>
                  </a:lnTo>
                  <a:lnTo>
                    <a:pt x="642" y="453"/>
                  </a:lnTo>
                  <a:lnTo>
                    <a:pt x="642" y="453"/>
                  </a:lnTo>
                  <a:lnTo>
                    <a:pt x="642" y="453"/>
                  </a:lnTo>
                  <a:lnTo>
                    <a:pt x="643" y="453"/>
                  </a:lnTo>
                  <a:lnTo>
                    <a:pt x="642" y="453"/>
                  </a:lnTo>
                  <a:lnTo>
                    <a:pt x="642" y="453"/>
                  </a:lnTo>
                  <a:lnTo>
                    <a:pt x="643" y="453"/>
                  </a:lnTo>
                  <a:lnTo>
                    <a:pt x="642" y="453"/>
                  </a:lnTo>
                  <a:lnTo>
                    <a:pt x="644" y="453"/>
                  </a:lnTo>
                  <a:lnTo>
                    <a:pt x="643" y="452"/>
                  </a:lnTo>
                  <a:lnTo>
                    <a:pt x="642" y="453"/>
                  </a:lnTo>
                  <a:lnTo>
                    <a:pt x="644" y="453"/>
                  </a:lnTo>
                  <a:lnTo>
                    <a:pt x="643" y="452"/>
                  </a:lnTo>
                  <a:lnTo>
                    <a:pt x="644" y="455"/>
                  </a:lnTo>
                  <a:lnTo>
                    <a:pt x="644" y="452"/>
                  </a:lnTo>
                  <a:lnTo>
                    <a:pt x="644" y="452"/>
                  </a:lnTo>
                  <a:lnTo>
                    <a:pt x="643" y="452"/>
                  </a:lnTo>
                  <a:lnTo>
                    <a:pt x="644" y="455"/>
                  </a:lnTo>
                  <a:lnTo>
                    <a:pt x="644" y="452"/>
                  </a:lnTo>
                  <a:lnTo>
                    <a:pt x="644" y="453"/>
                  </a:lnTo>
                  <a:lnTo>
                    <a:pt x="644" y="452"/>
                  </a:lnTo>
                  <a:lnTo>
                    <a:pt x="644" y="452"/>
                  </a:lnTo>
                  <a:lnTo>
                    <a:pt x="644" y="452"/>
                  </a:lnTo>
                  <a:lnTo>
                    <a:pt x="644" y="453"/>
                  </a:lnTo>
                  <a:lnTo>
                    <a:pt x="644" y="452"/>
                  </a:lnTo>
                  <a:lnTo>
                    <a:pt x="644" y="452"/>
                  </a:lnTo>
                  <a:lnTo>
                    <a:pt x="644" y="452"/>
                  </a:lnTo>
                  <a:lnTo>
                    <a:pt x="644" y="452"/>
                  </a:lnTo>
                  <a:lnTo>
                    <a:pt x="642" y="449"/>
                  </a:lnTo>
                  <a:lnTo>
                    <a:pt x="642" y="449"/>
                  </a:lnTo>
                  <a:lnTo>
                    <a:pt x="640" y="448"/>
                  </a:lnTo>
                  <a:lnTo>
                    <a:pt x="640" y="448"/>
                  </a:lnTo>
                  <a:lnTo>
                    <a:pt x="639" y="446"/>
                  </a:lnTo>
                  <a:lnTo>
                    <a:pt x="639" y="446"/>
                  </a:lnTo>
                  <a:lnTo>
                    <a:pt x="636" y="448"/>
                  </a:lnTo>
                  <a:lnTo>
                    <a:pt x="636" y="448"/>
                  </a:lnTo>
                  <a:lnTo>
                    <a:pt x="636" y="449"/>
                  </a:lnTo>
                  <a:lnTo>
                    <a:pt x="636" y="448"/>
                  </a:lnTo>
                  <a:lnTo>
                    <a:pt x="636" y="448"/>
                  </a:lnTo>
                  <a:lnTo>
                    <a:pt x="636" y="449"/>
                  </a:lnTo>
                  <a:lnTo>
                    <a:pt x="636" y="448"/>
                  </a:lnTo>
                  <a:lnTo>
                    <a:pt x="637" y="449"/>
                  </a:lnTo>
                  <a:lnTo>
                    <a:pt x="637" y="448"/>
                  </a:lnTo>
                  <a:lnTo>
                    <a:pt x="637" y="448"/>
                  </a:lnTo>
                  <a:lnTo>
                    <a:pt x="636" y="448"/>
                  </a:lnTo>
                  <a:lnTo>
                    <a:pt x="637" y="449"/>
                  </a:lnTo>
                  <a:lnTo>
                    <a:pt x="637" y="448"/>
                  </a:lnTo>
                  <a:lnTo>
                    <a:pt x="637" y="449"/>
                  </a:lnTo>
                  <a:lnTo>
                    <a:pt x="637" y="448"/>
                  </a:lnTo>
                  <a:lnTo>
                    <a:pt x="637" y="448"/>
                  </a:lnTo>
                  <a:lnTo>
                    <a:pt x="637" y="448"/>
                  </a:lnTo>
                  <a:lnTo>
                    <a:pt x="637" y="449"/>
                  </a:lnTo>
                  <a:lnTo>
                    <a:pt x="637" y="448"/>
                  </a:lnTo>
                  <a:lnTo>
                    <a:pt x="637" y="449"/>
                  </a:lnTo>
                  <a:lnTo>
                    <a:pt x="639" y="448"/>
                  </a:lnTo>
                  <a:lnTo>
                    <a:pt x="637" y="448"/>
                  </a:lnTo>
                  <a:lnTo>
                    <a:pt x="637" y="449"/>
                  </a:lnTo>
                  <a:lnTo>
                    <a:pt x="639" y="448"/>
                  </a:lnTo>
                  <a:lnTo>
                    <a:pt x="637" y="448"/>
                  </a:lnTo>
                  <a:lnTo>
                    <a:pt x="639" y="448"/>
                  </a:lnTo>
                  <a:lnTo>
                    <a:pt x="639" y="448"/>
                  </a:lnTo>
                  <a:lnTo>
                    <a:pt x="637" y="448"/>
                  </a:lnTo>
                  <a:lnTo>
                    <a:pt x="639" y="448"/>
                  </a:lnTo>
                  <a:lnTo>
                    <a:pt x="639" y="448"/>
                  </a:lnTo>
                  <a:lnTo>
                    <a:pt x="637" y="446"/>
                  </a:lnTo>
                  <a:lnTo>
                    <a:pt x="637" y="446"/>
                  </a:lnTo>
                  <a:lnTo>
                    <a:pt x="637" y="445"/>
                  </a:lnTo>
                  <a:lnTo>
                    <a:pt x="637" y="445"/>
                  </a:lnTo>
                  <a:lnTo>
                    <a:pt x="637" y="442"/>
                  </a:lnTo>
                  <a:lnTo>
                    <a:pt x="637" y="442"/>
                  </a:lnTo>
                  <a:lnTo>
                    <a:pt x="637" y="442"/>
                  </a:lnTo>
                  <a:lnTo>
                    <a:pt x="637" y="442"/>
                  </a:lnTo>
                  <a:lnTo>
                    <a:pt x="637" y="442"/>
                  </a:lnTo>
                  <a:lnTo>
                    <a:pt x="637" y="442"/>
                  </a:lnTo>
                  <a:lnTo>
                    <a:pt x="637" y="442"/>
                  </a:lnTo>
                  <a:lnTo>
                    <a:pt x="637" y="442"/>
                  </a:lnTo>
                  <a:lnTo>
                    <a:pt x="637" y="442"/>
                  </a:lnTo>
                  <a:lnTo>
                    <a:pt x="639" y="439"/>
                  </a:lnTo>
                  <a:lnTo>
                    <a:pt x="640" y="437"/>
                  </a:lnTo>
                  <a:lnTo>
                    <a:pt x="640" y="437"/>
                  </a:lnTo>
                  <a:lnTo>
                    <a:pt x="639" y="433"/>
                  </a:lnTo>
                  <a:lnTo>
                    <a:pt x="639" y="433"/>
                  </a:lnTo>
                  <a:lnTo>
                    <a:pt x="637" y="432"/>
                  </a:lnTo>
                  <a:lnTo>
                    <a:pt x="634" y="430"/>
                  </a:lnTo>
                  <a:lnTo>
                    <a:pt x="634" y="430"/>
                  </a:lnTo>
                  <a:lnTo>
                    <a:pt x="631" y="432"/>
                  </a:lnTo>
                  <a:lnTo>
                    <a:pt x="630" y="433"/>
                  </a:lnTo>
                  <a:lnTo>
                    <a:pt x="629" y="433"/>
                  </a:lnTo>
                  <a:lnTo>
                    <a:pt x="629" y="433"/>
                  </a:lnTo>
                  <a:lnTo>
                    <a:pt x="629" y="433"/>
                  </a:lnTo>
                  <a:lnTo>
                    <a:pt x="629" y="433"/>
                  </a:lnTo>
                  <a:lnTo>
                    <a:pt x="629" y="433"/>
                  </a:lnTo>
                  <a:lnTo>
                    <a:pt x="629" y="433"/>
                  </a:lnTo>
                  <a:lnTo>
                    <a:pt x="629" y="433"/>
                  </a:lnTo>
                  <a:lnTo>
                    <a:pt x="629" y="434"/>
                  </a:lnTo>
                  <a:lnTo>
                    <a:pt x="629" y="433"/>
                  </a:lnTo>
                  <a:lnTo>
                    <a:pt x="629" y="433"/>
                  </a:lnTo>
                  <a:lnTo>
                    <a:pt x="629" y="434"/>
                  </a:lnTo>
                  <a:lnTo>
                    <a:pt x="629" y="433"/>
                  </a:lnTo>
                  <a:lnTo>
                    <a:pt x="629" y="434"/>
                  </a:lnTo>
                  <a:lnTo>
                    <a:pt x="630" y="433"/>
                  </a:lnTo>
                  <a:lnTo>
                    <a:pt x="629" y="433"/>
                  </a:lnTo>
                  <a:lnTo>
                    <a:pt x="629" y="434"/>
                  </a:lnTo>
                  <a:lnTo>
                    <a:pt x="630" y="433"/>
                  </a:lnTo>
                  <a:lnTo>
                    <a:pt x="630" y="434"/>
                  </a:lnTo>
                  <a:lnTo>
                    <a:pt x="630" y="433"/>
                  </a:lnTo>
                  <a:lnTo>
                    <a:pt x="630" y="433"/>
                  </a:lnTo>
                  <a:lnTo>
                    <a:pt x="630" y="434"/>
                  </a:lnTo>
                  <a:lnTo>
                    <a:pt x="630" y="433"/>
                  </a:lnTo>
                  <a:lnTo>
                    <a:pt x="630" y="433"/>
                  </a:lnTo>
                  <a:lnTo>
                    <a:pt x="630" y="433"/>
                  </a:lnTo>
                  <a:lnTo>
                    <a:pt x="630" y="433"/>
                  </a:lnTo>
                  <a:lnTo>
                    <a:pt x="630" y="433"/>
                  </a:lnTo>
                  <a:lnTo>
                    <a:pt x="630" y="433"/>
                  </a:lnTo>
                  <a:lnTo>
                    <a:pt x="630" y="433"/>
                  </a:lnTo>
                  <a:lnTo>
                    <a:pt x="629" y="432"/>
                  </a:lnTo>
                  <a:lnTo>
                    <a:pt x="629" y="432"/>
                  </a:lnTo>
                  <a:lnTo>
                    <a:pt x="626" y="430"/>
                  </a:lnTo>
                  <a:lnTo>
                    <a:pt x="623" y="429"/>
                  </a:lnTo>
                  <a:lnTo>
                    <a:pt x="623" y="429"/>
                  </a:lnTo>
                  <a:lnTo>
                    <a:pt x="621" y="429"/>
                  </a:lnTo>
                  <a:lnTo>
                    <a:pt x="621" y="429"/>
                  </a:lnTo>
                  <a:lnTo>
                    <a:pt x="611" y="433"/>
                  </a:lnTo>
                  <a:lnTo>
                    <a:pt x="611" y="433"/>
                  </a:lnTo>
                  <a:lnTo>
                    <a:pt x="607" y="436"/>
                  </a:lnTo>
                  <a:lnTo>
                    <a:pt x="604" y="439"/>
                  </a:lnTo>
                  <a:lnTo>
                    <a:pt x="604" y="439"/>
                  </a:lnTo>
                  <a:lnTo>
                    <a:pt x="604" y="439"/>
                  </a:lnTo>
                  <a:lnTo>
                    <a:pt x="604" y="440"/>
                  </a:lnTo>
                  <a:lnTo>
                    <a:pt x="604" y="440"/>
                  </a:lnTo>
                  <a:lnTo>
                    <a:pt x="605" y="443"/>
                  </a:lnTo>
                  <a:lnTo>
                    <a:pt x="605" y="443"/>
                  </a:lnTo>
                  <a:lnTo>
                    <a:pt x="608" y="446"/>
                  </a:lnTo>
                  <a:lnTo>
                    <a:pt x="608" y="446"/>
                  </a:lnTo>
                  <a:lnTo>
                    <a:pt x="616" y="449"/>
                  </a:lnTo>
                  <a:lnTo>
                    <a:pt x="616" y="449"/>
                  </a:lnTo>
                  <a:lnTo>
                    <a:pt x="620" y="452"/>
                  </a:lnTo>
                  <a:lnTo>
                    <a:pt x="620" y="452"/>
                  </a:lnTo>
                  <a:lnTo>
                    <a:pt x="621" y="452"/>
                  </a:lnTo>
                  <a:lnTo>
                    <a:pt x="621" y="452"/>
                  </a:lnTo>
                  <a:lnTo>
                    <a:pt x="621" y="455"/>
                  </a:lnTo>
                  <a:lnTo>
                    <a:pt x="621" y="455"/>
                  </a:lnTo>
                  <a:lnTo>
                    <a:pt x="621" y="456"/>
                  </a:lnTo>
                  <a:lnTo>
                    <a:pt x="621" y="456"/>
                  </a:lnTo>
                  <a:lnTo>
                    <a:pt x="621" y="459"/>
                  </a:lnTo>
                  <a:lnTo>
                    <a:pt x="621" y="459"/>
                  </a:lnTo>
                  <a:lnTo>
                    <a:pt x="623" y="461"/>
                  </a:lnTo>
                  <a:lnTo>
                    <a:pt x="623" y="461"/>
                  </a:lnTo>
                  <a:lnTo>
                    <a:pt x="623" y="461"/>
                  </a:lnTo>
                  <a:lnTo>
                    <a:pt x="623" y="461"/>
                  </a:lnTo>
                  <a:lnTo>
                    <a:pt x="623" y="461"/>
                  </a:lnTo>
                  <a:lnTo>
                    <a:pt x="624" y="459"/>
                  </a:lnTo>
                  <a:lnTo>
                    <a:pt x="623" y="461"/>
                  </a:lnTo>
                  <a:lnTo>
                    <a:pt x="623" y="461"/>
                  </a:lnTo>
                  <a:lnTo>
                    <a:pt x="624" y="459"/>
                  </a:lnTo>
                  <a:lnTo>
                    <a:pt x="623" y="461"/>
                  </a:lnTo>
                  <a:lnTo>
                    <a:pt x="624" y="459"/>
                  </a:lnTo>
                  <a:lnTo>
                    <a:pt x="623" y="459"/>
                  </a:lnTo>
                  <a:lnTo>
                    <a:pt x="623" y="459"/>
                  </a:lnTo>
                  <a:lnTo>
                    <a:pt x="623" y="461"/>
                  </a:lnTo>
                  <a:lnTo>
                    <a:pt x="624" y="459"/>
                  </a:lnTo>
                  <a:lnTo>
                    <a:pt x="623" y="459"/>
                  </a:lnTo>
                  <a:lnTo>
                    <a:pt x="624" y="459"/>
                  </a:lnTo>
                  <a:lnTo>
                    <a:pt x="623" y="458"/>
                  </a:lnTo>
                  <a:lnTo>
                    <a:pt x="623" y="458"/>
                  </a:lnTo>
                  <a:lnTo>
                    <a:pt x="623" y="459"/>
                  </a:lnTo>
                  <a:lnTo>
                    <a:pt x="624" y="459"/>
                  </a:lnTo>
                  <a:lnTo>
                    <a:pt x="623" y="458"/>
                  </a:lnTo>
                  <a:lnTo>
                    <a:pt x="624" y="459"/>
                  </a:lnTo>
                  <a:lnTo>
                    <a:pt x="624" y="456"/>
                  </a:lnTo>
                  <a:lnTo>
                    <a:pt x="624" y="456"/>
                  </a:lnTo>
                  <a:lnTo>
                    <a:pt x="623" y="458"/>
                  </a:lnTo>
                  <a:lnTo>
                    <a:pt x="624" y="459"/>
                  </a:lnTo>
                  <a:lnTo>
                    <a:pt x="624" y="456"/>
                  </a:lnTo>
                  <a:lnTo>
                    <a:pt x="624" y="459"/>
                  </a:lnTo>
                  <a:lnTo>
                    <a:pt x="626" y="458"/>
                  </a:lnTo>
                  <a:lnTo>
                    <a:pt x="626" y="458"/>
                  </a:lnTo>
                  <a:lnTo>
                    <a:pt x="624" y="456"/>
                  </a:lnTo>
                  <a:lnTo>
                    <a:pt x="624" y="459"/>
                  </a:lnTo>
                  <a:lnTo>
                    <a:pt x="626" y="458"/>
                  </a:lnTo>
                  <a:lnTo>
                    <a:pt x="626" y="459"/>
                  </a:lnTo>
                  <a:lnTo>
                    <a:pt x="626" y="458"/>
                  </a:lnTo>
                  <a:lnTo>
                    <a:pt x="626" y="458"/>
                  </a:lnTo>
                  <a:lnTo>
                    <a:pt x="626" y="459"/>
                  </a:lnTo>
                  <a:lnTo>
                    <a:pt x="626" y="458"/>
                  </a:lnTo>
                  <a:lnTo>
                    <a:pt x="626" y="458"/>
                  </a:lnTo>
                  <a:lnTo>
                    <a:pt x="626" y="458"/>
                  </a:lnTo>
                  <a:lnTo>
                    <a:pt x="626" y="458"/>
                  </a:lnTo>
                  <a:lnTo>
                    <a:pt x="626" y="458"/>
                  </a:lnTo>
                  <a:lnTo>
                    <a:pt x="626" y="458"/>
                  </a:lnTo>
                  <a:lnTo>
                    <a:pt x="626" y="458"/>
                  </a:lnTo>
                  <a:lnTo>
                    <a:pt x="624" y="456"/>
                  </a:lnTo>
                  <a:lnTo>
                    <a:pt x="624" y="456"/>
                  </a:lnTo>
                  <a:lnTo>
                    <a:pt x="618" y="452"/>
                  </a:lnTo>
                  <a:lnTo>
                    <a:pt x="618" y="452"/>
                  </a:lnTo>
                  <a:lnTo>
                    <a:pt x="616" y="449"/>
                  </a:lnTo>
                  <a:lnTo>
                    <a:pt x="616" y="449"/>
                  </a:lnTo>
                  <a:lnTo>
                    <a:pt x="613" y="448"/>
                  </a:lnTo>
                  <a:lnTo>
                    <a:pt x="611" y="448"/>
                  </a:lnTo>
                  <a:lnTo>
                    <a:pt x="611" y="448"/>
                  </a:lnTo>
                  <a:lnTo>
                    <a:pt x="610" y="449"/>
                  </a:lnTo>
                  <a:lnTo>
                    <a:pt x="608" y="449"/>
                  </a:lnTo>
                  <a:lnTo>
                    <a:pt x="608" y="449"/>
                  </a:lnTo>
                  <a:lnTo>
                    <a:pt x="607" y="452"/>
                  </a:lnTo>
                  <a:lnTo>
                    <a:pt x="607" y="452"/>
                  </a:lnTo>
                  <a:lnTo>
                    <a:pt x="608" y="456"/>
                  </a:lnTo>
                  <a:lnTo>
                    <a:pt x="608" y="456"/>
                  </a:lnTo>
                  <a:lnTo>
                    <a:pt x="608" y="461"/>
                  </a:lnTo>
                  <a:lnTo>
                    <a:pt x="608" y="461"/>
                  </a:lnTo>
                  <a:lnTo>
                    <a:pt x="610" y="461"/>
                  </a:lnTo>
                  <a:lnTo>
                    <a:pt x="608" y="461"/>
                  </a:lnTo>
                  <a:lnTo>
                    <a:pt x="608" y="461"/>
                  </a:lnTo>
                  <a:lnTo>
                    <a:pt x="610" y="461"/>
                  </a:lnTo>
                  <a:lnTo>
                    <a:pt x="608" y="461"/>
                  </a:lnTo>
                  <a:lnTo>
                    <a:pt x="611" y="461"/>
                  </a:lnTo>
                  <a:lnTo>
                    <a:pt x="610" y="459"/>
                  </a:lnTo>
                  <a:lnTo>
                    <a:pt x="608" y="461"/>
                  </a:lnTo>
                  <a:lnTo>
                    <a:pt x="611" y="461"/>
                  </a:lnTo>
                  <a:lnTo>
                    <a:pt x="610" y="459"/>
                  </a:lnTo>
                  <a:lnTo>
                    <a:pt x="611" y="461"/>
                  </a:lnTo>
                  <a:lnTo>
                    <a:pt x="610" y="459"/>
                  </a:lnTo>
                  <a:lnTo>
                    <a:pt x="610" y="459"/>
                  </a:lnTo>
                  <a:lnTo>
                    <a:pt x="611" y="461"/>
                  </a:lnTo>
                  <a:lnTo>
                    <a:pt x="610" y="459"/>
                  </a:lnTo>
                  <a:lnTo>
                    <a:pt x="611" y="461"/>
                  </a:lnTo>
                  <a:lnTo>
                    <a:pt x="611" y="459"/>
                  </a:lnTo>
                  <a:lnTo>
                    <a:pt x="610" y="459"/>
                  </a:lnTo>
                  <a:lnTo>
                    <a:pt x="611" y="461"/>
                  </a:lnTo>
                  <a:lnTo>
                    <a:pt x="611" y="459"/>
                  </a:lnTo>
                  <a:lnTo>
                    <a:pt x="611" y="461"/>
                  </a:lnTo>
                  <a:lnTo>
                    <a:pt x="613" y="459"/>
                  </a:lnTo>
                  <a:lnTo>
                    <a:pt x="613" y="459"/>
                  </a:lnTo>
                  <a:lnTo>
                    <a:pt x="611" y="459"/>
                  </a:lnTo>
                  <a:lnTo>
                    <a:pt x="611" y="461"/>
                  </a:lnTo>
                  <a:lnTo>
                    <a:pt x="613" y="459"/>
                  </a:lnTo>
                  <a:lnTo>
                    <a:pt x="611" y="461"/>
                  </a:lnTo>
                  <a:lnTo>
                    <a:pt x="613" y="459"/>
                  </a:lnTo>
                  <a:lnTo>
                    <a:pt x="613" y="459"/>
                  </a:lnTo>
                  <a:lnTo>
                    <a:pt x="611" y="461"/>
                  </a:lnTo>
                  <a:lnTo>
                    <a:pt x="613" y="459"/>
                  </a:lnTo>
                  <a:lnTo>
                    <a:pt x="613" y="459"/>
                  </a:lnTo>
                  <a:lnTo>
                    <a:pt x="613" y="459"/>
                  </a:lnTo>
                  <a:lnTo>
                    <a:pt x="613" y="459"/>
                  </a:lnTo>
                  <a:lnTo>
                    <a:pt x="613" y="459"/>
                  </a:lnTo>
                  <a:lnTo>
                    <a:pt x="613" y="459"/>
                  </a:lnTo>
                  <a:lnTo>
                    <a:pt x="613" y="459"/>
                  </a:lnTo>
                  <a:lnTo>
                    <a:pt x="613" y="458"/>
                  </a:lnTo>
                  <a:lnTo>
                    <a:pt x="613" y="458"/>
                  </a:lnTo>
                  <a:lnTo>
                    <a:pt x="611" y="455"/>
                  </a:lnTo>
                  <a:lnTo>
                    <a:pt x="611" y="455"/>
                  </a:lnTo>
                  <a:lnTo>
                    <a:pt x="608" y="452"/>
                  </a:lnTo>
                  <a:lnTo>
                    <a:pt x="608" y="452"/>
                  </a:lnTo>
                  <a:lnTo>
                    <a:pt x="607" y="452"/>
                  </a:lnTo>
                  <a:lnTo>
                    <a:pt x="607" y="452"/>
                  </a:lnTo>
                  <a:lnTo>
                    <a:pt x="604" y="452"/>
                  </a:lnTo>
                  <a:lnTo>
                    <a:pt x="604" y="452"/>
                  </a:lnTo>
                  <a:lnTo>
                    <a:pt x="602" y="453"/>
                  </a:lnTo>
                  <a:lnTo>
                    <a:pt x="602" y="453"/>
                  </a:lnTo>
                  <a:lnTo>
                    <a:pt x="602" y="456"/>
                  </a:lnTo>
                  <a:lnTo>
                    <a:pt x="602" y="456"/>
                  </a:lnTo>
                  <a:lnTo>
                    <a:pt x="601" y="461"/>
                  </a:lnTo>
                  <a:lnTo>
                    <a:pt x="601" y="461"/>
                  </a:lnTo>
                  <a:lnTo>
                    <a:pt x="601" y="462"/>
                  </a:lnTo>
                  <a:lnTo>
                    <a:pt x="600" y="462"/>
                  </a:lnTo>
                  <a:lnTo>
                    <a:pt x="600" y="462"/>
                  </a:lnTo>
                  <a:lnTo>
                    <a:pt x="600" y="462"/>
                  </a:lnTo>
                  <a:lnTo>
                    <a:pt x="600" y="462"/>
                  </a:lnTo>
                  <a:lnTo>
                    <a:pt x="600" y="462"/>
                  </a:lnTo>
                  <a:lnTo>
                    <a:pt x="600" y="462"/>
                  </a:lnTo>
                  <a:lnTo>
                    <a:pt x="600" y="462"/>
                  </a:lnTo>
                  <a:lnTo>
                    <a:pt x="600" y="462"/>
                  </a:lnTo>
                  <a:lnTo>
                    <a:pt x="600" y="463"/>
                  </a:lnTo>
                  <a:lnTo>
                    <a:pt x="600" y="462"/>
                  </a:lnTo>
                  <a:lnTo>
                    <a:pt x="600" y="462"/>
                  </a:lnTo>
                  <a:lnTo>
                    <a:pt x="600" y="463"/>
                  </a:lnTo>
                  <a:lnTo>
                    <a:pt x="600" y="462"/>
                  </a:lnTo>
                  <a:lnTo>
                    <a:pt x="600" y="463"/>
                  </a:lnTo>
                  <a:lnTo>
                    <a:pt x="601" y="463"/>
                  </a:lnTo>
                  <a:lnTo>
                    <a:pt x="600" y="462"/>
                  </a:lnTo>
                  <a:lnTo>
                    <a:pt x="600" y="463"/>
                  </a:lnTo>
                  <a:lnTo>
                    <a:pt x="601" y="463"/>
                  </a:lnTo>
                  <a:lnTo>
                    <a:pt x="601" y="463"/>
                  </a:lnTo>
                  <a:lnTo>
                    <a:pt x="601" y="463"/>
                  </a:lnTo>
                  <a:lnTo>
                    <a:pt x="601" y="463"/>
                  </a:lnTo>
                  <a:lnTo>
                    <a:pt x="601" y="463"/>
                  </a:lnTo>
                  <a:lnTo>
                    <a:pt x="601" y="463"/>
                  </a:lnTo>
                  <a:lnTo>
                    <a:pt x="601" y="463"/>
                  </a:lnTo>
                  <a:lnTo>
                    <a:pt x="601" y="463"/>
                  </a:lnTo>
                  <a:lnTo>
                    <a:pt x="601" y="463"/>
                  </a:lnTo>
                  <a:lnTo>
                    <a:pt x="601" y="463"/>
                  </a:lnTo>
                  <a:lnTo>
                    <a:pt x="601" y="463"/>
                  </a:lnTo>
                  <a:lnTo>
                    <a:pt x="601" y="463"/>
                  </a:lnTo>
                  <a:lnTo>
                    <a:pt x="601" y="462"/>
                  </a:lnTo>
                  <a:lnTo>
                    <a:pt x="601" y="462"/>
                  </a:lnTo>
                  <a:lnTo>
                    <a:pt x="602" y="458"/>
                  </a:lnTo>
                  <a:lnTo>
                    <a:pt x="602" y="458"/>
                  </a:lnTo>
                  <a:lnTo>
                    <a:pt x="602" y="456"/>
                  </a:lnTo>
                  <a:lnTo>
                    <a:pt x="602" y="456"/>
                  </a:lnTo>
                  <a:lnTo>
                    <a:pt x="602" y="455"/>
                  </a:lnTo>
                  <a:lnTo>
                    <a:pt x="602" y="455"/>
                  </a:lnTo>
                  <a:lnTo>
                    <a:pt x="602" y="453"/>
                  </a:lnTo>
                  <a:lnTo>
                    <a:pt x="602" y="453"/>
                  </a:lnTo>
                  <a:lnTo>
                    <a:pt x="601" y="452"/>
                  </a:lnTo>
                  <a:lnTo>
                    <a:pt x="601" y="452"/>
                  </a:lnTo>
                  <a:lnTo>
                    <a:pt x="600" y="452"/>
                  </a:lnTo>
                  <a:lnTo>
                    <a:pt x="600" y="452"/>
                  </a:lnTo>
                  <a:lnTo>
                    <a:pt x="598" y="452"/>
                  </a:lnTo>
                  <a:lnTo>
                    <a:pt x="598" y="452"/>
                  </a:lnTo>
                  <a:lnTo>
                    <a:pt x="598" y="452"/>
                  </a:lnTo>
                  <a:lnTo>
                    <a:pt x="598" y="452"/>
                  </a:lnTo>
                  <a:lnTo>
                    <a:pt x="595" y="456"/>
                  </a:lnTo>
                  <a:lnTo>
                    <a:pt x="595" y="456"/>
                  </a:lnTo>
                  <a:lnTo>
                    <a:pt x="592" y="461"/>
                  </a:lnTo>
                  <a:lnTo>
                    <a:pt x="592" y="461"/>
                  </a:lnTo>
                  <a:lnTo>
                    <a:pt x="591" y="462"/>
                  </a:lnTo>
                  <a:lnTo>
                    <a:pt x="591" y="462"/>
                  </a:lnTo>
                  <a:lnTo>
                    <a:pt x="592" y="463"/>
                  </a:lnTo>
                  <a:lnTo>
                    <a:pt x="592" y="462"/>
                  </a:lnTo>
                  <a:lnTo>
                    <a:pt x="592" y="462"/>
                  </a:lnTo>
                  <a:lnTo>
                    <a:pt x="591" y="462"/>
                  </a:lnTo>
                  <a:lnTo>
                    <a:pt x="592" y="463"/>
                  </a:lnTo>
                  <a:lnTo>
                    <a:pt x="592" y="462"/>
                  </a:lnTo>
                  <a:lnTo>
                    <a:pt x="592" y="463"/>
                  </a:lnTo>
                  <a:lnTo>
                    <a:pt x="594" y="462"/>
                  </a:lnTo>
                  <a:lnTo>
                    <a:pt x="594" y="462"/>
                  </a:lnTo>
                  <a:lnTo>
                    <a:pt x="592" y="462"/>
                  </a:lnTo>
                  <a:lnTo>
                    <a:pt x="592" y="463"/>
                  </a:lnTo>
                  <a:lnTo>
                    <a:pt x="594" y="462"/>
                  </a:lnTo>
                  <a:lnTo>
                    <a:pt x="592" y="463"/>
                  </a:lnTo>
                  <a:lnTo>
                    <a:pt x="594" y="463"/>
                  </a:lnTo>
                  <a:lnTo>
                    <a:pt x="594" y="462"/>
                  </a:lnTo>
                  <a:lnTo>
                    <a:pt x="592" y="463"/>
                  </a:lnTo>
                  <a:lnTo>
                    <a:pt x="594" y="463"/>
                  </a:lnTo>
                  <a:lnTo>
                    <a:pt x="594" y="463"/>
                  </a:lnTo>
                  <a:lnTo>
                    <a:pt x="594" y="463"/>
                  </a:lnTo>
                  <a:lnTo>
                    <a:pt x="594" y="463"/>
                  </a:lnTo>
                  <a:lnTo>
                    <a:pt x="594" y="463"/>
                  </a:lnTo>
                  <a:lnTo>
                    <a:pt x="594" y="463"/>
                  </a:lnTo>
                  <a:lnTo>
                    <a:pt x="594" y="462"/>
                  </a:lnTo>
                  <a:lnTo>
                    <a:pt x="594" y="462"/>
                  </a:lnTo>
                  <a:lnTo>
                    <a:pt x="594" y="459"/>
                  </a:lnTo>
                  <a:lnTo>
                    <a:pt x="594" y="459"/>
                  </a:lnTo>
                  <a:lnTo>
                    <a:pt x="594" y="456"/>
                  </a:lnTo>
                  <a:lnTo>
                    <a:pt x="594" y="456"/>
                  </a:lnTo>
                  <a:lnTo>
                    <a:pt x="594" y="453"/>
                  </a:lnTo>
                  <a:lnTo>
                    <a:pt x="594" y="453"/>
                  </a:lnTo>
                  <a:lnTo>
                    <a:pt x="591" y="452"/>
                  </a:lnTo>
                  <a:lnTo>
                    <a:pt x="589" y="450"/>
                  </a:lnTo>
                  <a:lnTo>
                    <a:pt x="589" y="450"/>
                  </a:lnTo>
                  <a:lnTo>
                    <a:pt x="582" y="449"/>
                  </a:lnTo>
                  <a:lnTo>
                    <a:pt x="582" y="449"/>
                  </a:lnTo>
                  <a:lnTo>
                    <a:pt x="582" y="449"/>
                  </a:lnTo>
                  <a:lnTo>
                    <a:pt x="581" y="448"/>
                  </a:lnTo>
                  <a:lnTo>
                    <a:pt x="581" y="449"/>
                  </a:lnTo>
                  <a:lnTo>
                    <a:pt x="581" y="449"/>
                  </a:lnTo>
                  <a:lnTo>
                    <a:pt x="581" y="448"/>
                  </a:lnTo>
                  <a:lnTo>
                    <a:pt x="581" y="449"/>
                  </a:lnTo>
                  <a:lnTo>
                    <a:pt x="581" y="449"/>
                  </a:lnTo>
                  <a:lnTo>
                    <a:pt x="581" y="449"/>
                  </a:lnTo>
                  <a:lnTo>
                    <a:pt x="581" y="449"/>
                  </a:lnTo>
                  <a:lnTo>
                    <a:pt x="581" y="449"/>
                  </a:lnTo>
                  <a:lnTo>
                    <a:pt x="581" y="449"/>
                  </a:lnTo>
                  <a:lnTo>
                    <a:pt x="581" y="449"/>
                  </a:lnTo>
                  <a:lnTo>
                    <a:pt x="581" y="449"/>
                  </a:lnTo>
                  <a:lnTo>
                    <a:pt x="581" y="449"/>
                  </a:lnTo>
                  <a:lnTo>
                    <a:pt x="581" y="449"/>
                  </a:lnTo>
                  <a:lnTo>
                    <a:pt x="581" y="449"/>
                  </a:lnTo>
                  <a:lnTo>
                    <a:pt x="581" y="449"/>
                  </a:lnTo>
                  <a:lnTo>
                    <a:pt x="581" y="449"/>
                  </a:lnTo>
                  <a:lnTo>
                    <a:pt x="581" y="449"/>
                  </a:lnTo>
                  <a:lnTo>
                    <a:pt x="582" y="446"/>
                  </a:lnTo>
                  <a:lnTo>
                    <a:pt x="582" y="446"/>
                  </a:lnTo>
                  <a:lnTo>
                    <a:pt x="584" y="440"/>
                  </a:lnTo>
                  <a:lnTo>
                    <a:pt x="584" y="440"/>
                  </a:lnTo>
                  <a:lnTo>
                    <a:pt x="582" y="439"/>
                  </a:lnTo>
                  <a:lnTo>
                    <a:pt x="582" y="439"/>
                  </a:lnTo>
                  <a:lnTo>
                    <a:pt x="582" y="437"/>
                  </a:lnTo>
                  <a:lnTo>
                    <a:pt x="582" y="437"/>
                  </a:lnTo>
                  <a:lnTo>
                    <a:pt x="579" y="437"/>
                  </a:lnTo>
                  <a:lnTo>
                    <a:pt x="579" y="437"/>
                  </a:lnTo>
                  <a:lnTo>
                    <a:pt x="576" y="439"/>
                  </a:lnTo>
                  <a:lnTo>
                    <a:pt x="576" y="439"/>
                  </a:lnTo>
                  <a:lnTo>
                    <a:pt x="574" y="442"/>
                  </a:lnTo>
                  <a:lnTo>
                    <a:pt x="574" y="442"/>
                  </a:lnTo>
                  <a:lnTo>
                    <a:pt x="571" y="446"/>
                  </a:lnTo>
                  <a:lnTo>
                    <a:pt x="571" y="446"/>
                  </a:lnTo>
                  <a:lnTo>
                    <a:pt x="571" y="446"/>
                  </a:lnTo>
                  <a:lnTo>
                    <a:pt x="571" y="446"/>
                  </a:lnTo>
                  <a:lnTo>
                    <a:pt x="569" y="449"/>
                  </a:lnTo>
                  <a:lnTo>
                    <a:pt x="569" y="449"/>
                  </a:lnTo>
                  <a:lnTo>
                    <a:pt x="568" y="453"/>
                  </a:lnTo>
                  <a:lnTo>
                    <a:pt x="568" y="453"/>
                  </a:lnTo>
                  <a:lnTo>
                    <a:pt x="569" y="461"/>
                  </a:lnTo>
                  <a:lnTo>
                    <a:pt x="569" y="461"/>
                  </a:lnTo>
                  <a:lnTo>
                    <a:pt x="571" y="462"/>
                  </a:lnTo>
                  <a:lnTo>
                    <a:pt x="571" y="462"/>
                  </a:lnTo>
                  <a:lnTo>
                    <a:pt x="571" y="462"/>
                  </a:lnTo>
                  <a:lnTo>
                    <a:pt x="571" y="461"/>
                  </a:lnTo>
                  <a:lnTo>
                    <a:pt x="571" y="462"/>
                  </a:lnTo>
                  <a:lnTo>
                    <a:pt x="571" y="462"/>
                  </a:lnTo>
                  <a:lnTo>
                    <a:pt x="571" y="461"/>
                  </a:lnTo>
                  <a:lnTo>
                    <a:pt x="571" y="462"/>
                  </a:lnTo>
                  <a:lnTo>
                    <a:pt x="571" y="462"/>
                  </a:lnTo>
                  <a:lnTo>
                    <a:pt x="566" y="462"/>
                  </a:lnTo>
                  <a:lnTo>
                    <a:pt x="566" y="462"/>
                  </a:lnTo>
                  <a:lnTo>
                    <a:pt x="563" y="463"/>
                  </a:lnTo>
                  <a:lnTo>
                    <a:pt x="563" y="463"/>
                  </a:lnTo>
                  <a:lnTo>
                    <a:pt x="560" y="466"/>
                  </a:lnTo>
                  <a:lnTo>
                    <a:pt x="560" y="466"/>
                  </a:lnTo>
                  <a:lnTo>
                    <a:pt x="560" y="468"/>
                  </a:lnTo>
                  <a:lnTo>
                    <a:pt x="560" y="468"/>
                  </a:lnTo>
                  <a:lnTo>
                    <a:pt x="562" y="472"/>
                  </a:lnTo>
                  <a:lnTo>
                    <a:pt x="562" y="472"/>
                  </a:lnTo>
                  <a:lnTo>
                    <a:pt x="565" y="474"/>
                  </a:lnTo>
                  <a:lnTo>
                    <a:pt x="565" y="474"/>
                  </a:lnTo>
                  <a:lnTo>
                    <a:pt x="569" y="476"/>
                  </a:lnTo>
                  <a:lnTo>
                    <a:pt x="569" y="476"/>
                  </a:lnTo>
                  <a:lnTo>
                    <a:pt x="571" y="476"/>
                  </a:lnTo>
                  <a:lnTo>
                    <a:pt x="571" y="476"/>
                  </a:lnTo>
                  <a:lnTo>
                    <a:pt x="571" y="479"/>
                  </a:lnTo>
                  <a:lnTo>
                    <a:pt x="571" y="479"/>
                  </a:lnTo>
                  <a:lnTo>
                    <a:pt x="571" y="484"/>
                  </a:lnTo>
                  <a:lnTo>
                    <a:pt x="571" y="484"/>
                  </a:lnTo>
                  <a:lnTo>
                    <a:pt x="571" y="485"/>
                  </a:lnTo>
                  <a:lnTo>
                    <a:pt x="574" y="485"/>
                  </a:lnTo>
                  <a:lnTo>
                    <a:pt x="571" y="485"/>
                  </a:lnTo>
                  <a:lnTo>
                    <a:pt x="571" y="485"/>
                  </a:lnTo>
                  <a:lnTo>
                    <a:pt x="574" y="485"/>
                  </a:lnTo>
                  <a:lnTo>
                    <a:pt x="571" y="485"/>
                  </a:lnTo>
                  <a:lnTo>
                    <a:pt x="574" y="485"/>
                  </a:lnTo>
                  <a:lnTo>
                    <a:pt x="572" y="484"/>
                  </a:lnTo>
                  <a:lnTo>
                    <a:pt x="572" y="484"/>
                  </a:lnTo>
                  <a:lnTo>
                    <a:pt x="571" y="485"/>
                  </a:lnTo>
                  <a:lnTo>
                    <a:pt x="574" y="485"/>
                  </a:lnTo>
                  <a:lnTo>
                    <a:pt x="572" y="484"/>
                  </a:lnTo>
                  <a:lnTo>
                    <a:pt x="574" y="485"/>
                  </a:lnTo>
                  <a:lnTo>
                    <a:pt x="572" y="482"/>
                  </a:lnTo>
                  <a:lnTo>
                    <a:pt x="572" y="484"/>
                  </a:lnTo>
                  <a:lnTo>
                    <a:pt x="574" y="485"/>
                  </a:lnTo>
                  <a:lnTo>
                    <a:pt x="572" y="482"/>
                  </a:lnTo>
                  <a:lnTo>
                    <a:pt x="572" y="484"/>
                  </a:lnTo>
                  <a:lnTo>
                    <a:pt x="572" y="482"/>
                  </a:lnTo>
                  <a:lnTo>
                    <a:pt x="572" y="482"/>
                  </a:lnTo>
                  <a:lnTo>
                    <a:pt x="572" y="484"/>
                  </a:lnTo>
                  <a:lnTo>
                    <a:pt x="572" y="482"/>
                  </a:lnTo>
                  <a:lnTo>
                    <a:pt x="572" y="482"/>
                  </a:lnTo>
                  <a:lnTo>
                    <a:pt x="572" y="482"/>
                  </a:lnTo>
                  <a:lnTo>
                    <a:pt x="568" y="482"/>
                  </a:lnTo>
                  <a:lnTo>
                    <a:pt x="568" y="482"/>
                  </a:lnTo>
                  <a:lnTo>
                    <a:pt x="563" y="484"/>
                  </a:lnTo>
                  <a:lnTo>
                    <a:pt x="563" y="484"/>
                  </a:lnTo>
                  <a:lnTo>
                    <a:pt x="562" y="484"/>
                  </a:lnTo>
                  <a:lnTo>
                    <a:pt x="562" y="484"/>
                  </a:lnTo>
                  <a:lnTo>
                    <a:pt x="560" y="487"/>
                  </a:lnTo>
                  <a:lnTo>
                    <a:pt x="560" y="487"/>
                  </a:lnTo>
                  <a:lnTo>
                    <a:pt x="558" y="490"/>
                  </a:lnTo>
                  <a:lnTo>
                    <a:pt x="558" y="490"/>
                  </a:lnTo>
                  <a:lnTo>
                    <a:pt x="553" y="492"/>
                  </a:lnTo>
                  <a:lnTo>
                    <a:pt x="553" y="492"/>
                  </a:lnTo>
                  <a:lnTo>
                    <a:pt x="552" y="492"/>
                  </a:lnTo>
                  <a:lnTo>
                    <a:pt x="552" y="492"/>
                  </a:lnTo>
                  <a:lnTo>
                    <a:pt x="550" y="494"/>
                  </a:lnTo>
                  <a:lnTo>
                    <a:pt x="550" y="494"/>
                  </a:lnTo>
                  <a:lnTo>
                    <a:pt x="549" y="495"/>
                  </a:lnTo>
                  <a:lnTo>
                    <a:pt x="549" y="495"/>
                  </a:lnTo>
                  <a:lnTo>
                    <a:pt x="550" y="498"/>
                  </a:lnTo>
                  <a:lnTo>
                    <a:pt x="550" y="500"/>
                  </a:lnTo>
                  <a:lnTo>
                    <a:pt x="550" y="500"/>
                  </a:lnTo>
                  <a:lnTo>
                    <a:pt x="553" y="503"/>
                  </a:lnTo>
                  <a:lnTo>
                    <a:pt x="555" y="503"/>
                  </a:lnTo>
                  <a:lnTo>
                    <a:pt x="555" y="503"/>
                  </a:lnTo>
                  <a:lnTo>
                    <a:pt x="556" y="503"/>
                  </a:lnTo>
                  <a:lnTo>
                    <a:pt x="555" y="503"/>
                  </a:lnTo>
                  <a:lnTo>
                    <a:pt x="555" y="503"/>
                  </a:lnTo>
                  <a:lnTo>
                    <a:pt x="556" y="503"/>
                  </a:lnTo>
                  <a:lnTo>
                    <a:pt x="555" y="503"/>
                  </a:lnTo>
                  <a:lnTo>
                    <a:pt x="556" y="503"/>
                  </a:lnTo>
                  <a:lnTo>
                    <a:pt x="555" y="501"/>
                  </a:lnTo>
                  <a:lnTo>
                    <a:pt x="555" y="503"/>
                  </a:lnTo>
                  <a:lnTo>
                    <a:pt x="556" y="503"/>
                  </a:lnTo>
                  <a:lnTo>
                    <a:pt x="555" y="501"/>
                  </a:lnTo>
                  <a:lnTo>
                    <a:pt x="556" y="503"/>
                  </a:lnTo>
                  <a:lnTo>
                    <a:pt x="555" y="501"/>
                  </a:lnTo>
                  <a:lnTo>
                    <a:pt x="555" y="501"/>
                  </a:lnTo>
                  <a:lnTo>
                    <a:pt x="555" y="501"/>
                  </a:lnTo>
                  <a:lnTo>
                    <a:pt x="556" y="503"/>
                  </a:lnTo>
                  <a:lnTo>
                    <a:pt x="555" y="501"/>
                  </a:lnTo>
                  <a:lnTo>
                    <a:pt x="555" y="501"/>
                  </a:lnTo>
                  <a:lnTo>
                    <a:pt x="555" y="501"/>
                  </a:lnTo>
                  <a:lnTo>
                    <a:pt x="555" y="501"/>
                  </a:lnTo>
                  <a:lnTo>
                    <a:pt x="553" y="500"/>
                  </a:lnTo>
                  <a:lnTo>
                    <a:pt x="553" y="500"/>
                  </a:lnTo>
                  <a:lnTo>
                    <a:pt x="552" y="500"/>
                  </a:lnTo>
                  <a:lnTo>
                    <a:pt x="552" y="500"/>
                  </a:lnTo>
                  <a:lnTo>
                    <a:pt x="549" y="501"/>
                  </a:lnTo>
                  <a:lnTo>
                    <a:pt x="549" y="501"/>
                  </a:lnTo>
                  <a:lnTo>
                    <a:pt x="545" y="504"/>
                  </a:lnTo>
                  <a:lnTo>
                    <a:pt x="545" y="504"/>
                  </a:lnTo>
                  <a:lnTo>
                    <a:pt x="540" y="505"/>
                  </a:lnTo>
                  <a:lnTo>
                    <a:pt x="540" y="505"/>
                  </a:lnTo>
                  <a:lnTo>
                    <a:pt x="537" y="507"/>
                  </a:lnTo>
                  <a:lnTo>
                    <a:pt x="537" y="507"/>
                  </a:lnTo>
                  <a:lnTo>
                    <a:pt x="534" y="508"/>
                  </a:lnTo>
                  <a:lnTo>
                    <a:pt x="534" y="508"/>
                  </a:lnTo>
                  <a:lnTo>
                    <a:pt x="533" y="507"/>
                  </a:lnTo>
                  <a:lnTo>
                    <a:pt x="533" y="507"/>
                  </a:lnTo>
                  <a:lnTo>
                    <a:pt x="532" y="505"/>
                  </a:lnTo>
                  <a:lnTo>
                    <a:pt x="527" y="504"/>
                  </a:lnTo>
                  <a:lnTo>
                    <a:pt x="527" y="504"/>
                  </a:lnTo>
                  <a:lnTo>
                    <a:pt x="526" y="505"/>
                  </a:lnTo>
                  <a:lnTo>
                    <a:pt x="523" y="507"/>
                  </a:lnTo>
                  <a:lnTo>
                    <a:pt x="523" y="507"/>
                  </a:lnTo>
                  <a:lnTo>
                    <a:pt x="521" y="508"/>
                  </a:lnTo>
                  <a:lnTo>
                    <a:pt x="521" y="511"/>
                  </a:lnTo>
                  <a:lnTo>
                    <a:pt x="521" y="511"/>
                  </a:lnTo>
                  <a:lnTo>
                    <a:pt x="521" y="513"/>
                  </a:lnTo>
                  <a:lnTo>
                    <a:pt x="521" y="513"/>
                  </a:lnTo>
                  <a:lnTo>
                    <a:pt x="517" y="517"/>
                  </a:lnTo>
                  <a:lnTo>
                    <a:pt x="517" y="517"/>
                  </a:lnTo>
                  <a:lnTo>
                    <a:pt x="516" y="520"/>
                  </a:lnTo>
                  <a:lnTo>
                    <a:pt x="516" y="520"/>
                  </a:lnTo>
                  <a:lnTo>
                    <a:pt x="516" y="523"/>
                  </a:lnTo>
                  <a:lnTo>
                    <a:pt x="516" y="523"/>
                  </a:lnTo>
                  <a:lnTo>
                    <a:pt x="516" y="526"/>
                  </a:lnTo>
                  <a:lnTo>
                    <a:pt x="516" y="526"/>
                  </a:lnTo>
                  <a:lnTo>
                    <a:pt x="518" y="527"/>
                  </a:lnTo>
                  <a:lnTo>
                    <a:pt x="518" y="527"/>
                  </a:lnTo>
                  <a:lnTo>
                    <a:pt x="521" y="527"/>
                  </a:lnTo>
                  <a:lnTo>
                    <a:pt x="521" y="527"/>
                  </a:lnTo>
                  <a:lnTo>
                    <a:pt x="530" y="526"/>
                  </a:lnTo>
                  <a:lnTo>
                    <a:pt x="530" y="526"/>
                  </a:lnTo>
                  <a:lnTo>
                    <a:pt x="530" y="524"/>
                  </a:lnTo>
                  <a:lnTo>
                    <a:pt x="529" y="526"/>
                  </a:lnTo>
                  <a:lnTo>
                    <a:pt x="529" y="526"/>
                  </a:lnTo>
                  <a:lnTo>
                    <a:pt x="530" y="526"/>
                  </a:lnTo>
                  <a:lnTo>
                    <a:pt x="530" y="524"/>
                  </a:lnTo>
                  <a:lnTo>
                    <a:pt x="529" y="526"/>
                  </a:lnTo>
                  <a:lnTo>
                    <a:pt x="530" y="524"/>
                  </a:lnTo>
                  <a:lnTo>
                    <a:pt x="529" y="524"/>
                  </a:lnTo>
                  <a:lnTo>
                    <a:pt x="529" y="524"/>
                  </a:lnTo>
                  <a:lnTo>
                    <a:pt x="529" y="526"/>
                  </a:lnTo>
                  <a:lnTo>
                    <a:pt x="530" y="524"/>
                  </a:lnTo>
                  <a:lnTo>
                    <a:pt x="529" y="524"/>
                  </a:lnTo>
                  <a:lnTo>
                    <a:pt x="530" y="524"/>
                  </a:lnTo>
                  <a:lnTo>
                    <a:pt x="529" y="523"/>
                  </a:lnTo>
                  <a:lnTo>
                    <a:pt x="529" y="524"/>
                  </a:lnTo>
                  <a:lnTo>
                    <a:pt x="530" y="524"/>
                  </a:lnTo>
                  <a:lnTo>
                    <a:pt x="529" y="523"/>
                  </a:lnTo>
                  <a:lnTo>
                    <a:pt x="529" y="523"/>
                  </a:lnTo>
                  <a:lnTo>
                    <a:pt x="529" y="523"/>
                  </a:lnTo>
                  <a:lnTo>
                    <a:pt x="529" y="523"/>
                  </a:lnTo>
                  <a:lnTo>
                    <a:pt x="529" y="523"/>
                  </a:lnTo>
                  <a:lnTo>
                    <a:pt x="529" y="523"/>
                  </a:lnTo>
                  <a:lnTo>
                    <a:pt x="529" y="523"/>
                  </a:lnTo>
                  <a:lnTo>
                    <a:pt x="526" y="527"/>
                  </a:lnTo>
                  <a:lnTo>
                    <a:pt x="526" y="527"/>
                  </a:lnTo>
                  <a:lnTo>
                    <a:pt x="521" y="532"/>
                  </a:lnTo>
                  <a:lnTo>
                    <a:pt x="521" y="532"/>
                  </a:lnTo>
                  <a:lnTo>
                    <a:pt x="521" y="532"/>
                  </a:lnTo>
                  <a:lnTo>
                    <a:pt x="521" y="532"/>
                  </a:lnTo>
                  <a:lnTo>
                    <a:pt x="520" y="536"/>
                  </a:lnTo>
                  <a:lnTo>
                    <a:pt x="520" y="536"/>
                  </a:lnTo>
                  <a:lnTo>
                    <a:pt x="520" y="537"/>
                  </a:lnTo>
                  <a:lnTo>
                    <a:pt x="520" y="537"/>
                  </a:lnTo>
                  <a:lnTo>
                    <a:pt x="523" y="539"/>
                  </a:lnTo>
                  <a:lnTo>
                    <a:pt x="523" y="539"/>
                  </a:lnTo>
                  <a:lnTo>
                    <a:pt x="524" y="539"/>
                  </a:lnTo>
                  <a:lnTo>
                    <a:pt x="524" y="539"/>
                  </a:lnTo>
                  <a:lnTo>
                    <a:pt x="529" y="539"/>
                  </a:lnTo>
                  <a:lnTo>
                    <a:pt x="529" y="539"/>
                  </a:lnTo>
                  <a:lnTo>
                    <a:pt x="532" y="537"/>
                  </a:lnTo>
                  <a:lnTo>
                    <a:pt x="532" y="536"/>
                  </a:lnTo>
                  <a:lnTo>
                    <a:pt x="532" y="536"/>
                  </a:lnTo>
                  <a:lnTo>
                    <a:pt x="532" y="536"/>
                  </a:lnTo>
                  <a:lnTo>
                    <a:pt x="532" y="536"/>
                  </a:lnTo>
                  <a:lnTo>
                    <a:pt x="532" y="536"/>
                  </a:lnTo>
                  <a:lnTo>
                    <a:pt x="532" y="536"/>
                  </a:lnTo>
                  <a:lnTo>
                    <a:pt x="532" y="534"/>
                  </a:lnTo>
                  <a:lnTo>
                    <a:pt x="530" y="536"/>
                  </a:lnTo>
                  <a:lnTo>
                    <a:pt x="532" y="536"/>
                  </a:lnTo>
                  <a:lnTo>
                    <a:pt x="532" y="534"/>
                  </a:lnTo>
                  <a:lnTo>
                    <a:pt x="530" y="536"/>
                  </a:lnTo>
                  <a:lnTo>
                    <a:pt x="532" y="534"/>
                  </a:lnTo>
                  <a:lnTo>
                    <a:pt x="530" y="536"/>
                  </a:lnTo>
                  <a:lnTo>
                    <a:pt x="530" y="536"/>
                  </a:lnTo>
                  <a:lnTo>
                    <a:pt x="532" y="534"/>
                  </a:lnTo>
                  <a:lnTo>
                    <a:pt x="530" y="536"/>
                  </a:lnTo>
                  <a:lnTo>
                    <a:pt x="530" y="536"/>
                  </a:lnTo>
                  <a:lnTo>
                    <a:pt x="530" y="536"/>
                  </a:lnTo>
                  <a:lnTo>
                    <a:pt x="530" y="536"/>
                  </a:lnTo>
                  <a:lnTo>
                    <a:pt x="530" y="536"/>
                  </a:lnTo>
                  <a:lnTo>
                    <a:pt x="530" y="536"/>
                  </a:lnTo>
                  <a:lnTo>
                    <a:pt x="530" y="536"/>
                  </a:lnTo>
                  <a:lnTo>
                    <a:pt x="530" y="537"/>
                  </a:lnTo>
                  <a:lnTo>
                    <a:pt x="530" y="537"/>
                  </a:lnTo>
                  <a:lnTo>
                    <a:pt x="527" y="539"/>
                  </a:lnTo>
                  <a:lnTo>
                    <a:pt x="527" y="539"/>
                  </a:lnTo>
                  <a:lnTo>
                    <a:pt x="521" y="542"/>
                  </a:lnTo>
                  <a:lnTo>
                    <a:pt x="521" y="542"/>
                  </a:lnTo>
                  <a:lnTo>
                    <a:pt x="517" y="543"/>
                  </a:lnTo>
                  <a:lnTo>
                    <a:pt x="514" y="547"/>
                  </a:lnTo>
                  <a:lnTo>
                    <a:pt x="514" y="547"/>
                  </a:lnTo>
                  <a:lnTo>
                    <a:pt x="513" y="550"/>
                  </a:lnTo>
                  <a:lnTo>
                    <a:pt x="513" y="550"/>
                  </a:lnTo>
                  <a:lnTo>
                    <a:pt x="514" y="553"/>
                  </a:lnTo>
                  <a:lnTo>
                    <a:pt x="514" y="553"/>
                  </a:lnTo>
                  <a:lnTo>
                    <a:pt x="517" y="555"/>
                  </a:lnTo>
                  <a:lnTo>
                    <a:pt x="517" y="555"/>
                  </a:lnTo>
                  <a:lnTo>
                    <a:pt x="523" y="556"/>
                  </a:lnTo>
                  <a:lnTo>
                    <a:pt x="523" y="556"/>
                  </a:lnTo>
                  <a:lnTo>
                    <a:pt x="529" y="556"/>
                  </a:lnTo>
                  <a:lnTo>
                    <a:pt x="529" y="558"/>
                  </a:lnTo>
                  <a:lnTo>
                    <a:pt x="529" y="558"/>
                  </a:lnTo>
                  <a:lnTo>
                    <a:pt x="530" y="555"/>
                  </a:lnTo>
                  <a:lnTo>
                    <a:pt x="529" y="558"/>
                  </a:lnTo>
                  <a:lnTo>
                    <a:pt x="529" y="558"/>
                  </a:lnTo>
                  <a:lnTo>
                    <a:pt x="530" y="555"/>
                  </a:lnTo>
                  <a:lnTo>
                    <a:pt x="529" y="558"/>
                  </a:lnTo>
                  <a:lnTo>
                    <a:pt x="530" y="555"/>
                  </a:lnTo>
                  <a:lnTo>
                    <a:pt x="529" y="556"/>
                  </a:lnTo>
                  <a:lnTo>
                    <a:pt x="529" y="558"/>
                  </a:lnTo>
                  <a:lnTo>
                    <a:pt x="530" y="555"/>
                  </a:lnTo>
                  <a:lnTo>
                    <a:pt x="529" y="556"/>
                  </a:lnTo>
                  <a:lnTo>
                    <a:pt x="530" y="555"/>
                  </a:lnTo>
                  <a:lnTo>
                    <a:pt x="529" y="556"/>
                  </a:lnTo>
                  <a:lnTo>
                    <a:pt x="529" y="556"/>
                  </a:lnTo>
                  <a:lnTo>
                    <a:pt x="530" y="555"/>
                  </a:lnTo>
                  <a:lnTo>
                    <a:pt x="529" y="556"/>
                  </a:lnTo>
                  <a:lnTo>
                    <a:pt x="530" y="555"/>
                  </a:lnTo>
                  <a:lnTo>
                    <a:pt x="527" y="556"/>
                  </a:lnTo>
                  <a:lnTo>
                    <a:pt x="529" y="556"/>
                  </a:lnTo>
                  <a:lnTo>
                    <a:pt x="530" y="555"/>
                  </a:lnTo>
                  <a:lnTo>
                    <a:pt x="527" y="556"/>
                  </a:lnTo>
                  <a:lnTo>
                    <a:pt x="530" y="555"/>
                  </a:lnTo>
                  <a:lnTo>
                    <a:pt x="527" y="555"/>
                  </a:lnTo>
                  <a:lnTo>
                    <a:pt x="527" y="555"/>
                  </a:lnTo>
                  <a:lnTo>
                    <a:pt x="527" y="556"/>
                  </a:lnTo>
                  <a:lnTo>
                    <a:pt x="530" y="555"/>
                  </a:lnTo>
                  <a:lnTo>
                    <a:pt x="527" y="555"/>
                  </a:lnTo>
                  <a:lnTo>
                    <a:pt x="530" y="555"/>
                  </a:lnTo>
                  <a:lnTo>
                    <a:pt x="527" y="553"/>
                  </a:lnTo>
                  <a:lnTo>
                    <a:pt x="527" y="553"/>
                  </a:lnTo>
                  <a:lnTo>
                    <a:pt x="527" y="555"/>
                  </a:lnTo>
                  <a:lnTo>
                    <a:pt x="530" y="555"/>
                  </a:lnTo>
                  <a:lnTo>
                    <a:pt x="527" y="553"/>
                  </a:lnTo>
                  <a:lnTo>
                    <a:pt x="530" y="555"/>
                  </a:lnTo>
                  <a:lnTo>
                    <a:pt x="529" y="552"/>
                  </a:lnTo>
                  <a:lnTo>
                    <a:pt x="529" y="552"/>
                  </a:lnTo>
                  <a:lnTo>
                    <a:pt x="527" y="553"/>
                  </a:lnTo>
                  <a:lnTo>
                    <a:pt x="530" y="555"/>
                  </a:lnTo>
                  <a:lnTo>
                    <a:pt x="529" y="552"/>
                  </a:lnTo>
                  <a:lnTo>
                    <a:pt x="530" y="555"/>
                  </a:lnTo>
                  <a:lnTo>
                    <a:pt x="530" y="552"/>
                  </a:lnTo>
                  <a:lnTo>
                    <a:pt x="529" y="552"/>
                  </a:lnTo>
                  <a:lnTo>
                    <a:pt x="530" y="555"/>
                  </a:lnTo>
                  <a:lnTo>
                    <a:pt x="530" y="552"/>
                  </a:lnTo>
                  <a:lnTo>
                    <a:pt x="530" y="555"/>
                  </a:lnTo>
                  <a:lnTo>
                    <a:pt x="530" y="552"/>
                  </a:lnTo>
                  <a:lnTo>
                    <a:pt x="530" y="552"/>
                  </a:lnTo>
                  <a:lnTo>
                    <a:pt x="530" y="555"/>
                  </a:lnTo>
                  <a:lnTo>
                    <a:pt x="530" y="552"/>
                  </a:lnTo>
                  <a:lnTo>
                    <a:pt x="530" y="552"/>
                  </a:lnTo>
                  <a:lnTo>
                    <a:pt x="527" y="552"/>
                  </a:lnTo>
                  <a:lnTo>
                    <a:pt x="527" y="552"/>
                  </a:lnTo>
                  <a:lnTo>
                    <a:pt x="521" y="552"/>
                  </a:lnTo>
                  <a:lnTo>
                    <a:pt x="521" y="552"/>
                  </a:lnTo>
                  <a:lnTo>
                    <a:pt x="514" y="552"/>
                  </a:lnTo>
                  <a:lnTo>
                    <a:pt x="514" y="552"/>
                  </a:lnTo>
                  <a:lnTo>
                    <a:pt x="510" y="553"/>
                  </a:lnTo>
                  <a:lnTo>
                    <a:pt x="510" y="553"/>
                  </a:lnTo>
                  <a:lnTo>
                    <a:pt x="508" y="555"/>
                  </a:lnTo>
                  <a:lnTo>
                    <a:pt x="508" y="555"/>
                  </a:lnTo>
                  <a:lnTo>
                    <a:pt x="508" y="556"/>
                  </a:lnTo>
                  <a:lnTo>
                    <a:pt x="508" y="556"/>
                  </a:lnTo>
                  <a:lnTo>
                    <a:pt x="508" y="558"/>
                  </a:lnTo>
                  <a:lnTo>
                    <a:pt x="508" y="558"/>
                  </a:lnTo>
                  <a:lnTo>
                    <a:pt x="508" y="559"/>
                  </a:lnTo>
                  <a:lnTo>
                    <a:pt x="508" y="559"/>
                  </a:lnTo>
                  <a:lnTo>
                    <a:pt x="508" y="561"/>
                  </a:lnTo>
                  <a:lnTo>
                    <a:pt x="508" y="561"/>
                  </a:lnTo>
                  <a:lnTo>
                    <a:pt x="505" y="563"/>
                  </a:lnTo>
                  <a:lnTo>
                    <a:pt x="505" y="563"/>
                  </a:lnTo>
                  <a:lnTo>
                    <a:pt x="504" y="566"/>
                  </a:lnTo>
                  <a:lnTo>
                    <a:pt x="503" y="568"/>
                  </a:lnTo>
                  <a:lnTo>
                    <a:pt x="503" y="568"/>
                  </a:lnTo>
                  <a:lnTo>
                    <a:pt x="503" y="569"/>
                  </a:lnTo>
                  <a:lnTo>
                    <a:pt x="503" y="569"/>
                  </a:lnTo>
                  <a:lnTo>
                    <a:pt x="504" y="572"/>
                  </a:lnTo>
                  <a:lnTo>
                    <a:pt x="504" y="572"/>
                  </a:lnTo>
                  <a:lnTo>
                    <a:pt x="507" y="574"/>
                  </a:lnTo>
                  <a:lnTo>
                    <a:pt x="507" y="574"/>
                  </a:lnTo>
                  <a:lnTo>
                    <a:pt x="510" y="574"/>
                  </a:lnTo>
                  <a:lnTo>
                    <a:pt x="510" y="574"/>
                  </a:lnTo>
                  <a:lnTo>
                    <a:pt x="516" y="574"/>
                  </a:lnTo>
                  <a:lnTo>
                    <a:pt x="517" y="574"/>
                  </a:lnTo>
                  <a:lnTo>
                    <a:pt x="516" y="574"/>
                  </a:lnTo>
                  <a:lnTo>
                    <a:pt x="516" y="574"/>
                  </a:lnTo>
                  <a:lnTo>
                    <a:pt x="517" y="574"/>
                  </a:lnTo>
                  <a:lnTo>
                    <a:pt x="516" y="574"/>
                  </a:lnTo>
                  <a:lnTo>
                    <a:pt x="516" y="574"/>
                  </a:lnTo>
                  <a:lnTo>
                    <a:pt x="516" y="572"/>
                  </a:lnTo>
                  <a:lnTo>
                    <a:pt x="516" y="574"/>
                  </a:lnTo>
                  <a:lnTo>
                    <a:pt x="516" y="574"/>
                  </a:lnTo>
                  <a:lnTo>
                    <a:pt x="516" y="574"/>
                  </a:lnTo>
                  <a:lnTo>
                    <a:pt x="516" y="572"/>
                  </a:lnTo>
                  <a:lnTo>
                    <a:pt x="516" y="574"/>
                  </a:lnTo>
                  <a:lnTo>
                    <a:pt x="517" y="571"/>
                  </a:lnTo>
                  <a:lnTo>
                    <a:pt x="514" y="572"/>
                  </a:lnTo>
                  <a:lnTo>
                    <a:pt x="516" y="574"/>
                  </a:lnTo>
                  <a:lnTo>
                    <a:pt x="517" y="571"/>
                  </a:lnTo>
                  <a:lnTo>
                    <a:pt x="514" y="572"/>
                  </a:lnTo>
                  <a:lnTo>
                    <a:pt x="517" y="571"/>
                  </a:lnTo>
                  <a:lnTo>
                    <a:pt x="514" y="571"/>
                  </a:lnTo>
                  <a:lnTo>
                    <a:pt x="514" y="572"/>
                  </a:lnTo>
                  <a:lnTo>
                    <a:pt x="517" y="571"/>
                  </a:lnTo>
                  <a:lnTo>
                    <a:pt x="514" y="571"/>
                  </a:lnTo>
                  <a:lnTo>
                    <a:pt x="517" y="571"/>
                  </a:lnTo>
                  <a:lnTo>
                    <a:pt x="514" y="569"/>
                  </a:lnTo>
                  <a:lnTo>
                    <a:pt x="514" y="569"/>
                  </a:lnTo>
                  <a:lnTo>
                    <a:pt x="514" y="571"/>
                  </a:lnTo>
                  <a:lnTo>
                    <a:pt x="517" y="571"/>
                  </a:lnTo>
                  <a:lnTo>
                    <a:pt x="514" y="569"/>
                  </a:lnTo>
                  <a:lnTo>
                    <a:pt x="516" y="571"/>
                  </a:lnTo>
                  <a:lnTo>
                    <a:pt x="514" y="569"/>
                  </a:lnTo>
                  <a:lnTo>
                    <a:pt x="514" y="569"/>
                  </a:lnTo>
                  <a:lnTo>
                    <a:pt x="516" y="571"/>
                  </a:lnTo>
                  <a:lnTo>
                    <a:pt x="514" y="569"/>
                  </a:lnTo>
                  <a:lnTo>
                    <a:pt x="514" y="569"/>
                  </a:lnTo>
                  <a:lnTo>
                    <a:pt x="514" y="569"/>
                  </a:lnTo>
                  <a:lnTo>
                    <a:pt x="510" y="572"/>
                  </a:lnTo>
                  <a:lnTo>
                    <a:pt x="510" y="572"/>
                  </a:lnTo>
                  <a:lnTo>
                    <a:pt x="505" y="574"/>
                  </a:lnTo>
                  <a:lnTo>
                    <a:pt x="505" y="574"/>
                  </a:lnTo>
                  <a:lnTo>
                    <a:pt x="504" y="575"/>
                  </a:lnTo>
                  <a:lnTo>
                    <a:pt x="504" y="575"/>
                  </a:lnTo>
                  <a:lnTo>
                    <a:pt x="500" y="576"/>
                  </a:lnTo>
                  <a:lnTo>
                    <a:pt x="500" y="576"/>
                  </a:lnTo>
                  <a:lnTo>
                    <a:pt x="495" y="579"/>
                  </a:lnTo>
                  <a:lnTo>
                    <a:pt x="495" y="579"/>
                  </a:lnTo>
                  <a:lnTo>
                    <a:pt x="492" y="582"/>
                  </a:lnTo>
                  <a:lnTo>
                    <a:pt x="492" y="587"/>
                  </a:lnTo>
                  <a:lnTo>
                    <a:pt x="492" y="588"/>
                  </a:lnTo>
                  <a:lnTo>
                    <a:pt x="492" y="588"/>
                  </a:lnTo>
                  <a:lnTo>
                    <a:pt x="492" y="588"/>
                  </a:lnTo>
                  <a:lnTo>
                    <a:pt x="491" y="592"/>
                  </a:lnTo>
                  <a:lnTo>
                    <a:pt x="491" y="592"/>
                  </a:lnTo>
                  <a:lnTo>
                    <a:pt x="485" y="597"/>
                  </a:lnTo>
                  <a:lnTo>
                    <a:pt x="485" y="597"/>
                  </a:lnTo>
                  <a:lnTo>
                    <a:pt x="482" y="600"/>
                  </a:lnTo>
                  <a:lnTo>
                    <a:pt x="479" y="604"/>
                  </a:lnTo>
                  <a:lnTo>
                    <a:pt x="479" y="604"/>
                  </a:lnTo>
                  <a:lnTo>
                    <a:pt x="478" y="611"/>
                  </a:lnTo>
                  <a:lnTo>
                    <a:pt x="478" y="613"/>
                  </a:lnTo>
                  <a:lnTo>
                    <a:pt x="478" y="613"/>
                  </a:lnTo>
                  <a:lnTo>
                    <a:pt x="479" y="614"/>
                  </a:lnTo>
                  <a:lnTo>
                    <a:pt x="479" y="614"/>
                  </a:lnTo>
                  <a:lnTo>
                    <a:pt x="481" y="617"/>
                  </a:lnTo>
                  <a:lnTo>
                    <a:pt x="481" y="617"/>
                  </a:lnTo>
                  <a:lnTo>
                    <a:pt x="484" y="618"/>
                  </a:lnTo>
                  <a:lnTo>
                    <a:pt x="484" y="618"/>
                  </a:lnTo>
                  <a:lnTo>
                    <a:pt x="490" y="621"/>
                  </a:lnTo>
                  <a:lnTo>
                    <a:pt x="490" y="621"/>
                  </a:lnTo>
                  <a:lnTo>
                    <a:pt x="491" y="621"/>
                  </a:lnTo>
                  <a:lnTo>
                    <a:pt x="491" y="621"/>
                  </a:lnTo>
                  <a:lnTo>
                    <a:pt x="492" y="621"/>
                  </a:lnTo>
                  <a:lnTo>
                    <a:pt x="491" y="621"/>
                  </a:lnTo>
                  <a:lnTo>
                    <a:pt x="491" y="621"/>
                  </a:lnTo>
                  <a:lnTo>
                    <a:pt x="492" y="621"/>
                  </a:lnTo>
                  <a:lnTo>
                    <a:pt x="491" y="621"/>
                  </a:lnTo>
                  <a:lnTo>
                    <a:pt x="492" y="620"/>
                  </a:lnTo>
                  <a:lnTo>
                    <a:pt x="491" y="620"/>
                  </a:lnTo>
                  <a:lnTo>
                    <a:pt x="491" y="620"/>
                  </a:lnTo>
                  <a:lnTo>
                    <a:pt x="491" y="621"/>
                  </a:lnTo>
                  <a:lnTo>
                    <a:pt x="492" y="620"/>
                  </a:lnTo>
                  <a:lnTo>
                    <a:pt x="491" y="620"/>
                  </a:lnTo>
                  <a:lnTo>
                    <a:pt x="494" y="620"/>
                  </a:lnTo>
                  <a:lnTo>
                    <a:pt x="491" y="618"/>
                  </a:lnTo>
                  <a:lnTo>
                    <a:pt x="491" y="618"/>
                  </a:lnTo>
                  <a:lnTo>
                    <a:pt x="491" y="620"/>
                  </a:lnTo>
                  <a:lnTo>
                    <a:pt x="494" y="620"/>
                  </a:lnTo>
                  <a:lnTo>
                    <a:pt x="491" y="618"/>
                  </a:lnTo>
                  <a:lnTo>
                    <a:pt x="492" y="620"/>
                  </a:lnTo>
                  <a:lnTo>
                    <a:pt x="492" y="618"/>
                  </a:lnTo>
                  <a:lnTo>
                    <a:pt x="492" y="618"/>
                  </a:lnTo>
                  <a:lnTo>
                    <a:pt x="491" y="618"/>
                  </a:lnTo>
                  <a:lnTo>
                    <a:pt x="492" y="620"/>
                  </a:lnTo>
                  <a:lnTo>
                    <a:pt x="492" y="618"/>
                  </a:lnTo>
                  <a:lnTo>
                    <a:pt x="492" y="620"/>
                  </a:lnTo>
                  <a:lnTo>
                    <a:pt x="492" y="618"/>
                  </a:lnTo>
                  <a:lnTo>
                    <a:pt x="492" y="618"/>
                  </a:lnTo>
                  <a:lnTo>
                    <a:pt x="492" y="620"/>
                  </a:lnTo>
                  <a:lnTo>
                    <a:pt x="492" y="618"/>
                  </a:lnTo>
                  <a:lnTo>
                    <a:pt x="492" y="618"/>
                  </a:lnTo>
                  <a:lnTo>
                    <a:pt x="492" y="618"/>
                  </a:lnTo>
                  <a:lnTo>
                    <a:pt x="491" y="618"/>
                  </a:lnTo>
                  <a:lnTo>
                    <a:pt x="491" y="618"/>
                  </a:lnTo>
                  <a:lnTo>
                    <a:pt x="482" y="617"/>
                  </a:lnTo>
                  <a:lnTo>
                    <a:pt x="482" y="617"/>
                  </a:lnTo>
                  <a:lnTo>
                    <a:pt x="481" y="617"/>
                  </a:lnTo>
                  <a:lnTo>
                    <a:pt x="481" y="617"/>
                  </a:lnTo>
                  <a:lnTo>
                    <a:pt x="478" y="618"/>
                  </a:lnTo>
                  <a:lnTo>
                    <a:pt x="475" y="620"/>
                  </a:lnTo>
                  <a:lnTo>
                    <a:pt x="475" y="620"/>
                  </a:lnTo>
                  <a:lnTo>
                    <a:pt x="474" y="623"/>
                  </a:lnTo>
                  <a:lnTo>
                    <a:pt x="472" y="626"/>
                  </a:lnTo>
                  <a:lnTo>
                    <a:pt x="472" y="626"/>
                  </a:lnTo>
                  <a:lnTo>
                    <a:pt x="474" y="629"/>
                  </a:lnTo>
                  <a:lnTo>
                    <a:pt x="474" y="629"/>
                  </a:lnTo>
                  <a:lnTo>
                    <a:pt x="476" y="630"/>
                  </a:lnTo>
                  <a:lnTo>
                    <a:pt x="476" y="631"/>
                  </a:lnTo>
                  <a:lnTo>
                    <a:pt x="476" y="631"/>
                  </a:lnTo>
                  <a:lnTo>
                    <a:pt x="476" y="630"/>
                  </a:lnTo>
                  <a:lnTo>
                    <a:pt x="476" y="631"/>
                  </a:lnTo>
                  <a:lnTo>
                    <a:pt x="476" y="631"/>
                  </a:lnTo>
                  <a:lnTo>
                    <a:pt x="476" y="630"/>
                  </a:lnTo>
                  <a:lnTo>
                    <a:pt x="476" y="631"/>
                  </a:lnTo>
                  <a:lnTo>
                    <a:pt x="476" y="630"/>
                  </a:lnTo>
                  <a:lnTo>
                    <a:pt x="476" y="631"/>
                  </a:lnTo>
                  <a:lnTo>
                    <a:pt x="476" y="631"/>
                  </a:lnTo>
                  <a:lnTo>
                    <a:pt x="476" y="630"/>
                  </a:lnTo>
                  <a:lnTo>
                    <a:pt x="476" y="631"/>
                  </a:lnTo>
                  <a:lnTo>
                    <a:pt x="476" y="631"/>
                  </a:lnTo>
                  <a:lnTo>
                    <a:pt x="476" y="633"/>
                  </a:lnTo>
                  <a:lnTo>
                    <a:pt x="476" y="633"/>
                  </a:lnTo>
                  <a:lnTo>
                    <a:pt x="475" y="637"/>
                  </a:lnTo>
                  <a:lnTo>
                    <a:pt x="475" y="639"/>
                  </a:lnTo>
                  <a:lnTo>
                    <a:pt x="475" y="639"/>
                  </a:lnTo>
                  <a:lnTo>
                    <a:pt x="475" y="640"/>
                  </a:lnTo>
                  <a:lnTo>
                    <a:pt x="475" y="640"/>
                  </a:lnTo>
                  <a:lnTo>
                    <a:pt x="475" y="643"/>
                  </a:lnTo>
                  <a:lnTo>
                    <a:pt x="474" y="646"/>
                  </a:lnTo>
                  <a:lnTo>
                    <a:pt x="474" y="646"/>
                  </a:lnTo>
                  <a:lnTo>
                    <a:pt x="468" y="652"/>
                  </a:lnTo>
                  <a:lnTo>
                    <a:pt x="468" y="652"/>
                  </a:lnTo>
                  <a:lnTo>
                    <a:pt x="466" y="655"/>
                  </a:lnTo>
                  <a:lnTo>
                    <a:pt x="465" y="656"/>
                  </a:lnTo>
                  <a:lnTo>
                    <a:pt x="465" y="656"/>
                  </a:lnTo>
                  <a:lnTo>
                    <a:pt x="466" y="658"/>
                  </a:lnTo>
                  <a:lnTo>
                    <a:pt x="466" y="658"/>
                  </a:lnTo>
                  <a:lnTo>
                    <a:pt x="468" y="659"/>
                  </a:lnTo>
                  <a:lnTo>
                    <a:pt x="468" y="659"/>
                  </a:lnTo>
                  <a:lnTo>
                    <a:pt x="469" y="659"/>
                  </a:lnTo>
                  <a:lnTo>
                    <a:pt x="469" y="659"/>
                  </a:lnTo>
                  <a:lnTo>
                    <a:pt x="474" y="659"/>
                  </a:lnTo>
                  <a:lnTo>
                    <a:pt x="474" y="659"/>
                  </a:lnTo>
                  <a:lnTo>
                    <a:pt x="478" y="658"/>
                  </a:lnTo>
                  <a:lnTo>
                    <a:pt x="478" y="658"/>
                  </a:lnTo>
                  <a:lnTo>
                    <a:pt x="478" y="658"/>
                  </a:lnTo>
                  <a:lnTo>
                    <a:pt x="478" y="658"/>
                  </a:lnTo>
                  <a:lnTo>
                    <a:pt x="478" y="658"/>
                  </a:lnTo>
                  <a:lnTo>
                    <a:pt x="478" y="656"/>
                  </a:lnTo>
                  <a:lnTo>
                    <a:pt x="478" y="658"/>
                  </a:lnTo>
                  <a:lnTo>
                    <a:pt x="478" y="658"/>
                  </a:lnTo>
                  <a:lnTo>
                    <a:pt x="478" y="656"/>
                  </a:lnTo>
                  <a:lnTo>
                    <a:pt x="478" y="658"/>
                  </a:lnTo>
                  <a:lnTo>
                    <a:pt x="478" y="655"/>
                  </a:lnTo>
                  <a:lnTo>
                    <a:pt x="475" y="656"/>
                  </a:lnTo>
                  <a:lnTo>
                    <a:pt x="475" y="656"/>
                  </a:lnTo>
                  <a:lnTo>
                    <a:pt x="478" y="658"/>
                  </a:lnTo>
                  <a:lnTo>
                    <a:pt x="478" y="655"/>
                  </a:lnTo>
                  <a:lnTo>
                    <a:pt x="475" y="656"/>
                  </a:lnTo>
                  <a:lnTo>
                    <a:pt x="478" y="655"/>
                  </a:lnTo>
                  <a:lnTo>
                    <a:pt x="475" y="655"/>
                  </a:lnTo>
                  <a:lnTo>
                    <a:pt x="475" y="655"/>
                  </a:lnTo>
                  <a:lnTo>
                    <a:pt x="475" y="656"/>
                  </a:lnTo>
                  <a:lnTo>
                    <a:pt x="478" y="655"/>
                  </a:lnTo>
                  <a:lnTo>
                    <a:pt x="475" y="655"/>
                  </a:lnTo>
                  <a:lnTo>
                    <a:pt x="476" y="655"/>
                  </a:lnTo>
                  <a:lnTo>
                    <a:pt x="475" y="655"/>
                  </a:lnTo>
                  <a:lnTo>
                    <a:pt x="475" y="655"/>
                  </a:lnTo>
                  <a:lnTo>
                    <a:pt x="475" y="655"/>
                  </a:lnTo>
                  <a:lnTo>
                    <a:pt x="476" y="655"/>
                  </a:lnTo>
                  <a:lnTo>
                    <a:pt x="475" y="655"/>
                  </a:lnTo>
                  <a:lnTo>
                    <a:pt x="475" y="655"/>
                  </a:lnTo>
                  <a:lnTo>
                    <a:pt x="474" y="656"/>
                  </a:lnTo>
                  <a:lnTo>
                    <a:pt x="474" y="656"/>
                  </a:lnTo>
                  <a:lnTo>
                    <a:pt x="469" y="660"/>
                  </a:lnTo>
                  <a:lnTo>
                    <a:pt x="469" y="660"/>
                  </a:lnTo>
                  <a:lnTo>
                    <a:pt x="465" y="665"/>
                  </a:lnTo>
                  <a:lnTo>
                    <a:pt x="465" y="665"/>
                  </a:lnTo>
                  <a:lnTo>
                    <a:pt x="461" y="668"/>
                  </a:lnTo>
                  <a:lnTo>
                    <a:pt x="461" y="668"/>
                  </a:lnTo>
                  <a:lnTo>
                    <a:pt x="458" y="671"/>
                  </a:lnTo>
                  <a:lnTo>
                    <a:pt x="458" y="671"/>
                  </a:lnTo>
                  <a:lnTo>
                    <a:pt x="458" y="675"/>
                  </a:lnTo>
                  <a:lnTo>
                    <a:pt x="458" y="675"/>
                  </a:lnTo>
                  <a:lnTo>
                    <a:pt x="458" y="675"/>
                  </a:lnTo>
                  <a:lnTo>
                    <a:pt x="458" y="676"/>
                  </a:lnTo>
                  <a:lnTo>
                    <a:pt x="458" y="676"/>
                  </a:lnTo>
                  <a:lnTo>
                    <a:pt x="458" y="676"/>
                  </a:lnTo>
                  <a:lnTo>
                    <a:pt x="458" y="676"/>
                  </a:lnTo>
                  <a:lnTo>
                    <a:pt x="458" y="676"/>
                  </a:lnTo>
                  <a:lnTo>
                    <a:pt x="458" y="676"/>
                  </a:lnTo>
                  <a:lnTo>
                    <a:pt x="458" y="676"/>
                  </a:lnTo>
                  <a:lnTo>
                    <a:pt x="459" y="676"/>
                  </a:lnTo>
                  <a:lnTo>
                    <a:pt x="458" y="675"/>
                  </a:lnTo>
                  <a:lnTo>
                    <a:pt x="458" y="676"/>
                  </a:lnTo>
                  <a:lnTo>
                    <a:pt x="459" y="676"/>
                  </a:lnTo>
                  <a:lnTo>
                    <a:pt x="458" y="675"/>
                  </a:lnTo>
                  <a:lnTo>
                    <a:pt x="459" y="676"/>
                  </a:lnTo>
                  <a:lnTo>
                    <a:pt x="459" y="675"/>
                  </a:lnTo>
                  <a:lnTo>
                    <a:pt x="458" y="675"/>
                  </a:lnTo>
                  <a:lnTo>
                    <a:pt x="459" y="676"/>
                  </a:lnTo>
                  <a:lnTo>
                    <a:pt x="459" y="675"/>
                  </a:lnTo>
                  <a:lnTo>
                    <a:pt x="459" y="675"/>
                  </a:lnTo>
                  <a:lnTo>
                    <a:pt x="456" y="675"/>
                  </a:lnTo>
                  <a:lnTo>
                    <a:pt x="456" y="675"/>
                  </a:lnTo>
                  <a:lnTo>
                    <a:pt x="450" y="673"/>
                  </a:lnTo>
                  <a:lnTo>
                    <a:pt x="450" y="673"/>
                  </a:lnTo>
                  <a:lnTo>
                    <a:pt x="449" y="673"/>
                  </a:lnTo>
                  <a:lnTo>
                    <a:pt x="449" y="673"/>
                  </a:lnTo>
                  <a:lnTo>
                    <a:pt x="446" y="675"/>
                  </a:lnTo>
                  <a:lnTo>
                    <a:pt x="443" y="678"/>
                  </a:lnTo>
                  <a:lnTo>
                    <a:pt x="443" y="678"/>
                  </a:lnTo>
                  <a:lnTo>
                    <a:pt x="437" y="687"/>
                  </a:lnTo>
                  <a:lnTo>
                    <a:pt x="437" y="687"/>
                  </a:lnTo>
                  <a:lnTo>
                    <a:pt x="436" y="691"/>
                  </a:lnTo>
                  <a:lnTo>
                    <a:pt x="436" y="691"/>
                  </a:lnTo>
                  <a:lnTo>
                    <a:pt x="434" y="694"/>
                  </a:lnTo>
                  <a:lnTo>
                    <a:pt x="434" y="694"/>
                  </a:lnTo>
                  <a:lnTo>
                    <a:pt x="429" y="700"/>
                  </a:lnTo>
                  <a:lnTo>
                    <a:pt x="429" y="700"/>
                  </a:lnTo>
                  <a:lnTo>
                    <a:pt x="426" y="707"/>
                  </a:lnTo>
                  <a:lnTo>
                    <a:pt x="426" y="707"/>
                  </a:lnTo>
                  <a:lnTo>
                    <a:pt x="426" y="707"/>
                  </a:lnTo>
                  <a:lnTo>
                    <a:pt x="426" y="707"/>
                  </a:lnTo>
                  <a:lnTo>
                    <a:pt x="424" y="708"/>
                  </a:lnTo>
                  <a:lnTo>
                    <a:pt x="424" y="708"/>
                  </a:lnTo>
                  <a:lnTo>
                    <a:pt x="426" y="710"/>
                  </a:lnTo>
                  <a:lnTo>
                    <a:pt x="426" y="710"/>
                  </a:lnTo>
                  <a:lnTo>
                    <a:pt x="429" y="713"/>
                  </a:lnTo>
                  <a:lnTo>
                    <a:pt x="429" y="713"/>
                  </a:lnTo>
                  <a:lnTo>
                    <a:pt x="433" y="715"/>
                  </a:lnTo>
                  <a:lnTo>
                    <a:pt x="439" y="715"/>
                  </a:lnTo>
                  <a:lnTo>
                    <a:pt x="439" y="715"/>
                  </a:lnTo>
                  <a:lnTo>
                    <a:pt x="443" y="715"/>
                  </a:lnTo>
                  <a:lnTo>
                    <a:pt x="448" y="713"/>
                  </a:lnTo>
                  <a:lnTo>
                    <a:pt x="448" y="713"/>
                  </a:lnTo>
                  <a:lnTo>
                    <a:pt x="453" y="710"/>
                  </a:lnTo>
                  <a:lnTo>
                    <a:pt x="453" y="710"/>
                  </a:lnTo>
                  <a:lnTo>
                    <a:pt x="453" y="708"/>
                  </a:lnTo>
                  <a:lnTo>
                    <a:pt x="453" y="710"/>
                  </a:lnTo>
                  <a:lnTo>
                    <a:pt x="453" y="710"/>
                  </a:lnTo>
                  <a:lnTo>
                    <a:pt x="453" y="710"/>
                  </a:lnTo>
                  <a:lnTo>
                    <a:pt x="453" y="708"/>
                  </a:lnTo>
                  <a:lnTo>
                    <a:pt x="453" y="710"/>
                  </a:lnTo>
                  <a:lnTo>
                    <a:pt x="453" y="707"/>
                  </a:lnTo>
                  <a:lnTo>
                    <a:pt x="452" y="710"/>
                  </a:lnTo>
                  <a:lnTo>
                    <a:pt x="452" y="710"/>
                  </a:lnTo>
                  <a:lnTo>
                    <a:pt x="453" y="710"/>
                  </a:lnTo>
                  <a:lnTo>
                    <a:pt x="453" y="707"/>
                  </a:lnTo>
                  <a:lnTo>
                    <a:pt x="452" y="710"/>
                  </a:lnTo>
                  <a:lnTo>
                    <a:pt x="453" y="707"/>
                  </a:lnTo>
                  <a:lnTo>
                    <a:pt x="450" y="707"/>
                  </a:lnTo>
                  <a:lnTo>
                    <a:pt x="450" y="707"/>
                  </a:lnTo>
                  <a:lnTo>
                    <a:pt x="452" y="710"/>
                  </a:lnTo>
                  <a:lnTo>
                    <a:pt x="453" y="707"/>
                  </a:lnTo>
                  <a:lnTo>
                    <a:pt x="450" y="707"/>
                  </a:lnTo>
                  <a:lnTo>
                    <a:pt x="453" y="707"/>
                  </a:lnTo>
                  <a:lnTo>
                    <a:pt x="450" y="707"/>
                  </a:lnTo>
                  <a:lnTo>
                    <a:pt x="450" y="707"/>
                  </a:lnTo>
                  <a:lnTo>
                    <a:pt x="450" y="707"/>
                  </a:lnTo>
                  <a:lnTo>
                    <a:pt x="453" y="707"/>
                  </a:lnTo>
                  <a:lnTo>
                    <a:pt x="450" y="707"/>
                  </a:lnTo>
                  <a:lnTo>
                    <a:pt x="452" y="707"/>
                  </a:lnTo>
                  <a:lnTo>
                    <a:pt x="450" y="707"/>
                  </a:lnTo>
                  <a:lnTo>
                    <a:pt x="450" y="707"/>
                  </a:lnTo>
                  <a:lnTo>
                    <a:pt x="452" y="707"/>
                  </a:lnTo>
                  <a:lnTo>
                    <a:pt x="450" y="707"/>
                  </a:lnTo>
                  <a:lnTo>
                    <a:pt x="450" y="707"/>
                  </a:lnTo>
                  <a:lnTo>
                    <a:pt x="450" y="707"/>
                  </a:lnTo>
                  <a:lnTo>
                    <a:pt x="443" y="713"/>
                  </a:lnTo>
                  <a:lnTo>
                    <a:pt x="443" y="713"/>
                  </a:lnTo>
                  <a:lnTo>
                    <a:pt x="440" y="715"/>
                  </a:lnTo>
                  <a:lnTo>
                    <a:pt x="440" y="715"/>
                  </a:lnTo>
                  <a:lnTo>
                    <a:pt x="437" y="717"/>
                  </a:lnTo>
                  <a:lnTo>
                    <a:pt x="437" y="718"/>
                  </a:lnTo>
                  <a:lnTo>
                    <a:pt x="437" y="717"/>
                  </a:lnTo>
                  <a:lnTo>
                    <a:pt x="437" y="717"/>
                  </a:lnTo>
                  <a:lnTo>
                    <a:pt x="434" y="715"/>
                  </a:lnTo>
                  <a:lnTo>
                    <a:pt x="434" y="715"/>
                  </a:lnTo>
                  <a:lnTo>
                    <a:pt x="433" y="714"/>
                  </a:lnTo>
                  <a:lnTo>
                    <a:pt x="433" y="714"/>
                  </a:lnTo>
                  <a:lnTo>
                    <a:pt x="432" y="713"/>
                  </a:lnTo>
                  <a:lnTo>
                    <a:pt x="432" y="713"/>
                  </a:lnTo>
                  <a:lnTo>
                    <a:pt x="427" y="714"/>
                  </a:lnTo>
                  <a:lnTo>
                    <a:pt x="427" y="714"/>
                  </a:lnTo>
                  <a:lnTo>
                    <a:pt x="426" y="718"/>
                  </a:lnTo>
                  <a:lnTo>
                    <a:pt x="426" y="718"/>
                  </a:lnTo>
                  <a:lnTo>
                    <a:pt x="424" y="721"/>
                  </a:lnTo>
                  <a:lnTo>
                    <a:pt x="424" y="721"/>
                  </a:lnTo>
                  <a:lnTo>
                    <a:pt x="424" y="721"/>
                  </a:lnTo>
                  <a:lnTo>
                    <a:pt x="424" y="721"/>
                  </a:lnTo>
                  <a:lnTo>
                    <a:pt x="424" y="721"/>
                  </a:lnTo>
                  <a:lnTo>
                    <a:pt x="424" y="721"/>
                  </a:lnTo>
                  <a:lnTo>
                    <a:pt x="424" y="721"/>
                  </a:lnTo>
                  <a:lnTo>
                    <a:pt x="424" y="721"/>
                  </a:lnTo>
                  <a:lnTo>
                    <a:pt x="424" y="721"/>
                  </a:lnTo>
                  <a:lnTo>
                    <a:pt x="424" y="721"/>
                  </a:lnTo>
                  <a:lnTo>
                    <a:pt x="424" y="721"/>
                  </a:lnTo>
                  <a:lnTo>
                    <a:pt x="424" y="721"/>
                  </a:lnTo>
                  <a:lnTo>
                    <a:pt x="423" y="721"/>
                  </a:lnTo>
                  <a:lnTo>
                    <a:pt x="423" y="721"/>
                  </a:lnTo>
                  <a:lnTo>
                    <a:pt x="417" y="721"/>
                  </a:lnTo>
                  <a:lnTo>
                    <a:pt x="417" y="721"/>
                  </a:lnTo>
                  <a:lnTo>
                    <a:pt x="414" y="721"/>
                  </a:lnTo>
                  <a:lnTo>
                    <a:pt x="411" y="723"/>
                  </a:lnTo>
                  <a:lnTo>
                    <a:pt x="411" y="723"/>
                  </a:lnTo>
                  <a:lnTo>
                    <a:pt x="408" y="727"/>
                  </a:lnTo>
                  <a:lnTo>
                    <a:pt x="407" y="731"/>
                  </a:lnTo>
                  <a:lnTo>
                    <a:pt x="407" y="731"/>
                  </a:lnTo>
                  <a:lnTo>
                    <a:pt x="408" y="736"/>
                  </a:lnTo>
                  <a:lnTo>
                    <a:pt x="408" y="736"/>
                  </a:lnTo>
                  <a:lnTo>
                    <a:pt x="408" y="739"/>
                  </a:lnTo>
                  <a:lnTo>
                    <a:pt x="408" y="740"/>
                  </a:lnTo>
                  <a:lnTo>
                    <a:pt x="408" y="740"/>
                  </a:lnTo>
                  <a:lnTo>
                    <a:pt x="408" y="744"/>
                  </a:lnTo>
                  <a:lnTo>
                    <a:pt x="410" y="746"/>
                  </a:lnTo>
                  <a:lnTo>
                    <a:pt x="410" y="746"/>
                  </a:lnTo>
                  <a:lnTo>
                    <a:pt x="410" y="746"/>
                  </a:lnTo>
                  <a:lnTo>
                    <a:pt x="411" y="746"/>
                  </a:lnTo>
                  <a:lnTo>
                    <a:pt x="410" y="744"/>
                  </a:lnTo>
                  <a:lnTo>
                    <a:pt x="410" y="744"/>
                  </a:lnTo>
                  <a:lnTo>
                    <a:pt x="410" y="746"/>
                  </a:lnTo>
                  <a:lnTo>
                    <a:pt x="411" y="746"/>
                  </a:lnTo>
                  <a:lnTo>
                    <a:pt x="410" y="744"/>
                  </a:lnTo>
                  <a:lnTo>
                    <a:pt x="411" y="746"/>
                  </a:lnTo>
                  <a:lnTo>
                    <a:pt x="410" y="744"/>
                  </a:lnTo>
                  <a:lnTo>
                    <a:pt x="410" y="744"/>
                  </a:lnTo>
                  <a:lnTo>
                    <a:pt x="411" y="746"/>
                  </a:lnTo>
                  <a:lnTo>
                    <a:pt x="410" y="744"/>
                  </a:lnTo>
                  <a:lnTo>
                    <a:pt x="411" y="746"/>
                  </a:lnTo>
                  <a:lnTo>
                    <a:pt x="411" y="744"/>
                  </a:lnTo>
                  <a:lnTo>
                    <a:pt x="410" y="744"/>
                  </a:lnTo>
                  <a:lnTo>
                    <a:pt x="411" y="746"/>
                  </a:lnTo>
                  <a:lnTo>
                    <a:pt x="411" y="744"/>
                  </a:lnTo>
                  <a:lnTo>
                    <a:pt x="411" y="746"/>
                  </a:lnTo>
                  <a:lnTo>
                    <a:pt x="411" y="744"/>
                  </a:lnTo>
                  <a:lnTo>
                    <a:pt x="411" y="744"/>
                  </a:lnTo>
                  <a:lnTo>
                    <a:pt x="411" y="746"/>
                  </a:lnTo>
                  <a:lnTo>
                    <a:pt x="411" y="744"/>
                  </a:lnTo>
                  <a:lnTo>
                    <a:pt x="411" y="744"/>
                  </a:lnTo>
                  <a:lnTo>
                    <a:pt x="413" y="744"/>
                  </a:lnTo>
                  <a:lnTo>
                    <a:pt x="411" y="744"/>
                  </a:lnTo>
                  <a:lnTo>
                    <a:pt x="411" y="744"/>
                  </a:lnTo>
                  <a:lnTo>
                    <a:pt x="413" y="744"/>
                  </a:lnTo>
                  <a:lnTo>
                    <a:pt x="413" y="744"/>
                  </a:lnTo>
                  <a:lnTo>
                    <a:pt x="411" y="743"/>
                  </a:lnTo>
                  <a:lnTo>
                    <a:pt x="411" y="743"/>
                  </a:lnTo>
                  <a:lnTo>
                    <a:pt x="408" y="742"/>
                  </a:lnTo>
                  <a:lnTo>
                    <a:pt x="404" y="739"/>
                  </a:lnTo>
                  <a:lnTo>
                    <a:pt x="404" y="739"/>
                  </a:lnTo>
                  <a:lnTo>
                    <a:pt x="401" y="739"/>
                  </a:lnTo>
                  <a:lnTo>
                    <a:pt x="401" y="739"/>
                  </a:lnTo>
                  <a:lnTo>
                    <a:pt x="397" y="740"/>
                  </a:lnTo>
                  <a:lnTo>
                    <a:pt x="397" y="740"/>
                  </a:lnTo>
                  <a:lnTo>
                    <a:pt x="394" y="743"/>
                  </a:lnTo>
                  <a:lnTo>
                    <a:pt x="394" y="743"/>
                  </a:lnTo>
                  <a:lnTo>
                    <a:pt x="392" y="746"/>
                  </a:lnTo>
                  <a:lnTo>
                    <a:pt x="392" y="746"/>
                  </a:lnTo>
                  <a:lnTo>
                    <a:pt x="390" y="746"/>
                  </a:lnTo>
                  <a:lnTo>
                    <a:pt x="385" y="747"/>
                  </a:lnTo>
                  <a:lnTo>
                    <a:pt x="385" y="747"/>
                  </a:lnTo>
                  <a:lnTo>
                    <a:pt x="381" y="747"/>
                  </a:lnTo>
                  <a:lnTo>
                    <a:pt x="381" y="747"/>
                  </a:lnTo>
                  <a:lnTo>
                    <a:pt x="377" y="749"/>
                  </a:lnTo>
                  <a:lnTo>
                    <a:pt x="377" y="749"/>
                  </a:lnTo>
                  <a:lnTo>
                    <a:pt x="375" y="749"/>
                  </a:lnTo>
                  <a:lnTo>
                    <a:pt x="375" y="749"/>
                  </a:lnTo>
                  <a:lnTo>
                    <a:pt x="374" y="752"/>
                  </a:lnTo>
                  <a:lnTo>
                    <a:pt x="374" y="752"/>
                  </a:lnTo>
                  <a:lnTo>
                    <a:pt x="375" y="755"/>
                  </a:lnTo>
                  <a:lnTo>
                    <a:pt x="375" y="755"/>
                  </a:lnTo>
                  <a:lnTo>
                    <a:pt x="378" y="756"/>
                  </a:lnTo>
                  <a:lnTo>
                    <a:pt x="378" y="756"/>
                  </a:lnTo>
                  <a:lnTo>
                    <a:pt x="381" y="759"/>
                  </a:lnTo>
                  <a:lnTo>
                    <a:pt x="382" y="759"/>
                  </a:lnTo>
                  <a:lnTo>
                    <a:pt x="384" y="759"/>
                  </a:lnTo>
                  <a:lnTo>
                    <a:pt x="382" y="759"/>
                  </a:lnTo>
                  <a:lnTo>
                    <a:pt x="382" y="759"/>
                  </a:lnTo>
                  <a:lnTo>
                    <a:pt x="384" y="759"/>
                  </a:lnTo>
                  <a:lnTo>
                    <a:pt x="382" y="759"/>
                  </a:lnTo>
                  <a:lnTo>
                    <a:pt x="384" y="757"/>
                  </a:lnTo>
                  <a:lnTo>
                    <a:pt x="382" y="757"/>
                  </a:lnTo>
                  <a:lnTo>
                    <a:pt x="382" y="757"/>
                  </a:lnTo>
                  <a:lnTo>
                    <a:pt x="382" y="759"/>
                  </a:lnTo>
                  <a:lnTo>
                    <a:pt x="384" y="757"/>
                  </a:lnTo>
                  <a:lnTo>
                    <a:pt x="382" y="757"/>
                  </a:lnTo>
                  <a:lnTo>
                    <a:pt x="384" y="757"/>
                  </a:lnTo>
                  <a:lnTo>
                    <a:pt x="382" y="756"/>
                  </a:lnTo>
                  <a:lnTo>
                    <a:pt x="382" y="756"/>
                  </a:lnTo>
                  <a:lnTo>
                    <a:pt x="382" y="757"/>
                  </a:lnTo>
                  <a:lnTo>
                    <a:pt x="384" y="757"/>
                  </a:lnTo>
                  <a:lnTo>
                    <a:pt x="382" y="756"/>
                  </a:lnTo>
                  <a:lnTo>
                    <a:pt x="384" y="757"/>
                  </a:lnTo>
                  <a:lnTo>
                    <a:pt x="384" y="756"/>
                  </a:lnTo>
                  <a:lnTo>
                    <a:pt x="384" y="756"/>
                  </a:lnTo>
                  <a:lnTo>
                    <a:pt x="382" y="756"/>
                  </a:lnTo>
                  <a:lnTo>
                    <a:pt x="384" y="757"/>
                  </a:lnTo>
                  <a:lnTo>
                    <a:pt x="384" y="756"/>
                  </a:lnTo>
                  <a:lnTo>
                    <a:pt x="384" y="756"/>
                  </a:lnTo>
                  <a:lnTo>
                    <a:pt x="384" y="756"/>
                  </a:lnTo>
                  <a:lnTo>
                    <a:pt x="384" y="756"/>
                  </a:lnTo>
                  <a:lnTo>
                    <a:pt x="379" y="756"/>
                  </a:lnTo>
                  <a:lnTo>
                    <a:pt x="379" y="756"/>
                  </a:lnTo>
                  <a:lnTo>
                    <a:pt x="374" y="755"/>
                  </a:lnTo>
                  <a:lnTo>
                    <a:pt x="372" y="755"/>
                  </a:lnTo>
                  <a:lnTo>
                    <a:pt x="372" y="755"/>
                  </a:lnTo>
                  <a:lnTo>
                    <a:pt x="368" y="756"/>
                  </a:lnTo>
                  <a:lnTo>
                    <a:pt x="368" y="756"/>
                  </a:lnTo>
                  <a:lnTo>
                    <a:pt x="366" y="757"/>
                  </a:lnTo>
                  <a:lnTo>
                    <a:pt x="366" y="757"/>
                  </a:lnTo>
                  <a:lnTo>
                    <a:pt x="366" y="760"/>
                  </a:lnTo>
                  <a:lnTo>
                    <a:pt x="366" y="760"/>
                  </a:lnTo>
                  <a:lnTo>
                    <a:pt x="366" y="762"/>
                  </a:lnTo>
                  <a:lnTo>
                    <a:pt x="366" y="762"/>
                  </a:lnTo>
                  <a:lnTo>
                    <a:pt x="368" y="765"/>
                  </a:lnTo>
                  <a:lnTo>
                    <a:pt x="368" y="765"/>
                  </a:lnTo>
                  <a:lnTo>
                    <a:pt x="368" y="765"/>
                  </a:lnTo>
                  <a:lnTo>
                    <a:pt x="368" y="765"/>
                  </a:lnTo>
                  <a:lnTo>
                    <a:pt x="368" y="765"/>
                  </a:lnTo>
                  <a:lnTo>
                    <a:pt x="368" y="765"/>
                  </a:lnTo>
                  <a:lnTo>
                    <a:pt x="368" y="765"/>
                  </a:lnTo>
                  <a:lnTo>
                    <a:pt x="368" y="765"/>
                  </a:lnTo>
                  <a:lnTo>
                    <a:pt x="368" y="765"/>
                  </a:lnTo>
                  <a:lnTo>
                    <a:pt x="368" y="765"/>
                  </a:lnTo>
                  <a:lnTo>
                    <a:pt x="368" y="765"/>
                  </a:lnTo>
                  <a:lnTo>
                    <a:pt x="368" y="765"/>
                  </a:lnTo>
                  <a:lnTo>
                    <a:pt x="368" y="765"/>
                  </a:lnTo>
                  <a:lnTo>
                    <a:pt x="366" y="765"/>
                  </a:lnTo>
                  <a:lnTo>
                    <a:pt x="366" y="765"/>
                  </a:lnTo>
                  <a:lnTo>
                    <a:pt x="362" y="765"/>
                  </a:lnTo>
                  <a:lnTo>
                    <a:pt x="362" y="765"/>
                  </a:lnTo>
                  <a:lnTo>
                    <a:pt x="359" y="766"/>
                  </a:lnTo>
                  <a:lnTo>
                    <a:pt x="356" y="768"/>
                  </a:lnTo>
                  <a:lnTo>
                    <a:pt x="356" y="768"/>
                  </a:lnTo>
                  <a:lnTo>
                    <a:pt x="356" y="771"/>
                  </a:lnTo>
                  <a:lnTo>
                    <a:pt x="356" y="771"/>
                  </a:lnTo>
                  <a:lnTo>
                    <a:pt x="356" y="773"/>
                  </a:lnTo>
                  <a:lnTo>
                    <a:pt x="356" y="773"/>
                  </a:lnTo>
                  <a:lnTo>
                    <a:pt x="359" y="775"/>
                  </a:lnTo>
                  <a:lnTo>
                    <a:pt x="361" y="775"/>
                  </a:lnTo>
                  <a:lnTo>
                    <a:pt x="361" y="775"/>
                  </a:lnTo>
                  <a:lnTo>
                    <a:pt x="361" y="775"/>
                  </a:lnTo>
                  <a:lnTo>
                    <a:pt x="359" y="775"/>
                  </a:lnTo>
                  <a:lnTo>
                    <a:pt x="361" y="775"/>
                  </a:lnTo>
                  <a:lnTo>
                    <a:pt x="361" y="775"/>
                  </a:lnTo>
                  <a:lnTo>
                    <a:pt x="359" y="775"/>
                  </a:lnTo>
                  <a:lnTo>
                    <a:pt x="362" y="773"/>
                  </a:lnTo>
                  <a:lnTo>
                    <a:pt x="359" y="773"/>
                  </a:lnTo>
                  <a:lnTo>
                    <a:pt x="359" y="773"/>
                  </a:lnTo>
                  <a:lnTo>
                    <a:pt x="359" y="775"/>
                  </a:lnTo>
                  <a:lnTo>
                    <a:pt x="362" y="773"/>
                  </a:lnTo>
                  <a:lnTo>
                    <a:pt x="359" y="773"/>
                  </a:lnTo>
                  <a:lnTo>
                    <a:pt x="362" y="773"/>
                  </a:lnTo>
                  <a:lnTo>
                    <a:pt x="361" y="772"/>
                  </a:lnTo>
                  <a:lnTo>
                    <a:pt x="361" y="772"/>
                  </a:lnTo>
                  <a:lnTo>
                    <a:pt x="359" y="773"/>
                  </a:lnTo>
                  <a:lnTo>
                    <a:pt x="362" y="773"/>
                  </a:lnTo>
                  <a:lnTo>
                    <a:pt x="361" y="772"/>
                  </a:lnTo>
                  <a:lnTo>
                    <a:pt x="362" y="773"/>
                  </a:lnTo>
                  <a:lnTo>
                    <a:pt x="361" y="772"/>
                  </a:lnTo>
                  <a:lnTo>
                    <a:pt x="361" y="772"/>
                  </a:lnTo>
                  <a:lnTo>
                    <a:pt x="361" y="772"/>
                  </a:lnTo>
                  <a:lnTo>
                    <a:pt x="362" y="773"/>
                  </a:lnTo>
                  <a:lnTo>
                    <a:pt x="361" y="772"/>
                  </a:lnTo>
                  <a:lnTo>
                    <a:pt x="361" y="772"/>
                  </a:lnTo>
                  <a:lnTo>
                    <a:pt x="361" y="772"/>
                  </a:lnTo>
                  <a:lnTo>
                    <a:pt x="355" y="773"/>
                  </a:lnTo>
                  <a:lnTo>
                    <a:pt x="355" y="773"/>
                  </a:lnTo>
                  <a:lnTo>
                    <a:pt x="352" y="775"/>
                  </a:lnTo>
                  <a:lnTo>
                    <a:pt x="352" y="775"/>
                  </a:lnTo>
                  <a:lnTo>
                    <a:pt x="350" y="779"/>
                  </a:lnTo>
                  <a:lnTo>
                    <a:pt x="350" y="779"/>
                  </a:lnTo>
                  <a:lnTo>
                    <a:pt x="352" y="782"/>
                  </a:lnTo>
                  <a:lnTo>
                    <a:pt x="352" y="782"/>
                  </a:lnTo>
                  <a:lnTo>
                    <a:pt x="355" y="788"/>
                  </a:lnTo>
                  <a:lnTo>
                    <a:pt x="355" y="788"/>
                  </a:lnTo>
                  <a:lnTo>
                    <a:pt x="358" y="797"/>
                  </a:lnTo>
                  <a:lnTo>
                    <a:pt x="358" y="797"/>
                  </a:lnTo>
                  <a:lnTo>
                    <a:pt x="362" y="802"/>
                  </a:lnTo>
                  <a:lnTo>
                    <a:pt x="362" y="802"/>
                  </a:lnTo>
                  <a:lnTo>
                    <a:pt x="364" y="804"/>
                  </a:lnTo>
                  <a:lnTo>
                    <a:pt x="365" y="804"/>
                  </a:lnTo>
                  <a:lnTo>
                    <a:pt x="365" y="804"/>
                  </a:lnTo>
                  <a:lnTo>
                    <a:pt x="365" y="802"/>
                  </a:lnTo>
                  <a:lnTo>
                    <a:pt x="365" y="804"/>
                  </a:lnTo>
                  <a:lnTo>
                    <a:pt x="365" y="804"/>
                  </a:lnTo>
                  <a:lnTo>
                    <a:pt x="365" y="802"/>
                  </a:lnTo>
                  <a:lnTo>
                    <a:pt x="365" y="804"/>
                  </a:lnTo>
                  <a:lnTo>
                    <a:pt x="365" y="802"/>
                  </a:lnTo>
                  <a:lnTo>
                    <a:pt x="364" y="804"/>
                  </a:lnTo>
                  <a:lnTo>
                    <a:pt x="365" y="804"/>
                  </a:lnTo>
                  <a:lnTo>
                    <a:pt x="365" y="802"/>
                  </a:lnTo>
                  <a:lnTo>
                    <a:pt x="364" y="804"/>
                  </a:lnTo>
                  <a:lnTo>
                    <a:pt x="365" y="802"/>
                  </a:lnTo>
                  <a:lnTo>
                    <a:pt x="364" y="804"/>
                  </a:lnTo>
                  <a:lnTo>
                    <a:pt x="364" y="804"/>
                  </a:lnTo>
                  <a:lnTo>
                    <a:pt x="365" y="802"/>
                  </a:lnTo>
                  <a:lnTo>
                    <a:pt x="364" y="804"/>
                  </a:lnTo>
                  <a:lnTo>
                    <a:pt x="365" y="802"/>
                  </a:lnTo>
                  <a:lnTo>
                    <a:pt x="364" y="802"/>
                  </a:lnTo>
                  <a:lnTo>
                    <a:pt x="364" y="802"/>
                  </a:lnTo>
                  <a:lnTo>
                    <a:pt x="364" y="804"/>
                  </a:lnTo>
                  <a:lnTo>
                    <a:pt x="365" y="802"/>
                  </a:lnTo>
                  <a:lnTo>
                    <a:pt x="364" y="802"/>
                  </a:lnTo>
                  <a:lnTo>
                    <a:pt x="365" y="802"/>
                  </a:lnTo>
                  <a:lnTo>
                    <a:pt x="364" y="801"/>
                  </a:lnTo>
                  <a:lnTo>
                    <a:pt x="364" y="802"/>
                  </a:lnTo>
                  <a:lnTo>
                    <a:pt x="365" y="802"/>
                  </a:lnTo>
                  <a:lnTo>
                    <a:pt x="364" y="801"/>
                  </a:lnTo>
                  <a:lnTo>
                    <a:pt x="365" y="802"/>
                  </a:lnTo>
                  <a:lnTo>
                    <a:pt x="365" y="800"/>
                  </a:lnTo>
                  <a:lnTo>
                    <a:pt x="365" y="800"/>
                  </a:lnTo>
                  <a:lnTo>
                    <a:pt x="364" y="801"/>
                  </a:lnTo>
                  <a:lnTo>
                    <a:pt x="365" y="802"/>
                  </a:lnTo>
                  <a:lnTo>
                    <a:pt x="365" y="800"/>
                  </a:lnTo>
                  <a:lnTo>
                    <a:pt x="365" y="802"/>
                  </a:lnTo>
                  <a:lnTo>
                    <a:pt x="365" y="800"/>
                  </a:lnTo>
                  <a:lnTo>
                    <a:pt x="365" y="800"/>
                  </a:lnTo>
                  <a:lnTo>
                    <a:pt x="365" y="802"/>
                  </a:lnTo>
                  <a:lnTo>
                    <a:pt x="365" y="800"/>
                  </a:lnTo>
                  <a:lnTo>
                    <a:pt x="365" y="801"/>
                  </a:lnTo>
                  <a:lnTo>
                    <a:pt x="366" y="800"/>
                  </a:lnTo>
                  <a:lnTo>
                    <a:pt x="365" y="800"/>
                  </a:lnTo>
                  <a:lnTo>
                    <a:pt x="365" y="801"/>
                  </a:lnTo>
                  <a:lnTo>
                    <a:pt x="366" y="800"/>
                  </a:lnTo>
                  <a:lnTo>
                    <a:pt x="366" y="801"/>
                  </a:lnTo>
                  <a:lnTo>
                    <a:pt x="366" y="800"/>
                  </a:lnTo>
                  <a:lnTo>
                    <a:pt x="366" y="800"/>
                  </a:lnTo>
                  <a:lnTo>
                    <a:pt x="366" y="801"/>
                  </a:lnTo>
                  <a:lnTo>
                    <a:pt x="366" y="800"/>
                  </a:lnTo>
                  <a:lnTo>
                    <a:pt x="366" y="800"/>
                  </a:lnTo>
                  <a:lnTo>
                    <a:pt x="365" y="800"/>
                  </a:lnTo>
                  <a:lnTo>
                    <a:pt x="365" y="800"/>
                  </a:lnTo>
                  <a:lnTo>
                    <a:pt x="362" y="798"/>
                  </a:lnTo>
                  <a:lnTo>
                    <a:pt x="362" y="798"/>
                  </a:lnTo>
                  <a:lnTo>
                    <a:pt x="361" y="798"/>
                  </a:lnTo>
                  <a:lnTo>
                    <a:pt x="361" y="798"/>
                  </a:lnTo>
                  <a:lnTo>
                    <a:pt x="356" y="800"/>
                  </a:lnTo>
                  <a:lnTo>
                    <a:pt x="356" y="800"/>
                  </a:lnTo>
                  <a:lnTo>
                    <a:pt x="355" y="801"/>
                  </a:lnTo>
                  <a:lnTo>
                    <a:pt x="355" y="801"/>
                  </a:lnTo>
                  <a:lnTo>
                    <a:pt x="353" y="804"/>
                  </a:lnTo>
                  <a:lnTo>
                    <a:pt x="353" y="804"/>
                  </a:lnTo>
                  <a:lnTo>
                    <a:pt x="355" y="807"/>
                  </a:lnTo>
                  <a:lnTo>
                    <a:pt x="355" y="807"/>
                  </a:lnTo>
                  <a:lnTo>
                    <a:pt x="358" y="810"/>
                  </a:lnTo>
                  <a:lnTo>
                    <a:pt x="358" y="810"/>
                  </a:lnTo>
                  <a:lnTo>
                    <a:pt x="358" y="813"/>
                  </a:lnTo>
                  <a:lnTo>
                    <a:pt x="358" y="813"/>
                  </a:lnTo>
                  <a:lnTo>
                    <a:pt x="359" y="811"/>
                  </a:lnTo>
                  <a:lnTo>
                    <a:pt x="358" y="811"/>
                  </a:lnTo>
                  <a:lnTo>
                    <a:pt x="358" y="813"/>
                  </a:lnTo>
                  <a:lnTo>
                    <a:pt x="359" y="811"/>
                  </a:lnTo>
                  <a:lnTo>
                    <a:pt x="358" y="811"/>
                  </a:lnTo>
                  <a:lnTo>
                    <a:pt x="361" y="811"/>
                  </a:lnTo>
                  <a:lnTo>
                    <a:pt x="359" y="811"/>
                  </a:lnTo>
                  <a:lnTo>
                    <a:pt x="358" y="811"/>
                  </a:lnTo>
                  <a:lnTo>
                    <a:pt x="361" y="811"/>
                  </a:lnTo>
                  <a:lnTo>
                    <a:pt x="359" y="811"/>
                  </a:lnTo>
                  <a:lnTo>
                    <a:pt x="361" y="811"/>
                  </a:lnTo>
                  <a:lnTo>
                    <a:pt x="359" y="810"/>
                  </a:lnTo>
                  <a:lnTo>
                    <a:pt x="359" y="811"/>
                  </a:lnTo>
                  <a:lnTo>
                    <a:pt x="361" y="811"/>
                  </a:lnTo>
                  <a:lnTo>
                    <a:pt x="359" y="810"/>
                  </a:lnTo>
                  <a:lnTo>
                    <a:pt x="359" y="810"/>
                  </a:lnTo>
                  <a:lnTo>
                    <a:pt x="359" y="810"/>
                  </a:lnTo>
                  <a:lnTo>
                    <a:pt x="359" y="810"/>
                  </a:lnTo>
                  <a:lnTo>
                    <a:pt x="359" y="810"/>
                  </a:lnTo>
                  <a:lnTo>
                    <a:pt x="359" y="810"/>
                  </a:lnTo>
                  <a:lnTo>
                    <a:pt x="359" y="810"/>
                  </a:lnTo>
                  <a:lnTo>
                    <a:pt x="356" y="811"/>
                  </a:lnTo>
                  <a:lnTo>
                    <a:pt x="356" y="811"/>
                  </a:lnTo>
                  <a:lnTo>
                    <a:pt x="352" y="813"/>
                  </a:lnTo>
                  <a:lnTo>
                    <a:pt x="352" y="813"/>
                  </a:lnTo>
                  <a:lnTo>
                    <a:pt x="349" y="814"/>
                  </a:lnTo>
                  <a:lnTo>
                    <a:pt x="349" y="815"/>
                  </a:lnTo>
                  <a:lnTo>
                    <a:pt x="349" y="815"/>
                  </a:lnTo>
                  <a:lnTo>
                    <a:pt x="348" y="817"/>
                  </a:lnTo>
                  <a:lnTo>
                    <a:pt x="348" y="817"/>
                  </a:lnTo>
                  <a:lnTo>
                    <a:pt x="349" y="820"/>
                  </a:lnTo>
                  <a:lnTo>
                    <a:pt x="349" y="820"/>
                  </a:lnTo>
                  <a:lnTo>
                    <a:pt x="350" y="820"/>
                  </a:lnTo>
                  <a:lnTo>
                    <a:pt x="350" y="820"/>
                  </a:lnTo>
                  <a:lnTo>
                    <a:pt x="356" y="823"/>
                  </a:lnTo>
                  <a:lnTo>
                    <a:pt x="356" y="824"/>
                  </a:lnTo>
                  <a:lnTo>
                    <a:pt x="356" y="824"/>
                  </a:lnTo>
                  <a:lnTo>
                    <a:pt x="356" y="824"/>
                  </a:lnTo>
                  <a:lnTo>
                    <a:pt x="356" y="826"/>
                  </a:lnTo>
                  <a:lnTo>
                    <a:pt x="356" y="826"/>
                  </a:lnTo>
                  <a:lnTo>
                    <a:pt x="355" y="827"/>
                  </a:lnTo>
                  <a:lnTo>
                    <a:pt x="355" y="827"/>
                  </a:lnTo>
                  <a:lnTo>
                    <a:pt x="356" y="830"/>
                  </a:lnTo>
                  <a:lnTo>
                    <a:pt x="356" y="830"/>
                  </a:lnTo>
                  <a:lnTo>
                    <a:pt x="358" y="831"/>
                  </a:lnTo>
                  <a:lnTo>
                    <a:pt x="358" y="831"/>
                  </a:lnTo>
                  <a:lnTo>
                    <a:pt x="358" y="831"/>
                  </a:lnTo>
                  <a:lnTo>
                    <a:pt x="359" y="830"/>
                  </a:lnTo>
                  <a:lnTo>
                    <a:pt x="358" y="831"/>
                  </a:lnTo>
                  <a:lnTo>
                    <a:pt x="358" y="831"/>
                  </a:lnTo>
                  <a:lnTo>
                    <a:pt x="359" y="830"/>
                  </a:lnTo>
                  <a:lnTo>
                    <a:pt x="358" y="831"/>
                  </a:lnTo>
                  <a:lnTo>
                    <a:pt x="359" y="830"/>
                  </a:lnTo>
                  <a:lnTo>
                    <a:pt x="358" y="830"/>
                  </a:lnTo>
                  <a:lnTo>
                    <a:pt x="358" y="831"/>
                  </a:lnTo>
                  <a:lnTo>
                    <a:pt x="359" y="830"/>
                  </a:lnTo>
                  <a:lnTo>
                    <a:pt x="358" y="830"/>
                  </a:lnTo>
                  <a:lnTo>
                    <a:pt x="359" y="830"/>
                  </a:lnTo>
                  <a:lnTo>
                    <a:pt x="358" y="830"/>
                  </a:lnTo>
                  <a:lnTo>
                    <a:pt x="358" y="830"/>
                  </a:lnTo>
                  <a:lnTo>
                    <a:pt x="359" y="830"/>
                  </a:lnTo>
                  <a:lnTo>
                    <a:pt x="358" y="830"/>
                  </a:lnTo>
                  <a:lnTo>
                    <a:pt x="358" y="830"/>
                  </a:lnTo>
                  <a:lnTo>
                    <a:pt x="358" y="830"/>
                  </a:lnTo>
                  <a:lnTo>
                    <a:pt x="358" y="830"/>
                  </a:lnTo>
                  <a:lnTo>
                    <a:pt x="358" y="830"/>
                  </a:lnTo>
                  <a:lnTo>
                    <a:pt x="358" y="830"/>
                  </a:lnTo>
                  <a:lnTo>
                    <a:pt x="358" y="830"/>
                  </a:lnTo>
                  <a:lnTo>
                    <a:pt x="356" y="831"/>
                  </a:lnTo>
                  <a:lnTo>
                    <a:pt x="356" y="831"/>
                  </a:lnTo>
                  <a:lnTo>
                    <a:pt x="355" y="834"/>
                  </a:lnTo>
                  <a:lnTo>
                    <a:pt x="355" y="837"/>
                  </a:lnTo>
                  <a:lnTo>
                    <a:pt x="355" y="837"/>
                  </a:lnTo>
                  <a:lnTo>
                    <a:pt x="355" y="840"/>
                  </a:lnTo>
                  <a:lnTo>
                    <a:pt x="355" y="840"/>
                  </a:lnTo>
                  <a:lnTo>
                    <a:pt x="358" y="842"/>
                  </a:lnTo>
                  <a:lnTo>
                    <a:pt x="358" y="842"/>
                  </a:lnTo>
                  <a:lnTo>
                    <a:pt x="361" y="843"/>
                  </a:lnTo>
                  <a:lnTo>
                    <a:pt x="364" y="844"/>
                  </a:lnTo>
                  <a:lnTo>
                    <a:pt x="364" y="844"/>
                  </a:lnTo>
                  <a:lnTo>
                    <a:pt x="366" y="843"/>
                  </a:lnTo>
                  <a:lnTo>
                    <a:pt x="366" y="843"/>
                  </a:lnTo>
                  <a:lnTo>
                    <a:pt x="368" y="839"/>
                  </a:lnTo>
                  <a:lnTo>
                    <a:pt x="368" y="839"/>
                  </a:lnTo>
                  <a:lnTo>
                    <a:pt x="371" y="836"/>
                  </a:lnTo>
                  <a:lnTo>
                    <a:pt x="371" y="836"/>
                  </a:lnTo>
                  <a:lnTo>
                    <a:pt x="372" y="834"/>
                  </a:lnTo>
                  <a:lnTo>
                    <a:pt x="372" y="834"/>
                  </a:lnTo>
                  <a:lnTo>
                    <a:pt x="371" y="833"/>
                  </a:lnTo>
                  <a:lnTo>
                    <a:pt x="371" y="836"/>
                  </a:lnTo>
                  <a:lnTo>
                    <a:pt x="371" y="836"/>
                  </a:lnTo>
                  <a:lnTo>
                    <a:pt x="372" y="834"/>
                  </a:lnTo>
                  <a:lnTo>
                    <a:pt x="371" y="833"/>
                  </a:lnTo>
                  <a:lnTo>
                    <a:pt x="371" y="836"/>
                  </a:lnTo>
                  <a:lnTo>
                    <a:pt x="371" y="833"/>
                  </a:lnTo>
                  <a:lnTo>
                    <a:pt x="369" y="834"/>
                  </a:lnTo>
                  <a:lnTo>
                    <a:pt x="371" y="836"/>
                  </a:lnTo>
                  <a:lnTo>
                    <a:pt x="371" y="833"/>
                  </a:lnTo>
                  <a:lnTo>
                    <a:pt x="369" y="834"/>
                  </a:lnTo>
                  <a:lnTo>
                    <a:pt x="371" y="833"/>
                  </a:lnTo>
                  <a:lnTo>
                    <a:pt x="368" y="834"/>
                  </a:lnTo>
                  <a:lnTo>
                    <a:pt x="368" y="834"/>
                  </a:lnTo>
                  <a:lnTo>
                    <a:pt x="369" y="834"/>
                  </a:lnTo>
                  <a:lnTo>
                    <a:pt x="371" y="833"/>
                  </a:lnTo>
                  <a:lnTo>
                    <a:pt x="368" y="834"/>
                  </a:lnTo>
                  <a:lnTo>
                    <a:pt x="369" y="833"/>
                  </a:lnTo>
                  <a:lnTo>
                    <a:pt x="368" y="833"/>
                  </a:lnTo>
                  <a:lnTo>
                    <a:pt x="368" y="834"/>
                  </a:lnTo>
                  <a:lnTo>
                    <a:pt x="369" y="833"/>
                  </a:lnTo>
                  <a:lnTo>
                    <a:pt x="368" y="833"/>
                  </a:lnTo>
                  <a:lnTo>
                    <a:pt x="368" y="833"/>
                  </a:lnTo>
                  <a:lnTo>
                    <a:pt x="368" y="833"/>
                  </a:lnTo>
                  <a:lnTo>
                    <a:pt x="368" y="833"/>
                  </a:lnTo>
                  <a:lnTo>
                    <a:pt x="368" y="833"/>
                  </a:lnTo>
                  <a:lnTo>
                    <a:pt x="368" y="833"/>
                  </a:lnTo>
                  <a:lnTo>
                    <a:pt x="368" y="833"/>
                  </a:lnTo>
                  <a:lnTo>
                    <a:pt x="368" y="834"/>
                  </a:lnTo>
                  <a:lnTo>
                    <a:pt x="368" y="834"/>
                  </a:lnTo>
                  <a:lnTo>
                    <a:pt x="364" y="844"/>
                  </a:lnTo>
                  <a:lnTo>
                    <a:pt x="364" y="844"/>
                  </a:lnTo>
                  <a:lnTo>
                    <a:pt x="364" y="846"/>
                  </a:lnTo>
                  <a:lnTo>
                    <a:pt x="364" y="846"/>
                  </a:lnTo>
                  <a:lnTo>
                    <a:pt x="364" y="846"/>
                  </a:lnTo>
                  <a:lnTo>
                    <a:pt x="364" y="846"/>
                  </a:lnTo>
                  <a:lnTo>
                    <a:pt x="364" y="846"/>
                  </a:lnTo>
                  <a:lnTo>
                    <a:pt x="364" y="846"/>
                  </a:lnTo>
                  <a:lnTo>
                    <a:pt x="364" y="846"/>
                  </a:lnTo>
                  <a:lnTo>
                    <a:pt x="364" y="846"/>
                  </a:lnTo>
                  <a:lnTo>
                    <a:pt x="364" y="846"/>
                  </a:lnTo>
                  <a:lnTo>
                    <a:pt x="364" y="846"/>
                  </a:lnTo>
                  <a:lnTo>
                    <a:pt x="364" y="846"/>
                  </a:lnTo>
                  <a:lnTo>
                    <a:pt x="364" y="846"/>
                  </a:lnTo>
                  <a:lnTo>
                    <a:pt x="364" y="846"/>
                  </a:lnTo>
                  <a:lnTo>
                    <a:pt x="364" y="846"/>
                  </a:lnTo>
                  <a:lnTo>
                    <a:pt x="362" y="844"/>
                  </a:lnTo>
                  <a:lnTo>
                    <a:pt x="362" y="844"/>
                  </a:lnTo>
                  <a:lnTo>
                    <a:pt x="358" y="843"/>
                  </a:lnTo>
                  <a:lnTo>
                    <a:pt x="358" y="843"/>
                  </a:lnTo>
                  <a:lnTo>
                    <a:pt x="355" y="843"/>
                  </a:lnTo>
                  <a:lnTo>
                    <a:pt x="355" y="843"/>
                  </a:lnTo>
                  <a:lnTo>
                    <a:pt x="352" y="844"/>
                  </a:lnTo>
                  <a:lnTo>
                    <a:pt x="352" y="844"/>
                  </a:lnTo>
                  <a:lnTo>
                    <a:pt x="350" y="847"/>
                  </a:lnTo>
                  <a:lnTo>
                    <a:pt x="350" y="847"/>
                  </a:lnTo>
                  <a:lnTo>
                    <a:pt x="352" y="850"/>
                  </a:lnTo>
                  <a:lnTo>
                    <a:pt x="352" y="850"/>
                  </a:lnTo>
                  <a:lnTo>
                    <a:pt x="355" y="855"/>
                  </a:lnTo>
                  <a:lnTo>
                    <a:pt x="356" y="859"/>
                  </a:lnTo>
                  <a:lnTo>
                    <a:pt x="356" y="859"/>
                  </a:lnTo>
                  <a:lnTo>
                    <a:pt x="358" y="865"/>
                  </a:lnTo>
                  <a:lnTo>
                    <a:pt x="358" y="865"/>
                  </a:lnTo>
                  <a:lnTo>
                    <a:pt x="359" y="866"/>
                  </a:lnTo>
                  <a:lnTo>
                    <a:pt x="359" y="866"/>
                  </a:lnTo>
                  <a:lnTo>
                    <a:pt x="362" y="868"/>
                  </a:lnTo>
                  <a:lnTo>
                    <a:pt x="362" y="868"/>
                  </a:lnTo>
                  <a:lnTo>
                    <a:pt x="365" y="866"/>
                  </a:lnTo>
                  <a:lnTo>
                    <a:pt x="365" y="866"/>
                  </a:lnTo>
                  <a:lnTo>
                    <a:pt x="369" y="866"/>
                  </a:lnTo>
                  <a:lnTo>
                    <a:pt x="369" y="866"/>
                  </a:lnTo>
                  <a:lnTo>
                    <a:pt x="371" y="865"/>
                  </a:lnTo>
                  <a:lnTo>
                    <a:pt x="372" y="863"/>
                  </a:lnTo>
                  <a:lnTo>
                    <a:pt x="372" y="863"/>
                  </a:lnTo>
                  <a:lnTo>
                    <a:pt x="375" y="860"/>
                  </a:lnTo>
                  <a:lnTo>
                    <a:pt x="375" y="860"/>
                  </a:lnTo>
                  <a:lnTo>
                    <a:pt x="375" y="860"/>
                  </a:lnTo>
                  <a:lnTo>
                    <a:pt x="374" y="859"/>
                  </a:lnTo>
                  <a:lnTo>
                    <a:pt x="375" y="860"/>
                  </a:lnTo>
                  <a:lnTo>
                    <a:pt x="375" y="860"/>
                  </a:lnTo>
                  <a:lnTo>
                    <a:pt x="374" y="859"/>
                  </a:lnTo>
                  <a:lnTo>
                    <a:pt x="375" y="860"/>
                  </a:lnTo>
                  <a:lnTo>
                    <a:pt x="374" y="859"/>
                  </a:lnTo>
                  <a:lnTo>
                    <a:pt x="374" y="860"/>
                  </a:lnTo>
                  <a:lnTo>
                    <a:pt x="374" y="860"/>
                  </a:lnTo>
                  <a:lnTo>
                    <a:pt x="375" y="860"/>
                  </a:lnTo>
                  <a:lnTo>
                    <a:pt x="374" y="859"/>
                  </a:lnTo>
                  <a:lnTo>
                    <a:pt x="374" y="860"/>
                  </a:lnTo>
                  <a:lnTo>
                    <a:pt x="374" y="859"/>
                  </a:lnTo>
                  <a:lnTo>
                    <a:pt x="372" y="860"/>
                  </a:lnTo>
                  <a:lnTo>
                    <a:pt x="372" y="860"/>
                  </a:lnTo>
                  <a:lnTo>
                    <a:pt x="374" y="860"/>
                  </a:lnTo>
                  <a:lnTo>
                    <a:pt x="374" y="859"/>
                  </a:lnTo>
                  <a:lnTo>
                    <a:pt x="372" y="860"/>
                  </a:lnTo>
                  <a:lnTo>
                    <a:pt x="374" y="859"/>
                  </a:lnTo>
                  <a:lnTo>
                    <a:pt x="371" y="859"/>
                  </a:lnTo>
                  <a:lnTo>
                    <a:pt x="371" y="859"/>
                  </a:lnTo>
                  <a:lnTo>
                    <a:pt x="372" y="860"/>
                  </a:lnTo>
                  <a:lnTo>
                    <a:pt x="374" y="859"/>
                  </a:lnTo>
                  <a:lnTo>
                    <a:pt x="371" y="859"/>
                  </a:lnTo>
                  <a:lnTo>
                    <a:pt x="372" y="859"/>
                  </a:lnTo>
                  <a:lnTo>
                    <a:pt x="371" y="859"/>
                  </a:lnTo>
                  <a:lnTo>
                    <a:pt x="371" y="859"/>
                  </a:lnTo>
                  <a:lnTo>
                    <a:pt x="372" y="859"/>
                  </a:lnTo>
                  <a:lnTo>
                    <a:pt x="371" y="859"/>
                  </a:lnTo>
                  <a:lnTo>
                    <a:pt x="371" y="859"/>
                  </a:lnTo>
                  <a:lnTo>
                    <a:pt x="371" y="859"/>
                  </a:lnTo>
                  <a:lnTo>
                    <a:pt x="371" y="862"/>
                  </a:lnTo>
                  <a:lnTo>
                    <a:pt x="371" y="862"/>
                  </a:lnTo>
                  <a:lnTo>
                    <a:pt x="371" y="868"/>
                  </a:lnTo>
                  <a:lnTo>
                    <a:pt x="371" y="868"/>
                  </a:lnTo>
                  <a:lnTo>
                    <a:pt x="371" y="872"/>
                  </a:lnTo>
                  <a:lnTo>
                    <a:pt x="371" y="873"/>
                  </a:lnTo>
                  <a:lnTo>
                    <a:pt x="371" y="873"/>
                  </a:lnTo>
                  <a:lnTo>
                    <a:pt x="371" y="873"/>
                  </a:lnTo>
                  <a:lnTo>
                    <a:pt x="371" y="873"/>
                  </a:lnTo>
                  <a:lnTo>
                    <a:pt x="371" y="873"/>
                  </a:lnTo>
                  <a:lnTo>
                    <a:pt x="371" y="873"/>
                  </a:lnTo>
                  <a:lnTo>
                    <a:pt x="371" y="873"/>
                  </a:lnTo>
                  <a:lnTo>
                    <a:pt x="372" y="873"/>
                  </a:lnTo>
                  <a:lnTo>
                    <a:pt x="371" y="872"/>
                  </a:lnTo>
                  <a:lnTo>
                    <a:pt x="371" y="872"/>
                  </a:lnTo>
                  <a:lnTo>
                    <a:pt x="371" y="873"/>
                  </a:lnTo>
                  <a:lnTo>
                    <a:pt x="372" y="873"/>
                  </a:lnTo>
                  <a:lnTo>
                    <a:pt x="371" y="872"/>
                  </a:lnTo>
                  <a:lnTo>
                    <a:pt x="372" y="873"/>
                  </a:lnTo>
                  <a:lnTo>
                    <a:pt x="372" y="870"/>
                  </a:lnTo>
                  <a:lnTo>
                    <a:pt x="372" y="870"/>
                  </a:lnTo>
                  <a:lnTo>
                    <a:pt x="371" y="872"/>
                  </a:lnTo>
                  <a:lnTo>
                    <a:pt x="372" y="873"/>
                  </a:lnTo>
                  <a:lnTo>
                    <a:pt x="372" y="870"/>
                  </a:lnTo>
                  <a:lnTo>
                    <a:pt x="372" y="872"/>
                  </a:lnTo>
                  <a:lnTo>
                    <a:pt x="372" y="870"/>
                  </a:lnTo>
                  <a:lnTo>
                    <a:pt x="372" y="870"/>
                  </a:lnTo>
                  <a:lnTo>
                    <a:pt x="372" y="872"/>
                  </a:lnTo>
                  <a:lnTo>
                    <a:pt x="372" y="870"/>
                  </a:lnTo>
                  <a:lnTo>
                    <a:pt x="372" y="870"/>
                  </a:lnTo>
                  <a:lnTo>
                    <a:pt x="372" y="870"/>
                  </a:lnTo>
                  <a:lnTo>
                    <a:pt x="368" y="869"/>
                  </a:lnTo>
                  <a:lnTo>
                    <a:pt x="368" y="869"/>
                  </a:lnTo>
                  <a:lnTo>
                    <a:pt x="364" y="870"/>
                  </a:lnTo>
                  <a:lnTo>
                    <a:pt x="364" y="870"/>
                  </a:lnTo>
                  <a:lnTo>
                    <a:pt x="361" y="873"/>
                  </a:lnTo>
                  <a:lnTo>
                    <a:pt x="361" y="876"/>
                  </a:lnTo>
                  <a:lnTo>
                    <a:pt x="361" y="876"/>
                  </a:lnTo>
                  <a:lnTo>
                    <a:pt x="362" y="882"/>
                  </a:lnTo>
                  <a:lnTo>
                    <a:pt x="362" y="882"/>
                  </a:lnTo>
                  <a:lnTo>
                    <a:pt x="365" y="886"/>
                  </a:lnTo>
                  <a:lnTo>
                    <a:pt x="365" y="886"/>
                  </a:lnTo>
                  <a:lnTo>
                    <a:pt x="379" y="899"/>
                  </a:lnTo>
                  <a:lnTo>
                    <a:pt x="379" y="899"/>
                  </a:lnTo>
                  <a:lnTo>
                    <a:pt x="384" y="902"/>
                  </a:lnTo>
                  <a:lnTo>
                    <a:pt x="388" y="904"/>
                  </a:lnTo>
                  <a:lnTo>
                    <a:pt x="388" y="904"/>
                  </a:lnTo>
                  <a:lnTo>
                    <a:pt x="394" y="902"/>
                  </a:lnTo>
                  <a:lnTo>
                    <a:pt x="400" y="901"/>
                  </a:lnTo>
                  <a:lnTo>
                    <a:pt x="400" y="901"/>
                  </a:lnTo>
                  <a:lnTo>
                    <a:pt x="401" y="901"/>
                  </a:lnTo>
                  <a:lnTo>
                    <a:pt x="401" y="901"/>
                  </a:lnTo>
                  <a:lnTo>
                    <a:pt x="403" y="901"/>
                  </a:lnTo>
                  <a:lnTo>
                    <a:pt x="403" y="901"/>
                  </a:lnTo>
                  <a:lnTo>
                    <a:pt x="406" y="901"/>
                  </a:lnTo>
                  <a:lnTo>
                    <a:pt x="406" y="901"/>
                  </a:lnTo>
                  <a:lnTo>
                    <a:pt x="410" y="899"/>
                  </a:lnTo>
                  <a:lnTo>
                    <a:pt x="410" y="899"/>
                  </a:lnTo>
                  <a:lnTo>
                    <a:pt x="419" y="891"/>
                  </a:lnTo>
                  <a:lnTo>
                    <a:pt x="423" y="885"/>
                  </a:lnTo>
                  <a:lnTo>
                    <a:pt x="427" y="878"/>
                  </a:lnTo>
                  <a:lnTo>
                    <a:pt x="427" y="878"/>
                  </a:lnTo>
                  <a:lnTo>
                    <a:pt x="432" y="872"/>
                  </a:lnTo>
                  <a:lnTo>
                    <a:pt x="434" y="869"/>
                  </a:lnTo>
                  <a:lnTo>
                    <a:pt x="434" y="869"/>
                  </a:lnTo>
                  <a:lnTo>
                    <a:pt x="436" y="868"/>
                  </a:lnTo>
                  <a:lnTo>
                    <a:pt x="436" y="868"/>
                  </a:lnTo>
                  <a:lnTo>
                    <a:pt x="440" y="868"/>
                  </a:lnTo>
                  <a:lnTo>
                    <a:pt x="440" y="868"/>
                  </a:lnTo>
                  <a:lnTo>
                    <a:pt x="445" y="866"/>
                  </a:lnTo>
                  <a:lnTo>
                    <a:pt x="445" y="866"/>
                  </a:lnTo>
                  <a:lnTo>
                    <a:pt x="446" y="863"/>
                  </a:lnTo>
                  <a:lnTo>
                    <a:pt x="446" y="863"/>
                  </a:lnTo>
                  <a:lnTo>
                    <a:pt x="448" y="859"/>
                  </a:lnTo>
                  <a:lnTo>
                    <a:pt x="448" y="855"/>
                  </a:lnTo>
                  <a:lnTo>
                    <a:pt x="448" y="855"/>
                  </a:lnTo>
                  <a:lnTo>
                    <a:pt x="448" y="855"/>
                  </a:lnTo>
                  <a:lnTo>
                    <a:pt x="446" y="853"/>
                  </a:lnTo>
                  <a:lnTo>
                    <a:pt x="448" y="855"/>
                  </a:lnTo>
                  <a:lnTo>
                    <a:pt x="448" y="855"/>
                  </a:lnTo>
                  <a:lnTo>
                    <a:pt x="446" y="853"/>
                  </a:lnTo>
                  <a:lnTo>
                    <a:pt x="448" y="855"/>
                  </a:lnTo>
                  <a:lnTo>
                    <a:pt x="445" y="853"/>
                  </a:lnTo>
                  <a:lnTo>
                    <a:pt x="446" y="855"/>
                  </a:lnTo>
                  <a:lnTo>
                    <a:pt x="448" y="855"/>
                  </a:lnTo>
                  <a:lnTo>
                    <a:pt x="445" y="853"/>
                  </a:lnTo>
                  <a:lnTo>
                    <a:pt x="446" y="855"/>
                  </a:lnTo>
                  <a:lnTo>
                    <a:pt x="445" y="853"/>
                  </a:lnTo>
                  <a:lnTo>
                    <a:pt x="445" y="856"/>
                  </a:lnTo>
                  <a:lnTo>
                    <a:pt x="445" y="856"/>
                  </a:lnTo>
                  <a:lnTo>
                    <a:pt x="446" y="855"/>
                  </a:lnTo>
                  <a:lnTo>
                    <a:pt x="445" y="853"/>
                  </a:lnTo>
                  <a:lnTo>
                    <a:pt x="445" y="856"/>
                  </a:lnTo>
                  <a:lnTo>
                    <a:pt x="445" y="853"/>
                  </a:lnTo>
                  <a:lnTo>
                    <a:pt x="443" y="855"/>
                  </a:lnTo>
                  <a:lnTo>
                    <a:pt x="443" y="855"/>
                  </a:lnTo>
                  <a:lnTo>
                    <a:pt x="445" y="856"/>
                  </a:lnTo>
                  <a:lnTo>
                    <a:pt x="445" y="853"/>
                  </a:lnTo>
                  <a:lnTo>
                    <a:pt x="443" y="855"/>
                  </a:lnTo>
                  <a:lnTo>
                    <a:pt x="445" y="855"/>
                  </a:lnTo>
                  <a:lnTo>
                    <a:pt x="443" y="855"/>
                  </a:lnTo>
                  <a:lnTo>
                    <a:pt x="443" y="855"/>
                  </a:lnTo>
                  <a:lnTo>
                    <a:pt x="445" y="855"/>
                  </a:lnTo>
                  <a:lnTo>
                    <a:pt x="443" y="855"/>
                  </a:lnTo>
                  <a:lnTo>
                    <a:pt x="443" y="855"/>
                  </a:lnTo>
                  <a:lnTo>
                    <a:pt x="443" y="857"/>
                  </a:lnTo>
                  <a:lnTo>
                    <a:pt x="443" y="857"/>
                  </a:lnTo>
                  <a:lnTo>
                    <a:pt x="446" y="866"/>
                  </a:lnTo>
                  <a:lnTo>
                    <a:pt x="446" y="866"/>
                  </a:lnTo>
                  <a:lnTo>
                    <a:pt x="449" y="873"/>
                  </a:lnTo>
                  <a:lnTo>
                    <a:pt x="449" y="873"/>
                  </a:lnTo>
                  <a:lnTo>
                    <a:pt x="450" y="878"/>
                  </a:lnTo>
                  <a:lnTo>
                    <a:pt x="450" y="878"/>
                  </a:lnTo>
                  <a:lnTo>
                    <a:pt x="452" y="888"/>
                  </a:lnTo>
                  <a:lnTo>
                    <a:pt x="452" y="888"/>
                  </a:lnTo>
                  <a:lnTo>
                    <a:pt x="453" y="892"/>
                  </a:lnTo>
                  <a:lnTo>
                    <a:pt x="453" y="892"/>
                  </a:lnTo>
                  <a:lnTo>
                    <a:pt x="455" y="897"/>
                  </a:lnTo>
                  <a:lnTo>
                    <a:pt x="455" y="897"/>
                  </a:lnTo>
                  <a:lnTo>
                    <a:pt x="456" y="899"/>
                  </a:lnTo>
                  <a:lnTo>
                    <a:pt x="456" y="899"/>
                  </a:lnTo>
                  <a:lnTo>
                    <a:pt x="461" y="901"/>
                  </a:lnTo>
                  <a:lnTo>
                    <a:pt x="461" y="901"/>
                  </a:lnTo>
                  <a:lnTo>
                    <a:pt x="465" y="899"/>
                  </a:lnTo>
                  <a:lnTo>
                    <a:pt x="468" y="898"/>
                  </a:lnTo>
                  <a:lnTo>
                    <a:pt x="468" y="898"/>
                  </a:lnTo>
                  <a:lnTo>
                    <a:pt x="468" y="897"/>
                  </a:lnTo>
                  <a:lnTo>
                    <a:pt x="468" y="898"/>
                  </a:lnTo>
                  <a:lnTo>
                    <a:pt x="468" y="898"/>
                  </a:lnTo>
                  <a:lnTo>
                    <a:pt x="468" y="898"/>
                  </a:lnTo>
                  <a:lnTo>
                    <a:pt x="468" y="897"/>
                  </a:lnTo>
                  <a:lnTo>
                    <a:pt x="468" y="898"/>
                  </a:lnTo>
                  <a:lnTo>
                    <a:pt x="468" y="895"/>
                  </a:lnTo>
                  <a:lnTo>
                    <a:pt x="466" y="897"/>
                  </a:lnTo>
                  <a:lnTo>
                    <a:pt x="468" y="898"/>
                  </a:lnTo>
                  <a:lnTo>
                    <a:pt x="468" y="895"/>
                  </a:lnTo>
                  <a:lnTo>
                    <a:pt x="466" y="897"/>
                  </a:lnTo>
                  <a:lnTo>
                    <a:pt x="466" y="895"/>
                  </a:lnTo>
                  <a:lnTo>
                    <a:pt x="465" y="897"/>
                  </a:lnTo>
                  <a:lnTo>
                    <a:pt x="465" y="897"/>
                  </a:lnTo>
                  <a:lnTo>
                    <a:pt x="466" y="897"/>
                  </a:lnTo>
                  <a:lnTo>
                    <a:pt x="466" y="895"/>
                  </a:lnTo>
                  <a:lnTo>
                    <a:pt x="465" y="897"/>
                  </a:lnTo>
                  <a:lnTo>
                    <a:pt x="465" y="897"/>
                  </a:lnTo>
                  <a:lnTo>
                    <a:pt x="465" y="897"/>
                  </a:lnTo>
                  <a:lnTo>
                    <a:pt x="465" y="897"/>
                  </a:lnTo>
                  <a:lnTo>
                    <a:pt x="465" y="897"/>
                  </a:lnTo>
                  <a:lnTo>
                    <a:pt x="465" y="897"/>
                  </a:lnTo>
                  <a:lnTo>
                    <a:pt x="465" y="897"/>
                  </a:lnTo>
                  <a:lnTo>
                    <a:pt x="465" y="897"/>
                  </a:lnTo>
                  <a:lnTo>
                    <a:pt x="465" y="899"/>
                  </a:lnTo>
                  <a:lnTo>
                    <a:pt x="465" y="899"/>
                  </a:lnTo>
                  <a:lnTo>
                    <a:pt x="463" y="908"/>
                  </a:lnTo>
                  <a:lnTo>
                    <a:pt x="463" y="908"/>
                  </a:lnTo>
                  <a:lnTo>
                    <a:pt x="461" y="915"/>
                  </a:lnTo>
                  <a:lnTo>
                    <a:pt x="461" y="917"/>
                  </a:lnTo>
                  <a:lnTo>
                    <a:pt x="461" y="917"/>
                  </a:lnTo>
                  <a:lnTo>
                    <a:pt x="462" y="923"/>
                  </a:lnTo>
                  <a:lnTo>
                    <a:pt x="462" y="923"/>
                  </a:lnTo>
                  <a:lnTo>
                    <a:pt x="468" y="933"/>
                  </a:lnTo>
                  <a:lnTo>
                    <a:pt x="468" y="933"/>
                  </a:lnTo>
                  <a:lnTo>
                    <a:pt x="472" y="940"/>
                  </a:lnTo>
                  <a:lnTo>
                    <a:pt x="472" y="940"/>
                  </a:lnTo>
                  <a:lnTo>
                    <a:pt x="476" y="949"/>
                  </a:lnTo>
                  <a:lnTo>
                    <a:pt x="476" y="949"/>
                  </a:lnTo>
                  <a:lnTo>
                    <a:pt x="478" y="959"/>
                  </a:lnTo>
                  <a:lnTo>
                    <a:pt x="478" y="959"/>
                  </a:lnTo>
                  <a:lnTo>
                    <a:pt x="478" y="959"/>
                  </a:lnTo>
                  <a:lnTo>
                    <a:pt x="478" y="959"/>
                  </a:lnTo>
                  <a:lnTo>
                    <a:pt x="478" y="966"/>
                  </a:lnTo>
                  <a:lnTo>
                    <a:pt x="478" y="966"/>
                  </a:lnTo>
                  <a:lnTo>
                    <a:pt x="476" y="973"/>
                  </a:lnTo>
                  <a:lnTo>
                    <a:pt x="476" y="973"/>
                  </a:lnTo>
                  <a:lnTo>
                    <a:pt x="476" y="975"/>
                  </a:lnTo>
                  <a:lnTo>
                    <a:pt x="476" y="975"/>
                  </a:lnTo>
                  <a:lnTo>
                    <a:pt x="478" y="976"/>
                  </a:lnTo>
                  <a:lnTo>
                    <a:pt x="478" y="976"/>
                  </a:lnTo>
                  <a:lnTo>
                    <a:pt x="479" y="978"/>
                  </a:lnTo>
                  <a:lnTo>
                    <a:pt x="479" y="978"/>
                  </a:lnTo>
                  <a:lnTo>
                    <a:pt x="479" y="978"/>
                  </a:lnTo>
                  <a:lnTo>
                    <a:pt x="487" y="979"/>
                  </a:lnTo>
                  <a:lnTo>
                    <a:pt x="487" y="979"/>
                  </a:lnTo>
                  <a:lnTo>
                    <a:pt x="491" y="981"/>
                  </a:lnTo>
                  <a:lnTo>
                    <a:pt x="497" y="981"/>
                  </a:lnTo>
                  <a:lnTo>
                    <a:pt x="497" y="981"/>
                  </a:lnTo>
                  <a:lnTo>
                    <a:pt x="501" y="981"/>
                  </a:lnTo>
                  <a:lnTo>
                    <a:pt x="504" y="981"/>
                  </a:lnTo>
                  <a:lnTo>
                    <a:pt x="504" y="981"/>
                  </a:lnTo>
                  <a:lnTo>
                    <a:pt x="507" y="978"/>
                  </a:lnTo>
                  <a:lnTo>
                    <a:pt x="507" y="978"/>
                  </a:lnTo>
                  <a:lnTo>
                    <a:pt x="508" y="973"/>
                  </a:lnTo>
                  <a:lnTo>
                    <a:pt x="508" y="973"/>
                  </a:lnTo>
                  <a:lnTo>
                    <a:pt x="510" y="968"/>
                  </a:lnTo>
                  <a:lnTo>
                    <a:pt x="510" y="968"/>
                  </a:lnTo>
                  <a:lnTo>
                    <a:pt x="511" y="963"/>
                  </a:lnTo>
                  <a:lnTo>
                    <a:pt x="516" y="960"/>
                  </a:lnTo>
                  <a:lnTo>
                    <a:pt x="516" y="960"/>
                  </a:lnTo>
                  <a:lnTo>
                    <a:pt x="520" y="957"/>
                  </a:lnTo>
                  <a:lnTo>
                    <a:pt x="523" y="956"/>
                  </a:lnTo>
                  <a:lnTo>
                    <a:pt x="523" y="956"/>
                  </a:lnTo>
                  <a:lnTo>
                    <a:pt x="526" y="957"/>
                  </a:lnTo>
                  <a:lnTo>
                    <a:pt x="526" y="957"/>
                  </a:lnTo>
                  <a:lnTo>
                    <a:pt x="529" y="957"/>
                  </a:lnTo>
                  <a:lnTo>
                    <a:pt x="529" y="957"/>
                  </a:lnTo>
                  <a:lnTo>
                    <a:pt x="532" y="957"/>
                  </a:lnTo>
                  <a:lnTo>
                    <a:pt x="532" y="957"/>
                  </a:lnTo>
                  <a:lnTo>
                    <a:pt x="533" y="956"/>
                  </a:lnTo>
                  <a:lnTo>
                    <a:pt x="533" y="956"/>
                  </a:lnTo>
                  <a:lnTo>
                    <a:pt x="534" y="953"/>
                  </a:lnTo>
                  <a:lnTo>
                    <a:pt x="534" y="953"/>
                  </a:lnTo>
                  <a:lnTo>
                    <a:pt x="542" y="936"/>
                  </a:lnTo>
                  <a:lnTo>
                    <a:pt x="542" y="936"/>
                  </a:lnTo>
                  <a:lnTo>
                    <a:pt x="546" y="918"/>
                  </a:lnTo>
                  <a:lnTo>
                    <a:pt x="546" y="918"/>
                  </a:lnTo>
                  <a:lnTo>
                    <a:pt x="547" y="908"/>
                  </a:lnTo>
                  <a:lnTo>
                    <a:pt x="547" y="908"/>
                  </a:lnTo>
                  <a:lnTo>
                    <a:pt x="547" y="899"/>
                  </a:lnTo>
                  <a:lnTo>
                    <a:pt x="547" y="899"/>
                  </a:lnTo>
                  <a:lnTo>
                    <a:pt x="547" y="897"/>
                  </a:lnTo>
                  <a:lnTo>
                    <a:pt x="547" y="897"/>
                  </a:lnTo>
                  <a:lnTo>
                    <a:pt x="549" y="892"/>
                  </a:lnTo>
                  <a:lnTo>
                    <a:pt x="549" y="892"/>
                  </a:lnTo>
                  <a:lnTo>
                    <a:pt x="555" y="882"/>
                  </a:lnTo>
                  <a:lnTo>
                    <a:pt x="555" y="882"/>
                  </a:lnTo>
                  <a:lnTo>
                    <a:pt x="558" y="876"/>
                  </a:lnTo>
                  <a:lnTo>
                    <a:pt x="558" y="876"/>
                  </a:lnTo>
                  <a:lnTo>
                    <a:pt x="560" y="875"/>
                  </a:lnTo>
                  <a:lnTo>
                    <a:pt x="560" y="875"/>
                  </a:lnTo>
                  <a:lnTo>
                    <a:pt x="560" y="873"/>
                  </a:lnTo>
                  <a:lnTo>
                    <a:pt x="560" y="875"/>
                  </a:lnTo>
                  <a:lnTo>
                    <a:pt x="560" y="875"/>
                  </a:lnTo>
                  <a:lnTo>
                    <a:pt x="560" y="873"/>
                  </a:lnTo>
                  <a:lnTo>
                    <a:pt x="560" y="875"/>
                  </a:lnTo>
                  <a:lnTo>
                    <a:pt x="560" y="875"/>
                  </a:lnTo>
                  <a:lnTo>
                    <a:pt x="560" y="875"/>
                  </a:lnTo>
                  <a:lnTo>
                    <a:pt x="562" y="875"/>
                  </a:lnTo>
                  <a:lnTo>
                    <a:pt x="562" y="875"/>
                  </a:lnTo>
                  <a:lnTo>
                    <a:pt x="563" y="875"/>
                  </a:lnTo>
                  <a:lnTo>
                    <a:pt x="563" y="875"/>
                  </a:lnTo>
                  <a:lnTo>
                    <a:pt x="565" y="875"/>
                  </a:lnTo>
                  <a:lnTo>
                    <a:pt x="565" y="875"/>
                  </a:lnTo>
                  <a:lnTo>
                    <a:pt x="568" y="873"/>
                  </a:lnTo>
                  <a:lnTo>
                    <a:pt x="568" y="873"/>
                  </a:lnTo>
                  <a:lnTo>
                    <a:pt x="569" y="869"/>
                  </a:lnTo>
                  <a:lnTo>
                    <a:pt x="569" y="869"/>
                  </a:lnTo>
                  <a:lnTo>
                    <a:pt x="572" y="862"/>
                  </a:lnTo>
                  <a:lnTo>
                    <a:pt x="572" y="862"/>
                  </a:lnTo>
                  <a:lnTo>
                    <a:pt x="574" y="859"/>
                  </a:lnTo>
                  <a:lnTo>
                    <a:pt x="575" y="859"/>
                  </a:lnTo>
                  <a:lnTo>
                    <a:pt x="575" y="859"/>
                  </a:lnTo>
                  <a:lnTo>
                    <a:pt x="575" y="859"/>
                  </a:lnTo>
                  <a:lnTo>
                    <a:pt x="575" y="857"/>
                  </a:lnTo>
                  <a:lnTo>
                    <a:pt x="575" y="859"/>
                  </a:lnTo>
                  <a:lnTo>
                    <a:pt x="575" y="859"/>
                  </a:lnTo>
                  <a:lnTo>
                    <a:pt x="575" y="857"/>
                  </a:lnTo>
                  <a:lnTo>
                    <a:pt x="575" y="859"/>
                  </a:lnTo>
                  <a:lnTo>
                    <a:pt x="575" y="859"/>
                  </a:lnTo>
                  <a:lnTo>
                    <a:pt x="578" y="856"/>
                  </a:lnTo>
                  <a:lnTo>
                    <a:pt x="579" y="853"/>
                  </a:lnTo>
                  <a:lnTo>
                    <a:pt x="579" y="853"/>
                  </a:lnTo>
                  <a:lnTo>
                    <a:pt x="581" y="850"/>
                  </a:lnTo>
                  <a:lnTo>
                    <a:pt x="582" y="846"/>
                  </a:lnTo>
                  <a:lnTo>
                    <a:pt x="582" y="846"/>
                  </a:lnTo>
                  <a:lnTo>
                    <a:pt x="579" y="837"/>
                  </a:lnTo>
                  <a:lnTo>
                    <a:pt x="579" y="837"/>
                  </a:lnTo>
                  <a:lnTo>
                    <a:pt x="576" y="827"/>
                  </a:lnTo>
                  <a:lnTo>
                    <a:pt x="576" y="827"/>
                  </a:lnTo>
                  <a:lnTo>
                    <a:pt x="576" y="827"/>
                  </a:lnTo>
                  <a:lnTo>
                    <a:pt x="574" y="823"/>
                  </a:lnTo>
                  <a:lnTo>
                    <a:pt x="571" y="820"/>
                  </a:lnTo>
                  <a:lnTo>
                    <a:pt x="571" y="820"/>
                  </a:lnTo>
                  <a:lnTo>
                    <a:pt x="565" y="818"/>
                  </a:lnTo>
                  <a:lnTo>
                    <a:pt x="560" y="817"/>
                  </a:lnTo>
                  <a:lnTo>
                    <a:pt x="560" y="817"/>
                  </a:lnTo>
                  <a:lnTo>
                    <a:pt x="558" y="817"/>
                  </a:lnTo>
                  <a:lnTo>
                    <a:pt x="558" y="817"/>
                  </a:lnTo>
                  <a:lnTo>
                    <a:pt x="555" y="814"/>
                  </a:lnTo>
                  <a:lnTo>
                    <a:pt x="555" y="814"/>
                  </a:lnTo>
                  <a:lnTo>
                    <a:pt x="552" y="807"/>
                  </a:lnTo>
                  <a:lnTo>
                    <a:pt x="552" y="807"/>
                  </a:lnTo>
                  <a:lnTo>
                    <a:pt x="550" y="802"/>
                  </a:lnTo>
                  <a:lnTo>
                    <a:pt x="550" y="802"/>
                  </a:lnTo>
                  <a:lnTo>
                    <a:pt x="552" y="795"/>
                  </a:lnTo>
                  <a:lnTo>
                    <a:pt x="552" y="795"/>
                  </a:lnTo>
                  <a:lnTo>
                    <a:pt x="555" y="789"/>
                  </a:lnTo>
                  <a:lnTo>
                    <a:pt x="555" y="789"/>
                  </a:lnTo>
                  <a:lnTo>
                    <a:pt x="556" y="786"/>
                  </a:lnTo>
                  <a:lnTo>
                    <a:pt x="556" y="784"/>
                  </a:lnTo>
                  <a:lnTo>
                    <a:pt x="556" y="784"/>
                  </a:lnTo>
                  <a:lnTo>
                    <a:pt x="558" y="772"/>
                  </a:lnTo>
                  <a:lnTo>
                    <a:pt x="558" y="772"/>
                  </a:lnTo>
                  <a:lnTo>
                    <a:pt x="558" y="768"/>
                  </a:lnTo>
                  <a:lnTo>
                    <a:pt x="558" y="768"/>
                  </a:lnTo>
                  <a:lnTo>
                    <a:pt x="558" y="765"/>
                  </a:lnTo>
                  <a:lnTo>
                    <a:pt x="558" y="765"/>
                  </a:lnTo>
                  <a:lnTo>
                    <a:pt x="558" y="765"/>
                  </a:lnTo>
                  <a:lnTo>
                    <a:pt x="558" y="763"/>
                  </a:lnTo>
                  <a:lnTo>
                    <a:pt x="558" y="763"/>
                  </a:lnTo>
                  <a:lnTo>
                    <a:pt x="556" y="759"/>
                  </a:lnTo>
                  <a:lnTo>
                    <a:pt x="556" y="759"/>
                  </a:lnTo>
                  <a:lnTo>
                    <a:pt x="553" y="755"/>
                  </a:lnTo>
                  <a:lnTo>
                    <a:pt x="553" y="755"/>
                  </a:lnTo>
                  <a:lnTo>
                    <a:pt x="552" y="752"/>
                  </a:lnTo>
                  <a:lnTo>
                    <a:pt x="552" y="752"/>
                  </a:lnTo>
                  <a:lnTo>
                    <a:pt x="552" y="752"/>
                  </a:lnTo>
                  <a:lnTo>
                    <a:pt x="550" y="752"/>
                  </a:lnTo>
                  <a:lnTo>
                    <a:pt x="552" y="753"/>
                  </a:lnTo>
                  <a:lnTo>
                    <a:pt x="552" y="752"/>
                  </a:lnTo>
                  <a:lnTo>
                    <a:pt x="550" y="752"/>
                  </a:lnTo>
                  <a:lnTo>
                    <a:pt x="552" y="753"/>
                  </a:lnTo>
                  <a:lnTo>
                    <a:pt x="550" y="752"/>
                  </a:lnTo>
                  <a:lnTo>
                    <a:pt x="550" y="753"/>
                  </a:lnTo>
                  <a:lnTo>
                    <a:pt x="552" y="753"/>
                  </a:lnTo>
                  <a:lnTo>
                    <a:pt x="550" y="752"/>
                  </a:lnTo>
                  <a:lnTo>
                    <a:pt x="550" y="753"/>
                  </a:lnTo>
                  <a:lnTo>
                    <a:pt x="550" y="752"/>
                  </a:lnTo>
                  <a:lnTo>
                    <a:pt x="550" y="753"/>
                  </a:lnTo>
                  <a:lnTo>
                    <a:pt x="550" y="753"/>
                  </a:lnTo>
                  <a:lnTo>
                    <a:pt x="550" y="752"/>
                  </a:lnTo>
                  <a:lnTo>
                    <a:pt x="550" y="753"/>
                  </a:lnTo>
                  <a:lnTo>
                    <a:pt x="550" y="753"/>
                  </a:lnTo>
                  <a:lnTo>
                    <a:pt x="550" y="753"/>
                  </a:lnTo>
                  <a:lnTo>
                    <a:pt x="550" y="753"/>
                  </a:lnTo>
                  <a:lnTo>
                    <a:pt x="555" y="756"/>
                  </a:lnTo>
                  <a:lnTo>
                    <a:pt x="555" y="756"/>
                  </a:lnTo>
                  <a:lnTo>
                    <a:pt x="558" y="757"/>
                  </a:lnTo>
                  <a:lnTo>
                    <a:pt x="559" y="757"/>
                  </a:lnTo>
                  <a:lnTo>
                    <a:pt x="559" y="757"/>
                  </a:lnTo>
                  <a:lnTo>
                    <a:pt x="562" y="756"/>
                  </a:lnTo>
                  <a:lnTo>
                    <a:pt x="562" y="756"/>
                  </a:lnTo>
                  <a:lnTo>
                    <a:pt x="566" y="752"/>
                  </a:lnTo>
                  <a:lnTo>
                    <a:pt x="566" y="752"/>
                  </a:lnTo>
                  <a:lnTo>
                    <a:pt x="572" y="743"/>
                  </a:lnTo>
                  <a:lnTo>
                    <a:pt x="576" y="737"/>
                  </a:lnTo>
                  <a:lnTo>
                    <a:pt x="576" y="737"/>
                  </a:lnTo>
                  <a:lnTo>
                    <a:pt x="581" y="727"/>
                  </a:lnTo>
                  <a:lnTo>
                    <a:pt x="581" y="727"/>
                  </a:lnTo>
                  <a:lnTo>
                    <a:pt x="584" y="720"/>
                  </a:lnTo>
                  <a:lnTo>
                    <a:pt x="582" y="720"/>
                  </a:lnTo>
                  <a:lnTo>
                    <a:pt x="584" y="720"/>
                  </a:lnTo>
                  <a:lnTo>
                    <a:pt x="584" y="720"/>
                  </a:lnTo>
                  <a:lnTo>
                    <a:pt x="582" y="720"/>
                  </a:lnTo>
                  <a:lnTo>
                    <a:pt x="584" y="720"/>
                  </a:lnTo>
                  <a:lnTo>
                    <a:pt x="584" y="720"/>
                  </a:lnTo>
                  <a:lnTo>
                    <a:pt x="585" y="718"/>
                  </a:lnTo>
                  <a:lnTo>
                    <a:pt x="585" y="718"/>
                  </a:lnTo>
                  <a:lnTo>
                    <a:pt x="592" y="715"/>
                  </a:lnTo>
                  <a:lnTo>
                    <a:pt x="592" y="715"/>
                  </a:lnTo>
                  <a:lnTo>
                    <a:pt x="598" y="713"/>
                  </a:lnTo>
                  <a:lnTo>
                    <a:pt x="598" y="713"/>
                  </a:lnTo>
                  <a:lnTo>
                    <a:pt x="601" y="710"/>
                  </a:lnTo>
                  <a:lnTo>
                    <a:pt x="601" y="710"/>
                  </a:lnTo>
                  <a:lnTo>
                    <a:pt x="607" y="707"/>
                  </a:lnTo>
                  <a:lnTo>
                    <a:pt x="607" y="707"/>
                  </a:lnTo>
                  <a:lnTo>
                    <a:pt x="610" y="702"/>
                  </a:lnTo>
                  <a:lnTo>
                    <a:pt x="611" y="698"/>
                  </a:lnTo>
                  <a:lnTo>
                    <a:pt x="611" y="698"/>
                  </a:lnTo>
                  <a:lnTo>
                    <a:pt x="613" y="695"/>
                  </a:lnTo>
                  <a:lnTo>
                    <a:pt x="616" y="689"/>
                  </a:lnTo>
                  <a:lnTo>
                    <a:pt x="616" y="689"/>
                  </a:lnTo>
                  <a:lnTo>
                    <a:pt x="623" y="682"/>
                  </a:lnTo>
                  <a:lnTo>
                    <a:pt x="623" y="682"/>
                  </a:lnTo>
                  <a:lnTo>
                    <a:pt x="624" y="678"/>
                  </a:lnTo>
                  <a:lnTo>
                    <a:pt x="624" y="678"/>
                  </a:lnTo>
                  <a:lnTo>
                    <a:pt x="623" y="675"/>
                  </a:lnTo>
                  <a:lnTo>
                    <a:pt x="623" y="675"/>
                  </a:lnTo>
                  <a:lnTo>
                    <a:pt x="620" y="671"/>
                  </a:lnTo>
                  <a:lnTo>
                    <a:pt x="620" y="671"/>
                  </a:lnTo>
                  <a:lnTo>
                    <a:pt x="617" y="668"/>
                  </a:lnTo>
                  <a:lnTo>
                    <a:pt x="617" y="668"/>
                  </a:lnTo>
                  <a:lnTo>
                    <a:pt x="617" y="668"/>
                  </a:lnTo>
                  <a:lnTo>
                    <a:pt x="617" y="665"/>
                  </a:lnTo>
                  <a:lnTo>
                    <a:pt x="617" y="665"/>
                  </a:lnTo>
                  <a:lnTo>
                    <a:pt x="617" y="665"/>
                  </a:lnTo>
                  <a:lnTo>
                    <a:pt x="617" y="665"/>
                  </a:lnTo>
                  <a:lnTo>
                    <a:pt x="617" y="665"/>
                  </a:lnTo>
                  <a:lnTo>
                    <a:pt x="620" y="662"/>
                  </a:lnTo>
                  <a:lnTo>
                    <a:pt x="620" y="662"/>
                  </a:lnTo>
                  <a:lnTo>
                    <a:pt x="620" y="662"/>
                  </a:lnTo>
                  <a:lnTo>
                    <a:pt x="623" y="658"/>
                  </a:lnTo>
                  <a:lnTo>
                    <a:pt x="624" y="655"/>
                  </a:lnTo>
                  <a:lnTo>
                    <a:pt x="624" y="655"/>
                  </a:lnTo>
                  <a:lnTo>
                    <a:pt x="624" y="655"/>
                  </a:lnTo>
                  <a:lnTo>
                    <a:pt x="626" y="652"/>
                  </a:lnTo>
                  <a:lnTo>
                    <a:pt x="626" y="652"/>
                  </a:lnTo>
                  <a:lnTo>
                    <a:pt x="631" y="647"/>
                  </a:lnTo>
                  <a:lnTo>
                    <a:pt x="631" y="647"/>
                  </a:lnTo>
                  <a:lnTo>
                    <a:pt x="634" y="645"/>
                  </a:lnTo>
                  <a:lnTo>
                    <a:pt x="634" y="645"/>
                  </a:lnTo>
                  <a:lnTo>
                    <a:pt x="636" y="642"/>
                  </a:lnTo>
                  <a:lnTo>
                    <a:pt x="636" y="642"/>
                  </a:lnTo>
                  <a:lnTo>
                    <a:pt x="634" y="639"/>
                  </a:lnTo>
                  <a:lnTo>
                    <a:pt x="634" y="639"/>
                  </a:lnTo>
                  <a:lnTo>
                    <a:pt x="634" y="637"/>
                  </a:lnTo>
                  <a:lnTo>
                    <a:pt x="634" y="637"/>
                  </a:lnTo>
                  <a:lnTo>
                    <a:pt x="634" y="637"/>
                  </a:lnTo>
                  <a:lnTo>
                    <a:pt x="633" y="637"/>
                  </a:lnTo>
                  <a:lnTo>
                    <a:pt x="634" y="637"/>
                  </a:lnTo>
                  <a:lnTo>
                    <a:pt x="634" y="637"/>
                  </a:lnTo>
                  <a:lnTo>
                    <a:pt x="633" y="637"/>
                  </a:lnTo>
                  <a:lnTo>
                    <a:pt x="634" y="637"/>
                  </a:lnTo>
                  <a:lnTo>
                    <a:pt x="634" y="637"/>
                  </a:lnTo>
                  <a:lnTo>
                    <a:pt x="634" y="637"/>
                  </a:lnTo>
                  <a:lnTo>
                    <a:pt x="634" y="637"/>
                  </a:lnTo>
                  <a:lnTo>
                    <a:pt x="634" y="637"/>
                  </a:lnTo>
                  <a:lnTo>
                    <a:pt x="634" y="637"/>
                  </a:lnTo>
                  <a:lnTo>
                    <a:pt x="634" y="637"/>
                  </a:lnTo>
                  <a:lnTo>
                    <a:pt x="636" y="637"/>
                  </a:lnTo>
                  <a:lnTo>
                    <a:pt x="636" y="637"/>
                  </a:lnTo>
                  <a:lnTo>
                    <a:pt x="646" y="639"/>
                  </a:lnTo>
                  <a:lnTo>
                    <a:pt x="646" y="639"/>
                  </a:lnTo>
                  <a:lnTo>
                    <a:pt x="650" y="639"/>
                  </a:lnTo>
                  <a:lnTo>
                    <a:pt x="650" y="639"/>
                  </a:lnTo>
                  <a:lnTo>
                    <a:pt x="658" y="639"/>
                  </a:lnTo>
                  <a:lnTo>
                    <a:pt x="663" y="637"/>
                  </a:lnTo>
                  <a:lnTo>
                    <a:pt x="665" y="637"/>
                  </a:lnTo>
                  <a:lnTo>
                    <a:pt x="665" y="637"/>
                  </a:lnTo>
                  <a:lnTo>
                    <a:pt x="666" y="637"/>
                  </a:lnTo>
                  <a:lnTo>
                    <a:pt x="669" y="639"/>
                  </a:lnTo>
                  <a:lnTo>
                    <a:pt x="669" y="639"/>
                  </a:lnTo>
                  <a:lnTo>
                    <a:pt x="673" y="646"/>
                  </a:lnTo>
                  <a:lnTo>
                    <a:pt x="673" y="646"/>
                  </a:lnTo>
                  <a:lnTo>
                    <a:pt x="675" y="653"/>
                  </a:lnTo>
                  <a:lnTo>
                    <a:pt x="675" y="653"/>
                  </a:lnTo>
                  <a:lnTo>
                    <a:pt x="673" y="659"/>
                  </a:lnTo>
                  <a:lnTo>
                    <a:pt x="673" y="659"/>
                  </a:lnTo>
                  <a:lnTo>
                    <a:pt x="672" y="662"/>
                  </a:lnTo>
                  <a:lnTo>
                    <a:pt x="672" y="662"/>
                  </a:lnTo>
                  <a:lnTo>
                    <a:pt x="672" y="662"/>
                  </a:lnTo>
                  <a:lnTo>
                    <a:pt x="672" y="662"/>
                  </a:lnTo>
                  <a:lnTo>
                    <a:pt x="669" y="663"/>
                  </a:lnTo>
                  <a:lnTo>
                    <a:pt x="669" y="663"/>
                  </a:lnTo>
                  <a:lnTo>
                    <a:pt x="665" y="669"/>
                  </a:lnTo>
                  <a:lnTo>
                    <a:pt x="659" y="675"/>
                  </a:lnTo>
                  <a:lnTo>
                    <a:pt x="659" y="675"/>
                  </a:lnTo>
                  <a:lnTo>
                    <a:pt x="653" y="688"/>
                  </a:lnTo>
                  <a:lnTo>
                    <a:pt x="653" y="688"/>
                  </a:lnTo>
                  <a:lnTo>
                    <a:pt x="653" y="688"/>
                  </a:lnTo>
                  <a:lnTo>
                    <a:pt x="650" y="692"/>
                  </a:lnTo>
                  <a:lnTo>
                    <a:pt x="650" y="692"/>
                  </a:lnTo>
                  <a:lnTo>
                    <a:pt x="640" y="704"/>
                  </a:lnTo>
                  <a:lnTo>
                    <a:pt x="640" y="704"/>
                  </a:lnTo>
                  <a:lnTo>
                    <a:pt x="636" y="710"/>
                  </a:lnTo>
                  <a:lnTo>
                    <a:pt x="633" y="715"/>
                  </a:lnTo>
                  <a:lnTo>
                    <a:pt x="633" y="715"/>
                  </a:lnTo>
                  <a:lnTo>
                    <a:pt x="630" y="721"/>
                  </a:lnTo>
                  <a:lnTo>
                    <a:pt x="630" y="721"/>
                  </a:lnTo>
                  <a:lnTo>
                    <a:pt x="620" y="733"/>
                  </a:lnTo>
                  <a:lnTo>
                    <a:pt x="620" y="733"/>
                  </a:lnTo>
                  <a:lnTo>
                    <a:pt x="613" y="742"/>
                  </a:lnTo>
                  <a:lnTo>
                    <a:pt x="613" y="742"/>
                  </a:lnTo>
                  <a:lnTo>
                    <a:pt x="611" y="744"/>
                  </a:lnTo>
                  <a:lnTo>
                    <a:pt x="611" y="744"/>
                  </a:lnTo>
                  <a:lnTo>
                    <a:pt x="610" y="747"/>
                  </a:lnTo>
                  <a:lnTo>
                    <a:pt x="610" y="747"/>
                  </a:lnTo>
                  <a:lnTo>
                    <a:pt x="611" y="752"/>
                  </a:lnTo>
                  <a:lnTo>
                    <a:pt x="611" y="752"/>
                  </a:lnTo>
                  <a:lnTo>
                    <a:pt x="613" y="757"/>
                  </a:lnTo>
                  <a:lnTo>
                    <a:pt x="613" y="757"/>
                  </a:lnTo>
                  <a:lnTo>
                    <a:pt x="617" y="773"/>
                  </a:lnTo>
                  <a:lnTo>
                    <a:pt x="617" y="773"/>
                  </a:lnTo>
                  <a:lnTo>
                    <a:pt x="618" y="789"/>
                  </a:lnTo>
                  <a:lnTo>
                    <a:pt x="618" y="789"/>
                  </a:lnTo>
                  <a:lnTo>
                    <a:pt x="618" y="791"/>
                  </a:lnTo>
                  <a:lnTo>
                    <a:pt x="618" y="791"/>
                  </a:lnTo>
                  <a:lnTo>
                    <a:pt x="616" y="800"/>
                  </a:lnTo>
                  <a:lnTo>
                    <a:pt x="616" y="810"/>
                  </a:lnTo>
                  <a:lnTo>
                    <a:pt x="616" y="810"/>
                  </a:lnTo>
                  <a:lnTo>
                    <a:pt x="616" y="814"/>
                  </a:lnTo>
                  <a:lnTo>
                    <a:pt x="617" y="817"/>
                  </a:lnTo>
                  <a:lnTo>
                    <a:pt x="617" y="817"/>
                  </a:lnTo>
                  <a:lnTo>
                    <a:pt x="620" y="821"/>
                  </a:lnTo>
                  <a:lnTo>
                    <a:pt x="624" y="821"/>
                  </a:lnTo>
                  <a:lnTo>
                    <a:pt x="624" y="821"/>
                  </a:lnTo>
                  <a:lnTo>
                    <a:pt x="627" y="823"/>
                  </a:lnTo>
                  <a:lnTo>
                    <a:pt x="630" y="824"/>
                  </a:lnTo>
                  <a:lnTo>
                    <a:pt x="630" y="824"/>
                  </a:lnTo>
                  <a:lnTo>
                    <a:pt x="631" y="827"/>
                  </a:lnTo>
                  <a:lnTo>
                    <a:pt x="633" y="828"/>
                  </a:lnTo>
                  <a:lnTo>
                    <a:pt x="633" y="828"/>
                  </a:lnTo>
                  <a:lnTo>
                    <a:pt x="633" y="828"/>
                  </a:lnTo>
                  <a:lnTo>
                    <a:pt x="633" y="831"/>
                  </a:lnTo>
                  <a:lnTo>
                    <a:pt x="634" y="834"/>
                  </a:lnTo>
                  <a:lnTo>
                    <a:pt x="634" y="834"/>
                  </a:lnTo>
                  <a:lnTo>
                    <a:pt x="637" y="837"/>
                  </a:lnTo>
                  <a:lnTo>
                    <a:pt x="642" y="840"/>
                  </a:lnTo>
                  <a:lnTo>
                    <a:pt x="642" y="840"/>
                  </a:lnTo>
                  <a:lnTo>
                    <a:pt x="646" y="842"/>
                  </a:lnTo>
                  <a:lnTo>
                    <a:pt x="653" y="842"/>
                  </a:lnTo>
                  <a:lnTo>
                    <a:pt x="653" y="842"/>
                  </a:lnTo>
                  <a:lnTo>
                    <a:pt x="658" y="842"/>
                  </a:lnTo>
                  <a:lnTo>
                    <a:pt x="658" y="842"/>
                  </a:lnTo>
                  <a:lnTo>
                    <a:pt x="662" y="840"/>
                  </a:lnTo>
                  <a:lnTo>
                    <a:pt x="662" y="840"/>
                  </a:lnTo>
                  <a:lnTo>
                    <a:pt x="668" y="836"/>
                  </a:lnTo>
                  <a:lnTo>
                    <a:pt x="668" y="836"/>
                  </a:lnTo>
                  <a:lnTo>
                    <a:pt x="671" y="834"/>
                  </a:lnTo>
                  <a:lnTo>
                    <a:pt x="676" y="834"/>
                  </a:lnTo>
                  <a:lnTo>
                    <a:pt x="676" y="834"/>
                  </a:lnTo>
                  <a:lnTo>
                    <a:pt x="691" y="831"/>
                  </a:lnTo>
                  <a:lnTo>
                    <a:pt x="691" y="831"/>
                  </a:lnTo>
                  <a:lnTo>
                    <a:pt x="697" y="830"/>
                  </a:lnTo>
                  <a:lnTo>
                    <a:pt x="702" y="827"/>
                  </a:lnTo>
                  <a:lnTo>
                    <a:pt x="702" y="827"/>
                  </a:lnTo>
                  <a:lnTo>
                    <a:pt x="705" y="826"/>
                  </a:lnTo>
                  <a:lnTo>
                    <a:pt x="708" y="826"/>
                  </a:lnTo>
                  <a:lnTo>
                    <a:pt x="708" y="826"/>
                  </a:lnTo>
                  <a:lnTo>
                    <a:pt x="711" y="826"/>
                  </a:lnTo>
                  <a:lnTo>
                    <a:pt x="711" y="826"/>
                  </a:lnTo>
                  <a:lnTo>
                    <a:pt x="715" y="826"/>
                  </a:lnTo>
                  <a:lnTo>
                    <a:pt x="715" y="826"/>
                  </a:lnTo>
                  <a:lnTo>
                    <a:pt x="721" y="826"/>
                  </a:lnTo>
                  <a:lnTo>
                    <a:pt x="727" y="824"/>
                  </a:lnTo>
                  <a:lnTo>
                    <a:pt x="727" y="824"/>
                  </a:lnTo>
                  <a:lnTo>
                    <a:pt x="730" y="823"/>
                  </a:lnTo>
                  <a:lnTo>
                    <a:pt x="730" y="823"/>
                  </a:lnTo>
                  <a:lnTo>
                    <a:pt x="731" y="823"/>
                  </a:lnTo>
                  <a:lnTo>
                    <a:pt x="731" y="821"/>
                  </a:lnTo>
                  <a:lnTo>
                    <a:pt x="730" y="821"/>
                  </a:lnTo>
                  <a:lnTo>
                    <a:pt x="731" y="823"/>
                  </a:lnTo>
                  <a:lnTo>
                    <a:pt x="731" y="821"/>
                  </a:lnTo>
                  <a:lnTo>
                    <a:pt x="730" y="821"/>
                  </a:lnTo>
                  <a:lnTo>
                    <a:pt x="731" y="821"/>
                  </a:lnTo>
                  <a:lnTo>
                    <a:pt x="730" y="821"/>
                  </a:lnTo>
                  <a:lnTo>
                    <a:pt x="730" y="821"/>
                  </a:lnTo>
                  <a:lnTo>
                    <a:pt x="731" y="821"/>
                  </a:lnTo>
                  <a:lnTo>
                    <a:pt x="730" y="821"/>
                  </a:lnTo>
                  <a:lnTo>
                    <a:pt x="730" y="821"/>
                  </a:lnTo>
                  <a:lnTo>
                    <a:pt x="730" y="821"/>
                  </a:lnTo>
                  <a:lnTo>
                    <a:pt x="730" y="821"/>
                  </a:lnTo>
                  <a:lnTo>
                    <a:pt x="730" y="821"/>
                  </a:lnTo>
                  <a:lnTo>
                    <a:pt x="730" y="821"/>
                  </a:lnTo>
                  <a:lnTo>
                    <a:pt x="730" y="821"/>
                  </a:lnTo>
                  <a:lnTo>
                    <a:pt x="730" y="821"/>
                  </a:lnTo>
                  <a:lnTo>
                    <a:pt x="728" y="824"/>
                  </a:lnTo>
                  <a:lnTo>
                    <a:pt x="728" y="824"/>
                  </a:lnTo>
                  <a:lnTo>
                    <a:pt x="728" y="824"/>
                  </a:lnTo>
                  <a:lnTo>
                    <a:pt x="728" y="827"/>
                  </a:lnTo>
                  <a:lnTo>
                    <a:pt x="728" y="827"/>
                  </a:lnTo>
                  <a:lnTo>
                    <a:pt x="730" y="830"/>
                  </a:lnTo>
                  <a:lnTo>
                    <a:pt x="730" y="830"/>
                  </a:lnTo>
                  <a:lnTo>
                    <a:pt x="731" y="831"/>
                  </a:lnTo>
                  <a:lnTo>
                    <a:pt x="733" y="833"/>
                  </a:lnTo>
                  <a:lnTo>
                    <a:pt x="733" y="833"/>
                  </a:lnTo>
                  <a:lnTo>
                    <a:pt x="739" y="833"/>
                  </a:lnTo>
                  <a:lnTo>
                    <a:pt x="739" y="833"/>
                  </a:lnTo>
                  <a:lnTo>
                    <a:pt x="742" y="834"/>
                  </a:lnTo>
                  <a:lnTo>
                    <a:pt x="742" y="834"/>
                  </a:lnTo>
                  <a:lnTo>
                    <a:pt x="743" y="836"/>
                  </a:lnTo>
                  <a:lnTo>
                    <a:pt x="744" y="837"/>
                  </a:lnTo>
                  <a:lnTo>
                    <a:pt x="744" y="837"/>
                  </a:lnTo>
                  <a:lnTo>
                    <a:pt x="744" y="839"/>
                  </a:lnTo>
                  <a:lnTo>
                    <a:pt x="744" y="839"/>
                  </a:lnTo>
                  <a:lnTo>
                    <a:pt x="742" y="840"/>
                  </a:lnTo>
                  <a:lnTo>
                    <a:pt x="742" y="840"/>
                  </a:lnTo>
                  <a:lnTo>
                    <a:pt x="731" y="842"/>
                  </a:lnTo>
                  <a:lnTo>
                    <a:pt x="731" y="842"/>
                  </a:lnTo>
                  <a:lnTo>
                    <a:pt x="727" y="843"/>
                  </a:lnTo>
                  <a:lnTo>
                    <a:pt x="727" y="843"/>
                  </a:lnTo>
                  <a:lnTo>
                    <a:pt x="724" y="843"/>
                  </a:lnTo>
                  <a:lnTo>
                    <a:pt x="724" y="843"/>
                  </a:lnTo>
                  <a:lnTo>
                    <a:pt x="723" y="846"/>
                  </a:lnTo>
                  <a:lnTo>
                    <a:pt x="723" y="846"/>
                  </a:lnTo>
                  <a:lnTo>
                    <a:pt x="724" y="849"/>
                  </a:lnTo>
                  <a:lnTo>
                    <a:pt x="724" y="849"/>
                  </a:lnTo>
                  <a:lnTo>
                    <a:pt x="724" y="850"/>
                  </a:lnTo>
                  <a:lnTo>
                    <a:pt x="724" y="850"/>
                  </a:lnTo>
                  <a:lnTo>
                    <a:pt x="724" y="852"/>
                  </a:lnTo>
                  <a:lnTo>
                    <a:pt x="724" y="852"/>
                  </a:lnTo>
                  <a:lnTo>
                    <a:pt x="717" y="852"/>
                  </a:lnTo>
                  <a:lnTo>
                    <a:pt x="717" y="852"/>
                  </a:lnTo>
                  <a:lnTo>
                    <a:pt x="684" y="852"/>
                  </a:lnTo>
                  <a:lnTo>
                    <a:pt x="684" y="852"/>
                  </a:lnTo>
                  <a:lnTo>
                    <a:pt x="679" y="852"/>
                  </a:lnTo>
                  <a:lnTo>
                    <a:pt x="679" y="852"/>
                  </a:lnTo>
                  <a:lnTo>
                    <a:pt x="671" y="853"/>
                  </a:lnTo>
                  <a:lnTo>
                    <a:pt x="662" y="856"/>
                  </a:lnTo>
                  <a:lnTo>
                    <a:pt x="662" y="856"/>
                  </a:lnTo>
                  <a:lnTo>
                    <a:pt x="655" y="862"/>
                  </a:lnTo>
                  <a:lnTo>
                    <a:pt x="655" y="862"/>
                  </a:lnTo>
                  <a:lnTo>
                    <a:pt x="652" y="865"/>
                  </a:lnTo>
                  <a:lnTo>
                    <a:pt x="652" y="869"/>
                  </a:lnTo>
                  <a:lnTo>
                    <a:pt x="652" y="869"/>
                  </a:lnTo>
                  <a:lnTo>
                    <a:pt x="652" y="870"/>
                  </a:lnTo>
                  <a:lnTo>
                    <a:pt x="652" y="870"/>
                  </a:lnTo>
                  <a:lnTo>
                    <a:pt x="652" y="876"/>
                  </a:lnTo>
                  <a:lnTo>
                    <a:pt x="653" y="882"/>
                  </a:lnTo>
                  <a:lnTo>
                    <a:pt x="653" y="882"/>
                  </a:lnTo>
                  <a:lnTo>
                    <a:pt x="656" y="888"/>
                  </a:lnTo>
                  <a:lnTo>
                    <a:pt x="660" y="891"/>
                  </a:lnTo>
                  <a:lnTo>
                    <a:pt x="660" y="891"/>
                  </a:lnTo>
                  <a:lnTo>
                    <a:pt x="662" y="894"/>
                  </a:lnTo>
                  <a:lnTo>
                    <a:pt x="662" y="894"/>
                  </a:lnTo>
                  <a:lnTo>
                    <a:pt x="665" y="902"/>
                  </a:lnTo>
                  <a:lnTo>
                    <a:pt x="666" y="911"/>
                  </a:lnTo>
                  <a:lnTo>
                    <a:pt x="666" y="911"/>
                  </a:lnTo>
                  <a:lnTo>
                    <a:pt x="666" y="914"/>
                  </a:lnTo>
                  <a:lnTo>
                    <a:pt x="666" y="914"/>
                  </a:lnTo>
                  <a:lnTo>
                    <a:pt x="665" y="920"/>
                  </a:lnTo>
                  <a:lnTo>
                    <a:pt x="662" y="924"/>
                  </a:lnTo>
                  <a:lnTo>
                    <a:pt x="662" y="924"/>
                  </a:lnTo>
                  <a:lnTo>
                    <a:pt x="659" y="928"/>
                  </a:lnTo>
                  <a:lnTo>
                    <a:pt x="659" y="928"/>
                  </a:lnTo>
                  <a:lnTo>
                    <a:pt x="656" y="930"/>
                  </a:lnTo>
                  <a:lnTo>
                    <a:pt x="656" y="930"/>
                  </a:lnTo>
                  <a:lnTo>
                    <a:pt x="656" y="930"/>
                  </a:lnTo>
                  <a:lnTo>
                    <a:pt x="656" y="930"/>
                  </a:lnTo>
                  <a:lnTo>
                    <a:pt x="653" y="926"/>
                  </a:lnTo>
                  <a:lnTo>
                    <a:pt x="653" y="926"/>
                  </a:lnTo>
                  <a:lnTo>
                    <a:pt x="643" y="915"/>
                  </a:lnTo>
                  <a:lnTo>
                    <a:pt x="643" y="915"/>
                  </a:lnTo>
                  <a:lnTo>
                    <a:pt x="640" y="910"/>
                  </a:lnTo>
                  <a:lnTo>
                    <a:pt x="640" y="910"/>
                  </a:lnTo>
                  <a:lnTo>
                    <a:pt x="637" y="908"/>
                  </a:lnTo>
                  <a:lnTo>
                    <a:pt x="637" y="908"/>
                  </a:lnTo>
                  <a:lnTo>
                    <a:pt x="636" y="907"/>
                  </a:lnTo>
                  <a:lnTo>
                    <a:pt x="636" y="907"/>
                  </a:lnTo>
                  <a:lnTo>
                    <a:pt x="634" y="907"/>
                  </a:lnTo>
                  <a:lnTo>
                    <a:pt x="634" y="907"/>
                  </a:lnTo>
                  <a:lnTo>
                    <a:pt x="629" y="908"/>
                  </a:lnTo>
                  <a:lnTo>
                    <a:pt x="629" y="908"/>
                  </a:lnTo>
                  <a:lnTo>
                    <a:pt x="623" y="912"/>
                  </a:lnTo>
                  <a:lnTo>
                    <a:pt x="623" y="912"/>
                  </a:lnTo>
                  <a:lnTo>
                    <a:pt x="620" y="915"/>
                  </a:lnTo>
                  <a:lnTo>
                    <a:pt x="620" y="915"/>
                  </a:lnTo>
                  <a:lnTo>
                    <a:pt x="618" y="920"/>
                  </a:lnTo>
                  <a:lnTo>
                    <a:pt x="618" y="920"/>
                  </a:lnTo>
                  <a:lnTo>
                    <a:pt x="617" y="926"/>
                  </a:lnTo>
                  <a:lnTo>
                    <a:pt x="617" y="926"/>
                  </a:lnTo>
                  <a:lnTo>
                    <a:pt x="613" y="933"/>
                  </a:lnTo>
                  <a:lnTo>
                    <a:pt x="613" y="933"/>
                  </a:lnTo>
                  <a:lnTo>
                    <a:pt x="611" y="936"/>
                  </a:lnTo>
                  <a:lnTo>
                    <a:pt x="611" y="940"/>
                  </a:lnTo>
                  <a:lnTo>
                    <a:pt x="611" y="940"/>
                  </a:lnTo>
                  <a:lnTo>
                    <a:pt x="611" y="953"/>
                  </a:lnTo>
                  <a:lnTo>
                    <a:pt x="611" y="953"/>
                  </a:lnTo>
                  <a:lnTo>
                    <a:pt x="610" y="969"/>
                  </a:lnTo>
                  <a:lnTo>
                    <a:pt x="610" y="969"/>
                  </a:lnTo>
                  <a:lnTo>
                    <a:pt x="607" y="976"/>
                  </a:lnTo>
                  <a:lnTo>
                    <a:pt x="602" y="982"/>
                  </a:lnTo>
                  <a:lnTo>
                    <a:pt x="602" y="982"/>
                  </a:lnTo>
                  <a:lnTo>
                    <a:pt x="597" y="986"/>
                  </a:lnTo>
                  <a:lnTo>
                    <a:pt x="597" y="986"/>
                  </a:lnTo>
                  <a:lnTo>
                    <a:pt x="595" y="989"/>
                  </a:lnTo>
                  <a:lnTo>
                    <a:pt x="594" y="992"/>
                  </a:lnTo>
                  <a:lnTo>
                    <a:pt x="594" y="992"/>
                  </a:lnTo>
                  <a:lnTo>
                    <a:pt x="592" y="995"/>
                  </a:lnTo>
                  <a:lnTo>
                    <a:pt x="589" y="998"/>
                  </a:lnTo>
                  <a:lnTo>
                    <a:pt x="589" y="998"/>
                  </a:lnTo>
                  <a:lnTo>
                    <a:pt x="587" y="1001"/>
                  </a:lnTo>
                  <a:lnTo>
                    <a:pt x="584" y="1002"/>
                  </a:lnTo>
                  <a:lnTo>
                    <a:pt x="582" y="1002"/>
                  </a:lnTo>
                  <a:lnTo>
                    <a:pt x="582" y="1002"/>
                  </a:lnTo>
                  <a:lnTo>
                    <a:pt x="582" y="1002"/>
                  </a:lnTo>
                  <a:lnTo>
                    <a:pt x="581" y="1001"/>
                  </a:lnTo>
                  <a:lnTo>
                    <a:pt x="581" y="1001"/>
                  </a:lnTo>
                  <a:lnTo>
                    <a:pt x="578" y="995"/>
                  </a:lnTo>
                  <a:lnTo>
                    <a:pt x="578" y="995"/>
                  </a:lnTo>
                  <a:lnTo>
                    <a:pt x="575" y="994"/>
                  </a:lnTo>
                  <a:lnTo>
                    <a:pt x="571" y="992"/>
                  </a:lnTo>
                  <a:lnTo>
                    <a:pt x="571" y="992"/>
                  </a:lnTo>
                  <a:lnTo>
                    <a:pt x="560" y="994"/>
                  </a:lnTo>
                  <a:lnTo>
                    <a:pt x="547" y="996"/>
                  </a:lnTo>
                  <a:lnTo>
                    <a:pt x="547" y="996"/>
                  </a:lnTo>
                  <a:lnTo>
                    <a:pt x="536" y="999"/>
                  </a:lnTo>
                  <a:lnTo>
                    <a:pt x="536" y="999"/>
                  </a:lnTo>
                  <a:lnTo>
                    <a:pt x="527" y="1004"/>
                  </a:lnTo>
                  <a:lnTo>
                    <a:pt x="527" y="1004"/>
                  </a:lnTo>
                  <a:lnTo>
                    <a:pt x="521" y="1007"/>
                  </a:lnTo>
                  <a:lnTo>
                    <a:pt x="516" y="1010"/>
                  </a:lnTo>
                  <a:lnTo>
                    <a:pt x="504" y="1010"/>
                  </a:lnTo>
                  <a:lnTo>
                    <a:pt x="504" y="1010"/>
                  </a:lnTo>
                  <a:lnTo>
                    <a:pt x="503" y="1010"/>
                  </a:lnTo>
                  <a:lnTo>
                    <a:pt x="503" y="1010"/>
                  </a:lnTo>
                  <a:lnTo>
                    <a:pt x="501" y="1005"/>
                  </a:lnTo>
                  <a:lnTo>
                    <a:pt x="501" y="1005"/>
                  </a:lnTo>
                  <a:lnTo>
                    <a:pt x="501" y="1002"/>
                  </a:lnTo>
                  <a:lnTo>
                    <a:pt x="501" y="1002"/>
                  </a:lnTo>
                  <a:lnTo>
                    <a:pt x="500" y="999"/>
                  </a:lnTo>
                  <a:lnTo>
                    <a:pt x="500" y="999"/>
                  </a:lnTo>
                  <a:lnTo>
                    <a:pt x="497" y="999"/>
                  </a:lnTo>
                  <a:lnTo>
                    <a:pt x="497" y="999"/>
                  </a:lnTo>
                  <a:lnTo>
                    <a:pt x="495" y="999"/>
                  </a:lnTo>
                  <a:lnTo>
                    <a:pt x="495" y="999"/>
                  </a:lnTo>
                  <a:lnTo>
                    <a:pt x="494" y="1001"/>
                  </a:lnTo>
                  <a:lnTo>
                    <a:pt x="494" y="1001"/>
                  </a:lnTo>
                  <a:lnTo>
                    <a:pt x="490" y="1007"/>
                  </a:lnTo>
                  <a:lnTo>
                    <a:pt x="490" y="1007"/>
                  </a:lnTo>
                  <a:lnTo>
                    <a:pt x="490" y="1008"/>
                  </a:lnTo>
                  <a:lnTo>
                    <a:pt x="490" y="1007"/>
                  </a:lnTo>
                  <a:lnTo>
                    <a:pt x="490" y="1007"/>
                  </a:lnTo>
                  <a:lnTo>
                    <a:pt x="490" y="1008"/>
                  </a:lnTo>
                  <a:lnTo>
                    <a:pt x="490" y="1007"/>
                  </a:lnTo>
                  <a:lnTo>
                    <a:pt x="490" y="1008"/>
                  </a:lnTo>
                  <a:lnTo>
                    <a:pt x="490" y="1007"/>
                  </a:lnTo>
                  <a:lnTo>
                    <a:pt x="490" y="1007"/>
                  </a:lnTo>
                  <a:lnTo>
                    <a:pt x="490" y="1008"/>
                  </a:lnTo>
                  <a:lnTo>
                    <a:pt x="490" y="1007"/>
                  </a:lnTo>
                  <a:lnTo>
                    <a:pt x="490" y="1008"/>
                  </a:lnTo>
                  <a:lnTo>
                    <a:pt x="490" y="1007"/>
                  </a:lnTo>
                  <a:lnTo>
                    <a:pt x="490" y="1007"/>
                  </a:lnTo>
                  <a:lnTo>
                    <a:pt x="490" y="1008"/>
                  </a:lnTo>
                  <a:lnTo>
                    <a:pt x="490" y="1007"/>
                  </a:lnTo>
                  <a:lnTo>
                    <a:pt x="490" y="1008"/>
                  </a:lnTo>
                  <a:lnTo>
                    <a:pt x="490" y="1007"/>
                  </a:lnTo>
                  <a:lnTo>
                    <a:pt x="490" y="1007"/>
                  </a:lnTo>
                  <a:lnTo>
                    <a:pt x="490" y="1008"/>
                  </a:lnTo>
                  <a:lnTo>
                    <a:pt x="490" y="1007"/>
                  </a:lnTo>
                  <a:lnTo>
                    <a:pt x="490" y="1007"/>
                  </a:lnTo>
                  <a:lnTo>
                    <a:pt x="490" y="1007"/>
                  </a:lnTo>
                  <a:lnTo>
                    <a:pt x="487" y="1004"/>
                  </a:lnTo>
                  <a:lnTo>
                    <a:pt x="487" y="1004"/>
                  </a:lnTo>
                  <a:lnTo>
                    <a:pt x="484" y="1001"/>
                  </a:lnTo>
                  <a:lnTo>
                    <a:pt x="479" y="1001"/>
                  </a:lnTo>
                  <a:lnTo>
                    <a:pt x="479" y="1001"/>
                  </a:lnTo>
                  <a:lnTo>
                    <a:pt x="479" y="1001"/>
                  </a:lnTo>
                  <a:lnTo>
                    <a:pt x="472" y="1002"/>
                  </a:lnTo>
                  <a:lnTo>
                    <a:pt x="472" y="1002"/>
                  </a:lnTo>
                  <a:lnTo>
                    <a:pt x="465" y="1007"/>
                  </a:lnTo>
                  <a:lnTo>
                    <a:pt x="465" y="1007"/>
                  </a:lnTo>
                  <a:lnTo>
                    <a:pt x="459" y="1010"/>
                  </a:lnTo>
                  <a:lnTo>
                    <a:pt x="458" y="1010"/>
                  </a:lnTo>
                  <a:lnTo>
                    <a:pt x="458" y="1010"/>
                  </a:lnTo>
                  <a:lnTo>
                    <a:pt x="458" y="1011"/>
                  </a:lnTo>
                  <a:lnTo>
                    <a:pt x="459" y="1010"/>
                  </a:lnTo>
                  <a:lnTo>
                    <a:pt x="458" y="1010"/>
                  </a:lnTo>
                  <a:lnTo>
                    <a:pt x="458" y="1011"/>
                  </a:lnTo>
                  <a:lnTo>
                    <a:pt x="459" y="1010"/>
                  </a:lnTo>
                  <a:lnTo>
                    <a:pt x="458" y="1011"/>
                  </a:lnTo>
                  <a:lnTo>
                    <a:pt x="459" y="1011"/>
                  </a:lnTo>
                  <a:lnTo>
                    <a:pt x="459" y="1010"/>
                  </a:lnTo>
                  <a:lnTo>
                    <a:pt x="458" y="1011"/>
                  </a:lnTo>
                  <a:lnTo>
                    <a:pt x="459" y="1011"/>
                  </a:lnTo>
                  <a:lnTo>
                    <a:pt x="459" y="1011"/>
                  </a:lnTo>
                  <a:lnTo>
                    <a:pt x="459" y="1011"/>
                  </a:lnTo>
                  <a:lnTo>
                    <a:pt x="459" y="1011"/>
                  </a:lnTo>
                  <a:lnTo>
                    <a:pt x="459" y="1011"/>
                  </a:lnTo>
                  <a:lnTo>
                    <a:pt x="459" y="1011"/>
                  </a:lnTo>
                  <a:lnTo>
                    <a:pt x="459" y="1011"/>
                  </a:lnTo>
                  <a:lnTo>
                    <a:pt x="459" y="1011"/>
                  </a:lnTo>
                  <a:lnTo>
                    <a:pt x="459" y="1008"/>
                  </a:lnTo>
                  <a:lnTo>
                    <a:pt x="459" y="1008"/>
                  </a:lnTo>
                  <a:lnTo>
                    <a:pt x="459" y="1004"/>
                  </a:lnTo>
                  <a:lnTo>
                    <a:pt x="459" y="1004"/>
                  </a:lnTo>
                  <a:lnTo>
                    <a:pt x="459" y="1001"/>
                  </a:lnTo>
                  <a:lnTo>
                    <a:pt x="459" y="1001"/>
                  </a:lnTo>
                  <a:lnTo>
                    <a:pt x="458" y="999"/>
                  </a:lnTo>
                  <a:lnTo>
                    <a:pt x="458" y="999"/>
                  </a:lnTo>
                  <a:lnTo>
                    <a:pt x="456" y="999"/>
                  </a:lnTo>
                  <a:lnTo>
                    <a:pt x="456" y="999"/>
                  </a:lnTo>
                  <a:lnTo>
                    <a:pt x="452" y="1001"/>
                  </a:lnTo>
                  <a:lnTo>
                    <a:pt x="452" y="1001"/>
                  </a:lnTo>
                  <a:lnTo>
                    <a:pt x="445" y="1004"/>
                  </a:lnTo>
                  <a:lnTo>
                    <a:pt x="445" y="1004"/>
                  </a:lnTo>
                  <a:lnTo>
                    <a:pt x="442" y="1005"/>
                  </a:lnTo>
                  <a:lnTo>
                    <a:pt x="442" y="1005"/>
                  </a:lnTo>
                  <a:lnTo>
                    <a:pt x="442" y="1005"/>
                  </a:lnTo>
                  <a:lnTo>
                    <a:pt x="442" y="1005"/>
                  </a:lnTo>
                  <a:lnTo>
                    <a:pt x="442" y="1005"/>
                  </a:lnTo>
                  <a:lnTo>
                    <a:pt x="442" y="1005"/>
                  </a:lnTo>
                  <a:lnTo>
                    <a:pt x="442" y="1005"/>
                  </a:lnTo>
                  <a:lnTo>
                    <a:pt x="442" y="1005"/>
                  </a:lnTo>
                  <a:lnTo>
                    <a:pt x="442" y="1005"/>
                  </a:lnTo>
                  <a:lnTo>
                    <a:pt x="442" y="1007"/>
                  </a:lnTo>
                  <a:lnTo>
                    <a:pt x="443" y="1005"/>
                  </a:lnTo>
                  <a:lnTo>
                    <a:pt x="443" y="1005"/>
                  </a:lnTo>
                  <a:lnTo>
                    <a:pt x="442" y="1005"/>
                  </a:lnTo>
                  <a:lnTo>
                    <a:pt x="442" y="1007"/>
                  </a:lnTo>
                  <a:lnTo>
                    <a:pt x="443" y="1005"/>
                  </a:lnTo>
                  <a:lnTo>
                    <a:pt x="443" y="1005"/>
                  </a:lnTo>
                  <a:lnTo>
                    <a:pt x="440" y="1004"/>
                  </a:lnTo>
                  <a:lnTo>
                    <a:pt x="440" y="1004"/>
                  </a:lnTo>
                  <a:lnTo>
                    <a:pt x="440" y="1001"/>
                  </a:lnTo>
                  <a:lnTo>
                    <a:pt x="440" y="1001"/>
                  </a:lnTo>
                  <a:lnTo>
                    <a:pt x="440" y="1001"/>
                  </a:lnTo>
                  <a:lnTo>
                    <a:pt x="440" y="1001"/>
                  </a:lnTo>
                  <a:lnTo>
                    <a:pt x="440" y="1001"/>
                  </a:lnTo>
                  <a:lnTo>
                    <a:pt x="440" y="1001"/>
                  </a:lnTo>
                  <a:lnTo>
                    <a:pt x="440" y="1001"/>
                  </a:lnTo>
                  <a:lnTo>
                    <a:pt x="440" y="1001"/>
                  </a:lnTo>
                  <a:lnTo>
                    <a:pt x="440" y="1001"/>
                  </a:lnTo>
                  <a:lnTo>
                    <a:pt x="440" y="1001"/>
                  </a:lnTo>
                  <a:lnTo>
                    <a:pt x="440" y="1001"/>
                  </a:lnTo>
                  <a:lnTo>
                    <a:pt x="440" y="1001"/>
                  </a:lnTo>
                  <a:lnTo>
                    <a:pt x="440" y="1001"/>
                  </a:lnTo>
                  <a:lnTo>
                    <a:pt x="440" y="1001"/>
                  </a:lnTo>
                  <a:lnTo>
                    <a:pt x="442" y="999"/>
                  </a:lnTo>
                  <a:lnTo>
                    <a:pt x="442" y="999"/>
                  </a:lnTo>
                  <a:lnTo>
                    <a:pt x="442" y="998"/>
                  </a:lnTo>
                  <a:lnTo>
                    <a:pt x="442" y="998"/>
                  </a:lnTo>
                  <a:lnTo>
                    <a:pt x="442" y="995"/>
                  </a:lnTo>
                  <a:lnTo>
                    <a:pt x="442" y="995"/>
                  </a:lnTo>
                  <a:lnTo>
                    <a:pt x="436" y="988"/>
                  </a:lnTo>
                  <a:lnTo>
                    <a:pt x="436" y="988"/>
                  </a:lnTo>
                  <a:lnTo>
                    <a:pt x="434" y="985"/>
                  </a:lnTo>
                  <a:lnTo>
                    <a:pt x="434" y="985"/>
                  </a:lnTo>
                  <a:lnTo>
                    <a:pt x="433" y="983"/>
                  </a:lnTo>
                  <a:lnTo>
                    <a:pt x="433" y="983"/>
                  </a:lnTo>
                  <a:lnTo>
                    <a:pt x="433" y="983"/>
                  </a:lnTo>
                  <a:lnTo>
                    <a:pt x="433" y="983"/>
                  </a:lnTo>
                  <a:lnTo>
                    <a:pt x="433" y="983"/>
                  </a:lnTo>
                  <a:lnTo>
                    <a:pt x="433" y="983"/>
                  </a:lnTo>
                  <a:lnTo>
                    <a:pt x="433" y="983"/>
                  </a:lnTo>
                  <a:lnTo>
                    <a:pt x="433" y="983"/>
                  </a:lnTo>
                  <a:lnTo>
                    <a:pt x="432" y="983"/>
                  </a:lnTo>
                  <a:lnTo>
                    <a:pt x="433" y="983"/>
                  </a:lnTo>
                  <a:lnTo>
                    <a:pt x="433" y="983"/>
                  </a:lnTo>
                  <a:lnTo>
                    <a:pt x="432"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4" y="983"/>
                  </a:lnTo>
                  <a:lnTo>
                    <a:pt x="434" y="983"/>
                  </a:lnTo>
                  <a:lnTo>
                    <a:pt x="440" y="983"/>
                  </a:lnTo>
                  <a:lnTo>
                    <a:pt x="440" y="983"/>
                  </a:lnTo>
                  <a:lnTo>
                    <a:pt x="443" y="983"/>
                  </a:lnTo>
                  <a:lnTo>
                    <a:pt x="446" y="982"/>
                  </a:lnTo>
                  <a:lnTo>
                    <a:pt x="446" y="982"/>
                  </a:lnTo>
                  <a:lnTo>
                    <a:pt x="448" y="981"/>
                  </a:lnTo>
                  <a:lnTo>
                    <a:pt x="448" y="981"/>
                  </a:lnTo>
                  <a:lnTo>
                    <a:pt x="449" y="979"/>
                  </a:lnTo>
                  <a:lnTo>
                    <a:pt x="449" y="979"/>
                  </a:lnTo>
                  <a:lnTo>
                    <a:pt x="448" y="976"/>
                  </a:lnTo>
                  <a:lnTo>
                    <a:pt x="448" y="976"/>
                  </a:lnTo>
                  <a:lnTo>
                    <a:pt x="445" y="975"/>
                  </a:lnTo>
                  <a:lnTo>
                    <a:pt x="445" y="975"/>
                  </a:lnTo>
                  <a:lnTo>
                    <a:pt x="433" y="970"/>
                  </a:lnTo>
                  <a:lnTo>
                    <a:pt x="433" y="970"/>
                  </a:lnTo>
                  <a:lnTo>
                    <a:pt x="433" y="972"/>
                  </a:lnTo>
                  <a:lnTo>
                    <a:pt x="433" y="970"/>
                  </a:lnTo>
                  <a:lnTo>
                    <a:pt x="433" y="970"/>
                  </a:lnTo>
                  <a:lnTo>
                    <a:pt x="433" y="972"/>
                  </a:lnTo>
                  <a:lnTo>
                    <a:pt x="433" y="970"/>
                  </a:lnTo>
                  <a:lnTo>
                    <a:pt x="433" y="972"/>
                  </a:lnTo>
                  <a:lnTo>
                    <a:pt x="433" y="972"/>
                  </a:lnTo>
                  <a:lnTo>
                    <a:pt x="433" y="970"/>
                  </a:lnTo>
                  <a:lnTo>
                    <a:pt x="433" y="972"/>
                  </a:lnTo>
                  <a:lnTo>
                    <a:pt x="433" y="972"/>
                  </a:lnTo>
                  <a:lnTo>
                    <a:pt x="433" y="972"/>
                  </a:lnTo>
                  <a:lnTo>
                    <a:pt x="433" y="972"/>
                  </a:lnTo>
                  <a:lnTo>
                    <a:pt x="433" y="972"/>
                  </a:lnTo>
                  <a:lnTo>
                    <a:pt x="433" y="972"/>
                  </a:lnTo>
                  <a:lnTo>
                    <a:pt x="434" y="969"/>
                  </a:lnTo>
                  <a:lnTo>
                    <a:pt x="434" y="969"/>
                  </a:lnTo>
                  <a:lnTo>
                    <a:pt x="443" y="959"/>
                  </a:lnTo>
                  <a:lnTo>
                    <a:pt x="443" y="959"/>
                  </a:lnTo>
                  <a:lnTo>
                    <a:pt x="449" y="954"/>
                  </a:lnTo>
                  <a:lnTo>
                    <a:pt x="449" y="954"/>
                  </a:lnTo>
                  <a:lnTo>
                    <a:pt x="450" y="953"/>
                  </a:lnTo>
                  <a:lnTo>
                    <a:pt x="450" y="953"/>
                  </a:lnTo>
                  <a:lnTo>
                    <a:pt x="453" y="950"/>
                  </a:lnTo>
                  <a:lnTo>
                    <a:pt x="453" y="950"/>
                  </a:lnTo>
                  <a:lnTo>
                    <a:pt x="453" y="947"/>
                  </a:lnTo>
                  <a:lnTo>
                    <a:pt x="453" y="947"/>
                  </a:lnTo>
                  <a:lnTo>
                    <a:pt x="453" y="946"/>
                  </a:lnTo>
                  <a:lnTo>
                    <a:pt x="453" y="946"/>
                  </a:lnTo>
                  <a:lnTo>
                    <a:pt x="450" y="944"/>
                  </a:lnTo>
                  <a:lnTo>
                    <a:pt x="450" y="944"/>
                  </a:lnTo>
                  <a:lnTo>
                    <a:pt x="448" y="943"/>
                  </a:lnTo>
                  <a:lnTo>
                    <a:pt x="448" y="943"/>
                  </a:lnTo>
                  <a:lnTo>
                    <a:pt x="445" y="944"/>
                  </a:lnTo>
                  <a:lnTo>
                    <a:pt x="440" y="946"/>
                  </a:lnTo>
                  <a:lnTo>
                    <a:pt x="442" y="947"/>
                  </a:lnTo>
                  <a:lnTo>
                    <a:pt x="442" y="946"/>
                  </a:lnTo>
                  <a:lnTo>
                    <a:pt x="440" y="946"/>
                  </a:lnTo>
                  <a:lnTo>
                    <a:pt x="442" y="947"/>
                  </a:lnTo>
                  <a:lnTo>
                    <a:pt x="442" y="946"/>
                  </a:lnTo>
                  <a:lnTo>
                    <a:pt x="442" y="947"/>
                  </a:lnTo>
                  <a:lnTo>
                    <a:pt x="442" y="946"/>
                  </a:lnTo>
                  <a:lnTo>
                    <a:pt x="442" y="946"/>
                  </a:lnTo>
                  <a:lnTo>
                    <a:pt x="442" y="947"/>
                  </a:lnTo>
                  <a:lnTo>
                    <a:pt x="442" y="946"/>
                  </a:lnTo>
                  <a:lnTo>
                    <a:pt x="442" y="946"/>
                  </a:lnTo>
                  <a:lnTo>
                    <a:pt x="442" y="946"/>
                  </a:lnTo>
                  <a:lnTo>
                    <a:pt x="442" y="946"/>
                  </a:lnTo>
                  <a:lnTo>
                    <a:pt x="442" y="946"/>
                  </a:lnTo>
                  <a:lnTo>
                    <a:pt x="442" y="946"/>
                  </a:lnTo>
                  <a:lnTo>
                    <a:pt x="442" y="946"/>
                  </a:lnTo>
                  <a:lnTo>
                    <a:pt x="442" y="944"/>
                  </a:lnTo>
                  <a:lnTo>
                    <a:pt x="442" y="944"/>
                  </a:lnTo>
                  <a:lnTo>
                    <a:pt x="440" y="937"/>
                  </a:lnTo>
                  <a:lnTo>
                    <a:pt x="440" y="937"/>
                  </a:lnTo>
                  <a:lnTo>
                    <a:pt x="440" y="933"/>
                  </a:lnTo>
                  <a:lnTo>
                    <a:pt x="440" y="933"/>
                  </a:lnTo>
                  <a:lnTo>
                    <a:pt x="442" y="933"/>
                  </a:lnTo>
                  <a:lnTo>
                    <a:pt x="442" y="933"/>
                  </a:lnTo>
                  <a:lnTo>
                    <a:pt x="440" y="931"/>
                  </a:lnTo>
                  <a:lnTo>
                    <a:pt x="442" y="933"/>
                  </a:lnTo>
                  <a:lnTo>
                    <a:pt x="442" y="933"/>
                  </a:lnTo>
                  <a:lnTo>
                    <a:pt x="440" y="931"/>
                  </a:lnTo>
                  <a:lnTo>
                    <a:pt x="442" y="933"/>
                  </a:lnTo>
                  <a:lnTo>
                    <a:pt x="442" y="933"/>
                  </a:lnTo>
                  <a:lnTo>
                    <a:pt x="443" y="930"/>
                  </a:lnTo>
                  <a:lnTo>
                    <a:pt x="445" y="928"/>
                  </a:lnTo>
                  <a:lnTo>
                    <a:pt x="445" y="928"/>
                  </a:lnTo>
                  <a:lnTo>
                    <a:pt x="446" y="920"/>
                  </a:lnTo>
                  <a:lnTo>
                    <a:pt x="446" y="920"/>
                  </a:lnTo>
                  <a:lnTo>
                    <a:pt x="446" y="912"/>
                  </a:lnTo>
                  <a:lnTo>
                    <a:pt x="446" y="912"/>
                  </a:lnTo>
                  <a:lnTo>
                    <a:pt x="446" y="910"/>
                  </a:lnTo>
                  <a:lnTo>
                    <a:pt x="446" y="910"/>
                  </a:lnTo>
                  <a:lnTo>
                    <a:pt x="443" y="908"/>
                  </a:lnTo>
                  <a:lnTo>
                    <a:pt x="443" y="908"/>
                  </a:lnTo>
                  <a:lnTo>
                    <a:pt x="439" y="910"/>
                  </a:lnTo>
                  <a:lnTo>
                    <a:pt x="439" y="910"/>
                  </a:lnTo>
                  <a:lnTo>
                    <a:pt x="434" y="914"/>
                  </a:lnTo>
                  <a:lnTo>
                    <a:pt x="434" y="914"/>
                  </a:lnTo>
                  <a:lnTo>
                    <a:pt x="430" y="917"/>
                  </a:lnTo>
                  <a:lnTo>
                    <a:pt x="430" y="917"/>
                  </a:lnTo>
                  <a:lnTo>
                    <a:pt x="427" y="921"/>
                  </a:lnTo>
                  <a:lnTo>
                    <a:pt x="427" y="921"/>
                  </a:lnTo>
                  <a:lnTo>
                    <a:pt x="426" y="924"/>
                  </a:lnTo>
                  <a:lnTo>
                    <a:pt x="424" y="928"/>
                  </a:lnTo>
                  <a:lnTo>
                    <a:pt x="424" y="928"/>
                  </a:lnTo>
                  <a:lnTo>
                    <a:pt x="424" y="931"/>
                  </a:lnTo>
                  <a:lnTo>
                    <a:pt x="427" y="933"/>
                  </a:lnTo>
                  <a:lnTo>
                    <a:pt x="427" y="933"/>
                  </a:lnTo>
                  <a:lnTo>
                    <a:pt x="427" y="933"/>
                  </a:lnTo>
                  <a:lnTo>
                    <a:pt x="427" y="933"/>
                  </a:lnTo>
                  <a:lnTo>
                    <a:pt x="427" y="933"/>
                  </a:lnTo>
                  <a:lnTo>
                    <a:pt x="427" y="933"/>
                  </a:lnTo>
                  <a:lnTo>
                    <a:pt x="427" y="933"/>
                  </a:lnTo>
                  <a:lnTo>
                    <a:pt x="427" y="933"/>
                  </a:lnTo>
                  <a:lnTo>
                    <a:pt x="427" y="933"/>
                  </a:lnTo>
                  <a:lnTo>
                    <a:pt x="427" y="933"/>
                  </a:lnTo>
                  <a:lnTo>
                    <a:pt x="427" y="933"/>
                  </a:lnTo>
                  <a:lnTo>
                    <a:pt x="427" y="933"/>
                  </a:lnTo>
                  <a:lnTo>
                    <a:pt x="427" y="934"/>
                  </a:lnTo>
                  <a:lnTo>
                    <a:pt x="427" y="934"/>
                  </a:lnTo>
                  <a:lnTo>
                    <a:pt x="424" y="937"/>
                  </a:lnTo>
                  <a:lnTo>
                    <a:pt x="424" y="937"/>
                  </a:lnTo>
                  <a:lnTo>
                    <a:pt x="421" y="939"/>
                  </a:lnTo>
                  <a:lnTo>
                    <a:pt x="421" y="940"/>
                  </a:lnTo>
                  <a:lnTo>
                    <a:pt x="421" y="939"/>
                  </a:lnTo>
                  <a:lnTo>
                    <a:pt x="421" y="939"/>
                  </a:lnTo>
                  <a:lnTo>
                    <a:pt x="421" y="940"/>
                  </a:lnTo>
                  <a:lnTo>
                    <a:pt x="421" y="939"/>
                  </a:lnTo>
                  <a:lnTo>
                    <a:pt x="421" y="940"/>
                  </a:lnTo>
                  <a:lnTo>
                    <a:pt x="423" y="939"/>
                  </a:lnTo>
                  <a:lnTo>
                    <a:pt x="421" y="939"/>
                  </a:lnTo>
                  <a:lnTo>
                    <a:pt x="421" y="940"/>
                  </a:lnTo>
                  <a:lnTo>
                    <a:pt x="423" y="939"/>
                  </a:lnTo>
                  <a:lnTo>
                    <a:pt x="423" y="940"/>
                  </a:lnTo>
                  <a:lnTo>
                    <a:pt x="423" y="939"/>
                  </a:lnTo>
                  <a:lnTo>
                    <a:pt x="423" y="939"/>
                  </a:lnTo>
                  <a:lnTo>
                    <a:pt x="423" y="940"/>
                  </a:lnTo>
                  <a:lnTo>
                    <a:pt x="423" y="939"/>
                  </a:lnTo>
                  <a:lnTo>
                    <a:pt x="423" y="939"/>
                  </a:lnTo>
                  <a:lnTo>
                    <a:pt x="421" y="937"/>
                  </a:lnTo>
                  <a:lnTo>
                    <a:pt x="421" y="937"/>
                  </a:lnTo>
                  <a:lnTo>
                    <a:pt x="420" y="933"/>
                  </a:lnTo>
                  <a:lnTo>
                    <a:pt x="420" y="933"/>
                  </a:lnTo>
                  <a:lnTo>
                    <a:pt x="417" y="928"/>
                  </a:lnTo>
                  <a:lnTo>
                    <a:pt x="417" y="928"/>
                  </a:lnTo>
                  <a:lnTo>
                    <a:pt x="416" y="927"/>
                  </a:lnTo>
                  <a:lnTo>
                    <a:pt x="416" y="927"/>
                  </a:lnTo>
                  <a:lnTo>
                    <a:pt x="414" y="927"/>
                  </a:lnTo>
                  <a:lnTo>
                    <a:pt x="414" y="927"/>
                  </a:lnTo>
                  <a:lnTo>
                    <a:pt x="413" y="928"/>
                  </a:lnTo>
                  <a:lnTo>
                    <a:pt x="413" y="928"/>
                  </a:lnTo>
                  <a:lnTo>
                    <a:pt x="410" y="930"/>
                  </a:lnTo>
                  <a:lnTo>
                    <a:pt x="410" y="930"/>
                  </a:lnTo>
                  <a:lnTo>
                    <a:pt x="408" y="934"/>
                  </a:lnTo>
                  <a:lnTo>
                    <a:pt x="408" y="934"/>
                  </a:lnTo>
                  <a:lnTo>
                    <a:pt x="407" y="937"/>
                  </a:lnTo>
                  <a:lnTo>
                    <a:pt x="407" y="937"/>
                  </a:lnTo>
                  <a:lnTo>
                    <a:pt x="406" y="939"/>
                  </a:lnTo>
                  <a:lnTo>
                    <a:pt x="406" y="939"/>
                  </a:lnTo>
                  <a:lnTo>
                    <a:pt x="406" y="944"/>
                  </a:lnTo>
                  <a:lnTo>
                    <a:pt x="406" y="944"/>
                  </a:lnTo>
                  <a:lnTo>
                    <a:pt x="406" y="954"/>
                  </a:lnTo>
                  <a:lnTo>
                    <a:pt x="406" y="954"/>
                  </a:lnTo>
                  <a:lnTo>
                    <a:pt x="404" y="957"/>
                  </a:lnTo>
                  <a:lnTo>
                    <a:pt x="404" y="957"/>
                  </a:lnTo>
                  <a:lnTo>
                    <a:pt x="404" y="959"/>
                  </a:lnTo>
                  <a:lnTo>
                    <a:pt x="404" y="959"/>
                  </a:lnTo>
                  <a:lnTo>
                    <a:pt x="404" y="963"/>
                  </a:lnTo>
                  <a:lnTo>
                    <a:pt x="404" y="963"/>
                  </a:lnTo>
                  <a:lnTo>
                    <a:pt x="406" y="970"/>
                  </a:lnTo>
                  <a:lnTo>
                    <a:pt x="406" y="970"/>
                  </a:lnTo>
                  <a:lnTo>
                    <a:pt x="408" y="978"/>
                  </a:lnTo>
                  <a:lnTo>
                    <a:pt x="408" y="978"/>
                  </a:lnTo>
                  <a:lnTo>
                    <a:pt x="411" y="996"/>
                  </a:lnTo>
                  <a:lnTo>
                    <a:pt x="411" y="996"/>
                  </a:lnTo>
                  <a:lnTo>
                    <a:pt x="414" y="1007"/>
                  </a:lnTo>
                  <a:lnTo>
                    <a:pt x="414" y="1007"/>
                  </a:lnTo>
                  <a:lnTo>
                    <a:pt x="416" y="1014"/>
                  </a:lnTo>
                  <a:lnTo>
                    <a:pt x="416" y="1014"/>
                  </a:lnTo>
                  <a:lnTo>
                    <a:pt x="414" y="1020"/>
                  </a:lnTo>
                  <a:lnTo>
                    <a:pt x="414" y="1020"/>
                  </a:lnTo>
                  <a:lnTo>
                    <a:pt x="411" y="1024"/>
                  </a:lnTo>
                  <a:lnTo>
                    <a:pt x="411" y="1024"/>
                  </a:lnTo>
                  <a:lnTo>
                    <a:pt x="411" y="1024"/>
                  </a:lnTo>
                  <a:lnTo>
                    <a:pt x="411" y="1024"/>
                  </a:lnTo>
                  <a:lnTo>
                    <a:pt x="411" y="1024"/>
                  </a:lnTo>
                  <a:lnTo>
                    <a:pt x="411" y="1024"/>
                  </a:lnTo>
                  <a:lnTo>
                    <a:pt x="411" y="1024"/>
                  </a:lnTo>
                  <a:lnTo>
                    <a:pt x="411" y="1024"/>
                  </a:lnTo>
                  <a:lnTo>
                    <a:pt x="411" y="1024"/>
                  </a:lnTo>
                  <a:lnTo>
                    <a:pt x="411" y="1024"/>
                  </a:lnTo>
                  <a:lnTo>
                    <a:pt x="411" y="1024"/>
                  </a:lnTo>
                  <a:lnTo>
                    <a:pt x="411" y="1024"/>
                  </a:lnTo>
                  <a:lnTo>
                    <a:pt x="408" y="1023"/>
                  </a:lnTo>
                  <a:lnTo>
                    <a:pt x="408" y="1023"/>
                  </a:lnTo>
                  <a:lnTo>
                    <a:pt x="403" y="1020"/>
                  </a:lnTo>
                  <a:lnTo>
                    <a:pt x="403" y="1020"/>
                  </a:lnTo>
                  <a:lnTo>
                    <a:pt x="400" y="1018"/>
                  </a:lnTo>
                  <a:lnTo>
                    <a:pt x="395" y="1018"/>
                  </a:lnTo>
                  <a:lnTo>
                    <a:pt x="395" y="1018"/>
                  </a:lnTo>
                  <a:lnTo>
                    <a:pt x="394" y="1018"/>
                  </a:lnTo>
                  <a:lnTo>
                    <a:pt x="391" y="1020"/>
                  </a:lnTo>
                  <a:lnTo>
                    <a:pt x="391" y="1020"/>
                  </a:lnTo>
                  <a:lnTo>
                    <a:pt x="384" y="1025"/>
                  </a:lnTo>
                  <a:lnTo>
                    <a:pt x="384" y="1025"/>
                  </a:lnTo>
                  <a:lnTo>
                    <a:pt x="381" y="1027"/>
                  </a:lnTo>
                  <a:lnTo>
                    <a:pt x="378" y="1028"/>
                  </a:lnTo>
                  <a:lnTo>
                    <a:pt x="378" y="1028"/>
                  </a:lnTo>
                  <a:lnTo>
                    <a:pt x="374" y="1028"/>
                  </a:lnTo>
                  <a:lnTo>
                    <a:pt x="369" y="1028"/>
                  </a:lnTo>
                  <a:lnTo>
                    <a:pt x="369" y="1028"/>
                  </a:lnTo>
                  <a:lnTo>
                    <a:pt x="366" y="1031"/>
                  </a:lnTo>
                  <a:lnTo>
                    <a:pt x="362" y="1036"/>
                  </a:lnTo>
                  <a:lnTo>
                    <a:pt x="362" y="1036"/>
                  </a:lnTo>
                  <a:lnTo>
                    <a:pt x="358" y="1040"/>
                  </a:lnTo>
                  <a:lnTo>
                    <a:pt x="356" y="1040"/>
                  </a:lnTo>
                  <a:lnTo>
                    <a:pt x="356" y="1040"/>
                  </a:lnTo>
                  <a:lnTo>
                    <a:pt x="355" y="1040"/>
                  </a:lnTo>
                  <a:lnTo>
                    <a:pt x="355" y="1040"/>
                  </a:lnTo>
                  <a:lnTo>
                    <a:pt x="353" y="1041"/>
                  </a:lnTo>
                  <a:lnTo>
                    <a:pt x="352" y="1041"/>
                  </a:lnTo>
                  <a:lnTo>
                    <a:pt x="352" y="1041"/>
                  </a:lnTo>
                  <a:lnTo>
                    <a:pt x="348" y="1047"/>
                  </a:lnTo>
                  <a:lnTo>
                    <a:pt x="348" y="1047"/>
                  </a:lnTo>
                  <a:lnTo>
                    <a:pt x="342" y="1060"/>
                  </a:lnTo>
                  <a:lnTo>
                    <a:pt x="337" y="1072"/>
                  </a:lnTo>
                  <a:lnTo>
                    <a:pt x="337" y="1072"/>
                  </a:lnTo>
                  <a:lnTo>
                    <a:pt x="336" y="1078"/>
                  </a:lnTo>
                  <a:lnTo>
                    <a:pt x="332" y="1081"/>
                  </a:lnTo>
                  <a:lnTo>
                    <a:pt x="332" y="1081"/>
                  </a:lnTo>
                  <a:lnTo>
                    <a:pt x="327" y="1082"/>
                  </a:lnTo>
                  <a:lnTo>
                    <a:pt x="324" y="1082"/>
                  </a:lnTo>
                  <a:lnTo>
                    <a:pt x="324" y="1082"/>
                  </a:lnTo>
                  <a:lnTo>
                    <a:pt x="323" y="1082"/>
                  </a:lnTo>
                  <a:lnTo>
                    <a:pt x="323" y="1082"/>
                  </a:lnTo>
                  <a:lnTo>
                    <a:pt x="316" y="1082"/>
                  </a:lnTo>
                  <a:lnTo>
                    <a:pt x="316" y="1082"/>
                  </a:lnTo>
                  <a:lnTo>
                    <a:pt x="314" y="1082"/>
                  </a:lnTo>
                  <a:lnTo>
                    <a:pt x="314" y="1082"/>
                  </a:lnTo>
                  <a:lnTo>
                    <a:pt x="310" y="1082"/>
                  </a:lnTo>
                  <a:lnTo>
                    <a:pt x="307" y="1083"/>
                  </a:lnTo>
                  <a:lnTo>
                    <a:pt x="307" y="1083"/>
                  </a:lnTo>
                  <a:lnTo>
                    <a:pt x="304" y="1086"/>
                  </a:lnTo>
                  <a:lnTo>
                    <a:pt x="303" y="1089"/>
                  </a:lnTo>
                  <a:lnTo>
                    <a:pt x="303" y="1089"/>
                  </a:lnTo>
                  <a:lnTo>
                    <a:pt x="300" y="1094"/>
                  </a:lnTo>
                  <a:lnTo>
                    <a:pt x="300" y="1098"/>
                  </a:lnTo>
                  <a:lnTo>
                    <a:pt x="300" y="1098"/>
                  </a:lnTo>
                  <a:lnTo>
                    <a:pt x="300" y="1105"/>
                  </a:lnTo>
                  <a:lnTo>
                    <a:pt x="300" y="1105"/>
                  </a:lnTo>
                  <a:lnTo>
                    <a:pt x="301" y="1108"/>
                  </a:lnTo>
                  <a:lnTo>
                    <a:pt x="301" y="1108"/>
                  </a:lnTo>
                  <a:lnTo>
                    <a:pt x="301" y="1108"/>
                  </a:lnTo>
                  <a:lnTo>
                    <a:pt x="301" y="1108"/>
                  </a:lnTo>
                  <a:lnTo>
                    <a:pt x="301" y="1108"/>
                  </a:lnTo>
                  <a:lnTo>
                    <a:pt x="301" y="1108"/>
                  </a:lnTo>
                  <a:lnTo>
                    <a:pt x="301" y="1108"/>
                  </a:lnTo>
                  <a:lnTo>
                    <a:pt x="300" y="1109"/>
                  </a:lnTo>
                  <a:lnTo>
                    <a:pt x="300" y="1109"/>
                  </a:lnTo>
                  <a:lnTo>
                    <a:pt x="297" y="1115"/>
                  </a:lnTo>
                  <a:lnTo>
                    <a:pt x="297" y="1115"/>
                  </a:lnTo>
                  <a:lnTo>
                    <a:pt x="294" y="1118"/>
                  </a:lnTo>
                  <a:lnTo>
                    <a:pt x="294" y="1118"/>
                  </a:lnTo>
                  <a:lnTo>
                    <a:pt x="293" y="1118"/>
                  </a:lnTo>
                  <a:lnTo>
                    <a:pt x="293" y="1118"/>
                  </a:lnTo>
                  <a:lnTo>
                    <a:pt x="288" y="1120"/>
                  </a:lnTo>
                  <a:lnTo>
                    <a:pt x="285" y="1121"/>
                  </a:lnTo>
                  <a:lnTo>
                    <a:pt x="281" y="1123"/>
                  </a:lnTo>
                  <a:lnTo>
                    <a:pt x="281" y="1123"/>
                  </a:lnTo>
                  <a:lnTo>
                    <a:pt x="278" y="1125"/>
                  </a:lnTo>
                  <a:lnTo>
                    <a:pt x="277" y="1130"/>
                  </a:lnTo>
                  <a:lnTo>
                    <a:pt x="277" y="1130"/>
                  </a:lnTo>
                  <a:lnTo>
                    <a:pt x="275" y="1133"/>
                  </a:lnTo>
                  <a:lnTo>
                    <a:pt x="272" y="1134"/>
                  </a:lnTo>
                  <a:lnTo>
                    <a:pt x="272" y="1134"/>
                  </a:lnTo>
                  <a:lnTo>
                    <a:pt x="269" y="1136"/>
                  </a:lnTo>
                  <a:lnTo>
                    <a:pt x="269" y="1136"/>
                  </a:lnTo>
                  <a:lnTo>
                    <a:pt x="265" y="1134"/>
                  </a:lnTo>
                  <a:lnTo>
                    <a:pt x="265" y="1134"/>
                  </a:lnTo>
                  <a:lnTo>
                    <a:pt x="258" y="1131"/>
                  </a:lnTo>
                  <a:lnTo>
                    <a:pt x="258" y="1131"/>
                  </a:lnTo>
                  <a:lnTo>
                    <a:pt x="255" y="1128"/>
                  </a:lnTo>
                  <a:lnTo>
                    <a:pt x="251" y="1128"/>
                  </a:lnTo>
                  <a:lnTo>
                    <a:pt x="251" y="1128"/>
                  </a:lnTo>
                  <a:lnTo>
                    <a:pt x="248" y="1130"/>
                  </a:lnTo>
                  <a:lnTo>
                    <a:pt x="248" y="1130"/>
                  </a:lnTo>
                  <a:lnTo>
                    <a:pt x="246" y="1131"/>
                  </a:lnTo>
                  <a:lnTo>
                    <a:pt x="246" y="1133"/>
                  </a:lnTo>
                  <a:lnTo>
                    <a:pt x="246" y="1133"/>
                  </a:lnTo>
                  <a:lnTo>
                    <a:pt x="246" y="1136"/>
                  </a:lnTo>
                  <a:lnTo>
                    <a:pt x="246" y="1136"/>
                  </a:lnTo>
                  <a:lnTo>
                    <a:pt x="249" y="1143"/>
                  </a:lnTo>
                  <a:lnTo>
                    <a:pt x="249" y="1143"/>
                  </a:lnTo>
                  <a:lnTo>
                    <a:pt x="252" y="1150"/>
                  </a:lnTo>
                  <a:lnTo>
                    <a:pt x="252" y="1150"/>
                  </a:lnTo>
                  <a:lnTo>
                    <a:pt x="252" y="1150"/>
                  </a:lnTo>
                  <a:lnTo>
                    <a:pt x="252" y="1150"/>
                  </a:lnTo>
                  <a:lnTo>
                    <a:pt x="252" y="1151"/>
                  </a:lnTo>
                  <a:lnTo>
                    <a:pt x="252" y="1151"/>
                  </a:lnTo>
                  <a:lnTo>
                    <a:pt x="243" y="1153"/>
                  </a:lnTo>
                  <a:lnTo>
                    <a:pt x="242" y="1153"/>
                  </a:lnTo>
                  <a:lnTo>
                    <a:pt x="242" y="1153"/>
                  </a:lnTo>
                  <a:lnTo>
                    <a:pt x="238" y="1153"/>
                  </a:lnTo>
                  <a:lnTo>
                    <a:pt x="233" y="1151"/>
                  </a:lnTo>
                  <a:lnTo>
                    <a:pt x="233" y="1151"/>
                  </a:lnTo>
                  <a:lnTo>
                    <a:pt x="227" y="1149"/>
                  </a:lnTo>
                  <a:lnTo>
                    <a:pt x="220" y="1147"/>
                  </a:lnTo>
                  <a:lnTo>
                    <a:pt x="220" y="1147"/>
                  </a:lnTo>
                  <a:lnTo>
                    <a:pt x="216" y="1149"/>
                  </a:lnTo>
                  <a:lnTo>
                    <a:pt x="216" y="1149"/>
                  </a:lnTo>
                  <a:lnTo>
                    <a:pt x="204" y="1150"/>
                  </a:lnTo>
                  <a:lnTo>
                    <a:pt x="204" y="1150"/>
                  </a:lnTo>
                  <a:lnTo>
                    <a:pt x="201" y="1151"/>
                  </a:lnTo>
                  <a:lnTo>
                    <a:pt x="201" y="1151"/>
                  </a:lnTo>
                  <a:lnTo>
                    <a:pt x="200" y="1153"/>
                  </a:lnTo>
                  <a:lnTo>
                    <a:pt x="200" y="1153"/>
                  </a:lnTo>
                  <a:lnTo>
                    <a:pt x="198" y="1156"/>
                  </a:lnTo>
                  <a:lnTo>
                    <a:pt x="198" y="1156"/>
                  </a:lnTo>
                  <a:lnTo>
                    <a:pt x="198" y="1157"/>
                  </a:lnTo>
                  <a:lnTo>
                    <a:pt x="200" y="1157"/>
                  </a:lnTo>
                  <a:lnTo>
                    <a:pt x="200" y="1157"/>
                  </a:lnTo>
                  <a:lnTo>
                    <a:pt x="200" y="1157"/>
                  </a:lnTo>
                  <a:lnTo>
                    <a:pt x="200" y="1157"/>
                  </a:lnTo>
                  <a:lnTo>
                    <a:pt x="200" y="1157"/>
                  </a:lnTo>
                  <a:lnTo>
                    <a:pt x="200" y="1157"/>
                  </a:lnTo>
                  <a:lnTo>
                    <a:pt x="200" y="1157"/>
                  </a:lnTo>
                  <a:lnTo>
                    <a:pt x="200" y="1157"/>
                  </a:lnTo>
                  <a:lnTo>
                    <a:pt x="200" y="1160"/>
                  </a:lnTo>
                  <a:lnTo>
                    <a:pt x="200" y="1160"/>
                  </a:lnTo>
                  <a:lnTo>
                    <a:pt x="203" y="1170"/>
                  </a:lnTo>
                  <a:lnTo>
                    <a:pt x="203" y="1170"/>
                  </a:lnTo>
                  <a:lnTo>
                    <a:pt x="206" y="1173"/>
                  </a:lnTo>
                  <a:lnTo>
                    <a:pt x="206" y="1173"/>
                  </a:lnTo>
                  <a:lnTo>
                    <a:pt x="214" y="1178"/>
                  </a:lnTo>
                  <a:lnTo>
                    <a:pt x="214" y="1178"/>
                  </a:lnTo>
                  <a:lnTo>
                    <a:pt x="229" y="1185"/>
                  </a:lnTo>
                  <a:lnTo>
                    <a:pt x="240" y="1188"/>
                  </a:lnTo>
                  <a:lnTo>
                    <a:pt x="240" y="1188"/>
                  </a:lnTo>
                  <a:lnTo>
                    <a:pt x="240" y="1189"/>
                  </a:lnTo>
                  <a:lnTo>
                    <a:pt x="240" y="1189"/>
                  </a:lnTo>
                  <a:lnTo>
                    <a:pt x="240" y="1191"/>
                  </a:lnTo>
                  <a:lnTo>
                    <a:pt x="240" y="1191"/>
                  </a:lnTo>
                  <a:lnTo>
                    <a:pt x="240" y="1193"/>
                  </a:lnTo>
                  <a:lnTo>
                    <a:pt x="240" y="1193"/>
                  </a:lnTo>
                  <a:lnTo>
                    <a:pt x="242" y="1198"/>
                  </a:lnTo>
                  <a:lnTo>
                    <a:pt x="242" y="1198"/>
                  </a:lnTo>
                  <a:lnTo>
                    <a:pt x="245" y="1202"/>
                  </a:lnTo>
                  <a:lnTo>
                    <a:pt x="245" y="1202"/>
                  </a:lnTo>
                  <a:lnTo>
                    <a:pt x="252" y="1211"/>
                  </a:lnTo>
                  <a:lnTo>
                    <a:pt x="252" y="1211"/>
                  </a:lnTo>
                  <a:lnTo>
                    <a:pt x="255" y="1217"/>
                  </a:lnTo>
                  <a:lnTo>
                    <a:pt x="258" y="1227"/>
                  </a:lnTo>
                  <a:lnTo>
                    <a:pt x="258" y="1227"/>
                  </a:lnTo>
                  <a:lnTo>
                    <a:pt x="258" y="1237"/>
                  </a:lnTo>
                  <a:lnTo>
                    <a:pt x="258" y="1237"/>
                  </a:lnTo>
                  <a:lnTo>
                    <a:pt x="258" y="1243"/>
                  </a:lnTo>
                  <a:lnTo>
                    <a:pt x="256" y="1249"/>
                  </a:lnTo>
                  <a:lnTo>
                    <a:pt x="256" y="1249"/>
                  </a:lnTo>
                  <a:lnTo>
                    <a:pt x="255" y="1251"/>
                  </a:lnTo>
                  <a:lnTo>
                    <a:pt x="255" y="1257"/>
                  </a:lnTo>
                  <a:lnTo>
                    <a:pt x="255" y="1257"/>
                  </a:lnTo>
                  <a:lnTo>
                    <a:pt x="255" y="1259"/>
                  </a:lnTo>
                  <a:lnTo>
                    <a:pt x="255" y="1259"/>
                  </a:lnTo>
                  <a:lnTo>
                    <a:pt x="255" y="1263"/>
                  </a:lnTo>
                  <a:lnTo>
                    <a:pt x="253" y="1267"/>
                  </a:lnTo>
                  <a:lnTo>
                    <a:pt x="253" y="1267"/>
                  </a:lnTo>
                  <a:lnTo>
                    <a:pt x="251" y="1270"/>
                  </a:lnTo>
                  <a:lnTo>
                    <a:pt x="248" y="1273"/>
                  </a:lnTo>
                  <a:lnTo>
                    <a:pt x="248" y="1273"/>
                  </a:lnTo>
                  <a:lnTo>
                    <a:pt x="245" y="1273"/>
                  </a:lnTo>
                  <a:lnTo>
                    <a:pt x="245" y="1273"/>
                  </a:lnTo>
                  <a:lnTo>
                    <a:pt x="238" y="1273"/>
                  </a:lnTo>
                  <a:lnTo>
                    <a:pt x="229" y="1270"/>
                  </a:lnTo>
                  <a:lnTo>
                    <a:pt x="229" y="1270"/>
                  </a:lnTo>
                  <a:lnTo>
                    <a:pt x="220" y="1269"/>
                  </a:lnTo>
                  <a:lnTo>
                    <a:pt x="211" y="1267"/>
                  </a:lnTo>
                  <a:lnTo>
                    <a:pt x="211" y="1267"/>
                  </a:lnTo>
                  <a:lnTo>
                    <a:pt x="210" y="1269"/>
                  </a:lnTo>
                  <a:lnTo>
                    <a:pt x="210" y="1269"/>
                  </a:lnTo>
                  <a:lnTo>
                    <a:pt x="196" y="1269"/>
                  </a:lnTo>
                  <a:lnTo>
                    <a:pt x="196" y="1269"/>
                  </a:lnTo>
                  <a:lnTo>
                    <a:pt x="168" y="1267"/>
                  </a:lnTo>
                  <a:lnTo>
                    <a:pt x="168" y="1267"/>
                  </a:lnTo>
                  <a:lnTo>
                    <a:pt x="162" y="1267"/>
                  </a:lnTo>
                  <a:lnTo>
                    <a:pt x="162" y="1267"/>
                  </a:lnTo>
                  <a:lnTo>
                    <a:pt x="152" y="1269"/>
                  </a:lnTo>
                  <a:lnTo>
                    <a:pt x="149" y="1270"/>
                  </a:lnTo>
                  <a:lnTo>
                    <a:pt x="145" y="1273"/>
                  </a:lnTo>
                  <a:lnTo>
                    <a:pt x="145" y="1273"/>
                  </a:lnTo>
                  <a:lnTo>
                    <a:pt x="143" y="1273"/>
                  </a:lnTo>
                  <a:lnTo>
                    <a:pt x="143" y="1273"/>
                  </a:lnTo>
                  <a:lnTo>
                    <a:pt x="138" y="1275"/>
                  </a:lnTo>
                  <a:lnTo>
                    <a:pt x="133" y="1276"/>
                  </a:lnTo>
                  <a:lnTo>
                    <a:pt x="129" y="1279"/>
                  </a:lnTo>
                  <a:lnTo>
                    <a:pt x="129" y="1279"/>
                  </a:lnTo>
                  <a:lnTo>
                    <a:pt x="126" y="1282"/>
                  </a:lnTo>
                  <a:lnTo>
                    <a:pt x="126" y="1282"/>
                  </a:lnTo>
                  <a:lnTo>
                    <a:pt x="126" y="1285"/>
                  </a:lnTo>
                  <a:lnTo>
                    <a:pt x="126" y="1285"/>
                  </a:lnTo>
                  <a:lnTo>
                    <a:pt x="126" y="1289"/>
                  </a:lnTo>
                  <a:lnTo>
                    <a:pt x="126" y="1289"/>
                  </a:lnTo>
                  <a:lnTo>
                    <a:pt x="129" y="1293"/>
                  </a:lnTo>
                  <a:lnTo>
                    <a:pt x="132" y="1298"/>
                  </a:lnTo>
                  <a:lnTo>
                    <a:pt x="132" y="1298"/>
                  </a:lnTo>
                  <a:lnTo>
                    <a:pt x="135" y="1317"/>
                  </a:lnTo>
                  <a:lnTo>
                    <a:pt x="135" y="1317"/>
                  </a:lnTo>
                  <a:lnTo>
                    <a:pt x="138" y="1335"/>
                  </a:lnTo>
                  <a:lnTo>
                    <a:pt x="138" y="1337"/>
                  </a:lnTo>
                  <a:lnTo>
                    <a:pt x="138" y="1337"/>
                  </a:lnTo>
                  <a:lnTo>
                    <a:pt x="138" y="1343"/>
                  </a:lnTo>
                  <a:lnTo>
                    <a:pt x="138" y="1343"/>
                  </a:lnTo>
                  <a:lnTo>
                    <a:pt x="132" y="1356"/>
                  </a:lnTo>
                  <a:lnTo>
                    <a:pt x="126" y="1367"/>
                  </a:lnTo>
                  <a:lnTo>
                    <a:pt x="126" y="1367"/>
                  </a:lnTo>
                  <a:lnTo>
                    <a:pt x="125" y="1373"/>
                  </a:lnTo>
                  <a:lnTo>
                    <a:pt x="125" y="1373"/>
                  </a:lnTo>
                  <a:lnTo>
                    <a:pt x="125" y="1376"/>
                  </a:lnTo>
                  <a:lnTo>
                    <a:pt x="125" y="1376"/>
                  </a:lnTo>
                  <a:lnTo>
                    <a:pt x="127" y="1377"/>
                  </a:lnTo>
                  <a:lnTo>
                    <a:pt x="127" y="1377"/>
                  </a:lnTo>
                  <a:lnTo>
                    <a:pt x="130" y="1377"/>
                  </a:lnTo>
                  <a:lnTo>
                    <a:pt x="130" y="1377"/>
                  </a:lnTo>
                  <a:lnTo>
                    <a:pt x="132" y="1377"/>
                  </a:lnTo>
                  <a:lnTo>
                    <a:pt x="132" y="1377"/>
                  </a:lnTo>
                  <a:lnTo>
                    <a:pt x="132" y="1377"/>
                  </a:lnTo>
                  <a:lnTo>
                    <a:pt x="132" y="1377"/>
                  </a:lnTo>
                  <a:lnTo>
                    <a:pt x="132" y="1377"/>
                  </a:lnTo>
                  <a:lnTo>
                    <a:pt x="132" y="1377"/>
                  </a:lnTo>
                  <a:lnTo>
                    <a:pt x="132" y="1377"/>
                  </a:lnTo>
                  <a:lnTo>
                    <a:pt x="132" y="1377"/>
                  </a:lnTo>
                  <a:lnTo>
                    <a:pt x="133" y="1376"/>
                  </a:lnTo>
                  <a:lnTo>
                    <a:pt x="132" y="1377"/>
                  </a:lnTo>
                  <a:lnTo>
                    <a:pt x="132" y="1377"/>
                  </a:lnTo>
                  <a:lnTo>
                    <a:pt x="133" y="1376"/>
                  </a:lnTo>
                  <a:lnTo>
                    <a:pt x="132" y="1377"/>
                  </a:lnTo>
                  <a:lnTo>
                    <a:pt x="132" y="1377"/>
                  </a:lnTo>
                  <a:lnTo>
                    <a:pt x="132" y="1377"/>
                  </a:lnTo>
                  <a:lnTo>
                    <a:pt x="132" y="1377"/>
                  </a:lnTo>
                  <a:lnTo>
                    <a:pt x="132" y="1377"/>
                  </a:lnTo>
                  <a:lnTo>
                    <a:pt x="132" y="1377"/>
                  </a:lnTo>
                  <a:lnTo>
                    <a:pt x="133" y="1379"/>
                  </a:lnTo>
                  <a:lnTo>
                    <a:pt x="133" y="1379"/>
                  </a:lnTo>
                  <a:lnTo>
                    <a:pt x="135" y="1385"/>
                  </a:lnTo>
                  <a:lnTo>
                    <a:pt x="135" y="1390"/>
                  </a:lnTo>
                  <a:lnTo>
                    <a:pt x="135" y="1390"/>
                  </a:lnTo>
                  <a:lnTo>
                    <a:pt x="135" y="1395"/>
                  </a:lnTo>
                  <a:lnTo>
                    <a:pt x="135" y="1395"/>
                  </a:lnTo>
                  <a:lnTo>
                    <a:pt x="135" y="1399"/>
                  </a:lnTo>
                  <a:lnTo>
                    <a:pt x="135" y="1399"/>
                  </a:lnTo>
                  <a:lnTo>
                    <a:pt x="135" y="1402"/>
                  </a:lnTo>
                  <a:lnTo>
                    <a:pt x="136" y="1405"/>
                  </a:lnTo>
                  <a:lnTo>
                    <a:pt x="136" y="1405"/>
                  </a:lnTo>
                  <a:lnTo>
                    <a:pt x="140" y="1408"/>
                  </a:lnTo>
                  <a:lnTo>
                    <a:pt x="145" y="1409"/>
                  </a:lnTo>
                  <a:lnTo>
                    <a:pt x="145" y="1409"/>
                  </a:lnTo>
                  <a:lnTo>
                    <a:pt x="149" y="1409"/>
                  </a:lnTo>
                  <a:lnTo>
                    <a:pt x="149" y="1409"/>
                  </a:lnTo>
                  <a:lnTo>
                    <a:pt x="152" y="1409"/>
                  </a:lnTo>
                  <a:lnTo>
                    <a:pt x="156" y="1408"/>
                  </a:lnTo>
                  <a:lnTo>
                    <a:pt x="156" y="1408"/>
                  </a:lnTo>
                  <a:lnTo>
                    <a:pt x="161" y="1406"/>
                  </a:lnTo>
                  <a:lnTo>
                    <a:pt x="161" y="1406"/>
                  </a:lnTo>
                  <a:lnTo>
                    <a:pt x="161" y="1405"/>
                  </a:lnTo>
                  <a:lnTo>
                    <a:pt x="161" y="1406"/>
                  </a:lnTo>
                  <a:lnTo>
                    <a:pt x="161" y="1406"/>
                  </a:lnTo>
                  <a:lnTo>
                    <a:pt x="161" y="1405"/>
                  </a:lnTo>
                  <a:lnTo>
                    <a:pt x="161" y="1406"/>
                  </a:lnTo>
                  <a:lnTo>
                    <a:pt x="161" y="1406"/>
                  </a:lnTo>
                  <a:lnTo>
                    <a:pt x="161" y="1406"/>
                  </a:lnTo>
                  <a:lnTo>
                    <a:pt x="161" y="1406"/>
                  </a:lnTo>
                  <a:lnTo>
                    <a:pt x="161" y="1406"/>
                  </a:lnTo>
                  <a:lnTo>
                    <a:pt x="161" y="1406"/>
                  </a:lnTo>
                  <a:lnTo>
                    <a:pt x="161" y="1406"/>
                  </a:lnTo>
                  <a:lnTo>
                    <a:pt x="162" y="1406"/>
                  </a:lnTo>
                  <a:lnTo>
                    <a:pt x="162" y="1406"/>
                  </a:lnTo>
                  <a:lnTo>
                    <a:pt x="167" y="1411"/>
                  </a:lnTo>
                  <a:lnTo>
                    <a:pt x="172" y="1417"/>
                  </a:lnTo>
                  <a:lnTo>
                    <a:pt x="172" y="1417"/>
                  </a:lnTo>
                  <a:lnTo>
                    <a:pt x="178" y="1424"/>
                  </a:lnTo>
                  <a:lnTo>
                    <a:pt x="178" y="1424"/>
                  </a:lnTo>
                  <a:lnTo>
                    <a:pt x="181" y="1427"/>
                  </a:lnTo>
                  <a:lnTo>
                    <a:pt x="181" y="1427"/>
                  </a:lnTo>
                  <a:lnTo>
                    <a:pt x="184" y="1430"/>
                  </a:lnTo>
                  <a:lnTo>
                    <a:pt x="187" y="1431"/>
                  </a:lnTo>
                  <a:lnTo>
                    <a:pt x="187" y="1431"/>
                  </a:lnTo>
                  <a:lnTo>
                    <a:pt x="191" y="1430"/>
                  </a:lnTo>
                  <a:lnTo>
                    <a:pt x="194" y="1428"/>
                  </a:lnTo>
                  <a:lnTo>
                    <a:pt x="194" y="1428"/>
                  </a:lnTo>
                  <a:lnTo>
                    <a:pt x="198" y="1424"/>
                  </a:lnTo>
                  <a:lnTo>
                    <a:pt x="198" y="1424"/>
                  </a:lnTo>
                  <a:lnTo>
                    <a:pt x="207" y="1419"/>
                  </a:lnTo>
                  <a:lnTo>
                    <a:pt x="207" y="1419"/>
                  </a:lnTo>
                  <a:lnTo>
                    <a:pt x="213" y="1418"/>
                  </a:lnTo>
                  <a:lnTo>
                    <a:pt x="213" y="1418"/>
                  </a:lnTo>
                  <a:lnTo>
                    <a:pt x="213" y="1418"/>
                  </a:lnTo>
                  <a:lnTo>
                    <a:pt x="213" y="1418"/>
                  </a:lnTo>
                  <a:lnTo>
                    <a:pt x="214" y="1419"/>
                  </a:lnTo>
                  <a:lnTo>
                    <a:pt x="214" y="1419"/>
                  </a:lnTo>
                  <a:lnTo>
                    <a:pt x="217" y="1419"/>
                  </a:lnTo>
                  <a:lnTo>
                    <a:pt x="219" y="1419"/>
                  </a:lnTo>
                  <a:lnTo>
                    <a:pt x="219" y="1419"/>
                  </a:lnTo>
                  <a:lnTo>
                    <a:pt x="222" y="1419"/>
                  </a:lnTo>
                  <a:lnTo>
                    <a:pt x="222" y="1419"/>
                  </a:lnTo>
                  <a:lnTo>
                    <a:pt x="245" y="1411"/>
                  </a:lnTo>
                  <a:lnTo>
                    <a:pt x="245" y="1411"/>
                  </a:lnTo>
                  <a:lnTo>
                    <a:pt x="256" y="1405"/>
                  </a:lnTo>
                  <a:lnTo>
                    <a:pt x="256" y="1405"/>
                  </a:lnTo>
                  <a:lnTo>
                    <a:pt x="264" y="1402"/>
                  </a:lnTo>
                  <a:lnTo>
                    <a:pt x="264" y="1402"/>
                  </a:lnTo>
                  <a:lnTo>
                    <a:pt x="268" y="1399"/>
                  </a:lnTo>
                  <a:lnTo>
                    <a:pt x="271" y="1395"/>
                  </a:lnTo>
                  <a:lnTo>
                    <a:pt x="271" y="1395"/>
                  </a:lnTo>
                  <a:lnTo>
                    <a:pt x="272" y="1389"/>
                  </a:lnTo>
                  <a:lnTo>
                    <a:pt x="272" y="1389"/>
                  </a:lnTo>
                  <a:lnTo>
                    <a:pt x="274" y="1388"/>
                  </a:lnTo>
                  <a:lnTo>
                    <a:pt x="274" y="1388"/>
                  </a:lnTo>
                  <a:lnTo>
                    <a:pt x="278" y="1382"/>
                  </a:lnTo>
                  <a:lnTo>
                    <a:pt x="278" y="1382"/>
                  </a:lnTo>
                  <a:lnTo>
                    <a:pt x="282" y="1376"/>
                  </a:lnTo>
                  <a:lnTo>
                    <a:pt x="282" y="1376"/>
                  </a:lnTo>
                  <a:lnTo>
                    <a:pt x="282" y="1376"/>
                  </a:lnTo>
                  <a:lnTo>
                    <a:pt x="282" y="1372"/>
                  </a:lnTo>
                  <a:lnTo>
                    <a:pt x="282" y="1372"/>
                  </a:lnTo>
                  <a:lnTo>
                    <a:pt x="281" y="1364"/>
                  </a:lnTo>
                  <a:lnTo>
                    <a:pt x="281" y="1364"/>
                  </a:lnTo>
                  <a:lnTo>
                    <a:pt x="280" y="1356"/>
                  </a:lnTo>
                  <a:lnTo>
                    <a:pt x="280" y="1356"/>
                  </a:lnTo>
                  <a:lnTo>
                    <a:pt x="280" y="1354"/>
                  </a:lnTo>
                  <a:lnTo>
                    <a:pt x="280" y="1354"/>
                  </a:lnTo>
                  <a:lnTo>
                    <a:pt x="281" y="1348"/>
                  </a:lnTo>
                  <a:lnTo>
                    <a:pt x="284" y="1343"/>
                  </a:lnTo>
                  <a:lnTo>
                    <a:pt x="284" y="1343"/>
                  </a:lnTo>
                  <a:lnTo>
                    <a:pt x="287" y="1337"/>
                  </a:lnTo>
                  <a:lnTo>
                    <a:pt x="287" y="1337"/>
                  </a:lnTo>
                  <a:lnTo>
                    <a:pt x="288" y="1335"/>
                  </a:lnTo>
                  <a:lnTo>
                    <a:pt x="288" y="1335"/>
                  </a:lnTo>
                  <a:lnTo>
                    <a:pt x="290" y="1333"/>
                  </a:lnTo>
                  <a:lnTo>
                    <a:pt x="288" y="1333"/>
                  </a:lnTo>
                  <a:lnTo>
                    <a:pt x="290" y="1334"/>
                  </a:lnTo>
                  <a:lnTo>
                    <a:pt x="290" y="1333"/>
                  </a:lnTo>
                  <a:lnTo>
                    <a:pt x="288" y="1333"/>
                  </a:lnTo>
                  <a:lnTo>
                    <a:pt x="290" y="1334"/>
                  </a:lnTo>
                  <a:lnTo>
                    <a:pt x="290" y="1334"/>
                  </a:lnTo>
                  <a:lnTo>
                    <a:pt x="291" y="1331"/>
                  </a:lnTo>
                  <a:lnTo>
                    <a:pt x="291" y="1331"/>
                  </a:lnTo>
                  <a:lnTo>
                    <a:pt x="303" y="1324"/>
                  </a:lnTo>
                  <a:lnTo>
                    <a:pt x="303" y="1324"/>
                  </a:lnTo>
                  <a:lnTo>
                    <a:pt x="306" y="1322"/>
                  </a:lnTo>
                  <a:lnTo>
                    <a:pt x="306" y="1322"/>
                  </a:lnTo>
                  <a:lnTo>
                    <a:pt x="306" y="1322"/>
                  </a:lnTo>
                  <a:lnTo>
                    <a:pt x="306" y="1321"/>
                  </a:lnTo>
                  <a:lnTo>
                    <a:pt x="306" y="1322"/>
                  </a:lnTo>
                  <a:lnTo>
                    <a:pt x="306" y="1322"/>
                  </a:lnTo>
                  <a:lnTo>
                    <a:pt x="306" y="1321"/>
                  </a:lnTo>
                  <a:lnTo>
                    <a:pt x="306" y="1322"/>
                  </a:lnTo>
                  <a:lnTo>
                    <a:pt x="306" y="1321"/>
                  </a:lnTo>
                  <a:lnTo>
                    <a:pt x="304" y="1321"/>
                  </a:lnTo>
                  <a:lnTo>
                    <a:pt x="306" y="1322"/>
                  </a:lnTo>
                  <a:lnTo>
                    <a:pt x="306" y="1321"/>
                  </a:lnTo>
                  <a:lnTo>
                    <a:pt x="304" y="1321"/>
                  </a:lnTo>
                  <a:lnTo>
                    <a:pt x="306" y="1321"/>
                  </a:lnTo>
                  <a:lnTo>
                    <a:pt x="304" y="1321"/>
                  </a:lnTo>
                  <a:lnTo>
                    <a:pt x="304" y="1321"/>
                  </a:lnTo>
                  <a:lnTo>
                    <a:pt x="306" y="1321"/>
                  </a:lnTo>
                  <a:lnTo>
                    <a:pt x="304" y="1321"/>
                  </a:lnTo>
                  <a:lnTo>
                    <a:pt x="304" y="1321"/>
                  </a:lnTo>
                  <a:lnTo>
                    <a:pt x="304" y="1321"/>
                  </a:lnTo>
                  <a:lnTo>
                    <a:pt x="304" y="1321"/>
                  </a:lnTo>
                  <a:lnTo>
                    <a:pt x="304" y="1321"/>
                  </a:lnTo>
                  <a:lnTo>
                    <a:pt x="304" y="1321"/>
                  </a:lnTo>
                  <a:lnTo>
                    <a:pt x="304" y="1321"/>
                  </a:lnTo>
                  <a:lnTo>
                    <a:pt x="304" y="1322"/>
                  </a:lnTo>
                  <a:lnTo>
                    <a:pt x="304" y="1322"/>
                  </a:lnTo>
                  <a:lnTo>
                    <a:pt x="306" y="1324"/>
                  </a:lnTo>
                  <a:lnTo>
                    <a:pt x="306" y="1324"/>
                  </a:lnTo>
                  <a:lnTo>
                    <a:pt x="308" y="1324"/>
                  </a:lnTo>
                  <a:lnTo>
                    <a:pt x="308" y="1324"/>
                  </a:lnTo>
                  <a:lnTo>
                    <a:pt x="310" y="1324"/>
                  </a:lnTo>
                  <a:lnTo>
                    <a:pt x="310" y="1324"/>
                  </a:lnTo>
                  <a:lnTo>
                    <a:pt x="320" y="1317"/>
                  </a:lnTo>
                  <a:lnTo>
                    <a:pt x="320" y="1317"/>
                  </a:lnTo>
                  <a:lnTo>
                    <a:pt x="329" y="1309"/>
                  </a:lnTo>
                  <a:lnTo>
                    <a:pt x="329" y="1309"/>
                  </a:lnTo>
                  <a:lnTo>
                    <a:pt x="332" y="1305"/>
                  </a:lnTo>
                  <a:lnTo>
                    <a:pt x="332" y="1302"/>
                  </a:lnTo>
                  <a:lnTo>
                    <a:pt x="332" y="1302"/>
                  </a:lnTo>
                  <a:lnTo>
                    <a:pt x="330" y="1295"/>
                  </a:lnTo>
                  <a:lnTo>
                    <a:pt x="330" y="1295"/>
                  </a:lnTo>
                  <a:lnTo>
                    <a:pt x="329" y="1291"/>
                  </a:lnTo>
                  <a:lnTo>
                    <a:pt x="329" y="1291"/>
                  </a:lnTo>
                  <a:lnTo>
                    <a:pt x="329" y="1291"/>
                  </a:lnTo>
                  <a:lnTo>
                    <a:pt x="327" y="1291"/>
                  </a:lnTo>
                  <a:lnTo>
                    <a:pt x="329" y="1291"/>
                  </a:lnTo>
                  <a:lnTo>
                    <a:pt x="329" y="1291"/>
                  </a:lnTo>
                  <a:lnTo>
                    <a:pt x="327" y="1291"/>
                  </a:lnTo>
                  <a:lnTo>
                    <a:pt x="329" y="1291"/>
                  </a:lnTo>
                  <a:lnTo>
                    <a:pt x="329" y="1291"/>
                  </a:lnTo>
                  <a:lnTo>
                    <a:pt x="329" y="1292"/>
                  </a:lnTo>
                  <a:lnTo>
                    <a:pt x="329" y="1291"/>
                  </a:lnTo>
                  <a:lnTo>
                    <a:pt x="329" y="1291"/>
                  </a:lnTo>
                  <a:lnTo>
                    <a:pt x="329" y="1292"/>
                  </a:lnTo>
                  <a:lnTo>
                    <a:pt x="329" y="1291"/>
                  </a:lnTo>
                  <a:lnTo>
                    <a:pt x="329" y="1291"/>
                  </a:lnTo>
                  <a:lnTo>
                    <a:pt x="332" y="1286"/>
                  </a:lnTo>
                  <a:lnTo>
                    <a:pt x="332" y="1286"/>
                  </a:lnTo>
                  <a:lnTo>
                    <a:pt x="340" y="1277"/>
                  </a:lnTo>
                  <a:lnTo>
                    <a:pt x="340" y="1277"/>
                  </a:lnTo>
                  <a:lnTo>
                    <a:pt x="343" y="1275"/>
                  </a:lnTo>
                  <a:lnTo>
                    <a:pt x="343" y="1275"/>
                  </a:lnTo>
                  <a:lnTo>
                    <a:pt x="346" y="1273"/>
                  </a:lnTo>
                  <a:lnTo>
                    <a:pt x="346" y="1273"/>
                  </a:lnTo>
                  <a:lnTo>
                    <a:pt x="346" y="1273"/>
                  </a:lnTo>
                  <a:lnTo>
                    <a:pt x="352" y="1275"/>
                  </a:lnTo>
                  <a:lnTo>
                    <a:pt x="352" y="1275"/>
                  </a:lnTo>
                  <a:lnTo>
                    <a:pt x="364" y="1279"/>
                  </a:lnTo>
                  <a:lnTo>
                    <a:pt x="364" y="1279"/>
                  </a:lnTo>
                  <a:lnTo>
                    <a:pt x="371" y="1280"/>
                  </a:lnTo>
                  <a:lnTo>
                    <a:pt x="377" y="1282"/>
                  </a:lnTo>
                  <a:lnTo>
                    <a:pt x="377" y="1282"/>
                  </a:lnTo>
                  <a:lnTo>
                    <a:pt x="377" y="1282"/>
                  </a:lnTo>
                  <a:lnTo>
                    <a:pt x="382" y="1280"/>
                  </a:lnTo>
                  <a:lnTo>
                    <a:pt x="388" y="1277"/>
                  </a:lnTo>
                  <a:lnTo>
                    <a:pt x="388" y="1277"/>
                  </a:lnTo>
                  <a:lnTo>
                    <a:pt x="398" y="1270"/>
                  </a:lnTo>
                  <a:lnTo>
                    <a:pt x="407" y="1263"/>
                  </a:lnTo>
                  <a:lnTo>
                    <a:pt x="407" y="1263"/>
                  </a:lnTo>
                  <a:lnTo>
                    <a:pt x="420" y="1253"/>
                  </a:lnTo>
                  <a:lnTo>
                    <a:pt x="420" y="1253"/>
                  </a:lnTo>
                  <a:lnTo>
                    <a:pt x="420" y="1253"/>
                  </a:lnTo>
                  <a:lnTo>
                    <a:pt x="420" y="1253"/>
                  </a:lnTo>
                  <a:lnTo>
                    <a:pt x="424" y="1253"/>
                  </a:lnTo>
                  <a:lnTo>
                    <a:pt x="429" y="1256"/>
                  </a:lnTo>
                  <a:lnTo>
                    <a:pt x="429" y="1256"/>
                  </a:lnTo>
                  <a:lnTo>
                    <a:pt x="437" y="1260"/>
                  </a:lnTo>
                  <a:lnTo>
                    <a:pt x="437" y="1260"/>
                  </a:lnTo>
                  <a:lnTo>
                    <a:pt x="440" y="1262"/>
                  </a:lnTo>
                  <a:lnTo>
                    <a:pt x="440" y="1262"/>
                  </a:lnTo>
                  <a:lnTo>
                    <a:pt x="445" y="1269"/>
                  </a:lnTo>
                  <a:lnTo>
                    <a:pt x="449" y="1279"/>
                  </a:lnTo>
                  <a:lnTo>
                    <a:pt x="449" y="1279"/>
                  </a:lnTo>
                  <a:lnTo>
                    <a:pt x="455" y="1288"/>
                  </a:lnTo>
                  <a:lnTo>
                    <a:pt x="462" y="1296"/>
                  </a:lnTo>
                  <a:lnTo>
                    <a:pt x="462" y="1296"/>
                  </a:lnTo>
                  <a:lnTo>
                    <a:pt x="469" y="1302"/>
                  </a:lnTo>
                  <a:lnTo>
                    <a:pt x="469" y="1302"/>
                  </a:lnTo>
                  <a:lnTo>
                    <a:pt x="474" y="1306"/>
                  </a:lnTo>
                  <a:lnTo>
                    <a:pt x="474" y="1306"/>
                  </a:lnTo>
                  <a:lnTo>
                    <a:pt x="476" y="1309"/>
                  </a:lnTo>
                  <a:lnTo>
                    <a:pt x="476" y="1309"/>
                  </a:lnTo>
                  <a:lnTo>
                    <a:pt x="495" y="1322"/>
                  </a:lnTo>
                  <a:lnTo>
                    <a:pt x="495" y="1322"/>
                  </a:lnTo>
                  <a:lnTo>
                    <a:pt x="511" y="1333"/>
                  </a:lnTo>
                  <a:lnTo>
                    <a:pt x="511" y="1333"/>
                  </a:lnTo>
                  <a:lnTo>
                    <a:pt x="516" y="1335"/>
                  </a:lnTo>
                  <a:lnTo>
                    <a:pt x="518" y="1340"/>
                  </a:lnTo>
                  <a:lnTo>
                    <a:pt x="518" y="1340"/>
                  </a:lnTo>
                  <a:lnTo>
                    <a:pt x="521" y="1346"/>
                  </a:lnTo>
                  <a:lnTo>
                    <a:pt x="521" y="1346"/>
                  </a:lnTo>
                  <a:lnTo>
                    <a:pt x="524" y="1348"/>
                  </a:lnTo>
                  <a:lnTo>
                    <a:pt x="524" y="1348"/>
                  </a:lnTo>
                  <a:lnTo>
                    <a:pt x="530" y="1351"/>
                  </a:lnTo>
                  <a:lnTo>
                    <a:pt x="530" y="1351"/>
                  </a:lnTo>
                  <a:lnTo>
                    <a:pt x="533" y="1356"/>
                  </a:lnTo>
                  <a:lnTo>
                    <a:pt x="533" y="1356"/>
                  </a:lnTo>
                  <a:lnTo>
                    <a:pt x="537" y="1363"/>
                  </a:lnTo>
                  <a:lnTo>
                    <a:pt x="537" y="1363"/>
                  </a:lnTo>
                  <a:lnTo>
                    <a:pt x="539" y="1370"/>
                  </a:lnTo>
                  <a:lnTo>
                    <a:pt x="539" y="1370"/>
                  </a:lnTo>
                  <a:lnTo>
                    <a:pt x="539" y="1370"/>
                  </a:lnTo>
                  <a:lnTo>
                    <a:pt x="536" y="1380"/>
                  </a:lnTo>
                  <a:lnTo>
                    <a:pt x="536" y="1380"/>
                  </a:lnTo>
                  <a:lnTo>
                    <a:pt x="533" y="1386"/>
                  </a:lnTo>
                  <a:lnTo>
                    <a:pt x="533" y="1386"/>
                  </a:lnTo>
                  <a:lnTo>
                    <a:pt x="532" y="1390"/>
                  </a:lnTo>
                  <a:lnTo>
                    <a:pt x="532" y="1390"/>
                  </a:lnTo>
                  <a:lnTo>
                    <a:pt x="533" y="1392"/>
                  </a:lnTo>
                  <a:lnTo>
                    <a:pt x="533" y="1392"/>
                  </a:lnTo>
                  <a:lnTo>
                    <a:pt x="533" y="1393"/>
                  </a:lnTo>
                  <a:lnTo>
                    <a:pt x="536" y="139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68" name="Freeform 1296"/>
            <p:cNvSpPr>
              <a:spLocks/>
            </p:cNvSpPr>
            <p:nvPr/>
          </p:nvSpPr>
          <p:spPr bwMode="auto">
            <a:xfrm>
              <a:off x="7920039" y="3113516"/>
              <a:ext cx="85725" cy="333375"/>
            </a:xfrm>
            <a:custGeom>
              <a:avLst/>
              <a:gdLst>
                <a:gd name="T0" fmla="*/ 34 w 54"/>
                <a:gd name="T1" fmla="*/ 209 h 210"/>
                <a:gd name="T2" fmla="*/ 25 w 54"/>
                <a:gd name="T3" fmla="*/ 203 h 210"/>
                <a:gd name="T4" fmla="*/ 19 w 54"/>
                <a:gd name="T5" fmla="*/ 199 h 210"/>
                <a:gd name="T6" fmla="*/ 16 w 54"/>
                <a:gd name="T7" fmla="*/ 206 h 210"/>
                <a:gd name="T8" fmla="*/ 12 w 54"/>
                <a:gd name="T9" fmla="*/ 210 h 210"/>
                <a:gd name="T10" fmla="*/ 11 w 54"/>
                <a:gd name="T11" fmla="*/ 210 h 210"/>
                <a:gd name="T12" fmla="*/ 9 w 54"/>
                <a:gd name="T13" fmla="*/ 203 h 210"/>
                <a:gd name="T14" fmla="*/ 12 w 54"/>
                <a:gd name="T15" fmla="*/ 167 h 210"/>
                <a:gd name="T16" fmla="*/ 9 w 54"/>
                <a:gd name="T17" fmla="*/ 151 h 210"/>
                <a:gd name="T18" fmla="*/ 9 w 54"/>
                <a:gd name="T19" fmla="*/ 134 h 210"/>
                <a:gd name="T20" fmla="*/ 11 w 54"/>
                <a:gd name="T21" fmla="*/ 116 h 210"/>
                <a:gd name="T22" fmla="*/ 12 w 54"/>
                <a:gd name="T23" fmla="*/ 99 h 210"/>
                <a:gd name="T24" fmla="*/ 12 w 54"/>
                <a:gd name="T25" fmla="*/ 86 h 210"/>
                <a:gd name="T26" fmla="*/ 12 w 54"/>
                <a:gd name="T27" fmla="*/ 83 h 210"/>
                <a:gd name="T28" fmla="*/ 9 w 54"/>
                <a:gd name="T29" fmla="*/ 71 h 210"/>
                <a:gd name="T30" fmla="*/ 8 w 54"/>
                <a:gd name="T31" fmla="*/ 57 h 210"/>
                <a:gd name="T32" fmla="*/ 3 w 54"/>
                <a:gd name="T33" fmla="*/ 44 h 210"/>
                <a:gd name="T34" fmla="*/ 3 w 54"/>
                <a:gd name="T35" fmla="*/ 39 h 210"/>
                <a:gd name="T36" fmla="*/ 2 w 54"/>
                <a:gd name="T37" fmla="*/ 29 h 210"/>
                <a:gd name="T38" fmla="*/ 2 w 54"/>
                <a:gd name="T39" fmla="*/ 23 h 210"/>
                <a:gd name="T40" fmla="*/ 3 w 54"/>
                <a:gd name="T41" fmla="*/ 22 h 210"/>
                <a:gd name="T42" fmla="*/ 12 w 54"/>
                <a:gd name="T43" fmla="*/ 18 h 210"/>
                <a:gd name="T44" fmla="*/ 14 w 54"/>
                <a:gd name="T45" fmla="*/ 15 h 210"/>
                <a:gd name="T46" fmla="*/ 6 w 54"/>
                <a:gd name="T47" fmla="*/ 8 h 210"/>
                <a:gd name="T48" fmla="*/ 3 w 54"/>
                <a:gd name="T49" fmla="*/ 3 h 210"/>
                <a:gd name="T50" fmla="*/ 5 w 54"/>
                <a:gd name="T51" fmla="*/ 2 h 210"/>
                <a:gd name="T52" fmla="*/ 15 w 54"/>
                <a:gd name="T53" fmla="*/ 2 h 210"/>
                <a:gd name="T54" fmla="*/ 21 w 54"/>
                <a:gd name="T55" fmla="*/ 3 h 210"/>
                <a:gd name="T56" fmla="*/ 21 w 54"/>
                <a:gd name="T57" fmla="*/ 5 h 210"/>
                <a:gd name="T58" fmla="*/ 21 w 54"/>
                <a:gd name="T59" fmla="*/ 13 h 210"/>
                <a:gd name="T60" fmla="*/ 21 w 54"/>
                <a:gd name="T61" fmla="*/ 16 h 210"/>
                <a:gd name="T62" fmla="*/ 25 w 54"/>
                <a:gd name="T63" fmla="*/ 39 h 210"/>
                <a:gd name="T64" fmla="*/ 25 w 54"/>
                <a:gd name="T65" fmla="*/ 47 h 210"/>
                <a:gd name="T66" fmla="*/ 27 w 54"/>
                <a:gd name="T67" fmla="*/ 54 h 210"/>
                <a:gd name="T68" fmla="*/ 29 w 54"/>
                <a:gd name="T69" fmla="*/ 58 h 210"/>
                <a:gd name="T70" fmla="*/ 34 w 54"/>
                <a:gd name="T71" fmla="*/ 76 h 210"/>
                <a:gd name="T72" fmla="*/ 37 w 54"/>
                <a:gd name="T73" fmla="*/ 93 h 210"/>
                <a:gd name="T74" fmla="*/ 42 w 54"/>
                <a:gd name="T75" fmla="*/ 100 h 210"/>
                <a:gd name="T76" fmla="*/ 45 w 54"/>
                <a:gd name="T77" fmla="*/ 109 h 210"/>
                <a:gd name="T78" fmla="*/ 47 w 54"/>
                <a:gd name="T79" fmla="*/ 123 h 210"/>
                <a:gd name="T80" fmla="*/ 48 w 54"/>
                <a:gd name="T81" fmla="*/ 136 h 210"/>
                <a:gd name="T82" fmla="*/ 54 w 54"/>
                <a:gd name="T83" fmla="*/ 148 h 210"/>
                <a:gd name="T84" fmla="*/ 53 w 54"/>
                <a:gd name="T85" fmla="*/ 148 h 210"/>
                <a:gd name="T86" fmla="*/ 42 w 54"/>
                <a:gd name="T87" fmla="*/ 142 h 210"/>
                <a:gd name="T88" fmla="*/ 32 w 54"/>
                <a:gd name="T89" fmla="*/ 136 h 210"/>
                <a:gd name="T90" fmla="*/ 31 w 54"/>
                <a:gd name="T91" fmla="*/ 139 h 210"/>
                <a:gd name="T92" fmla="*/ 27 w 54"/>
                <a:gd name="T93" fmla="*/ 152 h 210"/>
                <a:gd name="T94" fmla="*/ 24 w 54"/>
                <a:gd name="T95" fmla="*/ 161 h 210"/>
                <a:gd name="T96" fmla="*/ 24 w 54"/>
                <a:gd name="T97" fmla="*/ 171 h 210"/>
                <a:gd name="T98" fmla="*/ 28 w 54"/>
                <a:gd name="T99" fmla="*/ 180 h 210"/>
                <a:gd name="T100" fmla="*/ 31 w 54"/>
                <a:gd name="T101" fmla="*/ 189 h 210"/>
                <a:gd name="T102" fmla="*/ 37 w 54"/>
                <a:gd name="T103" fmla="*/ 207 h 210"/>
                <a:gd name="T104" fmla="*/ 34 w 54"/>
                <a:gd name="T105" fmla="*/ 20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 h="210">
                  <a:moveTo>
                    <a:pt x="34" y="209"/>
                  </a:moveTo>
                  <a:lnTo>
                    <a:pt x="34" y="209"/>
                  </a:lnTo>
                  <a:lnTo>
                    <a:pt x="29" y="206"/>
                  </a:lnTo>
                  <a:lnTo>
                    <a:pt x="25" y="203"/>
                  </a:lnTo>
                  <a:lnTo>
                    <a:pt x="22" y="200"/>
                  </a:lnTo>
                  <a:lnTo>
                    <a:pt x="19" y="199"/>
                  </a:lnTo>
                  <a:lnTo>
                    <a:pt x="19" y="199"/>
                  </a:lnTo>
                  <a:lnTo>
                    <a:pt x="16" y="206"/>
                  </a:lnTo>
                  <a:lnTo>
                    <a:pt x="14" y="210"/>
                  </a:lnTo>
                  <a:lnTo>
                    <a:pt x="12" y="210"/>
                  </a:lnTo>
                  <a:lnTo>
                    <a:pt x="11" y="210"/>
                  </a:lnTo>
                  <a:lnTo>
                    <a:pt x="11" y="210"/>
                  </a:lnTo>
                  <a:lnTo>
                    <a:pt x="9" y="209"/>
                  </a:lnTo>
                  <a:lnTo>
                    <a:pt x="9" y="203"/>
                  </a:lnTo>
                  <a:lnTo>
                    <a:pt x="9" y="190"/>
                  </a:lnTo>
                  <a:lnTo>
                    <a:pt x="12" y="167"/>
                  </a:lnTo>
                  <a:lnTo>
                    <a:pt x="12" y="167"/>
                  </a:lnTo>
                  <a:lnTo>
                    <a:pt x="9" y="151"/>
                  </a:lnTo>
                  <a:lnTo>
                    <a:pt x="9" y="141"/>
                  </a:lnTo>
                  <a:lnTo>
                    <a:pt x="9" y="134"/>
                  </a:lnTo>
                  <a:lnTo>
                    <a:pt x="9" y="134"/>
                  </a:lnTo>
                  <a:lnTo>
                    <a:pt x="11" y="116"/>
                  </a:lnTo>
                  <a:lnTo>
                    <a:pt x="12" y="99"/>
                  </a:lnTo>
                  <a:lnTo>
                    <a:pt x="12" y="99"/>
                  </a:lnTo>
                  <a:lnTo>
                    <a:pt x="14" y="90"/>
                  </a:lnTo>
                  <a:lnTo>
                    <a:pt x="12" y="86"/>
                  </a:lnTo>
                  <a:lnTo>
                    <a:pt x="12" y="83"/>
                  </a:lnTo>
                  <a:lnTo>
                    <a:pt x="12" y="83"/>
                  </a:lnTo>
                  <a:lnTo>
                    <a:pt x="11" y="79"/>
                  </a:lnTo>
                  <a:lnTo>
                    <a:pt x="9" y="71"/>
                  </a:lnTo>
                  <a:lnTo>
                    <a:pt x="8" y="57"/>
                  </a:lnTo>
                  <a:lnTo>
                    <a:pt x="8" y="57"/>
                  </a:lnTo>
                  <a:lnTo>
                    <a:pt x="5" y="47"/>
                  </a:lnTo>
                  <a:lnTo>
                    <a:pt x="3" y="44"/>
                  </a:lnTo>
                  <a:lnTo>
                    <a:pt x="3" y="39"/>
                  </a:lnTo>
                  <a:lnTo>
                    <a:pt x="3" y="39"/>
                  </a:lnTo>
                  <a:lnTo>
                    <a:pt x="2" y="34"/>
                  </a:lnTo>
                  <a:lnTo>
                    <a:pt x="2" y="29"/>
                  </a:lnTo>
                  <a:lnTo>
                    <a:pt x="0" y="25"/>
                  </a:lnTo>
                  <a:lnTo>
                    <a:pt x="2" y="23"/>
                  </a:lnTo>
                  <a:lnTo>
                    <a:pt x="3" y="22"/>
                  </a:lnTo>
                  <a:lnTo>
                    <a:pt x="3" y="22"/>
                  </a:lnTo>
                  <a:lnTo>
                    <a:pt x="11" y="19"/>
                  </a:lnTo>
                  <a:lnTo>
                    <a:pt x="12" y="18"/>
                  </a:lnTo>
                  <a:lnTo>
                    <a:pt x="14" y="15"/>
                  </a:lnTo>
                  <a:lnTo>
                    <a:pt x="14" y="15"/>
                  </a:lnTo>
                  <a:lnTo>
                    <a:pt x="11" y="12"/>
                  </a:lnTo>
                  <a:lnTo>
                    <a:pt x="6" y="8"/>
                  </a:lnTo>
                  <a:lnTo>
                    <a:pt x="3" y="3"/>
                  </a:lnTo>
                  <a:lnTo>
                    <a:pt x="3" y="3"/>
                  </a:lnTo>
                  <a:lnTo>
                    <a:pt x="5" y="2"/>
                  </a:lnTo>
                  <a:lnTo>
                    <a:pt x="5" y="2"/>
                  </a:lnTo>
                  <a:lnTo>
                    <a:pt x="9" y="0"/>
                  </a:lnTo>
                  <a:lnTo>
                    <a:pt x="15" y="2"/>
                  </a:lnTo>
                  <a:lnTo>
                    <a:pt x="19" y="3"/>
                  </a:lnTo>
                  <a:lnTo>
                    <a:pt x="21" y="3"/>
                  </a:lnTo>
                  <a:lnTo>
                    <a:pt x="21" y="5"/>
                  </a:lnTo>
                  <a:lnTo>
                    <a:pt x="21" y="5"/>
                  </a:lnTo>
                  <a:lnTo>
                    <a:pt x="21" y="10"/>
                  </a:lnTo>
                  <a:lnTo>
                    <a:pt x="21" y="13"/>
                  </a:lnTo>
                  <a:lnTo>
                    <a:pt x="21" y="16"/>
                  </a:lnTo>
                  <a:lnTo>
                    <a:pt x="21" y="16"/>
                  </a:lnTo>
                  <a:lnTo>
                    <a:pt x="24" y="31"/>
                  </a:lnTo>
                  <a:lnTo>
                    <a:pt x="25" y="39"/>
                  </a:lnTo>
                  <a:lnTo>
                    <a:pt x="25" y="47"/>
                  </a:lnTo>
                  <a:lnTo>
                    <a:pt x="25" y="47"/>
                  </a:lnTo>
                  <a:lnTo>
                    <a:pt x="25" y="51"/>
                  </a:lnTo>
                  <a:lnTo>
                    <a:pt x="27" y="54"/>
                  </a:lnTo>
                  <a:lnTo>
                    <a:pt x="29" y="58"/>
                  </a:lnTo>
                  <a:lnTo>
                    <a:pt x="29" y="58"/>
                  </a:lnTo>
                  <a:lnTo>
                    <a:pt x="32" y="65"/>
                  </a:lnTo>
                  <a:lnTo>
                    <a:pt x="34" y="76"/>
                  </a:lnTo>
                  <a:lnTo>
                    <a:pt x="35" y="86"/>
                  </a:lnTo>
                  <a:lnTo>
                    <a:pt x="37" y="93"/>
                  </a:lnTo>
                  <a:lnTo>
                    <a:pt x="37" y="93"/>
                  </a:lnTo>
                  <a:lnTo>
                    <a:pt x="42" y="100"/>
                  </a:lnTo>
                  <a:lnTo>
                    <a:pt x="45" y="105"/>
                  </a:lnTo>
                  <a:lnTo>
                    <a:pt x="45" y="109"/>
                  </a:lnTo>
                  <a:lnTo>
                    <a:pt x="45" y="109"/>
                  </a:lnTo>
                  <a:lnTo>
                    <a:pt x="47" y="123"/>
                  </a:lnTo>
                  <a:lnTo>
                    <a:pt x="48" y="136"/>
                  </a:lnTo>
                  <a:lnTo>
                    <a:pt x="48" y="136"/>
                  </a:lnTo>
                  <a:lnTo>
                    <a:pt x="53" y="145"/>
                  </a:lnTo>
                  <a:lnTo>
                    <a:pt x="54" y="148"/>
                  </a:lnTo>
                  <a:lnTo>
                    <a:pt x="53" y="148"/>
                  </a:lnTo>
                  <a:lnTo>
                    <a:pt x="53" y="148"/>
                  </a:lnTo>
                  <a:lnTo>
                    <a:pt x="53" y="148"/>
                  </a:lnTo>
                  <a:lnTo>
                    <a:pt x="42" y="142"/>
                  </a:lnTo>
                  <a:lnTo>
                    <a:pt x="37" y="138"/>
                  </a:lnTo>
                  <a:lnTo>
                    <a:pt x="32" y="136"/>
                  </a:lnTo>
                  <a:lnTo>
                    <a:pt x="32" y="136"/>
                  </a:lnTo>
                  <a:lnTo>
                    <a:pt x="31" y="139"/>
                  </a:lnTo>
                  <a:lnTo>
                    <a:pt x="29" y="144"/>
                  </a:lnTo>
                  <a:lnTo>
                    <a:pt x="27" y="152"/>
                  </a:lnTo>
                  <a:lnTo>
                    <a:pt x="27" y="152"/>
                  </a:lnTo>
                  <a:lnTo>
                    <a:pt x="24" y="161"/>
                  </a:lnTo>
                  <a:lnTo>
                    <a:pt x="22" y="167"/>
                  </a:lnTo>
                  <a:lnTo>
                    <a:pt x="24" y="171"/>
                  </a:lnTo>
                  <a:lnTo>
                    <a:pt x="24" y="171"/>
                  </a:lnTo>
                  <a:lnTo>
                    <a:pt x="28" y="180"/>
                  </a:lnTo>
                  <a:lnTo>
                    <a:pt x="31" y="189"/>
                  </a:lnTo>
                  <a:lnTo>
                    <a:pt x="31" y="189"/>
                  </a:lnTo>
                  <a:lnTo>
                    <a:pt x="35" y="200"/>
                  </a:lnTo>
                  <a:lnTo>
                    <a:pt x="37" y="207"/>
                  </a:lnTo>
                  <a:lnTo>
                    <a:pt x="37" y="209"/>
                  </a:lnTo>
                  <a:lnTo>
                    <a:pt x="34" y="209"/>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69" name="Freeform 1297"/>
            <p:cNvSpPr>
              <a:spLocks/>
            </p:cNvSpPr>
            <p:nvPr/>
          </p:nvSpPr>
          <p:spPr bwMode="auto">
            <a:xfrm>
              <a:off x="7920039" y="3113516"/>
              <a:ext cx="85725" cy="333375"/>
            </a:xfrm>
            <a:custGeom>
              <a:avLst/>
              <a:gdLst>
                <a:gd name="T0" fmla="*/ 34 w 54"/>
                <a:gd name="T1" fmla="*/ 209 h 210"/>
                <a:gd name="T2" fmla="*/ 25 w 54"/>
                <a:gd name="T3" fmla="*/ 203 h 210"/>
                <a:gd name="T4" fmla="*/ 19 w 54"/>
                <a:gd name="T5" fmla="*/ 199 h 210"/>
                <a:gd name="T6" fmla="*/ 16 w 54"/>
                <a:gd name="T7" fmla="*/ 206 h 210"/>
                <a:gd name="T8" fmla="*/ 12 w 54"/>
                <a:gd name="T9" fmla="*/ 210 h 210"/>
                <a:gd name="T10" fmla="*/ 11 w 54"/>
                <a:gd name="T11" fmla="*/ 210 h 210"/>
                <a:gd name="T12" fmla="*/ 9 w 54"/>
                <a:gd name="T13" fmla="*/ 203 h 210"/>
                <a:gd name="T14" fmla="*/ 12 w 54"/>
                <a:gd name="T15" fmla="*/ 167 h 210"/>
                <a:gd name="T16" fmla="*/ 9 w 54"/>
                <a:gd name="T17" fmla="*/ 151 h 210"/>
                <a:gd name="T18" fmla="*/ 9 w 54"/>
                <a:gd name="T19" fmla="*/ 134 h 210"/>
                <a:gd name="T20" fmla="*/ 11 w 54"/>
                <a:gd name="T21" fmla="*/ 116 h 210"/>
                <a:gd name="T22" fmla="*/ 12 w 54"/>
                <a:gd name="T23" fmla="*/ 99 h 210"/>
                <a:gd name="T24" fmla="*/ 12 w 54"/>
                <a:gd name="T25" fmla="*/ 86 h 210"/>
                <a:gd name="T26" fmla="*/ 12 w 54"/>
                <a:gd name="T27" fmla="*/ 83 h 210"/>
                <a:gd name="T28" fmla="*/ 9 w 54"/>
                <a:gd name="T29" fmla="*/ 71 h 210"/>
                <a:gd name="T30" fmla="*/ 8 w 54"/>
                <a:gd name="T31" fmla="*/ 57 h 210"/>
                <a:gd name="T32" fmla="*/ 3 w 54"/>
                <a:gd name="T33" fmla="*/ 44 h 210"/>
                <a:gd name="T34" fmla="*/ 3 w 54"/>
                <a:gd name="T35" fmla="*/ 39 h 210"/>
                <a:gd name="T36" fmla="*/ 2 w 54"/>
                <a:gd name="T37" fmla="*/ 29 h 210"/>
                <a:gd name="T38" fmla="*/ 2 w 54"/>
                <a:gd name="T39" fmla="*/ 23 h 210"/>
                <a:gd name="T40" fmla="*/ 3 w 54"/>
                <a:gd name="T41" fmla="*/ 22 h 210"/>
                <a:gd name="T42" fmla="*/ 12 w 54"/>
                <a:gd name="T43" fmla="*/ 18 h 210"/>
                <a:gd name="T44" fmla="*/ 14 w 54"/>
                <a:gd name="T45" fmla="*/ 15 h 210"/>
                <a:gd name="T46" fmla="*/ 6 w 54"/>
                <a:gd name="T47" fmla="*/ 8 h 210"/>
                <a:gd name="T48" fmla="*/ 3 w 54"/>
                <a:gd name="T49" fmla="*/ 3 h 210"/>
                <a:gd name="T50" fmla="*/ 5 w 54"/>
                <a:gd name="T51" fmla="*/ 2 h 210"/>
                <a:gd name="T52" fmla="*/ 15 w 54"/>
                <a:gd name="T53" fmla="*/ 2 h 210"/>
                <a:gd name="T54" fmla="*/ 21 w 54"/>
                <a:gd name="T55" fmla="*/ 3 h 210"/>
                <a:gd name="T56" fmla="*/ 21 w 54"/>
                <a:gd name="T57" fmla="*/ 5 h 210"/>
                <a:gd name="T58" fmla="*/ 21 w 54"/>
                <a:gd name="T59" fmla="*/ 13 h 210"/>
                <a:gd name="T60" fmla="*/ 21 w 54"/>
                <a:gd name="T61" fmla="*/ 16 h 210"/>
                <a:gd name="T62" fmla="*/ 25 w 54"/>
                <a:gd name="T63" fmla="*/ 39 h 210"/>
                <a:gd name="T64" fmla="*/ 25 w 54"/>
                <a:gd name="T65" fmla="*/ 47 h 210"/>
                <a:gd name="T66" fmla="*/ 27 w 54"/>
                <a:gd name="T67" fmla="*/ 54 h 210"/>
                <a:gd name="T68" fmla="*/ 29 w 54"/>
                <a:gd name="T69" fmla="*/ 58 h 210"/>
                <a:gd name="T70" fmla="*/ 34 w 54"/>
                <a:gd name="T71" fmla="*/ 76 h 210"/>
                <a:gd name="T72" fmla="*/ 37 w 54"/>
                <a:gd name="T73" fmla="*/ 93 h 210"/>
                <a:gd name="T74" fmla="*/ 42 w 54"/>
                <a:gd name="T75" fmla="*/ 100 h 210"/>
                <a:gd name="T76" fmla="*/ 45 w 54"/>
                <a:gd name="T77" fmla="*/ 109 h 210"/>
                <a:gd name="T78" fmla="*/ 47 w 54"/>
                <a:gd name="T79" fmla="*/ 123 h 210"/>
                <a:gd name="T80" fmla="*/ 48 w 54"/>
                <a:gd name="T81" fmla="*/ 136 h 210"/>
                <a:gd name="T82" fmla="*/ 54 w 54"/>
                <a:gd name="T83" fmla="*/ 148 h 210"/>
                <a:gd name="T84" fmla="*/ 53 w 54"/>
                <a:gd name="T85" fmla="*/ 148 h 210"/>
                <a:gd name="T86" fmla="*/ 42 w 54"/>
                <a:gd name="T87" fmla="*/ 142 h 210"/>
                <a:gd name="T88" fmla="*/ 32 w 54"/>
                <a:gd name="T89" fmla="*/ 136 h 210"/>
                <a:gd name="T90" fmla="*/ 31 w 54"/>
                <a:gd name="T91" fmla="*/ 139 h 210"/>
                <a:gd name="T92" fmla="*/ 27 w 54"/>
                <a:gd name="T93" fmla="*/ 152 h 210"/>
                <a:gd name="T94" fmla="*/ 24 w 54"/>
                <a:gd name="T95" fmla="*/ 161 h 210"/>
                <a:gd name="T96" fmla="*/ 24 w 54"/>
                <a:gd name="T97" fmla="*/ 171 h 210"/>
                <a:gd name="T98" fmla="*/ 28 w 54"/>
                <a:gd name="T99" fmla="*/ 180 h 210"/>
                <a:gd name="T100" fmla="*/ 31 w 54"/>
                <a:gd name="T101" fmla="*/ 189 h 210"/>
                <a:gd name="T102" fmla="*/ 37 w 54"/>
                <a:gd name="T103" fmla="*/ 207 h 210"/>
                <a:gd name="T104" fmla="*/ 34 w 54"/>
                <a:gd name="T105" fmla="*/ 20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 h="210">
                  <a:moveTo>
                    <a:pt x="34" y="209"/>
                  </a:moveTo>
                  <a:lnTo>
                    <a:pt x="34" y="209"/>
                  </a:lnTo>
                  <a:lnTo>
                    <a:pt x="29" y="206"/>
                  </a:lnTo>
                  <a:lnTo>
                    <a:pt x="25" y="203"/>
                  </a:lnTo>
                  <a:lnTo>
                    <a:pt x="22" y="200"/>
                  </a:lnTo>
                  <a:lnTo>
                    <a:pt x="19" y="199"/>
                  </a:lnTo>
                  <a:lnTo>
                    <a:pt x="19" y="199"/>
                  </a:lnTo>
                  <a:lnTo>
                    <a:pt x="16" y="206"/>
                  </a:lnTo>
                  <a:lnTo>
                    <a:pt x="14" y="210"/>
                  </a:lnTo>
                  <a:lnTo>
                    <a:pt x="12" y="210"/>
                  </a:lnTo>
                  <a:lnTo>
                    <a:pt x="11" y="210"/>
                  </a:lnTo>
                  <a:lnTo>
                    <a:pt x="11" y="210"/>
                  </a:lnTo>
                  <a:lnTo>
                    <a:pt x="9" y="209"/>
                  </a:lnTo>
                  <a:lnTo>
                    <a:pt x="9" y="203"/>
                  </a:lnTo>
                  <a:lnTo>
                    <a:pt x="9" y="190"/>
                  </a:lnTo>
                  <a:lnTo>
                    <a:pt x="12" y="167"/>
                  </a:lnTo>
                  <a:lnTo>
                    <a:pt x="12" y="167"/>
                  </a:lnTo>
                  <a:lnTo>
                    <a:pt x="9" y="151"/>
                  </a:lnTo>
                  <a:lnTo>
                    <a:pt x="9" y="141"/>
                  </a:lnTo>
                  <a:lnTo>
                    <a:pt x="9" y="134"/>
                  </a:lnTo>
                  <a:lnTo>
                    <a:pt x="9" y="134"/>
                  </a:lnTo>
                  <a:lnTo>
                    <a:pt x="11" y="116"/>
                  </a:lnTo>
                  <a:lnTo>
                    <a:pt x="12" y="99"/>
                  </a:lnTo>
                  <a:lnTo>
                    <a:pt x="12" y="99"/>
                  </a:lnTo>
                  <a:lnTo>
                    <a:pt x="14" y="90"/>
                  </a:lnTo>
                  <a:lnTo>
                    <a:pt x="12" y="86"/>
                  </a:lnTo>
                  <a:lnTo>
                    <a:pt x="12" y="83"/>
                  </a:lnTo>
                  <a:lnTo>
                    <a:pt x="12" y="83"/>
                  </a:lnTo>
                  <a:lnTo>
                    <a:pt x="11" y="79"/>
                  </a:lnTo>
                  <a:lnTo>
                    <a:pt x="9" y="71"/>
                  </a:lnTo>
                  <a:lnTo>
                    <a:pt x="8" y="57"/>
                  </a:lnTo>
                  <a:lnTo>
                    <a:pt x="8" y="57"/>
                  </a:lnTo>
                  <a:lnTo>
                    <a:pt x="5" y="47"/>
                  </a:lnTo>
                  <a:lnTo>
                    <a:pt x="3" y="44"/>
                  </a:lnTo>
                  <a:lnTo>
                    <a:pt x="3" y="39"/>
                  </a:lnTo>
                  <a:lnTo>
                    <a:pt x="3" y="39"/>
                  </a:lnTo>
                  <a:lnTo>
                    <a:pt x="2" y="34"/>
                  </a:lnTo>
                  <a:lnTo>
                    <a:pt x="2" y="29"/>
                  </a:lnTo>
                  <a:lnTo>
                    <a:pt x="0" y="25"/>
                  </a:lnTo>
                  <a:lnTo>
                    <a:pt x="2" y="23"/>
                  </a:lnTo>
                  <a:lnTo>
                    <a:pt x="3" y="22"/>
                  </a:lnTo>
                  <a:lnTo>
                    <a:pt x="3" y="22"/>
                  </a:lnTo>
                  <a:lnTo>
                    <a:pt x="11" y="19"/>
                  </a:lnTo>
                  <a:lnTo>
                    <a:pt x="12" y="18"/>
                  </a:lnTo>
                  <a:lnTo>
                    <a:pt x="14" y="15"/>
                  </a:lnTo>
                  <a:lnTo>
                    <a:pt x="14" y="15"/>
                  </a:lnTo>
                  <a:lnTo>
                    <a:pt x="11" y="12"/>
                  </a:lnTo>
                  <a:lnTo>
                    <a:pt x="6" y="8"/>
                  </a:lnTo>
                  <a:lnTo>
                    <a:pt x="3" y="3"/>
                  </a:lnTo>
                  <a:lnTo>
                    <a:pt x="3" y="3"/>
                  </a:lnTo>
                  <a:lnTo>
                    <a:pt x="5" y="2"/>
                  </a:lnTo>
                  <a:lnTo>
                    <a:pt x="5" y="2"/>
                  </a:lnTo>
                  <a:lnTo>
                    <a:pt x="9" y="0"/>
                  </a:lnTo>
                  <a:lnTo>
                    <a:pt x="15" y="2"/>
                  </a:lnTo>
                  <a:lnTo>
                    <a:pt x="19" y="3"/>
                  </a:lnTo>
                  <a:lnTo>
                    <a:pt x="21" y="3"/>
                  </a:lnTo>
                  <a:lnTo>
                    <a:pt x="21" y="5"/>
                  </a:lnTo>
                  <a:lnTo>
                    <a:pt x="21" y="5"/>
                  </a:lnTo>
                  <a:lnTo>
                    <a:pt x="21" y="10"/>
                  </a:lnTo>
                  <a:lnTo>
                    <a:pt x="21" y="13"/>
                  </a:lnTo>
                  <a:lnTo>
                    <a:pt x="21" y="16"/>
                  </a:lnTo>
                  <a:lnTo>
                    <a:pt x="21" y="16"/>
                  </a:lnTo>
                  <a:lnTo>
                    <a:pt x="24" y="31"/>
                  </a:lnTo>
                  <a:lnTo>
                    <a:pt x="25" y="39"/>
                  </a:lnTo>
                  <a:lnTo>
                    <a:pt x="25" y="47"/>
                  </a:lnTo>
                  <a:lnTo>
                    <a:pt x="25" y="47"/>
                  </a:lnTo>
                  <a:lnTo>
                    <a:pt x="25" y="51"/>
                  </a:lnTo>
                  <a:lnTo>
                    <a:pt x="27" y="54"/>
                  </a:lnTo>
                  <a:lnTo>
                    <a:pt x="29" y="58"/>
                  </a:lnTo>
                  <a:lnTo>
                    <a:pt x="29" y="58"/>
                  </a:lnTo>
                  <a:lnTo>
                    <a:pt x="32" y="65"/>
                  </a:lnTo>
                  <a:lnTo>
                    <a:pt x="34" y="76"/>
                  </a:lnTo>
                  <a:lnTo>
                    <a:pt x="35" y="86"/>
                  </a:lnTo>
                  <a:lnTo>
                    <a:pt x="37" y="93"/>
                  </a:lnTo>
                  <a:lnTo>
                    <a:pt x="37" y="93"/>
                  </a:lnTo>
                  <a:lnTo>
                    <a:pt x="42" y="100"/>
                  </a:lnTo>
                  <a:lnTo>
                    <a:pt x="45" y="105"/>
                  </a:lnTo>
                  <a:lnTo>
                    <a:pt x="45" y="109"/>
                  </a:lnTo>
                  <a:lnTo>
                    <a:pt x="45" y="109"/>
                  </a:lnTo>
                  <a:lnTo>
                    <a:pt x="47" y="123"/>
                  </a:lnTo>
                  <a:lnTo>
                    <a:pt x="48" y="136"/>
                  </a:lnTo>
                  <a:lnTo>
                    <a:pt x="48" y="136"/>
                  </a:lnTo>
                  <a:lnTo>
                    <a:pt x="53" y="145"/>
                  </a:lnTo>
                  <a:lnTo>
                    <a:pt x="54" y="148"/>
                  </a:lnTo>
                  <a:lnTo>
                    <a:pt x="53" y="148"/>
                  </a:lnTo>
                  <a:lnTo>
                    <a:pt x="53" y="148"/>
                  </a:lnTo>
                  <a:lnTo>
                    <a:pt x="53" y="148"/>
                  </a:lnTo>
                  <a:lnTo>
                    <a:pt x="42" y="142"/>
                  </a:lnTo>
                  <a:lnTo>
                    <a:pt x="37" y="138"/>
                  </a:lnTo>
                  <a:lnTo>
                    <a:pt x="32" y="136"/>
                  </a:lnTo>
                  <a:lnTo>
                    <a:pt x="32" y="136"/>
                  </a:lnTo>
                  <a:lnTo>
                    <a:pt x="31" y="139"/>
                  </a:lnTo>
                  <a:lnTo>
                    <a:pt x="29" y="144"/>
                  </a:lnTo>
                  <a:lnTo>
                    <a:pt x="27" y="152"/>
                  </a:lnTo>
                  <a:lnTo>
                    <a:pt x="27" y="152"/>
                  </a:lnTo>
                  <a:lnTo>
                    <a:pt x="24" y="161"/>
                  </a:lnTo>
                  <a:lnTo>
                    <a:pt x="22" y="167"/>
                  </a:lnTo>
                  <a:lnTo>
                    <a:pt x="24" y="171"/>
                  </a:lnTo>
                  <a:lnTo>
                    <a:pt x="24" y="171"/>
                  </a:lnTo>
                  <a:lnTo>
                    <a:pt x="28" y="180"/>
                  </a:lnTo>
                  <a:lnTo>
                    <a:pt x="31" y="189"/>
                  </a:lnTo>
                  <a:lnTo>
                    <a:pt x="31" y="189"/>
                  </a:lnTo>
                  <a:lnTo>
                    <a:pt x="35" y="200"/>
                  </a:lnTo>
                  <a:lnTo>
                    <a:pt x="37" y="207"/>
                  </a:lnTo>
                  <a:lnTo>
                    <a:pt x="37" y="209"/>
                  </a:lnTo>
                  <a:lnTo>
                    <a:pt x="34" y="20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70" name="Freeform 1317"/>
            <p:cNvSpPr>
              <a:spLocks noEditPoints="1"/>
            </p:cNvSpPr>
            <p:nvPr/>
          </p:nvSpPr>
          <p:spPr bwMode="auto">
            <a:xfrm>
              <a:off x="4806951" y="3569129"/>
              <a:ext cx="104775" cy="103188"/>
            </a:xfrm>
            <a:custGeom>
              <a:avLst/>
              <a:gdLst>
                <a:gd name="T0" fmla="*/ 22 w 66"/>
                <a:gd name="T1" fmla="*/ 13 h 65"/>
                <a:gd name="T2" fmla="*/ 22 w 66"/>
                <a:gd name="T3" fmla="*/ 13 h 65"/>
                <a:gd name="T4" fmla="*/ 22 w 66"/>
                <a:gd name="T5" fmla="*/ 13 h 65"/>
                <a:gd name="T6" fmla="*/ 22 w 66"/>
                <a:gd name="T7" fmla="*/ 13 h 65"/>
                <a:gd name="T8" fmla="*/ 22 w 66"/>
                <a:gd name="T9" fmla="*/ 13 h 65"/>
                <a:gd name="T10" fmla="*/ 22 w 66"/>
                <a:gd name="T11" fmla="*/ 13 h 65"/>
                <a:gd name="T12" fmla="*/ 22 w 66"/>
                <a:gd name="T13" fmla="*/ 13 h 65"/>
                <a:gd name="T14" fmla="*/ 22 w 66"/>
                <a:gd name="T15" fmla="*/ 13 h 65"/>
                <a:gd name="T16" fmla="*/ 22 w 66"/>
                <a:gd name="T17" fmla="*/ 13 h 65"/>
                <a:gd name="T18" fmla="*/ 22 w 66"/>
                <a:gd name="T19" fmla="*/ 13 h 65"/>
                <a:gd name="T20" fmla="*/ 3 w 66"/>
                <a:gd name="T21" fmla="*/ 3 h 65"/>
                <a:gd name="T22" fmla="*/ 3 w 66"/>
                <a:gd name="T23" fmla="*/ 3 h 65"/>
                <a:gd name="T24" fmla="*/ 0 w 66"/>
                <a:gd name="T25" fmla="*/ 15 h 65"/>
                <a:gd name="T26" fmla="*/ 0 w 66"/>
                <a:gd name="T27" fmla="*/ 15 h 65"/>
                <a:gd name="T28" fmla="*/ 2 w 66"/>
                <a:gd name="T29" fmla="*/ 16 h 65"/>
                <a:gd name="T30" fmla="*/ 3 w 66"/>
                <a:gd name="T31" fmla="*/ 20 h 65"/>
                <a:gd name="T32" fmla="*/ 3 w 66"/>
                <a:gd name="T33" fmla="*/ 20 h 65"/>
                <a:gd name="T34" fmla="*/ 3 w 66"/>
                <a:gd name="T35" fmla="*/ 26 h 65"/>
                <a:gd name="T36" fmla="*/ 3 w 66"/>
                <a:gd name="T37" fmla="*/ 35 h 65"/>
                <a:gd name="T38" fmla="*/ 3 w 66"/>
                <a:gd name="T39" fmla="*/ 44 h 65"/>
                <a:gd name="T40" fmla="*/ 5 w 66"/>
                <a:gd name="T41" fmla="*/ 54 h 65"/>
                <a:gd name="T42" fmla="*/ 5 w 66"/>
                <a:gd name="T43" fmla="*/ 54 h 65"/>
                <a:gd name="T44" fmla="*/ 6 w 66"/>
                <a:gd name="T45" fmla="*/ 58 h 65"/>
                <a:gd name="T46" fmla="*/ 8 w 66"/>
                <a:gd name="T47" fmla="*/ 61 h 65"/>
                <a:gd name="T48" fmla="*/ 11 w 66"/>
                <a:gd name="T49" fmla="*/ 65 h 65"/>
                <a:gd name="T50" fmla="*/ 11 w 66"/>
                <a:gd name="T51" fmla="*/ 65 h 65"/>
                <a:gd name="T52" fmla="*/ 21 w 66"/>
                <a:gd name="T53" fmla="*/ 58 h 65"/>
                <a:gd name="T54" fmla="*/ 24 w 66"/>
                <a:gd name="T55" fmla="*/ 54 h 65"/>
                <a:gd name="T56" fmla="*/ 25 w 66"/>
                <a:gd name="T57" fmla="*/ 52 h 65"/>
                <a:gd name="T58" fmla="*/ 25 w 66"/>
                <a:gd name="T59" fmla="*/ 52 h 65"/>
                <a:gd name="T60" fmla="*/ 25 w 66"/>
                <a:gd name="T61" fmla="*/ 46 h 65"/>
                <a:gd name="T62" fmla="*/ 25 w 66"/>
                <a:gd name="T63" fmla="*/ 38 h 65"/>
                <a:gd name="T64" fmla="*/ 24 w 66"/>
                <a:gd name="T65" fmla="*/ 23 h 65"/>
                <a:gd name="T66" fmla="*/ 24 w 66"/>
                <a:gd name="T67" fmla="*/ 23 h 65"/>
                <a:gd name="T68" fmla="*/ 25 w 66"/>
                <a:gd name="T69" fmla="*/ 38 h 65"/>
                <a:gd name="T70" fmla="*/ 25 w 66"/>
                <a:gd name="T71" fmla="*/ 38 h 65"/>
                <a:gd name="T72" fmla="*/ 55 w 66"/>
                <a:gd name="T73" fmla="*/ 36 h 65"/>
                <a:gd name="T74" fmla="*/ 55 w 66"/>
                <a:gd name="T75" fmla="*/ 36 h 65"/>
                <a:gd name="T76" fmla="*/ 60 w 66"/>
                <a:gd name="T77" fmla="*/ 35 h 65"/>
                <a:gd name="T78" fmla="*/ 66 w 66"/>
                <a:gd name="T79" fmla="*/ 32 h 65"/>
                <a:gd name="T80" fmla="*/ 66 w 66"/>
                <a:gd name="T81" fmla="*/ 32 h 65"/>
                <a:gd name="T82" fmla="*/ 58 w 66"/>
                <a:gd name="T83" fmla="*/ 17 h 65"/>
                <a:gd name="T84" fmla="*/ 53 w 66"/>
                <a:gd name="T85" fmla="*/ 4 h 65"/>
                <a:gd name="T86" fmla="*/ 53 w 66"/>
                <a:gd name="T87" fmla="*/ 4 h 65"/>
                <a:gd name="T88" fmla="*/ 38 w 66"/>
                <a:gd name="T89" fmla="*/ 6 h 65"/>
                <a:gd name="T90" fmla="*/ 38 w 66"/>
                <a:gd name="T91" fmla="*/ 6 h 65"/>
                <a:gd name="T92" fmla="*/ 22 w 66"/>
                <a:gd name="T93" fmla="*/ 13 h 65"/>
                <a:gd name="T94" fmla="*/ 22 w 66"/>
                <a:gd name="T95" fmla="*/ 13 h 65"/>
                <a:gd name="T96" fmla="*/ 19 w 66"/>
                <a:gd name="T97" fmla="*/ 4 h 65"/>
                <a:gd name="T98" fmla="*/ 18 w 66"/>
                <a:gd name="T99" fmla="*/ 2 h 65"/>
                <a:gd name="T100" fmla="*/ 15 w 66"/>
                <a:gd name="T101" fmla="*/ 0 h 65"/>
                <a:gd name="T102" fmla="*/ 15 w 66"/>
                <a:gd name="T103" fmla="*/ 0 h 65"/>
                <a:gd name="T104" fmla="*/ 11 w 66"/>
                <a:gd name="T105" fmla="*/ 0 h 65"/>
                <a:gd name="T106" fmla="*/ 11 w 66"/>
                <a:gd name="T107" fmla="*/ 0 h 65"/>
                <a:gd name="T108" fmla="*/ 5 w 66"/>
                <a:gd name="T109" fmla="*/ 0 h 65"/>
                <a:gd name="T110" fmla="*/ 3 w 66"/>
                <a:gd name="T111" fmla="*/ 2 h 65"/>
                <a:gd name="T112" fmla="*/ 2 w 66"/>
                <a:gd name="T113" fmla="*/ 4 h 65"/>
                <a:gd name="T114" fmla="*/ 3 w 66"/>
                <a:gd name="T115"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6" h="65">
                  <a:moveTo>
                    <a:pt x="22" y="13"/>
                  </a:moveTo>
                  <a:lnTo>
                    <a:pt x="22" y="13"/>
                  </a:lnTo>
                  <a:lnTo>
                    <a:pt x="22" y="13"/>
                  </a:lnTo>
                  <a:lnTo>
                    <a:pt x="22" y="13"/>
                  </a:lnTo>
                  <a:close/>
                  <a:moveTo>
                    <a:pt x="22" y="13"/>
                  </a:moveTo>
                  <a:lnTo>
                    <a:pt x="22" y="13"/>
                  </a:lnTo>
                  <a:lnTo>
                    <a:pt x="22" y="13"/>
                  </a:lnTo>
                  <a:lnTo>
                    <a:pt x="22" y="13"/>
                  </a:lnTo>
                  <a:lnTo>
                    <a:pt x="22" y="13"/>
                  </a:lnTo>
                  <a:lnTo>
                    <a:pt x="22" y="13"/>
                  </a:lnTo>
                  <a:close/>
                  <a:moveTo>
                    <a:pt x="3" y="3"/>
                  </a:moveTo>
                  <a:lnTo>
                    <a:pt x="3" y="3"/>
                  </a:lnTo>
                  <a:lnTo>
                    <a:pt x="0" y="15"/>
                  </a:lnTo>
                  <a:lnTo>
                    <a:pt x="0" y="15"/>
                  </a:lnTo>
                  <a:lnTo>
                    <a:pt x="2" y="16"/>
                  </a:lnTo>
                  <a:lnTo>
                    <a:pt x="3" y="20"/>
                  </a:lnTo>
                  <a:lnTo>
                    <a:pt x="3" y="20"/>
                  </a:lnTo>
                  <a:lnTo>
                    <a:pt x="3" y="26"/>
                  </a:lnTo>
                  <a:lnTo>
                    <a:pt x="3" y="35"/>
                  </a:lnTo>
                  <a:lnTo>
                    <a:pt x="3" y="44"/>
                  </a:lnTo>
                  <a:lnTo>
                    <a:pt x="5" y="54"/>
                  </a:lnTo>
                  <a:lnTo>
                    <a:pt x="5" y="54"/>
                  </a:lnTo>
                  <a:lnTo>
                    <a:pt x="6" y="58"/>
                  </a:lnTo>
                  <a:lnTo>
                    <a:pt x="8" y="61"/>
                  </a:lnTo>
                  <a:lnTo>
                    <a:pt x="11" y="65"/>
                  </a:lnTo>
                  <a:lnTo>
                    <a:pt x="11" y="65"/>
                  </a:lnTo>
                  <a:lnTo>
                    <a:pt x="21" y="58"/>
                  </a:lnTo>
                  <a:lnTo>
                    <a:pt x="24" y="54"/>
                  </a:lnTo>
                  <a:lnTo>
                    <a:pt x="25" y="52"/>
                  </a:lnTo>
                  <a:lnTo>
                    <a:pt x="25" y="52"/>
                  </a:lnTo>
                  <a:lnTo>
                    <a:pt x="25" y="46"/>
                  </a:lnTo>
                  <a:lnTo>
                    <a:pt x="25" y="38"/>
                  </a:lnTo>
                  <a:lnTo>
                    <a:pt x="24" y="23"/>
                  </a:lnTo>
                  <a:lnTo>
                    <a:pt x="24" y="23"/>
                  </a:lnTo>
                  <a:lnTo>
                    <a:pt x="25" y="38"/>
                  </a:lnTo>
                  <a:lnTo>
                    <a:pt x="25" y="38"/>
                  </a:lnTo>
                  <a:lnTo>
                    <a:pt x="55" y="36"/>
                  </a:lnTo>
                  <a:lnTo>
                    <a:pt x="55" y="36"/>
                  </a:lnTo>
                  <a:lnTo>
                    <a:pt x="60" y="35"/>
                  </a:lnTo>
                  <a:lnTo>
                    <a:pt x="66" y="32"/>
                  </a:lnTo>
                  <a:lnTo>
                    <a:pt x="66" y="32"/>
                  </a:lnTo>
                  <a:lnTo>
                    <a:pt x="58" y="17"/>
                  </a:lnTo>
                  <a:lnTo>
                    <a:pt x="53" y="4"/>
                  </a:lnTo>
                  <a:lnTo>
                    <a:pt x="53" y="4"/>
                  </a:lnTo>
                  <a:lnTo>
                    <a:pt x="38" y="6"/>
                  </a:lnTo>
                  <a:lnTo>
                    <a:pt x="38" y="6"/>
                  </a:lnTo>
                  <a:lnTo>
                    <a:pt x="22" y="13"/>
                  </a:lnTo>
                  <a:lnTo>
                    <a:pt x="22" y="13"/>
                  </a:lnTo>
                  <a:lnTo>
                    <a:pt x="19" y="4"/>
                  </a:lnTo>
                  <a:lnTo>
                    <a:pt x="18" y="2"/>
                  </a:lnTo>
                  <a:lnTo>
                    <a:pt x="15" y="0"/>
                  </a:lnTo>
                  <a:lnTo>
                    <a:pt x="15" y="0"/>
                  </a:lnTo>
                  <a:lnTo>
                    <a:pt x="11" y="0"/>
                  </a:lnTo>
                  <a:lnTo>
                    <a:pt x="11" y="0"/>
                  </a:lnTo>
                  <a:lnTo>
                    <a:pt x="5" y="0"/>
                  </a:lnTo>
                  <a:lnTo>
                    <a:pt x="3" y="2"/>
                  </a:lnTo>
                  <a:lnTo>
                    <a:pt x="2" y="4"/>
                  </a:lnTo>
                  <a:lnTo>
                    <a:pt x="3" y="3"/>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71" name="Freeform 1318"/>
            <p:cNvSpPr>
              <a:spLocks/>
            </p:cNvSpPr>
            <p:nvPr/>
          </p:nvSpPr>
          <p:spPr bwMode="auto">
            <a:xfrm>
              <a:off x="4841876" y="3589766"/>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72" name="Freeform 1319"/>
            <p:cNvSpPr>
              <a:spLocks/>
            </p:cNvSpPr>
            <p:nvPr/>
          </p:nvSpPr>
          <p:spPr bwMode="auto">
            <a:xfrm>
              <a:off x="4841876" y="358976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73" name="Freeform 1320"/>
            <p:cNvSpPr>
              <a:spLocks/>
            </p:cNvSpPr>
            <p:nvPr/>
          </p:nvSpPr>
          <p:spPr bwMode="auto">
            <a:xfrm>
              <a:off x="4806951" y="3569129"/>
              <a:ext cx="104775" cy="103188"/>
            </a:xfrm>
            <a:custGeom>
              <a:avLst/>
              <a:gdLst>
                <a:gd name="T0" fmla="*/ 3 w 66"/>
                <a:gd name="T1" fmla="*/ 3 h 65"/>
                <a:gd name="T2" fmla="*/ 3 w 66"/>
                <a:gd name="T3" fmla="*/ 3 h 65"/>
                <a:gd name="T4" fmla="*/ 0 w 66"/>
                <a:gd name="T5" fmla="*/ 15 h 65"/>
                <a:gd name="T6" fmla="*/ 0 w 66"/>
                <a:gd name="T7" fmla="*/ 15 h 65"/>
                <a:gd name="T8" fmla="*/ 2 w 66"/>
                <a:gd name="T9" fmla="*/ 16 h 65"/>
                <a:gd name="T10" fmla="*/ 3 w 66"/>
                <a:gd name="T11" fmla="*/ 20 h 65"/>
                <a:gd name="T12" fmla="*/ 3 w 66"/>
                <a:gd name="T13" fmla="*/ 20 h 65"/>
                <a:gd name="T14" fmla="*/ 3 w 66"/>
                <a:gd name="T15" fmla="*/ 26 h 65"/>
                <a:gd name="T16" fmla="*/ 3 w 66"/>
                <a:gd name="T17" fmla="*/ 35 h 65"/>
                <a:gd name="T18" fmla="*/ 3 w 66"/>
                <a:gd name="T19" fmla="*/ 44 h 65"/>
                <a:gd name="T20" fmla="*/ 5 w 66"/>
                <a:gd name="T21" fmla="*/ 54 h 65"/>
                <a:gd name="T22" fmla="*/ 5 w 66"/>
                <a:gd name="T23" fmla="*/ 54 h 65"/>
                <a:gd name="T24" fmla="*/ 6 w 66"/>
                <a:gd name="T25" fmla="*/ 58 h 65"/>
                <a:gd name="T26" fmla="*/ 8 w 66"/>
                <a:gd name="T27" fmla="*/ 61 h 65"/>
                <a:gd name="T28" fmla="*/ 11 w 66"/>
                <a:gd name="T29" fmla="*/ 65 h 65"/>
                <a:gd name="T30" fmla="*/ 11 w 66"/>
                <a:gd name="T31" fmla="*/ 65 h 65"/>
                <a:gd name="T32" fmla="*/ 21 w 66"/>
                <a:gd name="T33" fmla="*/ 58 h 65"/>
                <a:gd name="T34" fmla="*/ 24 w 66"/>
                <a:gd name="T35" fmla="*/ 54 h 65"/>
                <a:gd name="T36" fmla="*/ 25 w 66"/>
                <a:gd name="T37" fmla="*/ 52 h 65"/>
                <a:gd name="T38" fmla="*/ 25 w 66"/>
                <a:gd name="T39" fmla="*/ 52 h 65"/>
                <a:gd name="T40" fmla="*/ 25 w 66"/>
                <a:gd name="T41" fmla="*/ 46 h 65"/>
                <a:gd name="T42" fmla="*/ 25 w 66"/>
                <a:gd name="T43" fmla="*/ 38 h 65"/>
                <a:gd name="T44" fmla="*/ 24 w 66"/>
                <a:gd name="T45" fmla="*/ 23 h 65"/>
                <a:gd name="T46" fmla="*/ 24 w 66"/>
                <a:gd name="T47" fmla="*/ 23 h 65"/>
                <a:gd name="T48" fmla="*/ 25 w 66"/>
                <a:gd name="T49" fmla="*/ 38 h 65"/>
                <a:gd name="T50" fmla="*/ 25 w 66"/>
                <a:gd name="T51" fmla="*/ 38 h 65"/>
                <a:gd name="T52" fmla="*/ 55 w 66"/>
                <a:gd name="T53" fmla="*/ 36 h 65"/>
                <a:gd name="T54" fmla="*/ 55 w 66"/>
                <a:gd name="T55" fmla="*/ 36 h 65"/>
                <a:gd name="T56" fmla="*/ 60 w 66"/>
                <a:gd name="T57" fmla="*/ 35 h 65"/>
                <a:gd name="T58" fmla="*/ 66 w 66"/>
                <a:gd name="T59" fmla="*/ 32 h 65"/>
                <a:gd name="T60" fmla="*/ 66 w 66"/>
                <a:gd name="T61" fmla="*/ 32 h 65"/>
                <a:gd name="T62" fmla="*/ 58 w 66"/>
                <a:gd name="T63" fmla="*/ 17 h 65"/>
                <a:gd name="T64" fmla="*/ 53 w 66"/>
                <a:gd name="T65" fmla="*/ 4 h 65"/>
                <a:gd name="T66" fmla="*/ 53 w 66"/>
                <a:gd name="T67" fmla="*/ 4 h 65"/>
                <a:gd name="T68" fmla="*/ 38 w 66"/>
                <a:gd name="T69" fmla="*/ 6 h 65"/>
                <a:gd name="T70" fmla="*/ 38 w 66"/>
                <a:gd name="T71" fmla="*/ 6 h 65"/>
                <a:gd name="T72" fmla="*/ 22 w 66"/>
                <a:gd name="T73" fmla="*/ 13 h 65"/>
                <a:gd name="T74" fmla="*/ 22 w 66"/>
                <a:gd name="T75" fmla="*/ 13 h 65"/>
                <a:gd name="T76" fmla="*/ 19 w 66"/>
                <a:gd name="T77" fmla="*/ 4 h 65"/>
                <a:gd name="T78" fmla="*/ 18 w 66"/>
                <a:gd name="T79" fmla="*/ 2 h 65"/>
                <a:gd name="T80" fmla="*/ 15 w 66"/>
                <a:gd name="T81" fmla="*/ 0 h 65"/>
                <a:gd name="T82" fmla="*/ 15 w 66"/>
                <a:gd name="T83" fmla="*/ 0 h 65"/>
                <a:gd name="T84" fmla="*/ 11 w 66"/>
                <a:gd name="T85" fmla="*/ 0 h 65"/>
                <a:gd name="T86" fmla="*/ 11 w 66"/>
                <a:gd name="T87" fmla="*/ 0 h 65"/>
                <a:gd name="T88" fmla="*/ 5 w 66"/>
                <a:gd name="T89" fmla="*/ 0 h 65"/>
                <a:gd name="T90" fmla="*/ 3 w 66"/>
                <a:gd name="T91" fmla="*/ 2 h 65"/>
                <a:gd name="T92" fmla="*/ 2 w 66"/>
                <a:gd name="T93"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6" h="65">
                  <a:moveTo>
                    <a:pt x="3" y="3"/>
                  </a:moveTo>
                  <a:lnTo>
                    <a:pt x="3" y="3"/>
                  </a:lnTo>
                  <a:lnTo>
                    <a:pt x="0" y="15"/>
                  </a:lnTo>
                  <a:lnTo>
                    <a:pt x="0" y="15"/>
                  </a:lnTo>
                  <a:lnTo>
                    <a:pt x="2" y="16"/>
                  </a:lnTo>
                  <a:lnTo>
                    <a:pt x="3" y="20"/>
                  </a:lnTo>
                  <a:lnTo>
                    <a:pt x="3" y="20"/>
                  </a:lnTo>
                  <a:lnTo>
                    <a:pt x="3" y="26"/>
                  </a:lnTo>
                  <a:lnTo>
                    <a:pt x="3" y="35"/>
                  </a:lnTo>
                  <a:lnTo>
                    <a:pt x="3" y="44"/>
                  </a:lnTo>
                  <a:lnTo>
                    <a:pt x="5" y="54"/>
                  </a:lnTo>
                  <a:lnTo>
                    <a:pt x="5" y="54"/>
                  </a:lnTo>
                  <a:lnTo>
                    <a:pt x="6" y="58"/>
                  </a:lnTo>
                  <a:lnTo>
                    <a:pt x="8" y="61"/>
                  </a:lnTo>
                  <a:lnTo>
                    <a:pt x="11" y="65"/>
                  </a:lnTo>
                  <a:lnTo>
                    <a:pt x="11" y="65"/>
                  </a:lnTo>
                  <a:lnTo>
                    <a:pt x="21" y="58"/>
                  </a:lnTo>
                  <a:lnTo>
                    <a:pt x="24" y="54"/>
                  </a:lnTo>
                  <a:lnTo>
                    <a:pt x="25" y="52"/>
                  </a:lnTo>
                  <a:lnTo>
                    <a:pt x="25" y="52"/>
                  </a:lnTo>
                  <a:lnTo>
                    <a:pt x="25" y="46"/>
                  </a:lnTo>
                  <a:lnTo>
                    <a:pt x="25" y="38"/>
                  </a:lnTo>
                  <a:lnTo>
                    <a:pt x="24" y="23"/>
                  </a:lnTo>
                  <a:lnTo>
                    <a:pt x="24" y="23"/>
                  </a:lnTo>
                  <a:lnTo>
                    <a:pt x="25" y="38"/>
                  </a:lnTo>
                  <a:lnTo>
                    <a:pt x="25" y="38"/>
                  </a:lnTo>
                  <a:lnTo>
                    <a:pt x="55" y="36"/>
                  </a:lnTo>
                  <a:lnTo>
                    <a:pt x="55" y="36"/>
                  </a:lnTo>
                  <a:lnTo>
                    <a:pt x="60" y="35"/>
                  </a:lnTo>
                  <a:lnTo>
                    <a:pt x="66" y="32"/>
                  </a:lnTo>
                  <a:lnTo>
                    <a:pt x="66" y="32"/>
                  </a:lnTo>
                  <a:lnTo>
                    <a:pt x="58" y="17"/>
                  </a:lnTo>
                  <a:lnTo>
                    <a:pt x="53" y="4"/>
                  </a:lnTo>
                  <a:lnTo>
                    <a:pt x="53" y="4"/>
                  </a:lnTo>
                  <a:lnTo>
                    <a:pt x="38" y="6"/>
                  </a:lnTo>
                  <a:lnTo>
                    <a:pt x="38" y="6"/>
                  </a:lnTo>
                  <a:lnTo>
                    <a:pt x="22" y="13"/>
                  </a:lnTo>
                  <a:lnTo>
                    <a:pt x="22" y="13"/>
                  </a:lnTo>
                  <a:lnTo>
                    <a:pt x="19" y="4"/>
                  </a:lnTo>
                  <a:lnTo>
                    <a:pt x="18" y="2"/>
                  </a:lnTo>
                  <a:lnTo>
                    <a:pt x="15" y="0"/>
                  </a:lnTo>
                  <a:lnTo>
                    <a:pt x="15" y="0"/>
                  </a:lnTo>
                  <a:lnTo>
                    <a:pt x="11" y="0"/>
                  </a:lnTo>
                  <a:lnTo>
                    <a:pt x="11" y="0"/>
                  </a:lnTo>
                  <a:lnTo>
                    <a:pt x="5" y="0"/>
                  </a:lnTo>
                  <a:lnTo>
                    <a:pt x="3"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74" name="Freeform 1326"/>
            <p:cNvSpPr>
              <a:spLocks/>
            </p:cNvSpPr>
            <p:nvPr/>
          </p:nvSpPr>
          <p:spPr bwMode="auto">
            <a:xfrm>
              <a:off x="9058276" y="5107416"/>
              <a:ext cx="17463" cy="6350"/>
            </a:xfrm>
            <a:custGeom>
              <a:avLst/>
              <a:gdLst>
                <a:gd name="T0" fmla="*/ 5 w 11"/>
                <a:gd name="T1" fmla="*/ 4 h 4"/>
                <a:gd name="T2" fmla="*/ 5 w 11"/>
                <a:gd name="T3" fmla="*/ 4 h 4"/>
                <a:gd name="T4" fmla="*/ 2 w 11"/>
                <a:gd name="T5" fmla="*/ 3 h 4"/>
                <a:gd name="T6" fmla="*/ 0 w 11"/>
                <a:gd name="T7" fmla="*/ 2 h 4"/>
                <a:gd name="T8" fmla="*/ 0 w 11"/>
                <a:gd name="T9" fmla="*/ 2 h 4"/>
                <a:gd name="T10" fmla="*/ 2 w 11"/>
                <a:gd name="T11" fmla="*/ 0 h 4"/>
                <a:gd name="T12" fmla="*/ 3 w 11"/>
                <a:gd name="T13" fmla="*/ 0 h 4"/>
                <a:gd name="T14" fmla="*/ 3 w 11"/>
                <a:gd name="T15" fmla="*/ 0 h 4"/>
                <a:gd name="T16" fmla="*/ 8 w 11"/>
                <a:gd name="T17" fmla="*/ 0 h 4"/>
                <a:gd name="T18" fmla="*/ 11 w 11"/>
                <a:gd name="T19" fmla="*/ 0 h 4"/>
                <a:gd name="T20" fmla="*/ 11 w 11"/>
                <a:gd name="T21" fmla="*/ 0 h 4"/>
                <a:gd name="T22" fmla="*/ 6 w 11"/>
                <a:gd name="T23" fmla="*/ 3 h 4"/>
                <a:gd name="T24" fmla="*/ 6 w 11"/>
                <a:gd name="T25" fmla="*/ 3 h 4"/>
                <a:gd name="T26" fmla="*/ 5 w 11"/>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4">
                  <a:moveTo>
                    <a:pt x="5" y="4"/>
                  </a:moveTo>
                  <a:lnTo>
                    <a:pt x="5" y="4"/>
                  </a:lnTo>
                  <a:lnTo>
                    <a:pt x="2" y="3"/>
                  </a:lnTo>
                  <a:lnTo>
                    <a:pt x="0" y="2"/>
                  </a:lnTo>
                  <a:lnTo>
                    <a:pt x="0" y="2"/>
                  </a:lnTo>
                  <a:lnTo>
                    <a:pt x="2" y="0"/>
                  </a:lnTo>
                  <a:lnTo>
                    <a:pt x="3" y="0"/>
                  </a:lnTo>
                  <a:lnTo>
                    <a:pt x="3" y="0"/>
                  </a:lnTo>
                  <a:lnTo>
                    <a:pt x="8" y="0"/>
                  </a:lnTo>
                  <a:lnTo>
                    <a:pt x="11" y="0"/>
                  </a:lnTo>
                  <a:lnTo>
                    <a:pt x="11" y="0"/>
                  </a:lnTo>
                  <a:lnTo>
                    <a:pt x="6" y="3"/>
                  </a:lnTo>
                  <a:lnTo>
                    <a:pt x="6" y="3"/>
                  </a:lnTo>
                  <a:lnTo>
                    <a:pt x="5" y="4"/>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75" name="Freeform 1327"/>
            <p:cNvSpPr>
              <a:spLocks/>
            </p:cNvSpPr>
            <p:nvPr/>
          </p:nvSpPr>
          <p:spPr bwMode="auto">
            <a:xfrm>
              <a:off x="9058276" y="5107416"/>
              <a:ext cx="17463" cy="6350"/>
            </a:xfrm>
            <a:custGeom>
              <a:avLst/>
              <a:gdLst>
                <a:gd name="T0" fmla="*/ 5 w 11"/>
                <a:gd name="T1" fmla="*/ 4 h 4"/>
                <a:gd name="T2" fmla="*/ 5 w 11"/>
                <a:gd name="T3" fmla="*/ 4 h 4"/>
                <a:gd name="T4" fmla="*/ 2 w 11"/>
                <a:gd name="T5" fmla="*/ 3 h 4"/>
                <a:gd name="T6" fmla="*/ 0 w 11"/>
                <a:gd name="T7" fmla="*/ 2 h 4"/>
                <a:gd name="T8" fmla="*/ 0 w 11"/>
                <a:gd name="T9" fmla="*/ 2 h 4"/>
                <a:gd name="T10" fmla="*/ 2 w 11"/>
                <a:gd name="T11" fmla="*/ 0 h 4"/>
                <a:gd name="T12" fmla="*/ 3 w 11"/>
                <a:gd name="T13" fmla="*/ 0 h 4"/>
                <a:gd name="T14" fmla="*/ 3 w 11"/>
                <a:gd name="T15" fmla="*/ 0 h 4"/>
                <a:gd name="T16" fmla="*/ 8 w 11"/>
                <a:gd name="T17" fmla="*/ 0 h 4"/>
                <a:gd name="T18" fmla="*/ 11 w 11"/>
                <a:gd name="T19" fmla="*/ 0 h 4"/>
                <a:gd name="T20" fmla="*/ 11 w 11"/>
                <a:gd name="T21" fmla="*/ 0 h 4"/>
                <a:gd name="T22" fmla="*/ 6 w 11"/>
                <a:gd name="T23" fmla="*/ 3 h 4"/>
                <a:gd name="T24" fmla="*/ 6 w 11"/>
                <a:gd name="T25" fmla="*/ 3 h 4"/>
                <a:gd name="T26" fmla="*/ 5 w 11"/>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4">
                  <a:moveTo>
                    <a:pt x="5" y="4"/>
                  </a:moveTo>
                  <a:lnTo>
                    <a:pt x="5" y="4"/>
                  </a:lnTo>
                  <a:lnTo>
                    <a:pt x="2" y="3"/>
                  </a:lnTo>
                  <a:lnTo>
                    <a:pt x="0" y="2"/>
                  </a:lnTo>
                  <a:lnTo>
                    <a:pt x="0" y="2"/>
                  </a:lnTo>
                  <a:lnTo>
                    <a:pt x="2" y="0"/>
                  </a:lnTo>
                  <a:lnTo>
                    <a:pt x="3" y="0"/>
                  </a:lnTo>
                  <a:lnTo>
                    <a:pt x="3" y="0"/>
                  </a:lnTo>
                  <a:lnTo>
                    <a:pt x="8" y="0"/>
                  </a:lnTo>
                  <a:lnTo>
                    <a:pt x="11" y="0"/>
                  </a:lnTo>
                  <a:lnTo>
                    <a:pt x="11" y="0"/>
                  </a:lnTo>
                  <a:lnTo>
                    <a:pt x="6" y="3"/>
                  </a:lnTo>
                  <a:lnTo>
                    <a:pt x="6" y="3"/>
                  </a:lnTo>
                  <a:lnTo>
                    <a:pt x="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76" name="Freeform 1370"/>
            <p:cNvSpPr>
              <a:spLocks/>
            </p:cNvSpPr>
            <p:nvPr/>
          </p:nvSpPr>
          <p:spPr bwMode="auto">
            <a:xfrm>
              <a:off x="2641601" y="3897741"/>
              <a:ext cx="9525" cy="11113"/>
            </a:xfrm>
            <a:custGeom>
              <a:avLst/>
              <a:gdLst>
                <a:gd name="T0" fmla="*/ 2 w 6"/>
                <a:gd name="T1" fmla="*/ 7 h 7"/>
                <a:gd name="T2" fmla="*/ 2 w 6"/>
                <a:gd name="T3" fmla="*/ 7 h 7"/>
                <a:gd name="T4" fmla="*/ 0 w 6"/>
                <a:gd name="T5" fmla="*/ 7 h 7"/>
                <a:gd name="T6" fmla="*/ 0 w 6"/>
                <a:gd name="T7" fmla="*/ 5 h 7"/>
                <a:gd name="T8" fmla="*/ 2 w 6"/>
                <a:gd name="T9" fmla="*/ 3 h 7"/>
                <a:gd name="T10" fmla="*/ 3 w 6"/>
                <a:gd name="T11" fmla="*/ 0 h 7"/>
                <a:gd name="T12" fmla="*/ 3 w 6"/>
                <a:gd name="T13" fmla="*/ 0 h 7"/>
                <a:gd name="T14" fmla="*/ 6 w 6"/>
                <a:gd name="T15" fmla="*/ 0 h 7"/>
                <a:gd name="T16" fmla="*/ 6 w 6"/>
                <a:gd name="T17" fmla="*/ 3 h 7"/>
                <a:gd name="T18" fmla="*/ 4 w 6"/>
                <a:gd name="T19" fmla="*/ 5 h 7"/>
                <a:gd name="T20" fmla="*/ 2 w 6"/>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7">
                  <a:moveTo>
                    <a:pt x="2" y="7"/>
                  </a:moveTo>
                  <a:lnTo>
                    <a:pt x="2" y="7"/>
                  </a:lnTo>
                  <a:lnTo>
                    <a:pt x="0" y="7"/>
                  </a:lnTo>
                  <a:lnTo>
                    <a:pt x="0" y="5"/>
                  </a:lnTo>
                  <a:lnTo>
                    <a:pt x="2" y="3"/>
                  </a:lnTo>
                  <a:lnTo>
                    <a:pt x="3" y="0"/>
                  </a:lnTo>
                  <a:lnTo>
                    <a:pt x="3" y="0"/>
                  </a:lnTo>
                  <a:lnTo>
                    <a:pt x="6" y="0"/>
                  </a:lnTo>
                  <a:lnTo>
                    <a:pt x="6" y="3"/>
                  </a:lnTo>
                  <a:lnTo>
                    <a:pt x="4" y="5"/>
                  </a:lnTo>
                  <a:lnTo>
                    <a:pt x="2" y="7"/>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77" name="Freeform 1371"/>
            <p:cNvSpPr>
              <a:spLocks/>
            </p:cNvSpPr>
            <p:nvPr/>
          </p:nvSpPr>
          <p:spPr bwMode="auto">
            <a:xfrm>
              <a:off x="2641601" y="3897741"/>
              <a:ext cx="9525" cy="11113"/>
            </a:xfrm>
            <a:custGeom>
              <a:avLst/>
              <a:gdLst>
                <a:gd name="T0" fmla="*/ 2 w 6"/>
                <a:gd name="T1" fmla="*/ 7 h 7"/>
                <a:gd name="T2" fmla="*/ 2 w 6"/>
                <a:gd name="T3" fmla="*/ 7 h 7"/>
                <a:gd name="T4" fmla="*/ 0 w 6"/>
                <a:gd name="T5" fmla="*/ 7 h 7"/>
                <a:gd name="T6" fmla="*/ 0 w 6"/>
                <a:gd name="T7" fmla="*/ 5 h 7"/>
                <a:gd name="T8" fmla="*/ 2 w 6"/>
                <a:gd name="T9" fmla="*/ 3 h 7"/>
                <a:gd name="T10" fmla="*/ 3 w 6"/>
                <a:gd name="T11" fmla="*/ 0 h 7"/>
                <a:gd name="T12" fmla="*/ 3 w 6"/>
                <a:gd name="T13" fmla="*/ 0 h 7"/>
                <a:gd name="T14" fmla="*/ 6 w 6"/>
                <a:gd name="T15" fmla="*/ 0 h 7"/>
                <a:gd name="T16" fmla="*/ 6 w 6"/>
                <a:gd name="T17" fmla="*/ 3 h 7"/>
                <a:gd name="T18" fmla="*/ 4 w 6"/>
                <a:gd name="T19" fmla="*/ 5 h 7"/>
                <a:gd name="T20" fmla="*/ 2 w 6"/>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7">
                  <a:moveTo>
                    <a:pt x="2" y="7"/>
                  </a:moveTo>
                  <a:lnTo>
                    <a:pt x="2" y="7"/>
                  </a:lnTo>
                  <a:lnTo>
                    <a:pt x="0" y="7"/>
                  </a:lnTo>
                  <a:lnTo>
                    <a:pt x="0" y="5"/>
                  </a:lnTo>
                  <a:lnTo>
                    <a:pt x="2" y="3"/>
                  </a:lnTo>
                  <a:lnTo>
                    <a:pt x="3" y="0"/>
                  </a:lnTo>
                  <a:lnTo>
                    <a:pt x="3" y="0"/>
                  </a:lnTo>
                  <a:lnTo>
                    <a:pt x="6" y="0"/>
                  </a:lnTo>
                  <a:lnTo>
                    <a:pt x="6" y="3"/>
                  </a:lnTo>
                  <a:lnTo>
                    <a:pt x="4" y="5"/>
                  </a:lnTo>
                  <a:lnTo>
                    <a:pt x="2"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78" name="Freeform 1449"/>
            <p:cNvSpPr>
              <a:spLocks/>
            </p:cNvSpPr>
            <p:nvPr/>
          </p:nvSpPr>
          <p:spPr bwMode="auto">
            <a:xfrm>
              <a:off x="7011988" y="1472042"/>
              <a:ext cx="25400" cy="11113"/>
            </a:xfrm>
            <a:custGeom>
              <a:avLst/>
              <a:gdLst>
                <a:gd name="T0" fmla="*/ 11 w 16"/>
                <a:gd name="T1" fmla="*/ 7 h 7"/>
                <a:gd name="T2" fmla="*/ 11 w 16"/>
                <a:gd name="T3" fmla="*/ 7 h 7"/>
                <a:gd name="T4" fmla="*/ 5 w 16"/>
                <a:gd name="T5" fmla="*/ 6 h 7"/>
                <a:gd name="T6" fmla="*/ 2 w 16"/>
                <a:gd name="T7" fmla="*/ 4 h 7"/>
                <a:gd name="T8" fmla="*/ 0 w 16"/>
                <a:gd name="T9" fmla="*/ 3 h 7"/>
                <a:gd name="T10" fmla="*/ 0 w 16"/>
                <a:gd name="T11" fmla="*/ 3 h 7"/>
                <a:gd name="T12" fmla="*/ 0 w 16"/>
                <a:gd name="T13" fmla="*/ 2 h 7"/>
                <a:gd name="T14" fmla="*/ 0 w 16"/>
                <a:gd name="T15" fmla="*/ 2 h 7"/>
                <a:gd name="T16" fmla="*/ 3 w 16"/>
                <a:gd name="T17" fmla="*/ 0 h 7"/>
                <a:gd name="T18" fmla="*/ 5 w 16"/>
                <a:gd name="T19" fmla="*/ 0 h 7"/>
                <a:gd name="T20" fmla="*/ 11 w 16"/>
                <a:gd name="T21" fmla="*/ 0 h 7"/>
                <a:gd name="T22" fmla="*/ 11 w 16"/>
                <a:gd name="T23" fmla="*/ 0 h 7"/>
                <a:gd name="T24" fmla="*/ 11 w 16"/>
                <a:gd name="T25" fmla="*/ 0 h 7"/>
                <a:gd name="T26" fmla="*/ 11 w 16"/>
                <a:gd name="T27" fmla="*/ 0 h 7"/>
                <a:gd name="T28" fmla="*/ 15 w 16"/>
                <a:gd name="T29" fmla="*/ 2 h 7"/>
                <a:gd name="T30" fmla="*/ 16 w 16"/>
                <a:gd name="T31" fmla="*/ 2 h 7"/>
                <a:gd name="T32" fmla="*/ 16 w 16"/>
                <a:gd name="T33" fmla="*/ 4 h 7"/>
                <a:gd name="T34" fmla="*/ 16 w 16"/>
                <a:gd name="T35" fmla="*/ 4 h 7"/>
                <a:gd name="T36" fmla="*/ 15 w 16"/>
                <a:gd name="T37" fmla="*/ 6 h 7"/>
                <a:gd name="T38" fmla="*/ 15 w 16"/>
                <a:gd name="T39" fmla="*/ 6 h 7"/>
                <a:gd name="T40" fmla="*/ 13 w 16"/>
                <a:gd name="T41" fmla="*/ 7 h 7"/>
                <a:gd name="T42" fmla="*/ 11 w 16"/>
                <a:gd name="T4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7">
                  <a:moveTo>
                    <a:pt x="11" y="7"/>
                  </a:moveTo>
                  <a:lnTo>
                    <a:pt x="11" y="7"/>
                  </a:lnTo>
                  <a:lnTo>
                    <a:pt x="5" y="6"/>
                  </a:lnTo>
                  <a:lnTo>
                    <a:pt x="2" y="4"/>
                  </a:lnTo>
                  <a:lnTo>
                    <a:pt x="0" y="3"/>
                  </a:lnTo>
                  <a:lnTo>
                    <a:pt x="0" y="3"/>
                  </a:lnTo>
                  <a:lnTo>
                    <a:pt x="0" y="2"/>
                  </a:lnTo>
                  <a:lnTo>
                    <a:pt x="0" y="2"/>
                  </a:lnTo>
                  <a:lnTo>
                    <a:pt x="3" y="0"/>
                  </a:lnTo>
                  <a:lnTo>
                    <a:pt x="5" y="0"/>
                  </a:lnTo>
                  <a:lnTo>
                    <a:pt x="11" y="0"/>
                  </a:lnTo>
                  <a:lnTo>
                    <a:pt x="11" y="0"/>
                  </a:lnTo>
                  <a:lnTo>
                    <a:pt x="11" y="0"/>
                  </a:lnTo>
                  <a:lnTo>
                    <a:pt x="11" y="0"/>
                  </a:lnTo>
                  <a:lnTo>
                    <a:pt x="15" y="2"/>
                  </a:lnTo>
                  <a:lnTo>
                    <a:pt x="16" y="2"/>
                  </a:lnTo>
                  <a:lnTo>
                    <a:pt x="16" y="4"/>
                  </a:lnTo>
                  <a:lnTo>
                    <a:pt x="16" y="4"/>
                  </a:lnTo>
                  <a:lnTo>
                    <a:pt x="15" y="6"/>
                  </a:lnTo>
                  <a:lnTo>
                    <a:pt x="15" y="6"/>
                  </a:lnTo>
                  <a:lnTo>
                    <a:pt x="13" y="7"/>
                  </a:lnTo>
                  <a:lnTo>
                    <a:pt x="11" y="7"/>
                  </a:lnTo>
                  <a:close/>
                </a:path>
              </a:pathLst>
            </a:custGeom>
            <a:solidFill>
              <a:srgbClr val="99C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79" name="Freeform 1450"/>
            <p:cNvSpPr>
              <a:spLocks/>
            </p:cNvSpPr>
            <p:nvPr/>
          </p:nvSpPr>
          <p:spPr bwMode="auto">
            <a:xfrm>
              <a:off x="7011988" y="1472042"/>
              <a:ext cx="25400" cy="11113"/>
            </a:xfrm>
            <a:custGeom>
              <a:avLst/>
              <a:gdLst>
                <a:gd name="T0" fmla="*/ 11 w 16"/>
                <a:gd name="T1" fmla="*/ 7 h 7"/>
                <a:gd name="T2" fmla="*/ 11 w 16"/>
                <a:gd name="T3" fmla="*/ 7 h 7"/>
                <a:gd name="T4" fmla="*/ 5 w 16"/>
                <a:gd name="T5" fmla="*/ 6 h 7"/>
                <a:gd name="T6" fmla="*/ 2 w 16"/>
                <a:gd name="T7" fmla="*/ 4 h 7"/>
                <a:gd name="T8" fmla="*/ 0 w 16"/>
                <a:gd name="T9" fmla="*/ 3 h 7"/>
                <a:gd name="T10" fmla="*/ 0 w 16"/>
                <a:gd name="T11" fmla="*/ 3 h 7"/>
                <a:gd name="T12" fmla="*/ 0 w 16"/>
                <a:gd name="T13" fmla="*/ 2 h 7"/>
                <a:gd name="T14" fmla="*/ 0 w 16"/>
                <a:gd name="T15" fmla="*/ 2 h 7"/>
                <a:gd name="T16" fmla="*/ 3 w 16"/>
                <a:gd name="T17" fmla="*/ 0 h 7"/>
                <a:gd name="T18" fmla="*/ 5 w 16"/>
                <a:gd name="T19" fmla="*/ 0 h 7"/>
                <a:gd name="T20" fmla="*/ 11 w 16"/>
                <a:gd name="T21" fmla="*/ 0 h 7"/>
                <a:gd name="T22" fmla="*/ 11 w 16"/>
                <a:gd name="T23" fmla="*/ 0 h 7"/>
                <a:gd name="T24" fmla="*/ 11 w 16"/>
                <a:gd name="T25" fmla="*/ 0 h 7"/>
                <a:gd name="T26" fmla="*/ 11 w 16"/>
                <a:gd name="T27" fmla="*/ 0 h 7"/>
                <a:gd name="T28" fmla="*/ 15 w 16"/>
                <a:gd name="T29" fmla="*/ 2 h 7"/>
                <a:gd name="T30" fmla="*/ 16 w 16"/>
                <a:gd name="T31" fmla="*/ 2 h 7"/>
                <a:gd name="T32" fmla="*/ 16 w 16"/>
                <a:gd name="T33" fmla="*/ 4 h 7"/>
                <a:gd name="T34" fmla="*/ 16 w 16"/>
                <a:gd name="T35" fmla="*/ 4 h 7"/>
                <a:gd name="T36" fmla="*/ 15 w 16"/>
                <a:gd name="T37" fmla="*/ 6 h 7"/>
                <a:gd name="T38" fmla="*/ 15 w 16"/>
                <a:gd name="T39" fmla="*/ 6 h 7"/>
                <a:gd name="T40" fmla="*/ 13 w 16"/>
                <a:gd name="T41" fmla="*/ 7 h 7"/>
                <a:gd name="T42" fmla="*/ 11 w 16"/>
                <a:gd name="T4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7">
                  <a:moveTo>
                    <a:pt x="11" y="7"/>
                  </a:moveTo>
                  <a:lnTo>
                    <a:pt x="11" y="7"/>
                  </a:lnTo>
                  <a:lnTo>
                    <a:pt x="5" y="6"/>
                  </a:lnTo>
                  <a:lnTo>
                    <a:pt x="2" y="4"/>
                  </a:lnTo>
                  <a:lnTo>
                    <a:pt x="0" y="3"/>
                  </a:lnTo>
                  <a:lnTo>
                    <a:pt x="0" y="3"/>
                  </a:lnTo>
                  <a:lnTo>
                    <a:pt x="0" y="2"/>
                  </a:lnTo>
                  <a:lnTo>
                    <a:pt x="0" y="2"/>
                  </a:lnTo>
                  <a:lnTo>
                    <a:pt x="3" y="0"/>
                  </a:lnTo>
                  <a:lnTo>
                    <a:pt x="5" y="0"/>
                  </a:lnTo>
                  <a:lnTo>
                    <a:pt x="11" y="0"/>
                  </a:lnTo>
                  <a:lnTo>
                    <a:pt x="11" y="0"/>
                  </a:lnTo>
                  <a:lnTo>
                    <a:pt x="11" y="0"/>
                  </a:lnTo>
                  <a:lnTo>
                    <a:pt x="11" y="0"/>
                  </a:lnTo>
                  <a:lnTo>
                    <a:pt x="15" y="2"/>
                  </a:lnTo>
                  <a:lnTo>
                    <a:pt x="16" y="2"/>
                  </a:lnTo>
                  <a:lnTo>
                    <a:pt x="16" y="4"/>
                  </a:lnTo>
                  <a:lnTo>
                    <a:pt x="16" y="4"/>
                  </a:lnTo>
                  <a:lnTo>
                    <a:pt x="15" y="6"/>
                  </a:lnTo>
                  <a:lnTo>
                    <a:pt x="15" y="6"/>
                  </a:lnTo>
                  <a:lnTo>
                    <a:pt x="13" y="7"/>
                  </a:lnTo>
                  <a:lnTo>
                    <a:pt x="11" y="7"/>
                  </a:lnTo>
                </a:path>
              </a:pathLst>
            </a:custGeom>
            <a:solidFill>
              <a:srgbClr val="92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80" name="Freeform 1452"/>
            <p:cNvSpPr>
              <a:spLocks/>
            </p:cNvSpPr>
            <p:nvPr/>
          </p:nvSpPr>
          <p:spPr bwMode="auto">
            <a:xfrm>
              <a:off x="6729413" y="1665717"/>
              <a:ext cx="44450" cy="25400"/>
            </a:xfrm>
            <a:custGeom>
              <a:avLst/>
              <a:gdLst>
                <a:gd name="T0" fmla="*/ 23 w 28"/>
                <a:gd name="T1" fmla="*/ 13 h 16"/>
                <a:gd name="T2" fmla="*/ 23 w 28"/>
                <a:gd name="T3" fmla="*/ 13 h 16"/>
                <a:gd name="T4" fmla="*/ 7 w 28"/>
                <a:gd name="T5" fmla="*/ 14 h 16"/>
                <a:gd name="T6" fmla="*/ 2 w 28"/>
                <a:gd name="T7" fmla="*/ 16 h 16"/>
                <a:gd name="T8" fmla="*/ 0 w 28"/>
                <a:gd name="T9" fmla="*/ 14 h 16"/>
                <a:gd name="T10" fmla="*/ 0 w 28"/>
                <a:gd name="T11" fmla="*/ 13 h 16"/>
                <a:gd name="T12" fmla="*/ 0 w 28"/>
                <a:gd name="T13" fmla="*/ 13 h 16"/>
                <a:gd name="T14" fmla="*/ 5 w 28"/>
                <a:gd name="T15" fmla="*/ 7 h 16"/>
                <a:gd name="T16" fmla="*/ 6 w 28"/>
                <a:gd name="T17" fmla="*/ 6 h 16"/>
                <a:gd name="T18" fmla="*/ 9 w 28"/>
                <a:gd name="T19" fmla="*/ 6 h 16"/>
                <a:gd name="T20" fmla="*/ 9 w 28"/>
                <a:gd name="T21" fmla="*/ 6 h 16"/>
                <a:gd name="T22" fmla="*/ 13 w 28"/>
                <a:gd name="T23" fmla="*/ 6 h 16"/>
                <a:gd name="T24" fmla="*/ 19 w 28"/>
                <a:gd name="T25" fmla="*/ 4 h 16"/>
                <a:gd name="T26" fmla="*/ 26 w 28"/>
                <a:gd name="T27" fmla="*/ 0 h 16"/>
                <a:gd name="T28" fmla="*/ 26 w 28"/>
                <a:gd name="T29" fmla="*/ 0 h 16"/>
                <a:gd name="T30" fmla="*/ 28 w 28"/>
                <a:gd name="T31" fmla="*/ 0 h 16"/>
                <a:gd name="T32" fmla="*/ 28 w 28"/>
                <a:gd name="T33" fmla="*/ 1 h 16"/>
                <a:gd name="T34" fmla="*/ 28 w 28"/>
                <a:gd name="T35" fmla="*/ 6 h 16"/>
                <a:gd name="T36" fmla="*/ 26 w 28"/>
                <a:gd name="T37" fmla="*/ 10 h 16"/>
                <a:gd name="T38" fmla="*/ 25 w 28"/>
                <a:gd name="T39" fmla="*/ 11 h 16"/>
                <a:gd name="T40" fmla="*/ 23 w 28"/>
                <a:gd name="T41"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16">
                  <a:moveTo>
                    <a:pt x="23" y="13"/>
                  </a:moveTo>
                  <a:lnTo>
                    <a:pt x="23" y="13"/>
                  </a:lnTo>
                  <a:lnTo>
                    <a:pt x="7" y="14"/>
                  </a:lnTo>
                  <a:lnTo>
                    <a:pt x="2" y="16"/>
                  </a:lnTo>
                  <a:lnTo>
                    <a:pt x="0" y="14"/>
                  </a:lnTo>
                  <a:lnTo>
                    <a:pt x="0" y="13"/>
                  </a:lnTo>
                  <a:lnTo>
                    <a:pt x="0" y="13"/>
                  </a:lnTo>
                  <a:lnTo>
                    <a:pt x="5" y="7"/>
                  </a:lnTo>
                  <a:lnTo>
                    <a:pt x="6" y="6"/>
                  </a:lnTo>
                  <a:lnTo>
                    <a:pt x="9" y="6"/>
                  </a:lnTo>
                  <a:lnTo>
                    <a:pt x="9" y="6"/>
                  </a:lnTo>
                  <a:lnTo>
                    <a:pt x="13" y="6"/>
                  </a:lnTo>
                  <a:lnTo>
                    <a:pt x="19" y="4"/>
                  </a:lnTo>
                  <a:lnTo>
                    <a:pt x="26" y="0"/>
                  </a:lnTo>
                  <a:lnTo>
                    <a:pt x="26" y="0"/>
                  </a:lnTo>
                  <a:lnTo>
                    <a:pt x="28" y="0"/>
                  </a:lnTo>
                  <a:lnTo>
                    <a:pt x="28" y="1"/>
                  </a:lnTo>
                  <a:lnTo>
                    <a:pt x="28" y="6"/>
                  </a:lnTo>
                  <a:lnTo>
                    <a:pt x="26" y="10"/>
                  </a:lnTo>
                  <a:lnTo>
                    <a:pt x="25" y="11"/>
                  </a:lnTo>
                  <a:lnTo>
                    <a:pt x="23" y="13"/>
                  </a:lnTo>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81" name="Freeform 1453"/>
            <p:cNvSpPr>
              <a:spLocks/>
            </p:cNvSpPr>
            <p:nvPr/>
          </p:nvSpPr>
          <p:spPr bwMode="auto">
            <a:xfrm>
              <a:off x="6727826" y="1591104"/>
              <a:ext cx="34925" cy="25400"/>
            </a:xfrm>
            <a:custGeom>
              <a:avLst/>
              <a:gdLst>
                <a:gd name="T0" fmla="*/ 16 w 22"/>
                <a:gd name="T1" fmla="*/ 15 h 16"/>
                <a:gd name="T2" fmla="*/ 16 w 22"/>
                <a:gd name="T3" fmla="*/ 15 h 16"/>
                <a:gd name="T4" fmla="*/ 6 w 22"/>
                <a:gd name="T5" fmla="*/ 16 h 16"/>
                <a:gd name="T6" fmla="*/ 0 w 22"/>
                <a:gd name="T7" fmla="*/ 16 h 16"/>
                <a:gd name="T8" fmla="*/ 0 w 22"/>
                <a:gd name="T9" fmla="*/ 16 h 16"/>
                <a:gd name="T10" fmla="*/ 0 w 22"/>
                <a:gd name="T11" fmla="*/ 15 h 16"/>
                <a:gd name="T12" fmla="*/ 0 w 22"/>
                <a:gd name="T13" fmla="*/ 15 h 16"/>
                <a:gd name="T14" fmla="*/ 4 w 22"/>
                <a:gd name="T15" fmla="*/ 13 h 16"/>
                <a:gd name="T16" fmla="*/ 7 w 22"/>
                <a:gd name="T17" fmla="*/ 12 h 16"/>
                <a:gd name="T18" fmla="*/ 10 w 22"/>
                <a:gd name="T19" fmla="*/ 11 h 16"/>
                <a:gd name="T20" fmla="*/ 14 w 22"/>
                <a:gd name="T21" fmla="*/ 8 h 16"/>
                <a:gd name="T22" fmla="*/ 14 w 22"/>
                <a:gd name="T23" fmla="*/ 8 h 16"/>
                <a:gd name="T24" fmla="*/ 20 w 22"/>
                <a:gd name="T25" fmla="*/ 2 h 16"/>
                <a:gd name="T26" fmla="*/ 22 w 22"/>
                <a:gd name="T27" fmla="*/ 0 h 16"/>
                <a:gd name="T28" fmla="*/ 22 w 22"/>
                <a:gd name="T29" fmla="*/ 2 h 16"/>
                <a:gd name="T30" fmla="*/ 22 w 22"/>
                <a:gd name="T31" fmla="*/ 2 h 16"/>
                <a:gd name="T32" fmla="*/ 20 w 22"/>
                <a:gd name="T33" fmla="*/ 9 h 16"/>
                <a:gd name="T34" fmla="*/ 19 w 22"/>
                <a:gd name="T35" fmla="*/ 13 h 16"/>
                <a:gd name="T36" fmla="*/ 16 w 22"/>
                <a:gd name="T37"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6">
                  <a:moveTo>
                    <a:pt x="16" y="15"/>
                  </a:moveTo>
                  <a:lnTo>
                    <a:pt x="16" y="15"/>
                  </a:lnTo>
                  <a:lnTo>
                    <a:pt x="6" y="16"/>
                  </a:lnTo>
                  <a:lnTo>
                    <a:pt x="0" y="16"/>
                  </a:lnTo>
                  <a:lnTo>
                    <a:pt x="0" y="16"/>
                  </a:lnTo>
                  <a:lnTo>
                    <a:pt x="0" y="15"/>
                  </a:lnTo>
                  <a:lnTo>
                    <a:pt x="0" y="15"/>
                  </a:lnTo>
                  <a:lnTo>
                    <a:pt x="4" y="13"/>
                  </a:lnTo>
                  <a:lnTo>
                    <a:pt x="7" y="12"/>
                  </a:lnTo>
                  <a:lnTo>
                    <a:pt x="10" y="11"/>
                  </a:lnTo>
                  <a:lnTo>
                    <a:pt x="14" y="8"/>
                  </a:lnTo>
                  <a:lnTo>
                    <a:pt x="14" y="8"/>
                  </a:lnTo>
                  <a:lnTo>
                    <a:pt x="20" y="2"/>
                  </a:lnTo>
                  <a:lnTo>
                    <a:pt x="22" y="0"/>
                  </a:lnTo>
                  <a:lnTo>
                    <a:pt x="22" y="2"/>
                  </a:lnTo>
                  <a:lnTo>
                    <a:pt x="22" y="2"/>
                  </a:lnTo>
                  <a:lnTo>
                    <a:pt x="20" y="9"/>
                  </a:lnTo>
                  <a:lnTo>
                    <a:pt x="19" y="13"/>
                  </a:lnTo>
                  <a:lnTo>
                    <a:pt x="16" y="15"/>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82" name="Freeform 1454"/>
            <p:cNvSpPr>
              <a:spLocks/>
            </p:cNvSpPr>
            <p:nvPr/>
          </p:nvSpPr>
          <p:spPr bwMode="auto">
            <a:xfrm>
              <a:off x="6727826" y="1591104"/>
              <a:ext cx="34925" cy="25400"/>
            </a:xfrm>
            <a:custGeom>
              <a:avLst/>
              <a:gdLst>
                <a:gd name="T0" fmla="*/ 16 w 22"/>
                <a:gd name="T1" fmla="*/ 15 h 16"/>
                <a:gd name="T2" fmla="*/ 16 w 22"/>
                <a:gd name="T3" fmla="*/ 15 h 16"/>
                <a:gd name="T4" fmla="*/ 6 w 22"/>
                <a:gd name="T5" fmla="*/ 16 h 16"/>
                <a:gd name="T6" fmla="*/ 0 w 22"/>
                <a:gd name="T7" fmla="*/ 16 h 16"/>
                <a:gd name="T8" fmla="*/ 0 w 22"/>
                <a:gd name="T9" fmla="*/ 16 h 16"/>
                <a:gd name="T10" fmla="*/ 0 w 22"/>
                <a:gd name="T11" fmla="*/ 15 h 16"/>
                <a:gd name="T12" fmla="*/ 0 w 22"/>
                <a:gd name="T13" fmla="*/ 15 h 16"/>
                <a:gd name="T14" fmla="*/ 4 w 22"/>
                <a:gd name="T15" fmla="*/ 13 h 16"/>
                <a:gd name="T16" fmla="*/ 7 w 22"/>
                <a:gd name="T17" fmla="*/ 12 h 16"/>
                <a:gd name="T18" fmla="*/ 10 w 22"/>
                <a:gd name="T19" fmla="*/ 11 h 16"/>
                <a:gd name="T20" fmla="*/ 14 w 22"/>
                <a:gd name="T21" fmla="*/ 8 h 16"/>
                <a:gd name="T22" fmla="*/ 14 w 22"/>
                <a:gd name="T23" fmla="*/ 8 h 16"/>
                <a:gd name="T24" fmla="*/ 20 w 22"/>
                <a:gd name="T25" fmla="*/ 2 h 16"/>
                <a:gd name="T26" fmla="*/ 22 w 22"/>
                <a:gd name="T27" fmla="*/ 0 h 16"/>
                <a:gd name="T28" fmla="*/ 22 w 22"/>
                <a:gd name="T29" fmla="*/ 2 h 16"/>
                <a:gd name="T30" fmla="*/ 22 w 22"/>
                <a:gd name="T31" fmla="*/ 2 h 16"/>
                <a:gd name="T32" fmla="*/ 20 w 22"/>
                <a:gd name="T33" fmla="*/ 9 h 16"/>
                <a:gd name="T34" fmla="*/ 19 w 22"/>
                <a:gd name="T35" fmla="*/ 13 h 16"/>
                <a:gd name="T36" fmla="*/ 16 w 22"/>
                <a:gd name="T37"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6">
                  <a:moveTo>
                    <a:pt x="16" y="15"/>
                  </a:moveTo>
                  <a:lnTo>
                    <a:pt x="16" y="15"/>
                  </a:lnTo>
                  <a:lnTo>
                    <a:pt x="6" y="16"/>
                  </a:lnTo>
                  <a:lnTo>
                    <a:pt x="0" y="16"/>
                  </a:lnTo>
                  <a:lnTo>
                    <a:pt x="0" y="16"/>
                  </a:lnTo>
                  <a:lnTo>
                    <a:pt x="0" y="15"/>
                  </a:lnTo>
                  <a:lnTo>
                    <a:pt x="0" y="15"/>
                  </a:lnTo>
                  <a:lnTo>
                    <a:pt x="4" y="13"/>
                  </a:lnTo>
                  <a:lnTo>
                    <a:pt x="7" y="12"/>
                  </a:lnTo>
                  <a:lnTo>
                    <a:pt x="10" y="11"/>
                  </a:lnTo>
                  <a:lnTo>
                    <a:pt x="14" y="8"/>
                  </a:lnTo>
                  <a:lnTo>
                    <a:pt x="14" y="8"/>
                  </a:lnTo>
                  <a:lnTo>
                    <a:pt x="20" y="2"/>
                  </a:lnTo>
                  <a:lnTo>
                    <a:pt x="22" y="0"/>
                  </a:lnTo>
                  <a:lnTo>
                    <a:pt x="22" y="2"/>
                  </a:lnTo>
                  <a:lnTo>
                    <a:pt x="22" y="2"/>
                  </a:lnTo>
                  <a:lnTo>
                    <a:pt x="20" y="9"/>
                  </a:lnTo>
                  <a:lnTo>
                    <a:pt x="19" y="13"/>
                  </a:lnTo>
                  <a:lnTo>
                    <a:pt x="16" y="15"/>
                  </a:lnTo>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83" name="Freeform 1455"/>
            <p:cNvSpPr>
              <a:spLocks/>
            </p:cNvSpPr>
            <p:nvPr/>
          </p:nvSpPr>
          <p:spPr bwMode="auto">
            <a:xfrm>
              <a:off x="5540376" y="2272142"/>
              <a:ext cx="42863" cy="50800"/>
            </a:xfrm>
            <a:custGeom>
              <a:avLst/>
              <a:gdLst>
                <a:gd name="T0" fmla="*/ 9 w 27"/>
                <a:gd name="T1" fmla="*/ 32 h 32"/>
                <a:gd name="T2" fmla="*/ 9 w 27"/>
                <a:gd name="T3" fmla="*/ 32 h 32"/>
                <a:gd name="T4" fmla="*/ 6 w 27"/>
                <a:gd name="T5" fmla="*/ 32 h 32"/>
                <a:gd name="T6" fmla="*/ 3 w 27"/>
                <a:gd name="T7" fmla="*/ 29 h 32"/>
                <a:gd name="T8" fmla="*/ 2 w 27"/>
                <a:gd name="T9" fmla="*/ 26 h 32"/>
                <a:gd name="T10" fmla="*/ 0 w 27"/>
                <a:gd name="T11" fmla="*/ 22 h 32"/>
                <a:gd name="T12" fmla="*/ 0 w 27"/>
                <a:gd name="T13" fmla="*/ 12 h 32"/>
                <a:gd name="T14" fmla="*/ 2 w 27"/>
                <a:gd name="T15" fmla="*/ 4 h 32"/>
                <a:gd name="T16" fmla="*/ 2 w 27"/>
                <a:gd name="T17" fmla="*/ 4 h 32"/>
                <a:gd name="T18" fmla="*/ 2 w 27"/>
                <a:gd name="T19" fmla="*/ 3 h 32"/>
                <a:gd name="T20" fmla="*/ 3 w 27"/>
                <a:gd name="T21" fmla="*/ 2 h 32"/>
                <a:gd name="T22" fmla="*/ 8 w 27"/>
                <a:gd name="T23" fmla="*/ 0 h 32"/>
                <a:gd name="T24" fmla="*/ 12 w 27"/>
                <a:gd name="T25" fmla="*/ 0 h 32"/>
                <a:gd name="T26" fmla="*/ 16 w 27"/>
                <a:gd name="T27" fmla="*/ 2 h 32"/>
                <a:gd name="T28" fmla="*/ 16 w 27"/>
                <a:gd name="T29" fmla="*/ 2 h 32"/>
                <a:gd name="T30" fmla="*/ 22 w 27"/>
                <a:gd name="T31" fmla="*/ 6 h 32"/>
                <a:gd name="T32" fmla="*/ 25 w 27"/>
                <a:gd name="T33" fmla="*/ 10 h 32"/>
                <a:gd name="T34" fmla="*/ 27 w 27"/>
                <a:gd name="T35" fmla="*/ 13 h 32"/>
                <a:gd name="T36" fmla="*/ 27 w 27"/>
                <a:gd name="T37" fmla="*/ 13 h 32"/>
                <a:gd name="T38" fmla="*/ 25 w 27"/>
                <a:gd name="T39" fmla="*/ 18 h 32"/>
                <a:gd name="T40" fmla="*/ 19 w 27"/>
                <a:gd name="T41" fmla="*/ 23 h 32"/>
                <a:gd name="T42" fmla="*/ 15 w 27"/>
                <a:gd name="T43" fmla="*/ 29 h 32"/>
                <a:gd name="T44" fmla="*/ 9 w 27"/>
                <a:gd name="T4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32">
                  <a:moveTo>
                    <a:pt x="9" y="32"/>
                  </a:moveTo>
                  <a:lnTo>
                    <a:pt x="9" y="32"/>
                  </a:lnTo>
                  <a:lnTo>
                    <a:pt x="6" y="32"/>
                  </a:lnTo>
                  <a:lnTo>
                    <a:pt x="3" y="29"/>
                  </a:lnTo>
                  <a:lnTo>
                    <a:pt x="2" y="26"/>
                  </a:lnTo>
                  <a:lnTo>
                    <a:pt x="0" y="22"/>
                  </a:lnTo>
                  <a:lnTo>
                    <a:pt x="0" y="12"/>
                  </a:lnTo>
                  <a:lnTo>
                    <a:pt x="2" y="4"/>
                  </a:lnTo>
                  <a:lnTo>
                    <a:pt x="2" y="4"/>
                  </a:lnTo>
                  <a:lnTo>
                    <a:pt x="2" y="3"/>
                  </a:lnTo>
                  <a:lnTo>
                    <a:pt x="3" y="2"/>
                  </a:lnTo>
                  <a:lnTo>
                    <a:pt x="8" y="0"/>
                  </a:lnTo>
                  <a:lnTo>
                    <a:pt x="12" y="0"/>
                  </a:lnTo>
                  <a:lnTo>
                    <a:pt x="16" y="2"/>
                  </a:lnTo>
                  <a:lnTo>
                    <a:pt x="16" y="2"/>
                  </a:lnTo>
                  <a:lnTo>
                    <a:pt x="22" y="6"/>
                  </a:lnTo>
                  <a:lnTo>
                    <a:pt x="25" y="10"/>
                  </a:lnTo>
                  <a:lnTo>
                    <a:pt x="27" y="13"/>
                  </a:lnTo>
                  <a:lnTo>
                    <a:pt x="27" y="13"/>
                  </a:lnTo>
                  <a:lnTo>
                    <a:pt x="25" y="18"/>
                  </a:lnTo>
                  <a:lnTo>
                    <a:pt x="19" y="23"/>
                  </a:lnTo>
                  <a:lnTo>
                    <a:pt x="15" y="29"/>
                  </a:lnTo>
                  <a:lnTo>
                    <a:pt x="9" y="32"/>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84" name="Freeform 1456"/>
            <p:cNvSpPr>
              <a:spLocks/>
            </p:cNvSpPr>
            <p:nvPr/>
          </p:nvSpPr>
          <p:spPr bwMode="auto">
            <a:xfrm>
              <a:off x="5540376" y="2272142"/>
              <a:ext cx="42863" cy="50800"/>
            </a:xfrm>
            <a:custGeom>
              <a:avLst/>
              <a:gdLst>
                <a:gd name="T0" fmla="*/ 9 w 27"/>
                <a:gd name="T1" fmla="*/ 32 h 32"/>
                <a:gd name="T2" fmla="*/ 9 w 27"/>
                <a:gd name="T3" fmla="*/ 32 h 32"/>
                <a:gd name="T4" fmla="*/ 6 w 27"/>
                <a:gd name="T5" fmla="*/ 32 h 32"/>
                <a:gd name="T6" fmla="*/ 3 w 27"/>
                <a:gd name="T7" fmla="*/ 29 h 32"/>
                <a:gd name="T8" fmla="*/ 2 w 27"/>
                <a:gd name="T9" fmla="*/ 26 h 32"/>
                <a:gd name="T10" fmla="*/ 0 w 27"/>
                <a:gd name="T11" fmla="*/ 22 h 32"/>
                <a:gd name="T12" fmla="*/ 0 w 27"/>
                <a:gd name="T13" fmla="*/ 12 h 32"/>
                <a:gd name="T14" fmla="*/ 2 w 27"/>
                <a:gd name="T15" fmla="*/ 4 h 32"/>
                <a:gd name="T16" fmla="*/ 2 w 27"/>
                <a:gd name="T17" fmla="*/ 4 h 32"/>
                <a:gd name="T18" fmla="*/ 2 w 27"/>
                <a:gd name="T19" fmla="*/ 3 h 32"/>
                <a:gd name="T20" fmla="*/ 3 w 27"/>
                <a:gd name="T21" fmla="*/ 2 h 32"/>
                <a:gd name="T22" fmla="*/ 8 w 27"/>
                <a:gd name="T23" fmla="*/ 0 h 32"/>
                <a:gd name="T24" fmla="*/ 12 w 27"/>
                <a:gd name="T25" fmla="*/ 0 h 32"/>
                <a:gd name="T26" fmla="*/ 16 w 27"/>
                <a:gd name="T27" fmla="*/ 2 h 32"/>
                <a:gd name="T28" fmla="*/ 16 w 27"/>
                <a:gd name="T29" fmla="*/ 2 h 32"/>
                <a:gd name="T30" fmla="*/ 22 w 27"/>
                <a:gd name="T31" fmla="*/ 6 h 32"/>
                <a:gd name="T32" fmla="*/ 25 w 27"/>
                <a:gd name="T33" fmla="*/ 10 h 32"/>
                <a:gd name="T34" fmla="*/ 27 w 27"/>
                <a:gd name="T35" fmla="*/ 13 h 32"/>
                <a:gd name="T36" fmla="*/ 27 w 27"/>
                <a:gd name="T37" fmla="*/ 13 h 32"/>
                <a:gd name="T38" fmla="*/ 25 w 27"/>
                <a:gd name="T39" fmla="*/ 18 h 32"/>
                <a:gd name="T40" fmla="*/ 19 w 27"/>
                <a:gd name="T41" fmla="*/ 23 h 32"/>
                <a:gd name="T42" fmla="*/ 15 w 27"/>
                <a:gd name="T43" fmla="*/ 29 h 32"/>
                <a:gd name="T44" fmla="*/ 9 w 27"/>
                <a:gd name="T4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32">
                  <a:moveTo>
                    <a:pt x="9" y="32"/>
                  </a:moveTo>
                  <a:lnTo>
                    <a:pt x="9" y="32"/>
                  </a:lnTo>
                  <a:lnTo>
                    <a:pt x="6" y="32"/>
                  </a:lnTo>
                  <a:lnTo>
                    <a:pt x="3" y="29"/>
                  </a:lnTo>
                  <a:lnTo>
                    <a:pt x="2" y="26"/>
                  </a:lnTo>
                  <a:lnTo>
                    <a:pt x="0" y="22"/>
                  </a:lnTo>
                  <a:lnTo>
                    <a:pt x="0" y="12"/>
                  </a:lnTo>
                  <a:lnTo>
                    <a:pt x="2" y="4"/>
                  </a:lnTo>
                  <a:lnTo>
                    <a:pt x="2" y="4"/>
                  </a:lnTo>
                  <a:lnTo>
                    <a:pt x="2" y="3"/>
                  </a:lnTo>
                  <a:lnTo>
                    <a:pt x="3" y="2"/>
                  </a:lnTo>
                  <a:lnTo>
                    <a:pt x="8" y="0"/>
                  </a:lnTo>
                  <a:lnTo>
                    <a:pt x="12" y="0"/>
                  </a:lnTo>
                  <a:lnTo>
                    <a:pt x="16" y="2"/>
                  </a:lnTo>
                  <a:lnTo>
                    <a:pt x="16" y="2"/>
                  </a:lnTo>
                  <a:lnTo>
                    <a:pt x="22" y="6"/>
                  </a:lnTo>
                  <a:lnTo>
                    <a:pt x="25" y="10"/>
                  </a:lnTo>
                  <a:lnTo>
                    <a:pt x="27" y="13"/>
                  </a:lnTo>
                  <a:lnTo>
                    <a:pt x="27" y="13"/>
                  </a:lnTo>
                  <a:lnTo>
                    <a:pt x="25" y="18"/>
                  </a:lnTo>
                  <a:lnTo>
                    <a:pt x="19" y="23"/>
                  </a:lnTo>
                  <a:lnTo>
                    <a:pt x="15" y="29"/>
                  </a:lnTo>
                  <a:lnTo>
                    <a:pt x="9" y="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85" name="Freeform 1457"/>
            <p:cNvSpPr>
              <a:spLocks/>
            </p:cNvSpPr>
            <p:nvPr/>
          </p:nvSpPr>
          <p:spPr bwMode="auto">
            <a:xfrm>
              <a:off x="5799138" y="2195942"/>
              <a:ext cx="42863" cy="58738"/>
            </a:xfrm>
            <a:custGeom>
              <a:avLst/>
              <a:gdLst>
                <a:gd name="T0" fmla="*/ 19 w 27"/>
                <a:gd name="T1" fmla="*/ 37 h 37"/>
                <a:gd name="T2" fmla="*/ 19 w 27"/>
                <a:gd name="T3" fmla="*/ 37 h 37"/>
                <a:gd name="T4" fmla="*/ 16 w 27"/>
                <a:gd name="T5" fmla="*/ 37 h 37"/>
                <a:gd name="T6" fmla="*/ 14 w 27"/>
                <a:gd name="T7" fmla="*/ 34 h 37"/>
                <a:gd name="T8" fmla="*/ 13 w 27"/>
                <a:gd name="T9" fmla="*/ 31 h 37"/>
                <a:gd name="T10" fmla="*/ 10 w 27"/>
                <a:gd name="T11" fmla="*/ 29 h 37"/>
                <a:gd name="T12" fmla="*/ 10 w 27"/>
                <a:gd name="T13" fmla="*/ 29 h 37"/>
                <a:gd name="T14" fmla="*/ 5 w 27"/>
                <a:gd name="T15" fmla="*/ 26 h 37"/>
                <a:gd name="T16" fmla="*/ 1 w 27"/>
                <a:gd name="T17" fmla="*/ 22 h 37"/>
                <a:gd name="T18" fmla="*/ 0 w 27"/>
                <a:gd name="T19" fmla="*/ 16 h 37"/>
                <a:gd name="T20" fmla="*/ 0 w 27"/>
                <a:gd name="T21" fmla="*/ 13 h 37"/>
                <a:gd name="T22" fmla="*/ 0 w 27"/>
                <a:gd name="T23" fmla="*/ 13 h 37"/>
                <a:gd name="T24" fmla="*/ 4 w 27"/>
                <a:gd name="T25" fmla="*/ 5 h 37"/>
                <a:gd name="T26" fmla="*/ 7 w 27"/>
                <a:gd name="T27" fmla="*/ 0 h 37"/>
                <a:gd name="T28" fmla="*/ 7 w 27"/>
                <a:gd name="T29" fmla="*/ 0 h 37"/>
                <a:gd name="T30" fmla="*/ 8 w 27"/>
                <a:gd name="T31" fmla="*/ 2 h 37"/>
                <a:gd name="T32" fmla="*/ 8 w 27"/>
                <a:gd name="T33" fmla="*/ 2 h 37"/>
                <a:gd name="T34" fmla="*/ 13 w 27"/>
                <a:gd name="T35" fmla="*/ 8 h 37"/>
                <a:gd name="T36" fmla="*/ 19 w 27"/>
                <a:gd name="T37" fmla="*/ 15 h 37"/>
                <a:gd name="T38" fmla="*/ 19 w 27"/>
                <a:gd name="T39" fmla="*/ 15 h 37"/>
                <a:gd name="T40" fmla="*/ 24 w 27"/>
                <a:gd name="T41" fmla="*/ 21 h 37"/>
                <a:gd name="T42" fmla="*/ 27 w 27"/>
                <a:gd name="T43" fmla="*/ 26 h 37"/>
                <a:gd name="T44" fmla="*/ 27 w 27"/>
                <a:gd name="T45" fmla="*/ 26 h 37"/>
                <a:gd name="T46" fmla="*/ 27 w 27"/>
                <a:gd name="T47" fmla="*/ 31 h 37"/>
                <a:gd name="T48" fmla="*/ 27 w 27"/>
                <a:gd name="T49" fmla="*/ 34 h 37"/>
                <a:gd name="T50" fmla="*/ 24 w 27"/>
                <a:gd name="T51" fmla="*/ 37 h 37"/>
                <a:gd name="T52" fmla="*/ 19 w 27"/>
                <a:gd name="T5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37">
                  <a:moveTo>
                    <a:pt x="19" y="37"/>
                  </a:moveTo>
                  <a:lnTo>
                    <a:pt x="19" y="37"/>
                  </a:lnTo>
                  <a:lnTo>
                    <a:pt x="16" y="37"/>
                  </a:lnTo>
                  <a:lnTo>
                    <a:pt x="14" y="34"/>
                  </a:lnTo>
                  <a:lnTo>
                    <a:pt x="13" y="31"/>
                  </a:lnTo>
                  <a:lnTo>
                    <a:pt x="10" y="29"/>
                  </a:lnTo>
                  <a:lnTo>
                    <a:pt x="10" y="29"/>
                  </a:lnTo>
                  <a:lnTo>
                    <a:pt x="5" y="26"/>
                  </a:lnTo>
                  <a:lnTo>
                    <a:pt x="1" y="22"/>
                  </a:lnTo>
                  <a:lnTo>
                    <a:pt x="0" y="16"/>
                  </a:lnTo>
                  <a:lnTo>
                    <a:pt x="0" y="13"/>
                  </a:lnTo>
                  <a:lnTo>
                    <a:pt x="0" y="13"/>
                  </a:lnTo>
                  <a:lnTo>
                    <a:pt x="4" y="5"/>
                  </a:lnTo>
                  <a:lnTo>
                    <a:pt x="7" y="0"/>
                  </a:lnTo>
                  <a:lnTo>
                    <a:pt x="7" y="0"/>
                  </a:lnTo>
                  <a:lnTo>
                    <a:pt x="8" y="2"/>
                  </a:lnTo>
                  <a:lnTo>
                    <a:pt x="8" y="2"/>
                  </a:lnTo>
                  <a:lnTo>
                    <a:pt x="13" y="8"/>
                  </a:lnTo>
                  <a:lnTo>
                    <a:pt x="19" y="15"/>
                  </a:lnTo>
                  <a:lnTo>
                    <a:pt x="19" y="15"/>
                  </a:lnTo>
                  <a:lnTo>
                    <a:pt x="24" y="21"/>
                  </a:lnTo>
                  <a:lnTo>
                    <a:pt x="27" y="26"/>
                  </a:lnTo>
                  <a:lnTo>
                    <a:pt x="27" y="26"/>
                  </a:lnTo>
                  <a:lnTo>
                    <a:pt x="27" y="31"/>
                  </a:lnTo>
                  <a:lnTo>
                    <a:pt x="27" y="34"/>
                  </a:lnTo>
                  <a:lnTo>
                    <a:pt x="24" y="37"/>
                  </a:lnTo>
                  <a:lnTo>
                    <a:pt x="19" y="37"/>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86" name="Freeform 1458"/>
            <p:cNvSpPr>
              <a:spLocks/>
            </p:cNvSpPr>
            <p:nvPr/>
          </p:nvSpPr>
          <p:spPr bwMode="auto">
            <a:xfrm>
              <a:off x="5799138" y="2195942"/>
              <a:ext cx="42863" cy="58738"/>
            </a:xfrm>
            <a:custGeom>
              <a:avLst/>
              <a:gdLst>
                <a:gd name="T0" fmla="*/ 19 w 27"/>
                <a:gd name="T1" fmla="*/ 37 h 37"/>
                <a:gd name="T2" fmla="*/ 19 w 27"/>
                <a:gd name="T3" fmla="*/ 37 h 37"/>
                <a:gd name="T4" fmla="*/ 16 w 27"/>
                <a:gd name="T5" fmla="*/ 37 h 37"/>
                <a:gd name="T6" fmla="*/ 14 w 27"/>
                <a:gd name="T7" fmla="*/ 34 h 37"/>
                <a:gd name="T8" fmla="*/ 13 w 27"/>
                <a:gd name="T9" fmla="*/ 31 h 37"/>
                <a:gd name="T10" fmla="*/ 10 w 27"/>
                <a:gd name="T11" fmla="*/ 29 h 37"/>
                <a:gd name="T12" fmla="*/ 10 w 27"/>
                <a:gd name="T13" fmla="*/ 29 h 37"/>
                <a:gd name="T14" fmla="*/ 5 w 27"/>
                <a:gd name="T15" fmla="*/ 26 h 37"/>
                <a:gd name="T16" fmla="*/ 1 w 27"/>
                <a:gd name="T17" fmla="*/ 22 h 37"/>
                <a:gd name="T18" fmla="*/ 0 w 27"/>
                <a:gd name="T19" fmla="*/ 16 h 37"/>
                <a:gd name="T20" fmla="*/ 0 w 27"/>
                <a:gd name="T21" fmla="*/ 13 h 37"/>
                <a:gd name="T22" fmla="*/ 0 w 27"/>
                <a:gd name="T23" fmla="*/ 13 h 37"/>
                <a:gd name="T24" fmla="*/ 4 w 27"/>
                <a:gd name="T25" fmla="*/ 5 h 37"/>
                <a:gd name="T26" fmla="*/ 7 w 27"/>
                <a:gd name="T27" fmla="*/ 0 h 37"/>
                <a:gd name="T28" fmla="*/ 7 w 27"/>
                <a:gd name="T29" fmla="*/ 0 h 37"/>
                <a:gd name="T30" fmla="*/ 8 w 27"/>
                <a:gd name="T31" fmla="*/ 2 h 37"/>
                <a:gd name="T32" fmla="*/ 8 w 27"/>
                <a:gd name="T33" fmla="*/ 2 h 37"/>
                <a:gd name="T34" fmla="*/ 13 w 27"/>
                <a:gd name="T35" fmla="*/ 8 h 37"/>
                <a:gd name="T36" fmla="*/ 19 w 27"/>
                <a:gd name="T37" fmla="*/ 15 h 37"/>
                <a:gd name="T38" fmla="*/ 19 w 27"/>
                <a:gd name="T39" fmla="*/ 15 h 37"/>
                <a:gd name="T40" fmla="*/ 24 w 27"/>
                <a:gd name="T41" fmla="*/ 21 h 37"/>
                <a:gd name="T42" fmla="*/ 27 w 27"/>
                <a:gd name="T43" fmla="*/ 26 h 37"/>
                <a:gd name="T44" fmla="*/ 27 w 27"/>
                <a:gd name="T45" fmla="*/ 26 h 37"/>
                <a:gd name="T46" fmla="*/ 27 w 27"/>
                <a:gd name="T47" fmla="*/ 31 h 37"/>
                <a:gd name="T48" fmla="*/ 27 w 27"/>
                <a:gd name="T49" fmla="*/ 34 h 37"/>
                <a:gd name="T50" fmla="*/ 24 w 27"/>
                <a:gd name="T51" fmla="*/ 37 h 37"/>
                <a:gd name="T52" fmla="*/ 19 w 27"/>
                <a:gd name="T5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37">
                  <a:moveTo>
                    <a:pt x="19" y="37"/>
                  </a:moveTo>
                  <a:lnTo>
                    <a:pt x="19" y="37"/>
                  </a:lnTo>
                  <a:lnTo>
                    <a:pt x="16" y="37"/>
                  </a:lnTo>
                  <a:lnTo>
                    <a:pt x="14" y="34"/>
                  </a:lnTo>
                  <a:lnTo>
                    <a:pt x="13" y="31"/>
                  </a:lnTo>
                  <a:lnTo>
                    <a:pt x="10" y="29"/>
                  </a:lnTo>
                  <a:lnTo>
                    <a:pt x="10" y="29"/>
                  </a:lnTo>
                  <a:lnTo>
                    <a:pt x="5" y="26"/>
                  </a:lnTo>
                  <a:lnTo>
                    <a:pt x="1" y="22"/>
                  </a:lnTo>
                  <a:lnTo>
                    <a:pt x="0" y="16"/>
                  </a:lnTo>
                  <a:lnTo>
                    <a:pt x="0" y="13"/>
                  </a:lnTo>
                  <a:lnTo>
                    <a:pt x="0" y="13"/>
                  </a:lnTo>
                  <a:lnTo>
                    <a:pt x="4" y="5"/>
                  </a:lnTo>
                  <a:lnTo>
                    <a:pt x="7" y="0"/>
                  </a:lnTo>
                  <a:lnTo>
                    <a:pt x="7" y="0"/>
                  </a:lnTo>
                  <a:lnTo>
                    <a:pt x="8" y="2"/>
                  </a:lnTo>
                  <a:lnTo>
                    <a:pt x="8" y="2"/>
                  </a:lnTo>
                  <a:lnTo>
                    <a:pt x="13" y="8"/>
                  </a:lnTo>
                  <a:lnTo>
                    <a:pt x="19" y="15"/>
                  </a:lnTo>
                  <a:lnTo>
                    <a:pt x="19" y="15"/>
                  </a:lnTo>
                  <a:lnTo>
                    <a:pt x="24" y="21"/>
                  </a:lnTo>
                  <a:lnTo>
                    <a:pt x="27" y="26"/>
                  </a:lnTo>
                  <a:lnTo>
                    <a:pt x="27" y="26"/>
                  </a:lnTo>
                  <a:lnTo>
                    <a:pt x="27" y="31"/>
                  </a:lnTo>
                  <a:lnTo>
                    <a:pt x="27" y="34"/>
                  </a:lnTo>
                  <a:lnTo>
                    <a:pt x="24" y="37"/>
                  </a:lnTo>
                  <a:lnTo>
                    <a:pt x="19" y="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87" name="Freeform 1459"/>
            <p:cNvSpPr>
              <a:spLocks/>
            </p:cNvSpPr>
            <p:nvPr/>
          </p:nvSpPr>
          <p:spPr bwMode="auto">
            <a:xfrm>
              <a:off x="6097588" y="1945117"/>
              <a:ext cx="41275" cy="50800"/>
            </a:xfrm>
            <a:custGeom>
              <a:avLst/>
              <a:gdLst>
                <a:gd name="T0" fmla="*/ 14 w 26"/>
                <a:gd name="T1" fmla="*/ 29 h 32"/>
                <a:gd name="T2" fmla="*/ 14 w 26"/>
                <a:gd name="T3" fmla="*/ 29 h 32"/>
                <a:gd name="T4" fmla="*/ 12 w 26"/>
                <a:gd name="T5" fmla="*/ 28 h 32"/>
                <a:gd name="T6" fmla="*/ 10 w 26"/>
                <a:gd name="T7" fmla="*/ 27 h 32"/>
                <a:gd name="T8" fmla="*/ 7 w 26"/>
                <a:gd name="T9" fmla="*/ 25 h 32"/>
                <a:gd name="T10" fmla="*/ 6 w 26"/>
                <a:gd name="T11" fmla="*/ 27 h 32"/>
                <a:gd name="T12" fmla="*/ 6 w 26"/>
                <a:gd name="T13" fmla="*/ 27 h 32"/>
                <a:gd name="T14" fmla="*/ 3 w 26"/>
                <a:gd name="T15" fmla="*/ 32 h 32"/>
                <a:gd name="T16" fmla="*/ 1 w 26"/>
                <a:gd name="T17" fmla="*/ 32 h 32"/>
                <a:gd name="T18" fmla="*/ 0 w 26"/>
                <a:gd name="T19" fmla="*/ 31 h 32"/>
                <a:gd name="T20" fmla="*/ 0 w 26"/>
                <a:gd name="T21" fmla="*/ 31 h 32"/>
                <a:gd name="T22" fmla="*/ 0 w 26"/>
                <a:gd name="T23" fmla="*/ 25 h 32"/>
                <a:gd name="T24" fmla="*/ 0 w 26"/>
                <a:gd name="T25" fmla="*/ 18 h 32"/>
                <a:gd name="T26" fmla="*/ 1 w 26"/>
                <a:gd name="T27" fmla="*/ 12 h 32"/>
                <a:gd name="T28" fmla="*/ 4 w 26"/>
                <a:gd name="T29" fmla="*/ 8 h 32"/>
                <a:gd name="T30" fmla="*/ 4 w 26"/>
                <a:gd name="T31" fmla="*/ 8 h 32"/>
                <a:gd name="T32" fmla="*/ 10 w 26"/>
                <a:gd name="T33" fmla="*/ 2 h 32"/>
                <a:gd name="T34" fmla="*/ 14 w 26"/>
                <a:gd name="T35" fmla="*/ 0 h 32"/>
                <a:gd name="T36" fmla="*/ 17 w 26"/>
                <a:gd name="T37" fmla="*/ 2 h 32"/>
                <a:gd name="T38" fmla="*/ 17 w 26"/>
                <a:gd name="T39" fmla="*/ 2 h 32"/>
                <a:gd name="T40" fmla="*/ 22 w 26"/>
                <a:gd name="T41" fmla="*/ 6 h 32"/>
                <a:gd name="T42" fmla="*/ 25 w 26"/>
                <a:gd name="T43" fmla="*/ 12 h 32"/>
                <a:gd name="T44" fmla="*/ 25 w 26"/>
                <a:gd name="T45" fmla="*/ 12 h 32"/>
                <a:gd name="T46" fmla="*/ 26 w 26"/>
                <a:gd name="T47" fmla="*/ 16 h 32"/>
                <a:gd name="T48" fmla="*/ 25 w 26"/>
                <a:gd name="T49" fmla="*/ 22 h 32"/>
                <a:gd name="T50" fmla="*/ 23 w 26"/>
                <a:gd name="T51" fmla="*/ 25 h 32"/>
                <a:gd name="T52" fmla="*/ 22 w 26"/>
                <a:gd name="T53" fmla="*/ 27 h 32"/>
                <a:gd name="T54" fmla="*/ 19 w 26"/>
                <a:gd name="T55" fmla="*/ 28 h 32"/>
                <a:gd name="T56" fmla="*/ 14 w 26"/>
                <a:gd name="T57" fmla="*/ 2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32">
                  <a:moveTo>
                    <a:pt x="14" y="29"/>
                  </a:moveTo>
                  <a:lnTo>
                    <a:pt x="14" y="29"/>
                  </a:lnTo>
                  <a:lnTo>
                    <a:pt x="12" y="28"/>
                  </a:lnTo>
                  <a:lnTo>
                    <a:pt x="10" y="27"/>
                  </a:lnTo>
                  <a:lnTo>
                    <a:pt x="7" y="25"/>
                  </a:lnTo>
                  <a:lnTo>
                    <a:pt x="6" y="27"/>
                  </a:lnTo>
                  <a:lnTo>
                    <a:pt x="6" y="27"/>
                  </a:lnTo>
                  <a:lnTo>
                    <a:pt x="3" y="32"/>
                  </a:lnTo>
                  <a:lnTo>
                    <a:pt x="1" y="32"/>
                  </a:lnTo>
                  <a:lnTo>
                    <a:pt x="0" y="31"/>
                  </a:lnTo>
                  <a:lnTo>
                    <a:pt x="0" y="31"/>
                  </a:lnTo>
                  <a:lnTo>
                    <a:pt x="0" y="25"/>
                  </a:lnTo>
                  <a:lnTo>
                    <a:pt x="0" y="18"/>
                  </a:lnTo>
                  <a:lnTo>
                    <a:pt x="1" y="12"/>
                  </a:lnTo>
                  <a:lnTo>
                    <a:pt x="4" y="8"/>
                  </a:lnTo>
                  <a:lnTo>
                    <a:pt x="4" y="8"/>
                  </a:lnTo>
                  <a:lnTo>
                    <a:pt x="10" y="2"/>
                  </a:lnTo>
                  <a:lnTo>
                    <a:pt x="14" y="0"/>
                  </a:lnTo>
                  <a:lnTo>
                    <a:pt x="17" y="2"/>
                  </a:lnTo>
                  <a:lnTo>
                    <a:pt x="17" y="2"/>
                  </a:lnTo>
                  <a:lnTo>
                    <a:pt x="22" y="6"/>
                  </a:lnTo>
                  <a:lnTo>
                    <a:pt x="25" y="12"/>
                  </a:lnTo>
                  <a:lnTo>
                    <a:pt x="25" y="12"/>
                  </a:lnTo>
                  <a:lnTo>
                    <a:pt x="26" y="16"/>
                  </a:lnTo>
                  <a:lnTo>
                    <a:pt x="25" y="22"/>
                  </a:lnTo>
                  <a:lnTo>
                    <a:pt x="23" y="25"/>
                  </a:lnTo>
                  <a:lnTo>
                    <a:pt x="22" y="27"/>
                  </a:lnTo>
                  <a:lnTo>
                    <a:pt x="19" y="28"/>
                  </a:lnTo>
                  <a:lnTo>
                    <a:pt x="14" y="29"/>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88" name="Freeform 1460"/>
            <p:cNvSpPr>
              <a:spLocks/>
            </p:cNvSpPr>
            <p:nvPr/>
          </p:nvSpPr>
          <p:spPr bwMode="auto">
            <a:xfrm>
              <a:off x="6097588" y="1945117"/>
              <a:ext cx="41275" cy="50800"/>
            </a:xfrm>
            <a:custGeom>
              <a:avLst/>
              <a:gdLst>
                <a:gd name="T0" fmla="*/ 14 w 26"/>
                <a:gd name="T1" fmla="*/ 29 h 32"/>
                <a:gd name="T2" fmla="*/ 14 w 26"/>
                <a:gd name="T3" fmla="*/ 29 h 32"/>
                <a:gd name="T4" fmla="*/ 12 w 26"/>
                <a:gd name="T5" fmla="*/ 28 h 32"/>
                <a:gd name="T6" fmla="*/ 10 w 26"/>
                <a:gd name="T7" fmla="*/ 27 h 32"/>
                <a:gd name="T8" fmla="*/ 7 w 26"/>
                <a:gd name="T9" fmla="*/ 25 h 32"/>
                <a:gd name="T10" fmla="*/ 6 w 26"/>
                <a:gd name="T11" fmla="*/ 27 h 32"/>
                <a:gd name="T12" fmla="*/ 6 w 26"/>
                <a:gd name="T13" fmla="*/ 27 h 32"/>
                <a:gd name="T14" fmla="*/ 3 w 26"/>
                <a:gd name="T15" fmla="*/ 32 h 32"/>
                <a:gd name="T16" fmla="*/ 1 w 26"/>
                <a:gd name="T17" fmla="*/ 32 h 32"/>
                <a:gd name="T18" fmla="*/ 0 w 26"/>
                <a:gd name="T19" fmla="*/ 31 h 32"/>
                <a:gd name="T20" fmla="*/ 0 w 26"/>
                <a:gd name="T21" fmla="*/ 31 h 32"/>
                <a:gd name="T22" fmla="*/ 0 w 26"/>
                <a:gd name="T23" fmla="*/ 25 h 32"/>
                <a:gd name="T24" fmla="*/ 0 w 26"/>
                <a:gd name="T25" fmla="*/ 18 h 32"/>
                <a:gd name="T26" fmla="*/ 1 w 26"/>
                <a:gd name="T27" fmla="*/ 12 h 32"/>
                <a:gd name="T28" fmla="*/ 4 w 26"/>
                <a:gd name="T29" fmla="*/ 8 h 32"/>
                <a:gd name="T30" fmla="*/ 4 w 26"/>
                <a:gd name="T31" fmla="*/ 8 h 32"/>
                <a:gd name="T32" fmla="*/ 10 w 26"/>
                <a:gd name="T33" fmla="*/ 2 h 32"/>
                <a:gd name="T34" fmla="*/ 14 w 26"/>
                <a:gd name="T35" fmla="*/ 0 h 32"/>
                <a:gd name="T36" fmla="*/ 17 w 26"/>
                <a:gd name="T37" fmla="*/ 2 h 32"/>
                <a:gd name="T38" fmla="*/ 17 w 26"/>
                <a:gd name="T39" fmla="*/ 2 h 32"/>
                <a:gd name="T40" fmla="*/ 22 w 26"/>
                <a:gd name="T41" fmla="*/ 6 h 32"/>
                <a:gd name="T42" fmla="*/ 25 w 26"/>
                <a:gd name="T43" fmla="*/ 12 h 32"/>
                <a:gd name="T44" fmla="*/ 25 w 26"/>
                <a:gd name="T45" fmla="*/ 12 h 32"/>
                <a:gd name="T46" fmla="*/ 26 w 26"/>
                <a:gd name="T47" fmla="*/ 16 h 32"/>
                <a:gd name="T48" fmla="*/ 25 w 26"/>
                <a:gd name="T49" fmla="*/ 22 h 32"/>
                <a:gd name="T50" fmla="*/ 23 w 26"/>
                <a:gd name="T51" fmla="*/ 25 h 32"/>
                <a:gd name="T52" fmla="*/ 22 w 26"/>
                <a:gd name="T53" fmla="*/ 27 h 32"/>
                <a:gd name="T54" fmla="*/ 19 w 26"/>
                <a:gd name="T55" fmla="*/ 28 h 32"/>
                <a:gd name="T56" fmla="*/ 14 w 26"/>
                <a:gd name="T57" fmla="*/ 2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32">
                  <a:moveTo>
                    <a:pt x="14" y="29"/>
                  </a:moveTo>
                  <a:lnTo>
                    <a:pt x="14" y="29"/>
                  </a:lnTo>
                  <a:lnTo>
                    <a:pt x="12" y="28"/>
                  </a:lnTo>
                  <a:lnTo>
                    <a:pt x="10" y="27"/>
                  </a:lnTo>
                  <a:lnTo>
                    <a:pt x="7" y="25"/>
                  </a:lnTo>
                  <a:lnTo>
                    <a:pt x="6" y="27"/>
                  </a:lnTo>
                  <a:lnTo>
                    <a:pt x="6" y="27"/>
                  </a:lnTo>
                  <a:lnTo>
                    <a:pt x="3" y="32"/>
                  </a:lnTo>
                  <a:lnTo>
                    <a:pt x="1" y="32"/>
                  </a:lnTo>
                  <a:lnTo>
                    <a:pt x="0" y="31"/>
                  </a:lnTo>
                  <a:lnTo>
                    <a:pt x="0" y="31"/>
                  </a:lnTo>
                  <a:lnTo>
                    <a:pt x="0" y="25"/>
                  </a:lnTo>
                  <a:lnTo>
                    <a:pt x="0" y="18"/>
                  </a:lnTo>
                  <a:lnTo>
                    <a:pt x="1" y="12"/>
                  </a:lnTo>
                  <a:lnTo>
                    <a:pt x="4" y="8"/>
                  </a:lnTo>
                  <a:lnTo>
                    <a:pt x="4" y="8"/>
                  </a:lnTo>
                  <a:lnTo>
                    <a:pt x="10" y="2"/>
                  </a:lnTo>
                  <a:lnTo>
                    <a:pt x="14" y="0"/>
                  </a:lnTo>
                  <a:lnTo>
                    <a:pt x="17" y="2"/>
                  </a:lnTo>
                  <a:lnTo>
                    <a:pt x="17" y="2"/>
                  </a:lnTo>
                  <a:lnTo>
                    <a:pt x="22" y="6"/>
                  </a:lnTo>
                  <a:lnTo>
                    <a:pt x="25" y="12"/>
                  </a:lnTo>
                  <a:lnTo>
                    <a:pt x="25" y="12"/>
                  </a:lnTo>
                  <a:lnTo>
                    <a:pt x="26" y="16"/>
                  </a:lnTo>
                  <a:lnTo>
                    <a:pt x="25" y="22"/>
                  </a:lnTo>
                  <a:lnTo>
                    <a:pt x="23" y="25"/>
                  </a:lnTo>
                  <a:lnTo>
                    <a:pt x="22" y="27"/>
                  </a:lnTo>
                  <a:lnTo>
                    <a:pt x="19" y="28"/>
                  </a:lnTo>
                  <a:lnTo>
                    <a:pt x="14" y="2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89" name="Freeform 1461"/>
            <p:cNvSpPr>
              <a:spLocks/>
            </p:cNvSpPr>
            <p:nvPr/>
          </p:nvSpPr>
          <p:spPr bwMode="auto">
            <a:xfrm>
              <a:off x="6203951" y="1968929"/>
              <a:ext cx="15875" cy="22225"/>
            </a:xfrm>
            <a:custGeom>
              <a:avLst/>
              <a:gdLst>
                <a:gd name="T0" fmla="*/ 5 w 10"/>
                <a:gd name="T1" fmla="*/ 14 h 14"/>
                <a:gd name="T2" fmla="*/ 5 w 10"/>
                <a:gd name="T3" fmla="*/ 14 h 14"/>
                <a:gd name="T4" fmla="*/ 4 w 10"/>
                <a:gd name="T5" fmla="*/ 14 h 14"/>
                <a:gd name="T6" fmla="*/ 2 w 10"/>
                <a:gd name="T7" fmla="*/ 14 h 14"/>
                <a:gd name="T8" fmla="*/ 0 w 10"/>
                <a:gd name="T9" fmla="*/ 10 h 14"/>
                <a:gd name="T10" fmla="*/ 0 w 10"/>
                <a:gd name="T11" fmla="*/ 6 h 14"/>
                <a:gd name="T12" fmla="*/ 1 w 10"/>
                <a:gd name="T13" fmla="*/ 3 h 14"/>
                <a:gd name="T14" fmla="*/ 1 w 10"/>
                <a:gd name="T15" fmla="*/ 3 h 14"/>
                <a:gd name="T16" fmla="*/ 4 w 10"/>
                <a:gd name="T17" fmla="*/ 0 h 14"/>
                <a:gd name="T18" fmla="*/ 5 w 10"/>
                <a:gd name="T19" fmla="*/ 0 h 14"/>
                <a:gd name="T20" fmla="*/ 8 w 10"/>
                <a:gd name="T21" fmla="*/ 0 h 14"/>
                <a:gd name="T22" fmla="*/ 10 w 10"/>
                <a:gd name="T23" fmla="*/ 1 h 14"/>
                <a:gd name="T24" fmla="*/ 10 w 10"/>
                <a:gd name="T25" fmla="*/ 1 h 14"/>
                <a:gd name="T26" fmla="*/ 10 w 10"/>
                <a:gd name="T27" fmla="*/ 6 h 14"/>
                <a:gd name="T28" fmla="*/ 8 w 10"/>
                <a:gd name="T29" fmla="*/ 9 h 14"/>
                <a:gd name="T30" fmla="*/ 7 w 10"/>
                <a:gd name="T31" fmla="*/ 12 h 14"/>
                <a:gd name="T32" fmla="*/ 5 w 10"/>
                <a:gd name="T3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14">
                  <a:moveTo>
                    <a:pt x="5" y="14"/>
                  </a:moveTo>
                  <a:lnTo>
                    <a:pt x="5" y="14"/>
                  </a:lnTo>
                  <a:lnTo>
                    <a:pt x="4" y="14"/>
                  </a:lnTo>
                  <a:lnTo>
                    <a:pt x="2" y="14"/>
                  </a:lnTo>
                  <a:lnTo>
                    <a:pt x="0" y="10"/>
                  </a:lnTo>
                  <a:lnTo>
                    <a:pt x="0" y="6"/>
                  </a:lnTo>
                  <a:lnTo>
                    <a:pt x="1" y="3"/>
                  </a:lnTo>
                  <a:lnTo>
                    <a:pt x="1" y="3"/>
                  </a:lnTo>
                  <a:lnTo>
                    <a:pt x="4" y="0"/>
                  </a:lnTo>
                  <a:lnTo>
                    <a:pt x="5" y="0"/>
                  </a:lnTo>
                  <a:lnTo>
                    <a:pt x="8" y="0"/>
                  </a:lnTo>
                  <a:lnTo>
                    <a:pt x="10" y="1"/>
                  </a:lnTo>
                  <a:lnTo>
                    <a:pt x="10" y="1"/>
                  </a:lnTo>
                  <a:lnTo>
                    <a:pt x="10" y="6"/>
                  </a:lnTo>
                  <a:lnTo>
                    <a:pt x="8" y="9"/>
                  </a:lnTo>
                  <a:lnTo>
                    <a:pt x="7" y="12"/>
                  </a:lnTo>
                  <a:lnTo>
                    <a:pt x="5" y="14"/>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90" name="Freeform 1462"/>
            <p:cNvSpPr>
              <a:spLocks/>
            </p:cNvSpPr>
            <p:nvPr/>
          </p:nvSpPr>
          <p:spPr bwMode="auto">
            <a:xfrm>
              <a:off x="6203951" y="1968929"/>
              <a:ext cx="15875" cy="22225"/>
            </a:xfrm>
            <a:custGeom>
              <a:avLst/>
              <a:gdLst>
                <a:gd name="T0" fmla="*/ 5 w 10"/>
                <a:gd name="T1" fmla="*/ 14 h 14"/>
                <a:gd name="T2" fmla="*/ 5 w 10"/>
                <a:gd name="T3" fmla="*/ 14 h 14"/>
                <a:gd name="T4" fmla="*/ 4 w 10"/>
                <a:gd name="T5" fmla="*/ 14 h 14"/>
                <a:gd name="T6" fmla="*/ 2 w 10"/>
                <a:gd name="T7" fmla="*/ 14 h 14"/>
                <a:gd name="T8" fmla="*/ 0 w 10"/>
                <a:gd name="T9" fmla="*/ 10 h 14"/>
                <a:gd name="T10" fmla="*/ 0 w 10"/>
                <a:gd name="T11" fmla="*/ 6 h 14"/>
                <a:gd name="T12" fmla="*/ 1 w 10"/>
                <a:gd name="T13" fmla="*/ 3 h 14"/>
                <a:gd name="T14" fmla="*/ 1 w 10"/>
                <a:gd name="T15" fmla="*/ 3 h 14"/>
                <a:gd name="T16" fmla="*/ 4 w 10"/>
                <a:gd name="T17" fmla="*/ 0 h 14"/>
                <a:gd name="T18" fmla="*/ 5 w 10"/>
                <a:gd name="T19" fmla="*/ 0 h 14"/>
                <a:gd name="T20" fmla="*/ 8 w 10"/>
                <a:gd name="T21" fmla="*/ 0 h 14"/>
                <a:gd name="T22" fmla="*/ 10 w 10"/>
                <a:gd name="T23" fmla="*/ 1 h 14"/>
                <a:gd name="T24" fmla="*/ 10 w 10"/>
                <a:gd name="T25" fmla="*/ 1 h 14"/>
                <a:gd name="T26" fmla="*/ 10 w 10"/>
                <a:gd name="T27" fmla="*/ 6 h 14"/>
                <a:gd name="T28" fmla="*/ 8 w 10"/>
                <a:gd name="T29" fmla="*/ 9 h 14"/>
                <a:gd name="T30" fmla="*/ 7 w 10"/>
                <a:gd name="T31" fmla="*/ 12 h 14"/>
                <a:gd name="T32" fmla="*/ 5 w 10"/>
                <a:gd name="T3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14">
                  <a:moveTo>
                    <a:pt x="5" y="14"/>
                  </a:moveTo>
                  <a:lnTo>
                    <a:pt x="5" y="14"/>
                  </a:lnTo>
                  <a:lnTo>
                    <a:pt x="4" y="14"/>
                  </a:lnTo>
                  <a:lnTo>
                    <a:pt x="2" y="14"/>
                  </a:lnTo>
                  <a:lnTo>
                    <a:pt x="0" y="10"/>
                  </a:lnTo>
                  <a:lnTo>
                    <a:pt x="0" y="6"/>
                  </a:lnTo>
                  <a:lnTo>
                    <a:pt x="1" y="3"/>
                  </a:lnTo>
                  <a:lnTo>
                    <a:pt x="1" y="3"/>
                  </a:lnTo>
                  <a:lnTo>
                    <a:pt x="4" y="0"/>
                  </a:lnTo>
                  <a:lnTo>
                    <a:pt x="5" y="0"/>
                  </a:lnTo>
                  <a:lnTo>
                    <a:pt x="8" y="0"/>
                  </a:lnTo>
                  <a:lnTo>
                    <a:pt x="10" y="1"/>
                  </a:lnTo>
                  <a:lnTo>
                    <a:pt x="10" y="1"/>
                  </a:lnTo>
                  <a:lnTo>
                    <a:pt x="10" y="6"/>
                  </a:lnTo>
                  <a:lnTo>
                    <a:pt x="8" y="9"/>
                  </a:lnTo>
                  <a:lnTo>
                    <a:pt x="7" y="12"/>
                  </a:lnTo>
                  <a:lnTo>
                    <a:pt x="5" y="14"/>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91" name="Freeform 1463"/>
            <p:cNvSpPr>
              <a:spLocks/>
            </p:cNvSpPr>
            <p:nvPr/>
          </p:nvSpPr>
          <p:spPr bwMode="auto">
            <a:xfrm>
              <a:off x="6281738" y="1987979"/>
              <a:ext cx="20638" cy="22225"/>
            </a:xfrm>
            <a:custGeom>
              <a:avLst/>
              <a:gdLst>
                <a:gd name="T0" fmla="*/ 10 w 13"/>
                <a:gd name="T1" fmla="*/ 14 h 14"/>
                <a:gd name="T2" fmla="*/ 10 w 13"/>
                <a:gd name="T3" fmla="*/ 14 h 14"/>
                <a:gd name="T4" fmla="*/ 3 w 13"/>
                <a:gd name="T5" fmla="*/ 13 h 14"/>
                <a:gd name="T6" fmla="*/ 1 w 13"/>
                <a:gd name="T7" fmla="*/ 11 h 14"/>
                <a:gd name="T8" fmla="*/ 0 w 13"/>
                <a:gd name="T9" fmla="*/ 10 h 14"/>
                <a:gd name="T10" fmla="*/ 0 w 13"/>
                <a:gd name="T11" fmla="*/ 10 h 14"/>
                <a:gd name="T12" fmla="*/ 0 w 13"/>
                <a:gd name="T13" fmla="*/ 5 h 14"/>
                <a:gd name="T14" fmla="*/ 3 w 13"/>
                <a:gd name="T15" fmla="*/ 2 h 14"/>
                <a:gd name="T16" fmla="*/ 4 w 13"/>
                <a:gd name="T17" fmla="*/ 0 h 14"/>
                <a:gd name="T18" fmla="*/ 7 w 13"/>
                <a:gd name="T19" fmla="*/ 0 h 14"/>
                <a:gd name="T20" fmla="*/ 7 w 13"/>
                <a:gd name="T21" fmla="*/ 0 h 14"/>
                <a:gd name="T22" fmla="*/ 10 w 13"/>
                <a:gd name="T23" fmla="*/ 1 h 14"/>
                <a:gd name="T24" fmla="*/ 13 w 13"/>
                <a:gd name="T25" fmla="*/ 7 h 14"/>
                <a:gd name="T26" fmla="*/ 13 w 13"/>
                <a:gd name="T27" fmla="*/ 11 h 14"/>
                <a:gd name="T28" fmla="*/ 11 w 13"/>
                <a:gd name="T29" fmla="*/ 13 h 14"/>
                <a:gd name="T30" fmla="*/ 10 w 13"/>
                <a:gd name="T3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4">
                  <a:moveTo>
                    <a:pt x="10" y="14"/>
                  </a:moveTo>
                  <a:lnTo>
                    <a:pt x="10" y="14"/>
                  </a:lnTo>
                  <a:lnTo>
                    <a:pt x="3" y="13"/>
                  </a:lnTo>
                  <a:lnTo>
                    <a:pt x="1" y="11"/>
                  </a:lnTo>
                  <a:lnTo>
                    <a:pt x="0" y="10"/>
                  </a:lnTo>
                  <a:lnTo>
                    <a:pt x="0" y="10"/>
                  </a:lnTo>
                  <a:lnTo>
                    <a:pt x="0" y="5"/>
                  </a:lnTo>
                  <a:lnTo>
                    <a:pt x="3" y="2"/>
                  </a:lnTo>
                  <a:lnTo>
                    <a:pt x="4" y="0"/>
                  </a:lnTo>
                  <a:lnTo>
                    <a:pt x="7" y="0"/>
                  </a:lnTo>
                  <a:lnTo>
                    <a:pt x="7" y="0"/>
                  </a:lnTo>
                  <a:lnTo>
                    <a:pt x="10" y="1"/>
                  </a:lnTo>
                  <a:lnTo>
                    <a:pt x="13" y="7"/>
                  </a:lnTo>
                  <a:lnTo>
                    <a:pt x="13" y="11"/>
                  </a:lnTo>
                  <a:lnTo>
                    <a:pt x="11" y="13"/>
                  </a:lnTo>
                  <a:lnTo>
                    <a:pt x="10" y="14"/>
                  </a:lnTo>
                  <a:close/>
                </a:path>
              </a:pathLst>
            </a:custGeom>
            <a:solidFill>
              <a:srgbClr val="92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92" name="Freeform 1464"/>
            <p:cNvSpPr>
              <a:spLocks/>
            </p:cNvSpPr>
            <p:nvPr/>
          </p:nvSpPr>
          <p:spPr bwMode="auto">
            <a:xfrm>
              <a:off x="6281738" y="1987979"/>
              <a:ext cx="20638" cy="22225"/>
            </a:xfrm>
            <a:custGeom>
              <a:avLst/>
              <a:gdLst>
                <a:gd name="T0" fmla="*/ 10 w 13"/>
                <a:gd name="T1" fmla="*/ 14 h 14"/>
                <a:gd name="T2" fmla="*/ 10 w 13"/>
                <a:gd name="T3" fmla="*/ 14 h 14"/>
                <a:gd name="T4" fmla="*/ 3 w 13"/>
                <a:gd name="T5" fmla="*/ 13 h 14"/>
                <a:gd name="T6" fmla="*/ 1 w 13"/>
                <a:gd name="T7" fmla="*/ 11 h 14"/>
                <a:gd name="T8" fmla="*/ 0 w 13"/>
                <a:gd name="T9" fmla="*/ 10 h 14"/>
                <a:gd name="T10" fmla="*/ 0 w 13"/>
                <a:gd name="T11" fmla="*/ 10 h 14"/>
                <a:gd name="T12" fmla="*/ 0 w 13"/>
                <a:gd name="T13" fmla="*/ 5 h 14"/>
                <a:gd name="T14" fmla="*/ 3 w 13"/>
                <a:gd name="T15" fmla="*/ 2 h 14"/>
                <a:gd name="T16" fmla="*/ 4 w 13"/>
                <a:gd name="T17" fmla="*/ 0 h 14"/>
                <a:gd name="T18" fmla="*/ 7 w 13"/>
                <a:gd name="T19" fmla="*/ 0 h 14"/>
                <a:gd name="T20" fmla="*/ 7 w 13"/>
                <a:gd name="T21" fmla="*/ 0 h 14"/>
                <a:gd name="T22" fmla="*/ 10 w 13"/>
                <a:gd name="T23" fmla="*/ 1 h 14"/>
                <a:gd name="T24" fmla="*/ 13 w 13"/>
                <a:gd name="T25" fmla="*/ 7 h 14"/>
                <a:gd name="T26" fmla="*/ 13 w 13"/>
                <a:gd name="T27" fmla="*/ 11 h 14"/>
                <a:gd name="T28" fmla="*/ 11 w 13"/>
                <a:gd name="T29" fmla="*/ 13 h 14"/>
                <a:gd name="T30" fmla="*/ 10 w 13"/>
                <a:gd name="T3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4">
                  <a:moveTo>
                    <a:pt x="10" y="14"/>
                  </a:moveTo>
                  <a:lnTo>
                    <a:pt x="10" y="14"/>
                  </a:lnTo>
                  <a:lnTo>
                    <a:pt x="3" y="13"/>
                  </a:lnTo>
                  <a:lnTo>
                    <a:pt x="1" y="11"/>
                  </a:lnTo>
                  <a:lnTo>
                    <a:pt x="0" y="10"/>
                  </a:lnTo>
                  <a:lnTo>
                    <a:pt x="0" y="10"/>
                  </a:lnTo>
                  <a:lnTo>
                    <a:pt x="0" y="5"/>
                  </a:lnTo>
                  <a:lnTo>
                    <a:pt x="3" y="2"/>
                  </a:lnTo>
                  <a:lnTo>
                    <a:pt x="4" y="0"/>
                  </a:lnTo>
                  <a:lnTo>
                    <a:pt x="7" y="0"/>
                  </a:lnTo>
                  <a:lnTo>
                    <a:pt x="7" y="0"/>
                  </a:lnTo>
                  <a:lnTo>
                    <a:pt x="10" y="1"/>
                  </a:lnTo>
                  <a:lnTo>
                    <a:pt x="13" y="7"/>
                  </a:lnTo>
                  <a:lnTo>
                    <a:pt x="13" y="11"/>
                  </a:lnTo>
                  <a:lnTo>
                    <a:pt x="11" y="13"/>
                  </a:lnTo>
                  <a:lnTo>
                    <a:pt x="10" y="14"/>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93" name="Freeform 1465"/>
            <p:cNvSpPr>
              <a:spLocks/>
            </p:cNvSpPr>
            <p:nvPr/>
          </p:nvSpPr>
          <p:spPr bwMode="auto">
            <a:xfrm>
              <a:off x="6313488" y="1954642"/>
              <a:ext cx="20638" cy="28575"/>
            </a:xfrm>
            <a:custGeom>
              <a:avLst/>
              <a:gdLst>
                <a:gd name="T0" fmla="*/ 7 w 13"/>
                <a:gd name="T1" fmla="*/ 18 h 18"/>
                <a:gd name="T2" fmla="*/ 7 w 13"/>
                <a:gd name="T3" fmla="*/ 18 h 18"/>
                <a:gd name="T4" fmla="*/ 4 w 13"/>
                <a:gd name="T5" fmla="*/ 18 h 18"/>
                <a:gd name="T6" fmla="*/ 2 w 13"/>
                <a:gd name="T7" fmla="*/ 16 h 18"/>
                <a:gd name="T8" fmla="*/ 0 w 13"/>
                <a:gd name="T9" fmla="*/ 13 h 18"/>
                <a:gd name="T10" fmla="*/ 0 w 13"/>
                <a:gd name="T11" fmla="*/ 10 h 18"/>
                <a:gd name="T12" fmla="*/ 0 w 13"/>
                <a:gd name="T13" fmla="*/ 10 h 18"/>
                <a:gd name="T14" fmla="*/ 7 w 13"/>
                <a:gd name="T15" fmla="*/ 3 h 18"/>
                <a:gd name="T16" fmla="*/ 10 w 13"/>
                <a:gd name="T17" fmla="*/ 0 h 18"/>
                <a:gd name="T18" fmla="*/ 12 w 13"/>
                <a:gd name="T19" fmla="*/ 0 h 18"/>
                <a:gd name="T20" fmla="*/ 12 w 13"/>
                <a:gd name="T21" fmla="*/ 0 h 18"/>
                <a:gd name="T22" fmla="*/ 13 w 13"/>
                <a:gd name="T23" fmla="*/ 10 h 18"/>
                <a:gd name="T24" fmla="*/ 12 w 13"/>
                <a:gd name="T25" fmla="*/ 16 h 18"/>
                <a:gd name="T26" fmla="*/ 10 w 13"/>
                <a:gd name="T27" fmla="*/ 18 h 18"/>
                <a:gd name="T28" fmla="*/ 7 w 13"/>
                <a:gd name="T2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8">
                  <a:moveTo>
                    <a:pt x="7" y="18"/>
                  </a:moveTo>
                  <a:lnTo>
                    <a:pt x="7" y="18"/>
                  </a:lnTo>
                  <a:lnTo>
                    <a:pt x="4" y="18"/>
                  </a:lnTo>
                  <a:lnTo>
                    <a:pt x="2" y="16"/>
                  </a:lnTo>
                  <a:lnTo>
                    <a:pt x="0" y="13"/>
                  </a:lnTo>
                  <a:lnTo>
                    <a:pt x="0" y="10"/>
                  </a:lnTo>
                  <a:lnTo>
                    <a:pt x="0" y="10"/>
                  </a:lnTo>
                  <a:lnTo>
                    <a:pt x="7" y="3"/>
                  </a:lnTo>
                  <a:lnTo>
                    <a:pt x="10" y="0"/>
                  </a:lnTo>
                  <a:lnTo>
                    <a:pt x="12" y="0"/>
                  </a:lnTo>
                  <a:lnTo>
                    <a:pt x="12" y="0"/>
                  </a:lnTo>
                  <a:lnTo>
                    <a:pt x="13" y="10"/>
                  </a:lnTo>
                  <a:lnTo>
                    <a:pt x="12" y="16"/>
                  </a:lnTo>
                  <a:lnTo>
                    <a:pt x="10" y="18"/>
                  </a:lnTo>
                  <a:lnTo>
                    <a:pt x="7" y="18"/>
                  </a:lnTo>
                  <a:close/>
                </a:path>
              </a:pathLst>
            </a:custGeom>
            <a:solidFill>
              <a:srgbClr val="92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94" name="Freeform 1466"/>
            <p:cNvSpPr>
              <a:spLocks/>
            </p:cNvSpPr>
            <p:nvPr/>
          </p:nvSpPr>
          <p:spPr bwMode="auto">
            <a:xfrm>
              <a:off x="6313488" y="1954642"/>
              <a:ext cx="20638" cy="28575"/>
            </a:xfrm>
            <a:custGeom>
              <a:avLst/>
              <a:gdLst>
                <a:gd name="T0" fmla="*/ 7 w 13"/>
                <a:gd name="T1" fmla="*/ 18 h 18"/>
                <a:gd name="T2" fmla="*/ 7 w 13"/>
                <a:gd name="T3" fmla="*/ 18 h 18"/>
                <a:gd name="T4" fmla="*/ 4 w 13"/>
                <a:gd name="T5" fmla="*/ 18 h 18"/>
                <a:gd name="T6" fmla="*/ 2 w 13"/>
                <a:gd name="T7" fmla="*/ 16 h 18"/>
                <a:gd name="T8" fmla="*/ 0 w 13"/>
                <a:gd name="T9" fmla="*/ 13 h 18"/>
                <a:gd name="T10" fmla="*/ 0 w 13"/>
                <a:gd name="T11" fmla="*/ 10 h 18"/>
                <a:gd name="T12" fmla="*/ 0 w 13"/>
                <a:gd name="T13" fmla="*/ 10 h 18"/>
                <a:gd name="T14" fmla="*/ 7 w 13"/>
                <a:gd name="T15" fmla="*/ 3 h 18"/>
                <a:gd name="T16" fmla="*/ 10 w 13"/>
                <a:gd name="T17" fmla="*/ 0 h 18"/>
                <a:gd name="T18" fmla="*/ 12 w 13"/>
                <a:gd name="T19" fmla="*/ 0 h 18"/>
                <a:gd name="T20" fmla="*/ 12 w 13"/>
                <a:gd name="T21" fmla="*/ 0 h 18"/>
                <a:gd name="T22" fmla="*/ 13 w 13"/>
                <a:gd name="T23" fmla="*/ 10 h 18"/>
                <a:gd name="T24" fmla="*/ 12 w 13"/>
                <a:gd name="T25" fmla="*/ 16 h 18"/>
                <a:gd name="T26" fmla="*/ 10 w 13"/>
                <a:gd name="T27" fmla="*/ 18 h 18"/>
                <a:gd name="T28" fmla="*/ 7 w 13"/>
                <a:gd name="T2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8">
                  <a:moveTo>
                    <a:pt x="7" y="18"/>
                  </a:moveTo>
                  <a:lnTo>
                    <a:pt x="7" y="18"/>
                  </a:lnTo>
                  <a:lnTo>
                    <a:pt x="4" y="18"/>
                  </a:lnTo>
                  <a:lnTo>
                    <a:pt x="2" y="16"/>
                  </a:lnTo>
                  <a:lnTo>
                    <a:pt x="0" y="13"/>
                  </a:lnTo>
                  <a:lnTo>
                    <a:pt x="0" y="10"/>
                  </a:lnTo>
                  <a:lnTo>
                    <a:pt x="0" y="10"/>
                  </a:lnTo>
                  <a:lnTo>
                    <a:pt x="7" y="3"/>
                  </a:lnTo>
                  <a:lnTo>
                    <a:pt x="10" y="0"/>
                  </a:lnTo>
                  <a:lnTo>
                    <a:pt x="12" y="0"/>
                  </a:lnTo>
                  <a:lnTo>
                    <a:pt x="12" y="0"/>
                  </a:lnTo>
                  <a:lnTo>
                    <a:pt x="13" y="10"/>
                  </a:lnTo>
                  <a:lnTo>
                    <a:pt x="12" y="16"/>
                  </a:lnTo>
                  <a:lnTo>
                    <a:pt x="10" y="18"/>
                  </a:lnTo>
                  <a:lnTo>
                    <a:pt x="7" y="18"/>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95" name="Freeform 1467"/>
            <p:cNvSpPr>
              <a:spLocks/>
            </p:cNvSpPr>
            <p:nvPr/>
          </p:nvSpPr>
          <p:spPr bwMode="auto">
            <a:xfrm>
              <a:off x="7143751" y="1851454"/>
              <a:ext cx="36513" cy="26988"/>
            </a:xfrm>
            <a:custGeom>
              <a:avLst/>
              <a:gdLst>
                <a:gd name="T0" fmla="*/ 22 w 23"/>
                <a:gd name="T1" fmla="*/ 16 h 17"/>
                <a:gd name="T2" fmla="*/ 22 w 23"/>
                <a:gd name="T3" fmla="*/ 16 h 17"/>
                <a:gd name="T4" fmla="*/ 9 w 23"/>
                <a:gd name="T5" fmla="*/ 17 h 17"/>
                <a:gd name="T6" fmla="*/ 1 w 23"/>
                <a:gd name="T7" fmla="*/ 16 h 17"/>
                <a:gd name="T8" fmla="*/ 0 w 23"/>
                <a:gd name="T9" fmla="*/ 15 h 17"/>
                <a:gd name="T10" fmla="*/ 0 w 23"/>
                <a:gd name="T11" fmla="*/ 13 h 17"/>
                <a:gd name="T12" fmla="*/ 0 w 23"/>
                <a:gd name="T13" fmla="*/ 13 h 17"/>
                <a:gd name="T14" fmla="*/ 3 w 23"/>
                <a:gd name="T15" fmla="*/ 4 h 17"/>
                <a:gd name="T16" fmla="*/ 4 w 23"/>
                <a:gd name="T17" fmla="*/ 2 h 17"/>
                <a:gd name="T18" fmla="*/ 6 w 23"/>
                <a:gd name="T19" fmla="*/ 0 h 17"/>
                <a:gd name="T20" fmla="*/ 6 w 23"/>
                <a:gd name="T21" fmla="*/ 0 h 17"/>
                <a:gd name="T22" fmla="*/ 14 w 23"/>
                <a:gd name="T23" fmla="*/ 0 h 17"/>
                <a:gd name="T24" fmla="*/ 19 w 23"/>
                <a:gd name="T25" fmla="*/ 0 h 17"/>
                <a:gd name="T26" fmla="*/ 20 w 23"/>
                <a:gd name="T27" fmla="*/ 2 h 17"/>
                <a:gd name="T28" fmla="*/ 22 w 23"/>
                <a:gd name="T29" fmla="*/ 3 h 17"/>
                <a:gd name="T30" fmla="*/ 22 w 23"/>
                <a:gd name="T31" fmla="*/ 3 h 17"/>
                <a:gd name="T32" fmla="*/ 23 w 23"/>
                <a:gd name="T33" fmla="*/ 12 h 17"/>
                <a:gd name="T34" fmla="*/ 23 w 23"/>
                <a:gd name="T35" fmla="*/ 15 h 17"/>
                <a:gd name="T36" fmla="*/ 23 w 23"/>
                <a:gd name="T37" fmla="*/ 16 h 17"/>
                <a:gd name="T38" fmla="*/ 22 w 23"/>
                <a:gd name="T39"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 h="17">
                  <a:moveTo>
                    <a:pt x="22" y="16"/>
                  </a:moveTo>
                  <a:lnTo>
                    <a:pt x="22" y="16"/>
                  </a:lnTo>
                  <a:lnTo>
                    <a:pt x="9" y="17"/>
                  </a:lnTo>
                  <a:lnTo>
                    <a:pt x="1" y="16"/>
                  </a:lnTo>
                  <a:lnTo>
                    <a:pt x="0" y="15"/>
                  </a:lnTo>
                  <a:lnTo>
                    <a:pt x="0" y="13"/>
                  </a:lnTo>
                  <a:lnTo>
                    <a:pt x="0" y="13"/>
                  </a:lnTo>
                  <a:lnTo>
                    <a:pt x="3" y="4"/>
                  </a:lnTo>
                  <a:lnTo>
                    <a:pt x="4" y="2"/>
                  </a:lnTo>
                  <a:lnTo>
                    <a:pt x="6" y="0"/>
                  </a:lnTo>
                  <a:lnTo>
                    <a:pt x="6" y="0"/>
                  </a:lnTo>
                  <a:lnTo>
                    <a:pt x="14" y="0"/>
                  </a:lnTo>
                  <a:lnTo>
                    <a:pt x="19" y="0"/>
                  </a:lnTo>
                  <a:lnTo>
                    <a:pt x="20" y="2"/>
                  </a:lnTo>
                  <a:lnTo>
                    <a:pt x="22" y="3"/>
                  </a:lnTo>
                  <a:lnTo>
                    <a:pt x="22" y="3"/>
                  </a:lnTo>
                  <a:lnTo>
                    <a:pt x="23" y="12"/>
                  </a:lnTo>
                  <a:lnTo>
                    <a:pt x="23" y="15"/>
                  </a:lnTo>
                  <a:lnTo>
                    <a:pt x="23" y="16"/>
                  </a:lnTo>
                  <a:lnTo>
                    <a:pt x="22" y="16"/>
                  </a:lnTo>
                  <a:close/>
                </a:path>
              </a:pathLst>
            </a:custGeom>
            <a:solidFill>
              <a:srgbClr val="92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96" name="Freeform 1468"/>
            <p:cNvSpPr>
              <a:spLocks/>
            </p:cNvSpPr>
            <p:nvPr/>
          </p:nvSpPr>
          <p:spPr bwMode="auto">
            <a:xfrm>
              <a:off x="7143751" y="1851454"/>
              <a:ext cx="36513" cy="26988"/>
            </a:xfrm>
            <a:custGeom>
              <a:avLst/>
              <a:gdLst>
                <a:gd name="T0" fmla="*/ 22 w 23"/>
                <a:gd name="T1" fmla="*/ 16 h 17"/>
                <a:gd name="T2" fmla="*/ 22 w 23"/>
                <a:gd name="T3" fmla="*/ 16 h 17"/>
                <a:gd name="T4" fmla="*/ 9 w 23"/>
                <a:gd name="T5" fmla="*/ 17 h 17"/>
                <a:gd name="T6" fmla="*/ 1 w 23"/>
                <a:gd name="T7" fmla="*/ 16 h 17"/>
                <a:gd name="T8" fmla="*/ 0 w 23"/>
                <a:gd name="T9" fmla="*/ 15 h 17"/>
                <a:gd name="T10" fmla="*/ 0 w 23"/>
                <a:gd name="T11" fmla="*/ 13 h 17"/>
                <a:gd name="T12" fmla="*/ 0 w 23"/>
                <a:gd name="T13" fmla="*/ 13 h 17"/>
                <a:gd name="T14" fmla="*/ 3 w 23"/>
                <a:gd name="T15" fmla="*/ 4 h 17"/>
                <a:gd name="T16" fmla="*/ 4 w 23"/>
                <a:gd name="T17" fmla="*/ 2 h 17"/>
                <a:gd name="T18" fmla="*/ 6 w 23"/>
                <a:gd name="T19" fmla="*/ 0 h 17"/>
                <a:gd name="T20" fmla="*/ 6 w 23"/>
                <a:gd name="T21" fmla="*/ 0 h 17"/>
                <a:gd name="T22" fmla="*/ 14 w 23"/>
                <a:gd name="T23" fmla="*/ 0 h 17"/>
                <a:gd name="T24" fmla="*/ 19 w 23"/>
                <a:gd name="T25" fmla="*/ 0 h 17"/>
                <a:gd name="T26" fmla="*/ 20 w 23"/>
                <a:gd name="T27" fmla="*/ 2 h 17"/>
                <a:gd name="T28" fmla="*/ 22 w 23"/>
                <a:gd name="T29" fmla="*/ 3 h 17"/>
                <a:gd name="T30" fmla="*/ 22 w 23"/>
                <a:gd name="T31" fmla="*/ 3 h 17"/>
                <a:gd name="T32" fmla="*/ 23 w 23"/>
                <a:gd name="T33" fmla="*/ 12 h 17"/>
                <a:gd name="T34" fmla="*/ 23 w 23"/>
                <a:gd name="T35" fmla="*/ 15 h 17"/>
                <a:gd name="T36" fmla="*/ 23 w 23"/>
                <a:gd name="T37" fmla="*/ 16 h 17"/>
                <a:gd name="T38" fmla="*/ 22 w 23"/>
                <a:gd name="T39"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 h="17">
                  <a:moveTo>
                    <a:pt x="22" y="16"/>
                  </a:moveTo>
                  <a:lnTo>
                    <a:pt x="22" y="16"/>
                  </a:lnTo>
                  <a:lnTo>
                    <a:pt x="9" y="17"/>
                  </a:lnTo>
                  <a:lnTo>
                    <a:pt x="1" y="16"/>
                  </a:lnTo>
                  <a:lnTo>
                    <a:pt x="0" y="15"/>
                  </a:lnTo>
                  <a:lnTo>
                    <a:pt x="0" y="13"/>
                  </a:lnTo>
                  <a:lnTo>
                    <a:pt x="0" y="13"/>
                  </a:lnTo>
                  <a:lnTo>
                    <a:pt x="3" y="4"/>
                  </a:lnTo>
                  <a:lnTo>
                    <a:pt x="4" y="2"/>
                  </a:lnTo>
                  <a:lnTo>
                    <a:pt x="6" y="0"/>
                  </a:lnTo>
                  <a:lnTo>
                    <a:pt x="6" y="0"/>
                  </a:lnTo>
                  <a:lnTo>
                    <a:pt x="14" y="0"/>
                  </a:lnTo>
                  <a:lnTo>
                    <a:pt x="19" y="0"/>
                  </a:lnTo>
                  <a:lnTo>
                    <a:pt x="20" y="2"/>
                  </a:lnTo>
                  <a:lnTo>
                    <a:pt x="22" y="3"/>
                  </a:lnTo>
                  <a:lnTo>
                    <a:pt x="22" y="3"/>
                  </a:lnTo>
                  <a:lnTo>
                    <a:pt x="23" y="12"/>
                  </a:lnTo>
                  <a:lnTo>
                    <a:pt x="23" y="15"/>
                  </a:lnTo>
                  <a:lnTo>
                    <a:pt x="23" y="16"/>
                  </a:lnTo>
                  <a:lnTo>
                    <a:pt x="22" y="16"/>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97" name="Freeform 1469"/>
            <p:cNvSpPr>
              <a:spLocks/>
            </p:cNvSpPr>
            <p:nvPr/>
          </p:nvSpPr>
          <p:spPr bwMode="auto">
            <a:xfrm>
              <a:off x="7856538" y="1924479"/>
              <a:ext cx="87313" cy="65088"/>
            </a:xfrm>
            <a:custGeom>
              <a:avLst/>
              <a:gdLst>
                <a:gd name="T0" fmla="*/ 54 w 55"/>
                <a:gd name="T1" fmla="*/ 41 h 41"/>
                <a:gd name="T2" fmla="*/ 54 w 55"/>
                <a:gd name="T3" fmla="*/ 41 h 41"/>
                <a:gd name="T4" fmla="*/ 30 w 55"/>
                <a:gd name="T5" fmla="*/ 34 h 41"/>
                <a:gd name="T6" fmla="*/ 10 w 55"/>
                <a:gd name="T7" fmla="*/ 31 h 41"/>
                <a:gd name="T8" fmla="*/ 10 w 55"/>
                <a:gd name="T9" fmla="*/ 31 h 41"/>
                <a:gd name="T10" fmla="*/ 1 w 55"/>
                <a:gd name="T11" fmla="*/ 32 h 41"/>
                <a:gd name="T12" fmla="*/ 0 w 55"/>
                <a:gd name="T13" fmla="*/ 32 h 41"/>
                <a:gd name="T14" fmla="*/ 0 w 55"/>
                <a:gd name="T15" fmla="*/ 31 h 41"/>
                <a:gd name="T16" fmla="*/ 0 w 55"/>
                <a:gd name="T17" fmla="*/ 31 h 41"/>
                <a:gd name="T18" fmla="*/ 3 w 55"/>
                <a:gd name="T19" fmla="*/ 27 h 41"/>
                <a:gd name="T20" fmla="*/ 7 w 55"/>
                <a:gd name="T21" fmla="*/ 24 h 41"/>
                <a:gd name="T22" fmla="*/ 10 w 55"/>
                <a:gd name="T23" fmla="*/ 19 h 41"/>
                <a:gd name="T24" fmla="*/ 12 w 55"/>
                <a:gd name="T25" fmla="*/ 16 h 41"/>
                <a:gd name="T26" fmla="*/ 12 w 55"/>
                <a:gd name="T27" fmla="*/ 16 h 41"/>
                <a:gd name="T28" fmla="*/ 13 w 55"/>
                <a:gd name="T29" fmla="*/ 8 h 41"/>
                <a:gd name="T30" fmla="*/ 16 w 55"/>
                <a:gd name="T31" fmla="*/ 5 h 41"/>
                <a:gd name="T32" fmla="*/ 17 w 55"/>
                <a:gd name="T33" fmla="*/ 3 h 41"/>
                <a:gd name="T34" fmla="*/ 17 w 55"/>
                <a:gd name="T35" fmla="*/ 3 h 41"/>
                <a:gd name="T36" fmla="*/ 23 w 55"/>
                <a:gd name="T37" fmla="*/ 2 h 41"/>
                <a:gd name="T38" fmla="*/ 26 w 55"/>
                <a:gd name="T39" fmla="*/ 0 h 41"/>
                <a:gd name="T40" fmla="*/ 30 w 55"/>
                <a:gd name="T41" fmla="*/ 2 h 41"/>
                <a:gd name="T42" fmla="*/ 30 w 55"/>
                <a:gd name="T43" fmla="*/ 2 h 41"/>
                <a:gd name="T44" fmla="*/ 38 w 55"/>
                <a:gd name="T45" fmla="*/ 3 h 41"/>
                <a:gd name="T46" fmla="*/ 42 w 55"/>
                <a:gd name="T47" fmla="*/ 6 h 41"/>
                <a:gd name="T48" fmla="*/ 46 w 55"/>
                <a:gd name="T49" fmla="*/ 9 h 41"/>
                <a:gd name="T50" fmla="*/ 46 w 55"/>
                <a:gd name="T51" fmla="*/ 9 h 41"/>
                <a:gd name="T52" fmla="*/ 51 w 55"/>
                <a:gd name="T53" fmla="*/ 16 h 41"/>
                <a:gd name="T54" fmla="*/ 54 w 55"/>
                <a:gd name="T55" fmla="*/ 28 h 41"/>
                <a:gd name="T56" fmla="*/ 55 w 55"/>
                <a:gd name="T57" fmla="*/ 37 h 41"/>
                <a:gd name="T58" fmla="*/ 55 w 55"/>
                <a:gd name="T59" fmla="*/ 40 h 41"/>
                <a:gd name="T60" fmla="*/ 54 w 55"/>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41">
                  <a:moveTo>
                    <a:pt x="54" y="41"/>
                  </a:moveTo>
                  <a:lnTo>
                    <a:pt x="54" y="41"/>
                  </a:lnTo>
                  <a:lnTo>
                    <a:pt x="30" y="34"/>
                  </a:lnTo>
                  <a:lnTo>
                    <a:pt x="10" y="31"/>
                  </a:lnTo>
                  <a:lnTo>
                    <a:pt x="10" y="31"/>
                  </a:lnTo>
                  <a:lnTo>
                    <a:pt x="1" y="32"/>
                  </a:lnTo>
                  <a:lnTo>
                    <a:pt x="0" y="32"/>
                  </a:lnTo>
                  <a:lnTo>
                    <a:pt x="0" y="31"/>
                  </a:lnTo>
                  <a:lnTo>
                    <a:pt x="0" y="31"/>
                  </a:lnTo>
                  <a:lnTo>
                    <a:pt x="3" y="27"/>
                  </a:lnTo>
                  <a:lnTo>
                    <a:pt x="7" y="24"/>
                  </a:lnTo>
                  <a:lnTo>
                    <a:pt x="10" y="19"/>
                  </a:lnTo>
                  <a:lnTo>
                    <a:pt x="12" y="16"/>
                  </a:lnTo>
                  <a:lnTo>
                    <a:pt x="12" y="16"/>
                  </a:lnTo>
                  <a:lnTo>
                    <a:pt x="13" y="8"/>
                  </a:lnTo>
                  <a:lnTo>
                    <a:pt x="16" y="5"/>
                  </a:lnTo>
                  <a:lnTo>
                    <a:pt x="17" y="3"/>
                  </a:lnTo>
                  <a:lnTo>
                    <a:pt x="17" y="3"/>
                  </a:lnTo>
                  <a:lnTo>
                    <a:pt x="23" y="2"/>
                  </a:lnTo>
                  <a:lnTo>
                    <a:pt x="26" y="0"/>
                  </a:lnTo>
                  <a:lnTo>
                    <a:pt x="30" y="2"/>
                  </a:lnTo>
                  <a:lnTo>
                    <a:pt x="30" y="2"/>
                  </a:lnTo>
                  <a:lnTo>
                    <a:pt x="38" y="3"/>
                  </a:lnTo>
                  <a:lnTo>
                    <a:pt x="42" y="6"/>
                  </a:lnTo>
                  <a:lnTo>
                    <a:pt x="46" y="9"/>
                  </a:lnTo>
                  <a:lnTo>
                    <a:pt x="46" y="9"/>
                  </a:lnTo>
                  <a:lnTo>
                    <a:pt x="51" y="16"/>
                  </a:lnTo>
                  <a:lnTo>
                    <a:pt x="54" y="28"/>
                  </a:lnTo>
                  <a:lnTo>
                    <a:pt x="55" y="37"/>
                  </a:lnTo>
                  <a:lnTo>
                    <a:pt x="55" y="40"/>
                  </a:lnTo>
                  <a:lnTo>
                    <a:pt x="54" y="41"/>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98" name="Freeform 1470"/>
            <p:cNvSpPr>
              <a:spLocks/>
            </p:cNvSpPr>
            <p:nvPr/>
          </p:nvSpPr>
          <p:spPr bwMode="auto">
            <a:xfrm>
              <a:off x="7856538" y="1924479"/>
              <a:ext cx="87313" cy="65088"/>
            </a:xfrm>
            <a:custGeom>
              <a:avLst/>
              <a:gdLst>
                <a:gd name="T0" fmla="*/ 54 w 55"/>
                <a:gd name="T1" fmla="*/ 41 h 41"/>
                <a:gd name="T2" fmla="*/ 54 w 55"/>
                <a:gd name="T3" fmla="*/ 41 h 41"/>
                <a:gd name="T4" fmla="*/ 30 w 55"/>
                <a:gd name="T5" fmla="*/ 34 h 41"/>
                <a:gd name="T6" fmla="*/ 10 w 55"/>
                <a:gd name="T7" fmla="*/ 31 h 41"/>
                <a:gd name="T8" fmla="*/ 10 w 55"/>
                <a:gd name="T9" fmla="*/ 31 h 41"/>
                <a:gd name="T10" fmla="*/ 1 w 55"/>
                <a:gd name="T11" fmla="*/ 32 h 41"/>
                <a:gd name="T12" fmla="*/ 0 w 55"/>
                <a:gd name="T13" fmla="*/ 32 h 41"/>
                <a:gd name="T14" fmla="*/ 0 w 55"/>
                <a:gd name="T15" fmla="*/ 31 h 41"/>
                <a:gd name="T16" fmla="*/ 0 w 55"/>
                <a:gd name="T17" fmla="*/ 31 h 41"/>
                <a:gd name="T18" fmla="*/ 3 w 55"/>
                <a:gd name="T19" fmla="*/ 27 h 41"/>
                <a:gd name="T20" fmla="*/ 7 w 55"/>
                <a:gd name="T21" fmla="*/ 24 h 41"/>
                <a:gd name="T22" fmla="*/ 10 w 55"/>
                <a:gd name="T23" fmla="*/ 19 h 41"/>
                <a:gd name="T24" fmla="*/ 12 w 55"/>
                <a:gd name="T25" fmla="*/ 16 h 41"/>
                <a:gd name="T26" fmla="*/ 12 w 55"/>
                <a:gd name="T27" fmla="*/ 16 h 41"/>
                <a:gd name="T28" fmla="*/ 13 w 55"/>
                <a:gd name="T29" fmla="*/ 8 h 41"/>
                <a:gd name="T30" fmla="*/ 16 w 55"/>
                <a:gd name="T31" fmla="*/ 5 h 41"/>
                <a:gd name="T32" fmla="*/ 17 w 55"/>
                <a:gd name="T33" fmla="*/ 3 h 41"/>
                <a:gd name="T34" fmla="*/ 17 w 55"/>
                <a:gd name="T35" fmla="*/ 3 h 41"/>
                <a:gd name="T36" fmla="*/ 23 w 55"/>
                <a:gd name="T37" fmla="*/ 2 h 41"/>
                <a:gd name="T38" fmla="*/ 26 w 55"/>
                <a:gd name="T39" fmla="*/ 0 h 41"/>
                <a:gd name="T40" fmla="*/ 30 w 55"/>
                <a:gd name="T41" fmla="*/ 2 h 41"/>
                <a:gd name="T42" fmla="*/ 30 w 55"/>
                <a:gd name="T43" fmla="*/ 2 h 41"/>
                <a:gd name="T44" fmla="*/ 38 w 55"/>
                <a:gd name="T45" fmla="*/ 3 h 41"/>
                <a:gd name="T46" fmla="*/ 42 w 55"/>
                <a:gd name="T47" fmla="*/ 6 h 41"/>
                <a:gd name="T48" fmla="*/ 46 w 55"/>
                <a:gd name="T49" fmla="*/ 9 h 41"/>
                <a:gd name="T50" fmla="*/ 46 w 55"/>
                <a:gd name="T51" fmla="*/ 9 h 41"/>
                <a:gd name="T52" fmla="*/ 51 w 55"/>
                <a:gd name="T53" fmla="*/ 16 h 41"/>
                <a:gd name="T54" fmla="*/ 54 w 55"/>
                <a:gd name="T55" fmla="*/ 28 h 41"/>
                <a:gd name="T56" fmla="*/ 55 w 55"/>
                <a:gd name="T57" fmla="*/ 37 h 41"/>
                <a:gd name="T58" fmla="*/ 55 w 55"/>
                <a:gd name="T59" fmla="*/ 40 h 41"/>
                <a:gd name="T60" fmla="*/ 54 w 55"/>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41">
                  <a:moveTo>
                    <a:pt x="54" y="41"/>
                  </a:moveTo>
                  <a:lnTo>
                    <a:pt x="54" y="41"/>
                  </a:lnTo>
                  <a:lnTo>
                    <a:pt x="30" y="34"/>
                  </a:lnTo>
                  <a:lnTo>
                    <a:pt x="10" y="31"/>
                  </a:lnTo>
                  <a:lnTo>
                    <a:pt x="10" y="31"/>
                  </a:lnTo>
                  <a:lnTo>
                    <a:pt x="1" y="32"/>
                  </a:lnTo>
                  <a:lnTo>
                    <a:pt x="0" y="32"/>
                  </a:lnTo>
                  <a:lnTo>
                    <a:pt x="0" y="31"/>
                  </a:lnTo>
                  <a:lnTo>
                    <a:pt x="0" y="31"/>
                  </a:lnTo>
                  <a:lnTo>
                    <a:pt x="3" y="27"/>
                  </a:lnTo>
                  <a:lnTo>
                    <a:pt x="7" y="24"/>
                  </a:lnTo>
                  <a:lnTo>
                    <a:pt x="10" y="19"/>
                  </a:lnTo>
                  <a:lnTo>
                    <a:pt x="12" y="16"/>
                  </a:lnTo>
                  <a:lnTo>
                    <a:pt x="12" y="16"/>
                  </a:lnTo>
                  <a:lnTo>
                    <a:pt x="13" y="8"/>
                  </a:lnTo>
                  <a:lnTo>
                    <a:pt x="16" y="5"/>
                  </a:lnTo>
                  <a:lnTo>
                    <a:pt x="17" y="3"/>
                  </a:lnTo>
                  <a:lnTo>
                    <a:pt x="17" y="3"/>
                  </a:lnTo>
                  <a:lnTo>
                    <a:pt x="23" y="2"/>
                  </a:lnTo>
                  <a:lnTo>
                    <a:pt x="26" y="0"/>
                  </a:lnTo>
                  <a:lnTo>
                    <a:pt x="30" y="2"/>
                  </a:lnTo>
                  <a:lnTo>
                    <a:pt x="30" y="2"/>
                  </a:lnTo>
                  <a:lnTo>
                    <a:pt x="38" y="3"/>
                  </a:lnTo>
                  <a:lnTo>
                    <a:pt x="42" y="6"/>
                  </a:lnTo>
                  <a:lnTo>
                    <a:pt x="46" y="9"/>
                  </a:lnTo>
                  <a:lnTo>
                    <a:pt x="46" y="9"/>
                  </a:lnTo>
                  <a:lnTo>
                    <a:pt x="51" y="16"/>
                  </a:lnTo>
                  <a:lnTo>
                    <a:pt x="54" y="28"/>
                  </a:lnTo>
                  <a:lnTo>
                    <a:pt x="55" y="37"/>
                  </a:lnTo>
                  <a:lnTo>
                    <a:pt x="55" y="40"/>
                  </a:lnTo>
                  <a:lnTo>
                    <a:pt x="54" y="4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199" name="Freeform 1471"/>
            <p:cNvSpPr>
              <a:spLocks/>
            </p:cNvSpPr>
            <p:nvPr/>
          </p:nvSpPr>
          <p:spPr bwMode="auto">
            <a:xfrm>
              <a:off x="7856538" y="1895904"/>
              <a:ext cx="25400" cy="28575"/>
            </a:xfrm>
            <a:custGeom>
              <a:avLst/>
              <a:gdLst>
                <a:gd name="T0" fmla="*/ 3 w 16"/>
                <a:gd name="T1" fmla="*/ 18 h 18"/>
                <a:gd name="T2" fmla="*/ 3 w 16"/>
                <a:gd name="T3" fmla="*/ 18 h 18"/>
                <a:gd name="T4" fmla="*/ 1 w 16"/>
                <a:gd name="T5" fmla="*/ 16 h 18"/>
                <a:gd name="T6" fmla="*/ 0 w 16"/>
                <a:gd name="T7" fmla="*/ 14 h 18"/>
                <a:gd name="T8" fmla="*/ 1 w 16"/>
                <a:gd name="T9" fmla="*/ 7 h 18"/>
                <a:gd name="T10" fmla="*/ 4 w 16"/>
                <a:gd name="T11" fmla="*/ 3 h 18"/>
                <a:gd name="T12" fmla="*/ 9 w 16"/>
                <a:gd name="T13" fmla="*/ 0 h 18"/>
                <a:gd name="T14" fmla="*/ 9 w 16"/>
                <a:gd name="T15" fmla="*/ 0 h 18"/>
                <a:gd name="T16" fmla="*/ 12 w 16"/>
                <a:gd name="T17" fmla="*/ 0 h 18"/>
                <a:gd name="T18" fmla="*/ 13 w 16"/>
                <a:gd name="T19" fmla="*/ 1 h 18"/>
                <a:gd name="T20" fmla="*/ 16 w 16"/>
                <a:gd name="T21" fmla="*/ 5 h 18"/>
                <a:gd name="T22" fmla="*/ 16 w 16"/>
                <a:gd name="T23" fmla="*/ 5 h 18"/>
                <a:gd name="T24" fmla="*/ 14 w 16"/>
                <a:gd name="T25" fmla="*/ 8 h 18"/>
                <a:gd name="T26" fmla="*/ 12 w 16"/>
                <a:gd name="T27" fmla="*/ 14 h 18"/>
                <a:gd name="T28" fmla="*/ 9 w 16"/>
                <a:gd name="T29" fmla="*/ 18 h 18"/>
                <a:gd name="T30" fmla="*/ 6 w 16"/>
                <a:gd name="T31" fmla="*/ 18 h 18"/>
                <a:gd name="T32" fmla="*/ 3 w 16"/>
                <a:gd name="T3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8">
                  <a:moveTo>
                    <a:pt x="3" y="18"/>
                  </a:moveTo>
                  <a:lnTo>
                    <a:pt x="3" y="18"/>
                  </a:lnTo>
                  <a:lnTo>
                    <a:pt x="1" y="16"/>
                  </a:lnTo>
                  <a:lnTo>
                    <a:pt x="0" y="14"/>
                  </a:lnTo>
                  <a:lnTo>
                    <a:pt x="1" y="7"/>
                  </a:lnTo>
                  <a:lnTo>
                    <a:pt x="4" y="3"/>
                  </a:lnTo>
                  <a:lnTo>
                    <a:pt x="9" y="0"/>
                  </a:lnTo>
                  <a:lnTo>
                    <a:pt x="9" y="0"/>
                  </a:lnTo>
                  <a:lnTo>
                    <a:pt x="12" y="0"/>
                  </a:lnTo>
                  <a:lnTo>
                    <a:pt x="13" y="1"/>
                  </a:lnTo>
                  <a:lnTo>
                    <a:pt x="16" y="5"/>
                  </a:lnTo>
                  <a:lnTo>
                    <a:pt x="16" y="5"/>
                  </a:lnTo>
                  <a:lnTo>
                    <a:pt x="14" y="8"/>
                  </a:lnTo>
                  <a:lnTo>
                    <a:pt x="12" y="14"/>
                  </a:lnTo>
                  <a:lnTo>
                    <a:pt x="9" y="18"/>
                  </a:lnTo>
                  <a:lnTo>
                    <a:pt x="6" y="18"/>
                  </a:lnTo>
                  <a:lnTo>
                    <a:pt x="3" y="18"/>
                  </a:lnTo>
                  <a:close/>
                </a:path>
              </a:pathLst>
            </a:custGeom>
            <a:solidFill>
              <a:srgbClr val="92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00" name="Freeform 1472"/>
            <p:cNvSpPr>
              <a:spLocks/>
            </p:cNvSpPr>
            <p:nvPr/>
          </p:nvSpPr>
          <p:spPr bwMode="auto">
            <a:xfrm>
              <a:off x="7856538" y="1895904"/>
              <a:ext cx="25400" cy="28575"/>
            </a:xfrm>
            <a:custGeom>
              <a:avLst/>
              <a:gdLst>
                <a:gd name="T0" fmla="*/ 3 w 16"/>
                <a:gd name="T1" fmla="*/ 18 h 18"/>
                <a:gd name="T2" fmla="*/ 3 w 16"/>
                <a:gd name="T3" fmla="*/ 18 h 18"/>
                <a:gd name="T4" fmla="*/ 1 w 16"/>
                <a:gd name="T5" fmla="*/ 16 h 18"/>
                <a:gd name="T6" fmla="*/ 0 w 16"/>
                <a:gd name="T7" fmla="*/ 14 h 18"/>
                <a:gd name="T8" fmla="*/ 1 w 16"/>
                <a:gd name="T9" fmla="*/ 7 h 18"/>
                <a:gd name="T10" fmla="*/ 4 w 16"/>
                <a:gd name="T11" fmla="*/ 3 h 18"/>
                <a:gd name="T12" fmla="*/ 9 w 16"/>
                <a:gd name="T13" fmla="*/ 0 h 18"/>
                <a:gd name="T14" fmla="*/ 9 w 16"/>
                <a:gd name="T15" fmla="*/ 0 h 18"/>
                <a:gd name="T16" fmla="*/ 12 w 16"/>
                <a:gd name="T17" fmla="*/ 0 h 18"/>
                <a:gd name="T18" fmla="*/ 13 w 16"/>
                <a:gd name="T19" fmla="*/ 1 h 18"/>
                <a:gd name="T20" fmla="*/ 16 w 16"/>
                <a:gd name="T21" fmla="*/ 5 h 18"/>
                <a:gd name="T22" fmla="*/ 16 w 16"/>
                <a:gd name="T23" fmla="*/ 5 h 18"/>
                <a:gd name="T24" fmla="*/ 14 w 16"/>
                <a:gd name="T25" fmla="*/ 8 h 18"/>
                <a:gd name="T26" fmla="*/ 12 w 16"/>
                <a:gd name="T27" fmla="*/ 14 h 18"/>
                <a:gd name="T28" fmla="*/ 9 w 16"/>
                <a:gd name="T29" fmla="*/ 18 h 18"/>
                <a:gd name="T30" fmla="*/ 6 w 16"/>
                <a:gd name="T31" fmla="*/ 18 h 18"/>
                <a:gd name="T32" fmla="*/ 3 w 16"/>
                <a:gd name="T3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8">
                  <a:moveTo>
                    <a:pt x="3" y="18"/>
                  </a:moveTo>
                  <a:lnTo>
                    <a:pt x="3" y="18"/>
                  </a:lnTo>
                  <a:lnTo>
                    <a:pt x="1" y="16"/>
                  </a:lnTo>
                  <a:lnTo>
                    <a:pt x="0" y="14"/>
                  </a:lnTo>
                  <a:lnTo>
                    <a:pt x="1" y="7"/>
                  </a:lnTo>
                  <a:lnTo>
                    <a:pt x="4" y="3"/>
                  </a:lnTo>
                  <a:lnTo>
                    <a:pt x="9" y="0"/>
                  </a:lnTo>
                  <a:lnTo>
                    <a:pt x="9" y="0"/>
                  </a:lnTo>
                  <a:lnTo>
                    <a:pt x="12" y="0"/>
                  </a:lnTo>
                  <a:lnTo>
                    <a:pt x="13" y="1"/>
                  </a:lnTo>
                  <a:lnTo>
                    <a:pt x="16" y="5"/>
                  </a:lnTo>
                  <a:lnTo>
                    <a:pt x="16" y="5"/>
                  </a:lnTo>
                  <a:lnTo>
                    <a:pt x="14" y="8"/>
                  </a:lnTo>
                  <a:lnTo>
                    <a:pt x="12" y="14"/>
                  </a:lnTo>
                  <a:lnTo>
                    <a:pt x="9" y="18"/>
                  </a:lnTo>
                  <a:lnTo>
                    <a:pt x="6" y="18"/>
                  </a:lnTo>
                  <a:lnTo>
                    <a:pt x="3" y="18"/>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01" name="Freeform 1473"/>
            <p:cNvSpPr>
              <a:spLocks/>
            </p:cNvSpPr>
            <p:nvPr/>
          </p:nvSpPr>
          <p:spPr bwMode="auto">
            <a:xfrm>
              <a:off x="7773988" y="1706992"/>
              <a:ext cx="220663" cy="147638"/>
            </a:xfrm>
            <a:custGeom>
              <a:avLst/>
              <a:gdLst>
                <a:gd name="T0" fmla="*/ 87 w 139"/>
                <a:gd name="T1" fmla="*/ 81 h 93"/>
                <a:gd name="T2" fmla="*/ 84 w 139"/>
                <a:gd name="T3" fmla="*/ 75 h 93"/>
                <a:gd name="T4" fmla="*/ 78 w 139"/>
                <a:gd name="T5" fmla="*/ 75 h 93"/>
                <a:gd name="T6" fmla="*/ 66 w 139"/>
                <a:gd name="T7" fmla="*/ 79 h 93"/>
                <a:gd name="T8" fmla="*/ 55 w 139"/>
                <a:gd name="T9" fmla="*/ 78 h 93"/>
                <a:gd name="T10" fmla="*/ 48 w 139"/>
                <a:gd name="T11" fmla="*/ 74 h 93"/>
                <a:gd name="T12" fmla="*/ 43 w 139"/>
                <a:gd name="T13" fmla="*/ 74 h 93"/>
                <a:gd name="T14" fmla="*/ 42 w 139"/>
                <a:gd name="T15" fmla="*/ 82 h 93"/>
                <a:gd name="T16" fmla="*/ 36 w 139"/>
                <a:gd name="T17" fmla="*/ 93 h 93"/>
                <a:gd name="T18" fmla="*/ 26 w 139"/>
                <a:gd name="T19" fmla="*/ 91 h 93"/>
                <a:gd name="T20" fmla="*/ 20 w 139"/>
                <a:gd name="T21" fmla="*/ 84 h 93"/>
                <a:gd name="T22" fmla="*/ 8 w 139"/>
                <a:gd name="T23" fmla="*/ 68 h 93"/>
                <a:gd name="T24" fmla="*/ 0 w 139"/>
                <a:gd name="T25" fmla="*/ 53 h 93"/>
                <a:gd name="T26" fmla="*/ 0 w 139"/>
                <a:gd name="T27" fmla="*/ 51 h 93"/>
                <a:gd name="T28" fmla="*/ 8 w 139"/>
                <a:gd name="T29" fmla="*/ 52 h 93"/>
                <a:gd name="T30" fmla="*/ 8 w 139"/>
                <a:gd name="T31" fmla="*/ 46 h 93"/>
                <a:gd name="T32" fmla="*/ 6 w 139"/>
                <a:gd name="T33" fmla="*/ 32 h 93"/>
                <a:gd name="T34" fmla="*/ 8 w 139"/>
                <a:gd name="T35" fmla="*/ 29 h 93"/>
                <a:gd name="T36" fmla="*/ 10 w 139"/>
                <a:gd name="T37" fmla="*/ 27 h 93"/>
                <a:gd name="T38" fmla="*/ 10 w 139"/>
                <a:gd name="T39" fmla="*/ 13 h 93"/>
                <a:gd name="T40" fmla="*/ 26 w 139"/>
                <a:gd name="T41" fmla="*/ 4 h 93"/>
                <a:gd name="T42" fmla="*/ 32 w 139"/>
                <a:gd name="T43" fmla="*/ 0 h 93"/>
                <a:gd name="T44" fmla="*/ 37 w 139"/>
                <a:gd name="T45" fmla="*/ 4 h 93"/>
                <a:gd name="T46" fmla="*/ 48 w 139"/>
                <a:gd name="T47" fmla="*/ 16 h 93"/>
                <a:gd name="T48" fmla="*/ 50 w 139"/>
                <a:gd name="T49" fmla="*/ 23 h 93"/>
                <a:gd name="T50" fmla="*/ 59 w 139"/>
                <a:gd name="T51" fmla="*/ 23 h 93"/>
                <a:gd name="T52" fmla="*/ 61 w 139"/>
                <a:gd name="T53" fmla="*/ 24 h 93"/>
                <a:gd name="T54" fmla="*/ 65 w 139"/>
                <a:gd name="T55" fmla="*/ 35 h 93"/>
                <a:gd name="T56" fmla="*/ 69 w 139"/>
                <a:gd name="T57" fmla="*/ 32 h 93"/>
                <a:gd name="T58" fmla="*/ 69 w 139"/>
                <a:gd name="T59" fmla="*/ 16 h 93"/>
                <a:gd name="T60" fmla="*/ 74 w 139"/>
                <a:gd name="T61" fmla="*/ 9 h 93"/>
                <a:gd name="T62" fmla="*/ 74 w 139"/>
                <a:gd name="T63" fmla="*/ 3 h 93"/>
                <a:gd name="T64" fmla="*/ 78 w 139"/>
                <a:gd name="T65" fmla="*/ 3 h 93"/>
                <a:gd name="T66" fmla="*/ 85 w 139"/>
                <a:gd name="T67" fmla="*/ 11 h 93"/>
                <a:gd name="T68" fmla="*/ 100 w 139"/>
                <a:gd name="T69" fmla="*/ 23 h 93"/>
                <a:gd name="T70" fmla="*/ 114 w 139"/>
                <a:gd name="T71" fmla="*/ 23 h 93"/>
                <a:gd name="T72" fmla="*/ 132 w 139"/>
                <a:gd name="T73" fmla="*/ 35 h 93"/>
                <a:gd name="T74" fmla="*/ 137 w 139"/>
                <a:gd name="T75" fmla="*/ 40 h 93"/>
                <a:gd name="T76" fmla="*/ 130 w 139"/>
                <a:gd name="T77" fmla="*/ 45 h 93"/>
                <a:gd name="T78" fmla="*/ 130 w 139"/>
                <a:gd name="T79" fmla="*/ 55 h 93"/>
                <a:gd name="T80" fmla="*/ 129 w 139"/>
                <a:gd name="T81" fmla="*/ 62 h 93"/>
                <a:gd name="T82" fmla="*/ 116 w 139"/>
                <a:gd name="T83" fmla="*/ 72 h 93"/>
                <a:gd name="T84" fmla="*/ 104 w 139"/>
                <a:gd name="T85" fmla="*/ 68 h 93"/>
                <a:gd name="T86" fmla="*/ 97 w 139"/>
                <a:gd name="T87" fmla="*/ 62 h 93"/>
                <a:gd name="T88" fmla="*/ 94 w 139"/>
                <a:gd name="T89" fmla="*/ 45 h 93"/>
                <a:gd name="T90" fmla="*/ 98 w 139"/>
                <a:gd name="T91" fmla="*/ 35 h 93"/>
                <a:gd name="T92" fmla="*/ 92 w 139"/>
                <a:gd name="T93" fmla="*/ 32 h 93"/>
                <a:gd name="T94" fmla="*/ 87 w 139"/>
                <a:gd name="T95" fmla="*/ 35 h 93"/>
                <a:gd name="T96" fmla="*/ 85 w 139"/>
                <a:gd name="T97" fmla="*/ 46 h 93"/>
                <a:gd name="T98" fmla="*/ 94 w 139"/>
                <a:gd name="T99" fmla="*/ 68 h 93"/>
                <a:gd name="T100" fmla="*/ 100 w 139"/>
                <a:gd name="T101" fmla="*/ 72 h 93"/>
                <a:gd name="T102" fmla="*/ 108 w 139"/>
                <a:gd name="T103" fmla="*/ 78 h 93"/>
                <a:gd name="T104" fmla="*/ 100 w 139"/>
                <a:gd name="T105" fmla="*/ 7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9" h="93">
                  <a:moveTo>
                    <a:pt x="90" y="81"/>
                  </a:moveTo>
                  <a:lnTo>
                    <a:pt x="90" y="81"/>
                  </a:lnTo>
                  <a:lnTo>
                    <a:pt x="87" y="81"/>
                  </a:lnTo>
                  <a:lnTo>
                    <a:pt x="85" y="79"/>
                  </a:lnTo>
                  <a:lnTo>
                    <a:pt x="84" y="75"/>
                  </a:lnTo>
                  <a:lnTo>
                    <a:pt x="84" y="75"/>
                  </a:lnTo>
                  <a:lnTo>
                    <a:pt x="84" y="74"/>
                  </a:lnTo>
                  <a:lnTo>
                    <a:pt x="84" y="74"/>
                  </a:lnTo>
                  <a:lnTo>
                    <a:pt x="78" y="75"/>
                  </a:lnTo>
                  <a:lnTo>
                    <a:pt x="78" y="75"/>
                  </a:lnTo>
                  <a:lnTo>
                    <a:pt x="72" y="78"/>
                  </a:lnTo>
                  <a:lnTo>
                    <a:pt x="66" y="79"/>
                  </a:lnTo>
                  <a:lnTo>
                    <a:pt x="59" y="79"/>
                  </a:lnTo>
                  <a:lnTo>
                    <a:pt x="55" y="78"/>
                  </a:lnTo>
                  <a:lnTo>
                    <a:pt x="55" y="78"/>
                  </a:lnTo>
                  <a:lnTo>
                    <a:pt x="52" y="77"/>
                  </a:lnTo>
                  <a:lnTo>
                    <a:pt x="49" y="75"/>
                  </a:lnTo>
                  <a:lnTo>
                    <a:pt x="48" y="74"/>
                  </a:lnTo>
                  <a:lnTo>
                    <a:pt x="46" y="74"/>
                  </a:lnTo>
                  <a:lnTo>
                    <a:pt x="46" y="74"/>
                  </a:lnTo>
                  <a:lnTo>
                    <a:pt x="43" y="74"/>
                  </a:lnTo>
                  <a:lnTo>
                    <a:pt x="43" y="77"/>
                  </a:lnTo>
                  <a:lnTo>
                    <a:pt x="42" y="82"/>
                  </a:lnTo>
                  <a:lnTo>
                    <a:pt x="42" y="82"/>
                  </a:lnTo>
                  <a:lnTo>
                    <a:pt x="42" y="90"/>
                  </a:lnTo>
                  <a:lnTo>
                    <a:pt x="40" y="93"/>
                  </a:lnTo>
                  <a:lnTo>
                    <a:pt x="36" y="93"/>
                  </a:lnTo>
                  <a:lnTo>
                    <a:pt x="36" y="93"/>
                  </a:lnTo>
                  <a:lnTo>
                    <a:pt x="30" y="93"/>
                  </a:lnTo>
                  <a:lnTo>
                    <a:pt x="26" y="91"/>
                  </a:lnTo>
                  <a:lnTo>
                    <a:pt x="23" y="88"/>
                  </a:lnTo>
                  <a:lnTo>
                    <a:pt x="20" y="84"/>
                  </a:lnTo>
                  <a:lnTo>
                    <a:pt x="20" y="84"/>
                  </a:lnTo>
                  <a:lnTo>
                    <a:pt x="19" y="79"/>
                  </a:lnTo>
                  <a:lnTo>
                    <a:pt x="16" y="75"/>
                  </a:lnTo>
                  <a:lnTo>
                    <a:pt x="8" y="68"/>
                  </a:lnTo>
                  <a:lnTo>
                    <a:pt x="8" y="68"/>
                  </a:lnTo>
                  <a:lnTo>
                    <a:pt x="1" y="58"/>
                  </a:lnTo>
                  <a:lnTo>
                    <a:pt x="0" y="53"/>
                  </a:lnTo>
                  <a:lnTo>
                    <a:pt x="0" y="52"/>
                  </a:lnTo>
                  <a:lnTo>
                    <a:pt x="0" y="51"/>
                  </a:lnTo>
                  <a:lnTo>
                    <a:pt x="0" y="51"/>
                  </a:lnTo>
                  <a:lnTo>
                    <a:pt x="4" y="51"/>
                  </a:lnTo>
                  <a:lnTo>
                    <a:pt x="6" y="52"/>
                  </a:lnTo>
                  <a:lnTo>
                    <a:pt x="8" y="52"/>
                  </a:lnTo>
                  <a:lnTo>
                    <a:pt x="8" y="51"/>
                  </a:lnTo>
                  <a:lnTo>
                    <a:pt x="8" y="51"/>
                  </a:lnTo>
                  <a:lnTo>
                    <a:pt x="8" y="46"/>
                  </a:lnTo>
                  <a:lnTo>
                    <a:pt x="7" y="40"/>
                  </a:lnTo>
                  <a:lnTo>
                    <a:pt x="6" y="35"/>
                  </a:lnTo>
                  <a:lnTo>
                    <a:pt x="6" y="32"/>
                  </a:lnTo>
                  <a:lnTo>
                    <a:pt x="7" y="30"/>
                  </a:lnTo>
                  <a:lnTo>
                    <a:pt x="7" y="30"/>
                  </a:lnTo>
                  <a:lnTo>
                    <a:pt x="8" y="29"/>
                  </a:lnTo>
                  <a:lnTo>
                    <a:pt x="10" y="29"/>
                  </a:lnTo>
                  <a:lnTo>
                    <a:pt x="10" y="27"/>
                  </a:lnTo>
                  <a:lnTo>
                    <a:pt x="10" y="27"/>
                  </a:lnTo>
                  <a:lnTo>
                    <a:pt x="8" y="19"/>
                  </a:lnTo>
                  <a:lnTo>
                    <a:pt x="8" y="16"/>
                  </a:lnTo>
                  <a:lnTo>
                    <a:pt x="10" y="13"/>
                  </a:lnTo>
                  <a:lnTo>
                    <a:pt x="10" y="13"/>
                  </a:lnTo>
                  <a:lnTo>
                    <a:pt x="17" y="9"/>
                  </a:lnTo>
                  <a:lnTo>
                    <a:pt x="26" y="4"/>
                  </a:lnTo>
                  <a:lnTo>
                    <a:pt x="26" y="4"/>
                  </a:lnTo>
                  <a:lnTo>
                    <a:pt x="30" y="1"/>
                  </a:lnTo>
                  <a:lnTo>
                    <a:pt x="32" y="0"/>
                  </a:lnTo>
                  <a:lnTo>
                    <a:pt x="35" y="1"/>
                  </a:lnTo>
                  <a:lnTo>
                    <a:pt x="37" y="4"/>
                  </a:lnTo>
                  <a:lnTo>
                    <a:pt x="37" y="4"/>
                  </a:lnTo>
                  <a:lnTo>
                    <a:pt x="43" y="10"/>
                  </a:lnTo>
                  <a:lnTo>
                    <a:pt x="46" y="13"/>
                  </a:lnTo>
                  <a:lnTo>
                    <a:pt x="48" y="16"/>
                  </a:lnTo>
                  <a:lnTo>
                    <a:pt x="48" y="16"/>
                  </a:lnTo>
                  <a:lnTo>
                    <a:pt x="49" y="22"/>
                  </a:lnTo>
                  <a:lnTo>
                    <a:pt x="50" y="23"/>
                  </a:lnTo>
                  <a:lnTo>
                    <a:pt x="53" y="24"/>
                  </a:lnTo>
                  <a:lnTo>
                    <a:pt x="53" y="24"/>
                  </a:lnTo>
                  <a:lnTo>
                    <a:pt x="59" y="23"/>
                  </a:lnTo>
                  <a:lnTo>
                    <a:pt x="61" y="23"/>
                  </a:lnTo>
                  <a:lnTo>
                    <a:pt x="61" y="24"/>
                  </a:lnTo>
                  <a:lnTo>
                    <a:pt x="61" y="24"/>
                  </a:lnTo>
                  <a:lnTo>
                    <a:pt x="62" y="32"/>
                  </a:lnTo>
                  <a:lnTo>
                    <a:pt x="64" y="33"/>
                  </a:lnTo>
                  <a:lnTo>
                    <a:pt x="65" y="35"/>
                  </a:lnTo>
                  <a:lnTo>
                    <a:pt x="65" y="35"/>
                  </a:lnTo>
                  <a:lnTo>
                    <a:pt x="68" y="33"/>
                  </a:lnTo>
                  <a:lnTo>
                    <a:pt x="69" y="32"/>
                  </a:lnTo>
                  <a:lnTo>
                    <a:pt x="69" y="24"/>
                  </a:lnTo>
                  <a:lnTo>
                    <a:pt x="69" y="24"/>
                  </a:lnTo>
                  <a:lnTo>
                    <a:pt x="69" y="16"/>
                  </a:lnTo>
                  <a:lnTo>
                    <a:pt x="71" y="11"/>
                  </a:lnTo>
                  <a:lnTo>
                    <a:pt x="74" y="9"/>
                  </a:lnTo>
                  <a:lnTo>
                    <a:pt x="74" y="9"/>
                  </a:lnTo>
                  <a:lnTo>
                    <a:pt x="75" y="7"/>
                  </a:lnTo>
                  <a:lnTo>
                    <a:pt x="74" y="4"/>
                  </a:lnTo>
                  <a:lnTo>
                    <a:pt x="74" y="3"/>
                  </a:lnTo>
                  <a:lnTo>
                    <a:pt x="75" y="1"/>
                  </a:lnTo>
                  <a:lnTo>
                    <a:pt x="75" y="1"/>
                  </a:lnTo>
                  <a:lnTo>
                    <a:pt x="78" y="3"/>
                  </a:lnTo>
                  <a:lnTo>
                    <a:pt x="79" y="6"/>
                  </a:lnTo>
                  <a:lnTo>
                    <a:pt x="85" y="11"/>
                  </a:lnTo>
                  <a:lnTo>
                    <a:pt x="85" y="11"/>
                  </a:lnTo>
                  <a:lnTo>
                    <a:pt x="92" y="19"/>
                  </a:lnTo>
                  <a:lnTo>
                    <a:pt x="95" y="22"/>
                  </a:lnTo>
                  <a:lnTo>
                    <a:pt x="100" y="23"/>
                  </a:lnTo>
                  <a:lnTo>
                    <a:pt x="100" y="23"/>
                  </a:lnTo>
                  <a:lnTo>
                    <a:pt x="110" y="22"/>
                  </a:lnTo>
                  <a:lnTo>
                    <a:pt x="114" y="23"/>
                  </a:lnTo>
                  <a:lnTo>
                    <a:pt x="119" y="24"/>
                  </a:lnTo>
                  <a:lnTo>
                    <a:pt x="119" y="24"/>
                  </a:lnTo>
                  <a:lnTo>
                    <a:pt x="132" y="35"/>
                  </a:lnTo>
                  <a:lnTo>
                    <a:pt x="137" y="37"/>
                  </a:lnTo>
                  <a:lnTo>
                    <a:pt x="139" y="39"/>
                  </a:lnTo>
                  <a:lnTo>
                    <a:pt x="137" y="40"/>
                  </a:lnTo>
                  <a:lnTo>
                    <a:pt x="137" y="40"/>
                  </a:lnTo>
                  <a:lnTo>
                    <a:pt x="133" y="43"/>
                  </a:lnTo>
                  <a:lnTo>
                    <a:pt x="130" y="45"/>
                  </a:lnTo>
                  <a:lnTo>
                    <a:pt x="129" y="46"/>
                  </a:lnTo>
                  <a:lnTo>
                    <a:pt x="129" y="46"/>
                  </a:lnTo>
                  <a:lnTo>
                    <a:pt x="130" y="55"/>
                  </a:lnTo>
                  <a:lnTo>
                    <a:pt x="130" y="59"/>
                  </a:lnTo>
                  <a:lnTo>
                    <a:pt x="129" y="62"/>
                  </a:lnTo>
                  <a:lnTo>
                    <a:pt x="129" y="62"/>
                  </a:lnTo>
                  <a:lnTo>
                    <a:pt x="121" y="69"/>
                  </a:lnTo>
                  <a:lnTo>
                    <a:pt x="119" y="72"/>
                  </a:lnTo>
                  <a:lnTo>
                    <a:pt x="116" y="72"/>
                  </a:lnTo>
                  <a:lnTo>
                    <a:pt x="116" y="72"/>
                  </a:lnTo>
                  <a:lnTo>
                    <a:pt x="108" y="69"/>
                  </a:lnTo>
                  <a:lnTo>
                    <a:pt x="104" y="68"/>
                  </a:lnTo>
                  <a:lnTo>
                    <a:pt x="100" y="66"/>
                  </a:lnTo>
                  <a:lnTo>
                    <a:pt x="100" y="66"/>
                  </a:lnTo>
                  <a:lnTo>
                    <a:pt x="97" y="62"/>
                  </a:lnTo>
                  <a:lnTo>
                    <a:pt x="95" y="55"/>
                  </a:lnTo>
                  <a:lnTo>
                    <a:pt x="94" y="49"/>
                  </a:lnTo>
                  <a:lnTo>
                    <a:pt x="94" y="45"/>
                  </a:lnTo>
                  <a:lnTo>
                    <a:pt x="94" y="45"/>
                  </a:lnTo>
                  <a:lnTo>
                    <a:pt x="97" y="37"/>
                  </a:lnTo>
                  <a:lnTo>
                    <a:pt x="98" y="35"/>
                  </a:lnTo>
                  <a:lnTo>
                    <a:pt x="98" y="33"/>
                  </a:lnTo>
                  <a:lnTo>
                    <a:pt x="98" y="33"/>
                  </a:lnTo>
                  <a:lnTo>
                    <a:pt x="92" y="32"/>
                  </a:lnTo>
                  <a:lnTo>
                    <a:pt x="90" y="33"/>
                  </a:lnTo>
                  <a:lnTo>
                    <a:pt x="87" y="35"/>
                  </a:lnTo>
                  <a:lnTo>
                    <a:pt x="87" y="35"/>
                  </a:lnTo>
                  <a:lnTo>
                    <a:pt x="85" y="36"/>
                  </a:lnTo>
                  <a:lnTo>
                    <a:pt x="85" y="40"/>
                  </a:lnTo>
                  <a:lnTo>
                    <a:pt x="85" y="46"/>
                  </a:lnTo>
                  <a:lnTo>
                    <a:pt x="85" y="46"/>
                  </a:lnTo>
                  <a:lnTo>
                    <a:pt x="90" y="59"/>
                  </a:lnTo>
                  <a:lnTo>
                    <a:pt x="94" y="68"/>
                  </a:lnTo>
                  <a:lnTo>
                    <a:pt x="97" y="71"/>
                  </a:lnTo>
                  <a:lnTo>
                    <a:pt x="100" y="72"/>
                  </a:lnTo>
                  <a:lnTo>
                    <a:pt x="100" y="72"/>
                  </a:lnTo>
                  <a:lnTo>
                    <a:pt x="108" y="77"/>
                  </a:lnTo>
                  <a:lnTo>
                    <a:pt x="110" y="77"/>
                  </a:lnTo>
                  <a:lnTo>
                    <a:pt x="108" y="78"/>
                  </a:lnTo>
                  <a:lnTo>
                    <a:pt x="108" y="78"/>
                  </a:lnTo>
                  <a:lnTo>
                    <a:pt x="106" y="79"/>
                  </a:lnTo>
                  <a:lnTo>
                    <a:pt x="100" y="79"/>
                  </a:lnTo>
                  <a:lnTo>
                    <a:pt x="90" y="81"/>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02" name="Freeform 1474"/>
            <p:cNvSpPr>
              <a:spLocks/>
            </p:cNvSpPr>
            <p:nvPr/>
          </p:nvSpPr>
          <p:spPr bwMode="auto">
            <a:xfrm>
              <a:off x="7773988" y="1706992"/>
              <a:ext cx="220663" cy="147638"/>
            </a:xfrm>
            <a:custGeom>
              <a:avLst/>
              <a:gdLst>
                <a:gd name="T0" fmla="*/ 87 w 139"/>
                <a:gd name="T1" fmla="*/ 81 h 93"/>
                <a:gd name="T2" fmla="*/ 84 w 139"/>
                <a:gd name="T3" fmla="*/ 75 h 93"/>
                <a:gd name="T4" fmla="*/ 78 w 139"/>
                <a:gd name="T5" fmla="*/ 75 h 93"/>
                <a:gd name="T6" fmla="*/ 66 w 139"/>
                <a:gd name="T7" fmla="*/ 79 h 93"/>
                <a:gd name="T8" fmla="*/ 55 w 139"/>
                <a:gd name="T9" fmla="*/ 78 h 93"/>
                <a:gd name="T10" fmla="*/ 48 w 139"/>
                <a:gd name="T11" fmla="*/ 74 h 93"/>
                <a:gd name="T12" fmla="*/ 43 w 139"/>
                <a:gd name="T13" fmla="*/ 74 h 93"/>
                <a:gd name="T14" fmla="*/ 42 w 139"/>
                <a:gd name="T15" fmla="*/ 82 h 93"/>
                <a:gd name="T16" fmla="*/ 36 w 139"/>
                <a:gd name="T17" fmla="*/ 93 h 93"/>
                <a:gd name="T18" fmla="*/ 26 w 139"/>
                <a:gd name="T19" fmla="*/ 91 h 93"/>
                <a:gd name="T20" fmla="*/ 20 w 139"/>
                <a:gd name="T21" fmla="*/ 84 h 93"/>
                <a:gd name="T22" fmla="*/ 8 w 139"/>
                <a:gd name="T23" fmla="*/ 68 h 93"/>
                <a:gd name="T24" fmla="*/ 0 w 139"/>
                <a:gd name="T25" fmla="*/ 53 h 93"/>
                <a:gd name="T26" fmla="*/ 0 w 139"/>
                <a:gd name="T27" fmla="*/ 51 h 93"/>
                <a:gd name="T28" fmla="*/ 8 w 139"/>
                <a:gd name="T29" fmla="*/ 52 h 93"/>
                <a:gd name="T30" fmla="*/ 8 w 139"/>
                <a:gd name="T31" fmla="*/ 46 h 93"/>
                <a:gd name="T32" fmla="*/ 6 w 139"/>
                <a:gd name="T33" fmla="*/ 32 h 93"/>
                <a:gd name="T34" fmla="*/ 8 w 139"/>
                <a:gd name="T35" fmla="*/ 29 h 93"/>
                <a:gd name="T36" fmla="*/ 10 w 139"/>
                <a:gd name="T37" fmla="*/ 27 h 93"/>
                <a:gd name="T38" fmla="*/ 10 w 139"/>
                <a:gd name="T39" fmla="*/ 13 h 93"/>
                <a:gd name="T40" fmla="*/ 26 w 139"/>
                <a:gd name="T41" fmla="*/ 4 h 93"/>
                <a:gd name="T42" fmla="*/ 32 w 139"/>
                <a:gd name="T43" fmla="*/ 0 h 93"/>
                <a:gd name="T44" fmla="*/ 37 w 139"/>
                <a:gd name="T45" fmla="*/ 4 h 93"/>
                <a:gd name="T46" fmla="*/ 48 w 139"/>
                <a:gd name="T47" fmla="*/ 16 h 93"/>
                <a:gd name="T48" fmla="*/ 50 w 139"/>
                <a:gd name="T49" fmla="*/ 23 h 93"/>
                <a:gd name="T50" fmla="*/ 59 w 139"/>
                <a:gd name="T51" fmla="*/ 23 h 93"/>
                <a:gd name="T52" fmla="*/ 61 w 139"/>
                <a:gd name="T53" fmla="*/ 24 h 93"/>
                <a:gd name="T54" fmla="*/ 65 w 139"/>
                <a:gd name="T55" fmla="*/ 35 h 93"/>
                <a:gd name="T56" fmla="*/ 69 w 139"/>
                <a:gd name="T57" fmla="*/ 32 h 93"/>
                <a:gd name="T58" fmla="*/ 69 w 139"/>
                <a:gd name="T59" fmla="*/ 16 h 93"/>
                <a:gd name="T60" fmla="*/ 74 w 139"/>
                <a:gd name="T61" fmla="*/ 9 h 93"/>
                <a:gd name="T62" fmla="*/ 74 w 139"/>
                <a:gd name="T63" fmla="*/ 3 h 93"/>
                <a:gd name="T64" fmla="*/ 78 w 139"/>
                <a:gd name="T65" fmla="*/ 3 h 93"/>
                <a:gd name="T66" fmla="*/ 85 w 139"/>
                <a:gd name="T67" fmla="*/ 11 h 93"/>
                <a:gd name="T68" fmla="*/ 100 w 139"/>
                <a:gd name="T69" fmla="*/ 23 h 93"/>
                <a:gd name="T70" fmla="*/ 114 w 139"/>
                <a:gd name="T71" fmla="*/ 23 h 93"/>
                <a:gd name="T72" fmla="*/ 132 w 139"/>
                <a:gd name="T73" fmla="*/ 35 h 93"/>
                <a:gd name="T74" fmla="*/ 137 w 139"/>
                <a:gd name="T75" fmla="*/ 40 h 93"/>
                <a:gd name="T76" fmla="*/ 130 w 139"/>
                <a:gd name="T77" fmla="*/ 45 h 93"/>
                <a:gd name="T78" fmla="*/ 130 w 139"/>
                <a:gd name="T79" fmla="*/ 55 h 93"/>
                <a:gd name="T80" fmla="*/ 129 w 139"/>
                <a:gd name="T81" fmla="*/ 62 h 93"/>
                <a:gd name="T82" fmla="*/ 116 w 139"/>
                <a:gd name="T83" fmla="*/ 72 h 93"/>
                <a:gd name="T84" fmla="*/ 104 w 139"/>
                <a:gd name="T85" fmla="*/ 68 h 93"/>
                <a:gd name="T86" fmla="*/ 97 w 139"/>
                <a:gd name="T87" fmla="*/ 62 h 93"/>
                <a:gd name="T88" fmla="*/ 94 w 139"/>
                <a:gd name="T89" fmla="*/ 45 h 93"/>
                <a:gd name="T90" fmla="*/ 98 w 139"/>
                <a:gd name="T91" fmla="*/ 35 h 93"/>
                <a:gd name="T92" fmla="*/ 92 w 139"/>
                <a:gd name="T93" fmla="*/ 32 h 93"/>
                <a:gd name="T94" fmla="*/ 87 w 139"/>
                <a:gd name="T95" fmla="*/ 35 h 93"/>
                <a:gd name="T96" fmla="*/ 85 w 139"/>
                <a:gd name="T97" fmla="*/ 46 h 93"/>
                <a:gd name="T98" fmla="*/ 94 w 139"/>
                <a:gd name="T99" fmla="*/ 68 h 93"/>
                <a:gd name="T100" fmla="*/ 100 w 139"/>
                <a:gd name="T101" fmla="*/ 72 h 93"/>
                <a:gd name="T102" fmla="*/ 108 w 139"/>
                <a:gd name="T103" fmla="*/ 78 h 93"/>
                <a:gd name="T104" fmla="*/ 100 w 139"/>
                <a:gd name="T105" fmla="*/ 7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9" h="93">
                  <a:moveTo>
                    <a:pt x="90" y="81"/>
                  </a:moveTo>
                  <a:lnTo>
                    <a:pt x="90" y="81"/>
                  </a:lnTo>
                  <a:lnTo>
                    <a:pt x="87" y="81"/>
                  </a:lnTo>
                  <a:lnTo>
                    <a:pt x="85" y="79"/>
                  </a:lnTo>
                  <a:lnTo>
                    <a:pt x="84" y="75"/>
                  </a:lnTo>
                  <a:lnTo>
                    <a:pt x="84" y="75"/>
                  </a:lnTo>
                  <a:lnTo>
                    <a:pt x="84" y="74"/>
                  </a:lnTo>
                  <a:lnTo>
                    <a:pt x="84" y="74"/>
                  </a:lnTo>
                  <a:lnTo>
                    <a:pt x="78" y="75"/>
                  </a:lnTo>
                  <a:lnTo>
                    <a:pt x="78" y="75"/>
                  </a:lnTo>
                  <a:lnTo>
                    <a:pt x="72" y="78"/>
                  </a:lnTo>
                  <a:lnTo>
                    <a:pt x="66" y="79"/>
                  </a:lnTo>
                  <a:lnTo>
                    <a:pt x="59" y="79"/>
                  </a:lnTo>
                  <a:lnTo>
                    <a:pt x="55" y="78"/>
                  </a:lnTo>
                  <a:lnTo>
                    <a:pt x="55" y="78"/>
                  </a:lnTo>
                  <a:lnTo>
                    <a:pt x="52" y="77"/>
                  </a:lnTo>
                  <a:lnTo>
                    <a:pt x="49" y="75"/>
                  </a:lnTo>
                  <a:lnTo>
                    <a:pt x="48" y="74"/>
                  </a:lnTo>
                  <a:lnTo>
                    <a:pt x="46" y="74"/>
                  </a:lnTo>
                  <a:lnTo>
                    <a:pt x="46" y="74"/>
                  </a:lnTo>
                  <a:lnTo>
                    <a:pt x="43" y="74"/>
                  </a:lnTo>
                  <a:lnTo>
                    <a:pt x="43" y="77"/>
                  </a:lnTo>
                  <a:lnTo>
                    <a:pt x="42" y="82"/>
                  </a:lnTo>
                  <a:lnTo>
                    <a:pt x="42" y="82"/>
                  </a:lnTo>
                  <a:lnTo>
                    <a:pt x="42" y="90"/>
                  </a:lnTo>
                  <a:lnTo>
                    <a:pt x="40" y="93"/>
                  </a:lnTo>
                  <a:lnTo>
                    <a:pt x="36" y="93"/>
                  </a:lnTo>
                  <a:lnTo>
                    <a:pt x="36" y="93"/>
                  </a:lnTo>
                  <a:lnTo>
                    <a:pt x="30" y="93"/>
                  </a:lnTo>
                  <a:lnTo>
                    <a:pt x="26" y="91"/>
                  </a:lnTo>
                  <a:lnTo>
                    <a:pt x="23" y="88"/>
                  </a:lnTo>
                  <a:lnTo>
                    <a:pt x="20" y="84"/>
                  </a:lnTo>
                  <a:lnTo>
                    <a:pt x="20" y="84"/>
                  </a:lnTo>
                  <a:lnTo>
                    <a:pt x="19" y="79"/>
                  </a:lnTo>
                  <a:lnTo>
                    <a:pt x="16" y="75"/>
                  </a:lnTo>
                  <a:lnTo>
                    <a:pt x="8" y="68"/>
                  </a:lnTo>
                  <a:lnTo>
                    <a:pt x="8" y="68"/>
                  </a:lnTo>
                  <a:lnTo>
                    <a:pt x="1" y="58"/>
                  </a:lnTo>
                  <a:lnTo>
                    <a:pt x="0" y="53"/>
                  </a:lnTo>
                  <a:lnTo>
                    <a:pt x="0" y="52"/>
                  </a:lnTo>
                  <a:lnTo>
                    <a:pt x="0" y="51"/>
                  </a:lnTo>
                  <a:lnTo>
                    <a:pt x="0" y="51"/>
                  </a:lnTo>
                  <a:lnTo>
                    <a:pt x="4" y="51"/>
                  </a:lnTo>
                  <a:lnTo>
                    <a:pt x="6" y="52"/>
                  </a:lnTo>
                  <a:lnTo>
                    <a:pt x="8" y="52"/>
                  </a:lnTo>
                  <a:lnTo>
                    <a:pt x="8" y="51"/>
                  </a:lnTo>
                  <a:lnTo>
                    <a:pt x="8" y="51"/>
                  </a:lnTo>
                  <a:lnTo>
                    <a:pt x="8" y="46"/>
                  </a:lnTo>
                  <a:lnTo>
                    <a:pt x="7" y="40"/>
                  </a:lnTo>
                  <a:lnTo>
                    <a:pt x="6" y="35"/>
                  </a:lnTo>
                  <a:lnTo>
                    <a:pt x="6" y="32"/>
                  </a:lnTo>
                  <a:lnTo>
                    <a:pt x="7" y="30"/>
                  </a:lnTo>
                  <a:lnTo>
                    <a:pt x="7" y="30"/>
                  </a:lnTo>
                  <a:lnTo>
                    <a:pt x="8" y="29"/>
                  </a:lnTo>
                  <a:lnTo>
                    <a:pt x="10" y="29"/>
                  </a:lnTo>
                  <a:lnTo>
                    <a:pt x="10" y="27"/>
                  </a:lnTo>
                  <a:lnTo>
                    <a:pt x="10" y="27"/>
                  </a:lnTo>
                  <a:lnTo>
                    <a:pt x="8" y="19"/>
                  </a:lnTo>
                  <a:lnTo>
                    <a:pt x="8" y="16"/>
                  </a:lnTo>
                  <a:lnTo>
                    <a:pt x="10" y="13"/>
                  </a:lnTo>
                  <a:lnTo>
                    <a:pt x="10" y="13"/>
                  </a:lnTo>
                  <a:lnTo>
                    <a:pt x="17" y="9"/>
                  </a:lnTo>
                  <a:lnTo>
                    <a:pt x="26" y="4"/>
                  </a:lnTo>
                  <a:lnTo>
                    <a:pt x="26" y="4"/>
                  </a:lnTo>
                  <a:lnTo>
                    <a:pt x="30" y="1"/>
                  </a:lnTo>
                  <a:lnTo>
                    <a:pt x="32" y="0"/>
                  </a:lnTo>
                  <a:lnTo>
                    <a:pt x="35" y="1"/>
                  </a:lnTo>
                  <a:lnTo>
                    <a:pt x="37" y="4"/>
                  </a:lnTo>
                  <a:lnTo>
                    <a:pt x="37" y="4"/>
                  </a:lnTo>
                  <a:lnTo>
                    <a:pt x="43" y="10"/>
                  </a:lnTo>
                  <a:lnTo>
                    <a:pt x="46" y="13"/>
                  </a:lnTo>
                  <a:lnTo>
                    <a:pt x="48" y="16"/>
                  </a:lnTo>
                  <a:lnTo>
                    <a:pt x="48" y="16"/>
                  </a:lnTo>
                  <a:lnTo>
                    <a:pt x="49" y="22"/>
                  </a:lnTo>
                  <a:lnTo>
                    <a:pt x="50" y="23"/>
                  </a:lnTo>
                  <a:lnTo>
                    <a:pt x="53" y="24"/>
                  </a:lnTo>
                  <a:lnTo>
                    <a:pt x="53" y="24"/>
                  </a:lnTo>
                  <a:lnTo>
                    <a:pt x="59" y="23"/>
                  </a:lnTo>
                  <a:lnTo>
                    <a:pt x="61" y="23"/>
                  </a:lnTo>
                  <a:lnTo>
                    <a:pt x="61" y="24"/>
                  </a:lnTo>
                  <a:lnTo>
                    <a:pt x="61" y="24"/>
                  </a:lnTo>
                  <a:lnTo>
                    <a:pt x="62" y="32"/>
                  </a:lnTo>
                  <a:lnTo>
                    <a:pt x="64" y="33"/>
                  </a:lnTo>
                  <a:lnTo>
                    <a:pt x="65" y="35"/>
                  </a:lnTo>
                  <a:lnTo>
                    <a:pt x="65" y="35"/>
                  </a:lnTo>
                  <a:lnTo>
                    <a:pt x="68" y="33"/>
                  </a:lnTo>
                  <a:lnTo>
                    <a:pt x="69" y="32"/>
                  </a:lnTo>
                  <a:lnTo>
                    <a:pt x="69" y="24"/>
                  </a:lnTo>
                  <a:lnTo>
                    <a:pt x="69" y="24"/>
                  </a:lnTo>
                  <a:lnTo>
                    <a:pt x="69" y="16"/>
                  </a:lnTo>
                  <a:lnTo>
                    <a:pt x="71" y="11"/>
                  </a:lnTo>
                  <a:lnTo>
                    <a:pt x="74" y="9"/>
                  </a:lnTo>
                  <a:lnTo>
                    <a:pt x="74" y="9"/>
                  </a:lnTo>
                  <a:lnTo>
                    <a:pt x="75" y="7"/>
                  </a:lnTo>
                  <a:lnTo>
                    <a:pt x="74" y="4"/>
                  </a:lnTo>
                  <a:lnTo>
                    <a:pt x="74" y="3"/>
                  </a:lnTo>
                  <a:lnTo>
                    <a:pt x="75" y="1"/>
                  </a:lnTo>
                  <a:lnTo>
                    <a:pt x="75" y="1"/>
                  </a:lnTo>
                  <a:lnTo>
                    <a:pt x="78" y="3"/>
                  </a:lnTo>
                  <a:lnTo>
                    <a:pt x="79" y="6"/>
                  </a:lnTo>
                  <a:lnTo>
                    <a:pt x="85" y="11"/>
                  </a:lnTo>
                  <a:lnTo>
                    <a:pt x="85" y="11"/>
                  </a:lnTo>
                  <a:lnTo>
                    <a:pt x="92" y="19"/>
                  </a:lnTo>
                  <a:lnTo>
                    <a:pt x="95" y="22"/>
                  </a:lnTo>
                  <a:lnTo>
                    <a:pt x="100" y="23"/>
                  </a:lnTo>
                  <a:lnTo>
                    <a:pt x="100" y="23"/>
                  </a:lnTo>
                  <a:lnTo>
                    <a:pt x="110" y="22"/>
                  </a:lnTo>
                  <a:lnTo>
                    <a:pt x="114" y="23"/>
                  </a:lnTo>
                  <a:lnTo>
                    <a:pt x="119" y="24"/>
                  </a:lnTo>
                  <a:lnTo>
                    <a:pt x="119" y="24"/>
                  </a:lnTo>
                  <a:lnTo>
                    <a:pt x="132" y="35"/>
                  </a:lnTo>
                  <a:lnTo>
                    <a:pt x="137" y="37"/>
                  </a:lnTo>
                  <a:lnTo>
                    <a:pt x="139" y="39"/>
                  </a:lnTo>
                  <a:lnTo>
                    <a:pt x="137" y="40"/>
                  </a:lnTo>
                  <a:lnTo>
                    <a:pt x="137" y="40"/>
                  </a:lnTo>
                  <a:lnTo>
                    <a:pt x="133" y="43"/>
                  </a:lnTo>
                  <a:lnTo>
                    <a:pt x="130" y="45"/>
                  </a:lnTo>
                  <a:lnTo>
                    <a:pt x="129" y="46"/>
                  </a:lnTo>
                  <a:lnTo>
                    <a:pt x="129" y="46"/>
                  </a:lnTo>
                  <a:lnTo>
                    <a:pt x="130" y="55"/>
                  </a:lnTo>
                  <a:lnTo>
                    <a:pt x="130" y="59"/>
                  </a:lnTo>
                  <a:lnTo>
                    <a:pt x="129" y="62"/>
                  </a:lnTo>
                  <a:lnTo>
                    <a:pt x="129" y="62"/>
                  </a:lnTo>
                  <a:lnTo>
                    <a:pt x="121" y="69"/>
                  </a:lnTo>
                  <a:lnTo>
                    <a:pt x="119" y="72"/>
                  </a:lnTo>
                  <a:lnTo>
                    <a:pt x="116" y="72"/>
                  </a:lnTo>
                  <a:lnTo>
                    <a:pt x="116" y="72"/>
                  </a:lnTo>
                  <a:lnTo>
                    <a:pt x="108" y="69"/>
                  </a:lnTo>
                  <a:lnTo>
                    <a:pt x="104" y="68"/>
                  </a:lnTo>
                  <a:lnTo>
                    <a:pt x="100" y="66"/>
                  </a:lnTo>
                  <a:lnTo>
                    <a:pt x="100" y="66"/>
                  </a:lnTo>
                  <a:lnTo>
                    <a:pt x="97" y="62"/>
                  </a:lnTo>
                  <a:lnTo>
                    <a:pt x="95" y="55"/>
                  </a:lnTo>
                  <a:lnTo>
                    <a:pt x="94" y="49"/>
                  </a:lnTo>
                  <a:lnTo>
                    <a:pt x="94" y="45"/>
                  </a:lnTo>
                  <a:lnTo>
                    <a:pt x="94" y="45"/>
                  </a:lnTo>
                  <a:lnTo>
                    <a:pt x="97" y="37"/>
                  </a:lnTo>
                  <a:lnTo>
                    <a:pt x="98" y="35"/>
                  </a:lnTo>
                  <a:lnTo>
                    <a:pt x="98" y="33"/>
                  </a:lnTo>
                  <a:lnTo>
                    <a:pt x="98" y="33"/>
                  </a:lnTo>
                  <a:lnTo>
                    <a:pt x="92" y="32"/>
                  </a:lnTo>
                  <a:lnTo>
                    <a:pt x="90" y="33"/>
                  </a:lnTo>
                  <a:lnTo>
                    <a:pt x="87" y="35"/>
                  </a:lnTo>
                  <a:lnTo>
                    <a:pt x="87" y="35"/>
                  </a:lnTo>
                  <a:lnTo>
                    <a:pt x="85" y="36"/>
                  </a:lnTo>
                  <a:lnTo>
                    <a:pt x="85" y="40"/>
                  </a:lnTo>
                  <a:lnTo>
                    <a:pt x="85" y="46"/>
                  </a:lnTo>
                  <a:lnTo>
                    <a:pt x="85" y="46"/>
                  </a:lnTo>
                  <a:lnTo>
                    <a:pt x="90" y="59"/>
                  </a:lnTo>
                  <a:lnTo>
                    <a:pt x="94" y="68"/>
                  </a:lnTo>
                  <a:lnTo>
                    <a:pt x="97" y="71"/>
                  </a:lnTo>
                  <a:lnTo>
                    <a:pt x="100" y="72"/>
                  </a:lnTo>
                  <a:lnTo>
                    <a:pt x="100" y="72"/>
                  </a:lnTo>
                  <a:lnTo>
                    <a:pt x="108" y="77"/>
                  </a:lnTo>
                  <a:lnTo>
                    <a:pt x="110" y="77"/>
                  </a:lnTo>
                  <a:lnTo>
                    <a:pt x="108" y="78"/>
                  </a:lnTo>
                  <a:lnTo>
                    <a:pt x="108" y="78"/>
                  </a:lnTo>
                  <a:lnTo>
                    <a:pt x="106" y="79"/>
                  </a:lnTo>
                  <a:lnTo>
                    <a:pt x="100" y="79"/>
                  </a:lnTo>
                  <a:lnTo>
                    <a:pt x="90" y="8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03" name="Freeform 1475"/>
            <p:cNvSpPr>
              <a:spLocks/>
            </p:cNvSpPr>
            <p:nvPr/>
          </p:nvSpPr>
          <p:spPr bwMode="auto">
            <a:xfrm>
              <a:off x="8016876" y="1778429"/>
              <a:ext cx="112713" cy="76200"/>
            </a:xfrm>
            <a:custGeom>
              <a:avLst/>
              <a:gdLst>
                <a:gd name="T0" fmla="*/ 44 w 71"/>
                <a:gd name="T1" fmla="*/ 48 h 48"/>
                <a:gd name="T2" fmla="*/ 44 w 71"/>
                <a:gd name="T3" fmla="*/ 48 h 48"/>
                <a:gd name="T4" fmla="*/ 42 w 71"/>
                <a:gd name="T5" fmla="*/ 46 h 48"/>
                <a:gd name="T6" fmla="*/ 39 w 71"/>
                <a:gd name="T7" fmla="*/ 43 h 48"/>
                <a:gd name="T8" fmla="*/ 38 w 71"/>
                <a:gd name="T9" fmla="*/ 42 h 48"/>
                <a:gd name="T10" fmla="*/ 35 w 71"/>
                <a:gd name="T11" fmla="*/ 40 h 48"/>
                <a:gd name="T12" fmla="*/ 35 w 71"/>
                <a:gd name="T13" fmla="*/ 40 h 48"/>
                <a:gd name="T14" fmla="*/ 29 w 71"/>
                <a:gd name="T15" fmla="*/ 37 h 48"/>
                <a:gd name="T16" fmla="*/ 23 w 71"/>
                <a:gd name="T17" fmla="*/ 33 h 48"/>
                <a:gd name="T18" fmla="*/ 16 w 71"/>
                <a:gd name="T19" fmla="*/ 27 h 48"/>
                <a:gd name="T20" fmla="*/ 16 w 71"/>
                <a:gd name="T21" fmla="*/ 27 h 48"/>
                <a:gd name="T22" fmla="*/ 15 w 71"/>
                <a:gd name="T23" fmla="*/ 26 h 48"/>
                <a:gd name="T24" fmla="*/ 12 w 71"/>
                <a:gd name="T25" fmla="*/ 21 h 48"/>
                <a:gd name="T26" fmla="*/ 8 w 71"/>
                <a:gd name="T27" fmla="*/ 14 h 48"/>
                <a:gd name="T28" fmla="*/ 8 w 71"/>
                <a:gd name="T29" fmla="*/ 14 h 48"/>
                <a:gd name="T30" fmla="*/ 2 w 71"/>
                <a:gd name="T31" fmla="*/ 6 h 48"/>
                <a:gd name="T32" fmla="*/ 0 w 71"/>
                <a:gd name="T33" fmla="*/ 3 h 48"/>
                <a:gd name="T34" fmla="*/ 0 w 71"/>
                <a:gd name="T35" fmla="*/ 0 h 48"/>
                <a:gd name="T36" fmla="*/ 0 w 71"/>
                <a:gd name="T37" fmla="*/ 0 h 48"/>
                <a:gd name="T38" fmla="*/ 2 w 71"/>
                <a:gd name="T39" fmla="*/ 0 h 48"/>
                <a:gd name="T40" fmla="*/ 5 w 71"/>
                <a:gd name="T41" fmla="*/ 3 h 48"/>
                <a:gd name="T42" fmla="*/ 8 w 71"/>
                <a:gd name="T43" fmla="*/ 6 h 48"/>
                <a:gd name="T44" fmla="*/ 12 w 71"/>
                <a:gd name="T45" fmla="*/ 7 h 48"/>
                <a:gd name="T46" fmla="*/ 12 w 71"/>
                <a:gd name="T47" fmla="*/ 7 h 48"/>
                <a:gd name="T48" fmla="*/ 26 w 71"/>
                <a:gd name="T49" fmla="*/ 6 h 48"/>
                <a:gd name="T50" fmla="*/ 26 w 71"/>
                <a:gd name="T51" fmla="*/ 6 h 48"/>
                <a:gd name="T52" fmla="*/ 35 w 71"/>
                <a:gd name="T53" fmla="*/ 6 h 48"/>
                <a:gd name="T54" fmla="*/ 37 w 71"/>
                <a:gd name="T55" fmla="*/ 7 h 48"/>
                <a:gd name="T56" fmla="*/ 35 w 71"/>
                <a:gd name="T57" fmla="*/ 8 h 48"/>
                <a:gd name="T58" fmla="*/ 35 w 71"/>
                <a:gd name="T59" fmla="*/ 8 h 48"/>
                <a:gd name="T60" fmla="*/ 32 w 71"/>
                <a:gd name="T61" fmla="*/ 13 h 48"/>
                <a:gd name="T62" fmla="*/ 34 w 71"/>
                <a:gd name="T63" fmla="*/ 14 h 48"/>
                <a:gd name="T64" fmla="*/ 37 w 71"/>
                <a:gd name="T65" fmla="*/ 16 h 48"/>
                <a:gd name="T66" fmla="*/ 37 w 71"/>
                <a:gd name="T67" fmla="*/ 16 h 48"/>
                <a:gd name="T68" fmla="*/ 39 w 71"/>
                <a:gd name="T69" fmla="*/ 14 h 48"/>
                <a:gd name="T70" fmla="*/ 41 w 71"/>
                <a:gd name="T71" fmla="*/ 13 h 48"/>
                <a:gd name="T72" fmla="*/ 42 w 71"/>
                <a:gd name="T73" fmla="*/ 13 h 48"/>
                <a:gd name="T74" fmla="*/ 47 w 71"/>
                <a:gd name="T75" fmla="*/ 14 h 48"/>
                <a:gd name="T76" fmla="*/ 47 w 71"/>
                <a:gd name="T77" fmla="*/ 14 h 48"/>
                <a:gd name="T78" fmla="*/ 58 w 71"/>
                <a:gd name="T79" fmla="*/ 20 h 48"/>
                <a:gd name="T80" fmla="*/ 63 w 71"/>
                <a:gd name="T81" fmla="*/ 23 h 48"/>
                <a:gd name="T82" fmla="*/ 65 w 71"/>
                <a:gd name="T83" fmla="*/ 23 h 48"/>
                <a:gd name="T84" fmla="*/ 65 w 71"/>
                <a:gd name="T85" fmla="*/ 23 h 48"/>
                <a:gd name="T86" fmla="*/ 68 w 71"/>
                <a:gd name="T87" fmla="*/ 24 h 48"/>
                <a:gd name="T88" fmla="*/ 70 w 71"/>
                <a:gd name="T89" fmla="*/ 26 h 48"/>
                <a:gd name="T90" fmla="*/ 71 w 71"/>
                <a:gd name="T91" fmla="*/ 27 h 48"/>
                <a:gd name="T92" fmla="*/ 70 w 71"/>
                <a:gd name="T93" fmla="*/ 30 h 48"/>
                <a:gd name="T94" fmla="*/ 70 w 71"/>
                <a:gd name="T95" fmla="*/ 30 h 48"/>
                <a:gd name="T96" fmla="*/ 64 w 71"/>
                <a:gd name="T97" fmla="*/ 39 h 48"/>
                <a:gd name="T98" fmla="*/ 61 w 71"/>
                <a:gd name="T99" fmla="*/ 43 h 48"/>
                <a:gd name="T100" fmla="*/ 57 w 71"/>
                <a:gd name="T101" fmla="*/ 45 h 48"/>
                <a:gd name="T102" fmla="*/ 57 w 71"/>
                <a:gd name="T103" fmla="*/ 45 h 48"/>
                <a:gd name="T104" fmla="*/ 54 w 71"/>
                <a:gd name="T105" fmla="*/ 45 h 48"/>
                <a:gd name="T106" fmla="*/ 51 w 71"/>
                <a:gd name="T107" fmla="*/ 43 h 48"/>
                <a:gd name="T108" fmla="*/ 48 w 71"/>
                <a:gd name="T109" fmla="*/ 42 h 48"/>
                <a:gd name="T110" fmla="*/ 48 w 71"/>
                <a:gd name="T111" fmla="*/ 42 h 48"/>
                <a:gd name="T112" fmla="*/ 47 w 71"/>
                <a:gd name="T113" fmla="*/ 43 h 48"/>
                <a:gd name="T114" fmla="*/ 47 w 71"/>
                <a:gd name="T115" fmla="*/ 45 h 48"/>
                <a:gd name="T116" fmla="*/ 47 w 71"/>
                <a:gd name="T117" fmla="*/ 46 h 48"/>
                <a:gd name="T118" fmla="*/ 44 w 71"/>
                <a:gd name="T1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1" h="48">
                  <a:moveTo>
                    <a:pt x="44" y="48"/>
                  </a:moveTo>
                  <a:lnTo>
                    <a:pt x="44" y="48"/>
                  </a:lnTo>
                  <a:lnTo>
                    <a:pt x="42" y="46"/>
                  </a:lnTo>
                  <a:lnTo>
                    <a:pt x="39" y="43"/>
                  </a:lnTo>
                  <a:lnTo>
                    <a:pt x="38" y="42"/>
                  </a:lnTo>
                  <a:lnTo>
                    <a:pt x="35" y="40"/>
                  </a:lnTo>
                  <a:lnTo>
                    <a:pt x="35" y="40"/>
                  </a:lnTo>
                  <a:lnTo>
                    <a:pt x="29" y="37"/>
                  </a:lnTo>
                  <a:lnTo>
                    <a:pt x="23" y="33"/>
                  </a:lnTo>
                  <a:lnTo>
                    <a:pt x="16" y="27"/>
                  </a:lnTo>
                  <a:lnTo>
                    <a:pt x="16" y="27"/>
                  </a:lnTo>
                  <a:lnTo>
                    <a:pt x="15" y="26"/>
                  </a:lnTo>
                  <a:lnTo>
                    <a:pt x="12" y="21"/>
                  </a:lnTo>
                  <a:lnTo>
                    <a:pt x="8" y="14"/>
                  </a:lnTo>
                  <a:lnTo>
                    <a:pt x="8" y="14"/>
                  </a:lnTo>
                  <a:lnTo>
                    <a:pt x="2" y="6"/>
                  </a:lnTo>
                  <a:lnTo>
                    <a:pt x="0" y="3"/>
                  </a:lnTo>
                  <a:lnTo>
                    <a:pt x="0" y="0"/>
                  </a:lnTo>
                  <a:lnTo>
                    <a:pt x="0" y="0"/>
                  </a:lnTo>
                  <a:lnTo>
                    <a:pt x="2" y="0"/>
                  </a:lnTo>
                  <a:lnTo>
                    <a:pt x="5" y="3"/>
                  </a:lnTo>
                  <a:lnTo>
                    <a:pt x="8" y="6"/>
                  </a:lnTo>
                  <a:lnTo>
                    <a:pt x="12" y="7"/>
                  </a:lnTo>
                  <a:lnTo>
                    <a:pt x="12" y="7"/>
                  </a:lnTo>
                  <a:lnTo>
                    <a:pt x="26" y="6"/>
                  </a:lnTo>
                  <a:lnTo>
                    <a:pt x="26" y="6"/>
                  </a:lnTo>
                  <a:lnTo>
                    <a:pt x="35" y="6"/>
                  </a:lnTo>
                  <a:lnTo>
                    <a:pt x="37" y="7"/>
                  </a:lnTo>
                  <a:lnTo>
                    <a:pt x="35" y="8"/>
                  </a:lnTo>
                  <a:lnTo>
                    <a:pt x="35" y="8"/>
                  </a:lnTo>
                  <a:lnTo>
                    <a:pt x="32" y="13"/>
                  </a:lnTo>
                  <a:lnTo>
                    <a:pt x="34" y="14"/>
                  </a:lnTo>
                  <a:lnTo>
                    <a:pt x="37" y="16"/>
                  </a:lnTo>
                  <a:lnTo>
                    <a:pt x="37" y="16"/>
                  </a:lnTo>
                  <a:lnTo>
                    <a:pt x="39" y="14"/>
                  </a:lnTo>
                  <a:lnTo>
                    <a:pt x="41" y="13"/>
                  </a:lnTo>
                  <a:lnTo>
                    <a:pt x="42" y="13"/>
                  </a:lnTo>
                  <a:lnTo>
                    <a:pt x="47" y="14"/>
                  </a:lnTo>
                  <a:lnTo>
                    <a:pt x="47" y="14"/>
                  </a:lnTo>
                  <a:lnTo>
                    <a:pt x="58" y="20"/>
                  </a:lnTo>
                  <a:lnTo>
                    <a:pt x="63" y="23"/>
                  </a:lnTo>
                  <a:lnTo>
                    <a:pt x="65" y="23"/>
                  </a:lnTo>
                  <a:lnTo>
                    <a:pt x="65" y="23"/>
                  </a:lnTo>
                  <a:lnTo>
                    <a:pt x="68" y="24"/>
                  </a:lnTo>
                  <a:lnTo>
                    <a:pt x="70" y="26"/>
                  </a:lnTo>
                  <a:lnTo>
                    <a:pt x="71" y="27"/>
                  </a:lnTo>
                  <a:lnTo>
                    <a:pt x="70" y="30"/>
                  </a:lnTo>
                  <a:lnTo>
                    <a:pt x="70" y="30"/>
                  </a:lnTo>
                  <a:lnTo>
                    <a:pt x="64" y="39"/>
                  </a:lnTo>
                  <a:lnTo>
                    <a:pt x="61" y="43"/>
                  </a:lnTo>
                  <a:lnTo>
                    <a:pt x="57" y="45"/>
                  </a:lnTo>
                  <a:lnTo>
                    <a:pt x="57" y="45"/>
                  </a:lnTo>
                  <a:lnTo>
                    <a:pt x="54" y="45"/>
                  </a:lnTo>
                  <a:lnTo>
                    <a:pt x="51" y="43"/>
                  </a:lnTo>
                  <a:lnTo>
                    <a:pt x="48" y="42"/>
                  </a:lnTo>
                  <a:lnTo>
                    <a:pt x="48" y="42"/>
                  </a:lnTo>
                  <a:lnTo>
                    <a:pt x="47" y="43"/>
                  </a:lnTo>
                  <a:lnTo>
                    <a:pt x="47" y="45"/>
                  </a:lnTo>
                  <a:lnTo>
                    <a:pt x="47" y="46"/>
                  </a:lnTo>
                  <a:lnTo>
                    <a:pt x="44" y="48"/>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04" name="Freeform 1476"/>
            <p:cNvSpPr>
              <a:spLocks/>
            </p:cNvSpPr>
            <p:nvPr/>
          </p:nvSpPr>
          <p:spPr bwMode="auto">
            <a:xfrm>
              <a:off x="8016876" y="1778429"/>
              <a:ext cx="112713" cy="76200"/>
            </a:xfrm>
            <a:custGeom>
              <a:avLst/>
              <a:gdLst>
                <a:gd name="T0" fmla="*/ 44 w 71"/>
                <a:gd name="T1" fmla="*/ 48 h 48"/>
                <a:gd name="T2" fmla="*/ 44 w 71"/>
                <a:gd name="T3" fmla="*/ 48 h 48"/>
                <a:gd name="T4" fmla="*/ 42 w 71"/>
                <a:gd name="T5" fmla="*/ 46 h 48"/>
                <a:gd name="T6" fmla="*/ 39 w 71"/>
                <a:gd name="T7" fmla="*/ 43 h 48"/>
                <a:gd name="T8" fmla="*/ 38 w 71"/>
                <a:gd name="T9" fmla="*/ 42 h 48"/>
                <a:gd name="T10" fmla="*/ 35 w 71"/>
                <a:gd name="T11" fmla="*/ 40 h 48"/>
                <a:gd name="T12" fmla="*/ 35 w 71"/>
                <a:gd name="T13" fmla="*/ 40 h 48"/>
                <a:gd name="T14" fmla="*/ 29 w 71"/>
                <a:gd name="T15" fmla="*/ 37 h 48"/>
                <a:gd name="T16" fmla="*/ 23 w 71"/>
                <a:gd name="T17" fmla="*/ 33 h 48"/>
                <a:gd name="T18" fmla="*/ 16 w 71"/>
                <a:gd name="T19" fmla="*/ 27 h 48"/>
                <a:gd name="T20" fmla="*/ 16 w 71"/>
                <a:gd name="T21" fmla="*/ 27 h 48"/>
                <a:gd name="T22" fmla="*/ 15 w 71"/>
                <a:gd name="T23" fmla="*/ 26 h 48"/>
                <a:gd name="T24" fmla="*/ 12 w 71"/>
                <a:gd name="T25" fmla="*/ 21 h 48"/>
                <a:gd name="T26" fmla="*/ 8 w 71"/>
                <a:gd name="T27" fmla="*/ 14 h 48"/>
                <a:gd name="T28" fmla="*/ 8 w 71"/>
                <a:gd name="T29" fmla="*/ 14 h 48"/>
                <a:gd name="T30" fmla="*/ 2 w 71"/>
                <a:gd name="T31" fmla="*/ 6 h 48"/>
                <a:gd name="T32" fmla="*/ 0 w 71"/>
                <a:gd name="T33" fmla="*/ 3 h 48"/>
                <a:gd name="T34" fmla="*/ 0 w 71"/>
                <a:gd name="T35" fmla="*/ 0 h 48"/>
                <a:gd name="T36" fmla="*/ 0 w 71"/>
                <a:gd name="T37" fmla="*/ 0 h 48"/>
                <a:gd name="T38" fmla="*/ 2 w 71"/>
                <a:gd name="T39" fmla="*/ 0 h 48"/>
                <a:gd name="T40" fmla="*/ 5 w 71"/>
                <a:gd name="T41" fmla="*/ 3 h 48"/>
                <a:gd name="T42" fmla="*/ 8 w 71"/>
                <a:gd name="T43" fmla="*/ 6 h 48"/>
                <a:gd name="T44" fmla="*/ 12 w 71"/>
                <a:gd name="T45" fmla="*/ 7 h 48"/>
                <a:gd name="T46" fmla="*/ 12 w 71"/>
                <a:gd name="T47" fmla="*/ 7 h 48"/>
                <a:gd name="T48" fmla="*/ 26 w 71"/>
                <a:gd name="T49" fmla="*/ 6 h 48"/>
                <a:gd name="T50" fmla="*/ 26 w 71"/>
                <a:gd name="T51" fmla="*/ 6 h 48"/>
                <a:gd name="T52" fmla="*/ 35 w 71"/>
                <a:gd name="T53" fmla="*/ 6 h 48"/>
                <a:gd name="T54" fmla="*/ 37 w 71"/>
                <a:gd name="T55" fmla="*/ 7 h 48"/>
                <a:gd name="T56" fmla="*/ 35 w 71"/>
                <a:gd name="T57" fmla="*/ 8 h 48"/>
                <a:gd name="T58" fmla="*/ 35 w 71"/>
                <a:gd name="T59" fmla="*/ 8 h 48"/>
                <a:gd name="T60" fmla="*/ 32 w 71"/>
                <a:gd name="T61" fmla="*/ 13 h 48"/>
                <a:gd name="T62" fmla="*/ 34 w 71"/>
                <a:gd name="T63" fmla="*/ 14 h 48"/>
                <a:gd name="T64" fmla="*/ 37 w 71"/>
                <a:gd name="T65" fmla="*/ 16 h 48"/>
                <a:gd name="T66" fmla="*/ 37 w 71"/>
                <a:gd name="T67" fmla="*/ 16 h 48"/>
                <a:gd name="T68" fmla="*/ 39 w 71"/>
                <a:gd name="T69" fmla="*/ 14 h 48"/>
                <a:gd name="T70" fmla="*/ 41 w 71"/>
                <a:gd name="T71" fmla="*/ 13 h 48"/>
                <a:gd name="T72" fmla="*/ 42 w 71"/>
                <a:gd name="T73" fmla="*/ 13 h 48"/>
                <a:gd name="T74" fmla="*/ 47 w 71"/>
                <a:gd name="T75" fmla="*/ 14 h 48"/>
                <a:gd name="T76" fmla="*/ 47 w 71"/>
                <a:gd name="T77" fmla="*/ 14 h 48"/>
                <a:gd name="T78" fmla="*/ 58 w 71"/>
                <a:gd name="T79" fmla="*/ 20 h 48"/>
                <a:gd name="T80" fmla="*/ 63 w 71"/>
                <a:gd name="T81" fmla="*/ 23 h 48"/>
                <a:gd name="T82" fmla="*/ 65 w 71"/>
                <a:gd name="T83" fmla="*/ 23 h 48"/>
                <a:gd name="T84" fmla="*/ 65 w 71"/>
                <a:gd name="T85" fmla="*/ 23 h 48"/>
                <a:gd name="T86" fmla="*/ 68 w 71"/>
                <a:gd name="T87" fmla="*/ 24 h 48"/>
                <a:gd name="T88" fmla="*/ 70 w 71"/>
                <a:gd name="T89" fmla="*/ 26 h 48"/>
                <a:gd name="T90" fmla="*/ 71 w 71"/>
                <a:gd name="T91" fmla="*/ 27 h 48"/>
                <a:gd name="T92" fmla="*/ 70 w 71"/>
                <a:gd name="T93" fmla="*/ 30 h 48"/>
                <a:gd name="T94" fmla="*/ 70 w 71"/>
                <a:gd name="T95" fmla="*/ 30 h 48"/>
                <a:gd name="T96" fmla="*/ 64 w 71"/>
                <a:gd name="T97" fmla="*/ 39 h 48"/>
                <a:gd name="T98" fmla="*/ 61 w 71"/>
                <a:gd name="T99" fmla="*/ 43 h 48"/>
                <a:gd name="T100" fmla="*/ 57 w 71"/>
                <a:gd name="T101" fmla="*/ 45 h 48"/>
                <a:gd name="T102" fmla="*/ 57 w 71"/>
                <a:gd name="T103" fmla="*/ 45 h 48"/>
                <a:gd name="T104" fmla="*/ 54 w 71"/>
                <a:gd name="T105" fmla="*/ 45 h 48"/>
                <a:gd name="T106" fmla="*/ 51 w 71"/>
                <a:gd name="T107" fmla="*/ 43 h 48"/>
                <a:gd name="T108" fmla="*/ 48 w 71"/>
                <a:gd name="T109" fmla="*/ 42 h 48"/>
                <a:gd name="T110" fmla="*/ 48 w 71"/>
                <a:gd name="T111" fmla="*/ 42 h 48"/>
                <a:gd name="T112" fmla="*/ 47 w 71"/>
                <a:gd name="T113" fmla="*/ 43 h 48"/>
                <a:gd name="T114" fmla="*/ 47 w 71"/>
                <a:gd name="T115" fmla="*/ 45 h 48"/>
                <a:gd name="T116" fmla="*/ 47 w 71"/>
                <a:gd name="T117" fmla="*/ 46 h 48"/>
                <a:gd name="T118" fmla="*/ 44 w 71"/>
                <a:gd name="T1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1" h="48">
                  <a:moveTo>
                    <a:pt x="44" y="48"/>
                  </a:moveTo>
                  <a:lnTo>
                    <a:pt x="44" y="48"/>
                  </a:lnTo>
                  <a:lnTo>
                    <a:pt x="42" y="46"/>
                  </a:lnTo>
                  <a:lnTo>
                    <a:pt x="39" y="43"/>
                  </a:lnTo>
                  <a:lnTo>
                    <a:pt x="38" y="42"/>
                  </a:lnTo>
                  <a:lnTo>
                    <a:pt x="35" y="40"/>
                  </a:lnTo>
                  <a:lnTo>
                    <a:pt x="35" y="40"/>
                  </a:lnTo>
                  <a:lnTo>
                    <a:pt x="29" y="37"/>
                  </a:lnTo>
                  <a:lnTo>
                    <a:pt x="23" y="33"/>
                  </a:lnTo>
                  <a:lnTo>
                    <a:pt x="16" y="27"/>
                  </a:lnTo>
                  <a:lnTo>
                    <a:pt x="16" y="27"/>
                  </a:lnTo>
                  <a:lnTo>
                    <a:pt x="15" y="26"/>
                  </a:lnTo>
                  <a:lnTo>
                    <a:pt x="12" y="21"/>
                  </a:lnTo>
                  <a:lnTo>
                    <a:pt x="8" y="14"/>
                  </a:lnTo>
                  <a:lnTo>
                    <a:pt x="8" y="14"/>
                  </a:lnTo>
                  <a:lnTo>
                    <a:pt x="2" y="6"/>
                  </a:lnTo>
                  <a:lnTo>
                    <a:pt x="0" y="3"/>
                  </a:lnTo>
                  <a:lnTo>
                    <a:pt x="0" y="0"/>
                  </a:lnTo>
                  <a:lnTo>
                    <a:pt x="0" y="0"/>
                  </a:lnTo>
                  <a:lnTo>
                    <a:pt x="2" y="0"/>
                  </a:lnTo>
                  <a:lnTo>
                    <a:pt x="5" y="3"/>
                  </a:lnTo>
                  <a:lnTo>
                    <a:pt x="8" y="6"/>
                  </a:lnTo>
                  <a:lnTo>
                    <a:pt x="12" y="7"/>
                  </a:lnTo>
                  <a:lnTo>
                    <a:pt x="12" y="7"/>
                  </a:lnTo>
                  <a:lnTo>
                    <a:pt x="26" y="6"/>
                  </a:lnTo>
                  <a:lnTo>
                    <a:pt x="26" y="6"/>
                  </a:lnTo>
                  <a:lnTo>
                    <a:pt x="35" y="6"/>
                  </a:lnTo>
                  <a:lnTo>
                    <a:pt x="37" y="7"/>
                  </a:lnTo>
                  <a:lnTo>
                    <a:pt x="35" y="8"/>
                  </a:lnTo>
                  <a:lnTo>
                    <a:pt x="35" y="8"/>
                  </a:lnTo>
                  <a:lnTo>
                    <a:pt x="32" y="13"/>
                  </a:lnTo>
                  <a:lnTo>
                    <a:pt x="34" y="14"/>
                  </a:lnTo>
                  <a:lnTo>
                    <a:pt x="37" y="16"/>
                  </a:lnTo>
                  <a:lnTo>
                    <a:pt x="37" y="16"/>
                  </a:lnTo>
                  <a:lnTo>
                    <a:pt x="39" y="14"/>
                  </a:lnTo>
                  <a:lnTo>
                    <a:pt x="41" y="13"/>
                  </a:lnTo>
                  <a:lnTo>
                    <a:pt x="42" y="13"/>
                  </a:lnTo>
                  <a:lnTo>
                    <a:pt x="47" y="14"/>
                  </a:lnTo>
                  <a:lnTo>
                    <a:pt x="47" y="14"/>
                  </a:lnTo>
                  <a:lnTo>
                    <a:pt x="58" y="20"/>
                  </a:lnTo>
                  <a:lnTo>
                    <a:pt x="63" y="23"/>
                  </a:lnTo>
                  <a:lnTo>
                    <a:pt x="65" y="23"/>
                  </a:lnTo>
                  <a:lnTo>
                    <a:pt x="65" y="23"/>
                  </a:lnTo>
                  <a:lnTo>
                    <a:pt x="68" y="24"/>
                  </a:lnTo>
                  <a:lnTo>
                    <a:pt x="70" y="26"/>
                  </a:lnTo>
                  <a:lnTo>
                    <a:pt x="71" y="27"/>
                  </a:lnTo>
                  <a:lnTo>
                    <a:pt x="70" y="30"/>
                  </a:lnTo>
                  <a:lnTo>
                    <a:pt x="70" y="30"/>
                  </a:lnTo>
                  <a:lnTo>
                    <a:pt x="64" y="39"/>
                  </a:lnTo>
                  <a:lnTo>
                    <a:pt x="61" y="43"/>
                  </a:lnTo>
                  <a:lnTo>
                    <a:pt x="57" y="45"/>
                  </a:lnTo>
                  <a:lnTo>
                    <a:pt x="57" y="45"/>
                  </a:lnTo>
                  <a:lnTo>
                    <a:pt x="54" y="45"/>
                  </a:lnTo>
                  <a:lnTo>
                    <a:pt x="51" y="43"/>
                  </a:lnTo>
                  <a:lnTo>
                    <a:pt x="48" y="42"/>
                  </a:lnTo>
                  <a:lnTo>
                    <a:pt x="48" y="42"/>
                  </a:lnTo>
                  <a:lnTo>
                    <a:pt x="47" y="43"/>
                  </a:lnTo>
                  <a:lnTo>
                    <a:pt x="47" y="45"/>
                  </a:lnTo>
                  <a:lnTo>
                    <a:pt x="47" y="46"/>
                  </a:lnTo>
                  <a:lnTo>
                    <a:pt x="44" y="4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05" name="Freeform 1477"/>
            <p:cNvSpPr>
              <a:spLocks/>
            </p:cNvSpPr>
            <p:nvPr/>
          </p:nvSpPr>
          <p:spPr bwMode="auto">
            <a:xfrm>
              <a:off x="7742238" y="1897492"/>
              <a:ext cx="17463" cy="34925"/>
            </a:xfrm>
            <a:custGeom>
              <a:avLst/>
              <a:gdLst>
                <a:gd name="T0" fmla="*/ 11 w 11"/>
                <a:gd name="T1" fmla="*/ 22 h 22"/>
                <a:gd name="T2" fmla="*/ 11 w 11"/>
                <a:gd name="T3" fmla="*/ 22 h 22"/>
                <a:gd name="T4" fmla="*/ 8 w 11"/>
                <a:gd name="T5" fmla="*/ 20 h 22"/>
                <a:gd name="T6" fmla="*/ 5 w 11"/>
                <a:gd name="T7" fmla="*/ 19 h 22"/>
                <a:gd name="T8" fmla="*/ 1 w 11"/>
                <a:gd name="T9" fmla="*/ 12 h 22"/>
                <a:gd name="T10" fmla="*/ 0 w 11"/>
                <a:gd name="T11" fmla="*/ 3 h 22"/>
                <a:gd name="T12" fmla="*/ 0 w 11"/>
                <a:gd name="T13" fmla="*/ 0 h 22"/>
                <a:gd name="T14" fmla="*/ 1 w 11"/>
                <a:gd name="T15" fmla="*/ 0 h 22"/>
                <a:gd name="T16" fmla="*/ 1 w 11"/>
                <a:gd name="T17" fmla="*/ 0 h 22"/>
                <a:gd name="T18" fmla="*/ 2 w 11"/>
                <a:gd name="T19" fmla="*/ 0 h 22"/>
                <a:gd name="T20" fmla="*/ 5 w 11"/>
                <a:gd name="T21" fmla="*/ 3 h 22"/>
                <a:gd name="T22" fmla="*/ 10 w 11"/>
                <a:gd name="T23" fmla="*/ 10 h 22"/>
                <a:gd name="T24" fmla="*/ 11 w 11"/>
                <a:gd name="T25" fmla="*/ 17 h 22"/>
                <a:gd name="T26" fmla="*/ 11 w 11"/>
                <a:gd name="T27" fmla="*/ 20 h 22"/>
                <a:gd name="T28" fmla="*/ 11 w 11"/>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22">
                  <a:moveTo>
                    <a:pt x="11" y="22"/>
                  </a:moveTo>
                  <a:lnTo>
                    <a:pt x="11" y="22"/>
                  </a:lnTo>
                  <a:lnTo>
                    <a:pt x="8" y="20"/>
                  </a:lnTo>
                  <a:lnTo>
                    <a:pt x="5" y="19"/>
                  </a:lnTo>
                  <a:lnTo>
                    <a:pt x="1" y="12"/>
                  </a:lnTo>
                  <a:lnTo>
                    <a:pt x="0" y="3"/>
                  </a:lnTo>
                  <a:lnTo>
                    <a:pt x="0" y="0"/>
                  </a:lnTo>
                  <a:lnTo>
                    <a:pt x="1" y="0"/>
                  </a:lnTo>
                  <a:lnTo>
                    <a:pt x="1" y="0"/>
                  </a:lnTo>
                  <a:lnTo>
                    <a:pt x="2" y="0"/>
                  </a:lnTo>
                  <a:lnTo>
                    <a:pt x="5" y="3"/>
                  </a:lnTo>
                  <a:lnTo>
                    <a:pt x="10" y="10"/>
                  </a:lnTo>
                  <a:lnTo>
                    <a:pt x="11" y="17"/>
                  </a:lnTo>
                  <a:lnTo>
                    <a:pt x="11" y="20"/>
                  </a:lnTo>
                  <a:lnTo>
                    <a:pt x="11" y="22"/>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06" name="Freeform 1478"/>
            <p:cNvSpPr>
              <a:spLocks/>
            </p:cNvSpPr>
            <p:nvPr/>
          </p:nvSpPr>
          <p:spPr bwMode="auto">
            <a:xfrm>
              <a:off x="7742238" y="1897492"/>
              <a:ext cx="17463" cy="34925"/>
            </a:xfrm>
            <a:custGeom>
              <a:avLst/>
              <a:gdLst>
                <a:gd name="T0" fmla="*/ 11 w 11"/>
                <a:gd name="T1" fmla="*/ 22 h 22"/>
                <a:gd name="T2" fmla="*/ 11 w 11"/>
                <a:gd name="T3" fmla="*/ 22 h 22"/>
                <a:gd name="T4" fmla="*/ 8 w 11"/>
                <a:gd name="T5" fmla="*/ 20 h 22"/>
                <a:gd name="T6" fmla="*/ 5 w 11"/>
                <a:gd name="T7" fmla="*/ 19 h 22"/>
                <a:gd name="T8" fmla="*/ 1 w 11"/>
                <a:gd name="T9" fmla="*/ 12 h 22"/>
                <a:gd name="T10" fmla="*/ 0 w 11"/>
                <a:gd name="T11" fmla="*/ 3 h 22"/>
                <a:gd name="T12" fmla="*/ 0 w 11"/>
                <a:gd name="T13" fmla="*/ 0 h 22"/>
                <a:gd name="T14" fmla="*/ 1 w 11"/>
                <a:gd name="T15" fmla="*/ 0 h 22"/>
                <a:gd name="T16" fmla="*/ 1 w 11"/>
                <a:gd name="T17" fmla="*/ 0 h 22"/>
                <a:gd name="T18" fmla="*/ 2 w 11"/>
                <a:gd name="T19" fmla="*/ 0 h 22"/>
                <a:gd name="T20" fmla="*/ 5 w 11"/>
                <a:gd name="T21" fmla="*/ 3 h 22"/>
                <a:gd name="T22" fmla="*/ 10 w 11"/>
                <a:gd name="T23" fmla="*/ 10 h 22"/>
                <a:gd name="T24" fmla="*/ 11 w 11"/>
                <a:gd name="T25" fmla="*/ 17 h 22"/>
                <a:gd name="T26" fmla="*/ 11 w 11"/>
                <a:gd name="T27" fmla="*/ 20 h 22"/>
                <a:gd name="T28" fmla="*/ 11 w 11"/>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22">
                  <a:moveTo>
                    <a:pt x="11" y="22"/>
                  </a:moveTo>
                  <a:lnTo>
                    <a:pt x="11" y="22"/>
                  </a:lnTo>
                  <a:lnTo>
                    <a:pt x="8" y="20"/>
                  </a:lnTo>
                  <a:lnTo>
                    <a:pt x="5" y="19"/>
                  </a:lnTo>
                  <a:lnTo>
                    <a:pt x="1" y="12"/>
                  </a:lnTo>
                  <a:lnTo>
                    <a:pt x="0" y="3"/>
                  </a:lnTo>
                  <a:lnTo>
                    <a:pt x="0" y="0"/>
                  </a:lnTo>
                  <a:lnTo>
                    <a:pt x="1" y="0"/>
                  </a:lnTo>
                  <a:lnTo>
                    <a:pt x="1" y="0"/>
                  </a:lnTo>
                  <a:lnTo>
                    <a:pt x="2" y="0"/>
                  </a:lnTo>
                  <a:lnTo>
                    <a:pt x="5" y="3"/>
                  </a:lnTo>
                  <a:lnTo>
                    <a:pt x="10" y="10"/>
                  </a:lnTo>
                  <a:lnTo>
                    <a:pt x="11" y="17"/>
                  </a:lnTo>
                  <a:lnTo>
                    <a:pt x="11" y="20"/>
                  </a:lnTo>
                  <a:lnTo>
                    <a:pt x="11" y="22"/>
                  </a:lnTo>
                </a:path>
              </a:pathLst>
            </a:custGeom>
            <a:solidFill>
              <a:srgbClr val="92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07" name="Freeform 1479"/>
            <p:cNvSpPr>
              <a:spLocks/>
            </p:cNvSpPr>
            <p:nvPr/>
          </p:nvSpPr>
          <p:spPr bwMode="auto">
            <a:xfrm>
              <a:off x="8574088" y="2237217"/>
              <a:ext cx="30163" cy="33338"/>
            </a:xfrm>
            <a:custGeom>
              <a:avLst/>
              <a:gdLst>
                <a:gd name="T0" fmla="*/ 9 w 19"/>
                <a:gd name="T1" fmla="*/ 21 h 21"/>
                <a:gd name="T2" fmla="*/ 9 w 19"/>
                <a:gd name="T3" fmla="*/ 21 h 21"/>
                <a:gd name="T4" fmla="*/ 6 w 19"/>
                <a:gd name="T5" fmla="*/ 18 h 21"/>
                <a:gd name="T6" fmla="*/ 4 w 19"/>
                <a:gd name="T7" fmla="*/ 13 h 21"/>
                <a:gd name="T8" fmla="*/ 3 w 19"/>
                <a:gd name="T9" fmla="*/ 9 h 21"/>
                <a:gd name="T10" fmla="*/ 1 w 19"/>
                <a:gd name="T11" fmla="*/ 6 h 21"/>
                <a:gd name="T12" fmla="*/ 1 w 19"/>
                <a:gd name="T13" fmla="*/ 6 h 21"/>
                <a:gd name="T14" fmla="*/ 0 w 19"/>
                <a:gd name="T15" fmla="*/ 5 h 21"/>
                <a:gd name="T16" fmla="*/ 0 w 19"/>
                <a:gd name="T17" fmla="*/ 3 h 21"/>
                <a:gd name="T18" fmla="*/ 1 w 19"/>
                <a:gd name="T19" fmla="*/ 2 h 21"/>
                <a:gd name="T20" fmla="*/ 6 w 19"/>
                <a:gd name="T21" fmla="*/ 2 h 21"/>
                <a:gd name="T22" fmla="*/ 6 w 19"/>
                <a:gd name="T23" fmla="*/ 2 h 21"/>
                <a:gd name="T24" fmla="*/ 14 w 19"/>
                <a:gd name="T25" fmla="*/ 0 h 21"/>
                <a:gd name="T26" fmla="*/ 17 w 19"/>
                <a:gd name="T27" fmla="*/ 0 h 21"/>
                <a:gd name="T28" fmla="*/ 19 w 19"/>
                <a:gd name="T29" fmla="*/ 2 h 21"/>
                <a:gd name="T30" fmla="*/ 17 w 19"/>
                <a:gd name="T31" fmla="*/ 2 h 21"/>
                <a:gd name="T32" fmla="*/ 17 w 19"/>
                <a:gd name="T33" fmla="*/ 2 h 21"/>
                <a:gd name="T34" fmla="*/ 14 w 19"/>
                <a:gd name="T35" fmla="*/ 13 h 21"/>
                <a:gd name="T36" fmla="*/ 13 w 19"/>
                <a:gd name="T37" fmla="*/ 19 h 21"/>
                <a:gd name="T38" fmla="*/ 11 w 19"/>
                <a:gd name="T39" fmla="*/ 21 h 21"/>
                <a:gd name="T40" fmla="*/ 9 w 19"/>
                <a:gd name="T41"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21">
                  <a:moveTo>
                    <a:pt x="9" y="21"/>
                  </a:moveTo>
                  <a:lnTo>
                    <a:pt x="9" y="21"/>
                  </a:lnTo>
                  <a:lnTo>
                    <a:pt x="6" y="18"/>
                  </a:lnTo>
                  <a:lnTo>
                    <a:pt x="4" y="13"/>
                  </a:lnTo>
                  <a:lnTo>
                    <a:pt x="3" y="9"/>
                  </a:lnTo>
                  <a:lnTo>
                    <a:pt x="1" y="6"/>
                  </a:lnTo>
                  <a:lnTo>
                    <a:pt x="1" y="6"/>
                  </a:lnTo>
                  <a:lnTo>
                    <a:pt x="0" y="5"/>
                  </a:lnTo>
                  <a:lnTo>
                    <a:pt x="0" y="3"/>
                  </a:lnTo>
                  <a:lnTo>
                    <a:pt x="1" y="2"/>
                  </a:lnTo>
                  <a:lnTo>
                    <a:pt x="6" y="2"/>
                  </a:lnTo>
                  <a:lnTo>
                    <a:pt x="6" y="2"/>
                  </a:lnTo>
                  <a:lnTo>
                    <a:pt x="14" y="0"/>
                  </a:lnTo>
                  <a:lnTo>
                    <a:pt x="17" y="0"/>
                  </a:lnTo>
                  <a:lnTo>
                    <a:pt x="19" y="2"/>
                  </a:lnTo>
                  <a:lnTo>
                    <a:pt x="17" y="2"/>
                  </a:lnTo>
                  <a:lnTo>
                    <a:pt x="17" y="2"/>
                  </a:lnTo>
                  <a:lnTo>
                    <a:pt x="14" y="13"/>
                  </a:lnTo>
                  <a:lnTo>
                    <a:pt x="13" y="19"/>
                  </a:lnTo>
                  <a:lnTo>
                    <a:pt x="11" y="21"/>
                  </a:lnTo>
                  <a:lnTo>
                    <a:pt x="9" y="21"/>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08" name="Freeform 1480"/>
            <p:cNvSpPr>
              <a:spLocks/>
            </p:cNvSpPr>
            <p:nvPr/>
          </p:nvSpPr>
          <p:spPr bwMode="auto">
            <a:xfrm>
              <a:off x="8574088" y="2237217"/>
              <a:ext cx="30163" cy="33338"/>
            </a:xfrm>
            <a:custGeom>
              <a:avLst/>
              <a:gdLst>
                <a:gd name="T0" fmla="*/ 9 w 19"/>
                <a:gd name="T1" fmla="*/ 21 h 21"/>
                <a:gd name="T2" fmla="*/ 9 w 19"/>
                <a:gd name="T3" fmla="*/ 21 h 21"/>
                <a:gd name="T4" fmla="*/ 6 w 19"/>
                <a:gd name="T5" fmla="*/ 18 h 21"/>
                <a:gd name="T6" fmla="*/ 4 w 19"/>
                <a:gd name="T7" fmla="*/ 13 h 21"/>
                <a:gd name="T8" fmla="*/ 3 w 19"/>
                <a:gd name="T9" fmla="*/ 9 h 21"/>
                <a:gd name="T10" fmla="*/ 1 w 19"/>
                <a:gd name="T11" fmla="*/ 6 h 21"/>
                <a:gd name="T12" fmla="*/ 1 w 19"/>
                <a:gd name="T13" fmla="*/ 6 h 21"/>
                <a:gd name="T14" fmla="*/ 0 w 19"/>
                <a:gd name="T15" fmla="*/ 5 h 21"/>
                <a:gd name="T16" fmla="*/ 0 w 19"/>
                <a:gd name="T17" fmla="*/ 3 h 21"/>
                <a:gd name="T18" fmla="*/ 1 w 19"/>
                <a:gd name="T19" fmla="*/ 2 h 21"/>
                <a:gd name="T20" fmla="*/ 6 w 19"/>
                <a:gd name="T21" fmla="*/ 2 h 21"/>
                <a:gd name="T22" fmla="*/ 6 w 19"/>
                <a:gd name="T23" fmla="*/ 2 h 21"/>
                <a:gd name="T24" fmla="*/ 14 w 19"/>
                <a:gd name="T25" fmla="*/ 0 h 21"/>
                <a:gd name="T26" fmla="*/ 17 w 19"/>
                <a:gd name="T27" fmla="*/ 0 h 21"/>
                <a:gd name="T28" fmla="*/ 19 w 19"/>
                <a:gd name="T29" fmla="*/ 2 h 21"/>
                <a:gd name="T30" fmla="*/ 17 w 19"/>
                <a:gd name="T31" fmla="*/ 2 h 21"/>
                <a:gd name="T32" fmla="*/ 17 w 19"/>
                <a:gd name="T33" fmla="*/ 2 h 21"/>
                <a:gd name="T34" fmla="*/ 14 w 19"/>
                <a:gd name="T35" fmla="*/ 13 h 21"/>
                <a:gd name="T36" fmla="*/ 13 w 19"/>
                <a:gd name="T37" fmla="*/ 19 h 21"/>
                <a:gd name="T38" fmla="*/ 11 w 19"/>
                <a:gd name="T39" fmla="*/ 21 h 21"/>
                <a:gd name="T40" fmla="*/ 9 w 19"/>
                <a:gd name="T41"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21">
                  <a:moveTo>
                    <a:pt x="9" y="21"/>
                  </a:moveTo>
                  <a:lnTo>
                    <a:pt x="9" y="21"/>
                  </a:lnTo>
                  <a:lnTo>
                    <a:pt x="6" y="18"/>
                  </a:lnTo>
                  <a:lnTo>
                    <a:pt x="4" y="13"/>
                  </a:lnTo>
                  <a:lnTo>
                    <a:pt x="3" y="9"/>
                  </a:lnTo>
                  <a:lnTo>
                    <a:pt x="1" y="6"/>
                  </a:lnTo>
                  <a:lnTo>
                    <a:pt x="1" y="6"/>
                  </a:lnTo>
                  <a:lnTo>
                    <a:pt x="0" y="5"/>
                  </a:lnTo>
                  <a:lnTo>
                    <a:pt x="0" y="3"/>
                  </a:lnTo>
                  <a:lnTo>
                    <a:pt x="1" y="2"/>
                  </a:lnTo>
                  <a:lnTo>
                    <a:pt x="6" y="2"/>
                  </a:lnTo>
                  <a:lnTo>
                    <a:pt x="6" y="2"/>
                  </a:lnTo>
                  <a:lnTo>
                    <a:pt x="14" y="0"/>
                  </a:lnTo>
                  <a:lnTo>
                    <a:pt x="17" y="0"/>
                  </a:lnTo>
                  <a:lnTo>
                    <a:pt x="19" y="2"/>
                  </a:lnTo>
                  <a:lnTo>
                    <a:pt x="17" y="2"/>
                  </a:lnTo>
                  <a:lnTo>
                    <a:pt x="17" y="2"/>
                  </a:lnTo>
                  <a:lnTo>
                    <a:pt x="14" y="13"/>
                  </a:lnTo>
                  <a:lnTo>
                    <a:pt x="13" y="19"/>
                  </a:lnTo>
                  <a:lnTo>
                    <a:pt x="11" y="21"/>
                  </a:lnTo>
                  <a:lnTo>
                    <a:pt x="9" y="21"/>
                  </a:lnTo>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09" name="Freeform 1481"/>
            <p:cNvSpPr>
              <a:spLocks/>
            </p:cNvSpPr>
            <p:nvPr/>
          </p:nvSpPr>
          <p:spPr bwMode="auto">
            <a:xfrm>
              <a:off x="8856663" y="2137204"/>
              <a:ext cx="77788" cy="26988"/>
            </a:xfrm>
            <a:custGeom>
              <a:avLst/>
              <a:gdLst>
                <a:gd name="T0" fmla="*/ 39 w 49"/>
                <a:gd name="T1" fmla="*/ 16 h 17"/>
                <a:gd name="T2" fmla="*/ 39 w 49"/>
                <a:gd name="T3" fmla="*/ 16 h 17"/>
                <a:gd name="T4" fmla="*/ 25 w 49"/>
                <a:gd name="T5" fmla="*/ 17 h 17"/>
                <a:gd name="T6" fmla="*/ 16 w 49"/>
                <a:gd name="T7" fmla="*/ 16 h 17"/>
                <a:gd name="T8" fmla="*/ 7 w 49"/>
                <a:gd name="T9" fmla="*/ 14 h 17"/>
                <a:gd name="T10" fmla="*/ 7 w 49"/>
                <a:gd name="T11" fmla="*/ 14 h 17"/>
                <a:gd name="T12" fmla="*/ 3 w 49"/>
                <a:gd name="T13" fmla="*/ 11 h 17"/>
                <a:gd name="T14" fmla="*/ 0 w 49"/>
                <a:gd name="T15" fmla="*/ 8 h 17"/>
                <a:gd name="T16" fmla="*/ 0 w 49"/>
                <a:gd name="T17" fmla="*/ 7 h 17"/>
                <a:gd name="T18" fmla="*/ 0 w 49"/>
                <a:gd name="T19" fmla="*/ 5 h 17"/>
                <a:gd name="T20" fmla="*/ 4 w 49"/>
                <a:gd name="T21" fmla="*/ 3 h 17"/>
                <a:gd name="T22" fmla="*/ 4 w 49"/>
                <a:gd name="T23" fmla="*/ 3 h 17"/>
                <a:gd name="T24" fmla="*/ 10 w 49"/>
                <a:gd name="T25" fmla="*/ 1 h 17"/>
                <a:gd name="T26" fmla="*/ 16 w 49"/>
                <a:gd name="T27" fmla="*/ 0 h 17"/>
                <a:gd name="T28" fmla="*/ 22 w 49"/>
                <a:gd name="T29" fmla="*/ 0 h 17"/>
                <a:gd name="T30" fmla="*/ 29 w 49"/>
                <a:gd name="T31" fmla="*/ 3 h 17"/>
                <a:gd name="T32" fmla="*/ 29 w 49"/>
                <a:gd name="T33" fmla="*/ 3 h 17"/>
                <a:gd name="T34" fmla="*/ 36 w 49"/>
                <a:gd name="T35" fmla="*/ 4 h 17"/>
                <a:gd name="T36" fmla="*/ 43 w 49"/>
                <a:gd name="T37" fmla="*/ 4 h 17"/>
                <a:gd name="T38" fmla="*/ 48 w 49"/>
                <a:gd name="T39" fmla="*/ 4 h 17"/>
                <a:gd name="T40" fmla="*/ 48 w 49"/>
                <a:gd name="T41" fmla="*/ 5 h 17"/>
                <a:gd name="T42" fmla="*/ 49 w 49"/>
                <a:gd name="T43" fmla="*/ 5 h 17"/>
                <a:gd name="T44" fmla="*/ 49 w 49"/>
                <a:gd name="T45" fmla="*/ 5 h 17"/>
                <a:gd name="T46" fmla="*/ 48 w 49"/>
                <a:gd name="T47" fmla="*/ 8 h 17"/>
                <a:gd name="T48" fmla="*/ 46 w 49"/>
                <a:gd name="T49" fmla="*/ 11 h 17"/>
                <a:gd name="T50" fmla="*/ 45 w 49"/>
                <a:gd name="T51" fmla="*/ 14 h 17"/>
                <a:gd name="T52" fmla="*/ 39 w 49"/>
                <a:gd name="T53"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17">
                  <a:moveTo>
                    <a:pt x="39" y="16"/>
                  </a:moveTo>
                  <a:lnTo>
                    <a:pt x="39" y="16"/>
                  </a:lnTo>
                  <a:lnTo>
                    <a:pt x="25" y="17"/>
                  </a:lnTo>
                  <a:lnTo>
                    <a:pt x="16" y="16"/>
                  </a:lnTo>
                  <a:lnTo>
                    <a:pt x="7" y="14"/>
                  </a:lnTo>
                  <a:lnTo>
                    <a:pt x="7" y="14"/>
                  </a:lnTo>
                  <a:lnTo>
                    <a:pt x="3" y="11"/>
                  </a:lnTo>
                  <a:lnTo>
                    <a:pt x="0" y="8"/>
                  </a:lnTo>
                  <a:lnTo>
                    <a:pt x="0" y="7"/>
                  </a:lnTo>
                  <a:lnTo>
                    <a:pt x="0" y="5"/>
                  </a:lnTo>
                  <a:lnTo>
                    <a:pt x="4" y="3"/>
                  </a:lnTo>
                  <a:lnTo>
                    <a:pt x="4" y="3"/>
                  </a:lnTo>
                  <a:lnTo>
                    <a:pt x="10" y="1"/>
                  </a:lnTo>
                  <a:lnTo>
                    <a:pt x="16" y="0"/>
                  </a:lnTo>
                  <a:lnTo>
                    <a:pt x="22" y="0"/>
                  </a:lnTo>
                  <a:lnTo>
                    <a:pt x="29" y="3"/>
                  </a:lnTo>
                  <a:lnTo>
                    <a:pt x="29" y="3"/>
                  </a:lnTo>
                  <a:lnTo>
                    <a:pt x="36" y="4"/>
                  </a:lnTo>
                  <a:lnTo>
                    <a:pt x="43" y="4"/>
                  </a:lnTo>
                  <a:lnTo>
                    <a:pt x="48" y="4"/>
                  </a:lnTo>
                  <a:lnTo>
                    <a:pt x="48" y="5"/>
                  </a:lnTo>
                  <a:lnTo>
                    <a:pt x="49" y="5"/>
                  </a:lnTo>
                  <a:lnTo>
                    <a:pt x="49" y="5"/>
                  </a:lnTo>
                  <a:lnTo>
                    <a:pt x="48" y="8"/>
                  </a:lnTo>
                  <a:lnTo>
                    <a:pt x="46" y="11"/>
                  </a:lnTo>
                  <a:lnTo>
                    <a:pt x="45" y="14"/>
                  </a:lnTo>
                  <a:lnTo>
                    <a:pt x="39" y="16"/>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10" name="Freeform 1482"/>
            <p:cNvSpPr>
              <a:spLocks/>
            </p:cNvSpPr>
            <p:nvPr/>
          </p:nvSpPr>
          <p:spPr bwMode="auto">
            <a:xfrm>
              <a:off x="8856663" y="2137204"/>
              <a:ext cx="77788" cy="26988"/>
            </a:xfrm>
            <a:custGeom>
              <a:avLst/>
              <a:gdLst>
                <a:gd name="T0" fmla="*/ 39 w 49"/>
                <a:gd name="T1" fmla="*/ 16 h 17"/>
                <a:gd name="T2" fmla="*/ 39 w 49"/>
                <a:gd name="T3" fmla="*/ 16 h 17"/>
                <a:gd name="T4" fmla="*/ 25 w 49"/>
                <a:gd name="T5" fmla="*/ 17 h 17"/>
                <a:gd name="T6" fmla="*/ 16 w 49"/>
                <a:gd name="T7" fmla="*/ 16 h 17"/>
                <a:gd name="T8" fmla="*/ 7 w 49"/>
                <a:gd name="T9" fmla="*/ 14 h 17"/>
                <a:gd name="T10" fmla="*/ 7 w 49"/>
                <a:gd name="T11" fmla="*/ 14 h 17"/>
                <a:gd name="T12" fmla="*/ 3 w 49"/>
                <a:gd name="T13" fmla="*/ 11 h 17"/>
                <a:gd name="T14" fmla="*/ 0 w 49"/>
                <a:gd name="T15" fmla="*/ 8 h 17"/>
                <a:gd name="T16" fmla="*/ 0 w 49"/>
                <a:gd name="T17" fmla="*/ 7 h 17"/>
                <a:gd name="T18" fmla="*/ 0 w 49"/>
                <a:gd name="T19" fmla="*/ 5 h 17"/>
                <a:gd name="T20" fmla="*/ 4 w 49"/>
                <a:gd name="T21" fmla="*/ 3 h 17"/>
                <a:gd name="T22" fmla="*/ 4 w 49"/>
                <a:gd name="T23" fmla="*/ 3 h 17"/>
                <a:gd name="T24" fmla="*/ 10 w 49"/>
                <a:gd name="T25" fmla="*/ 1 h 17"/>
                <a:gd name="T26" fmla="*/ 16 w 49"/>
                <a:gd name="T27" fmla="*/ 0 h 17"/>
                <a:gd name="T28" fmla="*/ 22 w 49"/>
                <a:gd name="T29" fmla="*/ 0 h 17"/>
                <a:gd name="T30" fmla="*/ 29 w 49"/>
                <a:gd name="T31" fmla="*/ 3 h 17"/>
                <a:gd name="T32" fmla="*/ 29 w 49"/>
                <a:gd name="T33" fmla="*/ 3 h 17"/>
                <a:gd name="T34" fmla="*/ 36 w 49"/>
                <a:gd name="T35" fmla="*/ 4 h 17"/>
                <a:gd name="T36" fmla="*/ 43 w 49"/>
                <a:gd name="T37" fmla="*/ 4 h 17"/>
                <a:gd name="T38" fmla="*/ 48 w 49"/>
                <a:gd name="T39" fmla="*/ 4 h 17"/>
                <a:gd name="T40" fmla="*/ 48 w 49"/>
                <a:gd name="T41" fmla="*/ 5 h 17"/>
                <a:gd name="T42" fmla="*/ 49 w 49"/>
                <a:gd name="T43" fmla="*/ 5 h 17"/>
                <a:gd name="T44" fmla="*/ 49 w 49"/>
                <a:gd name="T45" fmla="*/ 5 h 17"/>
                <a:gd name="T46" fmla="*/ 48 w 49"/>
                <a:gd name="T47" fmla="*/ 8 h 17"/>
                <a:gd name="T48" fmla="*/ 46 w 49"/>
                <a:gd name="T49" fmla="*/ 11 h 17"/>
                <a:gd name="T50" fmla="*/ 45 w 49"/>
                <a:gd name="T51" fmla="*/ 14 h 17"/>
                <a:gd name="T52" fmla="*/ 39 w 49"/>
                <a:gd name="T53"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17">
                  <a:moveTo>
                    <a:pt x="39" y="16"/>
                  </a:moveTo>
                  <a:lnTo>
                    <a:pt x="39" y="16"/>
                  </a:lnTo>
                  <a:lnTo>
                    <a:pt x="25" y="17"/>
                  </a:lnTo>
                  <a:lnTo>
                    <a:pt x="16" y="16"/>
                  </a:lnTo>
                  <a:lnTo>
                    <a:pt x="7" y="14"/>
                  </a:lnTo>
                  <a:lnTo>
                    <a:pt x="7" y="14"/>
                  </a:lnTo>
                  <a:lnTo>
                    <a:pt x="3" y="11"/>
                  </a:lnTo>
                  <a:lnTo>
                    <a:pt x="0" y="8"/>
                  </a:lnTo>
                  <a:lnTo>
                    <a:pt x="0" y="7"/>
                  </a:lnTo>
                  <a:lnTo>
                    <a:pt x="0" y="5"/>
                  </a:lnTo>
                  <a:lnTo>
                    <a:pt x="4" y="3"/>
                  </a:lnTo>
                  <a:lnTo>
                    <a:pt x="4" y="3"/>
                  </a:lnTo>
                  <a:lnTo>
                    <a:pt x="10" y="1"/>
                  </a:lnTo>
                  <a:lnTo>
                    <a:pt x="16" y="0"/>
                  </a:lnTo>
                  <a:lnTo>
                    <a:pt x="22" y="0"/>
                  </a:lnTo>
                  <a:lnTo>
                    <a:pt x="29" y="3"/>
                  </a:lnTo>
                  <a:lnTo>
                    <a:pt x="29" y="3"/>
                  </a:lnTo>
                  <a:lnTo>
                    <a:pt x="36" y="4"/>
                  </a:lnTo>
                  <a:lnTo>
                    <a:pt x="43" y="4"/>
                  </a:lnTo>
                  <a:lnTo>
                    <a:pt x="48" y="4"/>
                  </a:lnTo>
                  <a:lnTo>
                    <a:pt x="48" y="5"/>
                  </a:lnTo>
                  <a:lnTo>
                    <a:pt x="49" y="5"/>
                  </a:lnTo>
                  <a:lnTo>
                    <a:pt x="49" y="5"/>
                  </a:lnTo>
                  <a:lnTo>
                    <a:pt x="48" y="8"/>
                  </a:lnTo>
                  <a:lnTo>
                    <a:pt x="46" y="11"/>
                  </a:lnTo>
                  <a:lnTo>
                    <a:pt x="45" y="14"/>
                  </a:lnTo>
                  <a:lnTo>
                    <a:pt x="39" y="16"/>
                  </a:lnTo>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11" name="Freeform 1483"/>
            <p:cNvSpPr>
              <a:spLocks/>
            </p:cNvSpPr>
            <p:nvPr/>
          </p:nvSpPr>
          <p:spPr bwMode="auto">
            <a:xfrm>
              <a:off x="5621338" y="1943529"/>
              <a:ext cx="149225" cy="241300"/>
            </a:xfrm>
            <a:custGeom>
              <a:avLst/>
              <a:gdLst>
                <a:gd name="T0" fmla="*/ 87 w 94"/>
                <a:gd name="T1" fmla="*/ 151 h 152"/>
                <a:gd name="T2" fmla="*/ 80 w 94"/>
                <a:gd name="T3" fmla="*/ 149 h 152"/>
                <a:gd name="T4" fmla="*/ 74 w 94"/>
                <a:gd name="T5" fmla="*/ 152 h 152"/>
                <a:gd name="T6" fmla="*/ 65 w 94"/>
                <a:gd name="T7" fmla="*/ 143 h 152"/>
                <a:gd name="T8" fmla="*/ 62 w 94"/>
                <a:gd name="T9" fmla="*/ 148 h 152"/>
                <a:gd name="T10" fmla="*/ 54 w 94"/>
                <a:gd name="T11" fmla="*/ 143 h 152"/>
                <a:gd name="T12" fmla="*/ 33 w 94"/>
                <a:gd name="T13" fmla="*/ 139 h 152"/>
                <a:gd name="T14" fmla="*/ 35 w 94"/>
                <a:gd name="T15" fmla="*/ 127 h 152"/>
                <a:gd name="T16" fmla="*/ 35 w 94"/>
                <a:gd name="T17" fmla="*/ 117 h 152"/>
                <a:gd name="T18" fmla="*/ 32 w 94"/>
                <a:gd name="T19" fmla="*/ 112 h 152"/>
                <a:gd name="T20" fmla="*/ 26 w 94"/>
                <a:gd name="T21" fmla="*/ 114 h 152"/>
                <a:gd name="T22" fmla="*/ 20 w 94"/>
                <a:gd name="T23" fmla="*/ 110 h 152"/>
                <a:gd name="T24" fmla="*/ 6 w 94"/>
                <a:gd name="T25" fmla="*/ 106 h 152"/>
                <a:gd name="T26" fmla="*/ 0 w 94"/>
                <a:gd name="T27" fmla="*/ 96 h 152"/>
                <a:gd name="T28" fmla="*/ 5 w 94"/>
                <a:gd name="T29" fmla="*/ 77 h 152"/>
                <a:gd name="T30" fmla="*/ 9 w 94"/>
                <a:gd name="T31" fmla="*/ 74 h 152"/>
                <a:gd name="T32" fmla="*/ 12 w 94"/>
                <a:gd name="T33" fmla="*/ 72 h 152"/>
                <a:gd name="T34" fmla="*/ 19 w 94"/>
                <a:gd name="T35" fmla="*/ 75 h 152"/>
                <a:gd name="T36" fmla="*/ 18 w 94"/>
                <a:gd name="T37" fmla="*/ 64 h 152"/>
                <a:gd name="T38" fmla="*/ 25 w 94"/>
                <a:gd name="T39" fmla="*/ 46 h 152"/>
                <a:gd name="T40" fmla="*/ 20 w 94"/>
                <a:gd name="T41" fmla="*/ 43 h 152"/>
                <a:gd name="T42" fmla="*/ 15 w 94"/>
                <a:gd name="T43" fmla="*/ 39 h 152"/>
                <a:gd name="T44" fmla="*/ 18 w 94"/>
                <a:gd name="T45" fmla="*/ 33 h 152"/>
                <a:gd name="T46" fmla="*/ 25 w 94"/>
                <a:gd name="T47" fmla="*/ 32 h 152"/>
                <a:gd name="T48" fmla="*/ 26 w 94"/>
                <a:gd name="T49" fmla="*/ 25 h 152"/>
                <a:gd name="T50" fmla="*/ 35 w 94"/>
                <a:gd name="T51" fmla="*/ 23 h 152"/>
                <a:gd name="T52" fmla="*/ 41 w 94"/>
                <a:gd name="T53" fmla="*/ 6 h 152"/>
                <a:gd name="T54" fmla="*/ 51 w 94"/>
                <a:gd name="T55" fmla="*/ 7 h 152"/>
                <a:gd name="T56" fmla="*/ 51 w 94"/>
                <a:gd name="T57" fmla="*/ 0 h 152"/>
                <a:gd name="T58" fmla="*/ 57 w 94"/>
                <a:gd name="T59" fmla="*/ 3 h 152"/>
                <a:gd name="T60" fmla="*/ 67 w 94"/>
                <a:gd name="T61" fmla="*/ 6 h 152"/>
                <a:gd name="T62" fmla="*/ 80 w 94"/>
                <a:gd name="T63" fmla="*/ 13 h 152"/>
                <a:gd name="T64" fmla="*/ 78 w 94"/>
                <a:gd name="T65" fmla="*/ 23 h 152"/>
                <a:gd name="T66" fmla="*/ 74 w 94"/>
                <a:gd name="T67" fmla="*/ 29 h 152"/>
                <a:gd name="T68" fmla="*/ 74 w 94"/>
                <a:gd name="T69" fmla="*/ 35 h 152"/>
                <a:gd name="T70" fmla="*/ 67 w 94"/>
                <a:gd name="T71" fmla="*/ 33 h 152"/>
                <a:gd name="T72" fmla="*/ 68 w 94"/>
                <a:gd name="T73" fmla="*/ 42 h 152"/>
                <a:gd name="T74" fmla="*/ 61 w 94"/>
                <a:gd name="T75" fmla="*/ 55 h 152"/>
                <a:gd name="T76" fmla="*/ 61 w 94"/>
                <a:gd name="T77" fmla="*/ 68 h 152"/>
                <a:gd name="T78" fmla="*/ 67 w 94"/>
                <a:gd name="T79" fmla="*/ 72 h 152"/>
                <a:gd name="T80" fmla="*/ 61 w 94"/>
                <a:gd name="T81" fmla="*/ 84 h 152"/>
                <a:gd name="T82" fmla="*/ 65 w 94"/>
                <a:gd name="T83" fmla="*/ 99 h 152"/>
                <a:gd name="T84" fmla="*/ 73 w 94"/>
                <a:gd name="T85" fmla="*/ 113 h 152"/>
                <a:gd name="T86" fmla="*/ 74 w 94"/>
                <a:gd name="T87" fmla="*/ 122 h 152"/>
                <a:gd name="T88" fmla="*/ 84 w 94"/>
                <a:gd name="T89" fmla="*/ 133 h 152"/>
                <a:gd name="T90" fmla="*/ 89 w 94"/>
                <a:gd name="T91" fmla="*/ 136 h 152"/>
                <a:gd name="T92" fmla="*/ 91 w 94"/>
                <a:gd name="T93" fmla="*/ 142 h 152"/>
                <a:gd name="T94" fmla="*/ 94 w 94"/>
                <a:gd name="T95" fmla="*/ 1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 h="152">
                  <a:moveTo>
                    <a:pt x="93" y="148"/>
                  </a:moveTo>
                  <a:lnTo>
                    <a:pt x="93" y="148"/>
                  </a:lnTo>
                  <a:lnTo>
                    <a:pt x="90" y="149"/>
                  </a:lnTo>
                  <a:lnTo>
                    <a:pt x="87" y="151"/>
                  </a:lnTo>
                  <a:lnTo>
                    <a:pt x="87" y="151"/>
                  </a:lnTo>
                  <a:lnTo>
                    <a:pt x="83" y="149"/>
                  </a:lnTo>
                  <a:lnTo>
                    <a:pt x="80" y="149"/>
                  </a:lnTo>
                  <a:lnTo>
                    <a:pt x="80" y="149"/>
                  </a:lnTo>
                  <a:lnTo>
                    <a:pt x="77" y="151"/>
                  </a:lnTo>
                  <a:lnTo>
                    <a:pt x="75" y="152"/>
                  </a:lnTo>
                  <a:lnTo>
                    <a:pt x="74" y="152"/>
                  </a:lnTo>
                  <a:lnTo>
                    <a:pt x="74" y="152"/>
                  </a:lnTo>
                  <a:lnTo>
                    <a:pt x="70" y="146"/>
                  </a:lnTo>
                  <a:lnTo>
                    <a:pt x="67" y="145"/>
                  </a:lnTo>
                  <a:lnTo>
                    <a:pt x="65" y="143"/>
                  </a:lnTo>
                  <a:lnTo>
                    <a:pt x="65" y="143"/>
                  </a:lnTo>
                  <a:lnTo>
                    <a:pt x="65" y="145"/>
                  </a:lnTo>
                  <a:lnTo>
                    <a:pt x="64" y="146"/>
                  </a:lnTo>
                  <a:lnTo>
                    <a:pt x="64" y="148"/>
                  </a:lnTo>
                  <a:lnTo>
                    <a:pt x="62" y="148"/>
                  </a:lnTo>
                  <a:lnTo>
                    <a:pt x="62" y="148"/>
                  </a:lnTo>
                  <a:lnTo>
                    <a:pt x="57" y="145"/>
                  </a:lnTo>
                  <a:lnTo>
                    <a:pt x="54" y="143"/>
                  </a:lnTo>
                  <a:lnTo>
                    <a:pt x="54" y="143"/>
                  </a:lnTo>
                  <a:lnTo>
                    <a:pt x="42" y="142"/>
                  </a:lnTo>
                  <a:lnTo>
                    <a:pt x="36" y="141"/>
                  </a:lnTo>
                  <a:lnTo>
                    <a:pt x="33" y="139"/>
                  </a:lnTo>
                  <a:lnTo>
                    <a:pt x="33" y="139"/>
                  </a:lnTo>
                  <a:lnTo>
                    <a:pt x="35" y="133"/>
                  </a:lnTo>
                  <a:lnTo>
                    <a:pt x="36" y="130"/>
                  </a:lnTo>
                  <a:lnTo>
                    <a:pt x="35" y="127"/>
                  </a:lnTo>
                  <a:lnTo>
                    <a:pt x="35" y="127"/>
                  </a:lnTo>
                  <a:lnTo>
                    <a:pt x="35" y="125"/>
                  </a:lnTo>
                  <a:lnTo>
                    <a:pt x="35" y="122"/>
                  </a:lnTo>
                  <a:lnTo>
                    <a:pt x="36" y="120"/>
                  </a:lnTo>
                  <a:lnTo>
                    <a:pt x="35" y="117"/>
                  </a:lnTo>
                  <a:lnTo>
                    <a:pt x="35" y="117"/>
                  </a:lnTo>
                  <a:lnTo>
                    <a:pt x="33" y="116"/>
                  </a:lnTo>
                  <a:lnTo>
                    <a:pt x="32" y="113"/>
                  </a:lnTo>
                  <a:lnTo>
                    <a:pt x="32" y="112"/>
                  </a:lnTo>
                  <a:lnTo>
                    <a:pt x="31" y="112"/>
                  </a:lnTo>
                  <a:lnTo>
                    <a:pt x="31" y="112"/>
                  </a:lnTo>
                  <a:lnTo>
                    <a:pt x="26" y="114"/>
                  </a:lnTo>
                  <a:lnTo>
                    <a:pt x="26" y="114"/>
                  </a:lnTo>
                  <a:lnTo>
                    <a:pt x="23" y="114"/>
                  </a:lnTo>
                  <a:lnTo>
                    <a:pt x="23" y="114"/>
                  </a:lnTo>
                  <a:lnTo>
                    <a:pt x="22" y="112"/>
                  </a:lnTo>
                  <a:lnTo>
                    <a:pt x="20" y="110"/>
                  </a:lnTo>
                  <a:lnTo>
                    <a:pt x="20" y="110"/>
                  </a:lnTo>
                  <a:lnTo>
                    <a:pt x="13" y="109"/>
                  </a:lnTo>
                  <a:lnTo>
                    <a:pt x="6" y="106"/>
                  </a:lnTo>
                  <a:lnTo>
                    <a:pt x="6" y="106"/>
                  </a:lnTo>
                  <a:lnTo>
                    <a:pt x="2" y="103"/>
                  </a:lnTo>
                  <a:lnTo>
                    <a:pt x="0" y="99"/>
                  </a:lnTo>
                  <a:lnTo>
                    <a:pt x="0" y="96"/>
                  </a:lnTo>
                  <a:lnTo>
                    <a:pt x="0" y="96"/>
                  </a:lnTo>
                  <a:lnTo>
                    <a:pt x="2" y="84"/>
                  </a:lnTo>
                  <a:lnTo>
                    <a:pt x="3" y="80"/>
                  </a:lnTo>
                  <a:lnTo>
                    <a:pt x="5" y="77"/>
                  </a:lnTo>
                  <a:lnTo>
                    <a:pt x="5" y="77"/>
                  </a:lnTo>
                  <a:lnTo>
                    <a:pt x="7" y="77"/>
                  </a:lnTo>
                  <a:lnTo>
                    <a:pt x="9" y="75"/>
                  </a:lnTo>
                  <a:lnTo>
                    <a:pt x="9" y="75"/>
                  </a:lnTo>
                  <a:lnTo>
                    <a:pt x="9" y="74"/>
                  </a:lnTo>
                  <a:lnTo>
                    <a:pt x="10" y="72"/>
                  </a:lnTo>
                  <a:lnTo>
                    <a:pt x="10" y="71"/>
                  </a:lnTo>
                  <a:lnTo>
                    <a:pt x="12" y="72"/>
                  </a:lnTo>
                  <a:lnTo>
                    <a:pt x="12" y="72"/>
                  </a:lnTo>
                  <a:lnTo>
                    <a:pt x="18" y="75"/>
                  </a:lnTo>
                  <a:lnTo>
                    <a:pt x="19" y="75"/>
                  </a:lnTo>
                  <a:lnTo>
                    <a:pt x="19" y="75"/>
                  </a:lnTo>
                  <a:lnTo>
                    <a:pt x="19" y="75"/>
                  </a:lnTo>
                  <a:lnTo>
                    <a:pt x="18" y="72"/>
                  </a:lnTo>
                  <a:lnTo>
                    <a:pt x="16" y="68"/>
                  </a:lnTo>
                  <a:lnTo>
                    <a:pt x="16" y="68"/>
                  </a:lnTo>
                  <a:lnTo>
                    <a:pt x="18" y="64"/>
                  </a:lnTo>
                  <a:lnTo>
                    <a:pt x="19" y="58"/>
                  </a:lnTo>
                  <a:lnTo>
                    <a:pt x="22" y="51"/>
                  </a:lnTo>
                  <a:lnTo>
                    <a:pt x="22" y="51"/>
                  </a:lnTo>
                  <a:lnTo>
                    <a:pt x="25" y="46"/>
                  </a:lnTo>
                  <a:lnTo>
                    <a:pt x="26" y="45"/>
                  </a:lnTo>
                  <a:lnTo>
                    <a:pt x="25" y="43"/>
                  </a:lnTo>
                  <a:lnTo>
                    <a:pt x="25" y="43"/>
                  </a:lnTo>
                  <a:lnTo>
                    <a:pt x="20" y="43"/>
                  </a:lnTo>
                  <a:lnTo>
                    <a:pt x="19" y="43"/>
                  </a:lnTo>
                  <a:lnTo>
                    <a:pt x="16" y="41"/>
                  </a:lnTo>
                  <a:lnTo>
                    <a:pt x="16" y="41"/>
                  </a:lnTo>
                  <a:lnTo>
                    <a:pt x="15" y="39"/>
                  </a:lnTo>
                  <a:lnTo>
                    <a:pt x="15" y="36"/>
                  </a:lnTo>
                  <a:lnTo>
                    <a:pt x="15" y="35"/>
                  </a:lnTo>
                  <a:lnTo>
                    <a:pt x="18" y="33"/>
                  </a:lnTo>
                  <a:lnTo>
                    <a:pt x="18" y="33"/>
                  </a:lnTo>
                  <a:lnTo>
                    <a:pt x="22" y="33"/>
                  </a:lnTo>
                  <a:lnTo>
                    <a:pt x="23" y="33"/>
                  </a:lnTo>
                  <a:lnTo>
                    <a:pt x="25" y="32"/>
                  </a:lnTo>
                  <a:lnTo>
                    <a:pt x="25" y="32"/>
                  </a:lnTo>
                  <a:lnTo>
                    <a:pt x="23" y="28"/>
                  </a:lnTo>
                  <a:lnTo>
                    <a:pt x="25" y="26"/>
                  </a:lnTo>
                  <a:lnTo>
                    <a:pt x="26" y="25"/>
                  </a:lnTo>
                  <a:lnTo>
                    <a:pt x="26" y="25"/>
                  </a:lnTo>
                  <a:lnTo>
                    <a:pt x="31" y="25"/>
                  </a:lnTo>
                  <a:lnTo>
                    <a:pt x="33" y="25"/>
                  </a:lnTo>
                  <a:lnTo>
                    <a:pt x="35" y="23"/>
                  </a:lnTo>
                  <a:lnTo>
                    <a:pt x="35" y="23"/>
                  </a:lnTo>
                  <a:lnTo>
                    <a:pt x="36" y="20"/>
                  </a:lnTo>
                  <a:lnTo>
                    <a:pt x="38" y="15"/>
                  </a:lnTo>
                  <a:lnTo>
                    <a:pt x="39" y="9"/>
                  </a:lnTo>
                  <a:lnTo>
                    <a:pt x="41" y="6"/>
                  </a:lnTo>
                  <a:lnTo>
                    <a:pt x="41" y="6"/>
                  </a:lnTo>
                  <a:lnTo>
                    <a:pt x="44" y="6"/>
                  </a:lnTo>
                  <a:lnTo>
                    <a:pt x="48" y="6"/>
                  </a:lnTo>
                  <a:lnTo>
                    <a:pt x="51" y="7"/>
                  </a:lnTo>
                  <a:lnTo>
                    <a:pt x="52" y="6"/>
                  </a:lnTo>
                  <a:lnTo>
                    <a:pt x="52" y="6"/>
                  </a:lnTo>
                  <a:lnTo>
                    <a:pt x="51" y="1"/>
                  </a:lnTo>
                  <a:lnTo>
                    <a:pt x="51" y="0"/>
                  </a:lnTo>
                  <a:lnTo>
                    <a:pt x="52" y="0"/>
                  </a:lnTo>
                  <a:lnTo>
                    <a:pt x="52" y="0"/>
                  </a:lnTo>
                  <a:lnTo>
                    <a:pt x="55" y="0"/>
                  </a:lnTo>
                  <a:lnTo>
                    <a:pt x="57" y="3"/>
                  </a:lnTo>
                  <a:lnTo>
                    <a:pt x="60" y="4"/>
                  </a:lnTo>
                  <a:lnTo>
                    <a:pt x="62" y="4"/>
                  </a:lnTo>
                  <a:lnTo>
                    <a:pt x="62" y="4"/>
                  </a:lnTo>
                  <a:lnTo>
                    <a:pt x="67" y="6"/>
                  </a:lnTo>
                  <a:lnTo>
                    <a:pt x="71" y="9"/>
                  </a:lnTo>
                  <a:lnTo>
                    <a:pt x="71" y="9"/>
                  </a:lnTo>
                  <a:lnTo>
                    <a:pt x="77" y="12"/>
                  </a:lnTo>
                  <a:lnTo>
                    <a:pt x="80" y="13"/>
                  </a:lnTo>
                  <a:lnTo>
                    <a:pt x="80" y="13"/>
                  </a:lnTo>
                  <a:lnTo>
                    <a:pt x="80" y="17"/>
                  </a:lnTo>
                  <a:lnTo>
                    <a:pt x="80" y="22"/>
                  </a:lnTo>
                  <a:lnTo>
                    <a:pt x="78" y="23"/>
                  </a:lnTo>
                  <a:lnTo>
                    <a:pt x="78" y="23"/>
                  </a:lnTo>
                  <a:lnTo>
                    <a:pt x="75" y="26"/>
                  </a:lnTo>
                  <a:lnTo>
                    <a:pt x="74" y="29"/>
                  </a:lnTo>
                  <a:lnTo>
                    <a:pt x="74" y="29"/>
                  </a:lnTo>
                  <a:lnTo>
                    <a:pt x="75" y="33"/>
                  </a:lnTo>
                  <a:lnTo>
                    <a:pt x="75" y="35"/>
                  </a:lnTo>
                  <a:lnTo>
                    <a:pt x="74" y="35"/>
                  </a:lnTo>
                  <a:lnTo>
                    <a:pt x="74" y="35"/>
                  </a:lnTo>
                  <a:lnTo>
                    <a:pt x="70" y="33"/>
                  </a:lnTo>
                  <a:lnTo>
                    <a:pt x="67" y="32"/>
                  </a:lnTo>
                  <a:lnTo>
                    <a:pt x="67" y="33"/>
                  </a:lnTo>
                  <a:lnTo>
                    <a:pt x="67" y="33"/>
                  </a:lnTo>
                  <a:lnTo>
                    <a:pt x="67" y="36"/>
                  </a:lnTo>
                  <a:lnTo>
                    <a:pt x="67" y="38"/>
                  </a:lnTo>
                  <a:lnTo>
                    <a:pt x="68" y="42"/>
                  </a:lnTo>
                  <a:lnTo>
                    <a:pt x="68" y="42"/>
                  </a:lnTo>
                  <a:lnTo>
                    <a:pt x="65" y="48"/>
                  </a:lnTo>
                  <a:lnTo>
                    <a:pt x="61" y="54"/>
                  </a:lnTo>
                  <a:lnTo>
                    <a:pt x="61" y="54"/>
                  </a:lnTo>
                  <a:lnTo>
                    <a:pt x="61" y="55"/>
                  </a:lnTo>
                  <a:lnTo>
                    <a:pt x="62" y="58"/>
                  </a:lnTo>
                  <a:lnTo>
                    <a:pt x="62" y="58"/>
                  </a:lnTo>
                  <a:lnTo>
                    <a:pt x="61" y="65"/>
                  </a:lnTo>
                  <a:lnTo>
                    <a:pt x="61" y="68"/>
                  </a:lnTo>
                  <a:lnTo>
                    <a:pt x="62" y="70"/>
                  </a:lnTo>
                  <a:lnTo>
                    <a:pt x="62" y="70"/>
                  </a:lnTo>
                  <a:lnTo>
                    <a:pt x="65" y="71"/>
                  </a:lnTo>
                  <a:lnTo>
                    <a:pt x="67" y="72"/>
                  </a:lnTo>
                  <a:lnTo>
                    <a:pt x="65" y="75"/>
                  </a:lnTo>
                  <a:lnTo>
                    <a:pt x="65" y="75"/>
                  </a:lnTo>
                  <a:lnTo>
                    <a:pt x="62" y="81"/>
                  </a:lnTo>
                  <a:lnTo>
                    <a:pt x="61" y="84"/>
                  </a:lnTo>
                  <a:lnTo>
                    <a:pt x="61" y="87"/>
                  </a:lnTo>
                  <a:lnTo>
                    <a:pt x="61" y="87"/>
                  </a:lnTo>
                  <a:lnTo>
                    <a:pt x="65" y="99"/>
                  </a:lnTo>
                  <a:lnTo>
                    <a:pt x="65" y="99"/>
                  </a:lnTo>
                  <a:lnTo>
                    <a:pt x="68" y="106"/>
                  </a:lnTo>
                  <a:lnTo>
                    <a:pt x="71" y="110"/>
                  </a:lnTo>
                  <a:lnTo>
                    <a:pt x="73" y="113"/>
                  </a:lnTo>
                  <a:lnTo>
                    <a:pt x="73" y="113"/>
                  </a:lnTo>
                  <a:lnTo>
                    <a:pt x="73" y="114"/>
                  </a:lnTo>
                  <a:lnTo>
                    <a:pt x="73" y="117"/>
                  </a:lnTo>
                  <a:lnTo>
                    <a:pt x="74" y="122"/>
                  </a:lnTo>
                  <a:lnTo>
                    <a:pt x="74" y="122"/>
                  </a:lnTo>
                  <a:lnTo>
                    <a:pt x="75" y="125"/>
                  </a:lnTo>
                  <a:lnTo>
                    <a:pt x="78" y="127"/>
                  </a:lnTo>
                  <a:lnTo>
                    <a:pt x="81" y="130"/>
                  </a:lnTo>
                  <a:lnTo>
                    <a:pt x="84" y="133"/>
                  </a:lnTo>
                  <a:lnTo>
                    <a:pt x="84" y="133"/>
                  </a:lnTo>
                  <a:lnTo>
                    <a:pt x="86" y="135"/>
                  </a:lnTo>
                  <a:lnTo>
                    <a:pt x="87" y="136"/>
                  </a:lnTo>
                  <a:lnTo>
                    <a:pt x="89" y="136"/>
                  </a:lnTo>
                  <a:lnTo>
                    <a:pt x="90" y="138"/>
                  </a:lnTo>
                  <a:lnTo>
                    <a:pt x="90" y="138"/>
                  </a:lnTo>
                  <a:lnTo>
                    <a:pt x="91" y="141"/>
                  </a:lnTo>
                  <a:lnTo>
                    <a:pt x="91" y="142"/>
                  </a:lnTo>
                  <a:lnTo>
                    <a:pt x="93" y="142"/>
                  </a:lnTo>
                  <a:lnTo>
                    <a:pt x="93" y="142"/>
                  </a:lnTo>
                  <a:lnTo>
                    <a:pt x="94" y="142"/>
                  </a:lnTo>
                  <a:lnTo>
                    <a:pt x="94" y="143"/>
                  </a:lnTo>
                  <a:lnTo>
                    <a:pt x="94" y="146"/>
                  </a:lnTo>
                  <a:lnTo>
                    <a:pt x="93" y="148"/>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12" name="Freeform 1484"/>
            <p:cNvSpPr>
              <a:spLocks/>
            </p:cNvSpPr>
            <p:nvPr/>
          </p:nvSpPr>
          <p:spPr bwMode="auto">
            <a:xfrm>
              <a:off x="5621338" y="1943529"/>
              <a:ext cx="149225" cy="241300"/>
            </a:xfrm>
            <a:custGeom>
              <a:avLst/>
              <a:gdLst>
                <a:gd name="T0" fmla="*/ 87 w 94"/>
                <a:gd name="T1" fmla="*/ 151 h 152"/>
                <a:gd name="T2" fmla="*/ 80 w 94"/>
                <a:gd name="T3" fmla="*/ 149 h 152"/>
                <a:gd name="T4" fmla="*/ 74 w 94"/>
                <a:gd name="T5" fmla="*/ 152 h 152"/>
                <a:gd name="T6" fmla="*/ 65 w 94"/>
                <a:gd name="T7" fmla="*/ 143 h 152"/>
                <a:gd name="T8" fmla="*/ 62 w 94"/>
                <a:gd name="T9" fmla="*/ 148 h 152"/>
                <a:gd name="T10" fmla="*/ 54 w 94"/>
                <a:gd name="T11" fmla="*/ 143 h 152"/>
                <a:gd name="T12" fmla="*/ 33 w 94"/>
                <a:gd name="T13" fmla="*/ 139 h 152"/>
                <a:gd name="T14" fmla="*/ 35 w 94"/>
                <a:gd name="T15" fmla="*/ 127 h 152"/>
                <a:gd name="T16" fmla="*/ 35 w 94"/>
                <a:gd name="T17" fmla="*/ 117 h 152"/>
                <a:gd name="T18" fmla="*/ 32 w 94"/>
                <a:gd name="T19" fmla="*/ 112 h 152"/>
                <a:gd name="T20" fmla="*/ 26 w 94"/>
                <a:gd name="T21" fmla="*/ 114 h 152"/>
                <a:gd name="T22" fmla="*/ 20 w 94"/>
                <a:gd name="T23" fmla="*/ 110 h 152"/>
                <a:gd name="T24" fmla="*/ 6 w 94"/>
                <a:gd name="T25" fmla="*/ 106 h 152"/>
                <a:gd name="T26" fmla="*/ 0 w 94"/>
                <a:gd name="T27" fmla="*/ 96 h 152"/>
                <a:gd name="T28" fmla="*/ 5 w 94"/>
                <a:gd name="T29" fmla="*/ 77 h 152"/>
                <a:gd name="T30" fmla="*/ 9 w 94"/>
                <a:gd name="T31" fmla="*/ 74 h 152"/>
                <a:gd name="T32" fmla="*/ 12 w 94"/>
                <a:gd name="T33" fmla="*/ 72 h 152"/>
                <a:gd name="T34" fmla="*/ 19 w 94"/>
                <a:gd name="T35" fmla="*/ 75 h 152"/>
                <a:gd name="T36" fmla="*/ 18 w 94"/>
                <a:gd name="T37" fmla="*/ 64 h 152"/>
                <a:gd name="T38" fmla="*/ 25 w 94"/>
                <a:gd name="T39" fmla="*/ 46 h 152"/>
                <a:gd name="T40" fmla="*/ 20 w 94"/>
                <a:gd name="T41" fmla="*/ 43 h 152"/>
                <a:gd name="T42" fmla="*/ 15 w 94"/>
                <a:gd name="T43" fmla="*/ 39 h 152"/>
                <a:gd name="T44" fmla="*/ 18 w 94"/>
                <a:gd name="T45" fmla="*/ 33 h 152"/>
                <a:gd name="T46" fmla="*/ 25 w 94"/>
                <a:gd name="T47" fmla="*/ 32 h 152"/>
                <a:gd name="T48" fmla="*/ 26 w 94"/>
                <a:gd name="T49" fmla="*/ 25 h 152"/>
                <a:gd name="T50" fmla="*/ 35 w 94"/>
                <a:gd name="T51" fmla="*/ 23 h 152"/>
                <a:gd name="T52" fmla="*/ 41 w 94"/>
                <a:gd name="T53" fmla="*/ 6 h 152"/>
                <a:gd name="T54" fmla="*/ 51 w 94"/>
                <a:gd name="T55" fmla="*/ 7 h 152"/>
                <a:gd name="T56" fmla="*/ 51 w 94"/>
                <a:gd name="T57" fmla="*/ 0 h 152"/>
                <a:gd name="T58" fmla="*/ 57 w 94"/>
                <a:gd name="T59" fmla="*/ 3 h 152"/>
                <a:gd name="T60" fmla="*/ 67 w 94"/>
                <a:gd name="T61" fmla="*/ 6 h 152"/>
                <a:gd name="T62" fmla="*/ 80 w 94"/>
                <a:gd name="T63" fmla="*/ 13 h 152"/>
                <a:gd name="T64" fmla="*/ 78 w 94"/>
                <a:gd name="T65" fmla="*/ 23 h 152"/>
                <a:gd name="T66" fmla="*/ 74 w 94"/>
                <a:gd name="T67" fmla="*/ 29 h 152"/>
                <a:gd name="T68" fmla="*/ 74 w 94"/>
                <a:gd name="T69" fmla="*/ 35 h 152"/>
                <a:gd name="T70" fmla="*/ 67 w 94"/>
                <a:gd name="T71" fmla="*/ 33 h 152"/>
                <a:gd name="T72" fmla="*/ 68 w 94"/>
                <a:gd name="T73" fmla="*/ 42 h 152"/>
                <a:gd name="T74" fmla="*/ 61 w 94"/>
                <a:gd name="T75" fmla="*/ 55 h 152"/>
                <a:gd name="T76" fmla="*/ 61 w 94"/>
                <a:gd name="T77" fmla="*/ 68 h 152"/>
                <a:gd name="T78" fmla="*/ 67 w 94"/>
                <a:gd name="T79" fmla="*/ 72 h 152"/>
                <a:gd name="T80" fmla="*/ 61 w 94"/>
                <a:gd name="T81" fmla="*/ 84 h 152"/>
                <a:gd name="T82" fmla="*/ 65 w 94"/>
                <a:gd name="T83" fmla="*/ 99 h 152"/>
                <a:gd name="T84" fmla="*/ 73 w 94"/>
                <a:gd name="T85" fmla="*/ 113 h 152"/>
                <a:gd name="T86" fmla="*/ 74 w 94"/>
                <a:gd name="T87" fmla="*/ 122 h 152"/>
                <a:gd name="T88" fmla="*/ 84 w 94"/>
                <a:gd name="T89" fmla="*/ 133 h 152"/>
                <a:gd name="T90" fmla="*/ 89 w 94"/>
                <a:gd name="T91" fmla="*/ 136 h 152"/>
                <a:gd name="T92" fmla="*/ 91 w 94"/>
                <a:gd name="T93" fmla="*/ 142 h 152"/>
                <a:gd name="T94" fmla="*/ 94 w 94"/>
                <a:gd name="T95" fmla="*/ 1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 h="152">
                  <a:moveTo>
                    <a:pt x="93" y="148"/>
                  </a:moveTo>
                  <a:lnTo>
                    <a:pt x="93" y="148"/>
                  </a:lnTo>
                  <a:lnTo>
                    <a:pt x="90" y="149"/>
                  </a:lnTo>
                  <a:lnTo>
                    <a:pt x="87" y="151"/>
                  </a:lnTo>
                  <a:lnTo>
                    <a:pt x="87" y="151"/>
                  </a:lnTo>
                  <a:lnTo>
                    <a:pt x="83" y="149"/>
                  </a:lnTo>
                  <a:lnTo>
                    <a:pt x="80" y="149"/>
                  </a:lnTo>
                  <a:lnTo>
                    <a:pt x="80" y="149"/>
                  </a:lnTo>
                  <a:lnTo>
                    <a:pt x="77" y="151"/>
                  </a:lnTo>
                  <a:lnTo>
                    <a:pt x="75" y="152"/>
                  </a:lnTo>
                  <a:lnTo>
                    <a:pt x="74" y="152"/>
                  </a:lnTo>
                  <a:lnTo>
                    <a:pt x="74" y="152"/>
                  </a:lnTo>
                  <a:lnTo>
                    <a:pt x="70" y="146"/>
                  </a:lnTo>
                  <a:lnTo>
                    <a:pt x="67" y="145"/>
                  </a:lnTo>
                  <a:lnTo>
                    <a:pt x="65" y="143"/>
                  </a:lnTo>
                  <a:lnTo>
                    <a:pt x="65" y="143"/>
                  </a:lnTo>
                  <a:lnTo>
                    <a:pt x="65" y="145"/>
                  </a:lnTo>
                  <a:lnTo>
                    <a:pt x="64" y="146"/>
                  </a:lnTo>
                  <a:lnTo>
                    <a:pt x="64" y="148"/>
                  </a:lnTo>
                  <a:lnTo>
                    <a:pt x="62" y="148"/>
                  </a:lnTo>
                  <a:lnTo>
                    <a:pt x="62" y="148"/>
                  </a:lnTo>
                  <a:lnTo>
                    <a:pt x="57" y="145"/>
                  </a:lnTo>
                  <a:lnTo>
                    <a:pt x="54" y="143"/>
                  </a:lnTo>
                  <a:lnTo>
                    <a:pt x="54" y="143"/>
                  </a:lnTo>
                  <a:lnTo>
                    <a:pt x="42" y="142"/>
                  </a:lnTo>
                  <a:lnTo>
                    <a:pt x="36" y="141"/>
                  </a:lnTo>
                  <a:lnTo>
                    <a:pt x="33" y="139"/>
                  </a:lnTo>
                  <a:lnTo>
                    <a:pt x="33" y="139"/>
                  </a:lnTo>
                  <a:lnTo>
                    <a:pt x="35" y="133"/>
                  </a:lnTo>
                  <a:lnTo>
                    <a:pt x="36" y="130"/>
                  </a:lnTo>
                  <a:lnTo>
                    <a:pt x="35" y="127"/>
                  </a:lnTo>
                  <a:lnTo>
                    <a:pt x="35" y="127"/>
                  </a:lnTo>
                  <a:lnTo>
                    <a:pt x="35" y="125"/>
                  </a:lnTo>
                  <a:lnTo>
                    <a:pt x="35" y="122"/>
                  </a:lnTo>
                  <a:lnTo>
                    <a:pt x="36" y="120"/>
                  </a:lnTo>
                  <a:lnTo>
                    <a:pt x="35" y="117"/>
                  </a:lnTo>
                  <a:lnTo>
                    <a:pt x="35" y="117"/>
                  </a:lnTo>
                  <a:lnTo>
                    <a:pt x="33" y="116"/>
                  </a:lnTo>
                  <a:lnTo>
                    <a:pt x="32" y="113"/>
                  </a:lnTo>
                  <a:lnTo>
                    <a:pt x="32" y="112"/>
                  </a:lnTo>
                  <a:lnTo>
                    <a:pt x="31" y="112"/>
                  </a:lnTo>
                  <a:lnTo>
                    <a:pt x="31" y="112"/>
                  </a:lnTo>
                  <a:lnTo>
                    <a:pt x="26" y="114"/>
                  </a:lnTo>
                  <a:lnTo>
                    <a:pt x="26" y="114"/>
                  </a:lnTo>
                  <a:lnTo>
                    <a:pt x="23" y="114"/>
                  </a:lnTo>
                  <a:lnTo>
                    <a:pt x="23" y="114"/>
                  </a:lnTo>
                  <a:lnTo>
                    <a:pt x="22" y="112"/>
                  </a:lnTo>
                  <a:lnTo>
                    <a:pt x="20" y="110"/>
                  </a:lnTo>
                  <a:lnTo>
                    <a:pt x="20" y="110"/>
                  </a:lnTo>
                  <a:lnTo>
                    <a:pt x="13" y="109"/>
                  </a:lnTo>
                  <a:lnTo>
                    <a:pt x="6" y="106"/>
                  </a:lnTo>
                  <a:lnTo>
                    <a:pt x="6" y="106"/>
                  </a:lnTo>
                  <a:lnTo>
                    <a:pt x="2" y="103"/>
                  </a:lnTo>
                  <a:lnTo>
                    <a:pt x="0" y="99"/>
                  </a:lnTo>
                  <a:lnTo>
                    <a:pt x="0" y="96"/>
                  </a:lnTo>
                  <a:lnTo>
                    <a:pt x="0" y="96"/>
                  </a:lnTo>
                  <a:lnTo>
                    <a:pt x="2" y="84"/>
                  </a:lnTo>
                  <a:lnTo>
                    <a:pt x="3" y="80"/>
                  </a:lnTo>
                  <a:lnTo>
                    <a:pt x="5" y="77"/>
                  </a:lnTo>
                  <a:lnTo>
                    <a:pt x="5" y="77"/>
                  </a:lnTo>
                  <a:lnTo>
                    <a:pt x="7" y="77"/>
                  </a:lnTo>
                  <a:lnTo>
                    <a:pt x="9" y="75"/>
                  </a:lnTo>
                  <a:lnTo>
                    <a:pt x="9" y="75"/>
                  </a:lnTo>
                  <a:lnTo>
                    <a:pt x="9" y="74"/>
                  </a:lnTo>
                  <a:lnTo>
                    <a:pt x="10" y="72"/>
                  </a:lnTo>
                  <a:lnTo>
                    <a:pt x="10" y="71"/>
                  </a:lnTo>
                  <a:lnTo>
                    <a:pt x="12" y="72"/>
                  </a:lnTo>
                  <a:lnTo>
                    <a:pt x="12" y="72"/>
                  </a:lnTo>
                  <a:lnTo>
                    <a:pt x="18" y="75"/>
                  </a:lnTo>
                  <a:lnTo>
                    <a:pt x="19" y="75"/>
                  </a:lnTo>
                  <a:lnTo>
                    <a:pt x="19" y="75"/>
                  </a:lnTo>
                  <a:lnTo>
                    <a:pt x="19" y="75"/>
                  </a:lnTo>
                  <a:lnTo>
                    <a:pt x="18" y="72"/>
                  </a:lnTo>
                  <a:lnTo>
                    <a:pt x="16" y="68"/>
                  </a:lnTo>
                  <a:lnTo>
                    <a:pt x="16" y="68"/>
                  </a:lnTo>
                  <a:lnTo>
                    <a:pt x="18" y="64"/>
                  </a:lnTo>
                  <a:lnTo>
                    <a:pt x="19" y="58"/>
                  </a:lnTo>
                  <a:lnTo>
                    <a:pt x="22" y="51"/>
                  </a:lnTo>
                  <a:lnTo>
                    <a:pt x="22" y="51"/>
                  </a:lnTo>
                  <a:lnTo>
                    <a:pt x="25" y="46"/>
                  </a:lnTo>
                  <a:lnTo>
                    <a:pt x="26" y="45"/>
                  </a:lnTo>
                  <a:lnTo>
                    <a:pt x="25" y="43"/>
                  </a:lnTo>
                  <a:lnTo>
                    <a:pt x="25" y="43"/>
                  </a:lnTo>
                  <a:lnTo>
                    <a:pt x="20" y="43"/>
                  </a:lnTo>
                  <a:lnTo>
                    <a:pt x="19" y="43"/>
                  </a:lnTo>
                  <a:lnTo>
                    <a:pt x="16" y="41"/>
                  </a:lnTo>
                  <a:lnTo>
                    <a:pt x="16" y="41"/>
                  </a:lnTo>
                  <a:lnTo>
                    <a:pt x="15" y="39"/>
                  </a:lnTo>
                  <a:lnTo>
                    <a:pt x="15" y="36"/>
                  </a:lnTo>
                  <a:lnTo>
                    <a:pt x="15" y="35"/>
                  </a:lnTo>
                  <a:lnTo>
                    <a:pt x="18" y="33"/>
                  </a:lnTo>
                  <a:lnTo>
                    <a:pt x="18" y="33"/>
                  </a:lnTo>
                  <a:lnTo>
                    <a:pt x="22" y="33"/>
                  </a:lnTo>
                  <a:lnTo>
                    <a:pt x="23" y="33"/>
                  </a:lnTo>
                  <a:lnTo>
                    <a:pt x="25" y="32"/>
                  </a:lnTo>
                  <a:lnTo>
                    <a:pt x="25" y="32"/>
                  </a:lnTo>
                  <a:lnTo>
                    <a:pt x="23" y="28"/>
                  </a:lnTo>
                  <a:lnTo>
                    <a:pt x="25" y="26"/>
                  </a:lnTo>
                  <a:lnTo>
                    <a:pt x="26" y="25"/>
                  </a:lnTo>
                  <a:lnTo>
                    <a:pt x="26" y="25"/>
                  </a:lnTo>
                  <a:lnTo>
                    <a:pt x="31" y="25"/>
                  </a:lnTo>
                  <a:lnTo>
                    <a:pt x="33" y="25"/>
                  </a:lnTo>
                  <a:lnTo>
                    <a:pt x="35" y="23"/>
                  </a:lnTo>
                  <a:lnTo>
                    <a:pt x="35" y="23"/>
                  </a:lnTo>
                  <a:lnTo>
                    <a:pt x="36" y="20"/>
                  </a:lnTo>
                  <a:lnTo>
                    <a:pt x="38" y="15"/>
                  </a:lnTo>
                  <a:lnTo>
                    <a:pt x="39" y="9"/>
                  </a:lnTo>
                  <a:lnTo>
                    <a:pt x="41" y="6"/>
                  </a:lnTo>
                  <a:lnTo>
                    <a:pt x="41" y="6"/>
                  </a:lnTo>
                  <a:lnTo>
                    <a:pt x="44" y="6"/>
                  </a:lnTo>
                  <a:lnTo>
                    <a:pt x="48" y="6"/>
                  </a:lnTo>
                  <a:lnTo>
                    <a:pt x="51" y="7"/>
                  </a:lnTo>
                  <a:lnTo>
                    <a:pt x="52" y="6"/>
                  </a:lnTo>
                  <a:lnTo>
                    <a:pt x="52" y="6"/>
                  </a:lnTo>
                  <a:lnTo>
                    <a:pt x="51" y="1"/>
                  </a:lnTo>
                  <a:lnTo>
                    <a:pt x="51" y="0"/>
                  </a:lnTo>
                  <a:lnTo>
                    <a:pt x="52" y="0"/>
                  </a:lnTo>
                  <a:lnTo>
                    <a:pt x="52" y="0"/>
                  </a:lnTo>
                  <a:lnTo>
                    <a:pt x="55" y="0"/>
                  </a:lnTo>
                  <a:lnTo>
                    <a:pt x="57" y="3"/>
                  </a:lnTo>
                  <a:lnTo>
                    <a:pt x="60" y="4"/>
                  </a:lnTo>
                  <a:lnTo>
                    <a:pt x="62" y="4"/>
                  </a:lnTo>
                  <a:lnTo>
                    <a:pt x="62" y="4"/>
                  </a:lnTo>
                  <a:lnTo>
                    <a:pt x="67" y="6"/>
                  </a:lnTo>
                  <a:lnTo>
                    <a:pt x="71" y="9"/>
                  </a:lnTo>
                  <a:lnTo>
                    <a:pt x="71" y="9"/>
                  </a:lnTo>
                  <a:lnTo>
                    <a:pt x="77" y="12"/>
                  </a:lnTo>
                  <a:lnTo>
                    <a:pt x="80" y="13"/>
                  </a:lnTo>
                  <a:lnTo>
                    <a:pt x="80" y="13"/>
                  </a:lnTo>
                  <a:lnTo>
                    <a:pt x="80" y="17"/>
                  </a:lnTo>
                  <a:lnTo>
                    <a:pt x="80" y="22"/>
                  </a:lnTo>
                  <a:lnTo>
                    <a:pt x="78" y="23"/>
                  </a:lnTo>
                  <a:lnTo>
                    <a:pt x="78" y="23"/>
                  </a:lnTo>
                  <a:lnTo>
                    <a:pt x="75" y="26"/>
                  </a:lnTo>
                  <a:lnTo>
                    <a:pt x="74" y="29"/>
                  </a:lnTo>
                  <a:lnTo>
                    <a:pt x="74" y="29"/>
                  </a:lnTo>
                  <a:lnTo>
                    <a:pt x="75" y="33"/>
                  </a:lnTo>
                  <a:lnTo>
                    <a:pt x="75" y="35"/>
                  </a:lnTo>
                  <a:lnTo>
                    <a:pt x="74" y="35"/>
                  </a:lnTo>
                  <a:lnTo>
                    <a:pt x="74" y="35"/>
                  </a:lnTo>
                  <a:lnTo>
                    <a:pt x="70" y="33"/>
                  </a:lnTo>
                  <a:lnTo>
                    <a:pt x="67" y="32"/>
                  </a:lnTo>
                  <a:lnTo>
                    <a:pt x="67" y="33"/>
                  </a:lnTo>
                  <a:lnTo>
                    <a:pt x="67" y="33"/>
                  </a:lnTo>
                  <a:lnTo>
                    <a:pt x="67" y="36"/>
                  </a:lnTo>
                  <a:lnTo>
                    <a:pt x="67" y="38"/>
                  </a:lnTo>
                  <a:lnTo>
                    <a:pt x="68" y="42"/>
                  </a:lnTo>
                  <a:lnTo>
                    <a:pt x="68" y="42"/>
                  </a:lnTo>
                  <a:lnTo>
                    <a:pt x="65" y="48"/>
                  </a:lnTo>
                  <a:lnTo>
                    <a:pt x="61" y="54"/>
                  </a:lnTo>
                  <a:lnTo>
                    <a:pt x="61" y="54"/>
                  </a:lnTo>
                  <a:lnTo>
                    <a:pt x="61" y="55"/>
                  </a:lnTo>
                  <a:lnTo>
                    <a:pt x="62" y="58"/>
                  </a:lnTo>
                  <a:lnTo>
                    <a:pt x="62" y="58"/>
                  </a:lnTo>
                  <a:lnTo>
                    <a:pt x="61" y="65"/>
                  </a:lnTo>
                  <a:lnTo>
                    <a:pt x="61" y="68"/>
                  </a:lnTo>
                  <a:lnTo>
                    <a:pt x="62" y="70"/>
                  </a:lnTo>
                  <a:lnTo>
                    <a:pt x="62" y="70"/>
                  </a:lnTo>
                  <a:lnTo>
                    <a:pt x="65" y="71"/>
                  </a:lnTo>
                  <a:lnTo>
                    <a:pt x="67" y="72"/>
                  </a:lnTo>
                  <a:lnTo>
                    <a:pt x="65" y="75"/>
                  </a:lnTo>
                  <a:lnTo>
                    <a:pt x="65" y="75"/>
                  </a:lnTo>
                  <a:lnTo>
                    <a:pt x="62" y="81"/>
                  </a:lnTo>
                  <a:lnTo>
                    <a:pt x="61" y="84"/>
                  </a:lnTo>
                  <a:lnTo>
                    <a:pt x="61" y="87"/>
                  </a:lnTo>
                  <a:lnTo>
                    <a:pt x="61" y="87"/>
                  </a:lnTo>
                  <a:lnTo>
                    <a:pt x="65" y="99"/>
                  </a:lnTo>
                  <a:lnTo>
                    <a:pt x="65" y="99"/>
                  </a:lnTo>
                  <a:lnTo>
                    <a:pt x="68" y="106"/>
                  </a:lnTo>
                  <a:lnTo>
                    <a:pt x="71" y="110"/>
                  </a:lnTo>
                  <a:lnTo>
                    <a:pt x="73" y="113"/>
                  </a:lnTo>
                  <a:lnTo>
                    <a:pt x="73" y="113"/>
                  </a:lnTo>
                  <a:lnTo>
                    <a:pt x="73" y="114"/>
                  </a:lnTo>
                  <a:lnTo>
                    <a:pt x="73" y="117"/>
                  </a:lnTo>
                  <a:lnTo>
                    <a:pt x="74" y="122"/>
                  </a:lnTo>
                  <a:lnTo>
                    <a:pt x="74" y="122"/>
                  </a:lnTo>
                  <a:lnTo>
                    <a:pt x="75" y="125"/>
                  </a:lnTo>
                  <a:lnTo>
                    <a:pt x="78" y="127"/>
                  </a:lnTo>
                  <a:lnTo>
                    <a:pt x="81" y="130"/>
                  </a:lnTo>
                  <a:lnTo>
                    <a:pt x="84" y="133"/>
                  </a:lnTo>
                  <a:lnTo>
                    <a:pt x="84" y="133"/>
                  </a:lnTo>
                  <a:lnTo>
                    <a:pt x="86" y="135"/>
                  </a:lnTo>
                  <a:lnTo>
                    <a:pt x="87" y="136"/>
                  </a:lnTo>
                  <a:lnTo>
                    <a:pt x="89" y="136"/>
                  </a:lnTo>
                  <a:lnTo>
                    <a:pt x="90" y="138"/>
                  </a:lnTo>
                  <a:lnTo>
                    <a:pt x="90" y="138"/>
                  </a:lnTo>
                  <a:lnTo>
                    <a:pt x="91" y="141"/>
                  </a:lnTo>
                  <a:lnTo>
                    <a:pt x="91" y="142"/>
                  </a:lnTo>
                  <a:lnTo>
                    <a:pt x="93" y="142"/>
                  </a:lnTo>
                  <a:lnTo>
                    <a:pt x="93" y="142"/>
                  </a:lnTo>
                  <a:lnTo>
                    <a:pt x="94" y="142"/>
                  </a:lnTo>
                  <a:lnTo>
                    <a:pt x="94" y="143"/>
                  </a:lnTo>
                  <a:lnTo>
                    <a:pt x="94" y="146"/>
                  </a:lnTo>
                  <a:lnTo>
                    <a:pt x="93" y="14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13" name="Freeform 1485"/>
            <p:cNvSpPr>
              <a:spLocks/>
            </p:cNvSpPr>
            <p:nvPr/>
          </p:nvSpPr>
          <p:spPr bwMode="auto">
            <a:xfrm>
              <a:off x="5645151" y="2129267"/>
              <a:ext cx="17463" cy="28575"/>
            </a:xfrm>
            <a:custGeom>
              <a:avLst/>
              <a:gdLst>
                <a:gd name="T0" fmla="*/ 10 w 11"/>
                <a:gd name="T1" fmla="*/ 18 h 18"/>
                <a:gd name="T2" fmla="*/ 10 w 11"/>
                <a:gd name="T3" fmla="*/ 18 h 18"/>
                <a:gd name="T4" fmla="*/ 8 w 11"/>
                <a:gd name="T5" fmla="*/ 18 h 18"/>
                <a:gd name="T6" fmla="*/ 7 w 11"/>
                <a:gd name="T7" fmla="*/ 16 h 18"/>
                <a:gd name="T8" fmla="*/ 5 w 11"/>
                <a:gd name="T9" fmla="*/ 13 h 18"/>
                <a:gd name="T10" fmla="*/ 4 w 11"/>
                <a:gd name="T11" fmla="*/ 9 h 18"/>
                <a:gd name="T12" fmla="*/ 3 w 11"/>
                <a:gd name="T13" fmla="*/ 8 h 18"/>
                <a:gd name="T14" fmla="*/ 3 w 11"/>
                <a:gd name="T15" fmla="*/ 8 h 18"/>
                <a:gd name="T16" fmla="*/ 0 w 11"/>
                <a:gd name="T17" fmla="*/ 5 h 18"/>
                <a:gd name="T18" fmla="*/ 0 w 11"/>
                <a:gd name="T19" fmla="*/ 3 h 18"/>
                <a:gd name="T20" fmla="*/ 0 w 11"/>
                <a:gd name="T21" fmla="*/ 0 h 18"/>
                <a:gd name="T22" fmla="*/ 1 w 11"/>
                <a:gd name="T23" fmla="*/ 0 h 18"/>
                <a:gd name="T24" fmla="*/ 1 w 11"/>
                <a:gd name="T25" fmla="*/ 0 h 18"/>
                <a:gd name="T26" fmla="*/ 7 w 11"/>
                <a:gd name="T27" fmla="*/ 2 h 18"/>
                <a:gd name="T28" fmla="*/ 8 w 11"/>
                <a:gd name="T29" fmla="*/ 3 h 18"/>
                <a:gd name="T30" fmla="*/ 8 w 11"/>
                <a:gd name="T31" fmla="*/ 5 h 18"/>
                <a:gd name="T32" fmla="*/ 8 w 11"/>
                <a:gd name="T33" fmla="*/ 5 h 18"/>
                <a:gd name="T34" fmla="*/ 10 w 11"/>
                <a:gd name="T35" fmla="*/ 12 h 18"/>
                <a:gd name="T36" fmla="*/ 11 w 11"/>
                <a:gd name="T37" fmla="*/ 16 h 18"/>
                <a:gd name="T38" fmla="*/ 10 w 11"/>
                <a:gd name="T3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18">
                  <a:moveTo>
                    <a:pt x="10" y="18"/>
                  </a:moveTo>
                  <a:lnTo>
                    <a:pt x="10" y="18"/>
                  </a:lnTo>
                  <a:lnTo>
                    <a:pt x="8" y="18"/>
                  </a:lnTo>
                  <a:lnTo>
                    <a:pt x="7" y="16"/>
                  </a:lnTo>
                  <a:lnTo>
                    <a:pt x="5" y="13"/>
                  </a:lnTo>
                  <a:lnTo>
                    <a:pt x="4" y="9"/>
                  </a:lnTo>
                  <a:lnTo>
                    <a:pt x="3" y="8"/>
                  </a:lnTo>
                  <a:lnTo>
                    <a:pt x="3" y="8"/>
                  </a:lnTo>
                  <a:lnTo>
                    <a:pt x="0" y="5"/>
                  </a:lnTo>
                  <a:lnTo>
                    <a:pt x="0" y="3"/>
                  </a:lnTo>
                  <a:lnTo>
                    <a:pt x="0" y="0"/>
                  </a:lnTo>
                  <a:lnTo>
                    <a:pt x="1" y="0"/>
                  </a:lnTo>
                  <a:lnTo>
                    <a:pt x="1" y="0"/>
                  </a:lnTo>
                  <a:lnTo>
                    <a:pt x="7" y="2"/>
                  </a:lnTo>
                  <a:lnTo>
                    <a:pt x="8" y="3"/>
                  </a:lnTo>
                  <a:lnTo>
                    <a:pt x="8" y="5"/>
                  </a:lnTo>
                  <a:lnTo>
                    <a:pt x="8" y="5"/>
                  </a:lnTo>
                  <a:lnTo>
                    <a:pt x="10" y="12"/>
                  </a:lnTo>
                  <a:lnTo>
                    <a:pt x="11" y="16"/>
                  </a:lnTo>
                  <a:lnTo>
                    <a:pt x="10" y="18"/>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14" name="Freeform 1486"/>
            <p:cNvSpPr>
              <a:spLocks/>
            </p:cNvSpPr>
            <p:nvPr/>
          </p:nvSpPr>
          <p:spPr bwMode="auto">
            <a:xfrm>
              <a:off x="5645151" y="2129267"/>
              <a:ext cx="17463" cy="28575"/>
            </a:xfrm>
            <a:custGeom>
              <a:avLst/>
              <a:gdLst>
                <a:gd name="T0" fmla="*/ 10 w 11"/>
                <a:gd name="T1" fmla="*/ 18 h 18"/>
                <a:gd name="T2" fmla="*/ 10 w 11"/>
                <a:gd name="T3" fmla="*/ 18 h 18"/>
                <a:gd name="T4" fmla="*/ 8 w 11"/>
                <a:gd name="T5" fmla="*/ 18 h 18"/>
                <a:gd name="T6" fmla="*/ 7 w 11"/>
                <a:gd name="T7" fmla="*/ 16 h 18"/>
                <a:gd name="T8" fmla="*/ 5 w 11"/>
                <a:gd name="T9" fmla="*/ 13 h 18"/>
                <a:gd name="T10" fmla="*/ 4 w 11"/>
                <a:gd name="T11" fmla="*/ 9 h 18"/>
                <a:gd name="T12" fmla="*/ 3 w 11"/>
                <a:gd name="T13" fmla="*/ 8 h 18"/>
                <a:gd name="T14" fmla="*/ 3 w 11"/>
                <a:gd name="T15" fmla="*/ 8 h 18"/>
                <a:gd name="T16" fmla="*/ 0 w 11"/>
                <a:gd name="T17" fmla="*/ 5 h 18"/>
                <a:gd name="T18" fmla="*/ 0 w 11"/>
                <a:gd name="T19" fmla="*/ 3 h 18"/>
                <a:gd name="T20" fmla="*/ 0 w 11"/>
                <a:gd name="T21" fmla="*/ 0 h 18"/>
                <a:gd name="T22" fmla="*/ 1 w 11"/>
                <a:gd name="T23" fmla="*/ 0 h 18"/>
                <a:gd name="T24" fmla="*/ 1 w 11"/>
                <a:gd name="T25" fmla="*/ 0 h 18"/>
                <a:gd name="T26" fmla="*/ 7 w 11"/>
                <a:gd name="T27" fmla="*/ 2 h 18"/>
                <a:gd name="T28" fmla="*/ 8 w 11"/>
                <a:gd name="T29" fmla="*/ 3 h 18"/>
                <a:gd name="T30" fmla="*/ 8 w 11"/>
                <a:gd name="T31" fmla="*/ 5 h 18"/>
                <a:gd name="T32" fmla="*/ 8 w 11"/>
                <a:gd name="T33" fmla="*/ 5 h 18"/>
                <a:gd name="T34" fmla="*/ 10 w 11"/>
                <a:gd name="T35" fmla="*/ 12 h 18"/>
                <a:gd name="T36" fmla="*/ 11 w 11"/>
                <a:gd name="T37" fmla="*/ 16 h 18"/>
                <a:gd name="T38" fmla="*/ 10 w 11"/>
                <a:gd name="T3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18">
                  <a:moveTo>
                    <a:pt x="10" y="18"/>
                  </a:moveTo>
                  <a:lnTo>
                    <a:pt x="10" y="18"/>
                  </a:lnTo>
                  <a:lnTo>
                    <a:pt x="8" y="18"/>
                  </a:lnTo>
                  <a:lnTo>
                    <a:pt x="7" y="16"/>
                  </a:lnTo>
                  <a:lnTo>
                    <a:pt x="5" y="13"/>
                  </a:lnTo>
                  <a:lnTo>
                    <a:pt x="4" y="9"/>
                  </a:lnTo>
                  <a:lnTo>
                    <a:pt x="3" y="8"/>
                  </a:lnTo>
                  <a:lnTo>
                    <a:pt x="3" y="8"/>
                  </a:lnTo>
                  <a:lnTo>
                    <a:pt x="0" y="5"/>
                  </a:lnTo>
                  <a:lnTo>
                    <a:pt x="0" y="3"/>
                  </a:lnTo>
                  <a:lnTo>
                    <a:pt x="0" y="0"/>
                  </a:lnTo>
                  <a:lnTo>
                    <a:pt x="1" y="0"/>
                  </a:lnTo>
                  <a:lnTo>
                    <a:pt x="1" y="0"/>
                  </a:lnTo>
                  <a:lnTo>
                    <a:pt x="7" y="2"/>
                  </a:lnTo>
                  <a:lnTo>
                    <a:pt x="8" y="3"/>
                  </a:lnTo>
                  <a:lnTo>
                    <a:pt x="8" y="5"/>
                  </a:lnTo>
                  <a:lnTo>
                    <a:pt x="8" y="5"/>
                  </a:lnTo>
                  <a:lnTo>
                    <a:pt x="10" y="12"/>
                  </a:lnTo>
                  <a:lnTo>
                    <a:pt x="11" y="16"/>
                  </a:lnTo>
                  <a:lnTo>
                    <a:pt x="10" y="18"/>
                  </a:lnTo>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15" name="Freeform 1487"/>
            <p:cNvSpPr>
              <a:spLocks/>
            </p:cNvSpPr>
            <p:nvPr/>
          </p:nvSpPr>
          <p:spPr bwMode="auto">
            <a:xfrm>
              <a:off x="5670551" y="1591104"/>
              <a:ext cx="395288" cy="363538"/>
            </a:xfrm>
            <a:custGeom>
              <a:avLst/>
              <a:gdLst>
                <a:gd name="T0" fmla="*/ 43 w 249"/>
                <a:gd name="T1" fmla="*/ 223 h 229"/>
                <a:gd name="T2" fmla="*/ 34 w 249"/>
                <a:gd name="T3" fmla="*/ 221 h 229"/>
                <a:gd name="T4" fmla="*/ 11 w 249"/>
                <a:gd name="T5" fmla="*/ 213 h 229"/>
                <a:gd name="T6" fmla="*/ 11 w 249"/>
                <a:gd name="T7" fmla="*/ 200 h 229"/>
                <a:gd name="T8" fmla="*/ 5 w 249"/>
                <a:gd name="T9" fmla="*/ 197 h 229"/>
                <a:gd name="T10" fmla="*/ 16 w 249"/>
                <a:gd name="T11" fmla="*/ 187 h 229"/>
                <a:gd name="T12" fmla="*/ 29 w 249"/>
                <a:gd name="T13" fmla="*/ 186 h 229"/>
                <a:gd name="T14" fmla="*/ 30 w 249"/>
                <a:gd name="T15" fmla="*/ 181 h 229"/>
                <a:gd name="T16" fmla="*/ 27 w 249"/>
                <a:gd name="T17" fmla="*/ 168 h 229"/>
                <a:gd name="T18" fmla="*/ 37 w 249"/>
                <a:gd name="T19" fmla="*/ 167 h 229"/>
                <a:gd name="T20" fmla="*/ 33 w 249"/>
                <a:gd name="T21" fmla="*/ 157 h 229"/>
                <a:gd name="T22" fmla="*/ 37 w 249"/>
                <a:gd name="T23" fmla="*/ 151 h 229"/>
                <a:gd name="T24" fmla="*/ 39 w 249"/>
                <a:gd name="T25" fmla="*/ 139 h 229"/>
                <a:gd name="T26" fmla="*/ 37 w 249"/>
                <a:gd name="T27" fmla="*/ 134 h 229"/>
                <a:gd name="T28" fmla="*/ 47 w 249"/>
                <a:gd name="T29" fmla="*/ 132 h 229"/>
                <a:gd name="T30" fmla="*/ 56 w 249"/>
                <a:gd name="T31" fmla="*/ 118 h 229"/>
                <a:gd name="T32" fmla="*/ 66 w 249"/>
                <a:gd name="T33" fmla="*/ 112 h 229"/>
                <a:gd name="T34" fmla="*/ 66 w 249"/>
                <a:gd name="T35" fmla="*/ 102 h 229"/>
                <a:gd name="T36" fmla="*/ 84 w 249"/>
                <a:gd name="T37" fmla="*/ 89 h 229"/>
                <a:gd name="T38" fmla="*/ 86 w 249"/>
                <a:gd name="T39" fmla="*/ 83 h 229"/>
                <a:gd name="T40" fmla="*/ 92 w 249"/>
                <a:gd name="T41" fmla="*/ 84 h 229"/>
                <a:gd name="T42" fmla="*/ 111 w 249"/>
                <a:gd name="T43" fmla="*/ 67 h 229"/>
                <a:gd name="T44" fmla="*/ 113 w 249"/>
                <a:gd name="T45" fmla="*/ 57 h 229"/>
                <a:gd name="T46" fmla="*/ 121 w 249"/>
                <a:gd name="T47" fmla="*/ 54 h 229"/>
                <a:gd name="T48" fmla="*/ 136 w 249"/>
                <a:gd name="T49" fmla="*/ 58 h 229"/>
                <a:gd name="T50" fmla="*/ 146 w 249"/>
                <a:gd name="T51" fmla="*/ 51 h 229"/>
                <a:gd name="T52" fmla="*/ 155 w 249"/>
                <a:gd name="T53" fmla="*/ 61 h 229"/>
                <a:gd name="T54" fmla="*/ 163 w 249"/>
                <a:gd name="T55" fmla="*/ 57 h 229"/>
                <a:gd name="T56" fmla="*/ 188 w 249"/>
                <a:gd name="T57" fmla="*/ 44 h 229"/>
                <a:gd name="T58" fmla="*/ 204 w 249"/>
                <a:gd name="T59" fmla="*/ 32 h 229"/>
                <a:gd name="T60" fmla="*/ 212 w 249"/>
                <a:gd name="T61" fmla="*/ 13 h 229"/>
                <a:gd name="T62" fmla="*/ 218 w 249"/>
                <a:gd name="T63" fmla="*/ 3 h 229"/>
                <a:gd name="T64" fmla="*/ 227 w 249"/>
                <a:gd name="T65" fmla="*/ 3 h 229"/>
                <a:gd name="T66" fmla="*/ 240 w 249"/>
                <a:gd name="T67" fmla="*/ 5 h 229"/>
                <a:gd name="T68" fmla="*/ 243 w 249"/>
                <a:gd name="T69" fmla="*/ 16 h 229"/>
                <a:gd name="T70" fmla="*/ 246 w 249"/>
                <a:gd name="T71" fmla="*/ 28 h 229"/>
                <a:gd name="T72" fmla="*/ 247 w 249"/>
                <a:gd name="T73" fmla="*/ 45 h 229"/>
                <a:gd name="T74" fmla="*/ 241 w 249"/>
                <a:gd name="T75" fmla="*/ 54 h 229"/>
                <a:gd name="T76" fmla="*/ 244 w 249"/>
                <a:gd name="T77" fmla="*/ 67 h 229"/>
                <a:gd name="T78" fmla="*/ 224 w 249"/>
                <a:gd name="T79" fmla="*/ 82 h 229"/>
                <a:gd name="T80" fmla="*/ 202 w 249"/>
                <a:gd name="T81" fmla="*/ 92 h 229"/>
                <a:gd name="T82" fmla="*/ 175 w 249"/>
                <a:gd name="T83" fmla="*/ 90 h 229"/>
                <a:gd name="T84" fmla="*/ 150 w 249"/>
                <a:gd name="T85" fmla="*/ 112 h 229"/>
                <a:gd name="T86" fmla="*/ 134 w 249"/>
                <a:gd name="T87" fmla="*/ 128 h 229"/>
                <a:gd name="T88" fmla="*/ 128 w 249"/>
                <a:gd name="T89" fmla="*/ 124 h 229"/>
                <a:gd name="T90" fmla="*/ 123 w 249"/>
                <a:gd name="T91" fmla="*/ 139 h 229"/>
                <a:gd name="T92" fmla="*/ 117 w 249"/>
                <a:gd name="T93" fmla="*/ 144 h 229"/>
                <a:gd name="T94" fmla="*/ 102 w 249"/>
                <a:gd name="T95" fmla="*/ 141 h 229"/>
                <a:gd name="T96" fmla="*/ 102 w 249"/>
                <a:gd name="T97" fmla="*/ 151 h 229"/>
                <a:gd name="T98" fmla="*/ 92 w 249"/>
                <a:gd name="T99" fmla="*/ 154 h 229"/>
                <a:gd name="T100" fmla="*/ 94 w 249"/>
                <a:gd name="T101" fmla="*/ 160 h 229"/>
                <a:gd name="T102" fmla="*/ 86 w 249"/>
                <a:gd name="T103" fmla="*/ 164 h 229"/>
                <a:gd name="T104" fmla="*/ 84 w 249"/>
                <a:gd name="T105" fmla="*/ 177 h 229"/>
                <a:gd name="T106" fmla="*/ 75 w 249"/>
                <a:gd name="T107" fmla="*/ 180 h 229"/>
                <a:gd name="T108" fmla="*/ 68 w 249"/>
                <a:gd name="T109" fmla="*/ 187 h 229"/>
                <a:gd name="T110" fmla="*/ 72 w 249"/>
                <a:gd name="T111" fmla="*/ 197 h 229"/>
                <a:gd name="T112" fmla="*/ 71 w 249"/>
                <a:gd name="T113" fmla="*/ 203 h 229"/>
                <a:gd name="T114" fmla="*/ 58 w 249"/>
                <a:gd name="T115" fmla="*/ 205 h 229"/>
                <a:gd name="T116" fmla="*/ 62 w 249"/>
                <a:gd name="T117" fmla="*/ 21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9" h="229">
                  <a:moveTo>
                    <a:pt x="55" y="229"/>
                  </a:moveTo>
                  <a:lnTo>
                    <a:pt x="55" y="229"/>
                  </a:lnTo>
                  <a:lnTo>
                    <a:pt x="50" y="229"/>
                  </a:lnTo>
                  <a:lnTo>
                    <a:pt x="47" y="228"/>
                  </a:lnTo>
                  <a:lnTo>
                    <a:pt x="44" y="225"/>
                  </a:lnTo>
                  <a:lnTo>
                    <a:pt x="43" y="223"/>
                  </a:lnTo>
                  <a:lnTo>
                    <a:pt x="43" y="223"/>
                  </a:lnTo>
                  <a:lnTo>
                    <a:pt x="42" y="222"/>
                  </a:lnTo>
                  <a:lnTo>
                    <a:pt x="39" y="222"/>
                  </a:lnTo>
                  <a:lnTo>
                    <a:pt x="36" y="221"/>
                  </a:lnTo>
                  <a:lnTo>
                    <a:pt x="34" y="221"/>
                  </a:lnTo>
                  <a:lnTo>
                    <a:pt x="34" y="221"/>
                  </a:lnTo>
                  <a:lnTo>
                    <a:pt x="30" y="218"/>
                  </a:lnTo>
                  <a:lnTo>
                    <a:pt x="24" y="215"/>
                  </a:lnTo>
                  <a:lnTo>
                    <a:pt x="24" y="215"/>
                  </a:lnTo>
                  <a:lnTo>
                    <a:pt x="17" y="215"/>
                  </a:lnTo>
                  <a:lnTo>
                    <a:pt x="13" y="213"/>
                  </a:lnTo>
                  <a:lnTo>
                    <a:pt x="11" y="213"/>
                  </a:lnTo>
                  <a:lnTo>
                    <a:pt x="11" y="213"/>
                  </a:lnTo>
                  <a:lnTo>
                    <a:pt x="13" y="206"/>
                  </a:lnTo>
                  <a:lnTo>
                    <a:pt x="13" y="202"/>
                  </a:lnTo>
                  <a:lnTo>
                    <a:pt x="13" y="200"/>
                  </a:lnTo>
                  <a:lnTo>
                    <a:pt x="11" y="200"/>
                  </a:lnTo>
                  <a:lnTo>
                    <a:pt x="11" y="200"/>
                  </a:lnTo>
                  <a:lnTo>
                    <a:pt x="2" y="206"/>
                  </a:lnTo>
                  <a:lnTo>
                    <a:pt x="0" y="208"/>
                  </a:lnTo>
                  <a:lnTo>
                    <a:pt x="0" y="206"/>
                  </a:lnTo>
                  <a:lnTo>
                    <a:pt x="0" y="205"/>
                  </a:lnTo>
                  <a:lnTo>
                    <a:pt x="0" y="205"/>
                  </a:lnTo>
                  <a:lnTo>
                    <a:pt x="5" y="197"/>
                  </a:lnTo>
                  <a:lnTo>
                    <a:pt x="8" y="196"/>
                  </a:lnTo>
                  <a:lnTo>
                    <a:pt x="11" y="195"/>
                  </a:lnTo>
                  <a:lnTo>
                    <a:pt x="11" y="195"/>
                  </a:lnTo>
                  <a:lnTo>
                    <a:pt x="14" y="193"/>
                  </a:lnTo>
                  <a:lnTo>
                    <a:pt x="16" y="192"/>
                  </a:lnTo>
                  <a:lnTo>
                    <a:pt x="16" y="187"/>
                  </a:lnTo>
                  <a:lnTo>
                    <a:pt x="16" y="187"/>
                  </a:lnTo>
                  <a:lnTo>
                    <a:pt x="18" y="183"/>
                  </a:lnTo>
                  <a:lnTo>
                    <a:pt x="23" y="183"/>
                  </a:lnTo>
                  <a:lnTo>
                    <a:pt x="23" y="183"/>
                  </a:lnTo>
                  <a:lnTo>
                    <a:pt x="26" y="183"/>
                  </a:lnTo>
                  <a:lnTo>
                    <a:pt x="29" y="186"/>
                  </a:lnTo>
                  <a:lnTo>
                    <a:pt x="31" y="187"/>
                  </a:lnTo>
                  <a:lnTo>
                    <a:pt x="31" y="187"/>
                  </a:lnTo>
                  <a:lnTo>
                    <a:pt x="33" y="187"/>
                  </a:lnTo>
                  <a:lnTo>
                    <a:pt x="33" y="187"/>
                  </a:lnTo>
                  <a:lnTo>
                    <a:pt x="31" y="184"/>
                  </a:lnTo>
                  <a:lnTo>
                    <a:pt x="30" y="181"/>
                  </a:lnTo>
                  <a:lnTo>
                    <a:pt x="29" y="180"/>
                  </a:lnTo>
                  <a:lnTo>
                    <a:pt x="30" y="177"/>
                  </a:lnTo>
                  <a:lnTo>
                    <a:pt x="30" y="177"/>
                  </a:lnTo>
                  <a:lnTo>
                    <a:pt x="30" y="174"/>
                  </a:lnTo>
                  <a:lnTo>
                    <a:pt x="29" y="171"/>
                  </a:lnTo>
                  <a:lnTo>
                    <a:pt x="27" y="168"/>
                  </a:lnTo>
                  <a:lnTo>
                    <a:pt x="27" y="168"/>
                  </a:lnTo>
                  <a:lnTo>
                    <a:pt x="29" y="167"/>
                  </a:lnTo>
                  <a:lnTo>
                    <a:pt x="29" y="167"/>
                  </a:lnTo>
                  <a:lnTo>
                    <a:pt x="31" y="167"/>
                  </a:lnTo>
                  <a:lnTo>
                    <a:pt x="36" y="167"/>
                  </a:lnTo>
                  <a:lnTo>
                    <a:pt x="37" y="167"/>
                  </a:lnTo>
                  <a:lnTo>
                    <a:pt x="37" y="166"/>
                  </a:lnTo>
                  <a:lnTo>
                    <a:pt x="37" y="166"/>
                  </a:lnTo>
                  <a:lnTo>
                    <a:pt x="33" y="161"/>
                  </a:lnTo>
                  <a:lnTo>
                    <a:pt x="31" y="158"/>
                  </a:lnTo>
                  <a:lnTo>
                    <a:pt x="33" y="157"/>
                  </a:lnTo>
                  <a:lnTo>
                    <a:pt x="33" y="157"/>
                  </a:lnTo>
                  <a:lnTo>
                    <a:pt x="37" y="155"/>
                  </a:lnTo>
                  <a:lnTo>
                    <a:pt x="40" y="155"/>
                  </a:lnTo>
                  <a:lnTo>
                    <a:pt x="42" y="154"/>
                  </a:lnTo>
                  <a:lnTo>
                    <a:pt x="42" y="154"/>
                  </a:lnTo>
                  <a:lnTo>
                    <a:pt x="40" y="152"/>
                  </a:lnTo>
                  <a:lnTo>
                    <a:pt x="37" y="151"/>
                  </a:lnTo>
                  <a:lnTo>
                    <a:pt x="36" y="148"/>
                  </a:lnTo>
                  <a:lnTo>
                    <a:pt x="36" y="147"/>
                  </a:lnTo>
                  <a:lnTo>
                    <a:pt x="36" y="147"/>
                  </a:lnTo>
                  <a:lnTo>
                    <a:pt x="39" y="142"/>
                  </a:lnTo>
                  <a:lnTo>
                    <a:pt x="40" y="139"/>
                  </a:lnTo>
                  <a:lnTo>
                    <a:pt x="39" y="139"/>
                  </a:lnTo>
                  <a:lnTo>
                    <a:pt x="39" y="139"/>
                  </a:lnTo>
                  <a:lnTo>
                    <a:pt x="36" y="138"/>
                  </a:lnTo>
                  <a:lnTo>
                    <a:pt x="34" y="138"/>
                  </a:lnTo>
                  <a:lnTo>
                    <a:pt x="36" y="137"/>
                  </a:lnTo>
                  <a:lnTo>
                    <a:pt x="36" y="137"/>
                  </a:lnTo>
                  <a:lnTo>
                    <a:pt x="37" y="134"/>
                  </a:lnTo>
                  <a:lnTo>
                    <a:pt x="40" y="132"/>
                  </a:lnTo>
                  <a:lnTo>
                    <a:pt x="42" y="132"/>
                  </a:lnTo>
                  <a:lnTo>
                    <a:pt x="42" y="132"/>
                  </a:lnTo>
                  <a:lnTo>
                    <a:pt x="44" y="134"/>
                  </a:lnTo>
                  <a:lnTo>
                    <a:pt x="46" y="134"/>
                  </a:lnTo>
                  <a:lnTo>
                    <a:pt x="47" y="132"/>
                  </a:lnTo>
                  <a:lnTo>
                    <a:pt x="47" y="132"/>
                  </a:lnTo>
                  <a:lnTo>
                    <a:pt x="53" y="124"/>
                  </a:lnTo>
                  <a:lnTo>
                    <a:pt x="56" y="119"/>
                  </a:lnTo>
                  <a:lnTo>
                    <a:pt x="56" y="118"/>
                  </a:lnTo>
                  <a:lnTo>
                    <a:pt x="56" y="118"/>
                  </a:lnTo>
                  <a:lnTo>
                    <a:pt x="56" y="118"/>
                  </a:lnTo>
                  <a:lnTo>
                    <a:pt x="55" y="116"/>
                  </a:lnTo>
                  <a:lnTo>
                    <a:pt x="56" y="115"/>
                  </a:lnTo>
                  <a:lnTo>
                    <a:pt x="62" y="112"/>
                  </a:lnTo>
                  <a:lnTo>
                    <a:pt x="62" y="112"/>
                  </a:lnTo>
                  <a:lnTo>
                    <a:pt x="65" y="112"/>
                  </a:lnTo>
                  <a:lnTo>
                    <a:pt x="66" y="112"/>
                  </a:lnTo>
                  <a:lnTo>
                    <a:pt x="66" y="110"/>
                  </a:lnTo>
                  <a:lnTo>
                    <a:pt x="66" y="110"/>
                  </a:lnTo>
                  <a:lnTo>
                    <a:pt x="66" y="109"/>
                  </a:lnTo>
                  <a:lnTo>
                    <a:pt x="65" y="106"/>
                  </a:lnTo>
                  <a:lnTo>
                    <a:pt x="63" y="105"/>
                  </a:lnTo>
                  <a:lnTo>
                    <a:pt x="66" y="102"/>
                  </a:lnTo>
                  <a:lnTo>
                    <a:pt x="66" y="102"/>
                  </a:lnTo>
                  <a:lnTo>
                    <a:pt x="78" y="96"/>
                  </a:lnTo>
                  <a:lnTo>
                    <a:pt x="78" y="96"/>
                  </a:lnTo>
                  <a:lnTo>
                    <a:pt x="82" y="92"/>
                  </a:lnTo>
                  <a:lnTo>
                    <a:pt x="84" y="90"/>
                  </a:lnTo>
                  <a:lnTo>
                    <a:pt x="84" y="89"/>
                  </a:lnTo>
                  <a:lnTo>
                    <a:pt x="84" y="89"/>
                  </a:lnTo>
                  <a:lnTo>
                    <a:pt x="84" y="84"/>
                  </a:lnTo>
                  <a:lnTo>
                    <a:pt x="84" y="83"/>
                  </a:lnTo>
                  <a:lnTo>
                    <a:pt x="85" y="82"/>
                  </a:lnTo>
                  <a:lnTo>
                    <a:pt x="85" y="82"/>
                  </a:lnTo>
                  <a:lnTo>
                    <a:pt x="86" y="83"/>
                  </a:lnTo>
                  <a:lnTo>
                    <a:pt x="86" y="84"/>
                  </a:lnTo>
                  <a:lnTo>
                    <a:pt x="88" y="86"/>
                  </a:lnTo>
                  <a:lnTo>
                    <a:pt x="89" y="87"/>
                  </a:lnTo>
                  <a:lnTo>
                    <a:pt x="89" y="87"/>
                  </a:lnTo>
                  <a:lnTo>
                    <a:pt x="91" y="86"/>
                  </a:lnTo>
                  <a:lnTo>
                    <a:pt x="92" y="84"/>
                  </a:lnTo>
                  <a:lnTo>
                    <a:pt x="92" y="84"/>
                  </a:lnTo>
                  <a:lnTo>
                    <a:pt x="95" y="83"/>
                  </a:lnTo>
                  <a:lnTo>
                    <a:pt x="95" y="83"/>
                  </a:lnTo>
                  <a:lnTo>
                    <a:pt x="98" y="80"/>
                  </a:lnTo>
                  <a:lnTo>
                    <a:pt x="104" y="76"/>
                  </a:lnTo>
                  <a:lnTo>
                    <a:pt x="111" y="67"/>
                  </a:lnTo>
                  <a:lnTo>
                    <a:pt x="111" y="67"/>
                  </a:lnTo>
                  <a:lnTo>
                    <a:pt x="115" y="63"/>
                  </a:lnTo>
                  <a:lnTo>
                    <a:pt x="115" y="61"/>
                  </a:lnTo>
                  <a:lnTo>
                    <a:pt x="115" y="60"/>
                  </a:lnTo>
                  <a:lnTo>
                    <a:pt x="115" y="60"/>
                  </a:lnTo>
                  <a:lnTo>
                    <a:pt x="113" y="57"/>
                  </a:lnTo>
                  <a:lnTo>
                    <a:pt x="113" y="55"/>
                  </a:lnTo>
                  <a:lnTo>
                    <a:pt x="115" y="55"/>
                  </a:lnTo>
                  <a:lnTo>
                    <a:pt x="115" y="55"/>
                  </a:lnTo>
                  <a:lnTo>
                    <a:pt x="120" y="55"/>
                  </a:lnTo>
                  <a:lnTo>
                    <a:pt x="121" y="54"/>
                  </a:lnTo>
                  <a:lnTo>
                    <a:pt x="121" y="54"/>
                  </a:lnTo>
                  <a:lnTo>
                    <a:pt x="126" y="51"/>
                  </a:lnTo>
                  <a:lnTo>
                    <a:pt x="127" y="50"/>
                  </a:lnTo>
                  <a:lnTo>
                    <a:pt x="128" y="51"/>
                  </a:lnTo>
                  <a:lnTo>
                    <a:pt x="128" y="51"/>
                  </a:lnTo>
                  <a:lnTo>
                    <a:pt x="133" y="55"/>
                  </a:lnTo>
                  <a:lnTo>
                    <a:pt x="136" y="58"/>
                  </a:lnTo>
                  <a:lnTo>
                    <a:pt x="139" y="58"/>
                  </a:lnTo>
                  <a:lnTo>
                    <a:pt x="139" y="58"/>
                  </a:lnTo>
                  <a:lnTo>
                    <a:pt x="142" y="57"/>
                  </a:lnTo>
                  <a:lnTo>
                    <a:pt x="144" y="55"/>
                  </a:lnTo>
                  <a:lnTo>
                    <a:pt x="144" y="55"/>
                  </a:lnTo>
                  <a:lnTo>
                    <a:pt x="146" y="51"/>
                  </a:lnTo>
                  <a:lnTo>
                    <a:pt x="147" y="50"/>
                  </a:lnTo>
                  <a:lnTo>
                    <a:pt x="147" y="51"/>
                  </a:lnTo>
                  <a:lnTo>
                    <a:pt x="147" y="51"/>
                  </a:lnTo>
                  <a:lnTo>
                    <a:pt x="150" y="58"/>
                  </a:lnTo>
                  <a:lnTo>
                    <a:pt x="152" y="60"/>
                  </a:lnTo>
                  <a:lnTo>
                    <a:pt x="155" y="61"/>
                  </a:lnTo>
                  <a:lnTo>
                    <a:pt x="155" y="61"/>
                  </a:lnTo>
                  <a:lnTo>
                    <a:pt x="156" y="60"/>
                  </a:lnTo>
                  <a:lnTo>
                    <a:pt x="157" y="58"/>
                  </a:lnTo>
                  <a:lnTo>
                    <a:pt x="159" y="57"/>
                  </a:lnTo>
                  <a:lnTo>
                    <a:pt x="163" y="57"/>
                  </a:lnTo>
                  <a:lnTo>
                    <a:pt x="163" y="57"/>
                  </a:lnTo>
                  <a:lnTo>
                    <a:pt x="169" y="57"/>
                  </a:lnTo>
                  <a:lnTo>
                    <a:pt x="175" y="55"/>
                  </a:lnTo>
                  <a:lnTo>
                    <a:pt x="179" y="53"/>
                  </a:lnTo>
                  <a:lnTo>
                    <a:pt x="184" y="50"/>
                  </a:lnTo>
                  <a:lnTo>
                    <a:pt x="184" y="50"/>
                  </a:lnTo>
                  <a:lnTo>
                    <a:pt x="188" y="44"/>
                  </a:lnTo>
                  <a:lnTo>
                    <a:pt x="191" y="42"/>
                  </a:lnTo>
                  <a:lnTo>
                    <a:pt x="194" y="41"/>
                  </a:lnTo>
                  <a:lnTo>
                    <a:pt x="194" y="41"/>
                  </a:lnTo>
                  <a:lnTo>
                    <a:pt x="197" y="40"/>
                  </a:lnTo>
                  <a:lnTo>
                    <a:pt x="201" y="37"/>
                  </a:lnTo>
                  <a:lnTo>
                    <a:pt x="204" y="32"/>
                  </a:lnTo>
                  <a:lnTo>
                    <a:pt x="205" y="28"/>
                  </a:lnTo>
                  <a:lnTo>
                    <a:pt x="205" y="28"/>
                  </a:lnTo>
                  <a:lnTo>
                    <a:pt x="207" y="24"/>
                  </a:lnTo>
                  <a:lnTo>
                    <a:pt x="210" y="21"/>
                  </a:lnTo>
                  <a:lnTo>
                    <a:pt x="211" y="16"/>
                  </a:lnTo>
                  <a:lnTo>
                    <a:pt x="212" y="13"/>
                  </a:lnTo>
                  <a:lnTo>
                    <a:pt x="212" y="13"/>
                  </a:lnTo>
                  <a:lnTo>
                    <a:pt x="212" y="9"/>
                  </a:lnTo>
                  <a:lnTo>
                    <a:pt x="211" y="6"/>
                  </a:lnTo>
                  <a:lnTo>
                    <a:pt x="212" y="5"/>
                  </a:lnTo>
                  <a:lnTo>
                    <a:pt x="212" y="5"/>
                  </a:lnTo>
                  <a:lnTo>
                    <a:pt x="218" y="3"/>
                  </a:lnTo>
                  <a:lnTo>
                    <a:pt x="221" y="2"/>
                  </a:lnTo>
                  <a:lnTo>
                    <a:pt x="223" y="2"/>
                  </a:lnTo>
                  <a:lnTo>
                    <a:pt x="223" y="2"/>
                  </a:lnTo>
                  <a:lnTo>
                    <a:pt x="224" y="5"/>
                  </a:lnTo>
                  <a:lnTo>
                    <a:pt x="226" y="5"/>
                  </a:lnTo>
                  <a:lnTo>
                    <a:pt x="227" y="3"/>
                  </a:lnTo>
                  <a:lnTo>
                    <a:pt x="227" y="3"/>
                  </a:lnTo>
                  <a:lnTo>
                    <a:pt x="228" y="2"/>
                  </a:lnTo>
                  <a:lnTo>
                    <a:pt x="230" y="0"/>
                  </a:lnTo>
                  <a:lnTo>
                    <a:pt x="233" y="2"/>
                  </a:lnTo>
                  <a:lnTo>
                    <a:pt x="233" y="2"/>
                  </a:lnTo>
                  <a:lnTo>
                    <a:pt x="240" y="5"/>
                  </a:lnTo>
                  <a:lnTo>
                    <a:pt x="241" y="6"/>
                  </a:lnTo>
                  <a:lnTo>
                    <a:pt x="241" y="8"/>
                  </a:lnTo>
                  <a:lnTo>
                    <a:pt x="241" y="8"/>
                  </a:lnTo>
                  <a:lnTo>
                    <a:pt x="241" y="12"/>
                  </a:lnTo>
                  <a:lnTo>
                    <a:pt x="241" y="13"/>
                  </a:lnTo>
                  <a:lnTo>
                    <a:pt x="243" y="16"/>
                  </a:lnTo>
                  <a:lnTo>
                    <a:pt x="243" y="16"/>
                  </a:lnTo>
                  <a:lnTo>
                    <a:pt x="247" y="21"/>
                  </a:lnTo>
                  <a:lnTo>
                    <a:pt x="249" y="24"/>
                  </a:lnTo>
                  <a:lnTo>
                    <a:pt x="249" y="25"/>
                  </a:lnTo>
                  <a:lnTo>
                    <a:pt x="249" y="25"/>
                  </a:lnTo>
                  <a:lnTo>
                    <a:pt x="246" y="28"/>
                  </a:lnTo>
                  <a:lnTo>
                    <a:pt x="244" y="29"/>
                  </a:lnTo>
                  <a:lnTo>
                    <a:pt x="244" y="31"/>
                  </a:lnTo>
                  <a:lnTo>
                    <a:pt x="244" y="31"/>
                  </a:lnTo>
                  <a:lnTo>
                    <a:pt x="244" y="38"/>
                  </a:lnTo>
                  <a:lnTo>
                    <a:pt x="246" y="42"/>
                  </a:lnTo>
                  <a:lnTo>
                    <a:pt x="247" y="45"/>
                  </a:lnTo>
                  <a:lnTo>
                    <a:pt x="247" y="45"/>
                  </a:lnTo>
                  <a:lnTo>
                    <a:pt x="247" y="47"/>
                  </a:lnTo>
                  <a:lnTo>
                    <a:pt x="247" y="47"/>
                  </a:lnTo>
                  <a:lnTo>
                    <a:pt x="244" y="50"/>
                  </a:lnTo>
                  <a:lnTo>
                    <a:pt x="244" y="50"/>
                  </a:lnTo>
                  <a:lnTo>
                    <a:pt x="241" y="54"/>
                  </a:lnTo>
                  <a:lnTo>
                    <a:pt x="240" y="60"/>
                  </a:lnTo>
                  <a:lnTo>
                    <a:pt x="240" y="60"/>
                  </a:lnTo>
                  <a:lnTo>
                    <a:pt x="241" y="64"/>
                  </a:lnTo>
                  <a:lnTo>
                    <a:pt x="243" y="66"/>
                  </a:lnTo>
                  <a:lnTo>
                    <a:pt x="244" y="67"/>
                  </a:lnTo>
                  <a:lnTo>
                    <a:pt x="244" y="67"/>
                  </a:lnTo>
                  <a:lnTo>
                    <a:pt x="243" y="68"/>
                  </a:lnTo>
                  <a:lnTo>
                    <a:pt x="237" y="73"/>
                  </a:lnTo>
                  <a:lnTo>
                    <a:pt x="237" y="73"/>
                  </a:lnTo>
                  <a:lnTo>
                    <a:pt x="231" y="76"/>
                  </a:lnTo>
                  <a:lnTo>
                    <a:pt x="224" y="82"/>
                  </a:lnTo>
                  <a:lnTo>
                    <a:pt x="224" y="82"/>
                  </a:lnTo>
                  <a:lnTo>
                    <a:pt x="221" y="84"/>
                  </a:lnTo>
                  <a:lnTo>
                    <a:pt x="217" y="89"/>
                  </a:lnTo>
                  <a:lnTo>
                    <a:pt x="217" y="89"/>
                  </a:lnTo>
                  <a:lnTo>
                    <a:pt x="210" y="92"/>
                  </a:lnTo>
                  <a:lnTo>
                    <a:pt x="205" y="92"/>
                  </a:lnTo>
                  <a:lnTo>
                    <a:pt x="202" y="92"/>
                  </a:lnTo>
                  <a:lnTo>
                    <a:pt x="202" y="92"/>
                  </a:lnTo>
                  <a:lnTo>
                    <a:pt x="194" y="89"/>
                  </a:lnTo>
                  <a:lnTo>
                    <a:pt x="186" y="86"/>
                  </a:lnTo>
                  <a:lnTo>
                    <a:pt x="186" y="86"/>
                  </a:lnTo>
                  <a:lnTo>
                    <a:pt x="179" y="89"/>
                  </a:lnTo>
                  <a:lnTo>
                    <a:pt x="175" y="90"/>
                  </a:lnTo>
                  <a:lnTo>
                    <a:pt x="172" y="95"/>
                  </a:lnTo>
                  <a:lnTo>
                    <a:pt x="172" y="95"/>
                  </a:lnTo>
                  <a:lnTo>
                    <a:pt x="166" y="102"/>
                  </a:lnTo>
                  <a:lnTo>
                    <a:pt x="159" y="106"/>
                  </a:lnTo>
                  <a:lnTo>
                    <a:pt x="159" y="106"/>
                  </a:lnTo>
                  <a:lnTo>
                    <a:pt x="150" y="112"/>
                  </a:lnTo>
                  <a:lnTo>
                    <a:pt x="143" y="119"/>
                  </a:lnTo>
                  <a:lnTo>
                    <a:pt x="143" y="119"/>
                  </a:lnTo>
                  <a:lnTo>
                    <a:pt x="139" y="122"/>
                  </a:lnTo>
                  <a:lnTo>
                    <a:pt x="139" y="122"/>
                  </a:lnTo>
                  <a:lnTo>
                    <a:pt x="136" y="126"/>
                  </a:lnTo>
                  <a:lnTo>
                    <a:pt x="134" y="128"/>
                  </a:lnTo>
                  <a:lnTo>
                    <a:pt x="133" y="126"/>
                  </a:lnTo>
                  <a:lnTo>
                    <a:pt x="133" y="126"/>
                  </a:lnTo>
                  <a:lnTo>
                    <a:pt x="131" y="124"/>
                  </a:lnTo>
                  <a:lnTo>
                    <a:pt x="130" y="124"/>
                  </a:lnTo>
                  <a:lnTo>
                    <a:pt x="128" y="124"/>
                  </a:lnTo>
                  <a:lnTo>
                    <a:pt x="128" y="124"/>
                  </a:lnTo>
                  <a:lnTo>
                    <a:pt x="128" y="128"/>
                  </a:lnTo>
                  <a:lnTo>
                    <a:pt x="127" y="132"/>
                  </a:lnTo>
                  <a:lnTo>
                    <a:pt x="126" y="137"/>
                  </a:lnTo>
                  <a:lnTo>
                    <a:pt x="124" y="139"/>
                  </a:lnTo>
                  <a:lnTo>
                    <a:pt x="124" y="139"/>
                  </a:lnTo>
                  <a:lnTo>
                    <a:pt x="123" y="139"/>
                  </a:lnTo>
                  <a:lnTo>
                    <a:pt x="121" y="139"/>
                  </a:lnTo>
                  <a:lnTo>
                    <a:pt x="120" y="138"/>
                  </a:lnTo>
                  <a:lnTo>
                    <a:pt x="118" y="139"/>
                  </a:lnTo>
                  <a:lnTo>
                    <a:pt x="118" y="139"/>
                  </a:lnTo>
                  <a:lnTo>
                    <a:pt x="118" y="142"/>
                  </a:lnTo>
                  <a:lnTo>
                    <a:pt x="117" y="144"/>
                  </a:lnTo>
                  <a:lnTo>
                    <a:pt x="114" y="144"/>
                  </a:lnTo>
                  <a:lnTo>
                    <a:pt x="114" y="144"/>
                  </a:lnTo>
                  <a:lnTo>
                    <a:pt x="107" y="141"/>
                  </a:lnTo>
                  <a:lnTo>
                    <a:pt x="104" y="139"/>
                  </a:lnTo>
                  <a:lnTo>
                    <a:pt x="102" y="139"/>
                  </a:lnTo>
                  <a:lnTo>
                    <a:pt x="102" y="141"/>
                  </a:lnTo>
                  <a:lnTo>
                    <a:pt x="102" y="141"/>
                  </a:lnTo>
                  <a:lnTo>
                    <a:pt x="104" y="145"/>
                  </a:lnTo>
                  <a:lnTo>
                    <a:pt x="105" y="148"/>
                  </a:lnTo>
                  <a:lnTo>
                    <a:pt x="104" y="150"/>
                  </a:lnTo>
                  <a:lnTo>
                    <a:pt x="104" y="150"/>
                  </a:lnTo>
                  <a:lnTo>
                    <a:pt x="102" y="151"/>
                  </a:lnTo>
                  <a:lnTo>
                    <a:pt x="101" y="151"/>
                  </a:lnTo>
                  <a:lnTo>
                    <a:pt x="98" y="151"/>
                  </a:lnTo>
                  <a:lnTo>
                    <a:pt x="98" y="151"/>
                  </a:lnTo>
                  <a:lnTo>
                    <a:pt x="95" y="152"/>
                  </a:lnTo>
                  <a:lnTo>
                    <a:pt x="92" y="154"/>
                  </a:lnTo>
                  <a:lnTo>
                    <a:pt x="92" y="154"/>
                  </a:lnTo>
                  <a:lnTo>
                    <a:pt x="89" y="155"/>
                  </a:lnTo>
                  <a:lnTo>
                    <a:pt x="88" y="157"/>
                  </a:lnTo>
                  <a:lnTo>
                    <a:pt x="88" y="157"/>
                  </a:lnTo>
                  <a:lnTo>
                    <a:pt x="89" y="158"/>
                  </a:lnTo>
                  <a:lnTo>
                    <a:pt x="91" y="160"/>
                  </a:lnTo>
                  <a:lnTo>
                    <a:pt x="94" y="160"/>
                  </a:lnTo>
                  <a:lnTo>
                    <a:pt x="94" y="161"/>
                  </a:lnTo>
                  <a:lnTo>
                    <a:pt x="94" y="161"/>
                  </a:lnTo>
                  <a:lnTo>
                    <a:pt x="94" y="163"/>
                  </a:lnTo>
                  <a:lnTo>
                    <a:pt x="91" y="163"/>
                  </a:lnTo>
                  <a:lnTo>
                    <a:pt x="86" y="164"/>
                  </a:lnTo>
                  <a:lnTo>
                    <a:pt x="86" y="164"/>
                  </a:lnTo>
                  <a:lnTo>
                    <a:pt x="85" y="164"/>
                  </a:lnTo>
                  <a:lnTo>
                    <a:pt x="85" y="167"/>
                  </a:lnTo>
                  <a:lnTo>
                    <a:pt x="86" y="174"/>
                  </a:lnTo>
                  <a:lnTo>
                    <a:pt x="86" y="174"/>
                  </a:lnTo>
                  <a:lnTo>
                    <a:pt x="85" y="176"/>
                  </a:lnTo>
                  <a:lnTo>
                    <a:pt x="84" y="177"/>
                  </a:lnTo>
                  <a:lnTo>
                    <a:pt x="81" y="179"/>
                  </a:lnTo>
                  <a:lnTo>
                    <a:pt x="81" y="179"/>
                  </a:lnTo>
                  <a:lnTo>
                    <a:pt x="76" y="179"/>
                  </a:lnTo>
                  <a:lnTo>
                    <a:pt x="75" y="179"/>
                  </a:lnTo>
                  <a:lnTo>
                    <a:pt x="75" y="180"/>
                  </a:lnTo>
                  <a:lnTo>
                    <a:pt x="75" y="180"/>
                  </a:lnTo>
                  <a:lnTo>
                    <a:pt x="78" y="183"/>
                  </a:lnTo>
                  <a:lnTo>
                    <a:pt x="78" y="184"/>
                  </a:lnTo>
                  <a:lnTo>
                    <a:pt x="76" y="186"/>
                  </a:lnTo>
                  <a:lnTo>
                    <a:pt x="76" y="186"/>
                  </a:lnTo>
                  <a:lnTo>
                    <a:pt x="71" y="186"/>
                  </a:lnTo>
                  <a:lnTo>
                    <a:pt x="68" y="187"/>
                  </a:lnTo>
                  <a:lnTo>
                    <a:pt x="69" y="189"/>
                  </a:lnTo>
                  <a:lnTo>
                    <a:pt x="69" y="189"/>
                  </a:lnTo>
                  <a:lnTo>
                    <a:pt x="72" y="193"/>
                  </a:lnTo>
                  <a:lnTo>
                    <a:pt x="73" y="197"/>
                  </a:lnTo>
                  <a:lnTo>
                    <a:pt x="73" y="197"/>
                  </a:lnTo>
                  <a:lnTo>
                    <a:pt x="72" y="197"/>
                  </a:lnTo>
                  <a:lnTo>
                    <a:pt x="71" y="197"/>
                  </a:lnTo>
                  <a:lnTo>
                    <a:pt x="69" y="196"/>
                  </a:lnTo>
                  <a:lnTo>
                    <a:pt x="68" y="197"/>
                  </a:lnTo>
                  <a:lnTo>
                    <a:pt x="68" y="197"/>
                  </a:lnTo>
                  <a:lnTo>
                    <a:pt x="69" y="202"/>
                  </a:lnTo>
                  <a:lnTo>
                    <a:pt x="71" y="203"/>
                  </a:lnTo>
                  <a:lnTo>
                    <a:pt x="71" y="205"/>
                  </a:lnTo>
                  <a:lnTo>
                    <a:pt x="71" y="205"/>
                  </a:lnTo>
                  <a:lnTo>
                    <a:pt x="68" y="206"/>
                  </a:lnTo>
                  <a:lnTo>
                    <a:pt x="63" y="206"/>
                  </a:lnTo>
                  <a:lnTo>
                    <a:pt x="58" y="205"/>
                  </a:lnTo>
                  <a:lnTo>
                    <a:pt x="58" y="205"/>
                  </a:lnTo>
                  <a:lnTo>
                    <a:pt x="58" y="206"/>
                  </a:lnTo>
                  <a:lnTo>
                    <a:pt x="59" y="208"/>
                  </a:lnTo>
                  <a:lnTo>
                    <a:pt x="62" y="210"/>
                  </a:lnTo>
                  <a:lnTo>
                    <a:pt x="62" y="210"/>
                  </a:lnTo>
                  <a:lnTo>
                    <a:pt x="63" y="212"/>
                  </a:lnTo>
                  <a:lnTo>
                    <a:pt x="62" y="216"/>
                  </a:lnTo>
                  <a:lnTo>
                    <a:pt x="60" y="222"/>
                  </a:lnTo>
                  <a:lnTo>
                    <a:pt x="60" y="222"/>
                  </a:lnTo>
                  <a:lnTo>
                    <a:pt x="59" y="226"/>
                  </a:lnTo>
                  <a:lnTo>
                    <a:pt x="56" y="228"/>
                  </a:lnTo>
                  <a:lnTo>
                    <a:pt x="55" y="229"/>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16" name="Freeform 1488"/>
            <p:cNvSpPr>
              <a:spLocks/>
            </p:cNvSpPr>
            <p:nvPr/>
          </p:nvSpPr>
          <p:spPr bwMode="auto">
            <a:xfrm>
              <a:off x="5670551" y="1591104"/>
              <a:ext cx="395288" cy="363538"/>
            </a:xfrm>
            <a:custGeom>
              <a:avLst/>
              <a:gdLst>
                <a:gd name="T0" fmla="*/ 43 w 249"/>
                <a:gd name="T1" fmla="*/ 223 h 229"/>
                <a:gd name="T2" fmla="*/ 34 w 249"/>
                <a:gd name="T3" fmla="*/ 221 h 229"/>
                <a:gd name="T4" fmla="*/ 11 w 249"/>
                <a:gd name="T5" fmla="*/ 213 h 229"/>
                <a:gd name="T6" fmla="*/ 11 w 249"/>
                <a:gd name="T7" fmla="*/ 200 h 229"/>
                <a:gd name="T8" fmla="*/ 5 w 249"/>
                <a:gd name="T9" fmla="*/ 197 h 229"/>
                <a:gd name="T10" fmla="*/ 16 w 249"/>
                <a:gd name="T11" fmla="*/ 187 h 229"/>
                <a:gd name="T12" fmla="*/ 29 w 249"/>
                <a:gd name="T13" fmla="*/ 186 h 229"/>
                <a:gd name="T14" fmla="*/ 30 w 249"/>
                <a:gd name="T15" fmla="*/ 181 h 229"/>
                <a:gd name="T16" fmla="*/ 27 w 249"/>
                <a:gd name="T17" fmla="*/ 168 h 229"/>
                <a:gd name="T18" fmla="*/ 37 w 249"/>
                <a:gd name="T19" fmla="*/ 167 h 229"/>
                <a:gd name="T20" fmla="*/ 33 w 249"/>
                <a:gd name="T21" fmla="*/ 157 h 229"/>
                <a:gd name="T22" fmla="*/ 37 w 249"/>
                <a:gd name="T23" fmla="*/ 151 h 229"/>
                <a:gd name="T24" fmla="*/ 39 w 249"/>
                <a:gd name="T25" fmla="*/ 139 h 229"/>
                <a:gd name="T26" fmla="*/ 37 w 249"/>
                <a:gd name="T27" fmla="*/ 134 h 229"/>
                <a:gd name="T28" fmla="*/ 47 w 249"/>
                <a:gd name="T29" fmla="*/ 132 h 229"/>
                <a:gd name="T30" fmla="*/ 56 w 249"/>
                <a:gd name="T31" fmla="*/ 118 h 229"/>
                <a:gd name="T32" fmla="*/ 66 w 249"/>
                <a:gd name="T33" fmla="*/ 112 h 229"/>
                <a:gd name="T34" fmla="*/ 66 w 249"/>
                <a:gd name="T35" fmla="*/ 102 h 229"/>
                <a:gd name="T36" fmla="*/ 84 w 249"/>
                <a:gd name="T37" fmla="*/ 89 h 229"/>
                <a:gd name="T38" fmla="*/ 86 w 249"/>
                <a:gd name="T39" fmla="*/ 83 h 229"/>
                <a:gd name="T40" fmla="*/ 92 w 249"/>
                <a:gd name="T41" fmla="*/ 84 h 229"/>
                <a:gd name="T42" fmla="*/ 111 w 249"/>
                <a:gd name="T43" fmla="*/ 67 h 229"/>
                <a:gd name="T44" fmla="*/ 113 w 249"/>
                <a:gd name="T45" fmla="*/ 57 h 229"/>
                <a:gd name="T46" fmla="*/ 121 w 249"/>
                <a:gd name="T47" fmla="*/ 54 h 229"/>
                <a:gd name="T48" fmla="*/ 136 w 249"/>
                <a:gd name="T49" fmla="*/ 58 h 229"/>
                <a:gd name="T50" fmla="*/ 146 w 249"/>
                <a:gd name="T51" fmla="*/ 51 h 229"/>
                <a:gd name="T52" fmla="*/ 155 w 249"/>
                <a:gd name="T53" fmla="*/ 61 h 229"/>
                <a:gd name="T54" fmla="*/ 163 w 249"/>
                <a:gd name="T55" fmla="*/ 57 h 229"/>
                <a:gd name="T56" fmla="*/ 188 w 249"/>
                <a:gd name="T57" fmla="*/ 44 h 229"/>
                <a:gd name="T58" fmla="*/ 204 w 249"/>
                <a:gd name="T59" fmla="*/ 32 h 229"/>
                <a:gd name="T60" fmla="*/ 212 w 249"/>
                <a:gd name="T61" fmla="*/ 13 h 229"/>
                <a:gd name="T62" fmla="*/ 218 w 249"/>
                <a:gd name="T63" fmla="*/ 3 h 229"/>
                <a:gd name="T64" fmla="*/ 227 w 249"/>
                <a:gd name="T65" fmla="*/ 3 h 229"/>
                <a:gd name="T66" fmla="*/ 240 w 249"/>
                <a:gd name="T67" fmla="*/ 5 h 229"/>
                <a:gd name="T68" fmla="*/ 243 w 249"/>
                <a:gd name="T69" fmla="*/ 16 h 229"/>
                <a:gd name="T70" fmla="*/ 246 w 249"/>
                <a:gd name="T71" fmla="*/ 28 h 229"/>
                <a:gd name="T72" fmla="*/ 247 w 249"/>
                <a:gd name="T73" fmla="*/ 45 h 229"/>
                <a:gd name="T74" fmla="*/ 241 w 249"/>
                <a:gd name="T75" fmla="*/ 54 h 229"/>
                <a:gd name="T76" fmla="*/ 244 w 249"/>
                <a:gd name="T77" fmla="*/ 67 h 229"/>
                <a:gd name="T78" fmla="*/ 224 w 249"/>
                <a:gd name="T79" fmla="*/ 82 h 229"/>
                <a:gd name="T80" fmla="*/ 202 w 249"/>
                <a:gd name="T81" fmla="*/ 92 h 229"/>
                <a:gd name="T82" fmla="*/ 175 w 249"/>
                <a:gd name="T83" fmla="*/ 90 h 229"/>
                <a:gd name="T84" fmla="*/ 150 w 249"/>
                <a:gd name="T85" fmla="*/ 112 h 229"/>
                <a:gd name="T86" fmla="*/ 134 w 249"/>
                <a:gd name="T87" fmla="*/ 128 h 229"/>
                <a:gd name="T88" fmla="*/ 128 w 249"/>
                <a:gd name="T89" fmla="*/ 124 h 229"/>
                <a:gd name="T90" fmla="*/ 123 w 249"/>
                <a:gd name="T91" fmla="*/ 139 h 229"/>
                <a:gd name="T92" fmla="*/ 117 w 249"/>
                <a:gd name="T93" fmla="*/ 144 h 229"/>
                <a:gd name="T94" fmla="*/ 102 w 249"/>
                <a:gd name="T95" fmla="*/ 141 h 229"/>
                <a:gd name="T96" fmla="*/ 102 w 249"/>
                <a:gd name="T97" fmla="*/ 151 h 229"/>
                <a:gd name="T98" fmla="*/ 92 w 249"/>
                <a:gd name="T99" fmla="*/ 154 h 229"/>
                <a:gd name="T100" fmla="*/ 94 w 249"/>
                <a:gd name="T101" fmla="*/ 160 h 229"/>
                <a:gd name="T102" fmla="*/ 86 w 249"/>
                <a:gd name="T103" fmla="*/ 164 h 229"/>
                <a:gd name="T104" fmla="*/ 84 w 249"/>
                <a:gd name="T105" fmla="*/ 177 h 229"/>
                <a:gd name="T106" fmla="*/ 75 w 249"/>
                <a:gd name="T107" fmla="*/ 180 h 229"/>
                <a:gd name="T108" fmla="*/ 68 w 249"/>
                <a:gd name="T109" fmla="*/ 187 h 229"/>
                <a:gd name="T110" fmla="*/ 72 w 249"/>
                <a:gd name="T111" fmla="*/ 197 h 229"/>
                <a:gd name="T112" fmla="*/ 71 w 249"/>
                <a:gd name="T113" fmla="*/ 203 h 229"/>
                <a:gd name="T114" fmla="*/ 58 w 249"/>
                <a:gd name="T115" fmla="*/ 205 h 229"/>
                <a:gd name="T116" fmla="*/ 62 w 249"/>
                <a:gd name="T117" fmla="*/ 21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9" h="229">
                  <a:moveTo>
                    <a:pt x="55" y="229"/>
                  </a:moveTo>
                  <a:lnTo>
                    <a:pt x="55" y="229"/>
                  </a:lnTo>
                  <a:lnTo>
                    <a:pt x="50" y="229"/>
                  </a:lnTo>
                  <a:lnTo>
                    <a:pt x="47" y="228"/>
                  </a:lnTo>
                  <a:lnTo>
                    <a:pt x="44" y="225"/>
                  </a:lnTo>
                  <a:lnTo>
                    <a:pt x="43" y="223"/>
                  </a:lnTo>
                  <a:lnTo>
                    <a:pt x="43" y="223"/>
                  </a:lnTo>
                  <a:lnTo>
                    <a:pt x="42" y="222"/>
                  </a:lnTo>
                  <a:lnTo>
                    <a:pt x="39" y="222"/>
                  </a:lnTo>
                  <a:lnTo>
                    <a:pt x="36" y="221"/>
                  </a:lnTo>
                  <a:lnTo>
                    <a:pt x="34" y="221"/>
                  </a:lnTo>
                  <a:lnTo>
                    <a:pt x="34" y="221"/>
                  </a:lnTo>
                  <a:lnTo>
                    <a:pt x="30" y="218"/>
                  </a:lnTo>
                  <a:lnTo>
                    <a:pt x="24" y="215"/>
                  </a:lnTo>
                  <a:lnTo>
                    <a:pt x="24" y="215"/>
                  </a:lnTo>
                  <a:lnTo>
                    <a:pt x="17" y="215"/>
                  </a:lnTo>
                  <a:lnTo>
                    <a:pt x="13" y="213"/>
                  </a:lnTo>
                  <a:lnTo>
                    <a:pt x="11" y="213"/>
                  </a:lnTo>
                  <a:lnTo>
                    <a:pt x="11" y="213"/>
                  </a:lnTo>
                  <a:lnTo>
                    <a:pt x="13" y="206"/>
                  </a:lnTo>
                  <a:lnTo>
                    <a:pt x="13" y="202"/>
                  </a:lnTo>
                  <a:lnTo>
                    <a:pt x="13" y="200"/>
                  </a:lnTo>
                  <a:lnTo>
                    <a:pt x="11" y="200"/>
                  </a:lnTo>
                  <a:lnTo>
                    <a:pt x="11" y="200"/>
                  </a:lnTo>
                  <a:lnTo>
                    <a:pt x="2" y="206"/>
                  </a:lnTo>
                  <a:lnTo>
                    <a:pt x="0" y="208"/>
                  </a:lnTo>
                  <a:lnTo>
                    <a:pt x="0" y="206"/>
                  </a:lnTo>
                  <a:lnTo>
                    <a:pt x="0" y="205"/>
                  </a:lnTo>
                  <a:lnTo>
                    <a:pt x="0" y="205"/>
                  </a:lnTo>
                  <a:lnTo>
                    <a:pt x="5" y="197"/>
                  </a:lnTo>
                  <a:lnTo>
                    <a:pt x="8" y="196"/>
                  </a:lnTo>
                  <a:lnTo>
                    <a:pt x="11" y="195"/>
                  </a:lnTo>
                  <a:lnTo>
                    <a:pt x="11" y="195"/>
                  </a:lnTo>
                  <a:lnTo>
                    <a:pt x="14" y="193"/>
                  </a:lnTo>
                  <a:lnTo>
                    <a:pt x="16" y="192"/>
                  </a:lnTo>
                  <a:lnTo>
                    <a:pt x="16" y="187"/>
                  </a:lnTo>
                  <a:lnTo>
                    <a:pt x="16" y="187"/>
                  </a:lnTo>
                  <a:lnTo>
                    <a:pt x="18" y="183"/>
                  </a:lnTo>
                  <a:lnTo>
                    <a:pt x="23" y="183"/>
                  </a:lnTo>
                  <a:lnTo>
                    <a:pt x="23" y="183"/>
                  </a:lnTo>
                  <a:lnTo>
                    <a:pt x="26" y="183"/>
                  </a:lnTo>
                  <a:lnTo>
                    <a:pt x="29" y="186"/>
                  </a:lnTo>
                  <a:lnTo>
                    <a:pt x="31" y="187"/>
                  </a:lnTo>
                  <a:lnTo>
                    <a:pt x="31" y="187"/>
                  </a:lnTo>
                  <a:lnTo>
                    <a:pt x="33" y="187"/>
                  </a:lnTo>
                  <a:lnTo>
                    <a:pt x="33" y="187"/>
                  </a:lnTo>
                  <a:lnTo>
                    <a:pt x="31" y="184"/>
                  </a:lnTo>
                  <a:lnTo>
                    <a:pt x="30" y="181"/>
                  </a:lnTo>
                  <a:lnTo>
                    <a:pt x="29" y="180"/>
                  </a:lnTo>
                  <a:lnTo>
                    <a:pt x="30" y="177"/>
                  </a:lnTo>
                  <a:lnTo>
                    <a:pt x="30" y="177"/>
                  </a:lnTo>
                  <a:lnTo>
                    <a:pt x="30" y="174"/>
                  </a:lnTo>
                  <a:lnTo>
                    <a:pt x="29" y="171"/>
                  </a:lnTo>
                  <a:lnTo>
                    <a:pt x="27" y="168"/>
                  </a:lnTo>
                  <a:lnTo>
                    <a:pt x="27" y="168"/>
                  </a:lnTo>
                  <a:lnTo>
                    <a:pt x="29" y="167"/>
                  </a:lnTo>
                  <a:lnTo>
                    <a:pt x="29" y="167"/>
                  </a:lnTo>
                  <a:lnTo>
                    <a:pt x="31" y="167"/>
                  </a:lnTo>
                  <a:lnTo>
                    <a:pt x="36" y="167"/>
                  </a:lnTo>
                  <a:lnTo>
                    <a:pt x="37" y="167"/>
                  </a:lnTo>
                  <a:lnTo>
                    <a:pt x="37" y="166"/>
                  </a:lnTo>
                  <a:lnTo>
                    <a:pt x="37" y="166"/>
                  </a:lnTo>
                  <a:lnTo>
                    <a:pt x="33" y="161"/>
                  </a:lnTo>
                  <a:lnTo>
                    <a:pt x="31" y="158"/>
                  </a:lnTo>
                  <a:lnTo>
                    <a:pt x="33" y="157"/>
                  </a:lnTo>
                  <a:lnTo>
                    <a:pt x="33" y="157"/>
                  </a:lnTo>
                  <a:lnTo>
                    <a:pt x="37" y="155"/>
                  </a:lnTo>
                  <a:lnTo>
                    <a:pt x="40" y="155"/>
                  </a:lnTo>
                  <a:lnTo>
                    <a:pt x="42" y="154"/>
                  </a:lnTo>
                  <a:lnTo>
                    <a:pt x="42" y="154"/>
                  </a:lnTo>
                  <a:lnTo>
                    <a:pt x="40" y="152"/>
                  </a:lnTo>
                  <a:lnTo>
                    <a:pt x="37" y="151"/>
                  </a:lnTo>
                  <a:lnTo>
                    <a:pt x="36" y="148"/>
                  </a:lnTo>
                  <a:lnTo>
                    <a:pt x="36" y="147"/>
                  </a:lnTo>
                  <a:lnTo>
                    <a:pt x="36" y="147"/>
                  </a:lnTo>
                  <a:lnTo>
                    <a:pt x="39" y="142"/>
                  </a:lnTo>
                  <a:lnTo>
                    <a:pt x="40" y="139"/>
                  </a:lnTo>
                  <a:lnTo>
                    <a:pt x="39" y="139"/>
                  </a:lnTo>
                  <a:lnTo>
                    <a:pt x="39" y="139"/>
                  </a:lnTo>
                  <a:lnTo>
                    <a:pt x="36" y="138"/>
                  </a:lnTo>
                  <a:lnTo>
                    <a:pt x="34" y="138"/>
                  </a:lnTo>
                  <a:lnTo>
                    <a:pt x="36" y="137"/>
                  </a:lnTo>
                  <a:lnTo>
                    <a:pt x="36" y="137"/>
                  </a:lnTo>
                  <a:lnTo>
                    <a:pt x="37" y="134"/>
                  </a:lnTo>
                  <a:lnTo>
                    <a:pt x="40" y="132"/>
                  </a:lnTo>
                  <a:lnTo>
                    <a:pt x="42" y="132"/>
                  </a:lnTo>
                  <a:lnTo>
                    <a:pt x="42" y="132"/>
                  </a:lnTo>
                  <a:lnTo>
                    <a:pt x="44" y="134"/>
                  </a:lnTo>
                  <a:lnTo>
                    <a:pt x="46" y="134"/>
                  </a:lnTo>
                  <a:lnTo>
                    <a:pt x="47" y="132"/>
                  </a:lnTo>
                  <a:lnTo>
                    <a:pt x="47" y="132"/>
                  </a:lnTo>
                  <a:lnTo>
                    <a:pt x="53" y="124"/>
                  </a:lnTo>
                  <a:lnTo>
                    <a:pt x="56" y="119"/>
                  </a:lnTo>
                  <a:lnTo>
                    <a:pt x="56" y="118"/>
                  </a:lnTo>
                  <a:lnTo>
                    <a:pt x="56" y="118"/>
                  </a:lnTo>
                  <a:lnTo>
                    <a:pt x="56" y="118"/>
                  </a:lnTo>
                  <a:lnTo>
                    <a:pt x="55" y="116"/>
                  </a:lnTo>
                  <a:lnTo>
                    <a:pt x="56" y="115"/>
                  </a:lnTo>
                  <a:lnTo>
                    <a:pt x="62" y="112"/>
                  </a:lnTo>
                  <a:lnTo>
                    <a:pt x="62" y="112"/>
                  </a:lnTo>
                  <a:lnTo>
                    <a:pt x="65" y="112"/>
                  </a:lnTo>
                  <a:lnTo>
                    <a:pt x="66" y="112"/>
                  </a:lnTo>
                  <a:lnTo>
                    <a:pt x="66" y="110"/>
                  </a:lnTo>
                  <a:lnTo>
                    <a:pt x="66" y="110"/>
                  </a:lnTo>
                  <a:lnTo>
                    <a:pt x="66" y="109"/>
                  </a:lnTo>
                  <a:lnTo>
                    <a:pt x="65" y="106"/>
                  </a:lnTo>
                  <a:lnTo>
                    <a:pt x="63" y="105"/>
                  </a:lnTo>
                  <a:lnTo>
                    <a:pt x="66" y="102"/>
                  </a:lnTo>
                  <a:lnTo>
                    <a:pt x="66" y="102"/>
                  </a:lnTo>
                  <a:lnTo>
                    <a:pt x="78" y="96"/>
                  </a:lnTo>
                  <a:lnTo>
                    <a:pt x="78" y="96"/>
                  </a:lnTo>
                  <a:lnTo>
                    <a:pt x="82" y="92"/>
                  </a:lnTo>
                  <a:lnTo>
                    <a:pt x="84" y="90"/>
                  </a:lnTo>
                  <a:lnTo>
                    <a:pt x="84" y="89"/>
                  </a:lnTo>
                  <a:lnTo>
                    <a:pt x="84" y="89"/>
                  </a:lnTo>
                  <a:lnTo>
                    <a:pt x="84" y="84"/>
                  </a:lnTo>
                  <a:lnTo>
                    <a:pt x="84" y="83"/>
                  </a:lnTo>
                  <a:lnTo>
                    <a:pt x="85" y="82"/>
                  </a:lnTo>
                  <a:lnTo>
                    <a:pt x="85" y="82"/>
                  </a:lnTo>
                  <a:lnTo>
                    <a:pt x="86" y="83"/>
                  </a:lnTo>
                  <a:lnTo>
                    <a:pt x="86" y="84"/>
                  </a:lnTo>
                  <a:lnTo>
                    <a:pt x="88" y="86"/>
                  </a:lnTo>
                  <a:lnTo>
                    <a:pt x="89" y="87"/>
                  </a:lnTo>
                  <a:lnTo>
                    <a:pt x="89" y="87"/>
                  </a:lnTo>
                  <a:lnTo>
                    <a:pt x="91" y="86"/>
                  </a:lnTo>
                  <a:lnTo>
                    <a:pt x="92" y="84"/>
                  </a:lnTo>
                  <a:lnTo>
                    <a:pt x="92" y="84"/>
                  </a:lnTo>
                  <a:lnTo>
                    <a:pt x="95" y="83"/>
                  </a:lnTo>
                  <a:lnTo>
                    <a:pt x="95" y="83"/>
                  </a:lnTo>
                  <a:lnTo>
                    <a:pt x="98" y="80"/>
                  </a:lnTo>
                  <a:lnTo>
                    <a:pt x="104" y="76"/>
                  </a:lnTo>
                  <a:lnTo>
                    <a:pt x="111" y="67"/>
                  </a:lnTo>
                  <a:lnTo>
                    <a:pt x="111" y="67"/>
                  </a:lnTo>
                  <a:lnTo>
                    <a:pt x="115" y="63"/>
                  </a:lnTo>
                  <a:lnTo>
                    <a:pt x="115" y="61"/>
                  </a:lnTo>
                  <a:lnTo>
                    <a:pt x="115" y="60"/>
                  </a:lnTo>
                  <a:lnTo>
                    <a:pt x="115" y="60"/>
                  </a:lnTo>
                  <a:lnTo>
                    <a:pt x="113" y="57"/>
                  </a:lnTo>
                  <a:lnTo>
                    <a:pt x="113" y="55"/>
                  </a:lnTo>
                  <a:lnTo>
                    <a:pt x="115" y="55"/>
                  </a:lnTo>
                  <a:lnTo>
                    <a:pt x="115" y="55"/>
                  </a:lnTo>
                  <a:lnTo>
                    <a:pt x="120" y="55"/>
                  </a:lnTo>
                  <a:lnTo>
                    <a:pt x="121" y="54"/>
                  </a:lnTo>
                  <a:lnTo>
                    <a:pt x="121" y="54"/>
                  </a:lnTo>
                  <a:lnTo>
                    <a:pt x="126" y="51"/>
                  </a:lnTo>
                  <a:lnTo>
                    <a:pt x="127" y="50"/>
                  </a:lnTo>
                  <a:lnTo>
                    <a:pt x="128" y="51"/>
                  </a:lnTo>
                  <a:lnTo>
                    <a:pt x="128" y="51"/>
                  </a:lnTo>
                  <a:lnTo>
                    <a:pt x="133" y="55"/>
                  </a:lnTo>
                  <a:lnTo>
                    <a:pt x="136" y="58"/>
                  </a:lnTo>
                  <a:lnTo>
                    <a:pt x="139" y="58"/>
                  </a:lnTo>
                  <a:lnTo>
                    <a:pt x="139" y="58"/>
                  </a:lnTo>
                  <a:lnTo>
                    <a:pt x="142" y="57"/>
                  </a:lnTo>
                  <a:lnTo>
                    <a:pt x="144" y="55"/>
                  </a:lnTo>
                  <a:lnTo>
                    <a:pt x="144" y="55"/>
                  </a:lnTo>
                  <a:lnTo>
                    <a:pt x="146" y="51"/>
                  </a:lnTo>
                  <a:lnTo>
                    <a:pt x="147" y="50"/>
                  </a:lnTo>
                  <a:lnTo>
                    <a:pt x="147" y="51"/>
                  </a:lnTo>
                  <a:lnTo>
                    <a:pt x="147" y="51"/>
                  </a:lnTo>
                  <a:lnTo>
                    <a:pt x="150" y="58"/>
                  </a:lnTo>
                  <a:lnTo>
                    <a:pt x="152" y="60"/>
                  </a:lnTo>
                  <a:lnTo>
                    <a:pt x="155" y="61"/>
                  </a:lnTo>
                  <a:lnTo>
                    <a:pt x="155" y="61"/>
                  </a:lnTo>
                  <a:lnTo>
                    <a:pt x="156" y="60"/>
                  </a:lnTo>
                  <a:lnTo>
                    <a:pt x="157" y="58"/>
                  </a:lnTo>
                  <a:lnTo>
                    <a:pt x="159" y="57"/>
                  </a:lnTo>
                  <a:lnTo>
                    <a:pt x="163" y="57"/>
                  </a:lnTo>
                  <a:lnTo>
                    <a:pt x="163" y="57"/>
                  </a:lnTo>
                  <a:lnTo>
                    <a:pt x="169" y="57"/>
                  </a:lnTo>
                  <a:lnTo>
                    <a:pt x="175" y="55"/>
                  </a:lnTo>
                  <a:lnTo>
                    <a:pt x="179" y="53"/>
                  </a:lnTo>
                  <a:lnTo>
                    <a:pt x="184" y="50"/>
                  </a:lnTo>
                  <a:lnTo>
                    <a:pt x="184" y="50"/>
                  </a:lnTo>
                  <a:lnTo>
                    <a:pt x="188" y="44"/>
                  </a:lnTo>
                  <a:lnTo>
                    <a:pt x="191" y="42"/>
                  </a:lnTo>
                  <a:lnTo>
                    <a:pt x="194" y="41"/>
                  </a:lnTo>
                  <a:lnTo>
                    <a:pt x="194" y="41"/>
                  </a:lnTo>
                  <a:lnTo>
                    <a:pt x="197" y="40"/>
                  </a:lnTo>
                  <a:lnTo>
                    <a:pt x="201" y="37"/>
                  </a:lnTo>
                  <a:lnTo>
                    <a:pt x="204" y="32"/>
                  </a:lnTo>
                  <a:lnTo>
                    <a:pt x="205" y="28"/>
                  </a:lnTo>
                  <a:lnTo>
                    <a:pt x="205" y="28"/>
                  </a:lnTo>
                  <a:lnTo>
                    <a:pt x="207" y="24"/>
                  </a:lnTo>
                  <a:lnTo>
                    <a:pt x="210" y="21"/>
                  </a:lnTo>
                  <a:lnTo>
                    <a:pt x="211" y="16"/>
                  </a:lnTo>
                  <a:lnTo>
                    <a:pt x="212" y="13"/>
                  </a:lnTo>
                  <a:lnTo>
                    <a:pt x="212" y="13"/>
                  </a:lnTo>
                  <a:lnTo>
                    <a:pt x="212" y="9"/>
                  </a:lnTo>
                  <a:lnTo>
                    <a:pt x="211" y="6"/>
                  </a:lnTo>
                  <a:lnTo>
                    <a:pt x="212" y="5"/>
                  </a:lnTo>
                  <a:lnTo>
                    <a:pt x="212" y="5"/>
                  </a:lnTo>
                  <a:lnTo>
                    <a:pt x="218" y="3"/>
                  </a:lnTo>
                  <a:lnTo>
                    <a:pt x="221" y="2"/>
                  </a:lnTo>
                  <a:lnTo>
                    <a:pt x="223" y="2"/>
                  </a:lnTo>
                  <a:lnTo>
                    <a:pt x="223" y="2"/>
                  </a:lnTo>
                  <a:lnTo>
                    <a:pt x="224" y="5"/>
                  </a:lnTo>
                  <a:lnTo>
                    <a:pt x="226" y="5"/>
                  </a:lnTo>
                  <a:lnTo>
                    <a:pt x="227" y="3"/>
                  </a:lnTo>
                  <a:lnTo>
                    <a:pt x="227" y="3"/>
                  </a:lnTo>
                  <a:lnTo>
                    <a:pt x="228" y="2"/>
                  </a:lnTo>
                  <a:lnTo>
                    <a:pt x="230" y="0"/>
                  </a:lnTo>
                  <a:lnTo>
                    <a:pt x="233" y="2"/>
                  </a:lnTo>
                  <a:lnTo>
                    <a:pt x="233" y="2"/>
                  </a:lnTo>
                  <a:lnTo>
                    <a:pt x="240" y="5"/>
                  </a:lnTo>
                  <a:lnTo>
                    <a:pt x="241" y="6"/>
                  </a:lnTo>
                  <a:lnTo>
                    <a:pt x="241" y="8"/>
                  </a:lnTo>
                  <a:lnTo>
                    <a:pt x="241" y="8"/>
                  </a:lnTo>
                  <a:lnTo>
                    <a:pt x="241" y="12"/>
                  </a:lnTo>
                  <a:lnTo>
                    <a:pt x="241" y="13"/>
                  </a:lnTo>
                  <a:lnTo>
                    <a:pt x="243" y="16"/>
                  </a:lnTo>
                  <a:lnTo>
                    <a:pt x="243" y="16"/>
                  </a:lnTo>
                  <a:lnTo>
                    <a:pt x="247" y="21"/>
                  </a:lnTo>
                  <a:lnTo>
                    <a:pt x="249" y="24"/>
                  </a:lnTo>
                  <a:lnTo>
                    <a:pt x="249" y="25"/>
                  </a:lnTo>
                  <a:lnTo>
                    <a:pt x="249" y="25"/>
                  </a:lnTo>
                  <a:lnTo>
                    <a:pt x="246" y="28"/>
                  </a:lnTo>
                  <a:lnTo>
                    <a:pt x="244" y="29"/>
                  </a:lnTo>
                  <a:lnTo>
                    <a:pt x="244" y="31"/>
                  </a:lnTo>
                  <a:lnTo>
                    <a:pt x="244" y="31"/>
                  </a:lnTo>
                  <a:lnTo>
                    <a:pt x="244" y="38"/>
                  </a:lnTo>
                  <a:lnTo>
                    <a:pt x="246" y="42"/>
                  </a:lnTo>
                  <a:lnTo>
                    <a:pt x="247" y="45"/>
                  </a:lnTo>
                  <a:lnTo>
                    <a:pt x="247" y="45"/>
                  </a:lnTo>
                  <a:lnTo>
                    <a:pt x="247" y="47"/>
                  </a:lnTo>
                  <a:lnTo>
                    <a:pt x="247" y="47"/>
                  </a:lnTo>
                  <a:lnTo>
                    <a:pt x="244" y="50"/>
                  </a:lnTo>
                  <a:lnTo>
                    <a:pt x="244" y="50"/>
                  </a:lnTo>
                  <a:lnTo>
                    <a:pt x="241" y="54"/>
                  </a:lnTo>
                  <a:lnTo>
                    <a:pt x="240" y="60"/>
                  </a:lnTo>
                  <a:lnTo>
                    <a:pt x="240" y="60"/>
                  </a:lnTo>
                  <a:lnTo>
                    <a:pt x="241" y="64"/>
                  </a:lnTo>
                  <a:lnTo>
                    <a:pt x="243" y="66"/>
                  </a:lnTo>
                  <a:lnTo>
                    <a:pt x="244" y="67"/>
                  </a:lnTo>
                  <a:lnTo>
                    <a:pt x="244" y="67"/>
                  </a:lnTo>
                  <a:lnTo>
                    <a:pt x="243" y="68"/>
                  </a:lnTo>
                  <a:lnTo>
                    <a:pt x="237" y="73"/>
                  </a:lnTo>
                  <a:lnTo>
                    <a:pt x="237" y="73"/>
                  </a:lnTo>
                  <a:lnTo>
                    <a:pt x="231" y="76"/>
                  </a:lnTo>
                  <a:lnTo>
                    <a:pt x="224" y="82"/>
                  </a:lnTo>
                  <a:lnTo>
                    <a:pt x="224" y="82"/>
                  </a:lnTo>
                  <a:lnTo>
                    <a:pt x="221" y="84"/>
                  </a:lnTo>
                  <a:lnTo>
                    <a:pt x="217" y="89"/>
                  </a:lnTo>
                  <a:lnTo>
                    <a:pt x="217" y="89"/>
                  </a:lnTo>
                  <a:lnTo>
                    <a:pt x="210" y="92"/>
                  </a:lnTo>
                  <a:lnTo>
                    <a:pt x="205" y="92"/>
                  </a:lnTo>
                  <a:lnTo>
                    <a:pt x="202" y="92"/>
                  </a:lnTo>
                  <a:lnTo>
                    <a:pt x="202" y="92"/>
                  </a:lnTo>
                  <a:lnTo>
                    <a:pt x="194" y="89"/>
                  </a:lnTo>
                  <a:lnTo>
                    <a:pt x="186" y="86"/>
                  </a:lnTo>
                  <a:lnTo>
                    <a:pt x="186" y="86"/>
                  </a:lnTo>
                  <a:lnTo>
                    <a:pt x="179" y="89"/>
                  </a:lnTo>
                  <a:lnTo>
                    <a:pt x="175" y="90"/>
                  </a:lnTo>
                  <a:lnTo>
                    <a:pt x="172" y="95"/>
                  </a:lnTo>
                  <a:lnTo>
                    <a:pt x="172" y="95"/>
                  </a:lnTo>
                  <a:lnTo>
                    <a:pt x="166" y="102"/>
                  </a:lnTo>
                  <a:lnTo>
                    <a:pt x="159" y="106"/>
                  </a:lnTo>
                  <a:lnTo>
                    <a:pt x="159" y="106"/>
                  </a:lnTo>
                  <a:lnTo>
                    <a:pt x="150" y="112"/>
                  </a:lnTo>
                  <a:lnTo>
                    <a:pt x="143" y="119"/>
                  </a:lnTo>
                  <a:lnTo>
                    <a:pt x="143" y="119"/>
                  </a:lnTo>
                  <a:lnTo>
                    <a:pt x="139" y="122"/>
                  </a:lnTo>
                  <a:lnTo>
                    <a:pt x="139" y="122"/>
                  </a:lnTo>
                  <a:lnTo>
                    <a:pt x="136" y="126"/>
                  </a:lnTo>
                  <a:lnTo>
                    <a:pt x="134" y="128"/>
                  </a:lnTo>
                  <a:lnTo>
                    <a:pt x="133" y="126"/>
                  </a:lnTo>
                  <a:lnTo>
                    <a:pt x="133" y="126"/>
                  </a:lnTo>
                  <a:lnTo>
                    <a:pt x="131" y="124"/>
                  </a:lnTo>
                  <a:lnTo>
                    <a:pt x="130" y="124"/>
                  </a:lnTo>
                  <a:lnTo>
                    <a:pt x="128" y="124"/>
                  </a:lnTo>
                  <a:lnTo>
                    <a:pt x="128" y="124"/>
                  </a:lnTo>
                  <a:lnTo>
                    <a:pt x="128" y="128"/>
                  </a:lnTo>
                  <a:lnTo>
                    <a:pt x="127" y="132"/>
                  </a:lnTo>
                  <a:lnTo>
                    <a:pt x="126" y="137"/>
                  </a:lnTo>
                  <a:lnTo>
                    <a:pt x="124" y="139"/>
                  </a:lnTo>
                  <a:lnTo>
                    <a:pt x="124" y="139"/>
                  </a:lnTo>
                  <a:lnTo>
                    <a:pt x="123" y="139"/>
                  </a:lnTo>
                  <a:lnTo>
                    <a:pt x="121" y="139"/>
                  </a:lnTo>
                  <a:lnTo>
                    <a:pt x="120" y="138"/>
                  </a:lnTo>
                  <a:lnTo>
                    <a:pt x="118" y="139"/>
                  </a:lnTo>
                  <a:lnTo>
                    <a:pt x="118" y="139"/>
                  </a:lnTo>
                  <a:lnTo>
                    <a:pt x="118" y="142"/>
                  </a:lnTo>
                  <a:lnTo>
                    <a:pt x="117" y="144"/>
                  </a:lnTo>
                  <a:lnTo>
                    <a:pt x="114" y="144"/>
                  </a:lnTo>
                  <a:lnTo>
                    <a:pt x="114" y="144"/>
                  </a:lnTo>
                  <a:lnTo>
                    <a:pt x="107" y="141"/>
                  </a:lnTo>
                  <a:lnTo>
                    <a:pt x="104" y="139"/>
                  </a:lnTo>
                  <a:lnTo>
                    <a:pt x="102" y="139"/>
                  </a:lnTo>
                  <a:lnTo>
                    <a:pt x="102" y="141"/>
                  </a:lnTo>
                  <a:lnTo>
                    <a:pt x="102" y="141"/>
                  </a:lnTo>
                  <a:lnTo>
                    <a:pt x="104" y="145"/>
                  </a:lnTo>
                  <a:lnTo>
                    <a:pt x="105" y="148"/>
                  </a:lnTo>
                  <a:lnTo>
                    <a:pt x="104" y="150"/>
                  </a:lnTo>
                  <a:lnTo>
                    <a:pt x="104" y="150"/>
                  </a:lnTo>
                  <a:lnTo>
                    <a:pt x="102" y="151"/>
                  </a:lnTo>
                  <a:lnTo>
                    <a:pt x="101" y="151"/>
                  </a:lnTo>
                  <a:lnTo>
                    <a:pt x="98" y="151"/>
                  </a:lnTo>
                  <a:lnTo>
                    <a:pt x="98" y="151"/>
                  </a:lnTo>
                  <a:lnTo>
                    <a:pt x="95" y="152"/>
                  </a:lnTo>
                  <a:lnTo>
                    <a:pt x="92" y="154"/>
                  </a:lnTo>
                  <a:lnTo>
                    <a:pt x="92" y="154"/>
                  </a:lnTo>
                  <a:lnTo>
                    <a:pt x="89" y="155"/>
                  </a:lnTo>
                  <a:lnTo>
                    <a:pt x="88" y="157"/>
                  </a:lnTo>
                  <a:lnTo>
                    <a:pt x="88" y="157"/>
                  </a:lnTo>
                  <a:lnTo>
                    <a:pt x="89" y="158"/>
                  </a:lnTo>
                  <a:lnTo>
                    <a:pt x="91" y="160"/>
                  </a:lnTo>
                  <a:lnTo>
                    <a:pt x="94" y="160"/>
                  </a:lnTo>
                  <a:lnTo>
                    <a:pt x="94" y="161"/>
                  </a:lnTo>
                  <a:lnTo>
                    <a:pt x="94" y="161"/>
                  </a:lnTo>
                  <a:lnTo>
                    <a:pt x="94" y="163"/>
                  </a:lnTo>
                  <a:lnTo>
                    <a:pt x="91" y="163"/>
                  </a:lnTo>
                  <a:lnTo>
                    <a:pt x="86" y="164"/>
                  </a:lnTo>
                  <a:lnTo>
                    <a:pt x="86" y="164"/>
                  </a:lnTo>
                  <a:lnTo>
                    <a:pt x="85" y="164"/>
                  </a:lnTo>
                  <a:lnTo>
                    <a:pt x="85" y="167"/>
                  </a:lnTo>
                  <a:lnTo>
                    <a:pt x="86" y="174"/>
                  </a:lnTo>
                  <a:lnTo>
                    <a:pt x="86" y="174"/>
                  </a:lnTo>
                  <a:lnTo>
                    <a:pt x="85" y="176"/>
                  </a:lnTo>
                  <a:lnTo>
                    <a:pt x="84" y="177"/>
                  </a:lnTo>
                  <a:lnTo>
                    <a:pt x="81" y="179"/>
                  </a:lnTo>
                  <a:lnTo>
                    <a:pt x="81" y="179"/>
                  </a:lnTo>
                  <a:lnTo>
                    <a:pt x="76" y="179"/>
                  </a:lnTo>
                  <a:lnTo>
                    <a:pt x="75" y="179"/>
                  </a:lnTo>
                  <a:lnTo>
                    <a:pt x="75" y="180"/>
                  </a:lnTo>
                  <a:lnTo>
                    <a:pt x="75" y="180"/>
                  </a:lnTo>
                  <a:lnTo>
                    <a:pt x="78" y="183"/>
                  </a:lnTo>
                  <a:lnTo>
                    <a:pt x="78" y="184"/>
                  </a:lnTo>
                  <a:lnTo>
                    <a:pt x="76" y="186"/>
                  </a:lnTo>
                  <a:lnTo>
                    <a:pt x="76" y="186"/>
                  </a:lnTo>
                  <a:lnTo>
                    <a:pt x="71" y="186"/>
                  </a:lnTo>
                  <a:lnTo>
                    <a:pt x="68" y="187"/>
                  </a:lnTo>
                  <a:lnTo>
                    <a:pt x="69" y="189"/>
                  </a:lnTo>
                  <a:lnTo>
                    <a:pt x="69" y="189"/>
                  </a:lnTo>
                  <a:lnTo>
                    <a:pt x="72" y="193"/>
                  </a:lnTo>
                  <a:lnTo>
                    <a:pt x="73" y="197"/>
                  </a:lnTo>
                  <a:lnTo>
                    <a:pt x="73" y="197"/>
                  </a:lnTo>
                  <a:lnTo>
                    <a:pt x="72" y="197"/>
                  </a:lnTo>
                  <a:lnTo>
                    <a:pt x="71" y="197"/>
                  </a:lnTo>
                  <a:lnTo>
                    <a:pt x="69" y="196"/>
                  </a:lnTo>
                  <a:lnTo>
                    <a:pt x="68" y="197"/>
                  </a:lnTo>
                  <a:lnTo>
                    <a:pt x="68" y="197"/>
                  </a:lnTo>
                  <a:lnTo>
                    <a:pt x="69" y="202"/>
                  </a:lnTo>
                  <a:lnTo>
                    <a:pt x="71" y="203"/>
                  </a:lnTo>
                  <a:lnTo>
                    <a:pt x="71" y="205"/>
                  </a:lnTo>
                  <a:lnTo>
                    <a:pt x="71" y="205"/>
                  </a:lnTo>
                  <a:lnTo>
                    <a:pt x="68" y="206"/>
                  </a:lnTo>
                  <a:lnTo>
                    <a:pt x="63" y="206"/>
                  </a:lnTo>
                  <a:lnTo>
                    <a:pt x="58" y="205"/>
                  </a:lnTo>
                  <a:lnTo>
                    <a:pt x="58" y="205"/>
                  </a:lnTo>
                  <a:lnTo>
                    <a:pt x="58" y="206"/>
                  </a:lnTo>
                  <a:lnTo>
                    <a:pt x="59" y="208"/>
                  </a:lnTo>
                  <a:lnTo>
                    <a:pt x="62" y="210"/>
                  </a:lnTo>
                  <a:lnTo>
                    <a:pt x="62" y="210"/>
                  </a:lnTo>
                  <a:lnTo>
                    <a:pt x="63" y="212"/>
                  </a:lnTo>
                  <a:lnTo>
                    <a:pt x="62" y="216"/>
                  </a:lnTo>
                  <a:lnTo>
                    <a:pt x="60" y="222"/>
                  </a:lnTo>
                  <a:lnTo>
                    <a:pt x="60" y="222"/>
                  </a:lnTo>
                  <a:lnTo>
                    <a:pt x="59" y="226"/>
                  </a:lnTo>
                  <a:lnTo>
                    <a:pt x="56" y="228"/>
                  </a:lnTo>
                  <a:lnTo>
                    <a:pt x="55" y="22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17" name="Freeform 1489"/>
            <p:cNvSpPr>
              <a:spLocks/>
            </p:cNvSpPr>
            <p:nvPr/>
          </p:nvSpPr>
          <p:spPr bwMode="auto">
            <a:xfrm>
              <a:off x="2460625" y="1232329"/>
              <a:ext cx="1400175" cy="1609725"/>
            </a:xfrm>
            <a:custGeom>
              <a:avLst/>
              <a:gdLst>
                <a:gd name="T0" fmla="*/ 596 w 882"/>
                <a:gd name="T1" fmla="*/ 800 h 1014"/>
                <a:gd name="T2" fmla="*/ 565 w 882"/>
                <a:gd name="T3" fmla="*/ 810 h 1014"/>
                <a:gd name="T4" fmla="*/ 525 w 882"/>
                <a:gd name="T5" fmla="*/ 836 h 1014"/>
                <a:gd name="T6" fmla="*/ 491 w 882"/>
                <a:gd name="T7" fmla="*/ 920 h 1014"/>
                <a:gd name="T8" fmla="*/ 479 w 882"/>
                <a:gd name="T9" fmla="*/ 969 h 1014"/>
                <a:gd name="T10" fmla="*/ 462 w 882"/>
                <a:gd name="T11" fmla="*/ 1013 h 1014"/>
                <a:gd name="T12" fmla="*/ 421 w 882"/>
                <a:gd name="T13" fmla="*/ 1000 h 1014"/>
                <a:gd name="T14" fmla="*/ 368 w 882"/>
                <a:gd name="T15" fmla="*/ 965 h 1014"/>
                <a:gd name="T16" fmla="*/ 346 w 882"/>
                <a:gd name="T17" fmla="*/ 919 h 1014"/>
                <a:gd name="T18" fmla="*/ 334 w 882"/>
                <a:gd name="T19" fmla="*/ 891 h 1014"/>
                <a:gd name="T20" fmla="*/ 336 w 882"/>
                <a:gd name="T21" fmla="*/ 856 h 1014"/>
                <a:gd name="T22" fmla="*/ 308 w 882"/>
                <a:gd name="T23" fmla="*/ 820 h 1014"/>
                <a:gd name="T24" fmla="*/ 321 w 882"/>
                <a:gd name="T25" fmla="*/ 784 h 1014"/>
                <a:gd name="T26" fmla="*/ 311 w 882"/>
                <a:gd name="T27" fmla="*/ 770 h 1014"/>
                <a:gd name="T28" fmla="*/ 300 w 882"/>
                <a:gd name="T29" fmla="*/ 738 h 1014"/>
                <a:gd name="T30" fmla="*/ 347 w 882"/>
                <a:gd name="T31" fmla="*/ 728 h 1014"/>
                <a:gd name="T32" fmla="*/ 339 w 882"/>
                <a:gd name="T33" fmla="*/ 688 h 1014"/>
                <a:gd name="T34" fmla="*/ 346 w 882"/>
                <a:gd name="T35" fmla="*/ 651 h 1014"/>
                <a:gd name="T36" fmla="*/ 315 w 882"/>
                <a:gd name="T37" fmla="*/ 626 h 1014"/>
                <a:gd name="T38" fmla="*/ 340 w 882"/>
                <a:gd name="T39" fmla="*/ 613 h 1014"/>
                <a:gd name="T40" fmla="*/ 343 w 882"/>
                <a:gd name="T41" fmla="*/ 583 h 1014"/>
                <a:gd name="T42" fmla="*/ 310 w 882"/>
                <a:gd name="T43" fmla="*/ 560 h 1014"/>
                <a:gd name="T44" fmla="*/ 294 w 882"/>
                <a:gd name="T45" fmla="*/ 531 h 1014"/>
                <a:gd name="T46" fmla="*/ 263 w 882"/>
                <a:gd name="T47" fmla="*/ 549 h 1014"/>
                <a:gd name="T48" fmla="*/ 278 w 882"/>
                <a:gd name="T49" fmla="*/ 513 h 1014"/>
                <a:gd name="T50" fmla="*/ 295 w 882"/>
                <a:gd name="T51" fmla="*/ 502 h 1014"/>
                <a:gd name="T52" fmla="*/ 256 w 882"/>
                <a:gd name="T53" fmla="*/ 381 h 1014"/>
                <a:gd name="T54" fmla="*/ 227 w 882"/>
                <a:gd name="T55" fmla="*/ 310 h 1014"/>
                <a:gd name="T56" fmla="*/ 145 w 882"/>
                <a:gd name="T57" fmla="*/ 281 h 1014"/>
                <a:gd name="T58" fmla="*/ 59 w 882"/>
                <a:gd name="T59" fmla="*/ 294 h 1014"/>
                <a:gd name="T60" fmla="*/ 24 w 882"/>
                <a:gd name="T61" fmla="*/ 235 h 1014"/>
                <a:gd name="T62" fmla="*/ 63 w 882"/>
                <a:gd name="T63" fmla="*/ 218 h 1014"/>
                <a:gd name="T64" fmla="*/ 94 w 882"/>
                <a:gd name="T65" fmla="*/ 186 h 1014"/>
                <a:gd name="T66" fmla="*/ 50 w 882"/>
                <a:gd name="T67" fmla="*/ 190 h 1014"/>
                <a:gd name="T68" fmla="*/ 20 w 882"/>
                <a:gd name="T69" fmla="*/ 171 h 1014"/>
                <a:gd name="T70" fmla="*/ 14 w 882"/>
                <a:gd name="T71" fmla="*/ 118 h 1014"/>
                <a:gd name="T72" fmla="*/ 84 w 882"/>
                <a:gd name="T73" fmla="*/ 76 h 1014"/>
                <a:gd name="T74" fmla="*/ 126 w 882"/>
                <a:gd name="T75" fmla="*/ 11 h 1014"/>
                <a:gd name="T76" fmla="*/ 882 w 882"/>
                <a:gd name="T77" fmla="*/ 8 h 1014"/>
                <a:gd name="T78" fmla="*/ 850 w 882"/>
                <a:gd name="T79" fmla="*/ 82 h 1014"/>
                <a:gd name="T80" fmla="*/ 825 w 882"/>
                <a:gd name="T81" fmla="*/ 134 h 1014"/>
                <a:gd name="T82" fmla="*/ 846 w 882"/>
                <a:gd name="T83" fmla="*/ 187 h 1014"/>
                <a:gd name="T84" fmla="*/ 834 w 882"/>
                <a:gd name="T85" fmla="*/ 209 h 1014"/>
                <a:gd name="T86" fmla="*/ 870 w 882"/>
                <a:gd name="T87" fmla="*/ 258 h 1014"/>
                <a:gd name="T88" fmla="*/ 832 w 882"/>
                <a:gd name="T89" fmla="*/ 267 h 1014"/>
                <a:gd name="T90" fmla="*/ 846 w 882"/>
                <a:gd name="T91" fmla="*/ 323 h 1014"/>
                <a:gd name="T92" fmla="*/ 819 w 882"/>
                <a:gd name="T93" fmla="*/ 339 h 1014"/>
                <a:gd name="T94" fmla="*/ 846 w 882"/>
                <a:gd name="T95" fmla="*/ 393 h 1014"/>
                <a:gd name="T96" fmla="*/ 838 w 882"/>
                <a:gd name="T97" fmla="*/ 416 h 1014"/>
                <a:gd name="T98" fmla="*/ 811 w 882"/>
                <a:gd name="T99" fmla="*/ 396 h 1014"/>
                <a:gd name="T100" fmla="*/ 834 w 882"/>
                <a:gd name="T101" fmla="*/ 436 h 1014"/>
                <a:gd name="T102" fmla="*/ 786 w 882"/>
                <a:gd name="T103" fmla="*/ 451 h 1014"/>
                <a:gd name="T104" fmla="*/ 762 w 882"/>
                <a:gd name="T105" fmla="*/ 438 h 1014"/>
                <a:gd name="T106" fmla="*/ 760 w 882"/>
                <a:gd name="T107" fmla="*/ 481 h 1014"/>
                <a:gd name="T108" fmla="*/ 753 w 882"/>
                <a:gd name="T109" fmla="*/ 509 h 1014"/>
                <a:gd name="T110" fmla="*/ 792 w 882"/>
                <a:gd name="T111" fmla="*/ 548 h 1014"/>
                <a:gd name="T112" fmla="*/ 809 w 882"/>
                <a:gd name="T113" fmla="*/ 570 h 1014"/>
                <a:gd name="T114" fmla="*/ 786 w 882"/>
                <a:gd name="T115" fmla="*/ 620 h 1014"/>
                <a:gd name="T116" fmla="*/ 725 w 882"/>
                <a:gd name="T117" fmla="*/ 571 h 1014"/>
                <a:gd name="T118" fmla="*/ 741 w 882"/>
                <a:gd name="T119" fmla="*/ 623 h 1014"/>
                <a:gd name="T120" fmla="*/ 725 w 882"/>
                <a:gd name="T121" fmla="*/ 639 h 1014"/>
                <a:gd name="T122" fmla="*/ 805 w 882"/>
                <a:gd name="T123" fmla="*/ 636 h 1014"/>
                <a:gd name="T124" fmla="*/ 686 w 882"/>
                <a:gd name="T125" fmla="*/ 723 h 1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2" h="1014">
                  <a:moveTo>
                    <a:pt x="653" y="717"/>
                  </a:moveTo>
                  <a:lnTo>
                    <a:pt x="653" y="717"/>
                  </a:lnTo>
                  <a:lnTo>
                    <a:pt x="650" y="715"/>
                  </a:lnTo>
                  <a:lnTo>
                    <a:pt x="649" y="713"/>
                  </a:lnTo>
                  <a:lnTo>
                    <a:pt x="647" y="715"/>
                  </a:lnTo>
                  <a:lnTo>
                    <a:pt x="647" y="715"/>
                  </a:lnTo>
                  <a:lnTo>
                    <a:pt x="646" y="723"/>
                  </a:lnTo>
                  <a:lnTo>
                    <a:pt x="643" y="729"/>
                  </a:lnTo>
                  <a:lnTo>
                    <a:pt x="640" y="732"/>
                  </a:lnTo>
                  <a:lnTo>
                    <a:pt x="640" y="732"/>
                  </a:lnTo>
                  <a:lnTo>
                    <a:pt x="637" y="736"/>
                  </a:lnTo>
                  <a:lnTo>
                    <a:pt x="633" y="744"/>
                  </a:lnTo>
                  <a:lnTo>
                    <a:pt x="628" y="755"/>
                  </a:lnTo>
                  <a:lnTo>
                    <a:pt x="628" y="755"/>
                  </a:lnTo>
                  <a:lnTo>
                    <a:pt x="627" y="761"/>
                  </a:lnTo>
                  <a:lnTo>
                    <a:pt x="622" y="768"/>
                  </a:lnTo>
                  <a:lnTo>
                    <a:pt x="614" y="778"/>
                  </a:lnTo>
                  <a:lnTo>
                    <a:pt x="614" y="778"/>
                  </a:lnTo>
                  <a:lnTo>
                    <a:pt x="609" y="784"/>
                  </a:lnTo>
                  <a:lnTo>
                    <a:pt x="604" y="790"/>
                  </a:lnTo>
                  <a:lnTo>
                    <a:pt x="604" y="790"/>
                  </a:lnTo>
                  <a:lnTo>
                    <a:pt x="602" y="793"/>
                  </a:lnTo>
                  <a:lnTo>
                    <a:pt x="601" y="797"/>
                  </a:lnTo>
                  <a:lnTo>
                    <a:pt x="599" y="800"/>
                  </a:lnTo>
                  <a:lnTo>
                    <a:pt x="599" y="801"/>
                  </a:lnTo>
                  <a:lnTo>
                    <a:pt x="596" y="800"/>
                  </a:lnTo>
                  <a:lnTo>
                    <a:pt x="596" y="800"/>
                  </a:lnTo>
                  <a:lnTo>
                    <a:pt x="592" y="797"/>
                  </a:lnTo>
                  <a:lnTo>
                    <a:pt x="589" y="794"/>
                  </a:lnTo>
                  <a:lnTo>
                    <a:pt x="586" y="791"/>
                  </a:lnTo>
                  <a:lnTo>
                    <a:pt x="586" y="791"/>
                  </a:lnTo>
                  <a:lnTo>
                    <a:pt x="586" y="791"/>
                  </a:lnTo>
                  <a:lnTo>
                    <a:pt x="586" y="791"/>
                  </a:lnTo>
                  <a:lnTo>
                    <a:pt x="588" y="797"/>
                  </a:lnTo>
                  <a:lnTo>
                    <a:pt x="589" y="800"/>
                  </a:lnTo>
                  <a:lnTo>
                    <a:pt x="588" y="803"/>
                  </a:lnTo>
                  <a:lnTo>
                    <a:pt x="588" y="803"/>
                  </a:lnTo>
                  <a:lnTo>
                    <a:pt x="582" y="810"/>
                  </a:lnTo>
                  <a:lnTo>
                    <a:pt x="579" y="814"/>
                  </a:lnTo>
                  <a:lnTo>
                    <a:pt x="578" y="814"/>
                  </a:lnTo>
                  <a:lnTo>
                    <a:pt x="576" y="814"/>
                  </a:lnTo>
                  <a:lnTo>
                    <a:pt x="576" y="814"/>
                  </a:lnTo>
                  <a:lnTo>
                    <a:pt x="576" y="812"/>
                  </a:lnTo>
                  <a:lnTo>
                    <a:pt x="575" y="807"/>
                  </a:lnTo>
                  <a:lnTo>
                    <a:pt x="575" y="804"/>
                  </a:lnTo>
                  <a:lnTo>
                    <a:pt x="575" y="804"/>
                  </a:lnTo>
                  <a:lnTo>
                    <a:pt x="573" y="804"/>
                  </a:lnTo>
                  <a:lnTo>
                    <a:pt x="573" y="804"/>
                  </a:lnTo>
                  <a:lnTo>
                    <a:pt x="570" y="807"/>
                  </a:lnTo>
                  <a:lnTo>
                    <a:pt x="567" y="809"/>
                  </a:lnTo>
                  <a:lnTo>
                    <a:pt x="565" y="810"/>
                  </a:lnTo>
                  <a:lnTo>
                    <a:pt x="565" y="810"/>
                  </a:lnTo>
                  <a:lnTo>
                    <a:pt x="560" y="801"/>
                  </a:lnTo>
                  <a:lnTo>
                    <a:pt x="560" y="801"/>
                  </a:lnTo>
                  <a:lnTo>
                    <a:pt x="560" y="799"/>
                  </a:lnTo>
                  <a:lnTo>
                    <a:pt x="560" y="797"/>
                  </a:lnTo>
                  <a:lnTo>
                    <a:pt x="562" y="796"/>
                  </a:lnTo>
                  <a:lnTo>
                    <a:pt x="560" y="796"/>
                  </a:lnTo>
                  <a:lnTo>
                    <a:pt x="560" y="796"/>
                  </a:lnTo>
                  <a:lnTo>
                    <a:pt x="557" y="796"/>
                  </a:lnTo>
                  <a:lnTo>
                    <a:pt x="556" y="797"/>
                  </a:lnTo>
                  <a:lnTo>
                    <a:pt x="554" y="806"/>
                  </a:lnTo>
                  <a:lnTo>
                    <a:pt x="554" y="806"/>
                  </a:lnTo>
                  <a:lnTo>
                    <a:pt x="553" y="816"/>
                  </a:lnTo>
                  <a:lnTo>
                    <a:pt x="552" y="819"/>
                  </a:lnTo>
                  <a:lnTo>
                    <a:pt x="550" y="820"/>
                  </a:lnTo>
                  <a:lnTo>
                    <a:pt x="550" y="820"/>
                  </a:lnTo>
                  <a:lnTo>
                    <a:pt x="543" y="825"/>
                  </a:lnTo>
                  <a:lnTo>
                    <a:pt x="538" y="828"/>
                  </a:lnTo>
                  <a:lnTo>
                    <a:pt x="536" y="829"/>
                  </a:lnTo>
                  <a:lnTo>
                    <a:pt x="536" y="829"/>
                  </a:lnTo>
                  <a:lnTo>
                    <a:pt x="534" y="826"/>
                  </a:lnTo>
                  <a:lnTo>
                    <a:pt x="534" y="825"/>
                  </a:lnTo>
                  <a:lnTo>
                    <a:pt x="533" y="825"/>
                  </a:lnTo>
                  <a:lnTo>
                    <a:pt x="530" y="826"/>
                  </a:lnTo>
                  <a:lnTo>
                    <a:pt x="530" y="826"/>
                  </a:lnTo>
                  <a:lnTo>
                    <a:pt x="528" y="830"/>
                  </a:lnTo>
                  <a:lnTo>
                    <a:pt x="525" y="836"/>
                  </a:lnTo>
                  <a:lnTo>
                    <a:pt x="523" y="842"/>
                  </a:lnTo>
                  <a:lnTo>
                    <a:pt x="520" y="846"/>
                  </a:lnTo>
                  <a:lnTo>
                    <a:pt x="520" y="846"/>
                  </a:lnTo>
                  <a:lnTo>
                    <a:pt x="517" y="849"/>
                  </a:lnTo>
                  <a:lnTo>
                    <a:pt x="515" y="852"/>
                  </a:lnTo>
                  <a:lnTo>
                    <a:pt x="514" y="859"/>
                  </a:lnTo>
                  <a:lnTo>
                    <a:pt x="514" y="867"/>
                  </a:lnTo>
                  <a:lnTo>
                    <a:pt x="512" y="870"/>
                  </a:lnTo>
                  <a:lnTo>
                    <a:pt x="512" y="870"/>
                  </a:lnTo>
                  <a:lnTo>
                    <a:pt x="512" y="870"/>
                  </a:lnTo>
                  <a:lnTo>
                    <a:pt x="507" y="871"/>
                  </a:lnTo>
                  <a:lnTo>
                    <a:pt x="504" y="872"/>
                  </a:lnTo>
                  <a:lnTo>
                    <a:pt x="504" y="874"/>
                  </a:lnTo>
                  <a:lnTo>
                    <a:pt x="504" y="874"/>
                  </a:lnTo>
                  <a:lnTo>
                    <a:pt x="505" y="875"/>
                  </a:lnTo>
                  <a:lnTo>
                    <a:pt x="507" y="877"/>
                  </a:lnTo>
                  <a:lnTo>
                    <a:pt x="508" y="878"/>
                  </a:lnTo>
                  <a:lnTo>
                    <a:pt x="507" y="883"/>
                  </a:lnTo>
                  <a:lnTo>
                    <a:pt x="507" y="883"/>
                  </a:lnTo>
                  <a:lnTo>
                    <a:pt x="501" y="894"/>
                  </a:lnTo>
                  <a:lnTo>
                    <a:pt x="498" y="900"/>
                  </a:lnTo>
                  <a:lnTo>
                    <a:pt x="498" y="906"/>
                  </a:lnTo>
                  <a:lnTo>
                    <a:pt x="498" y="906"/>
                  </a:lnTo>
                  <a:lnTo>
                    <a:pt x="495" y="914"/>
                  </a:lnTo>
                  <a:lnTo>
                    <a:pt x="494" y="917"/>
                  </a:lnTo>
                  <a:lnTo>
                    <a:pt x="491" y="920"/>
                  </a:lnTo>
                  <a:lnTo>
                    <a:pt x="491" y="920"/>
                  </a:lnTo>
                  <a:lnTo>
                    <a:pt x="489" y="922"/>
                  </a:lnTo>
                  <a:lnTo>
                    <a:pt x="489" y="923"/>
                  </a:lnTo>
                  <a:lnTo>
                    <a:pt x="489" y="926"/>
                  </a:lnTo>
                  <a:lnTo>
                    <a:pt x="489" y="927"/>
                  </a:lnTo>
                  <a:lnTo>
                    <a:pt x="489" y="927"/>
                  </a:lnTo>
                  <a:lnTo>
                    <a:pt x="485" y="930"/>
                  </a:lnTo>
                  <a:lnTo>
                    <a:pt x="483" y="933"/>
                  </a:lnTo>
                  <a:lnTo>
                    <a:pt x="483" y="936"/>
                  </a:lnTo>
                  <a:lnTo>
                    <a:pt x="483" y="936"/>
                  </a:lnTo>
                  <a:lnTo>
                    <a:pt x="482" y="940"/>
                  </a:lnTo>
                  <a:lnTo>
                    <a:pt x="481" y="945"/>
                  </a:lnTo>
                  <a:lnTo>
                    <a:pt x="481" y="949"/>
                  </a:lnTo>
                  <a:lnTo>
                    <a:pt x="481" y="949"/>
                  </a:lnTo>
                  <a:lnTo>
                    <a:pt x="482" y="951"/>
                  </a:lnTo>
                  <a:lnTo>
                    <a:pt x="482" y="951"/>
                  </a:lnTo>
                  <a:lnTo>
                    <a:pt x="488" y="951"/>
                  </a:lnTo>
                  <a:lnTo>
                    <a:pt x="488" y="952"/>
                  </a:lnTo>
                  <a:lnTo>
                    <a:pt x="489" y="954"/>
                  </a:lnTo>
                  <a:lnTo>
                    <a:pt x="489" y="954"/>
                  </a:lnTo>
                  <a:lnTo>
                    <a:pt x="488" y="962"/>
                  </a:lnTo>
                  <a:lnTo>
                    <a:pt x="486" y="967"/>
                  </a:lnTo>
                  <a:lnTo>
                    <a:pt x="485" y="969"/>
                  </a:lnTo>
                  <a:lnTo>
                    <a:pt x="485" y="969"/>
                  </a:lnTo>
                  <a:lnTo>
                    <a:pt x="481" y="969"/>
                  </a:lnTo>
                  <a:lnTo>
                    <a:pt x="479" y="969"/>
                  </a:lnTo>
                  <a:lnTo>
                    <a:pt x="479" y="971"/>
                  </a:lnTo>
                  <a:lnTo>
                    <a:pt x="479" y="971"/>
                  </a:lnTo>
                  <a:lnTo>
                    <a:pt x="481" y="972"/>
                  </a:lnTo>
                  <a:lnTo>
                    <a:pt x="481" y="972"/>
                  </a:lnTo>
                  <a:lnTo>
                    <a:pt x="482" y="974"/>
                  </a:lnTo>
                  <a:lnTo>
                    <a:pt x="481" y="975"/>
                  </a:lnTo>
                  <a:lnTo>
                    <a:pt x="481" y="975"/>
                  </a:lnTo>
                  <a:lnTo>
                    <a:pt x="479" y="978"/>
                  </a:lnTo>
                  <a:lnTo>
                    <a:pt x="475" y="980"/>
                  </a:lnTo>
                  <a:lnTo>
                    <a:pt x="473" y="983"/>
                  </a:lnTo>
                  <a:lnTo>
                    <a:pt x="472" y="984"/>
                  </a:lnTo>
                  <a:lnTo>
                    <a:pt x="472" y="984"/>
                  </a:lnTo>
                  <a:lnTo>
                    <a:pt x="473" y="988"/>
                  </a:lnTo>
                  <a:lnTo>
                    <a:pt x="473" y="991"/>
                  </a:lnTo>
                  <a:lnTo>
                    <a:pt x="472" y="993"/>
                  </a:lnTo>
                  <a:lnTo>
                    <a:pt x="472" y="993"/>
                  </a:lnTo>
                  <a:lnTo>
                    <a:pt x="463" y="1007"/>
                  </a:lnTo>
                  <a:lnTo>
                    <a:pt x="463" y="1007"/>
                  </a:lnTo>
                  <a:lnTo>
                    <a:pt x="462" y="1004"/>
                  </a:lnTo>
                  <a:lnTo>
                    <a:pt x="462" y="1004"/>
                  </a:lnTo>
                  <a:lnTo>
                    <a:pt x="462" y="1006"/>
                  </a:lnTo>
                  <a:lnTo>
                    <a:pt x="462" y="1006"/>
                  </a:lnTo>
                  <a:lnTo>
                    <a:pt x="463" y="1010"/>
                  </a:lnTo>
                  <a:lnTo>
                    <a:pt x="463" y="1011"/>
                  </a:lnTo>
                  <a:lnTo>
                    <a:pt x="462" y="1013"/>
                  </a:lnTo>
                  <a:lnTo>
                    <a:pt x="462" y="1013"/>
                  </a:lnTo>
                  <a:lnTo>
                    <a:pt x="460" y="1014"/>
                  </a:lnTo>
                  <a:lnTo>
                    <a:pt x="459" y="1014"/>
                  </a:lnTo>
                  <a:lnTo>
                    <a:pt x="454" y="1013"/>
                  </a:lnTo>
                  <a:lnTo>
                    <a:pt x="452" y="1011"/>
                  </a:lnTo>
                  <a:lnTo>
                    <a:pt x="450" y="1010"/>
                  </a:lnTo>
                  <a:lnTo>
                    <a:pt x="449" y="1011"/>
                  </a:lnTo>
                  <a:lnTo>
                    <a:pt x="449" y="1011"/>
                  </a:lnTo>
                  <a:lnTo>
                    <a:pt x="446" y="1014"/>
                  </a:lnTo>
                  <a:lnTo>
                    <a:pt x="444" y="1014"/>
                  </a:lnTo>
                  <a:lnTo>
                    <a:pt x="441" y="1013"/>
                  </a:lnTo>
                  <a:lnTo>
                    <a:pt x="441" y="1013"/>
                  </a:lnTo>
                  <a:lnTo>
                    <a:pt x="440" y="1009"/>
                  </a:lnTo>
                  <a:lnTo>
                    <a:pt x="440" y="1006"/>
                  </a:lnTo>
                  <a:lnTo>
                    <a:pt x="439" y="1003"/>
                  </a:lnTo>
                  <a:lnTo>
                    <a:pt x="437" y="1003"/>
                  </a:lnTo>
                  <a:lnTo>
                    <a:pt x="437" y="1003"/>
                  </a:lnTo>
                  <a:lnTo>
                    <a:pt x="434" y="1004"/>
                  </a:lnTo>
                  <a:lnTo>
                    <a:pt x="433" y="1006"/>
                  </a:lnTo>
                  <a:lnTo>
                    <a:pt x="430" y="1004"/>
                  </a:lnTo>
                  <a:lnTo>
                    <a:pt x="428" y="1003"/>
                  </a:lnTo>
                  <a:lnTo>
                    <a:pt x="428" y="1003"/>
                  </a:lnTo>
                  <a:lnTo>
                    <a:pt x="427" y="1001"/>
                  </a:lnTo>
                  <a:lnTo>
                    <a:pt x="424" y="1001"/>
                  </a:lnTo>
                  <a:lnTo>
                    <a:pt x="421" y="1001"/>
                  </a:lnTo>
                  <a:lnTo>
                    <a:pt x="421" y="1000"/>
                  </a:lnTo>
                  <a:lnTo>
                    <a:pt x="421" y="1000"/>
                  </a:lnTo>
                  <a:lnTo>
                    <a:pt x="421" y="994"/>
                  </a:lnTo>
                  <a:lnTo>
                    <a:pt x="421" y="993"/>
                  </a:lnTo>
                  <a:lnTo>
                    <a:pt x="420" y="991"/>
                  </a:lnTo>
                  <a:lnTo>
                    <a:pt x="420" y="991"/>
                  </a:lnTo>
                  <a:lnTo>
                    <a:pt x="417" y="993"/>
                  </a:lnTo>
                  <a:lnTo>
                    <a:pt x="412" y="993"/>
                  </a:lnTo>
                  <a:lnTo>
                    <a:pt x="412" y="993"/>
                  </a:lnTo>
                  <a:lnTo>
                    <a:pt x="401" y="993"/>
                  </a:lnTo>
                  <a:lnTo>
                    <a:pt x="395" y="991"/>
                  </a:lnTo>
                  <a:lnTo>
                    <a:pt x="392" y="988"/>
                  </a:lnTo>
                  <a:lnTo>
                    <a:pt x="392" y="988"/>
                  </a:lnTo>
                  <a:lnTo>
                    <a:pt x="391" y="985"/>
                  </a:lnTo>
                  <a:lnTo>
                    <a:pt x="392" y="984"/>
                  </a:lnTo>
                  <a:lnTo>
                    <a:pt x="392" y="981"/>
                  </a:lnTo>
                  <a:lnTo>
                    <a:pt x="389" y="978"/>
                  </a:lnTo>
                  <a:lnTo>
                    <a:pt x="389" y="978"/>
                  </a:lnTo>
                  <a:lnTo>
                    <a:pt x="385" y="971"/>
                  </a:lnTo>
                  <a:lnTo>
                    <a:pt x="382" y="969"/>
                  </a:lnTo>
                  <a:lnTo>
                    <a:pt x="379" y="969"/>
                  </a:lnTo>
                  <a:lnTo>
                    <a:pt x="379" y="969"/>
                  </a:lnTo>
                  <a:lnTo>
                    <a:pt x="373" y="972"/>
                  </a:lnTo>
                  <a:lnTo>
                    <a:pt x="370" y="974"/>
                  </a:lnTo>
                  <a:lnTo>
                    <a:pt x="369" y="971"/>
                  </a:lnTo>
                  <a:lnTo>
                    <a:pt x="369" y="971"/>
                  </a:lnTo>
                  <a:lnTo>
                    <a:pt x="368" y="968"/>
                  </a:lnTo>
                  <a:lnTo>
                    <a:pt x="368" y="965"/>
                  </a:lnTo>
                  <a:lnTo>
                    <a:pt x="369" y="964"/>
                  </a:lnTo>
                  <a:lnTo>
                    <a:pt x="366" y="962"/>
                  </a:lnTo>
                  <a:lnTo>
                    <a:pt x="366" y="962"/>
                  </a:lnTo>
                  <a:lnTo>
                    <a:pt x="366" y="959"/>
                  </a:lnTo>
                  <a:lnTo>
                    <a:pt x="368" y="958"/>
                  </a:lnTo>
                  <a:lnTo>
                    <a:pt x="369" y="958"/>
                  </a:lnTo>
                  <a:lnTo>
                    <a:pt x="370" y="956"/>
                  </a:lnTo>
                  <a:lnTo>
                    <a:pt x="370" y="956"/>
                  </a:lnTo>
                  <a:lnTo>
                    <a:pt x="370" y="946"/>
                  </a:lnTo>
                  <a:lnTo>
                    <a:pt x="370" y="939"/>
                  </a:lnTo>
                  <a:lnTo>
                    <a:pt x="368" y="933"/>
                  </a:lnTo>
                  <a:lnTo>
                    <a:pt x="368" y="933"/>
                  </a:lnTo>
                  <a:lnTo>
                    <a:pt x="365" y="925"/>
                  </a:lnTo>
                  <a:lnTo>
                    <a:pt x="363" y="922"/>
                  </a:lnTo>
                  <a:lnTo>
                    <a:pt x="362" y="922"/>
                  </a:lnTo>
                  <a:lnTo>
                    <a:pt x="362" y="922"/>
                  </a:lnTo>
                  <a:lnTo>
                    <a:pt x="362" y="922"/>
                  </a:lnTo>
                  <a:lnTo>
                    <a:pt x="357" y="929"/>
                  </a:lnTo>
                  <a:lnTo>
                    <a:pt x="355" y="932"/>
                  </a:lnTo>
                  <a:lnTo>
                    <a:pt x="352" y="932"/>
                  </a:lnTo>
                  <a:lnTo>
                    <a:pt x="352" y="932"/>
                  </a:lnTo>
                  <a:lnTo>
                    <a:pt x="349" y="930"/>
                  </a:lnTo>
                  <a:lnTo>
                    <a:pt x="349" y="929"/>
                  </a:lnTo>
                  <a:lnTo>
                    <a:pt x="346" y="923"/>
                  </a:lnTo>
                  <a:lnTo>
                    <a:pt x="346" y="923"/>
                  </a:lnTo>
                  <a:lnTo>
                    <a:pt x="346" y="919"/>
                  </a:lnTo>
                  <a:lnTo>
                    <a:pt x="347" y="916"/>
                  </a:lnTo>
                  <a:lnTo>
                    <a:pt x="349" y="914"/>
                  </a:lnTo>
                  <a:lnTo>
                    <a:pt x="347" y="913"/>
                  </a:lnTo>
                  <a:lnTo>
                    <a:pt x="347" y="913"/>
                  </a:lnTo>
                  <a:lnTo>
                    <a:pt x="342" y="910"/>
                  </a:lnTo>
                  <a:lnTo>
                    <a:pt x="340" y="909"/>
                  </a:lnTo>
                  <a:lnTo>
                    <a:pt x="342" y="909"/>
                  </a:lnTo>
                  <a:lnTo>
                    <a:pt x="342" y="909"/>
                  </a:lnTo>
                  <a:lnTo>
                    <a:pt x="346" y="907"/>
                  </a:lnTo>
                  <a:lnTo>
                    <a:pt x="347" y="907"/>
                  </a:lnTo>
                  <a:lnTo>
                    <a:pt x="346" y="906"/>
                  </a:lnTo>
                  <a:lnTo>
                    <a:pt x="346" y="906"/>
                  </a:lnTo>
                  <a:lnTo>
                    <a:pt x="342" y="904"/>
                  </a:lnTo>
                  <a:lnTo>
                    <a:pt x="339" y="903"/>
                  </a:lnTo>
                  <a:lnTo>
                    <a:pt x="340" y="901"/>
                  </a:lnTo>
                  <a:lnTo>
                    <a:pt x="340" y="901"/>
                  </a:lnTo>
                  <a:lnTo>
                    <a:pt x="346" y="898"/>
                  </a:lnTo>
                  <a:lnTo>
                    <a:pt x="346" y="897"/>
                  </a:lnTo>
                  <a:lnTo>
                    <a:pt x="344" y="897"/>
                  </a:lnTo>
                  <a:lnTo>
                    <a:pt x="344" y="897"/>
                  </a:lnTo>
                  <a:lnTo>
                    <a:pt x="336" y="896"/>
                  </a:lnTo>
                  <a:lnTo>
                    <a:pt x="331" y="896"/>
                  </a:lnTo>
                  <a:lnTo>
                    <a:pt x="331" y="894"/>
                  </a:lnTo>
                  <a:lnTo>
                    <a:pt x="331" y="894"/>
                  </a:lnTo>
                  <a:lnTo>
                    <a:pt x="331" y="894"/>
                  </a:lnTo>
                  <a:lnTo>
                    <a:pt x="334" y="891"/>
                  </a:lnTo>
                  <a:lnTo>
                    <a:pt x="336" y="890"/>
                  </a:lnTo>
                  <a:lnTo>
                    <a:pt x="334" y="887"/>
                  </a:lnTo>
                  <a:lnTo>
                    <a:pt x="334" y="887"/>
                  </a:lnTo>
                  <a:lnTo>
                    <a:pt x="330" y="884"/>
                  </a:lnTo>
                  <a:lnTo>
                    <a:pt x="328" y="881"/>
                  </a:lnTo>
                  <a:lnTo>
                    <a:pt x="330" y="881"/>
                  </a:lnTo>
                  <a:lnTo>
                    <a:pt x="330" y="881"/>
                  </a:lnTo>
                  <a:lnTo>
                    <a:pt x="343" y="877"/>
                  </a:lnTo>
                  <a:lnTo>
                    <a:pt x="349" y="874"/>
                  </a:lnTo>
                  <a:lnTo>
                    <a:pt x="350" y="872"/>
                  </a:lnTo>
                  <a:lnTo>
                    <a:pt x="350" y="872"/>
                  </a:lnTo>
                  <a:lnTo>
                    <a:pt x="350" y="872"/>
                  </a:lnTo>
                  <a:lnTo>
                    <a:pt x="344" y="870"/>
                  </a:lnTo>
                  <a:lnTo>
                    <a:pt x="342" y="868"/>
                  </a:lnTo>
                  <a:lnTo>
                    <a:pt x="342" y="867"/>
                  </a:lnTo>
                  <a:lnTo>
                    <a:pt x="342" y="867"/>
                  </a:lnTo>
                  <a:lnTo>
                    <a:pt x="342" y="864"/>
                  </a:lnTo>
                  <a:lnTo>
                    <a:pt x="346" y="859"/>
                  </a:lnTo>
                  <a:lnTo>
                    <a:pt x="346" y="859"/>
                  </a:lnTo>
                  <a:lnTo>
                    <a:pt x="347" y="856"/>
                  </a:lnTo>
                  <a:lnTo>
                    <a:pt x="347" y="854"/>
                  </a:lnTo>
                  <a:lnTo>
                    <a:pt x="346" y="851"/>
                  </a:lnTo>
                  <a:lnTo>
                    <a:pt x="344" y="851"/>
                  </a:lnTo>
                  <a:lnTo>
                    <a:pt x="344" y="851"/>
                  </a:lnTo>
                  <a:lnTo>
                    <a:pt x="340" y="855"/>
                  </a:lnTo>
                  <a:lnTo>
                    <a:pt x="336" y="856"/>
                  </a:lnTo>
                  <a:lnTo>
                    <a:pt x="336" y="856"/>
                  </a:lnTo>
                  <a:lnTo>
                    <a:pt x="334" y="855"/>
                  </a:lnTo>
                  <a:lnTo>
                    <a:pt x="333" y="855"/>
                  </a:lnTo>
                  <a:lnTo>
                    <a:pt x="331" y="855"/>
                  </a:lnTo>
                  <a:lnTo>
                    <a:pt x="331" y="855"/>
                  </a:lnTo>
                  <a:lnTo>
                    <a:pt x="328" y="861"/>
                  </a:lnTo>
                  <a:lnTo>
                    <a:pt x="327" y="862"/>
                  </a:lnTo>
                  <a:lnTo>
                    <a:pt x="326" y="862"/>
                  </a:lnTo>
                  <a:lnTo>
                    <a:pt x="326" y="862"/>
                  </a:lnTo>
                  <a:lnTo>
                    <a:pt x="321" y="858"/>
                  </a:lnTo>
                  <a:lnTo>
                    <a:pt x="321" y="856"/>
                  </a:lnTo>
                  <a:lnTo>
                    <a:pt x="321" y="854"/>
                  </a:lnTo>
                  <a:lnTo>
                    <a:pt x="321" y="854"/>
                  </a:lnTo>
                  <a:lnTo>
                    <a:pt x="327" y="848"/>
                  </a:lnTo>
                  <a:lnTo>
                    <a:pt x="328" y="846"/>
                  </a:lnTo>
                  <a:lnTo>
                    <a:pt x="328" y="845"/>
                  </a:lnTo>
                  <a:lnTo>
                    <a:pt x="328" y="845"/>
                  </a:lnTo>
                  <a:lnTo>
                    <a:pt x="326" y="842"/>
                  </a:lnTo>
                  <a:lnTo>
                    <a:pt x="323" y="839"/>
                  </a:lnTo>
                  <a:lnTo>
                    <a:pt x="323" y="839"/>
                  </a:lnTo>
                  <a:lnTo>
                    <a:pt x="321" y="836"/>
                  </a:lnTo>
                  <a:lnTo>
                    <a:pt x="315" y="829"/>
                  </a:lnTo>
                  <a:lnTo>
                    <a:pt x="315" y="829"/>
                  </a:lnTo>
                  <a:lnTo>
                    <a:pt x="310" y="825"/>
                  </a:lnTo>
                  <a:lnTo>
                    <a:pt x="308" y="822"/>
                  </a:lnTo>
                  <a:lnTo>
                    <a:pt x="308" y="820"/>
                  </a:lnTo>
                  <a:lnTo>
                    <a:pt x="308" y="820"/>
                  </a:lnTo>
                  <a:lnTo>
                    <a:pt x="310" y="816"/>
                  </a:lnTo>
                  <a:lnTo>
                    <a:pt x="311" y="813"/>
                  </a:lnTo>
                  <a:lnTo>
                    <a:pt x="314" y="813"/>
                  </a:lnTo>
                  <a:lnTo>
                    <a:pt x="314" y="813"/>
                  </a:lnTo>
                  <a:lnTo>
                    <a:pt x="318" y="814"/>
                  </a:lnTo>
                  <a:lnTo>
                    <a:pt x="320" y="814"/>
                  </a:lnTo>
                  <a:lnTo>
                    <a:pt x="321" y="814"/>
                  </a:lnTo>
                  <a:lnTo>
                    <a:pt x="321" y="814"/>
                  </a:lnTo>
                  <a:lnTo>
                    <a:pt x="323" y="813"/>
                  </a:lnTo>
                  <a:lnTo>
                    <a:pt x="321" y="810"/>
                  </a:lnTo>
                  <a:lnTo>
                    <a:pt x="320" y="809"/>
                  </a:lnTo>
                  <a:lnTo>
                    <a:pt x="318" y="807"/>
                  </a:lnTo>
                  <a:lnTo>
                    <a:pt x="318" y="807"/>
                  </a:lnTo>
                  <a:lnTo>
                    <a:pt x="313" y="810"/>
                  </a:lnTo>
                  <a:lnTo>
                    <a:pt x="308" y="810"/>
                  </a:lnTo>
                  <a:lnTo>
                    <a:pt x="305" y="810"/>
                  </a:lnTo>
                  <a:lnTo>
                    <a:pt x="305" y="810"/>
                  </a:lnTo>
                  <a:lnTo>
                    <a:pt x="302" y="809"/>
                  </a:lnTo>
                  <a:lnTo>
                    <a:pt x="302" y="807"/>
                  </a:lnTo>
                  <a:lnTo>
                    <a:pt x="305" y="803"/>
                  </a:lnTo>
                  <a:lnTo>
                    <a:pt x="305" y="803"/>
                  </a:lnTo>
                  <a:lnTo>
                    <a:pt x="315" y="793"/>
                  </a:lnTo>
                  <a:lnTo>
                    <a:pt x="321" y="787"/>
                  </a:lnTo>
                  <a:lnTo>
                    <a:pt x="323" y="786"/>
                  </a:lnTo>
                  <a:lnTo>
                    <a:pt x="321" y="784"/>
                  </a:lnTo>
                  <a:lnTo>
                    <a:pt x="321" y="784"/>
                  </a:lnTo>
                  <a:lnTo>
                    <a:pt x="317" y="787"/>
                  </a:lnTo>
                  <a:lnTo>
                    <a:pt x="313" y="791"/>
                  </a:lnTo>
                  <a:lnTo>
                    <a:pt x="307" y="796"/>
                  </a:lnTo>
                  <a:lnTo>
                    <a:pt x="304" y="797"/>
                  </a:lnTo>
                  <a:lnTo>
                    <a:pt x="304" y="797"/>
                  </a:lnTo>
                  <a:lnTo>
                    <a:pt x="300" y="797"/>
                  </a:lnTo>
                  <a:lnTo>
                    <a:pt x="295" y="794"/>
                  </a:lnTo>
                  <a:lnTo>
                    <a:pt x="291" y="791"/>
                  </a:lnTo>
                  <a:lnTo>
                    <a:pt x="292" y="790"/>
                  </a:lnTo>
                  <a:lnTo>
                    <a:pt x="294" y="788"/>
                  </a:lnTo>
                  <a:lnTo>
                    <a:pt x="294" y="788"/>
                  </a:lnTo>
                  <a:lnTo>
                    <a:pt x="300" y="786"/>
                  </a:lnTo>
                  <a:lnTo>
                    <a:pt x="305" y="784"/>
                  </a:lnTo>
                  <a:lnTo>
                    <a:pt x="305" y="784"/>
                  </a:lnTo>
                  <a:lnTo>
                    <a:pt x="305" y="783"/>
                  </a:lnTo>
                  <a:lnTo>
                    <a:pt x="305" y="783"/>
                  </a:lnTo>
                  <a:lnTo>
                    <a:pt x="302" y="781"/>
                  </a:lnTo>
                  <a:lnTo>
                    <a:pt x="300" y="778"/>
                  </a:lnTo>
                  <a:lnTo>
                    <a:pt x="301" y="777"/>
                  </a:lnTo>
                  <a:lnTo>
                    <a:pt x="302" y="775"/>
                  </a:lnTo>
                  <a:lnTo>
                    <a:pt x="302" y="775"/>
                  </a:lnTo>
                  <a:lnTo>
                    <a:pt x="310" y="772"/>
                  </a:lnTo>
                  <a:lnTo>
                    <a:pt x="311" y="771"/>
                  </a:lnTo>
                  <a:lnTo>
                    <a:pt x="311" y="770"/>
                  </a:lnTo>
                  <a:lnTo>
                    <a:pt x="311" y="770"/>
                  </a:lnTo>
                  <a:lnTo>
                    <a:pt x="310" y="768"/>
                  </a:lnTo>
                  <a:lnTo>
                    <a:pt x="305" y="767"/>
                  </a:lnTo>
                  <a:lnTo>
                    <a:pt x="305" y="767"/>
                  </a:lnTo>
                  <a:lnTo>
                    <a:pt x="302" y="765"/>
                  </a:lnTo>
                  <a:lnTo>
                    <a:pt x="298" y="764"/>
                  </a:lnTo>
                  <a:lnTo>
                    <a:pt x="298" y="764"/>
                  </a:lnTo>
                  <a:lnTo>
                    <a:pt x="295" y="761"/>
                  </a:lnTo>
                  <a:lnTo>
                    <a:pt x="295" y="758"/>
                  </a:lnTo>
                  <a:lnTo>
                    <a:pt x="295" y="754"/>
                  </a:lnTo>
                  <a:lnTo>
                    <a:pt x="295" y="754"/>
                  </a:lnTo>
                  <a:lnTo>
                    <a:pt x="302" y="752"/>
                  </a:lnTo>
                  <a:lnTo>
                    <a:pt x="315" y="752"/>
                  </a:lnTo>
                  <a:lnTo>
                    <a:pt x="326" y="752"/>
                  </a:lnTo>
                  <a:lnTo>
                    <a:pt x="328" y="751"/>
                  </a:lnTo>
                  <a:lnTo>
                    <a:pt x="327" y="751"/>
                  </a:lnTo>
                  <a:lnTo>
                    <a:pt x="327" y="751"/>
                  </a:lnTo>
                  <a:lnTo>
                    <a:pt x="321" y="748"/>
                  </a:lnTo>
                  <a:lnTo>
                    <a:pt x="315" y="746"/>
                  </a:lnTo>
                  <a:lnTo>
                    <a:pt x="315" y="746"/>
                  </a:lnTo>
                  <a:lnTo>
                    <a:pt x="302" y="748"/>
                  </a:lnTo>
                  <a:lnTo>
                    <a:pt x="297" y="749"/>
                  </a:lnTo>
                  <a:lnTo>
                    <a:pt x="295" y="748"/>
                  </a:lnTo>
                  <a:lnTo>
                    <a:pt x="294" y="748"/>
                  </a:lnTo>
                  <a:lnTo>
                    <a:pt x="294" y="748"/>
                  </a:lnTo>
                  <a:lnTo>
                    <a:pt x="297" y="744"/>
                  </a:lnTo>
                  <a:lnTo>
                    <a:pt x="300" y="738"/>
                  </a:lnTo>
                  <a:lnTo>
                    <a:pt x="300" y="738"/>
                  </a:lnTo>
                  <a:lnTo>
                    <a:pt x="301" y="736"/>
                  </a:lnTo>
                  <a:lnTo>
                    <a:pt x="304" y="733"/>
                  </a:lnTo>
                  <a:lnTo>
                    <a:pt x="308" y="732"/>
                  </a:lnTo>
                  <a:lnTo>
                    <a:pt x="313" y="732"/>
                  </a:lnTo>
                  <a:lnTo>
                    <a:pt x="313" y="732"/>
                  </a:lnTo>
                  <a:lnTo>
                    <a:pt x="321" y="733"/>
                  </a:lnTo>
                  <a:lnTo>
                    <a:pt x="327" y="733"/>
                  </a:lnTo>
                  <a:lnTo>
                    <a:pt x="327" y="733"/>
                  </a:lnTo>
                  <a:lnTo>
                    <a:pt x="331" y="735"/>
                  </a:lnTo>
                  <a:lnTo>
                    <a:pt x="333" y="736"/>
                  </a:lnTo>
                  <a:lnTo>
                    <a:pt x="336" y="739"/>
                  </a:lnTo>
                  <a:lnTo>
                    <a:pt x="340" y="741"/>
                  </a:lnTo>
                  <a:lnTo>
                    <a:pt x="340" y="741"/>
                  </a:lnTo>
                  <a:lnTo>
                    <a:pt x="349" y="744"/>
                  </a:lnTo>
                  <a:lnTo>
                    <a:pt x="352" y="744"/>
                  </a:lnTo>
                  <a:lnTo>
                    <a:pt x="350" y="741"/>
                  </a:lnTo>
                  <a:lnTo>
                    <a:pt x="350" y="741"/>
                  </a:lnTo>
                  <a:lnTo>
                    <a:pt x="343" y="735"/>
                  </a:lnTo>
                  <a:lnTo>
                    <a:pt x="342" y="733"/>
                  </a:lnTo>
                  <a:lnTo>
                    <a:pt x="342" y="732"/>
                  </a:lnTo>
                  <a:lnTo>
                    <a:pt x="342" y="732"/>
                  </a:lnTo>
                  <a:lnTo>
                    <a:pt x="347" y="730"/>
                  </a:lnTo>
                  <a:lnTo>
                    <a:pt x="349" y="729"/>
                  </a:lnTo>
                  <a:lnTo>
                    <a:pt x="347" y="728"/>
                  </a:lnTo>
                  <a:lnTo>
                    <a:pt x="347" y="728"/>
                  </a:lnTo>
                  <a:lnTo>
                    <a:pt x="347" y="726"/>
                  </a:lnTo>
                  <a:lnTo>
                    <a:pt x="347" y="725"/>
                  </a:lnTo>
                  <a:lnTo>
                    <a:pt x="346" y="722"/>
                  </a:lnTo>
                  <a:lnTo>
                    <a:pt x="342" y="720"/>
                  </a:lnTo>
                  <a:lnTo>
                    <a:pt x="342" y="720"/>
                  </a:lnTo>
                  <a:lnTo>
                    <a:pt x="339" y="717"/>
                  </a:lnTo>
                  <a:lnTo>
                    <a:pt x="337" y="715"/>
                  </a:lnTo>
                  <a:lnTo>
                    <a:pt x="337" y="713"/>
                  </a:lnTo>
                  <a:lnTo>
                    <a:pt x="336" y="712"/>
                  </a:lnTo>
                  <a:lnTo>
                    <a:pt x="336" y="712"/>
                  </a:lnTo>
                  <a:lnTo>
                    <a:pt x="334" y="712"/>
                  </a:lnTo>
                  <a:lnTo>
                    <a:pt x="334" y="710"/>
                  </a:lnTo>
                  <a:lnTo>
                    <a:pt x="336" y="706"/>
                  </a:lnTo>
                  <a:lnTo>
                    <a:pt x="339" y="702"/>
                  </a:lnTo>
                  <a:lnTo>
                    <a:pt x="339" y="699"/>
                  </a:lnTo>
                  <a:lnTo>
                    <a:pt x="339" y="699"/>
                  </a:lnTo>
                  <a:lnTo>
                    <a:pt x="331" y="699"/>
                  </a:lnTo>
                  <a:lnTo>
                    <a:pt x="328" y="699"/>
                  </a:lnTo>
                  <a:lnTo>
                    <a:pt x="328" y="699"/>
                  </a:lnTo>
                  <a:lnTo>
                    <a:pt x="330" y="697"/>
                  </a:lnTo>
                  <a:lnTo>
                    <a:pt x="330" y="697"/>
                  </a:lnTo>
                  <a:lnTo>
                    <a:pt x="337" y="693"/>
                  </a:lnTo>
                  <a:lnTo>
                    <a:pt x="339" y="690"/>
                  </a:lnTo>
                  <a:lnTo>
                    <a:pt x="339" y="690"/>
                  </a:lnTo>
                  <a:lnTo>
                    <a:pt x="339" y="688"/>
                  </a:lnTo>
                  <a:lnTo>
                    <a:pt x="339" y="688"/>
                  </a:lnTo>
                  <a:lnTo>
                    <a:pt x="333" y="687"/>
                  </a:lnTo>
                  <a:lnTo>
                    <a:pt x="333" y="686"/>
                  </a:lnTo>
                  <a:lnTo>
                    <a:pt x="334" y="683"/>
                  </a:lnTo>
                  <a:lnTo>
                    <a:pt x="334" y="683"/>
                  </a:lnTo>
                  <a:lnTo>
                    <a:pt x="336" y="680"/>
                  </a:lnTo>
                  <a:lnTo>
                    <a:pt x="336" y="675"/>
                  </a:lnTo>
                  <a:lnTo>
                    <a:pt x="337" y="674"/>
                  </a:lnTo>
                  <a:lnTo>
                    <a:pt x="339" y="674"/>
                  </a:lnTo>
                  <a:lnTo>
                    <a:pt x="339" y="674"/>
                  </a:lnTo>
                  <a:lnTo>
                    <a:pt x="343" y="677"/>
                  </a:lnTo>
                  <a:lnTo>
                    <a:pt x="344" y="680"/>
                  </a:lnTo>
                  <a:lnTo>
                    <a:pt x="346" y="683"/>
                  </a:lnTo>
                  <a:lnTo>
                    <a:pt x="347" y="683"/>
                  </a:lnTo>
                  <a:lnTo>
                    <a:pt x="347" y="681"/>
                  </a:lnTo>
                  <a:lnTo>
                    <a:pt x="347" y="681"/>
                  </a:lnTo>
                  <a:lnTo>
                    <a:pt x="347" y="680"/>
                  </a:lnTo>
                  <a:lnTo>
                    <a:pt x="346" y="678"/>
                  </a:lnTo>
                  <a:lnTo>
                    <a:pt x="346" y="675"/>
                  </a:lnTo>
                  <a:lnTo>
                    <a:pt x="347" y="674"/>
                  </a:lnTo>
                  <a:lnTo>
                    <a:pt x="347" y="674"/>
                  </a:lnTo>
                  <a:lnTo>
                    <a:pt x="350" y="673"/>
                  </a:lnTo>
                  <a:lnTo>
                    <a:pt x="350" y="670"/>
                  </a:lnTo>
                  <a:lnTo>
                    <a:pt x="350" y="664"/>
                  </a:lnTo>
                  <a:lnTo>
                    <a:pt x="350" y="664"/>
                  </a:lnTo>
                  <a:lnTo>
                    <a:pt x="349" y="658"/>
                  </a:lnTo>
                  <a:lnTo>
                    <a:pt x="346" y="651"/>
                  </a:lnTo>
                  <a:lnTo>
                    <a:pt x="346" y="651"/>
                  </a:lnTo>
                  <a:lnTo>
                    <a:pt x="343" y="644"/>
                  </a:lnTo>
                  <a:lnTo>
                    <a:pt x="343" y="641"/>
                  </a:lnTo>
                  <a:lnTo>
                    <a:pt x="346" y="641"/>
                  </a:lnTo>
                  <a:lnTo>
                    <a:pt x="346" y="641"/>
                  </a:lnTo>
                  <a:lnTo>
                    <a:pt x="349" y="638"/>
                  </a:lnTo>
                  <a:lnTo>
                    <a:pt x="350" y="635"/>
                  </a:lnTo>
                  <a:lnTo>
                    <a:pt x="349" y="631"/>
                  </a:lnTo>
                  <a:lnTo>
                    <a:pt x="349" y="629"/>
                  </a:lnTo>
                  <a:lnTo>
                    <a:pt x="349" y="629"/>
                  </a:lnTo>
                  <a:lnTo>
                    <a:pt x="344" y="632"/>
                  </a:lnTo>
                  <a:lnTo>
                    <a:pt x="343" y="633"/>
                  </a:lnTo>
                  <a:lnTo>
                    <a:pt x="340" y="631"/>
                  </a:lnTo>
                  <a:lnTo>
                    <a:pt x="340" y="631"/>
                  </a:lnTo>
                  <a:lnTo>
                    <a:pt x="339" y="628"/>
                  </a:lnTo>
                  <a:lnTo>
                    <a:pt x="339" y="626"/>
                  </a:lnTo>
                  <a:lnTo>
                    <a:pt x="339" y="626"/>
                  </a:lnTo>
                  <a:lnTo>
                    <a:pt x="336" y="626"/>
                  </a:lnTo>
                  <a:lnTo>
                    <a:pt x="336" y="626"/>
                  </a:lnTo>
                  <a:lnTo>
                    <a:pt x="331" y="629"/>
                  </a:lnTo>
                  <a:lnTo>
                    <a:pt x="326" y="631"/>
                  </a:lnTo>
                  <a:lnTo>
                    <a:pt x="326" y="631"/>
                  </a:lnTo>
                  <a:lnTo>
                    <a:pt x="320" y="631"/>
                  </a:lnTo>
                  <a:lnTo>
                    <a:pt x="317" y="629"/>
                  </a:lnTo>
                  <a:lnTo>
                    <a:pt x="315" y="626"/>
                  </a:lnTo>
                  <a:lnTo>
                    <a:pt x="315" y="626"/>
                  </a:lnTo>
                  <a:lnTo>
                    <a:pt x="314" y="623"/>
                  </a:lnTo>
                  <a:lnTo>
                    <a:pt x="313" y="622"/>
                  </a:lnTo>
                  <a:lnTo>
                    <a:pt x="307" y="617"/>
                  </a:lnTo>
                  <a:lnTo>
                    <a:pt x="307" y="617"/>
                  </a:lnTo>
                  <a:lnTo>
                    <a:pt x="302" y="616"/>
                  </a:lnTo>
                  <a:lnTo>
                    <a:pt x="298" y="615"/>
                  </a:lnTo>
                  <a:lnTo>
                    <a:pt x="289" y="613"/>
                  </a:lnTo>
                  <a:lnTo>
                    <a:pt x="289" y="613"/>
                  </a:lnTo>
                  <a:lnTo>
                    <a:pt x="286" y="610"/>
                  </a:lnTo>
                  <a:lnTo>
                    <a:pt x="285" y="607"/>
                  </a:lnTo>
                  <a:lnTo>
                    <a:pt x="285" y="600"/>
                  </a:lnTo>
                  <a:lnTo>
                    <a:pt x="285" y="600"/>
                  </a:lnTo>
                  <a:lnTo>
                    <a:pt x="284" y="593"/>
                  </a:lnTo>
                  <a:lnTo>
                    <a:pt x="285" y="591"/>
                  </a:lnTo>
                  <a:lnTo>
                    <a:pt x="286" y="591"/>
                  </a:lnTo>
                  <a:lnTo>
                    <a:pt x="286" y="591"/>
                  </a:lnTo>
                  <a:lnTo>
                    <a:pt x="295" y="591"/>
                  </a:lnTo>
                  <a:lnTo>
                    <a:pt x="300" y="591"/>
                  </a:lnTo>
                  <a:lnTo>
                    <a:pt x="305" y="593"/>
                  </a:lnTo>
                  <a:lnTo>
                    <a:pt x="305" y="593"/>
                  </a:lnTo>
                  <a:lnTo>
                    <a:pt x="310" y="594"/>
                  </a:lnTo>
                  <a:lnTo>
                    <a:pt x="314" y="599"/>
                  </a:lnTo>
                  <a:lnTo>
                    <a:pt x="323" y="604"/>
                  </a:lnTo>
                  <a:lnTo>
                    <a:pt x="323" y="604"/>
                  </a:lnTo>
                  <a:lnTo>
                    <a:pt x="336" y="612"/>
                  </a:lnTo>
                  <a:lnTo>
                    <a:pt x="340" y="613"/>
                  </a:lnTo>
                  <a:lnTo>
                    <a:pt x="342" y="613"/>
                  </a:lnTo>
                  <a:lnTo>
                    <a:pt x="342" y="612"/>
                  </a:lnTo>
                  <a:lnTo>
                    <a:pt x="342" y="612"/>
                  </a:lnTo>
                  <a:lnTo>
                    <a:pt x="340" y="609"/>
                  </a:lnTo>
                  <a:lnTo>
                    <a:pt x="337" y="606"/>
                  </a:lnTo>
                  <a:lnTo>
                    <a:pt x="333" y="600"/>
                  </a:lnTo>
                  <a:lnTo>
                    <a:pt x="333" y="600"/>
                  </a:lnTo>
                  <a:lnTo>
                    <a:pt x="333" y="600"/>
                  </a:lnTo>
                  <a:lnTo>
                    <a:pt x="334" y="600"/>
                  </a:lnTo>
                  <a:lnTo>
                    <a:pt x="339" y="602"/>
                  </a:lnTo>
                  <a:lnTo>
                    <a:pt x="343" y="603"/>
                  </a:lnTo>
                  <a:lnTo>
                    <a:pt x="346" y="603"/>
                  </a:lnTo>
                  <a:lnTo>
                    <a:pt x="346" y="603"/>
                  </a:lnTo>
                  <a:lnTo>
                    <a:pt x="346" y="603"/>
                  </a:lnTo>
                  <a:lnTo>
                    <a:pt x="344" y="597"/>
                  </a:lnTo>
                  <a:lnTo>
                    <a:pt x="340" y="593"/>
                  </a:lnTo>
                  <a:lnTo>
                    <a:pt x="340" y="593"/>
                  </a:lnTo>
                  <a:lnTo>
                    <a:pt x="339" y="591"/>
                  </a:lnTo>
                  <a:lnTo>
                    <a:pt x="339" y="590"/>
                  </a:lnTo>
                  <a:lnTo>
                    <a:pt x="342" y="587"/>
                  </a:lnTo>
                  <a:lnTo>
                    <a:pt x="344" y="586"/>
                  </a:lnTo>
                  <a:lnTo>
                    <a:pt x="346" y="586"/>
                  </a:lnTo>
                  <a:lnTo>
                    <a:pt x="344" y="586"/>
                  </a:lnTo>
                  <a:lnTo>
                    <a:pt x="344" y="586"/>
                  </a:lnTo>
                  <a:lnTo>
                    <a:pt x="343" y="584"/>
                  </a:lnTo>
                  <a:lnTo>
                    <a:pt x="343" y="583"/>
                  </a:lnTo>
                  <a:lnTo>
                    <a:pt x="343" y="581"/>
                  </a:lnTo>
                  <a:lnTo>
                    <a:pt x="342" y="581"/>
                  </a:lnTo>
                  <a:lnTo>
                    <a:pt x="342" y="581"/>
                  </a:lnTo>
                  <a:lnTo>
                    <a:pt x="340" y="581"/>
                  </a:lnTo>
                  <a:lnTo>
                    <a:pt x="339" y="580"/>
                  </a:lnTo>
                  <a:lnTo>
                    <a:pt x="331" y="578"/>
                  </a:lnTo>
                  <a:lnTo>
                    <a:pt x="331" y="578"/>
                  </a:lnTo>
                  <a:lnTo>
                    <a:pt x="327" y="577"/>
                  </a:lnTo>
                  <a:lnTo>
                    <a:pt x="323" y="578"/>
                  </a:lnTo>
                  <a:lnTo>
                    <a:pt x="320" y="578"/>
                  </a:lnTo>
                  <a:lnTo>
                    <a:pt x="321" y="575"/>
                  </a:lnTo>
                  <a:lnTo>
                    <a:pt x="321" y="575"/>
                  </a:lnTo>
                  <a:lnTo>
                    <a:pt x="328" y="573"/>
                  </a:lnTo>
                  <a:lnTo>
                    <a:pt x="330" y="571"/>
                  </a:lnTo>
                  <a:lnTo>
                    <a:pt x="330" y="570"/>
                  </a:lnTo>
                  <a:lnTo>
                    <a:pt x="330" y="570"/>
                  </a:lnTo>
                  <a:lnTo>
                    <a:pt x="328" y="567"/>
                  </a:lnTo>
                  <a:lnTo>
                    <a:pt x="328" y="567"/>
                  </a:lnTo>
                  <a:lnTo>
                    <a:pt x="327" y="565"/>
                  </a:lnTo>
                  <a:lnTo>
                    <a:pt x="321" y="564"/>
                  </a:lnTo>
                  <a:lnTo>
                    <a:pt x="321" y="564"/>
                  </a:lnTo>
                  <a:lnTo>
                    <a:pt x="310" y="562"/>
                  </a:lnTo>
                  <a:lnTo>
                    <a:pt x="307" y="561"/>
                  </a:lnTo>
                  <a:lnTo>
                    <a:pt x="307" y="560"/>
                  </a:lnTo>
                  <a:lnTo>
                    <a:pt x="310" y="560"/>
                  </a:lnTo>
                  <a:lnTo>
                    <a:pt x="310" y="560"/>
                  </a:lnTo>
                  <a:lnTo>
                    <a:pt x="321" y="554"/>
                  </a:lnTo>
                  <a:lnTo>
                    <a:pt x="324" y="551"/>
                  </a:lnTo>
                  <a:lnTo>
                    <a:pt x="324" y="549"/>
                  </a:lnTo>
                  <a:lnTo>
                    <a:pt x="324" y="549"/>
                  </a:lnTo>
                  <a:lnTo>
                    <a:pt x="324" y="549"/>
                  </a:lnTo>
                  <a:lnTo>
                    <a:pt x="320" y="549"/>
                  </a:lnTo>
                  <a:lnTo>
                    <a:pt x="318" y="548"/>
                  </a:lnTo>
                  <a:lnTo>
                    <a:pt x="315" y="548"/>
                  </a:lnTo>
                  <a:lnTo>
                    <a:pt x="314" y="549"/>
                  </a:lnTo>
                  <a:lnTo>
                    <a:pt x="314" y="549"/>
                  </a:lnTo>
                  <a:lnTo>
                    <a:pt x="313" y="554"/>
                  </a:lnTo>
                  <a:lnTo>
                    <a:pt x="310" y="554"/>
                  </a:lnTo>
                  <a:lnTo>
                    <a:pt x="307" y="552"/>
                  </a:lnTo>
                  <a:lnTo>
                    <a:pt x="307" y="552"/>
                  </a:lnTo>
                  <a:lnTo>
                    <a:pt x="304" y="549"/>
                  </a:lnTo>
                  <a:lnTo>
                    <a:pt x="302" y="548"/>
                  </a:lnTo>
                  <a:lnTo>
                    <a:pt x="301" y="542"/>
                  </a:lnTo>
                  <a:lnTo>
                    <a:pt x="301" y="532"/>
                  </a:lnTo>
                  <a:lnTo>
                    <a:pt x="301" y="532"/>
                  </a:lnTo>
                  <a:lnTo>
                    <a:pt x="298" y="523"/>
                  </a:lnTo>
                  <a:lnTo>
                    <a:pt x="297" y="520"/>
                  </a:lnTo>
                  <a:lnTo>
                    <a:pt x="295" y="519"/>
                  </a:lnTo>
                  <a:lnTo>
                    <a:pt x="295" y="519"/>
                  </a:lnTo>
                  <a:lnTo>
                    <a:pt x="294" y="525"/>
                  </a:lnTo>
                  <a:lnTo>
                    <a:pt x="294" y="531"/>
                  </a:lnTo>
                  <a:lnTo>
                    <a:pt x="294" y="531"/>
                  </a:lnTo>
                  <a:lnTo>
                    <a:pt x="294" y="536"/>
                  </a:lnTo>
                  <a:lnTo>
                    <a:pt x="294" y="541"/>
                  </a:lnTo>
                  <a:lnTo>
                    <a:pt x="294" y="541"/>
                  </a:lnTo>
                  <a:lnTo>
                    <a:pt x="291" y="548"/>
                  </a:lnTo>
                  <a:lnTo>
                    <a:pt x="289" y="552"/>
                  </a:lnTo>
                  <a:lnTo>
                    <a:pt x="289" y="555"/>
                  </a:lnTo>
                  <a:lnTo>
                    <a:pt x="289" y="555"/>
                  </a:lnTo>
                  <a:lnTo>
                    <a:pt x="291" y="560"/>
                  </a:lnTo>
                  <a:lnTo>
                    <a:pt x="291" y="561"/>
                  </a:lnTo>
                  <a:lnTo>
                    <a:pt x="289" y="564"/>
                  </a:lnTo>
                  <a:lnTo>
                    <a:pt x="289" y="564"/>
                  </a:lnTo>
                  <a:lnTo>
                    <a:pt x="284" y="567"/>
                  </a:lnTo>
                  <a:lnTo>
                    <a:pt x="281" y="568"/>
                  </a:lnTo>
                  <a:lnTo>
                    <a:pt x="279" y="565"/>
                  </a:lnTo>
                  <a:lnTo>
                    <a:pt x="279" y="565"/>
                  </a:lnTo>
                  <a:lnTo>
                    <a:pt x="275" y="560"/>
                  </a:lnTo>
                  <a:lnTo>
                    <a:pt x="273" y="558"/>
                  </a:lnTo>
                  <a:lnTo>
                    <a:pt x="272" y="560"/>
                  </a:lnTo>
                  <a:lnTo>
                    <a:pt x="272" y="560"/>
                  </a:lnTo>
                  <a:lnTo>
                    <a:pt x="272" y="564"/>
                  </a:lnTo>
                  <a:lnTo>
                    <a:pt x="268" y="564"/>
                  </a:lnTo>
                  <a:lnTo>
                    <a:pt x="268" y="564"/>
                  </a:lnTo>
                  <a:lnTo>
                    <a:pt x="266" y="561"/>
                  </a:lnTo>
                  <a:lnTo>
                    <a:pt x="265" y="557"/>
                  </a:lnTo>
                  <a:lnTo>
                    <a:pt x="263" y="549"/>
                  </a:lnTo>
                  <a:lnTo>
                    <a:pt x="263" y="549"/>
                  </a:lnTo>
                  <a:lnTo>
                    <a:pt x="263" y="547"/>
                  </a:lnTo>
                  <a:lnTo>
                    <a:pt x="265" y="547"/>
                  </a:lnTo>
                  <a:lnTo>
                    <a:pt x="269" y="547"/>
                  </a:lnTo>
                  <a:lnTo>
                    <a:pt x="272" y="544"/>
                  </a:lnTo>
                  <a:lnTo>
                    <a:pt x="272" y="544"/>
                  </a:lnTo>
                  <a:lnTo>
                    <a:pt x="281" y="539"/>
                  </a:lnTo>
                  <a:lnTo>
                    <a:pt x="284" y="538"/>
                  </a:lnTo>
                  <a:lnTo>
                    <a:pt x="284" y="536"/>
                  </a:lnTo>
                  <a:lnTo>
                    <a:pt x="284" y="536"/>
                  </a:lnTo>
                  <a:lnTo>
                    <a:pt x="281" y="536"/>
                  </a:lnTo>
                  <a:lnTo>
                    <a:pt x="278" y="536"/>
                  </a:lnTo>
                  <a:lnTo>
                    <a:pt x="273" y="538"/>
                  </a:lnTo>
                  <a:lnTo>
                    <a:pt x="273" y="538"/>
                  </a:lnTo>
                  <a:lnTo>
                    <a:pt x="268" y="538"/>
                  </a:lnTo>
                  <a:lnTo>
                    <a:pt x="263" y="536"/>
                  </a:lnTo>
                  <a:lnTo>
                    <a:pt x="263" y="535"/>
                  </a:lnTo>
                  <a:lnTo>
                    <a:pt x="265" y="533"/>
                  </a:lnTo>
                  <a:lnTo>
                    <a:pt x="265" y="533"/>
                  </a:lnTo>
                  <a:lnTo>
                    <a:pt x="271" y="528"/>
                  </a:lnTo>
                  <a:lnTo>
                    <a:pt x="273" y="523"/>
                  </a:lnTo>
                  <a:lnTo>
                    <a:pt x="275" y="520"/>
                  </a:lnTo>
                  <a:lnTo>
                    <a:pt x="275" y="520"/>
                  </a:lnTo>
                  <a:lnTo>
                    <a:pt x="275" y="518"/>
                  </a:lnTo>
                  <a:lnTo>
                    <a:pt x="276" y="515"/>
                  </a:lnTo>
                  <a:lnTo>
                    <a:pt x="278" y="513"/>
                  </a:lnTo>
                  <a:lnTo>
                    <a:pt x="278" y="513"/>
                  </a:lnTo>
                  <a:lnTo>
                    <a:pt x="278" y="513"/>
                  </a:lnTo>
                  <a:lnTo>
                    <a:pt x="275" y="509"/>
                  </a:lnTo>
                  <a:lnTo>
                    <a:pt x="273" y="507"/>
                  </a:lnTo>
                  <a:lnTo>
                    <a:pt x="276" y="506"/>
                  </a:lnTo>
                  <a:lnTo>
                    <a:pt x="276" y="506"/>
                  </a:lnTo>
                  <a:lnTo>
                    <a:pt x="282" y="506"/>
                  </a:lnTo>
                  <a:lnTo>
                    <a:pt x="284" y="505"/>
                  </a:lnTo>
                  <a:lnTo>
                    <a:pt x="282" y="503"/>
                  </a:lnTo>
                  <a:lnTo>
                    <a:pt x="282" y="503"/>
                  </a:lnTo>
                  <a:lnTo>
                    <a:pt x="279" y="494"/>
                  </a:lnTo>
                  <a:lnTo>
                    <a:pt x="278" y="493"/>
                  </a:lnTo>
                  <a:lnTo>
                    <a:pt x="279" y="491"/>
                  </a:lnTo>
                  <a:lnTo>
                    <a:pt x="281" y="491"/>
                  </a:lnTo>
                  <a:lnTo>
                    <a:pt x="281" y="491"/>
                  </a:lnTo>
                  <a:lnTo>
                    <a:pt x="284" y="491"/>
                  </a:lnTo>
                  <a:lnTo>
                    <a:pt x="285" y="493"/>
                  </a:lnTo>
                  <a:lnTo>
                    <a:pt x="286" y="497"/>
                  </a:lnTo>
                  <a:lnTo>
                    <a:pt x="286" y="497"/>
                  </a:lnTo>
                  <a:lnTo>
                    <a:pt x="288" y="502"/>
                  </a:lnTo>
                  <a:lnTo>
                    <a:pt x="289" y="503"/>
                  </a:lnTo>
                  <a:lnTo>
                    <a:pt x="291" y="503"/>
                  </a:lnTo>
                  <a:lnTo>
                    <a:pt x="291" y="503"/>
                  </a:lnTo>
                  <a:lnTo>
                    <a:pt x="294" y="503"/>
                  </a:lnTo>
                  <a:lnTo>
                    <a:pt x="295" y="503"/>
                  </a:lnTo>
                  <a:lnTo>
                    <a:pt x="297" y="503"/>
                  </a:lnTo>
                  <a:lnTo>
                    <a:pt x="295" y="502"/>
                  </a:lnTo>
                  <a:lnTo>
                    <a:pt x="295" y="502"/>
                  </a:lnTo>
                  <a:lnTo>
                    <a:pt x="292" y="496"/>
                  </a:lnTo>
                  <a:lnTo>
                    <a:pt x="288" y="491"/>
                  </a:lnTo>
                  <a:lnTo>
                    <a:pt x="288" y="491"/>
                  </a:lnTo>
                  <a:lnTo>
                    <a:pt x="285" y="487"/>
                  </a:lnTo>
                  <a:lnTo>
                    <a:pt x="284" y="481"/>
                  </a:lnTo>
                  <a:lnTo>
                    <a:pt x="282" y="473"/>
                  </a:lnTo>
                  <a:lnTo>
                    <a:pt x="282" y="473"/>
                  </a:lnTo>
                  <a:lnTo>
                    <a:pt x="279" y="465"/>
                  </a:lnTo>
                  <a:lnTo>
                    <a:pt x="278" y="461"/>
                  </a:lnTo>
                  <a:lnTo>
                    <a:pt x="278" y="458"/>
                  </a:lnTo>
                  <a:lnTo>
                    <a:pt x="278" y="458"/>
                  </a:lnTo>
                  <a:lnTo>
                    <a:pt x="275" y="447"/>
                  </a:lnTo>
                  <a:lnTo>
                    <a:pt x="271" y="435"/>
                  </a:lnTo>
                  <a:lnTo>
                    <a:pt x="271" y="435"/>
                  </a:lnTo>
                  <a:lnTo>
                    <a:pt x="266" y="426"/>
                  </a:lnTo>
                  <a:lnTo>
                    <a:pt x="265" y="423"/>
                  </a:lnTo>
                  <a:lnTo>
                    <a:pt x="265" y="421"/>
                  </a:lnTo>
                  <a:lnTo>
                    <a:pt x="265" y="421"/>
                  </a:lnTo>
                  <a:lnTo>
                    <a:pt x="266" y="416"/>
                  </a:lnTo>
                  <a:lnTo>
                    <a:pt x="265" y="409"/>
                  </a:lnTo>
                  <a:lnTo>
                    <a:pt x="263" y="400"/>
                  </a:lnTo>
                  <a:lnTo>
                    <a:pt x="260" y="393"/>
                  </a:lnTo>
                  <a:lnTo>
                    <a:pt x="260" y="393"/>
                  </a:lnTo>
                  <a:lnTo>
                    <a:pt x="258" y="387"/>
                  </a:lnTo>
                  <a:lnTo>
                    <a:pt x="256" y="381"/>
                  </a:lnTo>
                  <a:lnTo>
                    <a:pt x="255" y="376"/>
                  </a:lnTo>
                  <a:lnTo>
                    <a:pt x="253" y="373"/>
                  </a:lnTo>
                  <a:lnTo>
                    <a:pt x="253" y="373"/>
                  </a:lnTo>
                  <a:lnTo>
                    <a:pt x="244" y="365"/>
                  </a:lnTo>
                  <a:lnTo>
                    <a:pt x="240" y="360"/>
                  </a:lnTo>
                  <a:lnTo>
                    <a:pt x="239" y="357"/>
                  </a:lnTo>
                  <a:lnTo>
                    <a:pt x="239" y="357"/>
                  </a:lnTo>
                  <a:lnTo>
                    <a:pt x="239" y="352"/>
                  </a:lnTo>
                  <a:lnTo>
                    <a:pt x="239" y="348"/>
                  </a:lnTo>
                  <a:lnTo>
                    <a:pt x="239" y="348"/>
                  </a:lnTo>
                  <a:lnTo>
                    <a:pt x="231" y="341"/>
                  </a:lnTo>
                  <a:lnTo>
                    <a:pt x="229" y="336"/>
                  </a:lnTo>
                  <a:lnTo>
                    <a:pt x="227" y="335"/>
                  </a:lnTo>
                  <a:lnTo>
                    <a:pt x="229" y="334"/>
                  </a:lnTo>
                  <a:lnTo>
                    <a:pt x="229" y="334"/>
                  </a:lnTo>
                  <a:lnTo>
                    <a:pt x="234" y="328"/>
                  </a:lnTo>
                  <a:lnTo>
                    <a:pt x="236" y="323"/>
                  </a:lnTo>
                  <a:lnTo>
                    <a:pt x="236" y="322"/>
                  </a:lnTo>
                  <a:lnTo>
                    <a:pt x="234" y="319"/>
                  </a:lnTo>
                  <a:lnTo>
                    <a:pt x="234" y="319"/>
                  </a:lnTo>
                  <a:lnTo>
                    <a:pt x="231" y="318"/>
                  </a:lnTo>
                  <a:lnTo>
                    <a:pt x="230" y="316"/>
                  </a:lnTo>
                  <a:lnTo>
                    <a:pt x="229" y="316"/>
                  </a:lnTo>
                  <a:lnTo>
                    <a:pt x="229" y="315"/>
                  </a:lnTo>
                  <a:lnTo>
                    <a:pt x="229" y="315"/>
                  </a:lnTo>
                  <a:lnTo>
                    <a:pt x="227" y="310"/>
                  </a:lnTo>
                  <a:lnTo>
                    <a:pt x="227" y="308"/>
                  </a:lnTo>
                  <a:lnTo>
                    <a:pt x="226" y="308"/>
                  </a:lnTo>
                  <a:lnTo>
                    <a:pt x="226" y="308"/>
                  </a:lnTo>
                  <a:lnTo>
                    <a:pt x="218" y="309"/>
                  </a:lnTo>
                  <a:lnTo>
                    <a:pt x="214" y="310"/>
                  </a:lnTo>
                  <a:lnTo>
                    <a:pt x="211" y="309"/>
                  </a:lnTo>
                  <a:lnTo>
                    <a:pt x="211" y="309"/>
                  </a:lnTo>
                  <a:lnTo>
                    <a:pt x="211" y="308"/>
                  </a:lnTo>
                  <a:lnTo>
                    <a:pt x="211" y="305"/>
                  </a:lnTo>
                  <a:lnTo>
                    <a:pt x="211" y="302"/>
                  </a:lnTo>
                  <a:lnTo>
                    <a:pt x="210" y="302"/>
                  </a:lnTo>
                  <a:lnTo>
                    <a:pt x="210" y="302"/>
                  </a:lnTo>
                  <a:lnTo>
                    <a:pt x="201" y="300"/>
                  </a:lnTo>
                  <a:lnTo>
                    <a:pt x="194" y="297"/>
                  </a:lnTo>
                  <a:lnTo>
                    <a:pt x="194" y="297"/>
                  </a:lnTo>
                  <a:lnTo>
                    <a:pt x="185" y="297"/>
                  </a:lnTo>
                  <a:lnTo>
                    <a:pt x="181" y="297"/>
                  </a:lnTo>
                  <a:lnTo>
                    <a:pt x="176" y="294"/>
                  </a:lnTo>
                  <a:lnTo>
                    <a:pt x="176" y="294"/>
                  </a:lnTo>
                  <a:lnTo>
                    <a:pt x="166" y="287"/>
                  </a:lnTo>
                  <a:lnTo>
                    <a:pt x="160" y="284"/>
                  </a:lnTo>
                  <a:lnTo>
                    <a:pt x="155" y="281"/>
                  </a:lnTo>
                  <a:lnTo>
                    <a:pt x="155" y="281"/>
                  </a:lnTo>
                  <a:lnTo>
                    <a:pt x="147" y="280"/>
                  </a:lnTo>
                  <a:lnTo>
                    <a:pt x="146" y="280"/>
                  </a:lnTo>
                  <a:lnTo>
                    <a:pt x="145" y="281"/>
                  </a:lnTo>
                  <a:lnTo>
                    <a:pt x="145" y="281"/>
                  </a:lnTo>
                  <a:lnTo>
                    <a:pt x="139" y="287"/>
                  </a:lnTo>
                  <a:lnTo>
                    <a:pt x="136" y="292"/>
                  </a:lnTo>
                  <a:lnTo>
                    <a:pt x="133" y="293"/>
                  </a:lnTo>
                  <a:lnTo>
                    <a:pt x="133" y="293"/>
                  </a:lnTo>
                  <a:lnTo>
                    <a:pt x="130" y="293"/>
                  </a:lnTo>
                  <a:lnTo>
                    <a:pt x="126" y="292"/>
                  </a:lnTo>
                  <a:lnTo>
                    <a:pt x="123" y="289"/>
                  </a:lnTo>
                  <a:lnTo>
                    <a:pt x="117" y="289"/>
                  </a:lnTo>
                  <a:lnTo>
                    <a:pt x="117" y="289"/>
                  </a:lnTo>
                  <a:lnTo>
                    <a:pt x="113" y="290"/>
                  </a:lnTo>
                  <a:lnTo>
                    <a:pt x="108" y="292"/>
                  </a:lnTo>
                  <a:lnTo>
                    <a:pt x="103" y="296"/>
                  </a:lnTo>
                  <a:lnTo>
                    <a:pt x="103" y="296"/>
                  </a:lnTo>
                  <a:lnTo>
                    <a:pt x="97" y="297"/>
                  </a:lnTo>
                  <a:lnTo>
                    <a:pt x="92" y="299"/>
                  </a:lnTo>
                  <a:lnTo>
                    <a:pt x="91" y="300"/>
                  </a:lnTo>
                  <a:lnTo>
                    <a:pt x="91" y="300"/>
                  </a:lnTo>
                  <a:lnTo>
                    <a:pt x="91" y="303"/>
                  </a:lnTo>
                  <a:lnTo>
                    <a:pt x="90" y="305"/>
                  </a:lnTo>
                  <a:lnTo>
                    <a:pt x="88" y="306"/>
                  </a:lnTo>
                  <a:lnTo>
                    <a:pt x="85" y="305"/>
                  </a:lnTo>
                  <a:lnTo>
                    <a:pt x="85" y="305"/>
                  </a:lnTo>
                  <a:lnTo>
                    <a:pt x="72" y="302"/>
                  </a:lnTo>
                  <a:lnTo>
                    <a:pt x="65" y="299"/>
                  </a:lnTo>
                  <a:lnTo>
                    <a:pt x="59" y="294"/>
                  </a:lnTo>
                  <a:lnTo>
                    <a:pt x="59" y="294"/>
                  </a:lnTo>
                  <a:lnTo>
                    <a:pt x="56" y="293"/>
                  </a:lnTo>
                  <a:lnTo>
                    <a:pt x="52" y="292"/>
                  </a:lnTo>
                  <a:lnTo>
                    <a:pt x="49" y="289"/>
                  </a:lnTo>
                  <a:lnTo>
                    <a:pt x="46" y="287"/>
                  </a:lnTo>
                  <a:lnTo>
                    <a:pt x="46" y="287"/>
                  </a:lnTo>
                  <a:lnTo>
                    <a:pt x="43" y="283"/>
                  </a:lnTo>
                  <a:lnTo>
                    <a:pt x="40" y="280"/>
                  </a:lnTo>
                  <a:lnTo>
                    <a:pt x="40" y="280"/>
                  </a:lnTo>
                  <a:lnTo>
                    <a:pt x="32" y="274"/>
                  </a:lnTo>
                  <a:lnTo>
                    <a:pt x="29" y="270"/>
                  </a:lnTo>
                  <a:lnTo>
                    <a:pt x="29" y="268"/>
                  </a:lnTo>
                  <a:lnTo>
                    <a:pt x="30" y="267"/>
                  </a:lnTo>
                  <a:lnTo>
                    <a:pt x="30" y="267"/>
                  </a:lnTo>
                  <a:lnTo>
                    <a:pt x="39" y="266"/>
                  </a:lnTo>
                  <a:lnTo>
                    <a:pt x="42" y="264"/>
                  </a:lnTo>
                  <a:lnTo>
                    <a:pt x="43" y="261"/>
                  </a:lnTo>
                  <a:lnTo>
                    <a:pt x="43" y="261"/>
                  </a:lnTo>
                  <a:lnTo>
                    <a:pt x="43" y="258"/>
                  </a:lnTo>
                  <a:lnTo>
                    <a:pt x="40" y="257"/>
                  </a:lnTo>
                  <a:lnTo>
                    <a:pt x="36" y="251"/>
                  </a:lnTo>
                  <a:lnTo>
                    <a:pt x="36" y="251"/>
                  </a:lnTo>
                  <a:lnTo>
                    <a:pt x="32" y="245"/>
                  </a:lnTo>
                  <a:lnTo>
                    <a:pt x="26" y="238"/>
                  </a:lnTo>
                  <a:lnTo>
                    <a:pt x="26" y="238"/>
                  </a:lnTo>
                  <a:lnTo>
                    <a:pt x="24" y="235"/>
                  </a:lnTo>
                  <a:lnTo>
                    <a:pt x="24" y="232"/>
                  </a:lnTo>
                  <a:lnTo>
                    <a:pt x="26" y="229"/>
                  </a:lnTo>
                  <a:lnTo>
                    <a:pt x="30" y="228"/>
                  </a:lnTo>
                  <a:lnTo>
                    <a:pt x="30" y="228"/>
                  </a:lnTo>
                  <a:lnTo>
                    <a:pt x="45" y="225"/>
                  </a:lnTo>
                  <a:lnTo>
                    <a:pt x="56" y="224"/>
                  </a:lnTo>
                  <a:lnTo>
                    <a:pt x="56" y="224"/>
                  </a:lnTo>
                  <a:lnTo>
                    <a:pt x="66" y="225"/>
                  </a:lnTo>
                  <a:lnTo>
                    <a:pt x="76" y="225"/>
                  </a:lnTo>
                  <a:lnTo>
                    <a:pt x="76" y="225"/>
                  </a:lnTo>
                  <a:lnTo>
                    <a:pt x="79" y="225"/>
                  </a:lnTo>
                  <a:lnTo>
                    <a:pt x="84" y="225"/>
                  </a:lnTo>
                  <a:lnTo>
                    <a:pt x="84" y="225"/>
                  </a:lnTo>
                  <a:lnTo>
                    <a:pt x="94" y="226"/>
                  </a:lnTo>
                  <a:lnTo>
                    <a:pt x="98" y="226"/>
                  </a:lnTo>
                  <a:lnTo>
                    <a:pt x="100" y="226"/>
                  </a:lnTo>
                  <a:lnTo>
                    <a:pt x="100" y="226"/>
                  </a:lnTo>
                  <a:lnTo>
                    <a:pt x="97" y="224"/>
                  </a:lnTo>
                  <a:lnTo>
                    <a:pt x="92" y="222"/>
                  </a:lnTo>
                  <a:lnTo>
                    <a:pt x="87" y="219"/>
                  </a:lnTo>
                  <a:lnTo>
                    <a:pt x="82" y="218"/>
                  </a:lnTo>
                  <a:lnTo>
                    <a:pt x="82" y="218"/>
                  </a:lnTo>
                  <a:lnTo>
                    <a:pt x="71" y="219"/>
                  </a:lnTo>
                  <a:lnTo>
                    <a:pt x="65" y="219"/>
                  </a:lnTo>
                  <a:lnTo>
                    <a:pt x="63" y="218"/>
                  </a:lnTo>
                  <a:lnTo>
                    <a:pt x="63" y="218"/>
                  </a:lnTo>
                  <a:lnTo>
                    <a:pt x="66" y="213"/>
                  </a:lnTo>
                  <a:lnTo>
                    <a:pt x="69" y="212"/>
                  </a:lnTo>
                  <a:lnTo>
                    <a:pt x="74" y="212"/>
                  </a:lnTo>
                  <a:lnTo>
                    <a:pt x="74" y="212"/>
                  </a:lnTo>
                  <a:lnTo>
                    <a:pt x="85" y="210"/>
                  </a:lnTo>
                  <a:lnTo>
                    <a:pt x="92" y="210"/>
                  </a:lnTo>
                  <a:lnTo>
                    <a:pt x="97" y="212"/>
                  </a:lnTo>
                  <a:lnTo>
                    <a:pt x="97" y="212"/>
                  </a:lnTo>
                  <a:lnTo>
                    <a:pt x="98" y="212"/>
                  </a:lnTo>
                  <a:lnTo>
                    <a:pt x="101" y="212"/>
                  </a:lnTo>
                  <a:lnTo>
                    <a:pt x="105" y="209"/>
                  </a:lnTo>
                  <a:lnTo>
                    <a:pt x="105" y="209"/>
                  </a:lnTo>
                  <a:lnTo>
                    <a:pt x="107" y="206"/>
                  </a:lnTo>
                  <a:lnTo>
                    <a:pt x="110" y="203"/>
                  </a:lnTo>
                  <a:lnTo>
                    <a:pt x="110" y="199"/>
                  </a:lnTo>
                  <a:lnTo>
                    <a:pt x="110" y="195"/>
                  </a:lnTo>
                  <a:lnTo>
                    <a:pt x="110" y="195"/>
                  </a:lnTo>
                  <a:lnTo>
                    <a:pt x="107" y="190"/>
                  </a:lnTo>
                  <a:lnTo>
                    <a:pt x="105" y="189"/>
                  </a:lnTo>
                  <a:lnTo>
                    <a:pt x="103" y="189"/>
                  </a:lnTo>
                  <a:lnTo>
                    <a:pt x="103" y="189"/>
                  </a:lnTo>
                  <a:lnTo>
                    <a:pt x="101" y="189"/>
                  </a:lnTo>
                  <a:lnTo>
                    <a:pt x="98" y="186"/>
                  </a:lnTo>
                  <a:lnTo>
                    <a:pt x="95" y="184"/>
                  </a:lnTo>
                  <a:lnTo>
                    <a:pt x="94" y="184"/>
                  </a:lnTo>
                  <a:lnTo>
                    <a:pt x="94" y="186"/>
                  </a:lnTo>
                  <a:lnTo>
                    <a:pt x="94" y="186"/>
                  </a:lnTo>
                  <a:lnTo>
                    <a:pt x="88" y="193"/>
                  </a:lnTo>
                  <a:lnTo>
                    <a:pt x="84" y="197"/>
                  </a:lnTo>
                  <a:lnTo>
                    <a:pt x="78" y="199"/>
                  </a:lnTo>
                  <a:lnTo>
                    <a:pt x="78" y="199"/>
                  </a:lnTo>
                  <a:lnTo>
                    <a:pt x="76" y="199"/>
                  </a:lnTo>
                  <a:lnTo>
                    <a:pt x="74" y="197"/>
                  </a:lnTo>
                  <a:lnTo>
                    <a:pt x="69" y="193"/>
                  </a:lnTo>
                  <a:lnTo>
                    <a:pt x="66" y="190"/>
                  </a:lnTo>
                  <a:lnTo>
                    <a:pt x="66" y="190"/>
                  </a:lnTo>
                  <a:lnTo>
                    <a:pt x="66" y="190"/>
                  </a:lnTo>
                  <a:lnTo>
                    <a:pt x="66" y="190"/>
                  </a:lnTo>
                  <a:lnTo>
                    <a:pt x="63" y="195"/>
                  </a:lnTo>
                  <a:lnTo>
                    <a:pt x="62" y="197"/>
                  </a:lnTo>
                  <a:lnTo>
                    <a:pt x="61" y="199"/>
                  </a:lnTo>
                  <a:lnTo>
                    <a:pt x="61" y="199"/>
                  </a:lnTo>
                  <a:lnTo>
                    <a:pt x="56" y="199"/>
                  </a:lnTo>
                  <a:lnTo>
                    <a:pt x="50" y="199"/>
                  </a:lnTo>
                  <a:lnTo>
                    <a:pt x="45" y="196"/>
                  </a:lnTo>
                  <a:lnTo>
                    <a:pt x="42" y="195"/>
                  </a:lnTo>
                  <a:lnTo>
                    <a:pt x="42" y="195"/>
                  </a:lnTo>
                  <a:lnTo>
                    <a:pt x="42" y="193"/>
                  </a:lnTo>
                  <a:lnTo>
                    <a:pt x="42" y="193"/>
                  </a:lnTo>
                  <a:lnTo>
                    <a:pt x="45" y="192"/>
                  </a:lnTo>
                  <a:lnTo>
                    <a:pt x="49" y="192"/>
                  </a:lnTo>
                  <a:lnTo>
                    <a:pt x="50" y="190"/>
                  </a:lnTo>
                  <a:lnTo>
                    <a:pt x="50" y="189"/>
                  </a:lnTo>
                  <a:lnTo>
                    <a:pt x="50" y="189"/>
                  </a:lnTo>
                  <a:lnTo>
                    <a:pt x="50" y="184"/>
                  </a:lnTo>
                  <a:lnTo>
                    <a:pt x="49" y="184"/>
                  </a:lnTo>
                  <a:lnTo>
                    <a:pt x="46" y="184"/>
                  </a:lnTo>
                  <a:lnTo>
                    <a:pt x="46" y="184"/>
                  </a:lnTo>
                  <a:lnTo>
                    <a:pt x="39" y="187"/>
                  </a:lnTo>
                  <a:lnTo>
                    <a:pt x="34" y="187"/>
                  </a:lnTo>
                  <a:lnTo>
                    <a:pt x="34" y="187"/>
                  </a:lnTo>
                  <a:lnTo>
                    <a:pt x="33" y="186"/>
                  </a:lnTo>
                  <a:lnTo>
                    <a:pt x="33" y="186"/>
                  </a:lnTo>
                  <a:lnTo>
                    <a:pt x="34" y="183"/>
                  </a:lnTo>
                  <a:lnTo>
                    <a:pt x="37" y="179"/>
                  </a:lnTo>
                  <a:lnTo>
                    <a:pt x="40" y="176"/>
                  </a:lnTo>
                  <a:lnTo>
                    <a:pt x="40" y="176"/>
                  </a:lnTo>
                  <a:lnTo>
                    <a:pt x="40" y="176"/>
                  </a:lnTo>
                  <a:lnTo>
                    <a:pt x="40" y="176"/>
                  </a:lnTo>
                  <a:lnTo>
                    <a:pt x="32" y="179"/>
                  </a:lnTo>
                  <a:lnTo>
                    <a:pt x="26" y="180"/>
                  </a:lnTo>
                  <a:lnTo>
                    <a:pt x="21" y="180"/>
                  </a:lnTo>
                  <a:lnTo>
                    <a:pt x="21" y="180"/>
                  </a:lnTo>
                  <a:lnTo>
                    <a:pt x="21" y="179"/>
                  </a:lnTo>
                  <a:lnTo>
                    <a:pt x="21" y="176"/>
                  </a:lnTo>
                  <a:lnTo>
                    <a:pt x="23" y="173"/>
                  </a:lnTo>
                  <a:lnTo>
                    <a:pt x="21" y="171"/>
                  </a:lnTo>
                  <a:lnTo>
                    <a:pt x="20" y="171"/>
                  </a:lnTo>
                  <a:lnTo>
                    <a:pt x="20" y="171"/>
                  </a:lnTo>
                  <a:lnTo>
                    <a:pt x="17" y="171"/>
                  </a:lnTo>
                  <a:lnTo>
                    <a:pt x="13" y="170"/>
                  </a:lnTo>
                  <a:lnTo>
                    <a:pt x="10" y="167"/>
                  </a:lnTo>
                  <a:lnTo>
                    <a:pt x="10" y="164"/>
                  </a:lnTo>
                  <a:lnTo>
                    <a:pt x="10" y="164"/>
                  </a:lnTo>
                  <a:lnTo>
                    <a:pt x="8" y="163"/>
                  </a:lnTo>
                  <a:lnTo>
                    <a:pt x="8" y="161"/>
                  </a:lnTo>
                  <a:lnTo>
                    <a:pt x="6" y="160"/>
                  </a:lnTo>
                  <a:lnTo>
                    <a:pt x="1" y="158"/>
                  </a:lnTo>
                  <a:lnTo>
                    <a:pt x="1" y="157"/>
                  </a:lnTo>
                  <a:lnTo>
                    <a:pt x="0" y="154"/>
                  </a:lnTo>
                  <a:lnTo>
                    <a:pt x="0" y="154"/>
                  </a:lnTo>
                  <a:lnTo>
                    <a:pt x="1" y="150"/>
                  </a:lnTo>
                  <a:lnTo>
                    <a:pt x="4" y="147"/>
                  </a:lnTo>
                  <a:lnTo>
                    <a:pt x="4" y="144"/>
                  </a:lnTo>
                  <a:lnTo>
                    <a:pt x="4" y="141"/>
                  </a:lnTo>
                  <a:lnTo>
                    <a:pt x="4" y="141"/>
                  </a:lnTo>
                  <a:lnTo>
                    <a:pt x="1" y="138"/>
                  </a:lnTo>
                  <a:lnTo>
                    <a:pt x="3" y="134"/>
                  </a:lnTo>
                  <a:lnTo>
                    <a:pt x="4" y="129"/>
                  </a:lnTo>
                  <a:lnTo>
                    <a:pt x="7" y="126"/>
                  </a:lnTo>
                  <a:lnTo>
                    <a:pt x="7" y="126"/>
                  </a:lnTo>
                  <a:lnTo>
                    <a:pt x="10" y="124"/>
                  </a:lnTo>
                  <a:lnTo>
                    <a:pt x="11" y="121"/>
                  </a:lnTo>
                  <a:lnTo>
                    <a:pt x="14" y="118"/>
                  </a:lnTo>
                  <a:lnTo>
                    <a:pt x="19" y="115"/>
                  </a:lnTo>
                  <a:lnTo>
                    <a:pt x="19" y="115"/>
                  </a:lnTo>
                  <a:lnTo>
                    <a:pt x="21" y="113"/>
                  </a:lnTo>
                  <a:lnTo>
                    <a:pt x="24" y="115"/>
                  </a:lnTo>
                  <a:lnTo>
                    <a:pt x="26" y="113"/>
                  </a:lnTo>
                  <a:lnTo>
                    <a:pt x="30" y="112"/>
                  </a:lnTo>
                  <a:lnTo>
                    <a:pt x="30" y="112"/>
                  </a:lnTo>
                  <a:lnTo>
                    <a:pt x="36" y="106"/>
                  </a:lnTo>
                  <a:lnTo>
                    <a:pt x="39" y="103"/>
                  </a:lnTo>
                  <a:lnTo>
                    <a:pt x="43" y="103"/>
                  </a:lnTo>
                  <a:lnTo>
                    <a:pt x="43" y="103"/>
                  </a:lnTo>
                  <a:lnTo>
                    <a:pt x="49" y="103"/>
                  </a:lnTo>
                  <a:lnTo>
                    <a:pt x="53" y="102"/>
                  </a:lnTo>
                  <a:lnTo>
                    <a:pt x="56" y="99"/>
                  </a:lnTo>
                  <a:lnTo>
                    <a:pt x="56" y="96"/>
                  </a:lnTo>
                  <a:lnTo>
                    <a:pt x="56" y="96"/>
                  </a:lnTo>
                  <a:lnTo>
                    <a:pt x="56" y="92"/>
                  </a:lnTo>
                  <a:lnTo>
                    <a:pt x="55" y="89"/>
                  </a:lnTo>
                  <a:lnTo>
                    <a:pt x="55" y="87"/>
                  </a:lnTo>
                  <a:lnTo>
                    <a:pt x="59" y="84"/>
                  </a:lnTo>
                  <a:lnTo>
                    <a:pt x="59" y="84"/>
                  </a:lnTo>
                  <a:lnTo>
                    <a:pt x="65" y="82"/>
                  </a:lnTo>
                  <a:lnTo>
                    <a:pt x="71" y="80"/>
                  </a:lnTo>
                  <a:lnTo>
                    <a:pt x="78" y="79"/>
                  </a:lnTo>
                  <a:lnTo>
                    <a:pt x="78" y="79"/>
                  </a:lnTo>
                  <a:lnTo>
                    <a:pt x="84" y="76"/>
                  </a:lnTo>
                  <a:lnTo>
                    <a:pt x="88" y="74"/>
                  </a:lnTo>
                  <a:lnTo>
                    <a:pt x="91" y="76"/>
                  </a:lnTo>
                  <a:lnTo>
                    <a:pt x="91" y="76"/>
                  </a:lnTo>
                  <a:lnTo>
                    <a:pt x="98" y="77"/>
                  </a:lnTo>
                  <a:lnTo>
                    <a:pt x="103" y="77"/>
                  </a:lnTo>
                  <a:lnTo>
                    <a:pt x="105" y="77"/>
                  </a:lnTo>
                  <a:lnTo>
                    <a:pt x="105" y="77"/>
                  </a:lnTo>
                  <a:lnTo>
                    <a:pt x="114" y="63"/>
                  </a:lnTo>
                  <a:lnTo>
                    <a:pt x="120" y="51"/>
                  </a:lnTo>
                  <a:lnTo>
                    <a:pt x="121" y="47"/>
                  </a:lnTo>
                  <a:lnTo>
                    <a:pt x="121" y="42"/>
                  </a:lnTo>
                  <a:lnTo>
                    <a:pt x="121" y="42"/>
                  </a:lnTo>
                  <a:lnTo>
                    <a:pt x="121" y="37"/>
                  </a:lnTo>
                  <a:lnTo>
                    <a:pt x="120" y="34"/>
                  </a:lnTo>
                  <a:lnTo>
                    <a:pt x="117" y="28"/>
                  </a:lnTo>
                  <a:lnTo>
                    <a:pt x="117" y="28"/>
                  </a:lnTo>
                  <a:lnTo>
                    <a:pt x="117" y="24"/>
                  </a:lnTo>
                  <a:lnTo>
                    <a:pt x="118" y="21"/>
                  </a:lnTo>
                  <a:lnTo>
                    <a:pt x="120" y="18"/>
                  </a:lnTo>
                  <a:lnTo>
                    <a:pt x="121" y="16"/>
                  </a:lnTo>
                  <a:lnTo>
                    <a:pt x="121" y="16"/>
                  </a:lnTo>
                  <a:lnTo>
                    <a:pt x="127" y="16"/>
                  </a:lnTo>
                  <a:lnTo>
                    <a:pt x="130" y="15"/>
                  </a:lnTo>
                  <a:lnTo>
                    <a:pt x="129" y="13"/>
                  </a:lnTo>
                  <a:lnTo>
                    <a:pt x="129" y="13"/>
                  </a:lnTo>
                  <a:lnTo>
                    <a:pt x="126" y="11"/>
                  </a:lnTo>
                  <a:lnTo>
                    <a:pt x="123" y="9"/>
                  </a:lnTo>
                  <a:lnTo>
                    <a:pt x="118" y="6"/>
                  </a:lnTo>
                  <a:lnTo>
                    <a:pt x="118" y="3"/>
                  </a:lnTo>
                  <a:lnTo>
                    <a:pt x="117" y="0"/>
                  </a:lnTo>
                  <a:lnTo>
                    <a:pt x="835" y="0"/>
                  </a:lnTo>
                  <a:lnTo>
                    <a:pt x="835" y="0"/>
                  </a:lnTo>
                  <a:lnTo>
                    <a:pt x="837" y="6"/>
                  </a:lnTo>
                  <a:lnTo>
                    <a:pt x="837" y="11"/>
                  </a:lnTo>
                  <a:lnTo>
                    <a:pt x="834" y="16"/>
                  </a:lnTo>
                  <a:lnTo>
                    <a:pt x="834" y="16"/>
                  </a:lnTo>
                  <a:lnTo>
                    <a:pt x="832" y="19"/>
                  </a:lnTo>
                  <a:lnTo>
                    <a:pt x="834" y="24"/>
                  </a:lnTo>
                  <a:lnTo>
                    <a:pt x="837" y="27"/>
                  </a:lnTo>
                  <a:lnTo>
                    <a:pt x="838" y="28"/>
                  </a:lnTo>
                  <a:lnTo>
                    <a:pt x="838" y="28"/>
                  </a:lnTo>
                  <a:lnTo>
                    <a:pt x="841" y="28"/>
                  </a:lnTo>
                  <a:lnTo>
                    <a:pt x="844" y="27"/>
                  </a:lnTo>
                  <a:lnTo>
                    <a:pt x="846" y="24"/>
                  </a:lnTo>
                  <a:lnTo>
                    <a:pt x="844" y="22"/>
                  </a:lnTo>
                  <a:lnTo>
                    <a:pt x="844" y="22"/>
                  </a:lnTo>
                  <a:lnTo>
                    <a:pt x="843" y="19"/>
                  </a:lnTo>
                  <a:lnTo>
                    <a:pt x="843" y="15"/>
                  </a:lnTo>
                  <a:lnTo>
                    <a:pt x="844" y="0"/>
                  </a:lnTo>
                  <a:lnTo>
                    <a:pt x="882" y="0"/>
                  </a:lnTo>
                  <a:lnTo>
                    <a:pt x="882" y="0"/>
                  </a:lnTo>
                  <a:lnTo>
                    <a:pt x="882" y="8"/>
                  </a:lnTo>
                  <a:lnTo>
                    <a:pt x="882" y="15"/>
                  </a:lnTo>
                  <a:lnTo>
                    <a:pt x="877" y="27"/>
                  </a:lnTo>
                  <a:lnTo>
                    <a:pt x="877" y="27"/>
                  </a:lnTo>
                  <a:lnTo>
                    <a:pt x="876" y="28"/>
                  </a:lnTo>
                  <a:lnTo>
                    <a:pt x="875" y="28"/>
                  </a:lnTo>
                  <a:lnTo>
                    <a:pt x="870" y="29"/>
                  </a:lnTo>
                  <a:lnTo>
                    <a:pt x="864" y="29"/>
                  </a:lnTo>
                  <a:lnTo>
                    <a:pt x="860" y="28"/>
                  </a:lnTo>
                  <a:lnTo>
                    <a:pt x="860" y="28"/>
                  </a:lnTo>
                  <a:lnTo>
                    <a:pt x="857" y="28"/>
                  </a:lnTo>
                  <a:lnTo>
                    <a:pt x="853" y="31"/>
                  </a:lnTo>
                  <a:lnTo>
                    <a:pt x="850" y="35"/>
                  </a:lnTo>
                  <a:lnTo>
                    <a:pt x="848" y="40"/>
                  </a:lnTo>
                  <a:lnTo>
                    <a:pt x="848" y="40"/>
                  </a:lnTo>
                  <a:lnTo>
                    <a:pt x="848" y="51"/>
                  </a:lnTo>
                  <a:lnTo>
                    <a:pt x="848" y="64"/>
                  </a:lnTo>
                  <a:lnTo>
                    <a:pt x="848" y="64"/>
                  </a:lnTo>
                  <a:lnTo>
                    <a:pt x="850" y="67"/>
                  </a:lnTo>
                  <a:lnTo>
                    <a:pt x="851" y="69"/>
                  </a:lnTo>
                  <a:lnTo>
                    <a:pt x="854" y="69"/>
                  </a:lnTo>
                  <a:lnTo>
                    <a:pt x="857" y="69"/>
                  </a:lnTo>
                  <a:lnTo>
                    <a:pt x="857" y="69"/>
                  </a:lnTo>
                  <a:lnTo>
                    <a:pt x="857" y="69"/>
                  </a:lnTo>
                  <a:lnTo>
                    <a:pt x="857" y="70"/>
                  </a:lnTo>
                  <a:lnTo>
                    <a:pt x="856" y="74"/>
                  </a:lnTo>
                  <a:lnTo>
                    <a:pt x="850" y="82"/>
                  </a:lnTo>
                  <a:lnTo>
                    <a:pt x="850" y="82"/>
                  </a:lnTo>
                  <a:lnTo>
                    <a:pt x="844" y="86"/>
                  </a:lnTo>
                  <a:lnTo>
                    <a:pt x="843" y="89"/>
                  </a:lnTo>
                  <a:lnTo>
                    <a:pt x="843" y="90"/>
                  </a:lnTo>
                  <a:lnTo>
                    <a:pt x="843" y="90"/>
                  </a:lnTo>
                  <a:lnTo>
                    <a:pt x="844" y="97"/>
                  </a:lnTo>
                  <a:lnTo>
                    <a:pt x="843" y="102"/>
                  </a:lnTo>
                  <a:lnTo>
                    <a:pt x="841" y="105"/>
                  </a:lnTo>
                  <a:lnTo>
                    <a:pt x="841" y="105"/>
                  </a:lnTo>
                  <a:lnTo>
                    <a:pt x="832" y="106"/>
                  </a:lnTo>
                  <a:lnTo>
                    <a:pt x="831" y="108"/>
                  </a:lnTo>
                  <a:lnTo>
                    <a:pt x="830" y="108"/>
                  </a:lnTo>
                  <a:lnTo>
                    <a:pt x="830" y="108"/>
                  </a:lnTo>
                  <a:lnTo>
                    <a:pt x="831" y="111"/>
                  </a:lnTo>
                  <a:lnTo>
                    <a:pt x="830" y="112"/>
                  </a:lnTo>
                  <a:lnTo>
                    <a:pt x="828" y="115"/>
                  </a:lnTo>
                  <a:lnTo>
                    <a:pt x="825" y="118"/>
                  </a:lnTo>
                  <a:lnTo>
                    <a:pt x="825" y="118"/>
                  </a:lnTo>
                  <a:lnTo>
                    <a:pt x="822" y="119"/>
                  </a:lnTo>
                  <a:lnTo>
                    <a:pt x="822" y="121"/>
                  </a:lnTo>
                  <a:lnTo>
                    <a:pt x="827" y="124"/>
                  </a:lnTo>
                  <a:lnTo>
                    <a:pt x="827" y="124"/>
                  </a:lnTo>
                  <a:lnTo>
                    <a:pt x="830" y="124"/>
                  </a:lnTo>
                  <a:lnTo>
                    <a:pt x="830" y="125"/>
                  </a:lnTo>
                  <a:lnTo>
                    <a:pt x="825" y="134"/>
                  </a:lnTo>
                  <a:lnTo>
                    <a:pt x="825" y="134"/>
                  </a:lnTo>
                  <a:lnTo>
                    <a:pt x="822" y="141"/>
                  </a:lnTo>
                  <a:lnTo>
                    <a:pt x="822" y="150"/>
                  </a:lnTo>
                  <a:lnTo>
                    <a:pt x="822" y="164"/>
                  </a:lnTo>
                  <a:lnTo>
                    <a:pt x="822" y="164"/>
                  </a:lnTo>
                  <a:lnTo>
                    <a:pt x="822" y="168"/>
                  </a:lnTo>
                  <a:lnTo>
                    <a:pt x="821" y="173"/>
                  </a:lnTo>
                  <a:lnTo>
                    <a:pt x="818" y="176"/>
                  </a:lnTo>
                  <a:lnTo>
                    <a:pt x="818" y="179"/>
                  </a:lnTo>
                  <a:lnTo>
                    <a:pt x="818" y="179"/>
                  </a:lnTo>
                  <a:lnTo>
                    <a:pt x="817" y="184"/>
                  </a:lnTo>
                  <a:lnTo>
                    <a:pt x="815" y="189"/>
                  </a:lnTo>
                  <a:lnTo>
                    <a:pt x="814" y="193"/>
                  </a:lnTo>
                  <a:lnTo>
                    <a:pt x="815" y="195"/>
                  </a:lnTo>
                  <a:lnTo>
                    <a:pt x="817" y="196"/>
                  </a:lnTo>
                  <a:lnTo>
                    <a:pt x="817" y="196"/>
                  </a:lnTo>
                  <a:lnTo>
                    <a:pt x="818" y="196"/>
                  </a:lnTo>
                  <a:lnTo>
                    <a:pt x="819" y="195"/>
                  </a:lnTo>
                  <a:lnTo>
                    <a:pt x="822" y="187"/>
                  </a:lnTo>
                  <a:lnTo>
                    <a:pt x="827" y="174"/>
                  </a:lnTo>
                  <a:lnTo>
                    <a:pt x="827" y="174"/>
                  </a:lnTo>
                  <a:lnTo>
                    <a:pt x="827" y="174"/>
                  </a:lnTo>
                  <a:lnTo>
                    <a:pt x="828" y="176"/>
                  </a:lnTo>
                  <a:lnTo>
                    <a:pt x="834" y="180"/>
                  </a:lnTo>
                  <a:lnTo>
                    <a:pt x="840" y="184"/>
                  </a:lnTo>
                  <a:lnTo>
                    <a:pt x="846" y="187"/>
                  </a:lnTo>
                  <a:lnTo>
                    <a:pt x="846" y="187"/>
                  </a:lnTo>
                  <a:lnTo>
                    <a:pt x="850" y="190"/>
                  </a:lnTo>
                  <a:lnTo>
                    <a:pt x="854" y="195"/>
                  </a:lnTo>
                  <a:lnTo>
                    <a:pt x="857" y="199"/>
                  </a:lnTo>
                  <a:lnTo>
                    <a:pt x="857" y="200"/>
                  </a:lnTo>
                  <a:lnTo>
                    <a:pt x="856" y="202"/>
                  </a:lnTo>
                  <a:lnTo>
                    <a:pt x="856" y="202"/>
                  </a:lnTo>
                  <a:lnTo>
                    <a:pt x="854" y="203"/>
                  </a:lnTo>
                  <a:lnTo>
                    <a:pt x="853" y="202"/>
                  </a:lnTo>
                  <a:lnTo>
                    <a:pt x="848" y="199"/>
                  </a:lnTo>
                  <a:lnTo>
                    <a:pt x="843" y="195"/>
                  </a:lnTo>
                  <a:lnTo>
                    <a:pt x="838" y="193"/>
                  </a:lnTo>
                  <a:lnTo>
                    <a:pt x="834" y="192"/>
                  </a:lnTo>
                  <a:lnTo>
                    <a:pt x="834" y="192"/>
                  </a:lnTo>
                  <a:lnTo>
                    <a:pt x="831" y="192"/>
                  </a:lnTo>
                  <a:lnTo>
                    <a:pt x="830" y="193"/>
                  </a:lnTo>
                  <a:lnTo>
                    <a:pt x="830" y="195"/>
                  </a:lnTo>
                  <a:lnTo>
                    <a:pt x="830" y="196"/>
                  </a:lnTo>
                  <a:lnTo>
                    <a:pt x="837" y="203"/>
                  </a:lnTo>
                  <a:lnTo>
                    <a:pt x="837" y="203"/>
                  </a:lnTo>
                  <a:lnTo>
                    <a:pt x="838" y="205"/>
                  </a:lnTo>
                  <a:lnTo>
                    <a:pt x="837" y="206"/>
                  </a:lnTo>
                  <a:lnTo>
                    <a:pt x="835" y="206"/>
                  </a:lnTo>
                  <a:lnTo>
                    <a:pt x="832" y="208"/>
                  </a:lnTo>
                  <a:lnTo>
                    <a:pt x="832" y="208"/>
                  </a:lnTo>
                  <a:lnTo>
                    <a:pt x="832" y="208"/>
                  </a:lnTo>
                  <a:lnTo>
                    <a:pt x="834" y="209"/>
                  </a:lnTo>
                  <a:lnTo>
                    <a:pt x="838" y="212"/>
                  </a:lnTo>
                  <a:lnTo>
                    <a:pt x="838" y="212"/>
                  </a:lnTo>
                  <a:lnTo>
                    <a:pt x="840" y="212"/>
                  </a:lnTo>
                  <a:lnTo>
                    <a:pt x="840" y="212"/>
                  </a:lnTo>
                  <a:lnTo>
                    <a:pt x="837" y="213"/>
                  </a:lnTo>
                  <a:lnTo>
                    <a:pt x="835" y="216"/>
                  </a:lnTo>
                  <a:lnTo>
                    <a:pt x="838" y="216"/>
                  </a:lnTo>
                  <a:lnTo>
                    <a:pt x="838" y="216"/>
                  </a:lnTo>
                  <a:lnTo>
                    <a:pt x="843" y="219"/>
                  </a:lnTo>
                  <a:lnTo>
                    <a:pt x="847" y="222"/>
                  </a:lnTo>
                  <a:lnTo>
                    <a:pt x="854" y="228"/>
                  </a:lnTo>
                  <a:lnTo>
                    <a:pt x="854" y="228"/>
                  </a:lnTo>
                  <a:lnTo>
                    <a:pt x="854" y="228"/>
                  </a:lnTo>
                  <a:lnTo>
                    <a:pt x="856" y="228"/>
                  </a:lnTo>
                  <a:lnTo>
                    <a:pt x="856" y="224"/>
                  </a:lnTo>
                  <a:lnTo>
                    <a:pt x="857" y="222"/>
                  </a:lnTo>
                  <a:lnTo>
                    <a:pt x="859" y="221"/>
                  </a:lnTo>
                  <a:lnTo>
                    <a:pt x="861" y="221"/>
                  </a:lnTo>
                  <a:lnTo>
                    <a:pt x="864" y="221"/>
                  </a:lnTo>
                  <a:lnTo>
                    <a:pt x="864" y="221"/>
                  </a:lnTo>
                  <a:lnTo>
                    <a:pt x="869" y="224"/>
                  </a:lnTo>
                  <a:lnTo>
                    <a:pt x="870" y="229"/>
                  </a:lnTo>
                  <a:lnTo>
                    <a:pt x="872" y="235"/>
                  </a:lnTo>
                  <a:lnTo>
                    <a:pt x="873" y="241"/>
                  </a:lnTo>
                  <a:lnTo>
                    <a:pt x="872" y="252"/>
                  </a:lnTo>
                  <a:lnTo>
                    <a:pt x="870" y="258"/>
                  </a:lnTo>
                  <a:lnTo>
                    <a:pt x="870" y="258"/>
                  </a:lnTo>
                  <a:lnTo>
                    <a:pt x="869" y="260"/>
                  </a:lnTo>
                  <a:lnTo>
                    <a:pt x="866" y="260"/>
                  </a:lnTo>
                  <a:lnTo>
                    <a:pt x="860" y="257"/>
                  </a:lnTo>
                  <a:lnTo>
                    <a:pt x="854" y="252"/>
                  </a:lnTo>
                  <a:lnTo>
                    <a:pt x="848" y="251"/>
                  </a:lnTo>
                  <a:lnTo>
                    <a:pt x="848" y="251"/>
                  </a:lnTo>
                  <a:lnTo>
                    <a:pt x="834" y="248"/>
                  </a:lnTo>
                  <a:lnTo>
                    <a:pt x="821" y="245"/>
                  </a:lnTo>
                  <a:lnTo>
                    <a:pt x="821" y="245"/>
                  </a:lnTo>
                  <a:lnTo>
                    <a:pt x="821" y="247"/>
                  </a:lnTo>
                  <a:lnTo>
                    <a:pt x="827" y="248"/>
                  </a:lnTo>
                  <a:lnTo>
                    <a:pt x="832" y="251"/>
                  </a:lnTo>
                  <a:lnTo>
                    <a:pt x="835" y="252"/>
                  </a:lnTo>
                  <a:lnTo>
                    <a:pt x="835" y="252"/>
                  </a:lnTo>
                  <a:lnTo>
                    <a:pt x="832" y="252"/>
                  </a:lnTo>
                  <a:lnTo>
                    <a:pt x="828" y="252"/>
                  </a:lnTo>
                  <a:lnTo>
                    <a:pt x="821" y="252"/>
                  </a:lnTo>
                  <a:lnTo>
                    <a:pt x="821" y="252"/>
                  </a:lnTo>
                  <a:lnTo>
                    <a:pt x="822" y="254"/>
                  </a:lnTo>
                  <a:lnTo>
                    <a:pt x="827" y="257"/>
                  </a:lnTo>
                  <a:lnTo>
                    <a:pt x="831" y="260"/>
                  </a:lnTo>
                  <a:lnTo>
                    <a:pt x="834" y="264"/>
                  </a:lnTo>
                  <a:lnTo>
                    <a:pt x="834" y="264"/>
                  </a:lnTo>
                  <a:lnTo>
                    <a:pt x="832" y="266"/>
                  </a:lnTo>
                  <a:lnTo>
                    <a:pt x="832" y="267"/>
                  </a:lnTo>
                  <a:lnTo>
                    <a:pt x="830" y="268"/>
                  </a:lnTo>
                  <a:lnTo>
                    <a:pt x="828" y="270"/>
                  </a:lnTo>
                  <a:lnTo>
                    <a:pt x="831" y="274"/>
                  </a:lnTo>
                  <a:lnTo>
                    <a:pt x="831" y="274"/>
                  </a:lnTo>
                  <a:lnTo>
                    <a:pt x="838" y="279"/>
                  </a:lnTo>
                  <a:lnTo>
                    <a:pt x="840" y="281"/>
                  </a:lnTo>
                  <a:lnTo>
                    <a:pt x="840" y="284"/>
                  </a:lnTo>
                  <a:lnTo>
                    <a:pt x="840" y="284"/>
                  </a:lnTo>
                  <a:lnTo>
                    <a:pt x="840" y="289"/>
                  </a:lnTo>
                  <a:lnTo>
                    <a:pt x="843" y="292"/>
                  </a:lnTo>
                  <a:lnTo>
                    <a:pt x="847" y="294"/>
                  </a:lnTo>
                  <a:lnTo>
                    <a:pt x="848" y="297"/>
                  </a:lnTo>
                  <a:lnTo>
                    <a:pt x="848" y="297"/>
                  </a:lnTo>
                  <a:lnTo>
                    <a:pt x="848" y="300"/>
                  </a:lnTo>
                  <a:lnTo>
                    <a:pt x="847" y="302"/>
                  </a:lnTo>
                  <a:lnTo>
                    <a:pt x="844" y="305"/>
                  </a:lnTo>
                  <a:lnTo>
                    <a:pt x="835" y="309"/>
                  </a:lnTo>
                  <a:lnTo>
                    <a:pt x="835" y="309"/>
                  </a:lnTo>
                  <a:lnTo>
                    <a:pt x="835" y="309"/>
                  </a:lnTo>
                  <a:lnTo>
                    <a:pt x="835" y="310"/>
                  </a:lnTo>
                  <a:lnTo>
                    <a:pt x="841" y="315"/>
                  </a:lnTo>
                  <a:lnTo>
                    <a:pt x="846" y="319"/>
                  </a:lnTo>
                  <a:lnTo>
                    <a:pt x="847" y="321"/>
                  </a:lnTo>
                  <a:lnTo>
                    <a:pt x="847" y="322"/>
                  </a:lnTo>
                  <a:lnTo>
                    <a:pt x="847" y="322"/>
                  </a:lnTo>
                  <a:lnTo>
                    <a:pt x="846" y="323"/>
                  </a:lnTo>
                  <a:lnTo>
                    <a:pt x="847" y="326"/>
                  </a:lnTo>
                  <a:lnTo>
                    <a:pt x="850" y="332"/>
                  </a:lnTo>
                  <a:lnTo>
                    <a:pt x="850" y="332"/>
                  </a:lnTo>
                  <a:lnTo>
                    <a:pt x="853" y="336"/>
                  </a:lnTo>
                  <a:lnTo>
                    <a:pt x="853" y="345"/>
                  </a:lnTo>
                  <a:lnTo>
                    <a:pt x="853" y="352"/>
                  </a:lnTo>
                  <a:lnTo>
                    <a:pt x="851" y="355"/>
                  </a:lnTo>
                  <a:lnTo>
                    <a:pt x="850" y="357"/>
                  </a:lnTo>
                  <a:lnTo>
                    <a:pt x="850" y="357"/>
                  </a:lnTo>
                  <a:lnTo>
                    <a:pt x="847" y="357"/>
                  </a:lnTo>
                  <a:lnTo>
                    <a:pt x="846" y="357"/>
                  </a:lnTo>
                  <a:lnTo>
                    <a:pt x="843" y="352"/>
                  </a:lnTo>
                  <a:lnTo>
                    <a:pt x="841" y="345"/>
                  </a:lnTo>
                  <a:lnTo>
                    <a:pt x="841" y="345"/>
                  </a:lnTo>
                  <a:lnTo>
                    <a:pt x="840" y="344"/>
                  </a:lnTo>
                  <a:lnTo>
                    <a:pt x="838" y="344"/>
                  </a:lnTo>
                  <a:lnTo>
                    <a:pt x="832" y="347"/>
                  </a:lnTo>
                  <a:lnTo>
                    <a:pt x="832" y="347"/>
                  </a:lnTo>
                  <a:lnTo>
                    <a:pt x="832" y="345"/>
                  </a:lnTo>
                  <a:lnTo>
                    <a:pt x="831" y="345"/>
                  </a:lnTo>
                  <a:lnTo>
                    <a:pt x="827" y="341"/>
                  </a:lnTo>
                  <a:lnTo>
                    <a:pt x="824" y="336"/>
                  </a:lnTo>
                  <a:lnTo>
                    <a:pt x="822" y="336"/>
                  </a:lnTo>
                  <a:lnTo>
                    <a:pt x="819" y="338"/>
                  </a:lnTo>
                  <a:lnTo>
                    <a:pt x="819" y="338"/>
                  </a:lnTo>
                  <a:lnTo>
                    <a:pt x="819" y="339"/>
                  </a:lnTo>
                  <a:lnTo>
                    <a:pt x="819" y="342"/>
                  </a:lnTo>
                  <a:lnTo>
                    <a:pt x="822" y="348"/>
                  </a:lnTo>
                  <a:lnTo>
                    <a:pt x="827" y="354"/>
                  </a:lnTo>
                  <a:lnTo>
                    <a:pt x="830" y="358"/>
                  </a:lnTo>
                  <a:lnTo>
                    <a:pt x="830" y="358"/>
                  </a:lnTo>
                  <a:lnTo>
                    <a:pt x="830" y="360"/>
                  </a:lnTo>
                  <a:lnTo>
                    <a:pt x="828" y="361"/>
                  </a:lnTo>
                  <a:lnTo>
                    <a:pt x="824" y="361"/>
                  </a:lnTo>
                  <a:lnTo>
                    <a:pt x="819" y="361"/>
                  </a:lnTo>
                  <a:lnTo>
                    <a:pt x="815" y="361"/>
                  </a:lnTo>
                  <a:lnTo>
                    <a:pt x="815" y="361"/>
                  </a:lnTo>
                  <a:lnTo>
                    <a:pt x="815" y="363"/>
                  </a:lnTo>
                  <a:lnTo>
                    <a:pt x="815" y="364"/>
                  </a:lnTo>
                  <a:lnTo>
                    <a:pt x="818" y="365"/>
                  </a:lnTo>
                  <a:lnTo>
                    <a:pt x="828" y="367"/>
                  </a:lnTo>
                  <a:lnTo>
                    <a:pt x="828" y="367"/>
                  </a:lnTo>
                  <a:lnTo>
                    <a:pt x="830" y="368"/>
                  </a:lnTo>
                  <a:lnTo>
                    <a:pt x="830" y="371"/>
                  </a:lnTo>
                  <a:lnTo>
                    <a:pt x="830" y="378"/>
                  </a:lnTo>
                  <a:lnTo>
                    <a:pt x="830" y="384"/>
                  </a:lnTo>
                  <a:lnTo>
                    <a:pt x="831" y="390"/>
                  </a:lnTo>
                  <a:lnTo>
                    <a:pt x="831" y="390"/>
                  </a:lnTo>
                  <a:lnTo>
                    <a:pt x="834" y="392"/>
                  </a:lnTo>
                  <a:lnTo>
                    <a:pt x="837" y="393"/>
                  </a:lnTo>
                  <a:lnTo>
                    <a:pt x="841" y="393"/>
                  </a:lnTo>
                  <a:lnTo>
                    <a:pt x="846" y="393"/>
                  </a:lnTo>
                  <a:lnTo>
                    <a:pt x="846" y="393"/>
                  </a:lnTo>
                  <a:lnTo>
                    <a:pt x="850" y="392"/>
                  </a:lnTo>
                  <a:lnTo>
                    <a:pt x="853" y="393"/>
                  </a:lnTo>
                  <a:lnTo>
                    <a:pt x="854" y="396"/>
                  </a:lnTo>
                  <a:lnTo>
                    <a:pt x="856" y="399"/>
                  </a:lnTo>
                  <a:lnTo>
                    <a:pt x="856" y="399"/>
                  </a:lnTo>
                  <a:lnTo>
                    <a:pt x="857" y="403"/>
                  </a:lnTo>
                  <a:lnTo>
                    <a:pt x="857" y="406"/>
                  </a:lnTo>
                  <a:lnTo>
                    <a:pt x="854" y="407"/>
                  </a:lnTo>
                  <a:lnTo>
                    <a:pt x="850" y="409"/>
                  </a:lnTo>
                  <a:lnTo>
                    <a:pt x="850" y="409"/>
                  </a:lnTo>
                  <a:lnTo>
                    <a:pt x="846" y="407"/>
                  </a:lnTo>
                  <a:lnTo>
                    <a:pt x="840" y="405"/>
                  </a:lnTo>
                  <a:lnTo>
                    <a:pt x="837" y="403"/>
                  </a:lnTo>
                  <a:lnTo>
                    <a:pt x="835" y="402"/>
                  </a:lnTo>
                  <a:lnTo>
                    <a:pt x="834" y="402"/>
                  </a:lnTo>
                  <a:lnTo>
                    <a:pt x="834" y="402"/>
                  </a:lnTo>
                  <a:lnTo>
                    <a:pt x="832" y="403"/>
                  </a:lnTo>
                  <a:lnTo>
                    <a:pt x="832" y="405"/>
                  </a:lnTo>
                  <a:lnTo>
                    <a:pt x="835" y="406"/>
                  </a:lnTo>
                  <a:lnTo>
                    <a:pt x="838" y="410"/>
                  </a:lnTo>
                  <a:lnTo>
                    <a:pt x="841" y="415"/>
                  </a:lnTo>
                  <a:lnTo>
                    <a:pt x="841" y="415"/>
                  </a:lnTo>
                  <a:lnTo>
                    <a:pt x="843" y="416"/>
                  </a:lnTo>
                  <a:lnTo>
                    <a:pt x="843" y="418"/>
                  </a:lnTo>
                  <a:lnTo>
                    <a:pt x="838" y="416"/>
                  </a:lnTo>
                  <a:lnTo>
                    <a:pt x="834" y="415"/>
                  </a:lnTo>
                  <a:lnTo>
                    <a:pt x="828" y="415"/>
                  </a:lnTo>
                  <a:lnTo>
                    <a:pt x="828" y="415"/>
                  </a:lnTo>
                  <a:lnTo>
                    <a:pt x="825" y="416"/>
                  </a:lnTo>
                  <a:lnTo>
                    <a:pt x="827" y="418"/>
                  </a:lnTo>
                  <a:lnTo>
                    <a:pt x="830" y="419"/>
                  </a:lnTo>
                  <a:lnTo>
                    <a:pt x="831" y="422"/>
                  </a:lnTo>
                  <a:lnTo>
                    <a:pt x="831" y="422"/>
                  </a:lnTo>
                  <a:lnTo>
                    <a:pt x="831" y="423"/>
                  </a:lnTo>
                  <a:lnTo>
                    <a:pt x="830" y="423"/>
                  </a:lnTo>
                  <a:lnTo>
                    <a:pt x="824" y="421"/>
                  </a:lnTo>
                  <a:lnTo>
                    <a:pt x="817" y="416"/>
                  </a:lnTo>
                  <a:lnTo>
                    <a:pt x="817" y="416"/>
                  </a:lnTo>
                  <a:lnTo>
                    <a:pt x="817" y="413"/>
                  </a:lnTo>
                  <a:lnTo>
                    <a:pt x="818" y="410"/>
                  </a:lnTo>
                  <a:lnTo>
                    <a:pt x="824" y="403"/>
                  </a:lnTo>
                  <a:lnTo>
                    <a:pt x="824" y="403"/>
                  </a:lnTo>
                  <a:lnTo>
                    <a:pt x="825" y="402"/>
                  </a:lnTo>
                  <a:lnTo>
                    <a:pt x="824" y="400"/>
                  </a:lnTo>
                  <a:lnTo>
                    <a:pt x="822" y="399"/>
                  </a:lnTo>
                  <a:lnTo>
                    <a:pt x="819" y="400"/>
                  </a:lnTo>
                  <a:lnTo>
                    <a:pt x="819" y="400"/>
                  </a:lnTo>
                  <a:lnTo>
                    <a:pt x="817" y="400"/>
                  </a:lnTo>
                  <a:lnTo>
                    <a:pt x="815" y="400"/>
                  </a:lnTo>
                  <a:lnTo>
                    <a:pt x="811" y="396"/>
                  </a:lnTo>
                  <a:lnTo>
                    <a:pt x="811" y="396"/>
                  </a:lnTo>
                  <a:lnTo>
                    <a:pt x="808" y="394"/>
                  </a:lnTo>
                  <a:lnTo>
                    <a:pt x="805" y="394"/>
                  </a:lnTo>
                  <a:lnTo>
                    <a:pt x="805" y="397"/>
                  </a:lnTo>
                  <a:lnTo>
                    <a:pt x="806" y="403"/>
                  </a:lnTo>
                  <a:lnTo>
                    <a:pt x="806" y="403"/>
                  </a:lnTo>
                  <a:lnTo>
                    <a:pt x="809" y="409"/>
                  </a:lnTo>
                  <a:lnTo>
                    <a:pt x="811" y="412"/>
                  </a:lnTo>
                  <a:lnTo>
                    <a:pt x="809" y="413"/>
                  </a:lnTo>
                  <a:lnTo>
                    <a:pt x="806" y="413"/>
                  </a:lnTo>
                  <a:lnTo>
                    <a:pt x="806" y="413"/>
                  </a:lnTo>
                  <a:lnTo>
                    <a:pt x="802" y="413"/>
                  </a:lnTo>
                  <a:lnTo>
                    <a:pt x="798" y="413"/>
                  </a:lnTo>
                  <a:lnTo>
                    <a:pt x="796" y="415"/>
                  </a:lnTo>
                  <a:lnTo>
                    <a:pt x="795" y="418"/>
                  </a:lnTo>
                  <a:lnTo>
                    <a:pt x="795" y="418"/>
                  </a:lnTo>
                  <a:lnTo>
                    <a:pt x="796" y="421"/>
                  </a:lnTo>
                  <a:lnTo>
                    <a:pt x="799" y="422"/>
                  </a:lnTo>
                  <a:lnTo>
                    <a:pt x="805" y="423"/>
                  </a:lnTo>
                  <a:lnTo>
                    <a:pt x="818" y="425"/>
                  </a:lnTo>
                  <a:lnTo>
                    <a:pt x="818" y="425"/>
                  </a:lnTo>
                  <a:lnTo>
                    <a:pt x="831" y="429"/>
                  </a:lnTo>
                  <a:lnTo>
                    <a:pt x="835" y="431"/>
                  </a:lnTo>
                  <a:lnTo>
                    <a:pt x="837" y="432"/>
                  </a:lnTo>
                  <a:lnTo>
                    <a:pt x="835" y="432"/>
                  </a:lnTo>
                  <a:lnTo>
                    <a:pt x="835" y="432"/>
                  </a:lnTo>
                  <a:lnTo>
                    <a:pt x="834" y="436"/>
                  </a:lnTo>
                  <a:lnTo>
                    <a:pt x="834" y="442"/>
                  </a:lnTo>
                  <a:lnTo>
                    <a:pt x="834" y="449"/>
                  </a:lnTo>
                  <a:lnTo>
                    <a:pt x="837" y="455"/>
                  </a:lnTo>
                  <a:lnTo>
                    <a:pt x="837" y="455"/>
                  </a:lnTo>
                  <a:lnTo>
                    <a:pt x="837" y="457"/>
                  </a:lnTo>
                  <a:lnTo>
                    <a:pt x="835" y="457"/>
                  </a:lnTo>
                  <a:lnTo>
                    <a:pt x="832" y="457"/>
                  </a:lnTo>
                  <a:lnTo>
                    <a:pt x="822" y="455"/>
                  </a:lnTo>
                  <a:lnTo>
                    <a:pt x="822" y="455"/>
                  </a:lnTo>
                  <a:lnTo>
                    <a:pt x="821" y="455"/>
                  </a:lnTo>
                  <a:lnTo>
                    <a:pt x="819" y="457"/>
                  </a:lnTo>
                  <a:lnTo>
                    <a:pt x="817" y="460"/>
                  </a:lnTo>
                  <a:lnTo>
                    <a:pt x="817" y="460"/>
                  </a:lnTo>
                  <a:lnTo>
                    <a:pt x="817" y="460"/>
                  </a:lnTo>
                  <a:lnTo>
                    <a:pt x="815" y="460"/>
                  </a:lnTo>
                  <a:lnTo>
                    <a:pt x="809" y="457"/>
                  </a:lnTo>
                  <a:lnTo>
                    <a:pt x="809" y="457"/>
                  </a:lnTo>
                  <a:lnTo>
                    <a:pt x="808" y="457"/>
                  </a:lnTo>
                  <a:lnTo>
                    <a:pt x="806" y="458"/>
                  </a:lnTo>
                  <a:lnTo>
                    <a:pt x="805" y="464"/>
                  </a:lnTo>
                  <a:lnTo>
                    <a:pt x="805" y="464"/>
                  </a:lnTo>
                  <a:lnTo>
                    <a:pt x="804" y="464"/>
                  </a:lnTo>
                  <a:lnTo>
                    <a:pt x="802" y="464"/>
                  </a:lnTo>
                  <a:lnTo>
                    <a:pt x="798" y="460"/>
                  </a:lnTo>
                  <a:lnTo>
                    <a:pt x="792" y="455"/>
                  </a:lnTo>
                  <a:lnTo>
                    <a:pt x="786" y="451"/>
                  </a:lnTo>
                  <a:lnTo>
                    <a:pt x="786" y="451"/>
                  </a:lnTo>
                  <a:lnTo>
                    <a:pt x="783" y="449"/>
                  </a:lnTo>
                  <a:lnTo>
                    <a:pt x="780" y="445"/>
                  </a:lnTo>
                  <a:lnTo>
                    <a:pt x="779" y="444"/>
                  </a:lnTo>
                  <a:lnTo>
                    <a:pt x="779" y="441"/>
                  </a:lnTo>
                  <a:lnTo>
                    <a:pt x="779" y="441"/>
                  </a:lnTo>
                  <a:lnTo>
                    <a:pt x="782" y="441"/>
                  </a:lnTo>
                  <a:lnTo>
                    <a:pt x="786" y="441"/>
                  </a:lnTo>
                  <a:lnTo>
                    <a:pt x="796" y="442"/>
                  </a:lnTo>
                  <a:lnTo>
                    <a:pt x="796" y="442"/>
                  </a:lnTo>
                  <a:lnTo>
                    <a:pt x="796" y="442"/>
                  </a:lnTo>
                  <a:lnTo>
                    <a:pt x="795" y="441"/>
                  </a:lnTo>
                  <a:lnTo>
                    <a:pt x="788" y="436"/>
                  </a:lnTo>
                  <a:lnTo>
                    <a:pt x="779" y="434"/>
                  </a:lnTo>
                  <a:lnTo>
                    <a:pt x="772" y="432"/>
                  </a:lnTo>
                  <a:lnTo>
                    <a:pt x="772" y="432"/>
                  </a:lnTo>
                  <a:lnTo>
                    <a:pt x="769" y="432"/>
                  </a:lnTo>
                  <a:lnTo>
                    <a:pt x="769" y="432"/>
                  </a:lnTo>
                  <a:lnTo>
                    <a:pt x="769" y="436"/>
                  </a:lnTo>
                  <a:lnTo>
                    <a:pt x="770" y="441"/>
                  </a:lnTo>
                  <a:lnTo>
                    <a:pt x="770" y="445"/>
                  </a:lnTo>
                  <a:lnTo>
                    <a:pt x="770" y="445"/>
                  </a:lnTo>
                  <a:lnTo>
                    <a:pt x="770" y="447"/>
                  </a:lnTo>
                  <a:lnTo>
                    <a:pt x="769" y="447"/>
                  </a:lnTo>
                  <a:lnTo>
                    <a:pt x="766" y="444"/>
                  </a:lnTo>
                  <a:lnTo>
                    <a:pt x="762" y="438"/>
                  </a:lnTo>
                  <a:lnTo>
                    <a:pt x="762" y="438"/>
                  </a:lnTo>
                  <a:lnTo>
                    <a:pt x="760" y="438"/>
                  </a:lnTo>
                  <a:lnTo>
                    <a:pt x="759" y="441"/>
                  </a:lnTo>
                  <a:lnTo>
                    <a:pt x="760" y="448"/>
                  </a:lnTo>
                  <a:lnTo>
                    <a:pt x="760" y="448"/>
                  </a:lnTo>
                  <a:lnTo>
                    <a:pt x="759" y="451"/>
                  </a:lnTo>
                  <a:lnTo>
                    <a:pt x="757" y="457"/>
                  </a:lnTo>
                  <a:lnTo>
                    <a:pt x="753" y="461"/>
                  </a:lnTo>
                  <a:lnTo>
                    <a:pt x="750" y="465"/>
                  </a:lnTo>
                  <a:lnTo>
                    <a:pt x="750" y="465"/>
                  </a:lnTo>
                  <a:lnTo>
                    <a:pt x="746" y="467"/>
                  </a:lnTo>
                  <a:lnTo>
                    <a:pt x="740" y="467"/>
                  </a:lnTo>
                  <a:lnTo>
                    <a:pt x="735" y="467"/>
                  </a:lnTo>
                  <a:lnTo>
                    <a:pt x="733" y="470"/>
                  </a:lnTo>
                  <a:lnTo>
                    <a:pt x="733" y="470"/>
                  </a:lnTo>
                  <a:lnTo>
                    <a:pt x="733" y="471"/>
                  </a:lnTo>
                  <a:lnTo>
                    <a:pt x="733" y="471"/>
                  </a:lnTo>
                  <a:lnTo>
                    <a:pt x="735" y="473"/>
                  </a:lnTo>
                  <a:lnTo>
                    <a:pt x="746" y="473"/>
                  </a:lnTo>
                  <a:lnTo>
                    <a:pt x="746" y="473"/>
                  </a:lnTo>
                  <a:lnTo>
                    <a:pt x="751" y="473"/>
                  </a:lnTo>
                  <a:lnTo>
                    <a:pt x="754" y="476"/>
                  </a:lnTo>
                  <a:lnTo>
                    <a:pt x="760" y="480"/>
                  </a:lnTo>
                  <a:lnTo>
                    <a:pt x="760" y="480"/>
                  </a:lnTo>
                  <a:lnTo>
                    <a:pt x="760" y="480"/>
                  </a:lnTo>
                  <a:lnTo>
                    <a:pt x="760" y="481"/>
                  </a:lnTo>
                  <a:lnTo>
                    <a:pt x="757" y="483"/>
                  </a:lnTo>
                  <a:lnTo>
                    <a:pt x="751" y="486"/>
                  </a:lnTo>
                  <a:lnTo>
                    <a:pt x="751" y="486"/>
                  </a:lnTo>
                  <a:lnTo>
                    <a:pt x="746" y="489"/>
                  </a:lnTo>
                  <a:lnTo>
                    <a:pt x="738" y="491"/>
                  </a:lnTo>
                  <a:lnTo>
                    <a:pt x="738" y="491"/>
                  </a:lnTo>
                  <a:lnTo>
                    <a:pt x="737" y="493"/>
                  </a:lnTo>
                  <a:lnTo>
                    <a:pt x="735" y="496"/>
                  </a:lnTo>
                  <a:lnTo>
                    <a:pt x="735" y="499"/>
                  </a:lnTo>
                  <a:lnTo>
                    <a:pt x="737" y="502"/>
                  </a:lnTo>
                  <a:lnTo>
                    <a:pt x="737" y="502"/>
                  </a:lnTo>
                  <a:lnTo>
                    <a:pt x="738" y="503"/>
                  </a:lnTo>
                  <a:lnTo>
                    <a:pt x="741" y="503"/>
                  </a:lnTo>
                  <a:lnTo>
                    <a:pt x="746" y="499"/>
                  </a:lnTo>
                  <a:lnTo>
                    <a:pt x="753" y="494"/>
                  </a:lnTo>
                  <a:lnTo>
                    <a:pt x="759" y="491"/>
                  </a:lnTo>
                  <a:lnTo>
                    <a:pt x="759" y="491"/>
                  </a:lnTo>
                  <a:lnTo>
                    <a:pt x="760" y="491"/>
                  </a:lnTo>
                  <a:lnTo>
                    <a:pt x="763" y="493"/>
                  </a:lnTo>
                  <a:lnTo>
                    <a:pt x="764" y="497"/>
                  </a:lnTo>
                  <a:lnTo>
                    <a:pt x="769" y="506"/>
                  </a:lnTo>
                  <a:lnTo>
                    <a:pt x="769" y="506"/>
                  </a:lnTo>
                  <a:lnTo>
                    <a:pt x="769" y="507"/>
                  </a:lnTo>
                  <a:lnTo>
                    <a:pt x="766" y="509"/>
                  </a:lnTo>
                  <a:lnTo>
                    <a:pt x="760" y="509"/>
                  </a:lnTo>
                  <a:lnTo>
                    <a:pt x="753" y="509"/>
                  </a:lnTo>
                  <a:lnTo>
                    <a:pt x="747" y="509"/>
                  </a:lnTo>
                  <a:lnTo>
                    <a:pt x="747" y="509"/>
                  </a:lnTo>
                  <a:lnTo>
                    <a:pt x="746" y="510"/>
                  </a:lnTo>
                  <a:lnTo>
                    <a:pt x="747" y="510"/>
                  </a:lnTo>
                  <a:lnTo>
                    <a:pt x="753" y="513"/>
                  </a:lnTo>
                  <a:lnTo>
                    <a:pt x="753" y="513"/>
                  </a:lnTo>
                  <a:lnTo>
                    <a:pt x="754" y="515"/>
                  </a:lnTo>
                  <a:lnTo>
                    <a:pt x="754" y="516"/>
                  </a:lnTo>
                  <a:lnTo>
                    <a:pt x="753" y="520"/>
                  </a:lnTo>
                  <a:lnTo>
                    <a:pt x="751" y="523"/>
                  </a:lnTo>
                  <a:lnTo>
                    <a:pt x="751" y="525"/>
                  </a:lnTo>
                  <a:lnTo>
                    <a:pt x="751" y="525"/>
                  </a:lnTo>
                  <a:lnTo>
                    <a:pt x="751" y="525"/>
                  </a:lnTo>
                  <a:lnTo>
                    <a:pt x="756" y="523"/>
                  </a:lnTo>
                  <a:lnTo>
                    <a:pt x="760" y="520"/>
                  </a:lnTo>
                  <a:lnTo>
                    <a:pt x="766" y="516"/>
                  </a:lnTo>
                  <a:lnTo>
                    <a:pt x="770" y="515"/>
                  </a:lnTo>
                  <a:lnTo>
                    <a:pt x="770" y="515"/>
                  </a:lnTo>
                  <a:lnTo>
                    <a:pt x="776" y="519"/>
                  </a:lnTo>
                  <a:lnTo>
                    <a:pt x="785" y="526"/>
                  </a:lnTo>
                  <a:lnTo>
                    <a:pt x="798" y="539"/>
                  </a:lnTo>
                  <a:lnTo>
                    <a:pt x="798" y="539"/>
                  </a:lnTo>
                  <a:lnTo>
                    <a:pt x="798" y="541"/>
                  </a:lnTo>
                  <a:lnTo>
                    <a:pt x="796" y="544"/>
                  </a:lnTo>
                  <a:lnTo>
                    <a:pt x="792" y="548"/>
                  </a:lnTo>
                  <a:lnTo>
                    <a:pt x="792" y="548"/>
                  </a:lnTo>
                  <a:lnTo>
                    <a:pt x="790" y="551"/>
                  </a:lnTo>
                  <a:lnTo>
                    <a:pt x="792" y="552"/>
                  </a:lnTo>
                  <a:lnTo>
                    <a:pt x="796" y="557"/>
                  </a:lnTo>
                  <a:lnTo>
                    <a:pt x="796" y="557"/>
                  </a:lnTo>
                  <a:lnTo>
                    <a:pt x="798" y="557"/>
                  </a:lnTo>
                  <a:lnTo>
                    <a:pt x="799" y="555"/>
                  </a:lnTo>
                  <a:lnTo>
                    <a:pt x="804" y="552"/>
                  </a:lnTo>
                  <a:lnTo>
                    <a:pt x="806" y="549"/>
                  </a:lnTo>
                  <a:lnTo>
                    <a:pt x="809" y="548"/>
                  </a:lnTo>
                  <a:lnTo>
                    <a:pt x="811" y="549"/>
                  </a:lnTo>
                  <a:lnTo>
                    <a:pt x="811" y="549"/>
                  </a:lnTo>
                  <a:lnTo>
                    <a:pt x="811" y="551"/>
                  </a:lnTo>
                  <a:lnTo>
                    <a:pt x="811" y="552"/>
                  </a:lnTo>
                  <a:lnTo>
                    <a:pt x="808" y="557"/>
                  </a:lnTo>
                  <a:lnTo>
                    <a:pt x="799" y="564"/>
                  </a:lnTo>
                  <a:lnTo>
                    <a:pt x="799" y="564"/>
                  </a:lnTo>
                  <a:lnTo>
                    <a:pt x="798" y="567"/>
                  </a:lnTo>
                  <a:lnTo>
                    <a:pt x="796" y="570"/>
                  </a:lnTo>
                  <a:lnTo>
                    <a:pt x="798" y="573"/>
                  </a:lnTo>
                  <a:lnTo>
                    <a:pt x="801" y="575"/>
                  </a:lnTo>
                  <a:lnTo>
                    <a:pt x="801" y="575"/>
                  </a:lnTo>
                  <a:lnTo>
                    <a:pt x="805" y="577"/>
                  </a:lnTo>
                  <a:lnTo>
                    <a:pt x="806" y="575"/>
                  </a:lnTo>
                  <a:lnTo>
                    <a:pt x="808" y="573"/>
                  </a:lnTo>
                  <a:lnTo>
                    <a:pt x="809" y="570"/>
                  </a:lnTo>
                  <a:lnTo>
                    <a:pt x="809" y="570"/>
                  </a:lnTo>
                  <a:lnTo>
                    <a:pt x="812" y="565"/>
                  </a:lnTo>
                  <a:lnTo>
                    <a:pt x="815" y="561"/>
                  </a:lnTo>
                  <a:lnTo>
                    <a:pt x="815" y="561"/>
                  </a:lnTo>
                  <a:lnTo>
                    <a:pt x="817" y="562"/>
                  </a:lnTo>
                  <a:lnTo>
                    <a:pt x="817" y="565"/>
                  </a:lnTo>
                  <a:lnTo>
                    <a:pt x="815" y="577"/>
                  </a:lnTo>
                  <a:lnTo>
                    <a:pt x="812" y="600"/>
                  </a:lnTo>
                  <a:lnTo>
                    <a:pt x="812" y="600"/>
                  </a:lnTo>
                  <a:lnTo>
                    <a:pt x="814" y="606"/>
                  </a:lnTo>
                  <a:lnTo>
                    <a:pt x="815" y="610"/>
                  </a:lnTo>
                  <a:lnTo>
                    <a:pt x="817" y="615"/>
                  </a:lnTo>
                  <a:lnTo>
                    <a:pt x="814" y="617"/>
                  </a:lnTo>
                  <a:lnTo>
                    <a:pt x="814" y="617"/>
                  </a:lnTo>
                  <a:lnTo>
                    <a:pt x="811" y="619"/>
                  </a:lnTo>
                  <a:lnTo>
                    <a:pt x="808" y="617"/>
                  </a:lnTo>
                  <a:lnTo>
                    <a:pt x="805" y="616"/>
                  </a:lnTo>
                  <a:lnTo>
                    <a:pt x="802" y="613"/>
                  </a:lnTo>
                  <a:lnTo>
                    <a:pt x="802" y="613"/>
                  </a:lnTo>
                  <a:lnTo>
                    <a:pt x="801" y="613"/>
                  </a:lnTo>
                  <a:lnTo>
                    <a:pt x="799" y="613"/>
                  </a:lnTo>
                  <a:lnTo>
                    <a:pt x="798" y="616"/>
                  </a:lnTo>
                  <a:lnTo>
                    <a:pt x="795" y="619"/>
                  </a:lnTo>
                  <a:lnTo>
                    <a:pt x="793" y="620"/>
                  </a:lnTo>
                  <a:lnTo>
                    <a:pt x="790" y="622"/>
                  </a:lnTo>
                  <a:lnTo>
                    <a:pt x="790" y="622"/>
                  </a:lnTo>
                  <a:lnTo>
                    <a:pt x="786" y="620"/>
                  </a:lnTo>
                  <a:lnTo>
                    <a:pt x="783" y="616"/>
                  </a:lnTo>
                  <a:lnTo>
                    <a:pt x="777" y="604"/>
                  </a:lnTo>
                  <a:lnTo>
                    <a:pt x="772" y="581"/>
                  </a:lnTo>
                  <a:lnTo>
                    <a:pt x="772" y="581"/>
                  </a:lnTo>
                  <a:lnTo>
                    <a:pt x="772" y="578"/>
                  </a:lnTo>
                  <a:lnTo>
                    <a:pt x="770" y="578"/>
                  </a:lnTo>
                  <a:lnTo>
                    <a:pt x="767" y="578"/>
                  </a:lnTo>
                  <a:lnTo>
                    <a:pt x="766" y="580"/>
                  </a:lnTo>
                  <a:lnTo>
                    <a:pt x="763" y="580"/>
                  </a:lnTo>
                  <a:lnTo>
                    <a:pt x="763" y="580"/>
                  </a:lnTo>
                  <a:lnTo>
                    <a:pt x="753" y="574"/>
                  </a:lnTo>
                  <a:lnTo>
                    <a:pt x="747" y="571"/>
                  </a:lnTo>
                  <a:lnTo>
                    <a:pt x="741" y="570"/>
                  </a:lnTo>
                  <a:lnTo>
                    <a:pt x="741" y="570"/>
                  </a:lnTo>
                  <a:lnTo>
                    <a:pt x="737" y="568"/>
                  </a:lnTo>
                  <a:lnTo>
                    <a:pt x="730" y="562"/>
                  </a:lnTo>
                  <a:lnTo>
                    <a:pt x="724" y="557"/>
                  </a:lnTo>
                  <a:lnTo>
                    <a:pt x="720" y="554"/>
                  </a:lnTo>
                  <a:lnTo>
                    <a:pt x="720" y="554"/>
                  </a:lnTo>
                  <a:lnTo>
                    <a:pt x="720" y="554"/>
                  </a:lnTo>
                  <a:lnTo>
                    <a:pt x="720" y="555"/>
                  </a:lnTo>
                  <a:lnTo>
                    <a:pt x="722" y="560"/>
                  </a:lnTo>
                  <a:lnTo>
                    <a:pt x="725" y="565"/>
                  </a:lnTo>
                  <a:lnTo>
                    <a:pt x="727" y="570"/>
                  </a:lnTo>
                  <a:lnTo>
                    <a:pt x="727" y="570"/>
                  </a:lnTo>
                  <a:lnTo>
                    <a:pt x="725" y="571"/>
                  </a:lnTo>
                  <a:lnTo>
                    <a:pt x="724" y="573"/>
                  </a:lnTo>
                  <a:lnTo>
                    <a:pt x="718" y="577"/>
                  </a:lnTo>
                  <a:lnTo>
                    <a:pt x="712" y="581"/>
                  </a:lnTo>
                  <a:lnTo>
                    <a:pt x="709" y="584"/>
                  </a:lnTo>
                  <a:lnTo>
                    <a:pt x="709" y="584"/>
                  </a:lnTo>
                  <a:lnTo>
                    <a:pt x="708" y="587"/>
                  </a:lnTo>
                  <a:lnTo>
                    <a:pt x="709" y="589"/>
                  </a:lnTo>
                  <a:lnTo>
                    <a:pt x="712" y="594"/>
                  </a:lnTo>
                  <a:lnTo>
                    <a:pt x="715" y="600"/>
                  </a:lnTo>
                  <a:lnTo>
                    <a:pt x="718" y="606"/>
                  </a:lnTo>
                  <a:lnTo>
                    <a:pt x="718" y="606"/>
                  </a:lnTo>
                  <a:lnTo>
                    <a:pt x="718" y="607"/>
                  </a:lnTo>
                  <a:lnTo>
                    <a:pt x="717" y="609"/>
                  </a:lnTo>
                  <a:lnTo>
                    <a:pt x="714" y="610"/>
                  </a:lnTo>
                  <a:lnTo>
                    <a:pt x="708" y="612"/>
                  </a:lnTo>
                  <a:lnTo>
                    <a:pt x="702" y="612"/>
                  </a:lnTo>
                  <a:lnTo>
                    <a:pt x="702" y="612"/>
                  </a:lnTo>
                  <a:lnTo>
                    <a:pt x="701" y="613"/>
                  </a:lnTo>
                  <a:lnTo>
                    <a:pt x="701" y="615"/>
                  </a:lnTo>
                  <a:lnTo>
                    <a:pt x="704" y="617"/>
                  </a:lnTo>
                  <a:lnTo>
                    <a:pt x="711" y="623"/>
                  </a:lnTo>
                  <a:lnTo>
                    <a:pt x="711" y="623"/>
                  </a:lnTo>
                  <a:lnTo>
                    <a:pt x="715" y="625"/>
                  </a:lnTo>
                  <a:lnTo>
                    <a:pt x="725" y="625"/>
                  </a:lnTo>
                  <a:lnTo>
                    <a:pt x="741" y="623"/>
                  </a:lnTo>
                  <a:lnTo>
                    <a:pt x="741" y="623"/>
                  </a:lnTo>
                  <a:lnTo>
                    <a:pt x="743" y="623"/>
                  </a:lnTo>
                  <a:lnTo>
                    <a:pt x="740" y="623"/>
                  </a:lnTo>
                  <a:lnTo>
                    <a:pt x="734" y="625"/>
                  </a:lnTo>
                  <a:lnTo>
                    <a:pt x="728" y="628"/>
                  </a:lnTo>
                  <a:lnTo>
                    <a:pt x="728" y="628"/>
                  </a:lnTo>
                  <a:lnTo>
                    <a:pt x="727" y="631"/>
                  </a:lnTo>
                  <a:lnTo>
                    <a:pt x="724" y="632"/>
                  </a:lnTo>
                  <a:lnTo>
                    <a:pt x="715" y="633"/>
                  </a:lnTo>
                  <a:lnTo>
                    <a:pt x="709" y="635"/>
                  </a:lnTo>
                  <a:lnTo>
                    <a:pt x="706" y="636"/>
                  </a:lnTo>
                  <a:lnTo>
                    <a:pt x="706" y="636"/>
                  </a:lnTo>
                  <a:lnTo>
                    <a:pt x="706" y="636"/>
                  </a:lnTo>
                  <a:lnTo>
                    <a:pt x="708" y="636"/>
                  </a:lnTo>
                  <a:lnTo>
                    <a:pt x="712" y="635"/>
                  </a:lnTo>
                  <a:lnTo>
                    <a:pt x="712" y="635"/>
                  </a:lnTo>
                  <a:lnTo>
                    <a:pt x="715" y="635"/>
                  </a:lnTo>
                  <a:lnTo>
                    <a:pt x="715" y="635"/>
                  </a:lnTo>
                  <a:lnTo>
                    <a:pt x="715" y="639"/>
                  </a:lnTo>
                  <a:lnTo>
                    <a:pt x="715" y="639"/>
                  </a:lnTo>
                  <a:lnTo>
                    <a:pt x="717" y="639"/>
                  </a:lnTo>
                  <a:lnTo>
                    <a:pt x="718" y="639"/>
                  </a:lnTo>
                  <a:lnTo>
                    <a:pt x="721" y="636"/>
                  </a:lnTo>
                  <a:lnTo>
                    <a:pt x="721" y="636"/>
                  </a:lnTo>
                  <a:lnTo>
                    <a:pt x="722" y="636"/>
                  </a:lnTo>
                  <a:lnTo>
                    <a:pt x="722" y="636"/>
                  </a:lnTo>
                  <a:lnTo>
                    <a:pt x="725" y="639"/>
                  </a:lnTo>
                  <a:lnTo>
                    <a:pt x="725" y="639"/>
                  </a:lnTo>
                  <a:lnTo>
                    <a:pt x="727" y="639"/>
                  </a:lnTo>
                  <a:lnTo>
                    <a:pt x="728" y="636"/>
                  </a:lnTo>
                  <a:lnTo>
                    <a:pt x="731" y="635"/>
                  </a:lnTo>
                  <a:lnTo>
                    <a:pt x="734" y="632"/>
                  </a:lnTo>
                  <a:lnTo>
                    <a:pt x="734" y="632"/>
                  </a:lnTo>
                  <a:lnTo>
                    <a:pt x="735" y="632"/>
                  </a:lnTo>
                  <a:lnTo>
                    <a:pt x="738" y="632"/>
                  </a:lnTo>
                  <a:lnTo>
                    <a:pt x="744" y="633"/>
                  </a:lnTo>
                  <a:lnTo>
                    <a:pt x="744" y="633"/>
                  </a:lnTo>
                  <a:lnTo>
                    <a:pt x="747" y="632"/>
                  </a:lnTo>
                  <a:lnTo>
                    <a:pt x="751" y="628"/>
                  </a:lnTo>
                  <a:lnTo>
                    <a:pt x="759" y="622"/>
                  </a:lnTo>
                  <a:lnTo>
                    <a:pt x="759" y="622"/>
                  </a:lnTo>
                  <a:lnTo>
                    <a:pt x="762" y="622"/>
                  </a:lnTo>
                  <a:lnTo>
                    <a:pt x="769" y="625"/>
                  </a:lnTo>
                  <a:lnTo>
                    <a:pt x="780" y="631"/>
                  </a:lnTo>
                  <a:lnTo>
                    <a:pt x="780" y="631"/>
                  </a:lnTo>
                  <a:lnTo>
                    <a:pt x="786" y="632"/>
                  </a:lnTo>
                  <a:lnTo>
                    <a:pt x="796" y="632"/>
                  </a:lnTo>
                  <a:lnTo>
                    <a:pt x="806" y="632"/>
                  </a:lnTo>
                  <a:lnTo>
                    <a:pt x="811" y="633"/>
                  </a:lnTo>
                  <a:lnTo>
                    <a:pt x="811" y="633"/>
                  </a:lnTo>
                  <a:lnTo>
                    <a:pt x="811" y="635"/>
                  </a:lnTo>
                  <a:lnTo>
                    <a:pt x="809" y="635"/>
                  </a:lnTo>
                  <a:lnTo>
                    <a:pt x="805" y="636"/>
                  </a:lnTo>
                  <a:lnTo>
                    <a:pt x="798" y="638"/>
                  </a:lnTo>
                  <a:lnTo>
                    <a:pt x="795" y="639"/>
                  </a:lnTo>
                  <a:lnTo>
                    <a:pt x="795" y="639"/>
                  </a:lnTo>
                  <a:lnTo>
                    <a:pt x="793" y="642"/>
                  </a:lnTo>
                  <a:lnTo>
                    <a:pt x="792" y="646"/>
                  </a:lnTo>
                  <a:lnTo>
                    <a:pt x="790" y="651"/>
                  </a:lnTo>
                  <a:lnTo>
                    <a:pt x="788" y="655"/>
                  </a:lnTo>
                  <a:lnTo>
                    <a:pt x="788" y="655"/>
                  </a:lnTo>
                  <a:lnTo>
                    <a:pt x="783" y="659"/>
                  </a:lnTo>
                  <a:lnTo>
                    <a:pt x="779" y="662"/>
                  </a:lnTo>
                  <a:lnTo>
                    <a:pt x="776" y="665"/>
                  </a:lnTo>
                  <a:lnTo>
                    <a:pt x="772" y="665"/>
                  </a:lnTo>
                  <a:lnTo>
                    <a:pt x="772" y="665"/>
                  </a:lnTo>
                  <a:lnTo>
                    <a:pt x="769" y="668"/>
                  </a:lnTo>
                  <a:lnTo>
                    <a:pt x="766" y="671"/>
                  </a:lnTo>
                  <a:lnTo>
                    <a:pt x="762" y="686"/>
                  </a:lnTo>
                  <a:lnTo>
                    <a:pt x="762" y="686"/>
                  </a:lnTo>
                  <a:lnTo>
                    <a:pt x="759" y="690"/>
                  </a:lnTo>
                  <a:lnTo>
                    <a:pt x="753" y="694"/>
                  </a:lnTo>
                  <a:lnTo>
                    <a:pt x="738" y="702"/>
                  </a:lnTo>
                  <a:lnTo>
                    <a:pt x="722" y="707"/>
                  </a:lnTo>
                  <a:lnTo>
                    <a:pt x="711" y="710"/>
                  </a:lnTo>
                  <a:lnTo>
                    <a:pt x="711" y="710"/>
                  </a:lnTo>
                  <a:lnTo>
                    <a:pt x="698" y="716"/>
                  </a:lnTo>
                  <a:lnTo>
                    <a:pt x="686" y="723"/>
                  </a:lnTo>
                  <a:lnTo>
                    <a:pt x="686" y="723"/>
                  </a:lnTo>
                  <a:lnTo>
                    <a:pt x="683" y="725"/>
                  </a:lnTo>
                  <a:lnTo>
                    <a:pt x="682" y="725"/>
                  </a:lnTo>
                  <a:lnTo>
                    <a:pt x="680" y="725"/>
                  </a:lnTo>
                  <a:lnTo>
                    <a:pt x="679" y="725"/>
                  </a:lnTo>
                  <a:lnTo>
                    <a:pt x="679" y="725"/>
                  </a:lnTo>
                  <a:lnTo>
                    <a:pt x="675" y="726"/>
                  </a:lnTo>
                  <a:lnTo>
                    <a:pt x="669" y="725"/>
                  </a:lnTo>
                  <a:lnTo>
                    <a:pt x="669" y="725"/>
                  </a:lnTo>
                  <a:lnTo>
                    <a:pt x="666" y="722"/>
                  </a:lnTo>
                  <a:lnTo>
                    <a:pt x="662" y="723"/>
                  </a:lnTo>
                  <a:lnTo>
                    <a:pt x="662" y="723"/>
                  </a:lnTo>
                  <a:lnTo>
                    <a:pt x="659" y="725"/>
                  </a:lnTo>
                  <a:lnTo>
                    <a:pt x="656" y="725"/>
                  </a:lnTo>
                  <a:lnTo>
                    <a:pt x="653" y="725"/>
                  </a:lnTo>
                  <a:lnTo>
                    <a:pt x="653" y="725"/>
                  </a:lnTo>
                  <a:lnTo>
                    <a:pt x="653" y="722"/>
                  </a:lnTo>
                  <a:lnTo>
                    <a:pt x="654" y="719"/>
                  </a:lnTo>
                  <a:lnTo>
                    <a:pt x="653" y="717"/>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18" name="Freeform 1490"/>
            <p:cNvSpPr>
              <a:spLocks/>
            </p:cNvSpPr>
            <p:nvPr/>
          </p:nvSpPr>
          <p:spPr bwMode="auto">
            <a:xfrm>
              <a:off x="2460625" y="1232329"/>
              <a:ext cx="1400175" cy="1609725"/>
            </a:xfrm>
            <a:custGeom>
              <a:avLst/>
              <a:gdLst>
                <a:gd name="T0" fmla="*/ 596 w 882"/>
                <a:gd name="T1" fmla="*/ 800 h 1014"/>
                <a:gd name="T2" fmla="*/ 565 w 882"/>
                <a:gd name="T3" fmla="*/ 810 h 1014"/>
                <a:gd name="T4" fmla="*/ 525 w 882"/>
                <a:gd name="T5" fmla="*/ 836 h 1014"/>
                <a:gd name="T6" fmla="*/ 491 w 882"/>
                <a:gd name="T7" fmla="*/ 920 h 1014"/>
                <a:gd name="T8" fmla="*/ 479 w 882"/>
                <a:gd name="T9" fmla="*/ 969 h 1014"/>
                <a:gd name="T10" fmla="*/ 462 w 882"/>
                <a:gd name="T11" fmla="*/ 1013 h 1014"/>
                <a:gd name="T12" fmla="*/ 421 w 882"/>
                <a:gd name="T13" fmla="*/ 1000 h 1014"/>
                <a:gd name="T14" fmla="*/ 368 w 882"/>
                <a:gd name="T15" fmla="*/ 965 h 1014"/>
                <a:gd name="T16" fmla="*/ 346 w 882"/>
                <a:gd name="T17" fmla="*/ 919 h 1014"/>
                <a:gd name="T18" fmla="*/ 334 w 882"/>
                <a:gd name="T19" fmla="*/ 891 h 1014"/>
                <a:gd name="T20" fmla="*/ 336 w 882"/>
                <a:gd name="T21" fmla="*/ 856 h 1014"/>
                <a:gd name="T22" fmla="*/ 308 w 882"/>
                <a:gd name="T23" fmla="*/ 820 h 1014"/>
                <a:gd name="T24" fmla="*/ 321 w 882"/>
                <a:gd name="T25" fmla="*/ 784 h 1014"/>
                <a:gd name="T26" fmla="*/ 311 w 882"/>
                <a:gd name="T27" fmla="*/ 770 h 1014"/>
                <a:gd name="T28" fmla="*/ 300 w 882"/>
                <a:gd name="T29" fmla="*/ 738 h 1014"/>
                <a:gd name="T30" fmla="*/ 347 w 882"/>
                <a:gd name="T31" fmla="*/ 728 h 1014"/>
                <a:gd name="T32" fmla="*/ 339 w 882"/>
                <a:gd name="T33" fmla="*/ 688 h 1014"/>
                <a:gd name="T34" fmla="*/ 346 w 882"/>
                <a:gd name="T35" fmla="*/ 651 h 1014"/>
                <a:gd name="T36" fmla="*/ 315 w 882"/>
                <a:gd name="T37" fmla="*/ 626 h 1014"/>
                <a:gd name="T38" fmla="*/ 340 w 882"/>
                <a:gd name="T39" fmla="*/ 613 h 1014"/>
                <a:gd name="T40" fmla="*/ 343 w 882"/>
                <a:gd name="T41" fmla="*/ 583 h 1014"/>
                <a:gd name="T42" fmla="*/ 310 w 882"/>
                <a:gd name="T43" fmla="*/ 560 h 1014"/>
                <a:gd name="T44" fmla="*/ 294 w 882"/>
                <a:gd name="T45" fmla="*/ 531 h 1014"/>
                <a:gd name="T46" fmla="*/ 263 w 882"/>
                <a:gd name="T47" fmla="*/ 549 h 1014"/>
                <a:gd name="T48" fmla="*/ 278 w 882"/>
                <a:gd name="T49" fmla="*/ 513 h 1014"/>
                <a:gd name="T50" fmla="*/ 295 w 882"/>
                <a:gd name="T51" fmla="*/ 502 h 1014"/>
                <a:gd name="T52" fmla="*/ 256 w 882"/>
                <a:gd name="T53" fmla="*/ 381 h 1014"/>
                <a:gd name="T54" fmla="*/ 227 w 882"/>
                <a:gd name="T55" fmla="*/ 310 h 1014"/>
                <a:gd name="T56" fmla="*/ 145 w 882"/>
                <a:gd name="T57" fmla="*/ 281 h 1014"/>
                <a:gd name="T58" fmla="*/ 59 w 882"/>
                <a:gd name="T59" fmla="*/ 294 h 1014"/>
                <a:gd name="T60" fmla="*/ 24 w 882"/>
                <a:gd name="T61" fmla="*/ 235 h 1014"/>
                <a:gd name="T62" fmla="*/ 63 w 882"/>
                <a:gd name="T63" fmla="*/ 218 h 1014"/>
                <a:gd name="T64" fmla="*/ 94 w 882"/>
                <a:gd name="T65" fmla="*/ 186 h 1014"/>
                <a:gd name="T66" fmla="*/ 50 w 882"/>
                <a:gd name="T67" fmla="*/ 190 h 1014"/>
                <a:gd name="T68" fmla="*/ 20 w 882"/>
                <a:gd name="T69" fmla="*/ 171 h 1014"/>
                <a:gd name="T70" fmla="*/ 14 w 882"/>
                <a:gd name="T71" fmla="*/ 118 h 1014"/>
                <a:gd name="T72" fmla="*/ 84 w 882"/>
                <a:gd name="T73" fmla="*/ 76 h 1014"/>
                <a:gd name="T74" fmla="*/ 126 w 882"/>
                <a:gd name="T75" fmla="*/ 11 h 1014"/>
                <a:gd name="T76" fmla="*/ 882 w 882"/>
                <a:gd name="T77" fmla="*/ 8 h 1014"/>
                <a:gd name="T78" fmla="*/ 850 w 882"/>
                <a:gd name="T79" fmla="*/ 82 h 1014"/>
                <a:gd name="T80" fmla="*/ 825 w 882"/>
                <a:gd name="T81" fmla="*/ 134 h 1014"/>
                <a:gd name="T82" fmla="*/ 846 w 882"/>
                <a:gd name="T83" fmla="*/ 187 h 1014"/>
                <a:gd name="T84" fmla="*/ 834 w 882"/>
                <a:gd name="T85" fmla="*/ 209 h 1014"/>
                <a:gd name="T86" fmla="*/ 870 w 882"/>
                <a:gd name="T87" fmla="*/ 258 h 1014"/>
                <a:gd name="T88" fmla="*/ 832 w 882"/>
                <a:gd name="T89" fmla="*/ 267 h 1014"/>
                <a:gd name="T90" fmla="*/ 846 w 882"/>
                <a:gd name="T91" fmla="*/ 323 h 1014"/>
                <a:gd name="T92" fmla="*/ 819 w 882"/>
                <a:gd name="T93" fmla="*/ 339 h 1014"/>
                <a:gd name="T94" fmla="*/ 846 w 882"/>
                <a:gd name="T95" fmla="*/ 393 h 1014"/>
                <a:gd name="T96" fmla="*/ 838 w 882"/>
                <a:gd name="T97" fmla="*/ 416 h 1014"/>
                <a:gd name="T98" fmla="*/ 811 w 882"/>
                <a:gd name="T99" fmla="*/ 396 h 1014"/>
                <a:gd name="T100" fmla="*/ 834 w 882"/>
                <a:gd name="T101" fmla="*/ 436 h 1014"/>
                <a:gd name="T102" fmla="*/ 786 w 882"/>
                <a:gd name="T103" fmla="*/ 451 h 1014"/>
                <a:gd name="T104" fmla="*/ 762 w 882"/>
                <a:gd name="T105" fmla="*/ 438 h 1014"/>
                <a:gd name="T106" fmla="*/ 760 w 882"/>
                <a:gd name="T107" fmla="*/ 481 h 1014"/>
                <a:gd name="T108" fmla="*/ 753 w 882"/>
                <a:gd name="T109" fmla="*/ 509 h 1014"/>
                <a:gd name="T110" fmla="*/ 792 w 882"/>
                <a:gd name="T111" fmla="*/ 548 h 1014"/>
                <a:gd name="T112" fmla="*/ 809 w 882"/>
                <a:gd name="T113" fmla="*/ 570 h 1014"/>
                <a:gd name="T114" fmla="*/ 786 w 882"/>
                <a:gd name="T115" fmla="*/ 620 h 1014"/>
                <a:gd name="T116" fmla="*/ 725 w 882"/>
                <a:gd name="T117" fmla="*/ 571 h 1014"/>
                <a:gd name="T118" fmla="*/ 741 w 882"/>
                <a:gd name="T119" fmla="*/ 623 h 1014"/>
                <a:gd name="T120" fmla="*/ 725 w 882"/>
                <a:gd name="T121" fmla="*/ 639 h 1014"/>
                <a:gd name="T122" fmla="*/ 805 w 882"/>
                <a:gd name="T123" fmla="*/ 636 h 1014"/>
                <a:gd name="T124" fmla="*/ 686 w 882"/>
                <a:gd name="T125" fmla="*/ 723 h 1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2" h="1014">
                  <a:moveTo>
                    <a:pt x="653" y="717"/>
                  </a:moveTo>
                  <a:lnTo>
                    <a:pt x="653" y="717"/>
                  </a:lnTo>
                  <a:lnTo>
                    <a:pt x="650" y="715"/>
                  </a:lnTo>
                  <a:lnTo>
                    <a:pt x="649" y="713"/>
                  </a:lnTo>
                  <a:lnTo>
                    <a:pt x="647" y="715"/>
                  </a:lnTo>
                  <a:lnTo>
                    <a:pt x="647" y="715"/>
                  </a:lnTo>
                  <a:lnTo>
                    <a:pt x="646" y="723"/>
                  </a:lnTo>
                  <a:lnTo>
                    <a:pt x="643" y="729"/>
                  </a:lnTo>
                  <a:lnTo>
                    <a:pt x="640" y="732"/>
                  </a:lnTo>
                  <a:lnTo>
                    <a:pt x="640" y="732"/>
                  </a:lnTo>
                  <a:lnTo>
                    <a:pt x="637" y="736"/>
                  </a:lnTo>
                  <a:lnTo>
                    <a:pt x="633" y="744"/>
                  </a:lnTo>
                  <a:lnTo>
                    <a:pt x="628" y="755"/>
                  </a:lnTo>
                  <a:lnTo>
                    <a:pt x="628" y="755"/>
                  </a:lnTo>
                  <a:lnTo>
                    <a:pt x="627" y="761"/>
                  </a:lnTo>
                  <a:lnTo>
                    <a:pt x="622" y="768"/>
                  </a:lnTo>
                  <a:lnTo>
                    <a:pt x="614" y="778"/>
                  </a:lnTo>
                  <a:lnTo>
                    <a:pt x="614" y="778"/>
                  </a:lnTo>
                  <a:lnTo>
                    <a:pt x="609" y="784"/>
                  </a:lnTo>
                  <a:lnTo>
                    <a:pt x="604" y="790"/>
                  </a:lnTo>
                  <a:lnTo>
                    <a:pt x="604" y="790"/>
                  </a:lnTo>
                  <a:lnTo>
                    <a:pt x="602" y="793"/>
                  </a:lnTo>
                  <a:lnTo>
                    <a:pt x="601" y="797"/>
                  </a:lnTo>
                  <a:lnTo>
                    <a:pt x="599" y="800"/>
                  </a:lnTo>
                  <a:lnTo>
                    <a:pt x="599" y="801"/>
                  </a:lnTo>
                  <a:lnTo>
                    <a:pt x="596" y="800"/>
                  </a:lnTo>
                  <a:lnTo>
                    <a:pt x="596" y="800"/>
                  </a:lnTo>
                  <a:lnTo>
                    <a:pt x="592" y="797"/>
                  </a:lnTo>
                  <a:lnTo>
                    <a:pt x="589" y="794"/>
                  </a:lnTo>
                  <a:lnTo>
                    <a:pt x="586" y="791"/>
                  </a:lnTo>
                  <a:lnTo>
                    <a:pt x="586" y="791"/>
                  </a:lnTo>
                  <a:lnTo>
                    <a:pt x="586" y="791"/>
                  </a:lnTo>
                  <a:lnTo>
                    <a:pt x="586" y="791"/>
                  </a:lnTo>
                  <a:lnTo>
                    <a:pt x="588" y="797"/>
                  </a:lnTo>
                  <a:lnTo>
                    <a:pt x="589" y="800"/>
                  </a:lnTo>
                  <a:lnTo>
                    <a:pt x="588" y="803"/>
                  </a:lnTo>
                  <a:lnTo>
                    <a:pt x="588" y="803"/>
                  </a:lnTo>
                  <a:lnTo>
                    <a:pt x="582" y="810"/>
                  </a:lnTo>
                  <a:lnTo>
                    <a:pt x="579" y="814"/>
                  </a:lnTo>
                  <a:lnTo>
                    <a:pt x="578" y="814"/>
                  </a:lnTo>
                  <a:lnTo>
                    <a:pt x="576" y="814"/>
                  </a:lnTo>
                  <a:lnTo>
                    <a:pt x="576" y="814"/>
                  </a:lnTo>
                  <a:lnTo>
                    <a:pt x="576" y="812"/>
                  </a:lnTo>
                  <a:lnTo>
                    <a:pt x="575" y="807"/>
                  </a:lnTo>
                  <a:lnTo>
                    <a:pt x="575" y="804"/>
                  </a:lnTo>
                  <a:lnTo>
                    <a:pt x="575" y="804"/>
                  </a:lnTo>
                  <a:lnTo>
                    <a:pt x="573" y="804"/>
                  </a:lnTo>
                  <a:lnTo>
                    <a:pt x="573" y="804"/>
                  </a:lnTo>
                  <a:lnTo>
                    <a:pt x="570" y="807"/>
                  </a:lnTo>
                  <a:lnTo>
                    <a:pt x="567" y="809"/>
                  </a:lnTo>
                  <a:lnTo>
                    <a:pt x="565" y="810"/>
                  </a:lnTo>
                  <a:lnTo>
                    <a:pt x="565" y="810"/>
                  </a:lnTo>
                  <a:lnTo>
                    <a:pt x="560" y="801"/>
                  </a:lnTo>
                  <a:lnTo>
                    <a:pt x="560" y="801"/>
                  </a:lnTo>
                  <a:lnTo>
                    <a:pt x="560" y="799"/>
                  </a:lnTo>
                  <a:lnTo>
                    <a:pt x="560" y="797"/>
                  </a:lnTo>
                  <a:lnTo>
                    <a:pt x="562" y="796"/>
                  </a:lnTo>
                  <a:lnTo>
                    <a:pt x="560" y="796"/>
                  </a:lnTo>
                  <a:lnTo>
                    <a:pt x="560" y="796"/>
                  </a:lnTo>
                  <a:lnTo>
                    <a:pt x="557" y="796"/>
                  </a:lnTo>
                  <a:lnTo>
                    <a:pt x="556" y="797"/>
                  </a:lnTo>
                  <a:lnTo>
                    <a:pt x="554" y="806"/>
                  </a:lnTo>
                  <a:lnTo>
                    <a:pt x="554" y="806"/>
                  </a:lnTo>
                  <a:lnTo>
                    <a:pt x="553" y="816"/>
                  </a:lnTo>
                  <a:lnTo>
                    <a:pt x="552" y="819"/>
                  </a:lnTo>
                  <a:lnTo>
                    <a:pt x="550" y="820"/>
                  </a:lnTo>
                  <a:lnTo>
                    <a:pt x="550" y="820"/>
                  </a:lnTo>
                  <a:lnTo>
                    <a:pt x="543" y="825"/>
                  </a:lnTo>
                  <a:lnTo>
                    <a:pt x="538" y="828"/>
                  </a:lnTo>
                  <a:lnTo>
                    <a:pt x="536" y="829"/>
                  </a:lnTo>
                  <a:lnTo>
                    <a:pt x="536" y="829"/>
                  </a:lnTo>
                  <a:lnTo>
                    <a:pt x="534" y="826"/>
                  </a:lnTo>
                  <a:lnTo>
                    <a:pt x="534" y="825"/>
                  </a:lnTo>
                  <a:lnTo>
                    <a:pt x="533" y="825"/>
                  </a:lnTo>
                  <a:lnTo>
                    <a:pt x="530" y="826"/>
                  </a:lnTo>
                  <a:lnTo>
                    <a:pt x="530" y="826"/>
                  </a:lnTo>
                  <a:lnTo>
                    <a:pt x="528" y="830"/>
                  </a:lnTo>
                  <a:lnTo>
                    <a:pt x="525" y="836"/>
                  </a:lnTo>
                  <a:lnTo>
                    <a:pt x="523" y="842"/>
                  </a:lnTo>
                  <a:lnTo>
                    <a:pt x="520" y="846"/>
                  </a:lnTo>
                  <a:lnTo>
                    <a:pt x="520" y="846"/>
                  </a:lnTo>
                  <a:lnTo>
                    <a:pt x="517" y="849"/>
                  </a:lnTo>
                  <a:lnTo>
                    <a:pt x="515" y="852"/>
                  </a:lnTo>
                  <a:lnTo>
                    <a:pt x="514" y="859"/>
                  </a:lnTo>
                  <a:lnTo>
                    <a:pt x="514" y="867"/>
                  </a:lnTo>
                  <a:lnTo>
                    <a:pt x="512" y="870"/>
                  </a:lnTo>
                  <a:lnTo>
                    <a:pt x="512" y="870"/>
                  </a:lnTo>
                  <a:lnTo>
                    <a:pt x="512" y="870"/>
                  </a:lnTo>
                  <a:lnTo>
                    <a:pt x="507" y="871"/>
                  </a:lnTo>
                  <a:lnTo>
                    <a:pt x="504" y="872"/>
                  </a:lnTo>
                  <a:lnTo>
                    <a:pt x="504" y="874"/>
                  </a:lnTo>
                  <a:lnTo>
                    <a:pt x="504" y="874"/>
                  </a:lnTo>
                  <a:lnTo>
                    <a:pt x="505" y="875"/>
                  </a:lnTo>
                  <a:lnTo>
                    <a:pt x="507" y="877"/>
                  </a:lnTo>
                  <a:lnTo>
                    <a:pt x="508" y="878"/>
                  </a:lnTo>
                  <a:lnTo>
                    <a:pt x="507" y="883"/>
                  </a:lnTo>
                  <a:lnTo>
                    <a:pt x="507" y="883"/>
                  </a:lnTo>
                  <a:lnTo>
                    <a:pt x="501" y="894"/>
                  </a:lnTo>
                  <a:lnTo>
                    <a:pt x="498" y="900"/>
                  </a:lnTo>
                  <a:lnTo>
                    <a:pt x="498" y="906"/>
                  </a:lnTo>
                  <a:lnTo>
                    <a:pt x="498" y="906"/>
                  </a:lnTo>
                  <a:lnTo>
                    <a:pt x="495" y="914"/>
                  </a:lnTo>
                  <a:lnTo>
                    <a:pt x="494" y="917"/>
                  </a:lnTo>
                  <a:lnTo>
                    <a:pt x="491" y="920"/>
                  </a:lnTo>
                  <a:lnTo>
                    <a:pt x="491" y="920"/>
                  </a:lnTo>
                  <a:lnTo>
                    <a:pt x="489" y="922"/>
                  </a:lnTo>
                  <a:lnTo>
                    <a:pt x="489" y="923"/>
                  </a:lnTo>
                  <a:lnTo>
                    <a:pt x="489" y="926"/>
                  </a:lnTo>
                  <a:lnTo>
                    <a:pt x="489" y="927"/>
                  </a:lnTo>
                  <a:lnTo>
                    <a:pt x="489" y="927"/>
                  </a:lnTo>
                  <a:lnTo>
                    <a:pt x="485" y="930"/>
                  </a:lnTo>
                  <a:lnTo>
                    <a:pt x="483" y="933"/>
                  </a:lnTo>
                  <a:lnTo>
                    <a:pt x="483" y="936"/>
                  </a:lnTo>
                  <a:lnTo>
                    <a:pt x="483" y="936"/>
                  </a:lnTo>
                  <a:lnTo>
                    <a:pt x="482" y="940"/>
                  </a:lnTo>
                  <a:lnTo>
                    <a:pt x="481" y="945"/>
                  </a:lnTo>
                  <a:lnTo>
                    <a:pt x="481" y="949"/>
                  </a:lnTo>
                  <a:lnTo>
                    <a:pt x="481" y="949"/>
                  </a:lnTo>
                  <a:lnTo>
                    <a:pt x="482" y="951"/>
                  </a:lnTo>
                  <a:lnTo>
                    <a:pt x="482" y="951"/>
                  </a:lnTo>
                  <a:lnTo>
                    <a:pt x="488" y="951"/>
                  </a:lnTo>
                  <a:lnTo>
                    <a:pt x="488" y="952"/>
                  </a:lnTo>
                  <a:lnTo>
                    <a:pt x="489" y="954"/>
                  </a:lnTo>
                  <a:lnTo>
                    <a:pt x="489" y="954"/>
                  </a:lnTo>
                  <a:lnTo>
                    <a:pt x="488" y="962"/>
                  </a:lnTo>
                  <a:lnTo>
                    <a:pt x="486" y="967"/>
                  </a:lnTo>
                  <a:lnTo>
                    <a:pt x="485" y="969"/>
                  </a:lnTo>
                  <a:lnTo>
                    <a:pt x="485" y="969"/>
                  </a:lnTo>
                  <a:lnTo>
                    <a:pt x="481" y="969"/>
                  </a:lnTo>
                  <a:lnTo>
                    <a:pt x="479" y="969"/>
                  </a:lnTo>
                  <a:lnTo>
                    <a:pt x="479" y="971"/>
                  </a:lnTo>
                  <a:lnTo>
                    <a:pt x="479" y="971"/>
                  </a:lnTo>
                  <a:lnTo>
                    <a:pt x="481" y="972"/>
                  </a:lnTo>
                  <a:lnTo>
                    <a:pt x="481" y="972"/>
                  </a:lnTo>
                  <a:lnTo>
                    <a:pt x="482" y="974"/>
                  </a:lnTo>
                  <a:lnTo>
                    <a:pt x="481" y="975"/>
                  </a:lnTo>
                  <a:lnTo>
                    <a:pt x="481" y="975"/>
                  </a:lnTo>
                  <a:lnTo>
                    <a:pt x="479" y="978"/>
                  </a:lnTo>
                  <a:lnTo>
                    <a:pt x="475" y="980"/>
                  </a:lnTo>
                  <a:lnTo>
                    <a:pt x="473" y="983"/>
                  </a:lnTo>
                  <a:lnTo>
                    <a:pt x="472" y="984"/>
                  </a:lnTo>
                  <a:lnTo>
                    <a:pt x="472" y="984"/>
                  </a:lnTo>
                  <a:lnTo>
                    <a:pt x="473" y="988"/>
                  </a:lnTo>
                  <a:lnTo>
                    <a:pt x="473" y="991"/>
                  </a:lnTo>
                  <a:lnTo>
                    <a:pt x="472" y="993"/>
                  </a:lnTo>
                  <a:lnTo>
                    <a:pt x="472" y="993"/>
                  </a:lnTo>
                  <a:lnTo>
                    <a:pt x="463" y="1007"/>
                  </a:lnTo>
                  <a:lnTo>
                    <a:pt x="463" y="1007"/>
                  </a:lnTo>
                  <a:lnTo>
                    <a:pt x="462" y="1004"/>
                  </a:lnTo>
                  <a:lnTo>
                    <a:pt x="462" y="1004"/>
                  </a:lnTo>
                  <a:lnTo>
                    <a:pt x="462" y="1006"/>
                  </a:lnTo>
                  <a:lnTo>
                    <a:pt x="462" y="1006"/>
                  </a:lnTo>
                  <a:lnTo>
                    <a:pt x="463" y="1010"/>
                  </a:lnTo>
                  <a:lnTo>
                    <a:pt x="463" y="1011"/>
                  </a:lnTo>
                  <a:lnTo>
                    <a:pt x="462" y="1013"/>
                  </a:lnTo>
                  <a:lnTo>
                    <a:pt x="462" y="1013"/>
                  </a:lnTo>
                  <a:lnTo>
                    <a:pt x="460" y="1014"/>
                  </a:lnTo>
                  <a:lnTo>
                    <a:pt x="459" y="1014"/>
                  </a:lnTo>
                  <a:lnTo>
                    <a:pt x="454" y="1013"/>
                  </a:lnTo>
                  <a:lnTo>
                    <a:pt x="452" y="1011"/>
                  </a:lnTo>
                  <a:lnTo>
                    <a:pt x="450" y="1010"/>
                  </a:lnTo>
                  <a:lnTo>
                    <a:pt x="449" y="1011"/>
                  </a:lnTo>
                  <a:lnTo>
                    <a:pt x="449" y="1011"/>
                  </a:lnTo>
                  <a:lnTo>
                    <a:pt x="446" y="1014"/>
                  </a:lnTo>
                  <a:lnTo>
                    <a:pt x="444" y="1014"/>
                  </a:lnTo>
                  <a:lnTo>
                    <a:pt x="441" y="1013"/>
                  </a:lnTo>
                  <a:lnTo>
                    <a:pt x="441" y="1013"/>
                  </a:lnTo>
                  <a:lnTo>
                    <a:pt x="440" y="1009"/>
                  </a:lnTo>
                  <a:lnTo>
                    <a:pt x="440" y="1006"/>
                  </a:lnTo>
                  <a:lnTo>
                    <a:pt x="439" y="1003"/>
                  </a:lnTo>
                  <a:lnTo>
                    <a:pt x="437" y="1003"/>
                  </a:lnTo>
                  <a:lnTo>
                    <a:pt x="437" y="1003"/>
                  </a:lnTo>
                  <a:lnTo>
                    <a:pt x="434" y="1004"/>
                  </a:lnTo>
                  <a:lnTo>
                    <a:pt x="433" y="1006"/>
                  </a:lnTo>
                  <a:lnTo>
                    <a:pt x="430" y="1004"/>
                  </a:lnTo>
                  <a:lnTo>
                    <a:pt x="428" y="1003"/>
                  </a:lnTo>
                  <a:lnTo>
                    <a:pt x="428" y="1003"/>
                  </a:lnTo>
                  <a:lnTo>
                    <a:pt x="427" y="1001"/>
                  </a:lnTo>
                  <a:lnTo>
                    <a:pt x="424" y="1001"/>
                  </a:lnTo>
                  <a:lnTo>
                    <a:pt x="421" y="1001"/>
                  </a:lnTo>
                  <a:lnTo>
                    <a:pt x="421" y="1000"/>
                  </a:lnTo>
                  <a:lnTo>
                    <a:pt x="421" y="1000"/>
                  </a:lnTo>
                  <a:lnTo>
                    <a:pt x="421" y="994"/>
                  </a:lnTo>
                  <a:lnTo>
                    <a:pt x="421" y="993"/>
                  </a:lnTo>
                  <a:lnTo>
                    <a:pt x="420" y="991"/>
                  </a:lnTo>
                  <a:lnTo>
                    <a:pt x="420" y="991"/>
                  </a:lnTo>
                  <a:lnTo>
                    <a:pt x="417" y="993"/>
                  </a:lnTo>
                  <a:lnTo>
                    <a:pt x="412" y="993"/>
                  </a:lnTo>
                  <a:lnTo>
                    <a:pt x="412" y="993"/>
                  </a:lnTo>
                  <a:lnTo>
                    <a:pt x="401" y="993"/>
                  </a:lnTo>
                  <a:lnTo>
                    <a:pt x="395" y="991"/>
                  </a:lnTo>
                  <a:lnTo>
                    <a:pt x="392" y="988"/>
                  </a:lnTo>
                  <a:lnTo>
                    <a:pt x="392" y="988"/>
                  </a:lnTo>
                  <a:lnTo>
                    <a:pt x="391" y="985"/>
                  </a:lnTo>
                  <a:lnTo>
                    <a:pt x="392" y="984"/>
                  </a:lnTo>
                  <a:lnTo>
                    <a:pt x="392" y="981"/>
                  </a:lnTo>
                  <a:lnTo>
                    <a:pt x="389" y="978"/>
                  </a:lnTo>
                  <a:lnTo>
                    <a:pt x="389" y="978"/>
                  </a:lnTo>
                  <a:lnTo>
                    <a:pt x="385" y="971"/>
                  </a:lnTo>
                  <a:lnTo>
                    <a:pt x="382" y="969"/>
                  </a:lnTo>
                  <a:lnTo>
                    <a:pt x="379" y="969"/>
                  </a:lnTo>
                  <a:lnTo>
                    <a:pt x="379" y="969"/>
                  </a:lnTo>
                  <a:lnTo>
                    <a:pt x="373" y="972"/>
                  </a:lnTo>
                  <a:lnTo>
                    <a:pt x="370" y="974"/>
                  </a:lnTo>
                  <a:lnTo>
                    <a:pt x="369" y="971"/>
                  </a:lnTo>
                  <a:lnTo>
                    <a:pt x="369" y="971"/>
                  </a:lnTo>
                  <a:lnTo>
                    <a:pt x="368" y="968"/>
                  </a:lnTo>
                  <a:lnTo>
                    <a:pt x="368" y="965"/>
                  </a:lnTo>
                  <a:lnTo>
                    <a:pt x="369" y="964"/>
                  </a:lnTo>
                  <a:lnTo>
                    <a:pt x="366" y="962"/>
                  </a:lnTo>
                  <a:lnTo>
                    <a:pt x="366" y="962"/>
                  </a:lnTo>
                  <a:lnTo>
                    <a:pt x="366" y="959"/>
                  </a:lnTo>
                  <a:lnTo>
                    <a:pt x="368" y="958"/>
                  </a:lnTo>
                  <a:lnTo>
                    <a:pt x="369" y="958"/>
                  </a:lnTo>
                  <a:lnTo>
                    <a:pt x="370" y="956"/>
                  </a:lnTo>
                  <a:lnTo>
                    <a:pt x="370" y="956"/>
                  </a:lnTo>
                  <a:lnTo>
                    <a:pt x="370" y="946"/>
                  </a:lnTo>
                  <a:lnTo>
                    <a:pt x="370" y="939"/>
                  </a:lnTo>
                  <a:lnTo>
                    <a:pt x="368" y="933"/>
                  </a:lnTo>
                  <a:lnTo>
                    <a:pt x="368" y="933"/>
                  </a:lnTo>
                  <a:lnTo>
                    <a:pt x="365" y="925"/>
                  </a:lnTo>
                  <a:lnTo>
                    <a:pt x="363" y="922"/>
                  </a:lnTo>
                  <a:lnTo>
                    <a:pt x="362" y="922"/>
                  </a:lnTo>
                  <a:lnTo>
                    <a:pt x="362" y="922"/>
                  </a:lnTo>
                  <a:lnTo>
                    <a:pt x="362" y="922"/>
                  </a:lnTo>
                  <a:lnTo>
                    <a:pt x="357" y="929"/>
                  </a:lnTo>
                  <a:lnTo>
                    <a:pt x="355" y="932"/>
                  </a:lnTo>
                  <a:lnTo>
                    <a:pt x="352" y="932"/>
                  </a:lnTo>
                  <a:lnTo>
                    <a:pt x="352" y="932"/>
                  </a:lnTo>
                  <a:lnTo>
                    <a:pt x="349" y="930"/>
                  </a:lnTo>
                  <a:lnTo>
                    <a:pt x="349" y="929"/>
                  </a:lnTo>
                  <a:lnTo>
                    <a:pt x="346" y="923"/>
                  </a:lnTo>
                  <a:lnTo>
                    <a:pt x="346" y="923"/>
                  </a:lnTo>
                  <a:lnTo>
                    <a:pt x="346" y="919"/>
                  </a:lnTo>
                  <a:lnTo>
                    <a:pt x="347" y="916"/>
                  </a:lnTo>
                  <a:lnTo>
                    <a:pt x="349" y="914"/>
                  </a:lnTo>
                  <a:lnTo>
                    <a:pt x="347" y="913"/>
                  </a:lnTo>
                  <a:lnTo>
                    <a:pt x="347" y="913"/>
                  </a:lnTo>
                  <a:lnTo>
                    <a:pt x="342" y="910"/>
                  </a:lnTo>
                  <a:lnTo>
                    <a:pt x="340" y="909"/>
                  </a:lnTo>
                  <a:lnTo>
                    <a:pt x="342" y="909"/>
                  </a:lnTo>
                  <a:lnTo>
                    <a:pt x="342" y="909"/>
                  </a:lnTo>
                  <a:lnTo>
                    <a:pt x="346" y="907"/>
                  </a:lnTo>
                  <a:lnTo>
                    <a:pt x="347" y="907"/>
                  </a:lnTo>
                  <a:lnTo>
                    <a:pt x="346" y="906"/>
                  </a:lnTo>
                  <a:lnTo>
                    <a:pt x="346" y="906"/>
                  </a:lnTo>
                  <a:lnTo>
                    <a:pt x="342" y="904"/>
                  </a:lnTo>
                  <a:lnTo>
                    <a:pt x="339" y="903"/>
                  </a:lnTo>
                  <a:lnTo>
                    <a:pt x="340" y="901"/>
                  </a:lnTo>
                  <a:lnTo>
                    <a:pt x="340" y="901"/>
                  </a:lnTo>
                  <a:lnTo>
                    <a:pt x="346" y="898"/>
                  </a:lnTo>
                  <a:lnTo>
                    <a:pt x="346" y="897"/>
                  </a:lnTo>
                  <a:lnTo>
                    <a:pt x="344" y="897"/>
                  </a:lnTo>
                  <a:lnTo>
                    <a:pt x="344" y="897"/>
                  </a:lnTo>
                  <a:lnTo>
                    <a:pt x="336" y="896"/>
                  </a:lnTo>
                  <a:lnTo>
                    <a:pt x="331" y="896"/>
                  </a:lnTo>
                  <a:lnTo>
                    <a:pt x="331" y="894"/>
                  </a:lnTo>
                  <a:lnTo>
                    <a:pt x="331" y="894"/>
                  </a:lnTo>
                  <a:lnTo>
                    <a:pt x="331" y="894"/>
                  </a:lnTo>
                  <a:lnTo>
                    <a:pt x="334" y="891"/>
                  </a:lnTo>
                  <a:lnTo>
                    <a:pt x="336" y="890"/>
                  </a:lnTo>
                  <a:lnTo>
                    <a:pt x="334" y="887"/>
                  </a:lnTo>
                  <a:lnTo>
                    <a:pt x="334" y="887"/>
                  </a:lnTo>
                  <a:lnTo>
                    <a:pt x="330" y="884"/>
                  </a:lnTo>
                  <a:lnTo>
                    <a:pt x="328" y="881"/>
                  </a:lnTo>
                  <a:lnTo>
                    <a:pt x="330" y="881"/>
                  </a:lnTo>
                  <a:lnTo>
                    <a:pt x="330" y="881"/>
                  </a:lnTo>
                  <a:lnTo>
                    <a:pt x="343" y="877"/>
                  </a:lnTo>
                  <a:lnTo>
                    <a:pt x="349" y="874"/>
                  </a:lnTo>
                  <a:lnTo>
                    <a:pt x="350" y="872"/>
                  </a:lnTo>
                  <a:lnTo>
                    <a:pt x="350" y="872"/>
                  </a:lnTo>
                  <a:lnTo>
                    <a:pt x="350" y="872"/>
                  </a:lnTo>
                  <a:lnTo>
                    <a:pt x="344" y="870"/>
                  </a:lnTo>
                  <a:lnTo>
                    <a:pt x="342" y="868"/>
                  </a:lnTo>
                  <a:lnTo>
                    <a:pt x="342" y="867"/>
                  </a:lnTo>
                  <a:lnTo>
                    <a:pt x="342" y="867"/>
                  </a:lnTo>
                  <a:lnTo>
                    <a:pt x="342" y="864"/>
                  </a:lnTo>
                  <a:lnTo>
                    <a:pt x="346" y="859"/>
                  </a:lnTo>
                  <a:lnTo>
                    <a:pt x="346" y="859"/>
                  </a:lnTo>
                  <a:lnTo>
                    <a:pt x="347" y="856"/>
                  </a:lnTo>
                  <a:lnTo>
                    <a:pt x="347" y="854"/>
                  </a:lnTo>
                  <a:lnTo>
                    <a:pt x="346" y="851"/>
                  </a:lnTo>
                  <a:lnTo>
                    <a:pt x="344" y="851"/>
                  </a:lnTo>
                  <a:lnTo>
                    <a:pt x="344" y="851"/>
                  </a:lnTo>
                  <a:lnTo>
                    <a:pt x="340" y="855"/>
                  </a:lnTo>
                  <a:lnTo>
                    <a:pt x="336" y="856"/>
                  </a:lnTo>
                  <a:lnTo>
                    <a:pt x="336" y="856"/>
                  </a:lnTo>
                  <a:lnTo>
                    <a:pt x="334" y="855"/>
                  </a:lnTo>
                  <a:lnTo>
                    <a:pt x="333" y="855"/>
                  </a:lnTo>
                  <a:lnTo>
                    <a:pt x="331" y="855"/>
                  </a:lnTo>
                  <a:lnTo>
                    <a:pt x="331" y="855"/>
                  </a:lnTo>
                  <a:lnTo>
                    <a:pt x="328" y="861"/>
                  </a:lnTo>
                  <a:lnTo>
                    <a:pt x="327" y="862"/>
                  </a:lnTo>
                  <a:lnTo>
                    <a:pt x="326" y="862"/>
                  </a:lnTo>
                  <a:lnTo>
                    <a:pt x="326" y="862"/>
                  </a:lnTo>
                  <a:lnTo>
                    <a:pt x="321" y="858"/>
                  </a:lnTo>
                  <a:lnTo>
                    <a:pt x="321" y="856"/>
                  </a:lnTo>
                  <a:lnTo>
                    <a:pt x="321" y="854"/>
                  </a:lnTo>
                  <a:lnTo>
                    <a:pt x="321" y="854"/>
                  </a:lnTo>
                  <a:lnTo>
                    <a:pt x="327" y="848"/>
                  </a:lnTo>
                  <a:lnTo>
                    <a:pt x="328" y="846"/>
                  </a:lnTo>
                  <a:lnTo>
                    <a:pt x="328" y="845"/>
                  </a:lnTo>
                  <a:lnTo>
                    <a:pt x="328" y="845"/>
                  </a:lnTo>
                  <a:lnTo>
                    <a:pt x="326" y="842"/>
                  </a:lnTo>
                  <a:lnTo>
                    <a:pt x="323" y="839"/>
                  </a:lnTo>
                  <a:lnTo>
                    <a:pt x="323" y="839"/>
                  </a:lnTo>
                  <a:lnTo>
                    <a:pt x="321" y="836"/>
                  </a:lnTo>
                  <a:lnTo>
                    <a:pt x="315" y="829"/>
                  </a:lnTo>
                  <a:lnTo>
                    <a:pt x="315" y="829"/>
                  </a:lnTo>
                  <a:lnTo>
                    <a:pt x="310" y="825"/>
                  </a:lnTo>
                  <a:lnTo>
                    <a:pt x="308" y="822"/>
                  </a:lnTo>
                  <a:lnTo>
                    <a:pt x="308" y="820"/>
                  </a:lnTo>
                  <a:lnTo>
                    <a:pt x="308" y="820"/>
                  </a:lnTo>
                  <a:lnTo>
                    <a:pt x="310" y="816"/>
                  </a:lnTo>
                  <a:lnTo>
                    <a:pt x="311" y="813"/>
                  </a:lnTo>
                  <a:lnTo>
                    <a:pt x="314" y="813"/>
                  </a:lnTo>
                  <a:lnTo>
                    <a:pt x="314" y="813"/>
                  </a:lnTo>
                  <a:lnTo>
                    <a:pt x="318" y="814"/>
                  </a:lnTo>
                  <a:lnTo>
                    <a:pt x="320" y="814"/>
                  </a:lnTo>
                  <a:lnTo>
                    <a:pt x="321" y="814"/>
                  </a:lnTo>
                  <a:lnTo>
                    <a:pt x="321" y="814"/>
                  </a:lnTo>
                  <a:lnTo>
                    <a:pt x="323" y="813"/>
                  </a:lnTo>
                  <a:lnTo>
                    <a:pt x="321" y="810"/>
                  </a:lnTo>
                  <a:lnTo>
                    <a:pt x="320" y="809"/>
                  </a:lnTo>
                  <a:lnTo>
                    <a:pt x="318" y="807"/>
                  </a:lnTo>
                  <a:lnTo>
                    <a:pt x="318" y="807"/>
                  </a:lnTo>
                  <a:lnTo>
                    <a:pt x="313" y="810"/>
                  </a:lnTo>
                  <a:lnTo>
                    <a:pt x="308" y="810"/>
                  </a:lnTo>
                  <a:lnTo>
                    <a:pt x="305" y="810"/>
                  </a:lnTo>
                  <a:lnTo>
                    <a:pt x="305" y="810"/>
                  </a:lnTo>
                  <a:lnTo>
                    <a:pt x="302" y="809"/>
                  </a:lnTo>
                  <a:lnTo>
                    <a:pt x="302" y="807"/>
                  </a:lnTo>
                  <a:lnTo>
                    <a:pt x="305" y="803"/>
                  </a:lnTo>
                  <a:lnTo>
                    <a:pt x="305" y="803"/>
                  </a:lnTo>
                  <a:lnTo>
                    <a:pt x="315" y="793"/>
                  </a:lnTo>
                  <a:lnTo>
                    <a:pt x="321" y="787"/>
                  </a:lnTo>
                  <a:lnTo>
                    <a:pt x="323" y="786"/>
                  </a:lnTo>
                  <a:lnTo>
                    <a:pt x="321" y="784"/>
                  </a:lnTo>
                  <a:lnTo>
                    <a:pt x="321" y="784"/>
                  </a:lnTo>
                  <a:lnTo>
                    <a:pt x="317" y="787"/>
                  </a:lnTo>
                  <a:lnTo>
                    <a:pt x="313" y="791"/>
                  </a:lnTo>
                  <a:lnTo>
                    <a:pt x="307" y="796"/>
                  </a:lnTo>
                  <a:lnTo>
                    <a:pt x="304" y="797"/>
                  </a:lnTo>
                  <a:lnTo>
                    <a:pt x="304" y="797"/>
                  </a:lnTo>
                  <a:lnTo>
                    <a:pt x="300" y="797"/>
                  </a:lnTo>
                  <a:lnTo>
                    <a:pt x="295" y="794"/>
                  </a:lnTo>
                  <a:lnTo>
                    <a:pt x="291" y="791"/>
                  </a:lnTo>
                  <a:lnTo>
                    <a:pt x="292" y="790"/>
                  </a:lnTo>
                  <a:lnTo>
                    <a:pt x="294" y="788"/>
                  </a:lnTo>
                  <a:lnTo>
                    <a:pt x="294" y="788"/>
                  </a:lnTo>
                  <a:lnTo>
                    <a:pt x="300" y="786"/>
                  </a:lnTo>
                  <a:lnTo>
                    <a:pt x="305" y="784"/>
                  </a:lnTo>
                  <a:lnTo>
                    <a:pt x="305" y="784"/>
                  </a:lnTo>
                  <a:lnTo>
                    <a:pt x="305" y="783"/>
                  </a:lnTo>
                  <a:lnTo>
                    <a:pt x="305" y="783"/>
                  </a:lnTo>
                  <a:lnTo>
                    <a:pt x="302" y="781"/>
                  </a:lnTo>
                  <a:lnTo>
                    <a:pt x="300" y="778"/>
                  </a:lnTo>
                  <a:lnTo>
                    <a:pt x="301" y="777"/>
                  </a:lnTo>
                  <a:lnTo>
                    <a:pt x="302" y="775"/>
                  </a:lnTo>
                  <a:lnTo>
                    <a:pt x="302" y="775"/>
                  </a:lnTo>
                  <a:lnTo>
                    <a:pt x="310" y="772"/>
                  </a:lnTo>
                  <a:lnTo>
                    <a:pt x="311" y="771"/>
                  </a:lnTo>
                  <a:lnTo>
                    <a:pt x="311" y="770"/>
                  </a:lnTo>
                  <a:lnTo>
                    <a:pt x="311" y="770"/>
                  </a:lnTo>
                  <a:lnTo>
                    <a:pt x="310" y="768"/>
                  </a:lnTo>
                  <a:lnTo>
                    <a:pt x="305" y="767"/>
                  </a:lnTo>
                  <a:lnTo>
                    <a:pt x="305" y="767"/>
                  </a:lnTo>
                  <a:lnTo>
                    <a:pt x="302" y="765"/>
                  </a:lnTo>
                  <a:lnTo>
                    <a:pt x="298" y="764"/>
                  </a:lnTo>
                  <a:lnTo>
                    <a:pt x="298" y="764"/>
                  </a:lnTo>
                  <a:lnTo>
                    <a:pt x="295" y="761"/>
                  </a:lnTo>
                  <a:lnTo>
                    <a:pt x="295" y="758"/>
                  </a:lnTo>
                  <a:lnTo>
                    <a:pt x="295" y="754"/>
                  </a:lnTo>
                  <a:lnTo>
                    <a:pt x="295" y="754"/>
                  </a:lnTo>
                  <a:lnTo>
                    <a:pt x="302" y="752"/>
                  </a:lnTo>
                  <a:lnTo>
                    <a:pt x="315" y="752"/>
                  </a:lnTo>
                  <a:lnTo>
                    <a:pt x="326" y="752"/>
                  </a:lnTo>
                  <a:lnTo>
                    <a:pt x="328" y="751"/>
                  </a:lnTo>
                  <a:lnTo>
                    <a:pt x="327" y="751"/>
                  </a:lnTo>
                  <a:lnTo>
                    <a:pt x="327" y="751"/>
                  </a:lnTo>
                  <a:lnTo>
                    <a:pt x="321" y="748"/>
                  </a:lnTo>
                  <a:lnTo>
                    <a:pt x="315" y="746"/>
                  </a:lnTo>
                  <a:lnTo>
                    <a:pt x="315" y="746"/>
                  </a:lnTo>
                  <a:lnTo>
                    <a:pt x="302" y="748"/>
                  </a:lnTo>
                  <a:lnTo>
                    <a:pt x="297" y="749"/>
                  </a:lnTo>
                  <a:lnTo>
                    <a:pt x="295" y="748"/>
                  </a:lnTo>
                  <a:lnTo>
                    <a:pt x="294" y="748"/>
                  </a:lnTo>
                  <a:lnTo>
                    <a:pt x="294" y="748"/>
                  </a:lnTo>
                  <a:lnTo>
                    <a:pt x="297" y="744"/>
                  </a:lnTo>
                  <a:lnTo>
                    <a:pt x="300" y="738"/>
                  </a:lnTo>
                  <a:lnTo>
                    <a:pt x="300" y="738"/>
                  </a:lnTo>
                  <a:lnTo>
                    <a:pt x="301" y="736"/>
                  </a:lnTo>
                  <a:lnTo>
                    <a:pt x="304" y="733"/>
                  </a:lnTo>
                  <a:lnTo>
                    <a:pt x="308" y="732"/>
                  </a:lnTo>
                  <a:lnTo>
                    <a:pt x="313" y="732"/>
                  </a:lnTo>
                  <a:lnTo>
                    <a:pt x="313" y="732"/>
                  </a:lnTo>
                  <a:lnTo>
                    <a:pt x="321" y="733"/>
                  </a:lnTo>
                  <a:lnTo>
                    <a:pt x="327" y="733"/>
                  </a:lnTo>
                  <a:lnTo>
                    <a:pt x="327" y="733"/>
                  </a:lnTo>
                  <a:lnTo>
                    <a:pt x="331" y="735"/>
                  </a:lnTo>
                  <a:lnTo>
                    <a:pt x="333" y="736"/>
                  </a:lnTo>
                  <a:lnTo>
                    <a:pt x="336" y="739"/>
                  </a:lnTo>
                  <a:lnTo>
                    <a:pt x="340" y="741"/>
                  </a:lnTo>
                  <a:lnTo>
                    <a:pt x="340" y="741"/>
                  </a:lnTo>
                  <a:lnTo>
                    <a:pt x="349" y="744"/>
                  </a:lnTo>
                  <a:lnTo>
                    <a:pt x="352" y="744"/>
                  </a:lnTo>
                  <a:lnTo>
                    <a:pt x="350" y="741"/>
                  </a:lnTo>
                  <a:lnTo>
                    <a:pt x="350" y="741"/>
                  </a:lnTo>
                  <a:lnTo>
                    <a:pt x="343" y="735"/>
                  </a:lnTo>
                  <a:lnTo>
                    <a:pt x="342" y="733"/>
                  </a:lnTo>
                  <a:lnTo>
                    <a:pt x="342" y="732"/>
                  </a:lnTo>
                  <a:lnTo>
                    <a:pt x="342" y="732"/>
                  </a:lnTo>
                  <a:lnTo>
                    <a:pt x="347" y="730"/>
                  </a:lnTo>
                  <a:lnTo>
                    <a:pt x="349" y="729"/>
                  </a:lnTo>
                  <a:lnTo>
                    <a:pt x="347" y="728"/>
                  </a:lnTo>
                  <a:lnTo>
                    <a:pt x="347" y="728"/>
                  </a:lnTo>
                  <a:lnTo>
                    <a:pt x="347" y="726"/>
                  </a:lnTo>
                  <a:lnTo>
                    <a:pt x="347" y="725"/>
                  </a:lnTo>
                  <a:lnTo>
                    <a:pt x="346" y="722"/>
                  </a:lnTo>
                  <a:lnTo>
                    <a:pt x="342" y="720"/>
                  </a:lnTo>
                  <a:lnTo>
                    <a:pt x="342" y="720"/>
                  </a:lnTo>
                  <a:lnTo>
                    <a:pt x="339" y="717"/>
                  </a:lnTo>
                  <a:lnTo>
                    <a:pt x="337" y="715"/>
                  </a:lnTo>
                  <a:lnTo>
                    <a:pt x="337" y="713"/>
                  </a:lnTo>
                  <a:lnTo>
                    <a:pt x="336" y="712"/>
                  </a:lnTo>
                  <a:lnTo>
                    <a:pt x="336" y="712"/>
                  </a:lnTo>
                  <a:lnTo>
                    <a:pt x="334" y="712"/>
                  </a:lnTo>
                  <a:lnTo>
                    <a:pt x="334" y="710"/>
                  </a:lnTo>
                  <a:lnTo>
                    <a:pt x="336" y="706"/>
                  </a:lnTo>
                  <a:lnTo>
                    <a:pt x="339" y="702"/>
                  </a:lnTo>
                  <a:lnTo>
                    <a:pt x="339" y="699"/>
                  </a:lnTo>
                  <a:lnTo>
                    <a:pt x="339" y="699"/>
                  </a:lnTo>
                  <a:lnTo>
                    <a:pt x="331" y="699"/>
                  </a:lnTo>
                  <a:lnTo>
                    <a:pt x="328" y="699"/>
                  </a:lnTo>
                  <a:lnTo>
                    <a:pt x="328" y="699"/>
                  </a:lnTo>
                  <a:lnTo>
                    <a:pt x="330" y="697"/>
                  </a:lnTo>
                  <a:lnTo>
                    <a:pt x="330" y="697"/>
                  </a:lnTo>
                  <a:lnTo>
                    <a:pt x="337" y="693"/>
                  </a:lnTo>
                  <a:lnTo>
                    <a:pt x="339" y="690"/>
                  </a:lnTo>
                  <a:lnTo>
                    <a:pt x="339" y="690"/>
                  </a:lnTo>
                  <a:lnTo>
                    <a:pt x="339" y="688"/>
                  </a:lnTo>
                  <a:lnTo>
                    <a:pt x="339" y="688"/>
                  </a:lnTo>
                  <a:lnTo>
                    <a:pt x="333" y="687"/>
                  </a:lnTo>
                  <a:lnTo>
                    <a:pt x="333" y="686"/>
                  </a:lnTo>
                  <a:lnTo>
                    <a:pt x="334" y="683"/>
                  </a:lnTo>
                  <a:lnTo>
                    <a:pt x="334" y="683"/>
                  </a:lnTo>
                  <a:lnTo>
                    <a:pt x="336" y="680"/>
                  </a:lnTo>
                  <a:lnTo>
                    <a:pt x="336" y="675"/>
                  </a:lnTo>
                  <a:lnTo>
                    <a:pt x="337" y="674"/>
                  </a:lnTo>
                  <a:lnTo>
                    <a:pt x="339" y="674"/>
                  </a:lnTo>
                  <a:lnTo>
                    <a:pt x="339" y="674"/>
                  </a:lnTo>
                  <a:lnTo>
                    <a:pt x="343" y="677"/>
                  </a:lnTo>
                  <a:lnTo>
                    <a:pt x="344" y="680"/>
                  </a:lnTo>
                  <a:lnTo>
                    <a:pt x="346" y="683"/>
                  </a:lnTo>
                  <a:lnTo>
                    <a:pt x="347" y="683"/>
                  </a:lnTo>
                  <a:lnTo>
                    <a:pt x="347" y="681"/>
                  </a:lnTo>
                  <a:lnTo>
                    <a:pt x="347" y="681"/>
                  </a:lnTo>
                  <a:lnTo>
                    <a:pt x="347" y="680"/>
                  </a:lnTo>
                  <a:lnTo>
                    <a:pt x="346" y="678"/>
                  </a:lnTo>
                  <a:lnTo>
                    <a:pt x="346" y="675"/>
                  </a:lnTo>
                  <a:lnTo>
                    <a:pt x="347" y="674"/>
                  </a:lnTo>
                  <a:lnTo>
                    <a:pt x="347" y="674"/>
                  </a:lnTo>
                  <a:lnTo>
                    <a:pt x="350" y="673"/>
                  </a:lnTo>
                  <a:lnTo>
                    <a:pt x="350" y="670"/>
                  </a:lnTo>
                  <a:lnTo>
                    <a:pt x="350" y="664"/>
                  </a:lnTo>
                  <a:lnTo>
                    <a:pt x="350" y="664"/>
                  </a:lnTo>
                  <a:lnTo>
                    <a:pt x="349" y="658"/>
                  </a:lnTo>
                  <a:lnTo>
                    <a:pt x="346" y="651"/>
                  </a:lnTo>
                  <a:lnTo>
                    <a:pt x="346" y="651"/>
                  </a:lnTo>
                  <a:lnTo>
                    <a:pt x="343" y="644"/>
                  </a:lnTo>
                  <a:lnTo>
                    <a:pt x="343" y="641"/>
                  </a:lnTo>
                  <a:lnTo>
                    <a:pt x="346" y="641"/>
                  </a:lnTo>
                  <a:lnTo>
                    <a:pt x="346" y="641"/>
                  </a:lnTo>
                  <a:lnTo>
                    <a:pt x="349" y="638"/>
                  </a:lnTo>
                  <a:lnTo>
                    <a:pt x="350" y="635"/>
                  </a:lnTo>
                  <a:lnTo>
                    <a:pt x="349" y="631"/>
                  </a:lnTo>
                  <a:lnTo>
                    <a:pt x="349" y="629"/>
                  </a:lnTo>
                  <a:lnTo>
                    <a:pt x="349" y="629"/>
                  </a:lnTo>
                  <a:lnTo>
                    <a:pt x="344" y="632"/>
                  </a:lnTo>
                  <a:lnTo>
                    <a:pt x="343" y="633"/>
                  </a:lnTo>
                  <a:lnTo>
                    <a:pt x="340" y="631"/>
                  </a:lnTo>
                  <a:lnTo>
                    <a:pt x="340" y="631"/>
                  </a:lnTo>
                  <a:lnTo>
                    <a:pt x="339" y="628"/>
                  </a:lnTo>
                  <a:lnTo>
                    <a:pt x="339" y="626"/>
                  </a:lnTo>
                  <a:lnTo>
                    <a:pt x="339" y="626"/>
                  </a:lnTo>
                  <a:lnTo>
                    <a:pt x="336" y="626"/>
                  </a:lnTo>
                  <a:lnTo>
                    <a:pt x="336" y="626"/>
                  </a:lnTo>
                  <a:lnTo>
                    <a:pt x="331" y="629"/>
                  </a:lnTo>
                  <a:lnTo>
                    <a:pt x="326" y="631"/>
                  </a:lnTo>
                  <a:lnTo>
                    <a:pt x="326" y="631"/>
                  </a:lnTo>
                  <a:lnTo>
                    <a:pt x="320" y="631"/>
                  </a:lnTo>
                  <a:lnTo>
                    <a:pt x="317" y="629"/>
                  </a:lnTo>
                  <a:lnTo>
                    <a:pt x="315" y="626"/>
                  </a:lnTo>
                  <a:lnTo>
                    <a:pt x="315" y="626"/>
                  </a:lnTo>
                  <a:lnTo>
                    <a:pt x="314" y="623"/>
                  </a:lnTo>
                  <a:lnTo>
                    <a:pt x="313" y="622"/>
                  </a:lnTo>
                  <a:lnTo>
                    <a:pt x="307" y="617"/>
                  </a:lnTo>
                  <a:lnTo>
                    <a:pt x="307" y="617"/>
                  </a:lnTo>
                  <a:lnTo>
                    <a:pt x="302" y="616"/>
                  </a:lnTo>
                  <a:lnTo>
                    <a:pt x="298" y="615"/>
                  </a:lnTo>
                  <a:lnTo>
                    <a:pt x="289" y="613"/>
                  </a:lnTo>
                  <a:lnTo>
                    <a:pt x="289" y="613"/>
                  </a:lnTo>
                  <a:lnTo>
                    <a:pt x="286" y="610"/>
                  </a:lnTo>
                  <a:lnTo>
                    <a:pt x="285" y="607"/>
                  </a:lnTo>
                  <a:lnTo>
                    <a:pt x="285" y="600"/>
                  </a:lnTo>
                  <a:lnTo>
                    <a:pt x="285" y="600"/>
                  </a:lnTo>
                  <a:lnTo>
                    <a:pt x="284" y="593"/>
                  </a:lnTo>
                  <a:lnTo>
                    <a:pt x="285" y="591"/>
                  </a:lnTo>
                  <a:lnTo>
                    <a:pt x="286" y="591"/>
                  </a:lnTo>
                  <a:lnTo>
                    <a:pt x="286" y="591"/>
                  </a:lnTo>
                  <a:lnTo>
                    <a:pt x="295" y="591"/>
                  </a:lnTo>
                  <a:lnTo>
                    <a:pt x="300" y="591"/>
                  </a:lnTo>
                  <a:lnTo>
                    <a:pt x="305" y="593"/>
                  </a:lnTo>
                  <a:lnTo>
                    <a:pt x="305" y="593"/>
                  </a:lnTo>
                  <a:lnTo>
                    <a:pt x="310" y="594"/>
                  </a:lnTo>
                  <a:lnTo>
                    <a:pt x="314" y="599"/>
                  </a:lnTo>
                  <a:lnTo>
                    <a:pt x="323" y="604"/>
                  </a:lnTo>
                  <a:lnTo>
                    <a:pt x="323" y="604"/>
                  </a:lnTo>
                  <a:lnTo>
                    <a:pt x="336" y="612"/>
                  </a:lnTo>
                  <a:lnTo>
                    <a:pt x="340" y="613"/>
                  </a:lnTo>
                  <a:lnTo>
                    <a:pt x="342" y="613"/>
                  </a:lnTo>
                  <a:lnTo>
                    <a:pt x="342" y="612"/>
                  </a:lnTo>
                  <a:lnTo>
                    <a:pt x="342" y="612"/>
                  </a:lnTo>
                  <a:lnTo>
                    <a:pt x="340" y="609"/>
                  </a:lnTo>
                  <a:lnTo>
                    <a:pt x="337" y="606"/>
                  </a:lnTo>
                  <a:lnTo>
                    <a:pt x="333" y="600"/>
                  </a:lnTo>
                  <a:lnTo>
                    <a:pt x="333" y="600"/>
                  </a:lnTo>
                  <a:lnTo>
                    <a:pt x="333" y="600"/>
                  </a:lnTo>
                  <a:lnTo>
                    <a:pt x="334" y="600"/>
                  </a:lnTo>
                  <a:lnTo>
                    <a:pt x="339" y="602"/>
                  </a:lnTo>
                  <a:lnTo>
                    <a:pt x="343" y="603"/>
                  </a:lnTo>
                  <a:lnTo>
                    <a:pt x="346" y="603"/>
                  </a:lnTo>
                  <a:lnTo>
                    <a:pt x="346" y="603"/>
                  </a:lnTo>
                  <a:lnTo>
                    <a:pt x="346" y="603"/>
                  </a:lnTo>
                  <a:lnTo>
                    <a:pt x="344" y="597"/>
                  </a:lnTo>
                  <a:lnTo>
                    <a:pt x="340" y="593"/>
                  </a:lnTo>
                  <a:lnTo>
                    <a:pt x="340" y="593"/>
                  </a:lnTo>
                  <a:lnTo>
                    <a:pt x="339" y="591"/>
                  </a:lnTo>
                  <a:lnTo>
                    <a:pt x="339" y="590"/>
                  </a:lnTo>
                  <a:lnTo>
                    <a:pt x="342" y="587"/>
                  </a:lnTo>
                  <a:lnTo>
                    <a:pt x="344" y="586"/>
                  </a:lnTo>
                  <a:lnTo>
                    <a:pt x="346" y="586"/>
                  </a:lnTo>
                  <a:lnTo>
                    <a:pt x="344" y="586"/>
                  </a:lnTo>
                  <a:lnTo>
                    <a:pt x="344" y="586"/>
                  </a:lnTo>
                  <a:lnTo>
                    <a:pt x="343" y="584"/>
                  </a:lnTo>
                  <a:lnTo>
                    <a:pt x="343" y="583"/>
                  </a:lnTo>
                  <a:lnTo>
                    <a:pt x="343" y="581"/>
                  </a:lnTo>
                  <a:lnTo>
                    <a:pt x="342" y="581"/>
                  </a:lnTo>
                  <a:lnTo>
                    <a:pt x="342" y="581"/>
                  </a:lnTo>
                  <a:lnTo>
                    <a:pt x="340" y="581"/>
                  </a:lnTo>
                  <a:lnTo>
                    <a:pt x="339" y="580"/>
                  </a:lnTo>
                  <a:lnTo>
                    <a:pt x="331" y="578"/>
                  </a:lnTo>
                  <a:lnTo>
                    <a:pt x="331" y="578"/>
                  </a:lnTo>
                  <a:lnTo>
                    <a:pt x="327" y="577"/>
                  </a:lnTo>
                  <a:lnTo>
                    <a:pt x="323" y="578"/>
                  </a:lnTo>
                  <a:lnTo>
                    <a:pt x="320" y="578"/>
                  </a:lnTo>
                  <a:lnTo>
                    <a:pt x="321" y="575"/>
                  </a:lnTo>
                  <a:lnTo>
                    <a:pt x="321" y="575"/>
                  </a:lnTo>
                  <a:lnTo>
                    <a:pt x="328" y="573"/>
                  </a:lnTo>
                  <a:lnTo>
                    <a:pt x="330" y="571"/>
                  </a:lnTo>
                  <a:lnTo>
                    <a:pt x="330" y="570"/>
                  </a:lnTo>
                  <a:lnTo>
                    <a:pt x="330" y="570"/>
                  </a:lnTo>
                  <a:lnTo>
                    <a:pt x="328" y="567"/>
                  </a:lnTo>
                  <a:lnTo>
                    <a:pt x="328" y="567"/>
                  </a:lnTo>
                  <a:lnTo>
                    <a:pt x="327" y="565"/>
                  </a:lnTo>
                  <a:lnTo>
                    <a:pt x="321" y="564"/>
                  </a:lnTo>
                  <a:lnTo>
                    <a:pt x="321" y="564"/>
                  </a:lnTo>
                  <a:lnTo>
                    <a:pt x="310" y="562"/>
                  </a:lnTo>
                  <a:lnTo>
                    <a:pt x="307" y="561"/>
                  </a:lnTo>
                  <a:lnTo>
                    <a:pt x="307" y="560"/>
                  </a:lnTo>
                  <a:lnTo>
                    <a:pt x="310" y="560"/>
                  </a:lnTo>
                  <a:lnTo>
                    <a:pt x="310" y="560"/>
                  </a:lnTo>
                  <a:lnTo>
                    <a:pt x="321" y="554"/>
                  </a:lnTo>
                  <a:lnTo>
                    <a:pt x="324" y="551"/>
                  </a:lnTo>
                  <a:lnTo>
                    <a:pt x="324" y="549"/>
                  </a:lnTo>
                  <a:lnTo>
                    <a:pt x="324" y="549"/>
                  </a:lnTo>
                  <a:lnTo>
                    <a:pt x="324" y="549"/>
                  </a:lnTo>
                  <a:lnTo>
                    <a:pt x="320" y="549"/>
                  </a:lnTo>
                  <a:lnTo>
                    <a:pt x="318" y="548"/>
                  </a:lnTo>
                  <a:lnTo>
                    <a:pt x="315" y="548"/>
                  </a:lnTo>
                  <a:lnTo>
                    <a:pt x="314" y="549"/>
                  </a:lnTo>
                  <a:lnTo>
                    <a:pt x="314" y="549"/>
                  </a:lnTo>
                  <a:lnTo>
                    <a:pt x="313" y="554"/>
                  </a:lnTo>
                  <a:lnTo>
                    <a:pt x="310" y="554"/>
                  </a:lnTo>
                  <a:lnTo>
                    <a:pt x="307" y="552"/>
                  </a:lnTo>
                  <a:lnTo>
                    <a:pt x="307" y="552"/>
                  </a:lnTo>
                  <a:lnTo>
                    <a:pt x="304" y="549"/>
                  </a:lnTo>
                  <a:lnTo>
                    <a:pt x="302" y="548"/>
                  </a:lnTo>
                  <a:lnTo>
                    <a:pt x="301" y="542"/>
                  </a:lnTo>
                  <a:lnTo>
                    <a:pt x="301" y="532"/>
                  </a:lnTo>
                  <a:lnTo>
                    <a:pt x="301" y="532"/>
                  </a:lnTo>
                  <a:lnTo>
                    <a:pt x="298" y="523"/>
                  </a:lnTo>
                  <a:lnTo>
                    <a:pt x="297" y="520"/>
                  </a:lnTo>
                  <a:lnTo>
                    <a:pt x="295" y="519"/>
                  </a:lnTo>
                  <a:lnTo>
                    <a:pt x="295" y="519"/>
                  </a:lnTo>
                  <a:lnTo>
                    <a:pt x="294" y="525"/>
                  </a:lnTo>
                  <a:lnTo>
                    <a:pt x="294" y="531"/>
                  </a:lnTo>
                  <a:lnTo>
                    <a:pt x="294" y="531"/>
                  </a:lnTo>
                  <a:lnTo>
                    <a:pt x="294" y="536"/>
                  </a:lnTo>
                  <a:lnTo>
                    <a:pt x="294" y="541"/>
                  </a:lnTo>
                  <a:lnTo>
                    <a:pt x="294" y="541"/>
                  </a:lnTo>
                  <a:lnTo>
                    <a:pt x="291" y="548"/>
                  </a:lnTo>
                  <a:lnTo>
                    <a:pt x="289" y="552"/>
                  </a:lnTo>
                  <a:lnTo>
                    <a:pt x="289" y="555"/>
                  </a:lnTo>
                  <a:lnTo>
                    <a:pt x="289" y="555"/>
                  </a:lnTo>
                  <a:lnTo>
                    <a:pt x="291" y="560"/>
                  </a:lnTo>
                  <a:lnTo>
                    <a:pt x="291" y="561"/>
                  </a:lnTo>
                  <a:lnTo>
                    <a:pt x="289" y="564"/>
                  </a:lnTo>
                  <a:lnTo>
                    <a:pt x="289" y="564"/>
                  </a:lnTo>
                  <a:lnTo>
                    <a:pt x="284" y="567"/>
                  </a:lnTo>
                  <a:lnTo>
                    <a:pt x="281" y="568"/>
                  </a:lnTo>
                  <a:lnTo>
                    <a:pt x="279" y="565"/>
                  </a:lnTo>
                  <a:lnTo>
                    <a:pt x="279" y="565"/>
                  </a:lnTo>
                  <a:lnTo>
                    <a:pt x="275" y="560"/>
                  </a:lnTo>
                  <a:lnTo>
                    <a:pt x="273" y="558"/>
                  </a:lnTo>
                  <a:lnTo>
                    <a:pt x="272" y="560"/>
                  </a:lnTo>
                  <a:lnTo>
                    <a:pt x="272" y="560"/>
                  </a:lnTo>
                  <a:lnTo>
                    <a:pt x="272" y="564"/>
                  </a:lnTo>
                  <a:lnTo>
                    <a:pt x="268" y="564"/>
                  </a:lnTo>
                  <a:lnTo>
                    <a:pt x="268" y="564"/>
                  </a:lnTo>
                  <a:lnTo>
                    <a:pt x="266" y="561"/>
                  </a:lnTo>
                  <a:lnTo>
                    <a:pt x="265" y="557"/>
                  </a:lnTo>
                  <a:lnTo>
                    <a:pt x="263" y="549"/>
                  </a:lnTo>
                  <a:lnTo>
                    <a:pt x="263" y="549"/>
                  </a:lnTo>
                  <a:lnTo>
                    <a:pt x="263" y="547"/>
                  </a:lnTo>
                  <a:lnTo>
                    <a:pt x="265" y="547"/>
                  </a:lnTo>
                  <a:lnTo>
                    <a:pt x="269" y="547"/>
                  </a:lnTo>
                  <a:lnTo>
                    <a:pt x="272" y="544"/>
                  </a:lnTo>
                  <a:lnTo>
                    <a:pt x="272" y="544"/>
                  </a:lnTo>
                  <a:lnTo>
                    <a:pt x="281" y="539"/>
                  </a:lnTo>
                  <a:lnTo>
                    <a:pt x="284" y="538"/>
                  </a:lnTo>
                  <a:lnTo>
                    <a:pt x="284" y="536"/>
                  </a:lnTo>
                  <a:lnTo>
                    <a:pt x="284" y="536"/>
                  </a:lnTo>
                  <a:lnTo>
                    <a:pt x="281" y="536"/>
                  </a:lnTo>
                  <a:lnTo>
                    <a:pt x="278" y="536"/>
                  </a:lnTo>
                  <a:lnTo>
                    <a:pt x="273" y="538"/>
                  </a:lnTo>
                  <a:lnTo>
                    <a:pt x="273" y="538"/>
                  </a:lnTo>
                  <a:lnTo>
                    <a:pt x="268" y="538"/>
                  </a:lnTo>
                  <a:lnTo>
                    <a:pt x="263" y="536"/>
                  </a:lnTo>
                  <a:lnTo>
                    <a:pt x="263" y="535"/>
                  </a:lnTo>
                  <a:lnTo>
                    <a:pt x="265" y="533"/>
                  </a:lnTo>
                  <a:lnTo>
                    <a:pt x="265" y="533"/>
                  </a:lnTo>
                  <a:lnTo>
                    <a:pt x="271" y="528"/>
                  </a:lnTo>
                  <a:lnTo>
                    <a:pt x="273" y="523"/>
                  </a:lnTo>
                  <a:lnTo>
                    <a:pt x="275" y="520"/>
                  </a:lnTo>
                  <a:lnTo>
                    <a:pt x="275" y="520"/>
                  </a:lnTo>
                  <a:lnTo>
                    <a:pt x="275" y="518"/>
                  </a:lnTo>
                  <a:lnTo>
                    <a:pt x="276" y="515"/>
                  </a:lnTo>
                  <a:lnTo>
                    <a:pt x="278" y="513"/>
                  </a:lnTo>
                  <a:lnTo>
                    <a:pt x="278" y="513"/>
                  </a:lnTo>
                  <a:lnTo>
                    <a:pt x="278" y="513"/>
                  </a:lnTo>
                  <a:lnTo>
                    <a:pt x="275" y="509"/>
                  </a:lnTo>
                  <a:lnTo>
                    <a:pt x="273" y="507"/>
                  </a:lnTo>
                  <a:lnTo>
                    <a:pt x="276" y="506"/>
                  </a:lnTo>
                  <a:lnTo>
                    <a:pt x="276" y="506"/>
                  </a:lnTo>
                  <a:lnTo>
                    <a:pt x="282" y="506"/>
                  </a:lnTo>
                  <a:lnTo>
                    <a:pt x="284" y="505"/>
                  </a:lnTo>
                  <a:lnTo>
                    <a:pt x="282" y="503"/>
                  </a:lnTo>
                  <a:lnTo>
                    <a:pt x="282" y="503"/>
                  </a:lnTo>
                  <a:lnTo>
                    <a:pt x="279" y="494"/>
                  </a:lnTo>
                  <a:lnTo>
                    <a:pt x="278" y="493"/>
                  </a:lnTo>
                  <a:lnTo>
                    <a:pt x="279" y="491"/>
                  </a:lnTo>
                  <a:lnTo>
                    <a:pt x="281" y="491"/>
                  </a:lnTo>
                  <a:lnTo>
                    <a:pt x="281" y="491"/>
                  </a:lnTo>
                  <a:lnTo>
                    <a:pt x="284" y="491"/>
                  </a:lnTo>
                  <a:lnTo>
                    <a:pt x="285" y="493"/>
                  </a:lnTo>
                  <a:lnTo>
                    <a:pt x="286" y="497"/>
                  </a:lnTo>
                  <a:lnTo>
                    <a:pt x="286" y="497"/>
                  </a:lnTo>
                  <a:lnTo>
                    <a:pt x="288" y="502"/>
                  </a:lnTo>
                  <a:lnTo>
                    <a:pt x="289" y="503"/>
                  </a:lnTo>
                  <a:lnTo>
                    <a:pt x="291" y="503"/>
                  </a:lnTo>
                  <a:lnTo>
                    <a:pt x="291" y="503"/>
                  </a:lnTo>
                  <a:lnTo>
                    <a:pt x="294" y="503"/>
                  </a:lnTo>
                  <a:lnTo>
                    <a:pt x="295" y="503"/>
                  </a:lnTo>
                  <a:lnTo>
                    <a:pt x="297" y="503"/>
                  </a:lnTo>
                  <a:lnTo>
                    <a:pt x="295" y="502"/>
                  </a:lnTo>
                  <a:lnTo>
                    <a:pt x="295" y="502"/>
                  </a:lnTo>
                  <a:lnTo>
                    <a:pt x="292" y="496"/>
                  </a:lnTo>
                  <a:lnTo>
                    <a:pt x="288" y="491"/>
                  </a:lnTo>
                  <a:lnTo>
                    <a:pt x="288" y="491"/>
                  </a:lnTo>
                  <a:lnTo>
                    <a:pt x="285" y="487"/>
                  </a:lnTo>
                  <a:lnTo>
                    <a:pt x="284" y="481"/>
                  </a:lnTo>
                  <a:lnTo>
                    <a:pt x="282" y="473"/>
                  </a:lnTo>
                  <a:lnTo>
                    <a:pt x="282" y="473"/>
                  </a:lnTo>
                  <a:lnTo>
                    <a:pt x="279" y="465"/>
                  </a:lnTo>
                  <a:lnTo>
                    <a:pt x="278" y="461"/>
                  </a:lnTo>
                  <a:lnTo>
                    <a:pt x="278" y="458"/>
                  </a:lnTo>
                  <a:lnTo>
                    <a:pt x="278" y="458"/>
                  </a:lnTo>
                  <a:lnTo>
                    <a:pt x="275" y="447"/>
                  </a:lnTo>
                  <a:lnTo>
                    <a:pt x="271" y="435"/>
                  </a:lnTo>
                  <a:lnTo>
                    <a:pt x="271" y="435"/>
                  </a:lnTo>
                  <a:lnTo>
                    <a:pt x="266" y="426"/>
                  </a:lnTo>
                  <a:lnTo>
                    <a:pt x="265" y="423"/>
                  </a:lnTo>
                  <a:lnTo>
                    <a:pt x="265" y="421"/>
                  </a:lnTo>
                  <a:lnTo>
                    <a:pt x="265" y="421"/>
                  </a:lnTo>
                  <a:lnTo>
                    <a:pt x="266" y="416"/>
                  </a:lnTo>
                  <a:lnTo>
                    <a:pt x="265" y="409"/>
                  </a:lnTo>
                  <a:lnTo>
                    <a:pt x="263" y="400"/>
                  </a:lnTo>
                  <a:lnTo>
                    <a:pt x="260" y="393"/>
                  </a:lnTo>
                  <a:lnTo>
                    <a:pt x="260" y="393"/>
                  </a:lnTo>
                  <a:lnTo>
                    <a:pt x="258" y="387"/>
                  </a:lnTo>
                  <a:lnTo>
                    <a:pt x="256" y="381"/>
                  </a:lnTo>
                  <a:lnTo>
                    <a:pt x="255" y="376"/>
                  </a:lnTo>
                  <a:lnTo>
                    <a:pt x="253" y="373"/>
                  </a:lnTo>
                  <a:lnTo>
                    <a:pt x="253" y="373"/>
                  </a:lnTo>
                  <a:lnTo>
                    <a:pt x="244" y="365"/>
                  </a:lnTo>
                  <a:lnTo>
                    <a:pt x="240" y="360"/>
                  </a:lnTo>
                  <a:lnTo>
                    <a:pt x="239" y="357"/>
                  </a:lnTo>
                  <a:lnTo>
                    <a:pt x="239" y="357"/>
                  </a:lnTo>
                  <a:lnTo>
                    <a:pt x="239" y="352"/>
                  </a:lnTo>
                  <a:lnTo>
                    <a:pt x="239" y="348"/>
                  </a:lnTo>
                  <a:lnTo>
                    <a:pt x="239" y="348"/>
                  </a:lnTo>
                  <a:lnTo>
                    <a:pt x="231" y="341"/>
                  </a:lnTo>
                  <a:lnTo>
                    <a:pt x="229" y="336"/>
                  </a:lnTo>
                  <a:lnTo>
                    <a:pt x="227" y="335"/>
                  </a:lnTo>
                  <a:lnTo>
                    <a:pt x="229" y="334"/>
                  </a:lnTo>
                  <a:lnTo>
                    <a:pt x="229" y="334"/>
                  </a:lnTo>
                  <a:lnTo>
                    <a:pt x="234" y="328"/>
                  </a:lnTo>
                  <a:lnTo>
                    <a:pt x="236" y="323"/>
                  </a:lnTo>
                  <a:lnTo>
                    <a:pt x="236" y="322"/>
                  </a:lnTo>
                  <a:lnTo>
                    <a:pt x="234" y="319"/>
                  </a:lnTo>
                  <a:lnTo>
                    <a:pt x="234" y="319"/>
                  </a:lnTo>
                  <a:lnTo>
                    <a:pt x="231" y="318"/>
                  </a:lnTo>
                  <a:lnTo>
                    <a:pt x="230" y="316"/>
                  </a:lnTo>
                  <a:lnTo>
                    <a:pt x="229" y="316"/>
                  </a:lnTo>
                  <a:lnTo>
                    <a:pt x="229" y="315"/>
                  </a:lnTo>
                  <a:lnTo>
                    <a:pt x="229" y="315"/>
                  </a:lnTo>
                  <a:lnTo>
                    <a:pt x="227" y="310"/>
                  </a:lnTo>
                  <a:lnTo>
                    <a:pt x="227" y="308"/>
                  </a:lnTo>
                  <a:lnTo>
                    <a:pt x="226" y="308"/>
                  </a:lnTo>
                  <a:lnTo>
                    <a:pt x="226" y="308"/>
                  </a:lnTo>
                  <a:lnTo>
                    <a:pt x="218" y="309"/>
                  </a:lnTo>
                  <a:lnTo>
                    <a:pt x="214" y="310"/>
                  </a:lnTo>
                  <a:lnTo>
                    <a:pt x="211" y="309"/>
                  </a:lnTo>
                  <a:lnTo>
                    <a:pt x="211" y="309"/>
                  </a:lnTo>
                  <a:lnTo>
                    <a:pt x="211" y="308"/>
                  </a:lnTo>
                  <a:lnTo>
                    <a:pt x="211" y="305"/>
                  </a:lnTo>
                  <a:lnTo>
                    <a:pt x="211" y="302"/>
                  </a:lnTo>
                  <a:lnTo>
                    <a:pt x="210" y="302"/>
                  </a:lnTo>
                  <a:lnTo>
                    <a:pt x="210" y="302"/>
                  </a:lnTo>
                  <a:lnTo>
                    <a:pt x="201" y="300"/>
                  </a:lnTo>
                  <a:lnTo>
                    <a:pt x="194" y="297"/>
                  </a:lnTo>
                  <a:lnTo>
                    <a:pt x="194" y="297"/>
                  </a:lnTo>
                  <a:lnTo>
                    <a:pt x="185" y="297"/>
                  </a:lnTo>
                  <a:lnTo>
                    <a:pt x="181" y="297"/>
                  </a:lnTo>
                  <a:lnTo>
                    <a:pt x="176" y="294"/>
                  </a:lnTo>
                  <a:lnTo>
                    <a:pt x="176" y="294"/>
                  </a:lnTo>
                  <a:lnTo>
                    <a:pt x="166" y="287"/>
                  </a:lnTo>
                  <a:lnTo>
                    <a:pt x="160" y="284"/>
                  </a:lnTo>
                  <a:lnTo>
                    <a:pt x="155" y="281"/>
                  </a:lnTo>
                  <a:lnTo>
                    <a:pt x="155" y="281"/>
                  </a:lnTo>
                  <a:lnTo>
                    <a:pt x="147" y="280"/>
                  </a:lnTo>
                  <a:lnTo>
                    <a:pt x="146" y="280"/>
                  </a:lnTo>
                  <a:lnTo>
                    <a:pt x="145" y="281"/>
                  </a:lnTo>
                  <a:lnTo>
                    <a:pt x="145" y="281"/>
                  </a:lnTo>
                  <a:lnTo>
                    <a:pt x="139" y="287"/>
                  </a:lnTo>
                  <a:lnTo>
                    <a:pt x="136" y="292"/>
                  </a:lnTo>
                  <a:lnTo>
                    <a:pt x="133" y="293"/>
                  </a:lnTo>
                  <a:lnTo>
                    <a:pt x="133" y="293"/>
                  </a:lnTo>
                  <a:lnTo>
                    <a:pt x="130" y="293"/>
                  </a:lnTo>
                  <a:lnTo>
                    <a:pt x="126" y="292"/>
                  </a:lnTo>
                  <a:lnTo>
                    <a:pt x="123" y="289"/>
                  </a:lnTo>
                  <a:lnTo>
                    <a:pt x="117" y="289"/>
                  </a:lnTo>
                  <a:lnTo>
                    <a:pt x="117" y="289"/>
                  </a:lnTo>
                  <a:lnTo>
                    <a:pt x="113" y="290"/>
                  </a:lnTo>
                  <a:lnTo>
                    <a:pt x="108" y="292"/>
                  </a:lnTo>
                  <a:lnTo>
                    <a:pt x="103" y="296"/>
                  </a:lnTo>
                  <a:lnTo>
                    <a:pt x="103" y="296"/>
                  </a:lnTo>
                  <a:lnTo>
                    <a:pt x="97" y="297"/>
                  </a:lnTo>
                  <a:lnTo>
                    <a:pt x="92" y="299"/>
                  </a:lnTo>
                  <a:lnTo>
                    <a:pt x="91" y="300"/>
                  </a:lnTo>
                  <a:lnTo>
                    <a:pt x="91" y="300"/>
                  </a:lnTo>
                  <a:lnTo>
                    <a:pt x="91" y="303"/>
                  </a:lnTo>
                  <a:lnTo>
                    <a:pt x="90" y="305"/>
                  </a:lnTo>
                  <a:lnTo>
                    <a:pt x="88" y="306"/>
                  </a:lnTo>
                  <a:lnTo>
                    <a:pt x="85" y="305"/>
                  </a:lnTo>
                  <a:lnTo>
                    <a:pt x="85" y="305"/>
                  </a:lnTo>
                  <a:lnTo>
                    <a:pt x="72" y="302"/>
                  </a:lnTo>
                  <a:lnTo>
                    <a:pt x="65" y="299"/>
                  </a:lnTo>
                  <a:lnTo>
                    <a:pt x="59" y="294"/>
                  </a:lnTo>
                  <a:lnTo>
                    <a:pt x="59" y="294"/>
                  </a:lnTo>
                  <a:lnTo>
                    <a:pt x="56" y="293"/>
                  </a:lnTo>
                  <a:lnTo>
                    <a:pt x="52" y="292"/>
                  </a:lnTo>
                  <a:lnTo>
                    <a:pt x="49" y="289"/>
                  </a:lnTo>
                  <a:lnTo>
                    <a:pt x="46" y="287"/>
                  </a:lnTo>
                  <a:lnTo>
                    <a:pt x="46" y="287"/>
                  </a:lnTo>
                  <a:lnTo>
                    <a:pt x="43" y="283"/>
                  </a:lnTo>
                  <a:lnTo>
                    <a:pt x="40" y="280"/>
                  </a:lnTo>
                  <a:lnTo>
                    <a:pt x="40" y="280"/>
                  </a:lnTo>
                  <a:lnTo>
                    <a:pt x="32" y="274"/>
                  </a:lnTo>
                  <a:lnTo>
                    <a:pt x="29" y="270"/>
                  </a:lnTo>
                  <a:lnTo>
                    <a:pt x="29" y="268"/>
                  </a:lnTo>
                  <a:lnTo>
                    <a:pt x="30" y="267"/>
                  </a:lnTo>
                  <a:lnTo>
                    <a:pt x="30" y="267"/>
                  </a:lnTo>
                  <a:lnTo>
                    <a:pt x="39" y="266"/>
                  </a:lnTo>
                  <a:lnTo>
                    <a:pt x="42" y="264"/>
                  </a:lnTo>
                  <a:lnTo>
                    <a:pt x="43" y="261"/>
                  </a:lnTo>
                  <a:lnTo>
                    <a:pt x="43" y="261"/>
                  </a:lnTo>
                  <a:lnTo>
                    <a:pt x="43" y="258"/>
                  </a:lnTo>
                  <a:lnTo>
                    <a:pt x="40" y="257"/>
                  </a:lnTo>
                  <a:lnTo>
                    <a:pt x="36" y="251"/>
                  </a:lnTo>
                  <a:lnTo>
                    <a:pt x="36" y="251"/>
                  </a:lnTo>
                  <a:lnTo>
                    <a:pt x="32" y="245"/>
                  </a:lnTo>
                  <a:lnTo>
                    <a:pt x="26" y="238"/>
                  </a:lnTo>
                  <a:lnTo>
                    <a:pt x="26" y="238"/>
                  </a:lnTo>
                  <a:lnTo>
                    <a:pt x="24" y="235"/>
                  </a:lnTo>
                  <a:lnTo>
                    <a:pt x="24" y="232"/>
                  </a:lnTo>
                  <a:lnTo>
                    <a:pt x="26" y="229"/>
                  </a:lnTo>
                  <a:lnTo>
                    <a:pt x="30" y="228"/>
                  </a:lnTo>
                  <a:lnTo>
                    <a:pt x="30" y="228"/>
                  </a:lnTo>
                  <a:lnTo>
                    <a:pt x="45" y="225"/>
                  </a:lnTo>
                  <a:lnTo>
                    <a:pt x="56" y="224"/>
                  </a:lnTo>
                  <a:lnTo>
                    <a:pt x="56" y="224"/>
                  </a:lnTo>
                  <a:lnTo>
                    <a:pt x="66" y="225"/>
                  </a:lnTo>
                  <a:lnTo>
                    <a:pt x="76" y="225"/>
                  </a:lnTo>
                  <a:lnTo>
                    <a:pt x="76" y="225"/>
                  </a:lnTo>
                  <a:lnTo>
                    <a:pt x="79" y="225"/>
                  </a:lnTo>
                  <a:lnTo>
                    <a:pt x="84" y="225"/>
                  </a:lnTo>
                  <a:lnTo>
                    <a:pt x="84" y="225"/>
                  </a:lnTo>
                  <a:lnTo>
                    <a:pt x="94" y="226"/>
                  </a:lnTo>
                  <a:lnTo>
                    <a:pt x="98" y="226"/>
                  </a:lnTo>
                  <a:lnTo>
                    <a:pt x="100" y="226"/>
                  </a:lnTo>
                  <a:lnTo>
                    <a:pt x="100" y="226"/>
                  </a:lnTo>
                  <a:lnTo>
                    <a:pt x="97" y="224"/>
                  </a:lnTo>
                  <a:lnTo>
                    <a:pt x="92" y="222"/>
                  </a:lnTo>
                  <a:lnTo>
                    <a:pt x="87" y="219"/>
                  </a:lnTo>
                  <a:lnTo>
                    <a:pt x="82" y="218"/>
                  </a:lnTo>
                  <a:lnTo>
                    <a:pt x="82" y="218"/>
                  </a:lnTo>
                  <a:lnTo>
                    <a:pt x="71" y="219"/>
                  </a:lnTo>
                  <a:lnTo>
                    <a:pt x="65" y="219"/>
                  </a:lnTo>
                  <a:lnTo>
                    <a:pt x="63" y="218"/>
                  </a:lnTo>
                  <a:lnTo>
                    <a:pt x="63" y="218"/>
                  </a:lnTo>
                  <a:lnTo>
                    <a:pt x="66" y="213"/>
                  </a:lnTo>
                  <a:lnTo>
                    <a:pt x="69" y="212"/>
                  </a:lnTo>
                  <a:lnTo>
                    <a:pt x="74" y="212"/>
                  </a:lnTo>
                  <a:lnTo>
                    <a:pt x="74" y="212"/>
                  </a:lnTo>
                  <a:lnTo>
                    <a:pt x="85" y="210"/>
                  </a:lnTo>
                  <a:lnTo>
                    <a:pt x="92" y="210"/>
                  </a:lnTo>
                  <a:lnTo>
                    <a:pt x="97" y="212"/>
                  </a:lnTo>
                  <a:lnTo>
                    <a:pt x="97" y="212"/>
                  </a:lnTo>
                  <a:lnTo>
                    <a:pt x="98" y="212"/>
                  </a:lnTo>
                  <a:lnTo>
                    <a:pt x="101" y="212"/>
                  </a:lnTo>
                  <a:lnTo>
                    <a:pt x="105" y="209"/>
                  </a:lnTo>
                  <a:lnTo>
                    <a:pt x="105" y="209"/>
                  </a:lnTo>
                  <a:lnTo>
                    <a:pt x="107" y="206"/>
                  </a:lnTo>
                  <a:lnTo>
                    <a:pt x="110" y="203"/>
                  </a:lnTo>
                  <a:lnTo>
                    <a:pt x="110" y="199"/>
                  </a:lnTo>
                  <a:lnTo>
                    <a:pt x="110" y="195"/>
                  </a:lnTo>
                  <a:lnTo>
                    <a:pt x="110" y="195"/>
                  </a:lnTo>
                  <a:lnTo>
                    <a:pt x="107" y="190"/>
                  </a:lnTo>
                  <a:lnTo>
                    <a:pt x="105" y="189"/>
                  </a:lnTo>
                  <a:lnTo>
                    <a:pt x="103" y="189"/>
                  </a:lnTo>
                  <a:lnTo>
                    <a:pt x="103" y="189"/>
                  </a:lnTo>
                  <a:lnTo>
                    <a:pt x="101" y="189"/>
                  </a:lnTo>
                  <a:lnTo>
                    <a:pt x="98" y="186"/>
                  </a:lnTo>
                  <a:lnTo>
                    <a:pt x="95" y="184"/>
                  </a:lnTo>
                  <a:lnTo>
                    <a:pt x="94" y="184"/>
                  </a:lnTo>
                  <a:lnTo>
                    <a:pt x="94" y="186"/>
                  </a:lnTo>
                  <a:lnTo>
                    <a:pt x="94" y="186"/>
                  </a:lnTo>
                  <a:lnTo>
                    <a:pt x="88" y="193"/>
                  </a:lnTo>
                  <a:lnTo>
                    <a:pt x="84" y="197"/>
                  </a:lnTo>
                  <a:lnTo>
                    <a:pt x="78" y="199"/>
                  </a:lnTo>
                  <a:lnTo>
                    <a:pt x="78" y="199"/>
                  </a:lnTo>
                  <a:lnTo>
                    <a:pt x="76" y="199"/>
                  </a:lnTo>
                  <a:lnTo>
                    <a:pt x="74" y="197"/>
                  </a:lnTo>
                  <a:lnTo>
                    <a:pt x="69" y="193"/>
                  </a:lnTo>
                  <a:lnTo>
                    <a:pt x="66" y="190"/>
                  </a:lnTo>
                  <a:lnTo>
                    <a:pt x="66" y="190"/>
                  </a:lnTo>
                  <a:lnTo>
                    <a:pt x="66" y="190"/>
                  </a:lnTo>
                  <a:lnTo>
                    <a:pt x="66" y="190"/>
                  </a:lnTo>
                  <a:lnTo>
                    <a:pt x="63" y="195"/>
                  </a:lnTo>
                  <a:lnTo>
                    <a:pt x="62" y="197"/>
                  </a:lnTo>
                  <a:lnTo>
                    <a:pt x="61" y="199"/>
                  </a:lnTo>
                  <a:lnTo>
                    <a:pt x="61" y="199"/>
                  </a:lnTo>
                  <a:lnTo>
                    <a:pt x="56" y="199"/>
                  </a:lnTo>
                  <a:lnTo>
                    <a:pt x="50" y="199"/>
                  </a:lnTo>
                  <a:lnTo>
                    <a:pt x="45" y="196"/>
                  </a:lnTo>
                  <a:lnTo>
                    <a:pt x="42" y="195"/>
                  </a:lnTo>
                  <a:lnTo>
                    <a:pt x="42" y="195"/>
                  </a:lnTo>
                  <a:lnTo>
                    <a:pt x="42" y="193"/>
                  </a:lnTo>
                  <a:lnTo>
                    <a:pt x="42" y="193"/>
                  </a:lnTo>
                  <a:lnTo>
                    <a:pt x="45" y="192"/>
                  </a:lnTo>
                  <a:lnTo>
                    <a:pt x="49" y="192"/>
                  </a:lnTo>
                  <a:lnTo>
                    <a:pt x="50" y="190"/>
                  </a:lnTo>
                  <a:lnTo>
                    <a:pt x="50" y="189"/>
                  </a:lnTo>
                  <a:lnTo>
                    <a:pt x="50" y="189"/>
                  </a:lnTo>
                  <a:lnTo>
                    <a:pt x="50" y="184"/>
                  </a:lnTo>
                  <a:lnTo>
                    <a:pt x="49" y="184"/>
                  </a:lnTo>
                  <a:lnTo>
                    <a:pt x="46" y="184"/>
                  </a:lnTo>
                  <a:lnTo>
                    <a:pt x="46" y="184"/>
                  </a:lnTo>
                  <a:lnTo>
                    <a:pt x="39" y="187"/>
                  </a:lnTo>
                  <a:lnTo>
                    <a:pt x="34" y="187"/>
                  </a:lnTo>
                  <a:lnTo>
                    <a:pt x="34" y="187"/>
                  </a:lnTo>
                  <a:lnTo>
                    <a:pt x="33" y="186"/>
                  </a:lnTo>
                  <a:lnTo>
                    <a:pt x="33" y="186"/>
                  </a:lnTo>
                  <a:lnTo>
                    <a:pt x="34" y="183"/>
                  </a:lnTo>
                  <a:lnTo>
                    <a:pt x="37" y="179"/>
                  </a:lnTo>
                  <a:lnTo>
                    <a:pt x="40" y="176"/>
                  </a:lnTo>
                  <a:lnTo>
                    <a:pt x="40" y="176"/>
                  </a:lnTo>
                  <a:lnTo>
                    <a:pt x="40" y="176"/>
                  </a:lnTo>
                  <a:lnTo>
                    <a:pt x="40" y="176"/>
                  </a:lnTo>
                  <a:lnTo>
                    <a:pt x="32" y="179"/>
                  </a:lnTo>
                  <a:lnTo>
                    <a:pt x="26" y="180"/>
                  </a:lnTo>
                  <a:lnTo>
                    <a:pt x="21" y="180"/>
                  </a:lnTo>
                  <a:lnTo>
                    <a:pt x="21" y="180"/>
                  </a:lnTo>
                  <a:lnTo>
                    <a:pt x="21" y="179"/>
                  </a:lnTo>
                  <a:lnTo>
                    <a:pt x="21" y="176"/>
                  </a:lnTo>
                  <a:lnTo>
                    <a:pt x="23" y="173"/>
                  </a:lnTo>
                  <a:lnTo>
                    <a:pt x="21" y="171"/>
                  </a:lnTo>
                  <a:lnTo>
                    <a:pt x="20" y="171"/>
                  </a:lnTo>
                  <a:lnTo>
                    <a:pt x="20" y="171"/>
                  </a:lnTo>
                  <a:lnTo>
                    <a:pt x="17" y="171"/>
                  </a:lnTo>
                  <a:lnTo>
                    <a:pt x="13" y="170"/>
                  </a:lnTo>
                  <a:lnTo>
                    <a:pt x="10" y="167"/>
                  </a:lnTo>
                  <a:lnTo>
                    <a:pt x="10" y="164"/>
                  </a:lnTo>
                  <a:lnTo>
                    <a:pt x="10" y="164"/>
                  </a:lnTo>
                  <a:lnTo>
                    <a:pt x="8" y="163"/>
                  </a:lnTo>
                  <a:lnTo>
                    <a:pt x="8" y="161"/>
                  </a:lnTo>
                  <a:lnTo>
                    <a:pt x="6" y="160"/>
                  </a:lnTo>
                  <a:lnTo>
                    <a:pt x="1" y="158"/>
                  </a:lnTo>
                  <a:lnTo>
                    <a:pt x="1" y="157"/>
                  </a:lnTo>
                  <a:lnTo>
                    <a:pt x="0" y="154"/>
                  </a:lnTo>
                  <a:lnTo>
                    <a:pt x="0" y="154"/>
                  </a:lnTo>
                  <a:lnTo>
                    <a:pt x="1" y="150"/>
                  </a:lnTo>
                  <a:lnTo>
                    <a:pt x="4" y="147"/>
                  </a:lnTo>
                  <a:lnTo>
                    <a:pt x="4" y="144"/>
                  </a:lnTo>
                  <a:lnTo>
                    <a:pt x="4" y="141"/>
                  </a:lnTo>
                  <a:lnTo>
                    <a:pt x="4" y="141"/>
                  </a:lnTo>
                  <a:lnTo>
                    <a:pt x="1" y="138"/>
                  </a:lnTo>
                  <a:lnTo>
                    <a:pt x="3" y="134"/>
                  </a:lnTo>
                  <a:lnTo>
                    <a:pt x="4" y="129"/>
                  </a:lnTo>
                  <a:lnTo>
                    <a:pt x="7" y="126"/>
                  </a:lnTo>
                  <a:lnTo>
                    <a:pt x="7" y="126"/>
                  </a:lnTo>
                  <a:lnTo>
                    <a:pt x="10" y="124"/>
                  </a:lnTo>
                  <a:lnTo>
                    <a:pt x="11" y="121"/>
                  </a:lnTo>
                  <a:lnTo>
                    <a:pt x="14" y="118"/>
                  </a:lnTo>
                  <a:lnTo>
                    <a:pt x="19" y="115"/>
                  </a:lnTo>
                  <a:lnTo>
                    <a:pt x="19" y="115"/>
                  </a:lnTo>
                  <a:lnTo>
                    <a:pt x="21" y="113"/>
                  </a:lnTo>
                  <a:lnTo>
                    <a:pt x="24" y="115"/>
                  </a:lnTo>
                  <a:lnTo>
                    <a:pt x="26" y="113"/>
                  </a:lnTo>
                  <a:lnTo>
                    <a:pt x="30" y="112"/>
                  </a:lnTo>
                  <a:lnTo>
                    <a:pt x="30" y="112"/>
                  </a:lnTo>
                  <a:lnTo>
                    <a:pt x="36" y="106"/>
                  </a:lnTo>
                  <a:lnTo>
                    <a:pt x="39" y="103"/>
                  </a:lnTo>
                  <a:lnTo>
                    <a:pt x="43" y="103"/>
                  </a:lnTo>
                  <a:lnTo>
                    <a:pt x="43" y="103"/>
                  </a:lnTo>
                  <a:lnTo>
                    <a:pt x="49" y="103"/>
                  </a:lnTo>
                  <a:lnTo>
                    <a:pt x="53" y="102"/>
                  </a:lnTo>
                  <a:lnTo>
                    <a:pt x="56" y="99"/>
                  </a:lnTo>
                  <a:lnTo>
                    <a:pt x="56" y="96"/>
                  </a:lnTo>
                  <a:lnTo>
                    <a:pt x="56" y="96"/>
                  </a:lnTo>
                  <a:lnTo>
                    <a:pt x="56" y="92"/>
                  </a:lnTo>
                  <a:lnTo>
                    <a:pt x="55" y="89"/>
                  </a:lnTo>
                  <a:lnTo>
                    <a:pt x="55" y="87"/>
                  </a:lnTo>
                  <a:lnTo>
                    <a:pt x="59" y="84"/>
                  </a:lnTo>
                  <a:lnTo>
                    <a:pt x="59" y="84"/>
                  </a:lnTo>
                  <a:lnTo>
                    <a:pt x="65" y="82"/>
                  </a:lnTo>
                  <a:lnTo>
                    <a:pt x="71" y="80"/>
                  </a:lnTo>
                  <a:lnTo>
                    <a:pt x="78" y="79"/>
                  </a:lnTo>
                  <a:lnTo>
                    <a:pt x="78" y="79"/>
                  </a:lnTo>
                  <a:lnTo>
                    <a:pt x="84" y="76"/>
                  </a:lnTo>
                  <a:lnTo>
                    <a:pt x="88" y="74"/>
                  </a:lnTo>
                  <a:lnTo>
                    <a:pt x="91" y="76"/>
                  </a:lnTo>
                  <a:lnTo>
                    <a:pt x="91" y="76"/>
                  </a:lnTo>
                  <a:lnTo>
                    <a:pt x="98" y="77"/>
                  </a:lnTo>
                  <a:lnTo>
                    <a:pt x="103" y="77"/>
                  </a:lnTo>
                  <a:lnTo>
                    <a:pt x="105" y="77"/>
                  </a:lnTo>
                  <a:lnTo>
                    <a:pt x="105" y="77"/>
                  </a:lnTo>
                  <a:lnTo>
                    <a:pt x="114" y="63"/>
                  </a:lnTo>
                  <a:lnTo>
                    <a:pt x="120" y="51"/>
                  </a:lnTo>
                  <a:lnTo>
                    <a:pt x="121" y="47"/>
                  </a:lnTo>
                  <a:lnTo>
                    <a:pt x="121" y="42"/>
                  </a:lnTo>
                  <a:lnTo>
                    <a:pt x="121" y="42"/>
                  </a:lnTo>
                  <a:lnTo>
                    <a:pt x="121" y="37"/>
                  </a:lnTo>
                  <a:lnTo>
                    <a:pt x="120" y="34"/>
                  </a:lnTo>
                  <a:lnTo>
                    <a:pt x="117" y="28"/>
                  </a:lnTo>
                  <a:lnTo>
                    <a:pt x="117" y="28"/>
                  </a:lnTo>
                  <a:lnTo>
                    <a:pt x="117" y="24"/>
                  </a:lnTo>
                  <a:lnTo>
                    <a:pt x="118" y="21"/>
                  </a:lnTo>
                  <a:lnTo>
                    <a:pt x="120" y="18"/>
                  </a:lnTo>
                  <a:lnTo>
                    <a:pt x="121" y="16"/>
                  </a:lnTo>
                  <a:lnTo>
                    <a:pt x="121" y="16"/>
                  </a:lnTo>
                  <a:lnTo>
                    <a:pt x="127" y="16"/>
                  </a:lnTo>
                  <a:lnTo>
                    <a:pt x="130" y="15"/>
                  </a:lnTo>
                  <a:lnTo>
                    <a:pt x="129" y="13"/>
                  </a:lnTo>
                  <a:lnTo>
                    <a:pt x="129" y="13"/>
                  </a:lnTo>
                  <a:lnTo>
                    <a:pt x="126" y="11"/>
                  </a:lnTo>
                  <a:lnTo>
                    <a:pt x="123" y="9"/>
                  </a:lnTo>
                  <a:lnTo>
                    <a:pt x="118" y="6"/>
                  </a:lnTo>
                  <a:lnTo>
                    <a:pt x="118" y="3"/>
                  </a:lnTo>
                  <a:lnTo>
                    <a:pt x="117" y="0"/>
                  </a:lnTo>
                  <a:lnTo>
                    <a:pt x="835" y="0"/>
                  </a:lnTo>
                  <a:lnTo>
                    <a:pt x="835" y="0"/>
                  </a:lnTo>
                  <a:lnTo>
                    <a:pt x="837" y="6"/>
                  </a:lnTo>
                  <a:lnTo>
                    <a:pt x="837" y="11"/>
                  </a:lnTo>
                  <a:lnTo>
                    <a:pt x="834" y="16"/>
                  </a:lnTo>
                  <a:lnTo>
                    <a:pt x="834" y="16"/>
                  </a:lnTo>
                  <a:lnTo>
                    <a:pt x="832" y="19"/>
                  </a:lnTo>
                  <a:lnTo>
                    <a:pt x="834" y="24"/>
                  </a:lnTo>
                  <a:lnTo>
                    <a:pt x="837" y="27"/>
                  </a:lnTo>
                  <a:lnTo>
                    <a:pt x="838" y="28"/>
                  </a:lnTo>
                  <a:lnTo>
                    <a:pt x="838" y="28"/>
                  </a:lnTo>
                  <a:lnTo>
                    <a:pt x="841" y="28"/>
                  </a:lnTo>
                  <a:lnTo>
                    <a:pt x="844" y="27"/>
                  </a:lnTo>
                  <a:lnTo>
                    <a:pt x="846" y="24"/>
                  </a:lnTo>
                  <a:lnTo>
                    <a:pt x="844" y="22"/>
                  </a:lnTo>
                  <a:lnTo>
                    <a:pt x="844" y="22"/>
                  </a:lnTo>
                  <a:lnTo>
                    <a:pt x="843" y="19"/>
                  </a:lnTo>
                  <a:lnTo>
                    <a:pt x="843" y="15"/>
                  </a:lnTo>
                  <a:lnTo>
                    <a:pt x="844" y="0"/>
                  </a:lnTo>
                  <a:lnTo>
                    <a:pt x="882" y="0"/>
                  </a:lnTo>
                  <a:lnTo>
                    <a:pt x="882" y="0"/>
                  </a:lnTo>
                  <a:lnTo>
                    <a:pt x="882" y="8"/>
                  </a:lnTo>
                  <a:lnTo>
                    <a:pt x="882" y="15"/>
                  </a:lnTo>
                  <a:lnTo>
                    <a:pt x="877" y="27"/>
                  </a:lnTo>
                  <a:lnTo>
                    <a:pt x="877" y="27"/>
                  </a:lnTo>
                  <a:lnTo>
                    <a:pt x="876" y="28"/>
                  </a:lnTo>
                  <a:lnTo>
                    <a:pt x="875" y="28"/>
                  </a:lnTo>
                  <a:lnTo>
                    <a:pt x="870" y="29"/>
                  </a:lnTo>
                  <a:lnTo>
                    <a:pt x="864" y="29"/>
                  </a:lnTo>
                  <a:lnTo>
                    <a:pt x="860" y="28"/>
                  </a:lnTo>
                  <a:lnTo>
                    <a:pt x="860" y="28"/>
                  </a:lnTo>
                  <a:lnTo>
                    <a:pt x="857" y="28"/>
                  </a:lnTo>
                  <a:lnTo>
                    <a:pt x="853" y="31"/>
                  </a:lnTo>
                  <a:lnTo>
                    <a:pt x="850" y="35"/>
                  </a:lnTo>
                  <a:lnTo>
                    <a:pt x="848" y="40"/>
                  </a:lnTo>
                  <a:lnTo>
                    <a:pt x="848" y="40"/>
                  </a:lnTo>
                  <a:lnTo>
                    <a:pt x="848" y="51"/>
                  </a:lnTo>
                  <a:lnTo>
                    <a:pt x="848" y="64"/>
                  </a:lnTo>
                  <a:lnTo>
                    <a:pt x="848" y="64"/>
                  </a:lnTo>
                  <a:lnTo>
                    <a:pt x="850" y="67"/>
                  </a:lnTo>
                  <a:lnTo>
                    <a:pt x="851" y="69"/>
                  </a:lnTo>
                  <a:lnTo>
                    <a:pt x="854" y="69"/>
                  </a:lnTo>
                  <a:lnTo>
                    <a:pt x="857" y="69"/>
                  </a:lnTo>
                  <a:lnTo>
                    <a:pt x="857" y="69"/>
                  </a:lnTo>
                  <a:lnTo>
                    <a:pt x="857" y="69"/>
                  </a:lnTo>
                  <a:lnTo>
                    <a:pt x="857" y="70"/>
                  </a:lnTo>
                  <a:lnTo>
                    <a:pt x="856" y="74"/>
                  </a:lnTo>
                  <a:lnTo>
                    <a:pt x="850" y="82"/>
                  </a:lnTo>
                  <a:lnTo>
                    <a:pt x="850" y="82"/>
                  </a:lnTo>
                  <a:lnTo>
                    <a:pt x="844" y="86"/>
                  </a:lnTo>
                  <a:lnTo>
                    <a:pt x="843" y="89"/>
                  </a:lnTo>
                  <a:lnTo>
                    <a:pt x="843" y="90"/>
                  </a:lnTo>
                  <a:lnTo>
                    <a:pt x="843" y="90"/>
                  </a:lnTo>
                  <a:lnTo>
                    <a:pt x="844" y="97"/>
                  </a:lnTo>
                  <a:lnTo>
                    <a:pt x="843" y="102"/>
                  </a:lnTo>
                  <a:lnTo>
                    <a:pt x="841" y="105"/>
                  </a:lnTo>
                  <a:lnTo>
                    <a:pt x="841" y="105"/>
                  </a:lnTo>
                  <a:lnTo>
                    <a:pt x="832" y="106"/>
                  </a:lnTo>
                  <a:lnTo>
                    <a:pt x="831" y="108"/>
                  </a:lnTo>
                  <a:lnTo>
                    <a:pt x="830" y="108"/>
                  </a:lnTo>
                  <a:lnTo>
                    <a:pt x="830" y="108"/>
                  </a:lnTo>
                  <a:lnTo>
                    <a:pt x="831" y="111"/>
                  </a:lnTo>
                  <a:lnTo>
                    <a:pt x="830" y="112"/>
                  </a:lnTo>
                  <a:lnTo>
                    <a:pt x="828" y="115"/>
                  </a:lnTo>
                  <a:lnTo>
                    <a:pt x="825" y="118"/>
                  </a:lnTo>
                  <a:lnTo>
                    <a:pt x="825" y="118"/>
                  </a:lnTo>
                  <a:lnTo>
                    <a:pt x="822" y="119"/>
                  </a:lnTo>
                  <a:lnTo>
                    <a:pt x="822" y="121"/>
                  </a:lnTo>
                  <a:lnTo>
                    <a:pt x="827" y="124"/>
                  </a:lnTo>
                  <a:lnTo>
                    <a:pt x="827" y="124"/>
                  </a:lnTo>
                  <a:lnTo>
                    <a:pt x="830" y="124"/>
                  </a:lnTo>
                  <a:lnTo>
                    <a:pt x="830" y="125"/>
                  </a:lnTo>
                  <a:lnTo>
                    <a:pt x="825" y="134"/>
                  </a:lnTo>
                  <a:lnTo>
                    <a:pt x="825" y="134"/>
                  </a:lnTo>
                  <a:lnTo>
                    <a:pt x="822" y="141"/>
                  </a:lnTo>
                  <a:lnTo>
                    <a:pt x="822" y="150"/>
                  </a:lnTo>
                  <a:lnTo>
                    <a:pt x="822" y="164"/>
                  </a:lnTo>
                  <a:lnTo>
                    <a:pt x="822" y="164"/>
                  </a:lnTo>
                  <a:lnTo>
                    <a:pt x="822" y="168"/>
                  </a:lnTo>
                  <a:lnTo>
                    <a:pt x="821" y="173"/>
                  </a:lnTo>
                  <a:lnTo>
                    <a:pt x="818" y="176"/>
                  </a:lnTo>
                  <a:lnTo>
                    <a:pt x="818" y="179"/>
                  </a:lnTo>
                  <a:lnTo>
                    <a:pt x="818" y="179"/>
                  </a:lnTo>
                  <a:lnTo>
                    <a:pt x="817" y="184"/>
                  </a:lnTo>
                  <a:lnTo>
                    <a:pt x="815" y="189"/>
                  </a:lnTo>
                  <a:lnTo>
                    <a:pt x="814" y="193"/>
                  </a:lnTo>
                  <a:lnTo>
                    <a:pt x="815" y="195"/>
                  </a:lnTo>
                  <a:lnTo>
                    <a:pt x="817" y="196"/>
                  </a:lnTo>
                  <a:lnTo>
                    <a:pt x="817" y="196"/>
                  </a:lnTo>
                  <a:lnTo>
                    <a:pt x="818" y="196"/>
                  </a:lnTo>
                  <a:lnTo>
                    <a:pt x="819" y="195"/>
                  </a:lnTo>
                  <a:lnTo>
                    <a:pt x="822" y="187"/>
                  </a:lnTo>
                  <a:lnTo>
                    <a:pt x="827" y="174"/>
                  </a:lnTo>
                  <a:lnTo>
                    <a:pt x="827" y="174"/>
                  </a:lnTo>
                  <a:lnTo>
                    <a:pt x="827" y="174"/>
                  </a:lnTo>
                  <a:lnTo>
                    <a:pt x="828" y="176"/>
                  </a:lnTo>
                  <a:lnTo>
                    <a:pt x="834" y="180"/>
                  </a:lnTo>
                  <a:lnTo>
                    <a:pt x="840" y="184"/>
                  </a:lnTo>
                  <a:lnTo>
                    <a:pt x="846" y="187"/>
                  </a:lnTo>
                  <a:lnTo>
                    <a:pt x="846" y="187"/>
                  </a:lnTo>
                  <a:lnTo>
                    <a:pt x="850" y="190"/>
                  </a:lnTo>
                  <a:lnTo>
                    <a:pt x="854" y="195"/>
                  </a:lnTo>
                  <a:lnTo>
                    <a:pt x="857" y="199"/>
                  </a:lnTo>
                  <a:lnTo>
                    <a:pt x="857" y="200"/>
                  </a:lnTo>
                  <a:lnTo>
                    <a:pt x="856" y="202"/>
                  </a:lnTo>
                  <a:lnTo>
                    <a:pt x="856" y="202"/>
                  </a:lnTo>
                  <a:lnTo>
                    <a:pt x="854" y="203"/>
                  </a:lnTo>
                  <a:lnTo>
                    <a:pt x="853" y="202"/>
                  </a:lnTo>
                  <a:lnTo>
                    <a:pt x="848" y="199"/>
                  </a:lnTo>
                  <a:lnTo>
                    <a:pt x="843" y="195"/>
                  </a:lnTo>
                  <a:lnTo>
                    <a:pt x="838" y="193"/>
                  </a:lnTo>
                  <a:lnTo>
                    <a:pt x="834" y="192"/>
                  </a:lnTo>
                  <a:lnTo>
                    <a:pt x="834" y="192"/>
                  </a:lnTo>
                  <a:lnTo>
                    <a:pt x="831" y="192"/>
                  </a:lnTo>
                  <a:lnTo>
                    <a:pt x="830" y="193"/>
                  </a:lnTo>
                  <a:lnTo>
                    <a:pt x="830" y="195"/>
                  </a:lnTo>
                  <a:lnTo>
                    <a:pt x="830" y="196"/>
                  </a:lnTo>
                  <a:lnTo>
                    <a:pt x="837" y="203"/>
                  </a:lnTo>
                  <a:lnTo>
                    <a:pt x="837" y="203"/>
                  </a:lnTo>
                  <a:lnTo>
                    <a:pt x="838" y="205"/>
                  </a:lnTo>
                  <a:lnTo>
                    <a:pt x="837" y="206"/>
                  </a:lnTo>
                  <a:lnTo>
                    <a:pt x="835" y="206"/>
                  </a:lnTo>
                  <a:lnTo>
                    <a:pt x="832" y="208"/>
                  </a:lnTo>
                  <a:lnTo>
                    <a:pt x="832" y="208"/>
                  </a:lnTo>
                  <a:lnTo>
                    <a:pt x="832" y="208"/>
                  </a:lnTo>
                  <a:lnTo>
                    <a:pt x="834" y="209"/>
                  </a:lnTo>
                  <a:lnTo>
                    <a:pt x="838" y="212"/>
                  </a:lnTo>
                  <a:lnTo>
                    <a:pt x="838" y="212"/>
                  </a:lnTo>
                  <a:lnTo>
                    <a:pt x="840" y="212"/>
                  </a:lnTo>
                  <a:lnTo>
                    <a:pt x="840" y="212"/>
                  </a:lnTo>
                  <a:lnTo>
                    <a:pt x="837" y="213"/>
                  </a:lnTo>
                  <a:lnTo>
                    <a:pt x="835" y="216"/>
                  </a:lnTo>
                  <a:lnTo>
                    <a:pt x="838" y="216"/>
                  </a:lnTo>
                  <a:lnTo>
                    <a:pt x="838" y="216"/>
                  </a:lnTo>
                  <a:lnTo>
                    <a:pt x="843" y="219"/>
                  </a:lnTo>
                  <a:lnTo>
                    <a:pt x="847" y="222"/>
                  </a:lnTo>
                  <a:lnTo>
                    <a:pt x="854" y="228"/>
                  </a:lnTo>
                  <a:lnTo>
                    <a:pt x="854" y="228"/>
                  </a:lnTo>
                  <a:lnTo>
                    <a:pt x="854" y="228"/>
                  </a:lnTo>
                  <a:lnTo>
                    <a:pt x="856" y="228"/>
                  </a:lnTo>
                  <a:lnTo>
                    <a:pt x="856" y="224"/>
                  </a:lnTo>
                  <a:lnTo>
                    <a:pt x="857" y="222"/>
                  </a:lnTo>
                  <a:lnTo>
                    <a:pt x="859" y="221"/>
                  </a:lnTo>
                  <a:lnTo>
                    <a:pt x="861" y="221"/>
                  </a:lnTo>
                  <a:lnTo>
                    <a:pt x="864" y="221"/>
                  </a:lnTo>
                  <a:lnTo>
                    <a:pt x="864" y="221"/>
                  </a:lnTo>
                  <a:lnTo>
                    <a:pt x="869" y="224"/>
                  </a:lnTo>
                  <a:lnTo>
                    <a:pt x="870" y="229"/>
                  </a:lnTo>
                  <a:lnTo>
                    <a:pt x="872" y="235"/>
                  </a:lnTo>
                  <a:lnTo>
                    <a:pt x="873" y="241"/>
                  </a:lnTo>
                  <a:lnTo>
                    <a:pt x="872" y="252"/>
                  </a:lnTo>
                  <a:lnTo>
                    <a:pt x="870" y="258"/>
                  </a:lnTo>
                  <a:lnTo>
                    <a:pt x="870" y="258"/>
                  </a:lnTo>
                  <a:lnTo>
                    <a:pt x="869" y="260"/>
                  </a:lnTo>
                  <a:lnTo>
                    <a:pt x="866" y="260"/>
                  </a:lnTo>
                  <a:lnTo>
                    <a:pt x="860" y="257"/>
                  </a:lnTo>
                  <a:lnTo>
                    <a:pt x="854" y="252"/>
                  </a:lnTo>
                  <a:lnTo>
                    <a:pt x="848" y="251"/>
                  </a:lnTo>
                  <a:lnTo>
                    <a:pt x="848" y="251"/>
                  </a:lnTo>
                  <a:lnTo>
                    <a:pt x="834" y="248"/>
                  </a:lnTo>
                  <a:lnTo>
                    <a:pt x="821" y="245"/>
                  </a:lnTo>
                  <a:lnTo>
                    <a:pt x="821" y="245"/>
                  </a:lnTo>
                  <a:lnTo>
                    <a:pt x="821" y="247"/>
                  </a:lnTo>
                  <a:lnTo>
                    <a:pt x="827" y="248"/>
                  </a:lnTo>
                  <a:lnTo>
                    <a:pt x="832" y="251"/>
                  </a:lnTo>
                  <a:lnTo>
                    <a:pt x="835" y="252"/>
                  </a:lnTo>
                  <a:lnTo>
                    <a:pt x="835" y="252"/>
                  </a:lnTo>
                  <a:lnTo>
                    <a:pt x="832" y="252"/>
                  </a:lnTo>
                  <a:lnTo>
                    <a:pt x="828" y="252"/>
                  </a:lnTo>
                  <a:lnTo>
                    <a:pt x="821" y="252"/>
                  </a:lnTo>
                  <a:lnTo>
                    <a:pt x="821" y="252"/>
                  </a:lnTo>
                  <a:lnTo>
                    <a:pt x="822" y="254"/>
                  </a:lnTo>
                  <a:lnTo>
                    <a:pt x="827" y="257"/>
                  </a:lnTo>
                  <a:lnTo>
                    <a:pt x="831" y="260"/>
                  </a:lnTo>
                  <a:lnTo>
                    <a:pt x="834" y="264"/>
                  </a:lnTo>
                  <a:lnTo>
                    <a:pt x="834" y="264"/>
                  </a:lnTo>
                  <a:lnTo>
                    <a:pt x="832" y="266"/>
                  </a:lnTo>
                  <a:lnTo>
                    <a:pt x="832" y="267"/>
                  </a:lnTo>
                  <a:lnTo>
                    <a:pt x="830" y="268"/>
                  </a:lnTo>
                  <a:lnTo>
                    <a:pt x="828" y="270"/>
                  </a:lnTo>
                  <a:lnTo>
                    <a:pt x="831" y="274"/>
                  </a:lnTo>
                  <a:lnTo>
                    <a:pt x="831" y="274"/>
                  </a:lnTo>
                  <a:lnTo>
                    <a:pt x="838" y="279"/>
                  </a:lnTo>
                  <a:lnTo>
                    <a:pt x="840" y="281"/>
                  </a:lnTo>
                  <a:lnTo>
                    <a:pt x="840" y="284"/>
                  </a:lnTo>
                  <a:lnTo>
                    <a:pt x="840" y="284"/>
                  </a:lnTo>
                  <a:lnTo>
                    <a:pt x="840" y="289"/>
                  </a:lnTo>
                  <a:lnTo>
                    <a:pt x="843" y="292"/>
                  </a:lnTo>
                  <a:lnTo>
                    <a:pt x="847" y="294"/>
                  </a:lnTo>
                  <a:lnTo>
                    <a:pt x="848" y="297"/>
                  </a:lnTo>
                  <a:lnTo>
                    <a:pt x="848" y="297"/>
                  </a:lnTo>
                  <a:lnTo>
                    <a:pt x="848" y="300"/>
                  </a:lnTo>
                  <a:lnTo>
                    <a:pt x="847" y="302"/>
                  </a:lnTo>
                  <a:lnTo>
                    <a:pt x="844" y="305"/>
                  </a:lnTo>
                  <a:lnTo>
                    <a:pt x="835" y="309"/>
                  </a:lnTo>
                  <a:lnTo>
                    <a:pt x="835" y="309"/>
                  </a:lnTo>
                  <a:lnTo>
                    <a:pt x="835" y="309"/>
                  </a:lnTo>
                  <a:lnTo>
                    <a:pt x="835" y="310"/>
                  </a:lnTo>
                  <a:lnTo>
                    <a:pt x="841" y="315"/>
                  </a:lnTo>
                  <a:lnTo>
                    <a:pt x="846" y="319"/>
                  </a:lnTo>
                  <a:lnTo>
                    <a:pt x="847" y="321"/>
                  </a:lnTo>
                  <a:lnTo>
                    <a:pt x="847" y="322"/>
                  </a:lnTo>
                  <a:lnTo>
                    <a:pt x="847" y="322"/>
                  </a:lnTo>
                  <a:lnTo>
                    <a:pt x="846" y="323"/>
                  </a:lnTo>
                  <a:lnTo>
                    <a:pt x="847" y="326"/>
                  </a:lnTo>
                  <a:lnTo>
                    <a:pt x="850" y="332"/>
                  </a:lnTo>
                  <a:lnTo>
                    <a:pt x="850" y="332"/>
                  </a:lnTo>
                  <a:lnTo>
                    <a:pt x="853" y="336"/>
                  </a:lnTo>
                  <a:lnTo>
                    <a:pt x="853" y="345"/>
                  </a:lnTo>
                  <a:lnTo>
                    <a:pt x="853" y="352"/>
                  </a:lnTo>
                  <a:lnTo>
                    <a:pt x="851" y="355"/>
                  </a:lnTo>
                  <a:lnTo>
                    <a:pt x="850" y="357"/>
                  </a:lnTo>
                  <a:lnTo>
                    <a:pt x="850" y="357"/>
                  </a:lnTo>
                  <a:lnTo>
                    <a:pt x="847" y="357"/>
                  </a:lnTo>
                  <a:lnTo>
                    <a:pt x="846" y="357"/>
                  </a:lnTo>
                  <a:lnTo>
                    <a:pt x="843" y="352"/>
                  </a:lnTo>
                  <a:lnTo>
                    <a:pt x="841" y="345"/>
                  </a:lnTo>
                  <a:lnTo>
                    <a:pt x="841" y="345"/>
                  </a:lnTo>
                  <a:lnTo>
                    <a:pt x="840" y="344"/>
                  </a:lnTo>
                  <a:lnTo>
                    <a:pt x="838" y="344"/>
                  </a:lnTo>
                  <a:lnTo>
                    <a:pt x="832" y="347"/>
                  </a:lnTo>
                  <a:lnTo>
                    <a:pt x="832" y="347"/>
                  </a:lnTo>
                  <a:lnTo>
                    <a:pt x="832" y="345"/>
                  </a:lnTo>
                  <a:lnTo>
                    <a:pt x="831" y="345"/>
                  </a:lnTo>
                  <a:lnTo>
                    <a:pt x="827" y="341"/>
                  </a:lnTo>
                  <a:lnTo>
                    <a:pt x="824" y="336"/>
                  </a:lnTo>
                  <a:lnTo>
                    <a:pt x="822" y="336"/>
                  </a:lnTo>
                  <a:lnTo>
                    <a:pt x="819" y="338"/>
                  </a:lnTo>
                  <a:lnTo>
                    <a:pt x="819" y="338"/>
                  </a:lnTo>
                  <a:lnTo>
                    <a:pt x="819" y="339"/>
                  </a:lnTo>
                  <a:lnTo>
                    <a:pt x="819" y="342"/>
                  </a:lnTo>
                  <a:lnTo>
                    <a:pt x="822" y="348"/>
                  </a:lnTo>
                  <a:lnTo>
                    <a:pt x="827" y="354"/>
                  </a:lnTo>
                  <a:lnTo>
                    <a:pt x="830" y="358"/>
                  </a:lnTo>
                  <a:lnTo>
                    <a:pt x="830" y="358"/>
                  </a:lnTo>
                  <a:lnTo>
                    <a:pt x="830" y="360"/>
                  </a:lnTo>
                  <a:lnTo>
                    <a:pt x="828" y="361"/>
                  </a:lnTo>
                  <a:lnTo>
                    <a:pt x="824" y="361"/>
                  </a:lnTo>
                  <a:lnTo>
                    <a:pt x="819" y="361"/>
                  </a:lnTo>
                  <a:lnTo>
                    <a:pt x="815" y="361"/>
                  </a:lnTo>
                  <a:lnTo>
                    <a:pt x="815" y="361"/>
                  </a:lnTo>
                  <a:lnTo>
                    <a:pt x="815" y="363"/>
                  </a:lnTo>
                  <a:lnTo>
                    <a:pt x="815" y="364"/>
                  </a:lnTo>
                  <a:lnTo>
                    <a:pt x="818" y="365"/>
                  </a:lnTo>
                  <a:lnTo>
                    <a:pt x="828" y="367"/>
                  </a:lnTo>
                  <a:lnTo>
                    <a:pt x="828" y="367"/>
                  </a:lnTo>
                  <a:lnTo>
                    <a:pt x="830" y="368"/>
                  </a:lnTo>
                  <a:lnTo>
                    <a:pt x="830" y="371"/>
                  </a:lnTo>
                  <a:lnTo>
                    <a:pt x="830" y="378"/>
                  </a:lnTo>
                  <a:lnTo>
                    <a:pt x="830" y="384"/>
                  </a:lnTo>
                  <a:lnTo>
                    <a:pt x="831" y="390"/>
                  </a:lnTo>
                  <a:lnTo>
                    <a:pt x="831" y="390"/>
                  </a:lnTo>
                  <a:lnTo>
                    <a:pt x="834" y="392"/>
                  </a:lnTo>
                  <a:lnTo>
                    <a:pt x="837" y="393"/>
                  </a:lnTo>
                  <a:lnTo>
                    <a:pt x="841" y="393"/>
                  </a:lnTo>
                  <a:lnTo>
                    <a:pt x="846" y="393"/>
                  </a:lnTo>
                  <a:lnTo>
                    <a:pt x="846" y="393"/>
                  </a:lnTo>
                  <a:lnTo>
                    <a:pt x="850" y="392"/>
                  </a:lnTo>
                  <a:lnTo>
                    <a:pt x="853" y="393"/>
                  </a:lnTo>
                  <a:lnTo>
                    <a:pt x="854" y="396"/>
                  </a:lnTo>
                  <a:lnTo>
                    <a:pt x="856" y="399"/>
                  </a:lnTo>
                  <a:lnTo>
                    <a:pt x="856" y="399"/>
                  </a:lnTo>
                  <a:lnTo>
                    <a:pt x="857" y="403"/>
                  </a:lnTo>
                  <a:lnTo>
                    <a:pt x="857" y="406"/>
                  </a:lnTo>
                  <a:lnTo>
                    <a:pt x="854" y="407"/>
                  </a:lnTo>
                  <a:lnTo>
                    <a:pt x="850" y="409"/>
                  </a:lnTo>
                  <a:lnTo>
                    <a:pt x="850" y="409"/>
                  </a:lnTo>
                  <a:lnTo>
                    <a:pt x="846" y="407"/>
                  </a:lnTo>
                  <a:lnTo>
                    <a:pt x="840" y="405"/>
                  </a:lnTo>
                  <a:lnTo>
                    <a:pt x="837" y="403"/>
                  </a:lnTo>
                  <a:lnTo>
                    <a:pt x="835" y="402"/>
                  </a:lnTo>
                  <a:lnTo>
                    <a:pt x="834" y="402"/>
                  </a:lnTo>
                  <a:lnTo>
                    <a:pt x="834" y="402"/>
                  </a:lnTo>
                  <a:lnTo>
                    <a:pt x="832" y="403"/>
                  </a:lnTo>
                  <a:lnTo>
                    <a:pt x="832" y="405"/>
                  </a:lnTo>
                  <a:lnTo>
                    <a:pt x="835" y="406"/>
                  </a:lnTo>
                  <a:lnTo>
                    <a:pt x="838" y="410"/>
                  </a:lnTo>
                  <a:lnTo>
                    <a:pt x="841" y="415"/>
                  </a:lnTo>
                  <a:lnTo>
                    <a:pt x="841" y="415"/>
                  </a:lnTo>
                  <a:lnTo>
                    <a:pt x="843" y="416"/>
                  </a:lnTo>
                  <a:lnTo>
                    <a:pt x="843" y="418"/>
                  </a:lnTo>
                  <a:lnTo>
                    <a:pt x="838" y="416"/>
                  </a:lnTo>
                  <a:lnTo>
                    <a:pt x="834" y="415"/>
                  </a:lnTo>
                  <a:lnTo>
                    <a:pt x="828" y="415"/>
                  </a:lnTo>
                  <a:lnTo>
                    <a:pt x="828" y="415"/>
                  </a:lnTo>
                  <a:lnTo>
                    <a:pt x="825" y="416"/>
                  </a:lnTo>
                  <a:lnTo>
                    <a:pt x="827" y="418"/>
                  </a:lnTo>
                  <a:lnTo>
                    <a:pt x="830" y="419"/>
                  </a:lnTo>
                  <a:lnTo>
                    <a:pt x="831" y="422"/>
                  </a:lnTo>
                  <a:lnTo>
                    <a:pt x="831" y="422"/>
                  </a:lnTo>
                  <a:lnTo>
                    <a:pt x="831" y="423"/>
                  </a:lnTo>
                  <a:lnTo>
                    <a:pt x="830" y="423"/>
                  </a:lnTo>
                  <a:lnTo>
                    <a:pt x="824" y="421"/>
                  </a:lnTo>
                  <a:lnTo>
                    <a:pt x="817" y="416"/>
                  </a:lnTo>
                  <a:lnTo>
                    <a:pt x="817" y="416"/>
                  </a:lnTo>
                  <a:lnTo>
                    <a:pt x="817" y="413"/>
                  </a:lnTo>
                  <a:lnTo>
                    <a:pt x="818" y="410"/>
                  </a:lnTo>
                  <a:lnTo>
                    <a:pt x="824" y="403"/>
                  </a:lnTo>
                  <a:lnTo>
                    <a:pt x="824" y="403"/>
                  </a:lnTo>
                  <a:lnTo>
                    <a:pt x="825" y="402"/>
                  </a:lnTo>
                  <a:lnTo>
                    <a:pt x="824" y="400"/>
                  </a:lnTo>
                  <a:lnTo>
                    <a:pt x="822" y="399"/>
                  </a:lnTo>
                  <a:lnTo>
                    <a:pt x="819" y="400"/>
                  </a:lnTo>
                  <a:lnTo>
                    <a:pt x="819" y="400"/>
                  </a:lnTo>
                  <a:lnTo>
                    <a:pt x="817" y="400"/>
                  </a:lnTo>
                  <a:lnTo>
                    <a:pt x="815" y="400"/>
                  </a:lnTo>
                  <a:lnTo>
                    <a:pt x="811" y="396"/>
                  </a:lnTo>
                  <a:lnTo>
                    <a:pt x="811" y="396"/>
                  </a:lnTo>
                  <a:lnTo>
                    <a:pt x="808" y="394"/>
                  </a:lnTo>
                  <a:lnTo>
                    <a:pt x="805" y="394"/>
                  </a:lnTo>
                  <a:lnTo>
                    <a:pt x="805" y="397"/>
                  </a:lnTo>
                  <a:lnTo>
                    <a:pt x="806" y="403"/>
                  </a:lnTo>
                  <a:lnTo>
                    <a:pt x="806" y="403"/>
                  </a:lnTo>
                  <a:lnTo>
                    <a:pt x="809" y="409"/>
                  </a:lnTo>
                  <a:lnTo>
                    <a:pt x="811" y="412"/>
                  </a:lnTo>
                  <a:lnTo>
                    <a:pt x="809" y="413"/>
                  </a:lnTo>
                  <a:lnTo>
                    <a:pt x="806" y="413"/>
                  </a:lnTo>
                  <a:lnTo>
                    <a:pt x="806" y="413"/>
                  </a:lnTo>
                  <a:lnTo>
                    <a:pt x="802" y="413"/>
                  </a:lnTo>
                  <a:lnTo>
                    <a:pt x="798" y="413"/>
                  </a:lnTo>
                  <a:lnTo>
                    <a:pt x="796" y="415"/>
                  </a:lnTo>
                  <a:lnTo>
                    <a:pt x="795" y="418"/>
                  </a:lnTo>
                  <a:lnTo>
                    <a:pt x="795" y="418"/>
                  </a:lnTo>
                  <a:lnTo>
                    <a:pt x="796" y="421"/>
                  </a:lnTo>
                  <a:lnTo>
                    <a:pt x="799" y="422"/>
                  </a:lnTo>
                  <a:lnTo>
                    <a:pt x="805" y="423"/>
                  </a:lnTo>
                  <a:lnTo>
                    <a:pt x="818" y="425"/>
                  </a:lnTo>
                  <a:lnTo>
                    <a:pt x="818" y="425"/>
                  </a:lnTo>
                  <a:lnTo>
                    <a:pt x="831" y="429"/>
                  </a:lnTo>
                  <a:lnTo>
                    <a:pt x="835" y="431"/>
                  </a:lnTo>
                  <a:lnTo>
                    <a:pt x="837" y="432"/>
                  </a:lnTo>
                  <a:lnTo>
                    <a:pt x="835" y="432"/>
                  </a:lnTo>
                  <a:lnTo>
                    <a:pt x="835" y="432"/>
                  </a:lnTo>
                  <a:lnTo>
                    <a:pt x="834" y="436"/>
                  </a:lnTo>
                  <a:lnTo>
                    <a:pt x="834" y="442"/>
                  </a:lnTo>
                  <a:lnTo>
                    <a:pt x="834" y="449"/>
                  </a:lnTo>
                  <a:lnTo>
                    <a:pt x="837" y="455"/>
                  </a:lnTo>
                  <a:lnTo>
                    <a:pt x="837" y="455"/>
                  </a:lnTo>
                  <a:lnTo>
                    <a:pt x="837" y="457"/>
                  </a:lnTo>
                  <a:lnTo>
                    <a:pt x="835" y="457"/>
                  </a:lnTo>
                  <a:lnTo>
                    <a:pt x="832" y="457"/>
                  </a:lnTo>
                  <a:lnTo>
                    <a:pt x="822" y="455"/>
                  </a:lnTo>
                  <a:lnTo>
                    <a:pt x="822" y="455"/>
                  </a:lnTo>
                  <a:lnTo>
                    <a:pt x="821" y="455"/>
                  </a:lnTo>
                  <a:lnTo>
                    <a:pt x="819" y="457"/>
                  </a:lnTo>
                  <a:lnTo>
                    <a:pt x="817" y="460"/>
                  </a:lnTo>
                  <a:lnTo>
                    <a:pt x="817" y="460"/>
                  </a:lnTo>
                  <a:lnTo>
                    <a:pt x="817" y="460"/>
                  </a:lnTo>
                  <a:lnTo>
                    <a:pt x="815" y="460"/>
                  </a:lnTo>
                  <a:lnTo>
                    <a:pt x="809" y="457"/>
                  </a:lnTo>
                  <a:lnTo>
                    <a:pt x="809" y="457"/>
                  </a:lnTo>
                  <a:lnTo>
                    <a:pt x="808" y="457"/>
                  </a:lnTo>
                  <a:lnTo>
                    <a:pt x="806" y="458"/>
                  </a:lnTo>
                  <a:lnTo>
                    <a:pt x="805" y="464"/>
                  </a:lnTo>
                  <a:lnTo>
                    <a:pt x="805" y="464"/>
                  </a:lnTo>
                  <a:lnTo>
                    <a:pt x="804" y="464"/>
                  </a:lnTo>
                  <a:lnTo>
                    <a:pt x="802" y="464"/>
                  </a:lnTo>
                  <a:lnTo>
                    <a:pt x="798" y="460"/>
                  </a:lnTo>
                  <a:lnTo>
                    <a:pt x="792" y="455"/>
                  </a:lnTo>
                  <a:lnTo>
                    <a:pt x="786" y="451"/>
                  </a:lnTo>
                  <a:lnTo>
                    <a:pt x="786" y="451"/>
                  </a:lnTo>
                  <a:lnTo>
                    <a:pt x="783" y="449"/>
                  </a:lnTo>
                  <a:lnTo>
                    <a:pt x="780" y="445"/>
                  </a:lnTo>
                  <a:lnTo>
                    <a:pt x="779" y="444"/>
                  </a:lnTo>
                  <a:lnTo>
                    <a:pt x="779" y="441"/>
                  </a:lnTo>
                  <a:lnTo>
                    <a:pt x="779" y="441"/>
                  </a:lnTo>
                  <a:lnTo>
                    <a:pt x="782" y="441"/>
                  </a:lnTo>
                  <a:lnTo>
                    <a:pt x="786" y="441"/>
                  </a:lnTo>
                  <a:lnTo>
                    <a:pt x="796" y="442"/>
                  </a:lnTo>
                  <a:lnTo>
                    <a:pt x="796" y="442"/>
                  </a:lnTo>
                  <a:lnTo>
                    <a:pt x="796" y="442"/>
                  </a:lnTo>
                  <a:lnTo>
                    <a:pt x="795" y="441"/>
                  </a:lnTo>
                  <a:lnTo>
                    <a:pt x="788" y="436"/>
                  </a:lnTo>
                  <a:lnTo>
                    <a:pt x="779" y="434"/>
                  </a:lnTo>
                  <a:lnTo>
                    <a:pt x="772" y="432"/>
                  </a:lnTo>
                  <a:lnTo>
                    <a:pt x="772" y="432"/>
                  </a:lnTo>
                  <a:lnTo>
                    <a:pt x="769" y="432"/>
                  </a:lnTo>
                  <a:lnTo>
                    <a:pt x="769" y="432"/>
                  </a:lnTo>
                  <a:lnTo>
                    <a:pt x="769" y="436"/>
                  </a:lnTo>
                  <a:lnTo>
                    <a:pt x="770" y="441"/>
                  </a:lnTo>
                  <a:lnTo>
                    <a:pt x="770" y="445"/>
                  </a:lnTo>
                  <a:lnTo>
                    <a:pt x="770" y="445"/>
                  </a:lnTo>
                  <a:lnTo>
                    <a:pt x="770" y="447"/>
                  </a:lnTo>
                  <a:lnTo>
                    <a:pt x="769" y="447"/>
                  </a:lnTo>
                  <a:lnTo>
                    <a:pt x="766" y="444"/>
                  </a:lnTo>
                  <a:lnTo>
                    <a:pt x="762" y="438"/>
                  </a:lnTo>
                  <a:lnTo>
                    <a:pt x="762" y="438"/>
                  </a:lnTo>
                  <a:lnTo>
                    <a:pt x="760" y="438"/>
                  </a:lnTo>
                  <a:lnTo>
                    <a:pt x="759" y="441"/>
                  </a:lnTo>
                  <a:lnTo>
                    <a:pt x="760" y="448"/>
                  </a:lnTo>
                  <a:lnTo>
                    <a:pt x="760" y="448"/>
                  </a:lnTo>
                  <a:lnTo>
                    <a:pt x="759" y="451"/>
                  </a:lnTo>
                  <a:lnTo>
                    <a:pt x="757" y="457"/>
                  </a:lnTo>
                  <a:lnTo>
                    <a:pt x="753" y="461"/>
                  </a:lnTo>
                  <a:lnTo>
                    <a:pt x="750" y="465"/>
                  </a:lnTo>
                  <a:lnTo>
                    <a:pt x="750" y="465"/>
                  </a:lnTo>
                  <a:lnTo>
                    <a:pt x="746" y="467"/>
                  </a:lnTo>
                  <a:lnTo>
                    <a:pt x="740" y="467"/>
                  </a:lnTo>
                  <a:lnTo>
                    <a:pt x="735" y="467"/>
                  </a:lnTo>
                  <a:lnTo>
                    <a:pt x="733" y="470"/>
                  </a:lnTo>
                  <a:lnTo>
                    <a:pt x="733" y="470"/>
                  </a:lnTo>
                  <a:lnTo>
                    <a:pt x="733" y="471"/>
                  </a:lnTo>
                  <a:lnTo>
                    <a:pt x="733" y="471"/>
                  </a:lnTo>
                  <a:lnTo>
                    <a:pt x="735" y="473"/>
                  </a:lnTo>
                  <a:lnTo>
                    <a:pt x="746" y="473"/>
                  </a:lnTo>
                  <a:lnTo>
                    <a:pt x="746" y="473"/>
                  </a:lnTo>
                  <a:lnTo>
                    <a:pt x="751" y="473"/>
                  </a:lnTo>
                  <a:lnTo>
                    <a:pt x="754" y="476"/>
                  </a:lnTo>
                  <a:lnTo>
                    <a:pt x="760" y="480"/>
                  </a:lnTo>
                  <a:lnTo>
                    <a:pt x="760" y="480"/>
                  </a:lnTo>
                  <a:lnTo>
                    <a:pt x="760" y="480"/>
                  </a:lnTo>
                  <a:lnTo>
                    <a:pt x="760" y="481"/>
                  </a:lnTo>
                  <a:lnTo>
                    <a:pt x="757" y="483"/>
                  </a:lnTo>
                  <a:lnTo>
                    <a:pt x="751" y="486"/>
                  </a:lnTo>
                  <a:lnTo>
                    <a:pt x="751" y="486"/>
                  </a:lnTo>
                  <a:lnTo>
                    <a:pt x="746" y="489"/>
                  </a:lnTo>
                  <a:lnTo>
                    <a:pt x="738" y="491"/>
                  </a:lnTo>
                  <a:lnTo>
                    <a:pt x="738" y="491"/>
                  </a:lnTo>
                  <a:lnTo>
                    <a:pt x="737" y="493"/>
                  </a:lnTo>
                  <a:lnTo>
                    <a:pt x="735" y="496"/>
                  </a:lnTo>
                  <a:lnTo>
                    <a:pt x="735" y="499"/>
                  </a:lnTo>
                  <a:lnTo>
                    <a:pt x="737" y="502"/>
                  </a:lnTo>
                  <a:lnTo>
                    <a:pt x="737" y="502"/>
                  </a:lnTo>
                  <a:lnTo>
                    <a:pt x="738" y="503"/>
                  </a:lnTo>
                  <a:lnTo>
                    <a:pt x="741" y="503"/>
                  </a:lnTo>
                  <a:lnTo>
                    <a:pt x="746" y="499"/>
                  </a:lnTo>
                  <a:lnTo>
                    <a:pt x="753" y="494"/>
                  </a:lnTo>
                  <a:lnTo>
                    <a:pt x="759" y="491"/>
                  </a:lnTo>
                  <a:lnTo>
                    <a:pt x="759" y="491"/>
                  </a:lnTo>
                  <a:lnTo>
                    <a:pt x="760" y="491"/>
                  </a:lnTo>
                  <a:lnTo>
                    <a:pt x="763" y="493"/>
                  </a:lnTo>
                  <a:lnTo>
                    <a:pt x="764" y="497"/>
                  </a:lnTo>
                  <a:lnTo>
                    <a:pt x="769" y="506"/>
                  </a:lnTo>
                  <a:lnTo>
                    <a:pt x="769" y="506"/>
                  </a:lnTo>
                  <a:lnTo>
                    <a:pt x="769" y="507"/>
                  </a:lnTo>
                  <a:lnTo>
                    <a:pt x="766" y="509"/>
                  </a:lnTo>
                  <a:lnTo>
                    <a:pt x="760" y="509"/>
                  </a:lnTo>
                  <a:lnTo>
                    <a:pt x="753" y="509"/>
                  </a:lnTo>
                  <a:lnTo>
                    <a:pt x="747" y="509"/>
                  </a:lnTo>
                  <a:lnTo>
                    <a:pt x="747" y="509"/>
                  </a:lnTo>
                  <a:lnTo>
                    <a:pt x="746" y="510"/>
                  </a:lnTo>
                  <a:lnTo>
                    <a:pt x="747" y="510"/>
                  </a:lnTo>
                  <a:lnTo>
                    <a:pt x="753" y="513"/>
                  </a:lnTo>
                  <a:lnTo>
                    <a:pt x="753" y="513"/>
                  </a:lnTo>
                  <a:lnTo>
                    <a:pt x="754" y="515"/>
                  </a:lnTo>
                  <a:lnTo>
                    <a:pt x="754" y="516"/>
                  </a:lnTo>
                  <a:lnTo>
                    <a:pt x="753" y="520"/>
                  </a:lnTo>
                  <a:lnTo>
                    <a:pt x="751" y="523"/>
                  </a:lnTo>
                  <a:lnTo>
                    <a:pt x="751" y="525"/>
                  </a:lnTo>
                  <a:lnTo>
                    <a:pt x="751" y="525"/>
                  </a:lnTo>
                  <a:lnTo>
                    <a:pt x="751" y="525"/>
                  </a:lnTo>
                  <a:lnTo>
                    <a:pt x="756" y="523"/>
                  </a:lnTo>
                  <a:lnTo>
                    <a:pt x="760" y="520"/>
                  </a:lnTo>
                  <a:lnTo>
                    <a:pt x="766" y="516"/>
                  </a:lnTo>
                  <a:lnTo>
                    <a:pt x="770" y="515"/>
                  </a:lnTo>
                  <a:lnTo>
                    <a:pt x="770" y="515"/>
                  </a:lnTo>
                  <a:lnTo>
                    <a:pt x="776" y="519"/>
                  </a:lnTo>
                  <a:lnTo>
                    <a:pt x="785" y="526"/>
                  </a:lnTo>
                  <a:lnTo>
                    <a:pt x="798" y="539"/>
                  </a:lnTo>
                  <a:lnTo>
                    <a:pt x="798" y="539"/>
                  </a:lnTo>
                  <a:lnTo>
                    <a:pt x="798" y="541"/>
                  </a:lnTo>
                  <a:lnTo>
                    <a:pt x="796" y="544"/>
                  </a:lnTo>
                  <a:lnTo>
                    <a:pt x="792" y="548"/>
                  </a:lnTo>
                  <a:lnTo>
                    <a:pt x="792" y="548"/>
                  </a:lnTo>
                  <a:lnTo>
                    <a:pt x="790" y="551"/>
                  </a:lnTo>
                  <a:lnTo>
                    <a:pt x="792" y="552"/>
                  </a:lnTo>
                  <a:lnTo>
                    <a:pt x="796" y="557"/>
                  </a:lnTo>
                  <a:lnTo>
                    <a:pt x="796" y="557"/>
                  </a:lnTo>
                  <a:lnTo>
                    <a:pt x="798" y="557"/>
                  </a:lnTo>
                  <a:lnTo>
                    <a:pt x="799" y="555"/>
                  </a:lnTo>
                  <a:lnTo>
                    <a:pt x="804" y="552"/>
                  </a:lnTo>
                  <a:lnTo>
                    <a:pt x="806" y="549"/>
                  </a:lnTo>
                  <a:lnTo>
                    <a:pt x="809" y="548"/>
                  </a:lnTo>
                  <a:lnTo>
                    <a:pt x="811" y="549"/>
                  </a:lnTo>
                  <a:lnTo>
                    <a:pt x="811" y="549"/>
                  </a:lnTo>
                  <a:lnTo>
                    <a:pt x="811" y="551"/>
                  </a:lnTo>
                  <a:lnTo>
                    <a:pt x="811" y="552"/>
                  </a:lnTo>
                  <a:lnTo>
                    <a:pt x="808" y="557"/>
                  </a:lnTo>
                  <a:lnTo>
                    <a:pt x="799" y="564"/>
                  </a:lnTo>
                  <a:lnTo>
                    <a:pt x="799" y="564"/>
                  </a:lnTo>
                  <a:lnTo>
                    <a:pt x="798" y="567"/>
                  </a:lnTo>
                  <a:lnTo>
                    <a:pt x="796" y="570"/>
                  </a:lnTo>
                  <a:lnTo>
                    <a:pt x="798" y="573"/>
                  </a:lnTo>
                  <a:lnTo>
                    <a:pt x="801" y="575"/>
                  </a:lnTo>
                  <a:lnTo>
                    <a:pt x="801" y="575"/>
                  </a:lnTo>
                  <a:lnTo>
                    <a:pt x="805" y="577"/>
                  </a:lnTo>
                  <a:lnTo>
                    <a:pt x="806" y="575"/>
                  </a:lnTo>
                  <a:lnTo>
                    <a:pt x="808" y="573"/>
                  </a:lnTo>
                  <a:lnTo>
                    <a:pt x="809" y="570"/>
                  </a:lnTo>
                  <a:lnTo>
                    <a:pt x="809" y="570"/>
                  </a:lnTo>
                  <a:lnTo>
                    <a:pt x="812" y="565"/>
                  </a:lnTo>
                  <a:lnTo>
                    <a:pt x="815" y="561"/>
                  </a:lnTo>
                  <a:lnTo>
                    <a:pt x="815" y="561"/>
                  </a:lnTo>
                  <a:lnTo>
                    <a:pt x="817" y="562"/>
                  </a:lnTo>
                  <a:lnTo>
                    <a:pt x="817" y="565"/>
                  </a:lnTo>
                  <a:lnTo>
                    <a:pt x="815" y="577"/>
                  </a:lnTo>
                  <a:lnTo>
                    <a:pt x="812" y="600"/>
                  </a:lnTo>
                  <a:lnTo>
                    <a:pt x="812" y="600"/>
                  </a:lnTo>
                  <a:lnTo>
                    <a:pt x="814" y="606"/>
                  </a:lnTo>
                  <a:lnTo>
                    <a:pt x="815" y="610"/>
                  </a:lnTo>
                  <a:lnTo>
                    <a:pt x="817" y="615"/>
                  </a:lnTo>
                  <a:lnTo>
                    <a:pt x="814" y="617"/>
                  </a:lnTo>
                  <a:lnTo>
                    <a:pt x="814" y="617"/>
                  </a:lnTo>
                  <a:lnTo>
                    <a:pt x="811" y="619"/>
                  </a:lnTo>
                  <a:lnTo>
                    <a:pt x="808" y="617"/>
                  </a:lnTo>
                  <a:lnTo>
                    <a:pt x="805" y="616"/>
                  </a:lnTo>
                  <a:lnTo>
                    <a:pt x="802" y="613"/>
                  </a:lnTo>
                  <a:lnTo>
                    <a:pt x="802" y="613"/>
                  </a:lnTo>
                  <a:lnTo>
                    <a:pt x="801" y="613"/>
                  </a:lnTo>
                  <a:lnTo>
                    <a:pt x="799" y="613"/>
                  </a:lnTo>
                  <a:lnTo>
                    <a:pt x="798" y="616"/>
                  </a:lnTo>
                  <a:lnTo>
                    <a:pt x="795" y="619"/>
                  </a:lnTo>
                  <a:lnTo>
                    <a:pt x="793" y="620"/>
                  </a:lnTo>
                  <a:lnTo>
                    <a:pt x="790" y="622"/>
                  </a:lnTo>
                  <a:lnTo>
                    <a:pt x="790" y="622"/>
                  </a:lnTo>
                  <a:lnTo>
                    <a:pt x="786" y="620"/>
                  </a:lnTo>
                  <a:lnTo>
                    <a:pt x="783" y="616"/>
                  </a:lnTo>
                  <a:lnTo>
                    <a:pt x="777" y="604"/>
                  </a:lnTo>
                  <a:lnTo>
                    <a:pt x="772" y="581"/>
                  </a:lnTo>
                  <a:lnTo>
                    <a:pt x="772" y="581"/>
                  </a:lnTo>
                  <a:lnTo>
                    <a:pt x="772" y="578"/>
                  </a:lnTo>
                  <a:lnTo>
                    <a:pt x="770" y="578"/>
                  </a:lnTo>
                  <a:lnTo>
                    <a:pt x="767" y="578"/>
                  </a:lnTo>
                  <a:lnTo>
                    <a:pt x="766" y="580"/>
                  </a:lnTo>
                  <a:lnTo>
                    <a:pt x="763" y="580"/>
                  </a:lnTo>
                  <a:lnTo>
                    <a:pt x="763" y="580"/>
                  </a:lnTo>
                  <a:lnTo>
                    <a:pt x="753" y="574"/>
                  </a:lnTo>
                  <a:lnTo>
                    <a:pt x="747" y="571"/>
                  </a:lnTo>
                  <a:lnTo>
                    <a:pt x="741" y="570"/>
                  </a:lnTo>
                  <a:lnTo>
                    <a:pt x="741" y="570"/>
                  </a:lnTo>
                  <a:lnTo>
                    <a:pt x="737" y="568"/>
                  </a:lnTo>
                  <a:lnTo>
                    <a:pt x="730" y="562"/>
                  </a:lnTo>
                  <a:lnTo>
                    <a:pt x="724" y="557"/>
                  </a:lnTo>
                  <a:lnTo>
                    <a:pt x="720" y="554"/>
                  </a:lnTo>
                  <a:lnTo>
                    <a:pt x="720" y="554"/>
                  </a:lnTo>
                  <a:lnTo>
                    <a:pt x="720" y="554"/>
                  </a:lnTo>
                  <a:lnTo>
                    <a:pt x="720" y="555"/>
                  </a:lnTo>
                  <a:lnTo>
                    <a:pt x="722" y="560"/>
                  </a:lnTo>
                  <a:lnTo>
                    <a:pt x="725" y="565"/>
                  </a:lnTo>
                  <a:lnTo>
                    <a:pt x="727" y="570"/>
                  </a:lnTo>
                  <a:lnTo>
                    <a:pt x="727" y="570"/>
                  </a:lnTo>
                  <a:lnTo>
                    <a:pt x="725" y="571"/>
                  </a:lnTo>
                  <a:lnTo>
                    <a:pt x="724" y="573"/>
                  </a:lnTo>
                  <a:lnTo>
                    <a:pt x="718" y="577"/>
                  </a:lnTo>
                  <a:lnTo>
                    <a:pt x="712" y="581"/>
                  </a:lnTo>
                  <a:lnTo>
                    <a:pt x="709" y="584"/>
                  </a:lnTo>
                  <a:lnTo>
                    <a:pt x="709" y="584"/>
                  </a:lnTo>
                  <a:lnTo>
                    <a:pt x="708" y="587"/>
                  </a:lnTo>
                  <a:lnTo>
                    <a:pt x="709" y="589"/>
                  </a:lnTo>
                  <a:lnTo>
                    <a:pt x="712" y="594"/>
                  </a:lnTo>
                  <a:lnTo>
                    <a:pt x="715" y="600"/>
                  </a:lnTo>
                  <a:lnTo>
                    <a:pt x="718" y="606"/>
                  </a:lnTo>
                  <a:lnTo>
                    <a:pt x="718" y="606"/>
                  </a:lnTo>
                  <a:lnTo>
                    <a:pt x="718" y="607"/>
                  </a:lnTo>
                  <a:lnTo>
                    <a:pt x="717" y="609"/>
                  </a:lnTo>
                  <a:lnTo>
                    <a:pt x="714" y="610"/>
                  </a:lnTo>
                  <a:lnTo>
                    <a:pt x="708" y="612"/>
                  </a:lnTo>
                  <a:lnTo>
                    <a:pt x="702" y="612"/>
                  </a:lnTo>
                  <a:lnTo>
                    <a:pt x="702" y="612"/>
                  </a:lnTo>
                  <a:lnTo>
                    <a:pt x="701" y="613"/>
                  </a:lnTo>
                  <a:lnTo>
                    <a:pt x="701" y="615"/>
                  </a:lnTo>
                  <a:lnTo>
                    <a:pt x="704" y="617"/>
                  </a:lnTo>
                  <a:lnTo>
                    <a:pt x="711" y="623"/>
                  </a:lnTo>
                  <a:lnTo>
                    <a:pt x="711" y="623"/>
                  </a:lnTo>
                  <a:lnTo>
                    <a:pt x="715" y="625"/>
                  </a:lnTo>
                  <a:lnTo>
                    <a:pt x="725" y="625"/>
                  </a:lnTo>
                  <a:lnTo>
                    <a:pt x="741" y="623"/>
                  </a:lnTo>
                  <a:lnTo>
                    <a:pt x="741" y="623"/>
                  </a:lnTo>
                  <a:lnTo>
                    <a:pt x="743" y="623"/>
                  </a:lnTo>
                  <a:lnTo>
                    <a:pt x="740" y="623"/>
                  </a:lnTo>
                  <a:lnTo>
                    <a:pt x="734" y="625"/>
                  </a:lnTo>
                  <a:lnTo>
                    <a:pt x="728" y="628"/>
                  </a:lnTo>
                  <a:lnTo>
                    <a:pt x="728" y="628"/>
                  </a:lnTo>
                  <a:lnTo>
                    <a:pt x="727" y="631"/>
                  </a:lnTo>
                  <a:lnTo>
                    <a:pt x="724" y="632"/>
                  </a:lnTo>
                  <a:lnTo>
                    <a:pt x="715" y="633"/>
                  </a:lnTo>
                  <a:lnTo>
                    <a:pt x="709" y="635"/>
                  </a:lnTo>
                  <a:lnTo>
                    <a:pt x="706" y="636"/>
                  </a:lnTo>
                  <a:lnTo>
                    <a:pt x="706" y="636"/>
                  </a:lnTo>
                  <a:lnTo>
                    <a:pt x="706" y="636"/>
                  </a:lnTo>
                  <a:lnTo>
                    <a:pt x="708" y="636"/>
                  </a:lnTo>
                  <a:lnTo>
                    <a:pt x="712" y="635"/>
                  </a:lnTo>
                  <a:lnTo>
                    <a:pt x="712" y="635"/>
                  </a:lnTo>
                  <a:lnTo>
                    <a:pt x="715" y="635"/>
                  </a:lnTo>
                  <a:lnTo>
                    <a:pt x="715" y="635"/>
                  </a:lnTo>
                  <a:lnTo>
                    <a:pt x="715" y="639"/>
                  </a:lnTo>
                  <a:lnTo>
                    <a:pt x="715" y="639"/>
                  </a:lnTo>
                  <a:lnTo>
                    <a:pt x="717" y="639"/>
                  </a:lnTo>
                  <a:lnTo>
                    <a:pt x="718" y="639"/>
                  </a:lnTo>
                  <a:lnTo>
                    <a:pt x="721" y="636"/>
                  </a:lnTo>
                  <a:lnTo>
                    <a:pt x="721" y="636"/>
                  </a:lnTo>
                  <a:lnTo>
                    <a:pt x="722" y="636"/>
                  </a:lnTo>
                  <a:lnTo>
                    <a:pt x="722" y="636"/>
                  </a:lnTo>
                  <a:lnTo>
                    <a:pt x="725" y="639"/>
                  </a:lnTo>
                  <a:lnTo>
                    <a:pt x="725" y="639"/>
                  </a:lnTo>
                  <a:lnTo>
                    <a:pt x="727" y="639"/>
                  </a:lnTo>
                  <a:lnTo>
                    <a:pt x="728" y="636"/>
                  </a:lnTo>
                  <a:lnTo>
                    <a:pt x="731" y="635"/>
                  </a:lnTo>
                  <a:lnTo>
                    <a:pt x="734" y="632"/>
                  </a:lnTo>
                  <a:lnTo>
                    <a:pt x="734" y="632"/>
                  </a:lnTo>
                  <a:lnTo>
                    <a:pt x="735" y="632"/>
                  </a:lnTo>
                  <a:lnTo>
                    <a:pt x="738" y="632"/>
                  </a:lnTo>
                  <a:lnTo>
                    <a:pt x="744" y="633"/>
                  </a:lnTo>
                  <a:lnTo>
                    <a:pt x="744" y="633"/>
                  </a:lnTo>
                  <a:lnTo>
                    <a:pt x="747" y="632"/>
                  </a:lnTo>
                  <a:lnTo>
                    <a:pt x="751" y="628"/>
                  </a:lnTo>
                  <a:lnTo>
                    <a:pt x="759" y="622"/>
                  </a:lnTo>
                  <a:lnTo>
                    <a:pt x="759" y="622"/>
                  </a:lnTo>
                  <a:lnTo>
                    <a:pt x="762" y="622"/>
                  </a:lnTo>
                  <a:lnTo>
                    <a:pt x="769" y="625"/>
                  </a:lnTo>
                  <a:lnTo>
                    <a:pt x="780" y="631"/>
                  </a:lnTo>
                  <a:lnTo>
                    <a:pt x="780" y="631"/>
                  </a:lnTo>
                  <a:lnTo>
                    <a:pt x="786" y="632"/>
                  </a:lnTo>
                  <a:lnTo>
                    <a:pt x="796" y="632"/>
                  </a:lnTo>
                  <a:lnTo>
                    <a:pt x="806" y="632"/>
                  </a:lnTo>
                  <a:lnTo>
                    <a:pt x="811" y="633"/>
                  </a:lnTo>
                  <a:lnTo>
                    <a:pt x="811" y="633"/>
                  </a:lnTo>
                  <a:lnTo>
                    <a:pt x="811" y="635"/>
                  </a:lnTo>
                  <a:lnTo>
                    <a:pt x="809" y="635"/>
                  </a:lnTo>
                  <a:lnTo>
                    <a:pt x="805" y="636"/>
                  </a:lnTo>
                  <a:lnTo>
                    <a:pt x="798" y="638"/>
                  </a:lnTo>
                  <a:lnTo>
                    <a:pt x="795" y="639"/>
                  </a:lnTo>
                  <a:lnTo>
                    <a:pt x="795" y="639"/>
                  </a:lnTo>
                  <a:lnTo>
                    <a:pt x="793" y="642"/>
                  </a:lnTo>
                  <a:lnTo>
                    <a:pt x="792" y="646"/>
                  </a:lnTo>
                  <a:lnTo>
                    <a:pt x="790" y="651"/>
                  </a:lnTo>
                  <a:lnTo>
                    <a:pt x="788" y="655"/>
                  </a:lnTo>
                  <a:lnTo>
                    <a:pt x="788" y="655"/>
                  </a:lnTo>
                  <a:lnTo>
                    <a:pt x="783" y="659"/>
                  </a:lnTo>
                  <a:lnTo>
                    <a:pt x="779" y="662"/>
                  </a:lnTo>
                  <a:lnTo>
                    <a:pt x="776" y="665"/>
                  </a:lnTo>
                  <a:lnTo>
                    <a:pt x="772" y="665"/>
                  </a:lnTo>
                  <a:lnTo>
                    <a:pt x="772" y="665"/>
                  </a:lnTo>
                  <a:lnTo>
                    <a:pt x="769" y="668"/>
                  </a:lnTo>
                  <a:lnTo>
                    <a:pt x="766" y="671"/>
                  </a:lnTo>
                  <a:lnTo>
                    <a:pt x="762" y="686"/>
                  </a:lnTo>
                  <a:lnTo>
                    <a:pt x="762" y="686"/>
                  </a:lnTo>
                  <a:lnTo>
                    <a:pt x="759" y="690"/>
                  </a:lnTo>
                  <a:lnTo>
                    <a:pt x="753" y="694"/>
                  </a:lnTo>
                  <a:lnTo>
                    <a:pt x="738" y="702"/>
                  </a:lnTo>
                  <a:lnTo>
                    <a:pt x="722" y="707"/>
                  </a:lnTo>
                  <a:lnTo>
                    <a:pt x="711" y="710"/>
                  </a:lnTo>
                  <a:lnTo>
                    <a:pt x="711" y="710"/>
                  </a:lnTo>
                  <a:lnTo>
                    <a:pt x="698" y="716"/>
                  </a:lnTo>
                  <a:lnTo>
                    <a:pt x="686" y="723"/>
                  </a:lnTo>
                  <a:lnTo>
                    <a:pt x="686" y="723"/>
                  </a:lnTo>
                  <a:lnTo>
                    <a:pt x="683" y="725"/>
                  </a:lnTo>
                  <a:lnTo>
                    <a:pt x="682" y="725"/>
                  </a:lnTo>
                  <a:lnTo>
                    <a:pt x="680" y="725"/>
                  </a:lnTo>
                  <a:lnTo>
                    <a:pt x="679" y="725"/>
                  </a:lnTo>
                  <a:lnTo>
                    <a:pt x="679" y="725"/>
                  </a:lnTo>
                  <a:lnTo>
                    <a:pt x="675" y="726"/>
                  </a:lnTo>
                  <a:lnTo>
                    <a:pt x="669" y="725"/>
                  </a:lnTo>
                  <a:lnTo>
                    <a:pt x="669" y="725"/>
                  </a:lnTo>
                  <a:lnTo>
                    <a:pt x="666" y="722"/>
                  </a:lnTo>
                  <a:lnTo>
                    <a:pt x="662" y="723"/>
                  </a:lnTo>
                  <a:lnTo>
                    <a:pt x="662" y="723"/>
                  </a:lnTo>
                  <a:lnTo>
                    <a:pt x="659" y="725"/>
                  </a:lnTo>
                  <a:lnTo>
                    <a:pt x="656" y="725"/>
                  </a:lnTo>
                  <a:lnTo>
                    <a:pt x="653" y="725"/>
                  </a:lnTo>
                  <a:lnTo>
                    <a:pt x="653" y="725"/>
                  </a:lnTo>
                  <a:lnTo>
                    <a:pt x="653" y="722"/>
                  </a:lnTo>
                  <a:lnTo>
                    <a:pt x="654" y="719"/>
                  </a:lnTo>
                  <a:lnTo>
                    <a:pt x="653" y="7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19" name="Freeform 1499"/>
            <p:cNvSpPr>
              <a:spLocks/>
            </p:cNvSpPr>
            <p:nvPr/>
          </p:nvSpPr>
          <p:spPr bwMode="auto">
            <a:xfrm>
              <a:off x="9072563" y="2637267"/>
              <a:ext cx="71438" cy="38100"/>
            </a:xfrm>
            <a:custGeom>
              <a:avLst/>
              <a:gdLst>
                <a:gd name="T0" fmla="*/ 33 w 45"/>
                <a:gd name="T1" fmla="*/ 24 h 24"/>
                <a:gd name="T2" fmla="*/ 33 w 45"/>
                <a:gd name="T3" fmla="*/ 24 h 24"/>
                <a:gd name="T4" fmla="*/ 28 w 45"/>
                <a:gd name="T5" fmla="*/ 22 h 24"/>
                <a:gd name="T6" fmla="*/ 22 w 45"/>
                <a:gd name="T7" fmla="*/ 18 h 24"/>
                <a:gd name="T8" fmla="*/ 16 w 45"/>
                <a:gd name="T9" fmla="*/ 13 h 24"/>
                <a:gd name="T10" fmla="*/ 13 w 45"/>
                <a:gd name="T11" fmla="*/ 12 h 24"/>
                <a:gd name="T12" fmla="*/ 13 w 45"/>
                <a:gd name="T13" fmla="*/ 12 h 24"/>
                <a:gd name="T14" fmla="*/ 12 w 45"/>
                <a:gd name="T15" fmla="*/ 13 h 24"/>
                <a:gd name="T16" fmla="*/ 9 w 45"/>
                <a:gd name="T17" fmla="*/ 15 h 24"/>
                <a:gd name="T18" fmla="*/ 6 w 45"/>
                <a:gd name="T19" fmla="*/ 16 h 24"/>
                <a:gd name="T20" fmla="*/ 3 w 45"/>
                <a:gd name="T21" fmla="*/ 15 h 24"/>
                <a:gd name="T22" fmla="*/ 3 w 45"/>
                <a:gd name="T23" fmla="*/ 15 h 24"/>
                <a:gd name="T24" fmla="*/ 2 w 45"/>
                <a:gd name="T25" fmla="*/ 11 h 24"/>
                <a:gd name="T26" fmla="*/ 0 w 45"/>
                <a:gd name="T27" fmla="*/ 6 h 24"/>
                <a:gd name="T28" fmla="*/ 0 w 45"/>
                <a:gd name="T29" fmla="*/ 3 h 24"/>
                <a:gd name="T30" fmla="*/ 2 w 45"/>
                <a:gd name="T31" fmla="*/ 2 h 24"/>
                <a:gd name="T32" fmla="*/ 3 w 45"/>
                <a:gd name="T33" fmla="*/ 2 h 24"/>
                <a:gd name="T34" fmla="*/ 3 w 45"/>
                <a:gd name="T35" fmla="*/ 2 h 24"/>
                <a:gd name="T36" fmla="*/ 9 w 45"/>
                <a:gd name="T37" fmla="*/ 5 h 24"/>
                <a:gd name="T38" fmla="*/ 13 w 45"/>
                <a:gd name="T39" fmla="*/ 6 h 24"/>
                <a:gd name="T40" fmla="*/ 16 w 45"/>
                <a:gd name="T41" fmla="*/ 6 h 24"/>
                <a:gd name="T42" fmla="*/ 16 w 45"/>
                <a:gd name="T43" fmla="*/ 6 h 24"/>
                <a:gd name="T44" fmla="*/ 19 w 45"/>
                <a:gd name="T45" fmla="*/ 5 h 24"/>
                <a:gd name="T46" fmla="*/ 23 w 45"/>
                <a:gd name="T47" fmla="*/ 3 h 24"/>
                <a:gd name="T48" fmla="*/ 26 w 45"/>
                <a:gd name="T49" fmla="*/ 0 h 24"/>
                <a:gd name="T50" fmla="*/ 28 w 45"/>
                <a:gd name="T51" fmla="*/ 2 h 24"/>
                <a:gd name="T52" fmla="*/ 29 w 45"/>
                <a:gd name="T53" fmla="*/ 2 h 24"/>
                <a:gd name="T54" fmla="*/ 29 w 45"/>
                <a:gd name="T55" fmla="*/ 2 h 24"/>
                <a:gd name="T56" fmla="*/ 39 w 45"/>
                <a:gd name="T57" fmla="*/ 11 h 24"/>
                <a:gd name="T58" fmla="*/ 44 w 45"/>
                <a:gd name="T59" fmla="*/ 16 h 24"/>
                <a:gd name="T60" fmla="*/ 45 w 45"/>
                <a:gd name="T61" fmla="*/ 18 h 24"/>
                <a:gd name="T62" fmla="*/ 45 w 45"/>
                <a:gd name="T63" fmla="*/ 18 h 24"/>
                <a:gd name="T64" fmla="*/ 39 w 45"/>
                <a:gd name="T65" fmla="*/ 22 h 24"/>
                <a:gd name="T66" fmla="*/ 36 w 45"/>
                <a:gd name="T67" fmla="*/ 24 h 24"/>
                <a:gd name="T68" fmla="*/ 33 w 45"/>
                <a:gd name="T6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 h="24">
                  <a:moveTo>
                    <a:pt x="33" y="24"/>
                  </a:moveTo>
                  <a:lnTo>
                    <a:pt x="33" y="24"/>
                  </a:lnTo>
                  <a:lnTo>
                    <a:pt x="28" y="22"/>
                  </a:lnTo>
                  <a:lnTo>
                    <a:pt x="22" y="18"/>
                  </a:lnTo>
                  <a:lnTo>
                    <a:pt x="16" y="13"/>
                  </a:lnTo>
                  <a:lnTo>
                    <a:pt x="13" y="12"/>
                  </a:lnTo>
                  <a:lnTo>
                    <a:pt x="13" y="12"/>
                  </a:lnTo>
                  <a:lnTo>
                    <a:pt x="12" y="13"/>
                  </a:lnTo>
                  <a:lnTo>
                    <a:pt x="9" y="15"/>
                  </a:lnTo>
                  <a:lnTo>
                    <a:pt x="6" y="16"/>
                  </a:lnTo>
                  <a:lnTo>
                    <a:pt x="3" y="15"/>
                  </a:lnTo>
                  <a:lnTo>
                    <a:pt x="3" y="15"/>
                  </a:lnTo>
                  <a:lnTo>
                    <a:pt x="2" y="11"/>
                  </a:lnTo>
                  <a:lnTo>
                    <a:pt x="0" y="6"/>
                  </a:lnTo>
                  <a:lnTo>
                    <a:pt x="0" y="3"/>
                  </a:lnTo>
                  <a:lnTo>
                    <a:pt x="2" y="2"/>
                  </a:lnTo>
                  <a:lnTo>
                    <a:pt x="3" y="2"/>
                  </a:lnTo>
                  <a:lnTo>
                    <a:pt x="3" y="2"/>
                  </a:lnTo>
                  <a:lnTo>
                    <a:pt x="9" y="5"/>
                  </a:lnTo>
                  <a:lnTo>
                    <a:pt x="13" y="6"/>
                  </a:lnTo>
                  <a:lnTo>
                    <a:pt x="16" y="6"/>
                  </a:lnTo>
                  <a:lnTo>
                    <a:pt x="16" y="6"/>
                  </a:lnTo>
                  <a:lnTo>
                    <a:pt x="19" y="5"/>
                  </a:lnTo>
                  <a:lnTo>
                    <a:pt x="23" y="3"/>
                  </a:lnTo>
                  <a:lnTo>
                    <a:pt x="26" y="0"/>
                  </a:lnTo>
                  <a:lnTo>
                    <a:pt x="28" y="2"/>
                  </a:lnTo>
                  <a:lnTo>
                    <a:pt x="29" y="2"/>
                  </a:lnTo>
                  <a:lnTo>
                    <a:pt x="29" y="2"/>
                  </a:lnTo>
                  <a:lnTo>
                    <a:pt x="39" y="11"/>
                  </a:lnTo>
                  <a:lnTo>
                    <a:pt x="44" y="16"/>
                  </a:lnTo>
                  <a:lnTo>
                    <a:pt x="45" y="18"/>
                  </a:lnTo>
                  <a:lnTo>
                    <a:pt x="45" y="18"/>
                  </a:lnTo>
                  <a:lnTo>
                    <a:pt x="39" y="22"/>
                  </a:lnTo>
                  <a:lnTo>
                    <a:pt x="36" y="24"/>
                  </a:lnTo>
                  <a:lnTo>
                    <a:pt x="33" y="24"/>
                  </a:lnTo>
                  <a:close/>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20" name="Freeform 1500"/>
            <p:cNvSpPr>
              <a:spLocks/>
            </p:cNvSpPr>
            <p:nvPr/>
          </p:nvSpPr>
          <p:spPr bwMode="auto">
            <a:xfrm>
              <a:off x="9072563" y="2637267"/>
              <a:ext cx="71438" cy="38100"/>
            </a:xfrm>
            <a:custGeom>
              <a:avLst/>
              <a:gdLst>
                <a:gd name="T0" fmla="*/ 33 w 45"/>
                <a:gd name="T1" fmla="*/ 24 h 24"/>
                <a:gd name="T2" fmla="*/ 33 w 45"/>
                <a:gd name="T3" fmla="*/ 24 h 24"/>
                <a:gd name="T4" fmla="*/ 28 w 45"/>
                <a:gd name="T5" fmla="*/ 22 h 24"/>
                <a:gd name="T6" fmla="*/ 22 w 45"/>
                <a:gd name="T7" fmla="*/ 18 h 24"/>
                <a:gd name="T8" fmla="*/ 16 w 45"/>
                <a:gd name="T9" fmla="*/ 13 h 24"/>
                <a:gd name="T10" fmla="*/ 13 w 45"/>
                <a:gd name="T11" fmla="*/ 12 h 24"/>
                <a:gd name="T12" fmla="*/ 13 w 45"/>
                <a:gd name="T13" fmla="*/ 12 h 24"/>
                <a:gd name="T14" fmla="*/ 12 w 45"/>
                <a:gd name="T15" fmla="*/ 13 h 24"/>
                <a:gd name="T16" fmla="*/ 9 w 45"/>
                <a:gd name="T17" fmla="*/ 15 h 24"/>
                <a:gd name="T18" fmla="*/ 6 w 45"/>
                <a:gd name="T19" fmla="*/ 16 h 24"/>
                <a:gd name="T20" fmla="*/ 3 w 45"/>
                <a:gd name="T21" fmla="*/ 15 h 24"/>
                <a:gd name="T22" fmla="*/ 3 w 45"/>
                <a:gd name="T23" fmla="*/ 15 h 24"/>
                <a:gd name="T24" fmla="*/ 2 w 45"/>
                <a:gd name="T25" fmla="*/ 11 h 24"/>
                <a:gd name="T26" fmla="*/ 0 w 45"/>
                <a:gd name="T27" fmla="*/ 6 h 24"/>
                <a:gd name="T28" fmla="*/ 0 w 45"/>
                <a:gd name="T29" fmla="*/ 3 h 24"/>
                <a:gd name="T30" fmla="*/ 2 w 45"/>
                <a:gd name="T31" fmla="*/ 2 h 24"/>
                <a:gd name="T32" fmla="*/ 3 w 45"/>
                <a:gd name="T33" fmla="*/ 2 h 24"/>
                <a:gd name="T34" fmla="*/ 3 w 45"/>
                <a:gd name="T35" fmla="*/ 2 h 24"/>
                <a:gd name="T36" fmla="*/ 9 w 45"/>
                <a:gd name="T37" fmla="*/ 5 h 24"/>
                <a:gd name="T38" fmla="*/ 13 w 45"/>
                <a:gd name="T39" fmla="*/ 6 h 24"/>
                <a:gd name="T40" fmla="*/ 16 w 45"/>
                <a:gd name="T41" fmla="*/ 6 h 24"/>
                <a:gd name="T42" fmla="*/ 16 w 45"/>
                <a:gd name="T43" fmla="*/ 6 h 24"/>
                <a:gd name="T44" fmla="*/ 19 w 45"/>
                <a:gd name="T45" fmla="*/ 5 h 24"/>
                <a:gd name="T46" fmla="*/ 23 w 45"/>
                <a:gd name="T47" fmla="*/ 3 h 24"/>
                <a:gd name="T48" fmla="*/ 26 w 45"/>
                <a:gd name="T49" fmla="*/ 0 h 24"/>
                <a:gd name="T50" fmla="*/ 28 w 45"/>
                <a:gd name="T51" fmla="*/ 2 h 24"/>
                <a:gd name="T52" fmla="*/ 29 w 45"/>
                <a:gd name="T53" fmla="*/ 2 h 24"/>
                <a:gd name="T54" fmla="*/ 29 w 45"/>
                <a:gd name="T55" fmla="*/ 2 h 24"/>
                <a:gd name="T56" fmla="*/ 39 w 45"/>
                <a:gd name="T57" fmla="*/ 11 h 24"/>
                <a:gd name="T58" fmla="*/ 44 w 45"/>
                <a:gd name="T59" fmla="*/ 16 h 24"/>
                <a:gd name="T60" fmla="*/ 45 w 45"/>
                <a:gd name="T61" fmla="*/ 18 h 24"/>
                <a:gd name="T62" fmla="*/ 45 w 45"/>
                <a:gd name="T63" fmla="*/ 18 h 24"/>
                <a:gd name="T64" fmla="*/ 39 w 45"/>
                <a:gd name="T65" fmla="*/ 22 h 24"/>
                <a:gd name="T66" fmla="*/ 36 w 45"/>
                <a:gd name="T67" fmla="*/ 24 h 24"/>
                <a:gd name="T68" fmla="*/ 33 w 45"/>
                <a:gd name="T6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 h="24">
                  <a:moveTo>
                    <a:pt x="33" y="24"/>
                  </a:moveTo>
                  <a:lnTo>
                    <a:pt x="33" y="24"/>
                  </a:lnTo>
                  <a:lnTo>
                    <a:pt x="28" y="22"/>
                  </a:lnTo>
                  <a:lnTo>
                    <a:pt x="22" y="18"/>
                  </a:lnTo>
                  <a:lnTo>
                    <a:pt x="16" y="13"/>
                  </a:lnTo>
                  <a:lnTo>
                    <a:pt x="13" y="12"/>
                  </a:lnTo>
                  <a:lnTo>
                    <a:pt x="13" y="12"/>
                  </a:lnTo>
                  <a:lnTo>
                    <a:pt x="12" y="13"/>
                  </a:lnTo>
                  <a:lnTo>
                    <a:pt x="9" y="15"/>
                  </a:lnTo>
                  <a:lnTo>
                    <a:pt x="6" y="16"/>
                  </a:lnTo>
                  <a:lnTo>
                    <a:pt x="3" y="15"/>
                  </a:lnTo>
                  <a:lnTo>
                    <a:pt x="3" y="15"/>
                  </a:lnTo>
                  <a:lnTo>
                    <a:pt x="2" y="11"/>
                  </a:lnTo>
                  <a:lnTo>
                    <a:pt x="0" y="6"/>
                  </a:lnTo>
                  <a:lnTo>
                    <a:pt x="0" y="3"/>
                  </a:lnTo>
                  <a:lnTo>
                    <a:pt x="2" y="2"/>
                  </a:lnTo>
                  <a:lnTo>
                    <a:pt x="3" y="2"/>
                  </a:lnTo>
                  <a:lnTo>
                    <a:pt x="3" y="2"/>
                  </a:lnTo>
                  <a:lnTo>
                    <a:pt x="9" y="5"/>
                  </a:lnTo>
                  <a:lnTo>
                    <a:pt x="13" y="6"/>
                  </a:lnTo>
                  <a:lnTo>
                    <a:pt x="16" y="6"/>
                  </a:lnTo>
                  <a:lnTo>
                    <a:pt x="16" y="6"/>
                  </a:lnTo>
                  <a:lnTo>
                    <a:pt x="19" y="5"/>
                  </a:lnTo>
                  <a:lnTo>
                    <a:pt x="23" y="3"/>
                  </a:lnTo>
                  <a:lnTo>
                    <a:pt x="26" y="0"/>
                  </a:lnTo>
                  <a:lnTo>
                    <a:pt x="28" y="2"/>
                  </a:lnTo>
                  <a:lnTo>
                    <a:pt x="29" y="2"/>
                  </a:lnTo>
                  <a:lnTo>
                    <a:pt x="29" y="2"/>
                  </a:lnTo>
                  <a:lnTo>
                    <a:pt x="39" y="11"/>
                  </a:lnTo>
                  <a:lnTo>
                    <a:pt x="44" y="16"/>
                  </a:lnTo>
                  <a:lnTo>
                    <a:pt x="45" y="18"/>
                  </a:lnTo>
                  <a:lnTo>
                    <a:pt x="45" y="18"/>
                  </a:lnTo>
                  <a:lnTo>
                    <a:pt x="39" y="22"/>
                  </a:lnTo>
                  <a:lnTo>
                    <a:pt x="36" y="24"/>
                  </a:lnTo>
                  <a:lnTo>
                    <a:pt x="33"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21" name="Freeform 1504"/>
            <p:cNvSpPr>
              <a:spLocks/>
            </p:cNvSpPr>
            <p:nvPr/>
          </p:nvSpPr>
          <p:spPr bwMode="auto">
            <a:xfrm>
              <a:off x="4773613" y="2959529"/>
              <a:ext cx="26988" cy="46038"/>
            </a:xfrm>
            <a:custGeom>
              <a:avLst/>
              <a:gdLst>
                <a:gd name="T0" fmla="*/ 1 w 17"/>
                <a:gd name="T1" fmla="*/ 28 h 29"/>
                <a:gd name="T2" fmla="*/ 1 w 17"/>
                <a:gd name="T3" fmla="*/ 28 h 29"/>
                <a:gd name="T4" fmla="*/ 0 w 17"/>
                <a:gd name="T5" fmla="*/ 23 h 29"/>
                <a:gd name="T6" fmla="*/ 0 w 17"/>
                <a:gd name="T7" fmla="*/ 18 h 29"/>
                <a:gd name="T8" fmla="*/ 1 w 17"/>
                <a:gd name="T9" fmla="*/ 12 h 29"/>
                <a:gd name="T10" fmla="*/ 4 w 17"/>
                <a:gd name="T11" fmla="*/ 7 h 29"/>
                <a:gd name="T12" fmla="*/ 4 w 17"/>
                <a:gd name="T13" fmla="*/ 7 h 29"/>
                <a:gd name="T14" fmla="*/ 14 w 17"/>
                <a:gd name="T15" fmla="*/ 2 h 29"/>
                <a:gd name="T16" fmla="*/ 17 w 17"/>
                <a:gd name="T17" fmla="*/ 0 h 29"/>
                <a:gd name="T18" fmla="*/ 17 w 17"/>
                <a:gd name="T19" fmla="*/ 0 h 29"/>
                <a:gd name="T20" fmla="*/ 17 w 17"/>
                <a:gd name="T21" fmla="*/ 2 h 29"/>
                <a:gd name="T22" fmla="*/ 17 w 17"/>
                <a:gd name="T23" fmla="*/ 2 h 29"/>
                <a:gd name="T24" fmla="*/ 16 w 17"/>
                <a:gd name="T25" fmla="*/ 6 h 29"/>
                <a:gd name="T26" fmla="*/ 14 w 17"/>
                <a:gd name="T27" fmla="*/ 9 h 29"/>
                <a:gd name="T28" fmla="*/ 13 w 17"/>
                <a:gd name="T29" fmla="*/ 16 h 29"/>
                <a:gd name="T30" fmla="*/ 13 w 17"/>
                <a:gd name="T31" fmla="*/ 16 h 29"/>
                <a:gd name="T32" fmla="*/ 7 w 17"/>
                <a:gd name="T33" fmla="*/ 23 h 29"/>
                <a:gd name="T34" fmla="*/ 4 w 17"/>
                <a:gd name="T35" fmla="*/ 28 h 29"/>
                <a:gd name="T36" fmla="*/ 3 w 17"/>
                <a:gd name="T37" fmla="*/ 29 h 29"/>
                <a:gd name="T38" fmla="*/ 1 w 17"/>
                <a:gd name="T39"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 h="29">
                  <a:moveTo>
                    <a:pt x="1" y="28"/>
                  </a:moveTo>
                  <a:lnTo>
                    <a:pt x="1" y="28"/>
                  </a:lnTo>
                  <a:lnTo>
                    <a:pt x="0" y="23"/>
                  </a:lnTo>
                  <a:lnTo>
                    <a:pt x="0" y="18"/>
                  </a:lnTo>
                  <a:lnTo>
                    <a:pt x="1" y="12"/>
                  </a:lnTo>
                  <a:lnTo>
                    <a:pt x="4" y="7"/>
                  </a:lnTo>
                  <a:lnTo>
                    <a:pt x="4" y="7"/>
                  </a:lnTo>
                  <a:lnTo>
                    <a:pt x="14" y="2"/>
                  </a:lnTo>
                  <a:lnTo>
                    <a:pt x="17" y="0"/>
                  </a:lnTo>
                  <a:lnTo>
                    <a:pt x="17" y="0"/>
                  </a:lnTo>
                  <a:lnTo>
                    <a:pt x="17" y="2"/>
                  </a:lnTo>
                  <a:lnTo>
                    <a:pt x="17" y="2"/>
                  </a:lnTo>
                  <a:lnTo>
                    <a:pt x="16" y="6"/>
                  </a:lnTo>
                  <a:lnTo>
                    <a:pt x="14" y="9"/>
                  </a:lnTo>
                  <a:lnTo>
                    <a:pt x="13" y="16"/>
                  </a:lnTo>
                  <a:lnTo>
                    <a:pt x="13" y="16"/>
                  </a:lnTo>
                  <a:lnTo>
                    <a:pt x="7" y="23"/>
                  </a:lnTo>
                  <a:lnTo>
                    <a:pt x="4" y="28"/>
                  </a:lnTo>
                  <a:lnTo>
                    <a:pt x="3" y="29"/>
                  </a:lnTo>
                  <a:lnTo>
                    <a:pt x="1" y="28"/>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22" name="Freeform 1505"/>
            <p:cNvSpPr>
              <a:spLocks/>
            </p:cNvSpPr>
            <p:nvPr/>
          </p:nvSpPr>
          <p:spPr bwMode="auto">
            <a:xfrm>
              <a:off x="4773613" y="2959529"/>
              <a:ext cx="26988" cy="46038"/>
            </a:xfrm>
            <a:custGeom>
              <a:avLst/>
              <a:gdLst>
                <a:gd name="T0" fmla="*/ 1 w 17"/>
                <a:gd name="T1" fmla="*/ 28 h 29"/>
                <a:gd name="T2" fmla="*/ 1 w 17"/>
                <a:gd name="T3" fmla="*/ 28 h 29"/>
                <a:gd name="T4" fmla="*/ 0 w 17"/>
                <a:gd name="T5" fmla="*/ 23 h 29"/>
                <a:gd name="T6" fmla="*/ 0 w 17"/>
                <a:gd name="T7" fmla="*/ 18 h 29"/>
                <a:gd name="T8" fmla="*/ 1 w 17"/>
                <a:gd name="T9" fmla="*/ 12 h 29"/>
                <a:gd name="T10" fmla="*/ 4 w 17"/>
                <a:gd name="T11" fmla="*/ 7 h 29"/>
                <a:gd name="T12" fmla="*/ 4 w 17"/>
                <a:gd name="T13" fmla="*/ 7 h 29"/>
                <a:gd name="T14" fmla="*/ 14 w 17"/>
                <a:gd name="T15" fmla="*/ 2 h 29"/>
                <a:gd name="T16" fmla="*/ 17 w 17"/>
                <a:gd name="T17" fmla="*/ 0 h 29"/>
                <a:gd name="T18" fmla="*/ 17 w 17"/>
                <a:gd name="T19" fmla="*/ 0 h 29"/>
                <a:gd name="T20" fmla="*/ 17 w 17"/>
                <a:gd name="T21" fmla="*/ 2 h 29"/>
                <a:gd name="T22" fmla="*/ 17 w 17"/>
                <a:gd name="T23" fmla="*/ 2 h 29"/>
                <a:gd name="T24" fmla="*/ 16 w 17"/>
                <a:gd name="T25" fmla="*/ 6 h 29"/>
                <a:gd name="T26" fmla="*/ 14 w 17"/>
                <a:gd name="T27" fmla="*/ 9 h 29"/>
                <a:gd name="T28" fmla="*/ 13 w 17"/>
                <a:gd name="T29" fmla="*/ 16 h 29"/>
                <a:gd name="T30" fmla="*/ 13 w 17"/>
                <a:gd name="T31" fmla="*/ 16 h 29"/>
                <a:gd name="T32" fmla="*/ 7 w 17"/>
                <a:gd name="T33" fmla="*/ 23 h 29"/>
                <a:gd name="T34" fmla="*/ 4 w 17"/>
                <a:gd name="T35" fmla="*/ 28 h 29"/>
                <a:gd name="T36" fmla="*/ 3 w 17"/>
                <a:gd name="T37" fmla="*/ 29 h 29"/>
                <a:gd name="T38" fmla="*/ 1 w 17"/>
                <a:gd name="T39"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 h="29">
                  <a:moveTo>
                    <a:pt x="1" y="28"/>
                  </a:moveTo>
                  <a:lnTo>
                    <a:pt x="1" y="28"/>
                  </a:lnTo>
                  <a:lnTo>
                    <a:pt x="0" y="23"/>
                  </a:lnTo>
                  <a:lnTo>
                    <a:pt x="0" y="18"/>
                  </a:lnTo>
                  <a:lnTo>
                    <a:pt x="1" y="12"/>
                  </a:lnTo>
                  <a:lnTo>
                    <a:pt x="4" y="7"/>
                  </a:lnTo>
                  <a:lnTo>
                    <a:pt x="4" y="7"/>
                  </a:lnTo>
                  <a:lnTo>
                    <a:pt x="14" y="2"/>
                  </a:lnTo>
                  <a:lnTo>
                    <a:pt x="17" y="0"/>
                  </a:lnTo>
                  <a:lnTo>
                    <a:pt x="17" y="0"/>
                  </a:lnTo>
                  <a:lnTo>
                    <a:pt x="17" y="2"/>
                  </a:lnTo>
                  <a:lnTo>
                    <a:pt x="17" y="2"/>
                  </a:lnTo>
                  <a:lnTo>
                    <a:pt x="16" y="6"/>
                  </a:lnTo>
                  <a:lnTo>
                    <a:pt x="14" y="9"/>
                  </a:lnTo>
                  <a:lnTo>
                    <a:pt x="13" y="16"/>
                  </a:lnTo>
                  <a:lnTo>
                    <a:pt x="13" y="16"/>
                  </a:lnTo>
                  <a:lnTo>
                    <a:pt x="7" y="23"/>
                  </a:lnTo>
                  <a:lnTo>
                    <a:pt x="4" y="28"/>
                  </a:lnTo>
                  <a:lnTo>
                    <a:pt x="3" y="29"/>
                  </a:lnTo>
                  <a:lnTo>
                    <a:pt x="1" y="28"/>
                  </a:lnTo>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23" name="Freeform 1508"/>
            <p:cNvSpPr>
              <a:spLocks/>
            </p:cNvSpPr>
            <p:nvPr/>
          </p:nvSpPr>
          <p:spPr bwMode="auto">
            <a:xfrm>
              <a:off x="4873626" y="2902379"/>
              <a:ext cx="12700" cy="11113"/>
            </a:xfrm>
            <a:custGeom>
              <a:avLst/>
              <a:gdLst>
                <a:gd name="T0" fmla="*/ 2 w 8"/>
                <a:gd name="T1" fmla="*/ 7 h 7"/>
                <a:gd name="T2" fmla="*/ 2 w 8"/>
                <a:gd name="T3" fmla="*/ 7 h 7"/>
                <a:gd name="T4" fmla="*/ 0 w 8"/>
                <a:gd name="T5" fmla="*/ 6 h 7"/>
                <a:gd name="T6" fmla="*/ 0 w 8"/>
                <a:gd name="T7" fmla="*/ 4 h 7"/>
                <a:gd name="T8" fmla="*/ 5 w 8"/>
                <a:gd name="T9" fmla="*/ 0 h 7"/>
                <a:gd name="T10" fmla="*/ 5 w 8"/>
                <a:gd name="T11" fmla="*/ 0 h 7"/>
                <a:gd name="T12" fmla="*/ 6 w 8"/>
                <a:gd name="T13" fmla="*/ 1 h 7"/>
                <a:gd name="T14" fmla="*/ 8 w 8"/>
                <a:gd name="T15" fmla="*/ 3 h 7"/>
                <a:gd name="T16" fmla="*/ 6 w 8"/>
                <a:gd name="T17" fmla="*/ 6 h 7"/>
                <a:gd name="T18" fmla="*/ 2 w 8"/>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7">
                  <a:moveTo>
                    <a:pt x="2" y="7"/>
                  </a:moveTo>
                  <a:lnTo>
                    <a:pt x="2" y="7"/>
                  </a:lnTo>
                  <a:lnTo>
                    <a:pt x="0" y="6"/>
                  </a:lnTo>
                  <a:lnTo>
                    <a:pt x="0" y="4"/>
                  </a:lnTo>
                  <a:lnTo>
                    <a:pt x="5" y="0"/>
                  </a:lnTo>
                  <a:lnTo>
                    <a:pt x="5" y="0"/>
                  </a:lnTo>
                  <a:lnTo>
                    <a:pt x="6" y="1"/>
                  </a:lnTo>
                  <a:lnTo>
                    <a:pt x="8" y="3"/>
                  </a:lnTo>
                  <a:lnTo>
                    <a:pt x="6" y="6"/>
                  </a:lnTo>
                  <a:lnTo>
                    <a:pt x="2" y="7"/>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24" name="Freeform 1509"/>
            <p:cNvSpPr>
              <a:spLocks/>
            </p:cNvSpPr>
            <p:nvPr/>
          </p:nvSpPr>
          <p:spPr bwMode="auto">
            <a:xfrm>
              <a:off x="4873626" y="2902379"/>
              <a:ext cx="12700" cy="11113"/>
            </a:xfrm>
            <a:custGeom>
              <a:avLst/>
              <a:gdLst>
                <a:gd name="T0" fmla="*/ 2 w 8"/>
                <a:gd name="T1" fmla="*/ 7 h 7"/>
                <a:gd name="T2" fmla="*/ 2 w 8"/>
                <a:gd name="T3" fmla="*/ 7 h 7"/>
                <a:gd name="T4" fmla="*/ 0 w 8"/>
                <a:gd name="T5" fmla="*/ 6 h 7"/>
                <a:gd name="T6" fmla="*/ 0 w 8"/>
                <a:gd name="T7" fmla="*/ 4 h 7"/>
                <a:gd name="T8" fmla="*/ 5 w 8"/>
                <a:gd name="T9" fmla="*/ 0 h 7"/>
                <a:gd name="T10" fmla="*/ 5 w 8"/>
                <a:gd name="T11" fmla="*/ 0 h 7"/>
                <a:gd name="T12" fmla="*/ 6 w 8"/>
                <a:gd name="T13" fmla="*/ 1 h 7"/>
                <a:gd name="T14" fmla="*/ 8 w 8"/>
                <a:gd name="T15" fmla="*/ 3 h 7"/>
                <a:gd name="T16" fmla="*/ 6 w 8"/>
                <a:gd name="T17" fmla="*/ 6 h 7"/>
                <a:gd name="T18" fmla="*/ 2 w 8"/>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7">
                  <a:moveTo>
                    <a:pt x="2" y="7"/>
                  </a:moveTo>
                  <a:lnTo>
                    <a:pt x="2" y="7"/>
                  </a:lnTo>
                  <a:lnTo>
                    <a:pt x="0" y="6"/>
                  </a:lnTo>
                  <a:lnTo>
                    <a:pt x="0" y="4"/>
                  </a:lnTo>
                  <a:lnTo>
                    <a:pt x="5" y="0"/>
                  </a:lnTo>
                  <a:lnTo>
                    <a:pt x="5" y="0"/>
                  </a:lnTo>
                  <a:lnTo>
                    <a:pt x="6" y="1"/>
                  </a:lnTo>
                  <a:lnTo>
                    <a:pt x="8" y="3"/>
                  </a:lnTo>
                  <a:lnTo>
                    <a:pt x="6" y="6"/>
                  </a:lnTo>
                  <a:lnTo>
                    <a:pt x="2" y="7"/>
                  </a:lnTo>
                </a:path>
              </a:pathLst>
            </a:custGeom>
            <a:solidFill>
              <a:srgbClr val="92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25" name="Freeform 1510"/>
            <p:cNvSpPr>
              <a:spLocks/>
            </p:cNvSpPr>
            <p:nvPr/>
          </p:nvSpPr>
          <p:spPr bwMode="auto">
            <a:xfrm>
              <a:off x="5738813" y="5305854"/>
              <a:ext cx="14288" cy="12700"/>
            </a:xfrm>
            <a:custGeom>
              <a:avLst/>
              <a:gdLst>
                <a:gd name="T0" fmla="*/ 6 w 9"/>
                <a:gd name="T1" fmla="*/ 8 h 8"/>
                <a:gd name="T2" fmla="*/ 6 w 9"/>
                <a:gd name="T3" fmla="*/ 8 h 8"/>
                <a:gd name="T4" fmla="*/ 1 w 9"/>
                <a:gd name="T5" fmla="*/ 7 h 8"/>
                <a:gd name="T6" fmla="*/ 0 w 9"/>
                <a:gd name="T7" fmla="*/ 3 h 8"/>
                <a:gd name="T8" fmla="*/ 0 w 9"/>
                <a:gd name="T9" fmla="*/ 3 h 8"/>
                <a:gd name="T10" fmla="*/ 0 w 9"/>
                <a:gd name="T11" fmla="*/ 1 h 8"/>
                <a:gd name="T12" fmla="*/ 1 w 9"/>
                <a:gd name="T13" fmla="*/ 0 h 8"/>
                <a:gd name="T14" fmla="*/ 1 w 9"/>
                <a:gd name="T15" fmla="*/ 0 h 8"/>
                <a:gd name="T16" fmla="*/ 4 w 9"/>
                <a:gd name="T17" fmla="*/ 0 h 8"/>
                <a:gd name="T18" fmla="*/ 4 w 9"/>
                <a:gd name="T19" fmla="*/ 0 h 8"/>
                <a:gd name="T20" fmla="*/ 6 w 9"/>
                <a:gd name="T21" fmla="*/ 0 h 8"/>
                <a:gd name="T22" fmla="*/ 7 w 9"/>
                <a:gd name="T23" fmla="*/ 1 h 8"/>
                <a:gd name="T24" fmla="*/ 9 w 9"/>
                <a:gd name="T25" fmla="*/ 5 h 8"/>
                <a:gd name="T26" fmla="*/ 9 w 9"/>
                <a:gd name="T27" fmla="*/ 5 h 8"/>
                <a:gd name="T28" fmla="*/ 7 w 9"/>
                <a:gd name="T29" fmla="*/ 8 h 8"/>
                <a:gd name="T30" fmla="*/ 7 w 9"/>
                <a:gd name="T31" fmla="*/ 8 h 8"/>
                <a:gd name="T32" fmla="*/ 6 w 9"/>
                <a:gd name="T3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8">
                  <a:moveTo>
                    <a:pt x="6" y="8"/>
                  </a:moveTo>
                  <a:lnTo>
                    <a:pt x="6" y="8"/>
                  </a:lnTo>
                  <a:lnTo>
                    <a:pt x="1" y="7"/>
                  </a:lnTo>
                  <a:lnTo>
                    <a:pt x="0" y="3"/>
                  </a:lnTo>
                  <a:lnTo>
                    <a:pt x="0" y="3"/>
                  </a:lnTo>
                  <a:lnTo>
                    <a:pt x="0" y="1"/>
                  </a:lnTo>
                  <a:lnTo>
                    <a:pt x="1" y="0"/>
                  </a:lnTo>
                  <a:lnTo>
                    <a:pt x="1" y="0"/>
                  </a:lnTo>
                  <a:lnTo>
                    <a:pt x="4" y="0"/>
                  </a:lnTo>
                  <a:lnTo>
                    <a:pt x="4" y="0"/>
                  </a:lnTo>
                  <a:lnTo>
                    <a:pt x="6" y="0"/>
                  </a:lnTo>
                  <a:lnTo>
                    <a:pt x="7" y="1"/>
                  </a:lnTo>
                  <a:lnTo>
                    <a:pt x="9" y="5"/>
                  </a:lnTo>
                  <a:lnTo>
                    <a:pt x="9" y="5"/>
                  </a:lnTo>
                  <a:lnTo>
                    <a:pt x="7" y="8"/>
                  </a:lnTo>
                  <a:lnTo>
                    <a:pt x="7" y="8"/>
                  </a:lnTo>
                  <a:lnTo>
                    <a:pt x="6" y="8"/>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26" name="Freeform 1511"/>
            <p:cNvSpPr>
              <a:spLocks/>
            </p:cNvSpPr>
            <p:nvPr/>
          </p:nvSpPr>
          <p:spPr bwMode="auto">
            <a:xfrm>
              <a:off x="5738813" y="5305854"/>
              <a:ext cx="14288" cy="12700"/>
            </a:xfrm>
            <a:custGeom>
              <a:avLst/>
              <a:gdLst>
                <a:gd name="T0" fmla="*/ 6 w 9"/>
                <a:gd name="T1" fmla="*/ 8 h 8"/>
                <a:gd name="T2" fmla="*/ 6 w 9"/>
                <a:gd name="T3" fmla="*/ 8 h 8"/>
                <a:gd name="T4" fmla="*/ 1 w 9"/>
                <a:gd name="T5" fmla="*/ 7 h 8"/>
                <a:gd name="T6" fmla="*/ 0 w 9"/>
                <a:gd name="T7" fmla="*/ 3 h 8"/>
                <a:gd name="T8" fmla="*/ 0 w 9"/>
                <a:gd name="T9" fmla="*/ 3 h 8"/>
                <a:gd name="T10" fmla="*/ 0 w 9"/>
                <a:gd name="T11" fmla="*/ 1 h 8"/>
                <a:gd name="T12" fmla="*/ 1 w 9"/>
                <a:gd name="T13" fmla="*/ 0 h 8"/>
                <a:gd name="T14" fmla="*/ 1 w 9"/>
                <a:gd name="T15" fmla="*/ 0 h 8"/>
                <a:gd name="T16" fmla="*/ 4 w 9"/>
                <a:gd name="T17" fmla="*/ 0 h 8"/>
                <a:gd name="T18" fmla="*/ 4 w 9"/>
                <a:gd name="T19" fmla="*/ 0 h 8"/>
                <a:gd name="T20" fmla="*/ 6 w 9"/>
                <a:gd name="T21" fmla="*/ 0 h 8"/>
                <a:gd name="T22" fmla="*/ 7 w 9"/>
                <a:gd name="T23" fmla="*/ 1 h 8"/>
                <a:gd name="T24" fmla="*/ 9 w 9"/>
                <a:gd name="T25" fmla="*/ 5 h 8"/>
                <a:gd name="T26" fmla="*/ 9 w 9"/>
                <a:gd name="T27" fmla="*/ 5 h 8"/>
                <a:gd name="T28" fmla="*/ 7 w 9"/>
                <a:gd name="T29" fmla="*/ 8 h 8"/>
                <a:gd name="T30" fmla="*/ 7 w 9"/>
                <a:gd name="T31" fmla="*/ 8 h 8"/>
                <a:gd name="T32" fmla="*/ 6 w 9"/>
                <a:gd name="T3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8">
                  <a:moveTo>
                    <a:pt x="6" y="8"/>
                  </a:moveTo>
                  <a:lnTo>
                    <a:pt x="6" y="8"/>
                  </a:lnTo>
                  <a:lnTo>
                    <a:pt x="1" y="7"/>
                  </a:lnTo>
                  <a:lnTo>
                    <a:pt x="0" y="3"/>
                  </a:lnTo>
                  <a:lnTo>
                    <a:pt x="0" y="3"/>
                  </a:lnTo>
                  <a:lnTo>
                    <a:pt x="0" y="1"/>
                  </a:lnTo>
                  <a:lnTo>
                    <a:pt x="1" y="0"/>
                  </a:lnTo>
                  <a:lnTo>
                    <a:pt x="1" y="0"/>
                  </a:lnTo>
                  <a:lnTo>
                    <a:pt x="4" y="0"/>
                  </a:lnTo>
                  <a:lnTo>
                    <a:pt x="4" y="0"/>
                  </a:lnTo>
                  <a:lnTo>
                    <a:pt x="6" y="0"/>
                  </a:lnTo>
                  <a:lnTo>
                    <a:pt x="7" y="1"/>
                  </a:lnTo>
                  <a:lnTo>
                    <a:pt x="9" y="5"/>
                  </a:lnTo>
                  <a:lnTo>
                    <a:pt x="9" y="5"/>
                  </a:lnTo>
                  <a:lnTo>
                    <a:pt x="7" y="8"/>
                  </a:lnTo>
                  <a:lnTo>
                    <a:pt x="7" y="8"/>
                  </a:lnTo>
                  <a:lnTo>
                    <a:pt x="6"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27" name="Freeform 1512"/>
            <p:cNvSpPr>
              <a:spLocks/>
            </p:cNvSpPr>
            <p:nvPr/>
          </p:nvSpPr>
          <p:spPr bwMode="auto">
            <a:xfrm>
              <a:off x="9001126" y="5302679"/>
              <a:ext cx="11113" cy="9525"/>
            </a:xfrm>
            <a:custGeom>
              <a:avLst/>
              <a:gdLst>
                <a:gd name="T0" fmla="*/ 6 w 7"/>
                <a:gd name="T1" fmla="*/ 6 h 6"/>
                <a:gd name="T2" fmla="*/ 6 w 7"/>
                <a:gd name="T3" fmla="*/ 6 h 6"/>
                <a:gd name="T4" fmla="*/ 3 w 7"/>
                <a:gd name="T5" fmla="*/ 5 h 6"/>
                <a:gd name="T6" fmla="*/ 0 w 7"/>
                <a:gd name="T7" fmla="*/ 2 h 6"/>
                <a:gd name="T8" fmla="*/ 0 w 7"/>
                <a:gd name="T9" fmla="*/ 2 h 6"/>
                <a:gd name="T10" fmla="*/ 2 w 7"/>
                <a:gd name="T11" fmla="*/ 0 h 6"/>
                <a:gd name="T12" fmla="*/ 2 w 7"/>
                <a:gd name="T13" fmla="*/ 0 h 6"/>
                <a:gd name="T14" fmla="*/ 3 w 7"/>
                <a:gd name="T15" fmla="*/ 0 h 6"/>
                <a:gd name="T16" fmla="*/ 3 w 7"/>
                <a:gd name="T17" fmla="*/ 0 h 6"/>
                <a:gd name="T18" fmla="*/ 5 w 7"/>
                <a:gd name="T19" fmla="*/ 0 h 6"/>
                <a:gd name="T20" fmla="*/ 6 w 7"/>
                <a:gd name="T21" fmla="*/ 2 h 6"/>
                <a:gd name="T22" fmla="*/ 7 w 7"/>
                <a:gd name="T23" fmla="*/ 5 h 6"/>
                <a:gd name="T24" fmla="*/ 7 w 7"/>
                <a:gd name="T25" fmla="*/ 5 h 6"/>
                <a:gd name="T26" fmla="*/ 7 w 7"/>
                <a:gd name="T27" fmla="*/ 6 h 6"/>
                <a:gd name="T28" fmla="*/ 7 w 7"/>
                <a:gd name="T29" fmla="*/ 6 h 6"/>
                <a:gd name="T30" fmla="*/ 6 w 7"/>
                <a:gd name="T3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6">
                  <a:moveTo>
                    <a:pt x="6" y="6"/>
                  </a:moveTo>
                  <a:lnTo>
                    <a:pt x="6" y="6"/>
                  </a:lnTo>
                  <a:lnTo>
                    <a:pt x="3" y="5"/>
                  </a:lnTo>
                  <a:lnTo>
                    <a:pt x="0" y="2"/>
                  </a:lnTo>
                  <a:lnTo>
                    <a:pt x="0" y="2"/>
                  </a:lnTo>
                  <a:lnTo>
                    <a:pt x="2" y="0"/>
                  </a:lnTo>
                  <a:lnTo>
                    <a:pt x="2" y="0"/>
                  </a:lnTo>
                  <a:lnTo>
                    <a:pt x="3" y="0"/>
                  </a:lnTo>
                  <a:lnTo>
                    <a:pt x="3" y="0"/>
                  </a:lnTo>
                  <a:lnTo>
                    <a:pt x="5" y="0"/>
                  </a:lnTo>
                  <a:lnTo>
                    <a:pt x="6" y="2"/>
                  </a:lnTo>
                  <a:lnTo>
                    <a:pt x="7" y="5"/>
                  </a:lnTo>
                  <a:lnTo>
                    <a:pt x="7" y="5"/>
                  </a:lnTo>
                  <a:lnTo>
                    <a:pt x="7" y="6"/>
                  </a:lnTo>
                  <a:lnTo>
                    <a:pt x="7" y="6"/>
                  </a:lnTo>
                  <a:lnTo>
                    <a:pt x="6" y="6"/>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28" name="Freeform 1513"/>
            <p:cNvSpPr>
              <a:spLocks/>
            </p:cNvSpPr>
            <p:nvPr/>
          </p:nvSpPr>
          <p:spPr bwMode="auto">
            <a:xfrm>
              <a:off x="9001126" y="5302679"/>
              <a:ext cx="11113" cy="9525"/>
            </a:xfrm>
            <a:custGeom>
              <a:avLst/>
              <a:gdLst>
                <a:gd name="T0" fmla="*/ 6 w 7"/>
                <a:gd name="T1" fmla="*/ 6 h 6"/>
                <a:gd name="T2" fmla="*/ 6 w 7"/>
                <a:gd name="T3" fmla="*/ 6 h 6"/>
                <a:gd name="T4" fmla="*/ 3 w 7"/>
                <a:gd name="T5" fmla="*/ 5 h 6"/>
                <a:gd name="T6" fmla="*/ 0 w 7"/>
                <a:gd name="T7" fmla="*/ 2 h 6"/>
                <a:gd name="T8" fmla="*/ 0 w 7"/>
                <a:gd name="T9" fmla="*/ 2 h 6"/>
                <a:gd name="T10" fmla="*/ 2 w 7"/>
                <a:gd name="T11" fmla="*/ 0 h 6"/>
                <a:gd name="T12" fmla="*/ 2 w 7"/>
                <a:gd name="T13" fmla="*/ 0 h 6"/>
                <a:gd name="T14" fmla="*/ 3 w 7"/>
                <a:gd name="T15" fmla="*/ 0 h 6"/>
                <a:gd name="T16" fmla="*/ 3 w 7"/>
                <a:gd name="T17" fmla="*/ 0 h 6"/>
                <a:gd name="T18" fmla="*/ 5 w 7"/>
                <a:gd name="T19" fmla="*/ 0 h 6"/>
                <a:gd name="T20" fmla="*/ 6 w 7"/>
                <a:gd name="T21" fmla="*/ 2 h 6"/>
                <a:gd name="T22" fmla="*/ 7 w 7"/>
                <a:gd name="T23" fmla="*/ 5 h 6"/>
                <a:gd name="T24" fmla="*/ 7 w 7"/>
                <a:gd name="T25" fmla="*/ 5 h 6"/>
                <a:gd name="T26" fmla="*/ 7 w 7"/>
                <a:gd name="T27" fmla="*/ 6 h 6"/>
                <a:gd name="T28" fmla="*/ 7 w 7"/>
                <a:gd name="T29" fmla="*/ 6 h 6"/>
                <a:gd name="T30" fmla="*/ 6 w 7"/>
                <a:gd name="T3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6">
                  <a:moveTo>
                    <a:pt x="6" y="6"/>
                  </a:moveTo>
                  <a:lnTo>
                    <a:pt x="6" y="6"/>
                  </a:lnTo>
                  <a:lnTo>
                    <a:pt x="3" y="5"/>
                  </a:lnTo>
                  <a:lnTo>
                    <a:pt x="0" y="2"/>
                  </a:lnTo>
                  <a:lnTo>
                    <a:pt x="0" y="2"/>
                  </a:lnTo>
                  <a:lnTo>
                    <a:pt x="2" y="0"/>
                  </a:lnTo>
                  <a:lnTo>
                    <a:pt x="2" y="0"/>
                  </a:lnTo>
                  <a:lnTo>
                    <a:pt x="3" y="0"/>
                  </a:lnTo>
                  <a:lnTo>
                    <a:pt x="3" y="0"/>
                  </a:lnTo>
                  <a:lnTo>
                    <a:pt x="5" y="0"/>
                  </a:lnTo>
                  <a:lnTo>
                    <a:pt x="6" y="2"/>
                  </a:lnTo>
                  <a:lnTo>
                    <a:pt x="7" y="5"/>
                  </a:lnTo>
                  <a:lnTo>
                    <a:pt x="7" y="5"/>
                  </a:lnTo>
                  <a:lnTo>
                    <a:pt x="7" y="6"/>
                  </a:lnTo>
                  <a:lnTo>
                    <a:pt x="7" y="6"/>
                  </a:lnTo>
                  <a:lnTo>
                    <a:pt x="6"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29" name="Freeform 1540"/>
            <p:cNvSpPr>
              <a:spLocks/>
            </p:cNvSpPr>
            <p:nvPr/>
          </p:nvSpPr>
          <p:spPr bwMode="auto">
            <a:xfrm>
              <a:off x="4681538" y="3789792"/>
              <a:ext cx="11113" cy="9525"/>
            </a:xfrm>
            <a:custGeom>
              <a:avLst/>
              <a:gdLst>
                <a:gd name="T0" fmla="*/ 7 w 7"/>
                <a:gd name="T1" fmla="*/ 3 h 6"/>
                <a:gd name="T2" fmla="*/ 7 w 7"/>
                <a:gd name="T3" fmla="*/ 3 h 6"/>
                <a:gd name="T4" fmla="*/ 7 w 7"/>
                <a:gd name="T5" fmla="*/ 4 h 6"/>
                <a:gd name="T6" fmla="*/ 4 w 7"/>
                <a:gd name="T7" fmla="*/ 6 h 6"/>
                <a:gd name="T8" fmla="*/ 1 w 7"/>
                <a:gd name="T9" fmla="*/ 4 h 6"/>
                <a:gd name="T10" fmla="*/ 0 w 7"/>
                <a:gd name="T11" fmla="*/ 3 h 6"/>
                <a:gd name="T12" fmla="*/ 0 w 7"/>
                <a:gd name="T13" fmla="*/ 3 h 6"/>
                <a:gd name="T14" fmla="*/ 0 w 7"/>
                <a:gd name="T15" fmla="*/ 2 h 6"/>
                <a:gd name="T16" fmla="*/ 1 w 7"/>
                <a:gd name="T17" fmla="*/ 0 h 6"/>
                <a:gd name="T18" fmla="*/ 4 w 7"/>
                <a:gd name="T19" fmla="*/ 2 h 6"/>
                <a:gd name="T20" fmla="*/ 7 w 7"/>
                <a:gd name="T2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6">
                  <a:moveTo>
                    <a:pt x="7" y="3"/>
                  </a:moveTo>
                  <a:lnTo>
                    <a:pt x="7" y="3"/>
                  </a:lnTo>
                  <a:lnTo>
                    <a:pt x="7" y="4"/>
                  </a:lnTo>
                  <a:lnTo>
                    <a:pt x="4" y="6"/>
                  </a:lnTo>
                  <a:lnTo>
                    <a:pt x="1" y="4"/>
                  </a:lnTo>
                  <a:lnTo>
                    <a:pt x="0" y="3"/>
                  </a:lnTo>
                  <a:lnTo>
                    <a:pt x="0" y="3"/>
                  </a:lnTo>
                  <a:lnTo>
                    <a:pt x="0" y="2"/>
                  </a:lnTo>
                  <a:lnTo>
                    <a:pt x="1" y="0"/>
                  </a:lnTo>
                  <a:lnTo>
                    <a:pt x="4" y="2"/>
                  </a:lnTo>
                  <a:lnTo>
                    <a:pt x="7" y="3"/>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30" name="Freeform 1541"/>
            <p:cNvSpPr>
              <a:spLocks/>
            </p:cNvSpPr>
            <p:nvPr/>
          </p:nvSpPr>
          <p:spPr bwMode="auto">
            <a:xfrm>
              <a:off x="4681538" y="3789792"/>
              <a:ext cx="11113" cy="9525"/>
            </a:xfrm>
            <a:custGeom>
              <a:avLst/>
              <a:gdLst>
                <a:gd name="T0" fmla="*/ 7 w 7"/>
                <a:gd name="T1" fmla="*/ 3 h 6"/>
                <a:gd name="T2" fmla="*/ 7 w 7"/>
                <a:gd name="T3" fmla="*/ 3 h 6"/>
                <a:gd name="T4" fmla="*/ 7 w 7"/>
                <a:gd name="T5" fmla="*/ 4 h 6"/>
                <a:gd name="T6" fmla="*/ 4 w 7"/>
                <a:gd name="T7" fmla="*/ 6 h 6"/>
                <a:gd name="T8" fmla="*/ 1 w 7"/>
                <a:gd name="T9" fmla="*/ 4 h 6"/>
                <a:gd name="T10" fmla="*/ 0 w 7"/>
                <a:gd name="T11" fmla="*/ 3 h 6"/>
                <a:gd name="T12" fmla="*/ 0 w 7"/>
                <a:gd name="T13" fmla="*/ 3 h 6"/>
                <a:gd name="T14" fmla="*/ 0 w 7"/>
                <a:gd name="T15" fmla="*/ 2 h 6"/>
                <a:gd name="T16" fmla="*/ 1 w 7"/>
                <a:gd name="T17" fmla="*/ 0 h 6"/>
                <a:gd name="T18" fmla="*/ 4 w 7"/>
                <a:gd name="T19" fmla="*/ 2 h 6"/>
                <a:gd name="T20" fmla="*/ 7 w 7"/>
                <a:gd name="T2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6">
                  <a:moveTo>
                    <a:pt x="7" y="3"/>
                  </a:moveTo>
                  <a:lnTo>
                    <a:pt x="7" y="3"/>
                  </a:lnTo>
                  <a:lnTo>
                    <a:pt x="7" y="4"/>
                  </a:lnTo>
                  <a:lnTo>
                    <a:pt x="4" y="6"/>
                  </a:lnTo>
                  <a:lnTo>
                    <a:pt x="1" y="4"/>
                  </a:lnTo>
                  <a:lnTo>
                    <a:pt x="0" y="3"/>
                  </a:lnTo>
                  <a:lnTo>
                    <a:pt x="0" y="3"/>
                  </a:lnTo>
                  <a:lnTo>
                    <a:pt x="0" y="2"/>
                  </a:lnTo>
                  <a:lnTo>
                    <a:pt x="1" y="0"/>
                  </a:lnTo>
                  <a:lnTo>
                    <a:pt x="4" y="2"/>
                  </a:lnTo>
                  <a:lnTo>
                    <a:pt x="7" y="3"/>
                  </a:lnTo>
                </a:path>
              </a:pathLst>
            </a:custGeom>
            <a:solidFill>
              <a:srgbClr val="81B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31" name="Freeform 1542"/>
            <p:cNvSpPr>
              <a:spLocks/>
            </p:cNvSpPr>
            <p:nvPr/>
          </p:nvSpPr>
          <p:spPr bwMode="auto">
            <a:xfrm>
              <a:off x="4537075" y="4686729"/>
              <a:ext cx="7938" cy="9525"/>
            </a:xfrm>
            <a:custGeom>
              <a:avLst/>
              <a:gdLst>
                <a:gd name="T0" fmla="*/ 4 w 5"/>
                <a:gd name="T1" fmla="*/ 4 h 6"/>
                <a:gd name="T2" fmla="*/ 4 w 5"/>
                <a:gd name="T3" fmla="*/ 4 h 6"/>
                <a:gd name="T4" fmla="*/ 2 w 5"/>
                <a:gd name="T5" fmla="*/ 6 h 6"/>
                <a:gd name="T6" fmla="*/ 0 w 5"/>
                <a:gd name="T7" fmla="*/ 4 h 6"/>
                <a:gd name="T8" fmla="*/ 0 w 5"/>
                <a:gd name="T9" fmla="*/ 1 h 6"/>
                <a:gd name="T10" fmla="*/ 1 w 5"/>
                <a:gd name="T11" fmla="*/ 0 h 6"/>
                <a:gd name="T12" fmla="*/ 1 w 5"/>
                <a:gd name="T13" fmla="*/ 0 h 6"/>
                <a:gd name="T14" fmla="*/ 4 w 5"/>
                <a:gd name="T15" fmla="*/ 0 h 6"/>
                <a:gd name="T16" fmla="*/ 5 w 5"/>
                <a:gd name="T17" fmla="*/ 1 h 6"/>
                <a:gd name="T18" fmla="*/ 4 w 5"/>
                <a:gd name="T1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4" y="4"/>
                  </a:moveTo>
                  <a:lnTo>
                    <a:pt x="4" y="4"/>
                  </a:lnTo>
                  <a:lnTo>
                    <a:pt x="2" y="6"/>
                  </a:lnTo>
                  <a:lnTo>
                    <a:pt x="0" y="4"/>
                  </a:lnTo>
                  <a:lnTo>
                    <a:pt x="0" y="1"/>
                  </a:lnTo>
                  <a:lnTo>
                    <a:pt x="1" y="0"/>
                  </a:lnTo>
                  <a:lnTo>
                    <a:pt x="1" y="0"/>
                  </a:lnTo>
                  <a:lnTo>
                    <a:pt x="4" y="0"/>
                  </a:lnTo>
                  <a:lnTo>
                    <a:pt x="5" y="1"/>
                  </a:lnTo>
                  <a:lnTo>
                    <a:pt x="4" y="4"/>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32" name="Freeform 1543"/>
            <p:cNvSpPr>
              <a:spLocks/>
            </p:cNvSpPr>
            <p:nvPr/>
          </p:nvSpPr>
          <p:spPr bwMode="auto">
            <a:xfrm>
              <a:off x="4537075" y="4686729"/>
              <a:ext cx="7938" cy="9525"/>
            </a:xfrm>
            <a:custGeom>
              <a:avLst/>
              <a:gdLst>
                <a:gd name="T0" fmla="*/ 4 w 5"/>
                <a:gd name="T1" fmla="*/ 4 h 6"/>
                <a:gd name="T2" fmla="*/ 4 w 5"/>
                <a:gd name="T3" fmla="*/ 4 h 6"/>
                <a:gd name="T4" fmla="*/ 2 w 5"/>
                <a:gd name="T5" fmla="*/ 6 h 6"/>
                <a:gd name="T6" fmla="*/ 0 w 5"/>
                <a:gd name="T7" fmla="*/ 4 h 6"/>
                <a:gd name="T8" fmla="*/ 0 w 5"/>
                <a:gd name="T9" fmla="*/ 1 h 6"/>
                <a:gd name="T10" fmla="*/ 1 w 5"/>
                <a:gd name="T11" fmla="*/ 0 h 6"/>
                <a:gd name="T12" fmla="*/ 1 w 5"/>
                <a:gd name="T13" fmla="*/ 0 h 6"/>
                <a:gd name="T14" fmla="*/ 4 w 5"/>
                <a:gd name="T15" fmla="*/ 0 h 6"/>
                <a:gd name="T16" fmla="*/ 5 w 5"/>
                <a:gd name="T17" fmla="*/ 1 h 6"/>
                <a:gd name="T18" fmla="*/ 4 w 5"/>
                <a:gd name="T1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4" y="4"/>
                  </a:moveTo>
                  <a:lnTo>
                    <a:pt x="4" y="4"/>
                  </a:lnTo>
                  <a:lnTo>
                    <a:pt x="2" y="6"/>
                  </a:lnTo>
                  <a:lnTo>
                    <a:pt x="0" y="4"/>
                  </a:lnTo>
                  <a:lnTo>
                    <a:pt x="0" y="1"/>
                  </a:lnTo>
                  <a:lnTo>
                    <a:pt x="1" y="0"/>
                  </a:lnTo>
                  <a:lnTo>
                    <a:pt x="1" y="0"/>
                  </a:lnTo>
                  <a:lnTo>
                    <a:pt x="4" y="0"/>
                  </a:lnTo>
                  <a:lnTo>
                    <a:pt x="5" y="1"/>
                  </a:lnTo>
                  <a:lnTo>
                    <a:pt x="4" y="4"/>
                  </a:lnTo>
                </a:path>
              </a:pathLst>
            </a:custGeom>
            <a:solidFill>
              <a:srgbClr val="92D400"/>
            </a:solidFill>
            <a:ln w="9525">
              <a:noFill/>
              <a:round/>
              <a:headEnd/>
              <a:tailEnd/>
            </a:ln>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33" name="Freeform 1544"/>
            <p:cNvSpPr>
              <a:spLocks/>
            </p:cNvSpPr>
            <p:nvPr/>
          </p:nvSpPr>
          <p:spPr bwMode="auto">
            <a:xfrm>
              <a:off x="5738813" y="4870879"/>
              <a:ext cx="11113" cy="6350"/>
            </a:xfrm>
            <a:custGeom>
              <a:avLst/>
              <a:gdLst>
                <a:gd name="T0" fmla="*/ 4 w 7"/>
                <a:gd name="T1" fmla="*/ 4 h 4"/>
                <a:gd name="T2" fmla="*/ 4 w 7"/>
                <a:gd name="T3" fmla="*/ 4 h 4"/>
                <a:gd name="T4" fmla="*/ 1 w 7"/>
                <a:gd name="T5" fmla="*/ 4 h 4"/>
                <a:gd name="T6" fmla="*/ 0 w 7"/>
                <a:gd name="T7" fmla="*/ 3 h 4"/>
                <a:gd name="T8" fmla="*/ 0 w 7"/>
                <a:gd name="T9" fmla="*/ 3 h 4"/>
                <a:gd name="T10" fmla="*/ 0 w 7"/>
                <a:gd name="T11" fmla="*/ 1 h 4"/>
                <a:gd name="T12" fmla="*/ 1 w 7"/>
                <a:gd name="T13" fmla="*/ 0 h 4"/>
                <a:gd name="T14" fmla="*/ 1 w 7"/>
                <a:gd name="T15" fmla="*/ 0 h 4"/>
                <a:gd name="T16" fmla="*/ 4 w 7"/>
                <a:gd name="T17" fmla="*/ 0 h 4"/>
                <a:gd name="T18" fmla="*/ 4 w 7"/>
                <a:gd name="T19" fmla="*/ 0 h 4"/>
                <a:gd name="T20" fmla="*/ 6 w 7"/>
                <a:gd name="T21" fmla="*/ 0 h 4"/>
                <a:gd name="T22" fmla="*/ 7 w 7"/>
                <a:gd name="T23" fmla="*/ 1 h 4"/>
                <a:gd name="T24" fmla="*/ 7 w 7"/>
                <a:gd name="T25" fmla="*/ 1 h 4"/>
                <a:gd name="T26" fmla="*/ 6 w 7"/>
                <a:gd name="T27" fmla="*/ 4 h 4"/>
                <a:gd name="T28" fmla="*/ 6 w 7"/>
                <a:gd name="T29" fmla="*/ 4 h 4"/>
                <a:gd name="T30" fmla="*/ 4 w 7"/>
                <a:gd name="T3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4">
                  <a:moveTo>
                    <a:pt x="4" y="4"/>
                  </a:moveTo>
                  <a:lnTo>
                    <a:pt x="4" y="4"/>
                  </a:lnTo>
                  <a:lnTo>
                    <a:pt x="1" y="4"/>
                  </a:lnTo>
                  <a:lnTo>
                    <a:pt x="0" y="3"/>
                  </a:lnTo>
                  <a:lnTo>
                    <a:pt x="0" y="3"/>
                  </a:lnTo>
                  <a:lnTo>
                    <a:pt x="0" y="1"/>
                  </a:lnTo>
                  <a:lnTo>
                    <a:pt x="1" y="0"/>
                  </a:lnTo>
                  <a:lnTo>
                    <a:pt x="1" y="0"/>
                  </a:lnTo>
                  <a:lnTo>
                    <a:pt x="4" y="0"/>
                  </a:lnTo>
                  <a:lnTo>
                    <a:pt x="4" y="0"/>
                  </a:lnTo>
                  <a:lnTo>
                    <a:pt x="6" y="0"/>
                  </a:lnTo>
                  <a:lnTo>
                    <a:pt x="7" y="1"/>
                  </a:lnTo>
                  <a:lnTo>
                    <a:pt x="7" y="1"/>
                  </a:lnTo>
                  <a:lnTo>
                    <a:pt x="6" y="4"/>
                  </a:lnTo>
                  <a:lnTo>
                    <a:pt x="6" y="4"/>
                  </a:lnTo>
                  <a:lnTo>
                    <a:pt x="4" y="4"/>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34" name="Freeform 1545"/>
            <p:cNvSpPr>
              <a:spLocks/>
            </p:cNvSpPr>
            <p:nvPr/>
          </p:nvSpPr>
          <p:spPr bwMode="auto">
            <a:xfrm>
              <a:off x="5738813" y="4870879"/>
              <a:ext cx="11113" cy="6350"/>
            </a:xfrm>
            <a:custGeom>
              <a:avLst/>
              <a:gdLst>
                <a:gd name="T0" fmla="*/ 4 w 7"/>
                <a:gd name="T1" fmla="*/ 4 h 4"/>
                <a:gd name="T2" fmla="*/ 4 w 7"/>
                <a:gd name="T3" fmla="*/ 4 h 4"/>
                <a:gd name="T4" fmla="*/ 1 w 7"/>
                <a:gd name="T5" fmla="*/ 4 h 4"/>
                <a:gd name="T6" fmla="*/ 0 w 7"/>
                <a:gd name="T7" fmla="*/ 3 h 4"/>
                <a:gd name="T8" fmla="*/ 0 w 7"/>
                <a:gd name="T9" fmla="*/ 3 h 4"/>
                <a:gd name="T10" fmla="*/ 0 w 7"/>
                <a:gd name="T11" fmla="*/ 1 h 4"/>
                <a:gd name="T12" fmla="*/ 1 w 7"/>
                <a:gd name="T13" fmla="*/ 0 h 4"/>
                <a:gd name="T14" fmla="*/ 1 w 7"/>
                <a:gd name="T15" fmla="*/ 0 h 4"/>
                <a:gd name="T16" fmla="*/ 4 w 7"/>
                <a:gd name="T17" fmla="*/ 0 h 4"/>
                <a:gd name="T18" fmla="*/ 4 w 7"/>
                <a:gd name="T19" fmla="*/ 0 h 4"/>
                <a:gd name="T20" fmla="*/ 6 w 7"/>
                <a:gd name="T21" fmla="*/ 0 h 4"/>
                <a:gd name="T22" fmla="*/ 7 w 7"/>
                <a:gd name="T23" fmla="*/ 1 h 4"/>
                <a:gd name="T24" fmla="*/ 7 w 7"/>
                <a:gd name="T25" fmla="*/ 1 h 4"/>
                <a:gd name="T26" fmla="*/ 6 w 7"/>
                <a:gd name="T27" fmla="*/ 4 h 4"/>
                <a:gd name="T28" fmla="*/ 6 w 7"/>
                <a:gd name="T29" fmla="*/ 4 h 4"/>
                <a:gd name="T30" fmla="*/ 4 w 7"/>
                <a:gd name="T3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4">
                  <a:moveTo>
                    <a:pt x="4" y="4"/>
                  </a:moveTo>
                  <a:lnTo>
                    <a:pt x="4" y="4"/>
                  </a:lnTo>
                  <a:lnTo>
                    <a:pt x="1" y="4"/>
                  </a:lnTo>
                  <a:lnTo>
                    <a:pt x="0" y="3"/>
                  </a:lnTo>
                  <a:lnTo>
                    <a:pt x="0" y="3"/>
                  </a:lnTo>
                  <a:lnTo>
                    <a:pt x="0" y="1"/>
                  </a:lnTo>
                  <a:lnTo>
                    <a:pt x="1" y="0"/>
                  </a:lnTo>
                  <a:lnTo>
                    <a:pt x="1" y="0"/>
                  </a:lnTo>
                  <a:lnTo>
                    <a:pt x="4" y="0"/>
                  </a:lnTo>
                  <a:lnTo>
                    <a:pt x="4" y="0"/>
                  </a:lnTo>
                  <a:lnTo>
                    <a:pt x="6" y="0"/>
                  </a:lnTo>
                  <a:lnTo>
                    <a:pt x="7" y="1"/>
                  </a:lnTo>
                  <a:lnTo>
                    <a:pt x="7" y="1"/>
                  </a:lnTo>
                  <a:lnTo>
                    <a:pt x="6" y="4"/>
                  </a:lnTo>
                  <a:lnTo>
                    <a:pt x="6" y="4"/>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35" name="Freeform 1546"/>
            <p:cNvSpPr>
              <a:spLocks/>
            </p:cNvSpPr>
            <p:nvPr/>
          </p:nvSpPr>
          <p:spPr bwMode="auto">
            <a:xfrm>
              <a:off x="6178551" y="4667679"/>
              <a:ext cx="12700" cy="9525"/>
            </a:xfrm>
            <a:custGeom>
              <a:avLst/>
              <a:gdLst>
                <a:gd name="T0" fmla="*/ 3 w 8"/>
                <a:gd name="T1" fmla="*/ 6 h 6"/>
                <a:gd name="T2" fmla="*/ 3 w 8"/>
                <a:gd name="T3" fmla="*/ 6 h 6"/>
                <a:gd name="T4" fmla="*/ 0 w 8"/>
                <a:gd name="T5" fmla="*/ 5 h 6"/>
                <a:gd name="T6" fmla="*/ 0 w 8"/>
                <a:gd name="T7" fmla="*/ 3 h 6"/>
                <a:gd name="T8" fmla="*/ 0 w 8"/>
                <a:gd name="T9" fmla="*/ 3 h 6"/>
                <a:gd name="T10" fmla="*/ 1 w 8"/>
                <a:gd name="T11" fmla="*/ 2 h 6"/>
                <a:gd name="T12" fmla="*/ 3 w 8"/>
                <a:gd name="T13" fmla="*/ 0 h 6"/>
                <a:gd name="T14" fmla="*/ 3 w 8"/>
                <a:gd name="T15" fmla="*/ 0 h 6"/>
                <a:gd name="T16" fmla="*/ 5 w 8"/>
                <a:gd name="T17" fmla="*/ 0 h 6"/>
                <a:gd name="T18" fmla="*/ 5 w 8"/>
                <a:gd name="T19" fmla="*/ 0 h 6"/>
                <a:gd name="T20" fmla="*/ 7 w 8"/>
                <a:gd name="T21" fmla="*/ 0 h 6"/>
                <a:gd name="T22" fmla="*/ 8 w 8"/>
                <a:gd name="T23" fmla="*/ 2 h 6"/>
                <a:gd name="T24" fmla="*/ 8 w 8"/>
                <a:gd name="T25" fmla="*/ 2 h 6"/>
                <a:gd name="T26" fmla="*/ 8 w 8"/>
                <a:gd name="T27" fmla="*/ 3 h 6"/>
                <a:gd name="T28" fmla="*/ 5 w 8"/>
                <a:gd name="T29" fmla="*/ 5 h 6"/>
                <a:gd name="T30" fmla="*/ 5 w 8"/>
                <a:gd name="T31" fmla="*/ 5 h 6"/>
                <a:gd name="T32" fmla="*/ 3 w 8"/>
                <a:gd name="T3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3" y="6"/>
                  </a:moveTo>
                  <a:lnTo>
                    <a:pt x="3" y="6"/>
                  </a:lnTo>
                  <a:lnTo>
                    <a:pt x="0" y="5"/>
                  </a:lnTo>
                  <a:lnTo>
                    <a:pt x="0" y="3"/>
                  </a:lnTo>
                  <a:lnTo>
                    <a:pt x="0" y="3"/>
                  </a:lnTo>
                  <a:lnTo>
                    <a:pt x="1" y="2"/>
                  </a:lnTo>
                  <a:lnTo>
                    <a:pt x="3" y="0"/>
                  </a:lnTo>
                  <a:lnTo>
                    <a:pt x="3" y="0"/>
                  </a:lnTo>
                  <a:lnTo>
                    <a:pt x="5" y="0"/>
                  </a:lnTo>
                  <a:lnTo>
                    <a:pt x="5" y="0"/>
                  </a:lnTo>
                  <a:lnTo>
                    <a:pt x="7" y="0"/>
                  </a:lnTo>
                  <a:lnTo>
                    <a:pt x="8" y="2"/>
                  </a:lnTo>
                  <a:lnTo>
                    <a:pt x="8" y="2"/>
                  </a:lnTo>
                  <a:lnTo>
                    <a:pt x="8" y="3"/>
                  </a:lnTo>
                  <a:lnTo>
                    <a:pt x="5" y="5"/>
                  </a:lnTo>
                  <a:lnTo>
                    <a:pt x="5" y="5"/>
                  </a:lnTo>
                  <a:lnTo>
                    <a:pt x="3" y="6"/>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36" name="Freeform 1547"/>
            <p:cNvSpPr>
              <a:spLocks/>
            </p:cNvSpPr>
            <p:nvPr/>
          </p:nvSpPr>
          <p:spPr bwMode="auto">
            <a:xfrm>
              <a:off x="6178551" y="4667679"/>
              <a:ext cx="12700" cy="9525"/>
            </a:xfrm>
            <a:custGeom>
              <a:avLst/>
              <a:gdLst>
                <a:gd name="T0" fmla="*/ 3 w 8"/>
                <a:gd name="T1" fmla="*/ 6 h 6"/>
                <a:gd name="T2" fmla="*/ 3 w 8"/>
                <a:gd name="T3" fmla="*/ 6 h 6"/>
                <a:gd name="T4" fmla="*/ 0 w 8"/>
                <a:gd name="T5" fmla="*/ 5 h 6"/>
                <a:gd name="T6" fmla="*/ 0 w 8"/>
                <a:gd name="T7" fmla="*/ 3 h 6"/>
                <a:gd name="T8" fmla="*/ 0 w 8"/>
                <a:gd name="T9" fmla="*/ 3 h 6"/>
                <a:gd name="T10" fmla="*/ 1 w 8"/>
                <a:gd name="T11" fmla="*/ 2 h 6"/>
                <a:gd name="T12" fmla="*/ 3 w 8"/>
                <a:gd name="T13" fmla="*/ 0 h 6"/>
                <a:gd name="T14" fmla="*/ 3 w 8"/>
                <a:gd name="T15" fmla="*/ 0 h 6"/>
                <a:gd name="T16" fmla="*/ 5 w 8"/>
                <a:gd name="T17" fmla="*/ 0 h 6"/>
                <a:gd name="T18" fmla="*/ 5 w 8"/>
                <a:gd name="T19" fmla="*/ 0 h 6"/>
                <a:gd name="T20" fmla="*/ 7 w 8"/>
                <a:gd name="T21" fmla="*/ 0 h 6"/>
                <a:gd name="T22" fmla="*/ 8 w 8"/>
                <a:gd name="T23" fmla="*/ 2 h 6"/>
                <a:gd name="T24" fmla="*/ 8 w 8"/>
                <a:gd name="T25" fmla="*/ 2 h 6"/>
                <a:gd name="T26" fmla="*/ 8 w 8"/>
                <a:gd name="T27" fmla="*/ 3 h 6"/>
                <a:gd name="T28" fmla="*/ 5 w 8"/>
                <a:gd name="T29" fmla="*/ 5 h 6"/>
                <a:gd name="T30" fmla="*/ 5 w 8"/>
                <a:gd name="T31" fmla="*/ 5 h 6"/>
                <a:gd name="T32" fmla="*/ 3 w 8"/>
                <a:gd name="T3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3" y="6"/>
                  </a:moveTo>
                  <a:lnTo>
                    <a:pt x="3" y="6"/>
                  </a:lnTo>
                  <a:lnTo>
                    <a:pt x="0" y="5"/>
                  </a:lnTo>
                  <a:lnTo>
                    <a:pt x="0" y="3"/>
                  </a:lnTo>
                  <a:lnTo>
                    <a:pt x="0" y="3"/>
                  </a:lnTo>
                  <a:lnTo>
                    <a:pt x="1" y="2"/>
                  </a:lnTo>
                  <a:lnTo>
                    <a:pt x="3" y="0"/>
                  </a:lnTo>
                  <a:lnTo>
                    <a:pt x="3" y="0"/>
                  </a:lnTo>
                  <a:lnTo>
                    <a:pt x="5" y="0"/>
                  </a:lnTo>
                  <a:lnTo>
                    <a:pt x="5" y="0"/>
                  </a:lnTo>
                  <a:lnTo>
                    <a:pt x="7" y="0"/>
                  </a:lnTo>
                  <a:lnTo>
                    <a:pt x="8" y="2"/>
                  </a:lnTo>
                  <a:lnTo>
                    <a:pt x="8" y="2"/>
                  </a:lnTo>
                  <a:lnTo>
                    <a:pt x="8" y="3"/>
                  </a:lnTo>
                  <a:lnTo>
                    <a:pt x="5" y="5"/>
                  </a:lnTo>
                  <a:lnTo>
                    <a:pt x="5" y="5"/>
                  </a:lnTo>
                  <a:lnTo>
                    <a:pt x="3"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37" name="Freeform 1548"/>
            <p:cNvSpPr>
              <a:spLocks/>
            </p:cNvSpPr>
            <p:nvPr/>
          </p:nvSpPr>
          <p:spPr bwMode="auto">
            <a:xfrm>
              <a:off x="5789613" y="5289979"/>
              <a:ext cx="11113" cy="7938"/>
            </a:xfrm>
            <a:custGeom>
              <a:avLst/>
              <a:gdLst>
                <a:gd name="T0" fmla="*/ 4 w 7"/>
                <a:gd name="T1" fmla="*/ 5 h 5"/>
                <a:gd name="T2" fmla="*/ 4 w 7"/>
                <a:gd name="T3" fmla="*/ 5 h 5"/>
                <a:gd name="T4" fmla="*/ 1 w 7"/>
                <a:gd name="T5" fmla="*/ 4 h 5"/>
                <a:gd name="T6" fmla="*/ 0 w 7"/>
                <a:gd name="T7" fmla="*/ 2 h 5"/>
                <a:gd name="T8" fmla="*/ 0 w 7"/>
                <a:gd name="T9" fmla="*/ 2 h 5"/>
                <a:gd name="T10" fmla="*/ 0 w 7"/>
                <a:gd name="T11" fmla="*/ 1 h 5"/>
                <a:gd name="T12" fmla="*/ 3 w 7"/>
                <a:gd name="T13" fmla="*/ 1 h 5"/>
                <a:gd name="T14" fmla="*/ 3 w 7"/>
                <a:gd name="T15" fmla="*/ 1 h 5"/>
                <a:gd name="T16" fmla="*/ 4 w 7"/>
                <a:gd name="T17" fmla="*/ 0 h 5"/>
                <a:gd name="T18" fmla="*/ 4 w 7"/>
                <a:gd name="T19" fmla="*/ 0 h 5"/>
                <a:gd name="T20" fmla="*/ 7 w 7"/>
                <a:gd name="T21" fmla="*/ 1 h 5"/>
                <a:gd name="T22" fmla="*/ 7 w 7"/>
                <a:gd name="T23" fmla="*/ 1 h 5"/>
                <a:gd name="T24" fmla="*/ 7 w 7"/>
                <a:gd name="T25" fmla="*/ 1 h 5"/>
                <a:gd name="T26" fmla="*/ 6 w 7"/>
                <a:gd name="T27" fmla="*/ 5 h 5"/>
                <a:gd name="T28" fmla="*/ 6 w 7"/>
                <a:gd name="T29" fmla="*/ 5 h 5"/>
                <a:gd name="T30" fmla="*/ 4 w 7"/>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5">
                  <a:moveTo>
                    <a:pt x="4" y="5"/>
                  </a:moveTo>
                  <a:lnTo>
                    <a:pt x="4" y="5"/>
                  </a:lnTo>
                  <a:lnTo>
                    <a:pt x="1" y="4"/>
                  </a:lnTo>
                  <a:lnTo>
                    <a:pt x="0" y="2"/>
                  </a:lnTo>
                  <a:lnTo>
                    <a:pt x="0" y="2"/>
                  </a:lnTo>
                  <a:lnTo>
                    <a:pt x="0" y="1"/>
                  </a:lnTo>
                  <a:lnTo>
                    <a:pt x="3" y="1"/>
                  </a:lnTo>
                  <a:lnTo>
                    <a:pt x="3" y="1"/>
                  </a:lnTo>
                  <a:lnTo>
                    <a:pt x="4" y="0"/>
                  </a:lnTo>
                  <a:lnTo>
                    <a:pt x="4" y="0"/>
                  </a:lnTo>
                  <a:lnTo>
                    <a:pt x="7" y="1"/>
                  </a:lnTo>
                  <a:lnTo>
                    <a:pt x="7" y="1"/>
                  </a:lnTo>
                  <a:lnTo>
                    <a:pt x="7" y="1"/>
                  </a:lnTo>
                  <a:lnTo>
                    <a:pt x="6" y="5"/>
                  </a:lnTo>
                  <a:lnTo>
                    <a:pt x="6" y="5"/>
                  </a:lnTo>
                  <a:lnTo>
                    <a:pt x="4" y="5"/>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38" name="Freeform 1549"/>
            <p:cNvSpPr>
              <a:spLocks/>
            </p:cNvSpPr>
            <p:nvPr/>
          </p:nvSpPr>
          <p:spPr bwMode="auto">
            <a:xfrm>
              <a:off x="5789613" y="5289979"/>
              <a:ext cx="11113" cy="7938"/>
            </a:xfrm>
            <a:custGeom>
              <a:avLst/>
              <a:gdLst>
                <a:gd name="T0" fmla="*/ 4 w 7"/>
                <a:gd name="T1" fmla="*/ 5 h 5"/>
                <a:gd name="T2" fmla="*/ 4 w 7"/>
                <a:gd name="T3" fmla="*/ 5 h 5"/>
                <a:gd name="T4" fmla="*/ 1 w 7"/>
                <a:gd name="T5" fmla="*/ 4 h 5"/>
                <a:gd name="T6" fmla="*/ 0 w 7"/>
                <a:gd name="T7" fmla="*/ 2 h 5"/>
                <a:gd name="T8" fmla="*/ 0 w 7"/>
                <a:gd name="T9" fmla="*/ 2 h 5"/>
                <a:gd name="T10" fmla="*/ 0 w 7"/>
                <a:gd name="T11" fmla="*/ 1 h 5"/>
                <a:gd name="T12" fmla="*/ 3 w 7"/>
                <a:gd name="T13" fmla="*/ 1 h 5"/>
                <a:gd name="T14" fmla="*/ 3 w 7"/>
                <a:gd name="T15" fmla="*/ 1 h 5"/>
                <a:gd name="T16" fmla="*/ 4 w 7"/>
                <a:gd name="T17" fmla="*/ 0 h 5"/>
                <a:gd name="T18" fmla="*/ 4 w 7"/>
                <a:gd name="T19" fmla="*/ 0 h 5"/>
                <a:gd name="T20" fmla="*/ 7 w 7"/>
                <a:gd name="T21" fmla="*/ 1 h 5"/>
                <a:gd name="T22" fmla="*/ 7 w 7"/>
                <a:gd name="T23" fmla="*/ 1 h 5"/>
                <a:gd name="T24" fmla="*/ 7 w 7"/>
                <a:gd name="T25" fmla="*/ 1 h 5"/>
                <a:gd name="T26" fmla="*/ 6 w 7"/>
                <a:gd name="T27" fmla="*/ 5 h 5"/>
                <a:gd name="T28" fmla="*/ 6 w 7"/>
                <a:gd name="T29" fmla="*/ 5 h 5"/>
                <a:gd name="T30" fmla="*/ 4 w 7"/>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5">
                  <a:moveTo>
                    <a:pt x="4" y="5"/>
                  </a:moveTo>
                  <a:lnTo>
                    <a:pt x="4" y="5"/>
                  </a:lnTo>
                  <a:lnTo>
                    <a:pt x="1" y="4"/>
                  </a:lnTo>
                  <a:lnTo>
                    <a:pt x="0" y="2"/>
                  </a:lnTo>
                  <a:lnTo>
                    <a:pt x="0" y="2"/>
                  </a:lnTo>
                  <a:lnTo>
                    <a:pt x="0" y="1"/>
                  </a:lnTo>
                  <a:lnTo>
                    <a:pt x="3" y="1"/>
                  </a:lnTo>
                  <a:lnTo>
                    <a:pt x="3" y="1"/>
                  </a:lnTo>
                  <a:lnTo>
                    <a:pt x="4" y="0"/>
                  </a:lnTo>
                  <a:lnTo>
                    <a:pt x="4" y="0"/>
                  </a:lnTo>
                  <a:lnTo>
                    <a:pt x="7" y="1"/>
                  </a:lnTo>
                  <a:lnTo>
                    <a:pt x="7" y="1"/>
                  </a:lnTo>
                  <a:lnTo>
                    <a:pt x="7" y="1"/>
                  </a:lnTo>
                  <a:lnTo>
                    <a:pt x="6" y="5"/>
                  </a:lnTo>
                  <a:lnTo>
                    <a:pt x="6" y="5"/>
                  </a:lnTo>
                  <a:lnTo>
                    <a:pt x="4"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39" name="Freeform 1550"/>
            <p:cNvSpPr>
              <a:spLocks/>
            </p:cNvSpPr>
            <p:nvPr/>
          </p:nvSpPr>
          <p:spPr bwMode="auto">
            <a:xfrm>
              <a:off x="5251451" y="2834117"/>
              <a:ext cx="30163" cy="20638"/>
            </a:xfrm>
            <a:custGeom>
              <a:avLst/>
              <a:gdLst>
                <a:gd name="T0" fmla="*/ 14 w 19"/>
                <a:gd name="T1" fmla="*/ 7 h 13"/>
                <a:gd name="T2" fmla="*/ 14 w 19"/>
                <a:gd name="T3" fmla="*/ 7 h 13"/>
                <a:gd name="T4" fmla="*/ 14 w 19"/>
                <a:gd name="T5" fmla="*/ 8 h 13"/>
                <a:gd name="T6" fmla="*/ 14 w 19"/>
                <a:gd name="T7" fmla="*/ 7 h 13"/>
                <a:gd name="T8" fmla="*/ 14 w 19"/>
                <a:gd name="T9" fmla="*/ 7 h 13"/>
                <a:gd name="T10" fmla="*/ 14 w 19"/>
                <a:gd name="T11" fmla="*/ 7 h 13"/>
                <a:gd name="T12" fmla="*/ 14 w 19"/>
                <a:gd name="T13" fmla="*/ 7 h 13"/>
                <a:gd name="T14" fmla="*/ 9 w 19"/>
                <a:gd name="T15" fmla="*/ 7 h 13"/>
                <a:gd name="T16" fmla="*/ 6 w 19"/>
                <a:gd name="T17" fmla="*/ 5 h 13"/>
                <a:gd name="T18" fmla="*/ 4 w 19"/>
                <a:gd name="T19" fmla="*/ 5 h 13"/>
                <a:gd name="T20" fmla="*/ 6 w 19"/>
                <a:gd name="T21" fmla="*/ 7 h 13"/>
                <a:gd name="T22" fmla="*/ 4 w 19"/>
                <a:gd name="T23" fmla="*/ 7 h 13"/>
                <a:gd name="T24" fmla="*/ 4 w 19"/>
                <a:gd name="T25" fmla="*/ 7 h 13"/>
                <a:gd name="T26" fmla="*/ 6 w 19"/>
                <a:gd name="T27" fmla="*/ 7 h 13"/>
                <a:gd name="T28" fmla="*/ 6 w 19"/>
                <a:gd name="T29" fmla="*/ 7 h 13"/>
                <a:gd name="T30" fmla="*/ 7 w 19"/>
                <a:gd name="T31" fmla="*/ 5 h 13"/>
                <a:gd name="T32" fmla="*/ 9 w 19"/>
                <a:gd name="T33" fmla="*/ 4 h 13"/>
                <a:gd name="T34" fmla="*/ 9 w 19"/>
                <a:gd name="T35" fmla="*/ 4 h 13"/>
                <a:gd name="T36" fmla="*/ 9 w 19"/>
                <a:gd name="T37" fmla="*/ 4 h 13"/>
                <a:gd name="T38" fmla="*/ 9 w 19"/>
                <a:gd name="T39" fmla="*/ 4 h 13"/>
                <a:gd name="T40" fmla="*/ 9 w 19"/>
                <a:gd name="T41" fmla="*/ 4 h 13"/>
                <a:gd name="T42" fmla="*/ 9 w 19"/>
                <a:gd name="T43" fmla="*/ 4 h 13"/>
                <a:gd name="T44" fmla="*/ 9 w 19"/>
                <a:gd name="T45" fmla="*/ 4 h 13"/>
                <a:gd name="T46" fmla="*/ 9 w 19"/>
                <a:gd name="T47" fmla="*/ 4 h 13"/>
                <a:gd name="T48" fmla="*/ 9 w 19"/>
                <a:gd name="T49" fmla="*/ 4 h 13"/>
                <a:gd name="T50" fmla="*/ 10 w 19"/>
                <a:gd name="T51" fmla="*/ 5 h 13"/>
                <a:gd name="T52" fmla="*/ 13 w 19"/>
                <a:gd name="T53" fmla="*/ 8 h 13"/>
                <a:gd name="T54" fmla="*/ 13 w 19"/>
                <a:gd name="T55" fmla="*/ 8 h 13"/>
                <a:gd name="T56" fmla="*/ 14 w 19"/>
                <a:gd name="T57" fmla="*/ 8 h 13"/>
                <a:gd name="T58" fmla="*/ 13 w 19"/>
                <a:gd name="T59" fmla="*/ 10 h 13"/>
                <a:gd name="T60" fmla="*/ 13 w 19"/>
                <a:gd name="T61" fmla="*/ 8 h 13"/>
                <a:gd name="T62" fmla="*/ 14 w 19"/>
                <a:gd name="T63" fmla="*/ 7 h 13"/>
                <a:gd name="T64" fmla="*/ 13 w 19"/>
                <a:gd name="T65" fmla="*/ 8 h 13"/>
                <a:gd name="T66" fmla="*/ 14 w 19"/>
                <a:gd name="T67" fmla="*/ 7 h 13"/>
                <a:gd name="T68" fmla="*/ 17 w 19"/>
                <a:gd name="T69" fmla="*/ 11 h 13"/>
                <a:gd name="T70" fmla="*/ 19 w 19"/>
                <a:gd name="T71" fmla="*/ 8 h 13"/>
                <a:gd name="T72" fmla="*/ 19 w 19"/>
                <a:gd name="T73" fmla="*/ 7 h 13"/>
                <a:gd name="T74" fmla="*/ 14 w 19"/>
                <a:gd name="T75" fmla="*/ 2 h 13"/>
                <a:gd name="T76" fmla="*/ 12 w 19"/>
                <a:gd name="T77" fmla="*/ 1 h 13"/>
                <a:gd name="T78" fmla="*/ 9 w 19"/>
                <a:gd name="T79" fmla="*/ 0 h 13"/>
                <a:gd name="T80" fmla="*/ 9 w 19"/>
                <a:gd name="T81" fmla="*/ 0 h 13"/>
                <a:gd name="T82" fmla="*/ 6 w 19"/>
                <a:gd name="T83" fmla="*/ 0 h 13"/>
                <a:gd name="T84" fmla="*/ 3 w 19"/>
                <a:gd name="T85" fmla="*/ 2 h 13"/>
                <a:gd name="T86" fmla="*/ 1 w 19"/>
                <a:gd name="T87" fmla="*/ 4 h 13"/>
                <a:gd name="T88" fmla="*/ 0 w 19"/>
                <a:gd name="T89" fmla="*/ 7 h 13"/>
                <a:gd name="T90" fmla="*/ 1 w 19"/>
                <a:gd name="T91" fmla="*/ 10 h 13"/>
                <a:gd name="T92" fmla="*/ 4 w 19"/>
                <a:gd name="T93" fmla="*/ 10 h 13"/>
                <a:gd name="T94" fmla="*/ 14 w 19"/>
                <a:gd name="T95" fmla="*/ 13 h 13"/>
                <a:gd name="T96" fmla="*/ 16 w 19"/>
                <a:gd name="T97" fmla="*/ 13 h 13"/>
                <a:gd name="T98" fmla="*/ 16 w 19"/>
                <a:gd name="T9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 h="13">
                  <a:moveTo>
                    <a:pt x="16" y="10"/>
                  </a:moveTo>
                  <a:lnTo>
                    <a:pt x="14" y="7"/>
                  </a:lnTo>
                  <a:lnTo>
                    <a:pt x="14" y="8"/>
                  </a:lnTo>
                  <a:lnTo>
                    <a:pt x="14" y="7"/>
                  </a:lnTo>
                  <a:lnTo>
                    <a:pt x="14" y="7"/>
                  </a:lnTo>
                  <a:lnTo>
                    <a:pt x="14" y="8"/>
                  </a:lnTo>
                  <a:lnTo>
                    <a:pt x="14" y="7"/>
                  </a:lnTo>
                  <a:lnTo>
                    <a:pt x="14" y="7"/>
                  </a:lnTo>
                  <a:lnTo>
                    <a:pt x="14" y="7"/>
                  </a:lnTo>
                  <a:lnTo>
                    <a:pt x="14" y="7"/>
                  </a:lnTo>
                  <a:lnTo>
                    <a:pt x="14" y="7"/>
                  </a:lnTo>
                  <a:lnTo>
                    <a:pt x="14" y="7"/>
                  </a:lnTo>
                  <a:lnTo>
                    <a:pt x="14" y="7"/>
                  </a:lnTo>
                  <a:lnTo>
                    <a:pt x="14" y="7"/>
                  </a:lnTo>
                  <a:lnTo>
                    <a:pt x="14" y="7"/>
                  </a:lnTo>
                  <a:lnTo>
                    <a:pt x="9" y="7"/>
                  </a:lnTo>
                  <a:lnTo>
                    <a:pt x="9" y="7"/>
                  </a:lnTo>
                  <a:lnTo>
                    <a:pt x="6" y="5"/>
                  </a:lnTo>
                  <a:lnTo>
                    <a:pt x="6" y="5"/>
                  </a:lnTo>
                  <a:lnTo>
                    <a:pt x="4" y="5"/>
                  </a:lnTo>
                  <a:lnTo>
                    <a:pt x="4" y="7"/>
                  </a:lnTo>
                  <a:lnTo>
                    <a:pt x="6" y="7"/>
                  </a:lnTo>
                  <a:lnTo>
                    <a:pt x="4" y="5"/>
                  </a:lnTo>
                  <a:lnTo>
                    <a:pt x="4" y="7"/>
                  </a:lnTo>
                  <a:lnTo>
                    <a:pt x="6" y="7"/>
                  </a:lnTo>
                  <a:lnTo>
                    <a:pt x="4" y="7"/>
                  </a:lnTo>
                  <a:lnTo>
                    <a:pt x="6" y="7"/>
                  </a:lnTo>
                  <a:lnTo>
                    <a:pt x="6" y="7"/>
                  </a:lnTo>
                  <a:lnTo>
                    <a:pt x="4" y="7"/>
                  </a:lnTo>
                  <a:lnTo>
                    <a:pt x="6" y="7"/>
                  </a:lnTo>
                  <a:lnTo>
                    <a:pt x="6" y="7"/>
                  </a:lnTo>
                  <a:lnTo>
                    <a:pt x="7" y="5"/>
                  </a:lnTo>
                  <a:lnTo>
                    <a:pt x="9" y="4"/>
                  </a:lnTo>
                  <a:lnTo>
                    <a:pt x="9" y="4"/>
                  </a:lnTo>
                  <a:lnTo>
                    <a:pt x="9" y="4"/>
                  </a:lnTo>
                  <a:lnTo>
                    <a:pt x="9" y="4"/>
                  </a:lnTo>
                  <a:lnTo>
                    <a:pt x="9" y="4"/>
                  </a:lnTo>
                  <a:lnTo>
                    <a:pt x="9" y="4"/>
                  </a:lnTo>
                  <a:lnTo>
                    <a:pt x="9" y="4"/>
                  </a:lnTo>
                  <a:lnTo>
                    <a:pt x="9" y="4"/>
                  </a:lnTo>
                  <a:lnTo>
                    <a:pt x="9" y="4"/>
                  </a:lnTo>
                  <a:lnTo>
                    <a:pt x="9" y="4"/>
                  </a:lnTo>
                  <a:lnTo>
                    <a:pt x="9" y="4"/>
                  </a:lnTo>
                  <a:lnTo>
                    <a:pt x="9" y="4"/>
                  </a:lnTo>
                  <a:lnTo>
                    <a:pt x="9" y="4"/>
                  </a:lnTo>
                  <a:lnTo>
                    <a:pt x="9" y="4"/>
                  </a:lnTo>
                  <a:lnTo>
                    <a:pt x="9" y="4"/>
                  </a:lnTo>
                  <a:lnTo>
                    <a:pt x="9" y="4"/>
                  </a:lnTo>
                  <a:lnTo>
                    <a:pt x="9" y="4"/>
                  </a:lnTo>
                  <a:lnTo>
                    <a:pt x="9" y="4"/>
                  </a:lnTo>
                  <a:lnTo>
                    <a:pt x="9" y="4"/>
                  </a:lnTo>
                  <a:lnTo>
                    <a:pt x="10" y="5"/>
                  </a:lnTo>
                  <a:lnTo>
                    <a:pt x="10" y="5"/>
                  </a:lnTo>
                  <a:lnTo>
                    <a:pt x="13" y="8"/>
                  </a:lnTo>
                  <a:lnTo>
                    <a:pt x="13" y="8"/>
                  </a:lnTo>
                  <a:lnTo>
                    <a:pt x="13" y="8"/>
                  </a:lnTo>
                  <a:lnTo>
                    <a:pt x="13" y="10"/>
                  </a:lnTo>
                  <a:lnTo>
                    <a:pt x="14" y="8"/>
                  </a:lnTo>
                  <a:lnTo>
                    <a:pt x="13" y="8"/>
                  </a:lnTo>
                  <a:lnTo>
                    <a:pt x="13" y="10"/>
                  </a:lnTo>
                  <a:lnTo>
                    <a:pt x="14" y="8"/>
                  </a:lnTo>
                  <a:lnTo>
                    <a:pt x="13" y="8"/>
                  </a:lnTo>
                  <a:lnTo>
                    <a:pt x="16" y="8"/>
                  </a:lnTo>
                  <a:lnTo>
                    <a:pt x="14" y="7"/>
                  </a:lnTo>
                  <a:lnTo>
                    <a:pt x="14" y="7"/>
                  </a:lnTo>
                  <a:lnTo>
                    <a:pt x="13" y="8"/>
                  </a:lnTo>
                  <a:lnTo>
                    <a:pt x="16" y="8"/>
                  </a:lnTo>
                  <a:lnTo>
                    <a:pt x="14" y="7"/>
                  </a:lnTo>
                  <a:lnTo>
                    <a:pt x="16" y="10"/>
                  </a:lnTo>
                  <a:lnTo>
                    <a:pt x="17" y="11"/>
                  </a:lnTo>
                  <a:lnTo>
                    <a:pt x="17" y="11"/>
                  </a:lnTo>
                  <a:lnTo>
                    <a:pt x="19" y="8"/>
                  </a:lnTo>
                  <a:lnTo>
                    <a:pt x="19" y="8"/>
                  </a:lnTo>
                  <a:lnTo>
                    <a:pt x="19" y="7"/>
                  </a:lnTo>
                  <a:lnTo>
                    <a:pt x="19" y="7"/>
                  </a:lnTo>
                  <a:lnTo>
                    <a:pt x="14" y="2"/>
                  </a:lnTo>
                  <a:lnTo>
                    <a:pt x="14" y="2"/>
                  </a:lnTo>
                  <a:lnTo>
                    <a:pt x="12" y="1"/>
                  </a:lnTo>
                  <a:lnTo>
                    <a:pt x="12" y="1"/>
                  </a:lnTo>
                  <a:lnTo>
                    <a:pt x="9" y="0"/>
                  </a:lnTo>
                  <a:lnTo>
                    <a:pt x="9" y="0"/>
                  </a:lnTo>
                  <a:lnTo>
                    <a:pt x="9" y="0"/>
                  </a:lnTo>
                  <a:lnTo>
                    <a:pt x="6" y="0"/>
                  </a:lnTo>
                  <a:lnTo>
                    <a:pt x="6" y="0"/>
                  </a:lnTo>
                  <a:lnTo>
                    <a:pt x="3" y="2"/>
                  </a:lnTo>
                  <a:lnTo>
                    <a:pt x="3" y="2"/>
                  </a:lnTo>
                  <a:lnTo>
                    <a:pt x="1" y="4"/>
                  </a:lnTo>
                  <a:lnTo>
                    <a:pt x="1" y="4"/>
                  </a:lnTo>
                  <a:lnTo>
                    <a:pt x="0" y="7"/>
                  </a:lnTo>
                  <a:lnTo>
                    <a:pt x="0" y="7"/>
                  </a:lnTo>
                  <a:lnTo>
                    <a:pt x="1" y="10"/>
                  </a:lnTo>
                  <a:lnTo>
                    <a:pt x="1" y="10"/>
                  </a:lnTo>
                  <a:lnTo>
                    <a:pt x="4" y="10"/>
                  </a:lnTo>
                  <a:lnTo>
                    <a:pt x="4" y="10"/>
                  </a:lnTo>
                  <a:lnTo>
                    <a:pt x="14" y="13"/>
                  </a:lnTo>
                  <a:lnTo>
                    <a:pt x="14" y="13"/>
                  </a:lnTo>
                  <a:lnTo>
                    <a:pt x="16" y="13"/>
                  </a:lnTo>
                  <a:lnTo>
                    <a:pt x="16" y="13"/>
                  </a:lnTo>
                  <a:lnTo>
                    <a:pt x="17" y="11"/>
                  </a:lnTo>
                  <a:lnTo>
                    <a:pt x="16"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40" name="Freeform 1551"/>
            <p:cNvSpPr>
              <a:spLocks/>
            </p:cNvSpPr>
            <p:nvPr/>
          </p:nvSpPr>
          <p:spPr bwMode="auto">
            <a:xfrm>
              <a:off x="5286376" y="2770617"/>
              <a:ext cx="17463" cy="22225"/>
            </a:xfrm>
            <a:custGeom>
              <a:avLst/>
              <a:gdLst>
                <a:gd name="T0" fmla="*/ 8 w 11"/>
                <a:gd name="T1" fmla="*/ 8 h 14"/>
                <a:gd name="T2" fmla="*/ 7 w 11"/>
                <a:gd name="T3" fmla="*/ 6 h 14"/>
                <a:gd name="T4" fmla="*/ 8 w 11"/>
                <a:gd name="T5" fmla="*/ 5 h 14"/>
                <a:gd name="T6" fmla="*/ 8 w 11"/>
                <a:gd name="T7" fmla="*/ 6 h 14"/>
                <a:gd name="T8" fmla="*/ 7 w 11"/>
                <a:gd name="T9" fmla="*/ 6 h 14"/>
                <a:gd name="T10" fmla="*/ 7 w 11"/>
                <a:gd name="T11" fmla="*/ 6 h 14"/>
                <a:gd name="T12" fmla="*/ 7 w 11"/>
                <a:gd name="T13" fmla="*/ 5 h 14"/>
                <a:gd name="T14" fmla="*/ 8 w 11"/>
                <a:gd name="T15" fmla="*/ 6 h 14"/>
                <a:gd name="T16" fmla="*/ 7 w 11"/>
                <a:gd name="T17" fmla="*/ 6 h 14"/>
                <a:gd name="T18" fmla="*/ 5 w 11"/>
                <a:gd name="T19" fmla="*/ 8 h 14"/>
                <a:gd name="T20" fmla="*/ 4 w 11"/>
                <a:gd name="T21" fmla="*/ 9 h 14"/>
                <a:gd name="T22" fmla="*/ 4 w 11"/>
                <a:gd name="T23" fmla="*/ 9 h 14"/>
                <a:gd name="T24" fmla="*/ 4 w 11"/>
                <a:gd name="T25" fmla="*/ 9 h 14"/>
                <a:gd name="T26" fmla="*/ 4 w 11"/>
                <a:gd name="T27" fmla="*/ 11 h 14"/>
                <a:gd name="T28" fmla="*/ 4 w 11"/>
                <a:gd name="T29" fmla="*/ 9 h 14"/>
                <a:gd name="T30" fmla="*/ 4 w 11"/>
                <a:gd name="T31" fmla="*/ 9 h 14"/>
                <a:gd name="T32" fmla="*/ 5 w 11"/>
                <a:gd name="T33" fmla="*/ 9 h 14"/>
                <a:gd name="T34" fmla="*/ 4 w 11"/>
                <a:gd name="T35" fmla="*/ 11 h 14"/>
                <a:gd name="T36" fmla="*/ 5 w 11"/>
                <a:gd name="T37" fmla="*/ 9 h 14"/>
                <a:gd name="T38" fmla="*/ 5 w 11"/>
                <a:gd name="T39" fmla="*/ 9 h 14"/>
                <a:gd name="T40" fmla="*/ 5 w 11"/>
                <a:gd name="T41" fmla="*/ 9 h 14"/>
                <a:gd name="T42" fmla="*/ 4 w 11"/>
                <a:gd name="T43" fmla="*/ 8 h 14"/>
                <a:gd name="T44" fmla="*/ 4 w 11"/>
                <a:gd name="T45" fmla="*/ 6 h 14"/>
                <a:gd name="T46" fmla="*/ 4 w 11"/>
                <a:gd name="T47" fmla="*/ 5 h 14"/>
                <a:gd name="T48" fmla="*/ 4 w 11"/>
                <a:gd name="T49" fmla="*/ 5 h 14"/>
                <a:gd name="T50" fmla="*/ 4 w 11"/>
                <a:gd name="T51" fmla="*/ 5 h 14"/>
                <a:gd name="T52" fmla="*/ 4 w 11"/>
                <a:gd name="T53" fmla="*/ 5 h 14"/>
                <a:gd name="T54" fmla="*/ 4 w 11"/>
                <a:gd name="T55" fmla="*/ 5 h 14"/>
                <a:gd name="T56" fmla="*/ 4 w 11"/>
                <a:gd name="T57" fmla="*/ 5 h 14"/>
                <a:gd name="T58" fmla="*/ 4 w 11"/>
                <a:gd name="T59" fmla="*/ 5 h 14"/>
                <a:gd name="T60" fmla="*/ 4 w 11"/>
                <a:gd name="T61" fmla="*/ 5 h 14"/>
                <a:gd name="T62" fmla="*/ 4 w 11"/>
                <a:gd name="T63" fmla="*/ 5 h 14"/>
                <a:gd name="T64" fmla="*/ 8 w 11"/>
                <a:gd name="T65" fmla="*/ 8 h 14"/>
                <a:gd name="T66" fmla="*/ 11 w 11"/>
                <a:gd name="T67" fmla="*/ 3 h 14"/>
                <a:gd name="T68" fmla="*/ 7 w 11"/>
                <a:gd name="T69" fmla="*/ 0 h 14"/>
                <a:gd name="T70" fmla="*/ 4 w 11"/>
                <a:gd name="T71" fmla="*/ 0 h 14"/>
                <a:gd name="T72" fmla="*/ 0 w 11"/>
                <a:gd name="T73" fmla="*/ 2 h 14"/>
                <a:gd name="T74" fmla="*/ 0 w 11"/>
                <a:gd name="T75" fmla="*/ 6 h 14"/>
                <a:gd name="T76" fmla="*/ 0 w 11"/>
                <a:gd name="T77" fmla="*/ 11 h 14"/>
                <a:gd name="T78" fmla="*/ 1 w 11"/>
                <a:gd name="T79" fmla="*/ 12 h 14"/>
                <a:gd name="T80" fmla="*/ 4 w 11"/>
                <a:gd name="T81" fmla="*/ 14 h 14"/>
                <a:gd name="T82" fmla="*/ 4 w 11"/>
                <a:gd name="T83" fmla="*/ 14 h 14"/>
                <a:gd name="T84" fmla="*/ 7 w 11"/>
                <a:gd name="T85" fmla="*/ 12 h 14"/>
                <a:gd name="T86" fmla="*/ 10 w 11"/>
                <a:gd name="T87" fmla="*/ 9 h 14"/>
                <a:gd name="T88" fmla="*/ 11 w 11"/>
                <a:gd name="T89" fmla="*/ 8 h 14"/>
                <a:gd name="T90" fmla="*/ 11 w 11"/>
                <a:gd name="T91" fmla="*/ 6 h 14"/>
                <a:gd name="T92" fmla="*/ 11 w 11"/>
                <a:gd name="T93" fmla="*/ 5 h 14"/>
                <a:gd name="T94" fmla="*/ 11 w 11"/>
                <a:gd name="T95"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 h="14">
                  <a:moveTo>
                    <a:pt x="10" y="5"/>
                  </a:moveTo>
                  <a:lnTo>
                    <a:pt x="8" y="8"/>
                  </a:lnTo>
                  <a:lnTo>
                    <a:pt x="8" y="5"/>
                  </a:lnTo>
                  <a:lnTo>
                    <a:pt x="7" y="6"/>
                  </a:lnTo>
                  <a:lnTo>
                    <a:pt x="8" y="8"/>
                  </a:lnTo>
                  <a:lnTo>
                    <a:pt x="8" y="5"/>
                  </a:lnTo>
                  <a:lnTo>
                    <a:pt x="7" y="6"/>
                  </a:lnTo>
                  <a:lnTo>
                    <a:pt x="8" y="6"/>
                  </a:lnTo>
                  <a:lnTo>
                    <a:pt x="7" y="6"/>
                  </a:lnTo>
                  <a:lnTo>
                    <a:pt x="7" y="6"/>
                  </a:lnTo>
                  <a:lnTo>
                    <a:pt x="8" y="6"/>
                  </a:lnTo>
                  <a:lnTo>
                    <a:pt x="7" y="6"/>
                  </a:lnTo>
                  <a:lnTo>
                    <a:pt x="8" y="6"/>
                  </a:lnTo>
                  <a:lnTo>
                    <a:pt x="7" y="5"/>
                  </a:lnTo>
                  <a:lnTo>
                    <a:pt x="7" y="6"/>
                  </a:lnTo>
                  <a:lnTo>
                    <a:pt x="8" y="6"/>
                  </a:lnTo>
                  <a:lnTo>
                    <a:pt x="7" y="5"/>
                  </a:lnTo>
                  <a:lnTo>
                    <a:pt x="7" y="6"/>
                  </a:lnTo>
                  <a:lnTo>
                    <a:pt x="7" y="6"/>
                  </a:lnTo>
                  <a:lnTo>
                    <a:pt x="5" y="8"/>
                  </a:lnTo>
                  <a:lnTo>
                    <a:pt x="4" y="9"/>
                  </a:lnTo>
                  <a:lnTo>
                    <a:pt x="4" y="9"/>
                  </a:lnTo>
                  <a:lnTo>
                    <a:pt x="4" y="9"/>
                  </a:lnTo>
                  <a:lnTo>
                    <a:pt x="4" y="9"/>
                  </a:lnTo>
                  <a:lnTo>
                    <a:pt x="4" y="9"/>
                  </a:lnTo>
                  <a:lnTo>
                    <a:pt x="4" y="9"/>
                  </a:lnTo>
                  <a:lnTo>
                    <a:pt x="4" y="9"/>
                  </a:lnTo>
                  <a:lnTo>
                    <a:pt x="4" y="11"/>
                  </a:lnTo>
                  <a:lnTo>
                    <a:pt x="4" y="9"/>
                  </a:lnTo>
                  <a:lnTo>
                    <a:pt x="4" y="9"/>
                  </a:lnTo>
                  <a:lnTo>
                    <a:pt x="4" y="11"/>
                  </a:lnTo>
                  <a:lnTo>
                    <a:pt x="4" y="9"/>
                  </a:lnTo>
                  <a:lnTo>
                    <a:pt x="4" y="11"/>
                  </a:lnTo>
                  <a:lnTo>
                    <a:pt x="5" y="9"/>
                  </a:lnTo>
                  <a:lnTo>
                    <a:pt x="4" y="9"/>
                  </a:lnTo>
                  <a:lnTo>
                    <a:pt x="4" y="11"/>
                  </a:lnTo>
                  <a:lnTo>
                    <a:pt x="5" y="9"/>
                  </a:lnTo>
                  <a:lnTo>
                    <a:pt x="5" y="9"/>
                  </a:lnTo>
                  <a:lnTo>
                    <a:pt x="5" y="9"/>
                  </a:lnTo>
                  <a:lnTo>
                    <a:pt x="5" y="9"/>
                  </a:lnTo>
                  <a:lnTo>
                    <a:pt x="5" y="9"/>
                  </a:lnTo>
                  <a:lnTo>
                    <a:pt x="5" y="9"/>
                  </a:lnTo>
                  <a:lnTo>
                    <a:pt x="5" y="9"/>
                  </a:lnTo>
                  <a:lnTo>
                    <a:pt x="4" y="8"/>
                  </a:lnTo>
                  <a:lnTo>
                    <a:pt x="4" y="8"/>
                  </a:lnTo>
                  <a:lnTo>
                    <a:pt x="4" y="6"/>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8" y="8"/>
                  </a:lnTo>
                  <a:lnTo>
                    <a:pt x="10" y="5"/>
                  </a:lnTo>
                  <a:lnTo>
                    <a:pt x="11" y="3"/>
                  </a:lnTo>
                  <a:lnTo>
                    <a:pt x="11" y="3"/>
                  </a:lnTo>
                  <a:lnTo>
                    <a:pt x="7" y="0"/>
                  </a:lnTo>
                  <a:lnTo>
                    <a:pt x="4" y="0"/>
                  </a:lnTo>
                  <a:lnTo>
                    <a:pt x="4" y="0"/>
                  </a:lnTo>
                  <a:lnTo>
                    <a:pt x="1" y="0"/>
                  </a:lnTo>
                  <a:lnTo>
                    <a:pt x="0" y="2"/>
                  </a:lnTo>
                  <a:lnTo>
                    <a:pt x="0" y="2"/>
                  </a:lnTo>
                  <a:lnTo>
                    <a:pt x="0" y="6"/>
                  </a:lnTo>
                  <a:lnTo>
                    <a:pt x="0" y="6"/>
                  </a:lnTo>
                  <a:lnTo>
                    <a:pt x="0" y="11"/>
                  </a:lnTo>
                  <a:lnTo>
                    <a:pt x="0" y="11"/>
                  </a:lnTo>
                  <a:lnTo>
                    <a:pt x="1" y="12"/>
                  </a:lnTo>
                  <a:lnTo>
                    <a:pt x="1" y="12"/>
                  </a:lnTo>
                  <a:lnTo>
                    <a:pt x="4" y="14"/>
                  </a:lnTo>
                  <a:lnTo>
                    <a:pt x="4" y="14"/>
                  </a:lnTo>
                  <a:lnTo>
                    <a:pt x="4" y="14"/>
                  </a:lnTo>
                  <a:lnTo>
                    <a:pt x="7" y="12"/>
                  </a:lnTo>
                  <a:lnTo>
                    <a:pt x="7" y="12"/>
                  </a:lnTo>
                  <a:lnTo>
                    <a:pt x="10" y="9"/>
                  </a:lnTo>
                  <a:lnTo>
                    <a:pt x="10" y="9"/>
                  </a:lnTo>
                  <a:lnTo>
                    <a:pt x="11" y="8"/>
                  </a:lnTo>
                  <a:lnTo>
                    <a:pt x="11" y="8"/>
                  </a:lnTo>
                  <a:lnTo>
                    <a:pt x="11" y="6"/>
                  </a:lnTo>
                  <a:lnTo>
                    <a:pt x="11" y="6"/>
                  </a:lnTo>
                  <a:lnTo>
                    <a:pt x="11" y="5"/>
                  </a:lnTo>
                  <a:lnTo>
                    <a:pt x="11" y="5"/>
                  </a:lnTo>
                  <a:lnTo>
                    <a:pt x="11" y="3"/>
                  </a:lnTo>
                  <a:lnTo>
                    <a:pt x="11" y="3"/>
                  </a:lnTo>
                  <a:lnTo>
                    <a:pt x="1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41" name="Freeform 1552"/>
            <p:cNvSpPr>
              <a:spLocks/>
            </p:cNvSpPr>
            <p:nvPr/>
          </p:nvSpPr>
          <p:spPr bwMode="auto">
            <a:xfrm>
              <a:off x="4991101" y="2900792"/>
              <a:ext cx="33338" cy="41275"/>
            </a:xfrm>
            <a:custGeom>
              <a:avLst/>
              <a:gdLst>
                <a:gd name="T0" fmla="*/ 16 w 21"/>
                <a:gd name="T1" fmla="*/ 17 h 26"/>
                <a:gd name="T2" fmla="*/ 13 w 21"/>
                <a:gd name="T3" fmla="*/ 20 h 26"/>
                <a:gd name="T4" fmla="*/ 12 w 21"/>
                <a:gd name="T5" fmla="*/ 20 h 26"/>
                <a:gd name="T6" fmla="*/ 12 w 21"/>
                <a:gd name="T7" fmla="*/ 20 h 26"/>
                <a:gd name="T8" fmla="*/ 12 w 21"/>
                <a:gd name="T9" fmla="*/ 21 h 26"/>
                <a:gd name="T10" fmla="*/ 12 w 21"/>
                <a:gd name="T11" fmla="*/ 20 h 26"/>
                <a:gd name="T12" fmla="*/ 12 w 21"/>
                <a:gd name="T13" fmla="*/ 21 h 26"/>
                <a:gd name="T14" fmla="*/ 12 w 21"/>
                <a:gd name="T15" fmla="*/ 21 h 26"/>
                <a:gd name="T16" fmla="*/ 12 w 21"/>
                <a:gd name="T17" fmla="*/ 20 h 26"/>
                <a:gd name="T18" fmla="*/ 6 w 21"/>
                <a:gd name="T19" fmla="*/ 13 h 26"/>
                <a:gd name="T20" fmla="*/ 6 w 21"/>
                <a:gd name="T21" fmla="*/ 10 h 26"/>
                <a:gd name="T22" fmla="*/ 6 w 21"/>
                <a:gd name="T23" fmla="*/ 7 h 26"/>
                <a:gd name="T24" fmla="*/ 8 w 21"/>
                <a:gd name="T25" fmla="*/ 5 h 26"/>
                <a:gd name="T26" fmla="*/ 8 w 21"/>
                <a:gd name="T27" fmla="*/ 5 h 26"/>
                <a:gd name="T28" fmla="*/ 8 w 21"/>
                <a:gd name="T29" fmla="*/ 5 h 26"/>
                <a:gd name="T30" fmla="*/ 8 w 21"/>
                <a:gd name="T31" fmla="*/ 5 h 26"/>
                <a:gd name="T32" fmla="*/ 9 w 21"/>
                <a:gd name="T33" fmla="*/ 5 h 26"/>
                <a:gd name="T34" fmla="*/ 13 w 21"/>
                <a:gd name="T35" fmla="*/ 5 h 26"/>
                <a:gd name="T36" fmla="*/ 15 w 21"/>
                <a:gd name="T37" fmla="*/ 7 h 26"/>
                <a:gd name="T38" fmla="*/ 15 w 21"/>
                <a:gd name="T39" fmla="*/ 7 h 26"/>
                <a:gd name="T40" fmla="*/ 15 w 21"/>
                <a:gd name="T41" fmla="*/ 7 h 26"/>
                <a:gd name="T42" fmla="*/ 15 w 21"/>
                <a:gd name="T43" fmla="*/ 7 h 26"/>
                <a:gd name="T44" fmla="*/ 16 w 21"/>
                <a:gd name="T45" fmla="*/ 16 h 26"/>
                <a:gd name="T46" fmla="*/ 15 w 21"/>
                <a:gd name="T47" fmla="*/ 17 h 26"/>
                <a:gd name="T48" fmla="*/ 18 w 21"/>
                <a:gd name="T49" fmla="*/ 17 h 26"/>
                <a:gd name="T50" fmla="*/ 21 w 21"/>
                <a:gd name="T51" fmla="*/ 18 h 26"/>
                <a:gd name="T52" fmla="*/ 21 w 21"/>
                <a:gd name="T53" fmla="*/ 16 h 26"/>
                <a:gd name="T54" fmla="*/ 21 w 21"/>
                <a:gd name="T55" fmla="*/ 7 h 26"/>
                <a:gd name="T56" fmla="*/ 21 w 21"/>
                <a:gd name="T57" fmla="*/ 7 h 26"/>
                <a:gd name="T58" fmla="*/ 19 w 21"/>
                <a:gd name="T59" fmla="*/ 2 h 26"/>
                <a:gd name="T60" fmla="*/ 15 w 21"/>
                <a:gd name="T61" fmla="*/ 1 h 26"/>
                <a:gd name="T62" fmla="*/ 9 w 21"/>
                <a:gd name="T63" fmla="*/ 0 h 26"/>
                <a:gd name="T64" fmla="*/ 6 w 21"/>
                <a:gd name="T65" fmla="*/ 1 h 26"/>
                <a:gd name="T66" fmla="*/ 2 w 21"/>
                <a:gd name="T67" fmla="*/ 4 h 26"/>
                <a:gd name="T68" fmla="*/ 2 w 21"/>
                <a:gd name="T69" fmla="*/ 7 h 26"/>
                <a:gd name="T70" fmla="*/ 0 w 21"/>
                <a:gd name="T71" fmla="*/ 10 h 26"/>
                <a:gd name="T72" fmla="*/ 3 w 21"/>
                <a:gd name="T73" fmla="*/ 16 h 26"/>
                <a:gd name="T74" fmla="*/ 6 w 21"/>
                <a:gd name="T75" fmla="*/ 20 h 26"/>
                <a:gd name="T76" fmla="*/ 8 w 21"/>
                <a:gd name="T77" fmla="*/ 23 h 26"/>
                <a:gd name="T78" fmla="*/ 8 w 21"/>
                <a:gd name="T79" fmla="*/ 24 h 26"/>
                <a:gd name="T80" fmla="*/ 8 w 21"/>
                <a:gd name="T81" fmla="*/ 24 h 26"/>
                <a:gd name="T82" fmla="*/ 12 w 21"/>
                <a:gd name="T83" fmla="*/ 26 h 26"/>
                <a:gd name="T84" fmla="*/ 15 w 21"/>
                <a:gd name="T85" fmla="*/ 24 h 26"/>
                <a:gd name="T86" fmla="*/ 18 w 21"/>
                <a:gd name="T87" fmla="*/ 23 h 26"/>
                <a:gd name="T88" fmla="*/ 18 w 21"/>
                <a:gd name="T89"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 h="26">
                  <a:moveTo>
                    <a:pt x="18" y="17"/>
                  </a:moveTo>
                  <a:lnTo>
                    <a:pt x="16" y="17"/>
                  </a:lnTo>
                  <a:lnTo>
                    <a:pt x="16" y="17"/>
                  </a:lnTo>
                  <a:lnTo>
                    <a:pt x="13" y="20"/>
                  </a:lnTo>
                  <a:lnTo>
                    <a:pt x="13" y="20"/>
                  </a:lnTo>
                  <a:lnTo>
                    <a:pt x="12" y="20"/>
                  </a:lnTo>
                  <a:lnTo>
                    <a:pt x="12" y="20"/>
                  </a:lnTo>
                  <a:lnTo>
                    <a:pt x="12" y="20"/>
                  </a:lnTo>
                  <a:lnTo>
                    <a:pt x="12" y="20"/>
                  </a:lnTo>
                  <a:lnTo>
                    <a:pt x="12" y="21"/>
                  </a:lnTo>
                  <a:lnTo>
                    <a:pt x="12" y="21"/>
                  </a:lnTo>
                  <a:lnTo>
                    <a:pt x="12" y="20"/>
                  </a:lnTo>
                  <a:lnTo>
                    <a:pt x="12" y="21"/>
                  </a:lnTo>
                  <a:lnTo>
                    <a:pt x="12" y="21"/>
                  </a:lnTo>
                  <a:lnTo>
                    <a:pt x="12" y="21"/>
                  </a:lnTo>
                  <a:lnTo>
                    <a:pt x="12" y="21"/>
                  </a:lnTo>
                  <a:lnTo>
                    <a:pt x="12" y="20"/>
                  </a:lnTo>
                  <a:lnTo>
                    <a:pt x="12" y="20"/>
                  </a:lnTo>
                  <a:lnTo>
                    <a:pt x="10" y="17"/>
                  </a:lnTo>
                  <a:lnTo>
                    <a:pt x="6" y="13"/>
                  </a:lnTo>
                  <a:lnTo>
                    <a:pt x="6" y="13"/>
                  </a:lnTo>
                  <a:lnTo>
                    <a:pt x="6" y="10"/>
                  </a:lnTo>
                  <a:lnTo>
                    <a:pt x="6" y="10"/>
                  </a:lnTo>
                  <a:lnTo>
                    <a:pt x="6" y="7"/>
                  </a:lnTo>
                  <a:lnTo>
                    <a:pt x="8" y="5"/>
                  </a:lnTo>
                  <a:lnTo>
                    <a:pt x="8" y="5"/>
                  </a:lnTo>
                  <a:lnTo>
                    <a:pt x="8" y="5"/>
                  </a:lnTo>
                  <a:lnTo>
                    <a:pt x="8" y="5"/>
                  </a:lnTo>
                  <a:lnTo>
                    <a:pt x="8" y="5"/>
                  </a:lnTo>
                  <a:lnTo>
                    <a:pt x="8" y="5"/>
                  </a:lnTo>
                  <a:lnTo>
                    <a:pt x="8" y="5"/>
                  </a:lnTo>
                  <a:lnTo>
                    <a:pt x="8" y="5"/>
                  </a:lnTo>
                  <a:lnTo>
                    <a:pt x="8" y="5"/>
                  </a:lnTo>
                  <a:lnTo>
                    <a:pt x="9" y="5"/>
                  </a:lnTo>
                  <a:lnTo>
                    <a:pt x="9" y="5"/>
                  </a:lnTo>
                  <a:lnTo>
                    <a:pt x="13" y="5"/>
                  </a:lnTo>
                  <a:lnTo>
                    <a:pt x="13" y="5"/>
                  </a:lnTo>
                  <a:lnTo>
                    <a:pt x="15" y="7"/>
                  </a:lnTo>
                  <a:lnTo>
                    <a:pt x="15" y="7"/>
                  </a:lnTo>
                  <a:lnTo>
                    <a:pt x="15" y="7"/>
                  </a:lnTo>
                  <a:lnTo>
                    <a:pt x="18" y="7"/>
                  </a:lnTo>
                  <a:lnTo>
                    <a:pt x="15" y="7"/>
                  </a:lnTo>
                  <a:lnTo>
                    <a:pt x="15" y="7"/>
                  </a:lnTo>
                  <a:lnTo>
                    <a:pt x="15" y="7"/>
                  </a:lnTo>
                  <a:lnTo>
                    <a:pt x="16" y="16"/>
                  </a:lnTo>
                  <a:lnTo>
                    <a:pt x="16" y="16"/>
                  </a:lnTo>
                  <a:lnTo>
                    <a:pt x="16" y="17"/>
                  </a:lnTo>
                  <a:lnTo>
                    <a:pt x="15" y="17"/>
                  </a:lnTo>
                  <a:lnTo>
                    <a:pt x="16" y="17"/>
                  </a:lnTo>
                  <a:lnTo>
                    <a:pt x="18" y="17"/>
                  </a:lnTo>
                  <a:lnTo>
                    <a:pt x="21" y="18"/>
                  </a:lnTo>
                  <a:lnTo>
                    <a:pt x="21" y="18"/>
                  </a:lnTo>
                  <a:lnTo>
                    <a:pt x="21" y="16"/>
                  </a:lnTo>
                  <a:lnTo>
                    <a:pt x="21" y="16"/>
                  </a:lnTo>
                  <a:lnTo>
                    <a:pt x="21" y="7"/>
                  </a:lnTo>
                  <a:lnTo>
                    <a:pt x="21" y="7"/>
                  </a:lnTo>
                  <a:lnTo>
                    <a:pt x="21" y="7"/>
                  </a:lnTo>
                  <a:lnTo>
                    <a:pt x="21" y="7"/>
                  </a:lnTo>
                  <a:lnTo>
                    <a:pt x="21" y="7"/>
                  </a:lnTo>
                  <a:lnTo>
                    <a:pt x="19" y="2"/>
                  </a:lnTo>
                  <a:lnTo>
                    <a:pt x="19" y="2"/>
                  </a:lnTo>
                  <a:lnTo>
                    <a:pt x="15" y="1"/>
                  </a:lnTo>
                  <a:lnTo>
                    <a:pt x="15" y="1"/>
                  </a:lnTo>
                  <a:lnTo>
                    <a:pt x="9" y="0"/>
                  </a:lnTo>
                  <a:lnTo>
                    <a:pt x="9" y="0"/>
                  </a:lnTo>
                  <a:lnTo>
                    <a:pt x="6" y="1"/>
                  </a:lnTo>
                  <a:lnTo>
                    <a:pt x="6" y="1"/>
                  </a:lnTo>
                  <a:lnTo>
                    <a:pt x="2" y="4"/>
                  </a:lnTo>
                  <a:lnTo>
                    <a:pt x="2" y="4"/>
                  </a:lnTo>
                  <a:lnTo>
                    <a:pt x="2" y="7"/>
                  </a:lnTo>
                  <a:lnTo>
                    <a:pt x="0" y="10"/>
                  </a:lnTo>
                  <a:lnTo>
                    <a:pt x="0" y="10"/>
                  </a:lnTo>
                  <a:lnTo>
                    <a:pt x="2" y="13"/>
                  </a:lnTo>
                  <a:lnTo>
                    <a:pt x="3" y="16"/>
                  </a:lnTo>
                  <a:lnTo>
                    <a:pt x="3" y="16"/>
                  </a:lnTo>
                  <a:lnTo>
                    <a:pt x="6" y="20"/>
                  </a:lnTo>
                  <a:lnTo>
                    <a:pt x="6" y="20"/>
                  </a:lnTo>
                  <a:lnTo>
                    <a:pt x="8" y="23"/>
                  </a:lnTo>
                  <a:lnTo>
                    <a:pt x="8" y="23"/>
                  </a:lnTo>
                  <a:lnTo>
                    <a:pt x="8" y="24"/>
                  </a:lnTo>
                  <a:lnTo>
                    <a:pt x="8" y="24"/>
                  </a:lnTo>
                  <a:lnTo>
                    <a:pt x="8" y="24"/>
                  </a:lnTo>
                  <a:lnTo>
                    <a:pt x="12" y="26"/>
                  </a:lnTo>
                  <a:lnTo>
                    <a:pt x="12" y="26"/>
                  </a:lnTo>
                  <a:lnTo>
                    <a:pt x="15" y="24"/>
                  </a:lnTo>
                  <a:lnTo>
                    <a:pt x="15" y="24"/>
                  </a:lnTo>
                  <a:lnTo>
                    <a:pt x="18" y="23"/>
                  </a:lnTo>
                  <a:lnTo>
                    <a:pt x="18" y="23"/>
                  </a:lnTo>
                  <a:lnTo>
                    <a:pt x="21" y="18"/>
                  </a:lnTo>
                  <a:lnTo>
                    <a:pt x="18"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42" name="Freeform 1553"/>
            <p:cNvSpPr>
              <a:spLocks/>
            </p:cNvSpPr>
            <p:nvPr/>
          </p:nvSpPr>
          <p:spPr bwMode="auto">
            <a:xfrm>
              <a:off x="5094288" y="2926192"/>
              <a:ext cx="23813" cy="20638"/>
            </a:xfrm>
            <a:custGeom>
              <a:avLst/>
              <a:gdLst>
                <a:gd name="T0" fmla="*/ 11 w 15"/>
                <a:gd name="T1" fmla="*/ 5 h 13"/>
                <a:gd name="T2" fmla="*/ 11 w 15"/>
                <a:gd name="T3" fmla="*/ 5 h 13"/>
                <a:gd name="T4" fmla="*/ 11 w 15"/>
                <a:gd name="T5" fmla="*/ 5 h 13"/>
                <a:gd name="T6" fmla="*/ 11 w 15"/>
                <a:gd name="T7" fmla="*/ 5 h 13"/>
                <a:gd name="T8" fmla="*/ 9 w 15"/>
                <a:gd name="T9" fmla="*/ 7 h 13"/>
                <a:gd name="T10" fmla="*/ 5 w 15"/>
                <a:gd name="T11" fmla="*/ 8 h 13"/>
                <a:gd name="T12" fmla="*/ 5 w 15"/>
                <a:gd name="T13" fmla="*/ 8 h 13"/>
                <a:gd name="T14" fmla="*/ 5 w 15"/>
                <a:gd name="T15" fmla="*/ 8 h 13"/>
                <a:gd name="T16" fmla="*/ 5 w 15"/>
                <a:gd name="T17" fmla="*/ 8 h 13"/>
                <a:gd name="T18" fmla="*/ 5 w 15"/>
                <a:gd name="T19" fmla="*/ 8 h 13"/>
                <a:gd name="T20" fmla="*/ 5 w 15"/>
                <a:gd name="T21" fmla="*/ 8 h 13"/>
                <a:gd name="T22" fmla="*/ 5 w 15"/>
                <a:gd name="T23" fmla="*/ 8 h 13"/>
                <a:gd name="T24" fmla="*/ 6 w 15"/>
                <a:gd name="T25" fmla="*/ 7 h 13"/>
                <a:gd name="T26" fmla="*/ 11 w 15"/>
                <a:gd name="T27" fmla="*/ 5 h 13"/>
                <a:gd name="T28" fmla="*/ 11 w 15"/>
                <a:gd name="T29" fmla="*/ 5 h 13"/>
                <a:gd name="T30" fmla="*/ 11 w 15"/>
                <a:gd name="T31" fmla="*/ 5 h 13"/>
                <a:gd name="T32" fmla="*/ 11 w 15"/>
                <a:gd name="T33" fmla="*/ 5 h 13"/>
                <a:gd name="T34" fmla="*/ 11 w 15"/>
                <a:gd name="T35" fmla="*/ 5 h 13"/>
                <a:gd name="T36" fmla="*/ 11 w 15"/>
                <a:gd name="T37" fmla="*/ 5 h 13"/>
                <a:gd name="T38" fmla="*/ 11 w 15"/>
                <a:gd name="T39" fmla="*/ 5 h 13"/>
                <a:gd name="T40" fmla="*/ 14 w 15"/>
                <a:gd name="T41" fmla="*/ 5 h 13"/>
                <a:gd name="T42" fmla="*/ 15 w 15"/>
                <a:gd name="T43" fmla="*/ 5 h 13"/>
                <a:gd name="T44" fmla="*/ 15 w 15"/>
                <a:gd name="T45" fmla="*/ 2 h 13"/>
                <a:gd name="T46" fmla="*/ 11 w 15"/>
                <a:gd name="T47" fmla="*/ 0 h 13"/>
                <a:gd name="T48" fmla="*/ 8 w 15"/>
                <a:gd name="T49" fmla="*/ 1 h 13"/>
                <a:gd name="T50" fmla="*/ 3 w 15"/>
                <a:gd name="T51" fmla="*/ 4 h 13"/>
                <a:gd name="T52" fmla="*/ 2 w 15"/>
                <a:gd name="T53" fmla="*/ 5 h 13"/>
                <a:gd name="T54" fmla="*/ 0 w 15"/>
                <a:gd name="T55" fmla="*/ 8 h 13"/>
                <a:gd name="T56" fmla="*/ 0 w 15"/>
                <a:gd name="T57" fmla="*/ 11 h 13"/>
                <a:gd name="T58" fmla="*/ 2 w 15"/>
                <a:gd name="T59" fmla="*/ 13 h 13"/>
                <a:gd name="T60" fmla="*/ 6 w 15"/>
                <a:gd name="T61" fmla="*/ 13 h 13"/>
                <a:gd name="T62" fmla="*/ 12 w 15"/>
                <a:gd name="T63" fmla="*/ 11 h 13"/>
                <a:gd name="T64" fmla="*/ 14 w 15"/>
                <a:gd name="T65" fmla="*/ 8 h 13"/>
                <a:gd name="T66" fmla="*/ 15 w 15"/>
                <a:gd name="T67"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 h="13">
                  <a:moveTo>
                    <a:pt x="14" y="5"/>
                  </a:moveTo>
                  <a:lnTo>
                    <a:pt x="11" y="5"/>
                  </a:lnTo>
                  <a:lnTo>
                    <a:pt x="11" y="5"/>
                  </a:lnTo>
                  <a:lnTo>
                    <a:pt x="11" y="5"/>
                  </a:lnTo>
                  <a:lnTo>
                    <a:pt x="11" y="5"/>
                  </a:lnTo>
                  <a:lnTo>
                    <a:pt x="11" y="5"/>
                  </a:lnTo>
                  <a:lnTo>
                    <a:pt x="11" y="5"/>
                  </a:lnTo>
                  <a:lnTo>
                    <a:pt x="11" y="5"/>
                  </a:lnTo>
                  <a:lnTo>
                    <a:pt x="9" y="7"/>
                  </a:lnTo>
                  <a:lnTo>
                    <a:pt x="9" y="7"/>
                  </a:lnTo>
                  <a:lnTo>
                    <a:pt x="6" y="8"/>
                  </a:lnTo>
                  <a:lnTo>
                    <a:pt x="5" y="8"/>
                  </a:lnTo>
                  <a:lnTo>
                    <a:pt x="5" y="8"/>
                  </a:lnTo>
                  <a:lnTo>
                    <a:pt x="5" y="8"/>
                  </a:lnTo>
                  <a:lnTo>
                    <a:pt x="5" y="8"/>
                  </a:lnTo>
                  <a:lnTo>
                    <a:pt x="5" y="8"/>
                  </a:lnTo>
                  <a:lnTo>
                    <a:pt x="5" y="8"/>
                  </a:lnTo>
                  <a:lnTo>
                    <a:pt x="5" y="8"/>
                  </a:lnTo>
                  <a:lnTo>
                    <a:pt x="5" y="8"/>
                  </a:lnTo>
                  <a:lnTo>
                    <a:pt x="5" y="8"/>
                  </a:lnTo>
                  <a:lnTo>
                    <a:pt x="5" y="8"/>
                  </a:lnTo>
                  <a:lnTo>
                    <a:pt x="5" y="8"/>
                  </a:lnTo>
                  <a:lnTo>
                    <a:pt x="5" y="8"/>
                  </a:lnTo>
                  <a:lnTo>
                    <a:pt x="5" y="8"/>
                  </a:lnTo>
                  <a:lnTo>
                    <a:pt x="6" y="7"/>
                  </a:lnTo>
                  <a:lnTo>
                    <a:pt x="6" y="7"/>
                  </a:lnTo>
                  <a:lnTo>
                    <a:pt x="9" y="5"/>
                  </a:lnTo>
                  <a:lnTo>
                    <a:pt x="11" y="5"/>
                  </a:lnTo>
                  <a:lnTo>
                    <a:pt x="11" y="5"/>
                  </a:lnTo>
                  <a:lnTo>
                    <a:pt x="11" y="5"/>
                  </a:lnTo>
                  <a:lnTo>
                    <a:pt x="11" y="5"/>
                  </a:lnTo>
                  <a:lnTo>
                    <a:pt x="11" y="5"/>
                  </a:lnTo>
                  <a:lnTo>
                    <a:pt x="11" y="5"/>
                  </a:lnTo>
                  <a:lnTo>
                    <a:pt x="11" y="5"/>
                  </a:lnTo>
                  <a:lnTo>
                    <a:pt x="11" y="5"/>
                  </a:lnTo>
                  <a:lnTo>
                    <a:pt x="11" y="5"/>
                  </a:lnTo>
                  <a:lnTo>
                    <a:pt x="11" y="5"/>
                  </a:lnTo>
                  <a:lnTo>
                    <a:pt x="11" y="5"/>
                  </a:lnTo>
                  <a:lnTo>
                    <a:pt x="11" y="5"/>
                  </a:lnTo>
                  <a:lnTo>
                    <a:pt x="11" y="5"/>
                  </a:lnTo>
                  <a:lnTo>
                    <a:pt x="11" y="5"/>
                  </a:lnTo>
                  <a:lnTo>
                    <a:pt x="14" y="5"/>
                  </a:lnTo>
                  <a:lnTo>
                    <a:pt x="15" y="5"/>
                  </a:lnTo>
                  <a:lnTo>
                    <a:pt x="15" y="5"/>
                  </a:lnTo>
                  <a:lnTo>
                    <a:pt x="15" y="2"/>
                  </a:lnTo>
                  <a:lnTo>
                    <a:pt x="15" y="2"/>
                  </a:lnTo>
                  <a:lnTo>
                    <a:pt x="12" y="1"/>
                  </a:lnTo>
                  <a:lnTo>
                    <a:pt x="11" y="0"/>
                  </a:lnTo>
                  <a:lnTo>
                    <a:pt x="11" y="0"/>
                  </a:lnTo>
                  <a:lnTo>
                    <a:pt x="8" y="1"/>
                  </a:lnTo>
                  <a:lnTo>
                    <a:pt x="8" y="1"/>
                  </a:lnTo>
                  <a:lnTo>
                    <a:pt x="3" y="4"/>
                  </a:lnTo>
                  <a:lnTo>
                    <a:pt x="3" y="4"/>
                  </a:lnTo>
                  <a:lnTo>
                    <a:pt x="2" y="5"/>
                  </a:lnTo>
                  <a:lnTo>
                    <a:pt x="2" y="5"/>
                  </a:lnTo>
                  <a:lnTo>
                    <a:pt x="0" y="8"/>
                  </a:lnTo>
                  <a:lnTo>
                    <a:pt x="0" y="8"/>
                  </a:lnTo>
                  <a:lnTo>
                    <a:pt x="0" y="11"/>
                  </a:lnTo>
                  <a:lnTo>
                    <a:pt x="2" y="13"/>
                  </a:lnTo>
                  <a:lnTo>
                    <a:pt x="2" y="13"/>
                  </a:lnTo>
                  <a:lnTo>
                    <a:pt x="6" y="13"/>
                  </a:lnTo>
                  <a:lnTo>
                    <a:pt x="6" y="13"/>
                  </a:lnTo>
                  <a:lnTo>
                    <a:pt x="9" y="13"/>
                  </a:lnTo>
                  <a:lnTo>
                    <a:pt x="12" y="11"/>
                  </a:lnTo>
                  <a:lnTo>
                    <a:pt x="12" y="11"/>
                  </a:lnTo>
                  <a:lnTo>
                    <a:pt x="14" y="8"/>
                  </a:lnTo>
                  <a:lnTo>
                    <a:pt x="14" y="8"/>
                  </a:lnTo>
                  <a:lnTo>
                    <a:pt x="15" y="5"/>
                  </a:lnTo>
                  <a:lnTo>
                    <a:pt x="14"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43" name="Freeform 1554"/>
            <p:cNvSpPr>
              <a:spLocks/>
            </p:cNvSpPr>
            <p:nvPr/>
          </p:nvSpPr>
          <p:spPr bwMode="auto">
            <a:xfrm>
              <a:off x="5154613" y="2656317"/>
              <a:ext cx="30163" cy="25400"/>
            </a:xfrm>
            <a:custGeom>
              <a:avLst/>
              <a:gdLst>
                <a:gd name="T0" fmla="*/ 15 w 19"/>
                <a:gd name="T1" fmla="*/ 7 h 16"/>
                <a:gd name="T2" fmla="*/ 10 w 19"/>
                <a:gd name="T3" fmla="*/ 9 h 16"/>
                <a:gd name="T4" fmla="*/ 7 w 19"/>
                <a:gd name="T5" fmla="*/ 10 h 16"/>
                <a:gd name="T6" fmla="*/ 7 w 19"/>
                <a:gd name="T7" fmla="*/ 10 h 16"/>
                <a:gd name="T8" fmla="*/ 6 w 19"/>
                <a:gd name="T9" fmla="*/ 9 h 16"/>
                <a:gd name="T10" fmla="*/ 4 w 19"/>
                <a:gd name="T11" fmla="*/ 6 h 16"/>
                <a:gd name="T12" fmla="*/ 4 w 19"/>
                <a:gd name="T13" fmla="*/ 6 h 16"/>
                <a:gd name="T14" fmla="*/ 4 w 19"/>
                <a:gd name="T15" fmla="*/ 6 h 16"/>
                <a:gd name="T16" fmla="*/ 4 w 19"/>
                <a:gd name="T17" fmla="*/ 6 h 16"/>
                <a:gd name="T18" fmla="*/ 4 w 19"/>
                <a:gd name="T19" fmla="*/ 6 h 16"/>
                <a:gd name="T20" fmla="*/ 4 w 19"/>
                <a:gd name="T21" fmla="*/ 6 h 16"/>
                <a:gd name="T22" fmla="*/ 4 w 19"/>
                <a:gd name="T23" fmla="*/ 6 h 16"/>
                <a:gd name="T24" fmla="*/ 4 w 19"/>
                <a:gd name="T25" fmla="*/ 6 h 16"/>
                <a:gd name="T26" fmla="*/ 4 w 19"/>
                <a:gd name="T27" fmla="*/ 6 h 16"/>
                <a:gd name="T28" fmla="*/ 7 w 19"/>
                <a:gd name="T29" fmla="*/ 6 h 16"/>
                <a:gd name="T30" fmla="*/ 7 w 19"/>
                <a:gd name="T31" fmla="*/ 6 h 16"/>
                <a:gd name="T32" fmla="*/ 9 w 19"/>
                <a:gd name="T33" fmla="*/ 4 h 16"/>
                <a:gd name="T34" fmla="*/ 7 w 19"/>
                <a:gd name="T35" fmla="*/ 4 h 16"/>
                <a:gd name="T36" fmla="*/ 7 w 19"/>
                <a:gd name="T37" fmla="*/ 6 h 16"/>
                <a:gd name="T38" fmla="*/ 7 w 19"/>
                <a:gd name="T39" fmla="*/ 6 h 16"/>
                <a:gd name="T40" fmla="*/ 9 w 19"/>
                <a:gd name="T41" fmla="*/ 6 h 16"/>
                <a:gd name="T42" fmla="*/ 12 w 19"/>
                <a:gd name="T43" fmla="*/ 9 h 16"/>
                <a:gd name="T44" fmla="*/ 13 w 19"/>
                <a:gd name="T45" fmla="*/ 10 h 16"/>
                <a:gd name="T46" fmla="*/ 13 w 19"/>
                <a:gd name="T47" fmla="*/ 10 h 16"/>
                <a:gd name="T48" fmla="*/ 13 w 19"/>
                <a:gd name="T49" fmla="*/ 10 h 16"/>
                <a:gd name="T50" fmla="*/ 15 w 19"/>
                <a:gd name="T51" fmla="*/ 9 h 16"/>
                <a:gd name="T52" fmla="*/ 16 w 19"/>
                <a:gd name="T53" fmla="*/ 9 h 16"/>
                <a:gd name="T54" fmla="*/ 13 w 19"/>
                <a:gd name="T55" fmla="*/ 9 h 16"/>
                <a:gd name="T56" fmla="*/ 16 w 19"/>
                <a:gd name="T57" fmla="*/ 9 h 16"/>
                <a:gd name="T58" fmla="*/ 16 w 19"/>
                <a:gd name="T59" fmla="*/ 9 h 16"/>
                <a:gd name="T60" fmla="*/ 15 w 19"/>
                <a:gd name="T61" fmla="*/ 7 h 16"/>
                <a:gd name="T62" fmla="*/ 16 w 19"/>
                <a:gd name="T63" fmla="*/ 9 h 16"/>
                <a:gd name="T64" fmla="*/ 16 w 19"/>
                <a:gd name="T65" fmla="*/ 9 h 16"/>
                <a:gd name="T66" fmla="*/ 16 w 19"/>
                <a:gd name="T67" fmla="*/ 9 h 16"/>
                <a:gd name="T68" fmla="*/ 18 w 19"/>
                <a:gd name="T69" fmla="*/ 12 h 16"/>
                <a:gd name="T70" fmla="*/ 19 w 19"/>
                <a:gd name="T71" fmla="*/ 9 h 16"/>
                <a:gd name="T72" fmla="*/ 18 w 19"/>
                <a:gd name="T73" fmla="*/ 7 h 16"/>
                <a:gd name="T74" fmla="*/ 18 w 19"/>
                <a:gd name="T75" fmla="*/ 6 h 16"/>
                <a:gd name="T76" fmla="*/ 13 w 19"/>
                <a:gd name="T77" fmla="*/ 3 h 16"/>
                <a:gd name="T78" fmla="*/ 10 w 19"/>
                <a:gd name="T79" fmla="*/ 1 h 16"/>
                <a:gd name="T80" fmla="*/ 10 w 19"/>
                <a:gd name="T81" fmla="*/ 1 h 16"/>
                <a:gd name="T82" fmla="*/ 7 w 19"/>
                <a:gd name="T83" fmla="*/ 0 h 16"/>
                <a:gd name="T84" fmla="*/ 3 w 19"/>
                <a:gd name="T85" fmla="*/ 1 h 16"/>
                <a:gd name="T86" fmla="*/ 2 w 19"/>
                <a:gd name="T87" fmla="*/ 3 h 16"/>
                <a:gd name="T88" fmla="*/ 0 w 19"/>
                <a:gd name="T89" fmla="*/ 6 h 16"/>
                <a:gd name="T90" fmla="*/ 0 w 19"/>
                <a:gd name="T91" fmla="*/ 7 h 16"/>
                <a:gd name="T92" fmla="*/ 2 w 19"/>
                <a:gd name="T93" fmla="*/ 12 h 16"/>
                <a:gd name="T94" fmla="*/ 4 w 19"/>
                <a:gd name="T95" fmla="*/ 15 h 16"/>
                <a:gd name="T96" fmla="*/ 7 w 19"/>
                <a:gd name="T97" fmla="*/ 16 h 16"/>
                <a:gd name="T98" fmla="*/ 10 w 19"/>
                <a:gd name="T99" fmla="*/ 15 h 16"/>
                <a:gd name="T100" fmla="*/ 13 w 19"/>
                <a:gd name="T101" fmla="*/ 13 h 16"/>
                <a:gd name="T102" fmla="*/ 18 w 19"/>
                <a:gd name="T103"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 h="16">
                  <a:moveTo>
                    <a:pt x="16" y="9"/>
                  </a:moveTo>
                  <a:lnTo>
                    <a:pt x="15" y="7"/>
                  </a:lnTo>
                  <a:lnTo>
                    <a:pt x="15" y="7"/>
                  </a:lnTo>
                  <a:lnTo>
                    <a:pt x="10" y="9"/>
                  </a:lnTo>
                  <a:lnTo>
                    <a:pt x="10" y="9"/>
                  </a:lnTo>
                  <a:lnTo>
                    <a:pt x="7" y="10"/>
                  </a:lnTo>
                  <a:lnTo>
                    <a:pt x="7" y="10"/>
                  </a:lnTo>
                  <a:lnTo>
                    <a:pt x="7" y="10"/>
                  </a:lnTo>
                  <a:lnTo>
                    <a:pt x="6" y="9"/>
                  </a:lnTo>
                  <a:lnTo>
                    <a:pt x="6" y="9"/>
                  </a:lnTo>
                  <a:lnTo>
                    <a:pt x="4" y="6"/>
                  </a:lnTo>
                  <a:lnTo>
                    <a:pt x="4" y="6"/>
                  </a:lnTo>
                  <a:lnTo>
                    <a:pt x="4" y="6"/>
                  </a:lnTo>
                  <a:lnTo>
                    <a:pt x="4" y="6"/>
                  </a:lnTo>
                  <a:lnTo>
                    <a:pt x="4" y="6"/>
                  </a:lnTo>
                  <a:lnTo>
                    <a:pt x="4" y="6"/>
                  </a:lnTo>
                  <a:lnTo>
                    <a:pt x="4" y="6"/>
                  </a:lnTo>
                  <a:lnTo>
                    <a:pt x="4" y="6"/>
                  </a:lnTo>
                  <a:lnTo>
                    <a:pt x="4" y="6"/>
                  </a:lnTo>
                  <a:lnTo>
                    <a:pt x="4" y="6"/>
                  </a:lnTo>
                  <a:lnTo>
                    <a:pt x="4" y="6"/>
                  </a:lnTo>
                  <a:lnTo>
                    <a:pt x="4" y="6"/>
                  </a:lnTo>
                  <a:lnTo>
                    <a:pt x="4" y="6"/>
                  </a:lnTo>
                  <a:lnTo>
                    <a:pt x="4" y="6"/>
                  </a:lnTo>
                  <a:lnTo>
                    <a:pt x="4" y="6"/>
                  </a:lnTo>
                  <a:lnTo>
                    <a:pt x="4" y="6"/>
                  </a:lnTo>
                  <a:lnTo>
                    <a:pt x="4" y="6"/>
                  </a:lnTo>
                  <a:lnTo>
                    <a:pt x="4" y="6"/>
                  </a:lnTo>
                  <a:lnTo>
                    <a:pt x="7" y="6"/>
                  </a:lnTo>
                  <a:lnTo>
                    <a:pt x="7" y="6"/>
                  </a:lnTo>
                  <a:lnTo>
                    <a:pt x="9" y="4"/>
                  </a:lnTo>
                  <a:lnTo>
                    <a:pt x="7" y="6"/>
                  </a:lnTo>
                  <a:lnTo>
                    <a:pt x="7" y="6"/>
                  </a:lnTo>
                  <a:lnTo>
                    <a:pt x="9" y="4"/>
                  </a:lnTo>
                  <a:lnTo>
                    <a:pt x="7" y="6"/>
                  </a:lnTo>
                  <a:lnTo>
                    <a:pt x="7" y="4"/>
                  </a:lnTo>
                  <a:lnTo>
                    <a:pt x="7" y="6"/>
                  </a:lnTo>
                  <a:lnTo>
                    <a:pt x="7" y="6"/>
                  </a:lnTo>
                  <a:lnTo>
                    <a:pt x="7" y="4"/>
                  </a:lnTo>
                  <a:lnTo>
                    <a:pt x="7" y="6"/>
                  </a:lnTo>
                  <a:lnTo>
                    <a:pt x="7" y="6"/>
                  </a:lnTo>
                  <a:lnTo>
                    <a:pt x="9" y="6"/>
                  </a:lnTo>
                  <a:lnTo>
                    <a:pt x="9" y="6"/>
                  </a:lnTo>
                  <a:lnTo>
                    <a:pt x="12" y="9"/>
                  </a:lnTo>
                  <a:lnTo>
                    <a:pt x="12" y="9"/>
                  </a:lnTo>
                  <a:lnTo>
                    <a:pt x="13" y="10"/>
                  </a:lnTo>
                  <a:lnTo>
                    <a:pt x="13" y="10"/>
                  </a:lnTo>
                  <a:lnTo>
                    <a:pt x="13" y="10"/>
                  </a:lnTo>
                  <a:lnTo>
                    <a:pt x="15" y="9"/>
                  </a:lnTo>
                  <a:lnTo>
                    <a:pt x="13" y="10"/>
                  </a:lnTo>
                  <a:lnTo>
                    <a:pt x="13" y="10"/>
                  </a:lnTo>
                  <a:lnTo>
                    <a:pt x="15" y="9"/>
                  </a:lnTo>
                  <a:lnTo>
                    <a:pt x="13" y="10"/>
                  </a:lnTo>
                  <a:lnTo>
                    <a:pt x="16" y="9"/>
                  </a:lnTo>
                  <a:lnTo>
                    <a:pt x="13" y="9"/>
                  </a:lnTo>
                  <a:lnTo>
                    <a:pt x="13" y="9"/>
                  </a:lnTo>
                  <a:lnTo>
                    <a:pt x="13" y="10"/>
                  </a:lnTo>
                  <a:lnTo>
                    <a:pt x="16" y="9"/>
                  </a:lnTo>
                  <a:lnTo>
                    <a:pt x="13" y="9"/>
                  </a:lnTo>
                  <a:lnTo>
                    <a:pt x="16" y="9"/>
                  </a:lnTo>
                  <a:lnTo>
                    <a:pt x="15" y="7"/>
                  </a:lnTo>
                  <a:lnTo>
                    <a:pt x="15" y="7"/>
                  </a:lnTo>
                  <a:lnTo>
                    <a:pt x="13" y="9"/>
                  </a:lnTo>
                  <a:lnTo>
                    <a:pt x="16" y="9"/>
                  </a:lnTo>
                  <a:lnTo>
                    <a:pt x="15" y="7"/>
                  </a:lnTo>
                  <a:lnTo>
                    <a:pt x="16" y="9"/>
                  </a:lnTo>
                  <a:lnTo>
                    <a:pt x="15" y="7"/>
                  </a:lnTo>
                  <a:lnTo>
                    <a:pt x="16" y="9"/>
                  </a:lnTo>
                  <a:lnTo>
                    <a:pt x="18" y="12"/>
                  </a:lnTo>
                  <a:lnTo>
                    <a:pt x="18" y="12"/>
                  </a:lnTo>
                  <a:lnTo>
                    <a:pt x="19" y="9"/>
                  </a:lnTo>
                  <a:lnTo>
                    <a:pt x="19" y="9"/>
                  </a:lnTo>
                  <a:lnTo>
                    <a:pt x="18" y="7"/>
                  </a:lnTo>
                  <a:lnTo>
                    <a:pt x="18" y="7"/>
                  </a:lnTo>
                  <a:lnTo>
                    <a:pt x="18" y="6"/>
                  </a:lnTo>
                  <a:lnTo>
                    <a:pt x="18" y="6"/>
                  </a:lnTo>
                  <a:lnTo>
                    <a:pt x="13" y="3"/>
                  </a:lnTo>
                  <a:lnTo>
                    <a:pt x="13" y="3"/>
                  </a:lnTo>
                  <a:lnTo>
                    <a:pt x="12" y="1"/>
                  </a:lnTo>
                  <a:lnTo>
                    <a:pt x="10" y="1"/>
                  </a:lnTo>
                  <a:lnTo>
                    <a:pt x="10" y="1"/>
                  </a:lnTo>
                  <a:lnTo>
                    <a:pt x="10" y="1"/>
                  </a:lnTo>
                  <a:lnTo>
                    <a:pt x="9" y="0"/>
                  </a:lnTo>
                  <a:lnTo>
                    <a:pt x="7" y="0"/>
                  </a:lnTo>
                  <a:lnTo>
                    <a:pt x="7" y="0"/>
                  </a:lnTo>
                  <a:lnTo>
                    <a:pt x="3" y="1"/>
                  </a:lnTo>
                  <a:lnTo>
                    <a:pt x="3" y="1"/>
                  </a:lnTo>
                  <a:lnTo>
                    <a:pt x="2" y="3"/>
                  </a:lnTo>
                  <a:lnTo>
                    <a:pt x="2" y="3"/>
                  </a:lnTo>
                  <a:lnTo>
                    <a:pt x="0" y="6"/>
                  </a:lnTo>
                  <a:lnTo>
                    <a:pt x="0" y="6"/>
                  </a:lnTo>
                  <a:lnTo>
                    <a:pt x="0" y="7"/>
                  </a:lnTo>
                  <a:lnTo>
                    <a:pt x="0" y="7"/>
                  </a:lnTo>
                  <a:lnTo>
                    <a:pt x="2" y="12"/>
                  </a:lnTo>
                  <a:lnTo>
                    <a:pt x="2" y="12"/>
                  </a:lnTo>
                  <a:lnTo>
                    <a:pt x="4" y="15"/>
                  </a:lnTo>
                  <a:lnTo>
                    <a:pt x="4" y="15"/>
                  </a:lnTo>
                  <a:lnTo>
                    <a:pt x="7" y="16"/>
                  </a:lnTo>
                  <a:lnTo>
                    <a:pt x="7" y="16"/>
                  </a:lnTo>
                  <a:lnTo>
                    <a:pt x="10" y="15"/>
                  </a:lnTo>
                  <a:lnTo>
                    <a:pt x="13" y="13"/>
                  </a:lnTo>
                  <a:lnTo>
                    <a:pt x="13" y="13"/>
                  </a:lnTo>
                  <a:lnTo>
                    <a:pt x="18" y="12"/>
                  </a:lnTo>
                  <a:lnTo>
                    <a:pt x="18" y="12"/>
                  </a:lnTo>
                  <a:lnTo>
                    <a:pt x="16"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44" name="Freeform 1555"/>
            <p:cNvSpPr>
              <a:spLocks/>
            </p:cNvSpPr>
            <p:nvPr/>
          </p:nvSpPr>
          <p:spPr bwMode="auto">
            <a:xfrm>
              <a:off x="6816726" y="1860979"/>
              <a:ext cx="80963" cy="76200"/>
            </a:xfrm>
            <a:custGeom>
              <a:avLst/>
              <a:gdLst>
                <a:gd name="T0" fmla="*/ 45 w 51"/>
                <a:gd name="T1" fmla="*/ 19 h 48"/>
                <a:gd name="T2" fmla="*/ 45 w 51"/>
                <a:gd name="T3" fmla="*/ 26 h 48"/>
                <a:gd name="T4" fmla="*/ 45 w 51"/>
                <a:gd name="T5" fmla="*/ 26 h 48"/>
                <a:gd name="T6" fmla="*/ 41 w 51"/>
                <a:gd name="T7" fmla="*/ 23 h 48"/>
                <a:gd name="T8" fmla="*/ 35 w 51"/>
                <a:gd name="T9" fmla="*/ 26 h 48"/>
                <a:gd name="T10" fmla="*/ 35 w 51"/>
                <a:gd name="T11" fmla="*/ 30 h 48"/>
                <a:gd name="T12" fmla="*/ 35 w 51"/>
                <a:gd name="T13" fmla="*/ 30 h 48"/>
                <a:gd name="T14" fmla="*/ 35 w 51"/>
                <a:gd name="T15" fmla="*/ 29 h 48"/>
                <a:gd name="T16" fmla="*/ 32 w 51"/>
                <a:gd name="T17" fmla="*/ 27 h 48"/>
                <a:gd name="T18" fmla="*/ 28 w 51"/>
                <a:gd name="T19" fmla="*/ 29 h 48"/>
                <a:gd name="T20" fmla="*/ 28 w 51"/>
                <a:gd name="T21" fmla="*/ 36 h 48"/>
                <a:gd name="T22" fmla="*/ 28 w 51"/>
                <a:gd name="T23" fmla="*/ 36 h 48"/>
                <a:gd name="T24" fmla="*/ 21 w 51"/>
                <a:gd name="T25" fmla="*/ 39 h 48"/>
                <a:gd name="T26" fmla="*/ 19 w 51"/>
                <a:gd name="T27" fmla="*/ 39 h 48"/>
                <a:gd name="T28" fmla="*/ 21 w 51"/>
                <a:gd name="T29" fmla="*/ 39 h 48"/>
                <a:gd name="T30" fmla="*/ 19 w 51"/>
                <a:gd name="T31" fmla="*/ 32 h 48"/>
                <a:gd name="T32" fmla="*/ 12 w 51"/>
                <a:gd name="T33" fmla="*/ 36 h 48"/>
                <a:gd name="T34" fmla="*/ 9 w 51"/>
                <a:gd name="T35" fmla="*/ 43 h 48"/>
                <a:gd name="T36" fmla="*/ 10 w 51"/>
                <a:gd name="T37" fmla="*/ 45 h 48"/>
                <a:gd name="T38" fmla="*/ 10 w 51"/>
                <a:gd name="T39" fmla="*/ 43 h 48"/>
                <a:gd name="T40" fmla="*/ 10 w 51"/>
                <a:gd name="T41" fmla="*/ 43 h 48"/>
                <a:gd name="T42" fmla="*/ 10 w 51"/>
                <a:gd name="T43" fmla="*/ 32 h 48"/>
                <a:gd name="T44" fmla="*/ 6 w 51"/>
                <a:gd name="T45" fmla="*/ 29 h 48"/>
                <a:gd name="T46" fmla="*/ 5 w 51"/>
                <a:gd name="T47" fmla="*/ 29 h 48"/>
                <a:gd name="T48" fmla="*/ 5 w 51"/>
                <a:gd name="T49" fmla="*/ 29 h 48"/>
                <a:gd name="T50" fmla="*/ 5 w 51"/>
                <a:gd name="T51" fmla="*/ 29 h 48"/>
                <a:gd name="T52" fmla="*/ 13 w 51"/>
                <a:gd name="T53" fmla="*/ 30 h 48"/>
                <a:gd name="T54" fmla="*/ 26 w 51"/>
                <a:gd name="T55" fmla="*/ 17 h 48"/>
                <a:gd name="T56" fmla="*/ 23 w 51"/>
                <a:gd name="T57" fmla="*/ 6 h 48"/>
                <a:gd name="T58" fmla="*/ 26 w 51"/>
                <a:gd name="T59" fmla="*/ 7 h 48"/>
                <a:gd name="T60" fmla="*/ 32 w 51"/>
                <a:gd name="T61" fmla="*/ 20 h 48"/>
                <a:gd name="T62" fmla="*/ 45 w 51"/>
                <a:gd name="T63" fmla="*/ 19 h 48"/>
                <a:gd name="T64" fmla="*/ 47 w 51"/>
                <a:gd name="T65" fmla="*/ 17 h 48"/>
                <a:gd name="T66" fmla="*/ 39 w 51"/>
                <a:gd name="T67" fmla="*/ 14 h 48"/>
                <a:gd name="T68" fmla="*/ 34 w 51"/>
                <a:gd name="T69" fmla="*/ 14 h 48"/>
                <a:gd name="T70" fmla="*/ 31 w 51"/>
                <a:gd name="T71" fmla="*/ 6 h 48"/>
                <a:gd name="T72" fmla="*/ 23 w 51"/>
                <a:gd name="T73" fmla="*/ 0 h 48"/>
                <a:gd name="T74" fmla="*/ 18 w 51"/>
                <a:gd name="T75" fmla="*/ 7 h 48"/>
                <a:gd name="T76" fmla="*/ 19 w 51"/>
                <a:gd name="T77" fmla="*/ 25 h 48"/>
                <a:gd name="T78" fmla="*/ 5 w 51"/>
                <a:gd name="T79" fmla="*/ 25 h 48"/>
                <a:gd name="T80" fmla="*/ 0 w 51"/>
                <a:gd name="T81" fmla="*/ 29 h 48"/>
                <a:gd name="T82" fmla="*/ 6 w 51"/>
                <a:gd name="T83" fmla="*/ 36 h 48"/>
                <a:gd name="T84" fmla="*/ 6 w 51"/>
                <a:gd name="T85" fmla="*/ 46 h 48"/>
                <a:gd name="T86" fmla="*/ 15 w 51"/>
                <a:gd name="T87" fmla="*/ 43 h 48"/>
                <a:gd name="T88" fmla="*/ 18 w 51"/>
                <a:gd name="T89" fmla="*/ 35 h 48"/>
                <a:gd name="T90" fmla="*/ 18 w 51"/>
                <a:gd name="T91" fmla="*/ 36 h 48"/>
                <a:gd name="T92" fmla="*/ 16 w 51"/>
                <a:gd name="T93" fmla="*/ 36 h 48"/>
                <a:gd name="T94" fmla="*/ 16 w 51"/>
                <a:gd name="T95" fmla="*/ 36 h 48"/>
                <a:gd name="T96" fmla="*/ 16 w 51"/>
                <a:gd name="T97" fmla="*/ 35 h 48"/>
                <a:gd name="T98" fmla="*/ 15 w 51"/>
                <a:gd name="T99" fmla="*/ 39 h 48"/>
                <a:gd name="T100" fmla="*/ 25 w 51"/>
                <a:gd name="T101" fmla="*/ 42 h 48"/>
                <a:gd name="T102" fmla="*/ 32 w 51"/>
                <a:gd name="T103" fmla="*/ 36 h 48"/>
                <a:gd name="T104" fmla="*/ 31 w 51"/>
                <a:gd name="T105" fmla="*/ 30 h 48"/>
                <a:gd name="T106" fmla="*/ 31 w 51"/>
                <a:gd name="T107" fmla="*/ 30 h 48"/>
                <a:gd name="T108" fmla="*/ 31 w 51"/>
                <a:gd name="T109" fmla="*/ 32 h 48"/>
                <a:gd name="T110" fmla="*/ 29 w 51"/>
                <a:gd name="T111" fmla="*/ 32 h 48"/>
                <a:gd name="T112" fmla="*/ 38 w 51"/>
                <a:gd name="T113" fmla="*/ 33 h 48"/>
                <a:gd name="T114" fmla="*/ 39 w 51"/>
                <a:gd name="T115" fmla="*/ 27 h 48"/>
                <a:gd name="T116" fmla="*/ 39 w 51"/>
                <a:gd name="T117" fmla="*/ 27 h 48"/>
                <a:gd name="T118" fmla="*/ 39 w 51"/>
                <a:gd name="T119" fmla="*/ 27 h 48"/>
                <a:gd name="T120" fmla="*/ 45 w 51"/>
                <a:gd name="T121" fmla="*/ 30 h 48"/>
                <a:gd name="T122" fmla="*/ 51 w 51"/>
                <a:gd name="T12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 h="48">
                  <a:moveTo>
                    <a:pt x="47" y="17"/>
                  </a:moveTo>
                  <a:lnTo>
                    <a:pt x="45" y="19"/>
                  </a:lnTo>
                  <a:lnTo>
                    <a:pt x="45" y="19"/>
                  </a:lnTo>
                  <a:lnTo>
                    <a:pt x="45" y="19"/>
                  </a:lnTo>
                  <a:lnTo>
                    <a:pt x="45" y="19"/>
                  </a:lnTo>
                  <a:lnTo>
                    <a:pt x="45" y="19"/>
                  </a:lnTo>
                  <a:lnTo>
                    <a:pt x="45" y="19"/>
                  </a:lnTo>
                  <a:lnTo>
                    <a:pt x="45" y="19"/>
                  </a:lnTo>
                  <a:lnTo>
                    <a:pt x="45" y="20"/>
                  </a:lnTo>
                  <a:lnTo>
                    <a:pt x="45" y="20"/>
                  </a:lnTo>
                  <a:lnTo>
                    <a:pt x="45" y="23"/>
                  </a:lnTo>
                  <a:lnTo>
                    <a:pt x="45" y="23"/>
                  </a:lnTo>
                  <a:lnTo>
                    <a:pt x="45" y="26"/>
                  </a:lnTo>
                  <a:lnTo>
                    <a:pt x="45" y="26"/>
                  </a:lnTo>
                  <a:lnTo>
                    <a:pt x="45" y="26"/>
                  </a:lnTo>
                  <a:lnTo>
                    <a:pt x="45" y="26"/>
                  </a:lnTo>
                  <a:lnTo>
                    <a:pt x="45" y="26"/>
                  </a:lnTo>
                  <a:lnTo>
                    <a:pt x="45" y="26"/>
                  </a:lnTo>
                  <a:lnTo>
                    <a:pt x="45" y="26"/>
                  </a:lnTo>
                  <a:lnTo>
                    <a:pt x="45" y="26"/>
                  </a:lnTo>
                  <a:lnTo>
                    <a:pt x="45" y="26"/>
                  </a:lnTo>
                  <a:lnTo>
                    <a:pt x="45" y="26"/>
                  </a:lnTo>
                  <a:lnTo>
                    <a:pt x="44" y="26"/>
                  </a:lnTo>
                  <a:lnTo>
                    <a:pt x="44" y="26"/>
                  </a:lnTo>
                  <a:lnTo>
                    <a:pt x="42" y="25"/>
                  </a:lnTo>
                  <a:lnTo>
                    <a:pt x="42" y="25"/>
                  </a:lnTo>
                  <a:lnTo>
                    <a:pt x="41" y="23"/>
                  </a:lnTo>
                  <a:lnTo>
                    <a:pt x="41" y="23"/>
                  </a:lnTo>
                  <a:lnTo>
                    <a:pt x="39" y="23"/>
                  </a:lnTo>
                  <a:lnTo>
                    <a:pt x="38" y="23"/>
                  </a:lnTo>
                  <a:lnTo>
                    <a:pt x="38" y="23"/>
                  </a:lnTo>
                  <a:lnTo>
                    <a:pt x="37" y="25"/>
                  </a:lnTo>
                  <a:lnTo>
                    <a:pt x="37" y="25"/>
                  </a:lnTo>
                  <a:lnTo>
                    <a:pt x="35" y="26"/>
                  </a:lnTo>
                  <a:lnTo>
                    <a:pt x="35" y="26"/>
                  </a:lnTo>
                  <a:lnTo>
                    <a:pt x="34" y="30"/>
                  </a:lnTo>
                  <a:lnTo>
                    <a:pt x="34" y="30"/>
                  </a:lnTo>
                  <a:lnTo>
                    <a:pt x="34" y="30"/>
                  </a:lnTo>
                  <a:lnTo>
                    <a:pt x="35" y="30"/>
                  </a:lnTo>
                  <a:lnTo>
                    <a:pt x="34" y="30"/>
                  </a:lnTo>
                  <a:lnTo>
                    <a:pt x="34" y="30"/>
                  </a:lnTo>
                  <a:lnTo>
                    <a:pt x="35" y="30"/>
                  </a:lnTo>
                  <a:lnTo>
                    <a:pt x="34" y="30"/>
                  </a:lnTo>
                  <a:lnTo>
                    <a:pt x="35" y="32"/>
                  </a:lnTo>
                  <a:lnTo>
                    <a:pt x="35" y="29"/>
                  </a:lnTo>
                  <a:lnTo>
                    <a:pt x="34" y="30"/>
                  </a:lnTo>
                  <a:lnTo>
                    <a:pt x="35" y="32"/>
                  </a:lnTo>
                  <a:lnTo>
                    <a:pt x="35" y="29"/>
                  </a:lnTo>
                  <a:lnTo>
                    <a:pt x="35" y="30"/>
                  </a:lnTo>
                  <a:lnTo>
                    <a:pt x="35" y="29"/>
                  </a:lnTo>
                  <a:lnTo>
                    <a:pt x="35" y="29"/>
                  </a:lnTo>
                  <a:lnTo>
                    <a:pt x="35" y="30"/>
                  </a:lnTo>
                  <a:lnTo>
                    <a:pt x="35" y="29"/>
                  </a:lnTo>
                  <a:lnTo>
                    <a:pt x="35" y="29"/>
                  </a:lnTo>
                  <a:lnTo>
                    <a:pt x="35" y="29"/>
                  </a:lnTo>
                  <a:lnTo>
                    <a:pt x="35" y="29"/>
                  </a:lnTo>
                  <a:lnTo>
                    <a:pt x="35" y="29"/>
                  </a:lnTo>
                  <a:lnTo>
                    <a:pt x="35" y="29"/>
                  </a:lnTo>
                  <a:lnTo>
                    <a:pt x="35" y="29"/>
                  </a:lnTo>
                  <a:lnTo>
                    <a:pt x="34" y="29"/>
                  </a:lnTo>
                  <a:lnTo>
                    <a:pt x="34" y="29"/>
                  </a:lnTo>
                  <a:lnTo>
                    <a:pt x="32" y="27"/>
                  </a:lnTo>
                  <a:lnTo>
                    <a:pt x="32" y="27"/>
                  </a:lnTo>
                  <a:lnTo>
                    <a:pt x="31" y="26"/>
                  </a:lnTo>
                  <a:lnTo>
                    <a:pt x="31" y="26"/>
                  </a:lnTo>
                  <a:lnTo>
                    <a:pt x="28" y="27"/>
                  </a:lnTo>
                  <a:lnTo>
                    <a:pt x="28" y="27"/>
                  </a:lnTo>
                  <a:lnTo>
                    <a:pt x="28" y="29"/>
                  </a:lnTo>
                  <a:lnTo>
                    <a:pt x="28" y="29"/>
                  </a:lnTo>
                  <a:lnTo>
                    <a:pt x="28" y="29"/>
                  </a:lnTo>
                  <a:lnTo>
                    <a:pt x="26" y="32"/>
                  </a:lnTo>
                  <a:lnTo>
                    <a:pt x="26" y="32"/>
                  </a:lnTo>
                  <a:lnTo>
                    <a:pt x="26" y="36"/>
                  </a:lnTo>
                  <a:lnTo>
                    <a:pt x="26" y="36"/>
                  </a:lnTo>
                  <a:lnTo>
                    <a:pt x="26" y="36"/>
                  </a:lnTo>
                  <a:lnTo>
                    <a:pt x="28" y="36"/>
                  </a:lnTo>
                  <a:lnTo>
                    <a:pt x="28" y="36"/>
                  </a:lnTo>
                  <a:lnTo>
                    <a:pt x="26" y="36"/>
                  </a:lnTo>
                  <a:lnTo>
                    <a:pt x="28" y="36"/>
                  </a:lnTo>
                  <a:lnTo>
                    <a:pt x="28" y="36"/>
                  </a:lnTo>
                  <a:lnTo>
                    <a:pt x="28" y="36"/>
                  </a:lnTo>
                  <a:lnTo>
                    <a:pt x="28" y="36"/>
                  </a:lnTo>
                  <a:lnTo>
                    <a:pt x="28" y="36"/>
                  </a:lnTo>
                  <a:lnTo>
                    <a:pt x="28" y="36"/>
                  </a:lnTo>
                  <a:lnTo>
                    <a:pt x="28" y="36"/>
                  </a:lnTo>
                  <a:lnTo>
                    <a:pt x="28" y="36"/>
                  </a:lnTo>
                  <a:lnTo>
                    <a:pt x="22" y="38"/>
                  </a:lnTo>
                  <a:lnTo>
                    <a:pt x="22" y="38"/>
                  </a:lnTo>
                  <a:lnTo>
                    <a:pt x="19" y="39"/>
                  </a:lnTo>
                  <a:lnTo>
                    <a:pt x="19" y="39"/>
                  </a:lnTo>
                  <a:lnTo>
                    <a:pt x="21" y="39"/>
                  </a:lnTo>
                  <a:lnTo>
                    <a:pt x="19" y="39"/>
                  </a:lnTo>
                  <a:lnTo>
                    <a:pt x="19" y="39"/>
                  </a:lnTo>
                  <a:lnTo>
                    <a:pt x="21" y="39"/>
                  </a:lnTo>
                  <a:lnTo>
                    <a:pt x="19" y="39"/>
                  </a:lnTo>
                  <a:lnTo>
                    <a:pt x="21" y="39"/>
                  </a:lnTo>
                  <a:lnTo>
                    <a:pt x="21" y="39"/>
                  </a:lnTo>
                  <a:lnTo>
                    <a:pt x="19" y="39"/>
                  </a:lnTo>
                  <a:lnTo>
                    <a:pt x="21" y="39"/>
                  </a:lnTo>
                  <a:lnTo>
                    <a:pt x="19" y="39"/>
                  </a:lnTo>
                  <a:lnTo>
                    <a:pt x="21" y="39"/>
                  </a:lnTo>
                  <a:lnTo>
                    <a:pt x="21" y="39"/>
                  </a:lnTo>
                  <a:lnTo>
                    <a:pt x="19" y="39"/>
                  </a:lnTo>
                  <a:lnTo>
                    <a:pt x="21" y="39"/>
                  </a:lnTo>
                  <a:lnTo>
                    <a:pt x="21" y="39"/>
                  </a:lnTo>
                  <a:lnTo>
                    <a:pt x="21" y="38"/>
                  </a:lnTo>
                  <a:lnTo>
                    <a:pt x="21" y="38"/>
                  </a:lnTo>
                  <a:lnTo>
                    <a:pt x="21" y="35"/>
                  </a:lnTo>
                  <a:lnTo>
                    <a:pt x="21" y="35"/>
                  </a:lnTo>
                  <a:lnTo>
                    <a:pt x="21" y="33"/>
                  </a:lnTo>
                  <a:lnTo>
                    <a:pt x="21" y="33"/>
                  </a:lnTo>
                  <a:lnTo>
                    <a:pt x="19" y="32"/>
                  </a:lnTo>
                  <a:lnTo>
                    <a:pt x="18" y="30"/>
                  </a:lnTo>
                  <a:lnTo>
                    <a:pt x="18" y="30"/>
                  </a:lnTo>
                  <a:lnTo>
                    <a:pt x="15" y="32"/>
                  </a:lnTo>
                  <a:lnTo>
                    <a:pt x="15" y="32"/>
                  </a:lnTo>
                  <a:lnTo>
                    <a:pt x="13" y="33"/>
                  </a:lnTo>
                  <a:lnTo>
                    <a:pt x="13" y="33"/>
                  </a:lnTo>
                  <a:lnTo>
                    <a:pt x="12" y="36"/>
                  </a:lnTo>
                  <a:lnTo>
                    <a:pt x="12" y="36"/>
                  </a:lnTo>
                  <a:lnTo>
                    <a:pt x="10" y="42"/>
                  </a:lnTo>
                  <a:lnTo>
                    <a:pt x="10" y="42"/>
                  </a:lnTo>
                  <a:lnTo>
                    <a:pt x="9" y="43"/>
                  </a:lnTo>
                  <a:lnTo>
                    <a:pt x="9" y="43"/>
                  </a:lnTo>
                  <a:lnTo>
                    <a:pt x="9" y="43"/>
                  </a:lnTo>
                  <a:lnTo>
                    <a:pt x="9" y="43"/>
                  </a:lnTo>
                  <a:lnTo>
                    <a:pt x="9" y="43"/>
                  </a:lnTo>
                  <a:lnTo>
                    <a:pt x="9" y="43"/>
                  </a:lnTo>
                  <a:lnTo>
                    <a:pt x="9" y="43"/>
                  </a:lnTo>
                  <a:lnTo>
                    <a:pt x="10" y="45"/>
                  </a:lnTo>
                  <a:lnTo>
                    <a:pt x="10" y="43"/>
                  </a:lnTo>
                  <a:lnTo>
                    <a:pt x="9" y="43"/>
                  </a:lnTo>
                  <a:lnTo>
                    <a:pt x="10" y="45"/>
                  </a:lnTo>
                  <a:lnTo>
                    <a:pt x="10" y="43"/>
                  </a:lnTo>
                  <a:lnTo>
                    <a:pt x="10" y="45"/>
                  </a:lnTo>
                  <a:lnTo>
                    <a:pt x="10" y="43"/>
                  </a:lnTo>
                  <a:lnTo>
                    <a:pt x="10" y="43"/>
                  </a:lnTo>
                  <a:lnTo>
                    <a:pt x="10" y="45"/>
                  </a:lnTo>
                  <a:lnTo>
                    <a:pt x="10" y="43"/>
                  </a:lnTo>
                  <a:lnTo>
                    <a:pt x="10" y="43"/>
                  </a:lnTo>
                  <a:lnTo>
                    <a:pt x="10" y="43"/>
                  </a:lnTo>
                  <a:lnTo>
                    <a:pt x="10" y="43"/>
                  </a:lnTo>
                  <a:lnTo>
                    <a:pt x="10" y="43"/>
                  </a:lnTo>
                  <a:lnTo>
                    <a:pt x="10" y="43"/>
                  </a:lnTo>
                  <a:lnTo>
                    <a:pt x="10" y="43"/>
                  </a:lnTo>
                  <a:lnTo>
                    <a:pt x="10" y="43"/>
                  </a:lnTo>
                  <a:lnTo>
                    <a:pt x="10" y="43"/>
                  </a:lnTo>
                  <a:lnTo>
                    <a:pt x="10" y="40"/>
                  </a:lnTo>
                  <a:lnTo>
                    <a:pt x="10" y="40"/>
                  </a:lnTo>
                  <a:lnTo>
                    <a:pt x="10" y="39"/>
                  </a:lnTo>
                  <a:lnTo>
                    <a:pt x="10" y="39"/>
                  </a:lnTo>
                  <a:lnTo>
                    <a:pt x="10" y="36"/>
                  </a:lnTo>
                  <a:lnTo>
                    <a:pt x="10" y="36"/>
                  </a:lnTo>
                  <a:lnTo>
                    <a:pt x="10" y="32"/>
                  </a:lnTo>
                  <a:lnTo>
                    <a:pt x="10" y="32"/>
                  </a:lnTo>
                  <a:lnTo>
                    <a:pt x="6" y="27"/>
                  </a:lnTo>
                  <a:lnTo>
                    <a:pt x="6" y="27"/>
                  </a:lnTo>
                  <a:lnTo>
                    <a:pt x="5" y="27"/>
                  </a:lnTo>
                  <a:lnTo>
                    <a:pt x="5" y="27"/>
                  </a:lnTo>
                  <a:lnTo>
                    <a:pt x="3" y="29"/>
                  </a:lnTo>
                  <a:lnTo>
                    <a:pt x="6" y="29"/>
                  </a:lnTo>
                  <a:lnTo>
                    <a:pt x="6" y="29"/>
                  </a:lnTo>
                  <a:lnTo>
                    <a:pt x="5" y="27"/>
                  </a:lnTo>
                  <a:lnTo>
                    <a:pt x="3" y="29"/>
                  </a:lnTo>
                  <a:lnTo>
                    <a:pt x="6" y="29"/>
                  </a:lnTo>
                  <a:lnTo>
                    <a:pt x="3" y="29"/>
                  </a:lnTo>
                  <a:lnTo>
                    <a:pt x="5" y="29"/>
                  </a:lnTo>
                  <a:lnTo>
                    <a:pt x="5" y="29"/>
                  </a:lnTo>
                  <a:lnTo>
                    <a:pt x="6" y="29"/>
                  </a:lnTo>
                  <a:lnTo>
                    <a:pt x="3" y="29"/>
                  </a:lnTo>
                  <a:lnTo>
                    <a:pt x="5" y="29"/>
                  </a:lnTo>
                  <a:lnTo>
                    <a:pt x="5" y="29"/>
                  </a:lnTo>
                  <a:lnTo>
                    <a:pt x="5" y="30"/>
                  </a:lnTo>
                  <a:lnTo>
                    <a:pt x="5" y="29"/>
                  </a:lnTo>
                  <a:lnTo>
                    <a:pt x="5" y="29"/>
                  </a:lnTo>
                  <a:lnTo>
                    <a:pt x="5" y="30"/>
                  </a:lnTo>
                  <a:lnTo>
                    <a:pt x="5" y="29"/>
                  </a:lnTo>
                  <a:lnTo>
                    <a:pt x="5" y="30"/>
                  </a:lnTo>
                  <a:lnTo>
                    <a:pt x="5" y="30"/>
                  </a:lnTo>
                  <a:lnTo>
                    <a:pt x="5" y="29"/>
                  </a:lnTo>
                  <a:lnTo>
                    <a:pt x="5" y="30"/>
                  </a:lnTo>
                  <a:lnTo>
                    <a:pt x="5" y="29"/>
                  </a:lnTo>
                  <a:lnTo>
                    <a:pt x="5" y="30"/>
                  </a:lnTo>
                  <a:lnTo>
                    <a:pt x="5" y="30"/>
                  </a:lnTo>
                  <a:lnTo>
                    <a:pt x="5" y="29"/>
                  </a:lnTo>
                  <a:lnTo>
                    <a:pt x="5" y="30"/>
                  </a:lnTo>
                  <a:lnTo>
                    <a:pt x="5" y="30"/>
                  </a:lnTo>
                  <a:lnTo>
                    <a:pt x="5" y="30"/>
                  </a:lnTo>
                  <a:lnTo>
                    <a:pt x="13" y="30"/>
                  </a:lnTo>
                  <a:lnTo>
                    <a:pt x="13" y="30"/>
                  </a:lnTo>
                  <a:lnTo>
                    <a:pt x="18" y="30"/>
                  </a:lnTo>
                  <a:lnTo>
                    <a:pt x="18" y="30"/>
                  </a:lnTo>
                  <a:lnTo>
                    <a:pt x="22" y="27"/>
                  </a:lnTo>
                  <a:lnTo>
                    <a:pt x="22" y="27"/>
                  </a:lnTo>
                  <a:lnTo>
                    <a:pt x="25" y="23"/>
                  </a:lnTo>
                  <a:lnTo>
                    <a:pt x="26" y="17"/>
                  </a:lnTo>
                  <a:lnTo>
                    <a:pt x="26" y="17"/>
                  </a:lnTo>
                  <a:lnTo>
                    <a:pt x="25" y="13"/>
                  </a:lnTo>
                  <a:lnTo>
                    <a:pt x="23" y="10"/>
                  </a:lnTo>
                  <a:lnTo>
                    <a:pt x="23" y="10"/>
                  </a:lnTo>
                  <a:lnTo>
                    <a:pt x="23" y="7"/>
                  </a:lnTo>
                  <a:lnTo>
                    <a:pt x="23" y="7"/>
                  </a:lnTo>
                  <a:lnTo>
                    <a:pt x="23" y="6"/>
                  </a:lnTo>
                  <a:lnTo>
                    <a:pt x="23" y="6"/>
                  </a:lnTo>
                  <a:lnTo>
                    <a:pt x="23" y="4"/>
                  </a:lnTo>
                  <a:lnTo>
                    <a:pt x="25" y="4"/>
                  </a:lnTo>
                  <a:lnTo>
                    <a:pt x="25" y="6"/>
                  </a:lnTo>
                  <a:lnTo>
                    <a:pt x="25" y="6"/>
                  </a:lnTo>
                  <a:lnTo>
                    <a:pt x="26" y="7"/>
                  </a:lnTo>
                  <a:lnTo>
                    <a:pt x="26" y="7"/>
                  </a:lnTo>
                  <a:lnTo>
                    <a:pt x="28" y="14"/>
                  </a:lnTo>
                  <a:lnTo>
                    <a:pt x="28" y="14"/>
                  </a:lnTo>
                  <a:lnTo>
                    <a:pt x="29" y="17"/>
                  </a:lnTo>
                  <a:lnTo>
                    <a:pt x="29" y="17"/>
                  </a:lnTo>
                  <a:lnTo>
                    <a:pt x="31" y="19"/>
                  </a:lnTo>
                  <a:lnTo>
                    <a:pt x="32" y="20"/>
                  </a:lnTo>
                  <a:lnTo>
                    <a:pt x="32" y="20"/>
                  </a:lnTo>
                  <a:lnTo>
                    <a:pt x="35" y="20"/>
                  </a:lnTo>
                  <a:lnTo>
                    <a:pt x="35" y="20"/>
                  </a:lnTo>
                  <a:lnTo>
                    <a:pt x="41" y="20"/>
                  </a:lnTo>
                  <a:lnTo>
                    <a:pt x="41" y="20"/>
                  </a:lnTo>
                  <a:lnTo>
                    <a:pt x="44" y="19"/>
                  </a:lnTo>
                  <a:lnTo>
                    <a:pt x="45" y="19"/>
                  </a:lnTo>
                  <a:lnTo>
                    <a:pt x="45" y="19"/>
                  </a:lnTo>
                  <a:lnTo>
                    <a:pt x="45" y="19"/>
                  </a:lnTo>
                  <a:lnTo>
                    <a:pt x="45" y="19"/>
                  </a:lnTo>
                  <a:lnTo>
                    <a:pt x="45" y="19"/>
                  </a:lnTo>
                  <a:lnTo>
                    <a:pt x="45" y="19"/>
                  </a:lnTo>
                  <a:lnTo>
                    <a:pt x="45" y="19"/>
                  </a:lnTo>
                  <a:lnTo>
                    <a:pt x="45" y="19"/>
                  </a:lnTo>
                  <a:lnTo>
                    <a:pt x="47" y="17"/>
                  </a:lnTo>
                  <a:lnTo>
                    <a:pt x="50" y="16"/>
                  </a:lnTo>
                  <a:lnTo>
                    <a:pt x="50" y="16"/>
                  </a:lnTo>
                  <a:lnTo>
                    <a:pt x="47" y="14"/>
                  </a:lnTo>
                  <a:lnTo>
                    <a:pt x="47" y="14"/>
                  </a:lnTo>
                  <a:lnTo>
                    <a:pt x="44" y="14"/>
                  </a:lnTo>
                  <a:lnTo>
                    <a:pt x="44" y="14"/>
                  </a:lnTo>
                  <a:lnTo>
                    <a:pt x="39" y="14"/>
                  </a:lnTo>
                  <a:lnTo>
                    <a:pt x="39" y="14"/>
                  </a:lnTo>
                  <a:lnTo>
                    <a:pt x="35" y="14"/>
                  </a:lnTo>
                  <a:lnTo>
                    <a:pt x="35" y="14"/>
                  </a:lnTo>
                  <a:lnTo>
                    <a:pt x="34" y="14"/>
                  </a:lnTo>
                  <a:lnTo>
                    <a:pt x="34" y="16"/>
                  </a:lnTo>
                  <a:lnTo>
                    <a:pt x="34" y="14"/>
                  </a:lnTo>
                  <a:lnTo>
                    <a:pt x="34" y="14"/>
                  </a:lnTo>
                  <a:lnTo>
                    <a:pt x="34" y="16"/>
                  </a:lnTo>
                  <a:lnTo>
                    <a:pt x="34" y="14"/>
                  </a:lnTo>
                  <a:lnTo>
                    <a:pt x="34" y="14"/>
                  </a:lnTo>
                  <a:lnTo>
                    <a:pt x="34" y="14"/>
                  </a:lnTo>
                  <a:lnTo>
                    <a:pt x="32" y="13"/>
                  </a:lnTo>
                  <a:lnTo>
                    <a:pt x="32" y="13"/>
                  </a:lnTo>
                  <a:lnTo>
                    <a:pt x="31" y="6"/>
                  </a:lnTo>
                  <a:lnTo>
                    <a:pt x="31" y="6"/>
                  </a:lnTo>
                  <a:lnTo>
                    <a:pt x="29" y="3"/>
                  </a:lnTo>
                  <a:lnTo>
                    <a:pt x="29" y="3"/>
                  </a:lnTo>
                  <a:lnTo>
                    <a:pt x="28" y="1"/>
                  </a:lnTo>
                  <a:lnTo>
                    <a:pt x="26" y="0"/>
                  </a:lnTo>
                  <a:lnTo>
                    <a:pt x="26" y="0"/>
                  </a:lnTo>
                  <a:lnTo>
                    <a:pt x="23" y="0"/>
                  </a:lnTo>
                  <a:lnTo>
                    <a:pt x="23" y="0"/>
                  </a:lnTo>
                  <a:lnTo>
                    <a:pt x="22" y="0"/>
                  </a:lnTo>
                  <a:lnTo>
                    <a:pt x="19" y="1"/>
                  </a:lnTo>
                  <a:lnTo>
                    <a:pt x="19" y="1"/>
                  </a:lnTo>
                  <a:lnTo>
                    <a:pt x="18" y="4"/>
                  </a:lnTo>
                  <a:lnTo>
                    <a:pt x="18" y="7"/>
                  </a:lnTo>
                  <a:lnTo>
                    <a:pt x="18" y="7"/>
                  </a:lnTo>
                  <a:lnTo>
                    <a:pt x="18" y="10"/>
                  </a:lnTo>
                  <a:lnTo>
                    <a:pt x="19" y="13"/>
                  </a:lnTo>
                  <a:lnTo>
                    <a:pt x="19" y="13"/>
                  </a:lnTo>
                  <a:lnTo>
                    <a:pt x="21" y="17"/>
                  </a:lnTo>
                  <a:lnTo>
                    <a:pt x="21" y="17"/>
                  </a:lnTo>
                  <a:lnTo>
                    <a:pt x="21" y="22"/>
                  </a:lnTo>
                  <a:lnTo>
                    <a:pt x="19" y="25"/>
                  </a:lnTo>
                  <a:lnTo>
                    <a:pt x="19" y="25"/>
                  </a:lnTo>
                  <a:lnTo>
                    <a:pt x="16" y="25"/>
                  </a:lnTo>
                  <a:lnTo>
                    <a:pt x="16" y="25"/>
                  </a:lnTo>
                  <a:lnTo>
                    <a:pt x="13" y="26"/>
                  </a:lnTo>
                  <a:lnTo>
                    <a:pt x="13" y="26"/>
                  </a:lnTo>
                  <a:lnTo>
                    <a:pt x="5" y="25"/>
                  </a:lnTo>
                  <a:lnTo>
                    <a:pt x="5" y="25"/>
                  </a:lnTo>
                  <a:lnTo>
                    <a:pt x="3" y="25"/>
                  </a:lnTo>
                  <a:lnTo>
                    <a:pt x="3" y="25"/>
                  </a:lnTo>
                  <a:lnTo>
                    <a:pt x="2" y="26"/>
                  </a:lnTo>
                  <a:lnTo>
                    <a:pt x="2" y="26"/>
                  </a:lnTo>
                  <a:lnTo>
                    <a:pt x="2" y="26"/>
                  </a:lnTo>
                  <a:lnTo>
                    <a:pt x="0" y="29"/>
                  </a:lnTo>
                  <a:lnTo>
                    <a:pt x="0" y="29"/>
                  </a:lnTo>
                  <a:lnTo>
                    <a:pt x="2" y="30"/>
                  </a:lnTo>
                  <a:lnTo>
                    <a:pt x="2" y="30"/>
                  </a:lnTo>
                  <a:lnTo>
                    <a:pt x="2" y="32"/>
                  </a:lnTo>
                  <a:lnTo>
                    <a:pt x="2" y="32"/>
                  </a:lnTo>
                  <a:lnTo>
                    <a:pt x="6" y="35"/>
                  </a:lnTo>
                  <a:lnTo>
                    <a:pt x="6" y="35"/>
                  </a:lnTo>
                  <a:lnTo>
                    <a:pt x="6" y="36"/>
                  </a:lnTo>
                  <a:lnTo>
                    <a:pt x="6" y="36"/>
                  </a:lnTo>
                  <a:lnTo>
                    <a:pt x="6" y="38"/>
                  </a:lnTo>
                  <a:lnTo>
                    <a:pt x="6" y="38"/>
                  </a:lnTo>
                  <a:lnTo>
                    <a:pt x="5" y="40"/>
                  </a:lnTo>
                  <a:lnTo>
                    <a:pt x="5" y="40"/>
                  </a:lnTo>
                  <a:lnTo>
                    <a:pt x="6" y="46"/>
                  </a:lnTo>
                  <a:lnTo>
                    <a:pt x="6" y="46"/>
                  </a:lnTo>
                  <a:lnTo>
                    <a:pt x="8" y="48"/>
                  </a:lnTo>
                  <a:lnTo>
                    <a:pt x="8" y="48"/>
                  </a:lnTo>
                  <a:lnTo>
                    <a:pt x="10" y="48"/>
                  </a:lnTo>
                  <a:lnTo>
                    <a:pt x="10" y="48"/>
                  </a:lnTo>
                  <a:lnTo>
                    <a:pt x="13" y="46"/>
                  </a:lnTo>
                  <a:lnTo>
                    <a:pt x="13" y="46"/>
                  </a:lnTo>
                  <a:lnTo>
                    <a:pt x="15" y="43"/>
                  </a:lnTo>
                  <a:lnTo>
                    <a:pt x="15" y="43"/>
                  </a:lnTo>
                  <a:lnTo>
                    <a:pt x="18" y="38"/>
                  </a:lnTo>
                  <a:lnTo>
                    <a:pt x="18" y="38"/>
                  </a:lnTo>
                  <a:lnTo>
                    <a:pt x="18" y="36"/>
                  </a:lnTo>
                  <a:lnTo>
                    <a:pt x="18" y="36"/>
                  </a:lnTo>
                  <a:lnTo>
                    <a:pt x="18" y="36"/>
                  </a:lnTo>
                  <a:lnTo>
                    <a:pt x="18" y="35"/>
                  </a:lnTo>
                  <a:lnTo>
                    <a:pt x="18" y="36"/>
                  </a:lnTo>
                  <a:lnTo>
                    <a:pt x="18" y="36"/>
                  </a:lnTo>
                  <a:lnTo>
                    <a:pt x="18" y="35"/>
                  </a:lnTo>
                  <a:lnTo>
                    <a:pt x="18" y="36"/>
                  </a:lnTo>
                  <a:lnTo>
                    <a:pt x="18" y="35"/>
                  </a:lnTo>
                  <a:lnTo>
                    <a:pt x="18" y="36"/>
                  </a:lnTo>
                  <a:lnTo>
                    <a:pt x="18" y="36"/>
                  </a:lnTo>
                  <a:lnTo>
                    <a:pt x="18" y="35"/>
                  </a:lnTo>
                  <a:lnTo>
                    <a:pt x="18" y="36"/>
                  </a:lnTo>
                  <a:lnTo>
                    <a:pt x="18" y="35"/>
                  </a:lnTo>
                  <a:lnTo>
                    <a:pt x="16" y="36"/>
                  </a:lnTo>
                  <a:lnTo>
                    <a:pt x="18" y="36"/>
                  </a:lnTo>
                  <a:lnTo>
                    <a:pt x="18" y="35"/>
                  </a:lnTo>
                  <a:lnTo>
                    <a:pt x="16" y="36"/>
                  </a:lnTo>
                  <a:lnTo>
                    <a:pt x="16" y="36"/>
                  </a:lnTo>
                  <a:lnTo>
                    <a:pt x="16" y="36"/>
                  </a:lnTo>
                  <a:lnTo>
                    <a:pt x="16" y="36"/>
                  </a:lnTo>
                  <a:lnTo>
                    <a:pt x="16" y="36"/>
                  </a:lnTo>
                  <a:lnTo>
                    <a:pt x="16" y="36"/>
                  </a:lnTo>
                  <a:lnTo>
                    <a:pt x="18" y="35"/>
                  </a:lnTo>
                  <a:lnTo>
                    <a:pt x="16" y="36"/>
                  </a:lnTo>
                  <a:lnTo>
                    <a:pt x="16" y="36"/>
                  </a:lnTo>
                  <a:lnTo>
                    <a:pt x="18" y="35"/>
                  </a:lnTo>
                  <a:lnTo>
                    <a:pt x="16" y="36"/>
                  </a:lnTo>
                  <a:lnTo>
                    <a:pt x="16" y="35"/>
                  </a:lnTo>
                  <a:lnTo>
                    <a:pt x="16" y="35"/>
                  </a:lnTo>
                  <a:lnTo>
                    <a:pt x="16" y="36"/>
                  </a:lnTo>
                  <a:lnTo>
                    <a:pt x="16" y="35"/>
                  </a:lnTo>
                  <a:lnTo>
                    <a:pt x="16" y="35"/>
                  </a:lnTo>
                  <a:lnTo>
                    <a:pt x="16" y="35"/>
                  </a:lnTo>
                  <a:lnTo>
                    <a:pt x="16" y="35"/>
                  </a:lnTo>
                  <a:lnTo>
                    <a:pt x="16" y="36"/>
                  </a:lnTo>
                  <a:lnTo>
                    <a:pt x="16" y="36"/>
                  </a:lnTo>
                  <a:lnTo>
                    <a:pt x="15" y="39"/>
                  </a:lnTo>
                  <a:lnTo>
                    <a:pt x="15" y="39"/>
                  </a:lnTo>
                  <a:lnTo>
                    <a:pt x="16" y="42"/>
                  </a:lnTo>
                  <a:lnTo>
                    <a:pt x="16" y="42"/>
                  </a:lnTo>
                  <a:lnTo>
                    <a:pt x="18" y="43"/>
                  </a:lnTo>
                  <a:lnTo>
                    <a:pt x="18" y="43"/>
                  </a:lnTo>
                  <a:lnTo>
                    <a:pt x="19" y="43"/>
                  </a:lnTo>
                  <a:lnTo>
                    <a:pt x="19" y="43"/>
                  </a:lnTo>
                  <a:lnTo>
                    <a:pt x="25" y="42"/>
                  </a:lnTo>
                  <a:lnTo>
                    <a:pt x="25" y="42"/>
                  </a:lnTo>
                  <a:lnTo>
                    <a:pt x="28" y="40"/>
                  </a:lnTo>
                  <a:lnTo>
                    <a:pt x="28" y="40"/>
                  </a:lnTo>
                  <a:lnTo>
                    <a:pt x="31" y="39"/>
                  </a:lnTo>
                  <a:lnTo>
                    <a:pt x="31" y="39"/>
                  </a:lnTo>
                  <a:lnTo>
                    <a:pt x="32" y="36"/>
                  </a:lnTo>
                  <a:lnTo>
                    <a:pt x="32" y="36"/>
                  </a:lnTo>
                  <a:lnTo>
                    <a:pt x="32" y="32"/>
                  </a:lnTo>
                  <a:lnTo>
                    <a:pt x="32" y="30"/>
                  </a:lnTo>
                  <a:lnTo>
                    <a:pt x="32" y="30"/>
                  </a:lnTo>
                  <a:lnTo>
                    <a:pt x="31" y="30"/>
                  </a:lnTo>
                  <a:lnTo>
                    <a:pt x="32" y="32"/>
                  </a:lnTo>
                  <a:lnTo>
                    <a:pt x="32" y="30"/>
                  </a:lnTo>
                  <a:lnTo>
                    <a:pt x="31" y="30"/>
                  </a:lnTo>
                  <a:lnTo>
                    <a:pt x="32" y="32"/>
                  </a:lnTo>
                  <a:lnTo>
                    <a:pt x="31" y="30"/>
                  </a:lnTo>
                  <a:lnTo>
                    <a:pt x="31" y="32"/>
                  </a:lnTo>
                  <a:lnTo>
                    <a:pt x="32" y="32"/>
                  </a:lnTo>
                  <a:lnTo>
                    <a:pt x="31" y="30"/>
                  </a:lnTo>
                  <a:lnTo>
                    <a:pt x="31" y="32"/>
                  </a:lnTo>
                  <a:lnTo>
                    <a:pt x="31" y="30"/>
                  </a:lnTo>
                  <a:lnTo>
                    <a:pt x="31" y="32"/>
                  </a:lnTo>
                  <a:lnTo>
                    <a:pt x="31" y="32"/>
                  </a:lnTo>
                  <a:lnTo>
                    <a:pt x="31" y="30"/>
                  </a:lnTo>
                  <a:lnTo>
                    <a:pt x="31" y="32"/>
                  </a:lnTo>
                  <a:lnTo>
                    <a:pt x="31" y="30"/>
                  </a:lnTo>
                  <a:lnTo>
                    <a:pt x="29" y="32"/>
                  </a:lnTo>
                  <a:lnTo>
                    <a:pt x="31" y="32"/>
                  </a:lnTo>
                  <a:lnTo>
                    <a:pt x="31" y="30"/>
                  </a:lnTo>
                  <a:lnTo>
                    <a:pt x="29" y="32"/>
                  </a:lnTo>
                  <a:lnTo>
                    <a:pt x="29" y="32"/>
                  </a:lnTo>
                  <a:lnTo>
                    <a:pt x="29" y="32"/>
                  </a:lnTo>
                  <a:lnTo>
                    <a:pt x="29" y="32"/>
                  </a:lnTo>
                  <a:lnTo>
                    <a:pt x="29" y="32"/>
                  </a:lnTo>
                  <a:lnTo>
                    <a:pt x="29" y="32"/>
                  </a:lnTo>
                  <a:lnTo>
                    <a:pt x="29" y="32"/>
                  </a:lnTo>
                  <a:lnTo>
                    <a:pt x="31" y="33"/>
                  </a:lnTo>
                  <a:lnTo>
                    <a:pt x="31" y="33"/>
                  </a:lnTo>
                  <a:lnTo>
                    <a:pt x="34" y="35"/>
                  </a:lnTo>
                  <a:lnTo>
                    <a:pt x="35" y="35"/>
                  </a:lnTo>
                  <a:lnTo>
                    <a:pt x="35" y="35"/>
                  </a:lnTo>
                  <a:lnTo>
                    <a:pt x="38" y="33"/>
                  </a:lnTo>
                  <a:lnTo>
                    <a:pt x="38" y="33"/>
                  </a:lnTo>
                  <a:lnTo>
                    <a:pt x="38" y="30"/>
                  </a:lnTo>
                  <a:lnTo>
                    <a:pt x="38" y="30"/>
                  </a:lnTo>
                  <a:lnTo>
                    <a:pt x="39" y="29"/>
                  </a:lnTo>
                  <a:lnTo>
                    <a:pt x="39" y="27"/>
                  </a:lnTo>
                  <a:lnTo>
                    <a:pt x="39" y="27"/>
                  </a:lnTo>
                  <a:lnTo>
                    <a:pt x="39" y="27"/>
                  </a:lnTo>
                  <a:lnTo>
                    <a:pt x="39" y="27"/>
                  </a:lnTo>
                  <a:lnTo>
                    <a:pt x="39" y="27"/>
                  </a:lnTo>
                  <a:lnTo>
                    <a:pt x="39" y="27"/>
                  </a:lnTo>
                  <a:lnTo>
                    <a:pt x="39" y="27"/>
                  </a:lnTo>
                  <a:lnTo>
                    <a:pt x="39" y="27"/>
                  </a:lnTo>
                  <a:lnTo>
                    <a:pt x="39" y="27"/>
                  </a:lnTo>
                  <a:lnTo>
                    <a:pt x="39" y="27"/>
                  </a:lnTo>
                  <a:lnTo>
                    <a:pt x="39" y="27"/>
                  </a:lnTo>
                  <a:lnTo>
                    <a:pt x="39" y="27"/>
                  </a:lnTo>
                  <a:lnTo>
                    <a:pt x="39" y="27"/>
                  </a:lnTo>
                  <a:lnTo>
                    <a:pt x="39" y="27"/>
                  </a:lnTo>
                  <a:lnTo>
                    <a:pt x="39" y="27"/>
                  </a:lnTo>
                  <a:lnTo>
                    <a:pt x="39" y="27"/>
                  </a:lnTo>
                  <a:lnTo>
                    <a:pt x="39" y="27"/>
                  </a:lnTo>
                  <a:lnTo>
                    <a:pt x="39" y="27"/>
                  </a:lnTo>
                  <a:lnTo>
                    <a:pt x="39" y="27"/>
                  </a:lnTo>
                  <a:lnTo>
                    <a:pt x="39" y="27"/>
                  </a:lnTo>
                  <a:lnTo>
                    <a:pt x="39" y="27"/>
                  </a:lnTo>
                  <a:lnTo>
                    <a:pt x="41" y="29"/>
                  </a:lnTo>
                  <a:lnTo>
                    <a:pt x="41" y="29"/>
                  </a:lnTo>
                  <a:lnTo>
                    <a:pt x="45" y="30"/>
                  </a:lnTo>
                  <a:lnTo>
                    <a:pt x="45" y="30"/>
                  </a:lnTo>
                  <a:lnTo>
                    <a:pt x="45" y="30"/>
                  </a:lnTo>
                  <a:lnTo>
                    <a:pt x="48" y="30"/>
                  </a:lnTo>
                  <a:lnTo>
                    <a:pt x="48" y="30"/>
                  </a:lnTo>
                  <a:lnTo>
                    <a:pt x="50" y="26"/>
                  </a:lnTo>
                  <a:lnTo>
                    <a:pt x="50" y="26"/>
                  </a:lnTo>
                  <a:lnTo>
                    <a:pt x="51" y="23"/>
                  </a:lnTo>
                  <a:lnTo>
                    <a:pt x="51" y="23"/>
                  </a:lnTo>
                  <a:lnTo>
                    <a:pt x="51" y="19"/>
                  </a:lnTo>
                  <a:lnTo>
                    <a:pt x="51" y="19"/>
                  </a:lnTo>
                  <a:lnTo>
                    <a:pt x="50" y="16"/>
                  </a:lnTo>
                  <a:lnTo>
                    <a:pt x="50" y="16"/>
                  </a:lnTo>
                  <a:lnTo>
                    <a:pt x="47"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45" name="Freeform 1556"/>
            <p:cNvSpPr>
              <a:spLocks/>
            </p:cNvSpPr>
            <p:nvPr/>
          </p:nvSpPr>
          <p:spPr bwMode="auto">
            <a:xfrm>
              <a:off x="6831013" y="2380092"/>
              <a:ext cx="39688" cy="55563"/>
            </a:xfrm>
            <a:custGeom>
              <a:avLst/>
              <a:gdLst>
                <a:gd name="T0" fmla="*/ 20 w 25"/>
                <a:gd name="T1" fmla="*/ 6 h 35"/>
                <a:gd name="T2" fmla="*/ 20 w 25"/>
                <a:gd name="T3" fmla="*/ 6 h 35"/>
                <a:gd name="T4" fmla="*/ 20 w 25"/>
                <a:gd name="T5" fmla="*/ 6 h 35"/>
                <a:gd name="T6" fmla="*/ 20 w 25"/>
                <a:gd name="T7" fmla="*/ 6 h 35"/>
                <a:gd name="T8" fmla="*/ 20 w 25"/>
                <a:gd name="T9" fmla="*/ 7 h 35"/>
                <a:gd name="T10" fmla="*/ 13 w 25"/>
                <a:gd name="T11" fmla="*/ 22 h 35"/>
                <a:gd name="T12" fmla="*/ 9 w 25"/>
                <a:gd name="T13" fmla="*/ 28 h 35"/>
                <a:gd name="T14" fmla="*/ 7 w 25"/>
                <a:gd name="T15" fmla="*/ 31 h 35"/>
                <a:gd name="T16" fmla="*/ 7 w 25"/>
                <a:gd name="T17" fmla="*/ 31 h 35"/>
                <a:gd name="T18" fmla="*/ 7 w 25"/>
                <a:gd name="T19" fmla="*/ 31 h 35"/>
                <a:gd name="T20" fmla="*/ 7 w 25"/>
                <a:gd name="T21" fmla="*/ 31 h 35"/>
                <a:gd name="T22" fmla="*/ 7 w 25"/>
                <a:gd name="T23" fmla="*/ 31 h 35"/>
                <a:gd name="T24" fmla="*/ 6 w 25"/>
                <a:gd name="T25" fmla="*/ 29 h 35"/>
                <a:gd name="T26" fmla="*/ 6 w 25"/>
                <a:gd name="T27" fmla="*/ 29 h 35"/>
                <a:gd name="T28" fmla="*/ 6 w 25"/>
                <a:gd name="T29" fmla="*/ 28 h 35"/>
                <a:gd name="T30" fmla="*/ 10 w 25"/>
                <a:gd name="T31" fmla="*/ 16 h 35"/>
                <a:gd name="T32" fmla="*/ 14 w 25"/>
                <a:gd name="T33" fmla="*/ 10 h 35"/>
                <a:gd name="T34" fmla="*/ 16 w 25"/>
                <a:gd name="T35" fmla="*/ 7 h 35"/>
                <a:gd name="T36" fmla="*/ 16 w 25"/>
                <a:gd name="T37" fmla="*/ 7 h 35"/>
                <a:gd name="T38" fmla="*/ 20 w 25"/>
                <a:gd name="T39" fmla="*/ 6 h 35"/>
                <a:gd name="T40" fmla="*/ 20 w 25"/>
                <a:gd name="T41" fmla="*/ 6 h 35"/>
                <a:gd name="T42" fmla="*/ 20 w 25"/>
                <a:gd name="T43" fmla="*/ 6 h 35"/>
                <a:gd name="T44" fmla="*/ 20 w 25"/>
                <a:gd name="T45" fmla="*/ 6 h 35"/>
                <a:gd name="T46" fmla="*/ 20 w 25"/>
                <a:gd name="T47" fmla="*/ 6 h 35"/>
                <a:gd name="T48" fmla="*/ 20 w 25"/>
                <a:gd name="T49" fmla="*/ 6 h 35"/>
                <a:gd name="T50" fmla="*/ 20 w 25"/>
                <a:gd name="T51" fmla="*/ 6 h 35"/>
                <a:gd name="T52" fmla="*/ 25 w 25"/>
                <a:gd name="T53" fmla="*/ 5 h 35"/>
                <a:gd name="T54" fmla="*/ 25 w 25"/>
                <a:gd name="T55" fmla="*/ 3 h 35"/>
                <a:gd name="T56" fmla="*/ 23 w 25"/>
                <a:gd name="T57" fmla="*/ 2 h 35"/>
                <a:gd name="T58" fmla="*/ 20 w 25"/>
                <a:gd name="T59" fmla="*/ 0 h 35"/>
                <a:gd name="T60" fmla="*/ 13 w 25"/>
                <a:gd name="T61" fmla="*/ 3 h 35"/>
                <a:gd name="T62" fmla="*/ 12 w 25"/>
                <a:gd name="T63" fmla="*/ 5 h 35"/>
                <a:gd name="T64" fmla="*/ 6 w 25"/>
                <a:gd name="T65" fmla="*/ 15 h 35"/>
                <a:gd name="T66" fmla="*/ 0 w 25"/>
                <a:gd name="T67" fmla="*/ 26 h 35"/>
                <a:gd name="T68" fmla="*/ 0 w 25"/>
                <a:gd name="T69" fmla="*/ 29 h 35"/>
                <a:gd name="T70" fmla="*/ 1 w 25"/>
                <a:gd name="T71" fmla="*/ 32 h 35"/>
                <a:gd name="T72" fmla="*/ 4 w 25"/>
                <a:gd name="T73" fmla="*/ 35 h 35"/>
                <a:gd name="T74" fmla="*/ 7 w 25"/>
                <a:gd name="T75" fmla="*/ 35 h 35"/>
                <a:gd name="T76" fmla="*/ 9 w 25"/>
                <a:gd name="T77" fmla="*/ 35 h 35"/>
                <a:gd name="T78" fmla="*/ 10 w 25"/>
                <a:gd name="T79" fmla="*/ 34 h 35"/>
                <a:gd name="T80" fmla="*/ 13 w 25"/>
                <a:gd name="T81" fmla="*/ 32 h 35"/>
                <a:gd name="T82" fmla="*/ 20 w 25"/>
                <a:gd name="T83" fmla="*/ 19 h 35"/>
                <a:gd name="T84" fmla="*/ 23 w 25"/>
                <a:gd name="T85" fmla="*/ 12 h 35"/>
                <a:gd name="T86" fmla="*/ 25 w 25"/>
                <a:gd name="T87" fmla="*/ 7 h 35"/>
                <a:gd name="T88" fmla="*/ 25 w 25"/>
                <a:gd name="T89" fmla="*/ 5 h 35"/>
                <a:gd name="T90" fmla="*/ 23 w 25"/>
                <a:gd name="T91"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 h="35">
                  <a:moveTo>
                    <a:pt x="23" y="5"/>
                  </a:moveTo>
                  <a:lnTo>
                    <a:pt x="20" y="6"/>
                  </a:lnTo>
                  <a:lnTo>
                    <a:pt x="20" y="6"/>
                  </a:lnTo>
                  <a:lnTo>
                    <a:pt x="20" y="6"/>
                  </a:lnTo>
                  <a:lnTo>
                    <a:pt x="20" y="6"/>
                  </a:lnTo>
                  <a:lnTo>
                    <a:pt x="20" y="6"/>
                  </a:lnTo>
                  <a:lnTo>
                    <a:pt x="20" y="6"/>
                  </a:lnTo>
                  <a:lnTo>
                    <a:pt x="20" y="6"/>
                  </a:lnTo>
                  <a:lnTo>
                    <a:pt x="20" y="7"/>
                  </a:lnTo>
                  <a:lnTo>
                    <a:pt x="20" y="7"/>
                  </a:lnTo>
                  <a:lnTo>
                    <a:pt x="13" y="22"/>
                  </a:lnTo>
                  <a:lnTo>
                    <a:pt x="13" y="22"/>
                  </a:lnTo>
                  <a:lnTo>
                    <a:pt x="9" y="28"/>
                  </a:lnTo>
                  <a:lnTo>
                    <a:pt x="9" y="28"/>
                  </a:lnTo>
                  <a:lnTo>
                    <a:pt x="7" y="29"/>
                  </a:lnTo>
                  <a:lnTo>
                    <a:pt x="7" y="31"/>
                  </a:lnTo>
                  <a:lnTo>
                    <a:pt x="9" y="31"/>
                  </a:lnTo>
                  <a:lnTo>
                    <a:pt x="7" y="31"/>
                  </a:lnTo>
                  <a:lnTo>
                    <a:pt x="7" y="31"/>
                  </a:lnTo>
                  <a:lnTo>
                    <a:pt x="7" y="31"/>
                  </a:lnTo>
                  <a:lnTo>
                    <a:pt x="9" y="31"/>
                  </a:lnTo>
                  <a:lnTo>
                    <a:pt x="7" y="31"/>
                  </a:lnTo>
                  <a:lnTo>
                    <a:pt x="7" y="31"/>
                  </a:lnTo>
                  <a:lnTo>
                    <a:pt x="7" y="31"/>
                  </a:lnTo>
                  <a:lnTo>
                    <a:pt x="6" y="29"/>
                  </a:lnTo>
                  <a:lnTo>
                    <a:pt x="6" y="29"/>
                  </a:lnTo>
                  <a:lnTo>
                    <a:pt x="6" y="29"/>
                  </a:lnTo>
                  <a:lnTo>
                    <a:pt x="6" y="29"/>
                  </a:lnTo>
                  <a:lnTo>
                    <a:pt x="6" y="28"/>
                  </a:lnTo>
                  <a:lnTo>
                    <a:pt x="6" y="28"/>
                  </a:lnTo>
                  <a:lnTo>
                    <a:pt x="10" y="16"/>
                  </a:lnTo>
                  <a:lnTo>
                    <a:pt x="10" y="16"/>
                  </a:lnTo>
                  <a:lnTo>
                    <a:pt x="14" y="10"/>
                  </a:lnTo>
                  <a:lnTo>
                    <a:pt x="14" y="10"/>
                  </a:lnTo>
                  <a:lnTo>
                    <a:pt x="16" y="7"/>
                  </a:lnTo>
                  <a:lnTo>
                    <a:pt x="16" y="7"/>
                  </a:lnTo>
                  <a:lnTo>
                    <a:pt x="16" y="7"/>
                  </a:lnTo>
                  <a:lnTo>
                    <a:pt x="16" y="7"/>
                  </a:lnTo>
                  <a:lnTo>
                    <a:pt x="20" y="6"/>
                  </a:lnTo>
                  <a:lnTo>
                    <a:pt x="20" y="6"/>
                  </a:lnTo>
                  <a:lnTo>
                    <a:pt x="20" y="6"/>
                  </a:lnTo>
                  <a:lnTo>
                    <a:pt x="20" y="6"/>
                  </a:lnTo>
                  <a:lnTo>
                    <a:pt x="20" y="6"/>
                  </a:lnTo>
                  <a:lnTo>
                    <a:pt x="20" y="6"/>
                  </a:lnTo>
                  <a:lnTo>
                    <a:pt x="20" y="6"/>
                  </a:lnTo>
                  <a:lnTo>
                    <a:pt x="20" y="6"/>
                  </a:lnTo>
                  <a:lnTo>
                    <a:pt x="20" y="6"/>
                  </a:lnTo>
                  <a:lnTo>
                    <a:pt x="20" y="6"/>
                  </a:lnTo>
                  <a:lnTo>
                    <a:pt x="20" y="6"/>
                  </a:lnTo>
                  <a:lnTo>
                    <a:pt x="20" y="6"/>
                  </a:lnTo>
                  <a:lnTo>
                    <a:pt x="20" y="6"/>
                  </a:lnTo>
                  <a:lnTo>
                    <a:pt x="20" y="6"/>
                  </a:lnTo>
                  <a:lnTo>
                    <a:pt x="23" y="5"/>
                  </a:lnTo>
                  <a:lnTo>
                    <a:pt x="25" y="5"/>
                  </a:lnTo>
                  <a:lnTo>
                    <a:pt x="25" y="5"/>
                  </a:lnTo>
                  <a:lnTo>
                    <a:pt x="25" y="3"/>
                  </a:lnTo>
                  <a:lnTo>
                    <a:pt x="23" y="2"/>
                  </a:lnTo>
                  <a:lnTo>
                    <a:pt x="23" y="2"/>
                  </a:lnTo>
                  <a:lnTo>
                    <a:pt x="20" y="0"/>
                  </a:lnTo>
                  <a:lnTo>
                    <a:pt x="20" y="0"/>
                  </a:lnTo>
                  <a:lnTo>
                    <a:pt x="16" y="2"/>
                  </a:lnTo>
                  <a:lnTo>
                    <a:pt x="13" y="3"/>
                  </a:lnTo>
                  <a:lnTo>
                    <a:pt x="13" y="3"/>
                  </a:lnTo>
                  <a:lnTo>
                    <a:pt x="12" y="5"/>
                  </a:lnTo>
                  <a:lnTo>
                    <a:pt x="12" y="5"/>
                  </a:lnTo>
                  <a:lnTo>
                    <a:pt x="6" y="15"/>
                  </a:lnTo>
                  <a:lnTo>
                    <a:pt x="6" y="15"/>
                  </a:lnTo>
                  <a:lnTo>
                    <a:pt x="0" y="26"/>
                  </a:lnTo>
                  <a:lnTo>
                    <a:pt x="0" y="26"/>
                  </a:lnTo>
                  <a:lnTo>
                    <a:pt x="0" y="29"/>
                  </a:lnTo>
                  <a:lnTo>
                    <a:pt x="0" y="29"/>
                  </a:lnTo>
                  <a:lnTo>
                    <a:pt x="1" y="32"/>
                  </a:lnTo>
                  <a:lnTo>
                    <a:pt x="1" y="32"/>
                  </a:lnTo>
                  <a:lnTo>
                    <a:pt x="4" y="35"/>
                  </a:lnTo>
                  <a:lnTo>
                    <a:pt x="4" y="35"/>
                  </a:lnTo>
                  <a:lnTo>
                    <a:pt x="7" y="35"/>
                  </a:lnTo>
                  <a:lnTo>
                    <a:pt x="9" y="35"/>
                  </a:lnTo>
                  <a:lnTo>
                    <a:pt x="9" y="35"/>
                  </a:lnTo>
                  <a:lnTo>
                    <a:pt x="10" y="34"/>
                  </a:lnTo>
                  <a:lnTo>
                    <a:pt x="10" y="34"/>
                  </a:lnTo>
                  <a:lnTo>
                    <a:pt x="13" y="32"/>
                  </a:lnTo>
                  <a:lnTo>
                    <a:pt x="13" y="32"/>
                  </a:lnTo>
                  <a:lnTo>
                    <a:pt x="20" y="19"/>
                  </a:lnTo>
                  <a:lnTo>
                    <a:pt x="20" y="19"/>
                  </a:lnTo>
                  <a:lnTo>
                    <a:pt x="23" y="12"/>
                  </a:lnTo>
                  <a:lnTo>
                    <a:pt x="23" y="12"/>
                  </a:lnTo>
                  <a:lnTo>
                    <a:pt x="25" y="7"/>
                  </a:lnTo>
                  <a:lnTo>
                    <a:pt x="25" y="7"/>
                  </a:lnTo>
                  <a:lnTo>
                    <a:pt x="25" y="6"/>
                  </a:lnTo>
                  <a:lnTo>
                    <a:pt x="25" y="5"/>
                  </a:lnTo>
                  <a:lnTo>
                    <a:pt x="25" y="5"/>
                  </a:lnTo>
                  <a:lnTo>
                    <a:pt x="23"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46" name="Freeform 1557"/>
            <p:cNvSpPr>
              <a:spLocks/>
            </p:cNvSpPr>
            <p:nvPr/>
          </p:nvSpPr>
          <p:spPr bwMode="auto">
            <a:xfrm>
              <a:off x="6877051" y="2337229"/>
              <a:ext cx="25400" cy="41275"/>
            </a:xfrm>
            <a:custGeom>
              <a:avLst/>
              <a:gdLst>
                <a:gd name="T0" fmla="*/ 12 w 16"/>
                <a:gd name="T1" fmla="*/ 4 h 26"/>
                <a:gd name="T2" fmla="*/ 12 w 16"/>
                <a:gd name="T3" fmla="*/ 4 h 26"/>
                <a:gd name="T4" fmla="*/ 7 w 16"/>
                <a:gd name="T5" fmla="*/ 10 h 26"/>
                <a:gd name="T6" fmla="*/ 7 w 16"/>
                <a:gd name="T7" fmla="*/ 13 h 26"/>
                <a:gd name="T8" fmla="*/ 9 w 16"/>
                <a:gd name="T9" fmla="*/ 19 h 26"/>
                <a:gd name="T10" fmla="*/ 10 w 16"/>
                <a:gd name="T11" fmla="*/ 23 h 26"/>
                <a:gd name="T12" fmla="*/ 10 w 16"/>
                <a:gd name="T13" fmla="*/ 23 h 26"/>
                <a:gd name="T14" fmla="*/ 12 w 16"/>
                <a:gd name="T15" fmla="*/ 23 h 26"/>
                <a:gd name="T16" fmla="*/ 12 w 16"/>
                <a:gd name="T17" fmla="*/ 23 h 26"/>
                <a:gd name="T18" fmla="*/ 12 w 16"/>
                <a:gd name="T19" fmla="*/ 21 h 26"/>
                <a:gd name="T20" fmla="*/ 12 w 16"/>
                <a:gd name="T21" fmla="*/ 21 h 26"/>
                <a:gd name="T22" fmla="*/ 6 w 16"/>
                <a:gd name="T23" fmla="*/ 21 h 26"/>
                <a:gd name="T24" fmla="*/ 4 w 16"/>
                <a:gd name="T25" fmla="*/ 21 h 26"/>
                <a:gd name="T26" fmla="*/ 4 w 16"/>
                <a:gd name="T27" fmla="*/ 21 h 26"/>
                <a:gd name="T28" fmla="*/ 4 w 16"/>
                <a:gd name="T29" fmla="*/ 21 h 26"/>
                <a:gd name="T30" fmla="*/ 4 w 16"/>
                <a:gd name="T31" fmla="*/ 21 h 26"/>
                <a:gd name="T32" fmla="*/ 4 w 16"/>
                <a:gd name="T33" fmla="*/ 21 h 26"/>
                <a:gd name="T34" fmla="*/ 4 w 16"/>
                <a:gd name="T35" fmla="*/ 21 h 26"/>
                <a:gd name="T36" fmla="*/ 6 w 16"/>
                <a:gd name="T37" fmla="*/ 10 h 26"/>
                <a:gd name="T38" fmla="*/ 6 w 16"/>
                <a:gd name="T39" fmla="*/ 10 h 26"/>
                <a:gd name="T40" fmla="*/ 6 w 16"/>
                <a:gd name="T41" fmla="*/ 10 h 26"/>
                <a:gd name="T42" fmla="*/ 10 w 16"/>
                <a:gd name="T43" fmla="*/ 6 h 26"/>
                <a:gd name="T44" fmla="*/ 13 w 16"/>
                <a:gd name="T45" fmla="*/ 6 h 26"/>
                <a:gd name="T46" fmla="*/ 13 w 16"/>
                <a:gd name="T47" fmla="*/ 6 h 26"/>
                <a:gd name="T48" fmla="*/ 13 w 16"/>
                <a:gd name="T49" fmla="*/ 6 h 26"/>
                <a:gd name="T50" fmla="*/ 12 w 16"/>
                <a:gd name="T51" fmla="*/ 4 h 26"/>
                <a:gd name="T52" fmla="*/ 12 w 16"/>
                <a:gd name="T53" fmla="*/ 4 h 26"/>
                <a:gd name="T54" fmla="*/ 12 w 16"/>
                <a:gd name="T55" fmla="*/ 4 h 26"/>
                <a:gd name="T56" fmla="*/ 12 w 16"/>
                <a:gd name="T57" fmla="*/ 4 h 26"/>
                <a:gd name="T58" fmla="*/ 16 w 16"/>
                <a:gd name="T59" fmla="*/ 3 h 26"/>
                <a:gd name="T60" fmla="*/ 14 w 16"/>
                <a:gd name="T61" fmla="*/ 1 h 26"/>
                <a:gd name="T62" fmla="*/ 9 w 16"/>
                <a:gd name="T63" fmla="*/ 1 h 26"/>
                <a:gd name="T64" fmla="*/ 4 w 16"/>
                <a:gd name="T65" fmla="*/ 4 h 26"/>
                <a:gd name="T66" fmla="*/ 1 w 16"/>
                <a:gd name="T67" fmla="*/ 10 h 26"/>
                <a:gd name="T68" fmla="*/ 0 w 16"/>
                <a:gd name="T69" fmla="*/ 20 h 26"/>
                <a:gd name="T70" fmla="*/ 0 w 16"/>
                <a:gd name="T71" fmla="*/ 21 h 26"/>
                <a:gd name="T72" fmla="*/ 3 w 16"/>
                <a:gd name="T73" fmla="*/ 26 h 26"/>
                <a:gd name="T74" fmla="*/ 7 w 16"/>
                <a:gd name="T75" fmla="*/ 26 h 26"/>
                <a:gd name="T76" fmla="*/ 14 w 16"/>
                <a:gd name="T77" fmla="*/ 26 h 26"/>
                <a:gd name="T78" fmla="*/ 14 w 16"/>
                <a:gd name="T79" fmla="*/ 23 h 26"/>
                <a:gd name="T80" fmla="*/ 13 w 16"/>
                <a:gd name="T81" fmla="*/ 16 h 26"/>
                <a:gd name="T82" fmla="*/ 12 w 16"/>
                <a:gd name="T83" fmla="*/ 13 h 26"/>
                <a:gd name="T84" fmla="*/ 12 w 16"/>
                <a:gd name="T85" fmla="*/ 11 h 26"/>
                <a:gd name="T86" fmla="*/ 14 w 16"/>
                <a:gd name="T87" fmla="*/ 8 h 26"/>
                <a:gd name="T88" fmla="*/ 16 w 16"/>
                <a:gd name="T89"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 h="26">
                  <a:moveTo>
                    <a:pt x="13" y="3"/>
                  </a:moveTo>
                  <a:lnTo>
                    <a:pt x="12" y="4"/>
                  </a:lnTo>
                  <a:lnTo>
                    <a:pt x="12" y="4"/>
                  </a:lnTo>
                  <a:lnTo>
                    <a:pt x="12" y="4"/>
                  </a:lnTo>
                  <a:lnTo>
                    <a:pt x="12" y="4"/>
                  </a:lnTo>
                  <a:lnTo>
                    <a:pt x="12" y="4"/>
                  </a:lnTo>
                  <a:lnTo>
                    <a:pt x="9" y="7"/>
                  </a:lnTo>
                  <a:lnTo>
                    <a:pt x="9" y="7"/>
                  </a:lnTo>
                  <a:lnTo>
                    <a:pt x="7" y="10"/>
                  </a:lnTo>
                  <a:lnTo>
                    <a:pt x="7" y="13"/>
                  </a:lnTo>
                  <a:lnTo>
                    <a:pt x="7" y="13"/>
                  </a:lnTo>
                  <a:lnTo>
                    <a:pt x="7" y="13"/>
                  </a:lnTo>
                  <a:lnTo>
                    <a:pt x="7" y="13"/>
                  </a:lnTo>
                  <a:lnTo>
                    <a:pt x="9" y="19"/>
                  </a:lnTo>
                  <a:lnTo>
                    <a:pt x="9" y="19"/>
                  </a:lnTo>
                  <a:lnTo>
                    <a:pt x="9" y="21"/>
                  </a:lnTo>
                  <a:lnTo>
                    <a:pt x="9" y="21"/>
                  </a:lnTo>
                  <a:lnTo>
                    <a:pt x="10" y="23"/>
                  </a:lnTo>
                  <a:lnTo>
                    <a:pt x="10" y="23"/>
                  </a:lnTo>
                  <a:lnTo>
                    <a:pt x="10" y="23"/>
                  </a:lnTo>
                  <a:lnTo>
                    <a:pt x="10" y="23"/>
                  </a:lnTo>
                  <a:lnTo>
                    <a:pt x="10" y="23"/>
                  </a:lnTo>
                  <a:lnTo>
                    <a:pt x="10" y="23"/>
                  </a:lnTo>
                  <a:lnTo>
                    <a:pt x="12" y="23"/>
                  </a:lnTo>
                  <a:lnTo>
                    <a:pt x="10" y="21"/>
                  </a:lnTo>
                  <a:lnTo>
                    <a:pt x="10" y="23"/>
                  </a:lnTo>
                  <a:lnTo>
                    <a:pt x="12" y="23"/>
                  </a:lnTo>
                  <a:lnTo>
                    <a:pt x="10" y="21"/>
                  </a:lnTo>
                  <a:lnTo>
                    <a:pt x="12" y="23"/>
                  </a:lnTo>
                  <a:lnTo>
                    <a:pt x="12" y="21"/>
                  </a:lnTo>
                  <a:lnTo>
                    <a:pt x="10" y="21"/>
                  </a:lnTo>
                  <a:lnTo>
                    <a:pt x="12" y="23"/>
                  </a:lnTo>
                  <a:lnTo>
                    <a:pt x="12" y="21"/>
                  </a:lnTo>
                  <a:lnTo>
                    <a:pt x="12" y="21"/>
                  </a:lnTo>
                  <a:lnTo>
                    <a:pt x="6" y="21"/>
                  </a:lnTo>
                  <a:lnTo>
                    <a:pt x="6" y="21"/>
                  </a:lnTo>
                  <a:lnTo>
                    <a:pt x="4" y="21"/>
                  </a:lnTo>
                  <a:lnTo>
                    <a:pt x="4" y="21"/>
                  </a:lnTo>
                  <a:lnTo>
                    <a:pt x="4" y="21"/>
                  </a:lnTo>
                  <a:lnTo>
                    <a:pt x="4" y="21"/>
                  </a:lnTo>
                  <a:lnTo>
                    <a:pt x="4" y="21"/>
                  </a:lnTo>
                  <a:lnTo>
                    <a:pt x="4" y="21"/>
                  </a:lnTo>
                  <a:lnTo>
                    <a:pt x="4" y="21"/>
                  </a:lnTo>
                  <a:lnTo>
                    <a:pt x="3" y="21"/>
                  </a:lnTo>
                  <a:lnTo>
                    <a:pt x="4" y="21"/>
                  </a:lnTo>
                  <a:lnTo>
                    <a:pt x="4" y="21"/>
                  </a:lnTo>
                  <a:lnTo>
                    <a:pt x="3" y="21"/>
                  </a:lnTo>
                  <a:lnTo>
                    <a:pt x="4" y="21"/>
                  </a:lnTo>
                  <a:lnTo>
                    <a:pt x="3" y="21"/>
                  </a:lnTo>
                  <a:lnTo>
                    <a:pt x="4" y="21"/>
                  </a:lnTo>
                  <a:lnTo>
                    <a:pt x="4" y="21"/>
                  </a:lnTo>
                  <a:lnTo>
                    <a:pt x="3" y="21"/>
                  </a:lnTo>
                  <a:lnTo>
                    <a:pt x="4" y="21"/>
                  </a:lnTo>
                  <a:lnTo>
                    <a:pt x="4" y="21"/>
                  </a:lnTo>
                  <a:lnTo>
                    <a:pt x="6" y="17"/>
                  </a:lnTo>
                  <a:lnTo>
                    <a:pt x="6" y="10"/>
                  </a:lnTo>
                  <a:lnTo>
                    <a:pt x="6" y="10"/>
                  </a:lnTo>
                  <a:lnTo>
                    <a:pt x="6" y="10"/>
                  </a:lnTo>
                  <a:lnTo>
                    <a:pt x="6" y="10"/>
                  </a:lnTo>
                  <a:lnTo>
                    <a:pt x="6" y="10"/>
                  </a:lnTo>
                  <a:lnTo>
                    <a:pt x="6" y="10"/>
                  </a:lnTo>
                  <a:lnTo>
                    <a:pt x="6" y="10"/>
                  </a:lnTo>
                  <a:lnTo>
                    <a:pt x="6" y="10"/>
                  </a:lnTo>
                  <a:lnTo>
                    <a:pt x="7" y="8"/>
                  </a:lnTo>
                  <a:lnTo>
                    <a:pt x="7" y="8"/>
                  </a:lnTo>
                  <a:lnTo>
                    <a:pt x="10" y="6"/>
                  </a:lnTo>
                  <a:lnTo>
                    <a:pt x="10" y="6"/>
                  </a:lnTo>
                  <a:lnTo>
                    <a:pt x="13" y="6"/>
                  </a:lnTo>
                  <a:lnTo>
                    <a:pt x="13" y="6"/>
                  </a:lnTo>
                  <a:lnTo>
                    <a:pt x="13" y="6"/>
                  </a:lnTo>
                  <a:lnTo>
                    <a:pt x="13" y="4"/>
                  </a:lnTo>
                  <a:lnTo>
                    <a:pt x="13" y="6"/>
                  </a:lnTo>
                  <a:lnTo>
                    <a:pt x="13" y="6"/>
                  </a:lnTo>
                  <a:lnTo>
                    <a:pt x="13" y="4"/>
                  </a:lnTo>
                  <a:lnTo>
                    <a:pt x="13" y="6"/>
                  </a:lnTo>
                  <a:lnTo>
                    <a:pt x="13" y="4"/>
                  </a:lnTo>
                  <a:lnTo>
                    <a:pt x="12" y="4"/>
                  </a:lnTo>
                  <a:lnTo>
                    <a:pt x="12" y="4"/>
                  </a:lnTo>
                  <a:lnTo>
                    <a:pt x="13" y="6"/>
                  </a:lnTo>
                  <a:lnTo>
                    <a:pt x="13" y="4"/>
                  </a:lnTo>
                  <a:lnTo>
                    <a:pt x="12" y="4"/>
                  </a:lnTo>
                  <a:lnTo>
                    <a:pt x="13" y="3"/>
                  </a:lnTo>
                  <a:lnTo>
                    <a:pt x="12" y="4"/>
                  </a:lnTo>
                  <a:lnTo>
                    <a:pt x="12" y="4"/>
                  </a:lnTo>
                  <a:lnTo>
                    <a:pt x="12" y="4"/>
                  </a:lnTo>
                  <a:lnTo>
                    <a:pt x="13" y="3"/>
                  </a:lnTo>
                  <a:lnTo>
                    <a:pt x="12" y="4"/>
                  </a:lnTo>
                  <a:lnTo>
                    <a:pt x="12" y="4"/>
                  </a:lnTo>
                  <a:lnTo>
                    <a:pt x="13" y="3"/>
                  </a:lnTo>
                  <a:lnTo>
                    <a:pt x="16" y="3"/>
                  </a:lnTo>
                  <a:lnTo>
                    <a:pt x="16" y="3"/>
                  </a:lnTo>
                  <a:lnTo>
                    <a:pt x="14" y="1"/>
                  </a:lnTo>
                  <a:lnTo>
                    <a:pt x="14" y="1"/>
                  </a:lnTo>
                  <a:lnTo>
                    <a:pt x="13" y="0"/>
                  </a:lnTo>
                  <a:lnTo>
                    <a:pt x="13" y="0"/>
                  </a:lnTo>
                  <a:lnTo>
                    <a:pt x="9" y="1"/>
                  </a:lnTo>
                  <a:lnTo>
                    <a:pt x="9" y="1"/>
                  </a:lnTo>
                  <a:lnTo>
                    <a:pt x="4" y="4"/>
                  </a:lnTo>
                  <a:lnTo>
                    <a:pt x="4" y="4"/>
                  </a:lnTo>
                  <a:lnTo>
                    <a:pt x="3" y="7"/>
                  </a:lnTo>
                  <a:lnTo>
                    <a:pt x="3" y="7"/>
                  </a:lnTo>
                  <a:lnTo>
                    <a:pt x="1" y="10"/>
                  </a:lnTo>
                  <a:lnTo>
                    <a:pt x="1" y="10"/>
                  </a:lnTo>
                  <a:lnTo>
                    <a:pt x="0" y="20"/>
                  </a:lnTo>
                  <a:lnTo>
                    <a:pt x="0" y="20"/>
                  </a:lnTo>
                  <a:lnTo>
                    <a:pt x="0" y="20"/>
                  </a:lnTo>
                  <a:lnTo>
                    <a:pt x="0" y="21"/>
                  </a:lnTo>
                  <a:lnTo>
                    <a:pt x="0" y="21"/>
                  </a:lnTo>
                  <a:lnTo>
                    <a:pt x="0" y="24"/>
                  </a:lnTo>
                  <a:lnTo>
                    <a:pt x="0" y="24"/>
                  </a:lnTo>
                  <a:lnTo>
                    <a:pt x="3" y="26"/>
                  </a:lnTo>
                  <a:lnTo>
                    <a:pt x="3" y="26"/>
                  </a:lnTo>
                  <a:lnTo>
                    <a:pt x="7" y="26"/>
                  </a:lnTo>
                  <a:lnTo>
                    <a:pt x="7" y="26"/>
                  </a:lnTo>
                  <a:lnTo>
                    <a:pt x="12" y="26"/>
                  </a:lnTo>
                  <a:lnTo>
                    <a:pt x="12" y="26"/>
                  </a:lnTo>
                  <a:lnTo>
                    <a:pt x="14" y="26"/>
                  </a:lnTo>
                  <a:lnTo>
                    <a:pt x="14" y="26"/>
                  </a:lnTo>
                  <a:lnTo>
                    <a:pt x="14" y="23"/>
                  </a:lnTo>
                  <a:lnTo>
                    <a:pt x="14" y="23"/>
                  </a:lnTo>
                  <a:lnTo>
                    <a:pt x="14" y="20"/>
                  </a:lnTo>
                  <a:lnTo>
                    <a:pt x="14" y="20"/>
                  </a:lnTo>
                  <a:lnTo>
                    <a:pt x="13" y="16"/>
                  </a:lnTo>
                  <a:lnTo>
                    <a:pt x="13" y="16"/>
                  </a:lnTo>
                  <a:lnTo>
                    <a:pt x="12" y="13"/>
                  </a:lnTo>
                  <a:lnTo>
                    <a:pt x="12" y="13"/>
                  </a:lnTo>
                  <a:lnTo>
                    <a:pt x="12" y="13"/>
                  </a:lnTo>
                  <a:lnTo>
                    <a:pt x="12" y="13"/>
                  </a:lnTo>
                  <a:lnTo>
                    <a:pt x="12" y="11"/>
                  </a:lnTo>
                  <a:lnTo>
                    <a:pt x="12" y="11"/>
                  </a:lnTo>
                  <a:lnTo>
                    <a:pt x="14" y="8"/>
                  </a:lnTo>
                  <a:lnTo>
                    <a:pt x="14" y="8"/>
                  </a:lnTo>
                  <a:lnTo>
                    <a:pt x="16" y="7"/>
                  </a:lnTo>
                  <a:lnTo>
                    <a:pt x="16" y="4"/>
                  </a:lnTo>
                  <a:lnTo>
                    <a:pt x="16" y="3"/>
                  </a:lnTo>
                  <a:lnTo>
                    <a:pt x="16" y="3"/>
                  </a:lnTo>
                  <a:lnTo>
                    <a:pt x="13"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47" name="Freeform 1558"/>
            <p:cNvSpPr>
              <a:spLocks/>
            </p:cNvSpPr>
            <p:nvPr/>
          </p:nvSpPr>
          <p:spPr bwMode="auto">
            <a:xfrm>
              <a:off x="5610226" y="4067604"/>
              <a:ext cx="6350" cy="7938"/>
            </a:xfrm>
            <a:custGeom>
              <a:avLst/>
              <a:gdLst>
                <a:gd name="T0" fmla="*/ 4 w 4"/>
                <a:gd name="T1" fmla="*/ 5 h 5"/>
                <a:gd name="T2" fmla="*/ 4 w 4"/>
                <a:gd name="T3" fmla="*/ 5 h 5"/>
                <a:gd name="T4" fmla="*/ 3 w 4"/>
                <a:gd name="T5" fmla="*/ 5 h 5"/>
                <a:gd name="T6" fmla="*/ 0 w 4"/>
                <a:gd name="T7" fmla="*/ 5 h 5"/>
                <a:gd name="T8" fmla="*/ 0 w 4"/>
                <a:gd name="T9" fmla="*/ 3 h 5"/>
                <a:gd name="T10" fmla="*/ 0 w 4"/>
                <a:gd name="T11" fmla="*/ 2 h 5"/>
                <a:gd name="T12" fmla="*/ 0 w 4"/>
                <a:gd name="T13" fmla="*/ 2 h 5"/>
                <a:gd name="T14" fmla="*/ 1 w 4"/>
                <a:gd name="T15" fmla="*/ 0 h 5"/>
                <a:gd name="T16" fmla="*/ 3 w 4"/>
                <a:gd name="T17" fmla="*/ 2 h 5"/>
                <a:gd name="T18" fmla="*/ 4 w 4"/>
                <a:gd name="T19" fmla="*/ 3 h 5"/>
                <a:gd name="T20" fmla="*/ 4 w 4"/>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5">
                  <a:moveTo>
                    <a:pt x="4" y="5"/>
                  </a:moveTo>
                  <a:lnTo>
                    <a:pt x="4" y="5"/>
                  </a:lnTo>
                  <a:lnTo>
                    <a:pt x="3" y="5"/>
                  </a:lnTo>
                  <a:lnTo>
                    <a:pt x="0" y="5"/>
                  </a:lnTo>
                  <a:lnTo>
                    <a:pt x="0" y="3"/>
                  </a:lnTo>
                  <a:lnTo>
                    <a:pt x="0" y="2"/>
                  </a:lnTo>
                  <a:lnTo>
                    <a:pt x="0" y="2"/>
                  </a:lnTo>
                  <a:lnTo>
                    <a:pt x="1" y="0"/>
                  </a:lnTo>
                  <a:lnTo>
                    <a:pt x="3" y="2"/>
                  </a:lnTo>
                  <a:lnTo>
                    <a:pt x="4" y="3"/>
                  </a:lnTo>
                  <a:lnTo>
                    <a:pt x="4" y="5"/>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48" name="Freeform 1559"/>
            <p:cNvSpPr>
              <a:spLocks/>
            </p:cNvSpPr>
            <p:nvPr/>
          </p:nvSpPr>
          <p:spPr bwMode="auto">
            <a:xfrm>
              <a:off x="5610226" y="4067604"/>
              <a:ext cx="6350" cy="7938"/>
            </a:xfrm>
            <a:custGeom>
              <a:avLst/>
              <a:gdLst>
                <a:gd name="T0" fmla="*/ 4 w 4"/>
                <a:gd name="T1" fmla="*/ 5 h 5"/>
                <a:gd name="T2" fmla="*/ 4 w 4"/>
                <a:gd name="T3" fmla="*/ 5 h 5"/>
                <a:gd name="T4" fmla="*/ 3 w 4"/>
                <a:gd name="T5" fmla="*/ 5 h 5"/>
                <a:gd name="T6" fmla="*/ 0 w 4"/>
                <a:gd name="T7" fmla="*/ 5 h 5"/>
                <a:gd name="T8" fmla="*/ 0 w 4"/>
                <a:gd name="T9" fmla="*/ 3 h 5"/>
                <a:gd name="T10" fmla="*/ 0 w 4"/>
                <a:gd name="T11" fmla="*/ 2 h 5"/>
                <a:gd name="T12" fmla="*/ 0 w 4"/>
                <a:gd name="T13" fmla="*/ 2 h 5"/>
                <a:gd name="T14" fmla="*/ 1 w 4"/>
                <a:gd name="T15" fmla="*/ 0 h 5"/>
                <a:gd name="T16" fmla="*/ 3 w 4"/>
                <a:gd name="T17" fmla="*/ 2 h 5"/>
                <a:gd name="T18" fmla="*/ 4 w 4"/>
                <a:gd name="T19" fmla="*/ 3 h 5"/>
                <a:gd name="T20" fmla="*/ 4 w 4"/>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5">
                  <a:moveTo>
                    <a:pt x="4" y="5"/>
                  </a:moveTo>
                  <a:lnTo>
                    <a:pt x="4" y="5"/>
                  </a:lnTo>
                  <a:lnTo>
                    <a:pt x="3" y="5"/>
                  </a:lnTo>
                  <a:lnTo>
                    <a:pt x="0" y="5"/>
                  </a:lnTo>
                  <a:lnTo>
                    <a:pt x="0" y="3"/>
                  </a:lnTo>
                  <a:lnTo>
                    <a:pt x="0" y="2"/>
                  </a:lnTo>
                  <a:lnTo>
                    <a:pt x="0" y="2"/>
                  </a:lnTo>
                  <a:lnTo>
                    <a:pt x="1" y="0"/>
                  </a:lnTo>
                  <a:lnTo>
                    <a:pt x="3" y="2"/>
                  </a:lnTo>
                  <a:lnTo>
                    <a:pt x="4" y="3"/>
                  </a:lnTo>
                  <a:lnTo>
                    <a:pt x="4" y="5"/>
                  </a:lnTo>
                </a:path>
              </a:pathLst>
            </a:custGeom>
            <a:solidFill>
              <a:srgbClr val="92D400"/>
            </a:solidFill>
            <a:ln w="9525">
              <a:noFill/>
              <a:round/>
              <a:headEnd/>
              <a:tailEnd/>
            </a:ln>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49" name="Freeform 1560"/>
            <p:cNvSpPr>
              <a:spLocks/>
            </p:cNvSpPr>
            <p:nvPr/>
          </p:nvSpPr>
          <p:spPr bwMode="auto">
            <a:xfrm>
              <a:off x="5424488" y="5064554"/>
              <a:ext cx="17463" cy="15875"/>
            </a:xfrm>
            <a:custGeom>
              <a:avLst/>
              <a:gdLst>
                <a:gd name="T0" fmla="*/ 8 w 11"/>
                <a:gd name="T1" fmla="*/ 10 h 10"/>
                <a:gd name="T2" fmla="*/ 8 w 11"/>
                <a:gd name="T3" fmla="*/ 10 h 10"/>
                <a:gd name="T4" fmla="*/ 5 w 11"/>
                <a:gd name="T5" fmla="*/ 8 h 10"/>
                <a:gd name="T6" fmla="*/ 3 w 11"/>
                <a:gd name="T7" fmla="*/ 7 h 10"/>
                <a:gd name="T8" fmla="*/ 1 w 11"/>
                <a:gd name="T9" fmla="*/ 4 h 10"/>
                <a:gd name="T10" fmla="*/ 0 w 11"/>
                <a:gd name="T11" fmla="*/ 2 h 10"/>
                <a:gd name="T12" fmla="*/ 0 w 11"/>
                <a:gd name="T13" fmla="*/ 2 h 10"/>
                <a:gd name="T14" fmla="*/ 1 w 11"/>
                <a:gd name="T15" fmla="*/ 1 h 10"/>
                <a:gd name="T16" fmla="*/ 3 w 11"/>
                <a:gd name="T17" fmla="*/ 0 h 10"/>
                <a:gd name="T18" fmla="*/ 3 w 11"/>
                <a:gd name="T19" fmla="*/ 0 h 10"/>
                <a:gd name="T20" fmla="*/ 7 w 11"/>
                <a:gd name="T21" fmla="*/ 1 h 10"/>
                <a:gd name="T22" fmla="*/ 8 w 11"/>
                <a:gd name="T23" fmla="*/ 2 h 10"/>
                <a:gd name="T24" fmla="*/ 11 w 11"/>
                <a:gd name="T25" fmla="*/ 4 h 10"/>
                <a:gd name="T26" fmla="*/ 11 w 11"/>
                <a:gd name="T27" fmla="*/ 7 h 10"/>
                <a:gd name="T28" fmla="*/ 11 w 11"/>
                <a:gd name="T29" fmla="*/ 7 h 10"/>
                <a:gd name="T30" fmla="*/ 10 w 11"/>
                <a:gd name="T31" fmla="*/ 8 h 10"/>
                <a:gd name="T32" fmla="*/ 8 w 11"/>
                <a:gd name="T3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0">
                  <a:moveTo>
                    <a:pt x="8" y="10"/>
                  </a:moveTo>
                  <a:lnTo>
                    <a:pt x="8" y="10"/>
                  </a:lnTo>
                  <a:lnTo>
                    <a:pt x="5" y="8"/>
                  </a:lnTo>
                  <a:lnTo>
                    <a:pt x="3" y="7"/>
                  </a:lnTo>
                  <a:lnTo>
                    <a:pt x="1" y="4"/>
                  </a:lnTo>
                  <a:lnTo>
                    <a:pt x="0" y="2"/>
                  </a:lnTo>
                  <a:lnTo>
                    <a:pt x="0" y="2"/>
                  </a:lnTo>
                  <a:lnTo>
                    <a:pt x="1" y="1"/>
                  </a:lnTo>
                  <a:lnTo>
                    <a:pt x="3" y="0"/>
                  </a:lnTo>
                  <a:lnTo>
                    <a:pt x="3" y="0"/>
                  </a:lnTo>
                  <a:lnTo>
                    <a:pt x="7" y="1"/>
                  </a:lnTo>
                  <a:lnTo>
                    <a:pt x="8" y="2"/>
                  </a:lnTo>
                  <a:lnTo>
                    <a:pt x="11" y="4"/>
                  </a:lnTo>
                  <a:lnTo>
                    <a:pt x="11" y="7"/>
                  </a:lnTo>
                  <a:lnTo>
                    <a:pt x="11" y="7"/>
                  </a:lnTo>
                  <a:lnTo>
                    <a:pt x="10" y="8"/>
                  </a:lnTo>
                  <a:lnTo>
                    <a:pt x="8" y="10"/>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50" name="Freeform 1561"/>
            <p:cNvSpPr>
              <a:spLocks/>
            </p:cNvSpPr>
            <p:nvPr/>
          </p:nvSpPr>
          <p:spPr bwMode="auto">
            <a:xfrm>
              <a:off x="5424488" y="5064554"/>
              <a:ext cx="17463" cy="15875"/>
            </a:xfrm>
            <a:custGeom>
              <a:avLst/>
              <a:gdLst>
                <a:gd name="T0" fmla="*/ 8 w 11"/>
                <a:gd name="T1" fmla="*/ 10 h 10"/>
                <a:gd name="T2" fmla="*/ 8 w 11"/>
                <a:gd name="T3" fmla="*/ 10 h 10"/>
                <a:gd name="T4" fmla="*/ 5 w 11"/>
                <a:gd name="T5" fmla="*/ 8 h 10"/>
                <a:gd name="T6" fmla="*/ 3 w 11"/>
                <a:gd name="T7" fmla="*/ 7 h 10"/>
                <a:gd name="T8" fmla="*/ 1 w 11"/>
                <a:gd name="T9" fmla="*/ 4 h 10"/>
                <a:gd name="T10" fmla="*/ 0 w 11"/>
                <a:gd name="T11" fmla="*/ 2 h 10"/>
                <a:gd name="T12" fmla="*/ 0 w 11"/>
                <a:gd name="T13" fmla="*/ 2 h 10"/>
                <a:gd name="T14" fmla="*/ 1 w 11"/>
                <a:gd name="T15" fmla="*/ 1 h 10"/>
                <a:gd name="T16" fmla="*/ 3 w 11"/>
                <a:gd name="T17" fmla="*/ 0 h 10"/>
                <a:gd name="T18" fmla="*/ 3 w 11"/>
                <a:gd name="T19" fmla="*/ 0 h 10"/>
                <a:gd name="T20" fmla="*/ 7 w 11"/>
                <a:gd name="T21" fmla="*/ 1 h 10"/>
                <a:gd name="T22" fmla="*/ 8 w 11"/>
                <a:gd name="T23" fmla="*/ 2 h 10"/>
                <a:gd name="T24" fmla="*/ 11 w 11"/>
                <a:gd name="T25" fmla="*/ 4 h 10"/>
                <a:gd name="T26" fmla="*/ 11 w 11"/>
                <a:gd name="T27" fmla="*/ 7 h 10"/>
                <a:gd name="T28" fmla="*/ 11 w 11"/>
                <a:gd name="T29" fmla="*/ 7 h 10"/>
                <a:gd name="T30" fmla="*/ 10 w 11"/>
                <a:gd name="T31" fmla="*/ 8 h 10"/>
                <a:gd name="T32" fmla="*/ 8 w 11"/>
                <a:gd name="T3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0">
                  <a:moveTo>
                    <a:pt x="8" y="10"/>
                  </a:moveTo>
                  <a:lnTo>
                    <a:pt x="8" y="10"/>
                  </a:lnTo>
                  <a:lnTo>
                    <a:pt x="5" y="8"/>
                  </a:lnTo>
                  <a:lnTo>
                    <a:pt x="3" y="7"/>
                  </a:lnTo>
                  <a:lnTo>
                    <a:pt x="1" y="4"/>
                  </a:lnTo>
                  <a:lnTo>
                    <a:pt x="0" y="2"/>
                  </a:lnTo>
                  <a:lnTo>
                    <a:pt x="0" y="2"/>
                  </a:lnTo>
                  <a:lnTo>
                    <a:pt x="1" y="1"/>
                  </a:lnTo>
                  <a:lnTo>
                    <a:pt x="3" y="0"/>
                  </a:lnTo>
                  <a:lnTo>
                    <a:pt x="3" y="0"/>
                  </a:lnTo>
                  <a:lnTo>
                    <a:pt x="7" y="1"/>
                  </a:lnTo>
                  <a:lnTo>
                    <a:pt x="8" y="2"/>
                  </a:lnTo>
                  <a:lnTo>
                    <a:pt x="11" y="4"/>
                  </a:lnTo>
                  <a:lnTo>
                    <a:pt x="11" y="7"/>
                  </a:lnTo>
                  <a:lnTo>
                    <a:pt x="11" y="7"/>
                  </a:lnTo>
                  <a:lnTo>
                    <a:pt x="10" y="8"/>
                  </a:lnTo>
                  <a:lnTo>
                    <a:pt x="8"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51" name="Freeform 1568"/>
            <p:cNvSpPr>
              <a:spLocks/>
            </p:cNvSpPr>
            <p:nvPr/>
          </p:nvSpPr>
          <p:spPr bwMode="auto">
            <a:xfrm>
              <a:off x="8178801" y="3408792"/>
              <a:ext cx="11113" cy="12700"/>
            </a:xfrm>
            <a:custGeom>
              <a:avLst/>
              <a:gdLst>
                <a:gd name="T0" fmla="*/ 7 w 7"/>
                <a:gd name="T1" fmla="*/ 0 h 8"/>
                <a:gd name="T2" fmla="*/ 7 w 7"/>
                <a:gd name="T3" fmla="*/ 0 h 8"/>
                <a:gd name="T4" fmla="*/ 4 w 7"/>
                <a:gd name="T5" fmla="*/ 0 h 8"/>
                <a:gd name="T6" fmla="*/ 1 w 7"/>
                <a:gd name="T7" fmla="*/ 1 h 8"/>
                <a:gd name="T8" fmla="*/ 0 w 7"/>
                <a:gd name="T9" fmla="*/ 4 h 8"/>
                <a:gd name="T10" fmla="*/ 0 w 7"/>
                <a:gd name="T11" fmla="*/ 7 h 8"/>
                <a:gd name="T12" fmla="*/ 0 w 7"/>
                <a:gd name="T13" fmla="*/ 7 h 8"/>
                <a:gd name="T14" fmla="*/ 1 w 7"/>
                <a:gd name="T15" fmla="*/ 8 h 8"/>
                <a:gd name="T16" fmla="*/ 3 w 7"/>
                <a:gd name="T17" fmla="*/ 8 h 8"/>
                <a:gd name="T18" fmla="*/ 5 w 7"/>
                <a:gd name="T19" fmla="*/ 5 h 8"/>
                <a:gd name="T20" fmla="*/ 7 w 7"/>
                <a:gd name="T21" fmla="*/ 3 h 8"/>
                <a:gd name="T22" fmla="*/ 7 w 7"/>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7" y="0"/>
                  </a:moveTo>
                  <a:lnTo>
                    <a:pt x="7" y="0"/>
                  </a:lnTo>
                  <a:lnTo>
                    <a:pt x="4" y="0"/>
                  </a:lnTo>
                  <a:lnTo>
                    <a:pt x="1" y="1"/>
                  </a:lnTo>
                  <a:lnTo>
                    <a:pt x="0" y="4"/>
                  </a:lnTo>
                  <a:lnTo>
                    <a:pt x="0" y="7"/>
                  </a:lnTo>
                  <a:lnTo>
                    <a:pt x="0" y="7"/>
                  </a:lnTo>
                  <a:lnTo>
                    <a:pt x="1" y="8"/>
                  </a:lnTo>
                  <a:lnTo>
                    <a:pt x="3" y="8"/>
                  </a:lnTo>
                  <a:lnTo>
                    <a:pt x="5" y="5"/>
                  </a:lnTo>
                  <a:lnTo>
                    <a:pt x="7" y="3"/>
                  </a:lnTo>
                  <a:lnTo>
                    <a:pt x="7" y="0"/>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52" name="Freeform 1569"/>
            <p:cNvSpPr>
              <a:spLocks/>
            </p:cNvSpPr>
            <p:nvPr/>
          </p:nvSpPr>
          <p:spPr bwMode="auto">
            <a:xfrm>
              <a:off x="8178801" y="3408792"/>
              <a:ext cx="11113" cy="12700"/>
            </a:xfrm>
            <a:custGeom>
              <a:avLst/>
              <a:gdLst>
                <a:gd name="T0" fmla="*/ 7 w 7"/>
                <a:gd name="T1" fmla="*/ 0 h 8"/>
                <a:gd name="T2" fmla="*/ 7 w 7"/>
                <a:gd name="T3" fmla="*/ 0 h 8"/>
                <a:gd name="T4" fmla="*/ 4 w 7"/>
                <a:gd name="T5" fmla="*/ 0 h 8"/>
                <a:gd name="T6" fmla="*/ 1 w 7"/>
                <a:gd name="T7" fmla="*/ 1 h 8"/>
                <a:gd name="T8" fmla="*/ 0 w 7"/>
                <a:gd name="T9" fmla="*/ 4 h 8"/>
                <a:gd name="T10" fmla="*/ 0 w 7"/>
                <a:gd name="T11" fmla="*/ 7 h 8"/>
                <a:gd name="T12" fmla="*/ 0 w 7"/>
                <a:gd name="T13" fmla="*/ 7 h 8"/>
                <a:gd name="T14" fmla="*/ 1 w 7"/>
                <a:gd name="T15" fmla="*/ 8 h 8"/>
                <a:gd name="T16" fmla="*/ 3 w 7"/>
                <a:gd name="T17" fmla="*/ 8 h 8"/>
                <a:gd name="T18" fmla="*/ 5 w 7"/>
                <a:gd name="T19" fmla="*/ 5 h 8"/>
                <a:gd name="T20" fmla="*/ 7 w 7"/>
                <a:gd name="T21" fmla="*/ 3 h 8"/>
                <a:gd name="T22" fmla="*/ 7 w 7"/>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7" y="0"/>
                  </a:moveTo>
                  <a:lnTo>
                    <a:pt x="7" y="0"/>
                  </a:lnTo>
                  <a:lnTo>
                    <a:pt x="4" y="0"/>
                  </a:lnTo>
                  <a:lnTo>
                    <a:pt x="1" y="1"/>
                  </a:lnTo>
                  <a:lnTo>
                    <a:pt x="0" y="4"/>
                  </a:lnTo>
                  <a:lnTo>
                    <a:pt x="0" y="7"/>
                  </a:lnTo>
                  <a:lnTo>
                    <a:pt x="0" y="7"/>
                  </a:lnTo>
                  <a:lnTo>
                    <a:pt x="1" y="8"/>
                  </a:lnTo>
                  <a:lnTo>
                    <a:pt x="3" y="8"/>
                  </a:lnTo>
                  <a:lnTo>
                    <a:pt x="5" y="5"/>
                  </a:lnTo>
                  <a:lnTo>
                    <a:pt x="7" y="3"/>
                  </a:lnTo>
                  <a:lnTo>
                    <a:pt x="7" y="0"/>
                  </a:lnTo>
                </a:path>
              </a:pathLst>
            </a:custGeom>
            <a:solidFill>
              <a:srgbClr val="92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53" name="Freeform 1570"/>
            <p:cNvSpPr>
              <a:spLocks/>
            </p:cNvSpPr>
            <p:nvPr/>
          </p:nvSpPr>
          <p:spPr bwMode="auto">
            <a:xfrm>
              <a:off x="8267701" y="3275442"/>
              <a:ext cx="25400" cy="22225"/>
            </a:xfrm>
            <a:custGeom>
              <a:avLst/>
              <a:gdLst>
                <a:gd name="T0" fmla="*/ 16 w 16"/>
                <a:gd name="T1" fmla="*/ 0 h 14"/>
                <a:gd name="T2" fmla="*/ 16 w 16"/>
                <a:gd name="T3" fmla="*/ 0 h 14"/>
                <a:gd name="T4" fmla="*/ 13 w 16"/>
                <a:gd name="T5" fmla="*/ 0 h 14"/>
                <a:gd name="T6" fmla="*/ 12 w 16"/>
                <a:gd name="T7" fmla="*/ 1 h 14"/>
                <a:gd name="T8" fmla="*/ 9 w 16"/>
                <a:gd name="T9" fmla="*/ 3 h 14"/>
                <a:gd name="T10" fmla="*/ 6 w 16"/>
                <a:gd name="T11" fmla="*/ 4 h 14"/>
                <a:gd name="T12" fmla="*/ 6 w 16"/>
                <a:gd name="T13" fmla="*/ 4 h 14"/>
                <a:gd name="T14" fmla="*/ 3 w 16"/>
                <a:gd name="T15" fmla="*/ 7 h 14"/>
                <a:gd name="T16" fmla="*/ 0 w 16"/>
                <a:gd name="T17" fmla="*/ 10 h 14"/>
                <a:gd name="T18" fmla="*/ 0 w 16"/>
                <a:gd name="T19" fmla="*/ 13 h 14"/>
                <a:gd name="T20" fmla="*/ 2 w 16"/>
                <a:gd name="T21" fmla="*/ 14 h 14"/>
                <a:gd name="T22" fmla="*/ 2 w 16"/>
                <a:gd name="T23" fmla="*/ 14 h 14"/>
                <a:gd name="T24" fmla="*/ 6 w 16"/>
                <a:gd name="T25" fmla="*/ 13 h 14"/>
                <a:gd name="T26" fmla="*/ 12 w 16"/>
                <a:gd name="T27" fmla="*/ 7 h 14"/>
                <a:gd name="T28" fmla="*/ 16 w 16"/>
                <a:gd name="T29" fmla="*/ 1 h 14"/>
                <a:gd name="T30" fmla="*/ 16 w 16"/>
                <a:gd name="T31" fmla="*/ 0 h 14"/>
                <a:gd name="T32" fmla="*/ 16 w 16"/>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4">
                  <a:moveTo>
                    <a:pt x="16" y="0"/>
                  </a:moveTo>
                  <a:lnTo>
                    <a:pt x="16" y="0"/>
                  </a:lnTo>
                  <a:lnTo>
                    <a:pt x="13" y="0"/>
                  </a:lnTo>
                  <a:lnTo>
                    <a:pt x="12" y="1"/>
                  </a:lnTo>
                  <a:lnTo>
                    <a:pt x="9" y="3"/>
                  </a:lnTo>
                  <a:lnTo>
                    <a:pt x="6" y="4"/>
                  </a:lnTo>
                  <a:lnTo>
                    <a:pt x="6" y="4"/>
                  </a:lnTo>
                  <a:lnTo>
                    <a:pt x="3" y="7"/>
                  </a:lnTo>
                  <a:lnTo>
                    <a:pt x="0" y="10"/>
                  </a:lnTo>
                  <a:lnTo>
                    <a:pt x="0" y="13"/>
                  </a:lnTo>
                  <a:lnTo>
                    <a:pt x="2" y="14"/>
                  </a:lnTo>
                  <a:lnTo>
                    <a:pt x="2" y="14"/>
                  </a:lnTo>
                  <a:lnTo>
                    <a:pt x="6" y="13"/>
                  </a:lnTo>
                  <a:lnTo>
                    <a:pt x="12" y="7"/>
                  </a:lnTo>
                  <a:lnTo>
                    <a:pt x="16" y="1"/>
                  </a:lnTo>
                  <a:lnTo>
                    <a:pt x="16" y="0"/>
                  </a:lnTo>
                  <a:lnTo>
                    <a:pt x="16" y="0"/>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54" name="Freeform 1571"/>
            <p:cNvSpPr>
              <a:spLocks/>
            </p:cNvSpPr>
            <p:nvPr/>
          </p:nvSpPr>
          <p:spPr bwMode="auto">
            <a:xfrm>
              <a:off x="8267701" y="3275442"/>
              <a:ext cx="25400" cy="22225"/>
            </a:xfrm>
            <a:custGeom>
              <a:avLst/>
              <a:gdLst>
                <a:gd name="T0" fmla="*/ 16 w 16"/>
                <a:gd name="T1" fmla="*/ 0 h 14"/>
                <a:gd name="T2" fmla="*/ 16 w 16"/>
                <a:gd name="T3" fmla="*/ 0 h 14"/>
                <a:gd name="T4" fmla="*/ 13 w 16"/>
                <a:gd name="T5" fmla="*/ 0 h 14"/>
                <a:gd name="T6" fmla="*/ 12 w 16"/>
                <a:gd name="T7" fmla="*/ 1 h 14"/>
                <a:gd name="T8" fmla="*/ 9 w 16"/>
                <a:gd name="T9" fmla="*/ 3 h 14"/>
                <a:gd name="T10" fmla="*/ 6 w 16"/>
                <a:gd name="T11" fmla="*/ 4 h 14"/>
                <a:gd name="T12" fmla="*/ 6 w 16"/>
                <a:gd name="T13" fmla="*/ 4 h 14"/>
                <a:gd name="T14" fmla="*/ 3 w 16"/>
                <a:gd name="T15" fmla="*/ 7 h 14"/>
                <a:gd name="T16" fmla="*/ 0 w 16"/>
                <a:gd name="T17" fmla="*/ 10 h 14"/>
                <a:gd name="T18" fmla="*/ 0 w 16"/>
                <a:gd name="T19" fmla="*/ 13 h 14"/>
                <a:gd name="T20" fmla="*/ 2 w 16"/>
                <a:gd name="T21" fmla="*/ 14 h 14"/>
                <a:gd name="T22" fmla="*/ 2 w 16"/>
                <a:gd name="T23" fmla="*/ 14 h 14"/>
                <a:gd name="T24" fmla="*/ 6 w 16"/>
                <a:gd name="T25" fmla="*/ 13 h 14"/>
                <a:gd name="T26" fmla="*/ 12 w 16"/>
                <a:gd name="T27" fmla="*/ 7 h 14"/>
                <a:gd name="T28" fmla="*/ 16 w 16"/>
                <a:gd name="T29" fmla="*/ 1 h 14"/>
                <a:gd name="T30" fmla="*/ 16 w 16"/>
                <a:gd name="T31" fmla="*/ 0 h 14"/>
                <a:gd name="T32" fmla="*/ 16 w 16"/>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4">
                  <a:moveTo>
                    <a:pt x="16" y="0"/>
                  </a:moveTo>
                  <a:lnTo>
                    <a:pt x="16" y="0"/>
                  </a:lnTo>
                  <a:lnTo>
                    <a:pt x="13" y="0"/>
                  </a:lnTo>
                  <a:lnTo>
                    <a:pt x="12" y="1"/>
                  </a:lnTo>
                  <a:lnTo>
                    <a:pt x="9" y="3"/>
                  </a:lnTo>
                  <a:lnTo>
                    <a:pt x="6" y="4"/>
                  </a:lnTo>
                  <a:lnTo>
                    <a:pt x="6" y="4"/>
                  </a:lnTo>
                  <a:lnTo>
                    <a:pt x="3" y="7"/>
                  </a:lnTo>
                  <a:lnTo>
                    <a:pt x="0" y="10"/>
                  </a:lnTo>
                  <a:lnTo>
                    <a:pt x="0" y="13"/>
                  </a:lnTo>
                  <a:lnTo>
                    <a:pt x="2" y="14"/>
                  </a:lnTo>
                  <a:lnTo>
                    <a:pt x="2" y="14"/>
                  </a:lnTo>
                  <a:lnTo>
                    <a:pt x="6" y="13"/>
                  </a:lnTo>
                  <a:lnTo>
                    <a:pt x="12" y="7"/>
                  </a:lnTo>
                  <a:lnTo>
                    <a:pt x="16" y="1"/>
                  </a:lnTo>
                  <a:lnTo>
                    <a:pt x="16" y="0"/>
                  </a:lnTo>
                  <a:lnTo>
                    <a:pt x="16" y="0"/>
                  </a:lnTo>
                </a:path>
              </a:pathLst>
            </a:custGeom>
            <a:solidFill>
              <a:srgbClr val="92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55" name="Freeform 1572"/>
            <p:cNvSpPr>
              <a:spLocks/>
            </p:cNvSpPr>
            <p:nvPr/>
          </p:nvSpPr>
          <p:spPr bwMode="auto">
            <a:xfrm>
              <a:off x="8240713" y="3343704"/>
              <a:ext cx="4763" cy="4763"/>
            </a:xfrm>
            <a:custGeom>
              <a:avLst/>
              <a:gdLst>
                <a:gd name="T0" fmla="*/ 1 w 3"/>
                <a:gd name="T1" fmla="*/ 0 h 3"/>
                <a:gd name="T2" fmla="*/ 1 w 3"/>
                <a:gd name="T3" fmla="*/ 0 h 3"/>
                <a:gd name="T4" fmla="*/ 0 w 3"/>
                <a:gd name="T5" fmla="*/ 0 h 3"/>
                <a:gd name="T6" fmla="*/ 0 w 3"/>
                <a:gd name="T7" fmla="*/ 2 h 3"/>
                <a:gd name="T8" fmla="*/ 0 w 3"/>
                <a:gd name="T9" fmla="*/ 3 h 3"/>
                <a:gd name="T10" fmla="*/ 0 w 3"/>
                <a:gd name="T11" fmla="*/ 3 h 3"/>
                <a:gd name="T12" fmla="*/ 0 w 3"/>
                <a:gd name="T13" fmla="*/ 3 h 3"/>
                <a:gd name="T14" fmla="*/ 3 w 3"/>
                <a:gd name="T15" fmla="*/ 2 h 3"/>
                <a:gd name="T16" fmla="*/ 3 w 3"/>
                <a:gd name="T17" fmla="*/ 0 h 3"/>
                <a:gd name="T18" fmla="*/ 1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1" y="0"/>
                  </a:moveTo>
                  <a:lnTo>
                    <a:pt x="1" y="0"/>
                  </a:lnTo>
                  <a:lnTo>
                    <a:pt x="0" y="0"/>
                  </a:lnTo>
                  <a:lnTo>
                    <a:pt x="0" y="2"/>
                  </a:lnTo>
                  <a:lnTo>
                    <a:pt x="0" y="3"/>
                  </a:lnTo>
                  <a:lnTo>
                    <a:pt x="0" y="3"/>
                  </a:lnTo>
                  <a:lnTo>
                    <a:pt x="0" y="3"/>
                  </a:lnTo>
                  <a:lnTo>
                    <a:pt x="3" y="2"/>
                  </a:lnTo>
                  <a:lnTo>
                    <a:pt x="3" y="0"/>
                  </a:lnTo>
                  <a:lnTo>
                    <a:pt x="1" y="0"/>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56" name="Freeform 1573"/>
            <p:cNvSpPr>
              <a:spLocks/>
            </p:cNvSpPr>
            <p:nvPr/>
          </p:nvSpPr>
          <p:spPr bwMode="auto">
            <a:xfrm>
              <a:off x="8240713" y="3343704"/>
              <a:ext cx="4763" cy="4763"/>
            </a:xfrm>
            <a:custGeom>
              <a:avLst/>
              <a:gdLst>
                <a:gd name="T0" fmla="*/ 1 w 3"/>
                <a:gd name="T1" fmla="*/ 0 h 3"/>
                <a:gd name="T2" fmla="*/ 1 w 3"/>
                <a:gd name="T3" fmla="*/ 0 h 3"/>
                <a:gd name="T4" fmla="*/ 0 w 3"/>
                <a:gd name="T5" fmla="*/ 0 h 3"/>
                <a:gd name="T6" fmla="*/ 0 w 3"/>
                <a:gd name="T7" fmla="*/ 2 h 3"/>
                <a:gd name="T8" fmla="*/ 0 w 3"/>
                <a:gd name="T9" fmla="*/ 3 h 3"/>
                <a:gd name="T10" fmla="*/ 0 w 3"/>
                <a:gd name="T11" fmla="*/ 3 h 3"/>
                <a:gd name="T12" fmla="*/ 0 w 3"/>
                <a:gd name="T13" fmla="*/ 3 h 3"/>
                <a:gd name="T14" fmla="*/ 3 w 3"/>
                <a:gd name="T15" fmla="*/ 2 h 3"/>
                <a:gd name="T16" fmla="*/ 3 w 3"/>
                <a:gd name="T17" fmla="*/ 0 h 3"/>
                <a:gd name="T18" fmla="*/ 1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1" y="0"/>
                  </a:moveTo>
                  <a:lnTo>
                    <a:pt x="1" y="0"/>
                  </a:lnTo>
                  <a:lnTo>
                    <a:pt x="0" y="0"/>
                  </a:lnTo>
                  <a:lnTo>
                    <a:pt x="0" y="2"/>
                  </a:lnTo>
                  <a:lnTo>
                    <a:pt x="0" y="3"/>
                  </a:lnTo>
                  <a:lnTo>
                    <a:pt x="0" y="3"/>
                  </a:lnTo>
                  <a:lnTo>
                    <a:pt x="0" y="3"/>
                  </a:lnTo>
                  <a:lnTo>
                    <a:pt x="3" y="2"/>
                  </a:lnTo>
                  <a:lnTo>
                    <a:pt x="3" y="0"/>
                  </a:lnTo>
                  <a:lnTo>
                    <a:pt x="1" y="0"/>
                  </a:lnTo>
                </a:path>
              </a:pathLst>
            </a:custGeom>
            <a:solidFill>
              <a:srgbClr val="92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57" name="Freeform 1580"/>
            <p:cNvSpPr>
              <a:spLocks/>
            </p:cNvSpPr>
            <p:nvPr/>
          </p:nvSpPr>
          <p:spPr bwMode="auto">
            <a:xfrm>
              <a:off x="6853238" y="3746929"/>
              <a:ext cx="33338" cy="22225"/>
            </a:xfrm>
            <a:custGeom>
              <a:avLst/>
              <a:gdLst>
                <a:gd name="T0" fmla="*/ 21 w 21"/>
                <a:gd name="T1" fmla="*/ 10 h 14"/>
                <a:gd name="T2" fmla="*/ 21 w 21"/>
                <a:gd name="T3" fmla="*/ 10 h 14"/>
                <a:gd name="T4" fmla="*/ 18 w 21"/>
                <a:gd name="T5" fmla="*/ 13 h 14"/>
                <a:gd name="T6" fmla="*/ 12 w 21"/>
                <a:gd name="T7" fmla="*/ 14 h 14"/>
                <a:gd name="T8" fmla="*/ 8 w 21"/>
                <a:gd name="T9" fmla="*/ 14 h 14"/>
                <a:gd name="T10" fmla="*/ 3 w 21"/>
                <a:gd name="T11" fmla="*/ 13 h 14"/>
                <a:gd name="T12" fmla="*/ 3 w 21"/>
                <a:gd name="T13" fmla="*/ 13 h 14"/>
                <a:gd name="T14" fmla="*/ 2 w 21"/>
                <a:gd name="T15" fmla="*/ 10 h 14"/>
                <a:gd name="T16" fmla="*/ 0 w 21"/>
                <a:gd name="T17" fmla="*/ 8 h 14"/>
                <a:gd name="T18" fmla="*/ 2 w 21"/>
                <a:gd name="T19" fmla="*/ 4 h 14"/>
                <a:gd name="T20" fmla="*/ 6 w 21"/>
                <a:gd name="T21" fmla="*/ 0 h 14"/>
                <a:gd name="T22" fmla="*/ 9 w 21"/>
                <a:gd name="T23" fmla="*/ 0 h 14"/>
                <a:gd name="T24" fmla="*/ 9 w 21"/>
                <a:gd name="T25" fmla="*/ 0 h 14"/>
                <a:gd name="T26" fmla="*/ 14 w 21"/>
                <a:gd name="T27" fmla="*/ 1 h 14"/>
                <a:gd name="T28" fmla="*/ 18 w 21"/>
                <a:gd name="T29" fmla="*/ 4 h 14"/>
                <a:gd name="T30" fmla="*/ 21 w 21"/>
                <a:gd name="T31" fmla="*/ 8 h 14"/>
                <a:gd name="T32" fmla="*/ 21 w 21"/>
                <a:gd name="T33" fmla="*/ 10 h 14"/>
                <a:gd name="T34" fmla="*/ 21 w 21"/>
                <a:gd name="T35"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 h="14">
                  <a:moveTo>
                    <a:pt x="21" y="10"/>
                  </a:moveTo>
                  <a:lnTo>
                    <a:pt x="21" y="10"/>
                  </a:lnTo>
                  <a:lnTo>
                    <a:pt x="18" y="13"/>
                  </a:lnTo>
                  <a:lnTo>
                    <a:pt x="12" y="14"/>
                  </a:lnTo>
                  <a:lnTo>
                    <a:pt x="8" y="14"/>
                  </a:lnTo>
                  <a:lnTo>
                    <a:pt x="3" y="13"/>
                  </a:lnTo>
                  <a:lnTo>
                    <a:pt x="3" y="13"/>
                  </a:lnTo>
                  <a:lnTo>
                    <a:pt x="2" y="10"/>
                  </a:lnTo>
                  <a:lnTo>
                    <a:pt x="0" y="8"/>
                  </a:lnTo>
                  <a:lnTo>
                    <a:pt x="2" y="4"/>
                  </a:lnTo>
                  <a:lnTo>
                    <a:pt x="6" y="0"/>
                  </a:lnTo>
                  <a:lnTo>
                    <a:pt x="9" y="0"/>
                  </a:lnTo>
                  <a:lnTo>
                    <a:pt x="9" y="0"/>
                  </a:lnTo>
                  <a:lnTo>
                    <a:pt x="14" y="1"/>
                  </a:lnTo>
                  <a:lnTo>
                    <a:pt x="18" y="4"/>
                  </a:lnTo>
                  <a:lnTo>
                    <a:pt x="21" y="8"/>
                  </a:lnTo>
                  <a:lnTo>
                    <a:pt x="21" y="10"/>
                  </a:lnTo>
                  <a:lnTo>
                    <a:pt x="21"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58" name="Freeform 1583"/>
            <p:cNvSpPr>
              <a:spLocks noEditPoints="1"/>
            </p:cNvSpPr>
            <p:nvPr/>
          </p:nvSpPr>
          <p:spPr bwMode="auto">
            <a:xfrm>
              <a:off x="4627563" y="4910567"/>
              <a:ext cx="533400" cy="565150"/>
            </a:xfrm>
            <a:custGeom>
              <a:avLst/>
              <a:gdLst>
                <a:gd name="T0" fmla="*/ 19 w 336"/>
                <a:gd name="T1" fmla="*/ 1 h 356"/>
                <a:gd name="T2" fmla="*/ 15 w 336"/>
                <a:gd name="T3" fmla="*/ 10 h 356"/>
                <a:gd name="T4" fmla="*/ 22 w 336"/>
                <a:gd name="T5" fmla="*/ 2 h 356"/>
                <a:gd name="T6" fmla="*/ 41 w 336"/>
                <a:gd name="T7" fmla="*/ 0 h 356"/>
                <a:gd name="T8" fmla="*/ 66 w 336"/>
                <a:gd name="T9" fmla="*/ 0 h 356"/>
                <a:gd name="T10" fmla="*/ 76 w 336"/>
                <a:gd name="T11" fmla="*/ 0 h 356"/>
                <a:gd name="T12" fmla="*/ 74 w 336"/>
                <a:gd name="T13" fmla="*/ 10 h 356"/>
                <a:gd name="T14" fmla="*/ 77 w 336"/>
                <a:gd name="T15" fmla="*/ 26 h 356"/>
                <a:gd name="T16" fmla="*/ 89 w 336"/>
                <a:gd name="T17" fmla="*/ 39 h 356"/>
                <a:gd name="T18" fmla="*/ 92 w 336"/>
                <a:gd name="T19" fmla="*/ 42 h 356"/>
                <a:gd name="T20" fmla="*/ 111 w 336"/>
                <a:gd name="T21" fmla="*/ 39 h 356"/>
                <a:gd name="T22" fmla="*/ 116 w 336"/>
                <a:gd name="T23" fmla="*/ 36 h 356"/>
                <a:gd name="T24" fmla="*/ 119 w 336"/>
                <a:gd name="T25" fmla="*/ 20 h 356"/>
                <a:gd name="T26" fmla="*/ 142 w 336"/>
                <a:gd name="T27" fmla="*/ 29 h 356"/>
                <a:gd name="T28" fmla="*/ 132 w 336"/>
                <a:gd name="T29" fmla="*/ 26 h 356"/>
                <a:gd name="T30" fmla="*/ 157 w 336"/>
                <a:gd name="T31" fmla="*/ 27 h 356"/>
                <a:gd name="T32" fmla="*/ 160 w 336"/>
                <a:gd name="T33" fmla="*/ 31 h 356"/>
                <a:gd name="T34" fmla="*/ 157 w 336"/>
                <a:gd name="T35" fmla="*/ 56 h 356"/>
                <a:gd name="T36" fmla="*/ 154 w 336"/>
                <a:gd name="T37" fmla="*/ 55 h 356"/>
                <a:gd name="T38" fmla="*/ 158 w 336"/>
                <a:gd name="T39" fmla="*/ 62 h 356"/>
                <a:gd name="T40" fmla="*/ 170 w 336"/>
                <a:gd name="T41" fmla="*/ 73 h 356"/>
                <a:gd name="T42" fmla="*/ 164 w 336"/>
                <a:gd name="T43" fmla="*/ 82 h 356"/>
                <a:gd name="T44" fmla="*/ 160 w 336"/>
                <a:gd name="T45" fmla="*/ 85 h 356"/>
                <a:gd name="T46" fmla="*/ 160 w 336"/>
                <a:gd name="T47" fmla="*/ 85 h 356"/>
                <a:gd name="T48" fmla="*/ 158 w 336"/>
                <a:gd name="T49" fmla="*/ 86 h 356"/>
                <a:gd name="T50" fmla="*/ 183 w 336"/>
                <a:gd name="T51" fmla="*/ 85 h 356"/>
                <a:gd name="T52" fmla="*/ 193 w 336"/>
                <a:gd name="T53" fmla="*/ 85 h 356"/>
                <a:gd name="T54" fmla="*/ 190 w 336"/>
                <a:gd name="T55" fmla="*/ 88 h 356"/>
                <a:gd name="T56" fmla="*/ 193 w 336"/>
                <a:gd name="T57" fmla="*/ 98 h 356"/>
                <a:gd name="T58" fmla="*/ 184 w 336"/>
                <a:gd name="T59" fmla="*/ 108 h 356"/>
                <a:gd name="T60" fmla="*/ 168 w 336"/>
                <a:gd name="T61" fmla="*/ 105 h 356"/>
                <a:gd name="T62" fmla="*/ 151 w 336"/>
                <a:gd name="T63" fmla="*/ 117 h 356"/>
                <a:gd name="T64" fmla="*/ 150 w 336"/>
                <a:gd name="T65" fmla="*/ 118 h 356"/>
                <a:gd name="T66" fmla="*/ 153 w 336"/>
                <a:gd name="T67" fmla="*/ 149 h 356"/>
                <a:gd name="T68" fmla="*/ 150 w 336"/>
                <a:gd name="T69" fmla="*/ 141 h 356"/>
                <a:gd name="T70" fmla="*/ 157 w 336"/>
                <a:gd name="T71" fmla="*/ 163 h 356"/>
                <a:gd name="T72" fmla="*/ 166 w 336"/>
                <a:gd name="T73" fmla="*/ 176 h 356"/>
                <a:gd name="T74" fmla="*/ 176 w 336"/>
                <a:gd name="T75" fmla="*/ 186 h 356"/>
                <a:gd name="T76" fmla="*/ 190 w 336"/>
                <a:gd name="T77" fmla="*/ 192 h 356"/>
                <a:gd name="T78" fmla="*/ 200 w 336"/>
                <a:gd name="T79" fmla="*/ 198 h 356"/>
                <a:gd name="T80" fmla="*/ 209 w 336"/>
                <a:gd name="T81" fmla="*/ 201 h 356"/>
                <a:gd name="T82" fmla="*/ 226 w 336"/>
                <a:gd name="T83" fmla="*/ 218 h 356"/>
                <a:gd name="T84" fmla="*/ 232 w 336"/>
                <a:gd name="T85" fmla="*/ 221 h 356"/>
                <a:gd name="T86" fmla="*/ 238 w 336"/>
                <a:gd name="T87" fmla="*/ 227 h 356"/>
                <a:gd name="T88" fmla="*/ 248 w 336"/>
                <a:gd name="T89" fmla="*/ 237 h 356"/>
                <a:gd name="T90" fmla="*/ 257 w 336"/>
                <a:gd name="T91" fmla="*/ 250 h 356"/>
                <a:gd name="T92" fmla="*/ 255 w 336"/>
                <a:gd name="T93" fmla="*/ 256 h 356"/>
                <a:gd name="T94" fmla="*/ 270 w 336"/>
                <a:gd name="T95" fmla="*/ 263 h 356"/>
                <a:gd name="T96" fmla="*/ 281 w 336"/>
                <a:gd name="T97" fmla="*/ 272 h 356"/>
                <a:gd name="T98" fmla="*/ 302 w 336"/>
                <a:gd name="T99" fmla="*/ 273 h 356"/>
                <a:gd name="T100" fmla="*/ 308 w 336"/>
                <a:gd name="T101" fmla="*/ 275 h 356"/>
                <a:gd name="T102" fmla="*/ 310 w 336"/>
                <a:gd name="T103" fmla="*/ 276 h 356"/>
                <a:gd name="T104" fmla="*/ 322 w 336"/>
                <a:gd name="T105" fmla="*/ 288 h 356"/>
                <a:gd name="T106" fmla="*/ 325 w 336"/>
                <a:gd name="T107" fmla="*/ 312 h 356"/>
                <a:gd name="T108" fmla="*/ 325 w 336"/>
                <a:gd name="T109" fmla="*/ 328 h 356"/>
                <a:gd name="T110" fmla="*/ 322 w 336"/>
                <a:gd name="T111" fmla="*/ 327 h 356"/>
                <a:gd name="T112" fmla="*/ 322 w 336"/>
                <a:gd name="T113" fmla="*/ 333 h 356"/>
                <a:gd name="T114" fmla="*/ 331 w 336"/>
                <a:gd name="T115" fmla="*/ 346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6" h="356">
                  <a:moveTo>
                    <a:pt x="9" y="8"/>
                  </a:moveTo>
                  <a:lnTo>
                    <a:pt x="9" y="8"/>
                  </a:lnTo>
                  <a:lnTo>
                    <a:pt x="0" y="11"/>
                  </a:lnTo>
                  <a:lnTo>
                    <a:pt x="2" y="13"/>
                  </a:lnTo>
                  <a:lnTo>
                    <a:pt x="2" y="13"/>
                  </a:lnTo>
                  <a:lnTo>
                    <a:pt x="11" y="11"/>
                  </a:lnTo>
                  <a:lnTo>
                    <a:pt x="9" y="8"/>
                  </a:lnTo>
                  <a:close/>
                  <a:moveTo>
                    <a:pt x="19" y="1"/>
                  </a:moveTo>
                  <a:lnTo>
                    <a:pt x="19" y="1"/>
                  </a:lnTo>
                  <a:lnTo>
                    <a:pt x="18" y="5"/>
                  </a:lnTo>
                  <a:lnTo>
                    <a:pt x="18" y="5"/>
                  </a:lnTo>
                  <a:lnTo>
                    <a:pt x="16" y="7"/>
                  </a:lnTo>
                  <a:lnTo>
                    <a:pt x="16" y="7"/>
                  </a:lnTo>
                  <a:lnTo>
                    <a:pt x="16" y="7"/>
                  </a:lnTo>
                  <a:lnTo>
                    <a:pt x="15" y="7"/>
                  </a:lnTo>
                  <a:lnTo>
                    <a:pt x="15" y="10"/>
                  </a:lnTo>
                  <a:lnTo>
                    <a:pt x="15" y="10"/>
                  </a:lnTo>
                  <a:lnTo>
                    <a:pt x="16" y="10"/>
                  </a:lnTo>
                  <a:lnTo>
                    <a:pt x="16" y="10"/>
                  </a:lnTo>
                  <a:lnTo>
                    <a:pt x="19" y="8"/>
                  </a:lnTo>
                  <a:lnTo>
                    <a:pt x="19" y="8"/>
                  </a:lnTo>
                  <a:lnTo>
                    <a:pt x="21" y="5"/>
                  </a:lnTo>
                  <a:lnTo>
                    <a:pt x="21" y="5"/>
                  </a:lnTo>
                  <a:lnTo>
                    <a:pt x="22" y="2"/>
                  </a:lnTo>
                  <a:lnTo>
                    <a:pt x="19" y="1"/>
                  </a:lnTo>
                  <a:close/>
                  <a:moveTo>
                    <a:pt x="35" y="0"/>
                  </a:moveTo>
                  <a:lnTo>
                    <a:pt x="25" y="0"/>
                  </a:lnTo>
                  <a:lnTo>
                    <a:pt x="25" y="1"/>
                  </a:lnTo>
                  <a:lnTo>
                    <a:pt x="35" y="1"/>
                  </a:lnTo>
                  <a:lnTo>
                    <a:pt x="35" y="0"/>
                  </a:lnTo>
                  <a:close/>
                  <a:moveTo>
                    <a:pt x="51" y="0"/>
                  </a:moveTo>
                  <a:lnTo>
                    <a:pt x="41" y="0"/>
                  </a:lnTo>
                  <a:lnTo>
                    <a:pt x="41" y="1"/>
                  </a:lnTo>
                  <a:lnTo>
                    <a:pt x="51" y="1"/>
                  </a:lnTo>
                  <a:lnTo>
                    <a:pt x="51" y="0"/>
                  </a:lnTo>
                  <a:close/>
                  <a:moveTo>
                    <a:pt x="66" y="0"/>
                  </a:moveTo>
                  <a:lnTo>
                    <a:pt x="56" y="0"/>
                  </a:lnTo>
                  <a:lnTo>
                    <a:pt x="56" y="1"/>
                  </a:lnTo>
                  <a:lnTo>
                    <a:pt x="66" y="1"/>
                  </a:lnTo>
                  <a:lnTo>
                    <a:pt x="66" y="0"/>
                  </a:lnTo>
                  <a:close/>
                  <a:moveTo>
                    <a:pt x="77" y="5"/>
                  </a:moveTo>
                  <a:lnTo>
                    <a:pt x="77" y="0"/>
                  </a:lnTo>
                  <a:lnTo>
                    <a:pt x="77" y="0"/>
                  </a:lnTo>
                  <a:lnTo>
                    <a:pt x="76" y="0"/>
                  </a:lnTo>
                  <a:lnTo>
                    <a:pt x="71" y="0"/>
                  </a:lnTo>
                  <a:lnTo>
                    <a:pt x="71" y="1"/>
                  </a:lnTo>
                  <a:lnTo>
                    <a:pt x="76" y="1"/>
                  </a:lnTo>
                  <a:lnTo>
                    <a:pt x="76" y="0"/>
                  </a:lnTo>
                  <a:lnTo>
                    <a:pt x="74" y="0"/>
                  </a:lnTo>
                  <a:lnTo>
                    <a:pt x="74" y="5"/>
                  </a:lnTo>
                  <a:lnTo>
                    <a:pt x="77" y="5"/>
                  </a:lnTo>
                  <a:close/>
                  <a:moveTo>
                    <a:pt x="79" y="20"/>
                  </a:moveTo>
                  <a:lnTo>
                    <a:pt x="79" y="20"/>
                  </a:lnTo>
                  <a:lnTo>
                    <a:pt x="77" y="15"/>
                  </a:lnTo>
                  <a:lnTo>
                    <a:pt x="77" y="10"/>
                  </a:lnTo>
                  <a:lnTo>
                    <a:pt x="74" y="10"/>
                  </a:lnTo>
                  <a:lnTo>
                    <a:pt x="74" y="15"/>
                  </a:lnTo>
                  <a:lnTo>
                    <a:pt x="74" y="15"/>
                  </a:lnTo>
                  <a:lnTo>
                    <a:pt x="76" y="21"/>
                  </a:lnTo>
                  <a:lnTo>
                    <a:pt x="79" y="20"/>
                  </a:lnTo>
                  <a:close/>
                  <a:moveTo>
                    <a:pt x="84" y="33"/>
                  </a:moveTo>
                  <a:lnTo>
                    <a:pt x="84" y="33"/>
                  </a:lnTo>
                  <a:lnTo>
                    <a:pt x="80" y="24"/>
                  </a:lnTo>
                  <a:lnTo>
                    <a:pt x="77" y="26"/>
                  </a:lnTo>
                  <a:lnTo>
                    <a:pt x="77" y="26"/>
                  </a:lnTo>
                  <a:lnTo>
                    <a:pt x="82" y="34"/>
                  </a:lnTo>
                  <a:lnTo>
                    <a:pt x="84" y="33"/>
                  </a:lnTo>
                  <a:close/>
                  <a:moveTo>
                    <a:pt x="95" y="40"/>
                  </a:moveTo>
                  <a:lnTo>
                    <a:pt x="95" y="40"/>
                  </a:lnTo>
                  <a:lnTo>
                    <a:pt x="92" y="40"/>
                  </a:lnTo>
                  <a:lnTo>
                    <a:pt x="92" y="40"/>
                  </a:lnTo>
                  <a:lnTo>
                    <a:pt x="89" y="39"/>
                  </a:lnTo>
                  <a:lnTo>
                    <a:pt x="87" y="39"/>
                  </a:lnTo>
                  <a:lnTo>
                    <a:pt x="87" y="37"/>
                  </a:lnTo>
                  <a:lnTo>
                    <a:pt x="84" y="39"/>
                  </a:lnTo>
                  <a:lnTo>
                    <a:pt x="86" y="40"/>
                  </a:lnTo>
                  <a:lnTo>
                    <a:pt x="86" y="40"/>
                  </a:lnTo>
                  <a:lnTo>
                    <a:pt x="89" y="42"/>
                  </a:lnTo>
                  <a:lnTo>
                    <a:pt x="92" y="42"/>
                  </a:lnTo>
                  <a:lnTo>
                    <a:pt x="92" y="42"/>
                  </a:lnTo>
                  <a:lnTo>
                    <a:pt x="96" y="42"/>
                  </a:lnTo>
                  <a:lnTo>
                    <a:pt x="95" y="40"/>
                  </a:lnTo>
                  <a:close/>
                  <a:moveTo>
                    <a:pt x="111" y="36"/>
                  </a:moveTo>
                  <a:lnTo>
                    <a:pt x="111" y="36"/>
                  </a:lnTo>
                  <a:lnTo>
                    <a:pt x="100" y="39"/>
                  </a:lnTo>
                  <a:lnTo>
                    <a:pt x="100" y="42"/>
                  </a:lnTo>
                  <a:lnTo>
                    <a:pt x="100" y="42"/>
                  </a:lnTo>
                  <a:lnTo>
                    <a:pt x="111" y="39"/>
                  </a:lnTo>
                  <a:lnTo>
                    <a:pt x="111" y="36"/>
                  </a:lnTo>
                  <a:close/>
                  <a:moveTo>
                    <a:pt x="115" y="26"/>
                  </a:moveTo>
                  <a:lnTo>
                    <a:pt x="115" y="26"/>
                  </a:lnTo>
                  <a:lnTo>
                    <a:pt x="113" y="31"/>
                  </a:lnTo>
                  <a:lnTo>
                    <a:pt x="113" y="31"/>
                  </a:lnTo>
                  <a:lnTo>
                    <a:pt x="113" y="36"/>
                  </a:lnTo>
                  <a:lnTo>
                    <a:pt x="116" y="36"/>
                  </a:lnTo>
                  <a:lnTo>
                    <a:pt x="116" y="36"/>
                  </a:lnTo>
                  <a:lnTo>
                    <a:pt x="116" y="31"/>
                  </a:lnTo>
                  <a:lnTo>
                    <a:pt x="116" y="31"/>
                  </a:lnTo>
                  <a:lnTo>
                    <a:pt x="116" y="26"/>
                  </a:lnTo>
                  <a:lnTo>
                    <a:pt x="115" y="26"/>
                  </a:lnTo>
                  <a:close/>
                  <a:moveTo>
                    <a:pt x="128" y="21"/>
                  </a:moveTo>
                  <a:lnTo>
                    <a:pt x="128" y="21"/>
                  </a:lnTo>
                  <a:lnTo>
                    <a:pt x="119" y="20"/>
                  </a:lnTo>
                  <a:lnTo>
                    <a:pt x="119" y="20"/>
                  </a:lnTo>
                  <a:lnTo>
                    <a:pt x="118" y="20"/>
                  </a:lnTo>
                  <a:lnTo>
                    <a:pt x="118" y="23"/>
                  </a:lnTo>
                  <a:lnTo>
                    <a:pt x="118" y="23"/>
                  </a:lnTo>
                  <a:lnTo>
                    <a:pt x="119" y="23"/>
                  </a:lnTo>
                  <a:lnTo>
                    <a:pt x="119" y="23"/>
                  </a:lnTo>
                  <a:lnTo>
                    <a:pt x="128" y="24"/>
                  </a:lnTo>
                  <a:lnTo>
                    <a:pt x="128" y="21"/>
                  </a:lnTo>
                  <a:close/>
                  <a:moveTo>
                    <a:pt x="142" y="29"/>
                  </a:moveTo>
                  <a:lnTo>
                    <a:pt x="142" y="29"/>
                  </a:lnTo>
                  <a:lnTo>
                    <a:pt x="141" y="27"/>
                  </a:lnTo>
                  <a:lnTo>
                    <a:pt x="141" y="27"/>
                  </a:lnTo>
                  <a:lnTo>
                    <a:pt x="138" y="26"/>
                  </a:lnTo>
                  <a:lnTo>
                    <a:pt x="138" y="26"/>
                  </a:lnTo>
                  <a:lnTo>
                    <a:pt x="134" y="23"/>
                  </a:lnTo>
                  <a:lnTo>
                    <a:pt x="132" y="26"/>
                  </a:lnTo>
                  <a:lnTo>
                    <a:pt x="132" y="26"/>
                  </a:lnTo>
                  <a:lnTo>
                    <a:pt x="137" y="27"/>
                  </a:lnTo>
                  <a:lnTo>
                    <a:pt x="137" y="27"/>
                  </a:lnTo>
                  <a:lnTo>
                    <a:pt x="138" y="29"/>
                  </a:lnTo>
                  <a:lnTo>
                    <a:pt x="138" y="29"/>
                  </a:lnTo>
                  <a:lnTo>
                    <a:pt x="141" y="30"/>
                  </a:lnTo>
                  <a:lnTo>
                    <a:pt x="142" y="29"/>
                  </a:lnTo>
                  <a:close/>
                  <a:moveTo>
                    <a:pt x="157" y="27"/>
                  </a:moveTo>
                  <a:lnTo>
                    <a:pt x="157" y="27"/>
                  </a:lnTo>
                  <a:lnTo>
                    <a:pt x="147" y="29"/>
                  </a:lnTo>
                  <a:lnTo>
                    <a:pt x="147" y="31"/>
                  </a:lnTo>
                  <a:lnTo>
                    <a:pt x="147" y="31"/>
                  </a:lnTo>
                  <a:lnTo>
                    <a:pt x="157" y="30"/>
                  </a:lnTo>
                  <a:lnTo>
                    <a:pt x="157" y="27"/>
                  </a:lnTo>
                  <a:close/>
                  <a:moveTo>
                    <a:pt x="160" y="42"/>
                  </a:moveTo>
                  <a:lnTo>
                    <a:pt x="160" y="42"/>
                  </a:lnTo>
                  <a:lnTo>
                    <a:pt x="160" y="31"/>
                  </a:lnTo>
                  <a:lnTo>
                    <a:pt x="160" y="31"/>
                  </a:lnTo>
                  <a:lnTo>
                    <a:pt x="157" y="31"/>
                  </a:lnTo>
                  <a:lnTo>
                    <a:pt x="157" y="31"/>
                  </a:lnTo>
                  <a:lnTo>
                    <a:pt x="157" y="31"/>
                  </a:lnTo>
                  <a:lnTo>
                    <a:pt x="157" y="42"/>
                  </a:lnTo>
                  <a:lnTo>
                    <a:pt x="160" y="42"/>
                  </a:lnTo>
                  <a:close/>
                  <a:moveTo>
                    <a:pt x="157" y="56"/>
                  </a:moveTo>
                  <a:lnTo>
                    <a:pt x="157" y="56"/>
                  </a:lnTo>
                  <a:lnTo>
                    <a:pt x="157" y="55"/>
                  </a:lnTo>
                  <a:lnTo>
                    <a:pt x="157" y="55"/>
                  </a:lnTo>
                  <a:lnTo>
                    <a:pt x="157" y="55"/>
                  </a:lnTo>
                  <a:lnTo>
                    <a:pt x="158" y="47"/>
                  </a:lnTo>
                  <a:lnTo>
                    <a:pt x="155" y="46"/>
                  </a:lnTo>
                  <a:lnTo>
                    <a:pt x="155" y="46"/>
                  </a:lnTo>
                  <a:lnTo>
                    <a:pt x="154" y="55"/>
                  </a:lnTo>
                  <a:lnTo>
                    <a:pt x="154" y="55"/>
                  </a:lnTo>
                  <a:lnTo>
                    <a:pt x="154" y="55"/>
                  </a:lnTo>
                  <a:lnTo>
                    <a:pt x="155" y="57"/>
                  </a:lnTo>
                  <a:lnTo>
                    <a:pt x="157" y="56"/>
                  </a:lnTo>
                  <a:close/>
                  <a:moveTo>
                    <a:pt x="167" y="68"/>
                  </a:moveTo>
                  <a:lnTo>
                    <a:pt x="167" y="68"/>
                  </a:lnTo>
                  <a:lnTo>
                    <a:pt x="160" y="60"/>
                  </a:lnTo>
                  <a:lnTo>
                    <a:pt x="158" y="62"/>
                  </a:lnTo>
                  <a:lnTo>
                    <a:pt x="158" y="62"/>
                  </a:lnTo>
                  <a:lnTo>
                    <a:pt x="164" y="69"/>
                  </a:lnTo>
                  <a:lnTo>
                    <a:pt x="167" y="68"/>
                  </a:lnTo>
                  <a:close/>
                  <a:moveTo>
                    <a:pt x="164" y="82"/>
                  </a:moveTo>
                  <a:lnTo>
                    <a:pt x="164" y="82"/>
                  </a:lnTo>
                  <a:lnTo>
                    <a:pt x="167" y="78"/>
                  </a:lnTo>
                  <a:lnTo>
                    <a:pt x="167" y="78"/>
                  </a:lnTo>
                  <a:lnTo>
                    <a:pt x="168" y="76"/>
                  </a:lnTo>
                  <a:lnTo>
                    <a:pt x="170" y="73"/>
                  </a:lnTo>
                  <a:lnTo>
                    <a:pt x="170" y="72"/>
                  </a:lnTo>
                  <a:lnTo>
                    <a:pt x="167" y="73"/>
                  </a:lnTo>
                  <a:lnTo>
                    <a:pt x="167" y="73"/>
                  </a:lnTo>
                  <a:lnTo>
                    <a:pt x="167" y="73"/>
                  </a:lnTo>
                  <a:lnTo>
                    <a:pt x="166" y="76"/>
                  </a:lnTo>
                  <a:lnTo>
                    <a:pt x="166" y="76"/>
                  </a:lnTo>
                  <a:lnTo>
                    <a:pt x="163" y="79"/>
                  </a:lnTo>
                  <a:lnTo>
                    <a:pt x="164" y="82"/>
                  </a:lnTo>
                  <a:close/>
                  <a:moveTo>
                    <a:pt x="168" y="86"/>
                  </a:moveTo>
                  <a:lnTo>
                    <a:pt x="168" y="86"/>
                  </a:lnTo>
                  <a:lnTo>
                    <a:pt x="161" y="85"/>
                  </a:lnTo>
                  <a:lnTo>
                    <a:pt x="161" y="85"/>
                  </a:lnTo>
                  <a:lnTo>
                    <a:pt x="160" y="85"/>
                  </a:lnTo>
                  <a:lnTo>
                    <a:pt x="160" y="85"/>
                  </a:lnTo>
                  <a:lnTo>
                    <a:pt x="160" y="85"/>
                  </a:lnTo>
                  <a:lnTo>
                    <a:pt x="160" y="85"/>
                  </a:lnTo>
                  <a:lnTo>
                    <a:pt x="160" y="85"/>
                  </a:lnTo>
                  <a:lnTo>
                    <a:pt x="160" y="85"/>
                  </a:lnTo>
                  <a:lnTo>
                    <a:pt x="160" y="85"/>
                  </a:lnTo>
                  <a:lnTo>
                    <a:pt x="160" y="85"/>
                  </a:lnTo>
                  <a:lnTo>
                    <a:pt x="160" y="85"/>
                  </a:lnTo>
                  <a:lnTo>
                    <a:pt x="160" y="85"/>
                  </a:lnTo>
                  <a:lnTo>
                    <a:pt x="160" y="85"/>
                  </a:lnTo>
                  <a:lnTo>
                    <a:pt x="160" y="85"/>
                  </a:lnTo>
                  <a:lnTo>
                    <a:pt x="160" y="85"/>
                  </a:lnTo>
                  <a:lnTo>
                    <a:pt x="160" y="85"/>
                  </a:lnTo>
                  <a:lnTo>
                    <a:pt x="160" y="85"/>
                  </a:lnTo>
                  <a:lnTo>
                    <a:pt x="158" y="84"/>
                  </a:lnTo>
                  <a:lnTo>
                    <a:pt x="158" y="84"/>
                  </a:lnTo>
                  <a:lnTo>
                    <a:pt x="158" y="85"/>
                  </a:lnTo>
                  <a:lnTo>
                    <a:pt x="158" y="85"/>
                  </a:lnTo>
                  <a:lnTo>
                    <a:pt x="158" y="86"/>
                  </a:lnTo>
                  <a:lnTo>
                    <a:pt x="158" y="86"/>
                  </a:lnTo>
                  <a:lnTo>
                    <a:pt x="160" y="88"/>
                  </a:lnTo>
                  <a:lnTo>
                    <a:pt x="160" y="88"/>
                  </a:lnTo>
                  <a:lnTo>
                    <a:pt x="168" y="88"/>
                  </a:lnTo>
                  <a:lnTo>
                    <a:pt x="168" y="86"/>
                  </a:lnTo>
                  <a:close/>
                  <a:moveTo>
                    <a:pt x="183" y="85"/>
                  </a:moveTo>
                  <a:lnTo>
                    <a:pt x="183" y="85"/>
                  </a:lnTo>
                  <a:lnTo>
                    <a:pt x="183" y="85"/>
                  </a:lnTo>
                  <a:lnTo>
                    <a:pt x="173" y="86"/>
                  </a:lnTo>
                  <a:lnTo>
                    <a:pt x="173" y="88"/>
                  </a:lnTo>
                  <a:lnTo>
                    <a:pt x="173" y="88"/>
                  </a:lnTo>
                  <a:lnTo>
                    <a:pt x="183" y="88"/>
                  </a:lnTo>
                  <a:lnTo>
                    <a:pt x="183" y="88"/>
                  </a:lnTo>
                  <a:lnTo>
                    <a:pt x="183" y="85"/>
                  </a:lnTo>
                  <a:close/>
                  <a:moveTo>
                    <a:pt x="193" y="94"/>
                  </a:moveTo>
                  <a:lnTo>
                    <a:pt x="193" y="85"/>
                  </a:lnTo>
                  <a:lnTo>
                    <a:pt x="192" y="85"/>
                  </a:lnTo>
                  <a:lnTo>
                    <a:pt x="192" y="85"/>
                  </a:lnTo>
                  <a:lnTo>
                    <a:pt x="189" y="85"/>
                  </a:lnTo>
                  <a:lnTo>
                    <a:pt x="189" y="88"/>
                  </a:lnTo>
                  <a:lnTo>
                    <a:pt x="189" y="88"/>
                  </a:lnTo>
                  <a:lnTo>
                    <a:pt x="190" y="88"/>
                  </a:lnTo>
                  <a:lnTo>
                    <a:pt x="190" y="88"/>
                  </a:lnTo>
                  <a:lnTo>
                    <a:pt x="190" y="88"/>
                  </a:lnTo>
                  <a:lnTo>
                    <a:pt x="192" y="86"/>
                  </a:lnTo>
                  <a:lnTo>
                    <a:pt x="190" y="86"/>
                  </a:lnTo>
                  <a:lnTo>
                    <a:pt x="190" y="94"/>
                  </a:lnTo>
                  <a:lnTo>
                    <a:pt x="193" y="94"/>
                  </a:lnTo>
                  <a:close/>
                  <a:moveTo>
                    <a:pt x="190" y="108"/>
                  </a:moveTo>
                  <a:lnTo>
                    <a:pt x="192" y="108"/>
                  </a:lnTo>
                  <a:lnTo>
                    <a:pt x="193" y="108"/>
                  </a:lnTo>
                  <a:lnTo>
                    <a:pt x="193" y="98"/>
                  </a:lnTo>
                  <a:lnTo>
                    <a:pt x="190" y="98"/>
                  </a:lnTo>
                  <a:lnTo>
                    <a:pt x="190" y="107"/>
                  </a:lnTo>
                  <a:lnTo>
                    <a:pt x="192" y="107"/>
                  </a:lnTo>
                  <a:lnTo>
                    <a:pt x="192" y="105"/>
                  </a:lnTo>
                  <a:lnTo>
                    <a:pt x="190" y="105"/>
                  </a:lnTo>
                  <a:lnTo>
                    <a:pt x="190" y="108"/>
                  </a:lnTo>
                  <a:close/>
                  <a:moveTo>
                    <a:pt x="174" y="108"/>
                  </a:moveTo>
                  <a:lnTo>
                    <a:pt x="184" y="108"/>
                  </a:lnTo>
                  <a:lnTo>
                    <a:pt x="184" y="105"/>
                  </a:lnTo>
                  <a:lnTo>
                    <a:pt x="174" y="105"/>
                  </a:lnTo>
                  <a:lnTo>
                    <a:pt x="174" y="108"/>
                  </a:lnTo>
                  <a:close/>
                  <a:moveTo>
                    <a:pt x="160" y="110"/>
                  </a:moveTo>
                  <a:lnTo>
                    <a:pt x="160" y="110"/>
                  </a:lnTo>
                  <a:lnTo>
                    <a:pt x="166" y="108"/>
                  </a:lnTo>
                  <a:lnTo>
                    <a:pt x="168" y="108"/>
                  </a:lnTo>
                  <a:lnTo>
                    <a:pt x="168" y="105"/>
                  </a:lnTo>
                  <a:lnTo>
                    <a:pt x="166" y="105"/>
                  </a:lnTo>
                  <a:lnTo>
                    <a:pt x="166" y="105"/>
                  </a:lnTo>
                  <a:lnTo>
                    <a:pt x="163" y="105"/>
                  </a:lnTo>
                  <a:lnTo>
                    <a:pt x="158" y="107"/>
                  </a:lnTo>
                  <a:lnTo>
                    <a:pt x="160" y="110"/>
                  </a:lnTo>
                  <a:close/>
                  <a:moveTo>
                    <a:pt x="150" y="118"/>
                  </a:moveTo>
                  <a:lnTo>
                    <a:pt x="150" y="118"/>
                  </a:lnTo>
                  <a:lnTo>
                    <a:pt x="151" y="117"/>
                  </a:lnTo>
                  <a:lnTo>
                    <a:pt x="151" y="117"/>
                  </a:lnTo>
                  <a:lnTo>
                    <a:pt x="155" y="113"/>
                  </a:lnTo>
                  <a:lnTo>
                    <a:pt x="154" y="110"/>
                  </a:lnTo>
                  <a:lnTo>
                    <a:pt x="154" y="110"/>
                  </a:lnTo>
                  <a:lnTo>
                    <a:pt x="150" y="115"/>
                  </a:lnTo>
                  <a:lnTo>
                    <a:pt x="150" y="115"/>
                  </a:lnTo>
                  <a:lnTo>
                    <a:pt x="147" y="118"/>
                  </a:lnTo>
                  <a:lnTo>
                    <a:pt x="150" y="118"/>
                  </a:lnTo>
                  <a:close/>
                  <a:moveTo>
                    <a:pt x="151" y="133"/>
                  </a:moveTo>
                  <a:lnTo>
                    <a:pt x="151" y="133"/>
                  </a:lnTo>
                  <a:lnTo>
                    <a:pt x="150" y="124"/>
                  </a:lnTo>
                  <a:lnTo>
                    <a:pt x="147" y="124"/>
                  </a:lnTo>
                  <a:lnTo>
                    <a:pt x="147" y="124"/>
                  </a:lnTo>
                  <a:lnTo>
                    <a:pt x="148" y="134"/>
                  </a:lnTo>
                  <a:lnTo>
                    <a:pt x="151" y="133"/>
                  </a:lnTo>
                  <a:close/>
                  <a:moveTo>
                    <a:pt x="153" y="149"/>
                  </a:moveTo>
                  <a:lnTo>
                    <a:pt x="153" y="149"/>
                  </a:lnTo>
                  <a:lnTo>
                    <a:pt x="153" y="141"/>
                  </a:lnTo>
                  <a:lnTo>
                    <a:pt x="153" y="141"/>
                  </a:lnTo>
                  <a:lnTo>
                    <a:pt x="153" y="139"/>
                  </a:lnTo>
                  <a:lnTo>
                    <a:pt x="150" y="139"/>
                  </a:lnTo>
                  <a:lnTo>
                    <a:pt x="150" y="139"/>
                  </a:lnTo>
                  <a:lnTo>
                    <a:pt x="150" y="141"/>
                  </a:lnTo>
                  <a:lnTo>
                    <a:pt x="150" y="141"/>
                  </a:lnTo>
                  <a:lnTo>
                    <a:pt x="151" y="149"/>
                  </a:lnTo>
                  <a:lnTo>
                    <a:pt x="153" y="149"/>
                  </a:lnTo>
                  <a:close/>
                  <a:moveTo>
                    <a:pt x="160" y="162"/>
                  </a:moveTo>
                  <a:lnTo>
                    <a:pt x="160" y="162"/>
                  </a:lnTo>
                  <a:lnTo>
                    <a:pt x="155" y="153"/>
                  </a:lnTo>
                  <a:lnTo>
                    <a:pt x="153" y="155"/>
                  </a:lnTo>
                  <a:lnTo>
                    <a:pt x="153" y="155"/>
                  </a:lnTo>
                  <a:lnTo>
                    <a:pt x="157" y="163"/>
                  </a:lnTo>
                  <a:lnTo>
                    <a:pt x="160" y="162"/>
                  </a:lnTo>
                  <a:close/>
                  <a:moveTo>
                    <a:pt x="167" y="175"/>
                  </a:moveTo>
                  <a:lnTo>
                    <a:pt x="167" y="175"/>
                  </a:lnTo>
                  <a:lnTo>
                    <a:pt x="167" y="175"/>
                  </a:lnTo>
                  <a:lnTo>
                    <a:pt x="161" y="166"/>
                  </a:lnTo>
                  <a:lnTo>
                    <a:pt x="160" y="168"/>
                  </a:lnTo>
                  <a:lnTo>
                    <a:pt x="160" y="168"/>
                  </a:lnTo>
                  <a:lnTo>
                    <a:pt x="166" y="176"/>
                  </a:lnTo>
                  <a:lnTo>
                    <a:pt x="166" y="176"/>
                  </a:lnTo>
                  <a:lnTo>
                    <a:pt x="167" y="175"/>
                  </a:lnTo>
                  <a:close/>
                  <a:moveTo>
                    <a:pt x="179" y="185"/>
                  </a:moveTo>
                  <a:lnTo>
                    <a:pt x="179" y="185"/>
                  </a:lnTo>
                  <a:lnTo>
                    <a:pt x="170" y="179"/>
                  </a:lnTo>
                  <a:lnTo>
                    <a:pt x="168" y="181"/>
                  </a:lnTo>
                  <a:lnTo>
                    <a:pt x="168" y="181"/>
                  </a:lnTo>
                  <a:lnTo>
                    <a:pt x="176" y="186"/>
                  </a:lnTo>
                  <a:lnTo>
                    <a:pt x="179" y="185"/>
                  </a:lnTo>
                  <a:close/>
                  <a:moveTo>
                    <a:pt x="190" y="192"/>
                  </a:moveTo>
                  <a:lnTo>
                    <a:pt x="190" y="192"/>
                  </a:lnTo>
                  <a:lnTo>
                    <a:pt x="182" y="188"/>
                  </a:lnTo>
                  <a:lnTo>
                    <a:pt x="180" y="189"/>
                  </a:lnTo>
                  <a:lnTo>
                    <a:pt x="180" y="189"/>
                  </a:lnTo>
                  <a:lnTo>
                    <a:pt x="190" y="195"/>
                  </a:lnTo>
                  <a:lnTo>
                    <a:pt x="190" y="192"/>
                  </a:lnTo>
                  <a:close/>
                  <a:moveTo>
                    <a:pt x="206" y="197"/>
                  </a:moveTo>
                  <a:lnTo>
                    <a:pt x="206" y="197"/>
                  </a:lnTo>
                  <a:lnTo>
                    <a:pt x="200" y="195"/>
                  </a:lnTo>
                  <a:lnTo>
                    <a:pt x="200" y="195"/>
                  </a:lnTo>
                  <a:lnTo>
                    <a:pt x="196" y="194"/>
                  </a:lnTo>
                  <a:lnTo>
                    <a:pt x="195" y="197"/>
                  </a:lnTo>
                  <a:lnTo>
                    <a:pt x="195" y="197"/>
                  </a:lnTo>
                  <a:lnTo>
                    <a:pt x="200" y="198"/>
                  </a:lnTo>
                  <a:lnTo>
                    <a:pt x="200" y="198"/>
                  </a:lnTo>
                  <a:lnTo>
                    <a:pt x="205" y="198"/>
                  </a:lnTo>
                  <a:lnTo>
                    <a:pt x="206" y="197"/>
                  </a:lnTo>
                  <a:close/>
                  <a:moveTo>
                    <a:pt x="219" y="205"/>
                  </a:moveTo>
                  <a:lnTo>
                    <a:pt x="219" y="205"/>
                  </a:lnTo>
                  <a:lnTo>
                    <a:pt x="210" y="198"/>
                  </a:lnTo>
                  <a:lnTo>
                    <a:pt x="209" y="201"/>
                  </a:lnTo>
                  <a:lnTo>
                    <a:pt x="209" y="201"/>
                  </a:lnTo>
                  <a:lnTo>
                    <a:pt x="216" y="207"/>
                  </a:lnTo>
                  <a:lnTo>
                    <a:pt x="219" y="205"/>
                  </a:lnTo>
                  <a:close/>
                  <a:moveTo>
                    <a:pt x="229" y="217"/>
                  </a:moveTo>
                  <a:lnTo>
                    <a:pt x="229" y="217"/>
                  </a:lnTo>
                  <a:lnTo>
                    <a:pt x="222" y="208"/>
                  </a:lnTo>
                  <a:lnTo>
                    <a:pt x="221" y="210"/>
                  </a:lnTo>
                  <a:lnTo>
                    <a:pt x="221" y="210"/>
                  </a:lnTo>
                  <a:lnTo>
                    <a:pt x="226" y="218"/>
                  </a:lnTo>
                  <a:lnTo>
                    <a:pt x="229" y="217"/>
                  </a:lnTo>
                  <a:close/>
                  <a:moveTo>
                    <a:pt x="238" y="227"/>
                  </a:moveTo>
                  <a:lnTo>
                    <a:pt x="238" y="227"/>
                  </a:lnTo>
                  <a:lnTo>
                    <a:pt x="237" y="225"/>
                  </a:lnTo>
                  <a:lnTo>
                    <a:pt x="237" y="225"/>
                  </a:lnTo>
                  <a:lnTo>
                    <a:pt x="234" y="223"/>
                  </a:lnTo>
                  <a:lnTo>
                    <a:pt x="234" y="223"/>
                  </a:lnTo>
                  <a:lnTo>
                    <a:pt x="232" y="221"/>
                  </a:lnTo>
                  <a:lnTo>
                    <a:pt x="229" y="223"/>
                  </a:lnTo>
                  <a:lnTo>
                    <a:pt x="229" y="223"/>
                  </a:lnTo>
                  <a:lnTo>
                    <a:pt x="231" y="224"/>
                  </a:lnTo>
                  <a:lnTo>
                    <a:pt x="231" y="224"/>
                  </a:lnTo>
                  <a:lnTo>
                    <a:pt x="235" y="228"/>
                  </a:lnTo>
                  <a:lnTo>
                    <a:pt x="235" y="228"/>
                  </a:lnTo>
                  <a:lnTo>
                    <a:pt x="238" y="228"/>
                  </a:lnTo>
                  <a:lnTo>
                    <a:pt x="238" y="227"/>
                  </a:lnTo>
                  <a:close/>
                  <a:moveTo>
                    <a:pt x="250" y="237"/>
                  </a:moveTo>
                  <a:lnTo>
                    <a:pt x="250" y="237"/>
                  </a:lnTo>
                  <a:lnTo>
                    <a:pt x="245" y="228"/>
                  </a:lnTo>
                  <a:lnTo>
                    <a:pt x="244" y="228"/>
                  </a:lnTo>
                  <a:lnTo>
                    <a:pt x="242" y="230"/>
                  </a:lnTo>
                  <a:lnTo>
                    <a:pt x="242" y="231"/>
                  </a:lnTo>
                  <a:lnTo>
                    <a:pt x="242" y="231"/>
                  </a:lnTo>
                  <a:lnTo>
                    <a:pt x="248" y="237"/>
                  </a:lnTo>
                  <a:lnTo>
                    <a:pt x="250" y="237"/>
                  </a:lnTo>
                  <a:close/>
                  <a:moveTo>
                    <a:pt x="257" y="250"/>
                  </a:moveTo>
                  <a:lnTo>
                    <a:pt x="257" y="250"/>
                  </a:lnTo>
                  <a:lnTo>
                    <a:pt x="252" y="241"/>
                  </a:lnTo>
                  <a:lnTo>
                    <a:pt x="250" y="241"/>
                  </a:lnTo>
                  <a:lnTo>
                    <a:pt x="250" y="241"/>
                  </a:lnTo>
                  <a:lnTo>
                    <a:pt x="254" y="252"/>
                  </a:lnTo>
                  <a:lnTo>
                    <a:pt x="257" y="250"/>
                  </a:lnTo>
                  <a:close/>
                  <a:moveTo>
                    <a:pt x="264" y="262"/>
                  </a:moveTo>
                  <a:lnTo>
                    <a:pt x="264" y="262"/>
                  </a:lnTo>
                  <a:lnTo>
                    <a:pt x="261" y="259"/>
                  </a:lnTo>
                  <a:lnTo>
                    <a:pt x="260" y="257"/>
                  </a:lnTo>
                  <a:lnTo>
                    <a:pt x="260" y="257"/>
                  </a:lnTo>
                  <a:lnTo>
                    <a:pt x="258" y="254"/>
                  </a:lnTo>
                  <a:lnTo>
                    <a:pt x="255" y="256"/>
                  </a:lnTo>
                  <a:lnTo>
                    <a:pt x="255" y="256"/>
                  </a:lnTo>
                  <a:lnTo>
                    <a:pt x="257" y="259"/>
                  </a:lnTo>
                  <a:lnTo>
                    <a:pt x="257" y="259"/>
                  </a:lnTo>
                  <a:lnTo>
                    <a:pt x="260" y="262"/>
                  </a:lnTo>
                  <a:lnTo>
                    <a:pt x="264" y="263"/>
                  </a:lnTo>
                  <a:lnTo>
                    <a:pt x="264" y="262"/>
                  </a:lnTo>
                  <a:close/>
                  <a:moveTo>
                    <a:pt x="279" y="266"/>
                  </a:moveTo>
                  <a:lnTo>
                    <a:pt x="279" y="266"/>
                  </a:lnTo>
                  <a:lnTo>
                    <a:pt x="270" y="263"/>
                  </a:lnTo>
                  <a:lnTo>
                    <a:pt x="268" y="265"/>
                  </a:lnTo>
                  <a:lnTo>
                    <a:pt x="268" y="265"/>
                  </a:lnTo>
                  <a:lnTo>
                    <a:pt x="277" y="269"/>
                  </a:lnTo>
                  <a:lnTo>
                    <a:pt x="279" y="266"/>
                  </a:lnTo>
                  <a:close/>
                  <a:moveTo>
                    <a:pt x="293" y="272"/>
                  </a:moveTo>
                  <a:lnTo>
                    <a:pt x="293" y="272"/>
                  </a:lnTo>
                  <a:lnTo>
                    <a:pt x="283" y="269"/>
                  </a:lnTo>
                  <a:lnTo>
                    <a:pt x="281" y="272"/>
                  </a:lnTo>
                  <a:lnTo>
                    <a:pt x="281" y="272"/>
                  </a:lnTo>
                  <a:lnTo>
                    <a:pt x="292" y="275"/>
                  </a:lnTo>
                  <a:lnTo>
                    <a:pt x="293" y="272"/>
                  </a:lnTo>
                  <a:close/>
                  <a:moveTo>
                    <a:pt x="308" y="273"/>
                  </a:moveTo>
                  <a:lnTo>
                    <a:pt x="308" y="273"/>
                  </a:lnTo>
                  <a:lnTo>
                    <a:pt x="306" y="273"/>
                  </a:lnTo>
                  <a:lnTo>
                    <a:pt x="306" y="273"/>
                  </a:lnTo>
                  <a:lnTo>
                    <a:pt x="302" y="273"/>
                  </a:lnTo>
                  <a:lnTo>
                    <a:pt x="302" y="273"/>
                  </a:lnTo>
                  <a:lnTo>
                    <a:pt x="297" y="273"/>
                  </a:lnTo>
                  <a:lnTo>
                    <a:pt x="297" y="275"/>
                  </a:lnTo>
                  <a:lnTo>
                    <a:pt x="297" y="275"/>
                  </a:lnTo>
                  <a:lnTo>
                    <a:pt x="302" y="276"/>
                  </a:lnTo>
                  <a:lnTo>
                    <a:pt x="302" y="276"/>
                  </a:lnTo>
                  <a:lnTo>
                    <a:pt x="306" y="275"/>
                  </a:lnTo>
                  <a:lnTo>
                    <a:pt x="308" y="275"/>
                  </a:lnTo>
                  <a:lnTo>
                    <a:pt x="308" y="275"/>
                  </a:lnTo>
                  <a:lnTo>
                    <a:pt x="308" y="273"/>
                  </a:lnTo>
                  <a:close/>
                  <a:moveTo>
                    <a:pt x="319" y="283"/>
                  </a:moveTo>
                  <a:lnTo>
                    <a:pt x="319" y="283"/>
                  </a:lnTo>
                  <a:lnTo>
                    <a:pt x="316" y="279"/>
                  </a:lnTo>
                  <a:lnTo>
                    <a:pt x="313" y="275"/>
                  </a:lnTo>
                  <a:lnTo>
                    <a:pt x="310" y="276"/>
                  </a:lnTo>
                  <a:lnTo>
                    <a:pt x="310" y="276"/>
                  </a:lnTo>
                  <a:lnTo>
                    <a:pt x="315" y="281"/>
                  </a:lnTo>
                  <a:lnTo>
                    <a:pt x="318" y="285"/>
                  </a:lnTo>
                  <a:lnTo>
                    <a:pt x="319" y="283"/>
                  </a:lnTo>
                  <a:close/>
                  <a:moveTo>
                    <a:pt x="325" y="298"/>
                  </a:moveTo>
                  <a:lnTo>
                    <a:pt x="325" y="298"/>
                  </a:lnTo>
                  <a:lnTo>
                    <a:pt x="325" y="292"/>
                  </a:lnTo>
                  <a:lnTo>
                    <a:pt x="322" y="288"/>
                  </a:lnTo>
                  <a:lnTo>
                    <a:pt x="322" y="288"/>
                  </a:lnTo>
                  <a:lnTo>
                    <a:pt x="321" y="289"/>
                  </a:lnTo>
                  <a:lnTo>
                    <a:pt x="321" y="289"/>
                  </a:lnTo>
                  <a:lnTo>
                    <a:pt x="321" y="289"/>
                  </a:lnTo>
                  <a:lnTo>
                    <a:pt x="322" y="292"/>
                  </a:lnTo>
                  <a:lnTo>
                    <a:pt x="322" y="298"/>
                  </a:lnTo>
                  <a:lnTo>
                    <a:pt x="325" y="298"/>
                  </a:lnTo>
                  <a:close/>
                  <a:moveTo>
                    <a:pt x="325" y="312"/>
                  </a:moveTo>
                  <a:lnTo>
                    <a:pt x="325" y="312"/>
                  </a:lnTo>
                  <a:lnTo>
                    <a:pt x="325" y="304"/>
                  </a:lnTo>
                  <a:lnTo>
                    <a:pt x="325" y="302"/>
                  </a:lnTo>
                  <a:lnTo>
                    <a:pt x="322" y="302"/>
                  </a:lnTo>
                  <a:lnTo>
                    <a:pt x="322" y="304"/>
                  </a:lnTo>
                  <a:lnTo>
                    <a:pt x="322" y="304"/>
                  </a:lnTo>
                  <a:lnTo>
                    <a:pt x="322" y="312"/>
                  </a:lnTo>
                  <a:lnTo>
                    <a:pt x="325" y="312"/>
                  </a:lnTo>
                  <a:close/>
                  <a:moveTo>
                    <a:pt x="325" y="328"/>
                  </a:moveTo>
                  <a:lnTo>
                    <a:pt x="325" y="328"/>
                  </a:lnTo>
                  <a:lnTo>
                    <a:pt x="325" y="327"/>
                  </a:lnTo>
                  <a:lnTo>
                    <a:pt x="325" y="327"/>
                  </a:lnTo>
                  <a:lnTo>
                    <a:pt x="325" y="318"/>
                  </a:lnTo>
                  <a:lnTo>
                    <a:pt x="322" y="318"/>
                  </a:lnTo>
                  <a:lnTo>
                    <a:pt x="322" y="318"/>
                  </a:lnTo>
                  <a:lnTo>
                    <a:pt x="322" y="327"/>
                  </a:lnTo>
                  <a:lnTo>
                    <a:pt x="322" y="327"/>
                  </a:lnTo>
                  <a:lnTo>
                    <a:pt x="322" y="328"/>
                  </a:lnTo>
                  <a:lnTo>
                    <a:pt x="325" y="328"/>
                  </a:lnTo>
                  <a:close/>
                  <a:moveTo>
                    <a:pt x="328" y="341"/>
                  </a:moveTo>
                  <a:lnTo>
                    <a:pt x="328" y="341"/>
                  </a:lnTo>
                  <a:lnTo>
                    <a:pt x="325" y="336"/>
                  </a:lnTo>
                  <a:lnTo>
                    <a:pt x="325" y="336"/>
                  </a:lnTo>
                  <a:lnTo>
                    <a:pt x="325" y="333"/>
                  </a:lnTo>
                  <a:lnTo>
                    <a:pt x="322" y="333"/>
                  </a:lnTo>
                  <a:lnTo>
                    <a:pt x="322" y="333"/>
                  </a:lnTo>
                  <a:lnTo>
                    <a:pt x="323" y="336"/>
                  </a:lnTo>
                  <a:lnTo>
                    <a:pt x="323" y="336"/>
                  </a:lnTo>
                  <a:lnTo>
                    <a:pt x="326" y="343"/>
                  </a:lnTo>
                  <a:lnTo>
                    <a:pt x="328" y="341"/>
                  </a:lnTo>
                  <a:close/>
                  <a:moveTo>
                    <a:pt x="336" y="354"/>
                  </a:moveTo>
                  <a:lnTo>
                    <a:pt x="336" y="354"/>
                  </a:lnTo>
                  <a:lnTo>
                    <a:pt x="331" y="346"/>
                  </a:lnTo>
                  <a:lnTo>
                    <a:pt x="329" y="347"/>
                  </a:lnTo>
                  <a:lnTo>
                    <a:pt x="329" y="347"/>
                  </a:lnTo>
                  <a:lnTo>
                    <a:pt x="335" y="356"/>
                  </a:lnTo>
                  <a:lnTo>
                    <a:pt x="336" y="3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59" name="Freeform 1584"/>
            <p:cNvSpPr>
              <a:spLocks noEditPoints="1"/>
            </p:cNvSpPr>
            <p:nvPr/>
          </p:nvSpPr>
          <p:spPr bwMode="auto">
            <a:xfrm>
              <a:off x="4625976" y="5199492"/>
              <a:ext cx="290513" cy="26988"/>
            </a:xfrm>
            <a:custGeom>
              <a:avLst/>
              <a:gdLst>
                <a:gd name="T0" fmla="*/ 6 w 183"/>
                <a:gd name="T1" fmla="*/ 4 h 17"/>
                <a:gd name="T2" fmla="*/ 0 w 183"/>
                <a:gd name="T3" fmla="*/ 10 h 17"/>
                <a:gd name="T4" fmla="*/ 6 w 183"/>
                <a:gd name="T5" fmla="*/ 7 h 17"/>
                <a:gd name="T6" fmla="*/ 20 w 183"/>
                <a:gd name="T7" fmla="*/ 0 h 17"/>
                <a:gd name="T8" fmla="*/ 10 w 183"/>
                <a:gd name="T9" fmla="*/ 3 h 17"/>
                <a:gd name="T10" fmla="*/ 12 w 183"/>
                <a:gd name="T11" fmla="*/ 6 h 17"/>
                <a:gd name="T12" fmla="*/ 20 w 183"/>
                <a:gd name="T13" fmla="*/ 0 h 17"/>
                <a:gd name="T14" fmla="*/ 33 w 183"/>
                <a:gd name="T15" fmla="*/ 4 h 17"/>
                <a:gd name="T16" fmla="*/ 29 w 183"/>
                <a:gd name="T17" fmla="*/ 3 h 17"/>
                <a:gd name="T18" fmla="*/ 26 w 183"/>
                <a:gd name="T19" fmla="*/ 0 h 17"/>
                <a:gd name="T20" fmla="*/ 25 w 183"/>
                <a:gd name="T21" fmla="*/ 3 h 17"/>
                <a:gd name="T22" fmla="*/ 28 w 183"/>
                <a:gd name="T23" fmla="*/ 4 h 17"/>
                <a:gd name="T24" fmla="*/ 33 w 183"/>
                <a:gd name="T25" fmla="*/ 7 h 17"/>
                <a:gd name="T26" fmla="*/ 48 w 183"/>
                <a:gd name="T27" fmla="*/ 0 h 17"/>
                <a:gd name="T28" fmla="*/ 45 w 183"/>
                <a:gd name="T29" fmla="*/ 1 h 17"/>
                <a:gd name="T30" fmla="*/ 43 w 183"/>
                <a:gd name="T31" fmla="*/ 1 h 17"/>
                <a:gd name="T32" fmla="*/ 41 w 183"/>
                <a:gd name="T33" fmla="*/ 4 h 17"/>
                <a:gd name="T34" fmla="*/ 39 w 183"/>
                <a:gd name="T35" fmla="*/ 4 h 17"/>
                <a:gd name="T36" fmla="*/ 39 w 183"/>
                <a:gd name="T37" fmla="*/ 7 h 17"/>
                <a:gd name="T38" fmla="*/ 42 w 183"/>
                <a:gd name="T39" fmla="*/ 6 h 17"/>
                <a:gd name="T40" fmla="*/ 45 w 183"/>
                <a:gd name="T41" fmla="*/ 3 h 17"/>
                <a:gd name="T42" fmla="*/ 46 w 183"/>
                <a:gd name="T43" fmla="*/ 3 h 17"/>
                <a:gd name="T44" fmla="*/ 48 w 183"/>
                <a:gd name="T45" fmla="*/ 0 h 17"/>
                <a:gd name="T46" fmla="*/ 64 w 183"/>
                <a:gd name="T47" fmla="*/ 1 h 17"/>
                <a:gd name="T48" fmla="*/ 52 w 183"/>
                <a:gd name="T49" fmla="*/ 3 h 17"/>
                <a:gd name="T50" fmla="*/ 62 w 183"/>
                <a:gd name="T51" fmla="*/ 4 h 17"/>
                <a:gd name="T52" fmla="*/ 78 w 183"/>
                <a:gd name="T53" fmla="*/ 4 h 17"/>
                <a:gd name="T54" fmla="*/ 68 w 183"/>
                <a:gd name="T55" fmla="*/ 3 h 17"/>
                <a:gd name="T56" fmla="*/ 68 w 183"/>
                <a:gd name="T57" fmla="*/ 6 h 17"/>
                <a:gd name="T58" fmla="*/ 78 w 183"/>
                <a:gd name="T59" fmla="*/ 4 h 17"/>
                <a:gd name="T60" fmla="*/ 93 w 183"/>
                <a:gd name="T61" fmla="*/ 6 h 17"/>
                <a:gd name="T62" fmla="*/ 83 w 183"/>
                <a:gd name="T63" fmla="*/ 7 h 17"/>
                <a:gd name="T64" fmla="*/ 93 w 183"/>
                <a:gd name="T65" fmla="*/ 9 h 17"/>
                <a:gd name="T66" fmla="*/ 109 w 183"/>
                <a:gd name="T67" fmla="*/ 9 h 17"/>
                <a:gd name="T68" fmla="*/ 104 w 183"/>
                <a:gd name="T69" fmla="*/ 7 h 17"/>
                <a:gd name="T70" fmla="*/ 99 w 183"/>
                <a:gd name="T71" fmla="*/ 7 h 17"/>
                <a:gd name="T72" fmla="*/ 99 w 183"/>
                <a:gd name="T73" fmla="*/ 10 h 17"/>
                <a:gd name="T74" fmla="*/ 100 w 183"/>
                <a:gd name="T75" fmla="*/ 10 h 17"/>
                <a:gd name="T76" fmla="*/ 107 w 183"/>
                <a:gd name="T77" fmla="*/ 12 h 17"/>
                <a:gd name="T78" fmla="*/ 123 w 183"/>
                <a:gd name="T79" fmla="*/ 15 h 17"/>
                <a:gd name="T80" fmla="*/ 120 w 183"/>
                <a:gd name="T81" fmla="*/ 15 h 17"/>
                <a:gd name="T82" fmla="*/ 113 w 183"/>
                <a:gd name="T83" fmla="*/ 12 h 17"/>
                <a:gd name="T84" fmla="*/ 113 w 183"/>
                <a:gd name="T85" fmla="*/ 13 h 17"/>
                <a:gd name="T86" fmla="*/ 120 w 183"/>
                <a:gd name="T87" fmla="*/ 16 h 17"/>
                <a:gd name="T88" fmla="*/ 123 w 183"/>
                <a:gd name="T89" fmla="*/ 15 h 17"/>
                <a:gd name="T90" fmla="*/ 138 w 183"/>
                <a:gd name="T91" fmla="*/ 15 h 17"/>
                <a:gd name="T92" fmla="*/ 132 w 183"/>
                <a:gd name="T93" fmla="*/ 16 h 17"/>
                <a:gd name="T94" fmla="*/ 127 w 183"/>
                <a:gd name="T95" fmla="*/ 17 h 17"/>
                <a:gd name="T96" fmla="*/ 132 w 183"/>
                <a:gd name="T97" fmla="*/ 17 h 17"/>
                <a:gd name="T98" fmla="*/ 138 w 183"/>
                <a:gd name="T99" fmla="*/ 17 h 17"/>
                <a:gd name="T100" fmla="*/ 152 w 183"/>
                <a:gd name="T101" fmla="*/ 13 h 17"/>
                <a:gd name="T102" fmla="*/ 142 w 183"/>
                <a:gd name="T103" fmla="*/ 15 h 17"/>
                <a:gd name="T104" fmla="*/ 143 w 183"/>
                <a:gd name="T105" fmla="*/ 17 h 17"/>
                <a:gd name="T106" fmla="*/ 152 w 183"/>
                <a:gd name="T107" fmla="*/ 13 h 17"/>
                <a:gd name="T108" fmla="*/ 168 w 183"/>
                <a:gd name="T109" fmla="*/ 10 h 17"/>
                <a:gd name="T110" fmla="*/ 162 w 183"/>
                <a:gd name="T111" fmla="*/ 12 h 17"/>
                <a:gd name="T112" fmla="*/ 158 w 183"/>
                <a:gd name="T113" fmla="*/ 15 h 17"/>
                <a:gd name="T114" fmla="*/ 162 w 183"/>
                <a:gd name="T115" fmla="*/ 15 h 17"/>
                <a:gd name="T116" fmla="*/ 168 w 183"/>
                <a:gd name="T117" fmla="*/ 13 h 17"/>
                <a:gd name="T118" fmla="*/ 181 w 183"/>
                <a:gd name="T119" fmla="*/ 6 h 17"/>
                <a:gd name="T120" fmla="*/ 172 w 183"/>
                <a:gd name="T121" fmla="*/ 9 h 17"/>
                <a:gd name="T122" fmla="*/ 172 w 183"/>
                <a:gd name="T123" fmla="*/ 12 h 17"/>
                <a:gd name="T124" fmla="*/ 181 w 183"/>
                <a:gd name="T125" fmla="*/ 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3" h="17">
                  <a:moveTo>
                    <a:pt x="6" y="4"/>
                  </a:moveTo>
                  <a:lnTo>
                    <a:pt x="6" y="4"/>
                  </a:lnTo>
                  <a:lnTo>
                    <a:pt x="0" y="7"/>
                  </a:lnTo>
                  <a:lnTo>
                    <a:pt x="0" y="10"/>
                  </a:lnTo>
                  <a:lnTo>
                    <a:pt x="0" y="10"/>
                  </a:lnTo>
                  <a:lnTo>
                    <a:pt x="6" y="7"/>
                  </a:lnTo>
                  <a:lnTo>
                    <a:pt x="6" y="4"/>
                  </a:lnTo>
                  <a:close/>
                  <a:moveTo>
                    <a:pt x="20" y="0"/>
                  </a:moveTo>
                  <a:lnTo>
                    <a:pt x="20" y="0"/>
                  </a:lnTo>
                  <a:lnTo>
                    <a:pt x="10" y="3"/>
                  </a:lnTo>
                  <a:lnTo>
                    <a:pt x="12" y="6"/>
                  </a:lnTo>
                  <a:lnTo>
                    <a:pt x="12" y="6"/>
                  </a:lnTo>
                  <a:lnTo>
                    <a:pt x="20" y="1"/>
                  </a:lnTo>
                  <a:lnTo>
                    <a:pt x="20" y="0"/>
                  </a:lnTo>
                  <a:close/>
                  <a:moveTo>
                    <a:pt x="35" y="4"/>
                  </a:moveTo>
                  <a:lnTo>
                    <a:pt x="33" y="4"/>
                  </a:lnTo>
                  <a:lnTo>
                    <a:pt x="33" y="4"/>
                  </a:lnTo>
                  <a:lnTo>
                    <a:pt x="29" y="3"/>
                  </a:lnTo>
                  <a:lnTo>
                    <a:pt x="29" y="3"/>
                  </a:lnTo>
                  <a:lnTo>
                    <a:pt x="26" y="0"/>
                  </a:lnTo>
                  <a:lnTo>
                    <a:pt x="25" y="3"/>
                  </a:lnTo>
                  <a:lnTo>
                    <a:pt x="25" y="3"/>
                  </a:lnTo>
                  <a:lnTo>
                    <a:pt x="28" y="4"/>
                  </a:lnTo>
                  <a:lnTo>
                    <a:pt x="28" y="4"/>
                  </a:lnTo>
                  <a:lnTo>
                    <a:pt x="33" y="7"/>
                  </a:lnTo>
                  <a:lnTo>
                    <a:pt x="33" y="7"/>
                  </a:lnTo>
                  <a:lnTo>
                    <a:pt x="35" y="4"/>
                  </a:lnTo>
                  <a:close/>
                  <a:moveTo>
                    <a:pt x="48" y="0"/>
                  </a:moveTo>
                  <a:lnTo>
                    <a:pt x="48" y="0"/>
                  </a:lnTo>
                  <a:lnTo>
                    <a:pt x="45" y="1"/>
                  </a:lnTo>
                  <a:lnTo>
                    <a:pt x="45" y="1"/>
                  </a:lnTo>
                  <a:lnTo>
                    <a:pt x="43" y="1"/>
                  </a:lnTo>
                  <a:lnTo>
                    <a:pt x="43" y="1"/>
                  </a:lnTo>
                  <a:lnTo>
                    <a:pt x="41" y="4"/>
                  </a:lnTo>
                  <a:lnTo>
                    <a:pt x="41" y="4"/>
                  </a:lnTo>
                  <a:lnTo>
                    <a:pt x="39" y="4"/>
                  </a:lnTo>
                  <a:lnTo>
                    <a:pt x="39" y="7"/>
                  </a:lnTo>
                  <a:lnTo>
                    <a:pt x="39" y="7"/>
                  </a:lnTo>
                  <a:lnTo>
                    <a:pt x="42" y="6"/>
                  </a:lnTo>
                  <a:lnTo>
                    <a:pt x="42" y="6"/>
                  </a:lnTo>
                  <a:lnTo>
                    <a:pt x="45" y="3"/>
                  </a:lnTo>
                  <a:lnTo>
                    <a:pt x="45" y="3"/>
                  </a:lnTo>
                  <a:lnTo>
                    <a:pt x="46" y="3"/>
                  </a:lnTo>
                  <a:lnTo>
                    <a:pt x="46" y="3"/>
                  </a:lnTo>
                  <a:lnTo>
                    <a:pt x="48" y="3"/>
                  </a:lnTo>
                  <a:lnTo>
                    <a:pt x="48" y="0"/>
                  </a:lnTo>
                  <a:close/>
                  <a:moveTo>
                    <a:pt x="64" y="1"/>
                  </a:moveTo>
                  <a:lnTo>
                    <a:pt x="64" y="1"/>
                  </a:lnTo>
                  <a:lnTo>
                    <a:pt x="54" y="1"/>
                  </a:lnTo>
                  <a:lnTo>
                    <a:pt x="52" y="3"/>
                  </a:lnTo>
                  <a:lnTo>
                    <a:pt x="52" y="3"/>
                  </a:lnTo>
                  <a:lnTo>
                    <a:pt x="62" y="4"/>
                  </a:lnTo>
                  <a:lnTo>
                    <a:pt x="64" y="1"/>
                  </a:lnTo>
                  <a:close/>
                  <a:moveTo>
                    <a:pt x="78" y="4"/>
                  </a:moveTo>
                  <a:lnTo>
                    <a:pt x="78" y="4"/>
                  </a:lnTo>
                  <a:lnTo>
                    <a:pt x="68" y="3"/>
                  </a:lnTo>
                  <a:lnTo>
                    <a:pt x="68" y="6"/>
                  </a:lnTo>
                  <a:lnTo>
                    <a:pt x="68" y="6"/>
                  </a:lnTo>
                  <a:lnTo>
                    <a:pt x="78" y="7"/>
                  </a:lnTo>
                  <a:lnTo>
                    <a:pt x="78" y="4"/>
                  </a:lnTo>
                  <a:close/>
                  <a:moveTo>
                    <a:pt x="93" y="6"/>
                  </a:moveTo>
                  <a:lnTo>
                    <a:pt x="93" y="6"/>
                  </a:lnTo>
                  <a:lnTo>
                    <a:pt x="84" y="4"/>
                  </a:lnTo>
                  <a:lnTo>
                    <a:pt x="83" y="7"/>
                  </a:lnTo>
                  <a:lnTo>
                    <a:pt x="83" y="7"/>
                  </a:lnTo>
                  <a:lnTo>
                    <a:pt x="93" y="9"/>
                  </a:lnTo>
                  <a:lnTo>
                    <a:pt x="93" y="6"/>
                  </a:lnTo>
                  <a:close/>
                  <a:moveTo>
                    <a:pt x="109" y="9"/>
                  </a:moveTo>
                  <a:lnTo>
                    <a:pt x="109" y="9"/>
                  </a:lnTo>
                  <a:lnTo>
                    <a:pt x="104" y="7"/>
                  </a:lnTo>
                  <a:lnTo>
                    <a:pt x="100" y="7"/>
                  </a:lnTo>
                  <a:lnTo>
                    <a:pt x="99" y="7"/>
                  </a:lnTo>
                  <a:lnTo>
                    <a:pt x="99" y="10"/>
                  </a:lnTo>
                  <a:lnTo>
                    <a:pt x="99" y="10"/>
                  </a:lnTo>
                  <a:lnTo>
                    <a:pt x="100" y="10"/>
                  </a:lnTo>
                  <a:lnTo>
                    <a:pt x="100" y="10"/>
                  </a:lnTo>
                  <a:lnTo>
                    <a:pt x="103" y="10"/>
                  </a:lnTo>
                  <a:lnTo>
                    <a:pt x="107" y="12"/>
                  </a:lnTo>
                  <a:lnTo>
                    <a:pt x="109" y="9"/>
                  </a:lnTo>
                  <a:close/>
                  <a:moveTo>
                    <a:pt x="123" y="15"/>
                  </a:moveTo>
                  <a:lnTo>
                    <a:pt x="123" y="15"/>
                  </a:lnTo>
                  <a:lnTo>
                    <a:pt x="120" y="15"/>
                  </a:lnTo>
                  <a:lnTo>
                    <a:pt x="120" y="15"/>
                  </a:lnTo>
                  <a:lnTo>
                    <a:pt x="113" y="12"/>
                  </a:lnTo>
                  <a:lnTo>
                    <a:pt x="113" y="13"/>
                  </a:lnTo>
                  <a:lnTo>
                    <a:pt x="113" y="13"/>
                  </a:lnTo>
                  <a:lnTo>
                    <a:pt x="120" y="16"/>
                  </a:lnTo>
                  <a:lnTo>
                    <a:pt x="120" y="16"/>
                  </a:lnTo>
                  <a:lnTo>
                    <a:pt x="122" y="17"/>
                  </a:lnTo>
                  <a:lnTo>
                    <a:pt x="123" y="15"/>
                  </a:lnTo>
                  <a:close/>
                  <a:moveTo>
                    <a:pt x="138" y="15"/>
                  </a:moveTo>
                  <a:lnTo>
                    <a:pt x="138" y="15"/>
                  </a:lnTo>
                  <a:lnTo>
                    <a:pt x="132" y="16"/>
                  </a:lnTo>
                  <a:lnTo>
                    <a:pt x="132" y="16"/>
                  </a:lnTo>
                  <a:lnTo>
                    <a:pt x="127" y="15"/>
                  </a:lnTo>
                  <a:lnTo>
                    <a:pt x="127" y="17"/>
                  </a:lnTo>
                  <a:lnTo>
                    <a:pt x="127" y="17"/>
                  </a:lnTo>
                  <a:lnTo>
                    <a:pt x="132" y="17"/>
                  </a:lnTo>
                  <a:lnTo>
                    <a:pt x="132" y="17"/>
                  </a:lnTo>
                  <a:lnTo>
                    <a:pt x="138" y="17"/>
                  </a:lnTo>
                  <a:lnTo>
                    <a:pt x="138" y="15"/>
                  </a:lnTo>
                  <a:close/>
                  <a:moveTo>
                    <a:pt x="152" y="13"/>
                  </a:moveTo>
                  <a:lnTo>
                    <a:pt x="152" y="13"/>
                  </a:lnTo>
                  <a:lnTo>
                    <a:pt x="142" y="15"/>
                  </a:lnTo>
                  <a:lnTo>
                    <a:pt x="143" y="17"/>
                  </a:lnTo>
                  <a:lnTo>
                    <a:pt x="143" y="17"/>
                  </a:lnTo>
                  <a:lnTo>
                    <a:pt x="152" y="15"/>
                  </a:lnTo>
                  <a:lnTo>
                    <a:pt x="152" y="13"/>
                  </a:lnTo>
                  <a:close/>
                  <a:moveTo>
                    <a:pt x="168" y="10"/>
                  </a:moveTo>
                  <a:lnTo>
                    <a:pt x="168" y="10"/>
                  </a:lnTo>
                  <a:lnTo>
                    <a:pt x="162" y="12"/>
                  </a:lnTo>
                  <a:lnTo>
                    <a:pt x="162" y="12"/>
                  </a:lnTo>
                  <a:lnTo>
                    <a:pt x="158" y="12"/>
                  </a:lnTo>
                  <a:lnTo>
                    <a:pt x="158" y="15"/>
                  </a:lnTo>
                  <a:lnTo>
                    <a:pt x="158" y="15"/>
                  </a:lnTo>
                  <a:lnTo>
                    <a:pt x="162" y="15"/>
                  </a:lnTo>
                  <a:lnTo>
                    <a:pt x="162" y="15"/>
                  </a:lnTo>
                  <a:lnTo>
                    <a:pt x="168" y="13"/>
                  </a:lnTo>
                  <a:lnTo>
                    <a:pt x="168" y="10"/>
                  </a:lnTo>
                  <a:close/>
                  <a:moveTo>
                    <a:pt x="181" y="6"/>
                  </a:moveTo>
                  <a:lnTo>
                    <a:pt x="181" y="6"/>
                  </a:lnTo>
                  <a:lnTo>
                    <a:pt x="172" y="9"/>
                  </a:lnTo>
                  <a:lnTo>
                    <a:pt x="172" y="12"/>
                  </a:lnTo>
                  <a:lnTo>
                    <a:pt x="172" y="12"/>
                  </a:lnTo>
                  <a:lnTo>
                    <a:pt x="183" y="7"/>
                  </a:lnTo>
                  <a:lnTo>
                    <a:pt x="181"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60" name="Freeform 1585"/>
            <p:cNvSpPr>
              <a:spLocks noEditPoints="1"/>
            </p:cNvSpPr>
            <p:nvPr/>
          </p:nvSpPr>
          <p:spPr bwMode="auto">
            <a:xfrm>
              <a:off x="4743451" y="5215367"/>
              <a:ext cx="185738" cy="320675"/>
            </a:xfrm>
            <a:custGeom>
              <a:avLst/>
              <a:gdLst>
                <a:gd name="T0" fmla="*/ 4 w 117"/>
                <a:gd name="T1" fmla="*/ 187 h 202"/>
                <a:gd name="T2" fmla="*/ 1 w 117"/>
                <a:gd name="T3" fmla="*/ 193 h 202"/>
                <a:gd name="T4" fmla="*/ 10 w 117"/>
                <a:gd name="T5" fmla="*/ 186 h 202"/>
                <a:gd name="T6" fmla="*/ 14 w 117"/>
                <a:gd name="T7" fmla="*/ 187 h 202"/>
                <a:gd name="T8" fmla="*/ 23 w 117"/>
                <a:gd name="T9" fmla="*/ 194 h 202"/>
                <a:gd name="T10" fmla="*/ 36 w 117"/>
                <a:gd name="T11" fmla="*/ 199 h 202"/>
                <a:gd name="T12" fmla="*/ 27 w 117"/>
                <a:gd name="T13" fmla="*/ 194 h 202"/>
                <a:gd name="T14" fmla="*/ 32 w 117"/>
                <a:gd name="T15" fmla="*/ 200 h 202"/>
                <a:gd name="T16" fmla="*/ 38 w 117"/>
                <a:gd name="T17" fmla="*/ 199 h 202"/>
                <a:gd name="T18" fmla="*/ 46 w 117"/>
                <a:gd name="T19" fmla="*/ 196 h 202"/>
                <a:gd name="T20" fmla="*/ 42 w 117"/>
                <a:gd name="T21" fmla="*/ 200 h 202"/>
                <a:gd name="T22" fmla="*/ 49 w 117"/>
                <a:gd name="T23" fmla="*/ 193 h 202"/>
                <a:gd name="T24" fmla="*/ 55 w 117"/>
                <a:gd name="T25" fmla="*/ 184 h 202"/>
                <a:gd name="T26" fmla="*/ 55 w 117"/>
                <a:gd name="T27" fmla="*/ 191 h 202"/>
                <a:gd name="T28" fmla="*/ 58 w 117"/>
                <a:gd name="T29" fmla="*/ 184 h 202"/>
                <a:gd name="T30" fmla="*/ 55 w 117"/>
                <a:gd name="T31" fmla="*/ 175 h 202"/>
                <a:gd name="T32" fmla="*/ 55 w 117"/>
                <a:gd name="T33" fmla="*/ 165 h 202"/>
                <a:gd name="T34" fmla="*/ 58 w 117"/>
                <a:gd name="T35" fmla="*/ 160 h 202"/>
                <a:gd name="T36" fmla="*/ 55 w 117"/>
                <a:gd name="T37" fmla="*/ 160 h 202"/>
                <a:gd name="T38" fmla="*/ 58 w 117"/>
                <a:gd name="T39" fmla="*/ 135 h 202"/>
                <a:gd name="T40" fmla="*/ 55 w 117"/>
                <a:gd name="T41" fmla="*/ 129 h 202"/>
                <a:gd name="T42" fmla="*/ 55 w 117"/>
                <a:gd name="T43" fmla="*/ 119 h 202"/>
                <a:gd name="T44" fmla="*/ 58 w 117"/>
                <a:gd name="T45" fmla="*/ 115 h 202"/>
                <a:gd name="T46" fmla="*/ 55 w 117"/>
                <a:gd name="T47" fmla="*/ 115 h 202"/>
                <a:gd name="T48" fmla="*/ 58 w 117"/>
                <a:gd name="T49" fmla="*/ 89 h 202"/>
                <a:gd name="T50" fmla="*/ 58 w 117"/>
                <a:gd name="T51" fmla="*/ 74 h 202"/>
                <a:gd name="T52" fmla="*/ 55 w 117"/>
                <a:gd name="T53" fmla="*/ 75 h 202"/>
                <a:gd name="T54" fmla="*/ 58 w 117"/>
                <a:gd name="T55" fmla="*/ 75 h 202"/>
                <a:gd name="T56" fmla="*/ 58 w 117"/>
                <a:gd name="T57" fmla="*/ 77 h 202"/>
                <a:gd name="T58" fmla="*/ 64 w 117"/>
                <a:gd name="T59" fmla="*/ 74 h 202"/>
                <a:gd name="T60" fmla="*/ 74 w 117"/>
                <a:gd name="T61" fmla="*/ 74 h 202"/>
                <a:gd name="T62" fmla="*/ 75 w 117"/>
                <a:gd name="T63" fmla="*/ 60 h 202"/>
                <a:gd name="T64" fmla="*/ 72 w 117"/>
                <a:gd name="T65" fmla="*/ 55 h 202"/>
                <a:gd name="T66" fmla="*/ 72 w 117"/>
                <a:gd name="T67" fmla="*/ 45 h 202"/>
                <a:gd name="T68" fmla="*/ 75 w 117"/>
                <a:gd name="T69" fmla="*/ 39 h 202"/>
                <a:gd name="T70" fmla="*/ 72 w 117"/>
                <a:gd name="T71" fmla="*/ 39 h 202"/>
                <a:gd name="T72" fmla="*/ 74 w 117"/>
                <a:gd name="T73" fmla="*/ 15 h 202"/>
                <a:gd name="T74" fmla="*/ 75 w 117"/>
                <a:gd name="T75" fmla="*/ 25 h 202"/>
                <a:gd name="T76" fmla="*/ 74 w 117"/>
                <a:gd name="T77" fmla="*/ 16 h 202"/>
                <a:gd name="T78" fmla="*/ 74 w 117"/>
                <a:gd name="T79" fmla="*/ 13 h 202"/>
                <a:gd name="T80" fmla="*/ 80 w 117"/>
                <a:gd name="T81" fmla="*/ 13 h 202"/>
                <a:gd name="T82" fmla="*/ 90 w 117"/>
                <a:gd name="T83" fmla="*/ 13 h 202"/>
                <a:gd name="T84" fmla="*/ 104 w 117"/>
                <a:gd name="T85" fmla="*/ 9 h 202"/>
                <a:gd name="T86" fmla="*/ 94 w 117"/>
                <a:gd name="T87" fmla="*/ 13 h 202"/>
                <a:gd name="T88" fmla="*/ 116 w 117"/>
                <a:gd name="T89" fmla="*/ 0 h 202"/>
                <a:gd name="T90" fmla="*/ 110 w 117"/>
                <a:gd name="T91" fmla="*/ 9 h 202"/>
                <a:gd name="T92" fmla="*/ 116 w 117"/>
                <a:gd name="T93"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7" h="202">
                  <a:moveTo>
                    <a:pt x="10" y="186"/>
                  </a:moveTo>
                  <a:lnTo>
                    <a:pt x="10" y="186"/>
                  </a:lnTo>
                  <a:lnTo>
                    <a:pt x="4" y="187"/>
                  </a:lnTo>
                  <a:lnTo>
                    <a:pt x="0" y="190"/>
                  </a:lnTo>
                  <a:lnTo>
                    <a:pt x="1" y="193"/>
                  </a:lnTo>
                  <a:lnTo>
                    <a:pt x="1" y="193"/>
                  </a:lnTo>
                  <a:lnTo>
                    <a:pt x="6" y="190"/>
                  </a:lnTo>
                  <a:lnTo>
                    <a:pt x="10" y="188"/>
                  </a:lnTo>
                  <a:lnTo>
                    <a:pt x="10" y="186"/>
                  </a:lnTo>
                  <a:close/>
                  <a:moveTo>
                    <a:pt x="25" y="193"/>
                  </a:moveTo>
                  <a:lnTo>
                    <a:pt x="25" y="193"/>
                  </a:lnTo>
                  <a:lnTo>
                    <a:pt x="14" y="187"/>
                  </a:lnTo>
                  <a:lnTo>
                    <a:pt x="14" y="188"/>
                  </a:lnTo>
                  <a:lnTo>
                    <a:pt x="14" y="188"/>
                  </a:lnTo>
                  <a:lnTo>
                    <a:pt x="23" y="194"/>
                  </a:lnTo>
                  <a:lnTo>
                    <a:pt x="25" y="193"/>
                  </a:lnTo>
                  <a:close/>
                  <a:moveTo>
                    <a:pt x="38" y="199"/>
                  </a:moveTo>
                  <a:lnTo>
                    <a:pt x="36" y="199"/>
                  </a:lnTo>
                  <a:lnTo>
                    <a:pt x="36" y="199"/>
                  </a:lnTo>
                  <a:lnTo>
                    <a:pt x="32" y="197"/>
                  </a:lnTo>
                  <a:lnTo>
                    <a:pt x="27" y="194"/>
                  </a:lnTo>
                  <a:lnTo>
                    <a:pt x="27" y="197"/>
                  </a:lnTo>
                  <a:lnTo>
                    <a:pt x="27" y="197"/>
                  </a:lnTo>
                  <a:lnTo>
                    <a:pt x="32" y="200"/>
                  </a:lnTo>
                  <a:lnTo>
                    <a:pt x="36" y="202"/>
                  </a:lnTo>
                  <a:lnTo>
                    <a:pt x="36" y="202"/>
                  </a:lnTo>
                  <a:lnTo>
                    <a:pt x="38" y="199"/>
                  </a:lnTo>
                  <a:close/>
                  <a:moveTo>
                    <a:pt x="49" y="193"/>
                  </a:moveTo>
                  <a:lnTo>
                    <a:pt x="49" y="193"/>
                  </a:lnTo>
                  <a:lnTo>
                    <a:pt x="46" y="196"/>
                  </a:lnTo>
                  <a:lnTo>
                    <a:pt x="42" y="197"/>
                  </a:lnTo>
                  <a:lnTo>
                    <a:pt x="42" y="200"/>
                  </a:lnTo>
                  <a:lnTo>
                    <a:pt x="42" y="200"/>
                  </a:lnTo>
                  <a:lnTo>
                    <a:pt x="46" y="197"/>
                  </a:lnTo>
                  <a:lnTo>
                    <a:pt x="51" y="194"/>
                  </a:lnTo>
                  <a:lnTo>
                    <a:pt x="49" y="193"/>
                  </a:lnTo>
                  <a:close/>
                  <a:moveTo>
                    <a:pt x="55" y="180"/>
                  </a:moveTo>
                  <a:lnTo>
                    <a:pt x="55" y="184"/>
                  </a:lnTo>
                  <a:lnTo>
                    <a:pt x="55" y="184"/>
                  </a:lnTo>
                  <a:lnTo>
                    <a:pt x="55" y="186"/>
                  </a:lnTo>
                  <a:lnTo>
                    <a:pt x="53" y="190"/>
                  </a:lnTo>
                  <a:lnTo>
                    <a:pt x="55" y="191"/>
                  </a:lnTo>
                  <a:lnTo>
                    <a:pt x="55" y="191"/>
                  </a:lnTo>
                  <a:lnTo>
                    <a:pt x="56" y="187"/>
                  </a:lnTo>
                  <a:lnTo>
                    <a:pt x="58" y="184"/>
                  </a:lnTo>
                  <a:lnTo>
                    <a:pt x="58" y="180"/>
                  </a:lnTo>
                  <a:lnTo>
                    <a:pt x="55" y="180"/>
                  </a:lnTo>
                  <a:close/>
                  <a:moveTo>
                    <a:pt x="55" y="175"/>
                  </a:moveTo>
                  <a:lnTo>
                    <a:pt x="58" y="175"/>
                  </a:lnTo>
                  <a:lnTo>
                    <a:pt x="58" y="165"/>
                  </a:lnTo>
                  <a:lnTo>
                    <a:pt x="55" y="165"/>
                  </a:lnTo>
                  <a:lnTo>
                    <a:pt x="55" y="175"/>
                  </a:lnTo>
                  <a:close/>
                  <a:moveTo>
                    <a:pt x="55" y="160"/>
                  </a:moveTo>
                  <a:lnTo>
                    <a:pt x="58" y="160"/>
                  </a:lnTo>
                  <a:lnTo>
                    <a:pt x="58" y="149"/>
                  </a:lnTo>
                  <a:lnTo>
                    <a:pt x="55" y="149"/>
                  </a:lnTo>
                  <a:lnTo>
                    <a:pt x="55" y="160"/>
                  </a:lnTo>
                  <a:close/>
                  <a:moveTo>
                    <a:pt x="55" y="145"/>
                  </a:moveTo>
                  <a:lnTo>
                    <a:pt x="58" y="145"/>
                  </a:lnTo>
                  <a:lnTo>
                    <a:pt x="58" y="135"/>
                  </a:lnTo>
                  <a:lnTo>
                    <a:pt x="55" y="135"/>
                  </a:lnTo>
                  <a:lnTo>
                    <a:pt x="55" y="145"/>
                  </a:lnTo>
                  <a:close/>
                  <a:moveTo>
                    <a:pt x="55" y="129"/>
                  </a:moveTo>
                  <a:lnTo>
                    <a:pt x="58" y="129"/>
                  </a:lnTo>
                  <a:lnTo>
                    <a:pt x="58" y="119"/>
                  </a:lnTo>
                  <a:lnTo>
                    <a:pt x="55" y="119"/>
                  </a:lnTo>
                  <a:lnTo>
                    <a:pt x="55" y="129"/>
                  </a:lnTo>
                  <a:close/>
                  <a:moveTo>
                    <a:pt x="55" y="115"/>
                  </a:moveTo>
                  <a:lnTo>
                    <a:pt x="58" y="115"/>
                  </a:lnTo>
                  <a:lnTo>
                    <a:pt x="58" y="104"/>
                  </a:lnTo>
                  <a:lnTo>
                    <a:pt x="55" y="104"/>
                  </a:lnTo>
                  <a:lnTo>
                    <a:pt x="55" y="115"/>
                  </a:lnTo>
                  <a:close/>
                  <a:moveTo>
                    <a:pt x="55" y="99"/>
                  </a:moveTo>
                  <a:lnTo>
                    <a:pt x="58" y="99"/>
                  </a:lnTo>
                  <a:lnTo>
                    <a:pt x="58" y="89"/>
                  </a:lnTo>
                  <a:lnTo>
                    <a:pt x="55" y="89"/>
                  </a:lnTo>
                  <a:lnTo>
                    <a:pt x="55" y="99"/>
                  </a:lnTo>
                  <a:close/>
                  <a:moveTo>
                    <a:pt x="58" y="74"/>
                  </a:moveTo>
                  <a:lnTo>
                    <a:pt x="56" y="74"/>
                  </a:lnTo>
                  <a:lnTo>
                    <a:pt x="55" y="74"/>
                  </a:lnTo>
                  <a:lnTo>
                    <a:pt x="55" y="75"/>
                  </a:lnTo>
                  <a:lnTo>
                    <a:pt x="55" y="84"/>
                  </a:lnTo>
                  <a:lnTo>
                    <a:pt x="58" y="84"/>
                  </a:lnTo>
                  <a:lnTo>
                    <a:pt x="58" y="75"/>
                  </a:lnTo>
                  <a:lnTo>
                    <a:pt x="56" y="75"/>
                  </a:lnTo>
                  <a:lnTo>
                    <a:pt x="56" y="77"/>
                  </a:lnTo>
                  <a:lnTo>
                    <a:pt x="58" y="77"/>
                  </a:lnTo>
                  <a:lnTo>
                    <a:pt x="58" y="74"/>
                  </a:lnTo>
                  <a:close/>
                  <a:moveTo>
                    <a:pt x="74" y="74"/>
                  </a:moveTo>
                  <a:lnTo>
                    <a:pt x="64" y="74"/>
                  </a:lnTo>
                  <a:lnTo>
                    <a:pt x="64" y="77"/>
                  </a:lnTo>
                  <a:lnTo>
                    <a:pt x="74" y="77"/>
                  </a:lnTo>
                  <a:lnTo>
                    <a:pt x="74" y="74"/>
                  </a:lnTo>
                  <a:close/>
                  <a:moveTo>
                    <a:pt x="72" y="70"/>
                  </a:moveTo>
                  <a:lnTo>
                    <a:pt x="75" y="70"/>
                  </a:lnTo>
                  <a:lnTo>
                    <a:pt x="75" y="60"/>
                  </a:lnTo>
                  <a:lnTo>
                    <a:pt x="72" y="60"/>
                  </a:lnTo>
                  <a:lnTo>
                    <a:pt x="72" y="70"/>
                  </a:lnTo>
                  <a:close/>
                  <a:moveTo>
                    <a:pt x="72" y="55"/>
                  </a:moveTo>
                  <a:lnTo>
                    <a:pt x="75" y="55"/>
                  </a:lnTo>
                  <a:lnTo>
                    <a:pt x="75" y="45"/>
                  </a:lnTo>
                  <a:lnTo>
                    <a:pt x="72" y="45"/>
                  </a:lnTo>
                  <a:lnTo>
                    <a:pt x="72" y="55"/>
                  </a:lnTo>
                  <a:close/>
                  <a:moveTo>
                    <a:pt x="72" y="39"/>
                  </a:moveTo>
                  <a:lnTo>
                    <a:pt x="75" y="39"/>
                  </a:lnTo>
                  <a:lnTo>
                    <a:pt x="75" y="29"/>
                  </a:lnTo>
                  <a:lnTo>
                    <a:pt x="72" y="29"/>
                  </a:lnTo>
                  <a:lnTo>
                    <a:pt x="72" y="39"/>
                  </a:lnTo>
                  <a:close/>
                  <a:moveTo>
                    <a:pt x="74" y="13"/>
                  </a:moveTo>
                  <a:lnTo>
                    <a:pt x="74" y="13"/>
                  </a:lnTo>
                  <a:lnTo>
                    <a:pt x="74" y="15"/>
                  </a:lnTo>
                  <a:lnTo>
                    <a:pt x="72" y="15"/>
                  </a:lnTo>
                  <a:lnTo>
                    <a:pt x="72" y="25"/>
                  </a:lnTo>
                  <a:lnTo>
                    <a:pt x="75" y="25"/>
                  </a:lnTo>
                  <a:lnTo>
                    <a:pt x="75" y="15"/>
                  </a:lnTo>
                  <a:lnTo>
                    <a:pt x="74" y="15"/>
                  </a:lnTo>
                  <a:lnTo>
                    <a:pt x="74" y="16"/>
                  </a:lnTo>
                  <a:lnTo>
                    <a:pt x="74" y="16"/>
                  </a:lnTo>
                  <a:lnTo>
                    <a:pt x="75" y="16"/>
                  </a:lnTo>
                  <a:lnTo>
                    <a:pt x="74" y="13"/>
                  </a:lnTo>
                  <a:close/>
                  <a:moveTo>
                    <a:pt x="90" y="12"/>
                  </a:moveTo>
                  <a:lnTo>
                    <a:pt x="90" y="12"/>
                  </a:lnTo>
                  <a:lnTo>
                    <a:pt x="80" y="13"/>
                  </a:lnTo>
                  <a:lnTo>
                    <a:pt x="80" y="16"/>
                  </a:lnTo>
                  <a:lnTo>
                    <a:pt x="80" y="16"/>
                  </a:lnTo>
                  <a:lnTo>
                    <a:pt x="90" y="13"/>
                  </a:lnTo>
                  <a:lnTo>
                    <a:pt x="90" y="12"/>
                  </a:lnTo>
                  <a:close/>
                  <a:moveTo>
                    <a:pt x="104" y="9"/>
                  </a:moveTo>
                  <a:lnTo>
                    <a:pt x="104" y="9"/>
                  </a:lnTo>
                  <a:lnTo>
                    <a:pt x="94" y="10"/>
                  </a:lnTo>
                  <a:lnTo>
                    <a:pt x="94" y="13"/>
                  </a:lnTo>
                  <a:lnTo>
                    <a:pt x="94" y="13"/>
                  </a:lnTo>
                  <a:lnTo>
                    <a:pt x="104" y="10"/>
                  </a:lnTo>
                  <a:lnTo>
                    <a:pt x="104" y="9"/>
                  </a:lnTo>
                  <a:close/>
                  <a:moveTo>
                    <a:pt x="116" y="0"/>
                  </a:moveTo>
                  <a:lnTo>
                    <a:pt x="116" y="0"/>
                  </a:lnTo>
                  <a:lnTo>
                    <a:pt x="109" y="6"/>
                  </a:lnTo>
                  <a:lnTo>
                    <a:pt x="110" y="9"/>
                  </a:lnTo>
                  <a:lnTo>
                    <a:pt x="110" y="9"/>
                  </a:lnTo>
                  <a:lnTo>
                    <a:pt x="117" y="2"/>
                  </a:lnTo>
                  <a:lnTo>
                    <a:pt x="1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61" name="Freeform 1586"/>
            <p:cNvSpPr>
              <a:spLocks noEditPoints="1"/>
            </p:cNvSpPr>
            <p:nvPr/>
          </p:nvSpPr>
          <p:spPr bwMode="auto">
            <a:xfrm>
              <a:off x="4832351" y="5339192"/>
              <a:ext cx="246063" cy="131763"/>
            </a:xfrm>
            <a:custGeom>
              <a:avLst/>
              <a:gdLst>
                <a:gd name="T0" fmla="*/ 9 w 155"/>
                <a:gd name="T1" fmla="*/ 64 h 83"/>
                <a:gd name="T2" fmla="*/ 0 w 155"/>
                <a:gd name="T3" fmla="*/ 57 h 83"/>
                <a:gd name="T4" fmla="*/ 6 w 155"/>
                <a:gd name="T5" fmla="*/ 66 h 83"/>
                <a:gd name="T6" fmla="*/ 16 w 155"/>
                <a:gd name="T7" fmla="*/ 76 h 83"/>
                <a:gd name="T8" fmla="*/ 16 w 155"/>
                <a:gd name="T9" fmla="*/ 76 h 83"/>
                <a:gd name="T10" fmla="*/ 9 w 155"/>
                <a:gd name="T11" fmla="*/ 68 h 83"/>
                <a:gd name="T12" fmla="*/ 13 w 155"/>
                <a:gd name="T13" fmla="*/ 77 h 83"/>
                <a:gd name="T14" fmla="*/ 15 w 155"/>
                <a:gd name="T15" fmla="*/ 79 h 83"/>
                <a:gd name="T16" fmla="*/ 29 w 155"/>
                <a:gd name="T17" fmla="*/ 80 h 83"/>
                <a:gd name="T18" fmla="*/ 25 w 155"/>
                <a:gd name="T19" fmla="*/ 80 h 83"/>
                <a:gd name="T20" fmla="*/ 19 w 155"/>
                <a:gd name="T21" fmla="*/ 82 h 83"/>
                <a:gd name="T22" fmla="*/ 25 w 155"/>
                <a:gd name="T23" fmla="*/ 83 h 83"/>
                <a:gd name="T24" fmla="*/ 29 w 155"/>
                <a:gd name="T25" fmla="*/ 80 h 83"/>
                <a:gd name="T26" fmla="*/ 41 w 155"/>
                <a:gd name="T27" fmla="*/ 73 h 83"/>
                <a:gd name="T28" fmla="*/ 34 w 155"/>
                <a:gd name="T29" fmla="*/ 80 h 83"/>
                <a:gd name="T30" fmla="*/ 35 w 155"/>
                <a:gd name="T31" fmla="*/ 82 h 83"/>
                <a:gd name="T32" fmla="*/ 42 w 155"/>
                <a:gd name="T33" fmla="*/ 74 h 83"/>
                <a:gd name="T34" fmla="*/ 50 w 155"/>
                <a:gd name="T35" fmla="*/ 60 h 83"/>
                <a:gd name="T36" fmla="*/ 44 w 155"/>
                <a:gd name="T37" fmla="*/ 68 h 83"/>
                <a:gd name="T38" fmla="*/ 45 w 155"/>
                <a:gd name="T39" fmla="*/ 70 h 83"/>
                <a:gd name="T40" fmla="*/ 50 w 155"/>
                <a:gd name="T41" fmla="*/ 60 h 83"/>
                <a:gd name="T42" fmla="*/ 64 w 155"/>
                <a:gd name="T43" fmla="*/ 58 h 83"/>
                <a:gd name="T44" fmla="*/ 57 w 155"/>
                <a:gd name="T45" fmla="*/ 55 h 83"/>
                <a:gd name="T46" fmla="*/ 55 w 155"/>
                <a:gd name="T47" fmla="*/ 55 h 83"/>
                <a:gd name="T48" fmla="*/ 53 w 155"/>
                <a:gd name="T49" fmla="*/ 57 h 83"/>
                <a:gd name="T50" fmla="*/ 54 w 155"/>
                <a:gd name="T51" fmla="*/ 58 h 83"/>
                <a:gd name="T52" fmla="*/ 57 w 155"/>
                <a:gd name="T53" fmla="*/ 57 h 83"/>
                <a:gd name="T54" fmla="*/ 60 w 155"/>
                <a:gd name="T55" fmla="*/ 58 h 83"/>
                <a:gd name="T56" fmla="*/ 64 w 155"/>
                <a:gd name="T57" fmla="*/ 58 h 83"/>
                <a:gd name="T58" fmla="*/ 76 w 155"/>
                <a:gd name="T59" fmla="*/ 63 h 83"/>
                <a:gd name="T60" fmla="*/ 67 w 155"/>
                <a:gd name="T61" fmla="*/ 61 h 83"/>
                <a:gd name="T62" fmla="*/ 66 w 155"/>
                <a:gd name="T63" fmla="*/ 64 h 83"/>
                <a:gd name="T64" fmla="*/ 76 w 155"/>
                <a:gd name="T65" fmla="*/ 66 h 83"/>
                <a:gd name="T66" fmla="*/ 90 w 155"/>
                <a:gd name="T67" fmla="*/ 61 h 83"/>
                <a:gd name="T68" fmla="*/ 90 w 155"/>
                <a:gd name="T69" fmla="*/ 61 h 83"/>
                <a:gd name="T70" fmla="*/ 90 w 155"/>
                <a:gd name="T71" fmla="*/ 61 h 83"/>
                <a:gd name="T72" fmla="*/ 90 w 155"/>
                <a:gd name="T73" fmla="*/ 61 h 83"/>
                <a:gd name="T74" fmla="*/ 87 w 155"/>
                <a:gd name="T75" fmla="*/ 63 h 83"/>
                <a:gd name="T76" fmla="*/ 81 w 155"/>
                <a:gd name="T77" fmla="*/ 63 h 83"/>
                <a:gd name="T78" fmla="*/ 81 w 155"/>
                <a:gd name="T79" fmla="*/ 66 h 83"/>
                <a:gd name="T80" fmla="*/ 87 w 155"/>
                <a:gd name="T81" fmla="*/ 64 h 83"/>
                <a:gd name="T82" fmla="*/ 92 w 155"/>
                <a:gd name="T83" fmla="*/ 63 h 83"/>
                <a:gd name="T84" fmla="*/ 99 w 155"/>
                <a:gd name="T85" fmla="*/ 48 h 83"/>
                <a:gd name="T86" fmla="*/ 93 w 155"/>
                <a:gd name="T87" fmla="*/ 57 h 83"/>
                <a:gd name="T88" fmla="*/ 96 w 155"/>
                <a:gd name="T89" fmla="*/ 58 h 83"/>
                <a:gd name="T90" fmla="*/ 99 w 155"/>
                <a:gd name="T91" fmla="*/ 48 h 83"/>
                <a:gd name="T92" fmla="*/ 106 w 155"/>
                <a:gd name="T93" fmla="*/ 35 h 83"/>
                <a:gd name="T94" fmla="*/ 103 w 155"/>
                <a:gd name="T95" fmla="*/ 45 h 83"/>
                <a:gd name="T96" fmla="*/ 109 w 155"/>
                <a:gd name="T97" fmla="*/ 37 h 83"/>
                <a:gd name="T98" fmla="*/ 115 w 155"/>
                <a:gd name="T99" fmla="*/ 22 h 83"/>
                <a:gd name="T100" fmla="*/ 109 w 155"/>
                <a:gd name="T101" fmla="*/ 31 h 83"/>
                <a:gd name="T102" fmla="*/ 110 w 155"/>
                <a:gd name="T103" fmla="*/ 32 h 83"/>
                <a:gd name="T104" fmla="*/ 115 w 155"/>
                <a:gd name="T105" fmla="*/ 22 h 83"/>
                <a:gd name="T106" fmla="*/ 126 w 155"/>
                <a:gd name="T107" fmla="*/ 13 h 83"/>
                <a:gd name="T108" fmla="*/ 119 w 155"/>
                <a:gd name="T109" fmla="*/ 21 h 83"/>
                <a:gd name="T110" fmla="*/ 128 w 155"/>
                <a:gd name="T111" fmla="*/ 15 h 83"/>
                <a:gd name="T112" fmla="*/ 141 w 155"/>
                <a:gd name="T113" fmla="*/ 6 h 83"/>
                <a:gd name="T114" fmla="*/ 131 w 155"/>
                <a:gd name="T115" fmla="*/ 11 h 83"/>
                <a:gd name="T116" fmla="*/ 132 w 155"/>
                <a:gd name="T117" fmla="*/ 13 h 83"/>
                <a:gd name="T118" fmla="*/ 141 w 155"/>
                <a:gd name="T119" fmla="*/ 6 h 83"/>
                <a:gd name="T120" fmla="*/ 154 w 155"/>
                <a:gd name="T121" fmla="*/ 0 h 83"/>
                <a:gd name="T122" fmla="*/ 147 w 155"/>
                <a:gd name="T123" fmla="*/ 6 h 83"/>
                <a:gd name="T124" fmla="*/ 155 w 155"/>
                <a:gd name="T125" fmla="*/ 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5" h="83">
                  <a:moveTo>
                    <a:pt x="9" y="64"/>
                  </a:moveTo>
                  <a:lnTo>
                    <a:pt x="9" y="64"/>
                  </a:lnTo>
                  <a:lnTo>
                    <a:pt x="2" y="55"/>
                  </a:lnTo>
                  <a:lnTo>
                    <a:pt x="0" y="57"/>
                  </a:lnTo>
                  <a:lnTo>
                    <a:pt x="0" y="57"/>
                  </a:lnTo>
                  <a:lnTo>
                    <a:pt x="6" y="66"/>
                  </a:lnTo>
                  <a:lnTo>
                    <a:pt x="9" y="64"/>
                  </a:lnTo>
                  <a:close/>
                  <a:moveTo>
                    <a:pt x="16" y="76"/>
                  </a:moveTo>
                  <a:lnTo>
                    <a:pt x="16" y="76"/>
                  </a:lnTo>
                  <a:lnTo>
                    <a:pt x="16" y="76"/>
                  </a:lnTo>
                  <a:lnTo>
                    <a:pt x="12" y="68"/>
                  </a:lnTo>
                  <a:lnTo>
                    <a:pt x="9" y="68"/>
                  </a:lnTo>
                  <a:lnTo>
                    <a:pt x="9" y="68"/>
                  </a:lnTo>
                  <a:lnTo>
                    <a:pt x="13" y="77"/>
                  </a:lnTo>
                  <a:lnTo>
                    <a:pt x="13" y="77"/>
                  </a:lnTo>
                  <a:lnTo>
                    <a:pt x="15" y="79"/>
                  </a:lnTo>
                  <a:lnTo>
                    <a:pt x="16" y="76"/>
                  </a:lnTo>
                  <a:close/>
                  <a:moveTo>
                    <a:pt x="29" y="80"/>
                  </a:moveTo>
                  <a:lnTo>
                    <a:pt x="29" y="80"/>
                  </a:lnTo>
                  <a:lnTo>
                    <a:pt x="25" y="80"/>
                  </a:lnTo>
                  <a:lnTo>
                    <a:pt x="21" y="79"/>
                  </a:lnTo>
                  <a:lnTo>
                    <a:pt x="19" y="82"/>
                  </a:lnTo>
                  <a:lnTo>
                    <a:pt x="19" y="82"/>
                  </a:lnTo>
                  <a:lnTo>
                    <a:pt x="25" y="83"/>
                  </a:lnTo>
                  <a:lnTo>
                    <a:pt x="29" y="83"/>
                  </a:lnTo>
                  <a:lnTo>
                    <a:pt x="29" y="80"/>
                  </a:lnTo>
                  <a:lnTo>
                    <a:pt x="29" y="80"/>
                  </a:lnTo>
                  <a:close/>
                  <a:moveTo>
                    <a:pt x="41" y="73"/>
                  </a:moveTo>
                  <a:lnTo>
                    <a:pt x="41" y="73"/>
                  </a:lnTo>
                  <a:lnTo>
                    <a:pt x="34" y="80"/>
                  </a:lnTo>
                  <a:lnTo>
                    <a:pt x="35" y="82"/>
                  </a:lnTo>
                  <a:lnTo>
                    <a:pt x="35" y="82"/>
                  </a:lnTo>
                  <a:lnTo>
                    <a:pt x="39" y="79"/>
                  </a:lnTo>
                  <a:lnTo>
                    <a:pt x="42" y="74"/>
                  </a:lnTo>
                  <a:lnTo>
                    <a:pt x="41" y="73"/>
                  </a:lnTo>
                  <a:close/>
                  <a:moveTo>
                    <a:pt x="50" y="60"/>
                  </a:moveTo>
                  <a:lnTo>
                    <a:pt x="50" y="60"/>
                  </a:lnTo>
                  <a:lnTo>
                    <a:pt x="44" y="68"/>
                  </a:lnTo>
                  <a:lnTo>
                    <a:pt x="45" y="70"/>
                  </a:lnTo>
                  <a:lnTo>
                    <a:pt x="45" y="70"/>
                  </a:lnTo>
                  <a:lnTo>
                    <a:pt x="51" y="61"/>
                  </a:lnTo>
                  <a:lnTo>
                    <a:pt x="50" y="60"/>
                  </a:lnTo>
                  <a:close/>
                  <a:moveTo>
                    <a:pt x="64" y="58"/>
                  </a:moveTo>
                  <a:lnTo>
                    <a:pt x="64" y="58"/>
                  </a:lnTo>
                  <a:lnTo>
                    <a:pt x="61" y="57"/>
                  </a:lnTo>
                  <a:lnTo>
                    <a:pt x="57" y="55"/>
                  </a:lnTo>
                  <a:lnTo>
                    <a:pt x="57" y="55"/>
                  </a:lnTo>
                  <a:lnTo>
                    <a:pt x="55" y="55"/>
                  </a:lnTo>
                  <a:lnTo>
                    <a:pt x="55" y="55"/>
                  </a:lnTo>
                  <a:lnTo>
                    <a:pt x="53" y="57"/>
                  </a:lnTo>
                  <a:lnTo>
                    <a:pt x="54" y="58"/>
                  </a:lnTo>
                  <a:lnTo>
                    <a:pt x="54" y="58"/>
                  </a:lnTo>
                  <a:lnTo>
                    <a:pt x="55" y="58"/>
                  </a:lnTo>
                  <a:lnTo>
                    <a:pt x="57" y="57"/>
                  </a:lnTo>
                  <a:lnTo>
                    <a:pt x="57" y="57"/>
                  </a:lnTo>
                  <a:lnTo>
                    <a:pt x="60" y="58"/>
                  </a:lnTo>
                  <a:lnTo>
                    <a:pt x="61" y="60"/>
                  </a:lnTo>
                  <a:lnTo>
                    <a:pt x="64" y="58"/>
                  </a:lnTo>
                  <a:close/>
                  <a:moveTo>
                    <a:pt x="76" y="63"/>
                  </a:moveTo>
                  <a:lnTo>
                    <a:pt x="76" y="63"/>
                  </a:lnTo>
                  <a:lnTo>
                    <a:pt x="76" y="63"/>
                  </a:lnTo>
                  <a:lnTo>
                    <a:pt x="67" y="61"/>
                  </a:lnTo>
                  <a:lnTo>
                    <a:pt x="66" y="64"/>
                  </a:lnTo>
                  <a:lnTo>
                    <a:pt x="66" y="64"/>
                  </a:lnTo>
                  <a:lnTo>
                    <a:pt x="76" y="66"/>
                  </a:lnTo>
                  <a:lnTo>
                    <a:pt x="76" y="66"/>
                  </a:lnTo>
                  <a:lnTo>
                    <a:pt x="76" y="63"/>
                  </a:lnTo>
                  <a:close/>
                  <a:moveTo>
                    <a:pt x="90" y="61"/>
                  </a:moveTo>
                  <a:lnTo>
                    <a:pt x="90" y="61"/>
                  </a:lnTo>
                  <a:lnTo>
                    <a:pt x="90" y="61"/>
                  </a:lnTo>
                  <a:lnTo>
                    <a:pt x="90" y="61"/>
                  </a:lnTo>
                  <a:lnTo>
                    <a:pt x="90" y="61"/>
                  </a:lnTo>
                  <a:lnTo>
                    <a:pt x="90" y="61"/>
                  </a:lnTo>
                  <a:lnTo>
                    <a:pt x="90" y="61"/>
                  </a:lnTo>
                  <a:lnTo>
                    <a:pt x="90" y="61"/>
                  </a:lnTo>
                  <a:lnTo>
                    <a:pt x="87" y="63"/>
                  </a:lnTo>
                  <a:lnTo>
                    <a:pt x="87" y="63"/>
                  </a:lnTo>
                  <a:lnTo>
                    <a:pt x="81" y="63"/>
                  </a:lnTo>
                  <a:lnTo>
                    <a:pt x="81" y="66"/>
                  </a:lnTo>
                  <a:lnTo>
                    <a:pt x="81" y="66"/>
                  </a:lnTo>
                  <a:lnTo>
                    <a:pt x="87" y="64"/>
                  </a:lnTo>
                  <a:lnTo>
                    <a:pt x="87" y="64"/>
                  </a:lnTo>
                  <a:lnTo>
                    <a:pt x="92" y="64"/>
                  </a:lnTo>
                  <a:lnTo>
                    <a:pt x="92" y="63"/>
                  </a:lnTo>
                  <a:lnTo>
                    <a:pt x="90" y="61"/>
                  </a:lnTo>
                  <a:close/>
                  <a:moveTo>
                    <a:pt x="99" y="48"/>
                  </a:moveTo>
                  <a:lnTo>
                    <a:pt x="99" y="48"/>
                  </a:lnTo>
                  <a:lnTo>
                    <a:pt x="93" y="57"/>
                  </a:lnTo>
                  <a:lnTo>
                    <a:pt x="96" y="58"/>
                  </a:lnTo>
                  <a:lnTo>
                    <a:pt x="96" y="58"/>
                  </a:lnTo>
                  <a:lnTo>
                    <a:pt x="100" y="50"/>
                  </a:lnTo>
                  <a:lnTo>
                    <a:pt x="99" y="48"/>
                  </a:lnTo>
                  <a:close/>
                  <a:moveTo>
                    <a:pt x="106" y="35"/>
                  </a:moveTo>
                  <a:lnTo>
                    <a:pt x="106" y="35"/>
                  </a:lnTo>
                  <a:lnTo>
                    <a:pt x="102" y="44"/>
                  </a:lnTo>
                  <a:lnTo>
                    <a:pt x="103" y="45"/>
                  </a:lnTo>
                  <a:lnTo>
                    <a:pt x="103" y="45"/>
                  </a:lnTo>
                  <a:lnTo>
                    <a:pt x="109" y="37"/>
                  </a:lnTo>
                  <a:lnTo>
                    <a:pt x="106" y="35"/>
                  </a:lnTo>
                  <a:close/>
                  <a:moveTo>
                    <a:pt x="115" y="22"/>
                  </a:moveTo>
                  <a:lnTo>
                    <a:pt x="115" y="22"/>
                  </a:lnTo>
                  <a:lnTo>
                    <a:pt x="109" y="31"/>
                  </a:lnTo>
                  <a:lnTo>
                    <a:pt x="110" y="32"/>
                  </a:lnTo>
                  <a:lnTo>
                    <a:pt x="110" y="32"/>
                  </a:lnTo>
                  <a:lnTo>
                    <a:pt x="116" y="24"/>
                  </a:lnTo>
                  <a:lnTo>
                    <a:pt x="115" y="22"/>
                  </a:lnTo>
                  <a:close/>
                  <a:moveTo>
                    <a:pt x="126" y="13"/>
                  </a:moveTo>
                  <a:lnTo>
                    <a:pt x="126" y="13"/>
                  </a:lnTo>
                  <a:lnTo>
                    <a:pt x="118" y="19"/>
                  </a:lnTo>
                  <a:lnTo>
                    <a:pt x="119" y="21"/>
                  </a:lnTo>
                  <a:lnTo>
                    <a:pt x="119" y="21"/>
                  </a:lnTo>
                  <a:lnTo>
                    <a:pt x="128" y="15"/>
                  </a:lnTo>
                  <a:lnTo>
                    <a:pt x="126" y="13"/>
                  </a:lnTo>
                  <a:close/>
                  <a:moveTo>
                    <a:pt x="141" y="6"/>
                  </a:moveTo>
                  <a:lnTo>
                    <a:pt x="141" y="6"/>
                  </a:lnTo>
                  <a:lnTo>
                    <a:pt x="131" y="11"/>
                  </a:lnTo>
                  <a:lnTo>
                    <a:pt x="132" y="13"/>
                  </a:lnTo>
                  <a:lnTo>
                    <a:pt x="132" y="13"/>
                  </a:lnTo>
                  <a:lnTo>
                    <a:pt x="142" y="9"/>
                  </a:lnTo>
                  <a:lnTo>
                    <a:pt x="141" y="6"/>
                  </a:lnTo>
                  <a:close/>
                  <a:moveTo>
                    <a:pt x="154" y="0"/>
                  </a:moveTo>
                  <a:lnTo>
                    <a:pt x="154" y="0"/>
                  </a:lnTo>
                  <a:lnTo>
                    <a:pt x="145" y="5"/>
                  </a:lnTo>
                  <a:lnTo>
                    <a:pt x="147" y="6"/>
                  </a:lnTo>
                  <a:lnTo>
                    <a:pt x="147" y="6"/>
                  </a:lnTo>
                  <a:lnTo>
                    <a:pt x="155" y="2"/>
                  </a:lnTo>
                  <a:lnTo>
                    <a:pt x="1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62" name="Freeform 1587"/>
            <p:cNvSpPr>
              <a:spLocks noEditPoints="1"/>
            </p:cNvSpPr>
            <p:nvPr/>
          </p:nvSpPr>
          <p:spPr bwMode="auto">
            <a:xfrm>
              <a:off x="5116513" y="4977242"/>
              <a:ext cx="238125" cy="93663"/>
            </a:xfrm>
            <a:custGeom>
              <a:avLst/>
              <a:gdLst>
                <a:gd name="T0" fmla="*/ 150 w 150"/>
                <a:gd name="T1" fmla="*/ 36 h 59"/>
                <a:gd name="T2" fmla="*/ 141 w 150"/>
                <a:gd name="T3" fmla="*/ 39 h 59"/>
                <a:gd name="T4" fmla="*/ 128 w 150"/>
                <a:gd name="T5" fmla="*/ 47 h 59"/>
                <a:gd name="T6" fmla="*/ 137 w 150"/>
                <a:gd name="T7" fmla="*/ 42 h 59"/>
                <a:gd name="T8" fmla="*/ 114 w 150"/>
                <a:gd name="T9" fmla="*/ 49 h 59"/>
                <a:gd name="T10" fmla="*/ 118 w 150"/>
                <a:gd name="T11" fmla="*/ 47 h 59"/>
                <a:gd name="T12" fmla="*/ 120 w 150"/>
                <a:gd name="T13" fmla="*/ 47 h 59"/>
                <a:gd name="T14" fmla="*/ 123 w 150"/>
                <a:gd name="T15" fmla="*/ 44 h 59"/>
                <a:gd name="T16" fmla="*/ 120 w 150"/>
                <a:gd name="T17" fmla="*/ 44 h 59"/>
                <a:gd name="T18" fmla="*/ 117 w 150"/>
                <a:gd name="T19" fmla="*/ 44 h 59"/>
                <a:gd name="T20" fmla="*/ 112 w 150"/>
                <a:gd name="T21" fmla="*/ 47 h 59"/>
                <a:gd name="T22" fmla="*/ 104 w 150"/>
                <a:gd name="T23" fmla="*/ 56 h 59"/>
                <a:gd name="T24" fmla="*/ 110 w 150"/>
                <a:gd name="T25" fmla="*/ 56 h 59"/>
                <a:gd name="T26" fmla="*/ 111 w 150"/>
                <a:gd name="T27" fmla="*/ 52 h 59"/>
                <a:gd name="T28" fmla="*/ 110 w 150"/>
                <a:gd name="T29" fmla="*/ 55 h 59"/>
                <a:gd name="T30" fmla="*/ 104 w 150"/>
                <a:gd name="T31" fmla="*/ 55 h 59"/>
                <a:gd name="T32" fmla="*/ 88 w 150"/>
                <a:gd name="T33" fmla="*/ 57 h 59"/>
                <a:gd name="T34" fmla="*/ 97 w 150"/>
                <a:gd name="T35" fmla="*/ 59 h 59"/>
                <a:gd name="T36" fmla="*/ 98 w 150"/>
                <a:gd name="T37" fmla="*/ 55 h 59"/>
                <a:gd name="T38" fmla="*/ 97 w 150"/>
                <a:gd name="T39" fmla="*/ 56 h 59"/>
                <a:gd name="T40" fmla="*/ 89 w 150"/>
                <a:gd name="T41" fmla="*/ 56 h 59"/>
                <a:gd name="T42" fmla="*/ 75 w 150"/>
                <a:gd name="T43" fmla="*/ 53 h 59"/>
                <a:gd name="T44" fmla="*/ 81 w 150"/>
                <a:gd name="T45" fmla="*/ 55 h 59"/>
                <a:gd name="T46" fmla="*/ 85 w 150"/>
                <a:gd name="T47" fmla="*/ 53 h 59"/>
                <a:gd name="T48" fmla="*/ 82 w 150"/>
                <a:gd name="T49" fmla="*/ 52 h 59"/>
                <a:gd name="T50" fmla="*/ 75 w 150"/>
                <a:gd name="T51" fmla="*/ 52 h 59"/>
                <a:gd name="T52" fmla="*/ 60 w 150"/>
                <a:gd name="T53" fmla="*/ 55 h 59"/>
                <a:gd name="T54" fmla="*/ 70 w 150"/>
                <a:gd name="T55" fmla="*/ 55 h 59"/>
                <a:gd name="T56" fmla="*/ 63 w 150"/>
                <a:gd name="T57" fmla="*/ 52 h 59"/>
                <a:gd name="T58" fmla="*/ 60 w 150"/>
                <a:gd name="T59" fmla="*/ 55 h 59"/>
                <a:gd name="T60" fmla="*/ 50 w 150"/>
                <a:gd name="T61" fmla="*/ 50 h 59"/>
                <a:gd name="T62" fmla="*/ 55 w 150"/>
                <a:gd name="T63" fmla="*/ 53 h 59"/>
                <a:gd name="T64" fmla="*/ 53 w 150"/>
                <a:gd name="T65" fmla="*/ 49 h 59"/>
                <a:gd name="T66" fmla="*/ 49 w 150"/>
                <a:gd name="T67" fmla="*/ 44 h 59"/>
                <a:gd name="T68" fmla="*/ 47 w 150"/>
                <a:gd name="T69" fmla="*/ 39 h 59"/>
                <a:gd name="T70" fmla="*/ 50 w 150"/>
                <a:gd name="T71" fmla="*/ 29 h 59"/>
                <a:gd name="T72" fmla="*/ 40 w 150"/>
                <a:gd name="T73" fmla="*/ 24 h 59"/>
                <a:gd name="T74" fmla="*/ 46 w 150"/>
                <a:gd name="T75" fmla="*/ 23 h 59"/>
                <a:gd name="T76" fmla="*/ 47 w 150"/>
                <a:gd name="T77" fmla="*/ 24 h 59"/>
                <a:gd name="T78" fmla="*/ 49 w 150"/>
                <a:gd name="T79" fmla="*/ 21 h 59"/>
                <a:gd name="T80" fmla="*/ 46 w 150"/>
                <a:gd name="T81" fmla="*/ 20 h 59"/>
                <a:gd name="T82" fmla="*/ 40 w 150"/>
                <a:gd name="T83" fmla="*/ 21 h 59"/>
                <a:gd name="T84" fmla="*/ 26 w 150"/>
                <a:gd name="T85" fmla="*/ 17 h 59"/>
                <a:gd name="T86" fmla="*/ 36 w 150"/>
                <a:gd name="T87" fmla="*/ 20 h 59"/>
                <a:gd name="T88" fmla="*/ 13 w 150"/>
                <a:gd name="T89" fmla="*/ 8 h 59"/>
                <a:gd name="T90" fmla="*/ 23 w 150"/>
                <a:gd name="T91" fmla="*/ 13 h 59"/>
                <a:gd name="T92" fmla="*/ 13 w 150"/>
                <a:gd name="T93" fmla="*/ 8 h 59"/>
                <a:gd name="T94" fmla="*/ 5 w 150"/>
                <a:gd name="T95" fmla="*/ 4 h 59"/>
                <a:gd name="T96" fmla="*/ 10 w 150"/>
                <a:gd name="T97" fmla="*/ 4 h 59"/>
                <a:gd name="T98" fmla="*/ 7 w 150"/>
                <a:gd name="T99" fmla="*/ 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0" h="59">
                  <a:moveTo>
                    <a:pt x="143" y="42"/>
                  </a:moveTo>
                  <a:lnTo>
                    <a:pt x="143" y="42"/>
                  </a:lnTo>
                  <a:lnTo>
                    <a:pt x="150" y="36"/>
                  </a:lnTo>
                  <a:lnTo>
                    <a:pt x="149" y="33"/>
                  </a:lnTo>
                  <a:lnTo>
                    <a:pt x="149" y="33"/>
                  </a:lnTo>
                  <a:lnTo>
                    <a:pt x="141" y="39"/>
                  </a:lnTo>
                  <a:lnTo>
                    <a:pt x="143" y="42"/>
                  </a:lnTo>
                  <a:close/>
                  <a:moveTo>
                    <a:pt x="128" y="47"/>
                  </a:moveTo>
                  <a:lnTo>
                    <a:pt x="128" y="47"/>
                  </a:lnTo>
                  <a:lnTo>
                    <a:pt x="139" y="43"/>
                  </a:lnTo>
                  <a:lnTo>
                    <a:pt x="137" y="42"/>
                  </a:lnTo>
                  <a:lnTo>
                    <a:pt x="137" y="42"/>
                  </a:lnTo>
                  <a:lnTo>
                    <a:pt x="128" y="44"/>
                  </a:lnTo>
                  <a:lnTo>
                    <a:pt x="128" y="47"/>
                  </a:lnTo>
                  <a:close/>
                  <a:moveTo>
                    <a:pt x="114" y="49"/>
                  </a:moveTo>
                  <a:lnTo>
                    <a:pt x="115" y="47"/>
                  </a:lnTo>
                  <a:lnTo>
                    <a:pt x="115" y="47"/>
                  </a:lnTo>
                  <a:lnTo>
                    <a:pt x="118" y="47"/>
                  </a:lnTo>
                  <a:lnTo>
                    <a:pt x="118" y="47"/>
                  </a:lnTo>
                  <a:lnTo>
                    <a:pt x="120" y="47"/>
                  </a:lnTo>
                  <a:lnTo>
                    <a:pt x="120" y="47"/>
                  </a:lnTo>
                  <a:lnTo>
                    <a:pt x="123" y="47"/>
                  </a:lnTo>
                  <a:lnTo>
                    <a:pt x="123" y="47"/>
                  </a:lnTo>
                  <a:lnTo>
                    <a:pt x="123" y="44"/>
                  </a:lnTo>
                  <a:lnTo>
                    <a:pt x="123" y="44"/>
                  </a:lnTo>
                  <a:lnTo>
                    <a:pt x="123" y="44"/>
                  </a:lnTo>
                  <a:lnTo>
                    <a:pt x="120" y="44"/>
                  </a:lnTo>
                  <a:lnTo>
                    <a:pt x="120" y="44"/>
                  </a:lnTo>
                  <a:lnTo>
                    <a:pt x="117" y="44"/>
                  </a:lnTo>
                  <a:lnTo>
                    <a:pt x="117" y="44"/>
                  </a:lnTo>
                  <a:lnTo>
                    <a:pt x="114" y="46"/>
                  </a:lnTo>
                  <a:lnTo>
                    <a:pt x="114" y="46"/>
                  </a:lnTo>
                  <a:lnTo>
                    <a:pt x="112" y="47"/>
                  </a:lnTo>
                  <a:lnTo>
                    <a:pt x="114" y="49"/>
                  </a:lnTo>
                  <a:close/>
                  <a:moveTo>
                    <a:pt x="104" y="56"/>
                  </a:moveTo>
                  <a:lnTo>
                    <a:pt x="104" y="56"/>
                  </a:lnTo>
                  <a:lnTo>
                    <a:pt x="107" y="57"/>
                  </a:lnTo>
                  <a:lnTo>
                    <a:pt x="107" y="57"/>
                  </a:lnTo>
                  <a:lnTo>
                    <a:pt x="110" y="56"/>
                  </a:lnTo>
                  <a:lnTo>
                    <a:pt x="112" y="55"/>
                  </a:lnTo>
                  <a:lnTo>
                    <a:pt x="114" y="53"/>
                  </a:lnTo>
                  <a:lnTo>
                    <a:pt x="111" y="52"/>
                  </a:lnTo>
                  <a:lnTo>
                    <a:pt x="111" y="53"/>
                  </a:lnTo>
                  <a:lnTo>
                    <a:pt x="111" y="53"/>
                  </a:lnTo>
                  <a:lnTo>
                    <a:pt x="110" y="55"/>
                  </a:lnTo>
                  <a:lnTo>
                    <a:pt x="107" y="55"/>
                  </a:lnTo>
                  <a:lnTo>
                    <a:pt x="107" y="55"/>
                  </a:lnTo>
                  <a:lnTo>
                    <a:pt x="104" y="55"/>
                  </a:lnTo>
                  <a:lnTo>
                    <a:pt x="104" y="56"/>
                  </a:lnTo>
                  <a:close/>
                  <a:moveTo>
                    <a:pt x="88" y="57"/>
                  </a:moveTo>
                  <a:lnTo>
                    <a:pt x="88" y="57"/>
                  </a:lnTo>
                  <a:lnTo>
                    <a:pt x="94" y="59"/>
                  </a:lnTo>
                  <a:lnTo>
                    <a:pt x="94" y="59"/>
                  </a:lnTo>
                  <a:lnTo>
                    <a:pt x="97" y="59"/>
                  </a:lnTo>
                  <a:lnTo>
                    <a:pt x="98" y="57"/>
                  </a:lnTo>
                  <a:lnTo>
                    <a:pt x="99" y="57"/>
                  </a:lnTo>
                  <a:lnTo>
                    <a:pt x="98" y="55"/>
                  </a:lnTo>
                  <a:lnTo>
                    <a:pt x="98" y="55"/>
                  </a:lnTo>
                  <a:lnTo>
                    <a:pt x="97" y="56"/>
                  </a:lnTo>
                  <a:lnTo>
                    <a:pt x="97" y="56"/>
                  </a:lnTo>
                  <a:lnTo>
                    <a:pt x="94" y="57"/>
                  </a:lnTo>
                  <a:lnTo>
                    <a:pt x="94" y="57"/>
                  </a:lnTo>
                  <a:lnTo>
                    <a:pt x="89" y="56"/>
                  </a:lnTo>
                  <a:lnTo>
                    <a:pt x="88" y="57"/>
                  </a:lnTo>
                  <a:close/>
                  <a:moveTo>
                    <a:pt x="75" y="53"/>
                  </a:moveTo>
                  <a:lnTo>
                    <a:pt x="75" y="53"/>
                  </a:lnTo>
                  <a:lnTo>
                    <a:pt x="78" y="53"/>
                  </a:lnTo>
                  <a:lnTo>
                    <a:pt x="78" y="53"/>
                  </a:lnTo>
                  <a:lnTo>
                    <a:pt x="81" y="55"/>
                  </a:lnTo>
                  <a:lnTo>
                    <a:pt x="81" y="55"/>
                  </a:lnTo>
                  <a:lnTo>
                    <a:pt x="84" y="56"/>
                  </a:lnTo>
                  <a:lnTo>
                    <a:pt x="85" y="53"/>
                  </a:lnTo>
                  <a:lnTo>
                    <a:pt x="85" y="53"/>
                  </a:lnTo>
                  <a:lnTo>
                    <a:pt x="82" y="52"/>
                  </a:lnTo>
                  <a:lnTo>
                    <a:pt x="82" y="52"/>
                  </a:lnTo>
                  <a:lnTo>
                    <a:pt x="78" y="52"/>
                  </a:lnTo>
                  <a:lnTo>
                    <a:pt x="78" y="52"/>
                  </a:lnTo>
                  <a:lnTo>
                    <a:pt x="75" y="52"/>
                  </a:lnTo>
                  <a:lnTo>
                    <a:pt x="75" y="53"/>
                  </a:lnTo>
                  <a:close/>
                  <a:moveTo>
                    <a:pt x="60" y="55"/>
                  </a:moveTo>
                  <a:lnTo>
                    <a:pt x="60" y="55"/>
                  </a:lnTo>
                  <a:lnTo>
                    <a:pt x="63" y="55"/>
                  </a:lnTo>
                  <a:lnTo>
                    <a:pt x="63" y="55"/>
                  </a:lnTo>
                  <a:lnTo>
                    <a:pt x="70" y="55"/>
                  </a:lnTo>
                  <a:lnTo>
                    <a:pt x="70" y="52"/>
                  </a:lnTo>
                  <a:lnTo>
                    <a:pt x="70" y="52"/>
                  </a:lnTo>
                  <a:lnTo>
                    <a:pt x="63" y="52"/>
                  </a:lnTo>
                  <a:lnTo>
                    <a:pt x="63" y="52"/>
                  </a:lnTo>
                  <a:lnTo>
                    <a:pt x="60" y="52"/>
                  </a:lnTo>
                  <a:lnTo>
                    <a:pt x="60" y="55"/>
                  </a:lnTo>
                  <a:close/>
                  <a:moveTo>
                    <a:pt x="49" y="44"/>
                  </a:moveTo>
                  <a:lnTo>
                    <a:pt x="49" y="44"/>
                  </a:lnTo>
                  <a:lnTo>
                    <a:pt x="50" y="50"/>
                  </a:lnTo>
                  <a:lnTo>
                    <a:pt x="50" y="50"/>
                  </a:lnTo>
                  <a:lnTo>
                    <a:pt x="52" y="52"/>
                  </a:lnTo>
                  <a:lnTo>
                    <a:pt x="55" y="53"/>
                  </a:lnTo>
                  <a:lnTo>
                    <a:pt x="55" y="52"/>
                  </a:lnTo>
                  <a:lnTo>
                    <a:pt x="55" y="52"/>
                  </a:lnTo>
                  <a:lnTo>
                    <a:pt x="53" y="49"/>
                  </a:lnTo>
                  <a:lnTo>
                    <a:pt x="53" y="49"/>
                  </a:lnTo>
                  <a:lnTo>
                    <a:pt x="50" y="44"/>
                  </a:lnTo>
                  <a:lnTo>
                    <a:pt x="49" y="44"/>
                  </a:lnTo>
                  <a:close/>
                  <a:moveTo>
                    <a:pt x="47" y="29"/>
                  </a:moveTo>
                  <a:lnTo>
                    <a:pt x="47" y="29"/>
                  </a:lnTo>
                  <a:lnTo>
                    <a:pt x="47" y="39"/>
                  </a:lnTo>
                  <a:lnTo>
                    <a:pt x="50" y="39"/>
                  </a:lnTo>
                  <a:lnTo>
                    <a:pt x="50" y="39"/>
                  </a:lnTo>
                  <a:lnTo>
                    <a:pt x="50" y="29"/>
                  </a:lnTo>
                  <a:lnTo>
                    <a:pt x="47" y="29"/>
                  </a:lnTo>
                  <a:close/>
                  <a:moveTo>
                    <a:pt x="40" y="24"/>
                  </a:moveTo>
                  <a:lnTo>
                    <a:pt x="40" y="24"/>
                  </a:lnTo>
                  <a:lnTo>
                    <a:pt x="44" y="23"/>
                  </a:lnTo>
                  <a:lnTo>
                    <a:pt x="44" y="23"/>
                  </a:lnTo>
                  <a:lnTo>
                    <a:pt x="46" y="23"/>
                  </a:lnTo>
                  <a:lnTo>
                    <a:pt x="46" y="23"/>
                  </a:lnTo>
                  <a:lnTo>
                    <a:pt x="46" y="23"/>
                  </a:lnTo>
                  <a:lnTo>
                    <a:pt x="47" y="24"/>
                  </a:lnTo>
                  <a:lnTo>
                    <a:pt x="49" y="24"/>
                  </a:lnTo>
                  <a:lnTo>
                    <a:pt x="49" y="24"/>
                  </a:lnTo>
                  <a:lnTo>
                    <a:pt x="49" y="21"/>
                  </a:lnTo>
                  <a:lnTo>
                    <a:pt x="49" y="21"/>
                  </a:lnTo>
                  <a:lnTo>
                    <a:pt x="46" y="20"/>
                  </a:lnTo>
                  <a:lnTo>
                    <a:pt x="46" y="20"/>
                  </a:lnTo>
                  <a:lnTo>
                    <a:pt x="43" y="20"/>
                  </a:lnTo>
                  <a:lnTo>
                    <a:pt x="43" y="20"/>
                  </a:lnTo>
                  <a:lnTo>
                    <a:pt x="40" y="21"/>
                  </a:lnTo>
                  <a:lnTo>
                    <a:pt x="40" y="24"/>
                  </a:lnTo>
                  <a:close/>
                  <a:moveTo>
                    <a:pt x="26" y="17"/>
                  </a:moveTo>
                  <a:lnTo>
                    <a:pt x="26" y="17"/>
                  </a:lnTo>
                  <a:lnTo>
                    <a:pt x="34" y="23"/>
                  </a:lnTo>
                  <a:lnTo>
                    <a:pt x="36" y="20"/>
                  </a:lnTo>
                  <a:lnTo>
                    <a:pt x="36" y="20"/>
                  </a:lnTo>
                  <a:lnTo>
                    <a:pt x="27" y="15"/>
                  </a:lnTo>
                  <a:lnTo>
                    <a:pt x="26" y="17"/>
                  </a:lnTo>
                  <a:close/>
                  <a:moveTo>
                    <a:pt x="13" y="8"/>
                  </a:moveTo>
                  <a:lnTo>
                    <a:pt x="13" y="8"/>
                  </a:lnTo>
                  <a:lnTo>
                    <a:pt x="21" y="14"/>
                  </a:lnTo>
                  <a:lnTo>
                    <a:pt x="23" y="13"/>
                  </a:lnTo>
                  <a:lnTo>
                    <a:pt x="23" y="13"/>
                  </a:lnTo>
                  <a:lnTo>
                    <a:pt x="14" y="7"/>
                  </a:lnTo>
                  <a:lnTo>
                    <a:pt x="13" y="8"/>
                  </a:lnTo>
                  <a:close/>
                  <a:moveTo>
                    <a:pt x="0" y="2"/>
                  </a:moveTo>
                  <a:lnTo>
                    <a:pt x="0" y="2"/>
                  </a:lnTo>
                  <a:lnTo>
                    <a:pt x="5" y="4"/>
                  </a:lnTo>
                  <a:lnTo>
                    <a:pt x="5" y="4"/>
                  </a:lnTo>
                  <a:lnTo>
                    <a:pt x="8" y="5"/>
                  </a:lnTo>
                  <a:lnTo>
                    <a:pt x="10" y="4"/>
                  </a:lnTo>
                  <a:lnTo>
                    <a:pt x="10" y="4"/>
                  </a:lnTo>
                  <a:lnTo>
                    <a:pt x="7" y="2"/>
                  </a:lnTo>
                  <a:lnTo>
                    <a:pt x="7" y="2"/>
                  </a:lnTo>
                  <a:lnTo>
                    <a:pt x="0" y="0"/>
                  </a:lnTo>
                  <a:lnTo>
                    <a:pt x="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63" name="Freeform 1588"/>
            <p:cNvSpPr>
              <a:spLocks noEditPoints="1"/>
            </p:cNvSpPr>
            <p:nvPr/>
          </p:nvSpPr>
          <p:spPr bwMode="auto">
            <a:xfrm>
              <a:off x="4929188" y="4974067"/>
              <a:ext cx="173038" cy="139700"/>
            </a:xfrm>
            <a:custGeom>
              <a:avLst/>
              <a:gdLst>
                <a:gd name="T0" fmla="*/ 102 w 109"/>
                <a:gd name="T1" fmla="*/ 3 h 88"/>
                <a:gd name="T2" fmla="*/ 109 w 109"/>
                <a:gd name="T3" fmla="*/ 2 h 88"/>
                <a:gd name="T4" fmla="*/ 102 w 109"/>
                <a:gd name="T5" fmla="*/ 0 h 88"/>
                <a:gd name="T6" fmla="*/ 86 w 109"/>
                <a:gd name="T7" fmla="*/ 7 h 88"/>
                <a:gd name="T8" fmla="*/ 87 w 109"/>
                <a:gd name="T9" fmla="*/ 6 h 88"/>
                <a:gd name="T10" fmla="*/ 93 w 109"/>
                <a:gd name="T11" fmla="*/ 2 h 88"/>
                <a:gd name="T12" fmla="*/ 86 w 109"/>
                <a:gd name="T13" fmla="*/ 4 h 88"/>
                <a:gd name="T14" fmla="*/ 78 w 109"/>
                <a:gd name="T15" fmla="*/ 20 h 88"/>
                <a:gd name="T16" fmla="*/ 80 w 109"/>
                <a:gd name="T17" fmla="*/ 10 h 88"/>
                <a:gd name="T18" fmla="*/ 78 w 109"/>
                <a:gd name="T19" fmla="*/ 20 h 88"/>
                <a:gd name="T20" fmla="*/ 76 w 109"/>
                <a:gd name="T21" fmla="*/ 29 h 88"/>
                <a:gd name="T22" fmla="*/ 74 w 109"/>
                <a:gd name="T23" fmla="*/ 25 h 88"/>
                <a:gd name="T24" fmla="*/ 74 w 109"/>
                <a:gd name="T25" fmla="*/ 29 h 88"/>
                <a:gd name="T26" fmla="*/ 73 w 109"/>
                <a:gd name="T27" fmla="*/ 49 h 88"/>
                <a:gd name="T28" fmla="*/ 71 w 109"/>
                <a:gd name="T29" fmla="*/ 46 h 88"/>
                <a:gd name="T30" fmla="*/ 71 w 109"/>
                <a:gd name="T31" fmla="*/ 39 h 88"/>
                <a:gd name="T32" fmla="*/ 70 w 109"/>
                <a:gd name="T33" fmla="*/ 46 h 88"/>
                <a:gd name="T34" fmla="*/ 70 w 109"/>
                <a:gd name="T35" fmla="*/ 51 h 88"/>
                <a:gd name="T36" fmla="*/ 80 w 109"/>
                <a:gd name="T37" fmla="*/ 61 h 88"/>
                <a:gd name="T38" fmla="*/ 73 w 109"/>
                <a:gd name="T39" fmla="*/ 55 h 88"/>
                <a:gd name="T40" fmla="*/ 91 w 109"/>
                <a:gd name="T41" fmla="*/ 71 h 88"/>
                <a:gd name="T42" fmla="*/ 84 w 109"/>
                <a:gd name="T43" fmla="*/ 65 h 88"/>
                <a:gd name="T44" fmla="*/ 90 w 109"/>
                <a:gd name="T45" fmla="*/ 73 h 88"/>
                <a:gd name="T46" fmla="*/ 104 w 109"/>
                <a:gd name="T47" fmla="*/ 74 h 88"/>
                <a:gd name="T48" fmla="*/ 103 w 109"/>
                <a:gd name="T49" fmla="*/ 70 h 88"/>
                <a:gd name="T50" fmla="*/ 100 w 109"/>
                <a:gd name="T51" fmla="*/ 68 h 88"/>
                <a:gd name="T52" fmla="*/ 96 w 109"/>
                <a:gd name="T53" fmla="*/ 71 h 88"/>
                <a:gd name="T54" fmla="*/ 99 w 109"/>
                <a:gd name="T55" fmla="*/ 73 h 88"/>
                <a:gd name="T56" fmla="*/ 100 w 109"/>
                <a:gd name="T57" fmla="*/ 71 h 88"/>
                <a:gd name="T58" fmla="*/ 102 w 109"/>
                <a:gd name="T59" fmla="*/ 73 h 88"/>
                <a:gd name="T60" fmla="*/ 94 w 109"/>
                <a:gd name="T61" fmla="*/ 87 h 88"/>
                <a:gd name="T62" fmla="*/ 102 w 109"/>
                <a:gd name="T63" fmla="*/ 80 h 88"/>
                <a:gd name="T64" fmla="*/ 97 w 109"/>
                <a:gd name="T65" fmla="*/ 83 h 88"/>
                <a:gd name="T66" fmla="*/ 78 w 109"/>
                <a:gd name="T67" fmla="*/ 86 h 88"/>
                <a:gd name="T68" fmla="*/ 89 w 109"/>
                <a:gd name="T69" fmla="*/ 88 h 88"/>
                <a:gd name="T70" fmla="*/ 89 w 109"/>
                <a:gd name="T71" fmla="*/ 86 h 88"/>
                <a:gd name="T72" fmla="*/ 80 w 109"/>
                <a:gd name="T73" fmla="*/ 83 h 88"/>
                <a:gd name="T74" fmla="*/ 70 w 109"/>
                <a:gd name="T75" fmla="*/ 74 h 88"/>
                <a:gd name="T76" fmla="*/ 77 w 109"/>
                <a:gd name="T77" fmla="*/ 80 h 88"/>
                <a:gd name="T78" fmla="*/ 74 w 109"/>
                <a:gd name="T79" fmla="*/ 75 h 88"/>
                <a:gd name="T80" fmla="*/ 57 w 109"/>
                <a:gd name="T81" fmla="*/ 65 h 88"/>
                <a:gd name="T82" fmla="*/ 67 w 109"/>
                <a:gd name="T83" fmla="*/ 68 h 88"/>
                <a:gd name="T84" fmla="*/ 57 w 109"/>
                <a:gd name="T85" fmla="*/ 65 h 88"/>
                <a:gd name="T86" fmla="*/ 52 w 109"/>
                <a:gd name="T87" fmla="*/ 64 h 88"/>
                <a:gd name="T88" fmla="*/ 44 w 109"/>
                <a:gd name="T89" fmla="*/ 58 h 88"/>
                <a:gd name="T90" fmla="*/ 28 w 109"/>
                <a:gd name="T91" fmla="*/ 55 h 88"/>
                <a:gd name="T92" fmla="*/ 39 w 109"/>
                <a:gd name="T93" fmla="*/ 57 h 88"/>
                <a:gd name="T94" fmla="*/ 15 w 109"/>
                <a:gd name="T95" fmla="*/ 55 h 88"/>
                <a:gd name="T96" fmla="*/ 22 w 109"/>
                <a:gd name="T97" fmla="*/ 54 h 88"/>
                <a:gd name="T98" fmla="*/ 25 w 109"/>
                <a:gd name="T99" fmla="*/ 51 h 88"/>
                <a:gd name="T100" fmla="*/ 18 w 109"/>
                <a:gd name="T101" fmla="*/ 51 h 88"/>
                <a:gd name="T102" fmla="*/ 0 w 109"/>
                <a:gd name="T103" fmla="*/ 48 h 88"/>
                <a:gd name="T104" fmla="*/ 3 w 109"/>
                <a:gd name="T105" fmla="*/ 49 h 88"/>
                <a:gd name="T106" fmla="*/ 10 w 109"/>
                <a:gd name="T107" fmla="*/ 5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9" h="88">
                  <a:moveTo>
                    <a:pt x="99" y="3"/>
                  </a:moveTo>
                  <a:lnTo>
                    <a:pt x="99" y="3"/>
                  </a:lnTo>
                  <a:lnTo>
                    <a:pt x="102" y="3"/>
                  </a:lnTo>
                  <a:lnTo>
                    <a:pt x="102" y="3"/>
                  </a:lnTo>
                  <a:lnTo>
                    <a:pt x="107" y="3"/>
                  </a:lnTo>
                  <a:lnTo>
                    <a:pt x="109" y="2"/>
                  </a:lnTo>
                  <a:lnTo>
                    <a:pt x="109" y="2"/>
                  </a:lnTo>
                  <a:lnTo>
                    <a:pt x="102" y="0"/>
                  </a:lnTo>
                  <a:lnTo>
                    <a:pt x="102" y="0"/>
                  </a:lnTo>
                  <a:lnTo>
                    <a:pt x="97" y="0"/>
                  </a:lnTo>
                  <a:lnTo>
                    <a:pt x="99" y="3"/>
                  </a:lnTo>
                  <a:close/>
                  <a:moveTo>
                    <a:pt x="86" y="7"/>
                  </a:moveTo>
                  <a:lnTo>
                    <a:pt x="86" y="7"/>
                  </a:lnTo>
                  <a:lnTo>
                    <a:pt x="87" y="6"/>
                  </a:lnTo>
                  <a:lnTo>
                    <a:pt x="87" y="6"/>
                  </a:lnTo>
                  <a:lnTo>
                    <a:pt x="93" y="4"/>
                  </a:lnTo>
                  <a:lnTo>
                    <a:pt x="93" y="2"/>
                  </a:lnTo>
                  <a:lnTo>
                    <a:pt x="93" y="2"/>
                  </a:lnTo>
                  <a:lnTo>
                    <a:pt x="89" y="3"/>
                  </a:lnTo>
                  <a:lnTo>
                    <a:pt x="86" y="4"/>
                  </a:lnTo>
                  <a:lnTo>
                    <a:pt x="86" y="4"/>
                  </a:lnTo>
                  <a:lnTo>
                    <a:pt x="83" y="6"/>
                  </a:lnTo>
                  <a:lnTo>
                    <a:pt x="86" y="7"/>
                  </a:lnTo>
                  <a:close/>
                  <a:moveTo>
                    <a:pt x="78" y="20"/>
                  </a:moveTo>
                  <a:lnTo>
                    <a:pt x="78" y="20"/>
                  </a:lnTo>
                  <a:lnTo>
                    <a:pt x="83" y="12"/>
                  </a:lnTo>
                  <a:lnTo>
                    <a:pt x="80" y="10"/>
                  </a:lnTo>
                  <a:lnTo>
                    <a:pt x="80" y="10"/>
                  </a:lnTo>
                  <a:lnTo>
                    <a:pt x="76" y="20"/>
                  </a:lnTo>
                  <a:lnTo>
                    <a:pt x="78" y="20"/>
                  </a:lnTo>
                  <a:close/>
                  <a:moveTo>
                    <a:pt x="76" y="35"/>
                  </a:moveTo>
                  <a:lnTo>
                    <a:pt x="76" y="35"/>
                  </a:lnTo>
                  <a:lnTo>
                    <a:pt x="76" y="29"/>
                  </a:lnTo>
                  <a:lnTo>
                    <a:pt x="76" y="29"/>
                  </a:lnTo>
                  <a:lnTo>
                    <a:pt x="77" y="26"/>
                  </a:lnTo>
                  <a:lnTo>
                    <a:pt x="74" y="25"/>
                  </a:lnTo>
                  <a:lnTo>
                    <a:pt x="74" y="25"/>
                  </a:lnTo>
                  <a:lnTo>
                    <a:pt x="74" y="29"/>
                  </a:lnTo>
                  <a:lnTo>
                    <a:pt x="74" y="29"/>
                  </a:lnTo>
                  <a:lnTo>
                    <a:pt x="73" y="35"/>
                  </a:lnTo>
                  <a:lnTo>
                    <a:pt x="76" y="35"/>
                  </a:lnTo>
                  <a:close/>
                  <a:moveTo>
                    <a:pt x="73" y="49"/>
                  </a:moveTo>
                  <a:lnTo>
                    <a:pt x="73" y="49"/>
                  </a:lnTo>
                  <a:lnTo>
                    <a:pt x="71" y="48"/>
                  </a:lnTo>
                  <a:lnTo>
                    <a:pt x="71" y="46"/>
                  </a:lnTo>
                  <a:lnTo>
                    <a:pt x="71" y="46"/>
                  </a:lnTo>
                  <a:lnTo>
                    <a:pt x="74" y="41"/>
                  </a:lnTo>
                  <a:lnTo>
                    <a:pt x="71" y="39"/>
                  </a:lnTo>
                  <a:lnTo>
                    <a:pt x="71" y="39"/>
                  </a:lnTo>
                  <a:lnTo>
                    <a:pt x="70" y="46"/>
                  </a:lnTo>
                  <a:lnTo>
                    <a:pt x="70" y="46"/>
                  </a:lnTo>
                  <a:lnTo>
                    <a:pt x="70" y="48"/>
                  </a:lnTo>
                  <a:lnTo>
                    <a:pt x="70" y="48"/>
                  </a:lnTo>
                  <a:lnTo>
                    <a:pt x="70" y="51"/>
                  </a:lnTo>
                  <a:lnTo>
                    <a:pt x="73" y="49"/>
                  </a:lnTo>
                  <a:close/>
                  <a:moveTo>
                    <a:pt x="80" y="61"/>
                  </a:moveTo>
                  <a:lnTo>
                    <a:pt x="80" y="61"/>
                  </a:lnTo>
                  <a:lnTo>
                    <a:pt x="74" y="54"/>
                  </a:lnTo>
                  <a:lnTo>
                    <a:pt x="73" y="55"/>
                  </a:lnTo>
                  <a:lnTo>
                    <a:pt x="73" y="55"/>
                  </a:lnTo>
                  <a:lnTo>
                    <a:pt x="78" y="64"/>
                  </a:lnTo>
                  <a:lnTo>
                    <a:pt x="80" y="61"/>
                  </a:lnTo>
                  <a:close/>
                  <a:moveTo>
                    <a:pt x="91" y="71"/>
                  </a:moveTo>
                  <a:lnTo>
                    <a:pt x="91" y="71"/>
                  </a:lnTo>
                  <a:lnTo>
                    <a:pt x="91" y="71"/>
                  </a:lnTo>
                  <a:lnTo>
                    <a:pt x="84" y="65"/>
                  </a:lnTo>
                  <a:lnTo>
                    <a:pt x="83" y="67"/>
                  </a:lnTo>
                  <a:lnTo>
                    <a:pt x="83" y="67"/>
                  </a:lnTo>
                  <a:lnTo>
                    <a:pt x="90" y="73"/>
                  </a:lnTo>
                  <a:lnTo>
                    <a:pt x="90" y="73"/>
                  </a:lnTo>
                  <a:lnTo>
                    <a:pt x="91" y="71"/>
                  </a:lnTo>
                  <a:close/>
                  <a:moveTo>
                    <a:pt x="104" y="74"/>
                  </a:moveTo>
                  <a:lnTo>
                    <a:pt x="104" y="73"/>
                  </a:lnTo>
                  <a:lnTo>
                    <a:pt x="104" y="73"/>
                  </a:lnTo>
                  <a:lnTo>
                    <a:pt x="103" y="70"/>
                  </a:lnTo>
                  <a:lnTo>
                    <a:pt x="103" y="70"/>
                  </a:lnTo>
                  <a:lnTo>
                    <a:pt x="100" y="68"/>
                  </a:lnTo>
                  <a:lnTo>
                    <a:pt x="100" y="68"/>
                  </a:lnTo>
                  <a:lnTo>
                    <a:pt x="97" y="70"/>
                  </a:lnTo>
                  <a:lnTo>
                    <a:pt x="97" y="70"/>
                  </a:lnTo>
                  <a:lnTo>
                    <a:pt x="96" y="71"/>
                  </a:lnTo>
                  <a:lnTo>
                    <a:pt x="97" y="74"/>
                  </a:lnTo>
                  <a:lnTo>
                    <a:pt x="97" y="74"/>
                  </a:lnTo>
                  <a:lnTo>
                    <a:pt x="99" y="73"/>
                  </a:lnTo>
                  <a:lnTo>
                    <a:pt x="99" y="73"/>
                  </a:lnTo>
                  <a:lnTo>
                    <a:pt x="100" y="71"/>
                  </a:lnTo>
                  <a:lnTo>
                    <a:pt x="100" y="71"/>
                  </a:lnTo>
                  <a:lnTo>
                    <a:pt x="102" y="71"/>
                  </a:lnTo>
                  <a:lnTo>
                    <a:pt x="102" y="71"/>
                  </a:lnTo>
                  <a:lnTo>
                    <a:pt x="102" y="73"/>
                  </a:lnTo>
                  <a:lnTo>
                    <a:pt x="102" y="74"/>
                  </a:lnTo>
                  <a:lnTo>
                    <a:pt x="104" y="74"/>
                  </a:lnTo>
                  <a:close/>
                  <a:moveTo>
                    <a:pt x="94" y="87"/>
                  </a:moveTo>
                  <a:lnTo>
                    <a:pt x="94" y="87"/>
                  </a:lnTo>
                  <a:lnTo>
                    <a:pt x="99" y="84"/>
                  </a:lnTo>
                  <a:lnTo>
                    <a:pt x="102" y="80"/>
                  </a:lnTo>
                  <a:lnTo>
                    <a:pt x="100" y="78"/>
                  </a:lnTo>
                  <a:lnTo>
                    <a:pt x="100" y="78"/>
                  </a:lnTo>
                  <a:lnTo>
                    <a:pt x="97" y="83"/>
                  </a:lnTo>
                  <a:lnTo>
                    <a:pt x="93" y="86"/>
                  </a:lnTo>
                  <a:lnTo>
                    <a:pt x="94" y="87"/>
                  </a:lnTo>
                  <a:close/>
                  <a:moveTo>
                    <a:pt x="78" y="86"/>
                  </a:moveTo>
                  <a:lnTo>
                    <a:pt x="78" y="86"/>
                  </a:lnTo>
                  <a:lnTo>
                    <a:pt x="84" y="87"/>
                  </a:lnTo>
                  <a:lnTo>
                    <a:pt x="89" y="88"/>
                  </a:lnTo>
                  <a:lnTo>
                    <a:pt x="89" y="88"/>
                  </a:lnTo>
                  <a:lnTo>
                    <a:pt x="89" y="86"/>
                  </a:lnTo>
                  <a:lnTo>
                    <a:pt x="89" y="86"/>
                  </a:lnTo>
                  <a:lnTo>
                    <a:pt x="89" y="86"/>
                  </a:lnTo>
                  <a:lnTo>
                    <a:pt x="84" y="86"/>
                  </a:lnTo>
                  <a:lnTo>
                    <a:pt x="80" y="83"/>
                  </a:lnTo>
                  <a:lnTo>
                    <a:pt x="78" y="86"/>
                  </a:lnTo>
                  <a:close/>
                  <a:moveTo>
                    <a:pt x="70" y="74"/>
                  </a:moveTo>
                  <a:lnTo>
                    <a:pt x="70" y="74"/>
                  </a:lnTo>
                  <a:lnTo>
                    <a:pt x="74" y="80"/>
                  </a:lnTo>
                  <a:lnTo>
                    <a:pt x="76" y="81"/>
                  </a:lnTo>
                  <a:lnTo>
                    <a:pt x="77" y="80"/>
                  </a:lnTo>
                  <a:lnTo>
                    <a:pt x="77" y="78"/>
                  </a:lnTo>
                  <a:lnTo>
                    <a:pt x="77" y="78"/>
                  </a:lnTo>
                  <a:lnTo>
                    <a:pt x="74" y="75"/>
                  </a:lnTo>
                  <a:lnTo>
                    <a:pt x="71" y="71"/>
                  </a:lnTo>
                  <a:lnTo>
                    <a:pt x="70" y="74"/>
                  </a:lnTo>
                  <a:close/>
                  <a:moveTo>
                    <a:pt x="57" y="65"/>
                  </a:moveTo>
                  <a:lnTo>
                    <a:pt x="57" y="65"/>
                  </a:lnTo>
                  <a:lnTo>
                    <a:pt x="65" y="70"/>
                  </a:lnTo>
                  <a:lnTo>
                    <a:pt x="67" y="68"/>
                  </a:lnTo>
                  <a:lnTo>
                    <a:pt x="67" y="68"/>
                  </a:lnTo>
                  <a:lnTo>
                    <a:pt x="58" y="64"/>
                  </a:lnTo>
                  <a:lnTo>
                    <a:pt x="57" y="65"/>
                  </a:lnTo>
                  <a:close/>
                  <a:moveTo>
                    <a:pt x="42" y="59"/>
                  </a:moveTo>
                  <a:lnTo>
                    <a:pt x="42" y="59"/>
                  </a:lnTo>
                  <a:lnTo>
                    <a:pt x="52" y="64"/>
                  </a:lnTo>
                  <a:lnTo>
                    <a:pt x="54" y="61"/>
                  </a:lnTo>
                  <a:lnTo>
                    <a:pt x="54" y="61"/>
                  </a:lnTo>
                  <a:lnTo>
                    <a:pt x="44" y="58"/>
                  </a:lnTo>
                  <a:lnTo>
                    <a:pt x="42" y="59"/>
                  </a:lnTo>
                  <a:close/>
                  <a:moveTo>
                    <a:pt x="28" y="55"/>
                  </a:moveTo>
                  <a:lnTo>
                    <a:pt x="28" y="55"/>
                  </a:lnTo>
                  <a:lnTo>
                    <a:pt x="38" y="58"/>
                  </a:lnTo>
                  <a:lnTo>
                    <a:pt x="39" y="57"/>
                  </a:lnTo>
                  <a:lnTo>
                    <a:pt x="39" y="57"/>
                  </a:lnTo>
                  <a:lnTo>
                    <a:pt x="29" y="52"/>
                  </a:lnTo>
                  <a:lnTo>
                    <a:pt x="28" y="55"/>
                  </a:lnTo>
                  <a:close/>
                  <a:moveTo>
                    <a:pt x="15" y="55"/>
                  </a:moveTo>
                  <a:lnTo>
                    <a:pt x="15" y="55"/>
                  </a:lnTo>
                  <a:lnTo>
                    <a:pt x="22" y="54"/>
                  </a:lnTo>
                  <a:lnTo>
                    <a:pt x="22" y="54"/>
                  </a:lnTo>
                  <a:lnTo>
                    <a:pt x="23" y="54"/>
                  </a:lnTo>
                  <a:lnTo>
                    <a:pt x="25" y="51"/>
                  </a:lnTo>
                  <a:lnTo>
                    <a:pt x="25" y="51"/>
                  </a:lnTo>
                  <a:lnTo>
                    <a:pt x="22" y="51"/>
                  </a:lnTo>
                  <a:lnTo>
                    <a:pt x="22" y="51"/>
                  </a:lnTo>
                  <a:lnTo>
                    <a:pt x="18" y="51"/>
                  </a:lnTo>
                  <a:lnTo>
                    <a:pt x="13" y="52"/>
                  </a:lnTo>
                  <a:lnTo>
                    <a:pt x="15" y="55"/>
                  </a:lnTo>
                  <a:close/>
                  <a:moveTo>
                    <a:pt x="0" y="48"/>
                  </a:moveTo>
                  <a:lnTo>
                    <a:pt x="0" y="48"/>
                  </a:lnTo>
                  <a:lnTo>
                    <a:pt x="3" y="49"/>
                  </a:lnTo>
                  <a:lnTo>
                    <a:pt x="3" y="49"/>
                  </a:lnTo>
                  <a:lnTo>
                    <a:pt x="9" y="54"/>
                  </a:lnTo>
                  <a:lnTo>
                    <a:pt x="10" y="51"/>
                  </a:lnTo>
                  <a:lnTo>
                    <a:pt x="10" y="51"/>
                  </a:lnTo>
                  <a:lnTo>
                    <a:pt x="2" y="45"/>
                  </a:lnTo>
                  <a:lnTo>
                    <a:pt x="0"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64" name="Freeform 1589"/>
            <p:cNvSpPr>
              <a:spLocks noEditPoints="1"/>
            </p:cNvSpPr>
            <p:nvPr/>
          </p:nvSpPr>
          <p:spPr bwMode="auto">
            <a:xfrm>
              <a:off x="4929188" y="5162979"/>
              <a:ext cx="239713" cy="193675"/>
            </a:xfrm>
            <a:custGeom>
              <a:avLst/>
              <a:gdLst>
                <a:gd name="T0" fmla="*/ 125 w 151"/>
                <a:gd name="T1" fmla="*/ 120 h 122"/>
                <a:gd name="T2" fmla="*/ 128 w 151"/>
                <a:gd name="T3" fmla="*/ 120 h 122"/>
                <a:gd name="T4" fmla="*/ 129 w 151"/>
                <a:gd name="T5" fmla="*/ 104 h 122"/>
                <a:gd name="T6" fmla="*/ 128 w 151"/>
                <a:gd name="T7" fmla="*/ 114 h 122"/>
                <a:gd name="T8" fmla="*/ 129 w 151"/>
                <a:gd name="T9" fmla="*/ 104 h 122"/>
                <a:gd name="T10" fmla="*/ 136 w 151"/>
                <a:gd name="T11" fmla="*/ 98 h 122"/>
                <a:gd name="T12" fmla="*/ 135 w 151"/>
                <a:gd name="T13" fmla="*/ 103 h 122"/>
                <a:gd name="T14" fmla="*/ 138 w 151"/>
                <a:gd name="T15" fmla="*/ 100 h 122"/>
                <a:gd name="T16" fmla="*/ 145 w 151"/>
                <a:gd name="T17" fmla="*/ 80 h 122"/>
                <a:gd name="T18" fmla="*/ 144 w 151"/>
                <a:gd name="T19" fmla="*/ 90 h 122"/>
                <a:gd name="T20" fmla="*/ 145 w 151"/>
                <a:gd name="T21" fmla="*/ 80 h 122"/>
                <a:gd name="T22" fmla="*/ 148 w 151"/>
                <a:gd name="T23" fmla="*/ 68 h 122"/>
                <a:gd name="T24" fmla="*/ 149 w 151"/>
                <a:gd name="T25" fmla="*/ 75 h 122"/>
                <a:gd name="T26" fmla="*/ 151 w 151"/>
                <a:gd name="T27" fmla="*/ 68 h 122"/>
                <a:gd name="T28" fmla="*/ 148 w 151"/>
                <a:gd name="T29" fmla="*/ 49 h 122"/>
                <a:gd name="T30" fmla="*/ 151 w 151"/>
                <a:gd name="T31" fmla="*/ 59 h 122"/>
                <a:gd name="T32" fmla="*/ 148 w 151"/>
                <a:gd name="T33" fmla="*/ 49 h 122"/>
                <a:gd name="T34" fmla="*/ 148 w 151"/>
                <a:gd name="T35" fmla="*/ 45 h 122"/>
                <a:gd name="T36" fmla="*/ 151 w 151"/>
                <a:gd name="T37" fmla="*/ 35 h 122"/>
                <a:gd name="T38" fmla="*/ 145 w 151"/>
                <a:gd name="T39" fmla="*/ 22 h 122"/>
                <a:gd name="T40" fmla="*/ 148 w 151"/>
                <a:gd name="T41" fmla="*/ 29 h 122"/>
                <a:gd name="T42" fmla="*/ 151 w 151"/>
                <a:gd name="T43" fmla="*/ 24 h 122"/>
                <a:gd name="T44" fmla="*/ 145 w 151"/>
                <a:gd name="T45" fmla="*/ 22 h 122"/>
                <a:gd name="T46" fmla="*/ 142 w 151"/>
                <a:gd name="T47" fmla="*/ 17 h 122"/>
                <a:gd name="T48" fmla="*/ 135 w 151"/>
                <a:gd name="T49" fmla="*/ 10 h 122"/>
                <a:gd name="T50" fmla="*/ 120 w 151"/>
                <a:gd name="T51" fmla="*/ 7 h 122"/>
                <a:gd name="T52" fmla="*/ 129 w 151"/>
                <a:gd name="T53" fmla="*/ 10 h 122"/>
                <a:gd name="T54" fmla="*/ 129 w 151"/>
                <a:gd name="T55" fmla="*/ 7 h 122"/>
                <a:gd name="T56" fmla="*/ 120 w 151"/>
                <a:gd name="T57" fmla="*/ 7 h 122"/>
                <a:gd name="T58" fmla="*/ 115 w 151"/>
                <a:gd name="T59" fmla="*/ 6 h 122"/>
                <a:gd name="T60" fmla="*/ 106 w 151"/>
                <a:gd name="T61" fmla="*/ 1 h 122"/>
                <a:gd name="T62" fmla="*/ 91 w 151"/>
                <a:gd name="T63" fmla="*/ 4 h 122"/>
                <a:gd name="T64" fmla="*/ 99 w 151"/>
                <a:gd name="T65" fmla="*/ 3 h 122"/>
                <a:gd name="T66" fmla="*/ 100 w 151"/>
                <a:gd name="T67" fmla="*/ 0 h 122"/>
                <a:gd name="T68" fmla="*/ 99 w 151"/>
                <a:gd name="T69" fmla="*/ 0 h 122"/>
                <a:gd name="T70" fmla="*/ 90 w 151"/>
                <a:gd name="T71" fmla="*/ 3 h 122"/>
                <a:gd name="T72" fmla="*/ 80 w 151"/>
                <a:gd name="T73" fmla="*/ 14 h 122"/>
                <a:gd name="T74" fmla="*/ 86 w 151"/>
                <a:gd name="T75" fmla="*/ 6 h 122"/>
                <a:gd name="T76" fmla="*/ 70 w 151"/>
                <a:gd name="T77" fmla="*/ 26 h 122"/>
                <a:gd name="T78" fmla="*/ 76 w 151"/>
                <a:gd name="T79" fmla="*/ 17 h 122"/>
                <a:gd name="T80" fmla="*/ 74 w 151"/>
                <a:gd name="T81" fmla="*/ 16 h 122"/>
                <a:gd name="T82" fmla="*/ 61 w 151"/>
                <a:gd name="T83" fmla="*/ 38 h 122"/>
                <a:gd name="T84" fmla="*/ 65 w 151"/>
                <a:gd name="T85" fmla="*/ 29 h 122"/>
                <a:gd name="T86" fmla="*/ 61 w 151"/>
                <a:gd name="T87" fmla="*/ 38 h 122"/>
                <a:gd name="T88" fmla="*/ 55 w 151"/>
                <a:gd name="T89" fmla="*/ 40 h 122"/>
                <a:gd name="T90" fmla="*/ 45 w 151"/>
                <a:gd name="T91" fmla="*/ 36 h 122"/>
                <a:gd name="T92" fmla="*/ 31 w 151"/>
                <a:gd name="T93" fmla="*/ 38 h 122"/>
                <a:gd name="T94" fmla="*/ 41 w 151"/>
                <a:gd name="T95" fmla="*/ 36 h 122"/>
                <a:gd name="T96" fmla="*/ 15 w 151"/>
                <a:gd name="T97" fmla="*/ 36 h 122"/>
                <a:gd name="T98" fmla="*/ 20 w 151"/>
                <a:gd name="T99" fmla="*/ 36 h 122"/>
                <a:gd name="T100" fmla="*/ 26 w 151"/>
                <a:gd name="T101" fmla="*/ 35 h 122"/>
                <a:gd name="T102" fmla="*/ 16 w 151"/>
                <a:gd name="T103" fmla="*/ 33 h 122"/>
                <a:gd name="T104" fmla="*/ 0 w 151"/>
                <a:gd name="T105" fmla="*/ 36 h 122"/>
                <a:gd name="T106" fmla="*/ 10 w 151"/>
                <a:gd name="T107" fmla="*/ 36 h 122"/>
                <a:gd name="T108" fmla="*/ 9 w 151"/>
                <a:gd name="T109" fmla="*/ 33 h 122"/>
                <a:gd name="T110" fmla="*/ 0 w 151"/>
                <a:gd name="T111" fmla="*/ 3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1" h="122">
                  <a:moveTo>
                    <a:pt x="125" y="119"/>
                  </a:moveTo>
                  <a:lnTo>
                    <a:pt x="125" y="119"/>
                  </a:lnTo>
                  <a:lnTo>
                    <a:pt x="125" y="120"/>
                  </a:lnTo>
                  <a:lnTo>
                    <a:pt x="126" y="122"/>
                  </a:lnTo>
                  <a:lnTo>
                    <a:pt x="126" y="122"/>
                  </a:lnTo>
                  <a:lnTo>
                    <a:pt x="128" y="120"/>
                  </a:lnTo>
                  <a:lnTo>
                    <a:pt x="125" y="119"/>
                  </a:lnTo>
                  <a:close/>
                  <a:moveTo>
                    <a:pt x="129" y="104"/>
                  </a:moveTo>
                  <a:lnTo>
                    <a:pt x="129" y="104"/>
                  </a:lnTo>
                  <a:lnTo>
                    <a:pt x="128" y="108"/>
                  </a:lnTo>
                  <a:lnTo>
                    <a:pt x="126" y="114"/>
                  </a:lnTo>
                  <a:lnTo>
                    <a:pt x="128" y="114"/>
                  </a:lnTo>
                  <a:lnTo>
                    <a:pt x="128" y="114"/>
                  </a:lnTo>
                  <a:lnTo>
                    <a:pt x="132" y="106"/>
                  </a:lnTo>
                  <a:lnTo>
                    <a:pt x="129" y="104"/>
                  </a:lnTo>
                  <a:close/>
                  <a:moveTo>
                    <a:pt x="139" y="93"/>
                  </a:moveTo>
                  <a:lnTo>
                    <a:pt x="139" y="93"/>
                  </a:lnTo>
                  <a:lnTo>
                    <a:pt x="136" y="98"/>
                  </a:lnTo>
                  <a:lnTo>
                    <a:pt x="133" y="100"/>
                  </a:lnTo>
                  <a:lnTo>
                    <a:pt x="133" y="100"/>
                  </a:lnTo>
                  <a:lnTo>
                    <a:pt x="135" y="103"/>
                  </a:lnTo>
                  <a:lnTo>
                    <a:pt x="135" y="103"/>
                  </a:lnTo>
                  <a:lnTo>
                    <a:pt x="135" y="103"/>
                  </a:lnTo>
                  <a:lnTo>
                    <a:pt x="138" y="100"/>
                  </a:lnTo>
                  <a:lnTo>
                    <a:pt x="142" y="94"/>
                  </a:lnTo>
                  <a:lnTo>
                    <a:pt x="139" y="93"/>
                  </a:lnTo>
                  <a:close/>
                  <a:moveTo>
                    <a:pt x="145" y="80"/>
                  </a:moveTo>
                  <a:lnTo>
                    <a:pt x="145" y="80"/>
                  </a:lnTo>
                  <a:lnTo>
                    <a:pt x="142" y="88"/>
                  </a:lnTo>
                  <a:lnTo>
                    <a:pt x="144" y="90"/>
                  </a:lnTo>
                  <a:lnTo>
                    <a:pt x="144" y="90"/>
                  </a:lnTo>
                  <a:lnTo>
                    <a:pt x="148" y="81"/>
                  </a:lnTo>
                  <a:lnTo>
                    <a:pt x="145" y="80"/>
                  </a:lnTo>
                  <a:close/>
                  <a:moveTo>
                    <a:pt x="148" y="65"/>
                  </a:moveTo>
                  <a:lnTo>
                    <a:pt x="148" y="65"/>
                  </a:lnTo>
                  <a:lnTo>
                    <a:pt x="148" y="68"/>
                  </a:lnTo>
                  <a:lnTo>
                    <a:pt x="148" y="68"/>
                  </a:lnTo>
                  <a:lnTo>
                    <a:pt x="146" y="75"/>
                  </a:lnTo>
                  <a:lnTo>
                    <a:pt x="149" y="75"/>
                  </a:lnTo>
                  <a:lnTo>
                    <a:pt x="149" y="75"/>
                  </a:lnTo>
                  <a:lnTo>
                    <a:pt x="151" y="68"/>
                  </a:lnTo>
                  <a:lnTo>
                    <a:pt x="151" y="68"/>
                  </a:lnTo>
                  <a:lnTo>
                    <a:pt x="151" y="65"/>
                  </a:lnTo>
                  <a:lnTo>
                    <a:pt x="148" y="65"/>
                  </a:lnTo>
                  <a:close/>
                  <a:moveTo>
                    <a:pt x="148" y="49"/>
                  </a:moveTo>
                  <a:lnTo>
                    <a:pt x="148" y="49"/>
                  </a:lnTo>
                  <a:lnTo>
                    <a:pt x="148" y="59"/>
                  </a:lnTo>
                  <a:lnTo>
                    <a:pt x="151" y="59"/>
                  </a:lnTo>
                  <a:lnTo>
                    <a:pt x="151" y="59"/>
                  </a:lnTo>
                  <a:lnTo>
                    <a:pt x="151" y="49"/>
                  </a:lnTo>
                  <a:lnTo>
                    <a:pt x="148" y="49"/>
                  </a:lnTo>
                  <a:close/>
                  <a:moveTo>
                    <a:pt x="148" y="35"/>
                  </a:moveTo>
                  <a:lnTo>
                    <a:pt x="148" y="35"/>
                  </a:lnTo>
                  <a:lnTo>
                    <a:pt x="148" y="45"/>
                  </a:lnTo>
                  <a:lnTo>
                    <a:pt x="151" y="45"/>
                  </a:lnTo>
                  <a:lnTo>
                    <a:pt x="151" y="45"/>
                  </a:lnTo>
                  <a:lnTo>
                    <a:pt x="151" y="35"/>
                  </a:lnTo>
                  <a:lnTo>
                    <a:pt x="148" y="35"/>
                  </a:lnTo>
                  <a:close/>
                  <a:moveTo>
                    <a:pt x="145" y="22"/>
                  </a:moveTo>
                  <a:lnTo>
                    <a:pt x="145" y="22"/>
                  </a:lnTo>
                  <a:lnTo>
                    <a:pt x="148" y="24"/>
                  </a:lnTo>
                  <a:lnTo>
                    <a:pt x="148" y="24"/>
                  </a:lnTo>
                  <a:lnTo>
                    <a:pt x="148" y="29"/>
                  </a:lnTo>
                  <a:lnTo>
                    <a:pt x="151" y="29"/>
                  </a:lnTo>
                  <a:lnTo>
                    <a:pt x="151" y="29"/>
                  </a:lnTo>
                  <a:lnTo>
                    <a:pt x="151" y="24"/>
                  </a:lnTo>
                  <a:lnTo>
                    <a:pt x="151" y="24"/>
                  </a:lnTo>
                  <a:lnTo>
                    <a:pt x="148" y="19"/>
                  </a:lnTo>
                  <a:lnTo>
                    <a:pt x="145" y="22"/>
                  </a:lnTo>
                  <a:close/>
                  <a:moveTo>
                    <a:pt x="135" y="11"/>
                  </a:moveTo>
                  <a:lnTo>
                    <a:pt x="135" y="11"/>
                  </a:lnTo>
                  <a:lnTo>
                    <a:pt x="142" y="17"/>
                  </a:lnTo>
                  <a:lnTo>
                    <a:pt x="144" y="16"/>
                  </a:lnTo>
                  <a:lnTo>
                    <a:pt x="144" y="16"/>
                  </a:lnTo>
                  <a:lnTo>
                    <a:pt x="135" y="10"/>
                  </a:lnTo>
                  <a:lnTo>
                    <a:pt x="135" y="11"/>
                  </a:lnTo>
                  <a:close/>
                  <a:moveTo>
                    <a:pt x="120" y="7"/>
                  </a:moveTo>
                  <a:lnTo>
                    <a:pt x="120" y="7"/>
                  </a:lnTo>
                  <a:lnTo>
                    <a:pt x="128" y="9"/>
                  </a:lnTo>
                  <a:lnTo>
                    <a:pt x="128" y="9"/>
                  </a:lnTo>
                  <a:lnTo>
                    <a:pt x="129" y="10"/>
                  </a:lnTo>
                  <a:lnTo>
                    <a:pt x="131" y="7"/>
                  </a:lnTo>
                  <a:lnTo>
                    <a:pt x="131" y="7"/>
                  </a:lnTo>
                  <a:lnTo>
                    <a:pt x="129" y="7"/>
                  </a:lnTo>
                  <a:lnTo>
                    <a:pt x="129" y="7"/>
                  </a:lnTo>
                  <a:lnTo>
                    <a:pt x="120" y="4"/>
                  </a:lnTo>
                  <a:lnTo>
                    <a:pt x="120" y="7"/>
                  </a:lnTo>
                  <a:close/>
                  <a:moveTo>
                    <a:pt x="106" y="4"/>
                  </a:moveTo>
                  <a:lnTo>
                    <a:pt x="106" y="4"/>
                  </a:lnTo>
                  <a:lnTo>
                    <a:pt x="115" y="6"/>
                  </a:lnTo>
                  <a:lnTo>
                    <a:pt x="116" y="3"/>
                  </a:lnTo>
                  <a:lnTo>
                    <a:pt x="116" y="3"/>
                  </a:lnTo>
                  <a:lnTo>
                    <a:pt x="106" y="1"/>
                  </a:lnTo>
                  <a:lnTo>
                    <a:pt x="106" y="4"/>
                  </a:lnTo>
                  <a:close/>
                  <a:moveTo>
                    <a:pt x="91" y="4"/>
                  </a:moveTo>
                  <a:lnTo>
                    <a:pt x="91" y="4"/>
                  </a:lnTo>
                  <a:lnTo>
                    <a:pt x="96" y="3"/>
                  </a:lnTo>
                  <a:lnTo>
                    <a:pt x="96" y="3"/>
                  </a:lnTo>
                  <a:lnTo>
                    <a:pt x="99" y="3"/>
                  </a:lnTo>
                  <a:lnTo>
                    <a:pt x="99" y="3"/>
                  </a:lnTo>
                  <a:lnTo>
                    <a:pt x="100" y="3"/>
                  </a:lnTo>
                  <a:lnTo>
                    <a:pt x="100" y="0"/>
                  </a:lnTo>
                  <a:lnTo>
                    <a:pt x="100" y="0"/>
                  </a:lnTo>
                  <a:lnTo>
                    <a:pt x="99" y="0"/>
                  </a:lnTo>
                  <a:lnTo>
                    <a:pt x="99" y="0"/>
                  </a:lnTo>
                  <a:lnTo>
                    <a:pt x="96" y="0"/>
                  </a:lnTo>
                  <a:lnTo>
                    <a:pt x="96" y="0"/>
                  </a:lnTo>
                  <a:lnTo>
                    <a:pt x="90" y="3"/>
                  </a:lnTo>
                  <a:lnTo>
                    <a:pt x="91" y="4"/>
                  </a:lnTo>
                  <a:close/>
                  <a:moveTo>
                    <a:pt x="80" y="14"/>
                  </a:moveTo>
                  <a:lnTo>
                    <a:pt x="80" y="14"/>
                  </a:lnTo>
                  <a:lnTo>
                    <a:pt x="87" y="7"/>
                  </a:lnTo>
                  <a:lnTo>
                    <a:pt x="86" y="6"/>
                  </a:lnTo>
                  <a:lnTo>
                    <a:pt x="86" y="6"/>
                  </a:lnTo>
                  <a:lnTo>
                    <a:pt x="78" y="11"/>
                  </a:lnTo>
                  <a:lnTo>
                    <a:pt x="80" y="14"/>
                  </a:lnTo>
                  <a:close/>
                  <a:moveTo>
                    <a:pt x="70" y="26"/>
                  </a:moveTo>
                  <a:lnTo>
                    <a:pt x="70" y="26"/>
                  </a:lnTo>
                  <a:lnTo>
                    <a:pt x="76" y="17"/>
                  </a:lnTo>
                  <a:lnTo>
                    <a:pt x="76" y="17"/>
                  </a:lnTo>
                  <a:lnTo>
                    <a:pt x="74" y="16"/>
                  </a:lnTo>
                  <a:lnTo>
                    <a:pt x="74" y="16"/>
                  </a:lnTo>
                  <a:lnTo>
                    <a:pt x="74" y="16"/>
                  </a:lnTo>
                  <a:lnTo>
                    <a:pt x="68" y="24"/>
                  </a:lnTo>
                  <a:lnTo>
                    <a:pt x="70" y="26"/>
                  </a:lnTo>
                  <a:close/>
                  <a:moveTo>
                    <a:pt x="61" y="38"/>
                  </a:moveTo>
                  <a:lnTo>
                    <a:pt x="61" y="38"/>
                  </a:lnTo>
                  <a:lnTo>
                    <a:pt x="67" y="30"/>
                  </a:lnTo>
                  <a:lnTo>
                    <a:pt x="65" y="29"/>
                  </a:lnTo>
                  <a:lnTo>
                    <a:pt x="65" y="29"/>
                  </a:lnTo>
                  <a:lnTo>
                    <a:pt x="60" y="36"/>
                  </a:lnTo>
                  <a:lnTo>
                    <a:pt x="61" y="38"/>
                  </a:lnTo>
                  <a:close/>
                  <a:moveTo>
                    <a:pt x="45" y="39"/>
                  </a:moveTo>
                  <a:lnTo>
                    <a:pt x="45" y="39"/>
                  </a:lnTo>
                  <a:lnTo>
                    <a:pt x="55" y="40"/>
                  </a:lnTo>
                  <a:lnTo>
                    <a:pt x="55" y="38"/>
                  </a:lnTo>
                  <a:lnTo>
                    <a:pt x="55" y="38"/>
                  </a:lnTo>
                  <a:lnTo>
                    <a:pt x="45" y="36"/>
                  </a:lnTo>
                  <a:lnTo>
                    <a:pt x="45" y="39"/>
                  </a:lnTo>
                  <a:close/>
                  <a:moveTo>
                    <a:pt x="31" y="38"/>
                  </a:moveTo>
                  <a:lnTo>
                    <a:pt x="31" y="38"/>
                  </a:lnTo>
                  <a:lnTo>
                    <a:pt x="41" y="39"/>
                  </a:lnTo>
                  <a:lnTo>
                    <a:pt x="41" y="36"/>
                  </a:lnTo>
                  <a:lnTo>
                    <a:pt x="41" y="36"/>
                  </a:lnTo>
                  <a:lnTo>
                    <a:pt x="31" y="35"/>
                  </a:lnTo>
                  <a:lnTo>
                    <a:pt x="31" y="38"/>
                  </a:lnTo>
                  <a:close/>
                  <a:moveTo>
                    <a:pt x="15" y="36"/>
                  </a:moveTo>
                  <a:lnTo>
                    <a:pt x="15" y="36"/>
                  </a:lnTo>
                  <a:lnTo>
                    <a:pt x="20" y="36"/>
                  </a:lnTo>
                  <a:lnTo>
                    <a:pt x="20" y="36"/>
                  </a:lnTo>
                  <a:lnTo>
                    <a:pt x="25" y="36"/>
                  </a:lnTo>
                  <a:lnTo>
                    <a:pt x="26" y="35"/>
                  </a:lnTo>
                  <a:lnTo>
                    <a:pt x="26" y="35"/>
                  </a:lnTo>
                  <a:lnTo>
                    <a:pt x="20" y="33"/>
                  </a:lnTo>
                  <a:lnTo>
                    <a:pt x="20" y="33"/>
                  </a:lnTo>
                  <a:lnTo>
                    <a:pt x="16" y="33"/>
                  </a:lnTo>
                  <a:lnTo>
                    <a:pt x="15" y="36"/>
                  </a:lnTo>
                  <a:close/>
                  <a:moveTo>
                    <a:pt x="0" y="36"/>
                  </a:moveTo>
                  <a:lnTo>
                    <a:pt x="0" y="36"/>
                  </a:lnTo>
                  <a:lnTo>
                    <a:pt x="9" y="36"/>
                  </a:lnTo>
                  <a:lnTo>
                    <a:pt x="9" y="36"/>
                  </a:lnTo>
                  <a:lnTo>
                    <a:pt x="10" y="36"/>
                  </a:lnTo>
                  <a:lnTo>
                    <a:pt x="10" y="33"/>
                  </a:lnTo>
                  <a:lnTo>
                    <a:pt x="10" y="33"/>
                  </a:lnTo>
                  <a:lnTo>
                    <a:pt x="9" y="33"/>
                  </a:lnTo>
                  <a:lnTo>
                    <a:pt x="9" y="33"/>
                  </a:lnTo>
                  <a:lnTo>
                    <a:pt x="0" y="33"/>
                  </a:lnTo>
                  <a:lnTo>
                    <a:pt x="0"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65" name="Freeform 1590"/>
            <p:cNvSpPr>
              <a:spLocks noEditPoints="1"/>
            </p:cNvSpPr>
            <p:nvPr/>
          </p:nvSpPr>
          <p:spPr bwMode="auto">
            <a:xfrm>
              <a:off x="5094288" y="5123292"/>
              <a:ext cx="136525" cy="76200"/>
            </a:xfrm>
            <a:custGeom>
              <a:avLst/>
              <a:gdLst>
                <a:gd name="T0" fmla="*/ 82 w 86"/>
                <a:gd name="T1" fmla="*/ 6 h 48"/>
                <a:gd name="T2" fmla="*/ 79 w 86"/>
                <a:gd name="T3" fmla="*/ 5 h 48"/>
                <a:gd name="T4" fmla="*/ 82 w 86"/>
                <a:gd name="T5" fmla="*/ 6 h 48"/>
                <a:gd name="T6" fmla="*/ 83 w 86"/>
                <a:gd name="T7" fmla="*/ 10 h 48"/>
                <a:gd name="T8" fmla="*/ 83 w 86"/>
                <a:gd name="T9" fmla="*/ 22 h 48"/>
                <a:gd name="T10" fmla="*/ 86 w 86"/>
                <a:gd name="T11" fmla="*/ 36 h 48"/>
                <a:gd name="T12" fmla="*/ 83 w 86"/>
                <a:gd name="T13" fmla="*/ 26 h 48"/>
                <a:gd name="T14" fmla="*/ 79 w 86"/>
                <a:gd name="T15" fmla="*/ 45 h 48"/>
                <a:gd name="T16" fmla="*/ 82 w 86"/>
                <a:gd name="T17" fmla="*/ 47 h 48"/>
                <a:gd name="T18" fmla="*/ 84 w 86"/>
                <a:gd name="T19" fmla="*/ 48 h 48"/>
                <a:gd name="T20" fmla="*/ 86 w 86"/>
                <a:gd name="T21" fmla="*/ 44 h 48"/>
                <a:gd name="T22" fmla="*/ 84 w 86"/>
                <a:gd name="T23" fmla="*/ 41 h 48"/>
                <a:gd name="T24" fmla="*/ 83 w 86"/>
                <a:gd name="T25" fmla="*/ 44 h 48"/>
                <a:gd name="T26" fmla="*/ 83 w 86"/>
                <a:gd name="T27" fmla="*/ 45 h 48"/>
                <a:gd name="T28" fmla="*/ 83 w 86"/>
                <a:gd name="T29" fmla="*/ 45 h 48"/>
                <a:gd name="T30" fmla="*/ 83 w 86"/>
                <a:gd name="T31" fmla="*/ 45 h 48"/>
                <a:gd name="T32" fmla="*/ 83 w 86"/>
                <a:gd name="T33" fmla="*/ 45 h 48"/>
                <a:gd name="T34" fmla="*/ 83 w 86"/>
                <a:gd name="T35" fmla="*/ 45 h 48"/>
                <a:gd name="T36" fmla="*/ 83 w 86"/>
                <a:gd name="T37" fmla="*/ 45 h 48"/>
                <a:gd name="T38" fmla="*/ 82 w 86"/>
                <a:gd name="T39" fmla="*/ 44 h 48"/>
                <a:gd name="T40" fmla="*/ 69 w 86"/>
                <a:gd name="T41" fmla="*/ 34 h 48"/>
                <a:gd name="T42" fmla="*/ 76 w 86"/>
                <a:gd name="T43" fmla="*/ 41 h 48"/>
                <a:gd name="T44" fmla="*/ 74 w 86"/>
                <a:gd name="T45" fmla="*/ 36 h 48"/>
                <a:gd name="T46" fmla="*/ 69 w 86"/>
                <a:gd name="T47" fmla="*/ 34 h 48"/>
                <a:gd name="T48" fmla="*/ 66 w 86"/>
                <a:gd name="T49" fmla="*/ 22 h 48"/>
                <a:gd name="T50" fmla="*/ 69 w 86"/>
                <a:gd name="T51" fmla="*/ 28 h 48"/>
                <a:gd name="T52" fmla="*/ 69 w 86"/>
                <a:gd name="T53" fmla="*/ 22 h 48"/>
                <a:gd name="T54" fmla="*/ 63 w 86"/>
                <a:gd name="T55" fmla="*/ 12 h 48"/>
                <a:gd name="T56" fmla="*/ 67 w 86"/>
                <a:gd name="T57" fmla="*/ 10 h 48"/>
                <a:gd name="T58" fmla="*/ 67 w 86"/>
                <a:gd name="T59" fmla="*/ 10 h 48"/>
                <a:gd name="T60" fmla="*/ 67 w 86"/>
                <a:gd name="T61" fmla="*/ 10 h 48"/>
                <a:gd name="T62" fmla="*/ 67 w 86"/>
                <a:gd name="T63" fmla="*/ 12 h 48"/>
                <a:gd name="T64" fmla="*/ 70 w 86"/>
                <a:gd name="T65" fmla="*/ 12 h 48"/>
                <a:gd name="T66" fmla="*/ 70 w 86"/>
                <a:gd name="T67" fmla="*/ 10 h 48"/>
                <a:gd name="T68" fmla="*/ 67 w 86"/>
                <a:gd name="T69" fmla="*/ 7 h 48"/>
                <a:gd name="T70" fmla="*/ 63 w 86"/>
                <a:gd name="T71" fmla="*/ 12 h 48"/>
                <a:gd name="T72" fmla="*/ 53 w 86"/>
                <a:gd name="T73" fmla="*/ 10 h 48"/>
                <a:gd name="T74" fmla="*/ 58 w 86"/>
                <a:gd name="T75" fmla="*/ 10 h 48"/>
                <a:gd name="T76" fmla="*/ 48 w 86"/>
                <a:gd name="T77" fmla="*/ 6 h 48"/>
                <a:gd name="T78" fmla="*/ 42 w 86"/>
                <a:gd name="T79" fmla="*/ 3 h 48"/>
                <a:gd name="T80" fmla="*/ 45 w 86"/>
                <a:gd name="T81" fmla="*/ 3 h 48"/>
                <a:gd name="T82" fmla="*/ 45 w 86"/>
                <a:gd name="T83" fmla="*/ 2 h 48"/>
                <a:gd name="T84" fmla="*/ 35 w 86"/>
                <a:gd name="T85" fmla="*/ 2 h 48"/>
                <a:gd name="T86" fmla="*/ 21 w 86"/>
                <a:gd name="T87" fmla="*/ 7 h 48"/>
                <a:gd name="T88" fmla="*/ 29 w 86"/>
                <a:gd name="T89" fmla="*/ 3 h 48"/>
                <a:gd name="T90" fmla="*/ 8 w 86"/>
                <a:gd name="T91" fmla="*/ 15 h 48"/>
                <a:gd name="T92" fmla="*/ 11 w 86"/>
                <a:gd name="T93" fmla="*/ 12 h 48"/>
                <a:gd name="T94" fmla="*/ 15 w 86"/>
                <a:gd name="T95" fmla="*/ 7 h 48"/>
                <a:gd name="T96" fmla="*/ 6 w 86"/>
                <a:gd name="T97" fmla="*/ 12 h 48"/>
                <a:gd name="T98" fmla="*/ 3 w 86"/>
                <a:gd name="T99" fmla="*/ 28 h 48"/>
                <a:gd name="T100" fmla="*/ 3 w 86"/>
                <a:gd name="T101" fmla="*/ 1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 h="48">
                  <a:moveTo>
                    <a:pt x="82" y="6"/>
                  </a:moveTo>
                  <a:lnTo>
                    <a:pt x="82" y="6"/>
                  </a:lnTo>
                  <a:lnTo>
                    <a:pt x="82" y="6"/>
                  </a:lnTo>
                  <a:lnTo>
                    <a:pt x="80" y="3"/>
                  </a:lnTo>
                  <a:lnTo>
                    <a:pt x="79" y="5"/>
                  </a:lnTo>
                  <a:lnTo>
                    <a:pt x="79" y="5"/>
                  </a:lnTo>
                  <a:lnTo>
                    <a:pt x="79" y="7"/>
                  </a:lnTo>
                  <a:lnTo>
                    <a:pt x="79" y="7"/>
                  </a:lnTo>
                  <a:lnTo>
                    <a:pt x="82" y="6"/>
                  </a:lnTo>
                  <a:close/>
                  <a:moveTo>
                    <a:pt x="84" y="21"/>
                  </a:moveTo>
                  <a:lnTo>
                    <a:pt x="84" y="21"/>
                  </a:lnTo>
                  <a:lnTo>
                    <a:pt x="83" y="10"/>
                  </a:lnTo>
                  <a:lnTo>
                    <a:pt x="80" y="12"/>
                  </a:lnTo>
                  <a:lnTo>
                    <a:pt x="80" y="12"/>
                  </a:lnTo>
                  <a:lnTo>
                    <a:pt x="83" y="22"/>
                  </a:lnTo>
                  <a:lnTo>
                    <a:pt x="84" y="21"/>
                  </a:lnTo>
                  <a:close/>
                  <a:moveTo>
                    <a:pt x="86" y="36"/>
                  </a:moveTo>
                  <a:lnTo>
                    <a:pt x="86" y="36"/>
                  </a:lnTo>
                  <a:lnTo>
                    <a:pt x="86" y="26"/>
                  </a:lnTo>
                  <a:lnTo>
                    <a:pt x="83" y="26"/>
                  </a:lnTo>
                  <a:lnTo>
                    <a:pt x="83" y="26"/>
                  </a:lnTo>
                  <a:lnTo>
                    <a:pt x="84" y="36"/>
                  </a:lnTo>
                  <a:lnTo>
                    <a:pt x="86" y="36"/>
                  </a:lnTo>
                  <a:close/>
                  <a:moveTo>
                    <a:pt x="79" y="45"/>
                  </a:moveTo>
                  <a:lnTo>
                    <a:pt x="79" y="45"/>
                  </a:lnTo>
                  <a:lnTo>
                    <a:pt x="82" y="47"/>
                  </a:lnTo>
                  <a:lnTo>
                    <a:pt x="82" y="47"/>
                  </a:lnTo>
                  <a:lnTo>
                    <a:pt x="83" y="48"/>
                  </a:lnTo>
                  <a:lnTo>
                    <a:pt x="84" y="48"/>
                  </a:lnTo>
                  <a:lnTo>
                    <a:pt x="84" y="48"/>
                  </a:lnTo>
                  <a:lnTo>
                    <a:pt x="86" y="47"/>
                  </a:lnTo>
                  <a:lnTo>
                    <a:pt x="86" y="47"/>
                  </a:lnTo>
                  <a:lnTo>
                    <a:pt x="86" y="44"/>
                  </a:lnTo>
                  <a:lnTo>
                    <a:pt x="86" y="44"/>
                  </a:lnTo>
                  <a:lnTo>
                    <a:pt x="86" y="42"/>
                  </a:lnTo>
                  <a:lnTo>
                    <a:pt x="84" y="41"/>
                  </a:lnTo>
                  <a:lnTo>
                    <a:pt x="84" y="41"/>
                  </a:lnTo>
                  <a:lnTo>
                    <a:pt x="83" y="44"/>
                  </a:lnTo>
                  <a:lnTo>
                    <a:pt x="83" y="44"/>
                  </a:lnTo>
                  <a:lnTo>
                    <a:pt x="83" y="45"/>
                  </a:lnTo>
                  <a:lnTo>
                    <a:pt x="83" y="45"/>
                  </a:lnTo>
                  <a:lnTo>
                    <a:pt x="83" y="45"/>
                  </a:lnTo>
                  <a:lnTo>
                    <a:pt x="83" y="45"/>
                  </a:lnTo>
                  <a:lnTo>
                    <a:pt x="83" y="45"/>
                  </a:lnTo>
                  <a:lnTo>
                    <a:pt x="83" y="45"/>
                  </a:lnTo>
                  <a:lnTo>
                    <a:pt x="83" y="45"/>
                  </a:lnTo>
                  <a:lnTo>
                    <a:pt x="83" y="45"/>
                  </a:lnTo>
                  <a:lnTo>
                    <a:pt x="83" y="45"/>
                  </a:lnTo>
                  <a:lnTo>
                    <a:pt x="83" y="45"/>
                  </a:lnTo>
                  <a:lnTo>
                    <a:pt x="83" y="45"/>
                  </a:lnTo>
                  <a:lnTo>
                    <a:pt x="83" y="45"/>
                  </a:lnTo>
                  <a:lnTo>
                    <a:pt x="83" y="45"/>
                  </a:lnTo>
                  <a:lnTo>
                    <a:pt x="83" y="45"/>
                  </a:lnTo>
                  <a:lnTo>
                    <a:pt x="83" y="45"/>
                  </a:lnTo>
                  <a:lnTo>
                    <a:pt x="83" y="45"/>
                  </a:lnTo>
                  <a:lnTo>
                    <a:pt x="83" y="45"/>
                  </a:lnTo>
                  <a:lnTo>
                    <a:pt x="83" y="45"/>
                  </a:lnTo>
                  <a:lnTo>
                    <a:pt x="83" y="45"/>
                  </a:lnTo>
                  <a:lnTo>
                    <a:pt x="83" y="45"/>
                  </a:lnTo>
                  <a:lnTo>
                    <a:pt x="82" y="44"/>
                  </a:lnTo>
                  <a:lnTo>
                    <a:pt x="79" y="45"/>
                  </a:lnTo>
                  <a:close/>
                  <a:moveTo>
                    <a:pt x="69" y="34"/>
                  </a:moveTo>
                  <a:lnTo>
                    <a:pt x="69" y="34"/>
                  </a:lnTo>
                  <a:lnTo>
                    <a:pt x="73" y="38"/>
                  </a:lnTo>
                  <a:lnTo>
                    <a:pt x="73" y="38"/>
                  </a:lnTo>
                  <a:lnTo>
                    <a:pt x="76" y="41"/>
                  </a:lnTo>
                  <a:lnTo>
                    <a:pt x="77" y="39"/>
                  </a:lnTo>
                  <a:lnTo>
                    <a:pt x="77" y="39"/>
                  </a:lnTo>
                  <a:lnTo>
                    <a:pt x="74" y="36"/>
                  </a:lnTo>
                  <a:lnTo>
                    <a:pt x="74" y="36"/>
                  </a:lnTo>
                  <a:lnTo>
                    <a:pt x="71" y="32"/>
                  </a:lnTo>
                  <a:lnTo>
                    <a:pt x="69" y="34"/>
                  </a:lnTo>
                  <a:close/>
                  <a:moveTo>
                    <a:pt x="66" y="18"/>
                  </a:moveTo>
                  <a:lnTo>
                    <a:pt x="66" y="18"/>
                  </a:lnTo>
                  <a:lnTo>
                    <a:pt x="66" y="22"/>
                  </a:lnTo>
                  <a:lnTo>
                    <a:pt x="66" y="22"/>
                  </a:lnTo>
                  <a:lnTo>
                    <a:pt x="67" y="28"/>
                  </a:lnTo>
                  <a:lnTo>
                    <a:pt x="69" y="28"/>
                  </a:lnTo>
                  <a:lnTo>
                    <a:pt x="69" y="28"/>
                  </a:lnTo>
                  <a:lnTo>
                    <a:pt x="69" y="22"/>
                  </a:lnTo>
                  <a:lnTo>
                    <a:pt x="69" y="22"/>
                  </a:lnTo>
                  <a:lnTo>
                    <a:pt x="69" y="18"/>
                  </a:lnTo>
                  <a:lnTo>
                    <a:pt x="66" y="18"/>
                  </a:lnTo>
                  <a:close/>
                  <a:moveTo>
                    <a:pt x="63" y="12"/>
                  </a:moveTo>
                  <a:lnTo>
                    <a:pt x="63" y="12"/>
                  </a:lnTo>
                  <a:lnTo>
                    <a:pt x="67" y="10"/>
                  </a:lnTo>
                  <a:lnTo>
                    <a:pt x="67" y="10"/>
                  </a:lnTo>
                  <a:lnTo>
                    <a:pt x="67" y="10"/>
                  </a:lnTo>
                  <a:lnTo>
                    <a:pt x="67" y="10"/>
                  </a:lnTo>
                  <a:lnTo>
                    <a:pt x="67" y="10"/>
                  </a:lnTo>
                  <a:lnTo>
                    <a:pt x="67" y="10"/>
                  </a:lnTo>
                  <a:lnTo>
                    <a:pt x="67" y="10"/>
                  </a:lnTo>
                  <a:lnTo>
                    <a:pt x="67" y="10"/>
                  </a:lnTo>
                  <a:lnTo>
                    <a:pt x="67" y="10"/>
                  </a:lnTo>
                  <a:lnTo>
                    <a:pt x="67" y="10"/>
                  </a:lnTo>
                  <a:lnTo>
                    <a:pt x="67" y="12"/>
                  </a:lnTo>
                  <a:lnTo>
                    <a:pt x="67" y="13"/>
                  </a:lnTo>
                  <a:lnTo>
                    <a:pt x="69" y="13"/>
                  </a:lnTo>
                  <a:lnTo>
                    <a:pt x="70" y="12"/>
                  </a:lnTo>
                  <a:lnTo>
                    <a:pt x="70" y="12"/>
                  </a:lnTo>
                  <a:lnTo>
                    <a:pt x="70" y="10"/>
                  </a:lnTo>
                  <a:lnTo>
                    <a:pt x="70" y="10"/>
                  </a:lnTo>
                  <a:lnTo>
                    <a:pt x="69" y="9"/>
                  </a:lnTo>
                  <a:lnTo>
                    <a:pt x="69" y="9"/>
                  </a:lnTo>
                  <a:lnTo>
                    <a:pt x="67" y="7"/>
                  </a:lnTo>
                  <a:lnTo>
                    <a:pt x="67" y="7"/>
                  </a:lnTo>
                  <a:lnTo>
                    <a:pt x="61" y="9"/>
                  </a:lnTo>
                  <a:lnTo>
                    <a:pt x="63" y="12"/>
                  </a:lnTo>
                  <a:close/>
                  <a:moveTo>
                    <a:pt x="48" y="6"/>
                  </a:moveTo>
                  <a:lnTo>
                    <a:pt x="48" y="6"/>
                  </a:lnTo>
                  <a:lnTo>
                    <a:pt x="53" y="10"/>
                  </a:lnTo>
                  <a:lnTo>
                    <a:pt x="57" y="13"/>
                  </a:lnTo>
                  <a:lnTo>
                    <a:pt x="58" y="10"/>
                  </a:lnTo>
                  <a:lnTo>
                    <a:pt x="58" y="10"/>
                  </a:lnTo>
                  <a:lnTo>
                    <a:pt x="54" y="7"/>
                  </a:lnTo>
                  <a:lnTo>
                    <a:pt x="50" y="5"/>
                  </a:lnTo>
                  <a:lnTo>
                    <a:pt x="48" y="6"/>
                  </a:lnTo>
                  <a:close/>
                  <a:moveTo>
                    <a:pt x="35" y="5"/>
                  </a:moveTo>
                  <a:lnTo>
                    <a:pt x="35" y="5"/>
                  </a:lnTo>
                  <a:lnTo>
                    <a:pt x="42" y="3"/>
                  </a:lnTo>
                  <a:lnTo>
                    <a:pt x="42" y="3"/>
                  </a:lnTo>
                  <a:lnTo>
                    <a:pt x="45" y="3"/>
                  </a:lnTo>
                  <a:lnTo>
                    <a:pt x="45" y="3"/>
                  </a:lnTo>
                  <a:lnTo>
                    <a:pt x="45" y="2"/>
                  </a:lnTo>
                  <a:lnTo>
                    <a:pt x="45" y="2"/>
                  </a:lnTo>
                  <a:lnTo>
                    <a:pt x="45" y="2"/>
                  </a:lnTo>
                  <a:lnTo>
                    <a:pt x="42" y="0"/>
                  </a:lnTo>
                  <a:lnTo>
                    <a:pt x="42" y="0"/>
                  </a:lnTo>
                  <a:lnTo>
                    <a:pt x="35" y="2"/>
                  </a:lnTo>
                  <a:lnTo>
                    <a:pt x="35" y="5"/>
                  </a:lnTo>
                  <a:close/>
                  <a:moveTo>
                    <a:pt x="21" y="7"/>
                  </a:moveTo>
                  <a:lnTo>
                    <a:pt x="21" y="7"/>
                  </a:lnTo>
                  <a:lnTo>
                    <a:pt x="31" y="5"/>
                  </a:lnTo>
                  <a:lnTo>
                    <a:pt x="29" y="3"/>
                  </a:lnTo>
                  <a:lnTo>
                    <a:pt x="29" y="3"/>
                  </a:lnTo>
                  <a:lnTo>
                    <a:pt x="21" y="5"/>
                  </a:lnTo>
                  <a:lnTo>
                    <a:pt x="21" y="7"/>
                  </a:lnTo>
                  <a:close/>
                  <a:moveTo>
                    <a:pt x="8" y="15"/>
                  </a:moveTo>
                  <a:lnTo>
                    <a:pt x="8" y="15"/>
                  </a:lnTo>
                  <a:lnTo>
                    <a:pt x="11" y="12"/>
                  </a:lnTo>
                  <a:lnTo>
                    <a:pt x="11" y="12"/>
                  </a:lnTo>
                  <a:lnTo>
                    <a:pt x="16" y="9"/>
                  </a:lnTo>
                  <a:lnTo>
                    <a:pt x="15" y="7"/>
                  </a:lnTo>
                  <a:lnTo>
                    <a:pt x="15" y="7"/>
                  </a:lnTo>
                  <a:lnTo>
                    <a:pt x="9" y="9"/>
                  </a:lnTo>
                  <a:lnTo>
                    <a:pt x="9" y="9"/>
                  </a:lnTo>
                  <a:lnTo>
                    <a:pt x="6" y="12"/>
                  </a:lnTo>
                  <a:lnTo>
                    <a:pt x="8" y="15"/>
                  </a:lnTo>
                  <a:close/>
                  <a:moveTo>
                    <a:pt x="3" y="28"/>
                  </a:moveTo>
                  <a:lnTo>
                    <a:pt x="3" y="28"/>
                  </a:lnTo>
                  <a:lnTo>
                    <a:pt x="6" y="18"/>
                  </a:lnTo>
                  <a:lnTo>
                    <a:pt x="3" y="18"/>
                  </a:lnTo>
                  <a:lnTo>
                    <a:pt x="3" y="18"/>
                  </a:lnTo>
                  <a:lnTo>
                    <a:pt x="0" y="26"/>
                  </a:lnTo>
                  <a:lnTo>
                    <a:pt x="3"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66" name="Freeform 1591"/>
            <p:cNvSpPr>
              <a:spLocks noEditPoints="1"/>
            </p:cNvSpPr>
            <p:nvPr/>
          </p:nvSpPr>
          <p:spPr bwMode="auto">
            <a:xfrm>
              <a:off x="5153026" y="5018517"/>
              <a:ext cx="22225" cy="109538"/>
            </a:xfrm>
            <a:custGeom>
              <a:avLst/>
              <a:gdLst>
                <a:gd name="T0" fmla="*/ 11 w 14"/>
                <a:gd name="T1" fmla="*/ 10 h 69"/>
                <a:gd name="T2" fmla="*/ 11 w 14"/>
                <a:gd name="T3" fmla="*/ 10 h 69"/>
                <a:gd name="T4" fmla="*/ 14 w 14"/>
                <a:gd name="T5" fmla="*/ 0 h 69"/>
                <a:gd name="T6" fmla="*/ 11 w 14"/>
                <a:gd name="T7" fmla="*/ 0 h 69"/>
                <a:gd name="T8" fmla="*/ 11 w 14"/>
                <a:gd name="T9" fmla="*/ 0 h 69"/>
                <a:gd name="T10" fmla="*/ 10 w 14"/>
                <a:gd name="T11" fmla="*/ 10 h 69"/>
                <a:gd name="T12" fmla="*/ 11 w 14"/>
                <a:gd name="T13" fmla="*/ 10 h 69"/>
                <a:gd name="T14" fmla="*/ 10 w 14"/>
                <a:gd name="T15" fmla="*/ 24 h 69"/>
                <a:gd name="T16" fmla="*/ 10 w 14"/>
                <a:gd name="T17" fmla="*/ 24 h 69"/>
                <a:gd name="T18" fmla="*/ 10 w 14"/>
                <a:gd name="T19" fmla="*/ 16 h 69"/>
                <a:gd name="T20" fmla="*/ 11 w 14"/>
                <a:gd name="T21" fmla="*/ 14 h 69"/>
                <a:gd name="T22" fmla="*/ 8 w 14"/>
                <a:gd name="T23" fmla="*/ 14 h 69"/>
                <a:gd name="T24" fmla="*/ 8 w 14"/>
                <a:gd name="T25" fmla="*/ 16 h 69"/>
                <a:gd name="T26" fmla="*/ 8 w 14"/>
                <a:gd name="T27" fmla="*/ 16 h 69"/>
                <a:gd name="T28" fmla="*/ 7 w 14"/>
                <a:gd name="T29" fmla="*/ 24 h 69"/>
                <a:gd name="T30" fmla="*/ 10 w 14"/>
                <a:gd name="T31" fmla="*/ 24 h 69"/>
                <a:gd name="T32" fmla="*/ 8 w 14"/>
                <a:gd name="T33" fmla="*/ 40 h 69"/>
                <a:gd name="T34" fmla="*/ 8 w 14"/>
                <a:gd name="T35" fmla="*/ 40 h 69"/>
                <a:gd name="T36" fmla="*/ 10 w 14"/>
                <a:gd name="T37" fmla="*/ 30 h 69"/>
                <a:gd name="T38" fmla="*/ 7 w 14"/>
                <a:gd name="T39" fmla="*/ 30 h 69"/>
                <a:gd name="T40" fmla="*/ 7 w 14"/>
                <a:gd name="T41" fmla="*/ 30 h 69"/>
                <a:gd name="T42" fmla="*/ 5 w 14"/>
                <a:gd name="T43" fmla="*/ 39 h 69"/>
                <a:gd name="T44" fmla="*/ 8 w 14"/>
                <a:gd name="T45" fmla="*/ 40 h 69"/>
                <a:gd name="T46" fmla="*/ 3 w 14"/>
                <a:gd name="T47" fmla="*/ 53 h 69"/>
                <a:gd name="T48" fmla="*/ 3 w 14"/>
                <a:gd name="T49" fmla="*/ 53 h 69"/>
                <a:gd name="T50" fmla="*/ 4 w 14"/>
                <a:gd name="T51" fmla="*/ 49 h 69"/>
                <a:gd name="T52" fmla="*/ 4 w 14"/>
                <a:gd name="T53" fmla="*/ 49 h 69"/>
                <a:gd name="T54" fmla="*/ 7 w 14"/>
                <a:gd name="T55" fmla="*/ 45 h 69"/>
                <a:gd name="T56" fmla="*/ 4 w 14"/>
                <a:gd name="T57" fmla="*/ 45 h 69"/>
                <a:gd name="T58" fmla="*/ 4 w 14"/>
                <a:gd name="T59" fmla="*/ 45 h 69"/>
                <a:gd name="T60" fmla="*/ 3 w 14"/>
                <a:gd name="T61" fmla="*/ 47 h 69"/>
                <a:gd name="T62" fmla="*/ 3 w 14"/>
                <a:gd name="T63" fmla="*/ 47 h 69"/>
                <a:gd name="T64" fmla="*/ 0 w 14"/>
                <a:gd name="T65" fmla="*/ 53 h 69"/>
                <a:gd name="T66" fmla="*/ 3 w 14"/>
                <a:gd name="T67" fmla="*/ 53 h 69"/>
                <a:gd name="T68" fmla="*/ 5 w 14"/>
                <a:gd name="T69" fmla="*/ 68 h 69"/>
                <a:gd name="T70" fmla="*/ 5 w 14"/>
                <a:gd name="T71" fmla="*/ 68 h 69"/>
                <a:gd name="T72" fmla="*/ 4 w 14"/>
                <a:gd name="T73" fmla="*/ 63 h 69"/>
                <a:gd name="T74" fmla="*/ 3 w 14"/>
                <a:gd name="T75" fmla="*/ 59 h 69"/>
                <a:gd name="T76" fmla="*/ 0 w 14"/>
                <a:gd name="T77" fmla="*/ 59 h 69"/>
                <a:gd name="T78" fmla="*/ 0 w 14"/>
                <a:gd name="T79" fmla="*/ 59 h 69"/>
                <a:gd name="T80" fmla="*/ 1 w 14"/>
                <a:gd name="T81" fmla="*/ 63 h 69"/>
                <a:gd name="T82" fmla="*/ 4 w 14"/>
                <a:gd name="T83" fmla="*/ 69 h 69"/>
                <a:gd name="T84" fmla="*/ 5 w 14"/>
                <a:gd name="T85" fmla="*/ 6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 h="69">
                  <a:moveTo>
                    <a:pt x="11" y="10"/>
                  </a:moveTo>
                  <a:lnTo>
                    <a:pt x="11" y="10"/>
                  </a:lnTo>
                  <a:lnTo>
                    <a:pt x="14" y="0"/>
                  </a:lnTo>
                  <a:lnTo>
                    <a:pt x="11" y="0"/>
                  </a:lnTo>
                  <a:lnTo>
                    <a:pt x="11" y="0"/>
                  </a:lnTo>
                  <a:lnTo>
                    <a:pt x="10" y="10"/>
                  </a:lnTo>
                  <a:lnTo>
                    <a:pt x="11" y="10"/>
                  </a:lnTo>
                  <a:close/>
                  <a:moveTo>
                    <a:pt x="10" y="24"/>
                  </a:moveTo>
                  <a:lnTo>
                    <a:pt x="10" y="24"/>
                  </a:lnTo>
                  <a:lnTo>
                    <a:pt x="10" y="16"/>
                  </a:lnTo>
                  <a:lnTo>
                    <a:pt x="11" y="14"/>
                  </a:lnTo>
                  <a:lnTo>
                    <a:pt x="8" y="14"/>
                  </a:lnTo>
                  <a:lnTo>
                    <a:pt x="8" y="16"/>
                  </a:lnTo>
                  <a:lnTo>
                    <a:pt x="8" y="16"/>
                  </a:lnTo>
                  <a:lnTo>
                    <a:pt x="7" y="24"/>
                  </a:lnTo>
                  <a:lnTo>
                    <a:pt x="10" y="24"/>
                  </a:lnTo>
                  <a:close/>
                  <a:moveTo>
                    <a:pt x="8" y="40"/>
                  </a:moveTo>
                  <a:lnTo>
                    <a:pt x="8" y="40"/>
                  </a:lnTo>
                  <a:lnTo>
                    <a:pt x="10" y="30"/>
                  </a:lnTo>
                  <a:lnTo>
                    <a:pt x="7" y="30"/>
                  </a:lnTo>
                  <a:lnTo>
                    <a:pt x="7" y="30"/>
                  </a:lnTo>
                  <a:lnTo>
                    <a:pt x="5" y="39"/>
                  </a:lnTo>
                  <a:lnTo>
                    <a:pt x="8" y="40"/>
                  </a:lnTo>
                  <a:close/>
                  <a:moveTo>
                    <a:pt x="3" y="53"/>
                  </a:moveTo>
                  <a:lnTo>
                    <a:pt x="3" y="53"/>
                  </a:lnTo>
                  <a:lnTo>
                    <a:pt x="4" y="49"/>
                  </a:lnTo>
                  <a:lnTo>
                    <a:pt x="4" y="49"/>
                  </a:lnTo>
                  <a:lnTo>
                    <a:pt x="7" y="45"/>
                  </a:lnTo>
                  <a:lnTo>
                    <a:pt x="4" y="45"/>
                  </a:lnTo>
                  <a:lnTo>
                    <a:pt x="4" y="45"/>
                  </a:lnTo>
                  <a:lnTo>
                    <a:pt x="3" y="47"/>
                  </a:lnTo>
                  <a:lnTo>
                    <a:pt x="3" y="47"/>
                  </a:lnTo>
                  <a:lnTo>
                    <a:pt x="0" y="53"/>
                  </a:lnTo>
                  <a:lnTo>
                    <a:pt x="3" y="53"/>
                  </a:lnTo>
                  <a:close/>
                  <a:moveTo>
                    <a:pt x="5" y="68"/>
                  </a:moveTo>
                  <a:lnTo>
                    <a:pt x="5" y="68"/>
                  </a:lnTo>
                  <a:lnTo>
                    <a:pt x="4" y="63"/>
                  </a:lnTo>
                  <a:lnTo>
                    <a:pt x="3" y="59"/>
                  </a:lnTo>
                  <a:lnTo>
                    <a:pt x="0" y="59"/>
                  </a:lnTo>
                  <a:lnTo>
                    <a:pt x="0" y="59"/>
                  </a:lnTo>
                  <a:lnTo>
                    <a:pt x="1" y="63"/>
                  </a:lnTo>
                  <a:lnTo>
                    <a:pt x="4" y="69"/>
                  </a:lnTo>
                  <a:lnTo>
                    <a:pt x="5" y="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67" name="Freeform 1592"/>
            <p:cNvSpPr>
              <a:spLocks noEditPoints="1"/>
            </p:cNvSpPr>
            <p:nvPr/>
          </p:nvSpPr>
          <p:spPr bwMode="auto">
            <a:xfrm>
              <a:off x="5199063" y="4793092"/>
              <a:ext cx="133350" cy="87313"/>
            </a:xfrm>
            <a:custGeom>
              <a:avLst/>
              <a:gdLst>
                <a:gd name="T0" fmla="*/ 7 w 84"/>
                <a:gd name="T1" fmla="*/ 3 h 55"/>
                <a:gd name="T2" fmla="*/ 7 w 84"/>
                <a:gd name="T3" fmla="*/ 3 h 55"/>
                <a:gd name="T4" fmla="*/ 1 w 84"/>
                <a:gd name="T5" fmla="*/ 0 h 55"/>
                <a:gd name="T6" fmla="*/ 0 w 84"/>
                <a:gd name="T7" fmla="*/ 3 h 55"/>
                <a:gd name="T8" fmla="*/ 0 w 84"/>
                <a:gd name="T9" fmla="*/ 3 h 55"/>
                <a:gd name="T10" fmla="*/ 5 w 84"/>
                <a:gd name="T11" fmla="*/ 5 h 55"/>
                <a:gd name="T12" fmla="*/ 7 w 84"/>
                <a:gd name="T13" fmla="*/ 3 h 55"/>
                <a:gd name="T14" fmla="*/ 20 w 84"/>
                <a:gd name="T15" fmla="*/ 10 h 55"/>
                <a:gd name="T16" fmla="*/ 20 w 84"/>
                <a:gd name="T17" fmla="*/ 10 h 55"/>
                <a:gd name="T18" fmla="*/ 11 w 84"/>
                <a:gd name="T19" fmla="*/ 5 h 55"/>
                <a:gd name="T20" fmla="*/ 10 w 84"/>
                <a:gd name="T21" fmla="*/ 8 h 55"/>
                <a:gd name="T22" fmla="*/ 10 w 84"/>
                <a:gd name="T23" fmla="*/ 8 h 55"/>
                <a:gd name="T24" fmla="*/ 18 w 84"/>
                <a:gd name="T25" fmla="*/ 13 h 55"/>
                <a:gd name="T26" fmla="*/ 20 w 84"/>
                <a:gd name="T27" fmla="*/ 10 h 55"/>
                <a:gd name="T28" fmla="*/ 34 w 84"/>
                <a:gd name="T29" fmla="*/ 17 h 55"/>
                <a:gd name="T30" fmla="*/ 34 w 84"/>
                <a:gd name="T31" fmla="*/ 17 h 55"/>
                <a:gd name="T32" fmla="*/ 24 w 84"/>
                <a:gd name="T33" fmla="*/ 13 h 55"/>
                <a:gd name="T34" fmla="*/ 24 w 84"/>
                <a:gd name="T35" fmla="*/ 14 h 55"/>
                <a:gd name="T36" fmla="*/ 24 w 84"/>
                <a:gd name="T37" fmla="*/ 14 h 55"/>
                <a:gd name="T38" fmla="*/ 33 w 84"/>
                <a:gd name="T39" fmla="*/ 20 h 55"/>
                <a:gd name="T40" fmla="*/ 34 w 84"/>
                <a:gd name="T41" fmla="*/ 17 h 55"/>
                <a:gd name="T42" fmla="*/ 47 w 84"/>
                <a:gd name="T43" fmla="*/ 24 h 55"/>
                <a:gd name="T44" fmla="*/ 47 w 84"/>
                <a:gd name="T45" fmla="*/ 24 h 55"/>
                <a:gd name="T46" fmla="*/ 39 w 84"/>
                <a:gd name="T47" fmla="*/ 20 h 55"/>
                <a:gd name="T48" fmla="*/ 37 w 84"/>
                <a:gd name="T49" fmla="*/ 21 h 55"/>
                <a:gd name="T50" fmla="*/ 37 w 84"/>
                <a:gd name="T51" fmla="*/ 21 h 55"/>
                <a:gd name="T52" fmla="*/ 46 w 84"/>
                <a:gd name="T53" fmla="*/ 27 h 55"/>
                <a:gd name="T54" fmla="*/ 47 w 84"/>
                <a:gd name="T55" fmla="*/ 24 h 55"/>
                <a:gd name="T56" fmla="*/ 59 w 84"/>
                <a:gd name="T57" fmla="*/ 34 h 55"/>
                <a:gd name="T58" fmla="*/ 59 w 84"/>
                <a:gd name="T59" fmla="*/ 34 h 55"/>
                <a:gd name="T60" fmla="*/ 56 w 84"/>
                <a:gd name="T61" fmla="*/ 32 h 55"/>
                <a:gd name="T62" fmla="*/ 56 w 84"/>
                <a:gd name="T63" fmla="*/ 32 h 55"/>
                <a:gd name="T64" fmla="*/ 52 w 84"/>
                <a:gd name="T65" fmla="*/ 27 h 55"/>
                <a:gd name="T66" fmla="*/ 50 w 84"/>
                <a:gd name="T67" fmla="*/ 30 h 55"/>
                <a:gd name="T68" fmla="*/ 50 w 84"/>
                <a:gd name="T69" fmla="*/ 30 h 55"/>
                <a:gd name="T70" fmla="*/ 53 w 84"/>
                <a:gd name="T71" fmla="*/ 33 h 55"/>
                <a:gd name="T72" fmla="*/ 53 w 84"/>
                <a:gd name="T73" fmla="*/ 33 h 55"/>
                <a:gd name="T74" fmla="*/ 58 w 84"/>
                <a:gd name="T75" fmla="*/ 36 h 55"/>
                <a:gd name="T76" fmla="*/ 59 w 84"/>
                <a:gd name="T77" fmla="*/ 34 h 55"/>
                <a:gd name="T78" fmla="*/ 71 w 84"/>
                <a:gd name="T79" fmla="*/ 43 h 55"/>
                <a:gd name="T80" fmla="*/ 71 w 84"/>
                <a:gd name="T81" fmla="*/ 43 h 55"/>
                <a:gd name="T82" fmla="*/ 62 w 84"/>
                <a:gd name="T83" fmla="*/ 37 h 55"/>
                <a:gd name="T84" fmla="*/ 60 w 84"/>
                <a:gd name="T85" fmla="*/ 40 h 55"/>
                <a:gd name="T86" fmla="*/ 60 w 84"/>
                <a:gd name="T87" fmla="*/ 40 h 55"/>
                <a:gd name="T88" fmla="*/ 69 w 84"/>
                <a:gd name="T89" fmla="*/ 46 h 55"/>
                <a:gd name="T90" fmla="*/ 71 w 84"/>
                <a:gd name="T91" fmla="*/ 43 h 55"/>
                <a:gd name="T92" fmla="*/ 84 w 84"/>
                <a:gd name="T93" fmla="*/ 52 h 55"/>
                <a:gd name="T94" fmla="*/ 84 w 84"/>
                <a:gd name="T95" fmla="*/ 52 h 55"/>
                <a:gd name="T96" fmla="*/ 75 w 84"/>
                <a:gd name="T97" fmla="*/ 46 h 55"/>
                <a:gd name="T98" fmla="*/ 74 w 84"/>
                <a:gd name="T99" fmla="*/ 49 h 55"/>
                <a:gd name="T100" fmla="*/ 74 w 84"/>
                <a:gd name="T101" fmla="*/ 49 h 55"/>
                <a:gd name="T102" fmla="*/ 82 w 84"/>
                <a:gd name="T103" fmla="*/ 55 h 55"/>
                <a:gd name="T104" fmla="*/ 84 w 84"/>
                <a:gd name="T105"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 h="55">
                  <a:moveTo>
                    <a:pt x="7" y="3"/>
                  </a:moveTo>
                  <a:lnTo>
                    <a:pt x="7" y="3"/>
                  </a:lnTo>
                  <a:lnTo>
                    <a:pt x="1" y="0"/>
                  </a:lnTo>
                  <a:lnTo>
                    <a:pt x="0" y="3"/>
                  </a:lnTo>
                  <a:lnTo>
                    <a:pt x="0" y="3"/>
                  </a:lnTo>
                  <a:lnTo>
                    <a:pt x="5" y="5"/>
                  </a:lnTo>
                  <a:lnTo>
                    <a:pt x="7" y="3"/>
                  </a:lnTo>
                  <a:close/>
                  <a:moveTo>
                    <a:pt x="20" y="10"/>
                  </a:moveTo>
                  <a:lnTo>
                    <a:pt x="20" y="10"/>
                  </a:lnTo>
                  <a:lnTo>
                    <a:pt x="11" y="5"/>
                  </a:lnTo>
                  <a:lnTo>
                    <a:pt x="10" y="8"/>
                  </a:lnTo>
                  <a:lnTo>
                    <a:pt x="10" y="8"/>
                  </a:lnTo>
                  <a:lnTo>
                    <a:pt x="18" y="13"/>
                  </a:lnTo>
                  <a:lnTo>
                    <a:pt x="20" y="10"/>
                  </a:lnTo>
                  <a:close/>
                  <a:moveTo>
                    <a:pt x="34" y="17"/>
                  </a:moveTo>
                  <a:lnTo>
                    <a:pt x="34" y="17"/>
                  </a:lnTo>
                  <a:lnTo>
                    <a:pt x="24" y="13"/>
                  </a:lnTo>
                  <a:lnTo>
                    <a:pt x="24" y="14"/>
                  </a:lnTo>
                  <a:lnTo>
                    <a:pt x="24" y="14"/>
                  </a:lnTo>
                  <a:lnTo>
                    <a:pt x="33" y="20"/>
                  </a:lnTo>
                  <a:lnTo>
                    <a:pt x="34" y="17"/>
                  </a:lnTo>
                  <a:close/>
                  <a:moveTo>
                    <a:pt x="47" y="24"/>
                  </a:moveTo>
                  <a:lnTo>
                    <a:pt x="47" y="24"/>
                  </a:lnTo>
                  <a:lnTo>
                    <a:pt x="39" y="20"/>
                  </a:lnTo>
                  <a:lnTo>
                    <a:pt x="37" y="21"/>
                  </a:lnTo>
                  <a:lnTo>
                    <a:pt x="37" y="21"/>
                  </a:lnTo>
                  <a:lnTo>
                    <a:pt x="46" y="27"/>
                  </a:lnTo>
                  <a:lnTo>
                    <a:pt x="47" y="24"/>
                  </a:lnTo>
                  <a:close/>
                  <a:moveTo>
                    <a:pt x="59" y="34"/>
                  </a:moveTo>
                  <a:lnTo>
                    <a:pt x="59" y="34"/>
                  </a:lnTo>
                  <a:lnTo>
                    <a:pt x="56" y="32"/>
                  </a:lnTo>
                  <a:lnTo>
                    <a:pt x="56" y="32"/>
                  </a:lnTo>
                  <a:lnTo>
                    <a:pt x="52" y="27"/>
                  </a:lnTo>
                  <a:lnTo>
                    <a:pt x="50" y="30"/>
                  </a:lnTo>
                  <a:lnTo>
                    <a:pt x="50" y="30"/>
                  </a:lnTo>
                  <a:lnTo>
                    <a:pt x="53" y="33"/>
                  </a:lnTo>
                  <a:lnTo>
                    <a:pt x="53" y="33"/>
                  </a:lnTo>
                  <a:lnTo>
                    <a:pt x="58" y="36"/>
                  </a:lnTo>
                  <a:lnTo>
                    <a:pt x="59" y="34"/>
                  </a:lnTo>
                  <a:close/>
                  <a:moveTo>
                    <a:pt x="71" y="43"/>
                  </a:moveTo>
                  <a:lnTo>
                    <a:pt x="71" y="43"/>
                  </a:lnTo>
                  <a:lnTo>
                    <a:pt x="62" y="37"/>
                  </a:lnTo>
                  <a:lnTo>
                    <a:pt x="60" y="40"/>
                  </a:lnTo>
                  <a:lnTo>
                    <a:pt x="60" y="40"/>
                  </a:lnTo>
                  <a:lnTo>
                    <a:pt x="69" y="46"/>
                  </a:lnTo>
                  <a:lnTo>
                    <a:pt x="71" y="43"/>
                  </a:lnTo>
                  <a:close/>
                  <a:moveTo>
                    <a:pt x="84" y="52"/>
                  </a:moveTo>
                  <a:lnTo>
                    <a:pt x="84" y="52"/>
                  </a:lnTo>
                  <a:lnTo>
                    <a:pt x="75" y="46"/>
                  </a:lnTo>
                  <a:lnTo>
                    <a:pt x="74" y="49"/>
                  </a:lnTo>
                  <a:lnTo>
                    <a:pt x="74" y="49"/>
                  </a:lnTo>
                  <a:lnTo>
                    <a:pt x="82" y="55"/>
                  </a:lnTo>
                  <a:lnTo>
                    <a:pt x="84"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68" name="Freeform 1593"/>
            <p:cNvSpPr>
              <a:spLocks noEditPoints="1"/>
            </p:cNvSpPr>
            <p:nvPr/>
          </p:nvSpPr>
          <p:spPr bwMode="auto">
            <a:xfrm>
              <a:off x="4565650" y="3927904"/>
              <a:ext cx="403225" cy="804863"/>
            </a:xfrm>
            <a:custGeom>
              <a:avLst/>
              <a:gdLst>
                <a:gd name="T0" fmla="*/ 251 w 254"/>
                <a:gd name="T1" fmla="*/ 15 h 507"/>
                <a:gd name="T2" fmla="*/ 254 w 254"/>
                <a:gd name="T3" fmla="*/ 41 h 507"/>
                <a:gd name="T4" fmla="*/ 254 w 254"/>
                <a:gd name="T5" fmla="*/ 61 h 507"/>
                <a:gd name="T6" fmla="*/ 251 w 254"/>
                <a:gd name="T7" fmla="*/ 86 h 507"/>
                <a:gd name="T8" fmla="*/ 254 w 254"/>
                <a:gd name="T9" fmla="*/ 91 h 507"/>
                <a:gd name="T10" fmla="*/ 251 w 254"/>
                <a:gd name="T11" fmla="*/ 122 h 507"/>
                <a:gd name="T12" fmla="*/ 254 w 254"/>
                <a:gd name="T13" fmla="*/ 146 h 507"/>
                <a:gd name="T14" fmla="*/ 254 w 254"/>
                <a:gd name="T15" fmla="*/ 167 h 507"/>
                <a:gd name="T16" fmla="*/ 251 w 254"/>
                <a:gd name="T17" fmla="*/ 193 h 507"/>
                <a:gd name="T18" fmla="*/ 251 w 254"/>
                <a:gd name="T19" fmla="*/ 197 h 507"/>
                <a:gd name="T20" fmla="*/ 232 w 254"/>
                <a:gd name="T21" fmla="*/ 201 h 507"/>
                <a:gd name="T22" fmla="*/ 231 w 254"/>
                <a:gd name="T23" fmla="*/ 219 h 507"/>
                <a:gd name="T24" fmla="*/ 231 w 254"/>
                <a:gd name="T25" fmla="*/ 233 h 507"/>
                <a:gd name="T26" fmla="*/ 231 w 254"/>
                <a:gd name="T27" fmla="*/ 239 h 507"/>
                <a:gd name="T28" fmla="*/ 231 w 254"/>
                <a:gd name="T29" fmla="*/ 254 h 507"/>
                <a:gd name="T30" fmla="*/ 225 w 254"/>
                <a:gd name="T31" fmla="*/ 267 h 507"/>
                <a:gd name="T32" fmla="*/ 221 w 254"/>
                <a:gd name="T33" fmla="*/ 264 h 507"/>
                <a:gd name="T34" fmla="*/ 216 w 254"/>
                <a:gd name="T35" fmla="*/ 264 h 507"/>
                <a:gd name="T36" fmla="*/ 212 w 254"/>
                <a:gd name="T37" fmla="*/ 271 h 507"/>
                <a:gd name="T38" fmla="*/ 203 w 254"/>
                <a:gd name="T39" fmla="*/ 282 h 507"/>
                <a:gd name="T40" fmla="*/ 200 w 254"/>
                <a:gd name="T41" fmla="*/ 287 h 507"/>
                <a:gd name="T42" fmla="*/ 194 w 254"/>
                <a:gd name="T43" fmla="*/ 311 h 507"/>
                <a:gd name="T44" fmla="*/ 194 w 254"/>
                <a:gd name="T45" fmla="*/ 324 h 507"/>
                <a:gd name="T46" fmla="*/ 190 w 254"/>
                <a:gd name="T47" fmla="*/ 320 h 507"/>
                <a:gd name="T48" fmla="*/ 203 w 254"/>
                <a:gd name="T49" fmla="*/ 329 h 507"/>
                <a:gd name="T50" fmla="*/ 215 w 254"/>
                <a:gd name="T51" fmla="*/ 348 h 507"/>
                <a:gd name="T52" fmla="*/ 212 w 254"/>
                <a:gd name="T53" fmla="*/ 346 h 507"/>
                <a:gd name="T54" fmla="*/ 212 w 254"/>
                <a:gd name="T55" fmla="*/ 352 h 507"/>
                <a:gd name="T56" fmla="*/ 203 w 254"/>
                <a:gd name="T57" fmla="*/ 367 h 507"/>
                <a:gd name="T58" fmla="*/ 196 w 254"/>
                <a:gd name="T59" fmla="*/ 369 h 507"/>
                <a:gd name="T60" fmla="*/ 181 w 254"/>
                <a:gd name="T61" fmla="*/ 377 h 507"/>
                <a:gd name="T62" fmla="*/ 167 w 254"/>
                <a:gd name="T63" fmla="*/ 380 h 507"/>
                <a:gd name="T64" fmla="*/ 163 w 254"/>
                <a:gd name="T65" fmla="*/ 380 h 507"/>
                <a:gd name="T66" fmla="*/ 147 w 254"/>
                <a:gd name="T67" fmla="*/ 397 h 507"/>
                <a:gd name="T68" fmla="*/ 151 w 254"/>
                <a:gd name="T69" fmla="*/ 388 h 507"/>
                <a:gd name="T70" fmla="*/ 147 w 254"/>
                <a:gd name="T71" fmla="*/ 397 h 507"/>
                <a:gd name="T72" fmla="*/ 141 w 254"/>
                <a:gd name="T73" fmla="*/ 395 h 507"/>
                <a:gd name="T74" fmla="*/ 128 w 254"/>
                <a:gd name="T75" fmla="*/ 403 h 507"/>
                <a:gd name="T76" fmla="*/ 115 w 254"/>
                <a:gd name="T77" fmla="*/ 410 h 507"/>
                <a:gd name="T78" fmla="*/ 100 w 254"/>
                <a:gd name="T79" fmla="*/ 416 h 507"/>
                <a:gd name="T80" fmla="*/ 89 w 254"/>
                <a:gd name="T81" fmla="*/ 424 h 507"/>
                <a:gd name="T82" fmla="*/ 80 w 254"/>
                <a:gd name="T83" fmla="*/ 436 h 507"/>
                <a:gd name="T84" fmla="*/ 76 w 254"/>
                <a:gd name="T85" fmla="*/ 449 h 507"/>
                <a:gd name="T86" fmla="*/ 81 w 254"/>
                <a:gd name="T87" fmla="*/ 464 h 507"/>
                <a:gd name="T88" fmla="*/ 89 w 254"/>
                <a:gd name="T89" fmla="*/ 475 h 507"/>
                <a:gd name="T90" fmla="*/ 102 w 254"/>
                <a:gd name="T91" fmla="*/ 494 h 507"/>
                <a:gd name="T92" fmla="*/ 97 w 254"/>
                <a:gd name="T93" fmla="*/ 491 h 507"/>
                <a:gd name="T94" fmla="*/ 93 w 254"/>
                <a:gd name="T95" fmla="*/ 506 h 507"/>
                <a:gd name="T96" fmla="*/ 93 w 254"/>
                <a:gd name="T97" fmla="*/ 504 h 507"/>
                <a:gd name="T98" fmla="*/ 86 w 254"/>
                <a:gd name="T99" fmla="*/ 506 h 507"/>
                <a:gd name="T100" fmla="*/ 71 w 254"/>
                <a:gd name="T101" fmla="*/ 501 h 507"/>
                <a:gd name="T102" fmla="*/ 57 w 254"/>
                <a:gd name="T103" fmla="*/ 500 h 507"/>
                <a:gd name="T104" fmla="*/ 41 w 254"/>
                <a:gd name="T105" fmla="*/ 498 h 507"/>
                <a:gd name="T106" fmla="*/ 26 w 254"/>
                <a:gd name="T107" fmla="*/ 500 h 507"/>
                <a:gd name="T108" fmla="*/ 11 w 254"/>
                <a:gd name="T109" fmla="*/ 500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507">
                  <a:moveTo>
                    <a:pt x="254" y="0"/>
                  </a:moveTo>
                  <a:lnTo>
                    <a:pt x="251" y="0"/>
                  </a:lnTo>
                  <a:lnTo>
                    <a:pt x="251" y="10"/>
                  </a:lnTo>
                  <a:lnTo>
                    <a:pt x="254" y="10"/>
                  </a:lnTo>
                  <a:lnTo>
                    <a:pt x="254" y="0"/>
                  </a:lnTo>
                  <a:close/>
                  <a:moveTo>
                    <a:pt x="254" y="15"/>
                  </a:moveTo>
                  <a:lnTo>
                    <a:pt x="251" y="15"/>
                  </a:lnTo>
                  <a:lnTo>
                    <a:pt x="251" y="25"/>
                  </a:lnTo>
                  <a:lnTo>
                    <a:pt x="254" y="25"/>
                  </a:lnTo>
                  <a:lnTo>
                    <a:pt x="254" y="15"/>
                  </a:lnTo>
                  <a:close/>
                  <a:moveTo>
                    <a:pt x="254" y="30"/>
                  </a:moveTo>
                  <a:lnTo>
                    <a:pt x="251" y="30"/>
                  </a:lnTo>
                  <a:lnTo>
                    <a:pt x="251" y="41"/>
                  </a:lnTo>
                  <a:lnTo>
                    <a:pt x="254" y="41"/>
                  </a:lnTo>
                  <a:lnTo>
                    <a:pt x="254" y="30"/>
                  </a:lnTo>
                  <a:close/>
                  <a:moveTo>
                    <a:pt x="254" y="45"/>
                  </a:moveTo>
                  <a:lnTo>
                    <a:pt x="251" y="45"/>
                  </a:lnTo>
                  <a:lnTo>
                    <a:pt x="251" y="55"/>
                  </a:lnTo>
                  <a:lnTo>
                    <a:pt x="254" y="55"/>
                  </a:lnTo>
                  <a:lnTo>
                    <a:pt x="254" y="45"/>
                  </a:lnTo>
                  <a:close/>
                  <a:moveTo>
                    <a:pt x="254" y="61"/>
                  </a:moveTo>
                  <a:lnTo>
                    <a:pt x="251" y="61"/>
                  </a:lnTo>
                  <a:lnTo>
                    <a:pt x="251" y="71"/>
                  </a:lnTo>
                  <a:lnTo>
                    <a:pt x="254" y="71"/>
                  </a:lnTo>
                  <a:lnTo>
                    <a:pt x="254" y="61"/>
                  </a:lnTo>
                  <a:close/>
                  <a:moveTo>
                    <a:pt x="254" y="75"/>
                  </a:moveTo>
                  <a:lnTo>
                    <a:pt x="251" y="75"/>
                  </a:lnTo>
                  <a:lnTo>
                    <a:pt x="251" y="86"/>
                  </a:lnTo>
                  <a:lnTo>
                    <a:pt x="254" y="86"/>
                  </a:lnTo>
                  <a:lnTo>
                    <a:pt x="254" y="75"/>
                  </a:lnTo>
                  <a:close/>
                  <a:moveTo>
                    <a:pt x="254" y="91"/>
                  </a:moveTo>
                  <a:lnTo>
                    <a:pt x="251" y="91"/>
                  </a:lnTo>
                  <a:lnTo>
                    <a:pt x="251" y="101"/>
                  </a:lnTo>
                  <a:lnTo>
                    <a:pt x="254" y="101"/>
                  </a:lnTo>
                  <a:lnTo>
                    <a:pt x="254" y="91"/>
                  </a:lnTo>
                  <a:close/>
                  <a:moveTo>
                    <a:pt x="254" y="106"/>
                  </a:moveTo>
                  <a:lnTo>
                    <a:pt x="251" y="106"/>
                  </a:lnTo>
                  <a:lnTo>
                    <a:pt x="251" y="116"/>
                  </a:lnTo>
                  <a:lnTo>
                    <a:pt x="254" y="116"/>
                  </a:lnTo>
                  <a:lnTo>
                    <a:pt x="254" y="106"/>
                  </a:lnTo>
                  <a:close/>
                  <a:moveTo>
                    <a:pt x="254" y="122"/>
                  </a:moveTo>
                  <a:lnTo>
                    <a:pt x="251" y="122"/>
                  </a:lnTo>
                  <a:lnTo>
                    <a:pt x="251" y="132"/>
                  </a:lnTo>
                  <a:lnTo>
                    <a:pt x="254" y="132"/>
                  </a:lnTo>
                  <a:lnTo>
                    <a:pt x="254" y="122"/>
                  </a:lnTo>
                  <a:close/>
                  <a:moveTo>
                    <a:pt x="254" y="136"/>
                  </a:moveTo>
                  <a:lnTo>
                    <a:pt x="251" y="136"/>
                  </a:lnTo>
                  <a:lnTo>
                    <a:pt x="251" y="146"/>
                  </a:lnTo>
                  <a:lnTo>
                    <a:pt x="254" y="146"/>
                  </a:lnTo>
                  <a:lnTo>
                    <a:pt x="254" y="136"/>
                  </a:lnTo>
                  <a:close/>
                  <a:moveTo>
                    <a:pt x="254" y="152"/>
                  </a:moveTo>
                  <a:lnTo>
                    <a:pt x="251" y="152"/>
                  </a:lnTo>
                  <a:lnTo>
                    <a:pt x="251" y="162"/>
                  </a:lnTo>
                  <a:lnTo>
                    <a:pt x="254" y="162"/>
                  </a:lnTo>
                  <a:lnTo>
                    <a:pt x="254" y="152"/>
                  </a:lnTo>
                  <a:close/>
                  <a:moveTo>
                    <a:pt x="254" y="167"/>
                  </a:moveTo>
                  <a:lnTo>
                    <a:pt x="251" y="167"/>
                  </a:lnTo>
                  <a:lnTo>
                    <a:pt x="251" y="177"/>
                  </a:lnTo>
                  <a:lnTo>
                    <a:pt x="254" y="177"/>
                  </a:lnTo>
                  <a:lnTo>
                    <a:pt x="254" y="167"/>
                  </a:lnTo>
                  <a:close/>
                  <a:moveTo>
                    <a:pt x="254" y="183"/>
                  </a:moveTo>
                  <a:lnTo>
                    <a:pt x="251" y="183"/>
                  </a:lnTo>
                  <a:lnTo>
                    <a:pt x="251" y="193"/>
                  </a:lnTo>
                  <a:lnTo>
                    <a:pt x="254" y="193"/>
                  </a:lnTo>
                  <a:lnTo>
                    <a:pt x="254" y="183"/>
                  </a:lnTo>
                  <a:close/>
                  <a:moveTo>
                    <a:pt x="248" y="204"/>
                  </a:moveTo>
                  <a:lnTo>
                    <a:pt x="252" y="204"/>
                  </a:lnTo>
                  <a:lnTo>
                    <a:pt x="254" y="204"/>
                  </a:lnTo>
                  <a:lnTo>
                    <a:pt x="254" y="197"/>
                  </a:lnTo>
                  <a:lnTo>
                    <a:pt x="251" y="197"/>
                  </a:lnTo>
                  <a:lnTo>
                    <a:pt x="251" y="201"/>
                  </a:lnTo>
                  <a:lnTo>
                    <a:pt x="248" y="201"/>
                  </a:lnTo>
                  <a:lnTo>
                    <a:pt x="248" y="204"/>
                  </a:lnTo>
                  <a:close/>
                  <a:moveTo>
                    <a:pt x="232" y="204"/>
                  </a:moveTo>
                  <a:lnTo>
                    <a:pt x="242" y="204"/>
                  </a:lnTo>
                  <a:lnTo>
                    <a:pt x="242" y="201"/>
                  </a:lnTo>
                  <a:lnTo>
                    <a:pt x="232" y="201"/>
                  </a:lnTo>
                  <a:lnTo>
                    <a:pt x="232" y="204"/>
                  </a:lnTo>
                  <a:close/>
                  <a:moveTo>
                    <a:pt x="234" y="217"/>
                  </a:moveTo>
                  <a:lnTo>
                    <a:pt x="234" y="217"/>
                  </a:lnTo>
                  <a:lnTo>
                    <a:pt x="234" y="207"/>
                  </a:lnTo>
                  <a:lnTo>
                    <a:pt x="231" y="207"/>
                  </a:lnTo>
                  <a:lnTo>
                    <a:pt x="231" y="207"/>
                  </a:lnTo>
                  <a:lnTo>
                    <a:pt x="231" y="219"/>
                  </a:lnTo>
                  <a:lnTo>
                    <a:pt x="234" y="217"/>
                  </a:lnTo>
                  <a:close/>
                  <a:moveTo>
                    <a:pt x="234" y="233"/>
                  </a:moveTo>
                  <a:lnTo>
                    <a:pt x="234" y="233"/>
                  </a:lnTo>
                  <a:lnTo>
                    <a:pt x="234" y="223"/>
                  </a:lnTo>
                  <a:lnTo>
                    <a:pt x="231" y="223"/>
                  </a:lnTo>
                  <a:lnTo>
                    <a:pt x="231" y="223"/>
                  </a:lnTo>
                  <a:lnTo>
                    <a:pt x="231" y="233"/>
                  </a:lnTo>
                  <a:lnTo>
                    <a:pt x="234" y="233"/>
                  </a:lnTo>
                  <a:close/>
                  <a:moveTo>
                    <a:pt x="234" y="249"/>
                  </a:moveTo>
                  <a:lnTo>
                    <a:pt x="234" y="246"/>
                  </a:lnTo>
                  <a:lnTo>
                    <a:pt x="234" y="246"/>
                  </a:lnTo>
                  <a:lnTo>
                    <a:pt x="234" y="239"/>
                  </a:lnTo>
                  <a:lnTo>
                    <a:pt x="231" y="239"/>
                  </a:lnTo>
                  <a:lnTo>
                    <a:pt x="231" y="239"/>
                  </a:lnTo>
                  <a:lnTo>
                    <a:pt x="231" y="246"/>
                  </a:lnTo>
                  <a:lnTo>
                    <a:pt x="231" y="249"/>
                  </a:lnTo>
                  <a:lnTo>
                    <a:pt x="234" y="249"/>
                  </a:lnTo>
                  <a:close/>
                  <a:moveTo>
                    <a:pt x="234" y="264"/>
                  </a:moveTo>
                  <a:lnTo>
                    <a:pt x="234" y="264"/>
                  </a:lnTo>
                  <a:lnTo>
                    <a:pt x="234" y="254"/>
                  </a:lnTo>
                  <a:lnTo>
                    <a:pt x="231" y="254"/>
                  </a:lnTo>
                  <a:lnTo>
                    <a:pt x="231" y="254"/>
                  </a:lnTo>
                  <a:lnTo>
                    <a:pt x="231" y="264"/>
                  </a:lnTo>
                  <a:lnTo>
                    <a:pt x="234" y="264"/>
                  </a:lnTo>
                  <a:close/>
                  <a:moveTo>
                    <a:pt x="221" y="264"/>
                  </a:moveTo>
                  <a:lnTo>
                    <a:pt x="221" y="264"/>
                  </a:lnTo>
                  <a:lnTo>
                    <a:pt x="225" y="267"/>
                  </a:lnTo>
                  <a:lnTo>
                    <a:pt x="225" y="267"/>
                  </a:lnTo>
                  <a:lnTo>
                    <a:pt x="229" y="268"/>
                  </a:lnTo>
                  <a:lnTo>
                    <a:pt x="229" y="267"/>
                  </a:lnTo>
                  <a:lnTo>
                    <a:pt x="229" y="267"/>
                  </a:lnTo>
                  <a:lnTo>
                    <a:pt x="226" y="265"/>
                  </a:lnTo>
                  <a:lnTo>
                    <a:pt x="226" y="265"/>
                  </a:lnTo>
                  <a:lnTo>
                    <a:pt x="221" y="262"/>
                  </a:lnTo>
                  <a:lnTo>
                    <a:pt x="221" y="264"/>
                  </a:lnTo>
                  <a:close/>
                  <a:moveTo>
                    <a:pt x="213" y="271"/>
                  </a:moveTo>
                  <a:lnTo>
                    <a:pt x="213" y="271"/>
                  </a:lnTo>
                  <a:lnTo>
                    <a:pt x="213" y="271"/>
                  </a:lnTo>
                  <a:lnTo>
                    <a:pt x="215" y="265"/>
                  </a:lnTo>
                  <a:lnTo>
                    <a:pt x="215" y="265"/>
                  </a:lnTo>
                  <a:lnTo>
                    <a:pt x="215" y="264"/>
                  </a:lnTo>
                  <a:lnTo>
                    <a:pt x="216" y="264"/>
                  </a:lnTo>
                  <a:lnTo>
                    <a:pt x="215" y="261"/>
                  </a:lnTo>
                  <a:lnTo>
                    <a:pt x="215" y="261"/>
                  </a:lnTo>
                  <a:lnTo>
                    <a:pt x="213" y="262"/>
                  </a:lnTo>
                  <a:lnTo>
                    <a:pt x="213" y="262"/>
                  </a:lnTo>
                  <a:lnTo>
                    <a:pt x="212" y="267"/>
                  </a:lnTo>
                  <a:lnTo>
                    <a:pt x="212" y="271"/>
                  </a:lnTo>
                  <a:lnTo>
                    <a:pt x="212" y="271"/>
                  </a:lnTo>
                  <a:lnTo>
                    <a:pt x="213" y="271"/>
                  </a:lnTo>
                  <a:close/>
                  <a:moveTo>
                    <a:pt x="205" y="284"/>
                  </a:moveTo>
                  <a:lnTo>
                    <a:pt x="205" y="284"/>
                  </a:lnTo>
                  <a:lnTo>
                    <a:pt x="212" y="277"/>
                  </a:lnTo>
                  <a:lnTo>
                    <a:pt x="209" y="275"/>
                  </a:lnTo>
                  <a:lnTo>
                    <a:pt x="209" y="275"/>
                  </a:lnTo>
                  <a:lnTo>
                    <a:pt x="203" y="282"/>
                  </a:lnTo>
                  <a:lnTo>
                    <a:pt x="205" y="284"/>
                  </a:lnTo>
                  <a:close/>
                  <a:moveTo>
                    <a:pt x="197" y="297"/>
                  </a:moveTo>
                  <a:lnTo>
                    <a:pt x="197" y="297"/>
                  </a:lnTo>
                  <a:lnTo>
                    <a:pt x="200" y="290"/>
                  </a:lnTo>
                  <a:lnTo>
                    <a:pt x="200" y="290"/>
                  </a:lnTo>
                  <a:lnTo>
                    <a:pt x="202" y="288"/>
                  </a:lnTo>
                  <a:lnTo>
                    <a:pt x="200" y="287"/>
                  </a:lnTo>
                  <a:lnTo>
                    <a:pt x="200" y="287"/>
                  </a:lnTo>
                  <a:lnTo>
                    <a:pt x="197" y="288"/>
                  </a:lnTo>
                  <a:lnTo>
                    <a:pt x="197" y="288"/>
                  </a:lnTo>
                  <a:lnTo>
                    <a:pt x="194" y="296"/>
                  </a:lnTo>
                  <a:lnTo>
                    <a:pt x="197" y="297"/>
                  </a:lnTo>
                  <a:close/>
                  <a:moveTo>
                    <a:pt x="194" y="311"/>
                  </a:moveTo>
                  <a:lnTo>
                    <a:pt x="194" y="311"/>
                  </a:lnTo>
                  <a:lnTo>
                    <a:pt x="196" y="301"/>
                  </a:lnTo>
                  <a:lnTo>
                    <a:pt x="193" y="301"/>
                  </a:lnTo>
                  <a:lnTo>
                    <a:pt x="193" y="301"/>
                  </a:lnTo>
                  <a:lnTo>
                    <a:pt x="192" y="311"/>
                  </a:lnTo>
                  <a:lnTo>
                    <a:pt x="194" y="311"/>
                  </a:lnTo>
                  <a:close/>
                  <a:moveTo>
                    <a:pt x="194" y="324"/>
                  </a:moveTo>
                  <a:lnTo>
                    <a:pt x="194" y="324"/>
                  </a:lnTo>
                  <a:lnTo>
                    <a:pt x="193" y="323"/>
                  </a:lnTo>
                  <a:lnTo>
                    <a:pt x="193" y="320"/>
                  </a:lnTo>
                  <a:lnTo>
                    <a:pt x="193" y="320"/>
                  </a:lnTo>
                  <a:lnTo>
                    <a:pt x="193" y="316"/>
                  </a:lnTo>
                  <a:lnTo>
                    <a:pt x="190" y="316"/>
                  </a:lnTo>
                  <a:lnTo>
                    <a:pt x="190" y="316"/>
                  </a:lnTo>
                  <a:lnTo>
                    <a:pt x="190" y="320"/>
                  </a:lnTo>
                  <a:lnTo>
                    <a:pt x="190" y="320"/>
                  </a:lnTo>
                  <a:lnTo>
                    <a:pt x="190" y="323"/>
                  </a:lnTo>
                  <a:lnTo>
                    <a:pt x="193" y="326"/>
                  </a:lnTo>
                  <a:lnTo>
                    <a:pt x="194" y="324"/>
                  </a:lnTo>
                  <a:close/>
                  <a:moveTo>
                    <a:pt x="206" y="333"/>
                  </a:moveTo>
                  <a:lnTo>
                    <a:pt x="206" y="333"/>
                  </a:lnTo>
                  <a:lnTo>
                    <a:pt x="203" y="329"/>
                  </a:lnTo>
                  <a:lnTo>
                    <a:pt x="199" y="326"/>
                  </a:lnTo>
                  <a:lnTo>
                    <a:pt x="197" y="329"/>
                  </a:lnTo>
                  <a:lnTo>
                    <a:pt x="197" y="329"/>
                  </a:lnTo>
                  <a:lnTo>
                    <a:pt x="202" y="330"/>
                  </a:lnTo>
                  <a:lnTo>
                    <a:pt x="205" y="335"/>
                  </a:lnTo>
                  <a:lnTo>
                    <a:pt x="206" y="333"/>
                  </a:lnTo>
                  <a:close/>
                  <a:moveTo>
                    <a:pt x="215" y="348"/>
                  </a:moveTo>
                  <a:lnTo>
                    <a:pt x="215" y="348"/>
                  </a:lnTo>
                  <a:lnTo>
                    <a:pt x="213" y="345"/>
                  </a:lnTo>
                  <a:lnTo>
                    <a:pt x="213" y="345"/>
                  </a:lnTo>
                  <a:lnTo>
                    <a:pt x="209" y="338"/>
                  </a:lnTo>
                  <a:lnTo>
                    <a:pt x="207" y="339"/>
                  </a:lnTo>
                  <a:lnTo>
                    <a:pt x="207" y="339"/>
                  </a:lnTo>
                  <a:lnTo>
                    <a:pt x="212" y="346"/>
                  </a:lnTo>
                  <a:lnTo>
                    <a:pt x="212" y="348"/>
                  </a:lnTo>
                  <a:lnTo>
                    <a:pt x="215" y="348"/>
                  </a:lnTo>
                  <a:close/>
                  <a:moveTo>
                    <a:pt x="209" y="361"/>
                  </a:moveTo>
                  <a:lnTo>
                    <a:pt x="209" y="361"/>
                  </a:lnTo>
                  <a:lnTo>
                    <a:pt x="212" y="358"/>
                  </a:lnTo>
                  <a:lnTo>
                    <a:pt x="215" y="352"/>
                  </a:lnTo>
                  <a:lnTo>
                    <a:pt x="212" y="352"/>
                  </a:lnTo>
                  <a:lnTo>
                    <a:pt x="212" y="352"/>
                  </a:lnTo>
                  <a:lnTo>
                    <a:pt x="210" y="356"/>
                  </a:lnTo>
                  <a:lnTo>
                    <a:pt x="206" y="359"/>
                  </a:lnTo>
                  <a:lnTo>
                    <a:pt x="209" y="361"/>
                  </a:lnTo>
                  <a:close/>
                  <a:moveTo>
                    <a:pt x="197" y="372"/>
                  </a:moveTo>
                  <a:lnTo>
                    <a:pt x="197" y="372"/>
                  </a:lnTo>
                  <a:lnTo>
                    <a:pt x="203" y="367"/>
                  </a:lnTo>
                  <a:lnTo>
                    <a:pt x="203" y="367"/>
                  </a:lnTo>
                  <a:lnTo>
                    <a:pt x="205" y="365"/>
                  </a:lnTo>
                  <a:lnTo>
                    <a:pt x="203" y="364"/>
                  </a:lnTo>
                  <a:lnTo>
                    <a:pt x="203" y="364"/>
                  </a:lnTo>
                  <a:lnTo>
                    <a:pt x="202" y="365"/>
                  </a:lnTo>
                  <a:lnTo>
                    <a:pt x="202" y="365"/>
                  </a:lnTo>
                  <a:lnTo>
                    <a:pt x="196" y="369"/>
                  </a:lnTo>
                  <a:lnTo>
                    <a:pt x="197" y="372"/>
                  </a:lnTo>
                  <a:close/>
                  <a:moveTo>
                    <a:pt x="183" y="378"/>
                  </a:moveTo>
                  <a:lnTo>
                    <a:pt x="183" y="378"/>
                  </a:lnTo>
                  <a:lnTo>
                    <a:pt x="193" y="374"/>
                  </a:lnTo>
                  <a:lnTo>
                    <a:pt x="192" y="372"/>
                  </a:lnTo>
                  <a:lnTo>
                    <a:pt x="192" y="372"/>
                  </a:lnTo>
                  <a:lnTo>
                    <a:pt x="181" y="377"/>
                  </a:lnTo>
                  <a:lnTo>
                    <a:pt x="183" y="378"/>
                  </a:lnTo>
                  <a:close/>
                  <a:moveTo>
                    <a:pt x="168" y="382"/>
                  </a:moveTo>
                  <a:lnTo>
                    <a:pt x="168" y="382"/>
                  </a:lnTo>
                  <a:lnTo>
                    <a:pt x="179" y="380"/>
                  </a:lnTo>
                  <a:lnTo>
                    <a:pt x="177" y="378"/>
                  </a:lnTo>
                  <a:lnTo>
                    <a:pt x="177" y="378"/>
                  </a:lnTo>
                  <a:lnTo>
                    <a:pt x="167" y="380"/>
                  </a:lnTo>
                  <a:lnTo>
                    <a:pt x="168" y="382"/>
                  </a:lnTo>
                  <a:close/>
                  <a:moveTo>
                    <a:pt x="154" y="384"/>
                  </a:moveTo>
                  <a:lnTo>
                    <a:pt x="154" y="384"/>
                  </a:lnTo>
                  <a:lnTo>
                    <a:pt x="157" y="382"/>
                  </a:lnTo>
                  <a:lnTo>
                    <a:pt x="157" y="382"/>
                  </a:lnTo>
                  <a:lnTo>
                    <a:pt x="163" y="382"/>
                  </a:lnTo>
                  <a:lnTo>
                    <a:pt x="163" y="380"/>
                  </a:lnTo>
                  <a:lnTo>
                    <a:pt x="163" y="380"/>
                  </a:lnTo>
                  <a:lnTo>
                    <a:pt x="157" y="380"/>
                  </a:lnTo>
                  <a:lnTo>
                    <a:pt x="157" y="380"/>
                  </a:lnTo>
                  <a:lnTo>
                    <a:pt x="152" y="382"/>
                  </a:lnTo>
                  <a:lnTo>
                    <a:pt x="154" y="384"/>
                  </a:lnTo>
                  <a:close/>
                  <a:moveTo>
                    <a:pt x="147" y="397"/>
                  </a:moveTo>
                  <a:lnTo>
                    <a:pt x="147" y="397"/>
                  </a:lnTo>
                  <a:lnTo>
                    <a:pt x="151" y="394"/>
                  </a:lnTo>
                  <a:lnTo>
                    <a:pt x="151" y="394"/>
                  </a:lnTo>
                  <a:lnTo>
                    <a:pt x="152" y="393"/>
                  </a:lnTo>
                  <a:lnTo>
                    <a:pt x="152" y="390"/>
                  </a:lnTo>
                  <a:lnTo>
                    <a:pt x="152" y="390"/>
                  </a:lnTo>
                  <a:lnTo>
                    <a:pt x="152" y="388"/>
                  </a:lnTo>
                  <a:lnTo>
                    <a:pt x="151" y="388"/>
                  </a:lnTo>
                  <a:lnTo>
                    <a:pt x="151" y="388"/>
                  </a:lnTo>
                  <a:lnTo>
                    <a:pt x="151" y="390"/>
                  </a:lnTo>
                  <a:lnTo>
                    <a:pt x="151" y="390"/>
                  </a:lnTo>
                  <a:lnTo>
                    <a:pt x="150" y="393"/>
                  </a:lnTo>
                  <a:lnTo>
                    <a:pt x="150" y="393"/>
                  </a:lnTo>
                  <a:lnTo>
                    <a:pt x="147" y="394"/>
                  </a:lnTo>
                  <a:lnTo>
                    <a:pt x="147" y="397"/>
                  </a:lnTo>
                  <a:close/>
                  <a:moveTo>
                    <a:pt x="132" y="400"/>
                  </a:moveTo>
                  <a:lnTo>
                    <a:pt x="134" y="400"/>
                  </a:lnTo>
                  <a:lnTo>
                    <a:pt x="134" y="400"/>
                  </a:lnTo>
                  <a:lnTo>
                    <a:pt x="137" y="398"/>
                  </a:lnTo>
                  <a:lnTo>
                    <a:pt x="142" y="397"/>
                  </a:lnTo>
                  <a:lnTo>
                    <a:pt x="141" y="395"/>
                  </a:lnTo>
                  <a:lnTo>
                    <a:pt x="141" y="395"/>
                  </a:lnTo>
                  <a:lnTo>
                    <a:pt x="137" y="395"/>
                  </a:lnTo>
                  <a:lnTo>
                    <a:pt x="132" y="397"/>
                  </a:lnTo>
                  <a:lnTo>
                    <a:pt x="131" y="398"/>
                  </a:lnTo>
                  <a:lnTo>
                    <a:pt x="132" y="400"/>
                  </a:lnTo>
                  <a:close/>
                  <a:moveTo>
                    <a:pt x="119" y="407"/>
                  </a:moveTo>
                  <a:lnTo>
                    <a:pt x="119" y="407"/>
                  </a:lnTo>
                  <a:lnTo>
                    <a:pt x="128" y="403"/>
                  </a:lnTo>
                  <a:lnTo>
                    <a:pt x="126" y="400"/>
                  </a:lnTo>
                  <a:lnTo>
                    <a:pt x="126" y="400"/>
                  </a:lnTo>
                  <a:lnTo>
                    <a:pt x="118" y="406"/>
                  </a:lnTo>
                  <a:lnTo>
                    <a:pt x="119" y="407"/>
                  </a:lnTo>
                  <a:close/>
                  <a:moveTo>
                    <a:pt x="105" y="414"/>
                  </a:moveTo>
                  <a:lnTo>
                    <a:pt x="105" y="414"/>
                  </a:lnTo>
                  <a:lnTo>
                    <a:pt x="115" y="410"/>
                  </a:lnTo>
                  <a:lnTo>
                    <a:pt x="113" y="407"/>
                  </a:lnTo>
                  <a:lnTo>
                    <a:pt x="113" y="407"/>
                  </a:lnTo>
                  <a:lnTo>
                    <a:pt x="105" y="411"/>
                  </a:lnTo>
                  <a:lnTo>
                    <a:pt x="105" y="414"/>
                  </a:lnTo>
                  <a:close/>
                  <a:moveTo>
                    <a:pt x="93" y="420"/>
                  </a:moveTo>
                  <a:lnTo>
                    <a:pt x="93" y="420"/>
                  </a:lnTo>
                  <a:lnTo>
                    <a:pt x="100" y="416"/>
                  </a:lnTo>
                  <a:lnTo>
                    <a:pt x="99" y="413"/>
                  </a:lnTo>
                  <a:lnTo>
                    <a:pt x="99" y="413"/>
                  </a:lnTo>
                  <a:lnTo>
                    <a:pt x="90" y="419"/>
                  </a:lnTo>
                  <a:lnTo>
                    <a:pt x="93" y="420"/>
                  </a:lnTo>
                  <a:close/>
                  <a:moveTo>
                    <a:pt x="83" y="432"/>
                  </a:moveTo>
                  <a:lnTo>
                    <a:pt x="83" y="432"/>
                  </a:lnTo>
                  <a:lnTo>
                    <a:pt x="89" y="424"/>
                  </a:lnTo>
                  <a:lnTo>
                    <a:pt x="87" y="423"/>
                  </a:lnTo>
                  <a:lnTo>
                    <a:pt x="87" y="423"/>
                  </a:lnTo>
                  <a:lnTo>
                    <a:pt x="80" y="430"/>
                  </a:lnTo>
                  <a:lnTo>
                    <a:pt x="83" y="432"/>
                  </a:lnTo>
                  <a:close/>
                  <a:moveTo>
                    <a:pt x="76" y="445"/>
                  </a:moveTo>
                  <a:lnTo>
                    <a:pt x="76" y="445"/>
                  </a:lnTo>
                  <a:lnTo>
                    <a:pt x="80" y="436"/>
                  </a:lnTo>
                  <a:lnTo>
                    <a:pt x="77" y="435"/>
                  </a:lnTo>
                  <a:lnTo>
                    <a:pt x="77" y="435"/>
                  </a:lnTo>
                  <a:lnTo>
                    <a:pt x="73" y="445"/>
                  </a:lnTo>
                  <a:lnTo>
                    <a:pt x="76" y="445"/>
                  </a:lnTo>
                  <a:close/>
                  <a:moveTo>
                    <a:pt x="79" y="458"/>
                  </a:moveTo>
                  <a:lnTo>
                    <a:pt x="79" y="458"/>
                  </a:lnTo>
                  <a:lnTo>
                    <a:pt x="76" y="449"/>
                  </a:lnTo>
                  <a:lnTo>
                    <a:pt x="73" y="449"/>
                  </a:lnTo>
                  <a:lnTo>
                    <a:pt x="73" y="449"/>
                  </a:lnTo>
                  <a:lnTo>
                    <a:pt x="76" y="459"/>
                  </a:lnTo>
                  <a:lnTo>
                    <a:pt x="79" y="458"/>
                  </a:lnTo>
                  <a:close/>
                  <a:moveTo>
                    <a:pt x="86" y="472"/>
                  </a:moveTo>
                  <a:lnTo>
                    <a:pt x="86" y="472"/>
                  </a:lnTo>
                  <a:lnTo>
                    <a:pt x="81" y="464"/>
                  </a:lnTo>
                  <a:lnTo>
                    <a:pt x="79" y="464"/>
                  </a:lnTo>
                  <a:lnTo>
                    <a:pt x="79" y="464"/>
                  </a:lnTo>
                  <a:lnTo>
                    <a:pt x="84" y="472"/>
                  </a:lnTo>
                  <a:lnTo>
                    <a:pt x="86" y="472"/>
                  </a:lnTo>
                  <a:close/>
                  <a:moveTo>
                    <a:pt x="95" y="484"/>
                  </a:moveTo>
                  <a:lnTo>
                    <a:pt x="95" y="484"/>
                  </a:lnTo>
                  <a:lnTo>
                    <a:pt x="89" y="475"/>
                  </a:lnTo>
                  <a:lnTo>
                    <a:pt x="87" y="477"/>
                  </a:lnTo>
                  <a:lnTo>
                    <a:pt x="87" y="477"/>
                  </a:lnTo>
                  <a:lnTo>
                    <a:pt x="93" y="485"/>
                  </a:lnTo>
                  <a:lnTo>
                    <a:pt x="95" y="484"/>
                  </a:lnTo>
                  <a:close/>
                  <a:moveTo>
                    <a:pt x="103" y="497"/>
                  </a:moveTo>
                  <a:lnTo>
                    <a:pt x="103" y="497"/>
                  </a:lnTo>
                  <a:lnTo>
                    <a:pt x="102" y="494"/>
                  </a:lnTo>
                  <a:lnTo>
                    <a:pt x="99" y="490"/>
                  </a:lnTo>
                  <a:lnTo>
                    <a:pt x="99" y="490"/>
                  </a:lnTo>
                  <a:lnTo>
                    <a:pt x="97" y="488"/>
                  </a:lnTo>
                  <a:lnTo>
                    <a:pt x="96" y="490"/>
                  </a:lnTo>
                  <a:lnTo>
                    <a:pt x="96" y="490"/>
                  </a:lnTo>
                  <a:lnTo>
                    <a:pt x="97" y="491"/>
                  </a:lnTo>
                  <a:lnTo>
                    <a:pt x="97" y="491"/>
                  </a:lnTo>
                  <a:lnTo>
                    <a:pt x="100" y="494"/>
                  </a:lnTo>
                  <a:lnTo>
                    <a:pt x="100" y="497"/>
                  </a:lnTo>
                  <a:lnTo>
                    <a:pt x="103" y="497"/>
                  </a:lnTo>
                  <a:close/>
                  <a:moveTo>
                    <a:pt x="92" y="506"/>
                  </a:moveTo>
                  <a:lnTo>
                    <a:pt x="92" y="507"/>
                  </a:lnTo>
                  <a:lnTo>
                    <a:pt x="92" y="507"/>
                  </a:lnTo>
                  <a:lnTo>
                    <a:pt x="93" y="506"/>
                  </a:lnTo>
                  <a:lnTo>
                    <a:pt x="93" y="506"/>
                  </a:lnTo>
                  <a:lnTo>
                    <a:pt x="97" y="506"/>
                  </a:lnTo>
                  <a:lnTo>
                    <a:pt x="102" y="503"/>
                  </a:lnTo>
                  <a:lnTo>
                    <a:pt x="99" y="501"/>
                  </a:lnTo>
                  <a:lnTo>
                    <a:pt x="99" y="501"/>
                  </a:lnTo>
                  <a:lnTo>
                    <a:pt x="97" y="503"/>
                  </a:lnTo>
                  <a:lnTo>
                    <a:pt x="93" y="504"/>
                  </a:lnTo>
                  <a:lnTo>
                    <a:pt x="93" y="504"/>
                  </a:lnTo>
                  <a:lnTo>
                    <a:pt x="92" y="504"/>
                  </a:lnTo>
                  <a:lnTo>
                    <a:pt x="92" y="504"/>
                  </a:lnTo>
                  <a:lnTo>
                    <a:pt x="92" y="506"/>
                  </a:lnTo>
                  <a:close/>
                  <a:moveTo>
                    <a:pt x="76" y="503"/>
                  </a:moveTo>
                  <a:lnTo>
                    <a:pt x="76" y="503"/>
                  </a:lnTo>
                  <a:lnTo>
                    <a:pt x="86" y="506"/>
                  </a:lnTo>
                  <a:lnTo>
                    <a:pt x="86" y="503"/>
                  </a:lnTo>
                  <a:lnTo>
                    <a:pt x="86" y="503"/>
                  </a:lnTo>
                  <a:lnTo>
                    <a:pt x="77" y="501"/>
                  </a:lnTo>
                  <a:lnTo>
                    <a:pt x="76" y="503"/>
                  </a:lnTo>
                  <a:close/>
                  <a:moveTo>
                    <a:pt x="61" y="500"/>
                  </a:moveTo>
                  <a:lnTo>
                    <a:pt x="61" y="500"/>
                  </a:lnTo>
                  <a:lnTo>
                    <a:pt x="71" y="501"/>
                  </a:lnTo>
                  <a:lnTo>
                    <a:pt x="71" y="500"/>
                  </a:lnTo>
                  <a:lnTo>
                    <a:pt x="71" y="500"/>
                  </a:lnTo>
                  <a:lnTo>
                    <a:pt x="61" y="497"/>
                  </a:lnTo>
                  <a:lnTo>
                    <a:pt x="61" y="500"/>
                  </a:lnTo>
                  <a:close/>
                  <a:moveTo>
                    <a:pt x="47" y="498"/>
                  </a:moveTo>
                  <a:lnTo>
                    <a:pt x="47" y="498"/>
                  </a:lnTo>
                  <a:lnTo>
                    <a:pt x="57" y="500"/>
                  </a:lnTo>
                  <a:lnTo>
                    <a:pt x="57" y="497"/>
                  </a:lnTo>
                  <a:lnTo>
                    <a:pt x="57" y="497"/>
                  </a:lnTo>
                  <a:lnTo>
                    <a:pt x="47" y="497"/>
                  </a:lnTo>
                  <a:lnTo>
                    <a:pt x="47" y="498"/>
                  </a:lnTo>
                  <a:close/>
                  <a:moveTo>
                    <a:pt x="31" y="498"/>
                  </a:moveTo>
                  <a:lnTo>
                    <a:pt x="31" y="498"/>
                  </a:lnTo>
                  <a:lnTo>
                    <a:pt x="41" y="498"/>
                  </a:lnTo>
                  <a:lnTo>
                    <a:pt x="41" y="497"/>
                  </a:lnTo>
                  <a:lnTo>
                    <a:pt x="41" y="497"/>
                  </a:lnTo>
                  <a:lnTo>
                    <a:pt x="31" y="497"/>
                  </a:lnTo>
                  <a:lnTo>
                    <a:pt x="31" y="498"/>
                  </a:lnTo>
                  <a:close/>
                  <a:moveTo>
                    <a:pt x="16" y="500"/>
                  </a:moveTo>
                  <a:lnTo>
                    <a:pt x="16" y="500"/>
                  </a:lnTo>
                  <a:lnTo>
                    <a:pt x="26" y="500"/>
                  </a:lnTo>
                  <a:lnTo>
                    <a:pt x="26" y="497"/>
                  </a:lnTo>
                  <a:lnTo>
                    <a:pt x="26" y="497"/>
                  </a:lnTo>
                  <a:lnTo>
                    <a:pt x="16" y="497"/>
                  </a:lnTo>
                  <a:lnTo>
                    <a:pt x="16" y="500"/>
                  </a:lnTo>
                  <a:close/>
                  <a:moveTo>
                    <a:pt x="0" y="500"/>
                  </a:moveTo>
                  <a:lnTo>
                    <a:pt x="0" y="500"/>
                  </a:lnTo>
                  <a:lnTo>
                    <a:pt x="11" y="500"/>
                  </a:lnTo>
                  <a:lnTo>
                    <a:pt x="11" y="497"/>
                  </a:lnTo>
                  <a:lnTo>
                    <a:pt x="11" y="497"/>
                  </a:lnTo>
                  <a:lnTo>
                    <a:pt x="0" y="497"/>
                  </a:lnTo>
                  <a:lnTo>
                    <a:pt x="0" y="5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69" name="Freeform 1594"/>
            <p:cNvSpPr>
              <a:spLocks noEditPoints="1"/>
            </p:cNvSpPr>
            <p:nvPr/>
          </p:nvSpPr>
          <p:spPr bwMode="auto">
            <a:xfrm>
              <a:off x="4965701" y="4175554"/>
              <a:ext cx="280988" cy="34925"/>
            </a:xfrm>
            <a:custGeom>
              <a:avLst/>
              <a:gdLst>
                <a:gd name="T0" fmla="*/ 0 w 177"/>
                <a:gd name="T1" fmla="*/ 11 h 22"/>
                <a:gd name="T2" fmla="*/ 2 w 177"/>
                <a:gd name="T3" fmla="*/ 14 h 22"/>
                <a:gd name="T4" fmla="*/ 18 w 177"/>
                <a:gd name="T5" fmla="*/ 11 h 22"/>
                <a:gd name="T6" fmla="*/ 8 w 177"/>
                <a:gd name="T7" fmla="*/ 14 h 22"/>
                <a:gd name="T8" fmla="*/ 18 w 177"/>
                <a:gd name="T9" fmla="*/ 11 h 22"/>
                <a:gd name="T10" fmla="*/ 22 w 177"/>
                <a:gd name="T11" fmla="*/ 11 h 22"/>
                <a:gd name="T12" fmla="*/ 32 w 177"/>
                <a:gd name="T13" fmla="*/ 14 h 22"/>
                <a:gd name="T14" fmla="*/ 48 w 177"/>
                <a:gd name="T15" fmla="*/ 11 h 22"/>
                <a:gd name="T16" fmla="*/ 38 w 177"/>
                <a:gd name="T17" fmla="*/ 14 h 22"/>
                <a:gd name="T18" fmla="*/ 48 w 177"/>
                <a:gd name="T19" fmla="*/ 11 h 22"/>
                <a:gd name="T20" fmla="*/ 53 w 177"/>
                <a:gd name="T21" fmla="*/ 11 h 22"/>
                <a:gd name="T22" fmla="*/ 63 w 177"/>
                <a:gd name="T23" fmla="*/ 14 h 22"/>
                <a:gd name="T24" fmla="*/ 79 w 177"/>
                <a:gd name="T25" fmla="*/ 11 h 22"/>
                <a:gd name="T26" fmla="*/ 68 w 177"/>
                <a:gd name="T27" fmla="*/ 14 h 22"/>
                <a:gd name="T28" fmla="*/ 79 w 177"/>
                <a:gd name="T29" fmla="*/ 11 h 22"/>
                <a:gd name="T30" fmla="*/ 83 w 177"/>
                <a:gd name="T31" fmla="*/ 11 h 22"/>
                <a:gd name="T32" fmla="*/ 93 w 177"/>
                <a:gd name="T33" fmla="*/ 14 h 22"/>
                <a:gd name="T34" fmla="*/ 109 w 177"/>
                <a:gd name="T35" fmla="*/ 12 h 22"/>
                <a:gd name="T36" fmla="*/ 100 w 177"/>
                <a:gd name="T37" fmla="*/ 11 h 22"/>
                <a:gd name="T38" fmla="*/ 99 w 177"/>
                <a:gd name="T39" fmla="*/ 14 h 22"/>
                <a:gd name="T40" fmla="*/ 100 w 177"/>
                <a:gd name="T41" fmla="*/ 14 h 22"/>
                <a:gd name="T42" fmla="*/ 109 w 177"/>
                <a:gd name="T43" fmla="*/ 12 h 22"/>
                <a:gd name="T44" fmla="*/ 123 w 177"/>
                <a:gd name="T45" fmla="*/ 15 h 22"/>
                <a:gd name="T46" fmla="*/ 113 w 177"/>
                <a:gd name="T47" fmla="*/ 15 h 22"/>
                <a:gd name="T48" fmla="*/ 123 w 177"/>
                <a:gd name="T49" fmla="*/ 16 h 22"/>
                <a:gd name="T50" fmla="*/ 139 w 177"/>
                <a:gd name="T51" fmla="*/ 18 h 22"/>
                <a:gd name="T52" fmla="*/ 129 w 177"/>
                <a:gd name="T53" fmla="*/ 15 h 22"/>
                <a:gd name="T54" fmla="*/ 128 w 177"/>
                <a:gd name="T55" fmla="*/ 18 h 22"/>
                <a:gd name="T56" fmla="*/ 139 w 177"/>
                <a:gd name="T57" fmla="*/ 18 h 22"/>
                <a:gd name="T58" fmla="*/ 152 w 177"/>
                <a:gd name="T59" fmla="*/ 18 h 22"/>
                <a:gd name="T60" fmla="*/ 148 w 177"/>
                <a:gd name="T61" fmla="*/ 19 h 22"/>
                <a:gd name="T62" fmla="*/ 144 w 177"/>
                <a:gd name="T63" fmla="*/ 22 h 22"/>
                <a:gd name="T64" fmla="*/ 148 w 177"/>
                <a:gd name="T65" fmla="*/ 22 h 22"/>
                <a:gd name="T66" fmla="*/ 151 w 177"/>
                <a:gd name="T67" fmla="*/ 22 h 22"/>
                <a:gd name="T68" fmla="*/ 152 w 177"/>
                <a:gd name="T69" fmla="*/ 18 h 22"/>
                <a:gd name="T70" fmla="*/ 163 w 177"/>
                <a:gd name="T71" fmla="*/ 8 h 22"/>
                <a:gd name="T72" fmla="*/ 158 w 177"/>
                <a:gd name="T73" fmla="*/ 16 h 22"/>
                <a:gd name="T74" fmla="*/ 165 w 177"/>
                <a:gd name="T75" fmla="*/ 9 h 22"/>
                <a:gd name="T76" fmla="*/ 177 w 177"/>
                <a:gd name="T77" fmla="*/ 0 h 22"/>
                <a:gd name="T78" fmla="*/ 167 w 177"/>
                <a:gd name="T79" fmla="*/ 3 h 22"/>
                <a:gd name="T80" fmla="*/ 168 w 177"/>
                <a:gd name="T81" fmla="*/ 6 h 22"/>
                <a:gd name="T82" fmla="*/ 177 w 177"/>
                <a:gd name="T8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7" h="22">
                  <a:moveTo>
                    <a:pt x="2" y="11"/>
                  </a:moveTo>
                  <a:lnTo>
                    <a:pt x="0" y="11"/>
                  </a:lnTo>
                  <a:lnTo>
                    <a:pt x="0" y="14"/>
                  </a:lnTo>
                  <a:lnTo>
                    <a:pt x="2" y="14"/>
                  </a:lnTo>
                  <a:lnTo>
                    <a:pt x="2" y="11"/>
                  </a:lnTo>
                  <a:close/>
                  <a:moveTo>
                    <a:pt x="18" y="11"/>
                  </a:moveTo>
                  <a:lnTo>
                    <a:pt x="8" y="11"/>
                  </a:lnTo>
                  <a:lnTo>
                    <a:pt x="8" y="14"/>
                  </a:lnTo>
                  <a:lnTo>
                    <a:pt x="18" y="14"/>
                  </a:lnTo>
                  <a:lnTo>
                    <a:pt x="18" y="11"/>
                  </a:lnTo>
                  <a:close/>
                  <a:moveTo>
                    <a:pt x="32" y="11"/>
                  </a:moveTo>
                  <a:lnTo>
                    <a:pt x="22" y="11"/>
                  </a:lnTo>
                  <a:lnTo>
                    <a:pt x="22" y="14"/>
                  </a:lnTo>
                  <a:lnTo>
                    <a:pt x="32" y="14"/>
                  </a:lnTo>
                  <a:lnTo>
                    <a:pt x="32" y="11"/>
                  </a:lnTo>
                  <a:close/>
                  <a:moveTo>
                    <a:pt x="48" y="11"/>
                  </a:moveTo>
                  <a:lnTo>
                    <a:pt x="38" y="11"/>
                  </a:lnTo>
                  <a:lnTo>
                    <a:pt x="38" y="14"/>
                  </a:lnTo>
                  <a:lnTo>
                    <a:pt x="48" y="14"/>
                  </a:lnTo>
                  <a:lnTo>
                    <a:pt x="48" y="11"/>
                  </a:lnTo>
                  <a:close/>
                  <a:moveTo>
                    <a:pt x="63" y="11"/>
                  </a:moveTo>
                  <a:lnTo>
                    <a:pt x="53" y="11"/>
                  </a:lnTo>
                  <a:lnTo>
                    <a:pt x="53" y="14"/>
                  </a:lnTo>
                  <a:lnTo>
                    <a:pt x="63" y="14"/>
                  </a:lnTo>
                  <a:lnTo>
                    <a:pt x="63" y="11"/>
                  </a:lnTo>
                  <a:close/>
                  <a:moveTo>
                    <a:pt x="79" y="11"/>
                  </a:moveTo>
                  <a:lnTo>
                    <a:pt x="68" y="11"/>
                  </a:lnTo>
                  <a:lnTo>
                    <a:pt x="68" y="14"/>
                  </a:lnTo>
                  <a:lnTo>
                    <a:pt x="79" y="14"/>
                  </a:lnTo>
                  <a:lnTo>
                    <a:pt x="79" y="11"/>
                  </a:lnTo>
                  <a:close/>
                  <a:moveTo>
                    <a:pt x="93" y="11"/>
                  </a:moveTo>
                  <a:lnTo>
                    <a:pt x="83" y="11"/>
                  </a:lnTo>
                  <a:lnTo>
                    <a:pt x="83" y="14"/>
                  </a:lnTo>
                  <a:lnTo>
                    <a:pt x="93" y="14"/>
                  </a:lnTo>
                  <a:lnTo>
                    <a:pt x="93" y="11"/>
                  </a:lnTo>
                  <a:close/>
                  <a:moveTo>
                    <a:pt x="109" y="12"/>
                  </a:moveTo>
                  <a:lnTo>
                    <a:pt x="109" y="12"/>
                  </a:lnTo>
                  <a:lnTo>
                    <a:pt x="100" y="11"/>
                  </a:lnTo>
                  <a:lnTo>
                    <a:pt x="99" y="11"/>
                  </a:lnTo>
                  <a:lnTo>
                    <a:pt x="99" y="14"/>
                  </a:lnTo>
                  <a:lnTo>
                    <a:pt x="100" y="14"/>
                  </a:lnTo>
                  <a:lnTo>
                    <a:pt x="100" y="14"/>
                  </a:lnTo>
                  <a:lnTo>
                    <a:pt x="109" y="14"/>
                  </a:lnTo>
                  <a:lnTo>
                    <a:pt x="109" y="12"/>
                  </a:lnTo>
                  <a:close/>
                  <a:moveTo>
                    <a:pt x="123" y="15"/>
                  </a:moveTo>
                  <a:lnTo>
                    <a:pt x="123" y="15"/>
                  </a:lnTo>
                  <a:lnTo>
                    <a:pt x="113" y="12"/>
                  </a:lnTo>
                  <a:lnTo>
                    <a:pt x="113" y="15"/>
                  </a:lnTo>
                  <a:lnTo>
                    <a:pt x="113" y="15"/>
                  </a:lnTo>
                  <a:lnTo>
                    <a:pt x="123" y="16"/>
                  </a:lnTo>
                  <a:lnTo>
                    <a:pt x="123" y="15"/>
                  </a:lnTo>
                  <a:close/>
                  <a:moveTo>
                    <a:pt x="139" y="18"/>
                  </a:moveTo>
                  <a:lnTo>
                    <a:pt x="139" y="18"/>
                  </a:lnTo>
                  <a:lnTo>
                    <a:pt x="129" y="15"/>
                  </a:lnTo>
                  <a:lnTo>
                    <a:pt x="128" y="18"/>
                  </a:lnTo>
                  <a:lnTo>
                    <a:pt x="128" y="18"/>
                  </a:lnTo>
                  <a:lnTo>
                    <a:pt x="138" y="21"/>
                  </a:lnTo>
                  <a:lnTo>
                    <a:pt x="139" y="18"/>
                  </a:lnTo>
                  <a:close/>
                  <a:moveTo>
                    <a:pt x="152" y="18"/>
                  </a:moveTo>
                  <a:lnTo>
                    <a:pt x="152" y="18"/>
                  </a:lnTo>
                  <a:lnTo>
                    <a:pt x="148" y="19"/>
                  </a:lnTo>
                  <a:lnTo>
                    <a:pt x="148" y="19"/>
                  </a:lnTo>
                  <a:lnTo>
                    <a:pt x="144" y="19"/>
                  </a:lnTo>
                  <a:lnTo>
                    <a:pt x="144" y="22"/>
                  </a:lnTo>
                  <a:lnTo>
                    <a:pt x="144" y="22"/>
                  </a:lnTo>
                  <a:lnTo>
                    <a:pt x="148" y="22"/>
                  </a:lnTo>
                  <a:lnTo>
                    <a:pt x="148" y="22"/>
                  </a:lnTo>
                  <a:lnTo>
                    <a:pt x="151" y="22"/>
                  </a:lnTo>
                  <a:lnTo>
                    <a:pt x="154" y="21"/>
                  </a:lnTo>
                  <a:lnTo>
                    <a:pt x="152" y="18"/>
                  </a:lnTo>
                  <a:close/>
                  <a:moveTo>
                    <a:pt x="163" y="8"/>
                  </a:moveTo>
                  <a:lnTo>
                    <a:pt x="163" y="8"/>
                  </a:lnTo>
                  <a:lnTo>
                    <a:pt x="157" y="15"/>
                  </a:lnTo>
                  <a:lnTo>
                    <a:pt x="158" y="16"/>
                  </a:lnTo>
                  <a:lnTo>
                    <a:pt x="158" y="16"/>
                  </a:lnTo>
                  <a:lnTo>
                    <a:pt x="165" y="9"/>
                  </a:lnTo>
                  <a:lnTo>
                    <a:pt x="163" y="8"/>
                  </a:lnTo>
                  <a:close/>
                  <a:moveTo>
                    <a:pt x="177" y="0"/>
                  </a:moveTo>
                  <a:lnTo>
                    <a:pt x="177" y="0"/>
                  </a:lnTo>
                  <a:lnTo>
                    <a:pt x="167" y="3"/>
                  </a:lnTo>
                  <a:lnTo>
                    <a:pt x="168" y="6"/>
                  </a:lnTo>
                  <a:lnTo>
                    <a:pt x="168" y="6"/>
                  </a:lnTo>
                  <a:lnTo>
                    <a:pt x="177" y="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70" name="Freeform 1595"/>
            <p:cNvSpPr>
              <a:spLocks noEditPoints="1"/>
            </p:cNvSpPr>
            <p:nvPr/>
          </p:nvSpPr>
          <p:spPr bwMode="auto">
            <a:xfrm>
              <a:off x="4102100" y="3818367"/>
              <a:ext cx="831850" cy="463550"/>
            </a:xfrm>
            <a:custGeom>
              <a:avLst/>
              <a:gdLst>
                <a:gd name="T0" fmla="*/ 110 w 524"/>
                <a:gd name="T1" fmla="*/ 8 h 292"/>
                <a:gd name="T2" fmla="*/ 114 w 524"/>
                <a:gd name="T3" fmla="*/ 23 h 292"/>
                <a:gd name="T4" fmla="*/ 117 w 524"/>
                <a:gd name="T5" fmla="*/ 37 h 292"/>
                <a:gd name="T6" fmla="*/ 116 w 524"/>
                <a:gd name="T7" fmla="*/ 43 h 292"/>
                <a:gd name="T8" fmla="*/ 107 w 524"/>
                <a:gd name="T9" fmla="*/ 57 h 292"/>
                <a:gd name="T10" fmla="*/ 95 w 524"/>
                <a:gd name="T11" fmla="*/ 65 h 292"/>
                <a:gd name="T12" fmla="*/ 95 w 524"/>
                <a:gd name="T13" fmla="*/ 65 h 292"/>
                <a:gd name="T14" fmla="*/ 88 w 524"/>
                <a:gd name="T15" fmla="*/ 78 h 292"/>
                <a:gd name="T16" fmla="*/ 82 w 524"/>
                <a:gd name="T17" fmla="*/ 81 h 292"/>
                <a:gd name="T18" fmla="*/ 71 w 524"/>
                <a:gd name="T19" fmla="*/ 89 h 292"/>
                <a:gd name="T20" fmla="*/ 62 w 524"/>
                <a:gd name="T21" fmla="*/ 94 h 292"/>
                <a:gd name="T22" fmla="*/ 53 w 524"/>
                <a:gd name="T23" fmla="*/ 105 h 292"/>
                <a:gd name="T24" fmla="*/ 39 w 524"/>
                <a:gd name="T25" fmla="*/ 112 h 292"/>
                <a:gd name="T26" fmla="*/ 33 w 524"/>
                <a:gd name="T27" fmla="*/ 111 h 292"/>
                <a:gd name="T28" fmla="*/ 19 w 524"/>
                <a:gd name="T29" fmla="*/ 115 h 292"/>
                <a:gd name="T30" fmla="*/ 1 w 524"/>
                <a:gd name="T31" fmla="*/ 121 h 292"/>
                <a:gd name="T32" fmla="*/ 0 w 524"/>
                <a:gd name="T33" fmla="*/ 121 h 292"/>
                <a:gd name="T34" fmla="*/ 1 w 524"/>
                <a:gd name="T35" fmla="*/ 141 h 292"/>
                <a:gd name="T36" fmla="*/ 3 w 524"/>
                <a:gd name="T37" fmla="*/ 141 h 292"/>
                <a:gd name="T38" fmla="*/ 16 w 524"/>
                <a:gd name="T39" fmla="*/ 150 h 292"/>
                <a:gd name="T40" fmla="*/ 29 w 524"/>
                <a:gd name="T41" fmla="*/ 157 h 292"/>
                <a:gd name="T42" fmla="*/ 40 w 524"/>
                <a:gd name="T43" fmla="*/ 166 h 292"/>
                <a:gd name="T44" fmla="*/ 53 w 524"/>
                <a:gd name="T45" fmla="*/ 173 h 292"/>
                <a:gd name="T46" fmla="*/ 66 w 524"/>
                <a:gd name="T47" fmla="*/ 182 h 292"/>
                <a:gd name="T48" fmla="*/ 79 w 524"/>
                <a:gd name="T49" fmla="*/ 191 h 292"/>
                <a:gd name="T50" fmla="*/ 93 w 524"/>
                <a:gd name="T51" fmla="*/ 199 h 292"/>
                <a:gd name="T52" fmla="*/ 104 w 524"/>
                <a:gd name="T53" fmla="*/ 208 h 292"/>
                <a:gd name="T54" fmla="*/ 117 w 524"/>
                <a:gd name="T55" fmla="*/ 217 h 292"/>
                <a:gd name="T56" fmla="*/ 129 w 524"/>
                <a:gd name="T57" fmla="*/ 225 h 292"/>
                <a:gd name="T58" fmla="*/ 142 w 524"/>
                <a:gd name="T59" fmla="*/ 236 h 292"/>
                <a:gd name="T60" fmla="*/ 153 w 524"/>
                <a:gd name="T61" fmla="*/ 244 h 292"/>
                <a:gd name="T62" fmla="*/ 165 w 524"/>
                <a:gd name="T63" fmla="*/ 254 h 292"/>
                <a:gd name="T64" fmla="*/ 177 w 524"/>
                <a:gd name="T65" fmla="*/ 265 h 292"/>
                <a:gd name="T66" fmla="*/ 188 w 524"/>
                <a:gd name="T67" fmla="*/ 275 h 292"/>
                <a:gd name="T68" fmla="*/ 192 w 524"/>
                <a:gd name="T69" fmla="*/ 282 h 292"/>
                <a:gd name="T70" fmla="*/ 191 w 524"/>
                <a:gd name="T71" fmla="*/ 282 h 292"/>
                <a:gd name="T72" fmla="*/ 188 w 524"/>
                <a:gd name="T73" fmla="*/ 289 h 292"/>
                <a:gd name="T74" fmla="*/ 188 w 524"/>
                <a:gd name="T75" fmla="*/ 292 h 292"/>
                <a:gd name="T76" fmla="*/ 200 w 524"/>
                <a:gd name="T77" fmla="*/ 291 h 292"/>
                <a:gd name="T78" fmla="*/ 214 w 524"/>
                <a:gd name="T79" fmla="*/ 289 h 292"/>
                <a:gd name="T80" fmla="*/ 230 w 524"/>
                <a:gd name="T81" fmla="*/ 283 h 292"/>
                <a:gd name="T82" fmla="*/ 250 w 524"/>
                <a:gd name="T83" fmla="*/ 272 h 292"/>
                <a:gd name="T84" fmla="*/ 262 w 524"/>
                <a:gd name="T85" fmla="*/ 262 h 292"/>
                <a:gd name="T86" fmla="*/ 272 w 524"/>
                <a:gd name="T87" fmla="*/ 252 h 292"/>
                <a:gd name="T88" fmla="*/ 282 w 524"/>
                <a:gd name="T89" fmla="*/ 240 h 292"/>
                <a:gd name="T90" fmla="*/ 292 w 524"/>
                <a:gd name="T91" fmla="*/ 228 h 292"/>
                <a:gd name="T92" fmla="*/ 303 w 524"/>
                <a:gd name="T93" fmla="*/ 217 h 292"/>
                <a:gd name="T94" fmla="*/ 316 w 524"/>
                <a:gd name="T95" fmla="*/ 208 h 292"/>
                <a:gd name="T96" fmla="*/ 308 w 524"/>
                <a:gd name="T97" fmla="*/ 215 h 292"/>
                <a:gd name="T98" fmla="*/ 320 w 524"/>
                <a:gd name="T99" fmla="*/ 211 h 292"/>
                <a:gd name="T100" fmla="*/ 342 w 524"/>
                <a:gd name="T101" fmla="*/ 224 h 292"/>
                <a:gd name="T102" fmla="*/ 350 w 524"/>
                <a:gd name="T103" fmla="*/ 228 h 292"/>
                <a:gd name="T104" fmla="*/ 371 w 524"/>
                <a:gd name="T105" fmla="*/ 218 h 292"/>
                <a:gd name="T106" fmla="*/ 384 w 524"/>
                <a:gd name="T107" fmla="*/ 218 h 292"/>
                <a:gd name="T108" fmla="*/ 413 w 524"/>
                <a:gd name="T109" fmla="*/ 228 h 292"/>
                <a:gd name="T110" fmla="*/ 417 w 524"/>
                <a:gd name="T111" fmla="*/ 233 h 292"/>
                <a:gd name="T112" fmla="*/ 442 w 524"/>
                <a:gd name="T113" fmla="*/ 241 h 292"/>
                <a:gd name="T114" fmla="*/ 459 w 524"/>
                <a:gd name="T115" fmla="*/ 249 h 292"/>
                <a:gd name="T116" fmla="*/ 482 w 524"/>
                <a:gd name="T117" fmla="*/ 262 h 292"/>
                <a:gd name="T118" fmla="*/ 511 w 524"/>
                <a:gd name="T119" fmla="*/ 272 h 292"/>
                <a:gd name="T120" fmla="*/ 514 w 524"/>
                <a:gd name="T121" fmla="*/ 27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4" h="292">
                  <a:moveTo>
                    <a:pt x="110" y="8"/>
                  </a:moveTo>
                  <a:lnTo>
                    <a:pt x="110" y="8"/>
                  </a:lnTo>
                  <a:lnTo>
                    <a:pt x="107" y="0"/>
                  </a:lnTo>
                  <a:lnTo>
                    <a:pt x="104" y="1"/>
                  </a:lnTo>
                  <a:lnTo>
                    <a:pt x="104" y="1"/>
                  </a:lnTo>
                  <a:lnTo>
                    <a:pt x="107" y="8"/>
                  </a:lnTo>
                  <a:lnTo>
                    <a:pt x="110" y="8"/>
                  </a:lnTo>
                  <a:close/>
                  <a:moveTo>
                    <a:pt x="114" y="23"/>
                  </a:moveTo>
                  <a:lnTo>
                    <a:pt x="114" y="23"/>
                  </a:lnTo>
                  <a:lnTo>
                    <a:pt x="111" y="13"/>
                  </a:lnTo>
                  <a:lnTo>
                    <a:pt x="108" y="14"/>
                  </a:lnTo>
                  <a:lnTo>
                    <a:pt x="108" y="14"/>
                  </a:lnTo>
                  <a:lnTo>
                    <a:pt x="111" y="23"/>
                  </a:lnTo>
                  <a:lnTo>
                    <a:pt x="114" y="23"/>
                  </a:lnTo>
                  <a:close/>
                  <a:moveTo>
                    <a:pt x="117" y="37"/>
                  </a:moveTo>
                  <a:lnTo>
                    <a:pt x="117" y="37"/>
                  </a:lnTo>
                  <a:lnTo>
                    <a:pt x="114" y="27"/>
                  </a:lnTo>
                  <a:lnTo>
                    <a:pt x="111" y="28"/>
                  </a:lnTo>
                  <a:lnTo>
                    <a:pt x="111" y="28"/>
                  </a:lnTo>
                  <a:lnTo>
                    <a:pt x="114" y="39"/>
                  </a:lnTo>
                  <a:lnTo>
                    <a:pt x="117" y="37"/>
                  </a:lnTo>
                  <a:close/>
                  <a:moveTo>
                    <a:pt x="121" y="52"/>
                  </a:moveTo>
                  <a:lnTo>
                    <a:pt x="123" y="52"/>
                  </a:lnTo>
                  <a:lnTo>
                    <a:pt x="123" y="52"/>
                  </a:lnTo>
                  <a:lnTo>
                    <a:pt x="121" y="50"/>
                  </a:lnTo>
                  <a:lnTo>
                    <a:pt x="121" y="50"/>
                  </a:lnTo>
                  <a:lnTo>
                    <a:pt x="119" y="42"/>
                  </a:lnTo>
                  <a:lnTo>
                    <a:pt x="116" y="43"/>
                  </a:lnTo>
                  <a:lnTo>
                    <a:pt x="116" y="43"/>
                  </a:lnTo>
                  <a:lnTo>
                    <a:pt x="120" y="52"/>
                  </a:lnTo>
                  <a:lnTo>
                    <a:pt x="120" y="52"/>
                  </a:lnTo>
                  <a:lnTo>
                    <a:pt x="120" y="52"/>
                  </a:lnTo>
                  <a:lnTo>
                    <a:pt x="121" y="52"/>
                  </a:lnTo>
                  <a:close/>
                  <a:moveTo>
                    <a:pt x="107" y="57"/>
                  </a:moveTo>
                  <a:lnTo>
                    <a:pt x="107" y="57"/>
                  </a:lnTo>
                  <a:lnTo>
                    <a:pt x="117" y="56"/>
                  </a:lnTo>
                  <a:lnTo>
                    <a:pt x="117" y="53"/>
                  </a:lnTo>
                  <a:lnTo>
                    <a:pt x="117" y="53"/>
                  </a:lnTo>
                  <a:lnTo>
                    <a:pt x="107" y="56"/>
                  </a:lnTo>
                  <a:lnTo>
                    <a:pt x="107" y="57"/>
                  </a:lnTo>
                  <a:close/>
                  <a:moveTo>
                    <a:pt x="95" y="65"/>
                  </a:moveTo>
                  <a:lnTo>
                    <a:pt x="95" y="65"/>
                  </a:lnTo>
                  <a:lnTo>
                    <a:pt x="98" y="60"/>
                  </a:lnTo>
                  <a:lnTo>
                    <a:pt x="103" y="59"/>
                  </a:lnTo>
                  <a:lnTo>
                    <a:pt x="101" y="56"/>
                  </a:lnTo>
                  <a:lnTo>
                    <a:pt x="101" y="56"/>
                  </a:lnTo>
                  <a:lnTo>
                    <a:pt x="97" y="59"/>
                  </a:lnTo>
                  <a:lnTo>
                    <a:pt x="94" y="63"/>
                  </a:lnTo>
                  <a:lnTo>
                    <a:pt x="95" y="65"/>
                  </a:lnTo>
                  <a:close/>
                  <a:moveTo>
                    <a:pt x="88" y="78"/>
                  </a:moveTo>
                  <a:lnTo>
                    <a:pt x="88" y="78"/>
                  </a:lnTo>
                  <a:lnTo>
                    <a:pt x="94" y="69"/>
                  </a:lnTo>
                  <a:lnTo>
                    <a:pt x="91" y="68"/>
                  </a:lnTo>
                  <a:lnTo>
                    <a:pt x="91" y="68"/>
                  </a:lnTo>
                  <a:lnTo>
                    <a:pt x="87" y="76"/>
                  </a:lnTo>
                  <a:lnTo>
                    <a:pt x="88" y="78"/>
                  </a:lnTo>
                  <a:close/>
                  <a:moveTo>
                    <a:pt x="75" y="88"/>
                  </a:moveTo>
                  <a:lnTo>
                    <a:pt x="75" y="88"/>
                  </a:lnTo>
                  <a:lnTo>
                    <a:pt x="84" y="84"/>
                  </a:lnTo>
                  <a:lnTo>
                    <a:pt x="84" y="82"/>
                  </a:lnTo>
                  <a:lnTo>
                    <a:pt x="82" y="81"/>
                  </a:lnTo>
                  <a:lnTo>
                    <a:pt x="82" y="81"/>
                  </a:lnTo>
                  <a:lnTo>
                    <a:pt x="82" y="81"/>
                  </a:lnTo>
                  <a:lnTo>
                    <a:pt x="74" y="85"/>
                  </a:lnTo>
                  <a:lnTo>
                    <a:pt x="75" y="88"/>
                  </a:lnTo>
                  <a:close/>
                  <a:moveTo>
                    <a:pt x="62" y="94"/>
                  </a:moveTo>
                  <a:lnTo>
                    <a:pt x="62" y="94"/>
                  </a:lnTo>
                  <a:lnTo>
                    <a:pt x="65" y="91"/>
                  </a:lnTo>
                  <a:lnTo>
                    <a:pt x="65" y="91"/>
                  </a:lnTo>
                  <a:lnTo>
                    <a:pt x="71" y="89"/>
                  </a:lnTo>
                  <a:lnTo>
                    <a:pt x="69" y="86"/>
                  </a:lnTo>
                  <a:lnTo>
                    <a:pt x="69" y="86"/>
                  </a:lnTo>
                  <a:lnTo>
                    <a:pt x="64" y="88"/>
                  </a:lnTo>
                  <a:lnTo>
                    <a:pt x="64" y="88"/>
                  </a:lnTo>
                  <a:lnTo>
                    <a:pt x="62" y="89"/>
                  </a:lnTo>
                  <a:lnTo>
                    <a:pt x="61" y="92"/>
                  </a:lnTo>
                  <a:lnTo>
                    <a:pt x="62" y="94"/>
                  </a:lnTo>
                  <a:close/>
                  <a:moveTo>
                    <a:pt x="53" y="105"/>
                  </a:moveTo>
                  <a:lnTo>
                    <a:pt x="53" y="105"/>
                  </a:lnTo>
                  <a:lnTo>
                    <a:pt x="61" y="98"/>
                  </a:lnTo>
                  <a:lnTo>
                    <a:pt x="58" y="97"/>
                  </a:lnTo>
                  <a:lnTo>
                    <a:pt x="58" y="97"/>
                  </a:lnTo>
                  <a:lnTo>
                    <a:pt x="51" y="102"/>
                  </a:lnTo>
                  <a:lnTo>
                    <a:pt x="53" y="105"/>
                  </a:lnTo>
                  <a:close/>
                  <a:moveTo>
                    <a:pt x="39" y="112"/>
                  </a:moveTo>
                  <a:lnTo>
                    <a:pt x="39" y="112"/>
                  </a:lnTo>
                  <a:lnTo>
                    <a:pt x="49" y="108"/>
                  </a:lnTo>
                  <a:lnTo>
                    <a:pt x="48" y="105"/>
                  </a:lnTo>
                  <a:lnTo>
                    <a:pt x="48" y="105"/>
                  </a:lnTo>
                  <a:lnTo>
                    <a:pt x="37" y="110"/>
                  </a:lnTo>
                  <a:lnTo>
                    <a:pt x="39" y="112"/>
                  </a:lnTo>
                  <a:close/>
                  <a:moveTo>
                    <a:pt x="23" y="114"/>
                  </a:moveTo>
                  <a:lnTo>
                    <a:pt x="23" y="114"/>
                  </a:lnTo>
                  <a:lnTo>
                    <a:pt x="30" y="114"/>
                  </a:lnTo>
                  <a:lnTo>
                    <a:pt x="30" y="114"/>
                  </a:lnTo>
                  <a:lnTo>
                    <a:pt x="33" y="114"/>
                  </a:lnTo>
                  <a:lnTo>
                    <a:pt x="33" y="111"/>
                  </a:lnTo>
                  <a:lnTo>
                    <a:pt x="33" y="111"/>
                  </a:lnTo>
                  <a:lnTo>
                    <a:pt x="30" y="111"/>
                  </a:lnTo>
                  <a:lnTo>
                    <a:pt x="30" y="111"/>
                  </a:lnTo>
                  <a:lnTo>
                    <a:pt x="23" y="112"/>
                  </a:lnTo>
                  <a:lnTo>
                    <a:pt x="23" y="114"/>
                  </a:lnTo>
                  <a:close/>
                  <a:moveTo>
                    <a:pt x="10" y="118"/>
                  </a:moveTo>
                  <a:lnTo>
                    <a:pt x="10" y="118"/>
                  </a:lnTo>
                  <a:lnTo>
                    <a:pt x="19" y="115"/>
                  </a:lnTo>
                  <a:lnTo>
                    <a:pt x="19" y="112"/>
                  </a:lnTo>
                  <a:lnTo>
                    <a:pt x="19" y="112"/>
                  </a:lnTo>
                  <a:lnTo>
                    <a:pt x="9" y="117"/>
                  </a:lnTo>
                  <a:lnTo>
                    <a:pt x="10" y="118"/>
                  </a:lnTo>
                  <a:close/>
                  <a:moveTo>
                    <a:pt x="1" y="127"/>
                  </a:moveTo>
                  <a:lnTo>
                    <a:pt x="1" y="121"/>
                  </a:lnTo>
                  <a:lnTo>
                    <a:pt x="1" y="121"/>
                  </a:lnTo>
                  <a:lnTo>
                    <a:pt x="1" y="123"/>
                  </a:lnTo>
                  <a:lnTo>
                    <a:pt x="1" y="123"/>
                  </a:lnTo>
                  <a:lnTo>
                    <a:pt x="4" y="121"/>
                  </a:lnTo>
                  <a:lnTo>
                    <a:pt x="4" y="118"/>
                  </a:lnTo>
                  <a:lnTo>
                    <a:pt x="4" y="118"/>
                  </a:lnTo>
                  <a:lnTo>
                    <a:pt x="0" y="121"/>
                  </a:lnTo>
                  <a:lnTo>
                    <a:pt x="0" y="121"/>
                  </a:lnTo>
                  <a:lnTo>
                    <a:pt x="0" y="127"/>
                  </a:lnTo>
                  <a:lnTo>
                    <a:pt x="1" y="127"/>
                  </a:lnTo>
                  <a:close/>
                  <a:moveTo>
                    <a:pt x="3" y="141"/>
                  </a:moveTo>
                  <a:lnTo>
                    <a:pt x="3" y="141"/>
                  </a:lnTo>
                  <a:lnTo>
                    <a:pt x="1" y="141"/>
                  </a:lnTo>
                  <a:lnTo>
                    <a:pt x="1" y="141"/>
                  </a:lnTo>
                  <a:lnTo>
                    <a:pt x="1" y="141"/>
                  </a:lnTo>
                  <a:lnTo>
                    <a:pt x="1" y="133"/>
                  </a:lnTo>
                  <a:lnTo>
                    <a:pt x="0" y="133"/>
                  </a:lnTo>
                  <a:lnTo>
                    <a:pt x="0" y="143"/>
                  </a:lnTo>
                  <a:lnTo>
                    <a:pt x="0" y="143"/>
                  </a:lnTo>
                  <a:lnTo>
                    <a:pt x="0" y="143"/>
                  </a:lnTo>
                  <a:lnTo>
                    <a:pt x="1" y="143"/>
                  </a:lnTo>
                  <a:lnTo>
                    <a:pt x="3" y="141"/>
                  </a:lnTo>
                  <a:close/>
                  <a:moveTo>
                    <a:pt x="16" y="150"/>
                  </a:moveTo>
                  <a:lnTo>
                    <a:pt x="16" y="150"/>
                  </a:lnTo>
                  <a:lnTo>
                    <a:pt x="7" y="144"/>
                  </a:lnTo>
                  <a:lnTo>
                    <a:pt x="6" y="146"/>
                  </a:lnTo>
                  <a:lnTo>
                    <a:pt x="6" y="146"/>
                  </a:lnTo>
                  <a:lnTo>
                    <a:pt x="14" y="152"/>
                  </a:lnTo>
                  <a:lnTo>
                    <a:pt x="16" y="150"/>
                  </a:lnTo>
                  <a:close/>
                  <a:moveTo>
                    <a:pt x="29" y="157"/>
                  </a:moveTo>
                  <a:lnTo>
                    <a:pt x="29" y="157"/>
                  </a:lnTo>
                  <a:lnTo>
                    <a:pt x="20" y="152"/>
                  </a:lnTo>
                  <a:lnTo>
                    <a:pt x="19" y="155"/>
                  </a:lnTo>
                  <a:lnTo>
                    <a:pt x="19" y="155"/>
                  </a:lnTo>
                  <a:lnTo>
                    <a:pt x="27" y="160"/>
                  </a:lnTo>
                  <a:lnTo>
                    <a:pt x="29" y="157"/>
                  </a:lnTo>
                  <a:close/>
                  <a:moveTo>
                    <a:pt x="40" y="166"/>
                  </a:moveTo>
                  <a:lnTo>
                    <a:pt x="40" y="166"/>
                  </a:lnTo>
                  <a:lnTo>
                    <a:pt x="32" y="160"/>
                  </a:lnTo>
                  <a:lnTo>
                    <a:pt x="32" y="162"/>
                  </a:lnTo>
                  <a:lnTo>
                    <a:pt x="32" y="162"/>
                  </a:lnTo>
                  <a:lnTo>
                    <a:pt x="39" y="168"/>
                  </a:lnTo>
                  <a:lnTo>
                    <a:pt x="40" y="166"/>
                  </a:lnTo>
                  <a:close/>
                  <a:moveTo>
                    <a:pt x="53" y="173"/>
                  </a:moveTo>
                  <a:lnTo>
                    <a:pt x="53" y="173"/>
                  </a:lnTo>
                  <a:lnTo>
                    <a:pt x="45" y="169"/>
                  </a:lnTo>
                  <a:lnTo>
                    <a:pt x="43" y="170"/>
                  </a:lnTo>
                  <a:lnTo>
                    <a:pt x="43" y="170"/>
                  </a:lnTo>
                  <a:lnTo>
                    <a:pt x="52" y="176"/>
                  </a:lnTo>
                  <a:lnTo>
                    <a:pt x="53" y="173"/>
                  </a:lnTo>
                  <a:close/>
                  <a:moveTo>
                    <a:pt x="66" y="182"/>
                  </a:moveTo>
                  <a:lnTo>
                    <a:pt x="66" y="182"/>
                  </a:lnTo>
                  <a:lnTo>
                    <a:pt x="58" y="176"/>
                  </a:lnTo>
                  <a:lnTo>
                    <a:pt x="56" y="179"/>
                  </a:lnTo>
                  <a:lnTo>
                    <a:pt x="56" y="179"/>
                  </a:lnTo>
                  <a:lnTo>
                    <a:pt x="65" y="185"/>
                  </a:lnTo>
                  <a:lnTo>
                    <a:pt x="66" y="182"/>
                  </a:lnTo>
                  <a:close/>
                  <a:moveTo>
                    <a:pt x="79" y="191"/>
                  </a:moveTo>
                  <a:lnTo>
                    <a:pt x="79" y="191"/>
                  </a:lnTo>
                  <a:lnTo>
                    <a:pt x="71" y="185"/>
                  </a:lnTo>
                  <a:lnTo>
                    <a:pt x="69" y="188"/>
                  </a:lnTo>
                  <a:lnTo>
                    <a:pt x="69" y="188"/>
                  </a:lnTo>
                  <a:lnTo>
                    <a:pt x="78" y="192"/>
                  </a:lnTo>
                  <a:lnTo>
                    <a:pt x="79" y="191"/>
                  </a:lnTo>
                  <a:close/>
                  <a:moveTo>
                    <a:pt x="93" y="199"/>
                  </a:moveTo>
                  <a:lnTo>
                    <a:pt x="93" y="199"/>
                  </a:lnTo>
                  <a:lnTo>
                    <a:pt x="84" y="194"/>
                  </a:lnTo>
                  <a:lnTo>
                    <a:pt x="82" y="195"/>
                  </a:lnTo>
                  <a:lnTo>
                    <a:pt x="82" y="195"/>
                  </a:lnTo>
                  <a:lnTo>
                    <a:pt x="91" y="201"/>
                  </a:lnTo>
                  <a:lnTo>
                    <a:pt x="93" y="199"/>
                  </a:lnTo>
                  <a:close/>
                  <a:moveTo>
                    <a:pt x="104" y="208"/>
                  </a:moveTo>
                  <a:lnTo>
                    <a:pt x="104" y="208"/>
                  </a:lnTo>
                  <a:lnTo>
                    <a:pt x="97" y="202"/>
                  </a:lnTo>
                  <a:lnTo>
                    <a:pt x="95" y="204"/>
                  </a:lnTo>
                  <a:lnTo>
                    <a:pt x="95" y="204"/>
                  </a:lnTo>
                  <a:lnTo>
                    <a:pt x="103" y="210"/>
                  </a:lnTo>
                  <a:lnTo>
                    <a:pt x="104" y="208"/>
                  </a:lnTo>
                  <a:close/>
                  <a:moveTo>
                    <a:pt x="117" y="217"/>
                  </a:moveTo>
                  <a:lnTo>
                    <a:pt x="117" y="217"/>
                  </a:lnTo>
                  <a:lnTo>
                    <a:pt x="108" y="211"/>
                  </a:lnTo>
                  <a:lnTo>
                    <a:pt x="107" y="212"/>
                  </a:lnTo>
                  <a:lnTo>
                    <a:pt x="107" y="212"/>
                  </a:lnTo>
                  <a:lnTo>
                    <a:pt x="116" y="218"/>
                  </a:lnTo>
                  <a:lnTo>
                    <a:pt x="117" y="217"/>
                  </a:lnTo>
                  <a:close/>
                  <a:moveTo>
                    <a:pt x="129" y="225"/>
                  </a:moveTo>
                  <a:lnTo>
                    <a:pt x="129" y="225"/>
                  </a:lnTo>
                  <a:lnTo>
                    <a:pt x="121" y="220"/>
                  </a:lnTo>
                  <a:lnTo>
                    <a:pt x="120" y="223"/>
                  </a:lnTo>
                  <a:lnTo>
                    <a:pt x="120" y="223"/>
                  </a:lnTo>
                  <a:lnTo>
                    <a:pt x="127" y="228"/>
                  </a:lnTo>
                  <a:lnTo>
                    <a:pt x="129" y="225"/>
                  </a:lnTo>
                  <a:close/>
                  <a:moveTo>
                    <a:pt x="142" y="236"/>
                  </a:moveTo>
                  <a:lnTo>
                    <a:pt x="142" y="236"/>
                  </a:lnTo>
                  <a:lnTo>
                    <a:pt x="133" y="230"/>
                  </a:lnTo>
                  <a:lnTo>
                    <a:pt x="132" y="231"/>
                  </a:lnTo>
                  <a:lnTo>
                    <a:pt x="132" y="231"/>
                  </a:lnTo>
                  <a:lnTo>
                    <a:pt x="139" y="237"/>
                  </a:lnTo>
                  <a:lnTo>
                    <a:pt x="142" y="236"/>
                  </a:lnTo>
                  <a:close/>
                  <a:moveTo>
                    <a:pt x="153" y="244"/>
                  </a:moveTo>
                  <a:lnTo>
                    <a:pt x="153" y="244"/>
                  </a:lnTo>
                  <a:lnTo>
                    <a:pt x="145" y="239"/>
                  </a:lnTo>
                  <a:lnTo>
                    <a:pt x="143" y="240"/>
                  </a:lnTo>
                  <a:lnTo>
                    <a:pt x="143" y="240"/>
                  </a:lnTo>
                  <a:lnTo>
                    <a:pt x="152" y="247"/>
                  </a:lnTo>
                  <a:lnTo>
                    <a:pt x="153" y="244"/>
                  </a:lnTo>
                  <a:close/>
                  <a:moveTo>
                    <a:pt x="165" y="254"/>
                  </a:moveTo>
                  <a:lnTo>
                    <a:pt x="165" y="254"/>
                  </a:lnTo>
                  <a:lnTo>
                    <a:pt x="156" y="249"/>
                  </a:lnTo>
                  <a:lnTo>
                    <a:pt x="155" y="250"/>
                  </a:lnTo>
                  <a:lnTo>
                    <a:pt x="155" y="250"/>
                  </a:lnTo>
                  <a:lnTo>
                    <a:pt x="163" y="257"/>
                  </a:lnTo>
                  <a:lnTo>
                    <a:pt x="165" y="254"/>
                  </a:lnTo>
                  <a:close/>
                  <a:moveTo>
                    <a:pt x="177" y="265"/>
                  </a:moveTo>
                  <a:lnTo>
                    <a:pt x="177" y="265"/>
                  </a:lnTo>
                  <a:lnTo>
                    <a:pt x="168" y="259"/>
                  </a:lnTo>
                  <a:lnTo>
                    <a:pt x="166" y="260"/>
                  </a:lnTo>
                  <a:lnTo>
                    <a:pt x="166" y="260"/>
                  </a:lnTo>
                  <a:lnTo>
                    <a:pt x="175" y="266"/>
                  </a:lnTo>
                  <a:lnTo>
                    <a:pt x="177" y="265"/>
                  </a:lnTo>
                  <a:close/>
                  <a:moveTo>
                    <a:pt x="188" y="275"/>
                  </a:moveTo>
                  <a:lnTo>
                    <a:pt x="188" y="275"/>
                  </a:lnTo>
                  <a:lnTo>
                    <a:pt x="179" y="267"/>
                  </a:lnTo>
                  <a:lnTo>
                    <a:pt x="178" y="270"/>
                  </a:lnTo>
                  <a:lnTo>
                    <a:pt x="178" y="270"/>
                  </a:lnTo>
                  <a:lnTo>
                    <a:pt x="185" y="276"/>
                  </a:lnTo>
                  <a:lnTo>
                    <a:pt x="188" y="275"/>
                  </a:lnTo>
                  <a:close/>
                  <a:moveTo>
                    <a:pt x="188" y="288"/>
                  </a:moveTo>
                  <a:lnTo>
                    <a:pt x="188" y="288"/>
                  </a:lnTo>
                  <a:lnTo>
                    <a:pt x="191" y="285"/>
                  </a:lnTo>
                  <a:lnTo>
                    <a:pt x="191" y="285"/>
                  </a:lnTo>
                  <a:lnTo>
                    <a:pt x="192" y="283"/>
                  </a:lnTo>
                  <a:lnTo>
                    <a:pt x="192" y="283"/>
                  </a:lnTo>
                  <a:lnTo>
                    <a:pt x="192" y="282"/>
                  </a:lnTo>
                  <a:lnTo>
                    <a:pt x="192" y="282"/>
                  </a:lnTo>
                  <a:lnTo>
                    <a:pt x="192" y="279"/>
                  </a:lnTo>
                  <a:lnTo>
                    <a:pt x="191" y="279"/>
                  </a:lnTo>
                  <a:lnTo>
                    <a:pt x="190" y="281"/>
                  </a:lnTo>
                  <a:lnTo>
                    <a:pt x="190" y="281"/>
                  </a:lnTo>
                  <a:lnTo>
                    <a:pt x="190" y="281"/>
                  </a:lnTo>
                  <a:lnTo>
                    <a:pt x="191" y="282"/>
                  </a:lnTo>
                  <a:lnTo>
                    <a:pt x="191" y="282"/>
                  </a:lnTo>
                  <a:lnTo>
                    <a:pt x="191" y="282"/>
                  </a:lnTo>
                  <a:lnTo>
                    <a:pt x="185" y="285"/>
                  </a:lnTo>
                  <a:lnTo>
                    <a:pt x="188" y="288"/>
                  </a:lnTo>
                  <a:close/>
                  <a:moveTo>
                    <a:pt x="194" y="289"/>
                  </a:moveTo>
                  <a:lnTo>
                    <a:pt x="194" y="289"/>
                  </a:lnTo>
                  <a:lnTo>
                    <a:pt x="188" y="289"/>
                  </a:lnTo>
                  <a:lnTo>
                    <a:pt x="188" y="289"/>
                  </a:lnTo>
                  <a:lnTo>
                    <a:pt x="185" y="289"/>
                  </a:lnTo>
                  <a:lnTo>
                    <a:pt x="185" y="289"/>
                  </a:lnTo>
                  <a:lnTo>
                    <a:pt x="184" y="292"/>
                  </a:lnTo>
                  <a:lnTo>
                    <a:pt x="184" y="292"/>
                  </a:lnTo>
                  <a:lnTo>
                    <a:pt x="188" y="292"/>
                  </a:lnTo>
                  <a:lnTo>
                    <a:pt x="188" y="292"/>
                  </a:lnTo>
                  <a:lnTo>
                    <a:pt x="195" y="292"/>
                  </a:lnTo>
                  <a:lnTo>
                    <a:pt x="194" y="289"/>
                  </a:lnTo>
                  <a:close/>
                  <a:moveTo>
                    <a:pt x="210" y="286"/>
                  </a:moveTo>
                  <a:lnTo>
                    <a:pt x="210" y="286"/>
                  </a:lnTo>
                  <a:lnTo>
                    <a:pt x="200" y="289"/>
                  </a:lnTo>
                  <a:lnTo>
                    <a:pt x="200" y="291"/>
                  </a:lnTo>
                  <a:lnTo>
                    <a:pt x="200" y="291"/>
                  </a:lnTo>
                  <a:lnTo>
                    <a:pt x="210" y="289"/>
                  </a:lnTo>
                  <a:lnTo>
                    <a:pt x="210" y="286"/>
                  </a:lnTo>
                  <a:close/>
                  <a:moveTo>
                    <a:pt x="224" y="285"/>
                  </a:moveTo>
                  <a:lnTo>
                    <a:pt x="224" y="285"/>
                  </a:lnTo>
                  <a:lnTo>
                    <a:pt x="214" y="286"/>
                  </a:lnTo>
                  <a:lnTo>
                    <a:pt x="214" y="289"/>
                  </a:lnTo>
                  <a:lnTo>
                    <a:pt x="214" y="289"/>
                  </a:lnTo>
                  <a:lnTo>
                    <a:pt x="224" y="286"/>
                  </a:lnTo>
                  <a:lnTo>
                    <a:pt x="224" y="285"/>
                  </a:lnTo>
                  <a:close/>
                  <a:moveTo>
                    <a:pt x="239" y="282"/>
                  </a:moveTo>
                  <a:lnTo>
                    <a:pt x="239" y="282"/>
                  </a:lnTo>
                  <a:lnTo>
                    <a:pt x="237" y="282"/>
                  </a:lnTo>
                  <a:lnTo>
                    <a:pt x="237" y="282"/>
                  </a:lnTo>
                  <a:lnTo>
                    <a:pt x="230" y="283"/>
                  </a:lnTo>
                  <a:lnTo>
                    <a:pt x="230" y="286"/>
                  </a:lnTo>
                  <a:lnTo>
                    <a:pt x="230" y="286"/>
                  </a:lnTo>
                  <a:lnTo>
                    <a:pt x="237" y="285"/>
                  </a:lnTo>
                  <a:lnTo>
                    <a:pt x="237" y="285"/>
                  </a:lnTo>
                  <a:lnTo>
                    <a:pt x="240" y="285"/>
                  </a:lnTo>
                  <a:lnTo>
                    <a:pt x="239" y="282"/>
                  </a:lnTo>
                  <a:close/>
                  <a:moveTo>
                    <a:pt x="250" y="272"/>
                  </a:moveTo>
                  <a:lnTo>
                    <a:pt x="250" y="272"/>
                  </a:lnTo>
                  <a:lnTo>
                    <a:pt x="243" y="279"/>
                  </a:lnTo>
                  <a:lnTo>
                    <a:pt x="245" y="281"/>
                  </a:lnTo>
                  <a:lnTo>
                    <a:pt x="245" y="281"/>
                  </a:lnTo>
                  <a:lnTo>
                    <a:pt x="252" y="275"/>
                  </a:lnTo>
                  <a:lnTo>
                    <a:pt x="250" y="272"/>
                  </a:lnTo>
                  <a:close/>
                  <a:moveTo>
                    <a:pt x="262" y="262"/>
                  </a:moveTo>
                  <a:lnTo>
                    <a:pt x="262" y="262"/>
                  </a:lnTo>
                  <a:lnTo>
                    <a:pt x="255" y="269"/>
                  </a:lnTo>
                  <a:lnTo>
                    <a:pt x="256" y="270"/>
                  </a:lnTo>
                  <a:lnTo>
                    <a:pt x="256" y="270"/>
                  </a:lnTo>
                  <a:lnTo>
                    <a:pt x="263" y="263"/>
                  </a:lnTo>
                  <a:lnTo>
                    <a:pt x="262" y="262"/>
                  </a:lnTo>
                  <a:close/>
                  <a:moveTo>
                    <a:pt x="272" y="252"/>
                  </a:moveTo>
                  <a:lnTo>
                    <a:pt x="272" y="252"/>
                  </a:lnTo>
                  <a:lnTo>
                    <a:pt x="265" y="259"/>
                  </a:lnTo>
                  <a:lnTo>
                    <a:pt x="266" y="260"/>
                  </a:lnTo>
                  <a:lnTo>
                    <a:pt x="266" y="260"/>
                  </a:lnTo>
                  <a:lnTo>
                    <a:pt x="274" y="253"/>
                  </a:lnTo>
                  <a:lnTo>
                    <a:pt x="272" y="252"/>
                  </a:lnTo>
                  <a:close/>
                  <a:moveTo>
                    <a:pt x="282" y="240"/>
                  </a:moveTo>
                  <a:lnTo>
                    <a:pt x="282" y="240"/>
                  </a:lnTo>
                  <a:lnTo>
                    <a:pt x="275" y="247"/>
                  </a:lnTo>
                  <a:lnTo>
                    <a:pt x="278" y="249"/>
                  </a:lnTo>
                  <a:lnTo>
                    <a:pt x="278" y="249"/>
                  </a:lnTo>
                  <a:lnTo>
                    <a:pt x="284" y="241"/>
                  </a:lnTo>
                  <a:lnTo>
                    <a:pt x="282" y="240"/>
                  </a:lnTo>
                  <a:close/>
                  <a:moveTo>
                    <a:pt x="292" y="228"/>
                  </a:moveTo>
                  <a:lnTo>
                    <a:pt x="292" y="228"/>
                  </a:lnTo>
                  <a:lnTo>
                    <a:pt x="287" y="236"/>
                  </a:lnTo>
                  <a:lnTo>
                    <a:pt x="288" y="239"/>
                  </a:lnTo>
                  <a:lnTo>
                    <a:pt x="288" y="239"/>
                  </a:lnTo>
                  <a:lnTo>
                    <a:pt x="295" y="230"/>
                  </a:lnTo>
                  <a:lnTo>
                    <a:pt x="292" y="228"/>
                  </a:lnTo>
                  <a:close/>
                  <a:moveTo>
                    <a:pt x="303" y="217"/>
                  </a:moveTo>
                  <a:lnTo>
                    <a:pt x="303" y="217"/>
                  </a:lnTo>
                  <a:lnTo>
                    <a:pt x="297" y="225"/>
                  </a:lnTo>
                  <a:lnTo>
                    <a:pt x="298" y="227"/>
                  </a:lnTo>
                  <a:lnTo>
                    <a:pt x="298" y="227"/>
                  </a:lnTo>
                  <a:lnTo>
                    <a:pt x="305" y="220"/>
                  </a:lnTo>
                  <a:lnTo>
                    <a:pt x="303" y="217"/>
                  </a:lnTo>
                  <a:close/>
                  <a:moveTo>
                    <a:pt x="316" y="208"/>
                  </a:moveTo>
                  <a:lnTo>
                    <a:pt x="313" y="208"/>
                  </a:lnTo>
                  <a:lnTo>
                    <a:pt x="313" y="207"/>
                  </a:lnTo>
                  <a:lnTo>
                    <a:pt x="311" y="208"/>
                  </a:lnTo>
                  <a:lnTo>
                    <a:pt x="311" y="208"/>
                  </a:lnTo>
                  <a:lnTo>
                    <a:pt x="307" y="214"/>
                  </a:lnTo>
                  <a:lnTo>
                    <a:pt x="308" y="215"/>
                  </a:lnTo>
                  <a:lnTo>
                    <a:pt x="308" y="215"/>
                  </a:lnTo>
                  <a:lnTo>
                    <a:pt x="314" y="210"/>
                  </a:lnTo>
                  <a:lnTo>
                    <a:pt x="313" y="208"/>
                  </a:lnTo>
                  <a:lnTo>
                    <a:pt x="313" y="210"/>
                  </a:lnTo>
                  <a:lnTo>
                    <a:pt x="314" y="211"/>
                  </a:lnTo>
                  <a:lnTo>
                    <a:pt x="316" y="208"/>
                  </a:lnTo>
                  <a:close/>
                  <a:moveTo>
                    <a:pt x="329" y="215"/>
                  </a:moveTo>
                  <a:lnTo>
                    <a:pt x="320" y="211"/>
                  </a:lnTo>
                  <a:lnTo>
                    <a:pt x="318" y="212"/>
                  </a:lnTo>
                  <a:lnTo>
                    <a:pt x="329" y="217"/>
                  </a:lnTo>
                  <a:lnTo>
                    <a:pt x="329" y="215"/>
                  </a:lnTo>
                  <a:close/>
                  <a:moveTo>
                    <a:pt x="343" y="221"/>
                  </a:moveTo>
                  <a:lnTo>
                    <a:pt x="334" y="217"/>
                  </a:lnTo>
                  <a:lnTo>
                    <a:pt x="333" y="220"/>
                  </a:lnTo>
                  <a:lnTo>
                    <a:pt x="342" y="224"/>
                  </a:lnTo>
                  <a:lnTo>
                    <a:pt x="343" y="221"/>
                  </a:lnTo>
                  <a:close/>
                  <a:moveTo>
                    <a:pt x="356" y="223"/>
                  </a:moveTo>
                  <a:lnTo>
                    <a:pt x="350" y="225"/>
                  </a:lnTo>
                  <a:lnTo>
                    <a:pt x="347" y="224"/>
                  </a:lnTo>
                  <a:lnTo>
                    <a:pt x="346" y="225"/>
                  </a:lnTo>
                  <a:lnTo>
                    <a:pt x="350" y="227"/>
                  </a:lnTo>
                  <a:lnTo>
                    <a:pt x="350" y="228"/>
                  </a:lnTo>
                  <a:lnTo>
                    <a:pt x="358" y="225"/>
                  </a:lnTo>
                  <a:lnTo>
                    <a:pt x="356" y="223"/>
                  </a:lnTo>
                  <a:close/>
                  <a:moveTo>
                    <a:pt x="371" y="218"/>
                  </a:moveTo>
                  <a:lnTo>
                    <a:pt x="360" y="221"/>
                  </a:lnTo>
                  <a:lnTo>
                    <a:pt x="362" y="224"/>
                  </a:lnTo>
                  <a:lnTo>
                    <a:pt x="371" y="220"/>
                  </a:lnTo>
                  <a:lnTo>
                    <a:pt x="371" y="218"/>
                  </a:lnTo>
                  <a:close/>
                  <a:moveTo>
                    <a:pt x="385" y="217"/>
                  </a:moveTo>
                  <a:lnTo>
                    <a:pt x="381" y="214"/>
                  </a:lnTo>
                  <a:lnTo>
                    <a:pt x="381" y="214"/>
                  </a:lnTo>
                  <a:lnTo>
                    <a:pt x="375" y="217"/>
                  </a:lnTo>
                  <a:lnTo>
                    <a:pt x="376" y="218"/>
                  </a:lnTo>
                  <a:lnTo>
                    <a:pt x="381" y="217"/>
                  </a:lnTo>
                  <a:lnTo>
                    <a:pt x="384" y="218"/>
                  </a:lnTo>
                  <a:lnTo>
                    <a:pt x="385" y="217"/>
                  </a:lnTo>
                  <a:close/>
                  <a:moveTo>
                    <a:pt x="400" y="223"/>
                  </a:moveTo>
                  <a:lnTo>
                    <a:pt x="389" y="218"/>
                  </a:lnTo>
                  <a:lnTo>
                    <a:pt x="389" y="221"/>
                  </a:lnTo>
                  <a:lnTo>
                    <a:pt x="398" y="224"/>
                  </a:lnTo>
                  <a:lnTo>
                    <a:pt x="400" y="223"/>
                  </a:lnTo>
                  <a:close/>
                  <a:moveTo>
                    <a:pt x="413" y="228"/>
                  </a:moveTo>
                  <a:lnTo>
                    <a:pt x="404" y="224"/>
                  </a:lnTo>
                  <a:lnTo>
                    <a:pt x="402" y="227"/>
                  </a:lnTo>
                  <a:lnTo>
                    <a:pt x="413" y="231"/>
                  </a:lnTo>
                  <a:lnTo>
                    <a:pt x="413" y="228"/>
                  </a:lnTo>
                  <a:close/>
                  <a:moveTo>
                    <a:pt x="427" y="234"/>
                  </a:moveTo>
                  <a:lnTo>
                    <a:pt x="418" y="231"/>
                  </a:lnTo>
                  <a:lnTo>
                    <a:pt x="417" y="233"/>
                  </a:lnTo>
                  <a:lnTo>
                    <a:pt x="426" y="237"/>
                  </a:lnTo>
                  <a:lnTo>
                    <a:pt x="427" y="234"/>
                  </a:lnTo>
                  <a:close/>
                  <a:moveTo>
                    <a:pt x="442" y="241"/>
                  </a:moveTo>
                  <a:lnTo>
                    <a:pt x="431" y="237"/>
                  </a:lnTo>
                  <a:lnTo>
                    <a:pt x="431" y="239"/>
                  </a:lnTo>
                  <a:lnTo>
                    <a:pt x="440" y="243"/>
                  </a:lnTo>
                  <a:lnTo>
                    <a:pt x="442" y="241"/>
                  </a:lnTo>
                  <a:close/>
                  <a:moveTo>
                    <a:pt x="455" y="247"/>
                  </a:moveTo>
                  <a:lnTo>
                    <a:pt x="446" y="243"/>
                  </a:lnTo>
                  <a:lnTo>
                    <a:pt x="444" y="246"/>
                  </a:lnTo>
                  <a:lnTo>
                    <a:pt x="455" y="249"/>
                  </a:lnTo>
                  <a:lnTo>
                    <a:pt x="455" y="247"/>
                  </a:lnTo>
                  <a:close/>
                  <a:moveTo>
                    <a:pt x="469" y="253"/>
                  </a:moveTo>
                  <a:lnTo>
                    <a:pt x="459" y="249"/>
                  </a:lnTo>
                  <a:lnTo>
                    <a:pt x="459" y="252"/>
                  </a:lnTo>
                  <a:lnTo>
                    <a:pt x="468" y="256"/>
                  </a:lnTo>
                  <a:lnTo>
                    <a:pt x="469" y="253"/>
                  </a:lnTo>
                  <a:close/>
                  <a:moveTo>
                    <a:pt x="482" y="259"/>
                  </a:moveTo>
                  <a:lnTo>
                    <a:pt x="473" y="254"/>
                  </a:lnTo>
                  <a:lnTo>
                    <a:pt x="472" y="257"/>
                  </a:lnTo>
                  <a:lnTo>
                    <a:pt x="482" y="262"/>
                  </a:lnTo>
                  <a:lnTo>
                    <a:pt x="482" y="259"/>
                  </a:lnTo>
                  <a:close/>
                  <a:moveTo>
                    <a:pt x="497" y="266"/>
                  </a:moveTo>
                  <a:lnTo>
                    <a:pt x="488" y="262"/>
                  </a:lnTo>
                  <a:lnTo>
                    <a:pt x="486" y="263"/>
                  </a:lnTo>
                  <a:lnTo>
                    <a:pt x="495" y="267"/>
                  </a:lnTo>
                  <a:lnTo>
                    <a:pt x="497" y="266"/>
                  </a:lnTo>
                  <a:close/>
                  <a:moveTo>
                    <a:pt x="511" y="272"/>
                  </a:moveTo>
                  <a:lnTo>
                    <a:pt x="501" y="267"/>
                  </a:lnTo>
                  <a:lnTo>
                    <a:pt x="501" y="270"/>
                  </a:lnTo>
                  <a:lnTo>
                    <a:pt x="510" y="273"/>
                  </a:lnTo>
                  <a:lnTo>
                    <a:pt x="511" y="272"/>
                  </a:lnTo>
                  <a:close/>
                  <a:moveTo>
                    <a:pt x="524" y="278"/>
                  </a:moveTo>
                  <a:lnTo>
                    <a:pt x="515" y="273"/>
                  </a:lnTo>
                  <a:lnTo>
                    <a:pt x="514" y="276"/>
                  </a:lnTo>
                  <a:lnTo>
                    <a:pt x="524" y="281"/>
                  </a:lnTo>
                  <a:lnTo>
                    <a:pt x="524" y="2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71" name="Freeform 1596"/>
            <p:cNvSpPr>
              <a:spLocks noEditPoints="1"/>
            </p:cNvSpPr>
            <p:nvPr/>
          </p:nvSpPr>
          <p:spPr bwMode="auto">
            <a:xfrm>
              <a:off x="4538663" y="3885042"/>
              <a:ext cx="85725" cy="266700"/>
            </a:xfrm>
            <a:custGeom>
              <a:avLst/>
              <a:gdLst>
                <a:gd name="T0" fmla="*/ 51 w 54"/>
                <a:gd name="T1" fmla="*/ 5 h 168"/>
                <a:gd name="T2" fmla="*/ 51 w 54"/>
                <a:gd name="T3" fmla="*/ 0 h 168"/>
                <a:gd name="T4" fmla="*/ 36 w 54"/>
                <a:gd name="T5" fmla="*/ 18 h 168"/>
                <a:gd name="T6" fmla="*/ 42 w 54"/>
                <a:gd name="T7" fmla="*/ 15 h 168"/>
                <a:gd name="T8" fmla="*/ 43 w 54"/>
                <a:gd name="T9" fmla="*/ 13 h 168"/>
                <a:gd name="T10" fmla="*/ 38 w 54"/>
                <a:gd name="T11" fmla="*/ 14 h 168"/>
                <a:gd name="T12" fmla="*/ 29 w 54"/>
                <a:gd name="T13" fmla="*/ 31 h 168"/>
                <a:gd name="T14" fmla="*/ 30 w 54"/>
                <a:gd name="T15" fmla="*/ 21 h 168"/>
                <a:gd name="T16" fmla="*/ 29 w 54"/>
                <a:gd name="T17" fmla="*/ 31 h 168"/>
                <a:gd name="T18" fmla="*/ 23 w 54"/>
                <a:gd name="T19" fmla="*/ 40 h 168"/>
                <a:gd name="T20" fmla="*/ 25 w 54"/>
                <a:gd name="T21" fmla="*/ 34 h 168"/>
                <a:gd name="T22" fmla="*/ 19 w 54"/>
                <a:gd name="T23" fmla="*/ 43 h 168"/>
                <a:gd name="T24" fmla="*/ 14 w 54"/>
                <a:gd name="T25" fmla="*/ 46 h 168"/>
                <a:gd name="T26" fmla="*/ 3 w 54"/>
                <a:gd name="T27" fmla="*/ 47 h 168"/>
                <a:gd name="T28" fmla="*/ 9 w 54"/>
                <a:gd name="T29" fmla="*/ 59 h 168"/>
                <a:gd name="T30" fmla="*/ 3 w 54"/>
                <a:gd name="T31" fmla="*/ 52 h 168"/>
                <a:gd name="T32" fmla="*/ 3 w 54"/>
                <a:gd name="T33" fmla="*/ 56 h 168"/>
                <a:gd name="T34" fmla="*/ 9 w 54"/>
                <a:gd name="T35" fmla="*/ 59 h 168"/>
                <a:gd name="T36" fmla="*/ 16 w 54"/>
                <a:gd name="T37" fmla="*/ 68 h 168"/>
                <a:gd name="T38" fmla="*/ 10 w 54"/>
                <a:gd name="T39" fmla="*/ 63 h 168"/>
                <a:gd name="T40" fmla="*/ 13 w 54"/>
                <a:gd name="T41" fmla="*/ 68 h 168"/>
                <a:gd name="T42" fmla="*/ 13 w 54"/>
                <a:gd name="T43" fmla="*/ 86 h 168"/>
                <a:gd name="T44" fmla="*/ 16 w 54"/>
                <a:gd name="T45" fmla="*/ 78 h 168"/>
                <a:gd name="T46" fmla="*/ 10 w 54"/>
                <a:gd name="T47" fmla="*/ 85 h 168"/>
                <a:gd name="T48" fmla="*/ 16 w 54"/>
                <a:gd name="T49" fmla="*/ 101 h 168"/>
                <a:gd name="T50" fmla="*/ 10 w 54"/>
                <a:gd name="T51" fmla="*/ 92 h 168"/>
                <a:gd name="T52" fmla="*/ 16 w 54"/>
                <a:gd name="T53" fmla="*/ 101 h 168"/>
                <a:gd name="T54" fmla="*/ 19 w 54"/>
                <a:gd name="T55" fmla="*/ 108 h 168"/>
                <a:gd name="T56" fmla="*/ 16 w 54"/>
                <a:gd name="T57" fmla="*/ 105 h 168"/>
                <a:gd name="T58" fmla="*/ 17 w 54"/>
                <a:gd name="T59" fmla="*/ 108 h 168"/>
                <a:gd name="T60" fmla="*/ 14 w 54"/>
                <a:gd name="T61" fmla="*/ 130 h 168"/>
                <a:gd name="T62" fmla="*/ 14 w 54"/>
                <a:gd name="T63" fmla="*/ 120 h 168"/>
                <a:gd name="T64" fmla="*/ 14 w 54"/>
                <a:gd name="T65" fmla="*/ 130 h 168"/>
                <a:gd name="T66" fmla="*/ 14 w 54"/>
                <a:gd name="T67" fmla="*/ 137 h 168"/>
                <a:gd name="T68" fmla="*/ 14 w 54"/>
                <a:gd name="T69" fmla="*/ 136 h 168"/>
                <a:gd name="T70" fmla="*/ 12 w 54"/>
                <a:gd name="T71" fmla="*/ 136 h 168"/>
                <a:gd name="T72" fmla="*/ 14 w 54"/>
                <a:gd name="T73" fmla="*/ 141 h 168"/>
                <a:gd name="T74" fmla="*/ 30 w 54"/>
                <a:gd name="T75" fmla="*/ 153 h 168"/>
                <a:gd name="T76" fmla="*/ 28 w 54"/>
                <a:gd name="T77" fmla="*/ 150 h 168"/>
                <a:gd name="T78" fmla="*/ 22 w 54"/>
                <a:gd name="T79" fmla="*/ 147 h 168"/>
                <a:gd name="T80" fmla="*/ 28 w 54"/>
                <a:gd name="T81" fmla="*/ 155 h 168"/>
                <a:gd name="T82" fmla="*/ 39 w 54"/>
                <a:gd name="T83" fmla="*/ 166 h 168"/>
                <a:gd name="T84" fmla="*/ 30 w 54"/>
                <a:gd name="T85" fmla="*/ 159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4" h="168">
                  <a:moveTo>
                    <a:pt x="49" y="10"/>
                  </a:moveTo>
                  <a:lnTo>
                    <a:pt x="49" y="10"/>
                  </a:lnTo>
                  <a:lnTo>
                    <a:pt x="51" y="5"/>
                  </a:lnTo>
                  <a:lnTo>
                    <a:pt x="54" y="1"/>
                  </a:lnTo>
                  <a:lnTo>
                    <a:pt x="51" y="0"/>
                  </a:lnTo>
                  <a:lnTo>
                    <a:pt x="51" y="0"/>
                  </a:lnTo>
                  <a:lnTo>
                    <a:pt x="46" y="8"/>
                  </a:lnTo>
                  <a:lnTo>
                    <a:pt x="49" y="10"/>
                  </a:lnTo>
                  <a:close/>
                  <a:moveTo>
                    <a:pt x="36" y="18"/>
                  </a:moveTo>
                  <a:lnTo>
                    <a:pt x="36" y="18"/>
                  </a:lnTo>
                  <a:lnTo>
                    <a:pt x="42" y="15"/>
                  </a:lnTo>
                  <a:lnTo>
                    <a:pt x="42" y="15"/>
                  </a:lnTo>
                  <a:lnTo>
                    <a:pt x="45" y="14"/>
                  </a:lnTo>
                  <a:lnTo>
                    <a:pt x="43" y="13"/>
                  </a:lnTo>
                  <a:lnTo>
                    <a:pt x="43" y="13"/>
                  </a:lnTo>
                  <a:lnTo>
                    <a:pt x="41" y="14"/>
                  </a:lnTo>
                  <a:lnTo>
                    <a:pt x="41" y="14"/>
                  </a:lnTo>
                  <a:lnTo>
                    <a:pt x="38" y="14"/>
                  </a:lnTo>
                  <a:lnTo>
                    <a:pt x="35" y="17"/>
                  </a:lnTo>
                  <a:lnTo>
                    <a:pt x="36" y="18"/>
                  </a:lnTo>
                  <a:close/>
                  <a:moveTo>
                    <a:pt x="29" y="31"/>
                  </a:moveTo>
                  <a:lnTo>
                    <a:pt x="29" y="31"/>
                  </a:lnTo>
                  <a:lnTo>
                    <a:pt x="33" y="23"/>
                  </a:lnTo>
                  <a:lnTo>
                    <a:pt x="30" y="21"/>
                  </a:lnTo>
                  <a:lnTo>
                    <a:pt x="30" y="21"/>
                  </a:lnTo>
                  <a:lnTo>
                    <a:pt x="26" y="30"/>
                  </a:lnTo>
                  <a:lnTo>
                    <a:pt x="29" y="31"/>
                  </a:lnTo>
                  <a:close/>
                  <a:moveTo>
                    <a:pt x="19" y="43"/>
                  </a:moveTo>
                  <a:lnTo>
                    <a:pt x="19" y="43"/>
                  </a:lnTo>
                  <a:lnTo>
                    <a:pt x="23" y="40"/>
                  </a:lnTo>
                  <a:lnTo>
                    <a:pt x="28" y="36"/>
                  </a:lnTo>
                  <a:lnTo>
                    <a:pt x="25" y="34"/>
                  </a:lnTo>
                  <a:lnTo>
                    <a:pt x="25" y="34"/>
                  </a:lnTo>
                  <a:lnTo>
                    <a:pt x="22" y="39"/>
                  </a:lnTo>
                  <a:lnTo>
                    <a:pt x="17" y="40"/>
                  </a:lnTo>
                  <a:lnTo>
                    <a:pt x="19" y="43"/>
                  </a:lnTo>
                  <a:close/>
                  <a:moveTo>
                    <a:pt x="4" y="50"/>
                  </a:moveTo>
                  <a:lnTo>
                    <a:pt x="4" y="50"/>
                  </a:lnTo>
                  <a:lnTo>
                    <a:pt x="14" y="46"/>
                  </a:lnTo>
                  <a:lnTo>
                    <a:pt x="13" y="43"/>
                  </a:lnTo>
                  <a:lnTo>
                    <a:pt x="13" y="43"/>
                  </a:lnTo>
                  <a:lnTo>
                    <a:pt x="3" y="47"/>
                  </a:lnTo>
                  <a:lnTo>
                    <a:pt x="4" y="50"/>
                  </a:lnTo>
                  <a:close/>
                  <a:moveTo>
                    <a:pt x="9" y="59"/>
                  </a:moveTo>
                  <a:lnTo>
                    <a:pt x="9" y="59"/>
                  </a:lnTo>
                  <a:lnTo>
                    <a:pt x="4" y="55"/>
                  </a:lnTo>
                  <a:lnTo>
                    <a:pt x="4" y="55"/>
                  </a:lnTo>
                  <a:lnTo>
                    <a:pt x="3" y="52"/>
                  </a:lnTo>
                  <a:lnTo>
                    <a:pt x="0" y="53"/>
                  </a:lnTo>
                  <a:lnTo>
                    <a:pt x="0" y="53"/>
                  </a:lnTo>
                  <a:lnTo>
                    <a:pt x="3" y="56"/>
                  </a:lnTo>
                  <a:lnTo>
                    <a:pt x="3" y="56"/>
                  </a:lnTo>
                  <a:lnTo>
                    <a:pt x="7" y="60"/>
                  </a:lnTo>
                  <a:lnTo>
                    <a:pt x="9" y="59"/>
                  </a:lnTo>
                  <a:close/>
                  <a:moveTo>
                    <a:pt x="17" y="72"/>
                  </a:moveTo>
                  <a:lnTo>
                    <a:pt x="17" y="72"/>
                  </a:lnTo>
                  <a:lnTo>
                    <a:pt x="16" y="68"/>
                  </a:lnTo>
                  <a:lnTo>
                    <a:pt x="16" y="68"/>
                  </a:lnTo>
                  <a:lnTo>
                    <a:pt x="13" y="62"/>
                  </a:lnTo>
                  <a:lnTo>
                    <a:pt x="10" y="63"/>
                  </a:lnTo>
                  <a:lnTo>
                    <a:pt x="10" y="63"/>
                  </a:lnTo>
                  <a:lnTo>
                    <a:pt x="13" y="68"/>
                  </a:lnTo>
                  <a:lnTo>
                    <a:pt x="13" y="68"/>
                  </a:lnTo>
                  <a:lnTo>
                    <a:pt x="14" y="72"/>
                  </a:lnTo>
                  <a:lnTo>
                    <a:pt x="17" y="72"/>
                  </a:lnTo>
                  <a:close/>
                  <a:moveTo>
                    <a:pt x="13" y="86"/>
                  </a:moveTo>
                  <a:lnTo>
                    <a:pt x="13" y="86"/>
                  </a:lnTo>
                  <a:lnTo>
                    <a:pt x="13" y="86"/>
                  </a:lnTo>
                  <a:lnTo>
                    <a:pt x="16" y="78"/>
                  </a:lnTo>
                  <a:lnTo>
                    <a:pt x="14" y="76"/>
                  </a:lnTo>
                  <a:lnTo>
                    <a:pt x="14" y="76"/>
                  </a:lnTo>
                  <a:lnTo>
                    <a:pt x="10" y="85"/>
                  </a:lnTo>
                  <a:lnTo>
                    <a:pt x="10" y="86"/>
                  </a:lnTo>
                  <a:lnTo>
                    <a:pt x="13" y="86"/>
                  </a:lnTo>
                  <a:close/>
                  <a:moveTo>
                    <a:pt x="16" y="101"/>
                  </a:moveTo>
                  <a:lnTo>
                    <a:pt x="16" y="101"/>
                  </a:lnTo>
                  <a:lnTo>
                    <a:pt x="13" y="91"/>
                  </a:lnTo>
                  <a:lnTo>
                    <a:pt x="10" y="92"/>
                  </a:lnTo>
                  <a:lnTo>
                    <a:pt x="10" y="92"/>
                  </a:lnTo>
                  <a:lnTo>
                    <a:pt x="14" y="101"/>
                  </a:lnTo>
                  <a:lnTo>
                    <a:pt x="16" y="101"/>
                  </a:lnTo>
                  <a:close/>
                  <a:moveTo>
                    <a:pt x="19" y="115"/>
                  </a:moveTo>
                  <a:lnTo>
                    <a:pt x="19" y="115"/>
                  </a:lnTo>
                  <a:lnTo>
                    <a:pt x="19" y="108"/>
                  </a:lnTo>
                  <a:lnTo>
                    <a:pt x="19" y="108"/>
                  </a:lnTo>
                  <a:lnTo>
                    <a:pt x="19" y="105"/>
                  </a:lnTo>
                  <a:lnTo>
                    <a:pt x="16" y="105"/>
                  </a:lnTo>
                  <a:lnTo>
                    <a:pt x="16" y="105"/>
                  </a:lnTo>
                  <a:lnTo>
                    <a:pt x="17" y="108"/>
                  </a:lnTo>
                  <a:lnTo>
                    <a:pt x="17" y="108"/>
                  </a:lnTo>
                  <a:lnTo>
                    <a:pt x="16" y="115"/>
                  </a:lnTo>
                  <a:lnTo>
                    <a:pt x="19" y="115"/>
                  </a:lnTo>
                  <a:close/>
                  <a:moveTo>
                    <a:pt x="14" y="130"/>
                  </a:moveTo>
                  <a:lnTo>
                    <a:pt x="14" y="130"/>
                  </a:lnTo>
                  <a:lnTo>
                    <a:pt x="17" y="121"/>
                  </a:lnTo>
                  <a:lnTo>
                    <a:pt x="14" y="120"/>
                  </a:lnTo>
                  <a:lnTo>
                    <a:pt x="14" y="120"/>
                  </a:lnTo>
                  <a:lnTo>
                    <a:pt x="13" y="130"/>
                  </a:lnTo>
                  <a:lnTo>
                    <a:pt x="14" y="130"/>
                  </a:lnTo>
                  <a:close/>
                  <a:moveTo>
                    <a:pt x="19" y="143"/>
                  </a:moveTo>
                  <a:lnTo>
                    <a:pt x="19" y="143"/>
                  </a:lnTo>
                  <a:lnTo>
                    <a:pt x="14" y="137"/>
                  </a:lnTo>
                  <a:lnTo>
                    <a:pt x="14" y="137"/>
                  </a:lnTo>
                  <a:lnTo>
                    <a:pt x="14" y="136"/>
                  </a:lnTo>
                  <a:lnTo>
                    <a:pt x="14" y="136"/>
                  </a:lnTo>
                  <a:lnTo>
                    <a:pt x="12" y="136"/>
                  </a:lnTo>
                  <a:lnTo>
                    <a:pt x="12" y="136"/>
                  </a:lnTo>
                  <a:lnTo>
                    <a:pt x="12" y="136"/>
                  </a:lnTo>
                  <a:lnTo>
                    <a:pt x="12" y="137"/>
                  </a:lnTo>
                  <a:lnTo>
                    <a:pt x="12" y="137"/>
                  </a:lnTo>
                  <a:lnTo>
                    <a:pt x="14" y="141"/>
                  </a:lnTo>
                  <a:lnTo>
                    <a:pt x="17" y="144"/>
                  </a:lnTo>
                  <a:lnTo>
                    <a:pt x="19" y="143"/>
                  </a:lnTo>
                  <a:close/>
                  <a:moveTo>
                    <a:pt x="30" y="153"/>
                  </a:moveTo>
                  <a:lnTo>
                    <a:pt x="30" y="153"/>
                  </a:lnTo>
                  <a:lnTo>
                    <a:pt x="28" y="150"/>
                  </a:lnTo>
                  <a:lnTo>
                    <a:pt x="28" y="150"/>
                  </a:lnTo>
                  <a:lnTo>
                    <a:pt x="23" y="146"/>
                  </a:lnTo>
                  <a:lnTo>
                    <a:pt x="22" y="147"/>
                  </a:lnTo>
                  <a:lnTo>
                    <a:pt x="22" y="147"/>
                  </a:lnTo>
                  <a:lnTo>
                    <a:pt x="26" y="152"/>
                  </a:lnTo>
                  <a:lnTo>
                    <a:pt x="26" y="152"/>
                  </a:lnTo>
                  <a:lnTo>
                    <a:pt x="28" y="155"/>
                  </a:lnTo>
                  <a:lnTo>
                    <a:pt x="30" y="153"/>
                  </a:lnTo>
                  <a:close/>
                  <a:moveTo>
                    <a:pt x="39" y="166"/>
                  </a:moveTo>
                  <a:lnTo>
                    <a:pt x="39" y="166"/>
                  </a:lnTo>
                  <a:lnTo>
                    <a:pt x="33" y="157"/>
                  </a:lnTo>
                  <a:lnTo>
                    <a:pt x="30" y="159"/>
                  </a:lnTo>
                  <a:lnTo>
                    <a:pt x="30" y="159"/>
                  </a:lnTo>
                  <a:lnTo>
                    <a:pt x="36" y="168"/>
                  </a:lnTo>
                  <a:lnTo>
                    <a:pt x="39"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72" name="Freeform 1597"/>
            <p:cNvSpPr>
              <a:spLocks noEditPoints="1"/>
            </p:cNvSpPr>
            <p:nvPr/>
          </p:nvSpPr>
          <p:spPr bwMode="auto">
            <a:xfrm>
              <a:off x="4516438" y="3759629"/>
              <a:ext cx="33338" cy="200025"/>
            </a:xfrm>
            <a:custGeom>
              <a:avLst/>
              <a:gdLst>
                <a:gd name="T0" fmla="*/ 14 w 21"/>
                <a:gd name="T1" fmla="*/ 10 h 126"/>
                <a:gd name="T2" fmla="*/ 11 w 21"/>
                <a:gd name="T3" fmla="*/ 0 h 126"/>
                <a:gd name="T4" fmla="*/ 11 w 21"/>
                <a:gd name="T5" fmla="*/ 10 h 126"/>
                <a:gd name="T6" fmla="*/ 14 w 21"/>
                <a:gd name="T7" fmla="*/ 25 h 126"/>
                <a:gd name="T8" fmla="*/ 14 w 21"/>
                <a:gd name="T9" fmla="*/ 16 h 126"/>
                <a:gd name="T10" fmla="*/ 11 w 21"/>
                <a:gd name="T11" fmla="*/ 16 h 126"/>
                <a:gd name="T12" fmla="*/ 14 w 21"/>
                <a:gd name="T13" fmla="*/ 25 h 126"/>
                <a:gd name="T14" fmla="*/ 10 w 21"/>
                <a:gd name="T15" fmla="*/ 41 h 126"/>
                <a:gd name="T16" fmla="*/ 11 w 21"/>
                <a:gd name="T17" fmla="*/ 31 h 126"/>
                <a:gd name="T18" fmla="*/ 7 w 21"/>
                <a:gd name="T19" fmla="*/ 39 h 126"/>
                <a:gd name="T20" fmla="*/ 2 w 21"/>
                <a:gd name="T21" fmla="*/ 54 h 126"/>
                <a:gd name="T22" fmla="*/ 2 w 21"/>
                <a:gd name="T23" fmla="*/ 54 h 126"/>
                <a:gd name="T24" fmla="*/ 5 w 21"/>
                <a:gd name="T25" fmla="*/ 44 h 126"/>
                <a:gd name="T26" fmla="*/ 1 w 21"/>
                <a:gd name="T27" fmla="*/ 54 h 126"/>
                <a:gd name="T28" fmla="*/ 2 w 21"/>
                <a:gd name="T29" fmla="*/ 54 h 126"/>
                <a:gd name="T30" fmla="*/ 2 w 21"/>
                <a:gd name="T31" fmla="*/ 68 h 126"/>
                <a:gd name="T32" fmla="*/ 2 w 21"/>
                <a:gd name="T33" fmla="*/ 60 h 126"/>
                <a:gd name="T34" fmla="*/ 0 w 21"/>
                <a:gd name="T35" fmla="*/ 58 h 126"/>
                <a:gd name="T36" fmla="*/ 0 w 21"/>
                <a:gd name="T37" fmla="*/ 60 h 126"/>
                <a:gd name="T38" fmla="*/ 2 w 21"/>
                <a:gd name="T39" fmla="*/ 68 h 126"/>
                <a:gd name="T40" fmla="*/ 8 w 21"/>
                <a:gd name="T41" fmla="*/ 83 h 126"/>
                <a:gd name="T42" fmla="*/ 7 w 21"/>
                <a:gd name="T43" fmla="*/ 77 h 126"/>
                <a:gd name="T44" fmla="*/ 2 w 21"/>
                <a:gd name="T45" fmla="*/ 74 h 126"/>
                <a:gd name="T46" fmla="*/ 4 w 21"/>
                <a:gd name="T47" fmla="*/ 79 h 126"/>
                <a:gd name="T48" fmla="*/ 5 w 21"/>
                <a:gd name="T49" fmla="*/ 83 h 126"/>
                <a:gd name="T50" fmla="*/ 13 w 21"/>
                <a:gd name="T51" fmla="*/ 97 h 126"/>
                <a:gd name="T52" fmla="*/ 10 w 21"/>
                <a:gd name="T53" fmla="*/ 87 h 126"/>
                <a:gd name="T54" fmla="*/ 7 w 21"/>
                <a:gd name="T55" fmla="*/ 89 h 126"/>
                <a:gd name="T56" fmla="*/ 13 w 21"/>
                <a:gd name="T57" fmla="*/ 97 h 126"/>
                <a:gd name="T58" fmla="*/ 15 w 21"/>
                <a:gd name="T59" fmla="*/ 113 h 126"/>
                <a:gd name="T60" fmla="*/ 11 w 21"/>
                <a:gd name="T61" fmla="*/ 103 h 126"/>
                <a:gd name="T62" fmla="*/ 13 w 21"/>
                <a:gd name="T63" fmla="*/ 113 h 126"/>
                <a:gd name="T64" fmla="*/ 21 w 21"/>
                <a:gd name="T65" fmla="*/ 125 h 126"/>
                <a:gd name="T66" fmla="*/ 18 w 21"/>
                <a:gd name="T67" fmla="*/ 122 h 126"/>
                <a:gd name="T68" fmla="*/ 14 w 21"/>
                <a:gd name="T69" fmla="*/ 118 h 126"/>
                <a:gd name="T70" fmla="*/ 17 w 21"/>
                <a:gd name="T71" fmla="*/ 123 h 126"/>
                <a:gd name="T72" fmla="*/ 21 w 21"/>
                <a:gd name="T73" fmla="*/ 12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 h="126">
                  <a:moveTo>
                    <a:pt x="14" y="10"/>
                  </a:moveTo>
                  <a:lnTo>
                    <a:pt x="14" y="10"/>
                  </a:lnTo>
                  <a:lnTo>
                    <a:pt x="14" y="0"/>
                  </a:lnTo>
                  <a:lnTo>
                    <a:pt x="11" y="0"/>
                  </a:lnTo>
                  <a:lnTo>
                    <a:pt x="11" y="0"/>
                  </a:lnTo>
                  <a:lnTo>
                    <a:pt x="11" y="10"/>
                  </a:lnTo>
                  <a:lnTo>
                    <a:pt x="14" y="10"/>
                  </a:lnTo>
                  <a:close/>
                  <a:moveTo>
                    <a:pt x="14" y="25"/>
                  </a:moveTo>
                  <a:lnTo>
                    <a:pt x="14" y="25"/>
                  </a:lnTo>
                  <a:lnTo>
                    <a:pt x="14" y="16"/>
                  </a:lnTo>
                  <a:lnTo>
                    <a:pt x="11" y="16"/>
                  </a:lnTo>
                  <a:lnTo>
                    <a:pt x="11" y="16"/>
                  </a:lnTo>
                  <a:lnTo>
                    <a:pt x="11" y="26"/>
                  </a:lnTo>
                  <a:lnTo>
                    <a:pt x="14" y="25"/>
                  </a:lnTo>
                  <a:close/>
                  <a:moveTo>
                    <a:pt x="10" y="41"/>
                  </a:moveTo>
                  <a:lnTo>
                    <a:pt x="10" y="41"/>
                  </a:lnTo>
                  <a:lnTo>
                    <a:pt x="13" y="31"/>
                  </a:lnTo>
                  <a:lnTo>
                    <a:pt x="11" y="31"/>
                  </a:lnTo>
                  <a:lnTo>
                    <a:pt x="11" y="31"/>
                  </a:lnTo>
                  <a:lnTo>
                    <a:pt x="7" y="39"/>
                  </a:lnTo>
                  <a:lnTo>
                    <a:pt x="10" y="41"/>
                  </a:lnTo>
                  <a:close/>
                  <a:moveTo>
                    <a:pt x="2" y="54"/>
                  </a:moveTo>
                  <a:lnTo>
                    <a:pt x="2" y="54"/>
                  </a:lnTo>
                  <a:lnTo>
                    <a:pt x="2" y="54"/>
                  </a:lnTo>
                  <a:lnTo>
                    <a:pt x="7" y="45"/>
                  </a:lnTo>
                  <a:lnTo>
                    <a:pt x="5" y="44"/>
                  </a:lnTo>
                  <a:lnTo>
                    <a:pt x="5" y="44"/>
                  </a:lnTo>
                  <a:lnTo>
                    <a:pt x="1" y="54"/>
                  </a:lnTo>
                  <a:lnTo>
                    <a:pt x="1" y="54"/>
                  </a:lnTo>
                  <a:lnTo>
                    <a:pt x="2" y="54"/>
                  </a:lnTo>
                  <a:close/>
                  <a:moveTo>
                    <a:pt x="2" y="68"/>
                  </a:moveTo>
                  <a:lnTo>
                    <a:pt x="2" y="68"/>
                  </a:lnTo>
                  <a:lnTo>
                    <a:pt x="2" y="60"/>
                  </a:lnTo>
                  <a:lnTo>
                    <a:pt x="2" y="60"/>
                  </a:lnTo>
                  <a:lnTo>
                    <a:pt x="0" y="58"/>
                  </a:lnTo>
                  <a:lnTo>
                    <a:pt x="0" y="58"/>
                  </a:lnTo>
                  <a:lnTo>
                    <a:pt x="0" y="60"/>
                  </a:lnTo>
                  <a:lnTo>
                    <a:pt x="0" y="60"/>
                  </a:lnTo>
                  <a:lnTo>
                    <a:pt x="1" y="70"/>
                  </a:lnTo>
                  <a:lnTo>
                    <a:pt x="2" y="68"/>
                  </a:lnTo>
                  <a:close/>
                  <a:moveTo>
                    <a:pt x="8" y="83"/>
                  </a:moveTo>
                  <a:lnTo>
                    <a:pt x="8" y="83"/>
                  </a:lnTo>
                  <a:lnTo>
                    <a:pt x="7" y="77"/>
                  </a:lnTo>
                  <a:lnTo>
                    <a:pt x="7" y="77"/>
                  </a:lnTo>
                  <a:lnTo>
                    <a:pt x="4" y="74"/>
                  </a:lnTo>
                  <a:lnTo>
                    <a:pt x="2" y="74"/>
                  </a:lnTo>
                  <a:lnTo>
                    <a:pt x="2" y="74"/>
                  </a:lnTo>
                  <a:lnTo>
                    <a:pt x="4" y="79"/>
                  </a:lnTo>
                  <a:lnTo>
                    <a:pt x="4" y="79"/>
                  </a:lnTo>
                  <a:lnTo>
                    <a:pt x="5" y="83"/>
                  </a:lnTo>
                  <a:lnTo>
                    <a:pt x="8" y="83"/>
                  </a:lnTo>
                  <a:close/>
                  <a:moveTo>
                    <a:pt x="13" y="97"/>
                  </a:moveTo>
                  <a:lnTo>
                    <a:pt x="13" y="97"/>
                  </a:lnTo>
                  <a:lnTo>
                    <a:pt x="10" y="87"/>
                  </a:lnTo>
                  <a:lnTo>
                    <a:pt x="7" y="89"/>
                  </a:lnTo>
                  <a:lnTo>
                    <a:pt x="7" y="89"/>
                  </a:lnTo>
                  <a:lnTo>
                    <a:pt x="10" y="99"/>
                  </a:lnTo>
                  <a:lnTo>
                    <a:pt x="13" y="97"/>
                  </a:lnTo>
                  <a:close/>
                  <a:moveTo>
                    <a:pt x="15" y="113"/>
                  </a:moveTo>
                  <a:lnTo>
                    <a:pt x="15" y="113"/>
                  </a:lnTo>
                  <a:lnTo>
                    <a:pt x="13" y="103"/>
                  </a:lnTo>
                  <a:lnTo>
                    <a:pt x="11" y="103"/>
                  </a:lnTo>
                  <a:lnTo>
                    <a:pt x="11" y="103"/>
                  </a:lnTo>
                  <a:lnTo>
                    <a:pt x="13" y="113"/>
                  </a:lnTo>
                  <a:lnTo>
                    <a:pt x="15" y="113"/>
                  </a:lnTo>
                  <a:close/>
                  <a:moveTo>
                    <a:pt x="21" y="125"/>
                  </a:moveTo>
                  <a:lnTo>
                    <a:pt x="21" y="125"/>
                  </a:lnTo>
                  <a:lnTo>
                    <a:pt x="18" y="122"/>
                  </a:lnTo>
                  <a:lnTo>
                    <a:pt x="17" y="118"/>
                  </a:lnTo>
                  <a:lnTo>
                    <a:pt x="14" y="118"/>
                  </a:lnTo>
                  <a:lnTo>
                    <a:pt x="14" y="118"/>
                  </a:lnTo>
                  <a:lnTo>
                    <a:pt x="17" y="123"/>
                  </a:lnTo>
                  <a:lnTo>
                    <a:pt x="20" y="126"/>
                  </a:lnTo>
                  <a:lnTo>
                    <a:pt x="21" y="1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73" name="Freeform 1598"/>
            <p:cNvSpPr>
              <a:spLocks noEditPoints="1"/>
            </p:cNvSpPr>
            <p:nvPr/>
          </p:nvSpPr>
          <p:spPr bwMode="auto">
            <a:xfrm>
              <a:off x="4559300" y="4718479"/>
              <a:ext cx="55563" cy="34925"/>
            </a:xfrm>
            <a:custGeom>
              <a:avLst/>
              <a:gdLst>
                <a:gd name="T0" fmla="*/ 9 w 35"/>
                <a:gd name="T1" fmla="*/ 19 h 22"/>
                <a:gd name="T2" fmla="*/ 0 w 35"/>
                <a:gd name="T3" fmla="*/ 19 h 22"/>
                <a:gd name="T4" fmla="*/ 0 w 35"/>
                <a:gd name="T5" fmla="*/ 22 h 22"/>
                <a:gd name="T6" fmla="*/ 9 w 35"/>
                <a:gd name="T7" fmla="*/ 22 h 22"/>
                <a:gd name="T8" fmla="*/ 9 w 35"/>
                <a:gd name="T9" fmla="*/ 19 h 22"/>
                <a:gd name="T10" fmla="*/ 23 w 35"/>
                <a:gd name="T11" fmla="*/ 19 h 22"/>
                <a:gd name="T12" fmla="*/ 13 w 35"/>
                <a:gd name="T13" fmla="*/ 19 h 22"/>
                <a:gd name="T14" fmla="*/ 13 w 35"/>
                <a:gd name="T15" fmla="*/ 22 h 22"/>
                <a:gd name="T16" fmla="*/ 23 w 35"/>
                <a:gd name="T17" fmla="*/ 22 h 22"/>
                <a:gd name="T18" fmla="*/ 23 w 35"/>
                <a:gd name="T19" fmla="*/ 19 h 22"/>
                <a:gd name="T20" fmla="*/ 32 w 35"/>
                <a:gd name="T21" fmla="*/ 15 h 22"/>
                <a:gd name="T22" fmla="*/ 32 w 35"/>
                <a:gd name="T23" fmla="*/ 19 h 22"/>
                <a:gd name="T24" fmla="*/ 29 w 35"/>
                <a:gd name="T25" fmla="*/ 19 h 22"/>
                <a:gd name="T26" fmla="*/ 29 w 35"/>
                <a:gd name="T27" fmla="*/ 22 h 22"/>
                <a:gd name="T28" fmla="*/ 33 w 35"/>
                <a:gd name="T29" fmla="*/ 22 h 22"/>
                <a:gd name="T30" fmla="*/ 35 w 35"/>
                <a:gd name="T31" fmla="*/ 22 h 22"/>
                <a:gd name="T32" fmla="*/ 35 w 35"/>
                <a:gd name="T33" fmla="*/ 15 h 22"/>
                <a:gd name="T34" fmla="*/ 32 w 35"/>
                <a:gd name="T35" fmla="*/ 15 h 22"/>
                <a:gd name="T36" fmla="*/ 32 w 35"/>
                <a:gd name="T37" fmla="*/ 10 h 22"/>
                <a:gd name="T38" fmla="*/ 35 w 35"/>
                <a:gd name="T39" fmla="*/ 10 h 22"/>
                <a:gd name="T40" fmla="*/ 35 w 35"/>
                <a:gd name="T41" fmla="*/ 0 h 22"/>
                <a:gd name="T42" fmla="*/ 32 w 35"/>
                <a:gd name="T43" fmla="*/ 0 h 22"/>
                <a:gd name="T44" fmla="*/ 32 w 35"/>
                <a:gd name="T45"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22">
                  <a:moveTo>
                    <a:pt x="9" y="19"/>
                  </a:moveTo>
                  <a:lnTo>
                    <a:pt x="0" y="19"/>
                  </a:lnTo>
                  <a:lnTo>
                    <a:pt x="0" y="22"/>
                  </a:lnTo>
                  <a:lnTo>
                    <a:pt x="9" y="22"/>
                  </a:lnTo>
                  <a:lnTo>
                    <a:pt x="9" y="19"/>
                  </a:lnTo>
                  <a:close/>
                  <a:moveTo>
                    <a:pt x="23" y="19"/>
                  </a:moveTo>
                  <a:lnTo>
                    <a:pt x="13" y="19"/>
                  </a:lnTo>
                  <a:lnTo>
                    <a:pt x="13" y="22"/>
                  </a:lnTo>
                  <a:lnTo>
                    <a:pt x="23" y="22"/>
                  </a:lnTo>
                  <a:lnTo>
                    <a:pt x="23" y="19"/>
                  </a:lnTo>
                  <a:close/>
                  <a:moveTo>
                    <a:pt x="32" y="15"/>
                  </a:moveTo>
                  <a:lnTo>
                    <a:pt x="32" y="19"/>
                  </a:lnTo>
                  <a:lnTo>
                    <a:pt x="29" y="19"/>
                  </a:lnTo>
                  <a:lnTo>
                    <a:pt x="29" y="22"/>
                  </a:lnTo>
                  <a:lnTo>
                    <a:pt x="33" y="22"/>
                  </a:lnTo>
                  <a:lnTo>
                    <a:pt x="35" y="22"/>
                  </a:lnTo>
                  <a:lnTo>
                    <a:pt x="35" y="15"/>
                  </a:lnTo>
                  <a:lnTo>
                    <a:pt x="32" y="15"/>
                  </a:lnTo>
                  <a:close/>
                  <a:moveTo>
                    <a:pt x="32" y="10"/>
                  </a:moveTo>
                  <a:lnTo>
                    <a:pt x="35" y="10"/>
                  </a:lnTo>
                  <a:lnTo>
                    <a:pt x="35" y="0"/>
                  </a:lnTo>
                  <a:lnTo>
                    <a:pt x="32" y="0"/>
                  </a:lnTo>
                  <a:lnTo>
                    <a:pt x="3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74" name="Freeform 1599"/>
            <p:cNvSpPr>
              <a:spLocks noEditPoints="1"/>
            </p:cNvSpPr>
            <p:nvPr/>
          </p:nvSpPr>
          <p:spPr bwMode="auto">
            <a:xfrm>
              <a:off x="4625976" y="4886754"/>
              <a:ext cx="23813" cy="30163"/>
            </a:xfrm>
            <a:custGeom>
              <a:avLst/>
              <a:gdLst>
                <a:gd name="T0" fmla="*/ 10 w 15"/>
                <a:gd name="T1" fmla="*/ 7 h 19"/>
                <a:gd name="T2" fmla="*/ 10 w 15"/>
                <a:gd name="T3" fmla="*/ 7 h 19"/>
                <a:gd name="T4" fmla="*/ 15 w 15"/>
                <a:gd name="T5" fmla="*/ 1 h 19"/>
                <a:gd name="T6" fmla="*/ 12 w 15"/>
                <a:gd name="T7" fmla="*/ 0 h 19"/>
                <a:gd name="T8" fmla="*/ 12 w 15"/>
                <a:gd name="T9" fmla="*/ 0 h 19"/>
                <a:gd name="T10" fmla="*/ 9 w 15"/>
                <a:gd name="T11" fmla="*/ 7 h 19"/>
                <a:gd name="T12" fmla="*/ 10 w 15"/>
                <a:gd name="T13" fmla="*/ 7 h 19"/>
                <a:gd name="T14" fmla="*/ 0 w 15"/>
                <a:gd name="T15" fmla="*/ 19 h 19"/>
                <a:gd name="T16" fmla="*/ 0 w 15"/>
                <a:gd name="T17" fmla="*/ 19 h 19"/>
                <a:gd name="T18" fmla="*/ 4 w 15"/>
                <a:gd name="T19" fmla="*/ 17 h 19"/>
                <a:gd name="T20" fmla="*/ 4 w 15"/>
                <a:gd name="T21" fmla="*/ 17 h 19"/>
                <a:gd name="T22" fmla="*/ 7 w 15"/>
                <a:gd name="T23" fmla="*/ 15 h 19"/>
                <a:gd name="T24" fmla="*/ 7 w 15"/>
                <a:gd name="T25" fmla="*/ 15 h 19"/>
                <a:gd name="T26" fmla="*/ 9 w 15"/>
                <a:gd name="T27" fmla="*/ 13 h 19"/>
                <a:gd name="T28" fmla="*/ 6 w 15"/>
                <a:gd name="T29" fmla="*/ 12 h 19"/>
                <a:gd name="T30" fmla="*/ 6 w 15"/>
                <a:gd name="T31" fmla="*/ 12 h 19"/>
                <a:gd name="T32" fmla="*/ 6 w 15"/>
                <a:gd name="T33" fmla="*/ 13 h 19"/>
                <a:gd name="T34" fmla="*/ 6 w 15"/>
                <a:gd name="T35" fmla="*/ 13 h 19"/>
                <a:gd name="T36" fmla="*/ 3 w 15"/>
                <a:gd name="T37" fmla="*/ 16 h 19"/>
                <a:gd name="T38" fmla="*/ 3 w 15"/>
                <a:gd name="T39" fmla="*/ 16 h 19"/>
                <a:gd name="T40" fmla="*/ 0 w 15"/>
                <a:gd name="T41" fmla="*/ 16 h 19"/>
                <a:gd name="T42" fmla="*/ 0 w 15"/>
                <a:gd name="T4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 h="19">
                  <a:moveTo>
                    <a:pt x="10" y="7"/>
                  </a:moveTo>
                  <a:lnTo>
                    <a:pt x="10" y="7"/>
                  </a:lnTo>
                  <a:lnTo>
                    <a:pt x="15" y="1"/>
                  </a:lnTo>
                  <a:lnTo>
                    <a:pt x="12" y="0"/>
                  </a:lnTo>
                  <a:lnTo>
                    <a:pt x="12" y="0"/>
                  </a:lnTo>
                  <a:lnTo>
                    <a:pt x="9" y="7"/>
                  </a:lnTo>
                  <a:lnTo>
                    <a:pt x="10" y="7"/>
                  </a:lnTo>
                  <a:close/>
                  <a:moveTo>
                    <a:pt x="0" y="19"/>
                  </a:moveTo>
                  <a:lnTo>
                    <a:pt x="0" y="19"/>
                  </a:lnTo>
                  <a:lnTo>
                    <a:pt x="4" y="17"/>
                  </a:lnTo>
                  <a:lnTo>
                    <a:pt x="4" y="17"/>
                  </a:lnTo>
                  <a:lnTo>
                    <a:pt x="7" y="15"/>
                  </a:lnTo>
                  <a:lnTo>
                    <a:pt x="7" y="15"/>
                  </a:lnTo>
                  <a:lnTo>
                    <a:pt x="9" y="13"/>
                  </a:lnTo>
                  <a:lnTo>
                    <a:pt x="6" y="12"/>
                  </a:lnTo>
                  <a:lnTo>
                    <a:pt x="6" y="12"/>
                  </a:lnTo>
                  <a:lnTo>
                    <a:pt x="6" y="13"/>
                  </a:lnTo>
                  <a:lnTo>
                    <a:pt x="6" y="13"/>
                  </a:lnTo>
                  <a:lnTo>
                    <a:pt x="3" y="16"/>
                  </a:lnTo>
                  <a:lnTo>
                    <a:pt x="3" y="16"/>
                  </a:lnTo>
                  <a:lnTo>
                    <a:pt x="0" y="16"/>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75" name="Freeform 1600"/>
            <p:cNvSpPr>
              <a:spLocks noEditPoints="1"/>
            </p:cNvSpPr>
            <p:nvPr/>
          </p:nvSpPr>
          <p:spPr bwMode="auto">
            <a:xfrm>
              <a:off x="4619626" y="4466067"/>
              <a:ext cx="919163" cy="431800"/>
            </a:xfrm>
            <a:custGeom>
              <a:avLst/>
              <a:gdLst>
                <a:gd name="T0" fmla="*/ 502 w 579"/>
                <a:gd name="T1" fmla="*/ 19 h 272"/>
                <a:gd name="T2" fmla="*/ 502 w 579"/>
                <a:gd name="T3" fmla="*/ 19 h 272"/>
                <a:gd name="T4" fmla="*/ 523 w 579"/>
                <a:gd name="T5" fmla="*/ 39 h 272"/>
                <a:gd name="T6" fmla="*/ 525 w 579"/>
                <a:gd name="T7" fmla="*/ 43 h 272"/>
                <a:gd name="T8" fmla="*/ 549 w 579"/>
                <a:gd name="T9" fmla="*/ 55 h 272"/>
                <a:gd name="T10" fmla="*/ 579 w 579"/>
                <a:gd name="T11" fmla="*/ 59 h 272"/>
                <a:gd name="T12" fmla="*/ 573 w 579"/>
                <a:gd name="T13" fmla="*/ 74 h 272"/>
                <a:gd name="T14" fmla="*/ 570 w 579"/>
                <a:gd name="T15" fmla="*/ 78 h 272"/>
                <a:gd name="T16" fmla="*/ 559 w 579"/>
                <a:gd name="T17" fmla="*/ 88 h 272"/>
                <a:gd name="T18" fmla="*/ 547 w 579"/>
                <a:gd name="T19" fmla="*/ 98 h 272"/>
                <a:gd name="T20" fmla="*/ 533 w 579"/>
                <a:gd name="T21" fmla="*/ 104 h 272"/>
                <a:gd name="T22" fmla="*/ 514 w 579"/>
                <a:gd name="T23" fmla="*/ 110 h 272"/>
                <a:gd name="T24" fmla="*/ 505 w 579"/>
                <a:gd name="T25" fmla="*/ 116 h 272"/>
                <a:gd name="T26" fmla="*/ 492 w 579"/>
                <a:gd name="T27" fmla="*/ 122 h 272"/>
                <a:gd name="T28" fmla="*/ 468 w 579"/>
                <a:gd name="T29" fmla="*/ 120 h 272"/>
                <a:gd name="T30" fmla="*/ 459 w 579"/>
                <a:gd name="T31" fmla="*/ 120 h 272"/>
                <a:gd name="T32" fmla="*/ 444 w 579"/>
                <a:gd name="T33" fmla="*/ 130 h 272"/>
                <a:gd name="T34" fmla="*/ 424 w 579"/>
                <a:gd name="T35" fmla="*/ 127 h 272"/>
                <a:gd name="T36" fmla="*/ 421 w 579"/>
                <a:gd name="T37" fmla="*/ 125 h 272"/>
                <a:gd name="T38" fmla="*/ 407 w 579"/>
                <a:gd name="T39" fmla="*/ 117 h 272"/>
                <a:gd name="T40" fmla="*/ 392 w 579"/>
                <a:gd name="T41" fmla="*/ 117 h 272"/>
                <a:gd name="T42" fmla="*/ 376 w 579"/>
                <a:gd name="T43" fmla="*/ 117 h 272"/>
                <a:gd name="T44" fmla="*/ 353 w 579"/>
                <a:gd name="T45" fmla="*/ 126 h 272"/>
                <a:gd name="T46" fmla="*/ 343 w 579"/>
                <a:gd name="T47" fmla="*/ 127 h 272"/>
                <a:gd name="T48" fmla="*/ 323 w 579"/>
                <a:gd name="T49" fmla="*/ 130 h 272"/>
                <a:gd name="T50" fmla="*/ 314 w 579"/>
                <a:gd name="T51" fmla="*/ 129 h 272"/>
                <a:gd name="T52" fmla="*/ 299 w 579"/>
                <a:gd name="T53" fmla="*/ 129 h 272"/>
                <a:gd name="T54" fmla="*/ 284 w 579"/>
                <a:gd name="T55" fmla="*/ 117 h 272"/>
                <a:gd name="T56" fmla="*/ 286 w 579"/>
                <a:gd name="T57" fmla="*/ 114 h 272"/>
                <a:gd name="T58" fmla="*/ 278 w 579"/>
                <a:gd name="T59" fmla="*/ 117 h 272"/>
                <a:gd name="T60" fmla="*/ 259 w 579"/>
                <a:gd name="T61" fmla="*/ 117 h 272"/>
                <a:gd name="T62" fmla="*/ 243 w 579"/>
                <a:gd name="T63" fmla="*/ 112 h 272"/>
                <a:gd name="T64" fmla="*/ 239 w 579"/>
                <a:gd name="T65" fmla="*/ 110 h 272"/>
                <a:gd name="T66" fmla="*/ 220 w 579"/>
                <a:gd name="T67" fmla="*/ 114 h 272"/>
                <a:gd name="T68" fmla="*/ 200 w 579"/>
                <a:gd name="T69" fmla="*/ 114 h 272"/>
                <a:gd name="T70" fmla="*/ 188 w 579"/>
                <a:gd name="T71" fmla="*/ 114 h 272"/>
                <a:gd name="T72" fmla="*/ 188 w 579"/>
                <a:gd name="T73" fmla="*/ 112 h 272"/>
                <a:gd name="T74" fmla="*/ 182 w 579"/>
                <a:gd name="T75" fmla="*/ 117 h 272"/>
                <a:gd name="T76" fmla="*/ 169 w 579"/>
                <a:gd name="T77" fmla="*/ 126 h 272"/>
                <a:gd name="T78" fmla="*/ 155 w 579"/>
                <a:gd name="T79" fmla="*/ 123 h 272"/>
                <a:gd name="T80" fmla="*/ 139 w 579"/>
                <a:gd name="T81" fmla="*/ 122 h 272"/>
                <a:gd name="T82" fmla="*/ 118 w 579"/>
                <a:gd name="T83" fmla="*/ 117 h 272"/>
                <a:gd name="T84" fmla="*/ 118 w 579"/>
                <a:gd name="T85" fmla="*/ 114 h 272"/>
                <a:gd name="T86" fmla="*/ 110 w 579"/>
                <a:gd name="T87" fmla="*/ 132 h 272"/>
                <a:gd name="T88" fmla="*/ 103 w 579"/>
                <a:gd name="T89" fmla="*/ 161 h 272"/>
                <a:gd name="T90" fmla="*/ 100 w 579"/>
                <a:gd name="T91" fmla="*/ 161 h 272"/>
                <a:gd name="T92" fmla="*/ 100 w 579"/>
                <a:gd name="T93" fmla="*/ 191 h 272"/>
                <a:gd name="T94" fmla="*/ 98 w 579"/>
                <a:gd name="T95" fmla="*/ 191 h 272"/>
                <a:gd name="T96" fmla="*/ 91 w 579"/>
                <a:gd name="T97" fmla="*/ 203 h 272"/>
                <a:gd name="T98" fmla="*/ 85 w 579"/>
                <a:gd name="T99" fmla="*/ 209 h 272"/>
                <a:gd name="T100" fmla="*/ 74 w 579"/>
                <a:gd name="T101" fmla="*/ 214 h 272"/>
                <a:gd name="T102" fmla="*/ 71 w 579"/>
                <a:gd name="T103" fmla="*/ 229 h 272"/>
                <a:gd name="T104" fmla="*/ 68 w 579"/>
                <a:gd name="T105" fmla="*/ 243 h 272"/>
                <a:gd name="T106" fmla="*/ 59 w 579"/>
                <a:gd name="T107" fmla="*/ 256 h 272"/>
                <a:gd name="T108" fmla="*/ 50 w 579"/>
                <a:gd name="T109" fmla="*/ 269 h 272"/>
                <a:gd name="T110" fmla="*/ 27 w 579"/>
                <a:gd name="T111" fmla="*/ 271 h 272"/>
                <a:gd name="T112" fmla="*/ 10 w 579"/>
                <a:gd name="T113" fmla="*/ 264 h 272"/>
                <a:gd name="T114" fmla="*/ 7 w 579"/>
                <a:gd name="T115" fmla="*/ 264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9" h="272">
                  <a:moveTo>
                    <a:pt x="508" y="6"/>
                  </a:moveTo>
                  <a:lnTo>
                    <a:pt x="508" y="6"/>
                  </a:lnTo>
                  <a:lnTo>
                    <a:pt x="511" y="1"/>
                  </a:lnTo>
                  <a:lnTo>
                    <a:pt x="508" y="0"/>
                  </a:lnTo>
                  <a:lnTo>
                    <a:pt x="508" y="0"/>
                  </a:lnTo>
                  <a:lnTo>
                    <a:pt x="505" y="4"/>
                  </a:lnTo>
                  <a:lnTo>
                    <a:pt x="508" y="6"/>
                  </a:lnTo>
                  <a:close/>
                  <a:moveTo>
                    <a:pt x="502" y="19"/>
                  </a:moveTo>
                  <a:lnTo>
                    <a:pt x="502" y="19"/>
                  </a:lnTo>
                  <a:lnTo>
                    <a:pt x="502" y="19"/>
                  </a:lnTo>
                  <a:lnTo>
                    <a:pt x="502" y="19"/>
                  </a:lnTo>
                  <a:lnTo>
                    <a:pt x="505" y="10"/>
                  </a:lnTo>
                  <a:lnTo>
                    <a:pt x="502" y="9"/>
                  </a:lnTo>
                  <a:lnTo>
                    <a:pt x="502" y="9"/>
                  </a:lnTo>
                  <a:lnTo>
                    <a:pt x="499" y="17"/>
                  </a:lnTo>
                  <a:lnTo>
                    <a:pt x="499" y="19"/>
                  </a:lnTo>
                  <a:lnTo>
                    <a:pt x="499" y="20"/>
                  </a:lnTo>
                  <a:lnTo>
                    <a:pt x="502" y="19"/>
                  </a:lnTo>
                  <a:close/>
                  <a:moveTo>
                    <a:pt x="511" y="30"/>
                  </a:moveTo>
                  <a:lnTo>
                    <a:pt x="511" y="30"/>
                  </a:lnTo>
                  <a:lnTo>
                    <a:pt x="504" y="23"/>
                  </a:lnTo>
                  <a:lnTo>
                    <a:pt x="501" y="25"/>
                  </a:lnTo>
                  <a:lnTo>
                    <a:pt x="501" y="25"/>
                  </a:lnTo>
                  <a:lnTo>
                    <a:pt x="510" y="32"/>
                  </a:lnTo>
                  <a:lnTo>
                    <a:pt x="511" y="30"/>
                  </a:lnTo>
                  <a:close/>
                  <a:moveTo>
                    <a:pt x="523" y="39"/>
                  </a:moveTo>
                  <a:lnTo>
                    <a:pt x="523" y="39"/>
                  </a:lnTo>
                  <a:lnTo>
                    <a:pt x="514" y="33"/>
                  </a:lnTo>
                  <a:lnTo>
                    <a:pt x="512" y="35"/>
                  </a:lnTo>
                  <a:lnTo>
                    <a:pt x="512" y="35"/>
                  </a:lnTo>
                  <a:lnTo>
                    <a:pt x="521" y="41"/>
                  </a:lnTo>
                  <a:lnTo>
                    <a:pt x="523" y="39"/>
                  </a:lnTo>
                  <a:close/>
                  <a:moveTo>
                    <a:pt x="536" y="48"/>
                  </a:moveTo>
                  <a:lnTo>
                    <a:pt x="536" y="48"/>
                  </a:lnTo>
                  <a:lnTo>
                    <a:pt x="527" y="42"/>
                  </a:lnTo>
                  <a:lnTo>
                    <a:pt x="525" y="43"/>
                  </a:lnTo>
                  <a:lnTo>
                    <a:pt x="525" y="43"/>
                  </a:lnTo>
                  <a:lnTo>
                    <a:pt x="534" y="49"/>
                  </a:lnTo>
                  <a:lnTo>
                    <a:pt x="536" y="48"/>
                  </a:lnTo>
                  <a:close/>
                  <a:moveTo>
                    <a:pt x="549" y="54"/>
                  </a:moveTo>
                  <a:lnTo>
                    <a:pt x="549" y="54"/>
                  </a:lnTo>
                  <a:lnTo>
                    <a:pt x="540" y="49"/>
                  </a:lnTo>
                  <a:lnTo>
                    <a:pt x="538" y="52"/>
                  </a:lnTo>
                  <a:lnTo>
                    <a:pt x="538" y="52"/>
                  </a:lnTo>
                  <a:lnTo>
                    <a:pt x="549" y="55"/>
                  </a:lnTo>
                  <a:lnTo>
                    <a:pt x="549" y="54"/>
                  </a:lnTo>
                  <a:close/>
                  <a:moveTo>
                    <a:pt x="565" y="56"/>
                  </a:moveTo>
                  <a:lnTo>
                    <a:pt x="565" y="56"/>
                  </a:lnTo>
                  <a:lnTo>
                    <a:pt x="554" y="55"/>
                  </a:lnTo>
                  <a:lnTo>
                    <a:pt x="553" y="56"/>
                  </a:lnTo>
                  <a:lnTo>
                    <a:pt x="553" y="56"/>
                  </a:lnTo>
                  <a:lnTo>
                    <a:pt x="563" y="59"/>
                  </a:lnTo>
                  <a:lnTo>
                    <a:pt x="565" y="56"/>
                  </a:lnTo>
                  <a:close/>
                  <a:moveTo>
                    <a:pt x="579" y="59"/>
                  </a:moveTo>
                  <a:lnTo>
                    <a:pt x="579" y="59"/>
                  </a:lnTo>
                  <a:lnTo>
                    <a:pt x="579" y="59"/>
                  </a:lnTo>
                  <a:lnTo>
                    <a:pt x="569" y="58"/>
                  </a:lnTo>
                  <a:lnTo>
                    <a:pt x="569" y="59"/>
                  </a:lnTo>
                  <a:lnTo>
                    <a:pt x="569" y="59"/>
                  </a:lnTo>
                  <a:lnTo>
                    <a:pt x="578" y="61"/>
                  </a:lnTo>
                  <a:lnTo>
                    <a:pt x="578" y="61"/>
                  </a:lnTo>
                  <a:lnTo>
                    <a:pt x="579" y="59"/>
                  </a:lnTo>
                  <a:close/>
                  <a:moveTo>
                    <a:pt x="573" y="74"/>
                  </a:moveTo>
                  <a:lnTo>
                    <a:pt x="573" y="74"/>
                  </a:lnTo>
                  <a:lnTo>
                    <a:pt x="579" y="65"/>
                  </a:lnTo>
                  <a:lnTo>
                    <a:pt x="578" y="64"/>
                  </a:lnTo>
                  <a:lnTo>
                    <a:pt x="578" y="64"/>
                  </a:lnTo>
                  <a:lnTo>
                    <a:pt x="572" y="72"/>
                  </a:lnTo>
                  <a:lnTo>
                    <a:pt x="573" y="74"/>
                  </a:lnTo>
                  <a:close/>
                  <a:moveTo>
                    <a:pt x="563" y="85"/>
                  </a:moveTo>
                  <a:lnTo>
                    <a:pt x="563" y="85"/>
                  </a:lnTo>
                  <a:lnTo>
                    <a:pt x="570" y="78"/>
                  </a:lnTo>
                  <a:lnTo>
                    <a:pt x="567" y="77"/>
                  </a:lnTo>
                  <a:lnTo>
                    <a:pt x="567" y="77"/>
                  </a:lnTo>
                  <a:lnTo>
                    <a:pt x="562" y="84"/>
                  </a:lnTo>
                  <a:lnTo>
                    <a:pt x="563" y="85"/>
                  </a:lnTo>
                  <a:close/>
                  <a:moveTo>
                    <a:pt x="552" y="96"/>
                  </a:moveTo>
                  <a:lnTo>
                    <a:pt x="552" y="96"/>
                  </a:lnTo>
                  <a:lnTo>
                    <a:pt x="554" y="93"/>
                  </a:lnTo>
                  <a:lnTo>
                    <a:pt x="554" y="93"/>
                  </a:lnTo>
                  <a:lnTo>
                    <a:pt x="559" y="88"/>
                  </a:lnTo>
                  <a:lnTo>
                    <a:pt x="557" y="87"/>
                  </a:lnTo>
                  <a:lnTo>
                    <a:pt x="557" y="87"/>
                  </a:lnTo>
                  <a:lnTo>
                    <a:pt x="553" y="91"/>
                  </a:lnTo>
                  <a:lnTo>
                    <a:pt x="553" y="91"/>
                  </a:lnTo>
                  <a:lnTo>
                    <a:pt x="550" y="94"/>
                  </a:lnTo>
                  <a:lnTo>
                    <a:pt x="552" y="96"/>
                  </a:lnTo>
                  <a:close/>
                  <a:moveTo>
                    <a:pt x="538" y="104"/>
                  </a:moveTo>
                  <a:lnTo>
                    <a:pt x="538" y="104"/>
                  </a:lnTo>
                  <a:lnTo>
                    <a:pt x="547" y="98"/>
                  </a:lnTo>
                  <a:lnTo>
                    <a:pt x="546" y="97"/>
                  </a:lnTo>
                  <a:lnTo>
                    <a:pt x="546" y="97"/>
                  </a:lnTo>
                  <a:lnTo>
                    <a:pt x="537" y="101"/>
                  </a:lnTo>
                  <a:lnTo>
                    <a:pt x="538" y="104"/>
                  </a:lnTo>
                  <a:close/>
                  <a:moveTo>
                    <a:pt x="524" y="112"/>
                  </a:moveTo>
                  <a:lnTo>
                    <a:pt x="524" y="112"/>
                  </a:lnTo>
                  <a:lnTo>
                    <a:pt x="534" y="107"/>
                  </a:lnTo>
                  <a:lnTo>
                    <a:pt x="533" y="104"/>
                  </a:lnTo>
                  <a:lnTo>
                    <a:pt x="533" y="104"/>
                  </a:lnTo>
                  <a:lnTo>
                    <a:pt x="524" y="109"/>
                  </a:lnTo>
                  <a:lnTo>
                    <a:pt x="524" y="112"/>
                  </a:lnTo>
                  <a:close/>
                  <a:moveTo>
                    <a:pt x="511" y="114"/>
                  </a:moveTo>
                  <a:lnTo>
                    <a:pt x="511" y="114"/>
                  </a:lnTo>
                  <a:lnTo>
                    <a:pt x="515" y="113"/>
                  </a:lnTo>
                  <a:lnTo>
                    <a:pt x="520" y="112"/>
                  </a:lnTo>
                  <a:lnTo>
                    <a:pt x="520" y="109"/>
                  </a:lnTo>
                  <a:lnTo>
                    <a:pt x="520" y="109"/>
                  </a:lnTo>
                  <a:lnTo>
                    <a:pt x="514" y="110"/>
                  </a:lnTo>
                  <a:lnTo>
                    <a:pt x="510" y="113"/>
                  </a:lnTo>
                  <a:lnTo>
                    <a:pt x="511" y="114"/>
                  </a:lnTo>
                  <a:close/>
                  <a:moveTo>
                    <a:pt x="498" y="123"/>
                  </a:moveTo>
                  <a:lnTo>
                    <a:pt x="498" y="123"/>
                  </a:lnTo>
                  <a:lnTo>
                    <a:pt x="499" y="123"/>
                  </a:lnTo>
                  <a:lnTo>
                    <a:pt x="499" y="123"/>
                  </a:lnTo>
                  <a:lnTo>
                    <a:pt x="507" y="117"/>
                  </a:lnTo>
                  <a:lnTo>
                    <a:pt x="505" y="116"/>
                  </a:lnTo>
                  <a:lnTo>
                    <a:pt x="505" y="116"/>
                  </a:lnTo>
                  <a:lnTo>
                    <a:pt x="498" y="120"/>
                  </a:lnTo>
                  <a:lnTo>
                    <a:pt x="498" y="120"/>
                  </a:lnTo>
                  <a:lnTo>
                    <a:pt x="496" y="122"/>
                  </a:lnTo>
                  <a:lnTo>
                    <a:pt x="498" y="123"/>
                  </a:lnTo>
                  <a:close/>
                  <a:moveTo>
                    <a:pt x="482" y="123"/>
                  </a:moveTo>
                  <a:lnTo>
                    <a:pt x="482" y="123"/>
                  </a:lnTo>
                  <a:lnTo>
                    <a:pt x="492" y="125"/>
                  </a:lnTo>
                  <a:lnTo>
                    <a:pt x="492" y="122"/>
                  </a:lnTo>
                  <a:lnTo>
                    <a:pt x="492" y="122"/>
                  </a:lnTo>
                  <a:lnTo>
                    <a:pt x="482" y="120"/>
                  </a:lnTo>
                  <a:lnTo>
                    <a:pt x="482" y="123"/>
                  </a:lnTo>
                  <a:close/>
                  <a:moveTo>
                    <a:pt x="468" y="120"/>
                  </a:moveTo>
                  <a:lnTo>
                    <a:pt x="468" y="120"/>
                  </a:lnTo>
                  <a:lnTo>
                    <a:pt x="478" y="122"/>
                  </a:lnTo>
                  <a:lnTo>
                    <a:pt x="478" y="120"/>
                  </a:lnTo>
                  <a:lnTo>
                    <a:pt x="478" y="120"/>
                  </a:lnTo>
                  <a:lnTo>
                    <a:pt x="468" y="119"/>
                  </a:lnTo>
                  <a:lnTo>
                    <a:pt x="468" y="120"/>
                  </a:lnTo>
                  <a:close/>
                  <a:moveTo>
                    <a:pt x="456" y="127"/>
                  </a:moveTo>
                  <a:lnTo>
                    <a:pt x="456" y="127"/>
                  </a:lnTo>
                  <a:lnTo>
                    <a:pt x="459" y="123"/>
                  </a:lnTo>
                  <a:lnTo>
                    <a:pt x="459" y="123"/>
                  </a:lnTo>
                  <a:lnTo>
                    <a:pt x="460" y="122"/>
                  </a:lnTo>
                  <a:lnTo>
                    <a:pt x="462" y="120"/>
                  </a:lnTo>
                  <a:lnTo>
                    <a:pt x="462" y="119"/>
                  </a:lnTo>
                  <a:lnTo>
                    <a:pt x="462" y="119"/>
                  </a:lnTo>
                  <a:lnTo>
                    <a:pt x="459" y="120"/>
                  </a:lnTo>
                  <a:lnTo>
                    <a:pt x="457" y="122"/>
                  </a:lnTo>
                  <a:lnTo>
                    <a:pt x="457" y="122"/>
                  </a:lnTo>
                  <a:lnTo>
                    <a:pt x="454" y="125"/>
                  </a:lnTo>
                  <a:lnTo>
                    <a:pt x="456" y="127"/>
                  </a:lnTo>
                  <a:lnTo>
                    <a:pt x="456" y="127"/>
                  </a:lnTo>
                  <a:close/>
                  <a:moveTo>
                    <a:pt x="440" y="130"/>
                  </a:moveTo>
                  <a:lnTo>
                    <a:pt x="440" y="130"/>
                  </a:lnTo>
                  <a:lnTo>
                    <a:pt x="444" y="130"/>
                  </a:lnTo>
                  <a:lnTo>
                    <a:pt x="444" y="130"/>
                  </a:lnTo>
                  <a:lnTo>
                    <a:pt x="450" y="129"/>
                  </a:lnTo>
                  <a:lnTo>
                    <a:pt x="450" y="126"/>
                  </a:lnTo>
                  <a:lnTo>
                    <a:pt x="450" y="126"/>
                  </a:lnTo>
                  <a:lnTo>
                    <a:pt x="444" y="127"/>
                  </a:lnTo>
                  <a:lnTo>
                    <a:pt x="444" y="127"/>
                  </a:lnTo>
                  <a:lnTo>
                    <a:pt x="440" y="127"/>
                  </a:lnTo>
                  <a:lnTo>
                    <a:pt x="440" y="130"/>
                  </a:lnTo>
                  <a:close/>
                  <a:moveTo>
                    <a:pt x="424" y="127"/>
                  </a:moveTo>
                  <a:lnTo>
                    <a:pt x="424" y="127"/>
                  </a:lnTo>
                  <a:lnTo>
                    <a:pt x="434" y="130"/>
                  </a:lnTo>
                  <a:lnTo>
                    <a:pt x="436" y="127"/>
                  </a:lnTo>
                  <a:lnTo>
                    <a:pt x="436" y="127"/>
                  </a:lnTo>
                  <a:lnTo>
                    <a:pt x="425" y="126"/>
                  </a:lnTo>
                  <a:lnTo>
                    <a:pt x="424" y="127"/>
                  </a:lnTo>
                  <a:close/>
                  <a:moveTo>
                    <a:pt x="410" y="122"/>
                  </a:moveTo>
                  <a:lnTo>
                    <a:pt x="410" y="122"/>
                  </a:lnTo>
                  <a:lnTo>
                    <a:pt x="420" y="126"/>
                  </a:lnTo>
                  <a:lnTo>
                    <a:pt x="421" y="125"/>
                  </a:lnTo>
                  <a:lnTo>
                    <a:pt x="421" y="125"/>
                  </a:lnTo>
                  <a:lnTo>
                    <a:pt x="411" y="120"/>
                  </a:lnTo>
                  <a:lnTo>
                    <a:pt x="410" y="122"/>
                  </a:lnTo>
                  <a:close/>
                  <a:moveTo>
                    <a:pt x="397" y="117"/>
                  </a:moveTo>
                  <a:lnTo>
                    <a:pt x="397" y="117"/>
                  </a:lnTo>
                  <a:lnTo>
                    <a:pt x="404" y="119"/>
                  </a:lnTo>
                  <a:lnTo>
                    <a:pt x="404" y="119"/>
                  </a:lnTo>
                  <a:lnTo>
                    <a:pt x="405" y="120"/>
                  </a:lnTo>
                  <a:lnTo>
                    <a:pt x="407" y="117"/>
                  </a:lnTo>
                  <a:lnTo>
                    <a:pt x="407" y="117"/>
                  </a:lnTo>
                  <a:lnTo>
                    <a:pt x="405" y="117"/>
                  </a:lnTo>
                  <a:lnTo>
                    <a:pt x="405" y="117"/>
                  </a:lnTo>
                  <a:lnTo>
                    <a:pt x="401" y="116"/>
                  </a:lnTo>
                  <a:lnTo>
                    <a:pt x="397" y="114"/>
                  </a:lnTo>
                  <a:lnTo>
                    <a:pt x="397" y="117"/>
                  </a:lnTo>
                  <a:close/>
                  <a:moveTo>
                    <a:pt x="382" y="119"/>
                  </a:moveTo>
                  <a:lnTo>
                    <a:pt x="382" y="119"/>
                  </a:lnTo>
                  <a:lnTo>
                    <a:pt x="392" y="117"/>
                  </a:lnTo>
                  <a:lnTo>
                    <a:pt x="391" y="114"/>
                  </a:lnTo>
                  <a:lnTo>
                    <a:pt x="391" y="114"/>
                  </a:lnTo>
                  <a:lnTo>
                    <a:pt x="381" y="116"/>
                  </a:lnTo>
                  <a:lnTo>
                    <a:pt x="382" y="119"/>
                  </a:lnTo>
                  <a:close/>
                  <a:moveTo>
                    <a:pt x="368" y="122"/>
                  </a:moveTo>
                  <a:lnTo>
                    <a:pt x="368" y="122"/>
                  </a:lnTo>
                  <a:lnTo>
                    <a:pt x="376" y="119"/>
                  </a:lnTo>
                  <a:lnTo>
                    <a:pt x="376" y="117"/>
                  </a:lnTo>
                  <a:lnTo>
                    <a:pt x="376" y="117"/>
                  </a:lnTo>
                  <a:lnTo>
                    <a:pt x="366" y="119"/>
                  </a:lnTo>
                  <a:lnTo>
                    <a:pt x="368" y="122"/>
                  </a:lnTo>
                  <a:close/>
                  <a:moveTo>
                    <a:pt x="353" y="126"/>
                  </a:moveTo>
                  <a:lnTo>
                    <a:pt x="353" y="126"/>
                  </a:lnTo>
                  <a:lnTo>
                    <a:pt x="362" y="123"/>
                  </a:lnTo>
                  <a:lnTo>
                    <a:pt x="362" y="120"/>
                  </a:lnTo>
                  <a:lnTo>
                    <a:pt x="362" y="120"/>
                  </a:lnTo>
                  <a:lnTo>
                    <a:pt x="352" y="125"/>
                  </a:lnTo>
                  <a:lnTo>
                    <a:pt x="353" y="126"/>
                  </a:lnTo>
                  <a:close/>
                  <a:moveTo>
                    <a:pt x="339" y="132"/>
                  </a:moveTo>
                  <a:lnTo>
                    <a:pt x="339" y="132"/>
                  </a:lnTo>
                  <a:lnTo>
                    <a:pt x="344" y="130"/>
                  </a:lnTo>
                  <a:lnTo>
                    <a:pt x="349" y="129"/>
                  </a:lnTo>
                  <a:lnTo>
                    <a:pt x="349" y="129"/>
                  </a:lnTo>
                  <a:lnTo>
                    <a:pt x="347" y="127"/>
                  </a:lnTo>
                  <a:lnTo>
                    <a:pt x="347" y="127"/>
                  </a:lnTo>
                  <a:lnTo>
                    <a:pt x="347" y="127"/>
                  </a:lnTo>
                  <a:lnTo>
                    <a:pt x="343" y="127"/>
                  </a:lnTo>
                  <a:lnTo>
                    <a:pt x="339" y="129"/>
                  </a:lnTo>
                  <a:lnTo>
                    <a:pt x="339" y="132"/>
                  </a:lnTo>
                  <a:close/>
                  <a:moveTo>
                    <a:pt x="323" y="130"/>
                  </a:moveTo>
                  <a:lnTo>
                    <a:pt x="323" y="130"/>
                  </a:lnTo>
                  <a:lnTo>
                    <a:pt x="333" y="132"/>
                  </a:lnTo>
                  <a:lnTo>
                    <a:pt x="333" y="129"/>
                  </a:lnTo>
                  <a:lnTo>
                    <a:pt x="333" y="129"/>
                  </a:lnTo>
                  <a:lnTo>
                    <a:pt x="323" y="129"/>
                  </a:lnTo>
                  <a:lnTo>
                    <a:pt x="323" y="130"/>
                  </a:lnTo>
                  <a:close/>
                  <a:moveTo>
                    <a:pt x="308" y="130"/>
                  </a:moveTo>
                  <a:lnTo>
                    <a:pt x="308" y="130"/>
                  </a:lnTo>
                  <a:lnTo>
                    <a:pt x="308" y="130"/>
                  </a:lnTo>
                  <a:lnTo>
                    <a:pt x="314" y="130"/>
                  </a:lnTo>
                  <a:lnTo>
                    <a:pt x="314" y="130"/>
                  </a:lnTo>
                  <a:lnTo>
                    <a:pt x="318" y="130"/>
                  </a:lnTo>
                  <a:lnTo>
                    <a:pt x="318" y="129"/>
                  </a:lnTo>
                  <a:lnTo>
                    <a:pt x="318" y="129"/>
                  </a:lnTo>
                  <a:lnTo>
                    <a:pt x="314" y="129"/>
                  </a:lnTo>
                  <a:lnTo>
                    <a:pt x="314" y="129"/>
                  </a:lnTo>
                  <a:lnTo>
                    <a:pt x="308" y="129"/>
                  </a:lnTo>
                  <a:lnTo>
                    <a:pt x="308" y="129"/>
                  </a:lnTo>
                  <a:lnTo>
                    <a:pt x="308" y="130"/>
                  </a:lnTo>
                  <a:close/>
                  <a:moveTo>
                    <a:pt x="295" y="122"/>
                  </a:moveTo>
                  <a:lnTo>
                    <a:pt x="295" y="122"/>
                  </a:lnTo>
                  <a:lnTo>
                    <a:pt x="298" y="126"/>
                  </a:lnTo>
                  <a:lnTo>
                    <a:pt x="298" y="126"/>
                  </a:lnTo>
                  <a:lnTo>
                    <a:pt x="299" y="129"/>
                  </a:lnTo>
                  <a:lnTo>
                    <a:pt x="302" y="130"/>
                  </a:lnTo>
                  <a:lnTo>
                    <a:pt x="302" y="127"/>
                  </a:lnTo>
                  <a:lnTo>
                    <a:pt x="302" y="127"/>
                  </a:lnTo>
                  <a:lnTo>
                    <a:pt x="299" y="126"/>
                  </a:lnTo>
                  <a:lnTo>
                    <a:pt x="299" y="126"/>
                  </a:lnTo>
                  <a:lnTo>
                    <a:pt x="297" y="120"/>
                  </a:lnTo>
                  <a:lnTo>
                    <a:pt x="295" y="122"/>
                  </a:lnTo>
                  <a:close/>
                  <a:moveTo>
                    <a:pt x="284" y="117"/>
                  </a:moveTo>
                  <a:lnTo>
                    <a:pt x="284" y="117"/>
                  </a:lnTo>
                  <a:lnTo>
                    <a:pt x="286" y="117"/>
                  </a:lnTo>
                  <a:lnTo>
                    <a:pt x="286" y="117"/>
                  </a:lnTo>
                  <a:lnTo>
                    <a:pt x="289" y="117"/>
                  </a:lnTo>
                  <a:lnTo>
                    <a:pt x="292" y="119"/>
                  </a:lnTo>
                  <a:lnTo>
                    <a:pt x="294" y="117"/>
                  </a:lnTo>
                  <a:lnTo>
                    <a:pt x="294" y="117"/>
                  </a:lnTo>
                  <a:lnTo>
                    <a:pt x="294" y="117"/>
                  </a:lnTo>
                  <a:lnTo>
                    <a:pt x="291" y="114"/>
                  </a:lnTo>
                  <a:lnTo>
                    <a:pt x="286" y="114"/>
                  </a:lnTo>
                  <a:lnTo>
                    <a:pt x="286" y="114"/>
                  </a:lnTo>
                  <a:lnTo>
                    <a:pt x="282" y="116"/>
                  </a:lnTo>
                  <a:lnTo>
                    <a:pt x="284" y="117"/>
                  </a:lnTo>
                  <a:close/>
                  <a:moveTo>
                    <a:pt x="271" y="125"/>
                  </a:moveTo>
                  <a:lnTo>
                    <a:pt x="271" y="125"/>
                  </a:lnTo>
                  <a:lnTo>
                    <a:pt x="273" y="125"/>
                  </a:lnTo>
                  <a:lnTo>
                    <a:pt x="273" y="125"/>
                  </a:lnTo>
                  <a:lnTo>
                    <a:pt x="279" y="120"/>
                  </a:lnTo>
                  <a:lnTo>
                    <a:pt x="278" y="117"/>
                  </a:lnTo>
                  <a:lnTo>
                    <a:pt x="278" y="117"/>
                  </a:lnTo>
                  <a:lnTo>
                    <a:pt x="272" y="122"/>
                  </a:lnTo>
                  <a:lnTo>
                    <a:pt x="272" y="122"/>
                  </a:lnTo>
                  <a:lnTo>
                    <a:pt x="271" y="123"/>
                  </a:lnTo>
                  <a:lnTo>
                    <a:pt x="271" y="125"/>
                  </a:lnTo>
                  <a:close/>
                  <a:moveTo>
                    <a:pt x="257" y="116"/>
                  </a:moveTo>
                  <a:lnTo>
                    <a:pt x="257" y="116"/>
                  </a:lnTo>
                  <a:lnTo>
                    <a:pt x="259" y="117"/>
                  </a:lnTo>
                  <a:lnTo>
                    <a:pt x="259" y="117"/>
                  </a:lnTo>
                  <a:lnTo>
                    <a:pt x="265" y="123"/>
                  </a:lnTo>
                  <a:lnTo>
                    <a:pt x="266" y="120"/>
                  </a:lnTo>
                  <a:lnTo>
                    <a:pt x="266" y="120"/>
                  </a:lnTo>
                  <a:lnTo>
                    <a:pt x="260" y="116"/>
                  </a:lnTo>
                  <a:lnTo>
                    <a:pt x="260" y="116"/>
                  </a:lnTo>
                  <a:lnTo>
                    <a:pt x="257" y="114"/>
                  </a:lnTo>
                  <a:lnTo>
                    <a:pt x="257" y="116"/>
                  </a:lnTo>
                  <a:close/>
                  <a:moveTo>
                    <a:pt x="243" y="112"/>
                  </a:moveTo>
                  <a:lnTo>
                    <a:pt x="243" y="112"/>
                  </a:lnTo>
                  <a:lnTo>
                    <a:pt x="253" y="114"/>
                  </a:lnTo>
                  <a:lnTo>
                    <a:pt x="253" y="112"/>
                  </a:lnTo>
                  <a:lnTo>
                    <a:pt x="253" y="112"/>
                  </a:lnTo>
                  <a:lnTo>
                    <a:pt x="243" y="109"/>
                  </a:lnTo>
                  <a:lnTo>
                    <a:pt x="243" y="112"/>
                  </a:lnTo>
                  <a:close/>
                  <a:moveTo>
                    <a:pt x="229" y="109"/>
                  </a:moveTo>
                  <a:lnTo>
                    <a:pt x="230" y="109"/>
                  </a:lnTo>
                  <a:lnTo>
                    <a:pt x="230" y="109"/>
                  </a:lnTo>
                  <a:lnTo>
                    <a:pt x="239" y="110"/>
                  </a:lnTo>
                  <a:lnTo>
                    <a:pt x="239" y="107"/>
                  </a:lnTo>
                  <a:lnTo>
                    <a:pt x="239" y="107"/>
                  </a:lnTo>
                  <a:lnTo>
                    <a:pt x="230" y="106"/>
                  </a:lnTo>
                  <a:lnTo>
                    <a:pt x="229" y="106"/>
                  </a:lnTo>
                  <a:lnTo>
                    <a:pt x="229" y="109"/>
                  </a:lnTo>
                  <a:close/>
                  <a:moveTo>
                    <a:pt x="215" y="116"/>
                  </a:moveTo>
                  <a:lnTo>
                    <a:pt x="215" y="116"/>
                  </a:lnTo>
                  <a:lnTo>
                    <a:pt x="220" y="114"/>
                  </a:lnTo>
                  <a:lnTo>
                    <a:pt x="220" y="114"/>
                  </a:lnTo>
                  <a:lnTo>
                    <a:pt x="224" y="110"/>
                  </a:lnTo>
                  <a:lnTo>
                    <a:pt x="223" y="109"/>
                  </a:lnTo>
                  <a:lnTo>
                    <a:pt x="223" y="109"/>
                  </a:lnTo>
                  <a:lnTo>
                    <a:pt x="218" y="113"/>
                  </a:lnTo>
                  <a:lnTo>
                    <a:pt x="218" y="113"/>
                  </a:lnTo>
                  <a:lnTo>
                    <a:pt x="215" y="113"/>
                  </a:lnTo>
                  <a:lnTo>
                    <a:pt x="215" y="116"/>
                  </a:lnTo>
                  <a:close/>
                  <a:moveTo>
                    <a:pt x="200" y="114"/>
                  </a:moveTo>
                  <a:lnTo>
                    <a:pt x="200" y="114"/>
                  </a:lnTo>
                  <a:lnTo>
                    <a:pt x="210" y="116"/>
                  </a:lnTo>
                  <a:lnTo>
                    <a:pt x="211" y="114"/>
                  </a:lnTo>
                  <a:lnTo>
                    <a:pt x="211" y="114"/>
                  </a:lnTo>
                  <a:lnTo>
                    <a:pt x="201" y="112"/>
                  </a:lnTo>
                  <a:lnTo>
                    <a:pt x="200" y="114"/>
                  </a:lnTo>
                  <a:close/>
                  <a:moveTo>
                    <a:pt x="187" y="116"/>
                  </a:moveTo>
                  <a:lnTo>
                    <a:pt x="187" y="116"/>
                  </a:lnTo>
                  <a:lnTo>
                    <a:pt x="188" y="114"/>
                  </a:lnTo>
                  <a:lnTo>
                    <a:pt x="188" y="114"/>
                  </a:lnTo>
                  <a:lnTo>
                    <a:pt x="192" y="114"/>
                  </a:lnTo>
                  <a:lnTo>
                    <a:pt x="192" y="114"/>
                  </a:lnTo>
                  <a:lnTo>
                    <a:pt x="195" y="114"/>
                  </a:lnTo>
                  <a:lnTo>
                    <a:pt x="195" y="112"/>
                  </a:lnTo>
                  <a:lnTo>
                    <a:pt x="195" y="112"/>
                  </a:lnTo>
                  <a:lnTo>
                    <a:pt x="192" y="112"/>
                  </a:lnTo>
                  <a:lnTo>
                    <a:pt x="192" y="112"/>
                  </a:lnTo>
                  <a:lnTo>
                    <a:pt x="188" y="112"/>
                  </a:lnTo>
                  <a:lnTo>
                    <a:pt x="188" y="112"/>
                  </a:lnTo>
                  <a:lnTo>
                    <a:pt x="185" y="113"/>
                  </a:lnTo>
                  <a:lnTo>
                    <a:pt x="187" y="116"/>
                  </a:lnTo>
                  <a:close/>
                  <a:moveTo>
                    <a:pt x="175" y="125"/>
                  </a:moveTo>
                  <a:lnTo>
                    <a:pt x="175" y="125"/>
                  </a:lnTo>
                  <a:lnTo>
                    <a:pt x="179" y="123"/>
                  </a:lnTo>
                  <a:lnTo>
                    <a:pt x="179" y="123"/>
                  </a:lnTo>
                  <a:lnTo>
                    <a:pt x="184" y="120"/>
                  </a:lnTo>
                  <a:lnTo>
                    <a:pt x="185" y="120"/>
                  </a:lnTo>
                  <a:lnTo>
                    <a:pt x="182" y="117"/>
                  </a:lnTo>
                  <a:lnTo>
                    <a:pt x="182" y="119"/>
                  </a:lnTo>
                  <a:lnTo>
                    <a:pt x="182" y="119"/>
                  </a:lnTo>
                  <a:lnTo>
                    <a:pt x="179" y="120"/>
                  </a:lnTo>
                  <a:lnTo>
                    <a:pt x="179" y="120"/>
                  </a:lnTo>
                  <a:lnTo>
                    <a:pt x="173" y="122"/>
                  </a:lnTo>
                  <a:lnTo>
                    <a:pt x="175" y="125"/>
                  </a:lnTo>
                  <a:close/>
                  <a:moveTo>
                    <a:pt x="159" y="126"/>
                  </a:moveTo>
                  <a:lnTo>
                    <a:pt x="159" y="126"/>
                  </a:lnTo>
                  <a:lnTo>
                    <a:pt x="169" y="126"/>
                  </a:lnTo>
                  <a:lnTo>
                    <a:pt x="169" y="123"/>
                  </a:lnTo>
                  <a:lnTo>
                    <a:pt x="169" y="123"/>
                  </a:lnTo>
                  <a:lnTo>
                    <a:pt x="159" y="125"/>
                  </a:lnTo>
                  <a:lnTo>
                    <a:pt x="159" y="126"/>
                  </a:lnTo>
                  <a:close/>
                  <a:moveTo>
                    <a:pt x="145" y="125"/>
                  </a:moveTo>
                  <a:lnTo>
                    <a:pt x="145" y="125"/>
                  </a:lnTo>
                  <a:lnTo>
                    <a:pt x="155" y="126"/>
                  </a:lnTo>
                  <a:lnTo>
                    <a:pt x="155" y="123"/>
                  </a:lnTo>
                  <a:lnTo>
                    <a:pt x="155" y="123"/>
                  </a:lnTo>
                  <a:lnTo>
                    <a:pt x="145" y="122"/>
                  </a:lnTo>
                  <a:lnTo>
                    <a:pt x="145" y="125"/>
                  </a:lnTo>
                  <a:close/>
                  <a:moveTo>
                    <a:pt x="129" y="120"/>
                  </a:moveTo>
                  <a:lnTo>
                    <a:pt x="130" y="120"/>
                  </a:lnTo>
                  <a:lnTo>
                    <a:pt x="130" y="120"/>
                  </a:lnTo>
                  <a:lnTo>
                    <a:pt x="133" y="122"/>
                  </a:lnTo>
                  <a:lnTo>
                    <a:pt x="133" y="122"/>
                  </a:lnTo>
                  <a:lnTo>
                    <a:pt x="139" y="123"/>
                  </a:lnTo>
                  <a:lnTo>
                    <a:pt x="139" y="122"/>
                  </a:lnTo>
                  <a:lnTo>
                    <a:pt x="139" y="122"/>
                  </a:lnTo>
                  <a:lnTo>
                    <a:pt x="134" y="120"/>
                  </a:lnTo>
                  <a:lnTo>
                    <a:pt x="134" y="120"/>
                  </a:lnTo>
                  <a:lnTo>
                    <a:pt x="131" y="119"/>
                  </a:lnTo>
                  <a:lnTo>
                    <a:pt x="130" y="117"/>
                  </a:lnTo>
                  <a:lnTo>
                    <a:pt x="129" y="120"/>
                  </a:lnTo>
                  <a:close/>
                  <a:moveTo>
                    <a:pt x="117" y="119"/>
                  </a:moveTo>
                  <a:lnTo>
                    <a:pt x="117" y="119"/>
                  </a:lnTo>
                  <a:lnTo>
                    <a:pt x="118" y="117"/>
                  </a:lnTo>
                  <a:lnTo>
                    <a:pt x="118" y="117"/>
                  </a:lnTo>
                  <a:lnTo>
                    <a:pt x="123" y="117"/>
                  </a:lnTo>
                  <a:lnTo>
                    <a:pt x="123" y="117"/>
                  </a:lnTo>
                  <a:lnTo>
                    <a:pt x="126" y="117"/>
                  </a:lnTo>
                  <a:lnTo>
                    <a:pt x="126" y="114"/>
                  </a:lnTo>
                  <a:lnTo>
                    <a:pt x="126" y="114"/>
                  </a:lnTo>
                  <a:lnTo>
                    <a:pt x="123" y="114"/>
                  </a:lnTo>
                  <a:lnTo>
                    <a:pt x="123" y="114"/>
                  </a:lnTo>
                  <a:lnTo>
                    <a:pt x="118" y="114"/>
                  </a:lnTo>
                  <a:lnTo>
                    <a:pt x="118" y="114"/>
                  </a:lnTo>
                  <a:lnTo>
                    <a:pt x="116" y="117"/>
                  </a:lnTo>
                  <a:lnTo>
                    <a:pt x="117" y="119"/>
                  </a:lnTo>
                  <a:close/>
                  <a:moveTo>
                    <a:pt x="113" y="132"/>
                  </a:moveTo>
                  <a:lnTo>
                    <a:pt x="113" y="132"/>
                  </a:lnTo>
                  <a:lnTo>
                    <a:pt x="116" y="123"/>
                  </a:lnTo>
                  <a:lnTo>
                    <a:pt x="113" y="122"/>
                  </a:lnTo>
                  <a:lnTo>
                    <a:pt x="113" y="122"/>
                  </a:lnTo>
                  <a:lnTo>
                    <a:pt x="110" y="132"/>
                  </a:lnTo>
                  <a:lnTo>
                    <a:pt x="113" y="132"/>
                  </a:lnTo>
                  <a:close/>
                  <a:moveTo>
                    <a:pt x="108" y="148"/>
                  </a:moveTo>
                  <a:lnTo>
                    <a:pt x="108" y="148"/>
                  </a:lnTo>
                  <a:lnTo>
                    <a:pt x="111" y="138"/>
                  </a:lnTo>
                  <a:lnTo>
                    <a:pt x="108" y="136"/>
                  </a:lnTo>
                  <a:lnTo>
                    <a:pt x="108" y="136"/>
                  </a:lnTo>
                  <a:lnTo>
                    <a:pt x="105" y="146"/>
                  </a:lnTo>
                  <a:lnTo>
                    <a:pt x="108" y="148"/>
                  </a:lnTo>
                  <a:close/>
                  <a:moveTo>
                    <a:pt x="103" y="161"/>
                  </a:moveTo>
                  <a:lnTo>
                    <a:pt x="103" y="161"/>
                  </a:lnTo>
                  <a:lnTo>
                    <a:pt x="104" y="155"/>
                  </a:lnTo>
                  <a:lnTo>
                    <a:pt x="104" y="155"/>
                  </a:lnTo>
                  <a:lnTo>
                    <a:pt x="105" y="152"/>
                  </a:lnTo>
                  <a:lnTo>
                    <a:pt x="104" y="151"/>
                  </a:lnTo>
                  <a:lnTo>
                    <a:pt x="104" y="151"/>
                  </a:lnTo>
                  <a:lnTo>
                    <a:pt x="103" y="155"/>
                  </a:lnTo>
                  <a:lnTo>
                    <a:pt x="103" y="155"/>
                  </a:lnTo>
                  <a:lnTo>
                    <a:pt x="100" y="161"/>
                  </a:lnTo>
                  <a:lnTo>
                    <a:pt x="103" y="161"/>
                  </a:lnTo>
                  <a:close/>
                  <a:moveTo>
                    <a:pt x="101" y="177"/>
                  </a:moveTo>
                  <a:lnTo>
                    <a:pt x="101" y="177"/>
                  </a:lnTo>
                  <a:lnTo>
                    <a:pt x="101" y="167"/>
                  </a:lnTo>
                  <a:lnTo>
                    <a:pt x="98" y="165"/>
                  </a:lnTo>
                  <a:lnTo>
                    <a:pt x="98" y="165"/>
                  </a:lnTo>
                  <a:lnTo>
                    <a:pt x="98" y="177"/>
                  </a:lnTo>
                  <a:lnTo>
                    <a:pt x="101" y="177"/>
                  </a:lnTo>
                  <a:close/>
                  <a:moveTo>
                    <a:pt x="100" y="191"/>
                  </a:moveTo>
                  <a:lnTo>
                    <a:pt x="100" y="191"/>
                  </a:lnTo>
                  <a:lnTo>
                    <a:pt x="101" y="188"/>
                  </a:lnTo>
                  <a:lnTo>
                    <a:pt x="101" y="188"/>
                  </a:lnTo>
                  <a:lnTo>
                    <a:pt x="101" y="181"/>
                  </a:lnTo>
                  <a:lnTo>
                    <a:pt x="98" y="181"/>
                  </a:lnTo>
                  <a:lnTo>
                    <a:pt x="98" y="181"/>
                  </a:lnTo>
                  <a:lnTo>
                    <a:pt x="98" y="188"/>
                  </a:lnTo>
                  <a:lnTo>
                    <a:pt x="98" y="188"/>
                  </a:lnTo>
                  <a:lnTo>
                    <a:pt x="98" y="191"/>
                  </a:lnTo>
                  <a:lnTo>
                    <a:pt x="100" y="191"/>
                  </a:lnTo>
                  <a:close/>
                  <a:moveTo>
                    <a:pt x="92" y="206"/>
                  </a:moveTo>
                  <a:lnTo>
                    <a:pt x="92" y="206"/>
                  </a:lnTo>
                  <a:lnTo>
                    <a:pt x="95" y="201"/>
                  </a:lnTo>
                  <a:lnTo>
                    <a:pt x="98" y="197"/>
                  </a:lnTo>
                  <a:lnTo>
                    <a:pt x="97" y="196"/>
                  </a:lnTo>
                  <a:lnTo>
                    <a:pt x="97" y="196"/>
                  </a:lnTo>
                  <a:lnTo>
                    <a:pt x="94" y="200"/>
                  </a:lnTo>
                  <a:lnTo>
                    <a:pt x="91" y="203"/>
                  </a:lnTo>
                  <a:lnTo>
                    <a:pt x="92" y="206"/>
                  </a:lnTo>
                  <a:close/>
                  <a:moveTo>
                    <a:pt x="79" y="214"/>
                  </a:moveTo>
                  <a:lnTo>
                    <a:pt x="79" y="214"/>
                  </a:lnTo>
                  <a:lnTo>
                    <a:pt x="87" y="210"/>
                  </a:lnTo>
                  <a:lnTo>
                    <a:pt x="87" y="210"/>
                  </a:lnTo>
                  <a:lnTo>
                    <a:pt x="88" y="209"/>
                  </a:lnTo>
                  <a:lnTo>
                    <a:pt x="87" y="207"/>
                  </a:lnTo>
                  <a:lnTo>
                    <a:pt x="87" y="207"/>
                  </a:lnTo>
                  <a:lnTo>
                    <a:pt x="85" y="209"/>
                  </a:lnTo>
                  <a:lnTo>
                    <a:pt x="85" y="209"/>
                  </a:lnTo>
                  <a:lnTo>
                    <a:pt x="78" y="211"/>
                  </a:lnTo>
                  <a:lnTo>
                    <a:pt x="79" y="214"/>
                  </a:lnTo>
                  <a:close/>
                  <a:moveTo>
                    <a:pt x="71" y="223"/>
                  </a:moveTo>
                  <a:lnTo>
                    <a:pt x="71" y="223"/>
                  </a:lnTo>
                  <a:lnTo>
                    <a:pt x="72" y="219"/>
                  </a:lnTo>
                  <a:lnTo>
                    <a:pt x="72" y="219"/>
                  </a:lnTo>
                  <a:lnTo>
                    <a:pt x="75" y="216"/>
                  </a:lnTo>
                  <a:lnTo>
                    <a:pt x="74" y="214"/>
                  </a:lnTo>
                  <a:lnTo>
                    <a:pt x="74" y="214"/>
                  </a:lnTo>
                  <a:lnTo>
                    <a:pt x="71" y="217"/>
                  </a:lnTo>
                  <a:lnTo>
                    <a:pt x="71" y="217"/>
                  </a:lnTo>
                  <a:lnTo>
                    <a:pt x="69" y="220"/>
                  </a:lnTo>
                  <a:lnTo>
                    <a:pt x="68" y="223"/>
                  </a:lnTo>
                  <a:lnTo>
                    <a:pt x="71" y="223"/>
                  </a:lnTo>
                  <a:close/>
                  <a:moveTo>
                    <a:pt x="69" y="239"/>
                  </a:moveTo>
                  <a:lnTo>
                    <a:pt x="69" y="239"/>
                  </a:lnTo>
                  <a:lnTo>
                    <a:pt x="71" y="229"/>
                  </a:lnTo>
                  <a:lnTo>
                    <a:pt x="68" y="229"/>
                  </a:lnTo>
                  <a:lnTo>
                    <a:pt x="68" y="229"/>
                  </a:lnTo>
                  <a:lnTo>
                    <a:pt x="66" y="238"/>
                  </a:lnTo>
                  <a:lnTo>
                    <a:pt x="69" y="239"/>
                  </a:lnTo>
                  <a:close/>
                  <a:moveTo>
                    <a:pt x="62" y="252"/>
                  </a:moveTo>
                  <a:lnTo>
                    <a:pt x="62" y="252"/>
                  </a:lnTo>
                  <a:lnTo>
                    <a:pt x="66" y="245"/>
                  </a:lnTo>
                  <a:lnTo>
                    <a:pt x="66" y="245"/>
                  </a:lnTo>
                  <a:lnTo>
                    <a:pt x="68" y="243"/>
                  </a:lnTo>
                  <a:lnTo>
                    <a:pt x="65" y="242"/>
                  </a:lnTo>
                  <a:lnTo>
                    <a:pt x="65" y="242"/>
                  </a:lnTo>
                  <a:lnTo>
                    <a:pt x="65" y="243"/>
                  </a:lnTo>
                  <a:lnTo>
                    <a:pt x="65" y="243"/>
                  </a:lnTo>
                  <a:lnTo>
                    <a:pt x="59" y="251"/>
                  </a:lnTo>
                  <a:lnTo>
                    <a:pt x="62" y="252"/>
                  </a:lnTo>
                  <a:close/>
                  <a:moveTo>
                    <a:pt x="53" y="265"/>
                  </a:moveTo>
                  <a:lnTo>
                    <a:pt x="53" y="265"/>
                  </a:lnTo>
                  <a:lnTo>
                    <a:pt x="59" y="256"/>
                  </a:lnTo>
                  <a:lnTo>
                    <a:pt x="56" y="255"/>
                  </a:lnTo>
                  <a:lnTo>
                    <a:pt x="56" y="255"/>
                  </a:lnTo>
                  <a:lnTo>
                    <a:pt x="50" y="264"/>
                  </a:lnTo>
                  <a:lnTo>
                    <a:pt x="53" y="265"/>
                  </a:lnTo>
                  <a:close/>
                  <a:moveTo>
                    <a:pt x="39" y="271"/>
                  </a:moveTo>
                  <a:lnTo>
                    <a:pt x="40" y="271"/>
                  </a:lnTo>
                  <a:lnTo>
                    <a:pt x="40" y="271"/>
                  </a:lnTo>
                  <a:lnTo>
                    <a:pt x="46" y="271"/>
                  </a:lnTo>
                  <a:lnTo>
                    <a:pt x="50" y="269"/>
                  </a:lnTo>
                  <a:lnTo>
                    <a:pt x="49" y="266"/>
                  </a:lnTo>
                  <a:lnTo>
                    <a:pt x="49" y="266"/>
                  </a:lnTo>
                  <a:lnTo>
                    <a:pt x="45" y="268"/>
                  </a:lnTo>
                  <a:lnTo>
                    <a:pt x="40" y="268"/>
                  </a:lnTo>
                  <a:lnTo>
                    <a:pt x="39" y="268"/>
                  </a:lnTo>
                  <a:lnTo>
                    <a:pt x="39" y="271"/>
                  </a:lnTo>
                  <a:close/>
                  <a:moveTo>
                    <a:pt x="24" y="269"/>
                  </a:moveTo>
                  <a:lnTo>
                    <a:pt x="24" y="269"/>
                  </a:lnTo>
                  <a:lnTo>
                    <a:pt x="27" y="271"/>
                  </a:lnTo>
                  <a:lnTo>
                    <a:pt x="27" y="271"/>
                  </a:lnTo>
                  <a:lnTo>
                    <a:pt x="34" y="271"/>
                  </a:lnTo>
                  <a:lnTo>
                    <a:pt x="34" y="268"/>
                  </a:lnTo>
                  <a:lnTo>
                    <a:pt x="34" y="268"/>
                  </a:lnTo>
                  <a:lnTo>
                    <a:pt x="27" y="268"/>
                  </a:lnTo>
                  <a:lnTo>
                    <a:pt x="27" y="268"/>
                  </a:lnTo>
                  <a:lnTo>
                    <a:pt x="24" y="268"/>
                  </a:lnTo>
                  <a:lnTo>
                    <a:pt x="24" y="269"/>
                  </a:lnTo>
                  <a:close/>
                  <a:moveTo>
                    <a:pt x="10" y="264"/>
                  </a:moveTo>
                  <a:lnTo>
                    <a:pt x="10" y="264"/>
                  </a:lnTo>
                  <a:lnTo>
                    <a:pt x="19" y="268"/>
                  </a:lnTo>
                  <a:lnTo>
                    <a:pt x="20" y="265"/>
                  </a:lnTo>
                  <a:lnTo>
                    <a:pt x="20" y="265"/>
                  </a:lnTo>
                  <a:lnTo>
                    <a:pt x="11" y="261"/>
                  </a:lnTo>
                  <a:lnTo>
                    <a:pt x="10" y="264"/>
                  </a:lnTo>
                  <a:close/>
                  <a:moveTo>
                    <a:pt x="3" y="272"/>
                  </a:moveTo>
                  <a:lnTo>
                    <a:pt x="3" y="272"/>
                  </a:lnTo>
                  <a:lnTo>
                    <a:pt x="7" y="264"/>
                  </a:lnTo>
                  <a:lnTo>
                    <a:pt x="5" y="262"/>
                  </a:lnTo>
                  <a:lnTo>
                    <a:pt x="5" y="262"/>
                  </a:lnTo>
                  <a:lnTo>
                    <a:pt x="0" y="271"/>
                  </a:lnTo>
                  <a:lnTo>
                    <a:pt x="3" y="2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76" name="Freeform 1601"/>
            <p:cNvSpPr>
              <a:spLocks noEditPoints="1"/>
            </p:cNvSpPr>
            <p:nvPr/>
          </p:nvSpPr>
          <p:spPr bwMode="auto">
            <a:xfrm>
              <a:off x="5164138" y="4300967"/>
              <a:ext cx="142875" cy="350838"/>
            </a:xfrm>
            <a:custGeom>
              <a:avLst/>
              <a:gdLst>
                <a:gd name="T0" fmla="*/ 90 w 90"/>
                <a:gd name="T1" fmla="*/ 1 h 221"/>
                <a:gd name="T2" fmla="*/ 85 w 90"/>
                <a:gd name="T3" fmla="*/ 4 h 221"/>
                <a:gd name="T4" fmla="*/ 74 w 90"/>
                <a:gd name="T5" fmla="*/ 14 h 221"/>
                <a:gd name="T6" fmla="*/ 81 w 90"/>
                <a:gd name="T7" fmla="*/ 7 h 221"/>
                <a:gd name="T8" fmla="*/ 64 w 90"/>
                <a:gd name="T9" fmla="*/ 23 h 221"/>
                <a:gd name="T10" fmla="*/ 65 w 90"/>
                <a:gd name="T11" fmla="*/ 19 h 221"/>
                <a:gd name="T12" fmla="*/ 68 w 90"/>
                <a:gd name="T13" fmla="*/ 14 h 221"/>
                <a:gd name="T14" fmla="*/ 61 w 90"/>
                <a:gd name="T15" fmla="*/ 21 h 221"/>
                <a:gd name="T16" fmla="*/ 59 w 90"/>
                <a:gd name="T17" fmla="*/ 37 h 221"/>
                <a:gd name="T18" fmla="*/ 59 w 90"/>
                <a:gd name="T19" fmla="*/ 27 h 221"/>
                <a:gd name="T20" fmla="*/ 58 w 90"/>
                <a:gd name="T21" fmla="*/ 52 h 221"/>
                <a:gd name="T22" fmla="*/ 56 w 90"/>
                <a:gd name="T23" fmla="*/ 42 h 221"/>
                <a:gd name="T24" fmla="*/ 58 w 90"/>
                <a:gd name="T25" fmla="*/ 52 h 221"/>
                <a:gd name="T26" fmla="*/ 56 w 90"/>
                <a:gd name="T27" fmla="*/ 62 h 221"/>
                <a:gd name="T28" fmla="*/ 55 w 90"/>
                <a:gd name="T29" fmla="*/ 58 h 221"/>
                <a:gd name="T30" fmla="*/ 54 w 90"/>
                <a:gd name="T31" fmla="*/ 62 h 221"/>
                <a:gd name="T32" fmla="*/ 54 w 90"/>
                <a:gd name="T33" fmla="*/ 82 h 221"/>
                <a:gd name="T34" fmla="*/ 52 w 90"/>
                <a:gd name="T35" fmla="*/ 72 h 221"/>
                <a:gd name="T36" fmla="*/ 54 w 90"/>
                <a:gd name="T37" fmla="*/ 82 h 221"/>
                <a:gd name="T38" fmla="*/ 49 w 90"/>
                <a:gd name="T39" fmla="*/ 92 h 221"/>
                <a:gd name="T40" fmla="*/ 51 w 90"/>
                <a:gd name="T41" fmla="*/ 87 h 221"/>
                <a:gd name="T42" fmla="*/ 48 w 90"/>
                <a:gd name="T43" fmla="*/ 91 h 221"/>
                <a:gd name="T44" fmla="*/ 35 w 90"/>
                <a:gd name="T45" fmla="*/ 105 h 221"/>
                <a:gd name="T46" fmla="*/ 42 w 90"/>
                <a:gd name="T47" fmla="*/ 100 h 221"/>
                <a:gd name="T48" fmla="*/ 33 w 90"/>
                <a:gd name="T49" fmla="*/ 104 h 221"/>
                <a:gd name="T50" fmla="*/ 30 w 90"/>
                <a:gd name="T51" fmla="*/ 120 h 221"/>
                <a:gd name="T52" fmla="*/ 30 w 90"/>
                <a:gd name="T53" fmla="*/ 110 h 221"/>
                <a:gd name="T54" fmla="*/ 30 w 90"/>
                <a:gd name="T55" fmla="*/ 120 h 221"/>
                <a:gd name="T56" fmla="*/ 25 w 90"/>
                <a:gd name="T57" fmla="*/ 127 h 221"/>
                <a:gd name="T58" fmla="*/ 25 w 90"/>
                <a:gd name="T59" fmla="*/ 123 h 221"/>
                <a:gd name="T60" fmla="*/ 22 w 90"/>
                <a:gd name="T61" fmla="*/ 126 h 221"/>
                <a:gd name="T62" fmla="*/ 20 w 90"/>
                <a:gd name="T63" fmla="*/ 147 h 221"/>
                <a:gd name="T64" fmla="*/ 19 w 90"/>
                <a:gd name="T65" fmla="*/ 137 h 221"/>
                <a:gd name="T66" fmla="*/ 20 w 90"/>
                <a:gd name="T67" fmla="*/ 147 h 221"/>
                <a:gd name="T68" fmla="*/ 19 w 90"/>
                <a:gd name="T69" fmla="*/ 158 h 221"/>
                <a:gd name="T70" fmla="*/ 19 w 90"/>
                <a:gd name="T71" fmla="*/ 152 h 221"/>
                <a:gd name="T72" fmla="*/ 16 w 90"/>
                <a:gd name="T73" fmla="*/ 156 h 221"/>
                <a:gd name="T74" fmla="*/ 12 w 90"/>
                <a:gd name="T75" fmla="*/ 155 h 221"/>
                <a:gd name="T76" fmla="*/ 3 w 90"/>
                <a:gd name="T77" fmla="*/ 158 h 221"/>
                <a:gd name="T78" fmla="*/ 1 w 90"/>
                <a:gd name="T79" fmla="*/ 155 h 221"/>
                <a:gd name="T80" fmla="*/ 3 w 90"/>
                <a:gd name="T81" fmla="*/ 162 h 221"/>
                <a:gd name="T82" fmla="*/ 1 w 90"/>
                <a:gd name="T83" fmla="*/ 166 h 221"/>
                <a:gd name="T84" fmla="*/ 3 w 90"/>
                <a:gd name="T85" fmla="*/ 166 h 221"/>
                <a:gd name="T86" fmla="*/ 0 w 90"/>
                <a:gd name="T87" fmla="*/ 168 h 221"/>
                <a:gd name="T88" fmla="*/ 1 w 90"/>
                <a:gd name="T89" fmla="*/ 169 h 221"/>
                <a:gd name="T90" fmla="*/ 22 w 90"/>
                <a:gd name="T91" fmla="*/ 181 h 221"/>
                <a:gd name="T92" fmla="*/ 16 w 90"/>
                <a:gd name="T93" fmla="*/ 175 h 221"/>
                <a:gd name="T94" fmla="*/ 13 w 90"/>
                <a:gd name="T95" fmla="*/ 176 h 221"/>
                <a:gd name="T96" fmla="*/ 20 w 90"/>
                <a:gd name="T97" fmla="*/ 182 h 221"/>
                <a:gd name="T98" fmla="*/ 30 w 90"/>
                <a:gd name="T99" fmla="*/ 194 h 221"/>
                <a:gd name="T100" fmla="*/ 23 w 90"/>
                <a:gd name="T101" fmla="*/ 187 h 221"/>
                <a:gd name="T102" fmla="*/ 39 w 90"/>
                <a:gd name="T103" fmla="*/ 207 h 221"/>
                <a:gd name="T104" fmla="*/ 32 w 90"/>
                <a:gd name="T105" fmla="*/ 200 h 221"/>
                <a:gd name="T106" fmla="*/ 39 w 90"/>
                <a:gd name="T107" fmla="*/ 207 h 221"/>
                <a:gd name="T108" fmla="*/ 40 w 90"/>
                <a:gd name="T109" fmla="*/ 211 h 221"/>
                <a:gd name="T110" fmla="*/ 43 w 90"/>
                <a:gd name="T111"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 h="221">
                  <a:moveTo>
                    <a:pt x="87" y="5"/>
                  </a:moveTo>
                  <a:lnTo>
                    <a:pt x="87" y="5"/>
                  </a:lnTo>
                  <a:lnTo>
                    <a:pt x="90" y="1"/>
                  </a:lnTo>
                  <a:lnTo>
                    <a:pt x="88" y="0"/>
                  </a:lnTo>
                  <a:lnTo>
                    <a:pt x="88" y="0"/>
                  </a:lnTo>
                  <a:lnTo>
                    <a:pt x="85" y="4"/>
                  </a:lnTo>
                  <a:lnTo>
                    <a:pt x="87" y="5"/>
                  </a:lnTo>
                  <a:close/>
                  <a:moveTo>
                    <a:pt x="74" y="14"/>
                  </a:moveTo>
                  <a:lnTo>
                    <a:pt x="74" y="14"/>
                  </a:lnTo>
                  <a:lnTo>
                    <a:pt x="82" y="10"/>
                  </a:lnTo>
                  <a:lnTo>
                    <a:pt x="81" y="7"/>
                  </a:lnTo>
                  <a:lnTo>
                    <a:pt x="81" y="7"/>
                  </a:lnTo>
                  <a:lnTo>
                    <a:pt x="72" y="11"/>
                  </a:lnTo>
                  <a:lnTo>
                    <a:pt x="74" y="14"/>
                  </a:lnTo>
                  <a:close/>
                  <a:moveTo>
                    <a:pt x="64" y="23"/>
                  </a:moveTo>
                  <a:lnTo>
                    <a:pt x="64" y="23"/>
                  </a:lnTo>
                  <a:lnTo>
                    <a:pt x="65" y="19"/>
                  </a:lnTo>
                  <a:lnTo>
                    <a:pt x="65" y="19"/>
                  </a:lnTo>
                  <a:lnTo>
                    <a:pt x="69" y="16"/>
                  </a:lnTo>
                  <a:lnTo>
                    <a:pt x="68" y="14"/>
                  </a:lnTo>
                  <a:lnTo>
                    <a:pt x="68" y="14"/>
                  </a:lnTo>
                  <a:lnTo>
                    <a:pt x="64" y="17"/>
                  </a:lnTo>
                  <a:lnTo>
                    <a:pt x="64" y="17"/>
                  </a:lnTo>
                  <a:lnTo>
                    <a:pt x="61" y="21"/>
                  </a:lnTo>
                  <a:lnTo>
                    <a:pt x="64" y="23"/>
                  </a:lnTo>
                  <a:close/>
                  <a:moveTo>
                    <a:pt x="59" y="37"/>
                  </a:moveTo>
                  <a:lnTo>
                    <a:pt x="59" y="37"/>
                  </a:lnTo>
                  <a:lnTo>
                    <a:pt x="62" y="27"/>
                  </a:lnTo>
                  <a:lnTo>
                    <a:pt x="59" y="27"/>
                  </a:lnTo>
                  <a:lnTo>
                    <a:pt x="59" y="27"/>
                  </a:lnTo>
                  <a:lnTo>
                    <a:pt x="58" y="37"/>
                  </a:lnTo>
                  <a:lnTo>
                    <a:pt x="59" y="37"/>
                  </a:lnTo>
                  <a:close/>
                  <a:moveTo>
                    <a:pt x="58" y="52"/>
                  </a:moveTo>
                  <a:lnTo>
                    <a:pt x="58" y="52"/>
                  </a:lnTo>
                  <a:lnTo>
                    <a:pt x="59" y="42"/>
                  </a:lnTo>
                  <a:lnTo>
                    <a:pt x="56" y="42"/>
                  </a:lnTo>
                  <a:lnTo>
                    <a:pt x="56" y="42"/>
                  </a:lnTo>
                  <a:lnTo>
                    <a:pt x="56" y="52"/>
                  </a:lnTo>
                  <a:lnTo>
                    <a:pt x="58" y="52"/>
                  </a:lnTo>
                  <a:close/>
                  <a:moveTo>
                    <a:pt x="55" y="68"/>
                  </a:moveTo>
                  <a:lnTo>
                    <a:pt x="55" y="68"/>
                  </a:lnTo>
                  <a:lnTo>
                    <a:pt x="56" y="62"/>
                  </a:lnTo>
                  <a:lnTo>
                    <a:pt x="56" y="62"/>
                  </a:lnTo>
                  <a:lnTo>
                    <a:pt x="58" y="58"/>
                  </a:lnTo>
                  <a:lnTo>
                    <a:pt x="55" y="58"/>
                  </a:lnTo>
                  <a:lnTo>
                    <a:pt x="55" y="58"/>
                  </a:lnTo>
                  <a:lnTo>
                    <a:pt x="54" y="62"/>
                  </a:lnTo>
                  <a:lnTo>
                    <a:pt x="54" y="62"/>
                  </a:lnTo>
                  <a:lnTo>
                    <a:pt x="54" y="68"/>
                  </a:lnTo>
                  <a:lnTo>
                    <a:pt x="55" y="68"/>
                  </a:lnTo>
                  <a:close/>
                  <a:moveTo>
                    <a:pt x="54" y="82"/>
                  </a:moveTo>
                  <a:lnTo>
                    <a:pt x="54" y="82"/>
                  </a:lnTo>
                  <a:lnTo>
                    <a:pt x="55" y="72"/>
                  </a:lnTo>
                  <a:lnTo>
                    <a:pt x="52" y="72"/>
                  </a:lnTo>
                  <a:lnTo>
                    <a:pt x="52" y="72"/>
                  </a:lnTo>
                  <a:lnTo>
                    <a:pt x="51" y="82"/>
                  </a:lnTo>
                  <a:lnTo>
                    <a:pt x="54" y="82"/>
                  </a:lnTo>
                  <a:close/>
                  <a:moveTo>
                    <a:pt x="46" y="97"/>
                  </a:moveTo>
                  <a:lnTo>
                    <a:pt x="46" y="97"/>
                  </a:lnTo>
                  <a:lnTo>
                    <a:pt x="49" y="92"/>
                  </a:lnTo>
                  <a:lnTo>
                    <a:pt x="52" y="88"/>
                  </a:lnTo>
                  <a:lnTo>
                    <a:pt x="52" y="88"/>
                  </a:lnTo>
                  <a:lnTo>
                    <a:pt x="51" y="87"/>
                  </a:lnTo>
                  <a:lnTo>
                    <a:pt x="51" y="88"/>
                  </a:lnTo>
                  <a:lnTo>
                    <a:pt x="51" y="88"/>
                  </a:lnTo>
                  <a:lnTo>
                    <a:pt x="48" y="91"/>
                  </a:lnTo>
                  <a:lnTo>
                    <a:pt x="45" y="94"/>
                  </a:lnTo>
                  <a:lnTo>
                    <a:pt x="46" y="97"/>
                  </a:lnTo>
                  <a:close/>
                  <a:moveTo>
                    <a:pt x="35" y="105"/>
                  </a:moveTo>
                  <a:lnTo>
                    <a:pt x="35" y="105"/>
                  </a:lnTo>
                  <a:lnTo>
                    <a:pt x="35" y="105"/>
                  </a:lnTo>
                  <a:lnTo>
                    <a:pt x="42" y="100"/>
                  </a:lnTo>
                  <a:lnTo>
                    <a:pt x="40" y="97"/>
                  </a:lnTo>
                  <a:lnTo>
                    <a:pt x="40" y="97"/>
                  </a:lnTo>
                  <a:lnTo>
                    <a:pt x="33" y="104"/>
                  </a:lnTo>
                  <a:lnTo>
                    <a:pt x="33" y="104"/>
                  </a:lnTo>
                  <a:lnTo>
                    <a:pt x="35" y="105"/>
                  </a:lnTo>
                  <a:close/>
                  <a:moveTo>
                    <a:pt x="30" y="120"/>
                  </a:moveTo>
                  <a:lnTo>
                    <a:pt x="30" y="120"/>
                  </a:lnTo>
                  <a:lnTo>
                    <a:pt x="33" y="110"/>
                  </a:lnTo>
                  <a:lnTo>
                    <a:pt x="30" y="110"/>
                  </a:lnTo>
                  <a:lnTo>
                    <a:pt x="30" y="110"/>
                  </a:lnTo>
                  <a:lnTo>
                    <a:pt x="27" y="118"/>
                  </a:lnTo>
                  <a:lnTo>
                    <a:pt x="30" y="120"/>
                  </a:lnTo>
                  <a:close/>
                  <a:moveTo>
                    <a:pt x="23" y="133"/>
                  </a:moveTo>
                  <a:lnTo>
                    <a:pt x="23" y="133"/>
                  </a:lnTo>
                  <a:lnTo>
                    <a:pt x="25" y="127"/>
                  </a:lnTo>
                  <a:lnTo>
                    <a:pt x="26" y="124"/>
                  </a:lnTo>
                  <a:lnTo>
                    <a:pt x="27" y="124"/>
                  </a:lnTo>
                  <a:lnTo>
                    <a:pt x="25" y="123"/>
                  </a:lnTo>
                  <a:lnTo>
                    <a:pt x="25" y="123"/>
                  </a:lnTo>
                  <a:lnTo>
                    <a:pt x="25" y="123"/>
                  </a:lnTo>
                  <a:lnTo>
                    <a:pt x="22" y="126"/>
                  </a:lnTo>
                  <a:lnTo>
                    <a:pt x="20" y="132"/>
                  </a:lnTo>
                  <a:lnTo>
                    <a:pt x="23" y="133"/>
                  </a:lnTo>
                  <a:close/>
                  <a:moveTo>
                    <a:pt x="20" y="147"/>
                  </a:moveTo>
                  <a:lnTo>
                    <a:pt x="20" y="147"/>
                  </a:lnTo>
                  <a:lnTo>
                    <a:pt x="22" y="137"/>
                  </a:lnTo>
                  <a:lnTo>
                    <a:pt x="19" y="137"/>
                  </a:lnTo>
                  <a:lnTo>
                    <a:pt x="19" y="137"/>
                  </a:lnTo>
                  <a:lnTo>
                    <a:pt x="17" y="147"/>
                  </a:lnTo>
                  <a:lnTo>
                    <a:pt x="20" y="147"/>
                  </a:lnTo>
                  <a:close/>
                  <a:moveTo>
                    <a:pt x="12" y="158"/>
                  </a:moveTo>
                  <a:lnTo>
                    <a:pt x="17" y="158"/>
                  </a:lnTo>
                  <a:lnTo>
                    <a:pt x="19" y="158"/>
                  </a:lnTo>
                  <a:lnTo>
                    <a:pt x="19" y="156"/>
                  </a:lnTo>
                  <a:lnTo>
                    <a:pt x="19" y="156"/>
                  </a:lnTo>
                  <a:lnTo>
                    <a:pt x="19" y="152"/>
                  </a:lnTo>
                  <a:lnTo>
                    <a:pt x="16" y="152"/>
                  </a:lnTo>
                  <a:lnTo>
                    <a:pt x="16" y="152"/>
                  </a:lnTo>
                  <a:lnTo>
                    <a:pt x="16" y="156"/>
                  </a:lnTo>
                  <a:lnTo>
                    <a:pt x="17" y="156"/>
                  </a:lnTo>
                  <a:lnTo>
                    <a:pt x="17" y="155"/>
                  </a:lnTo>
                  <a:lnTo>
                    <a:pt x="12" y="155"/>
                  </a:lnTo>
                  <a:lnTo>
                    <a:pt x="12" y="158"/>
                  </a:lnTo>
                  <a:close/>
                  <a:moveTo>
                    <a:pt x="3" y="162"/>
                  </a:moveTo>
                  <a:lnTo>
                    <a:pt x="3" y="158"/>
                  </a:lnTo>
                  <a:lnTo>
                    <a:pt x="6" y="158"/>
                  </a:lnTo>
                  <a:lnTo>
                    <a:pt x="6" y="155"/>
                  </a:lnTo>
                  <a:lnTo>
                    <a:pt x="1" y="155"/>
                  </a:lnTo>
                  <a:lnTo>
                    <a:pt x="0" y="155"/>
                  </a:lnTo>
                  <a:lnTo>
                    <a:pt x="0" y="162"/>
                  </a:lnTo>
                  <a:lnTo>
                    <a:pt x="3" y="162"/>
                  </a:lnTo>
                  <a:close/>
                  <a:moveTo>
                    <a:pt x="10" y="171"/>
                  </a:moveTo>
                  <a:lnTo>
                    <a:pt x="10" y="171"/>
                  </a:lnTo>
                  <a:lnTo>
                    <a:pt x="1" y="166"/>
                  </a:lnTo>
                  <a:lnTo>
                    <a:pt x="1" y="168"/>
                  </a:lnTo>
                  <a:lnTo>
                    <a:pt x="3" y="168"/>
                  </a:lnTo>
                  <a:lnTo>
                    <a:pt x="3" y="166"/>
                  </a:lnTo>
                  <a:lnTo>
                    <a:pt x="0" y="166"/>
                  </a:lnTo>
                  <a:lnTo>
                    <a:pt x="0" y="168"/>
                  </a:lnTo>
                  <a:lnTo>
                    <a:pt x="0" y="168"/>
                  </a:lnTo>
                  <a:lnTo>
                    <a:pt x="1" y="169"/>
                  </a:lnTo>
                  <a:lnTo>
                    <a:pt x="1" y="169"/>
                  </a:lnTo>
                  <a:lnTo>
                    <a:pt x="1" y="169"/>
                  </a:lnTo>
                  <a:lnTo>
                    <a:pt x="9" y="174"/>
                  </a:lnTo>
                  <a:lnTo>
                    <a:pt x="10" y="171"/>
                  </a:lnTo>
                  <a:close/>
                  <a:moveTo>
                    <a:pt x="22" y="181"/>
                  </a:moveTo>
                  <a:lnTo>
                    <a:pt x="22" y="181"/>
                  </a:lnTo>
                  <a:lnTo>
                    <a:pt x="16" y="175"/>
                  </a:lnTo>
                  <a:lnTo>
                    <a:pt x="16" y="175"/>
                  </a:lnTo>
                  <a:lnTo>
                    <a:pt x="14" y="174"/>
                  </a:lnTo>
                  <a:lnTo>
                    <a:pt x="13" y="176"/>
                  </a:lnTo>
                  <a:lnTo>
                    <a:pt x="13" y="176"/>
                  </a:lnTo>
                  <a:lnTo>
                    <a:pt x="14" y="178"/>
                  </a:lnTo>
                  <a:lnTo>
                    <a:pt x="14" y="178"/>
                  </a:lnTo>
                  <a:lnTo>
                    <a:pt x="20" y="182"/>
                  </a:lnTo>
                  <a:lnTo>
                    <a:pt x="22" y="181"/>
                  </a:lnTo>
                  <a:close/>
                  <a:moveTo>
                    <a:pt x="30" y="194"/>
                  </a:moveTo>
                  <a:lnTo>
                    <a:pt x="30" y="194"/>
                  </a:lnTo>
                  <a:lnTo>
                    <a:pt x="26" y="185"/>
                  </a:lnTo>
                  <a:lnTo>
                    <a:pt x="23" y="187"/>
                  </a:lnTo>
                  <a:lnTo>
                    <a:pt x="23" y="187"/>
                  </a:lnTo>
                  <a:lnTo>
                    <a:pt x="29" y="195"/>
                  </a:lnTo>
                  <a:lnTo>
                    <a:pt x="30" y="194"/>
                  </a:lnTo>
                  <a:close/>
                  <a:moveTo>
                    <a:pt x="39" y="207"/>
                  </a:moveTo>
                  <a:lnTo>
                    <a:pt x="39" y="207"/>
                  </a:lnTo>
                  <a:lnTo>
                    <a:pt x="33" y="198"/>
                  </a:lnTo>
                  <a:lnTo>
                    <a:pt x="32" y="200"/>
                  </a:lnTo>
                  <a:lnTo>
                    <a:pt x="32" y="200"/>
                  </a:lnTo>
                  <a:lnTo>
                    <a:pt x="36" y="208"/>
                  </a:lnTo>
                  <a:lnTo>
                    <a:pt x="39" y="207"/>
                  </a:lnTo>
                  <a:close/>
                  <a:moveTo>
                    <a:pt x="46" y="220"/>
                  </a:moveTo>
                  <a:lnTo>
                    <a:pt x="46" y="220"/>
                  </a:lnTo>
                  <a:lnTo>
                    <a:pt x="40" y="211"/>
                  </a:lnTo>
                  <a:lnTo>
                    <a:pt x="39" y="213"/>
                  </a:lnTo>
                  <a:lnTo>
                    <a:pt x="39" y="213"/>
                  </a:lnTo>
                  <a:lnTo>
                    <a:pt x="43" y="221"/>
                  </a:lnTo>
                  <a:lnTo>
                    <a:pt x="46" y="2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77" name="Freeform 1602"/>
            <p:cNvSpPr>
              <a:spLocks noEditPoints="1"/>
            </p:cNvSpPr>
            <p:nvPr/>
          </p:nvSpPr>
          <p:spPr bwMode="auto">
            <a:xfrm>
              <a:off x="5251451" y="4388279"/>
              <a:ext cx="169863" cy="63500"/>
            </a:xfrm>
            <a:custGeom>
              <a:avLst/>
              <a:gdLst>
                <a:gd name="T0" fmla="*/ 0 w 107"/>
                <a:gd name="T1" fmla="*/ 6 h 40"/>
                <a:gd name="T2" fmla="*/ 1 w 107"/>
                <a:gd name="T3" fmla="*/ 8 h 40"/>
                <a:gd name="T4" fmla="*/ 16 w 107"/>
                <a:gd name="T5" fmla="*/ 6 h 40"/>
                <a:gd name="T6" fmla="*/ 12 w 107"/>
                <a:gd name="T7" fmla="*/ 7 h 40"/>
                <a:gd name="T8" fmla="*/ 7 w 107"/>
                <a:gd name="T9" fmla="*/ 7 h 40"/>
                <a:gd name="T10" fmla="*/ 7 w 107"/>
                <a:gd name="T11" fmla="*/ 8 h 40"/>
                <a:gd name="T12" fmla="*/ 12 w 107"/>
                <a:gd name="T13" fmla="*/ 8 h 40"/>
                <a:gd name="T14" fmla="*/ 16 w 107"/>
                <a:gd name="T15" fmla="*/ 6 h 40"/>
                <a:gd name="T16" fmla="*/ 29 w 107"/>
                <a:gd name="T17" fmla="*/ 1 h 40"/>
                <a:gd name="T18" fmla="*/ 23 w 107"/>
                <a:gd name="T19" fmla="*/ 0 h 40"/>
                <a:gd name="T20" fmla="*/ 22 w 107"/>
                <a:gd name="T21" fmla="*/ 0 h 40"/>
                <a:gd name="T22" fmla="*/ 22 w 107"/>
                <a:gd name="T23" fmla="*/ 4 h 40"/>
                <a:gd name="T24" fmla="*/ 23 w 107"/>
                <a:gd name="T25" fmla="*/ 3 h 40"/>
                <a:gd name="T26" fmla="*/ 23 w 107"/>
                <a:gd name="T27" fmla="*/ 3 h 40"/>
                <a:gd name="T28" fmla="*/ 23 w 107"/>
                <a:gd name="T29" fmla="*/ 1 h 40"/>
                <a:gd name="T30" fmla="*/ 23 w 107"/>
                <a:gd name="T31" fmla="*/ 3 h 40"/>
                <a:gd name="T32" fmla="*/ 23 w 107"/>
                <a:gd name="T33" fmla="*/ 3 h 40"/>
                <a:gd name="T34" fmla="*/ 29 w 107"/>
                <a:gd name="T35" fmla="*/ 1 h 40"/>
                <a:gd name="T36" fmla="*/ 43 w 107"/>
                <a:gd name="T37" fmla="*/ 8 h 40"/>
                <a:gd name="T38" fmla="*/ 33 w 107"/>
                <a:gd name="T39" fmla="*/ 6 h 40"/>
                <a:gd name="T40" fmla="*/ 42 w 107"/>
                <a:gd name="T41" fmla="*/ 11 h 40"/>
                <a:gd name="T42" fmla="*/ 58 w 107"/>
                <a:gd name="T43" fmla="*/ 13 h 40"/>
                <a:gd name="T44" fmla="*/ 48 w 107"/>
                <a:gd name="T45" fmla="*/ 10 h 40"/>
                <a:gd name="T46" fmla="*/ 46 w 107"/>
                <a:gd name="T47" fmla="*/ 13 h 40"/>
                <a:gd name="T48" fmla="*/ 58 w 107"/>
                <a:gd name="T49" fmla="*/ 13 h 40"/>
                <a:gd name="T50" fmla="*/ 71 w 107"/>
                <a:gd name="T51" fmla="*/ 20 h 40"/>
                <a:gd name="T52" fmla="*/ 62 w 107"/>
                <a:gd name="T53" fmla="*/ 14 h 40"/>
                <a:gd name="T54" fmla="*/ 61 w 107"/>
                <a:gd name="T55" fmla="*/ 16 h 40"/>
                <a:gd name="T56" fmla="*/ 70 w 107"/>
                <a:gd name="T57" fmla="*/ 21 h 40"/>
                <a:gd name="T58" fmla="*/ 80 w 107"/>
                <a:gd name="T59" fmla="*/ 33 h 40"/>
                <a:gd name="T60" fmla="*/ 74 w 107"/>
                <a:gd name="T61" fmla="*/ 24 h 40"/>
                <a:gd name="T62" fmla="*/ 72 w 107"/>
                <a:gd name="T63" fmla="*/ 26 h 40"/>
                <a:gd name="T64" fmla="*/ 80 w 107"/>
                <a:gd name="T65" fmla="*/ 33 h 40"/>
                <a:gd name="T66" fmla="*/ 91 w 107"/>
                <a:gd name="T67" fmla="*/ 37 h 40"/>
                <a:gd name="T68" fmla="*/ 88 w 107"/>
                <a:gd name="T69" fmla="*/ 37 h 40"/>
                <a:gd name="T70" fmla="*/ 87 w 107"/>
                <a:gd name="T71" fmla="*/ 37 h 40"/>
                <a:gd name="T72" fmla="*/ 81 w 107"/>
                <a:gd name="T73" fmla="*/ 37 h 40"/>
                <a:gd name="T74" fmla="*/ 87 w 107"/>
                <a:gd name="T75" fmla="*/ 39 h 40"/>
                <a:gd name="T76" fmla="*/ 88 w 107"/>
                <a:gd name="T77" fmla="*/ 40 h 40"/>
                <a:gd name="T78" fmla="*/ 93 w 107"/>
                <a:gd name="T79" fmla="*/ 39 h 40"/>
                <a:gd name="T80" fmla="*/ 107 w 107"/>
                <a:gd name="T81" fmla="*/ 34 h 40"/>
                <a:gd name="T82" fmla="*/ 97 w 107"/>
                <a:gd name="T83" fmla="*/ 36 h 40"/>
                <a:gd name="T84" fmla="*/ 97 w 107"/>
                <a:gd name="T85" fmla="*/ 39 h 40"/>
                <a:gd name="T86" fmla="*/ 107 w 107"/>
                <a:gd name="T87" fmla="*/ 3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 h="40">
                  <a:moveTo>
                    <a:pt x="1" y="6"/>
                  </a:moveTo>
                  <a:lnTo>
                    <a:pt x="0" y="6"/>
                  </a:lnTo>
                  <a:lnTo>
                    <a:pt x="0" y="8"/>
                  </a:lnTo>
                  <a:lnTo>
                    <a:pt x="1" y="8"/>
                  </a:lnTo>
                  <a:lnTo>
                    <a:pt x="1" y="6"/>
                  </a:lnTo>
                  <a:close/>
                  <a:moveTo>
                    <a:pt x="16" y="6"/>
                  </a:moveTo>
                  <a:lnTo>
                    <a:pt x="16" y="6"/>
                  </a:lnTo>
                  <a:lnTo>
                    <a:pt x="12" y="7"/>
                  </a:lnTo>
                  <a:lnTo>
                    <a:pt x="12" y="7"/>
                  </a:lnTo>
                  <a:lnTo>
                    <a:pt x="7" y="7"/>
                  </a:lnTo>
                  <a:lnTo>
                    <a:pt x="7" y="8"/>
                  </a:lnTo>
                  <a:lnTo>
                    <a:pt x="7" y="8"/>
                  </a:lnTo>
                  <a:lnTo>
                    <a:pt x="12" y="8"/>
                  </a:lnTo>
                  <a:lnTo>
                    <a:pt x="12" y="8"/>
                  </a:lnTo>
                  <a:lnTo>
                    <a:pt x="17" y="8"/>
                  </a:lnTo>
                  <a:lnTo>
                    <a:pt x="16" y="6"/>
                  </a:lnTo>
                  <a:close/>
                  <a:moveTo>
                    <a:pt x="29" y="1"/>
                  </a:moveTo>
                  <a:lnTo>
                    <a:pt x="29" y="1"/>
                  </a:lnTo>
                  <a:lnTo>
                    <a:pt x="23" y="0"/>
                  </a:lnTo>
                  <a:lnTo>
                    <a:pt x="23" y="0"/>
                  </a:lnTo>
                  <a:lnTo>
                    <a:pt x="22" y="0"/>
                  </a:lnTo>
                  <a:lnTo>
                    <a:pt x="22" y="0"/>
                  </a:lnTo>
                  <a:lnTo>
                    <a:pt x="19" y="3"/>
                  </a:lnTo>
                  <a:lnTo>
                    <a:pt x="22" y="4"/>
                  </a:lnTo>
                  <a:lnTo>
                    <a:pt x="22" y="4"/>
                  </a:lnTo>
                  <a:lnTo>
                    <a:pt x="23" y="3"/>
                  </a:lnTo>
                  <a:lnTo>
                    <a:pt x="23" y="1"/>
                  </a:lnTo>
                  <a:lnTo>
                    <a:pt x="23" y="3"/>
                  </a:lnTo>
                  <a:lnTo>
                    <a:pt x="23" y="3"/>
                  </a:lnTo>
                  <a:lnTo>
                    <a:pt x="23" y="1"/>
                  </a:lnTo>
                  <a:lnTo>
                    <a:pt x="23" y="3"/>
                  </a:lnTo>
                  <a:lnTo>
                    <a:pt x="23" y="3"/>
                  </a:lnTo>
                  <a:lnTo>
                    <a:pt x="23" y="3"/>
                  </a:lnTo>
                  <a:lnTo>
                    <a:pt x="23" y="3"/>
                  </a:lnTo>
                  <a:lnTo>
                    <a:pt x="29" y="4"/>
                  </a:lnTo>
                  <a:lnTo>
                    <a:pt x="29" y="1"/>
                  </a:lnTo>
                  <a:close/>
                  <a:moveTo>
                    <a:pt x="43" y="8"/>
                  </a:moveTo>
                  <a:lnTo>
                    <a:pt x="43" y="8"/>
                  </a:lnTo>
                  <a:lnTo>
                    <a:pt x="35" y="4"/>
                  </a:lnTo>
                  <a:lnTo>
                    <a:pt x="33" y="6"/>
                  </a:lnTo>
                  <a:lnTo>
                    <a:pt x="33" y="6"/>
                  </a:lnTo>
                  <a:lnTo>
                    <a:pt x="42" y="11"/>
                  </a:lnTo>
                  <a:lnTo>
                    <a:pt x="43" y="8"/>
                  </a:lnTo>
                  <a:close/>
                  <a:moveTo>
                    <a:pt x="58" y="13"/>
                  </a:moveTo>
                  <a:lnTo>
                    <a:pt x="58" y="13"/>
                  </a:lnTo>
                  <a:lnTo>
                    <a:pt x="48" y="10"/>
                  </a:lnTo>
                  <a:lnTo>
                    <a:pt x="46" y="13"/>
                  </a:lnTo>
                  <a:lnTo>
                    <a:pt x="46" y="13"/>
                  </a:lnTo>
                  <a:lnTo>
                    <a:pt x="56" y="14"/>
                  </a:lnTo>
                  <a:lnTo>
                    <a:pt x="58" y="13"/>
                  </a:lnTo>
                  <a:close/>
                  <a:moveTo>
                    <a:pt x="71" y="20"/>
                  </a:moveTo>
                  <a:lnTo>
                    <a:pt x="71" y="20"/>
                  </a:lnTo>
                  <a:lnTo>
                    <a:pt x="67" y="16"/>
                  </a:lnTo>
                  <a:lnTo>
                    <a:pt x="62" y="14"/>
                  </a:lnTo>
                  <a:lnTo>
                    <a:pt x="61" y="16"/>
                  </a:lnTo>
                  <a:lnTo>
                    <a:pt x="61" y="16"/>
                  </a:lnTo>
                  <a:lnTo>
                    <a:pt x="65" y="19"/>
                  </a:lnTo>
                  <a:lnTo>
                    <a:pt x="70" y="21"/>
                  </a:lnTo>
                  <a:lnTo>
                    <a:pt x="71" y="20"/>
                  </a:lnTo>
                  <a:close/>
                  <a:moveTo>
                    <a:pt x="80" y="33"/>
                  </a:moveTo>
                  <a:lnTo>
                    <a:pt x="80" y="33"/>
                  </a:lnTo>
                  <a:lnTo>
                    <a:pt x="74" y="24"/>
                  </a:lnTo>
                  <a:lnTo>
                    <a:pt x="72" y="26"/>
                  </a:lnTo>
                  <a:lnTo>
                    <a:pt x="72" y="26"/>
                  </a:lnTo>
                  <a:lnTo>
                    <a:pt x="78" y="34"/>
                  </a:lnTo>
                  <a:lnTo>
                    <a:pt x="80" y="33"/>
                  </a:lnTo>
                  <a:close/>
                  <a:moveTo>
                    <a:pt x="91" y="37"/>
                  </a:moveTo>
                  <a:lnTo>
                    <a:pt x="91" y="37"/>
                  </a:lnTo>
                  <a:lnTo>
                    <a:pt x="88" y="37"/>
                  </a:lnTo>
                  <a:lnTo>
                    <a:pt x="88" y="37"/>
                  </a:lnTo>
                  <a:lnTo>
                    <a:pt x="87" y="37"/>
                  </a:lnTo>
                  <a:lnTo>
                    <a:pt x="87" y="37"/>
                  </a:lnTo>
                  <a:lnTo>
                    <a:pt x="83" y="36"/>
                  </a:lnTo>
                  <a:lnTo>
                    <a:pt x="81" y="37"/>
                  </a:lnTo>
                  <a:lnTo>
                    <a:pt x="81" y="37"/>
                  </a:lnTo>
                  <a:lnTo>
                    <a:pt x="87" y="39"/>
                  </a:lnTo>
                  <a:lnTo>
                    <a:pt x="87" y="39"/>
                  </a:lnTo>
                  <a:lnTo>
                    <a:pt x="88" y="40"/>
                  </a:lnTo>
                  <a:lnTo>
                    <a:pt x="88" y="40"/>
                  </a:lnTo>
                  <a:lnTo>
                    <a:pt x="93" y="39"/>
                  </a:lnTo>
                  <a:lnTo>
                    <a:pt x="91" y="37"/>
                  </a:lnTo>
                  <a:close/>
                  <a:moveTo>
                    <a:pt x="107" y="34"/>
                  </a:moveTo>
                  <a:lnTo>
                    <a:pt x="107" y="34"/>
                  </a:lnTo>
                  <a:lnTo>
                    <a:pt x="97" y="36"/>
                  </a:lnTo>
                  <a:lnTo>
                    <a:pt x="97" y="39"/>
                  </a:lnTo>
                  <a:lnTo>
                    <a:pt x="97" y="39"/>
                  </a:lnTo>
                  <a:lnTo>
                    <a:pt x="107" y="37"/>
                  </a:lnTo>
                  <a:lnTo>
                    <a:pt x="107"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78" name="Freeform 1603"/>
            <p:cNvSpPr>
              <a:spLocks noEditPoints="1"/>
            </p:cNvSpPr>
            <p:nvPr/>
          </p:nvSpPr>
          <p:spPr bwMode="auto">
            <a:xfrm>
              <a:off x="5365751" y="4659742"/>
              <a:ext cx="23813" cy="153988"/>
            </a:xfrm>
            <a:custGeom>
              <a:avLst/>
              <a:gdLst>
                <a:gd name="T0" fmla="*/ 9 w 15"/>
                <a:gd name="T1" fmla="*/ 10 h 97"/>
                <a:gd name="T2" fmla="*/ 15 w 15"/>
                <a:gd name="T3" fmla="*/ 1 h 97"/>
                <a:gd name="T4" fmla="*/ 13 w 15"/>
                <a:gd name="T5" fmla="*/ 0 h 97"/>
                <a:gd name="T6" fmla="*/ 8 w 15"/>
                <a:gd name="T7" fmla="*/ 8 h 97"/>
                <a:gd name="T8" fmla="*/ 9 w 15"/>
                <a:gd name="T9" fmla="*/ 10 h 97"/>
                <a:gd name="T10" fmla="*/ 3 w 15"/>
                <a:gd name="T11" fmla="*/ 23 h 97"/>
                <a:gd name="T12" fmla="*/ 3 w 15"/>
                <a:gd name="T13" fmla="*/ 18 h 97"/>
                <a:gd name="T14" fmla="*/ 6 w 15"/>
                <a:gd name="T15" fmla="*/ 14 h 97"/>
                <a:gd name="T16" fmla="*/ 5 w 15"/>
                <a:gd name="T17" fmla="*/ 13 h 97"/>
                <a:gd name="T18" fmla="*/ 0 w 15"/>
                <a:gd name="T19" fmla="*/ 18 h 97"/>
                <a:gd name="T20" fmla="*/ 0 w 15"/>
                <a:gd name="T21" fmla="*/ 23 h 97"/>
                <a:gd name="T22" fmla="*/ 3 w 15"/>
                <a:gd name="T23" fmla="*/ 23 h 97"/>
                <a:gd name="T24" fmla="*/ 3 w 15"/>
                <a:gd name="T25" fmla="*/ 29 h 97"/>
                <a:gd name="T26" fmla="*/ 0 w 15"/>
                <a:gd name="T27" fmla="*/ 29 h 97"/>
                <a:gd name="T28" fmla="*/ 0 w 15"/>
                <a:gd name="T29" fmla="*/ 39 h 97"/>
                <a:gd name="T30" fmla="*/ 3 w 15"/>
                <a:gd name="T31" fmla="*/ 39 h 97"/>
                <a:gd name="T32" fmla="*/ 3 w 15"/>
                <a:gd name="T33" fmla="*/ 29 h 97"/>
                <a:gd name="T34" fmla="*/ 3 w 15"/>
                <a:gd name="T35" fmla="*/ 43 h 97"/>
                <a:gd name="T36" fmla="*/ 0 w 15"/>
                <a:gd name="T37" fmla="*/ 43 h 97"/>
                <a:gd name="T38" fmla="*/ 0 w 15"/>
                <a:gd name="T39" fmla="*/ 53 h 97"/>
                <a:gd name="T40" fmla="*/ 3 w 15"/>
                <a:gd name="T41" fmla="*/ 53 h 97"/>
                <a:gd name="T42" fmla="*/ 3 w 15"/>
                <a:gd name="T43" fmla="*/ 43 h 97"/>
                <a:gd name="T44" fmla="*/ 3 w 15"/>
                <a:gd name="T45" fmla="*/ 59 h 97"/>
                <a:gd name="T46" fmla="*/ 0 w 15"/>
                <a:gd name="T47" fmla="*/ 59 h 97"/>
                <a:gd name="T48" fmla="*/ 0 w 15"/>
                <a:gd name="T49" fmla="*/ 69 h 97"/>
                <a:gd name="T50" fmla="*/ 3 w 15"/>
                <a:gd name="T51" fmla="*/ 69 h 97"/>
                <a:gd name="T52" fmla="*/ 3 w 15"/>
                <a:gd name="T53" fmla="*/ 59 h 97"/>
                <a:gd name="T54" fmla="*/ 3 w 15"/>
                <a:gd name="T55" fmla="*/ 74 h 97"/>
                <a:gd name="T56" fmla="*/ 0 w 15"/>
                <a:gd name="T57" fmla="*/ 74 h 97"/>
                <a:gd name="T58" fmla="*/ 0 w 15"/>
                <a:gd name="T59" fmla="*/ 84 h 97"/>
                <a:gd name="T60" fmla="*/ 3 w 15"/>
                <a:gd name="T61" fmla="*/ 84 h 97"/>
                <a:gd name="T62" fmla="*/ 3 w 15"/>
                <a:gd name="T63" fmla="*/ 74 h 97"/>
                <a:gd name="T64" fmla="*/ 9 w 15"/>
                <a:gd name="T65" fmla="*/ 95 h 97"/>
                <a:gd name="T66" fmla="*/ 3 w 15"/>
                <a:gd name="T67" fmla="*/ 89 h 97"/>
                <a:gd name="T68" fmla="*/ 3 w 15"/>
                <a:gd name="T69" fmla="*/ 89 h 97"/>
                <a:gd name="T70" fmla="*/ 0 w 15"/>
                <a:gd name="T71" fmla="*/ 89 h 97"/>
                <a:gd name="T72" fmla="*/ 0 w 15"/>
                <a:gd name="T73" fmla="*/ 89 h 97"/>
                <a:gd name="T74" fmla="*/ 0 w 15"/>
                <a:gd name="T75" fmla="*/ 91 h 97"/>
                <a:gd name="T76" fmla="*/ 8 w 15"/>
                <a:gd name="T77" fmla="*/ 97 h 97"/>
                <a:gd name="T78" fmla="*/ 9 w 15"/>
                <a:gd name="T79" fmla="*/ 9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 h="97">
                  <a:moveTo>
                    <a:pt x="9" y="10"/>
                  </a:moveTo>
                  <a:lnTo>
                    <a:pt x="15" y="1"/>
                  </a:lnTo>
                  <a:lnTo>
                    <a:pt x="13" y="0"/>
                  </a:lnTo>
                  <a:lnTo>
                    <a:pt x="8" y="8"/>
                  </a:lnTo>
                  <a:lnTo>
                    <a:pt x="9" y="10"/>
                  </a:lnTo>
                  <a:close/>
                  <a:moveTo>
                    <a:pt x="3" y="23"/>
                  </a:moveTo>
                  <a:lnTo>
                    <a:pt x="3" y="18"/>
                  </a:lnTo>
                  <a:lnTo>
                    <a:pt x="6" y="14"/>
                  </a:lnTo>
                  <a:lnTo>
                    <a:pt x="5" y="13"/>
                  </a:lnTo>
                  <a:lnTo>
                    <a:pt x="0" y="18"/>
                  </a:lnTo>
                  <a:lnTo>
                    <a:pt x="0" y="23"/>
                  </a:lnTo>
                  <a:lnTo>
                    <a:pt x="3" y="23"/>
                  </a:lnTo>
                  <a:close/>
                  <a:moveTo>
                    <a:pt x="3" y="29"/>
                  </a:moveTo>
                  <a:lnTo>
                    <a:pt x="0" y="29"/>
                  </a:lnTo>
                  <a:lnTo>
                    <a:pt x="0" y="39"/>
                  </a:lnTo>
                  <a:lnTo>
                    <a:pt x="3" y="39"/>
                  </a:lnTo>
                  <a:lnTo>
                    <a:pt x="3" y="29"/>
                  </a:lnTo>
                  <a:close/>
                  <a:moveTo>
                    <a:pt x="3" y="43"/>
                  </a:moveTo>
                  <a:lnTo>
                    <a:pt x="0" y="43"/>
                  </a:lnTo>
                  <a:lnTo>
                    <a:pt x="0" y="53"/>
                  </a:lnTo>
                  <a:lnTo>
                    <a:pt x="3" y="53"/>
                  </a:lnTo>
                  <a:lnTo>
                    <a:pt x="3" y="43"/>
                  </a:lnTo>
                  <a:close/>
                  <a:moveTo>
                    <a:pt x="3" y="59"/>
                  </a:moveTo>
                  <a:lnTo>
                    <a:pt x="0" y="59"/>
                  </a:lnTo>
                  <a:lnTo>
                    <a:pt x="0" y="69"/>
                  </a:lnTo>
                  <a:lnTo>
                    <a:pt x="3" y="69"/>
                  </a:lnTo>
                  <a:lnTo>
                    <a:pt x="3" y="59"/>
                  </a:lnTo>
                  <a:close/>
                  <a:moveTo>
                    <a:pt x="3" y="74"/>
                  </a:moveTo>
                  <a:lnTo>
                    <a:pt x="0" y="74"/>
                  </a:lnTo>
                  <a:lnTo>
                    <a:pt x="0" y="84"/>
                  </a:lnTo>
                  <a:lnTo>
                    <a:pt x="3" y="84"/>
                  </a:lnTo>
                  <a:lnTo>
                    <a:pt x="3" y="74"/>
                  </a:lnTo>
                  <a:close/>
                  <a:moveTo>
                    <a:pt x="9" y="95"/>
                  </a:moveTo>
                  <a:lnTo>
                    <a:pt x="3" y="89"/>
                  </a:lnTo>
                  <a:lnTo>
                    <a:pt x="3" y="89"/>
                  </a:lnTo>
                  <a:lnTo>
                    <a:pt x="0" y="89"/>
                  </a:lnTo>
                  <a:lnTo>
                    <a:pt x="0" y="89"/>
                  </a:lnTo>
                  <a:lnTo>
                    <a:pt x="0" y="91"/>
                  </a:lnTo>
                  <a:lnTo>
                    <a:pt x="8" y="97"/>
                  </a:lnTo>
                  <a:lnTo>
                    <a:pt x="9"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79" name="Freeform 1604"/>
            <p:cNvSpPr>
              <a:spLocks noEditPoints="1"/>
            </p:cNvSpPr>
            <p:nvPr/>
          </p:nvSpPr>
          <p:spPr bwMode="auto">
            <a:xfrm>
              <a:off x="4583113" y="4721654"/>
              <a:ext cx="104775" cy="134938"/>
            </a:xfrm>
            <a:custGeom>
              <a:avLst/>
              <a:gdLst>
                <a:gd name="T0" fmla="*/ 63 w 66"/>
                <a:gd name="T1" fmla="*/ 6 h 85"/>
                <a:gd name="T2" fmla="*/ 59 w 66"/>
                <a:gd name="T3" fmla="*/ 1 h 85"/>
                <a:gd name="T4" fmla="*/ 62 w 66"/>
                <a:gd name="T5" fmla="*/ 7 h 85"/>
                <a:gd name="T6" fmla="*/ 66 w 66"/>
                <a:gd name="T7" fmla="*/ 21 h 85"/>
                <a:gd name="T8" fmla="*/ 66 w 66"/>
                <a:gd name="T9" fmla="*/ 17 h 85"/>
                <a:gd name="T10" fmla="*/ 65 w 66"/>
                <a:gd name="T11" fmla="*/ 10 h 85"/>
                <a:gd name="T12" fmla="*/ 63 w 66"/>
                <a:gd name="T13" fmla="*/ 11 h 85"/>
                <a:gd name="T14" fmla="*/ 65 w 66"/>
                <a:gd name="T15" fmla="*/ 17 h 85"/>
                <a:gd name="T16" fmla="*/ 66 w 66"/>
                <a:gd name="T17" fmla="*/ 21 h 85"/>
                <a:gd name="T18" fmla="*/ 59 w 66"/>
                <a:gd name="T19" fmla="*/ 33 h 85"/>
                <a:gd name="T20" fmla="*/ 63 w 66"/>
                <a:gd name="T21" fmla="*/ 26 h 85"/>
                <a:gd name="T22" fmla="*/ 62 w 66"/>
                <a:gd name="T23" fmla="*/ 24 h 85"/>
                <a:gd name="T24" fmla="*/ 56 w 66"/>
                <a:gd name="T25" fmla="*/ 33 h 85"/>
                <a:gd name="T26" fmla="*/ 62 w 66"/>
                <a:gd name="T27" fmla="*/ 48 h 85"/>
                <a:gd name="T28" fmla="*/ 57 w 66"/>
                <a:gd name="T29" fmla="*/ 39 h 85"/>
                <a:gd name="T30" fmla="*/ 56 w 66"/>
                <a:gd name="T31" fmla="*/ 39 h 85"/>
                <a:gd name="T32" fmla="*/ 62 w 66"/>
                <a:gd name="T33" fmla="*/ 48 h 85"/>
                <a:gd name="T34" fmla="*/ 65 w 66"/>
                <a:gd name="T35" fmla="*/ 63 h 85"/>
                <a:gd name="T36" fmla="*/ 65 w 66"/>
                <a:gd name="T37" fmla="*/ 58 h 85"/>
                <a:gd name="T38" fmla="*/ 62 w 66"/>
                <a:gd name="T39" fmla="*/ 53 h 85"/>
                <a:gd name="T40" fmla="*/ 62 w 66"/>
                <a:gd name="T41" fmla="*/ 58 h 85"/>
                <a:gd name="T42" fmla="*/ 62 w 66"/>
                <a:gd name="T43" fmla="*/ 62 h 85"/>
                <a:gd name="T44" fmla="*/ 52 w 66"/>
                <a:gd name="T45" fmla="*/ 72 h 85"/>
                <a:gd name="T46" fmla="*/ 55 w 66"/>
                <a:gd name="T47" fmla="*/ 72 h 85"/>
                <a:gd name="T48" fmla="*/ 59 w 66"/>
                <a:gd name="T49" fmla="*/ 71 h 85"/>
                <a:gd name="T50" fmla="*/ 59 w 66"/>
                <a:gd name="T51" fmla="*/ 66 h 85"/>
                <a:gd name="T52" fmla="*/ 55 w 66"/>
                <a:gd name="T53" fmla="*/ 69 h 85"/>
                <a:gd name="T54" fmla="*/ 52 w 66"/>
                <a:gd name="T55" fmla="*/ 71 h 85"/>
                <a:gd name="T56" fmla="*/ 39 w 66"/>
                <a:gd name="T57" fmla="*/ 69 h 85"/>
                <a:gd name="T58" fmla="*/ 40 w 66"/>
                <a:gd name="T59" fmla="*/ 69 h 85"/>
                <a:gd name="T60" fmla="*/ 46 w 66"/>
                <a:gd name="T61" fmla="*/ 72 h 85"/>
                <a:gd name="T62" fmla="*/ 47 w 66"/>
                <a:gd name="T63" fmla="*/ 71 h 85"/>
                <a:gd name="T64" fmla="*/ 40 w 66"/>
                <a:gd name="T65" fmla="*/ 66 h 85"/>
                <a:gd name="T66" fmla="*/ 39 w 66"/>
                <a:gd name="T67" fmla="*/ 66 h 85"/>
                <a:gd name="T68" fmla="*/ 39 w 66"/>
                <a:gd name="T69" fmla="*/ 69 h 85"/>
                <a:gd name="T70" fmla="*/ 31 w 66"/>
                <a:gd name="T71" fmla="*/ 82 h 85"/>
                <a:gd name="T72" fmla="*/ 33 w 66"/>
                <a:gd name="T73" fmla="*/ 81 h 85"/>
                <a:gd name="T74" fmla="*/ 34 w 66"/>
                <a:gd name="T75" fmla="*/ 79 h 85"/>
                <a:gd name="T76" fmla="*/ 34 w 66"/>
                <a:gd name="T77" fmla="*/ 72 h 85"/>
                <a:gd name="T78" fmla="*/ 33 w 66"/>
                <a:gd name="T79" fmla="*/ 77 h 85"/>
                <a:gd name="T80" fmla="*/ 31 w 66"/>
                <a:gd name="T81" fmla="*/ 79 h 85"/>
                <a:gd name="T82" fmla="*/ 31 w 66"/>
                <a:gd name="T83" fmla="*/ 82 h 85"/>
                <a:gd name="T84" fmla="*/ 17 w 66"/>
                <a:gd name="T85" fmla="*/ 84 h 85"/>
                <a:gd name="T86" fmla="*/ 26 w 66"/>
                <a:gd name="T87" fmla="*/ 82 h 85"/>
                <a:gd name="T88" fmla="*/ 26 w 66"/>
                <a:gd name="T89" fmla="*/ 81 h 85"/>
                <a:gd name="T90" fmla="*/ 15 w 66"/>
                <a:gd name="T91" fmla="*/ 81 h 85"/>
                <a:gd name="T92" fmla="*/ 1 w 66"/>
                <a:gd name="T93" fmla="*/ 85 h 85"/>
                <a:gd name="T94" fmla="*/ 7 w 66"/>
                <a:gd name="T95" fmla="*/ 84 h 85"/>
                <a:gd name="T96" fmla="*/ 11 w 66"/>
                <a:gd name="T97" fmla="*/ 81 h 85"/>
                <a:gd name="T98" fmla="*/ 5 w 66"/>
                <a:gd name="T99" fmla="*/ 81 h 85"/>
                <a:gd name="T100" fmla="*/ 1 w 66"/>
                <a:gd name="T10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6" h="85">
                  <a:moveTo>
                    <a:pt x="63" y="6"/>
                  </a:moveTo>
                  <a:lnTo>
                    <a:pt x="63" y="6"/>
                  </a:lnTo>
                  <a:lnTo>
                    <a:pt x="62" y="0"/>
                  </a:lnTo>
                  <a:lnTo>
                    <a:pt x="59" y="1"/>
                  </a:lnTo>
                  <a:lnTo>
                    <a:pt x="59" y="1"/>
                  </a:lnTo>
                  <a:lnTo>
                    <a:pt x="62" y="7"/>
                  </a:lnTo>
                  <a:lnTo>
                    <a:pt x="63" y="6"/>
                  </a:lnTo>
                  <a:close/>
                  <a:moveTo>
                    <a:pt x="66" y="21"/>
                  </a:moveTo>
                  <a:lnTo>
                    <a:pt x="66" y="21"/>
                  </a:lnTo>
                  <a:lnTo>
                    <a:pt x="66" y="17"/>
                  </a:lnTo>
                  <a:lnTo>
                    <a:pt x="66" y="17"/>
                  </a:lnTo>
                  <a:lnTo>
                    <a:pt x="65" y="10"/>
                  </a:lnTo>
                  <a:lnTo>
                    <a:pt x="63" y="11"/>
                  </a:lnTo>
                  <a:lnTo>
                    <a:pt x="63" y="11"/>
                  </a:lnTo>
                  <a:lnTo>
                    <a:pt x="65" y="17"/>
                  </a:lnTo>
                  <a:lnTo>
                    <a:pt x="65" y="17"/>
                  </a:lnTo>
                  <a:lnTo>
                    <a:pt x="63" y="20"/>
                  </a:lnTo>
                  <a:lnTo>
                    <a:pt x="66" y="21"/>
                  </a:lnTo>
                  <a:close/>
                  <a:moveTo>
                    <a:pt x="59" y="35"/>
                  </a:moveTo>
                  <a:lnTo>
                    <a:pt x="59" y="33"/>
                  </a:lnTo>
                  <a:lnTo>
                    <a:pt x="59" y="33"/>
                  </a:lnTo>
                  <a:lnTo>
                    <a:pt x="63" y="26"/>
                  </a:lnTo>
                  <a:lnTo>
                    <a:pt x="62" y="24"/>
                  </a:lnTo>
                  <a:lnTo>
                    <a:pt x="62" y="24"/>
                  </a:lnTo>
                  <a:lnTo>
                    <a:pt x="57" y="32"/>
                  </a:lnTo>
                  <a:lnTo>
                    <a:pt x="56" y="33"/>
                  </a:lnTo>
                  <a:lnTo>
                    <a:pt x="59" y="35"/>
                  </a:lnTo>
                  <a:close/>
                  <a:moveTo>
                    <a:pt x="62" y="48"/>
                  </a:moveTo>
                  <a:lnTo>
                    <a:pt x="62" y="48"/>
                  </a:lnTo>
                  <a:lnTo>
                    <a:pt x="57" y="39"/>
                  </a:lnTo>
                  <a:lnTo>
                    <a:pt x="56" y="39"/>
                  </a:lnTo>
                  <a:lnTo>
                    <a:pt x="56" y="39"/>
                  </a:lnTo>
                  <a:lnTo>
                    <a:pt x="59" y="49"/>
                  </a:lnTo>
                  <a:lnTo>
                    <a:pt x="62" y="48"/>
                  </a:lnTo>
                  <a:close/>
                  <a:moveTo>
                    <a:pt x="65" y="63"/>
                  </a:moveTo>
                  <a:lnTo>
                    <a:pt x="65" y="63"/>
                  </a:lnTo>
                  <a:lnTo>
                    <a:pt x="65" y="58"/>
                  </a:lnTo>
                  <a:lnTo>
                    <a:pt x="65" y="58"/>
                  </a:lnTo>
                  <a:lnTo>
                    <a:pt x="63" y="52"/>
                  </a:lnTo>
                  <a:lnTo>
                    <a:pt x="62" y="53"/>
                  </a:lnTo>
                  <a:lnTo>
                    <a:pt x="62" y="53"/>
                  </a:lnTo>
                  <a:lnTo>
                    <a:pt x="62" y="58"/>
                  </a:lnTo>
                  <a:lnTo>
                    <a:pt x="62" y="58"/>
                  </a:lnTo>
                  <a:lnTo>
                    <a:pt x="62" y="62"/>
                  </a:lnTo>
                  <a:lnTo>
                    <a:pt x="65" y="63"/>
                  </a:lnTo>
                  <a:close/>
                  <a:moveTo>
                    <a:pt x="52" y="72"/>
                  </a:moveTo>
                  <a:lnTo>
                    <a:pt x="52" y="72"/>
                  </a:lnTo>
                  <a:lnTo>
                    <a:pt x="55" y="72"/>
                  </a:lnTo>
                  <a:lnTo>
                    <a:pt x="55" y="72"/>
                  </a:lnTo>
                  <a:lnTo>
                    <a:pt x="59" y="71"/>
                  </a:lnTo>
                  <a:lnTo>
                    <a:pt x="62" y="68"/>
                  </a:lnTo>
                  <a:lnTo>
                    <a:pt x="59" y="66"/>
                  </a:lnTo>
                  <a:lnTo>
                    <a:pt x="59" y="66"/>
                  </a:lnTo>
                  <a:lnTo>
                    <a:pt x="55" y="69"/>
                  </a:lnTo>
                  <a:lnTo>
                    <a:pt x="55" y="69"/>
                  </a:lnTo>
                  <a:lnTo>
                    <a:pt x="52" y="71"/>
                  </a:lnTo>
                  <a:lnTo>
                    <a:pt x="52" y="72"/>
                  </a:lnTo>
                  <a:close/>
                  <a:moveTo>
                    <a:pt x="39" y="69"/>
                  </a:moveTo>
                  <a:lnTo>
                    <a:pt x="39" y="68"/>
                  </a:lnTo>
                  <a:lnTo>
                    <a:pt x="40" y="69"/>
                  </a:lnTo>
                  <a:lnTo>
                    <a:pt x="40" y="69"/>
                  </a:lnTo>
                  <a:lnTo>
                    <a:pt x="46" y="72"/>
                  </a:lnTo>
                  <a:lnTo>
                    <a:pt x="47" y="71"/>
                  </a:lnTo>
                  <a:lnTo>
                    <a:pt x="47" y="71"/>
                  </a:lnTo>
                  <a:lnTo>
                    <a:pt x="40" y="66"/>
                  </a:lnTo>
                  <a:lnTo>
                    <a:pt x="40" y="66"/>
                  </a:lnTo>
                  <a:lnTo>
                    <a:pt x="39" y="66"/>
                  </a:lnTo>
                  <a:lnTo>
                    <a:pt x="39" y="66"/>
                  </a:lnTo>
                  <a:lnTo>
                    <a:pt x="37" y="66"/>
                  </a:lnTo>
                  <a:lnTo>
                    <a:pt x="39" y="69"/>
                  </a:lnTo>
                  <a:close/>
                  <a:moveTo>
                    <a:pt x="31" y="82"/>
                  </a:moveTo>
                  <a:lnTo>
                    <a:pt x="31" y="82"/>
                  </a:lnTo>
                  <a:lnTo>
                    <a:pt x="33" y="81"/>
                  </a:lnTo>
                  <a:lnTo>
                    <a:pt x="33" y="81"/>
                  </a:lnTo>
                  <a:lnTo>
                    <a:pt x="34" y="79"/>
                  </a:lnTo>
                  <a:lnTo>
                    <a:pt x="34" y="79"/>
                  </a:lnTo>
                  <a:lnTo>
                    <a:pt x="36" y="72"/>
                  </a:lnTo>
                  <a:lnTo>
                    <a:pt x="34" y="72"/>
                  </a:lnTo>
                  <a:lnTo>
                    <a:pt x="34" y="72"/>
                  </a:lnTo>
                  <a:lnTo>
                    <a:pt x="33" y="77"/>
                  </a:lnTo>
                  <a:lnTo>
                    <a:pt x="33" y="77"/>
                  </a:lnTo>
                  <a:lnTo>
                    <a:pt x="31" y="79"/>
                  </a:lnTo>
                  <a:lnTo>
                    <a:pt x="30" y="79"/>
                  </a:lnTo>
                  <a:lnTo>
                    <a:pt x="31" y="82"/>
                  </a:lnTo>
                  <a:close/>
                  <a:moveTo>
                    <a:pt x="15" y="84"/>
                  </a:moveTo>
                  <a:lnTo>
                    <a:pt x="17" y="84"/>
                  </a:lnTo>
                  <a:lnTo>
                    <a:pt x="17" y="84"/>
                  </a:lnTo>
                  <a:lnTo>
                    <a:pt x="26" y="82"/>
                  </a:lnTo>
                  <a:lnTo>
                    <a:pt x="26" y="81"/>
                  </a:lnTo>
                  <a:lnTo>
                    <a:pt x="26" y="81"/>
                  </a:lnTo>
                  <a:lnTo>
                    <a:pt x="17" y="81"/>
                  </a:lnTo>
                  <a:lnTo>
                    <a:pt x="15" y="81"/>
                  </a:lnTo>
                  <a:lnTo>
                    <a:pt x="15" y="84"/>
                  </a:lnTo>
                  <a:close/>
                  <a:moveTo>
                    <a:pt x="1" y="85"/>
                  </a:moveTo>
                  <a:lnTo>
                    <a:pt x="1" y="85"/>
                  </a:lnTo>
                  <a:lnTo>
                    <a:pt x="7" y="84"/>
                  </a:lnTo>
                  <a:lnTo>
                    <a:pt x="11" y="82"/>
                  </a:lnTo>
                  <a:lnTo>
                    <a:pt x="11" y="81"/>
                  </a:lnTo>
                  <a:lnTo>
                    <a:pt x="11" y="81"/>
                  </a:lnTo>
                  <a:lnTo>
                    <a:pt x="5" y="81"/>
                  </a:lnTo>
                  <a:lnTo>
                    <a:pt x="0" y="84"/>
                  </a:lnTo>
                  <a:lnTo>
                    <a:pt x="1" y="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80" name="Freeform 1605"/>
            <p:cNvSpPr>
              <a:spLocks noEditPoints="1"/>
            </p:cNvSpPr>
            <p:nvPr/>
          </p:nvSpPr>
          <p:spPr bwMode="auto">
            <a:xfrm>
              <a:off x="4713288" y="4672442"/>
              <a:ext cx="82550" cy="25400"/>
            </a:xfrm>
            <a:custGeom>
              <a:avLst/>
              <a:gdLst>
                <a:gd name="T0" fmla="*/ 7 w 52"/>
                <a:gd name="T1" fmla="*/ 12 h 16"/>
                <a:gd name="T2" fmla="*/ 7 w 52"/>
                <a:gd name="T3" fmla="*/ 12 h 16"/>
                <a:gd name="T4" fmla="*/ 0 w 52"/>
                <a:gd name="T5" fmla="*/ 13 h 16"/>
                <a:gd name="T6" fmla="*/ 0 w 52"/>
                <a:gd name="T7" fmla="*/ 16 h 16"/>
                <a:gd name="T8" fmla="*/ 0 w 52"/>
                <a:gd name="T9" fmla="*/ 16 h 16"/>
                <a:gd name="T10" fmla="*/ 7 w 52"/>
                <a:gd name="T11" fmla="*/ 15 h 16"/>
                <a:gd name="T12" fmla="*/ 7 w 52"/>
                <a:gd name="T13" fmla="*/ 12 h 16"/>
                <a:gd name="T14" fmla="*/ 22 w 52"/>
                <a:gd name="T15" fmla="*/ 9 h 16"/>
                <a:gd name="T16" fmla="*/ 22 w 52"/>
                <a:gd name="T17" fmla="*/ 9 h 16"/>
                <a:gd name="T18" fmla="*/ 12 w 52"/>
                <a:gd name="T19" fmla="*/ 10 h 16"/>
                <a:gd name="T20" fmla="*/ 13 w 52"/>
                <a:gd name="T21" fmla="*/ 13 h 16"/>
                <a:gd name="T22" fmla="*/ 13 w 52"/>
                <a:gd name="T23" fmla="*/ 13 h 16"/>
                <a:gd name="T24" fmla="*/ 23 w 52"/>
                <a:gd name="T25" fmla="*/ 12 h 16"/>
                <a:gd name="T26" fmla="*/ 22 w 52"/>
                <a:gd name="T27" fmla="*/ 9 h 16"/>
                <a:gd name="T28" fmla="*/ 36 w 52"/>
                <a:gd name="T29" fmla="*/ 5 h 16"/>
                <a:gd name="T30" fmla="*/ 36 w 52"/>
                <a:gd name="T31" fmla="*/ 5 h 16"/>
                <a:gd name="T32" fmla="*/ 33 w 52"/>
                <a:gd name="T33" fmla="*/ 5 h 16"/>
                <a:gd name="T34" fmla="*/ 33 w 52"/>
                <a:gd name="T35" fmla="*/ 5 h 16"/>
                <a:gd name="T36" fmla="*/ 28 w 52"/>
                <a:gd name="T37" fmla="*/ 8 h 16"/>
                <a:gd name="T38" fmla="*/ 28 w 52"/>
                <a:gd name="T39" fmla="*/ 10 h 16"/>
                <a:gd name="T40" fmla="*/ 28 w 52"/>
                <a:gd name="T41" fmla="*/ 10 h 16"/>
                <a:gd name="T42" fmla="*/ 35 w 52"/>
                <a:gd name="T43" fmla="*/ 8 h 16"/>
                <a:gd name="T44" fmla="*/ 35 w 52"/>
                <a:gd name="T45" fmla="*/ 8 h 16"/>
                <a:gd name="T46" fmla="*/ 38 w 52"/>
                <a:gd name="T47" fmla="*/ 6 h 16"/>
                <a:gd name="T48" fmla="*/ 36 w 52"/>
                <a:gd name="T49" fmla="*/ 5 h 16"/>
                <a:gd name="T50" fmla="*/ 52 w 52"/>
                <a:gd name="T51" fmla="*/ 0 h 16"/>
                <a:gd name="T52" fmla="*/ 52 w 52"/>
                <a:gd name="T53" fmla="*/ 0 h 16"/>
                <a:gd name="T54" fmla="*/ 42 w 52"/>
                <a:gd name="T55" fmla="*/ 3 h 16"/>
                <a:gd name="T56" fmla="*/ 42 w 52"/>
                <a:gd name="T57" fmla="*/ 5 h 16"/>
                <a:gd name="T58" fmla="*/ 42 w 52"/>
                <a:gd name="T59" fmla="*/ 5 h 16"/>
                <a:gd name="T60" fmla="*/ 52 w 52"/>
                <a:gd name="T61" fmla="*/ 3 h 16"/>
                <a:gd name="T62" fmla="*/ 52 w 52"/>
                <a:gd name="T6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16">
                  <a:moveTo>
                    <a:pt x="7" y="12"/>
                  </a:moveTo>
                  <a:lnTo>
                    <a:pt x="7" y="12"/>
                  </a:lnTo>
                  <a:lnTo>
                    <a:pt x="0" y="13"/>
                  </a:lnTo>
                  <a:lnTo>
                    <a:pt x="0" y="16"/>
                  </a:lnTo>
                  <a:lnTo>
                    <a:pt x="0" y="16"/>
                  </a:lnTo>
                  <a:lnTo>
                    <a:pt x="7" y="15"/>
                  </a:lnTo>
                  <a:lnTo>
                    <a:pt x="7" y="12"/>
                  </a:lnTo>
                  <a:close/>
                  <a:moveTo>
                    <a:pt x="22" y="9"/>
                  </a:moveTo>
                  <a:lnTo>
                    <a:pt x="22" y="9"/>
                  </a:lnTo>
                  <a:lnTo>
                    <a:pt x="12" y="10"/>
                  </a:lnTo>
                  <a:lnTo>
                    <a:pt x="13" y="13"/>
                  </a:lnTo>
                  <a:lnTo>
                    <a:pt x="13" y="13"/>
                  </a:lnTo>
                  <a:lnTo>
                    <a:pt x="23" y="12"/>
                  </a:lnTo>
                  <a:lnTo>
                    <a:pt x="22" y="9"/>
                  </a:lnTo>
                  <a:close/>
                  <a:moveTo>
                    <a:pt x="36" y="5"/>
                  </a:moveTo>
                  <a:lnTo>
                    <a:pt x="36" y="5"/>
                  </a:lnTo>
                  <a:lnTo>
                    <a:pt x="33" y="5"/>
                  </a:lnTo>
                  <a:lnTo>
                    <a:pt x="33" y="5"/>
                  </a:lnTo>
                  <a:lnTo>
                    <a:pt x="28" y="8"/>
                  </a:lnTo>
                  <a:lnTo>
                    <a:pt x="28" y="10"/>
                  </a:lnTo>
                  <a:lnTo>
                    <a:pt x="28" y="10"/>
                  </a:lnTo>
                  <a:lnTo>
                    <a:pt x="35" y="8"/>
                  </a:lnTo>
                  <a:lnTo>
                    <a:pt x="35" y="8"/>
                  </a:lnTo>
                  <a:lnTo>
                    <a:pt x="38" y="6"/>
                  </a:lnTo>
                  <a:lnTo>
                    <a:pt x="36" y="5"/>
                  </a:lnTo>
                  <a:close/>
                  <a:moveTo>
                    <a:pt x="52" y="0"/>
                  </a:moveTo>
                  <a:lnTo>
                    <a:pt x="52" y="0"/>
                  </a:lnTo>
                  <a:lnTo>
                    <a:pt x="42" y="3"/>
                  </a:lnTo>
                  <a:lnTo>
                    <a:pt x="42" y="5"/>
                  </a:lnTo>
                  <a:lnTo>
                    <a:pt x="42" y="5"/>
                  </a:lnTo>
                  <a:lnTo>
                    <a:pt x="52" y="3"/>
                  </a:lnTo>
                  <a:lnTo>
                    <a:pt x="5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81" name="Freeform 1606"/>
            <p:cNvSpPr>
              <a:spLocks noEditPoints="1"/>
            </p:cNvSpPr>
            <p:nvPr/>
          </p:nvSpPr>
          <p:spPr bwMode="auto">
            <a:xfrm>
              <a:off x="4903788" y="4481942"/>
              <a:ext cx="115888" cy="163513"/>
            </a:xfrm>
            <a:custGeom>
              <a:avLst/>
              <a:gdLst>
                <a:gd name="T0" fmla="*/ 9 w 73"/>
                <a:gd name="T1" fmla="*/ 3 h 103"/>
                <a:gd name="T2" fmla="*/ 0 w 73"/>
                <a:gd name="T3" fmla="*/ 3 h 103"/>
                <a:gd name="T4" fmla="*/ 9 w 73"/>
                <a:gd name="T5" fmla="*/ 6 h 103"/>
                <a:gd name="T6" fmla="*/ 22 w 73"/>
                <a:gd name="T7" fmla="*/ 13 h 103"/>
                <a:gd name="T8" fmla="*/ 19 w 73"/>
                <a:gd name="T9" fmla="*/ 9 h 103"/>
                <a:gd name="T10" fmla="*/ 13 w 73"/>
                <a:gd name="T11" fmla="*/ 9 h 103"/>
                <a:gd name="T12" fmla="*/ 16 w 73"/>
                <a:gd name="T13" fmla="*/ 12 h 103"/>
                <a:gd name="T14" fmla="*/ 22 w 73"/>
                <a:gd name="T15" fmla="*/ 13 h 103"/>
                <a:gd name="T16" fmla="*/ 22 w 73"/>
                <a:gd name="T17" fmla="*/ 29 h 103"/>
                <a:gd name="T18" fmla="*/ 25 w 73"/>
                <a:gd name="T19" fmla="*/ 20 h 103"/>
                <a:gd name="T20" fmla="*/ 25 w 73"/>
                <a:gd name="T21" fmla="*/ 20 h 103"/>
                <a:gd name="T22" fmla="*/ 22 w 73"/>
                <a:gd name="T23" fmla="*/ 19 h 103"/>
                <a:gd name="T24" fmla="*/ 22 w 73"/>
                <a:gd name="T25" fmla="*/ 20 h 103"/>
                <a:gd name="T26" fmla="*/ 22 w 73"/>
                <a:gd name="T27" fmla="*/ 25 h 103"/>
                <a:gd name="T28" fmla="*/ 22 w 73"/>
                <a:gd name="T29" fmla="*/ 29 h 103"/>
                <a:gd name="T30" fmla="*/ 18 w 73"/>
                <a:gd name="T31" fmla="*/ 42 h 103"/>
                <a:gd name="T32" fmla="*/ 18 w 73"/>
                <a:gd name="T33" fmla="*/ 41 h 103"/>
                <a:gd name="T34" fmla="*/ 21 w 73"/>
                <a:gd name="T35" fmla="*/ 33 h 103"/>
                <a:gd name="T36" fmla="*/ 18 w 73"/>
                <a:gd name="T37" fmla="*/ 32 h 103"/>
                <a:gd name="T38" fmla="*/ 15 w 73"/>
                <a:gd name="T39" fmla="*/ 41 h 103"/>
                <a:gd name="T40" fmla="*/ 15 w 73"/>
                <a:gd name="T41" fmla="*/ 42 h 103"/>
                <a:gd name="T42" fmla="*/ 29 w 73"/>
                <a:gd name="T43" fmla="*/ 42 h 103"/>
                <a:gd name="T44" fmla="*/ 28 w 73"/>
                <a:gd name="T45" fmla="*/ 41 h 103"/>
                <a:gd name="T46" fmla="*/ 22 w 73"/>
                <a:gd name="T47" fmla="*/ 42 h 103"/>
                <a:gd name="T48" fmla="*/ 19 w 73"/>
                <a:gd name="T49" fmla="*/ 46 h 103"/>
                <a:gd name="T50" fmla="*/ 23 w 73"/>
                <a:gd name="T51" fmla="*/ 45 h 103"/>
                <a:gd name="T52" fmla="*/ 28 w 73"/>
                <a:gd name="T53" fmla="*/ 44 h 103"/>
                <a:gd name="T54" fmla="*/ 41 w 73"/>
                <a:gd name="T55" fmla="*/ 51 h 103"/>
                <a:gd name="T56" fmla="*/ 34 w 73"/>
                <a:gd name="T57" fmla="*/ 45 h 103"/>
                <a:gd name="T58" fmla="*/ 32 w 73"/>
                <a:gd name="T59" fmla="*/ 46 h 103"/>
                <a:gd name="T60" fmla="*/ 41 w 73"/>
                <a:gd name="T61" fmla="*/ 51 h 103"/>
                <a:gd name="T62" fmla="*/ 51 w 73"/>
                <a:gd name="T63" fmla="*/ 64 h 103"/>
                <a:gd name="T64" fmla="*/ 42 w 73"/>
                <a:gd name="T65" fmla="*/ 57 h 103"/>
                <a:gd name="T66" fmla="*/ 48 w 73"/>
                <a:gd name="T67" fmla="*/ 65 h 103"/>
                <a:gd name="T68" fmla="*/ 58 w 73"/>
                <a:gd name="T69" fmla="*/ 77 h 103"/>
                <a:gd name="T70" fmla="*/ 58 w 73"/>
                <a:gd name="T71" fmla="*/ 77 h 103"/>
                <a:gd name="T72" fmla="*/ 51 w 73"/>
                <a:gd name="T73" fmla="*/ 70 h 103"/>
                <a:gd name="T74" fmla="*/ 55 w 73"/>
                <a:gd name="T75" fmla="*/ 78 h 103"/>
                <a:gd name="T76" fmla="*/ 58 w 73"/>
                <a:gd name="T77" fmla="*/ 77 h 103"/>
                <a:gd name="T78" fmla="*/ 68 w 73"/>
                <a:gd name="T79" fmla="*/ 87 h 103"/>
                <a:gd name="T80" fmla="*/ 61 w 73"/>
                <a:gd name="T81" fmla="*/ 81 h 103"/>
                <a:gd name="T82" fmla="*/ 58 w 73"/>
                <a:gd name="T83" fmla="*/ 83 h 103"/>
                <a:gd name="T84" fmla="*/ 67 w 73"/>
                <a:gd name="T85" fmla="*/ 88 h 103"/>
                <a:gd name="T86" fmla="*/ 73 w 73"/>
                <a:gd name="T87" fmla="*/ 103 h 103"/>
                <a:gd name="T88" fmla="*/ 73 w 73"/>
                <a:gd name="T89" fmla="*/ 97 h 103"/>
                <a:gd name="T90" fmla="*/ 70 w 73"/>
                <a:gd name="T91" fmla="*/ 93 h 103"/>
                <a:gd name="T92" fmla="*/ 70 w 73"/>
                <a:gd name="T93" fmla="*/ 97 h 103"/>
                <a:gd name="T94" fmla="*/ 73 w 73"/>
                <a:gd name="T95"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3" h="103">
                  <a:moveTo>
                    <a:pt x="9" y="3"/>
                  </a:moveTo>
                  <a:lnTo>
                    <a:pt x="9" y="3"/>
                  </a:lnTo>
                  <a:lnTo>
                    <a:pt x="0" y="0"/>
                  </a:lnTo>
                  <a:lnTo>
                    <a:pt x="0" y="3"/>
                  </a:lnTo>
                  <a:lnTo>
                    <a:pt x="0" y="3"/>
                  </a:lnTo>
                  <a:lnTo>
                    <a:pt x="9" y="6"/>
                  </a:lnTo>
                  <a:lnTo>
                    <a:pt x="9" y="3"/>
                  </a:lnTo>
                  <a:close/>
                  <a:moveTo>
                    <a:pt x="22" y="13"/>
                  </a:moveTo>
                  <a:lnTo>
                    <a:pt x="22" y="13"/>
                  </a:lnTo>
                  <a:lnTo>
                    <a:pt x="19" y="9"/>
                  </a:lnTo>
                  <a:lnTo>
                    <a:pt x="15" y="6"/>
                  </a:lnTo>
                  <a:lnTo>
                    <a:pt x="13" y="9"/>
                  </a:lnTo>
                  <a:lnTo>
                    <a:pt x="13" y="9"/>
                  </a:lnTo>
                  <a:lnTo>
                    <a:pt x="16" y="12"/>
                  </a:lnTo>
                  <a:lnTo>
                    <a:pt x="19" y="15"/>
                  </a:lnTo>
                  <a:lnTo>
                    <a:pt x="22" y="13"/>
                  </a:lnTo>
                  <a:close/>
                  <a:moveTo>
                    <a:pt x="22" y="29"/>
                  </a:moveTo>
                  <a:lnTo>
                    <a:pt x="22" y="29"/>
                  </a:lnTo>
                  <a:lnTo>
                    <a:pt x="23" y="25"/>
                  </a:lnTo>
                  <a:lnTo>
                    <a:pt x="25" y="20"/>
                  </a:lnTo>
                  <a:lnTo>
                    <a:pt x="25" y="20"/>
                  </a:lnTo>
                  <a:lnTo>
                    <a:pt x="25" y="20"/>
                  </a:lnTo>
                  <a:lnTo>
                    <a:pt x="25" y="19"/>
                  </a:lnTo>
                  <a:lnTo>
                    <a:pt x="22" y="19"/>
                  </a:lnTo>
                  <a:lnTo>
                    <a:pt x="22" y="20"/>
                  </a:lnTo>
                  <a:lnTo>
                    <a:pt x="22" y="20"/>
                  </a:lnTo>
                  <a:lnTo>
                    <a:pt x="22" y="20"/>
                  </a:lnTo>
                  <a:lnTo>
                    <a:pt x="22" y="25"/>
                  </a:lnTo>
                  <a:lnTo>
                    <a:pt x="21" y="28"/>
                  </a:lnTo>
                  <a:lnTo>
                    <a:pt x="22" y="29"/>
                  </a:lnTo>
                  <a:close/>
                  <a:moveTo>
                    <a:pt x="18" y="42"/>
                  </a:moveTo>
                  <a:lnTo>
                    <a:pt x="18" y="42"/>
                  </a:lnTo>
                  <a:lnTo>
                    <a:pt x="18" y="41"/>
                  </a:lnTo>
                  <a:lnTo>
                    <a:pt x="18" y="41"/>
                  </a:lnTo>
                  <a:lnTo>
                    <a:pt x="18" y="36"/>
                  </a:lnTo>
                  <a:lnTo>
                    <a:pt x="21" y="33"/>
                  </a:lnTo>
                  <a:lnTo>
                    <a:pt x="18" y="32"/>
                  </a:lnTo>
                  <a:lnTo>
                    <a:pt x="18" y="32"/>
                  </a:lnTo>
                  <a:lnTo>
                    <a:pt x="16" y="36"/>
                  </a:lnTo>
                  <a:lnTo>
                    <a:pt x="15" y="41"/>
                  </a:lnTo>
                  <a:lnTo>
                    <a:pt x="15" y="42"/>
                  </a:lnTo>
                  <a:lnTo>
                    <a:pt x="15" y="42"/>
                  </a:lnTo>
                  <a:lnTo>
                    <a:pt x="18" y="42"/>
                  </a:lnTo>
                  <a:close/>
                  <a:moveTo>
                    <a:pt x="29" y="42"/>
                  </a:moveTo>
                  <a:lnTo>
                    <a:pt x="29" y="42"/>
                  </a:lnTo>
                  <a:lnTo>
                    <a:pt x="28" y="41"/>
                  </a:lnTo>
                  <a:lnTo>
                    <a:pt x="28" y="41"/>
                  </a:lnTo>
                  <a:lnTo>
                    <a:pt x="22" y="42"/>
                  </a:lnTo>
                  <a:lnTo>
                    <a:pt x="19" y="45"/>
                  </a:lnTo>
                  <a:lnTo>
                    <a:pt x="19" y="46"/>
                  </a:lnTo>
                  <a:lnTo>
                    <a:pt x="19" y="46"/>
                  </a:lnTo>
                  <a:lnTo>
                    <a:pt x="23" y="45"/>
                  </a:lnTo>
                  <a:lnTo>
                    <a:pt x="28" y="44"/>
                  </a:lnTo>
                  <a:lnTo>
                    <a:pt x="28" y="44"/>
                  </a:lnTo>
                  <a:lnTo>
                    <a:pt x="29" y="42"/>
                  </a:lnTo>
                  <a:close/>
                  <a:moveTo>
                    <a:pt x="41" y="51"/>
                  </a:moveTo>
                  <a:lnTo>
                    <a:pt x="41" y="51"/>
                  </a:lnTo>
                  <a:lnTo>
                    <a:pt x="34" y="45"/>
                  </a:lnTo>
                  <a:lnTo>
                    <a:pt x="32" y="46"/>
                  </a:lnTo>
                  <a:lnTo>
                    <a:pt x="32" y="46"/>
                  </a:lnTo>
                  <a:lnTo>
                    <a:pt x="39" y="54"/>
                  </a:lnTo>
                  <a:lnTo>
                    <a:pt x="41" y="51"/>
                  </a:lnTo>
                  <a:close/>
                  <a:moveTo>
                    <a:pt x="51" y="64"/>
                  </a:moveTo>
                  <a:lnTo>
                    <a:pt x="51" y="64"/>
                  </a:lnTo>
                  <a:lnTo>
                    <a:pt x="45" y="55"/>
                  </a:lnTo>
                  <a:lnTo>
                    <a:pt x="42" y="57"/>
                  </a:lnTo>
                  <a:lnTo>
                    <a:pt x="42" y="57"/>
                  </a:lnTo>
                  <a:lnTo>
                    <a:pt x="48" y="65"/>
                  </a:lnTo>
                  <a:lnTo>
                    <a:pt x="51" y="64"/>
                  </a:lnTo>
                  <a:close/>
                  <a:moveTo>
                    <a:pt x="58" y="77"/>
                  </a:moveTo>
                  <a:lnTo>
                    <a:pt x="58" y="77"/>
                  </a:lnTo>
                  <a:lnTo>
                    <a:pt x="58" y="77"/>
                  </a:lnTo>
                  <a:lnTo>
                    <a:pt x="54" y="68"/>
                  </a:lnTo>
                  <a:lnTo>
                    <a:pt x="51" y="70"/>
                  </a:lnTo>
                  <a:lnTo>
                    <a:pt x="51" y="70"/>
                  </a:lnTo>
                  <a:lnTo>
                    <a:pt x="55" y="78"/>
                  </a:lnTo>
                  <a:lnTo>
                    <a:pt x="55" y="78"/>
                  </a:lnTo>
                  <a:lnTo>
                    <a:pt x="58" y="77"/>
                  </a:lnTo>
                  <a:close/>
                  <a:moveTo>
                    <a:pt x="68" y="87"/>
                  </a:moveTo>
                  <a:lnTo>
                    <a:pt x="68" y="87"/>
                  </a:lnTo>
                  <a:lnTo>
                    <a:pt x="64" y="84"/>
                  </a:lnTo>
                  <a:lnTo>
                    <a:pt x="61" y="81"/>
                  </a:lnTo>
                  <a:lnTo>
                    <a:pt x="58" y="83"/>
                  </a:lnTo>
                  <a:lnTo>
                    <a:pt x="58" y="83"/>
                  </a:lnTo>
                  <a:lnTo>
                    <a:pt x="63" y="86"/>
                  </a:lnTo>
                  <a:lnTo>
                    <a:pt x="67" y="88"/>
                  </a:lnTo>
                  <a:lnTo>
                    <a:pt x="68" y="87"/>
                  </a:lnTo>
                  <a:close/>
                  <a:moveTo>
                    <a:pt x="73" y="103"/>
                  </a:moveTo>
                  <a:lnTo>
                    <a:pt x="73" y="103"/>
                  </a:lnTo>
                  <a:lnTo>
                    <a:pt x="73" y="97"/>
                  </a:lnTo>
                  <a:lnTo>
                    <a:pt x="71" y="91"/>
                  </a:lnTo>
                  <a:lnTo>
                    <a:pt x="70" y="93"/>
                  </a:lnTo>
                  <a:lnTo>
                    <a:pt x="70" y="93"/>
                  </a:lnTo>
                  <a:lnTo>
                    <a:pt x="70" y="97"/>
                  </a:lnTo>
                  <a:lnTo>
                    <a:pt x="71" y="103"/>
                  </a:lnTo>
                  <a:lnTo>
                    <a:pt x="73" y="1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82" name="Freeform 1607"/>
            <p:cNvSpPr>
              <a:spLocks noEditPoints="1"/>
            </p:cNvSpPr>
            <p:nvPr/>
          </p:nvSpPr>
          <p:spPr bwMode="auto">
            <a:xfrm>
              <a:off x="4656138" y="4172379"/>
              <a:ext cx="57150" cy="422275"/>
            </a:xfrm>
            <a:custGeom>
              <a:avLst/>
              <a:gdLst>
                <a:gd name="T0" fmla="*/ 13 w 36"/>
                <a:gd name="T1" fmla="*/ 0 h 266"/>
                <a:gd name="T2" fmla="*/ 13 w 36"/>
                <a:gd name="T3" fmla="*/ 10 h 266"/>
                <a:gd name="T4" fmla="*/ 20 w 36"/>
                <a:gd name="T5" fmla="*/ 23 h 266"/>
                <a:gd name="T6" fmla="*/ 14 w 36"/>
                <a:gd name="T7" fmla="*/ 14 h 266"/>
                <a:gd name="T8" fmla="*/ 24 w 36"/>
                <a:gd name="T9" fmla="*/ 37 h 266"/>
                <a:gd name="T10" fmla="*/ 19 w 36"/>
                <a:gd name="T11" fmla="*/ 29 h 266"/>
                <a:gd name="T12" fmla="*/ 24 w 36"/>
                <a:gd name="T13" fmla="*/ 37 h 266"/>
                <a:gd name="T14" fmla="*/ 23 w 36"/>
                <a:gd name="T15" fmla="*/ 47 h 266"/>
                <a:gd name="T16" fmla="*/ 23 w 36"/>
                <a:gd name="T17" fmla="*/ 43 h 266"/>
                <a:gd name="T18" fmla="*/ 22 w 36"/>
                <a:gd name="T19" fmla="*/ 53 h 266"/>
                <a:gd name="T20" fmla="*/ 16 w 36"/>
                <a:gd name="T21" fmla="*/ 62 h 266"/>
                <a:gd name="T22" fmla="*/ 17 w 36"/>
                <a:gd name="T23" fmla="*/ 56 h 266"/>
                <a:gd name="T24" fmla="*/ 13 w 36"/>
                <a:gd name="T25" fmla="*/ 60 h 266"/>
                <a:gd name="T26" fmla="*/ 14 w 36"/>
                <a:gd name="T27" fmla="*/ 81 h 266"/>
                <a:gd name="T28" fmla="*/ 11 w 36"/>
                <a:gd name="T29" fmla="*/ 71 h 266"/>
                <a:gd name="T30" fmla="*/ 14 w 36"/>
                <a:gd name="T31" fmla="*/ 81 h 266"/>
                <a:gd name="T32" fmla="*/ 16 w 36"/>
                <a:gd name="T33" fmla="*/ 85 h 266"/>
                <a:gd name="T34" fmla="*/ 14 w 36"/>
                <a:gd name="T35" fmla="*/ 97 h 266"/>
                <a:gd name="T36" fmla="*/ 19 w 36"/>
                <a:gd name="T37" fmla="*/ 110 h 266"/>
                <a:gd name="T38" fmla="*/ 14 w 36"/>
                <a:gd name="T39" fmla="*/ 101 h 266"/>
                <a:gd name="T40" fmla="*/ 16 w 36"/>
                <a:gd name="T41" fmla="*/ 111 h 266"/>
                <a:gd name="T42" fmla="*/ 13 w 36"/>
                <a:gd name="T43" fmla="*/ 126 h 266"/>
                <a:gd name="T44" fmla="*/ 14 w 36"/>
                <a:gd name="T45" fmla="*/ 115 h 266"/>
                <a:gd name="T46" fmla="*/ 6 w 36"/>
                <a:gd name="T47" fmla="*/ 139 h 266"/>
                <a:gd name="T48" fmla="*/ 7 w 36"/>
                <a:gd name="T49" fmla="*/ 128 h 266"/>
                <a:gd name="T50" fmla="*/ 6 w 36"/>
                <a:gd name="T51" fmla="*/ 139 h 266"/>
                <a:gd name="T52" fmla="*/ 3 w 36"/>
                <a:gd name="T53" fmla="*/ 146 h 266"/>
                <a:gd name="T54" fmla="*/ 1 w 36"/>
                <a:gd name="T55" fmla="*/ 143 h 266"/>
                <a:gd name="T56" fmla="*/ 0 w 36"/>
                <a:gd name="T57" fmla="*/ 146 h 266"/>
                <a:gd name="T58" fmla="*/ 4 w 36"/>
                <a:gd name="T59" fmla="*/ 152 h 266"/>
                <a:gd name="T60" fmla="*/ 7 w 36"/>
                <a:gd name="T61" fmla="*/ 156 h 266"/>
                <a:gd name="T62" fmla="*/ 11 w 36"/>
                <a:gd name="T63" fmla="*/ 166 h 266"/>
                <a:gd name="T64" fmla="*/ 24 w 36"/>
                <a:gd name="T65" fmla="*/ 175 h 266"/>
                <a:gd name="T66" fmla="*/ 17 w 36"/>
                <a:gd name="T67" fmla="*/ 168 h 266"/>
                <a:gd name="T68" fmla="*/ 22 w 36"/>
                <a:gd name="T69" fmla="*/ 175 h 266"/>
                <a:gd name="T70" fmla="*/ 24 w 36"/>
                <a:gd name="T71" fmla="*/ 175 h 266"/>
                <a:gd name="T72" fmla="*/ 29 w 36"/>
                <a:gd name="T73" fmla="*/ 184 h 266"/>
                <a:gd name="T74" fmla="*/ 26 w 36"/>
                <a:gd name="T75" fmla="*/ 181 h 266"/>
                <a:gd name="T76" fmla="*/ 30 w 36"/>
                <a:gd name="T77" fmla="*/ 205 h 266"/>
                <a:gd name="T78" fmla="*/ 30 w 36"/>
                <a:gd name="T79" fmla="*/ 195 h 266"/>
                <a:gd name="T80" fmla="*/ 27 w 36"/>
                <a:gd name="T81" fmla="*/ 195 h 266"/>
                <a:gd name="T82" fmla="*/ 35 w 36"/>
                <a:gd name="T83" fmla="*/ 218 h 266"/>
                <a:gd name="T84" fmla="*/ 30 w 36"/>
                <a:gd name="T85" fmla="*/ 210 h 266"/>
                <a:gd name="T86" fmla="*/ 30 w 36"/>
                <a:gd name="T87" fmla="*/ 215 h 266"/>
                <a:gd name="T88" fmla="*/ 22 w 36"/>
                <a:gd name="T89" fmla="*/ 221 h 266"/>
                <a:gd name="T90" fmla="*/ 22 w 36"/>
                <a:gd name="T91" fmla="*/ 218 h 266"/>
                <a:gd name="T92" fmla="*/ 16 w 36"/>
                <a:gd name="T93" fmla="*/ 227 h 266"/>
                <a:gd name="T94" fmla="*/ 14 w 36"/>
                <a:gd name="T95" fmla="*/ 218 h 266"/>
                <a:gd name="T96" fmla="*/ 13 w 36"/>
                <a:gd name="T97" fmla="*/ 220 h 266"/>
                <a:gd name="T98" fmla="*/ 16 w 36"/>
                <a:gd name="T99" fmla="*/ 218 h 266"/>
                <a:gd name="T100" fmla="*/ 16 w 36"/>
                <a:gd name="T101" fmla="*/ 220 h 266"/>
                <a:gd name="T102" fmla="*/ 14 w 36"/>
                <a:gd name="T103" fmla="*/ 218 h 266"/>
                <a:gd name="T104" fmla="*/ 13 w 36"/>
                <a:gd name="T105" fmla="*/ 221 h 266"/>
                <a:gd name="T106" fmla="*/ 16 w 36"/>
                <a:gd name="T107" fmla="*/ 228 h 266"/>
                <a:gd name="T108" fmla="*/ 19 w 36"/>
                <a:gd name="T109" fmla="*/ 236 h 266"/>
                <a:gd name="T110" fmla="*/ 14 w 36"/>
                <a:gd name="T111" fmla="*/ 233 h 266"/>
                <a:gd name="T112" fmla="*/ 23 w 36"/>
                <a:gd name="T113" fmla="*/ 240 h 266"/>
                <a:gd name="T114" fmla="*/ 30 w 36"/>
                <a:gd name="T115" fmla="*/ 247 h 266"/>
                <a:gd name="T116" fmla="*/ 24 w 36"/>
                <a:gd name="T117" fmla="*/ 244 h 266"/>
                <a:gd name="T118" fmla="*/ 35 w 36"/>
                <a:gd name="T119" fmla="*/ 266 h 266"/>
                <a:gd name="T120" fmla="*/ 36 w 36"/>
                <a:gd name="T121" fmla="*/ 260 h 266"/>
                <a:gd name="T122" fmla="*/ 33 w 36"/>
                <a:gd name="T123" fmla="*/ 256 h 266"/>
                <a:gd name="T124" fmla="*/ 33 w 36"/>
                <a:gd name="T125"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 h="266">
                  <a:moveTo>
                    <a:pt x="14" y="8"/>
                  </a:moveTo>
                  <a:lnTo>
                    <a:pt x="14" y="8"/>
                  </a:lnTo>
                  <a:lnTo>
                    <a:pt x="13" y="0"/>
                  </a:lnTo>
                  <a:lnTo>
                    <a:pt x="10" y="0"/>
                  </a:lnTo>
                  <a:lnTo>
                    <a:pt x="10" y="0"/>
                  </a:lnTo>
                  <a:lnTo>
                    <a:pt x="13" y="10"/>
                  </a:lnTo>
                  <a:lnTo>
                    <a:pt x="14" y="8"/>
                  </a:lnTo>
                  <a:close/>
                  <a:moveTo>
                    <a:pt x="20" y="23"/>
                  </a:moveTo>
                  <a:lnTo>
                    <a:pt x="20" y="23"/>
                  </a:lnTo>
                  <a:lnTo>
                    <a:pt x="16" y="14"/>
                  </a:lnTo>
                  <a:lnTo>
                    <a:pt x="14" y="14"/>
                  </a:lnTo>
                  <a:lnTo>
                    <a:pt x="14" y="14"/>
                  </a:lnTo>
                  <a:lnTo>
                    <a:pt x="17" y="24"/>
                  </a:lnTo>
                  <a:lnTo>
                    <a:pt x="20" y="23"/>
                  </a:lnTo>
                  <a:close/>
                  <a:moveTo>
                    <a:pt x="24" y="37"/>
                  </a:moveTo>
                  <a:lnTo>
                    <a:pt x="24" y="37"/>
                  </a:lnTo>
                  <a:lnTo>
                    <a:pt x="22" y="27"/>
                  </a:lnTo>
                  <a:lnTo>
                    <a:pt x="19" y="29"/>
                  </a:lnTo>
                  <a:lnTo>
                    <a:pt x="19" y="29"/>
                  </a:lnTo>
                  <a:lnTo>
                    <a:pt x="23" y="39"/>
                  </a:lnTo>
                  <a:lnTo>
                    <a:pt x="24" y="37"/>
                  </a:lnTo>
                  <a:close/>
                  <a:moveTo>
                    <a:pt x="22" y="53"/>
                  </a:moveTo>
                  <a:lnTo>
                    <a:pt x="22" y="53"/>
                  </a:lnTo>
                  <a:lnTo>
                    <a:pt x="23" y="47"/>
                  </a:lnTo>
                  <a:lnTo>
                    <a:pt x="24" y="43"/>
                  </a:lnTo>
                  <a:lnTo>
                    <a:pt x="23" y="43"/>
                  </a:lnTo>
                  <a:lnTo>
                    <a:pt x="23" y="43"/>
                  </a:lnTo>
                  <a:lnTo>
                    <a:pt x="22" y="47"/>
                  </a:lnTo>
                  <a:lnTo>
                    <a:pt x="19" y="52"/>
                  </a:lnTo>
                  <a:lnTo>
                    <a:pt x="22" y="53"/>
                  </a:lnTo>
                  <a:close/>
                  <a:moveTo>
                    <a:pt x="14" y="66"/>
                  </a:moveTo>
                  <a:lnTo>
                    <a:pt x="14" y="66"/>
                  </a:lnTo>
                  <a:lnTo>
                    <a:pt x="16" y="62"/>
                  </a:lnTo>
                  <a:lnTo>
                    <a:pt x="16" y="62"/>
                  </a:lnTo>
                  <a:lnTo>
                    <a:pt x="19" y="58"/>
                  </a:lnTo>
                  <a:lnTo>
                    <a:pt x="17" y="56"/>
                  </a:lnTo>
                  <a:lnTo>
                    <a:pt x="17" y="56"/>
                  </a:lnTo>
                  <a:lnTo>
                    <a:pt x="13" y="60"/>
                  </a:lnTo>
                  <a:lnTo>
                    <a:pt x="13" y="60"/>
                  </a:lnTo>
                  <a:lnTo>
                    <a:pt x="11" y="65"/>
                  </a:lnTo>
                  <a:lnTo>
                    <a:pt x="14" y="66"/>
                  </a:lnTo>
                  <a:close/>
                  <a:moveTo>
                    <a:pt x="14" y="81"/>
                  </a:moveTo>
                  <a:lnTo>
                    <a:pt x="14" y="81"/>
                  </a:lnTo>
                  <a:lnTo>
                    <a:pt x="14" y="71"/>
                  </a:lnTo>
                  <a:lnTo>
                    <a:pt x="11" y="71"/>
                  </a:lnTo>
                  <a:lnTo>
                    <a:pt x="11" y="71"/>
                  </a:lnTo>
                  <a:lnTo>
                    <a:pt x="13" y="81"/>
                  </a:lnTo>
                  <a:lnTo>
                    <a:pt x="14" y="81"/>
                  </a:lnTo>
                  <a:close/>
                  <a:moveTo>
                    <a:pt x="17" y="95"/>
                  </a:moveTo>
                  <a:lnTo>
                    <a:pt x="17" y="95"/>
                  </a:lnTo>
                  <a:lnTo>
                    <a:pt x="16" y="85"/>
                  </a:lnTo>
                  <a:lnTo>
                    <a:pt x="13" y="86"/>
                  </a:lnTo>
                  <a:lnTo>
                    <a:pt x="13" y="86"/>
                  </a:lnTo>
                  <a:lnTo>
                    <a:pt x="14" y="97"/>
                  </a:lnTo>
                  <a:lnTo>
                    <a:pt x="17" y="95"/>
                  </a:lnTo>
                  <a:close/>
                  <a:moveTo>
                    <a:pt x="19" y="111"/>
                  </a:moveTo>
                  <a:lnTo>
                    <a:pt x="19" y="110"/>
                  </a:lnTo>
                  <a:lnTo>
                    <a:pt x="19" y="110"/>
                  </a:lnTo>
                  <a:lnTo>
                    <a:pt x="17" y="101"/>
                  </a:lnTo>
                  <a:lnTo>
                    <a:pt x="14" y="101"/>
                  </a:lnTo>
                  <a:lnTo>
                    <a:pt x="14" y="101"/>
                  </a:lnTo>
                  <a:lnTo>
                    <a:pt x="16" y="110"/>
                  </a:lnTo>
                  <a:lnTo>
                    <a:pt x="16" y="111"/>
                  </a:lnTo>
                  <a:lnTo>
                    <a:pt x="19" y="111"/>
                  </a:lnTo>
                  <a:close/>
                  <a:moveTo>
                    <a:pt x="13" y="126"/>
                  </a:moveTo>
                  <a:lnTo>
                    <a:pt x="13" y="126"/>
                  </a:lnTo>
                  <a:lnTo>
                    <a:pt x="17" y="117"/>
                  </a:lnTo>
                  <a:lnTo>
                    <a:pt x="14" y="115"/>
                  </a:lnTo>
                  <a:lnTo>
                    <a:pt x="14" y="115"/>
                  </a:lnTo>
                  <a:lnTo>
                    <a:pt x="10" y="124"/>
                  </a:lnTo>
                  <a:lnTo>
                    <a:pt x="13" y="126"/>
                  </a:lnTo>
                  <a:close/>
                  <a:moveTo>
                    <a:pt x="6" y="139"/>
                  </a:moveTo>
                  <a:lnTo>
                    <a:pt x="6" y="139"/>
                  </a:lnTo>
                  <a:lnTo>
                    <a:pt x="10" y="130"/>
                  </a:lnTo>
                  <a:lnTo>
                    <a:pt x="7" y="128"/>
                  </a:lnTo>
                  <a:lnTo>
                    <a:pt x="7" y="128"/>
                  </a:lnTo>
                  <a:lnTo>
                    <a:pt x="3" y="139"/>
                  </a:lnTo>
                  <a:lnTo>
                    <a:pt x="6" y="139"/>
                  </a:lnTo>
                  <a:close/>
                  <a:moveTo>
                    <a:pt x="4" y="152"/>
                  </a:moveTo>
                  <a:lnTo>
                    <a:pt x="4" y="152"/>
                  </a:lnTo>
                  <a:lnTo>
                    <a:pt x="3" y="146"/>
                  </a:lnTo>
                  <a:lnTo>
                    <a:pt x="3" y="146"/>
                  </a:lnTo>
                  <a:lnTo>
                    <a:pt x="4" y="143"/>
                  </a:lnTo>
                  <a:lnTo>
                    <a:pt x="1" y="143"/>
                  </a:lnTo>
                  <a:lnTo>
                    <a:pt x="1" y="143"/>
                  </a:lnTo>
                  <a:lnTo>
                    <a:pt x="0" y="146"/>
                  </a:lnTo>
                  <a:lnTo>
                    <a:pt x="0" y="146"/>
                  </a:lnTo>
                  <a:lnTo>
                    <a:pt x="1" y="150"/>
                  </a:lnTo>
                  <a:lnTo>
                    <a:pt x="3" y="153"/>
                  </a:lnTo>
                  <a:lnTo>
                    <a:pt x="4" y="152"/>
                  </a:lnTo>
                  <a:close/>
                  <a:moveTo>
                    <a:pt x="14" y="165"/>
                  </a:moveTo>
                  <a:lnTo>
                    <a:pt x="14" y="165"/>
                  </a:lnTo>
                  <a:lnTo>
                    <a:pt x="7" y="156"/>
                  </a:lnTo>
                  <a:lnTo>
                    <a:pt x="6" y="157"/>
                  </a:lnTo>
                  <a:lnTo>
                    <a:pt x="6" y="157"/>
                  </a:lnTo>
                  <a:lnTo>
                    <a:pt x="11" y="166"/>
                  </a:lnTo>
                  <a:lnTo>
                    <a:pt x="14" y="165"/>
                  </a:lnTo>
                  <a:close/>
                  <a:moveTo>
                    <a:pt x="24" y="175"/>
                  </a:moveTo>
                  <a:lnTo>
                    <a:pt x="24" y="175"/>
                  </a:lnTo>
                  <a:lnTo>
                    <a:pt x="23" y="172"/>
                  </a:lnTo>
                  <a:lnTo>
                    <a:pt x="23" y="172"/>
                  </a:lnTo>
                  <a:lnTo>
                    <a:pt x="17" y="168"/>
                  </a:lnTo>
                  <a:lnTo>
                    <a:pt x="16" y="169"/>
                  </a:lnTo>
                  <a:lnTo>
                    <a:pt x="16" y="169"/>
                  </a:lnTo>
                  <a:lnTo>
                    <a:pt x="22" y="175"/>
                  </a:lnTo>
                  <a:lnTo>
                    <a:pt x="22" y="175"/>
                  </a:lnTo>
                  <a:lnTo>
                    <a:pt x="23" y="176"/>
                  </a:lnTo>
                  <a:lnTo>
                    <a:pt x="24" y="175"/>
                  </a:lnTo>
                  <a:close/>
                  <a:moveTo>
                    <a:pt x="30" y="189"/>
                  </a:moveTo>
                  <a:lnTo>
                    <a:pt x="30" y="189"/>
                  </a:lnTo>
                  <a:lnTo>
                    <a:pt x="29" y="184"/>
                  </a:lnTo>
                  <a:lnTo>
                    <a:pt x="27" y="179"/>
                  </a:lnTo>
                  <a:lnTo>
                    <a:pt x="26" y="181"/>
                  </a:lnTo>
                  <a:lnTo>
                    <a:pt x="26" y="181"/>
                  </a:lnTo>
                  <a:lnTo>
                    <a:pt x="27" y="189"/>
                  </a:lnTo>
                  <a:lnTo>
                    <a:pt x="30" y="189"/>
                  </a:lnTo>
                  <a:close/>
                  <a:moveTo>
                    <a:pt x="30" y="205"/>
                  </a:moveTo>
                  <a:lnTo>
                    <a:pt x="30" y="205"/>
                  </a:lnTo>
                  <a:lnTo>
                    <a:pt x="30" y="195"/>
                  </a:lnTo>
                  <a:lnTo>
                    <a:pt x="30" y="195"/>
                  </a:lnTo>
                  <a:lnTo>
                    <a:pt x="27" y="195"/>
                  </a:lnTo>
                  <a:lnTo>
                    <a:pt x="27" y="195"/>
                  </a:lnTo>
                  <a:lnTo>
                    <a:pt x="27" y="195"/>
                  </a:lnTo>
                  <a:lnTo>
                    <a:pt x="27" y="205"/>
                  </a:lnTo>
                  <a:lnTo>
                    <a:pt x="30" y="205"/>
                  </a:lnTo>
                  <a:close/>
                  <a:moveTo>
                    <a:pt x="35" y="218"/>
                  </a:moveTo>
                  <a:lnTo>
                    <a:pt x="35" y="218"/>
                  </a:lnTo>
                  <a:lnTo>
                    <a:pt x="32" y="215"/>
                  </a:lnTo>
                  <a:lnTo>
                    <a:pt x="30" y="210"/>
                  </a:lnTo>
                  <a:lnTo>
                    <a:pt x="27" y="210"/>
                  </a:lnTo>
                  <a:lnTo>
                    <a:pt x="27" y="210"/>
                  </a:lnTo>
                  <a:lnTo>
                    <a:pt x="30" y="215"/>
                  </a:lnTo>
                  <a:lnTo>
                    <a:pt x="33" y="220"/>
                  </a:lnTo>
                  <a:lnTo>
                    <a:pt x="35" y="218"/>
                  </a:lnTo>
                  <a:close/>
                  <a:moveTo>
                    <a:pt x="22" y="221"/>
                  </a:moveTo>
                  <a:lnTo>
                    <a:pt x="32" y="221"/>
                  </a:lnTo>
                  <a:lnTo>
                    <a:pt x="32" y="218"/>
                  </a:lnTo>
                  <a:lnTo>
                    <a:pt x="22" y="218"/>
                  </a:lnTo>
                  <a:lnTo>
                    <a:pt x="22" y="221"/>
                  </a:lnTo>
                  <a:close/>
                  <a:moveTo>
                    <a:pt x="16" y="228"/>
                  </a:moveTo>
                  <a:lnTo>
                    <a:pt x="16" y="227"/>
                  </a:lnTo>
                  <a:lnTo>
                    <a:pt x="16" y="220"/>
                  </a:lnTo>
                  <a:lnTo>
                    <a:pt x="16" y="218"/>
                  </a:lnTo>
                  <a:lnTo>
                    <a:pt x="14" y="218"/>
                  </a:lnTo>
                  <a:lnTo>
                    <a:pt x="13" y="218"/>
                  </a:lnTo>
                  <a:lnTo>
                    <a:pt x="13" y="220"/>
                  </a:lnTo>
                  <a:lnTo>
                    <a:pt x="13" y="220"/>
                  </a:lnTo>
                  <a:lnTo>
                    <a:pt x="13" y="221"/>
                  </a:lnTo>
                  <a:lnTo>
                    <a:pt x="16" y="221"/>
                  </a:lnTo>
                  <a:lnTo>
                    <a:pt x="16" y="218"/>
                  </a:lnTo>
                  <a:lnTo>
                    <a:pt x="14" y="218"/>
                  </a:lnTo>
                  <a:lnTo>
                    <a:pt x="14" y="220"/>
                  </a:lnTo>
                  <a:lnTo>
                    <a:pt x="16" y="220"/>
                  </a:lnTo>
                  <a:lnTo>
                    <a:pt x="16" y="220"/>
                  </a:lnTo>
                  <a:lnTo>
                    <a:pt x="16" y="218"/>
                  </a:lnTo>
                  <a:lnTo>
                    <a:pt x="14" y="218"/>
                  </a:lnTo>
                  <a:lnTo>
                    <a:pt x="13" y="218"/>
                  </a:lnTo>
                  <a:lnTo>
                    <a:pt x="13" y="220"/>
                  </a:lnTo>
                  <a:lnTo>
                    <a:pt x="13" y="221"/>
                  </a:lnTo>
                  <a:lnTo>
                    <a:pt x="13" y="227"/>
                  </a:lnTo>
                  <a:lnTo>
                    <a:pt x="13" y="228"/>
                  </a:lnTo>
                  <a:lnTo>
                    <a:pt x="16" y="228"/>
                  </a:lnTo>
                  <a:close/>
                  <a:moveTo>
                    <a:pt x="23" y="240"/>
                  </a:moveTo>
                  <a:lnTo>
                    <a:pt x="23" y="240"/>
                  </a:lnTo>
                  <a:lnTo>
                    <a:pt x="19" y="236"/>
                  </a:lnTo>
                  <a:lnTo>
                    <a:pt x="17" y="233"/>
                  </a:lnTo>
                  <a:lnTo>
                    <a:pt x="14" y="233"/>
                  </a:lnTo>
                  <a:lnTo>
                    <a:pt x="14" y="233"/>
                  </a:lnTo>
                  <a:lnTo>
                    <a:pt x="17" y="237"/>
                  </a:lnTo>
                  <a:lnTo>
                    <a:pt x="22" y="241"/>
                  </a:lnTo>
                  <a:lnTo>
                    <a:pt x="23" y="240"/>
                  </a:lnTo>
                  <a:close/>
                  <a:moveTo>
                    <a:pt x="33" y="252"/>
                  </a:moveTo>
                  <a:lnTo>
                    <a:pt x="33" y="252"/>
                  </a:lnTo>
                  <a:lnTo>
                    <a:pt x="30" y="247"/>
                  </a:lnTo>
                  <a:lnTo>
                    <a:pt x="27" y="243"/>
                  </a:lnTo>
                  <a:lnTo>
                    <a:pt x="24" y="244"/>
                  </a:lnTo>
                  <a:lnTo>
                    <a:pt x="24" y="244"/>
                  </a:lnTo>
                  <a:lnTo>
                    <a:pt x="32" y="253"/>
                  </a:lnTo>
                  <a:lnTo>
                    <a:pt x="33" y="252"/>
                  </a:lnTo>
                  <a:close/>
                  <a:moveTo>
                    <a:pt x="35" y="266"/>
                  </a:moveTo>
                  <a:lnTo>
                    <a:pt x="35" y="266"/>
                  </a:lnTo>
                  <a:lnTo>
                    <a:pt x="36" y="260"/>
                  </a:lnTo>
                  <a:lnTo>
                    <a:pt x="36" y="260"/>
                  </a:lnTo>
                  <a:lnTo>
                    <a:pt x="36" y="256"/>
                  </a:lnTo>
                  <a:lnTo>
                    <a:pt x="33" y="256"/>
                  </a:lnTo>
                  <a:lnTo>
                    <a:pt x="33" y="256"/>
                  </a:lnTo>
                  <a:lnTo>
                    <a:pt x="33" y="260"/>
                  </a:lnTo>
                  <a:lnTo>
                    <a:pt x="33" y="260"/>
                  </a:lnTo>
                  <a:lnTo>
                    <a:pt x="33" y="266"/>
                  </a:lnTo>
                  <a:lnTo>
                    <a:pt x="35" y="2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83" name="Freeform 1608"/>
            <p:cNvSpPr>
              <a:spLocks noEditPoints="1"/>
            </p:cNvSpPr>
            <p:nvPr/>
          </p:nvSpPr>
          <p:spPr bwMode="auto">
            <a:xfrm>
              <a:off x="4533900" y="4434317"/>
              <a:ext cx="144463" cy="227013"/>
            </a:xfrm>
            <a:custGeom>
              <a:avLst/>
              <a:gdLst>
                <a:gd name="T0" fmla="*/ 90 w 91"/>
                <a:gd name="T1" fmla="*/ 7 h 143"/>
                <a:gd name="T2" fmla="*/ 88 w 91"/>
                <a:gd name="T3" fmla="*/ 0 h 143"/>
                <a:gd name="T4" fmla="*/ 87 w 91"/>
                <a:gd name="T5" fmla="*/ 7 h 143"/>
                <a:gd name="T6" fmla="*/ 87 w 91"/>
                <a:gd name="T7" fmla="*/ 23 h 143"/>
                <a:gd name="T8" fmla="*/ 88 w 91"/>
                <a:gd name="T9" fmla="*/ 13 h 143"/>
                <a:gd name="T10" fmla="*/ 87 w 91"/>
                <a:gd name="T11" fmla="*/ 11 h 143"/>
                <a:gd name="T12" fmla="*/ 87 w 91"/>
                <a:gd name="T13" fmla="*/ 23 h 143"/>
                <a:gd name="T14" fmla="*/ 84 w 91"/>
                <a:gd name="T15" fmla="*/ 37 h 143"/>
                <a:gd name="T16" fmla="*/ 87 w 91"/>
                <a:gd name="T17" fmla="*/ 27 h 143"/>
                <a:gd name="T18" fmla="*/ 84 w 91"/>
                <a:gd name="T19" fmla="*/ 27 h 143"/>
                <a:gd name="T20" fmla="*/ 81 w 91"/>
                <a:gd name="T21" fmla="*/ 36 h 143"/>
                <a:gd name="T22" fmla="*/ 77 w 91"/>
                <a:gd name="T23" fmla="*/ 50 h 143"/>
                <a:gd name="T24" fmla="*/ 81 w 91"/>
                <a:gd name="T25" fmla="*/ 42 h 143"/>
                <a:gd name="T26" fmla="*/ 80 w 91"/>
                <a:gd name="T27" fmla="*/ 40 h 143"/>
                <a:gd name="T28" fmla="*/ 77 w 91"/>
                <a:gd name="T29" fmla="*/ 50 h 143"/>
                <a:gd name="T30" fmla="*/ 68 w 91"/>
                <a:gd name="T31" fmla="*/ 63 h 143"/>
                <a:gd name="T32" fmla="*/ 73 w 91"/>
                <a:gd name="T33" fmla="*/ 55 h 143"/>
                <a:gd name="T34" fmla="*/ 67 w 91"/>
                <a:gd name="T35" fmla="*/ 62 h 143"/>
                <a:gd name="T36" fmla="*/ 59 w 91"/>
                <a:gd name="T37" fmla="*/ 76 h 143"/>
                <a:gd name="T38" fmla="*/ 62 w 91"/>
                <a:gd name="T39" fmla="*/ 72 h 143"/>
                <a:gd name="T40" fmla="*/ 65 w 91"/>
                <a:gd name="T41" fmla="*/ 68 h 143"/>
                <a:gd name="T42" fmla="*/ 64 w 91"/>
                <a:gd name="T43" fmla="*/ 66 h 143"/>
                <a:gd name="T44" fmla="*/ 59 w 91"/>
                <a:gd name="T45" fmla="*/ 71 h 143"/>
                <a:gd name="T46" fmla="*/ 59 w 91"/>
                <a:gd name="T47" fmla="*/ 76 h 143"/>
                <a:gd name="T48" fmla="*/ 48 w 91"/>
                <a:gd name="T49" fmla="*/ 87 h 143"/>
                <a:gd name="T50" fmla="*/ 54 w 91"/>
                <a:gd name="T51" fmla="*/ 78 h 143"/>
                <a:gd name="T52" fmla="*/ 46 w 91"/>
                <a:gd name="T53" fmla="*/ 85 h 143"/>
                <a:gd name="T54" fmla="*/ 38 w 91"/>
                <a:gd name="T55" fmla="*/ 97 h 143"/>
                <a:gd name="T56" fmla="*/ 38 w 91"/>
                <a:gd name="T57" fmla="*/ 97 h 143"/>
                <a:gd name="T58" fmla="*/ 42 w 91"/>
                <a:gd name="T59" fmla="*/ 88 h 143"/>
                <a:gd name="T60" fmla="*/ 36 w 91"/>
                <a:gd name="T61" fmla="*/ 95 h 143"/>
                <a:gd name="T62" fmla="*/ 38 w 91"/>
                <a:gd name="T63" fmla="*/ 97 h 143"/>
                <a:gd name="T64" fmla="*/ 26 w 91"/>
                <a:gd name="T65" fmla="*/ 108 h 143"/>
                <a:gd name="T66" fmla="*/ 32 w 91"/>
                <a:gd name="T67" fmla="*/ 100 h 143"/>
                <a:gd name="T68" fmla="*/ 25 w 91"/>
                <a:gd name="T69" fmla="*/ 105 h 143"/>
                <a:gd name="T70" fmla="*/ 15 w 91"/>
                <a:gd name="T71" fmla="*/ 117 h 143"/>
                <a:gd name="T72" fmla="*/ 22 w 91"/>
                <a:gd name="T73" fmla="*/ 111 h 143"/>
                <a:gd name="T74" fmla="*/ 20 w 91"/>
                <a:gd name="T75" fmla="*/ 108 h 143"/>
                <a:gd name="T76" fmla="*/ 15 w 91"/>
                <a:gd name="T77" fmla="*/ 117 h 143"/>
                <a:gd name="T78" fmla="*/ 6 w 91"/>
                <a:gd name="T79" fmla="*/ 129 h 143"/>
                <a:gd name="T80" fmla="*/ 9 w 91"/>
                <a:gd name="T81" fmla="*/ 118 h 143"/>
                <a:gd name="T82" fmla="*/ 6 w 91"/>
                <a:gd name="T83" fmla="*/ 123 h 143"/>
                <a:gd name="T84" fmla="*/ 6 w 91"/>
                <a:gd name="T85" fmla="*/ 129 h 143"/>
                <a:gd name="T86" fmla="*/ 3 w 91"/>
                <a:gd name="T87" fmla="*/ 143 h 143"/>
                <a:gd name="T88" fmla="*/ 3 w 91"/>
                <a:gd name="T89" fmla="*/ 133 h 143"/>
                <a:gd name="T90" fmla="*/ 0 w 91"/>
                <a:gd name="T9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 h="143">
                  <a:moveTo>
                    <a:pt x="90" y="7"/>
                  </a:moveTo>
                  <a:lnTo>
                    <a:pt x="90" y="7"/>
                  </a:lnTo>
                  <a:lnTo>
                    <a:pt x="91" y="0"/>
                  </a:lnTo>
                  <a:lnTo>
                    <a:pt x="88" y="0"/>
                  </a:lnTo>
                  <a:lnTo>
                    <a:pt x="88" y="0"/>
                  </a:lnTo>
                  <a:lnTo>
                    <a:pt x="87" y="7"/>
                  </a:lnTo>
                  <a:lnTo>
                    <a:pt x="90" y="7"/>
                  </a:lnTo>
                  <a:close/>
                  <a:moveTo>
                    <a:pt x="87" y="23"/>
                  </a:moveTo>
                  <a:lnTo>
                    <a:pt x="87" y="23"/>
                  </a:lnTo>
                  <a:lnTo>
                    <a:pt x="88" y="13"/>
                  </a:lnTo>
                  <a:lnTo>
                    <a:pt x="87" y="11"/>
                  </a:lnTo>
                  <a:lnTo>
                    <a:pt x="87" y="11"/>
                  </a:lnTo>
                  <a:lnTo>
                    <a:pt x="86" y="21"/>
                  </a:lnTo>
                  <a:lnTo>
                    <a:pt x="87" y="23"/>
                  </a:lnTo>
                  <a:close/>
                  <a:moveTo>
                    <a:pt x="84" y="37"/>
                  </a:moveTo>
                  <a:lnTo>
                    <a:pt x="84" y="37"/>
                  </a:lnTo>
                  <a:lnTo>
                    <a:pt x="87" y="29"/>
                  </a:lnTo>
                  <a:lnTo>
                    <a:pt x="87" y="27"/>
                  </a:lnTo>
                  <a:lnTo>
                    <a:pt x="84" y="27"/>
                  </a:lnTo>
                  <a:lnTo>
                    <a:pt x="84" y="27"/>
                  </a:lnTo>
                  <a:lnTo>
                    <a:pt x="84" y="27"/>
                  </a:lnTo>
                  <a:lnTo>
                    <a:pt x="81" y="36"/>
                  </a:lnTo>
                  <a:lnTo>
                    <a:pt x="84" y="37"/>
                  </a:lnTo>
                  <a:close/>
                  <a:moveTo>
                    <a:pt x="77" y="50"/>
                  </a:moveTo>
                  <a:lnTo>
                    <a:pt x="77" y="50"/>
                  </a:lnTo>
                  <a:lnTo>
                    <a:pt x="81" y="42"/>
                  </a:lnTo>
                  <a:lnTo>
                    <a:pt x="80" y="40"/>
                  </a:lnTo>
                  <a:lnTo>
                    <a:pt x="80" y="40"/>
                  </a:lnTo>
                  <a:lnTo>
                    <a:pt x="74" y="50"/>
                  </a:lnTo>
                  <a:lnTo>
                    <a:pt x="77" y="50"/>
                  </a:lnTo>
                  <a:close/>
                  <a:moveTo>
                    <a:pt x="68" y="63"/>
                  </a:moveTo>
                  <a:lnTo>
                    <a:pt x="68" y="63"/>
                  </a:lnTo>
                  <a:lnTo>
                    <a:pt x="74" y="55"/>
                  </a:lnTo>
                  <a:lnTo>
                    <a:pt x="73" y="55"/>
                  </a:lnTo>
                  <a:lnTo>
                    <a:pt x="73" y="55"/>
                  </a:lnTo>
                  <a:lnTo>
                    <a:pt x="67" y="62"/>
                  </a:lnTo>
                  <a:lnTo>
                    <a:pt x="68" y="63"/>
                  </a:lnTo>
                  <a:close/>
                  <a:moveTo>
                    <a:pt x="59" y="76"/>
                  </a:moveTo>
                  <a:lnTo>
                    <a:pt x="59" y="76"/>
                  </a:lnTo>
                  <a:lnTo>
                    <a:pt x="62" y="72"/>
                  </a:lnTo>
                  <a:lnTo>
                    <a:pt x="62" y="72"/>
                  </a:lnTo>
                  <a:lnTo>
                    <a:pt x="65" y="68"/>
                  </a:lnTo>
                  <a:lnTo>
                    <a:pt x="64" y="66"/>
                  </a:lnTo>
                  <a:lnTo>
                    <a:pt x="64" y="66"/>
                  </a:lnTo>
                  <a:lnTo>
                    <a:pt x="59" y="71"/>
                  </a:lnTo>
                  <a:lnTo>
                    <a:pt x="59" y="71"/>
                  </a:lnTo>
                  <a:lnTo>
                    <a:pt x="57" y="74"/>
                  </a:lnTo>
                  <a:lnTo>
                    <a:pt x="59" y="76"/>
                  </a:lnTo>
                  <a:close/>
                  <a:moveTo>
                    <a:pt x="48" y="87"/>
                  </a:moveTo>
                  <a:lnTo>
                    <a:pt x="48" y="87"/>
                  </a:lnTo>
                  <a:lnTo>
                    <a:pt x="55" y="79"/>
                  </a:lnTo>
                  <a:lnTo>
                    <a:pt x="54" y="78"/>
                  </a:lnTo>
                  <a:lnTo>
                    <a:pt x="54" y="78"/>
                  </a:lnTo>
                  <a:lnTo>
                    <a:pt x="46" y="85"/>
                  </a:lnTo>
                  <a:lnTo>
                    <a:pt x="48" y="87"/>
                  </a:lnTo>
                  <a:close/>
                  <a:moveTo>
                    <a:pt x="38" y="97"/>
                  </a:moveTo>
                  <a:lnTo>
                    <a:pt x="38" y="97"/>
                  </a:lnTo>
                  <a:lnTo>
                    <a:pt x="38" y="97"/>
                  </a:lnTo>
                  <a:lnTo>
                    <a:pt x="44" y="90"/>
                  </a:lnTo>
                  <a:lnTo>
                    <a:pt x="42" y="88"/>
                  </a:lnTo>
                  <a:lnTo>
                    <a:pt x="42" y="88"/>
                  </a:lnTo>
                  <a:lnTo>
                    <a:pt x="36" y="95"/>
                  </a:lnTo>
                  <a:lnTo>
                    <a:pt x="35" y="95"/>
                  </a:lnTo>
                  <a:lnTo>
                    <a:pt x="38" y="97"/>
                  </a:lnTo>
                  <a:close/>
                  <a:moveTo>
                    <a:pt x="26" y="108"/>
                  </a:moveTo>
                  <a:lnTo>
                    <a:pt x="26" y="108"/>
                  </a:lnTo>
                  <a:lnTo>
                    <a:pt x="33" y="101"/>
                  </a:lnTo>
                  <a:lnTo>
                    <a:pt x="32" y="100"/>
                  </a:lnTo>
                  <a:lnTo>
                    <a:pt x="32" y="100"/>
                  </a:lnTo>
                  <a:lnTo>
                    <a:pt x="25" y="105"/>
                  </a:lnTo>
                  <a:lnTo>
                    <a:pt x="26" y="108"/>
                  </a:lnTo>
                  <a:close/>
                  <a:moveTo>
                    <a:pt x="15" y="117"/>
                  </a:moveTo>
                  <a:lnTo>
                    <a:pt x="15" y="117"/>
                  </a:lnTo>
                  <a:lnTo>
                    <a:pt x="22" y="111"/>
                  </a:lnTo>
                  <a:lnTo>
                    <a:pt x="20" y="108"/>
                  </a:lnTo>
                  <a:lnTo>
                    <a:pt x="20" y="108"/>
                  </a:lnTo>
                  <a:lnTo>
                    <a:pt x="13" y="116"/>
                  </a:lnTo>
                  <a:lnTo>
                    <a:pt x="15" y="117"/>
                  </a:lnTo>
                  <a:close/>
                  <a:moveTo>
                    <a:pt x="6" y="129"/>
                  </a:moveTo>
                  <a:lnTo>
                    <a:pt x="6" y="129"/>
                  </a:lnTo>
                  <a:lnTo>
                    <a:pt x="10" y="120"/>
                  </a:lnTo>
                  <a:lnTo>
                    <a:pt x="9" y="118"/>
                  </a:lnTo>
                  <a:lnTo>
                    <a:pt x="9" y="118"/>
                  </a:lnTo>
                  <a:lnTo>
                    <a:pt x="6" y="123"/>
                  </a:lnTo>
                  <a:lnTo>
                    <a:pt x="4" y="129"/>
                  </a:lnTo>
                  <a:lnTo>
                    <a:pt x="6" y="129"/>
                  </a:lnTo>
                  <a:close/>
                  <a:moveTo>
                    <a:pt x="3" y="143"/>
                  </a:moveTo>
                  <a:lnTo>
                    <a:pt x="3" y="143"/>
                  </a:lnTo>
                  <a:lnTo>
                    <a:pt x="4" y="134"/>
                  </a:lnTo>
                  <a:lnTo>
                    <a:pt x="3" y="133"/>
                  </a:lnTo>
                  <a:lnTo>
                    <a:pt x="3" y="133"/>
                  </a:lnTo>
                  <a:lnTo>
                    <a:pt x="0" y="143"/>
                  </a:lnTo>
                  <a:lnTo>
                    <a:pt x="3"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84" name="Freeform 1609"/>
            <p:cNvSpPr>
              <a:spLocks noEditPoints="1"/>
            </p:cNvSpPr>
            <p:nvPr/>
          </p:nvSpPr>
          <p:spPr bwMode="auto">
            <a:xfrm>
              <a:off x="4384675" y="4415267"/>
              <a:ext cx="277813" cy="195263"/>
            </a:xfrm>
            <a:custGeom>
              <a:avLst/>
              <a:gdLst>
                <a:gd name="T0" fmla="*/ 0 w 175"/>
                <a:gd name="T1" fmla="*/ 123 h 123"/>
                <a:gd name="T2" fmla="*/ 3 w 175"/>
                <a:gd name="T3" fmla="*/ 116 h 123"/>
                <a:gd name="T4" fmla="*/ 1 w 175"/>
                <a:gd name="T5" fmla="*/ 100 h 123"/>
                <a:gd name="T6" fmla="*/ 3 w 175"/>
                <a:gd name="T7" fmla="*/ 110 h 123"/>
                <a:gd name="T8" fmla="*/ 4 w 175"/>
                <a:gd name="T9" fmla="*/ 86 h 123"/>
                <a:gd name="T10" fmla="*/ 4 w 175"/>
                <a:gd name="T11" fmla="*/ 96 h 123"/>
                <a:gd name="T12" fmla="*/ 4 w 175"/>
                <a:gd name="T13" fmla="*/ 86 h 123"/>
                <a:gd name="T14" fmla="*/ 6 w 175"/>
                <a:gd name="T15" fmla="*/ 81 h 123"/>
                <a:gd name="T16" fmla="*/ 12 w 175"/>
                <a:gd name="T17" fmla="*/ 73 h 123"/>
                <a:gd name="T18" fmla="*/ 14 w 175"/>
                <a:gd name="T19" fmla="*/ 57 h 123"/>
                <a:gd name="T20" fmla="*/ 12 w 175"/>
                <a:gd name="T21" fmla="*/ 67 h 123"/>
                <a:gd name="T22" fmla="*/ 14 w 175"/>
                <a:gd name="T23" fmla="*/ 65 h 123"/>
                <a:gd name="T24" fmla="*/ 14 w 175"/>
                <a:gd name="T25" fmla="*/ 57 h 123"/>
                <a:gd name="T26" fmla="*/ 17 w 175"/>
                <a:gd name="T27" fmla="*/ 44 h 123"/>
                <a:gd name="T28" fmla="*/ 17 w 175"/>
                <a:gd name="T29" fmla="*/ 52 h 123"/>
                <a:gd name="T30" fmla="*/ 20 w 175"/>
                <a:gd name="T31" fmla="*/ 46 h 123"/>
                <a:gd name="T32" fmla="*/ 20 w 175"/>
                <a:gd name="T33" fmla="*/ 42 h 123"/>
                <a:gd name="T34" fmla="*/ 16 w 175"/>
                <a:gd name="T35" fmla="*/ 28 h 123"/>
                <a:gd name="T36" fmla="*/ 17 w 175"/>
                <a:gd name="T37" fmla="*/ 38 h 123"/>
                <a:gd name="T38" fmla="*/ 19 w 175"/>
                <a:gd name="T39" fmla="*/ 29 h 123"/>
                <a:gd name="T40" fmla="*/ 16 w 175"/>
                <a:gd name="T41" fmla="*/ 28 h 123"/>
                <a:gd name="T42" fmla="*/ 17 w 175"/>
                <a:gd name="T43" fmla="*/ 13 h 123"/>
                <a:gd name="T44" fmla="*/ 19 w 175"/>
                <a:gd name="T45" fmla="*/ 22 h 123"/>
                <a:gd name="T46" fmla="*/ 17 w 175"/>
                <a:gd name="T47" fmla="*/ 12 h 123"/>
                <a:gd name="T48" fmla="*/ 22 w 175"/>
                <a:gd name="T49" fmla="*/ 7 h 123"/>
                <a:gd name="T50" fmla="*/ 32 w 175"/>
                <a:gd name="T51" fmla="*/ 6 h 123"/>
                <a:gd name="T52" fmla="*/ 46 w 175"/>
                <a:gd name="T53" fmla="*/ 2 h 123"/>
                <a:gd name="T54" fmla="*/ 42 w 175"/>
                <a:gd name="T55" fmla="*/ 2 h 123"/>
                <a:gd name="T56" fmla="*/ 36 w 175"/>
                <a:gd name="T57" fmla="*/ 4 h 123"/>
                <a:gd name="T58" fmla="*/ 43 w 175"/>
                <a:gd name="T59" fmla="*/ 4 h 123"/>
                <a:gd name="T60" fmla="*/ 59 w 175"/>
                <a:gd name="T61" fmla="*/ 10 h 123"/>
                <a:gd name="T62" fmla="*/ 56 w 175"/>
                <a:gd name="T63" fmla="*/ 7 h 123"/>
                <a:gd name="T64" fmla="*/ 51 w 175"/>
                <a:gd name="T65" fmla="*/ 6 h 123"/>
                <a:gd name="T66" fmla="*/ 58 w 175"/>
                <a:gd name="T67" fmla="*/ 13 h 123"/>
                <a:gd name="T68" fmla="*/ 72 w 175"/>
                <a:gd name="T69" fmla="*/ 6 h 123"/>
                <a:gd name="T70" fmla="*/ 64 w 175"/>
                <a:gd name="T71" fmla="*/ 13 h 123"/>
                <a:gd name="T72" fmla="*/ 74 w 175"/>
                <a:gd name="T73" fmla="*/ 9 h 123"/>
                <a:gd name="T74" fmla="*/ 88 w 175"/>
                <a:gd name="T75" fmla="*/ 10 h 123"/>
                <a:gd name="T76" fmla="*/ 78 w 175"/>
                <a:gd name="T77" fmla="*/ 7 h 123"/>
                <a:gd name="T78" fmla="*/ 87 w 175"/>
                <a:gd name="T79" fmla="*/ 12 h 123"/>
                <a:gd name="T80" fmla="*/ 101 w 175"/>
                <a:gd name="T81" fmla="*/ 13 h 123"/>
                <a:gd name="T82" fmla="*/ 93 w 175"/>
                <a:gd name="T83" fmla="*/ 12 h 123"/>
                <a:gd name="T84" fmla="*/ 100 w 175"/>
                <a:gd name="T85" fmla="*/ 15 h 123"/>
                <a:gd name="T86" fmla="*/ 101 w 175"/>
                <a:gd name="T87" fmla="*/ 13 h 123"/>
                <a:gd name="T88" fmla="*/ 107 w 175"/>
                <a:gd name="T89" fmla="*/ 12 h 123"/>
                <a:gd name="T90" fmla="*/ 117 w 175"/>
                <a:gd name="T91" fmla="*/ 12 h 123"/>
                <a:gd name="T92" fmla="*/ 132 w 175"/>
                <a:gd name="T93" fmla="*/ 9 h 123"/>
                <a:gd name="T94" fmla="*/ 122 w 175"/>
                <a:gd name="T95" fmla="*/ 7 h 123"/>
                <a:gd name="T96" fmla="*/ 125 w 175"/>
                <a:gd name="T97" fmla="*/ 10 h 123"/>
                <a:gd name="T98" fmla="*/ 132 w 175"/>
                <a:gd name="T99" fmla="*/ 9 h 123"/>
                <a:gd name="T100" fmla="*/ 142 w 175"/>
                <a:gd name="T101" fmla="*/ 10 h 123"/>
                <a:gd name="T102" fmla="*/ 138 w 175"/>
                <a:gd name="T103" fmla="*/ 10 h 123"/>
                <a:gd name="T104" fmla="*/ 138 w 175"/>
                <a:gd name="T105" fmla="*/ 12 h 123"/>
                <a:gd name="T106" fmla="*/ 148 w 175"/>
                <a:gd name="T107" fmla="*/ 13 h 123"/>
                <a:gd name="T108" fmla="*/ 161 w 175"/>
                <a:gd name="T109" fmla="*/ 6 h 123"/>
                <a:gd name="T110" fmla="*/ 152 w 175"/>
                <a:gd name="T111" fmla="*/ 9 h 123"/>
                <a:gd name="T112" fmla="*/ 158 w 175"/>
                <a:gd name="T113" fmla="*/ 10 h 123"/>
                <a:gd name="T114" fmla="*/ 161 w 175"/>
                <a:gd name="T115" fmla="*/ 6 h 123"/>
                <a:gd name="T116" fmla="*/ 165 w 175"/>
                <a:gd name="T117" fmla="*/ 4 h 123"/>
                <a:gd name="T118" fmla="*/ 175 w 175"/>
                <a:gd name="T119" fmla="*/ 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5" h="123">
                  <a:moveTo>
                    <a:pt x="0" y="116"/>
                  </a:moveTo>
                  <a:lnTo>
                    <a:pt x="0" y="116"/>
                  </a:lnTo>
                  <a:lnTo>
                    <a:pt x="0" y="123"/>
                  </a:lnTo>
                  <a:lnTo>
                    <a:pt x="3" y="123"/>
                  </a:lnTo>
                  <a:lnTo>
                    <a:pt x="3" y="123"/>
                  </a:lnTo>
                  <a:lnTo>
                    <a:pt x="3" y="116"/>
                  </a:lnTo>
                  <a:lnTo>
                    <a:pt x="0" y="116"/>
                  </a:lnTo>
                  <a:close/>
                  <a:moveTo>
                    <a:pt x="1" y="100"/>
                  </a:moveTo>
                  <a:lnTo>
                    <a:pt x="1" y="100"/>
                  </a:lnTo>
                  <a:lnTo>
                    <a:pt x="0" y="110"/>
                  </a:lnTo>
                  <a:lnTo>
                    <a:pt x="3" y="110"/>
                  </a:lnTo>
                  <a:lnTo>
                    <a:pt x="3" y="110"/>
                  </a:lnTo>
                  <a:lnTo>
                    <a:pt x="3" y="100"/>
                  </a:lnTo>
                  <a:lnTo>
                    <a:pt x="1" y="100"/>
                  </a:lnTo>
                  <a:close/>
                  <a:moveTo>
                    <a:pt x="4" y="86"/>
                  </a:moveTo>
                  <a:lnTo>
                    <a:pt x="4" y="86"/>
                  </a:lnTo>
                  <a:lnTo>
                    <a:pt x="1" y="96"/>
                  </a:lnTo>
                  <a:lnTo>
                    <a:pt x="4" y="96"/>
                  </a:lnTo>
                  <a:lnTo>
                    <a:pt x="4" y="96"/>
                  </a:lnTo>
                  <a:lnTo>
                    <a:pt x="7" y="86"/>
                  </a:lnTo>
                  <a:lnTo>
                    <a:pt x="4" y="86"/>
                  </a:lnTo>
                  <a:close/>
                  <a:moveTo>
                    <a:pt x="10" y="71"/>
                  </a:moveTo>
                  <a:lnTo>
                    <a:pt x="10" y="71"/>
                  </a:lnTo>
                  <a:lnTo>
                    <a:pt x="6" y="81"/>
                  </a:lnTo>
                  <a:lnTo>
                    <a:pt x="9" y="81"/>
                  </a:lnTo>
                  <a:lnTo>
                    <a:pt x="9" y="81"/>
                  </a:lnTo>
                  <a:lnTo>
                    <a:pt x="12" y="73"/>
                  </a:lnTo>
                  <a:lnTo>
                    <a:pt x="10" y="71"/>
                  </a:lnTo>
                  <a:close/>
                  <a:moveTo>
                    <a:pt x="14" y="57"/>
                  </a:moveTo>
                  <a:lnTo>
                    <a:pt x="14" y="57"/>
                  </a:lnTo>
                  <a:lnTo>
                    <a:pt x="12" y="64"/>
                  </a:lnTo>
                  <a:lnTo>
                    <a:pt x="12" y="64"/>
                  </a:lnTo>
                  <a:lnTo>
                    <a:pt x="12" y="67"/>
                  </a:lnTo>
                  <a:lnTo>
                    <a:pt x="13" y="67"/>
                  </a:lnTo>
                  <a:lnTo>
                    <a:pt x="13" y="67"/>
                  </a:lnTo>
                  <a:lnTo>
                    <a:pt x="14" y="65"/>
                  </a:lnTo>
                  <a:lnTo>
                    <a:pt x="14" y="65"/>
                  </a:lnTo>
                  <a:lnTo>
                    <a:pt x="17" y="58"/>
                  </a:lnTo>
                  <a:lnTo>
                    <a:pt x="14" y="57"/>
                  </a:lnTo>
                  <a:close/>
                  <a:moveTo>
                    <a:pt x="17" y="44"/>
                  </a:moveTo>
                  <a:lnTo>
                    <a:pt x="17" y="44"/>
                  </a:lnTo>
                  <a:lnTo>
                    <a:pt x="17" y="44"/>
                  </a:lnTo>
                  <a:lnTo>
                    <a:pt x="17" y="46"/>
                  </a:lnTo>
                  <a:lnTo>
                    <a:pt x="17" y="46"/>
                  </a:lnTo>
                  <a:lnTo>
                    <a:pt x="17" y="52"/>
                  </a:lnTo>
                  <a:lnTo>
                    <a:pt x="19" y="54"/>
                  </a:lnTo>
                  <a:lnTo>
                    <a:pt x="19" y="54"/>
                  </a:lnTo>
                  <a:lnTo>
                    <a:pt x="20" y="46"/>
                  </a:lnTo>
                  <a:lnTo>
                    <a:pt x="20" y="46"/>
                  </a:lnTo>
                  <a:lnTo>
                    <a:pt x="20" y="44"/>
                  </a:lnTo>
                  <a:lnTo>
                    <a:pt x="20" y="42"/>
                  </a:lnTo>
                  <a:lnTo>
                    <a:pt x="17" y="44"/>
                  </a:lnTo>
                  <a:close/>
                  <a:moveTo>
                    <a:pt x="16" y="28"/>
                  </a:moveTo>
                  <a:lnTo>
                    <a:pt x="16" y="28"/>
                  </a:lnTo>
                  <a:lnTo>
                    <a:pt x="16" y="29"/>
                  </a:lnTo>
                  <a:lnTo>
                    <a:pt x="16" y="29"/>
                  </a:lnTo>
                  <a:lnTo>
                    <a:pt x="17" y="38"/>
                  </a:lnTo>
                  <a:lnTo>
                    <a:pt x="19" y="38"/>
                  </a:lnTo>
                  <a:lnTo>
                    <a:pt x="19" y="38"/>
                  </a:lnTo>
                  <a:lnTo>
                    <a:pt x="19" y="29"/>
                  </a:lnTo>
                  <a:lnTo>
                    <a:pt x="19" y="29"/>
                  </a:lnTo>
                  <a:lnTo>
                    <a:pt x="19" y="28"/>
                  </a:lnTo>
                  <a:lnTo>
                    <a:pt x="16" y="28"/>
                  </a:lnTo>
                  <a:close/>
                  <a:moveTo>
                    <a:pt x="17" y="12"/>
                  </a:moveTo>
                  <a:lnTo>
                    <a:pt x="17" y="13"/>
                  </a:lnTo>
                  <a:lnTo>
                    <a:pt x="17" y="13"/>
                  </a:lnTo>
                  <a:lnTo>
                    <a:pt x="17" y="22"/>
                  </a:lnTo>
                  <a:lnTo>
                    <a:pt x="19" y="22"/>
                  </a:lnTo>
                  <a:lnTo>
                    <a:pt x="19" y="22"/>
                  </a:lnTo>
                  <a:lnTo>
                    <a:pt x="20" y="13"/>
                  </a:lnTo>
                  <a:lnTo>
                    <a:pt x="20" y="13"/>
                  </a:lnTo>
                  <a:lnTo>
                    <a:pt x="17" y="12"/>
                  </a:lnTo>
                  <a:close/>
                  <a:moveTo>
                    <a:pt x="32" y="3"/>
                  </a:moveTo>
                  <a:lnTo>
                    <a:pt x="32" y="3"/>
                  </a:lnTo>
                  <a:lnTo>
                    <a:pt x="22" y="7"/>
                  </a:lnTo>
                  <a:lnTo>
                    <a:pt x="23" y="10"/>
                  </a:lnTo>
                  <a:lnTo>
                    <a:pt x="23" y="10"/>
                  </a:lnTo>
                  <a:lnTo>
                    <a:pt x="32" y="6"/>
                  </a:lnTo>
                  <a:lnTo>
                    <a:pt x="32" y="3"/>
                  </a:lnTo>
                  <a:close/>
                  <a:moveTo>
                    <a:pt x="46" y="2"/>
                  </a:moveTo>
                  <a:lnTo>
                    <a:pt x="46" y="2"/>
                  </a:lnTo>
                  <a:lnTo>
                    <a:pt x="43" y="2"/>
                  </a:lnTo>
                  <a:lnTo>
                    <a:pt x="42" y="2"/>
                  </a:lnTo>
                  <a:lnTo>
                    <a:pt x="42" y="2"/>
                  </a:lnTo>
                  <a:lnTo>
                    <a:pt x="36" y="3"/>
                  </a:lnTo>
                  <a:lnTo>
                    <a:pt x="36" y="4"/>
                  </a:lnTo>
                  <a:lnTo>
                    <a:pt x="36" y="4"/>
                  </a:lnTo>
                  <a:lnTo>
                    <a:pt x="42" y="4"/>
                  </a:lnTo>
                  <a:lnTo>
                    <a:pt x="43" y="4"/>
                  </a:lnTo>
                  <a:lnTo>
                    <a:pt x="43" y="4"/>
                  </a:lnTo>
                  <a:lnTo>
                    <a:pt x="46" y="4"/>
                  </a:lnTo>
                  <a:lnTo>
                    <a:pt x="46" y="2"/>
                  </a:lnTo>
                  <a:close/>
                  <a:moveTo>
                    <a:pt x="59" y="10"/>
                  </a:moveTo>
                  <a:lnTo>
                    <a:pt x="59" y="10"/>
                  </a:lnTo>
                  <a:lnTo>
                    <a:pt x="59" y="10"/>
                  </a:lnTo>
                  <a:lnTo>
                    <a:pt x="56" y="7"/>
                  </a:lnTo>
                  <a:lnTo>
                    <a:pt x="52" y="4"/>
                  </a:lnTo>
                  <a:lnTo>
                    <a:pt x="51" y="6"/>
                  </a:lnTo>
                  <a:lnTo>
                    <a:pt x="51" y="6"/>
                  </a:lnTo>
                  <a:lnTo>
                    <a:pt x="55" y="9"/>
                  </a:lnTo>
                  <a:lnTo>
                    <a:pt x="58" y="12"/>
                  </a:lnTo>
                  <a:lnTo>
                    <a:pt x="58" y="13"/>
                  </a:lnTo>
                  <a:lnTo>
                    <a:pt x="59" y="10"/>
                  </a:lnTo>
                  <a:close/>
                  <a:moveTo>
                    <a:pt x="72" y="6"/>
                  </a:moveTo>
                  <a:lnTo>
                    <a:pt x="72" y="6"/>
                  </a:lnTo>
                  <a:lnTo>
                    <a:pt x="72" y="6"/>
                  </a:lnTo>
                  <a:lnTo>
                    <a:pt x="64" y="10"/>
                  </a:lnTo>
                  <a:lnTo>
                    <a:pt x="64" y="13"/>
                  </a:lnTo>
                  <a:lnTo>
                    <a:pt x="64" y="13"/>
                  </a:lnTo>
                  <a:lnTo>
                    <a:pt x="74" y="9"/>
                  </a:lnTo>
                  <a:lnTo>
                    <a:pt x="74" y="9"/>
                  </a:lnTo>
                  <a:lnTo>
                    <a:pt x="72" y="6"/>
                  </a:lnTo>
                  <a:close/>
                  <a:moveTo>
                    <a:pt x="88" y="10"/>
                  </a:moveTo>
                  <a:lnTo>
                    <a:pt x="88" y="10"/>
                  </a:lnTo>
                  <a:lnTo>
                    <a:pt x="83" y="7"/>
                  </a:lnTo>
                  <a:lnTo>
                    <a:pt x="78" y="6"/>
                  </a:lnTo>
                  <a:lnTo>
                    <a:pt x="78" y="7"/>
                  </a:lnTo>
                  <a:lnTo>
                    <a:pt x="78" y="7"/>
                  </a:lnTo>
                  <a:lnTo>
                    <a:pt x="83" y="9"/>
                  </a:lnTo>
                  <a:lnTo>
                    <a:pt x="87" y="12"/>
                  </a:lnTo>
                  <a:lnTo>
                    <a:pt x="88" y="10"/>
                  </a:lnTo>
                  <a:close/>
                  <a:moveTo>
                    <a:pt x="101" y="13"/>
                  </a:moveTo>
                  <a:lnTo>
                    <a:pt x="101" y="13"/>
                  </a:lnTo>
                  <a:lnTo>
                    <a:pt x="100" y="13"/>
                  </a:lnTo>
                  <a:lnTo>
                    <a:pt x="100" y="13"/>
                  </a:lnTo>
                  <a:lnTo>
                    <a:pt x="93" y="12"/>
                  </a:lnTo>
                  <a:lnTo>
                    <a:pt x="91" y="15"/>
                  </a:lnTo>
                  <a:lnTo>
                    <a:pt x="91" y="15"/>
                  </a:lnTo>
                  <a:lnTo>
                    <a:pt x="100" y="15"/>
                  </a:lnTo>
                  <a:lnTo>
                    <a:pt x="100" y="15"/>
                  </a:lnTo>
                  <a:lnTo>
                    <a:pt x="103" y="15"/>
                  </a:lnTo>
                  <a:lnTo>
                    <a:pt x="101" y="13"/>
                  </a:lnTo>
                  <a:close/>
                  <a:moveTo>
                    <a:pt x="116" y="10"/>
                  </a:moveTo>
                  <a:lnTo>
                    <a:pt x="116" y="10"/>
                  </a:lnTo>
                  <a:lnTo>
                    <a:pt x="107" y="12"/>
                  </a:lnTo>
                  <a:lnTo>
                    <a:pt x="107" y="15"/>
                  </a:lnTo>
                  <a:lnTo>
                    <a:pt x="107" y="15"/>
                  </a:lnTo>
                  <a:lnTo>
                    <a:pt x="117" y="12"/>
                  </a:lnTo>
                  <a:lnTo>
                    <a:pt x="116" y="10"/>
                  </a:lnTo>
                  <a:close/>
                  <a:moveTo>
                    <a:pt x="132" y="9"/>
                  </a:moveTo>
                  <a:lnTo>
                    <a:pt x="132" y="9"/>
                  </a:lnTo>
                  <a:lnTo>
                    <a:pt x="125" y="7"/>
                  </a:lnTo>
                  <a:lnTo>
                    <a:pt x="125" y="7"/>
                  </a:lnTo>
                  <a:lnTo>
                    <a:pt x="122" y="7"/>
                  </a:lnTo>
                  <a:lnTo>
                    <a:pt x="122" y="10"/>
                  </a:lnTo>
                  <a:lnTo>
                    <a:pt x="122" y="10"/>
                  </a:lnTo>
                  <a:lnTo>
                    <a:pt x="125" y="10"/>
                  </a:lnTo>
                  <a:lnTo>
                    <a:pt x="125" y="10"/>
                  </a:lnTo>
                  <a:lnTo>
                    <a:pt x="132" y="12"/>
                  </a:lnTo>
                  <a:lnTo>
                    <a:pt x="132" y="9"/>
                  </a:lnTo>
                  <a:close/>
                  <a:moveTo>
                    <a:pt x="146" y="10"/>
                  </a:moveTo>
                  <a:lnTo>
                    <a:pt x="146" y="10"/>
                  </a:lnTo>
                  <a:lnTo>
                    <a:pt x="142" y="10"/>
                  </a:lnTo>
                  <a:lnTo>
                    <a:pt x="142" y="10"/>
                  </a:lnTo>
                  <a:lnTo>
                    <a:pt x="139" y="10"/>
                  </a:lnTo>
                  <a:lnTo>
                    <a:pt x="138" y="10"/>
                  </a:lnTo>
                  <a:lnTo>
                    <a:pt x="136" y="12"/>
                  </a:lnTo>
                  <a:lnTo>
                    <a:pt x="138" y="12"/>
                  </a:lnTo>
                  <a:lnTo>
                    <a:pt x="138" y="12"/>
                  </a:lnTo>
                  <a:lnTo>
                    <a:pt x="142" y="13"/>
                  </a:lnTo>
                  <a:lnTo>
                    <a:pt x="142" y="13"/>
                  </a:lnTo>
                  <a:lnTo>
                    <a:pt x="148" y="13"/>
                  </a:lnTo>
                  <a:lnTo>
                    <a:pt x="146" y="10"/>
                  </a:lnTo>
                  <a:close/>
                  <a:moveTo>
                    <a:pt x="161" y="6"/>
                  </a:moveTo>
                  <a:lnTo>
                    <a:pt x="161" y="6"/>
                  </a:lnTo>
                  <a:lnTo>
                    <a:pt x="158" y="7"/>
                  </a:lnTo>
                  <a:lnTo>
                    <a:pt x="158" y="7"/>
                  </a:lnTo>
                  <a:lnTo>
                    <a:pt x="152" y="9"/>
                  </a:lnTo>
                  <a:lnTo>
                    <a:pt x="152" y="12"/>
                  </a:lnTo>
                  <a:lnTo>
                    <a:pt x="152" y="12"/>
                  </a:lnTo>
                  <a:lnTo>
                    <a:pt x="158" y="10"/>
                  </a:lnTo>
                  <a:lnTo>
                    <a:pt x="158" y="10"/>
                  </a:lnTo>
                  <a:lnTo>
                    <a:pt x="162" y="9"/>
                  </a:lnTo>
                  <a:lnTo>
                    <a:pt x="161" y="6"/>
                  </a:lnTo>
                  <a:close/>
                  <a:moveTo>
                    <a:pt x="175" y="0"/>
                  </a:moveTo>
                  <a:lnTo>
                    <a:pt x="175" y="0"/>
                  </a:lnTo>
                  <a:lnTo>
                    <a:pt x="165" y="4"/>
                  </a:lnTo>
                  <a:lnTo>
                    <a:pt x="167" y="6"/>
                  </a:lnTo>
                  <a:lnTo>
                    <a:pt x="167" y="6"/>
                  </a:lnTo>
                  <a:lnTo>
                    <a:pt x="175" y="2"/>
                  </a:lnTo>
                  <a:lnTo>
                    <a:pt x="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85" name="Freeform 1610"/>
            <p:cNvSpPr>
              <a:spLocks noEditPoints="1"/>
            </p:cNvSpPr>
            <p:nvPr/>
          </p:nvSpPr>
          <p:spPr bwMode="auto">
            <a:xfrm>
              <a:off x="4232275" y="4456542"/>
              <a:ext cx="182563" cy="182563"/>
            </a:xfrm>
            <a:custGeom>
              <a:avLst/>
              <a:gdLst>
                <a:gd name="T0" fmla="*/ 5 w 115"/>
                <a:gd name="T1" fmla="*/ 115 h 115"/>
                <a:gd name="T2" fmla="*/ 6 w 115"/>
                <a:gd name="T3" fmla="*/ 104 h 115"/>
                <a:gd name="T4" fmla="*/ 0 w 115"/>
                <a:gd name="T5" fmla="*/ 90 h 115"/>
                <a:gd name="T6" fmla="*/ 3 w 115"/>
                <a:gd name="T7" fmla="*/ 100 h 115"/>
                <a:gd name="T8" fmla="*/ 3 w 115"/>
                <a:gd name="T9" fmla="*/ 94 h 115"/>
                <a:gd name="T10" fmla="*/ 0 w 115"/>
                <a:gd name="T11" fmla="*/ 90 h 115"/>
                <a:gd name="T12" fmla="*/ 3 w 115"/>
                <a:gd name="T13" fmla="*/ 80 h 115"/>
                <a:gd name="T14" fmla="*/ 3 w 115"/>
                <a:gd name="T15" fmla="*/ 86 h 115"/>
                <a:gd name="T16" fmla="*/ 8 w 115"/>
                <a:gd name="T17" fmla="*/ 77 h 115"/>
                <a:gd name="T18" fmla="*/ 12 w 115"/>
                <a:gd name="T19" fmla="*/ 64 h 115"/>
                <a:gd name="T20" fmla="*/ 12 w 115"/>
                <a:gd name="T21" fmla="*/ 74 h 115"/>
                <a:gd name="T22" fmla="*/ 15 w 115"/>
                <a:gd name="T23" fmla="*/ 64 h 115"/>
                <a:gd name="T24" fmla="*/ 11 w 115"/>
                <a:gd name="T25" fmla="*/ 49 h 115"/>
                <a:gd name="T26" fmla="*/ 12 w 115"/>
                <a:gd name="T27" fmla="*/ 60 h 115"/>
                <a:gd name="T28" fmla="*/ 13 w 115"/>
                <a:gd name="T29" fmla="*/ 49 h 115"/>
                <a:gd name="T30" fmla="*/ 8 w 115"/>
                <a:gd name="T31" fmla="*/ 34 h 115"/>
                <a:gd name="T32" fmla="*/ 9 w 115"/>
                <a:gd name="T33" fmla="*/ 44 h 115"/>
                <a:gd name="T34" fmla="*/ 11 w 115"/>
                <a:gd name="T35" fmla="*/ 35 h 115"/>
                <a:gd name="T36" fmla="*/ 18 w 115"/>
                <a:gd name="T37" fmla="*/ 22 h 115"/>
                <a:gd name="T38" fmla="*/ 13 w 115"/>
                <a:gd name="T39" fmla="*/ 23 h 115"/>
                <a:gd name="T40" fmla="*/ 12 w 115"/>
                <a:gd name="T41" fmla="*/ 29 h 115"/>
                <a:gd name="T42" fmla="*/ 15 w 115"/>
                <a:gd name="T43" fmla="*/ 26 h 115"/>
                <a:gd name="T44" fmla="*/ 18 w 115"/>
                <a:gd name="T45" fmla="*/ 22 h 115"/>
                <a:gd name="T46" fmla="*/ 28 w 115"/>
                <a:gd name="T47" fmla="*/ 22 h 115"/>
                <a:gd name="T48" fmla="*/ 24 w 115"/>
                <a:gd name="T49" fmla="*/ 25 h 115"/>
                <a:gd name="T50" fmla="*/ 28 w 115"/>
                <a:gd name="T51" fmla="*/ 25 h 115"/>
                <a:gd name="T52" fmla="*/ 48 w 115"/>
                <a:gd name="T53" fmla="*/ 22 h 115"/>
                <a:gd name="T54" fmla="*/ 47 w 115"/>
                <a:gd name="T55" fmla="*/ 23 h 115"/>
                <a:gd name="T56" fmla="*/ 38 w 115"/>
                <a:gd name="T57" fmla="*/ 25 h 115"/>
                <a:gd name="T58" fmla="*/ 50 w 115"/>
                <a:gd name="T59" fmla="*/ 25 h 115"/>
                <a:gd name="T60" fmla="*/ 63 w 115"/>
                <a:gd name="T61" fmla="*/ 16 h 115"/>
                <a:gd name="T62" fmla="*/ 54 w 115"/>
                <a:gd name="T63" fmla="*/ 23 h 115"/>
                <a:gd name="T64" fmla="*/ 77 w 115"/>
                <a:gd name="T65" fmla="*/ 15 h 115"/>
                <a:gd name="T66" fmla="*/ 71 w 115"/>
                <a:gd name="T67" fmla="*/ 15 h 115"/>
                <a:gd name="T68" fmla="*/ 67 w 115"/>
                <a:gd name="T69" fmla="*/ 18 h 115"/>
                <a:gd name="T70" fmla="*/ 77 w 115"/>
                <a:gd name="T71" fmla="*/ 16 h 115"/>
                <a:gd name="T72" fmla="*/ 89 w 115"/>
                <a:gd name="T73" fmla="*/ 9 h 115"/>
                <a:gd name="T74" fmla="*/ 83 w 115"/>
                <a:gd name="T75" fmla="*/ 15 h 115"/>
                <a:gd name="T76" fmla="*/ 86 w 115"/>
                <a:gd name="T77" fmla="*/ 16 h 115"/>
                <a:gd name="T78" fmla="*/ 92 w 115"/>
                <a:gd name="T79" fmla="*/ 10 h 115"/>
                <a:gd name="T80" fmla="*/ 102 w 115"/>
                <a:gd name="T81" fmla="*/ 2 h 115"/>
                <a:gd name="T82" fmla="*/ 95 w 115"/>
                <a:gd name="T83" fmla="*/ 2 h 115"/>
                <a:gd name="T84" fmla="*/ 92 w 115"/>
                <a:gd name="T85" fmla="*/ 5 h 115"/>
                <a:gd name="T86" fmla="*/ 95 w 115"/>
                <a:gd name="T87" fmla="*/ 5 h 115"/>
                <a:gd name="T88" fmla="*/ 99 w 115"/>
                <a:gd name="T89" fmla="*/ 3 h 115"/>
                <a:gd name="T90" fmla="*/ 115 w 115"/>
                <a:gd name="T91" fmla="*/ 9 h 115"/>
                <a:gd name="T92" fmla="*/ 106 w 115"/>
                <a:gd name="T93" fmla="*/ 5 h 115"/>
                <a:gd name="T94" fmla="*/ 109 w 115"/>
                <a:gd name="T95" fmla="*/ 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5" h="115">
                  <a:moveTo>
                    <a:pt x="3" y="106"/>
                  </a:moveTo>
                  <a:lnTo>
                    <a:pt x="3" y="106"/>
                  </a:lnTo>
                  <a:lnTo>
                    <a:pt x="5" y="115"/>
                  </a:lnTo>
                  <a:lnTo>
                    <a:pt x="6" y="115"/>
                  </a:lnTo>
                  <a:lnTo>
                    <a:pt x="6" y="115"/>
                  </a:lnTo>
                  <a:lnTo>
                    <a:pt x="6" y="104"/>
                  </a:lnTo>
                  <a:lnTo>
                    <a:pt x="3" y="106"/>
                  </a:lnTo>
                  <a:close/>
                  <a:moveTo>
                    <a:pt x="0" y="90"/>
                  </a:moveTo>
                  <a:lnTo>
                    <a:pt x="0" y="90"/>
                  </a:lnTo>
                  <a:lnTo>
                    <a:pt x="2" y="96"/>
                  </a:lnTo>
                  <a:lnTo>
                    <a:pt x="2" y="96"/>
                  </a:lnTo>
                  <a:lnTo>
                    <a:pt x="3" y="100"/>
                  </a:lnTo>
                  <a:lnTo>
                    <a:pt x="5" y="100"/>
                  </a:lnTo>
                  <a:lnTo>
                    <a:pt x="5" y="100"/>
                  </a:lnTo>
                  <a:lnTo>
                    <a:pt x="3" y="94"/>
                  </a:lnTo>
                  <a:lnTo>
                    <a:pt x="3" y="94"/>
                  </a:lnTo>
                  <a:lnTo>
                    <a:pt x="2" y="90"/>
                  </a:lnTo>
                  <a:lnTo>
                    <a:pt x="0" y="90"/>
                  </a:lnTo>
                  <a:close/>
                  <a:moveTo>
                    <a:pt x="8" y="77"/>
                  </a:moveTo>
                  <a:lnTo>
                    <a:pt x="8" y="77"/>
                  </a:lnTo>
                  <a:lnTo>
                    <a:pt x="3" y="80"/>
                  </a:lnTo>
                  <a:lnTo>
                    <a:pt x="0" y="86"/>
                  </a:lnTo>
                  <a:lnTo>
                    <a:pt x="3" y="86"/>
                  </a:lnTo>
                  <a:lnTo>
                    <a:pt x="3" y="86"/>
                  </a:lnTo>
                  <a:lnTo>
                    <a:pt x="5" y="81"/>
                  </a:lnTo>
                  <a:lnTo>
                    <a:pt x="9" y="78"/>
                  </a:lnTo>
                  <a:lnTo>
                    <a:pt x="8" y="77"/>
                  </a:lnTo>
                  <a:close/>
                  <a:moveTo>
                    <a:pt x="12" y="64"/>
                  </a:moveTo>
                  <a:lnTo>
                    <a:pt x="12" y="64"/>
                  </a:lnTo>
                  <a:lnTo>
                    <a:pt x="12" y="64"/>
                  </a:lnTo>
                  <a:lnTo>
                    <a:pt x="12" y="70"/>
                  </a:lnTo>
                  <a:lnTo>
                    <a:pt x="11" y="73"/>
                  </a:lnTo>
                  <a:lnTo>
                    <a:pt x="12" y="74"/>
                  </a:lnTo>
                  <a:lnTo>
                    <a:pt x="12" y="74"/>
                  </a:lnTo>
                  <a:lnTo>
                    <a:pt x="13" y="70"/>
                  </a:lnTo>
                  <a:lnTo>
                    <a:pt x="15" y="64"/>
                  </a:lnTo>
                  <a:lnTo>
                    <a:pt x="15" y="64"/>
                  </a:lnTo>
                  <a:lnTo>
                    <a:pt x="12" y="64"/>
                  </a:lnTo>
                  <a:close/>
                  <a:moveTo>
                    <a:pt x="11" y="49"/>
                  </a:moveTo>
                  <a:lnTo>
                    <a:pt x="11" y="49"/>
                  </a:lnTo>
                  <a:lnTo>
                    <a:pt x="11" y="49"/>
                  </a:lnTo>
                  <a:lnTo>
                    <a:pt x="12" y="60"/>
                  </a:lnTo>
                  <a:lnTo>
                    <a:pt x="15" y="60"/>
                  </a:lnTo>
                  <a:lnTo>
                    <a:pt x="15" y="60"/>
                  </a:lnTo>
                  <a:lnTo>
                    <a:pt x="13" y="49"/>
                  </a:lnTo>
                  <a:lnTo>
                    <a:pt x="13" y="49"/>
                  </a:lnTo>
                  <a:lnTo>
                    <a:pt x="11" y="49"/>
                  </a:lnTo>
                  <a:close/>
                  <a:moveTo>
                    <a:pt x="8" y="34"/>
                  </a:moveTo>
                  <a:lnTo>
                    <a:pt x="8" y="35"/>
                  </a:lnTo>
                  <a:lnTo>
                    <a:pt x="8" y="35"/>
                  </a:lnTo>
                  <a:lnTo>
                    <a:pt x="9" y="44"/>
                  </a:lnTo>
                  <a:lnTo>
                    <a:pt x="12" y="44"/>
                  </a:lnTo>
                  <a:lnTo>
                    <a:pt x="12" y="44"/>
                  </a:lnTo>
                  <a:lnTo>
                    <a:pt x="11" y="35"/>
                  </a:lnTo>
                  <a:lnTo>
                    <a:pt x="11" y="34"/>
                  </a:lnTo>
                  <a:lnTo>
                    <a:pt x="8" y="34"/>
                  </a:lnTo>
                  <a:close/>
                  <a:moveTo>
                    <a:pt x="18" y="22"/>
                  </a:moveTo>
                  <a:lnTo>
                    <a:pt x="18" y="22"/>
                  </a:lnTo>
                  <a:lnTo>
                    <a:pt x="13" y="23"/>
                  </a:lnTo>
                  <a:lnTo>
                    <a:pt x="13" y="23"/>
                  </a:lnTo>
                  <a:lnTo>
                    <a:pt x="11" y="26"/>
                  </a:lnTo>
                  <a:lnTo>
                    <a:pt x="9" y="29"/>
                  </a:lnTo>
                  <a:lnTo>
                    <a:pt x="12" y="29"/>
                  </a:lnTo>
                  <a:lnTo>
                    <a:pt x="12" y="29"/>
                  </a:lnTo>
                  <a:lnTo>
                    <a:pt x="13" y="28"/>
                  </a:lnTo>
                  <a:lnTo>
                    <a:pt x="15" y="26"/>
                  </a:lnTo>
                  <a:lnTo>
                    <a:pt x="15" y="26"/>
                  </a:lnTo>
                  <a:lnTo>
                    <a:pt x="19" y="25"/>
                  </a:lnTo>
                  <a:lnTo>
                    <a:pt x="18" y="22"/>
                  </a:lnTo>
                  <a:close/>
                  <a:moveTo>
                    <a:pt x="34" y="22"/>
                  </a:moveTo>
                  <a:lnTo>
                    <a:pt x="34" y="22"/>
                  </a:lnTo>
                  <a:lnTo>
                    <a:pt x="28" y="22"/>
                  </a:lnTo>
                  <a:lnTo>
                    <a:pt x="28" y="22"/>
                  </a:lnTo>
                  <a:lnTo>
                    <a:pt x="24" y="22"/>
                  </a:lnTo>
                  <a:lnTo>
                    <a:pt x="24" y="25"/>
                  </a:lnTo>
                  <a:lnTo>
                    <a:pt x="24" y="25"/>
                  </a:lnTo>
                  <a:lnTo>
                    <a:pt x="28" y="25"/>
                  </a:lnTo>
                  <a:lnTo>
                    <a:pt x="28" y="25"/>
                  </a:lnTo>
                  <a:lnTo>
                    <a:pt x="34" y="25"/>
                  </a:lnTo>
                  <a:lnTo>
                    <a:pt x="34" y="22"/>
                  </a:lnTo>
                  <a:close/>
                  <a:moveTo>
                    <a:pt x="48" y="22"/>
                  </a:moveTo>
                  <a:lnTo>
                    <a:pt x="48" y="22"/>
                  </a:lnTo>
                  <a:lnTo>
                    <a:pt x="47" y="23"/>
                  </a:lnTo>
                  <a:lnTo>
                    <a:pt x="47" y="23"/>
                  </a:lnTo>
                  <a:lnTo>
                    <a:pt x="38" y="22"/>
                  </a:lnTo>
                  <a:lnTo>
                    <a:pt x="38" y="25"/>
                  </a:lnTo>
                  <a:lnTo>
                    <a:pt x="38" y="25"/>
                  </a:lnTo>
                  <a:lnTo>
                    <a:pt x="47" y="25"/>
                  </a:lnTo>
                  <a:lnTo>
                    <a:pt x="47" y="25"/>
                  </a:lnTo>
                  <a:lnTo>
                    <a:pt x="50" y="25"/>
                  </a:lnTo>
                  <a:lnTo>
                    <a:pt x="48" y="22"/>
                  </a:lnTo>
                  <a:close/>
                  <a:moveTo>
                    <a:pt x="63" y="16"/>
                  </a:moveTo>
                  <a:lnTo>
                    <a:pt x="63" y="16"/>
                  </a:lnTo>
                  <a:lnTo>
                    <a:pt x="53" y="20"/>
                  </a:lnTo>
                  <a:lnTo>
                    <a:pt x="54" y="23"/>
                  </a:lnTo>
                  <a:lnTo>
                    <a:pt x="54" y="23"/>
                  </a:lnTo>
                  <a:lnTo>
                    <a:pt x="63" y="19"/>
                  </a:lnTo>
                  <a:lnTo>
                    <a:pt x="63" y="16"/>
                  </a:lnTo>
                  <a:close/>
                  <a:moveTo>
                    <a:pt x="77" y="15"/>
                  </a:moveTo>
                  <a:lnTo>
                    <a:pt x="77" y="15"/>
                  </a:lnTo>
                  <a:lnTo>
                    <a:pt x="71" y="15"/>
                  </a:lnTo>
                  <a:lnTo>
                    <a:pt x="71" y="15"/>
                  </a:lnTo>
                  <a:lnTo>
                    <a:pt x="67" y="15"/>
                  </a:lnTo>
                  <a:lnTo>
                    <a:pt x="67" y="18"/>
                  </a:lnTo>
                  <a:lnTo>
                    <a:pt x="67" y="18"/>
                  </a:lnTo>
                  <a:lnTo>
                    <a:pt x="71" y="16"/>
                  </a:lnTo>
                  <a:lnTo>
                    <a:pt x="71" y="16"/>
                  </a:lnTo>
                  <a:lnTo>
                    <a:pt x="77" y="16"/>
                  </a:lnTo>
                  <a:lnTo>
                    <a:pt x="77" y="15"/>
                  </a:lnTo>
                  <a:close/>
                  <a:moveTo>
                    <a:pt x="89" y="9"/>
                  </a:moveTo>
                  <a:lnTo>
                    <a:pt x="89" y="9"/>
                  </a:lnTo>
                  <a:lnTo>
                    <a:pt x="86" y="13"/>
                  </a:lnTo>
                  <a:lnTo>
                    <a:pt x="86" y="13"/>
                  </a:lnTo>
                  <a:lnTo>
                    <a:pt x="83" y="15"/>
                  </a:lnTo>
                  <a:lnTo>
                    <a:pt x="83" y="16"/>
                  </a:lnTo>
                  <a:lnTo>
                    <a:pt x="83" y="16"/>
                  </a:lnTo>
                  <a:lnTo>
                    <a:pt x="86" y="16"/>
                  </a:lnTo>
                  <a:lnTo>
                    <a:pt x="87" y="15"/>
                  </a:lnTo>
                  <a:lnTo>
                    <a:pt x="87" y="15"/>
                  </a:lnTo>
                  <a:lnTo>
                    <a:pt x="92" y="10"/>
                  </a:lnTo>
                  <a:lnTo>
                    <a:pt x="89" y="9"/>
                  </a:lnTo>
                  <a:close/>
                  <a:moveTo>
                    <a:pt x="102" y="2"/>
                  </a:moveTo>
                  <a:lnTo>
                    <a:pt x="102" y="2"/>
                  </a:lnTo>
                  <a:lnTo>
                    <a:pt x="99" y="0"/>
                  </a:lnTo>
                  <a:lnTo>
                    <a:pt x="99" y="0"/>
                  </a:lnTo>
                  <a:lnTo>
                    <a:pt x="95" y="2"/>
                  </a:lnTo>
                  <a:lnTo>
                    <a:pt x="93" y="3"/>
                  </a:lnTo>
                  <a:lnTo>
                    <a:pt x="93" y="3"/>
                  </a:lnTo>
                  <a:lnTo>
                    <a:pt x="92" y="5"/>
                  </a:lnTo>
                  <a:lnTo>
                    <a:pt x="93" y="6"/>
                  </a:lnTo>
                  <a:lnTo>
                    <a:pt x="93" y="6"/>
                  </a:lnTo>
                  <a:lnTo>
                    <a:pt x="95" y="5"/>
                  </a:lnTo>
                  <a:lnTo>
                    <a:pt x="95" y="5"/>
                  </a:lnTo>
                  <a:lnTo>
                    <a:pt x="99" y="3"/>
                  </a:lnTo>
                  <a:lnTo>
                    <a:pt x="99" y="3"/>
                  </a:lnTo>
                  <a:lnTo>
                    <a:pt x="100" y="3"/>
                  </a:lnTo>
                  <a:lnTo>
                    <a:pt x="102" y="2"/>
                  </a:lnTo>
                  <a:close/>
                  <a:moveTo>
                    <a:pt x="115" y="9"/>
                  </a:moveTo>
                  <a:lnTo>
                    <a:pt x="115" y="9"/>
                  </a:lnTo>
                  <a:lnTo>
                    <a:pt x="109" y="7"/>
                  </a:lnTo>
                  <a:lnTo>
                    <a:pt x="106" y="5"/>
                  </a:lnTo>
                  <a:lnTo>
                    <a:pt x="105" y="6"/>
                  </a:lnTo>
                  <a:lnTo>
                    <a:pt x="105" y="6"/>
                  </a:lnTo>
                  <a:lnTo>
                    <a:pt x="109" y="9"/>
                  </a:lnTo>
                  <a:lnTo>
                    <a:pt x="113" y="12"/>
                  </a:lnTo>
                  <a:lnTo>
                    <a:pt x="115"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86" name="Freeform 1611"/>
            <p:cNvSpPr>
              <a:spLocks noEditPoints="1"/>
            </p:cNvSpPr>
            <p:nvPr/>
          </p:nvSpPr>
          <p:spPr bwMode="auto">
            <a:xfrm>
              <a:off x="4316413" y="4491467"/>
              <a:ext cx="23813" cy="133350"/>
            </a:xfrm>
            <a:custGeom>
              <a:avLst/>
              <a:gdLst>
                <a:gd name="T0" fmla="*/ 5 w 15"/>
                <a:gd name="T1" fmla="*/ 10 h 84"/>
                <a:gd name="T2" fmla="*/ 5 w 15"/>
                <a:gd name="T3" fmla="*/ 10 h 84"/>
                <a:gd name="T4" fmla="*/ 1 w 15"/>
                <a:gd name="T5" fmla="*/ 0 h 84"/>
                <a:gd name="T6" fmla="*/ 0 w 15"/>
                <a:gd name="T7" fmla="*/ 1 h 84"/>
                <a:gd name="T8" fmla="*/ 0 w 15"/>
                <a:gd name="T9" fmla="*/ 1 h 84"/>
                <a:gd name="T10" fmla="*/ 2 w 15"/>
                <a:gd name="T11" fmla="*/ 10 h 84"/>
                <a:gd name="T12" fmla="*/ 5 w 15"/>
                <a:gd name="T13" fmla="*/ 10 h 84"/>
                <a:gd name="T14" fmla="*/ 10 w 15"/>
                <a:gd name="T15" fmla="*/ 25 h 84"/>
                <a:gd name="T16" fmla="*/ 10 w 15"/>
                <a:gd name="T17" fmla="*/ 25 h 84"/>
                <a:gd name="T18" fmla="*/ 7 w 15"/>
                <a:gd name="T19" fmla="*/ 14 h 84"/>
                <a:gd name="T20" fmla="*/ 5 w 15"/>
                <a:gd name="T21" fmla="*/ 16 h 84"/>
                <a:gd name="T22" fmla="*/ 5 w 15"/>
                <a:gd name="T23" fmla="*/ 16 h 84"/>
                <a:gd name="T24" fmla="*/ 8 w 15"/>
                <a:gd name="T25" fmla="*/ 25 h 84"/>
                <a:gd name="T26" fmla="*/ 10 w 15"/>
                <a:gd name="T27" fmla="*/ 25 h 84"/>
                <a:gd name="T28" fmla="*/ 14 w 15"/>
                <a:gd name="T29" fmla="*/ 39 h 84"/>
                <a:gd name="T30" fmla="*/ 14 w 15"/>
                <a:gd name="T31" fmla="*/ 39 h 84"/>
                <a:gd name="T32" fmla="*/ 13 w 15"/>
                <a:gd name="T33" fmla="*/ 32 h 84"/>
                <a:gd name="T34" fmla="*/ 13 w 15"/>
                <a:gd name="T35" fmla="*/ 32 h 84"/>
                <a:gd name="T36" fmla="*/ 11 w 15"/>
                <a:gd name="T37" fmla="*/ 29 h 84"/>
                <a:gd name="T38" fmla="*/ 10 w 15"/>
                <a:gd name="T39" fmla="*/ 30 h 84"/>
                <a:gd name="T40" fmla="*/ 10 w 15"/>
                <a:gd name="T41" fmla="*/ 30 h 84"/>
                <a:gd name="T42" fmla="*/ 10 w 15"/>
                <a:gd name="T43" fmla="*/ 32 h 84"/>
                <a:gd name="T44" fmla="*/ 10 w 15"/>
                <a:gd name="T45" fmla="*/ 32 h 84"/>
                <a:gd name="T46" fmla="*/ 11 w 15"/>
                <a:gd name="T47" fmla="*/ 39 h 84"/>
                <a:gd name="T48" fmla="*/ 14 w 15"/>
                <a:gd name="T49" fmla="*/ 39 h 84"/>
                <a:gd name="T50" fmla="*/ 11 w 15"/>
                <a:gd name="T51" fmla="*/ 55 h 84"/>
                <a:gd name="T52" fmla="*/ 11 w 15"/>
                <a:gd name="T53" fmla="*/ 55 h 84"/>
                <a:gd name="T54" fmla="*/ 13 w 15"/>
                <a:gd name="T55" fmla="*/ 45 h 84"/>
                <a:gd name="T56" fmla="*/ 11 w 15"/>
                <a:gd name="T57" fmla="*/ 45 h 84"/>
                <a:gd name="T58" fmla="*/ 11 w 15"/>
                <a:gd name="T59" fmla="*/ 45 h 84"/>
                <a:gd name="T60" fmla="*/ 8 w 15"/>
                <a:gd name="T61" fmla="*/ 54 h 84"/>
                <a:gd name="T62" fmla="*/ 11 w 15"/>
                <a:gd name="T63" fmla="*/ 55 h 84"/>
                <a:gd name="T64" fmla="*/ 13 w 15"/>
                <a:gd name="T65" fmla="*/ 69 h 84"/>
                <a:gd name="T66" fmla="*/ 13 w 15"/>
                <a:gd name="T67" fmla="*/ 69 h 84"/>
                <a:gd name="T68" fmla="*/ 11 w 15"/>
                <a:gd name="T69" fmla="*/ 61 h 84"/>
                <a:gd name="T70" fmla="*/ 11 w 15"/>
                <a:gd name="T71" fmla="*/ 61 h 84"/>
                <a:gd name="T72" fmla="*/ 11 w 15"/>
                <a:gd name="T73" fmla="*/ 59 h 84"/>
                <a:gd name="T74" fmla="*/ 8 w 15"/>
                <a:gd name="T75" fmla="*/ 59 h 84"/>
                <a:gd name="T76" fmla="*/ 8 w 15"/>
                <a:gd name="T77" fmla="*/ 59 h 84"/>
                <a:gd name="T78" fmla="*/ 8 w 15"/>
                <a:gd name="T79" fmla="*/ 61 h 84"/>
                <a:gd name="T80" fmla="*/ 8 w 15"/>
                <a:gd name="T81" fmla="*/ 61 h 84"/>
                <a:gd name="T82" fmla="*/ 10 w 15"/>
                <a:gd name="T83" fmla="*/ 69 h 84"/>
                <a:gd name="T84" fmla="*/ 13 w 15"/>
                <a:gd name="T85" fmla="*/ 69 h 84"/>
                <a:gd name="T86" fmla="*/ 15 w 15"/>
                <a:gd name="T87" fmla="*/ 84 h 84"/>
                <a:gd name="T88" fmla="*/ 15 w 15"/>
                <a:gd name="T89" fmla="*/ 84 h 84"/>
                <a:gd name="T90" fmla="*/ 13 w 15"/>
                <a:gd name="T91" fmla="*/ 74 h 84"/>
                <a:gd name="T92" fmla="*/ 11 w 15"/>
                <a:gd name="T93" fmla="*/ 75 h 84"/>
                <a:gd name="T94" fmla="*/ 11 w 15"/>
                <a:gd name="T95" fmla="*/ 75 h 84"/>
                <a:gd name="T96" fmla="*/ 13 w 15"/>
                <a:gd name="T97" fmla="*/ 84 h 84"/>
                <a:gd name="T98" fmla="*/ 15 w 15"/>
                <a:gd name="T9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 h="84">
                  <a:moveTo>
                    <a:pt x="5" y="10"/>
                  </a:moveTo>
                  <a:lnTo>
                    <a:pt x="5" y="10"/>
                  </a:lnTo>
                  <a:lnTo>
                    <a:pt x="1" y="0"/>
                  </a:lnTo>
                  <a:lnTo>
                    <a:pt x="0" y="1"/>
                  </a:lnTo>
                  <a:lnTo>
                    <a:pt x="0" y="1"/>
                  </a:lnTo>
                  <a:lnTo>
                    <a:pt x="2" y="10"/>
                  </a:lnTo>
                  <a:lnTo>
                    <a:pt x="5" y="10"/>
                  </a:lnTo>
                  <a:close/>
                  <a:moveTo>
                    <a:pt x="10" y="25"/>
                  </a:moveTo>
                  <a:lnTo>
                    <a:pt x="10" y="25"/>
                  </a:lnTo>
                  <a:lnTo>
                    <a:pt x="7" y="14"/>
                  </a:lnTo>
                  <a:lnTo>
                    <a:pt x="5" y="16"/>
                  </a:lnTo>
                  <a:lnTo>
                    <a:pt x="5" y="16"/>
                  </a:lnTo>
                  <a:lnTo>
                    <a:pt x="8" y="25"/>
                  </a:lnTo>
                  <a:lnTo>
                    <a:pt x="10" y="25"/>
                  </a:lnTo>
                  <a:close/>
                  <a:moveTo>
                    <a:pt x="14" y="39"/>
                  </a:moveTo>
                  <a:lnTo>
                    <a:pt x="14" y="39"/>
                  </a:lnTo>
                  <a:lnTo>
                    <a:pt x="13" y="32"/>
                  </a:lnTo>
                  <a:lnTo>
                    <a:pt x="13" y="32"/>
                  </a:lnTo>
                  <a:lnTo>
                    <a:pt x="11" y="29"/>
                  </a:lnTo>
                  <a:lnTo>
                    <a:pt x="10" y="30"/>
                  </a:lnTo>
                  <a:lnTo>
                    <a:pt x="10" y="30"/>
                  </a:lnTo>
                  <a:lnTo>
                    <a:pt x="10" y="32"/>
                  </a:lnTo>
                  <a:lnTo>
                    <a:pt x="10" y="32"/>
                  </a:lnTo>
                  <a:lnTo>
                    <a:pt x="11" y="39"/>
                  </a:lnTo>
                  <a:lnTo>
                    <a:pt x="14" y="39"/>
                  </a:lnTo>
                  <a:close/>
                  <a:moveTo>
                    <a:pt x="11" y="55"/>
                  </a:moveTo>
                  <a:lnTo>
                    <a:pt x="11" y="55"/>
                  </a:lnTo>
                  <a:lnTo>
                    <a:pt x="13" y="45"/>
                  </a:lnTo>
                  <a:lnTo>
                    <a:pt x="11" y="45"/>
                  </a:lnTo>
                  <a:lnTo>
                    <a:pt x="11" y="45"/>
                  </a:lnTo>
                  <a:lnTo>
                    <a:pt x="8" y="54"/>
                  </a:lnTo>
                  <a:lnTo>
                    <a:pt x="11" y="55"/>
                  </a:lnTo>
                  <a:close/>
                  <a:moveTo>
                    <a:pt x="13" y="69"/>
                  </a:moveTo>
                  <a:lnTo>
                    <a:pt x="13" y="69"/>
                  </a:lnTo>
                  <a:lnTo>
                    <a:pt x="11" y="61"/>
                  </a:lnTo>
                  <a:lnTo>
                    <a:pt x="11" y="61"/>
                  </a:lnTo>
                  <a:lnTo>
                    <a:pt x="11" y="59"/>
                  </a:lnTo>
                  <a:lnTo>
                    <a:pt x="8" y="59"/>
                  </a:lnTo>
                  <a:lnTo>
                    <a:pt x="8" y="59"/>
                  </a:lnTo>
                  <a:lnTo>
                    <a:pt x="8" y="61"/>
                  </a:lnTo>
                  <a:lnTo>
                    <a:pt x="8" y="61"/>
                  </a:lnTo>
                  <a:lnTo>
                    <a:pt x="10" y="69"/>
                  </a:lnTo>
                  <a:lnTo>
                    <a:pt x="13" y="69"/>
                  </a:lnTo>
                  <a:close/>
                  <a:moveTo>
                    <a:pt x="15" y="84"/>
                  </a:moveTo>
                  <a:lnTo>
                    <a:pt x="15" y="84"/>
                  </a:lnTo>
                  <a:lnTo>
                    <a:pt x="13" y="74"/>
                  </a:lnTo>
                  <a:lnTo>
                    <a:pt x="11" y="75"/>
                  </a:lnTo>
                  <a:lnTo>
                    <a:pt x="11" y="75"/>
                  </a:lnTo>
                  <a:lnTo>
                    <a:pt x="13" y="84"/>
                  </a:lnTo>
                  <a:lnTo>
                    <a:pt x="15" y="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87" name="Freeform 1613"/>
            <p:cNvSpPr>
              <a:spLocks noEditPoints="1"/>
            </p:cNvSpPr>
            <p:nvPr/>
          </p:nvSpPr>
          <p:spPr bwMode="auto">
            <a:xfrm>
              <a:off x="4338638" y="4480354"/>
              <a:ext cx="22225" cy="133350"/>
            </a:xfrm>
            <a:custGeom>
              <a:avLst/>
              <a:gdLst>
                <a:gd name="T0" fmla="*/ 10 w 14"/>
                <a:gd name="T1" fmla="*/ 74 h 84"/>
                <a:gd name="T2" fmla="*/ 10 w 14"/>
                <a:gd name="T3" fmla="*/ 74 h 84"/>
                <a:gd name="T4" fmla="*/ 12 w 14"/>
                <a:gd name="T5" fmla="*/ 84 h 84"/>
                <a:gd name="T6" fmla="*/ 14 w 14"/>
                <a:gd name="T7" fmla="*/ 82 h 84"/>
                <a:gd name="T8" fmla="*/ 14 w 14"/>
                <a:gd name="T9" fmla="*/ 82 h 84"/>
                <a:gd name="T10" fmla="*/ 13 w 14"/>
                <a:gd name="T11" fmla="*/ 74 h 84"/>
                <a:gd name="T12" fmla="*/ 10 w 14"/>
                <a:gd name="T13" fmla="*/ 74 h 84"/>
                <a:gd name="T14" fmla="*/ 10 w 14"/>
                <a:gd name="T15" fmla="*/ 58 h 84"/>
                <a:gd name="T16" fmla="*/ 10 w 14"/>
                <a:gd name="T17" fmla="*/ 58 h 84"/>
                <a:gd name="T18" fmla="*/ 10 w 14"/>
                <a:gd name="T19" fmla="*/ 68 h 84"/>
                <a:gd name="T20" fmla="*/ 13 w 14"/>
                <a:gd name="T21" fmla="*/ 68 h 84"/>
                <a:gd name="T22" fmla="*/ 13 w 14"/>
                <a:gd name="T23" fmla="*/ 68 h 84"/>
                <a:gd name="T24" fmla="*/ 13 w 14"/>
                <a:gd name="T25" fmla="*/ 58 h 84"/>
                <a:gd name="T26" fmla="*/ 10 w 14"/>
                <a:gd name="T27" fmla="*/ 58 h 84"/>
                <a:gd name="T28" fmla="*/ 10 w 14"/>
                <a:gd name="T29" fmla="*/ 43 h 84"/>
                <a:gd name="T30" fmla="*/ 10 w 14"/>
                <a:gd name="T31" fmla="*/ 43 h 84"/>
                <a:gd name="T32" fmla="*/ 10 w 14"/>
                <a:gd name="T33" fmla="*/ 50 h 84"/>
                <a:gd name="T34" fmla="*/ 10 w 14"/>
                <a:gd name="T35" fmla="*/ 50 h 84"/>
                <a:gd name="T36" fmla="*/ 10 w 14"/>
                <a:gd name="T37" fmla="*/ 53 h 84"/>
                <a:gd name="T38" fmla="*/ 13 w 14"/>
                <a:gd name="T39" fmla="*/ 53 h 84"/>
                <a:gd name="T40" fmla="*/ 13 w 14"/>
                <a:gd name="T41" fmla="*/ 53 h 84"/>
                <a:gd name="T42" fmla="*/ 13 w 14"/>
                <a:gd name="T43" fmla="*/ 50 h 84"/>
                <a:gd name="T44" fmla="*/ 13 w 14"/>
                <a:gd name="T45" fmla="*/ 50 h 84"/>
                <a:gd name="T46" fmla="*/ 13 w 14"/>
                <a:gd name="T47" fmla="*/ 43 h 84"/>
                <a:gd name="T48" fmla="*/ 10 w 14"/>
                <a:gd name="T49" fmla="*/ 43 h 84"/>
                <a:gd name="T50" fmla="*/ 7 w 14"/>
                <a:gd name="T51" fmla="*/ 29 h 84"/>
                <a:gd name="T52" fmla="*/ 7 w 14"/>
                <a:gd name="T53" fmla="*/ 29 h 84"/>
                <a:gd name="T54" fmla="*/ 9 w 14"/>
                <a:gd name="T55" fmla="*/ 33 h 84"/>
                <a:gd name="T56" fmla="*/ 10 w 14"/>
                <a:gd name="T57" fmla="*/ 37 h 84"/>
                <a:gd name="T58" fmla="*/ 13 w 14"/>
                <a:gd name="T59" fmla="*/ 37 h 84"/>
                <a:gd name="T60" fmla="*/ 13 w 14"/>
                <a:gd name="T61" fmla="*/ 37 h 84"/>
                <a:gd name="T62" fmla="*/ 12 w 14"/>
                <a:gd name="T63" fmla="*/ 32 h 84"/>
                <a:gd name="T64" fmla="*/ 10 w 14"/>
                <a:gd name="T65" fmla="*/ 27 h 84"/>
                <a:gd name="T66" fmla="*/ 7 w 14"/>
                <a:gd name="T67" fmla="*/ 29 h 84"/>
                <a:gd name="T68" fmla="*/ 0 w 14"/>
                <a:gd name="T69" fmla="*/ 14 h 84"/>
                <a:gd name="T70" fmla="*/ 0 w 14"/>
                <a:gd name="T71" fmla="*/ 14 h 84"/>
                <a:gd name="T72" fmla="*/ 6 w 14"/>
                <a:gd name="T73" fmla="*/ 24 h 84"/>
                <a:gd name="T74" fmla="*/ 7 w 14"/>
                <a:gd name="T75" fmla="*/ 23 h 84"/>
                <a:gd name="T76" fmla="*/ 7 w 14"/>
                <a:gd name="T77" fmla="*/ 23 h 84"/>
                <a:gd name="T78" fmla="*/ 3 w 14"/>
                <a:gd name="T79" fmla="*/ 14 h 84"/>
                <a:gd name="T80" fmla="*/ 0 w 14"/>
                <a:gd name="T81" fmla="*/ 14 h 84"/>
                <a:gd name="T82" fmla="*/ 6 w 14"/>
                <a:gd name="T83" fmla="*/ 0 h 84"/>
                <a:gd name="T84" fmla="*/ 6 w 14"/>
                <a:gd name="T85" fmla="*/ 0 h 84"/>
                <a:gd name="T86" fmla="*/ 1 w 14"/>
                <a:gd name="T87" fmla="*/ 8 h 84"/>
                <a:gd name="T88" fmla="*/ 3 w 14"/>
                <a:gd name="T89" fmla="*/ 10 h 84"/>
                <a:gd name="T90" fmla="*/ 3 w 14"/>
                <a:gd name="T91" fmla="*/ 10 h 84"/>
                <a:gd name="T92" fmla="*/ 7 w 14"/>
                <a:gd name="T93" fmla="*/ 1 h 84"/>
                <a:gd name="T94" fmla="*/ 6 w 14"/>
                <a:gd name="T9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 h="84">
                  <a:moveTo>
                    <a:pt x="10" y="74"/>
                  </a:moveTo>
                  <a:lnTo>
                    <a:pt x="10" y="74"/>
                  </a:lnTo>
                  <a:lnTo>
                    <a:pt x="12" y="84"/>
                  </a:lnTo>
                  <a:lnTo>
                    <a:pt x="14" y="82"/>
                  </a:lnTo>
                  <a:lnTo>
                    <a:pt x="14" y="82"/>
                  </a:lnTo>
                  <a:lnTo>
                    <a:pt x="13" y="74"/>
                  </a:lnTo>
                  <a:lnTo>
                    <a:pt x="10" y="74"/>
                  </a:lnTo>
                  <a:close/>
                  <a:moveTo>
                    <a:pt x="10" y="58"/>
                  </a:moveTo>
                  <a:lnTo>
                    <a:pt x="10" y="58"/>
                  </a:lnTo>
                  <a:lnTo>
                    <a:pt x="10" y="68"/>
                  </a:lnTo>
                  <a:lnTo>
                    <a:pt x="13" y="68"/>
                  </a:lnTo>
                  <a:lnTo>
                    <a:pt x="13" y="68"/>
                  </a:lnTo>
                  <a:lnTo>
                    <a:pt x="13" y="58"/>
                  </a:lnTo>
                  <a:lnTo>
                    <a:pt x="10" y="58"/>
                  </a:lnTo>
                  <a:close/>
                  <a:moveTo>
                    <a:pt x="10" y="43"/>
                  </a:moveTo>
                  <a:lnTo>
                    <a:pt x="10" y="43"/>
                  </a:lnTo>
                  <a:lnTo>
                    <a:pt x="10" y="50"/>
                  </a:lnTo>
                  <a:lnTo>
                    <a:pt x="10" y="50"/>
                  </a:lnTo>
                  <a:lnTo>
                    <a:pt x="10" y="53"/>
                  </a:lnTo>
                  <a:lnTo>
                    <a:pt x="13" y="53"/>
                  </a:lnTo>
                  <a:lnTo>
                    <a:pt x="13" y="53"/>
                  </a:lnTo>
                  <a:lnTo>
                    <a:pt x="13" y="50"/>
                  </a:lnTo>
                  <a:lnTo>
                    <a:pt x="13" y="50"/>
                  </a:lnTo>
                  <a:lnTo>
                    <a:pt x="13" y="43"/>
                  </a:lnTo>
                  <a:lnTo>
                    <a:pt x="10" y="43"/>
                  </a:lnTo>
                  <a:close/>
                  <a:moveTo>
                    <a:pt x="7" y="29"/>
                  </a:moveTo>
                  <a:lnTo>
                    <a:pt x="7" y="29"/>
                  </a:lnTo>
                  <a:lnTo>
                    <a:pt x="9" y="33"/>
                  </a:lnTo>
                  <a:lnTo>
                    <a:pt x="10" y="37"/>
                  </a:lnTo>
                  <a:lnTo>
                    <a:pt x="13" y="37"/>
                  </a:lnTo>
                  <a:lnTo>
                    <a:pt x="13" y="37"/>
                  </a:lnTo>
                  <a:lnTo>
                    <a:pt x="12" y="32"/>
                  </a:lnTo>
                  <a:lnTo>
                    <a:pt x="10" y="27"/>
                  </a:lnTo>
                  <a:lnTo>
                    <a:pt x="7" y="29"/>
                  </a:lnTo>
                  <a:close/>
                  <a:moveTo>
                    <a:pt x="0" y="14"/>
                  </a:moveTo>
                  <a:lnTo>
                    <a:pt x="0" y="14"/>
                  </a:lnTo>
                  <a:lnTo>
                    <a:pt x="6" y="24"/>
                  </a:lnTo>
                  <a:lnTo>
                    <a:pt x="7" y="23"/>
                  </a:lnTo>
                  <a:lnTo>
                    <a:pt x="7" y="23"/>
                  </a:lnTo>
                  <a:lnTo>
                    <a:pt x="3" y="14"/>
                  </a:lnTo>
                  <a:lnTo>
                    <a:pt x="0" y="14"/>
                  </a:lnTo>
                  <a:close/>
                  <a:moveTo>
                    <a:pt x="6" y="0"/>
                  </a:moveTo>
                  <a:lnTo>
                    <a:pt x="6" y="0"/>
                  </a:lnTo>
                  <a:lnTo>
                    <a:pt x="1" y="8"/>
                  </a:lnTo>
                  <a:lnTo>
                    <a:pt x="3" y="10"/>
                  </a:lnTo>
                  <a:lnTo>
                    <a:pt x="3" y="10"/>
                  </a:lnTo>
                  <a:lnTo>
                    <a:pt x="7" y="1"/>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88" name="Freeform 1614"/>
            <p:cNvSpPr>
              <a:spLocks noEditPoints="1"/>
            </p:cNvSpPr>
            <p:nvPr/>
          </p:nvSpPr>
          <p:spPr bwMode="auto">
            <a:xfrm>
              <a:off x="4168775" y="4277154"/>
              <a:ext cx="258763" cy="244475"/>
            </a:xfrm>
            <a:custGeom>
              <a:avLst/>
              <a:gdLst>
                <a:gd name="T0" fmla="*/ 161 w 163"/>
                <a:gd name="T1" fmla="*/ 0 h 154"/>
                <a:gd name="T2" fmla="*/ 163 w 163"/>
                <a:gd name="T3" fmla="*/ 6 h 154"/>
                <a:gd name="T4" fmla="*/ 163 w 163"/>
                <a:gd name="T5" fmla="*/ 16 h 154"/>
                <a:gd name="T6" fmla="*/ 163 w 163"/>
                <a:gd name="T7" fmla="*/ 31 h 154"/>
                <a:gd name="T8" fmla="*/ 161 w 163"/>
                <a:gd name="T9" fmla="*/ 20 h 154"/>
                <a:gd name="T10" fmla="*/ 161 w 163"/>
                <a:gd name="T11" fmla="*/ 31 h 154"/>
                <a:gd name="T12" fmla="*/ 159 w 163"/>
                <a:gd name="T13" fmla="*/ 47 h 154"/>
                <a:gd name="T14" fmla="*/ 159 w 163"/>
                <a:gd name="T15" fmla="*/ 35 h 154"/>
                <a:gd name="T16" fmla="*/ 150 w 163"/>
                <a:gd name="T17" fmla="*/ 61 h 154"/>
                <a:gd name="T18" fmla="*/ 152 w 163"/>
                <a:gd name="T19" fmla="*/ 60 h 154"/>
                <a:gd name="T20" fmla="*/ 155 w 163"/>
                <a:gd name="T21" fmla="*/ 49 h 154"/>
                <a:gd name="T22" fmla="*/ 150 w 163"/>
                <a:gd name="T23" fmla="*/ 57 h 154"/>
                <a:gd name="T24" fmla="*/ 150 w 163"/>
                <a:gd name="T25" fmla="*/ 58 h 154"/>
                <a:gd name="T26" fmla="*/ 136 w 163"/>
                <a:gd name="T27" fmla="*/ 61 h 154"/>
                <a:gd name="T28" fmla="*/ 136 w 163"/>
                <a:gd name="T29" fmla="*/ 58 h 154"/>
                <a:gd name="T30" fmla="*/ 130 w 163"/>
                <a:gd name="T31" fmla="*/ 61 h 154"/>
                <a:gd name="T32" fmla="*/ 120 w 163"/>
                <a:gd name="T33" fmla="*/ 61 h 154"/>
                <a:gd name="T34" fmla="*/ 116 w 163"/>
                <a:gd name="T35" fmla="*/ 61 h 154"/>
                <a:gd name="T36" fmla="*/ 110 w 163"/>
                <a:gd name="T37" fmla="*/ 58 h 154"/>
                <a:gd name="T38" fmla="*/ 97 w 163"/>
                <a:gd name="T39" fmla="*/ 65 h 154"/>
                <a:gd name="T40" fmla="*/ 107 w 163"/>
                <a:gd name="T41" fmla="*/ 65 h 154"/>
                <a:gd name="T42" fmla="*/ 97 w 163"/>
                <a:gd name="T43" fmla="*/ 65 h 154"/>
                <a:gd name="T44" fmla="*/ 84 w 163"/>
                <a:gd name="T45" fmla="*/ 62 h 154"/>
                <a:gd name="T46" fmla="*/ 93 w 163"/>
                <a:gd name="T47" fmla="*/ 64 h 154"/>
                <a:gd name="T48" fmla="*/ 90 w 163"/>
                <a:gd name="T49" fmla="*/ 61 h 154"/>
                <a:gd name="T50" fmla="*/ 82 w 163"/>
                <a:gd name="T51" fmla="*/ 60 h 154"/>
                <a:gd name="T52" fmla="*/ 71 w 163"/>
                <a:gd name="T53" fmla="*/ 70 h 154"/>
                <a:gd name="T54" fmla="*/ 78 w 163"/>
                <a:gd name="T55" fmla="*/ 61 h 154"/>
                <a:gd name="T56" fmla="*/ 71 w 163"/>
                <a:gd name="T57" fmla="*/ 70 h 154"/>
                <a:gd name="T58" fmla="*/ 61 w 163"/>
                <a:gd name="T59" fmla="*/ 78 h 154"/>
                <a:gd name="T60" fmla="*/ 65 w 163"/>
                <a:gd name="T61" fmla="*/ 71 h 154"/>
                <a:gd name="T62" fmla="*/ 59 w 163"/>
                <a:gd name="T63" fmla="*/ 76 h 154"/>
                <a:gd name="T64" fmla="*/ 48 w 163"/>
                <a:gd name="T65" fmla="*/ 89 h 154"/>
                <a:gd name="T66" fmla="*/ 53 w 163"/>
                <a:gd name="T67" fmla="*/ 80 h 154"/>
                <a:gd name="T68" fmla="*/ 48 w 163"/>
                <a:gd name="T69" fmla="*/ 89 h 154"/>
                <a:gd name="T70" fmla="*/ 37 w 163"/>
                <a:gd name="T71" fmla="*/ 96 h 154"/>
                <a:gd name="T72" fmla="*/ 42 w 163"/>
                <a:gd name="T73" fmla="*/ 90 h 154"/>
                <a:gd name="T74" fmla="*/ 36 w 163"/>
                <a:gd name="T75" fmla="*/ 93 h 154"/>
                <a:gd name="T76" fmla="*/ 24 w 163"/>
                <a:gd name="T77" fmla="*/ 106 h 154"/>
                <a:gd name="T78" fmla="*/ 29 w 163"/>
                <a:gd name="T79" fmla="*/ 97 h 154"/>
                <a:gd name="T80" fmla="*/ 22 w 163"/>
                <a:gd name="T81" fmla="*/ 104 h 154"/>
                <a:gd name="T82" fmla="*/ 14 w 163"/>
                <a:gd name="T83" fmla="*/ 119 h 154"/>
                <a:gd name="T84" fmla="*/ 22 w 163"/>
                <a:gd name="T85" fmla="*/ 110 h 154"/>
                <a:gd name="T86" fmla="*/ 17 w 163"/>
                <a:gd name="T87" fmla="*/ 112 h 154"/>
                <a:gd name="T88" fmla="*/ 14 w 163"/>
                <a:gd name="T89" fmla="*/ 119 h 154"/>
                <a:gd name="T90" fmla="*/ 3 w 163"/>
                <a:gd name="T91" fmla="*/ 128 h 154"/>
                <a:gd name="T92" fmla="*/ 10 w 163"/>
                <a:gd name="T93" fmla="*/ 120 h 154"/>
                <a:gd name="T94" fmla="*/ 3 w 163"/>
                <a:gd name="T95" fmla="*/ 128 h 154"/>
                <a:gd name="T96" fmla="*/ 4 w 163"/>
                <a:gd name="T97" fmla="*/ 135 h 154"/>
                <a:gd name="T98" fmla="*/ 0 w 163"/>
                <a:gd name="T99" fmla="*/ 132 h 154"/>
                <a:gd name="T100" fmla="*/ 9 w 163"/>
                <a:gd name="T101" fmla="*/ 138 h 154"/>
                <a:gd name="T102" fmla="*/ 19 w 163"/>
                <a:gd name="T103" fmla="*/ 147 h 154"/>
                <a:gd name="T104" fmla="*/ 10 w 163"/>
                <a:gd name="T105" fmla="*/ 144 h 154"/>
                <a:gd name="T106" fmla="*/ 20 w 163"/>
                <a:gd name="T107" fmla="*/ 147 h 154"/>
                <a:gd name="T108" fmla="*/ 24 w 163"/>
                <a:gd name="T109" fmla="*/ 148 h 154"/>
                <a:gd name="T110" fmla="*/ 35 w 163"/>
                <a:gd name="T111" fmla="*/ 152 h 154"/>
                <a:gd name="T112" fmla="*/ 51 w 163"/>
                <a:gd name="T113" fmla="*/ 151 h 154"/>
                <a:gd name="T114" fmla="*/ 39 w 163"/>
                <a:gd name="T115" fmla="*/ 15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3" h="154">
                  <a:moveTo>
                    <a:pt x="163" y="0"/>
                  </a:moveTo>
                  <a:lnTo>
                    <a:pt x="161" y="0"/>
                  </a:lnTo>
                  <a:lnTo>
                    <a:pt x="161" y="0"/>
                  </a:lnTo>
                  <a:lnTo>
                    <a:pt x="163" y="0"/>
                  </a:lnTo>
                  <a:lnTo>
                    <a:pt x="163" y="0"/>
                  </a:lnTo>
                  <a:close/>
                  <a:moveTo>
                    <a:pt x="163" y="6"/>
                  </a:moveTo>
                  <a:lnTo>
                    <a:pt x="161" y="6"/>
                  </a:lnTo>
                  <a:lnTo>
                    <a:pt x="161" y="16"/>
                  </a:lnTo>
                  <a:lnTo>
                    <a:pt x="163" y="16"/>
                  </a:lnTo>
                  <a:lnTo>
                    <a:pt x="163" y="6"/>
                  </a:lnTo>
                  <a:close/>
                  <a:moveTo>
                    <a:pt x="163" y="31"/>
                  </a:moveTo>
                  <a:lnTo>
                    <a:pt x="163" y="31"/>
                  </a:lnTo>
                  <a:lnTo>
                    <a:pt x="163" y="23"/>
                  </a:lnTo>
                  <a:lnTo>
                    <a:pt x="163" y="20"/>
                  </a:lnTo>
                  <a:lnTo>
                    <a:pt x="161" y="20"/>
                  </a:lnTo>
                  <a:lnTo>
                    <a:pt x="161" y="23"/>
                  </a:lnTo>
                  <a:lnTo>
                    <a:pt x="161" y="23"/>
                  </a:lnTo>
                  <a:lnTo>
                    <a:pt x="161" y="31"/>
                  </a:lnTo>
                  <a:lnTo>
                    <a:pt x="163" y="31"/>
                  </a:lnTo>
                  <a:close/>
                  <a:moveTo>
                    <a:pt x="159" y="47"/>
                  </a:moveTo>
                  <a:lnTo>
                    <a:pt x="159" y="47"/>
                  </a:lnTo>
                  <a:lnTo>
                    <a:pt x="162" y="36"/>
                  </a:lnTo>
                  <a:lnTo>
                    <a:pt x="159" y="35"/>
                  </a:lnTo>
                  <a:lnTo>
                    <a:pt x="159" y="35"/>
                  </a:lnTo>
                  <a:lnTo>
                    <a:pt x="156" y="45"/>
                  </a:lnTo>
                  <a:lnTo>
                    <a:pt x="159" y="47"/>
                  </a:lnTo>
                  <a:close/>
                  <a:moveTo>
                    <a:pt x="150" y="61"/>
                  </a:moveTo>
                  <a:lnTo>
                    <a:pt x="150" y="61"/>
                  </a:lnTo>
                  <a:lnTo>
                    <a:pt x="152" y="61"/>
                  </a:lnTo>
                  <a:lnTo>
                    <a:pt x="152" y="60"/>
                  </a:lnTo>
                  <a:lnTo>
                    <a:pt x="152" y="60"/>
                  </a:lnTo>
                  <a:lnTo>
                    <a:pt x="156" y="51"/>
                  </a:lnTo>
                  <a:lnTo>
                    <a:pt x="155" y="49"/>
                  </a:lnTo>
                  <a:lnTo>
                    <a:pt x="155" y="49"/>
                  </a:lnTo>
                  <a:lnTo>
                    <a:pt x="150" y="57"/>
                  </a:lnTo>
                  <a:lnTo>
                    <a:pt x="150" y="57"/>
                  </a:lnTo>
                  <a:lnTo>
                    <a:pt x="149" y="58"/>
                  </a:lnTo>
                  <a:lnTo>
                    <a:pt x="150" y="60"/>
                  </a:lnTo>
                  <a:lnTo>
                    <a:pt x="150" y="58"/>
                  </a:lnTo>
                  <a:lnTo>
                    <a:pt x="150" y="58"/>
                  </a:lnTo>
                  <a:lnTo>
                    <a:pt x="150" y="61"/>
                  </a:lnTo>
                  <a:close/>
                  <a:moveTo>
                    <a:pt x="136" y="61"/>
                  </a:moveTo>
                  <a:lnTo>
                    <a:pt x="146" y="61"/>
                  </a:lnTo>
                  <a:lnTo>
                    <a:pt x="146" y="58"/>
                  </a:lnTo>
                  <a:lnTo>
                    <a:pt x="136" y="58"/>
                  </a:lnTo>
                  <a:lnTo>
                    <a:pt x="136" y="61"/>
                  </a:lnTo>
                  <a:close/>
                  <a:moveTo>
                    <a:pt x="120" y="61"/>
                  </a:moveTo>
                  <a:lnTo>
                    <a:pt x="130" y="61"/>
                  </a:lnTo>
                  <a:lnTo>
                    <a:pt x="130" y="58"/>
                  </a:lnTo>
                  <a:lnTo>
                    <a:pt x="120" y="58"/>
                  </a:lnTo>
                  <a:lnTo>
                    <a:pt x="120" y="61"/>
                  </a:lnTo>
                  <a:close/>
                  <a:moveTo>
                    <a:pt x="113" y="65"/>
                  </a:moveTo>
                  <a:lnTo>
                    <a:pt x="113" y="61"/>
                  </a:lnTo>
                  <a:lnTo>
                    <a:pt x="116" y="61"/>
                  </a:lnTo>
                  <a:lnTo>
                    <a:pt x="116" y="58"/>
                  </a:lnTo>
                  <a:lnTo>
                    <a:pt x="111" y="58"/>
                  </a:lnTo>
                  <a:lnTo>
                    <a:pt x="110" y="58"/>
                  </a:lnTo>
                  <a:lnTo>
                    <a:pt x="110" y="65"/>
                  </a:lnTo>
                  <a:lnTo>
                    <a:pt x="113" y="65"/>
                  </a:lnTo>
                  <a:close/>
                  <a:moveTo>
                    <a:pt x="97" y="65"/>
                  </a:moveTo>
                  <a:lnTo>
                    <a:pt x="97" y="65"/>
                  </a:lnTo>
                  <a:lnTo>
                    <a:pt x="107" y="68"/>
                  </a:lnTo>
                  <a:lnTo>
                    <a:pt x="107" y="65"/>
                  </a:lnTo>
                  <a:lnTo>
                    <a:pt x="107" y="65"/>
                  </a:lnTo>
                  <a:lnTo>
                    <a:pt x="98" y="64"/>
                  </a:lnTo>
                  <a:lnTo>
                    <a:pt x="97" y="65"/>
                  </a:lnTo>
                  <a:close/>
                  <a:moveTo>
                    <a:pt x="82" y="62"/>
                  </a:moveTo>
                  <a:lnTo>
                    <a:pt x="84" y="62"/>
                  </a:lnTo>
                  <a:lnTo>
                    <a:pt x="84" y="62"/>
                  </a:lnTo>
                  <a:lnTo>
                    <a:pt x="88" y="62"/>
                  </a:lnTo>
                  <a:lnTo>
                    <a:pt x="88" y="62"/>
                  </a:lnTo>
                  <a:lnTo>
                    <a:pt x="93" y="64"/>
                  </a:lnTo>
                  <a:lnTo>
                    <a:pt x="93" y="62"/>
                  </a:lnTo>
                  <a:lnTo>
                    <a:pt x="93" y="62"/>
                  </a:lnTo>
                  <a:lnTo>
                    <a:pt x="90" y="61"/>
                  </a:lnTo>
                  <a:lnTo>
                    <a:pt x="90" y="61"/>
                  </a:lnTo>
                  <a:lnTo>
                    <a:pt x="84" y="60"/>
                  </a:lnTo>
                  <a:lnTo>
                    <a:pt x="82" y="60"/>
                  </a:lnTo>
                  <a:lnTo>
                    <a:pt x="82" y="62"/>
                  </a:lnTo>
                  <a:close/>
                  <a:moveTo>
                    <a:pt x="71" y="70"/>
                  </a:moveTo>
                  <a:lnTo>
                    <a:pt x="71" y="70"/>
                  </a:lnTo>
                  <a:lnTo>
                    <a:pt x="78" y="64"/>
                  </a:lnTo>
                  <a:lnTo>
                    <a:pt x="78" y="61"/>
                  </a:lnTo>
                  <a:lnTo>
                    <a:pt x="78" y="61"/>
                  </a:lnTo>
                  <a:lnTo>
                    <a:pt x="72" y="64"/>
                  </a:lnTo>
                  <a:lnTo>
                    <a:pt x="69" y="67"/>
                  </a:lnTo>
                  <a:lnTo>
                    <a:pt x="71" y="70"/>
                  </a:lnTo>
                  <a:close/>
                  <a:moveTo>
                    <a:pt x="59" y="80"/>
                  </a:moveTo>
                  <a:lnTo>
                    <a:pt x="59" y="80"/>
                  </a:lnTo>
                  <a:lnTo>
                    <a:pt x="61" y="78"/>
                  </a:lnTo>
                  <a:lnTo>
                    <a:pt x="61" y="78"/>
                  </a:lnTo>
                  <a:lnTo>
                    <a:pt x="66" y="73"/>
                  </a:lnTo>
                  <a:lnTo>
                    <a:pt x="65" y="71"/>
                  </a:lnTo>
                  <a:lnTo>
                    <a:pt x="65" y="71"/>
                  </a:lnTo>
                  <a:lnTo>
                    <a:pt x="59" y="76"/>
                  </a:lnTo>
                  <a:lnTo>
                    <a:pt x="59" y="76"/>
                  </a:lnTo>
                  <a:lnTo>
                    <a:pt x="58" y="77"/>
                  </a:lnTo>
                  <a:lnTo>
                    <a:pt x="59" y="80"/>
                  </a:lnTo>
                  <a:close/>
                  <a:moveTo>
                    <a:pt x="48" y="89"/>
                  </a:moveTo>
                  <a:lnTo>
                    <a:pt x="48" y="89"/>
                  </a:lnTo>
                  <a:lnTo>
                    <a:pt x="55" y="83"/>
                  </a:lnTo>
                  <a:lnTo>
                    <a:pt x="53" y="80"/>
                  </a:lnTo>
                  <a:lnTo>
                    <a:pt x="53" y="80"/>
                  </a:lnTo>
                  <a:lnTo>
                    <a:pt x="46" y="87"/>
                  </a:lnTo>
                  <a:lnTo>
                    <a:pt x="48" y="89"/>
                  </a:lnTo>
                  <a:close/>
                  <a:moveTo>
                    <a:pt x="35" y="96"/>
                  </a:moveTo>
                  <a:lnTo>
                    <a:pt x="35" y="96"/>
                  </a:lnTo>
                  <a:lnTo>
                    <a:pt x="37" y="96"/>
                  </a:lnTo>
                  <a:lnTo>
                    <a:pt x="37" y="96"/>
                  </a:lnTo>
                  <a:lnTo>
                    <a:pt x="43" y="91"/>
                  </a:lnTo>
                  <a:lnTo>
                    <a:pt x="42" y="90"/>
                  </a:lnTo>
                  <a:lnTo>
                    <a:pt x="42" y="90"/>
                  </a:lnTo>
                  <a:lnTo>
                    <a:pt x="36" y="93"/>
                  </a:lnTo>
                  <a:lnTo>
                    <a:pt x="36" y="93"/>
                  </a:lnTo>
                  <a:lnTo>
                    <a:pt x="33" y="94"/>
                  </a:lnTo>
                  <a:lnTo>
                    <a:pt x="35" y="96"/>
                  </a:lnTo>
                  <a:close/>
                  <a:moveTo>
                    <a:pt x="24" y="106"/>
                  </a:moveTo>
                  <a:lnTo>
                    <a:pt x="24" y="106"/>
                  </a:lnTo>
                  <a:lnTo>
                    <a:pt x="30" y="99"/>
                  </a:lnTo>
                  <a:lnTo>
                    <a:pt x="29" y="97"/>
                  </a:lnTo>
                  <a:lnTo>
                    <a:pt x="29" y="97"/>
                  </a:lnTo>
                  <a:lnTo>
                    <a:pt x="24" y="100"/>
                  </a:lnTo>
                  <a:lnTo>
                    <a:pt x="22" y="104"/>
                  </a:lnTo>
                  <a:lnTo>
                    <a:pt x="24" y="106"/>
                  </a:lnTo>
                  <a:close/>
                  <a:moveTo>
                    <a:pt x="14" y="119"/>
                  </a:moveTo>
                  <a:lnTo>
                    <a:pt x="14" y="119"/>
                  </a:lnTo>
                  <a:lnTo>
                    <a:pt x="20" y="113"/>
                  </a:lnTo>
                  <a:lnTo>
                    <a:pt x="20" y="113"/>
                  </a:lnTo>
                  <a:lnTo>
                    <a:pt x="22" y="110"/>
                  </a:lnTo>
                  <a:lnTo>
                    <a:pt x="19" y="109"/>
                  </a:lnTo>
                  <a:lnTo>
                    <a:pt x="19" y="109"/>
                  </a:lnTo>
                  <a:lnTo>
                    <a:pt x="17" y="112"/>
                  </a:lnTo>
                  <a:lnTo>
                    <a:pt x="17" y="112"/>
                  </a:lnTo>
                  <a:lnTo>
                    <a:pt x="13" y="118"/>
                  </a:lnTo>
                  <a:lnTo>
                    <a:pt x="14" y="119"/>
                  </a:lnTo>
                  <a:close/>
                  <a:moveTo>
                    <a:pt x="3" y="128"/>
                  </a:moveTo>
                  <a:lnTo>
                    <a:pt x="3" y="128"/>
                  </a:lnTo>
                  <a:lnTo>
                    <a:pt x="3" y="128"/>
                  </a:lnTo>
                  <a:lnTo>
                    <a:pt x="11" y="122"/>
                  </a:lnTo>
                  <a:lnTo>
                    <a:pt x="10" y="120"/>
                  </a:lnTo>
                  <a:lnTo>
                    <a:pt x="10" y="120"/>
                  </a:lnTo>
                  <a:lnTo>
                    <a:pt x="1" y="126"/>
                  </a:lnTo>
                  <a:lnTo>
                    <a:pt x="1" y="126"/>
                  </a:lnTo>
                  <a:lnTo>
                    <a:pt x="3" y="128"/>
                  </a:lnTo>
                  <a:close/>
                  <a:moveTo>
                    <a:pt x="9" y="138"/>
                  </a:moveTo>
                  <a:lnTo>
                    <a:pt x="9" y="138"/>
                  </a:lnTo>
                  <a:lnTo>
                    <a:pt x="4" y="135"/>
                  </a:lnTo>
                  <a:lnTo>
                    <a:pt x="3" y="131"/>
                  </a:lnTo>
                  <a:lnTo>
                    <a:pt x="0" y="132"/>
                  </a:lnTo>
                  <a:lnTo>
                    <a:pt x="0" y="132"/>
                  </a:lnTo>
                  <a:lnTo>
                    <a:pt x="3" y="136"/>
                  </a:lnTo>
                  <a:lnTo>
                    <a:pt x="7" y="141"/>
                  </a:lnTo>
                  <a:lnTo>
                    <a:pt x="9" y="138"/>
                  </a:lnTo>
                  <a:close/>
                  <a:moveTo>
                    <a:pt x="20" y="147"/>
                  </a:moveTo>
                  <a:lnTo>
                    <a:pt x="19" y="147"/>
                  </a:lnTo>
                  <a:lnTo>
                    <a:pt x="19" y="147"/>
                  </a:lnTo>
                  <a:lnTo>
                    <a:pt x="11" y="142"/>
                  </a:lnTo>
                  <a:lnTo>
                    <a:pt x="10" y="144"/>
                  </a:lnTo>
                  <a:lnTo>
                    <a:pt x="10" y="144"/>
                  </a:lnTo>
                  <a:lnTo>
                    <a:pt x="19" y="149"/>
                  </a:lnTo>
                  <a:lnTo>
                    <a:pt x="19" y="149"/>
                  </a:lnTo>
                  <a:lnTo>
                    <a:pt x="20" y="147"/>
                  </a:lnTo>
                  <a:close/>
                  <a:moveTo>
                    <a:pt x="35" y="149"/>
                  </a:moveTo>
                  <a:lnTo>
                    <a:pt x="35" y="149"/>
                  </a:lnTo>
                  <a:lnTo>
                    <a:pt x="24" y="148"/>
                  </a:lnTo>
                  <a:lnTo>
                    <a:pt x="24" y="151"/>
                  </a:lnTo>
                  <a:lnTo>
                    <a:pt x="24" y="151"/>
                  </a:lnTo>
                  <a:lnTo>
                    <a:pt x="35" y="152"/>
                  </a:lnTo>
                  <a:lnTo>
                    <a:pt x="35" y="149"/>
                  </a:lnTo>
                  <a:close/>
                  <a:moveTo>
                    <a:pt x="51" y="151"/>
                  </a:moveTo>
                  <a:lnTo>
                    <a:pt x="51" y="151"/>
                  </a:lnTo>
                  <a:lnTo>
                    <a:pt x="40" y="151"/>
                  </a:lnTo>
                  <a:lnTo>
                    <a:pt x="39" y="152"/>
                  </a:lnTo>
                  <a:lnTo>
                    <a:pt x="39" y="152"/>
                  </a:lnTo>
                  <a:lnTo>
                    <a:pt x="49" y="154"/>
                  </a:lnTo>
                  <a:lnTo>
                    <a:pt x="51" y="1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89" name="Freeform 1615"/>
            <p:cNvSpPr>
              <a:spLocks noEditPoints="1"/>
            </p:cNvSpPr>
            <p:nvPr/>
          </p:nvSpPr>
          <p:spPr bwMode="auto">
            <a:xfrm>
              <a:off x="4311650" y="4378754"/>
              <a:ext cx="68263" cy="88900"/>
            </a:xfrm>
            <a:custGeom>
              <a:avLst/>
              <a:gdLst>
                <a:gd name="T0" fmla="*/ 5 w 43"/>
                <a:gd name="T1" fmla="*/ 10 h 56"/>
                <a:gd name="T2" fmla="*/ 5 w 43"/>
                <a:gd name="T3" fmla="*/ 10 h 56"/>
                <a:gd name="T4" fmla="*/ 3 w 43"/>
                <a:gd name="T5" fmla="*/ 0 h 56"/>
                <a:gd name="T6" fmla="*/ 0 w 43"/>
                <a:gd name="T7" fmla="*/ 1 h 56"/>
                <a:gd name="T8" fmla="*/ 0 w 43"/>
                <a:gd name="T9" fmla="*/ 1 h 56"/>
                <a:gd name="T10" fmla="*/ 3 w 43"/>
                <a:gd name="T11" fmla="*/ 10 h 56"/>
                <a:gd name="T12" fmla="*/ 5 w 43"/>
                <a:gd name="T13" fmla="*/ 10 h 56"/>
                <a:gd name="T14" fmla="*/ 13 w 43"/>
                <a:gd name="T15" fmla="*/ 22 h 56"/>
                <a:gd name="T16" fmla="*/ 13 w 43"/>
                <a:gd name="T17" fmla="*/ 22 h 56"/>
                <a:gd name="T18" fmla="*/ 7 w 43"/>
                <a:gd name="T19" fmla="*/ 14 h 56"/>
                <a:gd name="T20" fmla="*/ 5 w 43"/>
                <a:gd name="T21" fmla="*/ 16 h 56"/>
                <a:gd name="T22" fmla="*/ 5 w 43"/>
                <a:gd name="T23" fmla="*/ 16 h 56"/>
                <a:gd name="T24" fmla="*/ 11 w 43"/>
                <a:gd name="T25" fmla="*/ 23 h 56"/>
                <a:gd name="T26" fmla="*/ 13 w 43"/>
                <a:gd name="T27" fmla="*/ 22 h 56"/>
                <a:gd name="T28" fmla="*/ 24 w 43"/>
                <a:gd name="T29" fmla="*/ 32 h 56"/>
                <a:gd name="T30" fmla="*/ 24 w 43"/>
                <a:gd name="T31" fmla="*/ 32 h 56"/>
                <a:gd name="T32" fmla="*/ 18 w 43"/>
                <a:gd name="T33" fmla="*/ 27 h 56"/>
                <a:gd name="T34" fmla="*/ 18 w 43"/>
                <a:gd name="T35" fmla="*/ 27 h 56"/>
                <a:gd name="T36" fmla="*/ 17 w 43"/>
                <a:gd name="T37" fmla="*/ 25 h 56"/>
                <a:gd name="T38" fmla="*/ 16 w 43"/>
                <a:gd name="T39" fmla="*/ 27 h 56"/>
                <a:gd name="T40" fmla="*/ 16 w 43"/>
                <a:gd name="T41" fmla="*/ 27 h 56"/>
                <a:gd name="T42" fmla="*/ 17 w 43"/>
                <a:gd name="T43" fmla="*/ 29 h 56"/>
                <a:gd name="T44" fmla="*/ 17 w 43"/>
                <a:gd name="T45" fmla="*/ 29 h 56"/>
                <a:gd name="T46" fmla="*/ 24 w 43"/>
                <a:gd name="T47" fmla="*/ 33 h 56"/>
                <a:gd name="T48" fmla="*/ 24 w 43"/>
                <a:gd name="T49" fmla="*/ 32 h 56"/>
                <a:gd name="T50" fmla="*/ 36 w 43"/>
                <a:gd name="T51" fmla="*/ 42 h 56"/>
                <a:gd name="T52" fmla="*/ 36 w 43"/>
                <a:gd name="T53" fmla="*/ 42 h 56"/>
                <a:gd name="T54" fmla="*/ 33 w 43"/>
                <a:gd name="T55" fmla="*/ 36 h 56"/>
                <a:gd name="T56" fmla="*/ 33 w 43"/>
                <a:gd name="T57" fmla="*/ 36 h 56"/>
                <a:gd name="T58" fmla="*/ 29 w 43"/>
                <a:gd name="T59" fmla="*/ 33 h 56"/>
                <a:gd name="T60" fmla="*/ 29 w 43"/>
                <a:gd name="T61" fmla="*/ 36 h 56"/>
                <a:gd name="T62" fmla="*/ 29 w 43"/>
                <a:gd name="T63" fmla="*/ 36 h 56"/>
                <a:gd name="T64" fmla="*/ 31 w 43"/>
                <a:gd name="T65" fmla="*/ 38 h 56"/>
                <a:gd name="T66" fmla="*/ 31 w 43"/>
                <a:gd name="T67" fmla="*/ 38 h 56"/>
                <a:gd name="T68" fmla="*/ 34 w 43"/>
                <a:gd name="T69" fmla="*/ 42 h 56"/>
                <a:gd name="T70" fmla="*/ 36 w 43"/>
                <a:gd name="T71" fmla="*/ 42 h 56"/>
                <a:gd name="T72" fmla="*/ 43 w 43"/>
                <a:gd name="T73" fmla="*/ 55 h 56"/>
                <a:gd name="T74" fmla="*/ 43 w 43"/>
                <a:gd name="T75" fmla="*/ 55 h 56"/>
                <a:gd name="T76" fmla="*/ 37 w 43"/>
                <a:gd name="T77" fmla="*/ 46 h 56"/>
                <a:gd name="T78" fmla="*/ 36 w 43"/>
                <a:gd name="T79" fmla="*/ 48 h 56"/>
                <a:gd name="T80" fmla="*/ 36 w 43"/>
                <a:gd name="T81" fmla="*/ 48 h 56"/>
                <a:gd name="T82" fmla="*/ 42 w 43"/>
                <a:gd name="T83" fmla="*/ 56 h 56"/>
                <a:gd name="T84" fmla="*/ 43 w 43"/>
                <a:gd name="T85" fmla="*/ 5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 h="56">
                  <a:moveTo>
                    <a:pt x="5" y="10"/>
                  </a:moveTo>
                  <a:lnTo>
                    <a:pt x="5" y="10"/>
                  </a:lnTo>
                  <a:lnTo>
                    <a:pt x="3" y="0"/>
                  </a:lnTo>
                  <a:lnTo>
                    <a:pt x="0" y="1"/>
                  </a:lnTo>
                  <a:lnTo>
                    <a:pt x="0" y="1"/>
                  </a:lnTo>
                  <a:lnTo>
                    <a:pt x="3" y="10"/>
                  </a:lnTo>
                  <a:lnTo>
                    <a:pt x="5" y="10"/>
                  </a:lnTo>
                  <a:close/>
                  <a:moveTo>
                    <a:pt x="13" y="22"/>
                  </a:moveTo>
                  <a:lnTo>
                    <a:pt x="13" y="22"/>
                  </a:lnTo>
                  <a:lnTo>
                    <a:pt x="7" y="14"/>
                  </a:lnTo>
                  <a:lnTo>
                    <a:pt x="5" y="16"/>
                  </a:lnTo>
                  <a:lnTo>
                    <a:pt x="5" y="16"/>
                  </a:lnTo>
                  <a:lnTo>
                    <a:pt x="11" y="23"/>
                  </a:lnTo>
                  <a:lnTo>
                    <a:pt x="13" y="22"/>
                  </a:lnTo>
                  <a:close/>
                  <a:moveTo>
                    <a:pt x="24" y="32"/>
                  </a:moveTo>
                  <a:lnTo>
                    <a:pt x="24" y="32"/>
                  </a:lnTo>
                  <a:lnTo>
                    <a:pt x="18" y="27"/>
                  </a:lnTo>
                  <a:lnTo>
                    <a:pt x="18" y="27"/>
                  </a:lnTo>
                  <a:lnTo>
                    <a:pt x="17" y="25"/>
                  </a:lnTo>
                  <a:lnTo>
                    <a:pt x="16" y="27"/>
                  </a:lnTo>
                  <a:lnTo>
                    <a:pt x="16" y="27"/>
                  </a:lnTo>
                  <a:lnTo>
                    <a:pt x="17" y="29"/>
                  </a:lnTo>
                  <a:lnTo>
                    <a:pt x="17" y="29"/>
                  </a:lnTo>
                  <a:lnTo>
                    <a:pt x="24" y="33"/>
                  </a:lnTo>
                  <a:lnTo>
                    <a:pt x="24" y="32"/>
                  </a:lnTo>
                  <a:close/>
                  <a:moveTo>
                    <a:pt x="36" y="42"/>
                  </a:moveTo>
                  <a:lnTo>
                    <a:pt x="36" y="42"/>
                  </a:lnTo>
                  <a:lnTo>
                    <a:pt x="33" y="36"/>
                  </a:lnTo>
                  <a:lnTo>
                    <a:pt x="33" y="36"/>
                  </a:lnTo>
                  <a:lnTo>
                    <a:pt x="29" y="33"/>
                  </a:lnTo>
                  <a:lnTo>
                    <a:pt x="29" y="36"/>
                  </a:lnTo>
                  <a:lnTo>
                    <a:pt x="29" y="36"/>
                  </a:lnTo>
                  <a:lnTo>
                    <a:pt x="31" y="38"/>
                  </a:lnTo>
                  <a:lnTo>
                    <a:pt x="31" y="38"/>
                  </a:lnTo>
                  <a:lnTo>
                    <a:pt x="34" y="42"/>
                  </a:lnTo>
                  <a:lnTo>
                    <a:pt x="36" y="42"/>
                  </a:lnTo>
                  <a:close/>
                  <a:moveTo>
                    <a:pt x="43" y="55"/>
                  </a:moveTo>
                  <a:lnTo>
                    <a:pt x="43" y="55"/>
                  </a:lnTo>
                  <a:lnTo>
                    <a:pt x="37" y="46"/>
                  </a:lnTo>
                  <a:lnTo>
                    <a:pt x="36" y="48"/>
                  </a:lnTo>
                  <a:lnTo>
                    <a:pt x="36" y="48"/>
                  </a:lnTo>
                  <a:lnTo>
                    <a:pt x="42" y="56"/>
                  </a:lnTo>
                  <a:lnTo>
                    <a:pt x="43" y="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90" name="Freeform 1616"/>
            <p:cNvSpPr>
              <a:spLocks noEditPoints="1"/>
            </p:cNvSpPr>
            <p:nvPr/>
          </p:nvSpPr>
          <p:spPr bwMode="auto">
            <a:xfrm>
              <a:off x="3887788" y="4042204"/>
              <a:ext cx="215900" cy="179388"/>
            </a:xfrm>
            <a:custGeom>
              <a:avLst/>
              <a:gdLst>
                <a:gd name="T0" fmla="*/ 0 w 136"/>
                <a:gd name="T1" fmla="*/ 111 h 113"/>
                <a:gd name="T2" fmla="*/ 10 w 136"/>
                <a:gd name="T3" fmla="*/ 113 h 113"/>
                <a:gd name="T4" fmla="*/ 25 w 136"/>
                <a:gd name="T5" fmla="*/ 111 h 113"/>
                <a:gd name="T6" fmla="*/ 15 w 136"/>
                <a:gd name="T7" fmla="*/ 113 h 113"/>
                <a:gd name="T8" fmla="*/ 25 w 136"/>
                <a:gd name="T9" fmla="*/ 111 h 113"/>
                <a:gd name="T10" fmla="*/ 31 w 136"/>
                <a:gd name="T11" fmla="*/ 111 h 113"/>
                <a:gd name="T12" fmla="*/ 41 w 136"/>
                <a:gd name="T13" fmla="*/ 113 h 113"/>
                <a:gd name="T14" fmla="*/ 55 w 136"/>
                <a:gd name="T15" fmla="*/ 111 h 113"/>
                <a:gd name="T16" fmla="*/ 45 w 136"/>
                <a:gd name="T17" fmla="*/ 113 h 113"/>
                <a:gd name="T18" fmla="*/ 55 w 136"/>
                <a:gd name="T19" fmla="*/ 111 h 113"/>
                <a:gd name="T20" fmla="*/ 62 w 136"/>
                <a:gd name="T21" fmla="*/ 111 h 113"/>
                <a:gd name="T22" fmla="*/ 61 w 136"/>
                <a:gd name="T23" fmla="*/ 113 h 113"/>
                <a:gd name="T24" fmla="*/ 64 w 136"/>
                <a:gd name="T25" fmla="*/ 113 h 113"/>
                <a:gd name="T26" fmla="*/ 62 w 136"/>
                <a:gd name="T27" fmla="*/ 103 h 113"/>
                <a:gd name="T28" fmla="*/ 62 w 136"/>
                <a:gd name="T29" fmla="*/ 89 h 113"/>
                <a:gd name="T30" fmla="*/ 62 w 136"/>
                <a:gd name="T31" fmla="*/ 99 h 113"/>
                <a:gd name="T32" fmla="*/ 65 w 136"/>
                <a:gd name="T33" fmla="*/ 90 h 113"/>
                <a:gd name="T34" fmla="*/ 64 w 136"/>
                <a:gd name="T35" fmla="*/ 89 h 113"/>
                <a:gd name="T36" fmla="*/ 67 w 136"/>
                <a:gd name="T37" fmla="*/ 84 h 113"/>
                <a:gd name="T38" fmla="*/ 74 w 136"/>
                <a:gd name="T39" fmla="*/ 77 h 113"/>
                <a:gd name="T40" fmla="*/ 74 w 136"/>
                <a:gd name="T41" fmla="*/ 71 h 113"/>
                <a:gd name="T42" fmla="*/ 75 w 136"/>
                <a:gd name="T43" fmla="*/ 61 h 113"/>
                <a:gd name="T44" fmla="*/ 74 w 136"/>
                <a:gd name="T45" fmla="*/ 71 h 113"/>
                <a:gd name="T46" fmla="*/ 75 w 136"/>
                <a:gd name="T47" fmla="*/ 57 h 113"/>
                <a:gd name="T48" fmla="*/ 74 w 136"/>
                <a:gd name="T49" fmla="*/ 47 h 113"/>
                <a:gd name="T50" fmla="*/ 74 w 136"/>
                <a:gd name="T51" fmla="*/ 41 h 113"/>
                <a:gd name="T52" fmla="*/ 75 w 136"/>
                <a:gd name="T53" fmla="*/ 31 h 113"/>
                <a:gd name="T54" fmla="*/ 74 w 136"/>
                <a:gd name="T55" fmla="*/ 41 h 113"/>
                <a:gd name="T56" fmla="*/ 80 w 136"/>
                <a:gd name="T57" fmla="*/ 29 h 113"/>
                <a:gd name="T58" fmla="*/ 90 w 136"/>
                <a:gd name="T59" fmla="*/ 32 h 113"/>
                <a:gd name="T60" fmla="*/ 106 w 136"/>
                <a:gd name="T61" fmla="*/ 29 h 113"/>
                <a:gd name="T62" fmla="*/ 96 w 136"/>
                <a:gd name="T63" fmla="*/ 32 h 113"/>
                <a:gd name="T64" fmla="*/ 106 w 136"/>
                <a:gd name="T65" fmla="*/ 29 h 113"/>
                <a:gd name="T66" fmla="*/ 110 w 136"/>
                <a:gd name="T67" fmla="*/ 29 h 113"/>
                <a:gd name="T68" fmla="*/ 120 w 136"/>
                <a:gd name="T69" fmla="*/ 32 h 113"/>
                <a:gd name="T70" fmla="*/ 136 w 136"/>
                <a:gd name="T71" fmla="*/ 29 h 113"/>
                <a:gd name="T72" fmla="*/ 126 w 136"/>
                <a:gd name="T73" fmla="*/ 32 h 113"/>
                <a:gd name="T74" fmla="*/ 136 w 136"/>
                <a:gd name="T75" fmla="*/ 29 h 113"/>
                <a:gd name="T76" fmla="*/ 136 w 136"/>
                <a:gd name="T77" fmla="*/ 27 h 113"/>
                <a:gd name="T78" fmla="*/ 135 w 136"/>
                <a:gd name="T79" fmla="*/ 16 h 113"/>
                <a:gd name="T80" fmla="*/ 135 w 136"/>
                <a:gd name="T81" fmla="*/ 11 h 113"/>
                <a:gd name="T82" fmla="*/ 136 w 136"/>
                <a:gd name="T83" fmla="*/ 0 h 113"/>
                <a:gd name="T84" fmla="*/ 135 w 136"/>
                <a:gd name="T85" fmla="*/ 1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13">
                  <a:moveTo>
                    <a:pt x="10" y="111"/>
                  </a:moveTo>
                  <a:lnTo>
                    <a:pt x="0" y="111"/>
                  </a:lnTo>
                  <a:lnTo>
                    <a:pt x="0" y="113"/>
                  </a:lnTo>
                  <a:lnTo>
                    <a:pt x="10" y="113"/>
                  </a:lnTo>
                  <a:lnTo>
                    <a:pt x="10" y="111"/>
                  </a:lnTo>
                  <a:close/>
                  <a:moveTo>
                    <a:pt x="25" y="111"/>
                  </a:moveTo>
                  <a:lnTo>
                    <a:pt x="15" y="111"/>
                  </a:lnTo>
                  <a:lnTo>
                    <a:pt x="15" y="113"/>
                  </a:lnTo>
                  <a:lnTo>
                    <a:pt x="25" y="113"/>
                  </a:lnTo>
                  <a:lnTo>
                    <a:pt x="25" y="111"/>
                  </a:lnTo>
                  <a:close/>
                  <a:moveTo>
                    <a:pt x="41" y="111"/>
                  </a:moveTo>
                  <a:lnTo>
                    <a:pt x="31" y="111"/>
                  </a:lnTo>
                  <a:lnTo>
                    <a:pt x="31" y="113"/>
                  </a:lnTo>
                  <a:lnTo>
                    <a:pt x="41" y="113"/>
                  </a:lnTo>
                  <a:lnTo>
                    <a:pt x="41" y="111"/>
                  </a:lnTo>
                  <a:close/>
                  <a:moveTo>
                    <a:pt x="55" y="111"/>
                  </a:moveTo>
                  <a:lnTo>
                    <a:pt x="45" y="111"/>
                  </a:lnTo>
                  <a:lnTo>
                    <a:pt x="45" y="113"/>
                  </a:lnTo>
                  <a:lnTo>
                    <a:pt x="55" y="113"/>
                  </a:lnTo>
                  <a:lnTo>
                    <a:pt x="55" y="111"/>
                  </a:lnTo>
                  <a:close/>
                  <a:moveTo>
                    <a:pt x="62" y="103"/>
                  </a:moveTo>
                  <a:lnTo>
                    <a:pt x="62" y="111"/>
                  </a:lnTo>
                  <a:lnTo>
                    <a:pt x="61" y="111"/>
                  </a:lnTo>
                  <a:lnTo>
                    <a:pt x="61" y="113"/>
                  </a:lnTo>
                  <a:lnTo>
                    <a:pt x="62" y="113"/>
                  </a:lnTo>
                  <a:lnTo>
                    <a:pt x="64" y="113"/>
                  </a:lnTo>
                  <a:lnTo>
                    <a:pt x="64" y="103"/>
                  </a:lnTo>
                  <a:lnTo>
                    <a:pt x="62" y="103"/>
                  </a:lnTo>
                  <a:close/>
                  <a:moveTo>
                    <a:pt x="64" y="89"/>
                  </a:moveTo>
                  <a:lnTo>
                    <a:pt x="62" y="89"/>
                  </a:lnTo>
                  <a:lnTo>
                    <a:pt x="62" y="89"/>
                  </a:lnTo>
                  <a:lnTo>
                    <a:pt x="62" y="99"/>
                  </a:lnTo>
                  <a:lnTo>
                    <a:pt x="65" y="99"/>
                  </a:lnTo>
                  <a:lnTo>
                    <a:pt x="65" y="90"/>
                  </a:lnTo>
                  <a:lnTo>
                    <a:pt x="65" y="90"/>
                  </a:lnTo>
                  <a:lnTo>
                    <a:pt x="64" y="89"/>
                  </a:lnTo>
                  <a:close/>
                  <a:moveTo>
                    <a:pt x="73" y="76"/>
                  </a:moveTo>
                  <a:lnTo>
                    <a:pt x="67" y="84"/>
                  </a:lnTo>
                  <a:lnTo>
                    <a:pt x="68" y="86"/>
                  </a:lnTo>
                  <a:lnTo>
                    <a:pt x="74" y="77"/>
                  </a:lnTo>
                  <a:lnTo>
                    <a:pt x="73" y="76"/>
                  </a:lnTo>
                  <a:close/>
                  <a:moveTo>
                    <a:pt x="74" y="71"/>
                  </a:moveTo>
                  <a:lnTo>
                    <a:pt x="75" y="71"/>
                  </a:lnTo>
                  <a:lnTo>
                    <a:pt x="75" y="61"/>
                  </a:lnTo>
                  <a:lnTo>
                    <a:pt x="74" y="61"/>
                  </a:lnTo>
                  <a:lnTo>
                    <a:pt x="74" y="71"/>
                  </a:lnTo>
                  <a:close/>
                  <a:moveTo>
                    <a:pt x="74" y="57"/>
                  </a:moveTo>
                  <a:lnTo>
                    <a:pt x="75" y="57"/>
                  </a:lnTo>
                  <a:lnTo>
                    <a:pt x="75" y="47"/>
                  </a:lnTo>
                  <a:lnTo>
                    <a:pt x="74" y="47"/>
                  </a:lnTo>
                  <a:lnTo>
                    <a:pt x="74" y="57"/>
                  </a:lnTo>
                  <a:close/>
                  <a:moveTo>
                    <a:pt x="74" y="41"/>
                  </a:moveTo>
                  <a:lnTo>
                    <a:pt x="75" y="41"/>
                  </a:lnTo>
                  <a:lnTo>
                    <a:pt x="75" y="31"/>
                  </a:lnTo>
                  <a:lnTo>
                    <a:pt x="74" y="31"/>
                  </a:lnTo>
                  <a:lnTo>
                    <a:pt x="74" y="41"/>
                  </a:lnTo>
                  <a:close/>
                  <a:moveTo>
                    <a:pt x="90" y="29"/>
                  </a:moveTo>
                  <a:lnTo>
                    <a:pt x="80" y="29"/>
                  </a:lnTo>
                  <a:lnTo>
                    <a:pt x="80" y="32"/>
                  </a:lnTo>
                  <a:lnTo>
                    <a:pt x="90" y="32"/>
                  </a:lnTo>
                  <a:lnTo>
                    <a:pt x="90" y="29"/>
                  </a:lnTo>
                  <a:close/>
                  <a:moveTo>
                    <a:pt x="106" y="29"/>
                  </a:moveTo>
                  <a:lnTo>
                    <a:pt x="96" y="29"/>
                  </a:lnTo>
                  <a:lnTo>
                    <a:pt x="96" y="32"/>
                  </a:lnTo>
                  <a:lnTo>
                    <a:pt x="106" y="32"/>
                  </a:lnTo>
                  <a:lnTo>
                    <a:pt x="106" y="29"/>
                  </a:lnTo>
                  <a:close/>
                  <a:moveTo>
                    <a:pt x="120" y="29"/>
                  </a:moveTo>
                  <a:lnTo>
                    <a:pt x="110" y="29"/>
                  </a:lnTo>
                  <a:lnTo>
                    <a:pt x="110" y="32"/>
                  </a:lnTo>
                  <a:lnTo>
                    <a:pt x="120" y="32"/>
                  </a:lnTo>
                  <a:lnTo>
                    <a:pt x="120" y="29"/>
                  </a:lnTo>
                  <a:close/>
                  <a:moveTo>
                    <a:pt x="136" y="29"/>
                  </a:moveTo>
                  <a:lnTo>
                    <a:pt x="126" y="29"/>
                  </a:lnTo>
                  <a:lnTo>
                    <a:pt x="126" y="32"/>
                  </a:lnTo>
                  <a:lnTo>
                    <a:pt x="136" y="32"/>
                  </a:lnTo>
                  <a:lnTo>
                    <a:pt x="136" y="29"/>
                  </a:lnTo>
                  <a:close/>
                  <a:moveTo>
                    <a:pt x="135" y="27"/>
                  </a:moveTo>
                  <a:lnTo>
                    <a:pt x="136" y="27"/>
                  </a:lnTo>
                  <a:lnTo>
                    <a:pt x="136" y="16"/>
                  </a:lnTo>
                  <a:lnTo>
                    <a:pt x="135" y="16"/>
                  </a:lnTo>
                  <a:lnTo>
                    <a:pt x="135" y="27"/>
                  </a:lnTo>
                  <a:close/>
                  <a:moveTo>
                    <a:pt x="135" y="11"/>
                  </a:moveTo>
                  <a:lnTo>
                    <a:pt x="136" y="11"/>
                  </a:lnTo>
                  <a:lnTo>
                    <a:pt x="136" y="0"/>
                  </a:lnTo>
                  <a:lnTo>
                    <a:pt x="135" y="0"/>
                  </a:lnTo>
                  <a:lnTo>
                    <a:pt x="135"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91" name="Freeform 1617"/>
            <p:cNvSpPr>
              <a:spLocks noEditPoints="1"/>
            </p:cNvSpPr>
            <p:nvPr/>
          </p:nvSpPr>
          <p:spPr bwMode="auto">
            <a:xfrm>
              <a:off x="3902075" y="4121579"/>
              <a:ext cx="323850" cy="263525"/>
            </a:xfrm>
            <a:custGeom>
              <a:avLst/>
              <a:gdLst>
                <a:gd name="T0" fmla="*/ 0 w 204"/>
                <a:gd name="T1" fmla="*/ 146 h 166"/>
                <a:gd name="T2" fmla="*/ 17 w 204"/>
                <a:gd name="T3" fmla="*/ 142 h 166"/>
                <a:gd name="T4" fmla="*/ 7 w 204"/>
                <a:gd name="T5" fmla="*/ 145 h 166"/>
                <a:gd name="T6" fmla="*/ 32 w 204"/>
                <a:gd name="T7" fmla="*/ 142 h 166"/>
                <a:gd name="T8" fmla="*/ 22 w 204"/>
                <a:gd name="T9" fmla="*/ 142 h 166"/>
                <a:gd name="T10" fmla="*/ 24 w 204"/>
                <a:gd name="T11" fmla="*/ 143 h 166"/>
                <a:gd name="T12" fmla="*/ 45 w 204"/>
                <a:gd name="T13" fmla="*/ 146 h 166"/>
                <a:gd name="T14" fmla="*/ 37 w 204"/>
                <a:gd name="T15" fmla="*/ 146 h 166"/>
                <a:gd name="T16" fmla="*/ 36 w 204"/>
                <a:gd name="T17" fmla="*/ 149 h 166"/>
                <a:gd name="T18" fmla="*/ 53 w 204"/>
                <a:gd name="T19" fmla="*/ 156 h 166"/>
                <a:gd name="T20" fmla="*/ 52 w 204"/>
                <a:gd name="T21" fmla="*/ 150 h 166"/>
                <a:gd name="T22" fmla="*/ 52 w 204"/>
                <a:gd name="T23" fmla="*/ 146 h 166"/>
                <a:gd name="T24" fmla="*/ 51 w 204"/>
                <a:gd name="T25" fmla="*/ 149 h 166"/>
                <a:gd name="T26" fmla="*/ 49 w 204"/>
                <a:gd name="T27" fmla="*/ 150 h 166"/>
                <a:gd name="T28" fmla="*/ 53 w 204"/>
                <a:gd name="T29" fmla="*/ 156 h 166"/>
                <a:gd name="T30" fmla="*/ 61 w 204"/>
                <a:gd name="T31" fmla="*/ 165 h 166"/>
                <a:gd name="T32" fmla="*/ 53 w 204"/>
                <a:gd name="T33" fmla="*/ 162 h 166"/>
                <a:gd name="T34" fmla="*/ 58 w 204"/>
                <a:gd name="T35" fmla="*/ 166 h 166"/>
                <a:gd name="T36" fmla="*/ 62 w 204"/>
                <a:gd name="T37" fmla="*/ 163 h 166"/>
                <a:gd name="T38" fmla="*/ 68 w 204"/>
                <a:gd name="T39" fmla="*/ 155 h 166"/>
                <a:gd name="T40" fmla="*/ 68 w 204"/>
                <a:gd name="T41" fmla="*/ 160 h 166"/>
                <a:gd name="T42" fmla="*/ 72 w 204"/>
                <a:gd name="T43" fmla="*/ 152 h 166"/>
                <a:gd name="T44" fmla="*/ 81 w 204"/>
                <a:gd name="T45" fmla="*/ 159 h 166"/>
                <a:gd name="T46" fmla="*/ 74 w 204"/>
                <a:gd name="T47" fmla="*/ 153 h 166"/>
                <a:gd name="T48" fmla="*/ 82 w 204"/>
                <a:gd name="T49" fmla="*/ 159 h 166"/>
                <a:gd name="T50" fmla="*/ 87 w 204"/>
                <a:gd name="T51" fmla="*/ 150 h 166"/>
                <a:gd name="T52" fmla="*/ 87 w 204"/>
                <a:gd name="T53" fmla="*/ 158 h 166"/>
                <a:gd name="T54" fmla="*/ 88 w 204"/>
                <a:gd name="T55" fmla="*/ 153 h 166"/>
                <a:gd name="T56" fmla="*/ 107 w 204"/>
                <a:gd name="T57" fmla="*/ 150 h 166"/>
                <a:gd name="T58" fmla="*/ 101 w 204"/>
                <a:gd name="T59" fmla="*/ 149 h 166"/>
                <a:gd name="T60" fmla="*/ 97 w 204"/>
                <a:gd name="T61" fmla="*/ 152 h 166"/>
                <a:gd name="T62" fmla="*/ 106 w 204"/>
                <a:gd name="T63" fmla="*/ 153 h 166"/>
                <a:gd name="T64" fmla="*/ 116 w 204"/>
                <a:gd name="T65" fmla="*/ 153 h 166"/>
                <a:gd name="T66" fmla="*/ 111 w 204"/>
                <a:gd name="T67" fmla="*/ 153 h 166"/>
                <a:gd name="T68" fmla="*/ 113 w 204"/>
                <a:gd name="T69" fmla="*/ 156 h 166"/>
                <a:gd name="T70" fmla="*/ 120 w 204"/>
                <a:gd name="T71" fmla="*/ 153 h 166"/>
                <a:gd name="T72" fmla="*/ 126 w 204"/>
                <a:gd name="T73" fmla="*/ 155 h 166"/>
                <a:gd name="T74" fmla="*/ 150 w 204"/>
                <a:gd name="T75" fmla="*/ 152 h 166"/>
                <a:gd name="T76" fmla="*/ 140 w 204"/>
                <a:gd name="T77" fmla="*/ 155 h 166"/>
                <a:gd name="T78" fmla="*/ 163 w 204"/>
                <a:gd name="T79" fmla="*/ 152 h 166"/>
                <a:gd name="T80" fmla="*/ 156 w 204"/>
                <a:gd name="T81" fmla="*/ 152 h 166"/>
                <a:gd name="T82" fmla="*/ 165 w 204"/>
                <a:gd name="T83" fmla="*/ 155 h 166"/>
                <a:gd name="T84" fmla="*/ 166 w 204"/>
                <a:gd name="T85" fmla="*/ 146 h 166"/>
                <a:gd name="T86" fmla="*/ 168 w 204"/>
                <a:gd name="T87" fmla="*/ 126 h 166"/>
                <a:gd name="T88" fmla="*/ 175 w 204"/>
                <a:gd name="T89" fmla="*/ 133 h 166"/>
                <a:gd name="T90" fmla="*/ 177 w 204"/>
                <a:gd name="T91" fmla="*/ 134 h 166"/>
                <a:gd name="T92" fmla="*/ 168 w 204"/>
                <a:gd name="T93" fmla="*/ 126 h 166"/>
                <a:gd name="T94" fmla="*/ 171 w 204"/>
                <a:gd name="T95" fmla="*/ 110 h 166"/>
                <a:gd name="T96" fmla="*/ 169 w 204"/>
                <a:gd name="T97" fmla="*/ 105 h 166"/>
                <a:gd name="T98" fmla="*/ 166 w 204"/>
                <a:gd name="T99" fmla="*/ 90 h 166"/>
                <a:gd name="T100" fmla="*/ 165 w 204"/>
                <a:gd name="T101" fmla="*/ 65 h 166"/>
                <a:gd name="T102" fmla="*/ 165 w 204"/>
                <a:gd name="T103" fmla="*/ 65 h 166"/>
                <a:gd name="T104" fmla="*/ 166 w 204"/>
                <a:gd name="T105" fmla="*/ 49 h 166"/>
                <a:gd name="T106" fmla="*/ 166 w 204"/>
                <a:gd name="T107" fmla="*/ 45 h 166"/>
                <a:gd name="T108" fmla="*/ 162 w 204"/>
                <a:gd name="T109" fmla="*/ 30 h 166"/>
                <a:gd name="T110" fmla="*/ 161 w 204"/>
                <a:gd name="T111" fmla="*/ 4 h 166"/>
                <a:gd name="T112" fmla="*/ 161 w 204"/>
                <a:gd name="T113" fmla="*/ 4 h 166"/>
                <a:gd name="T114" fmla="*/ 174 w 204"/>
                <a:gd name="T115" fmla="*/ 3 h 166"/>
                <a:gd name="T116" fmla="*/ 179 w 204"/>
                <a:gd name="T117" fmla="*/ 3 h 166"/>
                <a:gd name="T118" fmla="*/ 194 w 204"/>
                <a:gd name="T11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4" h="166">
                  <a:moveTo>
                    <a:pt x="1" y="143"/>
                  </a:moveTo>
                  <a:lnTo>
                    <a:pt x="1" y="143"/>
                  </a:lnTo>
                  <a:lnTo>
                    <a:pt x="0" y="143"/>
                  </a:lnTo>
                  <a:lnTo>
                    <a:pt x="0" y="146"/>
                  </a:lnTo>
                  <a:lnTo>
                    <a:pt x="0" y="146"/>
                  </a:lnTo>
                  <a:lnTo>
                    <a:pt x="3" y="145"/>
                  </a:lnTo>
                  <a:lnTo>
                    <a:pt x="1" y="143"/>
                  </a:lnTo>
                  <a:close/>
                  <a:moveTo>
                    <a:pt x="17" y="142"/>
                  </a:moveTo>
                  <a:lnTo>
                    <a:pt x="17" y="142"/>
                  </a:lnTo>
                  <a:lnTo>
                    <a:pt x="7" y="142"/>
                  </a:lnTo>
                  <a:lnTo>
                    <a:pt x="7" y="145"/>
                  </a:lnTo>
                  <a:lnTo>
                    <a:pt x="7" y="145"/>
                  </a:lnTo>
                  <a:lnTo>
                    <a:pt x="17" y="143"/>
                  </a:lnTo>
                  <a:lnTo>
                    <a:pt x="17" y="142"/>
                  </a:lnTo>
                  <a:close/>
                  <a:moveTo>
                    <a:pt x="33" y="142"/>
                  </a:moveTo>
                  <a:lnTo>
                    <a:pt x="32" y="142"/>
                  </a:lnTo>
                  <a:lnTo>
                    <a:pt x="32" y="142"/>
                  </a:lnTo>
                  <a:lnTo>
                    <a:pt x="24" y="142"/>
                  </a:lnTo>
                  <a:lnTo>
                    <a:pt x="24" y="142"/>
                  </a:lnTo>
                  <a:lnTo>
                    <a:pt x="22" y="142"/>
                  </a:lnTo>
                  <a:lnTo>
                    <a:pt x="22" y="143"/>
                  </a:lnTo>
                  <a:lnTo>
                    <a:pt x="22" y="143"/>
                  </a:lnTo>
                  <a:lnTo>
                    <a:pt x="24" y="143"/>
                  </a:lnTo>
                  <a:lnTo>
                    <a:pt x="24" y="143"/>
                  </a:lnTo>
                  <a:lnTo>
                    <a:pt x="32" y="145"/>
                  </a:lnTo>
                  <a:lnTo>
                    <a:pt x="32" y="145"/>
                  </a:lnTo>
                  <a:lnTo>
                    <a:pt x="33" y="142"/>
                  </a:lnTo>
                  <a:close/>
                  <a:moveTo>
                    <a:pt x="45" y="146"/>
                  </a:moveTo>
                  <a:lnTo>
                    <a:pt x="40" y="146"/>
                  </a:lnTo>
                  <a:lnTo>
                    <a:pt x="40" y="146"/>
                  </a:lnTo>
                  <a:lnTo>
                    <a:pt x="37" y="146"/>
                  </a:lnTo>
                  <a:lnTo>
                    <a:pt x="37" y="146"/>
                  </a:lnTo>
                  <a:lnTo>
                    <a:pt x="35" y="146"/>
                  </a:lnTo>
                  <a:lnTo>
                    <a:pt x="35" y="146"/>
                  </a:lnTo>
                  <a:lnTo>
                    <a:pt x="36" y="149"/>
                  </a:lnTo>
                  <a:lnTo>
                    <a:pt x="36" y="149"/>
                  </a:lnTo>
                  <a:lnTo>
                    <a:pt x="40" y="149"/>
                  </a:lnTo>
                  <a:lnTo>
                    <a:pt x="45" y="149"/>
                  </a:lnTo>
                  <a:lnTo>
                    <a:pt x="45" y="146"/>
                  </a:lnTo>
                  <a:close/>
                  <a:moveTo>
                    <a:pt x="53" y="156"/>
                  </a:moveTo>
                  <a:lnTo>
                    <a:pt x="53" y="156"/>
                  </a:lnTo>
                  <a:lnTo>
                    <a:pt x="52" y="153"/>
                  </a:lnTo>
                  <a:lnTo>
                    <a:pt x="52" y="150"/>
                  </a:lnTo>
                  <a:lnTo>
                    <a:pt x="52" y="150"/>
                  </a:lnTo>
                  <a:lnTo>
                    <a:pt x="52" y="149"/>
                  </a:lnTo>
                  <a:lnTo>
                    <a:pt x="52" y="149"/>
                  </a:lnTo>
                  <a:lnTo>
                    <a:pt x="52" y="149"/>
                  </a:lnTo>
                  <a:lnTo>
                    <a:pt x="52" y="146"/>
                  </a:lnTo>
                  <a:lnTo>
                    <a:pt x="51" y="146"/>
                  </a:lnTo>
                  <a:lnTo>
                    <a:pt x="51" y="146"/>
                  </a:lnTo>
                  <a:lnTo>
                    <a:pt x="51" y="149"/>
                  </a:lnTo>
                  <a:lnTo>
                    <a:pt x="51" y="149"/>
                  </a:lnTo>
                  <a:lnTo>
                    <a:pt x="51" y="147"/>
                  </a:lnTo>
                  <a:lnTo>
                    <a:pt x="49" y="147"/>
                  </a:lnTo>
                  <a:lnTo>
                    <a:pt x="49" y="147"/>
                  </a:lnTo>
                  <a:lnTo>
                    <a:pt x="49" y="150"/>
                  </a:lnTo>
                  <a:lnTo>
                    <a:pt x="49" y="150"/>
                  </a:lnTo>
                  <a:lnTo>
                    <a:pt x="49" y="153"/>
                  </a:lnTo>
                  <a:lnTo>
                    <a:pt x="51" y="158"/>
                  </a:lnTo>
                  <a:lnTo>
                    <a:pt x="53" y="156"/>
                  </a:lnTo>
                  <a:close/>
                  <a:moveTo>
                    <a:pt x="62" y="163"/>
                  </a:moveTo>
                  <a:lnTo>
                    <a:pt x="62" y="163"/>
                  </a:lnTo>
                  <a:lnTo>
                    <a:pt x="61" y="165"/>
                  </a:lnTo>
                  <a:lnTo>
                    <a:pt x="61" y="165"/>
                  </a:lnTo>
                  <a:lnTo>
                    <a:pt x="58" y="162"/>
                  </a:lnTo>
                  <a:lnTo>
                    <a:pt x="58" y="162"/>
                  </a:lnTo>
                  <a:lnTo>
                    <a:pt x="56" y="160"/>
                  </a:lnTo>
                  <a:lnTo>
                    <a:pt x="53" y="162"/>
                  </a:lnTo>
                  <a:lnTo>
                    <a:pt x="53" y="162"/>
                  </a:lnTo>
                  <a:lnTo>
                    <a:pt x="56" y="163"/>
                  </a:lnTo>
                  <a:lnTo>
                    <a:pt x="56" y="163"/>
                  </a:lnTo>
                  <a:lnTo>
                    <a:pt x="58" y="166"/>
                  </a:lnTo>
                  <a:lnTo>
                    <a:pt x="61" y="166"/>
                  </a:lnTo>
                  <a:lnTo>
                    <a:pt x="61" y="166"/>
                  </a:lnTo>
                  <a:lnTo>
                    <a:pt x="65" y="165"/>
                  </a:lnTo>
                  <a:lnTo>
                    <a:pt x="62" y="163"/>
                  </a:lnTo>
                  <a:close/>
                  <a:moveTo>
                    <a:pt x="71" y="150"/>
                  </a:moveTo>
                  <a:lnTo>
                    <a:pt x="71" y="150"/>
                  </a:lnTo>
                  <a:lnTo>
                    <a:pt x="71" y="150"/>
                  </a:lnTo>
                  <a:lnTo>
                    <a:pt x="68" y="155"/>
                  </a:lnTo>
                  <a:lnTo>
                    <a:pt x="68" y="155"/>
                  </a:lnTo>
                  <a:lnTo>
                    <a:pt x="65" y="159"/>
                  </a:lnTo>
                  <a:lnTo>
                    <a:pt x="68" y="160"/>
                  </a:lnTo>
                  <a:lnTo>
                    <a:pt x="68" y="160"/>
                  </a:lnTo>
                  <a:lnTo>
                    <a:pt x="69" y="156"/>
                  </a:lnTo>
                  <a:lnTo>
                    <a:pt x="69" y="156"/>
                  </a:lnTo>
                  <a:lnTo>
                    <a:pt x="72" y="152"/>
                  </a:lnTo>
                  <a:lnTo>
                    <a:pt x="72" y="152"/>
                  </a:lnTo>
                  <a:lnTo>
                    <a:pt x="71" y="150"/>
                  </a:lnTo>
                  <a:close/>
                  <a:moveTo>
                    <a:pt x="82" y="159"/>
                  </a:moveTo>
                  <a:lnTo>
                    <a:pt x="81" y="159"/>
                  </a:lnTo>
                  <a:lnTo>
                    <a:pt x="81" y="159"/>
                  </a:lnTo>
                  <a:lnTo>
                    <a:pt x="78" y="156"/>
                  </a:lnTo>
                  <a:lnTo>
                    <a:pt x="77" y="152"/>
                  </a:lnTo>
                  <a:lnTo>
                    <a:pt x="74" y="153"/>
                  </a:lnTo>
                  <a:lnTo>
                    <a:pt x="74" y="153"/>
                  </a:lnTo>
                  <a:lnTo>
                    <a:pt x="77" y="158"/>
                  </a:lnTo>
                  <a:lnTo>
                    <a:pt x="81" y="160"/>
                  </a:lnTo>
                  <a:lnTo>
                    <a:pt x="81" y="160"/>
                  </a:lnTo>
                  <a:lnTo>
                    <a:pt x="82" y="159"/>
                  </a:lnTo>
                  <a:close/>
                  <a:moveTo>
                    <a:pt x="91" y="150"/>
                  </a:moveTo>
                  <a:lnTo>
                    <a:pt x="91" y="150"/>
                  </a:lnTo>
                  <a:lnTo>
                    <a:pt x="87" y="150"/>
                  </a:lnTo>
                  <a:lnTo>
                    <a:pt x="87" y="150"/>
                  </a:lnTo>
                  <a:lnTo>
                    <a:pt x="84" y="153"/>
                  </a:lnTo>
                  <a:lnTo>
                    <a:pt x="84" y="153"/>
                  </a:lnTo>
                  <a:lnTo>
                    <a:pt x="84" y="158"/>
                  </a:lnTo>
                  <a:lnTo>
                    <a:pt x="87" y="158"/>
                  </a:lnTo>
                  <a:lnTo>
                    <a:pt x="87" y="158"/>
                  </a:lnTo>
                  <a:lnTo>
                    <a:pt x="87" y="155"/>
                  </a:lnTo>
                  <a:lnTo>
                    <a:pt x="87" y="155"/>
                  </a:lnTo>
                  <a:lnTo>
                    <a:pt x="88" y="153"/>
                  </a:lnTo>
                  <a:lnTo>
                    <a:pt x="88" y="153"/>
                  </a:lnTo>
                  <a:lnTo>
                    <a:pt x="91" y="152"/>
                  </a:lnTo>
                  <a:lnTo>
                    <a:pt x="91" y="150"/>
                  </a:lnTo>
                  <a:close/>
                  <a:moveTo>
                    <a:pt x="107" y="150"/>
                  </a:moveTo>
                  <a:lnTo>
                    <a:pt x="107" y="150"/>
                  </a:lnTo>
                  <a:lnTo>
                    <a:pt x="106" y="149"/>
                  </a:lnTo>
                  <a:lnTo>
                    <a:pt x="103" y="149"/>
                  </a:lnTo>
                  <a:lnTo>
                    <a:pt x="101" y="149"/>
                  </a:lnTo>
                  <a:lnTo>
                    <a:pt x="101" y="149"/>
                  </a:lnTo>
                  <a:lnTo>
                    <a:pt x="97" y="149"/>
                  </a:lnTo>
                  <a:lnTo>
                    <a:pt x="97" y="152"/>
                  </a:lnTo>
                  <a:lnTo>
                    <a:pt x="97" y="152"/>
                  </a:lnTo>
                  <a:lnTo>
                    <a:pt x="101" y="152"/>
                  </a:lnTo>
                  <a:lnTo>
                    <a:pt x="103" y="152"/>
                  </a:lnTo>
                  <a:lnTo>
                    <a:pt x="103" y="152"/>
                  </a:lnTo>
                  <a:lnTo>
                    <a:pt x="106" y="153"/>
                  </a:lnTo>
                  <a:lnTo>
                    <a:pt x="107" y="150"/>
                  </a:lnTo>
                  <a:close/>
                  <a:moveTo>
                    <a:pt x="120" y="153"/>
                  </a:moveTo>
                  <a:lnTo>
                    <a:pt x="120" y="153"/>
                  </a:lnTo>
                  <a:lnTo>
                    <a:pt x="116" y="153"/>
                  </a:lnTo>
                  <a:lnTo>
                    <a:pt x="116" y="153"/>
                  </a:lnTo>
                  <a:lnTo>
                    <a:pt x="113" y="153"/>
                  </a:lnTo>
                  <a:lnTo>
                    <a:pt x="113" y="153"/>
                  </a:lnTo>
                  <a:lnTo>
                    <a:pt x="111" y="153"/>
                  </a:lnTo>
                  <a:lnTo>
                    <a:pt x="110" y="155"/>
                  </a:lnTo>
                  <a:lnTo>
                    <a:pt x="110" y="155"/>
                  </a:lnTo>
                  <a:lnTo>
                    <a:pt x="113" y="156"/>
                  </a:lnTo>
                  <a:lnTo>
                    <a:pt x="113" y="156"/>
                  </a:lnTo>
                  <a:lnTo>
                    <a:pt x="116" y="156"/>
                  </a:lnTo>
                  <a:lnTo>
                    <a:pt x="116" y="156"/>
                  </a:lnTo>
                  <a:lnTo>
                    <a:pt x="121" y="155"/>
                  </a:lnTo>
                  <a:lnTo>
                    <a:pt x="120" y="153"/>
                  </a:lnTo>
                  <a:close/>
                  <a:moveTo>
                    <a:pt x="136" y="152"/>
                  </a:moveTo>
                  <a:lnTo>
                    <a:pt x="136" y="152"/>
                  </a:lnTo>
                  <a:lnTo>
                    <a:pt x="126" y="153"/>
                  </a:lnTo>
                  <a:lnTo>
                    <a:pt x="126" y="155"/>
                  </a:lnTo>
                  <a:lnTo>
                    <a:pt x="126" y="155"/>
                  </a:lnTo>
                  <a:lnTo>
                    <a:pt x="136" y="155"/>
                  </a:lnTo>
                  <a:lnTo>
                    <a:pt x="136" y="152"/>
                  </a:lnTo>
                  <a:close/>
                  <a:moveTo>
                    <a:pt x="150" y="152"/>
                  </a:moveTo>
                  <a:lnTo>
                    <a:pt x="150" y="152"/>
                  </a:lnTo>
                  <a:lnTo>
                    <a:pt x="140" y="152"/>
                  </a:lnTo>
                  <a:lnTo>
                    <a:pt x="140" y="155"/>
                  </a:lnTo>
                  <a:lnTo>
                    <a:pt x="140" y="155"/>
                  </a:lnTo>
                  <a:lnTo>
                    <a:pt x="150" y="155"/>
                  </a:lnTo>
                  <a:lnTo>
                    <a:pt x="150" y="152"/>
                  </a:lnTo>
                  <a:close/>
                  <a:moveTo>
                    <a:pt x="165" y="150"/>
                  </a:moveTo>
                  <a:lnTo>
                    <a:pt x="163" y="152"/>
                  </a:lnTo>
                  <a:lnTo>
                    <a:pt x="165" y="153"/>
                  </a:lnTo>
                  <a:lnTo>
                    <a:pt x="165" y="152"/>
                  </a:lnTo>
                  <a:lnTo>
                    <a:pt x="165" y="152"/>
                  </a:lnTo>
                  <a:lnTo>
                    <a:pt x="156" y="152"/>
                  </a:lnTo>
                  <a:lnTo>
                    <a:pt x="156" y="155"/>
                  </a:lnTo>
                  <a:lnTo>
                    <a:pt x="156" y="155"/>
                  </a:lnTo>
                  <a:lnTo>
                    <a:pt x="165" y="155"/>
                  </a:lnTo>
                  <a:lnTo>
                    <a:pt x="165" y="155"/>
                  </a:lnTo>
                  <a:lnTo>
                    <a:pt x="166" y="152"/>
                  </a:lnTo>
                  <a:lnTo>
                    <a:pt x="165" y="150"/>
                  </a:lnTo>
                  <a:close/>
                  <a:moveTo>
                    <a:pt x="171" y="137"/>
                  </a:moveTo>
                  <a:lnTo>
                    <a:pt x="166" y="146"/>
                  </a:lnTo>
                  <a:lnTo>
                    <a:pt x="169" y="147"/>
                  </a:lnTo>
                  <a:lnTo>
                    <a:pt x="174" y="139"/>
                  </a:lnTo>
                  <a:lnTo>
                    <a:pt x="171" y="137"/>
                  </a:lnTo>
                  <a:close/>
                  <a:moveTo>
                    <a:pt x="168" y="126"/>
                  </a:moveTo>
                  <a:lnTo>
                    <a:pt x="169" y="129"/>
                  </a:lnTo>
                  <a:lnTo>
                    <a:pt x="169" y="129"/>
                  </a:lnTo>
                  <a:lnTo>
                    <a:pt x="174" y="134"/>
                  </a:lnTo>
                  <a:lnTo>
                    <a:pt x="175" y="133"/>
                  </a:lnTo>
                  <a:lnTo>
                    <a:pt x="174" y="133"/>
                  </a:lnTo>
                  <a:lnTo>
                    <a:pt x="174" y="133"/>
                  </a:lnTo>
                  <a:lnTo>
                    <a:pt x="177" y="134"/>
                  </a:lnTo>
                  <a:lnTo>
                    <a:pt x="177" y="134"/>
                  </a:lnTo>
                  <a:lnTo>
                    <a:pt x="177" y="133"/>
                  </a:lnTo>
                  <a:lnTo>
                    <a:pt x="171" y="127"/>
                  </a:lnTo>
                  <a:lnTo>
                    <a:pt x="171" y="126"/>
                  </a:lnTo>
                  <a:lnTo>
                    <a:pt x="168" y="126"/>
                  </a:lnTo>
                  <a:close/>
                  <a:moveTo>
                    <a:pt x="168" y="110"/>
                  </a:moveTo>
                  <a:lnTo>
                    <a:pt x="168" y="120"/>
                  </a:lnTo>
                  <a:lnTo>
                    <a:pt x="171" y="120"/>
                  </a:lnTo>
                  <a:lnTo>
                    <a:pt x="171" y="110"/>
                  </a:lnTo>
                  <a:lnTo>
                    <a:pt x="168" y="110"/>
                  </a:lnTo>
                  <a:close/>
                  <a:moveTo>
                    <a:pt x="166" y="95"/>
                  </a:moveTo>
                  <a:lnTo>
                    <a:pt x="168" y="105"/>
                  </a:lnTo>
                  <a:lnTo>
                    <a:pt x="169" y="105"/>
                  </a:lnTo>
                  <a:lnTo>
                    <a:pt x="169" y="95"/>
                  </a:lnTo>
                  <a:lnTo>
                    <a:pt x="166" y="95"/>
                  </a:lnTo>
                  <a:close/>
                  <a:moveTo>
                    <a:pt x="166" y="79"/>
                  </a:moveTo>
                  <a:lnTo>
                    <a:pt x="166" y="90"/>
                  </a:lnTo>
                  <a:lnTo>
                    <a:pt x="169" y="90"/>
                  </a:lnTo>
                  <a:lnTo>
                    <a:pt x="168" y="79"/>
                  </a:lnTo>
                  <a:lnTo>
                    <a:pt x="166" y="79"/>
                  </a:lnTo>
                  <a:close/>
                  <a:moveTo>
                    <a:pt x="165" y="65"/>
                  </a:moveTo>
                  <a:lnTo>
                    <a:pt x="165" y="75"/>
                  </a:lnTo>
                  <a:lnTo>
                    <a:pt x="168" y="75"/>
                  </a:lnTo>
                  <a:lnTo>
                    <a:pt x="168" y="65"/>
                  </a:lnTo>
                  <a:lnTo>
                    <a:pt x="165" y="65"/>
                  </a:lnTo>
                  <a:close/>
                  <a:moveTo>
                    <a:pt x="163" y="50"/>
                  </a:moveTo>
                  <a:lnTo>
                    <a:pt x="165" y="59"/>
                  </a:lnTo>
                  <a:lnTo>
                    <a:pt x="166" y="59"/>
                  </a:lnTo>
                  <a:lnTo>
                    <a:pt x="166" y="49"/>
                  </a:lnTo>
                  <a:lnTo>
                    <a:pt x="163" y="50"/>
                  </a:lnTo>
                  <a:close/>
                  <a:moveTo>
                    <a:pt x="163" y="34"/>
                  </a:moveTo>
                  <a:lnTo>
                    <a:pt x="163" y="45"/>
                  </a:lnTo>
                  <a:lnTo>
                    <a:pt x="166" y="45"/>
                  </a:lnTo>
                  <a:lnTo>
                    <a:pt x="165" y="34"/>
                  </a:lnTo>
                  <a:lnTo>
                    <a:pt x="163" y="34"/>
                  </a:lnTo>
                  <a:close/>
                  <a:moveTo>
                    <a:pt x="162" y="20"/>
                  </a:moveTo>
                  <a:lnTo>
                    <a:pt x="162" y="30"/>
                  </a:lnTo>
                  <a:lnTo>
                    <a:pt x="165" y="29"/>
                  </a:lnTo>
                  <a:lnTo>
                    <a:pt x="165" y="19"/>
                  </a:lnTo>
                  <a:lnTo>
                    <a:pt x="162" y="20"/>
                  </a:lnTo>
                  <a:close/>
                  <a:moveTo>
                    <a:pt x="161" y="4"/>
                  </a:moveTo>
                  <a:lnTo>
                    <a:pt x="162" y="14"/>
                  </a:lnTo>
                  <a:lnTo>
                    <a:pt x="165" y="14"/>
                  </a:lnTo>
                  <a:lnTo>
                    <a:pt x="163" y="4"/>
                  </a:lnTo>
                  <a:lnTo>
                    <a:pt x="161" y="4"/>
                  </a:lnTo>
                  <a:close/>
                  <a:moveTo>
                    <a:pt x="174" y="0"/>
                  </a:moveTo>
                  <a:lnTo>
                    <a:pt x="163" y="0"/>
                  </a:lnTo>
                  <a:lnTo>
                    <a:pt x="163" y="3"/>
                  </a:lnTo>
                  <a:lnTo>
                    <a:pt x="174" y="3"/>
                  </a:lnTo>
                  <a:lnTo>
                    <a:pt x="174" y="0"/>
                  </a:lnTo>
                  <a:close/>
                  <a:moveTo>
                    <a:pt x="190" y="0"/>
                  </a:moveTo>
                  <a:lnTo>
                    <a:pt x="179" y="0"/>
                  </a:lnTo>
                  <a:lnTo>
                    <a:pt x="179" y="3"/>
                  </a:lnTo>
                  <a:lnTo>
                    <a:pt x="190" y="3"/>
                  </a:lnTo>
                  <a:lnTo>
                    <a:pt x="190" y="0"/>
                  </a:lnTo>
                  <a:close/>
                  <a:moveTo>
                    <a:pt x="204" y="0"/>
                  </a:moveTo>
                  <a:lnTo>
                    <a:pt x="194" y="0"/>
                  </a:lnTo>
                  <a:lnTo>
                    <a:pt x="194" y="3"/>
                  </a:lnTo>
                  <a:lnTo>
                    <a:pt x="204" y="3"/>
                  </a:lnTo>
                  <a:lnTo>
                    <a:pt x="2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92" name="Freeform 1618"/>
            <p:cNvSpPr>
              <a:spLocks noEditPoints="1"/>
            </p:cNvSpPr>
            <p:nvPr/>
          </p:nvSpPr>
          <p:spPr bwMode="auto">
            <a:xfrm>
              <a:off x="4094163" y="4505754"/>
              <a:ext cx="39688" cy="150813"/>
            </a:xfrm>
            <a:custGeom>
              <a:avLst/>
              <a:gdLst>
                <a:gd name="T0" fmla="*/ 22 w 25"/>
                <a:gd name="T1" fmla="*/ 8 h 95"/>
                <a:gd name="T2" fmla="*/ 22 w 25"/>
                <a:gd name="T3" fmla="*/ 0 h 95"/>
                <a:gd name="T4" fmla="*/ 21 w 25"/>
                <a:gd name="T5" fmla="*/ 7 h 95"/>
                <a:gd name="T6" fmla="*/ 22 w 25"/>
                <a:gd name="T7" fmla="*/ 23 h 95"/>
                <a:gd name="T8" fmla="*/ 22 w 25"/>
                <a:gd name="T9" fmla="*/ 20 h 95"/>
                <a:gd name="T10" fmla="*/ 22 w 25"/>
                <a:gd name="T11" fmla="*/ 14 h 95"/>
                <a:gd name="T12" fmla="*/ 22 w 25"/>
                <a:gd name="T13" fmla="*/ 13 h 95"/>
                <a:gd name="T14" fmla="*/ 19 w 25"/>
                <a:gd name="T15" fmla="*/ 13 h 95"/>
                <a:gd name="T16" fmla="*/ 19 w 25"/>
                <a:gd name="T17" fmla="*/ 14 h 95"/>
                <a:gd name="T18" fmla="*/ 19 w 25"/>
                <a:gd name="T19" fmla="*/ 20 h 95"/>
                <a:gd name="T20" fmla="*/ 22 w 25"/>
                <a:gd name="T21" fmla="*/ 23 h 95"/>
                <a:gd name="T22" fmla="*/ 21 w 25"/>
                <a:gd name="T23" fmla="*/ 39 h 95"/>
                <a:gd name="T24" fmla="*/ 19 w 25"/>
                <a:gd name="T25" fmla="*/ 29 h 95"/>
                <a:gd name="T26" fmla="*/ 18 w 25"/>
                <a:gd name="T27" fmla="*/ 37 h 95"/>
                <a:gd name="T28" fmla="*/ 9 w 25"/>
                <a:gd name="T29" fmla="*/ 49 h 95"/>
                <a:gd name="T30" fmla="*/ 12 w 25"/>
                <a:gd name="T31" fmla="*/ 46 h 95"/>
                <a:gd name="T32" fmla="*/ 18 w 25"/>
                <a:gd name="T33" fmla="*/ 43 h 95"/>
                <a:gd name="T34" fmla="*/ 15 w 25"/>
                <a:gd name="T35" fmla="*/ 42 h 95"/>
                <a:gd name="T36" fmla="*/ 11 w 25"/>
                <a:gd name="T37" fmla="*/ 45 h 95"/>
                <a:gd name="T38" fmla="*/ 9 w 25"/>
                <a:gd name="T39" fmla="*/ 49 h 95"/>
                <a:gd name="T40" fmla="*/ 6 w 25"/>
                <a:gd name="T41" fmla="*/ 58 h 95"/>
                <a:gd name="T42" fmla="*/ 3 w 25"/>
                <a:gd name="T43" fmla="*/ 56 h 95"/>
                <a:gd name="T44" fmla="*/ 3 w 25"/>
                <a:gd name="T45" fmla="*/ 56 h 95"/>
                <a:gd name="T46" fmla="*/ 3 w 25"/>
                <a:gd name="T47" fmla="*/ 56 h 95"/>
                <a:gd name="T48" fmla="*/ 3 w 25"/>
                <a:gd name="T49" fmla="*/ 56 h 95"/>
                <a:gd name="T50" fmla="*/ 5 w 25"/>
                <a:gd name="T51" fmla="*/ 53 h 95"/>
                <a:gd name="T52" fmla="*/ 5 w 25"/>
                <a:gd name="T53" fmla="*/ 50 h 95"/>
                <a:gd name="T54" fmla="*/ 3 w 25"/>
                <a:gd name="T55" fmla="*/ 52 h 95"/>
                <a:gd name="T56" fmla="*/ 0 w 25"/>
                <a:gd name="T57" fmla="*/ 56 h 95"/>
                <a:gd name="T58" fmla="*/ 2 w 25"/>
                <a:gd name="T59" fmla="*/ 58 h 95"/>
                <a:gd name="T60" fmla="*/ 6 w 25"/>
                <a:gd name="T61" fmla="*/ 59 h 95"/>
                <a:gd name="T62" fmla="*/ 19 w 25"/>
                <a:gd name="T63" fmla="*/ 66 h 95"/>
                <a:gd name="T64" fmla="*/ 15 w 25"/>
                <a:gd name="T65" fmla="*/ 62 h 95"/>
                <a:gd name="T66" fmla="*/ 12 w 25"/>
                <a:gd name="T67" fmla="*/ 59 h 95"/>
                <a:gd name="T68" fmla="*/ 11 w 25"/>
                <a:gd name="T69" fmla="*/ 62 h 95"/>
                <a:gd name="T70" fmla="*/ 14 w 25"/>
                <a:gd name="T71" fmla="*/ 63 h 95"/>
                <a:gd name="T72" fmla="*/ 19 w 25"/>
                <a:gd name="T73" fmla="*/ 66 h 95"/>
                <a:gd name="T74" fmla="*/ 22 w 25"/>
                <a:gd name="T75" fmla="*/ 81 h 95"/>
                <a:gd name="T76" fmla="*/ 22 w 25"/>
                <a:gd name="T77" fmla="*/ 79 h 95"/>
                <a:gd name="T78" fmla="*/ 24 w 25"/>
                <a:gd name="T79" fmla="*/ 75 h 95"/>
                <a:gd name="T80" fmla="*/ 21 w 25"/>
                <a:gd name="T81" fmla="*/ 71 h 95"/>
                <a:gd name="T82" fmla="*/ 22 w 25"/>
                <a:gd name="T83" fmla="*/ 75 h 95"/>
                <a:gd name="T84" fmla="*/ 21 w 25"/>
                <a:gd name="T85" fmla="*/ 78 h 95"/>
                <a:gd name="T86" fmla="*/ 19 w 25"/>
                <a:gd name="T87" fmla="*/ 79 h 95"/>
                <a:gd name="T88" fmla="*/ 22 w 25"/>
                <a:gd name="T89" fmla="*/ 95 h 95"/>
                <a:gd name="T90" fmla="*/ 21 w 25"/>
                <a:gd name="T91" fmla="*/ 88 h 95"/>
                <a:gd name="T92" fmla="*/ 21 w 25"/>
                <a:gd name="T93" fmla="*/ 85 h 95"/>
                <a:gd name="T94" fmla="*/ 19 w 25"/>
                <a:gd name="T95" fmla="*/ 85 h 95"/>
                <a:gd name="T96" fmla="*/ 19 w 25"/>
                <a:gd name="T97" fmla="*/ 88 h 95"/>
                <a:gd name="T98" fmla="*/ 22 w 25"/>
                <a:gd name="T99"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 h="95">
                  <a:moveTo>
                    <a:pt x="22" y="8"/>
                  </a:moveTo>
                  <a:lnTo>
                    <a:pt x="22" y="8"/>
                  </a:lnTo>
                  <a:lnTo>
                    <a:pt x="25" y="0"/>
                  </a:lnTo>
                  <a:lnTo>
                    <a:pt x="22" y="0"/>
                  </a:lnTo>
                  <a:lnTo>
                    <a:pt x="22" y="0"/>
                  </a:lnTo>
                  <a:lnTo>
                    <a:pt x="21" y="7"/>
                  </a:lnTo>
                  <a:lnTo>
                    <a:pt x="22" y="8"/>
                  </a:lnTo>
                  <a:close/>
                  <a:moveTo>
                    <a:pt x="22" y="23"/>
                  </a:moveTo>
                  <a:lnTo>
                    <a:pt x="22" y="23"/>
                  </a:lnTo>
                  <a:lnTo>
                    <a:pt x="22" y="20"/>
                  </a:lnTo>
                  <a:lnTo>
                    <a:pt x="22" y="20"/>
                  </a:lnTo>
                  <a:lnTo>
                    <a:pt x="22" y="14"/>
                  </a:lnTo>
                  <a:lnTo>
                    <a:pt x="22" y="14"/>
                  </a:lnTo>
                  <a:lnTo>
                    <a:pt x="22" y="13"/>
                  </a:lnTo>
                  <a:lnTo>
                    <a:pt x="19" y="13"/>
                  </a:lnTo>
                  <a:lnTo>
                    <a:pt x="19" y="13"/>
                  </a:lnTo>
                  <a:lnTo>
                    <a:pt x="19" y="14"/>
                  </a:lnTo>
                  <a:lnTo>
                    <a:pt x="19" y="14"/>
                  </a:lnTo>
                  <a:lnTo>
                    <a:pt x="19" y="20"/>
                  </a:lnTo>
                  <a:lnTo>
                    <a:pt x="19" y="20"/>
                  </a:lnTo>
                  <a:lnTo>
                    <a:pt x="19" y="23"/>
                  </a:lnTo>
                  <a:lnTo>
                    <a:pt x="22" y="23"/>
                  </a:lnTo>
                  <a:close/>
                  <a:moveTo>
                    <a:pt x="21" y="39"/>
                  </a:moveTo>
                  <a:lnTo>
                    <a:pt x="21" y="39"/>
                  </a:lnTo>
                  <a:lnTo>
                    <a:pt x="22" y="29"/>
                  </a:lnTo>
                  <a:lnTo>
                    <a:pt x="19" y="29"/>
                  </a:lnTo>
                  <a:lnTo>
                    <a:pt x="19" y="29"/>
                  </a:lnTo>
                  <a:lnTo>
                    <a:pt x="18" y="37"/>
                  </a:lnTo>
                  <a:lnTo>
                    <a:pt x="21" y="39"/>
                  </a:lnTo>
                  <a:close/>
                  <a:moveTo>
                    <a:pt x="9" y="49"/>
                  </a:moveTo>
                  <a:lnTo>
                    <a:pt x="9" y="49"/>
                  </a:lnTo>
                  <a:lnTo>
                    <a:pt x="12" y="46"/>
                  </a:lnTo>
                  <a:lnTo>
                    <a:pt x="16" y="45"/>
                  </a:lnTo>
                  <a:lnTo>
                    <a:pt x="18" y="43"/>
                  </a:lnTo>
                  <a:lnTo>
                    <a:pt x="16" y="42"/>
                  </a:lnTo>
                  <a:lnTo>
                    <a:pt x="15" y="42"/>
                  </a:lnTo>
                  <a:lnTo>
                    <a:pt x="15" y="42"/>
                  </a:lnTo>
                  <a:lnTo>
                    <a:pt x="11" y="45"/>
                  </a:lnTo>
                  <a:lnTo>
                    <a:pt x="8" y="47"/>
                  </a:lnTo>
                  <a:lnTo>
                    <a:pt x="9" y="49"/>
                  </a:lnTo>
                  <a:close/>
                  <a:moveTo>
                    <a:pt x="6" y="58"/>
                  </a:moveTo>
                  <a:lnTo>
                    <a:pt x="6" y="58"/>
                  </a:lnTo>
                  <a:lnTo>
                    <a:pt x="3" y="56"/>
                  </a:lnTo>
                  <a:lnTo>
                    <a:pt x="3" y="56"/>
                  </a:lnTo>
                  <a:lnTo>
                    <a:pt x="3" y="56"/>
                  </a:lnTo>
                  <a:lnTo>
                    <a:pt x="3" y="56"/>
                  </a:lnTo>
                  <a:lnTo>
                    <a:pt x="3" y="56"/>
                  </a:lnTo>
                  <a:lnTo>
                    <a:pt x="3" y="56"/>
                  </a:lnTo>
                  <a:lnTo>
                    <a:pt x="3" y="56"/>
                  </a:lnTo>
                  <a:lnTo>
                    <a:pt x="3" y="56"/>
                  </a:lnTo>
                  <a:lnTo>
                    <a:pt x="3" y="56"/>
                  </a:lnTo>
                  <a:lnTo>
                    <a:pt x="5" y="53"/>
                  </a:lnTo>
                  <a:lnTo>
                    <a:pt x="6" y="53"/>
                  </a:lnTo>
                  <a:lnTo>
                    <a:pt x="5" y="50"/>
                  </a:lnTo>
                  <a:lnTo>
                    <a:pt x="3" y="52"/>
                  </a:lnTo>
                  <a:lnTo>
                    <a:pt x="3" y="52"/>
                  </a:lnTo>
                  <a:lnTo>
                    <a:pt x="2" y="55"/>
                  </a:lnTo>
                  <a:lnTo>
                    <a:pt x="0" y="56"/>
                  </a:lnTo>
                  <a:lnTo>
                    <a:pt x="0" y="56"/>
                  </a:lnTo>
                  <a:lnTo>
                    <a:pt x="2" y="58"/>
                  </a:lnTo>
                  <a:lnTo>
                    <a:pt x="2" y="58"/>
                  </a:lnTo>
                  <a:lnTo>
                    <a:pt x="6" y="59"/>
                  </a:lnTo>
                  <a:lnTo>
                    <a:pt x="6" y="58"/>
                  </a:lnTo>
                  <a:close/>
                  <a:moveTo>
                    <a:pt x="19" y="66"/>
                  </a:moveTo>
                  <a:lnTo>
                    <a:pt x="19" y="66"/>
                  </a:lnTo>
                  <a:lnTo>
                    <a:pt x="15" y="62"/>
                  </a:lnTo>
                  <a:lnTo>
                    <a:pt x="15" y="62"/>
                  </a:lnTo>
                  <a:lnTo>
                    <a:pt x="12" y="59"/>
                  </a:lnTo>
                  <a:lnTo>
                    <a:pt x="11" y="62"/>
                  </a:lnTo>
                  <a:lnTo>
                    <a:pt x="11" y="62"/>
                  </a:lnTo>
                  <a:lnTo>
                    <a:pt x="14" y="63"/>
                  </a:lnTo>
                  <a:lnTo>
                    <a:pt x="14" y="63"/>
                  </a:lnTo>
                  <a:lnTo>
                    <a:pt x="18" y="68"/>
                  </a:lnTo>
                  <a:lnTo>
                    <a:pt x="19" y="66"/>
                  </a:lnTo>
                  <a:close/>
                  <a:moveTo>
                    <a:pt x="22" y="81"/>
                  </a:moveTo>
                  <a:lnTo>
                    <a:pt x="22" y="81"/>
                  </a:lnTo>
                  <a:lnTo>
                    <a:pt x="22" y="79"/>
                  </a:lnTo>
                  <a:lnTo>
                    <a:pt x="22" y="79"/>
                  </a:lnTo>
                  <a:lnTo>
                    <a:pt x="24" y="75"/>
                  </a:lnTo>
                  <a:lnTo>
                    <a:pt x="24" y="75"/>
                  </a:lnTo>
                  <a:lnTo>
                    <a:pt x="24" y="71"/>
                  </a:lnTo>
                  <a:lnTo>
                    <a:pt x="21" y="71"/>
                  </a:lnTo>
                  <a:lnTo>
                    <a:pt x="21" y="71"/>
                  </a:lnTo>
                  <a:lnTo>
                    <a:pt x="22" y="75"/>
                  </a:lnTo>
                  <a:lnTo>
                    <a:pt x="22" y="75"/>
                  </a:lnTo>
                  <a:lnTo>
                    <a:pt x="21" y="78"/>
                  </a:lnTo>
                  <a:lnTo>
                    <a:pt x="21" y="78"/>
                  </a:lnTo>
                  <a:lnTo>
                    <a:pt x="19" y="79"/>
                  </a:lnTo>
                  <a:lnTo>
                    <a:pt x="22" y="81"/>
                  </a:lnTo>
                  <a:close/>
                  <a:moveTo>
                    <a:pt x="22" y="95"/>
                  </a:moveTo>
                  <a:lnTo>
                    <a:pt x="22" y="95"/>
                  </a:lnTo>
                  <a:lnTo>
                    <a:pt x="21" y="88"/>
                  </a:lnTo>
                  <a:lnTo>
                    <a:pt x="21" y="88"/>
                  </a:lnTo>
                  <a:lnTo>
                    <a:pt x="21" y="85"/>
                  </a:lnTo>
                  <a:lnTo>
                    <a:pt x="19" y="85"/>
                  </a:lnTo>
                  <a:lnTo>
                    <a:pt x="19" y="85"/>
                  </a:lnTo>
                  <a:lnTo>
                    <a:pt x="19" y="88"/>
                  </a:lnTo>
                  <a:lnTo>
                    <a:pt x="19" y="88"/>
                  </a:lnTo>
                  <a:lnTo>
                    <a:pt x="19" y="95"/>
                  </a:lnTo>
                  <a:lnTo>
                    <a:pt x="22"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93" name="Freeform 1619"/>
            <p:cNvSpPr>
              <a:spLocks noEditPoints="1"/>
            </p:cNvSpPr>
            <p:nvPr/>
          </p:nvSpPr>
          <p:spPr bwMode="auto">
            <a:xfrm>
              <a:off x="4000500" y="4389866"/>
              <a:ext cx="179388" cy="122238"/>
            </a:xfrm>
            <a:custGeom>
              <a:avLst/>
              <a:gdLst>
                <a:gd name="T0" fmla="*/ 2 w 113"/>
                <a:gd name="T1" fmla="*/ 0 h 77"/>
                <a:gd name="T2" fmla="*/ 2 w 113"/>
                <a:gd name="T3" fmla="*/ 10 h 77"/>
                <a:gd name="T4" fmla="*/ 10 w 113"/>
                <a:gd name="T5" fmla="*/ 23 h 77"/>
                <a:gd name="T6" fmla="*/ 3 w 113"/>
                <a:gd name="T7" fmla="*/ 16 h 77"/>
                <a:gd name="T8" fmla="*/ 9 w 113"/>
                <a:gd name="T9" fmla="*/ 25 h 77"/>
                <a:gd name="T10" fmla="*/ 17 w 113"/>
                <a:gd name="T11" fmla="*/ 36 h 77"/>
                <a:gd name="T12" fmla="*/ 13 w 113"/>
                <a:gd name="T13" fmla="*/ 26 h 77"/>
                <a:gd name="T14" fmla="*/ 13 w 113"/>
                <a:gd name="T15" fmla="*/ 32 h 77"/>
                <a:gd name="T16" fmla="*/ 17 w 113"/>
                <a:gd name="T17" fmla="*/ 36 h 77"/>
                <a:gd name="T18" fmla="*/ 19 w 113"/>
                <a:gd name="T19" fmla="*/ 47 h 77"/>
                <a:gd name="T20" fmla="*/ 15 w 113"/>
                <a:gd name="T21" fmla="*/ 42 h 77"/>
                <a:gd name="T22" fmla="*/ 20 w 113"/>
                <a:gd name="T23" fmla="*/ 51 h 77"/>
                <a:gd name="T24" fmla="*/ 25 w 113"/>
                <a:gd name="T25" fmla="*/ 52 h 77"/>
                <a:gd name="T26" fmla="*/ 23 w 113"/>
                <a:gd name="T27" fmla="*/ 54 h 77"/>
                <a:gd name="T28" fmla="*/ 22 w 113"/>
                <a:gd name="T29" fmla="*/ 57 h 77"/>
                <a:gd name="T30" fmla="*/ 26 w 113"/>
                <a:gd name="T31" fmla="*/ 57 h 77"/>
                <a:gd name="T32" fmla="*/ 29 w 113"/>
                <a:gd name="T33" fmla="*/ 48 h 77"/>
                <a:gd name="T34" fmla="*/ 38 w 113"/>
                <a:gd name="T35" fmla="*/ 45 h 77"/>
                <a:gd name="T36" fmla="*/ 35 w 113"/>
                <a:gd name="T37" fmla="*/ 42 h 77"/>
                <a:gd name="T38" fmla="*/ 29 w 113"/>
                <a:gd name="T39" fmla="*/ 41 h 77"/>
                <a:gd name="T40" fmla="*/ 31 w 113"/>
                <a:gd name="T41" fmla="*/ 44 h 77"/>
                <a:gd name="T42" fmla="*/ 31 w 113"/>
                <a:gd name="T43" fmla="*/ 44 h 77"/>
                <a:gd name="T44" fmla="*/ 33 w 113"/>
                <a:gd name="T45" fmla="*/ 44 h 77"/>
                <a:gd name="T46" fmla="*/ 52 w 113"/>
                <a:gd name="T47" fmla="*/ 49 h 77"/>
                <a:gd name="T48" fmla="*/ 45 w 113"/>
                <a:gd name="T49" fmla="*/ 48 h 77"/>
                <a:gd name="T50" fmla="*/ 42 w 113"/>
                <a:gd name="T51" fmla="*/ 49 h 77"/>
                <a:gd name="T52" fmla="*/ 52 w 113"/>
                <a:gd name="T53" fmla="*/ 52 h 77"/>
                <a:gd name="T54" fmla="*/ 67 w 113"/>
                <a:gd name="T55" fmla="*/ 49 h 77"/>
                <a:gd name="T56" fmla="*/ 57 w 113"/>
                <a:gd name="T57" fmla="*/ 49 h 77"/>
                <a:gd name="T58" fmla="*/ 61 w 113"/>
                <a:gd name="T59" fmla="*/ 52 h 77"/>
                <a:gd name="T60" fmla="*/ 67 w 113"/>
                <a:gd name="T61" fmla="*/ 49 h 77"/>
                <a:gd name="T62" fmla="*/ 73 w 113"/>
                <a:gd name="T63" fmla="*/ 54 h 77"/>
                <a:gd name="T64" fmla="*/ 74 w 113"/>
                <a:gd name="T65" fmla="*/ 64 h 77"/>
                <a:gd name="T66" fmla="*/ 86 w 113"/>
                <a:gd name="T67" fmla="*/ 73 h 77"/>
                <a:gd name="T68" fmla="*/ 75 w 113"/>
                <a:gd name="T69" fmla="*/ 68 h 77"/>
                <a:gd name="T70" fmla="*/ 84 w 113"/>
                <a:gd name="T71" fmla="*/ 76 h 77"/>
                <a:gd name="T72" fmla="*/ 99 w 113"/>
                <a:gd name="T73" fmla="*/ 73 h 77"/>
                <a:gd name="T74" fmla="*/ 90 w 113"/>
                <a:gd name="T75" fmla="*/ 74 h 77"/>
                <a:gd name="T76" fmla="*/ 91 w 113"/>
                <a:gd name="T77" fmla="*/ 77 h 77"/>
                <a:gd name="T78" fmla="*/ 100 w 113"/>
                <a:gd name="T79" fmla="*/ 76 h 77"/>
                <a:gd name="T80" fmla="*/ 112 w 113"/>
                <a:gd name="T81" fmla="*/ 67 h 77"/>
                <a:gd name="T82" fmla="*/ 104 w 113"/>
                <a:gd name="T83" fmla="*/ 7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3" h="77">
                  <a:moveTo>
                    <a:pt x="3" y="10"/>
                  </a:moveTo>
                  <a:lnTo>
                    <a:pt x="3" y="10"/>
                  </a:lnTo>
                  <a:lnTo>
                    <a:pt x="2" y="0"/>
                  </a:lnTo>
                  <a:lnTo>
                    <a:pt x="0" y="0"/>
                  </a:lnTo>
                  <a:lnTo>
                    <a:pt x="0" y="0"/>
                  </a:lnTo>
                  <a:lnTo>
                    <a:pt x="2" y="10"/>
                  </a:lnTo>
                  <a:lnTo>
                    <a:pt x="3" y="10"/>
                  </a:lnTo>
                  <a:close/>
                  <a:moveTo>
                    <a:pt x="10" y="23"/>
                  </a:moveTo>
                  <a:lnTo>
                    <a:pt x="10" y="23"/>
                  </a:lnTo>
                  <a:lnTo>
                    <a:pt x="7" y="19"/>
                  </a:lnTo>
                  <a:lnTo>
                    <a:pt x="4" y="15"/>
                  </a:lnTo>
                  <a:lnTo>
                    <a:pt x="3" y="16"/>
                  </a:lnTo>
                  <a:lnTo>
                    <a:pt x="3" y="16"/>
                  </a:lnTo>
                  <a:lnTo>
                    <a:pt x="6" y="20"/>
                  </a:lnTo>
                  <a:lnTo>
                    <a:pt x="9" y="25"/>
                  </a:lnTo>
                  <a:lnTo>
                    <a:pt x="10" y="23"/>
                  </a:lnTo>
                  <a:close/>
                  <a:moveTo>
                    <a:pt x="17" y="36"/>
                  </a:moveTo>
                  <a:lnTo>
                    <a:pt x="17" y="36"/>
                  </a:lnTo>
                  <a:lnTo>
                    <a:pt x="16" y="32"/>
                  </a:lnTo>
                  <a:lnTo>
                    <a:pt x="16" y="32"/>
                  </a:lnTo>
                  <a:lnTo>
                    <a:pt x="13" y="26"/>
                  </a:lnTo>
                  <a:lnTo>
                    <a:pt x="12" y="28"/>
                  </a:lnTo>
                  <a:lnTo>
                    <a:pt x="12" y="28"/>
                  </a:lnTo>
                  <a:lnTo>
                    <a:pt x="13" y="32"/>
                  </a:lnTo>
                  <a:lnTo>
                    <a:pt x="13" y="32"/>
                  </a:lnTo>
                  <a:lnTo>
                    <a:pt x="15" y="38"/>
                  </a:lnTo>
                  <a:lnTo>
                    <a:pt x="17" y="36"/>
                  </a:lnTo>
                  <a:close/>
                  <a:moveTo>
                    <a:pt x="20" y="51"/>
                  </a:moveTo>
                  <a:lnTo>
                    <a:pt x="20" y="51"/>
                  </a:lnTo>
                  <a:lnTo>
                    <a:pt x="19" y="47"/>
                  </a:lnTo>
                  <a:lnTo>
                    <a:pt x="17" y="42"/>
                  </a:lnTo>
                  <a:lnTo>
                    <a:pt x="15" y="42"/>
                  </a:lnTo>
                  <a:lnTo>
                    <a:pt x="15" y="42"/>
                  </a:lnTo>
                  <a:lnTo>
                    <a:pt x="16" y="48"/>
                  </a:lnTo>
                  <a:lnTo>
                    <a:pt x="17" y="52"/>
                  </a:lnTo>
                  <a:lnTo>
                    <a:pt x="20" y="51"/>
                  </a:lnTo>
                  <a:close/>
                  <a:moveTo>
                    <a:pt x="26" y="48"/>
                  </a:moveTo>
                  <a:lnTo>
                    <a:pt x="26" y="48"/>
                  </a:lnTo>
                  <a:lnTo>
                    <a:pt x="25" y="52"/>
                  </a:lnTo>
                  <a:lnTo>
                    <a:pt x="25" y="52"/>
                  </a:lnTo>
                  <a:lnTo>
                    <a:pt x="23" y="54"/>
                  </a:lnTo>
                  <a:lnTo>
                    <a:pt x="23" y="54"/>
                  </a:lnTo>
                  <a:lnTo>
                    <a:pt x="23" y="54"/>
                  </a:lnTo>
                  <a:lnTo>
                    <a:pt x="22" y="57"/>
                  </a:lnTo>
                  <a:lnTo>
                    <a:pt x="22" y="57"/>
                  </a:lnTo>
                  <a:lnTo>
                    <a:pt x="23" y="57"/>
                  </a:lnTo>
                  <a:lnTo>
                    <a:pt x="23" y="57"/>
                  </a:lnTo>
                  <a:lnTo>
                    <a:pt x="26" y="57"/>
                  </a:lnTo>
                  <a:lnTo>
                    <a:pt x="26" y="57"/>
                  </a:lnTo>
                  <a:lnTo>
                    <a:pt x="28" y="52"/>
                  </a:lnTo>
                  <a:lnTo>
                    <a:pt x="29" y="48"/>
                  </a:lnTo>
                  <a:lnTo>
                    <a:pt x="26" y="48"/>
                  </a:lnTo>
                  <a:lnTo>
                    <a:pt x="26" y="48"/>
                  </a:lnTo>
                  <a:close/>
                  <a:moveTo>
                    <a:pt x="38" y="45"/>
                  </a:moveTo>
                  <a:lnTo>
                    <a:pt x="38" y="45"/>
                  </a:lnTo>
                  <a:lnTo>
                    <a:pt x="35" y="42"/>
                  </a:lnTo>
                  <a:lnTo>
                    <a:pt x="35" y="42"/>
                  </a:lnTo>
                  <a:lnTo>
                    <a:pt x="31" y="41"/>
                  </a:lnTo>
                  <a:lnTo>
                    <a:pt x="31" y="41"/>
                  </a:lnTo>
                  <a:lnTo>
                    <a:pt x="29" y="41"/>
                  </a:lnTo>
                  <a:lnTo>
                    <a:pt x="29" y="41"/>
                  </a:lnTo>
                  <a:lnTo>
                    <a:pt x="28" y="42"/>
                  </a:lnTo>
                  <a:lnTo>
                    <a:pt x="31" y="44"/>
                  </a:lnTo>
                  <a:lnTo>
                    <a:pt x="31" y="44"/>
                  </a:lnTo>
                  <a:lnTo>
                    <a:pt x="31" y="44"/>
                  </a:lnTo>
                  <a:lnTo>
                    <a:pt x="31" y="44"/>
                  </a:lnTo>
                  <a:lnTo>
                    <a:pt x="31" y="44"/>
                  </a:lnTo>
                  <a:lnTo>
                    <a:pt x="33" y="44"/>
                  </a:lnTo>
                  <a:lnTo>
                    <a:pt x="33" y="44"/>
                  </a:lnTo>
                  <a:lnTo>
                    <a:pt x="36" y="47"/>
                  </a:lnTo>
                  <a:lnTo>
                    <a:pt x="38" y="45"/>
                  </a:lnTo>
                  <a:close/>
                  <a:moveTo>
                    <a:pt x="52" y="49"/>
                  </a:moveTo>
                  <a:lnTo>
                    <a:pt x="52" y="49"/>
                  </a:lnTo>
                  <a:lnTo>
                    <a:pt x="45" y="48"/>
                  </a:lnTo>
                  <a:lnTo>
                    <a:pt x="45" y="48"/>
                  </a:lnTo>
                  <a:lnTo>
                    <a:pt x="42" y="48"/>
                  </a:lnTo>
                  <a:lnTo>
                    <a:pt x="42" y="49"/>
                  </a:lnTo>
                  <a:lnTo>
                    <a:pt x="42" y="49"/>
                  </a:lnTo>
                  <a:lnTo>
                    <a:pt x="45" y="51"/>
                  </a:lnTo>
                  <a:lnTo>
                    <a:pt x="45" y="51"/>
                  </a:lnTo>
                  <a:lnTo>
                    <a:pt x="52" y="52"/>
                  </a:lnTo>
                  <a:lnTo>
                    <a:pt x="52" y="49"/>
                  </a:lnTo>
                  <a:close/>
                  <a:moveTo>
                    <a:pt x="67" y="49"/>
                  </a:moveTo>
                  <a:lnTo>
                    <a:pt x="67" y="49"/>
                  </a:lnTo>
                  <a:lnTo>
                    <a:pt x="61" y="49"/>
                  </a:lnTo>
                  <a:lnTo>
                    <a:pt x="61" y="49"/>
                  </a:lnTo>
                  <a:lnTo>
                    <a:pt x="57" y="49"/>
                  </a:lnTo>
                  <a:lnTo>
                    <a:pt x="57" y="52"/>
                  </a:lnTo>
                  <a:lnTo>
                    <a:pt x="57" y="52"/>
                  </a:lnTo>
                  <a:lnTo>
                    <a:pt x="61" y="52"/>
                  </a:lnTo>
                  <a:lnTo>
                    <a:pt x="61" y="52"/>
                  </a:lnTo>
                  <a:lnTo>
                    <a:pt x="67" y="52"/>
                  </a:lnTo>
                  <a:lnTo>
                    <a:pt x="67" y="49"/>
                  </a:lnTo>
                  <a:close/>
                  <a:moveTo>
                    <a:pt x="75" y="62"/>
                  </a:moveTo>
                  <a:lnTo>
                    <a:pt x="75" y="62"/>
                  </a:lnTo>
                  <a:lnTo>
                    <a:pt x="73" y="54"/>
                  </a:lnTo>
                  <a:lnTo>
                    <a:pt x="70" y="54"/>
                  </a:lnTo>
                  <a:lnTo>
                    <a:pt x="70" y="54"/>
                  </a:lnTo>
                  <a:lnTo>
                    <a:pt x="74" y="64"/>
                  </a:lnTo>
                  <a:lnTo>
                    <a:pt x="75" y="62"/>
                  </a:lnTo>
                  <a:close/>
                  <a:moveTo>
                    <a:pt x="86" y="73"/>
                  </a:moveTo>
                  <a:lnTo>
                    <a:pt x="86" y="73"/>
                  </a:lnTo>
                  <a:lnTo>
                    <a:pt x="81" y="70"/>
                  </a:lnTo>
                  <a:lnTo>
                    <a:pt x="78" y="67"/>
                  </a:lnTo>
                  <a:lnTo>
                    <a:pt x="75" y="68"/>
                  </a:lnTo>
                  <a:lnTo>
                    <a:pt x="75" y="68"/>
                  </a:lnTo>
                  <a:lnTo>
                    <a:pt x="80" y="73"/>
                  </a:lnTo>
                  <a:lnTo>
                    <a:pt x="84" y="76"/>
                  </a:lnTo>
                  <a:lnTo>
                    <a:pt x="86" y="73"/>
                  </a:lnTo>
                  <a:close/>
                  <a:moveTo>
                    <a:pt x="99" y="73"/>
                  </a:moveTo>
                  <a:lnTo>
                    <a:pt x="99" y="73"/>
                  </a:lnTo>
                  <a:lnTo>
                    <a:pt x="91" y="74"/>
                  </a:lnTo>
                  <a:lnTo>
                    <a:pt x="91" y="74"/>
                  </a:lnTo>
                  <a:lnTo>
                    <a:pt x="90" y="74"/>
                  </a:lnTo>
                  <a:lnTo>
                    <a:pt x="88" y="77"/>
                  </a:lnTo>
                  <a:lnTo>
                    <a:pt x="88" y="77"/>
                  </a:lnTo>
                  <a:lnTo>
                    <a:pt x="91" y="77"/>
                  </a:lnTo>
                  <a:lnTo>
                    <a:pt x="91" y="77"/>
                  </a:lnTo>
                  <a:lnTo>
                    <a:pt x="96" y="77"/>
                  </a:lnTo>
                  <a:lnTo>
                    <a:pt x="100" y="76"/>
                  </a:lnTo>
                  <a:lnTo>
                    <a:pt x="99" y="73"/>
                  </a:lnTo>
                  <a:close/>
                  <a:moveTo>
                    <a:pt x="112" y="67"/>
                  </a:moveTo>
                  <a:lnTo>
                    <a:pt x="112" y="67"/>
                  </a:lnTo>
                  <a:lnTo>
                    <a:pt x="103" y="71"/>
                  </a:lnTo>
                  <a:lnTo>
                    <a:pt x="104" y="73"/>
                  </a:lnTo>
                  <a:lnTo>
                    <a:pt x="104" y="73"/>
                  </a:lnTo>
                  <a:lnTo>
                    <a:pt x="113" y="68"/>
                  </a:lnTo>
                  <a:lnTo>
                    <a:pt x="112"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94" name="Freeform 1620"/>
            <p:cNvSpPr>
              <a:spLocks noEditPoints="1"/>
            </p:cNvSpPr>
            <p:nvPr/>
          </p:nvSpPr>
          <p:spPr bwMode="auto">
            <a:xfrm>
              <a:off x="3894138" y="4447016"/>
              <a:ext cx="133350" cy="14288"/>
            </a:xfrm>
            <a:custGeom>
              <a:avLst/>
              <a:gdLst>
                <a:gd name="T0" fmla="*/ 8 w 84"/>
                <a:gd name="T1" fmla="*/ 5 h 9"/>
                <a:gd name="T2" fmla="*/ 8 w 84"/>
                <a:gd name="T3" fmla="*/ 5 h 9"/>
                <a:gd name="T4" fmla="*/ 0 w 84"/>
                <a:gd name="T5" fmla="*/ 6 h 9"/>
                <a:gd name="T6" fmla="*/ 0 w 84"/>
                <a:gd name="T7" fmla="*/ 9 h 9"/>
                <a:gd name="T8" fmla="*/ 0 w 84"/>
                <a:gd name="T9" fmla="*/ 9 h 9"/>
                <a:gd name="T10" fmla="*/ 8 w 84"/>
                <a:gd name="T11" fmla="*/ 8 h 9"/>
                <a:gd name="T12" fmla="*/ 8 w 84"/>
                <a:gd name="T13" fmla="*/ 5 h 9"/>
                <a:gd name="T14" fmla="*/ 24 w 84"/>
                <a:gd name="T15" fmla="*/ 3 h 9"/>
                <a:gd name="T16" fmla="*/ 24 w 84"/>
                <a:gd name="T17" fmla="*/ 3 h 9"/>
                <a:gd name="T18" fmla="*/ 14 w 84"/>
                <a:gd name="T19" fmla="*/ 5 h 9"/>
                <a:gd name="T20" fmla="*/ 14 w 84"/>
                <a:gd name="T21" fmla="*/ 8 h 9"/>
                <a:gd name="T22" fmla="*/ 14 w 84"/>
                <a:gd name="T23" fmla="*/ 8 h 9"/>
                <a:gd name="T24" fmla="*/ 24 w 84"/>
                <a:gd name="T25" fmla="*/ 6 h 9"/>
                <a:gd name="T26" fmla="*/ 24 w 84"/>
                <a:gd name="T27" fmla="*/ 3 h 9"/>
                <a:gd name="T28" fmla="*/ 38 w 84"/>
                <a:gd name="T29" fmla="*/ 2 h 9"/>
                <a:gd name="T30" fmla="*/ 38 w 84"/>
                <a:gd name="T31" fmla="*/ 2 h 9"/>
                <a:gd name="T32" fmla="*/ 28 w 84"/>
                <a:gd name="T33" fmla="*/ 2 h 9"/>
                <a:gd name="T34" fmla="*/ 28 w 84"/>
                <a:gd name="T35" fmla="*/ 5 h 9"/>
                <a:gd name="T36" fmla="*/ 28 w 84"/>
                <a:gd name="T37" fmla="*/ 5 h 9"/>
                <a:gd name="T38" fmla="*/ 38 w 84"/>
                <a:gd name="T39" fmla="*/ 3 h 9"/>
                <a:gd name="T40" fmla="*/ 38 w 84"/>
                <a:gd name="T41" fmla="*/ 2 h 9"/>
                <a:gd name="T42" fmla="*/ 54 w 84"/>
                <a:gd name="T43" fmla="*/ 2 h 9"/>
                <a:gd name="T44" fmla="*/ 54 w 84"/>
                <a:gd name="T45" fmla="*/ 2 h 9"/>
                <a:gd name="T46" fmla="*/ 44 w 84"/>
                <a:gd name="T47" fmla="*/ 0 h 9"/>
                <a:gd name="T48" fmla="*/ 44 w 84"/>
                <a:gd name="T49" fmla="*/ 0 h 9"/>
                <a:gd name="T50" fmla="*/ 44 w 84"/>
                <a:gd name="T51" fmla="*/ 0 h 9"/>
                <a:gd name="T52" fmla="*/ 44 w 84"/>
                <a:gd name="T53" fmla="*/ 3 h 9"/>
                <a:gd name="T54" fmla="*/ 44 w 84"/>
                <a:gd name="T55" fmla="*/ 3 h 9"/>
                <a:gd name="T56" fmla="*/ 44 w 84"/>
                <a:gd name="T57" fmla="*/ 3 h 9"/>
                <a:gd name="T58" fmla="*/ 44 w 84"/>
                <a:gd name="T59" fmla="*/ 3 h 9"/>
                <a:gd name="T60" fmla="*/ 54 w 84"/>
                <a:gd name="T61" fmla="*/ 5 h 9"/>
                <a:gd name="T62" fmla="*/ 54 w 84"/>
                <a:gd name="T63" fmla="*/ 2 h 9"/>
                <a:gd name="T64" fmla="*/ 69 w 84"/>
                <a:gd name="T65" fmla="*/ 5 h 9"/>
                <a:gd name="T66" fmla="*/ 69 w 84"/>
                <a:gd name="T67" fmla="*/ 5 h 9"/>
                <a:gd name="T68" fmla="*/ 58 w 84"/>
                <a:gd name="T69" fmla="*/ 3 h 9"/>
                <a:gd name="T70" fmla="*/ 58 w 84"/>
                <a:gd name="T71" fmla="*/ 5 h 9"/>
                <a:gd name="T72" fmla="*/ 58 w 84"/>
                <a:gd name="T73" fmla="*/ 5 h 9"/>
                <a:gd name="T74" fmla="*/ 69 w 84"/>
                <a:gd name="T75" fmla="*/ 6 h 9"/>
                <a:gd name="T76" fmla="*/ 69 w 84"/>
                <a:gd name="T77" fmla="*/ 5 h 9"/>
                <a:gd name="T78" fmla="*/ 83 w 84"/>
                <a:gd name="T79" fmla="*/ 3 h 9"/>
                <a:gd name="T80" fmla="*/ 83 w 84"/>
                <a:gd name="T81" fmla="*/ 3 h 9"/>
                <a:gd name="T82" fmla="*/ 80 w 84"/>
                <a:gd name="T83" fmla="*/ 5 h 9"/>
                <a:gd name="T84" fmla="*/ 76 w 84"/>
                <a:gd name="T85" fmla="*/ 5 h 9"/>
                <a:gd name="T86" fmla="*/ 76 w 84"/>
                <a:gd name="T87" fmla="*/ 5 h 9"/>
                <a:gd name="T88" fmla="*/ 76 w 84"/>
                <a:gd name="T89" fmla="*/ 5 h 9"/>
                <a:gd name="T90" fmla="*/ 74 w 84"/>
                <a:gd name="T91" fmla="*/ 5 h 9"/>
                <a:gd name="T92" fmla="*/ 73 w 84"/>
                <a:gd name="T93" fmla="*/ 8 h 9"/>
                <a:gd name="T94" fmla="*/ 73 w 84"/>
                <a:gd name="T95" fmla="*/ 8 h 9"/>
                <a:gd name="T96" fmla="*/ 74 w 84"/>
                <a:gd name="T97" fmla="*/ 8 h 9"/>
                <a:gd name="T98" fmla="*/ 74 w 84"/>
                <a:gd name="T99" fmla="*/ 8 h 9"/>
                <a:gd name="T100" fmla="*/ 76 w 84"/>
                <a:gd name="T101" fmla="*/ 8 h 9"/>
                <a:gd name="T102" fmla="*/ 76 w 84"/>
                <a:gd name="T103" fmla="*/ 8 h 9"/>
                <a:gd name="T104" fmla="*/ 80 w 84"/>
                <a:gd name="T105" fmla="*/ 6 h 9"/>
                <a:gd name="T106" fmla="*/ 84 w 84"/>
                <a:gd name="T107" fmla="*/ 5 h 9"/>
                <a:gd name="T108" fmla="*/ 83 w 84"/>
                <a:gd name="T10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4" h="9">
                  <a:moveTo>
                    <a:pt x="8" y="5"/>
                  </a:moveTo>
                  <a:lnTo>
                    <a:pt x="8" y="5"/>
                  </a:lnTo>
                  <a:lnTo>
                    <a:pt x="0" y="6"/>
                  </a:lnTo>
                  <a:lnTo>
                    <a:pt x="0" y="9"/>
                  </a:lnTo>
                  <a:lnTo>
                    <a:pt x="0" y="9"/>
                  </a:lnTo>
                  <a:lnTo>
                    <a:pt x="8" y="8"/>
                  </a:lnTo>
                  <a:lnTo>
                    <a:pt x="8" y="5"/>
                  </a:lnTo>
                  <a:close/>
                  <a:moveTo>
                    <a:pt x="24" y="3"/>
                  </a:moveTo>
                  <a:lnTo>
                    <a:pt x="24" y="3"/>
                  </a:lnTo>
                  <a:lnTo>
                    <a:pt x="14" y="5"/>
                  </a:lnTo>
                  <a:lnTo>
                    <a:pt x="14" y="8"/>
                  </a:lnTo>
                  <a:lnTo>
                    <a:pt x="14" y="8"/>
                  </a:lnTo>
                  <a:lnTo>
                    <a:pt x="24" y="6"/>
                  </a:lnTo>
                  <a:lnTo>
                    <a:pt x="24" y="3"/>
                  </a:lnTo>
                  <a:close/>
                  <a:moveTo>
                    <a:pt x="38" y="2"/>
                  </a:moveTo>
                  <a:lnTo>
                    <a:pt x="38" y="2"/>
                  </a:lnTo>
                  <a:lnTo>
                    <a:pt x="28" y="2"/>
                  </a:lnTo>
                  <a:lnTo>
                    <a:pt x="28" y="5"/>
                  </a:lnTo>
                  <a:lnTo>
                    <a:pt x="28" y="5"/>
                  </a:lnTo>
                  <a:lnTo>
                    <a:pt x="38" y="3"/>
                  </a:lnTo>
                  <a:lnTo>
                    <a:pt x="38" y="2"/>
                  </a:lnTo>
                  <a:close/>
                  <a:moveTo>
                    <a:pt x="54" y="2"/>
                  </a:moveTo>
                  <a:lnTo>
                    <a:pt x="54" y="2"/>
                  </a:lnTo>
                  <a:lnTo>
                    <a:pt x="44" y="0"/>
                  </a:lnTo>
                  <a:lnTo>
                    <a:pt x="44" y="0"/>
                  </a:lnTo>
                  <a:lnTo>
                    <a:pt x="44" y="0"/>
                  </a:lnTo>
                  <a:lnTo>
                    <a:pt x="44" y="3"/>
                  </a:lnTo>
                  <a:lnTo>
                    <a:pt x="44" y="3"/>
                  </a:lnTo>
                  <a:lnTo>
                    <a:pt x="44" y="3"/>
                  </a:lnTo>
                  <a:lnTo>
                    <a:pt x="44" y="3"/>
                  </a:lnTo>
                  <a:lnTo>
                    <a:pt x="54" y="5"/>
                  </a:lnTo>
                  <a:lnTo>
                    <a:pt x="54" y="2"/>
                  </a:lnTo>
                  <a:close/>
                  <a:moveTo>
                    <a:pt x="69" y="5"/>
                  </a:moveTo>
                  <a:lnTo>
                    <a:pt x="69" y="5"/>
                  </a:lnTo>
                  <a:lnTo>
                    <a:pt x="58" y="3"/>
                  </a:lnTo>
                  <a:lnTo>
                    <a:pt x="58" y="5"/>
                  </a:lnTo>
                  <a:lnTo>
                    <a:pt x="58" y="5"/>
                  </a:lnTo>
                  <a:lnTo>
                    <a:pt x="69" y="6"/>
                  </a:lnTo>
                  <a:lnTo>
                    <a:pt x="69" y="5"/>
                  </a:lnTo>
                  <a:close/>
                  <a:moveTo>
                    <a:pt x="83" y="3"/>
                  </a:moveTo>
                  <a:lnTo>
                    <a:pt x="83" y="3"/>
                  </a:lnTo>
                  <a:lnTo>
                    <a:pt x="80" y="5"/>
                  </a:lnTo>
                  <a:lnTo>
                    <a:pt x="76" y="5"/>
                  </a:lnTo>
                  <a:lnTo>
                    <a:pt x="76" y="5"/>
                  </a:lnTo>
                  <a:lnTo>
                    <a:pt x="76" y="5"/>
                  </a:lnTo>
                  <a:lnTo>
                    <a:pt x="74" y="5"/>
                  </a:lnTo>
                  <a:lnTo>
                    <a:pt x="73" y="8"/>
                  </a:lnTo>
                  <a:lnTo>
                    <a:pt x="73" y="8"/>
                  </a:lnTo>
                  <a:lnTo>
                    <a:pt x="74" y="8"/>
                  </a:lnTo>
                  <a:lnTo>
                    <a:pt x="74" y="8"/>
                  </a:lnTo>
                  <a:lnTo>
                    <a:pt x="76" y="8"/>
                  </a:lnTo>
                  <a:lnTo>
                    <a:pt x="76" y="8"/>
                  </a:lnTo>
                  <a:lnTo>
                    <a:pt x="80" y="6"/>
                  </a:lnTo>
                  <a:lnTo>
                    <a:pt x="84" y="5"/>
                  </a:lnTo>
                  <a:lnTo>
                    <a:pt x="83"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95" name="Freeform 1621"/>
            <p:cNvSpPr>
              <a:spLocks noEditPoints="1"/>
            </p:cNvSpPr>
            <p:nvPr/>
          </p:nvSpPr>
          <p:spPr bwMode="auto">
            <a:xfrm>
              <a:off x="3892550" y="4410504"/>
              <a:ext cx="68263" cy="28575"/>
            </a:xfrm>
            <a:custGeom>
              <a:avLst/>
              <a:gdLst>
                <a:gd name="T0" fmla="*/ 1 w 43"/>
                <a:gd name="T1" fmla="*/ 7 h 18"/>
                <a:gd name="T2" fmla="*/ 0 w 43"/>
                <a:gd name="T3" fmla="*/ 10 h 18"/>
                <a:gd name="T4" fmla="*/ 1 w 43"/>
                <a:gd name="T5" fmla="*/ 10 h 18"/>
                <a:gd name="T6" fmla="*/ 16 w 43"/>
                <a:gd name="T7" fmla="*/ 6 h 18"/>
                <a:gd name="T8" fmla="*/ 7 w 43"/>
                <a:gd name="T9" fmla="*/ 7 h 18"/>
                <a:gd name="T10" fmla="*/ 7 w 43"/>
                <a:gd name="T11" fmla="*/ 10 h 18"/>
                <a:gd name="T12" fmla="*/ 16 w 43"/>
                <a:gd name="T13" fmla="*/ 6 h 18"/>
                <a:gd name="T14" fmla="*/ 30 w 43"/>
                <a:gd name="T15" fmla="*/ 0 h 18"/>
                <a:gd name="T16" fmla="*/ 28 w 43"/>
                <a:gd name="T17" fmla="*/ 2 h 18"/>
                <a:gd name="T18" fmla="*/ 22 w 43"/>
                <a:gd name="T19" fmla="*/ 5 h 18"/>
                <a:gd name="T20" fmla="*/ 22 w 43"/>
                <a:gd name="T21" fmla="*/ 7 h 18"/>
                <a:gd name="T22" fmla="*/ 29 w 43"/>
                <a:gd name="T23" fmla="*/ 3 h 18"/>
                <a:gd name="T24" fmla="*/ 30 w 43"/>
                <a:gd name="T25" fmla="*/ 3 h 18"/>
                <a:gd name="T26" fmla="*/ 43 w 43"/>
                <a:gd name="T27" fmla="*/ 10 h 18"/>
                <a:gd name="T28" fmla="*/ 41 w 43"/>
                <a:gd name="T29" fmla="*/ 6 h 18"/>
                <a:gd name="T30" fmla="*/ 35 w 43"/>
                <a:gd name="T31" fmla="*/ 5 h 18"/>
                <a:gd name="T32" fmla="*/ 39 w 43"/>
                <a:gd name="T33" fmla="*/ 7 h 18"/>
                <a:gd name="T34" fmla="*/ 43 w 43"/>
                <a:gd name="T35" fmla="*/ 10 h 18"/>
                <a:gd name="T36" fmla="*/ 32 w 43"/>
                <a:gd name="T37" fmla="*/ 16 h 18"/>
                <a:gd name="T38" fmla="*/ 36 w 43"/>
                <a:gd name="T39" fmla="*/ 16 h 18"/>
                <a:gd name="T40" fmla="*/ 41 w 43"/>
                <a:gd name="T41" fmla="*/ 13 h 18"/>
                <a:gd name="T42" fmla="*/ 36 w 43"/>
                <a:gd name="T43" fmla="*/ 15 h 18"/>
                <a:gd name="T44" fmla="*/ 32 w 43"/>
                <a:gd name="T45" fmla="*/ 15 h 18"/>
                <a:gd name="T46" fmla="*/ 16 w 43"/>
                <a:gd name="T47" fmla="*/ 16 h 18"/>
                <a:gd name="T48" fmla="*/ 22 w 43"/>
                <a:gd name="T49" fmla="*/ 15 h 18"/>
                <a:gd name="T50" fmla="*/ 26 w 43"/>
                <a:gd name="T51" fmla="*/ 16 h 18"/>
                <a:gd name="T52" fmla="*/ 26 w 43"/>
                <a:gd name="T53" fmla="*/ 13 h 18"/>
                <a:gd name="T54" fmla="*/ 22 w 43"/>
                <a:gd name="T55" fmla="*/ 13 h 18"/>
                <a:gd name="T56" fmla="*/ 16 w 43"/>
                <a:gd name="T57" fmla="*/ 16 h 18"/>
                <a:gd name="T58" fmla="*/ 1 w 43"/>
                <a:gd name="T59" fmla="*/ 18 h 18"/>
                <a:gd name="T60" fmla="*/ 12 w 43"/>
                <a:gd name="T61" fmla="*/ 13 h 18"/>
                <a:gd name="T62" fmla="*/ 1 w 43"/>
                <a:gd name="T63"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18">
                  <a:moveTo>
                    <a:pt x="1" y="7"/>
                  </a:moveTo>
                  <a:lnTo>
                    <a:pt x="1" y="7"/>
                  </a:lnTo>
                  <a:lnTo>
                    <a:pt x="0" y="7"/>
                  </a:lnTo>
                  <a:lnTo>
                    <a:pt x="0" y="10"/>
                  </a:lnTo>
                  <a:lnTo>
                    <a:pt x="0" y="10"/>
                  </a:lnTo>
                  <a:lnTo>
                    <a:pt x="1" y="10"/>
                  </a:lnTo>
                  <a:lnTo>
                    <a:pt x="1" y="7"/>
                  </a:lnTo>
                  <a:close/>
                  <a:moveTo>
                    <a:pt x="16" y="6"/>
                  </a:moveTo>
                  <a:lnTo>
                    <a:pt x="16" y="6"/>
                  </a:lnTo>
                  <a:lnTo>
                    <a:pt x="7" y="7"/>
                  </a:lnTo>
                  <a:lnTo>
                    <a:pt x="7" y="10"/>
                  </a:lnTo>
                  <a:lnTo>
                    <a:pt x="7" y="10"/>
                  </a:lnTo>
                  <a:lnTo>
                    <a:pt x="17" y="9"/>
                  </a:lnTo>
                  <a:lnTo>
                    <a:pt x="16" y="6"/>
                  </a:lnTo>
                  <a:close/>
                  <a:moveTo>
                    <a:pt x="30" y="0"/>
                  </a:moveTo>
                  <a:lnTo>
                    <a:pt x="30" y="0"/>
                  </a:lnTo>
                  <a:lnTo>
                    <a:pt x="30" y="0"/>
                  </a:lnTo>
                  <a:lnTo>
                    <a:pt x="28" y="2"/>
                  </a:lnTo>
                  <a:lnTo>
                    <a:pt x="28" y="2"/>
                  </a:lnTo>
                  <a:lnTo>
                    <a:pt x="22" y="5"/>
                  </a:lnTo>
                  <a:lnTo>
                    <a:pt x="22" y="7"/>
                  </a:lnTo>
                  <a:lnTo>
                    <a:pt x="22" y="7"/>
                  </a:lnTo>
                  <a:lnTo>
                    <a:pt x="29" y="3"/>
                  </a:lnTo>
                  <a:lnTo>
                    <a:pt x="29" y="3"/>
                  </a:lnTo>
                  <a:lnTo>
                    <a:pt x="30" y="3"/>
                  </a:lnTo>
                  <a:lnTo>
                    <a:pt x="30" y="3"/>
                  </a:lnTo>
                  <a:lnTo>
                    <a:pt x="30" y="0"/>
                  </a:lnTo>
                  <a:close/>
                  <a:moveTo>
                    <a:pt x="43" y="10"/>
                  </a:moveTo>
                  <a:lnTo>
                    <a:pt x="43" y="10"/>
                  </a:lnTo>
                  <a:lnTo>
                    <a:pt x="41" y="6"/>
                  </a:lnTo>
                  <a:lnTo>
                    <a:pt x="36" y="2"/>
                  </a:lnTo>
                  <a:lnTo>
                    <a:pt x="35" y="5"/>
                  </a:lnTo>
                  <a:lnTo>
                    <a:pt x="35" y="5"/>
                  </a:lnTo>
                  <a:lnTo>
                    <a:pt x="39" y="7"/>
                  </a:lnTo>
                  <a:lnTo>
                    <a:pt x="42" y="10"/>
                  </a:lnTo>
                  <a:lnTo>
                    <a:pt x="43" y="10"/>
                  </a:lnTo>
                  <a:close/>
                  <a:moveTo>
                    <a:pt x="32" y="16"/>
                  </a:moveTo>
                  <a:lnTo>
                    <a:pt x="32" y="16"/>
                  </a:lnTo>
                  <a:lnTo>
                    <a:pt x="36" y="16"/>
                  </a:lnTo>
                  <a:lnTo>
                    <a:pt x="36" y="16"/>
                  </a:lnTo>
                  <a:lnTo>
                    <a:pt x="42" y="16"/>
                  </a:lnTo>
                  <a:lnTo>
                    <a:pt x="41" y="13"/>
                  </a:lnTo>
                  <a:lnTo>
                    <a:pt x="41" y="13"/>
                  </a:lnTo>
                  <a:lnTo>
                    <a:pt x="36" y="15"/>
                  </a:lnTo>
                  <a:lnTo>
                    <a:pt x="36" y="15"/>
                  </a:lnTo>
                  <a:lnTo>
                    <a:pt x="32" y="15"/>
                  </a:lnTo>
                  <a:lnTo>
                    <a:pt x="32" y="16"/>
                  </a:lnTo>
                  <a:close/>
                  <a:moveTo>
                    <a:pt x="16" y="16"/>
                  </a:moveTo>
                  <a:lnTo>
                    <a:pt x="16" y="16"/>
                  </a:lnTo>
                  <a:lnTo>
                    <a:pt x="22" y="15"/>
                  </a:lnTo>
                  <a:lnTo>
                    <a:pt x="22" y="15"/>
                  </a:lnTo>
                  <a:lnTo>
                    <a:pt x="26" y="16"/>
                  </a:lnTo>
                  <a:lnTo>
                    <a:pt x="26" y="13"/>
                  </a:lnTo>
                  <a:lnTo>
                    <a:pt x="26" y="13"/>
                  </a:lnTo>
                  <a:lnTo>
                    <a:pt x="22" y="13"/>
                  </a:lnTo>
                  <a:lnTo>
                    <a:pt x="22" y="13"/>
                  </a:lnTo>
                  <a:lnTo>
                    <a:pt x="16" y="13"/>
                  </a:lnTo>
                  <a:lnTo>
                    <a:pt x="16" y="16"/>
                  </a:lnTo>
                  <a:close/>
                  <a:moveTo>
                    <a:pt x="1" y="18"/>
                  </a:moveTo>
                  <a:lnTo>
                    <a:pt x="1" y="18"/>
                  </a:lnTo>
                  <a:lnTo>
                    <a:pt x="12" y="16"/>
                  </a:lnTo>
                  <a:lnTo>
                    <a:pt x="12" y="13"/>
                  </a:lnTo>
                  <a:lnTo>
                    <a:pt x="12" y="13"/>
                  </a:lnTo>
                  <a:lnTo>
                    <a:pt x="1" y="15"/>
                  </a:lnTo>
                  <a:lnTo>
                    <a:pt x="1"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96" name="Freeform 1622"/>
            <p:cNvSpPr>
              <a:spLocks noEditPoints="1"/>
            </p:cNvSpPr>
            <p:nvPr/>
          </p:nvSpPr>
          <p:spPr bwMode="auto">
            <a:xfrm>
              <a:off x="3929063" y="4451779"/>
              <a:ext cx="46038" cy="44450"/>
            </a:xfrm>
            <a:custGeom>
              <a:avLst/>
              <a:gdLst>
                <a:gd name="T0" fmla="*/ 28 w 29"/>
                <a:gd name="T1" fmla="*/ 10 h 28"/>
                <a:gd name="T2" fmla="*/ 28 w 29"/>
                <a:gd name="T3" fmla="*/ 10 h 28"/>
                <a:gd name="T4" fmla="*/ 29 w 29"/>
                <a:gd name="T5" fmla="*/ 6 h 28"/>
                <a:gd name="T6" fmla="*/ 29 w 29"/>
                <a:gd name="T7" fmla="*/ 6 h 28"/>
                <a:gd name="T8" fmla="*/ 28 w 29"/>
                <a:gd name="T9" fmla="*/ 0 h 28"/>
                <a:gd name="T10" fmla="*/ 26 w 29"/>
                <a:gd name="T11" fmla="*/ 0 h 28"/>
                <a:gd name="T12" fmla="*/ 26 w 29"/>
                <a:gd name="T13" fmla="*/ 0 h 28"/>
                <a:gd name="T14" fmla="*/ 26 w 29"/>
                <a:gd name="T15" fmla="*/ 6 h 28"/>
                <a:gd name="T16" fmla="*/ 26 w 29"/>
                <a:gd name="T17" fmla="*/ 6 h 28"/>
                <a:gd name="T18" fmla="*/ 26 w 29"/>
                <a:gd name="T19" fmla="*/ 9 h 28"/>
                <a:gd name="T20" fmla="*/ 28 w 29"/>
                <a:gd name="T21" fmla="*/ 10 h 28"/>
                <a:gd name="T22" fmla="*/ 15 w 29"/>
                <a:gd name="T23" fmla="*/ 21 h 28"/>
                <a:gd name="T24" fmla="*/ 15 w 29"/>
                <a:gd name="T25" fmla="*/ 21 h 28"/>
                <a:gd name="T26" fmla="*/ 23 w 29"/>
                <a:gd name="T27" fmla="*/ 15 h 28"/>
                <a:gd name="T28" fmla="*/ 22 w 29"/>
                <a:gd name="T29" fmla="*/ 12 h 28"/>
                <a:gd name="T30" fmla="*/ 22 w 29"/>
                <a:gd name="T31" fmla="*/ 12 h 28"/>
                <a:gd name="T32" fmla="*/ 13 w 29"/>
                <a:gd name="T33" fmla="*/ 18 h 28"/>
                <a:gd name="T34" fmla="*/ 15 w 29"/>
                <a:gd name="T35" fmla="*/ 21 h 28"/>
                <a:gd name="T36" fmla="*/ 2 w 29"/>
                <a:gd name="T37" fmla="*/ 28 h 28"/>
                <a:gd name="T38" fmla="*/ 2 w 29"/>
                <a:gd name="T39" fmla="*/ 28 h 28"/>
                <a:gd name="T40" fmla="*/ 10 w 29"/>
                <a:gd name="T41" fmla="*/ 22 h 28"/>
                <a:gd name="T42" fmla="*/ 9 w 29"/>
                <a:gd name="T43" fmla="*/ 21 h 28"/>
                <a:gd name="T44" fmla="*/ 9 w 29"/>
                <a:gd name="T45" fmla="*/ 21 h 28"/>
                <a:gd name="T46" fmla="*/ 0 w 29"/>
                <a:gd name="T47" fmla="*/ 26 h 28"/>
                <a:gd name="T48" fmla="*/ 2 w 29"/>
                <a:gd name="T4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 h="28">
                  <a:moveTo>
                    <a:pt x="28" y="10"/>
                  </a:moveTo>
                  <a:lnTo>
                    <a:pt x="28" y="10"/>
                  </a:lnTo>
                  <a:lnTo>
                    <a:pt x="29" y="6"/>
                  </a:lnTo>
                  <a:lnTo>
                    <a:pt x="29" y="6"/>
                  </a:lnTo>
                  <a:lnTo>
                    <a:pt x="28" y="0"/>
                  </a:lnTo>
                  <a:lnTo>
                    <a:pt x="26" y="0"/>
                  </a:lnTo>
                  <a:lnTo>
                    <a:pt x="26" y="0"/>
                  </a:lnTo>
                  <a:lnTo>
                    <a:pt x="26" y="6"/>
                  </a:lnTo>
                  <a:lnTo>
                    <a:pt x="26" y="6"/>
                  </a:lnTo>
                  <a:lnTo>
                    <a:pt x="26" y="9"/>
                  </a:lnTo>
                  <a:lnTo>
                    <a:pt x="28" y="10"/>
                  </a:lnTo>
                  <a:close/>
                  <a:moveTo>
                    <a:pt x="15" y="21"/>
                  </a:moveTo>
                  <a:lnTo>
                    <a:pt x="15" y="21"/>
                  </a:lnTo>
                  <a:lnTo>
                    <a:pt x="23" y="15"/>
                  </a:lnTo>
                  <a:lnTo>
                    <a:pt x="22" y="12"/>
                  </a:lnTo>
                  <a:lnTo>
                    <a:pt x="22" y="12"/>
                  </a:lnTo>
                  <a:lnTo>
                    <a:pt x="13" y="18"/>
                  </a:lnTo>
                  <a:lnTo>
                    <a:pt x="15" y="21"/>
                  </a:lnTo>
                  <a:close/>
                  <a:moveTo>
                    <a:pt x="2" y="28"/>
                  </a:moveTo>
                  <a:lnTo>
                    <a:pt x="2" y="28"/>
                  </a:lnTo>
                  <a:lnTo>
                    <a:pt x="10" y="22"/>
                  </a:lnTo>
                  <a:lnTo>
                    <a:pt x="9" y="21"/>
                  </a:lnTo>
                  <a:lnTo>
                    <a:pt x="9" y="21"/>
                  </a:lnTo>
                  <a:lnTo>
                    <a:pt x="0" y="26"/>
                  </a:lnTo>
                  <a:lnTo>
                    <a:pt x="2"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97" name="Freeform 1623"/>
            <p:cNvSpPr>
              <a:spLocks noEditPoints="1"/>
            </p:cNvSpPr>
            <p:nvPr/>
          </p:nvSpPr>
          <p:spPr bwMode="auto">
            <a:xfrm>
              <a:off x="3979863" y="4516866"/>
              <a:ext cx="131763" cy="63500"/>
            </a:xfrm>
            <a:custGeom>
              <a:avLst/>
              <a:gdLst>
                <a:gd name="T0" fmla="*/ 4 w 83"/>
                <a:gd name="T1" fmla="*/ 19 h 40"/>
                <a:gd name="T2" fmla="*/ 3 w 83"/>
                <a:gd name="T3" fmla="*/ 24 h 40"/>
                <a:gd name="T4" fmla="*/ 6 w 83"/>
                <a:gd name="T5" fmla="*/ 20 h 40"/>
                <a:gd name="T6" fmla="*/ 15 w 83"/>
                <a:gd name="T7" fmla="*/ 7 h 40"/>
                <a:gd name="T8" fmla="*/ 9 w 83"/>
                <a:gd name="T9" fmla="*/ 14 h 40"/>
                <a:gd name="T10" fmla="*/ 10 w 83"/>
                <a:gd name="T11" fmla="*/ 16 h 40"/>
                <a:gd name="T12" fmla="*/ 15 w 83"/>
                <a:gd name="T13" fmla="*/ 7 h 40"/>
                <a:gd name="T14" fmla="*/ 29 w 83"/>
                <a:gd name="T15" fmla="*/ 1 h 40"/>
                <a:gd name="T16" fmla="*/ 26 w 83"/>
                <a:gd name="T17" fmla="*/ 0 h 40"/>
                <a:gd name="T18" fmla="*/ 19 w 83"/>
                <a:gd name="T19" fmla="*/ 3 h 40"/>
                <a:gd name="T20" fmla="*/ 20 w 83"/>
                <a:gd name="T21" fmla="*/ 6 h 40"/>
                <a:gd name="T22" fmla="*/ 26 w 83"/>
                <a:gd name="T23" fmla="*/ 3 h 40"/>
                <a:gd name="T24" fmla="*/ 29 w 83"/>
                <a:gd name="T25" fmla="*/ 3 h 40"/>
                <a:gd name="T26" fmla="*/ 39 w 83"/>
                <a:gd name="T27" fmla="*/ 13 h 40"/>
                <a:gd name="T28" fmla="*/ 38 w 83"/>
                <a:gd name="T29" fmla="*/ 7 h 40"/>
                <a:gd name="T30" fmla="*/ 32 w 83"/>
                <a:gd name="T31" fmla="*/ 6 h 40"/>
                <a:gd name="T32" fmla="*/ 35 w 83"/>
                <a:gd name="T33" fmla="*/ 9 h 40"/>
                <a:gd name="T34" fmla="*/ 39 w 83"/>
                <a:gd name="T35" fmla="*/ 13 h 40"/>
                <a:gd name="T36" fmla="*/ 48 w 83"/>
                <a:gd name="T37" fmla="*/ 22 h 40"/>
                <a:gd name="T38" fmla="*/ 44 w 83"/>
                <a:gd name="T39" fmla="*/ 20 h 40"/>
                <a:gd name="T40" fmla="*/ 41 w 83"/>
                <a:gd name="T41" fmla="*/ 17 h 40"/>
                <a:gd name="T42" fmla="*/ 39 w 83"/>
                <a:gd name="T43" fmla="*/ 19 h 40"/>
                <a:gd name="T44" fmla="*/ 41 w 83"/>
                <a:gd name="T45" fmla="*/ 22 h 40"/>
                <a:gd name="T46" fmla="*/ 42 w 83"/>
                <a:gd name="T47" fmla="*/ 23 h 40"/>
                <a:gd name="T48" fmla="*/ 48 w 83"/>
                <a:gd name="T49" fmla="*/ 22 h 40"/>
                <a:gd name="T50" fmla="*/ 64 w 83"/>
                <a:gd name="T51" fmla="*/ 22 h 40"/>
                <a:gd name="T52" fmla="*/ 61 w 83"/>
                <a:gd name="T53" fmla="*/ 20 h 40"/>
                <a:gd name="T54" fmla="*/ 54 w 83"/>
                <a:gd name="T55" fmla="*/ 23 h 40"/>
                <a:gd name="T56" fmla="*/ 61 w 83"/>
                <a:gd name="T57" fmla="*/ 23 h 40"/>
                <a:gd name="T58" fmla="*/ 62 w 83"/>
                <a:gd name="T59" fmla="*/ 23 h 40"/>
                <a:gd name="T60" fmla="*/ 70 w 83"/>
                <a:gd name="T61" fmla="*/ 36 h 40"/>
                <a:gd name="T62" fmla="*/ 67 w 83"/>
                <a:gd name="T63" fmla="*/ 32 h 40"/>
                <a:gd name="T64" fmla="*/ 64 w 83"/>
                <a:gd name="T65" fmla="*/ 27 h 40"/>
                <a:gd name="T66" fmla="*/ 65 w 83"/>
                <a:gd name="T67" fmla="*/ 33 h 40"/>
                <a:gd name="T68" fmla="*/ 70 w 83"/>
                <a:gd name="T69" fmla="*/ 36 h 40"/>
                <a:gd name="T70" fmla="*/ 83 w 83"/>
                <a:gd name="T71" fmla="*/ 38 h 40"/>
                <a:gd name="T72" fmla="*/ 78 w 83"/>
                <a:gd name="T73" fmla="*/ 38 h 40"/>
                <a:gd name="T74" fmla="*/ 72 w 83"/>
                <a:gd name="T75" fmla="*/ 40 h 40"/>
                <a:gd name="T76" fmla="*/ 78 w 83"/>
                <a:gd name="T77" fmla="*/ 40 h 40"/>
                <a:gd name="T78" fmla="*/ 83 w 83"/>
                <a:gd name="T7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3" h="40">
                  <a:moveTo>
                    <a:pt x="4" y="19"/>
                  </a:moveTo>
                  <a:lnTo>
                    <a:pt x="4" y="19"/>
                  </a:lnTo>
                  <a:lnTo>
                    <a:pt x="0" y="22"/>
                  </a:lnTo>
                  <a:lnTo>
                    <a:pt x="3" y="24"/>
                  </a:lnTo>
                  <a:lnTo>
                    <a:pt x="3" y="24"/>
                  </a:lnTo>
                  <a:lnTo>
                    <a:pt x="6" y="20"/>
                  </a:lnTo>
                  <a:lnTo>
                    <a:pt x="4" y="19"/>
                  </a:lnTo>
                  <a:close/>
                  <a:moveTo>
                    <a:pt x="15" y="7"/>
                  </a:moveTo>
                  <a:lnTo>
                    <a:pt x="15" y="7"/>
                  </a:lnTo>
                  <a:lnTo>
                    <a:pt x="9" y="14"/>
                  </a:lnTo>
                  <a:lnTo>
                    <a:pt x="10" y="16"/>
                  </a:lnTo>
                  <a:lnTo>
                    <a:pt x="10" y="16"/>
                  </a:lnTo>
                  <a:lnTo>
                    <a:pt x="17" y="9"/>
                  </a:lnTo>
                  <a:lnTo>
                    <a:pt x="15" y="7"/>
                  </a:lnTo>
                  <a:close/>
                  <a:moveTo>
                    <a:pt x="29" y="1"/>
                  </a:moveTo>
                  <a:lnTo>
                    <a:pt x="29" y="1"/>
                  </a:lnTo>
                  <a:lnTo>
                    <a:pt x="26" y="0"/>
                  </a:lnTo>
                  <a:lnTo>
                    <a:pt x="26" y="0"/>
                  </a:lnTo>
                  <a:lnTo>
                    <a:pt x="22" y="1"/>
                  </a:lnTo>
                  <a:lnTo>
                    <a:pt x="19" y="3"/>
                  </a:lnTo>
                  <a:lnTo>
                    <a:pt x="20" y="6"/>
                  </a:lnTo>
                  <a:lnTo>
                    <a:pt x="20" y="6"/>
                  </a:lnTo>
                  <a:lnTo>
                    <a:pt x="23" y="4"/>
                  </a:lnTo>
                  <a:lnTo>
                    <a:pt x="26" y="3"/>
                  </a:lnTo>
                  <a:lnTo>
                    <a:pt x="26" y="3"/>
                  </a:lnTo>
                  <a:lnTo>
                    <a:pt x="29" y="3"/>
                  </a:lnTo>
                  <a:lnTo>
                    <a:pt x="29" y="1"/>
                  </a:lnTo>
                  <a:close/>
                  <a:moveTo>
                    <a:pt x="39" y="13"/>
                  </a:moveTo>
                  <a:lnTo>
                    <a:pt x="39" y="13"/>
                  </a:lnTo>
                  <a:lnTo>
                    <a:pt x="38" y="7"/>
                  </a:lnTo>
                  <a:lnTo>
                    <a:pt x="35" y="3"/>
                  </a:lnTo>
                  <a:lnTo>
                    <a:pt x="32" y="6"/>
                  </a:lnTo>
                  <a:lnTo>
                    <a:pt x="32" y="6"/>
                  </a:lnTo>
                  <a:lnTo>
                    <a:pt x="35" y="9"/>
                  </a:lnTo>
                  <a:lnTo>
                    <a:pt x="36" y="13"/>
                  </a:lnTo>
                  <a:lnTo>
                    <a:pt x="39" y="13"/>
                  </a:lnTo>
                  <a:close/>
                  <a:moveTo>
                    <a:pt x="48" y="22"/>
                  </a:moveTo>
                  <a:lnTo>
                    <a:pt x="48" y="22"/>
                  </a:lnTo>
                  <a:lnTo>
                    <a:pt x="44" y="20"/>
                  </a:lnTo>
                  <a:lnTo>
                    <a:pt x="44" y="20"/>
                  </a:lnTo>
                  <a:lnTo>
                    <a:pt x="41" y="17"/>
                  </a:lnTo>
                  <a:lnTo>
                    <a:pt x="41" y="17"/>
                  </a:lnTo>
                  <a:lnTo>
                    <a:pt x="38" y="19"/>
                  </a:lnTo>
                  <a:lnTo>
                    <a:pt x="39" y="19"/>
                  </a:lnTo>
                  <a:lnTo>
                    <a:pt x="39" y="19"/>
                  </a:lnTo>
                  <a:lnTo>
                    <a:pt x="41" y="22"/>
                  </a:lnTo>
                  <a:lnTo>
                    <a:pt x="42" y="23"/>
                  </a:lnTo>
                  <a:lnTo>
                    <a:pt x="42" y="23"/>
                  </a:lnTo>
                  <a:lnTo>
                    <a:pt x="48" y="23"/>
                  </a:lnTo>
                  <a:lnTo>
                    <a:pt x="48" y="22"/>
                  </a:lnTo>
                  <a:close/>
                  <a:moveTo>
                    <a:pt x="64" y="22"/>
                  </a:moveTo>
                  <a:lnTo>
                    <a:pt x="64" y="22"/>
                  </a:lnTo>
                  <a:lnTo>
                    <a:pt x="61" y="20"/>
                  </a:lnTo>
                  <a:lnTo>
                    <a:pt x="61" y="20"/>
                  </a:lnTo>
                  <a:lnTo>
                    <a:pt x="54" y="22"/>
                  </a:lnTo>
                  <a:lnTo>
                    <a:pt x="54" y="23"/>
                  </a:lnTo>
                  <a:lnTo>
                    <a:pt x="54" y="23"/>
                  </a:lnTo>
                  <a:lnTo>
                    <a:pt x="61" y="23"/>
                  </a:lnTo>
                  <a:lnTo>
                    <a:pt x="61" y="23"/>
                  </a:lnTo>
                  <a:lnTo>
                    <a:pt x="62" y="23"/>
                  </a:lnTo>
                  <a:lnTo>
                    <a:pt x="64" y="22"/>
                  </a:lnTo>
                  <a:close/>
                  <a:moveTo>
                    <a:pt x="70" y="36"/>
                  </a:moveTo>
                  <a:lnTo>
                    <a:pt x="70" y="36"/>
                  </a:lnTo>
                  <a:lnTo>
                    <a:pt x="67" y="32"/>
                  </a:lnTo>
                  <a:lnTo>
                    <a:pt x="67" y="27"/>
                  </a:lnTo>
                  <a:lnTo>
                    <a:pt x="64" y="27"/>
                  </a:lnTo>
                  <a:lnTo>
                    <a:pt x="64" y="27"/>
                  </a:lnTo>
                  <a:lnTo>
                    <a:pt x="65" y="33"/>
                  </a:lnTo>
                  <a:lnTo>
                    <a:pt x="67" y="38"/>
                  </a:lnTo>
                  <a:lnTo>
                    <a:pt x="70" y="36"/>
                  </a:lnTo>
                  <a:close/>
                  <a:moveTo>
                    <a:pt x="83" y="38"/>
                  </a:moveTo>
                  <a:lnTo>
                    <a:pt x="83" y="38"/>
                  </a:lnTo>
                  <a:lnTo>
                    <a:pt x="78" y="38"/>
                  </a:lnTo>
                  <a:lnTo>
                    <a:pt x="78" y="38"/>
                  </a:lnTo>
                  <a:lnTo>
                    <a:pt x="72" y="38"/>
                  </a:lnTo>
                  <a:lnTo>
                    <a:pt x="72" y="40"/>
                  </a:lnTo>
                  <a:lnTo>
                    <a:pt x="72" y="40"/>
                  </a:lnTo>
                  <a:lnTo>
                    <a:pt x="78" y="40"/>
                  </a:lnTo>
                  <a:lnTo>
                    <a:pt x="78" y="40"/>
                  </a:lnTo>
                  <a:lnTo>
                    <a:pt x="83" y="40"/>
                  </a:lnTo>
                  <a:lnTo>
                    <a:pt x="83"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98" name="Freeform 1624"/>
            <p:cNvSpPr>
              <a:spLocks noEditPoints="1"/>
            </p:cNvSpPr>
            <p:nvPr/>
          </p:nvSpPr>
          <p:spPr bwMode="auto">
            <a:xfrm>
              <a:off x="4025900" y="4551791"/>
              <a:ext cx="34925" cy="49213"/>
            </a:xfrm>
            <a:custGeom>
              <a:avLst/>
              <a:gdLst>
                <a:gd name="T0" fmla="*/ 20 w 22"/>
                <a:gd name="T1" fmla="*/ 8 h 31"/>
                <a:gd name="T2" fmla="*/ 20 w 22"/>
                <a:gd name="T3" fmla="*/ 8 h 31"/>
                <a:gd name="T4" fmla="*/ 22 w 22"/>
                <a:gd name="T5" fmla="*/ 1 h 31"/>
                <a:gd name="T6" fmla="*/ 20 w 22"/>
                <a:gd name="T7" fmla="*/ 0 h 31"/>
                <a:gd name="T8" fmla="*/ 20 w 22"/>
                <a:gd name="T9" fmla="*/ 0 h 31"/>
                <a:gd name="T10" fmla="*/ 17 w 22"/>
                <a:gd name="T11" fmla="*/ 7 h 31"/>
                <a:gd name="T12" fmla="*/ 20 w 22"/>
                <a:gd name="T13" fmla="*/ 8 h 31"/>
                <a:gd name="T14" fmla="*/ 15 w 22"/>
                <a:gd name="T15" fmla="*/ 23 h 31"/>
                <a:gd name="T16" fmla="*/ 15 w 22"/>
                <a:gd name="T17" fmla="*/ 23 h 31"/>
                <a:gd name="T18" fmla="*/ 16 w 22"/>
                <a:gd name="T19" fmla="*/ 20 h 31"/>
                <a:gd name="T20" fmla="*/ 16 w 22"/>
                <a:gd name="T21" fmla="*/ 20 h 31"/>
                <a:gd name="T22" fmla="*/ 17 w 22"/>
                <a:gd name="T23" fmla="*/ 13 h 31"/>
                <a:gd name="T24" fmla="*/ 16 w 22"/>
                <a:gd name="T25" fmla="*/ 13 h 31"/>
                <a:gd name="T26" fmla="*/ 16 w 22"/>
                <a:gd name="T27" fmla="*/ 13 h 31"/>
                <a:gd name="T28" fmla="*/ 13 w 22"/>
                <a:gd name="T29" fmla="*/ 18 h 31"/>
                <a:gd name="T30" fmla="*/ 13 w 22"/>
                <a:gd name="T31" fmla="*/ 18 h 31"/>
                <a:gd name="T32" fmla="*/ 12 w 22"/>
                <a:gd name="T33" fmla="*/ 21 h 31"/>
                <a:gd name="T34" fmla="*/ 15 w 22"/>
                <a:gd name="T35" fmla="*/ 23 h 31"/>
                <a:gd name="T36" fmla="*/ 1 w 22"/>
                <a:gd name="T37" fmla="*/ 31 h 31"/>
                <a:gd name="T38" fmla="*/ 1 w 22"/>
                <a:gd name="T39" fmla="*/ 31 h 31"/>
                <a:gd name="T40" fmla="*/ 10 w 22"/>
                <a:gd name="T41" fmla="*/ 26 h 31"/>
                <a:gd name="T42" fmla="*/ 9 w 22"/>
                <a:gd name="T43" fmla="*/ 24 h 31"/>
                <a:gd name="T44" fmla="*/ 9 w 22"/>
                <a:gd name="T45" fmla="*/ 24 h 31"/>
                <a:gd name="T46" fmla="*/ 0 w 22"/>
                <a:gd name="T47" fmla="*/ 30 h 31"/>
                <a:gd name="T48" fmla="*/ 1 w 22"/>
                <a:gd name="T4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31">
                  <a:moveTo>
                    <a:pt x="20" y="8"/>
                  </a:moveTo>
                  <a:lnTo>
                    <a:pt x="20" y="8"/>
                  </a:lnTo>
                  <a:lnTo>
                    <a:pt x="22" y="1"/>
                  </a:lnTo>
                  <a:lnTo>
                    <a:pt x="20" y="0"/>
                  </a:lnTo>
                  <a:lnTo>
                    <a:pt x="20" y="0"/>
                  </a:lnTo>
                  <a:lnTo>
                    <a:pt x="17" y="7"/>
                  </a:lnTo>
                  <a:lnTo>
                    <a:pt x="20" y="8"/>
                  </a:lnTo>
                  <a:close/>
                  <a:moveTo>
                    <a:pt x="15" y="23"/>
                  </a:moveTo>
                  <a:lnTo>
                    <a:pt x="15" y="23"/>
                  </a:lnTo>
                  <a:lnTo>
                    <a:pt x="16" y="20"/>
                  </a:lnTo>
                  <a:lnTo>
                    <a:pt x="16" y="20"/>
                  </a:lnTo>
                  <a:lnTo>
                    <a:pt x="17" y="13"/>
                  </a:lnTo>
                  <a:lnTo>
                    <a:pt x="16" y="13"/>
                  </a:lnTo>
                  <a:lnTo>
                    <a:pt x="16" y="13"/>
                  </a:lnTo>
                  <a:lnTo>
                    <a:pt x="13" y="18"/>
                  </a:lnTo>
                  <a:lnTo>
                    <a:pt x="13" y="18"/>
                  </a:lnTo>
                  <a:lnTo>
                    <a:pt x="12" y="21"/>
                  </a:lnTo>
                  <a:lnTo>
                    <a:pt x="15" y="23"/>
                  </a:lnTo>
                  <a:close/>
                  <a:moveTo>
                    <a:pt x="1" y="31"/>
                  </a:moveTo>
                  <a:lnTo>
                    <a:pt x="1" y="31"/>
                  </a:lnTo>
                  <a:lnTo>
                    <a:pt x="10" y="26"/>
                  </a:lnTo>
                  <a:lnTo>
                    <a:pt x="9" y="24"/>
                  </a:lnTo>
                  <a:lnTo>
                    <a:pt x="9" y="24"/>
                  </a:lnTo>
                  <a:lnTo>
                    <a:pt x="0" y="30"/>
                  </a:lnTo>
                  <a:lnTo>
                    <a:pt x="1"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299" name="Freeform 1625"/>
            <p:cNvSpPr>
              <a:spLocks noEditPoints="1"/>
            </p:cNvSpPr>
            <p:nvPr/>
          </p:nvSpPr>
          <p:spPr bwMode="auto">
            <a:xfrm>
              <a:off x="5073651" y="4794679"/>
              <a:ext cx="39688" cy="77788"/>
            </a:xfrm>
            <a:custGeom>
              <a:avLst/>
              <a:gdLst>
                <a:gd name="T0" fmla="*/ 19 w 25"/>
                <a:gd name="T1" fmla="*/ 2 h 49"/>
                <a:gd name="T2" fmla="*/ 19 w 25"/>
                <a:gd name="T3" fmla="*/ 0 h 49"/>
                <a:gd name="T4" fmla="*/ 16 w 25"/>
                <a:gd name="T5" fmla="*/ 2 h 49"/>
                <a:gd name="T6" fmla="*/ 18 w 25"/>
                <a:gd name="T7" fmla="*/ 3 h 49"/>
                <a:gd name="T8" fmla="*/ 19 w 25"/>
                <a:gd name="T9" fmla="*/ 2 h 49"/>
                <a:gd name="T10" fmla="*/ 22 w 25"/>
                <a:gd name="T11" fmla="*/ 17 h 49"/>
                <a:gd name="T12" fmla="*/ 22 w 25"/>
                <a:gd name="T13" fmla="*/ 17 h 49"/>
                <a:gd name="T14" fmla="*/ 22 w 25"/>
                <a:gd name="T15" fmla="*/ 15 h 49"/>
                <a:gd name="T16" fmla="*/ 22 w 25"/>
                <a:gd name="T17" fmla="*/ 15 h 49"/>
                <a:gd name="T18" fmla="*/ 21 w 25"/>
                <a:gd name="T19" fmla="*/ 7 h 49"/>
                <a:gd name="T20" fmla="*/ 18 w 25"/>
                <a:gd name="T21" fmla="*/ 7 h 49"/>
                <a:gd name="T22" fmla="*/ 18 w 25"/>
                <a:gd name="T23" fmla="*/ 7 h 49"/>
                <a:gd name="T24" fmla="*/ 19 w 25"/>
                <a:gd name="T25" fmla="*/ 15 h 49"/>
                <a:gd name="T26" fmla="*/ 19 w 25"/>
                <a:gd name="T27" fmla="*/ 15 h 49"/>
                <a:gd name="T28" fmla="*/ 21 w 25"/>
                <a:gd name="T29" fmla="*/ 17 h 49"/>
                <a:gd name="T30" fmla="*/ 22 w 25"/>
                <a:gd name="T31" fmla="*/ 17 h 49"/>
                <a:gd name="T32" fmla="*/ 25 w 25"/>
                <a:gd name="T33" fmla="*/ 32 h 49"/>
                <a:gd name="T34" fmla="*/ 25 w 25"/>
                <a:gd name="T35" fmla="*/ 32 h 49"/>
                <a:gd name="T36" fmla="*/ 24 w 25"/>
                <a:gd name="T37" fmla="*/ 22 h 49"/>
                <a:gd name="T38" fmla="*/ 21 w 25"/>
                <a:gd name="T39" fmla="*/ 22 h 49"/>
                <a:gd name="T40" fmla="*/ 21 w 25"/>
                <a:gd name="T41" fmla="*/ 22 h 49"/>
                <a:gd name="T42" fmla="*/ 22 w 25"/>
                <a:gd name="T43" fmla="*/ 32 h 49"/>
                <a:gd name="T44" fmla="*/ 25 w 25"/>
                <a:gd name="T45" fmla="*/ 32 h 49"/>
                <a:gd name="T46" fmla="*/ 16 w 25"/>
                <a:gd name="T47" fmla="*/ 45 h 49"/>
                <a:gd name="T48" fmla="*/ 16 w 25"/>
                <a:gd name="T49" fmla="*/ 45 h 49"/>
                <a:gd name="T50" fmla="*/ 22 w 25"/>
                <a:gd name="T51" fmla="*/ 42 h 49"/>
                <a:gd name="T52" fmla="*/ 24 w 25"/>
                <a:gd name="T53" fmla="*/ 41 h 49"/>
                <a:gd name="T54" fmla="*/ 25 w 25"/>
                <a:gd name="T55" fmla="*/ 38 h 49"/>
                <a:gd name="T56" fmla="*/ 22 w 25"/>
                <a:gd name="T57" fmla="*/ 36 h 49"/>
                <a:gd name="T58" fmla="*/ 22 w 25"/>
                <a:gd name="T59" fmla="*/ 36 h 49"/>
                <a:gd name="T60" fmla="*/ 19 w 25"/>
                <a:gd name="T61" fmla="*/ 41 h 49"/>
                <a:gd name="T62" fmla="*/ 15 w 25"/>
                <a:gd name="T63" fmla="*/ 42 h 49"/>
                <a:gd name="T64" fmla="*/ 16 w 25"/>
                <a:gd name="T65" fmla="*/ 45 h 49"/>
                <a:gd name="T66" fmla="*/ 3 w 25"/>
                <a:gd name="T67" fmla="*/ 49 h 49"/>
                <a:gd name="T68" fmla="*/ 3 w 25"/>
                <a:gd name="T69" fmla="*/ 49 h 49"/>
                <a:gd name="T70" fmla="*/ 5 w 25"/>
                <a:gd name="T71" fmla="*/ 48 h 49"/>
                <a:gd name="T72" fmla="*/ 5 w 25"/>
                <a:gd name="T73" fmla="*/ 48 h 49"/>
                <a:gd name="T74" fmla="*/ 12 w 25"/>
                <a:gd name="T75" fmla="*/ 46 h 49"/>
                <a:gd name="T76" fmla="*/ 11 w 25"/>
                <a:gd name="T77" fmla="*/ 44 h 49"/>
                <a:gd name="T78" fmla="*/ 11 w 25"/>
                <a:gd name="T79" fmla="*/ 44 h 49"/>
                <a:gd name="T80" fmla="*/ 5 w 25"/>
                <a:gd name="T81" fmla="*/ 45 h 49"/>
                <a:gd name="T82" fmla="*/ 5 w 25"/>
                <a:gd name="T83" fmla="*/ 45 h 49"/>
                <a:gd name="T84" fmla="*/ 0 w 25"/>
                <a:gd name="T85" fmla="*/ 48 h 49"/>
                <a:gd name="T86" fmla="*/ 3 w 25"/>
                <a:gd name="T8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 h="49">
                  <a:moveTo>
                    <a:pt x="19" y="2"/>
                  </a:moveTo>
                  <a:lnTo>
                    <a:pt x="19" y="0"/>
                  </a:lnTo>
                  <a:lnTo>
                    <a:pt x="16" y="2"/>
                  </a:lnTo>
                  <a:lnTo>
                    <a:pt x="18" y="3"/>
                  </a:lnTo>
                  <a:lnTo>
                    <a:pt x="19" y="2"/>
                  </a:lnTo>
                  <a:close/>
                  <a:moveTo>
                    <a:pt x="22" y="17"/>
                  </a:moveTo>
                  <a:lnTo>
                    <a:pt x="22" y="17"/>
                  </a:lnTo>
                  <a:lnTo>
                    <a:pt x="22" y="15"/>
                  </a:lnTo>
                  <a:lnTo>
                    <a:pt x="22" y="15"/>
                  </a:lnTo>
                  <a:lnTo>
                    <a:pt x="21" y="7"/>
                  </a:lnTo>
                  <a:lnTo>
                    <a:pt x="18" y="7"/>
                  </a:lnTo>
                  <a:lnTo>
                    <a:pt x="18" y="7"/>
                  </a:lnTo>
                  <a:lnTo>
                    <a:pt x="19" y="15"/>
                  </a:lnTo>
                  <a:lnTo>
                    <a:pt x="19" y="15"/>
                  </a:lnTo>
                  <a:lnTo>
                    <a:pt x="21" y="17"/>
                  </a:lnTo>
                  <a:lnTo>
                    <a:pt x="22" y="17"/>
                  </a:lnTo>
                  <a:close/>
                  <a:moveTo>
                    <a:pt x="25" y="32"/>
                  </a:moveTo>
                  <a:lnTo>
                    <a:pt x="25" y="32"/>
                  </a:lnTo>
                  <a:lnTo>
                    <a:pt x="24" y="22"/>
                  </a:lnTo>
                  <a:lnTo>
                    <a:pt x="21" y="22"/>
                  </a:lnTo>
                  <a:lnTo>
                    <a:pt x="21" y="22"/>
                  </a:lnTo>
                  <a:lnTo>
                    <a:pt x="22" y="32"/>
                  </a:lnTo>
                  <a:lnTo>
                    <a:pt x="25" y="32"/>
                  </a:lnTo>
                  <a:close/>
                  <a:moveTo>
                    <a:pt x="16" y="45"/>
                  </a:moveTo>
                  <a:lnTo>
                    <a:pt x="16" y="45"/>
                  </a:lnTo>
                  <a:lnTo>
                    <a:pt x="22" y="42"/>
                  </a:lnTo>
                  <a:lnTo>
                    <a:pt x="24" y="41"/>
                  </a:lnTo>
                  <a:lnTo>
                    <a:pt x="25" y="38"/>
                  </a:lnTo>
                  <a:lnTo>
                    <a:pt x="22" y="36"/>
                  </a:lnTo>
                  <a:lnTo>
                    <a:pt x="22" y="36"/>
                  </a:lnTo>
                  <a:lnTo>
                    <a:pt x="19" y="41"/>
                  </a:lnTo>
                  <a:lnTo>
                    <a:pt x="15" y="42"/>
                  </a:lnTo>
                  <a:lnTo>
                    <a:pt x="16" y="45"/>
                  </a:lnTo>
                  <a:close/>
                  <a:moveTo>
                    <a:pt x="3" y="49"/>
                  </a:moveTo>
                  <a:lnTo>
                    <a:pt x="3" y="49"/>
                  </a:lnTo>
                  <a:lnTo>
                    <a:pt x="5" y="48"/>
                  </a:lnTo>
                  <a:lnTo>
                    <a:pt x="5" y="48"/>
                  </a:lnTo>
                  <a:lnTo>
                    <a:pt x="12" y="46"/>
                  </a:lnTo>
                  <a:lnTo>
                    <a:pt x="11" y="44"/>
                  </a:lnTo>
                  <a:lnTo>
                    <a:pt x="11" y="44"/>
                  </a:lnTo>
                  <a:lnTo>
                    <a:pt x="5" y="45"/>
                  </a:lnTo>
                  <a:lnTo>
                    <a:pt x="5" y="45"/>
                  </a:lnTo>
                  <a:lnTo>
                    <a:pt x="0" y="48"/>
                  </a:lnTo>
                  <a:lnTo>
                    <a:pt x="3" y="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00" name="Freeform 1626"/>
            <p:cNvSpPr>
              <a:spLocks noEditPoints="1"/>
            </p:cNvSpPr>
            <p:nvPr/>
          </p:nvSpPr>
          <p:spPr bwMode="auto">
            <a:xfrm>
              <a:off x="5056188" y="4670854"/>
              <a:ext cx="63500" cy="188913"/>
            </a:xfrm>
            <a:custGeom>
              <a:avLst/>
              <a:gdLst>
                <a:gd name="T0" fmla="*/ 40 w 40"/>
                <a:gd name="T1" fmla="*/ 10 h 119"/>
                <a:gd name="T2" fmla="*/ 39 w 40"/>
                <a:gd name="T3" fmla="*/ 0 h 119"/>
                <a:gd name="T4" fmla="*/ 39 w 40"/>
                <a:gd name="T5" fmla="*/ 10 h 119"/>
                <a:gd name="T6" fmla="*/ 39 w 40"/>
                <a:gd name="T7" fmla="*/ 25 h 119"/>
                <a:gd name="T8" fmla="*/ 40 w 40"/>
                <a:gd name="T9" fmla="*/ 19 h 119"/>
                <a:gd name="T10" fmla="*/ 40 w 40"/>
                <a:gd name="T11" fmla="*/ 14 h 119"/>
                <a:gd name="T12" fmla="*/ 38 w 40"/>
                <a:gd name="T13" fmla="*/ 14 h 119"/>
                <a:gd name="T14" fmla="*/ 38 w 40"/>
                <a:gd name="T15" fmla="*/ 19 h 119"/>
                <a:gd name="T16" fmla="*/ 39 w 40"/>
                <a:gd name="T17" fmla="*/ 25 h 119"/>
                <a:gd name="T18" fmla="*/ 32 w 40"/>
                <a:gd name="T19" fmla="*/ 39 h 119"/>
                <a:gd name="T20" fmla="*/ 35 w 40"/>
                <a:gd name="T21" fmla="*/ 29 h 119"/>
                <a:gd name="T22" fmla="*/ 30 w 40"/>
                <a:gd name="T23" fmla="*/ 38 h 119"/>
                <a:gd name="T24" fmla="*/ 20 w 40"/>
                <a:gd name="T25" fmla="*/ 49 h 119"/>
                <a:gd name="T26" fmla="*/ 24 w 40"/>
                <a:gd name="T27" fmla="*/ 46 h 119"/>
                <a:gd name="T28" fmla="*/ 29 w 40"/>
                <a:gd name="T29" fmla="*/ 43 h 119"/>
                <a:gd name="T30" fmla="*/ 26 w 40"/>
                <a:gd name="T31" fmla="*/ 40 h 119"/>
                <a:gd name="T32" fmla="*/ 23 w 40"/>
                <a:gd name="T33" fmla="*/ 43 h 119"/>
                <a:gd name="T34" fmla="*/ 20 w 40"/>
                <a:gd name="T35" fmla="*/ 49 h 119"/>
                <a:gd name="T36" fmla="*/ 17 w 40"/>
                <a:gd name="T37" fmla="*/ 62 h 119"/>
                <a:gd name="T38" fmla="*/ 17 w 40"/>
                <a:gd name="T39" fmla="*/ 61 h 119"/>
                <a:gd name="T40" fmla="*/ 17 w 40"/>
                <a:gd name="T41" fmla="*/ 56 h 119"/>
                <a:gd name="T42" fmla="*/ 16 w 40"/>
                <a:gd name="T43" fmla="*/ 52 h 119"/>
                <a:gd name="T44" fmla="*/ 14 w 40"/>
                <a:gd name="T45" fmla="*/ 56 h 119"/>
                <a:gd name="T46" fmla="*/ 14 w 40"/>
                <a:gd name="T47" fmla="*/ 61 h 119"/>
                <a:gd name="T48" fmla="*/ 17 w 40"/>
                <a:gd name="T49" fmla="*/ 62 h 119"/>
                <a:gd name="T50" fmla="*/ 7 w 40"/>
                <a:gd name="T51" fmla="*/ 74 h 119"/>
                <a:gd name="T52" fmla="*/ 9 w 40"/>
                <a:gd name="T53" fmla="*/ 72 h 119"/>
                <a:gd name="T54" fmla="*/ 13 w 40"/>
                <a:gd name="T55" fmla="*/ 67 h 119"/>
                <a:gd name="T56" fmla="*/ 11 w 40"/>
                <a:gd name="T57" fmla="*/ 65 h 119"/>
                <a:gd name="T58" fmla="*/ 7 w 40"/>
                <a:gd name="T59" fmla="*/ 71 h 119"/>
                <a:gd name="T60" fmla="*/ 6 w 40"/>
                <a:gd name="T61" fmla="*/ 74 h 119"/>
                <a:gd name="T62" fmla="*/ 4 w 40"/>
                <a:gd name="T63" fmla="*/ 88 h 119"/>
                <a:gd name="T64" fmla="*/ 6 w 40"/>
                <a:gd name="T65" fmla="*/ 78 h 119"/>
                <a:gd name="T66" fmla="*/ 4 w 40"/>
                <a:gd name="T67" fmla="*/ 78 h 119"/>
                <a:gd name="T68" fmla="*/ 4 w 40"/>
                <a:gd name="T69" fmla="*/ 88 h 119"/>
                <a:gd name="T70" fmla="*/ 3 w 40"/>
                <a:gd name="T71" fmla="*/ 103 h 119"/>
                <a:gd name="T72" fmla="*/ 4 w 40"/>
                <a:gd name="T73" fmla="*/ 94 h 119"/>
                <a:gd name="T74" fmla="*/ 1 w 40"/>
                <a:gd name="T75" fmla="*/ 94 h 119"/>
                <a:gd name="T76" fmla="*/ 0 w 40"/>
                <a:gd name="T77" fmla="*/ 104 h 119"/>
                <a:gd name="T78" fmla="*/ 6 w 40"/>
                <a:gd name="T79" fmla="*/ 119 h 119"/>
                <a:gd name="T80" fmla="*/ 3 w 40"/>
                <a:gd name="T81" fmla="*/ 109 h 119"/>
                <a:gd name="T82" fmla="*/ 0 w 40"/>
                <a:gd name="T83" fmla="*/ 109 h 119"/>
                <a:gd name="T84" fmla="*/ 6 w 40"/>
                <a:gd name="T8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 h="119">
                  <a:moveTo>
                    <a:pt x="40" y="10"/>
                  </a:moveTo>
                  <a:lnTo>
                    <a:pt x="40" y="10"/>
                  </a:lnTo>
                  <a:lnTo>
                    <a:pt x="40" y="0"/>
                  </a:lnTo>
                  <a:lnTo>
                    <a:pt x="39" y="0"/>
                  </a:lnTo>
                  <a:lnTo>
                    <a:pt x="39" y="0"/>
                  </a:lnTo>
                  <a:lnTo>
                    <a:pt x="39" y="10"/>
                  </a:lnTo>
                  <a:lnTo>
                    <a:pt x="40" y="10"/>
                  </a:lnTo>
                  <a:close/>
                  <a:moveTo>
                    <a:pt x="39" y="25"/>
                  </a:moveTo>
                  <a:lnTo>
                    <a:pt x="39" y="25"/>
                  </a:lnTo>
                  <a:lnTo>
                    <a:pt x="40" y="19"/>
                  </a:lnTo>
                  <a:lnTo>
                    <a:pt x="40" y="19"/>
                  </a:lnTo>
                  <a:lnTo>
                    <a:pt x="40" y="14"/>
                  </a:lnTo>
                  <a:lnTo>
                    <a:pt x="38" y="14"/>
                  </a:lnTo>
                  <a:lnTo>
                    <a:pt x="38" y="14"/>
                  </a:lnTo>
                  <a:lnTo>
                    <a:pt x="38" y="19"/>
                  </a:lnTo>
                  <a:lnTo>
                    <a:pt x="38" y="19"/>
                  </a:lnTo>
                  <a:lnTo>
                    <a:pt x="36" y="25"/>
                  </a:lnTo>
                  <a:lnTo>
                    <a:pt x="39" y="25"/>
                  </a:lnTo>
                  <a:close/>
                  <a:moveTo>
                    <a:pt x="32" y="39"/>
                  </a:moveTo>
                  <a:lnTo>
                    <a:pt x="32" y="39"/>
                  </a:lnTo>
                  <a:lnTo>
                    <a:pt x="38" y="30"/>
                  </a:lnTo>
                  <a:lnTo>
                    <a:pt x="35" y="29"/>
                  </a:lnTo>
                  <a:lnTo>
                    <a:pt x="35" y="29"/>
                  </a:lnTo>
                  <a:lnTo>
                    <a:pt x="30" y="38"/>
                  </a:lnTo>
                  <a:lnTo>
                    <a:pt x="32" y="39"/>
                  </a:lnTo>
                  <a:close/>
                  <a:moveTo>
                    <a:pt x="20" y="49"/>
                  </a:moveTo>
                  <a:lnTo>
                    <a:pt x="20" y="49"/>
                  </a:lnTo>
                  <a:lnTo>
                    <a:pt x="24" y="46"/>
                  </a:lnTo>
                  <a:lnTo>
                    <a:pt x="24" y="46"/>
                  </a:lnTo>
                  <a:lnTo>
                    <a:pt x="29" y="43"/>
                  </a:lnTo>
                  <a:lnTo>
                    <a:pt x="26" y="40"/>
                  </a:lnTo>
                  <a:lnTo>
                    <a:pt x="26" y="40"/>
                  </a:lnTo>
                  <a:lnTo>
                    <a:pt x="23" y="43"/>
                  </a:lnTo>
                  <a:lnTo>
                    <a:pt x="23" y="43"/>
                  </a:lnTo>
                  <a:lnTo>
                    <a:pt x="19" y="46"/>
                  </a:lnTo>
                  <a:lnTo>
                    <a:pt x="20" y="49"/>
                  </a:lnTo>
                  <a:close/>
                  <a:moveTo>
                    <a:pt x="17" y="62"/>
                  </a:moveTo>
                  <a:lnTo>
                    <a:pt x="17" y="62"/>
                  </a:lnTo>
                  <a:lnTo>
                    <a:pt x="17" y="61"/>
                  </a:lnTo>
                  <a:lnTo>
                    <a:pt x="17" y="61"/>
                  </a:lnTo>
                  <a:lnTo>
                    <a:pt x="17" y="56"/>
                  </a:lnTo>
                  <a:lnTo>
                    <a:pt x="17" y="56"/>
                  </a:lnTo>
                  <a:lnTo>
                    <a:pt x="17" y="52"/>
                  </a:lnTo>
                  <a:lnTo>
                    <a:pt x="16" y="52"/>
                  </a:lnTo>
                  <a:lnTo>
                    <a:pt x="16" y="52"/>
                  </a:lnTo>
                  <a:lnTo>
                    <a:pt x="14" y="56"/>
                  </a:lnTo>
                  <a:lnTo>
                    <a:pt x="14" y="56"/>
                  </a:lnTo>
                  <a:lnTo>
                    <a:pt x="14" y="61"/>
                  </a:lnTo>
                  <a:lnTo>
                    <a:pt x="14" y="62"/>
                  </a:lnTo>
                  <a:lnTo>
                    <a:pt x="17" y="62"/>
                  </a:lnTo>
                  <a:close/>
                  <a:moveTo>
                    <a:pt x="7" y="74"/>
                  </a:moveTo>
                  <a:lnTo>
                    <a:pt x="7" y="74"/>
                  </a:lnTo>
                  <a:lnTo>
                    <a:pt x="9" y="72"/>
                  </a:lnTo>
                  <a:lnTo>
                    <a:pt x="9" y="72"/>
                  </a:lnTo>
                  <a:lnTo>
                    <a:pt x="11" y="69"/>
                  </a:lnTo>
                  <a:lnTo>
                    <a:pt x="13" y="67"/>
                  </a:lnTo>
                  <a:lnTo>
                    <a:pt x="11" y="65"/>
                  </a:lnTo>
                  <a:lnTo>
                    <a:pt x="11" y="65"/>
                  </a:lnTo>
                  <a:lnTo>
                    <a:pt x="10" y="67"/>
                  </a:lnTo>
                  <a:lnTo>
                    <a:pt x="7" y="71"/>
                  </a:lnTo>
                  <a:lnTo>
                    <a:pt x="7" y="71"/>
                  </a:lnTo>
                  <a:lnTo>
                    <a:pt x="6" y="74"/>
                  </a:lnTo>
                  <a:lnTo>
                    <a:pt x="7" y="74"/>
                  </a:lnTo>
                  <a:close/>
                  <a:moveTo>
                    <a:pt x="4" y="88"/>
                  </a:moveTo>
                  <a:lnTo>
                    <a:pt x="4" y="88"/>
                  </a:lnTo>
                  <a:lnTo>
                    <a:pt x="6" y="78"/>
                  </a:lnTo>
                  <a:lnTo>
                    <a:pt x="4" y="78"/>
                  </a:lnTo>
                  <a:lnTo>
                    <a:pt x="4" y="78"/>
                  </a:lnTo>
                  <a:lnTo>
                    <a:pt x="3" y="88"/>
                  </a:lnTo>
                  <a:lnTo>
                    <a:pt x="4" y="88"/>
                  </a:lnTo>
                  <a:close/>
                  <a:moveTo>
                    <a:pt x="3" y="104"/>
                  </a:moveTo>
                  <a:lnTo>
                    <a:pt x="3" y="103"/>
                  </a:lnTo>
                  <a:lnTo>
                    <a:pt x="3" y="103"/>
                  </a:lnTo>
                  <a:lnTo>
                    <a:pt x="4" y="94"/>
                  </a:lnTo>
                  <a:lnTo>
                    <a:pt x="1" y="94"/>
                  </a:lnTo>
                  <a:lnTo>
                    <a:pt x="1" y="94"/>
                  </a:lnTo>
                  <a:lnTo>
                    <a:pt x="0" y="103"/>
                  </a:lnTo>
                  <a:lnTo>
                    <a:pt x="0" y="104"/>
                  </a:lnTo>
                  <a:lnTo>
                    <a:pt x="3" y="104"/>
                  </a:lnTo>
                  <a:close/>
                  <a:moveTo>
                    <a:pt x="6" y="119"/>
                  </a:moveTo>
                  <a:lnTo>
                    <a:pt x="6" y="119"/>
                  </a:lnTo>
                  <a:lnTo>
                    <a:pt x="3" y="109"/>
                  </a:lnTo>
                  <a:lnTo>
                    <a:pt x="0" y="109"/>
                  </a:lnTo>
                  <a:lnTo>
                    <a:pt x="0" y="109"/>
                  </a:lnTo>
                  <a:lnTo>
                    <a:pt x="3" y="119"/>
                  </a:lnTo>
                  <a:lnTo>
                    <a:pt x="6" y="1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01" name="Freeform 1627"/>
            <p:cNvSpPr>
              <a:spLocks noEditPoints="1"/>
            </p:cNvSpPr>
            <p:nvPr/>
          </p:nvSpPr>
          <p:spPr bwMode="auto">
            <a:xfrm>
              <a:off x="5062538" y="4780391"/>
              <a:ext cx="76200" cy="23813"/>
            </a:xfrm>
            <a:custGeom>
              <a:avLst/>
              <a:gdLst>
                <a:gd name="T0" fmla="*/ 6 w 48"/>
                <a:gd name="T1" fmla="*/ 11 h 15"/>
                <a:gd name="T2" fmla="*/ 6 w 48"/>
                <a:gd name="T3" fmla="*/ 11 h 15"/>
                <a:gd name="T4" fmla="*/ 2 w 48"/>
                <a:gd name="T5" fmla="*/ 9 h 15"/>
                <a:gd name="T6" fmla="*/ 0 w 48"/>
                <a:gd name="T7" fmla="*/ 12 h 15"/>
                <a:gd name="T8" fmla="*/ 0 w 48"/>
                <a:gd name="T9" fmla="*/ 12 h 15"/>
                <a:gd name="T10" fmla="*/ 5 w 48"/>
                <a:gd name="T11" fmla="*/ 13 h 15"/>
                <a:gd name="T12" fmla="*/ 6 w 48"/>
                <a:gd name="T13" fmla="*/ 11 h 15"/>
                <a:gd name="T14" fmla="*/ 19 w 48"/>
                <a:gd name="T15" fmla="*/ 11 h 15"/>
                <a:gd name="T16" fmla="*/ 19 w 48"/>
                <a:gd name="T17" fmla="*/ 11 h 15"/>
                <a:gd name="T18" fmla="*/ 12 w 48"/>
                <a:gd name="T19" fmla="*/ 12 h 15"/>
                <a:gd name="T20" fmla="*/ 10 w 48"/>
                <a:gd name="T21" fmla="*/ 12 h 15"/>
                <a:gd name="T22" fmla="*/ 10 w 48"/>
                <a:gd name="T23" fmla="*/ 15 h 15"/>
                <a:gd name="T24" fmla="*/ 12 w 48"/>
                <a:gd name="T25" fmla="*/ 15 h 15"/>
                <a:gd name="T26" fmla="*/ 12 w 48"/>
                <a:gd name="T27" fmla="*/ 15 h 15"/>
                <a:gd name="T28" fmla="*/ 20 w 48"/>
                <a:gd name="T29" fmla="*/ 12 h 15"/>
                <a:gd name="T30" fmla="*/ 19 w 48"/>
                <a:gd name="T31" fmla="*/ 11 h 15"/>
                <a:gd name="T32" fmla="*/ 34 w 48"/>
                <a:gd name="T33" fmla="*/ 3 h 15"/>
                <a:gd name="T34" fmla="*/ 34 w 48"/>
                <a:gd name="T35" fmla="*/ 3 h 15"/>
                <a:gd name="T36" fmla="*/ 25 w 48"/>
                <a:gd name="T37" fmla="*/ 8 h 15"/>
                <a:gd name="T38" fmla="*/ 25 w 48"/>
                <a:gd name="T39" fmla="*/ 11 h 15"/>
                <a:gd name="T40" fmla="*/ 25 w 48"/>
                <a:gd name="T41" fmla="*/ 11 h 15"/>
                <a:gd name="T42" fmla="*/ 35 w 48"/>
                <a:gd name="T43" fmla="*/ 6 h 15"/>
                <a:gd name="T44" fmla="*/ 34 w 48"/>
                <a:gd name="T45" fmla="*/ 3 h 15"/>
                <a:gd name="T46" fmla="*/ 48 w 48"/>
                <a:gd name="T47" fmla="*/ 2 h 15"/>
                <a:gd name="T48" fmla="*/ 48 w 48"/>
                <a:gd name="T49" fmla="*/ 2 h 15"/>
                <a:gd name="T50" fmla="*/ 42 w 48"/>
                <a:gd name="T51" fmla="*/ 0 h 15"/>
                <a:gd name="T52" fmla="*/ 42 w 48"/>
                <a:gd name="T53" fmla="*/ 0 h 15"/>
                <a:gd name="T54" fmla="*/ 38 w 48"/>
                <a:gd name="T55" fmla="*/ 0 h 15"/>
                <a:gd name="T56" fmla="*/ 38 w 48"/>
                <a:gd name="T57" fmla="*/ 3 h 15"/>
                <a:gd name="T58" fmla="*/ 38 w 48"/>
                <a:gd name="T59" fmla="*/ 3 h 15"/>
                <a:gd name="T60" fmla="*/ 42 w 48"/>
                <a:gd name="T61" fmla="*/ 3 h 15"/>
                <a:gd name="T62" fmla="*/ 42 w 48"/>
                <a:gd name="T63" fmla="*/ 3 h 15"/>
                <a:gd name="T64" fmla="*/ 48 w 48"/>
                <a:gd name="T65" fmla="*/ 3 h 15"/>
                <a:gd name="T66" fmla="*/ 48 w 48"/>
                <a:gd name="T6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15">
                  <a:moveTo>
                    <a:pt x="6" y="11"/>
                  </a:moveTo>
                  <a:lnTo>
                    <a:pt x="6" y="11"/>
                  </a:lnTo>
                  <a:lnTo>
                    <a:pt x="2" y="9"/>
                  </a:lnTo>
                  <a:lnTo>
                    <a:pt x="0" y="12"/>
                  </a:lnTo>
                  <a:lnTo>
                    <a:pt x="0" y="12"/>
                  </a:lnTo>
                  <a:lnTo>
                    <a:pt x="5" y="13"/>
                  </a:lnTo>
                  <a:lnTo>
                    <a:pt x="6" y="11"/>
                  </a:lnTo>
                  <a:close/>
                  <a:moveTo>
                    <a:pt x="19" y="11"/>
                  </a:moveTo>
                  <a:lnTo>
                    <a:pt x="19" y="11"/>
                  </a:lnTo>
                  <a:lnTo>
                    <a:pt x="12" y="12"/>
                  </a:lnTo>
                  <a:lnTo>
                    <a:pt x="10" y="12"/>
                  </a:lnTo>
                  <a:lnTo>
                    <a:pt x="10" y="15"/>
                  </a:lnTo>
                  <a:lnTo>
                    <a:pt x="12" y="15"/>
                  </a:lnTo>
                  <a:lnTo>
                    <a:pt x="12" y="15"/>
                  </a:lnTo>
                  <a:lnTo>
                    <a:pt x="20" y="12"/>
                  </a:lnTo>
                  <a:lnTo>
                    <a:pt x="19" y="11"/>
                  </a:lnTo>
                  <a:close/>
                  <a:moveTo>
                    <a:pt x="34" y="3"/>
                  </a:moveTo>
                  <a:lnTo>
                    <a:pt x="34" y="3"/>
                  </a:lnTo>
                  <a:lnTo>
                    <a:pt x="25" y="8"/>
                  </a:lnTo>
                  <a:lnTo>
                    <a:pt x="25" y="11"/>
                  </a:lnTo>
                  <a:lnTo>
                    <a:pt x="25" y="11"/>
                  </a:lnTo>
                  <a:lnTo>
                    <a:pt x="35" y="6"/>
                  </a:lnTo>
                  <a:lnTo>
                    <a:pt x="34" y="3"/>
                  </a:lnTo>
                  <a:close/>
                  <a:moveTo>
                    <a:pt x="48" y="2"/>
                  </a:moveTo>
                  <a:lnTo>
                    <a:pt x="48" y="2"/>
                  </a:lnTo>
                  <a:lnTo>
                    <a:pt x="42" y="0"/>
                  </a:lnTo>
                  <a:lnTo>
                    <a:pt x="42" y="0"/>
                  </a:lnTo>
                  <a:lnTo>
                    <a:pt x="38" y="0"/>
                  </a:lnTo>
                  <a:lnTo>
                    <a:pt x="38" y="3"/>
                  </a:lnTo>
                  <a:lnTo>
                    <a:pt x="38" y="3"/>
                  </a:lnTo>
                  <a:lnTo>
                    <a:pt x="42" y="3"/>
                  </a:lnTo>
                  <a:lnTo>
                    <a:pt x="42" y="3"/>
                  </a:lnTo>
                  <a:lnTo>
                    <a:pt x="48" y="3"/>
                  </a:lnTo>
                  <a:lnTo>
                    <a:pt x="4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02" name="Freeform 1628"/>
            <p:cNvSpPr>
              <a:spLocks noEditPoints="1"/>
            </p:cNvSpPr>
            <p:nvPr/>
          </p:nvSpPr>
          <p:spPr bwMode="auto">
            <a:xfrm>
              <a:off x="5057776" y="4815316"/>
              <a:ext cx="49213" cy="23813"/>
            </a:xfrm>
            <a:custGeom>
              <a:avLst/>
              <a:gdLst>
                <a:gd name="T0" fmla="*/ 10 w 31"/>
                <a:gd name="T1" fmla="*/ 12 h 15"/>
                <a:gd name="T2" fmla="*/ 10 w 31"/>
                <a:gd name="T3" fmla="*/ 12 h 15"/>
                <a:gd name="T4" fmla="*/ 2 w 31"/>
                <a:gd name="T5" fmla="*/ 7 h 15"/>
                <a:gd name="T6" fmla="*/ 0 w 31"/>
                <a:gd name="T7" fmla="*/ 10 h 15"/>
                <a:gd name="T8" fmla="*/ 0 w 31"/>
                <a:gd name="T9" fmla="*/ 10 h 15"/>
                <a:gd name="T10" fmla="*/ 9 w 31"/>
                <a:gd name="T11" fmla="*/ 15 h 15"/>
                <a:gd name="T12" fmla="*/ 10 w 31"/>
                <a:gd name="T13" fmla="*/ 12 h 15"/>
                <a:gd name="T14" fmla="*/ 16 w 31"/>
                <a:gd name="T15" fmla="*/ 4 h 15"/>
                <a:gd name="T16" fmla="*/ 15 w 31"/>
                <a:gd name="T17" fmla="*/ 4 h 15"/>
                <a:gd name="T18" fmla="*/ 15 w 31"/>
                <a:gd name="T19" fmla="*/ 4 h 15"/>
                <a:gd name="T20" fmla="*/ 15 w 31"/>
                <a:gd name="T21" fmla="*/ 10 h 15"/>
                <a:gd name="T22" fmla="*/ 15 w 31"/>
                <a:gd name="T23" fmla="*/ 10 h 15"/>
                <a:gd name="T24" fmla="*/ 13 w 31"/>
                <a:gd name="T25" fmla="*/ 13 h 15"/>
                <a:gd name="T26" fmla="*/ 16 w 31"/>
                <a:gd name="T27" fmla="*/ 15 h 15"/>
                <a:gd name="T28" fmla="*/ 16 w 31"/>
                <a:gd name="T29" fmla="*/ 15 h 15"/>
                <a:gd name="T30" fmla="*/ 16 w 31"/>
                <a:gd name="T31" fmla="*/ 13 h 15"/>
                <a:gd name="T32" fmla="*/ 18 w 31"/>
                <a:gd name="T33" fmla="*/ 10 h 15"/>
                <a:gd name="T34" fmla="*/ 18 w 31"/>
                <a:gd name="T35" fmla="*/ 10 h 15"/>
                <a:gd name="T36" fmla="*/ 18 w 31"/>
                <a:gd name="T37" fmla="*/ 6 h 15"/>
                <a:gd name="T38" fmla="*/ 18 w 31"/>
                <a:gd name="T39" fmla="*/ 4 h 15"/>
                <a:gd name="T40" fmla="*/ 16 w 31"/>
                <a:gd name="T41" fmla="*/ 4 h 15"/>
                <a:gd name="T42" fmla="*/ 31 w 31"/>
                <a:gd name="T43" fmla="*/ 2 h 15"/>
                <a:gd name="T44" fmla="*/ 31 w 31"/>
                <a:gd name="T45" fmla="*/ 2 h 15"/>
                <a:gd name="T46" fmla="*/ 23 w 31"/>
                <a:gd name="T47" fmla="*/ 0 h 15"/>
                <a:gd name="T48" fmla="*/ 23 w 31"/>
                <a:gd name="T49" fmla="*/ 0 h 15"/>
                <a:gd name="T50" fmla="*/ 21 w 31"/>
                <a:gd name="T51" fmla="*/ 0 h 15"/>
                <a:gd name="T52" fmla="*/ 22 w 31"/>
                <a:gd name="T53" fmla="*/ 3 h 15"/>
                <a:gd name="T54" fmla="*/ 22 w 31"/>
                <a:gd name="T55" fmla="*/ 3 h 15"/>
                <a:gd name="T56" fmla="*/ 23 w 31"/>
                <a:gd name="T57" fmla="*/ 3 h 15"/>
                <a:gd name="T58" fmla="*/ 23 w 31"/>
                <a:gd name="T59" fmla="*/ 3 h 15"/>
                <a:gd name="T60" fmla="*/ 31 w 31"/>
                <a:gd name="T61" fmla="*/ 3 h 15"/>
                <a:gd name="T62" fmla="*/ 31 w 31"/>
                <a:gd name="T63"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 h="15">
                  <a:moveTo>
                    <a:pt x="10" y="12"/>
                  </a:moveTo>
                  <a:lnTo>
                    <a:pt x="10" y="12"/>
                  </a:lnTo>
                  <a:lnTo>
                    <a:pt x="2" y="7"/>
                  </a:lnTo>
                  <a:lnTo>
                    <a:pt x="0" y="10"/>
                  </a:lnTo>
                  <a:lnTo>
                    <a:pt x="0" y="10"/>
                  </a:lnTo>
                  <a:lnTo>
                    <a:pt x="9" y="15"/>
                  </a:lnTo>
                  <a:lnTo>
                    <a:pt x="10" y="12"/>
                  </a:lnTo>
                  <a:close/>
                  <a:moveTo>
                    <a:pt x="16" y="4"/>
                  </a:moveTo>
                  <a:lnTo>
                    <a:pt x="15" y="4"/>
                  </a:lnTo>
                  <a:lnTo>
                    <a:pt x="15" y="4"/>
                  </a:lnTo>
                  <a:lnTo>
                    <a:pt x="15" y="10"/>
                  </a:lnTo>
                  <a:lnTo>
                    <a:pt x="15" y="10"/>
                  </a:lnTo>
                  <a:lnTo>
                    <a:pt x="13" y="13"/>
                  </a:lnTo>
                  <a:lnTo>
                    <a:pt x="16" y="15"/>
                  </a:lnTo>
                  <a:lnTo>
                    <a:pt x="16" y="15"/>
                  </a:lnTo>
                  <a:lnTo>
                    <a:pt x="16" y="13"/>
                  </a:lnTo>
                  <a:lnTo>
                    <a:pt x="18" y="10"/>
                  </a:lnTo>
                  <a:lnTo>
                    <a:pt x="18" y="10"/>
                  </a:lnTo>
                  <a:lnTo>
                    <a:pt x="18" y="6"/>
                  </a:lnTo>
                  <a:lnTo>
                    <a:pt x="18" y="4"/>
                  </a:lnTo>
                  <a:lnTo>
                    <a:pt x="16" y="4"/>
                  </a:lnTo>
                  <a:close/>
                  <a:moveTo>
                    <a:pt x="31" y="2"/>
                  </a:moveTo>
                  <a:lnTo>
                    <a:pt x="31" y="2"/>
                  </a:lnTo>
                  <a:lnTo>
                    <a:pt x="23" y="0"/>
                  </a:lnTo>
                  <a:lnTo>
                    <a:pt x="23" y="0"/>
                  </a:lnTo>
                  <a:lnTo>
                    <a:pt x="21" y="0"/>
                  </a:lnTo>
                  <a:lnTo>
                    <a:pt x="22" y="3"/>
                  </a:lnTo>
                  <a:lnTo>
                    <a:pt x="22" y="3"/>
                  </a:lnTo>
                  <a:lnTo>
                    <a:pt x="23" y="3"/>
                  </a:lnTo>
                  <a:lnTo>
                    <a:pt x="23" y="3"/>
                  </a:lnTo>
                  <a:lnTo>
                    <a:pt x="31" y="3"/>
                  </a:lnTo>
                  <a:lnTo>
                    <a:pt x="31"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03" name="Freeform 1629"/>
            <p:cNvSpPr>
              <a:spLocks noEditPoints="1"/>
            </p:cNvSpPr>
            <p:nvPr/>
          </p:nvSpPr>
          <p:spPr bwMode="auto">
            <a:xfrm>
              <a:off x="4102100" y="3091291"/>
              <a:ext cx="52388" cy="42863"/>
            </a:xfrm>
            <a:custGeom>
              <a:avLst/>
              <a:gdLst>
                <a:gd name="T0" fmla="*/ 9 w 33"/>
                <a:gd name="T1" fmla="*/ 10 h 27"/>
                <a:gd name="T2" fmla="*/ 9 w 33"/>
                <a:gd name="T3" fmla="*/ 10 h 27"/>
                <a:gd name="T4" fmla="*/ 10 w 33"/>
                <a:gd name="T5" fmla="*/ 7 h 27"/>
                <a:gd name="T6" fmla="*/ 11 w 33"/>
                <a:gd name="T7" fmla="*/ 3 h 27"/>
                <a:gd name="T8" fmla="*/ 11 w 33"/>
                <a:gd name="T9" fmla="*/ 3 h 27"/>
                <a:gd name="T10" fmla="*/ 11 w 33"/>
                <a:gd name="T11" fmla="*/ 0 h 27"/>
                <a:gd name="T12" fmla="*/ 9 w 33"/>
                <a:gd name="T13" fmla="*/ 0 h 27"/>
                <a:gd name="T14" fmla="*/ 9 w 33"/>
                <a:gd name="T15" fmla="*/ 0 h 27"/>
                <a:gd name="T16" fmla="*/ 9 w 33"/>
                <a:gd name="T17" fmla="*/ 3 h 27"/>
                <a:gd name="T18" fmla="*/ 9 w 33"/>
                <a:gd name="T19" fmla="*/ 3 h 27"/>
                <a:gd name="T20" fmla="*/ 9 w 33"/>
                <a:gd name="T21" fmla="*/ 7 h 27"/>
                <a:gd name="T22" fmla="*/ 7 w 33"/>
                <a:gd name="T23" fmla="*/ 8 h 27"/>
                <a:gd name="T24" fmla="*/ 9 w 33"/>
                <a:gd name="T25" fmla="*/ 10 h 27"/>
                <a:gd name="T26" fmla="*/ 6 w 33"/>
                <a:gd name="T27" fmla="*/ 19 h 27"/>
                <a:gd name="T28" fmla="*/ 6 w 33"/>
                <a:gd name="T29" fmla="*/ 19 h 27"/>
                <a:gd name="T30" fmla="*/ 3 w 33"/>
                <a:gd name="T31" fmla="*/ 16 h 27"/>
                <a:gd name="T32" fmla="*/ 3 w 33"/>
                <a:gd name="T33" fmla="*/ 16 h 27"/>
                <a:gd name="T34" fmla="*/ 3 w 33"/>
                <a:gd name="T35" fmla="*/ 14 h 27"/>
                <a:gd name="T36" fmla="*/ 1 w 33"/>
                <a:gd name="T37" fmla="*/ 14 h 27"/>
                <a:gd name="T38" fmla="*/ 3 w 33"/>
                <a:gd name="T39" fmla="*/ 14 h 27"/>
                <a:gd name="T40" fmla="*/ 3 w 33"/>
                <a:gd name="T41" fmla="*/ 14 h 27"/>
                <a:gd name="T42" fmla="*/ 1 w 33"/>
                <a:gd name="T43" fmla="*/ 14 h 27"/>
                <a:gd name="T44" fmla="*/ 3 w 33"/>
                <a:gd name="T45" fmla="*/ 14 h 27"/>
                <a:gd name="T46" fmla="*/ 3 w 33"/>
                <a:gd name="T47" fmla="*/ 14 h 27"/>
                <a:gd name="T48" fmla="*/ 4 w 33"/>
                <a:gd name="T49" fmla="*/ 13 h 27"/>
                <a:gd name="T50" fmla="*/ 3 w 33"/>
                <a:gd name="T51" fmla="*/ 11 h 27"/>
                <a:gd name="T52" fmla="*/ 3 w 33"/>
                <a:gd name="T53" fmla="*/ 11 h 27"/>
                <a:gd name="T54" fmla="*/ 0 w 33"/>
                <a:gd name="T55" fmla="*/ 13 h 27"/>
                <a:gd name="T56" fmla="*/ 0 w 33"/>
                <a:gd name="T57" fmla="*/ 13 h 27"/>
                <a:gd name="T58" fmla="*/ 0 w 33"/>
                <a:gd name="T59" fmla="*/ 14 h 27"/>
                <a:gd name="T60" fmla="*/ 0 w 33"/>
                <a:gd name="T61" fmla="*/ 14 h 27"/>
                <a:gd name="T62" fmla="*/ 1 w 33"/>
                <a:gd name="T63" fmla="*/ 17 h 27"/>
                <a:gd name="T64" fmla="*/ 1 w 33"/>
                <a:gd name="T65" fmla="*/ 17 h 27"/>
                <a:gd name="T66" fmla="*/ 4 w 33"/>
                <a:gd name="T67" fmla="*/ 20 h 27"/>
                <a:gd name="T68" fmla="*/ 6 w 33"/>
                <a:gd name="T69" fmla="*/ 19 h 27"/>
                <a:gd name="T70" fmla="*/ 19 w 33"/>
                <a:gd name="T71" fmla="*/ 26 h 27"/>
                <a:gd name="T72" fmla="*/ 19 w 33"/>
                <a:gd name="T73" fmla="*/ 26 h 27"/>
                <a:gd name="T74" fmla="*/ 10 w 33"/>
                <a:gd name="T75" fmla="*/ 22 h 27"/>
                <a:gd name="T76" fmla="*/ 9 w 33"/>
                <a:gd name="T77" fmla="*/ 23 h 27"/>
                <a:gd name="T78" fmla="*/ 9 w 33"/>
                <a:gd name="T79" fmla="*/ 23 h 27"/>
                <a:gd name="T80" fmla="*/ 19 w 33"/>
                <a:gd name="T81" fmla="*/ 27 h 27"/>
                <a:gd name="T82" fmla="*/ 19 w 33"/>
                <a:gd name="T83" fmla="*/ 26 h 27"/>
                <a:gd name="T84" fmla="*/ 33 w 33"/>
                <a:gd name="T85" fmla="*/ 23 h 27"/>
                <a:gd name="T86" fmla="*/ 33 w 33"/>
                <a:gd name="T87" fmla="*/ 23 h 27"/>
                <a:gd name="T88" fmla="*/ 23 w 33"/>
                <a:gd name="T89" fmla="*/ 26 h 27"/>
                <a:gd name="T90" fmla="*/ 23 w 33"/>
                <a:gd name="T91" fmla="*/ 27 h 27"/>
                <a:gd name="T92" fmla="*/ 23 w 33"/>
                <a:gd name="T93" fmla="*/ 27 h 27"/>
                <a:gd name="T94" fmla="*/ 33 w 33"/>
                <a:gd name="T95" fmla="*/ 26 h 27"/>
                <a:gd name="T96" fmla="*/ 33 w 33"/>
                <a:gd name="T97"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 h="27">
                  <a:moveTo>
                    <a:pt x="9" y="10"/>
                  </a:moveTo>
                  <a:lnTo>
                    <a:pt x="9" y="10"/>
                  </a:lnTo>
                  <a:lnTo>
                    <a:pt x="10" y="7"/>
                  </a:lnTo>
                  <a:lnTo>
                    <a:pt x="11" y="3"/>
                  </a:lnTo>
                  <a:lnTo>
                    <a:pt x="11" y="3"/>
                  </a:lnTo>
                  <a:lnTo>
                    <a:pt x="11" y="0"/>
                  </a:lnTo>
                  <a:lnTo>
                    <a:pt x="9" y="0"/>
                  </a:lnTo>
                  <a:lnTo>
                    <a:pt x="9" y="0"/>
                  </a:lnTo>
                  <a:lnTo>
                    <a:pt x="9" y="3"/>
                  </a:lnTo>
                  <a:lnTo>
                    <a:pt x="9" y="3"/>
                  </a:lnTo>
                  <a:lnTo>
                    <a:pt x="9" y="7"/>
                  </a:lnTo>
                  <a:lnTo>
                    <a:pt x="7" y="8"/>
                  </a:lnTo>
                  <a:lnTo>
                    <a:pt x="9" y="10"/>
                  </a:lnTo>
                  <a:close/>
                  <a:moveTo>
                    <a:pt x="6" y="19"/>
                  </a:moveTo>
                  <a:lnTo>
                    <a:pt x="6" y="19"/>
                  </a:lnTo>
                  <a:lnTo>
                    <a:pt x="3" y="16"/>
                  </a:lnTo>
                  <a:lnTo>
                    <a:pt x="3" y="16"/>
                  </a:lnTo>
                  <a:lnTo>
                    <a:pt x="3" y="14"/>
                  </a:lnTo>
                  <a:lnTo>
                    <a:pt x="1" y="14"/>
                  </a:lnTo>
                  <a:lnTo>
                    <a:pt x="3" y="14"/>
                  </a:lnTo>
                  <a:lnTo>
                    <a:pt x="3" y="14"/>
                  </a:lnTo>
                  <a:lnTo>
                    <a:pt x="1" y="14"/>
                  </a:lnTo>
                  <a:lnTo>
                    <a:pt x="3" y="14"/>
                  </a:lnTo>
                  <a:lnTo>
                    <a:pt x="3" y="14"/>
                  </a:lnTo>
                  <a:lnTo>
                    <a:pt x="4" y="13"/>
                  </a:lnTo>
                  <a:lnTo>
                    <a:pt x="3" y="11"/>
                  </a:lnTo>
                  <a:lnTo>
                    <a:pt x="3" y="11"/>
                  </a:lnTo>
                  <a:lnTo>
                    <a:pt x="0" y="13"/>
                  </a:lnTo>
                  <a:lnTo>
                    <a:pt x="0" y="13"/>
                  </a:lnTo>
                  <a:lnTo>
                    <a:pt x="0" y="14"/>
                  </a:lnTo>
                  <a:lnTo>
                    <a:pt x="0" y="14"/>
                  </a:lnTo>
                  <a:lnTo>
                    <a:pt x="1" y="17"/>
                  </a:lnTo>
                  <a:lnTo>
                    <a:pt x="1" y="17"/>
                  </a:lnTo>
                  <a:lnTo>
                    <a:pt x="4" y="20"/>
                  </a:lnTo>
                  <a:lnTo>
                    <a:pt x="6" y="19"/>
                  </a:lnTo>
                  <a:close/>
                  <a:moveTo>
                    <a:pt x="19" y="26"/>
                  </a:moveTo>
                  <a:lnTo>
                    <a:pt x="19" y="26"/>
                  </a:lnTo>
                  <a:lnTo>
                    <a:pt x="10" y="22"/>
                  </a:lnTo>
                  <a:lnTo>
                    <a:pt x="9" y="23"/>
                  </a:lnTo>
                  <a:lnTo>
                    <a:pt x="9" y="23"/>
                  </a:lnTo>
                  <a:lnTo>
                    <a:pt x="19" y="27"/>
                  </a:lnTo>
                  <a:lnTo>
                    <a:pt x="19" y="26"/>
                  </a:lnTo>
                  <a:close/>
                  <a:moveTo>
                    <a:pt x="33" y="23"/>
                  </a:moveTo>
                  <a:lnTo>
                    <a:pt x="33" y="23"/>
                  </a:lnTo>
                  <a:lnTo>
                    <a:pt x="23" y="26"/>
                  </a:lnTo>
                  <a:lnTo>
                    <a:pt x="23" y="27"/>
                  </a:lnTo>
                  <a:lnTo>
                    <a:pt x="23" y="27"/>
                  </a:lnTo>
                  <a:lnTo>
                    <a:pt x="33" y="26"/>
                  </a:lnTo>
                  <a:lnTo>
                    <a:pt x="3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04" name="Freeform 1664"/>
            <p:cNvSpPr>
              <a:spLocks noEditPoints="1"/>
            </p:cNvSpPr>
            <p:nvPr/>
          </p:nvSpPr>
          <p:spPr bwMode="auto">
            <a:xfrm>
              <a:off x="5508626" y="3080179"/>
              <a:ext cx="2246313" cy="590550"/>
            </a:xfrm>
            <a:custGeom>
              <a:avLst/>
              <a:gdLst>
                <a:gd name="T0" fmla="*/ 20 w 1415"/>
                <a:gd name="T1" fmla="*/ 191 h 372"/>
                <a:gd name="T2" fmla="*/ 0 w 1415"/>
                <a:gd name="T3" fmla="*/ 165 h 372"/>
                <a:gd name="T4" fmla="*/ 22 w 1415"/>
                <a:gd name="T5" fmla="*/ 124 h 372"/>
                <a:gd name="T6" fmla="*/ 54 w 1415"/>
                <a:gd name="T7" fmla="*/ 107 h 372"/>
                <a:gd name="T8" fmla="*/ 91 w 1415"/>
                <a:gd name="T9" fmla="*/ 82 h 372"/>
                <a:gd name="T10" fmla="*/ 102 w 1415"/>
                <a:gd name="T11" fmla="*/ 79 h 372"/>
                <a:gd name="T12" fmla="*/ 131 w 1415"/>
                <a:gd name="T13" fmla="*/ 105 h 372"/>
                <a:gd name="T14" fmla="*/ 160 w 1415"/>
                <a:gd name="T15" fmla="*/ 94 h 372"/>
                <a:gd name="T16" fmla="*/ 180 w 1415"/>
                <a:gd name="T17" fmla="*/ 105 h 372"/>
                <a:gd name="T18" fmla="*/ 204 w 1415"/>
                <a:gd name="T19" fmla="*/ 102 h 372"/>
                <a:gd name="T20" fmla="*/ 213 w 1415"/>
                <a:gd name="T21" fmla="*/ 85 h 372"/>
                <a:gd name="T22" fmla="*/ 239 w 1415"/>
                <a:gd name="T23" fmla="*/ 52 h 372"/>
                <a:gd name="T24" fmla="*/ 271 w 1415"/>
                <a:gd name="T25" fmla="*/ 23 h 372"/>
                <a:gd name="T26" fmla="*/ 310 w 1415"/>
                <a:gd name="T27" fmla="*/ 14 h 372"/>
                <a:gd name="T28" fmla="*/ 352 w 1415"/>
                <a:gd name="T29" fmla="*/ 0 h 372"/>
                <a:gd name="T30" fmla="*/ 387 w 1415"/>
                <a:gd name="T31" fmla="*/ 14 h 372"/>
                <a:gd name="T32" fmla="*/ 387 w 1415"/>
                <a:gd name="T33" fmla="*/ 26 h 372"/>
                <a:gd name="T34" fmla="*/ 426 w 1415"/>
                <a:gd name="T35" fmla="*/ 36 h 372"/>
                <a:gd name="T36" fmla="*/ 446 w 1415"/>
                <a:gd name="T37" fmla="*/ 60 h 372"/>
                <a:gd name="T38" fmla="*/ 493 w 1415"/>
                <a:gd name="T39" fmla="*/ 52 h 372"/>
                <a:gd name="T40" fmla="*/ 517 w 1415"/>
                <a:gd name="T41" fmla="*/ 91 h 372"/>
                <a:gd name="T42" fmla="*/ 548 w 1415"/>
                <a:gd name="T43" fmla="*/ 108 h 372"/>
                <a:gd name="T44" fmla="*/ 577 w 1415"/>
                <a:gd name="T45" fmla="*/ 126 h 372"/>
                <a:gd name="T46" fmla="*/ 614 w 1415"/>
                <a:gd name="T47" fmla="*/ 133 h 372"/>
                <a:gd name="T48" fmla="*/ 655 w 1415"/>
                <a:gd name="T49" fmla="*/ 153 h 372"/>
                <a:gd name="T50" fmla="*/ 688 w 1415"/>
                <a:gd name="T51" fmla="*/ 139 h 372"/>
                <a:gd name="T52" fmla="*/ 703 w 1415"/>
                <a:gd name="T53" fmla="*/ 118 h 372"/>
                <a:gd name="T54" fmla="*/ 748 w 1415"/>
                <a:gd name="T55" fmla="*/ 110 h 372"/>
                <a:gd name="T56" fmla="*/ 791 w 1415"/>
                <a:gd name="T57" fmla="*/ 126 h 372"/>
                <a:gd name="T58" fmla="*/ 808 w 1415"/>
                <a:gd name="T59" fmla="*/ 140 h 372"/>
                <a:gd name="T60" fmla="*/ 827 w 1415"/>
                <a:gd name="T61" fmla="*/ 121 h 372"/>
                <a:gd name="T62" fmla="*/ 834 w 1415"/>
                <a:gd name="T63" fmla="*/ 100 h 372"/>
                <a:gd name="T64" fmla="*/ 855 w 1415"/>
                <a:gd name="T65" fmla="*/ 89 h 372"/>
                <a:gd name="T66" fmla="*/ 884 w 1415"/>
                <a:gd name="T67" fmla="*/ 100 h 372"/>
                <a:gd name="T68" fmla="*/ 904 w 1415"/>
                <a:gd name="T69" fmla="*/ 128 h 372"/>
                <a:gd name="T70" fmla="*/ 956 w 1415"/>
                <a:gd name="T71" fmla="*/ 124 h 372"/>
                <a:gd name="T72" fmla="*/ 985 w 1415"/>
                <a:gd name="T73" fmla="*/ 143 h 372"/>
                <a:gd name="T74" fmla="*/ 1030 w 1415"/>
                <a:gd name="T75" fmla="*/ 156 h 372"/>
                <a:gd name="T76" fmla="*/ 1084 w 1415"/>
                <a:gd name="T77" fmla="*/ 128 h 372"/>
                <a:gd name="T78" fmla="*/ 1102 w 1415"/>
                <a:gd name="T79" fmla="*/ 139 h 372"/>
                <a:gd name="T80" fmla="*/ 1155 w 1415"/>
                <a:gd name="T81" fmla="*/ 133 h 372"/>
                <a:gd name="T82" fmla="*/ 1165 w 1415"/>
                <a:gd name="T83" fmla="*/ 114 h 372"/>
                <a:gd name="T84" fmla="*/ 1179 w 1415"/>
                <a:gd name="T85" fmla="*/ 88 h 372"/>
                <a:gd name="T86" fmla="*/ 1169 w 1415"/>
                <a:gd name="T87" fmla="*/ 56 h 372"/>
                <a:gd name="T88" fmla="*/ 1197 w 1415"/>
                <a:gd name="T89" fmla="*/ 44 h 372"/>
                <a:gd name="T90" fmla="*/ 1254 w 1415"/>
                <a:gd name="T91" fmla="*/ 43 h 372"/>
                <a:gd name="T92" fmla="*/ 1276 w 1415"/>
                <a:gd name="T93" fmla="*/ 68 h 372"/>
                <a:gd name="T94" fmla="*/ 1292 w 1415"/>
                <a:gd name="T95" fmla="*/ 100 h 372"/>
                <a:gd name="T96" fmla="*/ 1301 w 1415"/>
                <a:gd name="T97" fmla="*/ 128 h 372"/>
                <a:gd name="T98" fmla="*/ 1323 w 1415"/>
                <a:gd name="T99" fmla="*/ 143 h 372"/>
                <a:gd name="T100" fmla="*/ 1353 w 1415"/>
                <a:gd name="T101" fmla="*/ 170 h 372"/>
                <a:gd name="T102" fmla="*/ 1382 w 1415"/>
                <a:gd name="T103" fmla="*/ 182 h 372"/>
                <a:gd name="T104" fmla="*/ 1412 w 1415"/>
                <a:gd name="T105" fmla="*/ 189 h 372"/>
                <a:gd name="T106" fmla="*/ 1401 w 1415"/>
                <a:gd name="T107" fmla="*/ 234 h 372"/>
                <a:gd name="T108" fmla="*/ 1388 w 1415"/>
                <a:gd name="T109" fmla="*/ 249 h 372"/>
                <a:gd name="T110" fmla="*/ 1359 w 1415"/>
                <a:gd name="T111" fmla="*/ 262 h 372"/>
                <a:gd name="T112" fmla="*/ 1360 w 1415"/>
                <a:gd name="T113" fmla="*/ 279 h 372"/>
                <a:gd name="T114" fmla="*/ 1338 w 1415"/>
                <a:gd name="T115" fmla="*/ 304 h 372"/>
                <a:gd name="T116" fmla="*/ 1311 w 1415"/>
                <a:gd name="T117" fmla="*/ 320 h 372"/>
                <a:gd name="T118" fmla="*/ 1308 w 1415"/>
                <a:gd name="T119" fmla="*/ 327 h 372"/>
                <a:gd name="T120" fmla="*/ 1283 w 1415"/>
                <a:gd name="T121" fmla="*/ 336 h 372"/>
                <a:gd name="T122" fmla="*/ 1244 w 1415"/>
                <a:gd name="T123" fmla="*/ 37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15" h="372">
                  <a:moveTo>
                    <a:pt x="28" y="214"/>
                  </a:moveTo>
                  <a:lnTo>
                    <a:pt x="28" y="214"/>
                  </a:lnTo>
                  <a:lnTo>
                    <a:pt x="34" y="221"/>
                  </a:lnTo>
                  <a:lnTo>
                    <a:pt x="35" y="220"/>
                  </a:lnTo>
                  <a:lnTo>
                    <a:pt x="35" y="220"/>
                  </a:lnTo>
                  <a:lnTo>
                    <a:pt x="31" y="212"/>
                  </a:lnTo>
                  <a:lnTo>
                    <a:pt x="28" y="214"/>
                  </a:lnTo>
                  <a:close/>
                  <a:moveTo>
                    <a:pt x="29" y="199"/>
                  </a:moveTo>
                  <a:lnTo>
                    <a:pt x="29" y="199"/>
                  </a:lnTo>
                  <a:lnTo>
                    <a:pt x="28" y="208"/>
                  </a:lnTo>
                  <a:lnTo>
                    <a:pt x="29" y="210"/>
                  </a:lnTo>
                  <a:lnTo>
                    <a:pt x="29" y="210"/>
                  </a:lnTo>
                  <a:lnTo>
                    <a:pt x="32" y="199"/>
                  </a:lnTo>
                  <a:lnTo>
                    <a:pt x="29" y="199"/>
                  </a:lnTo>
                  <a:close/>
                  <a:moveTo>
                    <a:pt x="20" y="192"/>
                  </a:moveTo>
                  <a:lnTo>
                    <a:pt x="20" y="192"/>
                  </a:lnTo>
                  <a:lnTo>
                    <a:pt x="26" y="194"/>
                  </a:lnTo>
                  <a:lnTo>
                    <a:pt x="26" y="194"/>
                  </a:lnTo>
                  <a:lnTo>
                    <a:pt x="29" y="195"/>
                  </a:lnTo>
                  <a:lnTo>
                    <a:pt x="31" y="194"/>
                  </a:lnTo>
                  <a:lnTo>
                    <a:pt x="31" y="194"/>
                  </a:lnTo>
                  <a:lnTo>
                    <a:pt x="29" y="192"/>
                  </a:lnTo>
                  <a:lnTo>
                    <a:pt x="28" y="191"/>
                  </a:lnTo>
                  <a:lnTo>
                    <a:pt x="28" y="191"/>
                  </a:lnTo>
                  <a:lnTo>
                    <a:pt x="20" y="191"/>
                  </a:lnTo>
                  <a:lnTo>
                    <a:pt x="20" y="192"/>
                  </a:lnTo>
                  <a:close/>
                  <a:moveTo>
                    <a:pt x="7" y="184"/>
                  </a:moveTo>
                  <a:lnTo>
                    <a:pt x="7" y="184"/>
                  </a:lnTo>
                  <a:lnTo>
                    <a:pt x="10" y="188"/>
                  </a:lnTo>
                  <a:lnTo>
                    <a:pt x="15" y="191"/>
                  </a:lnTo>
                  <a:lnTo>
                    <a:pt x="16" y="188"/>
                  </a:lnTo>
                  <a:lnTo>
                    <a:pt x="16" y="188"/>
                  </a:lnTo>
                  <a:lnTo>
                    <a:pt x="13" y="185"/>
                  </a:lnTo>
                  <a:lnTo>
                    <a:pt x="10" y="182"/>
                  </a:lnTo>
                  <a:lnTo>
                    <a:pt x="7" y="184"/>
                  </a:lnTo>
                  <a:close/>
                  <a:moveTo>
                    <a:pt x="0" y="169"/>
                  </a:moveTo>
                  <a:lnTo>
                    <a:pt x="0" y="169"/>
                  </a:lnTo>
                  <a:lnTo>
                    <a:pt x="0" y="173"/>
                  </a:lnTo>
                  <a:lnTo>
                    <a:pt x="3" y="176"/>
                  </a:lnTo>
                  <a:lnTo>
                    <a:pt x="3" y="176"/>
                  </a:lnTo>
                  <a:lnTo>
                    <a:pt x="5" y="179"/>
                  </a:lnTo>
                  <a:lnTo>
                    <a:pt x="7" y="178"/>
                  </a:lnTo>
                  <a:lnTo>
                    <a:pt x="7" y="178"/>
                  </a:lnTo>
                  <a:lnTo>
                    <a:pt x="5" y="173"/>
                  </a:lnTo>
                  <a:lnTo>
                    <a:pt x="5" y="173"/>
                  </a:lnTo>
                  <a:lnTo>
                    <a:pt x="3" y="169"/>
                  </a:lnTo>
                  <a:lnTo>
                    <a:pt x="0" y="169"/>
                  </a:lnTo>
                  <a:close/>
                  <a:moveTo>
                    <a:pt x="2" y="155"/>
                  </a:moveTo>
                  <a:lnTo>
                    <a:pt x="2" y="155"/>
                  </a:lnTo>
                  <a:lnTo>
                    <a:pt x="0" y="165"/>
                  </a:lnTo>
                  <a:lnTo>
                    <a:pt x="2" y="165"/>
                  </a:lnTo>
                  <a:lnTo>
                    <a:pt x="2" y="165"/>
                  </a:lnTo>
                  <a:lnTo>
                    <a:pt x="5" y="155"/>
                  </a:lnTo>
                  <a:lnTo>
                    <a:pt x="2" y="155"/>
                  </a:lnTo>
                  <a:close/>
                  <a:moveTo>
                    <a:pt x="9" y="140"/>
                  </a:moveTo>
                  <a:lnTo>
                    <a:pt x="9" y="140"/>
                  </a:lnTo>
                  <a:lnTo>
                    <a:pt x="3" y="149"/>
                  </a:lnTo>
                  <a:lnTo>
                    <a:pt x="3" y="149"/>
                  </a:lnTo>
                  <a:lnTo>
                    <a:pt x="6" y="150"/>
                  </a:lnTo>
                  <a:lnTo>
                    <a:pt x="6" y="149"/>
                  </a:lnTo>
                  <a:lnTo>
                    <a:pt x="6" y="149"/>
                  </a:lnTo>
                  <a:lnTo>
                    <a:pt x="10" y="142"/>
                  </a:lnTo>
                  <a:lnTo>
                    <a:pt x="9" y="140"/>
                  </a:lnTo>
                  <a:close/>
                  <a:moveTo>
                    <a:pt x="18" y="127"/>
                  </a:moveTo>
                  <a:lnTo>
                    <a:pt x="18" y="127"/>
                  </a:lnTo>
                  <a:lnTo>
                    <a:pt x="12" y="136"/>
                  </a:lnTo>
                  <a:lnTo>
                    <a:pt x="13" y="137"/>
                  </a:lnTo>
                  <a:lnTo>
                    <a:pt x="13" y="137"/>
                  </a:lnTo>
                  <a:lnTo>
                    <a:pt x="19" y="128"/>
                  </a:lnTo>
                  <a:lnTo>
                    <a:pt x="18" y="127"/>
                  </a:lnTo>
                  <a:close/>
                  <a:moveTo>
                    <a:pt x="20" y="114"/>
                  </a:moveTo>
                  <a:lnTo>
                    <a:pt x="20" y="114"/>
                  </a:lnTo>
                  <a:lnTo>
                    <a:pt x="19" y="124"/>
                  </a:lnTo>
                  <a:lnTo>
                    <a:pt x="22" y="124"/>
                  </a:lnTo>
                  <a:lnTo>
                    <a:pt x="22" y="124"/>
                  </a:lnTo>
                  <a:lnTo>
                    <a:pt x="23" y="114"/>
                  </a:lnTo>
                  <a:lnTo>
                    <a:pt x="20" y="114"/>
                  </a:lnTo>
                  <a:close/>
                  <a:moveTo>
                    <a:pt x="34" y="105"/>
                  </a:moveTo>
                  <a:lnTo>
                    <a:pt x="34" y="105"/>
                  </a:lnTo>
                  <a:lnTo>
                    <a:pt x="28" y="105"/>
                  </a:lnTo>
                  <a:lnTo>
                    <a:pt x="23" y="108"/>
                  </a:lnTo>
                  <a:lnTo>
                    <a:pt x="23" y="108"/>
                  </a:lnTo>
                  <a:lnTo>
                    <a:pt x="25" y="110"/>
                  </a:lnTo>
                  <a:lnTo>
                    <a:pt x="26" y="110"/>
                  </a:lnTo>
                  <a:lnTo>
                    <a:pt x="26" y="110"/>
                  </a:lnTo>
                  <a:lnTo>
                    <a:pt x="29" y="108"/>
                  </a:lnTo>
                  <a:lnTo>
                    <a:pt x="34" y="108"/>
                  </a:lnTo>
                  <a:lnTo>
                    <a:pt x="34" y="105"/>
                  </a:lnTo>
                  <a:close/>
                  <a:moveTo>
                    <a:pt x="49" y="105"/>
                  </a:moveTo>
                  <a:lnTo>
                    <a:pt x="49" y="105"/>
                  </a:lnTo>
                  <a:lnTo>
                    <a:pt x="39" y="105"/>
                  </a:lnTo>
                  <a:lnTo>
                    <a:pt x="39" y="107"/>
                  </a:lnTo>
                  <a:lnTo>
                    <a:pt x="39" y="107"/>
                  </a:lnTo>
                  <a:lnTo>
                    <a:pt x="49" y="107"/>
                  </a:lnTo>
                  <a:lnTo>
                    <a:pt x="49" y="105"/>
                  </a:lnTo>
                  <a:close/>
                  <a:moveTo>
                    <a:pt x="60" y="98"/>
                  </a:moveTo>
                  <a:lnTo>
                    <a:pt x="60" y="98"/>
                  </a:lnTo>
                  <a:lnTo>
                    <a:pt x="57" y="102"/>
                  </a:lnTo>
                  <a:lnTo>
                    <a:pt x="54" y="104"/>
                  </a:lnTo>
                  <a:lnTo>
                    <a:pt x="54" y="107"/>
                  </a:lnTo>
                  <a:lnTo>
                    <a:pt x="54" y="107"/>
                  </a:lnTo>
                  <a:lnTo>
                    <a:pt x="57" y="105"/>
                  </a:lnTo>
                  <a:lnTo>
                    <a:pt x="58" y="104"/>
                  </a:lnTo>
                  <a:lnTo>
                    <a:pt x="62" y="100"/>
                  </a:lnTo>
                  <a:lnTo>
                    <a:pt x="60" y="98"/>
                  </a:lnTo>
                  <a:close/>
                  <a:moveTo>
                    <a:pt x="65" y="84"/>
                  </a:moveTo>
                  <a:lnTo>
                    <a:pt x="65" y="84"/>
                  </a:lnTo>
                  <a:lnTo>
                    <a:pt x="61" y="94"/>
                  </a:lnTo>
                  <a:lnTo>
                    <a:pt x="64" y="94"/>
                  </a:lnTo>
                  <a:lnTo>
                    <a:pt x="64" y="94"/>
                  </a:lnTo>
                  <a:lnTo>
                    <a:pt x="67" y="85"/>
                  </a:lnTo>
                  <a:lnTo>
                    <a:pt x="65" y="84"/>
                  </a:lnTo>
                  <a:close/>
                  <a:moveTo>
                    <a:pt x="81" y="82"/>
                  </a:moveTo>
                  <a:lnTo>
                    <a:pt x="81" y="82"/>
                  </a:lnTo>
                  <a:lnTo>
                    <a:pt x="73" y="81"/>
                  </a:lnTo>
                  <a:lnTo>
                    <a:pt x="73" y="81"/>
                  </a:lnTo>
                  <a:lnTo>
                    <a:pt x="71" y="81"/>
                  </a:lnTo>
                  <a:lnTo>
                    <a:pt x="71" y="84"/>
                  </a:lnTo>
                  <a:lnTo>
                    <a:pt x="73" y="84"/>
                  </a:lnTo>
                  <a:lnTo>
                    <a:pt x="73" y="84"/>
                  </a:lnTo>
                  <a:lnTo>
                    <a:pt x="81" y="84"/>
                  </a:lnTo>
                  <a:lnTo>
                    <a:pt x="81" y="82"/>
                  </a:lnTo>
                  <a:close/>
                  <a:moveTo>
                    <a:pt x="94" y="81"/>
                  </a:moveTo>
                  <a:lnTo>
                    <a:pt x="94" y="81"/>
                  </a:lnTo>
                  <a:lnTo>
                    <a:pt x="91" y="82"/>
                  </a:lnTo>
                  <a:lnTo>
                    <a:pt x="89" y="82"/>
                  </a:lnTo>
                  <a:lnTo>
                    <a:pt x="89" y="82"/>
                  </a:lnTo>
                  <a:lnTo>
                    <a:pt x="89" y="82"/>
                  </a:lnTo>
                  <a:lnTo>
                    <a:pt x="86" y="82"/>
                  </a:lnTo>
                  <a:lnTo>
                    <a:pt x="86" y="85"/>
                  </a:lnTo>
                  <a:lnTo>
                    <a:pt x="86" y="85"/>
                  </a:lnTo>
                  <a:lnTo>
                    <a:pt x="89" y="85"/>
                  </a:lnTo>
                  <a:lnTo>
                    <a:pt x="89" y="85"/>
                  </a:lnTo>
                  <a:lnTo>
                    <a:pt x="89" y="85"/>
                  </a:lnTo>
                  <a:lnTo>
                    <a:pt x="93" y="84"/>
                  </a:lnTo>
                  <a:lnTo>
                    <a:pt x="96" y="82"/>
                  </a:lnTo>
                  <a:lnTo>
                    <a:pt x="94" y="81"/>
                  </a:lnTo>
                  <a:close/>
                  <a:moveTo>
                    <a:pt x="107" y="84"/>
                  </a:moveTo>
                  <a:lnTo>
                    <a:pt x="107" y="84"/>
                  </a:lnTo>
                  <a:lnTo>
                    <a:pt x="104" y="79"/>
                  </a:lnTo>
                  <a:lnTo>
                    <a:pt x="104" y="79"/>
                  </a:lnTo>
                  <a:lnTo>
                    <a:pt x="103" y="78"/>
                  </a:lnTo>
                  <a:lnTo>
                    <a:pt x="103" y="78"/>
                  </a:lnTo>
                  <a:lnTo>
                    <a:pt x="102" y="76"/>
                  </a:lnTo>
                  <a:lnTo>
                    <a:pt x="102" y="76"/>
                  </a:lnTo>
                  <a:lnTo>
                    <a:pt x="99" y="78"/>
                  </a:lnTo>
                  <a:lnTo>
                    <a:pt x="100" y="79"/>
                  </a:lnTo>
                  <a:lnTo>
                    <a:pt x="102" y="79"/>
                  </a:lnTo>
                  <a:lnTo>
                    <a:pt x="102" y="79"/>
                  </a:lnTo>
                  <a:lnTo>
                    <a:pt x="102" y="79"/>
                  </a:lnTo>
                  <a:lnTo>
                    <a:pt x="103" y="81"/>
                  </a:lnTo>
                  <a:lnTo>
                    <a:pt x="103" y="81"/>
                  </a:lnTo>
                  <a:lnTo>
                    <a:pt x="106" y="85"/>
                  </a:lnTo>
                  <a:lnTo>
                    <a:pt x="107" y="84"/>
                  </a:lnTo>
                  <a:close/>
                  <a:moveTo>
                    <a:pt x="116" y="97"/>
                  </a:moveTo>
                  <a:lnTo>
                    <a:pt x="116" y="97"/>
                  </a:lnTo>
                  <a:lnTo>
                    <a:pt x="110" y="88"/>
                  </a:lnTo>
                  <a:lnTo>
                    <a:pt x="109" y="89"/>
                  </a:lnTo>
                  <a:lnTo>
                    <a:pt x="109" y="89"/>
                  </a:lnTo>
                  <a:lnTo>
                    <a:pt x="115" y="98"/>
                  </a:lnTo>
                  <a:lnTo>
                    <a:pt x="116" y="97"/>
                  </a:lnTo>
                  <a:close/>
                  <a:moveTo>
                    <a:pt x="128" y="105"/>
                  </a:moveTo>
                  <a:lnTo>
                    <a:pt x="128" y="105"/>
                  </a:lnTo>
                  <a:lnTo>
                    <a:pt x="123" y="104"/>
                  </a:lnTo>
                  <a:lnTo>
                    <a:pt x="119" y="100"/>
                  </a:lnTo>
                  <a:lnTo>
                    <a:pt x="118" y="102"/>
                  </a:lnTo>
                  <a:lnTo>
                    <a:pt x="118" y="102"/>
                  </a:lnTo>
                  <a:lnTo>
                    <a:pt x="122" y="105"/>
                  </a:lnTo>
                  <a:lnTo>
                    <a:pt x="126" y="108"/>
                  </a:lnTo>
                  <a:lnTo>
                    <a:pt x="128" y="105"/>
                  </a:lnTo>
                  <a:close/>
                  <a:moveTo>
                    <a:pt x="136" y="100"/>
                  </a:moveTo>
                  <a:lnTo>
                    <a:pt x="136" y="100"/>
                  </a:lnTo>
                  <a:lnTo>
                    <a:pt x="135" y="102"/>
                  </a:lnTo>
                  <a:lnTo>
                    <a:pt x="135" y="102"/>
                  </a:lnTo>
                  <a:lnTo>
                    <a:pt x="131" y="105"/>
                  </a:lnTo>
                  <a:lnTo>
                    <a:pt x="132" y="108"/>
                  </a:lnTo>
                  <a:lnTo>
                    <a:pt x="132" y="108"/>
                  </a:lnTo>
                  <a:lnTo>
                    <a:pt x="135" y="107"/>
                  </a:lnTo>
                  <a:lnTo>
                    <a:pt x="136" y="104"/>
                  </a:lnTo>
                  <a:lnTo>
                    <a:pt x="136" y="104"/>
                  </a:lnTo>
                  <a:lnTo>
                    <a:pt x="139" y="100"/>
                  </a:lnTo>
                  <a:lnTo>
                    <a:pt x="136" y="100"/>
                  </a:lnTo>
                  <a:close/>
                  <a:moveTo>
                    <a:pt x="145" y="86"/>
                  </a:moveTo>
                  <a:lnTo>
                    <a:pt x="144" y="86"/>
                  </a:lnTo>
                  <a:lnTo>
                    <a:pt x="144" y="86"/>
                  </a:lnTo>
                  <a:lnTo>
                    <a:pt x="141" y="88"/>
                  </a:lnTo>
                  <a:lnTo>
                    <a:pt x="139" y="89"/>
                  </a:lnTo>
                  <a:lnTo>
                    <a:pt x="139" y="89"/>
                  </a:lnTo>
                  <a:lnTo>
                    <a:pt x="138" y="91"/>
                  </a:lnTo>
                  <a:lnTo>
                    <a:pt x="136" y="94"/>
                  </a:lnTo>
                  <a:lnTo>
                    <a:pt x="136" y="94"/>
                  </a:lnTo>
                  <a:lnTo>
                    <a:pt x="139" y="94"/>
                  </a:lnTo>
                  <a:lnTo>
                    <a:pt x="139" y="94"/>
                  </a:lnTo>
                  <a:lnTo>
                    <a:pt x="139" y="94"/>
                  </a:lnTo>
                  <a:lnTo>
                    <a:pt x="141" y="91"/>
                  </a:lnTo>
                  <a:lnTo>
                    <a:pt x="141" y="91"/>
                  </a:lnTo>
                  <a:lnTo>
                    <a:pt x="144" y="89"/>
                  </a:lnTo>
                  <a:lnTo>
                    <a:pt x="145" y="89"/>
                  </a:lnTo>
                  <a:lnTo>
                    <a:pt x="145" y="86"/>
                  </a:lnTo>
                  <a:close/>
                  <a:moveTo>
                    <a:pt x="160" y="94"/>
                  </a:moveTo>
                  <a:lnTo>
                    <a:pt x="160" y="94"/>
                  </a:lnTo>
                  <a:lnTo>
                    <a:pt x="151" y="89"/>
                  </a:lnTo>
                  <a:lnTo>
                    <a:pt x="149" y="88"/>
                  </a:lnTo>
                  <a:lnTo>
                    <a:pt x="149" y="91"/>
                  </a:lnTo>
                  <a:lnTo>
                    <a:pt x="149" y="91"/>
                  </a:lnTo>
                  <a:lnTo>
                    <a:pt x="149" y="91"/>
                  </a:lnTo>
                  <a:lnTo>
                    <a:pt x="158" y="95"/>
                  </a:lnTo>
                  <a:lnTo>
                    <a:pt x="160" y="94"/>
                  </a:lnTo>
                  <a:close/>
                  <a:moveTo>
                    <a:pt x="173" y="100"/>
                  </a:moveTo>
                  <a:lnTo>
                    <a:pt x="173" y="100"/>
                  </a:lnTo>
                  <a:lnTo>
                    <a:pt x="164" y="95"/>
                  </a:lnTo>
                  <a:lnTo>
                    <a:pt x="162" y="98"/>
                  </a:lnTo>
                  <a:lnTo>
                    <a:pt x="162" y="98"/>
                  </a:lnTo>
                  <a:lnTo>
                    <a:pt x="171" y="102"/>
                  </a:lnTo>
                  <a:lnTo>
                    <a:pt x="173" y="100"/>
                  </a:lnTo>
                  <a:close/>
                  <a:moveTo>
                    <a:pt x="186" y="101"/>
                  </a:moveTo>
                  <a:lnTo>
                    <a:pt x="186" y="101"/>
                  </a:lnTo>
                  <a:lnTo>
                    <a:pt x="181" y="104"/>
                  </a:lnTo>
                  <a:lnTo>
                    <a:pt x="180" y="102"/>
                  </a:lnTo>
                  <a:lnTo>
                    <a:pt x="180" y="102"/>
                  </a:lnTo>
                  <a:lnTo>
                    <a:pt x="177" y="102"/>
                  </a:lnTo>
                  <a:lnTo>
                    <a:pt x="175" y="104"/>
                  </a:lnTo>
                  <a:lnTo>
                    <a:pt x="175" y="104"/>
                  </a:lnTo>
                  <a:lnTo>
                    <a:pt x="180" y="105"/>
                  </a:lnTo>
                  <a:lnTo>
                    <a:pt x="180" y="105"/>
                  </a:lnTo>
                  <a:lnTo>
                    <a:pt x="181" y="105"/>
                  </a:lnTo>
                  <a:lnTo>
                    <a:pt x="181" y="105"/>
                  </a:lnTo>
                  <a:lnTo>
                    <a:pt x="184" y="105"/>
                  </a:lnTo>
                  <a:lnTo>
                    <a:pt x="187" y="104"/>
                  </a:lnTo>
                  <a:lnTo>
                    <a:pt x="186" y="101"/>
                  </a:lnTo>
                  <a:close/>
                  <a:moveTo>
                    <a:pt x="200" y="100"/>
                  </a:moveTo>
                  <a:lnTo>
                    <a:pt x="200" y="100"/>
                  </a:lnTo>
                  <a:lnTo>
                    <a:pt x="193" y="98"/>
                  </a:lnTo>
                  <a:lnTo>
                    <a:pt x="193" y="98"/>
                  </a:lnTo>
                  <a:lnTo>
                    <a:pt x="193" y="98"/>
                  </a:lnTo>
                  <a:lnTo>
                    <a:pt x="190" y="100"/>
                  </a:lnTo>
                  <a:lnTo>
                    <a:pt x="191" y="101"/>
                  </a:lnTo>
                  <a:lnTo>
                    <a:pt x="191" y="101"/>
                  </a:lnTo>
                  <a:lnTo>
                    <a:pt x="193" y="100"/>
                  </a:lnTo>
                  <a:lnTo>
                    <a:pt x="193" y="100"/>
                  </a:lnTo>
                  <a:lnTo>
                    <a:pt x="193" y="100"/>
                  </a:lnTo>
                  <a:lnTo>
                    <a:pt x="200" y="101"/>
                  </a:lnTo>
                  <a:lnTo>
                    <a:pt x="200" y="100"/>
                  </a:lnTo>
                  <a:close/>
                  <a:moveTo>
                    <a:pt x="215" y="101"/>
                  </a:moveTo>
                  <a:lnTo>
                    <a:pt x="215" y="101"/>
                  </a:lnTo>
                  <a:lnTo>
                    <a:pt x="213" y="101"/>
                  </a:lnTo>
                  <a:lnTo>
                    <a:pt x="213" y="101"/>
                  </a:lnTo>
                  <a:lnTo>
                    <a:pt x="206" y="100"/>
                  </a:lnTo>
                  <a:lnTo>
                    <a:pt x="204" y="102"/>
                  </a:lnTo>
                  <a:lnTo>
                    <a:pt x="204" y="102"/>
                  </a:lnTo>
                  <a:lnTo>
                    <a:pt x="213" y="104"/>
                  </a:lnTo>
                  <a:lnTo>
                    <a:pt x="213" y="104"/>
                  </a:lnTo>
                  <a:lnTo>
                    <a:pt x="215" y="104"/>
                  </a:lnTo>
                  <a:lnTo>
                    <a:pt x="216" y="104"/>
                  </a:lnTo>
                  <a:lnTo>
                    <a:pt x="215" y="101"/>
                  </a:lnTo>
                  <a:close/>
                  <a:moveTo>
                    <a:pt x="212" y="91"/>
                  </a:moveTo>
                  <a:lnTo>
                    <a:pt x="213" y="91"/>
                  </a:lnTo>
                  <a:lnTo>
                    <a:pt x="213" y="91"/>
                  </a:lnTo>
                  <a:lnTo>
                    <a:pt x="215" y="94"/>
                  </a:lnTo>
                  <a:lnTo>
                    <a:pt x="216" y="98"/>
                  </a:lnTo>
                  <a:lnTo>
                    <a:pt x="216" y="98"/>
                  </a:lnTo>
                  <a:lnTo>
                    <a:pt x="219" y="98"/>
                  </a:lnTo>
                  <a:lnTo>
                    <a:pt x="219" y="98"/>
                  </a:lnTo>
                  <a:lnTo>
                    <a:pt x="219" y="98"/>
                  </a:lnTo>
                  <a:lnTo>
                    <a:pt x="217" y="94"/>
                  </a:lnTo>
                  <a:lnTo>
                    <a:pt x="215" y="89"/>
                  </a:lnTo>
                  <a:lnTo>
                    <a:pt x="213" y="88"/>
                  </a:lnTo>
                  <a:lnTo>
                    <a:pt x="212" y="91"/>
                  </a:lnTo>
                  <a:close/>
                  <a:moveTo>
                    <a:pt x="217" y="76"/>
                  </a:moveTo>
                  <a:lnTo>
                    <a:pt x="217" y="76"/>
                  </a:lnTo>
                  <a:lnTo>
                    <a:pt x="217" y="76"/>
                  </a:lnTo>
                  <a:lnTo>
                    <a:pt x="213" y="81"/>
                  </a:lnTo>
                  <a:lnTo>
                    <a:pt x="210" y="85"/>
                  </a:lnTo>
                  <a:lnTo>
                    <a:pt x="213" y="85"/>
                  </a:lnTo>
                  <a:lnTo>
                    <a:pt x="213" y="85"/>
                  </a:lnTo>
                  <a:lnTo>
                    <a:pt x="215" y="82"/>
                  </a:lnTo>
                  <a:lnTo>
                    <a:pt x="219" y="79"/>
                  </a:lnTo>
                  <a:lnTo>
                    <a:pt x="219" y="79"/>
                  </a:lnTo>
                  <a:lnTo>
                    <a:pt x="217" y="76"/>
                  </a:lnTo>
                  <a:close/>
                  <a:moveTo>
                    <a:pt x="229" y="68"/>
                  </a:moveTo>
                  <a:lnTo>
                    <a:pt x="229" y="68"/>
                  </a:lnTo>
                  <a:lnTo>
                    <a:pt x="222" y="75"/>
                  </a:lnTo>
                  <a:lnTo>
                    <a:pt x="223" y="76"/>
                  </a:lnTo>
                  <a:lnTo>
                    <a:pt x="223" y="76"/>
                  </a:lnTo>
                  <a:lnTo>
                    <a:pt x="232" y="71"/>
                  </a:lnTo>
                  <a:lnTo>
                    <a:pt x="229" y="68"/>
                  </a:lnTo>
                  <a:close/>
                  <a:moveTo>
                    <a:pt x="238" y="56"/>
                  </a:moveTo>
                  <a:lnTo>
                    <a:pt x="238" y="56"/>
                  </a:lnTo>
                  <a:lnTo>
                    <a:pt x="236" y="60"/>
                  </a:lnTo>
                  <a:lnTo>
                    <a:pt x="236" y="60"/>
                  </a:lnTo>
                  <a:lnTo>
                    <a:pt x="233" y="65"/>
                  </a:lnTo>
                  <a:lnTo>
                    <a:pt x="235" y="66"/>
                  </a:lnTo>
                  <a:lnTo>
                    <a:pt x="235" y="66"/>
                  </a:lnTo>
                  <a:lnTo>
                    <a:pt x="238" y="62"/>
                  </a:lnTo>
                  <a:lnTo>
                    <a:pt x="238" y="62"/>
                  </a:lnTo>
                  <a:lnTo>
                    <a:pt x="241" y="57"/>
                  </a:lnTo>
                  <a:lnTo>
                    <a:pt x="238" y="56"/>
                  </a:lnTo>
                  <a:close/>
                  <a:moveTo>
                    <a:pt x="244" y="42"/>
                  </a:moveTo>
                  <a:lnTo>
                    <a:pt x="244" y="42"/>
                  </a:lnTo>
                  <a:lnTo>
                    <a:pt x="239" y="52"/>
                  </a:lnTo>
                  <a:lnTo>
                    <a:pt x="242" y="52"/>
                  </a:lnTo>
                  <a:lnTo>
                    <a:pt x="242" y="52"/>
                  </a:lnTo>
                  <a:lnTo>
                    <a:pt x="245" y="43"/>
                  </a:lnTo>
                  <a:lnTo>
                    <a:pt x="244" y="42"/>
                  </a:lnTo>
                  <a:close/>
                  <a:moveTo>
                    <a:pt x="252" y="29"/>
                  </a:moveTo>
                  <a:lnTo>
                    <a:pt x="252" y="29"/>
                  </a:lnTo>
                  <a:lnTo>
                    <a:pt x="248" y="33"/>
                  </a:lnTo>
                  <a:lnTo>
                    <a:pt x="248" y="33"/>
                  </a:lnTo>
                  <a:lnTo>
                    <a:pt x="245" y="37"/>
                  </a:lnTo>
                  <a:lnTo>
                    <a:pt x="246" y="39"/>
                  </a:lnTo>
                  <a:lnTo>
                    <a:pt x="246" y="39"/>
                  </a:lnTo>
                  <a:lnTo>
                    <a:pt x="249" y="34"/>
                  </a:lnTo>
                  <a:lnTo>
                    <a:pt x="249" y="34"/>
                  </a:lnTo>
                  <a:lnTo>
                    <a:pt x="254" y="31"/>
                  </a:lnTo>
                  <a:lnTo>
                    <a:pt x="252" y="29"/>
                  </a:lnTo>
                  <a:close/>
                  <a:moveTo>
                    <a:pt x="267" y="23"/>
                  </a:moveTo>
                  <a:lnTo>
                    <a:pt x="267" y="23"/>
                  </a:lnTo>
                  <a:lnTo>
                    <a:pt x="257" y="27"/>
                  </a:lnTo>
                  <a:lnTo>
                    <a:pt x="258" y="29"/>
                  </a:lnTo>
                  <a:lnTo>
                    <a:pt x="258" y="29"/>
                  </a:lnTo>
                  <a:lnTo>
                    <a:pt x="267" y="26"/>
                  </a:lnTo>
                  <a:lnTo>
                    <a:pt x="267" y="23"/>
                  </a:lnTo>
                  <a:close/>
                  <a:moveTo>
                    <a:pt x="281" y="20"/>
                  </a:moveTo>
                  <a:lnTo>
                    <a:pt x="281" y="20"/>
                  </a:lnTo>
                  <a:lnTo>
                    <a:pt x="271" y="23"/>
                  </a:lnTo>
                  <a:lnTo>
                    <a:pt x="272" y="24"/>
                  </a:lnTo>
                  <a:lnTo>
                    <a:pt x="272" y="24"/>
                  </a:lnTo>
                  <a:lnTo>
                    <a:pt x="283" y="23"/>
                  </a:lnTo>
                  <a:lnTo>
                    <a:pt x="281" y="20"/>
                  </a:lnTo>
                  <a:close/>
                  <a:moveTo>
                    <a:pt x="294" y="14"/>
                  </a:moveTo>
                  <a:lnTo>
                    <a:pt x="294" y="14"/>
                  </a:lnTo>
                  <a:lnTo>
                    <a:pt x="291" y="15"/>
                  </a:lnTo>
                  <a:lnTo>
                    <a:pt x="291" y="15"/>
                  </a:lnTo>
                  <a:lnTo>
                    <a:pt x="288" y="17"/>
                  </a:lnTo>
                  <a:lnTo>
                    <a:pt x="288" y="17"/>
                  </a:lnTo>
                  <a:lnTo>
                    <a:pt x="287" y="18"/>
                  </a:lnTo>
                  <a:lnTo>
                    <a:pt x="287" y="18"/>
                  </a:lnTo>
                  <a:lnTo>
                    <a:pt x="287" y="20"/>
                  </a:lnTo>
                  <a:lnTo>
                    <a:pt x="287" y="21"/>
                  </a:lnTo>
                  <a:lnTo>
                    <a:pt x="287" y="21"/>
                  </a:lnTo>
                  <a:lnTo>
                    <a:pt x="288" y="20"/>
                  </a:lnTo>
                  <a:lnTo>
                    <a:pt x="288" y="20"/>
                  </a:lnTo>
                  <a:lnTo>
                    <a:pt x="290" y="18"/>
                  </a:lnTo>
                  <a:lnTo>
                    <a:pt x="290" y="18"/>
                  </a:lnTo>
                  <a:lnTo>
                    <a:pt x="291" y="17"/>
                  </a:lnTo>
                  <a:lnTo>
                    <a:pt x="291" y="17"/>
                  </a:lnTo>
                  <a:lnTo>
                    <a:pt x="294" y="17"/>
                  </a:lnTo>
                  <a:lnTo>
                    <a:pt x="294" y="14"/>
                  </a:lnTo>
                  <a:close/>
                  <a:moveTo>
                    <a:pt x="310" y="14"/>
                  </a:moveTo>
                  <a:lnTo>
                    <a:pt x="310" y="14"/>
                  </a:lnTo>
                  <a:lnTo>
                    <a:pt x="306" y="14"/>
                  </a:lnTo>
                  <a:lnTo>
                    <a:pt x="306" y="14"/>
                  </a:lnTo>
                  <a:lnTo>
                    <a:pt x="300" y="14"/>
                  </a:lnTo>
                  <a:lnTo>
                    <a:pt x="300" y="17"/>
                  </a:lnTo>
                  <a:lnTo>
                    <a:pt x="300" y="17"/>
                  </a:lnTo>
                  <a:lnTo>
                    <a:pt x="306" y="17"/>
                  </a:lnTo>
                  <a:lnTo>
                    <a:pt x="306" y="17"/>
                  </a:lnTo>
                  <a:lnTo>
                    <a:pt x="310" y="17"/>
                  </a:lnTo>
                  <a:lnTo>
                    <a:pt x="310" y="14"/>
                  </a:lnTo>
                  <a:close/>
                  <a:moveTo>
                    <a:pt x="325" y="10"/>
                  </a:moveTo>
                  <a:lnTo>
                    <a:pt x="325" y="10"/>
                  </a:lnTo>
                  <a:lnTo>
                    <a:pt x="314" y="13"/>
                  </a:lnTo>
                  <a:lnTo>
                    <a:pt x="314" y="15"/>
                  </a:lnTo>
                  <a:lnTo>
                    <a:pt x="314" y="15"/>
                  </a:lnTo>
                  <a:lnTo>
                    <a:pt x="325" y="13"/>
                  </a:lnTo>
                  <a:lnTo>
                    <a:pt x="325" y="10"/>
                  </a:lnTo>
                  <a:close/>
                  <a:moveTo>
                    <a:pt x="338" y="5"/>
                  </a:moveTo>
                  <a:lnTo>
                    <a:pt x="338" y="5"/>
                  </a:lnTo>
                  <a:lnTo>
                    <a:pt x="329" y="8"/>
                  </a:lnTo>
                  <a:lnTo>
                    <a:pt x="329" y="11"/>
                  </a:lnTo>
                  <a:lnTo>
                    <a:pt x="329" y="11"/>
                  </a:lnTo>
                  <a:lnTo>
                    <a:pt x="339" y="7"/>
                  </a:lnTo>
                  <a:lnTo>
                    <a:pt x="338" y="5"/>
                  </a:lnTo>
                  <a:close/>
                  <a:moveTo>
                    <a:pt x="352" y="0"/>
                  </a:moveTo>
                  <a:lnTo>
                    <a:pt x="352" y="0"/>
                  </a:lnTo>
                  <a:lnTo>
                    <a:pt x="343" y="2"/>
                  </a:lnTo>
                  <a:lnTo>
                    <a:pt x="343" y="5"/>
                  </a:lnTo>
                  <a:lnTo>
                    <a:pt x="343" y="5"/>
                  </a:lnTo>
                  <a:lnTo>
                    <a:pt x="354" y="1"/>
                  </a:lnTo>
                  <a:lnTo>
                    <a:pt x="352" y="0"/>
                  </a:lnTo>
                  <a:close/>
                  <a:moveTo>
                    <a:pt x="368" y="2"/>
                  </a:moveTo>
                  <a:lnTo>
                    <a:pt x="368" y="2"/>
                  </a:lnTo>
                  <a:lnTo>
                    <a:pt x="358" y="0"/>
                  </a:lnTo>
                  <a:lnTo>
                    <a:pt x="358" y="2"/>
                  </a:lnTo>
                  <a:lnTo>
                    <a:pt x="358" y="2"/>
                  </a:lnTo>
                  <a:lnTo>
                    <a:pt x="367" y="5"/>
                  </a:lnTo>
                  <a:lnTo>
                    <a:pt x="368" y="2"/>
                  </a:lnTo>
                  <a:close/>
                  <a:moveTo>
                    <a:pt x="383" y="1"/>
                  </a:moveTo>
                  <a:lnTo>
                    <a:pt x="383" y="1"/>
                  </a:lnTo>
                  <a:lnTo>
                    <a:pt x="378" y="2"/>
                  </a:lnTo>
                  <a:lnTo>
                    <a:pt x="374" y="2"/>
                  </a:lnTo>
                  <a:lnTo>
                    <a:pt x="372" y="2"/>
                  </a:lnTo>
                  <a:lnTo>
                    <a:pt x="372" y="5"/>
                  </a:lnTo>
                  <a:lnTo>
                    <a:pt x="374" y="5"/>
                  </a:lnTo>
                  <a:lnTo>
                    <a:pt x="374" y="5"/>
                  </a:lnTo>
                  <a:lnTo>
                    <a:pt x="378" y="5"/>
                  </a:lnTo>
                  <a:lnTo>
                    <a:pt x="383" y="4"/>
                  </a:lnTo>
                  <a:lnTo>
                    <a:pt x="383" y="1"/>
                  </a:lnTo>
                  <a:close/>
                  <a:moveTo>
                    <a:pt x="387" y="14"/>
                  </a:moveTo>
                  <a:lnTo>
                    <a:pt x="387" y="14"/>
                  </a:lnTo>
                  <a:lnTo>
                    <a:pt x="388" y="5"/>
                  </a:lnTo>
                  <a:lnTo>
                    <a:pt x="388" y="5"/>
                  </a:lnTo>
                  <a:lnTo>
                    <a:pt x="388" y="4"/>
                  </a:lnTo>
                  <a:lnTo>
                    <a:pt x="385" y="4"/>
                  </a:lnTo>
                  <a:lnTo>
                    <a:pt x="385" y="4"/>
                  </a:lnTo>
                  <a:lnTo>
                    <a:pt x="385" y="5"/>
                  </a:lnTo>
                  <a:lnTo>
                    <a:pt x="385" y="5"/>
                  </a:lnTo>
                  <a:lnTo>
                    <a:pt x="384" y="14"/>
                  </a:lnTo>
                  <a:lnTo>
                    <a:pt x="387" y="14"/>
                  </a:lnTo>
                  <a:close/>
                  <a:moveTo>
                    <a:pt x="391" y="24"/>
                  </a:moveTo>
                  <a:lnTo>
                    <a:pt x="391" y="24"/>
                  </a:lnTo>
                  <a:lnTo>
                    <a:pt x="388" y="24"/>
                  </a:lnTo>
                  <a:lnTo>
                    <a:pt x="388" y="24"/>
                  </a:lnTo>
                  <a:lnTo>
                    <a:pt x="387" y="23"/>
                  </a:lnTo>
                  <a:lnTo>
                    <a:pt x="387" y="23"/>
                  </a:lnTo>
                  <a:lnTo>
                    <a:pt x="387" y="20"/>
                  </a:lnTo>
                  <a:lnTo>
                    <a:pt x="387" y="18"/>
                  </a:lnTo>
                  <a:lnTo>
                    <a:pt x="384" y="18"/>
                  </a:lnTo>
                  <a:lnTo>
                    <a:pt x="384" y="18"/>
                  </a:lnTo>
                  <a:lnTo>
                    <a:pt x="384" y="20"/>
                  </a:lnTo>
                  <a:lnTo>
                    <a:pt x="384" y="20"/>
                  </a:lnTo>
                  <a:lnTo>
                    <a:pt x="384" y="24"/>
                  </a:lnTo>
                  <a:lnTo>
                    <a:pt x="384" y="24"/>
                  </a:lnTo>
                  <a:lnTo>
                    <a:pt x="387" y="26"/>
                  </a:lnTo>
                  <a:lnTo>
                    <a:pt x="387" y="26"/>
                  </a:lnTo>
                  <a:lnTo>
                    <a:pt x="390" y="27"/>
                  </a:lnTo>
                  <a:lnTo>
                    <a:pt x="391" y="24"/>
                  </a:lnTo>
                  <a:close/>
                  <a:moveTo>
                    <a:pt x="406" y="26"/>
                  </a:moveTo>
                  <a:lnTo>
                    <a:pt x="406" y="26"/>
                  </a:lnTo>
                  <a:lnTo>
                    <a:pt x="396" y="26"/>
                  </a:lnTo>
                  <a:lnTo>
                    <a:pt x="396" y="27"/>
                  </a:lnTo>
                  <a:lnTo>
                    <a:pt x="396" y="27"/>
                  </a:lnTo>
                  <a:lnTo>
                    <a:pt x="406" y="29"/>
                  </a:lnTo>
                  <a:lnTo>
                    <a:pt x="406" y="26"/>
                  </a:lnTo>
                  <a:close/>
                  <a:moveTo>
                    <a:pt x="422" y="27"/>
                  </a:moveTo>
                  <a:lnTo>
                    <a:pt x="422" y="27"/>
                  </a:lnTo>
                  <a:lnTo>
                    <a:pt x="412" y="26"/>
                  </a:lnTo>
                  <a:lnTo>
                    <a:pt x="410" y="29"/>
                  </a:lnTo>
                  <a:lnTo>
                    <a:pt x="410" y="29"/>
                  </a:lnTo>
                  <a:lnTo>
                    <a:pt x="420" y="29"/>
                  </a:lnTo>
                  <a:lnTo>
                    <a:pt x="422" y="27"/>
                  </a:lnTo>
                  <a:close/>
                  <a:moveTo>
                    <a:pt x="427" y="40"/>
                  </a:moveTo>
                  <a:lnTo>
                    <a:pt x="427" y="40"/>
                  </a:lnTo>
                  <a:lnTo>
                    <a:pt x="427" y="36"/>
                  </a:lnTo>
                  <a:lnTo>
                    <a:pt x="427" y="36"/>
                  </a:lnTo>
                  <a:lnTo>
                    <a:pt x="427" y="33"/>
                  </a:lnTo>
                  <a:lnTo>
                    <a:pt x="426" y="30"/>
                  </a:lnTo>
                  <a:lnTo>
                    <a:pt x="425" y="31"/>
                  </a:lnTo>
                  <a:lnTo>
                    <a:pt x="425" y="31"/>
                  </a:lnTo>
                  <a:lnTo>
                    <a:pt x="426" y="36"/>
                  </a:lnTo>
                  <a:lnTo>
                    <a:pt x="426" y="36"/>
                  </a:lnTo>
                  <a:lnTo>
                    <a:pt x="425" y="40"/>
                  </a:lnTo>
                  <a:lnTo>
                    <a:pt x="427" y="40"/>
                  </a:lnTo>
                  <a:close/>
                  <a:moveTo>
                    <a:pt x="430" y="53"/>
                  </a:moveTo>
                  <a:lnTo>
                    <a:pt x="430" y="53"/>
                  </a:lnTo>
                  <a:lnTo>
                    <a:pt x="427" y="49"/>
                  </a:lnTo>
                  <a:lnTo>
                    <a:pt x="426" y="44"/>
                  </a:lnTo>
                  <a:lnTo>
                    <a:pt x="423" y="46"/>
                  </a:lnTo>
                  <a:lnTo>
                    <a:pt x="423" y="46"/>
                  </a:lnTo>
                  <a:lnTo>
                    <a:pt x="425" y="50"/>
                  </a:lnTo>
                  <a:lnTo>
                    <a:pt x="429" y="55"/>
                  </a:lnTo>
                  <a:lnTo>
                    <a:pt x="430" y="53"/>
                  </a:lnTo>
                  <a:close/>
                  <a:moveTo>
                    <a:pt x="442" y="62"/>
                  </a:moveTo>
                  <a:lnTo>
                    <a:pt x="442" y="62"/>
                  </a:lnTo>
                  <a:lnTo>
                    <a:pt x="442" y="62"/>
                  </a:lnTo>
                  <a:lnTo>
                    <a:pt x="435" y="56"/>
                  </a:lnTo>
                  <a:lnTo>
                    <a:pt x="432" y="59"/>
                  </a:lnTo>
                  <a:lnTo>
                    <a:pt x="432" y="59"/>
                  </a:lnTo>
                  <a:lnTo>
                    <a:pt x="436" y="62"/>
                  </a:lnTo>
                  <a:lnTo>
                    <a:pt x="440" y="63"/>
                  </a:lnTo>
                  <a:lnTo>
                    <a:pt x="442" y="63"/>
                  </a:lnTo>
                  <a:lnTo>
                    <a:pt x="442" y="62"/>
                  </a:lnTo>
                  <a:close/>
                  <a:moveTo>
                    <a:pt x="455" y="55"/>
                  </a:moveTo>
                  <a:lnTo>
                    <a:pt x="455" y="55"/>
                  </a:lnTo>
                  <a:lnTo>
                    <a:pt x="446" y="60"/>
                  </a:lnTo>
                  <a:lnTo>
                    <a:pt x="448" y="63"/>
                  </a:lnTo>
                  <a:lnTo>
                    <a:pt x="448" y="63"/>
                  </a:lnTo>
                  <a:lnTo>
                    <a:pt x="456" y="56"/>
                  </a:lnTo>
                  <a:lnTo>
                    <a:pt x="455" y="55"/>
                  </a:lnTo>
                  <a:close/>
                  <a:moveTo>
                    <a:pt x="467" y="44"/>
                  </a:moveTo>
                  <a:lnTo>
                    <a:pt x="467" y="44"/>
                  </a:lnTo>
                  <a:lnTo>
                    <a:pt x="458" y="52"/>
                  </a:lnTo>
                  <a:lnTo>
                    <a:pt x="459" y="53"/>
                  </a:lnTo>
                  <a:lnTo>
                    <a:pt x="459" y="53"/>
                  </a:lnTo>
                  <a:lnTo>
                    <a:pt x="468" y="47"/>
                  </a:lnTo>
                  <a:lnTo>
                    <a:pt x="467" y="44"/>
                  </a:lnTo>
                  <a:close/>
                  <a:moveTo>
                    <a:pt x="481" y="42"/>
                  </a:moveTo>
                  <a:lnTo>
                    <a:pt x="481" y="42"/>
                  </a:lnTo>
                  <a:lnTo>
                    <a:pt x="478" y="40"/>
                  </a:lnTo>
                  <a:lnTo>
                    <a:pt x="478" y="40"/>
                  </a:lnTo>
                  <a:lnTo>
                    <a:pt x="474" y="40"/>
                  </a:lnTo>
                  <a:lnTo>
                    <a:pt x="471" y="42"/>
                  </a:lnTo>
                  <a:lnTo>
                    <a:pt x="472" y="44"/>
                  </a:lnTo>
                  <a:lnTo>
                    <a:pt x="472" y="44"/>
                  </a:lnTo>
                  <a:lnTo>
                    <a:pt x="478" y="43"/>
                  </a:lnTo>
                  <a:lnTo>
                    <a:pt x="478" y="43"/>
                  </a:lnTo>
                  <a:lnTo>
                    <a:pt x="480" y="43"/>
                  </a:lnTo>
                  <a:lnTo>
                    <a:pt x="481" y="42"/>
                  </a:lnTo>
                  <a:close/>
                  <a:moveTo>
                    <a:pt x="493" y="52"/>
                  </a:moveTo>
                  <a:lnTo>
                    <a:pt x="493" y="52"/>
                  </a:lnTo>
                  <a:lnTo>
                    <a:pt x="485" y="44"/>
                  </a:lnTo>
                  <a:lnTo>
                    <a:pt x="484" y="46"/>
                  </a:lnTo>
                  <a:lnTo>
                    <a:pt x="484" y="46"/>
                  </a:lnTo>
                  <a:lnTo>
                    <a:pt x="491" y="53"/>
                  </a:lnTo>
                  <a:lnTo>
                    <a:pt x="493" y="52"/>
                  </a:lnTo>
                  <a:close/>
                  <a:moveTo>
                    <a:pt x="503" y="63"/>
                  </a:moveTo>
                  <a:lnTo>
                    <a:pt x="503" y="63"/>
                  </a:lnTo>
                  <a:lnTo>
                    <a:pt x="496" y="56"/>
                  </a:lnTo>
                  <a:lnTo>
                    <a:pt x="494" y="57"/>
                  </a:lnTo>
                  <a:lnTo>
                    <a:pt x="494" y="57"/>
                  </a:lnTo>
                  <a:lnTo>
                    <a:pt x="500" y="65"/>
                  </a:lnTo>
                  <a:lnTo>
                    <a:pt x="503" y="63"/>
                  </a:lnTo>
                  <a:close/>
                  <a:moveTo>
                    <a:pt x="511" y="76"/>
                  </a:moveTo>
                  <a:lnTo>
                    <a:pt x="511" y="76"/>
                  </a:lnTo>
                  <a:lnTo>
                    <a:pt x="506" y="68"/>
                  </a:lnTo>
                  <a:lnTo>
                    <a:pt x="503" y="69"/>
                  </a:lnTo>
                  <a:lnTo>
                    <a:pt x="503" y="69"/>
                  </a:lnTo>
                  <a:lnTo>
                    <a:pt x="509" y="78"/>
                  </a:lnTo>
                  <a:lnTo>
                    <a:pt x="511" y="76"/>
                  </a:lnTo>
                  <a:close/>
                  <a:moveTo>
                    <a:pt x="519" y="89"/>
                  </a:moveTo>
                  <a:lnTo>
                    <a:pt x="519" y="89"/>
                  </a:lnTo>
                  <a:lnTo>
                    <a:pt x="514" y="81"/>
                  </a:lnTo>
                  <a:lnTo>
                    <a:pt x="511" y="82"/>
                  </a:lnTo>
                  <a:lnTo>
                    <a:pt x="511" y="82"/>
                  </a:lnTo>
                  <a:lnTo>
                    <a:pt x="517" y="91"/>
                  </a:lnTo>
                  <a:lnTo>
                    <a:pt x="519" y="89"/>
                  </a:lnTo>
                  <a:close/>
                  <a:moveTo>
                    <a:pt x="526" y="102"/>
                  </a:moveTo>
                  <a:lnTo>
                    <a:pt x="526" y="102"/>
                  </a:lnTo>
                  <a:lnTo>
                    <a:pt x="523" y="98"/>
                  </a:lnTo>
                  <a:lnTo>
                    <a:pt x="523" y="98"/>
                  </a:lnTo>
                  <a:lnTo>
                    <a:pt x="522" y="94"/>
                  </a:lnTo>
                  <a:lnTo>
                    <a:pt x="519" y="95"/>
                  </a:lnTo>
                  <a:lnTo>
                    <a:pt x="519" y="95"/>
                  </a:lnTo>
                  <a:lnTo>
                    <a:pt x="522" y="100"/>
                  </a:lnTo>
                  <a:lnTo>
                    <a:pt x="522" y="100"/>
                  </a:lnTo>
                  <a:lnTo>
                    <a:pt x="524" y="104"/>
                  </a:lnTo>
                  <a:lnTo>
                    <a:pt x="526" y="102"/>
                  </a:lnTo>
                  <a:close/>
                  <a:moveTo>
                    <a:pt x="539" y="108"/>
                  </a:moveTo>
                  <a:lnTo>
                    <a:pt x="539" y="108"/>
                  </a:lnTo>
                  <a:lnTo>
                    <a:pt x="535" y="107"/>
                  </a:lnTo>
                  <a:lnTo>
                    <a:pt x="530" y="105"/>
                  </a:lnTo>
                  <a:lnTo>
                    <a:pt x="529" y="107"/>
                  </a:lnTo>
                  <a:lnTo>
                    <a:pt x="529" y="107"/>
                  </a:lnTo>
                  <a:lnTo>
                    <a:pt x="535" y="110"/>
                  </a:lnTo>
                  <a:lnTo>
                    <a:pt x="539" y="111"/>
                  </a:lnTo>
                  <a:lnTo>
                    <a:pt x="539" y="108"/>
                  </a:lnTo>
                  <a:close/>
                  <a:moveTo>
                    <a:pt x="555" y="111"/>
                  </a:moveTo>
                  <a:lnTo>
                    <a:pt x="555" y="111"/>
                  </a:lnTo>
                  <a:lnTo>
                    <a:pt x="551" y="110"/>
                  </a:lnTo>
                  <a:lnTo>
                    <a:pt x="548" y="108"/>
                  </a:lnTo>
                  <a:lnTo>
                    <a:pt x="548" y="108"/>
                  </a:lnTo>
                  <a:lnTo>
                    <a:pt x="545" y="108"/>
                  </a:lnTo>
                  <a:lnTo>
                    <a:pt x="545" y="111"/>
                  </a:lnTo>
                  <a:lnTo>
                    <a:pt x="545" y="111"/>
                  </a:lnTo>
                  <a:lnTo>
                    <a:pt x="548" y="111"/>
                  </a:lnTo>
                  <a:lnTo>
                    <a:pt x="548" y="111"/>
                  </a:lnTo>
                  <a:lnTo>
                    <a:pt x="553" y="113"/>
                  </a:lnTo>
                  <a:lnTo>
                    <a:pt x="555" y="111"/>
                  </a:lnTo>
                  <a:close/>
                  <a:moveTo>
                    <a:pt x="568" y="120"/>
                  </a:moveTo>
                  <a:lnTo>
                    <a:pt x="566" y="120"/>
                  </a:lnTo>
                  <a:lnTo>
                    <a:pt x="566" y="120"/>
                  </a:lnTo>
                  <a:lnTo>
                    <a:pt x="559" y="114"/>
                  </a:lnTo>
                  <a:lnTo>
                    <a:pt x="558" y="115"/>
                  </a:lnTo>
                  <a:lnTo>
                    <a:pt x="558" y="115"/>
                  </a:lnTo>
                  <a:lnTo>
                    <a:pt x="565" y="121"/>
                  </a:lnTo>
                  <a:lnTo>
                    <a:pt x="565" y="121"/>
                  </a:lnTo>
                  <a:lnTo>
                    <a:pt x="568" y="120"/>
                  </a:lnTo>
                  <a:close/>
                  <a:moveTo>
                    <a:pt x="581" y="123"/>
                  </a:moveTo>
                  <a:lnTo>
                    <a:pt x="581" y="123"/>
                  </a:lnTo>
                  <a:lnTo>
                    <a:pt x="577" y="123"/>
                  </a:lnTo>
                  <a:lnTo>
                    <a:pt x="577" y="123"/>
                  </a:lnTo>
                  <a:lnTo>
                    <a:pt x="571" y="123"/>
                  </a:lnTo>
                  <a:lnTo>
                    <a:pt x="571" y="124"/>
                  </a:lnTo>
                  <a:lnTo>
                    <a:pt x="571" y="124"/>
                  </a:lnTo>
                  <a:lnTo>
                    <a:pt x="577" y="126"/>
                  </a:lnTo>
                  <a:lnTo>
                    <a:pt x="577" y="126"/>
                  </a:lnTo>
                  <a:lnTo>
                    <a:pt x="581" y="126"/>
                  </a:lnTo>
                  <a:lnTo>
                    <a:pt x="581" y="123"/>
                  </a:lnTo>
                  <a:close/>
                  <a:moveTo>
                    <a:pt x="597" y="124"/>
                  </a:moveTo>
                  <a:lnTo>
                    <a:pt x="597" y="124"/>
                  </a:lnTo>
                  <a:lnTo>
                    <a:pt x="590" y="123"/>
                  </a:lnTo>
                  <a:lnTo>
                    <a:pt x="590" y="123"/>
                  </a:lnTo>
                  <a:lnTo>
                    <a:pt x="585" y="123"/>
                  </a:lnTo>
                  <a:lnTo>
                    <a:pt x="587" y="124"/>
                  </a:lnTo>
                  <a:lnTo>
                    <a:pt x="587" y="124"/>
                  </a:lnTo>
                  <a:lnTo>
                    <a:pt x="590" y="124"/>
                  </a:lnTo>
                  <a:lnTo>
                    <a:pt x="590" y="124"/>
                  </a:lnTo>
                  <a:lnTo>
                    <a:pt x="595" y="126"/>
                  </a:lnTo>
                  <a:lnTo>
                    <a:pt x="597" y="124"/>
                  </a:lnTo>
                  <a:close/>
                  <a:moveTo>
                    <a:pt x="611" y="128"/>
                  </a:moveTo>
                  <a:lnTo>
                    <a:pt x="611" y="128"/>
                  </a:lnTo>
                  <a:lnTo>
                    <a:pt x="601" y="126"/>
                  </a:lnTo>
                  <a:lnTo>
                    <a:pt x="600" y="127"/>
                  </a:lnTo>
                  <a:lnTo>
                    <a:pt x="600" y="127"/>
                  </a:lnTo>
                  <a:lnTo>
                    <a:pt x="610" y="131"/>
                  </a:lnTo>
                  <a:lnTo>
                    <a:pt x="611" y="128"/>
                  </a:lnTo>
                  <a:close/>
                  <a:moveTo>
                    <a:pt x="624" y="136"/>
                  </a:moveTo>
                  <a:lnTo>
                    <a:pt x="624" y="136"/>
                  </a:lnTo>
                  <a:lnTo>
                    <a:pt x="616" y="131"/>
                  </a:lnTo>
                  <a:lnTo>
                    <a:pt x="614" y="133"/>
                  </a:lnTo>
                  <a:lnTo>
                    <a:pt x="614" y="133"/>
                  </a:lnTo>
                  <a:lnTo>
                    <a:pt x="624" y="137"/>
                  </a:lnTo>
                  <a:lnTo>
                    <a:pt x="624" y="136"/>
                  </a:lnTo>
                  <a:close/>
                  <a:moveTo>
                    <a:pt x="639" y="142"/>
                  </a:moveTo>
                  <a:lnTo>
                    <a:pt x="639" y="142"/>
                  </a:lnTo>
                  <a:lnTo>
                    <a:pt x="629" y="137"/>
                  </a:lnTo>
                  <a:lnTo>
                    <a:pt x="629" y="140"/>
                  </a:lnTo>
                  <a:lnTo>
                    <a:pt x="629" y="140"/>
                  </a:lnTo>
                  <a:lnTo>
                    <a:pt x="637" y="144"/>
                  </a:lnTo>
                  <a:lnTo>
                    <a:pt x="639" y="142"/>
                  </a:lnTo>
                  <a:close/>
                  <a:moveTo>
                    <a:pt x="652" y="149"/>
                  </a:moveTo>
                  <a:lnTo>
                    <a:pt x="652" y="149"/>
                  </a:lnTo>
                  <a:lnTo>
                    <a:pt x="643" y="144"/>
                  </a:lnTo>
                  <a:lnTo>
                    <a:pt x="642" y="146"/>
                  </a:lnTo>
                  <a:lnTo>
                    <a:pt x="642" y="146"/>
                  </a:lnTo>
                  <a:lnTo>
                    <a:pt x="650" y="150"/>
                  </a:lnTo>
                  <a:lnTo>
                    <a:pt x="652" y="149"/>
                  </a:lnTo>
                  <a:close/>
                  <a:moveTo>
                    <a:pt x="665" y="152"/>
                  </a:moveTo>
                  <a:lnTo>
                    <a:pt x="665" y="152"/>
                  </a:lnTo>
                  <a:lnTo>
                    <a:pt x="661" y="153"/>
                  </a:lnTo>
                  <a:lnTo>
                    <a:pt x="661" y="153"/>
                  </a:lnTo>
                  <a:lnTo>
                    <a:pt x="658" y="152"/>
                  </a:lnTo>
                  <a:lnTo>
                    <a:pt x="658" y="152"/>
                  </a:lnTo>
                  <a:lnTo>
                    <a:pt x="656" y="152"/>
                  </a:lnTo>
                  <a:lnTo>
                    <a:pt x="655" y="153"/>
                  </a:lnTo>
                  <a:lnTo>
                    <a:pt x="656" y="155"/>
                  </a:lnTo>
                  <a:lnTo>
                    <a:pt x="656" y="155"/>
                  </a:lnTo>
                  <a:lnTo>
                    <a:pt x="661" y="156"/>
                  </a:lnTo>
                  <a:lnTo>
                    <a:pt x="661" y="156"/>
                  </a:lnTo>
                  <a:lnTo>
                    <a:pt x="664" y="155"/>
                  </a:lnTo>
                  <a:lnTo>
                    <a:pt x="666" y="153"/>
                  </a:lnTo>
                  <a:lnTo>
                    <a:pt x="665" y="152"/>
                  </a:lnTo>
                  <a:close/>
                  <a:moveTo>
                    <a:pt x="679" y="149"/>
                  </a:moveTo>
                  <a:lnTo>
                    <a:pt x="679" y="149"/>
                  </a:lnTo>
                  <a:lnTo>
                    <a:pt x="675" y="149"/>
                  </a:lnTo>
                  <a:lnTo>
                    <a:pt x="675" y="149"/>
                  </a:lnTo>
                  <a:lnTo>
                    <a:pt x="672" y="149"/>
                  </a:lnTo>
                  <a:lnTo>
                    <a:pt x="671" y="149"/>
                  </a:lnTo>
                  <a:lnTo>
                    <a:pt x="671" y="149"/>
                  </a:lnTo>
                  <a:lnTo>
                    <a:pt x="669" y="149"/>
                  </a:lnTo>
                  <a:lnTo>
                    <a:pt x="669" y="150"/>
                  </a:lnTo>
                  <a:lnTo>
                    <a:pt x="671" y="150"/>
                  </a:lnTo>
                  <a:lnTo>
                    <a:pt x="672" y="150"/>
                  </a:lnTo>
                  <a:lnTo>
                    <a:pt x="672" y="150"/>
                  </a:lnTo>
                  <a:lnTo>
                    <a:pt x="675" y="152"/>
                  </a:lnTo>
                  <a:lnTo>
                    <a:pt x="675" y="152"/>
                  </a:lnTo>
                  <a:lnTo>
                    <a:pt x="679" y="150"/>
                  </a:lnTo>
                  <a:lnTo>
                    <a:pt x="679" y="149"/>
                  </a:lnTo>
                  <a:close/>
                  <a:moveTo>
                    <a:pt x="688" y="139"/>
                  </a:moveTo>
                  <a:lnTo>
                    <a:pt x="688" y="139"/>
                  </a:lnTo>
                  <a:lnTo>
                    <a:pt x="687" y="143"/>
                  </a:lnTo>
                  <a:lnTo>
                    <a:pt x="687" y="143"/>
                  </a:lnTo>
                  <a:lnTo>
                    <a:pt x="687" y="144"/>
                  </a:lnTo>
                  <a:lnTo>
                    <a:pt x="687" y="144"/>
                  </a:lnTo>
                  <a:lnTo>
                    <a:pt x="684" y="146"/>
                  </a:lnTo>
                  <a:lnTo>
                    <a:pt x="685" y="149"/>
                  </a:lnTo>
                  <a:lnTo>
                    <a:pt x="685" y="149"/>
                  </a:lnTo>
                  <a:lnTo>
                    <a:pt x="688" y="147"/>
                  </a:lnTo>
                  <a:lnTo>
                    <a:pt x="688" y="147"/>
                  </a:lnTo>
                  <a:lnTo>
                    <a:pt x="690" y="143"/>
                  </a:lnTo>
                  <a:lnTo>
                    <a:pt x="690" y="143"/>
                  </a:lnTo>
                  <a:lnTo>
                    <a:pt x="690" y="140"/>
                  </a:lnTo>
                  <a:lnTo>
                    <a:pt x="688" y="139"/>
                  </a:lnTo>
                  <a:close/>
                  <a:moveTo>
                    <a:pt x="688" y="124"/>
                  </a:moveTo>
                  <a:lnTo>
                    <a:pt x="688" y="124"/>
                  </a:lnTo>
                  <a:lnTo>
                    <a:pt x="688" y="128"/>
                  </a:lnTo>
                  <a:lnTo>
                    <a:pt x="688" y="128"/>
                  </a:lnTo>
                  <a:lnTo>
                    <a:pt x="688" y="134"/>
                  </a:lnTo>
                  <a:lnTo>
                    <a:pt x="690" y="134"/>
                  </a:lnTo>
                  <a:lnTo>
                    <a:pt x="690" y="134"/>
                  </a:lnTo>
                  <a:lnTo>
                    <a:pt x="690" y="128"/>
                  </a:lnTo>
                  <a:lnTo>
                    <a:pt x="690" y="128"/>
                  </a:lnTo>
                  <a:lnTo>
                    <a:pt x="691" y="124"/>
                  </a:lnTo>
                  <a:lnTo>
                    <a:pt x="688" y="124"/>
                  </a:lnTo>
                  <a:close/>
                  <a:moveTo>
                    <a:pt x="703" y="118"/>
                  </a:moveTo>
                  <a:lnTo>
                    <a:pt x="703" y="118"/>
                  </a:lnTo>
                  <a:lnTo>
                    <a:pt x="692" y="120"/>
                  </a:lnTo>
                  <a:lnTo>
                    <a:pt x="694" y="123"/>
                  </a:lnTo>
                  <a:lnTo>
                    <a:pt x="694" y="123"/>
                  </a:lnTo>
                  <a:lnTo>
                    <a:pt x="704" y="121"/>
                  </a:lnTo>
                  <a:lnTo>
                    <a:pt x="703" y="118"/>
                  </a:lnTo>
                  <a:close/>
                  <a:moveTo>
                    <a:pt x="719" y="117"/>
                  </a:moveTo>
                  <a:lnTo>
                    <a:pt x="717" y="117"/>
                  </a:lnTo>
                  <a:lnTo>
                    <a:pt x="717" y="117"/>
                  </a:lnTo>
                  <a:lnTo>
                    <a:pt x="708" y="118"/>
                  </a:lnTo>
                  <a:lnTo>
                    <a:pt x="708" y="121"/>
                  </a:lnTo>
                  <a:lnTo>
                    <a:pt x="708" y="121"/>
                  </a:lnTo>
                  <a:lnTo>
                    <a:pt x="717" y="120"/>
                  </a:lnTo>
                  <a:lnTo>
                    <a:pt x="717" y="120"/>
                  </a:lnTo>
                  <a:lnTo>
                    <a:pt x="719" y="120"/>
                  </a:lnTo>
                  <a:lnTo>
                    <a:pt x="719" y="117"/>
                  </a:lnTo>
                  <a:close/>
                  <a:moveTo>
                    <a:pt x="733" y="114"/>
                  </a:moveTo>
                  <a:lnTo>
                    <a:pt x="733" y="114"/>
                  </a:lnTo>
                  <a:lnTo>
                    <a:pt x="723" y="117"/>
                  </a:lnTo>
                  <a:lnTo>
                    <a:pt x="724" y="118"/>
                  </a:lnTo>
                  <a:lnTo>
                    <a:pt x="724" y="118"/>
                  </a:lnTo>
                  <a:lnTo>
                    <a:pt x="733" y="115"/>
                  </a:lnTo>
                  <a:lnTo>
                    <a:pt x="733" y="114"/>
                  </a:lnTo>
                  <a:close/>
                  <a:moveTo>
                    <a:pt x="748" y="110"/>
                  </a:moveTo>
                  <a:lnTo>
                    <a:pt x="748" y="110"/>
                  </a:lnTo>
                  <a:lnTo>
                    <a:pt x="748" y="110"/>
                  </a:lnTo>
                  <a:lnTo>
                    <a:pt x="737" y="113"/>
                  </a:lnTo>
                  <a:lnTo>
                    <a:pt x="739" y="115"/>
                  </a:lnTo>
                  <a:lnTo>
                    <a:pt x="739" y="115"/>
                  </a:lnTo>
                  <a:lnTo>
                    <a:pt x="748" y="113"/>
                  </a:lnTo>
                  <a:lnTo>
                    <a:pt x="749" y="113"/>
                  </a:lnTo>
                  <a:lnTo>
                    <a:pt x="748" y="110"/>
                  </a:lnTo>
                  <a:close/>
                  <a:moveTo>
                    <a:pt x="763" y="113"/>
                  </a:moveTo>
                  <a:lnTo>
                    <a:pt x="763" y="113"/>
                  </a:lnTo>
                  <a:lnTo>
                    <a:pt x="758" y="110"/>
                  </a:lnTo>
                  <a:lnTo>
                    <a:pt x="753" y="110"/>
                  </a:lnTo>
                  <a:lnTo>
                    <a:pt x="753" y="111"/>
                  </a:lnTo>
                  <a:lnTo>
                    <a:pt x="753" y="111"/>
                  </a:lnTo>
                  <a:lnTo>
                    <a:pt x="758" y="113"/>
                  </a:lnTo>
                  <a:lnTo>
                    <a:pt x="762" y="115"/>
                  </a:lnTo>
                  <a:lnTo>
                    <a:pt x="763" y="113"/>
                  </a:lnTo>
                  <a:close/>
                  <a:moveTo>
                    <a:pt x="776" y="117"/>
                  </a:moveTo>
                  <a:lnTo>
                    <a:pt x="776" y="117"/>
                  </a:lnTo>
                  <a:lnTo>
                    <a:pt x="768" y="115"/>
                  </a:lnTo>
                  <a:lnTo>
                    <a:pt x="766" y="117"/>
                  </a:lnTo>
                  <a:lnTo>
                    <a:pt x="766" y="117"/>
                  </a:lnTo>
                  <a:lnTo>
                    <a:pt x="772" y="118"/>
                  </a:lnTo>
                  <a:lnTo>
                    <a:pt x="776" y="120"/>
                  </a:lnTo>
                  <a:lnTo>
                    <a:pt x="776" y="117"/>
                  </a:lnTo>
                  <a:close/>
                  <a:moveTo>
                    <a:pt x="791" y="126"/>
                  </a:moveTo>
                  <a:lnTo>
                    <a:pt x="791" y="126"/>
                  </a:lnTo>
                  <a:lnTo>
                    <a:pt x="782" y="120"/>
                  </a:lnTo>
                  <a:lnTo>
                    <a:pt x="782" y="120"/>
                  </a:lnTo>
                  <a:lnTo>
                    <a:pt x="781" y="121"/>
                  </a:lnTo>
                  <a:lnTo>
                    <a:pt x="782" y="123"/>
                  </a:lnTo>
                  <a:lnTo>
                    <a:pt x="782" y="123"/>
                  </a:lnTo>
                  <a:lnTo>
                    <a:pt x="788" y="128"/>
                  </a:lnTo>
                  <a:lnTo>
                    <a:pt x="791" y="126"/>
                  </a:lnTo>
                  <a:close/>
                  <a:moveTo>
                    <a:pt x="803" y="134"/>
                  </a:moveTo>
                  <a:lnTo>
                    <a:pt x="803" y="134"/>
                  </a:lnTo>
                  <a:lnTo>
                    <a:pt x="794" y="128"/>
                  </a:lnTo>
                  <a:lnTo>
                    <a:pt x="792" y="131"/>
                  </a:lnTo>
                  <a:lnTo>
                    <a:pt x="792" y="131"/>
                  </a:lnTo>
                  <a:lnTo>
                    <a:pt x="801" y="137"/>
                  </a:lnTo>
                  <a:lnTo>
                    <a:pt x="803" y="134"/>
                  </a:lnTo>
                  <a:close/>
                  <a:moveTo>
                    <a:pt x="816" y="136"/>
                  </a:moveTo>
                  <a:lnTo>
                    <a:pt x="816" y="136"/>
                  </a:lnTo>
                  <a:lnTo>
                    <a:pt x="811" y="137"/>
                  </a:lnTo>
                  <a:lnTo>
                    <a:pt x="811" y="137"/>
                  </a:lnTo>
                  <a:lnTo>
                    <a:pt x="808" y="137"/>
                  </a:lnTo>
                  <a:lnTo>
                    <a:pt x="808" y="137"/>
                  </a:lnTo>
                  <a:lnTo>
                    <a:pt x="807" y="137"/>
                  </a:lnTo>
                  <a:lnTo>
                    <a:pt x="805" y="139"/>
                  </a:lnTo>
                  <a:lnTo>
                    <a:pt x="805" y="139"/>
                  </a:lnTo>
                  <a:lnTo>
                    <a:pt x="808" y="140"/>
                  </a:lnTo>
                  <a:lnTo>
                    <a:pt x="808" y="140"/>
                  </a:lnTo>
                  <a:lnTo>
                    <a:pt x="811" y="140"/>
                  </a:lnTo>
                  <a:lnTo>
                    <a:pt x="811" y="140"/>
                  </a:lnTo>
                  <a:lnTo>
                    <a:pt x="817" y="139"/>
                  </a:lnTo>
                  <a:lnTo>
                    <a:pt x="816" y="136"/>
                  </a:lnTo>
                  <a:close/>
                  <a:moveTo>
                    <a:pt x="826" y="127"/>
                  </a:moveTo>
                  <a:lnTo>
                    <a:pt x="826" y="127"/>
                  </a:lnTo>
                  <a:lnTo>
                    <a:pt x="823" y="130"/>
                  </a:lnTo>
                  <a:lnTo>
                    <a:pt x="820" y="134"/>
                  </a:lnTo>
                  <a:lnTo>
                    <a:pt x="821" y="136"/>
                  </a:lnTo>
                  <a:lnTo>
                    <a:pt x="821" y="136"/>
                  </a:lnTo>
                  <a:lnTo>
                    <a:pt x="826" y="131"/>
                  </a:lnTo>
                  <a:lnTo>
                    <a:pt x="827" y="127"/>
                  </a:lnTo>
                  <a:lnTo>
                    <a:pt x="826" y="127"/>
                  </a:lnTo>
                  <a:close/>
                  <a:moveTo>
                    <a:pt x="827" y="113"/>
                  </a:moveTo>
                  <a:lnTo>
                    <a:pt x="827" y="113"/>
                  </a:lnTo>
                  <a:lnTo>
                    <a:pt x="826" y="117"/>
                  </a:lnTo>
                  <a:lnTo>
                    <a:pt x="826" y="117"/>
                  </a:lnTo>
                  <a:lnTo>
                    <a:pt x="826" y="118"/>
                  </a:lnTo>
                  <a:lnTo>
                    <a:pt x="826" y="118"/>
                  </a:lnTo>
                  <a:lnTo>
                    <a:pt x="827" y="120"/>
                  </a:lnTo>
                  <a:lnTo>
                    <a:pt x="827" y="120"/>
                  </a:lnTo>
                  <a:lnTo>
                    <a:pt x="827" y="121"/>
                  </a:lnTo>
                  <a:lnTo>
                    <a:pt x="827" y="121"/>
                  </a:lnTo>
                  <a:lnTo>
                    <a:pt x="827" y="121"/>
                  </a:lnTo>
                  <a:lnTo>
                    <a:pt x="830" y="123"/>
                  </a:lnTo>
                  <a:lnTo>
                    <a:pt x="830" y="123"/>
                  </a:lnTo>
                  <a:lnTo>
                    <a:pt x="830" y="121"/>
                  </a:lnTo>
                  <a:lnTo>
                    <a:pt x="830" y="121"/>
                  </a:lnTo>
                  <a:lnTo>
                    <a:pt x="829" y="118"/>
                  </a:lnTo>
                  <a:lnTo>
                    <a:pt x="829" y="118"/>
                  </a:lnTo>
                  <a:lnTo>
                    <a:pt x="827" y="117"/>
                  </a:lnTo>
                  <a:lnTo>
                    <a:pt x="827" y="117"/>
                  </a:lnTo>
                  <a:lnTo>
                    <a:pt x="827" y="117"/>
                  </a:lnTo>
                  <a:lnTo>
                    <a:pt x="827" y="117"/>
                  </a:lnTo>
                  <a:lnTo>
                    <a:pt x="827" y="117"/>
                  </a:lnTo>
                  <a:lnTo>
                    <a:pt x="827" y="117"/>
                  </a:lnTo>
                  <a:lnTo>
                    <a:pt x="827" y="117"/>
                  </a:lnTo>
                  <a:lnTo>
                    <a:pt x="827" y="117"/>
                  </a:lnTo>
                  <a:lnTo>
                    <a:pt x="827" y="117"/>
                  </a:lnTo>
                  <a:lnTo>
                    <a:pt x="827" y="117"/>
                  </a:lnTo>
                  <a:lnTo>
                    <a:pt x="827" y="117"/>
                  </a:lnTo>
                  <a:lnTo>
                    <a:pt x="827" y="117"/>
                  </a:lnTo>
                  <a:lnTo>
                    <a:pt x="827" y="117"/>
                  </a:lnTo>
                  <a:lnTo>
                    <a:pt x="827" y="117"/>
                  </a:lnTo>
                  <a:lnTo>
                    <a:pt x="827" y="117"/>
                  </a:lnTo>
                  <a:lnTo>
                    <a:pt x="829" y="114"/>
                  </a:lnTo>
                  <a:lnTo>
                    <a:pt x="827" y="113"/>
                  </a:lnTo>
                  <a:close/>
                  <a:moveTo>
                    <a:pt x="834" y="100"/>
                  </a:moveTo>
                  <a:lnTo>
                    <a:pt x="834" y="100"/>
                  </a:lnTo>
                  <a:lnTo>
                    <a:pt x="829" y="108"/>
                  </a:lnTo>
                  <a:lnTo>
                    <a:pt x="832" y="110"/>
                  </a:lnTo>
                  <a:lnTo>
                    <a:pt x="832" y="110"/>
                  </a:lnTo>
                  <a:lnTo>
                    <a:pt x="836" y="101"/>
                  </a:lnTo>
                  <a:lnTo>
                    <a:pt x="834" y="100"/>
                  </a:lnTo>
                  <a:close/>
                  <a:moveTo>
                    <a:pt x="840" y="86"/>
                  </a:moveTo>
                  <a:lnTo>
                    <a:pt x="840" y="88"/>
                  </a:lnTo>
                  <a:lnTo>
                    <a:pt x="840" y="88"/>
                  </a:lnTo>
                  <a:lnTo>
                    <a:pt x="840" y="88"/>
                  </a:lnTo>
                  <a:lnTo>
                    <a:pt x="840" y="89"/>
                  </a:lnTo>
                  <a:lnTo>
                    <a:pt x="840" y="89"/>
                  </a:lnTo>
                  <a:lnTo>
                    <a:pt x="840" y="92"/>
                  </a:lnTo>
                  <a:lnTo>
                    <a:pt x="840" y="92"/>
                  </a:lnTo>
                  <a:lnTo>
                    <a:pt x="837" y="95"/>
                  </a:lnTo>
                  <a:lnTo>
                    <a:pt x="839" y="97"/>
                  </a:lnTo>
                  <a:lnTo>
                    <a:pt x="839" y="97"/>
                  </a:lnTo>
                  <a:lnTo>
                    <a:pt x="843" y="92"/>
                  </a:lnTo>
                  <a:lnTo>
                    <a:pt x="843" y="92"/>
                  </a:lnTo>
                  <a:lnTo>
                    <a:pt x="843" y="89"/>
                  </a:lnTo>
                  <a:lnTo>
                    <a:pt x="843" y="89"/>
                  </a:lnTo>
                  <a:lnTo>
                    <a:pt x="843" y="88"/>
                  </a:lnTo>
                  <a:lnTo>
                    <a:pt x="843" y="86"/>
                  </a:lnTo>
                  <a:lnTo>
                    <a:pt x="840" y="86"/>
                  </a:lnTo>
                  <a:close/>
                  <a:moveTo>
                    <a:pt x="855" y="89"/>
                  </a:moveTo>
                  <a:lnTo>
                    <a:pt x="855" y="89"/>
                  </a:lnTo>
                  <a:lnTo>
                    <a:pt x="849" y="86"/>
                  </a:lnTo>
                  <a:lnTo>
                    <a:pt x="849" y="86"/>
                  </a:lnTo>
                  <a:lnTo>
                    <a:pt x="846" y="85"/>
                  </a:lnTo>
                  <a:lnTo>
                    <a:pt x="845" y="88"/>
                  </a:lnTo>
                  <a:lnTo>
                    <a:pt x="845" y="88"/>
                  </a:lnTo>
                  <a:lnTo>
                    <a:pt x="847" y="89"/>
                  </a:lnTo>
                  <a:lnTo>
                    <a:pt x="847" y="89"/>
                  </a:lnTo>
                  <a:lnTo>
                    <a:pt x="855" y="92"/>
                  </a:lnTo>
                  <a:lnTo>
                    <a:pt x="855" y="89"/>
                  </a:lnTo>
                  <a:close/>
                  <a:moveTo>
                    <a:pt x="869" y="95"/>
                  </a:moveTo>
                  <a:lnTo>
                    <a:pt x="869" y="95"/>
                  </a:lnTo>
                  <a:lnTo>
                    <a:pt x="861" y="91"/>
                  </a:lnTo>
                  <a:lnTo>
                    <a:pt x="859" y="94"/>
                  </a:lnTo>
                  <a:lnTo>
                    <a:pt x="859" y="94"/>
                  </a:lnTo>
                  <a:lnTo>
                    <a:pt x="869" y="97"/>
                  </a:lnTo>
                  <a:lnTo>
                    <a:pt x="869" y="95"/>
                  </a:lnTo>
                  <a:close/>
                  <a:moveTo>
                    <a:pt x="884" y="100"/>
                  </a:moveTo>
                  <a:lnTo>
                    <a:pt x="884" y="100"/>
                  </a:lnTo>
                  <a:lnTo>
                    <a:pt x="879" y="98"/>
                  </a:lnTo>
                  <a:lnTo>
                    <a:pt x="875" y="97"/>
                  </a:lnTo>
                  <a:lnTo>
                    <a:pt x="874" y="98"/>
                  </a:lnTo>
                  <a:lnTo>
                    <a:pt x="874" y="98"/>
                  </a:lnTo>
                  <a:lnTo>
                    <a:pt x="878" y="100"/>
                  </a:lnTo>
                  <a:lnTo>
                    <a:pt x="882" y="102"/>
                  </a:lnTo>
                  <a:lnTo>
                    <a:pt x="884" y="100"/>
                  </a:lnTo>
                  <a:close/>
                  <a:moveTo>
                    <a:pt x="891" y="114"/>
                  </a:moveTo>
                  <a:lnTo>
                    <a:pt x="891" y="114"/>
                  </a:lnTo>
                  <a:lnTo>
                    <a:pt x="889" y="108"/>
                  </a:lnTo>
                  <a:lnTo>
                    <a:pt x="889" y="108"/>
                  </a:lnTo>
                  <a:lnTo>
                    <a:pt x="888" y="104"/>
                  </a:lnTo>
                  <a:lnTo>
                    <a:pt x="887" y="105"/>
                  </a:lnTo>
                  <a:lnTo>
                    <a:pt x="887" y="105"/>
                  </a:lnTo>
                  <a:lnTo>
                    <a:pt x="888" y="110"/>
                  </a:lnTo>
                  <a:lnTo>
                    <a:pt x="888" y="110"/>
                  </a:lnTo>
                  <a:lnTo>
                    <a:pt x="889" y="115"/>
                  </a:lnTo>
                  <a:lnTo>
                    <a:pt x="891" y="114"/>
                  </a:lnTo>
                  <a:close/>
                  <a:moveTo>
                    <a:pt x="901" y="124"/>
                  </a:moveTo>
                  <a:lnTo>
                    <a:pt x="901" y="124"/>
                  </a:lnTo>
                  <a:lnTo>
                    <a:pt x="894" y="118"/>
                  </a:lnTo>
                  <a:lnTo>
                    <a:pt x="892" y="120"/>
                  </a:lnTo>
                  <a:lnTo>
                    <a:pt x="892" y="120"/>
                  </a:lnTo>
                  <a:lnTo>
                    <a:pt x="900" y="126"/>
                  </a:lnTo>
                  <a:lnTo>
                    <a:pt x="901" y="124"/>
                  </a:lnTo>
                  <a:close/>
                  <a:moveTo>
                    <a:pt x="916" y="128"/>
                  </a:moveTo>
                  <a:lnTo>
                    <a:pt x="916" y="128"/>
                  </a:lnTo>
                  <a:lnTo>
                    <a:pt x="913" y="128"/>
                  </a:lnTo>
                  <a:lnTo>
                    <a:pt x="913" y="128"/>
                  </a:lnTo>
                  <a:lnTo>
                    <a:pt x="905" y="127"/>
                  </a:lnTo>
                  <a:lnTo>
                    <a:pt x="904" y="128"/>
                  </a:lnTo>
                  <a:lnTo>
                    <a:pt x="904" y="128"/>
                  </a:lnTo>
                  <a:lnTo>
                    <a:pt x="911" y="131"/>
                  </a:lnTo>
                  <a:lnTo>
                    <a:pt x="911" y="131"/>
                  </a:lnTo>
                  <a:lnTo>
                    <a:pt x="914" y="131"/>
                  </a:lnTo>
                  <a:lnTo>
                    <a:pt x="916" y="128"/>
                  </a:lnTo>
                  <a:close/>
                  <a:moveTo>
                    <a:pt x="930" y="128"/>
                  </a:moveTo>
                  <a:lnTo>
                    <a:pt x="930" y="128"/>
                  </a:lnTo>
                  <a:lnTo>
                    <a:pt x="921" y="128"/>
                  </a:lnTo>
                  <a:lnTo>
                    <a:pt x="920" y="128"/>
                  </a:lnTo>
                  <a:lnTo>
                    <a:pt x="920" y="131"/>
                  </a:lnTo>
                  <a:lnTo>
                    <a:pt x="921" y="131"/>
                  </a:lnTo>
                  <a:lnTo>
                    <a:pt x="921" y="131"/>
                  </a:lnTo>
                  <a:lnTo>
                    <a:pt x="930" y="131"/>
                  </a:lnTo>
                  <a:lnTo>
                    <a:pt x="930" y="128"/>
                  </a:lnTo>
                  <a:close/>
                  <a:moveTo>
                    <a:pt x="945" y="126"/>
                  </a:moveTo>
                  <a:lnTo>
                    <a:pt x="945" y="126"/>
                  </a:lnTo>
                  <a:lnTo>
                    <a:pt x="945" y="126"/>
                  </a:lnTo>
                  <a:lnTo>
                    <a:pt x="934" y="127"/>
                  </a:lnTo>
                  <a:lnTo>
                    <a:pt x="936" y="130"/>
                  </a:lnTo>
                  <a:lnTo>
                    <a:pt x="936" y="130"/>
                  </a:lnTo>
                  <a:lnTo>
                    <a:pt x="945" y="127"/>
                  </a:lnTo>
                  <a:lnTo>
                    <a:pt x="946" y="127"/>
                  </a:lnTo>
                  <a:lnTo>
                    <a:pt x="945" y="126"/>
                  </a:lnTo>
                  <a:close/>
                  <a:moveTo>
                    <a:pt x="960" y="127"/>
                  </a:moveTo>
                  <a:lnTo>
                    <a:pt x="960" y="127"/>
                  </a:lnTo>
                  <a:lnTo>
                    <a:pt x="956" y="124"/>
                  </a:lnTo>
                  <a:lnTo>
                    <a:pt x="950" y="124"/>
                  </a:lnTo>
                  <a:lnTo>
                    <a:pt x="950" y="124"/>
                  </a:lnTo>
                  <a:lnTo>
                    <a:pt x="950" y="127"/>
                  </a:lnTo>
                  <a:lnTo>
                    <a:pt x="950" y="127"/>
                  </a:lnTo>
                  <a:lnTo>
                    <a:pt x="950" y="127"/>
                  </a:lnTo>
                  <a:lnTo>
                    <a:pt x="955" y="127"/>
                  </a:lnTo>
                  <a:lnTo>
                    <a:pt x="959" y="128"/>
                  </a:lnTo>
                  <a:lnTo>
                    <a:pt x="960" y="127"/>
                  </a:lnTo>
                  <a:close/>
                  <a:moveTo>
                    <a:pt x="972" y="136"/>
                  </a:moveTo>
                  <a:lnTo>
                    <a:pt x="972" y="136"/>
                  </a:lnTo>
                  <a:lnTo>
                    <a:pt x="968" y="133"/>
                  </a:lnTo>
                  <a:lnTo>
                    <a:pt x="963" y="130"/>
                  </a:lnTo>
                  <a:lnTo>
                    <a:pt x="962" y="133"/>
                  </a:lnTo>
                  <a:lnTo>
                    <a:pt x="962" y="133"/>
                  </a:lnTo>
                  <a:lnTo>
                    <a:pt x="966" y="136"/>
                  </a:lnTo>
                  <a:lnTo>
                    <a:pt x="971" y="139"/>
                  </a:lnTo>
                  <a:lnTo>
                    <a:pt x="972" y="136"/>
                  </a:lnTo>
                  <a:close/>
                  <a:moveTo>
                    <a:pt x="987" y="142"/>
                  </a:moveTo>
                  <a:lnTo>
                    <a:pt x="987" y="142"/>
                  </a:lnTo>
                  <a:lnTo>
                    <a:pt x="976" y="137"/>
                  </a:lnTo>
                  <a:lnTo>
                    <a:pt x="976" y="137"/>
                  </a:lnTo>
                  <a:lnTo>
                    <a:pt x="976" y="140"/>
                  </a:lnTo>
                  <a:lnTo>
                    <a:pt x="976" y="140"/>
                  </a:lnTo>
                  <a:lnTo>
                    <a:pt x="976" y="140"/>
                  </a:lnTo>
                  <a:lnTo>
                    <a:pt x="985" y="143"/>
                  </a:lnTo>
                  <a:lnTo>
                    <a:pt x="987" y="142"/>
                  </a:lnTo>
                  <a:close/>
                  <a:moveTo>
                    <a:pt x="1000" y="147"/>
                  </a:moveTo>
                  <a:lnTo>
                    <a:pt x="1000" y="147"/>
                  </a:lnTo>
                  <a:lnTo>
                    <a:pt x="991" y="143"/>
                  </a:lnTo>
                  <a:lnTo>
                    <a:pt x="989" y="146"/>
                  </a:lnTo>
                  <a:lnTo>
                    <a:pt x="989" y="146"/>
                  </a:lnTo>
                  <a:lnTo>
                    <a:pt x="1000" y="150"/>
                  </a:lnTo>
                  <a:lnTo>
                    <a:pt x="1000" y="147"/>
                  </a:lnTo>
                  <a:close/>
                  <a:moveTo>
                    <a:pt x="1014" y="152"/>
                  </a:moveTo>
                  <a:lnTo>
                    <a:pt x="1014" y="152"/>
                  </a:lnTo>
                  <a:lnTo>
                    <a:pt x="1005" y="149"/>
                  </a:lnTo>
                  <a:lnTo>
                    <a:pt x="1004" y="152"/>
                  </a:lnTo>
                  <a:lnTo>
                    <a:pt x="1004" y="152"/>
                  </a:lnTo>
                  <a:lnTo>
                    <a:pt x="1014" y="155"/>
                  </a:lnTo>
                  <a:lnTo>
                    <a:pt x="1014" y="152"/>
                  </a:lnTo>
                  <a:close/>
                  <a:moveTo>
                    <a:pt x="1029" y="155"/>
                  </a:moveTo>
                  <a:lnTo>
                    <a:pt x="1029" y="155"/>
                  </a:lnTo>
                  <a:lnTo>
                    <a:pt x="1027" y="155"/>
                  </a:lnTo>
                  <a:lnTo>
                    <a:pt x="1027" y="155"/>
                  </a:lnTo>
                  <a:lnTo>
                    <a:pt x="1020" y="153"/>
                  </a:lnTo>
                  <a:lnTo>
                    <a:pt x="1018" y="156"/>
                  </a:lnTo>
                  <a:lnTo>
                    <a:pt x="1018" y="156"/>
                  </a:lnTo>
                  <a:lnTo>
                    <a:pt x="1027" y="157"/>
                  </a:lnTo>
                  <a:lnTo>
                    <a:pt x="1027" y="157"/>
                  </a:lnTo>
                  <a:lnTo>
                    <a:pt x="1030" y="156"/>
                  </a:lnTo>
                  <a:lnTo>
                    <a:pt x="1029" y="155"/>
                  </a:lnTo>
                  <a:close/>
                  <a:moveTo>
                    <a:pt x="1043" y="149"/>
                  </a:moveTo>
                  <a:lnTo>
                    <a:pt x="1042" y="149"/>
                  </a:lnTo>
                  <a:lnTo>
                    <a:pt x="1042" y="149"/>
                  </a:lnTo>
                  <a:lnTo>
                    <a:pt x="1033" y="152"/>
                  </a:lnTo>
                  <a:lnTo>
                    <a:pt x="1034" y="155"/>
                  </a:lnTo>
                  <a:lnTo>
                    <a:pt x="1034" y="155"/>
                  </a:lnTo>
                  <a:lnTo>
                    <a:pt x="1043" y="150"/>
                  </a:lnTo>
                  <a:lnTo>
                    <a:pt x="1043" y="150"/>
                  </a:lnTo>
                  <a:lnTo>
                    <a:pt x="1043" y="149"/>
                  </a:lnTo>
                  <a:close/>
                  <a:moveTo>
                    <a:pt x="1056" y="143"/>
                  </a:moveTo>
                  <a:lnTo>
                    <a:pt x="1056" y="143"/>
                  </a:lnTo>
                  <a:lnTo>
                    <a:pt x="1047" y="146"/>
                  </a:lnTo>
                  <a:lnTo>
                    <a:pt x="1049" y="149"/>
                  </a:lnTo>
                  <a:lnTo>
                    <a:pt x="1049" y="149"/>
                  </a:lnTo>
                  <a:lnTo>
                    <a:pt x="1057" y="144"/>
                  </a:lnTo>
                  <a:lnTo>
                    <a:pt x="1056" y="143"/>
                  </a:lnTo>
                  <a:close/>
                  <a:moveTo>
                    <a:pt x="1071" y="136"/>
                  </a:moveTo>
                  <a:lnTo>
                    <a:pt x="1071" y="136"/>
                  </a:lnTo>
                  <a:lnTo>
                    <a:pt x="1062" y="140"/>
                  </a:lnTo>
                  <a:lnTo>
                    <a:pt x="1062" y="143"/>
                  </a:lnTo>
                  <a:lnTo>
                    <a:pt x="1062" y="143"/>
                  </a:lnTo>
                  <a:lnTo>
                    <a:pt x="1072" y="139"/>
                  </a:lnTo>
                  <a:lnTo>
                    <a:pt x="1071" y="136"/>
                  </a:lnTo>
                  <a:close/>
                  <a:moveTo>
                    <a:pt x="1084" y="128"/>
                  </a:moveTo>
                  <a:lnTo>
                    <a:pt x="1084" y="128"/>
                  </a:lnTo>
                  <a:lnTo>
                    <a:pt x="1078" y="133"/>
                  </a:lnTo>
                  <a:lnTo>
                    <a:pt x="1078" y="133"/>
                  </a:lnTo>
                  <a:lnTo>
                    <a:pt x="1075" y="134"/>
                  </a:lnTo>
                  <a:lnTo>
                    <a:pt x="1076" y="136"/>
                  </a:lnTo>
                  <a:lnTo>
                    <a:pt x="1076" y="136"/>
                  </a:lnTo>
                  <a:lnTo>
                    <a:pt x="1079" y="134"/>
                  </a:lnTo>
                  <a:lnTo>
                    <a:pt x="1079" y="134"/>
                  </a:lnTo>
                  <a:lnTo>
                    <a:pt x="1085" y="131"/>
                  </a:lnTo>
                  <a:lnTo>
                    <a:pt x="1084" y="128"/>
                  </a:lnTo>
                  <a:close/>
                  <a:moveTo>
                    <a:pt x="1098" y="134"/>
                  </a:moveTo>
                  <a:lnTo>
                    <a:pt x="1098" y="134"/>
                  </a:lnTo>
                  <a:lnTo>
                    <a:pt x="1092" y="133"/>
                  </a:lnTo>
                  <a:lnTo>
                    <a:pt x="1092" y="133"/>
                  </a:lnTo>
                  <a:lnTo>
                    <a:pt x="1089" y="131"/>
                  </a:lnTo>
                  <a:lnTo>
                    <a:pt x="1088" y="133"/>
                  </a:lnTo>
                  <a:lnTo>
                    <a:pt x="1088" y="133"/>
                  </a:lnTo>
                  <a:lnTo>
                    <a:pt x="1091" y="134"/>
                  </a:lnTo>
                  <a:lnTo>
                    <a:pt x="1091" y="134"/>
                  </a:lnTo>
                  <a:lnTo>
                    <a:pt x="1098" y="137"/>
                  </a:lnTo>
                  <a:lnTo>
                    <a:pt x="1098" y="134"/>
                  </a:lnTo>
                  <a:close/>
                  <a:moveTo>
                    <a:pt x="1114" y="139"/>
                  </a:moveTo>
                  <a:lnTo>
                    <a:pt x="1114" y="139"/>
                  </a:lnTo>
                  <a:lnTo>
                    <a:pt x="1104" y="136"/>
                  </a:lnTo>
                  <a:lnTo>
                    <a:pt x="1102" y="139"/>
                  </a:lnTo>
                  <a:lnTo>
                    <a:pt x="1102" y="139"/>
                  </a:lnTo>
                  <a:lnTo>
                    <a:pt x="1113" y="140"/>
                  </a:lnTo>
                  <a:lnTo>
                    <a:pt x="1114" y="139"/>
                  </a:lnTo>
                  <a:close/>
                  <a:moveTo>
                    <a:pt x="1128" y="142"/>
                  </a:moveTo>
                  <a:lnTo>
                    <a:pt x="1128" y="142"/>
                  </a:lnTo>
                  <a:lnTo>
                    <a:pt x="1118" y="139"/>
                  </a:lnTo>
                  <a:lnTo>
                    <a:pt x="1118" y="142"/>
                  </a:lnTo>
                  <a:lnTo>
                    <a:pt x="1118" y="142"/>
                  </a:lnTo>
                  <a:lnTo>
                    <a:pt x="1128" y="143"/>
                  </a:lnTo>
                  <a:lnTo>
                    <a:pt x="1128" y="142"/>
                  </a:lnTo>
                  <a:close/>
                  <a:moveTo>
                    <a:pt x="1143" y="142"/>
                  </a:moveTo>
                  <a:lnTo>
                    <a:pt x="1141" y="142"/>
                  </a:lnTo>
                  <a:lnTo>
                    <a:pt x="1141" y="142"/>
                  </a:lnTo>
                  <a:lnTo>
                    <a:pt x="1140" y="142"/>
                  </a:lnTo>
                  <a:lnTo>
                    <a:pt x="1140" y="142"/>
                  </a:lnTo>
                  <a:lnTo>
                    <a:pt x="1133" y="142"/>
                  </a:lnTo>
                  <a:lnTo>
                    <a:pt x="1133" y="144"/>
                  </a:lnTo>
                  <a:lnTo>
                    <a:pt x="1133" y="144"/>
                  </a:lnTo>
                  <a:lnTo>
                    <a:pt x="1140" y="144"/>
                  </a:lnTo>
                  <a:lnTo>
                    <a:pt x="1140" y="144"/>
                  </a:lnTo>
                  <a:lnTo>
                    <a:pt x="1143" y="144"/>
                  </a:lnTo>
                  <a:lnTo>
                    <a:pt x="1144" y="144"/>
                  </a:lnTo>
                  <a:lnTo>
                    <a:pt x="1143" y="142"/>
                  </a:lnTo>
                  <a:close/>
                  <a:moveTo>
                    <a:pt x="1155" y="133"/>
                  </a:moveTo>
                  <a:lnTo>
                    <a:pt x="1155" y="133"/>
                  </a:lnTo>
                  <a:lnTo>
                    <a:pt x="1147" y="139"/>
                  </a:lnTo>
                  <a:lnTo>
                    <a:pt x="1149" y="142"/>
                  </a:lnTo>
                  <a:lnTo>
                    <a:pt x="1149" y="142"/>
                  </a:lnTo>
                  <a:lnTo>
                    <a:pt x="1156" y="134"/>
                  </a:lnTo>
                  <a:lnTo>
                    <a:pt x="1155" y="133"/>
                  </a:lnTo>
                  <a:close/>
                  <a:moveTo>
                    <a:pt x="1160" y="120"/>
                  </a:moveTo>
                  <a:lnTo>
                    <a:pt x="1160" y="120"/>
                  </a:lnTo>
                  <a:lnTo>
                    <a:pt x="1159" y="126"/>
                  </a:lnTo>
                  <a:lnTo>
                    <a:pt x="1159" y="126"/>
                  </a:lnTo>
                  <a:lnTo>
                    <a:pt x="1157" y="130"/>
                  </a:lnTo>
                  <a:lnTo>
                    <a:pt x="1160" y="131"/>
                  </a:lnTo>
                  <a:lnTo>
                    <a:pt x="1160" y="131"/>
                  </a:lnTo>
                  <a:lnTo>
                    <a:pt x="1162" y="127"/>
                  </a:lnTo>
                  <a:lnTo>
                    <a:pt x="1162" y="127"/>
                  </a:lnTo>
                  <a:lnTo>
                    <a:pt x="1163" y="121"/>
                  </a:lnTo>
                  <a:lnTo>
                    <a:pt x="1160" y="120"/>
                  </a:lnTo>
                  <a:close/>
                  <a:moveTo>
                    <a:pt x="1166" y="105"/>
                  </a:moveTo>
                  <a:lnTo>
                    <a:pt x="1166" y="105"/>
                  </a:lnTo>
                  <a:lnTo>
                    <a:pt x="1162" y="113"/>
                  </a:lnTo>
                  <a:lnTo>
                    <a:pt x="1162" y="113"/>
                  </a:lnTo>
                  <a:lnTo>
                    <a:pt x="1162" y="115"/>
                  </a:lnTo>
                  <a:lnTo>
                    <a:pt x="1165" y="115"/>
                  </a:lnTo>
                  <a:lnTo>
                    <a:pt x="1165" y="115"/>
                  </a:lnTo>
                  <a:lnTo>
                    <a:pt x="1165" y="114"/>
                  </a:lnTo>
                  <a:lnTo>
                    <a:pt x="1165" y="114"/>
                  </a:lnTo>
                  <a:lnTo>
                    <a:pt x="1168" y="107"/>
                  </a:lnTo>
                  <a:lnTo>
                    <a:pt x="1166" y="105"/>
                  </a:lnTo>
                  <a:close/>
                  <a:moveTo>
                    <a:pt x="1175" y="92"/>
                  </a:moveTo>
                  <a:lnTo>
                    <a:pt x="1175" y="92"/>
                  </a:lnTo>
                  <a:lnTo>
                    <a:pt x="1169" y="101"/>
                  </a:lnTo>
                  <a:lnTo>
                    <a:pt x="1170" y="102"/>
                  </a:lnTo>
                  <a:lnTo>
                    <a:pt x="1170" y="102"/>
                  </a:lnTo>
                  <a:lnTo>
                    <a:pt x="1176" y="94"/>
                  </a:lnTo>
                  <a:lnTo>
                    <a:pt x="1175" y="92"/>
                  </a:lnTo>
                  <a:close/>
                  <a:moveTo>
                    <a:pt x="1173" y="81"/>
                  </a:moveTo>
                  <a:lnTo>
                    <a:pt x="1173" y="81"/>
                  </a:lnTo>
                  <a:lnTo>
                    <a:pt x="1172" y="85"/>
                  </a:lnTo>
                  <a:lnTo>
                    <a:pt x="1172" y="85"/>
                  </a:lnTo>
                  <a:lnTo>
                    <a:pt x="1173" y="86"/>
                  </a:lnTo>
                  <a:lnTo>
                    <a:pt x="1173" y="88"/>
                  </a:lnTo>
                  <a:lnTo>
                    <a:pt x="1173" y="88"/>
                  </a:lnTo>
                  <a:lnTo>
                    <a:pt x="1176" y="89"/>
                  </a:lnTo>
                  <a:lnTo>
                    <a:pt x="1176" y="89"/>
                  </a:lnTo>
                  <a:lnTo>
                    <a:pt x="1176" y="89"/>
                  </a:lnTo>
                  <a:lnTo>
                    <a:pt x="1176" y="89"/>
                  </a:lnTo>
                  <a:lnTo>
                    <a:pt x="1176" y="89"/>
                  </a:lnTo>
                  <a:lnTo>
                    <a:pt x="1176" y="89"/>
                  </a:lnTo>
                  <a:lnTo>
                    <a:pt x="1176" y="89"/>
                  </a:lnTo>
                  <a:lnTo>
                    <a:pt x="1176" y="89"/>
                  </a:lnTo>
                  <a:lnTo>
                    <a:pt x="1179" y="88"/>
                  </a:lnTo>
                  <a:lnTo>
                    <a:pt x="1179" y="88"/>
                  </a:lnTo>
                  <a:lnTo>
                    <a:pt x="1178" y="88"/>
                  </a:lnTo>
                  <a:lnTo>
                    <a:pt x="1178" y="88"/>
                  </a:lnTo>
                  <a:lnTo>
                    <a:pt x="1175" y="86"/>
                  </a:lnTo>
                  <a:lnTo>
                    <a:pt x="1175" y="86"/>
                  </a:lnTo>
                  <a:lnTo>
                    <a:pt x="1175" y="85"/>
                  </a:lnTo>
                  <a:lnTo>
                    <a:pt x="1175" y="85"/>
                  </a:lnTo>
                  <a:lnTo>
                    <a:pt x="1176" y="81"/>
                  </a:lnTo>
                  <a:lnTo>
                    <a:pt x="1173" y="81"/>
                  </a:lnTo>
                  <a:close/>
                  <a:moveTo>
                    <a:pt x="1173" y="69"/>
                  </a:moveTo>
                  <a:lnTo>
                    <a:pt x="1173" y="69"/>
                  </a:lnTo>
                  <a:lnTo>
                    <a:pt x="1175" y="69"/>
                  </a:lnTo>
                  <a:lnTo>
                    <a:pt x="1175" y="69"/>
                  </a:lnTo>
                  <a:lnTo>
                    <a:pt x="1175" y="72"/>
                  </a:lnTo>
                  <a:lnTo>
                    <a:pt x="1175" y="72"/>
                  </a:lnTo>
                  <a:lnTo>
                    <a:pt x="1175" y="75"/>
                  </a:lnTo>
                  <a:lnTo>
                    <a:pt x="1178" y="76"/>
                  </a:lnTo>
                  <a:lnTo>
                    <a:pt x="1178" y="76"/>
                  </a:lnTo>
                  <a:lnTo>
                    <a:pt x="1178" y="72"/>
                  </a:lnTo>
                  <a:lnTo>
                    <a:pt x="1178" y="72"/>
                  </a:lnTo>
                  <a:lnTo>
                    <a:pt x="1176" y="68"/>
                  </a:lnTo>
                  <a:lnTo>
                    <a:pt x="1176" y="68"/>
                  </a:lnTo>
                  <a:lnTo>
                    <a:pt x="1175" y="66"/>
                  </a:lnTo>
                  <a:lnTo>
                    <a:pt x="1173" y="69"/>
                  </a:lnTo>
                  <a:close/>
                  <a:moveTo>
                    <a:pt x="1169" y="56"/>
                  </a:moveTo>
                  <a:lnTo>
                    <a:pt x="1169" y="56"/>
                  </a:lnTo>
                  <a:lnTo>
                    <a:pt x="1168" y="59"/>
                  </a:lnTo>
                  <a:lnTo>
                    <a:pt x="1166" y="63"/>
                  </a:lnTo>
                  <a:lnTo>
                    <a:pt x="1166" y="63"/>
                  </a:lnTo>
                  <a:lnTo>
                    <a:pt x="1168" y="66"/>
                  </a:lnTo>
                  <a:lnTo>
                    <a:pt x="1169" y="66"/>
                  </a:lnTo>
                  <a:lnTo>
                    <a:pt x="1169" y="63"/>
                  </a:lnTo>
                  <a:lnTo>
                    <a:pt x="1169" y="63"/>
                  </a:lnTo>
                  <a:lnTo>
                    <a:pt x="1169" y="63"/>
                  </a:lnTo>
                  <a:lnTo>
                    <a:pt x="1169" y="63"/>
                  </a:lnTo>
                  <a:lnTo>
                    <a:pt x="1172" y="57"/>
                  </a:lnTo>
                  <a:lnTo>
                    <a:pt x="1169" y="56"/>
                  </a:lnTo>
                  <a:close/>
                  <a:moveTo>
                    <a:pt x="1181" y="44"/>
                  </a:moveTo>
                  <a:lnTo>
                    <a:pt x="1181" y="44"/>
                  </a:lnTo>
                  <a:lnTo>
                    <a:pt x="1173" y="52"/>
                  </a:lnTo>
                  <a:lnTo>
                    <a:pt x="1175" y="53"/>
                  </a:lnTo>
                  <a:lnTo>
                    <a:pt x="1175" y="53"/>
                  </a:lnTo>
                  <a:lnTo>
                    <a:pt x="1182" y="47"/>
                  </a:lnTo>
                  <a:lnTo>
                    <a:pt x="1181" y="44"/>
                  </a:lnTo>
                  <a:close/>
                  <a:moveTo>
                    <a:pt x="1197" y="42"/>
                  </a:moveTo>
                  <a:lnTo>
                    <a:pt x="1197" y="42"/>
                  </a:lnTo>
                  <a:lnTo>
                    <a:pt x="1186" y="43"/>
                  </a:lnTo>
                  <a:lnTo>
                    <a:pt x="1186" y="46"/>
                  </a:lnTo>
                  <a:lnTo>
                    <a:pt x="1186" y="46"/>
                  </a:lnTo>
                  <a:lnTo>
                    <a:pt x="1197" y="44"/>
                  </a:lnTo>
                  <a:lnTo>
                    <a:pt x="1197" y="42"/>
                  </a:lnTo>
                  <a:close/>
                  <a:moveTo>
                    <a:pt x="1211" y="40"/>
                  </a:moveTo>
                  <a:lnTo>
                    <a:pt x="1211" y="40"/>
                  </a:lnTo>
                  <a:lnTo>
                    <a:pt x="1201" y="42"/>
                  </a:lnTo>
                  <a:lnTo>
                    <a:pt x="1201" y="43"/>
                  </a:lnTo>
                  <a:lnTo>
                    <a:pt x="1201" y="43"/>
                  </a:lnTo>
                  <a:lnTo>
                    <a:pt x="1211" y="43"/>
                  </a:lnTo>
                  <a:lnTo>
                    <a:pt x="1211" y="40"/>
                  </a:lnTo>
                  <a:close/>
                  <a:moveTo>
                    <a:pt x="1227" y="39"/>
                  </a:moveTo>
                  <a:lnTo>
                    <a:pt x="1227" y="39"/>
                  </a:lnTo>
                  <a:lnTo>
                    <a:pt x="1217" y="39"/>
                  </a:lnTo>
                  <a:lnTo>
                    <a:pt x="1217" y="42"/>
                  </a:lnTo>
                  <a:lnTo>
                    <a:pt x="1217" y="42"/>
                  </a:lnTo>
                  <a:lnTo>
                    <a:pt x="1227" y="42"/>
                  </a:lnTo>
                  <a:lnTo>
                    <a:pt x="1227" y="39"/>
                  </a:lnTo>
                  <a:close/>
                  <a:moveTo>
                    <a:pt x="1241" y="43"/>
                  </a:moveTo>
                  <a:lnTo>
                    <a:pt x="1241" y="43"/>
                  </a:lnTo>
                  <a:lnTo>
                    <a:pt x="1233" y="39"/>
                  </a:lnTo>
                  <a:lnTo>
                    <a:pt x="1231" y="42"/>
                  </a:lnTo>
                  <a:lnTo>
                    <a:pt x="1231" y="42"/>
                  </a:lnTo>
                  <a:lnTo>
                    <a:pt x="1241" y="44"/>
                  </a:lnTo>
                  <a:lnTo>
                    <a:pt x="1241" y="43"/>
                  </a:lnTo>
                  <a:close/>
                  <a:moveTo>
                    <a:pt x="1256" y="44"/>
                  </a:moveTo>
                  <a:lnTo>
                    <a:pt x="1256" y="44"/>
                  </a:lnTo>
                  <a:lnTo>
                    <a:pt x="1254" y="43"/>
                  </a:lnTo>
                  <a:lnTo>
                    <a:pt x="1254" y="43"/>
                  </a:lnTo>
                  <a:lnTo>
                    <a:pt x="1247" y="44"/>
                  </a:lnTo>
                  <a:lnTo>
                    <a:pt x="1246" y="44"/>
                  </a:lnTo>
                  <a:lnTo>
                    <a:pt x="1246" y="47"/>
                  </a:lnTo>
                  <a:lnTo>
                    <a:pt x="1246" y="47"/>
                  </a:lnTo>
                  <a:lnTo>
                    <a:pt x="1247" y="47"/>
                  </a:lnTo>
                  <a:lnTo>
                    <a:pt x="1247" y="47"/>
                  </a:lnTo>
                  <a:lnTo>
                    <a:pt x="1254" y="46"/>
                  </a:lnTo>
                  <a:lnTo>
                    <a:pt x="1254" y="46"/>
                  </a:lnTo>
                  <a:lnTo>
                    <a:pt x="1256" y="46"/>
                  </a:lnTo>
                  <a:lnTo>
                    <a:pt x="1256" y="44"/>
                  </a:lnTo>
                  <a:close/>
                  <a:moveTo>
                    <a:pt x="1267" y="55"/>
                  </a:moveTo>
                  <a:lnTo>
                    <a:pt x="1267" y="55"/>
                  </a:lnTo>
                  <a:lnTo>
                    <a:pt x="1262" y="46"/>
                  </a:lnTo>
                  <a:lnTo>
                    <a:pt x="1260" y="47"/>
                  </a:lnTo>
                  <a:lnTo>
                    <a:pt x="1260" y="47"/>
                  </a:lnTo>
                  <a:lnTo>
                    <a:pt x="1266" y="56"/>
                  </a:lnTo>
                  <a:lnTo>
                    <a:pt x="1267" y="55"/>
                  </a:lnTo>
                  <a:close/>
                  <a:moveTo>
                    <a:pt x="1276" y="68"/>
                  </a:moveTo>
                  <a:lnTo>
                    <a:pt x="1276" y="68"/>
                  </a:lnTo>
                  <a:lnTo>
                    <a:pt x="1270" y="59"/>
                  </a:lnTo>
                  <a:lnTo>
                    <a:pt x="1269" y="60"/>
                  </a:lnTo>
                  <a:lnTo>
                    <a:pt x="1269" y="60"/>
                  </a:lnTo>
                  <a:lnTo>
                    <a:pt x="1273" y="69"/>
                  </a:lnTo>
                  <a:lnTo>
                    <a:pt x="1276" y="68"/>
                  </a:lnTo>
                  <a:close/>
                  <a:moveTo>
                    <a:pt x="1283" y="81"/>
                  </a:moveTo>
                  <a:lnTo>
                    <a:pt x="1283" y="81"/>
                  </a:lnTo>
                  <a:lnTo>
                    <a:pt x="1279" y="72"/>
                  </a:lnTo>
                  <a:lnTo>
                    <a:pt x="1276" y="73"/>
                  </a:lnTo>
                  <a:lnTo>
                    <a:pt x="1276" y="73"/>
                  </a:lnTo>
                  <a:lnTo>
                    <a:pt x="1282" y="82"/>
                  </a:lnTo>
                  <a:lnTo>
                    <a:pt x="1283" y="81"/>
                  </a:lnTo>
                  <a:close/>
                  <a:moveTo>
                    <a:pt x="1292" y="94"/>
                  </a:moveTo>
                  <a:lnTo>
                    <a:pt x="1292" y="94"/>
                  </a:lnTo>
                  <a:lnTo>
                    <a:pt x="1289" y="91"/>
                  </a:lnTo>
                  <a:lnTo>
                    <a:pt x="1289" y="91"/>
                  </a:lnTo>
                  <a:lnTo>
                    <a:pt x="1286" y="85"/>
                  </a:lnTo>
                  <a:lnTo>
                    <a:pt x="1283" y="86"/>
                  </a:lnTo>
                  <a:lnTo>
                    <a:pt x="1283" y="86"/>
                  </a:lnTo>
                  <a:lnTo>
                    <a:pt x="1288" y="92"/>
                  </a:lnTo>
                  <a:lnTo>
                    <a:pt x="1288" y="92"/>
                  </a:lnTo>
                  <a:lnTo>
                    <a:pt x="1289" y="95"/>
                  </a:lnTo>
                  <a:lnTo>
                    <a:pt x="1292" y="94"/>
                  </a:lnTo>
                  <a:close/>
                  <a:moveTo>
                    <a:pt x="1294" y="108"/>
                  </a:moveTo>
                  <a:lnTo>
                    <a:pt x="1294" y="108"/>
                  </a:lnTo>
                  <a:lnTo>
                    <a:pt x="1292" y="104"/>
                  </a:lnTo>
                  <a:lnTo>
                    <a:pt x="1292" y="104"/>
                  </a:lnTo>
                  <a:lnTo>
                    <a:pt x="1292" y="104"/>
                  </a:lnTo>
                  <a:lnTo>
                    <a:pt x="1292" y="104"/>
                  </a:lnTo>
                  <a:lnTo>
                    <a:pt x="1292" y="100"/>
                  </a:lnTo>
                  <a:lnTo>
                    <a:pt x="1289" y="100"/>
                  </a:lnTo>
                  <a:lnTo>
                    <a:pt x="1289" y="100"/>
                  </a:lnTo>
                  <a:lnTo>
                    <a:pt x="1289" y="104"/>
                  </a:lnTo>
                  <a:lnTo>
                    <a:pt x="1289" y="104"/>
                  </a:lnTo>
                  <a:lnTo>
                    <a:pt x="1289" y="104"/>
                  </a:lnTo>
                  <a:lnTo>
                    <a:pt x="1289" y="104"/>
                  </a:lnTo>
                  <a:lnTo>
                    <a:pt x="1291" y="110"/>
                  </a:lnTo>
                  <a:lnTo>
                    <a:pt x="1294" y="108"/>
                  </a:lnTo>
                  <a:close/>
                  <a:moveTo>
                    <a:pt x="1299" y="123"/>
                  </a:moveTo>
                  <a:lnTo>
                    <a:pt x="1299" y="123"/>
                  </a:lnTo>
                  <a:lnTo>
                    <a:pt x="1295" y="113"/>
                  </a:lnTo>
                  <a:lnTo>
                    <a:pt x="1294" y="114"/>
                  </a:lnTo>
                  <a:lnTo>
                    <a:pt x="1294" y="114"/>
                  </a:lnTo>
                  <a:lnTo>
                    <a:pt x="1296" y="123"/>
                  </a:lnTo>
                  <a:lnTo>
                    <a:pt x="1299" y="123"/>
                  </a:lnTo>
                  <a:close/>
                  <a:moveTo>
                    <a:pt x="1304" y="134"/>
                  </a:moveTo>
                  <a:lnTo>
                    <a:pt x="1304" y="134"/>
                  </a:lnTo>
                  <a:lnTo>
                    <a:pt x="1301" y="133"/>
                  </a:lnTo>
                  <a:lnTo>
                    <a:pt x="1301" y="133"/>
                  </a:lnTo>
                  <a:lnTo>
                    <a:pt x="1301" y="130"/>
                  </a:lnTo>
                  <a:lnTo>
                    <a:pt x="1301" y="130"/>
                  </a:lnTo>
                  <a:lnTo>
                    <a:pt x="1301" y="128"/>
                  </a:lnTo>
                  <a:lnTo>
                    <a:pt x="1301" y="128"/>
                  </a:lnTo>
                  <a:lnTo>
                    <a:pt x="1301" y="128"/>
                  </a:lnTo>
                  <a:lnTo>
                    <a:pt x="1301" y="128"/>
                  </a:lnTo>
                  <a:lnTo>
                    <a:pt x="1301" y="127"/>
                  </a:lnTo>
                  <a:lnTo>
                    <a:pt x="1298" y="127"/>
                  </a:lnTo>
                  <a:lnTo>
                    <a:pt x="1298" y="128"/>
                  </a:lnTo>
                  <a:lnTo>
                    <a:pt x="1298" y="128"/>
                  </a:lnTo>
                  <a:lnTo>
                    <a:pt x="1298" y="128"/>
                  </a:lnTo>
                  <a:lnTo>
                    <a:pt x="1298" y="130"/>
                  </a:lnTo>
                  <a:lnTo>
                    <a:pt x="1298" y="130"/>
                  </a:lnTo>
                  <a:lnTo>
                    <a:pt x="1299" y="134"/>
                  </a:lnTo>
                  <a:lnTo>
                    <a:pt x="1299" y="134"/>
                  </a:lnTo>
                  <a:lnTo>
                    <a:pt x="1302" y="137"/>
                  </a:lnTo>
                  <a:lnTo>
                    <a:pt x="1304" y="134"/>
                  </a:lnTo>
                  <a:close/>
                  <a:moveTo>
                    <a:pt x="1318" y="140"/>
                  </a:moveTo>
                  <a:lnTo>
                    <a:pt x="1318" y="140"/>
                  </a:lnTo>
                  <a:lnTo>
                    <a:pt x="1309" y="137"/>
                  </a:lnTo>
                  <a:lnTo>
                    <a:pt x="1309" y="137"/>
                  </a:lnTo>
                  <a:lnTo>
                    <a:pt x="1308" y="136"/>
                  </a:lnTo>
                  <a:lnTo>
                    <a:pt x="1308" y="139"/>
                  </a:lnTo>
                  <a:lnTo>
                    <a:pt x="1309" y="139"/>
                  </a:lnTo>
                  <a:lnTo>
                    <a:pt x="1309" y="139"/>
                  </a:lnTo>
                  <a:lnTo>
                    <a:pt x="1317" y="143"/>
                  </a:lnTo>
                  <a:lnTo>
                    <a:pt x="1318" y="140"/>
                  </a:lnTo>
                  <a:close/>
                  <a:moveTo>
                    <a:pt x="1331" y="149"/>
                  </a:moveTo>
                  <a:lnTo>
                    <a:pt x="1331" y="149"/>
                  </a:lnTo>
                  <a:lnTo>
                    <a:pt x="1331" y="149"/>
                  </a:lnTo>
                  <a:lnTo>
                    <a:pt x="1323" y="143"/>
                  </a:lnTo>
                  <a:lnTo>
                    <a:pt x="1321" y="146"/>
                  </a:lnTo>
                  <a:lnTo>
                    <a:pt x="1321" y="146"/>
                  </a:lnTo>
                  <a:lnTo>
                    <a:pt x="1330" y="150"/>
                  </a:lnTo>
                  <a:lnTo>
                    <a:pt x="1330" y="150"/>
                  </a:lnTo>
                  <a:lnTo>
                    <a:pt x="1331" y="149"/>
                  </a:lnTo>
                  <a:close/>
                  <a:moveTo>
                    <a:pt x="1343" y="159"/>
                  </a:moveTo>
                  <a:lnTo>
                    <a:pt x="1343" y="159"/>
                  </a:lnTo>
                  <a:lnTo>
                    <a:pt x="1336" y="152"/>
                  </a:lnTo>
                  <a:lnTo>
                    <a:pt x="1333" y="155"/>
                  </a:lnTo>
                  <a:lnTo>
                    <a:pt x="1333" y="155"/>
                  </a:lnTo>
                  <a:lnTo>
                    <a:pt x="1341" y="160"/>
                  </a:lnTo>
                  <a:lnTo>
                    <a:pt x="1343" y="159"/>
                  </a:lnTo>
                  <a:close/>
                  <a:moveTo>
                    <a:pt x="1353" y="170"/>
                  </a:moveTo>
                  <a:lnTo>
                    <a:pt x="1353" y="170"/>
                  </a:lnTo>
                  <a:lnTo>
                    <a:pt x="1351" y="166"/>
                  </a:lnTo>
                  <a:lnTo>
                    <a:pt x="1350" y="163"/>
                  </a:lnTo>
                  <a:lnTo>
                    <a:pt x="1350" y="163"/>
                  </a:lnTo>
                  <a:lnTo>
                    <a:pt x="1347" y="162"/>
                  </a:lnTo>
                  <a:lnTo>
                    <a:pt x="1346" y="163"/>
                  </a:lnTo>
                  <a:lnTo>
                    <a:pt x="1346" y="163"/>
                  </a:lnTo>
                  <a:lnTo>
                    <a:pt x="1349" y="165"/>
                  </a:lnTo>
                  <a:lnTo>
                    <a:pt x="1349" y="165"/>
                  </a:lnTo>
                  <a:lnTo>
                    <a:pt x="1349" y="168"/>
                  </a:lnTo>
                  <a:lnTo>
                    <a:pt x="1350" y="170"/>
                  </a:lnTo>
                  <a:lnTo>
                    <a:pt x="1353" y="170"/>
                  </a:lnTo>
                  <a:close/>
                  <a:moveTo>
                    <a:pt x="1356" y="184"/>
                  </a:moveTo>
                  <a:lnTo>
                    <a:pt x="1356" y="184"/>
                  </a:lnTo>
                  <a:lnTo>
                    <a:pt x="1353" y="181"/>
                  </a:lnTo>
                  <a:lnTo>
                    <a:pt x="1353" y="181"/>
                  </a:lnTo>
                  <a:lnTo>
                    <a:pt x="1353" y="176"/>
                  </a:lnTo>
                  <a:lnTo>
                    <a:pt x="1350" y="176"/>
                  </a:lnTo>
                  <a:lnTo>
                    <a:pt x="1350" y="176"/>
                  </a:lnTo>
                  <a:lnTo>
                    <a:pt x="1350" y="181"/>
                  </a:lnTo>
                  <a:lnTo>
                    <a:pt x="1350" y="181"/>
                  </a:lnTo>
                  <a:lnTo>
                    <a:pt x="1351" y="184"/>
                  </a:lnTo>
                  <a:lnTo>
                    <a:pt x="1354" y="185"/>
                  </a:lnTo>
                  <a:lnTo>
                    <a:pt x="1356" y="184"/>
                  </a:lnTo>
                  <a:close/>
                  <a:moveTo>
                    <a:pt x="1369" y="188"/>
                  </a:moveTo>
                  <a:lnTo>
                    <a:pt x="1369" y="188"/>
                  </a:lnTo>
                  <a:lnTo>
                    <a:pt x="1367" y="188"/>
                  </a:lnTo>
                  <a:lnTo>
                    <a:pt x="1367" y="188"/>
                  </a:lnTo>
                  <a:lnTo>
                    <a:pt x="1360" y="186"/>
                  </a:lnTo>
                  <a:lnTo>
                    <a:pt x="1359" y="188"/>
                  </a:lnTo>
                  <a:lnTo>
                    <a:pt x="1359" y="188"/>
                  </a:lnTo>
                  <a:lnTo>
                    <a:pt x="1363" y="191"/>
                  </a:lnTo>
                  <a:lnTo>
                    <a:pt x="1367" y="191"/>
                  </a:lnTo>
                  <a:lnTo>
                    <a:pt x="1367" y="191"/>
                  </a:lnTo>
                  <a:lnTo>
                    <a:pt x="1369" y="191"/>
                  </a:lnTo>
                  <a:lnTo>
                    <a:pt x="1369" y="188"/>
                  </a:lnTo>
                  <a:close/>
                  <a:moveTo>
                    <a:pt x="1382" y="182"/>
                  </a:moveTo>
                  <a:lnTo>
                    <a:pt x="1382" y="182"/>
                  </a:lnTo>
                  <a:lnTo>
                    <a:pt x="1373" y="186"/>
                  </a:lnTo>
                  <a:lnTo>
                    <a:pt x="1375" y="189"/>
                  </a:lnTo>
                  <a:lnTo>
                    <a:pt x="1375" y="189"/>
                  </a:lnTo>
                  <a:lnTo>
                    <a:pt x="1383" y="185"/>
                  </a:lnTo>
                  <a:lnTo>
                    <a:pt x="1382" y="182"/>
                  </a:lnTo>
                  <a:close/>
                  <a:moveTo>
                    <a:pt x="1398" y="178"/>
                  </a:moveTo>
                  <a:lnTo>
                    <a:pt x="1398" y="178"/>
                  </a:lnTo>
                  <a:lnTo>
                    <a:pt x="1393" y="179"/>
                  </a:lnTo>
                  <a:lnTo>
                    <a:pt x="1393" y="179"/>
                  </a:lnTo>
                  <a:lnTo>
                    <a:pt x="1388" y="181"/>
                  </a:lnTo>
                  <a:lnTo>
                    <a:pt x="1388" y="184"/>
                  </a:lnTo>
                  <a:lnTo>
                    <a:pt x="1388" y="184"/>
                  </a:lnTo>
                  <a:lnTo>
                    <a:pt x="1393" y="181"/>
                  </a:lnTo>
                  <a:lnTo>
                    <a:pt x="1393" y="181"/>
                  </a:lnTo>
                  <a:lnTo>
                    <a:pt x="1398" y="181"/>
                  </a:lnTo>
                  <a:lnTo>
                    <a:pt x="1398" y="178"/>
                  </a:lnTo>
                  <a:close/>
                  <a:moveTo>
                    <a:pt x="1411" y="175"/>
                  </a:moveTo>
                  <a:lnTo>
                    <a:pt x="1411" y="175"/>
                  </a:lnTo>
                  <a:lnTo>
                    <a:pt x="1402" y="178"/>
                  </a:lnTo>
                  <a:lnTo>
                    <a:pt x="1402" y="181"/>
                  </a:lnTo>
                  <a:lnTo>
                    <a:pt x="1402" y="181"/>
                  </a:lnTo>
                  <a:lnTo>
                    <a:pt x="1412" y="178"/>
                  </a:lnTo>
                  <a:lnTo>
                    <a:pt x="1411" y="175"/>
                  </a:lnTo>
                  <a:close/>
                  <a:moveTo>
                    <a:pt x="1412" y="189"/>
                  </a:moveTo>
                  <a:lnTo>
                    <a:pt x="1412" y="189"/>
                  </a:lnTo>
                  <a:lnTo>
                    <a:pt x="1415" y="179"/>
                  </a:lnTo>
                  <a:lnTo>
                    <a:pt x="1412" y="179"/>
                  </a:lnTo>
                  <a:lnTo>
                    <a:pt x="1412" y="179"/>
                  </a:lnTo>
                  <a:lnTo>
                    <a:pt x="1409" y="189"/>
                  </a:lnTo>
                  <a:lnTo>
                    <a:pt x="1412" y="189"/>
                  </a:lnTo>
                  <a:close/>
                  <a:moveTo>
                    <a:pt x="1408" y="204"/>
                  </a:moveTo>
                  <a:lnTo>
                    <a:pt x="1408" y="204"/>
                  </a:lnTo>
                  <a:lnTo>
                    <a:pt x="1409" y="198"/>
                  </a:lnTo>
                  <a:lnTo>
                    <a:pt x="1409" y="198"/>
                  </a:lnTo>
                  <a:lnTo>
                    <a:pt x="1411" y="194"/>
                  </a:lnTo>
                  <a:lnTo>
                    <a:pt x="1408" y="194"/>
                  </a:lnTo>
                  <a:lnTo>
                    <a:pt x="1408" y="194"/>
                  </a:lnTo>
                  <a:lnTo>
                    <a:pt x="1407" y="198"/>
                  </a:lnTo>
                  <a:lnTo>
                    <a:pt x="1407" y="198"/>
                  </a:lnTo>
                  <a:lnTo>
                    <a:pt x="1407" y="204"/>
                  </a:lnTo>
                  <a:lnTo>
                    <a:pt x="1408" y="204"/>
                  </a:lnTo>
                  <a:close/>
                  <a:moveTo>
                    <a:pt x="1407" y="220"/>
                  </a:moveTo>
                  <a:lnTo>
                    <a:pt x="1407" y="220"/>
                  </a:lnTo>
                  <a:lnTo>
                    <a:pt x="1408" y="210"/>
                  </a:lnTo>
                  <a:lnTo>
                    <a:pt x="1405" y="208"/>
                  </a:lnTo>
                  <a:lnTo>
                    <a:pt x="1405" y="208"/>
                  </a:lnTo>
                  <a:lnTo>
                    <a:pt x="1404" y="218"/>
                  </a:lnTo>
                  <a:lnTo>
                    <a:pt x="1407" y="220"/>
                  </a:lnTo>
                  <a:close/>
                  <a:moveTo>
                    <a:pt x="1401" y="234"/>
                  </a:moveTo>
                  <a:lnTo>
                    <a:pt x="1401" y="234"/>
                  </a:lnTo>
                  <a:lnTo>
                    <a:pt x="1404" y="228"/>
                  </a:lnTo>
                  <a:lnTo>
                    <a:pt x="1404" y="228"/>
                  </a:lnTo>
                  <a:lnTo>
                    <a:pt x="1405" y="224"/>
                  </a:lnTo>
                  <a:lnTo>
                    <a:pt x="1402" y="224"/>
                  </a:lnTo>
                  <a:lnTo>
                    <a:pt x="1402" y="224"/>
                  </a:lnTo>
                  <a:lnTo>
                    <a:pt x="1401" y="227"/>
                  </a:lnTo>
                  <a:lnTo>
                    <a:pt x="1401" y="227"/>
                  </a:lnTo>
                  <a:lnTo>
                    <a:pt x="1399" y="233"/>
                  </a:lnTo>
                  <a:lnTo>
                    <a:pt x="1401" y="234"/>
                  </a:lnTo>
                  <a:close/>
                  <a:moveTo>
                    <a:pt x="1393" y="247"/>
                  </a:moveTo>
                  <a:lnTo>
                    <a:pt x="1393" y="247"/>
                  </a:lnTo>
                  <a:lnTo>
                    <a:pt x="1398" y="239"/>
                  </a:lnTo>
                  <a:lnTo>
                    <a:pt x="1396" y="237"/>
                  </a:lnTo>
                  <a:lnTo>
                    <a:pt x="1396" y="237"/>
                  </a:lnTo>
                  <a:lnTo>
                    <a:pt x="1391" y="246"/>
                  </a:lnTo>
                  <a:lnTo>
                    <a:pt x="1393" y="247"/>
                  </a:lnTo>
                  <a:close/>
                  <a:moveTo>
                    <a:pt x="1380" y="256"/>
                  </a:moveTo>
                  <a:lnTo>
                    <a:pt x="1382" y="257"/>
                  </a:lnTo>
                  <a:lnTo>
                    <a:pt x="1382" y="257"/>
                  </a:lnTo>
                  <a:lnTo>
                    <a:pt x="1385" y="256"/>
                  </a:lnTo>
                  <a:lnTo>
                    <a:pt x="1385" y="256"/>
                  </a:lnTo>
                  <a:lnTo>
                    <a:pt x="1389" y="250"/>
                  </a:lnTo>
                  <a:lnTo>
                    <a:pt x="1388" y="249"/>
                  </a:lnTo>
                  <a:lnTo>
                    <a:pt x="1388" y="249"/>
                  </a:lnTo>
                  <a:lnTo>
                    <a:pt x="1383" y="253"/>
                  </a:lnTo>
                  <a:lnTo>
                    <a:pt x="1383" y="253"/>
                  </a:lnTo>
                  <a:lnTo>
                    <a:pt x="1382" y="254"/>
                  </a:lnTo>
                  <a:lnTo>
                    <a:pt x="1380" y="254"/>
                  </a:lnTo>
                  <a:lnTo>
                    <a:pt x="1380" y="256"/>
                  </a:lnTo>
                  <a:close/>
                  <a:moveTo>
                    <a:pt x="1366" y="256"/>
                  </a:moveTo>
                  <a:lnTo>
                    <a:pt x="1366" y="256"/>
                  </a:lnTo>
                  <a:lnTo>
                    <a:pt x="1369" y="254"/>
                  </a:lnTo>
                  <a:lnTo>
                    <a:pt x="1369" y="254"/>
                  </a:lnTo>
                  <a:lnTo>
                    <a:pt x="1370" y="254"/>
                  </a:lnTo>
                  <a:lnTo>
                    <a:pt x="1370" y="254"/>
                  </a:lnTo>
                  <a:lnTo>
                    <a:pt x="1375" y="256"/>
                  </a:lnTo>
                  <a:lnTo>
                    <a:pt x="1376" y="253"/>
                  </a:lnTo>
                  <a:lnTo>
                    <a:pt x="1376" y="253"/>
                  </a:lnTo>
                  <a:lnTo>
                    <a:pt x="1370" y="252"/>
                  </a:lnTo>
                  <a:lnTo>
                    <a:pt x="1370" y="252"/>
                  </a:lnTo>
                  <a:lnTo>
                    <a:pt x="1367" y="253"/>
                  </a:lnTo>
                  <a:lnTo>
                    <a:pt x="1367" y="253"/>
                  </a:lnTo>
                  <a:lnTo>
                    <a:pt x="1366" y="253"/>
                  </a:lnTo>
                  <a:lnTo>
                    <a:pt x="1366" y="256"/>
                  </a:lnTo>
                  <a:close/>
                  <a:moveTo>
                    <a:pt x="1359" y="265"/>
                  </a:moveTo>
                  <a:lnTo>
                    <a:pt x="1359" y="265"/>
                  </a:lnTo>
                  <a:lnTo>
                    <a:pt x="1359" y="263"/>
                  </a:lnTo>
                  <a:lnTo>
                    <a:pt x="1359" y="263"/>
                  </a:lnTo>
                  <a:lnTo>
                    <a:pt x="1359" y="262"/>
                  </a:lnTo>
                  <a:lnTo>
                    <a:pt x="1359" y="262"/>
                  </a:lnTo>
                  <a:lnTo>
                    <a:pt x="1362" y="259"/>
                  </a:lnTo>
                  <a:lnTo>
                    <a:pt x="1360" y="256"/>
                  </a:lnTo>
                  <a:lnTo>
                    <a:pt x="1360" y="256"/>
                  </a:lnTo>
                  <a:lnTo>
                    <a:pt x="1359" y="257"/>
                  </a:lnTo>
                  <a:lnTo>
                    <a:pt x="1356" y="260"/>
                  </a:lnTo>
                  <a:lnTo>
                    <a:pt x="1356" y="260"/>
                  </a:lnTo>
                  <a:lnTo>
                    <a:pt x="1356" y="263"/>
                  </a:lnTo>
                  <a:lnTo>
                    <a:pt x="1356" y="263"/>
                  </a:lnTo>
                  <a:lnTo>
                    <a:pt x="1356" y="266"/>
                  </a:lnTo>
                  <a:lnTo>
                    <a:pt x="1359" y="265"/>
                  </a:lnTo>
                  <a:close/>
                  <a:moveTo>
                    <a:pt x="1362" y="281"/>
                  </a:moveTo>
                  <a:lnTo>
                    <a:pt x="1362" y="281"/>
                  </a:lnTo>
                  <a:lnTo>
                    <a:pt x="1363" y="278"/>
                  </a:lnTo>
                  <a:lnTo>
                    <a:pt x="1363" y="278"/>
                  </a:lnTo>
                  <a:lnTo>
                    <a:pt x="1362" y="273"/>
                  </a:lnTo>
                  <a:lnTo>
                    <a:pt x="1362" y="273"/>
                  </a:lnTo>
                  <a:lnTo>
                    <a:pt x="1360" y="270"/>
                  </a:lnTo>
                  <a:lnTo>
                    <a:pt x="1357" y="270"/>
                  </a:lnTo>
                  <a:lnTo>
                    <a:pt x="1357" y="270"/>
                  </a:lnTo>
                  <a:lnTo>
                    <a:pt x="1359" y="275"/>
                  </a:lnTo>
                  <a:lnTo>
                    <a:pt x="1359" y="275"/>
                  </a:lnTo>
                  <a:lnTo>
                    <a:pt x="1360" y="278"/>
                  </a:lnTo>
                  <a:lnTo>
                    <a:pt x="1360" y="278"/>
                  </a:lnTo>
                  <a:lnTo>
                    <a:pt x="1360" y="279"/>
                  </a:lnTo>
                  <a:lnTo>
                    <a:pt x="1362" y="281"/>
                  </a:lnTo>
                  <a:close/>
                  <a:moveTo>
                    <a:pt x="1357" y="295"/>
                  </a:moveTo>
                  <a:lnTo>
                    <a:pt x="1357" y="295"/>
                  </a:lnTo>
                  <a:lnTo>
                    <a:pt x="1362" y="285"/>
                  </a:lnTo>
                  <a:lnTo>
                    <a:pt x="1359" y="285"/>
                  </a:lnTo>
                  <a:lnTo>
                    <a:pt x="1359" y="285"/>
                  </a:lnTo>
                  <a:lnTo>
                    <a:pt x="1354" y="294"/>
                  </a:lnTo>
                  <a:lnTo>
                    <a:pt x="1357" y="295"/>
                  </a:lnTo>
                  <a:close/>
                  <a:moveTo>
                    <a:pt x="1344" y="304"/>
                  </a:moveTo>
                  <a:lnTo>
                    <a:pt x="1344" y="304"/>
                  </a:lnTo>
                  <a:lnTo>
                    <a:pt x="1350" y="302"/>
                  </a:lnTo>
                  <a:lnTo>
                    <a:pt x="1350" y="302"/>
                  </a:lnTo>
                  <a:lnTo>
                    <a:pt x="1353" y="301"/>
                  </a:lnTo>
                  <a:lnTo>
                    <a:pt x="1354" y="299"/>
                  </a:lnTo>
                  <a:lnTo>
                    <a:pt x="1353" y="298"/>
                  </a:lnTo>
                  <a:lnTo>
                    <a:pt x="1353" y="298"/>
                  </a:lnTo>
                  <a:lnTo>
                    <a:pt x="1350" y="301"/>
                  </a:lnTo>
                  <a:lnTo>
                    <a:pt x="1350" y="301"/>
                  </a:lnTo>
                  <a:lnTo>
                    <a:pt x="1344" y="301"/>
                  </a:lnTo>
                  <a:lnTo>
                    <a:pt x="1344" y="304"/>
                  </a:lnTo>
                  <a:close/>
                  <a:moveTo>
                    <a:pt x="1331" y="308"/>
                  </a:moveTo>
                  <a:lnTo>
                    <a:pt x="1331" y="308"/>
                  </a:lnTo>
                  <a:lnTo>
                    <a:pt x="1336" y="305"/>
                  </a:lnTo>
                  <a:lnTo>
                    <a:pt x="1338" y="304"/>
                  </a:lnTo>
                  <a:lnTo>
                    <a:pt x="1338" y="304"/>
                  </a:lnTo>
                  <a:lnTo>
                    <a:pt x="1340" y="304"/>
                  </a:lnTo>
                  <a:lnTo>
                    <a:pt x="1340" y="301"/>
                  </a:lnTo>
                  <a:lnTo>
                    <a:pt x="1340" y="301"/>
                  </a:lnTo>
                  <a:lnTo>
                    <a:pt x="1337" y="302"/>
                  </a:lnTo>
                  <a:lnTo>
                    <a:pt x="1337" y="302"/>
                  </a:lnTo>
                  <a:lnTo>
                    <a:pt x="1334" y="304"/>
                  </a:lnTo>
                  <a:lnTo>
                    <a:pt x="1330" y="307"/>
                  </a:lnTo>
                  <a:lnTo>
                    <a:pt x="1331" y="308"/>
                  </a:lnTo>
                  <a:close/>
                  <a:moveTo>
                    <a:pt x="1321" y="320"/>
                  </a:moveTo>
                  <a:lnTo>
                    <a:pt x="1321" y="320"/>
                  </a:lnTo>
                  <a:lnTo>
                    <a:pt x="1323" y="318"/>
                  </a:lnTo>
                  <a:lnTo>
                    <a:pt x="1323" y="318"/>
                  </a:lnTo>
                  <a:lnTo>
                    <a:pt x="1328" y="311"/>
                  </a:lnTo>
                  <a:lnTo>
                    <a:pt x="1327" y="310"/>
                  </a:lnTo>
                  <a:lnTo>
                    <a:pt x="1327" y="310"/>
                  </a:lnTo>
                  <a:lnTo>
                    <a:pt x="1321" y="315"/>
                  </a:lnTo>
                  <a:lnTo>
                    <a:pt x="1320" y="317"/>
                  </a:lnTo>
                  <a:lnTo>
                    <a:pt x="1321" y="320"/>
                  </a:lnTo>
                  <a:close/>
                  <a:moveTo>
                    <a:pt x="1311" y="323"/>
                  </a:moveTo>
                  <a:lnTo>
                    <a:pt x="1311" y="323"/>
                  </a:lnTo>
                  <a:lnTo>
                    <a:pt x="1311" y="320"/>
                  </a:lnTo>
                  <a:lnTo>
                    <a:pt x="1311" y="320"/>
                  </a:lnTo>
                  <a:lnTo>
                    <a:pt x="1311" y="320"/>
                  </a:lnTo>
                  <a:lnTo>
                    <a:pt x="1311" y="320"/>
                  </a:lnTo>
                  <a:lnTo>
                    <a:pt x="1311" y="320"/>
                  </a:lnTo>
                  <a:lnTo>
                    <a:pt x="1311" y="320"/>
                  </a:lnTo>
                  <a:lnTo>
                    <a:pt x="1311" y="320"/>
                  </a:lnTo>
                  <a:lnTo>
                    <a:pt x="1311" y="320"/>
                  </a:lnTo>
                  <a:lnTo>
                    <a:pt x="1311" y="320"/>
                  </a:lnTo>
                  <a:lnTo>
                    <a:pt x="1315" y="320"/>
                  </a:lnTo>
                  <a:lnTo>
                    <a:pt x="1315" y="318"/>
                  </a:lnTo>
                  <a:lnTo>
                    <a:pt x="1315" y="318"/>
                  </a:lnTo>
                  <a:lnTo>
                    <a:pt x="1311" y="317"/>
                  </a:lnTo>
                  <a:lnTo>
                    <a:pt x="1311" y="317"/>
                  </a:lnTo>
                  <a:lnTo>
                    <a:pt x="1309" y="318"/>
                  </a:lnTo>
                  <a:lnTo>
                    <a:pt x="1309" y="318"/>
                  </a:lnTo>
                  <a:lnTo>
                    <a:pt x="1308" y="320"/>
                  </a:lnTo>
                  <a:lnTo>
                    <a:pt x="1308" y="320"/>
                  </a:lnTo>
                  <a:lnTo>
                    <a:pt x="1308" y="323"/>
                  </a:lnTo>
                  <a:lnTo>
                    <a:pt x="1311" y="323"/>
                  </a:lnTo>
                  <a:close/>
                  <a:moveTo>
                    <a:pt x="1301" y="334"/>
                  </a:moveTo>
                  <a:lnTo>
                    <a:pt x="1301" y="334"/>
                  </a:lnTo>
                  <a:lnTo>
                    <a:pt x="1302" y="334"/>
                  </a:lnTo>
                  <a:lnTo>
                    <a:pt x="1302" y="334"/>
                  </a:lnTo>
                  <a:lnTo>
                    <a:pt x="1304" y="334"/>
                  </a:lnTo>
                  <a:lnTo>
                    <a:pt x="1307" y="333"/>
                  </a:lnTo>
                  <a:lnTo>
                    <a:pt x="1307" y="333"/>
                  </a:lnTo>
                  <a:lnTo>
                    <a:pt x="1309" y="328"/>
                  </a:lnTo>
                  <a:lnTo>
                    <a:pt x="1308" y="327"/>
                  </a:lnTo>
                  <a:lnTo>
                    <a:pt x="1308" y="327"/>
                  </a:lnTo>
                  <a:lnTo>
                    <a:pt x="1305" y="330"/>
                  </a:lnTo>
                  <a:lnTo>
                    <a:pt x="1305" y="330"/>
                  </a:lnTo>
                  <a:lnTo>
                    <a:pt x="1302" y="331"/>
                  </a:lnTo>
                  <a:lnTo>
                    <a:pt x="1301" y="331"/>
                  </a:lnTo>
                  <a:lnTo>
                    <a:pt x="1301" y="334"/>
                  </a:lnTo>
                  <a:close/>
                  <a:moveTo>
                    <a:pt x="1288" y="333"/>
                  </a:moveTo>
                  <a:lnTo>
                    <a:pt x="1288" y="333"/>
                  </a:lnTo>
                  <a:lnTo>
                    <a:pt x="1289" y="331"/>
                  </a:lnTo>
                  <a:lnTo>
                    <a:pt x="1291" y="331"/>
                  </a:lnTo>
                  <a:lnTo>
                    <a:pt x="1292" y="331"/>
                  </a:lnTo>
                  <a:lnTo>
                    <a:pt x="1292" y="331"/>
                  </a:lnTo>
                  <a:lnTo>
                    <a:pt x="1295" y="331"/>
                  </a:lnTo>
                  <a:lnTo>
                    <a:pt x="1296" y="330"/>
                  </a:lnTo>
                  <a:lnTo>
                    <a:pt x="1296" y="330"/>
                  </a:lnTo>
                  <a:lnTo>
                    <a:pt x="1292" y="328"/>
                  </a:lnTo>
                  <a:lnTo>
                    <a:pt x="1291" y="328"/>
                  </a:lnTo>
                  <a:lnTo>
                    <a:pt x="1291" y="328"/>
                  </a:lnTo>
                  <a:lnTo>
                    <a:pt x="1288" y="330"/>
                  </a:lnTo>
                  <a:lnTo>
                    <a:pt x="1286" y="331"/>
                  </a:lnTo>
                  <a:lnTo>
                    <a:pt x="1288" y="333"/>
                  </a:lnTo>
                  <a:close/>
                  <a:moveTo>
                    <a:pt x="1278" y="344"/>
                  </a:moveTo>
                  <a:lnTo>
                    <a:pt x="1278" y="344"/>
                  </a:lnTo>
                  <a:lnTo>
                    <a:pt x="1282" y="340"/>
                  </a:lnTo>
                  <a:lnTo>
                    <a:pt x="1285" y="337"/>
                  </a:lnTo>
                  <a:lnTo>
                    <a:pt x="1283" y="336"/>
                  </a:lnTo>
                  <a:lnTo>
                    <a:pt x="1283" y="336"/>
                  </a:lnTo>
                  <a:lnTo>
                    <a:pt x="1276" y="343"/>
                  </a:lnTo>
                  <a:lnTo>
                    <a:pt x="1278" y="344"/>
                  </a:lnTo>
                  <a:close/>
                  <a:moveTo>
                    <a:pt x="1265" y="352"/>
                  </a:moveTo>
                  <a:lnTo>
                    <a:pt x="1266" y="352"/>
                  </a:lnTo>
                  <a:lnTo>
                    <a:pt x="1266" y="352"/>
                  </a:lnTo>
                  <a:lnTo>
                    <a:pt x="1273" y="347"/>
                  </a:lnTo>
                  <a:lnTo>
                    <a:pt x="1272" y="346"/>
                  </a:lnTo>
                  <a:lnTo>
                    <a:pt x="1272" y="346"/>
                  </a:lnTo>
                  <a:lnTo>
                    <a:pt x="1265" y="349"/>
                  </a:lnTo>
                  <a:lnTo>
                    <a:pt x="1263" y="350"/>
                  </a:lnTo>
                  <a:lnTo>
                    <a:pt x="1265" y="352"/>
                  </a:lnTo>
                  <a:close/>
                  <a:moveTo>
                    <a:pt x="1252" y="359"/>
                  </a:moveTo>
                  <a:lnTo>
                    <a:pt x="1252" y="359"/>
                  </a:lnTo>
                  <a:lnTo>
                    <a:pt x="1252" y="359"/>
                  </a:lnTo>
                  <a:lnTo>
                    <a:pt x="1256" y="356"/>
                  </a:lnTo>
                  <a:lnTo>
                    <a:pt x="1260" y="354"/>
                  </a:lnTo>
                  <a:lnTo>
                    <a:pt x="1259" y="352"/>
                  </a:lnTo>
                  <a:lnTo>
                    <a:pt x="1259" y="352"/>
                  </a:lnTo>
                  <a:lnTo>
                    <a:pt x="1254" y="353"/>
                  </a:lnTo>
                  <a:lnTo>
                    <a:pt x="1250" y="356"/>
                  </a:lnTo>
                  <a:lnTo>
                    <a:pt x="1250" y="357"/>
                  </a:lnTo>
                  <a:lnTo>
                    <a:pt x="1252" y="359"/>
                  </a:lnTo>
                  <a:close/>
                  <a:moveTo>
                    <a:pt x="1244" y="372"/>
                  </a:moveTo>
                  <a:lnTo>
                    <a:pt x="1244" y="372"/>
                  </a:lnTo>
                  <a:lnTo>
                    <a:pt x="1249" y="363"/>
                  </a:lnTo>
                  <a:lnTo>
                    <a:pt x="1247" y="362"/>
                  </a:lnTo>
                  <a:lnTo>
                    <a:pt x="1247" y="362"/>
                  </a:lnTo>
                  <a:lnTo>
                    <a:pt x="1241" y="370"/>
                  </a:lnTo>
                  <a:lnTo>
                    <a:pt x="1244" y="3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05" name="Freeform 1665"/>
            <p:cNvSpPr>
              <a:spLocks noEditPoints="1"/>
            </p:cNvSpPr>
            <p:nvPr/>
          </p:nvSpPr>
          <p:spPr bwMode="auto">
            <a:xfrm>
              <a:off x="6584951" y="3302429"/>
              <a:ext cx="784225" cy="292100"/>
            </a:xfrm>
            <a:custGeom>
              <a:avLst/>
              <a:gdLst>
                <a:gd name="T0" fmla="*/ 1 w 494"/>
                <a:gd name="T1" fmla="*/ 16 h 184"/>
                <a:gd name="T2" fmla="*/ 16 w 494"/>
                <a:gd name="T3" fmla="*/ 26 h 184"/>
                <a:gd name="T4" fmla="*/ 23 w 494"/>
                <a:gd name="T5" fmla="*/ 30 h 184"/>
                <a:gd name="T6" fmla="*/ 22 w 494"/>
                <a:gd name="T7" fmla="*/ 33 h 184"/>
                <a:gd name="T8" fmla="*/ 17 w 494"/>
                <a:gd name="T9" fmla="*/ 45 h 184"/>
                <a:gd name="T10" fmla="*/ 16 w 494"/>
                <a:gd name="T11" fmla="*/ 45 h 184"/>
                <a:gd name="T12" fmla="*/ 23 w 494"/>
                <a:gd name="T13" fmla="*/ 55 h 184"/>
                <a:gd name="T14" fmla="*/ 36 w 494"/>
                <a:gd name="T15" fmla="*/ 62 h 184"/>
                <a:gd name="T16" fmla="*/ 49 w 494"/>
                <a:gd name="T17" fmla="*/ 68 h 184"/>
                <a:gd name="T18" fmla="*/ 58 w 494"/>
                <a:gd name="T19" fmla="*/ 93 h 184"/>
                <a:gd name="T20" fmla="*/ 58 w 494"/>
                <a:gd name="T21" fmla="*/ 99 h 184"/>
                <a:gd name="T22" fmla="*/ 61 w 494"/>
                <a:gd name="T23" fmla="*/ 116 h 184"/>
                <a:gd name="T24" fmla="*/ 58 w 494"/>
                <a:gd name="T25" fmla="*/ 117 h 184"/>
                <a:gd name="T26" fmla="*/ 70 w 494"/>
                <a:gd name="T27" fmla="*/ 122 h 184"/>
                <a:gd name="T28" fmla="*/ 84 w 494"/>
                <a:gd name="T29" fmla="*/ 125 h 184"/>
                <a:gd name="T30" fmla="*/ 100 w 494"/>
                <a:gd name="T31" fmla="*/ 132 h 184"/>
                <a:gd name="T32" fmla="*/ 97 w 494"/>
                <a:gd name="T33" fmla="*/ 132 h 184"/>
                <a:gd name="T34" fmla="*/ 93 w 494"/>
                <a:gd name="T35" fmla="*/ 148 h 184"/>
                <a:gd name="T36" fmla="*/ 94 w 494"/>
                <a:gd name="T37" fmla="*/ 154 h 184"/>
                <a:gd name="T38" fmla="*/ 107 w 494"/>
                <a:gd name="T39" fmla="*/ 162 h 184"/>
                <a:gd name="T40" fmla="*/ 116 w 494"/>
                <a:gd name="T41" fmla="*/ 167 h 184"/>
                <a:gd name="T42" fmla="*/ 126 w 494"/>
                <a:gd name="T43" fmla="*/ 167 h 184"/>
                <a:gd name="T44" fmla="*/ 151 w 494"/>
                <a:gd name="T45" fmla="*/ 162 h 184"/>
                <a:gd name="T46" fmla="*/ 156 w 494"/>
                <a:gd name="T47" fmla="*/ 161 h 184"/>
                <a:gd name="T48" fmla="*/ 175 w 494"/>
                <a:gd name="T49" fmla="*/ 162 h 184"/>
                <a:gd name="T50" fmla="*/ 181 w 494"/>
                <a:gd name="T51" fmla="*/ 164 h 184"/>
                <a:gd name="T52" fmla="*/ 210 w 494"/>
                <a:gd name="T53" fmla="*/ 170 h 184"/>
                <a:gd name="T54" fmla="*/ 210 w 494"/>
                <a:gd name="T55" fmla="*/ 170 h 184"/>
                <a:gd name="T56" fmla="*/ 236 w 494"/>
                <a:gd name="T57" fmla="*/ 181 h 184"/>
                <a:gd name="T58" fmla="*/ 226 w 494"/>
                <a:gd name="T59" fmla="*/ 184 h 184"/>
                <a:gd name="T60" fmla="*/ 242 w 494"/>
                <a:gd name="T61" fmla="*/ 183 h 184"/>
                <a:gd name="T62" fmla="*/ 256 w 494"/>
                <a:gd name="T63" fmla="*/ 180 h 184"/>
                <a:gd name="T64" fmla="*/ 281 w 494"/>
                <a:gd name="T65" fmla="*/ 172 h 184"/>
                <a:gd name="T66" fmla="*/ 294 w 494"/>
                <a:gd name="T67" fmla="*/ 165 h 184"/>
                <a:gd name="T68" fmla="*/ 301 w 494"/>
                <a:gd name="T69" fmla="*/ 165 h 184"/>
                <a:gd name="T70" fmla="*/ 314 w 494"/>
                <a:gd name="T71" fmla="*/ 161 h 184"/>
                <a:gd name="T72" fmla="*/ 329 w 494"/>
                <a:gd name="T73" fmla="*/ 158 h 184"/>
                <a:gd name="T74" fmla="*/ 349 w 494"/>
                <a:gd name="T75" fmla="*/ 142 h 184"/>
                <a:gd name="T76" fmla="*/ 352 w 494"/>
                <a:gd name="T77" fmla="*/ 139 h 184"/>
                <a:gd name="T78" fmla="*/ 364 w 494"/>
                <a:gd name="T79" fmla="*/ 129 h 184"/>
                <a:gd name="T80" fmla="*/ 374 w 494"/>
                <a:gd name="T81" fmla="*/ 117 h 184"/>
                <a:gd name="T82" fmla="*/ 382 w 494"/>
                <a:gd name="T83" fmla="*/ 104 h 184"/>
                <a:gd name="T84" fmla="*/ 398 w 494"/>
                <a:gd name="T85" fmla="*/ 87 h 184"/>
                <a:gd name="T86" fmla="*/ 395 w 494"/>
                <a:gd name="T87" fmla="*/ 88 h 184"/>
                <a:gd name="T88" fmla="*/ 400 w 494"/>
                <a:gd name="T89" fmla="*/ 91 h 184"/>
                <a:gd name="T90" fmla="*/ 416 w 494"/>
                <a:gd name="T91" fmla="*/ 109 h 184"/>
                <a:gd name="T92" fmla="*/ 417 w 494"/>
                <a:gd name="T93" fmla="*/ 110 h 184"/>
                <a:gd name="T94" fmla="*/ 432 w 494"/>
                <a:gd name="T95" fmla="*/ 104 h 184"/>
                <a:gd name="T96" fmla="*/ 443 w 494"/>
                <a:gd name="T97" fmla="*/ 94 h 184"/>
                <a:gd name="T98" fmla="*/ 469 w 494"/>
                <a:gd name="T99" fmla="*/ 78 h 184"/>
                <a:gd name="T100" fmla="*/ 465 w 494"/>
                <a:gd name="T101" fmla="*/ 83 h 184"/>
                <a:gd name="T102" fmla="*/ 475 w 494"/>
                <a:gd name="T103" fmla="*/ 81 h 184"/>
                <a:gd name="T104" fmla="*/ 491 w 494"/>
                <a:gd name="T105" fmla="*/ 78 h 184"/>
                <a:gd name="T106" fmla="*/ 491 w 494"/>
                <a:gd name="T107" fmla="*/ 58 h 184"/>
                <a:gd name="T108" fmla="*/ 492 w 494"/>
                <a:gd name="T109" fmla="*/ 54 h 184"/>
                <a:gd name="T110" fmla="*/ 478 w 494"/>
                <a:gd name="T111" fmla="*/ 46 h 184"/>
                <a:gd name="T112" fmla="*/ 472 w 494"/>
                <a:gd name="T113" fmla="*/ 45 h 184"/>
                <a:gd name="T114" fmla="*/ 449 w 494"/>
                <a:gd name="T115" fmla="*/ 55 h 184"/>
                <a:gd name="T116" fmla="*/ 437 w 494"/>
                <a:gd name="T117" fmla="*/ 45 h 184"/>
                <a:gd name="T118" fmla="*/ 433 w 494"/>
                <a:gd name="T119" fmla="*/ 30 h 184"/>
                <a:gd name="T120" fmla="*/ 433 w 494"/>
                <a:gd name="T121" fmla="*/ 30 h 184"/>
                <a:gd name="T122" fmla="*/ 442 w 494"/>
                <a:gd name="T1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94" h="184">
                  <a:moveTo>
                    <a:pt x="4" y="16"/>
                  </a:moveTo>
                  <a:lnTo>
                    <a:pt x="4" y="16"/>
                  </a:lnTo>
                  <a:lnTo>
                    <a:pt x="4" y="16"/>
                  </a:lnTo>
                  <a:lnTo>
                    <a:pt x="3" y="9"/>
                  </a:lnTo>
                  <a:lnTo>
                    <a:pt x="0" y="9"/>
                  </a:lnTo>
                  <a:lnTo>
                    <a:pt x="0" y="9"/>
                  </a:lnTo>
                  <a:lnTo>
                    <a:pt x="1" y="16"/>
                  </a:lnTo>
                  <a:lnTo>
                    <a:pt x="1" y="16"/>
                  </a:lnTo>
                  <a:lnTo>
                    <a:pt x="3" y="17"/>
                  </a:lnTo>
                  <a:lnTo>
                    <a:pt x="4" y="16"/>
                  </a:lnTo>
                  <a:close/>
                  <a:moveTo>
                    <a:pt x="17" y="25"/>
                  </a:moveTo>
                  <a:lnTo>
                    <a:pt x="17" y="25"/>
                  </a:lnTo>
                  <a:lnTo>
                    <a:pt x="9" y="19"/>
                  </a:lnTo>
                  <a:lnTo>
                    <a:pt x="7" y="22"/>
                  </a:lnTo>
                  <a:lnTo>
                    <a:pt x="7" y="22"/>
                  </a:lnTo>
                  <a:lnTo>
                    <a:pt x="16" y="26"/>
                  </a:lnTo>
                  <a:lnTo>
                    <a:pt x="17" y="25"/>
                  </a:lnTo>
                  <a:close/>
                  <a:moveTo>
                    <a:pt x="22" y="38"/>
                  </a:moveTo>
                  <a:lnTo>
                    <a:pt x="22" y="38"/>
                  </a:lnTo>
                  <a:lnTo>
                    <a:pt x="23" y="35"/>
                  </a:lnTo>
                  <a:lnTo>
                    <a:pt x="23" y="35"/>
                  </a:lnTo>
                  <a:lnTo>
                    <a:pt x="25" y="33"/>
                  </a:lnTo>
                  <a:lnTo>
                    <a:pt x="25" y="33"/>
                  </a:lnTo>
                  <a:lnTo>
                    <a:pt x="23" y="30"/>
                  </a:lnTo>
                  <a:lnTo>
                    <a:pt x="22" y="29"/>
                  </a:lnTo>
                  <a:lnTo>
                    <a:pt x="22" y="28"/>
                  </a:lnTo>
                  <a:lnTo>
                    <a:pt x="20" y="29"/>
                  </a:lnTo>
                  <a:lnTo>
                    <a:pt x="20" y="30"/>
                  </a:lnTo>
                  <a:lnTo>
                    <a:pt x="20" y="30"/>
                  </a:lnTo>
                  <a:lnTo>
                    <a:pt x="22" y="33"/>
                  </a:lnTo>
                  <a:lnTo>
                    <a:pt x="22" y="33"/>
                  </a:lnTo>
                  <a:lnTo>
                    <a:pt x="22" y="33"/>
                  </a:lnTo>
                  <a:lnTo>
                    <a:pt x="22" y="33"/>
                  </a:lnTo>
                  <a:lnTo>
                    <a:pt x="20" y="36"/>
                  </a:lnTo>
                  <a:lnTo>
                    <a:pt x="22" y="38"/>
                  </a:lnTo>
                  <a:close/>
                  <a:moveTo>
                    <a:pt x="20" y="49"/>
                  </a:moveTo>
                  <a:lnTo>
                    <a:pt x="20" y="49"/>
                  </a:lnTo>
                  <a:lnTo>
                    <a:pt x="19" y="46"/>
                  </a:lnTo>
                  <a:lnTo>
                    <a:pt x="17" y="45"/>
                  </a:lnTo>
                  <a:lnTo>
                    <a:pt x="17" y="45"/>
                  </a:lnTo>
                  <a:lnTo>
                    <a:pt x="19" y="44"/>
                  </a:lnTo>
                  <a:lnTo>
                    <a:pt x="19" y="44"/>
                  </a:lnTo>
                  <a:lnTo>
                    <a:pt x="19" y="42"/>
                  </a:lnTo>
                  <a:lnTo>
                    <a:pt x="17" y="41"/>
                  </a:lnTo>
                  <a:lnTo>
                    <a:pt x="17" y="41"/>
                  </a:lnTo>
                  <a:lnTo>
                    <a:pt x="16" y="42"/>
                  </a:lnTo>
                  <a:lnTo>
                    <a:pt x="16" y="42"/>
                  </a:lnTo>
                  <a:lnTo>
                    <a:pt x="16" y="45"/>
                  </a:lnTo>
                  <a:lnTo>
                    <a:pt x="16" y="45"/>
                  </a:lnTo>
                  <a:lnTo>
                    <a:pt x="16" y="48"/>
                  </a:lnTo>
                  <a:lnTo>
                    <a:pt x="19" y="51"/>
                  </a:lnTo>
                  <a:lnTo>
                    <a:pt x="20" y="49"/>
                  </a:lnTo>
                  <a:close/>
                  <a:moveTo>
                    <a:pt x="32" y="58"/>
                  </a:moveTo>
                  <a:lnTo>
                    <a:pt x="32" y="58"/>
                  </a:lnTo>
                  <a:lnTo>
                    <a:pt x="25" y="52"/>
                  </a:lnTo>
                  <a:lnTo>
                    <a:pt x="23" y="55"/>
                  </a:lnTo>
                  <a:lnTo>
                    <a:pt x="23" y="55"/>
                  </a:lnTo>
                  <a:lnTo>
                    <a:pt x="30" y="61"/>
                  </a:lnTo>
                  <a:lnTo>
                    <a:pt x="32" y="58"/>
                  </a:lnTo>
                  <a:close/>
                  <a:moveTo>
                    <a:pt x="45" y="65"/>
                  </a:moveTo>
                  <a:lnTo>
                    <a:pt x="45" y="65"/>
                  </a:lnTo>
                  <a:lnTo>
                    <a:pt x="36" y="61"/>
                  </a:lnTo>
                  <a:lnTo>
                    <a:pt x="36" y="62"/>
                  </a:lnTo>
                  <a:lnTo>
                    <a:pt x="36" y="62"/>
                  </a:lnTo>
                  <a:lnTo>
                    <a:pt x="45" y="68"/>
                  </a:lnTo>
                  <a:lnTo>
                    <a:pt x="45" y="65"/>
                  </a:lnTo>
                  <a:close/>
                  <a:moveTo>
                    <a:pt x="55" y="78"/>
                  </a:moveTo>
                  <a:lnTo>
                    <a:pt x="55" y="78"/>
                  </a:lnTo>
                  <a:lnTo>
                    <a:pt x="54" y="74"/>
                  </a:lnTo>
                  <a:lnTo>
                    <a:pt x="52" y="71"/>
                  </a:lnTo>
                  <a:lnTo>
                    <a:pt x="52" y="71"/>
                  </a:lnTo>
                  <a:lnTo>
                    <a:pt x="49" y="68"/>
                  </a:lnTo>
                  <a:lnTo>
                    <a:pt x="48" y="71"/>
                  </a:lnTo>
                  <a:lnTo>
                    <a:pt x="48" y="71"/>
                  </a:lnTo>
                  <a:lnTo>
                    <a:pt x="49" y="72"/>
                  </a:lnTo>
                  <a:lnTo>
                    <a:pt x="49" y="72"/>
                  </a:lnTo>
                  <a:lnTo>
                    <a:pt x="54" y="78"/>
                  </a:lnTo>
                  <a:lnTo>
                    <a:pt x="55" y="78"/>
                  </a:lnTo>
                  <a:close/>
                  <a:moveTo>
                    <a:pt x="58" y="93"/>
                  </a:moveTo>
                  <a:lnTo>
                    <a:pt x="58" y="93"/>
                  </a:lnTo>
                  <a:lnTo>
                    <a:pt x="56" y="83"/>
                  </a:lnTo>
                  <a:lnTo>
                    <a:pt x="54" y="84"/>
                  </a:lnTo>
                  <a:lnTo>
                    <a:pt x="54" y="84"/>
                  </a:lnTo>
                  <a:lnTo>
                    <a:pt x="55" y="94"/>
                  </a:lnTo>
                  <a:lnTo>
                    <a:pt x="58" y="93"/>
                  </a:lnTo>
                  <a:close/>
                  <a:moveTo>
                    <a:pt x="59" y="109"/>
                  </a:moveTo>
                  <a:lnTo>
                    <a:pt x="59" y="109"/>
                  </a:lnTo>
                  <a:lnTo>
                    <a:pt x="58" y="99"/>
                  </a:lnTo>
                  <a:lnTo>
                    <a:pt x="56" y="99"/>
                  </a:lnTo>
                  <a:lnTo>
                    <a:pt x="56" y="99"/>
                  </a:lnTo>
                  <a:lnTo>
                    <a:pt x="56" y="109"/>
                  </a:lnTo>
                  <a:lnTo>
                    <a:pt x="59" y="109"/>
                  </a:lnTo>
                  <a:close/>
                  <a:moveTo>
                    <a:pt x="65" y="117"/>
                  </a:moveTo>
                  <a:lnTo>
                    <a:pt x="65" y="117"/>
                  </a:lnTo>
                  <a:lnTo>
                    <a:pt x="61" y="116"/>
                  </a:lnTo>
                  <a:lnTo>
                    <a:pt x="61" y="116"/>
                  </a:lnTo>
                  <a:lnTo>
                    <a:pt x="59" y="116"/>
                  </a:lnTo>
                  <a:lnTo>
                    <a:pt x="59" y="114"/>
                  </a:lnTo>
                  <a:lnTo>
                    <a:pt x="59" y="113"/>
                  </a:lnTo>
                  <a:lnTo>
                    <a:pt x="56" y="113"/>
                  </a:lnTo>
                  <a:lnTo>
                    <a:pt x="56" y="114"/>
                  </a:lnTo>
                  <a:lnTo>
                    <a:pt x="56" y="114"/>
                  </a:lnTo>
                  <a:lnTo>
                    <a:pt x="58" y="117"/>
                  </a:lnTo>
                  <a:lnTo>
                    <a:pt x="58" y="117"/>
                  </a:lnTo>
                  <a:lnTo>
                    <a:pt x="61" y="119"/>
                  </a:lnTo>
                  <a:lnTo>
                    <a:pt x="65" y="120"/>
                  </a:lnTo>
                  <a:lnTo>
                    <a:pt x="65" y="117"/>
                  </a:lnTo>
                  <a:close/>
                  <a:moveTo>
                    <a:pt x="80" y="120"/>
                  </a:moveTo>
                  <a:lnTo>
                    <a:pt x="80" y="120"/>
                  </a:lnTo>
                  <a:lnTo>
                    <a:pt x="71" y="119"/>
                  </a:lnTo>
                  <a:lnTo>
                    <a:pt x="70" y="122"/>
                  </a:lnTo>
                  <a:lnTo>
                    <a:pt x="70" y="122"/>
                  </a:lnTo>
                  <a:lnTo>
                    <a:pt x="80" y="123"/>
                  </a:lnTo>
                  <a:lnTo>
                    <a:pt x="80" y="120"/>
                  </a:lnTo>
                  <a:close/>
                  <a:moveTo>
                    <a:pt x="94" y="128"/>
                  </a:moveTo>
                  <a:lnTo>
                    <a:pt x="94" y="128"/>
                  </a:lnTo>
                  <a:lnTo>
                    <a:pt x="85" y="122"/>
                  </a:lnTo>
                  <a:lnTo>
                    <a:pt x="85" y="122"/>
                  </a:lnTo>
                  <a:lnTo>
                    <a:pt x="84" y="125"/>
                  </a:lnTo>
                  <a:lnTo>
                    <a:pt x="84" y="125"/>
                  </a:lnTo>
                  <a:lnTo>
                    <a:pt x="84" y="125"/>
                  </a:lnTo>
                  <a:lnTo>
                    <a:pt x="93" y="129"/>
                  </a:lnTo>
                  <a:lnTo>
                    <a:pt x="94" y="128"/>
                  </a:lnTo>
                  <a:close/>
                  <a:moveTo>
                    <a:pt x="94" y="141"/>
                  </a:moveTo>
                  <a:lnTo>
                    <a:pt x="94" y="141"/>
                  </a:lnTo>
                  <a:lnTo>
                    <a:pt x="98" y="136"/>
                  </a:lnTo>
                  <a:lnTo>
                    <a:pt x="98" y="136"/>
                  </a:lnTo>
                  <a:lnTo>
                    <a:pt x="100" y="132"/>
                  </a:lnTo>
                  <a:lnTo>
                    <a:pt x="100" y="132"/>
                  </a:lnTo>
                  <a:lnTo>
                    <a:pt x="98" y="130"/>
                  </a:lnTo>
                  <a:lnTo>
                    <a:pt x="98" y="130"/>
                  </a:lnTo>
                  <a:lnTo>
                    <a:pt x="97" y="132"/>
                  </a:lnTo>
                  <a:lnTo>
                    <a:pt x="97" y="132"/>
                  </a:lnTo>
                  <a:lnTo>
                    <a:pt x="97" y="132"/>
                  </a:lnTo>
                  <a:lnTo>
                    <a:pt x="97" y="132"/>
                  </a:lnTo>
                  <a:lnTo>
                    <a:pt x="97" y="132"/>
                  </a:lnTo>
                  <a:lnTo>
                    <a:pt x="96" y="135"/>
                  </a:lnTo>
                  <a:lnTo>
                    <a:pt x="96" y="135"/>
                  </a:lnTo>
                  <a:lnTo>
                    <a:pt x="93" y="139"/>
                  </a:lnTo>
                  <a:lnTo>
                    <a:pt x="94" y="141"/>
                  </a:lnTo>
                  <a:close/>
                  <a:moveTo>
                    <a:pt x="97" y="152"/>
                  </a:moveTo>
                  <a:lnTo>
                    <a:pt x="97" y="152"/>
                  </a:lnTo>
                  <a:lnTo>
                    <a:pt x="93" y="148"/>
                  </a:lnTo>
                  <a:lnTo>
                    <a:pt x="93" y="148"/>
                  </a:lnTo>
                  <a:lnTo>
                    <a:pt x="93" y="145"/>
                  </a:lnTo>
                  <a:lnTo>
                    <a:pt x="93" y="145"/>
                  </a:lnTo>
                  <a:lnTo>
                    <a:pt x="90" y="143"/>
                  </a:lnTo>
                  <a:lnTo>
                    <a:pt x="90" y="145"/>
                  </a:lnTo>
                  <a:lnTo>
                    <a:pt x="90" y="145"/>
                  </a:lnTo>
                  <a:lnTo>
                    <a:pt x="91" y="149"/>
                  </a:lnTo>
                  <a:lnTo>
                    <a:pt x="91" y="149"/>
                  </a:lnTo>
                  <a:lnTo>
                    <a:pt x="94" y="154"/>
                  </a:lnTo>
                  <a:lnTo>
                    <a:pt x="97" y="152"/>
                  </a:lnTo>
                  <a:close/>
                  <a:moveTo>
                    <a:pt x="107" y="162"/>
                  </a:moveTo>
                  <a:lnTo>
                    <a:pt x="107" y="162"/>
                  </a:lnTo>
                  <a:lnTo>
                    <a:pt x="100" y="155"/>
                  </a:lnTo>
                  <a:lnTo>
                    <a:pt x="98" y="158"/>
                  </a:lnTo>
                  <a:lnTo>
                    <a:pt x="98" y="158"/>
                  </a:lnTo>
                  <a:lnTo>
                    <a:pt x="106" y="164"/>
                  </a:lnTo>
                  <a:lnTo>
                    <a:pt x="107" y="162"/>
                  </a:lnTo>
                  <a:close/>
                  <a:moveTo>
                    <a:pt x="120" y="165"/>
                  </a:moveTo>
                  <a:lnTo>
                    <a:pt x="120" y="165"/>
                  </a:lnTo>
                  <a:lnTo>
                    <a:pt x="116" y="165"/>
                  </a:lnTo>
                  <a:lnTo>
                    <a:pt x="116" y="165"/>
                  </a:lnTo>
                  <a:lnTo>
                    <a:pt x="112" y="164"/>
                  </a:lnTo>
                  <a:lnTo>
                    <a:pt x="110" y="167"/>
                  </a:lnTo>
                  <a:lnTo>
                    <a:pt x="110" y="167"/>
                  </a:lnTo>
                  <a:lnTo>
                    <a:pt x="116" y="167"/>
                  </a:lnTo>
                  <a:lnTo>
                    <a:pt x="116" y="167"/>
                  </a:lnTo>
                  <a:lnTo>
                    <a:pt x="120" y="167"/>
                  </a:lnTo>
                  <a:lnTo>
                    <a:pt x="120" y="165"/>
                  </a:lnTo>
                  <a:close/>
                  <a:moveTo>
                    <a:pt x="136" y="162"/>
                  </a:moveTo>
                  <a:lnTo>
                    <a:pt x="136" y="162"/>
                  </a:lnTo>
                  <a:lnTo>
                    <a:pt x="126" y="164"/>
                  </a:lnTo>
                  <a:lnTo>
                    <a:pt x="126" y="167"/>
                  </a:lnTo>
                  <a:lnTo>
                    <a:pt x="126" y="167"/>
                  </a:lnTo>
                  <a:lnTo>
                    <a:pt x="136" y="165"/>
                  </a:lnTo>
                  <a:lnTo>
                    <a:pt x="136" y="162"/>
                  </a:lnTo>
                  <a:close/>
                  <a:moveTo>
                    <a:pt x="151" y="159"/>
                  </a:moveTo>
                  <a:lnTo>
                    <a:pt x="151" y="159"/>
                  </a:lnTo>
                  <a:lnTo>
                    <a:pt x="140" y="162"/>
                  </a:lnTo>
                  <a:lnTo>
                    <a:pt x="142" y="164"/>
                  </a:lnTo>
                  <a:lnTo>
                    <a:pt x="142" y="164"/>
                  </a:lnTo>
                  <a:lnTo>
                    <a:pt x="151" y="162"/>
                  </a:lnTo>
                  <a:lnTo>
                    <a:pt x="151" y="159"/>
                  </a:lnTo>
                  <a:close/>
                  <a:moveTo>
                    <a:pt x="167" y="158"/>
                  </a:moveTo>
                  <a:lnTo>
                    <a:pt x="167" y="158"/>
                  </a:lnTo>
                  <a:lnTo>
                    <a:pt x="158" y="158"/>
                  </a:lnTo>
                  <a:lnTo>
                    <a:pt x="158" y="158"/>
                  </a:lnTo>
                  <a:lnTo>
                    <a:pt x="155" y="158"/>
                  </a:lnTo>
                  <a:lnTo>
                    <a:pt x="156" y="161"/>
                  </a:lnTo>
                  <a:lnTo>
                    <a:pt x="156" y="161"/>
                  </a:lnTo>
                  <a:lnTo>
                    <a:pt x="158" y="161"/>
                  </a:lnTo>
                  <a:lnTo>
                    <a:pt x="158" y="161"/>
                  </a:lnTo>
                  <a:lnTo>
                    <a:pt x="165" y="161"/>
                  </a:lnTo>
                  <a:lnTo>
                    <a:pt x="167" y="159"/>
                  </a:lnTo>
                  <a:lnTo>
                    <a:pt x="167" y="158"/>
                  </a:lnTo>
                  <a:close/>
                  <a:moveTo>
                    <a:pt x="181" y="164"/>
                  </a:moveTo>
                  <a:lnTo>
                    <a:pt x="181" y="164"/>
                  </a:lnTo>
                  <a:lnTo>
                    <a:pt x="175" y="162"/>
                  </a:lnTo>
                  <a:lnTo>
                    <a:pt x="175" y="162"/>
                  </a:lnTo>
                  <a:lnTo>
                    <a:pt x="171" y="159"/>
                  </a:lnTo>
                  <a:lnTo>
                    <a:pt x="171" y="162"/>
                  </a:lnTo>
                  <a:lnTo>
                    <a:pt x="171" y="162"/>
                  </a:lnTo>
                  <a:lnTo>
                    <a:pt x="174" y="164"/>
                  </a:lnTo>
                  <a:lnTo>
                    <a:pt x="174" y="164"/>
                  </a:lnTo>
                  <a:lnTo>
                    <a:pt x="180" y="167"/>
                  </a:lnTo>
                  <a:lnTo>
                    <a:pt x="181" y="164"/>
                  </a:lnTo>
                  <a:close/>
                  <a:moveTo>
                    <a:pt x="196" y="165"/>
                  </a:moveTo>
                  <a:lnTo>
                    <a:pt x="196" y="165"/>
                  </a:lnTo>
                  <a:lnTo>
                    <a:pt x="185" y="165"/>
                  </a:lnTo>
                  <a:lnTo>
                    <a:pt x="184" y="168"/>
                  </a:lnTo>
                  <a:lnTo>
                    <a:pt x="184" y="168"/>
                  </a:lnTo>
                  <a:lnTo>
                    <a:pt x="196" y="168"/>
                  </a:lnTo>
                  <a:lnTo>
                    <a:pt x="196" y="165"/>
                  </a:lnTo>
                  <a:close/>
                  <a:moveTo>
                    <a:pt x="210" y="170"/>
                  </a:moveTo>
                  <a:lnTo>
                    <a:pt x="210" y="170"/>
                  </a:lnTo>
                  <a:lnTo>
                    <a:pt x="206" y="168"/>
                  </a:lnTo>
                  <a:lnTo>
                    <a:pt x="200" y="167"/>
                  </a:lnTo>
                  <a:lnTo>
                    <a:pt x="200" y="168"/>
                  </a:lnTo>
                  <a:lnTo>
                    <a:pt x="200" y="168"/>
                  </a:lnTo>
                  <a:lnTo>
                    <a:pt x="204" y="170"/>
                  </a:lnTo>
                  <a:lnTo>
                    <a:pt x="209" y="172"/>
                  </a:lnTo>
                  <a:lnTo>
                    <a:pt x="210" y="170"/>
                  </a:lnTo>
                  <a:close/>
                  <a:moveTo>
                    <a:pt x="222" y="180"/>
                  </a:moveTo>
                  <a:lnTo>
                    <a:pt x="222" y="180"/>
                  </a:lnTo>
                  <a:lnTo>
                    <a:pt x="214" y="172"/>
                  </a:lnTo>
                  <a:lnTo>
                    <a:pt x="213" y="175"/>
                  </a:lnTo>
                  <a:lnTo>
                    <a:pt x="213" y="175"/>
                  </a:lnTo>
                  <a:lnTo>
                    <a:pt x="220" y="181"/>
                  </a:lnTo>
                  <a:lnTo>
                    <a:pt x="222" y="180"/>
                  </a:lnTo>
                  <a:close/>
                  <a:moveTo>
                    <a:pt x="236" y="181"/>
                  </a:moveTo>
                  <a:lnTo>
                    <a:pt x="236" y="181"/>
                  </a:lnTo>
                  <a:lnTo>
                    <a:pt x="230" y="181"/>
                  </a:lnTo>
                  <a:lnTo>
                    <a:pt x="230" y="181"/>
                  </a:lnTo>
                  <a:lnTo>
                    <a:pt x="227" y="181"/>
                  </a:lnTo>
                  <a:lnTo>
                    <a:pt x="226" y="181"/>
                  </a:lnTo>
                  <a:lnTo>
                    <a:pt x="226" y="184"/>
                  </a:lnTo>
                  <a:lnTo>
                    <a:pt x="226" y="184"/>
                  </a:lnTo>
                  <a:lnTo>
                    <a:pt x="226" y="184"/>
                  </a:lnTo>
                  <a:lnTo>
                    <a:pt x="230" y="184"/>
                  </a:lnTo>
                  <a:lnTo>
                    <a:pt x="230" y="184"/>
                  </a:lnTo>
                  <a:lnTo>
                    <a:pt x="236" y="184"/>
                  </a:lnTo>
                  <a:lnTo>
                    <a:pt x="236" y="181"/>
                  </a:lnTo>
                  <a:close/>
                  <a:moveTo>
                    <a:pt x="251" y="178"/>
                  </a:moveTo>
                  <a:lnTo>
                    <a:pt x="251" y="178"/>
                  </a:lnTo>
                  <a:lnTo>
                    <a:pt x="240" y="180"/>
                  </a:lnTo>
                  <a:lnTo>
                    <a:pt x="242" y="183"/>
                  </a:lnTo>
                  <a:lnTo>
                    <a:pt x="242" y="183"/>
                  </a:lnTo>
                  <a:lnTo>
                    <a:pt x="252" y="181"/>
                  </a:lnTo>
                  <a:lnTo>
                    <a:pt x="251" y="178"/>
                  </a:lnTo>
                  <a:close/>
                  <a:moveTo>
                    <a:pt x="265" y="174"/>
                  </a:moveTo>
                  <a:lnTo>
                    <a:pt x="265" y="174"/>
                  </a:lnTo>
                  <a:lnTo>
                    <a:pt x="256" y="177"/>
                  </a:lnTo>
                  <a:lnTo>
                    <a:pt x="256" y="180"/>
                  </a:lnTo>
                  <a:lnTo>
                    <a:pt x="256" y="180"/>
                  </a:lnTo>
                  <a:lnTo>
                    <a:pt x="267" y="177"/>
                  </a:lnTo>
                  <a:lnTo>
                    <a:pt x="265" y="174"/>
                  </a:lnTo>
                  <a:close/>
                  <a:moveTo>
                    <a:pt x="280" y="170"/>
                  </a:moveTo>
                  <a:lnTo>
                    <a:pt x="280" y="170"/>
                  </a:lnTo>
                  <a:lnTo>
                    <a:pt x="271" y="172"/>
                  </a:lnTo>
                  <a:lnTo>
                    <a:pt x="271" y="175"/>
                  </a:lnTo>
                  <a:lnTo>
                    <a:pt x="271" y="175"/>
                  </a:lnTo>
                  <a:lnTo>
                    <a:pt x="281" y="172"/>
                  </a:lnTo>
                  <a:lnTo>
                    <a:pt x="280" y="170"/>
                  </a:lnTo>
                  <a:close/>
                  <a:moveTo>
                    <a:pt x="294" y="165"/>
                  </a:moveTo>
                  <a:lnTo>
                    <a:pt x="294" y="165"/>
                  </a:lnTo>
                  <a:lnTo>
                    <a:pt x="285" y="168"/>
                  </a:lnTo>
                  <a:lnTo>
                    <a:pt x="285" y="171"/>
                  </a:lnTo>
                  <a:lnTo>
                    <a:pt x="285" y="171"/>
                  </a:lnTo>
                  <a:lnTo>
                    <a:pt x="295" y="168"/>
                  </a:lnTo>
                  <a:lnTo>
                    <a:pt x="294" y="165"/>
                  </a:lnTo>
                  <a:close/>
                  <a:moveTo>
                    <a:pt x="309" y="159"/>
                  </a:moveTo>
                  <a:lnTo>
                    <a:pt x="309" y="159"/>
                  </a:lnTo>
                  <a:lnTo>
                    <a:pt x="300" y="162"/>
                  </a:lnTo>
                  <a:lnTo>
                    <a:pt x="300" y="162"/>
                  </a:lnTo>
                  <a:lnTo>
                    <a:pt x="298" y="162"/>
                  </a:lnTo>
                  <a:lnTo>
                    <a:pt x="300" y="165"/>
                  </a:lnTo>
                  <a:lnTo>
                    <a:pt x="300" y="165"/>
                  </a:lnTo>
                  <a:lnTo>
                    <a:pt x="301" y="165"/>
                  </a:lnTo>
                  <a:lnTo>
                    <a:pt x="301" y="165"/>
                  </a:lnTo>
                  <a:lnTo>
                    <a:pt x="309" y="161"/>
                  </a:lnTo>
                  <a:lnTo>
                    <a:pt x="309" y="159"/>
                  </a:lnTo>
                  <a:close/>
                  <a:moveTo>
                    <a:pt x="323" y="156"/>
                  </a:moveTo>
                  <a:lnTo>
                    <a:pt x="323" y="156"/>
                  </a:lnTo>
                  <a:lnTo>
                    <a:pt x="313" y="158"/>
                  </a:lnTo>
                  <a:lnTo>
                    <a:pt x="314" y="161"/>
                  </a:lnTo>
                  <a:lnTo>
                    <a:pt x="314" y="161"/>
                  </a:lnTo>
                  <a:lnTo>
                    <a:pt x="324" y="159"/>
                  </a:lnTo>
                  <a:lnTo>
                    <a:pt x="323" y="156"/>
                  </a:lnTo>
                  <a:close/>
                  <a:moveTo>
                    <a:pt x="337" y="152"/>
                  </a:moveTo>
                  <a:lnTo>
                    <a:pt x="337" y="152"/>
                  </a:lnTo>
                  <a:lnTo>
                    <a:pt x="332" y="156"/>
                  </a:lnTo>
                  <a:lnTo>
                    <a:pt x="332" y="156"/>
                  </a:lnTo>
                  <a:lnTo>
                    <a:pt x="329" y="156"/>
                  </a:lnTo>
                  <a:lnTo>
                    <a:pt x="329" y="158"/>
                  </a:lnTo>
                  <a:lnTo>
                    <a:pt x="329" y="158"/>
                  </a:lnTo>
                  <a:lnTo>
                    <a:pt x="332" y="158"/>
                  </a:lnTo>
                  <a:lnTo>
                    <a:pt x="332" y="158"/>
                  </a:lnTo>
                  <a:lnTo>
                    <a:pt x="335" y="156"/>
                  </a:lnTo>
                  <a:lnTo>
                    <a:pt x="339" y="155"/>
                  </a:lnTo>
                  <a:lnTo>
                    <a:pt x="337" y="152"/>
                  </a:lnTo>
                  <a:close/>
                  <a:moveTo>
                    <a:pt x="349" y="142"/>
                  </a:moveTo>
                  <a:lnTo>
                    <a:pt x="349" y="142"/>
                  </a:lnTo>
                  <a:lnTo>
                    <a:pt x="342" y="149"/>
                  </a:lnTo>
                  <a:lnTo>
                    <a:pt x="343" y="152"/>
                  </a:lnTo>
                  <a:lnTo>
                    <a:pt x="343" y="152"/>
                  </a:lnTo>
                  <a:lnTo>
                    <a:pt x="351" y="145"/>
                  </a:lnTo>
                  <a:lnTo>
                    <a:pt x="349" y="142"/>
                  </a:lnTo>
                  <a:close/>
                  <a:moveTo>
                    <a:pt x="358" y="132"/>
                  </a:moveTo>
                  <a:lnTo>
                    <a:pt x="358" y="132"/>
                  </a:lnTo>
                  <a:lnTo>
                    <a:pt x="352" y="139"/>
                  </a:lnTo>
                  <a:lnTo>
                    <a:pt x="353" y="141"/>
                  </a:lnTo>
                  <a:lnTo>
                    <a:pt x="353" y="141"/>
                  </a:lnTo>
                  <a:lnTo>
                    <a:pt x="361" y="133"/>
                  </a:lnTo>
                  <a:lnTo>
                    <a:pt x="358" y="132"/>
                  </a:lnTo>
                  <a:close/>
                  <a:moveTo>
                    <a:pt x="368" y="119"/>
                  </a:moveTo>
                  <a:lnTo>
                    <a:pt x="368" y="119"/>
                  </a:lnTo>
                  <a:lnTo>
                    <a:pt x="362" y="128"/>
                  </a:lnTo>
                  <a:lnTo>
                    <a:pt x="364" y="129"/>
                  </a:lnTo>
                  <a:lnTo>
                    <a:pt x="364" y="129"/>
                  </a:lnTo>
                  <a:lnTo>
                    <a:pt x="369" y="122"/>
                  </a:lnTo>
                  <a:lnTo>
                    <a:pt x="368" y="119"/>
                  </a:lnTo>
                  <a:close/>
                  <a:moveTo>
                    <a:pt x="377" y="107"/>
                  </a:moveTo>
                  <a:lnTo>
                    <a:pt x="377" y="107"/>
                  </a:lnTo>
                  <a:lnTo>
                    <a:pt x="371" y="116"/>
                  </a:lnTo>
                  <a:lnTo>
                    <a:pt x="374" y="117"/>
                  </a:lnTo>
                  <a:lnTo>
                    <a:pt x="374" y="117"/>
                  </a:lnTo>
                  <a:lnTo>
                    <a:pt x="379" y="109"/>
                  </a:lnTo>
                  <a:lnTo>
                    <a:pt x="377" y="107"/>
                  </a:lnTo>
                  <a:close/>
                  <a:moveTo>
                    <a:pt x="385" y="94"/>
                  </a:moveTo>
                  <a:lnTo>
                    <a:pt x="385" y="94"/>
                  </a:lnTo>
                  <a:lnTo>
                    <a:pt x="384" y="97"/>
                  </a:lnTo>
                  <a:lnTo>
                    <a:pt x="384" y="97"/>
                  </a:lnTo>
                  <a:lnTo>
                    <a:pt x="379" y="103"/>
                  </a:lnTo>
                  <a:lnTo>
                    <a:pt x="382" y="104"/>
                  </a:lnTo>
                  <a:lnTo>
                    <a:pt x="382" y="104"/>
                  </a:lnTo>
                  <a:lnTo>
                    <a:pt x="387" y="99"/>
                  </a:lnTo>
                  <a:lnTo>
                    <a:pt x="387" y="99"/>
                  </a:lnTo>
                  <a:lnTo>
                    <a:pt x="387" y="96"/>
                  </a:lnTo>
                  <a:lnTo>
                    <a:pt x="385" y="94"/>
                  </a:lnTo>
                  <a:close/>
                  <a:moveTo>
                    <a:pt x="398" y="87"/>
                  </a:moveTo>
                  <a:lnTo>
                    <a:pt x="398" y="87"/>
                  </a:lnTo>
                  <a:lnTo>
                    <a:pt x="398" y="87"/>
                  </a:lnTo>
                  <a:lnTo>
                    <a:pt x="395" y="86"/>
                  </a:lnTo>
                  <a:lnTo>
                    <a:pt x="395" y="86"/>
                  </a:lnTo>
                  <a:lnTo>
                    <a:pt x="391" y="87"/>
                  </a:lnTo>
                  <a:lnTo>
                    <a:pt x="388" y="90"/>
                  </a:lnTo>
                  <a:lnTo>
                    <a:pt x="390" y="91"/>
                  </a:lnTo>
                  <a:lnTo>
                    <a:pt x="390" y="91"/>
                  </a:lnTo>
                  <a:lnTo>
                    <a:pt x="393" y="90"/>
                  </a:lnTo>
                  <a:lnTo>
                    <a:pt x="395" y="88"/>
                  </a:lnTo>
                  <a:lnTo>
                    <a:pt x="395" y="88"/>
                  </a:lnTo>
                  <a:lnTo>
                    <a:pt x="397" y="88"/>
                  </a:lnTo>
                  <a:lnTo>
                    <a:pt x="397" y="88"/>
                  </a:lnTo>
                  <a:lnTo>
                    <a:pt x="398" y="87"/>
                  </a:lnTo>
                  <a:close/>
                  <a:moveTo>
                    <a:pt x="407" y="100"/>
                  </a:moveTo>
                  <a:lnTo>
                    <a:pt x="407" y="100"/>
                  </a:lnTo>
                  <a:lnTo>
                    <a:pt x="403" y="90"/>
                  </a:lnTo>
                  <a:lnTo>
                    <a:pt x="400" y="91"/>
                  </a:lnTo>
                  <a:lnTo>
                    <a:pt x="400" y="91"/>
                  </a:lnTo>
                  <a:lnTo>
                    <a:pt x="406" y="101"/>
                  </a:lnTo>
                  <a:lnTo>
                    <a:pt x="407" y="100"/>
                  </a:lnTo>
                  <a:close/>
                  <a:moveTo>
                    <a:pt x="417" y="109"/>
                  </a:moveTo>
                  <a:lnTo>
                    <a:pt x="417" y="109"/>
                  </a:lnTo>
                  <a:lnTo>
                    <a:pt x="417" y="109"/>
                  </a:lnTo>
                  <a:lnTo>
                    <a:pt x="416" y="109"/>
                  </a:lnTo>
                  <a:lnTo>
                    <a:pt x="416" y="109"/>
                  </a:lnTo>
                  <a:lnTo>
                    <a:pt x="413" y="106"/>
                  </a:lnTo>
                  <a:lnTo>
                    <a:pt x="410" y="103"/>
                  </a:lnTo>
                  <a:lnTo>
                    <a:pt x="408" y="106"/>
                  </a:lnTo>
                  <a:lnTo>
                    <a:pt x="408" y="106"/>
                  </a:lnTo>
                  <a:lnTo>
                    <a:pt x="411" y="109"/>
                  </a:lnTo>
                  <a:lnTo>
                    <a:pt x="414" y="110"/>
                  </a:lnTo>
                  <a:lnTo>
                    <a:pt x="414" y="110"/>
                  </a:lnTo>
                  <a:lnTo>
                    <a:pt x="417" y="110"/>
                  </a:lnTo>
                  <a:lnTo>
                    <a:pt x="417" y="110"/>
                  </a:lnTo>
                  <a:lnTo>
                    <a:pt x="417" y="109"/>
                  </a:lnTo>
                  <a:close/>
                  <a:moveTo>
                    <a:pt x="430" y="103"/>
                  </a:moveTo>
                  <a:lnTo>
                    <a:pt x="430" y="103"/>
                  </a:lnTo>
                  <a:lnTo>
                    <a:pt x="421" y="107"/>
                  </a:lnTo>
                  <a:lnTo>
                    <a:pt x="423" y="109"/>
                  </a:lnTo>
                  <a:lnTo>
                    <a:pt x="423" y="109"/>
                  </a:lnTo>
                  <a:lnTo>
                    <a:pt x="432" y="104"/>
                  </a:lnTo>
                  <a:lnTo>
                    <a:pt x="430" y="103"/>
                  </a:lnTo>
                  <a:close/>
                  <a:moveTo>
                    <a:pt x="443" y="94"/>
                  </a:moveTo>
                  <a:lnTo>
                    <a:pt x="443" y="94"/>
                  </a:lnTo>
                  <a:lnTo>
                    <a:pt x="435" y="100"/>
                  </a:lnTo>
                  <a:lnTo>
                    <a:pt x="436" y="101"/>
                  </a:lnTo>
                  <a:lnTo>
                    <a:pt x="436" y="101"/>
                  </a:lnTo>
                  <a:lnTo>
                    <a:pt x="445" y="96"/>
                  </a:lnTo>
                  <a:lnTo>
                    <a:pt x="443" y="94"/>
                  </a:lnTo>
                  <a:close/>
                  <a:moveTo>
                    <a:pt x="455" y="84"/>
                  </a:moveTo>
                  <a:lnTo>
                    <a:pt x="455" y="84"/>
                  </a:lnTo>
                  <a:lnTo>
                    <a:pt x="448" y="91"/>
                  </a:lnTo>
                  <a:lnTo>
                    <a:pt x="449" y="93"/>
                  </a:lnTo>
                  <a:lnTo>
                    <a:pt x="449" y="93"/>
                  </a:lnTo>
                  <a:lnTo>
                    <a:pt x="456" y="87"/>
                  </a:lnTo>
                  <a:lnTo>
                    <a:pt x="455" y="84"/>
                  </a:lnTo>
                  <a:close/>
                  <a:moveTo>
                    <a:pt x="469" y="78"/>
                  </a:moveTo>
                  <a:lnTo>
                    <a:pt x="469" y="78"/>
                  </a:lnTo>
                  <a:lnTo>
                    <a:pt x="465" y="80"/>
                  </a:lnTo>
                  <a:lnTo>
                    <a:pt x="461" y="81"/>
                  </a:lnTo>
                  <a:lnTo>
                    <a:pt x="459" y="81"/>
                  </a:lnTo>
                  <a:lnTo>
                    <a:pt x="461" y="84"/>
                  </a:lnTo>
                  <a:lnTo>
                    <a:pt x="461" y="83"/>
                  </a:lnTo>
                  <a:lnTo>
                    <a:pt x="461" y="83"/>
                  </a:lnTo>
                  <a:lnTo>
                    <a:pt x="465" y="83"/>
                  </a:lnTo>
                  <a:lnTo>
                    <a:pt x="469" y="81"/>
                  </a:lnTo>
                  <a:lnTo>
                    <a:pt x="469" y="78"/>
                  </a:lnTo>
                  <a:close/>
                  <a:moveTo>
                    <a:pt x="485" y="78"/>
                  </a:moveTo>
                  <a:lnTo>
                    <a:pt x="485" y="78"/>
                  </a:lnTo>
                  <a:lnTo>
                    <a:pt x="475" y="78"/>
                  </a:lnTo>
                  <a:lnTo>
                    <a:pt x="475" y="78"/>
                  </a:lnTo>
                  <a:lnTo>
                    <a:pt x="475" y="81"/>
                  </a:lnTo>
                  <a:lnTo>
                    <a:pt x="475" y="81"/>
                  </a:lnTo>
                  <a:lnTo>
                    <a:pt x="475" y="81"/>
                  </a:lnTo>
                  <a:lnTo>
                    <a:pt x="485" y="81"/>
                  </a:lnTo>
                  <a:lnTo>
                    <a:pt x="485" y="78"/>
                  </a:lnTo>
                  <a:close/>
                  <a:moveTo>
                    <a:pt x="491" y="68"/>
                  </a:moveTo>
                  <a:lnTo>
                    <a:pt x="491" y="68"/>
                  </a:lnTo>
                  <a:lnTo>
                    <a:pt x="491" y="72"/>
                  </a:lnTo>
                  <a:lnTo>
                    <a:pt x="488" y="77"/>
                  </a:lnTo>
                  <a:lnTo>
                    <a:pt x="491" y="78"/>
                  </a:lnTo>
                  <a:lnTo>
                    <a:pt x="491" y="78"/>
                  </a:lnTo>
                  <a:lnTo>
                    <a:pt x="492" y="74"/>
                  </a:lnTo>
                  <a:lnTo>
                    <a:pt x="494" y="68"/>
                  </a:lnTo>
                  <a:lnTo>
                    <a:pt x="491" y="68"/>
                  </a:lnTo>
                  <a:close/>
                  <a:moveTo>
                    <a:pt x="490" y="54"/>
                  </a:moveTo>
                  <a:lnTo>
                    <a:pt x="491" y="55"/>
                  </a:lnTo>
                  <a:lnTo>
                    <a:pt x="491" y="55"/>
                  </a:lnTo>
                  <a:lnTo>
                    <a:pt x="491" y="58"/>
                  </a:lnTo>
                  <a:lnTo>
                    <a:pt x="491" y="58"/>
                  </a:lnTo>
                  <a:lnTo>
                    <a:pt x="491" y="62"/>
                  </a:lnTo>
                  <a:lnTo>
                    <a:pt x="494" y="62"/>
                  </a:lnTo>
                  <a:lnTo>
                    <a:pt x="494" y="62"/>
                  </a:lnTo>
                  <a:lnTo>
                    <a:pt x="494" y="58"/>
                  </a:lnTo>
                  <a:lnTo>
                    <a:pt x="494" y="58"/>
                  </a:lnTo>
                  <a:lnTo>
                    <a:pt x="492" y="54"/>
                  </a:lnTo>
                  <a:lnTo>
                    <a:pt x="492" y="54"/>
                  </a:lnTo>
                  <a:lnTo>
                    <a:pt x="491" y="52"/>
                  </a:lnTo>
                  <a:lnTo>
                    <a:pt x="490" y="54"/>
                  </a:lnTo>
                  <a:close/>
                  <a:moveTo>
                    <a:pt x="477" y="48"/>
                  </a:moveTo>
                  <a:lnTo>
                    <a:pt x="477" y="48"/>
                  </a:lnTo>
                  <a:lnTo>
                    <a:pt x="487" y="52"/>
                  </a:lnTo>
                  <a:lnTo>
                    <a:pt x="487" y="49"/>
                  </a:lnTo>
                  <a:lnTo>
                    <a:pt x="487" y="49"/>
                  </a:lnTo>
                  <a:lnTo>
                    <a:pt x="478" y="46"/>
                  </a:lnTo>
                  <a:lnTo>
                    <a:pt x="477" y="48"/>
                  </a:lnTo>
                  <a:close/>
                  <a:moveTo>
                    <a:pt x="462" y="48"/>
                  </a:moveTo>
                  <a:lnTo>
                    <a:pt x="462" y="48"/>
                  </a:lnTo>
                  <a:lnTo>
                    <a:pt x="468" y="46"/>
                  </a:lnTo>
                  <a:lnTo>
                    <a:pt x="468" y="46"/>
                  </a:lnTo>
                  <a:lnTo>
                    <a:pt x="468" y="46"/>
                  </a:lnTo>
                  <a:lnTo>
                    <a:pt x="472" y="48"/>
                  </a:lnTo>
                  <a:lnTo>
                    <a:pt x="472" y="45"/>
                  </a:lnTo>
                  <a:lnTo>
                    <a:pt x="472" y="45"/>
                  </a:lnTo>
                  <a:lnTo>
                    <a:pt x="469" y="44"/>
                  </a:lnTo>
                  <a:lnTo>
                    <a:pt x="469" y="44"/>
                  </a:lnTo>
                  <a:lnTo>
                    <a:pt x="468" y="44"/>
                  </a:lnTo>
                  <a:lnTo>
                    <a:pt x="468" y="44"/>
                  </a:lnTo>
                  <a:lnTo>
                    <a:pt x="462" y="45"/>
                  </a:lnTo>
                  <a:lnTo>
                    <a:pt x="462" y="48"/>
                  </a:lnTo>
                  <a:close/>
                  <a:moveTo>
                    <a:pt x="449" y="55"/>
                  </a:moveTo>
                  <a:lnTo>
                    <a:pt x="449" y="55"/>
                  </a:lnTo>
                  <a:lnTo>
                    <a:pt x="458" y="49"/>
                  </a:lnTo>
                  <a:lnTo>
                    <a:pt x="456" y="48"/>
                  </a:lnTo>
                  <a:lnTo>
                    <a:pt x="456" y="48"/>
                  </a:lnTo>
                  <a:lnTo>
                    <a:pt x="449" y="52"/>
                  </a:lnTo>
                  <a:lnTo>
                    <a:pt x="449" y="55"/>
                  </a:lnTo>
                  <a:close/>
                  <a:moveTo>
                    <a:pt x="437" y="45"/>
                  </a:moveTo>
                  <a:lnTo>
                    <a:pt x="437" y="45"/>
                  </a:lnTo>
                  <a:lnTo>
                    <a:pt x="440" y="51"/>
                  </a:lnTo>
                  <a:lnTo>
                    <a:pt x="443" y="54"/>
                  </a:lnTo>
                  <a:lnTo>
                    <a:pt x="445" y="52"/>
                  </a:lnTo>
                  <a:lnTo>
                    <a:pt x="445" y="52"/>
                  </a:lnTo>
                  <a:lnTo>
                    <a:pt x="442" y="49"/>
                  </a:lnTo>
                  <a:lnTo>
                    <a:pt x="440" y="44"/>
                  </a:lnTo>
                  <a:lnTo>
                    <a:pt x="437" y="45"/>
                  </a:lnTo>
                  <a:close/>
                  <a:moveTo>
                    <a:pt x="433" y="30"/>
                  </a:moveTo>
                  <a:lnTo>
                    <a:pt x="433" y="30"/>
                  </a:lnTo>
                  <a:lnTo>
                    <a:pt x="433" y="30"/>
                  </a:lnTo>
                  <a:lnTo>
                    <a:pt x="436" y="41"/>
                  </a:lnTo>
                  <a:lnTo>
                    <a:pt x="439" y="39"/>
                  </a:lnTo>
                  <a:lnTo>
                    <a:pt x="439" y="39"/>
                  </a:lnTo>
                  <a:lnTo>
                    <a:pt x="436" y="30"/>
                  </a:lnTo>
                  <a:lnTo>
                    <a:pt x="436" y="29"/>
                  </a:lnTo>
                  <a:lnTo>
                    <a:pt x="433" y="30"/>
                  </a:lnTo>
                  <a:close/>
                  <a:moveTo>
                    <a:pt x="436" y="15"/>
                  </a:moveTo>
                  <a:lnTo>
                    <a:pt x="436" y="15"/>
                  </a:lnTo>
                  <a:lnTo>
                    <a:pt x="433" y="25"/>
                  </a:lnTo>
                  <a:lnTo>
                    <a:pt x="436" y="25"/>
                  </a:lnTo>
                  <a:lnTo>
                    <a:pt x="436" y="25"/>
                  </a:lnTo>
                  <a:lnTo>
                    <a:pt x="439" y="16"/>
                  </a:lnTo>
                  <a:lnTo>
                    <a:pt x="436" y="15"/>
                  </a:lnTo>
                  <a:close/>
                  <a:moveTo>
                    <a:pt x="442" y="0"/>
                  </a:moveTo>
                  <a:lnTo>
                    <a:pt x="442" y="0"/>
                  </a:lnTo>
                  <a:lnTo>
                    <a:pt x="437" y="10"/>
                  </a:lnTo>
                  <a:lnTo>
                    <a:pt x="440" y="10"/>
                  </a:lnTo>
                  <a:lnTo>
                    <a:pt x="440" y="10"/>
                  </a:lnTo>
                  <a:lnTo>
                    <a:pt x="443" y="2"/>
                  </a:lnTo>
                  <a:lnTo>
                    <a:pt x="44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06" name="Freeform 1666"/>
            <p:cNvSpPr>
              <a:spLocks noEditPoints="1"/>
            </p:cNvSpPr>
            <p:nvPr/>
          </p:nvSpPr>
          <p:spPr bwMode="auto">
            <a:xfrm>
              <a:off x="4087813" y="3589766"/>
              <a:ext cx="71438" cy="163513"/>
            </a:xfrm>
            <a:custGeom>
              <a:avLst/>
              <a:gdLst>
                <a:gd name="T0" fmla="*/ 6 w 45"/>
                <a:gd name="T1" fmla="*/ 0 h 103"/>
                <a:gd name="T2" fmla="*/ 0 w 45"/>
                <a:gd name="T3" fmla="*/ 4 h 103"/>
                <a:gd name="T4" fmla="*/ 6 w 45"/>
                <a:gd name="T5" fmla="*/ 3 h 103"/>
                <a:gd name="T6" fmla="*/ 19 w 45"/>
                <a:gd name="T7" fmla="*/ 6 h 103"/>
                <a:gd name="T8" fmla="*/ 16 w 45"/>
                <a:gd name="T9" fmla="*/ 4 h 103"/>
                <a:gd name="T10" fmla="*/ 16 w 45"/>
                <a:gd name="T11" fmla="*/ 4 h 103"/>
                <a:gd name="T12" fmla="*/ 15 w 45"/>
                <a:gd name="T13" fmla="*/ 4 h 103"/>
                <a:gd name="T14" fmla="*/ 15 w 45"/>
                <a:gd name="T15" fmla="*/ 3 h 103"/>
                <a:gd name="T16" fmla="*/ 13 w 45"/>
                <a:gd name="T17" fmla="*/ 2 h 103"/>
                <a:gd name="T18" fmla="*/ 10 w 45"/>
                <a:gd name="T19" fmla="*/ 3 h 103"/>
                <a:gd name="T20" fmla="*/ 12 w 45"/>
                <a:gd name="T21" fmla="*/ 3 h 103"/>
                <a:gd name="T22" fmla="*/ 13 w 45"/>
                <a:gd name="T23" fmla="*/ 4 h 103"/>
                <a:gd name="T24" fmla="*/ 13 w 45"/>
                <a:gd name="T25" fmla="*/ 6 h 103"/>
                <a:gd name="T26" fmla="*/ 15 w 45"/>
                <a:gd name="T27" fmla="*/ 7 h 103"/>
                <a:gd name="T28" fmla="*/ 16 w 45"/>
                <a:gd name="T29" fmla="*/ 7 h 103"/>
                <a:gd name="T30" fmla="*/ 19 w 45"/>
                <a:gd name="T31" fmla="*/ 7 h 103"/>
                <a:gd name="T32" fmla="*/ 33 w 45"/>
                <a:gd name="T33" fmla="*/ 6 h 103"/>
                <a:gd name="T34" fmla="*/ 23 w 45"/>
                <a:gd name="T35" fmla="*/ 6 h 103"/>
                <a:gd name="T36" fmla="*/ 23 w 45"/>
                <a:gd name="T37" fmla="*/ 7 h 103"/>
                <a:gd name="T38" fmla="*/ 33 w 45"/>
                <a:gd name="T39" fmla="*/ 6 h 103"/>
                <a:gd name="T40" fmla="*/ 44 w 45"/>
                <a:gd name="T41" fmla="*/ 17 h 103"/>
                <a:gd name="T42" fmla="*/ 45 w 45"/>
                <a:gd name="T43" fmla="*/ 13 h 103"/>
                <a:gd name="T44" fmla="*/ 42 w 45"/>
                <a:gd name="T45" fmla="*/ 9 h 103"/>
                <a:gd name="T46" fmla="*/ 39 w 45"/>
                <a:gd name="T47" fmla="*/ 7 h 103"/>
                <a:gd name="T48" fmla="*/ 38 w 45"/>
                <a:gd name="T49" fmla="*/ 10 h 103"/>
                <a:gd name="T50" fmla="*/ 41 w 45"/>
                <a:gd name="T51" fmla="*/ 12 h 103"/>
                <a:gd name="T52" fmla="*/ 42 w 45"/>
                <a:gd name="T53" fmla="*/ 13 h 103"/>
                <a:gd name="T54" fmla="*/ 44 w 45"/>
                <a:gd name="T55" fmla="*/ 17 h 103"/>
                <a:gd name="T56" fmla="*/ 35 w 45"/>
                <a:gd name="T57" fmla="*/ 29 h 103"/>
                <a:gd name="T58" fmla="*/ 41 w 45"/>
                <a:gd name="T59" fmla="*/ 22 h 103"/>
                <a:gd name="T60" fmla="*/ 39 w 45"/>
                <a:gd name="T61" fmla="*/ 20 h 103"/>
                <a:gd name="T62" fmla="*/ 32 w 45"/>
                <a:gd name="T63" fmla="*/ 28 h 103"/>
                <a:gd name="T64" fmla="*/ 32 w 45"/>
                <a:gd name="T65" fmla="*/ 44 h 103"/>
                <a:gd name="T66" fmla="*/ 33 w 45"/>
                <a:gd name="T67" fmla="*/ 33 h 103"/>
                <a:gd name="T68" fmla="*/ 31 w 45"/>
                <a:gd name="T69" fmla="*/ 33 h 103"/>
                <a:gd name="T70" fmla="*/ 32 w 45"/>
                <a:gd name="T71" fmla="*/ 44 h 103"/>
                <a:gd name="T72" fmla="*/ 31 w 45"/>
                <a:gd name="T73" fmla="*/ 60 h 103"/>
                <a:gd name="T74" fmla="*/ 29 w 45"/>
                <a:gd name="T75" fmla="*/ 48 h 103"/>
                <a:gd name="T76" fmla="*/ 28 w 45"/>
                <a:gd name="T77" fmla="*/ 58 h 103"/>
                <a:gd name="T78" fmla="*/ 28 w 45"/>
                <a:gd name="T79" fmla="*/ 74 h 103"/>
                <a:gd name="T80" fmla="*/ 28 w 45"/>
                <a:gd name="T81" fmla="*/ 74 h 103"/>
                <a:gd name="T82" fmla="*/ 28 w 45"/>
                <a:gd name="T83" fmla="*/ 64 h 103"/>
                <a:gd name="T84" fmla="*/ 25 w 45"/>
                <a:gd name="T85" fmla="*/ 73 h 103"/>
                <a:gd name="T86" fmla="*/ 28 w 45"/>
                <a:gd name="T87" fmla="*/ 74 h 103"/>
                <a:gd name="T88" fmla="*/ 26 w 45"/>
                <a:gd name="T89" fmla="*/ 90 h 103"/>
                <a:gd name="T90" fmla="*/ 28 w 45"/>
                <a:gd name="T91" fmla="*/ 86 h 103"/>
                <a:gd name="T92" fmla="*/ 26 w 45"/>
                <a:gd name="T93" fmla="*/ 78 h 103"/>
                <a:gd name="T94" fmla="*/ 25 w 45"/>
                <a:gd name="T95" fmla="*/ 78 h 103"/>
                <a:gd name="T96" fmla="*/ 26 w 45"/>
                <a:gd name="T97" fmla="*/ 86 h 103"/>
                <a:gd name="T98" fmla="*/ 26 w 45"/>
                <a:gd name="T99" fmla="*/ 90 h 103"/>
                <a:gd name="T100" fmla="*/ 22 w 45"/>
                <a:gd name="T101" fmla="*/ 103 h 103"/>
                <a:gd name="T102" fmla="*/ 22 w 45"/>
                <a:gd name="T103" fmla="*/ 93 h 103"/>
                <a:gd name="T104" fmla="*/ 20 w 45"/>
                <a:gd name="T105"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 h="103">
                  <a:moveTo>
                    <a:pt x="6" y="0"/>
                  </a:moveTo>
                  <a:lnTo>
                    <a:pt x="6" y="0"/>
                  </a:lnTo>
                  <a:lnTo>
                    <a:pt x="0" y="2"/>
                  </a:lnTo>
                  <a:lnTo>
                    <a:pt x="0" y="4"/>
                  </a:lnTo>
                  <a:lnTo>
                    <a:pt x="0" y="4"/>
                  </a:lnTo>
                  <a:lnTo>
                    <a:pt x="6" y="3"/>
                  </a:lnTo>
                  <a:lnTo>
                    <a:pt x="6" y="0"/>
                  </a:lnTo>
                  <a:close/>
                  <a:moveTo>
                    <a:pt x="19" y="6"/>
                  </a:moveTo>
                  <a:lnTo>
                    <a:pt x="19" y="6"/>
                  </a:lnTo>
                  <a:lnTo>
                    <a:pt x="16" y="4"/>
                  </a:lnTo>
                  <a:lnTo>
                    <a:pt x="16" y="4"/>
                  </a:lnTo>
                  <a:lnTo>
                    <a:pt x="16" y="4"/>
                  </a:lnTo>
                  <a:lnTo>
                    <a:pt x="15" y="4"/>
                  </a:lnTo>
                  <a:lnTo>
                    <a:pt x="15" y="4"/>
                  </a:lnTo>
                  <a:lnTo>
                    <a:pt x="15" y="3"/>
                  </a:lnTo>
                  <a:lnTo>
                    <a:pt x="15" y="3"/>
                  </a:lnTo>
                  <a:lnTo>
                    <a:pt x="13" y="2"/>
                  </a:lnTo>
                  <a:lnTo>
                    <a:pt x="13" y="2"/>
                  </a:lnTo>
                  <a:lnTo>
                    <a:pt x="12" y="0"/>
                  </a:lnTo>
                  <a:lnTo>
                    <a:pt x="10" y="3"/>
                  </a:lnTo>
                  <a:lnTo>
                    <a:pt x="10" y="3"/>
                  </a:lnTo>
                  <a:lnTo>
                    <a:pt x="12" y="3"/>
                  </a:lnTo>
                  <a:lnTo>
                    <a:pt x="12" y="3"/>
                  </a:lnTo>
                  <a:lnTo>
                    <a:pt x="13" y="4"/>
                  </a:lnTo>
                  <a:lnTo>
                    <a:pt x="13" y="4"/>
                  </a:lnTo>
                  <a:lnTo>
                    <a:pt x="13" y="6"/>
                  </a:lnTo>
                  <a:lnTo>
                    <a:pt x="13" y="6"/>
                  </a:lnTo>
                  <a:lnTo>
                    <a:pt x="15" y="7"/>
                  </a:lnTo>
                  <a:lnTo>
                    <a:pt x="15" y="7"/>
                  </a:lnTo>
                  <a:lnTo>
                    <a:pt x="16" y="7"/>
                  </a:lnTo>
                  <a:lnTo>
                    <a:pt x="16" y="7"/>
                  </a:lnTo>
                  <a:lnTo>
                    <a:pt x="19" y="7"/>
                  </a:lnTo>
                  <a:lnTo>
                    <a:pt x="19" y="6"/>
                  </a:lnTo>
                  <a:close/>
                  <a:moveTo>
                    <a:pt x="33" y="6"/>
                  </a:moveTo>
                  <a:lnTo>
                    <a:pt x="33" y="6"/>
                  </a:lnTo>
                  <a:lnTo>
                    <a:pt x="23" y="6"/>
                  </a:lnTo>
                  <a:lnTo>
                    <a:pt x="23" y="7"/>
                  </a:lnTo>
                  <a:lnTo>
                    <a:pt x="23" y="7"/>
                  </a:lnTo>
                  <a:lnTo>
                    <a:pt x="33" y="9"/>
                  </a:lnTo>
                  <a:lnTo>
                    <a:pt x="33" y="6"/>
                  </a:lnTo>
                  <a:close/>
                  <a:moveTo>
                    <a:pt x="44" y="17"/>
                  </a:moveTo>
                  <a:lnTo>
                    <a:pt x="44" y="17"/>
                  </a:lnTo>
                  <a:lnTo>
                    <a:pt x="45" y="13"/>
                  </a:lnTo>
                  <a:lnTo>
                    <a:pt x="45" y="13"/>
                  </a:lnTo>
                  <a:lnTo>
                    <a:pt x="44" y="12"/>
                  </a:lnTo>
                  <a:lnTo>
                    <a:pt x="42" y="9"/>
                  </a:lnTo>
                  <a:lnTo>
                    <a:pt x="42" y="9"/>
                  </a:lnTo>
                  <a:lnTo>
                    <a:pt x="39" y="7"/>
                  </a:lnTo>
                  <a:lnTo>
                    <a:pt x="38" y="10"/>
                  </a:lnTo>
                  <a:lnTo>
                    <a:pt x="38" y="10"/>
                  </a:lnTo>
                  <a:lnTo>
                    <a:pt x="41" y="12"/>
                  </a:lnTo>
                  <a:lnTo>
                    <a:pt x="41" y="12"/>
                  </a:lnTo>
                  <a:lnTo>
                    <a:pt x="42" y="13"/>
                  </a:lnTo>
                  <a:lnTo>
                    <a:pt x="42" y="13"/>
                  </a:lnTo>
                  <a:lnTo>
                    <a:pt x="41" y="16"/>
                  </a:lnTo>
                  <a:lnTo>
                    <a:pt x="44" y="17"/>
                  </a:lnTo>
                  <a:close/>
                  <a:moveTo>
                    <a:pt x="35" y="29"/>
                  </a:moveTo>
                  <a:lnTo>
                    <a:pt x="35" y="29"/>
                  </a:lnTo>
                  <a:lnTo>
                    <a:pt x="38" y="25"/>
                  </a:lnTo>
                  <a:lnTo>
                    <a:pt x="41" y="22"/>
                  </a:lnTo>
                  <a:lnTo>
                    <a:pt x="39" y="20"/>
                  </a:lnTo>
                  <a:lnTo>
                    <a:pt x="39" y="20"/>
                  </a:lnTo>
                  <a:lnTo>
                    <a:pt x="35" y="23"/>
                  </a:lnTo>
                  <a:lnTo>
                    <a:pt x="32" y="28"/>
                  </a:lnTo>
                  <a:lnTo>
                    <a:pt x="35" y="29"/>
                  </a:lnTo>
                  <a:close/>
                  <a:moveTo>
                    <a:pt x="32" y="44"/>
                  </a:moveTo>
                  <a:lnTo>
                    <a:pt x="32" y="44"/>
                  </a:lnTo>
                  <a:lnTo>
                    <a:pt x="33" y="33"/>
                  </a:lnTo>
                  <a:lnTo>
                    <a:pt x="31" y="33"/>
                  </a:lnTo>
                  <a:lnTo>
                    <a:pt x="31" y="33"/>
                  </a:lnTo>
                  <a:lnTo>
                    <a:pt x="29" y="44"/>
                  </a:lnTo>
                  <a:lnTo>
                    <a:pt x="32" y="44"/>
                  </a:lnTo>
                  <a:close/>
                  <a:moveTo>
                    <a:pt x="31" y="60"/>
                  </a:moveTo>
                  <a:lnTo>
                    <a:pt x="31" y="60"/>
                  </a:lnTo>
                  <a:lnTo>
                    <a:pt x="32" y="49"/>
                  </a:lnTo>
                  <a:lnTo>
                    <a:pt x="29" y="48"/>
                  </a:lnTo>
                  <a:lnTo>
                    <a:pt x="29" y="48"/>
                  </a:lnTo>
                  <a:lnTo>
                    <a:pt x="28" y="58"/>
                  </a:lnTo>
                  <a:lnTo>
                    <a:pt x="31" y="60"/>
                  </a:lnTo>
                  <a:close/>
                  <a:moveTo>
                    <a:pt x="28" y="74"/>
                  </a:moveTo>
                  <a:lnTo>
                    <a:pt x="28" y="74"/>
                  </a:lnTo>
                  <a:lnTo>
                    <a:pt x="28" y="74"/>
                  </a:lnTo>
                  <a:lnTo>
                    <a:pt x="29" y="64"/>
                  </a:lnTo>
                  <a:lnTo>
                    <a:pt x="28" y="64"/>
                  </a:lnTo>
                  <a:lnTo>
                    <a:pt x="28" y="64"/>
                  </a:lnTo>
                  <a:lnTo>
                    <a:pt x="25" y="73"/>
                  </a:lnTo>
                  <a:lnTo>
                    <a:pt x="25" y="74"/>
                  </a:lnTo>
                  <a:lnTo>
                    <a:pt x="28" y="74"/>
                  </a:lnTo>
                  <a:close/>
                  <a:moveTo>
                    <a:pt x="26" y="90"/>
                  </a:moveTo>
                  <a:lnTo>
                    <a:pt x="26" y="90"/>
                  </a:lnTo>
                  <a:lnTo>
                    <a:pt x="28" y="87"/>
                  </a:lnTo>
                  <a:lnTo>
                    <a:pt x="28" y="86"/>
                  </a:lnTo>
                  <a:lnTo>
                    <a:pt x="28" y="86"/>
                  </a:lnTo>
                  <a:lnTo>
                    <a:pt x="26" y="78"/>
                  </a:lnTo>
                  <a:lnTo>
                    <a:pt x="25" y="78"/>
                  </a:lnTo>
                  <a:lnTo>
                    <a:pt x="25" y="78"/>
                  </a:lnTo>
                  <a:lnTo>
                    <a:pt x="26" y="86"/>
                  </a:lnTo>
                  <a:lnTo>
                    <a:pt x="26" y="86"/>
                  </a:lnTo>
                  <a:lnTo>
                    <a:pt x="25" y="87"/>
                  </a:lnTo>
                  <a:lnTo>
                    <a:pt x="26" y="90"/>
                  </a:lnTo>
                  <a:close/>
                  <a:moveTo>
                    <a:pt x="22" y="103"/>
                  </a:moveTo>
                  <a:lnTo>
                    <a:pt x="22" y="103"/>
                  </a:lnTo>
                  <a:lnTo>
                    <a:pt x="23" y="93"/>
                  </a:lnTo>
                  <a:lnTo>
                    <a:pt x="22" y="93"/>
                  </a:lnTo>
                  <a:lnTo>
                    <a:pt x="22" y="93"/>
                  </a:lnTo>
                  <a:lnTo>
                    <a:pt x="20" y="103"/>
                  </a:lnTo>
                  <a:lnTo>
                    <a:pt x="22" y="1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07" name="Freeform 1667"/>
            <p:cNvSpPr>
              <a:spLocks noEditPoints="1"/>
            </p:cNvSpPr>
            <p:nvPr/>
          </p:nvSpPr>
          <p:spPr bwMode="auto">
            <a:xfrm>
              <a:off x="4270375" y="3543729"/>
              <a:ext cx="123825" cy="41275"/>
            </a:xfrm>
            <a:custGeom>
              <a:avLst/>
              <a:gdLst>
                <a:gd name="T0" fmla="*/ 7 w 78"/>
                <a:gd name="T1" fmla="*/ 4 h 26"/>
                <a:gd name="T2" fmla="*/ 7 w 78"/>
                <a:gd name="T3" fmla="*/ 4 h 26"/>
                <a:gd name="T4" fmla="*/ 1 w 78"/>
                <a:gd name="T5" fmla="*/ 0 h 26"/>
                <a:gd name="T6" fmla="*/ 0 w 78"/>
                <a:gd name="T7" fmla="*/ 2 h 26"/>
                <a:gd name="T8" fmla="*/ 0 w 78"/>
                <a:gd name="T9" fmla="*/ 2 h 26"/>
                <a:gd name="T10" fmla="*/ 5 w 78"/>
                <a:gd name="T11" fmla="*/ 6 h 26"/>
                <a:gd name="T12" fmla="*/ 7 w 78"/>
                <a:gd name="T13" fmla="*/ 4 h 26"/>
                <a:gd name="T14" fmla="*/ 20 w 78"/>
                <a:gd name="T15" fmla="*/ 12 h 26"/>
                <a:gd name="T16" fmla="*/ 20 w 78"/>
                <a:gd name="T17" fmla="*/ 12 h 26"/>
                <a:gd name="T18" fmla="*/ 11 w 78"/>
                <a:gd name="T19" fmla="*/ 7 h 26"/>
                <a:gd name="T20" fmla="*/ 10 w 78"/>
                <a:gd name="T21" fmla="*/ 9 h 26"/>
                <a:gd name="T22" fmla="*/ 10 w 78"/>
                <a:gd name="T23" fmla="*/ 9 h 26"/>
                <a:gd name="T24" fmla="*/ 20 w 78"/>
                <a:gd name="T25" fmla="*/ 13 h 26"/>
                <a:gd name="T26" fmla="*/ 20 w 78"/>
                <a:gd name="T27" fmla="*/ 12 h 26"/>
                <a:gd name="T28" fmla="*/ 34 w 78"/>
                <a:gd name="T29" fmla="*/ 15 h 26"/>
                <a:gd name="T30" fmla="*/ 34 w 78"/>
                <a:gd name="T31" fmla="*/ 15 h 26"/>
                <a:gd name="T32" fmla="*/ 26 w 78"/>
                <a:gd name="T33" fmla="*/ 13 h 26"/>
                <a:gd name="T34" fmla="*/ 24 w 78"/>
                <a:gd name="T35" fmla="*/ 15 h 26"/>
                <a:gd name="T36" fmla="*/ 24 w 78"/>
                <a:gd name="T37" fmla="*/ 15 h 26"/>
                <a:gd name="T38" fmla="*/ 34 w 78"/>
                <a:gd name="T39" fmla="*/ 18 h 26"/>
                <a:gd name="T40" fmla="*/ 34 w 78"/>
                <a:gd name="T41" fmla="*/ 15 h 26"/>
                <a:gd name="T42" fmla="*/ 50 w 78"/>
                <a:gd name="T43" fmla="*/ 16 h 26"/>
                <a:gd name="T44" fmla="*/ 50 w 78"/>
                <a:gd name="T45" fmla="*/ 16 h 26"/>
                <a:gd name="T46" fmla="*/ 43 w 78"/>
                <a:gd name="T47" fmla="*/ 16 h 26"/>
                <a:gd name="T48" fmla="*/ 43 w 78"/>
                <a:gd name="T49" fmla="*/ 16 h 26"/>
                <a:gd name="T50" fmla="*/ 40 w 78"/>
                <a:gd name="T51" fmla="*/ 15 h 26"/>
                <a:gd name="T52" fmla="*/ 40 w 78"/>
                <a:gd name="T53" fmla="*/ 18 h 26"/>
                <a:gd name="T54" fmla="*/ 40 w 78"/>
                <a:gd name="T55" fmla="*/ 18 h 26"/>
                <a:gd name="T56" fmla="*/ 43 w 78"/>
                <a:gd name="T57" fmla="*/ 18 h 26"/>
                <a:gd name="T58" fmla="*/ 43 w 78"/>
                <a:gd name="T59" fmla="*/ 18 h 26"/>
                <a:gd name="T60" fmla="*/ 49 w 78"/>
                <a:gd name="T61" fmla="*/ 19 h 26"/>
                <a:gd name="T62" fmla="*/ 50 w 78"/>
                <a:gd name="T63" fmla="*/ 16 h 26"/>
                <a:gd name="T64" fmla="*/ 62 w 78"/>
                <a:gd name="T65" fmla="*/ 23 h 26"/>
                <a:gd name="T66" fmla="*/ 62 w 78"/>
                <a:gd name="T67" fmla="*/ 23 h 26"/>
                <a:gd name="T68" fmla="*/ 55 w 78"/>
                <a:gd name="T69" fmla="*/ 22 h 26"/>
                <a:gd name="T70" fmla="*/ 53 w 78"/>
                <a:gd name="T71" fmla="*/ 20 h 26"/>
                <a:gd name="T72" fmla="*/ 52 w 78"/>
                <a:gd name="T73" fmla="*/ 22 h 26"/>
                <a:gd name="T74" fmla="*/ 52 w 78"/>
                <a:gd name="T75" fmla="*/ 22 h 26"/>
                <a:gd name="T76" fmla="*/ 53 w 78"/>
                <a:gd name="T77" fmla="*/ 23 h 26"/>
                <a:gd name="T78" fmla="*/ 53 w 78"/>
                <a:gd name="T79" fmla="*/ 23 h 26"/>
                <a:gd name="T80" fmla="*/ 57 w 78"/>
                <a:gd name="T81" fmla="*/ 25 h 26"/>
                <a:gd name="T82" fmla="*/ 62 w 78"/>
                <a:gd name="T83" fmla="*/ 26 h 26"/>
                <a:gd name="T84" fmla="*/ 62 w 78"/>
                <a:gd name="T85" fmla="*/ 23 h 26"/>
                <a:gd name="T86" fmla="*/ 78 w 78"/>
                <a:gd name="T87" fmla="*/ 23 h 26"/>
                <a:gd name="T88" fmla="*/ 78 w 78"/>
                <a:gd name="T89" fmla="*/ 23 h 26"/>
                <a:gd name="T90" fmla="*/ 68 w 78"/>
                <a:gd name="T91" fmla="*/ 23 h 26"/>
                <a:gd name="T92" fmla="*/ 68 w 78"/>
                <a:gd name="T93" fmla="*/ 26 h 26"/>
                <a:gd name="T94" fmla="*/ 68 w 78"/>
                <a:gd name="T95" fmla="*/ 26 h 26"/>
                <a:gd name="T96" fmla="*/ 78 w 78"/>
                <a:gd name="T97" fmla="*/ 26 h 26"/>
                <a:gd name="T98" fmla="*/ 78 w 78"/>
                <a:gd name="T99" fmla="*/ 2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8" h="26">
                  <a:moveTo>
                    <a:pt x="7" y="4"/>
                  </a:moveTo>
                  <a:lnTo>
                    <a:pt x="7" y="4"/>
                  </a:lnTo>
                  <a:lnTo>
                    <a:pt x="1" y="0"/>
                  </a:lnTo>
                  <a:lnTo>
                    <a:pt x="0" y="2"/>
                  </a:lnTo>
                  <a:lnTo>
                    <a:pt x="0" y="2"/>
                  </a:lnTo>
                  <a:lnTo>
                    <a:pt x="5" y="6"/>
                  </a:lnTo>
                  <a:lnTo>
                    <a:pt x="7" y="4"/>
                  </a:lnTo>
                  <a:close/>
                  <a:moveTo>
                    <a:pt x="20" y="12"/>
                  </a:moveTo>
                  <a:lnTo>
                    <a:pt x="20" y="12"/>
                  </a:lnTo>
                  <a:lnTo>
                    <a:pt x="11" y="7"/>
                  </a:lnTo>
                  <a:lnTo>
                    <a:pt x="10" y="9"/>
                  </a:lnTo>
                  <a:lnTo>
                    <a:pt x="10" y="9"/>
                  </a:lnTo>
                  <a:lnTo>
                    <a:pt x="20" y="13"/>
                  </a:lnTo>
                  <a:lnTo>
                    <a:pt x="20" y="12"/>
                  </a:lnTo>
                  <a:close/>
                  <a:moveTo>
                    <a:pt x="34" y="15"/>
                  </a:moveTo>
                  <a:lnTo>
                    <a:pt x="34" y="15"/>
                  </a:lnTo>
                  <a:lnTo>
                    <a:pt x="26" y="13"/>
                  </a:lnTo>
                  <a:lnTo>
                    <a:pt x="24" y="15"/>
                  </a:lnTo>
                  <a:lnTo>
                    <a:pt x="24" y="15"/>
                  </a:lnTo>
                  <a:lnTo>
                    <a:pt x="34" y="18"/>
                  </a:lnTo>
                  <a:lnTo>
                    <a:pt x="34" y="15"/>
                  </a:lnTo>
                  <a:close/>
                  <a:moveTo>
                    <a:pt x="50" y="16"/>
                  </a:moveTo>
                  <a:lnTo>
                    <a:pt x="50" y="16"/>
                  </a:lnTo>
                  <a:lnTo>
                    <a:pt x="43" y="16"/>
                  </a:lnTo>
                  <a:lnTo>
                    <a:pt x="43" y="16"/>
                  </a:lnTo>
                  <a:lnTo>
                    <a:pt x="40" y="15"/>
                  </a:lnTo>
                  <a:lnTo>
                    <a:pt x="40" y="18"/>
                  </a:lnTo>
                  <a:lnTo>
                    <a:pt x="40" y="18"/>
                  </a:lnTo>
                  <a:lnTo>
                    <a:pt x="43" y="18"/>
                  </a:lnTo>
                  <a:lnTo>
                    <a:pt x="43" y="18"/>
                  </a:lnTo>
                  <a:lnTo>
                    <a:pt x="49" y="19"/>
                  </a:lnTo>
                  <a:lnTo>
                    <a:pt x="50" y="16"/>
                  </a:lnTo>
                  <a:close/>
                  <a:moveTo>
                    <a:pt x="62" y="23"/>
                  </a:moveTo>
                  <a:lnTo>
                    <a:pt x="62" y="23"/>
                  </a:lnTo>
                  <a:lnTo>
                    <a:pt x="55" y="22"/>
                  </a:lnTo>
                  <a:lnTo>
                    <a:pt x="53" y="20"/>
                  </a:lnTo>
                  <a:lnTo>
                    <a:pt x="52" y="22"/>
                  </a:lnTo>
                  <a:lnTo>
                    <a:pt x="52" y="22"/>
                  </a:lnTo>
                  <a:lnTo>
                    <a:pt x="53" y="23"/>
                  </a:lnTo>
                  <a:lnTo>
                    <a:pt x="53" y="23"/>
                  </a:lnTo>
                  <a:lnTo>
                    <a:pt x="57" y="25"/>
                  </a:lnTo>
                  <a:lnTo>
                    <a:pt x="62" y="26"/>
                  </a:lnTo>
                  <a:lnTo>
                    <a:pt x="62" y="23"/>
                  </a:lnTo>
                  <a:close/>
                  <a:moveTo>
                    <a:pt x="78" y="23"/>
                  </a:moveTo>
                  <a:lnTo>
                    <a:pt x="78" y="23"/>
                  </a:lnTo>
                  <a:lnTo>
                    <a:pt x="68" y="23"/>
                  </a:lnTo>
                  <a:lnTo>
                    <a:pt x="68" y="26"/>
                  </a:lnTo>
                  <a:lnTo>
                    <a:pt x="68" y="26"/>
                  </a:lnTo>
                  <a:lnTo>
                    <a:pt x="78" y="26"/>
                  </a:lnTo>
                  <a:lnTo>
                    <a:pt x="78"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08" name="Freeform 1668"/>
            <p:cNvSpPr>
              <a:spLocks noEditPoints="1"/>
            </p:cNvSpPr>
            <p:nvPr/>
          </p:nvSpPr>
          <p:spPr bwMode="auto">
            <a:xfrm>
              <a:off x="4403725" y="3238929"/>
              <a:ext cx="115888" cy="298450"/>
            </a:xfrm>
            <a:custGeom>
              <a:avLst/>
              <a:gdLst>
                <a:gd name="T0" fmla="*/ 0 w 73"/>
                <a:gd name="T1" fmla="*/ 1 h 188"/>
                <a:gd name="T2" fmla="*/ 17 w 73"/>
                <a:gd name="T3" fmla="*/ 2 h 188"/>
                <a:gd name="T4" fmla="*/ 13 w 73"/>
                <a:gd name="T5" fmla="*/ 4 h 188"/>
                <a:gd name="T6" fmla="*/ 13 w 73"/>
                <a:gd name="T7" fmla="*/ 5 h 188"/>
                <a:gd name="T8" fmla="*/ 17 w 73"/>
                <a:gd name="T9" fmla="*/ 5 h 188"/>
                <a:gd name="T10" fmla="*/ 29 w 73"/>
                <a:gd name="T11" fmla="*/ 1 h 188"/>
                <a:gd name="T12" fmla="*/ 21 w 73"/>
                <a:gd name="T13" fmla="*/ 4 h 188"/>
                <a:gd name="T14" fmla="*/ 31 w 73"/>
                <a:gd name="T15" fmla="*/ 5 h 188"/>
                <a:gd name="T16" fmla="*/ 36 w 73"/>
                <a:gd name="T17" fmla="*/ 7 h 188"/>
                <a:gd name="T18" fmla="*/ 43 w 73"/>
                <a:gd name="T19" fmla="*/ 14 h 188"/>
                <a:gd name="T20" fmla="*/ 47 w 73"/>
                <a:gd name="T21" fmla="*/ 28 h 188"/>
                <a:gd name="T22" fmla="*/ 43 w 73"/>
                <a:gd name="T23" fmla="*/ 20 h 188"/>
                <a:gd name="T24" fmla="*/ 46 w 73"/>
                <a:gd name="T25" fmla="*/ 30 h 188"/>
                <a:gd name="T26" fmla="*/ 42 w 73"/>
                <a:gd name="T27" fmla="*/ 33 h 188"/>
                <a:gd name="T28" fmla="*/ 40 w 73"/>
                <a:gd name="T29" fmla="*/ 50 h 188"/>
                <a:gd name="T30" fmla="*/ 34 w 73"/>
                <a:gd name="T31" fmla="*/ 47 h 188"/>
                <a:gd name="T32" fmla="*/ 31 w 73"/>
                <a:gd name="T33" fmla="*/ 44 h 188"/>
                <a:gd name="T34" fmla="*/ 33 w 73"/>
                <a:gd name="T35" fmla="*/ 49 h 188"/>
                <a:gd name="T36" fmla="*/ 40 w 73"/>
                <a:gd name="T37" fmla="*/ 50 h 188"/>
                <a:gd name="T38" fmla="*/ 50 w 73"/>
                <a:gd name="T39" fmla="*/ 52 h 188"/>
                <a:gd name="T40" fmla="*/ 49 w 73"/>
                <a:gd name="T41" fmla="*/ 55 h 188"/>
                <a:gd name="T42" fmla="*/ 69 w 73"/>
                <a:gd name="T43" fmla="*/ 59 h 188"/>
                <a:gd name="T44" fmla="*/ 59 w 73"/>
                <a:gd name="T45" fmla="*/ 59 h 188"/>
                <a:gd name="T46" fmla="*/ 72 w 73"/>
                <a:gd name="T47" fmla="*/ 73 h 188"/>
                <a:gd name="T48" fmla="*/ 71 w 73"/>
                <a:gd name="T49" fmla="*/ 63 h 188"/>
                <a:gd name="T50" fmla="*/ 69 w 73"/>
                <a:gd name="T51" fmla="*/ 73 h 188"/>
                <a:gd name="T52" fmla="*/ 71 w 73"/>
                <a:gd name="T53" fmla="*/ 79 h 188"/>
                <a:gd name="T54" fmla="*/ 66 w 73"/>
                <a:gd name="T55" fmla="*/ 88 h 188"/>
                <a:gd name="T56" fmla="*/ 65 w 73"/>
                <a:gd name="T57" fmla="*/ 97 h 188"/>
                <a:gd name="T58" fmla="*/ 63 w 73"/>
                <a:gd name="T59" fmla="*/ 92 h 188"/>
                <a:gd name="T60" fmla="*/ 59 w 73"/>
                <a:gd name="T61" fmla="*/ 101 h 188"/>
                <a:gd name="T62" fmla="*/ 57 w 73"/>
                <a:gd name="T63" fmla="*/ 107 h 188"/>
                <a:gd name="T64" fmla="*/ 52 w 73"/>
                <a:gd name="T65" fmla="*/ 114 h 188"/>
                <a:gd name="T66" fmla="*/ 43 w 73"/>
                <a:gd name="T67" fmla="*/ 123 h 188"/>
                <a:gd name="T68" fmla="*/ 46 w 73"/>
                <a:gd name="T69" fmla="*/ 115 h 188"/>
                <a:gd name="T70" fmla="*/ 40 w 73"/>
                <a:gd name="T71" fmla="*/ 123 h 188"/>
                <a:gd name="T72" fmla="*/ 43 w 73"/>
                <a:gd name="T73" fmla="*/ 124 h 188"/>
                <a:gd name="T74" fmla="*/ 52 w 73"/>
                <a:gd name="T75" fmla="*/ 127 h 188"/>
                <a:gd name="T76" fmla="*/ 46 w 73"/>
                <a:gd name="T77" fmla="*/ 128 h 188"/>
                <a:gd name="T78" fmla="*/ 53 w 73"/>
                <a:gd name="T79" fmla="*/ 133 h 188"/>
                <a:gd name="T80" fmla="*/ 57 w 73"/>
                <a:gd name="T81" fmla="*/ 146 h 188"/>
                <a:gd name="T82" fmla="*/ 56 w 73"/>
                <a:gd name="T83" fmla="*/ 139 h 188"/>
                <a:gd name="T84" fmla="*/ 55 w 73"/>
                <a:gd name="T85" fmla="*/ 146 h 188"/>
                <a:gd name="T86" fmla="*/ 50 w 73"/>
                <a:gd name="T87" fmla="*/ 160 h 188"/>
                <a:gd name="T88" fmla="*/ 50 w 73"/>
                <a:gd name="T89" fmla="*/ 156 h 188"/>
                <a:gd name="T90" fmla="*/ 50 w 73"/>
                <a:gd name="T91" fmla="*/ 150 h 188"/>
                <a:gd name="T92" fmla="*/ 47 w 73"/>
                <a:gd name="T93" fmla="*/ 157 h 188"/>
                <a:gd name="T94" fmla="*/ 57 w 73"/>
                <a:gd name="T95" fmla="*/ 173 h 188"/>
                <a:gd name="T96" fmla="*/ 50 w 73"/>
                <a:gd name="T97" fmla="*/ 166 h 188"/>
                <a:gd name="T98" fmla="*/ 62 w 73"/>
                <a:gd name="T99" fmla="*/ 188 h 188"/>
                <a:gd name="T100" fmla="*/ 59 w 73"/>
                <a:gd name="T101"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3" h="188">
                  <a:moveTo>
                    <a:pt x="2" y="0"/>
                  </a:moveTo>
                  <a:lnTo>
                    <a:pt x="2" y="0"/>
                  </a:lnTo>
                  <a:lnTo>
                    <a:pt x="1" y="0"/>
                  </a:lnTo>
                  <a:lnTo>
                    <a:pt x="0" y="1"/>
                  </a:lnTo>
                  <a:lnTo>
                    <a:pt x="0" y="1"/>
                  </a:lnTo>
                  <a:lnTo>
                    <a:pt x="1" y="2"/>
                  </a:lnTo>
                  <a:lnTo>
                    <a:pt x="2" y="0"/>
                  </a:lnTo>
                  <a:close/>
                  <a:moveTo>
                    <a:pt x="17" y="2"/>
                  </a:moveTo>
                  <a:lnTo>
                    <a:pt x="17" y="2"/>
                  </a:lnTo>
                  <a:lnTo>
                    <a:pt x="13" y="4"/>
                  </a:lnTo>
                  <a:lnTo>
                    <a:pt x="13" y="4"/>
                  </a:lnTo>
                  <a:lnTo>
                    <a:pt x="13" y="4"/>
                  </a:lnTo>
                  <a:lnTo>
                    <a:pt x="7" y="2"/>
                  </a:lnTo>
                  <a:lnTo>
                    <a:pt x="7" y="4"/>
                  </a:lnTo>
                  <a:lnTo>
                    <a:pt x="7" y="4"/>
                  </a:lnTo>
                  <a:lnTo>
                    <a:pt x="13" y="5"/>
                  </a:lnTo>
                  <a:lnTo>
                    <a:pt x="13" y="5"/>
                  </a:lnTo>
                  <a:lnTo>
                    <a:pt x="14" y="5"/>
                  </a:lnTo>
                  <a:lnTo>
                    <a:pt x="14" y="5"/>
                  </a:lnTo>
                  <a:lnTo>
                    <a:pt x="17" y="5"/>
                  </a:lnTo>
                  <a:lnTo>
                    <a:pt x="17" y="2"/>
                  </a:lnTo>
                  <a:close/>
                  <a:moveTo>
                    <a:pt x="31" y="2"/>
                  </a:moveTo>
                  <a:lnTo>
                    <a:pt x="31" y="2"/>
                  </a:lnTo>
                  <a:lnTo>
                    <a:pt x="29" y="1"/>
                  </a:lnTo>
                  <a:lnTo>
                    <a:pt x="26" y="1"/>
                  </a:lnTo>
                  <a:lnTo>
                    <a:pt x="26" y="1"/>
                  </a:lnTo>
                  <a:lnTo>
                    <a:pt x="21" y="1"/>
                  </a:lnTo>
                  <a:lnTo>
                    <a:pt x="21" y="4"/>
                  </a:lnTo>
                  <a:lnTo>
                    <a:pt x="21" y="4"/>
                  </a:lnTo>
                  <a:lnTo>
                    <a:pt x="26" y="4"/>
                  </a:lnTo>
                  <a:lnTo>
                    <a:pt x="26" y="4"/>
                  </a:lnTo>
                  <a:lnTo>
                    <a:pt x="31" y="5"/>
                  </a:lnTo>
                  <a:lnTo>
                    <a:pt x="31" y="2"/>
                  </a:lnTo>
                  <a:close/>
                  <a:moveTo>
                    <a:pt x="43" y="14"/>
                  </a:moveTo>
                  <a:lnTo>
                    <a:pt x="43" y="14"/>
                  </a:lnTo>
                  <a:lnTo>
                    <a:pt x="36" y="7"/>
                  </a:lnTo>
                  <a:lnTo>
                    <a:pt x="34" y="8"/>
                  </a:lnTo>
                  <a:lnTo>
                    <a:pt x="34" y="8"/>
                  </a:lnTo>
                  <a:lnTo>
                    <a:pt x="40" y="15"/>
                  </a:lnTo>
                  <a:lnTo>
                    <a:pt x="43" y="14"/>
                  </a:lnTo>
                  <a:close/>
                  <a:moveTo>
                    <a:pt x="46" y="30"/>
                  </a:moveTo>
                  <a:lnTo>
                    <a:pt x="46" y="30"/>
                  </a:lnTo>
                  <a:lnTo>
                    <a:pt x="47" y="28"/>
                  </a:lnTo>
                  <a:lnTo>
                    <a:pt x="47" y="28"/>
                  </a:lnTo>
                  <a:lnTo>
                    <a:pt x="46" y="24"/>
                  </a:lnTo>
                  <a:lnTo>
                    <a:pt x="44" y="20"/>
                  </a:lnTo>
                  <a:lnTo>
                    <a:pt x="43" y="20"/>
                  </a:lnTo>
                  <a:lnTo>
                    <a:pt x="43" y="20"/>
                  </a:lnTo>
                  <a:lnTo>
                    <a:pt x="44" y="28"/>
                  </a:lnTo>
                  <a:lnTo>
                    <a:pt x="44" y="28"/>
                  </a:lnTo>
                  <a:lnTo>
                    <a:pt x="44" y="30"/>
                  </a:lnTo>
                  <a:lnTo>
                    <a:pt x="46" y="30"/>
                  </a:lnTo>
                  <a:close/>
                  <a:moveTo>
                    <a:pt x="37" y="43"/>
                  </a:moveTo>
                  <a:lnTo>
                    <a:pt x="37" y="43"/>
                  </a:lnTo>
                  <a:lnTo>
                    <a:pt x="44" y="34"/>
                  </a:lnTo>
                  <a:lnTo>
                    <a:pt x="42" y="33"/>
                  </a:lnTo>
                  <a:lnTo>
                    <a:pt x="42" y="33"/>
                  </a:lnTo>
                  <a:lnTo>
                    <a:pt x="36" y="40"/>
                  </a:lnTo>
                  <a:lnTo>
                    <a:pt x="37" y="43"/>
                  </a:lnTo>
                  <a:close/>
                  <a:moveTo>
                    <a:pt x="40" y="50"/>
                  </a:moveTo>
                  <a:lnTo>
                    <a:pt x="40" y="50"/>
                  </a:lnTo>
                  <a:lnTo>
                    <a:pt x="36" y="49"/>
                  </a:lnTo>
                  <a:lnTo>
                    <a:pt x="36" y="49"/>
                  </a:lnTo>
                  <a:lnTo>
                    <a:pt x="34" y="47"/>
                  </a:lnTo>
                  <a:lnTo>
                    <a:pt x="34" y="47"/>
                  </a:lnTo>
                  <a:lnTo>
                    <a:pt x="34" y="46"/>
                  </a:lnTo>
                  <a:lnTo>
                    <a:pt x="31" y="44"/>
                  </a:lnTo>
                  <a:lnTo>
                    <a:pt x="31" y="44"/>
                  </a:lnTo>
                  <a:lnTo>
                    <a:pt x="31" y="47"/>
                  </a:lnTo>
                  <a:lnTo>
                    <a:pt x="31" y="47"/>
                  </a:lnTo>
                  <a:lnTo>
                    <a:pt x="33" y="49"/>
                  </a:lnTo>
                  <a:lnTo>
                    <a:pt x="33" y="49"/>
                  </a:lnTo>
                  <a:lnTo>
                    <a:pt x="34" y="50"/>
                  </a:lnTo>
                  <a:lnTo>
                    <a:pt x="34" y="50"/>
                  </a:lnTo>
                  <a:lnTo>
                    <a:pt x="39" y="52"/>
                  </a:lnTo>
                  <a:lnTo>
                    <a:pt x="40" y="50"/>
                  </a:lnTo>
                  <a:close/>
                  <a:moveTo>
                    <a:pt x="55" y="55"/>
                  </a:moveTo>
                  <a:lnTo>
                    <a:pt x="55" y="55"/>
                  </a:lnTo>
                  <a:lnTo>
                    <a:pt x="55" y="55"/>
                  </a:lnTo>
                  <a:lnTo>
                    <a:pt x="50" y="52"/>
                  </a:lnTo>
                  <a:lnTo>
                    <a:pt x="44" y="52"/>
                  </a:lnTo>
                  <a:lnTo>
                    <a:pt x="44" y="53"/>
                  </a:lnTo>
                  <a:lnTo>
                    <a:pt x="44" y="53"/>
                  </a:lnTo>
                  <a:lnTo>
                    <a:pt x="49" y="55"/>
                  </a:lnTo>
                  <a:lnTo>
                    <a:pt x="53" y="56"/>
                  </a:lnTo>
                  <a:lnTo>
                    <a:pt x="53" y="56"/>
                  </a:lnTo>
                  <a:lnTo>
                    <a:pt x="55" y="55"/>
                  </a:lnTo>
                  <a:close/>
                  <a:moveTo>
                    <a:pt x="69" y="59"/>
                  </a:moveTo>
                  <a:lnTo>
                    <a:pt x="69" y="59"/>
                  </a:lnTo>
                  <a:lnTo>
                    <a:pt x="59" y="56"/>
                  </a:lnTo>
                  <a:lnTo>
                    <a:pt x="59" y="59"/>
                  </a:lnTo>
                  <a:lnTo>
                    <a:pt x="59" y="59"/>
                  </a:lnTo>
                  <a:lnTo>
                    <a:pt x="68" y="62"/>
                  </a:lnTo>
                  <a:lnTo>
                    <a:pt x="69" y="59"/>
                  </a:lnTo>
                  <a:close/>
                  <a:moveTo>
                    <a:pt x="72" y="73"/>
                  </a:moveTo>
                  <a:lnTo>
                    <a:pt x="72" y="73"/>
                  </a:lnTo>
                  <a:lnTo>
                    <a:pt x="73" y="65"/>
                  </a:lnTo>
                  <a:lnTo>
                    <a:pt x="73" y="65"/>
                  </a:lnTo>
                  <a:lnTo>
                    <a:pt x="73" y="63"/>
                  </a:lnTo>
                  <a:lnTo>
                    <a:pt x="71" y="63"/>
                  </a:lnTo>
                  <a:lnTo>
                    <a:pt x="71" y="63"/>
                  </a:lnTo>
                  <a:lnTo>
                    <a:pt x="71" y="65"/>
                  </a:lnTo>
                  <a:lnTo>
                    <a:pt x="71" y="65"/>
                  </a:lnTo>
                  <a:lnTo>
                    <a:pt x="69" y="73"/>
                  </a:lnTo>
                  <a:lnTo>
                    <a:pt x="72" y="73"/>
                  </a:lnTo>
                  <a:close/>
                  <a:moveTo>
                    <a:pt x="66" y="88"/>
                  </a:moveTo>
                  <a:lnTo>
                    <a:pt x="66" y="88"/>
                  </a:lnTo>
                  <a:lnTo>
                    <a:pt x="71" y="79"/>
                  </a:lnTo>
                  <a:lnTo>
                    <a:pt x="68" y="78"/>
                  </a:lnTo>
                  <a:lnTo>
                    <a:pt x="68" y="78"/>
                  </a:lnTo>
                  <a:lnTo>
                    <a:pt x="65" y="88"/>
                  </a:lnTo>
                  <a:lnTo>
                    <a:pt x="66" y="88"/>
                  </a:lnTo>
                  <a:close/>
                  <a:moveTo>
                    <a:pt x="60" y="102"/>
                  </a:moveTo>
                  <a:lnTo>
                    <a:pt x="60" y="102"/>
                  </a:lnTo>
                  <a:lnTo>
                    <a:pt x="65" y="97"/>
                  </a:lnTo>
                  <a:lnTo>
                    <a:pt x="65" y="97"/>
                  </a:lnTo>
                  <a:lnTo>
                    <a:pt x="66" y="92"/>
                  </a:lnTo>
                  <a:lnTo>
                    <a:pt x="66" y="92"/>
                  </a:lnTo>
                  <a:lnTo>
                    <a:pt x="63" y="92"/>
                  </a:lnTo>
                  <a:lnTo>
                    <a:pt x="63" y="92"/>
                  </a:lnTo>
                  <a:lnTo>
                    <a:pt x="63" y="92"/>
                  </a:lnTo>
                  <a:lnTo>
                    <a:pt x="62" y="97"/>
                  </a:lnTo>
                  <a:lnTo>
                    <a:pt x="62" y="97"/>
                  </a:lnTo>
                  <a:lnTo>
                    <a:pt x="59" y="101"/>
                  </a:lnTo>
                  <a:lnTo>
                    <a:pt x="60" y="102"/>
                  </a:lnTo>
                  <a:close/>
                  <a:moveTo>
                    <a:pt x="52" y="114"/>
                  </a:moveTo>
                  <a:lnTo>
                    <a:pt x="52" y="114"/>
                  </a:lnTo>
                  <a:lnTo>
                    <a:pt x="57" y="107"/>
                  </a:lnTo>
                  <a:lnTo>
                    <a:pt x="56" y="105"/>
                  </a:lnTo>
                  <a:lnTo>
                    <a:pt x="56" y="105"/>
                  </a:lnTo>
                  <a:lnTo>
                    <a:pt x="49" y="112"/>
                  </a:lnTo>
                  <a:lnTo>
                    <a:pt x="52" y="114"/>
                  </a:lnTo>
                  <a:close/>
                  <a:moveTo>
                    <a:pt x="43" y="124"/>
                  </a:moveTo>
                  <a:lnTo>
                    <a:pt x="43" y="123"/>
                  </a:lnTo>
                  <a:lnTo>
                    <a:pt x="43" y="123"/>
                  </a:lnTo>
                  <a:lnTo>
                    <a:pt x="43" y="123"/>
                  </a:lnTo>
                  <a:lnTo>
                    <a:pt x="43" y="123"/>
                  </a:lnTo>
                  <a:lnTo>
                    <a:pt x="43" y="123"/>
                  </a:lnTo>
                  <a:lnTo>
                    <a:pt x="47" y="118"/>
                  </a:lnTo>
                  <a:lnTo>
                    <a:pt x="46" y="115"/>
                  </a:lnTo>
                  <a:lnTo>
                    <a:pt x="46" y="115"/>
                  </a:lnTo>
                  <a:lnTo>
                    <a:pt x="42" y="120"/>
                  </a:lnTo>
                  <a:lnTo>
                    <a:pt x="42" y="120"/>
                  </a:lnTo>
                  <a:lnTo>
                    <a:pt x="40" y="123"/>
                  </a:lnTo>
                  <a:lnTo>
                    <a:pt x="40" y="123"/>
                  </a:lnTo>
                  <a:lnTo>
                    <a:pt x="40" y="124"/>
                  </a:lnTo>
                  <a:lnTo>
                    <a:pt x="42" y="126"/>
                  </a:lnTo>
                  <a:lnTo>
                    <a:pt x="43" y="124"/>
                  </a:lnTo>
                  <a:close/>
                  <a:moveTo>
                    <a:pt x="56" y="133"/>
                  </a:moveTo>
                  <a:lnTo>
                    <a:pt x="56" y="133"/>
                  </a:lnTo>
                  <a:lnTo>
                    <a:pt x="55" y="130"/>
                  </a:lnTo>
                  <a:lnTo>
                    <a:pt x="52" y="127"/>
                  </a:lnTo>
                  <a:lnTo>
                    <a:pt x="52" y="127"/>
                  </a:lnTo>
                  <a:lnTo>
                    <a:pt x="47" y="126"/>
                  </a:lnTo>
                  <a:lnTo>
                    <a:pt x="46" y="128"/>
                  </a:lnTo>
                  <a:lnTo>
                    <a:pt x="46" y="128"/>
                  </a:lnTo>
                  <a:lnTo>
                    <a:pt x="50" y="130"/>
                  </a:lnTo>
                  <a:lnTo>
                    <a:pt x="50" y="130"/>
                  </a:lnTo>
                  <a:lnTo>
                    <a:pt x="52" y="131"/>
                  </a:lnTo>
                  <a:lnTo>
                    <a:pt x="53" y="133"/>
                  </a:lnTo>
                  <a:lnTo>
                    <a:pt x="56" y="133"/>
                  </a:lnTo>
                  <a:close/>
                  <a:moveTo>
                    <a:pt x="56" y="149"/>
                  </a:moveTo>
                  <a:lnTo>
                    <a:pt x="56" y="149"/>
                  </a:lnTo>
                  <a:lnTo>
                    <a:pt x="57" y="146"/>
                  </a:lnTo>
                  <a:lnTo>
                    <a:pt x="57" y="146"/>
                  </a:lnTo>
                  <a:lnTo>
                    <a:pt x="57" y="143"/>
                  </a:lnTo>
                  <a:lnTo>
                    <a:pt x="57" y="143"/>
                  </a:lnTo>
                  <a:lnTo>
                    <a:pt x="56" y="139"/>
                  </a:lnTo>
                  <a:lnTo>
                    <a:pt x="53" y="139"/>
                  </a:lnTo>
                  <a:lnTo>
                    <a:pt x="53" y="139"/>
                  </a:lnTo>
                  <a:lnTo>
                    <a:pt x="55" y="144"/>
                  </a:lnTo>
                  <a:lnTo>
                    <a:pt x="55" y="146"/>
                  </a:lnTo>
                  <a:lnTo>
                    <a:pt x="55" y="146"/>
                  </a:lnTo>
                  <a:lnTo>
                    <a:pt x="55" y="147"/>
                  </a:lnTo>
                  <a:lnTo>
                    <a:pt x="56" y="149"/>
                  </a:lnTo>
                  <a:close/>
                  <a:moveTo>
                    <a:pt x="50" y="160"/>
                  </a:moveTo>
                  <a:lnTo>
                    <a:pt x="50" y="160"/>
                  </a:lnTo>
                  <a:lnTo>
                    <a:pt x="49" y="157"/>
                  </a:lnTo>
                  <a:lnTo>
                    <a:pt x="49" y="157"/>
                  </a:lnTo>
                  <a:lnTo>
                    <a:pt x="50" y="156"/>
                  </a:lnTo>
                  <a:lnTo>
                    <a:pt x="50" y="156"/>
                  </a:lnTo>
                  <a:lnTo>
                    <a:pt x="52" y="153"/>
                  </a:lnTo>
                  <a:lnTo>
                    <a:pt x="50" y="150"/>
                  </a:lnTo>
                  <a:lnTo>
                    <a:pt x="50" y="150"/>
                  </a:lnTo>
                  <a:lnTo>
                    <a:pt x="47" y="154"/>
                  </a:lnTo>
                  <a:lnTo>
                    <a:pt x="47" y="154"/>
                  </a:lnTo>
                  <a:lnTo>
                    <a:pt x="47" y="157"/>
                  </a:lnTo>
                  <a:lnTo>
                    <a:pt x="47" y="157"/>
                  </a:lnTo>
                  <a:lnTo>
                    <a:pt x="47" y="160"/>
                  </a:lnTo>
                  <a:lnTo>
                    <a:pt x="50" y="160"/>
                  </a:lnTo>
                  <a:close/>
                  <a:moveTo>
                    <a:pt x="57" y="173"/>
                  </a:moveTo>
                  <a:lnTo>
                    <a:pt x="57" y="173"/>
                  </a:lnTo>
                  <a:lnTo>
                    <a:pt x="56" y="169"/>
                  </a:lnTo>
                  <a:lnTo>
                    <a:pt x="53" y="165"/>
                  </a:lnTo>
                  <a:lnTo>
                    <a:pt x="50" y="166"/>
                  </a:lnTo>
                  <a:lnTo>
                    <a:pt x="50" y="166"/>
                  </a:lnTo>
                  <a:lnTo>
                    <a:pt x="56" y="173"/>
                  </a:lnTo>
                  <a:lnTo>
                    <a:pt x="57" y="173"/>
                  </a:lnTo>
                  <a:close/>
                  <a:moveTo>
                    <a:pt x="62" y="188"/>
                  </a:moveTo>
                  <a:lnTo>
                    <a:pt x="62" y="188"/>
                  </a:lnTo>
                  <a:lnTo>
                    <a:pt x="59" y="178"/>
                  </a:lnTo>
                  <a:lnTo>
                    <a:pt x="57" y="179"/>
                  </a:lnTo>
                  <a:lnTo>
                    <a:pt x="57" y="179"/>
                  </a:lnTo>
                  <a:lnTo>
                    <a:pt x="59" y="188"/>
                  </a:lnTo>
                  <a:lnTo>
                    <a:pt x="62" y="1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09" name="Freeform 1669"/>
            <p:cNvSpPr>
              <a:spLocks noEditPoints="1"/>
            </p:cNvSpPr>
            <p:nvPr/>
          </p:nvSpPr>
          <p:spPr bwMode="auto">
            <a:xfrm>
              <a:off x="4462463" y="3150029"/>
              <a:ext cx="31750" cy="106363"/>
            </a:xfrm>
            <a:custGeom>
              <a:avLst/>
              <a:gdLst>
                <a:gd name="T0" fmla="*/ 19 w 20"/>
                <a:gd name="T1" fmla="*/ 11 h 67"/>
                <a:gd name="T2" fmla="*/ 19 w 20"/>
                <a:gd name="T3" fmla="*/ 11 h 67"/>
                <a:gd name="T4" fmla="*/ 16 w 20"/>
                <a:gd name="T5" fmla="*/ 0 h 67"/>
                <a:gd name="T6" fmla="*/ 15 w 20"/>
                <a:gd name="T7" fmla="*/ 2 h 67"/>
                <a:gd name="T8" fmla="*/ 15 w 20"/>
                <a:gd name="T9" fmla="*/ 2 h 67"/>
                <a:gd name="T10" fmla="*/ 16 w 20"/>
                <a:gd name="T11" fmla="*/ 12 h 67"/>
                <a:gd name="T12" fmla="*/ 19 w 20"/>
                <a:gd name="T13" fmla="*/ 11 h 67"/>
                <a:gd name="T14" fmla="*/ 19 w 20"/>
                <a:gd name="T15" fmla="*/ 27 h 67"/>
                <a:gd name="T16" fmla="*/ 19 w 20"/>
                <a:gd name="T17" fmla="*/ 27 h 67"/>
                <a:gd name="T18" fmla="*/ 20 w 20"/>
                <a:gd name="T19" fmla="*/ 21 h 67"/>
                <a:gd name="T20" fmla="*/ 20 w 20"/>
                <a:gd name="T21" fmla="*/ 21 h 67"/>
                <a:gd name="T22" fmla="*/ 20 w 20"/>
                <a:gd name="T23" fmla="*/ 16 h 67"/>
                <a:gd name="T24" fmla="*/ 18 w 20"/>
                <a:gd name="T25" fmla="*/ 16 h 67"/>
                <a:gd name="T26" fmla="*/ 18 w 20"/>
                <a:gd name="T27" fmla="*/ 16 h 67"/>
                <a:gd name="T28" fmla="*/ 18 w 20"/>
                <a:gd name="T29" fmla="*/ 21 h 67"/>
                <a:gd name="T30" fmla="*/ 18 w 20"/>
                <a:gd name="T31" fmla="*/ 21 h 67"/>
                <a:gd name="T32" fmla="*/ 18 w 20"/>
                <a:gd name="T33" fmla="*/ 27 h 67"/>
                <a:gd name="T34" fmla="*/ 19 w 20"/>
                <a:gd name="T35" fmla="*/ 27 h 67"/>
                <a:gd name="T36" fmla="*/ 13 w 20"/>
                <a:gd name="T37" fmla="*/ 41 h 67"/>
                <a:gd name="T38" fmla="*/ 13 w 20"/>
                <a:gd name="T39" fmla="*/ 41 h 67"/>
                <a:gd name="T40" fmla="*/ 16 w 20"/>
                <a:gd name="T41" fmla="*/ 35 h 67"/>
                <a:gd name="T42" fmla="*/ 18 w 20"/>
                <a:gd name="T43" fmla="*/ 32 h 67"/>
                <a:gd name="T44" fmla="*/ 16 w 20"/>
                <a:gd name="T45" fmla="*/ 29 h 67"/>
                <a:gd name="T46" fmla="*/ 16 w 20"/>
                <a:gd name="T47" fmla="*/ 29 h 67"/>
                <a:gd name="T48" fmla="*/ 13 w 20"/>
                <a:gd name="T49" fmla="*/ 35 h 67"/>
                <a:gd name="T50" fmla="*/ 12 w 20"/>
                <a:gd name="T51" fmla="*/ 40 h 67"/>
                <a:gd name="T52" fmla="*/ 13 w 20"/>
                <a:gd name="T53" fmla="*/ 41 h 67"/>
                <a:gd name="T54" fmla="*/ 5 w 20"/>
                <a:gd name="T55" fmla="*/ 51 h 67"/>
                <a:gd name="T56" fmla="*/ 5 w 20"/>
                <a:gd name="T57" fmla="*/ 51 h 67"/>
                <a:gd name="T58" fmla="*/ 6 w 20"/>
                <a:gd name="T59" fmla="*/ 47 h 67"/>
                <a:gd name="T60" fmla="*/ 9 w 20"/>
                <a:gd name="T61" fmla="*/ 44 h 67"/>
                <a:gd name="T62" fmla="*/ 7 w 20"/>
                <a:gd name="T63" fmla="*/ 42 h 67"/>
                <a:gd name="T64" fmla="*/ 7 w 20"/>
                <a:gd name="T65" fmla="*/ 42 h 67"/>
                <a:gd name="T66" fmla="*/ 6 w 20"/>
                <a:gd name="T67" fmla="*/ 44 h 67"/>
                <a:gd name="T68" fmla="*/ 5 w 20"/>
                <a:gd name="T69" fmla="*/ 47 h 67"/>
                <a:gd name="T70" fmla="*/ 3 w 20"/>
                <a:gd name="T71" fmla="*/ 51 h 67"/>
                <a:gd name="T72" fmla="*/ 5 w 20"/>
                <a:gd name="T73" fmla="*/ 51 h 67"/>
                <a:gd name="T74" fmla="*/ 2 w 20"/>
                <a:gd name="T75" fmla="*/ 67 h 67"/>
                <a:gd name="T76" fmla="*/ 2 w 20"/>
                <a:gd name="T77" fmla="*/ 67 h 67"/>
                <a:gd name="T78" fmla="*/ 5 w 20"/>
                <a:gd name="T79" fmla="*/ 61 h 67"/>
                <a:gd name="T80" fmla="*/ 6 w 20"/>
                <a:gd name="T81" fmla="*/ 57 h 67"/>
                <a:gd name="T82" fmla="*/ 6 w 20"/>
                <a:gd name="T83" fmla="*/ 57 h 67"/>
                <a:gd name="T84" fmla="*/ 3 w 20"/>
                <a:gd name="T85" fmla="*/ 57 h 67"/>
                <a:gd name="T86" fmla="*/ 3 w 20"/>
                <a:gd name="T87" fmla="*/ 57 h 67"/>
                <a:gd name="T88" fmla="*/ 3 w 20"/>
                <a:gd name="T89" fmla="*/ 57 h 67"/>
                <a:gd name="T90" fmla="*/ 2 w 20"/>
                <a:gd name="T91" fmla="*/ 61 h 67"/>
                <a:gd name="T92" fmla="*/ 0 w 20"/>
                <a:gd name="T93" fmla="*/ 66 h 67"/>
                <a:gd name="T94" fmla="*/ 2 w 20"/>
                <a:gd name="T95"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 h="67">
                  <a:moveTo>
                    <a:pt x="19" y="11"/>
                  </a:moveTo>
                  <a:lnTo>
                    <a:pt x="19" y="11"/>
                  </a:lnTo>
                  <a:lnTo>
                    <a:pt x="16" y="0"/>
                  </a:lnTo>
                  <a:lnTo>
                    <a:pt x="15" y="2"/>
                  </a:lnTo>
                  <a:lnTo>
                    <a:pt x="15" y="2"/>
                  </a:lnTo>
                  <a:lnTo>
                    <a:pt x="16" y="12"/>
                  </a:lnTo>
                  <a:lnTo>
                    <a:pt x="19" y="11"/>
                  </a:lnTo>
                  <a:close/>
                  <a:moveTo>
                    <a:pt x="19" y="27"/>
                  </a:moveTo>
                  <a:lnTo>
                    <a:pt x="19" y="27"/>
                  </a:lnTo>
                  <a:lnTo>
                    <a:pt x="20" y="21"/>
                  </a:lnTo>
                  <a:lnTo>
                    <a:pt x="20" y="21"/>
                  </a:lnTo>
                  <a:lnTo>
                    <a:pt x="20" y="16"/>
                  </a:lnTo>
                  <a:lnTo>
                    <a:pt x="18" y="16"/>
                  </a:lnTo>
                  <a:lnTo>
                    <a:pt x="18" y="16"/>
                  </a:lnTo>
                  <a:lnTo>
                    <a:pt x="18" y="21"/>
                  </a:lnTo>
                  <a:lnTo>
                    <a:pt x="18" y="21"/>
                  </a:lnTo>
                  <a:lnTo>
                    <a:pt x="18" y="27"/>
                  </a:lnTo>
                  <a:lnTo>
                    <a:pt x="19" y="27"/>
                  </a:lnTo>
                  <a:close/>
                  <a:moveTo>
                    <a:pt x="13" y="41"/>
                  </a:moveTo>
                  <a:lnTo>
                    <a:pt x="13" y="41"/>
                  </a:lnTo>
                  <a:lnTo>
                    <a:pt x="16" y="35"/>
                  </a:lnTo>
                  <a:lnTo>
                    <a:pt x="18" y="32"/>
                  </a:lnTo>
                  <a:lnTo>
                    <a:pt x="16" y="29"/>
                  </a:lnTo>
                  <a:lnTo>
                    <a:pt x="16" y="29"/>
                  </a:lnTo>
                  <a:lnTo>
                    <a:pt x="13" y="35"/>
                  </a:lnTo>
                  <a:lnTo>
                    <a:pt x="12" y="40"/>
                  </a:lnTo>
                  <a:lnTo>
                    <a:pt x="13" y="41"/>
                  </a:lnTo>
                  <a:close/>
                  <a:moveTo>
                    <a:pt x="5" y="51"/>
                  </a:moveTo>
                  <a:lnTo>
                    <a:pt x="5" y="51"/>
                  </a:lnTo>
                  <a:lnTo>
                    <a:pt x="6" y="47"/>
                  </a:lnTo>
                  <a:lnTo>
                    <a:pt x="9" y="44"/>
                  </a:lnTo>
                  <a:lnTo>
                    <a:pt x="7" y="42"/>
                  </a:lnTo>
                  <a:lnTo>
                    <a:pt x="7" y="42"/>
                  </a:lnTo>
                  <a:lnTo>
                    <a:pt x="6" y="44"/>
                  </a:lnTo>
                  <a:lnTo>
                    <a:pt x="5" y="47"/>
                  </a:lnTo>
                  <a:lnTo>
                    <a:pt x="3" y="51"/>
                  </a:lnTo>
                  <a:lnTo>
                    <a:pt x="5" y="51"/>
                  </a:lnTo>
                  <a:close/>
                  <a:moveTo>
                    <a:pt x="2" y="67"/>
                  </a:moveTo>
                  <a:lnTo>
                    <a:pt x="2" y="67"/>
                  </a:lnTo>
                  <a:lnTo>
                    <a:pt x="5" y="61"/>
                  </a:lnTo>
                  <a:lnTo>
                    <a:pt x="6" y="57"/>
                  </a:lnTo>
                  <a:lnTo>
                    <a:pt x="6" y="57"/>
                  </a:lnTo>
                  <a:lnTo>
                    <a:pt x="3" y="57"/>
                  </a:lnTo>
                  <a:lnTo>
                    <a:pt x="3" y="57"/>
                  </a:lnTo>
                  <a:lnTo>
                    <a:pt x="3" y="57"/>
                  </a:lnTo>
                  <a:lnTo>
                    <a:pt x="2" y="61"/>
                  </a:lnTo>
                  <a:lnTo>
                    <a:pt x="0" y="66"/>
                  </a:lnTo>
                  <a:lnTo>
                    <a:pt x="2"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10" name="Freeform 1670"/>
            <p:cNvSpPr>
              <a:spLocks noEditPoints="1"/>
            </p:cNvSpPr>
            <p:nvPr/>
          </p:nvSpPr>
          <p:spPr bwMode="auto">
            <a:xfrm>
              <a:off x="4527550" y="3092879"/>
              <a:ext cx="36513" cy="4763"/>
            </a:xfrm>
            <a:custGeom>
              <a:avLst/>
              <a:gdLst>
                <a:gd name="T0" fmla="*/ 7 w 23"/>
                <a:gd name="T1" fmla="*/ 0 h 3"/>
                <a:gd name="T2" fmla="*/ 0 w 23"/>
                <a:gd name="T3" fmla="*/ 0 h 3"/>
                <a:gd name="T4" fmla="*/ 0 w 23"/>
                <a:gd name="T5" fmla="*/ 3 h 3"/>
                <a:gd name="T6" fmla="*/ 7 w 23"/>
                <a:gd name="T7" fmla="*/ 3 h 3"/>
                <a:gd name="T8" fmla="*/ 7 w 23"/>
                <a:gd name="T9" fmla="*/ 0 h 3"/>
                <a:gd name="T10" fmla="*/ 23 w 23"/>
                <a:gd name="T11" fmla="*/ 0 h 3"/>
                <a:gd name="T12" fmla="*/ 13 w 23"/>
                <a:gd name="T13" fmla="*/ 0 h 3"/>
                <a:gd name="T14" fmla="*/ 13 w 23"/>
                <a:gd name="T15" fmla="*/ 3 h 3"/>
                <a:gd name="T16" fmla="*/ 23 w 23"/>
                <a:gd name="T17" fmla="*/ 3 h 3"/>
                <a:gd name="T18" fmla="*/ 23 w 2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3">
                  <a:moveTo>
                    <a:pt x="7" y="0"/>
                  </a:moveTo>
                  <a:lnTo>
                    <a:pt x="0" y="0"/>
                  </a:lnTo>
                  <a:lnTo>
                    <a:pt x="0" y="3"/>
                  </a:lnTo>
                  <a:lnTo>
                    <a:pt x="7" y="3"/>
                  </a:lnTo>
                  <a:lnTo>
                    <a:pt x="7" y="0"/>
                  </a:lnTo>
                  <a:close/>
                  <a:moveTo>
                    <a:pt x="23" y="0"/>
                  </a:moveTo>
                  <a:lnTo>
                    <a:pt x="13" y="0"/>
                  </a:lnTo>
                  <a:lnTo>
                    <a:pt x="13" y="3"/>
                  </a:lnTo>
                  <a:lnTo>
                    <a:pt x="23" y="3"/>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11" name="Freeform 1671"/>
            <p:cNvSpPr>
              <a:spLocks noEditPoints="1"/>
            </p:cNvSpPr>
            <p:nvPr/>
          </p:nvSpPr>
          <p:spPr bwMode="auto">
            <a:xfrm>
              <a:off x="4775201" y="3367516"/>
              <a:ext cx="298450" cy="204788"/>
            </a:xfrm>
            <a:custGeom>
              <a:avLst/>
              <a:gdLst>
                <a:gd name="T0" fmla="*/ 188 w 188"/>
                <a:gd name="T1" fmla="*/ 60 h 129"/>
                <a:gd name="T2" fmla="*/ 171 w 188"/>
                <a:gd name="T3" fmla="*/ 68 h 129"/>
                <a:gd name="T4" fmla="*/ 177 w 188"/>
                <a:gd name="T5" fmla="*/ 66 h 129"/>
                <a:gd name="T6" fmla="*/ 180 w 188"/>
                <a:gd name="T7" fmla="*/ 62 h 129"/>
                <a:gd name="T8" fmla="*/ 173 w 188"/>
                <a:gd name="T9" fmla="*/ 65 h 129"/>
                <a:gd name="T10" fmla="*/ 161 w 188"/>
                <a:gd name="T11" fmla="*/ 56 h 129"/>
                <a:gd name="T12" fmla="*/ 164 w 188"/>
                <a:gd name="T13" fmla="*/ 63 h 129"/>
                <a:gd name="T14" fmla="*/ 165 w 188"/>
                <a:gd name="T15" fmla="*/ 63 h 129"/>
                <a:gd name="T16" fmla="*/ 165 w 188"/>
                <a:gd name="T17" fmla="*/ 63 h 129"/>
                <a:gd name="T18" fmla="*/ 165 w 188"/>
                <a:gd name="T19" fmla="*/ 60 h 129"/>
                <a:gd name="T20" fmla="*/ 161 w 188"/>
                <a:gd name="T21" fmla="*/ 40 h 129"/>
                <a:gd name="T22" fmla="*/ 161 w 188"/>
                <a:gd name="T23" fmla="*/ 50 h 129"/>
                <a:gd name="T24" fmla="*/ 162 w 188"/>
                <a:gd name="T25" fmla="*/ 43 h 129"/>
                <a:gd name="T26" fmla="*/ 158 w 188"/>
                <a:gd name="T27" fmla="*/ 27 h 129"/>
                <a:gd name="T28" fmla="*/ 164 w 188"/>
                <a:gd name="T29" fmla="*/ 36 h 129"/>
                <a:gd name="T30" fmla="*/ 161 w 188"/>
                <a:gd name="T31" fmla="*/ 26 h 129"/>
                <a:gd name="T32" fmla="*/ 151 w 188"/>
                <a:gd name="T33" fmla="*/ 20 h 129"/>
                <a:gd name="T34" fmla="*/ 157 w 188"/>
                <a:gd name="T35" fmla="*/ 21 h 129"/>
                <a:gd name="T36" fmla="*/ 149 w 188"/>
                <a:gd name="T37" fmla="*/ 16 h 129"/>
                <a:gd name="T38" fmla="*/ 144 w 188"/>
                <a:gd name="T39" fmla="*/ 5 h 129"/>
                <a:gd name="T40" fmla="*/ 145 w 188"/>
                <a:gd name="T41" fmla="*/ 4 h 129"/>
                <a:gd name="T42" fmla="*/ 126 w 188"/>
                <a:gd name="T43" fmla="*/ 3 h 129"/>
                <a:gd name="T44" fmla="*/ 136 w 188"/>
                <a:gd name="T45" fmla="*/ 1 h 129"/>
                <a:gd name="T46" fmla="*/ 112 w 188"/>
                <a:gd name="T47" fmla="*/ 5 h 129"/>
                <a:gd name="T48" fmla="*/ 120 w 188"/>
                <a:gd name="T49" fmla="*/ 0 h 129"/>
                <a:gd name="T50" fmla="*/ 112 w 188"/>
                <a:gd name="T51" fmla="*/ 3 h 129"/>
                <a:gd name="T52" fmla="*/ 99 w 188"/>
                <a:gd name="T53" fmla="*/ 10 h 129"/>
                <a:gd name="T54" fmla="*/ 106 w 188"/>
                <a:gd name="T55" fmla="*/ 5 h 129"/>
                <a:gd name="T56" fmla="*/ 97 w 188"/>
                <a:gd name="T57" fmla="*/ 8 h 129"/>
                <a:gd name="T58" fmla="*/ 91 w 188"/>
                <a:gd name="T59" fmla="*/ 5 h 129"/>
                <a:gd name="T60" fmla="*/ 73 w 188"/>
                <a:gd name="T61" fmla="*/ 11 h 129"/>
                <a:gd name="T62" fmla="*/ 78 w 188"/>
                <a:gd name="T63" fmla="*/ 4 h 129"/>
                <a:gd name="T64" fmla="*/ 74 w 188"/>
                <a:gd name="T65" fmla="*/ 4 h 129"/>
                <a:gd name="T66" fmla="*/ 64 w 188"/>
                <a:gd name="T67" fmla="*/ 23 h 129"/>
                <a:gd name="T68" fmla="*/ 68 w 188"/>
                <a:gd name="T69" fmla="*/ 14 h 129"/>
                <a:gd name="T70" fmla="*/ 55 w 188"/>
                <a:gd name="T71" fmla="*/ 36 h 129"/>
                <a:gd name="T72" fmla="*/ 52 w 188"/>
                <a:gd name="T73" fmla="*/ 34 h 129"/>
                <a:gd name="T74" fmla="*/ 45 w 188"/>
                <a:gd name="T75" fmla="*/ 46 h 129"/>
                <a:gd name="T76" fmla="*/ 42 w 188"/>
                <a:gd name="T77" fmla="*/ 45 h 129"/>
                <a:gd name="T78" fmla="*/ 29 w 188"/>
                <a:gd name="T79" fmla="*/ 52 h 129"/>
                <a:gd name="T80" fmla="*/ 29 w 188"/>
                <a:gd name="T81" fmla="*/ 50 h 129"/>
                <a:gd name="T82" fmla="*/ 22 w 188"/>
                <a:gd name="T83" fmla="*/ 56 h 129"/>
                <a:gd name="T84" fmla="*/ 25 w 188"/>
                <a:gd name="T85" fmla="*/ 53 h 129"/>
                <a:gd name="T86" fmla="*/ 20 w 188"/>
                <a:gd name="T87" fmla="*/ 52 h 129"/>
                <a:gd name="T88" fmla="*/ 19 w 188"/>
                <a:gd name="T89" fmla="*/ 56 h 129"/>
                <a:gd name="T90" fmla="*/ 26 w 188"/>
                <a:gd name="T91" fmla="*/ 75 h 129"/>
                <a:gd name="T92" fmla="*/ 23 w 188"/>
                <a:gd name="T93" fmla="*/ 75 h 129"/>
                <a:gd name="T94" fmla="*/ 28 w 188"/>
                <a:gd name="T95" fmla="*/ 87 h 129"/>
                <a:gd name="T96" fmla="*/ 25 w 188"/>
                <a:gd name="T97" fmla="*/ 81 h 129"/>
                <a:gd name="T98" fmla="*/ 28 w 188"/>
                <a:gd name="T99" fmla="*/ 89 h 129"/>
                <a:gd name="T100" fmla="*/ 26 w 188"/>
                <a:gd name="T101" fmla="*/ 95 h 129"/>
                <a:gd name="T102" fmla="*/ 20 w 188"/>
                <a:gd name="T103" fmla="*/ 104 h 129"/>
                <a:gd name="T104" fmla="*/ 16 w 188"/>
                <a:gd name="T105" fmla="*/ 108 h 129"/>
                <a:gd name="T106" fmla="*/ 9 w 188"/>
                <a:gd name="T107" fmla="*/ 114 h 129"/>
                <a:gd name="T108" fmla="*/ 7 w 188"/>
                <a:gd name="T109" fmla="*/ 120 h 129"/>
                <a:gd name="T110" fmla="*/ 2 w 188"/>
                <a:gd name="T111"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29">
                  <a:moveTo>
                    <a:pt x="186" y="63"/>
                  </a:moveTo>
                  <a:lnTo>
                    <a:pt x="186" y="63"/>
                  </a:lnTo>
                  <a:lnTo>
                    <a:pt x="188" y="63"/>
                  </a:lnTo>
                  <a:lnTo>
                    <a:pt x="188" y="60"/>
                  </a:lnTo>
                  <a:lnTo>
                    <a:pt x="188" y="60"/>
                  </a:lnTo>
                  <a:lnTo>
                    <a:pt x="186" y="60"/>
                  </a:lnTo>
                  <a:lnTo>
                    <a:pt x="186" y="63"/>
                  </a:lnTo>
                  <a:close/>
                  <a:moveTo>
                    <a:pt x="171" y="68"/>
                  </a:moveTo>
                  <a:lnTo>
                    <a:pt x="171" y="68"/>
                  </a:lnTo>
                  <a:lnTo>
                    <a:pt x="173" y="68"/>
                  </a:lnTo>
                  <a:lnTo>
                    <a:pt x="173" y="68"/>
                  </a:lnTo>
                  <a:lnTo>
                    <a:pt x="177" y="66"/>
                  </a:lnTo>
                  <a:lnTo>
                    <a:pt x="177" y="66"/>
                  </a:lnTo>
                  <a:lnTo>
                    <a:pt x="181" y="65"/>
                  </a:lnTo>
                  <a:lnTo>
                    <a:pt x="180" y="62"/>
                  </a:lnTo>
                  <a:lnTo>
                    <a:pt x="180" y="62"/>
                  </a:lnTo>
                  <a:lnTo>
                    <a:pt x="175" y="65"/>
                  </a:lnTo>
                  <a:lnTo>
                    <a:pt x="175" y="65"/>
                  </a:lnTo>
                  <a:lnTo>
                    <a:pt x="173" y="65"/>
                  </a:lnTo>
                  <a:lnTo>
                    <a:pt x="173" y="65"/>
                  </a:lnTo>
                  <a:lnTo>
                    <a:pt x="171" y="65"/>
                  </a:lnTo>
                  <a:lnTo>
                    <a:pt x="171" y="68"/>
                  </a:lnTo>
                  <a:close/>
                  <a:moveTo>
                    <a:pt x="161" y="56"/>
                  </a:moveTo>
                  <a:lnTo>
                    <a:pt x="161" y="56"/>
                  </a:lnTo>
                  <a:lnTo>
                    <a:pt x="162" y="62"/>
                  </a:lnTo>
                  <a:lnTo>
                    <a:pt x="162" y="62"/>
                  </a:lnTo>
                  <a:lnTo>
                    <a:pt x="164" y="63"/>
                  </a:lnTo>
                  <a:lnTo>
                    <a:pt x="164" y="63"/>
                  </a:lnTo>
                  <a:lnTo>
                    <a:pt x="165" y="65"/>
                  </a:lnTo>
                  <a:lnTo>
                    <a:pt x="165" y="66"/>
                  </a:lnTo>
                  <a:lnTo>
                    <a:pt x="167" y="63"/>
                  </a:lnTo>
                  <a:lnTo>
                    <a:pt x="165" y="63"/>
                  </a:lnTo>
                  <a:lnTo>
                    <a:pt x="165" y="63"/>
                  </a:lnTo>
                  <a:lnTo>
                    <a:pt x="165" y="63"/>
                  </a:lnTo>
                  <a:lnTo>
                    <a:pt x="165" y="63"/>
                  </a:lnTo>
                  <a:lnTo>
                    <a:pt x="165" y="63"/>
                  </a:lnTo>
                  <a:lnTo>
                    <a:pt x="165" y="63"/>
                  </a:lnTo>
                  <a:lnTo>
                    <a:pt x="165" y="63"/>
                  </a:lnTo>
                  <a:lnTo>
                    <a:pt x="165" y="63"/>
                  </a:lnTo>
                  <a:lnTo>
                    <a:pt x="165" y="60"/>
                  </a:lnTo>
                  <a:lnTo>
                    <a:pt x="165" y="60"/>
                  </a:lnTo>
                  <a:lnTo>
                    <a:pt x="164" y="56"/>
                  </a:lnTo>
                  <a:lnTo>
                    <a:pt x="161" y="56"/>
                  </a:lnTo>
                  <a:close/>
                  <a:moveTo>
                    <a:pt x="161" y="40"/>
                  </a:moveTo>
                  <a:lnTo>
                    <a:pt x="161" y="40"/>
                  </a:lnTo>
                  <a:lnTo>
                    <a:pt x="159" y="43"/>
                  </a:lnTo>
                  <a:lnTo>
                    <a:pt x="159" y="43"/>
                  </a:lnTo>
                  <a:lnTo>
                    <a:pt x="161" y="50"/>
                  </a:lnTo>
                  <a:lnTo>
                    <a:pt x="164" y="50"/>
                  </a:lnTo>
                  <a:lnTo>
                    <a:pt x="164" y="50"/>
                  </a:lnTo>
                  <a:lnTo>
                    <a:pt x="162" y="43"/>
                  </a:lnTo>
                  <a:lnTo>
                    <a:pt x="162" y="43"/>
                  </a:lnTo>
                  <a:lnTo>
                    <a:pt x="162" y="40"/>
                  </a:lnTo>
                  <a:lnTo>
                    <a:pt x="161" y="40"/>
                  </a:lnTo>
                  <a:close/>
                  <a:moveTo>
                    <a:pt x="158" y="27"/>
                  </a:moveTo>
                  <a:lnTo>
                    <a:pt x="158" y="27"/>
                  </a:lnTo>
                  <a:lnTo>
                    <a:pt x="161" y="31"/>
                  </a:lnTo>
                  <a:lnTo>
                    <a:pt x="161" y="36"/>
                  </a:lnTo>
                  <a:lnTo>
                    <a:pt x="161" y="36"/>
                  </a:lnTo>
                  <a:lnTo>
                    <a:pt x="164" y="36"/>
                  </a:lnTo>
                  <a:lnTo>
                    <a:pt x="164" y="36"/>
                  </a:lnTo>
                  <a:lnTo>
                    <a:pt x="164" y="36"/>
                  </a:lnTo>
                  <a:lnTo>
                    <a:pt x="164" y="30"/>
                  </a:lnTo>
                  <a:lnTo>
                    <a:pt x="161" y="26"/>
                  </a:lnTo>
                  <a:lnTo>
                    <a:pt x="158" y="27"/>
                  </a:lnTo>
                  <a:close/>
                  <a:moveTo>
                    <a:pt x="149" y="16"/>
                  </a:moveTo>
                  <a:lnTo>
                    <a:pt x="149" y="16"/>
                  </a:lnTo>
                  <a:lnTo>
                    <a:pt x="151" y="20"/>
                  </a:lnTo>
                  <a:lnTo>
                    <a:pt x="155" y="23"/>
                  </a:lnTo>
                  <a:lnTo>
                    <a:pt x="155" y="24"/>
                  </a:lnTo>
                  <a:lnTo>
                    <a:pt x="157" y="21"/>
                  </a:lnTo>
                  <a:lnTo>
                    <a:pt x="157" y="21"/>
                  </a:lnTo>
                  <a:lnTo>
                    <a:pt x="157" y="21"/>
                  </a:lnTo>
                  <a:lnTo>
                    <a:pt x="154" y="18"/>
                  </a:lnTo>
                  <a:lnTo>
                    <a:pt x="151" y="14"/>
                  </a:lnTo>
                  <a:lnTo>
                    <a:pt x="149" y="16"/>
                  </a:lnTo>
                  <a:close/>
                  <a:moveTo>
                    <a:pt x="141" y="4"/>
                  </a:moveTo>
                  <a:lnTo>
                    <a:pt x="141" y="4"/>
                  </a:lnTo>
                  <a:lnTo>
                    <a:pt x="144" y="5"/>
                  </a:lnTo>
                  <a:lnTo>
                    <a:pt x="144" y="5"/>
                  </a:lnTo>
                  <a:lnTo>
                    <a:pt x="146" y="11"/>
                  </a:lnTo>
                  <a:lnTo>
                    <a:pt x="148" y="10"/>
                  </a:lnTo>
                  <a:lnTo>
                    <a:pt x="148" y="10"/>
                  </a:lnTo>
                  <a:lnTo>
                    <a:pt x="145" y="4"/>
                  </a:lnTo>
                  <a:lnTo>
                    <a:pt x="145" y="4"/>
                  </a:lnTo>
                  <a:lnTo>
                    <a:pt x="142" y="1"/>
                  </a:lnTo>
                  <a:lnTo>
                    <a:pt x="141" y="4"/>
                  </a:lnTo>
                  <a:close/>
                  <a:moveTo>
                    <a:pt x="126" y="3"/>
                  </a:moveTo>
                  <a:lnTo>
                    <a:pt x="126" y="3"/>
                  </a:lnTo>
                  <a:lnTo>
                    <a:pt x="136" y="3"/>
                  </a:lnTo>
                  <a:lnTo>
                    <a:pt x="136" y="1"/>
                  </a:lnTo>
                  <a:lnTo>
                    <a:pt x="136" y="1"/>
                  </a:lnTo>
                  <a:lnTo>
                    <a:pt x="126" y="0"/>
                  </a:lnTo>
                  <a:lnTo>
                    <a:pt x="126" y="3"/>
                  </a:lnTo>
                  <a:close/>
                  <a:moveTo>
                    <a:pt x="112" y="5"/>
                  </a:moveTo>
                  <a:lnTo>
                    <a:pt x="112" y="5"/>
                  </a:lnTo>
                  <a:lnTo>
                    <a:pt x="119" y="3"/>
                  </a:lnTo>
                  <a:lnTo>
                    <a:pt x="119" y="3"/>
                  </a:lnTo>
                  <a:lnTo>
                    <a:pt x="122" y="3"/>
                  </a:lnTo>
                  <a:lnTo>
                    <a:pt x="120" y="0"/>
                  </a:lnTo>
                  <a:lnTo>
                    <a:pt x="120" y="0"/>
                  </a:lnTo>
                  <a:lnTo>
                    <a:pt x="119" y="0"/>
                  </a:lnTo>
                  <a:lnTo>
                    <a:pt x="119" y="0"/>
                  </a:lnTo>
                  <a:lnTo>
                    <a:pt x="112" y="3"/>
                  </a:lnTo>
                  <a:lnTo>
                    <a:pt x="112" y="5"/>
                  </a:lnTo>
                  <a:close/>
                  <a:moveTo>
                    <a:pt x="97" y="8"/>
                  </a:moveTo>
                  <a:lnTo>
                    <a:pt x="97" y="8"/>
                  </a:lnTo>
                  <a:lnTo>
                    <a:pt x="99" y="10"/>
                  </a:lnTo>
                  <a:lnTo>
                    <a:pt x="99" y="10"/>
                  </a:lnTo>
                  <a:lnTo>
                    <a:pt x="107" y="7"/>
                  </a:lnTo>
                  <a:lnTo>
                    <a:pt x="106" y="5"/>
                  </a:lnTo>
                  <a:lnTo>
                    <a:pt x="106" y="5"/>
                  </a:lnTo>
                  <a:lnTo>
                    <a:pt x="99" y="7"/>
                  </a:lnTo>
                  <a:lnTo>
                    <a:pt x="99" y="7"/>
                  </a:lnTo>
                  <a:lnTo>
                    <a:pt x="97" y="7"/>
                  </a:lnTo>
                  <a:lnTo>
                    <a:pt x="97" y="8"/>
                  </a:lnTo>
                  <a:close/>
                  <a:moveTo>
                    <a:pt x="81" y="5"/>
                  </a:moveTo>
                  <a:lnTo>
                    <a:pt x="81" y="5"/>
                  </a:lnTo>
                  <a:lnTo>
                    <a:pt x="91" y="8"/>
                  </a:lnTo>
                  <a:lnTo>
                    <a:pt x="91" y="5"/>
                  </a:lnTo>
                  <a:lnTo>
                    <a:pt x="91" y="5"/>
                  </a:lnTo>
                  <a:lnTo>
                    <a:pt x="83" y="3"/>
                  </a:lnTo>
                  <a:lnTo>
                    <a:pt x="81" y="5"/>
                  </a:lnTo>
                  <a:close/>
                  <a:moveTo>
                    <a:pt x="73" y="11"/>
                  </a:moveTo>
                  <a:lnTo>
                    <a:pt x="73" y="11"/>
                  </a:lnTo>
                  <a:lnTo>
                    <a:pt x="75" y="5"/>
                  </a:lnTo>
                  <a:lnTo>
                    <a:pt x="75" y="5"/>
                  </a:lnTo>
                  <a:lnTo>
                    <a:pt x="78" y="4"/>
                  </a:lnTo>
                  <a:lnTo>
                    <a:pt x="77" y="1"/>
                  </a:lnTo>
                  <a:lnTo>
                    <a:pt x="77" y="1"/>
                  </a:lnTo>
                  <a:lnTo>
                    <a:pt x="75" y="3"/>
                  </a:lnTo>
                  <a:lnTo>
                    <a:pt x="74" y="4"/>
                  </a:lnTo>
                  <a:lnTo>
                    <a:pt x="74" y="4"/>
                  </a:lnTo>
                  <a:lnTo>
                    <a:pt x="70" y="10"/>
                  </a:lnTo>
                  <a:lnTo>
                    <a:pt x="73" y="11"/>
                  </a:lnTo>
                  <a:close/>
                  <a:moveTo>
                    <a:pt x="64" y="23"/>
                  </a:moveTo>
                  <a:lnTo>
                    <a:pt x="64" y="23"/>
                  </a:lnTo>
                  <a:lnTo>
                    <a:pt x="70" y="16"/>
                  </a:lnTo>
                  <a:lnTo>
                    <a:pt x="68" y="14"/>
                  </a:lnTo>
                  <a:lnTo>
                    <a:pt x="68" y="14"/>
                  </a:lnTo>
                  <a:lnTo>
                    <a:pt x="62" y="21"/>
                  </a:lnTo>
                  <a:lnTo>
                    <a:pt x="64" y="23"/>
                  </a:lnTo>
                  <a:close/>
                  <a:moveTo>
                    <a:pt x="55" y="36"/>
                  </a:moveTo>
                  <a:lnTo>
                    <a:pt x="55" y="36"/>
                  </a:lnTo>
                  <a:lnTo>
                    <a:pt x="61" y="27"/>
                  </a:lnTo>
                  <a:lnTo>
                    <a:pt x="60" y="26"/>
                  </a:lnTo>
                  <a:lnTo>
                    <a:pt x="60" y="26"/>
                  </a:lnTo>
                  <a:lnTo>
                    <a:pt x="52" y="34"/>
                  </a:lnTo>
                  <a:lnTo>
                    <a:pt x="55" y="36"/>
                  </a:lnTo>
                  <a:close/>
                  <a:moveTo>
                    <a:pt x="44" y="46"/>
                  </a:moveTo>
                  <a:lnTo>
                    <a:pt x="45" y="46"/>
                  </a:lnTo>
                  <a:lnTo>
                    <a:pt x="45" y="46"/>
                  </a:lnTo>
                  <a:lnTo>
                    <a:pt x="51" y="39"/>
                  </a:lnTo>
                  <a:lnTo>
                    <a:pt x="49" y="37"/>
                  </a:lnTo>
                  <a:lnTo>
                    <a:pt x="49" y="37"/>
                  </a:lnTo>
                  <a:lnTo>
                    <a:pt x="42" y="45"/>
                  </a:lnTo>
                  <a:lnTo>
                    <a:pt x="42" y="45"/>
                  </a:lnTo>
                  <a:lnTo>
                    <a:pt x="44" y="46"/>
                  </a:lnTo>
                  <a:close/>
                  <a:moveTo>
                    <a:pt x="29" y="52"/>
                  </a:moveTo>
                  <a:lnTo>
                    <a:pt x="29" y="52"/>
                  </a:lnTo>
                  <a:lnTo>
                    <a:pt x="39" y="49"/>
                  </a:lnTo>
                  <a:lnTo>
                    <a:pt x="38" y="47"/>
                  </a:lnTo>
                  <a:lnTo>
                    <a:pt x="38" y="47"/>
                  </a:lnTo>
                  <a:lnTo>
                    <a:pt x="29" y="50"/>
                  </a:lnTo>
                  <a:lnTo>
                    <a:pt x="29" y="52"/>
                  </a:lnTo>
                  <a:close/>
                  <a:moveTo>
                    <a:pt x="22" y="60"/>
                  </a:moveTo>
                  <a:lnTo>
                    <a:pt x="22" y="60"/>
                  </a:lnTo>
                  <a:lnTo>
                    <a:pt x="22" y="56"/>
                  </a:lnTo>
                  <a:lnTo>
                    <a:pt x="22" y="55"/>
                  </a:lnTo>
                  <a:lnTo>
                    <a:pt x="22" y="55"/>
                  </a:lnTo>
                  <a:lnTo>
                    <a:pt x="22" y="55"/>
                  </a:lnTo>
                  <a:lnTo>
                    <a:pt x="25" y="53"/>
                  </a:lnTo>
                  <a:lnTo>
                    <a:pt x="23" y="52"/>
                  </a:lnTo>
                  <a:lnTo>
                    <a:pt x="23" y="52"/>
                  </a:lnTo>
                  <a:lnTo>
                    <a:pt x="20" y="52"/>
                  </a:lnTo>
                  <a:lnTo>
                    <a:pt x="20" y="52"/>
                  </a:lnTo>
                  <a:lnTo>
                    <a:pt x="19" y="55"/>
                  </a:lnTo>
                  <a:lnTo>
                    <a:pt x="19" y="55"/>
                  </a:lnTo>
                  <a:lnTo>
                    <a:pt x="19" y="56"/>
                  </a:lnTo>
                  <a:lnTo>
                    <a:pt x="19" y="56"/>
                  </a:lnTo>
                  <a:lnTo>
                    <a:pt x="19" y="60"/>
                  </a:lnTo>
                  <a:lnTo>
                    <a:pt x="22" y="60"/>
                  </a:lnTo>
                  <a:close/>
                  <a:moveTo>
                    <a:pt x="26" y="75"/>
                  </a:moveTo>
                  <a:lnTo>
                    <a:pt x="26" y="75"/>
                  </a:lnTo>
                  <a:lnTo>
                    <a:pt x="23" y="65"/>
                  </a:lnTo>
                  <a:lnTo>
                    <a:pt x="20" y="65"/>
                  </a:lnTo>
                  <a:lnTo>
                    <a:pt x="20" y="65"/>
                  </a:lnTo>
                  <a:lnTo>
                    <a:pt x="23" y="75"/>
                  </a:lnTo>
                  <a:lnTo>
                    <a:pt x="26" y="75"/>
                  </a:lnTo>
                  <a:close/>
                  <a:moveTo>
                    <a:pt x="28" y="89"/>
                  </a:moveTo>
                  <a:lnTo>
                    <a:pt x="28" y="89"/>
                  </a:lnTo>
                  <a:lnTo>
                    <a:pt x="28" y="87"/>
                  </a:lnTo>
                  <a:lnTo>
                    <a:pt x="28" y="87"/>
                  </a:lnTo>
                  <a:lnTo>
                    <a:pt x="28" y="79"/>
                  </a:lnTo>
                  <a:lnTo>
                    <a:pt x="25" y="81"/>
                  </a:lnTo>
                  <a:lnTo>
                    <a:pt x="25" y="81"/>
                  </a:lnTo>
                  <a:lnTo>
                    <a:pt x="25" y="87"/>
                  </a:lnTo>
                  <a:lnTo>
                    <a:pt x="25" y="87"/>
                  </a:lnTo>
                  <a:lnTo>
                    <a:pt x="25" y="89"/>
                  </a:lnTo>
                  <a:lnTo>
                    <a:pt x="28" y="89"/>
                  </a:lnTo>
                  <a:close/>
                  <a:moveTo>
                    <a:pt x="20" y="104"/>
                  </a:moveTo>
                  <a:lnTo>
                    <a:pt x="20" y="104"/>
                  </a:lnTo>
                  <a:lnTo>
                    <a:pt x="23" y="100"/>
                  </a:lnTo>
                  <a:lnTo>
                    <a:pt x="26" y="95"/>
                  </a:lnTo>
                  <a:lnTo>
                    <a:pt x="23" y="94"/>
                  </a:lnTo>
                  <a:lnTo>
                    <a:pt x="23" y="94"/>
                  </a:lnTo>
                  <a:lnTo>
                    <a:pt x="18" y="102"/>
                  </a:lnTo>
                  <a:lnTo>
                    <a:pt x="20" y="104"/>
                  </a:lnTo>
                  <a:close/>
                  <a:moveTo>
                    <a:pt x="10" y="115"/>
                  </a:moveTo>
                  <a:lnTo>
                    <a:pt x="10" y="115"/>
                  </a:lnTo>
                  <a:lnTo>
                    <a:pt x="16" y="108"/>
                  </a:lnTo>
                  <a:lnTo>
                    <a:pt x="16" y="108"/>
                  </a:lnTo>
                  <a:lnTo>
                    <a:pt x="15" y="105"/>
                  </a:lnTo>
                  <a:lnTo>
                    <a:pt x="15" y="107"/>
                  </a:lnTo>
                  <a:lnTo>
                    <a:pt x="15" y="107"/>
                  </a:lnTo>
                  <a:lnTo>
                    <a:pt x="9" y="114"/>
                  </a:lnTo>
                  <a:lnTo>
                    <a:pt x="10" y="115"/>
                  </a:lnTo>
                  <a:close/>
                  <a:moveTo>
                    <a:pt x="2" y="129"/>
                  </a:moveTo>
                  <a:lnTo>
                    <a:pt x="2" y="129"/>
                  </a:lnTo>
                  <a:lnTo>
                    <a:pt x="7" y="120"/>
                  </a:lnTo>
                  <a:lnTo>
                    <a:pt x="5" y="118"/>
                  </a:lnTo>
                  <a:lnTo>
                    <a:pt x="5" y="118"/>
                  </a:lnTo>
                  <a:lnTo>
                    <a:pt x="0" y="127"/>
                  </a:lnTo>
                  <a:lnTo>
                    <a:pt x="2" y="1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12" name="Freeform 1672"/>
            <p:cNvSpPr>
              <a:spLocks noEditPoints="1"/>
            </p:cNvSpPr>
            <p:nvPr/>
          </p:nvSpPr>
          <p:spPr bwMode="auto">
            <a:xfrm>
              <a:off x="4716463" y="3477054"/>
              <a:ext cx="95250" cy="85725"/>
            </a:xfrm>
            <a:custGeom>
              <a:avLst/>
              <a:gdLst>
                <a:gd name="T0" fmla="*/ 55 w 60"/>
                <a:gd name="T1" fmla="*/ 3 h 54"/>
                <a:gd name="T2" fmla="*/ 60 w 60"/>
                <a:gd name="T3" fmla="*/ 0 h 54"/>
                <a:gd name="T4" fmla="*/ 55 w 60"/>
                <a:gd name="T5" fmla="*/ 2 h 54"/>
                <a:gd name="T6" fmla="*/ 40 w 60"/>
                <a:gd name="T7" fmla="*/ 4 h 54"/>
                <a:gd name="T8" fmla="*/ 46 w 60"/>
                <a:gd name="T9" fmla="*/ 4 h 54"/>
                <a:gd name="T10" fmla="*/ 50 w 60"/>
                <a:gd name="T11" fmla="*/ 4 h 54"/>
                <a:gd name="T12" fmla="*/ 49 w 60"/>
                <a:gd name="T13" fmla="*/ 2 h 54"/>
                <a:gd name="T14" fmla="*/ 46 w 60"/>
                <a:gd name="T15" fmla="*/ 2 h 54"/>
                <a:gd name="T16" fmla="*/ 40 w 60"/>
                <a:gd name="T17" fmla="*/ 4 h 54"/>
                <a:gd name="T18" fmla="*/ 24 w 60"/>
                <a:gd name="T19" fmla="*/ 3 h 54"/>
                <a:gd name="T20" fmla="*/ 34 w 60"/>
                <a:gd name="T21" fmla="*/ 2 h 54"/>
                <a:gd name="T22" fmla="*/ 24 w 60"/>
                <a:gd name="T23" fmla="*/ 2 h 54"/>
                <a:gd name="T24" fmla="*/ 10 w 60"/>
                <a:gd name="T25" fmla="*/ 4 h 54"/>
                <a:gd name="T26" fmla="*/ 15 w 60"/>
                <a:gd name="T27" fmla="*/ 3 h 54"/>
                <a:gd name="T28" fmla="*/ 20 w 60"/>
                <a:gd name="T29" fmla="*/ 3 h 54"/>
                <a:gd name="T30" fmla="*/ 20 w 60"/>
                <a:gd name="T31" fmla="*/ 2 h 54"/>
                <a:gd name="T32" fmla="*/ 15 w 60"/>
                <a:gd name="T33" fmla="*/ 2 h 54"/>
                <a:gd name="T34" fmla="*/ 10 w 60"/>
                <a:gd name="T35" fmla="*/ 4 h 54"/>
                <a:gd name="T36" fmla="*/ 1 w 60"/>
                <a:gd name="T37" fmla="*/ 13 h 54"/>
                <a:gd name="T38" fmla="*/ 2 w 60"/>
                <a:gd name="T39" fmla="*/ 10 h 54"/>
                <a:gd name="T40" fmla="*/ 4 w 60"/>
                <a:gd name="T41" fmla="*/ 4 h 54"/>
                <a:gd name="T42" fmla="*/ 1 w 60"/>
                <a:gd name="T43" fmla="*/ 9 h 54"/>
                <a:gd name="T44" fmla="*/ 0 w 60"/>
                <a:gd name="T45" fmla="*/ 15 h 54"/>
                <a:gd name="T46" fmla="*/ 8 w 60"/>
                <a:gd name="T47" fmla="*/ 28 h 54"/>
                <a:gd name="T48" fmla="*/ 2 w 60"/>
                <a:gd name="T49" fmla="*/ 19 h 54"/>
                <a:gd name="T50" fmla="*/ 1 w 60"/>
                <a:gd name="T51" fmla="*/ 19 h 54"/>
                <a:gd name="T52" fmla="*/ 8 w 60"/>
                <a:gd name="T53" fmla="*/ 28 h 54"/>
                <a:gd name="T54" fmla="*/ 17 w 60"/>
                <a:gd name="T55" fmla="*/ 39 h 54"/>
                <a:gd name="T56" fmla="*/ 10 w 60"/>
                <a:gd name="T57" fmla="*/ 32 h 54"/>
                <a:gd name="T58" fmla="*/ 15 w 60"/>
                <a:gd name="T59" fmla="*/ 41 h 54"/>
                <a:gd name="T60" fmla="*/ 26 w 60"/>
                <a:gd name="T61" fmla="*/ 52 h 54"/>
                <a:gd name="T62" fmla="*/ 20 w 60"/>
                <a:gd name="T63" fmla="*/ 44 h 54"/>
                <a:gd name="T64" fmla="*/ 18 w 60"/>
                <a:gd name="T65" fmla="*/ 45 h 54"/>
                <a:gd name="T66" fmla="*/ 26 w 60"/>
                <a:gd name="T67"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54">
                  <a:moveTo>
                    <a:pt x="55" y="3"/>
                  </a:moveTo>
                  <a:lnTo>
                    <a:pt x="55" y="3"/>
                  </a:lnTo>
                  <a:lnTo>
                    <a:pt x="60" y="2"/>
                  </a:lnTo>
                  <a:lnTo>
                    <a:pt x="60" y="0"/>
                  </a:lnTo>
                  <a:lnTo>
                    <a:pt x="60" y="0"/>
                  </a:lnTo>
                  <a:lnTo>
                    <a:pt x="55" y="2"/>
                  </a:lnTo>
                  <a:lnTo>
                    <a:pt x="55" y="3"/>
                  </a:lnTo>
                  <a:close/>
                  <a:moveTo>
                    <a:pt x="40" y="4"/>
                  </a:moveTo>
                  <a:lnTo>
                    <a:pt x="40" y="4"/>
                  </a:lnTo>
                  <a:lnTo>
                    <a:pt x="46" y="4"/>
                  </a:lnTo>
                  <a:lnTo>
                    <a:pt x="46" y="4"/>
                  </a:lnTo>
                  <a:lnTo>
                    <a:pt x="50" y="4"/>
                  </a:lnTo>
                  <a:lnTo>
                    <a:pt x="49" y="2"/>
                  </a:lnTo>
                  <a:lnTo>
                    <a:pt x="49" y="2"/>
                  </a:lnTo>
                  <a:lnTo>
                    <a:pt x="46" y="2"/>
                  </a:lnTo>
                  <a:lnTo>
                    <a:pt x="46" y="2"/>
                  </a:lnTo>
                  <a:lnTo>
                    <a:pt x="40" y="2"/>
                  </a:lnTo>
                  <a:lnTo>
                    <a:pt x="40" y="4"/>
                  </a:lnTo>
                  <a:close/>
                  <a:moveTo>
                    <a:pt x="24" y="3"/>
                  </a:moveTo>
                  <a:lnTo>
                    <a:pt x="24" y="3"/>
                  </a:lnTo>
                  <a:lnTo>
                    <a:pt x="34" y="4"/>
                  </a:lnTo>
                  <a:lnTo>
                    <a:pt x="34" y="2"/>
                  </a:lnTo>
                  <a:lnTo>
                    <a:pt x="34" y="2"/>
                  </a:lnTo>
                  <a:lnTo>
                    <a:pt x="24" y="2"/>
                  </a:lnTo>
                  <a:lnTo>
                    <a:pt x="24" y="3"/>
                  </a:lnTo>
                  <a:close/>
                  <a:moveTo>
                    <a:pt x="10" y="4"/>
                  </a:moveTo>
                  <a:lnTo>
                    <a:pt x="10" y="4"/>
                  </a:lnTo>
                  <a:lnTo>
                    <a:pt x="15" y="3"/>
                  </a:lnTo>
                  <a:lnTo>
                    <a:pt x="15" y="3"/>
                  </a:lnTo>
                  <a:lnTo>
                    <a:pt x="20" y="3"/>
                  </a:lnTo>
                  <a:lnTo>
                    <a:pt x="20" y="2"/>
                  </a:lnTo>
                  <a:lnTo>
                    <a:pt x="20" y="2"/>
                  </a:lnTo>
                  <a:lnTo>
                    <a:pt x="15" y="2"/>
                  </a:lnTo>
                  <a:lnTo>
                    <a:pt x="15" y="2"/>
                  </a:lnTo>
                  <a:lnTo>
                    <a:pt x="8" y="2"/>
                  </a:lnTo>
                  <a:lnTo>
                    <a:pt x="10" y="4"/>
                  </a:lnTo>
                  <a:close/>
                  <a:moveTo>
                    <a:pt x="1" y="15"/>
                  </a:moveTo>
                  <a:lnTo>
                    <a:pt x="1" y="13"/>
                  </a:lnTo>
                  <a:lnTo>
                    <a:pt x="1" y="13"/>
                  </a:lnTo>
                  <a:lnTo>
                    <a:pt x="2" y="10"/>
                  </a:lnTo>
                  <a:lnTo>
                    <a:pt x="5" y="6"/>
                  </a:lnTo>
                  <a:lnTo>
                    <a:pt x="4" y="4"/>
                  </a:lnTo>
                  <a:lnTo>
                    <a:pt x="4" y="4"/>
                  </a:lnTo>
                  <a:lnTo>
                    <a:pt x="1" y="9"/>
                  </a:lnTo>
                  <a:lnTo>
                    <a:pt x="0" y="13"/>
                  </a:lnTo>
                  <a:lnTo>
                    <a:pt x="0" y="15"/>
                  </a:lnTo>
                  <a:lnTo>
                    <a:pt x="1" y="15"/>
                  </a:lnTo>
                  <a:close/>
                  <a:moveTo>
                    <a:pt x="8" y="28"/>
                  </a:moveTo>
                  <a:lnTo>
                    <a:pt x="8" y="28"/>
                  </a:lnTo>
                  <a:lnTo>
                    <a:pt x="2" y="19"/>
                  </a:lnTo>
                  <a:lnTo>
                    <a:pt x="1" y="19"/>
                  </a:lnTo>
                  <a:lnTo>
                    <a:pt x="1" y="19"/>
                  </a:lnTo>
                  <a:lnTo>
                    <a:pt x="7" y="29"/>
                  </a:lnTo>
                  <a:lnTo>
                    <a:pt x="8" y="28"/>
                  </a:lnTo>
                  <a:close/>
                  <a:moveTo>
                    <a:pt x="17" y="39"/>
                  </a:moveTo>
                  <a:lnTo>
                    <a:pt x="17" y="39"/>
                  </a:lnTo>
                  <a:lnTo>
                    <a:pt x="11" y="31"/>
                  </a:lnTo>
                  <a:lnTo>
                    <a:pt x="10" y="32"/>
                  </a:lnTo>
                  <a:lnTo>
                    <a:pt x="10" y="32"/>
                  </a:lnTo>
                  <a:lnTo>
                    <a:pt x="15" y="41"/>
                  </a:lnTo>
                  <a:lnTo>
                    <a:pt x="17" y="39"/>
                  </a:lnTo>
                  <a:close/>
                  <a:moveTo>
                    <a:pt x="26" y="52"/>
                  </a:moveTo>
                  <a:lnTo>
                    <a:pt x="26" y="52"/>
                  </a:lnTo>
                  <a:lnTo>
                    <a:pt x="20" y="44"/>
                  </a:lnTo>
                  <a:lnTo>
                    <a:pt x="18" y="45"/>
                  </a:lnTo>
                  <a:lnTo>
                    <a:pt x="18" y="45"/>
                  </a:lnTo>
                  <a:lnTo>
                    <a:pt x="24" y="54"/>
                  </a:lnTo>
                  <a:lnTo>
                    <a:pt x="2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13" name="Freeform 1673"/>
            <p:cNvSpPr>
              <a:spLocks noEditPoints="1"/>
            </p:cNvSpPr>
            <p:nvPr/>
          </p:nvSpPr>
          <p:spPr bwMode="auto">
            <a:xfrm>
              <a:off x="4978401" y="3588179"/>
              <a:ext cx="49213" cy="47625"/>
            </a:xfrm>
            <a:custGeom>
              <a:avLst/>
              <a:gdLst>
                <a:gd name="T0" fmla="*/ 21 w 31"/>
                <a:gd name="T1" fmla="*/ 3 h 30"/>
                <a:gd name="T2" fmla="*/ 21 w 31"/>
                <a:gd name="T3" fmla="*/ 3 h 30"/>
                <a:gd name="T4" fmla="*/ 31 w 31"/>
                <a:gd name="T5" fmla="*/ 3 h 30"/>
                <a:gd name="T6" fmla="*/ 31 w 31"/>
                <a:gd name="T7" fmla="*/ 0 h 30"/>
                <a:gd name="T8" fmla="*/ 31 w 31"/>
                <a:gd name="T9" fmla="*/ 0 h 30"/>
                <a:gd name="T10" fmla="*/ 21 w 31"/>
                <a:gd name="T11" fmla="*/ 0 h 30"/>
                <a:gd name="T12" fmla="*/ 21 w 31"/>
                <a:gd name="T13" fmla="*/ 3 h 30"/>
                <a:gd name="T14" fmla="*/ 7 w 31"/>
                <a:gd name="T15" fmla="*/ 4 h 30"/>
                <a:gd name="T16" fmla="*/ 7 w 31"/>
                <a:gd name="T17" fmla="*/ 4 h 30"/>
                <a:gd name="T18" fmla="*/ 17 w 31"/>
                <a:gd name="T19" fmla="*/ 3 h 30"/>
                <a:gd name="T20" fmla="*/ 16 w 31"/>
                <a:gd name="T21" fmla="*/ 0 h 30"/>
                <a:gd name="T22" fmla="*/ 16 w 31"/>
                <a:gd name="T23" fmla="*/ 0 h 30"/>
                <a:gd name="T24" fmla="*/ 5 w 31"/>
                <a:gd name="T25" fmla="*/ 3 h 30"/>
                <a:gd name="T26" fmla="*/ 7 w 31"/>
                <a:gd name="T27" fmla="*/ 4 h 30"/>
                <a:gd name="T28" fmla="*/ 3 w 31"/>
                <a:gd name="T29" fmla="*/ 16 h 30"/>
                <a:gd name="T30" fmla="*/ 3 w 31"/>
                <a:gd name="T31" fmla="*/ 16 h 30"/>
                <a:gd name="T32" fmla="*/ 3 w 31"/>
                <a:gd name="T33" fmla="*/ 10 h 30"/>
                <a:gd name="T34" fmla="*/ 3 w 31"/>
                <a:gd name="T35" fmla="*/ 10 h 30"/>
                <a:gd name="T36" fmla="*/ 3 w 31"/>
                <a:gd name="T37" fmla="*/ 7 h 30"/>
                <a:gd name="T38" fmla="*/ 3 w 31"/>
                <a:gd name="T39" fmla="*/ 7 h 30"/>
                <a:gd name="T40" fmla="*/ 1 w 31"/>
                <a:gd name="T41" fmla="*/ 5 h 30"/>
                <a:gd name="T42" fmla="*/ 1 w 31"/>
                <a:gd name="T43" fmla="*/ 5 h 30"/>
                <a:gd name="T44" fmla="*/ 1 w 31"/>
                <a:gd name="T45" fmla="*/ 5 h 30"/>
                <a:gd name="T46" fmla="*/ 0 w 31"/>
                <a:gd name="T47" fmla="*/ 10 h 30"/>
                <a:gd name="T48" fmla="*/ 0 w 31"/>
                <a:gd name="T49" fmla="*/ 10 h 30"/>
                <a:gd name="T50" fmla="*/ 1 w 31"/>
                <a:gd name="T51" fmla="*/ 16 h 30"/>
                <a:gd name="T52" fmla="*/ 3 w 31"/>
                <a:gd name="T53" fmla="*/ 16 h 30"/>
                <a:gd name="T54" fmla="*/ 8 w 31"/>
                <a:gd name="T55" fmla="*/ 30 h 30"/>
                <a:gd name="T56" fmla="*/ 8 w 31"/>
                <a:gd name="T57" fmla="*/ 30 h 30"/>
                <a:gd name="T58" fmla="*/ 5 w 31"/>
                <a:gd name="T59" fmla="*/ 20 h 30"/>
                <a:gd name="T60" fmla="*/ 3 w 31"/>
                <a:gd name="T61" fmla="*/ 21 h 30"/>
                <a:gd name="T62" fmla="*/ 3 w 31"/>
                <a:gd name="T63" fmla="*/ 21 h 30"/>
                <a:gd name="T64" fmla="*/ 5 w 31"/>
                <a:gd name="T65" fmla="*/ 30 h 30"/>
                <a:gd name="T66" fmla="*/ 8 w 31"/>
                <a:gd name="T6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 h="30">
                  <a:moveTo>
                    <a:pt x="21" y="3"/>
                  </a:moveTo>
                  <a:lnTo>
                    <a:pt x="21" y="3"/>
                  </a:lnTo>
                  <a:lnTo>
                    <a:pt x="31" y="3"/>
                  </a:lnTo>
                  <a:lnTo>
                    <a:pt x="31" y="0"/>
                  </a:lnTo>
                  <a:lnTo>
                    <a:pt x="31" y="0"/>
                  </a:lnTo>
                  <a:lnTo>
                    <a:pt x="21" y="0"/>
                  </a:lnTo>
                  <a:lnTo>
                    <a:pt x="21" y="3"/>
                  </a:lnTo>
                  <a:close/>
                  <a:moveTo>
                    <a:pt x="7" y="4"/>
                  </a:moveTo>
                  <a:lnTo>
                    <a:pt x="7" y="4"/>
                  </a:lnTo>
                  <a:lnTo>
                    <a:pt x="17" y="3"/>
                  </a:lnTo>
                  <a:lnTo>
                    <a:pt x="16" y="0"/>
                  </a:lnTo>
                  <a:lnTo>
                    <a:pt x="16" y="0"/>
                  </a:lnTo>
                  <a:lnTo>
                    <a:pt x="5" y="3"/>
                  </a:lnTo>
                  <a:lnTo>
                    <a:pt x="7" y="4"/>
                  </a:lnTo>
                  <a:close/>
                  <a:moveTo>
                    <a:pt x="3" y="16"/>
                  </a:moveTo>
                  <a:lnTo>
                    <a:pt x="3" y="16"/>
                  </a:lnTo>
                  <a:lnTo>
                    <a:pt x="3" y="10"/>
                  </a:lnTo>
                  <a:lnTo>
                    <a:pt x="3" y="10"/>
                  </a:lnTo>
                  <a:lnTo>
                    <a:pt x="3" y="7"/>
                  </a:lnTo>
                  <a:lnTo>
                    <a:pt x="3" y="7"/>
                  </a:lnTo>
                  <a:lnTo>
                    <a:pt x="1" y="5"/>
                  </a:lnTo>
                  <a:lnTo>
                    <a:pt x="1" y="5"/>
                  </a:lnTo>
                  <a:lnTo>
                    <a:pt x="1" y="5"/>
                  </a:lnTo>
                  <a:lnTo>
                    <a:pt x="0" y="10"/>
                  </a:lnTo>
                  <a:lnTo>
                    <a:pt x="0" y="10"/>
                  </a:lnTo>
                  <a:lnTo>
                    <a:pt x="1" y="16"/>
                  </a:lnTo>
                  <a:lnTo>
                    <a:pt x="3" y="16"/>
                  </a:lnTo>
                  <a:close/>
                  <a:moveTo>
                    <a:pt x="8" y="30"/>
                  </a:moveTo>
                  <a:lnTo>
                    <a:pt x="8" y="30"/>
                  </a:lnTo>
                  <a:lnTo>
                    <a:pt x="5" y="20"/>
                  </a:lnTo>
                  <a:lnTo>
                    <a:pt x="3" y="21"/>
                  </a:lnTo>
                  <a:lnTo>
                    <a:pt x="3" y="21"/>
                  </a:lnTo>
                  <a:lnTo>
                    <a:pt x="5" y="30"/>
                  </a:lnTo>
                  <a:lnTo>
                    <a:pt x="8"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14" name="Freeform 1674"/>
            <p:cNvSpPr>
              <a:spLocks noEditPoints="1"/>
            </p:cNvSpPr>
            <p:nvPr/>
          </p:nvSpPr>
          <p:spPr bwMode="auto">
            <a:xfrm>
              <a:off x="4918076" y="3608816"/>
              <a:ext cx="65088" cy="7938"/>
            </a:xfrm>
            <a:custGeom>
              <a:avLst/>
              <a:gdLst>
                <a:gd name="T0" fmla="*/ 10 w 41"/>
                <a:gd name="T1" fmla="*/ 0 h 5"/>
                <a:gd name="T2" fmla="*/ 10 w 41"/>
                <a:gd name="T3" fmla="*/ 0 h 5"/>
                <a:gd name="T4" fmla="*/ 4 w 41"/>
                <a:gd name="T5" fmla="*/ 1 h 5"/>
                <a:gd name="T6" fmla="*/ 0 w 41"/>
                <a:gd name="T7" fmla="*/ 3 h 5"/>
                <a:gd name="T8" fmla="*/ 0 w 41"/>
                <a:gd name="T9" fmla="*/ 5 h 5"/>
                <a:gd name="T10" fmla="*/ 0 w 41"/>
                <a:gd name="T11" fmla="*/ 5 h 5"/>
                <a:gd name="T12" fmla="*/ 6 w 41"/>
                <a:gd name="T13" fmla="*/ 4 h 5"/>
                <a:gd name="T14" fmla="*/ 10 w 41"/>
                <a:gd name="T15" fmla="*/ 3 h 5"/>
                <a:gd name="T16" fmla="*/ 10 w 41"/>
                <a:gd name="T17" fmla="*/ 0 h 5"/>
                <a:gd name="T18" fmla="*/ 25 w 41"/>
                <a:gd name="T19" fmla="*/ 1 h 5"/>
                <a:gd name="T20" fmla="*/ 25 w 41"/>
                <a:gd name="T21" fmla="*/ 1 h 5"/>
                <a:gd name="T22" fmla="*/ 14 w 41"/>
                <a:gd name="T23" fmla="*/ 0 h 5"/>
                <a:gd name="T24" fmla="*/ 14 w 41"/>
                <a:gd name="T25" fmla="*/ 3 h 5"/>
                <a:gd name="T26" fmla="*/ 14 w 41"/>
                <a:gd name="T27" fmla="*/ 3 h 5"/>
                <a:gd name="T28" fmla="*/ 25 w 41"/>
                <a:gd name="T29" fmla="*/ 3 h 5"/>
                <a:gd name="T30" fmla="*/ 25 w 41"/>
                <a:gd name="T31" fmla="*/ 1 h 5"/>
                <a:gd name="T32" fmla="*/ 41 w 41"/>
                <a:gd name="T33" fmla="*/ 1 h 5"/>
                <a:gd name="T34" fmla="*/ 41 w 41"/>
                <a:gd name="T35" fmla="*/ 1 h 5"/>
                <a:gd name="T36" fmla="*/ 30 w 41"/>
                <a:gd name="T37" fmla="*/ 1 h 5"/>
                <a:gd name="T38" fmla="*/ 30 w 41"/>
                <a:gd name="T39" fmla="*/ 4 h 5"/>
                <a:gd name="T40" fmla="*/ 30 w 41"/>
                <a:gd name="T41" fmla="*/ 4 h 5"/>
                <a:gd name="T42" fmla="*/ 41 w 41"/>
                <a:gd name="T43" fmla="*/ 4 h 5"/>
                <a:gd name="T44" fmla="*/ 41 w 41"/>
                <a:gd name="T4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 h="5">
                  <a:moveTo>
                    <a:pt x="10" y="0"/>
                  </a:moveTo>
                  <a:lnTo>
                    <a:pt x="10" y="0"/>
                  </a:lnTo>
                  <a:lnTo>
                    <a:pt x="4" y="1"/>
                  </a:lnTo>
                  <a:lnTo>
                    <a:pt x="0" y="3"/>
                  </a:lnTo>
                  <a:lnTo>
                    <a:pt x="0" y="5"/>
                  </a:lnTo>
                  <a:lnTo>
                    <a:pt x="0" y="5"/>
                  </a:lnTo>
                  <a:lnTo>
                    <a:pt x="6" y="4"/>
                  </a:lnTo>
                  <a:lnTo>
                    <a:pt x="10" y="3"/>
                  </a:lnTo>
                  <a:lnTo>
                    <a:pt x="10" y="0"/>
                  </a:lnTo>
                  <a:close/>
                  <a:moveTo>
                    <a:pt x="25" y="1"/>
                  </a:moveTo>
                  <a:lnTo>
                    <a:pt x="25" y="1"/>
                  </a:lnTo>
                  <a:lnTo>
                    <a:pt x="14" y="0"/>
                  </a:lnTo>
                  <a:lnTo>
                    <a:pt x="14" y="3"/>
                  </a:lnTo>
                  <a:lnTo>
                    <a:pt x="14" y="3"/>
                  </a:lnTo>
                  <a:lnTo>
                    <a:pt x="25" y="3"/>
                  </a:lnTo>
                  <a:lnTo>
                    <a:pt x="25" y="1"/>
                  </a:lnTo>
                  <a:close/>
                  <a:moveTo>
                    <a:pt x="41" y="1"/>
                  </a:moveTo>
                  <a:lnTo>
                    <a:pt x="41" y="1"/>
                  </a:lnTo>
                  <a:lnTo>
                    <a:pt x="30" y="1"/>
                  </a:lnTo>
                  <a:lnTo>
                    <a:pt x="30" y="4"/>
                  </a:lnTo>
                  <a:lnTo>
                    <a:pt x="30" y="4"/>
                  </a:lnTo>
                  <a:lnTo>
                    <a:pt x="41" y="4"/>
                  </a:lnTo>
                  <a:lnTo>
                    <a:pt x="41"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15" name="Freeform 1675"/>
            <p:cNvSpPr>
              <a:spLocks noEditPoints="1"/>
            </p:cNvSpPr>
            <p:nvPr/>
          </p:nvSpPr>
          <p:spPr bwMode="auto">
            <a:xfrm>
              <a:off x="4886326" y="3516741"/>
              <a:ext cx="139700" cy="61913"/>
            </a:xfrm>
            <a:custGeom>
              <a:avLst/>
              <a:gdLst>
                <a:gd name="T0" fmla="*/ 78 w 88"/>
                <a:gd name="T1" fmla="*/ 11 h 39"/>
                <a:gd name="T2" fmla="*/ 88 w 88"/>
                <a:gd name="T3" fmla="*/ 16 h 39"/>
                <a:gd name="T4" fmla="*/ 79 w 88"/>
                <a:gd name="T5" fmla="*/ 8 h 39"/>
                <a:gd name="T6" fmla="*/ 66 w 88"/>
                <a:gd name="T7" fmla="*/ 3 h 39"/>
                <a:gd name="T8" fmla="*/ 69 w 88"/>
                <a:gd name="T9" fmla="*/ 4 h 39"/>
                <a:gd name="T10" fmla="*/ 74 w 88"/>
                <a:gd name="T11" fmla="*/ 8 h 39"/>
                <a:gd name="T12" fmla="*/ 75 w 88"/>
                <a:gd name="T13" fmla="*/ 6 h 39"/>
                <a:gd name="T14" fmla="*/ 71 w 88"/>
                <a:gd name="T15" fmla="*/ 3 h 39"/>
                <a:gd name="T16" fmla="*/ 66 w 88"/>
                <a:gd name="T17" fmla="*/ 3 h 39"/>
                <a:gd name="T18" fmla="*/ 53 w 88"/>
                <a:gd name="T19" fmla="*/ 7 h 39"/>
                <a:gd name="T20" fmla="*/ 62 w 88"/>
                <a:gd name="T21" fmla="*/ 3 h 39"/>
                <a:gd name="T22" fmla="*/ 61 w 88"/>
                <a:gd name="T23" fmla="*/ 0 h 39"/>
                <a:gd name="T24" fmla="*/ 52 w 88"/>
                <a:gd name="T25" fmla="*/ 6 h 39"/>
                <a:gd name="T26" fmla="*/ 37 w 88"/>
                <a:gd name="T27" fmla="*/ 10 h 39"/>
                <a:gd name="T28" fmla="*/ 42 w 88"/>
                <a:gd name="T29" fmla="*/ 10 h 39"/>
                <a:gd name="T30" fmla="*/ 47 w 88"/>
                <a:gd name="T31" fmla="*/ 10 h 39"/>
                <a:gd name="T32" fmla="*/ 47 w 88"/>
                <a:gd name="T33" fmla="*/ 7 h 39"/>
                <a:gd name="T34" fmla="*/ 47 w 88"/>
                <a:gd name="T35" fmla="*/ 7 h 39"/>
                <a:gd name="T36" fmla="*/ 42 w 88"/>
                <a:gd name="T37" fmla="*/ 7 h 39"/>
                <a:gd name="T38" fmla="*/ 37 w 88"/>
                <a:gd name="T39" fmla="*/ 10 h 39"/>
                <a:gd name="T40" fmla="*/ 23 w 88"/>
                <a:gd name="T41" fmla="*/ 8 h 39"/>
                <a:gd name="T42" fmla="*/ 33 w 88"/>
                <a:gd name="T43" fmla="*/ 7 h 39"/>
                <a:gd name="T44" fmla="*/ 23 w 88"/>
                <a:gd name="T45" fmla="*/ 6 h 39"/>
                <a:gd name="T46" fmla="*/ 10 w 88"/>
                <a:gd name="T47" fmla="*/ 10 h 39"/>
                <a:gd name="T48" fmla="*/ 11 w 88"/>
                <a:gd name="T49" fmla="*/ 7 h 39"/>
                <a:gd name="T50" fmla="*/ 13 w 88"/>
                <a:gd name="T51" fmla="*/ 7 h 39"/>
                <a:gd name="T52" fmla="*/ 17 w 88"/>
                <a:gd name="T53" fmla="*/ 7 h 39"/>
                <a:gd name="T54" fmla="*/ 17 w 88"/>
                <a:gd name="T55" fmla="*/ 6 h 39"/>
                <a:gd name="T56" fmla="*/ 13 w 88"/>
                <a:gd name="T57" fmla="*/ 4 h 39"/>
                <a:gd name="T58" fmla="*/ 10 w 88"/>
                <a:gd name="T59" fmla="*/ 6 h 39"/>
                <a:gd name="T60" fmla="*/ 10 w 88"/>
                <a:gd name="T61" fmla="*/ 10 h 39"/>
                <a:gd name="T62" fmla="*/ 4 w 88"/>
                <a:gd name="T63" fmla="*/ 23 h 39"/>
                <a:gd name="T64" fmla="*/ 5 w 88"/>
                <a:gd name="T65" fmla="*/ 13 h 39"/>
                <a:gd name="T66" fmla="*/ 1 w 88"/>
                <a:gd name="T67" fmla="*/ 23 h 39"/>
                <a:gd name="T68" fmla="*/ 3 w 88"/>
                <a:gd name="T69" fmla="*/ 37 h 39"/>
                <a:gd name="T70" fmla="*/ 3 w 88"/>
                <a:gd name="T71" fmla="*/ 33 h 39"/>
                <a:gd name="T72" fmla="*/ 3 w 88"/>
                <a:gd name="T73" fmla="*/ 33 h 39"/>
                <a:gd name="T74" fmla="*/ 1 w 88"/>
                <a:gd name="T75" fmla="*/ 27 h 39"/>
                <a:gd name="T76" fmla="*/ 0 w 88"/>
                <a:gd name="T77" fmla="*/ 32 h 39"/>
                <a:gd name="T78" fmla="*/ 0 w 88"/>
                <a:gd name="T79" fmla="*/ 33 h 39"/>
                <a:gd name="T80" fmla="*/ 3 w 88"/>
                <a:gd name="T81"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8" h="39">
                  <a:moveTo>
                    <a:pt x="78" y="11"/>
                  </a:moveTo>
                  <a:lnTo>
                    <a:pt x="78" y="11"/>
                  </a:lnTo>
                  <a:lnTo>
                    <a:pt x="87" y="17"/>
                  </a:lnTo>
                  <a:lnTo>
                    <a:pt x="88" y="16"/>
                  </a:lnTo>
                  <a:lnTo>
                    <a:pt x="88" y="16"/>
                  </a:lnTo>
                  <a:lnTo>
                    <a:pt x="79" y="8"/>
                  </a:lnTo>
                  <a:lnTo>
                    <a:pt x="78" y="11"/>
                  </a:lnTo>
                  <a:close/>
                  <a:moveTo>
                    <a:pt x="66" y="3"/>
                  </a:moveTo>
                  <a:lnTo>
                    <a:pt x="66" y="3"/>
                  </a:lnTo>
                  <a:lnTo>
                    <a:pt x="69" y="4"/>
                  </a:lnTo>
                  <a:lnTo>
                    <a:pt x="69" y="4"/>
                  </a:lnTo>
                  <a:lnTo>
                    <a:pt x="74" y="8"/>
                  </a:lnTo>
                  <a:lnTo>
                    <a:pt x="75" y="6"/>
                  </a:lnTo>
                  <a:lnTo>
                    <a:pt x="75" y="6"/>
                  </a:lnTo>
                  <a:lnTo>
                    <a:pt x="71" y="3"/>
                  </a:lnTo>
                  <a:lnTo>
                    <a:pt x="71" y="3"/>
                  </a:lnTo>
                  <a:lnTo>
                    <a:pt x="66" y="1"/>
                  </a:lnTo>
                  <a:lnTo>
                    <a:pt x="66" y="3"/>
                  </a:lnTo>
                  <a:close/>
                  <a:moveTo>
                    <a:pt x="53" y="7"/>
                  </a:moveTo>
                  <a:lnTo>
                    <a:pt x="53" y="7"/>
                  </a:lnTo>
                  <a:lnTo>
                    <a:pt x="58" y="4"/>
                  </a:lnTo>
                  <a:lnTo>
                    <a:pt x="62" y="3"/>
                  </a:lnTo>
                  <a:lnTo>
                    <a:pt x="61" y="0"/>
                  </a:lnTo>
                  <a:lnTo>
                    <a:pt x="61" y="0"/>
                  </a:lnTo>
                  <a:lnTo>
                    <a:pt x="56" y="3"/>
                  </a:lnTo>
                  <a:lnTo>
                    <a:pt x="52" y="6"/>
                  </a:lnTo>
                  <a:lnTo>
                    <a:pt x="53" y="7"/>
                  </a:lnTo>
                  <a:close/>
                  <a:moveTo>
                    <a:pt x="37" y="10"/>
                  </a:moveTo>
                  <a:lnTo>
                    <a:pt x="37" y="10"/>
                  </a:lnTo>
                  <a:lnTo>
                    <a:pt x="42" y="10"/>
                  </a:lnTo>
                  <a:lnTo>
                    <a:pt x="42" y="10"/>
                  </a:lnTo>
                  <a:lnTo>
                    <a:pt x="47" y="10"/>
                  </a:lnTo>
                  <a:lnTo>
                    <a:pt x="47" y="10"/>
                  </a:lnTo>
                  <a:lnTo>
                    <a:pt x="47" y="7"/>
                  </a:lnTo>
                  <a:lnTo>
                    <a:pt x="47" y="7"/>
                  </a:lnTo>
                  <a:lnTo>
                    <a:pt x="47" y="7"/>
                  </a:lnTo>
                  <a:lnTo>
                    <a:pt x="42" y="7"/>
                  </a:lnTo>
                  <a:lnTo>
                    <a:pt x="42" y="7"/>
                  </a:lnTo>
                  <a:lnTo>
                    <a:pt x="37" y="7"/>
                  </a:lnTo>
                  <a:lnTo>
                    <a:pt x="37" y="10"/>
                  </a:lnTo>
                  <a:close/>
                  <a:moveTo>
                    <a:pt x="23" y="8"/>
                  </a:moveTo>
                  <a:lnTo>
                    <a:pt x="23" y="8"/>
                  </a:lnTo>
                  <a:lnTo>
                    <a:pt x="33" y="10"/>
                  </a:lnTo>
                  <a:lnTo>
                    <a:pt x="33" y="7"/>
                  </a:lnTo>
                  <a:lnTo>
                    <a:pt x="33" y="7"/>
                  </a:lnTo>
                  <a:lnTo>
                    <a:pt x="23" y="6"/>
                  </a:lnTo>
                  <a:lnTo>
                    <a:pt x="23" y="8"/>
                  </a:lnTo>
                  <a:close/>
                  <a:moveTo>
                    <a:pt x="10" y="10"/>
                  </a:moveTo>
                  <a:lnTo>
                    <a:pt x="10" y="10"/>
                  </a:lnTo>
                  <a:lnTo>
                    <a:pt x="11" y="7"/>
                  </a:lnTo>
                  <a:lnTo>
                    <a:pt x="11" y="7"/>
                  </a:lnTo>
                  <a:lnTo>
                    <a:pt x="13" y="7"/>
                  </a:lnTo>
                  <a:lnTo>
                    <a:pt x="13" y="7"/>
                  </a:lnTo>
                  <a:lnTo>
                    <a:pt x="17" y="7"/>
                  </a:lnTo>
                  <a:lnTo>
                    <a:pt x="17" y="6"/>
                  </a:lnTo>
                  <a:lnTo>
                    <a:pt x="17" y="6"/>
                  </a:lnTo>
                  <a:lnTo>
                    <a:pt x="13" y="4"/>
                  </a:lnTo>
                  <a:lnTo>
                    <a:pt x="13" y="4"/>
                  </a:lnTo>
                  <a:lnTo>
                    <a:pt x="10" y="6"/>
                  </a:lnTo>
                  <a:lnTo>
                    <a:pt x="10" y="6"/>
                  </a:lnTo>
                  <a:lnTo>
                    <a:pt x="7" y="8"/>
                  </a:lnTo>
                  <a:lnTo>
                    <a:pt x="10" y="10"/>
                  </a:lnTo>
                  <a:close/>
                  <a:moveTo>
                    <a:pt x="4" y="23"/>
                  </a:moveTo>
                  <a:lnTo>
                    <a:pt x="4" y="23"/>
                  </a:lnTo>
                  <a:lnTo>
                    <a:pt x="7" y="14"/>
                  </a:lnTo>
                  <a:lnTo>
                    <a:pt x="5" y="13"/>
                  </a:lnTo>
                  <a:lnTo>
                    <a:pt x="5" y="13"/>
                  </a:lnTo>
                  <a:lnTo>
                    <a:pt x="1" y="23"/>
                  </a:lnTo>
                  <a:lnTo>
                    <a:pt x="4" y="23"/>
                  </a:lnTo>
                  <a:close/>
                  <a:moveTo>
                    <a:pt x="3" y="37"/>
                  </a:moveTo>
                  <a:lnTo>
                    <a:pt x="3" y="37"/>
                  </a:lnTo>
                  <a:lnTo>
                    <a:pt x="3" y="33"/>
                  </a:lnTo>
                  <a:lnTo>
                    <a:pt x="3" y="33"/>
                  </a:lnTo>
                  <a:lnTo>
                    <a:pt x="3" y="33"/>
                  </a:lnTo>
                  <a:lnTo>
                    <a:pt x="3" y="29"/>
                  </a:lnTo>
                  <a:lnTo>
                    <a:pt x="1" y="27"/>
                  </a:lnTo>
                  <a:lnTo>
                    <a:pt x="1" y="27"/>
                  </a:lnTo>
                  <a:lnTo>
                    <a:pt x="0" y="32"/>
                  </a:lnTo>
                  <a:lnTo>
                    <a:pt x="0" y="33"/>
                  </a:lnTo>
                  <a:lnTo>
                    <a:pt x="0" y="33"/>
                  </a:lnTo>
                  <a:lnTo>
                    <a:pt x="1" y="39"/>
                  </a:lnTo>
                  <a:lnTo>
                    <a:pt x="3"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16" name="Freeform 1676"/>
            <p:cNvSpPr>
              <a:spLocks noEditPoints="1"/>
            </p:cNvSpPr>
            <p:nvPr/>
          </p:nvSpPr>
          <p:spPr bwMode="auto">
            <a:xfrm>
              <a:off x="4837113" y="3442129"/>
              <a:ext cx="79375" cy="85725"/>
            </a:xfrm>
            <a:custGeom>
              <a:avLst/>
              <a:gdLst>
                <a:gd name="T0" fmla="*/ 3 w 50"/>
                <a:gd name="T1" fmla="*/ 5 h 54"/>
                <a:gd name="T2" fmla="*/ 0 w 50"/>
                <a:gd name="T3" fmla="*/ 0 h 54"/>
                <a:gd name="T4" fmla="*/ 2 w 50"/>
                <a:gd name="T5" fmla="*/ 5 h 54"/>
                <a:gd name="T6" fmla="*/ 10 w 50"/>
                <a:gd name="T7" fmla="*/ 18 h 54"/>
                <a:gd name="T8" fmla="*/ 5 w 50"/>
                <a:gd name="T9" fmla="*/ 9 h 54"/>
                <a:gd name="T10" fmla="*/ 3 w 50"/>
                <a:gd name="T11" fmla="*/ 11 h 54"/>
                <a:gd name="T12" fmla="*/ 10 w 50"/>
                <a:gd name="T13" fmla="*/ 18 h 54"/>
                <a:gd name="T14" fmla="*/ 21 w 50"/>
                <a:gd name="T15" fmla="*/ 29 h 54"/>
                <a:gd name="T16" fmla="*/ 15 w 50"/>
                <a:gd name="T17" fmla="*/ 22 h 54"/>
                <a:gd name="T18" fmla="*/ 12 w 50"/>
                <a:gd name="T19" fmla="*/ 24 h 54"/>
                <a:gd name="T20" fmla="*/ 13 w 50"/>
                <a:gd name="T21" fmla="*/ 25 h 54"/>
                <a:gd name="T22" fmla="*/ 16 w 50"/>
                <a:gd name="T23" fmla="*/ 28 h 54"/>
                <a:gd name="T24" fmla="*/ 21 w 50"/>
                <a:gd name="T25" fmla="*/ 29 h 54"/>
                <a:gd name="T26" fmla="*/ 31 w 50"/>
                <a:gd name="T27" fmla="*/ 35 h 54"/>
                <a:gd name="T28" fmla="*/ 28 w 50"/>
                <a:gd name="T29" fmla="*/ 35 h 54"/>
                <a:gd name="T30" fmla="*/ 25 w 50"/>
                <a:gd name="T31" fmla="*/ 35 h 54"/>
                <a:gd name="T32" fmla="*/ 21 w 50"/>
                <a:gd name="T33" fmla="*/ 35 h 54"/>
                <a:gd name="T34" fmla="*/ 23 w 50"/>
                <a:gd name="T35" fmla="*/ 37 h 54"/>
                <a:gd name="T36" fmla="*/ 28 w 50"/>
                <a:gd name="T37" fmla="*/ 38 h 54"/>
                <a:gd name="T38" fmla="*/ 32 w 50"/>
                <a:gd name="T39" fmla="*/ 38 h 54"/>
                <a:gd name="T40" fmla="*/ 42 w 50"/>
                <a:gd name="T41" fmla="*/ 40 h 54"/>
                <a:gd name="T42" fmla="*/ 42 w 50"/>
                <a:gd name="T43" fmla="*/ 38 h 54"/>
                <a:gd name="T44" fmla="*/ 42 w 50"/>
                <a:gd name="T45" fmla="*/ 37 h 54"/>
                <a:gd name="T46" fmla="*/ 42 w 50"/>
                <a:gd name="T47" fmla="*/ 34 h 54"/>
                <a:gd name="T48" fmla="*/ 39 w 50"/>
                <a:gd name="T49" fmla="*/ 34 h 54"/>
                <a:gd name="T50" fmla="*/ 36 w 50"/>
                <a:gd name="T51" fmla="*/ 34 h 54"/>
                <a:gd name="T52" fmla="*/ 36 w 50"/>
                <a:gd name="T53" fmla="*/ 37 h 54"/>
                <a:gd name="T54" fmla="*/ 39 w 50"/>
                <a:gd name="T55" fmla="*/ 35 h 54"/>
                <a:gd name="T56" fmla="*/ 39 w 50"/>
                <a:gd name="T57" fmla="*/ 35 h 54"/>
                <a:gd name="T58" fmla="*/ 39 w 50"/>
                <a:gd name="T59" fmla="*/ 35 h 54"/>
                <a:gd name="T60" fmla="*/ 39 w 50"/>
                <a:gd name="T61" fmla="*/ 35 h 54"/>
                <a:gd name="T62" fmla="*/ 39 w 50"/>
                <a:gd name="T63" fmla="*/ 35 h 54"/>
                <a:gd name="T64" fmla="*/ 39 w 50"/>
                <a:gd name="T65" fmla="*/ 35 h 54"/>
                <a:gd name="T66" fmla="*/ 39 w 50"/>
                <a:gd name="T67" fmla="*/ 35 h 54"/>
                <a:gd name="T68" fmla="*/ 39 w 50"/>
                <a:gd name="T69" fmla="*/ 35 h 54"/>
                <a:gd name="T70" fmla="*/ 39 w 50"/>
                <a:gd name="T71" fmla="*/ 35 h 54"/>
                <a:gd name="T72" fmla="*/ 39 w 50"/>
                <a:gd name="T73" fmla="*/ 37 h 54"/>
                <a:gd name="T74" fmla="*/ 39 w 50"/>
                <a:gd name="T75" fmla="*/ 38 h 54"/>
                <a:gd name="T76" fmla="*/ 42 w 50"/>
                <a:gd name="T77" fmla="*/ 40 h 54"/>
                <a:gd name="T78" fmla="*/ 50 w 50"/>
                <a:gd name="T79" fmla="*/ 53 h 54"/>
                <a:gd name="T80" fmla="*/ 45 w 50"/>
                <a:gd name="T81" fmla="*/ 42 h 54"/>
                <a:gd name="T82" fmla="*/ 44 w 50"/>
                <a:gd name="T83" fmla="*/ 45 h 54"/>
                <a:gd name="T84" fmla="*/ 47 w 50"/>
                <a:gd name="T8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 h="54">
                  <a:moveTo>
                    <a:pt x="3" y="5"/>
                  </a:moveTo>
                  <a:lnTo>
                    <a:pt x="3" y="5"/>
                  </a:lnTo>
                  <a:lnTo>
                    <a:pt x="2" y="0"/>
                  </a:lnTo>
                  <a:lnTo>
                    <a:pt x="0" y="0"/>
                  </a:lnTo>
                  <a:lnTo>
                    <a:pt x="0" y="0"/>
                  </a:lnTo>
                  <a:lnTo>
                    <a:pt x="2" y="5"/>
                  </a:lnTo>
                  <a:lnTo>
                    <a:pt x="3" y="5"/>
                  </a:lnTo>
                  <a:close/>
                  <a:moveTo>
                    <a:pt x="10" y="18"/>
                  </a:moveTo>
                  <a:lnTo>
                    <a:pt x="10" y="18"/>
                  </a:lnTo>
                  <a:lnTo>
                    <a:pt x="5" y="9"/>
                  </a:lnTo>
                  <a:lnTo>
                    <a:pt x="3" y="11"/>
                  </a:lnTo>
                  <a:lnTo>
                    <a:pt x="3" y="11"/>
                  </a:lnTo>
                  <a:lnTo>
                    <a:pt x="8" y="19"/>
                  </a:lnTo>
                  <a:lnTo>
                    <a:pt x="10" y="18"/>
                  </a:lnTo>
                  <a:close/>
                  <a:moveTo>
                    <a:pt x="21" y="29"/>
                  </a:moveTo>
                  <a:lnTo>
                    <a:pt x="21" y="29"/>
                  </a:lnTo>
                  <a:lnTo>
                    <a:pt x="18" y="26"/>
                  </a:lnTo>
                  <a:lnTo>
                    <a:pt x="15" y="22"/>
                  </a:lnTo>
                  <a:lnTo>
                    <a:pt x="13" y="22"/>
                  </a:lnTo>
                  <a:lnTo>
                    <a:pt x="12" y="24"/>
                  </a:lnTo>
                  <a:lnTo>
                    <a:pt x="12" y="24"/>
                  </a:lnTo>
                  <a:lnTo>
                    <a:pt x="13" y="25"/>
                  </a:lnTo>
                  <a:lnTo>
                    <a:pt x="13" y="25"/>
                  </a:lnTo>
                  <a:lnTo>
                    <a:pt x="16" y="28"/>
                  </a:lnTo>
                  <a:lnTo>
                    <a:pt x="18" y="31"/>
                  </a:lnTo>
                  <a:lnTo>
                    <a:pt x="21" y="29"/>
                  </a:lnTo>
                  <a:close/>
                  <a:moveTo>
                    <a:pt x="31" y="35"/>
                  </a:moveTo>
                  <a:lnTo>
                    <a:pt x="31" y="35"/>
                  </a:lnTo>
                  <a:lnTo>
                    <a:pt x="28" y="35"/>
                  </a:lnTo>
                  <a:lnTo>
                    <a:pt x="28" y="35"/>
                  </a:lnTo>
                  <a:lnTo>
                    <a:pt x="25" y="35"/>
                  </a:lnTo>
                  <a:lnTo>
                    <a:pt x="25" y="35"/>
                  </a:lnTo>
                  <a:lnTo>
                    <a:pt x="23" y="34"/>
                  </a:lnTo>
                  <a:lnTo>
                    <a:pt x="21" y="35"/>
                  </a:lnTo>
                  <a:lnTo>
                    <a:pt x="21" y="35"/>
                  </a:lnTo>
                  <a:lnTo>
                    <a:pt x="23" y="37"/>
                  </a:lnTo>
                  <a:lnTo>
                    <a:pt x="23" y="37"/>
                  </a:lnTo>
                  <a:lnTo>
                    <a:pt x="28" y="38"/>
                  </a:lnTo>
                  <a:lnTo>
                    <a:pt x="28" y="38"/>
                  </a:lnTo>
                  <a:lnTo>
                    <a:pt x="32" y="38"/>
                  </a:lnTo>
                  <a:lnTo>
                    <a:pt x="31" y="35"/>
                  </a:lnTo>
                  <a:close/>
                  <a:moveTo>
                    <a:pt x="42" y="40"/>
                  </a:moveTo>
                  <a:lnTo>
                    <a:pt x="42" y="38"/>
                  </a:lnTo>
                  <a:lnTo>
                    <a:pt x="42" y="38"/>
                  </a:lnTo>
                  <a:lnTo>
                    <a:pt x="42" y="37"/>
                  </a:lnTo>
                  <a:lnTo>
                    <a:pt x="42" y="37"/>
                  </a:lnTo>
                  <a:lnTo>
                    <a:pt x="42" y="34"/>
                  </a:lnTo>
                  <a:lnTo>
                    <a:pt x="42" y="34"/>
                  </a:lnTo>
                  <a:lnTo>
                    <a:pt x="39" y="34"/>
                  </a:lnTo>
                  <a:lnTo>
                    <a:pt x="39" y="34"/>
                  </a:lnTo>
                  <a:lnTo>
                    <a:pt x="39" y="34"/>
                  </a:lnTo>
                  <a:lnTo>
                    <a:pt x="36" y="34"/>
                  </a:lnTo>
                  <a:lnTo>
                    <a:pt x="36" y="37"/>
                  </a:lnTo>
                  <a:lnTo>
                    <a:pt x="36" y="37"/>
                  </a:lnTo>
                  <a:lnTo>
                    <a:pt x="39" y="35"/>
                  </a:lnTo>
                  <a:lnTo>
                    <a:pt x="39" y="35"/>
                  </a:lnTo>
                  <a:lnTo>
                    <a:pt x="39" y="35"/>
                  </a:lnTo>
                  <a:lnTo>
                    <a:pt x="39" y="35"/>
                  </a:lnTo>
                  <a:lnTo>
                    <a:pt x="39" y="35"/>
                  </a:lnTo>
                  <a:lnTo>
                    <a:pt x="39" y="35"/>
                  </a:lnTo>
                  <a:lnTo>
                    <a:pt x="39" y="35"/>
                  </a:lnTo>
                  <a:lnTo>
                    <a:pt x="39" y="35"/>
                  </a:lnTo>
                  <a:lnTo>
                    <a:pt x="39" y="35"/>
                  </a:lnTo>
                  <a:lnTo>
                    <a:pt x="39" y="35"/>
                  </a:lnTo>
                  <a:lnTo>
                    <a:pt x="39" y="35"/>
                  </a:lnTo>
                  <a:lnTo>
                    <a:pt x="39" y="35"/>
                  </a:lnTo>
                  <a:lnTo>
                    <a:pt x="39" y="35"/>
                  </a:lnTo>
                  <a:lnTo>
                    <a:pt x="39" y="35"/>
                  </a:lnTo>
                  <a:lnTo>
                    <a:pt x="39" y="35"/>
                  </a:lnTo>
                  <a:lnTo>
                    <a:pt x="39" y="35"/>
                  </a:lnTo>
                  <a:lnTo>
                    <a:pt x="39" y="35"/>
                  </a:lnTo>
                  <a:lnTo>
                    <a:pt x="39" y="35"/>
                  </a:lnTo>
                  <a:lnTo>
                    <a:pt x="39" y="37"/>
                  </a:lnTo>
                  <a:lnTo>
                    <a:pt x="39" y="37"/>
                  </a:lnTo>
                  <a:lnTo>
                    <a:pt x="39" y="38"/>
                  </a:lnTo>
                  <a:lnTo>
                    <a:pt x="39" y="38"/>
                  </a:lnTo>
                  <a:lnTo>
                    <a:pt x="39" y="41"/>
                  </a:lnTo>
                  <a:lnTo>
                    <a:pt x="42" y="40"/>
                  </a:lnTo>
                  <a:close/>
                  <a:moveTo>
                    <a:pt x="50" y="53"/>
                  </a:moveTo>
                  <a:lnTo>
                    <a:pt x="50" y="53"/>
                  </a:lnTo>
                  <a:lnTo>
                    <a:pt x="48" y="48"/>
                  </a:lnTo>
                  <a:lnTo>
                    <a:pt x="45" y="42"/>
                  </a:lnTo>
                  <a:lnTo>
                    <a:pt x="44" y="45"/>
                  </a:lnTo>
                  <a:lnTo>
                    <a:pt x="44" y="45"/>
                  </a:lnTo>
                  <a:lnTo>
                    <a:pt x="45" y="48"/>
                  </a:lnTo>
                  <a:lnTo>
                    <a:pt x="47" y="54"/>
                  </a:lnTo>
                  <a:lnTo>
                    <a:pt x="50"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17" name="Freeform 1677"/>
            <p:cNvSpPr>
              <a:spLocks noEditPoints="1"/>
            </p:cNvSpPr>
            <p:nvPr/>
          </p:nvSpPr>
          <p:spPr bwMode="auto">
            <a:xfrm>
              <a:off x="4837113" y="3080179"/>
              <a:ext cx="87313" cy="293688"/>
            </a:xfrm>
            <a:custGeom>
              <a:avLst/>
              <a:gdLst>
                <a:gd name="T0" fmla="*/ 0 w 55"/>
                <a:gd name="T1" fmla="*/ 0 h 185"/>
                <a:gd name="T2" fmla="*/ 9 w 55"/>
                <a:gd name="T3" fmla="*/ 4 h 185"/>
                <a:gd name="T4" fmla="*/ 25 w 55"/>
                <a:gd name="T5" fmla="*/ 5 h 185"/>
                <a:gd name="T6" fmla="*/ 15 w 55"/>
                <a:gd name="T7" fmla="*/ 4 h 185"/>
                <a:gd name="T8" fmla="*/ 36 w 55"/>
                <a:gd name="T9" fmla="*/ 15 h 185"/>
                <a:gd name="T10" fmla="*/ 35 w 55"/>
                <a:gd name="T11" fmla="*/ 13 h 185"/>
                <a:gd name="T12" fmla="*/ 28 w 55"/>
                <a:gd name="T13" fmla="*/ 10 h 185"/>
                <a:gd name="T14" fmla="*/ 32 w 55"/>
                <a:gd name="T15" fmla="*/ 14 h 185"/>
                <a:gd name="T16" fmla="*/ 45 w 55"/>
                <a:gd name="T17" fmla="*/ 29 h 185"/>
                <a:gd name="T18" fmla="*/ 38 w 55"/>
                <a:gd name="T19" fmla="*/ 21 h 185"/>
                <a:gd name="T20" fmla="*/ 45 w 55"/>
                <a:gd name="T21" fmla="*/ 29 h 185"/>
                <a:gd name="T22" fmla="*/ 50 w 55"/>
                <a:gd name="T23" fmla="*/ 42 h 185"/>
                <a:gd name="T24" fmla="*/ 48 w 55"/>
                <a:gd name="T25" fmla="*/ 33 h 185"/>
                <a:gd name="T26" fmla="*/ 48 w 55"/>
                <a:gd name="T27" fmla="*/ 42 h 185"/>
                <a:gd name="T28" fmla="*/ 50 w 55"/>
                <a:gd name="T29" fmla="*/ 43 h 185"/>
                <a:gd name="T30" fmla="*/ 50 w 55"/>
                <a:gd name="T31" fmla="*/ 49 h 185"/>
                <a:gd name="T32" fmla="*/ 48 w 55"/>
                <a:gd name="T33" fmla="*/ 59 h 185"/>
                <a:gd name="T34" fmla="*/ 50 w 55"/>
                <a:gd name="T35" fmla="*/ 73 h 185"/>
                <a:gd name="T36" fmla="*/ 48 w 55"/>
                <a:gd name="T37" fmla="*/ 63 h 185"/>
                <a:gd name="T38" fmla="*/ 50 w 55"/>
                <a:gd name="T39" fmla="*/ 89 h 185"/>
                <a:gd name="T40" fmla="*/ 50 w 55"/>
                <a:gd name="T41" fmla="*/ 79 h 185"/>
                <a:gd name="T42" fmla="*/ 47 w 55"/>
                <a:gd name="T43" fmla="*/ 88 h 185"/>
                <a:gd name="T44" fmla="*/ 54 w 55"/>
                <a:gd name="T45" fmla="*/ 102 h 185"/>
                <a:gd name="T46" fmla="*/ 51 w 55"/>
                <a:gd name="T47" fmla="*/ 98 h 185"/>
                <a:gd name="T48" fmla="*/ 50 w 55"/>
                <a:gd name="T49" fmla="*/ 97 h 185"/>
                <a:gd name="T50" fmla="*/ 47 w 55"/>
                <a:gd name="T51" fmla="*/ 94 h 185"/>
                <a:gd name="T52" fmla="*/ 50 w 55"/>
                <a:gd name="T53" fmla="*/ 100 h 185"/>
                <a:gd name="T54" fmla="*/ 51 w 55"/>
                <a:gd name="T55" fmla="*/ 104 h 185"/>
                <a:gd name="T56" fmla="*/ 55 w 55"/>
                <a:gd name="T57" fmla="*/ 117 h 185"/>
                <a:gd name="T58" fmla="*/ 55 w 55"/>
                <a:gd name="T59" fmla="*/ 114 h 185"/>
                <a:gd name="T60" fmla="*/ 55 w 55"/>
                <a:gd name="T61" fmla="*/ 108 h 185"/>
                <a:gd name="T62" fmla="*/ 52 w 55"/>
                <a:gd name="T63" fmla="*/ 111 h 185"/>
                <a:gd name="T64" fmla="*/ 52 w 55"/>
                <a:gd name="T65" fmla="*/ 114 h 185"/>
                <a:gd name="T66" fmla="*/ 52 w 55"/>
                <a:gd name="T67" fmla="*/ 118 h 185"/>
                <a:gd name="T68" fmla="*/ 52 w 55"/>
                <a:gd name="T69" fmla="*/ 118 h 185"/>
                <a:gd name="T70" fmla="*/ 47 w 55"/>
                <a:gd name="T71" fmla="*/ 131 h 185"/>
                <a:gd name="T72" fmla="*/ 51 w 55"/>
                <a:gd name="T73" fmla="*/ 121 h 185"/>
                <a:gd name="T74" fmla="*/ 47 w 55"/>
                <a:gd name="T75" fmla="*/ 131 h 185"/>
                <a:gd name="T76" fmla="*/ 44 w 55"/>
                <a:gd name="T77" fmla="*/ 136 h 185"/>
                <a:gd name="T78" fmla="*/ 36 w 55"/>
                <a:gd name="T79" fmla="*/ 143 h 185"/>
                <a:gd name="T80" fmla="*/ 35 w 55"/>
                <a:gd name="T81" fmla="*/ 159 h 185"/>
                <a:gd name="T82" fmla="*/ 35 w 55"/>
                <a:gd name="T83" fmla="*/ 149 h 185"/>
                <a:gd name="T84" fmla="*/ 29 w 55"/>
                <a:gd name="T85" fmla="*/ 170 h 185"/>
                <a:gd name="T86" fmla="*/ 29 w 55"/>
                <a:gd name="T87" fmla="*/ 169 h 185"/>
                <a:gd name="T88" fmla="*/ 32 w 55"/>
                <a:gd name="T89" fmla="*/ 163 h 185"/>
                <a:gd name="T90" fmla="*/ 28 w 55"/>
                <a:gd name="T91" fmla="*/ 165 h 185"/>
                <a:gd name="T92" fmla="*/ 26 w 55"/>
                <a:gd name="T93" fmla="*/ 169 h 185"/>
                <a:gd name="T94" fmla="*/ 38 w 55"/>
                <a:gd name="T95" fmla="*/ 184 h 185"/>
                <a:gd name="T96" fmla="*/ 29 w 55"/>
                <a:gd name="T97" fmla="*/ 176 h 185"/>
                <a:gd name="T98" fmla="*/ 38 w 55"/>
                <a:gd name="T99" fmla="*/ 18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 h="185">
                  <a:moveTo>
                    <a:pt x="10" y="1"/>
                  </a:moveTo>
                  <a:lnTo>
                    <a:pt x="10" y="1"/>
                  </a:lnTo>
                  <a:lnTo>
                    <a:pt x="0" y="0"/>
                  </a:lnTo>
                  <a:lnTo>
                    <a:pt x="0" y="1"/>
                  </a:lnTo>
                  <a:lnTo>
                    <a:pt x="0" y="1"/>
                  </a:lnTo>
                  <a:lnTo>
                    <a:pt x="9" y="4"/>
                  </a:lnTo>
                  <a:lnTo>
                    <a:pt x="10" y="1"/>
                  </a:lnTo>
                  <a:close/>
                  <a:moveTo>
                    <a:pt x="25" y="5"/>
                  </a:moveTo>
                  <a:lnTo>
                    <a:pt x="25" y="5"/>
                  </a:lnTo>
                  <a:lnTo>
                    <a:pt x="15" y="2"/>
                  </a:lnTo>
                  <a:lnTo>
                    <a:pt x="15" y="4"/>
                  </a:lnTo>
                  <a:lnTo>
                    <a:pt x="15" y="4"/>
                  </a:lnTo>
                  <a:lnTo>
                    <a:pt x="23" y="8"/>
                  </a:lnTo>
                  <a:lnTo>
                    <a:pt x="25" y="5"/>
                  </a:lnTo>
                  <a:close/>
                  <a:moveTo>
                    <a:pt x="36" y="15"/>
                  </a:moveTo>
                  <a:lnTo>
                    <a:pt x="36" y="15"/>
                  </a:lnTo>
                  <a:lnTo>
                    <a:pt x="35" y="13"/>
                  </a:lnTo>
                  <a:lnTo>
                    <a:pt x="35" y="13"/>
                  </a:lnTo>
                  <a:lnTo>
                    <a:pt x="32" y="10"/>
                  </a:lnTo>
                  <a:lnTo>
                    <a:pt x="29" y="8"/>
                  </a:lnTo>
                  <a:lnTo>
                    <a:pt x="28" y="10"/>
                  </a:lnTo>
                  <a:lnTo>
                    <a:pt x="28" y="10"/>
                  </a:lnTo>
                  <a:lnTo>
                    <a:pt x="32" y="14"/>
                  </a:lnTo>
                  <a:lnTo>
                    <a:pt x="32" y="14"/>
                  </a:lnTo>
                  <a:lnTo>
                    <a:pt x="35" y="17"/>
                  </a:lnTo>
                  <a:lnTo>
                    <a:pt x="36" y="15"/>
                  </a:lnTo>
                  <a:close/>
                  <a:moveTo>
                    <a:pt x="45" y="29"/>
                  </a:moveTo>
                  <a:lnTo>
                    <a:pt x="45" y="29"/>
                  </a:lnTo>
                  <a:lnTo>
                    <a:pt x="39" y="20"/>
                  </a:lnTo>
                  <a:lnTo>
                    <a:pt x="38" y="21"/>
                  </a:lnTo>
                  <a:lnTo>
                    <a:pt x="38" y="21"/>
                  </a:lnTo>
                  <a:lnTo>
                    <a:pt x="44" y="30"/>
                  </a:lnTo>
                  <a:lnTo>
                    <a:pt x="45" y="29"/>
                  </a:lnTo>
                  <a:close/>
                  <a:moveTo>
                    <a:pt x="50" y="43"/>
                  </a:moveTo>
                  <a:lnTo>
                    <a:pt x="50" y="43"/>
                  </a:lnTo>
                  <a:lnTo>
                    <a:pt x="50" y="42"/>
                  </a:lnTo>
                  <a:lnTo>
                    <a:pt x="50" y="42"/>
                  </a:lnTo>
                  <a:lnTo>
                    <a:pt x="50" y="37"/>
                  </a:lnTo>
                  <a:lnTo>
                    <a:pt x="48" y="33"/>
                  </a:lnTo>
                  <a:lnTo>
                    <a:pt x="45" y="34"/>
                  </a:lnTo>
                  <a:lnTo>
                    <a:pt x="45" y="34"/>
                  </a:lnTo>
                  <a:lnTo>
                    <a:pt x="48" y="42"/>
                  </a:lnTo>
                  <a:lnTo>
                    <a:pt x="48" y="42"/>
                  </a:lnTo>
                  <a:lnTo>
                    <a:pt x="48" y="43"/>
                  </a:lnTo>
                  <a:lnTo>
                    <a:pt x="50" y="43"/>
                  </a:lnTo>
                  <a:close/>
                  <a:moveTo>
                    <a:pt x="50" y="59"/>
                  </a:moveTo>
                  <a:lnTo>
                    <a:pt x="50" y="59"/>
                  </a:lnTo>
                  <a:lnTo>
                    <a:pt x="50" y="49"/>
                  </a:lnTo>
                  <a:lnTo>
                    <a:pt x="48" y="49"/>
                  </a:lnTo>
                  <a:lnTo>
                    <a:pt x="48" y="49"/>
                  </a:lnTo>
                  <a:lnTo>
                    <a:pt x="48" y="59"/>
                  </a:lnTo>
                  <a:lnTo>
                    <a:pt x="50" y="59"/>
                  </a:lnTo>
                  <a:close/>
                  <a:moveTo>
                    <a:pt x="50" y="73"/>
                  </a:moveTo>
                  <a:lnTo>
                    <a:pt x="50" y="73"/>
                  </a:lnTo>
                  <a:lnTo>
                    <a:pt x="50" y="63"/>
                  </a:lnTo>
                  <a:lnTo>
                    <a:pt x="48" y="63"/>
                  </a:lnTo>
                  <a:lnTo>
                    <a:pt x="48" y="63"/>
                  </a:lnTo>
                  <a:lnTo>
                    <a:pt x="47" y="73"/>
                  </a:lnTo>
                  <a:lnTo>
                    <a:pt x="50" y="73"/>
                  </a:lnTo>
                  <a:close/>
                  <a:moveTo>
                    <a:pt x="50" y="89"/>
                  </a:moveTo>
                  <a:lnTo>
                    <a:pt x="50" y="88"/>
                  </a:lnTo>
                  <a:lnTo>
                    <a:pt x="50" y="88"/>
                  </a:lnTo>
                  <a:lnTo>
                    <a:pt x="50" y="79"/>
                  </a:lnTo>
                  <a:lnTo>
                    <a:pt x="47" y="79"/>
                  </a:lnTo>
                  <a:lnTo>
                    <a:pt x="47" y="79"/>
                  </a:lnTo>
                  <a:lnTo>
                    <a:pt x="47" y="88"/>
                  </a:lnTo>
                  <a:lnTo>
                    <a:pt x="47" y="89"/>
                  </a:lnTo>
                  <a:lnTo>
                    <a:pt x="50" y="89"/>
                  </a:lnTo>
                  <a:close/>
                  <a:moveTo>
                    <a:pt x="54" y="102"/>
                  </a:moveTo>
                  <a:lnTo>
                    <a:pt x="54" y="102"/>
                  </a:lnTo>
                  <a:lnTo>
                    <a:pt x="54" y="102"/>
                  </a:lnTo>
                  <a:lnTo>
                    <a:pt x="51" y="98"/>
                  </a:lnTo>
                  <a:lnTo>
                    <a:pt x="51" y="98"/>
                  </a:lnTo>
                  <a:lnTo>
                    <a:pt x="50" y="97"/>
                  </a:lnTo>
                  <a:lnTo>
                    <a:pt x="50" y="97"/>
                  </a:lnTo>
                  <a:lnTo>
                    <a:pt x="50" y="94"/>
                  </a:lnTo>
                  <a:lnTo>
                    <a:pt x="47" y="94"/>
                  </a:lnTo>
                  <a:lnTo>
                    <a:pt x="47" y="94"/>
                  </a:lnTo>
                  <a:lnTo>
                    <a:pt x="48" y="97"/>
                  </a:lnTo>
                  <a:lnTo>
                    <a:pt x="48" y="97"/>
                  </a:lnTo>
                  <a:lnTo>
                    <a:pt x="50" y="100"/>
                  </a:lnTo>
                  <a:lnTo>
                    <a:pt x="50" y="100"/>
                  </a:lnTo>
                  <a:lnTo>
                    <a:pt x="51" y="102"/>
                  </a:lnTo>
                  <a:lnTo>
                    <a:pt x="51" y="104"/>
                  </a:lnTo>
                  <a:lnTo>
                    <a:pt x="54" y="102"/>
                  </a:lnTo>
                  <a:close/>
                  <a:moveTo>
                    <a:pt x="55" y="118"/>
                  </a:moveTo>
                  <a:lnTo>
                    <a:pt x="55" y="117"/>
                  </a:lnTo>
                  <a:lnTo>
                    <a:pt x="55" y="117"/>
                  </a:lnTo>
                  <a:lnTo>
                    <a:pt x="55" y="114"/>
                  </a:lnTo>
                  <a:lnTo>
                    <a:pt x="55" y="114"/>
                  </a:lnTo>
                  <a:lnTo>
                    <a:pt x="55" y="111"/>
                  </a:lnTo>
                  <a:lnTo>
                    <a:pt x="55" y="111"/>
                  </a:lnTo>
                  <a:lnTo>
                    <a:pt x="55" y="108"/>
                  </a:lnTo>
                  <a:lnTo>
                    <a:pt x="52" y="108"/>
                  </a:lnTo>
                  <a:lnTo>
                    <a:pt x="52" y="108"/>
                  </a:lnTo>
                  <a:lnTo>
                    <a:pt x="52" y="111"/>
                  </a:lnTo>
                  <a:lnTo>
                    <a:pt x="52" y="111"/>
                  </a:lnTo>
                  <a:lnTo>
                    <a:pt x="52" y="114"/>
                  </a:lnTo>
                  <a:lnTo>
                    <a:pt x="52" y="114"/>
                  </a:lnTo>
                  <a:lnTo>
                    <a:pt x="52" y="118"/>
                  </a:lnTo>
                  <a:lnTo>
                    <a:pt x="52" y="118"/>
                  </a:lnTo>
                  <a:lnTo>
                    <a:pt x="52" y="118"/>
                  </a:lnTo>
                  <a:lnTo>
                    <a:pt x="52" y="118"/>
                  </a:lnTo>
                  <a:lnTo>
                    <a:pt x="52" y="118"/>
                  </a:lnTo>
                  <a:lnTo>
                    <a:pt x="52" y="118"/>
                  </a:lnTo>
                  <a:lnTo>
                    <a:pt x="52" y="118"/>
                  </a:lnTo>
                  <a:lnTo>
                    <a:pt x="55" y="118"/>
                  </a:lnTo>
                  <a:close/>
                  <a:moveTo>
                    <a:pt x="47" y="131"/>
                  </a:moveTo>
                  <a:lnTo>
                    <a:pt x="47" y="131"/>
                  </a:lnTo>
                  <a:lnTo>
                    <a:pt x="54" y="123"/>
                  </a:lnTo>
                  <a:lnTo>
                    <a:pt x="51" y="121"/>
                  </a:lnTo>
                  <a:lnTo>
                    <a:pt x="51" y="121"/>
                  </a:lnTo>
                  <a:lnTo>
                    <a:pt x="45" y="130"/>
                  </a:lnTo>
                  <a:lnTo>
                    <a:pt x="47" y="131"/>
                  </a:lnTo>
                  <a:close/>
                  <a:moveTo>
                    <a:pt x="39" y="144"/>
                  </a:moveTo>
                  <a:lnTo>
                    <a:pt x="39" y="144"/>
                  </a:lnTo>
                  <a:lnTo>
                    <a:pt x="44" y="136"/>
                  </a:lnTo>
                  <a:lnTo>
                    <a:pt x="42" y="134"/>
                  </a:lnTo>
                  <a:lnTo>
                    <a:pt x="42" y="134"/>
                  </a:lnTo>
                  <a:lnTo>
                    <a:pt x="36" y="143"/>
                  </a:lnTo>
                  <a:lnTo>
                    <a:pt x="39" y="144"/>
                  </a:lnTo>
                  <a:close/>
                  <a:moveTo>
                    <a:pt x="35" y="159"/>
                  </a:moveTo>
                  <a:lnTo>
                    <a:pt x="35" y="159"/>
                  </a:lnTo>
                  <a:lnTo>
                    <a:pt x="38" y="149"/>
                  </a:lnTo>
                  <a:lnTo>
                    <a:pt x="35" y="149"/>
                  </a:lnTo>
                  <a:lnTo>
                    <a:pt x="35" y="149"/>
                  </a:lnTo>
                  <a:lnTo>
                    <a:pt x="32" y="157"/>
                  </a:lnTo>
                  <a:lnTo>
                    <a:pt x="35" y="159"/>
                  </a:lnTo>
                  <a:close/>
                  <a:moveTo>
                    <a:pt x="29" y="170"/>
                  </a:moveTo>
                  <a:lnTo>
                    <a:pt x="29" y="170"/>
                  </a:lnTo>
                  <a:lnTo>
                    <a:pt x="29" y="169"/>
                  </a:lnTo>
                  <a:lnTo>
                    <a:pt x="29" y="169"/>
                  </a:lnTo>
                  <a:lnTo>
                    <a:pt x="29" y="166"/>
                  </a:lnTo>
                  <a:lnTo>
                    <a:pt x="29" y="166"/>
                  </a:lnTo>
                  <a:lnTo>
                    <a:pt x="32" y="163"/>
                  </a:lnTo>
                  <a:lnTo>
                    <a:pt x="31" y="162"/>
                  </a:lnTo>
                  <a:lnTo>
                    <a:pt x="31" y="162"/>
                  </a:lnTo>
                  <a:lnTo>
                    <a:pt x="28" y="165"/>
                  </a:lnTo>
                  <a:lnTo>
                    <a:pt x="28" y="165"/>
                  </a:lnTo>
                  <a:lnTo>
                    <a:pt x="26" y="169"/>
                  </a:lnTo>
                  <a:lnTo>
                    <a:pt x="26" y="169"/>
                  </a:lnTo>
                  <a:lnTo>
                    <a:pt x="28" y="172"/>
                  </a:lnTo>
                  <a:lnTo>
                    <a:pt x="29" y="170"/>
                  </a:lnTo>
                  <a:close/>
                  <a:moveTo>
                    <a:pt x="38" y="184"/>
                  </a:moveTo>
                  <a:lnTo>
                    <a:pt x="38" y="184"/>
                  </a:lnTo>
                  <a:lnTo>
                    <a:pt x="32" y="175"/>
                  </a:lnTo>
                  <a:lnTo>
                    <a:pt x="29" y="176"/>
                  </a:lnTo>
                  <a:lnTo>
                    <a:pt x="29" y="176"/>
                  </a:lnTo>
                  <a:lnTo>
                    <a:pt x="35" y="185"/>
                  </a:lnTo>
                  <a:lnTo>
                    <a:pt x="38" y="1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18" name="Freeform 1678"/>
            <p:cNvSpPr>
              <a:spLocks noEditPoints="1"/>
            </p:cNvSpPr>
            <p:nvPr/>
          </p:nvSpPr>
          <p:spPr bwMode="auto">
            <a:xfrm>
              <a:off x="4814888" y="3103991"/>
              <a:ext cx="79375" cy="7938"/>
            </a:xfrm>
            <a:custGeom>
              <a:avLst/>
              <a:gdLst>
                <a:gd name="T0" fmla="*/ 6 w 50"/>
                <a:gd name="T1" fmla="*/ 2 h 5"/>
                <a:gd name="T2" fmla="*/ 6 w 50"/>
                <a:gd name="T3" fmla="*/ 2 h 5"/>
                <a:gd name="T4" fmla="*/ 0 w 50"/>
                <a:gd name="T5" fmla="*/ 0 h 5"/>
                <a:gd name="T6" fmla="*/ 0 w 50"/>
                <a:gd name="T7" fmla="*/ 3 h 5"/>
                <a:gd name="T8" fmla="*/ 0 w 50"/>
                <a:gd name="T9" fmla="*/ 3 h 5"/>
                <a:gd name="T10" fmla="*/ 6 w 50"/>
                <a:gd name="T11" fmla="*/ 5 h 5"/>
                <a:gd name="T12" fmla="*/ 6 w 50"/>
                <a:gd name="T13" fmla="*/ 2 h 5"/>
                <a:gd name="T14" fmla="*/ 20 w 50"/>
                <a:gd name="T15" fmla="*/ 2 h 5"/>
                <a:gd name="T16" fmla="*/ 20 w 50"/>
                <a:gd name="T17" fmla="*/ 2 h 5"/>
                <a:gd name="T18" fmla="*/ 10 w 50"/>
                <a:gd name="T19" fmla="*/ 2 h 5"/>
                <a:gd name="T20" fmla="*/ 10 w 50"/>
                <a:gd name="T21" fmla="*/ 5 h 5"/>
                <a:gd name="T22" fmla="*/ 10 w 50"/>
                <a:gd name="T23" fmla="*/ 5 h 5"/>
                <a:gd name="T24" fmla="*/ 20 w 50"/>
                <a:gd name="T25" fmla="*/ 5 h 5"/>
                <a:gd name="T26" fmla="*/ 20 w 50"/>
                <a:gd name="T27" fmla="*/ 2 h 5"/>
                <a:gd name="T28" fmla="*/ 36 w 50"/>
                <a:gd name="T29" fmla="*/ 2 h 5"/>
                <a:gd name="T30" fmla="*/ 36 w 50"/>
                <a:gd name="T31" fmla="*/ 2 h 5"/>
                <a:gd name="T32" fmla="*/ 27 w 50"/>
                <a:gd name="T33" fmla="*/ 2 h 5"/>
                <a:gd name="T34" fmla="*/ 27 w 50"/>
                <a:gd name="T35" fmla="*/ 2 h 5"/>
                <a:gd name="T36" fmla="*/ 26 w 50"/>
                <a:gd name="T37" fmla="*/ 2 h 5"/>
                <a:gd name="T38" fmla="*/ 26 w 50"/>
                <a:gd name="T39" fmla="*/ 5 h 5"/>
                <a:gd name="T40" fmla="*/ 26 w 50"/>
                <a:gd name="T41" fmla="*/ 5 h 5"/>
                <a:gd name="T42" fmla="*/ 27 w 50"/>
                <a:gd name="T43" fmla="*/ 5 h 5"/>
                <a:gd name="T44" fmla="*/ 27 w 50"/>
                <a:gd name="T45" fmla="*/ 5 h 5"/>
                <a:gd name="T46" fmla="*/ 36 w 50"/>
                <a:gd name="T47" fmla="*/ 5 h 5"/>
                <a:gd name="T48" fmla="*/ 36 w 50"/>
                <a:gd name="T49" fmla="*/ 2 h 5"/>
                <a:gd name="T50" fmla="*/ 50 w 50"/>
                <a:gd name="T51" fmla="*/ 2 h 5"/>
                <a:gd name="T52" fmla="*/ 50 w 50"/>
                <a:gd name="T53" fmla="*/ 2 h 5"/>
                <a:gd name="T54" fmla="*/ 40 w 50"/>
                <a:gd name="T55" fmla="*/ 2 h 5"/>
                <a:gd name="T56" fmla="*/ 40 w 50"/>
                <a:gd name="T57" fmla="*/ 5 h 5"/>
                <a:gd name="T58" fmla="*/ 40 w 50"/>
                <a:gd name="T59" fmla="*/ 5 h 5"/>
                <a:gd name="T60" fmla="*/ 50 w 50"/>
                <a:gd name="T61" fmla="*/ 5 h 5"/>
                <a:gd name="T62" fmla="*/ 50 w 50"/>
                <a:gd name="T6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0" h="5">
                  <a:moveTo>
                    <a:pt x="6" y="2"/>
                  </a:moveTo>
                  <a:lnTo>
                    <a:pt x="6" y="2"/>
                  </a:lnTo>
                  <a:lnTo>
                    <a:pt x="0" y="0"/>
                  </a:lnTo>
                  <a:lnTo>
                    <a:pt x="0" y="3"/>
                  </a:lnTo>
                  <a:lnTo>
                    <a:pt x="0" y="3"/>
                  </a:lnTo>
                  <a:lnTo>
                    <a:pt x="6" y="5"/>
                  </a:lnTo>
                  <a:lnTo>
                    <a:pt x="6" y="2"/>
                  </a:lnTo>
                  <a:close/>
                  <a:moveTo>
                    <a:pt x="20" y="2"/>
                  </a:moveTo>
                  <a:lnTo>
                    <a:pt x="20" y="2"/>
                  </a:lnTo>
                  <a:lnTo>
                    <a:pt x="10" y="2"/>
                  </a:lnTo>
                  <a:lnTo>
                    <a:pt x="10" y="5"/>
                  </a:lnTo>
                  <a:lnTo>
                    <a:pt x="10" y="5"/>
                  </a:lnTo>
                  <a:lnTo>
                    <a:pt x="20" y="5"/>
                  </a:lnTo>
                  <a:lnTo>
                    <a:pt x="20" y="2"/>
                  </a:lnTo>
                  <a:close/>
                  <a:moveTo>
                    <a:pt x="36" y="2"/>
                  </a:moveTo>
                  <a:lnTo>
                    <a:pt x="36" y="2"/>
                  </a:lnTo>
                  <a:lnTo>
                    <a:pt x="27" y="2"/>
                  </a:lnTo>
                  <a:lnTo>
                    <a:pt x="27" y="2"/>
                  </a:lnTo>
                  <a:lnTo>
                    <a:pt x="26" y="2"/>
                  </a:lnTo>
                  <a:lnTo>
                    <a:pt x="26" y="5"/>
                  </a:lnTo>
                  <a:lnTo>
                    <a:pt x="26" y="5"/>
                  </a:lnTo>
                  <a:lnTo>
                    <a:pt x="27" y="5"/>
                  </a:lnTo>
                  <a:lnTo>
                    <a:pt x="27" y="5"/>
                  </a:lnTo>
                  <a:lnTo>
                    <a:pt x="36" y="5"/>
                  </a:lnTo>
                  <a:lnTo>
                    <a:pt x="36" y="2"/>
                  </a:lnTo>
                  <a:close/>
                  <a:moveTo>
                    <a:pt x="50" y="2"/>
                  </a:moveTo>
                  <a:lnTo>
                    <a:pt x="50" y="2"/>
                  </a:lnTo>
                  <a:lnTo>
                    <a:pt x="40" y="2"/>
                  </a:lnTo>
                  <a:lnTo>
                    <a:pt x="40" y="5"/>
                  </a:lnTo>
                  <a:lnTo>
                    <a:pt x="40" y="5"/>
                  </a:lnTo>
                  <a:lnTo>
                    <a:pt x="50" y="5"/>
                  </a:lnTo>
                  <a:lnTo>
                    <a:pt x="5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19" name="Freeform 1679"/>
            <p:cNvSpPr>
              <a:spLocks noEditPoints="1"/>
            </p:cNvSpPr>
            <p:nvPr/>
          </p:nvSpPr>
          <p:spPr bwMode="auto">
            <a:xfrm>
              <a:off x="4965701" y="3350054"/>
              <a:ext cx="101600" cy="122238"/>
            </a:xfrm>
            <a:custGeom>
              <a:avLst/>
              <a:gdLst>
                <a:gd name="T0" fmla="*/ 3 w 64"/>
                <a:gd name="T1" fmla="*/ 8 h 77"/>
                <a:gd name="T2" fmla="*/ 2 w 64"/>
                <a:gd name="T3" fmla="*/ 14 h 77"/>
                <a:gd name="T4" fmla="*/ 5 w 64"/>
                <a:gd name="T5" fmla="*/ 9 h 77"/>
                <a:gd name="T6" fmla="*/ 18 w 64"/>
                <a:gd name="T7" fmla="*/ 0 h 77"/>
                <a:gd name="T8" fmla="*/ 8 w 64"/>
                <a:gd name="T9" fmla="*/ 5 h 77"/>
                <a:gd name="T10" fmla="*/ 9 w 64"/>
                <a:gd name="T11" fmla="*/ 8 h 77"/>
                <a:gd name="T12" fmla="*/ 18 w 64"/>
                <a:gd name="T13" fmla="*/ 0 h 77"/>
                <a:gd name="T14" fmla="*/ 34 w 64"/>
                <a:gd name="T15" fmla="*/ 0 h 77"/>
                <a:gd name="T16" fmla="*/ 29 w 64"/>
                <a:gd name="T17" fmla="*/ 0 h 77"/>
                <a:gd name="T18" fmla="*/ 24 w 64"/>
                <a:gd name="T19" fmla="*/ 3 h 77"/>
                <a:gd name="T20" fmla="*/ 29 w 64"/>
                <a:gd name="T21" fmla="*/ 2 h 77"/>
                <a:gd name="T22" fmla="*/ 32 w 64"/>
                <a:gd name="T23" fmla="*/ 3 h 77"/>
                <a:gd name="T24" fmla="*/ 47 w 64"/>
                <a:gd name="T25" fmla="*/ 8 h 77"/>
                <a:gd name="T26" fmla="*/ 38 w 64"/>
                <a:gd name="T27" fmla="*/ 2 h 77"/>
                <a:gd name="T28" fmla="*/ 38 w 64"/>
                <a:gd name="T29" fmla="*/ 5 h 77"/>
                <a:gd name="T30" fmla="*/ 47 w 64"/>
                <a:gd name="T31" fmla="*/ 8 h 77"/>
                <a:gd name="T32" fmla="*/ 58 w 64"/>
                <a:gd name="T33" fmla="*/ 19 h 77"/>
                <a:gd name="T34" fmla="*/ 50 w 64"/>
                <a:gd name="T35" fmla="*/ 14 h 77"/>
                <a:gd name="T36" fmla="*/ 57 w 64"/>
                <a:gd name="T37" fmla="*/ 21 h 77"/>
                <a:gd name="T38" fmla="*/ 64 w 64"/>
                <a:gd name="T39" fmla="*/ 34 h 77"/>
                <a:gd name="T40" fmla="*/ 61 w 64"/>
                <a:gd name="T41" fmla="*/ 24 h 77"/>
                <a:gd name="T42" fmla="*/ 58 w 64"/>
                <a:gd name="T43" fmla="*/ 25 h 77"/>
                <a:gd name="T44" fmla="*/ 64 w 64"/>
                <a:gd name="T45" fmla="*/ 34 h 77"/>
                <a:gd name="T46" fmla="*/ 63 w 64"/>
                <a:gd name="T47" fmla="*/ 50 h 77"/>
                <a:gd name="T48" fmla="*/ 64 w 64"/>
                <a:gd name="T49" fmla="*/ 40 h 77"/>
                <a:gd name="T50" fmla="*/ 61 w 64"/>
                <a:gd name="T51" fmla="*/ 40 h 77"/>
                <a:gd name="T52" fmla="*/ 61 w 64"/>
                <a:gd name="T53" fmla="*/ 40 h 77"/>
                <a:gd name="T54" fmla="*/ 63 w 64"/>
                <a:gd name="T55" fmla="*/ 50 h 77"/>
                <a:gd name="T56" fmla="*/ 55 w 64"/>
                <a:gd name="T57" fmla="*/ 63 h 77"/>
                <a:gd name="T58" fmla="*/ 57 w 64"/>
                <a:gd name="T59" fmla="*/ 53 h 77"/>
                <a:gd name="T60" fmla="*/ 54 w 64"/>
                <a:gd name="T61" fmla="*/ 63 h 77"/>
                <a:gd name="T62" fmla="*/ 51 w 64"/>
                <a:gd name="T63" fmla="*/ 77 h 77"/>
                <a:gd name="T64" fmla="*/ 54 w 64"/>
                <a:gd name="T65" fmla="*/ 67 h 77"/>
                <a:gd name="T66" fmla="*/ 51 w 64"/>
                <a:gd name="T67" fmla="*/ 67 h 77"/>
                <a:gd name="T68" fmla="*/ 51 w 64"/>
                <a:gd name="T6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77">
                  <a:moveTo>
                    <a:pt x="3" y="8"/>
                  </a:moveTo>
                  <a:lnTo>
                    <a:pt x="3" y="8"/>
                  </a:lnTo>
                  <a:lnTo>
                    <a:pt x="0" y="11"/>
                  </a:lnTo>
                  <a:lnTo>
                    <a:pt x="2" y="14"/>
                  </a:lnTo>
                  <a:lnTo>
                    <a:pt x="2" y="14"/>
                  </a:lnTo>
                  <a:lnTo>
                    <a:pt x="5" y="9"/>
                  </a:lnTo>
                  <a:lnTo>
                    <a:pt x="3" y="8"/>
                  </a:lnTo>
                  <a:close/>
                  <a:moveTo>
                    <a:pt x="18" y="0"/>
                  </a:moveTo>
                  <a:lnTo>
                    <a:pt x="18" y="0"/>
                  </a:lnTo>
                  <a:lnTo>
                    <a:pt x="8" y="5"/>
                  </a:lnTo>
                  <a:lnTo>
                    <a:pt x="9" y="8"/>
                  </a:lnTo>
                  <a:lnTo>
                    <a:pt x="9" y="8"/>
                  </a:lnTo>
                  <a:lnTo>
                    <a:pt x="19" y="3"/>
                  </a:lnTo>
                  <a:lnTo>
                    <a:pt x="18" y="0"/>
                  </a:lnTo>
                  <a:close/>
                  <a:moveTo>
                    <a:pt x="34" y="0"/>
                  </a:moveTo>
                  <a:lnTo>
                    <a:pt x="34" y="0"/>
                  </a:lnTo>
                  <a:lnTo>
                    <a:pt x="29" y="0"/>
                  </a:lnTo>
                  <a:lnTo>
                    <a:pt x="29" y="0"/>
                  </a:lnTo>
                  <a:lnTo>
                    <a:pt x="24" y="0"/>
                  </a:lnTo>
                  <a:lnTo>
                    <a:pt x="24" y="3"/>
                  </a:lnTo>
                  <a:lnTo>
                    <a:pt x="24" y="3"/>
                  </a:lnTo>
                  <a:lnTo>
                    <a:pt x="29" y="2"/>
                  </a:lnTo>
                  <a:lnTo>
                    <a:pt x="29" y="2"/>
                  </a:lnTo>
                  <a:lnTo>
                    <a:pt x="32" y="3"/>
                  </a:lnTo>
                  <a:lnTo>
                    <a:pt x="34" y="0"/>
                  </a:lnTo>
                  <a:close/>
                  <a:moveTo>
                    <a:pt x="47" y="8"/>
                  </a:moveTo>
                  <a:lnTo>
                    <a:pt x="47" y="8"/>
                  </a:lnTo>
                  <a:lnTo>
                    <a:pt x="38" y="2"/>
                  </a:lnTo>
                  <a:lnTo>
                    <a:pt x="38" y="5"/>
                  </a:lnTo>
                  <a:lnTo>
                    <a:pt x="38" y="5"/>
                  </a:lnTo>
                  <a:lnTo>
                    <a:pt x="45" y="11"/>
                  </a:lnTo>
                  <a:lnTo>
                    <a:pt x="47" y="8"/>
                  </a:lnTo>
                  <a:close/>
                  <a:moveTo>
                    <a:pt x="58" y="19"/>
                  </a:moveTo>
                  <a:lnTo>
                    <a:pt x="58" y="19"/>
                  </a:lnTo>
                  <a:lnTo>
                    <a:pt x="51" y="12"/>
                  </a:lnTo>
                  <a:lnTo>
                    <a:pt x="50" y="14"/>
                  </a:lnTo>
                  <a:lnTo>
                    <a:pt x="50" y="14"/>
                  </a:lnTo>
                  <a:lnTo>
                    <a:pt x="57" y="21"/>
                  </a:lnTo>
                  <a:lnTo>
                    <a:pt x="58" y="19"/>
                  </a:lnTo>
                  <a:close/>
                  <a:moveTo>
                    <a:pt x="64" y="34"/>
                  </a:moveTo>
                  <a:lnTo>
                    <a:pt x="64" y="34"/>
                  </a:lnTo>
                  <a:lnTo>
                    <a:pt x="61" y="24"/>
                  </a:lnTo>
                  <a:lnTo>
                    <a:pt x="58" y="25"/>
                  </a:lnTo>
                  <a:lnTo>
                    <a:pt x="58" y="25"/>
                  </a:lnTo>
                  <a:lnTo>
                    <a:pt x="61" y="34"/>
                  </a:lnTo>
                  <a:lnTo>
                    <a:pt x="64" y="34"/>
                  </a:lnTo>
                  <a:close/>
                  <a:moveTo>
                    <a:pt x="63" y="50"/>
                  </a:moveTo>
                  <a:lnTo>
                    <a:pt x="63" y="50"/>
                  </a:lnTo>
                  <a:lnTo>
                    <a:pt x="64" y="45"/>
                  </a:lnTo>
                  <a:lnTo>
                    <a:pt x="64" y="40"/>
                  </a:lnTo>
                  <a:lnTo>
                    <a:pt x="64" y="40"/>
                  </a:lnTo>
                  <a:lnTo>
                    <a:pt x="61" y="40"/>
                  </a:lnTo>
                  <a:lnTo>
                    <a:pt x="61" y="40"/>
                  </a:lnTo>
                  <a:lnTo>
                    <a:pt x="61" y="40"/>
                  </a:lnTo>
                  <a:lnTo>
                    <a:pt x="60" y="48"/>
                  </a:lnTo>
                  <a:lnTo>
                    <a:pt x="63" y="50"/>
                  </a:lnTo>
                  <a:close/>
                  <a:moveTo>
                    <a:pt x="55" y="63"/>
                  </a:moveTo>
                  <a:lnTo>
                    <a:pt x="55" y="63"/>
                  </a:lnTo>
                  <a:lnTo>
                    <a:pt x="60" y="54"/>
                  </a:lnTo>
                  <a:lnTo>
                    <a:pt x="57" y="53"/>
                  </a:lnTo>
                  <a:lnTo>
                    <a:pt x="57" y="53"/>
                  </a:lnTo>
                  <a:lnTo>
                    <a:pt x="54" y="63"/>
                  </a:lnTo>
                  <a:lnTo>
                    <a:pt x="55" y="63"/>
                  </a:lnTo>
                  <a:close/>
                  <a:moveTo>
                    <a:pt x="51" y="77"/>
                  </a:moveTo>
                  <a:lnTo>
                    <a:pt x="51" y="77"/>
                  </a:lnTo>
                  <a:lnTo>
                    <a:pt x="54" y="67"/>
                  </a:lnTo>
                  <a:lnTo>
                    <a:pt x="51" y="67"/>
                  </a:lnTo>
                  <a:lnTo>
                    <a:pt x="51" y="67"/>
                  </a:lnTo>
                  <a:lnTo>
                    <a:pt x="50" y="77"/>
                  </a:lnTo>
                  <a:lnTo>
                    <a:pt x="51" y="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20" name="Freeform 1680"/>
            <p:cNvSpPr>
              <a:spLocks noEditPoints="1"/>
            </p:cNvSpPr>
            <p:nvPr/>
          </p:nvSpPr>
          <p:spPr bwMode="auto">
            <a:xfrm>
              <a:off x="4913313" y="2880154"/>
              <a:ext cx="119063" cy="268288"/>
            </a:xfrm>
            <a:custGeom>
              <a:avLst/>
              <a:gdLst>
                <a:gd name="T0" fmla="*/ 68 w 75"/>
                <a:gd name="T1" fmla="*/ 0 h 169"/>
                <a:gd name="T2" fmla="*/ 65 w 75"/>
                <a:gd name="T3" fmla="*/ 1 h 169"/>
                <a:gd name="T4" fmla="*/ 65 w 75"/>
                <a:gd name="T5" fmla="*/ 17 h 169"/>
                <a:gd name="T6" fmla="*/ 64 w 75"/>
                <a:gd name="T7" fmla="*/ 7 h 169"/>
                <a:gd name="T8" fmla="*/ 65 w 75"/>
                <a:gd name="T9" fmla="*/ 17 h 169"/>
                <a:gd name="T10" fmla="*/ 65 w 75"/>
                <a:gd name="T11" fmla="*/ 31 h 169"/>
                <a:gd name="T12" fmla="*/ 65 w 75"/>
                <a:gd name="T13" fmla="*/ 21 h 169"/>
                <a:gd name="T14" fmla="*/ 62 w 75"/>
                <a:gd name="T15" fmla="*/ 26 h 169"/>
                <a:gd name="T16" fmla="*/ 62 w 75"/>
                <a:gd name="T17" fmla="*/ 31 h 169"/>
                <a:gd name="T18" fmla="*/ 67 w 75"/>
                <a:gd name="T19" fmla="*/ 47 h 169"/>
                <a:gd name="T20" fmla="*/ 62 w 75"/>
                <a:gd name="T21" fmla="*/ 37 h 169"/>
                <a:gd name="T22" fmla="*/ 70 w 75"/>
                <a:gd name="T23" fmla="*/ 62 h 169"/>
                <a:gd name="T24" fmla="*/ 65 w 75"/>
                <a:gd name="T25" fmla="*/ 52 h 169"/>
                <a:gd name="T26" fmla="*/ 70 w 75"/>
                <a:gd name="T27" fmla="*/ 62 h 169"/>
                <a:gd name="T28" fmla="*/ 72 w 75"/>
                <a:gd name="T29" fmla="*/ 71 h 169"/>
                <a:gd name="T30" fmla="*/ 68 w 75"/>
                <a:gd name="T31" fmla="*/ 68 h 169"/>
                <a:gd name="T32" fmla="*/ 70 w 75"/>
                <a:gd name="T33" fmla="*/ 72 h 169"/>
                <a:gd name="T34" fmla="*/ 75 w 75"/>
                <a:gd name="T35" fmla="*/ 91 h 169"/>
                <a:gd name="T36" fmla="*/ 75 w 75"/>
                <a:gd name="T37" fmla="*/ 88 h 169"/>
                <a:gd name="T38" fmla="*/ 72 w 75"/>
                <a:gd name="T39" fmla="*/ 81 h 169"/>
                <a:gd name="T40" fmla="*/ 72 w 75"/>
                <a:gd name="T41" fmla="*/ 91 h 169"/>
                <a:gd name="T42" fmla="*/ 72 w 75"/>
                <a:gd name="T43" fmla="*/ 107 h 169"/>
                <a:gd name="T44" fmla="*/ 72 w 75"/>
                <a:gd name="T45" fmla="*/ 97 h 169"/>
                <a:gd name="T46" fmla="*/ 71 w 75"/>
                <a:gd name="T47" fmla="*/ 105 h 169"/>
                <a:gd name="T48" fmla="*/ 58 w 75"/>
                <a:gd name="T49" fmla="*/ 114 h 169"/>
                <a:gd name="T50" fmla="*/ 67 w 75"/>
                <a:gd name="T51" fmla="*/ 108 h 169"/>
                <a:gd name="T52" fmla="*/ 44 w 75"/>
                <a:gd name="T53" fmla="*/ 115 h 169"/>
                <a:gd name="T54" fmla="*/ 54 w 75"/>
                <a:gd name="T55" fmla="*/ 114 h 169"/>
                <a:gd name="T56" fmla="*/ 44 w 75"/>
                <a:gd name="T57" fmla="*/ 113 h 169"/>
                <a:gd name="T58" fmla="*/ 36 w 75"/>
                <a:gd name="T59" fmla="*/ 126 h 169"/>
                <a:gd name="T60" fmla="*/ 41 w 75"/>
                <a:gd name="T61" fmla="*/ 117 h 169"/>
                <a:gd name="T62" fmla="*/ 36 w 75"/>
                <a:gd name="T63" fmla="*/ 120 h 169"/>
                <a:gd name="T64" fmla="*/ 33 w 75"/>
                <a:gd name="T65" fmla="*/ 141 h 169"/>
                <a:gd name="T66" fmla="*/ 33 w 75"/>
                <a:gd name="T67" fmla="*/ 131 h 169"/>
                <a:gd name="T68" fmla="*/ 33 w 75"/>
                <a:gd name="T69" fmla="*/ 141 h 169"/>
                <a:gd name="T70" fmla="*/ 30 w 75"/>
                <a:gd name="T71" fmla="*/ 153 h 169"/>
                <a:gd name="T72" fmla="*/ 33 w 75"/>
                <a:gd name="T73" fmla="*/ 146 h 169"/>
                <a:gd name="T74" fmla="*/ 30 w 75"/>
                <a:gd name="T75" fmla="*/ 149 h 169"/>
                <a:gd name="T76" fmla="*/ 26 w 75"/>
                <a:gd name="T77" fmla="*/ 153 h 169"/>
                <a:gd name="T78" fmla="*/ 13 w 75"/>
                <a:gd name="T79" fmla="*/ 162 h 169"/>
                <a:gd name="T80" fmla="*/ 23 w 75"/>
                <a:gd name="T81" fmla="*/ 156 h 169"/>
                <a:gd name="T82" fmla="*/ 2 w 75"/>
                <a:gd name="T83" fmla="*/ 169 h 169"/>
                <a:gd name="T84" fmla="*/ 9 w 75"/>
                <a:gd name="T85" fmla="*/ 163 h 169"/>
                <a:gd name="T86" fmla="*/ 3 w 75"/>
                <a:gd name="T87" fmla="*/ 16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169">
                  <a:moveTo>
                    <a:pt x="68" y="1"/>
                  </a:moveTo>
                  <a:lnTo>
                    <a:pt x="68" y="1"/>
                  </a:lnTo>
                  <a:lnTo>
                    <a:pt x="68" y="0"/>
                  </a:lnTo>
                  <a:lnTo>
                    <a:pt x="65" y="0"/>
                  </a:lnTo>
                  <a:lnTo>
                    <a:pt x="65" y="0"/>
                  </a:lnTo>
                  <a:lnTo>
                    <a:pt x="65" y="1"/>
                  </a:lnTo>
                  <a:lnTo>
                    <a:pt x="68" y="1"/>
                  </a:lnTo>
                  <a:lnTo>
                    <a:pt x="68" y="1"/>
                  </a:lnTo>
                  <a:close/>
                  <a:moveTo>
                    <a:pt x="65" y="17"/>
                  </a:moveTo>
                  <a:lnTo>
                    <a:pt x="65" y="17"/>
                  </a:lnTo>
                  <a:lnTo>
                    <a:pt x="67" y="7"/>
                  </a:lnTo>
                  <a:lnTo>
                    <a:pt x="64" y="7"/>
                  </a:lnTo>
                  <a:lnTo>
                    <a:pt x="64" y="7"/>
                  </a:lnTo>
                  <a:lnTo>
                    <a:pt x="62" y="17"/>
                  </a:lnTo>
                  <a:lnTo>
                    <a:pt x="65" y="17"/>
                  </a:lnTo>
                  <a:close/>
                  <a:moveTo>
                    <a:pt x="65" y="31"/>
                  </a:moveTo>
                  <a:lnTo>
                    <a:pt x="65" y="31"/>
                  </a:lnTo>
                  <a:lnTo>
                    <a:pt x="65" y="31"/>
                  </a:lnTo>
                  <a:lnTo>
                    <a:pt x="65" y="26"/>
                  </a:lnTo>
                  <a:lnTo>
                    <a:pt x="65" y="26"/>
                  </a:lnTo>
                  <a:lnTo>
                    <a:pt x="65" y="21"/>
                  </a:lnTo>
                  <a:lnTo>
                    <a:pt x="62" y="21"/>
                  </a:lnTo>
                  <a:lnTo>
                    <a:pt x="62" y="21"/>
                  </a:lnTo>
                  <a:lnTo>
                    <a:pt x="62" y="26"/>
                  </a:lnTo>
                  <a:lnTo>
                    <a:pt x="62" y="26"/>
                  </a:lnTo>
                  <a:lnTo>
                    <a:pt x="62" y="31"/>
                  </a:lnTo>
                  <a:lnTo>
                    <a:pt x="62" y="31"/>
                  </a:lnTo>
                  <a:lnTo>
                    <a:pt x="65" y="31"/>
                  </a:lnTo>
                  <a:close/>
                  <a:moveTo>
                    <a:pt x="67" y="47"/>
                  </a:moveTo>
                  <a:lnTo>
                    <a:pt x="67" y="47"/>
                  </a:lnTo>
                  <a:lnTo>
                    <a:pt x="65" y="37"/>
                  </a:lnTo>
                  <a:lnTo>
                    <a:pt x="62" y="37"/>
                  </a:lnTo>
                  <a:lnTo>
                    <a:pt x="62" y="37"/>
                  </a:lnTo>
                  <a:lnTo>
                    <a:pt x="64" y="47"/>
                  </a:lnTo>
                  <a:lnTo>
                    <a:pt x="67" y="47"/>
                  </a:lnTo>
                  <a:close/>
                  <a:moveTo>
                    <a:pt x="70" y="62"/>
                  </a:moveTo>
                  <a:lnTo>
                    <a:pt x="70" y="62"/>
                  </a:lnTo>
                  <a:lnTo>
                    <a:pt x="67" y="52"/>
                  </a:lnTo>
                  <a:lnTo>
                    <a:pt x="65" y="52"/>
                  </a:lnTo>
                  <a:lnTo>
                    <a:pt x="65" y="52"/>
                  </a:lnTo>
                  <a:lnTo>
                    <a:pt x="67" y="62"/>
                  </a:lnTo>
                  <a:lnTo>
                    <a:pt x="70" y="62"/>
                  </a:lnTo>
                  <a:close/>
                  <a:moveTo>
                    <a:pt x="74" y="76"/>
                  </a:moveTo>
                  <a:lnTo>
                    <a:pt x="74" y="76"/>
                  </a:lnTo>
                  <a:lnTo>
                    <a:pt x="72" y="71"/>
                  </a:lnTo>
                  <a:lnTo>
                    <a:pt x="72" y="71"/>
                  </a:lnTo>
                  <a:lnTo>
                    <a:pt x="71" y="66"/>
                  </a:lnTo>
                  <a:lnTo>
                    <a:pt x="68" y="68"/>
                  </a:lnTo>
                  <a:lnTo>
                    <a:pt x="68" y="68"/>
                  </a:lnTo>
                  <a:lnTo>
                    <a:pt x="70" y="72"/>
                  </a:lnTo>
                  <a:lnTo>
                    <a:pt x="70" y="72"/>
                  </a:lnTo>
                  <a:lnTo>
                    <a:pt x="72" y="76"/>
                  </a:lnTo>
                  <a:lnTo>
                    <a:pt x="74" y="76"/>
                  </a:lnTo>
                  <a:close/>
                  <a:moveTo>
                    <a:pt x="75" y="91"/>
                  </a:moveTo>
                  <a:lnTo>
                    <a:pt x="75" y="91"/>
                  </a:lnTo>
                  <a:lnTo>
                    <a:pt x="75" y="88"/>
                  </a:lnTo>
                  <a:lnTo>
                    <a:pt x="75" y="88"/>
                  </a:lnTo>
                  <a:lnTo>
                    <a:pt x="75" y="81"/>
                  </a:lnTo>
                  <a:lnTo>
                    <a:pt x="72" y="81"/>
                  </a:lnTo>
                  <a:lnTo>
                    <a:pt x="72" y="81"/>
                  </a:lnTo>
                  <a:lnTo>
                    <a:pt x="72" y="88"/>
                  </a:lnTo>
                  <a:lnTo>
                    <a:pt x="72" y="88"/>
                  </a:lnTo>
                  <a:lnTo>
                    <a:pt x="72" y="91"/>
                  </a:lnTo>
                  <a:lnTo>
                    <a:pt x="75" y="91"/>
                  </a:lnTo>
                  <a:close/>
                  <a:moveTo>
                    <a:pt x="72" y="107"/>
                  </a:moveTo>
                  <a:lnTo>
                    <a:pt x="72" y="107"/>
                  </a:lnTo>
                  <a:lnTo>
                    <a:pt x="72" y="107"/>
                  </a:lnTo>
                  <a:lnTo>
                    <a:pt x="75" y="97"/>
                  </a:lnTo>
                  <a:lnTo>
                    <a:pt x="72" y="97"/>
                  </a:lnTo>
                  <a:lnTo>
                    <a:pt x="72" y="97"/>
                  </a:lnTo>
                  <a:lnTo>
                    <a:pt x="71" y="105"/>
                  </a:lnTo>
                  <a:lnTo>
                    <a:pt x="71" y="105"/>
                  </a:lnTo>
                  <a:lnTo>
                    <a:pt x="72" y="107"/>
                  </a:lnTo>
                  <a:close/>
                  <a:moveTo>
                    <a:pt x="58" y="114"/>
                  </a:moveTo>
                  <a:lnTo>
                    <a:pt x="58" y="114"/>
                  </a:lnTo>
                  <a:lnTo>
                    <a:pt x="68" y="111"/>
                  </a:lnTo>
                  <a:lnTo>
                    <a:pt x="67" y="108"/>
                  </a:lnTo>
                  <a:lnTo>
                    <a:pt x="67" y="108"/>
                  </a:lnTo>
                  <a:lnTo>
                    <a:pt x="58" y="111"/>
                  </a:lnTo>
                  <a:lnTo>
                    <a:pt x="58" y="114"/>
                  </a:lnTo>
                  <a:close/>
                  <a:moveTo>
                    <a:pt x="44" y="115"/>
                  </a:moveTo>
                  <a:lnTo>
                    <a:pt x="44" y="115"/>
                  </a:lnTo>
                  <a:lnTo>
                    <a:pt x="44" y="115"/>
                  </a:lnTo>
                  <a:lnTo>
                    <a:pt x="54" y="114"/>
                  </a:lnTo>
                  <a:lnTo>
                    <a:pt x="54" y="113"/>
                  </a:lnTo>
                  <a:lnTo>
                    <a:pt x="54" y="113"/>
                  </a:lnTo>
                  <a:lnTo>
                    <a:pt x="44" y="113"/>
                  </a:lnTo>
                  <a:lnTo>
                    <a:pt x="44" y="113"/>
                  </a:lnTo>
                  <a:lnTo>
                    <a:pt x="44" y="115"/>
                  </a:lnTo>
                  <a:close/>
                  <a:moveTo>
                    <a:pt x="36" y="126"/>
                  </a:moveTo>
                  <a:lnTo>
                    <a:pt x="36" y="126"/>
                  </a:lnTo>
                  <a:lnTo>
                    <a:pt x="38" y="121"/>
                  </a:lnTo>
                  <a:lnTo>
                    <a:pt x="41" y="117"/>
                  </a:lnTo>
                  <a:lnTo>
                    <a:pt x="38" y="115"/>
                  </a:lnTo>
                  <a:lnTo>
                    <a:pt x="38" y="115"/>
                  </a:lnTo>
                  <a:lnTo>
                    <a:pt x="36" y="120"/>
                  </a:lnTo>
                  <a:lnTo>
                    <a:pt x="33" y="126"/>
                  </a:lnTo>
                  <a:lnTo>
                    <a:pt x="36" y="126"/>
                  </a:lnTo>
                  <a:close/>
                  <a:moveTo>
                    <a:pt x="33" y="141"/>
                  </a:moveTo>
                  <a:lnTo>
                    <a:pt x="33" y="141"/>
                  </a:lnTo>
                  <a:lnTo>
                    <a:pt x="35" y="131"/>
                  </a:lnTo>
                  <a:lnTo>
                    <a:pt x="33" y="131"/>
                  </a:lnTo>
                  <a:lnTo>
                    <a:pt x="33" y="131"/>
                  </a:lnTo>
                  <a:lnTo>
                    <a:pt x="32" y="141"/>
                  </a:lnTo>
                  <a:lnTo>
                    <a:pt x="33" y="141"/>
                  </a:lnTo>
                  <a:close/>
                  <a:moveTo>
                    <a:pt x="28" y="156"/>
                  </a:moveTo>
                  <a:lnTo>
                    <a:pt x="28" y="156"/>
                  </a:lnTo>
                  <a:lnTo>
                    <a:pt x="30" y="153"/>
                  </a:lnTo>
                  <a:lnTo>
                    <a:pt x="32" y="149"/>
                  </a:lnTo>
                  <a:lnTo>
                    <a:pt x="32" y="149"/>
                  </a:lnTo>
                  <a:lnTo>
                    <a:pt x="33" y="146"/>
                  </a:lnTo>
                  <a:lnTo>
                    <a:pt x="30" y="146"/>
                  </a:lnTo>
                  <a:lnTo>
                    <a:pt x="30" y="146"/>
                  </a:lnTo>
                  <a:lnTo>
                    <a:pt x="30" y="149"/>
                  </a:lnTo>
                  <a:lnTo>
                    <a:pt x="30" y="149"/>
                  </a:lnTo>
                  <a:lnTo>
                    <a:pt x="29" y="152"/>
                  </a:lnTo>
                  <a:lnTo>
                    <a:pt x="26" y="153"/>
                  </a:lnTo>
                  <a:lnTo>
                    <a:pt x="28" y="156"/>
                  </a:lnTo>
                  <a:close/>
                  <a:moveTo>
                    <a:pt x="13" y="162"/>
                  </a:moveTo>
                  <a:lnTo>
                    <a:pt x="13" y="162"/>
                  </a:lnTo>
                  <a:lnTo>
                    <a:pt x="23" y="159"/>
                  </a:lnTo>
                  <a:lnTo>
                    <a:pt x="23" y="156"/>
                  </a:lnTo>
                  <a:lnTo>
                    <a:pt x="23" y="156"/>
                  </a:lnTo>
                  <a:lnTo>
                    <a:pt x="13" y="159"/>
                  </a:lnTo>
                  <a:lnTo>
                    <a:pt x="13" y="162"/>
                  </a:lnTo>
                  <a:close/>
                  <a:moveTo>
                    <a:pt x="2" y="169"/>
                  </a:moveTo>
                  <a:lnTo>
                    <a:pt x="2" y="169"/>
                  </a:lnTo>
                  <a:lnTo>
                    <a:pt x="6" y="165"/>
                  </a:lnTo>
                  <a:lnTo>
                    <a:pt x="9" y="163"/>
                  </a:lnTo>
                  <a:lnTo>
                    <a:pt x="7" y="160"/>
                  </a:lnTo>
                  <a:lnTo>
                    <a:pt x="7" y="160"/>
                  </a:lnTo>
                  <a:lnTo>
                    <a:pt x="3" y="163"/>
                  </a:lnTo>
                  <a:lnTo>
                    <a:pt x="0" y="168"/>
                  </a:lnTo>
                  <a:lnTo>
                    <a:pt x="2" y="1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21" name="Freeform 1681"/>
            <p:cNvSpPr>
              <a:spLocks noEditPoints="1"/>
            </p:cNvSpPr>
            <p:nvPr/>
          </p:nvSpPr>
          <p:spPr bwMode="auto">
            <a:xfrm>
              <a:off x="4933951" y="2954766"/>
              <a:ext cx="85725" cy="19050"/>
            </a:xfrm>
            <a:custGeom>
              <a:avLst/>
              <a:gdLst>
                <a:gd name="T0" fmla="*/ 10 w 54"/>
                <a:gd name="T1" fmla="*/ 0 h 12"/>
                <a:gd name="T2" fmla="*/ 10 w 54"/>
                <a:gd name="T3" fmla="*/ 0 h 12"/>
                <a:gd name="T4" fmla="*/ 10 w 54"/>
                <a:gd name="T5" fmla="*/ 0 h 12"/>
                <a:gd name="T6" fmla="*/ 0 w 54"/>
                <a:gd name="T7" fmla="*/ 2 h 12"/>
                <a:gd name="T8" fmla="*/ 0 w 54"/>
                <a:gd name="T9" fmla="*/ 5 h 12"/>
                <a:gd name="T10" fmla="*/ 0 w 54"/>
                <a:gd name="T11" fmla="*/ 5 h 12"/>
                <a:gd name="T12" fmla="*/ 10 w 54"/>
                <a:gd name="T13" fmla="*/ 3 h 12"/>
                <a:gd name="T14" fmla="*/ 10 w 54"/>
                <a:gd name="T15" fmla="*/ 3 h 12"/>
                <a:gd name="T16" fmla="*/ 10 w 54"/>
                <a:gd name="T17" fmla="*/ 0 h 12"/>
                <a:gd name="T18" fmla="*/ 25 w 54"/>
                <a:gd name="T19" fmla="*/ 5 h 12"/>
                <a:gd name="T20" fmla="*/ 25 w 54"/>
                <a:gd name="T21" fmla="*/ 5 h 12"/>
                <a:gd name="T22" fmla="*/ 20 w 54"/>
                <a:gd name="T23" fmla="*/ 2 h 12"/>
                <a:gd name="T24" fmla="*/ 16 w 54"/>
                <a:gd name="T25" fmla="*/ 0 h 12"/>
                <a:gd name="T26" fmla="*/ 15 w 54"/>
                <a:gd name="T27" fmla="*/ 3 h 12"/>
                <a:gd name="T28" fmla="*/ 15 w 54"/>
                <a:gd name="T29" fmla="*/ 3 h 12"/>
                <a:gd name="T30" fmla="*/ 19 w 54"/>
                <a:gd name="T31" fmla="*/ 5 h 12"/>
                <a:gd name="T32" fmla="*/ 23 w 54"/>
                <a:gd name="T33" fmla="*/ 8 h 12"/>
                <a:gd name="T34" fmla="*/ 25 w 54"/>
                <a:gd name="T35" fmla="*/ 5 h 12"/>
                <a:gd name="T36" fmla="*/ 39 w 54"/>
                <a:gd name="T37" fmla="*/ 9 h 12"/>
                <a:gd name="T38" fmla="*/ 39 w 54"/>
                <a:gd name="T39" fmla="*/ 9 h 12"/>
                <a:gd name="T40" fmla="*/ 29 w 54"/>
                <a:gd name="T41" fmla="*/ 8 h 12"/>
                <a:gd name="T42" fmla="*/ 29 w 54"/>
                <a:gd name="T43" fmla="*/ 8 h 12"/>
                <a:gd name="T44" fmla="*/ 29 w 54"/>
                <a:gd name="T45" fmla="*/ 9 h 12"/>
                <a:gd name="T46" fmla="*/ 29 w 54"/>
                <a:gd name="T47" fmla="*/ 9 h 12"/>
                <a:gd name="T48" fmla="*/ 29 w 54"/>
                <a:gd name="T49" fmla="*/ 9 h 12"/>
                <a:gd name="T50" fmla="*/ 39 w 54"/>
                <a:gd name="T51" fmla="*/ 12 h 12"/>
                <a:gd name="T52" fmla="*/ 39 w 54"/>
                <a:gd name="T53" fmla="*/ 9 h 12"/>
                <a:gd name="T54" fmla="*/ 54 w 54"/>
                <a:gd name="T55" fmla="*/ 10 h 12"/>
                <a:gd name="T56" fmla="*/ 54 w 54"/>
                <a:gd name="T57" fmla="*/ 10 h 12"/>
                <a:gd name="T58" fmla="*/ 52 w 54"/>
                <a:gd name="T59" fmla="*/ 10 h 12"/>
                <a:gd name="T60" fmla="*/ 52 w 54"/>
                <a:gd name="T61" fmla="*/ 10 h 12"/>
                <a:gd name="T62" fmla="*/ 44 w 54"/>
                <a:gd name="T63" fmla="*/ 9 h 12"/>
                <a:gd name="T64" fmla="*/ 44 w 54"/>
                <a:gd name="T65" fmla="*/ 12 h 12"/>
                <a:gd name="T66" fmla="*/ 44 w 54"/>
                <a:gd name="T67" fmla="*/ 12 h 12"/>
                <a:gd name="T68" fmla="*/ 52 w 54"/>
                <a:gd name="T69" fmla="*/ 12 h 12"/>
                <a:gd name="T70" fmla="*/ 52 w 54"/>
                <a:gd name="T71" fmla="*/ 12 h 12"/>
                <a:gd name="T72" fmla="*/ 54 w 54"/>
                <a:gd name="T73" fmla="*/ 12 h 12"/>
                <a:gd name="T74" fmla="*/ 54 w 54"/>
                <a:gd name="T75"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 h="12">
                  <a:moveTo>
                    <a:pt x="10" y="0"/>
                  </a:moveTo>
                  <a:lnTo>
                    <a:pt x="10" y="0"/>
                  </a:lnTo>
                  <a:lnTo>
                    <a:pt x="10" y="0"/>
                  </a:lnTo>
                  <a:lnTo>
                    <a:pt x="0" y="2"/>
                  </a:lnTo>
                  <a:lnTo>
                    <a:pt x="0" y="5"/>
                  </a:lnTo>
                  <a:lnTo>
                    <a:pt x="0" y="5"/>
                  </a:lnTo>
                  <a:lnTo>
                    <a:pt x="10" y="3"/>
                  </a:lnTo>
                  <a:lnTo>
                    <a:pt x="10" y="3"/>
                  </a:lnTo>
                  <a:lnTo>
                    <a:pt x="10" y="0"/>
                  </a:lnTo>
                  <a:close/>
                  <a:moveTo>
                    <a:pt x="25" y="5"/>
                  </a:moveTo>
                  <a:lnTo>
                    <a:pt x="25" y="5"/>
                  </a:lnTo>
                  <a:lnTo>
                    <a:pt x="20" y="2"/>
                  </a:lnTo>
                  <a:lnTo>
                    <a:pt x="16" y="0"/>
                  </a:lnTo>
                  <a:lnTo>
                    <a:pt x="15" y="3"/>
                  </a:lnTo>
                  <a:lnTo>
                    <a:pt x="15" y="3"/>
                  </a:lnTo>
                  <a:lnTo>
                    <a:pt x="19" y="5"/>
                  </a:lnTo>
                  <a:lnTo>
                    <a:pt x="23" y="8"/>
                  </a:lnTo>
                  <a:lnTo>
                    <a:pt x="25" y="5"/>
                  </a:lnTo>
                  <a:close/>
                  <a:moveTo>
                    <a:pt x="39" y="9"/>
                  </a:moveTo>
                  <a:lnTo>
                    <a:pt x="39" y="9"/>
                  </a:lnTo>
                  <a:lnTo>
                    <a:pt x="29" y="8"/>
                  </a:lnTo>
                  <a:lnTo>
                    <a:pt x="29" y="8"/>
                  </a:lnTo>
                  <a:lnTo>
                    <a:pt x="29" y="9"/>
                  </a:lnTo>
                  <a:lnTo>
                    <a:pt x="29" y="9"/>
                  </a:lnTo>
                  <a:lnTo>
                    <a:pt x="29" y="9"/>
                  </a:lnTo>
                  <a:lnTo>
                    <a:pt x="39" y="12"/>
                  </a:lnTo>
                  <a:lnTo>
                    <a:pt x="39" y="9"/>
                  </a:lnTo>
                  <a:close/>
                  <a:moveTo>
                    <a:pt x="54" y="10"/>
                  </a:moveTo>
                  <a:lnTo>
                    <a:pt x="54" y="10"/>
                  </a:lnTo>
                  <a:lnTo>
                    <a:pt x="52" y="10"/>
                  </a:lnTo>
                  <a:lnTo>
                    <a:pt x="52" y="10"/>
                  </a:lnTo>
                  <a:lnTo>
                    <a:pt x="44" y="9"/>
                  </a:lnTo>
                  <a:lnTo>
                    <a:pt x="44" y="12"/>
                  </a:lnTo>
                  <a:lnTo>
                    <a:pt x="44" y="12"/>
                  </a:lnTo>
                  <a:lnTo>
                    <a:pt x="52" y="12"/>
                  </a:lnTo>
                  <a:lnTo>
                    <a:pt x="52" y="12"/>
                  </a:lnTo>
                  <a:lnTo>
                    <a:pt x="54" y="12"/>
                  </a:lnTo>
                  <a:lnTo>
                    <a:pt x="54"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22" name="Freeform 1682"/>
            <p:cNvSpPr>
              <a:spLocks noEditPoints="1"/>
            </p:cNvSpPr>
            <p:nvPr/>
          </p:nvSpPr>
          <p:spPr bwMode="auto">
            <a:xfrm>
              <a:off x="4845051" y="3021441"/>
              <a:ext cx="134938" cy="41275"/>
            </a:xfrm>
            <a:custGeom>
              <a:avLst/>
              <a:gdLst>
                <a:gd name="T0" fmla="*/ 1 w 85"/>
                <a:gd name="T1" fmla="*/ 3 h 26"/>
                <a:gd name="T2" fmla="*/ 0 w 85"/>
                <a:gd name="T3" fmla="*/ 3 h 26"/>
                <a:gd name="T4" fmla="*/ 1 w 85"/>
                <a:gd name="T5" fmla="*/ 6 h 26"/>
                <a:gd name="T6" fmla="*/ 1 w 85"/>
                <a:gd name="T7" fmla="*/ 6 h 26"/>
                <a:gd name="T8" fmla="*/ 1 w 85"/>
                <a:gd name="T9" fmla="*/ 3 h 26"/>
                <a:gd name="T10" fmla="*/ 16 w 85"/>
                <a:gd name="T11" fmla="*/ 0 h 26"/>
                <a:gd name="T12" fmla="*/ 16 w 85"/>
                <a:gd name="T13" fmla="*/ 0 h 26"/>
                <a:gd name="T14" fmla="*/ 5 w 85"/>
                <a:gd name="T15" fmla="*/ 2 h 26"/>
                <a:gd name="T16" fmla="*/ 5 w 85"/>
                <a:gd name="T17" fmla="*/ 5 h 26"/>
                <a:gd name="T18" fmla="*/ 5 w 85"/>
                <a:gd name="T19" fmla="*/ 5 h 26"/>
                <a:gd name="T20" fmla="*/ 16 w 85"/>
                <a:gd name="T21" fmla="*/ 3 h 26"/>
                <a:gd name="T22" fmla="*/ 16 w 85"/>
                <a:gd name="T23" fmla="*/ 0 h 26"/>
                <a:gd name="T24" fmla="*/ 31 w 85"/>
                <a:gd name="T25" fmla="*/ 2 h 26"/>
                <a:gd name="T26" fmla="*/ 31 w 85"/>
                <a:gd name="T27" fmla="*/ 2 h 26"/>
                <a:gd name="T28" fmla="*/ 21 w 85"/>
                <a:gd name="T29" fmla="*/ 0 h 26"/>
                <a:gd name="T30" fmla="*/ 20 w 85"/>
                <a:gd name="T31" fmla="*/ 3 h 26"/>
                <a:gd name="T32" fmla="*/ 20 w 85"/>
                <a:gd name="T33" fmla="*/ 3 h 26"/>
                <a:gd name="T34" fmla="*/ 30 w 85"/>
                <a:gd name="T35" fmla="*/ 5 h 26"/>
                <a:gd name="T36" fmla="*/ 31 w 85"/>
                <a:gd name="T37" fmla="*/ 2 h 26"/>
                <a:gd name="T38" fmla="*/ 46 w 85"/>
                <a:gd name="T39" fmla="*/ 3 h 26"/>
                <a:gd name="T40" fmla="*/ 46 w 85"/>
                <a:gd name="T41" fmla="*/ 3 h 26"/>
                <a:gd name="T42" fmla="*/ 36 w 85"/>
                <a:gd name="T43" fmla="*/ 3 h 26"/>
                <a:gd name="T44" fmla="*/ 36 w 85"/>
                <a:gd name="T45" fmla="*/ 5 h 26"/>
                <a:gd name="T46" fmla="*/ 36 w 85"/>
                <a:gd name="T47" fmla="*/ 5 h 26"/>
                <a:gd name="T48" fmla="*/ 46 w 85"/>
                <a:gd name="T49" fmla="*/ 6 h 26"/>
                <a:gd name="T50" fmla="*/ 46 w 85"/>
                <a:gd name="T51" fmla="*/ 3 h 26"/>
                <a:gd name="T52" fmla="*/ 60 w 85"/>
                <a:gd name="T53" fmla="*/ 6 h 26"/>
                <a:gd name="T54" fmla="*/ 60 w 85"/>
                <a:gd name="T55" fmla="*/ 6 h 26"/>
                <a:gd name="T56" fmla="*/ 50 w 85"/>
                <a:gd name="T57" fmla="*/ 5 h 26"/>
                <a:gd name="T58" fmla="*/ 50 w 85"/>
                <a:gd name="T59" fmla="*/ 8 h 26"/>
                <a:gd name="T60" fmla="*/ 50 w 85"/>
                <a:gd name="T61" fmla="*/ 8 h 26"/>
                <a:gd name="T62" fmla="*/ 60 w 85"/>
                <a:gd name="T63" fmla="*/ 9 h 26"/>
                <a:gd name="T64" fmla="*/ 60 w 85"/>
                <a:gd name="T65" fmla="*/ 6 h 26"/>
                <a:gd name="T66" fmla="*/ 75 w 85"/>
                <a:gd name="T67" fmla="*/ 13 h 26"/>
                <a:gd name="T68" fmla="*/ 75 w 85"/>
                <a:gd name="T69" fmla="*/ 13 h 26"/>
                <a:gd name="T70" fmla="*/ 66 w 85"/>
                <a:gd name="T71" fmla="*/ 8 h 26"/>
                <a:gd name="T72" fmla="*/ 65 w 85"/>
                <a:gd name="T73" fmla="*/ 10 h 26"/>
                <a:gd name="T74" fmla="*/ 65 w 85"/>
                <a:gd name="T75" fmla="*/ 10 h 26"/>
                <a:gd name="T76" fmla="*/ 73 w 85"/>
                <a:gd name="T77" fmla="*/ 15 h 26"/>
                <a:gd name="T78" fmla="*/ 75 w 85"/>
                <a:gd name="T79" fmla="*/ 13 h 26"/>
                <a:gd name="T80" fmla="*/ 85 w 85"/>
                <a:gd name="T81" fmla="*/ 25 h 26"/>
                <a:gd name="T82" fmla="*/ 85 w 85"/>
                <a:gd name="T83" fmla="*/ 25 h 26"/>
                <a:gd name="T84" fmla="*/ 78 w 85"/>
                <a:gd name="T85" fmla="*/ 16 h 26"/>
                <a:gd name="T86" fmla="*/ 76 w 85"/>
                <a:gd name="T87" fmla="*/ 19 h 26"/>
                <a:gd name="T88" fmla="*/ 76 w 85"/>
                <a:gd name="T89" fmla="*/ 19 h 26"/>
                <a:gd name="T90" fmla="*/ 84 w 85"/>
                <a:gd name="T91" fmla="*/ 26 h 26"/>
                <a:gd name="T92" fmla="*/ 85 w 85"/>
                <a:gd name="T93"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5" h="26">
                  <a:moveTo>
                    <a:pt x="1" y="3"/>
                  </a:moveTo>
                  <a:lnTo>
                    <a:pt x="0" y="3"/>
                  </a:lnTo>
                  <a:lnTo>
                    <a:pt x="1" y="6"/>
                  </a:lnTo>
                  <a:lnTo>
                    <a:pt x="1" y="6"/>
                  </a:lnTo>
                  <a:lnTo>
                    <a:pt x="1" y="3"/>
                  </a:lnTo>
                  <a:close/>
                  <a:moveTo>
                    <a:pt x="16" y="0"/>
                  </a:moveTo>
                  <a:lnTo>
                    <a:pt x="16" y="0"/>
                  </a:lnTo>
                  <a:lnTo>
                    <a:pt x="5" y="2"/>
                  </a:lnTo>
                  <a:lnTo>
                    <a:pt x="5" y="5"/>
                  </a:lnTo>
                  <a:lnTo>
                    <a:pt x="5" y="5"/>
                  </a:lnTo>
                  <a:lnTo>
                    <a:pt x="16" y="3"/>
                  </a:lnTo>
                  <a:lnTo>
                    <a:pt x="16" y="0"/>
                  </a:lnTo>
                  <a:close/>
                  <a:moveTo>
                    <a:pt x="31" y="2"/>
                  </a:moveTo>
                  <a:lnTo>
                    <a:pt x="31" y="2"/>
                  </a:lnTo>
                  <a:lnTo>
                    <a:pt x="21" y="0"/>
                  </a:lnTo>
                  <a:lnTo>
                    <a:pt x="20" y="3"/>
                  </a:lnTo>
                  <a:lnTo>
                    <a:pt x="20" y="3"/>
                  </a:lnTo>
                  <a:lnTo>
                    <a:pt x="30" y="5"/>
                  </a:lnTo>
                  <a:lnTo>
                    <a:pt x="31" y="2"/>
                  </a:lnTo>
                  <a:close/>
                  <a:moveTo>
                    <a:pt x="46" y="3"/>
                  </a:moveTo>
                  <a:lnTo>
                    <a:pt x="46" y="3"/>
                  </a:lnTo>
                  <a:lnTo>
                    <a:pt x="36" y="3"/>
                  </a:lnTo>
                  <a:lnTo>
                    <a:pt x="36" y="5"/>
                  </a:lnTo>
                  <a:lnTo>
                    <a:pt x="36" y="5"/>
                  </a:lnTo>
                  <a:lnTo>
                    <a:pt x="46" y="6"/>
                  </a:lnTo>
                  <a:lnTo>
                    <a:pt x="46" y="3"/>
                  </a:lnTo>
                  <a:close/>
                  <a:moveTo>
                    <a:pt x="60" y="6"/>
                  </a:moveTo>
                  <a:lnTo>
                    <a:pt x="60" y="6"/>
                  </a:lnTo>
                  <a:lnTo>
                    <a:pt x="50" y="5"/>
                  </a:lnTo>
                  <a:lnTo>
                    <a:pt x="50" y="8"/>
                  </a:lnTo>
                  <a:lnTo>
                    <a:pt x="50" y="8"/>
                  </a:lnTo>
                  <a:lnTo>
                    <a:pt x="60" y="9"/>
                  </a:lnTo>
                  <a:lnTo>
                    <a:pt x="60" y="6"/>
                  </a:lnTo>
                  <a:close/>
                  <a:moveTo>
                    <a:pt x="75" y="13"/>
                  </a:moveTo>
                  <a:lnTo>
                    <a:pt x="75" y="13"/>
                  </a:lnTo>
                  <a:lnTo>
                    <a:pt x="66" y="8"/>
                  </a:lnTo>
                  <a:lnTo>
                    <a:pt x="65" y="10"/>
                  </a:lnTo>
                  <a:lnTo>
                    <a:pt x="65" y="10"/>
                  </a:lnTo>
                  <a:lnTo>
                    <a:pt x="73" y="15"/>
                  </a:lnTo>
                  <a:lnTo>
                    <a:pt x="75" y="13"/>
                  </a:lnTo>
                  <a:close/>
                  <a:moveTo>
                    <a:pt x="85" y="25"/>
                  </a:moveTo>
                  <a:lnTo>
                    <a:pt x="85" y="25"/>
                  </a:lnTo>
                  <a:lnTo>
                    <a:pt x="78" y="16"/>
                  </a:lnTo>
                  <a:lnTo>
                    <a:pt x="76" y="19"/>
                  </a:lnTo>
                  <a:lnTo>
                    <a:pt x="76" y="19"/>
                  </a:lnTo>
                  <a:lnTo>
                    <a:pt x="84" y="26"/>
                  </a:lnTo>
                  <a:lnTo>
                    <a:pt x="85"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23" name="Freeform 1683"/>
            <p:cNvSpPr>
              <a:spLocks noEditPoints="1"/>
            </p:cNvSpPr>
            <p:nvPr/>
          </p:nvSpPr>
          <p:spPr bwMode="auto">
            <a:xfrm>
              <a:off x="4916488" y="3189716"/>
              <a:ext cx="423863" cy="211138"/>
            </a:xfrm>
            <a:custGeom>
              <a:avLst/>
              <a:gdLst>
                <a:gd name="T0" fmla="*/ 0 w 267"/>
                <a:gd name="T1" fmla="*/ 31 h 133"/>
                <a:gd name="T2" fmla="*/ 26 w 267"/>
                <a:gd name="T3" fmla="*/ 28 h 133"/>
                <a:gd name="T4" fmla="*/ 15 w 267"/>
                <a:gd name="T5" fmla="*/ 31 h 133"/>
                <a:gd name="T6" fmla="*/ 40 w 267"/>
                <a:gd name="T7" fmla="*/ 29 h 133"/>
                <a:gd name="T8" fmla="*/ 40 w 267"/>
                <a:gd name="T9" fmla="*/ 31 h 133"/>
                <a:gd name="T10" fmla="*/ 46 w 267"/>
                <a:gd name="T11" fmla="*/ 29 h 133"/>
                <a:gd name="T12" fmla="*/ 56 w 267"/>
                <a:gd name="T13" fmla="*/ 29 h 133"/>
                <a:gd name="T14" fmla="*/ 60 w 267"/>
                <a:gd name="T15" fmla="*/ 29 h 133"/>
                <a:gd name="T16" fmla="*/ 70 w 267"/>
                <a:gd name="T17" fmla="*/ 31 h 133"/>
                <a:gd name="T18" fmla="*/ 76 w 267"/>
                <a:gd name="T19" fmla="*/ 29 h 133"/>
                <a:gd name="T20" fmla="*/ 86 w 267"/>
                <a:gd name="T21" fmla="*/ 28 h 133"/>
                <a:gd name="T22" fmla="*/ 92 w 267"/>
                <a:gd name="T23" fmla="*/ 28 h 133"/>
                <a:gd name="T24" fmla="*/ 94 w 267"/>
                <a:gd name="T25" fmla="*/ 31 h 133"/>
                <a:gd name="T26" fmla="*/ 112 w 267"/>
                <a:gd name="T27" fmla="*/ 17 h 133"/>
                <a:gd name="T28" fmla="*/ 107 w 267"/>
                <a:gd name="T29" fmla="*/ 26 h 133"/>
                <a:gd name="T30" fmla="*/ 126 w 267"/>
                <a:gd name="T31" fmla="*/ 9 h 133"/>
                <a:gd name="T32" fmla="*/ 117 w 267"/>
                <a:gd name="T33" fmla="*/ 15 h 133"/>
                <a:gd name="T34" fmla="*/ 121 w 267"/>
                <a:gd name="T35" fmla="*/ 15 h 133"/>
                <a:gd name="T36" fmla="*/ 141 w 267"/>
                <a:gd name="T37" fmla="*/ 7 h 133"/>
                <a:gd name="T38" fmla="*/ 131 w 267"/>
                <a:gd name="T39" fmla="*/ 10 h 133"/>
                <a:gd name="T40" fmla="*/ 141 w 267"/>
                <a:gd name="T41" fmla="*/ 7 h 133"/>
                <a:gd name="T42" fmla="*/ 146 w 267"/>
                <a:gd name="T43" fmla="*/ 6 h 133"/>
                <a:gd name="T44" fmla="*/ 156 w 267"/>
                <a:gd name="T45" fmla="*/ 4 h 133"/>
                <a:gd name="T46" fmla="*/ 166 w 267"/>
                <a:gd name="T47" fmla="*/ 7 h 133"/>
                <a:gd name="T48" fmla="*/ 160 w 267"/>
                <a:gd name="T49" fmla="*/ 0 h 133"/>
                <a:gd name="T50" fmla="*/ 160 w 267"/>
                <a:gd name="T51" fmla="*/ 3 h 133"/>
                <a:gd name="T52" fmla="*/ 165 w 267"/>
                <a:gd name="T53" fmla="*/ 9 h 133"/>
                <a:gd name="T54" fmla="*/ 168 w 267"/>
                <a:gd name="T55" fmla="*/ 13 h 133"/>
                <a:gd name="T56" fmla="*/ 172 w 267"/>
                <a:gd name="T57" fmla="*/ 23 h 133"/>
                <a:gd name="T58" fmla="*/ 178 w 267"/>
                <a:gd name="T59" fmla="*/ 32 h 133"/>
                <a:gd name="T60" fmla="*/ 176 w 267"/>
                <a:gd name="T61" fmla="*/ 33 h 133"/>
                <a:gd name="T62" fmla="*/ 191 w 267"/>
                <a:gd name="T63" fmla="*/ 45 h 133"/>
                <a:gd name="T64" fmla="*/ 182 w 267"/>
                <a:gd name="T65" fmla="*/ 39 h 133"/>
                <a:gd name="T66" fmla="*/ 201 w 267"/>
                <a:gd name="T67" fmla="*/ 57 h 133"/>
                <a:gd name="T68" fmla="*/ 192 w 267"/>
                <a:gd name="T69" fmla="*/ 51 h 133"/>
                <a:gd name="T70" fmla="*/ 199 w 267"/>
                <a:gd name="T71" fmla="*/ 58 h 133"/>
                <a:gd name="T72" fmla="*/ 205 w 267"/>
                <a:gd name="T73" fmla="*/ 58 h 133"/>
                <a:gd name="T74" fmla="*/ 215 w 267"/>
                <a:gd name="T75" fmla="*/ 59 h 133"/>
                <a:gd name="T76" fmla="*/ 220 w 267"/>
                <a:gd name="T77" fmla="*/ 64 h 133"/>
                <a:gd name="T78" fmla="*/ 244 w 267"/>
                <a:gd name="T79" fmla="*/ 68 h 133"/>
                <a:gd name="T80" fmla="*/ 234 w 267"/>
                <a:gd name="T81" fmla="*/ 68 h 133"/>
                <a:gd name="T82" fmla="*/ 244 w 267"/>
                <a:gd name="T83" fmla="*/ 68 h 133"/>
                <a:gd name="T84" fmla="*/ 250 w 267"/>
                <a:gd name="T85" fmla="*/ 68 h 133"/>
                <a:gd name="T86" fmla="*/ 250 w 267"/>
                <a:gd name="T87" fmla="*/ 71 h 133"/>
                <a:gd name="T88" fmla="*/ 267 w 267"/>
                <a:gd name="T89" fmla="*/ 86 h 133"/>
                <a:gd name="T90" fmla="*/ 260 w 267"/>
                <a:gd name="T91" fmla="*/ 77 h 133"/>
                <a:gd name="T92" fmla="*/ 267 w 267"/>
                <a:gd name="T93" fmla="*/ 86 h 133"/>
                <a:gd name="T94" fmla="*/ 267 w 267"/>
                <a:gd name="T95" fmla="*/ 91 h 133"/>
                <a:gd name="T96" fmla="*/ 265 w 267"/>
                <a:gd name="T97" fmla="*/ 100 h 133"/>
                <a:gd name="T98" fmla="*/ 266 w 267"/>
                <a:gd name="T99" fmla="*/ 112 h 133"/>
                <a:gd name="T100" fmla="*/ 265 w 267"/>
                <a:gd name="T101" fmla="*/ 106 h 133"/>
                <a:gd name="T102" fmla="*/ 265 w 267"/>
                <a:gd name="T103" fmla="*/ 116 h 133"/>
                <a:gd name="T104" fmla="*/ 262 w 267"/>
                <a:gd name="T105" fmla="*/ 120 h 133"/>
                <a:gd name="T106" fmla="*/ 252 w 267"/>
                <a:gd name="T107" fmla="*/ 125 h 133"/>
                <a:gd name="T108" fmla="*/ 243 w 267"/>
                <a:gd name="T109" fmla="*/ 132 h 133"/>
                <a:gd name="T110" fmla="*/ 246 w 267"/>
                <a:gd name="T111" fmla="*/ 129 h 133"/>
                <a:gd name="T112" fmla="*/ 246 w 267"/>
                <a:gd name="T113" fmla="*/ 126 h 133"/>
                <a:gd name="T114" fmla="*/ 241 w 267"/>
                <a:gd name="T115" fmla="*/ 129 h 133"/>
                <a:gd name="T116" fmla="*/ 243 w 267"/>
                <a:gd name="T117"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7" h="133">
                  <a:moveTo>
                    <a:pt x="10" y="28"/>
                  </a:moveTo>
                  <a:lnTo>
                    <a:pt x="10" y="28"/>
                  </a:lnTo>
                  <a:lnTo>
                    <a:pt x="0" y="28"/>
                  </a:lnTo>
                  <a:lnTo>
                    <a:pt x="0" y="31"/>
                  </a:lnTo>
                  <a:lnTo>
                    <a:pt x="0" y="31"/>
                  </a:lnTo>
                  <a:lnTo>
                    <a:pt x="10" y="31"/>
                  </a:lnTo>
                  <a:lnTo>
                    <a:pt x="10" y="28"/>
                  </a:lnTo>
                  <a:close/>
                  <a:moveTo>
                    <a:pt x="26" y="28"/>
                  </a:moveTo>
                  <a:lnTo>
                    <a:pt x="26" y="28"/>
                  </a:lnTo>
                  <a:lnTo>
                    <a:pt x="15" y="28"/>
                  </a:lnTo>
                  <a:lnTo>
                    <a:pt x="15" y="31"/>
                  </a:lnTo>
                  <a:lnTo>
                    <a:pt x="15" y="31"/>
                  </a:lnTo>
                  <a:lnTo>
                    <a:pt x="26" y="31"/>
                  </a:lnTo>
                  <a:lnTo>
                    <a:pt x="26" y="28"/>
                  </a:lnTo>
                  <a:close/>
                  <a:moveTo>
                    <a:pt x="40" y="29"/>
                  </a:moveTo>
                  <a:lnTo>
                    <a:pt x="40" y="29"/>
                  </a:lnTo>
                  <a:lnTo>
                    <a:pt x="30" y="28"/>
                  </a:lnTo>
                  <a:lnTo>
                    <a:pt x="30" y="31"/>
                  </a:lnTo>
                  <a:lnTo>
                    <a:pt x="30" y="31"/>
                  </a:lnTo>
                  <a:lnTo>
                    <a:pt x="40" y="31"/>
                  </a:lnTo>
                  <a:lnTo>
                    <a:pt x="40" y="29"/>
                  </a:lnTo>
                  <a:close/>
                  <a:moveTo>
                    <a:pt x="56" y="29"/>
                  </a:moveTo>
                  <a:lnTo>
                    <a:pt x="56" y="29"/>
                  </a:lnTo>
                  <a:lnTo>
                    <a:pt x="46" y="29"/>
                  </a:lnTo>
                  <a:lnTo>
                    <a:pt x="46" y="31"/>
                  </a:lnTo>
                  <a:lnTo>
                    <a:pt x="46" y="31"/>
                  </a:lnTo>
                  <a:lnTo>
                    <a:pt x="56" y="31"/>
                  </a:lnTo>
                  <a:lnTo>
                    <a:pt x="56" y="29"/>
                  </a:lnTo>
                  <a:close/>
                  <a:moveTo>
                    <a:pt x="70" y="29"/>
                  </a:moveTo>
                  <a:lnTo>
                    <a:pt x="70" y="29"/>
                  </a:lnTo>
                  <a:lnTo>
                    <a:pt x="62" y="29"/>
                  </a:lnTo>
                  <a:lnTo>
                    <a:pt x="60" y="29"/>
                  </a:lnTo>
                  <a:lnTo>
                    <a:pt x="60" y="31"/>
                  </a:lnTo>
                  <a:lnTo>
                    <a:pt x="62" y="31"/>
                  </a:lnTo>
                  <a:lnTo>
                    <a:pt x="62" y="31"/>
                  </a:lnTo>
                  <a:lnTo>
                    <a:pt x="70" y="31"/>
                  </a:lnTo>
                  <a:lnTo>
                    <a:pt x="70" y="29"/>
                  </a:lnTo>
                  <a:close/>
                  <a:moveTo>
                    <a:pt x="86" y="28"/>
                  </a:moveTo>
                  <a:lnTo>
                    <a:pt x="86" y="28"/>
                  </a:lnTo>
                  <a:lnTo>
                    <a:pt x="76" y="29"/>
                  </a:lnTo>
                  <a:lnTo>
                    <a:pt x="76" y="31"/>
                  </a:lnTo>
                  <a:lnTo>
                    <a:pt x="76" y="31"/>
                  </a:lnTo>
                  <a:lnTo>
                    <a:pt x="86" y="31"/>
                  </a:lnTo>
                  <a:lnTo>
                    <a:pt x="86" y="28"/>
                  </a:lnTo>
                  <a:close/>
                  <a:moveTo>
                    <a:pt x="101" y="26"/>
                  </a:moveTo>
                  <a:lnTo>
                    <a:pt x="101" y="26"/>
                  </a:lnTo>
                  <a:lnTo>
                    <a:pt x="92" y="28"/>
                  </a:lnTo>
                  <a:lnTo>
                    <a:pt x="92" y="28"/>
                  </a:lnTo>
                  <a:lnTo>
                    <a:pt x="91" y="28"/>
                  </a:lnTo>
                  <a:lnTo>
                    <a:pt x="91" y="31"/>
                  </a:lnTo>
                  <a:lnTo>
                    <a:pt x="91" y="31"/>
                  </a:lnTo>
                  <a:lnTo>
                    <a:pt x="94" y="31"/>
                  </a:lnTo>
                  <a:lnTo>
                    <a:pt x="94" y="31"/>
                  </a:lnTo>
                  <a:lnTo>
                    <a:pt x="101" y="28"/>
                  </a:lnTo>
                  <a:lnTo>
                    <a:pt x="101" y="26"/>
                  </a:lnTo>
                  <a:close/>
                  <a:moveTo>
                    <a:pt x="112" y="17"/>
                  </a:moveTo>
                  <a:lnTo>
                    <a:pt x="112" y="17"/>
                  </a:lnTo>
                  <a:lnTo>
                    <a:pt x="105" y="23"/>
                  </a:lnTo>
                  <a:lnTo>
                    <a:pt x="107" y="26"/>
                  </a:lnTo>
                  <a:lnTo>
                    <a:pt x="107" y="26"/>
                  </a:lnTo>
                  <a:lnTo>
                    <a:pt x="115" y="20"/>
                  </a:lnTo>
                  <a:lnTo>
                    <a:pt x="112" y="17"/>
                  </a:lnTo>
                  <a:close/>
                  <a:moveTo>
                    <a:pt x="126" y="9"/>
                  </a:moveTo>
                  <a:lnTo>
                    <a:pt x="126" y="9"/>
                  </a:lnTo>
                  <a:lnTo>
                    <a:pt x="121" y="10"/>
                  </a:lnTo>
                  <a:lnTo>
                    <a:pt x="118" y="13"/>
                  </a:lnTo>
                  <a:lnTo>
                    <a:pt x="118" y="13"/>
                  </a:lnTo>
                  <a:lnTo>
                    <a:pt x="117" y="15"/>
                  </a:lnTo>
                  <a:lnTo>
                    <a:pt x="118" y="16"/>
                  </a:lnTo>
                  <a:lnTo>
                    <a:pt x="118" y="16"/>
                  </a:lnTo>
                  <a:lnTo>
                    <a:pt x="121" y="15"/>
                  </a:lnTo>
                  <a:lnTo>
                    <a:pt x="121" y="15"/>
                  </a:lnTo>
                  <a:lnTo>
                    <a:pt x="123" y="12"/>
                  </a:lnTo>
                  <a:lnTo>
                    <a:pt x="127" y="12"/>
                  </a:lnTo>
                  <a:lnTo>
                    <a:pt x="126" y="9"/>
                  </a:lnTo>
                  <a:close/>
                  <a:moveTo>
                    <a:pt x="141" y="7"/>
                  </a:moveTo>
                  <a:lnTo>
                    <a:pt x="140" y="7"/>
                  </a:lnTo>
                  <a:lnTo>
                    <a:pt x="140" y="7"/>
                  </a:lnTo>
                  <a:lnTo>
                    <a:pt x="131" y="7"/>
                  </a:lnTo>
                  <a:lnTo>
                    <a:pt x="131" y="10"/>
                  </a:lnTo>
                  <a:lnTo>
                    <a:pt x="131" y="10"/>
                  </a:lnTo>
                  <a:lnTo>
                    <a:pt x="140" y="9"/>
                  </a:lnTo>
                  <a:lnTo>
                    <a:pt x="141" y="9"/>
                  </a:lnTo>
                  <a:lnTo>
                    <a:pt x="141" y="7"/>
                  </a:lnTo>
                  <a:close/>
                  <a:moveTo>
                    <a:pt x="154" y="3"/>
                  </a:moveTo>
                  <a:lnTo>
                    <a:pt x="154" y="3"/>
                  </a:lnTo>
                  <a:lnTo>
                    <a:pt x="150" y="4"/>
                  </a:lnTo>
                  <a:lnTo>
                    <a:pt x="146" y="6"/>
                  </a:lnTo>
                  <a:lnTo>
                    <a:pt x="146" y="9"/>
                  </a:lnTo>
                  <a:lnTo>
                    <a:pt x="146" y="9"/>
                  </a:lnTo>
                  <a:lnTo>
                    <a:pt x="152" y="7"/>
                  </a:lnTo>
                  <a:lnTo>
                    <a:pt x="156" y="4"/>
                  </a:lnTo>
                  <a:lnTo>
                    <a:pt x="154" y="3"/>
                  </a:lnTo>
                  <a:close/>
                  <a:moveTo>
                    <a:pt x="166" y="9"/>
                  </a:moveTo>
                  <a:lnTo>
                    <a:pt x="166" y="7"/>
                  </a:lnTo>
                  <a:lnTo>
                    <a:pt x="166" y="7"/>
                  </a:lnTo>
                  <a:lnTo>
                    <a:pt x="163" y="2"/>
                  </a:lnTo>
                  <a:lnTo>
                    <a:pt x="163" y="2"/>
                  </a:lnTo>
                  <a:lnTo>
                    <a:pt x="162" y="0"/>
                  </a:lnTo>
                  <a:lnTo>
                    <a:pt x="160" y="0"/>
                  </a:lnTo>
                  <a:lnTo>
                    <a:pt x="160" y="0"/>
                  </a:lnTo>
                  <a:lnTo>
                    <a:pt x="160" y="3"/>
                  </a:lnTo>
                  <a:lnTo>
                    <a:pt x="160" y="3"/>
                  </a:lnTo>
                  <a:lnTo>
                    <a:pt x="160" y="3"/>
                  </a:lnTo>
                  <a:lnTo>
                    <a:pt x="162" y="3"/>
                  </a:lnTo>
                  <a:lnTo>
                    <a:pt x="162" y="3"/>
                  </a:lnTo>
                  <a:lnTo>
                    <a:pt x="163" y="9"/>
                  </a:lnTo>
                  <a:lnTo>
                    <a:pt x="165" y="9"/>
                  </a:lnTo>
                  <a:lnTo>
                    <a:pt x="166" y="9"/>
                  </a:lnTo>
                  <a:close/>
                  <a:moveTo>
                    <a:pt x="172" y="23"/>
                  </a:moveTo>
                  <a:lnTo>
                    <a:pt x="172" y="23"/>
                  </a:lnTo>
                  <a:lnTo>
                    <a:pt x="168" y="13"/>
                  </a:lnTo>
                  <a:lnTo>
                    <a:pt x="166" y="15"/>
                  </a:lnTo>
                  <a:lnTo>
                    <a:pt x="166" y="15"/>
                  </a:lnTo>
                  <a:lnTo>
                    <a:pt x="169" y="23"/>
                  </a:lnTo>
                  <a:lnTo>
                    <a:pt x="172" y="23"/>
                  </a:lnTo>
                  <a:close/>
                  <a:moveTo>
                    <a:pt x="181" y="35"/>
                  </a:moveTo>
                  <a:lnTo>
                    <a:pt x="181" y="35"/>
                  </a:lnTo>
                  <a:lnTo>
                    <a:pt x="178" y="32"/>
                  </a:lnTo>
                  <a:lnTo>
                    <a:pt x="178" y="32"/>
                  </a:lnTo>
                  <a:lnTo>
                    <a:pt x="173" y="28"/>
                  </a:lnTo>
                  <a:lnTo>
                    <a:pt x="172" y="29"/>
                  </a:lnTo>
                  <a:lnTo>
                    <a:pt x="172" y="29"/>
                  </a:lnTo>
                  <a:lnTo>
                    <a:pt x="176" y="33"/>
                  </a:lnTo>
                  <a:lnTo>
                    <a:pt x="176" y="33"/>
                  </a:lnTo>
                  <a:lnTo>
                    <a:pt x="179" y="36"/>
                  </a:lnTo>
                  <a:lnTo>
                    <a:pt x="181" y="35"/>
                  </a:lnTo>
                  <a:close/>
                  <a:moveTo>
                    <a:pt x="191" y="45"/>
                  </a:moveTo>
                  <a:lnTo>
                    <a:pt x="191" y="45"/>
                  </a:lnTo>
                  <a:lnTo>
                    <a:pt x="183" y="38"/>
                  </a:lnTo>
                  <a:lnTo>
                    <a:pt x="182" y="39"/>
                  </a:lnTo>
                  <a:lnTo>
                    <a:pt x="182" y="39"/>
                  </a:lnTo>
                  <a:lnTo>
                    <a:pt x="189" y="48"/>
                  </a:lnTo>
                  <a:lnTo>
                    <a:pt x="191" y="45"/>
                  </a:lnTo>
                  <a:close/>
                  <a:moveTo>
                    <a:pt x="201" y="57"/>
                  </a:moveTo>
                  <a:lnTo>
                    <a:pt x="201" y="57"/>
                  </a:lnTo>
                  <a:lnTo>
                    <a:pt x="198" y="54"/>
                  </a:lnTo>
                  <a:lnTo>
                    <a:pt x="198" y="54"/>
                  </a:lnTo>
                  <a:lnTo>
                    <a:pt x="194" y="49"/>
                  </a:lnTo>
                  <a:lnTo>
                    <a:pt x="192" y="51"/>
                  </a:lnTo>
                  <a:lnTo>
                    <a:pt x="192" y="51"/>
                  </a:lnTo>
                  <a:lnTo>
                    <a:pt x="196" y="57"/>
                  </a:lnTo>
                  <a:lnTo>
                    <a:pt x="196" y="57"/>
                  </a:lnTo>
                  <a:lnTo>
                    <a:pt x="199" y="58"/>
                  </a:lnTo>
                  <a:lnTo>
                    <a:pt x="201" y="57"/>
                  </a:lnTo>
                  <a:close/>
                  <a:moveTo>
                    <a:pt x="215" y="59"/>
                  </a:moveTo>
                  <a:lnTo>
                    <a:pt x="215" y="59"/>
                  </a:lnTo>
                  <a:lnTo>
                    <a:pt x="205" y="58"/>
                  </a:lnTo>
                  <a:lnTo>
                    <a:pt x="205" y="59"/>
                  </a:lnTo>
                  <a:lnTo>
                    <a:pt x="205" y="59"/>
                  </a:lnTo>
                  <a:lnTo>
                    <a:pt x="215" y="62"/>
                  </a:lnTo>
                  <a:lnTo>
                    <a:pt x="215" y="59"/>
                  </a:lnTo>
                  <a:close/>
                  <a:moveTo>
                    <a:pt x="230" y="64"/>
                  </a:moveTo>
                  <a:lnTo>
                    <a:pt x="230" y="64"/>
                  </a:lnTo>
                  <a:lnTo>
                    <a:pt x="220" y="61"/>
                  </a:lnTo>
                  <a:lnTo>
                    <a:pt x="220" y="64"/>
                  </a:lnTo>
                  <a:lnTo>
                    <a:pt x="220" y="64"/>
                  </a:lnTo>
                  <a:lnTo>
                    <a:pt x="230" y="67"/>
                  </a:lnTo>
                  <a:lnTo>
                    <a:pt x="230" y="64"/>
                  </a:lnTo>
                  <a:close/>
                  <a:moveTo>
                    <a:pt x="244" y="68"/>
                  </a:moveTo>
                  <a:lnTo>
                    <a:pt x="244" y="68"/>
                  </a:lnTo>
                  <a:lnTo>
                    <a:pt x="240" y="67"/>
                  </a:lnTo>
                  <a:lnTo>
                    <a:pt x="234" y="67"/>
                  </a:lnTo>
                  <a:lnTo>
                    <a:pt x="234" y="68"/>
                  </a:lnTo>
                  <a:lnTo>
                    <a:pt x="234" y="68"/>
                  </a:lnTo>
                  <a:lnTo>
                    <a:pt x="238" y="70"/>
                  </a:lnTo>
                  <a:lnTo>
                    <a:pt x="244" y="70"/>
                  </a:lnTo>
                  <a:lnTo>
                    <a:pt x="244" y="68"/>
                  </a:lnTo>
                  <a:close/>
                  <a:moveTo>
                    <a:pt x="259" y="73"/>
                  </a:moveTo>
                  <a:lnTo>
                    <a:pt x="259" y="73"/>
                  </a:lnTo>
                  <a:lnTo>
                    <a:pt x="256" y="70"/>
                  </a:lnTo>
                  <a:lnTo>
                    <a:pt x="250" y="68"/>
                  </a:lnTo>
                  <a:lnTo>
                    <a:pt x="250" y="68"/>
                  </a:lnTo>
                  <a:lnTo>
                    <a:pt x="250" y="71"/>
                  </a:lnTo>
                  <a:lnTo>
                    <a:pt x="250" y="71"/>
                  </a:lnTo>
                  <a:lnTo>
                    <a:pt x="250" y="71"/>
                  </a:lnTo>
                  <a:lnTo>
                    <a:pt x="254" y="71"/>
                  </a:lnTo>
                  <a:lnTo>
                    <a:pt x="257" y="74"/>
                  </a:lnTo>
                  <a:lnTo>
                    <a:pt x="259" y="73"/>
                  </a:lnTo>
                  <a:close/>
                  <a:moveTo>
                    <a:pt x="267" y="86"/>
                  </a:moveTo>
                  <a:lnTo>
                    <a:pt x="267" y="84"/>
                  </a:lnTo>
                  <a:lnTo>
                    <a:pt x="267" y="84"/>
                  </a:lnTo>
                  <a:lnTo>
                    <a:pt x="263" y="75"/>
                  </a:lnTo>
                  <a:lnTo>
                    <a:pt x="260" y="77"/>
                  </a:lnTo>
                  <a:lnTo>
                    <a:pt x="260" y="77"/>
                  </a:lnTo>
                  <a:lnTo>
                    <a:pt x="265" y="86"/>
                  </a:lnTo>
                  <a:lnTo>
                    <a:pt x="265" y="86"/>
                  </a:lnTo>
                  <a:lnTo>
                    <a:pt x="267" y="86"/>
                  </a:lnTo>
                  <a:close/>
                  <a:moveTo>
                    <a:pt x="267" y="101"/>
                  </a:moveTo>
                  <a:lnTo>
                    <a:pt x="267" y="101"/>
                  </a:lnTo>
                  <a:lnTo>
                    <a:pt x="267" y="91"/>
                  </a:lnTo>
                  <a:lnTo>
                    <a:pt x="267" y="91"/>
                  </a:lnTo>
                  <a:lnTo>
                    <a:pt x="266" y="91"/>
                  </a:lnTo>
                  <a:lnTo>
                    <a:pt x="266" y="91"/>
                  </a:lnTo>
                  <a:lnTo>
                    <a:pt x="266" y="91"/>
                  </a:lnTo>
                  <a:lnTo>
                    <a:pt x="265" y="100"/>
                  </a:lnTo>
                  <a:lnTo>
                    <a:pt x="267" y="101"/>
                  </a:lnTo>
                  <a:close/>
                  <a:moveTo>
                    <a:pt x="265" y="116"/>
                  </a:moveTo>
                  <a:lnTo>
                    <a:pt x="265" y="116"/>
                  </a:lnTo>
                  <a:lnTo>
                    <a:pt x="266" y="112"/>
                  </a:lnTo>
                  <a:lnTo>
                    <a:pt x="266" y="112"/>
                  </a:lnTo>
                  <a:lnTo>
                    <a:pt x="266" y="106"/>
                  </a:lnTo>
                  <a:lnTo>
                    <a:pt x="265" y="106"/>
                  </a:lnTo>
                  <a:lnTo>
                    <a:pt x="265" y="106"/>
                  </a:lnTo>
                  <a:lnTo>
                    <a:pt x="263" y="112"/>
                  </a:lnTo>
                  <a:lnTo>
                    <a:pt x="263" y="112"/>
                  </a:lnTo>
                  <a:lnTo>
                    <a:pt x="263" y="116"/>
                  </a:lnTo>
                  <a:lnTo>
                    <a:pt x="265" y="116"/>
                  </a:lnTo>
                  <a:close/>
                  <a:moveTo>
                    <a:pt x="253" y="128"/>
                  </a:moveTo>
                  <a:lnTo>
                    <a:pt x="253" y="128"/>
                  </a:lnTo>
                  <a:lnTo>
                    <a:pt x="257" y="125"/>
                  </a:lnTo>
                  <a:lnTo>
                    <a:pt x="262" y="120"/>
                  </a:lnTo>
                  <a:lnTo>
                    <a:pt x="260" y="119"/>
                  </a:lnTo>
                  <a:lnTo>
                    <a:pt x="260" y="119"/>
                  </a:lnTo>
                  <a:lnTo>
                    <a:pt x="256" y="122"/>
                  </a:lnTo>
                  <a:lnTo>
                    <a:pt x="252" y="125"/>
                  </a:lnTo>
                  <a:lnTo>
                    <a:pt x="253" y="128"/>
                  </a:lnTo>
                  <a:close/>
                  <a:moveTo>
                    <a:pt x="243" y="133"/>
                  </a:moveTo>
                  <a:lnTo>
                    <a:pt x="243" y="132"/>
                  </a:lnTo>
                  <a:lnTo>
                    <a:pt x="243" y="132"/>
                  </a:lnTo>
                  <a:lnTo>
                    <a:pt x="244" y="130"/>
                  </a:lnTo>
                  <a:lnTo>
                    <a:pt x="244" y="130"/>
                  </a:lnTo>
                  <a:lnTo>
                    <a:pt x="246" y="129"/>
                  </a:lnTo>
                  <a:lnTo>
                    <a:pt x="246" y="129"/>
                  </a:lnTo>
                  <a:lnTo>
                    <a:pt x="249" y="129"/>
                  </a:lnTo>
                  <a:lnTo>
                    <a:pt x="247" y="126"/>
                  </a:lnTo>
                  <a:lnTo>
                    <a:pt x="247" y="126"/>
                  </a:lnTo>
                  <a:lnTo>
                    <a:pt x="246" y="126"/>
                  </a:lnTo>
                  <a:lnTo>
                    <a:pt x="246" y="126"/>
                  </a:lnTo>
                  <a:lnTo>
                    <a:pt x="243" y="128"/>
                  </a:lnTo>
                  <a:lnTo>
                    <a:pt x="241" y="129"/>
                  </a:lnTo>
                  <a:lnTo>
                    <a:pt x="241" y="129"/>
                  </a:lnTo>
                  <a:lnTo>
                    <a:pt x="240" y="132"/>
                  </a:lnTo>
                  <a:lnTo>
                    <a:pt x="240" y="132"/>
                  </a:lnTo>
                  <a:lnTo>
                    <a:pt x="241" y="133"/>
                  </a:lnTo>
                  <a:lnTo>
                    <a:pt x="243"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24" name="Freeform 1684"/>
            <p:cNvSpPr>
              <a:spLocks noEditPoints="1"/>
            </p:cNvSpPr>
            <p:nvPr/>
          </p:nvSpPr>
          <p:spPr bwMode="auto">
            <a:xfrm>
              <a:off x="5030788" y="3034141"/>
              <a:ext cx="106363" cy="174625"/>
            </a:xfrm>
            <a:custGeom>
              <a:avLst/>
              <a:gdLst>
                <a:gd name="T0" fmla="*/ 7 w 67"/>
                <a:gd name="T1" fmla="*/ 1 h 110"/>
                <a:gd name="T2" fmla="*/ 0 w 67"/>
                <a:gd name="T3" fmla="*/ 4 h 110"/>
                <a:gd name="T4" fmla="*/ 7 w 67"/>
                <a:gd name="T5" fmla="*/ 2 h 110"/>
                <a:gd name="T6" fmla="*/ 17 w 67"/>
                <a:gd name="T7" fmla="*/ 8 h 110"/>
                <a:gd name="T8" fmla="*/ 17 w 67"/>
                <a:gd name="T9" fmla="*/ 7 h 110"/>
                <a:gd name="T10" fmla="*/ 17 w 67"/>
                <a:gd name="T11" fmla="*/ 4 h 110"/>
                <a:gd name="T12" fmla="*/ 17 w 67"/>
                <a:gd name="T13" fmla="*/ 2 h 110"/>
                <a:gd name="T14" fmla="*/ 16 w 67"/>
                <a:gd name="T15" fmla="*/ 1 h 110"/>
                <a:gd name="T16" fmla="*/ 12 w 67"/>
                <a:gd name="T17" fmla="*/ 0 h 110"/>
                <a:gd name="T18" fmla="*/ 12 w 67"/>
                <a:gd name="T19" fmla="*/ 2 h 110"/>
                <a:gd name="T20" fmla="*/ 14 w 67"/>
                <a:gd name="T21" fmla="*/ 2 h 110"/>
                <a:gd name="T22" fmla="*/ 14 w 67"/>
                <a:gd name="T23" fmla="*/ 2 h 110"/>
                <a:gd name="T24" fmla="*/ 14 w 67"/>
                <a:gd name="T25" fmla="*/ 2 h 110"/>
                <a:gd name="T26" fmla="*/ 14 w 67"/>
                <a:gd name="T27" fmla="*/ 4 h 110"/>
                <a:gd name="T28" fmla="*/ 14 w 67"/>
                <a:gd name="T29" fmla="*/ 7 h 110"/>
                <a:gd name="T30" fmla="*/ 14 w 67"/>
                <a:gd name="T31" fmla="*/ 8 h 110"/>
                <a:gd name="T32" fmla="*/ 27 w 67"/>
                <a:gd name="T33" fmla="*/ 7 h 110"/>
                <a:gd name="T34" fmla="*/ 19 w 67"/>
                <a:gd name="T35" fmla="*/ 10 h 110"/>
                <a:gd name="T36" fmla="*/ 19 w 67"/>
                <a:gd name="T37" fmla="*/ 13 h 110"/>
                <a:gd name="T38" fmla="*/ 29 w 67"/>
                <a:gd name="T39" fmla="*/ 10 h 110"/>
                <a:gd name="T40" fmla="*/ 39 w 67"/>
                <a:gd name="T41" fmla="*/ 16 h 110"/>
                <a:gd name="T42" fmla="*/ 38 w 67"/>
                <a:gd name="T43" fmla="*/ 10 h 110"/>
                <a:gd name="T44" fmla="*/ 35 w 67"/>
                <a:gd name="T45" fmla="*/ 7 h 110"/>
                <a:gd name="T46" fmla="*/ 33 w 67"/>
                <a:gd name="T47" fmla="*/ 7 h 110"/>
                <a:gd name="T48" fmla="*/ 33 w 67"/>
                <a:gd name="T49" fmla="*/ 8 h 110"/>
                <a:gd name="T50" fmla="*/ 35 w 67"/>
                <a:gd name="T51" fmla="*/ 11 h 110"/>
                <a:gd name="T52" fmla="*/ 38 w 67"/>
                <a:gd name="T53" fmla="*/ 17 h 110"/>
                <a:gd name="T54" fmla="*/ 45 w 67"/>
                <a:gd name="T55" fmla="*/ 30 h 110"/>
                <a:gd name="T56" fmla="*/ 40 w 67"/>
                <a:gd name="T57" fmla="*/ 20 h 110"/>
                <a:gd name="T58" fmla="*/ 39 w 67"/>
                <a:gd name="T59" fmla="*/ 21 h 110"/>
                <a:gd name="T60" fmla="*/ 45 w 67"/>
                <a:gd name="T61" fmla="*/ 30 h 110"/>
                <a:gd name="T62" fmla="*/ 49 w 67"/>
                <a:gd name="T63" fmla="*/ 44 h 110"/>
                <a:gd name="T64" fmla="*/ 43 w 67"/>
                <a:gd name="T65" fmla="*/ 36 h 110"/>
                <a:gd name="T66" fmla="*/ 46 w 67"/>
                <a:gd name="T67" fmla="*/ 46 h 110"/>
                <a:gd name="T68" fmla="*/ 56 w 67"/>
                <a:gd name="T69" fmla="*/ 58 h 110"/>
                <a:gd name="T70" fmla="*/ 52 w 67"/>
                <a:gd name="T71" fmla="*/ 55 h 110"/>
                <a:gd name="T72" fmla="*/ 51 w 67"/>
                <a:gd name="T73" fmla="*/ 49 h 110"/>
                <a:gd name="T74" fmla="*/ 48 w 67"/>
                <a:gd name="T75" fmla="*/ 50 h 110"/>
                <a:gd name="T76" fmla="*/ 51 w 67"/>
                <a:gd name="T77" fmla="*/ 56 h 110"/>
                <a:gd name="T78" fmla="*/ 56 w 67"/>
                <a:gd name="T79" fmla="*/ 58 h 110"/>
                <a:gd name="T80" fmla="*/ 67 w 67"/>
                <a:gd name="T81" fmla="*/ 69 h 110"/>
                <a:gd name="T82" fmla="*/ 65 w 67"/>
                <a:gd name="T83" fmla="*/ 68 h 110"/>
                <a:gd name="T84" fmla="*/ 59 w 67"/>
                <a:gd name="T85" fmla="*/ 60 h 110"/>
                <a:gd name="T86" fmla="*/ 58 w 67"/>
                <a:gd name="T87" fmla="*/ 62 h 110"/>
                <a:gd name="T88" fmla="*/ 64 w 67"/>
                <a:gd name="T89" fmla="*/ 69 h 110"/>
                <a:gd name="T90" fmla="*/ 67 w 67"/>
                <a:gd name="T91" fmla="*/ 69 h 110"/>
                <a:gd name="T92" fmla="*/ 59 w 67"/>
                <a:gd name="T93" fmla="*/ 84 h 110"/>
                <a:gd name="T94" fmla="*/ 65 w 67"/>
                <a:gd name="T95" fmla="*/ 75 h 110"/>
                <a:gd name="T96" fmla="*/ 64 w 67"/>
                <a:gd name="T97" fmla="*/ 73 h 110"/>
                <a:gd name="T98" fmla="*/ 58 w 67"/>
                <a:gd name="T99" fmla="*/ 82 h 110"/>
                <a:gd name="T100" fmla="*/ 51 w 67"/>
                <a:gd name="T101" fmla="*/ 95 h 110"/>
                <a:gd name="T102" fmla="*/ 52 w 67"/>
                <a:gd name="T103" fmla="*/ 91 h 110"/>
                <a:gd name="T104" fmla="*/ 56 w 67"/>
                <a:gd name="T105" fmla="*/ 86 h 110"/>
                <a:gd name="T106" fmla="*/ 54 w 67"/>
                <a:gd name="T107" fmla="*/ 85 h 110"/>
                <a:gd name="T108" fmla="*/ 51 w 67"/>
                <a:gd name="T109" fmla="*/ 89 h 110"/>
                <a:gd name="T110" fmla="*/ 51 w 67"/>
                <a:gd name="T111" fmla="*/ 95 h 110"/>
                <a:gd name="T112" fmla="*/ 51 w 67"/>
                <a:gd name="T113" fmla="*/ 110 h 110"/>
                <a:gd name="T114" fmla="*/ 51 w 67"/>
                <a:gd name="T115" fmla="*/ 105 h 110"/>
                <a:gd name="T116" fmla="*/ 48 w 67"/>
                <a:gd name="T117" fmla="*/ 100 h 110"/>
                <a:gd name="T118" fmla="*/ 48 w 67"/>
                <a:gd name="T119" fmla="*/ 105 h 110"/>
                <a:gd name="T120" fmla="*/ 48 w 67"/>
                <a:gd name="T121"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 h="110">
                  <a:moveTo>
                    <a:pt x="7" y="1"/>
                  </a:moveTo>
                  <a:lnTo>
                    <a:pt x="7" y="1"/>
                  </a:lnTo>
                  <a:lnTo>
                    <a:pt x="0" y="1"/>
                  </a:lnTo>
                  <a:lnTo>
                    <a:pt x="0" y="4"/>
                  </a:lnTo>
                  <a:lnTo>
                    <a:pt x="0" y="4"/>
                  </a:lnTo>
                  <a:lnTo>
                    <a:pt x="7" y="2"/>
                  </a:lnTo>
                  <a:lnTo>
                    <a:pt x="7" y="1"/>
                  </a:lnTo>
                  <a:close/>
                  <a:moveTo>
                    <a:pt x="17" y="8"/>
                  </a:moveTo>
                  <a:lnTo>
                    <a:pt x="17" y="8"/>
                  </a:lnTo>
                  <a:lnTo>
                    <a:pt x="17" y="7"/>
                  </a:lnTo>
                  <a:lnTo>
                    <a:pt x="17" y="7"/>
                  </a:lnTo>
                  <a:lnTo>
                    <a:pt x="17" y="4"/>
                  </a:lnTo>
                  <a:lnTo>
                    <a:pt x="17" y="4"/>
                  </a:lnTo>
                  <a:lnTo>
                    <a:pt x="17" y="2"/>
                  </a:lnTo>
                  <a:lnTo>
                    <a:pt x="16" y="1"/>
                  </a:lnTo>
                  <a:lnTo>
                    <a:pt x="16" y="1"/>
                  </a:lnTo>
                  <a:lnTo>
                    <a:pt x="12" y="0"/>
                  </a:lnTo>
                  <a:lnTo>
                    <a:pt x="12" y="0"/>
                  </a:lnTo>
                  <a:lnTo>
                    <a:pt x="12" y="2"/>
                  </a:lnTo>
                  <a:lnTo>
                    <a:pt x="12" y="2"/>
                  </a:lnTo>
                  <a:lnTo>
                    <a:pt x="12" y="2"/>
                  </a:lnTo>
                  <a:lnTo>
                    <a:pt x="14" y="2"/>
                  </a:lnTo>
                  <a:lnTo>
                    <a:pt x="14" y="2"/>
                  </a:lnTo>
                  <a:lnTo>
                    <a:pt x="14" y="2"/>
                  </a:lnTo>
                  <a:lnTo>
                    <a:pt x="14" y="2"/>
                  </a:lnTo>
                  <a:lnTo>
                    <a:pt x="14" y="2"/>
                  </a:lnTo>
                  <a:lnTo>
                    <a:pt x="14" y="2"/>
                  </a:lnTo>
                  <a:lnTo>
                    <a:pt x="14" y="4"/>
                  </a:lnTo>
                  <a:lnTo>
                    <a:pt x="14" y="4"/>
                  </a:lnTo>
                  <a:lnTo>
                    <a:pt x="14" y="7"/>
                  </a:lnTo>
                  <a:lnTo>
                    <a:pt x="14" y="7"/>
                  </a:lnTo>
                  <a:lnTo>
                    <a:pt x="14" y="8"/>
                  </a:lnTo>
                  <a:lnTo>
                    <a:pt x="17" y="8"/>
                  </a:lnTo>
                  <a:close/>
                  <a:moveTo>
                    <a:pt x="27" y="7"/>
                  </a:moveTo>
                  <a:lnTo>
                    <a:pt x="27" y="7"/>
                  </a:lnTo>
                  <a:lnTo>
                    <a:pt x="19" y="10"/>
                  </a:lnTo>
                  <a:lnTo>
                    <a:pt x="19" y="13"/>
                  </a:lnTo>
                  <a:lnTo>
                    <a:pt x="19" y="13"/>
                  </a:lnTo>
                  <a:lnTo>
                    <a:pt x="23" y="11"/>
                  </a:lnTo>
                  <a:lnTo>
                    <a:pt x="29" y="10"/>
                  </a:lnTo>
                  <a:lnTo>
                    <a:pt x="27" y="7"/>
                  </a:lnTo>
                  <a:close/>
                  <a:moveTo>
                    <a:pt x="39" y="16"/>
                  </a:moveTo>
                  <a:lnTo>
                    <a:pt x="39" y="16"/>
                  </a:lnTo>
                  <a:lnTo>
                    <a:pt x="38" y="10"/>
                  </a:lnTo>
                  <a:lnTo>
                    <a:pt x="38" y="10"/>
                  </a:lnTo>
                  <a:lnTo>
                    <a:pt x="35" y="7"/>
                  </a:lnTo>
                  <a:lnTo>
                    <a:pt x="35" y="7"/>
                  </a:lnTo>
                  <a:lnTo>
                    <a:pt x="33" y="7"/>
                  </a:lnTo>
                  <a:lnTo>
                    <a:pt x="33" y="8"/>
                  </a:lnTo>
                  <a:lnTo>
                    <a:pt x="33" y="8"/>
                  </a:lnTo>
                  <a:lnTo>
                    <a:pt x="33" y="8"/>
                  </a:lnTo>
                  <a:lnTo>
                    <a:pt x="35" y="11"/>
                  </a:lnTo>
                  <a:lnTo>
                    <a:pt x="35" y="11"/>
                  </a:lnTo>
                  <a:lnTo>
                    <a:pt x="38" y="17"/>
                  </a:lnTo>
                  <a:lnTo>
                    <a:pt x="39" y="16"/>
                  </a:lnTo>
                  <a:close/>
                  <a:moveTo>
                    <a:pt x="45" y="30"/>
                  </a:moveTo>
                  <a:lnTo>
                    <a:pt x="45" y="30"/>
                  </a:lnTo>
                  <a:lnTo>
                    <a:pt x="40" y="20"/>
                  </a:lnTo>
                  <a:lnTo>
                    <a:pt x="39" y="21"/>
                  </a:lnTo>
                  <a:lnTo>
                    <a:pt x="39" y="21"/>
                  </a:lnTo>
                  <a:lnTo>
                    <a:pt x="42" y="31"/>
                  </a:lnTo>
                  <a:lnTo>
                    <a:pt x="45" y="30"/>
                  </a:lnTo>
                  <a:close/>
                  <a:moveTo>
                    <a:pt x="49" y="44"/>
                  </a:moveTo>
                  <a:lnTo>
                    <a:pt x="49" y="44"/>
                  </a:lnTo>
                  <a:lnTo>
                    <a:pt x="46" y="34"/>
                  </a:lnTo>
                  <a:lnTo>
                    <a:pt x="43" y="36"/>
                  </a:lnTo>
                  <a:lnTo>
                    <a:pt x="43" y="36"/>
                  </a:lnTo>
                  <a:lnTo>
                    <a:pt x="46" y="46"/>
                  </a:lnTo>
                  <a:lnTo>
                    <a:pt x="49" y="44"/>
                  </a:lnTo>
                  <a:close/>
                  <a:moveTo>
                    <a:pt x="56" y="58"/>
                  </a:moveTo>
                  <a:lnTo>
                    <a:pt x="56" y="58"/>
                  </a:lnTo>
                  <a:lnTo>
                    <a:pt x="52" y="55"/>
                  </a:lnTo>
                  <a:lnTo>
                    <a:pt x="51" y="50"/>
                  </a:lnTo>
                  <a:lnTo>
                    <a:pt x="51" y="49"/>
                  </a:lnTo>
                  <a:lnTo>
                    <a:pt x="48" y="50"/>
                  </a:lnTo>
                  <a:lnTo>
                    <a:pt x="48" y="50"/>
                  </a:lnTo>
                  <a:lnTo>
                    <a:pt x="48" y="50"/>
                  </a:lnTo>
                  <a:lnTo>
                    <a:pt x="51" y="56"/>
                  </a:lnTo>
                  <a:lnTo>
                    <a:pt x="55" y="59"/>
                  </a:lnTo>
                  <a:lnTo>
                    <a:pt x="56" y="58"/>
                  </a:lnTo>
                  <a:lnTo>
                    <a:pt x="56" y="58"/>
                  </a:lnTo>
                  <a:close/>
                  <a:moveTo>
                    <a:pt x="67" y="69"/>
                  </a:moveTo>
                  <a:lnTo>
                    <a:pt x="65" y="68"/>
                  </a:lnTo>
                  <a:lnTo>
                    <a:pt x="65" y="68"/>
                  </a:lnTo>
                  <a:lnTo>
                    <a:pt x="64" y="63"/>
                  </a:lnTo>
                  <a:lnTo>
                    <a:pt x="59" y="60"/>
                  </a:lnTo>
                  <a:lnTo>
                    <a:pt x="58" y="62"/>
                  </a:lnTo>
                  <a:lnTo>
                    <a:pt x="58" y="62"/>
                  </a:lnTo>
                  <a:lnTo>
                    <a:pt x="61" y="65"/>
                  </a:lnTo>
                  <a:lnTo>
                    <a:pt x="64" y="69"/>
                  </a:lnTo>
                  <a:lnTo>
                    <a:pt x="64" y="69"/>
                  </a:lnTo>
                  <a:lnTo>
                    <a:pt x="67" y="69"/>
                  </a:lnTo>
                  <a:close/>
                  <a:moveTo>
                    <a:pt x="59" y="84"/>
                  </a:moveTo>
                  <a:lnTo>
                    <a:pt x="59" y="84"/>
                  </a:lnTo>
                  <a:lnTo>
                    <a:pt x="64" y="79"/>
                  </a:lnTo>
                  <a:lnTo>
                    <a:pt x="65" y="75"/>
                  </a:lnTo>
                  <a:lnTo>
                    <a:pt x="64" y="73"/>
                  </a:lnTo>
                  <a:lnTo>
                    <a:pt x="64" y="73"/>
                  </a:lnTo>
                  <a:lnTo>
                    <a:pt x="61" y="78"/>
                  </a:lnTo>
                  <a:lnTo>
                    <a:pt x="58" y="82"/>
                  </a:lnTo>
                  <a:lnTo>
                    <a:pt x="59" y="84"/>
                  </a:lnTo>
                  <a:close/>
                  <a:moveTo>
                    <a:pt x="51" y="95"/>
                  </a:moveTo>
                  <a:lnTo>
                    <a:pt x="51" y="95"/>
                  </a:lnTo>
                  <a:lnTo>
                    <a:pt x="52" y="91"/>
                  </a:lnTo>
                  <a:lnTo>
                    <a:pt x="52" y="91"/>
                  </a:lnTo>
                  <a:lnTo>
                    <a:pt x="56" y="86"/>
                  </a:lnTo>
                  <a:lnTo>
                    <a:pt x="54" y="85"/>
                  </a:lnTo>
                  <a:lnTo>
                    <a:pt x="54" y="85"/>
                  </a:lnTo>
                  <a:lnTo>
                    <a:pt x="51" y="89"/>
                  </a:lnTo>
                  <a:lnTo>
                    <a:pt x="51" y="89"/>
                  </a:lnTo>
                  <a:lnTo>
                    <a:pt x="49" y="94"/>
                  </a:lnTo>
                  <a:lnTo>
                    <a:pt x="51" y="95"/>
                  </a:lnTo>
                  <a:close/>
                  <a:moveTo>
                    <a:pt x="51" y="110"/>
                  </a:moveTo>
                  <a:lnTo>
                    <a:pt x="51" y="110"/>
                  </a:lnTo>
                  <a:lnTo>
                    <a:pt x="51" y="105"/>
                  </a:lnTo>
                  <a:lnTo>
                    <a:pt x="51" y="105"/>
                  </a:lnTo>
                  <a:lnTo>
                    <a:pt x="51" y="100"/>
                  </a:lnTo>
                  <a:lnTo>
                    <a:pt x="48" y="100"/>
                  </a:lnTo>
                  <a:lnTo>
                    <a:pt x="48" y="100"/>
                  </a:lnTo>
                  <a:lnTo>
                    <a:pt x="48" y="105"/>
                  </a:lnTo>
                  <a:lnTo>
                    <a:pt x="48" y="105"/>
                  </a:lnTo>
                  <a:lnTo>
                    <a:pt x="48" y="110"/>
                  </a:lnTo>
                  <a:lnTo>
                    <a:pt x="51" y="1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25" name="Freeform 1685"/>
            <p:cNvSpPr>
              <a:spLocks noEditPoints="1"/>
            </p:cNvSpPr>
            <p:nvPr/>
          </p:nvSpPr>
          <p:spPr bwMode="auto">
            <a:xfrm>
              <a:off x="4492625" y="3413554"/>
              <a:ext cx="173038" cy="47625"/>
            </a:xfrm>
            <a:custGeom>
              <a:avLst/>
              <a:gdLst>
                <a:gd name="T0" fmla="*/ 10 w 109"/>
                <a:gd name="T1" fmla="*/ 20 h 30"/>
                <a:gd name="T2" fmla="*/ 0 w 109"/>
                <a:gd name="T3" fmla="*/ 24 h 30"/>
                <a:gd name="T4" fmla="*/ 10 w 109"/>
                <a:gd name="T5" fmla="*/ 23 h 30"/>
                <a:gd name="T6" fmla="*/ 25 w 109"/>
                <a:gd name="T7" fmla="*/ 18 h 30"/>
                <a:gd name="T8" fmla="*/ 25 w 109"/>
                <a:gd name="T9" fmla="*/ 18 h 30"/>
                <a:gd name="T10" fmla="*/ 16 w 109"/>
                <a:gd name="T11" fmla="*/ 21 h 30"/>
                <a:gd name="T12" fmla="*/ 25 w 109"/>
                <a:gd name="T13" fmla="*/ 21 h 30"/>
                <a:gd name="T14" fmla="*/ 25 w 109"/>
                <a:gd name="T15" fmla="*/ 18 h 30"/>
                <a:gd name="T16" fmla="*/ 41 w 109"/>
                <a:gd name="T17" fmla="*/ 18 h 30"/>
                <a:gd name="T18" fmla="*/ 30 w 109"/>
                <a:gd name="T19" fmla="*/ 21 h 30"/>
                <a:gd name="T20" fmla="*/ 41 w 109"/>
                <a:gd name="T21" fmla="*/ 21 h 30"/>
                <a:gd name="T22" fmla="*/ 52 w 109"/>
                <a:gd name="T23" fmla="*/ 14 h 30"/>
                <a:gd name="T24" fmla="*/ 49 w 109"/>
                <a:gd name="T25" fmla="*/ 17 h 30"/>
                <a:gd name="T26" fmla="*/ 46 w 109"/>
                <a:gd name="T27" fmla="*/ 18 h 30"/>
                <a:gd name="T28" fmla="*/ 45 w 109"/>
                <a:gd name="T29" fmla="*/ 18 h 30"/>
                <a:gd name="T30" fmla="*/ 45 w 109"/>
                <a:gd name="T31" fmla="*/ 21 h 30"/>
                <a:gd name="T32" fmla="*/ 48 w 109"/>
                <a:gd name="T33" fmla="*/ 21 h 30"/>
                <a:gd name="T34" fmla="*/ 51 w 109"/>
                <a:gd name="T35" fmla="*/ 18 h 30"/>
                <a:gd name="T36" fmla="*/ 52 w 109"/>
                <a:gd name="T37" fmla="*/ 14 h 30"/>
                <a:gd name="T38" fmla="*/ 67 w 109"/>
                <a:gd name="T39" fmla="*/ 5 h 30"/>
                <a:gd name="T40" fmla="*/ 64 w 109"/>
                <a:gd name="T41" fmla="*/ 7 h 30"/>
                <a:gd name="T42" fmla="*/ 57 w 109"/>
                <a:gd name="T43" fmla="*/ 10 h 30"/>
                <a:gd name="T44" fmla="*/ 58 w 109"/>
                <a:gd name="T45" fmla="*/ 13 h 30"/>
                <a:gd name="T46" fmla="*/ 64 w 109"/>
                <a:gd name="T47" fmla="*/ 10 h 30"/>
                <a:gd name="T48" fmla="*/ 67 w 109"/>
                <a:gd name="T49" fmla="*/ 5 h 30"/>
                <a:gd name="T50" fmla="*/ 80 w 109"/>
                <a:gd name="T51" fmla="*/ 0 h 30"/>
                <a:gd name="T52" fmla="*/ 71 w 109"/>
                <a:gd name="T53" fmla="*/ 4 h 30"/>
                <a:gd name="T54" fmla="*/ 71 w 109"/>
                <a:gd name="T55" fmla="*/ 5 h 30"/>
                <a:gd name="T56" fmla="*/ 81 w 109"/>
                <a:gd name="T57" fmla="*/ 2 h 30"/>
                <a:gd name="T58" fmla="*/ 96 w 109"/>
                <a:gd name="T59" fmla="*/ 5 h 30"/>
                <a:gd name="T60" fmla="*/ 85 w 109"/>
                <a:gd name="T61" fmla="*/ 1 h 30"/>
                <a:gd name="T62" fmla="*/ 85 w 109"/>
                <a:gd name="T63" fmla="*/ 2 h 30"/>
                <a:gd name="T64" fmla="*/ 96 w 109"/>
                <a:gd name="T65" fmla="*/ 5 h 30"/>
                <a:gd name="T66" fmla="*/ 107 w 109"/>
                <a:gd name="T67" fmla="*/ 16 h 30"/>
                <a:gd name="T68" fmla="*/ 100 w 109"/>
                <a:gd name="T69" fmla="*/ 8 h 30"/>
                <a:gd name="T70" fmla="*/ 99 w 109"/>
                <a:gd name="T71" fmla="*/ 10 h 30"/>
                <a:gd name="T72" fmla="*/ 104 w 109"/>
                <a:gd name="T73" fmla="*/ 17 h 30"/>
                <a:gd name="T74" fmla="*/ 104 w 109"/>
                <a:gd name="T75" fmla="*/ 30 h 30"/>
                <a:gd name="T76" fmla="*/ 107 w 109"/>
                <a:gd name="T77" fmla="*/ 26 h 30"/>
                <a:gd name="T78" fmla="*/ 106 w 109"/>
                <a:gd name="T79" fmla="*/ 20 h 30"/>
                <a:gd name="T80" fmla="*/ 101 w 109"/>
                <a:gd name="T8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9" h="30">
                  <a:moveTo>
                    <a:pt x="10" y="20"/>
                  </a:moveTo>
                  <a:lnTo>
                    <a:pt x="10" y="20"/>
                  </a:lnTo>
                  <a:lnTo>
                    <a:pt x="0" y="21"/>
                  </a:lnTo>
                  <a:lnTo>
                    <a:pt x="0" y="24"/>
                  </a:lnTo>
                  <a:lnTo>
                    <a:pt x="0" y="24"/>
                  </a:lnTo>
                  <a:lnTo>
                    <a:pt x="10" y="23"/>
                  </a:lnTo>
                  <a:lnTo>
                    <a:pt x="10" y="20"/>
                  </a:lnTo>
                  <a:close/>
                  <a:moveTo>
                    <a:pt x="25" y="18"/>
                  </a:moveTo>
                  <a:lnTo>
                    <a:pt x="25" y="18"/>
                  </a:lnTo>
                  <a:lnTo>
                    <a:pt x="25" y="18"/>
                  </a:lnTo>
                  <a:lnTo>
                    <a:pt x="15" y="18"/>
                  </a:lnTo>
                  <a:lnTo>
                    <a:pt x="16" y="21"/>
                  </a:lnTo>
                  <a:lnTo>
                    <a:pt x="16" y="21"/>
                  </a:lnTo>
                  <a:lnTo>
                    <a:pt x="25" y="21"/>
                  </a:lnTo>
                  <a:lnTo>
                    <a:pt x="25" y="21"/>
                  </a:lnTo>
                  <a:lnTo>
                    <a:pt x="25" y="18"/>
                  </a:lnTo>
                  <a:close/>
                  <a:moveTo>
                    <a:pt x="41" y="18"/>
                  </a:moveTo>
                  <a:lnTo>
                    <a:pt x="41" y="18"/>
                  </a:lnTo>
                  <a:lnTo>
                    <a:pt x="30" y="18"/>
                  </a:lnTo>
                  <a:lnTo>
                    <a:pt x="30" y="21"/>
                  </a:lnTo>
                  <a:lnTo>
                    <a:pt x="30" y="21"/>
                  </a:lnTo>
                  <a:lnTo>
                    <a:pt x="41" y="21"/>
                  </a:lnTo>
                  <a:lnTo>
                    <a:pt x="41" y="18"/>
                  </a:lnTo>
                  <a:close/>
                  <a:moveTo>
                    <a:pt x="52" y="14"/>
                  </a:moveTo>
                  <a:lnTo>
                    <a:pt x="52" y="14"/>
                  </a:lnTo>
                  <a:lnTo>
                    <a:pt x="49" y="17"/>
                  </a:lnTo>
                  <a:lnTo>
                    <a:pt x="49" y="17"/>
                  </a:lnTo>
                  <a:lnTo>
                    <a:pt x="46" y="18"/>
                  </a:lnTo>
                  <a:lnTo>
                    <a:pt x="46" y="18"/>
                  </a:lnTo>
                  <a:lnTo>
                    <a:pt x="45" y="18"/>
                  </a:lnTo>
                  <a:lnTo>
                    <a:pt x="45" y="21"/>
                  </a:lnTo>
                  <a:lnTo>
                    <a:pt x="45" y="21"/>
                  </a:lnTo>
                  <a:lnTo>
                    <a:pt x="48" y="21"/>
                  </a:lnTo>
                  <a:lnTo>
                    <a:pt x="48" y="21"/>
                  </a:lnTo>
                  <a:lnTo>
                    <a:pt x="51" y="18"/>
                  </a:lnTo>
                  <a:lnTo>
                    <a:pt x="51" y="18"/>
                  </a:lnTo>
                  <a:lnTo>
                    <a:pt x="55" y="16"/>
                  </a:lnTo>
                  <a:lnTo>
                    <a:pt x="52" y="14"/>
                  </a:lnTo>
                  <a:close/>
                  <a:moveTo>
                    <a:pt x="67" y="5"/>
                  </a:moveTo>
                  <a:lnTo>
                    <a:pt x="67" y="5"/>
                  </a:lnTo>
                  <a:lnTo>
                    <a:pt x="64" y="7"/>
                  </a:lnTo>
                  <a:lnTo>
                    <a:pt x="64" y="7"/>
                  </a:lnTo>
                  <a:lnTo>
                    <a:pt x="59" y="8"/>
                  </a:lnTo>
                  <a:lnTo>
                    <a:pt x="57" y="10"/>
                  </a:lnTo>
                  <a:lnTo>
                    <a:pt x="58" y="13"/>
                  </a:lnTo>
                  <a:lnTo>
                    <a:pt x="58" y="13"/>
                  </a:lnTo>
                  <a:lnTo>
                    <a:pt x="64" y="10"/>
                  </a:lnTo>
                  <a:lnTo>
                    <a:pt x="64" y="10"/>
                  </a:lnTo>
                  <a:lnTo>
                    <a:pt x="67" y="8"/>
                  </a:lnTo>
                  <a:lnTo>
                    <a:pt x="67" y="5"/>
                  </a:lnTo>
                  <a:close/>
                  <a:moveTo>
                    <a:pt x="80" y="0"/>
                  </a:moveTo>
                  <a:lnTo>
                    <a:pt x="80" y="0"/>
                  </a:lnTo>
                  <a:lnTo>
                    <a:pt x="75" y="1"/>
                  </a:lnTo>
                  <a:lnTo>
                    <a:pt x="71" y="4"/>
                  </a:lnTo>
                  <a:lnTo>
                    <a:pt x="71" y="5"/>
                  </a:lnTo>
                  <a:lnTo>
                    <a:pt x="71" y="5"/>
                  </a:lnTo>
                  <a:lnTo>
                    <a:pt x="77" y="4"/>
                  </a:lnTo>
                  <a:lnTo>
                    <a:pt x="81" y="2"/>
                  </a:lnTo>
                  <a:lnTo>
                    <a:pt x="80" y="0"/>
                  </a:lnTo>
                  <a:close/>
                  <a:moveTo>
                    <a:pt x="96" y="5"/>
                  </a:moveTo>
                  <a:lnTo>
                    <a:pt x="96" y="5"/>
                  </a:lnTo>
                  <a:lnTo>
                    <a:pt x="85" y="1"/>
                  </a:lnTo>
                  <a:lnTo>
                    <a:pt x="85" y="2"/>
                  </a:lnTo>
                  <a:lnTo>
                    <a:pt x="85" y="2"/>
                  </a:lnTo>
                  <a:lnTo>
                    <a:pt x="94" y="7"/>
                  </a:lnTo>
                  <a:lnTo>
                    <a:pt x="96" y="5"/>
                  </a:lnTo>
                  <a:close/>
                  <a:moveTo>
                    <a:pt x="107" y="16"/>
                  </a:moveTo>
                  <a:lnTo>
                    <a:pt x="107" y="16"/>
                  </a:lnTo>
                  <a:lnTo>
                    <a:pt x="104" y="11"/>
                  </a:lnTo>
                  <a:lnTo>
                    <a:pt x="100" y="8"/>
                  </a:lnTo>
                  <a:lnTo>
                    <a:pt x="99" y="10"/>
                  </a:lnTo>
                  <a:lnTo>
                    <a:pt x="99" y="10"/>
                  </a:lnTo>
                  <a:lnTo>
                    <a:pt x="103" y="13"/>
                  </a:lnTo>
                  <a:lnTo>
                    <a:pt x="104" y="17"/>
                  </a:lnTo>
                  <a:lnTo>
                    <a:pt x="107" y="16"/>
                  </a:lnTo>
                  <a:close/>
                  <a:moveTo>
                    <a:pt x="104" y="30"/>
                  </a:moveTo>
                  <a:lnTo>
                    <a:pt x="104" y="30"/>
                  </a:lnTo>
                  <a:lnTo>
                    <a:pt x="107" y="26"/>
                  </a:lnTo>
                  <a:lnTo>
                    <a:pt x="109" y="21"/>
                  </a:lnTo>
                  <a:lnTo>
                    <a:pt x="106" y="20"/>
                  </a:lnTo>
                  <a:lnTo>
                    <a:pt x="106" y="20"/>
                  </a:lnTo>
                  <a:lnTo>
                    <a:pt x="101" y="30"/>
                  </a:lnTo>
                  <a:lnTo>
                    <a:pt x="104"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26" name="Freeform 1686"/>
            <p:cNvSpPr>
              <a:spLocks noEditPoints="1"/>
            </p:cNvSpPr>
            <p:nvPr/>
          </p:nvSpPr>
          <p:spPr bwMode="auto">
            <a:xfrm>
              <a:off x="4624388" y="3129391"/>
              <a:ext cx="182563" cy="333375"/>
            </a:xfrm>
            <a:custGeom>
              <a:avLst/>
              <a:gdLst>
                <a:gd name="T0" fmla="*/ 31 w 115"/>
                <a:gd name="T1" fmla="*/ 0 h 210"/>
                <a:gd name="T2" fmla="*/ 34 w 115"/>
                <a:gd name="T3" fmla="*/ 18 h 210"/>
                <a:gd name="T4" fmla="*/ 31 w 115"/>
                <a:gd name="T5" fmla="*/ 8 h 210"/>
                <a:gd name="T6" fmla="*/ 34 w 115"/>
                <a:gd name="T7" fmla="*/ 32 h 210"/>
                <a:gd name="T8" fmla="*/ 33 w 115"/>
                <a:gd name="T9" fmla="*/ 34 h 210"/>
                <a:gd name="T10" fmla="*/ 37 w 115"/>
                <a:gd name="T11" fmla="*/ 37 h 210"/>
                <a:gd name="T12" fmla="*/ 40 w 115"/>
                <a:gd name="T13" fmla="*/ 47 h 210"/>
                <a:gd name="T14" fmla="*/ 39 w 115"/>
                <a:gd name="T15" fmla="*/ 53 h 210"/>
                <a:gd name="T16" fmla="*/ 39 w 115"/>
                <a:gd name="T17" fmla="*/ 77 h 210"/>
                <a:gd name="T18" fmla="*/ 42 w 115"/>
                <a:gd name="T19" fmla="*/ 70 h 210"/>
                <a:gd name="T20" fmla="*/ 40 w 115"/>
                <a:gd name="T21" fmla="*/ 70 h 210"/>
                <a:gd name="T22" fmla="*/ 39 w 115"/>
                <a:gd name="T23" fmla="*/ 77 h 210"/>
                <a:gd name="T24" fmla="*/ 29 w 115"/>
                <a:gd name="T25" fmla="*/ 86 h 210"/>
                <a:gd name="T26" fmla="*/ 26 w 115"/>
                <a:gd name="T27" fmla="*/ 83 h 210"/>
                <a:gd name="T28" fmla="*/ 13 w 115"/>
                <a:gd name="T29" fmla="*/ 95 h 210"/>
                <a:gd name="T30" fmla="*/ 20 w 115"/>
                <a:gd name="T31" fmla="*/ 87 h 210"/>
                <a:gd name="T32" fmla="*/ 2 w 115"/>
                <a:gd name="T33" fmla="*/ 103 h 210"/>
                <a:gd name="T34" fmla="*/ 8 w 115"/>
                <a:gd name="T35" fmla="*/ 96 h 210"/>
                <a:gd name="T36" fmla="*/ 1 w 115"/>
                <a:gd name="T37" fmla="*/ 103 h 210"/>
                <a:gd name="T38" fmla="*/ 0 w 115"/>
                <a:gd name="T39" fmla="*/ 109 h 210"/>
                <a:gd name="T40" fmla="*/ 8 w 115"/>
                <a:gd name="T41" fmla="*/ 115 h 210"/>
                <a:gd name="T42" fmla="*/ 17 w 115"/>
                <a:gd name="T43" fmla="*/ 122 h 210"/>
                <a:gd name="T44" fmla="*/ 11 w 115"/>
                <a:gd name="T45" fmla="*/ 121 h 210"/>
                <a:gd name="T46" fmla="*/ 20 w 115"/>
                <a:gd name="T47" fmla="*/ 125 h 210"/>
                <a:gd name="T48" fmla="*/ 23 w 115"/>
                <a:gd name="T49" fmla="*/ 131 h 210"/>
                <a:gd name="T50" fmla="*/ 33 w 115"/>
                <a:gd name="T51" fmla="*/ 132 h 210"/>
                <a:gd name="T52" fmla="*/ 40 w 115"/>
                <a:gd name="T53" fmla="*/ 134 h 210"/>
                <a:gd name="T54" fmla="*/ 40 w 115"/>
                <a:gd name="T55" fmla="*/ 135 h 210"/>
                <a:gd name="T56" fmla="*/ 62 w 115"/>
                <a:gd name="T57" fmla="*/ 128 h 210"/>
                <a:gd name="T58" fmla="*/ 52 w 115"/>
                <a:gd name="T59" fmla="*/ 134 h 210"/>
                <a:gd name="T60" fmla="*/ 72 w 115"/>
                <a:gd name="T61" fmla="*/ 138 h 210"/>
                <a:gd name="T62" fmla="*/ 66 w 115"/>
                <a:gd name="T63" fmla="*/ 131 h 210"/>
                <a:gd name="T64" fmla="*/ 73 w 115"/>
                <a:gd name="T65" fmla="*/ 154 h 210"/>
                <a:gd name="T66" fmla="*/ 75 w 115"/>
                <a:gd name="T67" fmla="*/ 147 h 210"/>
                <a:gd name="T68" fmla="*/ 72 w 115"/>
                <a:gd name="T69" fmla="*/ 144 h 210"/>
                <a:gd name="T70" fmla="*/ 72 w 115"/>
                <a:gd name="T71" fmla="*/ 148 h 210"/>
                <a:gd name="T72" fmla="*/ 69 w 115"/>
                <a:gd name="T73" fmla="*/ 168 h 210"/>
                <a:gd name="T74" fmla="*/ 66 w 115"/>
                <a:gd name="T75" fmla="*/ 168 h 210"/>
                <a:gd name="T76" fmla="*/ 65 w 115"/>
                <a:gd name="T77" fmla="*/ 177 h 210"/>
                <a:gd name="T78" fmla="*/ 66 w 115"/>
                <a:gd name="T79" fmla="*/ 173 h 210"/>
                <a:gd name="T80" fmla="*/ 63 w 115"/>
                <a:gd name="T81" fmla="*/ 174 h 210"/>
                <a:gd name="T82" fmla="*/ 66 w 115"/>
                <a:gd name="T83" fmla="*/ 181 h 210"/>
                <a:gd name="T84" fmla="*/ 73 w 115"/>
                <a:gd name="T85" fmla="*/ 192 h 210"/>
                <a:gd name="T86" fmla="*/ 72 w 115"/>
                <a:gd name="T87" fmla="*/ 193 h 210"/>
                <a:gd name="T88" fmla="*/ 88 w 115"/>
                <a:gd name="T89" fmla="*/ 202 h 210"/>
                <a:gd name="T90" fmla="*/ 78 w 115"/>
                <a:gd name="T91" fmla="*/ 199 h 210"/>
                <a:gd name="T92" fmla="*/ 101 w 115"/>
                <a:gd name="T93" fmla="*/ 208 h 210"/>
                <a:gd name="T94" fmla="*/ 101 w 115"/>
                <a:gd name="T95" fmla="*/ 210 h 210"/>
                <a:gd name="T96" fmla="*/ 114 w 115"/>
                <a:gd name="T97" fmla="*/ 205 h 210"/>
                <a:gd name="T98" fmla="*/ 107 w 115"/>
                <a:gd name="T99"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5" h="210">
                  <a:moveTo>
                    <a:pt x="34" y="3"/>
                  </a:moveTo>
                  <a:lnTo>
                    <a:pt x="34" y="3"/>
                  </a:lnTo>
                  <a:lnTo>
                    <a:pt x="34" y="0"/>
                  </a:lnTo>
                  <a:lnTo>
                    <a:pt x="31" y="0"/>
                  </a:lnTo>
                  <a:lnTo>
                    <a:pt x="31" y="0"/>
                  </a:lnTo>
                  <a:lnTo>
                    <a:pt x="31" y="2"/>
                  </a:lnTo>
                  <a:lnTo>
                    <a:pt x="34" y="3"/>
                  </a:lnTo>
                  <a:close/>
                  <a:moveTo>
                    <a:pt x="34" y="18"/>
                  </a:moveTo>
                  <a:lnTo>
                    <a:pt x="34" y="18"/>
                  </a:lnTo>
                  <a:lnTo>
                    <a:pt x="34" y="8"/>
                  </a:lnTo>
                  <a:lnTo>
                    <a:pt x="31" y="8"/>
                  </a:lnTo>
                  <a:lnTo>
                    <a:pt x="31" y="8"/>
                  </a:lnTo>
                  <a:lnTo>
                    <a:pt x="31" y="18"/>
                  </a:lnTo>
                  <a:lnTo>
                    <a:pt x="34" y="18"/>
                  </a:lnTo>
                  <a:close/>
                  <a:moveTo>
                    <a:pt x="34" y="32"/>
                  </a:moveTo>
                  <a:lnTo>
                    <a:pt x="34" y="32"/>
                  </a:lnTo>
                  <a:lnTo>
                    <a:pt x="34" y="24"/>
                  </a:lnTo>
                  <a:lnTo>
                    <a:pt x="31" y="24"/>
                  </a:lnTo>
                  <a:lnTo>
                    <a:pt x="31" y="24"/>
                  </a:lnTo>
                  <a:lnTo>
                    <a:pt x="33" y="34"/>
                  </a:lnTo>
                  <a:lnTo>
                    <a:pt x="34" y="32"/>
                  </a:lnTo>
                  <a:close/>
                  <a:moveTo>
                    <a:pt x="40" y="47"/>
                  </a:moveTo>
                  <a:lnTo>
                    <a:pt x="40" y="47"/>
                  </a:lnTo>
                  <a:lnTo>
                    <a:pt x="37" y="37"/>
                  </a:lnTo>
                  <a:lnTo>
                    <a:pt x="34" y="38"/>
                  </a:lnTo>
                  <a:lnTo>
                    <a:pt x="34" y="38"/>
                  </a:lnTo>
                  <a:lnTo>
                    <a:pt x="37" y="47"/>
                  </a:lnTo>
                  <a:lnTo>
                    <a:pt x="40" y="47"/>
                  </a:lnTo>
                  <a:close/>
                  <a:moveTo>
                    <a:pt x="42" y="63"/>
                  </a:moveTo>
                  <a:lnTo>
                    <a:pt x="42" y="63"/>
                  </a:lnTo>
                  <a:lnTo>
                    <a:pt x="42" y="53"/>
                  </a:lnTo>
                  <a:lnTo>
                    <a:pt x="39" y="53"/>
                  </a:lnTo>
                  <a:lnTo>
                    <a:pt x="39" y="53"/>
                  </a:lnTo>
                  <a:lnTo>
                    <a:pt x="40" y="63"/>
                  </a:lnTo>
                  <a:lnTo>
                    <a:pt x="42" y="63"/>
                  </a:lnTo>
                  <a:close/>
                  <a:moveTo>
                    <a:pt x="39" y="77"/>
                  </a:moveTo>
                  <a:lnTo>
                    <a:pt x="39" y="77"/>
                  </a:lnTo>
                  <a:lnTo>
                    <a:pt x="42" y="74"/>
                  </a:lnTo>
                  <a:lnTo>
                    <a:pt x="42" y="70"/>
                  </a:lnTo>
                  <a:lnTo>
                    <a:pt x="42" y="70"/>
                  </a:lnTo>
                  <a:lnTo>
                    <a:pt x="42" y="67"/>
                  </a:lnTo>
                  <a:lnTo>
                    <a:pt x="40" y="67"/>
                  </a:lnTo>
                  <a:lnTo>
                    <a:pt x="40" y="67"/>
                  </a:lnTo>
                  <a:lnTo>
                    <a:pt x="40" y="70"/>
                  </a:lnTo>
                  <a:lnTo>
                    <a:pt x="40" y="70"/>
                  </a:lnTo>
                  <a:lnTo>
                    <a:pt x="39" y="73"/>
                  </a:lnTo>
                  <a:lnTo>
                    <a:pt x="36" y="76"/>
                  </a:lnTo>
                  <a:lnTo>
                    <a:pt x="39" y="77"/>
                  </a:lnTo>
                  <a:close/>
                  <a:moveTo>
                    <a:pt x="26" y="87"/>
                  </a:moveTo>
                  <a:lnTo>
                    <a:pt x="26" y="87"/>
                  </a:lnTo>
                  <a:lnTo>
                    <a:pt x="29" y="86"/>
                  </a:lnTo>
                  <a:lnTo>
                    <a:pt x="29" y="86"/>
                  </a:lnTo>
                  <a:lnTo>
                    <a:pt x="34" y="80"/>
                  </a:lnTo>
                  <a:lnTo>
                    <a:pt x="33" y="79"/>
                  </a:lnTo>
                  <a:lnTo>
                    <a:pt x="33" y="79"/>
                  </a:lnTo>
                  <a:lnTo>
                    <a:pt x="26" y="83"/>
                  </a:lnTo>
                  <a:lnTo>
                    <a:pt x="26" y="83"/>
                  </a:lnTo>
                  <a:lnTo>
                    <a:pt x="24" y="84"/>
                  </a:lnTo>
                  <a:lnTo>
                    <a:pt x="26" y="87"/>
                  </a:lnTo>
                  <a:close/>
                  <a:moveTo>
                    <a:pt x="13" y="95"/>
                  </a:moveTo>
                  <a:lnTo>
                    <a:pt x="13" y="95"/>
                  </a:lnTo>
                  <a:lnTo>
                    <a:pt x="21" y="90"/>
                  </a:lnTo>
                  <a:lnTo>
                    <a:pt x="20" y="87"/>
                  </a:lnTo>
                  <a:lnTo>
                    <a:pt x="20" y="87"/>
                  </a:lnTo>
                  <a:lnTo>
                    <a:pt x="13" y="93"/>
                  </a:lnTo>
                  <a:lnTo>
                    <a:pt x="13" y="95"/>
                  </a:lnTo>
                  <a:close/>
                  <a:moveTo>
                    <a:pt x="1" y="103"/>
                  </a:moveTo>
                  <a:lnTo>
                    <a:pt x="2" y="103"/>
                  </a:lnTo>
                  <a:lnTo>
                    <a:pt x="2" y="103"/>
                  </a:lnTo>
                  <a:lnTo>
                    <a:pt x="10" y="97"/>
                  </a:lnTo>
                  <a:lnTo>
                    <a:pt x="8" y="96"/>
                  </a:lnTo>
                  <a:lnTo>
                    <a:pt x="8" y="96"/>
                  </a:lnTo>
                  <a:lnTo>
                    <a:pt x="2" y="99"/>
                  </a:lnTo>
                  <a:lnTo>
                    <a:pt x="0" y="102"/>
                  </a:lnTo>
                  <a:lnTo>
                    <a:pt x="0" y="103"/>
                  </a:lnTo>
                  <a:lnTo>
                    <a:pt x="1" y="103"/>
                  </a:lnTo>
                  <a:close/>
                  <a:moveTo>
                    <a:pt x="8" y="115"/>
                  </a:moveTo>
                  <a:lnTo>
                    <a:pt x="8" y="115"/>
                  </a:lnTo>
                  <a:lnTo>
                    <a:pt x="2" y="108"/>
                  </a:lnTo>
                  <a:lnTo>
                    <a:pt x="0" y="109"/>
                  </a:lnTo>
                  <a:lnTo>
                    <a:pt x="0" y="109"/>
                  </a:lnTo>
                  <a:lnTo>
                    <a:pt x="2" y="112"/>
                  </a:lnTo>
                  <a:lnTo>
                    <a:pt x="7" y="116"/>
                  </a:lnTo>
                  <a:lnTo>
                    <a:pt x="8" y="115"/>
                  </a:lnTo>
                  <a:lnTo>
                    <a:pt x="8" y="115"/>
                  </a:lnTo>
                  <a:close/>
                  <a:moveTo>
                    <a:pt x="20" y="125"/>
                  </a:moveTo>
                  <a:lnTo>
                    <a:pt x="20" y="125"/>
                  </a:lnTo>
                  <a:lnTo>
                    <a:pt x="17" y="122"/>
                  </a:lnTo>
                  <a:lnTo>
                    <a:pt x="17" y="122"/>
                  </a:lnTo>
                  <a:lnTo>
                    <a:pt x="13" y="118"/>
                  </a:lnTo>
                  <a:lnTo>
                    <a:pt x="11" y="121"/>
                  </a:lnTo>
                  <a:lnTo>
                    <a:pt x="11" y="121"/>
                  </a:lnTo>
                  <a:lnTo>
                    <a:pt x="14" y="124"/>
                  </a:lnTo>
                  <a:lnTo>
                    <a:pt x="14" y="124"/>
                  </a:lnTo>
                  <a:lnTo>
                    <a:pt x="18" y="126"/>
                  </a:lnTo>
                  <a:lnTo>
                    <a:pt x="20" y="125"/>
                  </a:lnTo>
                  <a:close/>
                  <a:moveTo>
                    <a:pt x="33" y="132"/>
                  </a:moveTo>
                  <a:lnTo>
                    <a:pt x="33" y="132"/>
                  </a:lnTo>
                  <a:lnTo>
                    <a:pt x="24" y="128"/>
                  </a:lnTo>
                  <a:lnTo>
                    <a:pt x="23" y="131"/>
                  </a:lnTo>
                  <a:lnTo>
                    <a:pt x="23" y="131"/>
                  </a:lnTo>
                  <a:lnTo>
                    <a:pt x="27" y="132"/>
                  </a:lnTo>
                  <a:lnTo>
                    <a:pt x="31" y="135"/>
                  </a:lnTo>
                  <a:lnTo>
                    <a:pt x="33" y="132"/>
                  </a:lnTo>
                  <a:close/>
                  <a:moveTo>
                    <a:pt x="47" y="132"/>
                  </a:moveTo>
                  <a:lnTo>
                    <a:pt x="47" y="132"/>
                  </a:lnTo>
                  <a:lnTo>
                    <a:pt x="40" y="134"/>
                  </a:lnTo>
                  <a:lnTo>
                    <a:pt x="40" y="134"/>
                  </a:lnTo>
                  <a:lnTo>
                    <a:pt x="37" y="132"/>
                  </a:lnTo>
                  <a:lnTo>
                    <a:pt x="37" y="135"/>
                  </a:lnTo>
                  <a:lnTo>
                    <a:pt x="37" y="135"/>
                  </a:lnTo>
                  <a:lnTo>
                    <a:pt x="40" y="135"/>
                  </a:lnTo>
                  <a:lnTo>
                    <a:pt x="40" y="135"/>
                  </a:lnTo>
                  <a:lnTo>
                    <a:pt x="47" y="135"/>
                  </a:lnTo>
                  <a:lnTo>
                    <a:pt x="47" y="132"/>
                  </a:lnTo>
                  <a:close/>
                  <a:moveTo>
                    <a:pt x="62" y="128"/>
                  </a:moveTo>
                  <a:lnTo>
                    <a:pt x="62" y="128"/>
                  </a:lnTo>
                  <a:lnTo>
                    <a:pt x="52" y="131"/>
                  </a:lnTo>
                  <a:lnTo>
                    <a:pt x="52" y="134"/>
                  </a:lnTo>
                  <a:lnTo>
                    <a:pt x="52" y="134"/>
                  </a:lnTo>
                  <a:lnTo>
                    <a:pt x="62" y="131"/>
                  </a:lnTo>
                  <a:lnTo>
                    <a:pt x="62" y="128"/>
                  </a:lnTo>
                  <a:close/>
                  <a:moveTo>
                    <a:pt x="72" y="138"/>
                  </a:moveTo>
                  <a:lnTo>
                    <a:pt x="72" y="138"/>
                  </a:lnTo>
                  <a:lnTo>
                    <a:pt x="71" y="134"/>
                  </a:lnTo>
                  <a:lnTo>
                    <a:pt x="68" y="129"/>
                  </a:lnTo>
                  <a:lnTo>
                    <a:pt x="66" y="131"/>
                  </a:lnTo>
                  <a:lnTo>
                    <a:pt x="66" y="131"/>
                  </a:lnTo>
                  <a:lnTo>
                    <a:pt x="68" y="135"/>
                  </a:lnTo>
                  <a:lnTo>
                    <a:pt x="71" y="139"/>
                  </a:lnTo>
                  <a:lnTo>
                    <a:pt x="72" y="138"/>
                  </a:lnTo>
                  <a:close/>
                  <a:moveTo>
                    <a:pt x="73" y="154"/>
                  </a:moveTo>
                  <a:lnTo>
                    <a:pt x="73" y="154"/>
                  </a:lnTo>
                  <a:lnTo>
                    <a:pt x="75" y="148"/>
                  </a:lnTo>
                  <a:lnTo>
                    <a:pt x="75" y="148"/>
                  </a:lnTo>
                  <a:lnTo>
                    <a:pt x="75" y="147"/>
                  </a:lnTo>
                  <a:lnTo>
                    <a:pt x="75" y="147"/>
                  </a:lnTo>
                  <a:lnTo>
                    <a:pt x="73" y="144"/>
                  </a:lnTo>
                  <a:lnTo>
                    <a:pt x="72" y="144"/>
                  </a:lnTo>
                  <a:lnTo>
                    <a:pt x="72" y="144"/>
                  </a:lnTo>
                  <a:lnTo>
                    <a:pt x="72" y="147"/>
                  </a:lnTo>
                  <a:lnTo>
                    <a:pt x="72" y="147"/>
                  </a:lnTo>
                  <a:lnTo>
                    <a:pt x="72" y="148"/>
                  </a:lnTo>
                  <a:lnTo>
                    <a:pt x="72" y="148"/>
                  </a:lnTo>
                  <a:lnTo>
                    <a:pt x="72" y="154"/>
                  </a:lnTo>
                  <a:lnTo>
                    <a:pt x="73" y="154"/>
                  </a:lnTo>
                  <a:close/>
                  <a:moveTo>
                    <a:pt x="69" y="168"/>
                  </a:moveTo>
                  <a:lnTo>
                    <a:pt x="69" y="168"/>
                  </a:lnTo>
                  <a:lnTo>
                    <a:pt x="72" y="160"/>
                  </a:lnTo>
                  <a:lnTo>
                    <a:pt x="71" y="158"/>
                  </a:lnTo>
                  <a:lnTo>
                    <a:pt x="71" y="158"/>
                  </a:lnTo>
                  <a:lnTo>
                    <a:pt x="66" y="168"/>
                  </a:lnTo>
                  <a:lnTo>
                    <a:pt x="69" y="168"/>
                  </a:lnTo>
                  <a:close/>
                  <a:moveTo>
                    <a:pt x="66" y="181"/>
                  </a:moveTo>
                  <a:lnTo>
                    <a:pt x="66" y="181"/>
                  </a:lnTo>
                  <a:lnTo>
                    <a:pt x="65" y="177"/>
                  </a:lnTo>
                  <a:lnTo>
                    <a:pt x="65" y="177"/>
                  </a:lnTo>
                  <a:lnTo>
                    <a:pt x="66" y="176"/>
                  </a:lnTo>
                  <a:lnTo>
                    <a:pt x="66" y="176"/>
                  </a:lnTo>
                  <a:lnTo>
                    <a:pt x="66" y="173"/>
                  </a:lnTo>
                  <a:lnTo>
                    <a:pt x="65" y="173"/>
                  </a:lnTo>
                  <a:lnTo>
                    <a:pt x="65" y="173"/>
                  </a:lnTo>
                  <a:lnTo>
                    <a:pt x="63" y="174"/>
                  </a:lnTo>
                  <a:lnTo>
                    <a:pt x="63" y="174"/>
                  </a:lnTo>
                  <a:lnTo>
                    <a:pt x="62" y="177"/>
                  </a:lnTo>
                  <a:lnTo>
                    <a:pt x="62" y="177"/>
                  </a:lnTo>
                  <a:lnTo>
                    <a:pt x="63" y="183"/>
                  </a:lnTo>
                  <a:lnTo>
                    <a:pt x="66" y="181"/>
                  </a:lnTo>
                  <a:close/>
                  <a:moveTo>
                    <a:pt x="75" y="193"/>
                  </a:moveTo>
                  <a:lnTo>
                    <a:pt x="75" y="193"/>
                  </a:lnTo>
                  <a:lnTo>
                    <a:pt x="73" y="192"/>
                  </a:lnTo>
                  <a:lnTo>
                    <a:pt x="73" y="192"/>
                  </a:lnTo>
                  <a:lnTo>
                    <a:pt x="69" y="186"/>
                  </a:lnTo>
                  <a:lnTo>
                    <a:pt x="66" y="187"/>
                  </a:lnTo>
                  <a:lnTo>
                    <a:pt x="66" y="187"/>
                  </a:lnTo>
                  <a:lnTo>
                    <a:pt x="72" y="193"/>
                  </a:lnTo>
                  <a:lnTo>
                    <a:pt x="72" y="193"/>
                  </a:lnTo>
                  <a:lnTo>
                    <a:pt x="73" y="196"/>
                  </a:lnTo>
                  <a:lnTo>
                    <a:pt x="75" y="193"/>
                  </a:lnTo>
                  <a:close/>
                  <a:moveTo>
                    <a:pt x="88" y="202"/>
                  </a:moveTo>
                  <a:lnTo>
                    <a:pt x="88" y="202"/>
                  </a:lnTo>
                  <a:lnTo>
                    <a:pt x="79" y="197"/>
                  </a:lnTo>
                  <a:lnTo>
                    <a:pt x="78" y="199"/>
                  </a:lnTo>
                  <a:lnTo>
                    <a:pt x="78" y="199"/>
                  </a:lnTo>
                  <a:lnTo>
                    <a:pt x="86" y="205"/>
                  </a:lnTo>
                  <a:lnTo>
                    <a:pt x="88" y="202"/>
                  </a:lnTo>
                  <a:close/>
                  <a:moveTo>
                    <a:pt x="101" y="208"/>
                  </a:moveTo>
                  <a:lnTo>
                    <a:pt x="101" y="208"/>
                  </a:lnTo>
                  <a:lnTo>
                    <a:pt x="92" y="205"/>
                  </a:lnTo>
                  <a:lnTo>
                    <a:pt x="91" y="208"/>
                  </a:lnTo>
                  <a:lnTo>
                    <a:pt x="91" y="208"/>
                  </a:lnTo>
                  <a:lnTo>
                    <a:pt x="101" y="210"/>
                  </a:lnTo>
                  <a:lnTo>
                    <a:pt x="101" y="208"/>
                  </a:lnTo>
                  <a:close/>
                  <a:moveTo>
                    <a:pt x="114" y="203"/>
                  </a:moveTo>
                  <a:lnTo>
                    <a:pt x="114" y="203"/>
                  </a:lnTo>
                  <a:lnTo>
                    <a:pt x="114" y="205"/>
                  </a:lnTo>
                  <a:lnTo>
                    <a:pt x="114" y="205"/>
                  </a:lnTo>
                  <a:lnTo>
                    <a:pt x="105" y="208"/>
                  </a:lnTo>
                  <a:lnTo>
                    <a:pt x="107" y="210"/>
                  </a:lnTo>
                  <a:lnTo>
                    <a:pt x="107" y="210"/>
                  </a:lnTo>
                  <a:lnTo>
                    <a:pt x="113" y="208"/>
                  </a:lnTo>
                  <a:lnTo>
                    <a:pt x="115" y="206"/>
                  </a:lnTo>
                  <a:lnTo>
                    <a:pt x="114" y="2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27" name="Freeform 1687"/>
            <p:cNvSpPr>
              <a:spLocks noEditPoints="1"/>
            </p:cNvSpPr>
            <p:nvPr/>
          </p:nvSpPr>
          <p:spPr bwMode="auto">
            <a:xfrm>
              <a:off x="4740276" y="3316716"/>
              <a:ext cx="150813" cy="36513"/>
            </a:xfrm>
            <a:custGeom>
              <a:avLst/>
              <a:gdLst>
                <a:gd name="T0" fmla="*/ 11 w 95"/>
                <a:gd name="T1" fmla="*/ 17 h 23"/>
                <a:gd name="T2" fmla="*/ 2 w 95"/>
                <a:gd name="T3" fmla="*/ 23 h 23"/>
                <a:gd name="T4" fmla="*/ 12 w 95"/>
                <a:gd name="T5" fmla="*/ 19 h 23"/>
                <a:gd name="T6" fmla="*/ 22 w 95"/>
                <a:gd name="T7" fmla="*/ 8 h 23"/>
                <a:gd name="T8" fmla="*/ 16 w 95"/>
                <a:gd name="T9" fmla="*/ 14 h 23"/>
                <a:gd name="T10" fmla="*/ 15 w 95"/>
                <a:gd name="T11" fmla="*/ 14 h 23"/>
                <a:gd name="T12" fmla="*/ 16 w 95"/>
                <a:gd name="T13" fmla="*/ 17 h 23"/>
                <a:gd name="T14" fmla="*/ 18 w 95"/>
                <a:gd name="T15" fmla="*/ 16 h 23"/>
                <a:gd name="T16" fmla="*/ 22 w 95"/>
                <a:gd name="T17" fmla="*/ 8 h 23"/>
                <a:gd name="T18" fmla="*/ 37 w 95"/>
                <a:gd name="T19" fmla="*/ 1 h 23"/>
                <a:gd name="T20" fmla="*/ 31 w 95"/>
                <a:gd name="T21" fmla="*/ 3 h 23"/>
                <a:gd name="T22" fmla="*/ 28 w 95"/>
                <a:gd name="T23" fmla="*/ 7 h 23"/>
                <a:gd name="T24" fmla="*/ 31 w 95"/>
                <a:gd name="T25" fmla="*/ 6 h 23"/>
                <a:gd name="T26" fmla="*/ 37 w 95"/>
                <a:gd name="T27" fmla="*/ 4 h 23"/>
                <a:gd name="T28" fmla="*/ 51 w 95"/>
                <a:gd name="T29" fmla="*/ 4 h 23"/>
                <a:gd name="T30" fmla="*/ 50 w 95"/>
                <a:gd name="T31" fmla="*/ 3 h 23"/>
                <a:gd name="T32" fmla="*/ 41 w 95"/>
                <a:gd name="T33" fmla="*/ 1 h 23"/>
                <a:gd name="T34" fmla="*/ 41 w 95"/>
                <a:gd name="T35" fmla="*/ 4 h 23"/>
                <a:gd name="T36" fmla="*/ 48 w 95"/>
                <a:gd name="T37" fmla="*/ 6 h 23"/>
                <a:gd name="T38" fmla="*/ 51 w 95"/>
                <a:gd name="T39" fmla="*/ 4 h 23"/>
                <a:gd name="T40" fmla="*/ 66 w 95"/>
                <a:gd name="T41" fmla="*/ 3 h 23"/>
                <a:gd name="T42" fmla="*/ 64 w 95"/>
                <a:gd name="T43" fmla="*/ 3 h 23"/>
                <a:gd name="T44" fmla="*/ 61 w 95"/>
                <a:gd name="T45" fmla="*/ 3 h 23"/>
                <a:gd name="T46" fmla="*/ 57 w 95"/>
                <a:gd name="T47" fmla="*/ 6 h 23"/>
                <a:gd name="T48" fmla="*/ 61 w 95"/>
                <a:gd name="T49" fmla="*/ 6 h 23"/>
                <a:gd name="T50" fmla="*/ 64 w 95"/>
                <a:gd name="T51" fmla="*/ 6 h 23"/>
                <a:gd name="T52" fmla="*/ 67 w 95"/>
                <a:gd name="T53" fmla="*/ 4 h 23"/>
                <a:gd name="T54" fmla="*/ 82 w 95"/>
                <a:gd name="T55" fmla="*/ 1 h 23"/>
                <a:gd name="T56" fmla="*/ 79 w 95"/>
                <a:gd name="T57" fmla="*/ 0 h 23"/>
                <a:gd name="T58" fmla="*/ 71 w 95"/>
                <a:gd name="T59" fmla="*/ 1 h 23"/>
                <a:gd name="T60" fmla="*/ 71 w 95"/>
                <a:gd name="T61" fmla="*/ 3 h 23"/>
                <a:gd name="T62" fmla="*/ 79 w 95"/>
                <a:gd name="T63" fmla="*/ 3 h 23"/>
                <a:gd name="T64" fmla="*/ 82 w 95"/>
                <a:gd name="T65" fmla="*/ 1 h 23"/>
                <a:gd name="T66" fmla="*/ 95 w 95"/>
                <a:gd name="T67" fmla="*/ 8 h 23"/>
                <a:gd name="T68" fmla="*/ 86 w 95"/>
                <a:gd name="T69" fmla="*/ 6 h 23"/>
                <a:gd name="T70" fmla="*/ 93 w 95"/>
                <a:gd name="T71"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 h="23">
                  <a:moveTo>
                    <a:pt x="11" y="17"/>
                  </a:moveTo>
                  <a:lnTo>
                    <a:pt x="11" y="17"/>
                  </a:lnTo>
                  <a:lnTo>
                    <a:pt x="0" y="20"/>
                  </a:lnTo>
                  <a:lnTo>
                    <a:pt x="2" y="23"/>
                  </a:lnTo>
                  <a:lnTo>
                    <a:pt x="2" y="23"/>
                  </a:lnTo>
                  <a:lnTo>
                    <a:pt x="12" y="19"/>
                  </a:lnTo>
                  <a:lnTo>
                    <a:pt x="11" y="17"/>
                  </a:lnTo>
                  <a:close/>
                  <a:moveTo>
                    <a:pt x="22" y="8"/>
                  </a:moveTo>
                  <a:lnTo>
                    <a:pt x="22" y="8"/>
                  </a:lnTo>
                  <a:lnTo>
                    <a:pt x="16" y="14"/>
                  </a:lnTo>
                  <a:lnTo>
                    <a:pt x="16" y="14"/>
                  </a:lnTo>
                  <a:lnTo>
                    <a:pt x="15" y="14"/>
                  </a:lnTo>
                  <a:lnTo>
                    <a:pt x="16" y="17"/>
                  </a:lnTo>
                  <a:lnTo>
                    <a:pt x="16" y="17"/>
                  </a:lnTo>
                  <a:lnTo>
                    <a:pt x="18" y="16"/>
                  </a:lnTo>
                  <a:lnTo>
                    <a:pt x="18" y="16"/>
                  </a:lnTo>
                  <a:lnTo>
                    <a:pt x="24" y="10"/>
                  </a:lnTo>
                  <a:lnTo>
                    <a:pt x="22" y="8"/>
                  </a:lnTo>
                  <a:close/>
                  <a:moveTo>
                    <a:pt x="37" y="1"/>
                  </a:moveTo>
                  <a:lnTo>
                    <a:pt x="37" y="1"/>
                  </a:lnTo>
                  <a:lnTo>
                    <a:pt x="31" y="3"/>
                  </a:lnTo>
                  <a:lnTo>
                    <a:pt x="31" y="3"/>
                  </a:lnTo>
                  <a:lnTo>
                    <a:pt x="27" y="6"/>
                  </a:lnTo>
                  <a:lnTo>
                    <a:pt x="28" y="7"/>
                  </a:lnTo>
                  <a:lnTo>
                    <a:pt x="28" y="7"/>
                  </a:lnTo>
                  <a:lnTo>
                    <a:pt x="31" y="6"/>
                  </a:lnTo>
                  <a:lnTo>
                    <a:pt x="31" y="6"/>
                  </a:lnTo>
                  <a:lnTo>
                    <a:pt x="37" y="4"/>
                  </a:lnTo>
                  <a:lnTo>
                    <a:pt x="37" y="1"/>
                  </a:lnTo>
                  <a:close/>
                  <a:moveTo>
                    <a:pt x="51" y="4"/>
                  </a:moveTo>
                  <a:lnTo>
                    <a:pt x="51" y="4"/>
                  </a:lnTo>
                  <a:lnTo>
                    <a:pt x="50" y="3"/>
                  </a:lnTo>
                  <a:lnTo>
                    <a:pt x="50" y="3"/>
                  </a:lnTo>
                  <a:lnTo>
                    <a:pt x="41" y="1"/>
                  </a:lnTo>
                  <a:lnTo>
                    <a:pt x="41" y="4"/>
                  </a:lnTo>
                  <a:lnTo>
                    <a:pt x="41" y="4"/>
                  </a:lnTo>
                  <a:lnTo>
                    <a:pt x="48" y="6"/>
                  </a:lnTo>
                  <a:lnTo>
                    <a:pt x="48" y="6"/>
                  </a:lnTo>
                  <a:lnTo>
                    <a:pt x="51" y="6"/>
                  </a:lnTo>
                  <a:lnTo>
                    <a:pt x="51" y="4"/>
                  </a:lnTo>
                  <a:close/>
                  <a:moveTo>
                    <a:pt x="66" y="3"/>
                  </a:moveTo>
                  <a:lnTo>
                    <a:pt x="66" y="3"/>
                  </a:lnTo>
                  <a:lnTo>
                    <a:pt x="64" y="3"/>
                  </a:lnTo>
                  <a:lnTo>
                    <a:pt x="64" y="3"/>
                  </a:lnTo>
                  <a:lnTo>
                    <a:pt x="61" y="3"/>
                  </a:lnTo>
                  <a:lnTo>
                    <a:pt x="61" y="3"/>
                  </a:lnTo>
                  <a:lnTo>
                    <a:pt x="57" y="4"/>
                  </a:lnTo>
                  <a:lnTo>
                    <a:pt x="57" y="6"/>
                  </a:lnTo>
                  <a:lnTo>
                    <a:pt x="57" y="6"/>
                  </a:lnTo>
                  <a:lnTo>
                    <a:pt x="61" y="6"/>
                  </a:lnTo>
                  <a:lnTo>
                    <a:pt x="61" y="6"/>
                  </a:lnTo>
                  <a:lnTo>
                    <a:pt x="64" y="6"/>
                  </a:lnTo>
                  <a:lnTo>
                    <a:pt x="64" y="6"/>
                  </a:lnTo>
                  <a:lnTo>
                    <a:pt x="67" y="4"/>
                  </a:lnTo>
                  <a:lnTo>
                    <a:pt x="66" y="3"/>
                  </a:lnTo>
                  <a:close/>
                  <a:moveTo>
                    <a:pt x="82" y="1"/>
                  </a:moveTo>
                  <a:lnTo>
                    <a:pt x="82" y="1"/>
                  </a:lnTo>
                  <a:lnTo>
                    <a:pt x="79" y="0"/>
                  </a:lnTo>
                  <a:lnTo>
                    <a:pt x="79" y="0"/>
                  </a:lnTo>
                  <a:lnTo>
                    <a:pt x="71" y="1"/>
                  </a:lnTo>
                  <a:lnTo>
                    <a:pt x="71" y="3"/>
                  </a:lnTo>
                  <a:lnTo>
                    <a:pt x="71" y="3"/>
                  </a:lnTo>
                  <a:lnTo>
                    <a:pt x="79" y="3"/>
                  </a:lnTo>
                  <a:lnTo>
                    <a:pt x="79" y="3"/>
                  </a:lnTo>
                  <a:lnTo>
                    <a:pt x="82" y="3"/>
                  </a:lnTo>
                  <a:lnTo>
                    <a:pt x="82" y="1"/>
                  </a:lnTo>
                  <a:close/>
                  <a:moveTo>
                    <a:pt x="95" y="8"/>
                  </a:moveTo>
                  <a:lnTo>
                    <a:pt x="95" y="8"/>
                  </a:lnTo>
                  <a:lnTo>
                    <a:pt x="86" y="3"/>
                  </a:lnTo>
                  <a:lnTo>
                    <a:pt x="86" y="6"/>
                  </a:lnTo>
                  <a:lnTo>
                    <a:pt x="86" y="6"/>
                  </a:lnTo>
                  <a:lnTo>
                    <a:pt x="93" y="11"/>
                  </a:lnTo>
                  <a:lnTo>
                    <a:pt x="9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28" name="Freeform 1688"/>
            <p:cNvSpPr>
              <a:spLocks noEditPoints="1"/>
            </p:cNvSpPr>
            <p:nvPr/>
          </p:nvSpPr>
          <p:spPr bwMode="auto">
            <a:xfrm>
              <a:off x="4686301" y="3246866"/>
              <a:ext cx="107950" cy="76200"/>
            </a:xfrm>
            <a:custGeom>
              <a:avLst/>
              <a:gdLst>
                <a:gd name="T0" fmla="*/ 11 w 68"/>
                <a:gd name="T1" fmla="*/ 2 h 48"/>
                <a:gd name="T2" fmla="*/ 11 w 68"/>
                <a:gd name="T3" fmla="*/ 2 h 48"/>
                <a:gd name="T4" fmla="*/ 1 w 68"/>
                <a:gd name="T5" fmla="*/ 0 h 48"/>
                <a:gd name="T6" fmla="*/ 0 w 68"/>
                <a:gd name="T7" fmla="*/ 2 h 48"/>
                <a:gd name="T8" fmla="*/ 0 w 68"/>
                <a:gd name="T9" fmla="*/ 2 h 48"/>
                <a:gd name="T10" fmla="*/ 10 w 68"/>
                <a:gd name="T11" fmla="*/ 5 h 48"/>
                <a:gd name="T12" fmla="*/ 11 w 68"/>
                <a:gd name="T13" fmla="*/ 2 h 48"/>
                <a:gd name="T14" fmla="*/ 20 w 68"/>
                <a:gd name="T15" fmla="*/ 15 h 48"/>
                <a:gd name="T16" fmla="*/ 20 w 68"/>
                <a:gd name="T17" fmla="*/ 15 h 48"/>
                <a:gd name="T18" fmla="*/ 19 w 68"/>
                <a:gd name="T19" fmla="*/ 9 h 48"/>
                <a:gd name="T20" fmla="*/ 19 w 68"/>
                <a:gd name="T21" fmla="*/ 9 h 48"/>
                <a:gd name="T22" fmla="*/ 16 w 68"/>
                <a:gd name="T23" fmla="*/ 5 h 48"/>
                <a:gd name="T24" fmla="*/ 14 w 68"/>
                <a:gd name="T25" fmla="*/ 6 h 48"/>
                <a:gd name="T26" fmla="*/ 14 w 68"/>
                <a:gd name="T27" fmla="*/ 6 h 48"/>
                <a:gd name="T28" fmla="*/ 16 w 68"/>
                <a:gd name="T29" fmla="*/ 10 h 48"/>
                <a:gd name="T30" fmla="*/ 16 w 68"/>
                <a:gd name="T31" fmla="*/ 10 h 48"/>
                <a:gd name="T32" fmla="*/ 17 w 68"/>
                <a:gd name="T33" fmla="*/ 15 h 48"/>
                <a:gd name="T34" fmla="*/ 20 w 68"/>
                <a:gd name="T35" fmla="*/ 15 h 48"/>
                <a:gd name="T36" fmla="*/ 33 w 68"/>
                <a:gd name="T37" fmla="*/ 19 h 48"/>
                <a:gd name="T38" fmla="*/ 33 w 68"/>
                <a:gd name="T39" fmla="*/ 19 h 48"/>
                <a:gd name="T40" fmla="*/ 30 w 68"/>
                <a:gd name="T41" fmla="*/ 18 h 48"/>
                <a:gd name="T42" fmla="*/ 30 w 68"/>
                <a:gd name="T43" fmla="*/ 18 h 48"/>
                <a:gd name="T44" fmla="*/ 23 w 68"/>
                <a:gd name="T45" fmla="*/ 16 h 48"/>
                <a:gd name="T46" fmla="*/ 23 w 68"/>
                <a:gd name="T47" fmla="*/ 19 h 48"/>
                <a:gd name="T48" fmla="*/ 23 w 68"/>
                <a:gd name="T49" fmla="*/ 19 h 48"/>
                <a:gd name="T50" fmla="*/ 29 w 68"/>
                <a:gd name="T51" fmla="*/ 21 h 48"/>
                <a:gd name="T52" fmla="*/ 29 w 68"/>
                <a:gd name="T53" fmla="*/ 21 h 48"/>
                <a:gd name="T54" fmla="*/ 32 w 68"/>
                <a:gd name="T55" fmla="*/ 22 h 48"/>
                <a:gd name="T56" fmla="*/ 33 w 68"/>
                <a:gd name="T57" fmla="*/ 19 h 48"/>
                <a:gd name="T58" fmla="*/ 46 w 68"/>
                <a:gd name="T59" fmla="*/ 26 h 48"/>
                <a:gd name="T60" fmla="*/ 46 w 68"/>
                <a:gd name="T61" fmla="*/ 26 h 48"/>
                <a:gd name="T62" fmla="*/ 37 w 68"/>
                <a:gd name="T63" fmla="*/ 22 h 48"/>
                <a:gd name="T64" fmla="*/ 36 w 68"/>
                <a:gd name="T65" fmla="*/ 23 h 48"/>
                <a:gd name="T66" fmla="*/ 36 w 68"/>
                <a:gd name="T67" fmla="*/ 23 h 48"/>
                <a:gd name="T68" fmla="*/ 46 w 68"/>
                <a:gd name="T69" fmla="*/ 28 h 48"/>
                <a:gd name="T70" fmla="*/ 46 w 68"/>
                <a:gd name="T71" fmla="*/ 26 h 48"/>
                <a:gd name="T72" fmla="*/ 61 w 68"/>
                <a:gd name="T73" fmla="*/ 34 h 48"/>
                <a:gd name="T74" fmla="*/ 61 w 68"/>
                <a:gd name="T75" fmla="*/ 34 h 48"/>
                <a:gd name="T76" fmla="*/ 52 w 68"/>
                <a:gd name="T77" fmla="*/ 28 h 48"/>
                <a:gd name="T78" fmla="*/ 50 w 68"/>
                <a:gd name="T79" fmla="*/ 31 h 48"/>
                <a:gd name="T80" fmla="*/ 50 w 68"/>
                <a:gd name="T81" fmla="*/ 31 h 48"/>
                <a:gd name="T82" fmla="*/ 59 w 68"/>
                <a:gd name="T83" fmla="*/ 35 h 48"/>
                <a:gd name="T84" fmla="*/ 61 w 68"/>
                <a:gd name="T85" fmla="*/ 34 h 48"/>
                <a:gd name="T86" fmla="*/ 68 w 68"/>
                <a:gd name="T87" fmla="*/ 47 h 48"/>
                <a:gd name="T88" fmla="*/ 68 w 68"/>
                <a:gd name="T89" fmla="*/ 47 h 48"/>
                <a:gd name="T90" fmla="*/ 66 w 68"/>
                <a:gd name="T91" fmla="*/ 42 h 48"/>
                <a:gd name="T92" fmla="*/ 63 w 68"/>
                <a:gd name="T93" fmla="*/ 38 h 48"/>
                <a:gd name="T94" fmla="*/ 62 w 68"/>
                <a:gd name="T95" fmla="*/ 38 h 48"/>
                <a:gd name="T96" fmla="*/ 62 w 68"/>
                <a:gd name="T97" fmla="*/ 38 h 48"/>
                <a:gd name="T98" fmla="*/ 65 w 68"/>
                <a:gd name="T99" fmla="*/ 48 h 48"/>
                <a:gd name="T100" fmla="*/ 68 w 68"/>
                <a:gd name="T101" fmla="*/ 4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8" h="48">
                  <a:moveTo>
                    <a:pt x="11" y="2"/>
                  </a:moveTo>
                  <a:lnTo>
                    <a:pt x="11" y="2"/>
                  </a:lnTo>
                  <a:lnTo>
                    <a:pt x="1" y="0"/>
                  </a:lnTo>
                  <a:lnTo>
                    <a:pt x="0" y="2"/>
                  </a:lnTo>
                  <a:lnTo>
                    <a:pt x="0" y="2"/>
                  </a:lnTo>
                  <a:lnTo>
                    <a:pt x="10" y="5"/>
                  </a:lnTo>
                  <a:lnTo>
                    <a:pt x="11" y="2"/>
                  </a:lnTo>
                  <a:close/>
                  <a:moveTo>
                    <a:pt x="20" y="15"/>
                  </a:moveTo>
                  <a:lnTo>
                    <a:pt x="20" y="15"/>
                  </a:lnTo>
                  <a:lnTo>
                    <a:pt x="19" y="9"/>
                  </a:lnTo>
                  <a:lnTo>
                    <a:pt x="19" y="9"/>
                  </a:lnTo>
                  <a:lnTo>
                    <a:pt x="16" y="5"/>
                  </a:lnTo>
                  <a:lnTo>
                    <a:pt x="14" y="6"/>
                  </a:lnTo>
                  <a:lnTo>
                    <a:pt x="14" y="6"/>
                  </a:lnTo>
                  <a:lnTo>
                    <a:pt x="16" y="10"/>
                  </a:lnTo>
                  <a:lnTo>
                    <a:pt x="16" y="10"/>
                  </a:lnTo>
                  <a:lnTo>
                    <a:pt x="17" y="15"/>
                  </a:lnTo>
                  <a:lnTo>
                    <a:pt x="20" y="15"/>
                  </a:lnTo>
                  <a:close/>
                  <a:moveTo>
                    <a:pt x="33" y="19"/>
                  </a:moveTo>
                  <a:lnTo>
                    <a:pt x="33" y="19"/>
                  </a:lnTo>
                  <a:lnTo>
                    <a:pt x="30" y="18"/>
                  </a:lnTo>
                  <a:lnTo>
                    <a:pt x="30" y="18"/>
                  </a:lnTo>
                  <a:lnTo>
                    <a:pt x="23" y="16"/>
                  </a:lnTo>
                  <a:lnTo>
                    <a:pt x="23" y="19"/>
                  </a:lnTo>
                  <a:lnTo>
                    <a:pt x="23" y="19"/>
                  </a:lnTo>
                  <a:lnTo>
                    <a:pt x="29" y="21"/>
                  </a:lnTo>
                  <a:lnTo>
                    <a:pt x="29" y="21"/>
                  </a:lnTo>
                  <a:lnTo>
                    <a:pt x="32" y="22"/>
                  </a:lnTo>
                  <a:lnTo>
                    <a:pt x="33" y="19"/>
                  </a:lnTo>
                  <a:close/>
                  <a:moveTo>
                    <a:pt x="46" y="26"/>
                  </a:moveTo>
                  <a:lnTo>
                    <a:pt x="46" y="26"/>
                  </a:lnTo>
                  <a:lnTo>
                    <a:pt x="37" y="22"/>
                  </a:lnTo>
                  <a:lnTo>
                    <a:pt x="36" y="23"/>
                  </a:lnTo>
                  <a:lnTo>
                    <a:pt x="36" y="23"/>
                  </a:lnTo>
                  <a:lnTo>
                    <a:pt x="46" y="28"/>
                  </a:lnTo>
                  <a:lnTo>
                    <a:pt x="46" y="26"/>
                  </a:lnTo>
                  <a:close/>
                  <a:moveTo>
                    <a:pt x="61" y="34"/>
                  </a:moveTo>
                  <a:lnTo>
                    <a:pt x="61" y="34"/>
                  </a:lnTo>
                  <a:lnTo>
                    <a:pt x="52" y="28"/>
                  </a:lnTo>
                  <a:lnTo>
                    <a:pt x="50" y="31"/>
                  </a:lnTo>
                  <a:lnTo>
                    <a:pt x="50" y="31"/>
                  </a:lnTo>
                  <a:lnTo>
                    <a:pt x="59" y="35"/>
                  </a:lnTo>
                  <a:lnTo>
                    <a:pt x="61" y="34"/>
                  </a:lnTo>
                  <a:close/>
                  <a:moveTo>
                    <a:pt x="68" y="47"/>
                  </a:moveTo>
                  <a:lnTo>
                    <a:pt x="68" y="47"/>
                  </a:lnTo>
                  <a:lnTo>
                    <a:pt x="66" y="42"/>
                  </a:lnTo>
                  <a:lnTo>
                    <a:pt x="63" y="38"/>
                  </a:lnTo>
                  <a:lnTo>
                    <a:pt x="62" y="38"/>
                  </a:lnTo>
                  <a:lnTo>
                    <a:pt x="62" y="38"/>
                  </a:lnTo>
                  <a:lnTo>
                    <a:pt x="65" y="48"/>
                  </a:lnTo>
                  <a:lnTo>
                    <a:pt x="68"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29" name="Freeform 1689"/>
            <p:cNvSpPr>
              <a:spLocks noEditPoints="1"/>
            </p:cNvSpPr>
            <p:nvPr/>
          </p:nvSpPr>
          <p:spPr bwMode="auto">
            <a:xfrm>
              <a:off x="4660901" y="3438954"/>
              <a:ext cx="82550" cy="36513"/>
            </a:xfrm>
            <a:custGeom>
              <a:avLst/>
              <a:gdLst>
                <a:gd name="T0" fmla="*/ 42 w 52"/>
                <a:gd name="T1" fmla="*/ 4 h 23"/>
                <a:gd name="T2" fmla="*/ 42 w 52"/>
                <a:gd name="T3" fmla="*/ 4 h 23"/>
                <a:gd name="T4" fmla="*/ 52 w 52"/>
                <a:gd name="T5" fmla="*/ 2 h 23"/>
                <a:gd name="T6" fmla="*/ 50 w 52"/>
                <a:gd name="T7" fmla="*/ 0 h 23"/>
                <a:gd name="T8" fmla="*/ 50 w 52"/>
                <a:gd name="T9" fmla="*/ 0 h 23"/>
                <a:gd name="T10" fmla="*/ 40 w 52"/>
                <a:gd name="T11" fmla="*/ 2 h 23"/>
                <a:gd name="T12" fmla="*/ 42 w 52"/>
                <a:gd name="T13" fmla="*/ 4 h 23"/>
                <a:gd name="T14" fmla="*/ 27 w 52"/>
                <a:gd name="T15" fmla="*/ 8 h 23"/>
                <a:gd name="T16" fmla="*/ 27 w 52"/>
                <a:gd name="T17" fmla="*/ 8 h 23"/>
                <a:gd name="T18" fmla="*/ 36 w 52"/>
                <a:gd name="T19" fmla="*/ 5 h 23"/>
                <a:gd name="T20" fmla="*/ 36 w 52"/>
                <a:gd name="T21" fmla="*/ 2 h 23"/>
                <a:gd name="T22" fmla="*/ 36 w 52"/>
                <a:gd name="T23" fmla="*/ 2 h 23"/>
                <a:gd name="T24" fmla="*/ 26 w 52"/>
                <a:gd name="T25" fmla="*/ 5 h 23"/>
                <a:gd name="T26" fmla="*/ 27 w 52"/>
                <a:gd name="T27" fmla="*/ 8 h 23"/>
                <a:gd name="T28" fmla="*/ 13 w 52"/>
                <a:gd name="T29" fmla="*/ 14 h 23"/>
                <a:gd name="T30" fmla="*/ 13 w 52"/>
                <a:gd name="T31" fmla="*/ 14 h 23"/>
                <a:gd name="T32" fmla="*/ 16 w 52"/>
                <a:gd name="T33" fmla="*/ 11 h 23"/>
                <a:gd name="T34" fmla="*/ 16 w 52"/>
                <a:gd name="T35" fmla="*/ 11 h 23"/>
                <a:gd name="T36" fmla="*/ 21 w 52"/>
                <a:gd name="T37" fmla="*/ 10 h 23"/>
                <a:gd name="T38" fmla="*/ 21 w 52"/>
                <a:gd name="T39" fmla="*/ 7 h 23"/>
                <a:gd name="T40" fmla="*/ 21 w 52"/>
                <a:gd name="T41" fmla="*/ 7 h 23"/>
                <a:gd name="T42" fmla="*/ 14 w 52"/>
                <a:gd name="T43" fmla="*/ 10 h 23"/>
                <a:gd name="T44" fmla="*/ 14 w 52"/>
                <a:gd name="T45" fmla="*/ 10 h 23"/>
                <a:gd name="T46" fmla="*/ 11 w 52"/>
                <a:gd name="T47" fmla="*/ 11 h 23"/>
                <a:gd name="T48" fmla="*/ 13 w 52"/>
                <a:gd name="T49" fmla="*/ 14 h 23"/>
                <a:gd name="T50" fmla="*/ 1 w 52"/>
                <a:gd name="T51" fmla="*/ 23 h 23"/>
                <a:gd name="T52" fmla="*/ 1 w 52"/>
                <a:gd name="T53" fmla="*/ 23 h 23"/>
                <a:gd name="T54" fmla="*/ 10 w 52"/>
                <a:gd name="T55" fmla="*/ 17 h 23"/>
                <a:gd name="T56" fmla="*/ 8 w 52"/>
                <a:gd name="T57" fmla="*/ 15 h 23"/>
                <a:gd name="T58" fmla="*/ 8 w 52"/>
                <a:gd name="T59" fmla="*/ 15 h 23"/>
                <a:gd name="T60" fmla="*/ 0 w 52"/>
                <a:gd name="T61" fmla="*/ 21 h 23"/>
                <a:gd name="T62" fmla="*/ 1 w 52"/>
                <a:gd name="T63"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23">
                  <a:moveTo>
                    <a:pt x="42" y="4"/>
                  </a:moveTo>
                  <a:lnTo>
                    <a:pt x="42" y="4"/>
                  </a:lnTo>
                  <a:lnTo>
                    <a:pt x="52" y="2"/>
                  </a:lnTo>
                  <a:lnTo>
                    <a:pt x="50" y="0"/>
                  </a:lnTo>
                  <a:lnTo>
                    <a:pt x="50" y="0"/>
                  </a:lnTo>
                  <a:lnTo>
                    <a:pt x="40" y="2"/>
                  </a:lnTo>
                  <a:lnTo>
                    <a:pt x="42" y="4"/>
                  </a:lnTo>
                  <a:close/>
                  <a:moveTo>
                    <a:pt x="27" y="8"/>
                  </a:moveTo>
                  <a:lnTo>
                    <a:pt x="27" y="8"/>
                  </a:lnTo>
                  <a:lnTo>
                    <a:pt x="36" y="5"/>
                  </a:lnTo>
                  <a:lnTo>
                    <a:pt x="36" y="2"/>
                  </a:lnTo>
                  <a:lnTo>
                    <a:pt x="36" y="2"/>
                  </a:lnTo>
                  <a:lnTo>
                    <a:pt x="26" y="5"/>
                  </a:lnTo>
                  <a:lnTo>
                    <a:pt x="27" y="8"/>
                  </a:lnTo>
                  <a:close/>
                  <a:moveTo>
                    <a:pt x="13" y="14"/>
                  </a:moveTo>
                  <a:lnTo>
                    <a:pt x="13" y="14"/>
                  </a:lnTo>
                  <a:lnTo>
                    <a:pt x="16" y="11"/>
                  </a:lnTo>
                  <a:lnTo>
                    <a:pt x="16" y="11"/>
                  </a:lnTo>
                  <a:lnTo>
                    <a:pt x="21" y="10"/>
                  </a:lnTo>
                  <a:lnTo>
                    <a:pt x="21" y="7"/>
                  </a:lnTo>
                  <a:lnTo>
                    <a:pt x="21" y="7"/>
                  </a:lnTo>
                  <a:lnTo>
                    <a:pt x="14" y="10"/>
                  </a:lnTo>
                  <a:lnTo>
                    <a:pt x="14" y="10"/>
                  </a:lnTo>
                  <a:lnTo>
                    <a:pt x="11" y="11"/>
                  </a:lnTo>
                  <a:lnTo>
                    <a:pt x="13" y="14"/>
                  </a:lnTo>
                  <a:close/>
                  <a:moveTo>
                    <a:pt x="1" y="23"/>
                  </a:moveTo>
                  <a:lnTo>
                    <a:pt x="1" y="23"/>
                  </a:lnTo>
                  <a:lnTo>
                    <a:pt x="10" y="17"/>
                  </a:lnTo>
                  <a:lnTo>
                    <a:pt x="8" y="15"/>
                  </a:lnTo>
                  <a:lnTo>
                    <a:pt x="8" y="15"/>
                  </a:lnTo>
                  <a:lnTo>
                    <a:pt x="0" y="21"/>
                  </a:lnTo>
                  <a:lnTo>
                    <a:pt x="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30" name="Freeform 1690"/>
            <p:cNvSpPr>
              <a:spLocks noEditPoints="1"/>
            </p:cNvSpPr>
            <p:nvPr/>
          </p:nvSpPr>
          <p:spPr bwMode="auto">
            <a:xfrm>
              <a:off x="4656138" y="3419904"/>
              <a:ext cx="73025" cy="15875"/>
            </a:xfrm>
            <a:custGeom>
              <a:avLst/>
              <a:gdLst>
                <a:gd name="T0" fmla="*/ 1 w 46"/>
                <a:gd name="T1" fmla="*/ 7 h 10"/>
                <a:gd name="T2" fmla="*/ 0 w 46"/>
                <a:gd name="T3" fmla="*/ 7 h 10"/>
                <a:gd name="T4" fmla="*/ 1 w 46"/>
                <a:gd name="T5" fmla="*/ 10 h 10"/>
                <a:gd name="T6" fmla="*/ 1 w 46"/>
                <a:gd name="T7" fmla="*/ 10 h 10"/>
                <a:gd name="T8" fmla="*/ 1 w 46"/>
                <a:gd name="T9" fmla="*/ 7 h 10"/>
                <a:gd name="T10" fmla="*/ 17 w 46"/>
                <a:gd name="T11" fmla="*/ 6 h 10"/>
                <a:gd name="T12" fmla="*/ 17 w 46"/>
                <a:gd name="T13" fmla="*/ 6 h 10"/>
                <a:gd name="T14" fmla="*/ 7 w 46"/>
                <a:gd name="T15" fmla="*/ 7 h 10"/>
                <a:gd name="T16" fmla="*/ 7 w 46"/>
                <a:gd name="T17" fmla="*/ 10 h 10"/>
                <a:gd name="T18" fmla="*/ 7 w 46"/>
                <a:gd name="T19" fmla="*/ 10 h 10"/>
                <a:gd name="T20" fmla="*/ 17 w 46"/>
                <a:gd name="T21" fmla="*/ 9 h 10"/>
                <a:gd name="T22" fmla="*/ 17 w 46"/>
                <a:gd name="T23" fmla="*/ 6 h 10"/>
                <a:gd name="T24" fmla="*/ 32 w 46"/>
                <a:gd name="T25" fmla="*/ 6 h 10"/>
                <a:gd name="T26" fmla="*/ 32 w 46"/>
                <a:gd name="T27" fmla="*/ 6 h 10"/>
                <a:gd name="T28" fmla="*/ 22 w 46"/>
                <a:gd name="T29" fmla="*/ 6 h 10"/>
                <a:gd name="T30" fmla="*/ 22 w 46"/>
                <a:gd name="T31" fmla="*/ 9 h 10"/>
                <a:gd name="T32" fmla="*/ 22 w 46"/>
                <a:gd name="T33" fmla="*/ 9 h 10"/>
                <a:gd name="T34" fmla="*/ 32 w 46"/>
                <a:gd name="T35" fmla="*/ 7 h 10"/>
                <a:gd name="T36" fmla="*/ 32 w 46"/>
                <a:gd name="T37" fmla="*/ 6 h 10"/>
                <a:gd name="T38" fmla="*/ 45 w 46"/>
                <a:gd name="T39" fmla="*/ 0 h 10"/>
                <a:gd name="T40" fmla="*/ 45 w 46"/>
                <a:gd name="T41" fmla="*/ 0 h 10"/>
                <a:gd name="T42" fmla="*/ 36 w 46"/>
                <a:gd name="T43" fmla="*/ 4 h 10"/>
                <a:gd name="T44" fmla="*/ 38 w 46"/>
                <a:gd name="T45" fmla="*/ 7 h 10"/>
                <a:gd name="T46" fmla="*/ 38 w 46"/>
                <a:gd name="T47" fmla="*/ 7 h 10"/>
                <a:gd name="T48" fmla="*/ 42 w 46"/>
                <a:gd name="T49" fmla="*/ 4 h 10"/>
                <a:gd name="T50" fmla="*/ 46 w 46"/>
                <a:gd name="T51" fmla="*/ 1 h 10"/>
                <a:gd name="T52" fmla="*/ 45 w 46"/>
                <a:gd name="T5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10">
                  <a:moveTo>
                    <a:pt x="1" y="7"/>
                  </a:moveTo>
                  <a:lnTo>
                    <a:pt x="0" y="7"/>
                  </a:lnTo>
                  <a:lnTo>
                    <a:pt x="1" y="10"/>
                  </a:lnTo>
                  <a:lnTo>
                    <a:pt x="1" y="10"/>
                  </a:lnTo>
                  <a:lnTo>
                    <a:pt x="1" y="7"/>
                  </a:lnTo>
                  <a:close/>
                  <a:moveTo>
                    <a:pt x="17" y="6"/>
                  </a:moveTo>
                  <a:lnTo>
                    <a:pt x="17" y="6"/>
                  </a:lnTo>
                  <a:lnTo>
                    <a:pt x="7" y="7"/>
                  </a:lnTo>
                  <a:lnTo>
                    <a:pt x="7" y="10"/>
                  </a:lnTo>
                  <a:lnTo>
                    <a:pt x="7" y="10"/>
                  </a:lnTo>
                  <a:lnTo>
                    <a:pt x="17" y="9"/>
                  </a:lnTo>
                  <a:lnTo>
                    <a:pt x="17" y="6"/>
                  </a:lnTo>
                  <a:close/>
                  <a:moveTo>
                    <a:pt x="32" y="6"/>
                  </a:moveTo>
                  <a:lnTo>
                    <a:pt x="32" y="6"/>
                  </a:lnTo>
                  <a:lnTo>
                    <a:pt x="22" y="6"/>
                  </a:lnTo>
                  <a:lnTo>
                    <a:pt x="22" y="9"/>
                  </a:lnTo>
                  <a:lnTo>
                    <a:pt x="22" y="9"/>
                  </a:lnTo>
                  <a:lnTo>
                    <a:pt x="32" y="7"/>
                  </a:lnTo>
                  <a:lnTo>
                    <a:pt x="32" y="6"/>
                  </a:lnTo>
                  <a:close/>
                  <a:moveTo>
                    <a:pt x="45" y="0"/>
                  </a:moveTo>
                  <a:lnTo>
                    <a:pt x="45" y="0"/>
                  </a:lnTo>
                  <a:lnTo>
                    <a:pt x="36" y="4"/>
                  </a:lnTo>
                  <a:lnTo>
                    <a:pt x="38" y="7"/>
                  </a:lnTo>
                  <a:lnTo>
                    <a:pt x="38" y="7"/>
                  </a:lnTo>
                  <a:lnTo>
                    <a:pt x="42" y="4"/>
                  </a:lnTo>
                  <a:lnTo>
                    <a:pt x="46" y="1"/>
                  </a:lnTo>
                  <a:lnTo>
                    <a:pt x="4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31" name="Freeform 1691"/>
            <p:cNvSpPr>
              <a:spLocks noEditPoints="1"/>
            </p:cNvSpPr>
            <p:nvPr/>
          </p:nvSpPr>
          <p:spPr bwMode="auto">
            <a:xfrm>
              <a:off x="4508500" y="3389741"/>
              <a:ext cx="80963" cy="39688"/>
            </a:xfrm>
            <a:custGeom>
              <a:avLst/>
              <a:gdLst>
                <a:gd name="T0" fmla="*/ 12 w 51"/>
                <a:gd name="T1" fmla="*/ 2 h 25"/>
                <a:gd name="T2" fmla="*/ 12 w 51"/>
                <a:gd name="T3" fmla="*/ 2 h 25"/>
                <a:gd name="T4" fmla="*/ 2 w 51"/>
                <a:gd name="T5" fmla="*/ 0 h 25"/>
                <a:gd name="T6" fmla="*/ 0 w 51"/>
                <a:gd name="T7" fmla="*/ 3 h 25"/>
                <a:gd name="T8" fmla="*/ 0 w 51"/>
                <a:gd name="T9" fmla="*/ 3 h 25"/>
                <a:gd name="T10" fmla="*/ 10 w 51"/>
                <a:gd name="T11" fmla="*/ 4 h 25"/>
                <a:gd name="T12" fmla="*/ 12 w 51"/>
                <a:gd name="T13" fmla="*/ 2 h 25"/>
                <a:gd name="T14" fmla="*/ 26 w 51"/>
                <a:gd name="T15" fmla="*/ 6 h 25"/>
                <a:gd name="T16" fmla="*/ 26 w 51"/>
                <a:gd name="T17" fmla="*/ 6 h 25"/>
                <a:gd name="T18" fmla="*/ 16 w 51"/>
                <a:gd name="T19" fmla="*/ 3 h 25"/>
                <a:gd name="T20" fmla="*/ 16 w 51"/>
                <a:gd name="T21" fmla="*/ 6 h 25"/>
                <a:gd name="T22" fmla="*/ 16 w 51"/>
                <a:gd name="T23" fmla="*/ 6 h 25"/>
                <a:gd name="T24" fmla="*/ 25 w 51"/>
                <a:gd name="T25" fmla="*/ 7 h 25"/>
                <a:gd name="T26" fmla="*/ 26 w 51"/>
                <a:gd name="T27" fmla="*/ 6 h 25"/>
                <a:gd name="T28" fmla="*/ 39 w 51"/>
                <a:gd name="T29" fmla="*/ 12 h 25"/>
                <a:gd name="T30" fmla="*/ 39 w 51"/>
                <a:gd name="T31" fmla="*/ 12 h 25"/>
                <a:gd name="T32" fmla="*/ 35 w 51"/>
                <a:gd name="T33" fmla="*/ 9 h 25"/>
                <a:gd name="T34" fmla="*/ 35 w 51"/>
                <a:gd name="T35" fmla="*/ 9 h 25"/>
                <a:gd name="T36" fmla="*/ 31 w 51"/>
                <a:gd name="T37" fmla="*/ 7 h 25"/>
                <a:gd name="T38" fmla="*/ 31 w 51"/>
                <a:gd name="T39" fmla="*/ 9 h 25"/>
                <a:gd name="T40" fmla="*/ 31 w 51"/>
                <a:gd name="T41" fmla="*/ 9 h 25"/>
                <a:gd name="T42" fmla="*/ 33 w 51"/>
                <a:gd name="T43" fmla="*/ 10 h 25"/>
                <a:gd name="T44" fmla="*/ 33 w 51"/>
                <a:gd name="T45" fmla="*/ 10 h 25"/>
                <a:gd name="T46" fmla="*/ 38 w 51"/>
                <a:gd name="T47" fmla="*/ 15 h 25"/>
                <a:gd name="T48" fmla="*/ 39 w 51"/>
                <a:gd name="T49" fmla="*/ 12 h 25"/>
                <a:gd name="T50" fmla="*/ 51 w 51"/>
                <a:gd name="T51" fmla="*/ 23 h 25"/>
                <a:gd name="T52" fmla="*/ 51 w 51"/>
                <a:gd name="T53" fmla="*/ 23 h 25"/>
                <a:gd name="T54" fmla="*/ 44 w 51"/>
                <a:gd name="T55" fmla="*/ 16 h 25"/>
                <a:gd name="T56" fmla="*/ 42 w 51"/>
                <a:gd name="T57" fmla="*/ 17 h 25"/>
                <a:gd name="T58" fmla="*/ 42 w 51"/>
                <a:gd name="T59" fmla="*/ 17 h 25"/>
                <a:gd name="T60" fmla="*/ 48 w 51"/>
                <a:gd name="T61" fmla="*/ 25 h 25"/>
                <a:gd name="T62" fmla="*/ 51 w 51"/>
                <a:gd name="T63"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 h="25">
                  <a:moveTo>
                    <a:pt x="12" y="2"/>
                  </a:moveTo>
                  <a:lnTo>
                    <a:pt x="12" y="2"/>
                  </a:lnTo>
                  <a:lnTo>
                    <a:pt x="2" y="0"/>
                  </a:lnTo>
                  <a:lnTo>
                    <a:pt x="0" y="3"/>
                  </a:lnTo>
                  <a:lnTo>
                    <a:pt x="0" y="3"/>
                  </a:lnTo>
                  <a:lnTo>
                    <a:pt x="10" y="4"/>
                  </a:lnTo>
                  <a:lnTo>
                    <a:pt x="12" y="2"/>
                  </a:lnTo>
                  <a:close/>
                  <a:moveTo>
                    <a:pt x="26" y="6"/>
                  </a:moveTo>
                  <a:lnTo>
                    <a:pt x="26" y="6"/>
                  </a:lnTo>
                  <a:lnTo>
                    <a:pt x="16" y="3"/>
                  </a:lnTo>
                  <a:lnTo>
                    <a:pt x="16" y="6"/>
                  </a:lnTo>
                  <a:lnTo>
                    <a:pt x="16" y="6"/>
                  </a:lnTo>
                  <a:lnTo>
                    <a:pt x="25" y="7"/>
                  </a:lnTo>
                  <a:lnTo>
                    <a:pt x="26" y="6"/>
                  </a:lnTo>
                  <a:close/>
                  <a:moveTo>
                    <a:pt x="39" y="12"/>
                  </a:moveTo>
                  <a:lnTo>
                    <a:pt x="39" y="12"/>
                  </a:lnTo>
                  <a:lnTo>
                    <a:pt x="35" y="9"/>
                  </a:lnTo>
                  <a:lnTo>
                    <a:pt x="35" y="9"/>
                  </a:lnTo>
                  <a:lnTo>
                    <a:pt x="31" y="7"/>
                  </a:lnTo>
                  <a:lnTo>
                    <a:pt x="31" y="9"/>
                  </a:lnTo>
                  <a:lnTo>
                    <a:pt x="31" y="9"/>
                  </a:lnTo>
                  <a:lnTo>
                    <a:pt x="33" y="10"/>
                  </a:lnTo>
                  <a:lnTo>
                    <a:pt x="33" y="10"/>
                  </a:lnTo>
                  <a:lnTo>
                    <a:pt x="38" y="15"/>
                  </a:lnTo>
                  <a:lnTo>
                    <a:pt x="39" y="12"/>
                  </a:lnTo>
                  <a:close/>
                  <a:moveTo>
                    <a:pt x="51" y="23"/>
                  </a:moveTo>
                  <a:lnTo>
                    <a:pt x="51" y="23"/>
                  </a:lnTo>
                  <a:lnTo>
                    <a:pt x="44" y="16"/>
                  </a:lnTo>
                  <a:lnTo>
                    <a:pt x="42" y="17"/>
                  </a:lnTo>
                  <a:lnTo>
                    <a:pt x="42" y="17"/>
                  </a:lnTo>
                  <a:lnTo>
                    <a:pt x="48" y="25"/>
                  </a:lnTo>
                  <a:lnTo>
                    <a:pt x="51"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32" name="Freeform 1692"/>
            <p:cNvSpPr>
              <a:spLocks noEditPoints="1"/>
            </p:cNvSpPr>
            <p:nvPr/>
          </p:nvSpPr>
          <p:spPr bwMode="auto">
            <a:xfrm>
              <a:off x="4559300" y="3342116"/>
              <a:ext cx="114300" cy="63500"/>
            </a:xfrm>
            <a:custGeom>
              <a:avLst/>
              <a:gdLst>
                <a:gd name="T0" fmla="*/ 67 w 72"/>
                <a:gd name="T1" fmla="*/ 10 h 40"/>
                <a:gd name="T2" fmla="*/ 67 w 72"/>
                <a:gd name="T3" fmla="*/ 10 h 40"/>
                <a:gd name="T4" fmla="*/ 72 w 72"/>
                <a:gd name="T5" fmla="*/ 1 h 40"/>
                <a:gd name="T6" fmla="*/ 71 w 72"/>
                <a:gd name="T7" fmla="*/ 0 h 40"/>
                <a:gd name="T8" fmla="*/ 71 w 72"/>
                <a:gd name="T9" fmla="*/ 0 h 40"/>
                <a:gd name="T10" fmla="*/ 65 w 72"/>
                <a:gd name="T11" fmla="*/ 7 h 40"/>
                <a:gd name="T12" fmla="*/ 67 w 72"/>
                <a:gd name="T13" fmla="*/ 10 h 40"/>
                <a:gd name="T14" fmla="*/ 58 w 72"/>
                <a:gd name="T15" fmla="*/ 20 h 40"/>
                <a:gd name="T16" fmla="*/ 58 w 72"/>
                <a:gd name="T17" fmla="*/ 20 h 40"/>
                <a:gd name="T18" fmla="*/ 59 w 72"/>
                <a:gd name="T19" fmla="*/ 16 h 40"/>
                <a:gd name="T20" fmla="*/ 62 w 72"/>
                <a:gd name="T21" fmla="*/ 13 h 40"/>
                <a:gd name="T22" fmla="*/ 61 w 72"/>
                <a:gd name="T23" fmla="*/ 10 h 40"/>
                <a:gd name="T24" fmla="*/ 61 w 72"/>
                <a:gd name="T25" fmla="*/ 10 h 40"/>
                <a:gd name="T26" fmla="*/ 58 w 72"/>
                <a:gd name="T27" fmla="*/ 14 h 40"/>
                <a:gd name="T28" fmla="*/ 55 w 72"/>
                <a:gd name="T29" fmla="*/ 20 h 40"/>
                <a:gd name="T30" fmla="*/ 58 w 72"/>
                <a:gd name="T31" fmla="*/ 20 h 40"/>
                <a:gd name="T32" fmla="*/ 45 w 72"/>
                <a:gd name="T33" fmla="*/ 29 h 40"/>
                <a:gd name="T34" fmla="*/ 45 w 72"/>
                <a:gd name="T35" fmla="*/ 29 h 40"/>
                <a:gd name="T36" fmla="*/ 52 w 72"/>
                <a:gd name="T37" fmla="*/ 27 h 40"/>
                <a:gd name="T38" fmla="*/ 52 w 72"/>
                <a:gd name="T39" fmla="*/ 27 h 40"/>
                <a:gd name="T40" fmla="*/ 54 w 72"/>
                <a:gd name="T41" fmla="*/ 26 h 40"/>
                <a:gd name="T42" fmla="*/ 54 w 72"/>
                <a:gd name="T43" fmla="*/ 26 h 40"/>
                <a:gd name="T44" fmla="*/ 55 w 72"/>
                <a:gd name="T45" fmla="*/ 26 h 40"/>
                <a:gd name="T46" fmla="*/ 54 w 72"/>
                <a:gd name="T47" fmla="*/ 24 h 40"/>
                <a:gd name="T48" fmla="*/ 54 w 72"/>
                <a:gd name="T49" fmla="*/ 24 h 40"/>
                <a:gd name="T50" fmla="*/ 54 w 72"/>
                <a:gd name="T51" fmla="*/ 24 h 40"/>
                <a:gd name="T52" fmla="*/ 54 w 72"/>
                <a:gd name="T53" fmla="*/ 24 h 40"/>
                <a:gd name="T54" fmla="*/ 54 w 72"/>
                <a:gd name="T55" fmla="*/ 24 h 40"/>
                <a:gd name="T56" fmla="*/ 54 w 72"/>
                <a:gd name="T57" fmla="*/ 24 h 40"/>
                <a:gd name="T58" fmla="*/ 54 w 72"/>
                <a:gd name="T59" fmla="*/ 24 h 40"/>
                <a:gd name="T60" fmla="*/ 51 w 72"/>
                <a:gd name="T61" fmla="*/ 24 h 40"/>
                <a:gd name="T62" fmla="*/ 51 w 72"/>
                <a:gd name="T63" fmla="*/ 24 h 40"/>
                <a:gd name="T64" fmla="*/ 45 w 72"/>
                <a:gd name="T65" fmla="*/ 27 h 40"/>
                <a:gd name="T66" fmla="*/ 45 w 72"/>
                <a:gd name="T67" fmla="*/ 29 h 40"/>
                <a:gd name="T68" fmla="*/ 30 w 72"/>
                <a:gd name="T69" fmla="*/ 33 h 40"/>
                <a:gd name="T70" fmla="*/ 30 w 72"/>
                <a:gd name="T71" fmla="*/ 33 h 40"/>
                <a:gd name="T72" fmla="*/ 41 w 72"/>
                <a:gd name="T73" fmla="*/ 30 h 40"/>
                <a:gd name="T74" fmla="*/ 41 w 72"/>
                <a:gd name="T75" fmla="*/ 29 h 40"/>
                <a:gd name="T76" fmla="*/ 41 w 72"/>
                <a:gd name="T77" fmla="*/ 29 h 40"/>
                <a:gd name="T78" fmla="*/ 30 w 72"/>
                <a:gd name="T79" fmla="*/ 30 h 40"/>
                <a:gd name="T80" fmla="*/ 30 w 72"/>
                <a:gd name="T81" fmla="*/ 33 h 40"/>
                <a:gd name="T82" fmla="*/ 16 w 72"/>
                <a:gd name="T83" fmla="*/ 34 h 40"/>
                <a:gd name="T84" fmla="*/ 16 w 72"/>
                <a:gd name="T85" fmla="*/ 34 h 40"/>
                <a:gd name="T86" fmla="*/ 19 w 72"/>
                <a:gd name="T87" fmla="*/ 34 h 40"/>
                <a:gd name="T88" fmla="*/ 19 w 72"/>
                <a:gd name="T89" fmla="*/ 34 h 40"/>
                <a:gd name="T90" fmla="*/ 26 w 72"/>
                <a:gd name="T91" fmla="*/ 33 h 40"/>
                <a:gd name="T92" fmla="*/ 25 w 72"/>
                <a:gd name="T93" fmla="*/ 32 h 40"/>
                <a:gd name="T94" fmla="*/ 25 w 72"/>
                <a:gd name="T95" fmla="*/ 32 h 40"/>
                <a:gd name="T96" fmla="*/ 19 w 72"/>
                <a:gd name="T97" fmla="*/ 32 h 40"/>
                <a:gd name="T98" fmla="*/ 19 w 72"/>
                <a:gd name="T99" fmla="*/ 32 h 40"/>
                <a:gd name="T100" fmla="*/ 15 w 72"/>
                <a:gd name="T101" fmla="*/ 33 h 40"/>
                <a:gd name="T102" fmla="*/ 16 w 72"/>
                <a:gd name="T103" fmla="*/ 34 h 40"/>
                <a:gd name="T104" fmla="*/ 1 w 72"/>
                <a:gd name="T105" fmla="*/ 40 h 40"/>
                <a:gd name="T106" fmla="*/ 1 w 72"/>
                <a:gd name="T107" fmla="*/ 40 h 40"/>
                <a:gd name="T108" fmla="*/ 10 w 72"/>
                <a:gd name="T109" fmla="*/ 36 h 40"/>
                <a:gd name="T110" fmla="*/ 10 w 72"/>
                <a:gd name="T111" fmla="*/ 34 h 40"/>
                <a:gd name="T112" fmla="*/ 10 w 72"/>
                <a:gd name="T113" fmla="*/ 34 h 40"/>
                <a:gd name="T114" fmla="*/ 0 w 72"/>
                <a:gd name="T115" fmla="*/ 37 h 40"/>
                <a:gd name="T116" fmla="*/ 1 w 72"/>
                <a:gd name="T1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2" h="40">
                  <a:moveTo>
                    <a:pt x="67" y="10"/>
                  </a:moveTo>
                  <a:lnTo>
                    <a:pt x="67" y="10"/>
                  </a:lnTo>
                  <a:lnTo>
                    <a:pt x="72" y="1"/>
                  </a:lnTo>
                  <a:lnTo>
                    <a:pt x="71" y="0"/>
                  </a:lnTo>
                  <a:lnTo>
                    <a:pt x="71" y="0"/>
                  </a:lnTo>
                  <a:lnTo>
                    <a:pt x="65" y="7"/>
                  </a:lnTo>
                  <a:lnTo>
                    <a:pt x="67" y="10"/>
                  </a:lnTo>
                  <a:close/>
                  <a:moveTo>
                    <a:pt x="58" y="20"/>
                  </a:moveTo>
                  <a:lnTo>
                    <a:pt x="58" y="20"/>
                  </a:lnTo>
                  <a:lnTo>
                    <a:pt x="59" y="16"/>
                  </a:lnTo>
                  <a:lnTo>
                    <a:pt x="62" y="13"/>
                  </a:lnTo>
                  <a:lnTo>
                    <a:pt x="61" y="10"/>
                  </a:lnTo>
                  <a:lnTo>
                    <a:pt x="61" y="10"/>
                  </a:lnTo>
                  <a:lnTo>
                    <a:pt x="58" y="14"/>
                  </a:lnTo>
                  <a:lnTo>
                    <a:pt x="55" y="20"/>
                  </a:lnTo>
                  <a:lnTo>
                    <a:pt x="58" y="20"/>
                  </a:lnTo>
                  <a:close/>
                  <a:moveTo>
                    <a:pt x="45" y="29"/>
                  </a:moveTo>
                  <a:lnTo>
                    <a:pt x="45" y="29"/>
                  </a:lnTo>
                  <a:lnTo>
                    <a:pt x="52" y="27"/>
                  </a:lnTo>
                  <a:lnTo>
                    <a:pt x="52" y="27"/>
                  </a:lnTo>
                  <a:lnTo>
                    <a:pt x="54" y="26"/>
                  </a:lnTo>
                  <a:lnTo>
                    <a:pt x="54" y="26"/>
                  </a:lnTo>
                  <a:lnTo>
                    <a:pt x="55" y="26"/>
                  </a:lnTo>
                  <a:lnTo>
                    <a:pt x="54" y="24"/>
                  </a:lnTo>
                  <a:lnTo>
                    <a:pt x="54" y="24"/>
                  </a:lnTo>
                  <a:lnTo>
                    <a:pt x="54" y="24"/>
                  </a:lnTo>
                  <a:lnTo>
                    <a:pt x="54" y="24"/>
                  </a:lnTo>
                  <a:lnTo>
                    <a:pt x="54" y="24"/>
                  </a:lnTo>
                  <a:lnTo>
                    <a:pt x="54" y="24"/>
                  </a:lnTo>
                  <a:lnTo>
                    <a:pt x="54" y="24"/>
                  </a:lnTo>
                  <a:lnTo>
                    <a:pt x="51" y="24"/>
                  </a:lnTo>
                  <a:lnTo>
                    <a:pt x="51" y="24"/>
                  </a:lnTo>
                  <a:lnTo>
                    <a:pt x="45" y="27"/>
                  </a:lnTo>
                  <a:lnTo>
                    <a:pt x="45" y="29"/>
                  </a:lnTo>
                  <a:close/>
                  <a:moveTo>
                    <a:pt x="30" y="33"/>
                  </a:moveTo>
                  <a:lnTo>
                    <a:pt x="30" y="33"/>
                  </a:lnTo>
                  <a:lnTo>
                    <a:pt x="41" y="30"/>
                  </a:lnTo>
                  <a:lnTo>
                    <a:pt x="41" y="29"/>
                  </a:lnTo>
                  <a:lnTo>
                    <a:pt x="41" y="29"/>
                  </a:lnTo>
                  <a:lnTo>
                    <a:pt x="30" y="30"/>
                  </a:lnTo>
                  <a:lnTo>
                    <a:pt x="30" y="33"/>
                  </a:lnTo>
                  <a:close/>
                  <a:moveTo>
                    <a:pt x="16" y="34"/>
                  </a:moveTo>
                  <a:lnTo>
                    <a:pt x="16" y="34"/>
                  </a:lnTo>
                  <a:lnTo>
                    <a:pt x="19" y="34"/>
                  </a:lnTo>
                  <a:lnTo>
                    <a:pt x="19" y="34"/>
                  </a:lnTo>
                  <a:lnTo>
                    <a:pt x="26" y="33"/>
                  </a:lnTo>
                  <a:lnTo>
                    <a:pt x="25" y="32"/>
                  </a:lnTo>
                  <a:lnTo>
                    <a:pt x="25" y="32"/>
                  </a:lnTo>
                  <a:lnTo>
                    <a:pt x="19" y="32"/>
                  </a:lnTo>
                  <a:lnTo>
                    <a:pt x="19" y="32"/>
                  </a:lnTo>
                  <a:lnTo>
                    <a:pt x="15" y="33"/>
                  </a:lnTo>
                  <a:lnTo>
                    <a:pt x="16" y="34"/>
                  </a:lnTo>
                  <a:close/>
                  <a:moveTo>
                    <a:pt x="1" y="40"/>
                  </a:moveTo>
                  <a:lnTo>
                    <a:pt x="1" y="40"/>
                  </a:lnTo>
                  <a:lnTo>
                    <a:pt x="10" y="36"/>
                  </a:lnTo>
                  <a:lnTo>
                    <a:pt x="10" y="34"/>
                  </a:lnTo>
                  <a:lnTo>
                    <a:pt x="10" y="34"/>
                  </a:lnTo>
                  <a:lnTo>
                    <a:pt x="0" y="37"/>
                  </a:lnTo>
                  <a:lnTo>
                    <a:pt x="1"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33" name="Freeform 1693"/>
            <p:cNvSpPr>
              <a:spLocks noEditPoints="1"/>
            </p:cNvSpPr>
            <p:nvPr/>
          </p:nvSpPr>
          <p:spPr bwMode="auto">
            <a:xfrm>
              <a:off x="5014913" y="2256266"/>
              <a:ext cx="87313" cy="574675"/>
            </a:xfrm>
            <a:custGeom>
              <a:avLst/>
              <a:gdLst>
                <a:gd name="T0" fmla="*/ 45 w 55"/>
                <a:gd name="T1" fmla="*/ 0 h 362"/>
                <a:gd name="T2" fmla="*/ 39 w 55"/>
                <a:gd name="T3" fmla="*/ 19 h 362"/>
                <a:gd name="T4" fmla="*/ 42 w 55"/>
                <a:gd name="T5" fmla="*/ 9 h 362"/>
                <a:gd name="T6" fmla="*/ 29 w 55"/>
                <a:gd name="T7" fmla="*/ 29 h 362"/>
                <a:gd name="T8" fmla="*/ 33 w 55"/>
                <a:gd name="T9" fmla="*/ 19 h 362"/>
                <a:gd name="T10" fmla="*/ 29 w 55"/>
                <a:gd name="T11" fmla="*/ 29 h 362"/>
                <a:gd name="T12" fmla="*/ 24 w 55"/>
                <a:gd name="T13" fmla="*/ 33 h 362"/>
                <a:gd name="T14" fmla="*/ 16 w 55"/>
                <a:gd name="T15" fmla="*/ 39 h 362"/>
                <a:gd name="T16" fmla="*/ 17 w 55"/>
                <a:gd name="T17" fmla="*/ 49 h 362"/>
                <a:gd name="T18" fmla="*/ 14 w 55"/>
                <a:gd name="T19" fmla="*/ 48 h 362"/>
                <a:gd name="T20" fmla="*/ 13 w 55"/>
                <a:gd name="T21" fmla="*/ 68 h 362"/>
                <a:gd name="T22" fmla="*/ 10 w 55"/>
                <a:gd name="T23" fmla="*/ 58 h 362"/>
                <a:gd name="T24" fmla="*/ 10 w 55"/>
                <a:gd name="T25" fmla="*/ 70 h 362"/>
                <a:gd name="T26" fmla="*/ 16 w 55"/>
                <a:gd name="T27" fmla="*/ 71 h 362"/>
                <a:gd name="T28" fmla="*/ 22 w 55"/>
                <a:gd name="T29" fmla="*/ 78 h 362"/>
                <a:gd name="T30" fmla="*/ 24 w 55"/>
                <a:gd name="T31" fmla="*/ 84 h 362"/>
                <a:gd name="T32" fmla="*/ 29 w 55"/>
                <a:gd name="T33" fmla="*/ 106 h 362"/>
                <a:gd name="T34" fmla="*/ 30 w 55"/>
                <a:gd name="T35" fmla="*/ 96 h 362"/>
                <a:gd name="T36" fmla="*/ 29 w 55"/>
                <a:gd name="T37" fmla="*/ 106 h 362"/>
                <a:gd name="T38" fmla="*/ 23 w 55"/>
                <a:gd name="T39" fmla="*/ 116 h 362"/>
                <a:gd name="T40" fmla="*/ 24 w 55"/>
                <a:gd name="T41" fmla="*/ 109 h 362"/>
                <a:gd name="T42" fmla="*/ 20 w 55"/>
                <a:gd name="T43" fmla="*/ 114 h 362"/>
                <a:gd name="T44" fmla="*/ 26 w 55"/>
                <a:gd name="T45" fmla="*/ 132 h 362"/>
                <a:gd name="T46" fmla="*/ 20 w 55"/>
                <a:gd name="T47" fmla="*/ 123 h 362"/>
                <a:gd name="T48" fmla="*/ 32 w 55"/>
                <a:gd name="T49" fmla="*/ 146 h 362"/>
                <a:gd name="T50" fmla="*/ 30 w 55"/>
                <a:gd name="T51" fmla="*/ 148 h 362"/>
                <a:gd name="T52" fmla="*/ 35 w 55"/>
                <a:gd name="T53" fmla="*/ 151 h 362"/>
                <a:gd name="T54" fmla="*/ 39 w 55"/>
                <a:gd name="T55" fmla="*/ 161 h 362"/>
                <a:gd name="T56" fmla="*/ 40 w 55"/>
                <a:gd name="T57" fmla="*/ 168 h 362"/>
                <a:gd name="T58" fmla="*/ 39 w 55"/>
                <a:gd name="T59" fmla="*/ 167 h 362"/>
                <a:gd name="T60" fmla="*/ 37 w 55"/>
                <a:gd name="T61" fmla="*/ 171 h 362"/>
                <a:gd name="T62" fmla="*/ 33 w 55"/>
                <a:gd name="T63" fmla="*/ 188 h 362"/>
                <a:gd name="T64" fmla="*/ 35 w 55"/>
                <a:gd name="T65" fmla="*/ 180 h 362"/>
                <a:gd name="T66" fmla="*/ 32 w 55"/>
                <a:gd name="T67" fmla="*/ 183 h 362"/>
                <a:gd name="T68" fmla="*/ 33 w 55"/>
                <a:gd name="T69" fmla="*/ 188 h 362"/>
                <a:gd name="T70" fmla="*/ 32 w 55"/>
                <a:gd name="T71" fmla="*/ 194 h 362"/>
                <a:gd name="T72" fmla="*/ 39 w 55"/>
                <a:gd name="T73" fmla="*/ 219 h 362"/>
                <a:gd name="T74" fmla="*/ 37 w 55"/>
                <a:gd name="T75" fmla="*/ 209 h 362"/>
                <a:gd name="T76" fmla="*/ 35 w 55"/>
                <a:gd name="T77" fmla="*/ 213 h 362"/>
                <a:gd name="T78" fmla="*/ 46 w 55"/>
                <a:gd name="T79" fmla="*/ 230 h 362"/>
                <a:gd name="T80" fmla="*/ 40 w 55"/>
                <a:gd name="T81" fmla="*/ 223 h 362"/>
                <a:gd name="T82" fmla="*/ 43 w 55"/>
                <a:gd name="T83" fmla="*/ 232 h 362"/>
                <a:gd name="T84" fmla="*/ 45 w 55"/>
                <a:gd name="T85" fmla="*/ 246 h 362"/>
                <a:gd name="T86" fmla="*/ 42 w 55"/>
                <a:gd name="T87" fmla="*/ 245 h 362"/>
                <a:gd name="T88" fmla="*/ 45 w 55"/>
                <a:gd name="T89" fmla="*/ 253 h 362"/>
                <a:gd name="T90" fmla="*/ 40 w 55"/>
                <a:gd name="T91" fmla="*/ 251 h 362"/>
                <a:gd name="T92" fmla="*/ 46 w 55"/>
                <a:gd name="T93" fmla="*/ 259 h 362"/>
                <a:gd name="T94" fmla="*/ 55 w 55"/>
                <a:gd name="T95" fmla="*/ 271 h 362"/>
                <a:gd name="T96" fmla="*/ 50 w 55"/>
                <a:gd name="T97" fmla="*/ 262 h 362"/>
                <a:gd name="T98" fmla="*/ 55 w 55"/>
                <a:gd name="T99" fmla="*/ 271 h 362"/>
                <a:gd name="T100" fmla="*/ 52 w 55"/>
                <a:gd name="T101" fmla="*/ 277 h 362"/>
                <a:gd name="T102" fmla="*/ 49 w 55"/>
                <a:gd name="T103" fmla="*/ 301 h 362"/>
                <a:gd name="T104" fmla="*/ 49 w 55"/>
                <a:gd name="T105" fmla="*/ 291 h 362"/>
                <a:gd name="T106" fmla="*/ 40 w 55"/>
                <a:gd name="T107" fmla="*/ 314 h 362"/>
                <a:gd name="T108" fmla="*/ 39 w 55"/>
                <a:gd name="T109" fmla="*/ 313 h 362"/>
                <a:gd name="T110" fmla="*/ 37 w 55"/>
                <a:gd name="T111" fmla="*/ 319 h 362"/>
                <a:gd name="T112" fmla="*/ 32 w 55"/>
                <a:gd name="T113" fmla="*/ 327 h 362"/>
                <a:gd name="T114" fmla="*/ 26 w 55"/>
                <a:gd name="T115" fmla="*/ 329 h 362"/>
                <a:gd name="T116" fmla="*/ 11 w 55"/>
                <a:gd name="T117" fmla="*/ 351 h 362"/>
                <a:gd name="T118" fmla="*/ 17 w 55"/>
                <a:gd name="T119" fmla="*/ 342 h 362"/>
                <a:gd name="T120" fmla="*/ 1 w 55"/>
                <a:gd name="T121" fmla="*/ 362 h 362"/>
                <a:gd name="T122" fmla="*/ 0 w 55"/>
                <a:gd name="T123" fmla="*/ 361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 h="362">
                  <a:moveTo>
                    <a:pt x="46" y="4"/>
                  </a:moveTo>
                  <a:lnTo>
                    <a:pt x="46" y="4"/>
                  </a:lnTo>
                  <a:lnTo>
                    <a:pt x="48" y="0"/>
                  </a:lnTo>
                  <a:lnTo>
                    <a:pt x="45" y="0"/>
                  </a:lnTo>
                  <a:lnTo>
                    <a:pt x="45" y="0"/>
                  </a:lnTo>
                  <a:lnTo>
                    <a:pt x="43" y="4"/>
                  </a:lnTo>
                  <a:lnTo>
                    <a:pt x="46" y="4"/>
                  </a:lnTo>
                  <a:close/>
                  <a:moveTo>
                    <a:pt x="39" y="19"/>
                  </a:moveTo>
                  <a:lnTo>
                    <a:pt x="39" y="19"/>
                  </a:lnTo>
                  <a:lnTo>
                    <a:pt x="42" y="14"/>
                  </a:lnTo>
                  <a:lnTo>
                    <a:pt x="43" y="9"/>
                  </a:lnTo>
                  <a:lnTo>
                    <a:pt x="42" y="9"/>
                  </a:lnTo>
                  <a:lnTo>
                    <a:pt x="42" y="9"/>
                  </a:lnTo>
                  <a:lnTo>
                    <a:pt x="37" y="17"/>
                  </a:lnTo>
                  <a:lnTo>
                    <a:pt x="39" y="19"/>
                  </a:lnTo>
                  <a:close/>
                  <a:moveTo>
                    <a:pt x="29" y="29"/>
                  </a:moveTo>
                  <a:lnTo>
                    <a:pt x="29" y="29"/>
                  </a:lnTo>
                  <a:lnTo>
                    <a:pt x="30" y="25"/>
                  </a:lnTo>
                  <a:lnTo>
                    <a:pt x="35" y="22"/>
                  </a:lnTo>
                  <a:lnTo>
                    <a:pt x="33" y="19"/>
                  </a:lnTo>
                  <a:lnTo>
                    <a:pt x="33" y="19"/>
                  </a:lnTo>
                  <a:lnTo>
                    <a:pt x="29" y="23"/>
                  </a:lnTo>
                  <a:lnTo>
                    <a:pt x="26" y="28"/>
                  </a:lnTo>
                  <a:lnTo>
                    <a:pt x="29" y="29"/>
                  </a:lnTo>
                  <a:close/>
                  <a:moveTo>
                    <a:pt x="19" y="41"/>
                  </a:moveTo>
                  <a:lnTo>
                    <a:pt x="19" y="41"/>
                  </a:lnTo>
                  <a:lnTo>
                    <a:pt x="22" y="36"/>
                  </a:lnTo>
                  <a:lnTo>
                    <a:pt x="24" y="33"/>
                  </a:lnTo>
                  <a:lnTo>
                    <a:pt x="23" y="30"/>
                  </a:lnTo>
                  <a:lnTo>
                    <a:pt x="23" y="30"/>
                  </a:lnTo>
                  <a:lnTo>
                    <a:pt x="20" y="35"/>
                  </a:lnTo>
                  <a:lnTo>
                    <a:pt x="16" y="39"/>
                  </a:lnTo>
                  <a:lnTo>
                    <a:pt x="19" y="41"/>
                  </a:lnTo>
                  <a:close/>
                  <a:moveTo>
                    <a:pt x="14" y="55"/>
                  </a:moveTo>
                  <a:lnTo>
                    <a:pt x="14" y="55"/>
                  </a:lnTo>
                  <a:lnTo>
                    <a:pt x="17" y="49"/>
                  </a:lnTo>
                  <a:lnTo>
                    <a:pt x="19" y="45"/>
                  </a:lnTo>
                  <a:lnTo>
                    <a:pt x="16" y="45"/>
                  </a:lnTo>
                  <a:lnTo>
                    <a:pt x="16" y="45"/>
                  </a:lnTo>
                  <a:lnTo>
                    <a:pt x="14" y="48"/>
                  </a:lnTo>
                  <a:lnTo>
                    <a:pt x="11" y="54"/>
                  </a:lnTo>
                  <a:lnTo>
                    <a:pt x="14" y="55"/>
                  </a:lnTo>
                  <a:close/>
                  <a:moveTo>
                    <a:pt x="13" y="68"/>
                  </a:moveTo>
                  <a:lnTo>
                    <a:pt x="13" y="68"/>
                  </a:lnTo>
                  <a:lnTo>
                    <a:pt x="11" y="64"/>
                  </a:lnTo>
                  <a:lnTo>
                    <a:pt x="11" y="64"/>
                  </a:lnTo>
                  <a:lnTo>
                    <a:pt x="13" y="59"/>
                  </a:lnTo>
                  <a:lnTo>
                    <a:pt x="10" y="58"/>
                  </a:lnTo>
                  <a:lnTo>
                    <a:pt x="10" y="58"/>
                  </a:lnTo>
                  <a:lnTo>
                    <a:pt x="8" y="64"/>
                  </a:lnTo>
                  <a:lnTo>
                    <a:pt x="8" y="64"/>
                  </a:lnTo>
                  <a:lnTo>
                    <a:pt x="10" y="70"/>
                  </a:lnTo>
                  <a:lnTo>
                    <a:pt x="13" y="68"/>
                  </a:lnTo>
                  <a:close/>
                  <a:moveTo>
                    <a:pt x="22" y="78"/>
                  </a:moveTo>
                  <a:lnTo>
                    <a:pt x="22" y="78"/>
                  </a:lnTo>
                  <a:lnTo>
                    <a:pt x="16" y="71"/>
                  </a:lnTo>
                  <a:lnTo>
                    <a:pt x="13" y="72"/>
                  </a:lnTo>
                  <a:lnTo>
                    <a:pt x="13" y="72"/>
                  </a:lnTo>
                  <a:lnTo>
                    <a:pt x="20" y="81"/>
                  </a:lnTo>
                  <a:lnTo>
                    <a:pt x="22" y="78"/>
                  </a:lnTo>
                  <a:close/>
                  <a:moveTo>
                    <a:pt x="32" y="91"/>
                  </a:moveTo>
                  <a:lnTo>
                    <a:pt x="32" y="91"/>
                  </a:lnTo>
                  <a:lnTo>
                    <a:pt x="26" y="83"/>
                  </a:lnTo>
                  <a:lnTo>
                    <a:pt x="24" y="84"/>
                  </a:lnTo>
                  <a:lnTo>
                    <a:pt x="24" y="84"/>
                  </a:lnTo>
                  <a:lnTo>
                    <a:pt x="30" y="91"/>
                  </a:lnTo>
                  <a:lnTo>
                    <a:pt x="32" y="91"/>
                  </a:lnTo>
                  <a:close/>
                  <a:moveTo>
                    <a:pt x="29" y="106"/>
                  </a:moveTo>
                  <a:lnTo>
                    <a:pt x="29" y="106"/>
                  </a:lnTo>
                  <a:lnTo>
                    <a:pt x="32" y="101"/>
                  </a:lnTo>
                  <a:lnTo>
                    <a:pt x="33" y="96"/>
                  </a:lnTo>
                  <a:lnTo>
                    <a:pt x="30" y="96"/>
                  </a:lnTo>
                  <a:lnTo>
                    <a:pt x="30" y="96"/>
                  </a:lnTo>
                  <a:lnTo>
                    <a:pt x="30" y="100"/>
                  </a:lnTo>
                  <a:lnTo>
                    <a:pt x="27" y="104"/>
                  </a:lnTo>
                  <a:lnTo>
                    <a:pt x="29" y="106"/>
                  </a:lnTo>
                  <a:close/>
                  <a:moveTo>
                    <a:pt x="22" y="119"/>
                  </a:moveTo>
                  <a:lnTo>
                    <a:pt x="22" y="117"/>
                  </a:lnTo>
                  <a:lnTo>
                    <a:pt x="22" y="117"/>
                  </a:lnTo>
                  <a:lnTo>
                    <a:pt x="23" y="116"/>
                  </a:lnTo>
                  <a:lnTo>
                    <a:pt x="23" y="116"/>
                  </a:lnTo>
                  <a:lnTo>
                    <a:pt x="23" y="116"/>
                  </a:lnTo>
                  <a:lnTo>
                    <a:pt x="26" y="110"/>
                  </a:lnTo>
                  <a:lnTo>
                    <a:pt x="24" y="109"/>
                  </a:lnTo>
                  <a:lnTo>
                    <a:pt x="24" y="109"/>
                  </a:lnTo>
                  <a:lnTo>
                    <a:pt x="20" y="114"/>
                  </a:lnTo>
                  <a:lnTo>
                    <a:pt x="20" y="114"/>
                  </a:lnTo>
                  <a:lnTo>
                    <a:pt x="20" y="114"/>
                  </a:lnTo>
                  <a:lnTo>
                    <a:pt x="20" y="117"/>
                  </a:lnTo>
                  <a:lnTo>
                    <a:pt x="20" y="119"/>
                  </a:lnTo>
                  <a:lnTo>
                    <a:pt x="22" y="119"/>
                  </a:lnTo>
                  <a:close/>
                  <a:moveTo>
                    <a:pt x="26" y="132"/>
                  </a:moveTo>
                  <a:lnTo>
                    <a:pt x="26" y="132"/>
                  </a:lnTo>
                  <a:lnTo>
                    <a:pt x="23" y="123"/>
                  </a:lnTo>
                  <a:lnTo>
                    <a:pt x="20" y="123"/>
                  </a:lnTo>
                  <a:lnTo>
                    <a:pt x="20" y="123"/>
                  </a:lnTo>
                  <a:lnTo>
                    <a:pt x="24" y="133"/>
                  </a:lnTo>
                  <a:lnTo>
                    <a:pt x="26" y="132"/>
                  </a:lnTo>
                  <a:close/>
                  <a:moveTo>
                    <a:pt x="32" y="146"/>
                  </a:moveTo>
                  <a:lnTo>
                    <a:pt x="32" y="146"/>
                  </a:lnTo>
                  <a:lnTo>
                    <a:pt x="29" y="138"/>
                  </a:lnTo>
                  <a:lnTo>
                    <a:pt x="26" y="138"/>
                  </a:lnTo>
                  <a:lnTo>
                    <a:pt x="26" y="138"/>
                  </a:lnTo>
                  <a:lnTo>
                    <a:pt x="30" y="148"/>
                  </a:lnTo>
                  <a:lnTo>
                    <a:pt x="32" y="146"/>
                  </a:lnTo>
                  <a:close/>
                  <a:moveTo>
                    <a:pt x="39" y="161"/>
                  </a:moveTo>
                  <a:lnTo>
                    <a:pt x="39" y="161"/>
                  </a:lnTo>
                  <a:lnTo>
                    <a:pt x="35" y="151"/>
                  </a:lnTo>
                  <a:lnTo>
                    <a:pt x="32" y="152"/>
                  </a:lnTo>
                  <a:lnTo>
                    <a:pt x="32" y="152"/>
                  </a:lnTo>
                  <a:lnTo>
                    <a:pt x="36" y="161"/>
                  </a:lnTo>
                  <a:lnTo>
                    <a:pt x="39" y="161"/>
                  </a:lnTo>
                  <a:close/>
                  <a:moveTo>
                    <a:pt x="37" y="175"/>
                  </a:moveTo>
                  <a:lnTo>
                    <a:pt x="37" y="175"/>
                  </a:lnTo>
                  <a:lnTo>
                    <a:pt x="40" y="172"/>
                  </a:lnTo>
                  <a:lnTo>
                    <a:pt x="40" y="168"/>
                  </a:lnTo>
                  <a:lnTo>
                    <a:pt x="40" y="168"/>
                  </a:lnTo>
                  <a:lnTo>
                    <a:pt x="40" y="165"/>
                  </a:lnTo>
                  <a:lnTo>
                    <a:pt x="37" y="167"/>
                  </a:lnTo>
                  <a:lnTo>
                    <a:pt x="39" y="167"/>
                  </a:lnTo>
                  <a:lnTo>
                    <a:pt x="39" y="168"/>
                  </a:lnTo>
                  <a:lnTo>
                    <a:pt x="39" y="168"/>
                  </a:lnTo>
                  <a:lnTo>
                    <a:pt x="39" y="168"/>
                  </a:lnTo>
                  <a:lnTo>
                    <a:pt x="37" y="171"/>
                  </a:lnTo>
                  <a:lnTo>
                    <a:pt x="36" y="174"/>
                  </a:lnTo>
                  <a:lnTo>
                    <a:pt x="37" y="175"/>
                  </a:lnTo>
                  <a:close/>
                  <a:moveTo>
                    <a:pt x="33" y="188"/>
                  </a:moveTo>
                  <a:lnTo>
                    <a:pt x="33" y="188"/>
                  </a:lnTo>
                  <a:lnTo>
                    <a:pt x="33" y="185"/>
                  </a:lnTo>
                  <a:lnTo>
                    <a:pt x="33" y="185"/>
                  </a:lnTo>
                  <a:lnTo>
                    <a:pt x="35" y="181"/>
                  </a:lnTo>
                  <a:lnTo>
                    <a:pt x="35" y="180"/>
                  </a:lnTo>
                  <a:lnTo>
                    <a:pt x="33" y="178"/>
                  </a:lnTo>
                  <a:lnTo>
                    <a:pt x="32" y="180"/>
                  </a:lnTo>
                  <a:lnTo>
                    <a:pt x="32" y="180"/>
                  </a:lnTo>
                  <a:lnTo>
                    <a:pt x="32" y="183"/>
                  </a:lnTo>
                  <a:lnTo>
                    <a:pt x="32" y="185"/>
                  </a:lnTo>
                  <a:lnTo>
                    <a:pt x="32" y="185"/>
                  </a:lnTo>
                  <a:lnTo>
                    <a:pt x="32" y="190"/>
                  </a:lnTo>
                  <a:lnTo>
                    <a:pt x="33" y="188"/>
                  </a:lnTo>
                  <a:close/>
                  <a:moveTo>
                    <a:pt x="36" y="204"/>
                  </a:moveTo>
                  <a:lnTo>
                    <a:pt x="36" y="204"/>
                  </a:lnTo>
                  <a:lnTo>
                    <a:pt x="35" y="194"/>
                  </a:lnTo>
                  <a:lnTo>
                    <a:pt x="32" y="194"/>
                  </a:lnTo>
                  <a:lnTo>
                    <a:pt x="32" y="194"/>
                  </a:lnTo>
                  <a:lnTo>
                    <a:pt x="33" y="204"/>
                  </a:lnTo>
                  <a:lnTo>
                    <a:pt x="36" y="204"/>
                  </a:lnTo>
                  <a:close/>
                  <a:moveTo>
                    <a:pt x="39" y="219"/>
                  </a:moveTo>
                  <a:lnTo>
                    <a:pt x="39" y="219"/>
                  </a:lnTo>
                  <a:lnTo>
                    <a:pt x="37" y="213"/>
                  </a:lnTo>
                  <a:lnTo>
                    <a:pt x="37" y="213"/>
                  </a:lnTo>
                  <a:lnTo>
                    <a:pt x="37" y="209"/>
                  </a:lnTo>
                  <a:lnTo>
                    <a:pt x="35" y="209"/>
                  </a:lnTo>
                  <a:lnTo>
                    <a:pt x="35" y="209"/>
                  </a:lnTo>
                  <a:lnTo>
                    <a:pt x="35" y="213"/>
                  </a:lnTo>
                  <a:lnTo>
                    <a:pt x="35" y="213"/>
                  </a:lnTo>
                  <a:lnTo>
                    <a:pt x="36" y="219"/>
                  </a:lnTo>
                  <a:lnTo>
                    <a:pt x="39" y="219"/>
                  </a:lnTo>
                  <a:close/>
                  <a:moveTo>
                    <a:pt x="46" y="230"/>
                  </a:moveTo>
                  <a:lnTo>
                    <a:pt x="46" y="230"/>
                  </a:lnTo>
                  <a:lnTo>
                    <a:pt x="46" y="229"/>
                  </a:lnTo>
                  <a:lnTo>
                    <a:pt x="46" y="229"/>
                  </a:lnTo>
                  <a:lnTo>
                    <a:pt x="42" y="226"/>
                  </a:lnTo>
                  <a:lnTo>
                    <a:pt x="40" y="223"/>
                  </a:lnTo>
                  <a:lnTo>
                    <a:pt x="37" y="225"/>
                  </a:lnTo>
                  <a:lnTo>
                    <a:pt x="37" y="225"/>
                  </a:lnTo>
                  <a:lnTo>
                    <a:pt x="40" y="227"/>
                  </a:lnTo>
                  <a:lnTo>
                    <a:pt x="43" y="232"/>
                  </a:lnTo>
                  <a:lnTo>
                    <a:pt x="45" y="232"/>
                  </a:lnTo>
                  <a:lnTo>
                    <a:pt x="46" y="230"/>
                  </a:lnTo>
                  <a:close/>
                  <a:moveTo>
                    <a:pt x="45" y="246"/>
                  </a:moveTo>
                  <a:lnTo>
                    <a:pt x="45" y="246"/>
                  </a:lnTo>
                  <a:lnTo>
                    <a:pt x="48" y="236"/>
                  </a:lnTo>
                  <a:lnTo>
                    <a:pt x="46" y="236"/>
                  </a:lnTo>
                  <a:lnTo>
                    <a:pt x="46" y="236"/>
                  </a:lnTo>
                  <a:lnTo>
                    <a:pt x="42" y="245"/>
                  </a:lnTo>
                  <a:lnTo>
                    <a:pt x="45" y="246"/>
                  </a:lnTo>
                  <a:close/>
                  <a:moveTo>
                    <a:pt x="49" y="256"/>
                  </a:moveTo>
                  <a:lnTo>
                    <a:pt x="49" y="256"/>
                  </a:lnTo>
                  <a:lnTo>
                    <a:pt x="45" y="253"/>
                  </a:lnTo>
                  <a:lnTo>
                    <a:pt x="45" y="253"/>
                  </a:lnTo>
                  <a:lnTo>
                    <a:pt x="43" y="251"/>
                  </a:lnTo>
                  <a:lnTo>
                    <a:pt x="40" y="251"/>
                  </a:lnTo>
                  <a:lnTo>
                    <a:pt x="40" y="251"/>
                  </a:lnTo>
                  <a:lnTo>
                    <a:pt x="40" y="253"/>
                  </a:lnTo>
                  <a:lnTo>
                    <a:pt x="43" y="255"/>
                  </a:lnTo>
                  <a:lnTo>
                    <a:pt x="43" y="255"/>
                  </a:lnTo>
                  <a:lnTo>
                    <a:pt x="46" y="259"/>
                  </a:lnTo>
                  <a:lnTo>
                    <a:pt x="49" y="256"/>
                  </a:lnTo>
                  <a:close/>
                  <a:moveTo>
                    <a:pt x="55" y="271"/>
                  </a:moveTo>
                  <a:lnTo>
                    <a:pt x="55" y="271"/>
                  </a:lnTo>
                  <a:lnTo>
                    <a:pt x="55" y="271"/>
                  </a:lnTo>
                  <a:lnTo>
                    <a:pt x="53" y="265"/>
                  </a:lnTo>
                  <a:lnTo>
                    <a:pt x="52" y="261"/>
                  </a:lnTo>
                  <a:lnTo>
                    <a:pt x="50" y="262"/>
                  </a:lnTo>
                  <a:lnTo>
                    <a:pt x="50" y="262"/>
                  </a:lnTo>
                  <a:lnTo>
                    <a:pt x="52" y="265"/>
                  </a:lnTo>
                  <a:lnTo>
                    <a:pt x="52" y="271"/>
                  </a:lnTo>
                  <a:lnTo>
                    <a:pt x="52" y="271"/>
                  </a:lnTo>
                  <a:lnTo>
                    <a:pt x="55" y="271"/>
                  </a:lnTo>
                  <a:close/>
                  <a:moveTo>
                    <a:pt x="52" y="287"/>
                  </a:moveTo>
                  <a:lnTo>
                    <a:pt x="52" y="287"/>
                  </a:lnTo>
                  <a:lnTo>
                    <a:pt x="55" y="277"/>
                  </a:lnTo>
                  <a:lnTo>
                    <a:pt x="52" y="277"/>
                  </a:lnTo>
                  <a:lnTo>
                    <a:pt x="52" y="277"/>
                  </a:lnTo>
                  <a:lnTo>
                    <a:pt x="50" y="285"/>
                  </a:lnTo>
                  <a:lnTo>
                    <a:pt x="52" y="287"/>
                  </a:lnTo>
                  <a:close/>
                  <a:moveTo>
                    <a:pt x="49" y="301"/>
                  </a:moveTo>
                  <a:lnTo>
                    <a:pt x="49" y="301"/>
                  </a:lnTo>
                  <a:lnTo>
                    <a:pt x="52" y="291"/>
                  </a:lnTo>
                  <a:lnTo>
                    <a:pt x="49" y="291"/>
                  </a:lnTo>
                  <a:lnTo>
                    <a:pt x="49" y="291"/>
                  </a:lnTo>
                  <a:lnTo>
                    <a:pt x="46" y="301"/>
                  </a:lnTo>
                  <a:lnTo>
                    <a:pt x="49" y="301"/>
                  </a:lnTo>
                  <a:close/>
                  <a:moveTo>
                    <a:pt x="40" y="314"/>
                  </a:moveTo>
                  <a:lnTo>
                    <a:pt x="40" y="314"/>
                  </a:lnTo>
                  <a:lnTo>
                    <a:pt x="46" y="307"/>
                  </a:lnTo>
                  <a:lnTo>
                    <a:pt x="45" y="306"/>
                  </a:lnTo>
                  <a:lnTo>
                    <a:pt x="45" y="306"/>
                  </a:lnTo>
                  <a:lnTo>
                    <a:pt x="39" y="313"/>
                  </a:lnTo>
                  <a:lnTo>
                    <a:pt x="40" y="314"/>
                  </a:lnTo>
                  <a:close/>
                  <a:moveTo>
                    <a:pt x="32" y="327"/>
                  </a:moveTo>
                  <a:lnTo>
                    <a:pt x="32" y="327"/>
                  </a:lnTo>
                  <a:lnTo>
                    <a:pt x="37" y="319"/>
                  </a:lnTo>
                  <a:lnTo>
                    <a:pt x="36" y="317"/>
                  </a:lnTo>
                  <a:lnTo>
                    <a:pt x="36" y="317"/>
                  </a:lnTo>
                  <a:lnTo>
                    <a:pt x="30" y="326"/>
                  </a:lnTo>
                  <a:lnTo>
                    <a:pt x="32" y="327"/>
                  </a:lnTo>
                  <a:close/>
                  <a:moveTo>
                    <a:pt x="22" y="339"/>
                  </a:moveTo>
                  <a:lnTo>
                    <a:pt x="22" y="339"/>
                  </a:lnTo>
                  <a:lnTo>
                    <a:pt x="29" y="332"/>
                  </a:lnTo>
                  <a:lnTo>
                    <a:pt x="26" y="329"/>
                  </a:lnTo>
                  <a:lnTo>
                    <a:pt x="26" y="329"/>
                  </a:lnTo>
                  <a:lnTo>
                    <a:pt x="20" y="338"/>
                  </a:lnTo>
                  <a:lnTo>
                    <a:pt x="22" y="339"/>
                  </a:lnTo>
                  <a:close/>
                  <a:moveTo>
                    <a:pt x="11" y="351"/>
                  </a:moveTo>
                  <a:lnTo>
                    <a:pt x="11" y="351"/>
                  </a:lnTo>
                  <a:lnTo>
                    <a:pt x="19" y="343"/>
                  </a:lnTo>
                  <a:lnTo>
                    <a:pt x="17" y="342"/>
                  </a:lnTo>
                  <a:lnTo>
                    <a:pt x="17" y="342"/>
                  </a:lnTo>
                  <a:lnTo>
                    <a:pt x="10" y="349"/>
                  </a:lnTo>
                  <a:lnTo>
                    <a:pt x="11" y="351"/>
                  </a:lnTo>
                  <a:close/>
                  <a:moveTo>
                    <a:pt x="1" y="362"/>
                  </a:moveTo>
                  <a:lnTo>
                    <a:pt x="1" y="362"/>
                  </a:lnTo>
                  <a:lnTo>
                    <a:pt x="8" y="355"/>
                  </a:lnTo>
                  <a:lnTo>
                    <a:pt x="7" y="352"/>
                  </a:lnTo>
                  <a:lnTo>
                    <a:pt x="7" y="352"/>
                  </a:lnTo>
                  <a:lnTo>
                    <a:pt x="0" y="361"/>
                  </a:lnTo>
                  <a:lnTo>
                    <a:pt x="1" y="3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34" name="Freeform 1694"/>
            <p:cNvSpPr>
              <a:spLocks noEditPoints="1"/>
            </p:cNvSpPr>
            <p:nvPr/>
          </p:nvSpPr>
          <p:spPr bwMode="auto">
            <a:xfrm>
              <a:off x="4586288" y="2237216"/>
              <a:ext cx="466725" cy="674688"/>
            </a:xfrm>
            <a:custGeom>
              <a:avLst/>
              <a:gdLst>
                <a:gd name="T0" fmla="*/ 16 w 294"/>
                <a:gd name="T1" fmla="*/ 415 h 425"/>
                <a:gd name="T2" fmla="*/ 18 w 294"/>
                <a:gd name="T3" fmla="*/ 415 h 425"/>
                <a:gd name="T4" fmla="*/ 19 w 294"/>
                <a:gd name="T5" fmla="*/ 405 h 425"/>
                <a:gd name="T6" fmla="*/ 28 w 294"/>
                <a:gd name="T7" fmla="*/ 387 h 425"/>
                <a:gd name="T8" fmla="*/ 31 w 294"/>
                <a:gd name="T9" fmla="*/ 378 h 425"/>
                <a:gd name="T10" fmla="*/ 28 w 294"/>
                <a:gd name="T11" fmla="*/ 367 h 425"/>
                <a:gd name="T12" fmla="*/ 31 w 294"/>
                <a:gd name="T13" fmla="*/ 351 h 425"/>
                <a:gd name="T14" fmla="*/ 34 w 294"/>
                <a:gd name="T15" fmla="*/ 347 h 425"/>
                <a:gd name="T16" fmla="*/ 24 w 294"/>
                <a:gd name="T17" fmla="*/ 341 h 425"/>
                <a:gd name="T18" fmla="*/ 25 w 294"/>
                <a:gd name="T19" fmla="*/ 338 h 425"/>
                <a:gd name="T20" fmla="*/ 22 w 294"/>
                <a:gd name="T21" fmla="*/ 319 h 425"/>
                <a:gd name="T22" fmla="*/ 22 w 294"/>
                <a:gd name="T23" fmla="*/ 302 h 425"/>
                <a:gd name="T24" fmla="*/ 22 w 294"/>
                <a:gd name="T25" fmla="*/ 297 h 425"/>
                <a:gd name="T26" fmla="*/ 22 w 294"/>
                <a:gd name="T27" fmla="*/ 281 h 425"/>
                <a:gd name="T28" fmla="*/ 24 w 294"/>
                <a:gd name="T29" fmla="*/ 267 h 425"/>
                <a:gd name="T30" fmla="*/ 28 w 294"/>
                <a:gd name="T31" fmla="*/ 251 h 425"/>
                <a:gd name="T32" fmla="*/ 40 w 294"/>
                <a:gd name="T33" fmla="*/ 241 h 425"/>
                <a:gd name="T34" fmla="*/ 53 w 294"/>
                <a:gd name="T35" fmla="*/ 235 h 425"/>
                <a:gd name="T36" fmla="*/ 51 w 294"/>
                <a:gd name="T37" fmla="*/ 216 h 425"/>
                <a:gd name="T38" fmla="*/ 55 w 294"/>
                <a:gd name="T39" fmla="*/ 210 h 425"/>
                <a:gd name="T40" fmla="*/ 57 w 294"/>
                <a:gd name="T41" fmla="*/ 180 h 425"/>
                <a:gd name="T42" fmla="*/ 60 w 294"/>
                <a:gd name="T43" fmla="*/ 181 h 425"/>
                <a:gd name="T44" fmla="*/ 61 w 294"/>
                <a:gd name="T45" fmla="*/ 177 h 425"/>
                <a:gd name="T46" fmla="*/ 71 w 294"/>
                <a:gd name="T47" fmla="*/ 166 h 425"/>
                <a:gd name="T48" fmla="*/ 79 w 294"/>
                <a:gd name="T49" fmla="*/ 141 h 425"/>
                <a:gd name="T50" fmla="*/ 86 w 294"/>
                <a:gd name="T51" fmla="*/ 111 h 425"/>
                <a:gd name="T52" fmla="*/ 87 w 294"/>
                <a:gd name="T53" fmla="*/ 112 h 425"/>
                <a:gd name="T54" fmla="*/ 92 w 294"/>
                <a:gd name="T55" fmla="*/ 97 h 425"/>
                <a:gd name="T56" fmla="*/ 100 w 294"/>
                <a:gd name="T57" fmla="*/ 90 h 425"/>
                <a:gd name="T58" fmla="*/ 109 w 294"/>
                <a:gd name="T59" fmla="*/ 87 h 425"/>
                <a:gd name="T60" fmla="*/ 115 w 294"/>
                <a:gd name="T61" fmla="*/ 70 h 425"/>
                <a:gd name="T62" fmla="*/ 118 w 294"/>
                <a:gd name="T63" fmla="*/ 70 h 425"/>
                <a:gd name="T64" fmla="*/ 144 w 294"/>
                <a:gd name="T65" fmla="*/ 71 h 425"/>
                <a:gd name="T66" fmla="*/ 148 w 294"/>
                <a:gd name="T67" fmla="*/ 67 h 425"/>
                <a:gd name="T68" fmla="*/ 148 w 294"/>
                <a:gd name="T69" fmla="*/ 57 h 425"/>
                <a:gd name="T70" fmla="*/ 152 w 294"/>
                <a:gd name="T71" fmla="*/ 44 h 425"/>
                <a:gd name="T72" fmla="*/ 167 w 294"/>
                <a:gd name="T73" fmla="*/ 34 h 425"/>
                <a:gd name="T74" fmla="*/ 166 w 294"/>
                <a:gd name="T75" fmla="*/ 38 h 425"/>
                <a:gd name="T76" fmla="*/ 164 w 294"/>
                <a:gd name="T77" fmla="*/ 35 h 425"/>
                <a:gd name="T78" fmla="*/ 164 w 294"/>
                <a:gd name="T79" fmla="*/ 35 h 425"/>
                <a:gd name="T80" fmla="*/ 171 w 294"/>
                <a:gd name="T81" fmla="*/ 42 h 425"/>
                <a:gd name="T82" fmla="*/ 180 w 294"/>
                <a:gd name="T83" fmla="*/ 54 h 425"/>
                <a:gd name="T84" fmla="*/ 196 w 294"/>
                <a:gd name="T85" fmla="*/ 60 h 425"/>
                <a:gd name="T86" fmla="*/ 209 w 294"/>
                <a:gd name="T87" fmla="*/ 53 h 425"/>
                <a:gd name="T88" fmla="*/ 231 w 294"/>
                <a:gd name="T89" fmla="*/ 54 h 425"/>
                <a:gd name="T90" fmla="*/ 228 w 294"/>
                <a:gd name="T91" fmla="*/ 60 h 425"/>
                <a:gd name="T92" fmla="*/ 236 w 294"/>
                <a:gd name="T93" fmla="*/ 48 h 425"/>
                <a:gd name="T94" fmla="*/ 236 w 294"/>
                <a:gd name="T95" fmla="*/ 51 h 425"/>
                <a:gd name="T96" fmla="*/ 238 w 294"/>
                <a:gd name="T97" fmla="*/ 50 h 425"/>
                <a:gd name="T98" fmla="*/ 244 w 294"/>
                <a:gd name="T99" fmla="*/ 28 h 425"/>
                <a:gd name="T100" fmla="*/ 258 w 294"/>
                <a:gd name="T101" fmla="*/ 3 h 425"/>
                <a:gd name="T102" fmla="*/ 252 w 294"/>
                <a:gd name="T103" fmla="*/ 8 h 425"/>
                <a:gd name="T104" fmla="*/ 264 w 294"/>
                <a:gd name="T105" fmla="*/ 0 h 425"/>
                <a:gd name="T106" fmla="*/ 284 w 294"/>
                <a:gd name="T107" fmla="*/ 12 h 425"/>
                <a:gd name="T108" fmla="*/ 277 w 294"/>
                <a:gd name="T109" fmla="*/ 11 h 425"/>
                <a:gd name="T110" fmla="*/ 289 w 294"/>
                <a:gd name="T111" fmla="*/ 15 h 425"/>
                <a:gd name="T112" fmla="*/ 290 w 294"/>
                <a:gd name="T113" fmla="*/ 38 h 425"/>
                <a:gd name="T114" fmla="*/ 289 w 294"/>
                <a:gd name="T115" fmla="*/ 51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4" h="425">
                  <a:moveTo>
                    <a:pt x="9" y="422"/>
                  </a:moveTo>
                  <a:lnTo>
                    <a:pt x="9" y="422"/>
                  </a:lnTo>
                  <a:lnTo>
                    <a:pt x="2" y="419"/>
                  </a:lnTo>
                  <a:lnTo>
                    <a:pt x="0" y="420"/>
                  </a:lnTo>
                  <a:lnTo>
                    <a:pt x="0" y="420"/>
                  </a:lnTo>
                  <a:lnTo>
                    <a:pt x="8" y="423"/>
                  </a:lnTo>
                  <a:lnTo>
                    <a:pt x="9" y="422"/>
                  </a:lnTo>
                  <a:close/>
                  <a:moveTo>
                    <a:pt x="16" y="415"/>
                  </a:moveTo>
                  <a:lnTo>
                    <a:pt x="16" y="415"/>
                  </a:lnTo>
                  <a:lnTo>
                    <a:pt x="15" y="420"/>
                  </a:lnTo>
                  <a:lnTo>
                    <a:pt x="15" y="420"/>
                  </a:lnTo>
                  <a:lnTo>
                    <a:pt x="13" y="422"/>
                  </a:lnTo>
                  <a:lnTo>
                    <a:pt x="13" y="425"/>
                  </a:lnTo>
                  <a:lnTo>
                    <a:pt x="13" y="425"/>
                  </a:lnTo>
                  <a:lnTo>
                    <a:pt x="16" y="423"/>
                  </a:lnTo>
                  <a:lnTo>
                    <a:pt x="16" y="420"/>
                  </a:lnTo>
                  <a:lnTo>
                    <a:pt x="16" y="420"/>
                  </a:lnTo>
                  <a:lnTo>
                    <a:pt x="18" y="415"/>
                  </a:lnTo>
                  <a:lnTo>
                    <a:pt x="16" y="415"/>
                  </a:lnTo>
                  <a:close/>
                  <a:moveTo>
                    <a:pt x="18" y="399"/>
                  </a:moveTo>
                  <a:lnTo>
                    <a:pt x="18" y="399"/>
                  </a:lnTo>
                  <a:lnTo>
                    <a:pt x="16" y="405"/>
                  </a:lnTo>
                  <a:lnTo>
                    <a:pt x="16" y="405"/>
                  </a:lnTo>
                  <a:lnTo>
                    <a:pt x="16" y="409"/>
                  </a:lnTo>
                  <a:lnTo>
                    <a:pt x="19" y="410"/>
                  </a:lnTo>
                  <a:lnTo>
                    <a:pt x="19" y="410"/>
                  </a:lnTo>
                  <a:lnTo>
                    <a:pt x="19" y="405"/>
                  </a:lnTo>
                  <a:lnTo>
                    <a:pt x="19" y="405"/>
                  </a:lnTo>
                  <a:lnTo>
                    <a:pt x="21" y="400"/>
                  </a:lnTo>
                  <a:lnTo>
                    <a:pt x="18" y="399"/>
                  </a:lnTo>
                  <a:close/>
                  <a:moveTo>
                    <a:pt x="25" y="386"/>
                  </a:moveTo>
                  <a:lnTo>
                    <a:pt x="25" y="386"/>
                  </a:lnTo>
                  <a:lnTo>
                    <a:pt x="19" y="394"/>
                  </a:lnTo>
                  <a:lnTo>
                    <a:pt x="22" y="396"/>
                  </a:lnTo>
                  <a:lnTo>
                    <a:pt x="22" y="396"/>
                  </a:lnTo>
                  <a:lnTo>
                    <a:pt x="28" y="387"/>
                  </a:lnTo>
                  <a:lnTo>
                    <a:pt x="25" y="386"/>
                  </a:lnTo>
                  <a:close/>
                  <a:moveTo>
                    <a:pt x="26" y="373"/>
                  </a:moveTo>
                  <a:lnTo>
                    <a:pt x="26" y="373"/>
                  </a:lnTo>
                  <a:lnTo>
                    <a:pt x="28" y="378"/>
                  </a:lnTo>
                  <a:lnTo>
                    <a:pt x="28" y="378"/>
                  </a:lnTo>
                  <a:lnTo>
                    <a:pt x="28" y="381"/>
                  </a:lnTo>
                  <a:lnTo>
                    <a:pt x="29" y="383"/>
                  </a:lnTo>
                  <a:lnTo>
                    <a:pt x="29" y="383"/>
                  </a:lnTo>
                  <a:lnTo>
                    <a:pt x="31" y="378"/>
                  </a:lnTo>
                  <a:lnTo>
                    <a:pt x="31" y="378"/>
                  </a:lnTo>
                  <a:lnTo>
                    <a:pt x="29" y="371"/>
                  </a:lnTo>
                  <a:lnTo>
                    <a:pt x="26" y="373"/>
                  </a:lnTo>
                  <a:close/>
                  <a:moveTo>
                    <a:pt x="25" y="357"/>
                  </a:moveTo>
                  <a:lnTo>
                    <a:pt x="25" y="357"/>
                  </a:lnTo>
                  <a:lnTo>
                    <a:pt x="25" y="360"/>
                  </a:lnTo>
                  <a:lnTo>
                    <a:pt x="25" y="360"/>
                  </a:lnTo>
                  <a:lnTo>
                    <a:pt x="26" y="367"/>
                  </a:lnTo>
                  <a:lnTo>
                    <a:pt x="28" y="367"/>
                  </a:lnTo>
                  <a:lnTo>
                    <a:pt x="28" y="367"/>
                  </a:lnTo>
                  <a:lnTo>
                    <a:pt x="28" y="360"/>
                  </a:lnTo>
                  <a:lnTo>
                    <a:pt x="28" y="360"/>
                  </a:lnTo>
                  <a:lnTo>
                    <a:pt x="28" y="357"/>
                  </a:lnTo>
                  <a:lnTo>
                    <a:pt x="25" y="357"/>
                  </a:lnTo>
                  <a:close/>
                  <a:moveTo>
                    <a:pt x="29" y="347"/>
                  </a:moveTo>
                  <a:lnTo>
                    <a:pt x="29" y="347"/>
                  </a:lnTo>
                  <a:lnTo>
                    <a:pt x="31" y="350"/>
                  </a:lnTo>
                  <a:lnTo>
                    <a:pt x="31" y="351"/>
                  </a:lnTo>
                  <a:lnTo>
                    <a:pt x="31" y="351"/>
                  </a:lnTo>
                  <a:lnTo>
                    <a:pt x="29" y="352"/>
                  </a:lnTo>
                  <a:lnTo>
                    <a:pt x="29" y="354"/>
                  </a:lnTo>
                  <a:lnTo>
                    <a:pt x="29" y="354"/>
                  </a:lnTo>
                  <a:lnTo>
                    <a:pt x="32" y="352"/>
                  </a:lnTo>
                  <a:lnTo>
                    <a:pt x="32" y="352"/>
                  </a:lnTo>
                  <a:lnTo>
                    <a:pt x="34" y="350"/>
                  </a:lnTo>
                  <a:lnTo>
                    <a:pt x="34" y="350"/>
                  </a:lnTo>
                  <a:lnTo>
                    <a:pt x="34" y="347"/>
                  </a:lnTo>
                  <a:lnTo>
                    <a:pt x="31" y="345"/>
                  </a:lnTo>
                  <a:lnTo>
                    <a:pt x="29" y="347"/>
                  </a:lnTo>
                  <a:close/>
                  <a:moveTo>
                    <a:pt x="22" y="332"/>
                  </a:moveTo>
                  <a:lnTo>
                    <a:pt x="22" y="332"/>
                  </a:lnTo>
                  <a:lnTo>
                    <a:pt x="22" y="338"/>
                  </a:lnTo>
                  <a:lnTo>
                    <a:pt x="22" y="338"/>
                  </a:lnTo>
                  <a:lnTo>
                    <a:pt x="22" y="339"/>
                  </a:lnTo>
                  <a:lnTo>
                    <a:pt x="24" y="341"/>
                  </a:lnTo>
                  <a:lnTo>
                    <a:pt x="24" y="341"/>
                  </a:lnTo>
                  <a:lnTo>
                    <a:pt x="26" y="342"/>
                  </a:lnTo>
                  <a:lnTo>
                    <a:pt x="28" y="341"/>
                  </a:lnTo>
                  <a:lnTo>
                    <a:pt x="28" y="341"/>
                  </a:lnTo>
                  <a:lnTo>
                    <a:pt x="25" y="338"/>
                  </a:lnTo>
                  <a:lnTo>
                    <a:pt x="25" y="339"/>
                  </a:lnTo>
                  <a:lnTo>
                    <a:pt x="25" y="338"/>
                  </a:lnTo>
                  <a:lnTo>
                    <a:pt x="25" y="338"/>
                  </a:lnTo>
                  <a:lnTo>
                    <a:pt x="25" y="339"/>
                  </a:lnTo>
                  <a:lnTo>
                    <a:pt x="25" y="338"/>
                  </a:lnTo>
                  <a:lnTo>
                    <a:pt x="25" y="338"/>
                  </a:lnTo>
                  <a:lnTo>
                    <a:pt x="25" y="338"/>
                  </a:lnTo>
                  <a:lnTo>
                    <a:pt x="25" y="336"/>
                  </a:lnTo>
                  <a:lnTo>
                    <a:pt x="25" y="336"/>
                  </a:lnTo>
                  <a:lnTo>
                    <a:pt x="25" y="332"/>
                  </a:lnTo>
                  <a:lnTo>
                    <a:pt x="22" y="332"/>
                  </a:lnTo>
                  <a:close/>
                  <a:moveTo>
                    <a:pt x="22" y="318"/>
                  </a:moveTo>
                  <a:lnTo>
                    <a:pt x="22" y="318"/>
                  </a:lnTo>
                  <a:lnTo>
                    <a:pt x="22" y="319"/>
                  </a:lnTo>
                  <a:lnTo>
                    <a:pt x="22" y="319"/>
                  </a:lnTo>
                  <a:lnTo>
                    <a:pt x="22" y="328"/>
                  </a:lnTo>
                  <a:lnTo>
                    <a:pt x="25" y="328"/>
                  </a:lnTo>
                  <a:lnTo>
                    <a:pt x="25" y="328"/>
                  </a:lnTo>
                  <a:lnTo>
                    <a:pt x="24" y="319"/>
                  </a:lnTo>
                  <a:lnTo>
                    <a:pt x="24" y="319"/>
                  </a:lnTo>
                  <a:lnTo>
                    <a:pt x="24" y="318"/>
                  </a:lnTo>
                  <a:lnTo>
                    <a:pt x="22" y="318"/>
                  </a:lnTo>
                  <a:close/>
                  <a:moveTo>
                    <a:pt x="22" y="302"/>
                  </a:moveTo>
                  <a:lnTo>
                    <a:pt x="22" y="302"/>
                  </a:lnTo>
                  <a:lnTo>
                    <a:pt x="22" y="312"/>
                  </a:lnTo>
                  <a:lnTo>
                    <a:pt x="25" y="312"/>
                  </a:lnTo>
                  <a:lnTo>
                    <a:pt x="25" y="312"/>
                  </a:lnTo>
                  <a:lnTo>
                    <a:pt x="25" y="302"/>
                  </a:lnTo>
                  <a:lnTo>
                    <a:pt x="22" y="302"/>
                  </a:lnTo>
                  <a:close/>
                  <a:moveTo>
                    <a:pt x="22" y="287"/>
                  </a:moveTo>
                  <a:lnTo>
                    <a:pt x="22" y="287"/>
                  </a:lnTo>
                  <a:lnTo>
                    <a:pt x="22" y="297"/>
                  </a:lnTo>
                  <a:lnTo>
                    <a:pt x="25" y="297"/>
                  </a:lnTo>
                  <a:lnTo>
                    <a:pt x="25" y="297"/>
                  </a:lnTo>
                  <a:lnTo>
                    <a:pt x="25" y="287"/>
                  </a:lnTo>
                  <a:lnTo>
                    <a:pt x="22" y="287"/>
                  </a:lnTo>
                  <a:close/>
                  <a:moveTo>
                    <a:pt x="22" y="271"/>
                  </a:moveTo>
                  <a:lnTo>
                    <a:pt x="22" y="271"/>
                  </a:lnTo>
                  <a:lnTo>
                    <a:pt x="22" y="276"/>
                  </a:lnTo>
                  <a:lnTo>
                    <a:pt x="22" y="276"/>
                  </a:lnTo>
                  <a:lnTo>
                    <a:pt x="22" y="281"/>
                  </a:lnTo>
                  <a:lnTo>
                    <a:pt x="25" y="281"/>
                  </a:lnTo>
                  <a:lnTo>
                    <a:pt x="25" y="281"/>
                  </a:lnTo>
                  <a:lnTo>
                    <a:pt x="25" y="276"/>
                  </a:lnTo>
                  <a:lnTo>
                    <a:pt x="25" y="276"/>
                  </a:lnTo>
                  <a:lnTo>
                    <a:pt x="25" y="271"/>
                  </a:lnTo>
                  <a:lnTo>
                    <a:pt x="22" y="271"/>
                  </a:lnTo>
                  <a:close/>
                  <a:moveTo>
                    <a:pt x="26" y="257"/>
                  </a:moveTo>
                  <a:lnTo>
                    <a:pt x="26" y="257"/>
                  </a:lnTo>
                  <a:lnTo>
                    <a:pt x="24" y="267"/>
                  </a:lnTo>
                  <a:lnTo>
                    <a:pt x="26" y="267"/>
                  </a:lnTo>
                  <a:lnTo>
                    <a:pt x="26" y="267"/>
                  </a:lnTo>
                  <a:lnTo>
                    <a:pt x="28" y="257"/>
                  </a:lnTo>
                  <a:lnTo>
                    <a:pt x="26" y="257"/>
                  </a:lnTo>
                  <a:close/>
                  <a:moveTo>
                    <a:pt x="35" y="244"/>
                  </a:moveTo>
                  <a:lnTo>
                    <a:pt x="35" y="244"/>
                  </a:lnTo>
                  <a:lnTo>
                    <a:pt x="31" y="247"/>
                  </a:lnTo>
                  <a:lnTo>
                    <a:pt x="31" y="247"/>
                  </a:lnTo>
                  <a:lnTo>
                    <a:pt x="28" y="251"/>
                  </a:lnTo>
                  <a:lnTo>
                    <a:pt x="31" y="252"/>
                  </a:lnTo>
                  <a:lnTo>
                    <a:pt x="31" y="252"/>
                  </a:lnTo>
                  <a:lnTo>
                    <a:pt x="32" y="248"/>
                  </a:lnTo>
                  <a:lnTo>
                    <a:pt x="32" y="248"/>
                  </a:lnTo>
                  <a:lnTo>
                    <a:pt x="37" y="247"/>
                  </a:lnTo>
                  <a:lnTo>
                    <a:pt x="35" y="244"/>
                  </a:lnTo>
                  <a:close/>
                  <a:moveTo>
                    <a:pt x="48" y="237"/>
                  </a:moveTo>
                  <a:lnTo>
                    <a:pt x="48" y="237"/>
                  </a:lnTo>
                  <a:lnTo>
                    <a:pt x="40" y="241"/>
                  </a:lnTo>
                  <a:lnTo>
                    <a:pt x="41" y="244"/>
                  </a:lnTo>
                  <a:lnTo>
                    <a:pt x="41" y="244"/>
                  </a:lnTo>
                  <a:lnTo>
                    <a:pt x="50" y="239"/>
                  </a:lnTo>
                  <a:lnTo>
                    <a:pt x="48" y="237"/>
                  </a:lnTo>
                  <a:close/>
                  <a:moveTo>
                    <a:pt x="51" y="225"/>
                  </a:moveTo>
                  <a:lnTo>
                    <a:pt x="51" y="225"/>
                  </a:lnTo>
                  <a:lnTo>
                    <a:pt x="53" y="232"/>
                  </a:lnTo>
                  <a:lnTo>
                    <a:pt x="53" y="232"/>
                  </a:lnTo>
                  <a:lnTo>
                    <a:pt x="53" y="235"/>
                  </a:lnTo>
                  <a:lnTo>
                    <a:pt x="54" y="235"/>
                  </a:lnTo>
                  <a:lnTo>
                    <a:pt x="54" y="235"/>
                  </a:lnTo>
                  <a:lnTo>
                    <a:pt x="55" y="232"/>
                  </a:lnTo>
                  <a:lnTo>
                    <a:pt x="55" y="232"/>
                  </a:lnTo>
                  <a:lnTo>
                    <a:pt x="54" y="225"/>
                  </a:lnTo>
                  <a:lnTo>
                    <a:pt x="51" y="225"/>
                  </a:lnTo>
                  <a:close/>
                  <a:moveTo>
                    <a:pt x="53" y="210"/>
                  </a:moveTo>
                  <a:lnTo>
                    <a:pt x="53" y="210"/>
                  </a:lnTo>
                  <a:lnTo>
                    <a:pt x="51" y="216"/>
                  </a:lnTo>
                  <a:lnTo>
                    <a:pt x="51" y="216"/>
                  </a:lnTo>
                  <a:lnTo>
                    <a:pt x="50" y="219"/>
                  </a:lnTo>
                  <a:lnTo>
                    <a:pt x="50" y="221"/>
                  </a:lnTo>
                  <a:lnTo>
                    <a:pt x="53" y="221"/>
                  </a:lnTo>
                  <a:lnTo>
                    <a:pt x="53" y="219"/>
                  </a:lnTo>
                  <a:lnTo>
                    <a:pt x="53" y="219"/>
                  </a:lnTo>
                  <a:lnTo>
                    <a:pt x="53" y="218"/>
                  </a:lnTo>
                  <a:lnTo>
                    <a:pt x="53" y="218"/>
                  </a:lnTo>
                  <a:lnTo>
                    <a:pt x="55" y="210"/>
                  </a:lnTo>
                  <a:lnTo>
                    <a:pt x="53" y="210"/>
                  </a:lnTo>
                  <a:close/>
                  <a:moveTo>
                    <a:pt x="55" y="196"/>
                  </a:moveTo>
                  <a:lnTo>
                    <a:pt x="55" y="196"/>
                  </a:lnTo>
                  <a:lnTo>
                    <a:pt x="54" y="206"/>
                  </a:lnTo>
                  <a:lnTo>
                    <a:pt x="57" y="206"/>
                  </a:lnTo>
                  <a:lnTo>
                    <a:pt x="57" y="206"/>
                  </a:lnTo>
                  <a:lnTo>
                    <a:pt x="58" y="196"/>
                  </a:lnTo>
                  <a:lnTo>
                    <a:pt x="55" y="196"/>
                  </a:lnTo>
                  <a:close/>
                  <a:moveTo>
                    <a:pt x="57" y="180"/>
                  </a:moveTo>
                  <a:lnTo>
                    <a:pt x="57" y="180"/>
                  </a:lnTo>
                  <a:lnTo>
                    <a:pt x="55" y="187"/>
                  </a:lnTo>
                  <a:lnTo>
                    <a:pt x="55" y="187"/>
                  </a:lnTo>
                  <a:lnTo>
                    <a:pt x="55" y="190"/>
                  </a:lnTo>
                  <a:lnTo>
                    <a:pt x="58" y="190"/>
                  </a:lnTo>
                  <a:lnTo>
                    <a:pt x="58" y="190"/>
                  </a:lnTo>
                  <a:lnTo>
                    <a:pt x="58" y="187"/>
                  </a:lnTo>
                  <a:lnTo>
                    <a:pt x="58" y="187"/>
                  </a:lnTo>
                  <a:lnTo>
                    <a:pt x="60" y="181"/>
                  </a:lnTo>
                  <a:lnTo>
                    <a:pt x="57" y="180"/>
                  </a:lnTo>
                  <a:close/>
                  <a:moveTo>
                    <a:pt x="67" y="168"/>
                  </a:moveTo>
                  <a:lnTo>
                    <a:pt x="67" y="168"/>
                  </a:lnTo>
                  <a:lnTo>
                    <a:pt x="64" y="170"/>
                  </a:lnTo>
                  <a:lnTo>
                    <a:pt x="64" y="170"/>
                  </a:lnTo>
                  <a:lnTo>
                    <a:pt x="61" y="173"/>
                  </a:lnTo>
                  <a:lnTo>
                    <a:pt x="60" y="176"/>
                  </a:lnTo>
                  <a:lnTo>
                    <a:pt x="61" y="177"/>
                  </a:lnTo>
                  <a:lnTo>
                    <a:pt x="61" y="177"/>
                  </a:lnTo>
                  <a:lnTo>
                    <a:pt x="66" y="171"/>
                  </a:lnTo>
                  <a:lnTo>
                    <a:pt x="66" y="171"/>
                  </a:lnTo>
                  <a:lnTo>
                    <a:pt x="68" y="170"/>
                  </a:lnTo>
                  <a:lnTo>
                    <a:pt x="67" y="168"/>
                  </a:lnTo>
                  <a:close/>
                  <a:moveTo>
                    <a:pt x="73" y="154"/>
                  </a:moveTo>
                  <a:lnTo>
                    <a:pt x="73" y="154"/>
                  </a:lnTo>
                  <a:lnTo>
                    <a:pt x="68" y="164"/>
                  </a:lnTo>
                  <a:lnTo>
                    <a:pt x="71" y="166"/>
                  </a:lnTo>
                  <a:lnTo>
                    <a:pt x="71" y="166"/>
                  </a:lnTo>
                  <a:lnTo>
                    <a:pt x="76" y="155"/>
                  </a:lnTo>
                  <a:lnTo>
                    <a:pt x="73" y="154"/>
                  </a:lnTo>
                  <a:close/>
                  <a:moveTo>
                    <a:pt x="79" y="141"/>
                  </a:moveTo>
                  <a:lnTo>
                    <a:pt x="79" y="141"/>
                  </a:lnTo>
                  <a:lnTo>
                    <a:pt x="76" y="151"/>
                  </a:lnTo>
                  <a:lnTo>
                    <a:pt x="79" y="151"/>
                  </a:lnTo>
                  <a:lnTo>
                    <a:pt x="79" y="151"/>
                  </a:lnTo>
                  <a:lnTo>
                    <a:pt x="82" y="141"/>
                  </a:lnTo>
                  <a:lnTo>
                    <a:pt x="79" y="141"/>
                  </a:lnTo>
                  <a:close/>
                  <a:moveTo>
                    <a:pt x="82" y="126"/>
                  </a:moveTo>
                  <a:lnTo>
                    <a:pt x="82" y="126"/>
                  </a:lnTo>
                  <a:lnTo>
                    <a:pt x="80" y="135"/>
                  </a:lnTo>
                  <a:lnTo>
                    <a:pt x="82" y="137"/>
                  </a:lnTo>
                  <a:lnTo>
                    <a:pt x="82" y="137"/>
                  </a:lnTo>
                  <a:lnTo>
                    <a:pt x="84" y="126"/>
                  </a:lnTo>
                  <a:lnTo>
                    <a:pt x="82" y="126"/>
                  </a:lnTo>
                  <a:close/>
                  <a:moveTo>
                    <a:pt x="86" y="111"/>
                  </a:moveTo>
                  <a:lnTo>
                    <a:pt x="86" y="111"/>
                  </a:lnTo>
                  <a:lnTo>
                    <a:pt x="86" y="111"/>
                  </a:lnTo>
                  <a:lnTo>
                    <a:pt x="84" y="115"/>
                  </a:lnTo>
                  <a:lnTo>
                    <a:pt x="84" y="115"/>
                  </a:lnTo>
                  <a:lnTo>
                    <a:pt x="83" y="121"/>
                  </a:lnTo>
                  <a:lnTo>
                    <a:pt x="84" y="122"/>
                  </a:lnTo>
                  <a:lnTo>
                    <a:pt x="84" y="122"/>
                  </a:lnTo>
                  <a:lnTo>
                    <a:pt x="86" y="116"/>
                  </a:lnTo>
                  <a:lnTo>
                    <a:pt x="86" y="116"/>
                  </a:lnTo>
                  <a:lnTo>
                    <a:pt x="87" y="112"/>
                  </a:lnTo>
                  <a:lnTo>
                    <a:pt x="87" y="112"/>
                  </a:lnTo>
                  <a:lnTo>
                    <a:pt x="86" y="111"/>
                  </a:lnTo>
                  <a:close/>
                  <a:moveTo>
                    <a:pt x="92" y="97"/>
                  </a:moveTo>
                  <a:lnTo>
                    <a:pt x="92" y="97"/>
                  </a:lnTo>
                  <a:lnTo>
                    <a:pt x="87" y="106"/>
                  </a:lnTo>
                  <a:lnTo>
                    <a:pt x="90" y="108"/>
                  </a:lnTo>
                  <a:lnTo>
                    <a:pt x="90" y="108"/>
                  </a:lnTo>
                  <a:lnTo>
                    <a:pt x="95" y="99"/>
                  </a:lnTo>
                  <a:lnTo>
                    <a:pt x="92" y="97"/>
                  </a:lnTo>
                  <a:close/>
                  <a:moveTo>
                    <a:pt x="103" y="86"/>
                  </a:moveTo>
                  <a:lnTo>
                    <a:pt x="103" y="86"/>
                  </a:lnTo>
                  <a:lnTo>
                    <a:pt x="99" y="87"/>
                  </a:lnTo>
                  <a:lnTo>
                    <a:pt x="99" y="87"/>
                  </a:lnTo>
                  <a:lnTo>
                    <a:pt x="95" y="93"/>
                  </a:lnTo>
                  <a:lnTo>
                    <a:pt x="97" y="95"/>
                  </a:lnTo>
                  <a:lnTo>
                    <a:pt x="97" y="95"/>
                  </a:lnTo>
                  <a:lnTo>
                    <a:pt x="100" y="90"/>
                  </a:lnTo>
                  <a:lnTo>
                    <a:pt x="100" y="90"/>
                  </a:lnTo>
                  <a:lnTo>
                    <a:pt x="103" y="87"/>
                  </a:lnTo>
                  <a:lnTo>
                    <a:pt x="103" y="86"/>
                  </a:lnTo>
                  <a:close/>
                  <a:moveTo>
                    <a:pt x="115" y="86"/>
                  </a:moveTo>
                  <a:lnTo>
                    <a:pt x="115" y="86"/>
                  </a:lnTo>
                  <a:lnTo>
                    <a:pt x="113" y="87"/>
                  </a:lnTo>
                  <a:lnTo>
                    <a:pt x="113" y="87"/>
                  </a:lnTo>
                  <a:lnTo>
                    <a:pt x="112" y="87"/>
                  </a:lnTo>
                  <a:lnTo>
                    <a:pt x="112" y="87"/>
                  </a:lnTo>
                  <a:lnTo>
                    <a:pt x="109" y="87"/>
                  </a:lnTo>
                  <a:lnTo>
                    <a:pt x="108" y="89"/>
                  </a:lnTo>
                  <a:lnTo>
                    <a:pt x="108" y="89"/>
                  </a:lnTo>
                  <a:lnTo>
                    <a:pt x="112" y="90"/>
                  </a:lnTo>
                  <a:lnTo>
                    <a:pt x="112" y="90"/>
                  </a:lnTo>
                  <a:lnTo>
                    <a:pt x="116" y="89"/>
                  </a:lnTo>
                  <a:lnTo>
                    <a:pt x="116" y="89"/>
                  </a:lnTo>
                  <a:lnTo>
                    <a:pt x="118" y="86"/>
                  </a:lnTo>
                  <a:lnTo>
                    <a:pt x="115" y="86"/>
                  </a:lnTo>
                  <a:close/>
                  <a:moveTo>
                    <a:pt x="115" y="70"/>
                  </a:moveTo>
                  <a:lnTo>
                    <a:pt x="115" y="70"/>
                  </a:lnTo>
                  <a:lnTo>
                    <a:pt x="115" y="71"/>
                  </a:lnTo>
                  <a:lnTo>
                    <a:pt x="115" y="71"/>
                  </a:lnTo>
                  <a:lnTo>
                    <a:pt x="115" y="80"/>
                  </a:lnTo>
                  <a:lnTo>
                    <a:pt x="118" y="80"/>
                  </a:lnTo>
                  <a:lnTo>
                    <a:pt x="118" y="80"/>
                  </a:lnTo>
                  <a:lnTo>
                    <a:pt x="118" y="71"/>
                  </a:lnTo>
                  <a:lnTo>
                    <a:pt x="118" y="71"/>
                  </a:lnTo>
                  <a:lnTo>
                    <a:pt x="118" y="70"/>
                  </a:lnTo>
                  <a:lnTo>
                    <a:pt x="115" y="70"/>
                  </a:lnTo>
                  <a:close/>
                  <a:moveTo>
                    <a:pt x="129" y="69"/>
                  </a:moveTo>
                  <a:lnTo>
                    <a:pt x="129" y="69"/>
                  </a:lnTo>
                  <a:lnTo>
                    <a:pt x="119" y="66"/>
                  </a:lnTo>
                  <a:lnTo>
                    <a:pt x="119" y="69"/>
                  </a:lnTo>
                  <a:lnTo>
                    <a:pt x="119" y="69"/>
                  </a:lnTo>
                  <a:lnTo>
                    <a:pt x="129" y="70"/>
                  </a:lnTo>
                  <a:lnTo>
                    <a:pt x="129" y="69"/>
                  </a:lnTo>
                  <a:close/>
                  <a:moveTo>
                    <a:pt x="144" y="71"/>
                  </a:moveTo>
                  <a:lnTo>
                    <a:pt x="144" y="71"/>
                  </a:lnTo>
                  <a:lnTo>
                    <a:pt x="135" y="70"/>
                  </a:lnTo>
                  <a:lnTo>
                    <a:pt x="134" y="71"/>
                  </a:lnTo>
                  <a:lnTo>
                    <a:pt x="134" y="71"/>
                  </a:lnTo>
                  <a:lnTo>
                    <a:pt x="144" y="74"/>
                  </a:lnTo>
                  <a:lnTo>
                    <a:pt x="144" y="71"/>
                  </a:lnTo>
                  <a:close/>
                  <a:moveTo>
                    <a:pt x="148" y="61"/>
                  </a:moveTo>
                  <a:lnTo>
                    <a:pt x="148" y="61"/>
                  </a:lnTo>
                  <a:lnTo>
                    <a:pt x="148" y="67"/>
                  </a:lnTo>
                  <a:lnTo>
                    <a:pt x="147" y="71"/>
                  </a:lnTo>
                  <a:lnTo>
                    <a:pt x="150" y="73"/>
                  </a:lnTo>
                  <a:lnTo>
                    <a:pt x="150" y="73"/>
                  </a:lnTo>
                  <a:lnTo>
                    <a:pt x="151" y="69"/>
                  </a:lnTo>
                  <a:lnTo>
                    <a:pt x="151" y="63"/>
                  </a:lnTo>
                  <a:lnTo>
                    <a:pt x="148" y="61"/>
                  </a:lnTo>
                  <a:close/>
                  <a:moveTo>
                    <a:pt x="148" y="47"/>
                  </a:moveTo>
                  <a:lnTo>
                    <a:pt x="148" y="47"/>
                  </a:lnTo>
                  <a:lnTo>
                    <a:pt x="148" y="57"/>
                  </a:lnTo>
                  <a:lnTo>
                    <a:pt x="151" y="57"/>
                  </a:lnTo>
                  <a:lnTo>
                    <a:pt x="151" y="57"/>
                  </a:lnTo>
                  <a:lnTo>
                    <a:pt x="151" y="47"/>
                  </a:lnTo>
                  <a:lnTo>
                    <a:pt x="148" y="47"/>
                  </a:lnTo>
                  <a:close/>
                  <a:moveTo>
                    <a:pt x="163" y="42"/>
                  </a:moveTo>
                  <a:lnTo>
                    <a:pt x="163" y="42"/>
                  </a:lnTo>
                  <a:lnTo>
                    <a:pt x="161" y="42"/>
                  </a:lnTo>
                  <a:lnTo>
                    <a:pt x="161" y="42"/>
                  </a:lnTo>
                  <a:lnTo>
                    <a:pt x="152" y="44"/>
                  </a:lnTo>
                  <a:lnTo>
                    <a:pt x="154" y="45"/>
                  </a:lnTo>
                  <a:lnTo>
                    <a:pt x="154" y="45"/>
                  </a:lnTo>
                  <a:lnTo>
                    <a:pt x="161" y="45"/>
                  </a:lnTo>
                  <a:lnTo>
                    <a:pt x="161" y="45"/>
                  </a:lnTo>
                  <a:lnTo>
                    <a:pt x="164" y="44"/>
                  </a:lnTo>
                  <a:lnTo>
                    <a:pt x="163" y="42"/>
                  </a:lnTo>
                  <a:close/>
                  <a:moveTo>
                    <a:pt x="170" y="37"/>
                  </a:moveTo>
                  <a:lnTo>
                    <a:pt x="170" y="37"/>
                  </a:lnTo>
                  <a:lnTo>
                    <a:pt x="167" y="34"/>
                  </a:lnTo>
                  <a:lnTo>
                    <a:pt x="167" y="34"/>
                  </a:lnTo>
                  <a:lnTo>
                    <a:pt x="164" y="34"/>
                  </a:lnTo>
                  <a:lnTo>
                    <a:pt x="164" y="34"/>
                  </a:lnTo>
                  <a:lnTo>
                    <a:pt x="163" y="34"/>
                  </a:lnTo>
                  <a:lnTo>
                    <a:pt x="163" y="34"/>
                  </a:lnTo>
                  <a:lnTo>
                    <a:pt x="163" y="35"/>
                  </a:lnTo>
                  <a:lnTo>
                    <a:pt x="163" y="35"/>
                  </a:lnTo>
                  <a:lnTo>
                    <a:pt x="163" y="40"/>
                  </a:lnTo>
                  <a:lnTo>
                    <a:pt x="166" y="38"/>
                  </a:lnTo>
                  <a:lnTo>
                    <a:pt x="166" y="38"/>
                  </a:lnTo>
                  <a:lnTo>
                    <a:pt x="166" y="35"/>
                  </a:lnTo>
                  <a:lnTo>
                    <a:pt x="166" y="35"/>
                  </a:lnTo>
                  <a:lnTo>
                    <a:pt x="164" y="35"/>
                  </a:lnTo>
                  <a:lnTo>
                    <a:pt x="166" y="35"/>
                  </a:lnTo>
                  <a:lnTo>
                    <a:pt x="166" y="35"/>
                  </a:lnTo>
                  <a:lnTo>
                    <a:pt x="164" y="35"/>
                  </a:lnTo>
                  <a:lnTo>
                    <a:pt x="166" y="35"/>
                  </a:lnTo>
                  <a:lnTo>
                    <a:pt x="164" y="35"/>
                  </a:lnTo>
                  <a:lnTo>
                    <a:pt x="164" y="35"/>
                  </a:lnTo>
                  <a:lnTo>
                    <a:pt x="166" y="35"/>
                  </a:lnTo>
                  <a:lnTo>
                    <a:pt x="164" y="35"/>
                  </a:lnTo>
                  <a:lnTo>
                    <a:pt x="164" y="35"/>
                  </a:lnTo>
                  <a:lnTo>
                    <a:pt x="164" y="35"/>
                  </a:lnTo>
                  <a:lnTo>
                    <a:pt x="164" y="35"/>
                  </a:lnTo>
                  <a:lnTo>
                    <a:pt x="164" y="35"/>
                  </a:lnTo>
                  <a:lnTo>
                    <a:pt x="164" y="35"/>
                  </a:lnTo>
                  <a:lnTo>
                    <a:pt x="164" y="35"/>
                  </a:lnTo>
                  <a:lnTo>
                    <a:pt x="164" y="35"/>
                  </a:lnTo>
                  <a:lnTo>
                    <a:pt x="166" y="37"/>
                  </a:lnTo>
                  <a:lnTo>
                    <a:pt x="166" y="37"/>
                  </a:lnTo>
                  <a:lnTo>
                    <a:pt x="168" y="38"/>
                  </a:lnTo>
                  <a:lnTo>
                    <a:pt x="170" y="37"/>
                  </a:lnTo>
                  <a:close/>
                  <a:moveTo>
                    <a:pt x="179" y="48"/>
                  </a:moveTo>
                  <a:lnTo>
                    <a:pt x="179" y="48"/>
                  </a:lnTo>
                  <a:lnTo>
                    <a:pt x="173" y="41"/>
                  </a:lnTo>
                  <a:lnTo>
                    <a:pt x="171" y="42"/>
                  </a:lnTo>
                  <a:lnTo>
                    <a:pt x="171" y="42"/>
                  </a:lnTo>
                  <a:lnTo>
                    <a:pt x="177" y="51"/>
                  </a:lnTo>
                  <a:lnTo>
                    <a:pt x="179" y="48"/>
                  </a:lnTo>
                  <a:close/>
                  <a:moveTo>
                    <a:pt x="190" y="57"/>
                  </a:moveTo>
                  <a:lnTo>
                    <a:pt x="190" y="57"/>
                  </a:lnTo>
                  <a:lnTo>
                    <a:pt x="187" y="55"/>
                  </a:lnTo>
                  <a:lnTo>
                    <a:pt x="187" y="55"/>
                  </a:lnTo>
                  <a:lnTo>
                    <a:pt x="183" y="53"/>
                  </a:lnTo>
                  <a:lnTo>
                    <a:pt x="180" y="54"/>
                  </a:lnTo>
                  <a:lnTo>
                    <a:pt x="180" y="54"/>
                  </a:lnTo>
                  <a:lnTo>
                    <a:pt x="186" y="58"/>
                  </a:lnTo>
                  <a:lnTo>
                    <a:pt x="186" y="58"/>
                  </a:lnTo>
                  <a:lnTo>
                    <a:pt x="190" y="60"/>
                  </a:lnTo>
                  <a:lnTo>
                    <a:pt x="190" y="57"/>
                  </a:lnTo>
                  <a:close/>
                  <a:moveTo>
                    <a:pt x="205" y="54"/>
                  </a:moveTo>
                  <a:lnTo>
                    <a:pt x="205" y="54"/>
                  </a:lnTo>
                  <a:lnTo>
                    <a:pt x="194" y="57"/>
                  </a:lnTo>
                  <a:lnTo>
                    <a:pt x="196" y="60"/>
                  </a:lnTo>
                  <a:lnTo>
                    <a:pt x="196" y="60"/>
                  </a:lnTo>
                  <a:lnTo>
                    <a:pt x="205" y="55"/>
                  </a:lnTo>
                  <a:lnTo>
                    <a:pt x="205" y="54"/>
                  </a:lnTo>
                  <a:close/>
                  <a:moveTo>
                    <a:pt x="219" y="57"/>
                  </a:moveTo>
                  <a:lnTo>
                    <a:pt x="219" y="57"/>
                  </a:lnTo>
                  <a:lnTo>
                    <a:pt x="215" y="54"/>
                  </a:lnTo>
                  <a:lnTo>
                    <a:pt x="215" y="54"/>
                  </a:lnTo>
                  <a:lnTo>
                    <a:pt x="212" y="53"/>
                  </a:lnTo>
                  <a:lnTo>
                    <a:pt x="209" y="53"/>
                  </a:lnTo>
                  <a:lnTo>
                    <a:pt x="209" y="53"/>
                  </a:lnTo>
                  <a:lnTo>
                    <a:pt x="209" y="54"/>
                  </a:lnTo>
                  <a:lnTo>
                    <a:pt x="209" y="54"/>
                  </a:lnTo>
                  <a:lnTo>
                    <a:pt x="209" y="54"/>
                  </a:lnTo>
                  <a:lnTo>
                    <a:pt x="213" y="55"/>
                  </a:lnTo>
                  <a:lnTo>
                    <a:pt x="213" y="55"/>
                  </a:lnTo>
                  <a:lnTo>
                    <a:pt x="218" y="60"/>
                  </a:lnTo>
                  <a:lnTo>
                    <a:pt x="219" y="57"/>
                  </a:lnTo>
                  <a:close/>
                  <a:moveTo>
                    <a:pt x="231" y="54"/>
                  </a:moveTo>
                  <a:lnTo>
                    <a:pt x="231" y="54"/>
                  </a:lnTo>
                  <a:lnTo>
                    <a:pt x="226" y="58"/>
                  </a:lnTo>
                  <a:lnTo>
                    <a:pt x="223" y="58"/>
                  </a:lnTo>
                  <a:lnTo>
                    <a:pt x="222" y="58"/>
                  </a:lnTo>
                  <a:lnTo>
                    <a:pt x="222" y="61"/>
                  </a:lnTo>
                  <a:lnTo>
                    <a:pt x="223" y="61"/>
                  </a:lnTo>
                  <a:lnTo>
                    <a:pt x="223" y="61"/>
                  </a:lnTo>
                  <a:lnTo>
                    <a:pt x="225" y="61"/>
                  </a:lnTo>
                  <a:lnTo>
                    <a:pt x="228" y="60"/>
                  </a:lnTo>
                  <a:lnTo>
                    <a:pt x="232" y="55"/>
                  </a:lnTo>
                  <a:lnTo>
                    <a:pt x="231" y="54"/>
                  </a:lnTo>
                  <a:close/>
                  <a:moveTo>
                    <a:pt x="238" y="42"/>
                  </a:moveTo>
                  <a:lnTo>
                    <a:pt x="238" y="42"/>
                  </a:lnTo>
                  <a:lnTo>
                    <a:pt x="236" y="47"/>
                  </a:lnTo>
                  <a:lnTo>
                    <a:pt x="236" y="47"/>
                  </a:lnTo>
                  <a:lnTo>
                    <a:pt x="235" y="48"/>
                  </a:lnTo>
                  <a:lnTo>
                    <a:pt x="235" y="48"/>
                  </a:lnTo>
                  <a:lnTo>
                    <a:pt x="236" y="48"/>
                  </a:lnTo>
                  <a:lnTo>
                    <a:pt x="235" y="48"/>
                  </a:lnTo>
                  <a:lnTo>
                    <a:pt x="235" y="48"/>
                  </a:lnTo>
                  <a:lnTo>
                    <a:pt x="236" y="48"/>
                  </a:lnTo>
                  <a:lnTo>
                    <a:pt x="235" y="48"/>
                  </a:lnTo>
                  <a:lnTo>
                    <a:pt x="235" y="48"/>
                  </a:lnTo>
                  <a:lnTo>
                    <a:pt x="235" y="50"/>
                  </a:lnTo>
                  <a:lnTo>
                    <a:pt x="234" y="50"/>
                  </a:lnTo>
                  <a:lnTo>
                    <a:pt x="235" y="53"/>
                  </a:lnTo>
                  <a:lnTo>
                    <a:pt x="236" y="51"/>
                  </a:lnTo>
                  <a:lnTo>
                    <a:pt x="236" y="51"/>
                  </a:lnTo>
                  <a:lnTo>
                    <a:pt x="236" y="51"/>
                  </a:lnTo>
                  <a:lnTo>
                    <a:pt x="236" y="51"/>
                  </a:lnTo>
                  <a:lnTo>
                    <a:pt x="236" y="51"/>
                  </a:lnTo>
                  <a:lnTo>
                    <a:pt x="236" y="51"/>
                  </a:lnTo>
                  <a:lnTo>
                    <a:pt x="236" y="51"/>
                  </a:lnTo>
                  <a:lnTo>
                    <a:pt x="236" y="51"/>
                  </a:lnTo>
                  <a:lnTo>
                    <a:pt x="236" y="51"/>
                  </a:lnTo>
                  <a:lnTo>
                    <a:pt x="238" y="50"/>
                  </a:lnTo>
                  <a:lnTo>
                    <a:pt x="238" y="50"/>
                  </a:lnTo>
                  <a:lnTo>
                    <a:pt x="241" y="42"/>
                  </a:lnTo>
                  <a:lnTo>
                    <a:pt x="238" y="42"/>
                  </a:lnTo>
                  <a:close/>
                  <a:moveTo>
                    <a:pt x="242" y="28"/>
                  </a:moveTo>
                  <a:lnTo>
                    <a:pt x="242" y="28"/>
                  </a:lnTo>
                  <a:lnTo>
                    <a:pt x="239" y="38"/>
                  </a:lnTo>
                  <a:lnTo>
                    <a:pt x="242" y="38"/>
                  </a:lnTo>
                  <a:lnTo>
                    <a:pt x="242" y="38"/>
                  </a:lnTo>
                  <a:lnTo>
                    <a:pt x="244" y="28"/>
                  </a:lnTo>
                  <a:lnTo>
                    <a:pt x="242" y="28"/>
                  </a:lnTo>
                  <a:close/>
                  <a:moveTo>
                    <a:pt x="245" y="12"/>
                  </a:moveTo>
                  <a:lnTo>
                    <a:pt x="245" y="12"/>
                  </a:lnTo>
                  <a:lnTo>
                    <a:pt x="242" y="22"/>
                  </a:lnTo>
                  <a:lnTo>
                    <a:pt x="245" y="24"/>
                  </a:lnTo>
                  <a:lnTo>
                    <a:pt x="245" y="24"/>
                  </a:lnTo>
                  <a:lnTo>
                    <a:pt x="248" y="13"/>
                  </a:lnTo>
                  <a:lnTo>
                    <a:pt x="245" y="12"/>
                  </a:lnTo>
                  <a:close/>
                  <a:moveTo>
                    <a:pt x="258" y="3"/>
                  </a:moveTo>
                  <a:lnTo>
                    <a:pt x="258" y="3"/>
                  </a:lnTo>
                  <a:lnTo>
                    <a:pt x="252" y="5"/>
                  </a:lnTo>
                  <a:lnTo>
                    <a:pt x="252" y="5"/>
                  </a:lnTo>
                  <a:lnTo>
                    <a:pt x="250" y="6"/>
                  </a:lnTo>
                  <a:lnTo>
                    <a:pt x="248" y="8"/>
                  </a:lnTo>
                  <a:lnTo>
                    <a:pt x="250" y="9"/>
                  </a:lnTo>
                  <a:lnTo>
                    <a:pt x="250" y="9"/>
                  </a:lnTo>
                  <a:lnTo>
                    <a:pt x="252" y="8"/>
                  </a:lnTo>
                  <a:lnTo>
                    <a:pt x="252" y="8"/>
                  </a:lnTo>
                  <a:lnTo>
                    <a:pt x="255" y="8"/>
                  </a:lnTo>
                  <a:lnTo>
                    <a:pt x="258" y="6"/>
                  </a:lnTo>
                  <a:lnTo>
                    <a:pt x="258" y="3"/>
                  </a:lnTo>
                  <a:close/>
                  <a:moveTo>
                    <a:pt x="273" y="3"/>
                  </a:moveTo>
                  <a:lnTo>
                    <a:pt x="273" y="3"/>
                  </a:lnTo>
                  <a:lnTo>
                    <a:pt x="268" y="0"/>
                  </a:lnTo>
                  <a:lnTo>
                    <a:pt x="265" y="0"/>
                  </a:lnTo>
                  <a:lnTo>
                    <a:pt x="264" y="0"/>
                  </a:lnTo>
                  <a:lnTo>
                    <a:pt x="264" y="0"/>
                  </a:lnTo>
                  <a:lnTo>
                    <a:pt x="263" y="0"/>
                  </a:lnTo>
                  <a:lnTo>
                    <a:pt x="263" y="3"/>
                  </a:lnTo>
                  <a:lnTo>
                    <a:pt x="263" y="3"/>
                  </a:lnTo>
                  <a:lnTo>
                    <a:pt x="265" y="3"/>
                  </a:lnTo>
                  <a:lnTo>
                    <a:pt x="265" y="2"/>
                  </a:lnTo>
                  <a:lnTo>
                    <a:pt x="265" y="2"/>
                  </a:lnTo>
                  <a:lnTo>
                    <a:pt x="271" y="5"/>
                  </a:lnTo>
                  <a:lnTo>
                    <a:pt x="273" y="3"/>
                  </a:lnTo>
                  <a:close/>
                  <a:moveTo>
                    <a:pt x="284" y="12"/>
                  </a:moveTo>
                  <a:lnTo>
                    <a:pt x="284" y="12"/>
                  </a:lnTo>
                  <a:lnTo>
                    <a:pt x="281" y="11"/>
                  </a:lnTo>
                  <a:lnTo>
                    <a:pt x="278" y="9"/>
                  </a:lnTo>
                  <a:lnTo>
                    <a:pt x="278" y="9"/>
                  </a:lnTo>
                  <a:lnTo>
                    <a:pt x="277" y="6"/>
                  </a:lnTo>
                  <a:lnTo>
                    <a:pt x="276" y="8"/>
                  </a:lnTo>
                  <a:lnTo>
                    <a:pt x="276" y="8"/>
                  </a:lnTo>
                  <a:lnTo>
                    <a:pt x="277" y="11"/>
                  </a:lnTo>
                  <a:lnTo>
                    <a:pt x="277" y="11"/>
                  </a:lnTo>
                  <a:lnTo>
                    <a:pt x="280" y="13"/>
                  </a:lnTo>
                  <a:lnTo>
                    <a:pt x="283" y="15"/>
                  </a:lnTo>
                  <a:lnTo>
                    <a:pt x="284" y="12"/>
                  </a:lnTo>
                  <a:close/>
                  <a:moveTo>
                    <a:pt x="294" y="24"/>
                  </a:moveTo>
                  <a:lnTo>
                    <a:pt x="294" y="24"/>
                  </a:lnTo>
                  <a:lnTo>
                    <a:pt x="294" y="21"/>
                  </a:lnTo>
                  <a:lnTo>
                    <a:pt x="294" y="21"/>
                  </a:lnTo>
                  <a:lnTo>
                    <a:pt x="292" y="18"/>
                  </a:lnTo>
                  <a:lnTo>
                    <a:pt x="289" y="15"/>
                  </a:lnTo>
                  <a:lnTo>
                    <a:pt x="287" y="16"/>
                  </a:lnTo>
                  <a:lnTo>
                    <a:pt x="287" y="16"/>
                  </a:lnTo>
                  <a:lnTo>
                    <a:pt x="290" y="19"/>
                  </a:lnTo>
                  <a:lnTo>
                    <a:pt x="292" y="22"/>
                  </a:lnTo>
                  <a:lnTo>
                    <a:pt x="292" y="22"/>
                  </a:lnTo>
                  <a:lnTo>
                    <a:pt x="293" y="24"/>
                  </a:lnTo>
                  <a:lnTo>
                    <a:pt x="294" y="24"/>
                  </a:lnTo>
                  <a:close/>
                  <a:moveTo>
                    <a:pt x="290" y="38"/>
                  </a:moveTo>
                  <a:lnTo>
                    <a:pt x="290" y="38"/>
                  </a:lnTo>
                  <a:lnTo>
                    <a:pt x="293" y="34"/>
                  </a:lnTo>
                  <a:lnTo>
                    <a:pt x="294" y="29"/>
                  </a:lnTo>
                  <a:lnTo>
                    <a:pt x="292" y="28"/>
                  </a:lnTo>
                  <a:lnTo>
                    <a:pt x="292" y="28"/>
                  </a:lnTo>
                  <a:lnTo>
                    <a:pt x="290" y="32"/>
                  </a:lnTo>
                  <a:lnTo>
                    <a:pt x="287" y="37"/>
                  </a:lnTo>
                  <a:lnTo>
                    <a:pt x="290" y="38"/>
                  </a:lnTo>
                  <a:close/>
                  <a:moveTo>
                    <a:pt x="289" y="51"/>
                  </a:moveTo>
                  <a:lnTo>
                    <a:pt x="289" y="51"/>
                  </a:lnTo>
                  <a:lnTo>
                    <a:pt x="287" y="42"/>
                  </a:lnTo>
                  <a:lnTo>
                    <a:pt x="287" y="42"/>
                  </a:lnTo>
                  <a:lnTo>
                    <a:pt x="284" y="41"/>
                  </a:lnTo>
                  <a:lnTo>
                    <a:pt x="284" y="41"/>
                  </a:lnTo>
                  <a:lnTo>
                    <a:pt x="284" y="42"/>
                  </a:lnTo>
                  <a:lnTo>
                    <a:pt x="284" y="42"/>
                  </a:lnTo>
                  <a:lnTo>
                    <a:pt x="286" y="53"/>
                  </a:lnTo>
                  <a:lnTo>
                    <a:pt x="289"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35" name="Freeform 1695"/>
            <p:cNvSpPr>
              <a:spLocks noEditPoints="1"/>
            </p:cNvSpPr>
            <p:nvPr/>
          </p:nvSpPr>
          <p:spPr bwMode="auto">
            <a:xfrm>
              <a:off x="4830763" y="2318179"/>
              <a:ext cx="93663" cy="211138"/>
            </a:xfrm>
            <a:custGeom>
              <a:avLst/>
              <a:gdLst>
                <a:gd name="T0" fmla="*/ 10 w 59"/>
                <a:gd name="T1" fmla="*/ 3 h 133"/>
                <a:gd name="T2" fmla="*/ 0 w 59"/>
                <a:gd name="T3" fmla="*/ 3 h 133"/>
                <a:gd name="T4" fmla="*/ 9 w 59"/>
                <a:gd name="T5" fmla="*/ 6 h 133"/>
                <a:gd name="T6" fmla="*/ 23 w 59"/>
                <a:gd name="T7" fmla="*/ 10 h 133"/>
                <a:gd name="T8" fmla="*/ 19 w 59"/>
                <a:gd name="T9" fmla="*/ 7 h 133"/>
                <a:gd name="T10" fmla="*/ 14 w 59"/>
                <a:gd name="T11" fmla="*/ 4 h 133"/>
                <a:gd name="T12" fmla="*/ 14 w 59"/>
                <a:gd name="T13" fmla="*/ 7 h 133"/>
                <a:gd name="T14" fmla="*/ 17 w 59"/>
                <a:gd name="T15" fmla="*/ 9 h 133"/>
                <a:gd name="T16" fmla="*/ 23 w 59"/>
                <a:gd name="T17" fmla="*/ 10 h 133"/>
                <a:gd name="T18" fmla="*/ 36 w 59"/>
                <a:gd name="T19" fmla="*/ 19 h 133"/>
                <a:gd name="T20" fmla="*/ 35 w 59"/>
                <a:gd name="T21" fmla="*/ 16 h 133"/>
                <a:gd name="T22" fmla="*/ 26 w 59"/>
                <a:gd name="T23" fmla="*/ 16 h 133"/>
                <a:gd name="T24" fmla="*/ 33 w 59"/>
                <a:gd name="T25" fmla="*/ 19 h 133"/>
                <a:gd name="T26" fmla="*/ 35 w 59"/>
                <a:gd name="T27" fmla="*/ 20 h 133"/>
                <a:gd name="T28" fmla="*/ 45 w 59"/>
                <a:gd name="T29" fmla="*/ 32 h 133"/>
                <a:gd name="T30" fmla="*/ 39 w 59"/>
                <a:gd name="T31" fmla="*/ 23 h 133"/>
                <a:gd name="T32" fmla="*/ 38 w 59"/>
                <a:gd name="T33" fmla="*/ 25 h 133"/>
                <a:gd name="T34" fmla="*/ 45 w 59"/>
                <a:gd name="T35" fmla="*/ 32 h 133"/>
                <a:gd name="T36" fmla="*/ 51 w 59"/>
                <a:gd name="T37" fmla="*/ 46 h 133"/>
                <a:gd name="T38" fmla="*/ 51 w 59"/>
                <a:gd name="T39" fmla="*/ 42 h 133"/>
                <a:gd name="T40" fmla="*/ 48 w 59"/>
                <a:gd name="T41" fmla="*/ 39 h 133"/>
                <a:gd name="T42" fmla="*/ 45 w 59"/>
                <a:gd name="T43" fmla="*/ 38 h 133"/>
                <a:gd name="T44" fmla="*/ 46 w 59"/>
                <a:gd name="T45" fmla="*/ 41 h 133"/>
                <a:gd name="T46" fmla="*/ 48 w 59"/>
                <a:gd name="T47" fmla="*/ 44 h 133"/>
                <a:gd name="T48" fmla="*/ 49 w 59"/>
                <a:gd name="T49" fmla="*/ 46 h 133"/>
                <a:gd name="T50" fmla="*/ 52 w 59"/>
                <a:gd name="T51" fmla="*/ 61 h 133"/>
                <a:gd name="T52" fmla="*/ 51 w 59"/>
                <a:gd name="T53" fmla="*/ 54 h 133"/>
                <a:gd name="T54" fmla="*/ 51 w 59"/>
                <a:gd name="T55" fmla="*/ 52 h 133"/>
                <a:gd name="T56" fmla="*/ 48 w 59"/>
                <a:gd name="T57" fmla="*/ 51 h 133"/>
                <a:gd name="T58" fmla="*/ 48 w 59"/>
                <a:gd name="T59" fmla="*/ 52 h 133"/>
                <a:gd name="T60" fmla="*/ 48 w 59"/>
                <a:gd name="T61" fmla="*/ 54 h 133"/>
                <a:gd name="T62" fmla="*/ 52 w 59"/>
                <a:gd name="T63" fmla="*/ 61 h 133"/>
                <a:gd name="T64" fmla="*/ 52 w 59"/>
                <a:gd name="T65" fmla="*/ 75 h 133"/>
                <a:gd name="T66" fmla="*/ 52 w 59"/>
                <a:gd name="T67" fmla="*/ 74 h 133"/>
                <a:gd name="T68" fmla="*/ 54 w 59"/>
                <a:gd name="T69" fmla="*/ 67 h 133"/>
                <a:gd name="T70" fmla="*/ 51 w 59"/>
                <a:gd name="T71" fmla="*/ 67 h 133"/>
                <a:gd name="T72" fmla="*/ 49 w 59"/>
                <a:gd name="T73" fmla="*/ 74 h 133"/>
                <a:gd name="T74" fmla="*/ 51 w 59"/>
                <a:gd name="T75" fmla="*/ 77 h 133"/>
                <a:gd name="T76" fmla="*/ 59 w 59"/>
                <a:gd name="T77" fmla="*/ 90 h 133"/>
                <a:gd name="T78" fmla="*/ 58 w 59"/>
                <a:gd name="T79" fmla="*/ 84 h 133"/>
                <a:gd name="T80" fmla="*/ 54 w 59"/>
                <a:gd name="T81" fmla="*/ 81 h 133"/>
                <a:gd name="T82" fmla="*/ 56 w 59"/>
                <a:gd name="T83" fmla="*/ 86 h 133"/>
                <a:gd name="T84" fmla="*/ 59 w 59"/>
                <a:gd name="T85" fmla="*/ 90 h 133"/>
                <a:gd name="T86" fmla="*/ 56 w 59"/>
                <a:gd name="T87" fmla="*/ 104 h 133"/>
                <a:gd name="T88" fmla="*/ 56 w 59"/>
                <a:gd name="T89" fmla="*/ 94 h 133"/>
                <a:gd name="T90" fmla="*/ 54 w 59"/>
                <a:gd name="T91" fmla="*/ 104 h 133"/>
                <a:gd name="T92" fmla="*/ 55 w 59"/>
                <a:gd name="T93" fmla="*/ 119 h 133"/>
                <a:gd name="T94" fmla="*/ 55 w 59"/>
                <a:gd name="T95" fmla="*/ 117 h 133"/>
                <a:gd name="T96" fmla="*/ 55 w 59"/>
                <a:gd name="T97" fmla="*/ 113 h 133"/>
                <a:gd name="T98" fmla="*/ 54 w 59"/>
                <a:gd name="T99" fmla="*/ 112 h 133"/>
                <a:gd name="T100" fmla="*/ 54 w 59"/>
                <a:gd name="T101" fmla="*/ 109 h 133"/>
                <a:gd name="T102" fmla="*/ 52 w 59"/>
                <a:gd name="T103" fmla="*/ 109 h 133"/>
                <a:gd name="T104" fmla="*/ 51 w 59"/>
                <a:gd name="T105" fmla="*/ 112 h 133"/>
                <a:gd name="T106" fmla="*/ 52 w 59"/>
                <a:gd name="T107" fmla="*/ 115 h 133"/>
                <a:gd name="T108" fmla="*/ 54 w 59"/>
                <a:gd name="T109" fmla="*/ 117 h 133"/>
                <a:gd name="T110" fmla="*/ 55 w 59"/>
                <a:gd name="T111" fmla="*/ 119 h 133"/>
                <a:gd name="T112" fmla="*/ 58 w 59"/>
                <a:gd name="T113" fmla="*/ 133 h 133"/>
                <a:gd name="T114" fmla="*/ 54 w 59"/>
                <a:gd name="T115" fmla="*/ 123 h 133"/>
                <a:gd name="T116" fmla="*/ 56 w 59"/>
                <a:gd name="T117"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9" h="133">
                  <a:moveTo>
                    <a:pt x="10" y="3"/>
                  </a:moveTo>
                  <a:lnTo>
                    <a:pt x="10" y="3"/>
                  </a:lnTo>
                  <a:lnTo>
                    <a:pt x="0" y="0"/>
                  </a:lnTo>
                  <a:lnTo>
                    <a:pt x="0" y="3"/>
                  </a:lnTo>
                  <a:lnTo>
                    <a:pt x="0" y="3"/>
                  </a:lnTo>
                  <a:lnTo>
                    <a:pt x="9" y="6"/>
                  </a:lnTo>
                  <a:lnTo>
                    <a:pt x="10" y="3"/>
                  </a:lnTo>
                  <a:close/>
                  <a:moveTo>
                    <a:pt x="23" y="10"/>
                  </a:moveTo>
                  <a:lnTo>
                    <a:pt x="23" y="10"/>
                  </a:lnTo>
                  <a:lnTo>
                    <a:pt x="19" y="7"/>
                  </a:lnTo>
                  <a:lnTo>
                    <a:pt x="19" y="7"/>
                  </a:lnTo>
                  <a:lnTo>
                    <a:pt x="14" y="4"/>
                  </a:lnTo>
                  <a:lnTo>
                    <a:pt x="14" y="7"/>
                  </a:lnTo>
                  <a:lnTo>
                    <a:pt x="14" y="7"/>
                  </a:lnTo>
                  <a:lnTo>
                    <a:pt x="17" y="9"/>
                  </a:lnTo>
                  <a:lnTo>
                    <a:pt x="17" y="9"/>
                  </a:lnTo>
                  <a:lnTo>
                    <a:pt x="22" y="13"/>
                  </a:lnTo>
                  <a:lnTo>
                    <a:pt x="23" y="10"/>
                  </a:lnTo>
                  <a:close/>
                  <a:moveTo>
                    <a:pt x="36" y="19"/>
                  </a:moveTo>
                  <a:lnTo>
                    <a:pt x="36" y="19"/>
                  </a:lnTo>
                  <a:lnTo>
                    <a:pt x="35" y="16"/>
                  </a:lnTo>
                  <a:lnTo>
                    <a:pt x="35" y="16"/>
                  </a:lnTo>
                  <a:lnTo>
                    <a:pt x="27" y="13"/>
                  </a:lnTo>
                  <a:lnTo>
                    <a:pt x="26" y="16"/>
                  </a:lnTo>
                  <a:lnTo>
                    <a:pt x="26" y="16"/>
                  </a:lnTo>
                  <a:lnTo>
                    <a:pt x="33" y="19"/>
                  </a:lnTo>
                  <a:lnTo>
                    <a:pt x="33" y="19"/>
                  </a:lnTo>
                  <a:lnTo>
                    <a:pt x="35" y="20"/>
                  </a:lnTo>
                  <a:lnTo>
                    <a:pt x="36" y="19"/>
                  </a:lnTo>
                  <a:close/>
                  <a:moveTo>
                    <a:pt x="45" y="32"/>
                  </a:moveTo>
                  <a:lnTo>
                    <a:pt x="45" y="32"/>
                  </a:lnTo>
                  <a:lnTo>
                    <a:pt x="39" y="23"/>
                  </a:lnTo>
                  <a:lnTo>
                    <a:pt x="38" y="25"/>
                  </a:lnTo>
                  <a:lnTo>
                    <a:pt x="38" y="25"/>
                  </a:lnTo>
                  <a:lnTo>
                    <a:pt x="42" y="33"/>
                  </a:lnTo>
                  <a:lnTo>
                    <a:pt x="45" y="32"/>
                  </a:lnTo>
                  <a:close/>
                  <a:moveTo>
                    <a:pt x="51" y="46"/>
                  </a:moveTo>
                  <a:lnTo>
                    <a:pt x="51" y="46"/>
                  </a:lnTo>
                  <a:lnTo>
                    <a:pt x="51" y="46"/>
                  </a:lnTo>
                  <a:lnTo>
                    <a:pt x="51" y="42"/>
                  </a:lnTo>
                  <a:lnTo>
                    <a:pt x="48" y="39"/>
                  </a:lnTo>
                  <a:lnTo>
                    <a:pt x="48" y="39"/>
                  </a:lnTo>
                  <a:lnTo>
                    <a:pt x="46" y="36"/>
                  </a:lnTo>
                  <a:lnTo>
                    <a:pt x="45" y="38"/>
                  </a:lnTo>
                  <a:lnTo>
                    <a:pt x="45" y="38"/>
                  </a:lnTo>
                  <a:lnTo>
                    <a:pt x="46" y="41"/>
                  </a:lnTo>
                  <a:lnTo>
                    <a:pt x="46" y="41"/>
                  </a:lnTo>
                  <a:lnTo>
                    <a:pt x="48" y="44"/>
                  </a:lnTo>
                  <a:lnTo>
                    <a:pt x="49" y="46"/>
                  </a:lnTo>
                  <a:lnTo>
                    <a:pt x="49" y="46"/>
                  </a:lnTo>
                  <a:lnTo>
                    <a:pt x="51" y="46"/>
                  </a:lnTo>
                  <a:close/>
                  <a:moveTo>
                    <a:pt x="52" y="61"/>
                  </a:moveTo>
                  <a:lnTo>
                    <a:pt x="52" y="61"/>
                  </a:lnTo>
                  <a:lnTo>
                    <a:pt x="51" y="54"/>
                  </a:lnTo>
                  <a:lnTo>
                    <a:pt x="51" y="54"/>
                  </a:lnTo>
                  <a:lnTo>
                    <a:pt x="51" y="52"/>
                  </a:lnTo>
                  <a:lnTo>
                    <a:pt x="51" y="52"/>
                  </a:lnTo>
                  <a:lnTo>
                    <a:pt x="48" y="51"/>
                  </a:lnTo>
                  <a:lnTo>
                    <a:pt x="48" y="52"/>
                  </a:lnTo>
                  <a:lnTo>
                    <a:pt x="48" y="52"/>
                  </a:lnTo>
                  <a:lnTo>
                    <a:pt x="48" y="54"/>
                  </a:lnTo>
                  <a:lnTo>
                    <a:pt x="48" y="54"/>
                  </a:lnTo>
                  <a:lnTo>
                    <a:pt x="49" y="62"/>
                  </a:lnTo>
                  <a:lnTo>
                    <a:pt x="52" y="61"/>
                  </a:lnTo>
                  <a:close/>
                  <a:moveTo>
                    <a:pt x="52" y="75"/>
                  </a:moveTo>
                  <a:lnTo>
                    <a:pt x="52" y="75"/>
                  </a:lnTo>
                  <a:lnTo>
                    <a:pt x="52" y="74"/>
                  </a:lnTo>
                  <a:lnTo>
                    <a:pt x="52" y="74"/>
                  </a:lnTo>
                  <a:lnTo>
                    <a:pt x="54" y="67"/>
                  </a:lnTo>
                  <a:lnTo>
                    <a:pt x="54" y="67"/>
                  </a:lnTo>
                  <a:lnTo>
                    <a:pt x="51" y="67"/>
                  </a:lnTo>
                  <a:lnTo>
                    <a:pt x="51" y="67"/>
                  </a:lnTo>
                  <a:lnTo>
                    <a:pt x="51" y="67"/>
                  </a:lnTo>
                  <a:lnTo>
                    <a:pt x="49" y="74"/>
                  </a:lnTo>
                  <a:lnTo>
                    <a:pt x="49" y="74"/>
                  </a:lnTo>
                  <a:lnTo>
                    <a:pt x="51" y="77"/>
                  </a:lnTo>
                  <a:lnTo>
                    <a:pt x="52" y="75"/>
                  </a:lnTo>
                  <a:close/>
                  <a:moveTo>
                    <a:pt x="59" y="90"/>
                  </a:moveTo>
                  <a:lnTo>
                    <a:pt x="59" y="90"/>
                  </a:lnTo>
                  <a:lnTo>
                    <a:pt x="58" y="84"/>
                  </a:lnTo>
                  <a:lnTo>
                    <a:pt x="55" y="80"/>
                  </a:lnTo>
                  <a:lnTo>
                    <a:pt x="54" y="81"/>
                  </a:lnTo>
                  <a:lnTo>
                    <a:pt x="54" y="81"/>
                  </a:lnTo>
                  <a:lnTo>
                    <a:pt x="56" y="86"/>
                  </a:lnTo>
                  <a:lnTo>
                    <a:pt x="58" y="90"/>
                  </a:lnTo>
                  <a:lnTo>
                    <a:pt x="59" y="90"/>
                  </a:lnTo>
                  <a:close/>
                  <a:moveTo>
                    <a:pt x="56" y="104"/>
                  </a:moveTo>
                  <a:lnTo>
                    <a:pt x="56" y="104"/>
                  </a:lnTo>
                  <a:lnTo>
                    <a:pt x="59" y="94"/>
                  </a:lnTo>
                  <a:lnTo>
                    <a:pt x="56" y="94"/>
                  </a:lnTo>
                  <a:lnTo>
                    <a:pt x="56" y="94"/>
                  </a:lnTo>
                  <a:lnTo>
                    <a:pt x="54" y="104"/>
                  </a:lnTo>
                  <a:lnTo>
                    <a:pt x="56" y="104"/>
                  </a:lnTo>
                  <a:close/>
                  <a:moveTo>
                    <a:pt x="55" y="119"/>
                  </a:moveTo>
                  <a:lnTo>
                    <a:pt x="55" y="119"/>
                  </a:lnTo>
                  <a:lnTo>
                    <a:pt x="55" y="117"/>
                  </a:lnTo>
                  <a:lnTo>
                    <a:pt x="55" y="117"/>
                  </a:lnTo>
                  <a:lnTo>
                    <a:pt x="55" y="113"/>
                  </a:lnTo>
                  <a:lnTo>
                    <a:pt x="55" y="113"/>
                  </a:lnTo>
                  <a:lnTo>
                    <a:pt x="54" y="112"/>
                  </a:lnTo>
                  <a:lnTo>
                    <a:pt x="54" y="112"/>
                  </a:lnTo>
                  <a:lnTo>
                    <a:pt x="54" y="109"/>
                  </a:lnTo>
                  <a:lnTo>
                    <a:pt x="52" y="109"/>
                  </a:lnTo>
                  <a:lnTo>
                    <a:pt x="52" y="109"/>
                  </a:lnTo>
                  <a:lnTo>
                    <a:pt x="51" y="112"/>
                  </a:lnTo>
                  <a:lnTo>
                    <a:pt x="51" y="112"/>
                  </a:lnTo>
                  <a:lnTo>
                    <a:pt x="52" y="115"/>
                  </a:lnTo>
                  <a:lnTo>
                    <a:pt x="52" y="115"/>
                  </a:lnTo>
                  <a:lnTo>
                    <a:pt x="54" y="117"/>
                  </a:lnTo>
                  <a:lnTo>
                    <a:pt x="54" y="117"/>
                  </a:lnTo>
                  <a:lnTo>
                    <a:pt x="54" y="119"/>
                  </a:lnTo>
                  <a:lnTo>
                    <a:pt x="55" y="119"/>
                  </a:lnTo>
                  <a:close/>
                  <a:moveTo>
                    <a:pt x="58" y="133"/>
                  </a:moveTo>
                  <a:lnTo>
                    <a:pt x="58" y="133"/>
                  </a:lnTo>
                  <a:lnTo>
                    <a:pt x="56" y="123"/>
                  </a:lnTo>
                  <a:lnTo>
                    <a:pt x="54" y="123"/>
                  </a:lnTo>
                  <a:lnTo>
                    <a:pt x="54" y="123"/>
                  </a:lnTo>
                  <a:lnTo>
                    <a:pt x="56" y="133"/>
                  </a:lnTo>
                  <a:lnTo>
                    <a:pt x="58"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36" name="Freeform 1699"/>
            <p:cNvSpPr>
              <a:spLocks noEditPoints="1"/>
            </p:cNvSpPr>
            <p:nvPr/>
          </p:nvSpPr>
          <p:spPr bwMode="auto">
            <a:xfrm>
              <a:off x="5400676" y="4112054"/>
              <a:ext cx="333375" cy="261938"/>
            </a:xfrm>
            <a:custGeom>
              <a:avLst/>
              <a:gdLst>
                <a:gd name="T0" fmla="*/ 132 w 210"/>
                <a:gd name="T1" fmla="*/ 1 h 165"/>
                <a:gd name="T2" fmla="*/ 138 w 210"/>
                <a:gd name="T3" fmla="*/ 14 h 165"/>
                <a:gd name="T4" fmla="*/ 132 w 210"/>
                <a:gd name="T5" fmla="*/ 7 h 165"/>
                <a:gd name="T6" fmla="*/ 146 w 210"/>
                <a:gd name="T7" fmla="*/ 27 h 165"/>
                <a:gd name="T8" fmla="*/ 139 w 210"/>
                <a:gd name="T9" fmla="*/ 20 h 165"/>
                <a:gd name="T10" fmla="*/ 146 w 210"/>
                <a:gd name="T11" fmla="*/ 27 h 165"/>
                <a:gd name="T12" fmla="*/ 149 w 210"/>
                <a:gd name="T13" fmla="*/ 33 h 165"/>
                <a:gd name="T14" fmla="*/ 146 w 210"/>
                <a:gd name="T15" fmla="*/ 33 h 165"/>
                <a:gd name="T16" fmla="*/ 155 w 210"/>
                <a:gd name="T17" fmla="*/ 39 h 165"/>
                <a:gd name="T18" fmla="*/ 168 w 210"/>
                <a:gd name="T19" fmla="*/ 38 h 165"/>
                <a:gd name="T20" fmla="*/ 161 w 210"/>
                <a:gd name="T21" fmla="*/ 40 h 165"/>
                <a:gd name="T22" fmla="*/ 171 w 210"/>
                <a:gd name="T23" fmla="*/ 38 h 165"/>
                <a:gd name="T24" fmla="*/ 177 w 210"/>
                <a:gd name="T25" fmla="*/ 40 h 165"/>
                <a:gd name="T26" fmla="*/ 201 w 210"/>
                <a:gd name="T27" fmla="*/ 38 h 165"/>
                <a:gd name="T28" fmla="*/ 191 w 210"/>
                <a:gd name="T29" fmla="*/ 38 h 165"/>
                <a:gd name="T30" fmla="*/ 199 w 210"/>
                <a:gd name="T31" fmla="*/ 39 h 165"/>
                <a:gd name="T32" fmla="*/ 210 w 210"/>
                <a:gd name="T33" fmla="*/ 51 h 165"/>
                <a:gd name="T34" fmla="*/ 204 w 210"/>
                <a:gd name="T35" fmla="*/ 42 h 165"/>
                <a:gd name="T36" fmla="*/ 207 w 210"/>
                <a:gd name="T37" fmla="*/ 67 h 165"/>
                <a:gd name="T38" fmla="*/ 207 w 210"/>
                <a:gd name="T39" fmla="*/ 56 h 165"/>
                <a:gd name="T40" fmla="*/ 203 w 210"/>
                <a:gd name="T41" fmla="*/ 81 h 165"/>
                <a:gd name="T42" fmla="*/ 200 w 210"/>
                <a:gd name="T43" fmla="*/ 80 h 165"/>
                <a:gd name="T44" fmla="*/ 199 w 210"/>
                <a:gd name="T45" fmla="*/ 88 h 165"/>
                <a:gd name="T46" fmla="*/ 199 w 210"/>
                <a:gd name="T47" fmla="*/ 84 h 165"/>
                <a:gd name="T48" fmla="*/ 194 w 210"/>
                <a:gd name="T49" fmla="*/ 94 h 165"/>
                <a:gd name="T50" fmla="*/ 190 w 210"/>
                <a:gd name="T51" fmla="*/ 97 h 165"/>
                <a:gd name="T52" fmla="*/ 181 w 210"/>
                <a:gd name="T53" fmla="*/ 103 h 165"/>
                <a:gd name="T54" fmla="*/ 175 w 210"/>
                <a:gd name="T55" fmla="*/ 103 h 165"/>
                <a:gd name="T56" fmla="*/ 152 w 210"/>
                <a:gd name="T57" fmla="*/ 113 h 165"/>
                <a:gd name="T58" fmla="*/ 161 w 210"/>
                <a:gd name="T59" fmla="*/ 109 h 165"/>
                <a:gd name="T60" fmla="*/ 138 w 210"/>
                <a:gd name="T61" fmla="*/ 117 h 165"/>
                <a:gd name="T62" fmla="*/ 146 w 210"/>
                <a:gd name="T63" fmla="*/ 113 h 165"/>
                <a:gd name="T64" fmla="*/ 136 w 210"/>
                <a:gd name="T65" fmla="*/ 116 h 165"/>
                <a:gd name="T66" fmla="*/ 133 w 210"/>
                <a:gd name="T67" fmla="*/ 120 h 165"/>
                <a:gd name="T68" fmla="*/ 125 w 210"/>
                <a:gd name="T69" fmla="*/ 124 h 165"/>
                <a:gd name="T70" fmla="*/ 119 w 210"/>
                <a:gd name="T71" fmla="*/ 124 h 165"/>
                <a:gd name="T72" fmla="*/ 99 w 210"/>
                <a:gd name="T73" fmla="*/ 140 h 165"/>
                <a:gd name="T74" fmla="*/ 106 w 210"/>
                <a:gd name="T75" fmla="*/ 133 h 165"/>
                <a:gd name="T76" fmla="*/ 86 w 210"/>
                <a:gd name="T77" fmla="*/ 148 h 165"/>
                <a:gd name="T78" fmla="*/ 84 w 210"/>
                <a:gd name="T79" fmla="*/ 146 h 165"/>
                <a:gd name="T80" fmla="*/ 81 w 210"/>
                <a:gd name="T81" fmla="*/ 151 h 165"/>
                <a:gd name="T82" fmla="*/ 73 w 210"/>
                <a:gd name="T83" fmla="*/ 156 h 165"/>
                <a:gd name="T84" fmla="*/ 67 w 210"/>
                <a:gd name="T85" fmla="*/ 156 h 165"/>
                <a:gd name="T86" fmla="*/ 54 w 210"/>
                <a:gd name="T87" fmla="*/ 155 h 165"/>
                <a:gd name="T88" fmla="*/ 55 w 210"/>
                <a:gd name="T89" fmla="*/ 165 h 165"/>
                <a:gd name="T90" fmla="*/ 52 w 210"/>
                <a:gd name="T91" fmla="*/ 140 h 165"/>
                <a:gd name="T92" fmla="*/ 57 w 210"/>
                <a:gd name="T93" fmla="*/ 151 h 165"/>
                <a:gd name="T94" fmla="*/ 55 w 210"/>
                <a:gd name="T95" fmla="*/ 139 h 165"/>
                <a:gd name="T96" fmla="*/ 45 w 210"/>
                <a:gd name="T97" fmla="*/ 138 h 165"/>
                <a:gd name="T98" fmla="*/ 45 w 210"/>
                <a:gd name="T99" fmla="*/ 135 h 165"/>
                <a:gd name="T100" fmla="*/ 25 w 210"/>
                <a:gd name="T101" fmla="*/ 135 h 165"/>
                <a:gd name="T102" fmla="*/ 35 w 210"/>
                <a:gd name="T103" fmla="*/ 133 h 165"/>
                <a:gd name="T104" fmla="*/ 25 w 210"/>
                <a:gd name="T105" fmla="*/ 135 h 165"/>
                <a:gd name="T106" fmla="*/ 16 w 210"/>
                <a:gd name="T107" fmla="*/ 135 h 165"/>
                <a:gd name="T108" fmla="*/ 19 w 210"/>
                <a:gd name="T109" fmla="*/ 130 h 165"/>
                <a:gd name="T110" fmla="*/ 10 w 210"/>
                <a:gd name="T111" fmla="*/ 136 h 165"/>
                <a:gd name="T112" fmla="*/ 9 w 210"/>
                <a:gd name="T113" fmla="*/ 140 h 165"/>
                <a:gd name="T114" fmla="*/ 3 w 210"/>
                <a:gd name="T115" fmla="*/ 14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0" h="165">
                  <a:moveTo>
                    <a:pt x="135" y="3"/>
                  </a:moveTo>
                  <a:lnTo>
                    <a:pt x="135" y="1"/>
                  </a:lnTo>
                  <a:lnTo>
                    <a:pt x="132" y="0"/>
                  </a:lnTo>
                  <a:lnTo>
                    <a:pt x="132" y="1"/>
                  </a:lnTo>
                  <a:lnTo>
                    <a:pt x="135" y="3"/>
                  </a:lnTo>
                  <a:lnTo>
                    <a:pt x="135" y="3"/>
                  </a:lnTo>
                  <a:close/>
                  <a:moveTo>
                    <a:pt x="138" y="14"/>
                  </a:moveTo>
                  <a:lnTo>
                    <a:pt x="138" y="14"/>
                  </a:lnTo>
                  <a:lnTo>
                    <a:pt x="135" y="12"/>
                  </a:lnTo>
                  <a:lnTo>
                    <a:pt x="133" y="7"/>
                  </a:lnTo>
                  <a:lnTo>
                    <a:pt x="132" y="7"/>
                  </a:lnTo>
                  <a:lnTo>
                    <a:pt x="132" y="7"/>
                  </a:lnTo>
                  <a:lnTo>
                    <a:pt x="133" y="13"/>
                  </a:lnTo>
                  <a:lnTo>
                    <a:pt x="136" y="17"/>
                  </a:lnTo>
                  <a:lnTo>
                    <a:pt x="138" y="14"/>
                  </a:lnTo>
                  <a:close/>
                  <a:moveTo>
                    <a:pt x="146" y="27"/>
                  </a:moveTo>
                  <a:lnTo>
                    <a:pt x="146" y="27"/>
                  </a:lnTo>
                  <a:lnTo>
                    <a:pt x="145" y="23"/>
                  </a:lnTo>
                  <a:lnTo>
                    <a:pt x="142" y="19"/>
                  </a:lnTo>
                  <a:lnTo>
                    <a:pt x="139" y="20"/>
                  </a:lnTo>
                  <a:lnTo>
                    <a:pt x="139" y="20"/>
                  </a:lnTo>
                  <a:lnTo>
                    <a:pt x="142" y="25"/>
                  </a:lnTo>
                  <a:lnTo>
                    <a:pt x="144" y="29"/>
                  </a:lnTo>
                  <a:lnTo>
                    <a:pt x="146" y="27"/>
                  </a:lnTo>
                  <a:close/>
                  <a:moveTo>
                    <a:pt x="157" y="36"/>
                  </a:moveTo>
                  <a:lnTo>
                    <a:pt x="157" y="36"/>
                  </a:lnTo>
                  <a:lnTo>
                    <a:pt x="152" y="36"/>
                  </a:lnTo>
                  <a:lnTo>
                    <a:pt x="149" y="33"/>
                  </a:lnTo>
                  <a:lnTo>
                    <a:pt x="149" y="33"/>
                  </a:lnTo>
                  <a:lnTo>
                    <a:pt x="149" y="32"/>
                  </a:lnTo>
                  <a:lnTo>
                    <a:pt x="146" y="33"/>
                  </a:lnTo>
                  <a:lnTo>
                    <a:pt x="146" y="33"/>
                  </a:lnTo>
                  <a:lnTo>
                    <a:pt x="148" y="36"/>
                  </a:lnTo>
                  <a:lnTo>
                    <a:pt x="148" y="36"/>
                  </a:lnTo>
                  <a:lnTo>
                    <a:pt x="151" y="38"/>
                  </a:lnTo>
                  <a:lnTo>
                    <a:pt x="155" y="39"/>
                  </a:lnTo>
                  <a:lnTo>
                    <a:pt x="157" y="36"/>
                  </a:lnTo>
                  <a:close/>
                  <a:moveTo>
                    <a:pt x="171" y="38"/>
                  </a:moveTo>
                  <a:lnTo>
                    <a:pt x="171" y="38"/>
                  </a:lnTo>
                  <a:lnTo>
                    <a:pt x="168" y="38"/>
                  </a:lnTo>
                  <a:lnTo>
                    <a:pt x="168" y="38"/>
                  </a:lnTo>
                  <a:lnTo>
                    <a:pt x="161" y="38"/>
                  </a:lnTo>
                  <a:lnTo>
                    <a:pt x="161" y="40"/>
                  </a:lnTo>
                  <a:lnTo>
                    <a:pt x="161" y="40"/>
                  </a:lnTo>
                  <a:lnTo>
                    <a:pt x="168" y="40"/>
                  </a:lnTo>
                  <a:lnTo>
                    <a:pt x="168" y="40"/>
                  </a:lnTo>
                  <a:lnTo>
                    <a:pt x="171" y="40"/>
                  </a:lnTo>
                  <a:lnTo>
                    <a:pt x="171" y="38"/>
                  </a:lnTo>
                  <a:close/>
                  <a:moveTo>
                    <a:pt x="187" y="38"/>
                  </a:moveTo>
                  <a:lnTo>
                    <a:pt x="187" y="38"/>
                  </a:lnTo>
                  <a:lnTo>
                    <a:pt x="177" y="38"/>
                  </a:lnTo>
                  <a:lnTo>
                    <a:pt x="177" y="40"/>
                  </a:lnTo>
                  <a:lnTo>
                    <a:pt x="177" y="40"/>
                  </a:lnTo>
                  <a:lnTo>
                    <a:pt x="187" y="39"/>
                  </a:lnTo>
                  <a:lnTo>
                    <a:pt x="187" y="38"/>
                  </a:lnTo>
                  <a:close/>
                  <a:moveTo>
                    <a:pt x="201" y="38"/>
                  </a:moveTo>
                  <a:lnTo>
                    <a:pt x="201" y="38"/>
                  </a:lnTo>
                  <a:lnTo>
                    <a:pt x="199" y="36"/>
                  </a:lnTo>
                  <a:lnTo>
                    <a:pt x="199" y="36"/>
                  </a:lnTo>
                  <a:lnTo>
                    <a:pt x="191" y="38"/>
                  </a:lnTo>
                  <a:lnTo>
                    <a:pt x="191" y="39"/>
                  </a:lnTo>
                  <a:lnTo>
                    <a:pt x="191" y="39"/>
                  </a:lnTo>
                  <a:lnTo>
                    <a:pt x="199" y="39"/>
                  </a:lnTo>
                  <a:lnTo>
                    <a:pt x="199" y="39"/>
                  </a:lnTo>
                  <a:lnTo>
                    <a:pt x="201" y="40"/>
                  </a:lnTo>
                  <a:lnTo>
                    <a:pt x="201" y="38"/>
                  </a:lnTo>
                  <a:close/>
                  <a:moveTo>
                    <a:pt x="210" y="51"/>
                  </a:moveTo>
                  <a:lnTo>
                    <a:pt x="210" y="51"/>
                  </a:lnTo>
                  <a:lnTo>
                    <a:pt x="209" y="45"/>
                  </a:lnTo>
                  <a:lnTo>
                    <a:pt x="207" y="40"/>
                  </a:lnTo>
                  <a:lnTo>
                    <a:pt x="204" y="42"/>
                  </a:lnTo>
                  <a:lnTo>
                    <a:pt x="204" y="42"/>
                  </a:lnTo>
                  <a:lnTo>
                    <a:pt x="206" y="46"/>
                  </a:lnTo>
                  <a:lnTo>
                    <a:pt x="207" y="51"/>
                  </a:lnTo>
                  <a:lnTo>
                    <a:pt x="210" y="51"/>
                  </a:lnTo>
                  <a:close/>
                  <a:moveTo>
                    <a:pt x="207" y="67"/>
                  </a:moveTo>
                  <a:lnTo>
                    <a:pt x="207" y="67"/>
                  </a:lnTo>
                  <a:lnTo>
                    <a:pt x="209" y="56"/>
                  </a:lnTo>
                  <a:lnTo>
                    <a:pt x="207" y="56"/>
                  </a:lnTo>
                  <a:lnTo>
                    <a:pt x="207" y="56"/>
                  </a:lnTo>
                  <a:lnTo>
                    <a:pt x="204" y="65"/>
                  </a:lnTo>
                  <a:lnTo>
                    <a:pt x="207" y="67"/>
                  </a:lnTo>
                  <a:close/>
                  <a:moveTo>
                    <a:pt x="203" y="81"/>
                  </a:moveTo>
                  <a:lnTo>
                    <a:pt x="203" y="81"/>
                  </a:lnTo>
                  <a:lnTo>
                    <a:pt x="206" y="71"/>
                  </a:lnTo>
                  <a:lnTo>
                    <a:pt x="203" y="71"/>
                  </a:lnTo>
                  <a:lnTo>
                    <a:pt x="203" y="71"/>
                  </a:lnTo>
                  <a:lnTo>
                    <a:pt x="200" y="80"/>
                  </a:lnTo>
                  <a:lnTo>
                    <a:pt x="203" y="81"/>
                  </a:lnTo>
                  <a:close/>
                  <a:moveTo>
                    <a:pt x="194" y="94"/>
                  </a:moveTo>
                  <a:lnTo>
                    <a:pt x="194" y="94"/>
                  </a:lnTo>
                  <a:lnTo>
                    <a:pt x="199" y="88"/>
                  </a:lnTo>
                  <a:lnTo>
                    <a:pt x="199" y="88"/>
                  </a:lnTo>
                  <a:lnTo>
                    <a:pt x="200" y="85"/>
                  </a:lnTo>
                  <a:lnTo>
                    <a:pt x="199" y="84"/>
                  </a:lnTo>
                  <a:lnTo>
                    <a:pt x="199" y="84"/>
                  </a:lnTo>
                  <a:lnTo>
                    <a:pt x="197" y="87"/>
                  </a:lnTo>
                  <a:lnTo>
                    <a:pt x="197" y="87"/>
                  </a:lnTo>
                  <a:lnTo>
                    <a:pt x="193" y="93"/>
                  </a:lnTo>
                  <a:lnTo>
                    <a:pt x="194" y="94"/>
                  </a:lnTo>
                  <a:lnTo>
                    <a:pt x="194" y="94"/>
                  </a:lnTo>
                  <a:close/>
                  <a:moveTo>
                    <a:pt x="181" y="103"/>
                  </a:moveTo>
                  <a:lnTo>
                    <a:pt x="181" y="103"/>
                  </a:lnTo>
                  <a:lnTo>
                    <a:pt x="190" y="97"/>
                  </a:lnTo>
                  <a:lnTo>
                    <a:pt x="188" y="96"/>
                  </a:lnTo>
                  <a:lnTo>
                    <a:pt x="188" y="96"/>
                  </a:lnTo>
                  <a:lnTo>
                    <a:pt x="180" y="100"/>
                  </a:lnTo>
                  <a:lnTo>
                    <a:pt x="181" y="103"/>
                  </a:lnTo>
                  <a:close/>
                  <a:moveTo>
                    <a:pt x="167" y="109"/>
                  </a:moveTo>
                  <a:lnTo>
                    <a:pt x="167" y="109"/>
                  </a:lnTo>
                  <a:lnTo>
                    <a:pt x="175" y="104"/>
                  </a:lnTo>
                  <a:lnTo>
                    <a:pt x="175" y="103"/>
                  </a:lnTo>
                  <a:lnTo>
                    <a:pt x="175" y="103"/>
                  </a:lnTo>
                  <a:lnTo>
                    <a:pt x="165" y="106"/>
                  </a:lnTo>
                  <a:lnTo>
                    <a:pt x="167" y="109"/>
                  </a:lnTo>
                  <a:close/>
                  <a:moveTo>
                    <a:pt x="152" y="113"/>
                  </a:moveTo>
                  <a:lnTo>
                    <a:pt x="152" y="113"/>
                  </a:lnTo>
                  <a:lnTo>
                    <a:pt x="162" y="110"/>
                  </a:lnTo>
                  <a:lnTo>
                    <a:pt x="161" y="109"/>
                  </a:lnTo>
                  <a:lnTo>
                    <a:pt x="161" y="109"/>
                  </a:lnTo>
                  <a:lnTo>
                    <a:pt x="151" y="111"/>
                  </a:lnTo>
                  <a:lnTo>
                    <a:pt x="152" y="113"/>
                  </a:lnTo>
                  <a:close/>
                  <a:moveTo>
                    <a:pt x="138" y="117"/>
                  </a:moveTo>
                  <a:lnTo>
                    <a:pt x="138" y="117"/>
                  </a:lnTo>
                  <a:lnTo>
                    <a:pt x="141" y="116"/>
                  </a:lnTo>
                  <a:lnTo>
                    <a:pt x="141" y="116"/>
                  </a:lnTo>
                  <a:lnTo>
                    <a:pt x="148" y="114"/>
                  </a:lnTo>
                  <a:lnTo>
                    <a:pt x="146" y="113"/>
                  </a:lnTo>
                  <a:lnTo>
                    <a:pt x="146" y="113"/>
                  </a:lnTo>
                  <a:lnTo>
                    <a:pt x="141" y="114"/>
                  </a:lnTo>
                  <a:lnTo>
                    <a:pt x="141" y="114"/>
                  </a:lnTo>
                  <a:lnTo>
                    <a:pt x="136" y="116"/>
                  </a:lnTo>
                  <a:lnTo>
                    <a:pt x="138" y="117"/>
                  </a:lnTo>
                  <a:close/>
                  <a:moveTo>
                    <a:pt x="125" y="124"/>
                  </a:moveTo>
                  <a:lnTo>
                    <a:pt x="125" y="124"/>
                  </a:lnTo>
                  <a:lnTo>
                    <a:pt x="133" y="120"/>
                  </a:lnTo>
                  <a:lnTo>
                    <a:pt x="132" y="117"/>
                  </a:lnTo>
                  <a:lnTo>
                    <a:pt x="132" y="117"/>
                  </a:lnTo>
                  <a:lnTo>
                    <a:pt x="123" y="122"/>
                  </a:lnTo>
                  <a:lnTo>
                    <a:pt x="125" y="124"/>
                  </a:lnTo>
                  <a:close/>
                  <a:moveTo>
                    <a:pt x="112" y="132"/>
                  </a:moveTo>
                  <a:lnTo>
                    <a:pt x="112" y="132"/>
                  </a:lnTo>
                  <a:lnTo>
                    <a:pt x="120" y="127"/>
                  </a:lnTo>
                  <a:lnTo>
                    <a:pt x="119" y="124"/>
                  </a:lnTo>
                  <a:lnTo>
                    <a:pt x="119" y="124"/>
                  </a:lnTo>
                  <a:lnTo>
                    <a:pt x="110" y="130"/>
                  </a:lnTo>
                  <a:lnTo>
                    <a:pt x="112" y="132"/>
                  </a:lnTo>
                  <a:close/>
                  <a:moveTo>
                    <a:pt x="99" y="140"/>
                  </a:moveTo>
                  <a:lnTo>
                    <a:pt x="99" y="140"/>
                  </a:lnTo>
                  <a:lnTo>
                    <a:pt x="107" y="135"/>
                  </a:lnTo>
                  <a:lnTo>
                    <a:pt x="106" y="133"/>
                  </a:lnTo>
                  <a:lnTo>
                    <a:pt x="106" y="133"/>
                  </a:lnTo>
                  <a:lnTo>
                    <a:pt x="97" y="138"/>
                  </a:lnTo>
                  <a:lnTo>
                    <a:pt x="99" y="140"/>
                  </a:lnTo>
                  <a:close/>
                  <a:moveTo>
                    <a:pt x="86" y="148"/>
                  </a:moveTo>
                  <a:lnTo>
                    <a:pt x="86" y="148"/>
                  </a:lnTo>
                  <a:lnTo>
                    <a:pt x="94" y="143"/>
                  </a:lnTo>
                  <a:lnTo>
                    <a:pt x="93" y="140"/>
                  </a:lnTo>
                  <a:lnTo>
                    <a:pt x="93" y="140"/>
                  </a:lnTo>
                  <a:lnTo>
                    <a:pt x="84" y="146"/>
                  </a:lnTo>
                  <a:lnTo>
                    <a:pt x="86" y="148"/>
                  </a:lnTo>
                  <a:close/>
                  <a:moveTo>
                    <a:pt x="73" y="156"/>
                  </a:moveTo>
                  <a:lnTo>
                    <a:pt x="73" y="156"/>
                  </a:lnTo>
                  <a:lnTo>
                    <a:pt x="81" y="151"/>
                  </a:lnTo>
                  <a:lnTo>
                    <a:pt x="80" y="149"/>
                  </a:lnTo>
                  <a:lnTo>
                    <a:pt x="80" y="149"/>
                  </a:lnTo>
                  <a:lnTo>
                    <a:pt x="71" y="153"/>
                  </a:lnTo>
                  <a:lnTo>
                    <a:pt x="73" y="156"/>
                  </a:lnTo>
                  <a:close/>
                  <a:moveTo>
                    <a:pt x="60" y="164"/>
                  </a:moveTo>
                  <a:lnTo>
                    <a:pt x="60" y="164"/>
                  </a:lnTo>
                  <a:lnTo>
                    <a:pt x="68" y="159"/>
                  </a:lnTo>
                  <a:lnTo>
                    <a:pt x="67" y="156"/>
                  </a:lnTo>
                  <a:lnTo>
                    <a:pt x="67" y="156"/>
                  </a:lnTo>
                  <a:lnTo>
                    <a:pt x="58" y="162"/>
                  </a:lnTo>
                  <a:lnTo>
                    <a:pt x="60" y="164"/>
                  </a:lnTo>
                  <a:close/>
                  <a:moveTo>
                    <a:pt x="54" y="155"/>
                  </a:moveTo>
                  <a:lnTo>
                    <a:pt x="54" y="155"/>
                  </a:lnTo>
                  <a:lnTo>
                    <a:pt x="54" y="165"/>
                  </a:lnTo>
                  <a:lnTo>
                    <a:pt x="55" y="165"/>
                  </a:lnTo>
                  <a:lnTo>
                    <a:pt x="55" y="165"/>
                  </a:lnTo>
                  <a:lnTo>
                    <a:pt x="57" y="155"/>
                  </a:lnTo>
                  <a:lnTo>
                    <a:pt x="54" y="155"/>
                  </a:lnTo>
                  <a:close/>
                  <a:moveTo>
                    <a:pt x="52" y="140"/>
                  </a:moveTo>
                  <a:lnTo>
                    <a:pt x="52" y="140"/>
                  </a:lnTo>
                  <a:lnTo>
                    <a:pt x="54" y="142"/>
                  </a:lnTo>
                  <a:lnTo>
                    <a:pt x="54" y="142"/>
                  </a:lnTo>
                  <a:lnTo>
                    <a:pt x="54" y="151"/>
                  </a:lnTo>
                  <a:lnTo>
                    <a:pt x="57" y="151"/>
                  </a:lnTo>
                  <a:lnTo>
                    <a:pt x="57" y="151"/>
                  </a:lnTo>
                  <a:lnTo>
                    <a:pt x="55" y="142"/>
                  </a:lnTo>
                  <a:lnTo>
                    <a:pt x="55" y="142"/>
                  </a:lnTo>
                  <a:lnTo>
                    <a:pt x="55" y="139"/>
                  </a:lnTo>
                  <a:lnTo>
                    <a:pt x="52" y="140"/>
                  </a:lnTo>
                  <a:close/>
                  <a:moveTo>
                    <a:pt x="39" y="136"/>
                  </a:moveTo>
                  <a:lnTo>
                    <a:pt x="39" y="136"/>
                  </a:lnTo>
                  <a:lnTo>
                    <a:pt x="45" y="138"/>
                  </a:lnTo>
                  <a:lnTo>
                    <a:pt x="49" y="138"/>
                  </a:lnTo>
                  <a:lnTo>
                    <a:pt x="51" y="136"/>
                  </a:lnTo>
                  <a:lnTo>
                    <a:pt x="51" y="136"/>
                  </a:lnTo>
                  <a:lnTo>
                    <a:pt x="45" y="135"/>
                  </a:lnTo>
                  <a:lnTo>
                    <a:pt x="41" y="133"/>
                  </a:lnTo>
                  <a:lnTo>
                    <a:pt x="39" y="136"/>
                  </a:lnTo>
                  <a:close/>
                  <a:moveTo>
                    <a:pt x="25" y="135"/>
                  </a:moveTo>
                  <a:lnTo>
                    <a:pt x="25" y="135"/>
                  </a:lnTo>
                  <a:lnTo>
                    <a:pt x="29" y="135"/>
                  </a:lnTo>
                  <a:lnTo>
                    <a:pt x="33" y="136"/>
                  </a:lnTo>
                  <a:lnTo>
                    <a:pt x="35" y="136"/>
                  </a:lnTo>
                  <a:lnTo>
                    <a:pt x="35" y="133"/>
                  </a:lnTo>
                  <a:lnTo>
                    <a:pt x="33" y="133"/>
                  </a:lnTo>
                  <a:lnTo>
                    <a:pt x="33" y="133"/>
                  </a:lnTo>
                  <a:lnTo>
                    <a:pt x="25" y="132"/>
                  </a:lnTo>
                  <a:lnTo>
                    <a:pt x="25" y="135"/>
                  </a:lnTo>
                  <a:close/>
                  <a:moveTo>
                    <a:pt x="12" y="138"/>
                  </a:moveTo>
                  <a:lnTo>
                    <a:pt x="12" y="138"/>
                  </a:lnTo>
                  <a:lnTo>
                    <a:pt x="16" y="135"/>
                  </a:lnTo>
                  <a:lnTo>
                    <a:pt x="16" y="135"/>
                  </a:lnTo>
                  <a:lnTo>
                    <a:pt x="19" y="133"/>
                  </a:lnTo>
                  <a:lnTo>
                    <a:pt x="20" y="133"/>
                  </a:lnTo>
                  <a:lnTo>
                    <a:pt x="20" y="130"/>
                  </a:lnTo>
                  <a:lnTo>
                    <a:pt x="19" y="130"/>
                  </a:lnTo>
                  <a:lnTo>
                    <a:pt x="19" y="130"/>
                  </a:lnTo>
                  <a:lnTo>
                    <a:pt x="15" y="132"/>
                  </a:lnTo>
                  <a:lnTo>
                    <a:pt x="15" y="132"/>
                  </a:lnTo>
                  <a:lnTo>
                    <a:pt x="10" y="136"/>
                  </a:lnTo>
                  <a:lnTo>
                    <a:pt x="12" y="138"/>
                  </a:lnTo>
                  <a:close/>
                  <a:moveTo>
                    <a:pt x="3" y="149"/>
                  </a:moveTo>
                  <a:lnTo>
                    <a:pt x="3" y="149"/>
                  </a:lnTo>
                  <a:lnTo>
                    <a:pt x="9" y="140"/>
                  </a:lnTo>
                  <a:lnTo>
                    <a:pt x="7" y="139"/>
                  </a:lnTo>
                  <a:lnTo>
                    <a:pt x="7" y="139"/>
                  </a:lnTo>
                  <a:lnTo>
                    <a:pt x="0" y="148"/>
                  </a:lnTo>
                  <a:lnTo>
                    <a:pt x="3" y="1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37" name="Freeform 1700"/>
            <p:cNvSpPr>
              <a:spLocks noEditPoints="1"/>
            </p:cNvSpPr>
            <p:nvPr/>
          </p:nvSpPr>
          <p:spPr bwMode="auto">
            <a:xfrm>
              <a:off x="5605463" y="4091416"/>
              <a:ext cx="23813" cy="31750"/>
            </a:xfrm>
            <a:custGeom>
              <a:avLst/>
              <a:gdLst>
                <a:gd name="T0" fmla="*/ 3 w 15"/>
                <a:gd name="T1" fmla="*/ 10 h 20"/>
                <a:gd name="T2" fmla="*/ 3 w 15"/>
                <a:gd name="T3" fmla="*/ 9 h 20"/>
                <a:gd name="T4" fmla="*/ 3 w 15"/>
                <a:gd name="T5" fmla="*/ 9 h 20"/>
                <a:gd name="T6" fmla="*/ 1 w 15"/>
                <a:gd name="T7" fmla="*/ 0 h 20"/>
                <a:gd name="T8" fmla="*/ 0 w 15"/>
                <a:gd name="T9" fmla="*/ 0 h 20"/>
                <a:gd name="T10" fmla="*/ 0 w 15"/>
                <a:gd name="T11" fmla="*/ 0 h 20"/>
                <a:gd name="T12" fmla="*/ 1 w 15"/>
                <a:gd name="T13" fmla="*/ 10 h 20"/>
                <a:gd name="T14" fmla="*/ 1 w 15"/>
                <a:gd name="T15" fmla="*/ 11 h 20"/>
                <a:gd name="T16" fmla="*/ 3 w 15"/>
                <a:gd name="T17" fmla="*/ 10 h 20"/>
                <a:gd name="T18" fmla="*/ 15 w 15"/>
                <a:gd name="T19" fmla="*/ 17 h 20"/>
                <a:gd name="T20" fmla="*/ 15 w 15"/>
                <a:gd name="T21" fmla="*/ 17 h 20"/>
                <a:gd name="T22" fmla="*/ 10 w 15"/>
                <a:gd name="T23" fmla="*/ 16 h 20"/>
                <a:gd name="T24" fmla="*/ 6 w 15"/>
                <a:gd name="T25" fmla="*/ 13 h 20"/>
                <a:gd name="T26" fmla="*/ 4 w 15"/>
                <a:gd name="T27" fmla="*/ 16 h 20"/>
                <a:gd name="T28" fmla="*/ 4 w 15"/>
                <a:gd name="T29" fmla="*/ 16 h 20"/>
                <a:gd name="T30" fmla="*/ 9 w 15"/>
                <a:gd name="T31" fmla="*/ 19 h 20"/>
                <a:gd name="T32" fmla="*/ 15 w 15"/>
                <a:gd name="T33" fmla="*/ 20 h 20"/>
                <a:gd name="T34" fmla="*/ 15 w 15"/>
                <a:gd name="T35" fmla="*/ 1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20">
                  <a:moveTo>
                    <a:pt x="3" y="10"/>
                  </a:moveTo>
                  <a:lnTo>
                    <a:pt x="3" y="9"/>
                  </a:lnTo>
                  <a:lnTo>
                    <a:pt x="3" y="9"/>
                  </a:lnTo>
                  <a:lnTo>
                    <a:pt x="1" y="0"/>
                  </a:lnTo>
                  <a:lnTo>
                    <a:pt x="0" y="0"/>
                  </a:lnTo>
                  <a:lnTo>
                    <a:pt x="0" y="0"/>
                  </a:lnTo>
                  <a:lnTo>
                    <a:pt x="1" y="10"/>
                  </a:lnTo>
                  <a:lnTo>
                    <a:pt x="1" y="11"/>
                  </a:lnTo>
                  <a:lnTo>
                    <a:pt x="3" y="10"/>
                  </a:lnTo>
                  <a:close/>
                  <a:moveTo>
                    <a:pt x="15" y="17"/>
                  </a:moveTo>
                  <a:lnTo>
                    <a:pt x="15" y="17"/>
                  </a:lnTo>
                  <a:lnTo>
                    <a:pt x="10" y="16"/>
                  </a:lnTo>
                  <a:lnTo>
                    <a:pt x="6" y="13"/>
                  </a:lnTo>
                  <a:lnTo>
                    <a:pt x="4" y="16"/>
                  </a:lnTo>
                  <a:lnTo>
                    <a:pt x="4" y="16"/>
                  </a:lnTo>
                  <a:lnTo>
                    <a:pt x="9" y="19"/>
                  </a:lnTo>
                  <a:lnTo>
                    <a:pt x="15" y="20"/>
                  </a:lnTo>
                  <a:lnTo>
                    <a:pt x="15"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38" name="Freeform 1701"/>
            <p:cNvSpPr>
              <a:spLocks noEditPoints="1"/>
            </p:cNvSpPr>
            <p:nvPr/>
          </p:nvSpPr>
          <p:spPr bwMode="auto">
            <a:xfrm>
              <a:off x="5719763" y="4113641"/>
              <a:ext cx="30163" cy="60325"/>
            </a:xfrm>
            <a:custGeom>
              <a:avLst/>
              <a:gdLst>
                <a:gd name="T0" fmla="*/ 15 w 19"/>
                <a:gd name="T1" fmla="*/ 11 h 38"/>
                <a:gd name="T2" fmla="*/ 15 w 19"/>
                <a:gd name="T3" fmla="*/ 11 h 38"/>
                <a:gd name="T4" fmla="*/ 16 w 19"/>
                <a:gd name="T5" fmla="*/ 6 h 38"/>
                <a:gd name="T6" fmla="*/ 16 w 19"/>
                <a:gd name="T7" fmla="*/ 6 h 38"/>
                <a:gd name="T8" fmla="*/ 16 w 19"/>
                <a:gd name="T9" fmla="*/ 5 h 38"/>
                <a:gd name="T10" fmla="*/ 16 w 19"/>
                <a:gd name="T11" fmla="*/ 5 h 38"/>
                <a:gd name="T12" fmla="*/ 19 w 19"/>
                <a:gd name="T13" fmla="*/ 3 h 38"/>
                <a:gd name="T14" fmla="*/ 18 w 19"/>
                <a:gd name="T15" fmla="*/ 0 h 38"/>
                <a:gd name="T16" fmla="*/ 18 w 19"/>
                <a:gd name="T17" fmla="*/ 0 h 38"/>
                <a:gd name="T18" fmla="*/ 15 w 19"/>
                <a:gd name="T19" fmla="*/ 2 h 38"/>
                <a:gd name="T20" fmla="*/ 15 w 19"/>
                <a:gd name="T21" fmla="*/ 2 h 38"/>
                <a:gd name="T22" fmla="*/ 13 w 19"/>
                <a:gd name="T23" fmla="*/ 3 h 38"/>
                <a:gd name="T24" fmla="*/ 13 w 19"/>
                <a:gd name="T25" fmla="*/ 6 h 38"/>
                <a:gd name="T26" fmla="*/ 13 w 19"/>
                <a:gd name="T27" fmla="*/ 6 h 38"/>
                <a:gd name="T28" fmla="*/ 13 w 19"/>
                <a:gd name="T29" fmla="*/ 11 h 38"/>
                <a:gd name="T30" fmla="*/ 15 w 19"/>
                <a:gd name="T31" fmla="*/ 11 h 38"/>
                <a:gd name="T32" fmla="*/ 11 w 19"/>
                <a:gd name="T33" fmla="*/ 25 h 38"/>
                <a:gd name="T34" fmla="*/ 11 w 19"/>
                <a:gd name="T35" fmla="*/ 25 h 38"/>
                <a:gd name="T36" fmla="*/ 13 w 19"/>
                <a:gd name="T37" fmla="*/ 18 h 38"/>
                <a:gd name="T38" fmla="*/ 13 w 19"/>
                <a:gd name="T39" fmla="*/ 18 h 38"/>
                <a:gd name="T40" fmla="*/ 15 w 19"/>
                <a:gd name="T41" fmla="*/ 16 h 38"/>
                <a:gd name="T42" fmla="*/ 12 w 19"/>
                <a:gd name="T43" fmla="*/ 15 h 38"/>
                <a:gd name="T44" fmla="*/ 12 w 19"/>
                <a:gd name="T45" fmla="*/ 15 h 38"/>
                <a:gd name="T46" fmla="*/ 11 w 19"/>
                <a:gd name="T47" fmla="*/ 18 h 38"/>
                <a:gd name="T48" fmla="*/ 11 w 19"/>
                <a:gd name="T49" fmla="*/ 18 h 38"/>
                <a:gd name="T50" fmla="*/ 8 w 19"/>
                <a:gd name="T51" fmla="*/ 24 h 38"/>
                <a:gd name="T52" fmla="*/ 11 w 19"/>
                <a:gd name="T53" fmla="*/ 25 h 38"/>
                <a:gd name="T54" fmla="*/ 3 w 19"/>
                <a:gd name="T55" fmla="*/ 38 h 38"/>
                <a:gd name="T56" fmla="*/ 3 w 19"/>
                <a:gd name="T57" fmla="*/ 38 h 38"/>
                <a:gd name="T58" fmla="*/ 8 w 19"/>
                <a:gd name="T59" fmla="*/ 29 h 38"/>
                <a:gd name="T60" fmla="*/ 5 w 19"/>
                <a:gd name="T61" fmla="*/ 28 h 38"/>
                <a:gd name="T62" fmla="*/ 5 w 19"/>
                <a:gd name="T63" fmla="*/ 28 h 38"/>
                <a:gd name="T64" fmla="*/ 0 w 19"/>
                <a:gd name="T65" fmla="*/ 38 h 38"/>
                <a:gd name="T66" fmla="*/ 3 w 19"/>
                <a:gd name="T6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38">
                  <a:moveTo>
                    <a:pt x="15" y="11"/>
                  </a:moveTo>
                  <a:lnTo>
                    <a:pt x="15" y="11"/>
                  </a:lnTo>
                  <a:lnTo>
                    <a:pt x="16" y="6"/>
                  </a:lnTo>
                  <a:lnTo>
                    <a:pt x="16" y="6"/>
                  </a:lnTo>
                  <a:lnTo>
                    <a:pt x="16" y="5"/>
                  </a:lnTo>
                  <a:lnTo>
                    <a:pt x="16" y="5"/>
                  </a:lnTo>
                  <a:lnTo>
                    <a:pt x="19" y="3"/>
                  </a:lnTo>
                  <a:lnTo>
                    <a:pt x="18" y="0"/>
                  </a:lnTo>
                  <a:lnTo>
                    <a:pt x="18" y="0"/>
                  </a:lnTo>
                  <a:lnTo>
                    <a:pt x="15" y="2"/>
                  </a:lnTo>
                  <a:lnTo>
                    <a:pt x="15" y="2"/>
                  </a:lnTo>
                  <a:lnTo>
                    <a:pt x="13" y="3"/>
                  </a:lnTo>
                  <a:lnTo>
                    <a:pt x="13" y="6"/>
                  </a:lnTo>
                  <a:lnTo>
                    <a:pt x="13" y="6"/>
                  </a:lnTo>
                  <a:lnTo>
                    <a:pt x="13" y="11"/>
                  </a:lnTo>
                  <a:lnTo>
                    <a:pt x="15" y="11"/>
                  </a:lnTo>
                  <a:close/>
                  <a:moveTo>
                    <a:pt x="11" y="25"/>
                  </a:moveTo>
                  <a:lnTo>
                    <a:pt x="11" y="25"/>
                  </a:lnTo>
                  <a:lnTo>
                    <a:pt x="13" y="18"/>
                  </a:lnTo>
                  <a:lnTo>
                    <a:pt x="13" y="18"/>
                  </a:lnTo>
                  <a:lnTo>
                    <a:pt x="15" y="16"/>
                  </a:lnTo>
                  <a:lnTo>
                    <a:pt x="12" y="15"/>
                  </a:lnTo>
                  <a:lnTo>
                    <a:pt x="12" y="15"/>
                  </a:lnTo>
                  <a:lnTo>
                    <a:pt x="11" y="18"/>
                  </a:lnTo>
                  <a:lnTo>
                    <a:pt x="11" y="18"/>
                  </a:lnTo>
                  <a:lnTo>
                    <a:pt x="8" y="24"/>
                  </a:lnTo>
                  <a:lnTo>
                    <a:pt x="11" y="25"/>
                  </a:lnTo>
                  <a:close/>
                  <a:moveTo>
                    <a:pt x="3" y="38"/>
                  </a:moveTo>
                  <a:lnTo>
                    <a:pt x="3" y="38"/>
                  </a:lnTo>
                  <a:lnTo>
                    <a:pt x="8" y="29"/>
                  </a:lnTo>
                  <a:lnTo>
                    <a:pt x="5" y="28"/>
                  </a:lnTo>
                  <a:lnTo>
                    <a:pt x="5" y="28"/>
                  </a:lnTo>
                  <a:lnTo>
                    <a:pt x="0" y="38"/>
                  </a:lnTo>
                  <a:lnTo>
                    <a:pt x="3"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39" name="Freeform 1702"/>
            <p:cNvSpPr>
              <a:spLocks noEditPoints="1"/>
            </p:cNvSpPr>
            <p:nvPr/>
          </p:nvSpPr>
          <p:spPr bwMode="auto">
            <a:xfrm>
              <a:off x="5646738" y="4286679"/>
              <a:ext cx="19050" cy="52388"/>
            </a:xfrm>
            <a:custGeom>
              <a:avLst/>
              <a:gdLst>
                <a:gd name="T0" fmla="*/ 3 w 12"/>
                <a:gd name="T1" fmla="*/ 3 h 33"/>
                <a:gd name="T2" fmla="*/ 3 w 12"/>
                <a:gd name="T3" fmla="*/ 3 h 33"/>
                <a:gd name="T4" fmla="*/ 3 w 12"/>
                <a:gd name="T5" fmla="*/ 0 h 33"/>
                <a:gd name="T6" fmla="*/ 0 w 12"/>
                <a:gd name="T7" fmla="*/ 1 h 33"/>
                <a:gd name="T8" fmla="*/ 0 w 12"/>
                <a:gd name="T9" fmla="*/ 1 h 33"/>
                <a:gd name="T10" fmla="*/ 2 w 12"/>
                <a:gd name="T11" fmla="*/ 4 h 33"/>
                <a:gd name="T12" fmla="*/ 3 w 12"/>
                <a:gd name="T13" fmla="*/ 3 h 33"/>
                <a:gd name="T14" fmla="*/ 9 w 12"/>
                <a:gd name="T15" fmla="*/ 17 h 33"/>
                <a:gd name="T16" fmla="*/ 9 w 12"/>
                <a:gd name="T17" fmla="*/ 17 h 33"/>
                <a:gd name="T18" fmla="*/ 4 w 12"/>
                <a:gd name="T19" fmla="*/ 7 h 33"/>
                <a:gd name="T20" fmla="*/ 3 w 12"/>
                <a:gd name="T21" fmla="*/ 9 h 33"/>
                <a:gd name="T22" fmla="*/ 3 w 12"/>
                <a:gd name="T23" fmla="*/ 9 h 33"/>
                <a:gd name="T24" fmla="*/ 6 w 12"/>
                <a:gd name="T25" fmla="*/ 19 h 33"/>
                <a:gd name="T26" fmla="*/ 9 w 12"/>
                <a:gd name="T27" fmla="*/ 17 h 33"/>
                <a:gd name="T28" fmla="*/ 12 w 12"/>
                <a:gd name="T29" fmla="*/ 32 h 33"/>
                <a:gd name="T30" fmla="*/ 12 w 12"/>
                <a:gd name="T31" fmla="*/ 32 h 33"/>
                <a:gd name="T32" fmla="*/ 10 w 12"/>
                <a:gd name="T33" fmla="*/ 22 h 33"/>
                <a:gd name="T34" fmla="*/ 7 w 12"/>
                <a:gd name="T35" fmla="*/ 23 h 33"/>
                <a:gd name="T36" fmla="*/ 7 w 12"/>
                <a:gd name="T37" fmla="*/ 23 h 33"/>
                <a:gd name="T38" fmla="*/ 10 w 12"/>
                <a:gd name="T39" fmla="*/ 33 h 33"/>
                <a:gd name="T40" fmla="*/ 12 w 12"/>
                <a:gd name="T41"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33">
                  <a:moveTo>
                    <a:pt x="3" y="3"/>
                  </a:moveTo>
                  <a:lnTo>
                    <a:pt x="3" y="3"/>
                  </a:lnTo>
                  <a:lnTo>
                    <a:pt x="3" y="0"/>
                  </a:lnTo>
                  <a:lnTo>
                    <a:pt x="0" y="1"/>
                  </a:lnTo>
                  <a:lnTo>
                    <a:pt x="0" y="1"/>
                  </a:lnTo>
                  <a:lnTo>
                    <a:pt x="2" y="4"/>
                  </a:lnTo>
                  <a:lnTo>
                    <a:pt x="3" y="3"/>
                  </a:lnTo>
                  <a:close/>
                  <a:moveTo>
                    <a:pt x="9" y="17"/>
                  </a:moveTo>
                  <a:lnTo>
                    <a:pt x="9" y="17"/>
                  </a:lnTo>
                  <a:lnTo>
                    <a:pt x="4" y="7"/>
                  </a:lnTo>
                  <a:lnTo>
                    <a:pt x="3" y="9"/>
                  </a:lnTo>
                  <a:lnTo>
                    <a:pt x="3" y="9"/>
                  </a:lnTo>
                  <a:lnTo>
                    <a:pt x="6" y="19"/>
                  </a:lnTo>
                  <a:lnTo>
                    <a:pt x="9" y="17"/>
                  </a:lnTo>
                  <a:close/>
                  <a:moveTo>
                    <a:pt x="12" y="32"/>
                  </a:moveTo>
                  <a:lnTo>
                    <a:pt x="12" y="32"/>
                  </a:lnTo>
                  <a:lnTo>
                    <a:pt x="10" y="22"/>
                  </a:lnTo>
                  <a:lnTo>
                    <a:pt x="7" y="23"/>
                  </a:lnTo>
                  <a:lnTo>
                    <a:pt x="7" y="23"/>
                  </a:lnTo>
                  <a:lnTo>
                    <a:pt x="10" y="33"/>
                  </a:lnTo>
                  <a:lnTo>
                    <a:pt x="12"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40" name="Freeform 1703"/>
            <p:cNvSpPr>
              <a:spLocks noEditPoints="1"/>
            </p:cNvSpPr>
            <p:nvPr/>
          </p:nvSpPr>
          <p:spPr bwMode="auto">
            <a:xfrm>
              <a:off x="5334001" y="3529441"/>
              <a:ext cx="234950" cy="80963"/>
            </a:xfrm>
            <a:custGeom>
              <a:avLst/>
              <a:gdLst>
                <a:gd name="T0" fmla="*/ 7 w 148"/>
                <a:gd name="T1" fmla="*/ 3 h 51"/>
                <a:gd name="T2" fmla="*/ 2 w 148"/>
                <a:gd name="T3" fmla="*/ 9 h 51"/>
                <a:gd name="T4" fmla="*/ 9 w 148"/>
                <a:gd name="T5" fmla="*/ 6 h 51"/>
                <a:gd name="T6" fmla="*/ 23 w 148"/>
                <a:gd name="T7" fmla="*/ 2 h 51"/>
                <a:gd name="T8" fmla="*/ 16 w 148"/>
                <a:gd name="T9" fmla="*/ 0 h 51"/>
                <a:gd name="T10" fmla="*/ 15 w 148"/>
                <a:gd name="T11" fmla="*/ 0 h 51"/>
                <a:gd name="T12" fmla="*/ 12 w 148"/>
                <a:gd name="T13" fmla="*/ 2 h 51"/>
                <a:gd name="T14" fmla="*/ 13 w 148"/>
                <a:gd name="T15" fmla="*/ 3 h 51"/>
                <a:gd name="T16" fmla="*/ 16 w 148"/>
                <a:gd name="T17" fmla="*/ 3 h 51"/>
                <a:gd name="T18" fmla="*/ 22 w 148"/>
                <a:gd name="T19" fmla="*/ 5 h 51"/>
                <a:gd name="T20" fmla="*/ 36 w 148"/>
                <a:gd name="T21" fmla="*/ 9 h 51"/>
                <a:gd name="T22" fmla="*/ 28 w 148"/>
                <a:gd name="T23" fmla="*/ 5 h 51"/>
                <a:gd name="T24" fmla="*/ 26 w 148"/>
                <a:gd name="T25" fmla="*/ 6 h 51"/>
                <a:gd name="T26" fmla="*/ 36 w 148"/>
                <a:gd name="T27" fmla="*/ 9 h 51"/>
                <a:gd name="T28" fmla="*/ 51 w 148"/>
                <a:gd name="T29" fmla="*/ 15 h 51"/>
                <a:gd name="T30" fmla="*/ 41 w 148"/>
                <a:gd name="T31" fmla="*/ 12 h 51"/>
                <a:gd name="T32" fmla="*/ 41 w 148"/>
                <a:gd name="T33" fmla="*/ 13 h 51"/>
                <a:gd name="T34" fmla="*/ 49 w 148"/>
                <a:gd name="T35" fmla="*/ 18 h 51"/>
                <a:gd name="T36" fmla="*/ 65 w 148"/>
                <a:gd name="T37" fmla="*/ 19 h 51"/>
                <a:gd name="T38" fmla="*/ 55 w 148"/>
                <a:gd name="T39" fmla="*/ 16 h 51"/>
                <a:gd name="T40" fmla="*/ 54 w 148"/>
                <a:gd name="T41" fmla="*/ 19 h 51"/>
                <a:gd name="T42" fmla="*/ 65 w 148"/>
                <a:gd name="T43" fmla="*/ 19 h 51"/>
                <a:gd name="T44" fmla="*/ 80 w 148"/>
                <a:gd name="T45" fmla="*/ 24 h 51"/>
                <a:gd name="T46" fmla="*/ 68 w 148"/>
                <a:gd name="T47" fmla="*/ 24 h 51"/>
                <a:gd name="T48" fmla="*/ 78 w 148"/>
                <a:gd name="T49" fmla="*/ 27 h 51"/>
                <a:gd name="T50" fmla="*/ 94 w 148"/>
                <a:gd name="T51" fmla="*/ 28 h 51"/>
                <a:gd name="T52" fmla="*/ 84 w 148"/>
                <a:gd name="T53" fmla="*/ 25 h 51"/>
                <a:gd name="T54" fmla="*/ 84 w 148"/>
                <a:gd name="T55" fmla="*/ 28 h 51"/>
                <a:gd name="T56" fmla="*/ 94 w 148"/>
                <a:gd name="T57" fmla="*/ 28 h 51"/>
                <a:gd name="T58" fmla="*/ 109 w 148"/>
                <a:gd name="T59" fmla="*/ 34 h 51"/>
                <a:gd name="T60" fmla="*/ 99 w 148"/>
                <a:gd name="T61" fmla="*/ 32 h 51"/>
                <a:gd name="T62" fmla="*/ 107 w 148"/>
                <a:gd name="T63" fmla="*/ 37 h 51"/>
                <a:gd name="T64" fmla="*/ 120 w 148"/>
                <a:gd name="T65" fmla="*/ 42 h 51"/>
                <a:gd name="T66" fmla="*/ 113 w 148"/>
                <a:gd name="T67" fmla="*/ 37 h 51"/>
                <a:gd name="T68" fmla="*/ 112 w 148"/>
                <a:gd name="T69" fmla="*/ 40 h 51"/>
                <a:gd name="T70" fmla="*/ 120 w 148"/>
                <a:gd name="T71" fmla="*/ 42 h 51"/>
                <a:gd name="T72" fmla="*/ 133 w 148"/>
                <a:gd name="T73" fmla="*/ 48 h 51"/>
                <a:gd name="T74" fmla="*/ 130 w 148"/>
                <a:gd name="T75" fmla="*/ 48 h 51"/>
                <a:gd name="T76" fmla="*/ 128 w 148"/>
                <a:gd name="T77" fmla="*/ 48 h 51"/>
                <a:gd name="T78" fmla="*/ 123 w 148"/>
                <a:gd name="T79" fmla="*/ 48 h 51"/>
                <a:gd name="T80" fmla="*/ 126 w 148"/>
                <a:gd name="T81" fmla="*/ 50 h 51"/>
                <a:gd name="T82" fmla="*/ 130 w 148"/>
                <a:gd name="T83" fmla="*/ 51 h 51"/>
                <a:gd name="T84" fmla="*/ 133 w 148"/>
                <a:gd name="T85" fmla="*/ 51 h 51"/>
                <a:gd name="T86" fmla="*/ 146 w 148"/>
                <a:gd name="T87" fmla="*/ 42 h 51"/>
                <a:gd name="T88" fmla="*/ 138 w 148"/>
                <a:gd name="T89" fmla="*/ 47 h 51"/>
                <a:gd name="T90" fmla="*/ 139 w 148"/>
                <a:gd name="T91" fmla="*/ 50 h 51"/>
                <a:gd name="T92" fmla="*/ 146 w 148"/>
                <a:gd name="T93"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8" h="51">
                  <a:moveTo>
                    <a:pt x="7" y="3"/>
                  </a:moveTo>
                  <a:lnTo>
                    <a:pt x="7" y="3"/>
                  </a:lnTo>
                  <a:lnTo>
                    <a:pt x="0" y="6"/>
                  </a:lnTo>
                  <a:lnTo>
                    <a:pt x="2" y="9"/>
                  </a:lnTo>
                  <a:lnTo>
                    <a:pt x="2" y="9"/>
                  </a:lnTo>
                  <a:lnTo>
                    <a:pt x="9" y="6"/>
                  </a:lnTo>
                  <a:lnTo>
                    <a:pt x="7" y="3"/>
                  </a:lnTo>
                  <a:close/>
                  <a:moveTo>
                    <a:pt x="23" y="2"/>
                  </a:moveTo>
                  <a:lnTo>
                    <a:pt x="23" y="2"/>
                  </a:lnTo>
                  <a:lnTo>
                    <a:pt x="16" y="0"/>
                  </a:lnTo>
                  <a:lnTo>
                    <a:pt x="16" y="0"/>
                  </a:lnTo>
                  <a:lnTo>
                    <a:pt x="15" y="0"/>
                  </a:lnTo>
                  <a:lnTo>
                    <a:pt x="15" y="0"/>
                  </a:lnTo>
                  <a:lnTo>
                    <a:pt x="12" y="2"/>
                  </a:lnTo>
                  <a:lnTo>
                    <a:pt x="13" y="3"/>
                  </a:lnTo>
                  <a:lnTo>
                    <a:pt x="13" y="3"/>
                  </a:lnTo>
                  <a:lnTo>
                    <a:pt x="15" y="3"/>
                  </a:lnTo>
                  <a:lnTo>
                    <a:pt x="16" y="3"/>
                  </a:lnTo>
                  <a:lnTo>
                    <a:pt x="16" y="3"/>
                  </a:lnTo>
                  <a:lnTo>
                    <a:pt x="22" y="5"/>
                  </a:lnTo>
                  <a:lnTo>
                    <a:pt x="23" y="2"/>
                  </a:lnTo>
                  <a:close/>
                  <a:moveTo>
                    <a:pt x="36" y="9"/>
                  </a:moveTo>
                  <a:lnTo>
                    <a:pt x="36" y="9"/>
                  </a:lnTo>
                  <a:lnTo>
                    <a:pt x="28" y="5"/>
                  </a:lnTo>
                  <a:lnTo>
                    <a:pt x="26" y="6"/>
                  </a:lnTo>
                  <a:lnTo>
                    <a:pt x="26" y="6"/>
                  </a:lnTo>
                  <a:lnTo>
                    <a:pt x="35" y="11"/>
                  </a:lnTo>
                  <a:lnTo>
                    <a:pt x="36" y="9"/>
                  </a:lnTo>
                  <a:close/>
                  <a:moveTo>
                    <a:pt x="51" y="15"/>
                  </a:moveTo>
                  <a:lnTo>
                    <a:pt x="51" y="15"/>
                  </a:lnTo>
                  <a:lnTo>
                    <a:pt x="42" y="12"/>
                  </a:lnTo>
                  <a:lnTo>
                    <a:pt x="41" y="12"/>
                  </a:lnTo>
                  <a:lnTo>
                    <a:pt x="39" y="13"/>
                  </a:lnTo>
                  <a:lnTo>
                    <a:pt x="41" y="13"/>
                  </a:lnTo>
                  <a:lnTo>
                    <a:pt x="41" y="13"/>
                  </a:lnTo>
                  <a:lnTo>
                    <a:pt x="49" y="18"/>
                  </a:lnTo>
                  <a:lnTo>
                    <a:pt x="51" y="15"/>
                  </a:lnTo>
                  <a:close/>
                  <a:moveTo>
                    <a:pt x="65" y="19"/>
                  </a:moveTo>
                  <a:lnTo>
                    <a:pt x="65" y="19"/>
                  </a:lnTo>
                  <a:lnTo>
                    <a:pt x="55" y="16"/>
                  </a:lnTo>
                  <a:lnTo>
                    <a:pt x="54" y="19"/>
                  </a:lnTo>
                  <a:lnTo>
                    <a:pt x="54" y="19"/>
                  </a:lnTo>
                  <a:lnTo>
                    <a:pt x="64" y="22"/>
                  </a:lnTo>
                  <a:lnTo>
                    <a:pt x="65" y="19"/>
                  </a:lnTo>
                  <a:close/>
                  <a:moveTo>
                    <a:pt x="80" y="24"/>
                  </a:moveTo>
                  <a:lnTo>
                    <a:pt x="80" y="24"/>
                  </a:lnTo>
                  <a:lnTo>
                    <a:pt x="70" y="21"/>
                  </a:lnTo>
                  <a:lnTo>
                    <a:pt x="68" y="24"/>
                  </a:lnTo>
                  <a:lnTo>
                    <a:pt x="68" y="24"/>
                  </a:lnTo>
                  <a:lnTo>
                    <a:pt x="78" y="27"/>
                  </a:lnTo>
                  <a:lnTo>
                    <a:pt x="80" y="24"/>
                  </a:lnTo>
                  <a:close/>
                  <a:moveTo>
                    <a:pt x="94" y="28"/>
                  </a:moveTo>
                  <a:lnTo>
                    <a:pt x="94" y="28"/>
                  </a:lnTo>
                  <a:lnTo>
                    <a:pt x="84" y="25"/>
                  </a:lnTo>
                  <a:lnTo>
                    <a:pt x="84" y="28"/>
                  </a:lnTo>
                  <a:lnTo>
                    <a:pt x="84" y="28"/>
                  </a:lnTo>
                  <a:lnTo>
                    <a:pt x="93" y="31"/>
                  </a:lnTo>
                  <a:lnTo>
                    <a:pt x="94" y="28"/>
                  </a:lnTo>
                  <a:close/>
                  <a:moveTo>
                    <a:pt x="109" y="34"/>
                  </a:moveTo>
                  <a:lnTo>
                    <a:pt x="109" y="34"/>
                  </a:lnTo>
                  <a:lnTo>
                    <a:pt x="99" y="29"/>
                  </a:lnTo>
                  <a:lnTo>
                    <a:pt x="99" y="32"/>
                  </a:lnTo>
                  <a:lnTo>
                    <a:pt x="99" y="32"/>
                  </a:lnTo>
                  <a:lnTo>
                    <a:pt x="107" y="37"/>
                  </a:lnTo>
                  <a:lnTo>
                    <a:pt x="109" y="34"/>
                  </a:lnTo>
                  <a:close/>
                  <a:moveTo>
                    <a:pt x="120" y="42"/>
                  </a:moveTo>
                  <a:lnTo>
                    <a:pt x="120" y="42"/>
                  </a:lnTo>
                  <a:lnTo>
                    <a:pt x="113" y="37"/>
                  </a:lnTo>
                  <a:lnTo>
                    <a:pt x="112" y="40"/>
                  </a:lnTo>
                  <a:lnTo>
                    <a:pt x="112" y="40"/>
                  </a:lnTo>
                  <a:lnTo>
                    <a:pt x="119" y="45"/>
                  </a:lnTo>
                  <a:lnTo>
                    <a:pt x="120" y="42"/>
                  </a:lnTo>
                  <a:close/>
                  <a:moveTo>
                    <a:pt x="133" y="48"/>
                  </a:moveTo>
                  <a:lnTo>
                    <a:pt x="133" y="48"/>
                  </a:lnTo>
                  <a:lnTo>
                    <a:pt x="130" y="48"/>
                  </a:lnTo>
                  <a:lnTo>
                    <a:pt x="130" y="48"/>
                  </a:lnTo>
                  <a:lnTo>
                    <a:pt x="128" y="48"/>
                  </a:lnTo>
                  <a:lnTo>
                    <a:pt x="128" y="48"/>
                  </a:lnTo>
                  <a:lnTo>
                    <a:pt x="125" y="45"/>
                  </a:lnTo>
                  <a:lnTo>
                    <a:pt x="123" y="48"/>
                  </a:lnTo>
                  <a:lnTo>
                    <a:pt x="123" y="48"/>
                  </a:lnTo>
                  <a:lnTo>
                    <a:pt x="126" y="50"/>
                  </a:lnTo>
                  <a:lnTo>
                    <a:pt x="126" y="50"/>
                  </a:lnTo>
                  <a:lnTo>
                    <a:pt x="130" y="51"/>
                  </a:lnTo>
                  <a:lnTo>
                    <a:pt x="130" y="51"/>
                  </a:lnTo>
                  <a:lnTo>
                    <a:pt x="133" y="51"/>
                  </a:lnTo>
                  <a:lnTo>
                    <a:pt x="133" y="48"/>
                  </a:lnTo>
                  <a:close/>
                  <a:moveTo>
                    <a:pt x="146" y="42"/>
                  </a:moveTo>
                  <a:lnTo>
                    <a:pt x="146" y="42"/>
                  </a:lnTo>
                  <a:lnTo>
                    <a:pt x="138" y="47"/>
                  </a:lnTo>
                  <a:lnTo>
                    <a:pt x="139" y="50"/>
                  </a:lnTo>
                  <a:lnTo>
                    <a:pt x="139" y="50"/>
                  </a:lnTo>
                  <a:lnTo>
                    <a:pt x="148" y="45"/>
                  </a:lnTo>
                  <a:lnTo>
                    <a:pt x="146"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41" name="Freeform 1704"/>
            <p:cNvSpPr>
              <a:spLocks noEditPoints="1"/>
            </p:cNvSpPr>
            <p:nvPr/>
          </p:nvSpPr>
          <p:spPr bwMode="auto">
            <a:xfrm>
              <a:off x="5380038" y="3604054"/>
              <a:ext cx="188913" cy="107950"/>
            </a:xfrm>
            <a:custGeom>
              <a:avLst/>
              <a:gdLst>
                <a:gd name="T0" fmla="*/ 10 w 119"/>
                <a:gd name="T1" fmla="*/ 3 h 68"/>
                <a:gd name="T2" fmla="*/ 0 w 119"/>
                <a:gd name="T3" fmla="*/ 1 h 68"/>
                <a:gd name="T4" fmla="*/ 10 w 119"/>
                <a:gd name="T5" fmla="*/ 6 h 68"/>
                <a:gd name="T6" fmla="*/ 25 w 119"/>
                <a:gd name="T7" fmla="*/ 10 h 68"/>
                <a:gd name="T8" fmla="*/ 16 w 119"/>
                <a:gd name="T9" fmla="*/ 6 h 68"/>
                <a:gd name="T10" fmla="*/ 15 w 119"/>
                <a:gd name="T11" fmla="*/ 7 h 68"/>
                <a:gd name="T12" fmla="*/ 25 w 119"/>
                <a:gd name="T13" fmla="*/ 10 h 68"/>
                <a:gd name="T14" fmla="*/ 32 w 119"/>
                <a:gd name="T15" fmla="*/ 23 h 68"/>
                <a:gd name="T16" fmla="*/ 32 w 119"/>
                <a:gd name="T17" fmla="*/ 22 h 68"/>
                <a:gd name="T18" fmla="*/ 29 w 119"/>
                <a:gd name="T19" fmla="*/ 14 h 68"/>
                <a:gd name="T20" fmla="*/ 26 w 119"/>
                <a:gd name="T21" fmla="*/ 16 h 68"/>
                <a:gd name="T22" fmla="*/ 29 w 119"/>
                <a:gd name="T23" fmla="*/ 22 h 68"/>
                <a:gd name="T24" fmla="*/ 31 w 119"/>
                <a:gd name="T25" fmla="*/ 24 h 68"/>
                <a:gd name="T26" fmla="*/ 42 w 119"/>
                <a:gd name="T27" fmla="*/ 35 h 68"/>
                <a:gd name="T28" fmla="*/ 35 w 119"/>
                <a:gd name="T29" fmla="*/ 27 h 68"/>
                <a:gd name="T30" fmla="*/ 33 w 119"/>
                <a:gd name="T31" fmla="*/ 29 h 68"/>
                <a:gd name="T32" fmla="*/ 42 w 119"/>
                <a:gd name="T33" fmla="*/ 35 h 68"/>
                <a:gd name="T34" fmla="*/ 54 w 119"/>
                <a:gd name="T35" fmla="*/ 45 h 68"/>
                <a:gd name="T36" fmla="*/ 48 w 119"/>
                <a:gd name="T37" fmla="*/ 39 h 68"/>
                <a:gd name="T38" fmla="*/ 44 w 119"/>
                <a:gd name="T39" fmla="*/ 39 h 68"/>
                <a:gd name="T40" fmla="*/ 45 w 119"/>
                <a:gd name="T41" fmla="*/ 40 h 68"/>
                <a:gd name="T42" fmla="*/ 51 w 119"/>
                <a:gd name="T43" fmla="*/ 46 h 68"/>
                <a:gd name="T44" fmla="*/ 65 w 119"/>
                <a:gd name="T45" fmla="*/ 53 h 68"/>
                <a:gd name="T46" fmla="*/ 57 w 119"/>
                <a:gd name="T47" fmla="*/ 48 h 68"/>
                <a:gd name="T48" fmla="*/ 55 w 119"/>
                <a:gd name="T49" fmla="*/ 49 h 68"/>
                <a:gd name="T50" fmla="*/ 65 w 119"/>
                <a:gd name="T51" fmla="*/ 53 h 68"/>
                <a:gd name="T52" fmla="*/ 78 w 119"/>
                <a:gd name="T53" fmla="*/ 58 h 68"/>
                <a:gd name="T54" fmla="*/ 77 w 119"/>
                <a:gd name="T55" fmla="*/ 58 h 68"/>
                <a:gd name="T56" fmla="*/ 75 w 119"/>
                <a:gd name="T57" fmla="*/ 58 h 68"/>
                <a:gd name="T58" fmla="*/ 68 w 119"/>
                <a:gd name="T59" fmla="*/ 58 h 68"/>
                <a:gd name="T60" fmla="*/ 74 w 119"/>
                <a:gd name="T61" fmla="*/ 61 h 68"/>
                <a:gd name="T62" fmla="*/ 77 w 119"/>
                <a:gd name="T63" fmla="*/ 61 h 68"/>
                <a:gd name="T64" fmla="*/ 80 w 119"/>
                <a:gd name="T65" fmla="*/ 61 h 68"/>
                <a:gd name="T66" fmla="*/ 91 w 119"/>
                <a:gd name="T67" fmla="*/ 51 h 68"/>
                <a:gd name="T68" fmla="*/ 83 w 119"/>
                <a:gd name="T69" fmla="*/ 56 h 68"/>
                <a:gd name="T70" fmla="*/ 84 w 119"/>
                <a:gd name="T71" fmla="*/ 58 h 68"/>
                <a:gd name="T72" fmla="*/ 91 w 119"/>
                <a:gd name="T73" fmla="*/ 51 h 68"/>
                <a:gd name="T74" fmla="*/ 106 w 119"/>
                <a:gd name="T75" fmla="*/ 45 h 68"/>
                <a:gd name="T76" fmla="*/ 103 w 119"/>
                <a:gd name="T77" fmla="*/ 45 h 68"/>
                <a:gd name="T78" fmla="*/ 96 w 119"/>
                <a:gd name="T79" fmla="*/ 48 h 68"/>
                <a:gd name="T80" fmla="*/ 97 w 119"/>
                <a:gd name="T81" fmla="*/ 51 h 68"/>
                <a:gd name="T82" fmla="*/ 104 w 119"/>
                <a:gd name="T83" fmla="*/ 46 h 68"/>
                <a:gd name="T84" fmla="*/ 106 w 119"/>
                <a:gd name="T85" fmla="*/ 46 h 68"/>
                <a:gd name="T86" fmla="*/ 109 w 119"/>
                <a:gd name="T87" fmla="*/ 59 h 68"/>
                <a:gd name="T88" fmla="*/ 109 w 119"/>
                <a:gd name="T89" fmla="*/ 56 h 68"/>
                <a:gd name="T90" fmla="*/ 109 w 119"/>
                <a:gd name="T91" fmla="*/ 49 h 68"/>
                <a:gd name="T92" fmla="*/ 106 w 119"/>
                <a:gd name="T93" fmla="*/ 49 h 68"/>
                <a:gd name="T94" fmla="*/ 106 w 119"/>
                <a:gd name="T95" fmla="*/ 56 h 68"/>
                <a:gd name="T96" fmla="*/ 109 w 119"/>
                <a:gd name="T97" fmla="*/ 59 h 68"/>
                <a:gd name="T98" fmla="*/ 117 w 119"/>
                <a:gd name="T99" fmla="*/ 65 h 68"/>
                <a:gd name="T100" fmla="*/ 113 w 119"/>
                <a:gd name="T101" fmla="*/ 65 h 68"/>
                <a:gd name="T102" fmla="*/ 109 w 119"/>
                <a:gd name="T103" fmla="*/ 65 h 68"/>
                <a:gd name="T104" fmla="*/ 113 w 119"/>
                <a:gd name="T105" fmla="*/ 68 h 68"/>
                <a:gd name="T106" fmla="*/ 119 w 119"/>
                <a:gd name="T10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9" h="68">
                  <a:moveTo>
                    <a:pt x="10" y="3"/>
                  </a:moveTo>
                  <a:lnTo>
                    <a:pt x="10" y="3"/>
                  </a:lnTo>
                  <a:lnTo>
                    <a:pt x="2" y="0"/>
                  </a:lnTo>
                  <a:lnTo>
                    <a:pt x="0" y="1"/>
                  </a:lnTo>
                  <a:lnTo>
                    <a:pt x="0" y="1"/>
                  </a:lnTo>
                  <a:lnTo>
                    <a:pt x="10" y="6"/>
                  </a:lnTo>
                  <a:lnTo>
                    <a:pt x="10" y="3"/>
                  </a:lnTo>
                  <a:close/>
                  <a:moveTo>
                    <a:pt x="25" y="10"/>
                  </a:moveTo>
                  <a:lnTo>
                    <a:pt x="25" y="10"/>
                  </a:lnTo>
                  <a:lnTo>
                    <a:pt x="16" y="6"/>
                  </a:lnTo>
                  <a:lnTo>
                    <a:pt x="15" y="7"/>
                  </a:lnTo>
                  <a:lnTo>
                    <a:pt x="15" y="7"/>
                  </a:lnTo>
                  <a:lnTo>
                    <a:pt x="23" y="13"/>
                  </a:lnTo>
                  <a:lnTo>
                    <a:pt x="25" y="10"/>
                  </a:lnTo>
                  <a:close/>
                  <a:moveTo>
                    <a:pt x="32" y="23"/>
                  </a:moveTo>
                  <a:lnTo>
                    <a:pt x="32" y="23"/>
                  </a:lnTo>
                  <a:lnTo>
                    <a:pt x="32" y="22"/>
                  </a:lnTo>
                  <a:lnTo>
                    <a:pt x="32" y="22"/>
                  </a:lnTo>
                  <a:lnTo>
                    <a:pt x="31" y="17"/>
                  </a:lnTo>
                  <a:lnTo>
                    <a:pt x="29" y="14"/>
                  </a:lnTo>
                  <a:lnTo>
                    <a:pt x="26" y="16"/>
                  </a:lnTo>
                  <a:lnTo>
                    <a:pt x="26" y="16"/>
                  </a:lnTo>
                  <a:lnTo>
                    <a:pt x="29" y="19"/>
                  </a:lnTo>
                  <a:lnTo>
                    <a:pt x="29" y="22"/>
                  </a:lnTo>
                  <a:lnTo>
                    <a:pt x="29" y="22"/>
                  </a:lnTo>
                  <a:lnTo>
                    <a:pt x="31" y="24"/>
                  </a:lnTo>
                  <a:lnTo>
                    <a:pt x="32" y="23"/>
                  </a:lnTo>
                  <a:close/>
                  <a:moveTo>
                    <a:pt x="42" y="35"/>
                  </a:moveTo>
                  <a:lnTo>
                    <a:pt x="42" y="35"/>
                  </a:lnTo>
                  <a:lnTo>
                    <a:pt x="35" y="27"/>
                  </a:lnTo>
                  <a:lnTo>
                    <a:pt x="33" y="29"/>
                  </a:lnTo>
                  <a:lnTo>
                    <a:pt x="33" y="29"/>
                  </a:lnTo>
                  <a:lnTo>
                    <a:pt x="41" y="36"/>
                  </a:lnTo>
                  <a:lnTo>
                    <a:pt x="42" y="35"/>
                  </a:lnTo>
                  <a:close/>
                  <a:moveTo>
                    <a:pt x="54" y="45"/>
                  </a:moveTo>
                  <a:lnTo>
                    <a:pt x="54" y="45"/>
                  </a:lnTo>
                  <a:lnTo>
                    <a:pt x="48" y="39"/>
                  </a:lnTo>
                  <a:lnTo>
                    <a:pt x="48" y="39"/>
                  </a:lnTo>
                  <a:lnTo>
                    <a:pt x="46" y="37"/>
                  </a:lnTo>
                  <a:lnTo>
                    <a:pt x="44" y="39"/>
                  </a:lnTo>
                  <a:lnTo>
                    <a:pt x="44" y="39"/>
                  </a:lnTo>
                  <a:lnTo>
                    <a:pt x="45" y="40"/>
                  </a:lnTo>
                  <a:lnTo>
                    <a:pt x="45" y="40"/>
                  </a:lnTo>
                  <a:lnTo>
                    <a:pt x="51" y="46"/>
                  </a:lnTo>
                  <a:lnTo>
                    <a:pt x="54" y="45"/>
                  </a:lnTo>
                  <a:close/>
                  <a:moveTo>
                    <a:pt x="65" y="53"/>
                  </a:moveTo>
                  <a:lnTo>
                    <a:pt x="65" y="53"/>
                  </a:lnTo>
                  <a:lnTo>
                    <a:pt x="57" y="48"/>
                  </a:lnTo>
                  <a:lnTo>
                    <a:pt x="55" y="49"/>
                  </a:lnTo>
                  <a:lnTo>
                    <a:pt x="55" y="49"/>
                  </a:lnTo>
                  <a:lnTo>
                    <a:pt x="64" y="55"/>
                  </a:lnTo>
                  <a:lnTo>
                    <a:pt x="65" y="53"/>
                  </a:lnTo>
                  <a:close/>
                  <a:moveTo>
                    <a:pt x="78" y="58"/>
                  </a:moveTo>
                  <a:lnTo>
                    <a:pt x="78" y="58"/>
                  </a:lnTo>
                  <a:lnTo>
                    <a:pt x="77" y="58"/>
                  </a:lnTo>
                  <a:lnTo>
                    <a:pt x="77" y="58"/>
                  </a:lnTo>
                  <a:lnTo>
                    <a:pt x="75" y="58"/>
                  </a:lnTo>
                  <a:lnTo>
                    <a:pt x="75" y="58"/>
                  </a:lnTo>
                  <a:lnTo>
                    <a:pt x="70" y="55"/>
                  </a:lnTo>
                  <a:lnTo>
                    <a:pt x="68" y="58"/>
                  </a:lnTo>
                  <a:lnTo>
                    <a:pt x="68" y="58"/>
                  </a:lnTo>
                  <a:lnTo>
                    <a:pt x="74" y="61"/>
                  </a:lnTo>
                  <a:lnTo>
                    <a:pt x="74" y="61"/>
                  </a:lnTo>
                  <a:lnTo>
                    <a:pt x="77" y="61"/>
                  </a:lnTo>
                  <a:lnTo>
                    <a:pt x="77" y="61"/>
                  </a:lnTo>
                  <a:lnTo>
                    <a:pt x="80" y="61"/>
                  </a:lnTo>
                  <a:lnTo>
                    <a:pt x="78" y="58"/>
                  </a:lnTo>
                  <a:close/>
                  <a:moveTo>
                    <a:pt x="91" y="51"/>
                  </a:moveTo>
                  <a:lnTo>
                    <a:pt x="91" y="51"/>
                  </a:lnTo>
                  <a:lnTo>
                    <a:pt x="83" y="56"/>
                  </a:lnTo>
                  <a:lnTo>
                    <a:pt x="84" y="58"/>
                  </a:lnTo>
                  <a:lnTo>
                    <a:pt x="84" y="58"/>
                  </a:lnTo>
                  <a:lnTo>
                    <a:pt x="93" y="53"/>
                  </a:lnTo>
                  <a:lnTo>
                    <a:pt x="91" y="51"/>
                  </a:lnTo>
                  <a:close/>
                  <a:moveTo>
                    <a:pt x="106" y="45"/>
                  </a:moveTo>
                  <a:lnTo>
                    <a:pt x="106" y="45"/>
                  </a:lnTo>
                  <a:lnTo>
                    <a:pt x="106" y="45"/>
                  </a:lnTo>
                  <a:lnTo>
                    <a:pt x="103" y="45"/>
                  </a:lnTo>
                  <a:lnTo>
                    <a:pt x="103" y="45"/>
                  </a:lnTo>
                  <a:lnTo>
                    <a:pt x="96" y="48"/>
                  </a:lnTo>
                  <a:lnTo>
                    <a:pt x="97" y="51"/>
                  </a:lnTo>
                  <a:lnTo>
                    <a:pt x="97" y="51"/>
                  </a:lnTo>
                  <a:lnTo>
                    <a:pt x="104" y="46"/>
                  </a:lnTo>
                  <a:lnTo>
                    <a:pt x="104" y="46"/>
                  </a:lnTo>
                  <a:lnTo>
                    <a:pt x="106" y="46"/>
                  </a:lnTo>
                  <a:lnTo>
                    <a:pt x="106" y="46"/>
                  </a:lnTo>
                  <a:lnTo>
                    <a:pt x="106" y="45"/>
                  </a:lnTo>
                  <a:close/>
                  <a:moveTo>
                    <a:pt x="109" y="59"/>
                  </a:moveTo>
                  <a:lnTo>
                    <a:pt x="109" y="59"/>
                  </a:lnTo>
                  <a:lnTo>
                    <a:pt x="109" y="56"/>
                  </a:lnTo>
                  <a:lnTo>
                    <a:pt x="109" y="56"/>
                  </a:lnTo>
                  <a:lnTo>
                    <a:pt x="109" y="49"/>
                  </a:lnTo>
                  <a:lnTo>
                    <a:pt x="106" y="49"/>
                  </a:lnTo>
                  <a:lnTo>
                    <a:pt x="106" y="49"/>
                  </a:lnTo>
                  <a:lnTo>
                    <a:pt x="106" y="56"/>
                  </a:lnTo>
                  <a:lnTo>
                    <a:pt x="106" y="56"/>
                  </a:lnTo>
                  <a:lnTo>
                    <a:pt x="106" y="59"/>
                  </a:lnTo>
                  <a:lnTo>
                    <a:pt x="109" y="59"/>
                  </a:lnTo>
                  <a:close/>
                  <a:moveTo>
                    <a:pt x="119" y="65"/>
                  </a:moveTo>
                  <a:lnTo>
                    <a:pt x="117" y="65"/>
                  </a:lnTo>
                  <a:lnTo>
                    <a:pt x="117" y="65"/>
                  </a:lnTo>
                  <a:lnTo>
                    <a:pt x="113" y="65"/>
                  </a:lnTo>
                  <a:lnTo>
                    <a:pt x="110" y="64"/>
                  </a:lnTo>
                  <a:lnTo>
                    <a:pt x="109" y="65"/>
                  </a:lnTo>
                  <a:lnTo>
                    <a:pt x="109" y="65"/>
                  </a:lnTo>
                  <a:lnTo>
                    <a:pt x="113" y="68"/>
                  </a:lnTo>
                  <a:lnTo>
                    <a:pt x="117" y="68"/>
                  </a:lnTo>
                  <a:lnTo>
                    <a:pt x="119" y="68"/>
                  </a:lnTo>
                  <a:lnTo>
                    <a:pt x="119"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42" name="Freeform 1705"/>
            <p:cNvSpPr>
              <a:spLocks noEditPoints="1"/>
            </p:cNvSpPr>
            <p:nvPr/>
          </p:nvSpPr>
          <p:spPr bwMode="auto">
            <a:xfrm>
              <a:off x="5426076" y="3599291"/>
              <a:ext cx="92075" cy="34925"/>
            </a:xfrm>
            <a:custGeom>
              <a:avLst/>
              <a:gdLst>
                <a:gd name="T0" fmla="*/ 58 w 58"/>
                <a:gd name="T1" fmla="*/ 11 h 22"/>
                <a:gd name="T2" fmla="*/ 58 w 58"/>
                <a:gd name="T3" fmla="*/ 7 h 22"/>
                <a:gd name="T4" fmla="*/ 58 w 58"/>
                <a:gd name="T5" fmla="*/ 6 h 22"/>
                <a:gd name="T6" fmla="*/ 57 w 58"/>
                <a:gd name="T7" fmla="*/ 0 h 22"/>
                <a:gd name="T8" fmla="*/ 55 w 58"/>
                <a:gd name="T9" fmla="*/ 6 h 22"/>
                <a:gd name="T10" fmla="*/ 55 w 58"/>
                <a:gd name="T11" fmla="*/ 7 h 22"/>
                <a:gd name="T12" fmla="*/ 55 w 58"/>
                <a:gd name="T13" fmla="*/ 11 h 22"/>
                <a:gd name="T14" fmla="*/ 45 w 58"/>
                <a:gd name="T15" fmla="*/ 14 h 22"/>
                <a:gd name="T16" fmla="*/ 54 w 58"/>
                <a:gd name="T17" fmla="*/ 17 h 22"/>
                <a:gd name="T18" fmla="*/ 55 w 58"/>
                <a:gd name="T19" fmla="*/ 16 h 22"/>
                <a:gd name="T20" fmla="*/ 54 w 58"/>
                <a:gd name="T21" fmla="*/ 14 h 22"/>
                <a:gd name="T22" fmla="*/ 54 w 58"/>
                <a:gd name="T23" fmla="*/ 14 h 22"/>
                <a:gd name="T24" fmla="*/ 45 w 58"/>
                <a:gd name="T25" fmla="*/ 14 h 22"/>
                <a:gd name="T26" fmla="*/ 30 w 58"/>
                <a:gd name="T27" fmla="*/ 14 h 22"/>
                <a:gd name="T28" fmla="*/ 36 w 58"/>
                <a:gd name="T29" fmla="*/ 13 h 22"/>
                <a:gd name="T30" fmla="*/ 38 w 58"/>
                <a:gd name="T31" fmla="*/ 13 h 22"/>
                <a:gd name="T32" fmla="*/ 41 w 58"/>
                <a:gd name="T33" fmla="*/ 11 h 22"/>
                <a:gd name="T34" fmla="*/ 38 w 58"/>
                <a:gd name="T35" fmla="*/ 10 h 22"/>
                <a:gd name="T36" fmla="*/ 36 w 58"/>
                <a:gd name="T37" fmla="*/ 10 h 22"/>
                <a:gd name="T38" fmla="*/ 29 w 58"/>
                <a:gd name="T39" fmla="*/ 13 h 22"/>
                <a:gd name="T40" fmla="*/ 16 w 58"/>
                <a:gd name="T41" fmla="*/ 17 h 22"/>
                <a:gd name="T42" fmla="*/ 20 w 58"/>
                <a:gd name="T43" fmla="*/ 17 h 22"/>
                <a:gd name="T44" fmla="*/ 22 w 58"/>
                <a:gd name="T45" fmla="*/ 17 h 22"/>
                <a:gd name="T46" fmla="*/ 23 w 58"/>
                <a:gd name="T47" fmla="*/ 17 h 22"/>
                <a:gd name="T48" fmla="*/ 25 w 58"/>
                <a:gd name="T49" fmla="*/ 14 h 22"/>
                <a:gd name="T50" fmla="*/ 23 w 58"/>
                <a:gd name="T51" fmla="*/ 14 h 22"/>
                <a:gd name="T52" fmla="*/ 22 w 58"/>
                <a:gd name="T53" fmla="*/ 14 h 22"/>
                <a:gd name="T54" fmla="*/ 20 w 58"/>
                <a:gd name="T55" fmla="*/ 14 h 22"/>
                <a:gd name="T56" fmla="*/ 16 w 58"/>
                <a:gd name="T57" fmla="*/ 17 h 22"/>
                <a:gd name="T58" fmla="*/ 2 w 58"/>
                <a:gd name="T59" fmla="*/ 22 h 22"/>
                <a:gd name="T60" fmla="*/ 10 w 58"/>
                <a:gd name="T61" fmla="*/ 16 h 22"/>
                <a:gd name="T62" fmla="*/ 0 w 58"/>
                <a:gd name="T6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 h="22">
                  <a:moveTo>
                    <a:pt x="58" y="11"/>
                  </a:moveTo>
                  <a:lnTo>
                    <a:pt x="58" y="11"/>
                  </a:lnTo>
                  <a:lnTo>
                    <a:pt x="58" y="7"/>
                  </a:lnTo>
                  <a:lnTo>
                    <a:pt x="58" y="7"/>
                  </a:lnTo>
                  <a:lnTo>
                    <a:pt x="58" y="6"/>
                  </a:lnTo>
                  <a:lnTo>
                    <a:pt x="58" y="6"/>
                  </a:lnTo>
                  <a:lnTo>
                    <a:pt x="58" y="1"/>
                  </a:lnTo>
                  <a:lnTo>
                    <a:pt x="57" y="0"/>
                  </a:lnTo>
                  <a:lnTo>
                    <a:pt x="57" y="0"/>
                  </a:lnTo>
                  <a:lnTo>
                    <a:pt x="55" y="6"/>
                  </a:lnTo>
                  <a:lnTo>
                    <a:pt x="55" y="6"/>
                  </a:lnTo>
                  <a:lnTo>
                    <a:pt x="55" y="7"/>
                  </a:lnTo>
                  <a:lnTo>
                    <a:pt x="55" y="7"/>
                  </a:lnTo>
                  <a:lnTo>
                    <a:pt x="55" y="11"/>
                  </a:lnTo>
                  <a:lnTo>
                    <a:pt x="58" y="11"/>
                  </a:lnTo>
                  <a:close/>
                  <a:moveTo>
                    <a:pt x="45" y="14"/>
                  </a:moveTo>
                  <a:lnTo>
                    <a:pt x="45" y="14"/>
                  </a:lnTo>
                  <a:lnTo>
                    <a:pt x="54" y="17"/>
                  </a:lnTo>
                  <a:lnTo>
                    <a:pt x="54" y="17"/>
                  </a:lnTo>
                  <a:lnTo>
                    <a:pt x="55" y="16"/>
                  </a:lnTo>
                  <a:lnTo>
                    <a:pt x="54" y="14"/>
                  </a:lnTo>
                  <a:lnTo>
                    <a:pt x="54" y="14"/>
                  </a:lnTo>
                  <a:lnTo>
                    <a:pt x="54" y="14"/>
                  </a:lnTo>
                  <a:lnTo>
                    <a:pt x="54" y="14"/>
                  </a:lnTo>
                  <a:lnTo>
                    <a:pt x="45" y="13"/>
                  </a:lnTo>
                  <a:lnTo>
                    <a:pt x="45" y="14"/>
                  </a:lnTo>
                  <a:close/>
                  <a:moveTo>
                    <a:pt x="30" y="14"/>
                  </a:moveTo>
                  <a:lnTo>
                    <a:pt x="30" y="14"/>
                  </a:lnTo>
                  <a:lnTo>
                    <a:pt x="33" y="14"/>
                  </a:lnTo>
                  <a:lnTo>
                    <a:pt x="36" y="13"/>
                  </a:lnTo>
                  <a:lnTo>
                    <a:pt x="38" y="13"/>
                  </a:lnTo>
                  <a:lnTo>
                    <a:pt x="38" y="13"/>
                  </a:lnTo>
                  <a:lnTo>
                    <a:pt x="39" y="13"/>
                  </a:lnTo>
                  <a:lnTo>
                    <a:pt x="41" y="11"/>
                  </a:lnTo>
                  <a:lnTo>
                    <a:pt x="41" y="11"/>
                  </a:lnTo>
                  <a:lnTo>
                    <a:pt x="38" y="10"/>
                  </a:lnTo>
                  <a:lnTo>
                    <a:pt x="36" y="10"/>
                  </a:lnTo>
                  <a:lnTo>
                    <a:pt x="36" y="10"/>
                  </a:lnTo>
                  <a:lnTo>
                    <a:pt x="32" y="11"/>
                  </a:lnTo>
                  <a:lnTo>
                    <a:pt x="29" y="13"/>
                  </a:lnTo>
                  <a:lnTo>
                    <a:pt x="30" y="14"/>
                  </a:lnTo>
                  <a:close/>
                  <a:moveTo>
                    <a:pt x="16" y="17"/>
                  </a:moveTo>
                  <a:lnTo>
                    <a:pt x="16" y="17"/>
                  </a:lnTo>
                  <a:lnTo>
                    <a:pt x="20" y="17"/>
                  </a:lnTo>
                  <a:lnTo>
                    <a:pt x="22" y="17"/>
                  </a:lnTo>
                  <a:lnTo>
                    <a:pt x="22" y="17"/>
                  </a:lnTo>
                  <a:lnTo>
                    <a:pt x="23" y="17"/>
                  </a:lnTo>
                  <a:lnTo>
                    <a:pt x="23" y="17"/>
                  </a:lnTo>
                  <a:lnTo>
                    <a:pt x="26" y="17"/>
                  </a:lnTo>
                  <a:lnTo>
                    <a:pt x="25" y="14"/>
                  </a:lnTo>
                  <a:lnTo>
                    <a:pt x="25" y="14"/>
                  </a:lnTo>
                  <a:lnTo>
                    <a:pt x="23" y="14"/>
                  </a:lnTo>
                  <a:lnTo>
                    <a:pt x="23" y="14"/>
                  </a:lnTo>
                  <a:lnTo>
                    <a:pt x="22" y="14"/>
                  </a:lnTo>
                  <a:lnTo>
                    <a:pt x="20" y="14"/>
                  </a:lnTo>
                  <a:lnTo>
                    <a:pt x="20" y="14"/>
                  </a:lnTo>
                  <a:lnTo>
                    <a:pt x="15" y="14"/>
                  </a:lnTo>
                  <a:lnTo>
                    <a:pt x="16" y="17"/>
                  </a:lnTo>
                  <a:close/>
                  <a:moveTo>
                    <a:pt x="2" y="22"/>
                  </a:moveTo>
                  <a:lnTo>
                    <a:pt x="2" y="22"/>
                  </a:lnTo>
                  <a:lnTo>
                    <a:pt x="10" y="19"/>
                  </a:lnTo>
                  <a:lnTo>
                    <a:pt x="10" y="16"/>
                  </a:lnTo>
                  <a:lnTo>
                    <a:pt x="10" y="16"/>
                  </a:lnTo>
                  <a:lnTo>
                    <a:pt x="0" y="19"/>
                  </a:lnTo>
                  <a:lnTo>
                    <a:pt x="2"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43" name="Freeform 1706"/>
            <p:cNvSpPr>
              <a:spLocks noEditPoints="1"/>
            </p:cNvSpPr>
            <p:nvPr/>
          </p:nvSpPr>
          <p:spPr bwMode="auto">
            <a:xfrm>
              <a:off x="5472113" y="3619929"/>
              <a:ext cx="41275" cy="76200"/>
            </a:xfrm>
            <a:custGeom>
              <a:avLst/>
              <a:gdLst>
                <a:gd name="T0" fmla="*/ 6 w 26"/>
                <a:gd name="T1" fmla="*/ 7 h 48"/>
                <a:gd name="T2" fmla="*/ 6 w 26"/>
                <a:gd name="T3" fmla="*/ 7 h 48"/>
                <a:gd name="T4" fmla="*/ 1 w 26"/>
                <a:gd name="T5" fmla="*/ 0 h 48"/>
                <a:gd name="T6" fmla="*/ 0 w 26"/>
                <a:gd name="T7" fmla="*/ 1 h 48"/>
                <a:gd name="T8" fmla="*/ 0 w 26"/>
                <a:gd name="T9" fmla="*/ 1 h 48"/>
                <a:gd name="T10" fmla="*/ 4 w 26"/>
                <a:gd name="T11" fmla="*/ 9 h 48"/>
                <a:gd name="T12" fmla="*/ 6 w 26"/>
                <a:gd name="T13" fmla="*/ 7 h 48"/>
                <a:gd name="T14" fmla="*/ 16 w 26"/>
                <a:gd name="T15" fmla="*/ 19 h 48"/>
                <a:gd name="T16" fmla="*/ 16 w 26"/>
                <a:gd name="T17" fmla="*/ 19 h 48"/>
                <a:gd name="T18" fmla="*/ 9 w 26"/>
                <a:gd name="T19" fmla="*/ 12 h 48"/>
                <a:gd name="T20" fmla="*/ 7 w 26"/>
                <a:gd name="T21" fmla="*/ 13 h 48"/>
                <a:gd name="T22" fmla="*/ 7 w 26"/>
                <a:gd name="T23" fmla="*/ 13 h 48"/>
                <a:gd name="T24" fmla="*/ 13 w 26"/>
                <a:gd name="T25" fmla="*/ 22 h 48"/>
                <a:gd name="T26" fmla="*/ 16 w 26"/>
                <a:gd name="T27" fmla="*/ 19 h 48"/>
                <a:gd name="T28" fmla="*/ 25 w 26"/>
                <a:gd name="T29" fmla="*/ 32 h 48"/>
                <a:gd name="T30" fmla="*/ 25 w 26"/>
                <a:gd name="T31" fmla="*/ 32 h 48"/>
                <a:gd name="T32" fmla="*/ 23 w 26"/>
                <a:gd name="T33" fmla="*/ 29 h 48"/>
                <a:gd name="T34" fmla="*/ 22 w 26"/>
                <a:gd name="T35" fmla="*/ 26 h 48"/>
                <a:gd name="T36" fmla="*/ 22 w 26"/>
                <a:gd name="T37" fmla="*/ 26 h 48"/>
                <a:gd name="T38" fmla="*/ 19 w 26"/>
                <a:gd name="T39" fmla="*/ 23 h 48"/>
                <a:gd name="T40" fmla="*/ 17 w 26"/>
                <a:gd name="T41" fmla="*/ 25 h 48"/>
                <a:gd name="T42" fmla="*/ 17 w 26"/>
                <a:gd name="T43" fmla="*/ 25 h 48"/>
                <a:gd name="T44" fmla="*/ 19 w 26"/>
                <a:gd name="T45" fmla="*/ 27 h 48"/>
                <a:gd name="T46" fmla="*/ 19 w 26"/>
                <a:gd name="T47" fmla="*/ 27 h 48"/>
                <a:gd name="T48" fmla="*/ 22 w 26"/>
                <a:gd name="T49" fmla="*/ 33 h 48"/>
                <a:gd name="T50" fmla="*/ 25 w 26"/>
                <a:gd name="T51" fmla="*/ 32 h 48"/>
                <a:gd name="T52" fmla="*/ 26 w 26"/>
                <a:gd name="T53" fmla="*/ 48 h 48"/>
                <a:gd name="T54" fmla="*/ 26 w 26"/>
                <a:gd name="T55" fmla="*/ 48 h 48"/>
                <a:gd name="T56" fmla="*/ 25 w 26"/>
                <a:gd name="T57" fmla="*/ 38 h 48"/>
                <a:gd name="T58" fmla="*/ 23 w 26"/>
                <a:gd name="T59" fmla="*/ 38 h 48"/>
                <a:gd name="T60" fmla="*/ 23 w 26"/>
                <a:gd name="T61" fmla="*/ 38 h 48"/>
                <a:gd name="T62" fmla="*/ 23 w 26"/>
                <a:gd name="T63" fmla="*/ 48 h 48"/>
                <a:gd name="T64" fmla="*/ 26 w 26"/>
                <a:gd name="T6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 h="48">
                  <a:moveTo>
                    <a:pt x="6" y="7"/>
                  </a:moveTo>
                  <a:lnTo>
                    <a:pt x="6" y="7"/>
                  </a:lnTo>
                  <a:lnTo>
                    <a:pt x="1" y="0"/>
                  </a:lnTo>
                  <a:lnTo>
                    <a:pt x="0" y="1"/>
                  </a:lnTo>
                  <a:lnTo>
                    <a:pt x="0" y="1"/>
                  </a:lnTo>
                  <a:lnTo>
                    <a:pt x="4" y="9"/>
                  </a:lnTo>
                  <a:lnTo>
                    <a:pt x="6" y="7"/>
                  </a:lnTo>
                  <a:close/>
                  <a:moveTo>
                    <a:pt x="16" y="19"/>
                  </a:moveTo>
                  <a:lnTo>
                    <a:pt x="16" y="19"/>
                  </a:lnTo>
                  <a:lnTo>
                    <a:pt x="9" y="12"/>
                  </a:lnTo>
                  <a:lnTo>
                    <a:pt x="7" y="13"/>
                  </a:lnTo>
                  <a:lnTo>
                    <a:pt x="7" y="13"/>
                  </a:lnTo>
                  <a:lnTo>
                    <a:pt x="13" y="22"/>
                  </a:lnTo>
                  <a:lnTo>
                    <a:pt x="16" y="19"/>
                  </a:lnTo>
                  <a:close/>
                  <a:moveTo>
                    <a:pt x="25" y="32"/>
                  </a:moveTo>
                  <a:lnTo>
                    <a:pt x="25" y="32"/>
                  </a:lnTo>
                  <a:lnTo>
                    <a:pt x="23" y="29"/>
                  </a:lnTo>
                  <a:lnTo>
                    <a:pt x="22" y="26"/>
                  </a:lnTo>
                  <a:lnTo>
                    <a:pt x="22" y="26"/>
                  </a:lnTo>
                  <a:lnTo>
                    <a:pt x="19" y="23"/>
                  </a:lnTo>
                  <a:lnTo>
                    <a:pt x="17" y="25"/>
                  </a:lnTo>
                  <a:lnTo>
                    <a:pt x="17" y="25"/>
                  </a:lnTo>
                  <a:lnTo>
                    <a:pt x="19" y="27"/>
                  </a:lnTo>
                  <a:lnTo>
                    <a:pt x="19" y="27"/>
                  </a:lnTo>
                  <a:lnTo>
                    <a:pt x="22" y="33"/>
                  </a:lnTo>
                  <a:lnTo>
                    <a:pt x="25" y="32"/>
                  </a:lnTo>
                  <a:close/>
                  <a:moveTo>
                    <a:pt x="26" y="48"/>
                  </a:moveTo>
                  <a:lnTo>
                    <a:pt x="26" y="48"/>
                  </a:lnTo>
                  <a:lnTo>
                    <a:pt x="25" y="38"/>
                  </a:lnTo>
                  <a:lnTo>
                    <a:pt x="23" y="38"/>
                  </a:lnTo>
                  <a:lnTo>
                    <a:pt x="23" y="38"/>
                  </a:lnTo>
                  <a:lnTo>
                    <a:pt x="23" y="48"/>
                  </a:lnTo>
                  <a:lnTo>
                    <a:pt x="26"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44" name="Freeform 1707"/>
            <p:cNvSpPr>
              <a:spLocks noEditPoints="1"/>
            </p:cNvSpPr>
            <p:nvPr/>
          </p:nvSpPr>
          <p:spPr bwMode="auto">
            <a:xfrm>
              <a:off x="5214938" y="3913616"/>
              <a:ext cx="344488" cy="112713"/>
            </a:xfrm>
            <a:custGeom>
              <a:avLst/>
              <a:gdLst>
                <a:gd name="T0" fmla="*/ 0 w 217"/>
                <a:gd name="T1" fmla="*/ 50 h 71"/>
                <a:gd name="T2" fmla="*/ 24 w 217"/>
                <a:gd name="T3" fmla="*/ 44 h 71"/>
                <a:gd name="T4" fmla="*/ 16 w 217"/>
                <a:gd name="T5" fmla="*/ 47 h 71"/>
                <a:gd name="T6" fmla="*/ 16 w 217"/>
                <a:gd name="T7" fmla="*/ 50 h 71"/>
                <a:gd name="T8" fmla="*/ 26 w 217"/>
                <a:gd name="T9" fmla="*/ 47 h 71"/>
                <a:gd name="T10" fmla="*/ 35 w 217"/>
                <a:gd name="T11" fmla="*/ 37 h 71"/>
                <a:gd name="T12" fmla="*/ 29 w 217"/>
                <a:gd name="T13" fmla="*/ 42 h 71"/>
                <a:gd name="T14" fmla="*/ 35 w 217"/>
                <a:gd name="T15" fmla="*/ 41 h 71"/>
                <a:gd name="T16" fmla="*/ 36 w 217"/>
                <a:gd name="T17" fmla="*/ 35 h 71"/>
                <a:gd name="T18" fmla="*/ 35 w 217"/>
                <a:gd name="T19" fmla="*/ 32 h 71"/>
                <a:gd name="T20" fmla="*/ 32 w 217"/>
                <a:gd name="T21" fmla="*/ 22 h 71"/>
                <a:gd name="T22" fmla="*/ 32 w 217"/>
                <a:gd name="T23" fmla="*/ 9 h 71"/>
                <a:gd name="T24" fmla="*/ 26 w 217"/>
                <a:gd name="T25" fmla="*/ 16 h 71"/>
                <a:gd name="T26" fmla="*/ 29 w 217"/>
                <a:gd name="T27" fmla="*/ 18 h 71"/>
                <a:gd name="T28" fmla="*/ 29 w 217"/>
                <a:gd name="T29" fmla="*/ 16 h 71"/>
                <a:gd name="T30" fmla="*/ 33 w 217"/>
                <a:gd name="T31" fmla="*/ 12 h 71"/>
                <a:gd name="T32" fmla="*/ 46 w 217"/>
                <a:gd name="T33" fmla="*/ 2 h 71"/>
                <a:gd name="T34" fmla="*/ 37 w 217"/>
                <a:gd name="T35" fmla="*/ 9 h 71"/>
                <a:gd name="T36" fmla="*/ 61 w 217"/>
                <a:gd name="T37" fmla="*/ 2 h 71"/>
                <a:gd name="T38" fmla="*/ 50 w 217"/>
                <a:gd name="T39" fmla="*/ 0 h 71"/>
                <a:gd name="T40" fmla="*/ 52 w 217"/>
                <a:gd name="T41" fmla="*/ 3 h 71"/>
                <a:gd name="T42" fmla="*/ 77 w 217"/>
                <a:gd name="T43" fmla="*/ 3 h 71"/>
                <a:gd name="T44" fmla="*/ 66 w 217"/>
                <a:gd name="T45" fmla="*/ 5 h 71"/>
                <a:gd name="T46" fmla="*/ 77 w 217"/>
                <a:gd name="T47" fmla="*/ 3 h 71"/>
                <a:gd name="T48" fmla="*/ 81 w 217"/>
                <a:gd name="T49" fmla="*/ 5 h 71"/>
                <a:gd name="T50" fmla="*/ 91 w 217"/>
                <a:gd name="T51" fmla="*/ 9 h 71"/>
                <a:gd name="T52" fmla="*/ 106 w 217"/>
                <a:gd name="T53" fmla="*/ 10 h 71"/>
                <a:gd name="T54" fmla="*/ 95 w 217"/>
                <a:gd name="T55" fmla="*/ 10 h 71"/>
                <a:gd name="T56" fmla="*/ 121 w 217"/>
                <a:gd name="T57" fmla="*/ 15 h 71"/>
                <a:gd name="T58" fmla="*/ 110 w 217"/>
                <a:gd name="T59" fmla="*/ 15 h 71"/>
                <a:gd name="T60" fmla="*/ 121 w 217"/>
                <a:gd name="T61" fmla="*/ 15 h 71"/>
                <a:gd name="T62" fmla="*/ 130 w 217"/>
                <a:gd name="T63" fmla="*/ 21 h 71"/>
                <a:gd name="T64" fmla="*/ 124 w 217"/>
                <a:gd name="T65" fmla="*/ 19 h 71"/>
                <a:gd name="T66" fmla="*/ 127 w 217"/>
                <a:gd name="T67" fmla="*/ 22 h 71"/>
                <a:gd name="T68" fmla="*/ 140 w 217"/>
                <a:gd name="T69" fmla="*/ 38 h 71"/>
                <a:gd name="T70" fmla="*/ 133 w 217"/>
                <a:gd name="T71" fmla="*/ 31 h 71"/>
                <a:gd name="T72" fmla="*/ 140 w 217"/>
                <a:gd name="T73" fmla="*/ 38 h 71"/>
                <a:gd name="T74" fmla="*/ 145 w 217"/>
                <a:gd name="T75" fmla="*/ 39 h 71"/>
                <a:gd name="T76" fmla="*/ 153 w 217"/>
                <a:gd name="T77" fmla="*/ 45 h 71"/>
                <a:gd name="T78" fmla="*/ 169 w 217"/>
                <a:gd name="T79" fmla="*/ 47 h 71"/>
                <a:gd name="T80" fmla="*/ 158 w 217"/>
                <a:gd name="T81" fmla="*/ 47 h 71"/>
                <a:gd name="T82" fmla="*/ 184 w 217"/>
                <a:gd name="T83" fmla="*/ 50 h 71"/>
                <a:gd name="T84" fmla="*/ 174 w 217"/>
                <a:gd name="T85" fmla="*/ 50 h 71"/>
                <a:gd name="T86" fmla="*/ 184 w 217"/>
                <a:gd name="T87" fmla="*/ 50 h 71"/>
                <a:gd name="T88" fmla="*/ 192 w 217"/>
                <a:gd name="T89" fmla="*/ 55 h 71"/>
                <a:gd name="T90" fmla="*/ 188 w 217"/>
                <a:gd name="T91" fmla="*/ 51 h 71"/>
                <a:gd name="T92" fmla="*/ 190 w 217"/>
                <a:gd name="T93" fmla="*/ 57 h 71"/>
                <a:gd name="T94" fmla="*/ 195 w 217"/>
                <a:gd name="T95" fmla="*/ 60 h 71"/>
                <a:gd name="T96" fmla="*/ 200 w 217"/>
                <a:gd name="T97" fmla="*/ 68 h 71"/>
                <a:gd name="T98" fmla="*/ 198 w 217"/>
                <a:gd name="T99" fmla="*/ 67 h 71"/>
                <a:gd name="T100" fmla="*/ 194 w 217"/>
                <a:gd name="T101" fmla="*/ 66 h 71"/>
                <a:gd name="T102" fmla="*/ 198 w 217"/>
                <a:gd name="T103" fmla="*/ 70 h 71"/>
                <a:gd name="T104" fmla="*/ 204 w 217"/>
                <a:gd name="T105" fmla="*/ 70 h 71"/>
                <a:gd name="T106" fmla="*/ 216 w 217"/>
                <a:gd name="T107" fmla="*/ 60 h 71"/>
                <a:gd name="T108" fmla="*/ 208 w 217"/>
                <a:gd name="T109" fmla="*/ 67 h 71"/>
                <a:gd name="T110" fmla="*/ 217 w 217"/>
                <a:gd name="T111" fmla="*/ 63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7" h="71">
                  <a:moveTo>
                    <a:pt x="10" y="47"/>
                  </a:moveTo>
                  <a:lnTo>
                    <a:pt x="0" y="47"/>
                  </a:lnTo>
                  <a:lnTo>
                    <a:pt x="0" y="50"/>
                  </a:lnTo>
                  <a:lnTo>
                    <a:pt x="10" y="50"/>
                  </a:lnTo>
                  <a:lnTo>
                    <a:pt x="10" y="47"/>
                  </a:lnTo>
                  <a:close/>
                  <a:moveTo>
                    <a:pt x="24" y="44"/>
                  </a:moveTo>
                  <a:lnTo>
                    <a:pt x="24" y="44"/>
                  </a:lnTo>
                  <a:lnTo>
                    <a:pt x="20" y="47"/>
                  </a:lnTo>
                  <a:lnTo>
                    <a:pt x="16" y="47"/>
                  </a:lnTo>
                  <a:lnTo>
                    <a:pt x="14" y="47"/>
                  </a:lnTo>
                  <a:lnTo>
                    <a:pt x="14" y="50"/>
                  </a:lnTo>
                  <a:lnTo>
                    <a:pt x="16" y="50"/>
                  </a:lnTo>
                  <a:lnTo>
                    <a:pt x="16" y="50"/>
                  </a:lnTo>
                  <a:lnTo>
                    <a:pt x="20" y="48"/>
                  </a:lnTo>
                  <a:lnTo>
                    <a:pt x="26" y="47"/>
                  </a:lnTo>
                  <a:lnTo>
                    <a:pt x="24" y="44"/>
                  </a:lnTo>
                  <a:close/>
                  <a:moveTo>
                    <a:pt x="36" y="35"/>
                  </a:moveTo>
                  <a:lnTo>
                    <a:pt x="35" y="37"/>
                  </a:lnTo>
                  <a:lnTo>
                    <a:pt x="35" y="37"/>
                  </a:lnTo>
                  <a:lnTo>
                    <a:pt x="33" y="39"/>
                  </a:lnTo>
                  <a:lnTo>
                    <a:pt x="29" y="42"/>
                  </a:lnTo>
                  <a:lnTo>
                    <a:pt x="30" y="44"/>
                  </a:lnTo>
                  <a:lnTo>
                    <a:pt x="30" y="44"/>
                  </a:lnTo>
                  <a:lnTo>
                    <a:pt x="35" y="41"/>
                  </a:lnTo>
                  <a:lnTo>
                    <a:pt x="37" y="38"/>
                  </a:lnTo>
                  <a:lnTo>
                    <a:pt x="37" y="37"/>
                  </a:lnTo>
                  <a:lnTo>
                    <a:pt x="36" y="35"/>
                  </a:lnTo>
                  <a:close/>
                  <a:moveTo>
                    <a:pt x="30" y="24"/>
                  </a:moveTo>
                  <a:lnTo>
                    <a:pt x="30" y="24"/>
                  </a:lnTo>
                  <a:lnTo>
                    <a:pt x="35" y="32"/>
                  </a:lnTo>
                  <a:lnTo>
                    <a:pt x="37" y="31"/>
                  </a:lnTo>
                  <a:lnTo>
                    <a:pt x="37" y="31"/>
                  </a:lnTo>
                  <a:lnTo>
                    <a:pt x="32" y="22"/>
                  </a:lnTo>
                  <a:lnTo>
                    <a:pt x="30" y="24"/>
                  </a:lnTo>
                  <a:close/>
                  <a:moveTo>
                    <a:pt x="32" y="9"/>
                  </a:moveTo>
                  <a:lnTo>
                    <a:pt x="32" y="9"/>
                  </a:lnTo>
                  <a:lnTo>
                    <a:pt x="27" y="12"/>
                  </a:lnTo>
                  <a:lnTo>
                    <a:pt x="27" y="12"/>
                  </a:lnTo>
                  <a:lnTo>
                    <a:pt x="26" y="16"/>
                  </a:lnTo>
                  <a:lnTo>
                    <a:pt x="26" y="16"/>
                  </a:lnTo>
                  <a:lnTo>
                    <a:pt x="27" y="19"/>
                  </a:lnTo>
                  <a:lnTo>
                    <a:pt x="29" y="18"/>
                  </a:lnTo>
                  <a:lnTo>
                    <a:pt x="29" y="18"/>
                  </a:lnTo>
                  <a:lnTo>
                    <a:pt x="29" y="16"/>
                  </a:lnTo>
                  <a:lnTo>
                    <a:pt x="29" y="16"/>
                  </a:lnTo>
                  <a:lnTo>
                    <a:pt x="30" y="15"/>
                  </a:lnTo>
                  <a:lnTo>
                    <a:pt x="30" y="15"/>
                  </a:lnTo>
                  <a:lnTo>
                    <a:pt x="33" y="12"/>
                  </a:lnTo>
                  <a:lnTo>
                    <a:pt x="32" y="9"/>
                  </a:lnTo>
                  <a:close/>
                  <a:moveTo>
                    <a:pt x="46" y="2"/>
                  </a:moveTo>
                  <a:lnTo>
                    <a:pt x="46" y="2"/>
                  </a:lnTo>
                  <a:lnTo>
                    <a:pt x="36" y="6"/>
                  </a:lnTo>
                  <a:lnTo>
                    <a:pt x="37" y="9"/>
                  </a:lnTo>
                  <a:lnTo>
                    <a:pt x="37" y="9"/>
                  </a:lnTo>
                  <a:lnTo>
                    <a:pt x="46" y="5"/>
                  </a:lnTo>
                  <a:lnTo>
                    <a:pt x="46" y="2"/>
                  </a:lnTo>
                  <a:close/>
                  <a:moveTo>
                    <a:pt x="61" y="2"/>
                  </a:moveTo>
                  <a:lnTo>
                    <a:pt x="61" y="2"/>
                  </a:lnTo>
                  <a:lnTo>
                    <a:pt x="52" y="0"/>
                  </a:lnTo>
                  <a:lnTo>
                    <a:pt x="50" y="0"/>
                  </a:lnTo>
                  <a:lnTo>
                    <a:pt x="50" y="3"/>
                  </a:lnTo>
                  <a:lnTo>
                    <a:pt x="52" y="3"/>
                  </a:lnTo>
                  <a:lnTo>
                    <a:pt x="52" y="3"/>
                  </a:lnTo>
                  <a:lnTo>
                    <a:pt x="61" y="3"/>
                  </a:lnTo>
                  <a:lnTo>
                    <a:pt x="61" y="2"/>
                  </a:lnTo>
                  <a:close/>
                  <a:moveTo>
                    <a:pt x="77" y="3"/>
                  </a:moveTo>
                  <a:lnTo>
                    <a:pt x="77" y="3"/>
                  </a:lnTo>
                  <a:lnTo>
                    <a:pt x="66" y="2"/>
                  </a:lnTo>
                  <a:lnTo>
                    <a:pt x="66" y="5"/>
                  </a:lnTo>
                  <a:lnTo>
                    <a:pt x="66" y="5"/>
                  </a:lnTo>
                  <a:lnTo>
                    <a:pt x="75" y="6"/>
                  </a:lnTo>
                  <a:lnTo>
                    <a:pt x="77" y="3"/>
                  </a:lnTo>
                  <a:close/>
                  <a:moveTo>
                    <a:pt x="91" y="8"/>
                  </a:moveTo>
                  <a:lnTo>
                    <a:pt x="91" y="8"/>
                  </a:lnTo>
                  <a:lnTo>
                    <a:pt x="81" y="5"/>
                  </a:lnTo>
                  <a:lnTo>
                    <a:pt x="81" y="8"/>
                  </a:lnTo>
                  <a:lnTo>
                    <a:pt x="81" y="8"/>
                  </a:lnTo>
                  <a:lnTo>
                    <a:pt x="91" y="9"/>
                  </a:lnTo>
                  <a:lnTo>
                    <a:pt x="91" y="8"/>
                  </a:lnTo>
                  <a:close/>
                  <a:moveTo>
                    <a:pt x="106" y="10"/>
                  </a:moveTo>
                  <a:lnTo>
                    <a:pt x="106" y="10"/>
                  </a:lnTo>
                  <a:lnTo>
                    <a:pt x="95" y="8"/>
                  </a:lnTo>
                  <a:lnTo>
                    <a:pt x="95" y="10"/>
                  </a:lnTo>
                  <a:lnTo>
                    <a:pt x="95" y="10"/>
                  </a:lnTo>
                  <a:lnTo>
                    <a:pt x="106" y="13"/>
                  </a:lnTo>
                  <a:lnTo>
                    <a:pt x="106" y="10"/>
                  </a:lnTo>
                  <a:close/>
                  <a:moveTo>
                    <a:pt x="121" y="15"/>
                  </a:moveTo>
                  <a:lnTo>
                    <a:pt x="121" y="15"/>
                  </a:lnTo>
                  <a:lnTo>
                    <a:pt x="111" y="12"/>
                  </a:lnTo>
                  <a:lnTo>
                    <a:pt x="110" y="15"/>
                  </a:lnTo>
                  <a:lnTo>
                    <a:pt x="110" y="15"/>
                  </a:lnTo>
                  <a:lnTo>
                    <a:pt x="120" y="18"/>
                  </a:lnTo>
                  <a:lnTo>
                    <a:pt x="121" y="15"/>
                  </a:lnTo>
                  <a:close/>
                  <a:moveTo>
                    <a:pt x="133" y="25"/>
                  </a:moveTo>
                  <a:lnTo>
                    <a:pt x="133" y="25"/>
                  </a:lnTo>
                  <a:lnTo>
                    <a:pt x="130" y="21"/>
                  </a:lnTo>
                  <a:lnTo>
                    <a:pt x="126" y="16"/>
                  </a:lnTo>
                  <a:lnTo>
                    <a:pt x="126" y="16"/>
                  </a:lnTo>
                  <a:lnTo>
                    <a:pt x="124" y="19"/>
                  </a:lnTo>
                  <a:lnTo>
                    <a:pt x="124" y="19"/>
                  </a:lnTo>
                  <a:lnTo>
                    <a:pt x="124" y="19"/>
                  </a:lnTo>
                  <a:lnTo>
                    <a:pt x="127" y="22"/>
                  </a:lnTo>
                  <a:lnTo>
                    <a:pt x="130" y="26"/>
                  </a:lnTo>
                  <a:lnTo>
                    <a:pt x="133" y="25"/>
                  </a:lnTo>
                  <a:close/>
                  <a:moveTo>
                    <a:pt x="140" y="38"/>
                  </a:moveTo>
                  <a:lnTo>
                    <a:pt x="140" y="38"/>
                  </a:lnTo>
                  <a:lnTo>
                    <a:pt x="136" y="29"/>
                  </a:lnTo>
                  <a:lnTo>
                    <a:pt x="133" y="31"/>
                  </a:lnTo>
                  <a:lnTo>
                    <a:pt x="133" y="31"/>
                  </a:lnTo>
                  <a:lnTo>
                    <a:pt x="139" y="39"/>
                  </a:lnTo>
                  <a:lnTo>
                    <a:pt x="140" y="38"/>
                  </a:lnTo>
                  <a:close/>
                  <a:moveTo>
                    <a:pt x="153" y="42"/>
                  </a:moveTo>
                  <a:lnTo>
                    <a:pt x="153" y="42"/>
                  </a:lnTo>
                  <a:lnTo>
                    <a:pt x="145" y="39"/>
                  </a:lnTo>
                  <a:lnTo>
                    <a:pt x="143" y="42"/>
                  </a:lnTo>
                  <a:lnTo>
                    <a:pt x="143" y="42"/>
                  </a:lnTo>
                  <a:lnTo>
                    <a:pt x="153" y="45"/>
                  </a:lnTo>
                  <a:lnTo>
                    <a:pt x="153" y="42"/>
                  </a:lnTo>
                  <a:close/>
                  <a:moveTo>
                    <a:pt x="169" y="47"/>
                  </a:moveTo>
                  <a:lnTo>
                    <a:pt x="169" y="47"/>
                  </a:lnTo>
                  <a:lnTo>
                    <a:pt x="159" y="44"/>
                  </a:lnTo>
                  <a:lnTo>
                    <a:pt x="158" y="47"/>
                  </a:lnTo>
                  <a:lnTo>
                    <a:pt x="158" y="47"/>
                  </a:lnTo>
                  <a:lnTo>
                    <a:pt x="168" y="48"/>
                  </a:lnTo>
                  <a:lnTo>
                    <a:pt x="169" y="47"/>
                  </a:lnTo>
                  <a:close/>
                  <a:moveTo>
                    <a:pt x="184" y="50"/>
                  </a:moveTo>
                  <a:lnTo>
                    <a:pt x="184" y="50"/>
                  </a:lnTo>
                  <a:lnTo>
                    <a:pt x="174" y="48"/>
                  </a:lnTo>
                  <a:lnTo>
                    <a:pt x="174" y="50"/>
                  </a:lnTo>
                  <a:lnTo>
                    <a:pt x="174" y="50"/>
                  </a:lnTo>
                  <a:lnTo>
                    <a:pt x="182" y="52"/>
                  </a:lnTo>
                  <a:lnTo>
                    <a:pt x="184" y="50"/>
                  </a:lnTo>
                  <a:close/>
                  <a:moveTo>
                    <a:pt x="195" y="60"/>
                  </a:moveTo>
                  <a:lnTo>
                    <a:pt x="195" y="60"/>
                  </a:lnTo>
                  <a:lnTo>
                    <a:pt x="192" y="55"/>
                  </a:lnTo>
                  <a:lnTo>
                    <a:pt x="192" y="55"/>
                  </a:lnTo>
                  <a:lnTo>
                    <a:pt x="191" y="52"/>
                  </a:lnTo>
                  <a:lnTo>
                    <a:pt x="188" y="51"/>
                  </a:lnTo>
                  <a:lnTo>
                    <a:pt x="188" y="54"/>
                  </a:lnTo>
                  <a:lnTo>
                    <a:pt x="188" y="54"/>
                  </a:lnTo>
                  <a:lnTo>
                    <a:pt x="190" y="57"/>
                  </a:lnTo>
                  <a:lnTo>
                    <a:pt x="190" y="57"/>
                  </a:lnTo>
                  <a:lnTo>
                    <a:pt x="192" y="61"/>
                  </a:lnTo>
                  <a:lnTo>
                    <a:pt x="195" y="60"/>
                  </a:lnTo>
                  <a:close/>
                  <a:moveTo>
                    <a:pt x="203" y="67"/>
                  </a:moveTo>
                  <a:lnTo>
                    <a:pt x="203" y="67"/>
                  </a:lnTo>
                  <a:lnTo>
                    <a:pt x="200" y="68"/>
                  </a:lnTo>
                  <a:lnTo>
                    <a:pt x="200" y="68"/>
                  </a:lnTo>
                  <a:lnTo>
                    <a:pt x="198" y="67"/>
                  </a:lnTo>
                  <a:lnTo>
                    <a:pt x="198" y="67"/>
                  </a:lnTo>
                  <a:lnTo>
                    <a:pt x="197" y="66"/>
                  </a:lnTo>
                  <a:lnTo>
                    <a:pt x="194" y="66"/>
                  </a:lnTo>
                  <a:lnTo>
                    <a:pt x="194" y="66"/>
                  </a:lnTo>
                  <a:lnTo>
                    <a:pt x="197" y="68"/>
                  </a:lnTo>
                  <a:lnTo>
                    <a:pt x="197" y="68"/>
                  </a:lnTo>
                  <a:lnTo>
                    <a:pt x="198" y="70"/>
                  </a:lnTo>
                  <a:lnTo>
                    <a:pt x="200" y="71"/>
                  </a:lnTo>
                  <a:lnTo>
                    <a:pt x="200" y="71"/>
                  </a:lnTo>
                  <a:lnTo>
                    <a:pt x="204" y="70"/>
                  </a:lnTo>
                  <a:lnTo>
                    <a:pt x="203" y="67"/>
                  </a:lnTo>
                  <a:close/>
                  <a:moveTo>
                    <a:pt x="216" y="60"/>
                  </a:moveTo>
                  <a:lnTo>
                    <a:pt x="216" y="60"/>
                  </a:lnTo>
                  <a:lnTo>
                    <a:pt x="208" y="64"/>
                  </a:lnTo>
                  <a:lnTo>
                    <a:pt x="207" y="64"/>
                  </a:lnTo>
                  <a:lnTo>
                    <a:pt x="208" y="67"/>
                  </a:lnTo>
                  <a:lnTo>
                    <a:pt x="208" y="66"/>
                  </a:lnTo>
                  <a:lnTo>
                    <a:pt x="208" y="66"/>
                  </a:lnTo>
                  <a:lnTo>
                    <a:pt x="217" y="63"/>
                  </a:lnTo>
                  <a:lnTo>
                    <a:pt x="216"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45" name="Freeform 1708"/>
            <p:cNvSpPr>
              <a:spLocks noEditPoints="1"/>
            </p:cNvSpPr>
            <p:nvPr/>
          </p:nvSpPr>
          <p:spPr bwMode="auto">
            <a:xfrm>
              <a:off x="5186363" y="3926316"/>
              <a:ext cx="23813" cy="95250"/>
            </a:xfrm>
            <a:custGeom>
              <a:avLst/>
              <a:gdLst>
                <a:gd name="T0" fmla="*/ 5 w 15"/>
                <a:gd name="T1" fmla="*/ 1 h 60"/>
                <a:gd name="T2" fmla="*/ 5 w 15"/>
                <a:gd name="T3" fmla="*/ 1 h 60"/>
                <a:gd name="T4" fmla="*/ 3 w 15"/>
                <a:gd name="T5" fmla="*/ 0 h 60"/>
                <a:gd name="T6" fmla="*/ 0 w 15"/>
                <a:gd name="T7" fmla="*/ 1 h 60"/>
                <a:gd name="T8" fmla="*/ 0 w 15"/>
                <a:gd name="T9" fmla="*/ 1 h 60"/>
                <a:gd name="T10" fmla="*/ 2 w 15"/>
                <a:gd name="T11" fmla="*/ 2 h 60"/>
                <a:gd name="T12" fmla="*/ 5 w 15"/>
                <a:gd name="T13" fmla="*/ 1 h 60"/>
                <a:gd name="T14" fmla="*/ 12 w 15"/>
                <a:gd name="T15" fmla="*/ 14 h 60"/>
                <a:gd name="T16" fmla="*/ 12 w 15"/>
                <a:gd name="T17" fmla="*/ 14 h 60"/>
                <a:gd name="T18" fmla="*/ 8 w 15"/>
                <a:gd name="T19" fmla="*/ 5 h 60"/>
                <a:gd name="T20" fmla="*/ 5 w 15"/>
                <a:gd name="T21" fmla="*/ 7 h 60"/>
                <a:gd name="T22" fmla="*/ 5 w 15"/>
                <a:gd name="T23" fmla="*/ 7 h 60"/>
                <a:gd name="T24" fmla="*/ 11 w 15"/>
                <a:gd name="T25" fmla="*/ 16 h 60"/>
                <a:gd name="T26" fmla="*/ 12 w 15"/>
                <a:gd name="T27" fmla="*/ 14 h 60"/>
                <a:gd name="T28" fmla="*/ 15 w 15"/>
                <a:gd name="T29" fmla="*/ 30 h 60"/>
                <a:gd name="T30" fmla="*/ 15 w 15"/>
                <a:gd name="T31" fmla="*/ 30 h 60"/>
                <a:gd name="T32" fmla="*/ 15 w 15"/>
                <a:gd name="T33" fmla="*/ 20 h 60"/>
                <a:gd name="T34" fmla="*/ 12 w 15"/>
                <a:gd name="T35" fmla="*/ 20 h 60"/>
                <a:gd name="T36" fmla="*/ 12 w 15"/>
                <a:gd name="T37" fmla="*/ 20 h 60"/>
                <a:gd name="T38" fmla="*/ 13 w 15"/>
                <a:gd name="T39" fmla="*/ 30 h 60"/>
                <a:gd name="T40" fmla="*/ 15 w 15"/>
                <a:gd name="T41" fmla="*/ 30 h 60"/>
                <a:gd name="T42" fmla="*/ 15 w 15"/>
                <a:gd name="T43" fmla="*/ 44 h 60"/>
                <a:gd name="T44" fmla="*/ 15 w 15"/>
                <a:gd name="T45" fmla="*/ 44 h 60"/>
                <a:gd name="T46" fmla="*/ 15 w 15"/>
                <a:gd name="T47" fmla="*/ 34 h 60"/>
                <a:gd name="T48" fmla="*/ 13 w 15"/>
                <a:gd name="T49" fmla="*/ 34 h 60"/>
                <a:gd name="T50" fmla="*/ 13 w 15"/>
                <a:gd name="T51" fmla="*/ 34 h 60"/>
                <a:gd name="T52" fmla="*/ 12 w 15"/>
                <a:gd name="T53" fmla="*/ 44 h 60"/>
                <a:gd name="T54" fmla="*/ 15 w 15"/>
                <a:gd name="T55" fmla="*/ 44 h 60"/>
                <a:gd name="T56" fmla="*/ 13 w 15"/>
                <a:gd name="T57" fmla="*/ 60 h 60"/>
                <a:gd name="T58" fmla="*/ 13 w 15"/>
                <a:gd name="T59" fmla="*/ 60 h 60"/>
                <a:gd name="T60" fmla="*/ 15 w 15"/>
                <a:gd name="T61" fmla="*/ 50 h 60"/>
                <a:gd name="T62" fmla="*/ 12 w 15"/>
                <a:gd name="T63" fmla="*/ 50 h 60"/>
                <a:gd name="T64" fmla="*/ 12 w 15"/>
                <a:gd name="T65" fmla="*/ 50 h 60"/>
                <a:gd name="T66" fmla="*/ 11 w 15"/>
                <a:gd name="T67" fmla="*/ 60 h 60"/>
                <a:gd name="T68" fmla="*/ 13 w 15"/>
                <a:gd name="T6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 h="60">
                  <a:moveTo>
                    <a:pt x="5" y="1"/>
                  </a:moveTo>
                  <a:lnTo>
                    <a:pt x="5" y="1"/>
                  </a:lnTo>
                  <a:lnTo>
                    <a:pt x="3" y="0"/>
                  </a:lnTo>
                  <a:lnTo>
                    <a:pt x="0" y="1"/>
                  </a:lnTo>
                  <a:lnTo>
                    <a:pt x="0" y="1"/>
                  </a:lnTo>
                  <a:lnTo>
                    <a:pt x="2" y="2"/>
                  </a:lnTo>
                  <a:lnTo>
                    <a:pt x="5" y="1"/>
                  </a:lnTo>
                  <a:close/>
                  <a:moveTo>
                    <a:pt x="12" y="14"/>
                  </a:moveTo>
                  <a:lnTo>
                    <a:pt x="12" y="14"/>
                  </a:lnTo>
                  <a:lnTo>
                    <a:pt x="8" y="5"/>
                  </a:lnTo>
                  <a:lnTo>
                    <a:pt x="5" y="7"/>
                  </a:lnTo>
                  <a:lnTo>
                    <a:pt x="5" y="7"/>
                  </a:lnTo>
                  <a:lnTo>
                    <a:pt x="11" y="16"/>
                  </a:lnTo>
                  <a:lnTo>
                    <a:pt x="12" y="14"/>
                  </a:lnTo>
                  <a:close/>
                  <a:moveTo>
                    <a:pt x="15" y="30"/>
                  </a:moveTo>
                  <a:lnTo>
                    <a:pt x="15" y="30"/>
                  </a:lnTo>
                  <a:lnTo>
                    <a:pt x="15" y="20"/>
                  </a:lnTo>
                  <a:lnTo>
                    <a:pt x="12" y="20"/>
                  </a:lnTo>
                  <a:lnTo>
                    <a:pt x="12" y="20"/>
                  </a:lnTo>
                  <a:lnTo>
                    <a:pt x="13" y="30"/>
                  </a:lnTo>
                  <a:lnTo>
                    <a:pt x="15" y="30"/>
                  </a:lnTo>
                  <a:close/>
                  <a:moveTo>
                    <a:pt x="15" y="44"/>
                  </a:moveTo>
                  <a:lnTo>
                    <a:pt x="15" y="44"/>
                  </a:lnTo>
                  <a:lnTo>
                    <a:pt x="15" y="34"/>
                  </a:lnTo>
                  <a:lnTo>
                    <a:pt x="13" y="34"/>
                  </a:lnTo>
                  <a:lnTo>
                    <a:pt x="13" y="34"/>
                  </a:lnTo>
                  <a:lnTo>
                    <a:pt x="12" y="44"/>
                  </a:lnTo>
                  <a:lnTo>
                    <a:pt x="15" y="44"/>
                  </a:lnTo>
                  <a:close/>
                  <a:moveTo>
                    <a:pt x="13" y="60"/>
                  </a:moveTo>
                  <a:lnTo>
                    <a:pt x="13" y="60"/>
                  </a:lnTo>
                  <a:lnTo>
                    <a:pt x="15" y="50"/>
                  </a:lnTo>
                  <a:lnTo>
                    <a:pt x="12" y="50"/>
                  </a:lnTo>
                  <a:lnTo>
                    <a:pt x="12" y="50"/>
                  </a:lnTo>
                  <a:lnTo>
                    <a:pt x="11" y="60"/>
                  </a:lnTo>
                  <a:lnTo>
                    <a:pt x="13"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46" name="Freeform 1709"/>
            <p:cNvSpPr>
              <a:spLocks noEditPoints="1"/>
            </p:cNvSpPr>
            <p:nvPr/>
          </p:nvSpPr>
          <p:spPr bwMode="auto">
            <a:xfrm>
              <a:off x="5207001" y="3826304"/>
              <a:ext cx="46038" cy="152400"/>
            </a:xfrm>
            <a:custGeom>
              <a:avLst/>
              <a:gdLst>
                <a:gd name="T0" fmla="*/ 18 w 29"/>
                <a:gd name="T1" fmla="*/ 0 h 96"/>
                <a:gd name="T2" fmla="*/ 15 w 29"/>
                <a:gd name="T3" fmla="*/ 3 h 96"/>
                <a:gd name="T4" fmla="*/ 18 w 29"/>
                <a:gd name="T5" fmla="*/ 3 h 96"/>
                <a:gd name="T6" fmla="*/ 28 w 29"/>
                <a:gd name="T7" fmla="*/ 10 h 96"/>
                <a:gd name="T8" fmla="*/ 29 w 29"/>
                <a:gd name="T9" fmla="*/ 6 h 96"/>
                <a:gd name="T10" fmla="*/ 28 w 29"/>
                <a:gd name="T11" fmla="*/ 5 h 96"/>
                <a:gd name="T12" fmla="*/ 22 w 29"/>
                <a:gd name="T13" fmla="*/ 2 h 96"/>
                <a:gd name="T14" fmla="*/ 22 w 29"/>
                <a:gd name="T15" fmla="*/ 5 h 96"/>
                <a:gd name="T16" fmla="*/ 27 w 29"/>
                <a:gd name="T17" fmla="*/ 6 h 96"/>
                <a:gd name="T18" fmla="*/ 25 w 29"/>
                <a:gd name="T19" fmla="*/ 9 h 96"/>
                <a:gd name="T20" fmla="*/ 19 w 29"/>
                <a:gd name="T21" fmla="*/ 23 h 96"/>
                <a:gd name="T22" fmla="*/ 25 w 29"/>
                <a:gd name="T23" fmla="*/ 15 h 96"/>
                <a:gd name="T24" fmla="*/ 24 w 29"/>
                <a:gd name="T25" fmla="*/ 13 h 96"/>
                <a:gd name="T26" fmla="*/ 19 w 29"/>
                <a:gd name="T27" fmla="*/ 23 h 96"/>
                <a:gd name="T28" fmla="*/ 13 w 29"/>
                <a:gd name="T29" fmla="*/ 37 h 96"/>
                <a:gd name="T30" fmla="*/ 15 w 29"/>
                <a:gd name="T31" fmla="*/ 32 h 96"/>
                <a:gd name="T32" fmla="*/ 15 w 29"/>
                <a:gd name="T33" fmla="*/ 26 h 96"/>
                <a:gd name="T34" fmla="*/ 12 w 29"/>
                <a:gd name="T35" fmla="*/ 32 h 96"/>
                <a:gd name="T36" fmla="*/ 11 w 29"/>
                <a:gd name="T37" fmla="*/ 37 h 96"/>
                <a:gd name="T38" fmla="*/ 13 w 29"/>
                <a:gd name="T39" fmla="*/ 52 h 96"/>
                <a:gd name="T40" fmla="*/ 13 w 29"/>
                <a:gd name="T41" fmla="*/ 42 h 96"/>
                <a:gd name="T42" fmla="*/ 11 w 29"/>
                <a:gd name="T43" fmla="*/ 41 h 96"/>
                <a:gd name="T44" fmla="*/ 13 w 29"/>
                <a:gd name="T45" fmla="*/ 52 h 96"/>
                <a:gd name="T46" fmla="*/ 12 w 29"/>
                <a:gd name="T47" fmla="*/ 67 h 96"/>
                <a:gd name="T48" fmla="*/ 11 w 29"/>
                <a:gd name="T49" fmla="*/ 57 h 96"/>
                <a:gd name="T50" fmla="*/ 9 w 29"/>
                <a:gd name="T51" fmla="*/ 67 h 96"/>
                <a:gd name="T52" fmla="*/ 9 w 29"/>
                <a:gd name="T53" fmla="*/ 83 h 96"/>
                <a:gd name="T54" fmla="*/ 11 w 29"/>
                <a:gd name="T55" fmla="*/ 79 h 96"/>
                <a:gd name="T56" fmla="*/ 12 w 29"/>
                <a:gd name="T57" fmla="*/ 73 h 96"/>
                <a:gd name="T58" fmla="*/ 9 w 29"/>
                <a:gd name="T59" fmla="*/ 71 h 96"/>
                <a:gd name="T60" fmla="*/ 8 w 29"/>
                <a:gd name="T61" fmla="*/ 77 h 96"/>
                <a:gd name="T62" fmla="*/ 9 w 29"/>
                <a:gd name="T63" fmla="*/ 83 h 96"/>
                <a:gd name="T64" fmla="*/ 2 w 29"/>
                <a:gd name="T65" fmla="*/ 96 h 96"/>
                <a:gd name="T66" fmla="*/ 5 w 29"/>
                <a:gd name="T67" fmla="*/ 86 h 96"/>
                <a:gd name="T68" fmla="*/ 0 w 29"/>
                <a:gd name="T69" fmla="*/ 9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 h="96">
                  <a:moveTo>
                    <a:pt x="18" y="0"/>
                  </a:moveTo>
                  <a:lnTo>
                    <a:pt x="18" y="0"/>
                  </a:lnTo>
                  <a:lnTo>
                    <a:pt x="15" y="0"/>
                  </a:lnTo>
                  <a:lnTo>
                    <a:pt x="15" y="3"/>
                  </a:lnTo>
                  <a:lnTo>
                    <a:pt x="15" y="3"/>
                  </a:lnTo>
                  <a:lnTo>
                    <a:pt x="18" y="3"/>
                  </a:lnTo>
                  <a:lnTo>
                    <a:pt x="18" y="0"/>
                  </a:lnTo>
                  <a:close/>
                  <a:moveTo>
                    <a:pt x="28" y="10"/>
                  </a:moveTo>
                  <a:lnTo>
                    <a:pt x="28" y="10"/>
                  </a:lnTo>
                  <a:lnTo>
                    <a:pt x="29" y="6"/>
                  </a:lnTo>
                  <a:lnTo>
                    <a:pt x="29" y="6"/>
                  </a:lnTo>
                  <a:lnTo>
                    <a:pt x="28" y="5"/>
                  </a:lnTo>
                  <a:lnTo>
                    <a:pt x="28" y="5"/>
                  </a:lnTo>
                  <a:lnTo>
                    <a:pt x="22" y="2"/>
                  </a:lnTo>
                  <a:lnTo>
                    <a:pt x="22" y="5"/>
                  </a:lnTo>
                  <a:lnTo>
                    <a:pt x="22" y="5"/>
                  </a:lnTo>
                  <a:lnTo>
                    <a:pt x="27" y="6"/>
                  </a:lnTo>
                  <a:lnTo>
                    <a:pt x="27" y="6"/>
                  </a:lnTo>
                  <a:lnTo>
                    <a:pt x="27" y="6"/>
                  </a:lnTo>
                  <a:lnTo>
                    <a:pt x="25" y="9"/>
                  </a:lnTo>
                  <a:lnTo>
                    <a:pt x="28" y="10"/>
                  </a:lnTo>
                  <a:close/>
                  <a:moveTo>
                    <a:pt x="19" y="23"/>
                  </a:moveTo>
                  <a:lnTo>
                    <a:pt x="19" y="23"/>
                  </a:lnTo>
                  <a:lnTo>
                    <a:pt x="25" y="15"/>
                  </a:lnTo>
                  <a:lnTo>
                    <a:pt x="24" y="13"/>
                  </a:lnTo>
                  <a:lnTo>
                    <a:pt x="24" y="13"/>
                  </a:lnTo>
                  <a:lnTo>
                    <a:pt x="18" y="22"/>
                  </a:lnTo>
                  <a:lnTo>
                    <a:pt x="19" y="23"/>
                  </a:lnTo>
                  <a:close/>
                  <a:moveTo>
                    <a:pt x="13" y="37"/>
                  </a:moveTo>
                  <a:lnTo>
                    <a:pt x="13" y="37"/>
                  </a:lnTo>
                  <a:lnTo>
                    <a:pt x="13" y="37"/>
                  </a:lnTo>
                  <a:lnTo>
                    <a:pt x="15" y="32"/>
                  </a:lnTo>
                  <a:lnTo>
                    <a:pt x="18" y="28"/>
                  </a:lnTo>
                  <a:lnTo>
                    <a:pt x="15" y="26"/>
                  </a:lnTo>
                  <a:lnTo>
                    <a:pt x="15" y="26"/>
                  </a:lnTo>
                  <a:lnTo>
                    <a:pt x="12" y="32"/>
                  </a:lnTo>
                  <a:lnTo>
                    <a:pt x="11" y="37"/>
                  </a:lnTo>
                  <a:lnTo>
                    <a:pt x="11" y="37"/>
                  </a:lnTo>
                  <a:lnTo>
                    <a:pt x="13" y="37"/>
                  </a:lnTo>
                  <a:close/>
                  <a:moveTo>
                    <a:pt x="13" y="52"/>
                  </a:moveTo>
                  <a:lnTo>
                    <a:pt x="13" y="52"/>
                  </a:lnTo>
                  <a:lnTo>
                    <a:pt x="13" y="42"/>
                  </a:lnTo>
                  <a:lnTo>
                    <a:pt x="11" y="41"/>
                  </a:lnTo>
                  <a:lnTo>
                    <a:pt x="11" y="41"/>
                  </a:lnTo>
                  <a:lnTo>
                    <a:pt x="11" y="51"/>
                  </a:lnTo>
                  <a:lnTo>
                    <a:pt x="13" y="52"/>
                  </a:lnTo>
                  <a:close/>
                  <a:moveTo>
                    <a:pt x="12" y="67"/>
                  </a:moveTo>
                  <a:lnTo>
                    <a:pt x="12" y="67"/>
                  </a:lnTo>
                  <a:lnTo>
                    <a:pt x="12" y="57"/>
                  </a:lnTo>
                  <a:lnTo>
                    <a:pt x="11" y="57"/>
                  </a:lnTo>
                  <a:lnTo>
                    <a:pt x="11" y="57"/>
                  </a:lnTo>
                  <a:lnTo>
                    <a:pt x="9" y="67"/>
                  </a:lnTo>
                  <a:lnTo>
                    <a:pt x="12" y="67"/>
                  </a:lnTo>
                  <a:close/>
                  <a:moveTo>
                    <a:pt x="9" y="83"/>
                  </a:moveTo>
                  <a:lnTo>
                    <a:pt x="9" y="83"/>
                  </a:lnTo>
                  <a:lnTo>
                    <a:pt x="11" y="79"/>
                  </a:lnTo>
                  <a:lnTo>
                    <a:pt x="11" y="79"/>
                  </a:lnTo>
                  <a:lnTo>
                    <a:pt x="12" y="73"/>
                  </a:lnTo>
                  <a:lnTo>
                    <a:pt x="9" y="71"/>
                  </a:lnTo>
                  <a:lnTo>
                    <a:pt x="9" y="71"/>
                  </a:lnTo>
                  <a:lnTo>
                    <a:pt x="8" y="77"/>
                  </a:lnTo>
                  <a:lnTo>
                    <a:pt x="8" y="77"/>
                  </a:lnTo>
                  <a:lnTo>
                    <a:pt x="6" y="81"/>
                  </a:lnTo>
                  <a:lnTo>
                    <a:pt x="9" y="83"/>
                  </a:lnTo>
                  <a:close/>
                  <a:moveTo>
                    <a:pt x="2" y="96"/>
                  </a:moveTo>
                  <a:lnTo>
                    <a:pt x="2" y="96"/>
                  </a:lnTo>
                  <a:lnTo>
                    <a:pt x="8" y="87"/>
                  </a:lnTo>
                  <a:lnTo>
                    <a:pt x="5" y="86"/>
                  </a:lnTo>
                  <a:lnTo>
                    <a:pt x="5" y="86"/>
                  </a:lnTo>
                  <a:lnTo>
                    <a:pt x="0" y="94"/>
                  </a:lnTo>
                  <a:lnTo>
                    <a:pt x="2" y="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47" name="Freeform 1710"/>
            <p:cNvSpPr>
              <a:spLocks/>
            </p:cNvSpPr>
            <p:nvPr/>
          </p:nvSpPr>
          <p:spPr bwMode="auto">
            <a:xfrm>
              <a:off x="5211763" y="3875516"/>
              <a:ext cx="15875" cy="6350"/>
            </a:xfrm>
            <a:custGeom>
              <a:avLst/>
              <a:gdLst>
                <a:gd name="T0" fmla="*/ 10 w 10"/>
                <a:gd name="T1" fmla="*/ 3 h 4"/>
                <a:gd name="T2" fmla="*/ 10 w 10"/>
                <a:gd name="T3" fmla="*/ 3 h 4"/>
                <a:gd name="T4" fmla="*/ 0 w 10"/>
                <a:gd name="T5" fmla="*/ 0 h 4"/>
                <a:gd name="T6" fmla="*/ 0 w 10"/>
                <a:gd name="T7" fmla="*/ 3 h 4"/>
                <a:gd name="T8" fmla="*/ 0 w 10"/>
                <a:gd name="T9" fmla="*/ 3 h 4"/>
                <a:gd name="T10" fmla="*/ 9 w 10"/>
                <a:gd name="T11" fmla="*/ 4 h 4"/>
                <a:gd name="T12" fmla="*/ 10 w 10"/>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10" y="3"/>
                  </a:moveTo>
                  <a:lnTo>
                    <a:pt x="10" y="3"/>
                  </a:lnTo>
                  <a:lnTo>
                    <a:pt x="0" y="0"/>
                  </a:lnTo>
                  <a:lnTo>
                    <a:pt x="0" y="3"/>
                  </a:lnTo>
                  <a:lnTo>
                    <a:pt x="0" y="3"/>
                  </a:lnTo>
                  <a:lnTo>
                    <a:pt x="9" y="4"/>
                  </a:lnTo>
                  <a:lnTo>
                    <a:pt x="1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48" name="Freeform 1711"/>
            <p:cNvSpPr>
              <a:spLocks noEditPoints="1"/>
            </p:cNvSpPr>
            <p:nvPr/>
          </p:nvSpPr>
          <p:spPr bwMode="auto">
            <a:xfrm>
              <a:off x="5226051" y="3758041"/>
              <a:ext cx="180975" cy="144463"/>
            </a:xfrm>
            <a:custGeom>
              <a:avLst/>
              <a:gdLst>
                <a:gd name="T0" fmla="*/ 114 w 114"/>
                <a:gd name="T1" fmla="*/ 1 h 91"/>
                <a:gd name="T2" fmla="*/ 112 w 114"/>
                <a:gd name="T3" fmla="*/ 0 h 91"/>
                <a:gd name="T4" fmla="*/ 104 w 114"/>
                <a:gd name="T5" fmla="*/ 13 h 91"/>
                <a:gd name="T6" fmla="*/ 110 w 114"/>
                <a:gd name="T7" fmla="*/ 6 h 91"/>
                <a:gd name="T8" fmla="*/ 109 w 114"/>
                <a:gd name="T9" fmla="*/ 3 h 91"/>
                <a:gd name="T10" fmla="*/ 104 w 114"/>
                <a:gd name="T11" fmla="*/ 13 h 91"/>
                <a:gd name="T12" fmla="*/ 96 w 114"/>
                <a:gd name="T13" fmla="*/ 26 h 91"/>
                <a:gd name="T14" fmla="*/ 99 w 114"/>
                <a:gd name="T15" fmla="*/ 16 h 91"/>
                <a:gd name="T16" fmla="*/ 94 w 114"/>
                <a:gd name="T17" fmla="*/ 24 h 91"/>
                <a:gd name="T18" fmla="*/ 91 w 114"/>
                <a:gd name="T19" fmla="*/ 39 h 91"/>
                <a:gd name="T20" fmla="*/ 91 w 114"/>
                <a:gd name="T21" fmla="*/ 39 h 91"/>
                <a:gd name="T22" fmla="*/ 91 w 114"/>
                <a:gd name="T23" fmla="*/ 36 h 91"/>
                <a:gd name="T24" fmla="*/ 91 w 114"/>
                <a:gd name="T25" fmla="*/ 29 h 91"/>
                <a:gd name="T26" fmla="*/ 90 w 114"/>
                <a:gd name="T27" fmla="*/ 35 h 91"/>
                <a:gd name="T28" fmla="*/ 88 w 114"/>
                <a:gd name="T29" fmla="*/ 39 h 91"/>
                <a:gd name="T30" fmla="*/ 88 w 114"/>
                <a:gd name="T31" fmla="*/ 39 h 91"/>
                <a:gd name="T32" fmla="*/ 90 w 114"/>
                <a:gd name="T33" fmla="*/ 39 h 91"/>
                <a:gd name="T34" fmla="*/ 91 w 114"/>
                <a:gd name="T35" fmla="*/ 39 h 91"/>
                <a:gd name="T36" fmla="*/ 80 w 114"/>
                <a:gd name="T37" fmla="*/ 51 h 91"/>
                <a:gd name="T38" fmla="*/ 86 w 114"/>
                <a:gd name="T39" fmla="*/ 42 h 91"/>
                <a:gd name="T40" fmla="*/ 78 w 114"/>
                <a:gd name="T41" fmla="*/ 49 h 91"/>
                <a:gd name="T42" fmla="*/ 68 w 114"/>
                <a:gd name="T43" fmla="*/ 59 h 91"/>
                <a:gd name="T44" fmla="*/ 75 w 114"/>
                <a:gd name="T45" fmla="*/ 53 h 91"/>
                <a:gd name="T46" fmla="*/ 74 w 114"/>
                <a:gd name="T47" fmla="*/ 52 h 91"/>
                <a:gd name="T48" fmla="*/ 68 w 114"/>
                <a:gd name="T49" fmla="*/ 59 h 91"/>
                <a:gd name="T50" fmla="*/ 55 w 114"/>
                <a:gd name="T51" fmla="*/ 69 h 91"/>
                <a:gd name="T52" fmla="*/ 62 w 114"/>
                <a:gd name="T53" fmla="*/ 61 h 91"/>
                <a:gd name="T54" fmla="*/ 54 w 114"/>
                <a:gd name="T55" fmla="*/ 66 h 91"/>
                <a:gd name="T56" fmla="*/ 42 w 114"/>
                <a:gd name="T57" fmla="*/ 78 h 91"/>
                <a:gd name="T58" fmla="*/ 51 w 114"/>
                <a:gd name="T59" fmla="*/ 72 h 91"/>
                <a:gd name="T60" fmla="*/ 49 w 114"/>
                <a:gd name="T61" fmla="*/ 69 h 91"/>
                <a:gd name="T62" fmla="*/ 42 w 114"/>
                <a:gd name="T63" fmla="*/ 78 h 91"/>
                <a:gd name="T64" fmla="*/ 30 w 114"/>
                <a:gd name="T65" fmla="*/ 87 h 91"/>
                <a:gd name="T66" fmla="*/ 36 w 114"/>
                <a:gd name="T67" fmla="*/ 78 h 91"/>
                <a:gd name="T68" fmla="*/ 29 w 114"/>
                <a:gd name="T69" fmla="*/ 84 h 91"/>
                <a:gd name="T70" fmla="*/ 15 w 114"/>
                <a:gd name="T71" fmla="*/ 91 h 91"/>
                <a:gd name="T72" fmla="*/ 22 w 114"/>
                <a:gd name="T73" fmla="*/ 91 h 91"/>
                <a:gd name="T74" fmla="*/ 25 w 114"/>
                <a:gd name="T75" fmla="*/ 87 h 91"/>
                <a:gd name="T76" fmla="*/ 20 w 114"/>
                <a:gd name="T77" fmla="*/ 88 h 91"/>
                <a:gd name="T78" fmla="*/ 15 w 114"/>
                <a:gd name="T79" fmla="*/ 91 h 91"/>
                <a:gd name="T80" fmla="*/ 0 w 114"/>
                <a:gd name="T81" fmla="*/ 91 h 91"/>
                <a:gd name="T82" fmla="*/ 10 w 114"/>
                <a:gd name="T83" fmla="*/ 88 h 91"/>
                <a:gd name="T84" fmla="*/ 0 w 114"/>
                <a:gd name="T85" fmla="*/ 8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4" h="91">
                  <a:moveTo>
                    <a:pt x="114" y="1"/>
                  </a:moveTo>
                  <a:lnTo>
                    <a:pt x="114" y="1"/>
                  </a:lnTo>
                  <a:lnTo>
                    <a:pt x="113" y="0"/>
                  </a:lnTo>
                  <a:lnTo>
                    <a:pt x="112" y="0"/>
                  </a:lnTo>
                  <a:lnTo>
                    <a:pt x="114" y="1"/>
                  </a:lnTo>
                  <a:close/>
                  <a:moveTo>
                    <a:pt x="104" y="13"/>
                  </a:moveTo>
                  <a:lnTo>
                    <a:pt x="104" y="13"/>
                  </a:lnTo>
                  <a:lnTo>
                    <a:pt x="110" y="6"/>
                  </a:lnTo>
                  <a:lnTo>
                    <a:pt x="109" y="3"/>
                  </a:lnTo>
                  <a:lnTo>
                    <a:pt x="109" y="3"/>
                  </a:lnTo>
                  <a:lnTo>
                    <a:pt x="101" y="11"/>
                  </a:lnTo>
                  <a:lnTo>
                    <a:pt x="104" y="13"/>
                  </a:lnTo>
                  <a:close/>
                  <a:moveTo>
                    <a:pt x="96" y="26"/>
                  </a:moveTo>
                  <a:lnTo>
                    <a:pt x="96" y="26"/>
                  </a:lnTo>
                  <a:lnTo>
                    <a:pt x="101" y="17"/>
                  </a:lnTo>
                  <a:lnTo>
                    <a:pt x="99" y="16"/>
                  </a:lnTo>
                  <a:lnTo>
                    <a:pt x="99" y="16"/>
                  </a:lnTo>
                  <a:lnTo>
                    <a:pt x="94" y="24"/>
                  </a:lnTo>
                  <a:lnTo>
                    <a:pt x="96" y="26"/>
                  </a:lnTo>
                  <a:close/>
                  <a:moveTo>
                    <a:pt x="91" y="39"/>
                  </a:moveTo>
                  <a:lnTo>
                    <a:pt x="91" y="39"/>
                  </a:lnTo>
                  <a:lnTo>
                    <a:pt x="91" y="39"/>
                  </a:lnTo>
                  <a:lnTo>
                    <a:pt x="91" y="36"/>
                  </a:lnTo>
                  <a:lnTo>
                    <a:pt x="91" y="36"/>
                  </a:lnTo>
                  <a:lnTo>
                    <a:pt x="94" y="30"/>
                  </a:lnTo>
                  <a:lnTo>
                    <a:pt x="91" y="29"/>
                  </a:lnTo>
                  <a:lnTo>
                    <a:pt x="91" y="29"/>
                  </a:lnTo>
                  <a:lnTo>
                    <a:pt x="90" y="35"/>
                  </a:lnTo>
                  <a:lnTo>
                    <a:pt x="90" y="35"/>
                  </a:lnTo>
                  <a:lnTo>
                    <a:pt x="88" y="39"/>
                  </a:lnTo>
                  <a:lnTo>
                    <a:pt x="90" y="39"/>
                  </a:lnTo>
                  <a:lnTo>
                    <a:pt x="88" y="39"/>
                  </a:lnTo>
                  <a:lnTo>
                    <a:pt x="88" y="39"/>
                  </a:lnTo>
                  <a:lnTo>
                    <a:pt x="90" y="39"/>
                  </a:lnTo>
                  <a:lnTo>
                    <a:pt x="88" y="39"/>
                  </a:lnTo>
                  <a:lnTo>
                    <a:pt x="91" y="39"/>
                  </a:lnTo>
                  <a:close/>
                  <a:moveTo>
                    <a:pt x="80" y="51"/>
                  </a:moveTo>
                  <a:lnTo>
                    <a:pt x="80" y="51"/>
                  </a:lnTo>
                  <a:lnTo>
                    <a:pt x="88" y="45"/>
                  </a:lnTo>
                  <a:lnTo>
                    <a:pt x="86" y="42"/>
                  </a:lnTo>
                  <a:lnTo>
                    <a:pt x="86" y="42"/>
                  </a:lnTo>
                  <a:lnTo>
                    <a:pt x="78" y="49"/>
                  </a:lnTo>
                  <a:lnTo>
                    <a:pt x="80" y="51"/>
                  </a:lnTo>
                  <a:close/>
                  <a:moveTo>
                    <a:pt x="68" y="59"/>
                  </a:moveTo>
                  <a:lnTo>
                    <a:pt x="68" y="59"/>
                  </a:lnTo>
                  <a:lnTo>
                    <a:pt x="75" y="53"/>
                  </a:lnTo>
                  <a:lnTo>
                    <a:pt x="74" y="52"/>
                  </a:lnTo>
                  <a:lnTo>
                    <a:pt x="74" y="52"/>
                  </a:lnTo>
                  <a:lnTo>
                    <a:pt x="67" y="58"/>
                  </a:lnTo>
                  <a:lnTo>
                    <a:pt x="68" y="59"/>
                  </a:lnTo>
                  <a:close/>
                  <a:moveTo>
                    <a:pt x="55" y="69"/>
                  </a:moveTo>
                  <a:lnTo>
                    <a:pt x="55" y="69"/>
                  </a:lnTo>
                  <a:lnTo>
                    <a:pt x="64" y="64"/>
                  </a:lnTo>
                  <a:lnTo>
                    <a:pt x="62" y="61"/>
                  </a:lnTo>
                  <a:lnTo>
                    <a:pt x="62" y="61"/>
                  </a:lnTo>
                  <a:lnTo>
                    <a:pt x="54" y="66"/>
                  </a:lnTo>
                  <a:lnTo>
                    <a:pt x="55" y="69"/>
                  </a:lnTo>
                  <a:close/>
                  <a:moveTo>
                    <a:pt x="42" y="78"/>
                  </a:moveTo>
                  <a:lnTo>
                    <a:pt x="42" y="78"/>
                  </a:lnTo>
                  <a:lnTo>
                    <a:pt x="51" y="72"/>
                  </a:lnTo>
                  <a:lnTo>
                    <a:pt x="49" y="69"/>
                  </a:lnTo>
                  <a:lnTo>
                    <a:pt x="49" y="69"/>
                  </a:lnTo>
                  <a:lnTo>
                    <a:pt x="41" y="75"/>
                  </a:lnTo>
                  <a:lnTo>
                    <a:pt x="42" y="78"/>
                  </a:lnTo>
                  <a:close/>
                  <a:moveTo>
                    <a:pt x="30" y="87"/>
                  </a:moveTo>
                  <a:lnTo>
                    <a:pt x="30" y="87"/>
                  </a:lnTo>
                  <a:lnTo>
                    <a:pt x="38" y="81"/>
                  </a:lnTo>
                  <a:lnTo>
                    <a:pt x="36" y="78"/>
                  </a:lnTo>
                  <a:lnTo>
                    <a:pt x="36" y="78"/>
                  </a:lnTo>
                  <a:lnTo>
                    <a:pt x="29" y="84"/>
                  </a:lnTo>
                  <a:lnTo>
                    <a:pt x="30" y="87"/>
                  </a:lnTo>
                  <a:close/>
                  <a:moveTo>
                    <a:pt x="15" y="91"/>
                  </a:moveTo>
                  <a:lnTo>
                    <a:pt x="15" y="91"/>
                  </a:lnTo>
                  <a:lnTo>
                    <a:pt x="22" y="91"/>
                  </a:lnTo>
                  <a:lnTo>
                    <a:pt x="26" y="90"/>
                  </a:lnTo>
                  <a:lnTo>
                    <a:pt x="25" y="87"/>
                  </a:lnTo>
                  <a:lnTo>
                    <a:pt x="25" y="87"/>
                  </a:lnTo>
                  <a:lnTo>
                    <a:pt x="20" y="88"/>
                  </a:lnTo>
                  <a:lnTo>
                    <a:pt x="15" y="88"/>
                  </a:lnTo>
                  <a:lnTo>
                    <a:pt x="15" y="91"/>
                  </a:lnTo>
                  <a:close/>
                  <a:moveTo>
                    <a:pt x="0" y="91"/>
                  </a:moveTo>
                  <a:lnTo>
                    <a:pt x="0" y="91"/>
                  </a:lnTo>
                  <a:lnTo>
                    <a:pt x="10" y="91"/>
                  </a:lnTo>
                  <a:lnTo>
                    <a:pt x="10" y="88"/>
                  </a:lnTo>
                  <a:lnTo>
                    <a:pt x="10" y="88"/>
                  </a:lnTo>
                  <a:lnTo>
                    <a:pt x="0" y="88"/>
                  </a:lnTo>
                  <a:lnTo>
                    <a:pt x="0" y="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49" name="Freeform 1712"/>
            <p:cNvSpPr>
              <a:spLocks noEditPoints="1"/>
            </p:cNvSpPr>
            <p:nvPr/>
          </p:nvSpPr>
          <p:spPr bwMode="auto">
            <a:xfrm>
              <a:off x="5287963" y="3881866"/>
              <a:ext cx="25400" cy="36513"/>
            </a:xfrm>
            <a:custGeom>
              <a:avLst/>
              <a:gdLst>
                <a:gd name="T0" fmla="*/ 7 w 16"/>
                <a:gd name="T1" fmla="*/ 9 h 23"/>
                <a:gd name="T2" fmla="*/ 7 w 16"/>
                <a:gd name="T3" fmla="*/ 9 h 23"/>
                <a:gd name="T4" fmla="*/ 3 w 16"/>
                <a:gd name="T5" fmla="*/ 0 h 23"/>
                <a:gd name="T6" fmla="*/ 0 w 16"/>
                <a:gd name="T7" fmla="*/ 2 h 23"/>
                <a:gd name="T8" fmla="*/ 0 w 16"/>
                <a:gd name="T9" fmla="*/ 2 h 23"/>
                <a:gd name="T10" fmla="*/ 6 w 16"/>
                <a:gd name="T11" fmla="*/ 10 h 23"/>
                <a:gd name="T12" fmla="*/ 7 w 16"/>
                <a:gd name="T13" fmla="*/ 9 h 23"/>
                <a:gd name="T14" fmla="*/ 16 w 16"/>
                <a:gd name="T15" fmla="*/ 22 h 23"/>
                <a:gd name="T16" fmla="*/ 16 w 16"/>
                <a:gd name="T17" fmla="*/ 22 h 23"/>
                <a:gd name="T18" fmla="*/ 10 w 16"/>
                <a:gd name="T19" fmla="*/ 13 h 23"/>
                <a:gd name="T20" fmla="*/ 9 w 16"/>
                <a:gd name="T21" fmla="*/ 15 h 23"/>
                <a:gd name="T22" fmla="*/ 9 w 16"/>
                <a:gd name="T23" fmla="*/ 15 h 23"/>
                <a:gd name="T24" fmla="*/ 13 w 16"/>
                <a:gd name="T25" fmla="*/ 23 h 23"/>
                <a:gd name="T26" fmla="*/ 16 w 16"/>
                <a:gd name="T2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23">
                  <a:moveTo>
                    <a:pt x="7" y="9"/>
                  </a:moveTo>
                  <a:lnTo>
                    <a:pt x="7" y="9"/>
                  </a:lnTo>
                  <a:lnTo>
                    <a:pt x="3" y="0"/>
                  </a:lnTo>
                  <a:lnTo>
                    <a:pt x="0" y="2"/>
                  </a:lnTo>
                  <a:lnTo>
                    <a:pt x="0" y="2"/>
                  </a:lnTo>
                  <a:lnTo>
                    <a:pt x="6" y="10"/>
                  </a:lnTo>
                  <a:lnTo>
                    <a:pt x="7" y="9"/>
                  </a:lnTo>
                  <a:close/>
                  <a:moveTo>
                    <a:pt x="16" y="22"/>
                  </a:moveTo>
                  <a:lnTo>
                    <a:pt x="16" y="22"/>
                  </a:lnTo>
                  <a:lnTo>
                    <a:pt x="10" y="13"/>
                  </a:lnTo>
                  <a:lnTo>
                    <a:pt x="9" y="15"/>
                  </a:lnTo>
                  <a:lnTo>
                    <a:pt x="9" y="15"/>
                  </a:lnTo>
                  <a:lnTo>
                    <a:pt x="13" y="23"/>
                  </a:lnTo>
                  <a:lnTo>
                    <a:pt x="16"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50" name="Freeform 1713"/>
            <p:cNvSpPr>
              <a:spLocks noEditPoints="1"/>
            </p:cNvSpPr>
            <p:nvPr/>
          </p:nvSpPr>
          <p:spPr bwMode="auto">
            <a:xfrm>
              <a:off x="5497513" y="3973941"/>
              <a:ext cx="47625" cy="20638"/>
            </a:xfrm>
            <a:custGeom>
              <a:avLst/>
              <a:gdLst>
                <a:gd name="T0" fmla="*/ 3 w 30"/>
                <a:gd name="T1" fmla="*/ 9 h 13"/>
                <a:gd name="T2" fmla="*/ 0 w 30"/>
                <a:gd name="T3" fmla="*/ 12 h 13"/>
                <a:gd name="T4" fmla="*/ 1 w 30"/>
                <a:gd name="T5" fmla="*/ 13 h 13"/>
                <a:gd name="T6" fmla="*/ 4 w 30"/>
                <a:gd name="T7" fmla="*/ 10 h 13"/>
                <a:gd name="T8" fmla="*/ 3 w 30"/>
                <a:gd name="T9" fmla="*/ 9 h 13"/>
                <a:gd name="T10" fmla="*/ 14 w 30"/>
                <a:gd name="T11" fmla="*/ 0 h 13"/>
                <a:gd name="T12" fmla="*/ 14 w 30"/>
                <a:gd name="T13" fmla="*/ 0 h 13"/>
                <a:gd name="T14" fmla="*/ 13 w 30"/>
                <a:gd name="T15" fmla="*/ 0 h 13"/>
                <a:gd name="T16" fmla="*/ 12 w 30"/>
                <a:gd name="T17" fmla="*/ 0 h 13"/>
                <a:gd name="T18" fmla="*/ 6 w 30"/>
                <a:gd name="T19" fmla="*/ 6 h 13"/>
                <a:gd name="T20" fmla="*/ 7 w 30"/>
                <a:gd name="T21" fmla="*/ 7 h 13"/>
                <a:gd name="T22" fmla="*/ 13 w 30"/>
                <a:gd name="T23" fmla="*/ 1 h 13"/>
                <a:gd name="T24" fmla="*/ 13 w 30"/>
                <a:gd name="T25" fmla="*/ 1 h 13"/>
                <a:gd name="T26" fmla="*/ 13 w 30"/>
                <a:gd name="T27" fmla="*/ 3 h 13"/>
                <a:gd name="T28" fmla="*/ 13 w 30"/>
                <a:gd name="T29" fmla="*/ 3 h 13"/>
                <a:gd name="T30" fmla="*/ 14 w 30"/>
                <a:gd name="T31" fmla="*/ 3 h 13"/>
                <a:gd name="T32" fmla="*/ 14 w 30"/>
                <a:gd name="T33" fmla="*/ 0 h 13"/>
                <a:gd name="T34" fmla="*/ 30 w 30"/>
                <a:gd name="T35" fmla="*/ 1 h 13"/>
                <a:gd name="T36" fmla="*/ 30 w 30"/>
                <a:gd name="T37" fmla="*/ 1 h 13"/>
                <a:gd name="T38" fmla="*/ 20 w 30"/>
                <a:gd name="T39" fmla="*/ 0 h 13"/>
                <a:gd name="T40" fmla="*/ 20 w 30"/>
                <a:gd name="T41" fmla="*/ 3 h 13"/>
                <a:gd name="T42" fmla="*/ 20 w 30"/>
                <a:gd name="T43" fmla="*/ 3 h 13"/>
                <a:gd name="T44" fmla="*/ 30 w 30"/>
                <a:gd name="T45" fmla="*/ 3 h 13"/>
                <a:gd name="T46" fmla="*/ 30 w 30"/>
                <a:gd name="T47"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 h="13">
                  <a:moveTo>
                    <a:pt x="3" y="9"/>
                  </a:moveTo>
                  <a:lnTo>
                    <a:pt x="0" y="12"/>
                  </a:lnTo>
                  <a:lnTo>
                    <a:pt x="1" y="13"/>
                  </a:lnTo>
                  <a:lnTo>
                    <a:pt x="4" y="10"/>
                  </a:lnTo>
                  <a:lnTo>
                    <a:pt x="3" y="9"/>
                  </a:lnTo>
                  <a:close/>
                  <a:moveTo>
                    <a:pt x="14" y="0"/>
                  </a:moveTo>
                  <a:lnTo>
                    <a:pt x="14" y="0"/>
                  </a:lnTo>
                  <a:lnTo>
                    <a:pt x="13" y="0"/>
                  </a:lnTo>
                  <a:lnTo>
                    <a:pt x="12" y="0"/>
                  </a:lnTo>
                  <a:lnTo>
                    <a:pt x="6" y="6"/>
                  </a:lnTo>
                  <a:lnTo>
                    <a:pt x="7" y="7"/>
                  </a:lnTo>
                  <a:lnTo>
                    <a:pt x="13" y="1"/>
                  </a:lnTo>
                  <a:lnTo>
                    <a:pt x="13" y="1"/>
                  </a:lnTo>
                  <a:lnTo>
                    <a:pt x="13" y="3"/>
                  </a:lnTo>
                  <a:lnTo>
                    <a:pt x="13" y="3"/>
                  </a:lnTo>
                  <a:lnTo>
                    <a:pt x="14" y="3"/>
                  </a:lnTo>
                  <a:lnTo>
                    <a:pt x="14" y="0"/>
                  </a:lnTo>
                  <a:close/>
                  <a:moveTo>
                    <a:pt x="30" y="1"/>
                  </a:moveTo>
                  <a:lnTo>
                    <a:pt x="30" y="1"/>
                  </a:lnTo>
                  <a:lnTo>
                    <a:pt x="20" y="0"/>
                  </a:lnTo>
                  <a:lnTo>
                    <a:pt x="20" y="3"/>
                  </a:lnTo>
                  <a:lnTo>
                    <a:pt x="20" y="3"/>
                  </a:lnTo>
                  <a:lnTo>
                    <a:pt x="30" y="3"/>
                  </a:lnTo>
                  <a:lnTo>
                    <a:pt x="3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51" name="Freeform 1714"/>
            <p:cNvSpPr>
              <a:spLocks noEditPoints="1"/>
            </p:cNvSpPr>
            <p:nvPr/>
          </p:nvSpPr>
          <p:spPr bwMode="auto">
            <a:xfrm>
              <a:off x="5445126" y="3665966"/>
              <a:ext cx="123825" cy="306388"/>
            </a:xfrm>
            <a:custGeom>
              <a:avLst/>
              <a:gdLst>
                <a:gd name="T0" fmla="*/ 3 w 78"/>
                <a:gd name="T1" fmla="*/ 0 h 193"/>
                <a:gd name="T2" fmla="*/ 0 w 78"/>
                <a:gd name="T3" fmla="*/ 10 h 193"/>
                <a:gd name="T4" fmla="*/ 3 w 78"/>
                <a:gd name="T5" fmla="*/ 25 h 193"/>
                <a:gd name="T6" fmla="*/ 0 w 78"/>
                <a:gd name="T7" fmla="*/ 14 h 193"/>
                <a:gd name="T8" fmla="*/ 7 w 78"/>
                <a:gd name="T9" fmla="*/ 39 h 193"/>
                <a:gd name="T10" fmla="*/ 1 w 78"/>
                <a:gd name="T11" fmla="*/ 30 h 193"/>
                <a:gd name="T12" fmla="*/ 7 w 78"/>
                <a:gd name="T13" fmla="*/ 39 h 193"/>
                <a:gd name="T14" fmla="*/ 8 w 78"/>
                <a:gd name="T15" fmla="*/ 43 h 193"/>
                <a:gd name="T16" fmla="*/ 10 w 78"/>
                <a:gd name="T17" fmla="*/ 55 h 193"/>
                <a:gd name="T18" fmla="*/ 20 w 78"/>
                <a:gd name="T19" fmla="*/ 67 h 193"/>
                <a:gd name="T20" fmla="*/ 11 w 78"/>
                <a:gd name="T21" fmla="*/ 59 h 193"/>
                <a:gd name="T22" fmla="*/ 30 w 78"/>
                <a:gd name="T23" fmla="*/ 78 h 193"/>
                <a:gd name="T24" fmla="*/ 21 w 78"/>
                <a:gd name="T25" fmla="*/ 71 h 193"/>
                <a:gd name="T26" fmla="*/ 30 w 78"/>
                <a:gd name="T27" fmla="*/ 78 h 193"/>
                <a:gd name="T28" fmla="*/ 34 w 78"/>
                <a:gd name="T29" fmla="*/ 90 h 193"/>
                <a:gd name="T30" fmla="*/ 34 w 78"/>
                <a:gd name="T31" fmla="*/ 85 h 193"/>
                <a:gd name="T32" fmla="*/ 32 w 78"/>
                <a:gd name="T33" fmla="*/ 82 h 193"/>
                <a:gd name="T34" fmla="*/ 33 w 78"/>
                <a:gd name="T35" fmla="*/ 87 h 193"/>
                <a:gd name="T36" fmla="*/ 33 w 78"/>
                <a:gd name="T37" fmla="*/ 93 h 193"/>
                <a:gd name="T38" fmla="*/ 24 w 78"/>
                <a:gd name="T39" fmla="*/ 103 h 193"/>
                <a:gd name="T40" fmla="*/ 24 w 78"/>
                <a:gd name="T41" fmla="*/ 103 h 193"/>
                <a:gd name="T42" fmla="*/ 30 w 78"/>
                <a:gd name="T43" fmla="*/ 96 h 193"/>
                <a:gd name="T44" fmla="*/ 24 w 78"/>
                <a:gd name="T45" fmla="*/ 98 h 193"/>
                <a:gd name="T46" fmla="*/ 21 w 78"/>
                <a:gd name="T47" fmla="*/ 103 h 193"/>
                <a:gd name="T48" fmla="*/ 24 w 78"/>
                <a:gd name="T49" fmla="*/ 103 h 193"/>
                <a:gd name="T50" fmla="*/ 26 w 78"/>
                <a:gd name="T51" fmla="*/ 107 h 193"/>
                <a:gd name="T52" fmla="*/ 30 w 78"/>
                <a:gd name="T53" fmla="*/ 117 h 193"/>
                <a:gd name="T54" fmla="*/ 42 w 78"/>
                <a:gd name="T55" fmla="*/ 127 h 193"/>
                <a:gd name="T56" fmla="*/ 33 w 78"/>
                <a:gd name="T57" fmla="*/ 120 h 193"/>
                <a:gd name="T58" fmla="*/ 52 w 78"/>
                <a:gd name="T59" fmla="*/ 139 h 193"/>
                <a:gd name="T60" fmla="*/ 43 w 78"/>
                <a:gd name="T61" fmla="*/ 133 h 193"/>
                <a:gd name="T62" fmla="*/ 52 w 78"/>
                <a:gd name="T63" fmla="*/ 139 h 193"/>
                <a:gd name="T64" fmla="*/ 55 w 78"/>
                <a:gd name="T65" fmla="*/ 142 h 193"/>
                <a:gd name="T66" fmla="*/ 59 w 78"/>
                <a:gd name="T67" fmla="*/ 152 h 193"/>
                <a:gd name="T68" fmla="*/ 69 w 78"/>
                <a:gd name="T69" fmla="*/ 164 h 193"/>
                <a:gd name="T70" fmla="*/ 66 w 78"/>
                <a:gd name="T71" fmla="*/ 155 h 193"/>
                <a:gd name="T72" fmla="*/ 63 w 78"/>
                <a:gd name="T73" fmla="*/ 155 h 193"/>
                <a:gd name="T74" fmla="*/ 65 w 78"/>
                <a:gd name="T75" fmla="*/ 156 h 193"/>
                <a:gd name="T76" fmla="*/ 66 w 78"/>
                <a:gd name="T77" fmla="*/ 164 h 193"/>
                <a:gd name="T78" fmla="*/ 69 w 78"/>
                <a:gd name="T79" fmla="*/ 178 h 193"/>
                <a:gd name="T80" fmla="*/ 68 w 78"/>
                <a:gd name="T81" fmla="*/ 174 h 193"/>
                <a:gd name="T82" fmla="*/ 66 w 78"/>
                <a:gd name="T83" fmla="*/ 168 h 193"/>
                <a:gd name="T84" fmla="*/ 66 w 78"/>
                <a:gd name="T85" fmla="*/ 175 h 193"/>
                <a:gd name="T86" fmla="*/ 69 w 78"/>
                <a:gd name="T87" fmla="*/ 178 h 193"/>
                <a:gd name="T88" fmla="*/ 72 w 78"/>
                <a:gd name="T89" fmla="*/ 182 h 193"/>
                <a:gd name="T90" fmla="*/ 76 w 78"/>
                <a:gd name="T91"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8" h="193">
                  <a:moveTo>
                    <a:pt x="1" y="10"/>
                  </a:moveTo>
                  <a:lnTo>
                    <a:pt x="1" y="10"/>
                  </a:lnTo>
                  <a:lnTo>
                    <a:pt x="3" y="0"/>
                  </a:lnTo>
                  <a:lnTo>
                    <a:pt x="0" y="0"/>
                  </a:lnTo>
                  <a:lnTo>
                    <a:pt x="0" y="0"/>
                  </a:lnTo>
                  <a:lnTo>
                    <a:pt x="0" y="10"/>
                  </a:lnTo>
                  <a:lnTo>
                    <a:pt x="1" y="10"/>
                  </a:lnTo>
                  <a:close/>
                  <a:moveTo>
                    <a:pt x="3" y="25"/>
                  </a:moveTo>
                  <a:lnTo>
                    <a:pt x="3" y="25"/>
                  </a:lnTo>
                  <a:lnTo>
                    <a:pt x="1" y="14"/>
                  </a:lnTo>
                  <a:lnTo>
                    <a:pt x="0" y="14"/>
                  </a:lnTo>
                  <a:lnTo>
                    <a:pt x="0" y="14"/>
                  </a:lnTo>
                  <a:lnTo>
                    <a:pt x="1" y="25"/>
                  </a:lnTo>
                  <a:lnTo>
                    <a:pt x="3" y="25"/>
                  </a:lnTo>
                  <a:close/>
                  <a:moveTo>
                    <a:pt x="7" y="39"/>
                  </a:moveTo>
                  <a:lnTo>
                    <a:pt x="7" y="39"/>
                  </a:lnTo>
                  <a:lnTo>
                    <a:pt x="4" y="29"/>
                  </a:lnTo>
                  <a:lnTo>
                    <a:pt x="1" y="30"/>
                  </a:lnTo>
                  <a:lnTo>
                    <a:pt x="1" y="30"/>
                  </a:lnTo>
                  <a:lnTo>
                    <a:pt x="4" y="40"/>
                  </a:lnTo>
                  <a:lnTo>
                    <a:pt x="7" y="39"/>
                  </a:lnTo>
                  <a:close/>
                  <a:moveTo>
                    <a:pt x="11" y="54"/>
                  </a:moveTo>
                  <a:lnTo>
                    <a:pt x="11" y="54"/>
                  </a:lnTo>
                  <a:lnTo>
                    <a:pt x="8" y="43"/>
                  </a:lnTo>
                  <a:lnTo>
                    <a:pt x="5" y="45"/>
                  </a:lnTo>
                  <a:lnTo>
                    <a:pt x="5" y="45"/>
                  </a:lnTo>
                  <a:lnTo>
                    <a:pt x="10" y="55"/>
                  </a:lnTo>
                  <a:lnTo>
                    <a:pt x="11" y="54"/>
                  </a:lnTo>
                  <a:close/>
                  <a:moveTo>
                    <a:pt x="20" y="67"/>
                  </a:moveTo>
                  <a:lnTo>
                    <a:pt x="20" y="67"/>
                  </a:lnTo>
                  <a:lnTo>
                    <a:pt x="14" y="58"/>
                  </a:lnTo>
                  <a:lnTo>
                    <a:pt x="11" y="59"/>
                  </a:lnTo>
                  <a:lnTo>
                    <a:pt x="11" y="59"/>
                  </a:lnTo>
                  <a:lnTo>
                    <a:pt x="17" y="68"/>
                  </a:lnTo>
                  <a:lnTo>
                    <a:pt x="20" y="67"/>
                  </a:lnTo>
                  <a:close/>
                  <a:moveTo>
                    <a:pt x="30" y="78"/>
                  </a:moveTo>
                  <a:lnTo>
                    <a:pt x="30" y="78"/>
                  </a:lnTo>
                  <a:lnTo>
                    <a:pt x="23" y="69"/>
                  </a:lnTo>
                  <a:lnTo>
                    <a:pt x="21" y="71"/>
                  </a:lnTo>
                  <a:lnTo>
                    <a:pt x="21" y="71"/>
                  </a:lnTo>
                  <a:lnTo>
                    <a:pt x="27" y="80"/>
                  </a:lnTo>
                  <a:lnTo>
                    <a:pt x="30" y="78"/>
                  </a:lnTo>
                  <a:close/>
                  <a:moveTo>
                    <a:pt x="33" y="93"/>
                  </a:moveTo>
                  <a:lnTo>
                    <a:pt x="33" y="93"/>
                  </a:lnTo>
                  <a:lnTo>
                    <a:pt x="34" y="90"/>
                  </a:lnTo>
                  <a:lnTo>
                    <a:pt x="36" y="87"/>
                  </a:lnTo>
                  <a:lnTo>
                    <a:pt x="36" y="87"/>
                  </a:lnTo>
                  <a:lnTo>
                    <a:pt x="34" y="85"/>
                  </a:lnTo>
                  <a:lnTo>
                    <a:pt x="34" y="85"/>
                  </a:lnTo>
                  <a:lnTo>
                    <a:pt x="33" y="81"/>
                  </a:lnTo>
                  <a:lnTo>
                    <a:pt x="32" y="82"/>
                  </a:lnTo>
                  <a:lnTo>
                    <a:pt x="32" y="82"/>
                  </a:lnTo>
                  <a:lnTo>
                    <a:pt x="33" y="85"/>
                  </a:lnTo>
                  <a:lnTo>
                    <a:pt x="33" y="87"/>
                  </a:lnTo>
                  <a:lnTo>
                    <a:pt x="33" y="87"/>
                  </a:lnTo>
                  <a:lnTo>
                    <a:pt x="30" y="90"/>
                  </a:lnTo>
                  <a:lnTo>
                    <a:pt x="33" y="93"/>
                  </a:lnTo>
                  <a:close/>
                  <a:moveTo>
                    <a:pt x="24" y="103"/>
                  </a:moveTo>
                  <a:lnTo>
                    <a:pt x="24" y="103"/>
                  </a:lnTo>
                  <a:lnTo>
                    <a:pt x="24" y="103"/>
                  </a:lnTo>
                  <a:lnTo>
                    <a:pt x="24" y="103"/>
                  </a:lnTo>
                  <a:lnTo>
                    <a:pt x="24" y="103"/>
                  </a:lnTo>
                  <a:lnTo>
                    <a:pt x="24" y="103"/>
                  </a:lnTo>
                  <a:lnTo>
                    <a:pt x="24" y="103"/>
                  </a:lnTo>
                  <a:lnTo>
                    <a:pt x="24" y="103"/>
                  </a:lnTo>
                  <a:lnTo>
                    <a:pt x="30" y="96"/>
                  </a:lnTo>
                  <a:lnTo>
                    <a:pt x="27" y="94"/>
                  </a:lnTo>
                  <a:lnTo>
                    <a:pt x="27" y="94"/>
                  </a:lnTo>
                  <a:lnTo>
                    <a:pt x="24" y="98"/>
                  </a:lnTo>
                  <a:lnTo>
                    <a:pt x="21" y="103"/>
                  </a:lnTo>
                  <a:lnTo>
                    <a:pt x="23" y="103"/>
                  </a:lnTo>
                  <a:lnTo>
                    <a:pt x="21" y="103"/>
                  </a:lnTo>
                  <a:lnTo>
                    <a:pt x="21" y="103"/>
                  </a:lnTo>
                  <a:lnTo>
                    <a:pt x="21" y="103"/>
                  </a:lnTo>
                  <a:lnTo>
                    <a:pt x="24" y="103"/>
                  </a:lnTo>
                  <a:close/>
                  <a:moveTo>
                    <a:pt x="32" y="116"/>
                  </a:moveTo>
                  <a:lnTo>
                    <a:pt x="32" y="116"/>
                  </a:lnTo>
                  <a:lnTo>
                    <a:pt x="26" y="107"/>
                  </a:lnTo>
                  <a:lnTo>
                    <a:pt x="24" y="109"/>
                  </a:lnTo>
                  <a:lnTo>
                    <a:pt x="24" y="109"/>
                  </a:lnTo>
                  <a:lnTo>
                    <a:pt x="30" y="117"/>
                  </a:lnTo>
                  <a:lnTo>
                    <a:pt x="32" y="116"/>
                  </a:lnTo>
                  <a:close/>
                  <a:moveTo>
                    <a:pt x="42" y="127"/>
                  </a:moveTo>
                  <a:lnTo>
                    <a:pt x="42" y="127"/>
                  </a:lnTo>
                  <a:lnTo>
                    <a:pt x="34" y="119"/>
                  </a:lnTo>
                  <a:lnTo>
                    <a:pt x="33" y="120"/>
                  </a:lnTo>
                  <a:lnTo>
                    <a:pt x="33" y="120"/>
                  </a:lnTo>
                  <a:lnTo>
                    <a:pt x="39" y="129"/>
                  </a:lnTo>
                  <a:lnTo>
                    <a:pt x="42" y="127"/>
                  </a:lnTo>
                  <a:close/>
                  <a:moveTo>
                    <a:pt x="52" y="139"/>
                  </a:moveTo>
                  <a:lnTo>
                    <a:pt x="52" y="139"/>
                  </a:lnTo>
                  <a:lnTo>
                    <a:pt x="45" y="130"/>
                  </a:lnTo>
                  <a:lnTo>
                    <a:pt x="43" y="133"/>
                  </a:lnTo>
                  <a:lnTo>
                    <a:pt x="43" y="133"/>
                  </a:lnTo>
                  <a:lnTo>
                    <a:pt x="49" y="140"/>
                  </a:lnTo>
                  <a:lnTo>
                    <a:pt x="52" y="139"/>
                  </a:lnTo>
                  <a:close/>
                  <a:moveTo>
                    <a:pt x="62" y="151"/>
                  </a:moveTo>
                  <a:lnTo>
                    <a:pt x="62" y="151"/>
                  </a:lnTo>
                  <a:lnTo>
                    <a:pt x="55" y="142"/>
                  </a:lnTo>
                  <a:lnTo>
                    <a:pt x="53" y="145"/>
                  </a:lnTo>
                  <a:lnTo>
                    <a:pt x="53" y="145"/>
                  </a:lnTo>
                  <a:lnTo>
                    <a:pt x="59" y="152"/>
                  </a:lnTo>
                  <a:lnTo>
                    <a:pt x="62" y="151"/>
                  </a:lnTo>
                  <a:close/>
                  <a:moveTo>
                    <a:pt x="69" y="164"/>
                  </a:moveTo>
                  <a:lnTo>
                    <a:pt x="69" y="164"/>
                  </a:lnTo>
                  <a:lnTo>
                    <a:pt x="69" y="164"/>
                  </a:lnTo>
                  <a:lnTo>
                    <a:pt x="68" y="159"/>
                  </a:lnTo>
                  <a:lnTo>
                    <a:pt x="66" y="155"/>
                  </a:lnTo>
                  <a:lnTo>
                    <a:pt x="66" y="155"/>
                  </a:lnTo>
                  <a:lnTo>
                    <a:pt x="65" y="153"/>
                  </a:lnTo>
                  <a:lnTo>
                    <a:pt x="63" y="155"/>
                  </a:lnTo>
                  <a:lnTo>
                    <a:pt x="63" y="155"/>
                  </a:lnTo>
                  <a:lnTo>
                    <a:pt x="65" y="156"/>
                  </a:lnTo>
                  <a:lnTo>
                    <a:pt x="65" y="156"/>
                  </a:lnTo>
                  <a:lnTo>
                    <a:pt x="66" y="159"/>
                  </a:lnTo>
                  <a:lnTo>
                    <a:pt x="66" y="164"/>
                  </a:lnTo>
                  <a:lnTo>
                    <a:pt x="66" y="164"/>
                  </a:lnTo>
                  <a:lnTo>
                    <a:pt x="69" y="164"/>
                  </a:lnTo>
                  <a:close/>
                  <a:moveTo>
                    <a:pt x="69" y="178"/>
                  </a:moveTo>
                  <a:lnTo>
                    <a:pt x="69" y="178"/>
                  </a:lnTo>
                  <a:lnTo>
                    <a:pt x="68" y="174"/>
                  </a:lnTo>
                  <a:lnTo>
                    <a:pt x="68" y="174"/>
                  </a:lnTo>
                  <a:lnTo>
                    <a:pt x="68" y="174"/>
                  </a:lnTo>
                  <a:lnTo>
                    <a:pt x="68" y="169"/>
                  </a:lnTo>
                  <a:lnTo>
                    <a:pt x="66" y="168"/>
                  </a:lnTo>
                  <a:lnTo>
                    <a:pt x="66" y="168"/>
                  </a:lnTo>
                  <a:lnTo>
                    <a:pt x="65" y="174"/>
                  </a:lnTo>
                  <a:lnTo>
                    <a:pt x="65" y="174"/>
                  </a:lnTo>
                  <a:lnTo>
                    <a:pt x="66" y="175"/>
                  </a:lnTo>
                  <a:lnTo>
                    <a:pt x="66" y="175"/>
                  </a:lnTo>
                  <a:lnTo>
                    <a:pt x="68" y="180"/>
                  </a:lnTo>
                  <a:lnTo>
                    <a:pt x="69" y="178"/>
                  </a:lnTo>
                  <a:close/>
                  <a:moveTo>
                    <a:pt x="78" y="190"/>
                  </a:moveTo>
                  <a:lnTo>
                    <a:pt x="78" y="190"/>
                  </a:lnTo>
                  <a:lnTo>
                    <a:pt x="72" y="182"/>
                  </a:lnTo>
                  <a:lnTo>
                    <a:pt x="71" y="184"/>
                  </a:lnTo>
                  <a:lnTo>
                    <a:pt x="71" y="184"/>
                  </a:lnTo>
                  <a:lnTo>
                    <a:pt x="76" y="193"/>
                  </a:lnTo>
                  <a:lnTo>
                    <a:pt x="78" y="1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52" name="Freeform 1715"/>
            <p:cNvSpPr>
              <a:spLocks noEditPoints="1"/>
            </p:cNvSpPr>
            <p:nvPr/>
          </p:nvSpPr>
          <p:spPr bwMode="auto">
            <a:xfrm>
              <a:off x="5232401" y="3754866"/>
              <a:ext cx="246063" cy="23813"/>
            </a:xfrm>
            <a:custGeom>
              <a:avLst/>
              <a:gdLst>
                <a:gd name="T0" fmla="*/ 6 w 155"/>
                <a:gd name="T1" fmla="*/ 9 h 15"/>
                <a:gd name="T2" fmla="*/ 2 w 155"/>
                <a:gd name="T3" fmla="*/ 13 h 15"/>
                <a:gd name="T4" fmla="*/ 8 w 155"/>
                <a:gd name="T5" fmla="*/ 12 h 15"/>
                <a:gd name="T6" fmla="*/ 19 w 155"/>
                <a:gd name="T7" fmla="*/ 3 h 15"/>
                <a:gd name="T8" fmla="*/ 16 w 155"/>
                <a:gd name="T9" fmla="*/ 3 h 15"/>
                <a:gd name="T10" fmla="*/ 15 w 155"/>
                <a:gd name="T11" fmla="*/ 3 h 15"/>
                <a:gd name="T12" fmla="*/ 13 w 155"/>
                <a:gd name="T13" fmla="*/ 5 h 15"/>
                <a:gd name="T14" fmla="*/ 11 w 155"/>
                <a:gd name="T15" fmla="*/ 6 h 15"/>
                <a:gd name="T16" fmla="*/ 12 w 155"/>
                <a:gd name="T17" fmla="*/ 9 h 15"/>
                <a:gd name="T18" fmla="*/ 16 w 155"/>
                <a:gd name="T19" fmla="*/ 5 h 15"/>
                <a:gd name="T20" fmla="*/ 16 w 155"/>
                <a:gd name="T21" fmla="*/ 5 h 15"/>
                <a:gd name="T22" fmla="*/ 19 w 155"/>
                <a:gd name="T23" fmla="*/ 3 h 15"/>
                <a:gd name="T24" fmla="*/ 35 w 155"/>
                <a:gd name="T25" fmla="*/ 2 h 15"/>
                <a:gd name="T26" fmla="*/ 25 w 155"/>
                <a:gd name="T27" fmla="*/ 5 h 15"/>
                <a:gd name="T28" fmla="*/ 35 w 155"/>
                <a:gd name="T29" fmla="*/ 5 h 15"/>
                <a:gd name="T30" fmla="*/ 51 w 155"/>
                <a:gd name="T31" fmla="*/ 2 h 15"/>
                <a:gd name="T32" fmla="*/ 39 w 155"/>
                <a:gd name="T33" fmla="*/ 2 h 15"/>
                <a:gd name="T34" fmla="*/ 41 w 155"/>
                <a:gd name="T35" fmla="*/ 5 h 15"/>
                <a:gd name="T36" fmla="*/ 51 w 155"/>
                <a:gd name="T37" fmla="*/ 2 h 15"/>
                <a:gd name="T38" fmla="*/ 66 w 155"/>
                <a:gd name="T39" fmla="*/ 2 h 15"/>
                <a:gd name="T40" fmla="*/ 55 w 155"/>
                <a:gd name="T41" fmla="*/ 5 h 15"/>
                <a:gd name="T42" fmla="*/ 66 w 155"/>
                <a:gd name="T43" fmla="*/ 3 h 15"/>
                <a:gd name="T44" fmla="*/ 82 w 155"/>
                <a:gd name="T45" fmla="*/ 2 h 15"/>
                <a:gd name="T46" fmla="*/ 71 w 155"/>
                <a:gd name="T47" fmla="*/ 2 h 15"/>
                <a:gd name="T48" fmla="*/ 71 w 155"/>
                <a:gd name="T49" fmla="*/ 3 h 15"/>
                <a:gd name="T50" fmla="*/ 82 w 155"/>
                <a:gd name="T51" fmla="*/ 2 h 15"/>
                <a:gd name="T52" fmla="*/ 96 w 155"/>
                <a:gd name="T53" fmla="*/ 0 h 15"/>
                <a:gd name="T54" fmla="*/ 86 w 155"/>
                <a:gd name="T55" fmla="*/ 0 h 15"/>
                <a:gd name="T56" fmla="*/ 86 w 155"/>
                <a:gd name="T57" fmla="*/ 3 h 15"/>
                <a:gd name="T58" fmla="*/ 96 w 155"/>
                <a:gd name="T59" fmla="*/ 3 h 15"/>
                <a:gd name="T60" fmla="*/ 112 w 155"/>
                <a:gd name="T61" fmla="*/ 2 h 15"/>
                <a:gd name="T62" fmla="*/ 102 w 155"/>
                <a:gd name="T63" fmla="*/ 0 h 15"/>
                <a:gd name="T64" fmla="*/ 102 w 155"/>
                <a:gd name="T65" fmla="*/ 3 h 15"/>
                <a:gd name="T66" fmla="*/ 112 w 155"/>
                <a:gd name="T67" fmla="*/ 2 h 15"/>
                <a:gd name="T68" fmla="*/ 126 w 155"/>
                <a:gd name="T69" fmla="*/ 3 h 15"/>
                <a:gd name="T70" fmla="*/ 116 w 155"/>
                <a:gd name="T71" fmla="*/ 3 h 15"/>
                <a:gd name="T72" fmla="*/ 126 w 155"/>
                <a:gd name="T73" fmla="*/ 5 h 15"/>
                <a:gd name="T74" fmla="*/ 141 w 155"/>
                <a:gd name="T75" fmla="*/ 8 h 15"/>
                <a:gd name="T76" fmla="*/ 131 w 155"/>
                <a:gd name="T77" fmla="*/ 5 h 15"/>
                <a:gd name="T78" fmla="*/ 131 w 155"/>
                <a:gd name="T79" fmla="*/ 8 h 15"/>
                <a:gd name="T80" fmla="*/ 141 w 155"/>
                <a:gd name="T81" fmla="*/ 8 h 15"/>
                <a:gd name="T82" fmla="*/ 155 w 155"/>
                <a:gd name="T83" fmla="*/ 12 h 15"/>
                <a:gd name="T84" fmla="*/ 145 w 155"/>
                <a:gd name="T85" fmla="*/ 12 h 15"/>
                <a:gd name="T86" fmla="*/ 154 w 155"/>
                <a:gd name="T8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5" h="15">
                  <a:moveTo>
                    <a:pt x="6" y="9"/>
                  </a:moveTo>
                  <a:lnTo>
                    <a:pt x="6" y="9"/>
                  </a:lnTo>
                  <a:lnTo>
                    <a:pt x="0" y="12"/>
                  </a:lnTo>
                  <a:lnTo>
                    <a:pt x="2" y="13"/>
                  </a:lnTo>
                  <a:lnTo>
                    <a:pt x="2" y="13"/>
                  </a:lnTo>
                  <a:lnTo>
                    <a:pt x="8" y="12"/>
                  </a:lnTo>
                  <a:lnTo>
                    <a:pt x="6" y="9"/>
                  </a:lnTo>
                  <a:close/>
                  <a:moveTo>
                    <a:pt x="19" y="3"/>
                  </a:moveTo>
                  <a:lnTo>
                    <a:pt x="19" y="3"/>
                  </a:lnTo>
                  <a:lnTo>
                    <a:pt x="16" y="3"/>
                  </a:lnTo>
                  <a:lnTo>
                    <a:pt x="15" y="3"/>
                  </a:lnTo>
                  <a:lnTo>
                    <a:pt x="15" y="3"/>
                  </a:lnTo>
                  <a:lnTo>
                    <a:pt x="15" y="3"/>
                  </a:lnTo>
                  <a:lnTo>
                    <a:pt x="13" y="5"/>
                  </a:lnTo>
                  <a:lnTo>
                    <a:pt x="13" y="5"/>
                  </a:lnTo>
                  <a:lnTo>
                    <a:pt x="11" y="6"/>
                  </a:lnTo>
                  <a:lnTo>
                    <a:pt x="12" y="9"/>
                  </a:lnTo>
                  <a:lnTo>
                    <a:pt x="12" y="9"/>
                  </a:lnTo>
                  <a:lnTo>
                    <a:pt x="16" y="5"/>
                  </a:lnTo>
                  <a:lnTo>
                    <a:pt x="16" y="5"/>
                  </a:lnTo>
                  <a:lnTo>
                    <a:pt x="16" y="5"/>
                  </a:lnTo>
                  <a:lnTo>
                    <a:pt x="16" y="5"/>
                  </a:lnTo>
                  <a:lnTo>
                    <a:pt x="21" y="5"/>
                  </a:lnTo>
                  <a:lnTo>
                    <a:pt x="19" y="3"/>
                  </a:lnTo>
                  <a:close/>
                  <a:moveTo>
                    <a:pt x="35" y="2"/>
                  </a:moveTo>
                  <a:lnTo>
                    <a:pt x="35" y="2"/>
                  </a:lnTo>
                  <a:lnTo>
                    <a:pt x="25" y="2"/>
                  </a:lnTo>
                  <a:lnTo>
                    <a:pt x="25" y="5"/>
                  </a:lnTo>
                  <a:lnTo>
                    <a:pt x="25" y="5"/>
                  </a:lnTo>
                  <a:lnTo>
                    <a:pt x="35" y="5"/>
                  </a:lnTo>
                  <a:lnTo>
                    <a:pt x="35" y="2"/>
                  </a:lnTo>
                  <a:close/>
                  <a:moveTo>
                    <a:pt x="51" y="2"/>
                  </a:moveTo>
                  <a:lnTo>
                    <a:pt x="51" y="2"/>
                  </a:lnTo>
                  <a:lnTo>
                    <a:pt x="39" y="2"/>
                  </a:lnTo>
                  <a:lnTo>
                    <a:pt x="41" y="5"/>
                  </a:lnTo>
                  <a:lnTo>
                    <a:pt x="41" y="5"/>
                  </a:lnTo>
                  <a:lnTo>
                    <a:pt x="51" y="5"/>
                  </a:lnTo>
                  <a:lnTo>
                    <a:pt x="51" y="2"/>
                  </a:lnTo>
                  <a:close/>
                  <a:moveTo>
                    <a:pt x="66" y="2"/>
                  </a:moveTo>
                  <a:lnTo>
                    <a:pt x="66" y="2"/>
                  </a:lnTo>
                  <a:lnTo>
                    <a:pt x="55" y="2"/>
                  </a:lnTo>
                  <a:lnTo>
                    <a:pt x="55" y="5"/>
                  </a:lnTo>
                  <a:lnTo>
                    <a:pt x="55" y="5"/>
                  </a:lnTo>
                  <a:lnTo>
                    <a:pt x="66" y="3"/>
                  </a:lnTo>
                  <a:lnTo>
                    <a:pt x="66" y="2"/>
                  </a:lnTo>
                  <a:close/>
                  <a:moveTo>
                    <a:pt x="82" y="2"/>
                  </a:moveTo>
                  <a:lnTo>
                    <a:pt x="82" y="2"/>
                  </a:lnTo>
                  <a:lnTo>
                    <a:pt x="71" y="2"/>
                  </a:lnTo>
                  <a:lnTo>
                    <a:pt x="71" y="3"/>
                  </a:lnTo>
                  <a:lnTo>
                    <a:pt x="71" y="3"/>
                  </a:lnTo>
                  <a:lnTo>
                    <a:pt x="82" y="3"/>
                  </a:lnTo>
                  <a:lnTo>
                    <a:pt x="82" y="2"/>
                  </a:lnTo>
                  <a:close/>
                  <a:moveTo>
                    <a:pt x="96" y="0"/>
                  </a:moveTo>
                  <a:lnTo>
                    <a:pt x="96" y="0"/>
                  </a:lnTo>
                  <a:lnTo>
                    <a:pt x="96" y="0"/>
                  </a:lnTo>
                  <a:lnTo>
                    <a:pt x="86" y="0"/>
                  </a:lnTo>
                  <a:lnTo>
                    <a:pt x="86" y="3"/>
                  </a:lnTo>
                  <a:lnTo>
                    <a:pt x="86" y="3"/>
                  </a:lnTo>
                  <a:lnTo>
                    <a:pt x="96" y="3"/>
                  </a:lnTo>
                  <a:lnTo>
                    <a:pt x="96" y="3"/>
                  </a:lnTo>
                  <a:lnTo>
                    <a:pt x="96" y="0"/>
                  </a:lnTo>
                  <a:close/>
                  <a:moveTo>
                    <a:pt x="112" y="2"/>
                  </a:moveTo>
                  <a:lnTo>
                    <a:pt x="112" y="2"/>
                  </a:lnTo>
                  <a:lnTo>
                    <a:pt x="102" y="0"/>
                  </a:lnTo>
                  <a:lnTo>
                    <a:pt x="102" y="3"/>
                  </a:lnTo>
                  <a:lnTo>
                    <a:pt x="102" y="3"/>
                  </a:lnTo>
                  <a:lnTo>
                    <a:pt x="112" y="3"/>
                  </a:lnTo>
                  <a:lnTo>
                    <a:pt x="112" y="2"/>
                  </a:lnTo>
                  <a:close/>
                  <a:moveTo>
                    <a:pt x="126" y="3"/>
                  </a:moveTo>
                  <a:lnTo>
                    <a:pt x="126" y="3"/>
                  </a:lnTo>
                  <a:lnTo>
                    <a:pt x="116" y="2"/>
                  </a:lnTo>
                  <a:lnTo>
                    <a:pt x="116" y="3"/>
                  </a:lnTo>
                  <a:lnTo>
                    <a:pt x="116" y="3"/>
                  </a:lnTo>
                  <a:lnTo>
                    <a:pt x="126" y="5"/>
                  </a:lnTo>
                  <a:lnTo>
                    <a:pt x="126" y="3"/>
                  </a:lnTo>
                  <a:close/>
                  <a:moveTo>
                    <a:pt x="141" y="8"/>
                  </a:moveTo>
                  <a:lnTo>
                    <a:pt x="141" y="8"/>
                  </a:lnTo>
                  <a:lnTo>
                    <a:pt x="131" y="5"/>
                  </a:lnTo>
                  <a:lnTo>
                    <a:pt x="131" y="8"/>
                  </a:lnTo>
                  <a:lnTo>
                    <a:pt x="131" y="8"/>
                  </a:lnTo>
                  <a:lnTo>
                    <a:pt x="141" y="11"/>
                  </a:lnTo>
                  <a:lnTo>
                    <a:pt x="141" y="8"/>
                  </a:lnTo>
                  <a:close/>
                  <a:moveTo>
                    <a:pt x="155" y="12"/>
                  </a:moveTo>
                  <a:lnTo>
                    <a:pt x="155" y="12"/>
                  </a:lnTo>
                  <a:lnTo>
                    <a:pt x="145" y="9"/>
                  </a:lnTo>
                  <a:lnTo>
                    <a:pt x="145" y="12"/>
                  </a:lnTo>
                  <a:lnTo>
                    <a:pt x="145" y="12"/>
                  </a:lnTo>
                  <a:lnTo>
                    <a:pt x="154" y="15"/>
                  </a:lnTo>
                  <a:lnTo>
                    <a:pt x="155"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53" name="Freeform 1716"/>
            <p:cNvSpPr>
              <a:spLocks noEditPoints="1"/>
            </p:cNvSpPr>
            <p:nvPr/>
          </p:nvSpPr>
          <p:spPr bwMode="auto">
            <a:xfrm>
              <a:off x="5703888" y="3716766"/>
              <a:ext cx="225425" cy="388938"/>
            </a:xfrm>
            <a:custGeom>
              <a:avLst/>
              <a:gdLst>
                <a:gd name="T0" fmla="*/ 0 w 142"/>
                <a:gd name="T1" fmla="*/ 14 h 245"/>
                <a:gd name="T2" fmla="*/ 23 w 142"/>
                <a:gd name="T3" fmla="*/ 3 h 245"/>
                <a:gd name="T4" fmla="*/ 13 w 142"/>
                <a:gd name="T5" fmla="*/ 7 h 245"/>
                <a:gd name="T6" fmla="*/ 38 w 142"/>
                <a:gd name="T7" fmla="*/ 0 h 245"/>
                <a:gd name="T8" fmla="*/ 39 w 142"/>
                <a:gd name="T9" fmla="*/ 3 h 245"/>
                <a:gd name="T10" fmla="*/ 50 w 142"/>
                <a:gd name="T11" fmla="*/ 1 h 245"/>
                <a:gd name="T12" fmla="*/ 48 w 142"/>
                <a:gd name="T13" fmla="*/ 4 h 245"/>
                <a:gd name="T14" fmla="*/ 67 w 142"/>
                <a:gd name="T15" fmla="*/ 7 h 245"/>
                <a:gd name="T16" fmla="*/ 63 w 142"/>
                <a:gd name="T17" fmla="*/ 10 h 245"/>
                <a:gd name="T18" fmla="*/ 81 w 142"/>
                <a:gd name="T19" fmla="*/ 13 h 245"/>
                <a:gd name="T20" fmla="*/ 77 w 142"/>
                <a:gd name="T21" fmla="*/ 8 h 245"/>
                <a:gd name="T22" fmla="*/ 73 w 142"/>
                <a:gd name="T23" fmla="*/ 10 h 245"/>
                <a:gd name="T24" fmla="*/ 79 w 142"/>
                <a:gd name="T25" fmla="*/ 13 h 245"/>
                <a:gd name="T26" fmla="*/ 92 w 142"/>
                <a:gd name="T27" fmla="*/ 24 h 245"/>
                <a:gd name="T28" fmla="*/ 90 w 142"/>
                <a:gd name="T29" fmla="*/ 26 h 245"/>
                <a:gd name="T30" fmla="*/ 94 w 142"/>
                <a:gd name="T31" fmla="*/ 27 h 245"/>
                <a:gd name="T32" fmla="*/ 105 w 142"/>
                <a:gd name="T33" fmla="*/ 30 h 245"/>
                <a:gd name="T34" fmla="*/ 109 w 142"/>
                <a:gd name="T35" fmla="*/ 35 h 245"/>
                <a:gd name="T36" fmla="*/ 107 w 142"/>
                <a:gd name="T37" fmla="*/ 35 h 245"/>
                <a:gd name="T38" fmla="*/ 112 w 142"/>
                <a:gd name="T39" fmla="*/ 59 h 245"/>
                <a:gd name="T40" fmla="*/ 109 w 142"/>
                <a:gd name="T41" fmla="*/ 49 h 245"/>
                <a:gd name="T42" fmla="*/ 109 w 142"/>
                <a:gd name="T43" fmla="*/ 59 h 245"/>
                <a:gd name="T44" fmla="*/ 106 w 142"/>
                <a:gd name="T45" fmla="*/ 69 h 245"/>
                <a:gd name="T46" fmla="*/ 105 w 142"/>
                <a:gd name="T47" fmla="*/ 68 h 245"/>
                <a:gd name="T48" fmla="*/ 105 w 142"/>
                <a:gd name="T49" fmla="*/ 85 h 245"/>
                <a:gd name="T50" fmla="*/ 103 w 142"/>
                <a:gd name="T51" fmla="*/ 87 h 245"/>
                <a:gd name="T52" fmla="*/ 107 w 142"/>
                <a:gd name="T53" fmla="*/ 95 h 245"/>
                <a:gd name="T54" fmla="*/ 105 w 142"/>
                <a:gd name="T55" fmla="*/ 91 h 245"/>
                <a:gd name="T56" fmla="*/ 105 w 142"/>
                <a:gd name="T57" fmla="*/ 94 h 245"/>
                <a:gd name="T58" fmla="*/ 103 w 142"/>
                <a:gd name="T59" fmla="*/ 116 h 245"/>
                <a:gd name="T60" fmla="*/ 100 w 142"/>
                <a:gd name="T61" fmla="*/ 116 h 245"/>
                <a:gd name="T62" fmla="*/ 105 w 142"/>
                <a:gd name="T63" fmla="*/ 126 h 245"/>
                <a:gd name="T64" fmla="*/ 100 w 142"/>
                <a:gd name="T65" fmla="*/ 121 h 245"/>
                <a:gd name="T66" fmla="*/ 106 w 142"/>
                <a:gd name="T67" fmla="*/ 129 h 245"/>
                <a:gd name="T68" fmla="*/ 118 w 142"/>
                <a:gd name="T69" fmla="*/ 137 h 245"/>
                <a:gd name="T70" fmla="*/ 116 w 142"/>
                <a:gd name="T71" fmla="*/ 139 h 245"/>
                <a:gd name="T72" fmla="*/ 113 w 142"/>
                <a:gd name="T73" fmla="*/ 153 h 245"/>
                <a:gd name="T74" fmla="*/ 116 w 142"/>
                <a:gd name="T75" fmla="*/ 143 h 245"/>
                <a:gd name="T76" fmla="*/ 109 w 142"/>
                <a:gd name="T77" fmla="*/ 165 h 245"/>
                <a:gd name="T78" fmla="*/ 109 w 142"/>
                <a:gd name="T79" fmla="*/ 159 h 245"/>
                <a:gd name="T80" fmla="*/ 106 w 142"/>
                <a:gd name="T81" fmla="*/ 158 h 245"/>
                <a:gd name="T82" fmla="*/ 107 w 142"/>
                <a:gd name="T83" fmla="*/ 166 h 245"/>
                <a:gd name="T84" fmla="*/ 115 w 142"/>
                <a:gd name="T85" fmla="*/ 175 h 245"/>
                <a:gd name="T86" fmla="*/ 110 w 142"/>
                <a:gd name="T87" fmla="*/ 171 h 245"/>
                <a:gd name="T88" fmla="*/ 118 w 142"/>
                <a:gd name="T89" fmla="*/ 178 h 245"/>
                <a:gd name="T90" fmla="*/ 121 w 142"/>
                <a:gd name="T91" fmla="*/ 181 h 245"/>
                <a:gd name="T92" fmla="*/ 126 w 142"/>
                <a:gd name="T93" fmla="*/ 190 h 245"/>
                <a:gd name="T94" fmla="*/ 134 w 142"/>
                <a:gd name="T95" fmla="*/ 197 h 245"/>
                <a:gd name="T96" fmla="*/ 131 w 142"/>
                <a:gd name="T97" fmla="*/ 192 h 245"/>
                <a:gd name="T98" fmla="*/ 134 w 142"/>
                <a:gd name="T99" fmla="*/ 203 h 245"/>
                <a:gd name="T100" fmla="*/ 139 w 142"/>
                <a:gd name="T101" fmla="*/ 210 h 245"/>
                <a:gd name="T102" fmla="*/ 134 w 142"/>
                <a:gd name="T103" fmla="*/ 208 h 245"/>
                <a:gd name="T104" fmla="*/ 142 w 142"/>
                <a:gd name="T105" fmla="*/ 214 h 245"/>
                <a:gd name="T106" fmla="*/ 135 w 142"/>
                <a:gd name="T107" fmla="*/ 219 h 245"/>
                <a:gd name="T108" fmla="*/ 135 w 142"/>
                <a:gd name="T109" fmla="*/ 216 h 245"/>
                <a:gd name="T110" fmla="*/ 128 w 142"/>
                <a:gd name="T111" fmla="*/ 219 h 245"/>
                <a:gd name="T112" fmla="*/ 123 w 142"/>
                <a:gd name="T113" fmla="*/ 220 h 245"/>
                <a:gd name="T114" fmla="*/ 116 w 142"/>
                <a:gd name="T115" fmla="*/ 245 h 245"/>
                <a:gd name="T116" fmla="*/ 118 w 142"/>
                <a:gd name="T117" fmla="*/ 234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2" h="245">
                  <a:moveTo>
                    <a:pt x="9" y="7"/>
                  </a:moveTo>
                  <a:lnTo>
                    <a:pt x="9" y="7"/>
                  </a:lnTo>
                  <a:lnTo>
                    <a:pt x="0" y="13"/>
                  </a:lnTo>
                  <a:lnTo>
                    <a:pt x="0" y="14"/>
                  </a:lnTo>
                  <a:lnTo>
                    <a:pt x="0" y="14"/>
                  </a:lnTo>
                  <a:lnTo>
                    <a:pt x="10" y="8"/>
                  </a:lnTo>
                  <a:lnTo>
                    <a:pt x="9" y="7"/>
                  </a:lnTo>
                  <a:close/>
                  <a:moveTo>
                    <a:pt x="23" y="3"/>
                  </a:moveTo>
                  <a:lnTo>
                    <a:pt x="23" y="3"/>
                  </a:lnTo>
                  <a:lnTo>
                    <a:pt x="13" y="6"/>
                  </a:lnTo>
                  <a:lnTo>
                    <a:pt x="13" y="7"/>
                  </a:lnTo>
                  <a:lnTo>
                    <a:pt x="13" y="7"/>
                  </a:lnTo>
                  <a:lnTo>
                    <a:pt x="23" y="6"/>
                  </a:lnTo>
                  <a:lnTo>
                    <a:pt x="23" y="3"/>
                  </a:lnTo>
                  <a:close/>
                  <a:moveTo>
                    <a:pt x="38" y="0"/>
                  </a:moveTo>
                  <a:lnTo>
                    <a:pt x="38" y="0"/>
                  </a:lnTo>
                  <a:lnTo>
                    <a:pt x="28" y="1"/>
                  </a:lnTo>
                  <a:lnTo>
                    <a:pt x="29" y="4"/>
                  </a:lnTo>
                  <a:lnTo>
                    <a:pt x="29" y="4"/>
                  </a:lnTo>
                  <a:lnTo>
                    <a:pt x="39" y="3"/>
                  </a:lnTo>
                  <a:lnTo>
                    <a:pt x="38" y="0"/>
                  </a:lnTo>
                  <a:close/>
                  <a:moveTo>
                    <a:pt x="54" y="4"/>
                  </a:moveTo>
                  <a:lnTo>
                    <a:pt x="54" y="4"/>
                  </a:lnTo>
                  <a:lnTo>
                    <a:pt x="50" y="1"/>
                  </a:lnTo>
                  <a:lnTo>
                    <a:pt x="44" y="0"/>
                  </a:lnTo>
                  <a:lnTo>
                    <a:pt x="44" y="3"/>
                  </a:lnTo>
                  <a:lnTo>
                    <a:pt x="44" y="3"/>
                  </a:lnTo>
                  <a:lnTo>
                    <a:pt x="48" y="4"/>
                  </a:lnTo>
                  <a:lnTo>
                    <a:pt x="52" y="6"/>
                  </a:lnTo>
                  <a:lnTo>
                    <a:pt x="54" y="4"/>
                  </a:lnTo>
                  <a:close/>
                  <a:moveTo>
                    <a:pt x="67" y="7"/>
                  </a:moveTo>
                  <a:lnTo>
                    <a:pt x="67" y="7"/>
                  </a:lnTo>
                  <a:lnTo>
                    <a:pt x="58" y="6"/>
                  </a:lnTo>
                  <a:lnTo>
                    <a:pt x="57" y="8"/>
                  </a:lnTo>
                  <a:lnTo>
                    <a:pt x="57" y="8"/>
                  </a:lnTo>
                  <a:lnTo>
                    <a:pt x="63" y="10"/>
                  </a:lnTo>
                  <a:lnTo>
                    <a:pt x="67" y="10"/>
                  </a:lnTo>
                  <a:lnTo>
                    <a:pt x="67" y="7"/>
                  </a:lnTo>
                  <a:close/>
                  <a:moveTo>
                    <a:pt x="81" y="13"/>
                  </a:moveTo>
                  <a:lnTo>
                    <a:pt x="81" y="13"/>
                  </a:lnTo>
                  <a:lnTo>
                    <a:pt x="81" y="11"/>
                  </a:lnTo>
                  <a:lnTo>
                    <a:pt x="81" y="11"/>
                  </a:lnTo>
                  <a:lnTo>
                    <a:pt x="80" y="10"/>
                  </a:lnTo>
                  <a:lnTo>
                    <a:pt x="77" y="8"/>
                  </a:lnTo>
                  <a:lnTo>
                    <a:pt x="77" y="8"/>
                  </a:lnTo>
                  <a:lnTo>
                    <a:pt x="73" y="7"/>
                  </a:lnTo>
                  <a:lnTo>
                    <a:pt x="73" y="10"/>
                  </a:lnTo>
                  <a:lnTo>
                    <a:pt x="73" y="10"/>
                  </a:lnTo>
                  <a:lnTo>
                    <a:pt x="77" y="10"/>
                  </a:lnTo>
                  <a:lnTo>
                    <a:pt x="77" y="10"/>
                  </a:lnTo>
                  <a:lnTo>
                    <a:pt x="79" y="13"/>
                  </a:lnTo>
                  <a:lnTo>
                    <a:pt x="79" y="13"/>
                  </a:lnTo>
                  <a:lnTo>
                    <a:pt x="80" y="14"/>
                  </a:lnTo>
                  <a:lnTo>
                    <a:pt x="81" y="13"/>
                  </a:lnTo>
                  <a:close/>
                  <a:moveTo>
                    <a:pt x="92" y="24"/>
                  </a:moveTo>
                  <a:lnTo>
                    <a:pt x="92" y="24"/>
                  </a:lnTo>
                  <a:lnTo>
                    <a:pt x="84" y="17"/>
                  </a:lnTo>
                  <a:lnTo>
                    <a:pt x="83" y="19"/>
                  </a:lnTo>
                  <a:lnTo>
                    <a:pt x="83" y="19"/>
                  </a:lnTo>
                  <a:lnTo>
                    <a:pt x="90" y="26"/>
                  </a:lnTo>
                  <a:lnTo>
                    <a:pt x="92" y="24"/>
                  </a:lnTo>
                  <a:close/>
                  <a:moveTo>
                    <a:pt x="105" y="30"/>
                  </a:moveTo>
                  <a:lnTo>
                    <a:pt x="105" y="30"/>
                  </a:lnTo>
                  <a:lnTo>
                    <a:pt x="94" y="27"/>
                  </a:lnTo>
                  <a:lnTo>
                    <a:pt x="93" y="30"/>
                  </a:lnTo>
                  <a:lnTo>
                    <a:pt x="93" y="30"/>
                  </a:lnTo>
                  <a:lnTo>
                    <a:pt x="103" y="33"/>
                  </a:lnTo>
                  <a:lnTo>
                    <a:pt x="105" y="30"/>
                  </a:lnTo>
                  <a:close/>
                  <a:moveTo>
                    <a:pt x="110" y="45"/>
                  </a:moveTo>
                  <a:lnTo>
                    <a:pt x="110" y="45"/>
                  </a:lnTo>
                  <a:lnTo>
                    <a:pt x="109" y="35"/>
                  </a:lnTo>
                  <a:lnTo>
                    <a:pt x="109" y="35"/>
                  </a:lnTo>
                  <a:lnTo>
                    <a:pt x="109" y="33"/>
                  </a:lnTo>
                  <a:lnTo>
                    <a:pt x="107" y="35"/>
                  </a:lnTo>
                  <a:lnTo>
                    <a:pt x="107" y="35"/>
                  </a:lnTo>
                  <a:lnTo>
                    <a:pt x="107" y="35"/>
                  </a:lnTo>
                  <a:lnTo>
                    <a:pt x="109" y="45"/>
                  </a:lnTo>
                  <a:lnTo>
                    <a:pt x="110" y="45"/>
                  </a:lnTo>
                  <a:close/>
                  <a:moveTo>
                    <a:pt x="112" y="59"/>
                  </a:moveTo>
                  <a:lnTo>
                    <a:pt x="112" y="59"/>
                  </a:lnTo>
                  <a:lnTo>
                    <a:pt x="112" y="58"/>
                  </a:lnTo>
                  <a:lnTo>
                    <a:pt x="112" y="58"/>
                  </a:lnTo>
                  <a:lnTo>
                    <a:pt x="112" y="49"/>
                  </a:lnTo>
                  <a:lnTo>
                    <a:pt x="109" y="49"/>
                  </a:lnTo>
                  <a:lnTo>
                    <a:pt x="109" y="49"/>
                  </a:lnTo>
                  <a:lnTo>
                    <a:pt x="110" y="58"/>
                  </a:lnTo>
                  <a:lnTo>
                    <a:pt x="110" y="58"/>
                  </a:lnTo>
                  <a:lnTo>
                    <a:pt x="109" y="59"/>
                  </a:lnTo>
                  <a:lnTo>
                    <a:pt x="112" y="59"/>
                  </a:lnTo>
                  <a:close/>
                  <a:moveTo>
                    <a:pt x="103" y="72"/>
                  </a:moveTo>
                  <a:lnTo>
                    <a:pt x="103" y="72"/>
                  </a:lnTo>
                  <a:lnTo>
                    <a:pt x="106" y="69"/>
                  </a:lnTo>
                  <a:lnTo>
                    <a:pt x="110" y="65"/>
                  </a:lnTo>
                  <a:lnTo>
                    <a:pt x="107" y="64"/>
                  </a:lnTo>
                  <a:lnTo>
                    <a:pt x="107" y="64"/>
                  </a:lnTo>
                  <a:lnTo>
                    <a:pt x="105" y="68"/>
                  </a:lnTo>
                  <a:lnTo>
                    <a:pt x="102" y="71"/>
                  </a:lnTo>
                  <a:lnTo>
                    <a:pt x="103" y="72"/>
                  </a:lnTo>
                  <a:close/>
                  <a:moveTo>
                    <a:pt x="105" y="85"/>
                  </a:moveTo>
                  <a:lnTo>
                    <a:pt x="105" y="85"/>
                  </a:lnTo>
                  <a:lnTo>
                    <a:pt x="102" y="77"/>
                  </a:lnTo>
                  <a:lnTo>
                    <a:pt x="100" y="77"/>
                  </a:lnTo>
                  <a:lnTo>
                    <a:pt x="100" y="77"/>
                  </a:lnTo>
                  <a:lnTo>
                    <a:pt x="103" y="87"/>
                  </a:lnTo>
                  <a:lnTo>
                    <a:pt x="105" y="85"/>
                  </a:lnTo>
                  <a:close/>
                  <a:moveTo>
                    <a:pt x="106" y="101"/>
                  </a:moveTo>
                  <a:lnTo>
                    <a:pt x="106" y="101"/>
                  </a:lnTo>
                  <a:lnTo>
                    <a:pt x="107" y="95"/>
                  </a:lnTo>
                  <a:lnTo>
                    <a:pt x="107" y="94"/>
                  </a:lnTo>
                  <a:lnTo>
                    <a:pt x="107" y="94"/>
                  </a:lnTo>
                  <a:lnTo>
                    <a:pt x="107" y="91"/>
                  </a:lnTo>
                  <a:lnTo>
                    <a:pt x="105" y="91"/>
                  </a:lnTo>
                  <a:lnTo>
                    <a:pt x="105" y="91"/>
                  </a:lnTo>
                  <a:lnTo>
                    <a:pt x="105" y="94"/>
                  </a:lnTo>
                  <a:lnTo>
                    <a:pt x="105" y="94"/>
                  </a:lnTo>
                  <a:lnTo>
                    <a:pt x="105" y="94"/>
                  </a:lnTo>
                  <a:lnTo>
                    <a:pt x="103" y="100"/>
                  </a:lnTo>
                  <a:lnTo>
                    <a:pt x="106" y="101"/>
                  </a:lnTo>
                  <a:close/>
                  <a:moveTo>
                    <a:pt x="103" y="116"/>
                  </a:moveTo>
                  <a:lnTo>
                    <a:pt x="103" y="116"/>
                  </a:lnTo>
                  <a:lnTo>
                    <a:pt x="105" y="106"/>
                  </a:lnTo>
                  <a:lnTo>
                    <a:pt x="102" y="106"/>
                  </a:lnTo>
                  <a:lnTo>
                    <a:pt x="102" y="106"/>
                  </a:lnTo>
                  <a:lnTo>
                    <a:pt x="100" y="116"/>
                  </a:lnTo>
                  <a:lnTo>
                    <a:pt x="103" y="116"/>
                  </a:lnTo>
                  <a:close/>
                  <a:moveTo>
                    <a:pt x="106" y="129"/>
                  </a:moveTo>
                  <a:lnTo>
                    <a:pt x="106" y="129"/>
                  </a:lnTo>
                  <a:lnTo>
                    <a:pt x="105" y="126"/>
                  </a:lnTo>
                  <a:lnTo>
                    <a:pt x="105" y="126"/>
                  </a:lnTo>
                  <a:lnTo>
                    <a:pt x="103" y="120"/>
                  </a:lnTo>
                  <a:lnTo>
                    <a:pt x="100" y="121"/>
                  </a:lnTo>
                  <a:lnTo>
                    <a:pt x="100" y="121"/>
                  </a:lnTo>
                  <a:lnTo>
                    <a:pt x="103" y="127"/>
                  </a:lnTo>
                  <a:lnTo>
                    <a:pt x="103" y="127"/>
                  </a:lnTo>
                  <a:lnTo>
                    <a:pt x="105" y="130"/>
                  </a:lnTo>
                  <a:lnTo>
                    <a:pt x="106" y="129"/>
                  </a:lnTo>
                  <a:close/>
                  <a:moveTo>
                    <a:pt x="119" y="139"/>
                  </a:moveTo>
                  <a:lnTo>
                    <a:pt x="119" y="139"/>
                  </a:lnTo>
                  <a:lnTo>
                    <a:pt x="118" y="137"/>
                  </a:lnTo>
                  <a:lnTo>
                    <a:pt x="118" y="137"/>
                  </a:lnTo>
                  <a:lnTo>
                    <a:pt x="110" y="133"/>
                  </a:lnTo>
                  <a:lnTo>
                    <a:pt x="109" y="134"/>
                  </a:lnTo>
                  <a:lnTo>
                    <a:pt x="109" y="134"/>
                  </a:lnTo>
                  <a:lnTo>
                    <a:pt x="116" y="139"/>
                  </a:lnTo>
                  <a:lnTo>
                    <a:pt x="116" y="140"/>
                  </a:lnTo>
                  <a:lnTo>
                    <a:pt x="119" y="139"/>
                  </a:lnTo>
                  <a:close/>
                  <a:moveTo>
                    <a:pt x="113" y="153"/>
                  </a:moveTo>
                  <a:lnTo>
                    <a:pt x="113" y="153"/>
                  </a:lnTo>
                  <a:lnTo>
                    <a:pt x="116" y="149"/>
                  </a:lnTo>
                  <a:lnTo>
                    <a:pt x="119" y="145"/>
                  </a:lnTo>
                  <a:lnTo>
                    <a:pt x="116" y="143"/>
                  </a:lnTo>
                  <a:lnTo>
                    <a:pt x="116" y="143"/>
                  </a:lnTo>
                  <a:lnTo>
                    <a:pt x="112" y="152"/>
                  </a:lnTo>
                  <a:lnTo>
                    <a:pt x="113" y="153"/>
                  </a:lnTo>
                  <a:close/>
                  <a:moveTo>
                    <a:pt x="109" y="165"/>
                  </a:moveTo>
                  <a:lnTo>
                    <a:pt x="109" y="165"/>
                  </a:lnTo>
                  <a:lnTo>
                    <a:pt x="107" y="162"/>
                  </a:lnTo>
                  <a:lnTo>
                    <a:pt x="107" y="162"/>
                  </a:lnTo>
                  <a:lnTo>
                    <a:pt x="109" y="159"/>
                  </a:lnTo>
                  <a:lnTo>
                    <a:pt x="109" y="159"/>
                  </a:lnTo>
                  <a:lnTo>
                    <a:pt x="110" y="158"/>
                  </a:lnTo>
                  <a:lnTo>
                    <a:pt x="109" y="156"/>
                  </a:lnTo>
                  <a:lnTo>
                    <a:pt x="109" y="156"/>
                  </a:lnTo>
                  <a:lnTo>
                    <a:pt x="106" y="158"/>
                  </a:lnTo>
                  <a:lnTo>
                    <a:pt x="106" y="158"/>
                  </a:lnTo>
                  <a:lnTo>
                    <a:pt x="106" y="162"/>
                  </a:lnTo>
                  <a:lnTo>
                    <a:pt x="106" y="162"/>
                  </a:lnTo>
                  <a:lnTo>
                    <a:pt x="107" y="166"/>
                  </a:lnTo>
                  <a:lnTo>
                    <a:pt x="109" y="165"/>
                  </a:lnTo>
                  <a:close/>
                  <a:moveTo>
                    <a:pt x="118" y="178"/>
                  </a:moveTo>
                  <a:lnTo>
                    <a:pt x="118" y="178"/>
                  </a:lnTo>
                  <a:lnTo>
                    <a:pt x="115" y="175"/>
                  </a:lnTo>
                  <a:lnTo>
                    <a:pt x="115" y="175"/>
                  </a:lnTo>
                  <a:lnTo>
                    <a:pt x="112" y="169"/>
                  </a:lnTo>
                  <a:lnTo>
                    <a:pt x="110" y="171"/>
                  </a:lnTo>
                  <a:lnTo>
                    <a:pt x="110" y="171"/>
                  </a:lnTo>
                  <a:lnTo>
                    <a:pt x="112" y="175"/>
                  </a:lnTo>
                  <a:lnTo>
                    <a:pt x="112" y="175"/>
                  </a:lnTo>
                  <a:lnTo>
                    <a:pt x="115" y="179"/>
                  </a:lnTo>
                  <a:lnTo>
                    <a:pt x="118" y="178"/>
                  </a:lnTo>
                  <a:close/>
                  <a:moveTo>
                    <a:pt x="128" y="188"/>
                  </a:moveTo>
                  <a:lnTo>
                    <a:pt x="128" y="188"/>
                  </a:lnTo>
                  <a:lnTo>
                    <a:pt x="128" y="188"/>
                  </a:lnTo>
                  <a:lnTo>
                    <a:pt x="121" y="181"/>
                  </a:lnTo>
                  <a:lnTo>
                    <a:pt x="119" y="184"/>
                  </a:lnTo>
                  <a:lnTo>
                    <a:pt x="119" y="184"/>
                  </a:lnTo>
                  <a:lnTo>
                    <a:pt x="126" y="190"/>
                  </a:lnTo>
                  <a:lnTo>
                    <a:pt x="126" y="190"/>
                  </a:lnTo>
                  <a:lnTo>
                    <a:pt x="128" y="188"/>
                  </a:lnTo>
                  <a:close/>
                  <a:moveTo>
                    <a:pt x="134" y="203"/>
                  </a:moveTo>
                  <a:lnTo>
                    <a:pt x="134" y="203"/>
                  </a:lnTo>
                  <a:lnTo>
                    <a:pt x="134" y="197"/>
                  </a:lnTo>
                  <a:lnTo>
                    <a:pt x="134" y="197"/>
                  </a:lnTo>
                  <a:lnTo>
                    <a:pt x="132" y="191"/>
                  </a:lnTo>
                  <a:lnTo>
                    <a:pt x="131" y="192"/>
                  </a:lnTo>
                  <a:lnTo>
                    <a:pt x="131" y="192"/>
                  </a:lnTo>
                  <a:lnTo>
                    <a:pt x="132" y="197"/>
                  </a:lnTo>
                  <a:lnTo>
                    <a:pt x="132" y="197"/>
                  </a:lnTo>
                  <a:lnTo>
                    <a:pt x="132" y="203"/>
                  </a:lnTo>
                  <a:lnTo>
                    <a:pt x="134" y="203"/>
                  </a:lnTo>
                  <a:close/>
                  <a:moveTo>
                    <a:pt x="142" y="214"/>
                  </a:moveTo>
                  <a:lnTo>
                    <a:pt x="142" y="214"/>
                  </a:lnTo>
                  <a:lnTo>
                    <a:pt x="141" y="211"/>
                  </a:lnTo>
                  <a:lnTo>
                    <a:pt x="139" y="210"/>
                  </a:lnTo>
                  <a:lnTo>
                    <a:pt x="139" y="210"/>
                  </a:lnTo>
                  <a:lnTo>
                    <a:pt x="135" y="207"/>
                  </a:lnTo>
                  <a:lnTo>
                    <a:pt x="134" y="208"/>
                  </a:lnTo>
                  <a:lnTo>
                    <a:pt x="134" y="208"/>
                  </a:lnTo>
                  <a:lnTo>
                    <a:pt x="138" y="213"/>
                  </a:lnTo>
                  <a:lnTo>
                    <a:pt x="138" y="213"/>
                  </a:lnTo>
                  <a:lnTo>
                    <a:pt x="139" y="214"/>
                  </a:lnTo>
                  <a:lnTo>
                    <a:pt x="142" y="214"/>
                  </a:lnTo>
                  <a:close/>
                  <a:moveTo>
                    <a:pt x="128" y="219"/>
                  </a:moveTo>
                  <a:lnTo>
                    <a:pt x="128" y="219"/>
                  </a:lnTo>
                  <a:lnTo>
                    <a:pt x="135" y="219"/>
                  </a:lnTo>
                  <a:lnTo>
                    <a:pt x="135" y="219"/>
                  </a:lnTo>
                  <a:lnTo>
                    <a:pt x="138" y="219"/>
                  </a:lnTo>
                  <a:lnTo>
                    <a:pt x="138" y="216"/>
                  </a:lnTo>
                  <a:lnTo>
                    <a:pt x="138" y="216"/>
                  </a:lnTo>
                  <a:lnTo>
                    <a:pt x="135" y="216"/>
                  </a:lnTo>
                  <a:lnTo>
                    <a:pt x="135" y="216"/>
                  </a:lnTo>
                  <a:lnTo>
                    <a:pt x="131" y="216"/>
                  </a:lnTo>
                  <a:lnTo>
                    <a:pt x="128" y="217"/>
                  </a:lnTo>
                  <a:lnTo>
                    <a:pt x="128" y="219"/>
                  </a:lnTo>
                  <a:close/>
                  <a:moveTo>
                    <a:pt x="121" y="230"/>
                  </a:moveTo>
                  <a:lnTo>
                    <a:pt x="121" y="230"/>
                  </a:lnTo>
                  <a:lnTo>
                    <a:pt x="125" y="221"/>
                  </a:lnTo>
                  <a:lnTo>
                    <a:pt x="123" y="220"/>
                  </a:lnTo>
                  <a:lnTo>
                    <a:pt x="123" y="220"/>
                  </a:lnTo>
                  <a:lnTo>
                    <a:pt x="119" y="230"/>
                  </a:lnTo>
                  <a:lnTo>
                    <a:pt x="121" y="230"/>
                  </a:lnTo>
                  <a:close/>
                  <a:moveTo>
                    <a:pt x="116" y="245"/>
                  </a:moveTo>
                  <a:lnTo>
                    <a:pt x="116" y="245"/>
                  </a:lnTo>
                  <a:lnTo>
                    <a:pt x="119" y="236"/>
                  </a:lnTo>
                  <a:lnTo>
                    <a:pt x="118" y="234"/>
                  </a:lnTo>
                  <a:lnTo>
                    <a:pt x="118" y="234"/>
                  </a:lnTo>
                  <a:lnTo>
                    <a:pt x="115" y="245"/>
                  </a:lnTo>
                  <a:lnTo>
                    <a:pt x="116" y="2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54" name="Freeform 1717"/>
            <p:cNvSpPr>
              <a:spLocks noEditPoints="1"/>
            </p:cNvSpPr>
            <p:nvPr/>
          </p:nvSpPr>
          <p:spPr bwMode="auto">
            <a:xfrm>
              <a:off x="5745163" y="3459591"/>
              <a:ext cx="66675" cy="161925"/>
            </a:xfrm>
            <a:custGeom>
              <a:avLst/>
              <a:gdLst>
                <a:gd name="T0" fmla="*/ 2 w 42"/>
                <a:gd name="T1" fmla="*/ 94 h 102"/>
                <a:gd name="T2" fmla="*/ 2 w 42"/>
                <a:gd name="T3" fmla="*/ 102 h 102"/>
                <a:gd name="T4" fmla="*/ 5 w 42"/>
                <a:gd name="T5" fmla="*/ 102 h 102"/>
                <a:gd name="T6" fmla="*/ 5 w 42"/>
                <a:gd name="T7" fmla="*/ 94 h 102"/>
                <a:gd name="T8" fmla="*/ 2 w 42"/>
                <a:gd name="T9" fmla="*/ 94 h 102"/>
                <a:gd name="T10" fmla="*/ 2 w 42"/>
                <a:gd name="T11" fmla="*/ 79 h 102"/>
                <a:gd name="T12" fmla="*/ 2 w 42"/>
                <a:gd name="T13" fmla="*/ 89 h 102"/>
                <a:gd name="T14" fmla="*/ 5 w 42"/>
                <a:gd name="T15" fmla="*/ 89 h 102"/>
                <a:gd name="T16" fmla="*/ 5 w 42"/>
                <a:gd name="T17" fmla="*/ 79 h 102"/>
                <a:gd name="T18" fmla="*/ 2 w 42"/>
                <a:gd name="T19" fmla="*/ 79 h 102"/>
                <a:gd name="T20" fmla="*/ 2 w 42"/>
                <a:gd name="T21" fmla="*/ 63 h 102"/>
                <a:gd name="T22" fmla="*/ 2 w 42"/>
                <a:gd name="T23" fmla="*/ 73 h 102"/>
                <a:gd name="T24" fmla="*/ 5 w 42"/>
                <a:gd name="T25" fmla="*/ 73 h 102"/>
                <a:gd name="T26" fmla="*/ 5 w 42"/>
                <a:gd name="T27" fmla="*/ 63 h 102"/>
                <a:gd name="T28" fmla="*/ 2 w 42"/>
                <a:gd name="T29" fmla="*/ 63 h 102"/>
                <a:gd name="T30" fmla="*/ 2 w 42"/>
                <a:gd name="T31" fmla="*/ 49 h 102"/>
                <a:gd name="T32" fmla="*/ 2 w 42"/>
                <a:gd name="T33" fmla="*/ 59 h 102"/>
                <a:gd name="T34" fmla="*/ 5 w 42"/>
                <a:gd name="T35" fmla="*/ 59 h 102"/>
                <a:gd name="T36" fmla="*/ 5 w 42"/>
                <a:gd name="T37" fmla="*/ 49 h 102"/>
                <a:gd name="T38" fmla="*/ 2 w 42"/>
                <a:gd name="T39" fmla="*/ 49 h 102"/>
                <a:gd name="T40" fmla="*/ 2 w 42"/>
                <a:gd name="T41" fmla="*/ 33 h 102"/>
                <a:gd name="T42" fmla="*/ 2 w 42"/>
                <a:gd name="T43" fmla="*/ 43 h 102"/>
                <a:gd name="T44" fmla="*/ 3 w 42"/>
                <a:gd name="T45" fmla="*/ 43 h 102"/>
                <a:gd name="T46" fmla="*/ 3 w 42"/>
                <a:gd name="T47" fmla="*/ 33 h 102"/>
                <a:gd name="T48" fmla="*/ 2 w 42"/>
                <a:gd name="T49" fmla="*/ 33 h 102"/>
                <a:gd name="T50" fmla="*/ 0 w 42"/>
                <a:gd name="T51" fmla="*/ 18 h 102"/>
                <a:gd name="T52" fmla="*/ 2 w 42"/>
                <a:gd name="T53" fmla="*/ 29 h 102"/>
                <a:gd name="T54" fmla="*/ 3 w 42"/>
                <a:gd name="T55" fmla="*/ 29 h 102"/>
                <a:gd name="T56" fmla="*/ 3 w 42"/>
                <a:gd name="T57" fmla="*/ 18 h 102"/>
                <a:gd name="T58" fmla="*/ 0 w 42"/>
                <a:gd name="T59" fmla="*/ 18 h 102"/>
                <a:gd name="T60" fmla="*/ 12 w 42"/>
                <a:gd name="T61" fmla="*/ 8 h 102"/>
                <a:gd name="T62" fmla="*/ 2 w 42"/>
                <a:gd name="T63" fmla="*/ 13 h 102"/>
                <a:gd name="T64" fmla="*/ 3 w 42"/>
                <a:gd name="T65" fmla="*/ 14 h 102"/>
                <a:gd name="T66" fmla="*/ 13 w 42"/>
                <a:gd name="T67" fmla="*/ 11 h 102"/>
                <a:gd name="T68" fmla="*/ 12 w 42"/>
                <a:gd name="T69" fmla="*/ 8 h 102"/>
                <a:gd name="T70" fmla="*/ 26 w 42"/>
                <a:gd name="T71" fmla="*/ 4 h 102"/>
                <a:gd name="T72" fmla="*/ 16 w 42"/>
                <a:gd name="T73" fmla="*/ 7 h 102"/>
                <a:gd name="T74" fmla="*/ 18 w 42"/>
                <a:gd name="T75" fmla="*/ 10 h 102"/>
                <a:gd name="T76" fmla="*/ 28 w 42"/>
                <a:gd name="T77" fmla="*/ 7 h 102"/>
                <a:gd name="T78" fmla="*/ 26 w 42"/>
                <a:gd name="T79" fmla="*/ 4 h 102"/>
                <a:gd name="T80" fmla="*/ 41 w 42"/>
                <a:gd name="T81" fmla="*/ 0 h 102"/>
                <a:gd name="T82" fmla="*/ 31 w 42"/>
                <a:gd name="T83" fmla="*/ 2 h 102"/>
                <a:gd name="T84" fmla="*/ 32 w 42"/>
                <a:gd name="T85" fmla="*/ 5 h 102"/>
                <a:gd name="T86" fmla="*/ 42 w 42"/>
                <a:gd name="T87" fmla="*/ 2 h 102"/>
                <a:gd name="T88" fmla="*/ 41 w 42"/>
                <a:gd name="T8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 h="102">
                  <a:moveTo>
                    <a:pt x="2" y="94"/>
                  </a:moveTo>
                  <a:lnTo>
                    <a:pt x="2" y="102"/>
                  </a:lnTo>
                  <a:lnTo>
                    <a:pt x="5" y="102"/>
                  </a:lnTo>
                  <a:lnTo>
                    <a:pt x="5" y="94"/>
                  </a:lnTo>
                  <a:lnTo>
                    <a:pt x="2" y="94"/>
                  </a:lnTo>
                  <a:close/>
                  <a:moveTo>
                    <a:pt x="2" y="79"/>
                  </a:moveTo>
                  <a:lnTo>
                    <a:pt x="2" y="89"/>
                  </a:lnTo>
                  <a:lnTo>
                    <a:pt x="5" y="89"/>
                  </a:lnTo>
                  <a:lnTo>
                    <a:pt x="5" y="79"/>
                  </a:lnTo>
                  <a:lnTo>
                    <a:pt x="2" y="79"/>
                  </a:lnTo>
                  <a:close/>
                  <a:moveTo>
                    <a:pt x="2" y="63"/>
                  </a:moveTo>
                  <a:lnTo>
                    <a:pt x="2" y="73"/>
                  </a:lnTo>
                  <a:lnTo>
                    <a:pt x="5" y="73"/>
                  </a:lnTo>
                  <a:lnTo>
                    <a:pt x="5" y="63"/>
                  </a:lnTo>
                  <a:lnTo>
                    <a:pt x="2" y="63"/>
                  </a:lnTo>
                  <a:close/>
                  <a:moveTo>
                    <a:pt x="2" y="49"/>
                  </a:moveTo>
                  <a:lnTo>
                    <a:pt x="2" y="59"/>
                  </a:lnTo>
                  <a:lnTo>
                    <a:pt x="5" y="59"/>
                  </a:lnTo>
                  <a:lnTo>
                    <a:pt x="5" y="49"/>
                  </a:lnTo>
                  <a:lnTo>
                    <a:pt x="2" y="49"/>
                  </a:lnTo>
                  <a:close/>
                  <a:moveTo>
                    <a:pt x="2" y="33"/>
                  </a:moveTo>
                  <a:lnTo>
                    <a:pt x="2" y="43"/>
                  </a:lnTo>
                  <a:lnTo>
                    <a:pt x="3" y="43"/>
                  </a:lnTo>
                  <a:lnTo>
                    <a:pt x="3" y="33"/>
                  </a:lnTo>
                  <a:lnTo>
                    <a:pt x="2" y="33"/>
                  </a:lnTo>
                  <a:close/>
                  <a:moveTo>
                    <a:pt x="0" y="18"/>
                  </a:moveTo>
                  <a:lnTo>
                    <a:pt x="2" y="29"/>
                  </a:lnTo>
                  <a:lnTo>
                    <a:pt x="3" y="29"/>
                  </a:lnTo>
                  <a:lnTo>
                    <a:pt x="3" y="18"/>
                  </a:lnTo>
                  <a:lnTo>
                    <a:pt x="0" y="18"/>
                  </a:lnTo>
                  <a:close/>
                  <a:moveTo>
                    <a:pt x="12" y="8"/>
                  </a:moveTo>
                  <a:lnTo>
                    <a:pt x="2" y="13"/>
                  </a:lnTo>
                  <a:lnTo>
                    <a:pt x="3" y="14"/>
                  </a:lnTo>
                  <a:lnTo>
                    <a:pt x="13" y="11"/>
                  </a:lnTo>
                  <a:lnTo>
                    <a:pt x="12" y="8"/>
                  </a:lnTo>
                  <a:close/>
                  <a:moveTo>
                    <a:pt x="26" y="4"/>
                  </a:moveTo>
                  <a:lnTo>
                    <a:pt x="16" y="7"/>
                  </a:lnTo>
                  <a:lnTo>
                    <a:pt x="18" y="10"/>
                  </a:lnTo>
                  <a:lnTo>
                    <a:pt x="28" y="7"/>
                  </a:lnTo>
                  <a:lnTo>
                    <a:pt x="26" y="4"/>
                  </a:lnTo>
                  <a:close/>
                  <a:moveTo>
                    <a:pt x="41" y="0"/>
                  </a:moveTo>
                  <a:lnTo>
                    <a:pt x="31" y="2"/>
                  </a:lnTo>
                  <a:lnTo>
                    <a:pt x="32" y="5"/>
                  </a:lnTo>
                  <a:lnTo>
                    <a:pt x="42" y="2"/>
                  </a:lnTo>
                  <a:lnTo>
                    <a:pt x="4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55" name="Freeform 1718"/>
            <p:cNvSpPr>
              <a:spLocks noEditPoints="1"/>
            </p:cNvSpPr>
            <p:nvPr/>
          </p:nvSpPr>
          <p:spPr bwMode="auto">
            <a:xfrm>
              <a:off x="5695951" y="3562779"/>
              <a:ext cx="311150" cy="246063"/>
            </a:xfrm>
            <a:custGeom>
              <a:avLst/>
              <a:gdLst>
                <a:gd name="T0" fmla="*/ 118 w 196"/>
                <a:gd name="T1" fmla="*/ 150 h 155"/>
                <a:gd name="T2" fmla="*/ 143 w 196"/>
                <a:gd name="T3" fmla="*/ 152 h 155"/>
                <a:gd name="T4" fmla="*/ 139 w 196"/>
                <a:gd name="T5" fmla="*/ 153 h 155"/>
                <a:gd name="T6" fmla="*/ 133 w 196"/>
                <a:gd name="T7" fmla="*/ 155 h 155"/>
                <a:gd name="T8" fmla="*/ 139 w 196"/>
                <a:gd name="T9" fmla="*/ 155 h 155"/>
                <a:gd name="T10" fmla="*/ 143 w 196"/>
                <a:gd name="T11" fmla="*/ 152 h 155"/>
                <a:gd name="T12" fmla="*/ 146 w 196"/>
                <a:gd name="T13" fmla="*/ 147 h 155"/>
                <a:gd name="T14" fmla="*/ 147 w 196"/>
                <a:gd name="T15" fmla="*/ 149 h 155"/>
                <a:gd name="T16" fmla="*/ 166 w 196"/>
                <a:gd name="T17" fmla="*/ 133 h 155"/>
                <a:gd name="T18" fmla="*/ 168 w 196"/>
                <a:gd name="T19" fmla="*/ 136 h 155"/>
                <a:gd name="T20" fmla="*/ 169 w 196"/>
                <a:gd name="T21" fmla="*/ 130 h 155"/>
                <a:gd name="T22" fmla="*/ 172 w 196"/>
                <a:gd name="T23" fmla="*/ 120 h 155"/>
                <a:gd name="T24" fmla="*/ 175 w 196"/>
                <a:gd name="T25" fmla="*/ 116 h 155"/>
                <a:gd name="T26" fmla="*/ 185 w 196"/>
                <a:gd name="T27" fmla="*/ 114 h 155"/>
                <a:gd name="T28" fmla="*/ 194 w 196"/>
                <a:gd name="T29" fmla="*/ 110 h 155"/>
                <a:gd name="T30" fmla="*/ 192 w 196"/>
                <a:gd name="T31" fmla="*/ 111 h 155"/>
                <a:gd name="T32" fmla="*/ 194 w 196"/>
                <a:gd name="T33" fmla="*/ 114 h 155"/>
                <a:gd name="T34" fmla="*/ 196 w 196"/>
                <a:gd name="T35" fmla="*/ 110 h 155"/>
                <a:gd name="T36" fmla="*/ 185 w 196"/>
                <a:gd name="T37" fmla="*/ 95 h 155"/>
                <a:gd name="T38" fmla="*/ 191 w 196"/>
                <a:gd name="T39" fmla="*/ 103 h 155"/>
                <a:gd name="T40" fmla="*/ 192 w 196"/>
                <a:gd name="T41" fmla="*/ 98 h 155"/>
                <a:gd name="T42" fmla="*/ 172 w 196"/>
                <a:gd name="T43" fmla="*/ 88 h 155"/>
                <a:gd name="T44" fmla="*/ 172 w 196"/>
                <a:gd name="T45" fmla="*/ 85 h 155"/>
                <a:gd name="T46" fmla="*/ 157 w 196"/>
                <a:gd name="T47" fmla="*/ 81 h 155"/>
                <a:gd name="T48" fmla="*/ 159 w 196"/>
                <a:gd name="T49" fmla="*/ 79 h 155"/>
                <a:gd name="T50" fmla="*/ 143 w 196"/>
                <a:gd name="T51" fmla="*/ 77 h 155"/>
                <a:gd name="T52" fmla="*/ 144 w 196"/>
                <a:gd name="T53" fmla="*/ 75 h 155"/>
                <a:gd name="T54" fmla="*/ 133 w 196"/>
                <a:gd name="T55" fmla="*/ 72 h 155"/>
                <a:gd name="T56" fmla="*/ 139 w 196"/>
                <a:gd name="T57" fmla="*/ 74 h 155"/>
                <a:gd name="T58" fmla="*/ 136 w 196"/>
                <a:gd name="T59" fmla="*/ 71 h 155"/>
                <a:gd name="T60" fmla="*/ 124 w 196"/>
                <a:gd name="T61" fmla="*/ 53 h 155"/>
                <a:gd name="T62" fmla="*/ 127 w 196"/>
                <a:gd name="T63" fmla="*/ 52 h 155"/>
                <a:gd name="T64" fmla="*/ 121 w 196"/>
                <a:gd name="T65" fmla="*/ 49 h 155"/>
                <a:gd name="T66" fmla="*/ 124 w 196"/>
                <a:gd name="T67" fmla="*/ 48 h 155"/>
                <a:gd name="T68" fmla="*/ 105 w 196"/>
                <a:gd name="T69" fmla="*/ 33 h 155"/>
                <a:gd name="T70" fmla="*/ 114 w 196"/>
                <a:gd name="T71" fmla="*/ 37 h 155"/>
                <a:gd name="T72" fmla="*/ 94 w 196"/>
                <a:gd name="T73" fmla="*/ 20 h 155"/>
                <a:gd name="T74" fmla="*/ 102 w 196"/>
                <a:gd name="T75" fmla="*/ 27 h 155"/>
                <a:gd name="T76" fmla="*/ 85 w 196"/>
                <a:gd name="T77" fmla="*/ 8 h 155"/>
                <a:gd name="T78" fmla="*/ 86 w 196"/>
                <a:gd name="T79" fmla="*/ 7 h 155"/>
                <a:gd name="T80" fmla="*/ 78 w 196"/>
                <a:gd name="T81" fmla="*/ 1 h 155"/>
                <a:gd name="T82" fmla="*/ 82 w 196"/>
                <a:gd name="T83" fmla="*/ 4 h 155"/>
                <a:gd name="T84" fmla="*/ 82 w 196"/>
                <a:gd name="T85" fmla="*/ 1 h 155"/>
                <a:gd name="T86" fmla="*/ 73 w 196"/>
                <a:gd name="T87" fmla="*/ 0 h 155"/>
                <a:gd name="T88" fmla="*/ 68 w 196"/>
                <a:gd name="T89" fmla="*/ 7 h 155"/>
                <a:gd name="T90" fmla="*/ 69 w 196"/>
                <a:gd name="T91" fmla="*/ 3 h 155"/>
                <a:gd name="T92" fmla="*/ 63 w 196"/>
                <a:gd name="T93" fmla="*/ 11 h 155"/>
                <a:gd name="T94" fmla="*/ 59 w 196"/>
                <a:gd name="T95" fmla="*/ 16 h 155"/>
                <a:gd name="T96" fmla="*/ 50 w 196"/>
                <a:gd name="T97" fmla="*/ 21 h 155"/>
                <a:gd name="T98" fmla="*/ 50 w 196"/>
                <a:gd name="T99" fmla="*/ 32 h 155"/>
                <a:gd name="T100" fmla="*/ 46 w 196"/>
                <a:gd name="T101" fmla="*/ 36 h 155"/>
                <a:gd name="T102" fmla="*/ 37 w 196"/>
                <a:gd name="T103" fmla="*/ 40 h 155"/>
                <a:gd name="T104" fmla="*/ 43 w 196"/>
                <a:gd name="T105" fmla="*/ 39 h 155"/>
                <a:gd name="T106" fmla="*/ 20 w 196"/>
                <a:gd name="T107" fmla="*/ 30 h 155"/>
                <a:gd name="T108" fmla="*/ 23 w 196"/>
                <a:gd name="T109" fmla="*/ 33 h 155"/>
                <a:gd name="T110" fmla="*/ 24 w 196"/>
                <a:gd name="T111" fmla="*/ 30 h 155"/>
                <a:gd name="T112" fmla="*/ 20 w 196"/>
                <a:gd name="T113" fmla="*/ 30 h 155"/>
                <a:gd name="T114" fmla="*/ 18 w 196"/>
                <a:gd name="T115" fmla="*/ 24 h 155"/>
                <a:gd name="T116" fmla="*/ 1 w 196"/>
                <a:gd name="T117" fmla="*/ 14 h 155"/>
                <a:gd name="T118" fmla="*/ 4 w 196"/>
                <a:gd name="T119" fmla="*/ 11 h 155"/>
                <a:gd name="T120" fmla="*/ 7 w 196"/>
                <a:gd name="T121" fmla="*/ 10 h 155"/>
                <a:gd name="T122" fmla="*/ 1 w 196"/>
                <a:gd name="T123" fmla="*/ 1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6" h="155">
                  <a:moveTo>
                    <a:pt x="128" y="152"/>
                  </a:moveTo>
                  <a:lnTo>
                    <a:pt x="128" y="152"/>
                  </a:lnTo>
                  <a:lnTo>
                    <a:pt x="120" y="147"/>
                  </a:lnTo>
                  <a:lnTo>
                    <a:pt x="118" y="150"/>
                  </a:lnTo>
                  <a:lnTo>
                    <a:pt x="118" y="150"/>
                  </a:lnTo>
                  <a:lnTo>
                    <a:pt x="128" y="153"/>
                  </a:lnTo>
                  <a:lnTo>
                    <a:pt x="128" y="152"/>
                  </a:lnTo>
                  <a:close/>
                  <a:moveTo>
                    <a:pt x="143" y="152"/>
                  </a:moveTo>
                  <a:lnTo>
                    <a:pt x="143" y="152"/>
                  </a:lnTo>
                  <a:lnTo>
                    <a:pt x="140" y="152"/>
                  </a:lnTo>
                  <a:lnTo>
                    <a:pt x="139" y="153"/>
                  </a:lnTo>
                  <a:lnTo>
                    <a:pt x="139" y="153"/>
                  </a:lnTo>
                  <a:lnTo>
                    <a:pt x="136" y="153"/>
                  </a:lnTo>
                  <a:lnTo>
                    <a:pt x="136" y="153"/>
                  </a:lnTo>
                  <a:lnTo>
                    <a:pt x="134" y="152"/>
                  </a:lnTo>
                  <a:lnTo>
                    <a:pt x="133" y="155"/>
                  </a:lnTo>
                  <a:lnTo>
                    <a:pt x="133" y="155"/>
                  </a:lnTo>
                  <a:lnTo>
                    <a:pt x="136" y="155"/>
                  </a:lnTo>
                  <a:lnTo>
                    <a:pt x="136" y="155"/>
                  </a:lnTo>
                  <a:lnTo>
                    <a:pt x="139" y="155"/>
                  </a:lnTo>
                  <a:lnTo>
                    <a:pt x="139" y="155"/>
                  </a:lnTo>
                  <a:lnTo>
                    <a:pt x="141" y="155"/>
                  </a:lnTo>
                  <a:lnTo>
                    <a:pt x="144" y="153"/>
                  </a:lnTo>
                  <a:lnTo>
                    <a:pt x="143" y="152"/>
                  </a:lnTo>
                  <a:close/>
                  <a:moveTo>
                    <a:pt x="153" y="142"/>
                  </a:moveTo>
                  <a:lnTo>
                    <a:pt x="153" y="142"/>
                  </a:lnTo>
                  <a:lnTo>
                    <a:pt x="149" y="145"/>
                  </a:lnTo>
                  <a:lnTo>
                    <a:pt x="146" y="147"/>
                  </a:lnTo>
                  <a:lnTo>
                    <a:pt x="146" y="147"/>
                  </a:lnTo>
                  <a:lnTo>
                    <a:pt x="147" y="149"/>
                  </a:lnTo>
                  <a:lnTo>
                    <a:pt x="147" y="149"/>
                  </a:lnTo>
                  <a:lnTo>
                    <a:pt x="147" y="149"/>
                  </a:lnTo>
                  <a:lnTo>
                    <a:pt x="154" y="143"/>
                  </a:lnTo>
                  <a:lnTo>
                    <a:pt x="153" y="142"/>
                  </a:lnTo>
                  <a:close/>
                  <a:moveTo>
                    <a:pt x="166" y="133"/>
                  </a:moveTo>
                  <a:lnTo>
                    <a:pt x="166" y="133"/>
                  </a:lnTo>
                  <a:lnTo>
                    <a:pt x="157" y="139"/>
                  </a:lnTo>
                  <a:lnTo>
                    <a:pt x="159" y="140"/>
                  </a:lnTo>
                  <a:lnTo>
                    <a:pt x="159" y="140"/>
                  </a:lnTo>
                  <a:lnTo>
                    <a:pt x="168" y="136"/>
                  </a:lnTo>
                  <a:lnTo>
                    <a:pt x="166" y="133"/>
                  </a:lnTo>
                  <a:close/>
                  <a:moveTo>
                    <a:pt x="172" y="120"/>
                  </a:moveTo>
                  <a:lnTo>
                    <a:pt x="172" y="120"/>
                  </a:lnTo>
                  <a:lnTo>
                    <a:pt x="169" y="130"/>
                  </a:lnTo>
                  <a:lnTo>
                    <a:pt x="170" y="130"/>
                  </a:lnTo>
                  <a:lnTo>
                    <a:pt x="170" y="130"/>
                  </a:lnTo>
                  <a:lnTo>
                    <a:pt x="173" y="121"/>
                  </a:lnTo>
                  <a:lnTo>
                    <a:pt x="172" y="120"/>
                  </a:lnTo>
                  <a:close/>
                  <a:moveTo>
                    <a:pt x="185" y="113"/>
                  </a:moveTo>
                  <a:lnTo>
                    <a:pt x="185" y="113"/>
                  </a:lnTo>
                  <a:lnTo>
                    <a:pt x="181" y="113"/>
                  </a:lnTo>
                  <a:lnTo>
                    <a:pt x="175" y="116"/>
                  </a:lnTo>
                  <a:lnTo>
                    <a:pt x="176" y="117"/>
                  </a:lnTo>
                  <a:lnTo>
                    <a:pt x="176" y="117"/>
                  </a:lnTo>
                  <a:lnTo>
                    <a:pt x="181" y="116"/>
                  </a:lnTo>
                  <a:lnTo>
                    <a:pt x="185" y="114"/>
                  </a:lnTo>
                  <a:lnTo>
                    <a:pt x="185" y="113"/>
                  </a:lnTo>
                  <a:close/>
                  <a:moveTo>
                    <a:pt x="194" y="107"/>
                  </a:moveTo>
                  <a:lnTo>
                    <a:pt x="194" y="107"/>
                  </a:lnTo>
                  <a:lnTo>
                    <a:pt x="194" y="110"/>
                  </a:lnTo>
                  <a:lnTo>
                    <a:pt x="194" y="110"/>
                  </a:lnTo>
                  <a:lnTo>
                    <a:pt x="194" y="111"/>
                  </a:lnTo>
                  <a:lnTo>
                    <a:pt x="192" y="111"/>
                  </a:lnTo>
                  <a:lnTo>
                    <a:pt x="192" y="111"/>
                  </a:lnTo>
                  <a:lnTo>
                    <a:pt x="191" y="111"/>
                  </a:lnTo>
                  <a:lnTo>
                    <a:pt x="191" y="114"/>
                  </a:lnTo>
                  <a:lnTo>
                    <a:pt x="191" y="114"/>
                  </a:lnTo>
                  <a:lnTo>
                    <a:pt x="194" y="114"/>
                  </a:lnTo>
                  <a:lnTo>
                    <a:pt x="194" y="114"/>
                  </a:lnTo>
                  <a:lnTo>
                    <a:pt x="195" y="113"/>
                  </a:lnTo>
                  <a:lnTo>
                    <a:pt x="195" y="113"/>
                  </a:lnTo>
                  <a:lnTo>
                    <a:pt x="196" y="110"/>
                  </a:lnTo>
                  <a:lnTo>
                    <a:pt x="196" y="110"/>
                  </a:lnTo>
                  <a:lnTo>
                    <a:pt x="195" y="105"/>
                  </a:lnTo>
                  <a:lnTo>
                    <a:pt x="194" y="107"/>
                  </a:lnTo>
                  <a:close/>
                  <a:moveTo>
                    <a:pt x="185" y="95"/>
                  </a:moveTo>
                  <a:lnTo>
                    <a:pt x="185" y="95"/>
                  </a:lnTo>
                  <a:lnTo>
                    <a:pt x="189" y="100"/>
                  </a:lnTo>
                  <a:lnTo>
                    <a:pt x="189" y="100"/>
                  </a:lnTo>
                  <a:lnTo>
                    <a:pt x="191" y="103"/>
                  </a:lnTo>
                  <a:lnTo>
                    <a:pt x="194" y="101"/>
                  </a:lnTo>
                  <a:lnTo>
                    <a:pt x="194" y="101"/>
                  </a:lnTo>
                  <a:lnTo>
                    <a:pt x="192" y="98"/>
                  </a:lnTo>
                  <a:lnTo>
                    <a:pt x="192" y="98"/>
                  </a:lnTo>
                  <a:lnTo>
                    <a:pt x="186" y="94"/>
                  </a:lnTo>
                  <a:lnTo>
                    <a:pt x="185" y="95"/>
                  </a:lnTo>
                  <a:close/>
                  <a:moveTo>
                    <a:pt x="172" y="88"/>
                  </a:moveTo>
                  <a:lnTo>
                    <a:pt x="172" y="88"/>
                  </a:lnTo>
                  <a:lnTo>
                    <a:pt x="181" y="92"/>
                  </a:lnTo>
                  <a:lnTo>
                    <a:pt x="182" y="91"/>
                  </a:lnTo>
                  <a:lnTo>
                    <a:pt x="182" y="91"/>
                  </a:lnTo>
                  <a:lnTo>
                    <a:pt x="172" y="85"/>
                  </a:lnTo>
                  <a:lnTo>
                    <a:pt x="172" y="88"/>
                  </a:lnTo>
                  <a:close/>
                  <a:moveTo>
                    <a:pt x="157" y="81"/>
                  </a:moveTo>
                  <a:lnTo>
                    <a:pt x="157" y="81"/>
                  </a:lnTo>
                  <a:lnTo>
                    <a:pt x="157" y="81"/>
                  </a:lnTo>
                  <a:lnTo>
                    <a:pt x="166" y="85"/>
                  </a:lnTo>
                  <a:lnTo>
                    <a:pt x="168" y="84"/>
                  </a:lnTo>
                  <a:lnTo>
                    <a:pt x="168" y="84"/>
                  </a:lnTo>
                  <a:lnTo>
                    <a:pt x="159" y="79"/>
                  </a:lnTo>
                  <a:lnTo>
                    <a:pt x="159" y="79"/>
                  </a:lnTo>
                  <a:lnTo>
                    <a:pt x="157" y="81"/>
                  </a:lnTo>
                  <a:close/>
                  <a:moveTo>
                    <a:pt x="143" y="77"/>
                  </a:moveTo>
                  <a:lnTo>
                    <a:pt x="143" y="77"/>
                  </a:lnTo>
                  <a:lnTo>
                    <a:pt x="153" y="79"/>
                  </a:lnTo>
                  <a:lnTo>
                    <a:pt x="153" y="78"/>
                  </a:lnTo>
                  <a:lnTo>
                    <a:pt x="153" y="78"/>
                  </a:lnTo>
                  <a:lnTo>
                    <a:pt x="144" y="75"/>
                  </a:lnTo>
                  <a:lnTo>
                    <a:pt x="143" y="77"/>
                  </a:lnTo>
                  <a:close/>
                  <a:moveTo>
                    <a:pt x="131" y="68"/>
                  </a:moveTo>
                  <a:lnTo>
                    <a:pt x="131" y="68"/>
                  </a:lnTo>
                  <a:lnTo>
                    <a:pt x="133" y="72"/>
                  </a:lnTo>
                  <a:lnTo>
                    <a:pt x="136" y="75"/>
                  </a:lnTo>
                  <a:lnTo>
                    <a:pt x="136" y="75"/>
                  </a:lnTo>
                  <a:lnTo>
                    <a:pt x="139" y="75"/>
                  </a:lnTo>
                  <a:lnTo>
                    <a:pt x="139" y="74"/>
                  </a:lnTo>
                  <a:lnTo>
                    <a:pt x="139" y="74"/>
                  </a:lnTo>
                  <a:lnTo>
                    <a:pt x="137" y="72"/>
                  </a:lnTo>
                  <a:lnTo>
                    <a:pt x="137" y="72"/>
                  </a:lnTo>
                  <a:lnTo>
                    <a:pt x="136" y="71"/>
                  </a:lnTo>
                  <a:lnTo>
                    <a:pt x="133" y="66"/>
                  </a:lnTo>
                  <a:lnTo>
                    <a:pt x="131" y="68"/>
                  </a:lnTo>
                  <a:close/>
                  <a:moveTo>
                    <a:pt x="124" y="53"/>
                  </a:moveTo>
                  <a:lnTo>
                    <a:pt x="124" y="53"/>
                  </a:lnTo>
                  <a:lnTo>
                    <a:pt x="128" y="62"/>
                  </a:lnTo>
                  <a:lnTo>
                    <a:pt x="131" y="62"/>
                  </a:lnTo>
                  <a:lnTo>
                    <a:pt x="131" y="62"/>
                  </a:lnTo>
                  <a:lnTo>
                    <a:pt x="127" y="52"/>
                  </a:lnTo>
                  <a:lnTo>
                    <a:pt x="124" y="53"/>
                  </a:lnTo>
                  <a:close/>
                  <a:moveTo>
                    <a:pt x="115" y="42"/>
                  </a:moveTo>
                  <a:lnTo>
                    <a:pt x="115" y="42"/>
                  </a:lnTo>
                  <a:lnTo>
                    <a:pt x="121" y="49"/>
                  </a:lnTo>
                  <a:lnTo>
                    <a:pt x="123" y="49"/>
                  </a:lnTo>
                  <a:lnTo>
                    <a:pt x="124" y="48"/>
                  </a:lnTo>
                  <a:lnTo>
                    <a:pt x="124" y="48"/>
                  </a:lnTo>
                  <a:lnTo>
                    <a:pt x="124" y="48"/>
                  </a:lnTo>
                  <a:lnTo>
                    <a:pt x="117" y="40"/>
                  </a:lnTo>
                  <a:lnTo>
                    <a:pt x="115" y="42"/>
                  </a:lnTo>
                  <a:close/>
                  <a:moveTo>
                    <a:pt x="104" y="32"/>
                  </a:moveTo>
                  <a:lnTo>
                    <a:pt x="105" y="33"/>
                  </a:lnTo>
                  <a:lnTo>
                    <a:pt x="105" y="33"/>
                  </a:lnTo>
                  <a:lnTo>
                    <a:pt x="112" y="39"/>
                  </a:lnTo>
                  <a:lnTo>
                    <a:pt x="114" y="37"/>
                  </a:lnTo>
                  <a:lnTo>
                    <a:pt x="114" y="37"/>
                  </a:lnTo>
                  <a:lnTo>
                    <a:pt x="107" y="32"/>
                  </a:lnTo>
                  <a:lnTo>
                    <a:pt x="105" y="30"/>
                  </a:lnTo>
                  <a:lnTo>
                    <a:pt x="104" y="32"/>
                  </a:lnTo>
                  <a:close/>
                  <a:moveTo>
                    <a:pt x="94" y="20"/>
                  </a:moveTo>
                  <a:lnTo>
                    <a:pt x="94" y="20"/>
                  </a:lnTo>
                  <a:lnTo>
                    <a:pt x="101" y="29"/>
                  </a:lnTo>
                  <a:lnTo>
                    <a:pt x="102" y="27"/>
                  </a:lnTo>
                  <a:lnTo>
                    <a:pt x="102" y="27"/>
                  </a:lnTo>
                  <a:lnTo>
                    <a:pt x="95" y="19"/>
                  </a:lnTo>
                  <a:lnTo>
                    <a:pt x="94" y="20"/>
                  </a:lnTo>
                  <a:close/>
                  <a:moveTo>
                    <a:pt x="85" y="8"/>
                  </a:moveTo>
                  <a:lnTo>
                    <a:pt x="85" y="8"/>
                  </a:lnTo>
                  <a:lnTo>
                    <a:pt x="91" y="17"/>
                  </a:lnTo>
                  <a:lnTo>
                    <a:pt x="92" y="16"/>
                  </a:lnTo>
                  <a:lnTo>
                    <a:pt x="92" y="16"/>
                  </a:lnTo>
                  <a:lnTo>
                    <a:pt x="86" y="7"/>
                  </a:lnTo>
                  <a:lnTo>
                    <a:pt x="85" y="8"/>
                  </a:lnTo>
                  <a:close/>
                  <a:moveTo>
                    <a:pt x="75" y="3"/>
                  </a:moveTo>
                  <a:lnTo>
                    <a:pt x="75" y="3"/>
                  </a:lnTo>
                  <a:lnTo>
                    <a:pt x="78" y="1"/>
                  </a:lnTo>
                  <a:lnTo>
                    <a:pt x="78" y="1"/>
                  </a:lnTo>
                  <a:lnTo>
                    <a:pt x="81" y="3"/>
                  </a:lnTo>
                  <a:lnTo>
                    <a:pt x="81" y="3"/>
                  </a:lnTo>
                  <a:lnTo>
                    <a:pt x="82" y="4"/>
                  </a:lnTo>
                  <a:lnTo>
                    <a:pt x="84" y="3"/>
                  </a:lnTo>
                  <a:lnTo>
                    <a:pt x="84" y="3"/>
                  </a:lnTo>
                  <a:lnTo>
                    <a:pt x="82" y="1"/>
                  </a:lnTo>
                  <a:lnTo>
                    <a:pt x="82" y="1"/>
                  </a:lnTo>
                  <a:lnTo>
                    <a:pt x="81" y="0"/>
                  </a:lnTo>
                  <a:lnTo>
                    <a:pt x="78" y="0"/>
                  </a:lnTo>
                  <a:lnTo>
                    <a:pt x="78" y="0"/>
                  </a:lnTo>
                  <a:lnTo>
                    <a:pt x="73" y="0"/>
                  </a:lnTo>
                  <a:lnTo>
                    <a:pt x="75" y="3"/>
                  </a:lnTo>
                  <a:close/>
                  <a:moveTo>
                    <a:pt x="63" y="11"/>
                  </a:moveTo>
                  <a:lnTo>
                    <a:pt x="63" y="11"/>
                  </a:lnTo>
                  <a:lnTo>
                    <a:pt x="68" y="7"/>
                  </a:lnTo>
                  <a:lnTo>
                    <a:pt x="68" y="7"/>
                  </a:lnTo>
                  <a:lnTo>
                    <a:pt x="70" y="4"/>
                  </a:lnTo>
                  <a:lnTo>
                    <a:pt x="69" y="3"/>
                  </a:lnTo>
                  <a:lnTo>
                    <a:pt x="69" y="3"/>
                  </a:lnTo>
                  <a:lnTo>
                    <a:pt x="66" y="6"/>
                  </a:lnTo>
                  <a:lnTo>
                    <a:pt x="66" y="6"/>
                  </a:lnTo>
                  <a:lnTo>
                    <a:pt x="62" y="10"/>
                  </a:lnTo>
                  <a:lnTo>
                    <a:pt x="63" y="11"/>
                  </a:lnTo>
                  <a:close/>
                  <a:moveTo>
                    <a:pt x="53" y="23"/>
                  </a:moveTo>
                  <a:lnTo>
                    <a:pt x="53" y="21"/>
                  </a:lnTo>
                  <a:lnTo>
                    <a:pt x="53" y="21"/>
                  </a:lnTo>
                  <a:lnTo>
                    <a:pt x="59" y="16"/>
                  </a:lnTo>
                  <a:lnTo>
                    <a:pt x="57" y="14"/>
                  </a:lnTo>
                  <a:lnTo>
                    <a:pt x="57" y="14"/>
                  </a:lnTo>
                  <a:lnTo>
                    <a:pt x="52" y="20"/>
                  </a:lnTo>
                  <a:lnTo>
                    <a:pt x="50" y="21"/>
                  </a:lnTo>
                  <a:lnTo>
                    <a:pt x="53" y="23"/>
                  </a:lnTo>
                  <a:close/>
                  <a:moveTo>
                    <a:pt x="49" y="37"/>
                  </a:moveTo>
                  <a:lnTo>
                    <a:pt x="49" y="37"/>
                  </a:lnTo>
                  <a:lnTo>
                    <a:pt x="50" y="32"/>
                  </a:lnTo>
                  <a:lnTo>
                    <a:pt x="52" y="27"/>
                  </a:lnTo>
                  <a:lnTo>
                    <a:pt x="49" y="26"/>
                  </a:lnTo>
                  <a:lnTo>
                    <a:pt x="49" y="26"/>
                  </a:lnTo>
                  <a:lnTo>
                    <a:pt x="46" y="36"/>
                  </a:lnTo>
                  <a:lnTo>
                    <a:pt x="49" y="37"/>
                  </a:lnTo>
                  <a:close/>
                  <a:moveTo>
                    <a:pt x="33" y="39"/>
                  </a:moveTo>
                  <a:lnTo>
                    <a:pt x="33" y="39"/>
                  </a:lnTo>
                  <a:lnTo>
                    <a:pt x="37" y="40"/>
                  </a:lnTo>
                  <a:lnTo>
                    <a:pt x="43" y="40"/>
                  </a:lnTo>
                  <a:lnTo>
                    <a:pt x="43" y="40"/>
                  </a:lnTo>
                  <a:lnTo>
                    <a:pt x="43" y="39"/>
                  </a:lnTo>
                  <a:lnTo>
                    <a:pt x="43" y="39"/>
                  </a:lnTo>
                  <a:lnTo>
                    <a:pt x="43" y="39"/>
                  </a:lnTo>
                  <a:lnTo>
                    <a:pt x="34" y="36"/>
                  </a:lnTo>
                  <a:lnTo>
                    <a:pt x="33" y="39"/>
                  </a:lnTo>
                  <a:close/>
                  <a:moveTo>
                    <a:pt x="20" y="30"/>
                  </a:moveTo>
                  <a:lnTo>
                    <a:pt x="20" y="30"/>
                  </a:lnTo>
                  <a:lnTo>
                    <a:pt x="20" y="30"/>
                  </a:lnTo>
                  <a:lnTo>
                    <a:pt x="23" y="33"/>
                  </a:lnTo>
                  <a:lnTo>
                    <a:pt x="23" y="33"/>
                  </a:lnTo>
                  <a:lnTo>
                    <a:pt x="28" y="36"/>
                  </a:lnTo>
                  <a:lnTo>
                    <a:pt x="30" y="33"/>
                  </a:lnTo>
                  <a:lnTo>
                    <a:pt x="30" y="33"/>
                  </a:lnTo>
                  <a:lnTo>
                    <a:pt x="24" y="30"/>
                  </a:lnTo>
                  <a:lnTo>
                    <a:pt x="24" y="30"/>
                  </a:lnTo>
                  <a:lnTo>
                    <a:pt x="21" y="29"/>
                  </a:lnTo>
                  <a:lnTo>
                    <a:pt x="21" y="29"/>
                  </a:lnTo>
                  <a:lnTo>
                    <a:pt x="20" y="30"/>
                  </a:lnTo>
                  <a:close/>
                  <a:moveTo>
                    <a:pt x="11" y="17"/>
                  </a:moveTo>
                  <a:lnTo>
                    <a:pt x="11" y="17"/>
                  </a:lnTo>
                  <a:lnTo>
                    <a:pt x="17" y="26"/>
                  </a:lnTo>
                  <a:lnTo>
                    <a:pt x="18" y="24"/>
                  </a:lnTo>
                  <a:lnTo>
                    <a:pt x="18" y="24"/>
                  </a:lnTo>
                  <a:lnTo>
                    <a:pt x="13" y="16"/>
                  </a:lnTo>
                  <a:lnTo>
                    <a:pt x="11" y="17"/>
                  </a:lnTo>
                  <a:close/>
                  <a:moveTo>
                    <a:pt x="1" y="14"/>
                  </a:moveTo>
                  <a:lnTo>
                    <a:pt x="1" y="14"/>
                  </a:lnTo>
                  <a:lnTo>
                    <a:pt x="4" y="11"/>
                  </a:lnTo>
                  <a:lnTo>
                    <a:pt x="4" y="11"/>
                  </a:lnTo>
                  <a:lnTo>
                    <a:pt x="4" y="11"/>
                  </a:lnTo>
                  <a:lnTo>
                    <a:pt x="7" y="14"/>
                  </a:lnTo>
                  <a:lnTo>
                    <a:pt x="10" y="13"/>
                  </a:lnTo>
                  <a:lnTo>
                    <a:pt x="10" y="13"/>
                  </a:lnTo>
                  <a:lnTo>
                    <a:pt x="7" y="10"/>
                  </a:lnTo>
                  <a:lnTo>
                    <a:pt x="4" y="8"/>
                  </a:lnTo>
                  <a:lnTo>
                    <a:pt x="4" y="8"/>
                  </a:lnTo>
                  <a:lnTo>
                    <a:pt x="4" y="8"/>
                  </a:lnTo>
                  <a:lnTo>
                    <a:pt x="1" y="10"/>
                  </a:lnTo>
                  <a:lnTo>
                    <a:pt x="0" y="11"/>
                  </a:lnTo>
                  <a:lnTo>
                    <a:pt x="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56" name="Freeform 1726"/>
            <p:cNvSpPr>
              <a:spLocks noEditPoints="1"/>
            </p:cNvSpPr>
            <p:nvPr/>
          </p:nvSpPr>
          <p:spPr bwMode="auto">
            <a:xfrm>
              <a:off x="5886451" y="3754866"/>
              <a:ext cx="328613" cy="230188"/>
            </a:xfrm>
            <a:custGeom>
              <a:avLst/>
              <a:gdLst>
                <a:gd name="T0" fmla="*/ 0 w 207"/>
                <a:gd name="T1" fmla="*/ 145 h 145"/>
                <a:gd name="T2" fmla="*/ 24 w 207"/>
                <a:gd name="T3" fmla="*/ 141 h 145"/>
                <a:gd name="T4" fmla="*/ 14 w 207"/>
                <a:gd name="T5" fmla="*/ 142 h 145"/>
                <a:gd name="T6" fmla="*/ 21 w 207"/>
                <a:gd name="T7" fmla="*/ 144 h 145"/>
                <a:gd name="T8" fmla="*/ 40 w 207"/>
                <a:gd name="T9" fmla="*/ 141 h 145"/>
                <a:gd name="T10" fmla="*/ 30 w 207"/>
                <a:gd name="T11" fmla="*/ 144 h 145"/>
                <a:gd name="T12" fmla="*/ 40 w 207"/>
                <a:gd name="T13" fmla="*/ 144 h 145"/>
                <a:gd name="T14" fmla="*/ 55 w 207"/>
                <a:gd name="T15" fmla="*/ 141 h 145"/>
                <a:gd name="T16" fmla="*/ 55 w 207"/>
                <a:gd name="T17" fmla="*/ 144 h 145"/>
                <a:gd name="T18" fmla="*/ 63 w 207"/>
                <a:gd name="T19" fmla="*/ 139 h 145"/>
                <a:gd name="T20" fmla="*/ 61 w 207"/>
                <a:gd name="T21" fmla="*/ 144 h 145"/>
                <a:gd name="T22" fmla="*/ 66 w 207"/>
                <a:gd name="T23" fmla="*/ 135 h 145"/>
                <a:gd name="T24" fmla="*/ 71 w 207"/>
                <a:gd name="T25" fmla="*/ 132 h 145"/>
                <a:gd name="T26" fmla="*/ 87 w 207"/>
                <a:gd name="T27" fmla="*/ 113 h 145"/>
                <a:gd name="T28" fmla="*/ 76 w 207"/>
                <a:gd name="T29" fmla="*/ 118 h 145"/>
                <a:gd name="T30" fmla="*/ 82 w 207"/>
                <a:gd name="T31" fmla="*/ 116 h 145"/>
                <a:gd name="T32" fmla="*/ 95 w 207"/>
                <a:gd name="T33" fmla="*/ 108 h 145"/>
                <a:gd name="T34" fmla="*/ 95 w 207"/>
                <a:gd name="T35" fmla="*/ 110 h 145"/>
                <a:gd name="T36" fmla="*/ 92 w 207"/>
                <a:gd name="T37" fmla="*/ 113 h 145"/>
                <a:gd name="T38" fmla="*/ 97 w 207"/>
                <a:gd name="T39" fmla="*/ 115 h 145"/>
                <a:gd name="T40" fmla="*/ 98 w 207"/>
                <a:gd name="T41" fmla="*/ 110 h 145"/>
                <a:gd name="T42" fmla="*/ 98 w 207"/>
                <a:gd name="T43" fmla="*/ 109 h 145"/>
                <a:gd name="T44" fmla="*/ 95 w 207"/>
                <a:gd name="T45" fmla="*/ 108 h 145"/>
                <a:gd name="T46" fmla="*/ 100 w 207"/>
                <a:gd name="T47" fmla="*/ 103 h 145"/>
                <a:gd name="T48" fmla="*/ 110 w 207"/>
                <a:gd name="T49" fmla="*/ 100 h 145"/>
                <a:gd name="T50" fmla="*/ 123 w 207"/>
                <a:gd name="T51" fmla="*/ 97 h 145"/>
                <a:gd name="T52" fmla="*/ 114 w 207"/>
                <a:gd name="T53" fmla="*/ 100 h 145"/>
                <a:gd name="T54" fmla="*/ 123 w 207"/>
                <a:gd name="T55" fmla="*/ 100 h 145"/>
                <a:gd name="T56" fmla="*/ 130 w 207"/>
                <a:gd name="T57" fmla="*/ 84 h 145"/>
                <a:gd name="T58" fmla="*/ 129 w 207"/>
                <a:gd name="T59" fmla="*/ 95 h 145"/>
                <a:gd name="T60" fmla="*/ 139 w 207"/>
                <a:gd name="T61" fmla="*/ 73 h 145"/>
                <a:gd name="T62" fmla="*/ 134 w 207"/>
                <a:gd name="T63" fmla="*/ 82 h 145"/>
                <a:gd name="T64" fmla="*/ 140 w 207"/>
                <a:gd name="T65" fmla="*/ 74 h 145"/>
                <a:gd name="T66" fmla="*/ 149 w 207"/>
                <a:gd name="T67" fmla="*/ 68 h 145"/>
                <a:gd name="T68" fmla="*/ 146 w 207"/>
                <a:gd name="T69" fmla="*/ 71 h 145"/>
                <a:gd name="T70" fmla="*/ 152 w 207"/>
                <a:gd name="T71" fmla="*/ 66 h 145"/>
                <a:gd name="T72" fmla="*/ 156 w 207"/>
                <a:gd name="T73" fmla="*/ 58 h 145"/>
                <a:gd name="T74" fmla="*/ 158 w 207"/>
                <a:gd name="T75" fmla="*/ 63 h 145"/>
                <a:gd name="T76" fmla="*/ 159 w 207"/>
                <a:gd name="T77" fmla="*/ 58 h 145"/>
                <a:gd name="T78" fmla="*/ 159 w 207"/>
                <a:gd name="T79" fmla="*/ 38 h 145"/>
                <a:gd name="T80" fmla="*/ 155 w 207"/>
                <a:gd name="T81" fmla="*/ 44 h 145"/>
                <a:gd name="T82" fmla="*/ 156 w 207"/>
                <a:gd name="T83" fmla="*/ 47 h 145"/>
                <a:gd name="T84" fmla="*/ 159 w 207"/>
                <a:gd name="T85" fmla="*/ 41 h 145"/>
                <a:gd name="T86" fmla="*/ 159 w 207"/>
                <a:gd name="T87" fmla="*/ 25 h 145"/>
                <a:gd name="T88" fmla="*/ 163 w 207"/>
                <a:gd name="T89" fmla="*/ 35 h 145"/>
                <a:gd name="T90" fmla="*/ 163 w 207"/>
                <a:gd name="T91" fmla="*/ 29 h 145"/>
                <a:gd name="T92" fmla="*/ 163 w 207"/>
                <a:gd name="T93" fmla="*/ 11 h 145"/>
                <a:gd name="T94" fmla="*/ 156 w 207"/>
                <a:gd name="T95" fmla="*/ 18 h 145"/>
                <a:gd name="T96" fmla="*/ 158 w 207"/>
                <a:gd name="T97" fmla="*/ 21 h 145"/>
                <a:gd name="T98" fmla="*/ 159 w 207"/>
                <a:gd name="T99" fmla="*/ 18 h 145"/>
                <a:gd name="T100" fmla="*/ 160 w 207"/>
                <a:gd name="T101" fmla="*/ 16 h 145"/>
                <a:gd name="T102" fmla="*/ 175 w 207"/>
                <a:gd name="T103" fmla="*/ 2 h 145"/>
                <a:gd name="T104" fmla="*/ 171 w 207"/>
                <a:gd name="T105" fmla="*/ 5 h 145"/>
                <a:gd name="T106" fmla="*/ 174 w 207"/>
                <a:gd name="T107" fmla="*/ 6 h 145"/>
                <a:gd name="T108" fmla="*/ 191 w 207"/>
                <a:gd name="T109" fmla="*/ 0 h 145"/>
                <a:gd name="T110" fmla="*/ 181 w 207"/>
                <a:gd name="T111" fmla="*/ 3 h 145"/>
                <a:gd name="T112" fmla="*/ 205 w 207"/>
                <a:gd name="T113" fmla="*/ 0 h 145"/>
                <a:gd name="T114" fmla="*/ 207 w 207"/>
                <a:gd name="T115" fmla="*/ 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7" h="145">
                  <a:moveTo>
                    <a:pt x="10" y="142"/>
                  </a:moveTo>
                  <a:lnTo>
                    <a:pt x="10" y="142"/>
                  </a:lnTo>
                  <a:lnTo>
                    <a:pt x="0" y="144"/>
                  </a:lnTo>
                  <a:lnTo>
                    <a:pt x="0" y="145"/>
                  </a:lnTo>
                  <a:lnTo>
                    <a:pt x="0" y="145"/>
                  </a:lnTo>
                  <a:lnTo>
                    <a:pt x="10" y="145"/>
                  </a:lnTo>
                  <a:lnTo>
                    <a:pt x="10" y="142"/>
                  </a:lnTo>
                  <a:close/>
                  <a:moveTo>
                    <a:pt x="24" y="141"/>
                  </a:moveTo>
                  <a:lnTo>
                    <a:pt x="24" y="141"/>
                  </a:lnTo>
                  <a:lnTo>
                    <a:pt x="20" y="141"/>
                  </a:lnTo>
                  <a:lnTo>
                    <a:pt x="20" y="141"/>
                  </a:lnTo>
                  <a:lnTo>
                    <a:pt x="14" y="142"/>
                  </a:lnTo>
                  <a:lnTo>
                    <a:pt x="14" y="145"/>
                  </a:lnTo>
                  <a:lnTo>
                    <a:pt x="14" y="145"/>
                  </a:lnTo>
                  <a:lnTo>
                    <a:pt x="21" y="144"/>
                  </a:lnTo>
                  <a:lnTo>
                    <a:pt x="21" y="144"/>
                  </a:lnTo>
                  <a:lnTo>
                    <a:pt x="24" y="144"/>
                  </a:lnTo>
                  <a:lnTo>
                    <a:pt x="24" y="141"/>
                  </a:lnTo>
                  <a:close/>
                  <a:moveTo>
                    <a:pt x="40" y="141"/>
                  </a:moveTo>
                  <a:lnTo>
                    <a:pt x="40" y="141"/>
                  </a:lnTo>
                  <a:lnTo>
                    <a:pt x="33" y="141"/>
                  </a:lnTo>
                  <a:lnTo>
                    <a:pt x="33" y="141"/>
                  </a:lnTo>
                  <a:lnTo>
                    <a:pt x="30" y="141"/>
                  </a:lnTo>
                  <a:lnTo>
                    <a:pt x="30" y="144"/>
                  </a:lnTo>
                  <a:lnTo>
                    <a:pt x="30" y="144"/>
                  </a:lnTo>
                  <a:lnTo>
                    <a:pt x="33" y="144"/>
                  </a:lnTo>
                  <a:lnTo>
                    <a:pt x="33" y="144"/>
                  </a:lnTo>
                  <a:lnTo>
                    <a:pt x="40" y="144"/>
                  </a:lnTo>
                  <a:lnTo>
                    <a:pt x="40" y="141"/>
                  </a:lnTo>
                  <a:lnTo>
                    <a:pt x="40" y="141"/>
                  </a:lnTo>
                  <a:close/>
                  <a:moveTo>
                    <a:pt x="55" y="141"/>
                  </a:moveTo>
                  <a:lnTo>
                    <a:pt x="55" y="141"/>
                  </a:lnTo>
                  <a:lnTo>
                    <a:pt x="45" y="141"/>
                  </a:lnTo>
                  <a:lnTo>
                    <a:pt x="45" y="144"/>
                  </a:lnTo>
                  <a:lnTo>
                    <a:pt x="45" y="144"/>
                  </a:lnTo>
                  <a:lnTo>
                    <a:pt x="55" y="144"/>
                  </a:lnTo>
                  <a:lnTo>
                    <a:pt x="55" y="141"/>
                  </a:lnTo>
                  <a:close/>
                  <a:moveTo>
                    <a:pt x="66" y="135"/>
                  </a:moveTo>
                  <a:lnTo>
                    <a:pt x="66" y="135"/>
                  </a:lnTo>
                  <a:lnTo>
                    <a:pt x="63" y="139"/>
                  </a:lnTo>
                  <a:lnTo>
                    <a:pt x="63" y="139"/>
                  </a:lnTo>
                  <a:lnTo>
                    <a:pt x="61" y="141"/>
                  </a:lnTo>
                  <a:lnTo>
                    <a:pt x="61" y="144"/>
                  </a:lnTo>
                  <a:lnTo>
                    <a:pt x="61" y="144"/>
                  </a:lnTo>
                  <a:lnTo>
                    <a:pt x="65" y="141"/>
                  </a:lnTo>
                  <a:lnTo>
                    <a:pt x="65" y="141"/>
                  </a:lnTo>
                  <a:lnTo>
                    <a:pt x="68" y="137"/>
                  </a:lnTo>
                  <a:lnTo>
                    <a:pt x="66" y="135"/>
                  </a:lnTo>
                  <a:close/>
                  <a:moveTo>
                    <a:pt x="74" y="122"/>
                  </a:moveTo>
                  <a:lnTo>
                    <a:pt x="74" y="122"/>
                  </a:lnTo>
                  <a:lnTo>
                    <a:pt x="69" y="131"/>
                  </a:lnTo>
                  <a:lnTo>
                    <a:pt x="71" y="132"/>
                  </a:lnTo>
                  <a:lnTo>
                    <a:pt x="71" y="132"/>
                  </a:lnTo>
                  <a:lnTo>
                    <a:pt x="76" y="124"/>
                  </a:lnTo>
                  <a:lnTo>
                    <a:pt x="74" y="122"/>
                  </a:lnTo>
                  <a:close/>
                  <a:moveTo>
                    <a:pt x="87" y="113"/>
                  </a:moveTo>
                  <a:lnTo>
                    <a:pt x="87" y="113"/>
                  </a:lnTo>
                  <a:lnTo>
                    <a:pt x="81" y="115"/>
                  </a:lnTo>
                  <a:lnTo>
                    <a:pt x="81" y="115"/>
                  </a:lnTo>
                  <a:lnTo>
                    <a:pt x="76" y="118"/>
                  </a:lnTo>
                  <a:lnTo>
                    <a:pt x="79" y="119"/>
                  </a:lnTo>
                  <a:lnTo>
                    <a:pt x="79" y="119"/>
                  </a:lnTo>
                  <a:lnTo>
                    <a:pt x="82" y="116"/>
                  </a:lnTo>
                  <a:lnTo>
                    <a:pt x="82" y="116"/>
                  </a:lnTo>
                  <a:lnTo>
                    <a:pt x="87" y="116"/>
                  </a:lnTo>
                  <a:lnTo>
                    <a:pt x="87" y="113"/>
                  </a:lnTo>
                  <a:close/>
                  <a:moveTo>
                    <a:pt x="95" y="108"/>
                  </a:moveTo>
                  <a:lnTo>
                    <a:pt x="95" y="108"/>
                  </a:lnTo>
                  <a:lnTo>
                    <a:pt x="95" y="109"/>
                  </a:lnTo>
                  <a:lnTo>
                    <a:pt x="95" y="109"/>
                  </a:lnTo>
                  <a:lnTo>
                    <a:pt x="95" y="110"/>
                  </a:lnTo>
                  <a:lnTo>
                    <a:pt x="95" y="110"/>
                  </a:lnTo>
                  <a:lnTo>
                    <a:pt x="95" y="112"/>
                  </a:lnTo>
                  <a:lnTo>
                    <a:pt x="95" y="112"/>
                  </a:lnTo>
                  <a:lnTo>
                    <a:pt x="95" y="112"/>
                  </a:lnTo>
                  <a:lnTo>
                    <a:pt x="92" y="113"/>
                  </a:lnTo>
                  <a:lnTo>
                    <a:pt x="92" y="116"/>
                  </a:lnTo>
                  <a:lnTo>
                    <a:pt x="92" y="116"/>
                  </a:lnTo>
                  <a:lnTo>
                    <a:pt x="97" y="115"/>
                  </a:lnTo>
                  <a:lnTo>
                    <a:pt x="97" y="115"/>
                  </a:lnTo>
                  <a:lnTo>
                    <a:pt x="98" y="112"/>
                  </a:lnTo>
                  <a:lnTo>
                    <a:pt x="98" y="112"/>
                  </a:lnTo>
                  <a:lnTo>
                    <a:pt x="98" y="110"/>
                  </a:lnTo>
                  <a:lnTo>
                    <a:pt x="98" y="110"/>
                  </a:lnTo>
                  <a:lnTo>
                    <a:pt x="98" y="109"/>
                  </a:lnTo>
                  <a:lnTo>
                    <a:pt x="97" y="109"/>
                  </a:lnTo>
                  <a:lnTo>
                    <a:pt x="98" y="109"/>
                  </a:lnTo>
                  <a:lnTo>
                    <a:pt x="98" y="109"/>
                  </a:lnTo>
                  <a:lnTo>
                    <a:pt x="97" y="109"/>
                  </a:lnTo>
                  <a:lnTo>
                    <a:pt x="98" y="109"/>
                  </a:lnTo>
                  <a:lnTo>
                    <a:pt x="98" y="109"/>
                  </a:lnTo>
                  <a:lnTo>
                    <a:pt x="95" y="108"/>
                  </a:lnTo>
                  <a:close/>
                  <a:moveTo>
                    <a:pt x="108" y="99"/>
                  </a:moveTo>
                  <a:lnTo>
                    <a:pt x="108" y="99"/>
                  </a:lnTo>
                  <a:lnTo>
                    <a:pt x="104" y="100"/>
                  </a:lnTo>
                  <a:lnTo>
                    <a:pt x="100" y="103"/>
                  </a:lnTo>
                  <a:lnTo>
                    <a:pt x="101" y="105"/>
                  </a:lnTo>
                  <a:lnTo>
                    <a:pt x="101" y="105"/>
                  </a:lnTo>
                  <a:lnTo>
                    <a:pt x="104" y="103"/>
                  </a:lnTo>
                  <a:lnTo>
                    <a:pt x="110" y="100"/>
                  </a:lnTo>
                  <a:lnTo>
                    <a:pt x="108" y="99"/>
                  </a:lnTo>
                  <a:close/>
                  <a:moveTo>
                    <a:pt x="123" y="97"/>
                  </a:moveTo>
                  <a:lnTo>
                    <a:pt x="123" y="97"/>
                  </a:lnTo>
                  <a:lnTo>
                    <a:pt x="123" y="97"/>
                  </a:lnTo>
                  <a:lnTo>
                    <a:pt x="116" y="97"/>
                  </a:lnTo>
                  <a:lnTo>
                    <a:pt x="116" y="97"/>
                  </a:lnTo>
                  <a:lnTo>
                    <a:pt x="114" y="97"/>
                  </a:lnTo>
                  <a:lnTo>
                    <a:pt x="114" y="100"/>
                  </a:lnTo>
                  <a:lnTo>
                    <a:pt x="114" y="100"/>
                  </a:lnTo>
                  <a:lnTo>
                    <a:pt x="116" y="100"/>
                  </a:lnTo>
                  <a:lnTo>
                    <a:pt x="116" y="100"/>
                  </a:lnTo>
                  <a:lnTo>
                    <a:pt x="123" y="100"/>
                  </a:lnTo>
                  <a:lnTo>
                    <a:pt x="123" y="100"/>
                  </a:lnTo>
                  <a:lnTo>
                    <a:pt x="124" y="100"/>
                  </a:lnTo>
                  <a:lnTo>
                    <a:pt x="123" y="97"/>
                  </a:lnTo>
                  <a:close/>
                  <a:moveTo>
                    <a:pt x="130" y="84"/>
                  </a:moveTo>
                  <a:lnTo>
                    <a:pt x="130" y="84"/>
                  </a:lnTo>
                  <a:lnTo>
                    <a:pt x="126" y="95"/>
                  </a:lnTo>
                  <a:lnTo>
                    <a:pt x="129" y="95"/>
                  </a:lnTo>
                  <a:lnTo>
                    <a:pt x="129" y="95"/>
                  </a:lnTo>
                  <a:lnTo>
                    <a:pt x="132" y="86"/>
                  </a:lnTo>
                  <a:lnTo>
                    <a:pt x="130" y="84"/>
                  </a:lnTo>
                  <a:close/>
                  <a:moveTo>
                    <a:pt x="139" y="73"/>
                  </a:moveTo>
                  <a:lnTo>
                    <a:pt x="139" y="73"/>
                  </a:lnTo>
                  <a:lnTo>
                    <a:pt x="136" y="76"/>
                  </a:lnTo>
                  <a:lnTo>
                    <a:pt x="133" y="80"/>
                  </a:lnTo>
                  <a:lnTo>
                    <a:pt x="133" y="80"/>
                  </a:lnTo>
                  <a:lnTo>
                    <a:pt x="134" y="82"/>
                  </a:lnTo>
                  <a:lnTo>
                    <a:pt x="134" y="82"/>
                  </a:lnTo>
                  <a:lnTo>
                    <a:pt x="134" y="82"/>
                  </a:lnTo>
                  <a:lnTo>
                    <a:pt x="137" y="77"/>
                  </a:lnTo>
                  <a:lnTo>
                    <a:pt x="140" y="74"/>
                  </a:lnTo>
                  <a:lnTo>
                    <a:pt x="139" y="73"/>
                  </a:lnTo>
                  <a:close/>
                  <a:moveTo>
                    <a:pt x="152" y="66"/>
                  </a:moveTo>
                  <a:lnTo>
                    <a:pt x="152" y="66"/>
                  </a:lnTo>
                  <a:lnTo>
                    <a:pt x="149" y="68"/>
                  </a:lnTo>
                  <a:lnTo>
                    <a:pt x="146" y="70"/>
                  </a:lnTo>
                  <a:lnTo>
                    <a:pt x="145" y="70"/>
                  </a:lnTo>
                  <a:lnTo>
                    <a:pt x="145" y="73"/>
                  </a:lnTo>
                  <a:lnTo>
                    <a:pt x="146" y="71"/>
                  </a:lnTo>
                  <a:lnTo>
                    <a:pt x="146" y="71"/>
                  </a:lnTo>
                  <a:lnTo>
                    <a:pt x="150" y="70"/>
                  </a:lnTo>
                  <a:lnTo>
                    <a:pt x="155" y="67"/>
                  </a:lnTo>
                  <a:lnTo>
                    <a:pt x="152" y="66"/>
                  </a:lnTo>
                  <a:close/>
                  <a:moveTo>
                    <a:pt x="155" y="53"/>
                  </a:moveTo>
                  <a:lnTo>
                    <a:pt x="155" y="53"/>
                  </a:lnTo>
                  <a:lnTo>
                    <a:pt x="156" y="58"/>
                  </a:lnTo>
                  <a:lnTo>
                    <a:pt x="156" y="58"/>
                  </a:lnTo>
                  <a:lnTo>
                    <a:pt x="156" y="60"/>
                  </a:lnTo>
                  <a:lnTo>
                    <a:pt x="156" y="60"/>
                  </a:lnTo>
                  <a:lnTo>
                    <a:pt x="155" y="61"/>
                  </a:lnTo>
                  <a:lnTo>
                    <a:pt x="158" y="63"/>
                  </a:lnTo>
                  <a:lnTo>
                    <a:pt x="158" y="63"/>
                  </a:lnTo>
                  <a:lnTo>
                    <a:pt x="158" y="61"/>
                  </a:lnTo>
                  <a:lnTo>
                    <a:pt x="158" y="61"/>
                  </a:lnTo>
                  <a:lnTo>
                    <a:pt x="159" y="58"/>
                  </a:lnTo>
                  <a:lnTo>
                    <a:pt x="159" y="58"/>
                  </a:lnTo>
                  <a:lnTo>
                    <a:pt x="158" y="53"/>
                  </a:lnTo>
                  <a:lnTo>
                    <a:pt x="155" y="53"/>
                  </a:lnTo>
                  <a:close/>
                  <a:moveTo>
                    <a:pt x="159" y="38"/>
                  </a:moveTo>
                  <a:lnTo>
                    <a:pt x="159" y="38"/>
                  </a:lnTo>
                  <a:lnTo>
                    <a:pt x="156" y="40"/>
                  </a:lnTo>
                  <a:lnTo>
                    <a:pt x="155" y="44"/>
                  </a:lnTo>
                  <a:lnTo>
                    <a:pt x="155" y="44"/>
                  </a:lnTo>
                  <a:lnTo>
                    <a:pt x="155" y="47"/>
                  </a:lnTo>
                  <a:lnTo>
                    <a:pt x="155" y="47"/>
                  </a:lnTo>
                  <a:lnTo>
                    <a:pt x="156" y="47"/>
                  </a:lnTo>
                  <a:lnTo>
                    <a:pt x="156" y="47"/>
                  </a:lnTo>
                  <a:lnTo>
                    <a:pt x="156" y="47"/>
                  </a:lnTo>
                  <a:lnTo>
                    <a:pt x="158" y="44"/>
                  </a:lnTo>
                  <a:lnTo>
                    <a:pt x="158" y="44"/>
                  </a:lnTo>
                  <a:lnTo>
                    <a:pt x="159" y="41"/>
                  </a:lnTo>
                  <a:lnTo>
                    <a:pt x="160" y="40"/>
                  </a:lnTo>
                  <a:lnTo>
                    <a:pt x="159" y="38"/>
                  </a:lnTo>
                  <a:close/>
                  <a:moveTo>
                    <a:pt x="159" y="25"/>
                  </a:moveTo>
                  <a:lnTo>
                    <a:pt x="159" y="25"/>
                  </a:lnTo>
                  <a:lnTo>
                    <a:pt x="160" y="34"/>
                  </a:lnTo>
                  <a:lnTo>
                    <a:pt x="160" y="34"/>
                  </a:lnTo>
                  <a:lnTo>
                    <a:pt x="160" y="34"/>
                  </a:lnTo>
                  <a:lnTo>
                    <a:pt x="163" y="35"/>
                  </a:lnTo>
                  <a:lnTo>
                    <a:pt x="163" y="34"/>
                  </a:lnTo>
                  <a:lnTo>
                    <a:pt x="163" y="34"/>
                  </a:lnTo>
                  <a:lnTo>
                    <a:pt x="163" y="34"/>
                  </a:lnTo>
                  <a:lnTo>
                    <a:pt x="163" y="29"/>
                  </a:lnTo>
                  <a:lnTo>
                    <a:pt x="162" y="24"/>
                  </a:lnTo>
                  <a:lnTo>
                    <a:pt x="159" y="25"/>
                  </a:lnTo>
                  <a:close/>
                  <a:moveTo>
                    <a:pt x="163" y="11"/>
                  </a:moveTo>
                  <a:lnTo>
                    <a:pt x="163" y="11"/>
                  </a:lnTo>
                  <a:lnTo>
                    <a:pt x="159" y="13"/>
                  </a:lnTo>
                  <a:lnTo>
                    <a:pt x="159" y="13"/>
                  </a:lnTo>
                  <a:lnTo>
                    <a:pt x="158" y="15"/>
                  </a:lnTo>
                  <a:lnTo>
                    <a:pt x="156" y="18"/>
                  </a:lnTo>
                  <a:lnTo>
                    <a:pt x="158" y="18"/>
                  </a:lnTo>
                  <a:lnTo>
                    <a:pt x="158" y="18"/>
                  </a:lnTo>
                  <a:lnTo>
                    <a:pt x="158" y="18"/>
                  </a:lnTo>
                  <a:lnTo>
                    <a:pt x="158" y="21"/>
                  </a:lnTo>
                  <a:lnTo>
                    <a:pt x="160" y="19"/>
                  </a:lnTo>
                  <a:lnTo>
                    <a:pt x="160" y="19"/>
                  </a:lnTo>
                  <a:lnTo>
                    <a:pt x="159" y="18"/>
                  </a:lnTo>
                  <a:lnTo>
                    <a:pt x="159" y="18"/>
                  </a:lnTo>
                  <a:lnTo>
                    <a:pt x="159" y="18"/>
                  </a:lnTo>
                  <a:lnTo>
                    <a:pt x="159" y="18"/>
                  </a:lnTo>
                  <a:lnTo>
                    <a:pt x="160" y="16"/>
                  </a:lnTo>
                  <a:lnTo>
                    <a:pt x="160" y="16"/>
                  </a:lnTo>
                  <a:lnTo>
                    <a:pt x="165" y="13"/>
                  </a:lnTo>
                  <a:lnTo>
                    <a:pt x="163" y="11"/>
                  </a:lnTo>
                  <a:lnTo>
                    <a:pt x="163" y="11"/>
                  </a:lnTo>
                  <a:close/>
                  <a:moveTo>
                    <a:pt x="175" y="2"/>
                  </a:moveTo>
                  <a:lnTo>
                    <a:pt x="175" y="2"/>
                  </a:lnTo>
                  <a:lnTo>
                    <a:pt x="174" y="3"/>
                  </a:lnTo>
                  <a:lnTo>
                    <a:pt x="171" y="5"/>
                  </a:lnTo>
                  <a:lnTo>
                    <a:pt x="171" y="5"/>
                  </a:lnTo>
                  <a:lnTo>
                    <a:pt x="168" y="9"/>
                  </a:lnTo>
                  <a:lnTo>
                    <a:pt x="169" y="11"/>
                  </a:lnTo>
                  <a:lnTo>
                    <a:pt x="169" y="11"/>
                  </a:lnTo>
                  <a:lnTo>
                    <a:pt x="174" y="6"/>
                  </a:lnTo>
                  <a:lnTo>
                    <a:pt x="174" y="6"/>
                  </a:lnTo>
                  <a:lnTo>
                    <a:pt x="176" y="5"/>
                  </a:lnTo>
                  <a:lnTo>
                    <a:pt x="175" y="2"/>
                  </a:lnTo>
                  <a:close/>
                  <a:moveTo>
                    <a:pt x="191" y="0"/>
                  </a:moveTo>
                  <a:lnTo>
                    <a:pt x="191" y="0"/>
                  </a:lnTo>
                  <a:lnTo>
                    <a:pt x="181" y="2"/>
                  </a:lnTo>
                  <a:lnTo>
                    <a:pt x="181" y="3"/>
                  </a:lnTo>
                  <a:lnTo>
                    <a:pt x="181" y="3"/>
                  </a:lnTo>
                  <a:lnTo>
                    <a:pt x="191" y="3"/>
                  </a:lnTo>
                  <a:lnTo>
                    <a:pt x="191" y="0"/>
                  </a:lnTo>
                  <a:close/>
                  <a:moveTo>
                    <a:pt x="205" y="0"/>
                  </a:moveTo>
                  <a:lnTo>
                    <a:pt x="205" y="0"/>
                  </a:lnTo>
                  <a:lnTo>
                    <a:pt x="195" y="0"/>
                  </a:lnTo>
                  <a:lnTo>
                    <a:pt x="197" y="3"/>
                  </a:lnTo>
                  <a:lnTo>
                    <a:pt x="197" y="3"/>
                  </a:lnTo>
                  <a:lnTo>
                    <a:pt x="207" y="2"/>
                  </a:lnTo>
                  <a:lnTo>
                    <a:pt x="2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57" name="Freeform 1727"/>
            <p:cNvSpPr>
              <a:spLocks noEditPoints="1"/>
            </p:cNvSpPr>
            <p:nvPr/>
          </p:nvSpPr>
          <p:spPr bwMode="auto">
            <a:xfrm>
              <a:off x="6005513" y="3707241"/>
              <a:ext cx="211138" cy="47625"/>
            </a:xfrm>
            <a:custGeom>
              <a:avLst/>
              <a:gdLst>
                <a:gd name="T0" fmla="*/ 3 w 133"/>
                <a:gd name="T1" fmla="*/ 19 h 30"/>
                <a:gd name="T2" fmla="*/ 0 w 133"/>
                <a:gd name="T3" fmla="*/ 22 h 30"/>
                <a:gd name="T4" fmla="*/ 3 w 133"/>
                <a:gd name="T5" fmla="*/ 22 h 30"/>
                <a:gd name="T6" fmla="*/ 17 w 133"/>
                <a:gd name="T7" fmla="*/ 17 h 30"/>
                <a:gd name="T8" fmla="*/ 16 w 133"/>
                <a:gd name="T9" fmla="*/ 17 h 30"/>
                <a:gd name="T10" fmla="*/ 7 w 133"/>
                <a:gd name="T11" fmla="*/ 22 h 30"/>
                <a:gd name="T12" fmla="*/ 16 w 133"/>
                <a:gd name="T13" fmla="*/ 20 h 30"/>
                <a:gd name="T14" fmla="*/ 17 w 133"/>
                <a:gd name="T15" fmla="*/ 17 h 30"/>
                <a:gd name="T16" fmla="*/ 30 w 133"/>
                <a:gd name="T17" fmla="*/ 23 h 30"/>
                <a:gd name="T18" fmla="*/ 26 w 133"/>
                <a:gd name="T19" fmla="*/ 22 h 30"/>
                <a:gd name="T20" fmla="*/ 22 w 133"/>
                <a:gd name="T21" fmla="*/ 22 h 30"/>
                <a:gd name="T22" fmla="*/ 26 w 133"/>
                <a:gd name="T23" fmla="*/ 25 h 30"/>
                <a:gd name="T24" fmla="*/ 32 w 133"/>
                <a:gd name="T25" fmla="*/ 26 h 30"/>
                <a:gd name="T26" fmla="*/ 45 w 133"/>
                <a:gd name="T27" fmla="*/ 20 h 30"/>
                <a:gd name="T28" fmla="*/ 42 w 133"/>
                <a:gd name="T29" fmla="*/ 20 h 30"/>
                <a:gd name="T30" fmla="*/ 38 w 133"/>
                <a:gd name="T31" fmla="*/ 22 h 30"/>
                <a:gd name="T32" fmla="*/ 38 w 133"/>
                <a:gd name="T33" fmla="*/ 26 h 30"/>
                <a:gd name="T34" fmla="*/ 39 w 133"/>
                <a:gd name="T35" fmla="*/ 25 h 30"/>
                <a:gd name="T36" fmla="*/ 42 w 133"/>
                <a:gd name="T37" fmla="*/ 23 h 30"/>
                <a:gd name="T38" fmla="*/ 45 w 133"/>
                <a:gd name="T39" fmla="*/ 20 h 30"/>
                <a:gd name="T40" fmla="*/ 59 w 133"/>
                <a:gd name="T41" fmla="*/ 19 h 30"/>
                <a:gd name="T42" fmla="*/ 51 w 133"/>
                <a:gd name="T43" fmla="*/ 19 h 30"/>
                <a:gd name="T44" fmla="*/ 51 w 133"/>
                <a:gd name="T45" fmla="*/ 22 h 30"/>
                <a:gd name="T46" fmla="*/ 61 w 133"/>
                <a:gd name="T47" fmla="*/ 20 h 30"/>
                <a:gd name="T48" fmla="*/ 68 w 133"/>
                <a:gd name="T49" fmla="*/ 6 h 30"/>
                <a:gd name="T50" fmla="*/ 64 w 133"/>
                <a:gd name="T51" fmla="*/ 9 h 30"/>
                <a:gd name="T52" fmla="*/ 62 w 133"/>
                <a:gd name="T53" fmla="*/ 14 h 30"/>
                <a:gd name="T54" fmla="*/ 65 w 133"/>
                <a:gd name="T55" fmla="*/ 16 h 30"/>
                <a:gd name="T56" fmla="*/ 67 w 133"/>
                <a:gd name="T57" fmla="*/ 10 h 30"/>
                <a:gd name="T58" fmla="*/ 68 w 133"/>
                <a:gd name="T59" fmla="*/ 6 h 30"/>
                <a:gd name="T60" fmla="*/ 83 w 133"/>
                <a:gd name="T61" fmla="*/ 0 h 30"/>
                <a:gd name="T62" fmla="*/ 78 w 133"/>
                <a:gd name="T63" fmla="*/ 1 h 30"/>
                <a:gd name="T64" fmla="*/ 74 w 133"/>
                <a:gd name="T65" fmla="*/ 6 h 30"/>
                <a:gd name="T66" fmla="*/ 78 w 133"/>
                <a:gd name="T67" fmla="*/ 4 h 30"/>
                <a:gd name="T68" fmla="*/ 83 w 133"/>
                <a:gd name="T69" fmla="*/ 3 h 30"/>
                <a:gd name="T70" fmla="*/ 87 w 133"/>
                <a:gd name="T71" fmla="*/ 16 h 30"/>
                <a:gd name="T72" fmla="*/ 87 w 133"/>
                <a:gd name="T73" fmla="*/ 12 h 30"/>
                <a:gd name="T74" fmla="*/ 87 w 133"/>
                <a:gd name="T75" fmla="*/ 6 h 30"/>
                <a:gd name="T76" fmla="*/ 84 w 133"/>
                <a:gd name="T77" fmla="*/ 6 h 30"/>
                <a:gd name="T78" fmla="*/ 84 w 133"/>
                <a:gd name="T79" fmla="*/ 12 h 30"/>
                <a:gd name="T80" fmla="*/ 87 w 133"/>
                <a:gd name="T81" fmla="*/ 16 h 30"/>
                <a:gd name="T82" fmla="*/ 88 w 133"/>
                <a:gd name="T83" fmla="*/ 28 h 30"/>
                <a:gd name="T84" fmla="*/ 87 w 133"/>
                <a:gd name="T85" fmla="*/ 28 h 30"/>
                <a:gd name="T86" fmla="*/ 85 w 133"/>
                <a:gd name="T87" fmla="*/ 26 h 30"/>
                <a:gd name="T88" fmla="*/ 84 w 133"/>
                <a:gd name="T89" fmla="*/ 20 h 30"/>
                <a:gd name="T90" fmla="*/ 84 w 133"/>
                <a:gd name="T91" fmla="*/ 26 h 30"/>
                <a:gd name="T92" fmla="*/ 85 w 133"/>
                <a:gd name="T93" fmla="*/ 29 h 30"/>
                <a:gd name="T94" fmla="*/ 88 w 133"/>
                <a:gd name="T95" fmla="*/ 30 h 30"/>
                <a:gd name="T96" fmla="*/ 103 w 133"/>
                <a:gd name="T97" fmla="*/ 26 h 30"/>
                <a:gd name="T98" fmla="*/ 97 w 133"/>
                <a:gd name="T99" fmla="*/ 28 h 30"/>
                <a:gd name="T100" fmla="*/ 93 w 133"/>
                <a:gd name="T101" fmla="*/ 28 h 30"/>
                <a:gd name="T102" fmla="*/ 93 w 133"/>
                <a:gd name="T103" fmla="*/ 30 h 30"/>
                <a:gd name="T104" fmla="*/ 97 w 133"/>
                <a:gd name="T105" fmla="*/ 29 h 30"/>
                <a:gd name="T106" fmla="*/ 103 w 133"/>
                <a:gd name="T107" fmla="*/ 26 h 30"/>
                <a:gd name="T108" fmla="*/ 117 w 133"/>
                <a:gd name="T109" fmla="*/ 23 h 30"/>
                <a:gd name="T110" fmla="*/ 116 w 133"/>
                <a:gd name="T111" fmla="*/ 23 h 30"/>
                <a:gd name="T112" fmla="*/ 109 w 133"/>
                <a:gd name="T113" fmla="*/ 28 h 30"/>
                <a:gd name="T114" fmla="*/ 116 w 133"/>
                <a:gd name="T115" fmla="*/ 26 h 30"/>
                <a:gd name="T116" fmla="*/ 117 w 133"/>
                <a:gd name="T117" fmla="*/ 25 h 30"/>
                <a:gd name="T118" fmla="*/ 133 w 133"/>
                <a:gd name="T119" fmla="*/ 22 h 30"/>
                <a:gd name="T120" fmla="*/ 123 w 133"/>
                <a:gd name="T121" fmla="*/ 23 h 30"/>
                <a:gd name="T122" fmla="*/ 123 w 133"/>
                <a:gd name="T123" fmla="*/ 25 h 30"/>
                <a:gd name="T124" fmla="*/ 133 w 133"/>
                <a:gd name="T125" fmla="*/ 2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3" h="30">
                  <a:moveTo>
                    <a:pt x="3" y="19"/>
                  </a:moveTo>
                  <a:lnTo>
                    <a:pt x="3" y="19"/>
                  </a:lnTo>
                  <a:lnTo>
                    <a:pt x="0" y="19"/>
                  </a:lnTo>
                  <a:lnTo>
                    <a:pt x="0" y="22"/>
                  </a:lnTo>
                  <a:lnTo>
                    <a:pt x="0" y="22"/>
                  </a:lnTo>
                  <a:lnTo>
                    <a:pt x="3" y="22"/>
                  </a:lnTo>
                  <a:lnTo>
                    <a:pt x="3" y="19"/>
                  </a:lnTo>
                  <a:close/>
                  <a:moveTo>
                    <a:pt x="17" y="17"/>
                  </a:moveTo>
                  <a:lnTo>
                    <a:pt x="16" y="17"/>
                  </a:lnTo>
                  <a:lnTo>
                    <a:pt x="16" y="17"/>
                  </a:lnTo>
                  <a:lnTo>
                    <a:pt x="7" y="19"/>
                  </a:lnTo>
                  <a:lnTo>
                    <a:pt x="7" y="22"/>
                  </a:lnTo>
                  <a:lnTo>
                    <a:pt x="7" y="22"/>
                  </a:lnTo>
                  <a:lnTo>
                    <a:pt x="16" y="20"/>
                  </a:lnTo>
                  <a:lnTo>
                    <a:pt x="17" y="20"/>
                  </a:lnTo>
                  <a:lnTo>
                    <a:pt x="17" y="17"/>
                  </a:lnTo>
                  <a:close/>
                  <a:moveTo>
                    <a:pt x="32" y="23"/>
                  </a:moveTo>
                  <a:lnTo>
                    <a:pt x="30" y="23"/>
                  </a:lnTo>
                  <a:lnTo>
                    <a:pt x="30" y="23"/>
                  </a:lnTo>
                  <a:lnTo>
                    <a:pt x="26" y="22"/>
                  </a:lnTo>
                  <a:lnTo>
                    <a:pt x="23" y="20"/>
                  </a:lnTo>
                  <a:lnTo>
                    <a:pt x="22" y="22"/>
                  </a:lnTo>
                  <a:lnTo>
                    <a:pt x="22" y="22"/>
                  </a:lnTo>
                  <a:lnTo>
                    <a:pt x="26" y="25"/>
                  </a:lnTo>
                  <a:lnTo>
                    <a:pt x="30" y="26"/>
                  </a:lnTo>
                  <a:lnTo>
                    <a:pt x="32" y="26"/>
                  </a:lnTo>
                  <a:lnTo>
                    <a:pt x="32" y="23"/>
                  </a:lnTo>
                  <a:close/>
                  <a:moveTo>
                    <a:pt x="45" y="20"/>
                  </a:moveTo>
                  <a:lnTo>
                    <a:pt x="45" y="20"/>
                  </a:lnTo>
                  <a:lnTo>
                    <a:pt x="42" y="20"/>
                  </a:lnTo>
                  <a:lnTo>
                    <a:pt x="42" y="20"/>
                  </a:lnTo>
                  <a:lnTo>
                    <a:pt x="38" y="22"/>
                  </a:lnTo>
                  <a:lnTo>
                    <a:pt x="36" y="23"/>
                  </a:lnTo>
                  <a:lnTo>
                    <a:pt x="38" y="26"/>
                  </a:lnTo>
                  <a:lnTo>
                    <a:pt x="38" y="26"/>
                  </a:lnTo>
                  <a:lnTo>
                    <a:pt x="39" y="25"/>
                  </a:lnTo>
                  <a:lnTo>
                    <a:pt x="42" y="23"/>
                  </a:lnTo>
                  <a:lnTo>
                    <a:pt x="42" y="23"/>
                  </a:lnTo>
                  <a:lnTo>
                    <a:pt x="46" y="22"/>
                  </a:lnTo>
                  <a:lnTo>
                    <a:pt x="45" y="20"/>
                  </a:lnTo>
                  <a:close/>
                  <a:moveTo>
                    <a:pt x="61" y="17"/>
                  </a:moveTo>
                  <a:lnTo>
                    <a:pt x="59" y="19"/>
                  </a:lnTo>
                  <a:lnTo>
                    <a:pt x="59" y="19"/>
                  </a:lnTo>
                  <a:lnTo>
                    <a:pt x="51" y="19"/>
                  </a:lnTo>
                  <a:lnTo>
                    <a:pt x="51" y="22"/>
                  </a:lnTo>
                  <a:lnTo>
                    <a:pt x="51" y="22"/>
                  </a:lnTo>
                  <a:lnTo>
                    <a:pt x="61" y="20"/>
                  </a:lnTo>
                  <a:lnTo>
                    <a:pt x="61" y="20"/>
                  </a:lnTo>
                  <a:lnTo>
                    <a:pt x="61" y="17"/>
                  </a:lnTo>
                  <a:close/>
                  <a:moveTo>
                    <a:pt x="68" y="6"/>
                  </a:moveTo>
                  <a:lnTo>
                    <a:pt x="68" y="6"/>
                  </a:lnTo>
                  <a:lnTo>
                    <a:pt x="64" y="9"/>
                  </a:lnTo>
                  <a:lnTo>
                    <a:pt x="64" y="9"/>
                  </a:lnTo>
                  <a:lnTo>
                    <a:pt x="62" y="14"/>
                  </a:lnTo>
                  <a:lnTo>
                    <a:pt x="65" y="16"/>
                  </a:lnTo>
                  <a:lnTo>
                    <a:pt x="65" y="16"/>
                  </a:lnTo>
                  <a:lnTo>
                    <a:pt x="67" y="10"/>
                  </a:lnTo>
                  <a:lnTo>
                    <a:pt x="67" y="10"/>
                  </a:lnTo>
                  <a:lnTo>
                    <a:pt x="70" y="7"/>
                  </a:lnTo>
                  <a:lnTo>
                    <a:pt x="68" y="6"/>
                  </a:lnTo>
                  <a:close/>
                  <a:moveTo>
                    <a:pt x="83" y="0"/>
                  </a:moveTo>
                  <a:lnTo>
                    <a:pt x="83" y="0"/>
                  </a:lnTo>
                  <a:lnTo>
                    <a:pt x="83" y="0"/>
                  </a:lnTo>
                  <a:lnTo>
                    <a:pt x="78" y="1"/>
                  </a:lnTo>
                  <a:lnTo>
                    <a:pt x="72" y="3"/>
                  </a:lnTo>
                  <a:lnTo>
                    <a:pt x="74" y="6"/>
                  </a:lnTo>
                  <a:lnTo>
                    <a:pt x="74" y="6"/>
                  </a:lnTo>
                  <a:lnTo>
                    <a:pt x="78" y="4"/>
                  </a:lnTo>
                  <a:lnTo>
                    <a:pt x="83" y="3"/>
                  </a:lnTo>
                  <a:lnTo>
                    <a:pt x="83" y="3"/>
                  </a:lnTo>
                  <a:lnTo>
                    <a:pt x="83" y="0"/>
                  </a:lnTo>
                  <a:close/>
                  <a:moveTo>
                    <a:pt x="87" y="16"/>
                  </a:moveTo>
                  <a:lnTo>
                    <a:pt x="87" y="16"/>
                  </a:lnTo>
                  <a:lnTo>
                    <a:pt x="87" y="12"/>
                  </a:lnTo>
                  <a:lnTo>
                    <a:pt x="87" y="12"/>
                  </a:lnTo>
                  <a:lnTo>
                    <a:pt x="87" y="6"/>
                  </a:lnTo>
                  <a:lnTo>
                    <a:pt x="84" y="6"/>
                  </a:lnTo>
                  <a:lnTo>
                    <a:pt x="84" y="6"/>
                  </a:lnTo>
                  <a:lnTo>
                    <a:pt x="84" y="12"/>
                  </a:lnTo>
                  <a:lnTo>
                    <a:pt x="84" y="12"/>
                  </a:lnTo>
                  <a:lnTo>
                    <a:pt x="84" y="16"/>
                  </a:lnTo>
                  <a:lnTo>
                    <a:pt x="87" y="16"/>
                  </a:lnTo>
                  <a:close/>
                  <a:moveTo>
                    <a:pt x="88" y="28"/>
                  </a:moveTo>
                  <a:lnTo>
                    <a:pt x="88" y="28"/>
                  </a:lnTo>
                  <a:lnTo>
                    <a:pt x="87" y="28"/>
                  </a:lnTo>
                  <a:lnTo>
                    <a:pt x="87" y="28"/>
                  </a:lnTo>
                  <a:lnTo>
                    <a:pt x="85" y="26"/>
                  </a:lnTo>
                  <a:lnTo>
                    <a:pt x="85" y="26"/>
                  </a:lnTo>
                  <a:lnTo>
                    <a:pt x="87" y="22"/>
                  </a:lnTo>
                  <a:lnTo>
                    <a:pt x="84" y="20"/>
                  </a:lnTo>
                  <a:lnTo>
                    <a:pt x="84" y="20"/>
                  </a:lnTo>
                  <a:lnTo>
                    <a:pt x="84" y="26"/>
                  </a:lnTo>
                  <a:lnTo>
                    <a:pt x="84" y="26"/>
                  </a:lnTo>
                  <a:lnTo>
                    <a:pt x="85" y="29"/>
                  </a:lnTo>
                  <a:lnTo>
                    <a:pt x="85" y="29"/>
                  </a:lnTo>
                  <a:lnTo>
                    <a:pt x="88" y="30"/>
                  </a:lnTo>
                  <a:lnTo>
                    <a:pt x="88" y="28"/>
                  </a:lnTo>
                  <a:close/>
                  <a:moveTo>
                    <a:pt x="103" y="26"/>
                  </a:moveTo>
                  <a:lnTo>
                    <a:pt x="103" y="26"/>
                  </a:lnTo>
                  <a:lnTo>
                    <a:pt x="97" y="28"/>
                  </a:lnTo>
                  <a:lnTo>
                    <a:pt x="97" y="28"/>
                  </a:lnTo>
                  <a:lnTo>
                    <a:pt x="93" y="28"/>
                  </a:lnTo>
                  <a:lnTo>
                    <a:pt x="93" y="30"/>
                  </a:lnTo>
                  <a:lnTo>
                    <a:pt x="93" y="30"/>
                  </a:lnTo>
                  <a:lnTo>
                    <a:pt x="97" y="29"/>
                  </a:lnTo>
                  <a:lnTo>
                    <a:pt x="97" y="29"/>
                  </a:lnTo>
                  <a:lnTo>
                    <a:pt x="103" y="29"/>
                  </a:lnTo>
                  <a:lnTo>
                    <a:pt x="103" y="26"/>
                  </a:lnTo>
                  <a:close/>
                  <a:moveTo>
                    <a:pt x="117" y="23"/>
                  </a:moveTo>
                  <a:lnTo>
                    <a:pt x="117" y="23"/>
                  </a:lnTo>
                  <a:lnTo>
                    <a:pt x="116" y="23"/>
                  </a:lnTo>
                  <a:lnTo>
                    <a:pt x="116" y="23"/>
                  </a:lnTo>
                  <a:lnTo>
                    <a:pt x="107" y="25"/>
                  </a:lnTo>
                  <a:lnTo>
                    <a:pt x="109" y="28"/>
                  </a:lnTo>
                  <a:lnTo>
                    <a:pt x="109" y="28"/>
                  </a:lnTo>
                  <a:lnTo>
                    <a:pt x="116" y="26"/>
                  </a:lnTo>
                  <a:lnTo>
                    <a:pt x="116" y="26"/>
                  </a:lnTo>
                  <a:lnTo>
                    <a:pt x="117" y="25"/>
                  </a:lnTo>
                  <a:lnTo>
                    <a:pt x="117" y="23"/>
                  </a:lnTo>
                  <a:close/>
                  <a:moveTo>
                    <a:pt x="133" y="22"/>
                  </a:moveTo>
                  <a:lnTo>
                    <a:pt x="133" y="22"/>
                  </a:lnTo>
                  <a:lnTo>
                    <a:pt x="123" y="23"/>
                  </a:lnTo>
                  <a:lnTo>
                    <a:pt x="123" y="25"/>
                  </a:lnTo>
                  <a:lnTo>
                    <a:pt x="123" y="25"/>
                  </a:lnTo>
                  <a:lnTo>
                    <a:pt x="133" y="25"/>
                  </a:lnTo>
                  <a:lnTo>
                    <a:pt x="133"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58" name="Freeform 1728"/>
            <p:cNvSpPr>
              <a:spLocks noEditPoints="1"/>
            </p:cNvSpPr>
            <p:nvPr/>
          </p:nvSpPr>
          <p:spPr bwMode="auto">
            <a:xfrm>
              <a:off x="5867401" y="3508804"/>
              <a:ext cx="496888" cy="127000"/>
            </a:xfrm>
            <a:custGeom>
              <a:avLst/>
              <a:gdLst>
                <a:gd name="T0" fmla="*/ 0 w 313"/>
                <a:gd name="T1" fmla="*/ 2 h 80"/>
                <a:gd name="T2" fmla="*/ 7 w 313"/>
                <a:gd name="T3" fmla="*/ 5 h 80"/>
                <a:gd name="T4" fmla="*/ 29 w 313"/>
                <a:gd name="T5" fmla="*/ 16 h 80"/>
                <a:gd name="T6" fmla="*/ 28 w 313"/>
                <a:gd name="T7" fmla="*/ 19 h 80"/>
                <a:gd name="T8" fmla="*/ 39 w 313"/>
                <a:gd name="T9" fmla="*/ 21 h 80"/>
                <a:gd name="T10" fmla="*/ 32 w 313"/>
                <a:gd name="T11" fmla="*/ 21 h 80"/>
                <a:gd name="T12" fmla="*/ 42 w 313"/>
                <a:gd name="T13" fmla="*/ 21 h 80"/>
                <a:gd name="T14" fmla="*/ 46 w 313"/>
                <a:gd name="T15" fmla="*/ 19 h 80"/>
                <a:gd name="T16" fmla="*/ 64 w 313"/>
                <a:gd name="T17" fmla="*/ 6 h 80"/>
                <a:gd name="T18" fmla="*/ 60 w 313"/>
                <a:gd name="T19" fmla="*/ 5 h 80"/>
                <a:gd name="T20" fmla="*/ 61 w 313"/>
                <a:gd name="T21" fmla="*/ 8 h 80"/>
                <a:gd name="T22" fmla="*/ 62 w 313"/>
                <a:gd name="T23" fmla="*/ 6 h 80"/>
                <a:gd name="T24" fmla="*/ 61 w 313"/>
                <a:gd name="T25" fmla="*/ 6 h 80"/>
                <a:gd name="T26" fmla="*/ 62 w 313"/>
                <a:gd name="T27" fmla="*/ 8 h 80"/>
                <a:gd name="T28" fmla="*/ 65 w 313"/>
                <a:gd name="T29" fmla="*/ 15 h 80"/>
                <a:gd name="T30" fmla="*/ 68 w 313"/>
                <a:gd name="T31" fmla="*/ 40 h 80"/>
                <a:gd name="T32" fmla="*/ 65 w 313"/>
                <a:gd name="T33" fmla="*/ 29 h 80"/>
                <a:gd name="T34" fmla="*/ 77 w 313"/>
                <a:gd name="T35" fmla="*/ 51 h 80"/>
                <a:gd name="T36" fmla="*/ 77 w 313"/>
                <a:gd name="T37" fmla="*/ 51 h 80"/>
                <a:gd name="T38" fmla="*/ 71 w 313"/>
                <a:gd name="T39" fmla="*/ 61 h 80"/>
                <a:gd name="T40" fmla="*/ 71 w 313"/>
                <a:gd name="T41" fmla="*/ 61 h 80"/>
                <a:gd name="T42" fmla="*/ 71 w 313"/>
                <a:gd name="T43" fmla="*/ 61 h 80"/>
                <a:gd name="T44" fmla="*/ 75 w 313"/>
                <a:gd name="T45" fmla="*/ 55 h 80"/>
                <a:gd name="T46" fmla="*/ 68 w 313"/>
                <a:gd name="T47" fmla="*/ 60 h 80"/>
                <a:gd name="T48" fmla="*/ 84 w 313"/>
                <a:gd name="T49" fmla="*/ 66 h 80"/>
                <a:gd name="T50" fmla="*/ 74 w 313"/>
                <a:gd name="T51" fmla="*/ 66 h 80"/>
                <a:gd name="T52" fmla="*/ 97 w 313"/>
                <a:gd name="T53" fmla="*/ 74 h 80"/>
                <a:gd name="T54" fmla="*/ 97 w 313"/>
                <a:gd name="T55" fmla="*/ 74 h 80"/>
                <a:gd name="T56" fmla="*/ 103 w 313"/>
                <a:gd name="T57" fmla="*/ 77 h 80"/>
                <a:gd name="T58" fmla="*/ 103 w 313"/>
                <a:gd name="T59" fmla="*/ 80 h 80"/>
                <a:gd name="T60" fmla="*/ 116 w 313"/>
                <a:gd name="T61" fmla="*/ 63 h 80"/>
                <a:gd name="T62" fmla="*/ 115 w 313"/>
                <a:gd name="T63" fmla="*/ 73 h 80"/>
                <a:gd name="T64" fmla="*/ 130 w 313"/>
                <a:gd name="T65" fmla="*/ 58 h 80"/>
                <a:gd name="T66" fmla="*/ 120 w 313"/>
                <a:gd name="T67" fmla="*/ 58 h 80"/>
                <a:gd name="T68" fmla="*/ 125 w 313"/>
                <a:gd name="T69" fmla="*/ 60 h 80"/>
                <a:gd name="T70" fmla="*/ 139 w 313"/>
                <a:gd name="T71" fmla="*/ 58 h 80"/>
                <a:gd name="T72" fmla="*/ 139 w 313"/>
                <a:gd name="T73" fmla="*/ 61 h 80"/>
                <a:gd name="T74" fmla="*/ 158 w 313"/>
                <a:gd name="T75" fmla="*/ 54 h 80"/>
                <a:gd name="T76" fmla="*/ 151 w 313"/>
                <a:gd name="T77" fmla="*/ 60 h 80"/>
                <a:gd name="T78" fmla="*/ 159 w 313"/>
                <a:gd name="T79" fmla="*/ 55 h 80"/>
                <a:gd name="T80" fmla="*/ 164 w 313"/>
                <a:gd name="T81" fmla="*/ 40 h 80"/>
                <a:gd name="T82" fmla="*/ 162 w 313"/>
                <a:gd name="T83" fmla="*/ 50 h 80"/>
                <a:gd name="T84" fmla="*/ 165 w 313"/>
                <a:gd name="T85" fmla="*/ 40 h 80"/>
                <a:gd name="T86" fmla="*/ 171 w 313"/>
                <a:gd name="T87" fmla="*/ 40 h 80"/>
                <a:gd name="T88" fmla="*/ 184 w 313"/>
                <a:gd name="T89" fmla="*/ 34 h 80"/>
                <a:gd name="T90" fmla="*/ 209 w 313"/>
                <a:gd name="T91" fmla="*/ 25 h 80"/>
                <a:gd name="T92" fmla="*/ 209 w 313"/>
                <a:gd name="T93" fmla="*/ 26 h 80"/>
                <a:gd name="T94" fmla="*/ 219 w 313"/>
                <a:gd name="T95" fmla="*/ 21 h 80"/>
                <a:gd name="T96" fmla="*/ 214 w 313"/>
                <a:gd name="T97" fmla="*/ 22 h 80"/>
                <a:gd name="T98" fmla="*/ 216 w 313"/>
                <a:gd name="T99" fmla="*/ 24 h 80"/>
                <a:gd name="T100" fmla="*/ 216 w 313"/>
                <a:gd name="T101" fmla="*/ 24 h 80"/>
                <a:gd name="T102" fmla="*/ 219 w 313"/>
                <a:gd name="T103" fmla="*/ 24 h 80"/>
                <a:gd name="T104" fmla="*/ 239 w 313"/>
                <a:gd name="T105" fmla="*/ 22 h 80"/>
                <a:gd name="T106" fmla="*/ 239 w 313"/>
                <a:gd name="T107" fmla="*/ 22 h 80"/>
                <a:gd name="T108" fmla="*/ 243 w 313"/>
                <a:gd name="T109" fmla="*/ 22 h 80"/>
                <a:gd name="T110" fmla="*/ 254 w 313"/>
                <a:gd name="T111" fmla="*/ 26 h 80"/>
                <a:gd name="T112" fmla="*/ 258 w 313"/>
                <a:gd name="T113" fmla="*/ 28 h 80"/>
                <a:gd name="T114" fmla="*/ 284 w 313"/>
                <a:gd name="T115" fmla="*/ 31 h 80"/>
                <a:gd name="T116" fmla="*/ 284 w 313"/>
                <a:gd name="T117" fmla="*/ 31 h 80"/>
                <a:gd name="T118" fmla="*/ 288 w 313"/>
                <a:gd name="T119" fmla="*/ 34 h 80"/>
                <a:gd name="T120" fmla="*/ 303 w 313"/>
                <a:gd name="T121"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3" h="80">
                  <a:moveTo>
                    <a:pt x="3" y="2"/>
                  </a:moveTo>
                  <a:lnTo>
                    <a:pt x="3" y="2"/>
                  </a:lnTo>
                  <a:lnTo>
                    <a:pt x="2" y="0"/>
                  </a:lnTo>
                  <a:lnTo>
                    <a:pt x="0" y="2"/>
                  </a:lnTo>
                  <a:lnTo>
                    <a:pt x="0" y="2"/>
                  </a:lnTo>
                  <a:lnTo>
                    <a:pt x="2" y="3"/>
                  </a:lnTo>
                  <a:lnTo>
                    <a:pt x="3" y="2"/>
                  </a:lnTo>
                  <a:close/>
                  <a:moveTo>
                    <a:pt x="15" y="11"/>
                  </a:moveTo>
                  <a:lnTo>
                    <a:pt x="15" y="11"/>
                  </a:lnTo>
                  <a:lnTo>
                    <a:pt x="7" y="5"/>
                  </a:lnTo>
                  <a:lnTo>
                    <a:pt x="4" y="8"/>
                  </a:lnTo>
                  <a:lnTo>
                    <a:pt x="4" y="8"/>
                  </a:lnTo>
                  <a:lnTo>
                    <a:pt x="13" y="13"/>
                  </a:lnTo>
                  <a:lnTo>
                    <a:pt x="15" y="11"/>
                  </a:lnTo>
                  <a:close/>
                  <a:moveTo>
                    <a:pt x="29" y="16"/>
                  </a:moveTo>
                  <a:lnTo>
                    <a:pt x="29" y="16"/>
                  </a:lnTo>
                  <a:lnTo>
                    <a:pt x="19" y="13"/>
                  </a:lnTo>
                  <a:lnTo>
                    <a:pt x="18" y="15"/>
                  </a:lnTo>
                  <a:lnTo>
                    <a:pt x="18" y="15"/>
                  </a:lnTo>
                  <a:lnTo>
                    <a:pt x="28" y="19"/>
                  </a:lnTo>
                  <a:lnTo>
                    <a:pt x="29" y="16"/>
                  </a:lnTo>
                  <a:close/>
                  <a:moveTo>
                    <a:pt x="42" y="21"/>
                  </a:moveTo>
                  <a:lnTo>
                    <a:pt x="42" y="21"/>
                  </a:lnTo>
                  <a:lnTo>
                    <a:pt x="39" y="21"/>
                  </a:lnTo>
                  <a:lnTo>
                    <a:pt x="39" y="21"/>
                  </a:lnTo>
                  <a:lnTo>
                    <a:pt x="33" y="19"/>
                  </a:lnTo>
                  <a:lnTo>
                    <a:pt x="33" y="19"/>
                  </a:lnTo>
                  <a:lnTo>
                    <a:pt x="32" y="21"/>
                  </a:lnTo>
                  <a:lnTo>
                    <a:pt x="32" y="21"/>
                  </a:lnTo>
                  <a:lnTo>
                    <a:pt x="32" y="21"/>
                  </a:lnTo>
                  <a:lnTo>
                    <a:pt x="36" y="24"/>
                  </a:lnTo>
                  <a:lnTo>
                    <a:pt x="39" y="24"/>
                  </a:lnTo>
                  <a:lnTo>
                    <a:pt x="39" y="24"/>
                  </a:lnTo>
                  <a:lnTo>
                    <a:pt x="44" y="22"/>
                  </a:lnTo>
                  <a:lnTo>
                    <a:pt x="42" y="21"/>
                  </a:lnTo>
                  <a:close/>
                  <a:moveTo>
                    <a:pt x="52" y="11"/>
                  </a:moveTo>
                  <a:lnTo>
                    <a:pt x="52" y="11"/>
                  </a:lnTo>
                  <a:lnTo>
                    <a:pt x="45" y="16"/>
                  </a:lnTo>
                  <a:lnTo>
                    <a:pt x="46" y="19"/>
                  </a:lnTo>
                  <a:lnTo>
                    <a:pt x="46" y="19"/>
                  </a:lnTo>
                  <a:lnTo>
                    <a:pt x="54" y="12"/>
                  </a:lnTo>
                  <a:lnTo>
                    <a:pt x="52" y="11"/>
                  </a:lnTo>
                  <a:close/>
                  <a:moveTo>
                    <a:pt x="65" y="9"/>
                  </a:moveTo>
                  <a:lnTo>
                    <a:pt x="65" y="9"/>
                  </a:lnTo>
                  <a:lnTo>
                    <a:pt x="64" y="6"/>
                  </a:lnTo>
                  <a:lnTo>
                    <a:pt x="64" y="5"/>
                  </a:lnTo>
                  <a:lnTo>
                    <a:pt x="64" y="5"/>
                  </a:lnTo>
                  <a:lnTo>
                    <a:pt x="62" y="5"/>
                  </a:lnTo>
                  <a:lnTo>
                    <a:pt x="62" y="5"/>
                  </a:lnTo>
                  <a:lnTo>
                    <a:pt x="60" y="5"/>
                  </a:lnTo>
                  <a:lnTo>
                    <a:pt x="60" y="5"/>
                  </a:lnTo>
                  <a:lnTo>
                    <a:pt x="57" y="6"/>
                  </a:lnTo>
                  <a:lnTo>
                    <a:pt x="58" y="9"/>
                  </a:lnTo>
                  <a:lnTo>
                    <a:pt x="58" y="9"/>
                  </a:lnTo>
                  <a:lnTo>
                    <a:pt x="61" y="8"/>
                  </a:lnTo>
                  <a:lnTo>
                    <a:pt x="61" y="8"/>
                  </a:lnTo>
                  <a:lnTo>
                    <a:pt x="62" y="6"/>
                  </a:lnTo>
                  <a:lnTo>
                    <a:pt x="62" y="6"/>
                  </a:lnTo>
                  <a:lnTo>
                    <a:pt x="61" y="6"/>
                  </a:lnTo>
                  <a:lnTo>
                    <a:pt x="62" y="6"/>
                  </a:lnTo>
                  <a:lnTo>
                    <a:pt x="62" y="6"/>
                  </a:lnTo>
                  <a:lnTo>
                    <a:pt x="61" y="6"/>
                  </a:lnTo>
                  <a:lnTo>
                    <a:pt x="61" y="6"/>
                  </a:lnTo>
                  <a:lnTo>
                    <a:pt x="61" y="6"/>
                  </a:lnTo>
                  <a:lnTo>
                    <a:pt x="61" y="6"/>
                  </a:lnTo>
                  <a:lnTo>
                    <a:pt x="61" y="6"/>
                  </a:lnTo>
                  <a:lnTo>
                    <a:pt x="61" y="6"/>
                  </a:lnTo>
                  <a:lnTo>
                    <a:pt x="61" y="6"/>
                  </a:lnTo>
                  <a:lnTo>
                    <a:pt x="62" y="8"/>
                  </a:lnTo>
                  <a:lnTo>
                    <a:pt x="62" y="8"/>
                  </a:lnTo>
                  <a:lnTo>
                    <a:pt x="62" y="11"/>
                  </a:lnTo>
                  <a:lnTo>
                    <a:pt x="65" y="9"/>
                  </a:lnTo>
                  <a:close/>
                  <a:moveTo>
                    <a:pt x="67" y="25"/>
                  </a:moveTo>
                  <a:lnTo>
                    <a:pt x="67" y="25"/>
                  </a:lnTo>
                  <a:lnTo>
                    <a:pt x="65" y="15"/>
                  </a:lnTo>
                  <a:lnTo>
                    <a:pt x="64" y="15"/>
                  </a:lnTo>
                  <a:lnTo>
                    <a:pt x="64" y="15"/>
                  </a:lnTo>
                  <a:lnTo>
                    <a:pt x="65" y="25"/>
                  </a:lnTo>
                  <a:lnTo>
                    <a:pt x="67" y="25"/>
                  </a:lnTo>
                  <a:close/>
                  <a:moveTo>
                    <a:pt x="68" y="40"/>
                  </a:moveTo>
                  <a:lnTo>
                    <a:pt x="68" y="40"/>
                  </a:lnTo>
                  <a:lnTo>
                    <a:pt x="68" y="40"/>
                  </a:lnTo>
                  <a:lnTo>
                    <a:pt x="68" y="29"/>
                  </a:lnTo>
                  <a:lnTo>
                    <a:pt x="65" y="29"/>
                  </a:lnTo>
                  <a:lnTo>
                    <a:pt x="65" y="29"/>
                  </a:lnTo>
                  <a:lnTo>
                    <a:pt x="65" y="40"/>
                  </a:lnTo>
                  <a:lnTo>
                    <a:pt x="65" y="41"/>
                  </a:lnTo>
                  <a:lnTo>
                    <a:pt x="68" y="40"/>
                  </a:lnTo>
                  <a:close/>
                  <a:moveTo>
                    <a:pt x="77" y="51"/>
                  </a:moveTo>
                  <a:lnTo>
                    <a:pt x="77" y="51"/>
                  </a:lnTo>
                  <a:lnTo>
                    <a:pt x="71" y="44"/>
                  </a:lnTo>
                  <a:lnTo>
                    <a:pt x="68" y="45"/>
                  </a:lnTo>
                  <a:lnTo>
                    <a:pt x="68" y="45"/>
                  </a:lnTo>
                  <a:lnTo>
                    <a:pt x="75" y="53"/>
                  </a:lnTo>
                  <a:lnTo>
                    <a:pt x="77" y="51"/>
                  </a:lnTo>
                  <a:close/>
                  <a:moveTo>
                    <a:pt x="71" y="61"/>
                  </a:moveTo>
                  <a:lnTo>
                    <a:pt x="71" y="61"/>
                  </a:lnTo>
                  <a:lnTo>
                    <a:pt x="70" y="61"/>
                  </a:lnTo>
                  <a:lnTo>
                    <a:pt x="71" y="61"/>
                  </a:lnTo>
                  <a:lnTo>
                    <a:pt x="71" y="61"/>
                  </a:lnTo>
                  <a:lnTo>
                    <a:pt x="70" y="61"/>
                  </a:lnTo>
                  <a:lnTo>
                    <a:pt x="71" y="61"/>
                  </a:lnTo>
                  <a:lnTo>
                    <a:pt x="70" y="61"/>
                  </a:lnTo>
                  <a:lnTo>
                    <a:pt x="71" y="61"/>
                  </a:lnTo>
                  <a:lnTo>
                    <a:pt x="71" y="61"/>
                  </a:lnTo>
                  <a:lnTo>
                    <a:pt x="70" y="61"/>
                  </a:lnTo>
                  <a:lnTo>
                    <a:pt x="71" y="61"/>
                  </a:lnTo>
                  <a:lnTo>
                    <a:pt x="71" y="61"/>
                  </a:lnTo>
                  <a:lnTo>
                    <a:pt x="71" y="61"/>
                  </a:lnTo>
                  <a:lnTo>
                    <a:pt x="71" y="61"/>
                  </a:lnTo>
                  <a:lnTo>
                    <a:pt x="74" y="60"/>
                  </a:lnTo>
                  <a:lnTo>
                    <a:pt x="74" y="60"/>
                  </a:lnTo>
                  <a:lnTo>
                    <a:pt x="78" y="58"/>
                  </a:lnTo>
                  <a:lnTo>
                    <a:pt x="75" y="55"/>
                  </a:lnTo>
                  <a:lnTo>
                    <a:pt x="75" y="55"/>
                  </a:lnTo>
                  <a:lnTo>
                    <a:pt x="73" y="58"/>
                  </a:lnTo>
                  <a:lnTo>
                    <a:pt x="73" y="58"/>
                  </a:lnTo>
                  <a:lnTo>
                    <a:pt x="70" y="58"/>
                  </a:lnTo>
                  <a:lnTo>
                    <a:pt x="68" y="60"/>
                  </a:lnTo>
                  <a:lnTo>
                    <a:pt x="68" y="60"/>
                  </a:lnTo>
                  <a:lnTo>
                    <a:pt x="68" y="61"/>
                  </a:lnTo>
                  <a:lnTo>
                    <a:pt x="68" y="61"/>
                  </a:lnTo>
                  <a:lnTo>
                    <a:pt x="70" y="63"/>
                  </a:lnTo>
                  <a:lnTo>
                    <a:pt x="71" y="61"/>
                  </a:lnTo>
                  <a:close/>
                  <a:moveTo>
                    <a:pt x="84" y="66"/>
                  </a:moveTo>
                  <a:lnTo>
                    <a:pt x="84" y="64"/>
                  </a:lnTo>
                  <a:lnTo>
                    <a:pt x="84" y="64"/>
                  </a:lnTo>
                  <a:lnTo>
                    <a:pt x="75" y="63"/>
                  </a:lnTo>
                  <a:lnTo>
                    <a:pt x="74" y="66"/>
                  </a:lnTo>
                  <a:lnTo>
                    <a:pt x="74" y="66"/>
                  </a:lnTo>
                  <a:lnTo>
                    <a:pt x="83" y="67"/>
                  </a:lnTo>
                  <a:lnTo>
                    <a:pt x="84" y="67"/>
                  </a:lnTo>
                  <a:lnTo>
                    <a:pt x="84" y="66"/>
                  </a:lnTo>
                  <a:close/>
                  <a:moveTo>
                    <a:pt x="97" y="74"/>
                  </a:moveTo>
                  <a:lnTo>
                    <a:pt x="97" y="74"/>
                  </a:lnTo>
                  <a:lnTo>
                    <a:pt x="90" y="68"/>
                  </a:lnTo>
                  <a:lnTo>
                    <a:pt x="87" y="70"/>
                  </a:lnTo>
                  <a:lnTo>
                    <a:pt x="87" y="70"/>
                  </a:lnTo>
                  <a:lnTo>
                    <a:pt x="96" y="77"/>
                  </a:lnTo>
                  <a:lnTo>
                    <a:pt x="97" y="74"/>
                  </a:lnTo>
                  <a:close/>
                  <a:moveTo>
                    <a:pt x="109" y="76"/>
                  </a:moveTo>
                  <a:lnTo>
                    <a:pt x="109" y="76"/>
                  </a:lnTo>
                  <a:lnTo>
                    <a:pt x="106" y="77"/>
                  </a:lnTo>
                  <a:lnTo>
                    <a:pt x="103" y="77"/>
                  </a:lnTo>
                  <a:lnTo>
                    <a:pt x="103" y="77"/>
                  </a:lnTo>
                  <a:lnTo>
                    <a:pt x="102" y="77"/>
                  </a:lnTo>
                  <a:lnTo>
                    <a:pt x="100" y="80"/>
                  </a:lnTo>
                  <a:lnTo>
                    <a:pt x="100" y="80"/>
                  </a:lnTo>
                  <a:lnTo>
                    <a:pt x="103" y="80"/>
                  </a:lnTo>
                  <a:lnTo>
                    <a:pt x="103" y="80"/>
                  </a:lnTo>
                  <a:lnTo>
                    <a:pt x="107" y="80"/>
                  </a:lnTo>
                  <a:lnTo>
                    <a:pt x="110" y="77"/>
                  </a:lnTo>
                  <a:lnTo>
                    <a:pt x="109" y="76"/>
                  </a:lnTo>
                  <a:close/>
                  <a:moveTo>
                    <a:pt x="116" y="63"/>
                  </a:moveTo>
                  <a:lnTo>
                    <a:pt x="116" y="63"/>
                  </a:lnTo>
                  <a:lnTo>
                    <a:pt x="113" y="68"/>
                  </a:lnTo>
                  <a:lnTo>
                    <a:pt x="113" y="68"/>
                  </a:lnTo>
                  <a:lnTo>
                    <a:pt x="112" y="71"/>
                  </a:lnTo>
                  <a:lnTo>
                    <a:pt x="115" y="73"/>
                  </a:lnTo>
                  <a:lnTo>
                    <a:pt x="115" y="73"/>
                  </a:lnTo>
                  <a:lnTo>
                    <a:pt x="116" y="70"/>
                  </a:lnTo>
                  <a:lnTo>
                    <a:pt x="116" y="70"/>
                  </a:lnTo>
                  <a:lnTo>
                    <a:pt x="117" y="64"/>
                  </a:lnTo>
                  <a:lnTo>
                    <a:pt x="116" y="63"/>
                  </a:lnTo>
                  <a:close/>
                  <a:moveTo>
                    <a:pt x="130" y="58"/>
                  </a:moveTo>
                  <a:lnTo>
                    <a:pt x="130" y="58"/>
                  </a:lnTo>
                  <a:lnTo>
                    <a:pt x="125" y="58"/>
                  </a:lnTo>
                  <a:lnTo>
                    <a:pt x="125" y="58"/>
                  </a:lnTo>
                  <a:lnTo>
                    <a:pt x="120" y="58"/>
                  </a:lnTo>
                  <a:lnTo>
                    <a:pt x="120" y="58"/>
                  </a:lnTo>
                  <a:lnTo>
                    <a:pt x="120" y="61"/>
                  </a:lnTo>
                  <a:lnTo>
                    <a:pt x="122" y="61"/>
                  </a:lnTo>
                  <a:lnTo>
                    <a:pt x="122" y="61"/>
                  </a:lnTo>
                  <a:lnTo>
                    <a:pt x="125" y="60"/>
                  </a:lnTo>
                  <a:lnTo>
                    <a:pt x="125" y="60"/>
                  </a:lnTo>
                  <a:lnTo>
                    <a:pt x="130" y="61"/>
                  </a:lnTo>
                  <a:lnTo>
                    <a:pt x="130" y="58"/>
                  </a:lnTo>
                  <a:close/>
                  <a:moveTo>
                    <a:pt x="145" y="58"/>
                  </a:moveTo>
                  <a:lnTo>
                    <a:pt x="145" y="58"/>
                  </a:lnTo>
                  <a:lnTo>
                    <a:pt x="139" y="58"/>
                  </a:lnTo>
                  <a:lnTo>
                    <a:pt x="139" y="58"/>
                  </a:lnTo>
                  <a:lnTo>
                    <a:pt x="136" y="58"/>
                  </a:lnTo>
                  <a:lnTo>
                    <a:pt x="135" y="61"/>
                  </a:lnTo>
                  <a:lnTo>
                    <a:pt x="135" y="61"/>
                  </a:lnTo>
                  <a:lnTo>
                    <a:pt x="139" y="61"/>
                  </a:lnTo>
                  <a:lnTo>
                    <a:pt x="139" y="61"/>
                  </a:lnTo>
                  <a:lnTo>
                    <a:pt x="146" y="60"/>
                  </a:lnTo>
                  <a:lnTo>
                    <a:pt x="145" y="58"/>
                  </a:lnTo>
                  <a:close/>
                  <a:moveTo>
                    <a:pt x="158" y="54"/>
                  </a:moveTo>
                  <a:lnTo>
                    <a:pt x="158" y="54"/>
                  </a:lnTo>
                  <a:lnTo>
                    <a:pt x="158" y="54"/>
                  </a:lnTo>
                  <a:lnTo>
                    <a:pt x="155" y="55"/>
                  </a:lnTo>
                  <a:lnTo>
                    <a:pt x="155" y="55"/>
                  </a:lnTo>
                  <a:lnTo>
                    <a:pt x="151" y="57"/>
                  </a:lnTo>
                  <a:lnTo>
                    <a:pt x="151" y="60"/>
                  </a:lnTo>
                  <a:lnTo>
                    <a:pt x="151" y="60"/>
                  </a:lnTo>
                  <a:lnTo>
                    <a:pt x="157" y="57"/>
                  </a:lnTo>
                  <a:lnTo>
                    <a:pt x="157" y="57"/>
                  </a:lnTo>
                  <a:lnTo>
                    <a:pt x="159" y="55"/>
                  </a:lnTo>
                  <a:lnTo>
                    <a:pt x="159" y="55"/>
                  </a:lnTo>
                  <a:lnTo>
                    <a:pt x="161" y="54"/>
                  </a:lnTo>
                  <a:lnTo>
                    <a:pt x="158" y="54"/>
                  </a:lnTo>
                  <a:close/>
                  <a:moveTo>
                    <a:pt x="165" y="40"/>
                  </a:moveTo>
                  <a:lnTo>
                    <a:pt x="164" y="40"/>
                  </a:lnTo>
                  <a:lnTo>
                    <a:pt x="164" y="40"/>
                  </a:lnTo>
                  <a:lnTo>
                    <a:pt x="162" y="44"/>
                  </a:lnTo>
                  <a:lnTo>
                    <a:pt x="162" y="44"/>
                  </a:lnTo>
                  <a:lnTo>
                    <a:pt x="161" y="48"/>
                  </a:lnTo>
                  <a:lnTo>
                    <a:pt x="162" y="50"/>
                  </a:lnTo>
                  <a:lnTo>
                    <a:pt x="162" y="50"/>
                  </a:lnTo>
                  <a:lnTo>
                    <a:pt x="164" y="45"/>
                  </a:lnTo>
                  <a:lnTo>
                    <a:pt x="164" y="45"/>
                  </a:lnTo>
                  <a:lnTo>
                    <a:pt x="165" y="41"/>
                  </a:lnTo>
                  <a:lnTo>
                    <a:pt x="167" y="41"/>
                  </a:lnTo>
                  <a:lnTo>
                    <a:pt x="165" y="40"/>
                  </a:lnTo>
                  <a:close/>
                  <a:moveTo>
                    <a:pt x="180" y="34"/>
                  </a:moveTo>
                  <a:lnTo>
                    <a:pt x="180" y="34"/>
                  </a:lnTo>
                  <a:lnTo>
                    <a:pt x="170" y="37"/>
                  </a:lnTo>
                  <a:lnTo>
                    <a:pt x="171" y="40"/>
                  </a:lnTo>
                  <a:lnTo>
                    <a:pt x="171" y="40"/>
                  </a:lnTo>
                  <a:lnTo>
                    <a:pt x="180" y="37"/>
                  </a:lnTo>
                  <a:lnTo>
                    <a:pt x="180" y="34"/>
                  </a:lnTo>
                  <a:close/>
                  <a:moveTo>
                    <a:pt x="194" y="29"/>
                  </a:moveTo>
                  <a:lnTo>
                    <a:pt x="194" y="29"/>
                  </a:lnTo>
                  <a:lnTo>
                    <a:pt x="184" y="34"/>
                  </a:lnTo>
                  <a:lnTo>
                    <a:pt x="186" y="35"/>
                  </a:lnTo>
                  <a:lnTo>
                    <a:pt x="186" y="35"/>
                  </a:lnTo>
                  <a:lnTo>
                    <a:pt x="196" y="32"/>
                  </a:lnTo>
                  <a:lnTo>
                    <a:pt x="194" y="29"/>
                  </a:lnTo>
                  <a:close/>
                  <a:moveTo>
                    <a:pt x="209" y="25"/>
                  </a:moveTo>
                  <a:lnTo>
                    <a:pt x="209" y="25"/>
                  </a:lnTo>
                  <a:lnTo>
                    <a:pt x="199" y="28"/>
                  </a:lnTo>
                  <a:lnTo>
                    <a:pt x="200" y="31"/>
                  </a:lnTo>
                  <a:lnTo>
                    <a:pt x="200" y="31"/>
                  </a:lnTo>
                  <a:lnTo>
                    <a:pt x="209" y="26"/>
                  </a:lnTo>
                  <a:lnTo>
                    <a:pt x="209" y="25"/>
                  </a:lnTo>
                  <a:lnTo>
                    <a:pt x="209" y="25"/>
                  </a:lnTo>
                  <a:close/>
                  <a:moveTo>
                    <a:pt x="223" y="21"/>
                  </a:moveTo>
                  <a:lnTo>
                    <a:pt x="223" y="21"/>
                  </a:lnTo>
                  <a:lnTo>
                    <a:pt x="219" y="21"/>
                  </a:lnTo>
                  <a:lnTo>
                    <a:pt x="219" y="21"/>
                  </a:lnTo>
                  <a:lnTo>
                    <a:pt x="217" y="21"/>
                  </a:lnTo>
                  <a:lnTo>
                    <a:pt x="217" y="21"/>
                  </a:lnTo>
                  <a:lnTo>
                    <a:pt x="214" y="22"/>
                  </a:lnTo>
                  <a:lnTo>
                    <a:pt x="214" y="22"/>
                  </a:lnTo>
                  <a:lnTo>
                    <a:pt x="214" y="22"/>
                  </a:lnTo>
                  <a:lnTo>
                    <a:pt x="213" y="22"/>
                  </a:lnTo>
                  <a:lnTo>
                    <a:pt x="214" y="25"/>
                  </a:lnTo>
                  <a:lnTo>
                    <a:pt x="214" y="25"/>
                  </a:lnTo>
                  <a:lnTo>
                    <a:pt x="216" y="24"/>
                  </a:lnTo>
                  <a:lnTo>
                    <a:pt x="216" y="24"/>
                  </a:lnTo>
                  <a:lnTo>
                    <a:pt x="216" y="24"/>
                  </a:lnTo>
                  <a:lnTo>
                    <a:pt x="216" y="24"/>
                  </a:lnTo>
                  <a:lnTo>
                    <a:pt x="216" y="24"/>
                  </a:lnTo>
                  <a:lnTo>
                    <a:pt x="216" y="24"/>
                  </a:lnTo>
                  <a:lnTo>
                    <a:pt x="216" y="24"/>
                  </a:lnTo>
                  <a:lnTo>
                    <a:pt x="216" y="24"/>
                  </a:lnTo>
                  <a:lnTo>
                    <a:pt x="217" y="24"/>
                  </a:lnTo>
                  <a:lnTo>
                    <a:pt x="217" y="24"/>
                  </a:lnTo>
                  <a:lnTo>
                    <a:pt x="219" y="24"/>
                  </a:lnTo>
                  <a:lnTo>
                    <a:pt x="219" y="24"/>
                  </a:lnTo>
                  <a:lnTo>
                    <a:pt x="223" y="24"/>
                  </a:lnTo>
                  <a:lnTo>
                    <a:pt x="223" y="21"/>
                  </a:lnTo>
                  <a:close/>
                  <a:moveTo>
                    <a:pt x="239" y="22"/>
                  </a:moveTo>
                  <a:lnTo>
                    <a:pt x="239" y="22"/>
                  </a:lnTo>
                  <a:lnTo>
                    <a:pt x="229" y="21"/>
                  </a:lnTo>
                  <a:lnTo>
                    <a:pt x="229" y="24"/>
                  </a:lnTo>
                  <a:lnTo>
                    <a:pt x="229" y="24"/>
                  </a:lnTo>
                  <a:lnTo>
                    <a:pt x="238" y="25"/>
                  </a:lnTo>
                  <a:lnTo>
                    <a:pt x="239" y="22"/>
                  </a:lnTo>
                  <a:close/>
                  <a:moveTo>
                    <a:pt x="254" y="24"/>
                  </a:moveTo>
                  <a:lnTo>
                    <a:pt x="254" y="24"/>
                  </a:lnTo>
                  <a:lnTo>
                    <a:pt x="249" y="24"/>
                  </a:lnTo>
                  <a:lnTo>
                    <a:pt x="249" y="24"/>
                  </a:lnTo>
                  <a:lnTo>
                    <a:pt x="243" y="22"/>
                  </a:lnTo>
                  <a:lnTo>
                    <a:pt x="243" y="25"/>
                  </a:lnTo>
                  <a:lnTo>
                    <a:pt x="243" y="25"/>
                  </a:lnTo>
                  <a:lnTo>
                    <a:pt x="249" y="26"/>
                  </a:lnTo>
                  <a:lnTo>
                    <a:pt x="249" y="26"/>
                  </a:lnTo>
                  <a:lnTo>
                    <a:pt x="254" y="26"/>
                  </a:lnTo>
                  <a:lnTo>
                    <a:pt x="254" y="24"/>
                  </a:lnTo>
                  <a:close/>
                  <a:moveTo>
                    <a:pt x="270" y="26"/>
                  </a:moveTo>
                  <a:lnTo>
                    <a:pt x="270" y="26"/>
                  </a:lnTo>
                  <a:lnTo>
                    <a:pt x="259" y="25"/>
                  </a:lnTo>
                  <a:lnTo>
                    <a:pt x="258" y="28"/>
                  </a:lnTo>
                  <a:lnTo>
                    <a:pt x="258" y="28"/>
                  </a:lnTo>
                  <a:lnTo>
                    <a:pt x="268" y="29"/>
                  </a:lnTo>
                  <a:lnTo>
                    <a:pt x="270" y="26"/>
                  </a:lnTo>
                  <a:close/>
                  <a:moveTo>
                    <a:pt x="284" y="31"/>
                  </a:moveTo>
                  <a:lnTo>
                    <a:pt x="284" y="31"/>
                  </a:lnTo>
                  <a:lnTo>
                    <a:pt x="274" y="28"/>
                  </a:lnTo>
                  <a:lnTo>
                    <a:pt x="274" y="31"/>
                  </a:lnTo>
                  <a:lnTo>
                    <a:pt x="274" y="31"/>
                  </a:lnTo>
                  <a:lnTo>
                    <a:pt x="283" y="34"/>
                  </a:lnTo>
                  <a:lnTo>
                    <a:pt x="284" y="31"/>
                  </a:lnTo>
                  <a:close/>
                  <a:moveTo>
                    <a:pt x="298" y="35"/>
                  </a:moveTo>
                  <a:lnTo>
                    <a:pt x="298" y="35"/>
                  </a:lnTo>
                  <a:lnTo>
                    <a:pt x="288" y="32"/>
                  </a:lnTo>
                  <a:lnTo>
                    <a:pt x="288" y="34"/>
                  </a:lnTo>
                  <a:lnTo>
                    <a:pt x="288" y="34"/>
                  </a:lnTo>
                  <a:lnTo>
                    <a:pt x="297" y="37"/>
                  </a:lnTo>
                  <a:lnTo>
                    <a:pt x="298" y="35"/>
                  </a:lnTo>
                  <a:close/>
                  <a:moveTo>
                    <a:pt x="313" y="40"/>
                  </a:moveTo>
                  <a:lnTo>
                    <a:pt x="313" y="40"/>
                  </a:lnTo>
                  <a:lnTo>
                    <a:pt x="303" y="37"/>
                  </a:lnTo>
                  <a:lnTo>
                    <a:pt x="303" y="40"/>
                  </a:lnTo>
                  <a:lnTo>
                    <a:pt x="303" y="40"/>
                  </a:lnTo>
                  <a:lnTo>
                    <a:pt x="313" y="41"/>
                  </a:lnTo>
                  <a:lnTo>
                    <a:pt x="313"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59" name="Freeform 1729"/>
            <p:cNvSpPr>
              <a:spLocks noEditPoints="1"/>
            </p:cNvSpPr>
            <p:nvPr/>
          </p:nvSpPr>
          <p:spPr bwMode="auto">
            <a:xfrm>
              <a:off x="6024563" y="3594529"/>
              <a:ext cx="150813" cy="142875"/>
            </a:xfrm>
            <a:custGeom>
              <a:avLst/>
              <a:gdLst>
                <a:gd name="T0" fmla="*/ 63 w 95"/>
                <a:gd name="T1" fmla="*/ 6 h 90"/>
                <a:gd name="T2" fmla="*/ 60 w 95"/>
                <a:gd name="T3" fmla="*/ 0 h 90"/>
                <a:gd name="T4" fmla="*/ 60 w 95"/>
                <a:gd name="T5" fmla="*/ 6 h 90"/>
                <a:gd name="T6" fmla="*/ 79 w 95"/>
                <a:gd name="T7" fmla="*/ 10 h 90"/>
                <a:gd name="T8" fmla="*/ 68 w 95"/>
                <a:gd name="T9" fmla="*/ 7 h 90"/>
                <a:gd name="T10" fmla="*/ 78 w 95"/>
                <a:gd name="T11" fmla="*/ 12 h 90"/>
                <a:gd name="T12" fmla="*/ 91 w 95"/>
                <a:gd name="T13" fmla="*/ 20 h 90"/>
                <a:gd name="T14" fmla="*/ 82 w 95"/>
                <a:gd name="T15" fmla="*/ 14 h 90"/>
                <a:gd name="T16" fmla="*/ 88 w 95"/>
                <a:gd name="T17" fmla="*/ 20 h 90"/>
                <a:gd name="T18" fmla="*/ 94 w 95"/>
                <a:gd name="T19" fmla="*/ 35 h 90"/>
                <a:gd name="T20" fmla="*/ 95 w 95"/>
                <a:gd name="T21" fmla="*/ 30 h 90"/>
                <a:gd name="T22" fmla="*/ 92 w 95"/>
                <a:gd name="T23" fmla="*/ 25 h 90"/>
                <a:gd name="T24" fmla="*/ 92 w 95"/>
                <a:gd name="T25" fmla="*/ 30 h 90"/>
                <a:gd name="T26" fmla="*/ 92 w 95"/>
                <a:gd name="T27" fmla="*/ 30 h 90"/>
                <a:gd name="T28" fmla="*/ 78 w 95"/>
                <a:gd name="T29" fmla="*/ 39 h 90"/>
                <a:gd name="T30" fmla="*/ 82 w 95"/>
                <a:gd name="T31" fmla="*/ 41 h 90"/>
                <a:gd name="T32" fmla="*/ 88 w 95"/>
                <a:gd name="T33" fmla="*/ 36 h 90"/>
                <a:gd name="T34" fmla="*/ 81 w 95"/>
                <a:gd name="T35" fmla="*/ 38 h 90"/>
                <a:gd name="T36" fmla="*/ 78 w 95"/>
                <a:gd name="T37" fmla="*/ 39 h 90"/>
                <a:gd name="T38" fmla="*/ 73 w 95"/>
                <a:gd name="T39" fmla="*/ 39 h 90"/>
                <a:gd name="T40" fmla="*/ 63 w 95"/>
                <a:gd name="T41" fmla="*/ 35 h 90"/>
                <a:gd name="T42" fmla="*/ 59 w 95"/>
                <a:gd name="T43" fmla="*/ 26 h 90"/>
                <a:gd name="T44" fmla="*/ 56 w 95"/>
                <a:gd name="T45" fmla="*/ 33 h 90"/>
                <a:gd name="T46" fmla="*/ 59 w 95"/>
                <a:gd name="T47" fmla="*/ 36 h 90"/>
                <a:gd name="T48" fmla="*/ 59 w 95"/>
                <a:gd name="T49" fmla="*/ 33 h 90"/>
                <a:gd name="T50" fmla="*/ 59 w 95"/>
                <a:gd name="T51" fmla="*/ 33 h 90"/>
                <a:gd name="T52" fmla="*/ 59 w 95"/>
                <a:gd name="T53" fmla="*/ 33 h 90"/>
                <a:gd name="T54" fmla="*/ 58 w 95"/>
                <a:gd name="T55" fmla="*/ 17 h 90"/>
                <a:gd name="T56" fmla="*/ 59 w 95"/>
                <a:gd name="T57" fmla="*/ 17 h 90"/>
                <a:gd name="T58" fmla="*/ 60 w 95"/>
                <a:gd name="T59" fmla="*/ 17 h 90"/>
                <a:gd name="T60" fmla="*/ 63 w 95"/>
                <a:gd name="T61" fmla="*/ 22 h 90"/>
                <a:gd name="T62" fmla="*/ 63 w 95"/>
                <a:gd name="T63" fmla="*/ 17 h 90"/>
                <a:gd name="T64" fmla="*/ 62 w 95"/>
                <a:gd name="T65" fmla="*/ 14 h 90"/>
                <a:gd name="T66" fmla="*/ 58 w 95"/>
                <a:gd name="T67" fmla="*/ 14 h 90"/>
                <a:gd name="T68" fmla="*/ 43 w 95"/>
                <a:gd name="T69" fmla="*/ 23 h 90"/>
                <a:gd name="T70" fmla="*/ 52 w 95"/>
                <a:gd name="T71" fmla="*/ 16 h 90"/>
                <a:gd name="T72" fmla="*/ 34 w 95"/>
                <a:gd name="T73" fmla="*/ 33 h 90"/>
                <a:gd name="T74" fmla="*/ 37 w 95"/>
                <a:gd name="T75" fmla="*/ 23 h 90"/>
                <a:gd name="T76" fmla="*/ 34 w 95"/>
                <a:gd name="T77" fmla="*/ 33 h 90"/>
                <a:gd name="T78" fmla="*/ 26 w 95"/>
                <a:gd name="T79" fmla="*/ 45 h 90"/>
                <a:gd name="T80" fmla="*/ 29 w 95"/>
                <a:gd name="T81" fmla="*/ 36 h 90"/>
                <a:gd name="T82" fmla="*/ 24 w 95"/>
                <a:gd name="T83" fmla="*/ 42 h 90"/>
                <a:gd name="T84" fmla="*/ 8 w 95"/>
                <a:gd name="T85" fmla="*/ 49 h 90"/>
                <a:gd name="T86" fmla="*/ 18 w 95"/>
                <a:gd name="T87" fmla="*/ 45 h 90"/>
                <a:gd name="T88" fmla="*/ 8 w 95"/>
                <a:gd name="T89" fmla="*/ 49 h 90"/>
                <a:gd name="T90" fmla="*/ 4 w 95"/>
                <a:gd name="T91" fmla="*/ 54 h 90"/>
                <a:gd name="T92" fmla="*/ 4 w 95"/>
                <a:gd name="T93" fmla="*/ 51 h 90"/>
                <a:gd name="T94" fmla="*/ 3 w 95"/>
                <a:gd name="T95" fmla="*/ 49 h 90"/>
                <a:gd name="T96" fmla="*/ 1 w 95"/>
                <a:gd name="T97" fmla="*/ 51 h 90"/>
                <a:gd name="T98" fmla="*/ 4 w 95"/>
                <a:gd name="T99" fmla="*/ 59 h 90"/>
                <a:gd name="T100" fmla="*/ 3 w 95"/>
                <a:gd name="T101" fmla="*/ 65 h 90"/>
                <a:gd name="T102" fmla="*/ 0 w 95"/>
                <a:gd name="T103" fmla="*/ 75 h 90"/>
                <a:gd name="T104" fmla="*/ 3 w 95"/>
                <a:gd name="T105" fmla="*/ 90 h 90"/>
                <a:gd name="T106" fmla="*/ 0 w 95"/>
                <a:gd name="T107" fmla="*/ 8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5" h="90">
                  <a:moveTo>
                    <a:pt x="63" y="7"/>
                  </a:moveTo>
                  <a:lnTo>
                    <a:pt x="63" y="7"/>
                  </a:lnTo>
                  <a:lnTo>
                    <a:pt x="63" y="6"/>
                  </a:lnTo>
                  <a:lnTo>
                    <a:pt x="63" y="6"/>
                  </a:lnTo>
                  <a:lnTo>
                    <a:pt x="62" y="0"/>
                  </a:lnTo>
                  <a:lnTo>
                    <a:pt x="60" y="0"/>
                  </a:lnTo>
                  <a:lnTo>
                    <a:pt x="60" y="0"/>
                  </a:lnTo>
                  <a:lnTo>
                    <a:pt x="60" y="6"/>
                  </a:lnTo>
                  <a:lnTo>
                    <a:pt x="60" y="6"/>
                  </a:lnTo>
                  <a:lnTo>
                    <a:pt x="63" y="9"/>
                  </a:lnTo>
                  <a:lnTo>
                    <a:pt x="63" y="7"/>
                  </a:lnTo>
                  <a:close/>
                  <a:moveTo>
                    <a:pt x="79" y="10"/>
                  </a:moveTo>
                  <a:lnTo>
                    <a:pt x="79" y="10"/>
                  </a:lnTo>
                  <a:lnTo>
                    <a:pt x="73" y="9"/>
                  </a:lnTo>
                  <a:lnTo>
                    <a:pt x="68" y="7"/>
                  </a:lnTo>
                  <a:lnTo>
                    <a:pt x="68" y="10"/>
                  </a:lnTo>
                  <a:lnTo>
                    <a:pt x="68" y="10"/>
                  </a:lnTo>
                  <a:lnTo>
                    <a:pt x="78" y="12"/>
                  </a:lnTo>
                  <a:lnTo>
                    <a:pt x="79" y="10"/>
                  </a:lnTo>
                  <a:close/>
                  <a:moveTo>
                    <a:pt x="91" y="20"/>
                  </a:moveTo>
                  <a:lnTo>
                    <a:pt x="91" y="20"/>
                  </a:lnTo>
                  <a:lnTo>
                    <a:pt x="88" y="16"/>
                  </a:lnTo>
                  <a:lnTo>
                    <a:pt x="84" y="12"/>
                  </a:lnTo>
                  <a:lnTo>
                    <a:pt x="82" y="14"/>
                  </a:lnTo>
                  <a:lnTo>
                    <a:pt x="82" y="14"/>
                  </a:lnTo>
                  <a:lnTo>
                    <a:pt x="85" y="17"/>
                  </a:lnTo>
                  <a:lnTo>
                    <a:pt x="88" y="20"/>
                  </a:lnTo>
                  <a:lnTo>
                    <a:pt x="91" y="20"/>
                  </a:lnTo>
                  <a:close/>
                  <a:moveTo>
                    <a:pt x="94" y="35"/>
                  </a:moveTo>
                  <a:lnTo>
                    <a:pt x="94" y="35"/>
                  </a:lnTo>
                  <a:lnTo>
                    <a:pt x="95" y="33"/>
                  </a:lnTo>
                  <a:lnTo>
                    <a:pt x="95" y="30"/>
                  </a:lnTo>
                  <a:lnTo>
                    <a:pt x="95" y="30"/>
                  </a:lnTo>
                  <a:lnTo>
                    <a:pt x="95" y="29"/>
                  </a:lnTo>
                  <a:lnTo>
                    <a:pt x="95" y="29"/>
                  </a:lnTo>
                  <a:lnTo>
                    <a:pt x="92" y="25"/>
                  </a:lnTo>
                  <a:lnTo>
                    <a:pt x="91" y="26"/>
                  </a:lnTo>
                  <a:lnTo>
                    <a:pt x="91" y="26"/>
                  </a:lnTo>
                  <a:lnTo>
                    <a:pt x="92" y="30"/>
                  </a:lnTo>
                  <a:lnTo>
                    <a:pt x="92" y="30"/>
                  </a:lnTo>
                  <a:lnTo>
                    <a:pt x="92" y="30"/>
                  </a:lnTo>
                  <a:lnTo>
                    <a:pt x="92" y="30"/>
                  </a:lnTo>
                  <a:lnTo>
                    <a:pt x="92" y="33"/>
                  </a:lnTo>
                  <a:lnTo>
                    <a:pt x="94" y="35"/>
                  </a:lnTo>
                  <a:close/>
                  <a:moveTo>
                    <a:pt x="78" y="39"/>
                  </a:moveTo>
                  <a:lnTo>
                    <a:pt x="78" y="39"/>
                  </a:lnTo>
                  <a:lnTo>
                    <a:pt x="81" y="41"/>
                  </a:lnTo>
                  <a:lnTo>
                    <a:pt x="82" y="41"/>
                  </a:lnTo>
                  <a:lnTo>
                    <a:pt x="82" y="41"/>
                  </a:lnTo>
                  <a:lnTo>
                    <a:pt x="89" y="38"/>
                  </a:lnTo>
                  <a:lnTo>
                    <a:pt x="88" y="36"/>
                  </a:lnTo>
                  <a:lnTo>
                    <a:pt x="88" y="36"/>
                  </a:lnTo>
                  <a:lnTo>
                    <a:pt x="82" y="38"/>
                  </a:lnTo>
                  <a:lnTo>
                    <a:pt x="81" y="38"/>
                  </a:lnTo>
                  <a:lnTo>
                    <a:pt x="81" y="38"/>
                  </a:lnTo>
                  <a:lnTo>
                    <a:pt x="79" y="38"/>
                  </a:lnTo>
                  <a:lnTo>
                    <a:pt x="78" y="39"/>
                  </a:lnTo>
                  <a:close/>
                  <a:moveTo>
                    <a:pt x="63" y="36"/>
                  </a:moveTo>
                  <a:lnTo>
                    <a:pt x="63" y="36"/>
                  </a:lnTo>
                  <a:lnTo>
                    <a:pt x="73" y="39"/>
                  </a:lnTo>
                  <a:lnTo>
                    <a:pt x="73" y="36"/>
                  </a:lnTo>
                  <a:lnTo>
                    <a:pt x="73" y="36"/>
                  </a:lnTo>
                  <a:lnTo>
                    <a:pt x="63" y="35"/>
                  </a:lnTo>
                  <a:lnTo>
                    <a:pt x="63" y="36"/>
                  </a:lnTo>
                  <a:close/>
                  <a:moveTo>
                    <a:pt x="59" y="26"/>
                  </a:moveTo>
                  <a:lnTo>
                    <a:pt x="59" y="26"/>
                  </a:lnTo>
                  <a:lnTo>
                    <a:pt x="56" y="30"/>
                  </a:lnTo>
                  <a:lnTo>
                    <a:pt x="56" y="33"/>
                  </a:lnTo>
                  <a:lnTo>
                    <a:pt x="56" y="33"/>
                  </a:lnTo>
                  <a:lnTo>
                    <a:pt x="56" y="35"/>
                  </a:lnTo>
                  <a:lnTo>
                    <a:pt x="56" y="35"/>
                  </a:lnTo>
                  <a:lnTo>
                    <a:pt x="59" y="36"/>
                  </a:lnTo>
                  <a:lnTo>
                    <a:pt x="59" y="33"/>
                  </a:lnTo>
                  <a:lnTo>
                    <a:pt x="59" y="33"/>
                  </a:lnTo>
                  <a:lnTo>
                    <a:pt x="59" y="33"/>
                  </a:lnTo>
                  <a:lnTo>
                    <a:pt x="59" y="33"/>
                  </a:lnTo>
                  <a:lnTo>
                    <a:pt x="59" y="33"/>
                  </a:lnTo>
                  <a:lnTo>
                    <a:pt x="59" y="33"/>
                  </a:lnTo>
                  <a:lnTo>
                    <a:pt x="59" y="33"/>
                  </a:lnTo>
                  <a:lnTo>
                    <a:pt x="59" y="33"/>
                  </a:lnTo>
                  <a:lnTo>
                    <a:pt x="59" y="33"/>
                  </a:lnTo>
                  <a:lnTo>
                    <a:pt x="60" y="26"/>
                  </a:lnTo>
                  <a:lnTo>
                    <a:pt x="59" y="26"/>
                  </a:lnTo>
                  <a:close/>
                  <a:moveTo>
                    <a:pt x="58" y="17"/>
                  </a:moveTo>
                  <a:lnTo>
                    <a:pt x="58" y="17"/>
                  </a:lnTo>
                  <a:lnTo>
                    <a:pt x="59" y="17"/>
                  </a:lnTo>
                  <a:lnTo>
                    <a:pt x="59" y="17"/>
                  </a:lnTo>
                  <a:lnTo>
                    <a:pt x="60" y="17"/>
                  </a:lnTo>
                  <a:lnTo>
                    <a:pt x="60" y="17"/>
                  </a:lnTo>
                  <a:lnTo>
                    <a:pt x="60" y="17"/>
                  </a:lnTo>
                  <a:lnTo>
                    <a:pt x="60" y="17"/>
                  </a:lnTo>
                  <a:lnTo>
                    <a:pt x="60" y="20"/>
                  </a:lnTo>
                  <a:lnTo>
                    <a:pt x="63" y="22"/>
                  </a:lnTo>
                  <a:lnTo>
                    <a:pt x="63" y="22"/>
                  </a:lnTo>
                  <a:lnTo>
                    <a:pt x="63" y="17"/>
                  </a:lnTo>
                  <a:lnTo>
                    <a:pt x="63" y="17"/>
                  </a:lnTo>
                  <a:lnTo>
                    <a:pt x="63" y="17"/>
                  </a:lnTo>
                  <a:lnTo>
                    <a:pt x="62" y="14"/>
                  </a:lnTo>
                  <a:lnTo>
                    <a:pt x="62" y="14"/>
                  </a:lnTo>
                  <a:lnTo>
                    <a:pt x="59" y="14"/>
                  </a:lnTo>
                  <a:lnTo>
                    <a:pt x="59" y="14"/>
                  </a:lnTo>
                  <a:lnTo>
                    <a:pt x="58" y="14"/>
                  </a:lnTo>
                  <a:lnTo>
                    <a:pt x="58" y="17"/>
                  </a:lnTo>
                  <a:close/>
                  <a:moveTo>
                    <a:pt x="43" y="23"/>
                  </a:moveTo>
                  <a:lnTo>
                    <a:pt x="43" y="23"/>
                  </a:lnTo>
                  <a:lnTo>
                    <a:pt x="53" y="19"/>
                  </a:lnTo>
                  <a:lnTo>
                    <a:pt x="52" y="16"/>
                  </a:lnTo>
                  <a:lnTo>
                    <a:pt x="52" y="16"/>
                  </a:lnTo>
                  <a:lnTo>
                    <a:pt x="42" y="20"/>
                  </a:lnTo>
                  <a:lnTo>
                    <a:pt x="43" y="23"/>
                  </a:lnTo>
                  <a:close/>
                  <a:moveTo>
                    <a:pt x="34" y="33"/>
                  </a:moveTo>
                  <a:lnTo>
                    <a:pt x="34" y="33"/>
                  </a:lnTo>
                  <a:lnTo>
                    <a:pt x="40" y="25"/>
                  </a:lnTo>
                  <a:lnTo>
                    <a:pt x="37" y="23"/>
                  </a:lnTo>
                  <a:lnTo>
                    <a:pt x="37" y="23"/>
                  </a:lnTo>
                  <a:lnTo>
                    <a:pt x="31" y="32"/>
                  </a:lnTo>
                  <a:lnTo>
                    <a:pt x="34" y="33"/>
                  </a:lnTo>
                  <a:close/>
                  <a:moveTo>
                    <a:pt x="24" y="45"/>
                  </a:moveTo>
                  <a:lnTo>
                    <a:pt x="24" y="45"/>
                  </a:lnTo>
                  <a:lnTo>
                    <a:pt x="26" y="45"/>
                  </a:lnTo>
                  <a:lnTo>
                    <a:pt x="26" y="45"/>
                  </a:lnTo>
                  <a:lnTo>
                    <a:pt x="31" y="38"/>
                  </a:lnTo>
                  <a:lnTo>
                    <a:pt x="29" y="36"/>
                  </a:lnTo>
                  <a:lnTo>
                    <a:pt x="29" y="36"/>
                  </a:lnTo>
                  <a:lnTo>
                    <a:pt x="24" y="42"/>
                  </a:lnTo>
                  <a:lnTo>
                    <a:pt x="24" y="42"/>
                  </a:lnTo>
                  <a:lnTo>
                    <a:pt x="23" y="43"/>
                  </a:lnTo>
                  <a:lnTo>
                    <a:pt x="24" y="45"/>
                  </a:lnTo>
                  <a:close/>
                  <a:moveTo>
                    <a:pt x="8" y="49"/>
                  </a:moveTo>
                  <a:lnTo>
                    <a:pt x="8" y="49"/>
                  </a:lnTo>
                  <a:lnTo>
                    <a:pt x="18" y="48"/>
                  </a:lnTo>
                  <a:lnTo>
                    <a:pt x="18" y="45"/>
                  </a:lnTo>
                  <a:lnTo>
                    <a:pt x="18" y="45"/>
                  </a:lnTo>
                  <a:lnTo>
                    <a:pt x="8" y="46"/>
                  </a:lnTo>
                  <a:lnTo>
                    <a:pt x="8" y="49"/>
                  </a:lnTo>
                  <a:close/>
                  <a:moveTo>
                    <a:pt x="4" y="59"/>
                  </a:moveTo>
                  <a:lnTo>
                    <a:pt x="4" y="59"/>
                  </a:lnTo>
                  <a:lnTo>
                    <a:pt x="4" y="54"/>
                  </a:lnTo>
                  <a:lnTo>
                    <a:pt x="4" y="54"/>
                  </a:lnTo>
                  <a:lnTo>
                    <a:pt x="4" y="52"/>
                  </a:lnTo>
                  <a:lnTo>
                    <a:pt x="4" y="51"/>
                  </a:lnTo>
                  <a:lnTo>
                    <a:pt x="4" y="51"/>
                  </a:lnTo>
                  <a:lnTo>
                    <a:pt x="4" y="51"/>
                  </a:lnTo>
                  <a:lnTo>
                    <a:pt x="3" y="49"/>
                  </a:lnTo>
                  <a:lnTo>
                    <a:pt x="3" y="49"/>
                  </a:lnTo>
                  <a:lnTo>
                    <a:pt x="3" y="49"/>
                  </a:lnTo>
                  <a:lnTo>
                    <a:pt x="1" y="51"/>
                  </a:lnTo>
                  <a:lnTo>
                    <a:pt x="1" y="51"/>
                  </a:lnTo>
                  <a:lnTo>
                    <a:pt x="1" y="59"/>
                  </a:lnTo>
                  <a:lnTo>
                    <a:pt x="4" y="59"/>
                  </a:lnTo>
                  <a:close/>
                  <a:moveTo>
                    <a:pt x="3" y="75"/>
                  </a:moveTo>
                  <a:lnTo>
                    <a:pt x="3" y="75"/>
                  </a:lnTo>
                  <a:lnTo>
                    <a:pt x="3" y="65"/>
                  </a:lnTo>
                  <a:lnTo>
                    <a:pt x="1" y="65"/>
                  </a:lnTo>
                  <a:lnTo>
                    <a:pt x="1" y="65"/>
                  </a:lnTo>
                  <a:lnTo>
                    <a:pt x="0" y="75"/>
                  </a:lnTo>
                  <a:lnTo>
                    <a:pt x="3" y="75"/>
                  </a:lnTo>
                  <a:close/>
                  <a:moveTo>
                    <a:pt x="3" y="90"/>
                  </a:moveTo>
                  <a:lnTo>
                    <a:pt x="3" y="90"/>
                  </a:lnTo>
                  <a:lnTo>
                    <a:pt x="3" y="80"/>
                  </a:lnTo>
                  <a:lnTo>
                    <a:pt x="0" y="80"/>
                  </a:lnTo>
                  <a:lnTo>
                    <a:pt x="0" y="80"/>
                  </a:lnTo>
                  <a:lnTo>
                    <a:pt x="0" y="90"/>
                  </a:lnTo>
                  <a:lnTo>
                    <a:pt x="3"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60" name="Freeform 1730"/>
            <p:cNvSpPr>
              <a:spLocks noEditPoints="1"/>
            </p:cNvSpPr>
            <p:nvPr/>
          </p:nvSpPr>
          <p:spPr bwMode="auto">
            <a:xfrm>
              <a:off x="6145213" y="3654854"/>
              <a:ext cx="53975" cy="31750"/>
            </a:xfrm>
            <a:custGeom>
              <a:avLst/>
              <a:gdLst>
                <a:gd name="T0" fmla="*/ 6 w 34"/>
                <a:gd name="T1" fmla="*/ 4 h 20"/>
                <a:gd name="T2" fmla="*/ 6 w 34"/>
                <a:gd name="T3" fmla="*/ 4 h 20"/>
                <a:gd name="T4" fmla="*/ 8 w 34"/>
                <a:gd name="T5" fmla="*/ 1 h 20"/>
                <a:gd name="T6" fmla="*/ 5 w 34"/>
                <a:gd name="T7" fmla="*/ 0 h 20"/>
                <a:gd name="T8" fmla="*/ 5 w 34"/>
                <a:gd name="T9" fmla="*/ 0 h 20"/>
                <a:gd name="T10" fmla="*/ 3 w 34"/>
                <a:gd name="T11" fmla="*/ 3 h 20"/>
                <a:gd name="T12" fmla="*/ 6 w 34"/>
                <a:gd name="T13" fmla="*/ 4 h 20"/>
                <a:gd name="T14" fmla="*/ 5 w 34"/>
                <a:gd name="T15" fmla="*/ 16 h 20"/>
                <a:gd name="T16" fmla="*/ 5 w 34"/>
                <a:gd name="T17" fmla="*/ 16 h 20"/>
                <a:gd name="T18" fmla="*/ 3 w 34"/>
                <a:gd name="T19" fmla="*/ 16 h 20"/>
                <a:gd name="T20" fmla="*/ 3 w 34"/>
                <a:gd name="T21" fmla="*/ 14 h 20"/>
                <a:gd name="T22" fmla="*/ 3 w 34"/>
                <a:gd name="T23" fmla="*/ 14 h 20"/>
                <a:gd name="T24" fmla="*/ 5 w 34"/>
                <a:gd name="T25" fmla="*/ 8 h 20"/>
                <a:gd name="T26" fmla="*/ 2 w 34"/>
                <a:gd name="T27" fmla="*/ 8 h 20"/>
                <a:gd name="T28" fmla="*/ 2 w 34"/>
                <a:gd name="T29" fmla="*/ 8 h 20"/>
                <a:gd name="T30" fmla="*/ 0 w 34"/>
                <a:gd name="T31" fmla="*/ 14 h 20"/>
                <a:gd name="T32" fmla="*/ 0 w 34"/>
                <a:gd name="T33" fmla="*/ 16 h 20"/>
                <a:gd name="T34" fmla="*/ 0 w 34"/>
                <a:gd name="T35" fmla="*/ 16 h 20"/>
                <a:gd name="T36" fmla="*/ 2 w 34"/>
                <a:gd name="T37" fmla="*/ 17 h 20"/>
                <a:gd name="T38" fmla="*/ 3 w 34"/>
                <a:gd name="T39" fmla="*/ 19 h 20"/>
                <a:gd name="T40" fmla="*/ 5 w 34"/>
                <a:gd name="T41" fmla="*/ 16 h 20"/>
                <a:gd name="T42" fmla="*/ 19 w 34"/>
                <a:gd name="T43" fmla="*/ 16 h 20"/>
                <a:gd name="T44" fmla="*/ 19 w 34"/>
                <a:gd name="T45" fmla="*/ 16 h 20"/>
                <a:gd name="T46" fmla="*/ 9 w 34"/>
                <a:gd name="T47" fmla="*/ 17 h 20"/>
                <a:gd name="T48" fmla="*/ 9 w 34"/>
                <a:gd name="T49" fmla="*/ 17 h 20"/>
                <a:gd name="T50" fmla="*/ 9 w 34"/>
                <a:gd name="T51" fmla="*/ 20 h 20"/>
                <a:gd name="T52" fmla="*/ 9 w 34"/>
                <a:gd name="T53" fmla="*/ 20 h 20"/>
                <a:gd name="T54" fmla="*/ 9 w 34"/>
                <a:gd name="T55" fmla="*/ 20 h 20"/>
                <a:gd name="T56" fmla="*/ 19 w 34"/>
                <a:gd name="T57" fmla="*/ 19 h 20"/>
                <a:gd name="T58" fmla="*/ 19 w 34"/>
                <a:gd name="T59" fmla="*/ 16 h 20"/>
                <a:gd name="T60" fmla="*/ 34 w 34"/>
                <a:gd name="T61" fmla="*/ 13 h 20"/>
                <a:gd name="T62" fmla="*/ 34 w 34"/>
                <a:gd name="T63" fmla="*/ 13 h 20"/>
                <a:gd name="T64" fmla="*/ 24 w 34"/>
                <a:gd name="T65" fmla="*/ 16 h 20"/>
                <a:gd name="T66" fmla="*/ 24 w 34"/>
                <a:gd name="T67" fmla="*/ 17 h 20"/>
                <a:gd name="T68" fmla="*/ 24 w 34"/>
                <a:gd name="T69" fmla="*/ 17 h 20"/>
                <a:gd name="T70" fmla="*/ 34 w 34"/>
                <a:gd name="T71" fmla="*/ 16 h 20"/>
                <a:gd name="T72" fmla="*/ 34 w 34"/>
                <a:gd name="T73"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 h="20">
                  <a:moveTo>
                    <a:pt x="6" y="4"/>
                  </a:moveTo>
                  <a:lnTo>
                    <a:pt x="6" y="4"/>
                  </a:lnTo>
                  <a:lnTo>
                    <a:pt x="8" y="1"/>
                  </a:lnTo>
                  <a:lnTo>
                    <a:pt x="5" y="0"/>
                  </a:lnTo>
                  <a:lnTo>
                    <a:pt x="5" y="0"/>
                  </a:lnTo>
                  <a:lnTo>
                    <a:pt x="3" y="3"/>
                  </a:lnTo>
                  <a:lnTo>
                    <a:pt x="6" y="4"/>
                  </a:lnTo>
                  <a:close/>
                  <a:moveTo>
                    <a:pt x="5" y="16"/>
                  </a:moveTo>
                  <a:lnTo>
                    <a:pt x="5" y="16"/>
                  </a:lnTo>
                  <a:lnTo>
                    <a:pt x="3" y="16"/>
                  </a:lnTo>
                  <a:lnTo>
                    <a:pt x="3" y="14"/>
                  </a:lnTo>
                  <a:lnTo>
                    <a:pt x="3" y="14"/>
                  </a:lnTo>
                  <a:lnTo>
                    <a:pt x="5" y="8"/>
                  </a:lnTo>
                  <a:lnTo>
                    <a:pt x="2" y="8"/>
                  </a:lnTo>
                  <a:lnTo>
                    <a:pt x="2" y="8"/>
                  </a:lnTo>
                  <a:lnTo>
                    <a:pt x="0" y="14"/>
                  </a:lnTo>
                  <a:lnTo>
                    <a:pt x="0" y="16"/>
                  </a:lnTo>
                  <a:lnTo>
                    <a:pt x="0" y="16"/>
                  </a:lnTo>
                  <a:lnTo>
                    <a:pt x="2" y="17"/>
                  </a:lnTo>
                  <a:lnTo>
                    <a:pt x="3" y="19"/>
                  </a:lnTo>
                  <a:lnTo>
                    <a:pt x="5" y="16"/>
                  </a:lnTo>
                  <a:close/>
                  <a:moveTo>
                    <a:pt x="19" y="16"/>
                  </a:moveTo>
                  <a:lnTo>
                    <a:pt x="19" y="16"/>
                  </a:lnTo>
                  <a:lnTo>
                    <a:pt x="9" y="17"/>
                  </a:lnTo>
                  <a:lnTo>
                    <a:pt x="9" y="17"/>
                  </a:lnTo>
                  <a:lnTo>
                    <a:pt x="9" y="20"/>
                  </a:lnTo>
                  <a:lnTo>
                    <a:pt x="9" y="20"/>
                  </a:lnTo>
                  <a:lnTo>
                    <a:pt x="9" y="20"/>
                  </a:lnTo>
                  <a:lnTo>
                    <a:pt x="19" y="19"/>
                  </a:lnTo>
                  <a:lnTo>
                    <a:pt x="19" y="16"/>
                  </a:lnTo>
                  <a:close/>
                  <a:moveTo>
                    <a:pt x="34" y="13"/>
                  </a:moveTo>
                  <a:lnTo>
                    <a:pt x="34" y="13"/>
                  </a:lnTo>
                  <a:lnTo>
                    <a:pt x="24" y="16"/>
                  </a:lnTo>
                  <a:lnTo>
                    <a:pt x="24" y="17"/>
                  </a:lnTo>
                  <a:lnTo>
                    <a:pt x="24" y="17"/>
                  </a:lnTo>
                  <a:lnTo>
                    <a:pt x="34" y="16"/>
                  </a:lnTo>
                  <a:lnTo>
                    <a:pt x="34"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61" name="Freeform 1732"/>
            <p:cNvSpPr>
              <a:spLocks/>
            </p:cNvSpPr>
            <p:nvPr/>
          </p:nvSpPr>
          <p:spPr bwMode="auto">
            <a:xfrm>
              <a:off x="7640638" y="3559604"/>
              <a:ext cx="6350" cy="15875"/>
            </a:xfrm>
            <a:custGeom>
              <a:avLst/>
              <a:gdLst>
                <a:gd name="T0" fmla="*/ 4 w 4"/>
                <a:gd name="T1" fmla="*/ 10 h 10"/>
                <a:gd name="T2" fmla="*/ 3 w 4"/>
                <a:gd name="T3" fmla="*/ 0 h 10"/>
                <a:gd name="T4" fmla="*/ 0 w 4"/>
                <a:gd name="T5" fmla="*/ 0 h 10"/>
                <a:gd name="T6" fmla="*/ 3 w 4"/>
                <a:gd name="T7" fmla="*/ 10 h 10"/>
                <a:gd name="T8" fmla="*/ 4 w 4"/>
                <a:gd name="T9" fmla="*/ 10 h 10"/>
              </a:gdLst>
              <a:ahLst/>
              <a:cxnLst>
                <a:cxn ang="0">
                  <a:pos x="T0" y="T1"/>
                </a:cxn>
                <a:cxn ang="0">
                  <a:pos x="T2" y="T3"/>
                </a:cxn>
                <a:cxn ang="0">
                  <a:pos x="T4" y="T5"/>
                </a:cxn>
                <a:cxn ang="0">
                  <a:pos x="T6" y="T7"/>
                </a:cxn>
                <a:cxn ang="0">
                  <a:pos x="T8" y="T9"/>
                </a:cxn>
              </a:cxnLst>
              <a:rect l="0" t="0" r="r" b="b"/>
              <a:pathLst>
                <a:path w="4" h="10">
                  <a:moveTo>
                    <a:pt x="4" y="10"/>
                  </a:moveTo>
                  <a:lnTo>
                    <a:pt x="3" y="0"/>
                  </a:lnTo>
                  <a:lnTo>
                    <a:pt x="0" y="0"/>
                  </a:lnTo>
                  <a:lnTo>
                    <a:pt x="3" y="10"/>
                  </a:lnTo>
                  <a:lnTo>
                    <a:pt x="4"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62" name="Freeform 1733"/>
            <p:cNvSpPr>
              <a:spLocks noEditPoints="1"/>
            </p:cNvSpPr>
            <p:nvPr/>
          </p:nvSpPr>
          <p:spPr bwMode="auto">
            <a:xfrm>
              <a:off x="5189538" y="4659741"/>
              <a:ext cx="20638" cy="103188"/>
            </a:xfrm>
            <a:custGeom>
              <a:avLst/>
              <a:gdLst>
                <a:gd name="T0" fmla="*/ 3 w 13"/>
                <a:gd name="T1" fmla="*/ 58 h 65"/>
                <a:gd name="T2" fmla="*/ 3 w 13"/>
                <a:gd name="T3" fmla="*/ 58 h 65"/>
                <a:gd name="T4" fmla="*/ 0 w 13"/>
                <a:gd name="T5" fmla="*/ 63 h 65"/>
                <a:gd name="T6" fmla="*/ 3 w 13"/>
                <a:gd name="T7" fmla="*/ 65 h 65"/>
                <a:gd name="T8" fmla="*/ 3 w 13"/>
                <a:gd name="T9" fmla="*/ 65 h 65"/>
                <a:gd name="T10" fmla="*/ 6 w 13"/>
                <a:gd name="T11" fmla="*/ 59 h 65"/>
                <a:gd name="T12" fmla="*/ 3 w 13"/>
                <a:gd name="T13" fmla="*/ 58 h 65"/>
                <a:gd name="T14" fmla="*/ 9 w 13"/>
                <a:gd name="T15" fmla="*/ 43 h 65"/>
                <a:gd name="T16" fmla="*/ 9 w 13"/>
                <a:gd name="T17" fmla="*/ 43 h 65"/>
                <a:gd name="T18" fmla="*/ 6 w 13"/>
                <a:gd name="T19" fmla="*/ 53 h 65"/>
                <a:gd name="T20" fmla="*/ 7 w 13"/>
                <a:gd name="T21" fmla="*/ 53 h 65"/>
                <a:gd name="T22" fmla="*/ 7 w 13"/>
                <a:gd name="T23" fmla="*/ 53 h 65"/>
                <a:gd name="T24" fmla="*/ 11 w 13"/>
                <a:gd name="T25" fmla="*/ 45 h 65"/>
                <a:gd name="T26" fmla="*/ 9 w 13"/>
                <a:gd name="T27" fmla="*/ 43 h 65"/>
                <a:gd name="T28" fmla="*/ 10 w 13"/>
                <a:gd name="T29" fmla="*/ 29 h 65"/>
                <a:gd name="T30" fmla="*/ 10 w 13"/>
                <a:gd name="T31" fmla="*/ 29 h 65"/>
                <a:gd name="T32" fmla="*/ 10 w 13"/>
                <a:gd name="T33" fmla="*/ 32 h 65"/>
                <a:gd name="T34" fmla="*/ 10 w 13"/>
                <a:gd name="T35" fmla="*/ 32 h 65"/>
                <a:gd name="T36" fmla="*/ 10 w 13"/>
                <a:gd name="T37" fmla="*/ 34 h 65"/>
                <a:gd name="T38" fmla="*/ 10 w 13"/>
                <a:gd name="T39" fmla="*/ 34 h 65"/>
                <a:gd name="T40" fmla="*/ 10 w 13"/>
                <a:gd name="T41" fmla="*/ 39 h 65"/>
                <a:gd name="T42" fmla="*/ 13 w 13"/>
                <a:gd name="T43" fmla="*/ 39 h 65"/>
                <a:gd name="T44" fmla="*/ 13 w 13"/>
                <a:gd name="T45" fmla="*/ 39 h 65"/>
                <a:gd name="T46" fmla="*/ 13 w 13"/>
                <a:gd name="T47" fmla="*/ 36 h 65"/>
                <a:gd name="T48" fmla="*/ 13 w 13"/>
                <a:gd name="T49" fmla="*/ 36 h 65"/>
                <a:gd name="T50" fmla="*/ 13 w 13"/>
                <a:gd name="T51" fmla="*/ 32 h 65"/>
                <a:gd name="T52" fmla="*/ 13 w 13"/>
                <a:gd name="T53" fmla="*/ 32 h 65"/>
                <a:gd name="T54" fmla="*/ 13 w 13"/>
                <a:gd name="T55" fmla="*/ 29 h 65"/>
                <a:gd name="T56" fmla="*/ 10 w 13"/>
                <a:gd name="T57" fmla="*/ 29 h 65"/>
                <a:gd name="T58" fmla="*/ 6 w 13"/>
                <a:gd name="T59" fmla="*/ 14 h 65"/>
                <a:gd name="T60" fmla="*/ 6 w 13"/>
                <a:gd name="T61" fmla="*/ 14 h 65"/>
                <a:gd name="T62" fmla="*/ 10 w 13"/>
                <a:gd name="T63" fmla="*/ 24 h 65"/>
                <a:gd name="T64" fmla="*/ 11 w 13"/>
                <a:gd name="T65" fmla="*/ 23 h 65"/>
                <a:gd name="T66" fmla="*/ 11 w 13"/>
                <a:gd name="T67" fmla="*/ 23 h 65"/>
                <a:gd name="T68" fmla="*/ 9 w 13"/>
                <a:gd name="T69" fmla="*/ 14 h 65"/>
                <a:gd name="T70" fmla="*/ 6 w 13"/>
                <a:gd name="T71" fmla="*/ 14 h 65"/>
                <a:gd name="T72" fmla="*/ 0 w 13"/>
                <a:gd name="T73" fmla="*/ 1 h 65"/>
                <a:gd name="T74" fmla="*/ 0 w 13"/>
                <a:gd name="T75" fmla="*/ 1 h 65"/>
                <a:gd name="T76" fmla="*/ 4 w 13"/>
                <a:gd name="T77" fmla="*/ 10 h 65"/>
                <a:gd name="T78" fmla="*/ 7 w 13"/>
                <a:gd name="T79" fmla="*/ 8 h 65"/>
                <a:gd name="T80" fmla="*/ 7 w 13"/>
                <a:gd name="T81" fmla="*/ 8 h 65"/>
                <a:gd name="T82" fmla="*/ 1 w 13"/>
                <a:gd name="T83" fmla="*/ 0 h 65"/>
                <a:gd name="T84" fmla="*/ 0 w 13"/>
                <a:gd name="T85" fmla="*/ 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 h="65">
                  <a:moveTo>
                    <a:pt x="3" y="58"/>
                  </a:moveTo>
                  <a:lnTo>
                    <a:pt x="3" y="58"/>
                  </a:lnTo>
                  <a:lnTo>
                    <a:pt x="0" y="63"/>
                  </a:lnTo>
                  <a:lnTo>
                    <a:pt x="3" y="65"/>
                  </a:lnTo>
                  <a:lnTo>
                    <a:pt x="3" y="65"/>
                  </a:lnTo>
                  <a:lnTo>
                    <a:pt x="6" y="59"/>
                  </a:lnTo>
                  <a:lnTo>
                    <a:pt x="3" y="58"/>
                  </a:lnTo>
                  <a:close/>
                  <a:moveTo>
                    <a:pt x="9" y="43"/>
                  </a:moveTo>
                  <a:lnTo>
                    <a:pt x="9" y="43"/>
                  </a:lnTo>
                  <a:lnTo>
                    <a:pt x="6" y="53"/>
                  </a:lnTo>
                  <a:lnTo>
                    <a:pt x="7" y="53"/>
                  </a:lnTo>
                  <a:lnTo>
                    <a:pt x="7" y="53"/>
                  </a:lnTo>
                  <a:lnTo>
                    <a:pt x="11" y="45"/>
                  </a:lnTo>
                  <a:lnTo>
                    <a:pt x="9" y="43"/>
                  </a:lnTo>
                  <a:close/>
                  <a:moveTo>
                    <a:pt x="10" y="29"/>
                  </a:moveTo>
                  <a:lnTo>
                    <a:pt x="10" y="29"/>
                  </a:lnTo>
                  <a:lnTo>
                    <a:pt x="10" y="32"/>
                  </a:lnTo>
                  <a:lnTo>
                    <a:pt x="10" y="32"/>
                  </a:lnTo>
                  <a:lnTo>
                    <a:pt x="10" y="34"/>
                  </a:lnTo>
                  <a:lnTo>
                    <a:pt x="10" y="34"/>
                  </a:lnTo>
                  <a:lnTo>
                    <a:pt x="10" y="39"/>
                  </a:lnTo>
                  <a:lnTo>
                    <a:pt x="13" y="39"/>
                  </a:lnTo>
                  <a:lnTo>
                    <a:pt x="13" y="39"/>
                  </a:lnTo>
                  <a:lnTo>
                    <a:pt x="13" y="36"/>
                  </a:lnTo>
                  <a:lnTo>
                    <a:pt x="13" y="36"/>
                  </a:lnTo>
                  <a:lnTo>
                    <a:pt x="13" y="32"/>
                  </a:lnTo>
                  <a:lnTo>
                    <a:pt x="13" y="32"/>
                  </a:lnTo>
                  <a:lnTo>
                    <a:pt x="13" y="29"/>
                  </a:lnTo>
                  <a:lnTo>
                    <a:pt x="10" y="29"/>
                  </a:lnTo>
                  <a:close/>
                  <a:moveTo>
                    <a:pt x="6" y="14"/>
                  </a:moveTo>
                  <a:lnTo>
                    <a:pt x="6" y="14"/>
                  </a:lnTo>
                  <a:lnTo>
                    <a:pt x="10" y="24"/>
                  </a:lnTo>
                  <a:lnTo>
                    <a:pt x="11" y="23"/>
                  </a:lnTo>
                  <a:lnTo>
                    <a:pt x="11" y="23"/>
                  </a:lnTo>
                  <a:lnTo>
                    <a:pt x="9" y="14"/>
                  </a:lnTo>
                  <a:lnTo>
                    <a:pt x="6" y="14"/>
                  </a:lnTo>
                  <a:close/>
                  <a:moveTo>
                    <a:pt x="0" y="1"/>
                  </a:moveTo>
                  <a:lnTo>
                    <a:pt x="0" y="1"/>
                  </a:lnTo>
                  <a:lnTo>
                    <a:pt x="4" y="10"/>
                  </a:lnTo>
                  <a:lnTo>
                    <a:pt x="7" y="8"/>
                  </a:lnTo>
                  <a:lnTo>
                    <a:pt x="7" y="8"/>
                  </a:lnTo>
                  <a:lnTo>
                    <a:pt x="1" y="0"/>
                  </a:lnTo>
                  <a:lnTo>
                    <a:pt x="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63" name="Freeform 1734"/>
            <p:cNvSpPr>
              <a:spLocks noEditPoints="1"/>
            </p:cNvSpPr>
            <p:nvPr/>
          </p:nvSpPr>
          <p:spPr bwMode="auto">
            <a:xfrm>
              <a:off x="4364038" y="3242104"/>
              <a:ext cx="98425" cy="79375"/>
            </a:xfrm>
            <a:custGeom>
              <a:avLst/>
              <a:gdLst>
                <a:gd name="T0" fmla="*/ 4 w 62"/>
                <a:gd name="T1" fmla="*/ 3 h 50"/>
                <a:gd name="T2" fmla="*/ 4 w 62"/>
                <a:gd name="T3" fmla="*/ 3 h 50"/>
                <a:gd name="T4" fmla="*/ 3 w 62"/>
                <a:gd name="T5" fmla="*/ 0 h 50"/>
                <a:gd name="T6" fmla="*/ 0 w 62"/>
                <a:gd name="T7" fmla="*/ 2 h 50"/>
                <a:gd name="T8" fmla="*/ 0 w 62"/>
                <a:gd name="T9" fmla="*/ 2 h 50"/>
                <a:gd name="T10" fmla="*/ 3 w 62"/>
                <a:gd name="T11" fmla="*/ 5 h 50"/>
                <a:gd name="T12" fmla="*/ 4 w 62"/>
                <a:gd name="T13" fmla="*/ 3 h 50"/>
                <a:gd name="T14" fmla="*/ 14 w 62"/>
                <a:gd name="T15" fmla="*/ 15 h 50"/>
                <a:gd name="T16" fmla="*/ 14 w 62"/>
                <a:gd name="T17" fmla="*/ 15 h 50"/>
                <a:gd name="T18" fmla="*/ 7 w 62"/>
                <a:gd name="T19" fmla="*/ 8 h 50"/>
                <a:gd name="T20" fmla="*/ 6 w 62"/>
                <a:gd name="T21" fmla="*/ 9 h 50"/>
                <a:gd name="T22" fmla="*/ 6 w 62"/>
                <a:gd name="T23" fmla="*/ 9 h 50"/>
                <a:gd name="T24" fmla="*/ 13 w 62"/>
                <a:gd name="T25" fmla="*/ 16 h 50"/>
                <a:gd name="T26" fmla="*/ 14 w 62"/>
                <a:gd name="T27" fmla="*/ 15 h 50"/>
                <a:gd name="T28" fmla="*/ 25 w 62"/>
                <a:gd name="T29" fmla="*/ 26 h 50"/>
                <a:gd name="T30" fmla="*/ 25 w 62"/>
                <a:gd name="T31" fmla="*/ 26 h 50"/>
                <a:gd name="T32" fmla="*/ 17 w 62"/>
                <a:gd name="T33" fmla="*/ 19 h 50"/>
                <a:gd name="T34" fmla="*/ 16 w 62"/>
                <a:gd name="T35" fmla="*/ 21 h 50"/>
                <a:gd name="T36" fmla="*/ 16 w 62"/>
                <a:gd name="T37" fmla="*/ 21 h 50"/>
                <a:gd name="T38" fmla="*/ 23 w 62"/>
                <a:gd name="T39" fmla="*/ 28 h 50"/>
                <a:gd name="T40" fmla="*/ 25 w 62"/>
                <a:gd name="T41" fmla="*/ 26 h 50"/>
                <a:gd name="T42" fmla="*/ 35 w 62"/>
                <a:gd name="T43" fmla="*/ 37 h 50"/>
                <a:gd name="T44" fmla="*/ 35 w 62"/>
                <a:gd name="T45" fmla="*/ 37 h 50"/>
                <a:gd name="T46" fmla="*/ 27 w 62"/>
                <a:gd name="T47" fmla="*/ 29 h 50"/>
                <a:gd name="T48" fmla="*/ 26 w 62"/>
                <a:gd name="T49" fmla="*/ 31 h 50"/>
                <a:gd name="T50" fmla="*/ 26 w 62"/>
                <a:gd name="T51" fmla="*/ 31 h 50"/>
                <a:gd name="T52" fmla="*/ 33 w 62"/>
                <a:gd name="T53" fmla="*/ 38 h 50"/>
                <a:gd name="T54" fmla="*/ 35 w 62"/>
                <a:gd name="T55" fmla="*/ 37 h 50"/>
                <a:gd name="T56" fmla="*/ 48 w 62"/>
                <a:gd name="T57" fmla="*/ 45 h 50"/>
                <a:gd name="T58" fmla="*/ 48 w 62"/>
                <a:gd name="T59" fmla="*/ 45 h 50"/>
                <a:gd name="T60" fmla="*/ 45 w 62"/>
                <a:gd name="T61" fmla="*/ 44 h 50"/>
                <a:gd name="T62" fmla="*/ 45 w 62"/>
                <a:gd name="T63" fmla="*/ 44 h 50"/>
                <a:gd name="T64" fmla="*/ 39 w 62"/>
                <a:gd name="T65" fmla="*/ 40 h 50"/>
                <a:gd name="T66" fmla="*/ 38 w 62"/>
                <a:gd name="T67" fmla="*/ 42 h 50"/>
                <a:gd name="T68" fmla="*/ 38 w 62"/>
                <a:gd name="T69" fmla="*/ 42 h 50"/>
                <a:gd name="T70" fmla="*/ 45 w 62"/>
                <a:gd name="T71" fmla="*/ 47 h 50"/>
                <a:gd name="T72" fmla="*/ 45 w 62"/>
                <a:gd name="T73" fmla="*/ 47 h 50"/>
                <a:gd name="T74" fmla="*/ 46 w 62"/>
                <a:gd name="T75" fmla="*/ 48 h 50"/>
                <a:gd name="T76" fmla="*/ 48 w 62"/>
                <a:gd name="T77" fmla="*/ 45 h 50"/>
                <a:gd name="T78" fmla="*/ 62 w 62"/>
                <a:gd name="T79" fmla="*/ 47 h 50"/>
                <a:gd name="T80" fmla="*/ 62 w 62"/>
                <a:gd name="T81" fmla="*/ 47 h 50"/>
                <a:gd name="T82" fmla="*/ 56 w 62"/>
                <a:gd name="T83" fmla="*/ 47 h 50"/>
                <a:gd name="T84" fmla="*/ 56 w 62"/>
                <a:gd name="T85" fmla="*/ 47 h 50"/>
                <a:gd name="T86" fmla="*/ 52 w 62"/>
                <a:gd name="T87" fmla="*/ 47 h 50"/>
                <a:gd name="T88" fmla="*/ 52 w 62"/>
                <a:gd name="T89" fmla="*/ 50 h 50"/>
                <a:gd name="T90" fmla="*/ 52 w 62"/>
                <a:gd name="T91" fmla="*/ 50 h 50"/>
                <a:gd name="T92" fmla="*/ 56 w 62"/>
                <a:gd name="T93" fmla="*/ 50 h 50"/>
                <a:gd name="T94" fmla="*/ 56 w 62"/>
                <a:gd name="T95" fmla="*/ 50 h 50"/>
                <a:gd name="T96" fmla="*/ 62 w 62"/>
                <a:gd name="T97" fmla="*/ 50 h 50"/>
                <a:gd name="T98" fmla="*/ 62 w 62"/>
                <a:gd name="T99" fmla="*/ 4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2" h="50">
                  <a:moveTo>
                    <a:pt x="4" y="3"/>
                  </a:moveTo>
                  <a:lnTo>
                    <a:pt x="4" y="3"/>
                  </a:lnTo>
                  <a:lnTo>
                    <a:pt x="3" y="0"/>
                  </a:lnTo>
                  <a:lnTo>
                    <a:pt x="0" y="2"/>
                  </a:lnTo>
                  <a:lnTo>
                    <a:pt x="0" y="2"/>
                  </a:lnTo>
                  <a:lnTo>
                    <a:pt x="3" y="5"/>
                  </a:lnTo>
                  <a:lnTo>
                    <a:pt x="4" y="3"/>
                  </a:lnTo>
                  <a:close/>
                  <a:moveTo>
                    <a:pt x="14" y="15"/>
                  </a:moveTo>
                  <a:lnTo>
                    <a:pt x="14" y="15"/>
                  </a:lnTo>
                  <a:lnTo>
                    <a:pt x="7" y="8"/>
                  </a:lnTo>
                  <a:lnTo>
                    <a:pt x="6" y="9"/>
                  </a:lnTo>
                  <a:lnTo>
                    <a:pt x="6" y="9"/>
                  </a:lnTo>
                  <a:lnTo>
                    <a:pt x="13" y="16"/>
                  </a:lnTo>
                  <a:lnTo>
                    <a:pt x="14" y="15"/>
                  </a:lnTo>
                  <a:close/>
                  <a:moveTo>
                    <a:pt x="25" y="26"/>
                  </a:moveTo>
                  <a:lnTo>
                    <a:pt x="25" y="26"/>
                  </a:lnTo>
                  <a:lnTo>
                    <a:pt x="17" y="19"/>
                  </a:lnTo>
                  <a:lnTo>
                    <a:pt x="16" y="21"/>
                  </a:lnTo>
                  <a:lnTo>
                    <a:pt x="16" y="21"/>
                  </a:lnTo>
                  <a:lnTo>
                    <a:pt x="23" y="28"/>
                  </a:lnTo>
                  <a:lnTo>
                    <a:pt x="25" y="26"/>
                  </a:lnTo>
                  <a:close/>
                  <a:moveTo>
                    <a:pt x="35" y="37"/>
                  </a:moveTo>
                  <a:lnTo>
                    <a:pt x="35" y="37"/>
                  </a:lnTo>
                  <a:lnTo>
                    <a:pt x="27" y="29"/>
                  </a:lnTo>
                  <a:lnTo>
                    <a:pt x="26" y="31"/>
                  </a:lnTo>
                  <a:lnTo>
                    <a:pt x="26" y="31"/>
                  </a:lnTo>
                  <a:lnTo>
                    <a:pt x="33" y="38"/>
                  </a:lnTo>
                  <a:lnTo>
                    <a:pt x="35" y="37"/>
                  </a:lnTo>
                  <a:close/>
                  <a:moveTo>
                    <a:pt x="48" y="45"/>
                  </a:moveTo>
                  <a:lnTo>
                    <a:pt x="48" y="45"/>
                  </a:lnTo>
                  <a:lnTo>
                    <a:pt x="45" y="44"/>
                  </a:lnTo>
                  <a:lnTo>
                    <a:pt x="45" y="44"/>
                  </a:lnTo>
                  <a:lnTo>
                    <a:pt x="39" y="40"/>
                  </a:lnTo>
                  <a:lnTo>
                    <a:pt x="38" y="42"/>
                  </a:lnTo>
                  <a:lnTo>
                    <a:pt x="38" y="42"/>
                  </a:lnTo>
                  <a:lnTo>
                    <a:pt x="45" y="47"/>
                  </a:lnTo>
                  <a:lnTo>
                    <a:pt x="45" y="47"/>
                  </a:lnTo>
                  <a:lnTo>
                    <a:pt x="46" y="48"/>
                  </a:lnTo>
                  <a:lnTo>
                    <a:pt x="48" y="45"/>
                  </a:lnTo>
                  <a:close/>
                  <a:moveTo>
                    <a:pt x="62" y="47"/>
                  </a:moveTo>
                  <a:lnTo>
                    <a:pt x="62" y="47"/>
                  </a:lnTo>
                  <a:lnTo>
                    <a:pt x="56" y="47"/>
                  </a:lnTo>
                  <a:lnTo>
                    <a:pt x="56" y="47"/>
                  </a:lnTo>
                  <a:lnTo>
                    <a:pt x="52" y="47"/>
                  </a:lnTo>
                  <a:lnTo>
                    <a:pt x="52" y="50"/>
                  </a:lnTo>
                  <a:lnTo>
                    <a:pt x="52" y="50"/>
                  </a:lnTo>
                  <a:lnTo>
                    <a:pt x="56" y="50"/>
                  </a:lnTo>
                  <a:lnTo>
                    <a:pt x="56" y="50"/>
                  </a:lnTo>
                  <a:lnTo>
                    <a:pt x="62" y="50"/>
                  </a:lnTo>
                  <a:lnTo>
                    <a:pt x="62"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64" name="Freeform 1735"/>
            <p:cNvSpPr>
              <a:spLocks/>
            </p:cNvSpPr>
            <p:nvPr/>
          </p:nvSpPr>
          <p:spPr bwMode="auto">
            <a:xfrm>
              <a:off x="4470400" y="3296079"/>
              <a:ext cx="3175" cy="25400"/>
            </a:xfrm>
            <a:custGeom>
              <a:avLst/>
              <a:gdLst>
                <a:gd name="T0" fmla="*/ 0 w 2"/>
                <a:gd name="T1" fmla="*/ 0 h 16"/>
                <a:gd name="T2" fmla="*/ 0 w 2"/>
                <a:gd name="T3" fmla="*/ 0 h 16"/>
                <a:gd name="T4" fmla="*/ 2 w 2"/>
                <a:gd name="T5" fmla="*/ 7 h 16"/>
                <a:gd name="T6" fmla="*/ 1 w 2"/>
                <a:gd name="T7" fmla="*/ 16 h 16"/>
                <a:gd name="T8" fmla="*/ 0 w 2"/>
                <a:gd name="T9" fmla="*/ 0 h 16"/>
              </a:gdLst>
              <a:ahLst/>
              <a:cxnLst>
                <a:cxn ang="0">
                  <a:pos x="T0" y="T1"/>
                </a:cxn>
                <a:cxn ang="0">
                  <a:pos x="T2" y="T3"/>
                </a:cxn>
                <a:cxn ang="0">
                  <a:pos x="T4" y="T5"/>
                </a:cxn>
                <a:cxn ang="0">
                  <a:pos x="T6" y="T7"/>
                </a:cxn>
                <a:cxn ang="0">
                  <a:pos x="T8" y="T9"/>
                </a:cxn>
              </a:cxnLst>
              <a:rect l="0" t="0" r="r" b="b"/>
              <a:pathLst>
                <a:path w="2" h="16">
                  <a:moveTo>
                    <a:pt x="0" y="0"/>
                  </a:moveTo>
                  <a:lnTo>
                    <a:pt x="0" y="0"/>
                  </a:lnTo>
                  <a:lnTo>
                    <a:pt x="2" y="7"/>
                  </a:lnTo>
                  <a:lnTo>
                    <a:pt x="1" y="16"/>
                  </a:lnTo>
                  <a:lnTo>
                    <a:pt x="0" y="0"/>
                  </a:lnTo>
                  <a:close/>
                </a:path>
              </a:pathLst>
            </a:custGeom>
            <a:solidFill>
              <a:srgbClr val="72C7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65" name="Freeform 1736"/>
            <p:cNvSpPr>
              <a:spLocks/>
            </p:cNvSpPr>
            <p:nvPr/>
          </p:nvSpPr>
          <p:spPr bwMode="auto">
            <a:xfrm>
              <a:off x="4470400" y="3296079"/>
              <a:ext cx="3175" cy="25400"/>
            </a:xfrm>
            <a:custGeom>
              <a:avLst/>
              <a:gdLst>
                <a:gd name="T0" fmla="*/ 0 w 2"/>
                <a:gd name="T1" fmla="*/ 0 h 16"/>
                <a:gd name="T2" fmla="*/ 0 w 2"/>
                <a:gd name="T3" fmla="*/ 0 h 16"/>
                <a:gd name="T4" fmla="*/ 2 w 2"/>
                <a:gd name="T5" fmla="*/ 7 h 16"/>
                <a:gd name="T6" fmla="*/ 1 w 2"/>
                <a:gd name="T7" fmla="*/ 16 h 16"/>
              </a:gdLst>
              <a:ahLst/>
              <a:cxnLst>
                <a:cxn ang="0">
                  <a:pos x="T0" y="T1"/>
                </a:cxn>
                <a:cxn ang="0">
                  <a:pos x="T2" y="T3"/>
                </a:cxn>
                <a:cxn ang="0">
                  <a:pos x="T4" y="T5"/>
                </a:cxn>
                <a:cxn ang="0">
                  <a:pos x="T6" y="T7"/>
                </a:cxn>
              </a:cxnLst>
              <a:rect l="0" t="0" r="r" b="b"/>
              <a:pathLst>
                <a:path w="2" h="16">
                  <a:moveTo>
                    <a:pt x="0" y="0"/>
                  </a:moveTo>
                  <a:lnTo>
                    <a:pt x="0" y="0"/>
                  </a:lnTo>
                  <a:lnTo>
                    <a:pt x="2" y="7"/>
                  </a:lnTo>
                  <a:lnTo>
                    <a:pt x="1"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66" name="Freeform 1737"/>
            <p:cNvSpPr>
              <a:spLocks noEditPoints="1"/>
            </p:cNvSpPr>
            <p:nvPr/>
          </p:nvSpPr>
          <p:spPr bwMode="auto">
            <a:xfrm>
              <a:off x="4470400" y="3292904"/>
              <a:ext cx="6350" cy="28575"/>
            </a:xfrm>
            <a:custGeom>
              <a:avLst/>
              <a:gdLst>
                <a:gd name="T0" fmla="*/ 1 w 4"/>
                <a:gd name="T1" fmla="*/ 16 h 18"/>
                <a:gd name="T2" fmla="*/ 1 w 4"/>
                <a:gd name="T3" fmla="*/ 16 h 18"/>
                <a:gd name="T4" fmla="*/ 0 w 4"/>
                <a:gd name="T5" fmla="*/ 18 h 18"/>
                <a:gd name="T6" fmla="*/ 2 w 4"/>
                <a:gd name="T7" fmla="*/ 18 h 18"/>
                <a:gd name="T8" fmla="*/ 2 w 4"/>
                <a:gd name="T9" fmla="*/ 18 h 18"/>
                <a:gd name="T10" fmla="*/ 2 w 4"/>
                <a:gd name="T11" fmla="*/ 16 h 18"/>
                <a:gd name="T12" fmla="*/ 1 w 4"/>
                <a:gd name="T13" fmla="*/ 16 h 18"/>
                <a:gd name="T14" fmla="*/ 0 w 4"/>
                <a:gd name="T15" fmla="*/ 2 h 18"/>
                <a:gd name="T16" fmla="*/ 0 w 4"/>
                <a:gd name="T17" fmla="*/ 2 h 18"/>
                <a:gd name="T18" fmla="*/ 0 w 4"/>
                <a:gd name="T19" fmla="*/ 6 h 18"/>
                <a:gd name="T20" fmla="*/ 1 w 4"/>
                <a:gd name="T21" fmla="*/ 12 h 18"/>
                <a:gd name="T22" fmla="*/ 4 w 4"/>
                <a:gd name="T23" fmla="*/ 12 h 18"/>
                <a:gd name="T24" fmla="*/ 4 w 4"/>
                <a:gd name="T25" fmla="*/ 12 h 18"/>
                <a:gd name="T26" fmla="*/ 2 w 4"/>
                <a:gd name="T27" fmla="*/ 6 h 18"/>
                <a:gd name="T28" fmla="*/ 1 w 4"/>
                <a:gd name="T29" fmla="*/ 0 h 18"/>
                <a:gd name="T30" fmla="*/ 0 w 4"/>
                <a:gd name="T31"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18">
                  <a:moveTo>
                    <a:pt x="1" y="16"/>
                  </a:moveTo>
                  <a:lnTo>
                    <a:pt x="1" y="16"/>
                  </a:lnTo>
                  <a:lnTo>
                    <a:pt x="0" y="18"/>
                  </a:lnTo>
                  <a:lnTo>
                    <a:pt x="2" y="18"/>
                  </a:lnTo>
                  <a:lnTo>
                    <a:pt x="2" y="18"/>
                  </a:lnTo>
                  <a:lnTo>
                    <a:pt x="2" y="16"/>
                  </a:lnTo>
                  <a:lnTo>
                    <a:pt x="1" y="16"/>
                  </a:lnTo>
                  <a:close/>
                  <a:moveTo>
                    <a:pt x="0" y="2"/>
                  </a:moveTo>
                  <a:lnTo>
                    <a:pt x="0" y="2"/>
                  </a:lnTo>
                  <a:lnTo>
                    <a:pt x="0" y="6"/>
                  </a:lnTo>
                  <a:lnTo>
                    <a:pt x="1" y="12"/>
                  </a:lnTo>
                  <a:lnTo>
                    <a:pt x="4" y="12"/>
                  </a:lnTo>
                  <a:lnTo>
                    <a:pt x="4" y="12"/>
                  </a:lnTo>
                  <a:lnTo>
                    <a:pt x="2" y="6"/>
                  </a:lnTo>
                  <a:lnTo>
                    <a:pt x="1" y="0"/>
                  </a:lnTo>
                  <a:lnTo>
                    <a:pt x="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67" name="Freeform 1738"/>
            <p:cNvSpPr>
              <a:spLocks noEditPoints="1"/>
            </p:cNvSpPr>
            <p:nvPr/>
          </p:nvSpPr>
          <p:spPr bwMode="auto">
            <a:xfrm>
              <a:off x="3979863" y="4040616"/>
              <a:ext cx="123825" cy="4763"/>
            </a:xfrm>
            <a:custGeom>
              <a:avLst/>
              <a:gdLst>
                <a:gd name="T0" fmla="*/ 2 w 78"/>
                <a:gd name="T1" fmla="*/ 0 h 3"/>
                <a:gd name="T2" fmla="*/ 0 w 78"/>
                <a:gd name="T3" fmla="*/ 0 h 3"/>
                <a:gd name="T4" fmla="*/ 0 w 78"/>
                <a:gd name="T5" fmla="*/ 3 h 3"/>
                <a:gd name="T6" fmla="*/ 2 w 78"/>
                <a:gd name="T7" fmla="*/ 3 h 3"/>
                <a:gd name="T8" fmla="*/ 2 w 78"/>
                <a:gd name="T9" fmla="*/ 0 h 3"/>
                <a:gd name="T10" fmla="*/ 17 w 78"/>
                <a:gd name="T11" fmla="*/ 0 h 3"/>
                <a:gd name="T12" fmla="*/ 7 w 78"/>
                <a:gd name="T13" fmla="*/ 0 h 3"/>
                <a:gd name="T14" fmla="*/ 7 w 78"/>
                <a:gd name="T15" fmla="*/ 3 h 3"/>
                <a:gd name="T16" fmla="*/ 17 w 78"/>
                <a:gd name="T17" fmla="*/ 3 h 3"/>
                <a:gd name="T18" fmla="*/ 17 w 78"/>
                <a:gd name="T19" fmla="*/ 0 h 3"/>
                <a:gd name="T20" fmla="*/ 32 w 78"/>
                <a:gd name="T21" fmla="*/ 0 h 3"/>
                <a:gd name="T22" fmla="*/ 22 w 78"/>
                <a:gd name="T23" fmla="*/ 0 h 3"/>
                <a:gd name="T24" fmla="*/ 22 w 78"/>
                <a:gd name="T25" fmla="*/ 3 h 3"/>
                <a:gd name="T26" fmla="*/ 32 w 78"/>
                <a:gd name="T27" fmla="*/ 3 h 3"/>
                <a:gd name="T28" fmla="*/ 32 w 78"/>
                <a:gd name="T29" fmla="*/ 0 h 3"/>
                <a:gd name="T30" fmla="*/ 48 w 78"/>
                <a:gd name="T31" fmla="*/ 0 h 3"/>
                <a:gd name="T32" fmla="*/ 38 w 78"/>
                <a:gd name="T33" fmla="*/ 0 h 3"/>
                <a:gd name="T34" fmla="*/ 38 w 78"/>
                <a:gd name="T35" fmla="*/ 3 h 3"/>
                <a:gd name="T36" fmla="*/ 48 w 78"/>
                <a:gd name="T37" fmla="*/ 3 h 3"/>
                <a:gd name="T38" fmla="*/ 48 w 78"/>
                <a:gd name="T39" fmla="*/ 0 h 3"/>
                <a:gd name="T40" fmla="*/ 62 w 78"/>
                <a:gd name="T41" fmla="*/ 0 h 3"/>
                <a:gd name="T42" fmla="*/ 52 w 78"/>
                <a:gd name="T43" fmla="*/ 0 h 3"/>
                <a:gd name="T44" fmla="*/ 52 w 78"/>
                <a:gd name="T45" fmla="*/ 3 h 3"/>
                <a:gd name="T46" fmla="*/ 62 w 78"/>
                <a:gd name="T47" fmla="*/ 3 h 3"/>
                <a:gd name="T48" fmla="*/ 62 w 78"/>
                <a:gd name="T49" fmla="*/ 0 h 3"/>
                <a:gd name="T50" fmla="*/ 78 w 78"/>
                <a:gd name="T51" fmla="*/ 0 h 3"/>
                <a:gd name="T52" fmla="*/ 68 w 78"/>
                <a:gd name="T53" fmla="*/ 0 h 3"/>
                <a:gd name="T54" fmla="*/ 68 w 78"/>
                <a:gd name="T55" fmla="*/ 3 h 3"/>
                <a:gd name="T56" fmla="*/ 78 w 78"/>
                <a:gd name="T57" fmla="*/ 3 h 3"/>
                <a:gd name="T58" fmla="*/ 78 w 78"/>
                <a:gd name="T5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3">
                  <a:moveTo>
                    <a:pt x="2" y="0"/>
                  </a:moveTo>
                  <a:lnTo>
                    <a:pt x="0" y="0"/>
                  </a:lnTo>
                  <a:lnTo>
                    <a:pt x="0" y="3"/>
                  </a:lnTo>
                  <a:lnTo>
                    <a:pt x="2" y="3"/>
                  </a:lnTo>
                  <a:lnTo>
                    <a:pt x="2" y="0"/>
                  </a:lnTo>
                  <a:close/>
                  <a:moveTo>
                    <a:pt x="17" y="0"/>
                  </a:moveTo>
                  <a:lnTo>
                    <a:pt x="7" y="0"/>
                  </a:lnTo>
                  <a:lnTo>
                    <a:pt x="7" y="3"/>
                  </a:lnTo>
                  <a:lnTo>
                    <a:pt x="17" y="3"/>
                  </a:lnTo>
                  <a:lnTo>
                    <a:pt x="17" y="0"/>
                  </a:lnTo>
                  <a:close/>
                  <a:moveTo>
                    <a:pt x="32" y="0"/>
                  </a:moveTo>
                  <a:lnTo>
                    <a:pt x="22" y="0"/>
                  </a:lnTo>
                  <a:lnTo>
                    <a:pt x="22" y="3"/>
                  </a:lnTo>
                  <a:lnTo>
                    <a:pt x="32" y="3"/>
                  </a:lnTo>
                  <a:lnTo>
                    <a:pt x="32" y="0"/>
                  </a:lnTo>
                  <a:close/>
                  <a:moveTo>
                    <a:pt x="48" y="0"/>
                  </a:moveTo>
                  <a:lnTo>
                    <a:pt x="38" y="0"/>
                  </a:lnTo>
                  <a:lnTo>
                    <a:pt x="38" y="3"/>
                  </a:lnTo>
                  <a:lnTo>
                    <a:pt x="48" y="3"/>
                  </a:lnTo>
                  <a:lnTo>
                    <a:pt x="48" y="0"/>
                  </a:lnTo>
                  <a:close/>
                  <a:moveTo>
                    <a:pt x="62" y="0"/>
                  </a:moveTo>
                  <a:lnTo>
                    <a:pt x="52" y="0"/>
                  </a:lnTo>
                  <a:lnTo>
                    <a:pt x="52" y="3"/>
                  </a:lnTo>
                  <a:lnTo>
                    <a:pt x="62" y="3"/>
                  </a:lnTo>
                  <a:lnTo>
                    <a:pt x="62" y="0"/>
                  </a:lnTo>
                  <a:close/>
                  <a:moveTo>
                    <a:pt x="78" y="0"/>
                  </a:moveTo>
                  <a:lnTo>
                    <a:pt x="68" y="0"/>
                  </a:lnTo>
                  <a:lnTo>
                    <a:pt x="68" y="3"/>
                  </a:lnTo>
                  <a:lnTo>
                    <a:pt x="78" y="3"/>
                  </a:lnTo>
                  <a:lnTo>
                    <a:pt x="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68" name="Freeform 1739"/>
            <p:cNvSpPr>
              <a:spLocks noEditPoints="1"/>
            </p:cNvSpPr>
            <p:nvPr/>
          </p:nvSpPr>
          <p:spPr bwMode="auto">
            <a:xfrm>
              <a:off x="5111751" y="5436029"/>
              <a:ext cx="42863" cy="55563"/>
            </a:xfrm>
            <a:custGeom>
              <a:avLst/>
              <a:gdLst>
                <a:gd name="T0" fmla="*/ 8 w 27"/>
                <a:gd name="T1" fmla="*/ 7 h 35"/>
                <a:gd name="T2" fmla="*/ 10 w 27"/>
                <a:gd name="T3" fmla="*/ 6 h 35"/>
                <a:gd name="T4" fmla="*/ 10 w 27"/>
                <a:gd name="T5" fmla="*/ 6 h 35"/>
                <a:gd name="T6" fmla="*/ 13 w 27"/>
                <a:gd name="T7" fmla="*/ 5 h 35"/>
                <a:gd name="T8" fmla="*/ 17 w 27"/>
                <a:gd name="T9" fmla="*/ 3 h 35"/>
                <a:gd name="T10" fmla="*/ 16 w 27"/>
                <a:gd name="T11" fmla="*/ 0 h 35"/>
                <a:gd name="T12" fmla="*/ 16 w 27"/>
                <a:gd name="T13" fmla="*/ 0 h 35"/>
                <a:gd name="T14" fmla="*/ 11 w 27"/>
                <a:gd name="T15" fmla="*/ 2 h 35"/>
                <a:gd name="T16" fmla="*/ 7 w 27"/>
                <a:gd name="T17" fmla="*/ 5 h 35"/>
                <a:gd name="T18" fmla="*/ 7 w 27"/>
                <a:gd name="T19" fmla="*/ 5 h 35"/>
                <a:gd name="T20" fmla="*/ 7 w 27"/>
                <a:gd name="T21" fmla="*/ 6 h 35"/>
                <a:gd name="T22" fmla="*/ 8 w 27"/>
                <a:gd name="T23" fmla="*/ 7 h 35"/>
                <a:gd name="T24" fmla="*/ 4 w 27"/>
                <a:gd name="T25" fmla="*/ 21 h 35"/>
                <a:gd name="T26" fmla="*/ 4 w 27"/>
                <a:gd name="T27" fmla="*/ 21 h 35"/>
                <a:gd name="T28" fmla="*/ 7 w 27"/>
                <a:gd name="T29" fmla="*/ 12 h 35"/>
                <a:gd name="T30" fmla="*/ 4 w 27"/>
                <a:gd name="T31" fmla="*/ 10 h 35"/>
                <a:gd name="T32" fmla="*/ 4 w 27"/>
                <a:gd name="T33" fmla="*/ 10 h 35"/>
                <a:gd name="T34" fmla="*/ 1 w 27"/>
                <a:gd name="T35" fmla="*/ 21 h 35"/>
                <a:gd name="T36" fmla="*/ 4 w 27"/>
                <a:gd name="T37" fmla="*/ 21 h 35"/>
                <a:gd name="T38" fmla="*/ 5 w 27"/>
                <a:gd name="T39" fmla="*/ 32 h 35"/>
                <a:gd name="T40" fmla="*/ 5 w 27"/>
                <a:gd name="T41" fmla="*/ 32 h 35"/>
                <a:gd name="T42" fmla="*/ 3 w 27"/>
                <a:gd name="T43" fmla="*/ 32 h 35"/>
                <a:gd name="T44" fmla="*/ 3 w 27"/>
                <a:gd name="T45" fmla="*/ 31 h 35"/>
                <a:gd name="T46" fmla="*/ 3 w 27"/>
                <a:gd name="T47" fmla="*/ 31 h 35"/>
                <a:gd name="T48" fmla="*/ 3 w 27"/>
                <a:gd name="T49" fmla="*/ 26 h 35"/>
                <a:gd name="T50" fmla="*/ 1 w 27"/>
                <a:gd name="T51" fmla="*/ 25 h 35"/>
                <a:gd name="T52" fmla="*/ 1 w 27"/>
                <a:gd name="T53" fmla="*/ 25 h 35"/>
                <a:gd name="T54" fmla="*/ 0 w 27"/>
                <a:gd name="T55" fmla="*/ 31 h 35"/>
                <a:gd name="T56" fmla="*/ 0 w 27"/>
                <a:gd name="T57" fmla="*/ 31 h 35"/>
                <a:gd name="T58" fmla="*/ 0 w 27"/>
                <a:gd name="T59" fmla="*/ 32 h 35"/>
                <a:gd name="T60" fmla="*/ 1 w 27"/>
                <a:gd name="T61" fmla="*/ 34 h 35"/>
                <a:gd name="T62" fmla="*/ 1 w 27"/>
                <a:gd name="T63" fmla="*/ 34 h 35"/>
                <a:gd name="T64" fmla="*/ 4 w 27"/>
                <a:gd name="T65" fmla="*/ 35 h 35"/>
                <a:gd name="T66" fmla="*/ 5 w 27"/>
                <a:gd name="T67" fmla="*/ 32 h 35"/>
                <a:gd name="T68" fmla="*/ 18 w 27"/>
                <a:gd name="T69" fmla="*/ 29 h 35"/>
                <a:gd name="T70" fmla="*/ 18 w 27"/>
                <a:gd name="T71" fmla="*/ 29 h 35"/>
                <a:gd name="T72" fmla="*/ 17 w 27"/>
                <a:gd name="T73" fmla="*/ 31 h 35"/>
                <a:gd name="T74" fmla="*/ 17 w 27"/>
                <a:gd name="T75" fmla="*/ 31 h 35"/>
                <a:gd name="T76" fmla="*/ 10 w 27"/>
                <a:gd name="T77" fmla="*/ 32 h 35"/>
                <a:gd name="T78" fmla="*/ 10 w 27"/>
                <a:gd name="T79" fmla="*/ 35 h 35"/>
                <a:gd name="T80" fmla="*/ 10 w 27"/>
                <a:gd name="T81" fmla="*/ 35 h 35"/>
                <a:gd name="T82" fmla="*/ 17 w 27"/>
                <a:gd name="T83" fmla="*/ 34 h 35"/>
                <a:gd name="T84" fmla="*/ 17 w 27"/>
                <a:gd name="T85" fmla="*/ 34 h 35"/>
                <a:gd name="T86" fmla="*/ 20 w 27"/>
                <a:gd name="T87" fmla="*/ 32 h 35"/>
                <a:gd name="T88" fmla="*/ 18 w 27"/>
                <a:gd name="T89" fmla="*/ 29 h 35"/>
                <a:gd name="T90" fmla="*/ 24 w 27"/>
                <a:gd name="T91" fmla="*/ 16 h 35"/>
                <a:gd name="T92" fmla="*/ 24 w 27"/>
                <a:gd name="T93" fmla="*/ 16 h 35"/>
                <a:gd name="T94" fmla="*/ 21 w 27"/>
                <a:gd name="T95" fmla="*/ 26 h 35"/>
                <a:gd name="T96" fmla="*/ 23 w 27"/>
                <a:gd name="T97" fmla="*/ 28 h 35"/>
                <a:gd name="T98" fmla="*/ 23 w 27"/>
                <a:gd name="T99" fmla="*/ 28 h 35"/>
                <a:gd name="T100" fmla="*/ 27 w 27"/>
                <a:gd name="T101" fmla="*/ 18 h 35"/>
                <a:gd name="T102" fmla="*/ 24 w 27"/>
                <a:gd name="T103" fmla="*/ 1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 h="35">
                  <a:moveTo>
                    <a:pt x="8" y="7"/>
                  </a:moveTo>
                  <a:lnTo>
                    <a:pt x="10" y="6"/>
                  </a:lnTo>
                  <a:lnTo>
                    <a:pt x="10" y="6"/>
                  </a:lnTo>
                  <a:lnTo>
                    <a:pt x="13" y="5"/>
                  </a:lnTo>
                  <a:lnTo>
                    <a:pt x="17" y="3"/>
                  </a:lnTo>
                  <a:lnTo>
                    <a:pt x="16" y="0"/>
                  </a:lnTo>
                  <a:lnTo>
                    <a:pt x="16" y="0"/>
                  </a:lnTo>
                  <a:lnTo>
                    <a:pt x="11" y="2"/>
                  </a:lnTo>
                  <a:lnTo>
                    <a:pt x="7" y="5"/>
                  </a:lnTo>
                  <a:lnTo>
                    <a:pt x="7" y="5"/>
                  </a:lnTo>
                  <a:lnTo>
                    <a:pt x="7" y="6"/>
                  </a:lnTo>
                  <a:lnTo>
                    <a:pt x="8" y="7"/>
                  </a:lnTo>
                  <a:close/>
                  <a:moveTo>
                    <a:pt x="4" y="21"/>
                  </a:moveTo>
                  <a:lnTo>
                    <a:pt x="4" y="21"/>
                  </a:lnTo>
                  <a:lnTo>
                    <a:pt x="7" y="12"/>
                  </a:lnTo>
                  <a:lnTo>
                    <a:pt x="4" y="10"/>
                  </a:lnTo>
                  <a:lnTo>
                    <a:pt x="4" y="10"/>
                  </a:lnTo>
                  <a:lnTo>
                    <a:pt x="1" y="21"/>
                  </a:lnTo>
                  <a:lnTo>
                    <a:pt x="4" y="21"/>
                  </a:lnTo>
                  <a:close/>
                  <a:moveTo>
                    <a:pt x="5" y="32"/>
                  </a:moveTo>
                  <a:lnTo>
                    <a:pt x="5" y="32"/>
                  </a:lnTo>
                  <a:lnTo>
                    <a:pt x="3" y="32"/>
                  </a:lnTo>
                  <a:lnTo>
                    <a:pt x="3" y="31"/>
                  </a:lnTo>
                  <a:lnTo>
                    <a:pt x="3" y="31"/>
                  </a:lnTo>
                  <a:lnTo>
                    <a:pt x="3" y="26"/>
                  </a:lnTo>
                  <a:lnTo>
                    <a:pt x="1" y="25"/>
                  </a:lnTo>
                  <a:lnTo>
                    <a:pt x="1" y="25"/>
                  </a:lnTo>
                  <a:lnTo>
                    <a:pt x="0" y="31"/>
                  </a:lnTo>
                  <a:lnTo>
                    <a:pt x="0" y="31"/>
                  </a:lnTo>
                  <a:lnTo>
                    <a:pt x="0" y="32"/>
                  </a:lnTo>
                  <a:lnTo>
                    <a:pt x="1" y="34"/>
                  </a:lnTo>
                  <a:lnTo>
                    <a:pt x="1" y="34"/>
                  </a:lnTo>
                  <a:lnTo>
                    <a:pt x="4" y="35"/>
                  </a:lnTo>
                  <a:lnTo>
                    <a:pt x="5" y="32"/>
                  </a:lnTo>
                  <a:close/>
                  <a:moveTo>
                    <a:pt x="18" y="29"/>
                  </a:moveTo>
                  <a:lnTo>
                    <a:pt x="18" y="29"/>
                  </a:lnTo>
                  <a:lnTo>
                    <a:pt x="17" y="31"/>
                  </a:lnTo>
                  <a:lnTo>
                    <a:pt x="17" y="31"/>
                  </a:lnTo>
                  <a:lnTo>
                    <a:pt x="10" y="32"/>
                  </a:lnTo>
                  <a:lnTo>
                    <a:pt x="10" y="35"/>
                  </a:lnTo>
                  <a:lnTo>
                    <a:pt x="10" y="35"/>
                  </a:lnTo>
                  <a:lnTo>
                    <a:pt x="17" y="34"/>
                  </a:lnTo>
                  <a:lnTo>
                    <a:pt x="17" y="34"/>
                  </a:lnTo>
                  <a:lnTo>
                    <a:pt x="20" y="32"/>
                  </a:lnTo>
                  <a:lnTo>
                    <a:pt x="18" y="29"/>
                  </a:lnTo>
                  <a:close/>
                  <a:moveTo>
                    <a:pt x="24" y="16"/>
                  </a:moveTo>
                  <a:lnTo>
                    <a:pt x="24" y="16"/>
                  </a:lnTo>
                  <a:lnTo>
                    <a:pt x="21" y="26"/>
                  </a:lnTo>
                  <a:lnTo>
                    <a:pt x="23" y="28"/>
                  </a:lnTo>
                  <a:lnTo>
                    <a:pt x="23" y="28"/>
                  </a:lnTo>
                  <a:lnTo>
                    <a:pt x="27" y="18"/>
                  </a:lnTo>
                  <a:lnTo>
                    <a:pt x="24"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69" name="Freeform 1741"/>
            <p:cNvSpPr>
              <a:spLocks noEditPoints="1"/>
            </p:cNvSpPr>
            <p:nvPr/>
          </p:nvSpPr>
          <p:spPr bwMode="auto">
            <a:xfrm>
              <a:off x="4340225" y="3569129"/>
              <a:ext cx="17463" cy="14288"/>
            </a:xfrm>
            <a:custGeom>
              <a:avLst/>
              <a:gdLst>
                <a:gd name="T0" fmla="*/ 9 w 11"/>
                <a:gd name="T1" fmla="*/ 7 h 9"/>
                <a:gd name="T2" fmla="*/ 11 w 11"/>
                <a:gd name="T3" fmla="*/ 7 h 9"/>
                <a:gd name="T4" fmla="*/ 8 w 11"/>
                <a:gd name="T5" fmla="*/ 4 h 9"/>
                <a:gd name="T6" fmla="*/ 8 w 11"/>
                <a:gd name="T7" fmla="*/ 6 h 9"/>
                <a:gd name="T8" fmla="*/ 9 w 11"/>
                <a:gd name="T9" fmla="*/ 7 h 9"/>
                <a:gd name="T10" fmla="*/ 5 w 11"/>
                <a:gd name="T11" fmla="*/ 9 h 9"/>
                <a:gd name="T12" fmla="*/ 5 w 11"/>
                <a:gd name="T13" fmla="*/ 9 h 9"/>
                <a:gd name="T14" fmla="*/ 6 w 11"/>
                <a:gd name="T15" fmla="*/ 9 h 9"/>
                <a:gd name="T16" fmla="*/ 6 w 11"/>
                <a:gd name="T17" fmla="*/ 9 h 9"/>
                <a:gd name="T18" fmla="*/ 8 w 11"/>
                <a:gd name="T19" fmla="*/ 9 h 9"/>
                <a:gd name="T20" fmla="*/ 6 w 11"/>
                <a:gd name="T21" fmla="*/ 6 h 9"/>
                <a:gd name="T22" fmla="*/ 6 w 11"/>
                <a:gd name="T23" fmla="*/ 6 h 9"/>
                <a:gd name="T24" fmla="*/ 5 w 11"/>
                <a:gd name="T25" fmla="*/ 6 h 9"/>
                <a:gd name="T26" fmla="*/ 5 w 11"/>
                <a:gd name="T27" fmla="*/ 7 h 9"/>
                <a:gd name="T28" fmla="*/ 5 w 11"/>
                <a:gd name="T29" fmla="*/ 6 h 9"/>
                <a:gd name="T30" fmla="*/ 5 w 11"/>
                <a:gd name="T31" fmla="*/ 6 h 9"/>
                <a:gd name="T32" fmla="*/ 5 w 11"/>
                <a:gd name="T33" fmla="*/ 7 h 9"/>
                <a:gd name="T34" fmla="*/ 5 w 11"/>
                <a:gd name="T35" fmla="*/ 6 h 9"/>
                <a:gd name="T36" fmla="*/ 5 w 11"/>
                <a:gd name="T37" fmla="*/ 7 h 9"/>
                <a:gd name="T38" fmla="*/ 5 w 11"/>
                <a:gd name="T39" fmla="*/ 6 h 9"/>
                <a:gd name="T40" fmla="*/ 5 w 11"/>
                <a:gd name="T41" fmla="*/ 6 h 9"/>
                <a:gd name="T42" fmla="*/ 5 w 11"/>
                <a:gd name="T43" fmla="*/ 7 h 9"/>
                <a:gd name="T44" fmla="*/ 5 w 11"/>
                <a:gd name="T45" fmla="*/ 6 h 9"/>
                <a:gd name="T46" fmla="*/ 5 w 11"/>
                <a:gd name="T47" fmla="*/ 9 h 9"/>
                <a:gd name="T48" fmla="*/ 2 w 11"/>
                <a:gd name="T49" fmla="*/ 4 h 9"/>
                <a:gd name="T50" fmla="*/ 2 w 11"/>
                <a:gd name="T51" fmla="*/ 4 h 9"/>
                <a:gd name="T52" fmla="*/ 3 w 11"/>
                <a:gd name="T53" fmla="*/ 7 h 9"/>
                <a:gd name="T54" fmla="*/ 5 w 11"/>
                <a:gd name="T55" fmla="*/ 6 h 9"/>
                <a:gd name="T56" fmla="*/ 5 w 11"/>
                <a:gd name="T57" fmla="*/ 6 h 9"/>
                <a:gd name="T58" fmla="*/ 5 w 11"/>
                <a:gd name="T59" fmla="*/ 4 h 9"/>
                <a:gd name="T60" fmla="*/ 2 w 11"/>
                <a:gd name="T61" fmla="*/ 4 h 9"/>
                <a:gd name="T62" fmla="*/ 0 w 11"/>
                <a:gd name="T63" fmla="*/ 2 h 9"/>
                <a:gd name="T64" fmla="*/ 0 w 11"/>
                <a:gd name="T65" fmla="*/ 2 h 9"/>
                <a:gd name="T66" fmla="*/ 2 w 11"/>
                <a:gd name="T67" fmla="*/ 3 h 9"/>
                <a:gd name="T68" fmla="*/ 3 w 11"/>
                <a:gd name="T69" fmla="*/ 3 h 9"/>
                <a:gd name="T70" fmla="*/ 3 w 11"/>
                <a:gd name="T71" fmla="*/ 3 h 9"/>
                <a:gd name="T72" fmla="*/ 3 w 11"/>
                <a:gd name="T73" fmla="*/ 0 h 9"/>
                <a:gd name="T74" fmla="*/ 0 w 11"/>
                <a:gd name="T75"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 h="9">
                  <a:moveTo>
                    <a:pt x="9" y="7"/>
                  </a:moveTo>
                  <a:lnTo>
                    <a:pt x="11" y="7"/>
                  </a:lnTo>
                  <a:lnTo>
                    <a:pt x="8" y="4"/>
                  </a:lnTo>
                  <a:lnTo>
                    <a:pt x="8" y="6"/>
                  </a:lnTo>
                  <a:lnTo>
                    <a:pt x="9" y="7"/>
                  </a:lnTo>
                  <a:close/>
                  <a:moveTo>
                    <a:pt x="5" y="9"/>
                  </a:moveTo>
                  <a:lnTo>
                    <a:pt x="5" y="9"/>
                  </a:lnTo>
                  <a:lnTo>
                    <a:pt x="6" y="9"/>
                  </a:lnTo>
                  <a:lnTo>
                    <a:pt x="6" y="9"/>
                  </a:lnTo>
                  <a:lnTo>
                    <a:pt x="8" y="9"/>
                  </a:lnTo>
                  <a:lnTo>
                    <a:pt x="6" y="6"/>
                  </a:lnTo>
                  <a:lnTo>
                    <a:pt x="6" y="6"/>
                  </a:lnTo>
                  <a:lnTo>
                    <a:pt x="5" y="6"/>
                  </a:lnTo>
                  <a:lnTo>
                    <a:pt x="5" y="7"/>
                  </a:lnTo>
                  <a:lnTo>
                    <a:pt x="5" y="6"/>
                  </a:lnTo>
                  <a:lnTo>
                    <a:pt x="5" y="6"/>
                  </a:lnTo>
                  <a:lnTo>
                    <a:pt x="5" y="7"/>
                  </a:lnTo>
                  <a:lnTo>
                    <a:pt x="5" y="6"/>
                  </a:lnTo>
                  <a:lnTo>
                    <a:pt x="5" y="7"/>
                  </a:lnTo>
                  <a:lnTo>
                    <a:pt x="5" y="6"/>
                  </a:lnTo>
                  <a:lnTo>
                    <a:pt x="5" y="6"/>
                  </a:lnTo>
                  <a:lnTo>
                    <a:pt x="5" y="7"/>
                  </a:lnTo>
                  <a:lnTo>
                    <a:pt x="5" y="6"/>
                  </a:lnTo>
                  <a:lnTo>
                    <a:pt x="5" y="9"/>
                  </a:lnTo>
                  <a:close/>
                  <a:moveTo>
                    <a:pt x="2" y="4"/>
                  </a:moveTo>
                  <a:lnTo>
                    <a:pt x="2" y="4"/>
                  </a:lnTo>
                  <a:lnTo>
                    <a:pt x="3" y="7"/>
                  </a:lnTo>
                  <a:lnTo>
                    <a:pt x="5" y="6"/>
                  </a:lnTo>
                  <a:lnTo>
                    <a:pt x="5" y="6"/>
                  </a:lnTo>
                  <a:lnTo>
                    <a:pt x="5" y="4"/>
                  </a:lnTo>
                  <a:lnTo>
                    <a:pt x="2" y="4"/>
                  </a:lnTo>
                  <a:close/>
                  <a:moveTo>
                    <a:pt x="0" y="2"/>
                  </a:moveTo>
                  <a:lnTo>
                    <a:pt x="0" y="2"/>
                  </a:lnTo>
                  <a:lnTo>
                    <a:pt x="2" y="3"/>
                  </a:lnTo>
                  <a:lnTo>
                    <a:pt x="3" y="3"/>
                  </a:lnTo>
                  <a:lnTo>
                    <a:pt x="3" y="3"/>
                  </a:lnTo>
                  <a:lnTo>
                    <a:pt x="3" y="0"/>
                  </a:lnTo>
                  <a:lnTo>
                    <a:pt x="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70" name="Freeform 1742"/>
            <p:cNvSpPr>
              <a:spLocks/>
            </p:cNvSpPr>
            <p:nvPr/>
          </p:nvSpPr>
          <p:spPr bwMode="auto">
            <a:xfrm>
              <a:off x="4565650" y="3399266"/>
              <a:ext cx="4763" cy="9525"/>
            </a:xfrm>
            <a:custGeom>
              <a:avLst/>
              <a:gdLst>
                <a:gd name="T0" fmla="*/ 0 w 3"/>
                <a:gd name="T1" fmla="*/ 1 h 6"/>
                <a:gd name="T2" fmla="*/ 0 w 3"/>
                <a:gd name="T3" fmla="*/ 1 h 6"/>
                <a:gd name="T4" fmla="*/ 0 w 3"/>
                <a:gd name="T5" fmla="*/ 4 h 6"/>
                <a:gd name="T6" fmla="*/ 0 w 3"/>
                <a:gd name="T7" fmla="*/ 4 h 6"/>
                <a:gd name="T8" fmla="*/ 0 w 3"/>
                <a:gd name="T9" fmla="*/ 6 h 6"/>
                <a:gd name="T10" fmla="*/ 3 w 3"/>
                <a:gd name="T11" fmla="*/ 6 h 6"/>
                <a:gd name="T12" fmla="*/ 3 w 3"/>
                <a:gd name="T13" fmla="*/ 6 h 6"/>
                <a:gd name="T14" fmla="*/ 3 w 3"/>
                <a:gd name="T15" fmla="*/ 4 h 6"/>
                <a:gd name="T16" fmla="*/ 3 w 3"/>
                <a:gd name="T17" fmla="*/ 4 h 6"/>
                <a:gd name="T18" fmla="*/ 3 w 3"/>
                <a:gd name="T19" fmla="*/ 0 h 6"/>
                <a:gd name="T20" fmla="*/ 0 w 3"/>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6">
                  <a:moveTo>
                    <a:pt x="0" y="1"/>
                  </a:moveTo>
                  <a:lnTo>
                    <a:pt x="0" y="1"/>
                  </a:lnTo>
                  <a:lnTo>
                    <a:pt x="0" y="4"/>
                  </a:lnTo>
                  <a:lnTo>
                    <a:pt x="0" y="4"/>
                  </a:lnTo>
                  <a:lnTo>
                    <a:pt x="0" y="6"/>
                  </a:lnTo>
                  <a:lnTo>
                    <a:pt x="3" y="6"/>
                  </a:lnTo>
                  <a:lnTo>
                    <a:pt x="3" y="6"/>
                  </a:lnTo>
                  <a:lnTo>
                    <a:pt x="3" y="4"/>
                  </a:lnTo>
                  <a:lnTo>
                    <a:pt x="3" y="4"/>
                  </a:lnTo>
                  <a:lnTo>
                    <a:pt x="3" y="0"/>
                  </a:lnTo>
                  <a:lnTo>
                    <a:pt x="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71" name="Freeform 1743"/>
            <p:cNvSpPr>
              <a:spLocks noEditPoints="1"/>
            </p:cNvSpPr>
            <p:nvPr/>
          </p:nvSpPr>
          <p:spPr bwMode="auto">
            <a:xfrm>
              <a:off x="4476750" y="3532616"/>
              <a:ext cx="15875" cy="17463"/>
            </a:xfrm>
            <a:custGeom>
              <a:avLst/>
              <a:gdLst>
                <a:gd name="T0" fmla="*/ 0 w 10"/>
                <a:gd name="T1" fmla="*/ 11 h 11"/>
                <a:gd name="T2" fmla="*/ 0 w 10"/>
                <a:gd name="T3" fmla="*/ 11 h 11"/>
                <a:gd name="T4" fmla="*/ 0 w 10"/>
                <a:gd name="T5" fmla="*/ 11 h 11"/>
                <a:gd name="T6" fmla="*/ 1 w 10"/>
                <a:gd name="T7" fmla="*/ 11 h 11"/>
                <a:gd name="T8" fmla="*/ 1 w 10"/>
                <a:gd name="T9" fmla="*/ 11 h 11"/>
                <a:gd name="T10" fmla="*/ 1 w 10"/>
                <a:gd name="T11" fmla="*/ 11 h 11"/>
                <a:gd name="T12" fmla="*/ 0 w 10"/>
                <a:gd name="T13" fmla="*/ 11 h 11"/>
                <a:gd name="T14" fmla="*/ 0 w 10"/>
                <a:gd name="T15" fmla="*/ 7 h 11"/>
                <a:gd name="T16" fmla="*/ 0 w 10"/>
                <a:gd name="T17" fmla="*/ 7 h 11"/>
                <a:gd name="T18" fmla="*/ 0 w 10"/>
                <a:gd name="T19" fmla="*/ 10 h 11"/>
                <a:gd name="T20" fmla="*/ 1 w 10"/>
                <a:gd name="T21" fmla="*/ 10 h 11"/>
                <a:gd name="T22" fmla="*/ 1 w 10"/>
                <a:gd name="T23" fmla="*/ 10 h 11"/>
                <a:gd name="T24" fmla="*/ 1 w 10"/>
                <a:gd name="T25" fmla="*/ 7 h 11"/>
                <a:gd name="T26" fmla="*/ 0 w 10"/>
                <a:gd name="T27" fmla="*/ 7 h 11"/>
                <a:gd name="T28" fmla="*/ 1 w 10"/>
                <a:gd name="T29" fmla="*/ 3 h 11"/>
                <a:gd name="T30" fmla="*/ 1 w 10"/>
                <a:gd name="T31" fmla="*/ 3 h 11"/>
                <a:gd name="T32" fmla="*/ 0 w 10"/>
                <a:gd name="T33" fmla="*/ 6 h 11"/>
                <a:gd name="T34" fmla="*/ 1 w 10"/>
                <a:gd name="T35" fmla="*/ 6 h 11"/>
                <a:gd name="T36" fmla="*/ 1 w 10"/>
                <a:gd name="T37" fmla="*/ 6 h 11"/>
                <a:gd name="T38" fmla="*/ 3 w 10"/>
                <a:gd name="T39" fmla="*/ 4 h 11"/>
                <a:gd name="T40" fmla="*/ 1 w 10"/>
                <a:gd name="T41" fmla="*/ 3 h 11"/>
                <a:gd name="T42" fmla="*/ 4 w 10"/>
                <a:gd name="T43" fmla="*/ 0 h 11"/>
                <a:gd name="T44" fmla="*/ 4 w 10"/>
                <a:gd name="T45" fmla="*/ 0 h 11"/>
                <a:gd name="T46" fmla="*/ 4 w 10"/>
                <a:gd name="T47" fmla="*/ 0 h 11"/>
                <a:gd name="T48" fmla="*/ 3 w 10"/>
                <a:gd name="T49" fmla="*/ 1 h 11"/>
                <a:gd name="T50" fmla="*/ 1 w 10"/>
                <a:gd name="T51" fmla="*/ 1 h 11"/>
                <a:gd name="T52" fmla="*/ 3 w 10"/>
                <a:gd name="T53" fmla="*/ 3 h 11"/>
                <a:gd name="T54" fmla="*/ 3 w 10"/>
                <a:gd name="T55" fmla="*/ 3 h 11"/>
                <a:gd name="T56" fmla="*/ 3 w 10"/>
                <a:gd name="T57" fmla="*/ 3 h 11"/>
                <a:gd name="T58" fmla="*/ 4 w 10"/>
                <a:gd name="T59" fmla="*/ 1 h 11"/>
                <a:gd name="T60" fmla="*/ 4 w 10"/>
                <a:gd name="T61" fmla="*/ 1 h 11"/>
                <a:gd name="T62" fmla="*/ 4 w 10"/>
                <a:gd name="T63" fmla="*/ 0 h 11"/>
                <a:gd name="T64" fmla="*/ 7 w 10"/>
                <a:gd name="T65" fmla="*/ 3 h 11"/>
                <a:gd name="T66" fmla="*/ 7 w 10"/>
                <a:gd name="T67" fmla="*/ 3 h 11"/>
                <a:gd name="T68" fmla="*/ 6 w 10"/>
                <a:gd name="T69" fmla="*/ 1 h 11"/>
                <a:gd name="T70" fmla="*/ 6 w 10"/>
                <a:gd name="T71" fmla="*/ 3 h 11"/>
                <a:gd name="T72" fmla="*/ 6 w 10"/>
                <a:gd name="T73" fmla="*/ 3 h 11"/>
                <a:gd name="T74" fmla="*/ 7 w 10"/>
                <a:gd name="T75" fmla="*/ 4 h 11"/>
                <a:gd name="T76" fmla="*/ 7 w 10"/>
                <a:gd name="T77" fmla="*/ 3 h 11"/>
                <a:gd name="T78" fmla="*/ 10 w 10"/>
                <a:gd name="T79" fmla="*/ 7 h 11"/>
                <a:gd name="T80" fmla="*/ 10 w 10"/>
                <a:gd name="T81" fmla="*/ 7 h 11"/>
                <a:gd name="T82" fmla="*/ 9 w 10"/>
                <a:gd name="T83" fmla="*/ 4 h 11"/>
                <a:gd name="T84" fmla="*/ 7 w 10"/>
                <a:gd name="T85" fmla="*/ 6 h 11"/>
                <a:gd name="T86" fmla="*/ 7 w 10"/>
                <a:gd name="T87" fmla="*/ 6 h 11"/>
                <a:gd name="T88" fmla="*/ 9 w 10"/>
                <a:gd name="T89" fmla="*/ 7 h 11"/>
                <a:gd name="T90" fmla="*/ 10 w 10"/>
                <a:gd name="T91"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 h="11">
                  <a:moveTo>
                    <a:pt x="0" y="11"/>
                  </a:moveTo>
                  <a:lnTo>
                    <a:pt x="0" y="11"/>
                  </a:lnTo>
                  <a:lnTo>
                    <a:pt x="0" y="11"/>
                  </a:lnTo>
                  <a:lnTo>
                    <a:pt x="1" y="11"/>
                  </a:lnTo>
                  <a:lnTo>
                    <a:pt x="1" y="11"/>
                  </a:lnTo>
                  <a:lnTo>
                    <a:pt x="1" y="11"/>
                  </a:lnTo>
                  <a:lnTo>
                    <a:pt x="0" y="11"/>
                  </a:lnTo>
                  <a:close/>
                  <a:moveTo>
                    <a:pt x="0" y="7"/>
                  </a:moveTo>
                  <a:lnTo>
                    <a:pt x="0" y="7"/>
                  </a:lnTo>
                  <a:lnTo>
                    <a:pt x="0" y="10"/>
                  </a:lnTo>
                  <a:lnTo>
                    <a:pt x="1" y="10"/>
                  </a:lnTo>
                  <a:lnTo>
                    <a:pt x="1" y="10"/>
                  </a:lnTo>
                  <a:lnTo>
                    <a:pt x="1" y="7"/>
                  </a:lnTo>
                  <a:lnTo>
                    <a:pt x="0" y="7"/>
                  </a:lnTo>
                  <a:close/>
                  <a:moveTo>
                    <a:pt x="1" y="3"/>
                  </a:moveTo>
                  <a:lnTo>
                    <a:pt x="1" y="3"/>
                  </a:lnTo>
                  <a:lnTo>
                    <a:pt x="0" y="6"/>
                  </a:lnTo>
                  <a:lnTo>
                    <a:pt x="1" y="6"/>
                  </a:lnTo>
                  <a:lnTo>
                    <a:pt x="1" y="6"/>
                  </a:lnTo>
                  <a:lnTo>
                    <a:pt x="3" y="4"/>
                  </a:lnTo>
                  <a:lnTo>
                    <a:pt x="1" y="3"/>
                  </a:lnTo>
                  <a:close/>
                  <a:moveTo>
                    <a:pt x="4" y="0"/>
                  </a:moveTo>
                  <a:lnTo>
                    <a:pt x="4" y="0"/>
                  </a:lnTo>
                  <a:lnTo>
                    <a:pt x="4" y="0"/>
                  </a:lnTo>
                  <a:lnTo>
                    <a:pt x="3" y="1"/>
                  </a:lnTo>
                  <a:lnTo>
                    <a:pt x="1" y="1"/>
                  </a:lnTo>
                  <a:lnTo>
                    <a:pt x="3" y="3"/>
                  </a:lnTo>
                  <a:lnTo>
                    <a:pt x="3" y="3"/>
                  </a:lnTo>
                  <a:lnTo>
                    <a:pt x="3" y="3"/>
                  </a:lnTo>
                  <a:lnTo>
                    <a:pt x="4" y="1"/>
                  </a:lnTo>
                  <a:lnTo>
                    <a:pt x="4" y="1"/>
                  </a:lnTo>
                  <a:lnTo>
                    <a:pt x="4" y="0"/>
                  </a:lnTo>
                  <a:close/>
                  <a:moveTo>
                    <a:pt x="7" y="3"/>
                  </a:moveTo>
                  <a:lnTo>
                    <a:pt x="7" y="3"/>
                  </a:lnTo>
                  <a:lnTo>
                    <a:pt x="6" y="1"/>
                  </a:lnTo>
                  <a:lnTo>
                    <a:pt x="6" y="3"/>
                  </a:lnTo>
                  <a:lnTo>
                    <a:pt x="6" y="3"/>
                  </a:lnTo>
                  <a:lnTo>
                    <a:pt x="7" y="4"/>
                  </a:lnTo>
                  <a:lnTo>
                    <a:pt x="7" y="3"/>
                  </a:lnTo>
                  <a:close/>
                  <a:moveTo>
                    <a:pt x="10" y="7"/>
                  </a:moveTo>
                  <a:lnTo>
                    <a:pt x="10" y="7"/>
                  </a:lnTo>
                  <a:lnTo>
                    <a:pt x="9" y="4"/>
                  </a:lnTo>
                  <a:lnTo>
                    <a:pt x="7" y="6"/>
                  </a:lnTo>
                  <a:lnTo>
                    <a:pt x="7" y="6"/>
                  </a:lnTo>
                  <a:lnTo>
                    <a:pt x="9" y="7"/>
                  </a:lnTo>
                  <a:lnTo>
                    <a:pt x="1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72" name="Freeform 1744"/>
            <p:cNvSpPr>
              <a:spLocks/>
            </p:cNvSpPr>
            <p:nvPr/>
          </p:nvSpPr>
          <p:spPr bwMode="auto">
            <a:xfrm>
              <a:off x="4621213" y="3518329"/>
              <a:ext cx="9525" cy="7938"/>
            </a:xfrm>
            <a:custGeom>
              <a:avLst/>
              <a:gdLst>
                <a:gd name="T0" fmla="*/ 3 w 6"/>
                <a:gd name="T1" fmla="*/ 5 h 5"/>
                <a:gd name="T2" fmla="*/ 3 w 6"/>
                <a:gd name="T3" fmla="*/ 5 h 5"/>
                <a:gd name="T4" fmla="*/ 2 w 6"/>
                <a:gd name="T5" fmla="*/ 5 h 5"/>
                <a:gd name="T6" fmla="*/ 0 w 6"/>
                <a:gd name="T7" fmla="*/ 3 h 5"/>
                <a:gd name="T8" fmla="*/ 0 w 6"/>
                <a:gd name="T9" fmla="*/ 2 h 5"/>
                <a:gd name="T10" fmla="*/ 3 w 6"/>
                <a:gd name="T11" fmla="*/ 0 h 5"/>
                <a:gd name="T12" fmla="*/ 3 w 6"/>
                <a:gd name="T13" fmla="*/ 0 h 5"/>
                <a:gd name="T14" fmla="*/ 4 w 6"/>
                <a:gd name="T15" fmla="*/ 0 h 5"/>
                <a:gd name="T16" fmla="*/ 6 w 6"/>
                <a:gd name="T17" fmla="*/ 2 h 5"/>
                <a:gd name="T18" fmla="*/ 3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3" y="5"/>
                  </a:moveTo>
                  <a:lnTo>
                    <a:pt x="3" y="5"/>
                  </a:lnTo>
                  <a:lnTo>
                    <a:pt x="2" y="5"/>
                  </a:lnTo>
                  <a:lnTo>
                    <a:pt x="0" y="3"/>
                  </a:lnTo>
                  <a:lnTo>
                    <a:pt x="0" y="2"/>
                  </a:lnTo>
                  <a:lnTo>
                    <a:pt x="3" y="0"/>
                  </a:lnTo>
                  <a:lnTo>
                    <a:pt x="3" y="0"/>
                  </a:lnTo>
                  <a:lnTo>
                    <a:pt x="4" y="0"/>
                  </a:lnTo>
                  <a:lnTo>
                    <a:pt x="6" y="2"/>
                  </a:lnTo>
                  <a:lnTo>
                    <a:pt x="3" y="5"/>
                  </a:lnTo>
                  <a:close/>
                </a:path>
              </a:pathLst>
            </a:custGeom>
            <a:solidFill>
              <a:srgbClr val="BFBE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73" name="Freeform 1745"/>
            <p:cNvSpPr>
              <a:spLocks/>
            </p:cNvSpPr>
            <p:nvPr/>
          </p:nvSpPr>
          <p:spPr bwMode="auto">
            <a:xfrm>
              <a:off x="4621213" y="3518329"/>
              <a:ext cx="9525" cy="7938"/>
            </a:xfrm>
            <a:custGeom>
              <a:avLst/>
              <a:gdLst>
                <a:gd name="T0" fmla="*/ 3 w 6"/>
                <a:gd name="T1" fmla="*/ 5 h 5"/>
                <a:gd name="T2" fmla="*/ 3 w 6"/>
                <a:gd name="T3" fmla="*/ 5 h 5"/>
                <a:gd name="T4" fmla="*/ 2 w 6"/>
                <a:gd name="T5" fmla="*/ 5 h 5"/>
                <a:gd name="T6" fmla="*/ 0 w 6"/>
                <a:gd name="T7" fmla="*/ 3 h 5"/>
                <a:gd name="T8" fmla="*/ 0 w 6"/>
                <a:gd name="T9" fmla="*/ 2 h 5"/>
                <a:gd name="T10" fmla="*/ 3 w 6"/>
                <a:gd name="T11" fmla="*/ 0 h 5"/>
                <a:gd name="T12" fmla="*/ 3 w 6"/>
                <a:gd name="T13" fmla="*/ 0 h 5"/>
                <a:gd name="T14" fmla="*/ 4 w 6"/>
                <a:gd name="T15" fmla="*/ 0 h 5"/>
                <a:gd name="T16" fmla="*/ 6 w 6"/>
                <a:gd name="T17" fmla="*/ 2 h 5"/>
                <a:gd name="T18" fmla="*/ 3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3" y="5"/>
                  </a:moveTo>
                  <a:lnTo>
                    <a:pt x="3" y="5"/>
                  </a:lnTo>
                  <a:lnTo>
                    <a:pt x="2" y="5"/>
                  </a:lnTo>
                  <a:lnTo>
                    <a:pt x="0" y="3"/>
                  </a:lnTo>
                  <a:lnTo>
                    <a:pt x="0" y="2"/>
                  </a:lnTo>
                  <a:lnTo>
                    <a:pt x="3" y="0"/>
                  </a:lnTo>
                  <a:lnTo>
                    <a:pt x="3" y="0"/>
                  </a:lnTo>
                  <a:lnTo>
                    <a:pt x="4" y="0"/>
                  </a:lnTo>
                  <a:lnTo>
                    <a:pt x="6" y="2"/>
                  </a:lnTo>
                  <a:lnTo>
                    <a:pt x="3"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74" name="Freeform 1746"/>
            <p:cNvSpPr>
              <a:spLocks noEditPoints="1"/>
            </p:cNvSpPr>
            <p:nvPr/>
          </p:nvSpPr>
          <p:spPr bwMode="auto">
            <a:xfrm>
              <a:off x="4621213" y="3516741"/>
              <a:ext cx="9525" cy="9525"/>
            </a:xfrm>
            <a:custGeom>
              <a:avLst/>
              <a:gdLst>
                <a:gd name="T0" fmla="*/ 3 w 6"/>
                <a:gd name="T1" fmla="*/ 4 h 6"/>
                <a:gd name="T2" fmla="*/ 3 w 6"/>
                <a:gd name="T3" fmla="*/ 4 h 6"/>
                <a:gd name="T4" fmla="*/ 2 w 6"/>
                <a:gd name="T5" fmla="*/ 4 h 6"/>
                <a:gd name="T6" fmla="*/ 0 w 6"/>
                <a:gd name="T7" fmla="*/ 6 h 6"/>
                <a:gd name="T8" fmla="*/ 0 w 6"/>
                <a:gd name="T9" fmla="*/ 6 h 6"/>
                <a:gd name="T10" fmla="*/ 3 w 6"/>
                <a:gd name="T11" fmla="*/ 6 h 6"/>
                <a:gd name="T12" fmla="*/ 3 w 6"/>
                <a:gd name="T13" fmla="*/ 6 h 6"/>
                <a:gd name="T14" fmla="*/ 4 w 6"/>
                <a:gd name="T15" fmla="*/ 6 h 6"/>
                <a:gd name="T16" fmla="*/ 3 w 6"/>
                <a:gd name="T17" fmla="*/ 4 h 6"/>
                <a:gd name="T18" fmla="*/ 4 w 6"/>
                <a:gd name="T19" fmla="*/ 3 h 6"/>
                <a:gd name="T20" fmla="*/ 4 w 6"/>
                <a:gd name="T21" fmla="*/ 3 h 6"/>
                <a:gd name="T22" fmla="*/ 3 w 6"/>
                <a:gd name="T23" fmla="*/ 4 h 6"/>
                <a:gd name="T24" fmla="*/ 4 w 6"/>
                <a:gd name="T25" fmla="*/ 6 h 6"/>
                <a:gd name="T26" fmla="*/ 4 w 6"/>
                <a:gd name="T27" fmla="*/ 6 h 6"/>
                <a:gd name="T28" fmla="*/ 6 w 6"/>
                <a:gd name="T29" fmla="*/ 3 h 6"/>
                <a:gd name="T30" fmla="*/ 4 w 6"/>
                <a:gd name="T31" fmla="*/ 3 h 6"/>
                <a:gd name="T32" fmla="*/ 3 w 6"/>
                <a:gd name="T33" fmla="*/ 3 h 6"/>
                <a:gd name="T34" fmla="*/ 3 w 6"/>
                <a:gd name="T35" fmla="*/ 3 h 6"/>
                <a:gd name="T36" fmla="*/ 4 w 6"/>
                <a:gd name="T37" fmla="*/ 1 h 6"/>
                <a:gd name="T38" fmla="*/ 4 w 6"/>
                <a:gd name="T39" fmla="*/ 1 h 6"/>
                <a:gd name="T40" fmla="*/ 6 w 6"/>
                <a:gd name="T41" fmla="*/ 1 h 6"/>
                <a:gd name="T42" fmla="*/ 6 w 6"/>
                <a:gd name="T43" fmla="*/ 1 h 6"/>
                <a:gd name="T44" fmla="*/ 4 w 6"/>
                <a:gd name="T45" fmla="*/ 0 h 6"/>
                <a:gd name="T46" fmla="*/ 4 w 6"/>
                <a:gd name="T47" fmla="*/ 0 h 6"/>
                <a:gd name="T48" fmla="*/ 3 w 6"/>
                <a:gd name="T49" fmla="*/ 1 h 6"/>
                <a:gd name="T50" fmla="*/ 3 w 6"/>
                <a:gd name="T51" fmla="*/ 3 h 6"/>
                <a:gd name="T52" fmla="*/ 2 w 6"/>
                <a:gd name="T53" fmla="*/ 4 h 6"/>
                <a:gd name="T54" fmla="*/ 2 w 6"/>
                <a:gd name="T55" fmla="*/ 4 h 6"/>
                <a:gd name="T56" fmla="*/ 2 w 6"/>
                <a:gd name="T57" fmla="*/ 4 h 6"/>
                <a:gd name="T58" fmla="*/ 2 w 6"/>
                <a:gd name="T59" fmla="*/ 3 h 6"/>
                <a:gd name="T60" fmla="*/ 2 w 6"/>
                <a:gd name="T61" fmla="*/ 1 h 6"/>
                <a:gd name="T62" fmla="*/ 2 w 6"/>
                <a:gd name="T63" fmla="*/ 1 h 6"/>
                <a:gd name="T64" fmla="*/ 0 w 6"/>
                <a:gd name="T65" fmla="*/ 4 h 6"/>
                <a:gd name="T66" fmla="*/ 0 w 6"/>
                <a:gd name="T67" fmla="*/ 4 h 6"/>
                <a:gd name="T68" fmla="*/ 2 w 6"/>
                <a:gd name="T6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 h="6">
                  <a:moveTo>
                    <a:pt x="3" y="4"/>
                  </a:moveTo>
                  <a:lnTo>
                    <a:pt x="3" y="4"/>
                  </a:lnTo>
                  <a:lnTo>
                    <a:pt x="2" y="4"/>
                  </a:lnTo>
                  <a:lnTo>
                    <a:pt x="0" y="6"/>
                  </a:lnTo>
                  <a:lnTo>
                    <a:pt x="0" y="6"/>
                  </a:lnTo>
                  <a:lnTo>
                    <a:pt x="3" y="6"/>
                  </a:lnTo>
                  <a:lnTo>
                    <a:pt x="3" y="6"/>
                  </a:lnTo>
                  <a:lnTo>
                    <a:pt x="4" y="6"/>
                  </a:lnTo>
                  <a:lnTo>
                    <a:pt x="3" y="4"/>
                  </a:lnTo>
                  <a:close/>
                  <a:moveTo>
                    <a:pt x="4" y="3"/>
                  </a:moveTo>
                  <a:lnTo>
                    <a:pt x="4" y="3"/>
                  </a:lnTo>
                  <a:lnTo>
                    <a:pt x="3" y="4"/>
                  </a:lnTo>
                  <a:lnTo>
                    <a:pt x="4" y="6"/>
                  </a:lnTo>
                  <a:lnTo>
                    <a:pt x="4" y="6"/>
                  </a:lnTo>
                  <a:lnTo>
                    <a:pt x="6" y="3"/>
                  </a:lnTo>
                  <a:lnTo>
                    <a:pt x="4" y="3"/>
                  </a:lnTo>
                  <a:close/>
                  <a:moveTo>
                    <a:pt x="3" y="3"/>
                  </a:moveTo>
                  <a:lnTo>
                    <a:pt x="3" y="3"/>
                  </a:lnTo>
                  <a:lnTo>
                    <a:pt x="4" y="1"/>
                  </a:lnTo>
                  <a:lnTo>
                    <a:pt x="4" y="1"/>
                  </a:lnTo>
                  <a:lnTo>
                    <a:pt x="6" y="1"/>
                  </a:lnTo>
                  <a:lnTo>
                    <a:pt x="6" y="1"/>
                  </a:lnTo>
                  <a:lnTo>
                    <a:pt x="4" y="0"/>
                  </a:lnTo>
                  <a:lnTo>
                    <a:pt x="4" y="0"/>
                  </a:lnTo>
                  <a:lnTo>
                    <a:pt x="3" y="1"/>
                  </a:lnTo>
                  <a:lnTo>
                    <a:pt x="3" y="3"/>
                  </a:lnTo>
                  <a:close/>
                  <a:moveTo>
                    <a:pt x="2" y="4"/>
                  </a:moveTo>
                  <a:lnTo>
                    <a:pt x="2" y="4"/>
                  </a:lnTo>
                  <a:lnTo>
                    <a:pt x="2" y="4"/>
                  </a:lnTo>
                  <a:lnTo>
                    <a:pt x="2" y="3"/>
                  </a:lnTo>
                  <a:lnTo>
                    <a:pt x="2" y="1"/>
                  </a:lnTo>
                  <a:lnTo>
                    <a:pt x="2" y="1"/>
                  </a:lnTo>
                  <a:lnTo>
                    <a:pt x="0" y="4"/>
                  </a:lnTo>
                  <a:lnTo>
                    <a:pt x="0" y="4"/>
                  </a:lnTo>
                  <a:lnTo>
                    <a:pt x="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75" name="Freeform 1747"/>
            <p:cNvSpPr>
              <a:spLocks/>
            </p:cNvSpPr>
            <p:nvPr/>
          </p:nvSpPr>
          <p:spPr bwMode="auto">
            <a:xfrm>
              <a:off x="4637088" y="3588179"/>
              <a:ext cx="4763" cy="6350"/>
            </a:xfrm>
            <a:custGeom>
              <a:avLst/>
              <a:gdLst>
                <a:gd name="T0" fmla="*/ 3 w 3"/>
                <a:gd name="T1" fmla="*/ 4 h 4"/>
                <a:gd name="T2" fmla="*/ 3 w 3"/>
                <a:gd name="T3" fmla="*/ 4 h 4"/>
                <a:gd name="T4" fmla="*/ 2 w 3"/>
                <a:gd name="T5" fmla="*/ 4 h 4"/>
                <a:gd name="T6" fmla="*/ 0 w 3"/>
                <a:gd name="T7" fmla="*/ 3 h 4"/>
                <a:gd name="T8" fmla="*/ 2 w 3"/>
                <a:gd name="T9" fmla="*/ 0 h 4"/>
                <a:gd name="T10" fmla="*/ 2 w 3"/>
                <a:gd name="T11" fmla="*/ 0 h 4"/>
                <a:gd name="T12" fmla="*/ 3 w 3"/>
                <a:gd name="T13" fmla="*/ 1 h 4"/>
                <a:gd name="T14" fmla="*/ 3 w 3"/>
                <a:gd name="T15" fmla="*/ 3 h 4"/>
                <a:gd name="T16" fmla="*/ 3 w 3"/>
                <a:gd name="T17" fmla="*/ 4 h 4"/>
                <a:gd name="T18" fmla="*/ 3 w 3"/>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3" y="4"/>
                  </a:moveTo>
                  <a:lnTo>
                    <a:pt x="3" y="4"/>
                  </a:lnTo>
                  <a:lnTo>
                    <a:pt x="2" y="4"/>
                  </a:lnTo>
                  <a:lnTo>
                    <a:pt x="0" y="3"/>
                  </a:lnTo>
                  <a:lnTo>
                    <a:pt x="2" y="0"/>
                  </a:lnTo>
                  <a:lnTo>
                    <a:pt x="2" y="0"/>
                  </a:lnTo>
                  <a:lnTo>
                    <a:pt x="3" y="1"/>
                  </a:lnTo>
                  <a:lnTo>
                    <a:pt x="3" y="3"/>
                  </a:lnTo>
                  <a:lnTo>
                    <a:pt x="3" y="4"/>
                  </a:lnTo>
                  <a:lnTo>
                    <a:pt x="3" y="4"/>
                  </a:lnTo>
                  <a:close/>
                </a:path>
              </a:pathLst>
            </a:custGeom>
            <a:solidFill>
              <a:srgbClr val="BFBE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76" name="Freeform 1748"/>
            <p:cNvSpPr>
              <a:spLocks/>
            </p:cNvSpPr>
            <p:nvPr/>
          </p:nvSpPr>
          <p:spPr bwMode="auto">
            <a:xfrm>
              <a:off x="4637088" y="3588179"/>
              <a:ext cx="4763" cy="6350"/>
            </a:xfrm>
            <a:custGeom>
              <a:avLst/>
              <a:gdLst>
                <a:gd name="T0" fmla="*/ 3 w 3"/>
                <a:gd name="T1" fmla="*/ 4 h 4"/>
                <a:gd name="T2" fmla="*/ 3 w 3"/>
                <a:gd name="T3" fmla="*/ 4 h 4"/>
                <a:gd name="T4" fmla="*/ 2 w 3"/>
                <a:gd name="T5" fmla="*/ 4 h 4"/>
                <a:gd name="T6" fmla="*/ 0 w 3"/>
                <a:gd name="T7" fmla="*/ 3 h 4"/>
                <a:gd name="T8" fmla="*/ 2 w 3"/>
                <a:gd name="T9" fmla="*/ 0 h 4"/>
                <a:gd name="T10" fmla="*/ 2 w 3"/>
                <a:gd name="T11" fmla="*/ 0 h 4"/>
                <a:gd name="T12" fmla="*/ 3 w 3"/>
                <a:gd name="T13" fmla="*/ 1 h 4"/>
                <a:gd name="T14" fmla="*/ 3 w 3"/>
                <a:gd name="T15" fmla="*/ 3 h 4"/>
                <a:gd name="T16" fmla="*/ 3 w 3"/>
                <a:gd name="T17" fmla="*/ 4 h 4"/>
                <a:gd name="T18" fmla="*/ 3 w 3"/>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3" y="4"/>
                  </a:moveTo>
                  <a:lnTo>
                    <a:pt x="3" y="4"/>
                  </a:lnTo>
                  <a:lnTo>
                    <a:pt x="2" y="4"/>
                  </a:lnTo>
                  <a:lnTo>
                    <a:pt x="0" y="3"/>
                  </a:lnTo>
                  <a:lnTo>
                    <a:pt x="2" y="0"/>
                  </a:lnTo>
                  <a:lnTo>
                    <a:pt x="2" y="0"/>
                  </a:lnTo>
                  <a:lnTo>
                    <a:pt x="3" y="1"/>
                  </a:lnTo>
                  <a:lnTo>
                    <a:pt x="3" y="3"/>
                  </a:lnTo>
                  <a:lnTo>
                    <a:pt x="3" y="4"/>
                  </a:lnTo>
                  <a:lnTo>
                    <a:pt x="3"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77" name="Freeform 1749"/>
            <p:cNvSpPr>
              <a:spLocks noEditPoints="1"/>
            </p:cNvSpPr>
            <p:nvPr/>
          </p:nvSpPr>
          <p:spPr bwMode="auto">
            <a:xfrm>
              <a:off x="4637088" y="3589766"/>
              <a:ext cx="7938" cy="6350"/>
            </a:xfrm>
            <a:custGeom>
              <a:avLst/>
              <a:gdLst>
                <a:gd name="T0" fmla="*/ 3 w 5"/>
                <a:gd name="T1" fmla="*/ 3 h 4"/>
                <a:gd name="T2" fmla="*/ 3 w 5"/>
                <a:gd name="T3" fmla="*/ 3 h 4"/>
                <a:gd name="T4" fmla="*/ 2 w 5"/>
                <a:gd name="T5" fmla="*/ 2 h 4"/>
                <a:gd name="T6" fmla="*/ 0 w 5"/>
                <a:gd name="T7" fmla="*/ 2 h 4"/>
                <a:gd name="T8" fmla="*/ 0 w 5"/>
                <a:gd name="T9" fmla="*/ 2 h 4"/>
                <a:gd name="T10" fmla="*/ 0 w 5"/>
                <a:gd name="T11" fmla="*/ 3 h 4"/>
                <a:gd name="T12" fmla="*/ 2 w 5"/>
                <a:gd name="T13" fmla="*/ 4 h 4"/>
                <a:gd name="T14" fmla="*/ 3 w 5"/>
                <a:gd name="T15" fmla="*/ 3 h 4"/>
                <a:gd name="T16" fmla="*/ 3 w 5"/>
                <a:gd name="T17" fmla="*/ 0 h 4"/>
                <a:gd name="T18" fmla="*/ 3 w 5"/>
                <a:gd name="T19" fmla="*/ 0 h 4"/>
                <a:gd name="T20" fmla="*/ 3 w 5"/>
                <a:gd name="T21" fmla="*/ 2 h 4"/>
                <a:gd name="T22" fmla="*/ 3 w 5"/>
                <a:gd name="T23" fmla="*/ 3 h 4"/>
                <a:gd name="T24" fmla="*/ 5 w 5"/>
                <a:gd name="T25" fmla="*/ 3 h 4"/>
                <a:gd name="T26" fmla="*/ 5 w 5"/>
                <a:gd name="T27" fmla="*/ 2 h 4"/>
                <a:gd name="T28" fmla="*/ 5 w 5"/>
                <a:gd name="T29" fmla="*/ 2 h 4"/>
                <a:gd name="T30" fmla="*/ 3 w 5"/>
                <a:gd name="T31" fmla="*/ 0 h 4"/>
                <a:gd name="T32" fmla="*/ 3 w 5"/>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4">
                  <a:moveTo>
                    <a:pt x="3" y="3"/>
                  </a:moveTo>
                  <a:lnTo>
                    <a:pt x="3" y="3"/>
                  </a:lnTo>
                  <a:lnTo>
                    <a:pt x="2" y="2"/>
                  </a:lnTo>
                  <a:lnTo>
                    <a:pt x="0" y="2"/>
                  </a:lnTo>
                  <a:lnTo>
                    <a:pt x="0" y="2"/>
                  </a:lnTo>
                  <a:lnTo>
                    <a:pt x="0" y="3"/>
                  </a:lnTo>
                  <a:lnTo>
                    <a:pt x="2" y="4"/>
                  </a:lnTo>
                  <a:lnTo>
                    <a:pt x="3" y="3"/>
                  </a:lnTo>
                  <a:close/>
                  <a:moveTo>
                    <a:pt x="3" y="0"/>
                  </a:moveTo>
                  <a:lnTo>
                    <a:pt x="3" y="0"/>
                  </a:lnTo>
                  <a:lnTo>
                    <a:pt x="3" y="2"/>
                  </a:lnTo>
                  <a:lnTo>
                    <a:pt x="3" y="3"/>
                  </a:lnTo>
                  <a:lnTo>
                    <a:pt x="5" y="3"/>
                  </a:lnTo>
                  <a:lnTo>
                    <a:pt x="5" y="2"/>
                  </a:lnTo>
                  <a:lnTo>
                    <a:pt x="5" y="2"/>
                  </a:lnTo>
                  <a:lnTo>
                    <a:pt x="3" y="0"/>
                  </a:ln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78" name="Freeform 1750"/>
            <p:cNvSpPr>
              <a:spLocks noEditPoints="1"/>
            </p:cNvSpPr>
            <p:nvPr/>
          </p:nvSpPr>
          <p:spPr bwMode="auto">
            <a:xfrm>
              <a:off x="4810126" y="3521504"/>
              <a:ext cx="26988" cy="52388"/>
            </a:xfrm>
            <a:custGeom>
              <a:avLst/>
              <a:gdLst>
                <a:gd name="T0" fmla="*/ 7 w 17"/>
                <a:gd name="T1" fmla="*/ 4 h 33"/>
                <a:gd name="T2" fmla="*/ 7 w 17"/>
                <a:gd name="T3" fmla="*/ 4 h 33"/>
                <a:gd name="T4" fmla="*/ 3 w 17"/>
                <a:gd name="T5" fmla="*/ 0 h 33"/>
                <a:gd name="T6" fmla="*/ 0 w 17"/>
                <a:gd name="T7" fmla="*/ 1 h 33"/>
                <a:gd name="T8" fmla="*/ 0 w 17"/>
                <a:gd name="T9" fmla="*/ 1 h 33"/>
                <a:gd name="T10" fmla="*/ 6 w 17"/>
                <a:gd name="T11" fmla="*/ 5 h 33"/>
                <a:gd name="T12" fmla="*/ 7 w 17"/>
                <a:gd name="T13" fmla="*/ 4 h 33"/>
                <a:gd name="T14" fmla="*/ 16 w 17"/>
                <a:gd name="T15" fmla="*/ 17 h 33"/>
                <a:gd name="T16" fmla="*/ 16 w 17"/>
                <a:gd name="T17" fmla="*/ 17 h 33"/>
                <a:gd name="T18" fmla="*/ 16 w 17"/>
                <a:gd name="T19" fmla="*/ 17 h 33"/>
                <a:gd name="T20" fmla="*/ 14 w 17"/>
                <a:gd name="T21" fmla="*/ 13 h 33"/>
                <a:gd name="T22" fmla="*/ 10 w 17"/>
                <a:gd name="T23" fmla="*/ 7 h 33"/>
                <a:gd name="T24" fmla="*/ 9 w 17"/>
                <a:gd name="T25" fmla="*/ 10 h 33"/>
                <a:gd name="T26" fmla="*/ 9 w 17"/>
                <a:gd name="T27" fmla="*/ 10 h 33"/>
                <a:gd name="T28" fmla="*/ 13 w 17"/>
                <a:gd name="T29" fmla="*/ 17 h 33"/>
                <a:gd name="T30" fmla="*/ 14 w 17"/>
                <a:gd name="T31" fmla="*/ 17 h 33"/>
                <a:gd name="T32" fmla="*/ 16 w 17"/>
                <a:gd name="T33" fmla="*/ 17 h 33"/>
                <a:gd name="T34" fmla="*/ 16 w 17"/>
                <a:gd name="T35" fmla="*/ 33 h 33"/>
                <a:gd name="T36" fmla="*/ 16 w 17"/>
                <a:gd name="T37" fmla="*/ 33 h 33"/>
                <a:gd name="T38" fmla="*/ 17 w 17"/>
                <a:gd name="T39" fmla="*/ 24 h 33"/>
                <a:gd name="T40" fmla="*/ 17 w 17"/>
                <a:gd name="T41" fmla="*/ 24 h 33"/>
                <a:gd name="T42" fmla="*/ 17 w 17"/>
                <a:gd name="T43" fmla="*/ 21 h 33"/>
                <a:gd name="T44" fmla="*/ 14 w 17"/>
                <a:gd name="T45" fmla="*/ 23 h 33"/>
                <a:gd name="T46" fmla="*/ 14 w 17"/>
                <a:gd name="T47" fmla="*/ 23 h 33"/>
                <a:gd name="T48" fmla="*/ 14 w 17"/>
                <a:gd name="T49" fmla="*/ 24 h 33"/>
                <a:gd name="T50" fmla="*/ 14 w 17"/>
                <a:gd name="T51" fmla="*/ 24 h 33"/>
                <a:gd name="T52" fmla="*/ 13 w 17"/>
                <a:gd name="T53" fmla="*/ 32 h 33"/>
                <a:gd name="T54" fmla="*/ 16 w 17"/>
                <a:gd name="T5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 h="33">
                  <a:moveTo>
                    <a:pt x="7" y="4"/>
                  </a:moveTo>
                  <a:lnTo>
                    <a:pt x="7" y="4"/>
                  </a:lnTo>
                  <a:lnTo>
                    <a:pt x="3" y="0"/>
                  </a:lnTo>
                  <a:lnTo>
                    <a:pt x="0" y="1"/>
                  </a:lnTo>
                  <a:lnTo>
                    <a:pt x="0" y="1"/>
                  </a:lnTo>
                  <a:lnTo>
                    <a:pt x="6" y="5"/>
                  </a:lnTo>
                  <a:lnTo>
                    <a:pt x="7" y="4"/>
                  </a:lnTo>
                  <a:close/>
                  <a:moveTo>
                    <a:pt x="16" y="17"/>
                  </a:moveTo>
                  <a:lnTo>
                    <a:pt x="16" y="17"/>
                  </a:lnTo>
                  <a:lnTo>
                    <a:pt x="16" y="17"/>
                  </a:lnTo>
                  <a:lnTo>
                    <a:pt x="14" y="13"/>
                  </a:lnTo>
                  <a:lnTo>
                    <a:pt x="10" y="7"/>
                  </a:lnTo>
                  <a:lnTo>
                    <a:pt x="9" y="10"/>
                  </a:lnTo>
                  <a:lnTo>
                    <a:pt x="9" y="10"/>
                  </a:lnTo>
                  <a:lnTo>
                    <a:pt x="13" y="17"/>
                  </a:lnTo>
                  <a:lnTo>
                    <a:pt x="14" y="17"/>
                  </a:lnTo>
                  <a:lnTo>
                    <a:pt x="16" y="17"/>
                  </a:lnTo>
                  <a:close/>
                  <a:moveTo>
                    <a:pt x="16" y="33"/>
                  </a:moveTo>
                  <a:lnTo>
                    <a:pt x="16" y="33"/>
                  </a:lnTo>
                  <a:lnTo>
                    <a:pt x="17" y="24"/>
                  </a:lnTo>
                  <a:lnTo>
                    <a:pt x="17" y="24"/>
                  </a:lnTo>
                  <a:lnTo>
                    <a:pt x="17" y="21"/>
                  </a:lnTo>
                  <a:lnTo>
                    <a:pt x="14" y="23"/>
                  </a:lnTo>
                  <a:lnTo>
                    <a:pt x="14" y="23"/>
                  </a:lnTo>
                  <a:lnTo>
                    <a:pt x="14" y="24"/>
                  </a:lnTo>
                  <a:lnTo>
                    <a:pt x="14" y="24"/>
                  </a:lnTo>
                  <a:lnTo>
                    <a:pt x="13" y="32"/>
                  </a:lnTo>
                  <a:lnTo>
                    <a:pt x="16"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79" name="Freeform 1751"/>
            <p:cNvSpPr>
              <a:spLocks noEditPoints="1"/>
            </p:cNvSpPr>
            <p:nvPr/>
          </p:nvSpPr>
          <p:spPr bwMode="auto">
            <a:xfrm>
              <a:off x="4738688" y="3357991"/>
              <a:ext cx="147638" cy="30163"/>
            </a:xfrm>
            <a:custGeom>
              <a:avLst/>
              <a:gdLst>
                <a:gd name="T0" fmla="*/ 6 w 93"/>
                <a:gd name="T1" fmla="*/ 11 h 19"/>
                <a:gd name="T2" fmla="*/ 6 w 93"/>
                <a:gd name="T3" fmla="*/ 11 h 19"/>
                <a:gd name="T4" fmla="*/ 1 w 93"/>
                <a:gd name="T5" fmla="*/ 10 h 19"/>
                <a:gd name="T6" fmla="*/ 0 w 93"/>
                <a:gd name="T7" fmla="*/ 11 h 19"/>
                <a:gd name="T8" fmla="*/ 0 w 93"/>
                <a:gd name="T9" fmla="*/ 11 h 19"/>
                <a:gd name="T10" fmla="*/ 4 w 93"/>
                <a:gd name="T11" fmla="*/ 13 h 19"/>
                <a:gd name="T12" fmla="*/ 6 w 93"/>
                <a:gd name="T13" fmla="*/ 11 h 19"/>
                <a:gd name="T14" fmla="*/ 19 w 93"/>
                <a:gd name="T15" fmla="*/ 16 h 19"/>
                <a:gd name="T16" fmla="*/ 19 w 93"/>
                <a:gd name="T17" fmla="*/ 16 h 19"/>
                <a:gd name="T18" fmla="*/ 19 w 93"/>
                <a:gd name="T19" fmla="*/ 16 h 19"/>
                <a:gd name="T20" fmla="*/ 10 w 93"/>
                <a:gd name="T21" fmla="*/ 13 h 19"/>
                <a:gd name="T22" fmla="*/ 9 w 93"/>
                <a:gd name="T23" fmla="*/ 16 h 19"/>
                <a:gd name="T24" fmla="*/ 9 w 93"/>
                <a:gd name="T25" fmla="*/ 16 h 19"/>
                <a:gd name="T26" fmla="*/ 19 w 93"/>
                <a:gd name="T27" fmla="*/ 19 h 19"/>
                <a:gd name="T28" fmla="*/ 19 w 93"/>
                <a:gd name="T29" fmla="*/ 19 h 19"/>
                <a:gd name="T30" fmla="*/ 19 w 93"/>
                <a:gd name="T31" fmla="*/ 16 h 19"/>
                <a:gd name="T32" fmla="*/ 33 w 93"/>
                <a:gd name="T33" fmla="*/ 14 h 19"/>
                <a:gd name="T34" fmla="*/ 33 w 93"/>
                <a:gd name="T35" fmla="*/ 14 h 19"/>
                <a:gd name="T36" fmla="*/ 23 w 93"/>
                <a:gd name="T37" fmla="*/ 16 h 19"/>
                <a:gd name="T38" fmla="*/ 25 w 93"/>
                <a:gd name="T39" fmla="*/ 19 h 19"/>
                <a:gd name="T40" fmla="*/ 25 w 93"/>
                <a:gd name="T41" fmla="*/ 19 h 19"/>
                <a:gd name="T42" fmla="*/ 35 w 93"/>
                <a:gd name="T43" fmla="*/ 17 h 19"/>
                <a:gd name="T44" fmla="*/ 33 w 93"/>
                <a:gd name="T45" fmla="*/ 14 h 19"/>
                <a:gd name="T46" fmla="*/ 48 w 93"/>
                <a:gd name="T47" fmla="*/ 11 h 19"/>
                <a:gd name="T48" fmla="*/ 48 w 93"/>
                <a:gd name="T49" fmla="*/ 11 h 19"/>
                <a:gd name="T50" fmla="*/ 46 w 93"/>
                <a:gd name="T51" fmla="*/ 11 h 19"/>
                <a:gd name="T52" fmla="*/ 46 w 93"/>
                <a:gd name="T53" fmla="*/ 11 h 19"/>
                <a:gd name="T54" fmla="*/ 39 w 93"/>
                <a:gd name="T55" fmla="*/ 13 h 19"/>
                <a:gd name="T56" fmla="*/ 39 w 93"/>
                <a:gd name="T57" fmla="*/ 16 h 19"/>
                <a:gd name="T58" fmla="*/ 39 w 93"/>
                <a:gd name="T59" fmla="*/ 16 h 19"/>
                <a:gd name="T60" fmla="*/ 46 w 93"/>
                <a:gd name="T61" fmla="*/ 14 h 19"/>
                <a:gd name="T62" fmla="*/ 46 w 93"/>
                <a:gd name="T63" fmla="*/ 14 h 19"/>
                <a:gd name="T64" fmla="*/ 49 w 93"/>
                <a:gd name="T65" fmla="*/ 13 h 19"/>
                <a:gd name="T66" fmla="*/ 48 w 93"/>
                <a:gd name="T67" fmla="*/ 11 h 19"/>
                <a:gd name="T68" fmla="*/ 62 w 93"/>
                <a:gd name="T69" fmla="*/ 6 h 19"/>
                <a:gd name="T70" fmla="*/ 62 w 93"/>
                <a:gd name="T71" fmla="*/ 6 h 19"/>
                <a:gd name="T72" fmla="*/ 54 w 93"/>
                <a:gd name="T73" fmla="*/ 9 h 19"/>
                <a:gd name="T74" fmla="*/ 54 w 93"/>
                <a:gd name="T75" fmla="*/ 11 h 19"/>
                <a:gd name="T76" fmla="*/ 54 w 93"/>
                <a:gd name="T77" fmla="*/ 11 h 19"/>
                <a:gd name="T78" fmla="*/ 64 w 93"/>
                <a:gd name="T79" fmla="*/ 7 h 19"/>
                <a:gd name="T80" fmla="*/ 62 w 93"/>
                <a:gd name="T81" fmla="*/ 6 h 19"/>
                <a:gd name="T82" fmla="*/ 78 w 93"/>
                <a:gd name="T83" fmla="*/ 3 h 19"/>
                <a:gd name="T84" fmla="*/ 78 w 93"/>
                <a:gd name="T85" fmla="*/ 3 h 19"/>
                <a:gd name="T86" fmla="*/ 72 w 93"/>
                <a:gd name="T87" fmla="*/ 3 h 19"/>
                <a:gd name="T88" fmla="*/ 72 w 93"/>
                <a:gd name="T89" fmla="*/ 3 h 19"/>
                <a:gd name="T90" fmla="*/ 68 w 93"/>
                <a:gd name="T91" fmla="*/ 4 h 19"/>
                <a:gd name="T92" fmla="*/ 68 w 93"/>
                <a:gd name="T93" fmla="*/ 6 h 19"/>
                <a:gd name="T94" fmla="*/ 68 w 93"/>
                <a:gd name="T95" fmla="*/ 6 h 19"/>
                <a:gd name="T96" fmla="*/ 72 w 93"/>
                <a:gd name="T97" fmla="*/ 6 h 19"/>
                <a:gd name="T98" fmla="*/ 72 w 93"/>
                <a:gd name="T99" fmla="*/ 6 h 19"/>
                <a:gd name="T100" fmla="*/ 78 w 93"/>
                <a:gd name="T101" fmla="*/ 6 h 19"/>
                <a:gd name="T102" fmla="*/ 78 w 93"/>
                <a:gd name="T103" fmla="*/ 3 h 19"/>
                <a:gd name="T104" fmla="*/ 93 w 93"/>
                <a:gd name="T105" fmla="*/ 0 h 19"/>
                <a:gd name="T106" fmla="*/ 93 w 93"/>
                <a:gd name="T107" fmla="*/ 0 h 19"/>
                <a:gd name="T108" fmla="*/ 83 w 93"/>
                <a:gd name="T109" fmla="*/ 3 h 19"/>
                <a:gd name="T110" fmla="*/ 83 w 93"/>
                <a:gd name="T111" fmla="*/ 4 h 19"/>
                <a:gd name="T112" fmla="*/ 83 w 93"/>
                <a:gd name="T113" fmla="*/ 4 h 19"/>
                <a:gd name="T114" fmla="*/ 93 w 93"/>
                <a:gd name="T115" fmla="*/ 3 h 19"/>
                <a:gd name="T116" fmla="*/ 93 w 93"/>
                <a:gd name="T1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3" h="19">
                  <a:moveTo>
                    <a:pt x="6" y="11"/>
                  </a:moveTo>
                  <a:lnTo>
                    <a:pt x="6" y="11"/>
                  </a:lnTo>
                  <a:lnTo>
                    <a:pt x="1" y="10"/>
                  </a:lnTo>
                  <a:lnTo>
                    <a:pt x="0" y="11"/>
                  </a:lnTo>
                  <a:lnTo>
                    <a:pt x="0" y="11"/>
                  </a:lnTo>
                  <a:lnTo>
                    <a:pt x="4" y="13"/>
                  </a:lnTo>
                  <a:lnTo>
                    <a:pt x="6" y="11"/>
                  </a:lnTo>
                  <a:close/>
                  <a:moveTo>
                    <a:pt x="19" y="16"/>
                  </a:moveTo>
                  <a:lnTo>
                    <a:pt x="19" y="16"/>
                  </a:lnTo>
                  <a:lnTo>
                    <a:pt x="19" y="16"/>
                  </a:lnTo>
                  <a:lnTo>
                    <a:pt x="10" y="13"/>
                  </a:lnTo>
                  <a:lnTo>
                    <a:pt x="9" y="16"/>
                  </a:lnTo>
                  <a:lnTo>
                    <a:pt x="9" y="16"/>
                  </a:lnTo>
                  <a:lnTo>
                    <a:pt x="19" y="19"/>
                  </a:lnTo>
                  <a:lnTo>
                    <a:pt x="19" y="19"/>
                  </a:lnTo>
                  <a:lnTo>
                    <a:pt x="19" y="16"/>
                  </a:lnTo>
                  <a:close/>
                  <a:moveTo>
                    <a:pt x="33" y="14"/>
                  </a:moveTo>
                  <a:lnTo>
                    <a:pt x="33" y="14"/>
                  </a:lnTo>
                  <a:lnTo>
                    <a:pt x="23" y="16"/>
                  </a:lnTo>
                  <a:lnTo>
                    <a:pt x="25" y="19"/>
                  </a:lnTo>
                  <a:lnTo>
                    <a:pt x="25" y="19"/>
                  </a:lnTo>
                  <a:lnTo>
                    <a:pt x="35" y="17"/>
                  </a:lnTo>
                  <a:lnTo>
                    <a:pt x="33" y="14"/>
                  </a:lnTo>
                  <a:close/>
                  <a:moveTo>
                    <a:pt x="48" y="11"/>
                  </a:moveTo>
                  <a:lnTo>
                    <a:pt x="48" y="11"/>
                  </a:lnTo>
                  <a:lnTo>
                    <a:pt x="46" y="11"/>
                  </a:lnTo>
                  <a:lnTo>
                    <a:pt x="46" y="11"/>
                  </a:lnTo>
                  <a:lnTo>
                    <a:pt x="39" y="13"/>
                  </a:lnTo>
                  <a:lnTo>
                    <a:pt x="39" y="16"/>
                  </a:lnTo>
                  <a:lnTo>
                    <a:pt x="39" y="16"/>
                  </a:lnTo>
                  <a:lnTo>
                    <a:pt x="46" y="14"/>
                  </a:lnTo>
                  <a:lnTo>
                    <a:pt x="46" y="14"/>
                  </a:lnTo>
                  <a:lnTo>
                    <a:pt x="49" y="13"/>
                  </a:lnTo>
                  <a:lnTo>
                    <a:pt x="48" y="11"/>
                  </a:lnTo>
                  <a:close/>
                  <a:moveTo>
                    <a:pt x="62" y="6"/>
                  </a:moveTo>
                  <a:lnTo>
                    <a:pt x="62" y="6"/>
                  </a:lnTo>
                  <a:lnTo>
                    <a:pt x="54" y="9"/>
                  </a:lnTo>
                  <a:lnTo>
                    <a:pt x="54" y="11"/>
                  </a:lnTo>
                  <a:lnTo>
                    <a:pt x="54" y="11"/>
                  </a:lnTo>
                  <a:lnTo>
                    <a:pt x="64" y="7"/>
                  </a:lnTo>
                  <a:lnTo>
                    <a:pt x="62" y="6"/>
                  </a:lnTo>
                  <a:close/>
                  <a:moveTo>
                    <a:pt x="78" y="3"/>
                  </a:moveTo>
                  <a:lnTo>
                    <a:pt x="78" y="3"/>
                  </a:lnTo>
                  <a:lnTo>
                    <a:pt x="72" y="3"/>
                  </a:lnTo>
                  <a:lnTo>
                    <a:pt x="72" y="3"/>
                  </a:lnTo>
                  <a:lnTo>
                    <a:pt x="68" y="4"/>
                  </a:lnTo>
                  <a:lnTo>
                    <a:pt x="68" y="6"/>
                  </a:lnTo>
                  <a:lnTo>
                    <a:pt x="68" y="6"/>
                  </a:lnTo>
                  <a:lnTo>
                    <a:pt x="72" y="6"/>
                  </a:lnTo>
                  <a:lnTo>
                    <a:pt x="72" y="6"/>
                  </a:lnTo>
                  <a:lnTo>
                    <a:pt x="78" y="6"/>
                  </a:lnTo>
                  <a:lnTo>
                    <a:pt x="78" y="3"/>
                  </a:lnTo>
                  <a:close/>
                  <a:moveTo>
                    <a:pt x="93" y="0"/>
                  </a:moveTo>
                  <a:lnTo>
                    <a:pt x="93" y="0"/>
                  </a:lnTo>
                  <a:lnTo>
                    <a:pt x="83" y="3"/>
                  </a:lnTo>
                  <a:lnTo>
                    <a:pt x="83" y="4"/>
                  </a:lnTo>
                  <a:lnTo>
                    <a:pt x="83" y="4"/>
                  </a:lnTo>
                  <a:lnTo>
                    <a:pt x="93" y="3"/>
                  </a:lnTo>
                  <a:lnTo>
                    <a:pt x="9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80" name="Freeform 1752"/>
            <p:cNvSpPr>
              <a:spLocks noEditPoints="1"/>
            </p:cNvSpPr>
            <p:nvPr/>
          </p:nvSpPr>
          <p:spPr bwMode="auto">
            <a:xfrm>
              <a:off x="5207001" y="3905679"/>
              <a:ext cx="19050" cy="41275"/>
            </a:xfrm>
            <a:custGeom>
              <a:avLst/>
              <a:gdLst>
                <a:gd name="T0" fmla="*/ 12 w 12"/>
                <a:gd name="T1" fmla="*/ 2 h 26"/>
                <a:gd name="T2" fmla="*/ 12 w 12"/>
                <a:gd name="T3" fmla="*/ 2 h 26"/>
                <a:gd name="T4" fmla="*/ 12 w 12"/>
                <a:gd name="T5" fmla="*/ 0 h 26"/>
                <a:gd name="T6" fmla="*/ 11 w 12"/>
                <a:gd name="T7" fmla="*/ 0 h 26"/>
                <a:gd name="T8" fmla="*/ 12 w 12"/>
                <a:gd name="T9" fmla="*/ 2 h 26"/>
                <a:gd name="T10" fmla="*/ 3 w 12"/>
                <a:gd name="T11" fmla="*/ 13 h 26"/>
                <a:gd name="T12" fmla="*/ 3 w 12"/>
                <a:gd name="T13" fmla="*/ 11 h 26"/>
                <a:gd name="T14" fmla="*/ 3 w 12"/>
                <a:gd name="T15" fmla="*/ 11 h 26"/>
                <a:gd name="T16" fmla="*/ 5 w 12"/>
                <a:gd name="T17" fmla="*/ 8 h 26"/>
                <a:gd name="T18" fmla="*/ 8 w 12"/>
                <a:gd name="T19" fmla="*/ 4 h 26"/>
                <a:gd name="T20" fmla="*/ 6 w 12"/>
                <a:gd name="T21" fmla="*/ 2 h 26"/>
                <a:gd name="T22" fmla="*/ 6 w 12"/>
                <a:gd name="T23" fmla="*/ 2 h 26"/>
                <a:gd name="T24" fmla="*/ 3 w 12"/>
                <a:gd name="T25" fmla="*/ 7 h 26"/>
                <a:gd name="T26" fmla="*/ 2 w 12"/>
                <a:gd name="T27" fmla="*/ 11 h 26"/>
                <a:gd name="T28" fmla="*/ 2 w 12"/>
                <a:gd name="T29" fmla="*/ 11 h 26"/>
                <a:gd name="T30" fmla="*/ 0 w 12"/>
                <a:gd name="T31" fmla="*/ 13 h 26"/>
                <a:gd name="T32" fmla="*/ 3 w 12"/>
                <a:gd name="T33" fmla="*/ 13 h 26"/>
                <a:gd name="T34" fmla="*/ 11 w 12"/>
                <a:gd name="T35" fmla="*/ 24 h 26"/>
                <a:gd name="T36" fmla="*/ 11 w 12"/>
                <a:gd name="T37" fmla="*/ 24 h 26"/>
                <a:gd name="T38" fmla="*/ 8 w 12"/>
                <a:gd name="T39" fmla="*/ 20 h 26"/>
                <a:gd name="T40" fmla="*/ 5 w 12"/>
                <a:gd name="T41" fmla="*/ 17 h 26"/>
                <a:gd name="T42" fmla="*/ 2 w 12"/>
                <a:gd name="T43" fmla="*/ 18 h 26"/>
                <a:gd name="T44" fmla="*/ 2 w 12"/>
                <a:gd name="T45" fmla="*/ 18 h 26"/>
                <a:gd name="T46" fmla="*/ 5 w 12"/>
                <a:gd name="T47" fmla="*/ 23 h 26"/>
                <a:gd name="T48" fmla="*/ 9 w 12"/>
                <a:gd name="T49" fmla="*/ 26 h 26"/>
                <a:gd name="T50" fmla="*/ 11 w 12"/>
                <a:gd name="T51"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6">
                  <a:moveTo>
                    <a:pt x="12" y="2"/>
                  </a:moveTo>
                  <a:lnTo>
                    <a:pt x="12" y="2"/>
                  </a:lnTo>
                  <a:lnTo>
                    <a:pt x="12" y="0"/>
                  </a:lnTo>
                  <a:lnTo>
                    <a:pt x="11" y="0"/>
                  </a:lnTo>
                  <a:lnTo>
                    <a:pt x="12" y="2"/>
                  </a:lnTo>
                  <a:close/>
                  <a:moveTo>
                    <a:pt x="3" y="13"/>
                  </a:moveTo>
                  <a:lnTo>
                    <a:pt x="3" y="11"/>
                  </a:lnTo>
                  <a:lnTo>
                    <a:pt x="3" y="11"/>
                  </a:lnTo>
                  <a:lnTo>
                    <a:pt x="5" y="8"/>
                  </a:lnTo>
                  <a:lnTo>
                    <a:pt x="8" y="4"/>
                  </a:lnTo>
                  <a:lnTo>
                    <a:pt x="6" y="2"/>
                  </a:lnTo>
                  <a:lnTo>
                    <a:pt x="6" y="2"/>
                  </a:lnTo>
                  <a:lnTo>
                    <a:pt x="3" y="7"/>
                  </a:lnTo>
                  <a:lnTo>
                    <a:pt x="2" y="11"/>
                  </a:lnTo>
                  <a:lnTo>
                    <a:pt x="2" y="11"/>
                  </a:lnTo>
                  <a:lnTo>
                    <a:pt x="0" y="13"/>
                  </a:lnTo>
                  <a:lnTo>
                    <a:pt x="3" y="13"/>
                  </a:lnTo>
                  <a:close/>
                  <a:moveTo>
                    <a:pt x="11" y="24"/>
                  </a:moveTo>
                  <a:lnTo>
                    <a:pt x="11" y="24"/>
                  </a:lnTo>
                  <a:lnTo>
                    <a:pt x="8" y="20"/>
                  </a:lnTo>
                  <a:lnTo>
                    <a:pt x="5" y="17"/>
                  </a:lnTo>
                  <a:lnTo>
                    <a:pt x="2" y="18"/>
                  </a:lnTo>
                  <a:lnTo>
                    <a:pt x="2" y="18"/>
                  </a:lnTo>
                  <a:lnTo>
                    <a:pt x="5" y="23"/>
                  </a:lnTo>
                  <a:lnTo>
                    <a:pt x="9" y="26"/>
                  </a:lnTo>
                  <a:lnTo>
                    <a:pt x="11"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81" name="Freeform 1753"/>
            <p:cNvSpPr>
              <a:spLocks noEditPoints="1"/>
            </p:cNvSpPr>
            <p:nvPr/>
          </p:nvSpPr>
          <p:spPr bwMode="auto">
            <a:xfrm>
              <a:off x="5386388" y="4450191"/>
              <a:ext cx="30163" cy="38100"/>
            </a:xfrm>
            <a:custGeom>
              <a:avLst/>
              <a:gdLst>
                <a:gd name="T0" fmla="*/ 3 w 19"/>
                <a:gd name="T1" fmla="*/ 3 h 24"/>
                <a:gd name="T2" fmla="*/ 3 w 19"/>
                <a:gd name="T3" fmla="*/ 3 h 24"/>
                <a:gd name="T4" fmla="*/ 3 w 19"/>
                <a:gd name="T5" fmla="*/ 0 h 24"/>
                <a:gd name="T6" fmla="*/ 3 w 19"/>
                <a:gd name="T7" fmla="*/ 0 h 24"/>
                <a:gd name="T8" fmla="*/ 0 w 19"/>
                <a:gd name="T9" fmla="*/ 0 h 24"/>
                <a:gd name="T10" fmla="*/ 0 w 19"/>
                <a:gd name="T11" fmla="*/ 0 h 24"/>
                <a:gd name="T12" fmla="*/ 0 w 19"/>
                <a:gd name="T13" fmla="*/ 0 h 24"/>
                <a:gd name="T14" fmla="*/ 0 w 19"/>
                <a:gd name="T15" fmla="*/ 3 h 24"/>
                <a:gd name="T16" fmla="*/ 3 w 19"/>
                <a:gd name="T17" fmla="*/ 3 h 24"/>
                <a:gd name="T18" fmla="*/ 6 w 19"/>
                <a:gd name="T19" fmla="*/ 16 h 24"/>
                <a:gd name="T20" fmla="*/ 6 w 19"/>
                <a:gd name="T21" fmla="*/ 16 h 24"/>
                <a:gd name="T22" fmla="*/ 5 w 19"/>
                <a:gd name="T23" fmla="*/ 14 h 24"/>
                <a:gd name="T24" fmla="*/ 5 w 19"/>
                <a:gd name="T25" fmla="*/ 14 h 24"/>
                <a:gd name="T26" fmla="*/ 3 w 19"/>
                <a:gd name="T27" fmla="*/ 7 h 24"/>
                <a:gd name="T28" fmla="*/ 0 w 19"/>
                <a:gd name="T29" fmla="*/ 7 h 24"/>
                <a:gd name="T30" fmla="*/ 0 w 19"/>
                <a:gd name="T31" fmla="*/ 7 h 24"/>
                <a:gd name="T32" fmla="*/ 3 w 19"/>
                <a:gd name="T33" fmla="*/ 16 h 24"/>
                <a:gd name="T34" fmla="*/ 3 w 19"/>
                <a:gd name="T35" fmla="*/ 16 h 24"/>
                <a:gd name="T36" fmla="*/ 5 w 19"/>
                <a:gd name="T37" fmla="*/ 17 h 24"/>
                <a:gd name="T38" fmla="*/ 6 w 19"/>
                <a:gd name="T39" fmla="*/ 16 h 24"/>
                <a:gd name="T40" fmla="*/ 19 w 19"/>
                <a:gd name="T41" fmla="*/ 23 h 24"/>
                <a:gd name="T42" fmla="*/ 19 w 19"/>
                <a:gd name="T43" fmla="*/ 23 h 24"/>
                <a:gd name="T44" fmla="*/ 11 w 19"/>
                <a:gd name="T45" fmla="*/ 19 h 24"/>
                <a:gd name="T46" fmla="*/ 9 w 19"/>
                <a:gd name="T47" fmla="*/ 22 h 24"/>
                <a:gd name="T48" fmla="*/ 9 w 19"/>
                <a:gd name="T49" fmla="*/ 22 h 24"/>
                <a:gd name="T50" fmla="*/ 19 w 19"/>
                <a:gd name="T51" fmla="*/ 24 h 24"/>
                <a:gd name="T52" fmla="*/ 19 w 19"/>
                <a:gd name="T53"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 h="24">
                  <a:moveTo>
                    <a:pt x="3" y="3"/>
                  </a:moveTo>
                  <a:lnTo>
                    <a:pt x="3" y="3"/>
                  </a:lnTo>
                  <a:lnTo>
                    <a:pt x="3" y="0"/>
                  </a:lnTo>
                  <a:lnTo>
                    <a:pt x="3" y="0"/>
                  </a:lnTo>
                  <a:lnTo>
                    <a:pt x="0" y="0"/>
                  </a:lnTo>
                  <a:lnTo>
                    <a:pt x="0" y="0"/>
                  </a:lnTo>
                  <a:lnTo>
                    <a:pt x="0" y="0"/>
                  </a:lnTo>
                  <a:lnTo>
                    <a:pt x="0" y="3"/>
                  </a:lnTo>
                  <a:lnTo>
                    <a:pt x="3" y="3"/>
                  </a:lnTo>
                  <a:close/>
                  <a:moveTo>
                    <a:pt x="6" y="16"/>
                  </a:moveTo>
                  <a:lnTo>
                    <a:pt x="6" y="16"/>
                  </a:lnTo>
                  <a:lnTo>
                    <a:pt x="5" y="14"/>
                  </a:lnTo>
                  <a:lnTo>
                    <a:pt x="5" y="14"/>
                  </a:lnTo>
                  <a:lnTo>
                    <a:pt x="3" y="7"/>
                  </a:lnTo>
                  <a:lnTo>
                    <a:pt x="0" y="7"/>
                  </a:lnTo>
                  <a:lnTo>
                    <a:pt x="0" y="7"/>
                  </a:lnTo>
                  <a:lnTo>
                    <a:pt x="3" y="16"/>
                  </a:lnTo>
                  <a:lnTo>
                    <a:pt x="3" y="16"/>
                  </a:lnTo>
                  <a:lnTo>
                    <a:pt x="5" y="17"/>
                  </a:lnTo>
                  <a:lnTo>
                    <a:pt x="6" y="16"/>
                  </a:lnTo>
                  <a:close/>
                  <a:moveTo>
                    <a:pt x="19" y="23"/>
                  </a:moveTo>
                  <a:lnTo>
                    <a:pt x="19" y="23"/>
                  </a:lnTo>
                  <a:lnTo>
                    <a:pt x="11" y="19"/>
                  </a:lnTo>
                  <a:lnTo>
                    <a:pt x="9" y="22"/>
                  </a:lnTo>
                  <a:lnTo>
                    <a:pt x="9" y="22"/>
                  </a:lnTo>
                  <a:lnTo>
                    <a:pt x="19" y="24"/>
                  </a:lnTo>
                  <a:lnTo>
                    <a:pt x="19"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82" name="Freeform 1754"/>
            <p:cNvSpPr>
              <a:spLocks/>
            </p:cNvSpPr>
            <p:nvPr/>
          </p:nvSpPr>
          <p:spPr bwMode="auto">
            <a:xfrm>
              <a:off x="5021263" y="5523341"/>
              <a:ext cx="49213" cy="49213"/>
            </a:xfrm>
            <a:custGeom>
              <a:avLst/>
              <a:gdLst>
                <a:gd name="T0" fmla="*/ 13 w 31"/>
                <a:gd name="T1" fmla="*/ 31 h 31"/>
                <a:gd name="T2" fmla="*/ 13 w 31"/>
                <a:gd name="T3" fmla="*/ 31 h 31"/>
                <a:gd name="T4" fmla="*/ 10 w 31"/>
                <a:gd name="T5" fmla="*/ 31 h 31"/>
                <a:gd name="T6" fmla="*/ 10 w 31"/>
                <a:gd name="T7" fmla="*/ 31 h 31"/>
                <a:gd name="T8" fmla="*/ 7 w 31"/>
                <a:gd name="T9" fmla="*/ 29 h 31"/>
                <a:gd name="T10" fmla="*/ 4 w 31"/>
                <a:gd name="T11" fmla="*/ 28 h 31"/>
                <a:gd name="T12" fmla="*/ 2 w 31"/>
                <a:gd name="T13" fmla="*/ 23 h 31"/>
                <a:gd name="T14" fmla="*/ 0 w 31"/>
                <a:gd name="T15" fmla="*/ 18 h 31"/>
                <a:gd name="T16" fmla="*/ 2 w 31"/>
                <a:gd name="T17" fmla="*/ 13 h 31"/>
                <a:gd name="T18" fmla="*/ 2 w 31"/>
                <a:gd name="T19" fmla="*/ 13 h 31"/>
                <a:gd name="T20" fmla="*/ 4 w 31"/>
                <a:gd name="T21" fmla="*/ 9 h 31"/>
                <a:gd name="T22" fmla="*/ 4 w 31"/>
                <a:gd name="T23" fmla="*/ 9 h 31"/>
                <a:gd name="T24" fmla="*/ 15 w 31"/>
                <a:gd name="T25" fmla="*/ 3 h 31"/>
                <a:gd name="T26" fmla="*/ 19 w 31"/>
                <a:gd name="T27" fmla="*/ 0 h 31"/>
                <a:gd name="T28" fmla="*/ 25 w 31"/>
                <a:gd name="T29" fmla="*/ 0 h 31"/>
                <a:gd name="T30" fmla="*/ 25 w 31"/>
                <a:gd name="T31" fmla="*/ 0 h 31"/>
                <a:gd name="T32" fmla="*/ 28 w 31"/>
                <a:gd name="T33" fmla="*/ 0 h 31"/>
                <a:gd name="T34" fmla="*/ 28 w 31"/>
                <a:gd name="T35" fmla="*/ 0 h 31"/>
                <a:gd name="T36" fmla="*/ 29 w 31"/>
                <a:gd name="T37" fmla="*/ 3 h 31"/>
                <a:gd name="T38" fmla="*/ 29 w 31"/>
                <a:gd name="T39" fmla="*/ 6 h 31"/>
                <a:gd name="T40" fmla="*/ 31 w 31"/>
                <a:gd name="T41" fmla="*/ 12 h 31"/>
                <a:gd name="T42" fmla="*/ 28 w 31"/>
                <a:gd name="T43" fmla="*/ 21 h 31"/>
                <a:gd name="T44" fmla="*/ 25 w 31"/>
                <a:gd name="T45" fmla="*/ 26 h 31"/>
                <a:gd name="T46" fmla="*/ 25 w 31"/>
                <a:gd name="T47" fmla="*/ 26 h 31"/>
                <a:gd name="T48" fmla="*/ 23 w 31"/>
                <a:gd name="T49" fmla="*/ 26 h 31"/>
                <a:gd name="T50" fmla="*/ 23 w 31"/>
                <a:gd name="T51" fmla="*/ 26 h 31"/>
                <a:gd name="T52" fmla="*/ 19 w 31"/>
                <a:gd name="T53" fmla="*/ 29 h 31"/>
                <a:gd name="T54" fmla="*/ 13 w 31"/>
                <a:gd name="T5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 h="31">
                  <a:moveTo>
                    <a:pt x="13" y="31"/>
                  </a:moveTo>
                  <a:lnTo>
                    <a:pt x="13" y="31"/>
                  </a:lnTo>
                  <a:lnTo>
                    <a:pt x="10" y="31"/>
                  </a:lnTo>
                  <a:lnTo>
                    <a:pt x="10" y="31"/>
                  </a:lnTo>
                  <a:lnTo>
                    <a:pt x="7" y="29"/>
                  </a:lnTo>
                  <a:lnTo>
                    <a:pt x="4" y="28"/>
                  </a:lnTo>
                  <a:lnTo>
                    <a:pt x="2" y="23"/>
                  </a:lnTo>
                  <a:lnTo>
                    <a:pt x="0" y="18"/>
                  </a:lnTo>
                  <a:lnTo>
                    <a:pt x="2" y="13"/>
                  </a:lnTo>
                  <a:lnTo>
                    <a:pt x="2" y="13"/>
                  </a:lnTo>
                  <a:lnTo>
                    <a:pt x="4" y="9"/>
                  </a:lnTo>
                  <a:lnTo>
                    <a:pt x="4" y="9"/>
                  </a:lnTo>
                  <a:lnTo>
                    <a:pt x="15" y="3"/>
                  </a:lnTo>
                  <a:lnTo>
                    <a:pt x="19" y="0"/>
                  </a:lnTo>
                  <a:lnTo>
                    <a:pt x="25" y="0"/>
                  </a:lnTo>
                  <a:lnTo>
                    <a:pt x="25" y="0"/>
                  </a:lnTo>
                  <a:lnTo>
                    <a:pt x="28" y="0"/>
                  </a:lnTo>
                  <a:lnTo>
                    <a:pt x="28" y="0"/>
                  </a:lnTo>
                  <a:lnTo>
                    <a:pt x="29" y="3"/>
                  </a:lnTo>
                  <a:lnTo>
                    <a:pt x="29" y="6"/>
                  </a:lnTo>
                  <a:lnTo>
                    <a:pt x="31" y="12"/>
                  </a:lnTo>
                  <a:lnTo>
                    <a:pt x="28" y="21"/>
                  </a:lnTo>
                  <a:lnTo>
                    <a:pt x="25" y="26"/>
                  </a:lnTo>
                  <a:lnTo>
                    <a:pt x="25" y="26"/>
                  </a:lnTo>
                  <a:lnTo>
                    <a:pt x="23" y="26"/>
                  </a:lnTo>
                  <a:lnTo>
                    <a:pt x="23" y="26"/>
                  </a:lnTo>
                  <a:lnTo>
                    <a:pt x="19" y="29"/>
                  </a:lnTo>
                  <a:lnTo>
                    <a:pt x="13" y="31"/>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83" name="Freeform 1755"/>
            <p:cNvSpPr>
              <a:spLocks/>
            </p:cNvSpPr>
            <p:nvPr/>
          </p:nvSpPr>
          <p:spPr bwMode="auto">
            <a:xfrm>
              <a:off x="5021263" y="5523341"/>
              <a:ext cx="49213" cy="49213"/>
            </a:xfrm>
            <a:custGeom>
              <a:avLst/>
              <a:gdLst>
                <a:gd name="T0" fmla="*/ 13 w 31"/>
                <a:gd name="T1" fmla="*/ 31 h 31"/>
                <a:gd name="T2" fmla="*/ 13 w 31"/>
                <a:gd name="T3" fmla="*/ 31 h 31"/>
                <a:gd name="T4" fmla="*/ 10 w 31"/>
                <a:gd name="T5" fmla="*/ 31 h 31"/>
                <a:gd name="T6" fmla="*/ 10 w 31"/>
                <a:gd name="T7" fmla="*/ 31 h 31"/>
                <a:gd name="T8" fmla="*/ 7 w 31"/>
                <a:gd name="T9" fmla="*/ 29 h 31"/>
                <a:gd name="T10" fmla="*/ 4 w 31"/>
                <a:gd name="T11" fmla="*/ 28 h 31"/>
                <a:gd name="T12" fmla="*/ 2 w 31"/>
                <a:gd name="T13" fmla="*/ 23 h 31"/>
                <a:gd name="T14" fmla="*/ 0 w 31"/>
                <a:gd name="T15" fmla="*/ 18 h 31"/>
                <a:gd name="T16" fmla="*/ 2 w 31"/>
                <a:gd name="T17" fmla="*/ 13 h 31"/>
                <a:gd name="T18" fmla="*/ 2 w 31"/>
                <a:gd name="T19" fmla="*/ 13 h 31"/>
                <a:gd name="T20" fmla="*/ 4 w 31"/>
                <a:gd name="T21" fmla="*/ 9 h 31"/>
                <a:gd name="T22" fmla="*/ 4 w 31"/>
                <a:gd name="T23" fmla="*/ 9 h 31"/>
                <a:gd name="T24" fmla="*/ 15 w 31"/>
                <a:gd name="T25" fmla="*/ 3 h 31"/>
                <a:gd name="T26" fmla="*/ 19 w 31"/>
                <a:gd name="T27" fmla="*/ 0 h 31"/>
                <a:gd name="T28" fmla="*/ 25 w 31"/>
                <a:gd name="T29" fmla="*/ 0 h 31"/>
                <a:gd name="T30" fmla="*/ 25 w 31"/>
                <a:gd name="T31" fmla="*/ 0 h 31"/>
                <a:gd name="T32" fmla="*/ 28 w 31"/>
                <a:gd name="T33" fmla="*/ 0 h 31"/>
                <a:gd name="T34" fmla="*/ 28 w 31"/>
                <a:gd name="T35" fmla="*/ 0 h 31"/>
                <a:gd name="T36" fmla="*/ 29 w 31"/>
                <a:gd name="T37" fmla="*/ 3 h 31"/>
                <a:gd name="T38" fmla="*/ 29 w 31"/>
                <a:gd name="T39" fmla="*/ 6 h 31"/>
                <a:gd name="T40" fmla="*/ 31 w 31"/>
                <a:gd name="T41" fmla="*/ 12 h 31"/>
                <a:gd name="T42" fmla="*/ 28 w 31"/>
                <a:gd name="T43" fmla="*/ 21 h 31"/>
                <a:gd name="T44" fmla="*/ 25 w 31"/>
                <a:gd name="T45" fmla="*/ 26 h 31"/>
                <a:gd name="T46" fmla="*/ 25 w 31"/>
                <a:gd name="T47" fmla="*/ 26 h 31"/>
                <a:gd name="T48" fmla="*/ 23 w 31"/>
                <a:gd name="T49" fmla="*/ 26 h 31"/>
                <a:gd name="T50" fmla="*/ 23 w 31"/>
                <a:gd name="T51" fmla="*/ 26 h 31"/>
                <a:gd name="T52" fmla="*/ 19 w 31"/>
                <a:gd name="T53" fmla="*/ 29 h 31"/>
                <a:gd name="T54" fmla="*/ 13 w 31"/>
                <a:gd name="T5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 h="31">
                  <a:moveTo>
                    <a:pt x="13" y="31"/>
                  </a:moveTo>
                  <a:lnTo>
                    <a:pt x="13" y="31"/>
                  </a:lnTo>
                  <a:lnTo>
                    <a:pt x="10" y="31"/>
                  </a:lnTo>
                  <a:lnTo>
                    <a:pt x="10" y="31"/>
                  </a:lnTo>
                  <a:lnTo>
                    <a:pt x="7" y="29"/>
                  </a:lnTo>
                  <a:lnTo>
                    <a:pt x="4" y="28"/>
                  </a:lnTo>
                  <a:lnTo>
                    <a:pt x="2" y="23"/>
                  </a:lnTo>
                  <a:lnTo>
                    <a:pt x="0" y="18"/>
                  </a:lnTo>
                  <a:lnTo>
                    <a:pt x="2" y="13"/>
                  </a:lnTo>
                  <a:lnTo>
                    <a:pt x="2" y="13"/>
                  </a:lnTo>
                  <a:lnTo>
                    <a:pt x="4" y="9"/>
                  </a:lnTo>
                  <a:lnTo>
                    <a:pt x="4" y="9"/>
                  </a:lnTo>
                  <a:lnTo>
                    <a:pt x="15" y="3"/>
                  </a:lnTo>
                  <a:lnTo>
                    <a:pt x="19" y="0"/>
                  </a:lnTo>
                  <a:lnTo>
                    <a:pt x="25" y="0"/>
                  </a:lnTo>
                  <a:lnTo>
                    <a:pt x="25" y="0"/>
                  </a:lnTo>
                  <a:lnTo>
                    <a:pt x="28" y="0"/>
                  </a:lnTo>
                  <a:lnTo>
                    <a:pt x="28" y="0"/>
                  </a:lnTo>
                  <a:lnTo>
                    <a:pt x="29" y="3"/>
                  </a:lnTo>
                  <a:lnTo>
                    <a:pt x="29" y="6"/>
                  </a:lnTo>
                  <a:lnTo>
                    <a:pt x="31" y="12"/>
                  </a:lnTo>
                  <a:lnTo>
                    <a:pt x="28" y="21"/>
                  </a:lnTo>
                  <a:lnTo>
                    <a:pt x="25" y="26"/>
                  </a:lnTo>
                  <a:lnTo>
                    <a:pt x="25" y="26"/>
                  </a:lnTo>
                  <a:lnTo>
                    <a:pt x="23" y="26"/>
                  </a:lnTo>
                  <a:lnTo>
                    <a:pt x="23" y="26"/>
                  </a:lnTo>
                  <a:lnTo>
                    <a:pt x="19" y="29"/>
                  </a:lnTo>
                  <a:lnTo>
                    <a:pt x="13" y="31"/>
                  </a:lnTo>
                </a:path>
              </a:pathLst>
            </a:custGeom>
            <a:solidFill>
              <a:srgbClr val="81BC00"/>
            </a:solidFill>
            <a:ln w="3175">
              <a:solidFill>
                <a:schemeClr val="bg1"/>
              </a:solidFill>
              <a:prstDash val="dash"/>
              <a:round/>
              <a:headEnd/>
              <a:tailEnd/>
            </a:ln>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84" name="Freeform 1759"/>
            <p:cNvSpPr>
              <a:spLocks noEditPoints="1"/>
            </p:cNvSpPr>
            <p:nvPr/>
          </p:nvSpPr>
          <p:spPr bwMode="auto">
            <a:xfrm>
              <a:off x="4805363" y="3567541"/>
              <a:ext cx="107950" cy="107950"/>
            </a:xfrm>
            <a:custGeom>
              <a:avLst/>
              <a:gdLst>
                <a:gd name="T0" fmla="*/ 10 w 68"/>
                <a:gd name="T1" fmla="*/ 66 h 68"/>
                <a:gd name="T2" fmla="*/ 19 w 68"/>
                <a:gd name="T3" fmla="*/ 62 h 68"/>
                <a:gd name="T4" fmla="*/ 25 w 68"/>
                <a:gd name="T5" fmla="*/ 49 h 68"/>
                <a:gd name="T6" fmla="*/ 25 w 68"/>
                <a:gd name="T7" fmla="*/ 52 h 68"/>
                <a:gd name="T8" fmla="*/ 23 w 68"/>
                <a:gd name="T9" fmla="*/ 58 h 68"/>
                <a:gd name="T10" fmla="*/ 28 w 68"/>
                <a:gd name="T11" fmla="*/ 53 h 68"/>
                <a:gd name="T12" fmla="*/ 25 w 68"/>
                <a:gd name="T13" fmla="*/ 47 h 68"/>
                <a:gd name="T14" fmla="*/ 25 w 68"/>
                <a:gd name="T15" fmla="*/ 42 h 68"/>
                <a:gd name="T16" fmla="*/ 26 w 68"/>
                <a:gd name="T17" fmla="*/ 30 h 68"/>
                <a:gd name="T18" fmla="*/ 28 w 68"/>
                <a:gd name="T19" fmla="*/ 34 h 68"/>
                <a:gd name="T20" fmla="*/ 23 w 68"/>
                <a:gd name="T21" fmla="*/ 24 h 68"/>
                <a:gd name="T22" fmla="*/ 23 w 68"/>
                <a:gd name="T23" fmla="*/ 24 h 68"/>
                <a:gd name="T24" fmla="*/ 28 w 68"/>
                <a:gd name="T25" fmla="*/ 34 h 68"/>
                <a:gd name="T26" fmla="*/ 28 w 68"/>
                <a:gd name="T27" fmla="*/ 37 h 68"/>
                <a:gd name="T28" fmla="*/ 39 w 68"/>
                <a:gd name="T29" fmla="*/ 40 h 68"/>
                <a:gd name="T30" fmla="*/ 55 w 68"/>
                <a:gd name="T31" fmla="*/ 36 h 68"/>
                <a:gd name="T32" fmla="*/ 43 w 68"/>
                <a:gd name="T33" fmla="*/ 40 h 68"/>
                <a:gd name="T34" fmla="*/ 64 w 68"/>
                <a:gd name="T35" fmla="*/ 30 h 68"/>
                <a:gd name="T36" fmla="*/ 67 w 68"/>
                <a:gd name="T37" fmla="*/ 31 h 68"/>
                <a:gd name="T38" fmla="*/ 61 w 68"/>
                <a:gd name="T39" fmla="*/ 37 h 68"/>
                <a:gd name="T40" fmla="*/ 68 w 68"/>
                <a:gd name="T41" fmla="*/ 33 h 68"/>
                <a:gd name="T42" fmla="*/ 56 w 68"/>
                <a:gd name="T43" fmla="*/ 14 h 68"/>
                <a:gd name="T44" fmla="*/ 64 w 68"/>
                <a:gd name="T45" fmla="*/ 23 h 68"/>
                <a:gd name="T46" fmla="*/ 56 w 68"/>
                <a:gd name="T47" fmla="*/ 14 h 68"/>
                <a:gd name="T48" fmla="*/ 54 w 68"/>
                <a:gd name="T49" fmla="*/ 7 h 68"/>
                <a:gd name="T50" fmla="*/ 54 w 68"/>
                <a:gd name="T51" fmla="*/ 10 h 68"/>
                <a:gd name="T52" fmla="*/ 54 w 68"/>
                <a:gd name="T53" fmla="*/ 4 h 68"/>
                <a:gd name="T54" fmla="*/ 46 w 68"/>
                <a:gd name="T55" fmla="*/ 7 h 68"/>
                <a:gd name="T56" fmla="*/ 39 w 68"/>
                <a:gd name="T57" fmla="*/ 8 h 68"/>
                <a:gd name="T58" fmla="*/ 39 w 68"/>
                <a:gd name="T59" fmla="*/ 5 h 68"/>
                <a:gd name="T60" fmla="*/ 30 w 68"/>
                <a:gd name="T61" fmla="*/ 11 h 68"/>
                <a:gd name="T62" fmla="*/ 22 w 68"/>
                <a:gd name="T63" fmla="*/ 14 h 68"/>
                <a:gd name="T64" fmla="*/ 25 w 68"/>
                <a:gd name="T65" fmla="*/ 11 h 68"/>
                <a:gd name="T66" fmla="*/ 25 w 68"/>
                <a:gd name="T67" fmla="*/ 14 h 68"/>
                <a:gd name="T68" fmla="*/ 19 w 68"/>
                <a:gd name="T69" fmla="*/ 5 h 68"/>
                <a:gd name="T70" fmla="*/ 7 w 68"/>
                <a:gd name="T71" fmla="*/ 3 h 68"/>
                <a:gd name="T72" fmla="*/ 12 w 68"/>
                <a:gd name="T73" fmla="*/ 3 h 68"/>
                <a:gd name="T74" fmla="*/ 17 w 68"/>
                <a:gd name="T75" fmla="*/ 3 h 68"/>
                <a:gd name="T76" fmla="*/ 16 w 68"/>
                <a:gd name="T77" fmla="*/ 1 h 68"/>
                <a:gd name="T78" fmla="*/ 12 w 68"/>
                <a:gd name="T79" fmla="*/ 0 h 68"/>
                <a:gd name="T80" fmla="*/ 6 w 68"/>
                <a:gd name="T81" fmla="*/ 0 h 68"/>
                <a:gd name="T82" fmla="*/ 3 w 68"/>
                <a:gd name="T83" fmla="*/ 17 h 68"/>
                <a:gd name="T84" fmla="*/ 3 w 68"/>
                <a:gd name="T85"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68">
                  <a:moveTo>
                    <a:pt x="17" y="59"/>
                  </a:moveTo>
                  <a:lnTo>
                    <a:pt x="17" y="59"/>
                  </a:lnTo>
                  <a:lnTo>
                    <a:pt x="10" y="66"/>
                  </a:lnTo>
                  <a:lnTo>
                    <a:pt x="12" y="68"/>
                  </a:lnTo>
                  <a:lnTo>
                    <a:pt x="12" y="68"/>
                  </a:lnTo>
                  <a:lnTo>
                    <a:pt x="19" y="62"/>
                  </a:lnTo>
                  <a:lnTo>
                    <a:pt x="17" y="59"/>
                  </a:lnTo>
                  <a:close/>
                  <a:moveTo>
                    <a:pt x="25" y="47"/>
                  </a:moveTo>
                  <a:lnTo>
                    <a:pt x="25" y="49"/>
                  </a:lnTo>
                  <a:lnTo>
                    <a:pt x="25" y="49"/>
                  </a:lnTo>
                  <a:lnTo>
                    <a:pt x="25" y="52"/>
                  </a:lnTo>
                  <a:lnTo>
                    <a:pt x="25" y="52"/>
                  </a:lnTo>
                  <a:lnTo>
                    <a:pt x="22" y="56"/>
                  </a:lnTo>
                  <a:lnTo>
                    <a:pt x="23" y="58"/>
                  </a:lnTo>
                  <a:lnTo>
                    <a:pt x="23" y="58"/>
                  </a:lnTo>
                  <a:lnTo>
                    <a:pt x="26" y="56"/>
                  </a:lnTo>
                  <a:lnTo>
                    <a:pt x="28" y="53"/>
                  </a:lnTo>
                  <a:lnTo>
                    <a:pt x="28" y="53"/>
                  </a:lnTo>
                  <a:lnTo>
                    <a:pt x="28" y="49"/>
                  </a:lnTo>
                  <a:lnTo>
                    <a:pt x="28" y="47"/>
                  </a:lnTo>
                  <a:lnTo>
                    <a:pt x="25" y="47"/>
                  </a:lnTo>
                  <a:close/>
                  <a:moveTo>
                    <a:pt x="25" y="30"/>
                  </a:moveTo>
                  <a:lnTo>
                    <a:pt x="25" y="30"/>
                  </a:lnTo>
                  <a:lnTo>
                    <a:pt x="25" y="42"/>
                  </a:lnTo>
                  <a:lnTo>
                    <a:pt x="28" y="42"/>
                  </a:lnTo>
                  <a:lnTo>
                    <a:pt x="28" y="42"/>
                  </a:lnTo>
                  <a:lnTo>
                    <a:pt x="26" y="30"/>
                  </a:lnTo>
                  <a:lnTo>
                    <a:pt x="25" y="30"/>
                  </a:lnTo>
                  <a:close/>
                  <a:moveTo>
                    <a:pt x="28" y="34"/>
                  </a:moveTo>
                  <a:lnTo>
                    <a:pt x="28" y="34"/>
                  </a:lnTo>
                  <a:lnTo>
                    <a:pt x="26" y="24"/>
                  </a:lnTo>
                  <a:lnTo>
                    <a:pt x="23" y="24"/>
                  </a:lnTo>
                  <a:lnTo>
                    <a:pt x="23" y="24"/>
                  </a:lnTo>
                  <a:lnTo>
                    <a:pt x="26" y="24"/>
                  </a:lnTo>
                  <a:lnTo>
                    <a:pt x="26" y="24"/>
                  </a:lnTo>
                  <a:lnTo>
                    <a:pt x="23" y="24"/>
                  </a:lnTo>
                  <a:lnTo>
                    <a:pt x="23" y="24"/>
                  </a:lnTo>
                  <a:lnTo>
                    <a:pt x="25" y="34"/>
                  </a:lnTo>
                  <a:lnTo>
                    <a:pt x="28" y="34"/>
                  </a:lnTo>
                  <a:close/>
                  <a:moveTo>
                    <a:pt x="39" y="37"/>
                  </a:moveTo>
                  <a:lnTo>
                    <a:pt x="39" y="37"/>
                  </a:lnTo>
                  <a:lnTo>
                    <a:pt x="28" y="37"/>
                  </a:lnTo>
                  <a:lnTo>
                    <a:pt x="28" y="40"/>
                  </a:lnTo>
                  <a:lnTo>
                    <a:pt x="28" y="40"/>
                  </a:lnTo>
                  <a:lnTo>
                    <a:pt x="39" y="40"/>
                  </a:lnTo>
                  <a:lnTo>
                    <a:pt x="39" y="37"/>
                  </a:lnTo>
                  <a:close/>
                  <a:moveTo>
                    <a:pt x="55" y="36"/>
                  </a:moveTo>
                  <a:lnTo>
                    <a:pt x="55" y="36"/>
                  </a:lnTo>
                  <a:lnTo>
                    <a:pt x="43" y="37"/>
                  </a:lnTo>
                  <a:lnTo>
                    <a:pt x="43" y="40"/>
                  </a:lnTo>
                  <a:lnTo>
                    <a:pt x="43" y="40"/>
                  </a:lnTo>
                  <a:lnTo>
                    <a:pt x="55" y="39"/>
                  </a:lnTo>
                  <a:lnTo>
                    <a:pt x="55" y="36"/>
                  </a:lnTo>
                  <a:close/>
                  <a:moveTo>
                    <a:pt x="64" y="30"/>
                  </a:moveTo>
                  <a:lnTo>
                    <a:pt x="65" y="33"/>
                  </a:lnTo>
                  <a:lnTo>
                    <a:pt x="67" y="33"/>
                  </a:lnTo>
                  <a:lnTo>
                    <a:pt x="67" y="31"/>
                  </a:lnTo>
                  <a:lnTo>
                    <a:pt x="67" y="31"/>
                  </a:lnTo>
                  <a:lnTo>
                    <a:pt x="59" y="34"/>
                  </a:lnTo>
                  <a:lnTo>
                    <a:pt x="61" y="37"/>
                  </a:lnTo>
                  <a:lnTo>
                    <a:pt x="61" y="37"/>
                  </a:lnTo>
                  <a:lnTo>
                    <a:pt x="67" y="34"/>
                  </a:lnTo>
                  <a:lnTo>
                    <a:pt x="68" y="33"/>
                  </a:lnTo>
                  <a:lnTo>
                    <a:pt x="65" y="29"/>
                  </a:lnTo>
                  <a:lnTo>
                    <a:pt x="64" y="30"/>
                  </a:lnTo>
                  <a:close/>
                  <a:moveTo>
                    <a:pt x="56" y="14"/>
                  </a:moveTo>
                  <a:lnTo>
                    <a:pt x="56" y="14"/>
                  </a:lnTo>
                  <a:lnTo>
                    <a:pt x="61" y="24"/>
                  </a:lnTo>
                  <a:lnTo>
                    <a:pt x="64" y="23"/>
                  </a:lnTo>
                  <a:lnTo>
                    <a:pt x="64" y="23"/>
                  </a:lnTo>
                  <a:lnTo>
                    <a:pt x="58" y="13"/>
                  </a:lnTo>
                  <a:lnTo>
                    <a:pt x="56" y="14"/>
                  </a:lnTo>
                  <a:close/>
                  <a:moveTo>
                    <a:pt x="46" y="7"/>
                  </a:moveTo>
                  <a:lnTo>
                    <a:pt x="46" y="7"/>
                  </a:lnTo>
                  <a:lnTo>
                    <a:pt x="54" y="7"/>
                  </a:lnTo>
                  <a:lnTo>
                    <a:pt x="54" y="5"/>
                  </a:lnTo>
                  <a:lnTo>
                    <a:pt x="52" y="5"/>
                  </a:lnTo>
                  <a:lnTo>
                    <a:pt x="54" y="10"/>
                  </a:lnTo>
                  <a:lnTo>
                    <a:pt x="56" y="8"/>
                  </a:lnTo>
                  <a:lnTo>
                    <a:pt x="55" y="4"/>
                  </a:lnTo>
                  <a:lnTo>
                    <a:pt x="54" y="4"/>
                  </a:lnTo>
                  <a:lnTo>
                    <a:pt x="54" y="4"/>
                  </a:lnTo>
                  <a:lnTo>
                    <a:pt x="46" y="4"/>
                  </a:lnTo>
                  <a:lnTo>
                    <a:pt x="46" y="7"/>
                  </a:lnTo>
                  <a:close/>
                  <a:moveTo>
                    <a:pt x="30" y="11"/>
                  </a:moveTo>
                  <a:lnTo>
                    <a:pt x="30" y="11"/>
                  </a:lnTo>
                  <a:lnTo>
                    <a:pt x="39" y="8"/>
                  </a:lnTo>
                  <a:lnTo>
                    <a:pt x="42" y="8"/>
                  </a:lnTo>
                  <a:lnTo>
                    <a:pt x="41" y="5"/>
                  </a:lnTo>
                  <a:lnTo>
                    <a:pt x="39" y="5"/>
                  </a:lnTo>
                  <a:lnTo>
                    <a:pt x="39" y="5"/>
                  </a:lnTo>
                  <a:lnTo>
                    <a:pt x="30" y="10"/>
                  </a:lnTo>
                  <a:lnTo>
                    <a:pt x="30" y="11"/>
                  </a:lnTo>
                  <a:close/>
                  <a:moveTo>
                    <a:pt x="19" y="5"/>
                  </a:moveTo>
                  <a:lnTo>
                    <a:pt x="19" y="5"/>
                  </a:lnTo>
                  <a:lnTo>
                    <a:pt x="22" y="14"/>
                  </a:lnTo>
                  <a:lnTo>
                    <a:pt x="25" y="16"/>
                  </a:lnTo>
                  <a:lnTo>
                    <a:pt x="26" y="14"/>
                  </a:lnTo>
                  <a:lnTo>
                    <a:pt x="25" y="11"/>
                  </a:lnTo>
                  <a:lnTo>
                    <a:pt x="23" y="13"/>
                  </a:lnTo>
                  <a:lnTo>
                    <a:pt x="23" y="14"/>
                  </a:lnTo>
                  <a:lnTo>
                    <a:pt x="25" y="14"/>
                  </a:lnTo>
                  <a:lnTo>
                    <a:pt x="25" y="14"/>
                  </a:lnTo>
                  <a:lnTo>
                    <a:pt x="22" y="5"/>
                  </a:lnTo>
                  <a:lnTo>
                    <a:pt x="19" y="5"/>
                  </a:lnTo>
                  <a:lnTo>
                    <a:pt x="19" y="5"/>
                  </a:lnTo>
                  <a:close/>
                  <a:moveTo>
                    <a:pt x="7" y="3"/>
                  </a:moveTo>
                  <a:lnTo>
                    <a:pt x="7" y="3"/>
                  </a:lnTo>
                  <a:lnTo>
                    <a:pt x="12" y="3"/>
                  </a:lnTo>
                  <a:lnTo>
                    <a:pt x="12" y="1"/>
                  </a:lnTo>
                  <a:lnTo>
                    <a:pt x="12" y="3"/>
                  </a:lnTo>
                  <a:lnTo>
                    <a:pt x="16" y="3"/>
                  </a:lnTo>
                  <a:lnTo>
                    <a:pt x="16" y="3"/>
                  </a:lnTo>
                  <a:lnTo>
                    <a:pt x="17" y="3"/>
                  </a:lnTo>
                  <a:lnTo>
                    <a:pt x="19" y="0"/>
                  </a:lnTo>
                  <a:lnTo>
                    <a:pt x="16" y="0"/>
                  </a:lnTo>
                  <a:lnTo>
                    <a:pt x="16" y="1"/>
                  </a:lnTo>
                  <a:lnTo>
                    <a:pt x="16" y="0"/>
                  </a:lnTo>
                  <a:lnTo>
                    <a:pt x="12" y="0"/>
                  </a:lnTo>
                  <a:lnTo>
                    <a:pt x="12" y="0"/>
                  </a:lnTo>
                  <a:lnTo>
                    <a:pt x="12" y="0"/>
                  </a:lnTo>
                  <a:lnTo>
                    <a:pt x="9" y="0"/>
                  </a:lnTo>
                  <a:lnTo>
                    <a:pt x="6" y="0"/>
                  </a:lnTo>
                  <a:lnTo>
                    <a:pt x="7" y="3"/>
                  </a:lnTo>
                  <a:close/>
                  <a:moveTo>
                    <a:pt x="3" y="17"/>
                  </a:moveTo>
                  <a:lnTo>
                    <a:pt x="3" y="17"/>
                  </a:lnTo>
                  <a:lnTo>
                    <a:pt x="6" y="7"/>
                  </a:lnTo>
                  <a:lnTo>
                    <a:pt x="3" y="5"/>
                  </a:lnTo>
                  <a:lnTo>
                    <a:pt x="3" y="5"/>
                  </a:lnTo>
                  <a:lnTo>
                    <a:pt x="0" y="17"/>
                  </a:lnTo>
                  <a:lnTo>
                    <a:pt x="3"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85" name="Freeform 1765"/>
            <p:cNvSpPr>
              <a:spLocks noEditPoints="1"/>
            </p:cNvSpPr>
            <p:nvPr/>
          </p:nvSpPr>
          <p:spPr bwMode="auto">
            <a:xfrm>
              <a:off x="6194426" y="3773916"/>
              <a:ext cx="185738" cy="184150"/>
            </a:xfrm>
            <a:custGeom>
              <a:avLst/>
              <a:gdLst>
                <a:gd name="T0" fmla="*/ 56 w 117"/>
                <a:gd name="T1" fmla="*/ 96 h 116"/>
                <a:gd name="T2" fmla="*/ 65 w 117"/>
                <a:gd name="T3" fmla="*/ 103 h 116"/>
                <a:gd name="T4" fmla="*/ 79 w 117"/>
                <a:gd name="T5" fmla="*/ 112 h 116"/>
                <a:gd name="T6" fmla="*/ 87 w 117"/>
                <a:gd name="T7" fmla="*/ 113 h 116"/>
                <a:gd name="T8" fmla="*/ 103 w 117"/>
                <a:gd name="T9" fmla="*/ 112 h 116"/>
                <a:gd name="T10" fmla="*/ 117 w 117"/>
                <a:gd name="T11" fmla="*/ 110 h 116"/>
                <a:gd name="T12" fmla="*/ 106 w 117"/>
                <a:gd name="T13" fmla="*/ 104 h 116"/>
                <a:gd name="T14" fmla="*/ 92 w 117"/>
                <a:gd name="T15" fmla="*/ 96 h 116"/>
                <a:gd name="T16" fmla="*/ 85 w 117"/>
                <a:gd name="T17" fmla="*/ 94 h 116"/>
                <a:gd name="T18" fmla="*/ 81 w 117"/>
                <a:gd name="T19" fmla="*/ 84 h 116"/>
                <a:gd name="T20" fmla="*/ 84 w 117"/>
                <a:gd name="T21" fmla="*/ 70 h 116"/>
                <a:gd name="T22" fmla="*/ 79 w 117"/>
                <a:gd name="T23" fmla="*/ 70 h 116"/>
                <a:gd name="T24" fmla="*/ 94 w 117"/>
                <a:gd name="T25" fmla="*/ 64 h 116"/>
                <a:gd name="T26" fmla="*/ 87 w 117"/>
                <a:gd name="T27" fmla="*/ 54 h 116"/>
                <a:gd name="T28" fmla="*/ 94 w 117"/>
                <a:gd name="T29" fmla="*/ 55 h 116"/>
                <a:gd name="T30" fmla="*/ 87 w 117"/>
                <a:gd name="T31" fmla="*/ 54 h 116"/>
                <a:gd name="T32" fmla="*/ 87 w 117"/>
                <a:gd name="T33" fmla="*/ 49 h 116"/>
                <a:gd name="T34" fmla="*/ 94 w 117"/>
                <a:gd name="T35" fmla="*/ 32 h 116"/>
                <a:gd name="T36" fmla="*/ 91 w 117"/>
                <a:gd name="T37" fmla="*/ 41 h 116"/>
                <a:gd name="T38" fmla="*/ 95 w 117"/>
                <a:gd name="T39" fmla="*/ 33 h 116"/>
                <a:gd name="T40" fmla="*/ 98 w 117"/>
                <a:gd name="T41" fmla="*/ 28 h 116"/>
                <a:gd name="T42" fmla="*/ 103 w 117"/>
                <a:gd name="T43" fmla="*/ 19 h 116"/>
                <a:gd name="T44" fmla="*/ 107 w 117"/>
                <a:gd name="T45" fmla="*/ 12 h 116"/>
                <a:gd name="T46" fmla="*/ 107 w 117"/>
                <a:gd name="T47" fmla="*/ 12 h 116"/>
                <a:gd name="T48" fmla="*/ 108 w 117"/>
                <a:gd name="T49" fmla="*/ 12 h 116"/>
                <a:gd name="T50" fmla="*/ 106 w 117"/>
                <a:gd name="T51" fmla="*/ 9 h 116"/>
                <a:gd name="T52" fmla="*/ 103 w 117"/>
                <a:gd name="T53" fmla="*/ 10 h 116"/>
                <a:gd name="T54" fmla="*/ 91 w 117"/>
                <a:gd name="T55" fmla="*/ 0 h 116"/>
                <a:gd name="T56" fmla="*/ 77 w 117"/>
                <a:gd name="T57" fmla="*/ 4 h 116"/>
                <a:gd name="T58" fmla="*/ 62 w 117"/>
                <a:gd name="T59" fmla="*/ 10 h 116"/>
                <a:gd name="T60" fmla="*/ 58 w 117"/>
                <a:gd name="T61" fmla="*/ 13 h 116"/>
                <a:gd name="T62" fmla="*/ 43 w 117"/>
                <a:gd name="T63" fmla="*/ 25 h 116"/>
                <a:gd name="T64" fmla="*/ 39 w 117"/>
                <a:gd name="T65" fmla="*/ 23 h 116"/>
                <a:gd name="T66" fmla="*/ 33 w 117"/>
                <a:gd name="T67" fmla="*/ 25 h 116"/>
                <a:gd name="T68" fmla="*/ 10 w 117"/>
                <a:gd name="T69" fmla="*/ 23 h 116"/>
                <a:gd name="T70" fmla="*/ 10 w 117"/>
                <a:gd name="T71" fmla="*/ 20 h 116"/>
                <a:gd name="T72" fmla="*/ 4 w 117"/>
                <a:gd name="T73" fmla="*/ 25 h 116"/>
                <a:gd name="T74" fmla="*/ 3 w 117"/>
                <a:gd name="T75" fmla="*/ 23 h 116"/>
                <a:gd name="T76" fmla="*/ 3 w 117"/>
                <a:gd name="T77" fmla="*/ 32 h 116"/>
                <a:gd name="T78" fmla="*/ 4 w 117"/>
                <a:gd name="T79" fmla="*/ 36 h 116"/>
                <a:gd name="T80" fmla="*/ 1 w 117"/>
                <a:gd name="T81" fmla="*/ 38 h 116"/>
                <a:gd name="T82" fmla="*/ 4 w 117"/>
                <a:gd name="T83" fmla="*/ 54 h 116"/>
                <a:gd name="T84" fmla="*/ 7 w 117"/>
                <a:gd name="T85" fmla="*/ 45 h 116"/>
                <a:gd name="T86" fmla="*/ 4 w 117"/>
                <a:gd name="T87" fmla="*/ 54 h 116"/>
                <a:gd name="T88" fmla="*/ 8 w 117"/>
                <a:gd name="T89" fmla="*/ 62 h 116"/>
                <a:gd name="T90" fmla="*/ 26 w 117"/>
                <a:gd name="T91" fmla="*/ 70 h 116"/>
                <a:gd name="T92" fmla="*/ 14 w 117"/>
                <a:gd name="T93" fmla="*/ 68 h 116"/>
                <a:gd name="T94" fmla="*/ 23 w 117"/>
                <a:gd name="T95" fmla="*/ 71 h 116"/>
                <a:gd name="T96" fmla="*/ 24 w 117"/>
                <a:gd name="T97" fmla="*/ 72 h 116"/>
                <a:gd name="T98" fmla="*/ 17 w 117"/>
                <a:gd name="T99" fmla="*/ 88 h 116"/>
                <a:gd name="T100" fmla="*/ 11 w 117"/>
                <a:gd name="T101" fmla="*/ 83 h 116"/>
                <a:gd name="T102" fmla="*/ 13 w 117"/>
                <a:gd name="T103" fmla="*/ 90 h 116"/>
                <a:gd name="T104" fmla="*/ 16 w 117"/>
                <a:gd name="T105" fmla="*/ 96 h 116"/>
                <a:gd name="T106" fmla="*/ 42 w 117"/>
                <a:gd name="T107" fmla="*/ 9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7" h="116">
                  <a:moveTo>
                    <a:pt x="64" y="98"/>
                  </a:moveTo>
                  <a:lnTo>
                    <a:pt x="58" y="93"/>
                  </a:lnTo>
                  <a:lnTo>
                    <a:pt x="46" y="93"/>
                  </a:lnTo>
                  <a:lnTo>
                    <a:pt x="46" y="96"/>
                  </a:lnTo>
                  <a:lnTo>
                    <a:pt x="56" y="96"/>
                  </a:lnTo>
                  <a:lnTo>
                    <a:pt x="62" y="100"/>
                  </a:lnTo>
                  <a:lnTo>
                    <a:pt x="64" y="98"/>
                  </a:lnTo>
                  <a:close/>
                  <a:moveTo>
                    <a:pt x="75" y="109"/>
                  </a:moveTo>
                  <a:lnTo>
                    <a:pt x="68" y="101"/>
                  </a:lnTo>
                  <a:lnTo>
                    <a:pt x="65" y="103"/>
                  </a:lnTo>
                  <a:lnTo>
                    <a:pt x="74" y="110"/>
                  </a:lnTo>
                  <a:lnTo>
                    <a:pt x="75" y="109"/>
                  </a:lnTo>
                  <a:close/>
                  <a:moveTo>
                    <a:pt x="87" y="113"/>
                  </a:moveTo>
                  <a:lnTo>
                    <a:pt x="81" y="113"/>
                  </a:lnTo>
                  <a:lnTo>
                    <a:pt x="79" y="112"/>
                  </a:lnTo>
                  <a:lnTo>
                    <a:pt x="77" y="113"/>
                  </a:lnTo>
                  <a:lnTo>
                    <a:pt x="79" y="116"/>
                  </a:lnTo>
                  <a:lnTo>
                    <a:pt x="79" y="116"/>
                  </a:lnTo>
                  <a:lnTo>
                    <a:pt x="87" y="114"/>
                  </a:lnTo>
                  <a:lnTo>
                    <a:pt x="87" y="113"/>
                  </a:lnTo>
                  <a:close/>
                  <a:moveTo>
                    <a:pt x="103" y="112"/>
                  </a:moveTo>
                  <a:lnTo>
                    <a:pt x="92" y="112"/>
                  </a:lnTo>
                  <a:lnTo>
                    <a:pt x="92" y="114"/>
                  </a:lnTo>
                  <a:lnTo>
                    <a:pt x="103" y="113"/>
                  </a:lnTo>
                  <a:lnTo>
                    <a:pt x="103" y="112"/>
                  </a:lnTo>
                  <a:close/>
                  <a:moveTo>
                    <a:pt x="117" y="110"/>
                  </a:moveTo>
                  <a:lnTo>
                    <a:pt x="107" y="110"/>
                  </a:lnTo>
                  <a:lnTo>
                    <a:pt x="107" y="113"/>
                  </a:lnTo>
                  <a:lnTo>
                    <a:pt x="117" y="113"/>
                  </a:lnTo>
                  <a:lnTo>
                    <a:pt x="117" y="110"/>
                  </a:lnTo>
                  <a:close/>
                  <a:moveTo>
                    <a:pt x="106" y="104"/>
                  </a:moveTo>
                  <a:lnTo>
                    <a:pt x="114" y="109"/>
                  </a:lnTo>
                  <a:lnTo>
                    <a:pt x="116" y="107"/>
                  </a:lnTo>
                  <a:lnTo>
                    <a:pt x="107" y="101"/>
                  </a:lnTo>
                  <a:lnTo>
                    <a:pt x="106" y="104"/>
                  </a:lnTo>
                  <a:close/>
                  <a:moveTo>
                    <a:pt x="92" y="96"/>
                  </a:moveTo>
                  <a:lnTo>
                    <a:pt x="101" y="101"/>
                  </a:lnTo>
                  <a:lnTo>
                    <a:pt x="103" y="98"/>
                  </a:lnTo>
                  <a:lnTo>
                    <a:pt x="94" y="94"/>
                  </a:lnTo>
                  <a:lnTo>
                    <a:pt x="92" y="96"/>
                  </a:lnTo>
                  <a:close/>
                  <a:moveTo>
                    <a:pt x="81" y="90"/>
                  </a:moveTo>
                  <a:lnTo>
                    <a:pt x="84" y="96"/>
                  </a:lnTo>
                  <a:lnTo>
                    <a:pt x="88" y="96"/>
                  </a:lnTo>
                  <a:lnTo>
                    <a:pt x="88" y="93"/>
                  </a:lnTo>
                  <a:lnTo>
                    <a:pt x="85" y="94"/>
                  </a:lnTo>
                  <a:lnTo>
                    <a:pt x="82" y="88"/>
                  </a:lnTo>
                  <a:lnTo>
                    <a:pt x="81" y="90"/>
                  </a:lnTo>
                  <a:close/>
                  <a:moveTo>
                    <a:pt x="79" y="75"/>
                  </a:moveTo>
                  <a:lnTo>
                    <a:pt x="81" y="78"/>
                  </a:lnTo>
                  <a:lnTo>
                    <a:pt x="81" y="84"/>
                  </a:lnTo>
                  <a:lnTo>
                    <a:pt x="82" y="84"/>
                  </a:lnTo>
                  <a:lnTo>
                    <a:pt x="84" y="78"/>
                  </a:lnTo>
                  <a:lnTo>
                    <a:pt x="81" y="74"/>
                  </a:lnTo>
                  <a:lnTo>
                    <a:pt x="79" y="75"/>
                  </a:lnTo>
                  <a:close/>
                  <a:moveTo>
                    <a:pt x="84" y="70"/>
                  </a:moveTo>
                  <a:lnTo>
                    <a:pt x="81" y="65"/>
                  </a:lnTo>
                  <a:lnTo>
                    <a:pt x="81" y="64"/>
                  </a:lnTo>
                  <a:lnTo>
                    <a:pt x="77" y="68"/>
                  </a:lnTo>
                  <a:lnTo>
                    <a:pt x="77" y="71"/>
                  </a:lnTo>
                  <a:lnTo>
                    <a:pt x="79" y="70"/>
                  </a:lnTo>
                  <a:lnTo>
                    <a:pt x="79" y="68"/>
                  </a:lnTo>
                  <a:lnTo>
                    <a:pt x="79" y="68"/>
                  </a:lnTo>
                  <a:lnTo>
                    <a:pt x="82" y="71"/>
                  </a:lnTo>
                  <a:lnTo>
                    <a:pt x="84" y="70"/>
                  </a:lnTo>
                  <a:close/>
                  <a:moveTo>
                    <a:pt x="94" y="64"/>
                  </a:moveTo>
                  <a:lnTo>
                    <a:pt x="85" y="70"/>
                  </a:lnTo>
                  <a:lnTo>
                    <a:pt x="87" y="71"/>
                  </a:lnTo>
                  <a:lnTo>
                    <a:pt x="95" y="65"/>
                  </a:lnTo>
                  <a:lnTo>
                    <a:pt x="94" y="64"/>
                  </a:lnTo>
                  <a:close/>
                  <a:moveTo>
                    <a:pt x="87" y="54"/>
                  </a:moveTo>
                  <a:lnTo>
                    <a:pt x="91" y="56"/>
                  </a:lnTo>
                  <a:lnTo>
                    <a:pt x="91" y="56"/>
                  </a:lnTo>
                  <a:lnTo>
                    <a:pt x="92" y="59"/>
                  </a:lnTo>
                  <a:lnTo>
                    <a:pt x="95" y="59"/>
                  </a:lnTo>
                  <a:lnTo>
                    <a:pt x="94" y="55"/>
                  </a:lnTo>
                  <a:lnTo>
                    <a:pt x="94" y="55"/>
                  </a:lnTo>
                  <a:lnTo>
                    <a:pt x="92" y="54"/>
                  </a:lnTo>
                  <a:lnTo>
                    <a:pt x="92" y="54"/>
                  </a:lnTo>
                  <a:lnTo>
                    <a:pt x="88" y="51"/>
                  </a:lnTo>
                  <a:lnTo>
                    <a:pt x="87" y="54"/>
                  </a:lnTo>
                  <a:close/>
                  <a:moveTo>
                    <a:pt x="87" y="39"/>
                  </a:moveTo>
                  <a:lnTo>
                    <a:pt x="84" y="39"/>
                  </a:lnTo>
                  <a:lnTo>
                    <a:pt x="84" y="39"/>
                  </a:lnTo>
                  <a:lnTo>
                    <a:pt x="84" y="49"/>
                  </a:lnTo>
                  <a:lnTo>
                    <a:pt x="87" y="49"/>
                  </a:lnTo>
                  <a:lnTo>
                    <a:pt x="85" y="42"/>
                  </a:lnTo>
                  <a:lnTo>
                    <a:pt x="87" y="42"/>
                  </a:lnTo>
                  <a:lnTo>
                    <a:pt x="87" y="39"/>
                  </a:lnTo>
                  <a:close/>
                  <a:moveTo>
                    <a:pt x="95" y="30"/>
                  </a:moveTo>
                  <a:lnTo>
                    <a:pt x="94" y="32"/>
                  </a:lnTo>
                  <a:lnTo>
                    <a:pt x="94" y="32"/>
                  </a:lnTo>
                  <a:lnTo>
                    <a:pt x="92" y="38"/>
                  </a:lnTo>
                  <a:lnTo>
                    <a:pt x="92" y="38"/>
                  </a:lnTo>
                  <a:lnTo>
                    <a:pt x="91" y="38"/>
                  </a:lnTo>
                  <a:lnTo>
                    <a:pt x="91" y="41"/>
                  </a:lnTo>
                  <a:lnTo>
                    <a:pt x="94" y="41"/>
                  </a:lnTo>
                  <a:lnTo>
                    <a:pt x="94" y="41"/>
                  </a:lnTo>
                  <a:lnTo>
                    <a:pt x="95" y="39"/>
                  </a:lnTo>
                  <a:lnTo>
                    <a:pt x="95" y="39"/>
                  </a:lnTo>
                  <a:lnTo>
                    <a:pt x="95" y="33"/>
                  </a:lnTo>
                  <a:lnTo>
                    <a:pt x="97" y="32"/>
                  </a:lnTo>
                  <a:lnTo>
                    <a:pt x="95" y="30"/>
                  </a:lnTo>
                  <a:close/>
                  <a:moveTo>
                    <a:pt x="103" y="19"/>
                  </a:moveTo>
                  <a:lnTo>
                    <a:pt x="101" y="25"/>
                  </a:lnTo>
                  <a:lnTo>
                    <a:pt x="98" y="28"/>
                  </a:lnTo>
                  <a:lnTo>
                    <a:pt x="100" y="29"/>
                  </a:lnTo>
                  <a:lnTo>
                    <a:pt x="103" y="26"/>
                  </a:lnTo>
                  <a:lnTo>
                    <a:pt x="103" y="26"/>
                  </a:lnTo>
                  <a:lnTo>
                    <a:pt x="106" y="20"/>
                  </a:lnTo>
                  <a:lnTo>
                    <a:pt x="103" y="19"/>
                  </a:lnTo>
                  <a:close/>
                  <a:moveTo>
                    <a:pt x="101" y="12"/>
                  </a:moveTo>
                  <a:lnTo>
                    <a:pt x="101" y="12"/>
                  </a:lnTo>
                  <a:lnTo>
                    <a:pt x="101" y="13"/>
                  </a:lnTo>
                  <a:lnTo>
                    <a:pt x="106" y="12"/>
                  </a:lnTo>
                  <a:lnTo>
                    <a:pt x="107" y="12"/>
                  </a:lnTo>
                  <a:lnTo>
                    <a:pt x="106" y="10"/>
                  </a:lnTo>
                  <a:lnTo>
                    <a:pt x="106" y="12"/>
                  </a:lnTo>
                  <a:lnTo>
                    <a:pt x="106" y="12"/>
                  </a:lnTo>
                  <a:lnTo>
                    <a:pt x="106" y="12"/>
                  </a:lnTo>
                  <a:lnTo>
                    <a:pt x="107" y="12"/>
                  </a:lnTo>
                  <a:lnTo>
                    <a:pt x="106" y="10"/>
                  </a:lnTo>
                  <a:lnTo>
                    <a:pt x="104" y="14"/>
                  </a:lnTo>
                  <a:lnTo>
                    <a:pt x="107" y="14"/>
                  </a:lnTo>
                  <a:lnTo>
                    <a:pt x="108" y="12"/>
                  </a:lnTo>
                  <a:lnTo>
                    <a:pt x="108" y="12"/>
                  </a:lnTo>
                  <a:lnTo>
                    <a:pt x="108" y="10"/>
                  </a:lnTo>
                  <a:lnTo>
                    <a:pt x="108" y="9"/>
                  </a:lnTo>
                  <a:lnTo>
                    <a:pt x="107" y="9"/>
                  </a:lnTo>
                  <a:lnTo>
                    <a:pt x="106" y="9"/>
                  </a:lnTo>
                  <a:lnTo>
                    <a:pt x="106" y="9"/>
                  </a:lnTo>
                  <a:lnTo>
                    <a:pt x="106" y="9"/>
                  </a:lnTo>
                  <a:lnTo>
                    <a:pt x="101" y="10"/>
                  </a:lnTo>
                  <a:lnTo>
                    <a:pt x="103" y="12"/>
                  </a:lnTo>
                  <a:lnTo>
                    <a:pt x="103" y="12"/>
                  </a:lnTo>
                  <a:lnTo>
                    <a:pt x="103" y="10"/>
                  </a:lnTo>
                  <a:lnTo>
                    <a:pt x="101" y="12"/>
                  </a:lnTo>
                  <a:close/>
                  <a:moveTo>
                    <a:pt x="91" y="3"/>
                  </a:moveTo>
                  <a:lnTo>
                    <a:pt x="98" y="7"/>
                  </a:lnTo>
                  <a:lnTo>
                    <a:pt x="100" y="6"/>
                  </a:lnTo>
                  <a:lnTo>
                    <a:pt x="91" y="0"/>
                  </a:lnTo>
                  <a:lnTo>
                    <a:pt x="91" y="3"/>
                  </a:lnTo>
                  <a:close/>
                  <a:moveTo>
                    <a:pt x="78" y="6"/>
                  </a:moveTo>
                  <a:lnTo>
                    <a:pt x="87" y="3"/>
                  </a:lnTo>
                  <a:lnTo>
                    <a:pt x="85" y="0"/>
                  </a:lnTo>
                  <a:lnTo>
                    <a:pt x="77" y="4"/>
                  </a:lnTo>
                  <a:lnTo>
                    <a:pt x="78" y="6"/>
                  </a:lnTo>
                  <a:close/>
                  <a:moveTo>
                    <a:pt x="64" y="12"/>
                  </a:moveTo>
                  <a:lnTo>
                    <a:pt x="72" y="9"/>
                  </a:lnTo>
                  <a:lnTo>
                    <a:pt x="72" y="6"/>
                  </a:lnTo>
                  <a:lnTo>
                    <a:pt x="62" y="10"/>
                  </a:lnTo>
                  <a:lnTo>
                    <a:pt x="64" y="12"/>
                  </a:lnTo>
                  <a:close/>
                  <a:moveTo>
                    <a:pt x="52" y="20"/>
                  </a:moveTo>
                  <a:lnTo>
                    <a:pt x="53" y="19"/>
                  </a:lnTo>
                  <a:lnTo>
                    <a:pt x="59" y="14"/>
                  </a:lnTo>
                  <a:lnTo>
                    <a:pt x="58" y="13"/>
                  </a:lnTo>
                  <a:lnTo>
                    <a:pt x="52" y="17"/>
                  </a:lnTo>
                  <a:lnTo>
                    <a:pt x="50" y="20"/>
                  </a:lnTo>
                  <a:lnTo>
                    <a:pt x="52" y="20"/>
                  </a:lnTo>
                  <a:close/>
                  <a:moveTo>
                    <a:pt x="39" y="26"/>
                  </a:moveTo>
                  <a:lnTo>
                    <a:pt x="43" y="25"/>
                  </a:lnTo>
                  <a:lnTo>
                    <a:pt x="49" y="26"/>
                  </a:lnTo>
                  <a:lnTo>
                    <a:pt x="49" y="23"/>
                  </a:lnTo>
                  <a:lnTo>
                    <a:pt x="43" y="22"/>
                  </a:lnTo>
                  <a:lnTo>
                    <a:pt x="43" y="22"/>
                  </a:lnTo>
                  <a:lnTo>
                    <a:pt x="39" y="23"/>
                  </a:lnTo>
                  <a:lnTo>
                    <a:pt x="39" y="26"/>
                  </a:lnTo>
                  <a:close/>
                  <a:moveTo>
                    <a:pt x="24" y="28"/>
                  </a:moveTo>
                  <a:lnTo>
                    <a:pt x="30" y="29"/>
                  </a:lnTo>
                  <a:lnTo>
                    <a:pt x="35" y="28"/>
                  </a:lnTo>
                  <a:lnTo>
                    <a:pt x="33" y="25"/>
                  </a:lnTo>
                  <a:lnTo>
                    <a:pt x="30" y="26"/>
                  </a:lnTo>
                  <a:lnTo>
                    <a:pt x="24" y="25"/>
                  </a:lnTo>
                  <a:lnTo>
                    <a:pt x="24" y="28"/>
                  </a:lnTo>
                  <a:close/>
                  <a:moveTo>
                    <a:pt x="10" y="23"/>
                  </a:moveTo>
                  <a:lnTo>
                    <a:pt x="10" y="23"/>
                  </a:lnTo>
                  <a:lnTo>
                    <a:pt x="10" y="22"/>
                  </a:lnTo>
                  <a:lnTo>
                    <a:pt x="10" y="23"/>
                  </a:lnTo>
                  <a:lnTo>
                    <a:pt x="19" y="26"/>
                  </a:lnTo>
                  <a:lnTo>
                    <a:pt x="20" y="23"/>
                  </a:lnTo>
                  <a:lnTo>
                    <a:pt x="10" y="20"/>
                  </a:lnTo>
                  <a:lnTo>
                    <a:pt x="8" y="20"/>
                  </a:lnTo>
                  <a:lnTo>
                    <a:pt x="10" y="23"/>
                  </a:lnTo>
                  <a:close/>
                  <a:moveTo>
                    <a:pt x="3" y="32"/>
                  </a:moveTo>
                  <a:lnTo>
                    <a:pt x="3" y="32"/>
                  </a:lnTo>
                  <a:lnTo>
                    <a:pt x="4" y="25"/>
                  </a:lnTo>
                  <a:lnTo>
                    <a:pt x="4" y="25"/>
                  </a:lnTo>
                  <a:lnTo>
                    <a:pt x="6" y="25"/>
                  </a:lnTo>
                  <a:lnTo>
                    <a:pt x="4" y="22"/>
                  </a:lnTo>
                  <a:lnTo>
                    <a:pt x="4" y="22"/>
                  </a:lnTo>
                  <a:lnTo>
                    <a:pt x="3" y="23"/>
                  </a:lnTo>
                  <a:lnTo>
                    <a:pt x="3" y="23"/>
                  </a:lnTo>
                  <a:lnTo>
                    <a:pt x="3" y="23"/>
                  </a:lnTo>
                  <a:lnTo>
                    <a:pt x="0" y="32"/>
                  </a:lnTo>
                  <a:lnTo>
                    <a:pt x="0" y="33"/>
                  </a:lnTo>
                  <a:lnTo>
                    <a:pt x="3" y="32"/>
                  </a:lnTo>
                  <a:close/>
                  <a:moveTo>
                    <a:pt x="6" y="43"/>
                  </a:moveTo>
                  <a:lnTo>
                    <a:pt x="8" y="41"/>
                  </a:lnTo>
                  <a:lnTo>
                    <a:pt x="10" y="39"/>
                  </a:lnTo>
                  <a:lnTo>
                    <a:pt x="4" y="36"/>
                  </a:lnTo>
                  <a:lnTo>
                    <a:pt x="4" y="36"/>
                  </a:lnTo>
                  <a:lnTo>
                    <a:pt x="4" y="36"/>
                  </a:lnTo>
                  <a:lnTo>
                    <a:pt x="1" y="35"/>
                  </a:lnTo>
                  <a:lnTo>
                    <a:pt x="1" y="36"/>
                  </a:lnTo>
                  <a:lnTo>
                    <a:pt x="1" y="36"/>
                  </a:lnTo>
                  <a:lnTo>
                    <a:pt x="1" y="38"/>
                  </a:lnTo>
                  <a:lnTo>
                    <a:pt x="1" y="38"/>
                  </a:lnTo>
                  <a:lnTo>
                    <a:pt x="6" y="41"/>
                  </a:lnTo>
                  <a:lnTo>
                    <a:pt x="4" y="41"/>
                  </a:lnTo>
                  <a:lnTo>
                    <a:pt x="6" y="43"/>
                  </a:lnTo>
                  <a:close/>
                  <a:moveTo>
                    <a:pt x="4" y="54"/>
                  </a:moveTo>
                  <a:lnTo>
                    <a:pt x="4" y="54"/>
                  </a:lnTo>
                  <a:lnTo>
                    <a:pt x="4" y="54"/>
                  </a:lnTo>
                  <a:lnTo>
                    <a:pt x="4" y="55"/>
                  </a:lnTo>
                  <a:lnTo>
                    <a:pt x="10" y="49"/>
                  </a:lnTo>
                  <a:lnTo>
                    <a:pt x="7" y="45"/>
                  </a:lnTo>
                  <a:lnTo>
                    <a:pt x="6" y="46"/>
                  </a:lnTo>
                  <a:lnTo>
                    <a:pt x="6" y="48"/>
                  </a:lnTo>
                  <a:lnTo>
                    <a:pt x="3" y="54"/>
                  </a:lnTo>
                  <a:lnTo>
                    <a:pt x="3" y="54"/>
                  </a:lnTo>
                  <a:lnTo>
                    <a:pt x="4" y="54"/>
                  </a:lnTo>
                  <a:close/>
                  <a:moveTo>
                    <a:pt x="16" y="61"/>
                  </a:moveTo>
                  <a:lnTo>
                    <a:pt x="10" y="61"/>
                  </a:lnTo>
                  <a:lnTo>
                    <a:pt x="7" y="56"/>
                  </a:lnTo>
                  <a:lnTo>
                    <a:pt x="6" y="59"/>
                  </a:lnTo>
                  <a:lnTo>
                    <a:pt x="8" y="62"/>
                  </a:lnTo>
                  <a:lnTo>
                    <a:pt x="8" y="62"/>
                  </a:lnTo>
                  <a:lnTo>
                    <a:pt x="14" y="64"/>
                  </a:lnTo>
                  <a:lnTo>
                    <a:pt x="16" y="61"/>
                  </a:lnTo>
                  <a:close/>
                  <a:moveTo>
                    <a:pt x="26" y="70"/>
                  </a:moveTo>
                  <a:lnTo>
                    <a:pt x="26" y="70"/>
                  </a:lnTo>
                  <a:lnTo>
                    <a:pt x="26" y="68"/>
                  </a:lnTo>
                  <a:lnTo>
                    <a:pt x="17" y="68"/>
                  </a:lnTo>
                  <a:lnTo>
                    <a:pt x="17" y="67"/>
                  </a:lnTo>
                  <a:lnTo>
                    <a:pt x="17" y="67"/>
                  </a:lnTo>
                  <a:lnTo>
                    <a:pt x="14" y="68"/>
                  </a:lnTo>
                  <a:lnTo>
                    <a:pt x="14" y="68"/>
                  </a:lnTo>
                  <a:lnTo>
                    <a:pt x="14" y="68"/>
                  </a:lnTo>
                  <a:lnTo>
                    <a:pt x="16" y="70"/>
                  </a:lnTo>
                  <a:lnTo>
                    <a:pt x="16" y="70"/>
                  </a:lnTo>
                  <a:lnTo>
                    <a:pt x="23" y="71"/>
                  </a:lnTo>
                  <a:lnTo>
                    <a:pt x="24" y="71"/>
                  </a:lnTo>
                  <a:lnTo>
                    <a:pt x="26" y="70"/>
                  </a:lnTo>
                  <a:close/>
                  <a:moveTo>
                    <a:pt x="16" y="80"/>
                  </a:moveTo>
                  <a:lnTo>
                    <a:pt x="24" y="75"/>
                  </a:lnTo>
                  <a:lnTo>
                    <a:pt x="24" y="72"/>
                  </a:lnTo>
                  <a:lnTo>
                    <a:pt x="14" y="77"/>
                  </a:lnTo>
                  <a:lnTo>
                    <a:pt x="16" y="80"/>
                  </a:lnTo>
                  <a:close/>
                  <a:moveTo>
                    <a:pt x="14" y="93"/>
                  </a:moveTo>
                  <a:lnTo>
                    <a:pt x="17" y="88"/>
                  </a:lnTo>
                  <a:lnTo>
                    <a:pt x="17" y="88"/>
                  </a:lnTo>
                  <a:lnTo>
                    <a:pt x="14" y="84"/>
                  </a:lnTo>
                  <a:lnTo>
                    <a:pt x="14" y="84"/>
                  </a:lnTo>
                  <a:lnTo>
                    <a:pt x="14" y="84"/>
                  </a:lnTo>
                  <a:lnTo>
                    <a:pt x="11" y="83"/>
                  </a:lnTo>
                  <a:lnTo>
                    <a:pt x="11" y="83"/>
                  </a:lnTo>
                  <a:lnTo>
                    <a:pt x="11" y="83"/>
                  </a:lnTo>
                  <a:lnTo>
                    <a:pt x="11" y="84"/>
                  </a:lnTo>
                  <a:lnTo>
                    <a:pt x="11" y="85"/>
                  </a:lnTo>
                  <a:lnTo>
                    <a:pt x="14" y="88"/>
                  </a:lnTo>
                  <a:lnTo>
                    <a:pt x="13" y="90"/>
                  </a:lnTo>
                  <a:lnTo>
                    <a:pt x="14" y="93"/>
                  </a:lnTo>
                  <a:close/>
                  <a:moveTo>
                    <a:pt x="26" y="93"/>
                  </a:moveTo>
                  <a:lnTo>
                    <a:pt x="17" y="94"/>
                  </a:lnTo>
                  <a:lnTo>
                    <a:pt x="17" y="93"/>
                  </a:lnTo>
                  <a:lnTo>
                    <a:pt x="16" y="96"/>
                  </a:lnTo>
                  <a:lnTo>
                    <a:pt x="17" y="96"/>
                  </a:lnTo>
                  <a:lnTo>
                    <a:pt x="17" y="96"/>
                  </a:lnTo>
                  <a:lnTo>
                    <a:pt x="26" y="96"/>
                  </a:lnTo>
                  <a:lnTo>
                    <a:pt x="26" y="93"/>
                  </a:lnTo>
                  <a:close/>
                  <a:moveTo>
                    <a:pt x="42" y="93"/>
                  </a:moveTo>
                  <a:lnTo>
                    <a:pt x="32" y="93"/>
                  </a:lnTo>
                  <a:lnTo>
                    <a:pt x="32" y="96"/>
                  </a:lnTo>
                  <a:lnTo>
                    <a:pt x="42" y="96"/>
                  </a:lnTo>
                  <a:lnTo>
                    <a:pt x="42" y="9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86" name="Freeform 1766"/>
            <p:cNvSpPr>
              <a:spLocks/>
            </p:cNvSpPr>
            <p:nvPr/>
          </p:nvSpPr>
          <p:spPr bwMode="auto">
            <a:xfrm>
              <a:off x="4938713" y="4505754"/>
              <a:ext cx="6350" cy="7938"/>
            </a:xfrm>
            <a:custGeom>
              <a:avLst/>
              <a:gdLst>
                <a:gd name="T0" fmla="*/ 0 w 4"/>
                <a:gd name="T1" fmla="*/ 5 h 5"/>
                <a:gd name="T2" fmla="*/ 3 w 4"/>
                <a:gd name="T3" fmla="*/ 3 h 5"/>
                <a:gd name="T4" fmla="*/ 4 w 4"/>
                <a:gd name="T5" fmla="*/ 0 h 5"/>
              </a:gdLst>
              <a:ahLst/>
              <a:cxnLst>
                <a:cxn ang="0">
                  <a:pos x="T0" y="T1"/>
                </a:cxn>
                <a:cxn ang="0">
                  <a:pos x="T2" y="T3"/>
                </a:cxn>
                <a:cxn ang="0">
                  <a:pos x="T4" y="T5"/>
                </a:cxn>
              </a:cxnLst>
              <a:rect l="0" t="0" r="r" b="b"/>
              <a:pathLst>
                <a:path w="4" h="5">
                  <a:moveTo>
                    <a:pt x="0" y="5"/>
                  </a:moveTo>
                  <a:lnTo>
                    <a:pt x="3" y="3"/>
                  </a:lnTo>
                  <a:lnTo>
                    <a:pt x="4" y="0"/>
                  </a:lnTo>
                </a:path>
              </a:pathLst>
            </a:custGeom>
            <a:noFill/>
            <a:ln w="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87" name="Freeform 1767"/>
            <p:cNvSpPr>
              <a:spLocks/>
            </p:cNvSpPr>
            <p:nvPr/>
          </p:nvSpPr>
          <p:spPr bwMode="auto">
            <a:xfrm>
              <a:off x="4949826" y="4493054"/>
              <a:ext cx="7938" cy="4763"/>
            </a:xfrm>
            <a:custGeom>
              <a:avLst/>
              <a:gdLst>
                <a:gd name="T0" fmla="*/ 0 w 5"/>
                <a:gd name="T1" fmla="*/ 3 h 3"/>
                <a:gd name="T2" fmla="*/ 3 w 5"/>
                <a:gd name="T3" fmla="*/ 0 h 3"/>
                <a:gd name="T4" fmla="*/ 5 w 5"/>
                <a:gd name="T5" fmla="*/ 0 h 3"/>
              </a:gdLst>
              <a:ahLst/>
              <a:cxnLst>
                <a:cxn ang="0">
                  <a:pos x="T0" y="T1"/>
                </a:cxn>
                <a:cxn ang="0">
                  <a:pos x="T2" y="T3"/>
                </a:cxn>
                <a:cxn ang="0">
                  <a:pos x="T4" y="T5"/>
                </a:cxn>
              </a:cxnLst>
              <a:rect l="0" t="0" r="r" b="b"/>
              <a:pathLst>
                <a:path w="5" h="3">
                  <a:moveTo>
                    <a:pt x="0" y="3"/>
                  </a:moveTo>
                  <a:lnTo>
                    <a:pt x="3" y="0"/>
                  </a:lnTo>
                  <a:lnTo>
                    <a:pt x="5" y="0"/>
                  </a:lnTo>
                </a:path>
              </a:pathLst>
            </a:custGeom>
            <a:noFill/>
            <a:ln w="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88" name="Freeform 1768"/>
            <p:cNvSpPr>
              <a:spLocks/>
            </p:cNvSpPr>
            <p:nvPr/>
          </p:nvSpPr>
          <p:spPr bwMode="auto">
            <a:xfrm>
              <a:off x="4965701" y="4488291"/>
              <a:ext cx="9525" cy="3175"/>
            </a:xfrm>
            <a:custGeom>
              <a:avLst/>
              <a:gdLst>
                <a:gd name="T0" fmla="*/ 0 w 6"/>
                <a:gd name="T1" fmla="*/ 0 h 2"/>
                <a:gd name="T2" fmla="*/ 2 w 6"/>
                <a:gd name="T3" fmla="*/ 0 h 2"/>
                <a:gd name="T4" fmla="*/ 6 w 6"/>
                <a:gd name="T5" fmla="*/ 2 h 2"/>
              </a:gdLst>
              <a:ahLst/>
              <a:cxnLst>
                <a:cxn ang="0">
                  <a:pos x="T0" y="T1"/>
                </a:cxn>
                <a:cxn ang="0">
                  <a:pos x="T2" y="T3"/>
                </a:cxn>
                <a:cxn ang="0">
                  <a:pos x="T4" y="T5"/>
                </a:cxn>
              </a:cxnLst>
              <a:rect l="0" t="0" r="r" b="b"/>
              <a:pathLst>
                <a:path w="6" h="2">
                  <a:moveTo>
                    <a:pt x="0" y="0"/>
                  </a:moveTo>
                  <a:lnTo>
                    <a:pt x="2" y="0"/>
                  </a:lnTo>
                  <a:lnTo>
                    <a:pt x="6" y="2"/>
                  </a:lnTo>
                </a:path>
              </a:pathLst>
            </a:custGeom>
            <a:noFill/>
            <a:ln w="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89" name="Freeform 1769"/>
            <p:cNvSpPr>
              <a:spLocks/>
            </p:cNvSpPr>
            <p:nvPr/>
          </p:nvSpPr>
          <p:spPr bwMode="auto">
            <a:xfrm>
              <a:off x="4983163" y="4496229"/>
              <a:ext cx="6350" cy="4763"/>
            </a:xfrm>
            <a:custGeom>
              <a:avLst/>
              <a:gdLst>
                <a:gd name="T0" fmla="*/ 0 w 4"/>
                <a:gd name="T1" fmla="*/ 0 h 3"/>
                <a:gd name="T2" fmla="*/ 2 w 4"/>
                <a:gd name="T3" fmla="*/ 1 h 3"/>
                <a:gd name="T4" fmla="*/ 4 w 4"/>
                <a:gd name="T5" fmla="*/ 3 h 3"/>
              </a:gdLst>
              <a:ahLst/>
              <a:cxnLst>
                <a:cxn ang="0">
                  <a:pos x="T0" y="T1"/>
                </a:cxn>
                <a:cxn ang="0">
                  <a:pos x="T2" y="T3"/>
                </a:cxn>
                <a:cxn ang="0">
                  <a:pos x="T4" y="T5"/>
                </a:cxn>
              </a:cxnLst>
              <a:rect l="0" t="0" r="r" b="b"/>
              <a:pathLst>
                <a:path w="4" h="3">
                  <a:moveTo>
                    <a:pt x="0" y="0"/>
                  </a:moveTo>
                  <a:lnTo>
                    <a:pt x="2" y="1"/>
                  </a:lnTo>
                  <a:lnTo>
                    <a:pt x="4" y="3"/>
                  </a:lnTo>
                </a:path>
              </a:pathLst>
            </a:custGeom>
            <a:noFill/>
            <a:ln w="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90" name="Freeform 1770"/>
            <p:cNvSpPr>
              <a:spLocks/>
            </p:cNvSpPr>
            <p:nvPr/>
          </p:nvSpPr>
          <p:spPr bwMode="auto">
            <a:xfrm>
              <a:off x="4995863" y="4507341"/>
              <a:ext cx="3175" cy="9525"/>
            </a:xfrm>
            <a:custGeom>
              <a:avLst/>
              <a:gdLst>
                <a:gd name="T0" fmla="*/ 0 w 2"/>
                <a:gd name="T1" fmla="*/ 0 h 6"/>
                <a:gd name="T2" fmla="*/ 0 w 2"/>
                <a:gd name="T3" fmla="*/ 2 h 6"/>
                <a:gd name="T4" fmla="*/ 2 w 2"/>
                <a:gd name="T5" fmla="*/ 3 h 6"/>
                <a:gd name="T6" fmla="*/ 2 w 2"/>
                <a:gd name="T7" fmla="*/ 4 h 6"/>
                <a:gd name="T8" fmla="*/ 2 w 2"/>
                <a:gd name="T9" fmla="*/ 6 h 6"/>
              </a:gdLst>
              <a:ahLst/>
              <a:cxnLst>
                <a:cxn ang="0">
                  <a:pos x="T0" y="T1"/>
                </a:cxn>
                <a:cxn ang="0">
                  <a:pos x="T2" y="T3"/>
                </a:cxn>
                <a:cxn ang="0">
                  <a:pos x="T4" y="T5"/>
                </a:cxn>
                <a:cxn ang="0">
                  <a:pos x="T6" y="T7"/>
                </a:cxn>
                <a:cxn ang="0">
                  <a:pos x="T8" y="T9"/>
                </a:cxn>
              </a:cxnLst>
              <a:rect l="0" t="0" r="r" b="b"/>
              <a:pathLst>
                <a:path w="2" h="6">
                  <a:moveTo>
                    <a:pt x="0" y="0"/>
                  </a:moveTo>
                  <a:lnTo>
                    <a:pt x="0" y="2"/>
                  </a:lnTo>
                  <a:lnTo>
                    <a:pt x="2" y="3"/>
                  </a:lnTo>
                  <a:lnTo>
                    <a:pt x="2" y="4"/>
                  </a:lnTo>
                  <a:lnTo>
                    <a:pt x="2" y="6"/>
                  </a:lnTo>
                </a:path>
              </a:pathLst>
            </a:custGeom>
            <a:noFill/>
            <a:ln w="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91" name="Freeform 1771"/>
            <p:cNvSpPr>
              <a:spLocks/>
            </p:cNvSpPr>
            <p:nvPr/>
          </p:nvSpPr>
          <p:spPr bwMode="auto">
            <a:xfrm>
              <a:off x="5006976" y="4518454"/>
              <a:ext cx="9525" cy="3175"/>
            </a:xfrm>
            <a:custGeom>
              <a:avLst/>
              <a:gdLst>
                <a:gd name="T0" fmla="*/ 0 w 6"/>
                <a:gd name="T1" fmla="*/ 0 h 2"/>
                <a:gd name="T2" fmla="*/ 3 w 6"/>
                <a:gd name="T3" fmla="*/ 2 h 2"/>
                <a:gd name="T4" fmla="*/ 6 w 6"/>
                <a:gd name="T5" fmla="*/ 2 h 2"/>
              </a:gdLst>
              <a:ahLst/>
              <a:cxnLst>
                <a:cxn ang="0">
                  <a:pos x="T0" y="T1"/>
                </a:cxn>
                <a:cxn ang="0">
                  <a:pos x="T2" y="T3"/>
                </a:cxn>
                <a:cxn ang="0">
                  <a:pos x="T4" y="T5"/>
                </a:cxn>
              </a:cxnLst>
              <a:rect l="0" t="0" r="r" b="b"/>
              <a:pathLst>
                <a:path w="6" h="2">
                  <a:moveTo>
                    <a:pt x="0" y="0"/>
                  </a:moveTo>
                  <a:lnTo>
                    <a:pt x="3" y="2"/>
                  </a:lnTo>
                  <a:lnTo>
                    <a:pt x="6" y="2"/>
                  </a:lnTo>
                </a:path>
              </a:pathLst>
            </a:custGeom>
            <a:noFill/>
            <a:ln w="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92" name="Freeform 1772"/>
            <p:cNvSpPr>
              <a:spLocks/>
            </p:cNvSpPr>
            <p:nvPr/>
          </p:nvSpPr>
          <p:spPr bwMode="auto">
            <a:xfrm>
              <a:off x="5026026" y="4521629"/>
              <a:ext cx="6350" cy="4763"/>
            </a:xfrm>
            <a:custGeom>
              <a:avLst/>
              <a:gdLst>
                <a:gd name="T0" fmla="*/ 0 w 4"/>
                <a:gd name="T1" fmla="*/ 0 h 3"/>
                <a:gd name="T2" fmla="*/ 1 w 4"/>
                <a:gd name="T3" fmla="*/ 1 h 3"/>
                <a:gd name="T4" fmla="*/ 4 w 4"/>
                <a:gd name="T5" fmla="*/ 3 h 3"/>
              </a:gdLst>
              <a:ahLst/>
              <a:cxnLst>
                <a:cxn ang="0">
                  <a:pos x="T0" y="T1"/>
                </a:cxn>
                <a:cxn ang="0">
                  <a:pos x="T2" y="T3"/>
                </a:cxn>
                <a:cxn ang="0">
                  <a:pos x="T4" y="T5"/>
                </a:cxn>
              </a:cxnLst>
              <a:rect l="0" t="0" r="r" b="b"/>
              <a:pathLst>
                <a:path w="4" h="3">
                  <a:moveTo>
                    <a:pt x="0" y="0"/>
                  </a:moveTo>
                  <a:lnTo>
                    <a:pt x="1" y="1"/>
                  </a:lnTo>
                  <a:lnTo>
                    <a:pt x="4" y="3"/>
                  </a:lnTo>
                </a:path>
              </a:pathLst>
            </a:custGeom>
            <a:noFill/>
            <a:ln w="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93" name="Line 1773"/>
            <p:cNvSpPr>
              <a:spLocks noChangeShapeType="1"/>
            </p:cNvSpPr>
            <p:nvPr/>
          </p:nvSpPr>
          <p:spPr bwMode="auto">
            <a:xfrm flipV="1">
              <a:off x="5040313" y="4527979"/>
              <a:ext cx="9525" cy="3175"/>
            </a:xfrm>
            <a:prstGeom prst="line">
              <a:avLst/>
            </a:prstGeom>
            <a:noFill/>
            <a:ln w="3">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94" name="Freeform 1774"/>
            <p:cNvSpPr>
              <a:spLocks/>
            </p:cNvSpPr>
            <p:nvPr/>
          </p:nvSpPr>
          <p:spPr bwMode="auto">
            <a:xfrm>
              <a:off x="5057776" y="4521629"/>
              <a:ext cx="7938" cy="4763"/>
            </a:xfrm>
            <a:custGeom>
              <a:avLst/>
              <a:gdLst>
                <a:gd name="T0" fmla="*/ 0 w 5"/>
                <a:gd name="T1" fmla="*/ 3 h 3"/>
                <a:gd name="T2" fmla="*/ 0 w 5"/>
                <a:gd name="T3" fmla="*/ 3 h 3"/>
                <a:gd name="T4" fmla="*/ 5 w 5"/>
                <a:gd name="T5" fmla="*/ 0 h 3"/>
              </a:gdLst>
              <a:ahLst/>
              <a:cxnLst>
                <a:cxn ang="0">
                  <a:pos x="T0" y="T1"/>
                </a:cxn>
                <a:cxn ang="0">
                  <a:pos x="T2" y="T3"/>
                </a:cxn>
                <a:cxn ang="0">
                  <a:pos x="T4" y="T5"/>
                </a:cxn>
              </a:cxnLst>
              <a:rect l="0" t="0" r="r" b="b"/>
              <a:pathLst>
                <a:path w="5" h="3">
                  <a:moveTo>
                    <a:pt x="0" y="3"/>
                  </a:moveTo>
                  <a:lnTo>
                    <a:pt x="0" y="3"/>
                  </a:lnTo>
                  <a:lnTo>
                    <a:pt x="5" y="0"/>
                  </a:lnTo>
                </a:path>
              </a:pathLst>
            </a:custGeom>
            <a:noFill/>
            <a:ln w="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95" name="Freeform 1775"/>
            <p:cNvSpPr>
              <a:spLocks/>
            </p:cNvSpPr>
            <p:nvPr/>
          </p:nvSpPr>
          <p:spPr bwMode="auto">
            <a:xfrm>
              <a:off x="5073651" y="4512104"/>
              <a:ext cx="7938" cy="4763"/>
            </a:xfrm>
            <a:custGeom>
              <a:avLst/>
              <a:gdLst>
                <a:gd name="T0" fmla="*/ 0 w 5"/>
                <a:gd name="T1" fmla="*/ 3 h 3"/>
                <a:gd name="T2" fmla="*/ 3 w 5"/>
                <a:gd name="T3" fmla="*/ 1 h 3"/>
                <a:gd name="T4" fmla="*/ 5 w 5"/>
                <a:gd name="T5" fmla="*/ 0 h 3"/>
                <a:gd name="T6" fmla="*/ 5 w 5"/>
                <a:gd name="T7" fmla="*/ 0 h 3"/>
              </a:gdLst>
              <a:ahLst/>
              <a:cxnLst>
                <a:cxn ang="0">
                  <a:pos x="T0" y="T1"/>
                </a:cxn>
                <a:cxn ang="0">
                  <a:pos x="T2" y="T3"/>
                </a:cxn>
                <a:cxn ang="0">
                  <a:pos x="T4" y="T5"/>
                </a:cxn>
                <a:cxn ang="0">
                  <a:pos x="T6" y="T7"/>
                </a:cxn>
              </a:cxnLst>
              <a:rect l="0" t="0" r="r" b="b"/>
              <a:pathLst>
                <a:path w="5" h="3">
                  <a:moveTo>
                    <a:pt x="0" y="3"/>
                  </a:moveTo>
                  <a:lnTo>
                    <a:pt x="3" y="1"/>
                  </a:lnTo>
                  <a:lnTo>
                    <a:pt x="5" y="0"/>
                  </a:lnTo>
                  <a:lnTo>
                    <a:pt x="5" y="0"/>
                  </a:lnTo>
                </a:path>
              </a:pathLst>
            </a:custGeom>
            <a:noFill/>
            <a:ln w="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96" name="Freeform 1776"/>
            <p:cNvSpPr>
              <a:spLocks/>
            </p:cNvSpPr>
            <p:nvPr/>
          </p:nvSpPr>
          <p:spPr bwMode="auto">
            <a:xfrm>
              <a:off x="5086351" y="4505754"/>
              <a:ext cx="6350" cy="1588"/>
            </a:xfrm>
            <a:custGeom>
              <a:avLst/>
              <a:gdLst>
                <a:gd name="T0" fmla="*/ 0 w 4"/>
                <a:gd name="T1" fmla="*/ 0 h 1"/>
                <a:gd name="T2" fmla="*/ 0 w 4"/>
                <a:gd name="T3" fmla="*/ 0 h 1"/>
                <a:gd name="T4" fmla="*/ 3 w 4"/>
                <a:gd name="T5" fmla="*/ 0 h 1"/>
                <a:gd name="T6" fmla="*/ 4 w 4"/>
                <a:gd name="T7" fmla="*/ 1 h 1"/>
              </a:gdLst>
              <a:ahLst/>
              <a:cxnLst>
                <a:cxn ang="0">
                  <a:pos x="T0" y="T1"/>
                </a:cxn>
                <a:cxn ang="0">
                  <a:pos x="T2" y="T3"/>
                </a:cxn>
                <a:cxn ang="0">
                  <a:pos x="T4" y="T5"/>
                </a:cxn>
                <a:cxn ang="0">
                  <a:pos x="T6" y="T7"/>
                </a:cxn>
              </a:cxnLst>
              <a:rect l="0" t="0" r="r" b="b"/>
              <a:pathLst>
                <a:path w="4" h="1">
                  <a:moveTo>
                    <a:pt x="0" y="0"/>
                  </a:moveTo>
                  <a:lnTo>
                    <a:pt x="0" y="0"/>
                  </a:lnTo>
                  <a:lnTo>
                    <a:pt x="3" y="0"/>
                  </a:lnTo>
                  <a:lnTo>
                    <a:pt x="4" y="1"/>
                  </a:lnTo>
                </a:path>
              </a:pathLst>
            </a:custGeom>
            <a:noFill/>
            <a:ln w="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97" name="Freeform 1777"/>
            <p:cNvSpPr>
              <a:spLocks/>
            </p:cNvSpPr>
            <p:nvPr/>
          </p:nvSpPr>
          <p:spPr bwMode="auto">
            <a:xfrm>
              <a:off x="5102226" y="4512104"/>
              <a:ext cx="6350" cy="4763"/>
            </a:xfrm>
            <a:custGeom>
              <a:avLst/>
              <a:gdLst>
                <a:gd name="T0" fmla="*/ 0 w 4"/>
                <a:gd name="T1" fmla="*/ 0 h 3"/>
                <a:gd name="T2" fmla="*/ 4 w 4"/>
                <a:gd name="T3" fmla="*/ 3 h 3"/>
                <a:gd name="T4" fmla="*/ 4 w 4"/>
                <a:gd name="T5" fmla="*/ 3 h 3"/>
              </a:gdLst>
              <a:ahLst/>
              <a:cxnLst>
                <a:cxn ang="0">
                  <a:pos x="T0" y="T1"/>
                </a:cxn>
                <a:cxn ang="0">
                  <a:pos x="T2" y="T3"/>
                </a:cxn>
                <a:cxn ang="0">
                  <a:pos x="T4" y="T5"/>
                </a:cxn>
              </a:cxnLst>
              <a:rect l="0" t="0" r="r" b="b"/>
              <a:pathLst>
                <a:path w="4" h="3">
                  <a:moveTo>
                    <a:pt x="0" y="0"/>
                  </a:moveTo>
                  <a:lnTo>
                    <a:pt x="4" y="3"/>
                  </a:lnTo>
                  <a:lnTo>
                    <a:pt x="4" y="3"/>
                  </a:lnTo>
                </a:path>
              </a:pathLst>
            </a:custGeom>
            <a:noFill/>
            <a:ln w="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98" name="Freeform 1778"/>
            <p:cNvSpPr>
              <a:spLocks/>
            </p:cNvSpPr>
            <p:nvPr/>
          </p:nvSpPr>
          <p:spPr bwMode="auto">
            <a:xfrm>
              <a:off x="5118101" y="4510516"/>
              <a:ext cx="9525" cy="3175"/>
            </a:xfrm>
            <a:custGeom>
              <a:avLst/>
              <a:gdLst>
                <a:gd name="T0" fmla="*/ 0 w 6"/>
                <a:gd name="T1" fmla="*/ 2 h 2"/>
                <a:gd name="T2" fmla="*/ 3 w 6"/>
                <a:gd name="T3" fmla="*/ 1 h 2"/>
                <a:gd name="T4" fmla="*/ 6 w 6"/>
                <a:gd name="T5" fmla="*/ 0 h 2"/>
              </a:gdLst>
              <a:ahLst/>
              <a:cxnLst>
                <a:cxn ang="0">
                  <a:pos x="T0" y="T1"/>
                </a:cxn>
                <a:cxn ang="0">
                  <a:pos x="T2" y="T3"/>
                </a:cxn>
                <a:cxn ang="0">
                  <a:pos x="T4" y="T5"/>
                </a:cxn>
              </a:cxnLst>
              <a:rect l="0" t="0" r="r" b="b"/>
              <a:pathLst>
                <a:path w="6" h="2">
                  <a:moveTo>
                    <a:pt x="0" y="2"/>
                  </a:moveTo>
                  <a:lnTo>
                    <a:pt x="3" y="1"/>
                  </a:lnTo>
                  <a:lnTo>
                    <a:pt x="6" y="0"/>
                  </a:lnTo>
                </a:path>
              </a:pathLst>
            </a:custGeom>
            <a:noFill/>
            <a:ln w="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399" name="Freeform 1779"/>
            <p:cNvSpPr>
              <a:spLocks/>
            </p:cNvSpPr>
            <p:nvPr/>
          </p:nvSpPr>
          <p:spPr bwMode="auto">
            <a:xfrm>
              <a:off x="5133976" y="4496229"/>
              <a:ext cx="4763" cy="6350"/>
            </a:xfrm>
            <a:custGeom>
              <a:avLst/>
              <a:gdLst>
                <a:gd name="T0" fmla="*/ 0 w 3"/>
                <a:gd name="T1" fmla="*/ 4 h 4"/>
                <a:gd name="T2" fmla="*/ 2 w 3"/>
                <a:gd name="T3" fmla="*/ 3 h 4"/>
                <a:gd name="T4" fmla="*/ 3 w 3"/>
                <a:gd name="T5" fmla="*/ 0 h 4"/>
              </a:gdLst>
              <a:ahLst/>
              <a:cxnLst>
                <a:cxn ang="0">
                  <a:pos x="T0" y="T1"/>
                </a:cxn>
                <a:cxn ang="0">
                  <a:pos x="T2" y="T3"/>
                </a:cxn>
                <a:cxn ang="0">
                  <a:pos x="T4" y="T5"/>
                </a:cxn>
              </a:cxnLst>
              <a:rect l="0" t="0" r="r" b="b"/>
              <a:pathLst>
                <a:path w="3" h="4">
                  <a:moveTo>
                    <a:pt x="0" y="4"/>
                  </a:moveTo>
                  <a:lnTo>
                    <a:pt x="2" y="3"/>
                  </a:lnTo>
                  <a:lnTo>
                    <a:pt x="3" y="0"/>
                  </a:lnTo>
                </a:path>
              </a:pathLst>
            </a:custGeom>
            <a:noFill/>
            <a:ln w="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00" name="Freeform 1780"/>
            <p:cNvSpPr>
              <a:spLocks/>
            </p:cNvSpPr>
            <p:nvPr/>
          </p:nvSpPr>
          <p:spPr bwMode="auto">
            <a:xfrm>
              <a:off x="5145088" y="4481941"/>
              <a:ext cx="4763" cy="6350"/>
            </a:xfrm>
            <a:custGeom>
              <a:avLst/>
              <a:gdLst>
                <a:gd name="T0" fmla="*/ 0 w 3"/>
                <a:gd name="T1" fmla="*/ 4 h 4"/>
                <a:gd name="T2" fmla="*/ 0 w 3"/>
                <a:gd name="T3" fmla="*/ 4 h 4"/>
                <a:gd name="T4" fmla="*/ 3 w 3"/>
                <a:gd name="T5" fmla="*/ 0 h 4"/>
              </a:gdLst>
              <a:ahLst/>
              <a:cxnLst>
                <a:cxn ang="0">
                  <a:pos x="T0" y="T1"/>
                </a:cxn>
                <a:cxn ang="0">
                  <a:pos x="T2" y="T3"/>
                </a:cxn>
                <a:cxn ang="0">
                  <a:pos x="T4" y="T5"/>
                </a:cxn>
              </a:cxnLst>
              <a:rect l="0" t="0" r="r" b="b"/>
              <a:pathLst>
                <a:path w="3" h="4">
                  <a:moveTo>
                    <a:pt x="0" y="4"/>
                  </a:moveTo>
                  <a:lnTo>
                    <a:pt x="0" y="4"/>
                  </a:lnTo>
                  <a:lnTo>
                    <a:pt x="3" y="0"/>
                  </a:lnTo>
                </a:path>
              </a:pathLst>
            </a:custGeom>
            <a:noFill/>
            <a:ln w="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01" name="Freeform 1781"/>
            <p:cNvSpPr>
              <a:spLocks/>
            </p:cNvSpPr>
            <p:nvPr/>
          </p:nvSpPr>
          <p:spPr bwMode="auto">
            <a:xfrm>
              <a:off x="5154613" y="4466066"/>
              <a:ext cx="3175" cy="9525"/>
            </a:xfrm>
            <a:custGeom>
              <a:avLst/>
              <a:gdLst>
                <a:gd name="T0" fmla="*/ 2 w 2"/>
                <a:gd name="T1" fmla="*/ 6 h 6"/>
                <a:gd name="T2" fmla="*/ 2 w 2"/>
                <a:gd name="T3" fmla="*/ 4 h 6"/>
                <a:gd name="T4" fmla="*/ 0 w 2"/>
                <a:gd name="T5" fmla="*/ 0 h 6"/>
              </a:gdLst>
              <a:ahLst/>
              <a:cxnLst>
                <a:cxn ang="0">
                  <a:pos x="T0" y="T1"/>
                </a:cxn>
                <a:cxn ang="0">
                  <a:pos x="T2" y="T3"/>
                </a:cxn>
                <a:cxn ang="0">
                  <a:pos x="T4" y="T5"/>
                </a:cxn>
              </a:cxnLst>
              <a:rect l="0" t="0" r="r" b="b"/>
              <a:pathLst>
                <a:path w="2" h="6">
                  <a:moveTo>
                    <a:pt x="2" y="6"/>
                  </a:moveTo>
                  <a:lnTo>
                    <a:pt x="2" y="4"/>
                  </a:lnTo>
                  <a:lnTo>
                    <a:pt x="0" y="0"/>
                  </a:lnTo>
                </a:path>
              </a:pathLst>
            </a:custGeom>
            <a:noFill/>
            <a:ln w="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02" name="Freeform 1782"/>
            <p:cNvSpPr>
              <a:spLocks/>
            </p:cNvSpPr>
            <p:nvPr/>
          </p:nvSpPr>
          <p:spPr bwMode="auto">
            <a:xfrm>
              <a:off x="5153026" y="4447016"/>
              <a:ext cx="1588" cy="9525"/>
            </a:xfrm>
            <a:custGeom>
              <a:avLst/>
              <a:gdLst>
                <a:gd name="T0" fmla="*/ 0 w 1"/>
                <a:gd name="T1" fmla="*/ 6 h 6"/>
                <a:gd name="T2" fmla="*/ 1 w 1"/>
                <a:gd name="T3" fmla="*/ 2 h 6"/>
                <a:gd name="T4" fmla="*/ 1 w 1"/>
                <a:gd name="T5" fmla="*/ 0 h 6"/>
              </a:gdLst>
              <a:ahLst/>
              <a:cxnLst>
                <a:cxn ang="0">
                  <a:pos x="T0" y="T1"/>
                </a:cxn>
                <a:cxn ang="0">
                  <a:pos x="T2" y="T3"/>
                </a:cxn>
                <a:cxn ang="0">
                  <a:pos x="T4" y="T5"/>
                </a:cxn>
              </a:cxnLst>
              <a:rect l="0" t="0" r="r" b="b"/>
              <a:pathLst>
                <a:path w="1" h="6">
                  <a:moveTo>
                    <a:pt x="0" y="6"/>
                  </a:moveTo>
                  <a:lnTo>
                    <a:pt x="1" y="2"/>
                  </a:lnTo>
                  <a:lnTo>
                    <a:pt x="1" y="0"/>
                  </a:lnTo>
                </a:path>
              </a:pathLst>
            </a:custGeom>
            <a:noFill/>
            <a:ln w="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03" name="Freeform 1783"/>
            <p:cNvSpPr>
              <a:spLocks/>
            </p:cNvSpPr>
            <p:nvPr/>
          </p:nvSpPr>
          <p:spPr bwMode="auto">
            <a:xfrm>
              <a:off x="5164138" y="4445429"/>
              <a:ext cx="6350" cy="4763"/>
            </a:xfrm>
            <a:custGeom>
              <a:avLst/>
              <a:gdLst>
                <a:gd name="T0" fmla="*/ 0 w 4"/>
                <a:gd name="T1" fmla="*/ 0 h 3"/>
                <a:gd name="T2" fmla="*/ 3 w 4"/>
                <a:gd name="T3" fmla="*/ 0 h 3"/>
                <a:gd name="T4" fmla="*/ 4 w 4"/>
                <a:gd name="T5" fmla="*/ 3 h 3"/>
                <a:gd name="T6" fmla="*/ 4 w 4"/>
                <a:gd name="T7" fmla="*/ 3 h 3"/>
              </a:gdLst>
              <a:ahLst/>
              <a:cxnLst>
                <a:cxn ang="0">
                  <a:pos x="T0" y="T1"/>
                </a:cxn>
                <a:cxn ang="0">
                  <a:pos x="T2" y="T3"/>
                </a:cxn>
                <a:cxn ang="0">
                  <a:pos x="T4" y="T5"/>
                </a:cxn>
                <a:cxn ang="0">
                  <a:pos x="T6" y="T7"/>
                </a:cxn>
              </a:cxnLst>
              <a:rect l="0" t="0" r="r" b="b"/>
              <a:pathLst>
                <a:path w="4" h="3">
                  <a:moveTo>
                    <a:pt x="0" y="0"/>
                  </a:moveTo>
                  <a:lnTo>
                    <a:pt x="3" y="0"/>
                  </a:lnTo>
                  <a:lnTo>
                    <a:pt x="4" y="3"/>
                  </a:lnTo>
                  <a:lnTo>
                    <a:pt x="4" y="3"/>
                  </a:lnTo>
                </a:path>
              </a:pathLst>
            </a:custGeom>
            <a:noFill/>
            <a:ln w="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04" name="Freeform 1784"/>
            <p:cNvSpPr>
              <a:spLocks/>
            </p:cNvSpPr>
            <p:nvPr/>
          </p:nvSpPr>
          <p:spPr bwMode="auto">
            <a:xfrm>
              <a:off x="5173663" y="4459716"/>
              <a:ext cx="0" cy="7938"/>
            </a:xfrm>
            <a:custGeom>
              <a:avLst/>
              <a:gdLst>
                <a:gd name="T0" fmla="*/ 0 h 5"/>
                <a:gd name="T1" fmla="*/ 3 h 5"/>
                <a:gd name="T2" fmla="*/ 5 h 5"/>
              </a:gdLst>
              <a:ahLst/>
              <a:cxnLst>
                <a:cxn ang="0">
                  <a:pos x="0" y="T0"/>
                </a:cxn>
                <a:cxn ang="0">
                  <a:pos x="0" y="T1"/>
                </a:cxn>
                <a:cxn ang="0">
                  <a:pos x="0" y="T2"/>
                </a:cxn>
              </a:cxnLst>
              <a:rect l="0" t="0" r="r" b="b"/>
              <a:pathLst>
                <a:path h="5">
                  <a:moveTo>
                    <a:pt x="0" y="0"/>
                  </a:moveTo>
                  <a:lnTo>
                    <a:pt x="0" y="3"/>
                  </a:lnTo>
                  <a:lnTo>
                    <a:pt x="0" y="5"/>
                  </a:lnTo>
                </a:path>
              </a:pathLst>
            </a:custGeom>
            <a:noFill/>
            <a:ln w="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05" name="Line 1785"/>
            <p:cNvSpPr>
              <a:spLocks noChangeShapeType="1"/>
            </p:cNvSpPr>
            <p:nvPr/>
          </p:nvSpPr>
          <p:spPr bwMode="auto">
            <a:xfrm>
              <a:off x="5175251" y="4477179"/>
              <a:ext cx="7938" cy="4763"/>
            </a:xfrm>
            <a:prstGeom prst="line">
              <a:avLst/>
            </a:prstGeom>
            <a:noFill/>
            <a:ln w="3">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1406" name="Line 1786"/>
            <p:cNvSpPr>
              <a:spLocks noChangeShapeType="1"/>
            </p:cNvSpPr>
            <p:nvPr/>
          </p:nvSpPr>
          <p:spPr bwMode="auto">
            <a:xfrm>
              <a:off x="5189538" y="4488291"/>
              <a:ext cx="6350" cy="4763"/>
            </a:xfrm>
            <a:prstGeom prst="line">
              <a:avLst/>
            </a:prstGeom>
            <a:noFill/>
            <a:ln w="3">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grpSp>
      <p:sp>
        <p:nvSpPr>
          <p:cNvPr id="497" name="TextBox 496"/>
          <p:cNvSpPr txBox="1"/>
          <p:nvPr/>
        </p:nvSpPr>
        <p:spPr>
          <a:xfrm>
            <a:off x="1625496" y="1131571"/>
            <a:ext cx="1356166" cy="169944"/>
          </a:xfrm>
          <a:prstGeom prst="rect">
            <a:avLst/>
          </a:prstGeom>
          <a:noFill/>
        </p:spPr>
        <p:txBody>
          <a:bodyPr wrap="none" lIns="27000" tIns="27000" rIns="27000" bIns="27000" rtlCol="0">
            <a:spAutoFit/>
          </a:bodyPr>
          <a:lstStyle/>
          <a:p>
            <a:pPr defTabSz="685800">
              <a:buClrTx/>
            </a:pPr>
            <a:r>
              <a:rPr lang="en-US" sz="750" b="1" kern="1200" dirty="0">
                <a:solidFill>
                  <a:srgbClr val="81BC00"/>
                </a:solidFill>
                <a:ea typeface="+mn-ea"/>
                <a:cs typeface="+mn-cs"/>
              </a:rPr>
              <a:t>Europe / Middle East / Africa</a:t>
            </a:r>
          </a:p>
        </p:txBody>
      </p:sp>
      <p:sp>
        <p:nvSpPr>
          <p:cNvPr id="1607" name="Rectangle 1606"/>
          <p:cNvSpPr/>
          <p:nvPr/>
        </p:nvSpPr>
        <p:spPr>
          <a:xfrm>
            <a:off x="1453436" y="1110582"/>
            <a:ext cx="130568" cy="216110"/>
          </a:xfrm>
          <a:prstGeom prst="rect">
            <a:avLst/>
          </a:pr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2" name="TextBox 1"/>
          <p:cNvSpPr txBox="1"/>
          <p:nvPr/>
        </p:nvSpPr>
        <p:spPr>
          <a:xfrm>
            <a:off x="5337546" y="733806"/>
            <a:ext cx="2663455" cy="1107996"/>
          </a:xfrm>
          <a:prstGeom prst="rect">
            <a:avLst/>
          </a:prstGeom>
          <a:solidFill>
            <a:srgbClr val="ED1B2F"/>
          </a:solidFill>
        </p:spPr>
        <p:txBody>
          <a:bodyPr wrap="square" lIns="68580" tIns="68580" rIns="68580" bIns="68580" rtlCol="0">
            <a:spAutoFit/>
          </a:bodyPr>
          <a:lstStyle/>
          <a:p>
            <a:pPr defTabSz="685800">
              <a:buClrTx/>
            </a:pPr>
            <a:r>
              <a:rPr lang="en-US" sz="1050" kern="1200" dirty="0">
                <a:solidFill>
                  <a:prstClr val="white"/>
                </a:solidFill>
                <a:ea typeface="+mn-ea"/>
                <a:cs typeface="+mn-cs"/>
              </a:rPr>
              <a:t>Maps are for directional purposes only and are not intended to be exact renditions of country borders. For specific information about country borders and maps, please contact the local member firm.</a:t>
            </a:r>
          </a:p>
        </p:txBody>
      </p:sp>
    </p:spTree>
    <p:extLst>
      <p:ext uri="{BB962C8B-B14F-4D97-AF65-F5344CB8AC3E}">
        <p14:creationId xmlns:p14="http://schemas.microsoft.com/office/powerpoint/2010/main" val="1548385325"/>
      </p:ext>
    </p:extLst>
  </p:cSld>
  <p:clrMapOvr>
    <a:masterClrMapping/>
  </p:clrMapOvr>
  <p:transition>
    <p:fade/>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7585" name="Title 1"/>
          <p:cNvSpPr>
            <a:spLocks noGrp="1"/>
          </p:cNvSpPr>
          <p:nvPr>
            <p:ph type="title"/>
          </p:nvPr>
        </p:nvSpPr>
        <p:spPr/>
        <p:txBody>
          <a:bodyPr/>
          <a:lstStyle/>
          <a:p>
            <a:r>
              <a:rPr lang="en-US" altLang="ja-JP" dirty="0">
                <a:solidFill>
                  <a:srgbClr val="81BC00"/>
                </a:solidFill>
              </a:rPr>
              <a:t>Maps  </a:t>
            </a:r>
            <a:br>
              <a:rPr lang="en-US" altLang="ja-JP" dirty="0">
                <a:solidFill>
                  <a:srgbClr val="81BC00"/>
                </a:solidFill>
              </a:rPr>
            </a:br>
            <a:r>
              <a:rPr lang="en-US" altLang="ja-JP" dirty="0">
                <a:solidFill>
                  <a:srgbClr val="575757"/>
                </a:solidFill>
              </a:rPr>
              <a:t>Regions</a:t>
            </a:r>
            <a:endParaRPr lang="en-US" dirty="0">
              <a:solidFill>
                <a:srgbClr val="575757"/>
              </a:solidFill>
            </a:endParaRPr>
          </a:p>
        </p:txBody>
      </p:sp>
      <p:sp>
        <p:nvSpPr>
          <p:cNvPr id="61" name="Rectangle 3"/>
          <p:cNvSpPr>
            <a:spLocks noChangeArrowheads="1"/>
          </p:cNvSpPr>
          <p:nvPr/>
        </p:nvSpPr>
        <p:spPr bwMode="auto">
          <a:xfrm>
            <a:off x="5337545" y="1"/>
            <a:ext cx="2663456" cy="600164"/>
          </a:xfrm>
          <a:prstGeom prst="rect">
            <a:avLst/>
          </a:prstGeom>
          <a:solidFill>
            <a:schemeClr val="accent6"/>
          </a:solidFill>
          <a:ln w="6350" algn="ctr">
            <a:solidFill>
              <a:schemeClr val="bg1"/>
            </a:solidFill>
            <a:miter lim="800000"/>
            <a:headEnd/>
            <a:tailEnd/>
          </a:ln>
        </p:spPr>
        <p:txBody>
          <a:bodyPr wrap="square" tIns="68580" bIns="68580">
            <a:spAutoFit/>
          </a:bodyPr>
          <a:lstStyle/>
          <a:p>
            <a:pPr defTabSz="685800">
              <a:buClrTx/>
              <a:defRPr/>
            </a:pPr>
            <a:r>
              <a:rPr lang="en-US" altLang="ja-JP" sz="750" kern="1200" dirty="0">
                <a:solidFill>
                  <a:srgbClr val="313131"/>
                </a:solidFill>
                <a:ea typeface="ＭＳ Ｐゴシック" pitchFamily="50" charset="-128"/>
                <a:cs typeface="+mn-cs"/>
              </a:rPr>
              <a:t>Tip! Click once to select the entire map, and again to select one or more states within it</a:t>
            </a:r>
            <a:br>
              <a:rPr lang="en-US" altLang="ja-JP" sz="750" kern="1200" dirty="0">
                <a:solidFill>
                  <a:srgbClr val="313131"/>
                </a:solidFill>
                <a:ea typeface="ＭＳ Ｐゴシック" pitchFamily="50" charset="-128"/>
                <a:cs typeface="+mn-cs"/>
              </a:rPr>
            </a:br>
            <a:r>
              <a:rPr lang="en-US" altLang="ja-JP" sz="750" kern="1200" dirty="0">
                <a:solidFill>
                  <a:srgbClr val="313131"/>
                </a:solidFill>
                <a:ea typeface="ＭＳ Ｐゴシック" pitchFamily="50" charset="-128"/>
                <a:cs typeface="+mn-cs"/>
              </a:rPr>
              <a:t>Country/regional maps are a representative sample – more will be added</a:t>
            </a:r>
            <a:endParaRPr lang="en-US" sz="750" kern="1200" dirty="0">
              <a:solidFill>
                <a:srgbClr val="313131"/>
              </a:solidFill>
              <a:ea typeface="ＭＳ Ｐゴシック" pitchFamily="50" charset="-128"/>
              <a:cs typeface="+mn-cs"/>
            </a:endParaRPr>
          </a:p>
        </p:txBody>
      </p:sp>
      <p:sp>
        <p:nvSpPr>
          <p:cNvPr id="169" name="Text Placeholder 3"/>
          <p:cNvSpPr txBox="1">
            <a:spLocks/>
          </p:cNvSpPr>
          <p:nvPr/>
        </p:nvSpPr>
        <p:spPr>
          <a:xfrm>
            <a:off x="5482835" y="1358100"/>
            <a:ext cx="2227437" cy="34020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5979" indent="-205979" defTabSz="685800">
              <a:spcBef>
                <a:spcPts val="900"/>
              </a:spcBef>
              <a:buClrTx/>
              <a:defRPr/>
            </a:pPr>
            <a:r>
              <a:rPr lang="en-GB" sz="1350" dirty="0">
                <a:solidFill>
                  <a:srgbClr val="313131"/>
                </a:solidFill>
                <a:latin typeface="Arial"/>
              </a:rPr>
              <a:t>This is a level one bullet this is dummy text</a:t>
            </a:r>
          </a:p>
          <a:p>
            <a:pPr marL="205979" indent="-205979" defTabSz="685800">
              <a:spcBef>
                <a:spcPts val="900"/>
              </a:spcBef>
              <a:buClrTx/>
              <a:defRPr/>
            </a:pPr>
            <a:r>
              <a:rPr lang="en-GB" sz="1350" dirty="0">
                <a:solidFill>
                  <a:srgbClr val="313131"/>
                </a:solidFill>
                <a:latin typeface="Arial"/>
              </a:rPr>
              <a:t>This is a level one bullet this is dummy text</a:t>
            </a:r>
          </a:p>
          <a:p>
            <a:pPr marL="205979" indent="-205979" defTabSz="685800">
              <a:spcBef>
                <a:spcPts val="900"/>
              </a:spcBef>
              <a:buClrTx/>
              <a:defRPr/>
            </a:pPr>
            <a:r>
              <a:rPr lang="en-GB" sz="1350" dirty="0">
                <a:solidFill>
                  <a:srgbClr val="313131"/>
                </a:solidFill>
                <a:latin typeface="Arial"/>
              </a:rPr>
              <a:t>This is a level one bullet this is dummy text</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205979" indent="-205979" defTabSz="685800">
              <a:spcBef>
                <a:spcPts val="900"/>
              </a:spcBef>
              <a:buClrTx/>
              <a:defRPr/>
            </a:pPr>
            <a:endParaRPr lang="en-GB" sz="1350" dirty="0">
              <a:solidFill>
                <a:srgbClr val="313131"/>
              </a:solidFill>
              <a:latin typeface="Arial"/>
            </a:endParaRPr>
          </a:p>
          <a:p>
            <a:pPr marL="205979" indent="-205979" defTabSz="685800">
              <a:spcBef>
                <a:spcPts val="900"/>
              </a:spcBef>
              <a:buClrTx/>
              <a:defRPr/>
            </a:pPr>
            <a:endParaRPr lang="en-GB" sz="1350" dirty="0">
              <a:solidFill>
                <a:srgbClr val="313131"/>
              </a:solidFill>
              <a:latin typeface="Arial"/>
            </a:endParaRPr>
          </a:p>
        </p:txBody>
      </p:sp>
      <p:sp>
        <p:nvSpPr>
          <p:cNvPr id="2" name="TextBox 1"/>
          <p:cNvSpPr txBox="1"/>
          <p:nvPr/>
        </p:nvSpPr>
        <p:spPr>
          <a:xfrm>
            <a:off x="5340096" y="733806"/>
            <a:ext cx="2663455" cy="1107996"/>
          </a:xfrm>
          <a:prstGeom prst="rect">
            <a:avLst/>
          </a:prstGeom>
          <a:solidFill>
            <a:srgbClr val="ED1B2F"/>
          </a:solidFill>
        </p:spPr>
        <p:txBody>
          <a:bodyPr wrap="square" lIns="68580" tIns="68580" rIns="68580" bIns="68580" rtlCol="0">
            <a:spAutoFit/>
          </a:bodyPr>
          <a:lstStyle/>
          <a:p>
            <a:pPr defTabSz="685800">
              <a:buClrTx/>
            </a:pPr>
            <a:r>
              <a:rPr lang="en-US" sz="1050" kern="1200" dirty="0">
                <a:solidFill>
                  <a:prstClr val="white"/>
                </a:solidFill>
                <a:ea typeface="+mn-ea"/>
                <a:cs typeface="+mn-cs"/>
              </a:rPr>
              <a:t>Maps are for directional purposes only and are not intended to be exact renditions of country borders. For specific information about country borders and maps, please contact the local member firm.</a:t>
            </a:r>
          </a:p>
        </p:txBody>
      </p:sp>
      <p:sp>
        <p:nvSpPr>
          <p:cNvPr id="497" name="TextBox 496"/>
          <p:cNvSpPr txBox="1"/>
          <p:nvPr/>
        </p:nvSpPr>
        <p:spPr>
          <a:xfrm>
            <a:off x="1625496" y="1131571"/>
            <a:ext cx="593136" cy="169944"/>
          </a:xfrm>
          <a:prstGeom prst="rect">
            <a:avLst/>
          </a:prstGeom>
          <a:noFill/>
        </p:spPr>
        <p:txBody>
          <a:bodyPr wrap="none" lIns="27000" tIns="27000" rIns="27000" bIns="27000" rtlCol="0">
            <a:spAutoFit/>
          </a:bodyPr>
          <a:lstStyle/>
          <a:p>
            <a:pPr defTabSz="685800">
              <a:buClrTx/>
            </a:pPr>
            <a:r>
              <a:rPr lang="en-US" sz="750" b="1" kern="1200" dirty="0">
                <a:solidFill>
                  <a:srgbClr val="52D0FF"/>
                </a:solidFill>
                <a:ea typeface="+mn-ea"/>
                <a:cs typeface="+mn-cs"/>
              </a:rPr>
              <a:t>Asia Pacific</a:t>
            </a:r>
          </a:p>
        </p:txBody>
      </p:sp>
      <p:sp>
        <p:nvSpPr>
          <p:cNvPr id="498" name="Rectangle 497"/>
          <p:cNvSpPr/>
          <p:nvPr/>
        </p:nvSpPr>
        <p:spPr>
          <a:xfrm>
            <a:off x="1453436" y="1109374"/>
            <a:ext cx="130568" cy="216110"/>
          </a:xfrm>
          <a:prstGeom prst="rect">
            <a:avLst/>
          </a:prstGeom>
          <a:solidFill>
            <a:srgbClr val="52D0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nvGrpSpPr>
          <p:cNvPr id="499" name="Group 498"/>
          <p:cNvGrpSpPr/>
          <p:nvPr/>
        </p:nvGrpSpPr>
        <p:grpSpPr>
          <a:xfrm>
            <a:off x="1838663" y="1377992"/>
            <a:ext cx="3436933" cy="2927586"/>
            <a:chOff x="5508625" y="3008314"/>
            <a:chExt cx="3567114" cy="3038475"/>
          </a:xfrm>
        </p:grpSpPr>
        <p:sp>
          <p:nvSpPr>
            <p:cNvPr id="500" name="Freeform 283"/>
            <p:cNvSpPr>
              <a:spLocks/>
            </p:cNvSpPr>
            <p:nvPr/>
          </p:nvSpPr>
          <p:spPr bwMode="auto">
            <a:xfrm>
              <a:off x="6573838" y="3967163"/>
              <a:ext cx="87313" cy="46038"/>
            </a:xfrm>
            <a:custGeom>
              <a:avLst/>
              <a:gdLst>
                <a:gd name="T0" fmla="*/ 23 w 55"/>
                <a:gd name="T1" fmla="*/ 29 h 29"/>
                <a:gd name="T2" fmla="*/ 23 w 55"/>
                <a:gd name="T3" fmla="*/ 29 h 29"/>
                <a:gd name="T4" fmla="*/ 17 w 55"/>
                <a:gd name="T5" fmla="*/ 27 h 29"/>
                <a:gd name="T6" fmla="*/ 7 w 55"/>
                <a:gd name="T7" fmla="*/ 24 h 29"/>
                <a:gd name="T8" fmla="*/ 7 w 55"/>
                <a:gd name="T9" fmla="*/ 24 h 29"/>
                <a:gd name="T10" fmla="*/ 4 w 55"/>
                <a:gd name="T11" fmla="*/ 21 h 29"/>
                <a:gd name="T12" fmla="*/ 1 w 55"/>
                <a:gd name="T13" fmla="*/ 18 h 29"/>
                <a:gd name="T14" fmla="*/ 1 w 55"/>
                <a:gd name="T15" fmla="*/ 18 h 29"/>
                <a:gd name="T16" fmla="*/ 0 w 55"/>
                <a:gd name="T17" fmla="*/ 20 h 29"/>
                <a:gd name="T18" fmla="*/ 0 w 55"/>
                <a:gd name="T19" fmla="*/ 20 h 29"/>
                <a:gd name="T20" fmla="*/ 0 w 55"/>
                <a:gd name="T21" fmla="*/ 13 h 29"/>
                <a:gd name="T22" fmla="*/ 3 w 55"/>
                <a:gd name="T23" fmla="*/ 1 h 29"/>
                <a:gd name="T24" fmla="*/ 3 w 55"/>
                <a:gd name="T25" fmla="*/ 1 h 29"/>
                <a:gd name="T26" fmla="*/ 20 w 55"/>
                <a:gd name="T27" fmla="*/ 0 h 29"/>
                <a:gd name="T28" fmla="*/ 20 w 55"/>
                <a:gd name="T29" fmla="*/ 0 h 29"/>
                <a:gd name="T30" fmla="*/ 30 w 55"/>
                <a:gd name="T31" fmla="*/ 0 h 29"/>
                <a:gd name="T32" fmla="*/ 37 w 55"/>
                <a:gd name="T33" fmla="*/ 1 h 29"/>
                <a:gd name="T34" fmla="*/ 37 w 55"/>
                <a:gd name="T35" fmla="*/ 1 h 29"/>
                <a:gd name="T36" fmla="*/ 43 w 55"/>
                <a:gd name="T37" fmla="*/ 1 h 29"/>
                <a:gd name="T38" fmla="*/ 43 w 55"/>
                <a:gd name="T39" fmla="*/ 1 h 29"/>
                <a:gd name="T40" fmla="*/ 48 w 55"/>
                <a:gd name="T41" fmla="*/ 1 h 29"/>
                <a:gd name="T42" fmla="*/ 48 w 55"/>
                <a:gd name="T43" fmla="*/ 1 h 29"/>
                <a:gd name="T44" fmla="*/ 53 w 55"/>
                <a:gd name="T45" fmla="*/ 8 h 29"/>
                <a:gd name="T46" fmla="*/ 55 w 55"/>
                <a:gd name="T47" fmla="*/ 14 h 29"/>
                <a:gd name="T48" fmla="*/ 55 w 55"/>
                <a:gd name="T49" fmla="*/ 14 h 29"/>
                <a:gd name="T50" fmla="*/ 53 w 55"/>
                <a:gd name="T51" fmla="*/ 21 h 29"/>
                <a:gd name="T52" fmla="*/ 50 w 55"/>
                <a:gd name="T53" fmla="*/ 24 h 29"/>
                <a:gd name="T54" fmla="*/ 48 w 55"/>
                <a:gd name="T55" fmla="*/ 26 h 29"/>
                <a:gd name="T56" fmla="*/ 48 w 55"/>
                <a:gd name="T57" fmla="*/ 26 h 29"/>
                <a:gd name="T58" fmla="*/ 23 w 55"/>
                <a:gd name="T5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5" h="29">
                  <a:moveTo>
                    <a:pt x="23" y="29"/>
                  </a:moveTo>
                  <a:lnTo>
                    <a:pt x="23" y="29"/>
                  </a:lnTo>
                  <a:lnTo>
                    <a:pt x="17" y="27"/>
                  </a:lnTo>
                  <a:lnTo>
                    <a:pt x="7" y="24"/>
                  </a:lnTo>
                  <a:lnTo>
                    <a:pt x="7" y="24"/>
                  </a:lnTo>
                  <a:lnTo>
                    <a:pt x="4" y="21"/>
                  </a:lnTo>
                  <a:lnTo>
                    <a:pt x="1" y="18"/>
                  </a:lnTo>
                  <a:lnTo>
                    <a:pt x="1" y="18"/>
                  </a:lnTo>
                  <a:lnTo>
                    <a:pt x="0" y="20"/>
                  </a:lnTo>
                  <a:lnTo>
                    <a:pt x="0" y="20"/>
                  </a:lnTo>
                  <a:lnTo>
                    <a:pt x="0" y="13"/>
                  </a:lnTo>
                  <a:lnTo>
                    <a:pt x="3" y="1"/>
                  </a:lnTo>
                  <a:lnTo>
                    <a:pt x="3" y="1"/>
                  </a:lnTo>
                  <a:lnTo>
                    <a:pt x="20" y="0"/>
                  </a:lnTo>
                  <a:lnTo>
                    <a:pt x="20" y="0"/>
                  </a:lnTo>
                  <a:lnTo>
                    <a:pt x="30" y="0"/>
                  </a:lnTo>
                  <a:lnTo>
                    <a:pt x="37" y="1"/>
                  </a:lnTo>
                  <a:lnTo>
                    <a:pt x="37" y="1"/>
                  </a:lnTo>
                  <a:lnTo>
                    <a:pt x="43" y="1"/>
                  </a:lnTo>
                  <a:lnTo>
                    <a:pt x="43" y="1"/>
                  </a:lnTo>
                  <a:lnTo>
                    <a:pt x="48" y="1"/>
                  </a:lnTo>
                  <a:lnTo>
                    <a:pt x="48" y="1"/>
                  </a:lnTo>
                  <a:lnTo>
                    <a:pt x="53" y="8"/>
                  </a:lnTo>
                  <a:lnTo>
                    <a:pt x="55" y="14"/>
                  </a:lnTo>
                  <a:lnTo>
                    <a:pt x="55" y="14"/>
                  </a:lnTo>
                  <a:lnTo>
                    <a:pt x="53" y="21"/>
                  </a:lnTo>
                  <a:lnTo>
                    <a:pt x="50" y="24"/>
                  </a:lnTo>
                  <a:lnTo>
                    <a:pt x="48" y="26"/>
                  </a:lnTo>
                  <a:lnTo>
                    <a:pt x="48" y="26"/>
                  </a:lnTo>
                  <a:lnTo>
                    <a:pt x="23" y="29"/>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01" name="Freeform 284"/>
            <p:cNvSpPr>
              <a:spLocks/>
            </p:cNvSpPr>
            <p:nvPr/>
          </p:nvSpPr>
          <p:spPr bwMode="auto">
            <a:xfrm>
              <a:off x="6573838" y="3967163"/>
              <a:ext cx="87313" cy="46038"/>
            </a:xfrm>
            <a:custGeom>
              <a:avLst/>
              <a:gdLst>
                <a:gd name="T0" fmla="*/ 23 w 55"/>
                <a:gd name="T1" fmla="*/ 29 h 29"/>
                <a:gd name="T2" fmla="*/ 23 w 55"/>
                <a:gd name="T3" fmla="*/ 29 h 29"/>
                <a:gd name="T4" fmla="*/ 17 w 55"/>
                <a:gd name="T5" fmla="*/ 27 h 29"/>
                <a:gd name="T6" fmla="*/ 7 w 55"/>
                <a:gd name="T7" fmla="*/ 24 h 29"/>
                <a:gd name="T8" fmla="*/ 7 w 55"/>
                <a:gd name="T9" fmla="*/ 24 h 29"/>
                <a:gd name="T10" fmla="*/ 4 w 55"/>
                <a:gd name="T11" fmla="*/ 21 h 29"/>
                <a:gd name="T12" fmla="*/ 1 w 55"/>
                <a:gd name="T13" fmla="*/ 18 h 29"/>
                <a:gd name="T14" fmla="*/ 1 w 55"/>
                <a:gd name="T15" fmla="*/ 18 h 29"/>
                <a:gd name="T16" fmla="*/ 0 w 55"/>
                <a:gd name="T17" fmla="*/ 20 h 29"/>
                <a:gd name="T18" fmla="*/ 0 w 55"/>
                <a:gd name="T19" fmla="*/ 20 h 29"/>
                <a:gd name="T20" fmla="*/ 0 w 55"/>
                <a:gd name="T21" fmla="*/ 13 h 29"/>
                <a:gd name="T22" fmla="*/ 3 w 55"/>
                <a:gd name="T23" fmla="*/ 1 h 29"/>
                <a:gd name="T24" fmla="*/ 3 w 55"/>
                <a:gd name="T25" fmla="*/ 1 h 29"/>
                <a:gd name="T26" fmla="*/ 20 w 55"/>
                <a:gd name="T27" fmla="*/ 0 h 29"/>
                <a:gd name="T28" fmla="*/ 20 w 55"/>
                <a:gd name="T29" fmla="*/ 0 h 29"/>
                <a:gd name="T30" fmla="*/ 30 w 55"/>
                <a:gd name="T31" fmla="*/ 0 h 29"/>
                <a:gd name="T32" fmla="*/ 37 w 55"/>
                <a:gd name="T33" fmla="*/ 1 h 29"/>
                <a:gd name="T34" fmla="*/ 37 w 55"/>
                <a:gd name="T35" fmla="*/ 1 h 29"/>
                <a:gd name="T36" fmla="*/ 43 w 55"/>
                <a:gd name="T37" fmla="*/ 1 h 29"/>
                <a:gd name="T38" fmla="*/ 43 w 55"/>
                <a:gd name="T39" fmla="*/ 1 h 29"/>
                <a:gd name="T40" fmla="*/ 48 w 55"/>
                <a:gd name="T41" fmla="*/ 1 h 29"/>
                <a:gd name="T42" fmla="*/ 48 w 55"/>
                <a:gd name="T43" fmla="*/ 1 h 29"/>
                <a:gd name="T44" fmla="*/ 53 w 55"/>
                <a:gd name="T45" fmla="*/ 8 h 29"/>
                <a:gd name="T46" fmla="*/ 55 w 55"/>
                <a:gd name="T47" fmla="*/ 14 h 29"/>
                <a:gd name="T48" fmla="*/ 55 w 55"/>
                <a:gd name="T49" fmla="*/ 14 h 29"/>
                <a:gd name="T50" fmla="*/ 53 w 55"/>
                <a:gd name="T51" fmla="*/ 21 h 29"/>
                <a:gd name="T52" fmla="*/ 50 w 55"/>
                <a:gd name="T53" fmla="*/ 24 h 29"/>
                <a:gd name="T54" fmla="*/ 48 w 55"/>
                <a:gd name="T55" fmla="*/ 26 h 29"/>
                <a:gd name="T56" fmla="*/ 48 w 55"/>
                <a:gd name="T57" fmla="*/ 26 h 29"/>
                <a:gd name="T58" fmla="*/ 23 w 55"/>
                <a:gd name="T5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5" h="29">
                  <a:moveTo>
                    <a:pt x="23" y="29"/>
                  </a:moveTo>
                  <a:lnTo>
                    <a:pt x="23" y="29"/>
                  </a:lnTo>
                  <a:lnTo>
                    <a:pt x="17" y="27"/>
                  </a:lnTo>
                  <a:lnTo>
                    <a:pt x="7" y="24"/>
                  </a:lnTo>
                  <a:lnTo>
                    <a:pt x="7" y="24"/>
                  </a:lnTo>
                  <a:lnTo>
                    <a:pt x="4" y="21"/>
                  </a:lnTo>
                  <a:lnTo>
                    <a:pt x="1" y="18"/>
                  </a:lnTo>
                  <a:lnTo>
                    <a:pt x="1" y="18"/>
                  </a:lnTo>
                  <a:lnTo>
                    <a:pt x="0" y="20"/>
                  </a:lnTo>
                  <a:lnTo>
                    <a:pt x="0" y="20"/>
                  </a:lnTo>
                  <a:lnTo>
                    <a:pt x="0" y="13"/>
                  </a:lnTo>
                  <a:lnTo>
                    <a:pt x="3" y="1"/>
                  </a:lnTo>
                  <a:lnTo>
                    <a:pt x="3" y="1"/>
                  </a:lnTo>
                  <a:lnTo>
                    <a:pt x="20" y="0"/>
                  </a:lnTo>
                  <a:lnTo>
                    <a:pt x="20" y="0"/>
                  </a:lnTo>
                  <a:lnTo>
                    <a:pt x="30" y="0"/>
                  </a:lnTo>
                  <a:lnTo>
                    <a:pt x="37" y="1"/>
                  </a:lnTo>
                  <a:lnTo>
                    <a:pt x="37" y="1"/>
                  </a:lnTo>
                  <a:lnTo>
                    <a:pt x="43" y="1"/>
                  </a:lnTo>
                  <a:lnTo>
                    <a:pt x="43" y="1"/>
                  </a:lnTo>
                  <a:lnTo>
                    <a:pt x="48" y="1"/>
                  </a:lnTo>
                  <a:lnTo>
                    <a:pt x="48" y="1"/>
                  </a:lnTo>
                  <a:lnTo>
                    <a:pt x="53" y="8"/>
                  </a:lnTo>
                  <a:lnTo>
                    <a:pt x="55" y="14"/>
                  </a:lnTo>
                  <a:lnTo>
                    <a:pt x="55" y="14"/>
                  </a:lnTo>
                  <a:lnTo>
                    <a:pt x="53" y="21"/>
                  </a:lnTo>
                  <a:lnTo>
                    <a:pt x="50" y="24"/>
                  </a:lnTo>
                  <a:lnTo>
                    <a:pt x="48" y="26"/>
                  </a:lnTo>
                  <a:lnTo>
                    <a:pt x="48" y="26"/>
                  </a:lnTo>
                  <a:lnTo>
                    <a:pt x="23" y="2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02" name="Freeform 285"/>
            <p:cNvSpPr>
              <a:spLocks/>
            </p:cNvSpPr>
            <p:nvPr/>
          </p:nvSpPr>
          <p:spPr bwMode="auto">
            <a:xfrm>
              <a:off x="6373813" y="3908426"/>
              <a:ext cx="200025" cy="104775"/>
            </a:xfrm>
            <a:custGeom>
              <a:avLst/>
              <a:gdLst>
                <a:gd name="T0" fmla="*/ 27 w 126"/>
                <a:gd name="T1" fmla="*/ 45 h 66"/>
                <a:gd name="T2" fmla="*/ 27 w 126"/>
                <a:gd name="T3" fmla="*/ 45 h 66"/>
                <a:gd name="T4" fmla="*/ 45 w 126"/>
                <a:gd name="T5" fmla="*/ 50 h 66"/>
                <a:gd name="T6" fmla="*/ 45 w 126"/>
                <a:gd name="T7" fmla="*/ 50 h 66"/>
                <a:gd name="T8" fmla="*/ 49 w 126"/>
                <a:gd name="T9" fmla="*/ 50 h 66"/>
                <a:gd name="T10" fmla="*/ 55 w 126"/>
                <a:gd name="T11" fmla="*/ 50 h 66"/>
                <a:gd name="T12" fmla="*/ 55 w 126"/>
                <a:gd name="T13" fmla="*/ 50 h 66"/>
                <a:gd name="T14" fmla="*/ 61 w 126"/>
                <a:gd name="T15" fmla="*/ 51 h 66"/>
                <a:gd name="T16" fmla="*/ 68 w 126"/>
                <a:gd name="T17" fmla="*/ 57 h 66"/>
                <a:gd name="T18" fmla="*/ 68 w 126"/>
                <a:gd name="T19" fmla="*/ 57 h 66"/>
                <a:gd name="T20" fmla="*/ 74 w 126"/>
                <a:gd name="T21" fmla="*/ 60 h 66"/>
                <a:gd name="T22" fmla="*/ 78 w 126"/>
                <a:gd name="T23" fmla="*/ 61 h 66"/>
                <a:gd name="T24" fmla="*/ 90 w 126"/>
                <a:gd name="T25" fmla="*/ 64 h 66"/>
                <a:gd name="T26" fmla="*/ 90 w 126"/>
                <a:gd name="T27" fmla="*/ 64 h 66"/>
                <a:gd name="T28" fmla="*/ 119 w 126"/>
                <a:gd name="T29" fmla="*/ 66 h 66"/>
                <a:gd name="T30" fmla="*/ 119 w 126"/>
                <a:gd name="T31" fmla="*/ 66 h 66"/>
                <a:gd name="T32" fmla="*/ 120 w 126"/>
                <a:gd name="T33" fmla="*/ 63 h 66"/>
                <a:gd name="T34" fmla="*/ 121 w 126"/>
                <a:gd name="T35" fmla="*/ 58 h 66"/>
                <a:gd name="T36" fmla="*/ 126 w 126"/>
                <a:gd name="T37" fmla="*/ 42 h 66"/>
                <a:gd name="T38" fmla="*/ 126 w 126"/>
                <a:gd name="T39" fmla="*/ 42 h 66"/>
                <a:gd name="T40" fmla="*/ 111 w 126"/>
                <a:gd name="T41" fmla="*/ 47 h 66"/>
                <a:gd name="T42" fmla="*/ 111 w 126"/>
                <a:gd name="T43" fmla="*/ 47 h 66"/>
                <a:gd name="T44" fmla="*/ 104 w 126"/>
                <a:gd name="T45" fmla="*/ 45 h 66"/>
                <a:gd name="T46" fmla="*/ 95 w 126"/>
                <a:gd name="T47" fmla="*/ 42 h 66"/>
                <a:gd name="T48" fmla="*/ 79 w 126"/>
                <a:gd name="T49" fmla="*/ 37 h 66"/>
                <a:gd name="T50" fmla="*/ 79 w 126"/>
                <a:gd name="T51" fmla="*/ 37 h 66"/>
                <a:gd name="T52" fmla="*/ 75 w 126"/>
                <a:gd name="T53" fmla="*/ 35 h 66"/>
                <a:gd name="T54" fmla="*/ 69 w 126"/>
                <a:gd name="T55" fmla="*/ 31 h 66"/>
                <a:gd name="T56" fmla="*/ 59 w 126"/>
                <a:gd name="T57" fmla="*/ 19 h 66"/>
                <a:gd name="T58" fmla="*/ 59 w 126"/>
                <a:gd name="T59" fmla="*/ 19 h 66"/>
                <a:gd name="T60" fmla="*/ 55 w 126"/>
                <a:gd name="T61" fmla="*/ 16 h 66"/>
                <a:gd name="T62" fmla="*/ 52 w 126"/>
                <a:gd name="T63" fmla="*/ 15 h 66"/>
                <a:gd name="T64" fmla="*/ 43 w 126"/>
                <a:gd name="T65" fmla="*/ 12 h 66"/>
                <a:gd name="T66" fmla="*/ 43 w 126"/>
                <a:gd name="T67" fmla="*/ 12 h 66"/>
                <a:gd name="T68" fmla="*/ 29 w 126"/>
                <a:gd name="T69" fmla="*/ 6 h 66"/>
                <a:gd name="T70" fmla="*/ 20 w 126"/>
                <a:gd name="T71" fmla="*/ 3 h 66"/>
                <a:gd name="T72" fmla="*/ 14 w 126"/>
                <a:gd name="T73" fmla="*/ 2 h 66"/>
                <a:gd name="T74" fmla="*/ 14 w 126"/>
                <a:gd name="T75" fmla="*/ 2 h 66"/>
                <a:gd name="T76" fmla="*/ 6 w 126"/>
                <a:gd name="T77" fmla="*/ 0 h 66"/>
                <a:gd name="T78" fmla="*/ 6 w 126"/>
                <a:gd name="T79" fmla="*/ 0 h 66"/>
                <a:gd name="T80" fmla="*/ 1 w 126"/>
                <a:gd name="T81" fmla="*/ 15 h 66"/>
                <a:gd name="T82" fmla="*/ 0 w 126"/>
                <a:gd name="T83" fmla="*/ 25 h 66"/>
                <a:gd name="T84" fmla="*/ 0 w 126"/>
                <a:gd name="T85" fmla="*/ 25 h 66"/>
                <a:gd name="T86" fmla="*/ 4 w 126"/>
                <a:gd name="T87" fmla="*/ 29 h 66"/>
                <a:gd name="T88" fmla="*/ 13 w 126"/>
                <a:gd name="T89" fmla="*/ 35 h 66"/>
                <a:gd name="T90" fmla="*/ 27 w 126"/>
                <a:gd name="T91" fmla="*/ 4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6" h="66">
                  <a:moveTo>
                    <a:pt x="27" y="45"/>
                  </a:moveTo>
                  <a:lnTo>
                    <a:pt x="27" y="45"/>
                  </a:lnTo>
                  <a:lnTo>
                    <a:pt x="45" y="50"/>
                  </a:lnTo>
                  <a:lnTo>
                    <a:pt x="45" y="50"/>
                  </a:lnTo>
                  <a:lnTo>
                    <a:pt x="49" y="50"/>
                  </a:lnTo>
                  <a:lnTo>
                    <a:pt x="55" y="50"/>
                  </a:lnTo>
                  <a:lnTo>
                    <a:pt x="55" y="50"/>
                  </a:lnTo>
                  <a:lnTo>
                    <a:pt x="61" y="51"/>
                  </a:lnTo>
                  <a:lnTo>
                    <a:pt x="68" y="57"/>
                  </a:lnTo>
                  <a:lnTo>
                    <a:pt x="68" y="57"/>
                  </a:lnTo>
                  <a:lnTo>
                    <a:pt x="74" y="60"/>
                  </a:lnTo>
                  <a:lnTo>
                    <a:pt x="78" y="61"/>
                  </a:lnTo>
                  <a:lnTo>
                    <a:pt x="90" y="64"/>
                  </a:lnTo>
                  <a:lnTo>
                    <a:pt x="90" y="64"/>
                  </a:lnTo>
                  <a:lnTo>
                    <a:pt x="119" y="66"/>
                  </a:lnTo>
                  <a:lnTo>
                    <a:pt x="119" y="66"/>
                  </a:lnTo>
                  <a:lnTo>
                    <a:pt x="120" y="63"/>
                  </a:lnTo>
                  <a:lnTo>
                    <a:pt x="121" y="58"/>
                  </a:lnTo>
                  <a:lnTo>
                    <a:pt x="126" y="42"/>
                  </a:lnTo>
                  <a:lnTo>
                    <a:pt x="126" y="42"/>
                  </a:lnTo>
                  <a:lnTo>
                    <a:pt x="111" y="47"/>
                  </a:lnTo>
                  <a:lnTo>
                    <a:pt x="111" y="47"/>
                  </a:lnTo>
                  <a:lnTo>
                    <a:pt x="104" y="45"/>
                  </a:lnTo>
                  <a:lnTo>
                    <a:pt x="95" y="42"/>
                  </a:lnTo>
                  <a:lnTo>
                    <a:pt x="79" y="37"/>
                  </a:lnTo>
                  <a:lnTo>
                    <a:pt x="79" y="37"/>
                  </a:lnTo>
                  <a:lnTo>
                    <a:pt x="75" y="35"/>
                  </a:lnTo>
                  <a:lnTo>
                    <a:pt x="69" y="31"/>
                  </a:lnTo>
                  <a:lnTo>
                    <a:pt x="59" y="19"/>
                  </a:lnTo>
                  <a:lnTo>
                    <a:pt x="59" y="19"/>
                  </a:lnTo>
                  <a:lnTo>
                    <a:pt x="55" y="16"/>
                  </a:lnTo>
                  <a:lnTo>
                    <a:pt x="52" y="15"/>
                  </a:lnTo>
                  <a:lnTo>
                    <a:pt x="43" y="12"/>
                  </a:lnTo>
                  <a:lnTo>
                    <a:pt x="43" y="12"/>
                  </a:lnTo>
                  <a:lnTo>
                    <a:pt x="29" y="6"/>
                  </a:lnTo>
                  <a:lnTo>
                    <a:pt x="20" y="3"/>
                  </a:lnTo>
                  <a:lnTo>
                    <a:pt x="14" y="2"/>
                  </a:lnTo>
                  <a:lnTo>
                    <a:pt x="14" y="2"/>
                  </a:lnTo>
                  <a:lnTo>
                    <a:pt x="6" y="0"/>
                  </a:lnTo>
                  <a:lnTo>
                    <a:pt x="6" y="0"/>
                  </a:lnTo>
                  <a:lnTo>
                    <a:pt x="1" y="15"/>
                  </a:lnTo>
                  <a:lnTo>
                    <a:pt x="0" y="25"/>
                  </a:lnTo>
                  <a:lnTo>
                    <a:pt x="0" y="25"/>
                  </a:lnTo>
                  <a:lnTo>
                    <a:pt x="4" y="29"/>
                  </a:lnTo>
                  <a:lnTo>
                    <a:pt x="13" y="35"/>
                  </a:lnTo>
                  <a:lnTo>
                    <a:pt x="27" y="45"/>
                  </a:lnTo>
                  <a:close/>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03" name="Freeform 286"/>
            <p:cNvSpPr>
              <a:spLocks/>
            </p:cNvSpPr>
            <p:nvPr/>
          </p:nvSpPr>
          <p:spPr bwMode="auto">
            <a:xfrm>
              <a:off x="6373813" y="3908426"/>
              <a:ext cx="200025" cy="104775"/>
            </a:xfrm>
            <a:custGeom>
              <a:avLst/>
              <a:gdLst>
                <a:gd name="T0" fmla="*/ 27 w 126"/>
                <a:gd name="T1" fmla="*/ 45 h 66"/>
                <a:gd name="T2" fmla="*/ 27 w 126"/>
                <a:gd name="T3" fmla="*/ 45 h 66"/>
                <a:gd name="T4" fmla="*/ 45 w 126"/>
                <a:gd name="T5" fmla="*/ 50 h 66"/>
                <a:gd name="T6" fmla="*/ 45 w 126"/>
                <a:gd name="T7" fmla="*/ 50 h 66"/>
                <a:gd name="T8" fmla="*/ 49 w 126"/>
                <a:gd name="T9" fmla="*/ 50 h 66"/>
                <a:gd name="T10" fmla="*/ 55 w 126"/>
                <a:gd name="T11" fmla="*/ 50 h 66"/>
                <a:gd name="T12" fmla="*/ 55 w 126"/>
                <a:gd name="T13" fmla="*/ 50 h 66"/>
                <a:gd name="T14" fmla="*/ 61 w 126"/>
                <a:gd name="T15" fmla="*/ 51 h 66"/>
                <a:gd name="T16" fmla="*/ 68 w 126"/>
                <a:gd name="T17" fmla="*/ 57 h 66"/>
                <a:gd name="T18" fmla="*/ 68 w 126"/>
                <a:gd name="T19" fmla="*/ 57 h 66"/>
                <a:gd name="T20" fmla="*/ 74 w 126"/>
                <a:gd name="T21" fmla="*/ 60 h 66"/>
                <a:gd name="T22" fmla="*/ 78 w 126"/>
                <a:gd name="T23" fmla="*/ 61 h 66"/>
                <a:gd name="T24" fmla="*/ 90 w 126"/>
                <a:gd name="T25" fmla="*/ 64 h 66"/>
                <a:gd name="T26" fmla="*/ 90 w 126"/>
                <a:gd name="T27" fmla="*/ 64 h 66"/>
                <a:gd name="T28" fmla="*/ 119 w 126"/>
                <a:gd name="T29" fmla="*/ 66 h 66"/>
                <a:gd name="T30" fmla="*/ 119 w 126"/>
                <a:gd name="T31" fmla="*/ 66 h 66"/>
                <a:gd name="T32" fmla="*/ 120 w 126"/>
                <a:gd name="T33" fmla="*/ 63 h 66"/>
                <a:gd name="T34" fmla="*/ 121 w 126"/>
                <a:gd name="T35" fmla="*/ 58 h 66"/>
                <a:gd name="T36" fmla="*/ 126 w 126"/>
                <a:gd name="T37" fmla="*/ 42 h 66"/>
                <a:gd name="T38" fmla="*/ 126 w 126"/>
                <a:gd name="T39" fmla="*/ 42 h 66"/>
                <a:gd name="T40" fmla="*/ 111 w 126"/>
                <a:gd name="T41" fmla="*/ 47 h 66"/>
                <a:gd name="T42" fmla="*/ 111 w 126"/>
                <a:gd name="T43" fmla="*/ 47 h 66"/>
                <a:gd name="T44" fmla="*/ 104 w 126"/>
                <a:gd name="T45" fmla="*/ 45 h 66"/>
                <a:gd name="T46" fmla="*/ 95 w 126"/>
                <a:gd name="T47" fmla="*/ 42 h 66"/>
                <a:gd name="T48" fmla="*/ 79 w 126"/>
                <a:gd name="T49" fmla="*/ 37 h 66"/>
                <a:gd name="T50" fmla="*/ 79 w 126"/>
                <a:gd name="T51" fmla="*/ 37 h 66"/>
                <a:gd name="T52" fmla="*/ 75 w 126"/>
                <a:gd name="T53" fmla="*/ 35 h 66"/>
                <a:gd name="T54" fmla="*/ 69 w 126"/>
                <a:gd name="T55" fmla="*/ 31 h 66"/>
                <a:gd name="T56" fmla="*/ 59 w 126"/>
                <a:gd name="T57" fmla="*/ 19 h 66"/>
                <a:gd name="T58" fmla="*/ 59 w 126"/>
                <a:gd name="T59" fmla="*/ 19 h 66"/>
                <a:gd name="T60" fmla="*/ 55 w 126"/>
                <a:gd name="T61" fmla="*/ 16 h 66"/>
                <a:gd name="T62" fmla="*/ 52 w 126"/>
                <a:gd name="T63" fmla="*/ 15 h 66"/>
                <a:gd name="T64" fmla="*/ 43 w 126"/>
                <a:gd name="T65" fmla="*/ 12 h 66"/>
                <a:gd name="T66" fmla="*/ 43 w 126"/>
                <a:gd name="T67" fmla="*/ 12 h 66"/>
                <a:gd name="T68" fmla="*/ 29 w 126"/>
                <a:gd name="T69" fmla="*/ 6 h 66"/>
                <a:gd name="T70" fmla="*/ 20 w 126"/>
                <a:gd name="T71" fmla="*/ 3 h 66"/>
                <a:gd name="T72" fmla="*/ 14 w 126"/>
                <a:gd name="T73" fmla="*/ 2 h 66"/>
                <a:gd name="T74" fmla="*/ 14 w 126"/>
                <a:gd name="T75" fmla="*/ 2 h 66"/>
                <a:gd name="T76" fmla="*/ 6 w 126"/>
                <a:gd name="T77" fmla="*/ 0 h 66"/>
                <a:gd name="T78" fmla="*/ 6 w 126"/>
                <a:gd name="T79" fmla="*/ 0 h 66"/>
                <a:gd name="T80" fmla="*/ 1 w 126"/>
                <a:gd name="T81" fmla="*/ 15 h 66"/>
                <a:gd name="T82" fmla="*/ 0 w 126"/>
                <a:gd name="T83" fmla="*/ 25 h 66"/>
                <a:gd name="T84" fmla="*/ 0 w 126"/>
                <a:gd name="T85" fmla="*/ 25 h 66"/>
                <a:gd name="T86" fmla="*/ 4 w 126"/>
                <a:gd name="T87" fmla="*/ 29 h 66"/>
                <a:gd name="T88" fmla="*/ 13 w 126"/>
                <a:gd name="T89" fmla="*/ 35 h 66"/>
                <a:gd name="T90" fmla="*/ 27 w 126"/>
                <a:gd name="T91" fmla="*/ 4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6" h="66">
                  <a:moveTo>
                    <a:pt x="27" y="45"/>
                  </a:moveTo>
                  <a:lnTo>
                    <a:pt x="27" y="45"/>
                  </a:lnTo>
                  <a:lnTo>
                    <a:pt x="45" y="50"/>
                  </a:lnTo>
                  <a:lnTo>
                    <a:pt x="45" y="50"/>
                  </a:lnTo>
                  <a:lnTo>
                    <a:pt x="49" y="50"/>
                  </a:lnTo>
                  <a:lnTo>
                    <a:pt x="55" y="50"/>
                  </a:lnTo>
                  <a:lnTo>
                    <a:pt x="55" y="50"/>
                  </a:lnTo>
                  <a:lnTo>
                    <a:pt x="61" y="51"/>
                  </a:lnTo>
                  <a:lnTo>
                    <a:pt x="68" y="57"/>
                  </a:lnTo>
                  <a:lnTo>
                    <a:pt x="68" y="57"/>
                  </a:lnTo>
                  <a:lnTo>
                    <a:pt x="74" y="60"/>
                  </a:lnTo>
                  <a:lnTo>
                    <a:pt x="78" y="61"/>
                  </a:lnTo>
                  <a:lnTo>
                    <a:pt x="90" y="64"/>
                  </a:lnTo>
                  <a:lnTo>
                    <a:pt x="90" y="64"/>
                  </a:lnTo>
                  <a:lnTo>
                    <a:pt x="119" y="66"/>
                  </a:lnTo>
                  <a:lnTo>
                    <a:pt x="119" y="66"/>
                  </a:lnTo>
                  <a:lnTo>
                    <a:pt x="120" y="63"/>
                  </a:lnTo>
                  <a:lnTo>
                    <a:pt x="121" y="58"/>
                  </a:lnTo>
                  <a:lnTo>
                    <a:pt x="126" y="42"/>
                  </a:lnTo>
                  <a:lnTo>
                    <a:pt x="126" y="42"/>
                  </a:lnTo>
                  <a:lnTo>
                    <a:pt x="111" y="47"/>
                  </a:lnTo>
                  <a:lnTo>
                    <a:pt x="111" y="47"/>
                  </a:lnTo>
                  <a:lnTo>
                    <a:pt x="104" y="45"/>
                  </a:lnTo>
                  <a:lnTo>
                    <a:pt x="95" y="42"/>
                  </a:lnTo>
                  <a:lnTo>
                    <a:pt x="79" y="37"/>
                  </a:lnTo>
                  <a:lnTo>
                    <a:pt x="79" y="37"/>
                  </a:lnTo>
                  <a:lnTo>
                    <a:pt x="75" y="35"/>
                  </a:lnTo>
                  <a:lnTo>
                    <a:pt x="69" y="31"/>
                  </a:lnTo>
                  <a:lnTo>
                    <a:pt x="59" y="19"/>
                  </a:lnTo>
                  <a:lnTo>
                    <a:pt x="59" y="19"/>
                  </a:lnTo>
                  <a:lnTo>
                    <a:pt x="55" y="16"/>
                  </a:lnTo>
                  <a:lnTo>
                    <a:pt x="52" y="15"/>
                  </a:lnTo>
                  <a:lnTo>
                    <a:pt x="43" y="12"/>
                  </a:lnTo>
                  <a:lnTo>
                    <a:pt x="43" y="12"/>
                  </a:lnTo>
                  <a:lnTo>
                    <a:pt x="29" y="6"/>
                  </a:lnTo>
                  <a:lnTo>
                    <a:pt x="20" y="3"/>
                  </a:lnTo>
                  <a:lnTo>
                    <a:pt x="14" y="2"/>
                  </a:lnTo>
                  <a:lnTo>
                    <a:pt x="14" y="2"/>
                  </a:lnTo>
                  <a:lnTo>
                    <a:pt x="6" y="0"/>
                  </a:lnTo>
                  <a:lnTo>
                    <a:pt x="6" y="0"/>
                  </a:lnTo>
                  <a:lnTo>
                    <a:pt x="1" y="15"/>
                  </a:lnTo>
                  <a:lnTo>
                    <a:pt x="0" y="25"/>
                  </a:lnTo>
                  <a:lnTo>
                    <a:pt x="0" y="25"/>
                  </a:lnTo>
                  <a:lnTo>
                    <a:pt x="4" y="29"/>
                  </a:lnTo>
                  <a:lnTo>
                    <a:pt x="13" y="35"/>
                  </a:lnTo>
                  <a:lnTo>
                    <a:pt x="27" y="4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04" name="Freeform 287"/>
            <p:cNvSpPr>
              <a:spLocks/>
            </p:cNvSpPr>
            <p:nvPr/>
          </p:nvSpPr>
          <p:spPr bwMode="auto">
            <a:xfrm>
              <a:off x="6932613" y="4111626"/>
              <a:ext cx="174625" cy="392113"/>
            </a:xfrm>
            <a:custGeom>
              <a:avLst/>
              <a:gdLst>
                <a:gd name="T0" fmla="*/ 107 w 110"/>
                <a:gd name="T1" fmla="*/ 149 h 247"/>
                <a:gd name="T2" fmla="*/ 100 w 110"/>
                <a:gd name="T3" fmla="*/ 127 h 247"/>
                <a:gd name="T4" fmla="*/ 84 w 110"/>
                <a:gd name="T5" fmla="*/ 113 h 247"/>
                <a:gd name="T6" fmla="*/ 69 w 110"/>
                <a:gd name="T7" fmla="*/ 94 h 247"/>
                <a:gd name="T8" fmla="*/ 58 w 110"/>
                <a:gd name="T9" fmla="*/ 79 h 247"/>
                <a:gd name="T10" fmla="*/ 55 w 110"/>
                <a:gd name="T11" fmla="*/ 74 h 247"/>
                <a:gd name="T12" fmla="*/ 56 w 110"/>
                <a:gd name="T13" fmla="*/ 61 h 247"/>
                <a:gd name="T14" fmla="*/ 59 w 110"/>
                <a:gd name="T15" fmla="*/ 56 h 247"/>
                <a:gd name="T16" fmla="*/ 68 w 110"/>
                <a:gd name="T17" fmla="*/ 45 h 247"/>
                <a:gd name="T18" fmla="*/ 92 w 110"/>
                <a:gd name="T19" fmla="*/ 32 h 247"/>
                <a:gd name="T20" fmla="*/ 81 w 110"/>
                <a:gd name="T21" fmla="*/ 26 h 247"/>
                <a:gd name="T22" fmla="*/ 66 w 110"/>
                <a:gd name="T23" fmla="*/ 19 h 247"/>
                <a:gd name="T24" fmla="*/ 63 w 110"/>
                <a:gd name="T25" fmla="*/ 10 h 247"/>
                <a:gd name="T26" fmla="*/ 53 w 110"/>
                <a:gd name="T27" fmla="*/ 3 h 247"/>
                <a:gd name="T28" fmla="*/ 39 w 110"/>
                <a:gd name="T29" fmla="*/ 0 h 247"/>
                <a:gd name="T30" fmla="*/ 36 w 110"/>
                <a:gd name="T31" fmla="*/ 6 h 247"/>
                <a:gd name="T32" fmla="*/ 30 w 110"/>
                <a:gd name="T33" fmla="*/ 13 h 247"/>
                <a:gd name="T34" fmla="*/ 23 w 110"/>
                <a:gd name="T35" fmla="*/ 13 h 247"/>
                <a:gd name="T36" fmla="*/ 17 w 110"/>
                <a:gd name="T37" fmla="*/ 10 h 247"/>
                <a:gd name="T38" fmla="*/ 10 w 110"/>
                <a:gd name="T39" fmla="*/ 10 h 247"/>
                <a:gd name="T40" fmla="*/ 4 w 110"/>
                <a:gd name="T41" fmla="*/ 8 h 247"/>
                <a:gd name="T42" fmla="*/ 0 w 110"/>
                <a:gd name="T43" fmla="*/ 16 h 247"/>
                <a:gd name="T44" fmla="*/ 7 w 110"/>
                <a:gd name="T45" fmla="*/ 29 h 247"/>
                <a:gd name="T46" fmla="*/ 19 w 110"/>
                <a:gd name="T47" fmla="*/ 36 h 247"/>
                <a:gd name="T48" fmla="*/ 37 w 110"/>
                <a:gd name="T49" fmla="*/ 62 h 247"/>
                <a:gd name="T50" fmla="*/ 59 w 110"/>
                <a:gd name="T51" fmla="*/ 101 h 247"/>
                <a:gd name="T52" fmla="*/ 78 w 110"/>
                <a:gd name="T53" fmla="*/ 124 h 247"/>
                <a:gd name="T54" fmla="*/ 78 w 110"/>
                <a:gd name="T55" fmla="*/ 137 h 247"/>
                <a:gd name="T56" fmla="*/ 71 w 110"/>
                <a:gd name="T57" fmla="*/ 150 h 247"/>
                <a:gd name="T58" fmla="*/ 78 w 110"/>
                <a:gd name="T59" fmla="*/ 163 h 247"/>
                <a:gd name="T60" fmla="*/ 82 w 110"/>
                <a:gd name="T61" fmla="*/ 185 h 247"/>
                <a:gd name="T62" fmla="*/ 68 w 110"/>
                <a:gd name="T63" fmla="*/ 191 h 247"/>
                <a:gd name="T64" fmla="*/ 56 w 110"/>
                <a:gd name="T65" fmla="*/ 197 h 247"/>
                <a:gd name="T66" fmla="*/ 52 w 110"/>
                <a:gd name="T67" fmla="*/ 204 h 247"/>
                <a:gd name="T68" fmla="*/ 33 w 110"/>
                <a:gd name="T69" fmla="*/ 216 h 247"/>
                <a:gd name="T70" fmla="*/ 42 w 110"/>
                <a:gd name="T71" fmla="*/ 224 h 247"/>
                <a:gd name="T72" fmla="*/ 37 w 110"/>
                <a:gd name="T73" fmla="*/ 242 h 247"/>
                <a:gd name="T74" fmla="*/ 37 w 110"/>
                <a:gd name="T75" fmla="*/ 247 h 247"/>
                <a:gd name="T76" fmla="*/ 49 w 110"/>
                <a:gd name="T77" fmla="*/ 236 h 247"/>
                <a:gd name="T78" fmla="*/ 56 w 110"/>
                <a:gd name="T79" fmla="*/ 233 h 247"/>
                <a:gd name="T80" fmla="*/ 62 w 110"/>
                <a:gd name="T81" fmla="*/ 230 h 247"/>
                <a:gd name="T82" fmla="*/ 68 w 110"/>
                <a:gd name="T83" fmla="*/ 216 h 247"/>
                <a:gd name="T84" fmla="*/ 81 w 110"/>
                <a:gd name="T85" fmla="*/ 216 h 247"/>
                <a:gd name="T86" fmla="*/ 92 w 110"/>
                <a:gd name="T87" fmla="*/ 208 h 247"/>
                <a:gd name="T88" fmla="*/ 105 w 110"/>
                <a:gd name="T89" fmla="*/ 195 h 247"/>
                <a:gd name="T90" fmla="*/ 110 w 110"/>
                <a:gd name="T91" fmla="*/ 171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0" h="247">
                  <a:moveTo>
                    <a:pt x="110" y="163"/>
                  </a:moveTo>
                  <a:lnTo>
                    <a:pt x="110" y="163"/>
                  </a:lnTo>
                  <a:lnTo>
                    <a:pt x="107" y="149"/>
                  </a:lnTo>
                  <a:lnTo>
                    <a:pt x="104" y="133"/>
                  </a:lnTo>
                  <a:lnTo>
                    <a:pt x="104" y="133"/>
                  </a:lnTo>
                  <a:lnTo>
                    <a:pt x="100" y="127"/>
                  </a:lnTo>
                  <a:lnTo>
                    <a:pt x="94" y="121"/>
                  </a:lnTo>
                  <a:lnTo>
                    <a:pt x="84" y="113"/>
                  </a:lnTo>
                  <a:lnTo>
                    <a:pt x="84" y="113"/>
                  </a:lnTo>
                  <a:lnTo>
                    <a:pt x="79" y="111"/>
                  </a:lnTo>
                  <a:lnTo>
                    <a:pt x="76" y="107"/>
                  </a:lnTo>
                  <a:lnTo>
                    <a:pt x="69" y="94"/>
                  </a:lnTo>
                  <a:lnTo>
                    <a:pt x="69" y="94"/>
                  </a:lnTo>
                  <a:lnTo>
                    <a:pt x="63" y="85"/>
                  </a:lnTo>
                  <a:lnTo>
                    <a:pt x="58" y="79"/>
                  </a:lnTo>
                  <a:lnTo>
                    <a:pt x="58" y="79"/>
                  </a:lnTo>
                  <a:lnTo>
                    <a:pt x="55" y="75"/>
                  </a:lnTo>
                  <a:lnTo>
                    <a:pt x="55" y="74"/>
                  </a:lnTo>
                  <a:lnTo>
                    <a:pt x="56" y="66"/>
                  </a:lnTo>
                  <a:lnTo>
                    <a:pt x="56" y="66"/>
                  </a:lnTo>
                  <a:lnTo>
                    <a:pt x="56" y="61"/>
                  </a:lnTo>
                  <a:lnTo>
                    <a:pt x="58" y="58"/>
                  </a:lnTo>
                  <a:lnTo>
                    <a:pt x="59" y="56"/>
                  </a:lnTo>
                  <a:lnTo>
                    <a:pt x="59" y="56"/>
                  </a:lnTo>
                  <a:lnTo>
                    <a:pt x="63" y="52"/>
                  </a:lnTo>
                  <a:lnTo>
                    <a:pt x="68" y="45"/>
                  </a:lnTo>
                  <a:lnTo>
                    <a:pt x="68" y="45"/>
                  </a:lnTo>
                  <a:lnTo>
                    <a:pt x="72" y="42"/>
                  </a:lnTo>
                  <a:lnTo>
                    <a:pt x="78" y="37"/>
                  </a:lnTo>
                  <a:lnTo>
                    <a:pt x="92" y="32"/>
                  </a:lnTo>
                  <a:lnTo>
                    <a:pt x="92" y="32"/>
                  </a:lnTo>
                  <a:lnTo>
                    <a:pt x="87" y="29"/>
                  </a:lnTo>
                  <a:lnTo>
                    <a:pt x="81" y="26"/>
                  </a:lnTo>
                  <a:lnTo>
                    <a:pt x="69" y="22"/>
                  </a:lnTo>
                  <a:lnTo>
                    <a:pt x="69" y="22"/>
                  </a:lnTo>
                  <a:lnTo>
                    <a:pt x="66" y="19"/>
                  </a:lnTo>
                  <a:lnTo>
                    <a:pt x="65" y="16"/>
                  </a:lnTo>
                  <a:lnTo>
                    <a:pt x="63" y="10"/>
                  </a:lnTo>
                  <a:lnTo>
                    <a:pt x="63" y="10"/>
                  </a:lnTo>
                  <a:lnTo>
                    <a:pt x="63" y="8"/>
                  </a:lnTo>
                  <a:lnTo>
                    <a:pt x="61" y="7"/>
                  </a:lnTo>
                  <a:lnTo>
                    <a:pt x="53" y="3"/>
                  </a:lnTo>
                  <a:lnTo>
                    <a:pt x="45" y="0"/>
                  </a:lnTo>
                  <a:lnTo>
                    <a:pt x="39" y="0"/>
                  </a:lnTo>
                  <a:lnTo>
                    <a:pt x="39" y="0"/>
                  </a:lnTo>
                  <a:lnTo>
                    <a:pt x="37" y="0"/>
                  </a:lnTo>
                  <a:lnTo>
                    <a:pt x="36" y="1"/>
                  </a:lnTo>
                  <a:lnTo>
                    <a:pt x="36" y="6"/>
                  </a:lnTo>
                  <a:lnTo>
                    <a:pt x="33" y="10"/>
                  </a:lnTo>
                  <a:lnTo>
                    <a:pt x="32" y="13"/>
                  </a:lnTo>
                  <a:lnTo>
                    <a:pt x="30" y="13"/>
                  </a:lnTo>
                  <a:lnTo>
                    <a:pt x="30" y="13"/>
                  </a:lnTo>
                  <a:lnTo>
                    <a:pt x="26" y="14"/>
                  </a:lnTo>
                  <a:lnTo>
                    <a:pt x="23" y="13"/>
                  </a:lnTo>
                  <a:lnTo>
                    <a:pt x="20" y="11"/>
                  </a:lnTo>
                  <a:lnTo>
                    <a:pt x="17" y="10"/>
                  </a:lnTo>
                  <a:lnTo>
                    <a:pt x="17" y="10"/>
                  </a:lnTo>
                  <a:lnTo>
                    <a:pt x="13" y="10"/>
                  </a:lnTo>
                  <a:lnTo>
                    <a:pt x="13" y="10"/>
                  </a:lnTo>
                  <a:lnTo>
                    <a:pt x="10" y="10"/>
                  </a:lnTo>
                  <a:lnTo>
                    <a:pt x="7" y="10"/>
                  </a:lnTo>
                  <a:lnTo>
                    <a:pt x="7" y="10"/>
                  </a:lnTo>
                  <a:lnTo>
                    <a:pt x="4" y="8"/>
                  </a:lnTo>
                  <a:lnTo>
                    <a:pt x="3" y="10"/>
                  </a:lnTo>
                  <a:lnTo>
                    <a:pt x="0" y="14"/>
                  </a:lnTo>
                  <a:lnTo>
                    <a:pt x="0" y="16"/>
                  </a:lnTo>
                  <a:lnTo>
                    <a:pt x="0" y="16"/>
                  </a:lnTo>
                  <a:lnTo>
                    <a:pt x="3" y="24"/>
                  </a:lnTo>
                  <a:lnTo>
                    <a:pt x="7" y="29"/>
                  </a:lnTo>
                  <a:lnTo>
                    <a:pt x="7" y="29"/>
                  </a:lnTo>
                  <a:lnTo>
                    <a:pt x="11" y="33"/>
                  </a:lnTo>
                  <a:lnTo>
                    <a:pt x="19" y="36"/>
                  </a:lnTo>
                  <a:lnTo>
                    <a:pt x="26" y="37"/>
                  </a:lnTo>
                  <a:lnTo>
                    <a:pt x="26" y="37"/>
                  </a:lnTo>
                  <a:lnTo>
                    <a:pt x="37" y="62"/>
                  </a:lnTo>
                  <a:lnTo>
                    <a:pt x="53" y="94"/>
                  </a:lnTo>
                  <a:lnTo>
                    <a:pt x="53" y="94"/>
                  </a:lnTo>
                  <a:lnTo>
                    <a:pt x="59" y="101"/>
                  </a:lnTo>
                  <a:lnTo>
                    <a:pt x="65" y="108"/>
                  </a:lnTo>
                  <a:lnTo>
                    <a:pt x="72" y="117"/>
                  </a:lnTo>
                  <a:lnTo>
                    <a:pt x="78" y="124"/>
                  </a:lnTo>
                  <a:lnTo>
                    <a:pt x="78" y="124"/>
                  </a:lnTo>
                  <a:lnTo>
                    <a:pt x="78" y="130"/>
                  </a:lnTo>
                  <a:lnTo>
                    <a:pt x="78" y="137"/>
                  </a:lnTo>
                  <a:lnTo>
                    <a:pt x="75" y="145"/>
                  </a:lnTo>
                  <a:lnTo>
                    <a:pt x="71" y="150"/>
                  </a:lnTo>
                  <a:lnTo>
                    <a:pt x="71" y="150"/>
                  </a:lnTo>
                  <a:lnTo>
                    <a:pt x="75" y="156"/>
                  </a:lnTo>
                  <a:lnTo>
                    <a:pt x="78" y="163"/>
                  </a:lnTo>
                  <a:lnTo>
                    <a:pt x="78" y="163"/>
                  </a:lnTo>
                  <a:lnTo>
                    <a:pt x="84" y="178"/>
                  </a:lnTo>
                  <a:lnTo>
                    <a:pt x="84" y="184"/>
                  </a:lnTo>
                  <a:lnTo>
                    <a:pt x="82" y="185"/>
                  </a:lnTo>
                  <a:lnTo>
                    <a:pt x="81" y="187"/>
                  </a:lnTo>
                  <a:lnTo>
                    <a:pt x="81" y="187"/>
                  </a:lnTo>
                  <a:lnTo>
                    <a:pt x="68" y="191"/>
                  </a:lnTo>
                  <a:lnTo>
                    <a:pt x="58" y="194"/>
                  </a:lnTo>
                  <a:lnTo>
                    <a:pt x="58" y="194"/>
                  </a:lnTo>
                  <a:lnTo>
                    <a:pt x="56" y="197"/>
                  </a:lnTo>
                  <a:lnTo>
                    <a:pt x="55" y="200"/>
                  </a:lnTo>
                  <a:lnTo>
                    <a:pt x="55" y="201"/>
                  </a:lnTo>
                  <a:lnTo>
                    <a:pt x="52" y="204"/>
                  </a:lnTo>
                  <a:lnTo>
                    <a:pt x="52" y="204"/>
                  </a:lnTo>
                  <a:lnTo>
                    <a:pt x="33" y="216"/>
                  </a:lnTo>
                  <a:lnTo>
                    <a:pt x="33" y="216"/>
                  </a:lnTo>
                  <a:lnTo>
                    <a:pt x="40" y="223"/>
                  </a:lnTo>
                  <a:lnTo>
                    <a:pt x="40" y="223"/>
                  </a:lnTo>
                  <a:lnTo>
                    <a:pt x="42" y="224"/>
                  </a:lnTo>
                  <a:lnTo>
                    <a:pt x="42" y="227"/>
                  </a:lnTo>
                  <a:lnTo>
                    <a:pt x="39" y="234"/>
                  </a:lnTo>
                  <a:lnTo>
                    <a:pt x="37" y="242"/>
                  </a:lnTo>
                  <a:lnTo>
                    <a:pt x="36" y="247"/>
                  </a:lnTo>
                  <a:lnTo>
                    <a:pt x="36" y="247"/>
                  </a:lnTo>
                  <a:lnTo>
                    <a:pt x="37" y="247"/>
                  </a:lnTo>
                  <a:lnTo>
                    <a:pt x="39" y="247"/>
                  </a:lnTo>
                  <a:lnTo>
                    <a:pt x="43" y="243"/>
                  </a:lnTo>
                  <a:lnTo>
                    <a:pt x="49" y="236"/>
                  </a:lnTo>
                  <a:lnTo>
                    <a:pt x="49" y="236"/>
                  </a:lnTo>
                  <a:lnTo>
                    <a:pt x="52" y="233"/>
                  </a:lnTo>
                  <a:lnTo>
                    <a:pt x="56" y="233"/>
                  </a:lnTo>
                  <a:lnTo>
                    <a:pt x="59" y="232"/>
                  </a:lnTo>
                  <a:lnTo>
                    <a:pt x="62" y="230"/>
                  </a:lnTo>
                  <a:lnTo>
                    <a:pt x="62" y="230"/>
                  </a:lnTo>
                  <a:lnTo>
                    <a:pt x="65" y="224"/>
                  </a:lnTo>
                  <a:lnTo>
                    <a:pt x="68" y="216"/>
                  </a:lnTo>
                  <a:lnTo>
                    <a:pt x="68" y="216"/>
                  </a:lnTo>
                  <a:lnTo>
                    <a:pt x="71" y="214"/>
                  </a:lnTo>
                  <a:lnTo>
                    <a:pt x="74" y="214"/>
                  </a:lnTo>
                  <a:lnTo>
                    <a:pt x="81" y="216"/>
                  </a:lnTo>
                  <a:lnTo>
                    <a:pt x="81" y="216"/>
                  </a:lnTo>
                  <a:lnTo>
                    <a:pt x="85" y="213"/>
                  </a:lnTo>
                  <a:lnTo>
                    <a:pt x="92" y="208"/>
                  </a:lnTo>
                  <a:lnTo>
                    <a:pt x="104" y="197"/>
                  </a:lnTo>
                  <a:lnTo>
                    <a:pt x="104" y="197"/>
                  </a:lnTo>
                  <a:lnTo>
                    <a:pt x="105" y="195"/>
                  </a:lnTo>
                  <a:lnTo>
                    <a:pt x="107" y="191"/>
                  </a:lnTo>
                  <a:lnTo>
                    <a:pt x="110" y="181"/>
                  </a:lnTo>
                  <a:lnTo>
                    <a:pt x="110" y="171"/>
                  </a:lnTo>
                  <a:lnTo>
                    <a:pt x="110" y="163"/>
                  </a:lnTo>
                  <a:close/>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05" name="Freeform 288"/>
            <p:cNvSpPr>
              <a:spLocks/>
            </p:cNvSpPr>
            <p:nvPr/>
          </p:nvSpPr>
          <p:spPr bwMode="auto">
            <a:xfrm>
              <a:off x="6932613" y="4111626"/>
              <a:ext cx="174625" cy="392113"/>
            </a:xfrm>
            <a:custGeom>
              <a:avLst/>
              <a:gdLst>
                <a:gd name="T0" fmla="*/ 107 w 110"/>
                <a:gd name="T1" fmla="*/ 149 h 247"/>
                <a:gd name="T2" fmla="*/ 100 w 110"/>
                <a:gd name="T3" fmla="*/ 127 h 247"/>
                <a:gd name="T4" fmla="*/ 84 w 110"/>
                <a:gd name="T5" fmla="*/ 113 h 247"/>
                <a:gd name="T6" fmla="*/ 69 w 110"/>
                <a:gd name="T7" fmla="*/ 94 h 247"/>
                <a:gd name="T8" fmla="*/ 58 w 110"/>
                <a:gd name="T9" fmla="*/ 79 h 247"/>
                <a:gd name="T10" fmla="*/ 55 w 110"/>
                <a:gd name="T11" fmla="*/ 74 h 247"/>
                <a:gd name="T12" fmla="*/ 56 w 110"/>
                <a:gd name="T13" fmla="*/ 61 h 247"/>
                <a:gd name="T14" fmla="*/ 59 w 110"/>
                <a:gd name="T15" fmla="*/ 56 h 247"/>
                <a:gd name="T16" fmla="*/ 68 w 110"/>
                <a:gd name="T17" fmla="*/ 45 h 247"/>
                <a:gd name="T18" fmla="*/ 92 w 110"/>
                <a:gd name="T19" fmla="*/ 32 h 247"/>
                <a:gd name="T20" fmla="*/ 81 w 110"/>
                <a:gd name="T21" fmla="*/ 26 h 247"/>
                <a:gd name="T22" fmla="*/ 66 w 110"/>
                <a:gd name="T23" fmla="*/ 19 h 247"/>
                <a:gd name="T24" fmla="*/ 63 w 110"/>
                <a:gd name="T25" fmla="*/ 10 h 247"/>
                <a:gd name="T26" fmla="*/ 53 w 110"/>
                <a:gd name="T27" fmla="*/ 3 h 247"/>
                <a:gd name="T28" fmla="*/ 39 w 110"/>
                <a:gd name="T29" fmla="*/ 0 h 247"/>
                <a:gd name="T30" fmla="*/ 36 w 110"/>
                <a:gd name="T31" fmla="*/ 6 h 247"/>
                <a:gd name="T32" fmla="*/ 30 w 110"/>
                <a:gd name="T33" fmla="*/ 13 h 247"/>
                <a:gd name="T34" fmla="*/ 23 w 110"/>
                <a:gd name="T35" fmla="*/ 13 h 247"/>
                <a:gd name="T36" fmla="*/ 17 w 110"/>
                <a:gd name="T37" fmla="*/ 10 h 247"/>
                <a:gd name="T38" fmla="*/ 10 w 110"/>
                <a:gd name="T39" fmla="*/ 10 h 247"/>
                <a:gd name="T40" fmla="*/ 4 w 110"/>
                <a:gd name="T41" fmla="*/ 8 h 247"/>
                <a:gd name="T42" fmla="*/ 0 w 110"/>
                <a:gd name="T43" fmla="*/ 16 h 247"/>
                <a:gd name="T44" fmla="*/ 7 w 110"/>
                <a:gd name="T45" fmla="*/ 29 h 247"/>
                <a:gd name="T46" fmla="*/ 19 w 110"/>
                <a:gd name="T47" fmla="*/ 36 h 247"/>
                <a:gd name="T48" fmla="*/ 37 w 110"/>
                <a:gd name="T49" fmla="*/ 62 h 247"/>
                <a:gd name="T50" fmla="*/ 59 w 110"/>
                <a:gd name="T51" fmla="*/ 101 h 247"/>
                <a:gd name="T52" fmla="*/ 78 w 110"/>
                <a:gd name="T53" fmla="*/ 124 h 247"/>
                <a:gd name="T54" fmla="*/ 78 w 110"/>
                <a:gd name="T55" fmla="*/ 137 h 247"/>
                <a:gd name="T56" fmla="*/ 71 w 110"/>
                <a:gd name="T57" fmla="*/ 150 h 247"/>
                <a:gd name="T58" fmla="*/ 78 w 110"/>
                <a:gd name="T59" fmla="*/ 163 h 247"/>
                <a:gd name="T60" fmla="*/ 82 w 110"/>
                <a:gd name="T61" fmla="*/ 185 h 247"/>
                <a:gd name="T62" fmla="*/ 68 w 110"/>
                <a:gd name="T63" fmla="*/ 191 h 247"/>
                <a:gd name="T64" fmla="*/ 56 w 110"/>
                <a:gd name="T65" fmla="*/ 197 h 247"/>
                <a:gd name="T66" fmla="*/ 52 w 110"/>
                <a:gd name="T67" fmla="*/ 204 h 247"/>
                <a:gd name="T68" fmla="*/ 33 w 110"/>
                <a:gd name="T69" fmla="*/ 216 h 247"/>
                <a:gd name="T70" fmla="*/ 42 w 110"/>
                <a:gd name="T71" fmla="*/ 224 h 247"/>
                <a:gd name="T72" fmla="*/ 37 w 110"/>
                <a:gd name="T73" fmla="*/ 242 h 247"/>
                <a:gd name="T74" fmla="*/ 37 w 110"/>
                <a:gd name="T75" fmla="*/ 247 h 247"/>
                <a:gd name="T76" fmla="*/ 49 w 110"/>
                <a:gd name="T77" fmla="*/ 236 h 247"/>
                <a:gd name="T78" fmla="*/ 56 w 110"/>
                <a:gd name="T79" fmla="*/ 233 h 247"/>
                <a:gd name="T80" fmla="*/ 62 w 110"/>
                <a:gd name="T81" fmla="*/ 230 h 247"/>
                <a:gd name="T82" fmla="*/ 68 w 110"/>
                <a:gd name="T83" fmla="*/ 216 h 247"/>
                <a:gd name="T84" fmla="*/ 81 w 110"/>
                <a:gd name="T85" fmla="*/ 216 h 247"/>
                <a:gd name="T86" fmla="*/ 92 w 110"/>
                <a:gd name="T87" fmla="*/ 208 h 247"/>
                <a:gd name="T88" fmla="*/ 105 w 110"/>
                <a:gd name="T89" fmla="*/ 195 h 247"/>
                <a:gd name="T90" fmla="*/ 110 w 110"/>
                <a:gd name="T91" fmla="*/ 171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0" h="247">
                  <a:moveTo>
                    <a:pt x="110" y="163"/>
                  </a:moveTo>
                  <a:lnTo>
                    <a:pt x="110" y="163"/>
                  </a:lnTo>
                  <a:lnTo>
                    <a:pt x="107" y="149"/>
                  </a:lnTo>
                  <a:lnTo>
                    <a:pt x="104" y="133"/>
                  </a:lnTo>
                  <a:lnTo>
                    <a:pt x="104" y="133"/>
                  </a:lnTo>
                  <a:lnTo>
                    <a:pt x="100" y="127"/>
                  </a:lnTo>
                  <a:lnTo>
                    <a:pt x="94" y="121"/>
                  </a:lnTo>
                  <a:lnTo>
                    <a:pt x="84" y="113"/>
                  </a:lnTo>
                  <a:lnTo>
                    <a:pt x="84" y="113"/>
                  </a:lnTo>
                  <a:lnTo>
                    <a:pt x="79" y="111"/>
                  </a:lnTo>
                  <a:lnTo>
                    <a:pt x="76" y="107"/>
                  </a:lnTo>
                  <a:lnTo>
                    <a:pt x="69" y="94"/>
                  </a:lnTo>
                  <a:lnTo>
                    <a:pt x="69" y="94"/>
                  </a:lnTo>
                  <a:lnTo>
                    <a:pt x="63" y="85"/>
                  </a:lnTo>
                  <a:lnTo>
                    <a:pt x="58" y="79"/>
                  </a:lnTo>
                  <a:lnTo>
                    <a:pt x="58" y="79"/>
                  </a:lnTo>
                  <a:lnTo>
                    <a:pt x="55" y="75"/>
                  </a:lnTo>
                  <a:lnTo>
                    <a:pt x="55" y="74"/>
                  </a:lnTo>
                  <a:lnTo>
                    <a:pt x="56" y="66"/>
                  </a:lnTo>
                  <a:lnTo>
                    <a:pt x="56" y="66"/>
                  </a:lnTo>
                  <a:lnTo>
                    <a:pt x="56" y="61"/>
                  </a:lnTo>
                  <a:lnTo>
                    <a:pt x="58" y="58"/>
                  </a:lnTo>
                  <a:lnTo>
                    <a:pt x="59" y="56"/>
                  </a:lnTo>
                  <a:lnTo>
                    <a:pt x="59" y="56"/>
                  </a:lnTo>
                  <a:lnTo>
                    <a:pt x="63" y="52"/>
                  </a:lnTo>
                  <a:lnTo>
                    <a:pt x="68" y="45"/>
                  </a:lnTo>
                  <a:lnTo>
                    <a:pt x="68" y="45"/>
                  </a:lnTo>
                  <a:lnTo>
                    <a:pt x="72" y="42"/>
                  </a:lnTo>
                  <a:lnTo>
                    <a:pt x="78" y="37"/>
                  </a:lnTo>
                  <a:lnTo>
                    <a:pt x="92" y="32"/>
                  </a:lnTo>
                  <a:lnTo>
                    <a:pt x="92" y="32"/>
                  </a:lnTo>
                  <a:lnTo>
                    <a:pt x="87" y="29"/>
                  </a:lnTo>
                  <a:lnTo>
                    <a:pt x="81" y="26"/>
                  </a:lnTo>
                  <a:lnTo>
                    <a:pt x="69" y="22"/>
                  </a:lnTo>
                  <a:lnTo>
                    <a:pt x="69" y="22"/>
                  </a:lnTo>
                  <a:lnTo>
                    <a:pt x="66" y="19"/>
                  </a:lnTo>
                  <a:lnTo>
                    <a:pt x="65" y="16"/>
                  </a:lnTo>
                  <a:lnTo>
                    <a:pt x="63" y="10"/>
                  </a:lnTo>
                  <a:lnTo>
                    <a:pt x="63" y="10"/>
                  </a:lnTo>
                  <a:lnTo>
                    <a:pt x="63" y="8"/>
                  </a:lnTo>
                  <a:lnTo>
                    <a:pt x="61" y="7"/>
                  </a:lnTo>
                  <a:lnTo>
                    <a:pt x="53" y="3"/>
                  </a:lnTo>
                  <a:lnTo>
                    <a:pt x="45" y="0"/>
                  </a:lnTo>
                  <a:lnTo>
                    <a:pt x="39" y="0"/>
                  </a:lnTo>
                  <a:lnTo>
                    <a:pt x="39" y="0"/>
                  </a:lnTo>
                  <a:lnTo>
                    <a:pt x="37" y="0"/>
                  </a:lnTo>
                  <a:lnTo>
                    <a:pt x="36" y="1"/>
                  </a:lnTo>
                  <a:lnTo>
                    <a:pt x="36" y="6"/>
                  </a:lnTo>
                  <a:lnTo>
                    <a:pt x="33" y="10"/>
                  </a:lnTo>
                  <a:lnTo>
                    <a:pt x="32" y="13"/>
                  </a:lnTo>
                  <a:lnTo>
                    <a:pt x="30" y="13"/>
                  </a:lnTo>
                  <a:lnTo>
                    <a:pt x="30" y="13"/>
                  </a:lnTo>
                  <a:lnTo>
                    <a:pt x="26" y="14"/>
                  </a:lnTo>
                  <a:lnTo>
                    <a:pt x="23" y="13"/>
                  </a:lnTo>
                  <a:lnTo>
                    <a:pt x="20" y="11"/>
                  </a:lnTo>
                  <a:lnTo>
                    <a:pt x="17" y="10"/>
                  </a:lnTo>
                  <a:lnTo>
                    <a:pt x="17" y="10"/>
                  </a:lnTo>
                  <a:lnTo>
                    <a:pt x="13" y="10"/>
                  </a:lnTo>
                  <a:lnTo>
                    <a:pt x="13" y="10"/>
                  </a:lnTo>
                  <a:lnTo>
                    <a:pt x="10" y="10"/>
                  </a:lnTo>
                  <a:lnTo>
                    <a:pt x="7" y="10"/>
                  </a:lnTo>
                  <a:lnTo>
                    <a:pt x="7" y="10"/>
                  </a:lnTo>
                  <a:lnTo>
                    <a:pt x="4" y="8"/>
                  </a:lnTo>
                  <a:lnTo>
                    <a:pt x="3" y="10"/>
                  </a:lnTo>
                  <a:lnTo>
                    <a:pt x="0" y="14"/>
                  </a:lnTo>
                  <a:lnTo>
                    <a:pt x="0" y="16"/>
                  </a:lnTo>
                  <a:lnTo>
                    <a:pt x="0" y="16"/>
                  </a:lnTo>
                  <a:lnTo>
                    <a:pt x="3" y="24"/>
                  </a:lnTo>
                  <a:lnTo>
                    <a:pt x="7" y="29"/>
                  </a:lnTo>
                  <a:lnTo>
                    <a:pt x="7" y="29"/>
                  </a:lnTo>
                  <a:lnTo>
                    <a:pt x="11" y="33"/>
                  </a:lnTo>
                  <a:lnTo>
                    <a:pt x="19" y="36"/>
                  </a:lnTo>
                  <a:lnTo>
                    <a:pt x="26" y="37"/>
                  </a:lnTo>
                  <a:lnTo>
                    <a:pt x="26" y="37"/>
                  </a:lnTo>
                  <a:lnTo>
                    <a:pt x="37" y="62"/>
                  </a:lnTo>
                  <a:lnTo>
                    <a:pt x="53" y="94"/>
                  </a:lnTo>
                  <a:lnTo>
                    <a:pt x="53" y="94"/>
                  </a:lnTo>
                  <a:lnTo>
                    <a:pt x="59" y="101"/>
                  </a:lnTo>
                  <a:lnTo>
                    <a:pt x="65" y="108"/>
                  </a:lnTo>
                  <a:lnTo>
                    <a:pt x="72" y="117"/>
                  </a:lnTo>
                  <a:lnTo>
                    <a:pt x="78" y="124"/>
                  </a:lnTo>
                  <a:lnTo>
                    <a:pt x="78" y="124"/>
                  </a:lnTo>
                  <a:lnTo>
                    <a:pt x="78" y="130"/>
                  </a:lnTo>
                  <a:lnTo>
                    <a:pt x="78" y="137"/>
                  </a:lnTo>
                  <a:lnTo>
                    <a:pt x="75" y="145"/>
                  </a:lnTo>
                  <a:lnTo>
                    <a:pt x="71" y="150"/>
                  </a:lnTo>
                  <a:lnTo>
                    <a:pt x="71" y="150"/>
                  </a:lnTo>
                  <a:lnTo>
                    <a:pt x="75" y="156"/>
                  </a:lnTo>
                  <a:lnTo>
                    <a:pt x="78" y="163"/>
                  </a:lnTo>
                  <a:lnTo>
                    <a:pt x="78" y="163"/>
                  </a:lnTo>
                  <a:lnTo>
                    <a:pt x="84" y="178"/>
                  </a:lnTo>
                  <a:lnTo>
                    <a:pt x="84" y="184"/>
                  </a:lnTo>
                  <a:lnTo>
                    <a:pt x="82" y="185"/>
                  </a:lnTo>
                  <a:lnTo>
                    <a:pt x="81" y="187"/>
                  </a:lnTo>
                  <a:lnTo>
                    <a:pt x="81" y="187"/>
                  </a:lnTo>
                  <a:lnTo>
                    <a:pt x="68" y="191"/>
                  </a:lnTo>
                  <a:lnTo>
                    <a:pt x="58" y="194"/>
                  </a:lnTo>
                  <a:lnTo>
                    <a:pt x="58" y="194"/>
                  </a:lnTo>
                  <a:lnTo>
                    <a:pt x="56" y="197"/>
                  </a:lnTo>
                  <a:lnTo>
                    <a:pt x="55" y="200"/>
                  </a:lnTo>
                  <a:lnTo>
                    <a:pt x="55" y="201"/>
                  </a:lnTo>
                  <a:lnTo>
                    <a:pt x="52" y="204"/>
                  </a:lnTo>
                  <a:lnTo>
                    <a:pt x="52" y="204"/>
                  </a:lnTo>
                  <a:lnTo>
                    <a:pt x="33" y="216"/>
                  </a:lnTo>
                  <a:lnTo>
                    <a:pt x="33" y="216"/>
                  </a:lnTo>
                  <a:lnTo>
                    <a:pt x="40" y="223"/>
                  </a:lnTo>
                  <a:lnTo>
                    <a:pt x="40" y="223"/>
                  </a:lnTo>
                  <a:lnTo>
                    <a:pt x="42" y="224"/>
                  </a:lnTo>
                  <a:lnTo>
                    <a:pt x="42" y="227"/>
                  </a:lnTo>
                  <a:lnTo>
                    <a:pt x="39" y="234"/>
                  </a:lnTo>
                  <a:lnTo>
                    <a:pt x="37" y="242"/>
                  </a:lnTo>
                  <a:lnTo>
                    <a:pt x="36" y="247"/>
                  </a:lnTo>
                  <a:lnTo>
                    <a:pt x="36" y="247"/>
                  </a:lnTo>
                  <a:lnTo>
                    <a:pt x="37" y="247"/>
                  </a:lnTo>
                  <a:lnTo>
                    <a:pt x="39" y="247"/>
                  </a:lnTo>
                  <a:lnTo>
                    <a:pt x="43" y="243"/>
                  </a:lnTo>
                  <a:lnTo>
                    <a:pt x="49" y="236"/>
                  </a:lnTo>
                  <a:lnTo>
                    <a:pt x="49" y="236"/>
                  </a:lnTo>
                  <a:lnTo>
                    <a:pt x="52" y="233"/>
                  </a:lnTo>
                  <a:lnTo>
                    <a:pt x="56" y="233"/>
                  </a:lnTo>
                  <a:lnTo>
                    <a:pt x="59" y="232"/>
                  </a:lnTo>
                  <a:lnTo>
                    <a:pt x="62" y="230"/>
                  </a:lnTo>
                  <a:lnTo>
                    <a:pt x="62" y="230"/>
                  </a:lnTo>
                  <a:lnTo>
                    <a:pt x="65" y="224"/>
                  </a:lnTo>
                  <a:lnTo>
                    <a:pt x="68" y="216"/>
                  </a:lnTo>
                  <a:lnTo>
                    <a:pt x="68" y="216"/>
                  </a:lnTo>
                  <a:lnTo>
                    <a:pt x="71" y="214"/>
                  </a:lnTo>
                  <a:lnTo>
                    <a:pt x="74" y="214"/>
                  </a:lnTo>
                  <a:lnTo>
                    <a:pt x="81" y="216"/>
                  </a:lnTo>
                  <a:lnTo>
                    <a:pt x="81" y="216"/>
                  </a:lnTo>
                  <a:lnTo>
                    <a:pt x="85" y="213"/>
                  </a:lnTo>
                  <a:lnTo>
                    <a:pt x="92" y="208"/>
                  </a:lnTo>
                  <a:lnTo>
                    <a:pt x="104" y="197"/>
                  </a:lnTo>
                  <a:lnTo>
                    <a:pt x="104" y="197"/>
                  </a:lnTo>
                  <a:lnTo>
                    <a:pt x="105" y="195"/>
                  </a:lnTo>
                  <a:lnTo>
                    <a:pt x="107" y="191"/>
                  </a:lnTo>
                  <a:lnTo>
                    <a:pt x="110" y="181"/>
                  </a:lnTo>
                  <a:lnTo>
                    <a:pt x="110" y="171"/>
                  </a:lnTo>
                  <a:lnTo>
                    <a:pt x="110" y="1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06" name="Freeform 289"/>
            <p:cNvSpPr>
              <a:spLocks/>
            </p:cNvSpPr>
            <p:nvPr/>
          </p:nvSpPr>
          <p:spPr bwMode="auto">
            <a:xfrm>
              <a:off x="6862763" y="4127501"/>
              <a:ext cx="193675" cy="231775"/>
            </a:xfrm>
            <a:custGeom>
              <a:avLst/>
              <a:gdLst>
                <a:gd name="T0" fmla="*/ 90 w 122"/>
                <a:gd name="T1" fmla="*/ 145 h 146"/>
                <a:gd name="T2" fmla="*/ 87 w 122"/>
                <a:gd name="T3" fmla="*/ 143 h 146"/>
                <a:gd name="T4" fmla="*/ 92 w 122"/>
                <a:gd name="T5" fmla="*/ 126 h 146"/>
                <a:gd name="T6" fmla="*/ 83 w 122"/>
                <a:gd name="T7" fmla="*/ 113 h 146"/>
                <a:gd name="T8" fmla="*/ 76 w 122"/>
                <a:gd name="T9" fmla="*/ 101 h 146"/>
                <a:gd name="T10" fmla="*/ 61 w 122"/>
                <a:gd name="T11" fmla="*/ 74 h 146"/>
                <a:gd name="T12" fmla="*/ 60 w 122"/>
                <a:gd name="T13" fmla="*/ 72 h 146"/>
                <a:gd name="T14" fmla="*/ 60 w 122"/>
                <a:gd name="T15" fmla="*/ 72 h 146"/>
                <a:gd name="T16" fmla="*/ 57 w 122"/>
                <a:gd name="T17" fmla="*/ 74 h 146"/>
                <a:gd name="T18" fmla="*/ 55 w 122"/>
                <a:gd name="T19" fmla="*/ 75 h 146"/>
                <a:gd name="T20" fmla="*/ 55 w 122"/>
                <a:gd name="T21" fmla="*/ 75 h 146"/>
                <a:gd name="T22" fmla="*/ 55 w 122"/>
                <a:gd name="T23" fmla="*/ 75 h 146"/>
                <a:gd name="T24" fmla="*/ 52 w 122"/>
                <a:gd name="T25" fmla="*/ 78 h 146"/>
                <a:gd name="T26" fmla="*/ 51 w 122"/>
                <a:gd name="T27" fmla="*/ 77 h 146"/>
                <a:gd name="T28" fmla="*/ 51 w 122"/>
                <a:gd name="T29" fmla="*/ 77 h 146"/>
                <a:gd name="T30" fmla="*/ 50 w 122"/>
                <a:gd name="T31" fmla="*/ 77 h 146"/>
                <a:gd name="T32" fmla="*/ 50 w 122"/>
                <a:gd name="T33" fmla="*/ 77 h 146"/>
                <a:gd name="T34" fmla="*/ 50 w 122"/>
                <a:gd name="T35" fmla="*/ 77 h 146"/>
                <a:gd name="T36" fmla="*/ 50 w 122"/>
                <a:gd name="T37" fmla="*/ 77 h 146"/>
                <a:gd name="T38" fmla="*/ 48 w 122"/>
                <a:gd name="T39" fmla="*/ 75 h 146"/>
                <a:gd name="T40" fmla="*/ 41 w 122"/>
                <a:gd name="T41" fmla="*/ 71 h 146"/>
                <a:gd name="T42" fmla="*/ 41 w 122"/>
                <a:gd name="T43" fmla="*/ 71 h 146"/>
                <a:gd name="T44" fmla="*/ 25 w 122"/>
                <a:gd name="T45" fmla="*/ 81 h 146"/>
                <a:gd name="T46" fmla="*/ 23 w 122"/>
                <a:gd name="T47" fmla="*/ 82 h 146"/>
                <a:gd name="T48" fmla="*/ 23 w 122"/>
                <a:gd name="T49" fmla="*/ 82 h 146"/>
                <a:gd name="T50" fmla="*/ 18 w 122"/>
                <a:gd name="T51" fmla="*/ 85 h 146"/>
                <a:gd name="T52" fmla="*/ 16 w 122"/>
                <a:gd name="T53" fmla="*/ 84 h 146"/>
                <a:gd name="T54" fmla="*/ 16 w 122"/>
                <a:gd name="T55" fmla="*/ 84 h 146"/>
                <a:gd name="T56" fmla="*/ 16 w 122"/>
                <a:gd name="T57" fmla="*/ 78 h 146"/>
                <a:gd name="T58" fmla="*/ 21 w 122"/>
                <a:gd name="T59" fmla="*/ 62 h 146"/>
                <a:gd name="T60" fmla="*/ 21 w 122"/>
                <a:gd name="T61" fmla="*/ 59 h 146"/>
                <a:gd name="T62" fmla="*/ 10 w 122"/>
                <a:gd name="T63" fmla="*/ 45 h 146"/>
                <a:gd name="T64" fmla="*/ 6 w 122"/>
                <a:gd name="T65" fmla="*/ 39 h 146"/>
                <a:gd name="T66" fmla="*/ 12 w 122"/>
                <a:gd name="T67" fmla="*/ 25 h 146"/>
                <a:gd name="T68" fmla="*/ 19 w 122"/>
                <a:gd name="T69" fmla="*/ 13 h 146"/>
                <a:gd name="T70" fmla="*/ 22 w 122"/>
                <a:gd name="T71" fmla="*/ 17 h 146"/>
                <a:gd name="T72" fmla="*/ 32 w 122"/>
                <a:gd name="T73" fmla="*/ 27 h 146"/>
                <a:gd name="T74" fmla="*/ 34 w 122"/>
                <a:gd name="T75" fmla="*/ 26 h 146"/>
                <a:gd name="T76" fmla="*/ 34 w 122"/>
                <a:gd name="T77" fmla="*/ 3 h 146"/>
                <a:gd name="T78" fmla="*/ 35 w 122"/>
                <a:gd name="T79" fmla="*/ 0 h 146"/>
                <a:gd name="T80" fmla="*/ 41 w 122"/>
                <a:gd name="T81" fmla="*/ 4 h 146"/>
                <a:gd name="T82" fmla="*/ 44 w 122"/>
                <a:gd name="T83" fmla="*/ 6 h 146"/>
                <a:gd name="T84" fmla="*/ 51 w 122"/>
                <a:gd name="T85" fmla="*/ 19 h 146"/>
                <a:gd name="T86" fmla="*/ 63 w 122"/>
                <a:gd name="T87" fmla="*/ 26 h 146"/>
                <a:gd name="T88" fmla="*/ 81 w 122"/>
                <a:gd name="T89" fmla="*/ 52 h 146"/>
                <a:gd name="T90" fmla="*/ 102 w 122"/>
                <a:gd name="T91" fmla="*/ 91 h 146"/>
                <a:gd name="T92" fmla="*/ 122 w 122"/>
                <a:gd name="T93" fmla="*/ 114 h 146"/>
                <a:gd name="T94" fmla="*/ 122 w 122"/>
                <a:gd name="T95" fmla="*/ 119 h 146"/>
                <a:gd name="T96" fmla="*/ 115 w 122"/>
                <a:gd name="T97" fmla="*/ 140 h 146"/>
                <a:gd name="T98" fmla="*/ 109 w 122"/>
                <a:gd name="T99" fmla="*/ 138 h 146"/>
                <a:gd name="T100" fmla="*/ 109 w 122"/>
                <a:gd name="T101" fmla="*/ 138 h 146"/>
                <a:gd name="T102" fmla="*/ 106 w 122"/>
                <a:gd name="T103" fmla="*/ 136 h 146"/>
                <a:gd name="T104" fmla="*/ 103 w 122"/>
                <a:gd name="T105" fmla="*/ 143 h 146"/>
                <a:gd name="T106" fmla="*/ 102 w 122"/>
                <a:gd name="T107" fmla="*/ 145 h 146"/>
                <a:gd name="T108" fmla="*/ 102 w 122"/>
                <a:gd name="T109" fmla="*/ 145 h 146"/>
                <a:gd name="T110" fmla="*/ 100 w 122"/>
                <a:gd name="T111"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2" h="146">
                  <a:moveTo>
                    <a:pt x="99" y="146"/>
                  </a:moveTo>
                  <a:lnTo>
                    <a:pt x="99" y="146"/>
                  </a:lnTo>
                  <a:lnTo>
                    <a:pt x="90" y="145"/>
                  </a:lnTo>
                  <a:lnTo>
                    <a:pt x="90" y="145"/>
                  </a:lnTo>
                  <a:lnTo>
                    <a:pt x="87" y="143"/>
                  </a:lnTo>
                  <a:lnTo>
                    <a:pt x="87" y="143"/>
                  </a:lnTo>
                  <a:lnTo>
                    <a:pt x="90" y="135"/>
                  </a:lnTo>
                  <a:lnTo>
                    <a:pt x="92" y="126"/>
                  </a:lnTo>
                  <a:lnTo>
                    <a:pt x="92" y="126"/>
                  </a:lnTo>
                  <a:lnTo>
                    <a:pt x="92" y="123"/>
                  </a:lnTo>
                  <a:lnTo>
                    <a:pt x="92" y="123"/>
                  </a:lnTo>
                  <a:lnTo>
                    <a:pt x="83" y="113"/>
                  </a:lnTo>
                  <a:lnTo>
                    <a:pt x="77" y="107"/>
                  </a:lnTo>
                  <a:lnTo>
                    <a:pt x="76" y="101"/>
                  </a:lnTo>
                  <a:lnTo>
                    <a:pt x="76" y="101"/>
                  </a:lnTo>
                  <a:lnTo>
                    <a:pt x="68" y="85"/>
                  </a:lnTo>
                  <a:lnTo>
                    <a:pt x="64" y="77"/>
                  </a:lnTo>
                  <a:lnTo>
                    <a:pt x="61" y="74"/>
                  </a:lnTo>
                  <a:lnTo>
                    <a:pt x="60" y="72"/>
                  </a:lnTo>
                  <a:lnTo>
                    <a:pt x="60" y="72"/>
                  </a:lnTo>
                  <a:lnTo>
                    <a:pt x="60" y="72"/>
                  </a:lnTo>
                  <a:lnTo>
                    <a:pt x="60" y="72"/>
                  </a:lnTo>
                  <a:lnTo>
                    <a:pt x="60" y="72"/>
                  </a:lnTo>
                  <a:lnTo>
                    <a:pt x="60" y="72"/>
                  </a:lnTo>
                  <a:lnTo>
                    <a:pt x="60" y="72"/>
                  </a:lnTo>
                  <a:lnTo>
                    <a:pt x="60" y="72"/>
                  </a:lnTo>
                  <a:lnTo>
                    <a:pt x="57" y="74"/>
                  </a:lnTo>
                  <a:lnTo>
                    <a:pt x="55" y="75"/>
                  </a:lnTo>
                  <a:lnTo>
                    <a:pt x="55" y="75"/>
                  </a:lnTo>
                  <a:lnTo>
                    <a:pt x="55" y="75"/>
                  </a:lnTo>
                  <a:lnTo>
                    <a:pt x="55" y="75"/>
                  </a:lnTo>
                  <a:lnTo>
                    <a:pt x="55" y="75"/>
                  </a:lnTo>
                  <a:lnTo>
                    <a:pt x="55" y="75"/>
                  </a:lnTo>
                  <a:lnTo>
                    <a:pt x="55" y="75"/>
                  </a:lnTo>
                  <a:lnTo>
                    <a:pt x="55" y="75"/>
                  </a:lnTo>
                  <a:lnTo>
                    <a:pt x="55" y="75"/>
                  </a:lnTo>
                  <a:lnTo>
                    <a:pt x="55" y="75"/>
                  </a:lnTo>
                  <a:lnTo>
                    <a:pt x="54" y="77"/>
                  </a:lnTo>
                  <a:lnTo>
                    <a:pt x="52" y="78"/>
                  </a:lnTo>
                  <a:lnTo>
                    <a:pt x="52" y="78"/>
                  </a:lnTo>
                  <a:lnTo>
                    <a:pt x="52" y="78"/>
                  </a:lnTo>
                  <a:lnTo>
                    <a:pt x="51" y="77"/>
                  </a:lnTo>
                  <a:lnTo>
                    <a:pt x="51" y="77"/>
                  </a:lnTo>
                  <a:lnTo>
                    <a:pt x="51" y="77"/>
                  </a:lnTo>
                  <a:lnTo>
                    <a:pt x="51" y="77"/>
                  </a:lnTo>
                  <a:lnTo>
                    <a:pt x="50" y="77"/>
                  </a:lnTo>
                  <a:lnTo>
                    <a:pt x="50" y="77"/>
                  </a:lnTo>
                  <a:lnTo>
                    <a:pt x="50" y="77"/>
                  </a:lnTo>
                  <a:lnTo>
                    <a:pt x="50" y="77"/>
                  </a:lnTo>
                  <a:lnTo>
                    <a:pt x="50" y="77"/>
                  </a:lnTo>
                  <a:lnTo>
                    <a:pt x="50" y="77"/>
                  </a:lnTo>
                  <a:lnTo>
                    <a:pt x="50" y="77"/>
                  </a:lnTo>
                  <a:lnTo>
                    <a:pt x="50" y="77"/>
                  </a:lnTo>
                  <a:lnTo>
                    <a:pt x="50" y="77"/>
                  </a:lnTo>
                  <a:lnTo>
                    <a:pt x="50" y="77"/>
                  </a:lnTo>
                  <a:lnTo>
                    <a:pt x="50" y="77"/>
                  </a:lnTo>
                  <a:lnTo>
                    <a:pt x="50" y="77"/>
                  </a:lnTo>
                  <a:lnTo>
                    <a:pt x="50" y="77"/>
                  </a:lnTo>
                  <a:lnTo>
                    <a:pt x="48" y="75"/>
                  </a:lnTo>
                  <a:lnTo>
                    <a:pt x="48" y="75"/>
                  </a:lnTo>
                  <a:lnTo>
                    <a:pt x="45" y="72"/>
                  </a:lnTo>
                  <a:lnTo>
                    <a:pt x="41" y="71"/>
                  </a:lnTo>
                  <a:lnTo>
                    <a:pt x="41" y="71"/>
                  </a:lnTo>
                  <a:lnTo>
                    <a:pt x="41" y="71"/>
                  </a:lnTo>
                  <a:lnTo>
                    <a:pt x="41" y="71"/>
                  </a:lnTo>
                  <a:lnTo>
                    <a:pt x="41" y="71"/>
                  </a:lnTo>
                  <a:lnTo>
                    <a:pt x="38" y="72"/>
                  </a:lnTo>
                  <a:lnTo>
                    <a:pt x="34" y="75"/>
                  </a:lnTo>
                  <a:lnTo>
                    <a:pt x="25" y="81"/>
                  </a:lnTo>
                  <a:lnTo>
                    <a:pt x="25" y="81"/>
                  </a:lnTo>
                  <a:lnTo>
                    <a:pt x="23" y="82"/>
                  </a:lnTo>
                  <a:lnTo>
                    <a:pt x="23" y="82"/>
                  </a:lnTo>
                  <a:lnTo>
                    <a:pt x="23" y="82"/>
                  </a:lnTo>
                  <a:lnTo>
                    <a:pt x="23" y="82"/>
                  </a:lnTo>
                  <a:lnTo>
                    <a:pt x="23" y="82"/>
                  </a:lnTo>
                  <a:lnTo>
                    <a:pt x="23" y="82"/>
                  </a:lnTo>
                  <a:lnTo>
                    <a:pt x="21" y="85"/>
                  </a:lnTo>
                  <a:lnTo>
                    <a:pt x="18" y="85"/>
                  </a:lnTo>
                  <a:lnTo>
                    <a:pt x="18" y="85"/>
                  </a:lnTo>
                  <a:lnTo>
                    <a:pt x="18" y="85"/>
                  </a:lnTo>
                  <a:lnTo>
                    <a:pt x="16" y="84"/>
                  </a:lnTo>
                  <a:lnTo>
                    <a:pt x="16" y="84"/>
                  </a:lnTo>
                  <a:lnTo>
                    <a:pt x="16" y="84"/>
                  </a:lnTo>
                  <a:lnTo>
                    <a:pt x="16" y="84"/>
                  </a:lnTo>
                  <a:lnTo>
                    <a:pt x="15" y="82"/>
                  </a:lnTo>
                  <a:lnTo>
                    <a:pt x="15" y="82"/>
                  </a:lnTo>
                  <a:lnTo>
                    <a:pt x="16" y="78"/>
                  </a:lnTo>
                  <a:lnTo>
                    <a:pt x="18" y="74"/>
                  </a:lnTo>
                  <a:lnTo>
                    <a:pt x="21" y="68"/>
                  </a:lnTo>
                  <a:lnTo>
                    <a:pt x="21" y="62"/>
                  </a:lnTo>
                  <a:lnTo>
                    <a:pt x="21" y="62"/>
                  </a:lnTo>
                  <a:lnTo>
                    <a:pt x="21" y="59"/>
                  </a:lnTo>
                  <a:lnTo>
                    <a:pt x="21" y="59"/>
                  </a:lnTo>
                  <a:lnTo>
                    <a:pt x="16" y="54"/>
                  </a:lnTo>
                  <a:lnTo>
                    <a:pt x="13" y="49"/>
                  </a:lnTo>
                  <a:lnTo>
                    <a:pt x="10" y="45"/>
                  </a:lnTo>
                  <a:lnTo>
                    <a:pt x="9" y="42"/>
                  </a:lnTo>
                  <a:lnTo>
                    <a:pt x="9" y="42"/>
                  </a:lnTo>
                  <a:lnTo>
                    <a:pt x="6" y="39"/>
                  </a:lnTo>
                  <a:lnTo>
                    <a:pt x="0" y="36"/>
                  </a:lnTo>
                  <a:lnTo>
                    <a:pt x="0" y="36"/>
                  </a:lnTo>
                  <a:lnTo>
                    <a:pt x="12" y="25"/>
                  </a:lnTo>
                  <a:lnTo>
                    <a:pt x="12" y="25"/>
                  </a:lnTo>
                  <a:lnTo>
                    <a:pt x="19" y="13"/>
                  </a:lnTo>
                  <a:lnTo>
                    <a:pt x="19" y="13"/>
                  </a:lnTo>
                  <a:lnTo>
                    <a:pt x="21" y="14"/>
                  </a:lnTo>
                  <a:lnTo>
                    <a:pt x="21" y="14"/>
                  </a:lnTo>
                  <a:lnTo>
                    <a:pt x="22" y="17"/>
                  </a:lnTo>
                  <a:lnTo>
                    <a:pt x="25" y="23"/>
                  </a:lnTo>
                  <a:lnTo>
                    <a:pt x="29" y="26"/>
                  </a:lnTo>
                  <a:lnTo>
                    <a:pt x="32" y="27"/>
                  </a:lnTo>
                  <a:lnTo>
                    <a:pt x="32" y="27"/>
                  </a:lnTo>
                  <a:lnTo>
                    <a:pt x="34" y="27"/>
                  </a:lnTo>
                  <a:lnTo>
                    <a:pt x="34" y="26"/>
                  </a:lnTo>
                  <a:lnTo>
                    <a:pt x="34" y="26"/>
                  </a:lnTo>
                  <a:lnTo>
                    <a:pt x="34" y="12"/>
                  </a:lnTo>
                  <a:lnTo>
                    <a:pt x="34" y="3"/>
                  </a:lnTo>
                  <a:lnTo>
                    <a:pt x="34" y="0"/>
                  </a:lnTo>
                  <a:lnTo>
                    <a:pt x="35" y="0"/>
                  </a:lnTo>
                  <a:lnTo>
                    <a:pt x="35" y="0"/>
                  </a:lnTo>
                  <a:lnTo>
                    <a:pt x="36" y="0"/>
                  </a:lnTo>
                  <a:lnTo>
                    <a:pt x="36" y="0"/>
                  </a:lnTo>
                  <a:lnTo>
                    <a:pt x="41" y="4"/>
                  </a:lnTo>
                  <a:lnTo>
                    <a:pt x="42" y="6"/>
                  </a:lnTo>
                  <a:lnTo>
                    <a:pt x="42" y="6"/>
                  </a:lnTo>
                  <a:lnTo>
                    <a:pt x="44" y="6"/>
                  </a:lnTo>
                  <a:lnTo>
                    <a:pt x="44" y="6"/>
                  </a:lnTo>
                  <a:lnTo>
                    <a:pt x="47" y="14"/>
                  </a:lnTo>
                  <a:lnTo>
                    <a:pt x="51" y="19"/>
                  </a:lnTo>
                  <a:lnTo>
                    <a:pt x="51" y="19"/>
                  </a:lnTo>
                  <a:lnTo>
                    <a:pt x="55" y="23"/>
                  </a:lnTo>
                  <a:lnTo>
                    <a:pt x="63" y="26"/>
                  </a:lnTo>
                  <a:lnTo>
                    <a:pt x="70" y="27"/>
                  </a:lnTo>
                  <a:lnTo>
                    <a:pt x="70" y="27"/>
                  </a:lnTo>
                  <a:lnTo>
                    <a:pt x="81" y="52"/>
                  </a:lnTo>
                  <a:lnTo>
                    <a:pt x="97" y="84"/>
                  </a:lnTo>
                  <a:lnTo>
                    <a:pt x="97" y="84"/>
                  </a:lnTo>
                  <a:lnTo>
                    <a:pt x="102" y="91"/>
                  </a:lnTo>
                  <a:lnTo>
                    <a:pt x="109" y="98"/>
                  </a:lnTo>
                  <a:lnTo>
                    <a:pt x="116" y="107"/>
                  </a:lnTo>
                  <a:lnTo>
                    <a:pt x="122" y="114"/>
                  </a:lnTo>
                  <a:lnTo>
                    <a:pt x="122" y="114"/>
                  </a:lnTo>
                  <a:lnTo>
                    <a:pt x="122" y="119"/>
                  </a:lnTo>
                  <a:lnTo>
                    <a:pt x="122" y="119"/>
                  </a:lnTo>
                  <a:lnTo>
                    <a:pt x="122" y="124"/>
                  </a:lnTo>
                  <a:lnTo>
                    <a:pt x="120" y="130"/>
                  </a:lnTo>
                  <a:lnTo>
                    <a:pt x="115" y="140"/>
                  </a:lnTo>
                  <a:lnTo>
                    <a:pt x="115" y="140"/>
                  </a:lnTo>
                  <a:lnTo>
                    <a:pt x="112" y="139"/>
                  </a:lnTo>
                  <a:lnTo>
                    <a:pt x="109" y="138"/>
                  </a:lnTo>
                  <a:lnTo>
                    <a:pt x="109" y="138"/>
                  </a:lnTo>
                  <a:lnTo>
                    <a:pt x="109" y="138"/>
                  </a:lnTo>
                  <a:lnTo>
                    <a:pt x="109" y="138"/>
                  </a:lnTo>
                  <a:lnTo>
                    <a:pt x="106" y="136"/>
                  </a:lnTo>
                  <a:lnTo>
                    <a:pt x="106" y="136"/>
                  </a:lnTo>
                  <a:lnTo>
                    <a:pt x="106" y="136"/>
                  </a:lnTo>
                  <a:lnTo>
                    <a:pt x="105" y="138"/>
                  </a:lnTo>
                  <a:lnTo>
                    <a:pt x="103" y="140"/>
                  </a:lnTo>
                  <a:lnTo>
                    <a:pt x="103" y="143"/>
                  </a:lnTo>
                  <a:lnTo>
                    <a:pt x="102" y="145"/>
                  </a:lnTo>
                  <a:lnTo>
                    <a:pt x="102" y="145"/>
                  </a:lnTo>
                  <a:lnTo>
                    <a:pt x="102" y="145"/>
                  </a:lnTo>
                  <a:lnTo>
                    <a:pt x="102" y="145"/>
                  </a:lnTo>
                  <a:lnTo>
                    <a:pt x="102" y="145"/>
                  </a:lnTo>
                  <a:lnTo>
                    <a:pt x="102" y="145"/>
                  </a:lnTo>
                  <a:lnTo>
                    <a:pt x="102" y="146"/>
                  </a:lnTo>
                  <a:lnTo>
                    <a:pt x="100" y="146"/>
                  </a:lnTo>
                  <a:lnTo>
                    <a:pt x="100" y="146"/>
                  </a:lnTo>
                  <a:lnTo>
                    <a:pt x="99" y="146"/>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07" name="Freeform 290"/>
            <p:cNvSpPr>
              <a:spLocks/>
            </p:cNvSpPr>
            <p:nvPr/>
          </p:nvSpPr>
          <p:spPr bwMode="auto">
            <a:xfrm>
              <a:off x="6862763" y="4127501"/>
              <a:ext cx="193675" cy="231775"/>
            </a:xfrm>
            <a:custGeom>
              <a:avLst/>
              <a:gdLst>
                <a:gd name="T0" fmla="*/ 90 w 122"/>
                <a:gd name="T1" fmla="*/ 145 h 146"/>
                <a:gd name="T2" fmla="*/ 87 w 122"/>
                <a:gd name="T3" fmla="*/ 143 h 146"/>
                <a:gd name="T4" fmla="*/ 92 w 122"/>
                <a:gd name="T5" fmla="*/ 126 h 146"/>
                <a:gd name="T6" fmla="*/ 83 w 122"/>
                <a:gd name="T7" fmla="*/ 113 h 146"/>
                <a:gd name="T8" fmla="*/ 76 w 122"/>
                <a:gd name="T9" fmla="*/ 101 h 146"/>
                <a:gd name="T10" fmla="*/ 61 w 122"/>
                <a:gd name="T11" fmla="*/ 74 h 146"/>
                <a:gd name="T12" fmla="*/ 60 w 122"/>
                <a:gd name="T13" fmla="*/ 72 h 146"/>
                <a:gd name="T14" fmla="*/ 60 w 122"/>
                <a:gd name="T15" fmla="*/ 72 h 146"/>
                <a:gd name="T16" fmla="*/ 57 w 122"/>
                <a:gd name="T17" fmla="*/ 74 h 146"/>
                <a:gd name="T18" fmla="*/ 55 w 122"/>
                <a:gd name="T19" fmla="*/ 75 h 146"/>
                <a:gd name="T20" fmla="*/ 55 w 122"/>
                <a:gd name="T21" fmla="*/ 75 h 146"/>
                <a:gd name="T22" fmla="*/ 55 w 122"/>
                <a:gd name="T23" fmla="*/ 75 h 146"/>
                <a:gd name="T24" fmla="*/ 52 w 122"/>
                <a:gd name="T25" fmla="*/ 78 h 146"/>
                <a:gd name="T26" fmla="*/ 51 w 122"/>
                <a:gd name="T27" fmla="*/ 77 h 146"/>
                <a:gd name="T28" fmla="*/ 51 w 122"/>
                <a:gd name="T29" fmla="*/ 77 h 146"/>
                <a:gd name="T30" fmla="*/ 50 w 122"/>
                <a:gd name="T31" fmla="*/ 77 h 146"/>
                <a:gd name="T32" fmla="*/ 50 w 122"/>
                <a:gd name="T33" fmla="*/ 77 h 146"/>
                <a:gd name="T34" fmla="*/ 50 w 122"/>
                <a:gd name="T35" fmla="*/ 77 h 146"/>
                <a:gd name="T36" fmla="*/ 50 w 122"/>
                <a:gd name="T37" fmla="*/ 77 h 146"/>
                <a:gd name="T38" fmla="*/ 48 w 122"/>
                <a:gd name="T39" fmla="*/ 75 h 146"/>
                <a:gd name="T40" fmla="*/ 41 w 122"/>
                <a:gd name="T41" fmla="*/ 71 h 146"/>
                <a:gd name="T42" fmla="*/ 41 w 122"/>
                <a:gd name="T43" fmla="*/ 71 h 146"/>
                <a:gd name="T44" fmla="*/ 25 w 122"/>
                <a:gd name="T45" fmla="*/ 81 h 146"/>
                <a:gd name="T46" fmla="*/ 23 w 122"/>
                <a:gd name="T47" fmla="*/ 82 h 146"/>
                <a:gd name="T48" fmla="*/ 23 w 122"/>
                <a:gd name="T49" fmla="*/ 82 h 146"/>
                <a:gd name="T50" fmla="*/ 18 w 122"/>
                <a:gd name="T51" fmla="*/ 85 h 146"/>
                <a:gd name="T52" fmla="*/ 16 w 122"/>
                <a:gd name="T53" fmla="*/ 84 h 146"/>
                <a:gd name="T54" fmla="*/ 16 w 122"/>
                <a:gd name="T55" fmla="*/ 84 h 146"/>
                <a:gd name="T56" fmla="*/ 16 w 122"/>
                <a:gd name="T57" fmla="*/ 78 h 146"/>
                <a:gd name="T58" fmla="*/ 21 w 122"/>
                <a:gd name="T59" fmla="*/ 62 h 146"/>
                <a:gd name="T60" fmla="*/ 21 w 122"/>
                <a:gd name="T61" fmla="*/ 59 h 146"/>
                <a:gd name="T62" fmla="*/ 10 w 122"/>
                <a:gd name="T63" fmla="*/ 45 h 146"/>
                <a:gd name="T64" fmla="*/ 6 w 122"/>
                <a:gd name="T65" fmla="*/ 39 h 146"/>
                <a:gd name="T66" fmla="*/ 12 w 122"/>
                <a:gd name="T67" fmla="*/ 25 h 146"/>
                <a:gd name="T68" fmla="*/ 19 w 122"/>
                <a:gd name="T69" fmla="*/ 13 h 146"/>
                <a:gd name="T70" fmla="*/ 22 w 122"/>
                <a:gd name="T71" fmla="*/ 17 h 146"/>
                <a:gd name="T72" fmla="*/ 32 w 122"/>
                <a:gd name="T73" fmla="*/ 27 h 146"/>
                <a:gd name="T74" fmla="*/ 34 w 122"/>
                <a:gd name="T75" fmla="*/ 26 h 146"/>
                <a:gd name="T76" fmla="*/ 34 w 122"/>
                <a:gd name="T77" fmla="*/ 3 h 146"/>
                <a:gd name="T78" fmla="*/ 35 w 122"/>
                <a:gd name="T79" fmla="*/ 0 h 146"/>
                <a:gd name="T80" fmla="*/ 41 w 122"/>
                <a:gd name="T81" fmla="*/ 4 h 146"/>
                <a:gd name="T82" fmla="*/ 44 w 122"/>
                <a:gd name="T83" fmla="*/ 6 h 146"/>
                <a:gd name="T84" fmla="*/ 51 w 122"/>
                <a:gd name="T85" fmla="*/ 19 h 146"/>
                <a:gd name="T86" fmla="*/ 63 w 122"/>
                <a:gd name="T87" fmla="*/ 26 h 146"/>
                <a:gd name="T88" fmla="*/ 81 w 122"/>
                <a:gd name="T89" fmla="*/ 52 h 146"/>
                <a:gd name="T90" fmla="*/ 102 w 122"/>
                <a:gd name="T91" fmla="*/ 91 h 146"/>
                <a:gd name="T92" fmla="*/ 122 w 122"/>
                <a:gd name="T93" fmla="*/ 114 h 146"/>
                <a:gd name="T94" fmla="*/ 122 w 122"/>
                <a:gd name="T95" fmla="*/ 119 h 146"/>
                <a:gd name="T96" fmla="*/ 115 w 122"/>
                <a:gd name="T97" fmla="*/ 140 h 146"/>
                <a:gd name="T98" fmla="*/ 109 w 122"/>
                <a:gd name="T99" fmla="*/ 138 h 146"/>
                <a:gd name="T100" fmla="*/ 109 w 122"/>
                <a:gd name="T101" fmla="*/ 138 h 146"/>
                <a:gd name="T102" fmla="*/ 106 w 122"/>
                <a:gd name="T103" fmla="*/ 136 h 146"/>
                <a:gd name="T104" fmla="*/ 103 w 122"/>
                <a:gd name="T105" fmla="*/ 143 h 146"/>
                <a:gd name="T106" fmla="*/ 102 w 122"/>
                <a:gd name="T107" fmla="*/ 145 h 146"/>
                <a:gd name="T108" fmla="*/ 102 w 122"/>
                <a:gd name="T109" fmla="*/ 145 h 146"/>
                <a:gd name="T110" fmla="*/ 100 w 122"/>
                <a:gd name="T111"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2" h="146">
                  <a:moveTo>
                    <a:pt x="99" y="146"/>
                  </a:moveTo>
                  <a:lnTo>
                    <a:pt x="99" y="146"/>
                  </a:lnTo>
                  <a:lnTo>
                    <a:pt x="90" y="145"/>
                  </a:lnTo>
                  <a:lnTo>
                    <a:pt x="90" y="145"/>
                  </a:lnTo>
                  <a:lnTo>
                    <a:pt x="87" y="143"/>
                  </a:lnTo>
                  <a:lnTo>
                    <a:pt x="87" y="143"/>
                  </a:lnTo>
                  <a:lnTo>
                    <a:pt x="90" y="135"/>
                  </a:lnTo>
                  <a:lnTo>
                    <a:pt x="92" y="126"/>
                  </a:lnTo>
                  <a:lnTo>
                    <a:pt x="92" y="126"/>
                  </a:lnTo>
                  <a:lnTo>
                    <a:pt x="92" y="123"/>
                  </a:lnTo>
                  <a:lnTo>
                    <a:pt x="92" y="123"/>
                  </a:lnTo>
                  <a:lnTo>
                    <a:pt x="83" y="113"/>
                  </a:lnTo>
                  <a:lnTo>
                    <a:pt x="77" y="107"/>
                  </a:lnTo>
                  <a:lnTo>
                    <a:pt x="76" y="101"/>
                  </a:lnTo>
                  <a:lnTo>
                    <a:pt x="76" y="101"/>
                  </a:lnTo>
                  <a:lnTo>
                    <a:pt x="68" y="85"/>
                  </a:lnTo>
                  <a:lnTo>
                    <a:pt x="64" y="77"/>
                  </a:lnTo>
                  <a:lnTo>
                    <a:pt x="61" y="74"/>
                  </a:lnTo>
                  <a:lnTo>
                    <a:pt x="60" y="72"/>
                  </a:lnTo>
                  <a:lnTo>
                    <a:pt x="60" y="72"/>
                  </a:lnTo>
                  <a:lnTo>
                    <a:pt x="60" y="72"/>
                  </a:lnTo>
                  <a:lnTo>
                    <a:pt x="60" y="72"/>
                  </a:lnTo>
                  <a:lnTo>
                    <a:pt x="60" y="72"/>
                  </a:lnTo>
                  <a:lnTo>
                    <a:pt x="60" y="72"/>
                  </a:lnTo>
                  <a:lnTo>
                    <a:pt x="60" y="72"/>
                  </a:lnTo>
                  <a:lnTo>
                    <a:pt x="60" y="72"/>
                  </a:lnTo>
                  <a:lnTo>
                    <a:pt x="57" y="74"/>
                  </a:lnTo>
                  <a:lnTo>
                    <a:pt x="55" y="75"/>
                  </a:lnTo>
                  <a:lnTo>
                    <a:pt x="55" y="75"/>
                  </a:lnTo>
                  <a:lnTo>
                    <a:pt x="55" y="75"/>
                  </a:lnTo>
                  <a:lnTo>
                    <a:pt x="55" y="75"/>
                  </a:lnTo>
                  <a:lnTo>
                    <a:pt x="55" y="75"/>
                  </a:lnTo>
                  <a:lnTo>
                    <a:pt x="55" y="75"/>
                  </a:lnTo>
                  <a:lnTo>
                    <a:pt x="55" y="75"/>
                  </a:lnTo>
                  <a:lnTo>
                    <a:pt x="55" y="75"/>
                  </a:lnTo>
                  <a:lnTo>
                    <a:pt x="55" y="75"/>
                  </a:lnTo>
                  <a:lnTo>
                    <a:pt x="55" y="75"/>
                  </a:lnTo>
                  <a:lnTo>
                    <a:pt x="54" y="77"/>
                  </a:lnTo>
                  <a:lnTo>
                    <a:pt x="52" y="78"/>
                  </a:lnTo>
                  <a:lnTo>
                    <a:pt x="52" y="78"/>
                  </a:lnTo>
                  <a:lnTo>
                    <a:pt x="52" y="78"/>
                  </a:lnTo>
                  <a:lnTo>
                    <a:pt x="51" y="77"/>
                  </a:lnTo>
                  <a:lnTo>
                    <a:pt x="51" y="77"/>
                  </a:lnTo>
                  <a:lnTo>
                    <a:pt x="51" y="77"/>
                  </a:lnTo>
                  <a:lnTo>
                    <a:pt x="51" y="77"/>
                  </a:lnTo>
                  <a:lnTo>
                    <a:pt x="50" y="77"/>
                  </a:lnTo>
                  <a:lnTo>
                    <a:pt x="50" y="77"/>
                  </a:lnTo>
                  <a:lnTo>
                    <a:pt x="50" y="77"/>
                  </a:lnTo>
                  <a:lnTo>
                    <a:pt x="50" y="77"/>
                  </a:lnTo>
                  <a:lnTo>
                    <a:pt x="50" y="77"/>
                  </a:lnTo>
                  <a:lnTo>
                    <a:pt x="50" y="77"/>
                  </a:lnTo>
                  <a:lnTo>
                    <a:pt x="50" y="77"/>
                  </a:lnTo>
                  <a:lnTo>
                    <a:pt x="50" y="77"/>
                  </a:lnTo>
                  <a:lnTo>
                    <a:pt x="50" y="77"/>
                  </a:lnTo>
                  <a:lnTo>
                    <a:pt x="50" y="77"/>
                  </a:lnTo>
                  <a:lnTo>
                    <a:pt x="50" y="77"/>
                  </a:lnTo>
                  <a:lnTo>
                    <a:pt x="50" y="77"/>
                  </a:lnTo>
                  <a:lnTo>
                    <a:pt x="50" y="77"/>
                  </a:lnTo>
                  <a:lnTo>
                    <a:pt x="48" y="75"/>
                  </a:lnTo>
                  <a:lnTo>
                    <a:pt x="48" y="75"/>
                  </a:lnTo>
                  <a:lnTo>
                    <a:pt x="45" y="72"/>
                  </a:lnTo>
                  <a:lnTo>
                    <a:pt x="41" y="71"/>
                  </a:lnTo>
                  <a:lnTo>
                    <a:pt x="41" y="71"/>
                  </a:lnTo>
                  <a:lnTo>
                    <a:pt x="41" y="71"/>
                  </a:lnTo>
                  <a:lnTo>
                    <a:pt x="41" y="71"/>
                  </a:lnTo>
                  <a:lnTo>
                    <a:pt x="41" y="71"/>
                  </a:lnTo>
                  <a:lnTo>
                    <a:pt x="38" y="72"/>
                  </a:lnTo>
                  <a:lnTo>
                    <a:pt x="34" y="75"/>
                  </a:lnTo>
                  <a:lnTo>
                    <a:pt x="25" y="81"/>
                  </a:lnTo>
                  <a:lnTo>
                    <a:pt x="25" y="81"/>
                  </a:lnTo>
                  <a:lnTo>
                    <a:pt x="23" y="82"/>
                  </a:lnTo>
                  <a:lnTo>
                    <a:pt x="23" y="82"/>
                  </a:lnTo>
                  <a:lnTo>
                    <a:pt x="23" y="82"/>
                  </a:lnTo>
                  <a:lnTo>
                    <a:pt x="23" y="82"/>
                  </a:lnTo>
                  <a:lnTo>
                    <a:pt x="23" y="82"/>
                  </a:lnTo>
                  <a:lnTo>
                    <a:pt x="23" y="82"/>
                  </a:lnTo>
                  <a:lnTo>
                    <a:pt x="21" y="85"/>
                  </a:lnTo>
                  <a:lnTo>
                    <a:pt x="18" y="85"/>
                  </a:lnTo>
                  <a:lnTo>
                    <a:pt x="18" y="85"/>
                  </a:lnTo>
                  <a:lnTo>
                    <a:pt x="18" y="85"/>
                  </a:lnTo>
                  <a:lnTo>
                    <a:pt x="16" y="84"/>
                  </a:lnTo>
                  <a:lnTo>
                    <a:pt x="16" y="84"/>
                  </a:lnTo>
                  <a:lnTo>
                    <a:pt x="16" y="84"/>
                  </a:lnTo>
                  <a:lnTo>
                    <a:pt x="16" y="84"/>
                  </a:lnTo>
                  <a:lnTo>
                    <a:pt x="15" y="82"/>
                  </a:lnTo>
                  <a:lnTo>
                    <a:pt x="15" y="82"/>
                  </a:lnTo>
                  <a:lnTo>
                    <a:pt x="16" y="78"/>
                  </a:lnTo>
                  <a:lnTo>
                    <a:pt x="18" y="74"/>
                  </a:lnTo>
                  <a:lnTo>
                    <a:pt x="21" y="68"/>
                  </a:lnTo>
                  <a:lnTo>
                    <a:pt x="21" y="62"/>
                  </a:lnTo>
                  <a:lnTo>
                    <a:pt x="21" y="62"/>
                  </a:lnTo>
                  <a:lnTo>
                    <a:pt x="21" y="59"/>
                  </a:lnTo>
                  <a:lnTo>
                    <a:pt x="21" y="59"/>
                  </a:lnTo>
                  <a:lnTo>
                    <a:pt x="16" y="54"/>
                  </a:lnTo>
                  <a:lnTo>
                    <a:pt x="13" y="49"/>
                  </a:lnTo>
                  <a:lnTo>
                    <a:pt x="10" y="45"/>
                  </a:lnTo>
                  <a:lnTo>
                    <a:pt x="9" y="42"/>
                  </a:lnTo>
                  <a:lnTo>
                    <a:pt x="9" y="42"/>
                  </a:lnTo>
                  <a:lnTo>
                    <a:pt x="6" y="39"/>
                  </a:lnTo>
                  <a:lnTo>
                    <a:pt x="0" y="36"/>
                  </a:lnTo>
                  <a:lnTo>
                    <a:pt x="0" y="36"/>
                  </a:lnTo>
                  <a:lnTo>
                    <a:pt x="12" y="25"/>
                  </a:lnTo>
                  <a:lnTo>
                    <a:pt x="12" y="25"/>
                  </a:lnTo>
                  <a:lnTo>
                    <a:pt x="19" y="13"/>
                  </a:lnTo>
                  <a:lnTo>
                    <a:pt x="19" y="13"/>
                  </a:lnTo>
                  <a:lnTo>
                    <a:pt x="21" y="14"/>
                  </a:lnTo>
                  <a:lnTo>
                    <a:pt x="21" y="14"/>
                  </a:lnTo>
                  <a:lnTo>
                    <a:pt x="22" y="17"/>
                  </a:lnTo>
                  <a:lnTo>
                    <a:pt x="25" y="23"/>
                  </a:lnTo>
                  <a:lnTo>
                    <a:pt x="29" y="26"/>
                  </a:lnTo>
                  <a:lnTo>
                    <a:pt x="32" y="27"/>
                  </a:lnTo>
                  <a:lnTo>
                    <a:pt x="32" y="27"/>
                  </a:lnTo>
                  <a:lnTo>
                    <a:pt x="34" y="27"/>
                  </a:lnTo>
                  <a:lnTo>
                    <a:pt x="34" y="26"/>
                  </a:lnTo>
                  <a:lnTo>
                    <a:pt x="34" y="26"/>
                  </a:lnTo>
                  <a:lnTo>
                    <a:pt x="34" y="12"/>
                  </a:lnTo>
                  <a:lnTo>
                    <a:pt x="34" y="3"/>
                  </a:lnTo>
                  <a:lnTo>
                    <a:pt x="34" y="0"/>
                  </a:lnTo>
                  <a:lnTo>
                    <a:pt x="35" y="0"/>
                  </a:lnTo>
                  <a:lnTo>
                    <a:pt x="35" y="0"/>
                  </a:lnTo>
                  <a:lnTo>
                    <a:pt x="36" y="0"/>
                  </a:lnTo>
                  <a:lnTo>
                    <a:pt x="36" y="0"/>
                  </a:lnTo>
                  <a:lnTo>
                    <a:pt x="41" y="4"/>
                  </a:lnTo>
                  <a:lnTo>
                    <a:pt x="42" y="6"/>
                  </a:lnTo>
                  <a:lnTo>
                    <a:pt x="42" y="6"/>
                  </a:lnTo>
                  <a:lnTo>
                    <a:pt x="44" y="6"/>
                  </a:lnTo>
                  <a:lnTo>
                    <a:pt x="44" y="6"/>
                  </a:lnTo>
                  <a:lnTo>
                    <a:pt x="47" y="14"/>
                  </a:lnTo>
                  <a:lnTo>
                    <a:pt x="51" y="19"/>
                  </a:lnTo>
                  <a:lnTo>
                    <a:pt x="51" y="19"/>
                  </a:lnTo>
                  <a:lnTo>
                    <a:pt x="55" y="23"/>
                  </a:lnTo>
                  <a:lnTo>
                    <a:pt x="63" y="26"/>
                  </a:lnTo>
                  <a:lnTo>
                    <a:pt x="70" y="27"/>
                  </a:lnTo>
                  <a:lnTo>
                    <a:pt x="70" y="27"/>
                  </a:lnTo>
                  <a:lnTo>
                    <a:pt x="81" y="52"/>
                  </a:lnTo>
                  <a:lnTo>
                    <a:pt x="97" y="84"/>
                  </a:lnTo>
                  <a:lnTo>
                    <a:pt x="97" y="84"/>
                  </a:lnTo>
                  <a:lnTo>
                    <a:pt x="102" y="91"/>
                  </a:lnTo>
                  <a:lnTo>
                    <a:pt x="109" y="98"/>
                  </a:lnTo>
                  <a:lnTo>
                    <a:pt x="116" y="107"/>
                  </a:lnTo>
                  <a:lnTo>
                    <a:pt x="122" y="114"/>
                  </a:lnTo>
                  <a:lnTo>
                    <a:pt x="122" y="114"/>
                  </a:lnTo>
                  <a:lnTo>
                    <a:pt x="122" y="119"/>
                  </a:lnTo>
                  <a:lnTo>
                    <a:pt x="122" y="119"/>
                  </a:lnTo>
                  <a:lnTo>
                    <a:pt x="122" y="124"/>
                  </a:lnTo>
                  <a:lnTo>
                    <a:pt x="120" y="130"/>
                  </a:lnTo>
                  <a:lnTo>
                    <a:pt x="115" y="140"/>
                  </a:lnTo>
                  <a:lnTo>
                    <a:pt x="115" y="140"/>
                  </a:lnTo>
                  <a:lnTo>
                    <a:pt x="112" y="139"/>
                  </a:lnTo>
                  <a:lnTo>
                    <a:pt x="109" y="138"/>
                  </a:lnTo>
                  <a:lnTo>
                    <a:pt x="109" y="138"/>
                  </a:lnTo>
                  <a:lnTo>
                    <a:pt x="109" y="138"/>
                  </a:lnTo>
                  <a:lnTo>
                    <a:pt x="109" y="138"/>
                  </a:lnTo>
                  <a:lnTo>
                    <a:pt x="106" y="136"/>
                  </a:lnTo>
                  <a:lnTo>
                    <a:pt x="106" y="136"/>
                  </a:lnTo>
                  <a:lnTo>
                    <a:pt x="106" y="136"/>
                  </a:lnTo>
                  <a:lnTo>
                    <a:pt x="105" y="138"/>
                  </a:lnTo>
                  <a:lnTo>
                    <a:pt x="103" y="140"/>
                  </a:lnTo>
                  <a:lnTo>
                    <a:pt x="103" y="143"/>
                  </a:lnTo>
                  <a:lnTo>
                    <a:pt x="102" y="145"/>
                  </a:lnTo>
                  <a:lnTo>
                    <a:pt x="102" y="145"/>
                  </a:lnTo>
                  <a:lnTo>
                    <a:pt x="102" y="145"/>
                  </a:lnTo>
                  <a:lnTo>
                    <a:pt x="102" y="145"/>
                  </a:lnTo>
                  <a:lnTo>
                    <a:pt x="102" y="145"/>
                  </a:lnTo>
                  <a:lnTo>
                    <a:pt x="102" y="145"/>
                  </a:lnTo>
                  <a:lnTo>
                    <a:pt x="102" y="146"/>
                  </a:lnTo>
                  <a:lnTo>
                    <a:pt x="100" y="146"/>
                  </a:lnTo>
                  <a:lnTo>
                    <a:pt x="100" y="146"/>
                  </a:lnTo>
                  <a:lnTo>
                    <a:pt x="99" y="1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08" name="Freeform 291"/>
            <p:cNvSpPr>
              <a:spLocks/>
            </p:cNvSpPr>
            <p:nvPr/>
          </p:nvSpPr>
          <p:spPr bwMode="auto">
            <a:xfrm>
              <a:off x="6670676" y="3944938"/>
              <a:ext cx="222250" cy="515938"/>
            </a:xfrm>
            <a:custGeom>
              <a:avLst/>
              <a:gdLst>
                <a:gd name="T0" fmla="*/ 95 w 140"/>
                <a:gd name="T1" fmla="*/ 324 h 325"/>
                <a:gd name="T2" fmla="*/ 102 w 140"/>
                <a:gd name="T3" fmla="*/ 303 h 325"/>
                <a:gd name="T4" fmla="*/ 102 w 140"/>
                <a:gd name="T5" fmla="*/ 302 h 325"/>
                <a:gd name="T6" fmla="*/ 104 w 140"/>
                <a:gd name="T7" fmla="*/ 293 h 325"/>
                <a:gd name="T8" fmla="*/ 104 w 140"/>
                <a:gd name="T9" fmla="*/ 279 h 325"/>
                <a:gd name="T10" fmla="*/ 101 w 140"/>
                <a:gd name="T11" fmla="*/ 270 h 325"/>
                <a:gd name="T12" fmla="*/ 89 w 140"/>
                <a:gd name="T13" fmla="*/ 232 h 325"/>
                <a:gd name="T14" fmla="*/ 85 w 140"/>
                <a:gd name="T15" fmla="*/ 218 h 325"/>
                <a:gd name="T16" fmla="*/ 82 w 140"/>
                <a:gd name="T17" fmla="*/ 215 h 325"/>
                <a:gd name="T18" fmla="*/ 78 w 140"/>
                <a:gd name="T19" fmla="*/ 212 h 325"/>
                <a:gd name="T20" fmla="*/ 75 w 140"/>
                <a:gd name="T21" fmla="*/ 209 h 325"/>
                <a:gd name="T22" fmla="*/ 73 w 140"/>
                <a:gd name="T23" fmla="*/ 211 h 325"/>
                <a:gd name="T24" fmla="*/ 65 w 140"/>
                <a:gd name="T25" fmla="*/ 218 h 325"/>
                <a:gd name="T26" fmla="*/ 50 w 140"/>
                <a:gd name="T27" fmla="*/ 226 h 325"/>
                <a:gd name="T28" fmla="*/ 42 w 140"/>
                <a:gd name="T29" fmla="*/ 228 h 325"/>
                <a:gd name="T30" fmla="*/ 33 w 140"/>
                <a:gd name="T31" fmla="*/ 222 h 325"/>
                <a:gd name="T32" fmla="*/ 37 w 140"/>
                <a:gd name="T33" fmla="*/ 212 h 325"/>
                <a:gd name="T34" fmla="*/ 40 w 140"/>
                <a:gd name="T35" fmla="*/ 200 h 325"/>
                <a:gd name="T36" fmla="*/ 34 w 140"/>
                <a:gd name="T37" fmla="*/ 180 h 325"/>
                <a:gd name="T38" fmla="*/ 8 w 140"/>
                <a:gd name="T39" fmla="*/ 154 h 325"/>
                <a:gd name="T40" fmla="*/ 0 w 140"/>
                <a:gd name="T41" fmla="*/ 140 h 325"/>
                <a:gd name="T42" fmla="*/ 7 w 140"/>
                <a:gd name="T43" fmla="*/ 128 h 325"/>
                <a:gd name="T44" fmla="*/ 7 w 140"/>
                <a:gd name="T45" fmla="*/ 112 h 325"/>
                <a:gd name="T46" fmla="*/ 10 w 140"/>
                <a:gd name="T47" fmla="*/ 102 h 325"/>
                <a:gd name="T48" fmla="*/ 18 w 140"/>
                <a:gd name="T49" fmla="*/ 86 h 325"/>
                <a:gd name="T50" fmla="*/ 31 w 140"/>
                <a:gd name="T51" fmla="*/ 71 h 325"/>
                <a:gd name="T52" fmla="*/ 53 w 140"/>
                <a:gd name="T53" fmla="*/ 28 h 325"/>
                <a:gd name="T54" fmla="*/ 63 w 140"/>
                <a:gd name="T55" fmla="*/ 27 h 325"/>
                <a:gd name="T56" fmla="*/ 68 w 140"/>
                <a:gd name="T57" fmla="*/ 27 h 325"/>
                <a:gd name="T58" fmla="*/ 73 w 140"/>
                <a:gd name="T59" fmla="*/ 24 h 325"/>
                <a:gd name="T60" fmla="*/ 78 w 140"/>
                <a:gd name="T61" fmla="*/ 8 h 325"/>
                <a:gd name="T62" fmla="*/ 91 w 140"/>
                <a:gd name="T63" fmla="*/ 0 h 325"/>
                <a:gd name="T64" fmla="*/ 95 w 140"/>
                <a:gd name="T65" fmla="*/ 0 h 325"/>
                <a:gd name="T66" fmla="*/ 101 w 140"/>
                <a:gd name="T67" fmla="*/ 31 h 325"/>
                <a:gd name="T68" fmla="*/ 104 w 140"/>
                <a:gd name="T69" fmla="*/ 47 h 325"/>
                <a:gd name="T70" fmla="*/ 91 w 140"/>
                <a:gd name="T71" fmla="*/ 64 h 325"/>
                <a:gd name="T72" fmla="*/ 89 w 140"/>
                <a:gd name="T73" fmla="*/ 79 h 325"/>
                <a:gd name="T74" fmla="*/ 102 w 140"/>
                <a:gd name="T75" fmla="*/ 89 h 325"/>
                <a:gd name="T76" fmla="*/ 113 w 140"/>
                <a:gd name="T77" fmla="*/ 105 h 325"/>
                <a:gd name="T78" fmla="*/ 111 w 140"/>
                <a:gd name="T79" fmla="*/ 119 h 325"/>
                <a:gd name="T80" fmla="*/ 111 w 140"/>
                <a:gd name="T81" fmla="*/ 127 h 325"/>
                <a:gd name="T82" fmla="*/ 130 w 140"/>
                <a:gd name="T83" fmla="*/ 131 h 325"/>
                <a:gd name="T84" fmla="*/ 139 w 140"/>
                <a:gd name="T85" fmla="*/ 127 h 325"/>
                <a:gd name="T86" fmla="*/ 133 w 140"/>
                <a:gd name="T87" fmla="*/ 140 h 325"/>
                <a:gd name="T88" fmla="*/ 117 w 140"/>
                <a:gd name="T89" fmla="*/ 150 h 325"/>
                <a:gd name="T90" fmla="*/ 111 w 140"/>
                <a:gd name="T91" fmla="*/ 153 h 325"/>
                <a:gd name="T92" fmla="*/ 98 w 140"/>
                <a:gd name="T93" fmla="*/ 167 h 325"/>
                <a:gd name="T94" fmla="*/ 89 w 140"/>
                <a:gd name="T95" fmla="*/ 176 h 325"/>
                <a:gd name="T96" fmla="*/ 88 w 140"/>
                <a:gd name="T97" fmla="*/ 184 h 325"/>
                <a:gd name="T98" fmla="*/ 98 w 140"/>
                <a:gd name="T99" fmla="*/ 211 h 325"/>
                <a:gd name="T100" fmla="*/ 104 w 140"/>
                <a:gd name="T101" fmla="*/ 228 h 325"/>
                <a:gd name="T102" fmla="*/ 102 w 140"/>
                <a:gd name="T103" fmla="*/ 238 h 325"/>
                <a:gd name="T104" fmla="*/ 108 w 140"/>
                <a:gd name="T105" fmla="*/ 257 h 325"/>
                <a:gd name="T106" fmla="*/ 114 w 140"/>
                <a:gd name="T107" fmla="*/ 283 h 325"/>
                <a:gd name="T108" fmla="*/ 108 w 140"/>
                <a:gd name="T109" fmla="*/ 306 h 325"/>
                <a:gd name="T110" fmla="*/ 95 w 140"/>
                <a:gd name="T111" fmla="*/ 32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0" h="325">
                  <a:moveTo>
                    <a:pt x="95" y="325"/>
                  </a:moveTo>
                  <a:lnTo>
                    <a:pt x="95" y="325"/>
                  </a:lnTo>
                  <a:lnTo>
                    <a:pt x="95" y="324"/>
                  </a:lnTo>
                  <a:lnTo>
                    <a:pt x="95" y="324"/>
                  </a:lnTo>
                  <a:lnTo>
                    <a:pt x="98" y="318"/>
                  </a:lnTo>
                  <a:lnTo>
                    <a:pt x="98" y="318"/>
                  </a:lnTo>
                  <a:lnTo>
                    <a:pt x="101" y="310"/>
                  </a:lnTo>
                  <a:lnTo>
                    <a:pt x="102" y="303"/>
                  </a:lnTo>
                  <a:lnTo>
                    <a:pt x="102" y="302"/>
                  </a:lnTo>
                  <a:lnTo>
                    <a:pt x="102" y="302"/>
                  </a:lnTo>
                  <a:lnTo>
                    <a:pt x="102" y="302"/>
                  </a:lnTo>
                  <a:lnTo>
                    <a:pt x="102" y="302"/>
                  </a:lnTo>
                  <a:lnTo>
                    <a:pt x="102" y="302"/>
                  </a:lnTo>
                  <a:lnTo>
                    <a:pt x="102" y="299"/>
                  </a:lnTo>
                  <a:lnTo>
                    <a:pt x="102" y="299"/>
                  </a:lnTo>
                  <a:lnTo>
                    <a:pt x="104" y="293"/>
                  </a:lnTo>
                  <a:lnTo>
                    <a:pt x="105" y="284"/>
                  </a:lnTo>
                  <a:lnTo>
                    <a:pt x="105" y="284"/>
                  </a:lnTo>
                  <a:lnTo>
                    <a:pt x="105" y="281"/>
                  </a:lnTo>
                  <a:lnTo>
                    <a:pt x="104" y="279"/>
                  </a:lnTo>
                  <a:lnTo>
                    <a:pt x="104" y="279"/>
                  </a:lnTo>
                  <a:lnTo>
                    <a:pt x="102" y="274"/>
                  </a:lnTo>
                  <a:lnTo>
                    <a:pt x="101" y="270"/>
                  </a:lnTo>
                  <a:lnTo>
                    <a:pt x="101" y="270"/>
                  </a:lnTo>
                  <a:lnTo>
                    <a:pt x="97" y="255"/>
                  </a:lnTo>
                  <a:lnTo>
                    <a:pt x="97" y="255"/>
                  </a:lnTo>
                  <a:lnTo>
                    <a:pt x="89" y="232"/>
                  </a:lnTo>
                  <a:lnTo>
                    <a:pt x="89" y="232"/>
                  </a:lnTo>
                  <a:lnTo>
                    <a:pt x="86" y="221"/>
                  </a:lnTo>
                  <a:lnTo>
                    <a:pt x="86" y="221"/>
                  </a:lnTo>
                  <a:lnTo>
                    <a:pt x="85" y="218"/>
                  </a:lnTo>
                  <a:lnTo>
                    <a:pt x="85" y="218"/>
                  </a:lnTo>
                  <a:lnTo>
                    <a:pt x="84" y="216"/>
                  </a:lnTo>
                  <a:lnTo>
                    <a:pt x="84" y="216"/>
                  </a:lnTo>
                  <a:lnTo>
                    <a:pt x="82" y="215"/>
                  </a:lnTo>
                  <a:lnTo>
                    <a:pt x="82" y="215"/>
                  </a:lnTo>
                  <a:lnTo>
                    <a:pt x="79" y="212"/>
                  </a:lnTo>
                  <a:lnTo>
                    <a:pt x="79" y="212"/>
                  </a:lnTo>
                  <a:lnTo>
                    <a:pt x="79" y="212"/>
                  </a:lnTo>
                  <a:lnTo>
                    <a:pt x="78" y="212"/>
                  </a:lnTo>
                  <a:lnTo>
                    <a:pt x="78" y="212"/>
                  </a:lnTo>
                  <a:lnTo>
                    <a:pt x="78" y="211"/>
                  </a:lnTo>
                  <a:lnTo>
                    <a:pt x="78" y="211"/>
                  </a:lnTo>
                  <a:lnTo>
                    <a:pt x="75" y="209"/>
                  </a:lnTo>
                  <a:lnTo>
                    <a:pt x="75" y="209"/>
                  </a:lnTo>
                  <a:lnTo>
                    <a:pt x="75" y="209"/>
                  </a:lnTo>
                  <a:lnTo>
                    <a:pt x="73" y="211"/>
                  </a:lnTo>
                  <a:lnTo>
                    <a:pt x="73" y="211"/>
                  </a:lnTo>
                  <a:lnTo>
                    <a:pt x="69" y="212"/>
                  </a:lnTo>
                  <a:lnTo>
                    <a:pt x="69" y="212"/>
                  </a:lnTo>
                  <a:lnTo>
                    <a:pt x="65" y="218"/>
                  </a:lnTo>
                  <a:lnTo>
                    <a:pt x="65" y="218"/>
                  </a:lnTo>
                  <a:lnTo>
                    <a:pt x="59" y="222"/>
                  </a:lnTo>
                  <a:lnTo>
                    <a:pt x="59" y="222"/>
                  </a:lnTo>
                  <a:lnTo>
                    <a:pt x="50" y="226"/>
                  </a:lnTo>
                  <a:lnTo>
                    <a:pt x="50" y="226"/>
                  </a:lnTo>
                  <a:lnTo>
                    <a:pt x="44" y="229"/>
                  </a:lnTo>
                  <a:lnTo>
                    <a:pt x="44" y="229"/>
                  </a:lnTo>
                  <a:lnTo>
                    <a:pt x="44" y="229"/>
                  </a:lnTo>
                  <a:lnTo>
                    <a:pt x="42" y="228"/>
                  </a:lnTo>
                  <a:lnTo>
                    <a:pt x="42" y="228"/>
                  </a:lnTo>
                  <a:lnTo>
                    <a:pt x="36" y="225"/>
                  </a:lnTo>
                  <a:lnTo>
                    <a:pt x="36" y="225"/>
                  </a:lnTo>
                  <a:lnTo>
                    <a:pt x="33" y="222"/>
                  </a:lnTo>
                  <a:lnTo>
                    <a:pt x="33" y="222"/>
                  </a:lnTo>
                  <a:lnTo>
                    <a:pt x="33" y="222"/>
                  </a:lnTo>
                  <a:lnTo>
                    <a:pt x="33" y="222"/>
                  </a:lnTo>
                  <a:lnTo>
                    <a:pt x="37" y="212"/>
                  </a:lnTo>
                  <a:lnTo>
                    <a:pt x="37" y="212"/>
                  </a:lnTo>
                  <a:lnTo>
                    <a:pt x="39" y="206"/>
                  </a:lnTo>
                  <a:lnTo>
                    <a:pt x="40" y="200"/>
                  </a:lnTo>
                  <a:lnTo>
                    <a:pt x="40" y="200"/>
                  </a:lnTo>
                  <a:lnTo>
                    <a:pt x="40" y="197"/>
                  </a:lnTo>
                  <a:lnTo>
                    <a:pt x="40" y="197"/>
                  </a:lnTo>
                  <a:lnTo>
                    <a:pt x="37" y="187"/>
                  </a:lnTo>
                  <a:lnTo>
                    <a:pt x="34" y="180"/>
                  </a:lnTo>
                  <a:lnTo>
                    <a:pt x="29" y="174"/>
                  </a:lnTo>
                  <a:lnTo>
                    <a:pt x="29" y="174"/>
                  </a:lnTo>
                  <a:lnTo>
                    <a:pt x="18" y="163"/>
                  </a:lnTo>
                  <a:lnTo>
                    <a:pt x="8" y="154"/>
                  </a:lnTo>
                  <a:lnTo>
                    <a:pt x="8" y="154"/>
                  </a:lnTo>
                  <a:lnTo>
                    <a:pt x="4" y="147"/>
                  </a:lnTo>
                  <a:lnTo>
                    <a:pt x="0" y="140"/>
                  </a:lnTo>
                  <a:lnTo>
                    <a:pt x="0" y="140"/>
                  </a:lnTo>
                  <a:lnTo>
                    <a:pt x="4" y="135"/>
                  </a:lnTo>
                  <a:lnTo>
                    <a:pt x="7" y="131"/>
                  </a:lnTo>
                  <a:lnTo>
                    <a:pt x="7" y="131"/>
                  </a:lnTo>
                  <a:lnTo>
                    <a:pt x="7" y="128"/>
                  </a:lnTo>
                  <a:lnTo>
                    <a:pt x="7" y="128"/>
                  </a:lnTo>
                  <a:lnTo>
                    <a:pt x="5" y="118"/>
                  </a:lnTo>
                  <a:lnTo>
                    <a:pt x="5" y="118"/>
                  </a:lnTo>
                  <a:lnTo>
                    <a:pt x="7" y="112"/>
                  </a:lnTo>
                  <a:lnTo>
                    <a:pt x="7" y="112"/>
                  </a:lnTo>
                  <a:lnTo>
                    <a:pt x="8" y="108"/>
                  </a:lnTo>
                  <a:lnTo>
                    <a:pt x="10" y="102"/>
                  </a:lnTo>
                  <a:lnTo>
                    <a:pt x="10" y="102"/>
                  </a:lnTo>
                  <a:lnTo>
                    <a:pt x="13" y="95"/>
                  </a:lnTo>
                  <a:lnTo>
                    <a:pt x="14" y="89"/>
                  </a:lnTo>
                  <a:lnTo>
                    <a:pt x="18" y="86"/>
                  </a:lnTo>
                  <a:lnTo>
                    <a:pt x="18" y="86"/>
                  </a:lnTo>
                  <a:lnTo>
                    <a:pt x="21" y="83"/>
                  </a:lnTo>
                  <a:lnTo>
                    <a:pt x="26" y="79"/>
                  </a:lnTo>
                  <a:lnTo>
                    <a:pt x="31" y="71"/>
                  </a:lnTo>
                  <a:lnTo>
                    <a:pt x="31" y="71"/>
                  </a:lnTo>
                  <a:lnTo>
                    <a:pt x="39" y="50"/>
                  </a:lnTo>
                  <a:lnTo>
                    <a:pt x="46" y="37"/>
                  </a:lnTo>
                  <a:lnTo>
                    <a:pt x="49" y="31"/>
                  </a:lnTo>
                  <a:lnTo>
                    <a:pt x="53" y="28"/>
                  </a:lnTo>
                  <a:lnTo>
                    <a:pt x="53" y="28"/>
                  </a:lnTo>
                  <a:lnTo>
                    <a:pt x="58" y="27"/>
                  </a:lnTo>
                  <a:lnTo>
                    <a:pt x="63" y="27"/>
                  </a:lnTo>
                  <a:lnTo>
                    <a:pt x="63" y="27"/>
                  </a:lnTo>
                  <a:lnTo>
                    <a:pt x="65" y="27"/>
                  </a:lnTo>
                  <a:lnTo>
                    <a:pt x="65" y="27"/>
                  </a:lnTo>
                  <a:lnTo>
                    <a:pt x="68" y="27"/>
                  </a:lnTo>
                  <a:lnTo>
                    <a:pt x="68" y="27"/>
                  </a:lnTo>
                  <a:lnTo>
                    <a:pt x="72" y="27"/>
                  </a:lnTo>
                  <a:lnTo>
                    <a:pt x="73" y="25"/>
                  </a:lnTo>
                  <a:lnTo>
                    <a:pt x="73" y="24"/>
                  </a:lnTo>
                  <a:lnTo>
                    <a:pt x="73" y="24"/>
                  </a:lnTo>
                  <a:lnTo>
                    <a:pt x="73" y="21"/>
                  </a:lnTo>
                  <a:lnTo>
                    <a:pt x="75" y="16"/>
                  </a:lnTo>
                  <a:lnTo>
                    <a:pt x="78" y="14"/>
                  </a:lnTo>
                  <a:lnTo>
                    <a:pt x="78" y="8"/>
                  </a:lnTo>
                  <a:lnTo>
                    <a:pt x="81" y="8"/>
                  </a:lnTo>
                  <a:lnTo>
                    <a:pt x="81" y="8"/>
                  </a:lnTo>
                  <a:lnTo>
                    <a:pt x="88" y="3"/>
                  </a:lnTo>
                  <a:lnTo>
                    <a:pt x="91" y="0"/>
                  </a:lnTo>
                  <a:lnTo>
                    <a:pt x="94" y="0"/>
                  </a:lnTo>
                  <a:lnTo>
                    <a:pt x="94" y="0"/>
                  </a:lnTo>
                  <a:lnTo>
                    <a:pt x="95" y="0"/>
                  </a:lnTo>
                  <a:lnTo>
                    <a:pt x="95" y="0"/>
                  </a:lnTo>
                  <a:lnTo>
                    <a:pt x="97" y="6"/>
                  </a:lnTo>
                  <a:lnTo>
                    <a:pt x="98" y="16"/>
                  </a:lnTo>
                  <a:lnTo>
                    <a:pt x="100" y="27"/>
                  </a:lnTo>
                  <a:lnTo>
                    <a:pt x="101" y="31"/>
                  </a:lnTo>
                  <a:lnTo>
                    <a:pt x="101" y="31"/>
                  </a:lnTo>
                  <a:lnTo>
                    <a:pt x="104" y="38"/>
                  </a:lnTo>
                  <a:lnTo>
                    <a:pt x="104" y="43"/>
                  </a:lnTo>
                  <a:lnTo>
                    <a:pt x="104" y="47"/>
                  </a:lnTo>
                  <a:lnTo>
                    <a:pt x="104" y="47"/>
                  </a:lnTo>
                  <a:lnTo>
                    <a:pt x="101" y="51"/>
                  </a:lnTo>
                  <a:lnTo>
                    <a:pt x="97" y="57"/>
                  </a:lnTo>
                  <a:lnTo>
                    <a:pt x="91" y="64"/>
                  </a:lnTo>
                  <a:lnTo>
                    <a:pt x="89" y="69"/>
                  </a:lnTo>
                  <a:lnTo>
                    <a:pt x="89" y="69"/>
                  </a:lnTo>
                  <a:lnTo>
                    <a:pt x="88" y="76"/>
                  </a:lnTo>
                  <a:lnTo>
                    <a:pt x="89" y="79"/>
                  </a:lnTo>
                  <a:lnTo>
                    <a:pt x="91" y="82"/>
                  </a:lnTo>
                  <a:lnTo>
                    <a:pt x="91" y="82"/>
                  </a:lnTo>
                  <a:lnTo>
                    <a:pt x="98" y="86"/>
                  </a:lnTo>
                  <a:lnTo>
                    <a:pt x="102" y="89"/>
                  </a:lnTo>
                  <a:lnTo>
                    <a:pt x="105" y="93"/>
                  </a:lnTo>
                  <a:lnTo>
                    <a:pt x="105" y="93"/>
                  </a:lnTo>
                  <a:lnTo>
                    <a:pt x="108" y="99"/>
                  </a:lnTo>
                  <a:lnTo>
                    <a:pt x="113" y="105"/>
                  </a:lnTo>
                  <a:lnTo>
                    <a:pt x="115" y="109"/>
                  </a:lnTo>
                  <a:lnTo>
                    <a:pt x="115" y="112"/>
                  </a:lnTo>
                  <a:lnTo>
                    <a:pt x="115" y="112"/>
                  </a:lnTo>
                  <a:lnTo>
                    <a:pt x="111" y="119"/>
                  </a:lnTo>
                  <a:lnTo>
                    <a:pt x="110" y="124"/>
                  </a:lnTo>
                  <a:lnTo>
                    <a:pt x="111" y="125"/>
                  </a:lnTo>
                  <a:lnTo>
                    <a:pt x="111" y="127"/>
                  </a:lnTo>
                  <a:lnTo>
                    <a:pt x="111" y="127"/>
                  </a:lnTo>
                  <a:lnTo>
                    <a:pt x="118" y="129"/>
                  </a:lnTo>
                  <a:lnTo>
                    <a:pt x="127" y="131"/>
                  </a:lnTo>
                  <a:lnTo>
                    <a:pt x="127" y="131"/>
                  </a:lnTo>
                  <a:lnTo>
                    <a:pt x="130" y="131"/>
                  </a:lnTo>
                  <a:lnTo>
                    <a:pt x="130" y="131"/>
                  </a:lnTo>
                  <a:lnTo>
                    <a:pt x="134" y="128"/>
                  </a:lnTo>
                  <a:lnTo>
                    <a:pt x="139" y="127"/>
                  </a:lnTo>
                  <a:lnTo>
                    <a:pt x="139" y="127"/>
                  </a:lnTo>
                  <a:lnTo>
                    <a:pt x="140" y="127"/>
                  </a:lnTo>
                  <a:lnTo>
                    <a:pt x="140" y="128"/>
                  </a:lnTo>
                  <a:lnTo>
                    <a:pt x="140" y="128"/>
                  </a:lnTo>
                  <a:lnTo>
                    <a:pt x="133" y="140"/>
                  </a:lnTo>
                  <a:lnTo>
                    <a:pt x="133" y="140"/>
                  </a:lnTo>
                  <a:lnTo>
                    <a:pt x="121" y="151"/>
                  </a:lnTo>
                  <a:lnTo>
                    <a:pt x="121" y="151"/>
                  </a:lnTo>
                  <a:lnTo>
                    <a:pt x="117" y="150"/>
                  </a:lnTo>
                  <a:lnTo>
                    <a:pt x="117" y="150"/>
                  </a:lnTo>
                  <a:lnTo>
                    <a:pt x="114" y="151"/>
                  </a:lnTo>
                  <a:lnTo>
                    <a:pt x="111" y="153"/>
                  </a:lnTo>
                  <a:lnTo>
                    <a:pt x="111" y="153"/>
                  </a:lnTo>
                  <a:lnTo>
                    <a:pt x="108" y="157"/>
                  </a:lnTo>
                  <a:lnTo>
                    <a:pt x="105" y="161"/>
                  </a:lnTo>
                  <a:lnTo>
                    <a:pt x="102" y="164"/>
                  </a:lnTo>
                  <a:lnTo>
                    <a:pt x="98" y="167"/>
                  </a:lnTo>
                  <a:lnTo>
                    <a:pt x="98" y="167"/>
                  </a:lnTo>
                  <a:lnTo>
                    <a:pt x="95" y="169"/>
                  </a:lnTo>
                  <a:lnTo>
                    <a:pt x="92" y="171"/>
                  </a:lnTo>
                  <a:lnTo>
                    <a:pt x="89" y="176"/>
                  </a:lnTo>
                  <a:lnTo>
                    <a:pt x="88" y="180"/>
                  </a:lnTo>
                  <a:lnTo>
                    <a:pt x="88" y="180"/>
                  </a:lnTo>
                  <a:lnTo>
                    <a:pt x="88" y="184"/>
                  </a:lnTo>
                  <a:lnTo>
                    <a:pt x="88" y="184"/>
                  </a:lnTo>
                  <a:lnTo>
                    <a:pt x="89" y="196"/>
                  </a:lnTo>
                  <a:lnTo>
                    <a:pt x="91" y="203"/>
                  </a:lnTo>
                  <a:lnTo>
                    <a:pt x="91" y="203"/>
                  </a:lnTo>
                  <a:lnTo>
                    <a:pt x="98" y="211"/>
                  </a:lnTo>
                  <a:lnTo>
                    <a:pt x="102" y="216"/>
                  </a:lnTo>
                  <a:lnTo>
                    <a:pt x="104" y="222"/>
                  </a:lnTo>
                  <a:lnTo>
                    <a:pt x="104" y="222"/>
                  </a:lnTo>
                  <a:lnTo>
                    <a:pt x="104" y="228"/>
                  </a:lnTo>
                  <a:lnTo>
                    <a:pt x="104" y="228"/>
                  </a:lnTo>
                  <a:lnTo>
                    <a:pt x="104" y="234"/>
                  </a:lnTo>
                  <a:lnTo>
                    <a:pt x="102" y="238"/>
                  </a:lnTo>
                  <a:lnTo>
                    <a:pt x="102" y="238"/>
                  </a:lnTo>
                  <a:lnTo>
                    <a:pt x="101" y="239"/>
                  </a:lnTo>
                  <a:lnTo>
                    <a:pt x="101" y="239"/>
                  </a:lnTo>
                  <a:lnTo>
                    <a:pt x="104" y="247"/>
                  </a:lnTo>
                  <a:lnTo>
                    <a:pt x="108" y="257"/>
                  </a:lnTo>
                  <a:lnTo>
                    <a:pt x="108" y="257"/>
                  </a:lnTo>
                  <a:lnTo>
                    <a:pt x="113" y="268"/>
                  </a:lnTo>
                  <a:lnTo>
                    <a:pt x="114" y="276"/>
                  </a:lnTo>
                  <a:lnTo>
                    <a:pt x="114" y="283"/>
                  </a:lnTo>
                  <a:lnTo>
                    <a:pt x="114" y="283"/>
                  </a:lnTo>
                  <a:lnTo>
                    <a:pt x="114" y="287"/>
                  </a:lnTo>
                  <a:lnTo>
                    <a:pt x="114" y="287"/>
                  </a:lnTo>
                  <a:lnTo>
                    <a:pt x="108" y="306"/>
                  </a:lnTo>
                  <a:lnTo>
                    <a:pt x="105" y="316"/>
                  </a:lnTo>
                  <a:lnTo>
                    <a:pt x="102" y="322"/>
                  </a:lnTo>
                  <a:lnTo>
                    <a:pt x="102" y="322"/>
                  </a:lnTo>
                  <a:lnTo>
                    <a:pt x="95" y="325"/>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09" name="Freeform 292"/>
            <p:cNvSpPr>
              <a:spLocks/>
            </p:cNvSpPr>
            <p:nvPr/>
          </p:nvSpPr>
          <p:spPr bwMode="auto">
            <a:xfrm>
              <a:off x="6670676" y="3944938"/>
              <a:ext cx="222250" cy="515938"/>
            </a:xfrm>
            <a:custGeom>
              <a:avLst/>
              <a:gdLst>
                <a:gd name="T0" fmla="*/ 95 w 140"/>
                <a:gd name="T1" fmla="*/ 324 h 325"/>
                <a:gd name="T2" fmla="*/ 102 w 140"/>
                <a:gd name="T3" fmla="*/ 303 h 325"/>
                <a:gd name="T4" fmla="*/ 102 w 140"/>
                <a:gd name="T5" fmla="*/ 302 h 325"/>
                <a:gd name="T6" fmla="*/ 104 w 140"/>
                <a:gd name="T7" fmla="*/ 293 h 325"/>
                <a:gd name="T8" fmla="*/ 104 w 140"/>
                <a:gd name="T9" fmla="*/ 279 h 325"/>
                <a:gd name="T10" fmla="*/ 101 w 140"/>
                <a:gd name="T11" fmla="*/ 270 h 325"/>
                <a:gd name="T12" fmla="*/ 89 w 140"/>
                <a:gd name="T13" fmla="*/ 232 h 325"/>
                <a:gd name="T14" fmla="*/ 85 w 140"/>
                <a:gd name="T15" fmla="*/ 218 h 325"/>
                <a:gd name="T16" fmla="*/ 82 w 140"/>
                <a:gd name="T17" fmla="*/ 215 h 325"/>
                <a:gd name="T18" fmla="*/ 78 w 140"/>
                <a:gd name="T19" fmla="*/ 212 h 325"/>
                <a:gd name="T20" fmla="*/ 75 w 140"/>
                <a:gd name="T21" fmla="*/ 209 h 325"/>
                <a:gd name="T22" fmla="*/ 73 w 140"/>
                <a:gd name="T23" fmla="*/ 211 h 325"/>
                <a:gd name="T24" fmla="*/ 65 w 140"/>
                <a:gd name="T25" fmla="*/ 218 h 325"/>
                <a:gd name="T26" fmla="*/ 50 w 140"/>
                <a:gd name="T27" fmla="*/ 226 h 325"/>
                <a:gd name="T28" fmla="*/ 42 w 140"/>
                <a:gd name="T29" fmla="*/ 228 h 325"/>
                <a:gd name="T30" fmla="*/ 33 w 140"/>
                <a:gd name="T31" fmla="*/ 222 h 325"/>
                <a:gd name="T32" fmla="*/ 37 w 140"/>
                <a:gd name="T33" fmla="*/ 212 h 325"/>
                <a:gd name="T34" fmla="*/ 40 w 140"/>
                <a:gd name="T35" fmla="*/ 200 h 325"/>
                <a:gd name="T36" fmla="*/ 34 w 140"/>
                <a:gd name="T37" fmla="*/ 180 h 325"/>
                <a:gd name="T38" fmla="*/ 8 w 140"/>
                <a:gd name="T39" fmla="*/ 154 h 325"/>
                <a:gd name="T40" fmla="*/ 0 w 140"/>
                <a:gd name="T41" fmla="*/ 140 h 325"/>
                <a:gd name="T42" fmla="*/ 7 w 140"/>
                <a:gd name="T43" fmla="*/ 128 h 325"/>
                <a:gd name="T44" fmla="*/ 7 w 140"/>
                <a:gd name="T45" fmla="*/ 112 h 325"/>
                <a:gd name="T46" fmla="*/ 10 w 140"/>
                <a:gd name="T47" fmla="*/ 102 h 325"/>
                <a:gd name="T48" fmla="*/ 18 w 140"/>
                <a:gd name="T49" fmla="*/ 86 h 325"/>
                <a:gd name="T50" fmla="*/ 31 w 140"/>
                <a:gd name="T51" fmla="*/ 71 h 325"/>
                <a:gd name="T52" fmla="*/ 53 w 140"/>
                <a:gd name="T53" fmla="*/ 28 h 325"/>
                <a:gd name="T54" fmla="*/ 63 w 140"/>
                <a:gd name="T55" fmla="*/ 27 h 325"/>
                <a:gd name="T56" fmla="*/ 68 w 140"/>
                <a:gd name="T57" fmla="*/ 27 h 325"/>
                <a:gd name="T58" fmla="*/ 73 w 140"/>
                <a:gd name="T59" fmla="*/ 24 h 325"/>
                <a:gd name="T60" fmla="*/ 78 w 140"/>
                <a:gd name="T61" fmla="*/ 8 h 325"/>
                <a:gd name="T62" fmla="*/ 91 w 140"/>
                <a:gd name="T63" fmla="*/ 0 h 325"/>
                <a:gd name="T64" fmla="*/ 95 w 140"/>
                <a:gd name="T65" fmla="*/ 0 h 325"/>
                <a:gd name="T66" fmla="*/ 101 w 140"/>
                <a:gd name="T67" fmla="*/ 31 h 325"/>
                <a:gd name="T68" fmla="*/ 104 w 140"/>
                <a:gd name="T69" fmla="*/ 47 h 325"/>
                <a:gd name="T70" fmla="*/ 91 w 140"/>
                <a:gd name="T71" fmla="*/ 64 h 325"/>
                <a:gd name="T72" fmla="*/ 89 w 140"/>
                <a:gd name="T73" fmla="*/ 79 h 325"/>
                <a:gd name="T74" fmla="*/ 102 w 140"/>
                <a:gd name="T75" fmla="*/ 89 h 325"/>
                <a:gd name="T76" fmla="*/ 113 w 140"/>
                <a:gd name="T77" fmla="*/ 105 h 325"/>
                <a:gd name="T78" fmla="*/ 111 w 140"/>
                <a:gd name="T79" fmla="*/ 119 h 325"/>
                <a:gd name="T80" fmla="*/ 111 w 140"/>
                <a:gd name="T81" fmla="*/ 127 h 325"/>
                <a:gd name="T82" fmla="*/ 130 w 140"/>
                <a:gd name="T83" fmla="*/ 131 h 325"/>
                <a:gd name="T84" fmla="*/ 139 w 140"/>
                <a:gd name="T85" fmla="*/ 127 h 325"/>
                <a:gd name="T86" fmla="*/ 133 w 140"/>
                <a:gd name="T87" fmla="*/ 140 h 325"/>
                <a:gd name="T88" fmla="*/ 117 w 140"/>
                <a:gd name="T89" fmla="*/ 150 h 325"/>
                <a:gd name="T90" fmla="*/ 111 w 140"/>
                <a:gd name="T91" fmla="*/ 153 h 325"/>
                <a:gd name="T92" fmla="*/ 98 w 140"/>
                <a:gd name="T93" fmla="*/ 167 h 325"/>
                <a:gd name="T94" fmla="*/ 89 w 140"/>
                <a:gd name="T95" fmla="*/ 176 h 325"/>
                <a:gd name="T96" fmla="*/ 88 w 140"/>
                <a:gd name="T97" fmla="*/ 184 h 325"/>
                <a:gd name="T98" fmla="*/ 98 w 140"/>
                <a:gd name="T99" fmla="*/ 211 h 325"/>
                <a:gd name="T100" fmla="*/ 104 w 140"/>
                <a:gd name="T101" fmla="*/ 228 h 325"/>
                <a:gd name="T102" fmla="*/ 102 w 140"/>
                <a:gd name="T103" fmla="*/ 238 h 325"/>
                <a:gd name="T104" fmla="*/ 108 w 140"/>
                <a:gd name="T105" fmla="*/ 257 h 325"/>
                <a:gd name="T106" fmla="*/ 114 w 140"/>
                <a:gd name="T107" fmla="*/ 283 h 325"/>
                <a:gd name="T108" fmla="*/ 108 w 140"/>
                <a:gd name="T109" fmla="*/ 306 h 325"/>
                <a:gd name="T110" fmla="*/ 95 w 140"/>
                <a:gd name="T111" fmla="*/ 32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0" h="325">
                  <a:moveTo>
                    <a:pt x="95" y="325"/>
                  </a:moveTo>
                  <a:lnTo>
                    <a:pt x="95" y="325"/>
                  </a:lnTo>
                  <a:lnTo>
                    <a:pt x="95" y="324"/>
                  </a:lnTo>
                  <a:lnTo>
                    <a:pt x="95" y="324"/>
                  </a:lnTo>
                  <a:lnTo>
                    <a:pt x="98" y="318"/>
                  </a:lnTo>
                  <a:lnTo>
                    <a:pt x="98" y="318"/>
                  </a:lnTo>
                  <a:lnTo>
                    <a:pt x="101" y="310"/>
                  </a:lnTo>
                  <a:lnTo>
                    <a:pt x="102" y="303"/>
                  </a:lnTo>
                  <a:lnTo>
                    <a:pt x="102" y="302"/>
                  </a:lnTo>
                  <a:lnTo>
                    <a:pt x="102" y="302"/>
                  </a:lnTo>
                  <a:lnTo>
                    <a:pt x="102" y="302"/>
                  </a:lnTo>
                  <a:lnTo>
                    <a:pt x="102" y="302"/>
                  </a:lnTo>
                  <a:lnTo>
                    <a:pt x="102" y="302"/>
                  </a:lnTo>
                  <a:lnTo>
                    <a:pt x="102" y="299"/>
                  </a:lnTo>
                  <a:lnTo>
                    <a:pt x="102" y="299"/>
                  </a:lnTo>
                  <a:lnTo>
                    <a:pt x="104" y="293"/>
                  </a:lnTo>
                  <a:lnTo>
                    <a:pt x="105" y="284"/>
                  </a:lnTo>
                  <a:lnTo>
                    <a:pt x="105" y="284"/>
                  </a:lnTo>
                  <a:lnTo>
                    <a:pt x="105" y="281"/>
                  </a:lnTo>
                  <a:lnTo>
                    <a:pt x="104" y="279"/>
                  </a:lnTo>
                  <a:lnTo>
                    <a:pt x="104" y="279"/>
                  </a:lnTo>
                  <a:lnTo>
                    <a:pt x="102" y="274"/>
                  </a:lnTo>
                  <a:lnTo>
                    <a:pt x="101" y="270"/>
                  </a:lnTo>
                  <a:lnTo>
                    <a:pt x="101" y="270"/>
                  </a:lnTo>
                  <a:lnTo>
                    <a:pt x="97" y="255"/>
                  </a:lnTo>
                  <a:lnTo>
                    <a:pt x="97" y="255"/>
                  </a:lnTo>
                  <a:lnTo>
                    <a:pt x="89" y="232"/>
                  </a:lnTo>
                  <a:lnTo>
                    <a:pt x="89" y="232"/>
                  </a:lnTo>
                  <a:lnTo>
                    <a:pt x="86" y="221"/>
                  </a:lnTo>
                  <a:lnTo>
                    <a:pt x="86" y="221"/>
                  </a:lnTo>
                  <a:lnTo>
                    <a:pt x="85" y="218"/>
                  </a:lnTo>
                  <a:lnTo>
                    <a:pt x="85" y="218"/>
                  </a:lnTo>
                  <a:lnTo>
                    <a:pt x="84" y="216"/>
                  </a:lnTo>
                  <a:lnTo>
                    <a:pt x="84" y="216"/>
                  </a:lnTo>
                  <a:lnTo>
                    <a:pt x="82" y="215"/>
                  </a:lnTo>
                  <a:lnTo>
                    <a:pt x="82" y="215"/>
                  </a:lnTo>
                  <a:lnTo>
                    <a:pt x="79" y="212"/>
                  </a:lnTo>
                  <a:lnTo>
                    <a:pt x="79" y="212"/>
                  </a:lnTo>
                  <a:lnTo>
                    <a:pt x="79" y="212"/>
                  </a:lnTo>
                  <a:lnTo>
                    <a:pt x="78" y="212"/>
                  </a:lnTo>
                  <a:lnTo>
                    <a:pt x="78" y="212"/>
                  </a:lnTo>
                  <a:lnTo>
                    <a:pt x="78" y="211"/>
                  </a:lnTo>
                  <a:lnTo>
                    <a:pt x="78" y="211"/>
                  </a:lnTo>
                  <a:lnTo>
                    <a:pt x="75" y="209"/>
                  </a:lnTo>
                  <a:lnTo>
                    <a:pt x="75" y="209"/>
                  </a:lnTo>
                  <a:lnTo>
                    <a:pt x="75" y="209"/>
                  </a:lnTo>
                  <a:lnTo>
                    <a:pt x="73" y="211"/>
                  </a:lnTo>
                  <a:lnTo>
                    <a:pt x="73" y="211"/>
                  </a:lnTo>
                  <a:lnTo>
                    <a:pt x="69" y="212"/>
                  </a:lnTo>
                  <a:lnTo>
                    <a:pt x="69" y="212"/>
                  </a:lnTo>
                  <a:lnTo>
                    <a:pt x="65" y="218"/>
                  </a:lnTo>
                  <a:lnTo>
                    <a:pt x="65" y="218"/>
                  </a:lnTo>
                  <a:lnTo>
                    <a:pt x="59" y="222"/>
                  </a:lnTo>
                  <a:lnTo>
                    <a:pt x="59" y="222"/>
                  </a:lnTo>
                  <a:lnTo>
                    <a:pt x="50" y="226"/>
                  </a:lnTo>
                  <a:lnTo>
                    <a:pt x="50" y="226"/>
                  </a:lnTo>
                  <a:lnTo>
                    <a:pt x="44" y="229"/>
                  </a:lnTo>
                  <a:lnTo>
                    <a:pt x="44" y="229"/>
                  </a:lnTo>
                  <a:lnTo>
                    <a:pt x="44" y="229"/>
                  </a:lnTo>
                  <a:lnTo>
                    <a:pt x="42" y="228"/>
                  </a:lnTo>
                  <a:lnTo>
                    <a:pt x="42" y="228"/>
                  </a:lnTo>
                  <a:lnTo>
                    <a:pt x="36" y="225"/>
                  </a:lnTo>
                  <a:lnTo>
                    <a:pt x="36" y="225"/>
                  </a:lnTo>
                  <a:lnTo>
                    <a:pt x="33" y="222"/>
                  </a:lnTo>
                  <a:lnTo>
                    <a:pt x="33" y="222"/>
                  </a:lnTo>
                  <a:lnTo>
                    <a:pt x="33" y="222"/>
                  </a:lnTo>
                  <a:lnTo>
                    <a:pt x="33" y="222"/>
                  </a:lnTo>
                  <a:lnTo>
                    <a:pt x="37" y="212"/>
                  </a:lnTo>
                  <a:lnTo>
                    <a:pt x="37" y="212"/>
                  </a:lnTo>
                  <a:lnTo>
                    <a:pt x="39" y="206"/>
                  </a:lnTo>
                  <a:lnTo>
                    <a:pt x="40" y="200"/>
                  </a:lnTo>
                  <a:lnTo>
                    <a:pt x="40" y="200"/>
                  </a:lnTo>
                  <a:lnTo>
                    <a:pt x="40" y="197"/>
                  </a:lnTo>
                  <a:lnTo>
                    <a:pt x="40" y="197"/>
                  </a:lnTo>
                  <a:lnTo>
                    <a:pt x="37" y="187"/>
                  </a:lnTo>
                  <a:lnTo>
                    <a:pt x="34" y="180"/>
                  </a:lnTo>
                  <a:lnTo>
                    <a:pt x="29" y="174"/>
                  </a:lnTo>
                  <a:lnTo>
                    <a:pt x="29" y="174"/>
                  </a:lnTo>
                  <a:lnTo>
                    <a:pt x="18" y="163"/>
                  </a:lnTo>
                  <a:lnTo>
                    <a:pt x="8" y="154"/>
                  </a:lnTo>
                  <a:lnTo>
                    <a:pt x="8" y="154"/>
                  </a:lnTo>
                  <a:lnTo>
                    <a:pt x="4" y="147"/>
                  </a:lnTo>
                  <a:lnTo>
                    <a:pt x="0" y="140"/>
                  </a:lnTo>
                  <a:lnTo>
                    <a:pt x="0" y="140"/>
                  </a:lnTo>
                  <a:lnTo>
                    <a:pt x="4" y="135"/>
                  </a:lnTo>
                  <a:lnTo>
                    <a:pt x="7" y="131"/>
                  </a:lnTo>
                  <a:lnTo>
                    <a:pt x="7" y="131"/>
                  </a:lnTo>
                  <a:lnTo>
                    <a:pt x="7" y="128"/>
                  </a:lnTo>
                  <a:lnTo>
                    <a:pt x="7" y="128"/>
                  </a:lnTo>
                  <a:lnTo>
                    <a:pt x="5" y="118"/>
                  </a:lnTo>
                  <a:lnTo>
                    <a:pt x="5" y="118"/>
                  </a:lnTo>
                  <a:lnTo>
                    <a:pt x="7" y="112"/>
                  </a:lnTo>
                  <a:lnTo>
                    <a:pt x="7" y="112"/>
                  </a:lnTo>
                  <a:lnTo>
                    <a:pt x="8" y="108"/>
                  </a:lnTo>
                  <a:lnTo>
                    <a:pt x="10" y="102"/>
                  </a:lnTo>
                  <a:lnTo>
                    <a:pt x="10" y="102"/>
                  </a:lnTo>
                  <a:lnTo>
                    <a:pt x="13" y="95"/>
                  </a:lnTo>
                  <a:lnTo>
                    <a:pt x="14" y="89"/>
                  </a:lnTo>
                  <a:lnTo>
                    <a:pt x="18" y="86"/>
                  </a:lnTo>
                  <a:lnTo>
                    <a:pt x="18" y="86"/>
                  </a:lnTo>
                  <a:lnTo>
                    <a:pt x="21" y="83"/>
                  </a:lnTo>
                  <a:lnTo>
                    <a:pt x="26" y="79"/>
                  </a:lnTo>
                  <a:lnTo>
                    <a:pt x="31" y="71"/>
                  </a:lnTo>
                  <a:lnTo>
                    <a:pt x="31" y="71"/>
                  </a:lnTo>
                  <a:lnTo>
                    <a:pt x="39" y="50"/>
                  </a:lnTo>
                  <a:lnTo>
                    <a:pt x="46" y="37"/>
                  </a:lnTo>
                  <a:lnTo>
                    <a:pt x="49" y="31"/>
                  </a:lnTo>
                  <a:lnTo>
                    <a:pt x="53" y="28"/>
                  </a:lnTo>
                  <a:lnTo>
                    <a:pt x="53" y="28"/>
                  </a:lnTo>
                  <a:lnTo>
                    <a:pt x="58" y="27"/>
                  </a:lnTo>
                  <a:lnTo>
                    <a:pt x="63" y="27"/>
                  </a:lnTo>
                  <a:lnTo>
                    <a:pt x="63" y="27"/>
                  </a:lnTo>
                  <a:lnTo>
                    <a:pt x="65" y="27"/>
                  </a:lnTo>
                  <a:lnTo>
                    <a:pt x="65" y="27"/>
                  </a:lnTo>
                  <a:lnTo>
                    <a:pt x="68" y="27"/>
                  </a:lnTo>
                  <a:lnTo>
                    <a:pt x="68" y="27"/>
                  </a:lnTo>
                  <a:lnTo>
                    <a:pt x="72" y="27"/>
                  </a:lnTo>
                  <a:lnTo>
                    <a:pt x="73" y="25"/>
                  </a:lnTo>
                  <a:lnTo>
                    <a:pt x="73" y="24"/>
                  </a:lnTo>
                  <a:lnTo>
                    <a:pt x="73" y="24"/>
                  </a:lnTo>
                  <a:lnTo>
                    <a:pt x="73" y="21"/>
                  </a:lnTo>
                  <a:lnTo>
                    <a:pt x="75" y="16"/>
                  </a:lnTo>
                  <a:lnTo>
                    <a:pt x="78" y="14"/>
                  </a:lnTo>
                  <a:lnTo>
                    <a:pt x="78" y="8"/>
                  </a:lnTo>
                  <a:lnTo>
                    <a:pt x="81" y="8"/>
                  </a:lnTo>
                  <a:lnTo>
                    <a:pt x="81" y="8"/>
                  </a:lnTo>
                  <a:lnTo>
                    <a:pt x="88" y="3"/>
                  </a:lnTo>
                  <a:lnTo>
                    <a:pt x="91" y="0"/>
                  </a:lnTo>
                  <a:lnTo>
                    <a:pt x="94" y="0"/>
                  </a:lnTo>
                  <a:lnTo>
                    <a:pt x="94" y="0"/>
                  </a:lnTo>
                  <a:lnTo>
                    <a:pt x="95" y="0"/>
                  </a:lnTo>
                  <a:lnTo>
                    <a:pt x="95" y="0"/>
                  </a:lnTo>
                  <a:lnTo>
                    <a:pt x="97" y="6"/>
                  </a:lnTo>
                  <a:lnTo>
                    <a:pt x="98" y="16"/>
                  </a:lnTo>
                  <a:lnTo>
                    <a:pt x="100" y="27"/>
                  </a:lnTo>
                  <a:lnTo>
                    <a:pt x="101" y="31"/>
                  </a:lnTo>
                  <a:lnTo>
                    <a:pt x="101" y="31"/>
                  </a:lnTo>
                  <a:lnTo>
                    <a:pt x="104" y="38"/>
                  </a:lnTo>
                  <a:lnTo>
                    <a:pt x="104" y="43"/>
                  </a:lnTo>
                  <a:lnTo>
                    <a:pt x="104" y="47"/>
                  </a:lnTo>
                  <a:lnTo>
                    <a:pt x="104" y="47"/>
                  </a:lnTo>
                  <a:lnTo>
                    <a:pt x="101" y="51"/>
                  </a:lnTo>
                  <a:lnTo>
                    <a:pt x="97" y="57"/>
                  </a:lnTo>
                  <a:lnTo>
                    <a:pt x="91" y="64"/>
                  </a:lnTo>
                  <a:lnTo>
                    <a:pt x="89" y="69"/>
                  </a:lnTo>
                  <a:lnTo>
                    <a:pt x="89" y="69"/>
                  </a:lnTo>
                  <a:lnTo>
                    <a:pt x="88" y="76"/>
                  </a:lnTo>
                  <a:lnTo>
                    <a:pt x="89" y="79"/>
                  </a:lnTo>
                  <a:lnTo>
                    <a:pt x="91" y="82"/>
                  </a:lnTo>
                  <a:lnTo>
                    <a:pt x="91" y="82"/>
                  </a:lnTo>
                  <a:lnTo>
                    <a:pt x="98" y="86"/>
                  </a:lnTo>
                  <a:lnTo>
                    <a:pt x="102" y="89"/>
                  </a:lnTo>
                  <a:lnTo>
                    <a:pt x="105" y="93"/>
                  </a:lnTo>
                  <a:lnTo>
                    <a:pt x="105" y="93"/>
                  </a:lnTo>
                  <a:lnTo>
                    <a:pt x="108" y="99"/>
                  </a:lnTo>
                  <a:lnTo>
                    <a:pt x="113" y="105"/>
                  </a:lnTo>
                  <a:lnTo>
                    <a:pt x="115" y="109"/>
                  </a:lnTo>
                  <a:lnTo>
                    <a:pt x="115" y="112"/>
                  </a:lnTo>
                  <a:lnTo>
                    <a:pt x="115" y="112"/>
                  </a:lnTo>
                  <a:lnTo>
                    <a:pt x="111" y="119"/>
                  </a:lnTo>
                  <a:lnTo>
                    <a:pt x="110" y="124"/>
                  </a:lnTo>
                  <a:lnTo>
                    <a:pt x="111" y="125"/>
                  </a:lnTo>
                  <a:lnTo>
                    <a:pt x="111" y="127"/>
                  </a:lnTo>
                  <a:lnTo>
                    <a:pt x="111" y="127"/>
                  </a:lnTo>
                  <a:lnTo>
                    <a:pt x="118" y="129"/>
                  </a:lnTo>
                  <a:lnTo>
                    <a:pt x="127" y="131"/>
                  </a:lnTo>
                  <a:lnTo>
                    <a:pt x="127" y="131"/>
                  </a:lnTo>
                  <a:lnTo>
                    <a:pt x="130" y="131"/>
                  </a:lnTo>
                  <a:lnTo>
                    <a:pt x="130" y="131"/>
                  </a:lnTo>
                  <a:lnTo>
                    <a:pt x="134" y="128"/>
                  </a:lnTo>
                  <a:lnTo>
                    <a:pt x="139" y="127"/>
                  </a:lnTo>
                  <a:lnTo>
                    <a:pt x="139" y="127"/>
                  </a:lnTo>
                  <a:lnTo>
                    <a:pt x="140" y="127"/>
                  </a:lnTo>
                  <a:lnTo>
                    <a:pt x="140" y="128"/>
                  </a:lnTo>
                  <a:lnTo>
                    <a:pt x="140" y="128"/>
                  </a:lnTo>
                  <a:lnTo>
                    <a:pt x="133" y="140"/>
                  </a:lnTo>
                  <a:lnTo>
                    <a:pt x="133" y="140"/>
                  </a:lnTo>
                  <a:lnTo>
                    <a:pt x="121" y="151"/>
                  </a:lnTo>
                  <a:lnTo>
                    <a:pt x="121" y="151"/>
                  </a:lnTo>
                  <a:lnTo>
                    <a:pt x="117" y="150"/>
                  </a:lnTo>
                  <a:lnTo>
                    <a:pt x="117" y="150"/>
                  </a:lnTo>
                  <a:lnTo>
                    <a:pt x="114" y="151"/>
                  </a:lnTo>
                  <a:lnTo>
                    <a:pt x="111" y="153"/>
                  </a:lnTo>
                  <a:lnTo>
                    <a:pt x="111" y="153"/>
                  </a:lnTo>
                  <a:lnTo>
                    <a:pt x="108" y="157"/>
                  </a:lnTo>
                  <a:lnTo>
                    <a:pt x="105" y="161"/>
                  </a:lnTo>
                  <a:lnTo>
                    <a:pt x="102" y="164"/>
                  </a:lnTo>
                  <a:lnTo>
                    <a:pt x="98" y="167"/>
                  </a:lnTo>
                  <a:lnTo>
                    <a:pt x="98" y="167"/>
                  </a:lnTo>
                  <a:lnTo>
                    <a:pt x="95" y="169"/>
                  </a:lnTo>
                  <a:lnTo>
                    <a:pt x="92" y="171"/>
                  </a:lnTo>
                  <a:lnTo>
                    <a:pt x="89" y="176"/>
                  </a:lnTo>
                  <a:lnTo>
                    <a:pt x="88" y="180"/>
                  </a:lnTo>
                  <a:lnTo>
                    <a:pt x="88" y="180"/>
                  </a:lnTo>
                  <a:lnTo>
                    <a:pt x="88" y="184"/>
                  </a:lnTo>
                  <a:lnTo>
                    <a:pt x="88" y="184"/>
                  </a:lnTo>
                  <a:lnTo>
                    <a:pt x="89" y="196"/>
                  </a:lnTo>
                  <a:lnTo>
                    <a:pt x="91" y="203"/>
                  </a:lnTo>
                  <a:lnTo>
                    <a:pt x="91" y="203"/>
                  </a:lnTo>
                  <a:lnTo>
                    <a:pt x="98" y="211"/>
                  </a:lnTo>
                  <a:lnTo>
                    <a:pt x="102" y="216"/>
                  </a:lnTo>
                  <a:lnTo>
                    <a:pt x="104" y="222"/>
                  </a:lnTo>
                  <a:lnTo>
                    <a:pt x="104" y="222"/>
                  </a:lnTo>
                  <a:lnTo>
                    <a:pt x="104" y="228"/>
                  </a:lnTo>
                  <a:lnTo>
                    <a:pt x="104" y="228"/>
                  </a:lnTo>
                  <a:lnTo>
                    <a:pt x="104" y="234"/>
                  </a:lnTo>
                  <a:lnTo>
                    <a:pt x="102" y="238"/>
                  </a:lnTo>
                  <a:lnTo>
                    <a:pt x="102" y="238"/>
                  </a:lnTo>
                  <a:lnTo>
                    <a:pt x="101" y="239"/>
                  </a:lnTo>
                  <a:lnTo>
                    <a:pt x="101" y="239"/>
                  </a:lnTo>
                  <a:lnTo>
                    <a:pt x="104" y="247"/>
                  </a:lnTo>
                  <a:lnTo>
                    <a:pt x="108" y="257"/>
                  </a:lnTo>
                  <a:lnTo>
                    <a:pt x="108" y="257"/>
                  </a:lnTo>
                  <a:lnTo>
                    <a:pt x="113" y="268"/>
                  </a:lnTo>
                  <a:lnTo>
                    <a:pt x="114" y="276"/>
                  </a:lnTo>
                  <a:lnTo>
                    <a:pt x="114" y="283"/>
                  </a:lnTo>
                  <a:lnTo>
                    <a:pt x="114" y="283"/>
                  </a:lnTo>
                  <a:lnTo>
                    <a:pt x="114" y="287"/>
                  </a:lnTo>
                  <a:lnTo>
                    <a:pt x="114" y="287"/>
                  </a:lnTo>
                  <a:lnTo>
                    <a:pt x="108" y="306"/>
                  </a:lnTo>
                  <a:lnTo>
                    <a:pt x="105" y="316"/>
                  </a:lnTo>
                  <a:lnTo>
                    <a:pt x="102" y="322"/>
                  </a:lnTo>
                  <a:lnTo>
                    <a:pt x="102" y="322"/>
                  </a:lnTo>
                  <a:lnTo>
                    <a:pt x="95" y="32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10" name="Freeform 293"/>
            <p:cNvSpPr>
              <a:spLocks/>
            </p:cNvSpPr>
            <p:nvPr/>
          </p:nvSpPr>
          <p:spPr bwMode="auto">
            <a:xfrm>
              <a:off x="6810376" y="4183063"/>
              <a:ext cx="198438" cy="381000"/>
            </a:xfrm>
            <a:custGeom>
              <a:avLst/>
              <a:gdLst>
                <a:gd name="T0" fmla="*/ 116 w 125"/>
                <a:gd name="T1" fmla="*/ 78 h 240"/>
                <a:gd name="T2" fmla="*/ 109 w 125"/>
                <a:gd name="T3" fmla="*/ 66 h 240"/>
                <a:gd name="T4" fmla="*/ 94 w 125"/>
                <a:gd name="T5" fmla="*/ 39 h 240"/>
                <a:gd name="T6" fmla="*/ 90 w 125"/>
                <a:gd name="T7" fmla="*/ 39 h 240"/>
                <a:gd name="T8" fmla="*/ 85 w 125"/>
                <a:gd name="T9" fmla="*/ 42 h 240"/>
                <a:gd name="T10" fmla="*/ 84 w 125"/>
                <a:gd name="T11" fmla="*/ 42 h 240"/>
                <a:gd name="T12" fmla="*/ 74 w 125"/>
                <a:gd name="T13" fmla="*/ 36 h 240"/>
                <a:gd name="T14" fmla="*/ 67 w 125"/>
                <a:gd name="T15" fmla="*/ 40 h 240"/>
                <a:gd name="T16" fmla="*/ 52 w 125"/>
                <a:gd name="T17" fmla="*/ 50 h 240"/>
                <a:gd name="T18" fmla="*/ 49 w 125"/>
                <a:gd name="T19" fmla="*/ 49 h 240"/>
                <a:gd name="T20" fmla="*/ 51 w 125"/>
                <a:gd name="T21" fmla="*/ 37 h 240"/>
                <a:gd name="T22" fmla="*/ 54 w 125"/>
                <a:gd name="T23" fmla="*/ 24 h 240"/>
                <a:gd name="T24" fmla="*/ 46 w 125"/>
                <a:gd name="T25" fmla="*/ 14 h 240"/>
                <a:gd name="T26" fmla="*/ 42 w 125"/>
                <a:gd name="T27" fmla="*/ 7 h 240"/>
                <a:gd name="T28" fmla="*/ 29 w 125"/>
                <a:gd name="T29" fmla="*/ 0 h 240"/>
                <a:gd name="T30" fmla="*/ 23 w 125"/>
                <a:gd name="T31" fmla="*/ 3 h 240"/>
                <a:gd name="T32" fmla="*/ 14 w 125"/>
                <a:gd name="T33" fmla="*/ 14 h 240"/>
                <a:gd name="T34" fmla="*/ 7 w 125"/>
                <a:gd name="T35" fmla="*/ 19 h 240"/>
                <a:gd name="T36" fmla="*/ 0 w 125"/>
                <a:gd name="T37" fmla="*/ 30 h 240"/>
                <a:gd name="T38" fmla="*/ 1 w 125"/>
                <a:gd name="T39" fmla="*/ 43 h 240"/>
                <a:gd name="T40" fmla="*/ 10 w 125"/>
                <a:gd name="T41" fmla="*/ 61 h 240"/>
                <a:gd name="T42" fmla="*/ 16 w 125"/>
                <a:gd name="T43" fmla="*/ 72 h 240"/>
                <a:gd name="T44" fmla="*/ 14 w 125"/>
                <a:gd name="T45" fmla="*/ 88 h 240"/>
                <a:gd name="T46" fmla="*/ 14 w 125"/>
                <a:gd name="T47" fmla="*/ 95 h 240"/>
                <a:gd name="T48" fmla="*/ 25 w 125"/>
                <a:gd name="T49" fmla="*/ 121 h 240"/>
                <a:gd name="T50" fmla="*/ 26 w 125"/>
                <a:gd name="T51" fmla="*/ 137 h 240"/>
                <a:gd name="T52" fmla="*/ 14 w 125"/>
                <a:gd name="T53" fmla="*/ 172 h 240"/>
                <a:gd name="T54" fmla="*/ 4 w 125"/>
                <a:gd name="T55" fmla="*/ 176 h 240"/>
                <a:gd name="T56" fmla="*/ 6 w 125"/>
                <a:gd name="T57" fmla="*/ 191 h 240"/>
                <a:gd name="T58" fmla="*/ 9 w 125"/>
                <a:gd name="T59" fmla="*/ 202 h 240"/>
                <a:gd name="T60" fmla="*/ 17 w 125"/>
                <a:gd name="T61" fmla="*/ 208 h 240"/>
                <a:gd name="T62" fmla="*/ 35 w 125"/>
                <a:gd name="T63" fmla="*/ 229 h 240"/>
                <a:gd name="T64" fmla="*/ 48 w 125"/>
                <a:gd name="T65" fmla="*/ 237 h 240"/>
                <a:gd name="T66" fmla="*/ 55 w 125"/>
                <a:gd name="T67" fmla="*/ 240 h 240"/>
                <a:gd name="T68" fmla="*/ 67 w 125"/>
                <a:gd name="T69" fmla="*/ 234 h 240"/>
                <a:gd name="T70" fmla="*/ 52 w 125"/>
                <a:gd name="T71" fmla="*/ 227 h 240"/>
                <a:gd name="T72" fmla="*/ 42 w 125"/>
                <a:gd name="T73" fmla="*/ 210 h 240"/>
                <a:gd name="T74" fmla="*/ 33 w 125"/>
                <a:gd name="T75" fmla="*/ 188 h 240"/>
                <a:gd name="T76" fmla="*/ 27 w 125"/>
                <a:gd name="T77" fmla="*/ 189 h 240"/>
                <a:gd name="T78" fmla="*/ 25 w 125"/>
                <a:gd name="T79" fmla="*/ 184 h 240"/>
                <a:gd name="T80" fmla="*/ 25 w 125"/>
                <a:gd name="T81" fmla="*/ 174 h 240"/>
                <a:gd name="T82" fmla="*/ 32 w 125"/>
                <a:gd name="T83" fmla="*/ 156 h 240"/>
                <a:gd name="T84" fmla="*/ 43 w 125"/>
                <a:gd name="T85" fmla="*/ 121 h 240"/>
                <a:gd name="T86" fmla="*/ 48 w 125"/>
                <a:gd name="T87" fmla="*/ 123 h 240"/>
                <a:gd name="T88" fmla="*/ 54 w 125"/>
                <a:gd name="T89" fmla="*/ 130 h 240"/>
                <a:gd name="T90" fmla="*/ 62 w 125"/>
                <a:gd name="T91" fmla="*/ 129 h 240"/>
                <a:gd name="T92" fmla="*/ 69 w 125"/>
                <a:gd name="T93" fmla="*/ 140 h 240"/>
                <a:gd name="T94" fmla="*/ 72 w 125"/>
                <a:gd name="T95" fmla="*/ 143 h 240"/>
                <a:gd name="T96" fmla="*/ 80 w 125"/>
                <a:gd name="T97" fmla="*/ 145 h 240"/>
                <a:gd name="T98" fmla="*/ 78 w 125"/>
                <a:gd name="T99" fmla="*/ 131 h 240"/>
                <a:gd name="T100" fmla="*/ 77 w 125"/>
                <a:gd name="T101" fmla="*/ 126 h 240"/>
                <a:gd name="T102" fmla="*/ 84 w 125"/>
                <a:gd name="T103" fmla="*/ 110 h 240"/>
                <a:gd name="T104" fmla="*/ 90 w 125"/>
                <a:gd name="T105" fmla="*/ 108 h 240"/>
                <a:gd name="T106" fmla="*/ 104 w 125"/>
                <a:gd name="T107" fmla="*/ 108 h 240"/>
                <a:gd name="T108" fmla="*/ 116 w 125"/>
                <a:gd name="T109" fmla="*/ 107 h 240"/>
                <a:gd name="T110" fmla="*/ 125 w 125"/>
                <a:gd name="T111" fmla="*/ 9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5" h="240">
                  <a:moveTo>
                    <a:pt x="125" y="88"/>
                  </a:moveTo>
                  <a:lnTo>
                    <a:pt x="125" y="88"/>
                  </a:lnTo>
                  <a:lnTo>
                    <a:pt x="116" y="78"/>
                  </a:lnTo>
                  <a:lnTo>
                    <a:pt x="110" y="72"/>
                  </a:lnTo>
                  <a:lnTo>
                    <a:pt x="109" y="66"/>
                  </a:lnTo>
                  <a:lnTo>
                    <a:pt x="109" y="66"/>
                  </a:lnTo>
                  <a:lnTo>
                    <a:pt x="101" y="50"/>
                  </a:lnTo>
                  <a:lnTo>
                    <a:pt x="97" y="42"/>
                  </a:lnTo>
                  <a:lnTo>
                    <a:pt x="94" y="39"/>
                  </a:lnTo>
                  <a:lnTo>
                    <a:pt x="93" y="37"/>
                  </a:lnTo>
                  <a:lnTo>
                    <a:pt x="93" y="37"/>
                  </a:lnTo>
                  <a:lnTo>
                    <a:pt x="90" y="39"/>
                  </a:lnTo>
                  <a:lnTo>
                    <a:pt x="88" y="40"/>
                  </a:lnTo>
                  <a:lnTo>
                    <a:pt x="88" y="40"/>
                  </a:lnTo>
                  <a:lnTo>
                    <a:pt x="85" y="42"/>
                  </a:lnTo>
                  <a:lnTo>
                    <a:pt x="85" y="43"/>
                  </a:lnTo>
                  <a:lnTo>
                    <a:pt x="84" y="42"/>
                  </a:lnTo>
                  <a:lnTo>
                    <a:pt x="84" y="42"/>
                  </a:lnTo>
                  <a:lnTo>
                    <a:pt x="78" y="37"/>
                  </a:lnTo>
                  <a:lnTo>
                    <a:pt x="77" y="36"/>
                  </a:lnTo>
                  <a:lnTo>
                    <a:pt x="74" y="36"/>
                  </a:lnTo>
                  <a:lnTo>
                    <a:pt x="74" y="36"/>
                  </a:lnTo>
                  <a:lnTo>
                    <a:pt x="71" y="37"/>
                  </a:lnTo>
                  <a:lnTo>
                    <a:pt x="67" y="40"/>
                  </a:lnTo>
                  <a:lnTo>
                    <a:pt x="58" y="46"/>
                  </a:lnTo>
                  <a:lnTo>
                    <a:pt x="58" y="46"/>
                  </a:lnTo>
                  <a:lnTo>
                    <a:pt x="52" y="50"/>
                  </a:lnTo>
                  <a:lnTo>
                    <a:pt x="51" y="50"/>
                  </a:lnTo>
                  <a:lnTo>
                    <a:pt x="49" y="49"/>
                  </a:lnTo>
                  <a:lnTo>
                    <a:pt x="49" y="49"/>
                  </a:lnTo>
                  <a:lnTo>
                    <a:pt x="48" y="47"/>
                  </a:lnTo>
                  <a:lnTo>
                    <a:pt x="49" y="45"/>
                  </a:lnTo>
                  <a:lnTo>
                    <a:pt x="51" y="37"/>
                  </a:lnTo>
                  <a:lnTo>
                    <a:pt x="54" y="30"/>
                  </a:lnTo>
                  <a:lnTo>
                    <a:pt x="54" y="27"/>
                  </a:lnTo>
                  <a:lnTo>
                    <a:pt x="54" y="24"/>
                  </a:lnTo>
                  <a:lnTo>
                    <a:pt x="54" y="24"/>
                  </a:lnTo>
                  <a:lnTo>
                    <a:pt x="49" y="19"/>
                  </a:lnTo>
                  <a:lnTo>
                    <a:pt x="46" y="14"/>
                  </a:lnTo>
                  <a:lnTo>
                    <a:pt x="43" y="10"/>
                  </a:lnTo>
                  <a:lnTo>
                    <a:pt x="42" y="7"/>
                  </a:lnTo>
                  <a:lnTo>
                    <a:pt x="42" y="7"/>
                  </a:lnTo>
                  <a:lnTo>
                    <a:pt x="39" y="4"/>
                  </a:lnTo>
                  <a:lnTo>
                    <a:pt x="35" y="1"/>
                  </a:lnTo>
                  <a:lnTo>
                    <a:pt x="29" y="0"/>
                  </a:lnTo>
                  <a:lnTo>
                    <a:pt x="26" y="1"/>
                  </a:lnTo>
                  <a:lnTo>
                    <a:pt x="23" y="3"/>
                  </a:lnTo>
                  <a:lnTo>
                    <a:pt x="23" y="3"/>
                  </a:lnTo>
                  <a:lnTo>
                    <a:pt x="20" y="7"/>
                  </a:lnTo>
                  <a:lnTo>
                    <a:pt x="17" y="11"/>
                  </a:lnTo>
                  <a:lnTo>
                    <a:pt x="14" y="14"/>
                  </a:lnTo>
                  <a:lnTo>
                    <a:pt x="10" y="17"/>
                  </a:lnTo>
                  <a:lnTo>
                    <a:pt x="10" y="17"/>
                  </a:lnTo>
                  <a:lnTo>
                    <a:pt x="7" y="19"/>
                  </a:lnTo>
                  <a:lnTo>
                    <a:pt x="4" y="21"/>
                  </a:lnTo>
                  <a:lnTo>
                    <a:pt x="1" y="26"/>
                  </a:lnTo>
                  <a:lnTo>
                    <a:pt x="0" y="30"/>
                  </a:lnTo>
                  <a:lnTo>
                    <a:pt x="0" y="30"/>
                  </a:lnTo>
                  <a:lnTo>
                    <a:pt x="0" y="36"/>
                  </a:lnTo>
                  <a:lnTo>
                    <a:pt x="1" y="43"/>
                  </a:lnTo>
                  <a:lnTo>
                    <a:pt x="3" y="53"/>
                  </a:lnTo>
                  <a:lnTo>
                    <a:pt x="3" y="53"/>
                  </a:lnTo>
                  <a:lnTo>
                    <a:pt x="10" y="61"/>
                  </a:lnTo>
                  <a:lnTo>
                    <a:pt x="14" y="66"/>
                  </a:lnTo>
                  <a:lnTo>
                    <a:pt x="16" y="72"/>
                  </a:lnTo>
                  <a:lnTo>
                    <a:pt x="16" y="72"/>
                  </a:lnTo>
                  <a:lnTo>
                    <a:pt x="16" y="81"/>
                  </a:lnTo>
                  <a:lnTo>
                    <a:pt x="16" y="85"/>
                  </a:lnTo>
                  <a:lnTo>
                    <a:pt x="14" y="88"/>
                  </a:lnTo>
                  <a:lnTo>
                    <a:pt x="14" y="88"/>
                  </a:lnTo>
                  <a:lnTo>
                    <a:pt x="13" y="91"/>
                  </a:lnTo>
                  <a:lnTo>
                    <a:pt x="14" y="95"/>
                  </a:lnTo>
                  <a:lnTo>
                    <a:pt x="20" y="107"/>
                  </a:lnTo>
                  <a:lnTo>
                    <a:pt x="20" y="107"/>
                  </a:lnTo>
                  <a:lnTo>
                    <a:pt x="25" y="121"/>
                  </a:lnTo>
                  <a:lnTo>
                    <a:pt x="26" y="130"/>
                  </a:lnTo>
                  <a:lnTo>
                    <a:pt x="26" y="137"/>
                  </a:lnTo>
                  <a:lnTo>
                    <a:pt x="26" y="137"/>
                  </a:lnTo>
                  <a:lnTo>
                    <a:pt x="20" y="156"/>
                  </a:lnTo>
                  <a:lnTo>
                    <a:pt x="17" y="166"/>
                  </a:lnTo>
                  <a:lnTo>
                    <a:pt x="14" y="172"/>
                  </a:lnTo>
                  <a:lnTo>
                    <a:pt x="14" y="172"/>
                  </a:lnTo>
                  <a:lnTo>
                    <a:pt x="4" y="176"/>
                  </a:lnTo>
                  <a:lnTo>
                    <a:pt x="4" y="176"/>
                  </a:lnTo>
                  <a:lnTo>
                    <a:pt x="4" y="179"/>
                  </a:lnTo>
                  <a:lnTo>
                    <a:pt x="4" y="179"/>
                  </a:lnTo>
                  <a:lnTo>
                    <a:pt x="6" y="191"/>
                  </a:lnTo>
                  <a:lnTo>
                    <a:pt x="7" y="198"/>
                  </a:lnTo>
                  <a:lnTo>
                    <a:pt x="9" y="202"/>
                  </a:lnTo>
                  <a:lnTo>
                    <a:pt x="9" y="202"/>
                  </a:lnTo>
                  <a:lnTo>
                    <a:pt x="12" y="205"/>
                  </a:lnTo>
                  <a:lnTo>
                    <a:pt x="13" y="205"/>
                  </a:lnTo>
                  <a:lnTo>
                    <a:pt x="17" y="208"/>
                  </a:lnTo>
                  <a:lnTo>
                    <a:pt x="17" y="208"/>
                  </a:lnTo>
                  <a:lnTo>
                    <a:pt x="27" y="220"/>
                  </a:lnTo>
                  <a:lnTo>
                    <a:pt x="35" y="229"/>
                  </a:lnTo>
                  <a:lnTo>
                    <a:pt x="41" y="236"/>
                  </a:lnTo>
                  <a:lnTo>
                    <a:pt x="41" y="236"/>
                  </a:lnTo>
                  <a:lnTo>
                    <a:pt x="48" y="237"/>
                  </a:lnTo>
                  <a:lnTo>
                    <a:pt x="54" y="240"/>
                  </a:lnTo>
                  <a:lnTo>
                    <a:pt x="54" y="240"/>
                  </a:lnTo>
                  <a:lnTo>
                    <a:pt x="55" y="240"/>
                  </a:lnTo>
                  <a:lnTo>
                    <a:pt x="58" y="239"/>
                  </a:lnTo>
                  <a:lnTo>
                    <a:pt x="67" y="234"/>
                  </a:lnTo>
                  <a:lnTo>
                    <a:pt x="67" y="234"/>
                  </a:lnTo>
                  <a:lnTo>
                    <a:pt x="59" y="230"/>
                  </a:lnTo>
                  <a:lnTo>
                    <a:pt x="52" y="227"/>
                  </a:lnTo>
                  <a:lnTo>
                    <a:pt x="52" y="227"/>
                  </a:lnTo>
                  <a:lnTo>
                    <a:pt x="49" y="224"/>
                  </a:lnTo>
                  <a:lnTo>
                    <a:pt x="46" y="220"/>
                  </a:lnTo>
                  <a:lnTo>
                    <a:pt x="42" y="210"/>
                  </a:lnTo>
                  <a:lnTo>
                    <a:pt x="35" y="191"/>
                  </a:lnTo>
                  <a:lnTo>
                    <a:pt x="35" y="191"/>
                  </a:lnTo>
                  <a:lnTo>
                    <a:pt x="33" y="188"/>
                  </a:lnTo>
                  <a:lnTo>
                    <a:pt x="32" y="188"/>
                  </a:lnTo>
                  <a:lnTo>
                    <a:pt x="27" y="189"/>
                  </a:lnTo>
                  <a:lnTo>
                    <a:pt x="27" y="189"/>
                  </a:lnTo>
                  <a:lnTo>
                    <a:pt x="27" y="189"/>
                  </a:lnTo>
                  <a:lnTo>
                    <a:pt x="26" y="188"/>
                  </a:lnTo>
                  <a:lnTo>
                    <a:pt x="25" y="184"/>
                  </a:lnTo>
                  <a:lnTo>
                    <a:pt x="25" y="178"/>
                  </a:lnTo>
                  <a:lnTo>
                    <a:pt x="25" y="174"/>
                  </a:lnTo>
                  <a:lnTo>
                    <a:pt x="25" y="174"/>
                  </a:lnTo>
                  <a:lnTo>
                    <a:pt x="29" y="166"/>
                  </a:lnTo>
                  <a:lnTo>
                    <a:pt x="32" y="156"/>
                  </a:lnTo>
                  <a:lnTo>
                    <a:pt x="32" y="156"/>
                  </a:lnTo>
                  <a:lnTo>
                    <a:pt x="39" y="137"/>
                  </a:lnTo>
                  <a:lnTo>
                    <a:pt x="42" y="127"/>
                  </a:lnTo>
                  <a:lnTo>
                    <a:pt x="43" y="121"/>
                  </a:lnTo>
                  <a:lnTo>
                    <a:pt x="43" y="121"/>
                  </a:lnTo>
                  <a:lnTo>
                    <a:pt x="46" y="120"/>
                  </a:lnTo>
                  <a:lnTo>
                    <a:pt x="48" y="123"/>
                  </a:lnTo>
                  <a:lnTo>
                    <a:pt x="52" y="129"/>
                  </a:lnTo>
                  <a:lnTo>
                    <a:pt x="52" y="129"/>
                  </a:lnTo>
                  <a:lnTo>
                    <a:pt x="54" y="130"/>
                  </a:lnTo>
                  <a:lnTo>
                    <a:pt x="56" y="130"/>
                  </a:lnTo>
                  <a:lnTo>
                    <a:pt x="62" y="129"/>
                  </a:lnTo>
                  <a:lnTo>
                    <a:pt x="62" y="129"/>
                  </a:lnTo>
                  <a:lnTo>
                    <a:pt x="64" y="130"/>
                  </a:lnTo>
                  <a:lnTo>
                    <a:pt x="67" y="133"/>
                  </a:lnTo>
                  <a:lnTo>
                    <a:pt x="69" y="140"/>
                  </a:lnTo>
                  <a:lnTo>
                    <a:pt x="69" y="140"/>
                  </a:lnTo>
                  <a:lnTo>
                    <a:pt x="71" y="143"/>
                  </a:lnTo>
                  <a:lnTo>
                    <a:pt x="72" y="143"/>
                  </a:lnTo>
                  <a:lnTo>
                    <a:pt x="77" y="143"/>
                  </a:lnTo>
                  <a:lnTo>
                    <a:pt x="77" y="143"/>
                  </a:lnTo>
                  <a:lnTo>
                    <a:pt x="80" y="145"/>
                  </a:lnTo>
                  <a:lnTo>
                    <a:pt x="80" y="145"/>
                  </a:lnTo>
                  <a:lnTo>
                    <a:pt x="80" y="139"/>
                  </a:lnTo>
                  <a:lnTo>
                    <a:pt x="78" y="131"/>
                  </a:lnTo>
                  <a:lnTo>
                    <a:pt x="78" y="131"/>
                  </a:lnTo>
                  <a:lnTo>
                    <a:pt x="77" y="129"/>
                  </a:lnTo>
                  <a:lnTo>
                    <a:pt x="77" y="126"/>
                  </a:lnTo>
                  <a:lnTo>
                    <a:pt x="78" y="120"/>
                  </a:lnTo>
                  <a:lnTo>
                    <a:pt x="81" y="114"/>
                  </a:lnTo>
                  <a:lnTo>
                    <a:pt x="84" y="110"/>
                  </a:lnTo>
                  <a:lnTo>
                    <a:pt x="84" y="110"/>
                  </a:lnTo>
                  <a:lnTo>
                    <a:pt x="87" y="108"/>
                  </a:lnTo>
                  <a:lnTo>
                    <a:pt x="90" y="108"/>
                  </a:lnTo>
                  <a:lnTo>
                    <a:pt x="98" y="108"/>
                  </a:lnTo>
                  <a:lnTo>
                    <a:pt x="98" y="108"/>
                  </a:lnTo>
                  <a:lnTo>
                    <a:pt x="104" y="108"/>
                  </a:lnTo>
                  <a:lnTo>
                    <a:pt x="110" y="107"/>
                  </a:lnTo>
                  <a:lnTo>
                    <a:pt x="110" y="107"/>
                  </a:lnTo>
                  <a:lnTo>
                    <a:pt x="116" y="107"/>
                  </a:lnTo>
                  <a:lnTo>
                    <a:pt x="120" y="108"/>
                  </a:lnTo>
                  <a:lnTo>
                    <a:pt x="120" y="108"/>
                  </a:lnTo>
                  <a:lnTo>
                    <a:pt x="125" y="95"/>
                  </a:lnTo>
                  <a:lnTo>
                    <a:pt x="125" y="91"/>
                  </a:lnTo>
                  <a:lnTo>
                    <a:pt x="125" y="88"/>
                  </a:lnTo>
                  <a:close/>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11" name="Freeform 294"/>
            <p:cNvSpPr>
              <a:spLocks/>
            </p:cNvSpPr>
            <p:nvPr/>
          </p:nvSpPr>
          <p:spPr bwMode="auto">
            <a:xfrm>
              <a:off x="6810376" y="4183063"/>
              <a:ext cx="198438" cy="381000"/>
            </a:xfrm>
            <a:custGeom>
              <a:avLst/>
              <a:gdLst>
                <a:gd name="T0" fmla="*/ 116 w 125"/>
                <a:gd name="T1" fmla="*/ 78 h 240"/>
                <a:gd name="T2" fmla="*/ 109 w 125"/>
                <a:gd name="T3" fmla="*/ 66 h 240"/>
                <a:gd name="T4" fmla="*/ 94 w 125"/>
                <a:gd name="T5" fmla="*/ 39 h 240"/>
                <a:gd name="T6" fmla="*/ 90 w 125"/>
                <a:gd name="T7" fmla="*/ 39 h 240"/>
                <a:gd name="T8" fmla="*/ 85 w 125"/>
                <a:gd name="T9" fmla="*/ 42 h 240"/>
                <a:gd name="T10" fmla="*/ 84 w 125"/>
                <a:gd name="T11" fmla="*/ 42 h 240"/>
                <a:gd name="T12" fmla="*/ 74 w 125"/>
                <a:gd name="T13" fmla="*/ 36 h 240"/>
                <a:gd name="T14" fmla="*/ 67 w 125"/>
                <a:gd name="T15" fmla="*/ 40 h 240"/>
                <a:gd name="T16" fmla="*/ 52 w 125"/>
                <a:gd name="T17" fmla="*/ 50 h 240"/>
                <a:gd name="T18" fmla="*/ 49 w 125"/>
                <a:gd name="T19" fmla="*/ 49 h 240"/>
                <a:gd name="T20" fmla="*/ 51 w 125"/>
                <a:gd name="T21" fmla="*/ 37 h 240"/>
                <a:gd name="T22" fmla="*/ 54 w 125"/>
                <a:gd name="T23" fmla="*/ 24 h 240"/>
                <a:gd name="T24" fmla="*/ 46 w 125"/>
                <a:gd name="T25" fmla="*/ 14 h 240"/>
                <a:gd name="T26" fmla="*/ 42 w 125"/>
                <a:gd name="T27" fmla="*/ 7 h 240"/>
                <a:gd name="T28" fmla="*/ 29 w 125"/>
                <a:gd name="T29" fmla="*/ 0 h 240"/>
                <a:gd name="T30" fmla="*/ 23 w 125"/>
                <a:gd name="T31" fmla="*/ 3 h 240"/>
                <a:gd name="T32" fmla="*/ 14 w 125"/>
                <a:gd name="T33" fmla="*/ 14 h 240"/>
                <a:gd name="T34" fmla="*/ 7 w 125"/>
                <a:gd name="T35" fmla="*/ 19 h 240"/>
                <a:gd name="T36" fmla="*/ 0 w 125"/>
                <a:gd name="T37" fmla="*/ 30 h 240"/>
                <a:gd name="T38" fmla="*/ 1 w 125"/>
                <a:gd name="T39" fmla="*/ 43 h 240"/>
                <a:gd name="T40" fmla="*/ 10 w 125"/>
                <a:gd name="T41" fmla="*/ 61 h 240"/>
                <a:gd name="T42" fmla="*/ 16 w 125"/>
                <a:gd name="T43" fmla="*/ 72 h 240"/>
                <a:gd name="T44" fmla="*/ 14 w 125"/>
                <a:gd name="T45" fmla="*/ 88 h 240"/>
                <a:gd name="T46" fmla="*/ 14 w 125"/>
                <a:gd name="T47" fmla="*/ 95 h 240"/>
                <a:gd name="T48" fmla="*/ 25 w 125"/>
                <a:gd name="T49" fmla="*/ 121 h 240"/>
                <a:gd name="T50" fmla="*/ 26 w 125"/>
                <a:gd name="T51" fmla="*/ 137 h 240"/>
                <a:gd name="T52" fmla="*/ 14 w 125"/>
                <a:gd name="T53" fmla="*/ 172 h 240"/>
                <a:gd name="T54" fmla="*/ 4 w 125"/>
                <a:gd name="T55" fmla="*/ 176 h 240"/>
                <a:gd name="T56" fmla="*/ 6 w 125"/>
                <a:gd name="T57" fmla="*/ 191 h 240"/>
                <a:gd name="T58" fmla="*/ 9 w 125"/>
                <a:gd name="T59" fmla="*/ 202 h 240"/>
                <a:gd name="T60" fmla="*/ 17 w 125"/>
                <a:gd name="T61" fmla="*/ 208 h 240"/>
                <a:gd name="T62" fmla="*/ 35 w 125"/>
                <a:gd name="T63" fmla="*/ 229 h 240"/>
                <a:gd name="T64" fmla="*/ 48 w 125"/>
                <a:gd name="T65" fmla="*/ 237 h 240"/>
                <a:gd name="T66" fmla="*/ 55 w 125"/>
                <a:gd name="T67" fmla="*/ 240 h 240"/>
                <a:gd name="T68" fmla="*/ 67 w 125"/>
                <a:gd name="T69" fmla="*/ 234 h 240"/>
                <a:gd name="T70" fmla="*/ 52 w 125"/>
                <a:gd name="T71" fmla="*/ 227 h 240"/>
                <a:gd name="T72" fmla="*/ 42 w 125"/>
                <a:gd name="T73" fmla="*/ 210 h 240"/>
                <a:gd name="T74" fmla="*/ 33 w 125"/>
                <a:gd name="T75" fmla="*/ 188 h 240"/>
                <a:gd name="T76" fmla="*/ 27 w 125"/>
                <a:gd name="T77" fmla="*/ 189 h 240"/>
                <a:gd name="T78" fmla="*/ 25 w 125"/>
                <a:gd name="T79" fmla="*/ 184 h 240"/>
                <a:gd name="T80" fmla="*/ 25 w 125"/>
                <a:gd name="T81" fmla="*/ 174 h 240"/>
                <a:gd name="T82" fmla="*/ 32 w 125"/>
                <a:gd name="T83" fmla="*/ 156 h 240"/>
                <a:gd name="T84" fmla="*/ 43 w 125"/>
                <a:gd name="T85" fmla="*/ 121 h 240"/>
                <a:gd name="T86" fmla="*/ 48 w 125"/>
                <a:gd name="T87" fmla="*/ 123 h 240"/>
                <a:gd name="T88" fmla="*/ 54 w 125"/>
                <a:gd name="T89" fmla="*/ 130 h 240"/>
                <a:gd name="T90" fmla="*/ 62 w 125"/>
                <a:gd name="T91" fmla="*/ 129 h 240"/>
                <a:gd name="T92" fmla="*/ 69 w 125"/>
                <a:gd name="T93" fmla="*/ 140 h 240"/>
                <a:gd name="T94" fmla="*/ 72 w 125"/>
                <a:gd name="T95" fmla="*/ 143 h 240"/>
                <a:gd name="T96" fmla="*/ 80 w 125"/>
                <a:gd name="T97" fmla="*/ 145 h 240"/>
                <a:gd name="T98" fmla="*/ 78 w 125"/>
                <a:gd name="T99" fmla="*/ 131 h 240"/>
                <a:gd name="T100" fmla="*/ 77 w 125"/>
                <a:gd name="T101" fmla="*/ 126 h 240"/>
                <a:gd name="T102" fmla="*/ 84 w 125"/>
                <a:gd name="T103" fmla="*/ 110 h 240"/>
                <a:gd name="T104" fmla="*/ 90 w 125"/>
                <a:gd name="T105" fmla="*/ 108 h 240"/>
                <a:gd name="T106" fmla="*/ 104 w 125"/>
                <a:gd name="T107" fmla="*/ 108 h 240"/>
                <a:gd name="T108" fmla="*/ 116 w 125"/>
                <a:gd name="T109" fmla="*/ 107 h 240"/>
                <a:gd name="T110" fmla="*/ 125 w 125"/>
                <a:gd name="T111" fmla="*/ 9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5" h="240">
                  <a:moveTo>
                    <a:pt x="125" y="88"/>
                  </a:moveTo>
                  <a:lnTo>
                    <a:pt x="125" y="88"/>
                  </a:lnTo>
                  <a:lnTo>
                    <a:pt x="116" y="78"/>
                  </a:lnTo>
                  <a:lnTo>
                    <a:pt x="110" y="72"/>
                  </a:lnTo>
                  <a:lnTo>
                    <a:pt x="109" y="66"/>
                  </a:lnTo>
                  <a:lnTo>
                    <a:pt x="109" y="66"/>
                  </a:lnTo>
                  <a:lnTo>
                    <a:pt x="101" y="50"/>
                  </a:lnTo>
                  <a:lnTo>
                    <a:pt x="97" y="42"/>
                  </a:lnTo>
                  <a:lnTo>
                    <a:pt x="94" y="39"/>
                  </a:lnTo>
                  <a:lnTo>
                    <a:pt x="93" y="37"/>
                  </a:lnTo>
                  <a:lnTo>
                    <a:pt x="93" y="37"/>
                  </a:lnTo>
                  <a:lnTo>
                    <a:pt x="90" y="39"/>
                  </a:lnTo>
                  <a:lnTo>
                    <a:pt x="88" y="40"/>
                  </a:lnTo>
                  <a:lnTo>
                    <a:pt x="88" y="40"/>
                  </a:lnTo>
                  <a:lnTo>
                    <a:pt x="85" y="42"/>
                  </a:lnTo>
                  <a:lnTo>
                    <a:pt x="85" y="43"/>
                  </a:lnTo>
                  <a:lnTo>
                    <a:pt x="84" y="42"/>
                  </a:lnTo>
                  <a:lnTo>
                    <a:pt x="84" y="42"/>
                  </a:lnTo>
                  <a:lnTo>
                    <a:pt x="78" y="37"/>
                  </a:lnTo>
                  <a:lnTo>
                    <a:pt x="77" y="36"/>
                  </a:lnTo>
                  <a:lnTo>
                    <a:pt x="74" y="36"/>
                  </a:lnTo>
                  <a:lnTo>
                    <a:pt x="74" y="36"/>
                  </a:lnTo>
                  <a:lnTo>
                    <a:pt x="71" y="37"/>
                  </a:lnTo>
                  <a:lnTo>
                    <a:pt x="67" y="40"/>
                  </a:lnTo>
                  <a:lnTo>
                    <a:pt x="58" y="46"/>
                  </a:lnTo>
                  <a:lnTo>
                    <a:pt x="58" y="46"/>
                  </a:lnTo>
                  <a:lnTo>
                    <a:pt x="52" y="50"/>
                  </a:lnTo>
                  <a:lnTo>
                    <a:pt x="51" y="50"/>
                  </a:lnTo>
                  <a:lnTo>
                    <a:pt x="49" y="49"/>
                  </a:lnTo>
                  <a:lnTo>
                    <a:pt x="49" y="49"/>
                  </a:lnTo>
                  <a:lnTo>
                    <a:pt x="48" y="47"/>
                  </a:lnTo>
                  <a:lnTo>
                    <a:pt x="49" y="45"/>
                  </a:lnTo>
                  <a:lnTo>
                    <a:pt x="51" y="37"/>
                  </a:lnTo>
                  <a:lnTo>
                    <a:pt x="54" y="30"/>
                  </a:lnTo>
                  <a:lnTo>
                    <a:pt x="54" y="27"/>
                  </a:lnTo>
                  <a:lnTo>
                    <a:pt x="54" y="24"/>
                  </a:lnTo>
                  <a:lnTo>
                    <a:pt x="54" y="24"/>
                  </a:lnTo>
                  <a:lnTo>
                    <a:pt x="49" y="19"/>
                  </a:lnTo>
                  <a:lnTo>
                    <a:pt x="46" y="14"/>
                  </a:lnTo>
                  <a:lnTo>
                    <a:pt x="43" y="10"/>
                  </a:lnTo>
                  <a:lnTo>
                    <a:pt x="42" y="7"/>
                  </a:lnTo>
                  <a:lnTo>
                    <a:pt x="42" y="7"/>
                  </a:lnTo>
                  <a:lnTo>
                    <a:pt x="39" y="4"/>
                  </a:lnTo>
                  <a:lnTo>
                    <a:pt x="35" y="1"/>
                  </a:lnTo>
                  <a:lnTo>
                    <a:pt x="29" y="0"/>
                  </a:lnTo>
                  <a:lnTo>
                    <a:pt x="26" y="1"/>
                  </a:lnTo>
                  <a:lnTo>
                    <a:pt x="23" y="3"/>
                  </a:lnTo>
                  <a:lnTo>
                    <a:pt x="23" y="3"/>
                  </a:lnTo>
                  <a:lnTo>
                    <a:pt x="20" y="7"/>
                  </a:lnTo>
                  <a:lnTo>
                    <a:pt x="17" y="11"/>
                  </a:lnTo>
                  <a:lnTo>
                    <a:pt x="14" y="14"/>
                  </a:lnTo>
                  <a:lnTo>
                    <a:pt x="10" y="17"/>
                  </a:lnTo>
                  <a:lnTo>
                    <a:pt x="10" y="17"/>
                  </a:lnTo>
                  <a:lnTo>
                    <a:pt x="7" y="19"/>
                  </a:lnTo>
                  <a:lnTo>
                    <a:pt x="4" y="21"/>
                  </a:lnTo>
                  <a:lnTo>
                    <a:pt x="1" y="26"/>
                  </a:lnTo>
                  <a:lnTo>
                    <a:pt x="0" y="30"/>
                  </a:lnTo>
                  <a:lnTo>
                    <a:pt x="0" y="30"/>
                  </a:lnTo>
                  <a:lnTo>
                    <a:pt x="0" y="36"/>
                  </a:lnTo>
                  <a:lnTo>
                    <a:pt x="1" y="43"/>
                  </a:lnTo>
                  <a:lnTo>
                    <a:pt x="3" y="53"/>
                  </a:lnTo>
                  <a:lnTo>
                    <a:pt x="3" y="53"/>
                  </a:lnTo>
                  <a:lnTo>
                    <a:pt x="10" y="61"/>
                  </a:lnTo>
                  <a:lnTo>
                    <a:pt x="14" y="66"/>
                  </a:lnTo>
                  <a:lnTo>
                    <a:pt x="16" y="72"/>
                  </a:lnTo>
                  <a:lnTo>
                    <a:pt x="16" y="72"/>
                  </a:lnTo>
                  <a:lnTo>
                    <a:pt x="16" y="81"/>
                  </a:lnTo>
                  <a:lnTo>
                    <a:pt x="16" y="85"/>
                  </a:lnTo>
                  <a:lnTo>
                    <a:pt x="14" y="88"/>
                  </a:lnTo>
                  <a:lnTo>
                    <a:pt x="14" y="88"/>
                  </a:lnTo>
                  <a:lnTo>
                    <a:pt x="13" y="91"/>
                  </a:lnTo>
                  <a:lnTo>
                    <a:pt x="14" y="95"/>
                  </a:lnTo>
                  <a:lnTo>
                    <a:pt x="20" y="107"/>
                  </a:lnTo>
                  <a:lnTo>
                    <a:pt x="20" y="107"/>
                  </a:lnTo>
                  <a:lnTo>
                    <a:pt x="25" y="121"/>
                  </a:lnTo>
                  <a:lnTo>
                    <a:pt x="26" y="130"/>
                  </a:lnTo>
                  <a:lnTo>
                    <a:pt x="26" y="137"/>
                  </a:lnTo>
                  <a:lnTo>
                    <a:pt x="26" y="137"/>
                  </a:lnTo>
                  <a:lnTo>
                    <a:pt x="20" y="156"/>
                  </a:lnTo>
                  <a:lnTo>
                    <a:pt x="17" y="166"/>
                  </a:lnTo>
                  <a:lnTo>
                    <a:pt x="14" y="172"/>
                  </a:lnTo>
                  <a:lnTo>
                    <a:pt x="14" y="172"/>
                  </a:lnTo>
                  <a:lnTo>
                    <a:pt x="4" y="176"/>
                  </a:lnTo>
                  <a:lnTo>
                    <a:pt x="4" y="176"/>
                  </a:lnTo>
                  <a:lnTo>
                    <a:pt x="4" y="179"/>
                  </a:lnTo>
                  <a:lnTo>
                    <a:pt x="4" y="179"/>
                  </a:lnTo>
                  <a:lnTo>
                    <a:pt x="6" y="191"/>
                  </a:lnTo>
                  <a:lnTo>
                    <a:pt x="7" y="198"/>
                  </a:lnTo>
                  <a:lnTo>
                    <a:pt x="9" y="202"/>
                  </a:lnTo>
                  <a:lnTo>
                    <a:pt x="9" y="202"/>
                  </a:lnTo>
                  <a:lnTo>
                    <a:pt x="12" y="205"/>
                  </a:lnTo>
                  <a:lnTo>
                    <a:pt x="13" y="205"/>
                  </a:lnTo>
                  <a:lnTo>
                    <a:pt x="17" y="208"/>
                  </a:lnTo>
                  <a:lnTo>
                    <a:pt x="17" y="208"/>
                  </a:lnTo>
                  <a:lnTo>
                    <a:pt x="27" y="220"/>
                  </a:lnTo>
                  <a:lnTo>
                    <a:pt x="35" y="229"/>
                  </a:lnTo>
                  <a:lnTo>
                    <a:pt x="41" y="236"/>
                  </a:lnTo>
                  <a:lnTo>
                    <a:pt x="41" y="236"/>
                  </a:lnTo>
                  <a:lnTo>
                    <a:pt x="48" y="237"/>
                  </a:lnTo>
                  <a:lnTo>
                    <a:pt x="54" y="240"/>
                  </a:lnTo>
                  <a:lnTo>
                    <a:pt x="54" y="240"/>
                  </a:lnTo>
                  <a:lnTo>
                    <a:pt x="55" y="240"/>
                  </a:lnTo>
                  <a:lnTo>
                    <a:pt x="58" y="239"/>
                  </a:lnTo>
                  <a:lnTo>
                    <a:pt x="67" y="234"/>
                  </a:lnTo>
                  <a:lnTo>
                    <a:pt x="67" y="234"/>
                  </a:lnTo>
                  <a:lnTo>
                    <a:pt x="59" y="230"/>
                  </a:lnTo>
                  <a:lnTo>
                    <a:pt x="52" y="227"/>
                  </a:lnTo>
                  <a:lnTo>
                    <a:pt x="52" y="227"/>
                  </a:lnTo>
                  <a:lnTo>
                    <a:pt x="49" y="224"/>
                  </a:lnTo>
                  <a:lnTo>
                    <a:pt x="46" y="220"/>
                  </a:lnTo>
                  <a:lnTo>
                    <a:pt x="42" y="210"/>
                  </a:lnTo>
                  <a:lnTo>
                    <a:pt x="35" y="191"/>
                  </a:lnTo>
                  <a:lnTo>
                    <a:pt x="35" y="191"/>
                  </a:lnTo>
                  <a:lnTo>
                    <a:pt x="33" y="188"/>
                  </a:lnTo>
                  <a:lnTo>
                    <a:pt x="32" y="188"/>
                  </a:lnTo>
                  <a:lnTo>
                    <a:pt x="27" y="189"/>
                  </a:lnTo>
                  <a:lnTo>
                    <a:pt x="27" y="189"/>
                  </a:lnTo>
                  <a:lnTo>
                    <a:pt x="27" y="189"/>
                  </a:lnTo>
                  <a:lnTo>
                    <a:pt x="26" y="188"/>
                  </a:lnTo>
                  <a:lnTo>
                    <a:pt x="25" y="184"/>
                  </a:lnTo>
                  <a:lnTo>
                    <a:pt x="25" y="178"/>
                  </a:lnTo>
                  <a:lnTo>
                    <a:pt x="25" y="174"/>
                  </a:lnTo>
                  <a:lnTo>
                    <a:pt x="25" y="174"/>
                  </a:lnTo>
                  <a:lnTo>
                    <a:pt x="29" y="166"/>
                  </a:lnTo>
                  <a:lnTo>
                    <a:pt x="32" y="156"/>
                  </a:lnTo>
                  <a:lnTo>
                    <a:pt x="32" y="156"/>
                  </a:lnTo>
                  <a:lnTo>
                    <a:pt x="39" y="137"/>
                  </a:lnTo>
                  <a:lnTo>
                    <a:pt x="42" y="127"/>
                  </a:lnTo>
                  <a:lnTo>
                    <a:pt x="43" y="121"/>
                  </a:lnTo>
                  <a:lnTo>
                    <a:pt x="43" y="121"/>
                  </a:lnTo>
                  <a:lnTo>
                    <a:pt x="46" y="120"/>
                  </a:lnTo>
                  <a:lnTo>
                    <a:pt x="48" y="123"/>
                  </a:lnTo>
                  <a:lnTo>
                    <a:pt x="52" y="129"/>
                  </a:lnTo>
                  <a:lnTo>
                    <a:pt x="52" y="129"/>
                  </a:lnTo>
                  <a:lnTo>
                    <a:pt x="54" y="130"/>
                  </a:lnTo>
                  <a:lnTo>
                    <a:pt x="56" y="130"/>
                  </a:lnTo>
                  <a:lnTo>
                    <a:pt x="62" y="129"/>
                  </a:lnTo>
                  <a:lnTo>
                    <a:pt x="62" y="129"/>
                  </a:lnTo>
                  <a:lnTo>
                    <a:pt x="64" y="130"/>
                  </a:lnTo>
                  <a:lnTo>
                    <a:pt x="67" y="133"/>
                  </a:lnTo>
                  <a:lnTo>
                    <a:pt x="69" y="140"/>
                  </a:lnTo>
                  <a:lnTo>
                    <a:pt x="69" y="140"/>
                  </a:lnTo>
                  <a:lnTo>
                    <a:pt x="71" y="143"/>
                  </a:lnTo>
                  <a:lnTo>
                    <a:pt x="72" y="143"/>
                  </a:lnTo>
                  <a:lnTo>
                    <a:pt x="77" y="143"/>
                  </a:lnTo>
                  <a:lnTo>
                    <a:pt x="77" y="143"/>
                  </a:lnTo>
                  <a:lnTo>
                    <a:pt x="80" y="145"/>
                  </a:lnTo>
                  <a:lnTo>
                    <a:pt x="80" y="145"/>
                  </a:lnTo>
                  <a:lnTo>
                    <a:pt x="80" y="139"/>
                  </a:lnTo>
                  <a:lnTo>
                    <a:pt x="78" y="131"/>
                  </a:lnTo>
                  <a:lnTo>
                    <a:pt x="78" y="131"/>
                  </a:lnTo>
                  <a:lnTo>
                    <a:pt x="77" y="129"/>
                  </a:lnTo>
                  <a:lnTo>
                    <a:pt x="77" y="126"/>
                  </a:lnTo>
                  <a:lnTo>
                    <a:pt x="78" y="120"/>
                  </a:lnTo>
                  <a:lnTo>
                    <a:pt x="81" y="114"/>
                  </a:lnTo>
                  <a:lnTo>
                    <a:pt x="84" y="110"/>
                  </a:lnTo>
                  <a:lnTo>
                    <a:pt x="84" y="110"/>
                  </a:lnTo>
                  <a:lnTo>
                    <a:pt x="87" y="108"/>
                  </a:lnTo>
                  <a:lnTo>
                    <a:pt x="90" y="108"/>
                  </a:lnTo>
                  <a:lnTo>
                    <a:pt x="98" y="108"/>
                  </a:lnTo>
                  <a:lnTo>
                    <a:pt x="98" y="108"/>
                  </a:lnTo>
                  <a:lnTo>
                    <a:pt x="104" y="108"/>
                  </a:lnTo>
                  <a:lnTo>
                    <a:pt x="110" y="107"/>
                  </a:lnTo>
                  <a:lnTo>
                    <a:pt x="110" y="107"/>
                  </a:lnTo>
                  <a:lnTo>
                    <a:pt x="116" y="107"/>
                  </a:lnTo>
                  <a:lnTo>
                    <a:pt x="120" y="108"/>
                  </a:lnTo>
                  <a:lnTo>
                    <a:pt x="120" y="108"/>
                  </a:lnTo>
                  <a:lnTo>
                    <a:pt x="125" y="95"/>
                  </a:lnTo>
                  <a:lnTo>
                    <a:pt x="125" y="91"/>
                  </a:lnTo>
                  <a:lnTo>
                    <a:pt x="125" y="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12" name="Freeform 295"/>
            <p:cNvSpPr>
              <a:spLocks/>
            </p:cNvSpPr>
            <p:nvPr/>
          </p:nvSpPr>
          <p:spPr bwMode="auto">
            <a:xfrm>
              <a:off x="6875463" y="4554538"/>
              <a:ext cx="98425" cy="127000"/>
            </a:xfrm>
            <a:custGeom>
              <a:avLst/>
              <a:gdLst>
                <a:gd name="T0" fmla="*/ 13 w 62"/>
                <a:gd name="T1" fmla="*/ 6 h 80"/>
                <a:gd name="T2" fmla="*/ 13 w 62"/>
                <a:gd name="T3" fmla="*/ 6 h 80"/>
                <a:gd name="T4" fmla="*/ 7 w 62"/>
                <a:gd name="T5" fmla="*/ 3 h 80"/>
                <a:gd name="T6" fmla="*/ 0 w 62"/>
                <a:gd name="T7" fmla="*/ 2 h 80"/>
                <a:gd name="T8" fmla="*/ 0 w 62"/>
                <a:gd name="T9" fmla="*/ 2 h 80"/>
                <a:gd name="T10" fmla="*/ 2 w 62"/>
                <a:gd name="T11" fmla="*/ 6 h 80"/>
                <a:gd name="T12" fmla="*/ 2 w 62"/>
                <a:gd name="T13" fmla="*/ 6 h 80"/>
                <a:gd name="T14" fmla="*/ 2 w 62"/>
                <a:gd name="T15" fmla="*/ 10 h 80"/>
                <a:gd name="T16" fmla="*/ 2 w 62"/>
                <a:gd name="T17" fmla="*/ 13 h 80"/>
                <a:gd name="T18" fmla="*/ 1 w 62"/>
                <a:gd name="T19" fmla="*/ 18 h 80"/>
                <a:gd name="T20" fmla="*/ 2 w 62"/>
                <a:gd name="T21" fmla="*/ 21 h 80"/>
                <a:gd name="T22" fmla="*/ 2 w 62"/>
                <a:gd name="T23" fmla="*/ 21 h 80"/>
                <a:gd name="T24" fmla="*/ 5 w 62"/>
                <a:gd name="T25" fmla="*/ 32 h 80"/>
                <a:gd name="T26" fmla="*/ 7 w 62"/>
                <a:gd name="T27" fmla="*/ 38 h 80"/>
                <a:gd name="T28" fmla="*/ 10 w 62"/>
                <a:gd name="T29" fmla="*/ 44 h 80"/>
                <a:gd name="T30" fmla="*/ 10 w 62"/>
                <a:gd name="T31" fmla="*/ 44 h 80"/>
                <a:gd name="T32" fmla="*/ 14 w 62"/>
                <a:gd name="T33" fmla="*/ 52 h 80"/>
                <a:gd name="T34" fmla="*/ 17 w 62"/>
                <a:gd name="T35" fmla="*/ 57 h 80"/>
                <a:gd name="T36" fmla="*/ 21 w 62"/>
                <a:gd name="T37" fmla="*/ 61 h 80"/>
                <a:gd name="T38" fmla="*/ 21 w 62"/>
                <a:gd name="T39" fmla="*/ 61 h 80"/>
                <a:gd name="T40" fmla="*/ 34 w 62"/>
                <a:gd name="T41" fmla="*/ 71 h 80"/>
                <a:gd name="T42" fmla="*/ 42 w 62"/>
                <a:gd name="T43" fmla="*/ 76 h 80"/>
                <a:gd name="T44" fmla="*/ 47 w 62"/>
                <a:gd name="T45" fmla="*/ 79 h 80"/>
                <a:gd name="T46" fmla="*/ 47 w 62"/>
                <a:gd name="T47" fmla="*/ 79 h 80"/>
                <a:gd name="T48" fmla="*/ 50 w 62"/>
                <a:gd name="T49" fmla="*/ 80 h 80"/>
                <a:gd name="T50" fmla="*/ 50 w 62"/>
                <a:gd name="T51" fmla="*/ 80 h 80"/>
                <a:gd name="T52" fmla="*/ 53 w 62"/>
                <a:gd name="T53" fmla="*/ 77 h 80"/>
                <a:gd name="T54" fmla="*/ 56 w 62"/>
                <a:gd name="T55" fmla="*/ 74 h 80"/>
                <a:gd name="T56" fmla="*/ 62 w 62"/>
                <a:gd name="T57" fmla="*/ 70 h 80"/>
                <a:gd name="T58" fmla="*/ 62 w 62"/>
                <a:gd name="T59" fmla="*/ 70 h 80"/>
                <a:gd name="T60" fmla="*/ 59 w 62"/>
                <a:gd name="T61" fmla="*/ 63 h 80"/>
                <a:gd name="T62" fmla="*/ 56 w 62"/>
                <a:gd name="T63" fmla="*/ 57 h 80"/>
                <a:gd name="T64" fmla="*/ 56 w 62"/>
                <a:gd name="T65" fmla="*/ 57 h 80"/>
                <a:gd name="T66" fmla="*/ 55 w 62"/>
                <a:gd name="T67" fmla="*/ 51 h 80"/>
                <a:gd name="T68" fmla="*/ 53 w 62"/>
                <a:gd name="T69" fmla="*/ 41 h 80"/>
                <a:gd name="T70" fmla="*/ 53 w 62"/>
                <a:gd name="T71" fmla="*/ 28 h 80"/>
                <a:gd name="T72" fmla="*/ 53 w 62"/>
                <a:gd name="T73" fmla="*/ 28 h 80"/>
                <a:gd name="T74" fmla="*/ 50 w 62"/>
                <a:gd name="T75" fmla="*/ 24 h 80"/>
                <a:gd name="T76" fmla="*/ 44 w 62"/>
                <a:gd name="T77" fmla="*/ 18 h 80"/>
                <a:gd name="T78" fmla="*/ 30 w 62"/>
                <a:gd name="T79" fmla="*/ 5 h 80"/>
                <a:gd name="T80" fmla="*/ 30 w 62"/>
                <a:gd name="T81" fmla="*/ 5 h 80"/>
                <a:gd name="T82" fmla="*/ 26 w 62"/>
                <a:gd name="T83" fmla="*/ 0 h 80"/>
                <a:gd name="T84" fmla="*/ 26 w 62"/>
                <a:gd name="T85" fmla="*/ 0 h 80"/>
                <a:gd name="T86" fmla="*/ 17 w 62"/>
                <a:gd name="T87" fmla="*/ 5 h 80"/>
                <a:gd name="T88" fmla="*/ 14 w 62"/>
                <a:gd name="T89" fmla="*/ 6 h 80"/>
                <a:gd name="T90" fmla="*/ 13 w 62"/>
                <a:gd name="T91" fmla="*/ 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2" h="80">
                  <a:moveTo>
                    <a:pt x="13" y="6"/>
                  </a:moveTo>
                  <a:lnTo>
                    <a:pt x="13" y="6"/>
                  </a:lnTo>
                  <a:lnTo>
                    <a:pt x="7" y="3"/>
                  </a:lnTo>
                  <a:lnTo>
                    <a:pt x="0" y="2"/>
                  </a:lnTo>
                  <a:lnTo>
                    <a:pt x="0" y="2"/>
                  </a:lnTo>
                  <a:lnTo>
                    <a:pt x="2" y="6"/>
                  </a:lnTo>
                  <a:lnTo>
                    <a:pt x="2" y="6"/>
                  </a:lnTo>
                  <a:lnTo>
                    <a:pt x="2" y="10"/>
                  </a:lnTo>
                  <a:lnTo>
                    <a:pt x="2" y="13"/>
                  </a:lnTo>
                  <a:lnTo>
                    <a:pt x="1" y="18"/>
                  </a:lnTo>
                  <a:lnTo>
                    <a:pt x="2" y="21"/>
                  </a:lnTo>
                  <a:lnTo>
                    <a:pt x="2" y="21"/>
                  </a:lnTo>
                  <a:lnTo>
                    <a:pt x="5" y="32"/>
                  </a:lnTo>
                  <a:lnTo>
                    <a:pt x="7" y="38"/>
                  </a:lnTo>
                  <a:lnTo>
                    <a:pt x="10" y="44"/>
                  </a:lnTo>
                  <a:lnTo>
                    <a:pt x="10" y="44"/>
                  </a:lnTo>
                  <a:lnTo>
                    <a:pt x="14" y="52"/>
                  </a:lnTo>
                  <a:lnTo>
                    <a:pt x="17" y="57"/>
                  </a:lnTo>
                  <a:lnTo>
                    <a:pt x="21" y="61"/>
                  </a:lnTo>
                  <a:lnTo>
                    <a:pt x="21" y="61"/>
                  </a:lnTo>
                  <a:lnTo>
                    <a:pt x="34" y="71"/>
                  </a:lnTo>
                  <a:lnTo>
                    <a:pt x="42" y="76"/>
                  </a:lnTo>
                  <a:lnTo>
                    <a:pt x="47" y="79"/>
                  </a:lnTo>
                  <a:lnTo>
                    <a:pt x="47" y="79"/>
                  </a:lnTo>
                  <a:lnTo>
                    <a:pt x="50" y="80"/>
                  </a:lnTo>
                  <a:lnTo>
                    <a:pt x="50" y="80"/>
                  </a:lnTo>
                  <a:lnTo>
                    <a:pt x="53" y="77"/>
                  </a:lnTo>
                  <a:lnTo>
                    <a:pt x="56" y="74"/>
                  </a:lnTo>
                  <a:lnTo>
                    <a:pt x="62" y="70"/>
                  </a:lnTo>
                  <a:lnTo>
                    <a:pt x="62" y="70"/>
                  </a:lnTo>
                  <a:lnTo>
                    <a:pt x="59" y="63"/>
                  </a:lnTo>
                  <a:lnTo>
                    <a:pt x="56" y="57"/>
                  </a:lnTo>
                  <a:lnTo>
                    <a:pt x="56" y="57"/>
                  </a:lnTo>
                  <a:lnTo>
                    <a:pt x="55" y="51"/>
                  </a:lnTo>
                  <a:lnTo>
                    <a:pt x="53" y="41"/>
                  </a:lnTo>
                  <a:lnTo>
                    <a:pt x="53" y="28"/>
                  </a:lnTo>
                  <a:lnTo>
                    <a:pt x="53" y="28"/>
                  </a:lnTo>
                  <a:lnTo>
                    <a:pt x="50" y="24"/>
                  </a:lnTo>
                  <a:lnTo>
                    <a:pt x="44" y="18"/>
                  </a:lnTo>
                  <a:lnTo>
                    <a:pt x="30" y="5"/>
                  </a:lnTo>
                  <a:lnTo>
                    <a:pt x="30" y="5"/>
                  </a:lnTo>
                  <a:lnTo>
                    <a:pt x="26" y="0"/>
                  </a:lnTo>
                  <a:lnTo>
                    <a:pt x="26" y="0"/>
                  </a:lnTo>
                  <a:lnTo>
                    <a:pt x="17" y="5"/>
                  </a:lnTo>
                  <a:lnTo>
                    <a:pt x="14" y="6"/>
                  </a:lnTo>
                  <a:lnTo>
                    <a:pt x="13" y="6"/>
                  </a:lnTo>
                  <a:close/>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13" name="Freeform 296"/>
            <p:cNvSpPr>
              <a:spLocks/>
            </p:cNvSpPr>
            <p:nvPr/>
          </p:nvSpPr>
          <p:spPr bwMode="auto">
            <a:xfrm>
              <a:off x="6875463" y="4554538"/>
              <a:ext cx="98425" cy="127000"/>
            </a:xfrm>
            <a:custGeom>
              <a:avLst/>
              <a:gdLst>
                <a:gd name="T0" fmla="*/ 13 w 62"/>
                <a:gd name="T1" fmla="*/ 6 h 80"/>
                <a:gd name="T2" fmla="*/ 13 w 62"/>
                <a:gd name="T3" fmla="*/ 6 h 80"/>
                <a:gd name="T4" fmla="*/ 7 w 62"/>
                <a:gd name="T5" fmla="*/ 3 h 80"/>
                <a:gd name="T6" fmla="*/ 0 w 62"/>
                <a:gd name="T7" fmla="*/ 2 h 80"/>
                <a:gd name="T8" fmla="*/ 0 w 62"/>
                <a:gd name="T9" fmla="*/ 2 h 80"/>
                <a:gd name="T10" fmla="*/ 2 w 62"/>
                <a:gd name="T11" fmla="*/ 6 h 80"/>
                <a:gd name="T12" fmla="*/ 2 w 62"/>
                <a:gd name="T13" fmla="*/ 6 h 80"/>
                <a:gd name="T14" fmla="*/ 2 w 62"/>
                <a:gd name="T15" fmla="*/ 10 h 80"/>
                <a:gd name="T16" fmla="*/ 2 w 62"/>
                <a:gd name="T17" fmla="*/ 13 h 80"/>
                <a:gd name="T18" fmla="*/ 1 w 62"/>
                <a:gd name="T19" fmla="*/ 18 h 80"/>
                <a:gd name="T20" fmla="*/ 2 w 62"/>
                <a:gd name="T21" fmla="*/ 21 h 80"/>
                <a:gd name="T22" fmla="*/ 2 w 62"/>
                <a:gd name="T23" fmla="*/ 21 h 80"/>
                <a:gd name="T24" fmla="*/ 5 w 62"/>
                <a:gd name="T25" fmla="*/ 32 h 80"/>
                <a:gd name="T26" fmla="*/ 7 w 62"/>
                <a:gd name="T27" fmla="*/ 38 h 80"/>
                <a:gd name="T28" fmla="*/ 10 w 62"/>
                <a:gd name="T29" fmla="*/ 44 h 80"/>
                <a:gd name="T30" fmla="*/ 10 w 62"/>
                <a:gd name="T31" fmla="*/ 44 h 80"/>
                <a:gd name="T32" fmla="*/ 14 w 62"/>
                <a:gd name="T33" fmla="*/ 52 h 80"/>
                <a:gd name="T34" fmla="*/ 17 w 62"/>
                <a:gd name="T35" fmla="*/ 57 h 80"/>
                <a:gd name="T36" fmla="*/ 21 w 62"/>
                <a:gd name="T37" fmla="*/ 61 h 80"/>
                <a:gd name="T38" fmla="*/ 21 w 62"/>
                <a:gd name="T39" fmla="*/ 61 h 80"/>
                <a:gd name="T40" fmla="*/ 34 w 62"/>
                <a:gd name="T41" fmla="*/ 71 h 80"/>
                <a:gd name="T42" fmla="*/ 42 w 62"/>
                <a:gd name="T43" fmla="*/ 76 h 80"/>
                <a:gd name="T44" fmla="*/ 47 w 62"/>
                <a:gd name="T45" fmla="*/ 79 h 80"/>
                <a:gd name="T46" fmla="*/ 47 w 62"/>
                <a:gd name="T47" fmla="*/ 79 h 80"/>
                <a:gd name="T48" fmla="*/ 50 w 62"/>
                <a:gd name="T49" fmla="*/ 80 h 80"/>
                <a:gd name="T50" fmla="*/ 50 w 62"/>
                <a:gd name="T51" fmla="*/ 80 h 80"/>
                <a:gd name="T52" fmla="*/ 53 w 62"/>
                <a:gd name="T53" fmla="*/ 77 h 80"/>
                <a:gd name="T54" fmla="*/ 56 w 62"/>
                <a:gd name="T55" fmla="*/ 74 h 80"/>
                <a:gd name="T56" fmla="*/ 62 w 62"/>
                <a:gd name="T57" fmla="*/ 70 h 80"/>
                <a:gd name="T58" fmla="*/ 62 w 62"/>
                <a:gd name="T59" fmla="*/ 70 h 80"/>
                <a:gd name="T60" fmla="*/ 59 w 62"/>
                <a:gd name="T61" fmla="*/ 63 h 80"/>
                <a:gd name="T62" fmla="*/ 56 w 62"/>
                <a:gd name="T63" fmla="*/ 57 h 80"/>
                <a:gd name="T64" fmla="*/ 56 w 62"/>
                <a:gd name="T65" fmla="*/ 57 h 80"/>
                <a:gd name="T66" fmla="*/ 55 w 62"/>
                <a:gd name="T67" fmla="*/ 51 h 80"/>
                <a:gd name="T68" fmla="*/ 53 w 62"/>
                <a:gd name="T69" fmla="*/ 41 h 80"/>
                <a:gd name="T70" fmla="*/ 53 w 62"/>
                <a:gd name="T71" fmla="*/ 28 h 80"/>
                <a:gd name="T72" fmla="*/ 53 w 62"/>
                <a:gd name="T73" fmla="*/ 28 h 80"/>
                <a:gd name="T74" fmla="*/ 50 w 62"/>
                <a:gd name="T75" fmla="*/ 24 h 80"/>
                <a:gd name="T76" fmla="*/ 44 w 62"/>
                <a:gd name="T77" fmla="*/ 18 h 80"/>
                <a:gd name="T78" fmla="*/ 30 w 62"/>
                <a:gd name="T79" fmla="*/ 5 h 80"/>
                <a:gd name="T80" fmla="*/ 30 w 62"/>
                <a:gd name="T81" fmla="*/ 5 h 80"/>
                <a:gd name="T82" fmla="*/ 26 w 62"/>
                <a:gd name="T83" fmla="*/ 0 h 80"/>
                <a:gd name="T84" fmla="*/ 26 w 62"/>
                <a:gd name="T85" fmla="*/ 0 h 80"/>
                <a:gd name="T86" fmla="*/ 17 w 62"/>
                <a:gd name="T87" fmla="*/ 5 h 80"/>
                <a:gd name="T88" fmla="*/ 14 w 62"/>
                <a:gd name="T89" fmla="*/ 6 h 80"/>
                <a:gd name="T90" fmla="*/ 13 w 62"/>
                <a:gd name="T91" fmla="*/ 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2" h="80">
                  <a:moveTo>
                    <a:pt x="13" y="6"/>
                  </a:moveTo>
                  <a:lnTo>
                    <a:pt x="13" y="6"/>
                  </a:lnTo>
                  <a:lnTo>
                    <a:pt x="7" y="3"/>
                  </a:lnTo>
                  <a:lnTo>
                    <a:pt x="0" y="2"/>
                  </a:lnTo>
                  <a:lnTo>
                    <a:pt x="0" y="2"/>
                  </a:lnTo>
                  <a:lnTo>
                    <a:pt x="2" y="6"/>
                  </a:lnTo>
                  <a:lnTo>
                    <a:pt x="2" y="6"/>
                  </a:lnTo>
                  <a:lnTo>
                    <a:pt x="2" y="10"/>
                  </a:lnTo>
                  <a:lnTo>
                    <a:pt x="2" y="13"/>
                  </a:lnTo>
                  <a:lnTo>
                    <a:pt x="1" y="18"/>
                  </a:lnTo>
                  <a:lnTo>
                    <a:pt x="2" y="21"/>
                  </a:lnTo>
                  <a:lnTo>
                    <a:pt x="2" y="21"/>
                  </a:lnTo>
                  <a:lnTo>
                    <a:pt x="5" y="32"/>
                  </a:lnTo>
                  <a:lnTo>
                    <a:pt x="7" y="38"/>
                  </a:lnTo>
                  <a:lnTo>
                    <a:pt x="10" y="44"/>
                  </a:lnTo>
                  <a:lnTo>
                    <a:pt x="10" y="44"/>
                  </a:lnTo>
                  <a:lnTo>
                    <a:pt x="14" y="52"/>
                  </a:lnTo>
                  <a:lnTo>
                    <a:pt x="17" y="57"/>
                  </a:lnTo>
                  <a:lnTo>
                    <a:pt x="21" y="61"/>
                  </a:lnTo>
                  <a:lnTo>
                    <a:pt x="21" y="61"/>
                  </a:lnTo>
                  <a:lnTo>
                    <a:pt x="34" y="71"/>
                  </a:lnTo>
                  <a:lnTo>
                    <a:pt x="42" y="76"/>
                  </a:lnTo>
                  <a:lnTo>
                    <a:pt x="47" y="79"/>
                  </a:lnTo>
                  <a:lnTo>
                    <a:pt x="47" y="79"/>
                  </a:lnTo>
                  <a:lnTo>
                    <a:pt x="50" y="80"/>
                  </a:lnTo>
                  <a:lnTo>
                    <a:pt x="50" y="80"/>
                  </a:lnTo>
                  <a:lnTo>
                    <a:pt x="53" y="77"/>
                  </a:lnTo>
                  <a:lnTo>
                    <a:pt x="56" y="74"/>
                  </a:lnTo>
                  <a:lnTo>
                    <a:pt x="62" y="70"/>
                  </a:lnTo>
                  <a:lnTo>
                    <a:pt x="62" y="70"/>
                  </a:lnTo>
                  <a:lnTo>
                    <a:pt x="59" y="63"/>
                  </a:lnTo>
                  <a:lnTo>
                    <a:pt x="56" y="57"/>
                  </a:lnTo>
                  <a:lnTo>
                    <a:pt x="56" y="57"/>
                  </a:lnTo>
                  <a:lnTo>
                    <a:pt x="55" y="51"/>
                  </a:lnTo>
                  <a:lnTo>
                    <a:pt x="53" y="41"/>
                  </a:lnTo>
                  <a:lnTo>
                    <a:pt x="53" y="28"/>
                  </a:lnTo>
                  <a:lnTo>
                    <a:pt x="53" y="28"/>
                  </a:lnTo>
                  <a:lnTo>
                    <a:pt x="50" y="24"/>
                  </a:lnTo>
                  <a:lnTo>
                    <a:pt x="44" y="18"/>
                  </a:lnTo>
                  <a:lnTo>
                    <a:pt x="30" y="5"/>
                  </a:lnTo>
                  <a:lnTo>
                    <a:pt x="30" y="5"/>
                  </a:lnTo>
                  <a:lnTo>
                    <a:pt x="26" y="0"/>
                  </a:lnTo>
                  <a:lnTo>
                    <a:pt x="26" y="0"/>
                  </a:lnTo>
                  <a:lnTo>
                    <a:pt x="17" y="5"/>
                  </a:lnTo>
                  <a:lnTo>
                    <a:pt x="14" y="6"/>
                  </a:lnTo>
                  <a:lnTo>
                    <a:pt x="13"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14" name="Freeform 297"/>
            <p:cNvSpPr>
              <a:spLocks/>
            </p:cNvSpPr>
            <p:nvPr/>
          </p:nvSpPr>
          <p:spPr bwMode="auto">
            <a:xfrm>
              <a:off x="6932613" y="4343401"/>
              <a:ext cx="133350" cy="107950"/>
            </a:xfrm>
            <a:custGeom>
              <a:avLst/>
              <a:gdLst>
                <a:gd name="T0" fmla="*/ 34 w 84"/>
                <a:gd name="T1" fmla="*/ 68 h 68"/>
                <a:gd name="T2" fmla="*/ 29 w 84"/>
                <a:gd name="T3" fmla="*/ 61 h 68"/>
                <a:gd name="T4" fmla="*/ 27 w 84"/>
                <a:gd name="T5" fmla="*/ 58 h 68"/>
                <a:gd name="T6" fmla="*/ 23 w 84"/>
                <a:gd name="T7" fmla="*/ 58 h 68"/>
                <a:gd name="T8" fmla="*/ 17 w 84"/>
                <a:gd name="T9" fmla="*/ 59 h 68"/>
                <a:gd name="T10" fmla="*/ 13 w 84"/>
                <a:gd name="T11" fmla="*/ 59 h 68"/>
                <a:gd name="T12" fmla="*/ 13 w 84"/>
                <a:gd name="T13" fmla="*/ 59 h 68"/>
                <a:gd name="T14" fmla="*/ 8 w 84"/>
                <a:gd name="T15" fmla="*/ 49 h 68"/>
                <a:gd name="T16" fmla="*/ 6 w 84"/>
                <a:gd name="T17" fmla="*/ 42 h 68"/>
                <a:gd name="T18" fmla="*/ 4 w 84"/>
                <a:gd name="T19" fmla="*/ 41 h 68"/>
                <a:gd name="T20" fmla="*/ 3 w 84"/>
                <a:gd name="T21" fmla="*/ 41 h 68"/>
                <a:gd name="T22" fmla="*/ 3 w 84"/>
                <a:gd name="T23" fmla="*/ 41 h 68"/>
                <a:gd name="T24" fmla="*/ 1 w 84"/>
                <a:gd name="T25" fmla="*/ 30 h 68"/>
                <a:gd name="T26" fmla="*/ 0 w 84"/>
                <a:gd name="T27" fmla="*/ 28 h 68"/>
                <a:gd name="T28" fmla="*/ 0 w 84"/>
                <a:gd name="T29" fmla="*/ 25 h 68"/>
                <a:gd name="T30" fmla="*/ 3 w 84"/>
                <a:gd name="T31" fmla="*/ 16 h 68"/>
                <a:gd name="T32" fmla="*/ 7 w 84"/>
                <a:gd name="T33" fmla="*/ 9 h 68"/>
                <a:gd name="T34" fmla="*/ 8 w 84"/>
                <a:gd name="T35" fmla="*/ 9 h 68"/>
                <a:gd name="T36" fmla="*/ 8 w 84"/>
                <a:gd name="T37" fmla="*/ 7 h 68"/>
                <a:gd name="T38" fmla="*/ 8 w 84"/>
                <a:gd name="T39" fmla="*/ 7 h 68"/>
                <a:gd name="T40" fmla="*/ 8 w 84"/>
                <a:gd name="T41" fmla="*/ 7 h 68"/>
                <a:gd name="T42" fmla="*/ 10 w 84"/>
                <a:gd name="T43" fmla="*/ 7 h 68"/>
                <a:gd name="T44" fmla="*/ 11 w 84"/>
                <a:gd name="T45" fmla="*/ 7 h 68"/>
                <a:gd name="T46" fmla="*/ 11 w 84"/>
                <a:gd name="T47" fmla="*/ 7 h 68"/>
                <a:gd name="T48" fmla="*/ 11 w 84"/>
                <a:gd name="T49" fmla="*/ 7 h 68"/>
                <a:gd name="T50" fmla="*/ 11 w 84"/>
                <a:gd name="T51" fmla="*/ 7 h 68"/>
                <a:gd name="T52" fmla="*/ 16 w 84"/>
                <a:gd name="T53" fmla="*/ 6 h 68"/>
                <a:gd name="T54" fmla="*/ 21 w 84"/>
                <a:gd name="T55" fmla="*/ 7 h 68"/>
                <a:gd name="T56" fmla="*/ 21 w 84"/>
                <a:gd name="T57" fmla="*/ 7 h 68"/>
                <a:gd name="T58" fmla="*/ 27 w 84"/>
                <a:gd name="T59" fmla="*/ 7 h 68"/>
                <a:gd name="T60" fmla="*/ 27 w 84"/>
                <a:gd name="T61" fmla="*/ 7 h 68"/>
                <a:gd name="T62" fmla="*/ 32 w 84"/>
                <a:gd name="T63" fmla="*/ 7 h 68"/>
                <a:gd name="T64" fmla="*/ 33 w 84"/>
                <a:gd name="T65" fmla="*/ 6 h 68"/>
                <a:gd name="T66" fmla="*/ 33 w 84"/>
                <a:gd name="T67" fmla="*/ 6 h 68"/>
                <a:gd name="T68" fmla="*/ 33 w 84"/>
                <a:gd name="T69" fmla="*/ 6 h 68"/>
                <a:gd name="T70" fmla="*/ 33 w 84"/>
                <a:gd name="T71" fmla="*/ 6 h 68"/>
                <a:gd name="T72" fmla="*/ 36 w 84"/>
                <a:gd name="T73" fmla="*/ 6 h 68"/>
                <a:gd name="T74" fmla="*/ 43 w 84"/>
                <a:gd name="T75" fmla="*/ 7 h 68"/>
                <a:gd name="T76" fmla="*/ 55 w 84"/>
                <a:gd name="T77" fmla="*/ 10 h 68"/>
                <a:gd name="T78" fmla="*/ 56 w 84"/>
                <a:gd name="T79" fmla="*/ 10 h 68"/>
                <a:gd name="T80" fmla="*/ 58 w 84"/>
                <a:gd name="T81" fmla="*/ 10 h 68"/>
                <a:gd name="T82" fmla="*/ 58 w 84"/>
                <a:gd name="T83" fmla="*/ 9 h 68"/>
                <a:gd name="T84" fmla="*/ 58 w 84"/>
                <a:gd name="T85" fmla="*/ 9 h 68"/>
                <a:gd name="T86" fmla="*/ 58 w 84"/>
                <a:gd name="T87" fmla="*/ 9 h 68"/>
                <a:gd name="T88" fmla="*/ 59 w 84"/>
                <a:gd name="T89" fmla="*/ 4 h 68"/>
                <a:gd name="T90" fmla="*/ 62 w 84"/>
                <a:gd name="T91" fmla="*/ 0 h 68"/>
                <a:gd name="T92" fmla="*/ 62 w 84"/>
                <a:gd name="T93" fmla="*/ 0 h 68"/>
                <a:gd name="T94" fmla="*/ 65 w 84"/>
                <a:gd name="T95" fmla="*/ 2 h 68"/>
                <a:gd name="T96" fmla="*/ 65 w 84"/>
                <a:gd name="T97" fmla="*/ 2 h 68"/>
                <a:gd name="T98" fmla="*/ 71 w 84"/>
                <a:gd name="T99" fmla="*/ 4 h 68"/>
                <a:gd name="T100" fmla="*/ 75 w 84"/>
                <a:gd name="T101" fmla="*/ 9 h 68"/>
                <a:gd name="T102" fmla="*/ 78 w 84"/>
                <a:gd name="T103" fmla="*/ 16 h 68"/>
                <a:gd name="T104" fmla="*/ 78 w 84"/>
                <a:gd name="T105" fmla="*/ 17 h 68"/>
                <a:gd name="T106" fmla="*/ 84 w 84"/>
                <a:gd name="T107" fmla="*/ 35 h 68"/>
                <a:gd name="T108" fmla="*/ 84 w 84"/>
                <a:gd name="T109" fmla="*/ 38 h 68"/>
                <a:gd name="T110" fmla="*/ 81 w 84"/>
                <a:gd name="T111" fmla="*/ 41 h 68"/>
                <a:gd name="T112" fmla="*/ 58 w 84"/>
                <a:gd name="T113" fmla="*/ 48 h 68"/>
                <a:gd name="T114" fmla="*/ 56 w 84"/>
                <a:gd name="T115" fmla="*/ 51 h 68"/>
                <a:gd name="T116" fmla="*/ 55 w 84"/>
                <a:gd name="T117" fmla="*/ 55 h 68"/>
                <a:gd name="T118" fmla="*/ 52 w 84"/>
                <a:gd name="T119" fmla="*/ 5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68">
                  <a:moveTo>
                    <a:pt x="34" y="68"/>
                  </a:moveTo>
                  <a:lnTo>
                    <a:pt x="34" y="68"/>
                  </a:lnTo>
                  <a:lnTo>
                    <a:pt x="32" y="65"/>
                  </a:lnTo>
                  <a:lnTo>
                    <a:pt x="29" y="61"/>
                  </a:lnTo>
                  <a:lnTo>
                    <a:pt x="29" y="61"/>
                  </a:lnTo>
                  <a:lnTo>
                    <a:pt x="27" y="58"/>
                  </a:lnTo>
                  <a:lnTo>
                    <a:pt x="27" y="58"/>
                  </a:lnTo>
                  <a:lnTo>
                    <a:pt x="23" y="58"/>
                  </a:lnTo>
                  <a:lnTo>
                    <a:pt x="23" y="58"/>
                  </a:lnTo>
                  <a:lnTo>
                    <a:pt x="17" y="59"/>
                  </a:lnTo>
                  <a:lnTo>
                    <a:pt x="17" y="59"/>
                  </a:lnTo>
                  <a:lnTo>
                    <a:pt x="13" y="59"/>
                  </a:lnTo>
                  <a:lnTo>
                    <a:pt x="13" y="59"/>
                  </a:lnTo>
                  <a:lnTo>
                    <a:pt x="13" y="59"/>
                  </a:lnTo>
                  <a:lnTo>
                    <a:pt x="13" y="59"/>
                  </a:lnTo>
                  <a:lnTo>
                    <a:pt x="8" y="49"/>
                  </a:lnTo>
                  <a:lnTo>
                    <a:pt x="8" y="49"/>
                  </a:lnTo>
                  <a:lnTo>
                    <a:pt x="6" y="42"/>
                  </a:lnTo>
                  <a:lnTo>
                    <a:pt x="6" y="42"/>
                  </a:lnTo>
                  <a:lnTo>
                    <a:pt x="4" y="41"/>
                  </a:lnTo>
                  <a:lnTo>
                    <a:pt x="4" y="41"/>
                  </a:lnTo>
                  <a:lnTo>
                    <a:pt x="3" y="41"/>
                  </a:lnTo>
                  <a:lnTo>
                    <a:pt x="3" y="41"/>
                  </a:lnTo>
                  <a:lnTo>
                    <a:pt x="3" y="41"/>
                  </a:lnTo>
                  <a:lnTo>
                    <a:pt x="3" y="35"/>
                  </a:lnTo>
                  <a:lnTo>
                    <a:pt x="1" y="30"/>
                  </a:lnTo>
                  <a:lnTo>
                    <a:pt x="1" y="30"/>
                  </a:lnTo>
                  <a:lnTo>
                    <a:pt x="0" y="28"/>
                  </a:lnTo>
                  <a:lnTo>
                    <a:pt x="0" y="25"/>
                  </a:lnTo>
                  <a:lnTo>
                    <a:pt x="0" y="25"/>
                  </a:lnTo>
                  <a:lnTo>
                    <a:pt x="0" y="20"/>
                  </a:lnTo>
                  <a:lnTo>
                    <a:pt x="3" y="16"/>
                  </a:lnTo>
                  <a:lnTo>
                    <a:pt x="7" y="9"/>
                  </a:lnTo>
                  <a:lnTo>
                    <a:pt x="7" y="9"/>
                  </a:lnTo>
                  <a:lnTo>
                    <a:pt x="8" y="9"/>
                  </a:lnTo>
                  <a:lnTo>
                    <a:pt x="8" y="9"/>
                  </a:lnTo>
                  <a:lnTo>
                    <a:pt x="8" y="7"/>
                  </a:lnTo>
                  <a:lnTo>
                    <a:pt x="8" y="7"/>
                  </a:lnTo>
                  <a:lnTo>
                    <a:pt x="8" y="7"/>
                  </a:lnTo>
                  <a:lnTo>
                    <a:pt x="8" y="7"/>
                  </a:lnTo>
                  <a:lnTo>
                    <a:pt x="8" y="7"/>
                  </a:lnTo>
                  <a:lnTo>
                    <a:pt x="8" y="7"/>
                  </a:lnTo>
                  <a:lnTo>
                    <a:pt x="10" y="7"/>
                  </a:lnTo>
                  <a:lnTo>
                    <a:pt x="10" y="7"/>
                  </a:lnTo>
                  <a:lnTo>
                    <a:pt x="11" y="7"/>
                  </a:lnTo>
                  <a:lnTo>
                    <a:pt x="11" y="7"/>
                  </a:lnTo>
                  <a:lnTo>
                    <a:pt x="11" y="7"/>
                  </a:lnTo>
                  <a:lnTo>
                    <a:pt x="11" y="7"/>
                  </a:lnTo>
                  <a:lnTo>
                    <a:pt x="11" y="7"/>
                  </a:lnTo>
                  <a:lnTo>
                    <a:pt x="11" y="7"/>
                  </a:lnTo>
                  <a:lnTo>
                    <a:pt x="11" y="7"/>
                  </a:lnTo>
                  <a:lnTo>
                    <a:pt x="11" y="7"/>
                  </a:lnTo>
                  <a:lnTo>
                    <a:pt x="11" y="7"/>
                  </a:lnTo>
                  <a:lnTo>
                    <a:pt x="16" y="6"/>
                  </a:lnTo>
                  <a:lnTo>
                    <a:pt x="16" y="6"/>
                  </a:lnTo>
                  <a:lnTo>
                    <a:pt x="21" y="7"/>
                  </a:lnTo>
                  <a:lnTo>
                    <a:pt x="21" y="7"/>
                  </a:lnTo>
                  <a:lnTo>
                    <a:pt x="21" y="7"/>
                  </a:lnTo>
                  <a:lnTo>
                    <a:pt x="27" y="7"/>
                  </a:lnTo>
                  <a:lnTo>
                    <a:pt x="27" y="7"/>
                  </a:lnTo>
                  <a:lnTo>
                    <a:pt x="27" y="7"/>
                  </a:lnTo>
                  <a:lnTo>
                    <a:pt x="27" y="7"/>
                  </a:lnTo>
                  <a:lnTo>
                    <a:pt x="32" y="7"/>
                  </a:lnTo>
                  <a:lnTo>
                    <a:pt x="32" y="7"/>
                  </a:lnTo>
                  <a:lnTo>
                    <a:pt x="33" y="6"/>
                  </a:lnTo>
                  <a:lnTo>
                    <a:pt x="33" y="6"/>
                  </a:lnTo>
                  <a:lnTo>
                    <a:pt x="33" y="6"/>
                  </a:lnTo>
                  <a:lnTo>
                    <a:pt x="33" y="6"/>
                  </a:lnTo>
                  <a:lnTo>
                    <a:pt x="33" y="6"/>
                  </a:lnTo>
                  <a:lnTo>
                    <a:pt x="33" y="6"/>
                  </a:lnTo>
                  <a:lnTo>
                    <a:pt x="33" y="6"/>
                  </a:lnTo>
                  <a:lnTo>
                    <a:pt x="33" y="6"/>
                  </a:lnTo>
                  <a:lnTo>
                    <a:pt x="36" y="6"/>
                  </a:lnTo>
                  <a:lnTo>
                    <a:pt x="36" y="6"/>
                  </a:lnTo>
                  <a:lnTo>
                    <a:pt x="43" y="7"/>
                  </a:lnTo>
                  <a:lnTo>
                    <a:pt x="43" y="7"/>
                  </a:lnTo>
                  <a:lnTo>
                    <a:pt x="50" y="9"/>
                  </a:lnTo>
                  <a:lnTo>
                    <a:pt x="55" y="10"/>
                  </a:lnTo>
                  <a:lnTo>
                    <a:pt x="55" y="10"/>
                  </a:lnTo>
                  <a:lnTo>
                    <a:pt x="56" y="10"/>
                  </a:lnTo>
                  <a:lnTo>
                    <a:pt x="58" y="10"/>
                  </a:lnTo>
                  <a:lnTo>
                    <a:pt x="58" y="10"/>
                  </a:lnTo>
                  <a:lnTo>
                    <a:pt x="58" y="9"/>
                  </a:lnTo>
                  <a:lnTo>
                    <a:pt x="58" y="9"/>
                  </a:lnTo>
                  <a:lnTo>
                    <a:pt x="58" y="9"/>
                  </a:lnTo>
                  <a:lnTo>
                    <a:pt x="58" y="9"/>
                  </a:lnTo>
                  <a:lnTo>
                    <a:pt x="58" y="9"/>
                  </a:lnTo>
                  <a:lnTo>
                    <a:pt x="58" y="9"/>
                  </a:lnTo>
                  <a:lnTo>
                    <a:pt x="59" y="7"/>
                  </a:lnTo>
                  <a:lnTo>
                    <a:pt x="59" y="4"/>
                  </a:lnTo>
                  <a:lnTo>
                    <a:pt x="61" y="2"/>
                  </a:lnTo>
                  <a:lnTo>
                    <a:pt x="62" y="0"/>
                  </a:lnTo>
                  <a:lnTo>
                    <a:pt x="62" y="0"/>
                  </a:lnTo>
                  <a:lnTo>
                    <a:pt x="62" y="0"/>
                  </a:lnTo>
                  <a:lnTo>
                    <a:pt x="65" y="2"/>
                  </a:lnTo>
                  <a:lnTo>
                    <a:pt x="65" y="2"/>
                  </a:lnTo>
                  <a:lnTo>
                    <a:pt x="65" y="2"/>
                  </a:lnTo>
                  <a:lnTo>
                    <a:pt x="65" y="2"/>
                  </a:lnTo>
                  <a:lnTo>
                    <a:pt x="68" y="3"/>
                  </a:lnTo>
                  <a:lnTo>
                    <a:pt x="71" y="4"/>
                  </a:lnTo>
                  <a:lnTo>
                    <a:pt x="71" y="4"/>
                  </a:lnTo>
                  <a:lnTo>
                    <a:pt x="75" y="9"/>
                  </a:lnTo>
                  <a:lnTo>
                    <a:pt x="78" y="16"/>
                  </a:lnTo>
                  <a:lnTo>
                    <a:pt x="78" y="16"/>
                  </a:lnTo>
                  <a:lnTo>
                    <a:pt x="78" y="17"/>
                  </a:lnTo>
                  <a:lnTo>
                    <a:pt x="78" y="17"/>
                  </a:lnTo>
                  <a:lnTo>
                    <a:pt x="82" y="28"/>
                  </a:lnTo>
                  <a:lnTo>
                    <a:pt x="84" y="35"/>
                  </a:lnTo>
                  <a:lnTo>
                    <a:pt x="84" y="35"/>
                  </a:lnTo>
                  <a:lnTo>
                    <a:pt x="84" y="38"/>
                  </a:lnTo>
                  <a:lnTo>
                    <a:pt x="81" y="41"/>
                  </a:lnTo>
                  <a:lnTo>
                    <a:pt x="81" y="41"/>
                  </a:lnTo>
                  <a:lnTo>
                    <a:pt x="68" y="45"/>
                  </a:lnTo>
                  <a:lnTo>
                    <a:pt x="58" y="48"/>
                  </a:lnTo>
                  <a:lnTo>
                    <a:pt x="58" y="48"/>
                  </a:lnTo>
                  <a:lnTo>
                    <a:pt x="56" y="51"/>
                  </a:lnTo>
                  <a:lnTo>
                    <a:pt x="55" y="54"/>
                  </a:lnTo>
                  <a:lnTo>
                    <a:pt x="55" y="55"/>
                  </a:lnTo>
                  <a:lnTo>
                    <a:pt x="52" y="58"/>
                  </a:lnTo>
                  <a:lnTo>
                    <a:pt x="52" y="58"/>
                  </a:lnTo>
                  <a:lnTo>
                    <a:pt x="34" y="68"/>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15" name="Freeform 298"/>
            <p:cNvSpPr>
              <a:spLocks/>
            </p:cNvSpPr>
            <p:nvPr/>
          </p:nvSpPr>
          <p:spPr bwMode="auto">
            <a:xfrm>
              <a:off x="6932613" y="4343401"/>
              <a:ext cx="133350" cy="107950"/>
            </a:xfrm>
            <a:custGeom>
              <a:avLst/>
              <a:gdLst>
                <a:gd name="T0" fmla="*/ 34 w 84"/>
                <a:gd name="T1" fmla="*/ 68 h 68"/>
                <a:gd name="T2" fmla="*/ 29 w 84"/>
                <a:gd name="T3" fmla="*/ 61 h 68"/>
                <a:gd name="T4" fmla="*/ 27 w 84"/>
                <a:gd name="T5" fmla="*/ 58 h 68"/>
                <a:gd name="T6" fmla="*/ 23 w 84"/>
                <a:gd name="T7" fmla="*/ 58 h 68"/>
                <a:gd name="T8" fmla="*/ 17 w 84"/>
                <a:gd name="T9" fmla="*/ 59 h 68"/>
                <a:gd name="T10" fmla="*/ 13 w 84"/>
                <a:gd name="T11" fmla="*/ 59 h 68"/>
                <a:gd name="T12" fmla="*/ 13 w 84"/>
                <a:gd name="T13" fmla="*/ 59 h 68"/>
                <a:gd name="T14" fmla="*/ 8 w 84"/>
                <a:gd name="T15" fmla="*/ 49 h 68"/>
                <a:gd name="T16" fmla="*/ 6 w 84"/>
                <a:gd name="T17" fmla="*/ 42 h 68"/>
                <a:gd name="T18" fmla="*/ 4 w 84"/>
                <a:gd name="T19" fmla="*/ 41 h 68"/>
                <a:gd name="T20" fmla="*/ 3 w 84"/>
                <a:gd name="T21" fmla="*/ 41 h 68"/>
                <a:gd name="T22" fmla="*/ 3 w 84"/>
                <a:gd name="T23" fmla="*/ 41 h 68"/>
                <a:gd name="T24" fmla="*/ 1 w 84"/>
                <a:gd name="T25" fmla="*/ 30 h 68"/>
                <a:gd name="T26" fmla="*/ 0 w 84"/>
                <a:gd name="T27" fmla="*/ 28 h 68"/>
                <a:gd name="T28" fmla="*/ 0 w 84"/>
                <a:gd name="T29" fmla="*/ 25 h 68"/>
                <a:gd name="T30" fmla="*/ 3 w 84"/>
                <a:gd name="T31" fmla="*/ 16 h 68"/>
                <a:gd name="T32" fmla="*/ 7 w 84"/>
                <a:gd name="T33" fmla="*/ 9 h 68"/>
                <a:gd name="T34" fmla="*/ 8 w 84"/>
                <a:gd name="T35" fmla="*/ 9 h 68"/>
                <a:gd name="T36" fmla="*/ 8 w 84"/>
                <a:gd name="T37" fmla="*/ 7 h 68"/>
                <a:gd name="T38" fmla="*/ 8 w 84"/>
                <a:gd name="T39" fmla="*/ 7 h 68"/>
                <a:gd name="T40" fmla="*/ 8 w 84"/>
                <a:gd name="T41" fmla="*/ 7 h 68"/>
                <a:gd name="T42" fmla="*/ 10 w 84"/>
                <a:gd name="T43" fmla="*/ 7 h 68"/>
                <a:gd name="T44" fmla="*/ 11 w 84"/>
                <a:gd name="T45" fmla="*/ 7 h 68"/>
                <a:gd name="T46" fmla="*/ 11 w 84"/>
                <a:gd name="T47" fmla="*/ 7 h 68"/>
                <a:gd name="T48" fmla="*/ 11 w 84"/>
                <a:gd name="T49" fmla="*/ 7 h 68"/>
                <a:gd name="T50" fmla="*/ 11 w 84"/>
                <a:gd name="T51" fmla="*/ 7 h 68"/>
                <a:gd name="T52" fmla="*/ 16 w 84"/>
                <a:gd name="T53" fmla="*/ 6 h 68"/>
                <a:gd name="T54" fmla="*/ 21 w 84"/>
                <a:gd name="T55" fmla="*/ 7 h 68"/>
                <a:gd name="T56" fmla="*/ 21 w 84"/>
                <a:gd name="T57" fmla="*/ 7 h 68"/>
                <a:gd name="T58" fmla="*/ 27 w 84"/>
                <a:gd name="T59" fmla="*/ 7 h 68"/>
                <a:gd name="T60" fmla="*/ 27 w 84"/>
                <a:gd name="T61" fmla="*/ 7 h 68"/>
                <a:gd name="T62" fmla="*/ 32 w 84"/>
                <a:gd name="T63" fmla="*/ 7 h 68"/>
                <a:gd name="T64" fmla="*/ 33 w 84"/>
                <a:gd name="T65" fmla="*/ 6 h 68"/>
                <a:gd name="T66" fmla="*/ 33 w 84"/>
                <a:gd name="T67" fmla="*/ 6 h 68"/>
                <a:gd name="T68" fmla="*/ 33 w 84"/>
                <a:gd name="T69" fmla="*/ 6 h 68"/>
                <a:gd name="T70" fmla="*/ 33 w 84"/>
                <a:gd name="T71" fmla="*/ 6 h 68"/>
                <a:gd name="T72" fmla="*/ 36 w 84"/>
                <a:gd name="T73" fmla="*/ 6 h 68"/>
                <a:gd name="T74" fmla="*/ 43 w 84"/>
                <a:gd name="T75" fmla="*/ 7 h 68"/>
                <a:gd name="T76" fmla="*/ 55 w 84"/>
                <a:gd name="T77" fmla="*/ 10 h 68"/>
                <a:gd name="T78" fmla="*/ 56 w 84"/>
                <a:gd name="T79" fmla="*/ 10 h 68"/>
                <a:gd name="T80" fmla="*/ 58 w 84"/>
                <a:gd name="T81" fmla="*/ 10 h 68"/>
                <a:gd name="T82" fmla="*/ 58 w 84"/>
                <a:gd name="T83" fmla="*/ 9 h 68"/>
                <a:gd name="T84" fmla="*/ 58 w 84"/>
                <a:gd name="T85" fmla="*/ 9 h 68"/>
                <a:gd name="T86" fmla="*/ 58 w 84"/>
                <a:gd name="T87" fmla="*/ 9 h 68"/>
                <a:gd name="T88" fmla="*/ 59 w 84"/>
                <a:gd name="T89" fmla="*/ 4 h 68"/>
                <a:gd name="T90" fmla="*/ 62 w 84"/>
                <a:gd name="T91" fmla="*/ 0 h 68"/>
                <a:gd name="T92" fmla="*/ 62 w 84"/>
                <a:gd name="T93" fmla="*/ 0 h 68"/>
                <a:gd name="T94" fmla="*/ 65 w 84"/>
                <a:gd name="T95" fmla="*/ 2 h 68"/>
                <a:gd name="T96" fmla="*/ 65 w 84"/>
                <a:gd name="T97" fmla="*/ 2 h 68"/>
                <a:gd name="T98" fmla="*/ 71 w 84"/>
                <a:gd name="T99" fmla="*/ 4 h 68"/>
                <a:gd name="T100" fmla="*/ 75 w 84"/>
                <a:gd name="T101" fmla="*/ 9 h 68"/>
                <a:gd name="T102" fmla="*/ 78 w 84"/>
                <a:gd name="T103" fmla="*/ 16 h 68"/>
                <a:gd name="T104" fmla="*/ 78 w 84"/>
                <a:gd name="T105" fmla="*/ 17 h 68"/>
                <a:gd name="T106" fmla="*/ 84 w 84"/>
                <a:gd name="T107" fmla="*/ 35 h 68"/>
                <a:gd name="T108" fmla="*/ 84 w 84"/>
                <a:gd name="T109" fmla="*/ 38 h 68"/>
                <a:gd name="T110" fmla="*/ 81 w 84"/>
                <a:gd name="T111" fmla="*/ 41 h 68"/>
                <a:gd name="T112" fmla="*/ 58 w 84"/>
                <a:gd name="T113" fmla="*/ 48 h 68"/>
                <a:gd name="T114" fmla="*/ 56 w 84"/>
                <a:gd name="T115" fmla="*/ 51 h 68"/>
                <a:gd name="T116" fmla="*/ 55 w 84"/>
                <a:gd name="T117" fmla="*/ 55 h 68"/>
                <a:gd name="T118" fmla="*/ 52 w 84"/>
                <a:gd name="T119" fmla="*/ 5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68">
                  <a:moveTo>
                    <a:pt x="34" y="68"/>
                  </a:moveTo>
                  <a:lnTo>
                    <a:pt x="34" y="68"/>
                  </a:lnTo>
                  <a:lnTo>
                    <a:pt x="32" y="65"/>
                  </a:lnTo>
                  <a:lnTo>
                    <a:pt x="29" y="61"/>
                  </a:lnTo>
                  <a:lnTo>
                    <a:pt x="29" y="61"/>
                  </a:lnTo>
                  <a:lnTo>
                    <a:pt x="27" y="58"/>
                  </a:lnTo>
                  <a:lnTo>
                    <a:pt x="27" y="58"/>
                  </a:lnTo>
                  <a:lnTo>
                    <a:pt x="23" y="58"/>
                  </a:lnTo>
                  <a:lnTo>
                    <a:pt x="23" y="58"/>
                  </a:lnTo>
                  <a:lnTo>
                    <a:pt x="17" y="59"/>
                  </a:lnTo>
                  <a:lnTo>
                    <a:pt x="17" y="59"/>
                  </a:lnTo>
                  <a:lnTo>
                    <a:pt x="13" y="59"/>
                  </a:lnTo>
                  <a:lnTo>
                    <a:pt x="13" y="59"/>
                  </a:lnTo>
                  <a:lnTo>
                    <a:pt x="13" y="59"/>
                  </a:lnTo>
                  <a:lnTo>
                    <a:pt x="13" y="59"/>
                  </a:lnTo>
                  <a:lnTo>
                    <a:pt x="8" y="49"/>
                  </a:lnTo>
                  <a:lnTo>
                    <a:pt x="8" y="49"/>
                  </a:lnTo>
                  <a:lnTo>
                    <a:pt x="6" y="42"/>
                  </a:lnTo>
                  <a:lnTo>
                    <a:pt x="6" y="42"/>
                  </a:lnTo>
                  <a:lnTo>
                    <a:pt x="4" y="41"/>
                  </a:lnTo>
                  <a:lnTo>
                    <a:pt x="4" y="41"/>
                  </a:lnTo>
                  <a:lnTo>
                    <a:pt x="3" y="41"/>
                  </a:lnTo>
                  <a:lnTo>
                    <a:pt x="3" y="41"/>
                  </a:lnTo>
                  <a:lnTo>
                    <a:pt x="3" y="41"/>
                  </a:lnTo>
                  <a:lnTo>
                    <a:pt x="3" y="35"/>
                  </a:lnTo>
                  <a:lnTo>
                    <a:pt x="1" y="30"/>
                  </a:lnTo>
                  <a:lnTo>
                    <a:pt x="1" y="30"/>
                  </a:lnTo>
                  <a:lnTo>
                    <a:pt x="0" y="28"/>
                  </a:lnTo>
                  <a:lnTo>
                    <a:pt x="0" y="25"/>
                  </a:lnTo>
                  <a:lnTo>
                    <a:pt x="0" y="25"/>
                  </a:lnTo>
                  <a:lnTo>
                    <a:pt x="0" y="20"/>
                  </a:lnTo>
                  <a:lnTo>
                    <a:pt x="3" y="16"/>
                  </a:lnTo>
                  <a:lnTo>
                    <a:pt x="7" y="9"/>
                  </a:lnTo>
                  <a:lnTo>
                    <a:pt x="7" y="9"/>
                  </a:lnTo>
                  <a:lnTo>
                    <a:pt x="8" y="9"/>
                  </a:lnTo>
                  <a:lnTo>
                    <a:pt x="8" y="9"/>
                  </a:lnTo>
                  <a:lnTo>
                    <a:pt x="8" y="7"/>
                  </a:lnTo>
                  <a:lnTo>
                    <a:pt x="8" y="7"/>
                  </a:lnTo>
                  <a:lnTo>
                    <a:pt x="8" y="7"/>
                  </a:lnTo>
                  <a:lnTo>
                    <a:pt x="8" y="7"/>
                  </a:lnTo>
                  <a:lnTo>
                    <a:pt x="8" y="7"/>
                  </a:lnTo>
                  <a:lnTo>
                    <a:pt x="8" y="7"/>
                  </a:lnTo>
                  <a:lnTo>
                    <a:pt x="10" y="7"/>
                  </a:lnTo>
                  <a:lnTo>
                    <a:pt x="10" y="7"/>
                  </a:lnTo>
                  <a:lnTo>
                    <a:pt x="11" y="7"/>
                  </a:lnTo>
                  <a:lnTo>
                    <a:pt x="11" y="7"/>
                  </a:lnTo>
                  <a:lnTo>
                    <a:pt x="11" y="7"/>
                  </a:lnTo>
                  <a:lnTo>
                    <a:pt x="11" y="7"/>
                  </a:lnTo>
                  <a:lnTo>
                    <a:pt x="11" y="7"/>
                  </a:lnTo>
                  <a:lnTo>
                    <a:pt x="11" y="7"/>
                  </a:lnTo>
                  <a:lnTo>
                    <a:pt x="11" y="7"/>
                  </a:lnTo>
                  <a:lnTo>
                    <a:pt x="11" y="7"/>
                  </a:lnTo>
                  <a:lnTo>
                    <a:pt x="11" y="7"/>
                  </a:lnTo>
                  <a:lnTo>
                    <a:pt x="16" y="6"/>
                  </a:lnTo>
                  <a:lnTo>
                    <a:pt x="16" y="6"/>
                  </a:lnTo>
                  <a:lnTo>
                    <a:pt x="21" y="7"/>
                  </a:lnTo>
                  <a:lnTo>
                    <a:pt x="21" y="7"/>
                  </a:lnTo>
                  <a:lnTo>
                    <a:pt x="21" y="7"/>
                  </a:lnTo>
                  <a:lnTo>
                    <a:pt x="27" y="7"/>
                  </a:lnTo>
                  <a:lnTo>
                    <a:pt x="27" y="7"/>
                  </a:lnTo>
                  <a:lnTo>
                    <a:pt x="27" y="7"/>
                  </a:lnTo>
                  <a:lnTo>
                    <a:pt x="27" y="7"/>
                  </a:lnTo>
                  <a:lnTo>
                    <a:pt x="32" y="7"/>
                  </a:lnTo>
                  <a:lnTo>
                    <a:pt x="32" y="7"/>
                  </a:lnTo>
                  <a:lnTo>
                    <a:pt x="33" y="6"/>
                  </a:lnTo>
                  <a:lnTo>
                    <a:pt x="33" y="6"/>
                  </a:lnTo>
                  <a:lnTo>
                    <a:pt x="33" y="6"/>
                  </a:lnTo>
                  <a:lnTo>
                    <a:pt x="33" y="6"/>
                  </a:lnTo>
                  <a:lnTo>
                    <a:pt x="33" y="6"/>
                  </a:lnTo>
                  <a:lnTo>
                    <a:pt x="33" y="6"/>
                  </a:lnTo>
                  <a:lnTo>
                    <a:pt x="33" y="6"/>
                  </a:lnTo>
                  <a:lnTo>
                    <a:pt x="33" y="6"/>
                  </a:lnTo>
                  <a:lnTo>
                    <a:pt x="36" y="6"/>
                  </a:lnTo>
                  <a:lnTo>
                    <a:pt x="36" y="6"/>
                  </a:lnTo>
                  <a:lnTo>
                    <a:pt x="43" y="7"/>
                  </a:lnTo>
                  <a:lnTo>
                    <a:pt x="43" y="7"/>
                  </a:lnTo>
                  <a:lnTo>
                    <a:pt x="50" y="9"/>
                  </a:lnTo>
                  <a:lnTo>
                    <a:pt x="55" y="10"/>
                  </a:lnTo>
                  <a:lnTo>
                    <a:pt x="55" y="10"/>
                  </a:lnTo>
                  <a:lnTo>
                    <a:pt x="56" y="10"/>
                  </a:lnTo>
                  <a:lnTo>
                    <a:pt x="58" y="10"/>
                  </a:lnTo>
                  <a:lnTo>
                    <a:pt x="58" y="10"/>
                  </a:lnTo>
                  <a:lnTo>
                    <a:pt x="58" y="9"/>
                  </a:lnTo>
                  <a:lnTo>
                    <a:pt x="58" y="9"/>
                  </a:lnTo>
                  <a:lnTo>
                    <a:pt x="58" y="9"/>
                  </a:lnTo>
                  <a:lnTo>
                    <a:pt x="58" y="9"/>
                  </a:lnTo>
                  <a:lnTo>
                    <a:pt x="58" y="9"/>
                  </a:lnTo>
                  <a:lnTo>
                    <a:pt x="58" y="9"/>
                  </a:lnTo>
                  <a:lnTo>
                    <a:pt x="59" y="7"/>
                  </a:lnTo>
                  <a:lnTo>
                    <a:pt x="59" y="4"/>
                  </a:lnTo>
                  <a:lnTo>
                    <a:pt x="61" y="2"/>
                  </a:lnTo>
                  <a:lnTo>
                    <a:pt x="62" y="0"/>
                  </a:lnTo>
                  <a:lnTo>
                    <a:pt x="62" y="0"/>
                  </a:lnTo>
                  <a:lnTo>
                    <a:pt x="62" y="0"/>
                  </a:lnTo>
                  <a:lnTo>
                    <a:pt x="65" y="2"/>
                  </a:lnTo>
                  <a:lnTo>
                    <a:pt x="65" y="2"/>
                  </a:lnTo>
                  <a:lnTo>
                    <a:pt x="65" y="2"/>
                  </a:lnTo>
                  <a:lnTo>
                    <a:pt x="65" y="2"/>
                  </a:lnTo>
                  <a:lnTo>
                    <a:pt x="68" y="3"/>
                  </a:lnTo>
                  <a:lnTo>
                    <a:pt x="71" y="4"/>
                  </a:lnTo>
                  <a:lnTo>
                    <a:pt x="71" y="4"/>
                  </a:lnTo>
                  <a:lnTo>
                    <a:pt x="75" y="9"/>
                  </a:lnTo>
                  <a:lnTo>
                    <a:pt x="78" y="16"/>
                  </a:lnTo>
                  <a:lnTo>
                    <a:pt x="78" y="16"/>
                  </a:lnTo>
                  <a:lnTo>
                    <a:pt x="78" y="17"/>
                  </a:lnTo>
                  <a:lnTo>
                    <a:pt x="78" y="17"/>
                  </a:lnTo>
                  <a:lnTo>
                    <a:pt x="82" y="28"/>
                  </a:lnTo>
                  <a:lnTo>
                    <a:pt x="84" y="35"/>
                  </a:lnTo>
                  <a:lnTo>
                    <a:pt x="84" y="35"/>
                  </a:lnTo>
                  <a:lnTo>
                    <a:pt x="84" y="38"/>
                  </a:lnTo>
                  <a:lnTo>
                    <a:pt x="81" y="41"/>
                  </a:lnTo>
                  <a:lnTo>
                    <a:pt x="81" y="41"/>
                  </a:lnTo>
                  <a:lnTo>
                    <a:pt x="68" y="45"/>
                  </a:lnTo>
                  <a:lnTo>
                    <a:pt x="58" y="48"/>
                  </a:lnTo>
                  <a:lnTo>
                    <a:pt x="58" y="48"/>
                  </a:lnTo>
                  <a:lnTo>
                    <a:pt x="56" y="51"/>
                  </a:lnTo>
                  <a:lnTo>
                    <a:pt x="55" y="54"/>
                  </a:lnTo>
                  <a:lnTo>
                    <a:pt x="55" y="55"/>
                  </a:lnTo>
                  <a:lnTo>
                    <a:pt x="52" y="58"/>
                  </a:lnTo>
                  <a:lnTo>
                    <a:pt x="52" y="58"/>
                  </a:lnTo>
                  <a:lnTo>
                    <a:pt x="34" y="6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16" name="Freeform 299"/>
            <p:cNvSpPr>
              <a:spLocks noEditPoints="1"/>
            </p:cNvSpPr>
            <p:nvPr/>
          </p:nvSpPr>
          <p:spPr bwMode="auto">
            <a:xfrm>
              <a:off x="6986588" y="4349751"/>
              <a:ext cx="79375" cy="101600"/>
            </a:xfrm>
            <a:custGeom>
              <a:avLst/>
              <a:gdLst>
                <a:gd name="T0" fmla="*/ 44 w 50"/>
                <a:gd name="T1" fmla="*/ 12 h 64"/>
                <a:gd name="T2" fmla="*/ 44 w 50"/>
                <a:gd name="T3" fmla="*/ 12 h 64"/>
                <a:gd name="T4" fmla="*/ 41 w 50"/>
                <a:gd name="T5" fmla="*/ 5 h 64"/>
                <a:gd name="T6" fmla="*/ 37 w 50"/>
                <a:gd name="T7" fmla="*/ 0 h 64"/>
                <a:gd name="T8" fmla="*/ 37 w 50"/>
                <a:gd name="T9" fmla="*/ 0 h 64"/>
                <a:gd name="T10" fmla="*/ 37 w 50"/>
                <a:gd name="T11" fmla="*/ 0 h 64"/>
                <a:gd name="T12" fmla="*/ 41 w 50"/>
                <a:gd name="T13" fmla="*/ 5 h 64"/>
                <a:gd name="T14" fmla="*/ 44 w 50"/>
                <a:gd name="T15" fmla="*/ 12 h 64"/>
                <a:gd name="T16" fmla="*/ 0 w 50"/>
                <a:gd name="T17" fmla="*/ 64 h 64"/>
                <a:gd name="T18" fmla="*/ 0 w 50"/>
                <a:gd name="T19" fmla="*/ 64 h 64"/>
                <a:gd name="T20" fmla="*/ 0 w 50"/>
                <a:gd name="T21" fmla="*/ 64 h 64"/>
                <a:gd name="T22" fmla="*/ 18 w 50"/>
                <a:gd name="T23" fmla="*/ 54 h 64"/>
                <a:gd name="T24" fmla="*/ 18 w 50"/>
                <a:gd name="T25" fmla="*/ 54 h 64"/>
                <a:gd name="T26" fmla="*/ 21 w 50"/>
                <a:gd name="T27" fmla="*/ 51 h 64"/>
                <a:gd name="T28" fmla="*/ 21 w 50"/>
                <a:gd name="T29" fmla="*/ 50 h 64"/>
                <a:gd name="T30" fmla="*/ 22 w 50"/>
                <a:gd name="T31" fmla="*/ 47 h 64"/>
                <a:gd name="T32" fmla="*/ 24 w 50"/>
                <a:gd name="T33" fmla="*/ 44 h 64"/>
                <a:gd name="T34" fmla="*/ 24 w 50"/>
                <a:gd name="T35" fmla="*/ 44 h 64"/>
                <a:gd name="T36" fmla="*/ 34 w 50"/>
                <a:gd name="T37" fmla="*/ 41 h 64"/>
                <a:gd name="T38" fmla="*/ 47 w 50"/>
                <a:gd name="T39" fmla="*/ 37 h 64"/>
                <a:gd name="T40" fmla="*/ 47 w 50"/>
                <a:gd name="T41" fmla="*/ 37 h 64"/>
                <a:gd name="T42" fmla="*/ 50 w 50"/>
                <a:gd name="T43" fmla="*/ 34 h 64"/>
                <a:gd name="T44" fmla="*/ 50 w 50"/>
                <a:gd name="T45" fmla="*/ 31 h 64"/>
                <a:gd name="T46" fmla="*/ 50 w 50"/>
                <a:gd name="T47" fmla="*/ 31 h 64"/>
                <a:gd name="T48" fmla="*/ 50 w 50"/>
                <a:gd name="T49" fmla="*/ 34 h 64"/>
                <a:gd name="T50" fmla="*/ 47 w 50"/>
                <a:gd name="T51" fmla="*/ 37 h 64"/>
                <a:gd name="T52" fmla="*/ 47 w 50"/>
                <a:gd name="T53" fmla="*/ 37 h 64"/>
                <a:gd name="T54" fmla="*/ 34 w 50"/>
                <a:gd name="T55" fmla="*/ 41 h 64"/>
                <a:gd name="T56" fmla="*/ 24 w 50"/>
                <a:gd name="T57" fmla="*/ 44 h 64"/>
                <a:gd name="T58" fmla="*/ 24 w 50"/>
                <a:gd name="T59" fmla="*/ 44 h 64"/>
                <a:gd name="T60" fmla="*/ 22 w 50"/>
                <a:gd name="T61" fmla="*/ 47 h 64"/>
                <a:gd name="T62" fmla="*/ 21 w 50"/>
                <a:gd name="T63" fmla="*/ 50 h 64"/>
                <a:gd name="T64" fmla="*/ 21 w 50"/>
                <a:gd name="T65" fmla="*/ 51 h 64"/>
                <a:gd name="T66" fmla="*/ 18 w 50"/>
                <a:gd name="T67" fmla="*/ 54 h 64"/>
                <a:gd name="T68" fmla="*/ 18 w 50"/>
                <a:gd name="T69" fmla="*/ 54 h 64"/>
                <a:gd name="T70" fmla="*/ 0 w 50"/>
                <a:gd name="T7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64">
                  <a:moveTo>
                    <a:pt x="44" y="12"/>
                  </a:moveTo>
                  <a:lnTo>
                    <a:pt x="44" y="12"/>
                  </a:lnTo>
                  <a:lnTo>
                    <a:pt x="41" y="5"/>
                  </a:lnTo>
                  <a:lnTo>
                    <a:pt x="37" y="0"/>
                  </a:lnTo>
                  <a:lnTo>
                    <a:pt x="37" y="0"/>
                  </a:lnTo>
                  <a:lnTo>
                    <a:pt x="37" y="0"/>
                  </a:lnTo>
                  <a:lnTo>
                    <a:pt x="41" y="5"/>
                  </a:lnTo>
                  <a:lnTo>
                    <a:pt x="44" y="12"/>
                  </a:lnTo>
                  <a:close/>
                  <a:moveTo>
                    <a:pt x="0" y="64"/>
                  </a:moveTo>
                  <a:lnTo>
                    <a:pt x="0" y="64"/>
                  </a:lnTo>
                  <a:lnTo>
                    <a:pt x="0" y="64"/>
                  </a:lnTo>
                  <a:lnTo>
                    <a:pt x="18" y="54"/>
                  </a:lnTo>
                  <a:lnTo>
                    <a:pt x="18" y="54"/>
                  </a:lnTo>
                  <a:lnTo>
                    <a:pt x="21" y="51"/>
                  </a:lnTo>
                  <a:lnTo>
                    <a:pt x="21" y="50"/>
                  </a:lnTo>
                  <a:lnTo>
                    <a:pt x="22" y="47"/>
                  </a:lnTo>
                  <a:lnTo>
                    <a:pt x="24" y="44"/>
                  </a:lnTo>
                  <a:lnTo>
                    <a:pt x="24" y="44"/>
                  </a:lnTo>
                  <a:lnTo>
                    <a:pt x="34" y="41"/>
                  </a:lnTo>
                  <a:lnTo>
                    <a:pt x="47" y="37"/>
                  </a:lnTo>
                  <a:lnTo>
                    <a:pt x="47" y="37"/>
                  </a:lnTo>
                  <a:lnTo>
                    <a:pt x="50" y="34"/>
                  </a:lnTo>
                  <a:lnTo>
                    <a:pt x="50" y="31"/>
                  </a:lnTo>
                  <a:lnTo>
                    <a:pt x="50" y="31"/>
                  </a:lnTo>
                  <a:lnTo>
                    <a:pt x="50" y="34"/>
                  </a:lnTo>
                  <a:lnTo>
                    <a:pt x="47" y="37"/>
                  </a:lnTo>
                  <a:lnTo>
                    <a:pt x="47" y="37"/>
                  </a:lnTo>
                  <a:lnTo>
                    <a:pt x="34" y="41"/>
                  </a:lnTo>
                  <a:lnTo>
                    <a:pt x="24" y="44"/>
                  </a:lnTo>
                  <a:lnTo>
                    <a:pt x="24" y="44"/>
                  </a:lnTo>
                  <a:lnTo>
                    <a:pt x="22" y="47"/>
                  </a:lnTo>
                  <a:lnTo>
                    <a:pt x="21" y="50"/>
                  </a:lnTo>
                  <a:lnTo>
                    <a:pt x="21" y="51"/>
                  </a:lnTo>
                  <a:lnTo>
                    <a:pt x="18" y="54"/>
                  </a:lnTo>
                  <a:lnTo>
                    <a:pt x="18" y="54"/>
                  </a:lnTo>
                  <a:lnTo>
                    <a:pt x="0" y="64"/>
                  </a:lnTo>
                  <a:close/>
                </a:path>
              </a:pathLst>
            </a:custGeom>
            <a:solidFill>
              <a:srgbClr val="60B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17" name="Freeform 300"/>
            <p:cNvSpPr>
              <a:spLocks/>
            </p:cNvSpPr>
            <p:nvPr/>
          </p:nvSpPr>
          <p:spPr bwMode="auto">
            <a:xfrm>
              <a:off x="7045326" y="4349751"/>
              <a:ext cx="11113" cy="19050"/>
            </a:xfrm>
            <a:custGeom>
              <a:avLst/>
              <a:gdLst>
                <a:gd name="T0" fmla="*/ 7 w 7"/>
                <a:gd name="T1" fmla="*/ 12 h 12"/>
                <a:gd name="T2" fmla="*/ 7 w 7"/>
                <a:gd name="T3" fmla="*/ 12 h 12"/>
                <a:gd name="T4" fmla="*/ 4 w 7"/>
                <a:gd name="T5" fmla="*/ 5 h 12"/>
                <a:gd name="T6" fmla="*/ 0 w 7"/>
                <a:gd name="T7" fmla="*/ 0 h 12"/>
                <a:gd name="T8" fmla="*/ 0 w 7"/>
                <a:gd name="T9" fmla="*/ 0 h 12"/>
                <a:gd name="T10" fmla="*/ 0 w 7"/>
                <a:gd name="T11" fmla="*/ 0 h 12"/>
                <a:gd name="T12" fmla="*/ 4 w 7"/>
                <a:gd name="T13" fmla="*/ 5 h 12"/>
                <a:gd name="T14" fmla="*/ 7 w 7"/>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2">
                  <a:moveTo>
                    <a:pt x="7" y="12"/>
                  </a:moveTo>
                  <a:lnTo>
                    <a:pt x="7" y="12"/>
                  </a:lnTo>
                  <a:lnTo>
                    <a:pt x="4" y="5"/>
                  </a:lnTo>
                  <a:lnTo>
                    <a:pt x="0" y="0"/>
                  </a:lnTo>
                  <a:lnTo>
                    <a:pt x="0" y="0"/>
                  </a:lnTo>
                  <a:lnTo>
                    <a:pt x="0" y="0"/>
                  </a:lnTo>
                  <a:lnTo>
                    <a:pt x="4" y="5"/>
                  </a:lnTo>
                  <a:lnTo>
                    <a:pt x="7"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18" name="Freeform 301"/>
            <p:cNvSpPr>
              <a:spLocks/>
            </p:cNvSpPr>
            <p:nvPr/>
          </p:nvSpPr>
          <p:spPr bwMode="auto">
            <a:xfrm>
              <a:off x="6986588" y="4398963"/>
              <a:ext cx="79375" cy="52388"/>
            </a:xfrm>
            <a:custGeom>
              <a:avLst/>
              <a:gdLst>
                <a:gd name="T0" fmla="*/ 0 w 50"/>
                <a:gd name="T1" fmla="*/ 33 h 33"/>
                <a:gd name="T2" fmla="*/ 0 w 50"/>
                <a:gd name="T3" fmla="*/ 33 h 33"/>
                <a:gd name="T4" fmla="*/ 0 w 50"/>
                <a:gd name="T5" fmla="*/ 33 h 33"/>
                <a:gd name="T6" fmla="*/ 18 w 50"/>
                <a:gd name="T7" fmla="*/ 23 h 33"/>
                <a:gd name="T8" fmla="*/ 18 w 50"/>
                <a:gd name="T9" fmla="*/ 23 h 33"/>
                <a:gd name="T10" fmla="*/ 21 w 50"/>
                <a:gd name="T11" fmla="*/ 20 h 33"/>
                <a:gd name="T12" fmla="*/ 21 w 50"/>
                <a:gd name="T13" fmla="*/ 19 h 33"/>
                <a:gd name="T14" fmla="*/ 22 w 50"/>
                <a:gd name="T15" fmla="*/ 16 h 33"/>
                <a:gd name="T16" fmla="*/ 24 w 50"/>
                <a:gd name="T17" fmla="*/ 13 h 33"/>
                <a:gd name="T18" fmla="*/ 24 w 50"/>
                <a:gd name="T19" fmla="*/ 13 h 33"/>
                <a:gd name="T20" fmla="*/ 34 w 50"/>
                <a:gd name="T21" fmla="*/ 10 h 33"/>
                <a:gd name="T22" fmla="*/ 47 w 50"/>
                <a:gd name="T23" fmla="*/ 6 h 33"/>
                <a:gd name="T24" fmla="*/ 47 w 50"/>
                <a:gd name="T25" fmla="*/ 6 h 33"/>
                <a:gd name="T26" fmla="*/ 50 w 50"/>
                <a:gd name="T27" fmla="*/ 3 h 33"/>
                <a:gd name="T28" fmla="*/ 50 w 50"/>
                <a:gd name="T29" fmla="*/ 0 h 33"/>
                <a:gd name="T30" fmla="*/ 50 w 50"/>
                <a:gd name="T31" fmla="*/ 0 h 33"/>
                <a:gd name="T32" fmla="*/ 50 w 50"/>
                <a:gd name="T33" fmla="*/ 3 h 33"/>
                <a:gd name="T34" fmla="*/ 47 w 50"/>
                <a:gd name="T35" fmla="*/ 6 h 33"/>
                <a:gd name="T36" fmla="*/ 47 w 50"/>
                <a:gd name="T37" fmla="*/ 6 h 33"/>
                <a:gd name="T38" fmla="*/ 34 w 50"/>
                <a:gd name="T39" fmla="*/ 10 h 33"/>
                <a:gd name="T40" fmla="*/ 24 w 50"/>
                <a:gd name="T41" fmla="*/ 13 h 33"/>
                <a:gd name="T42" fmla="*/ 24 w 50"/>
                <a:gd name="T43" fmla="*/ 13 h 33"/>
                <a:gd name="T44" fmla="*/ 22 w 50"/>
                <a:gd name="T45" fmla="*/ 16 h 33"/>
                <a:gd name="T46" fmla="*/ 21 w 50"/>
                <a:gd name="T47" fmla="*/ 19 h 33"/>
                <a:gd name="T48" fmla="*/ 21 w 50"/>
                <a:gd name="T49" fmla="*/ 20 h 33"/>
                <a:gd name="T50" fmla="*/ 18 w 50"/>
                <a:gd name="T51" fmla="*/ 23 h 33"/>
                <a:gd name="T52" fmla="*/ 18 w 50"/>
                <a:gd name="T53" fmla="*/ 23 h 33"/>
                <a:gd name="T54" fmla="*/ 0 w 50"/>
                <a:gd name="T5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33">
                  <a:moveTo>
                    <a:pt x="0" y="33"/>
                  </a:moveTo>
                  <a:lnTo>
                    <a:pt x="0" y="33"/>
                  </a:lnTo>
                  <a:lnTo>
                    <a:pt x="0" y="33"/>
                  </a:lnTo>
                  <a:lnTo>
                    <a:pt x="18" y="23"/>
                  </a:lnTo>
                  <a:lnTo>
                    <a:pt x="18" y="23"/>
                  </a:lnTo>
                  <a:lnTo>
                    <a:pt x="21" y="20"/>
                  </a:lnTo>
                  <a:lnTo>
                    <a:pt x="21" y="19"/>
                  </a:lnTo>
                  <a:lnTo>
                    <a:pt x="22" y="16"/>
                  </a:lnTo>
                  <a:lnTo>
                    <a:pt x="24" y="13"/>
                  </a:lnTo>
                  <a:lnTo>
                    <a:pt x="24" y="13"/>
                  </a:lnTo>
                  <a:lnTo>
                    <a:pt x="34" y="10"/>
                  </a:lnTo>
                  <a:lnTo>
                    <a:pt x="47" y="6"/>
                  </a:lnTo>
                  <a:lnTo>
                    <a:pt x="47" y="6"/>
                  </a:lnTo>
                  <a:lnTo>
                    <a:pt x="50" y="3"/>
                  </a:lnTo>
                  <a:lnTo>
                    <a:pt x="50" y="0"/>
                  </a:lnTo>
                  <a:lnTo>
                    <a:pt x="50" y="0"/>
                  </a:lnTo>
                  <a:lnTo>
                    <a:pt x="50" y="3"/>
                  </a:lnTo>
                  <a:lnTo>
                    <a:pt x="47" y="6"/>
                  </a:lnTo>
                  <a:lnTo>
                    <a:pt x="47" y="6"/>
                  </a:lnTo>
                  <a:lnTo>
                    <a:pt x="34" y="10"/>
                  </a:lnTo>
                  <a:lnTo>
                    <a:pt x="24" y="13"/>
                  </a:lnTo>
                  <a:lnTo>
                    <a:pt x="24" y="13"/>
                  </a:lnTo>
                  <a:lnTo>
                    <a:pt x="22" y="16"/>
                  </a:lnTo>
                  <a:lnTo>
                    <a:pt x="21" y="19"/>
                  </a:lnTo>
                  <a:lnTo>
                    <a:pt x="21" y="20"/>
                  </a:lnTo>
                  <a:lnTo>
                    <a:pt x="18" y="23"/>
                  </a:lnTo>
                  <a:lnTo>
                    <a:pt x="18" y="23"/>
                  </a:lnTo>
                  <a:lnTo>
                    <a:pt x="0" y="3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19" name="Freeform 302"/>
            <p:cNvSpPr>
              <a:spLocks noEditPoints="1"/>
            </p:cNvSpPr>
            <p:nvPr/>
          </p:nvSpPr>
          <p:spPr bwMode="auto">
            <a:xfrm>
              <a:off x="7000876" y="4343401"/>
              <a:ext cx="44450" cy="15875"/>
            </a:xfrm>
            <a:custGeom>
              <a:avLst/>
              <a:gdLst>
                <a:gd name="T0" fmla="*/ 19 w 28"/>
                <a:gd name="T1" fmla="*/ 0 h 10"/>
                <a:gd name="T2" fmla="*/ 19 w 28"/>
                <a:gd name="T3" fmla="*/ 0 h 10"/>
                <a:gd name="T4" fmla="*/ 22 w 28"/>
                <a:gd name="T5" fmla="*/ 2 h 10"/>
                <a:gd name="T6" fmla="*/ 22 w 28"/>
                <a:gd name="T7" fmla="*/ 2 h 10"/>
                <a:gd name="T8" fmla="*/ 22 w 28"/>
                <a:gd name="T9" fmla="*/ 2 h 10"/>
                <a:gd name="T10" fmla="*/ 22 w 28"/>
                <a:gd name="T11" fmla="*/ 2 h 10"/>
                <a:gd name="T12" fmla="*/ 22 w 28"/>
                <a:gd name="T13" fmla="*/ 2 h 10"/>
                <a:gd name="T14" fmla="*/ 28 w 28"/>
                <a:gd name="T15" fmla="*/ 4 h 10"/>
                <a:gd name="T16" fmla="*/ 28 w 28"/>
                <a:gd name="T17" fmla="*/ 4 h 10"/>
                <a:gd name="T18" fmla="*/ 25 w 28"/>
                <a:gd name="T19" fmla="*/ 3 h 10"/>
                <a:gd name="T20" fmla="*/ 22 w 28"/>
                <a:gd name="T21" fmla="*/ 2 h 10"/>
                <a:gd name="T22" fmla="*/ 22 w 28"/>
                <a:gd name="T23" fmla="*/ 2 h 10"/>
                <a:gd name="T24" fmla="*/ 25 w 28"/>
                <a:gd name="T25" fmla="*/ 3 h 10"/>
                <a:gd name="T26" fmla="*/ 28 w 28"/>
                <a:gd name="T27" fmla="*/ 4 h 10"/>
                <a:gd name="T28" fmla="*/ 28 w 28"/>
                <a:gd name="T29" fmla="*/ 4 h 10"/>
                <a:gd name="T30" fmla="*/ 15 w 28"/>
                <a:gd name="T31" fmla="*/ 9 h 10"/>
                <a:gd name="T32" fmla="*/ 15 w 28"/>
                <a:gd name="T33" fmla="*/ 9 h 10"/>
                <a:gd name="T34" fmla="*/ 16 w 28"/>
                <a:gd name="T35" fmla="*/ 7 h 10"/>
                <a:gd name="T36" fmla="*/ 16 w 28"/>
                <a:gd name="T37" fmla="*/ 4 h 10"/>
                <a:gd name="T38" fmla="*/ 18 w 28"/>
                <a:gd name="T39" fmla="*/ 2 h 10"/>
                <a:gd name="T40" fmla="*/ 19 w 28"/>
                <a:gd name="T41" fmla="*/ 0 h 10"/>
                <a:gd name="T42" fmla="*/ 19 w 28"/>
                <a:gd name="T43" fmla="*/ 0 h 10"/>
                <a:gd name="T44" fmla="*/ 18 w 28"/>
                <a:gd name="T45" fmla="*/ 2 h 10"/>
                <a:gd name="T46" fmla="*/ 16 w 28"/>
                <a:gd name="T47" fmla="*/ 4 h 10"/>
                <a:gd name="T48" fmla="*/ 16 w 28"/>
                <a:gd name="T49" fmla="*/ 7 h 10"/>
                <a:gd name="T50" fmla="*/ 15 w 28"/>
                <a:gd name="T51" fmla="*/ 9 h 10"/>
                <a:gd name="T52" fmla="*/ 15 w 28"/>
                <a:gd name="T53" fmla="*/ 9 h 10"/>
                <a:gd name="T54" fmla="*/ 15 w 28"/>
                <a:gd name="T55" fmla="*/ 9 h 10"/>
                <a:gd name="T56" fmla="*/ 15 w 28"/>
                <a:gd name="T57" fmla="*/ 9 h 10"/>
                <a:gd name="T58" fmla="*/ 15 w 28"/>
                <a:gd name="T59" fmla="*/ 9 h 10"/>
                <a:gd name="T60" fmla="*/ 15 w 28"/>
                <a:gd name="T61" fmla="*/ 9 h 10"/>
                <a:gd name="T62" fmla="*/ 15 w 28"/>
                <a:gd name="T63" fmla="*/ 10 h 10"/>
                <a:gd name="T64" fmla="*/ 15 w 28"/>
                <a:gd name="T65" fmla="*/ 10 h 10"/>
                <a:gd name="T66" fmla="*/ 15 w 28"/>
                <a:gd name="T67" fmla="*/ 9 h 10"/>
                <a:gd name="T68" fmla="*/ 15 w 28"/>
                <a:gd name="T69" fmla="*/ 9 h 10"/>
                <a:gd name="T70" fmla="*/ 15 w 28"/>
                <a:gd name="T71" fmla="*/ 10 h 10"/>
                <a:gd name="T72" fmla="*/ 12 w 28"/>
                <a:gd name="T73" fmla="*/ 10 h 10"/>
                <a:gd name="T74" fmla="*/ 12 w 28"/>
                <a:gd name="T75" fmla="*/ 10 h 10"/>
                <a:gd name="T76" fmla="*/ 7 w 28"/>
                <a:gd name="T77" fmla="*/ 9 h 10"/>
                <a:gd name="T78" fmla="*/ 0 w 28"/>
                <a:gd name="T79" fmla="*/ 7 h 10"/>
                <a:gd name="T80" fmla="*/ 0 w 28"/>
                <a:gd name="T81" fmla="*/ 7 h 10"/>
                <a:gd name="T82" fmla="*/ 3 w 28"/>
                <a:gd name="T83" fmla="*/ 9 h 10"/>
                <a:gd name="T84" fmla="*/ 3 w 28"/>
                <a:gd name="T85" fmla="*/ 9 h 10"/>
                <a:gd name="T86" fmla="*/ 12 w 28"/>
                <a:gd name="T87" fmla="*/ 10 h 10"/>
                <a:gd name="T88" fmla="*/ 12 w 28"/>
                <a:gd name="T89" fmla="*/ 10 h 10"/>
                <a:gd name="T90" fmla="*/ 13 w 28"/>
                <a:gd name="T91" fmla="*/ 10 h 10"/>
                <a:gd name="T92" fmla="*/ 13 w 28"/>
                <a:gd name="T93" fmla="*/ 10 h 10"/>
                <a:gd name="T94" fmla="*/ 12 w 28"/>
                <a:gd name="T9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 h="10">
                  <a:moveTo>
                    <a:pt x="19" y="0"/>
                  </a:moveTo>
                  <a:lnTo>
                    <a:pt x="19" y="0"/>
                  </a:lnTo>
                  <a:close/>
                  <a:moveTo>
                    <a:pt x="22" y="2"/>
                  </a:moveTo>
                  <a:lnTo>
                    <a:pt x="22" y="2"/>
                  </a:lnTo>
                  <a:lnTo>
                    <a:pt x="22" y="2"/>
                  </a:lnTo>
                  <a:lnTo>
                    <a:pt x="22" y="2"/>
                  </a:lnTo>
                  <a:lnTo>
                    <a:pt x="22" y="2"/>
                  </a:lnTo>
                  <a:close/>
                  <a:moveTo>
                    <a:pt x="28" y="4"/>
                  </a:moveTo>
                  <a:lnTo>
                    <a:pt x="28" y="4"/>
                  </a:lnTo>
                  <a:lnTo>
                    <a:pt x="25" y="3"/>
                  </a:lnTo>
                  <a:lnTo>
                    <a:pt x="22" y="2"/>
                  </a:lnTo>
                  <a:lnTo>
                    <a:pt x="22" y="2"/>
                  </a:lnTo>
                  <a:lnTo>
                    <a:pt x="25" y="3"/>
                  </a:lnTo>
                  <a:lnTo>
                    <a:pt x="28" y="4"/>
                  </a:lnTo>
                  <a:lnTo>
                    <a:pt x="28" y="4"/>
                  </a:lnTo>
                  <a:close/>
                  <a:moveTo>
                    <a:pt x="15" y="9"/>
                  </a:moveTo>
                  <a:lnTo>
                    <a:pt x="15" y="9"/>
                  </a:lnTo>
                  <a:lnTo>
                    <a:pt x="16" y="7"/>
                  </a:lnTo>
                  <a:lnTo>
                    <a:pt x="16" y="4"/>
                  </a:lnTo>
                  <a:lnTo>
                    <a:pt x="18" y="2"/>
                  </a:lnTo>
                  <a:lnTo>
                    <a:pt x="19" y="0"/>
                  </a:lnTo>
                  <a:lnTo>
                    <a:pt x="19" y="0"/>
                  </a:lnTo>
                  <a:lnTo>
                    <a:pt x="18" y="2"/>
                  </a:lnTo>
                  <a:lnTo>
                    <a:pt x="16" y="4"/>
                  </a:lnTo>
                  <a:lnTo>
                    <a:pt x="16" y="7"/>
                  </a:lnTo>
                  <a:lnTo>
                    <a:pt x="15" y="9"/>
                  </a:lnTo>
                  <a:close/>
                  <a:moveTo>
                    <a:pt x="15" y="9"/>
                  </a:moveTo>
                  <a:lnTo>
                    <a:pt x="15" y="9"/>
                  </a:lnTo>
                  <a:lnTo>
                    <a:pt x="15" y="9"/>
                  </a:lnTo>
                  <a:lnTo>
                    <a:pt x="15" y="9"/>
                  </a:lnTo>
                  <a:lnTo>
                    <a:pt x="15" y="9"/>
                  </a:lnTo>
                  <a:close/>
                  <a:moveTo>
                    <a:pt x="15" y="10"/>
                  </a:moveTo>
                  <a:lnTo>
                    <a:pt x="15" y="10"/>
                  </a:lnTo>
                  <a:lnTo>
                    <a:pt x="15" y="9"/>
                  </a:lnTo>
                  <a:lnTo>
                    <a:pt x="15" y="9"/>
                  </a:lnTo>
                  <a:lnTo>
                    <a:pt x="15" y="10"/>
                  </a:lnTo>
                  <a:close/>
                  <a:moveTo>
                    <a:pt x="12" y="10"/>
                  </a:moveTo>
                  <a:lnTo>
                    <a:pt x="12" y="10"/>
                  </a:lnTo>
                  <a:lnTo>
                    <a:pt x="7" y="9"/>
                  </a:lnTo>
                  <a:lnTo>
                    <a:pt x="0" y="7"/>
                  </a:lnTo>
                  <a:lnTo>
                    <a:pt x="0" y="7"/>
                  </a:lnTo>
                  <a:lnTo>
                    <a:pt x="3" y="9"/>
                  </a:lnTo>
                  <a:lnTo>
                    <a:pt x="3" y="9"/>
                  </a:lnTo>
                  <a:lnTo>
                    <a:pt x="12" y="10"/>
                  </a:lnTo>
                  <a:lnTo>
                    <a:pt x="12" y="10"/>
                  </a:lnTo>
                  <a:lnTo>
                    <a:pt x="13" y="10"/>
                  </a:lnTo>
                  <a:lnTo>
                    <a:pt x="13" y="10"/>
                  </a:lnTo>
                  <a:lnTo>
                    <a:pt x="12" y="10"/>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20" name="Line 303"/>
            <p:cNvSpPr>
              <a:spLocks noChangeShapeType="1"/>
            </p:cNvSpPr>
            <p:nvPr/>
          </p:nvSpPr>
          <p:spPr bwMode="auto">
            <a:xfrm>
              <a:off x="7031038" y="4343401"/>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21" name="Rectangle 304"/>
            <p:cNvSpPr>
              <a:spLocks noChangeArrowheads="1"/>
            </p:cNvSpPr>
            <p:nvPr/>
          </p:nvSpPr>
          <p:spPr bwMode="auto">
            <a:xfrm>
              <a:off x="7035801" y="4346576"/>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22" name="Freeform 305"/>
            <p:cNvSpPr>
              <a:spLocks/>
            </p:cNvSpPr>
            <p:nvPr/>
          </p:nvSpPr>
          <p:spPr bwMode="auto">
            <a:xfrm>
              <a:off x="7035801" y="4346576"/>
              <a:ext cx="9525" cy="3175"/>
            </a:xfrm>
            <a:custGeom>
              <a:avLst/>
              <a:gdLst>
                <a:gd name="T0" fmla="*/ 6 w 6"/>
                <a:gd name="T1" fmla="*/ 2 h 2"/>
                <a:gd name="T2" fmla="*/ 6 w 6"/>
                <a:gd name="T3" fmla="*/ 2 h 2"/>
                <a:gd name="T4" fmla="*/ 3 w 6"/>
                <a:gd name="T5" fmla="*/ 1 h 2"/>
                <a:gd name="T6" fmla="*/ 0 w 6"/>
                <a:gd name="T7" fmla="*/ 0 h 2"/>
                <a:gd name="T8" fmla="*/ 0 w 6"/>
                <a:gd name="T9" fmla="*/ 0 h 2"/>
                <a:gd name="T10" fmla="*/ 3 w 6"/>
                <a:gd name="T11" fmla="*/ 1 h 2"/>
                <a:gd name="T12" fmla="*/ 6 w 6"/>
                <a:gd name="T13" fmla="*/ 2 h 2"/>
                <a:gd name="T14" fmla="*/ 6 w 6"/>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2">
                  <a:moveTo>
                    <a:pt x="6" y="2"/>
                  </a:moveTo>
                  <a:lnTo>
                    <a:pt x="6" y="2"/>
                  </a:lnTo>
                  <a:lnTo>
                    <a:pt x="3" y="1"/>
                  </a:lnTo>
                  <a:lnTo>
                    <a:pt x="0" y="0"/>
                  </a:lnTo>
                  <a:lnTo>
                    <a:pt x="0" y="0"/>
                  </a:lnTo>
                  <a:lnTo>
                    <a:pt x="3" y="1"/>
                  </a:lnTo>
                  <a:lnTo>
                    <a:pt x="6" y="2"/>
                  </a:lnTo>
                  <a:lnTo>
                    <a:pt x="6"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23" name="Freeform 306"/>
            <p:cNvSpPr>
              <a:spLocks/>
            </p:cNvSpPr>
            <p:nvPr/>
          </p:nvSpPr>
          <p:spPr bwMode="auto">
            <a:xfrm>
              <a:off x="7024688" y="4343401"/>
              <a:ext cx="6350" cy="14288"/>
            </a:xfrm>
            <a:custGeom>
              <a:avLst/>
              <a:gdLst>
                <a:gd name="T0" fmla="*/ 0 w 4"/>
                <a:gd name="T1" fmla="*/ 9 h 9"/>
                <a:gd name="T2" fmla="*/ 0 w 4"/>
                <a:gd name="T3" fmla="*/ 9 h 9"/>
                <a:gd name="T4" fmla="*/ 1 w 4"/>
                <a:gd name="T5" fmla="*/ 7 h 9"/>
                <a:gd name="T6" fmla="*/ 1 w 4"/>
                <a:gd name="T7" fmla="*/ 4 h 9"/>
                <a:gd name="T8" fmla="*/ 3 w 4"/>
                <a:gd name="T9" fmla="*/ 2 h 9"/>
                <a:gd name="T10" fmla="*/ 4 w 4"/>
                <a:gd name="T11" fmla="*/ 0 h 9"/>
                <a:gd name="T12" fmla="*/ 4 w 4"/>
                <a:gd name="T13" fmla="*/ 0 h 9"/>
                <a:gd name="T14" fmla="*/ 3 w 4"/>
                <a:gd name="T15" fmla="*/ 2 h 9"/>
                <a:gd name="T16" fmla="*/ 1 w 4"/>
                <a:gd name="T17" fmla="*/ 4 h 9"/>
                <a:gd name="T18" fmla="*/ 1 w 4"/>
                <a:gd name="T19" fmla="*/ 7 h 9"/>
                <a:gd name="T20" fmla="*/ 0 w 4"/>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9">
                  <a:moveTo>
                    <a:pt x="0" y="9"/>
                  </a:moveTo>
                  <a:lnTo>
                    <a:pt x="0" y="9"/>
                  </a:lnTo>
                  <a:lnTo>
                    <a:pt x="1" y="7"/>
                  </a:lnTo>
                  <a:lnTo>
                    <a:pt x="1" y="4"/>
                  </a:lnTo>
                  <a:lnTo>
                    <a:pt x="3" y="2"/>
                  </a:lnTo>
                  <a:lnTo>
                    <a:pt x="4" y="0"/>
                  </a:lnTo>
                  <a:lnTo>
                    <a:pt x="4" y="0"/>
                  </a:lnTo>
                  <a:lnTo>
                    <a:pt x="3" y="2"/>
                  </a:lnTo>
                  <a:lnTo>
                    <a:pt x="1" y="4"/>
                  </a:lnTo>
                  <a:lnTo>
                    <a:pt x="1" y="7"/>
                  </a:lnTo>
                  <a:lnTo>
                    <a:pt x="0"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24" name="Rectangle 307"/>
            <p:cNvSpPr>
              <a:spLocks noChangeArrowheads="1"/>
            </p:cNvSpPr>
            <p:nvPr/>
          </p:nvSpPr>
          <p:spPr bwMode="auto">
            <a:xfrm>
              <a:off x="7024688" y="43576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25" name="Rectangle 308"/>
            <p:cNvSpPr>
              <a:spLocks noChangeArrowheads="1"/>
            </p:cNvSpPr>
            <p:nvPr/>
          </p:nvSpPr>
          <p:spPr bwMode="auto">
            <a:xfrm>
              <a:off x="7024688" y="43576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26" name="Freeform 309"/>
            <p:cNvSpPr>
              <a:spLocks/>
            </p:cNvSpPr>
            <p:nvPr/>
          </p:nvSpPr>
          <p:spPr bwMode="auto">
            <a:xfrm>
              <a:off x="7000876" y="4354513"/>
              <a:ext cx="20638" cy="4763"/>
            </a:xfrm>
            <a:custGeom>
              <a:avLst/>
              <a:gdLst>
                <a:gd name="T0" fmla="*/ 12 w 13"/>
                <a:gd name="T1" fmla="*/ 3 h 3"/>
                <a:gd name="T2" fmla="*/ 12 w 13"/>
                <a:gd name="T3" fmla="*/ 3 h 3"/>
                <a:gd name="T4" fmla="*/ 7 w 13"/>
                <a:gd name="T5" fmla="*/ 2 h 3"/>
                <a:gd name="T6" fmla="*/ 0 w 13"/>
                <a:gd name="T7" fmla="*/ 0 h 3"/>
                <a:gd name="T8" fmla="*/ 0 w 13"/>
                <a:gd name="T9" fmla="*/ 0 h 3"/>
                <a:gd name="T10" fmla="*/ 3 w 13"/>
                <a:gd name="T11" fmla="*/ 2 h 3"/>
                <a:gd name="T12" fmla="*/ 3 w 13"/>
                <a:gd name="T13" fmla="*/ 2 h 3"/>
                <a:gd name="T14" fmla="*/ 12 w 13"/>
                <a:gd name="T15" fmla="*/ 3 h 3"/>
                <a:gd name="T16" fmla="*/ 12 w 13"/>
                <a:gd name="T17" fmla="*/ 3 h 3"/>
                <a:gd name="T18" fmla="*/ 13 w 13"/>
                <a:gd name="T19" fmla="*/ 3 h 3"/>
                <a:gd name="T20" fmla="*/ 13 w 13"/>
                <a:gd name="T21" fmla="*/ 3 h 3"/>
                <a:gd name="T22" fmla="*/ 12 w 13"/>
                <a:gd name="T2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
                  <a:moveTo>
                    <a:pt x="12" y="3"/>
                  </a:moveTo>
                  <a:lnTo>
                    <a:pt x="12" y="3"/>
                  </a:lnTo>
                  <a:lnTo>
                    <a:pt x="7" y="2"/>
                  </a:lnTo>
                  <a:lnTo>
                    <a:pt x="0" y="0"/>
                  </a:lnTo>
                  <a:lnTo>
                    <a:pt x="0" y="0"/>
                  </a:lnTo>
                  <a:lnTo>
                    <a:pt x="3" y="2"/>
                  </a:lnTo>
                  <a:lnTo>
                    <a:pt x="3" y="2"/>
                  </a:lnTo>
                  <a:lnTo>
                    <a:pt x="12" y="3"/>
                  </a:lnTo>
                  <a:lnTo>
                    <a:pt x="12" y="3"/>
                  </a:lnTo>
                  <a:lnTo>
                    <a:pt x="13" y="3"/>
                  </a:lnTo>
                  <a:lnTo>
                    <a:pt x="13" y="3"/>
                  </a:lnTo>
                  <a:lnTo>
                    <a:pt x="12"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27" name="Freeform 310"/>
            <p:cNvSpPr>
              <a:spLocks noEditPoints="1"/>
            </p:cNvSpPr>
            <p:nvPr/>
          </p:nvSpPr>
          <p:spPr bwMode="auto">
            <a:xfrm>
              <a:off x="6932613" y="4352926"/>
              <a:ext cx="68263" cy="55563"/>
            </a:xfrm>
            <a:custGeom>
              <a:avLst/>
              <a:gdLst>
                <a:gd name="T0" fmla="*/ 33 w 43"/>
                <a:gd name="T1" fmla="*/ 0 h 35"/>
                <a:gd name="T2" fmla="*/ 33 w 43"/>
                <a:gd name="T3" fmla="*/ 0 h 35"/>
                <a:gd name="T4" fmla="*/ 33 w 43"/>
                <a:gd name="T5" fmla="*/ 0 h 35"/>
                <a:gd name="T6" fmla="*/ 11 w 43"/>
                <a:gd name="T7" fmla="*/ 1 h 35"/>
                <a:gd name="T8" fmla="*/ 11 w 43"/>
                <a:gd name="T9" fmla="*/ 1 h 35"/>
                <a:gd name="T10" fmla="*/ 11 w 43"/>
                <a:gd name="T11" fmla="*/ 1 h 35"/>
                <a:gd name="T12" fmla="*/ 11 w 43"/>
                <a:gd name="T13" fmla="*/ 1 h 35"/>
                <a:gd name="T14" fmla="*/ 21 w 43"/>
                <a:gd name="T15" fmla="*/ 1 h 35"/>
                <a:gd name="T16" fmla="*/ 16 w 43"/>
                <a:gd name="T17" fmla="*/ 0 h 35"/>
                <a:gd name="T18" fmla="*/ 21 w 43"/>
                <a:gd name="T19" fmla="*/ 1 h 35"/>
                <a:gd name="T20" fmla="*/ 21 w 43"/>
                <a:gd name="T21" fmla="*/ 1 h 35"/>
                <a:gd name="T22" fmla="*/ 11 w 43"/>
                <a:gd name="T23" fmla="*/ 1 h 35"/>
                <a:gd name="T24" fmla="*/ 11 w 43"/>
                <a:gd name="T25" fmla="*/ 1 h 35"/>
                <a:gd name="T26" fmla="*/ 11 w 43"/>
                <a:gd name="T27" fmla="*/ 1 h 35"/>
                <a:gd name="T28" fmla="*/ 27 w 43"/>
                <a:gd name="T29" fmla="*/ 1 h 35"/>
                <a:gd name="T30" fmla="*/ 32 w 43"/>
                <a:gd name="T31" fmla="*/ 1 h 35"/>
                <a:gd name="T32" fmla="*/ 27 w 43"/>
                <a:gd name="T33" fmla="*/ 1 h 35"/>
                <a:gd name="T34" fmla="*/ 27 w 43"/>
                <a:gd name="T35" fmla="*/ 1 h 35"/>
                <a:gd name="T36" fmla="*/ 43 w 43"/>
                <a:gd name="T37" fmla="*/ 1 h 35"/>
                <a:gd name="T38" fmla="*/ 36 w 43"/>
                <a:gd name="T39" fmla="*/ 0 h 35"/>
                <a:gd name="T40" fmla="*/ 33 w 43"/>
                <a:gd name="T41" fmla="*/ 0 h 35"/>
                <a:gd name="T42" fmla="*/ 36 w 43"/>
                <a:gd name="T43" fmla="*/ 0 h 35"/>
                <a:gd name="T44" fmla="*/ 43 w 43"/>
                <a:gd name="T45" fmla="*/ 1 h 35"/>
                <a:gd name="T46" fmla="*/ 8 w 43"/>
                <a:gd name="T47" fmla="*/ 1 h 35"/>
                <a:gd name="T48" fmla="*/ 10 w 43"/>
                <a:gd name="T49" fmla="*/ 1 h 35"/>
                <a:gd name="T50" fmla="*/ 8 w 43"/>
                <a:gd name="T51" fmla="*/ 1 h 35"/>
                <a:gd name="T52" fmla="*/ 8 w 43"/>
                <a:gd name="T53" fmla="*/ 1 h 35"/>
                <a:gd name="T54" fmla="*/ 8 w 43"/>
                <a:gd name="T55" fmla="*/ 1 h 35"/>
                <a:gd name="T56" fmla="*/ 7 w 43"/>
                <a:gd name="T57" fmla="*/ 3 h 35"/>
                <a:gd name="T58" fmla="*/ 8 w 43"/>
                <a:gd name="T59" fmla="*/ 3 h 35"/>
                <a:gd name="T60" fmla="*/ 7 w 43"/>
                <a:gd name="T61" fmla="*/ 3 h 35"/>
                <a:gd name="T62" fmla="*/ 3 w 43"/>
                <a:gd name="T63" fmla="*/ 35 h 35"/>
                <a:gd name="T64" fmla="*/ 1 w 43"/>
                <a:gd name="T65" fmla="*/ 24 h 35"/>
                <a:gd name="T66" fmla="*/ 0 w 43"/>
                <a:gd name="T67" fmla="*/ 22 h 35"/>
                <a:gd name="T68" fmla="*/ 0 w 43"/>
                <a:gd name="T69" fmla="*/ 19 h 35"/>
                <a:gd name="T70" fmla="*/ 1 w 43"/>
                <a:gd name="T71" fmla="*/ 24 h 35"/>
                <a:gd name="T72" fmla="*/ 3 w 43"/>
                <a:gd name="T7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3" h="35">
                  <a:moveTo>
                    <a:pt x="33" y="0"/>
                  </a:moveTo>
                  <a:lnTo>
                    <a:pt x="33" y="0"/>
                  </a:lnTo>
                  <a:close/>
                  <a:moveTo>
                    <a:pt x="33" y="0"/>
                  </a:moveTo>
                  <a:lnTo>
                    <a:pt x="33" y="0"/>
                  </a:lnTo>
                  <a:lnTo>
                    <a:pt x="33" y="0"/>
                  </a:lnTo>
                  <a:lnTo>
                    <a:pt x="33" y="0"/>
                  </a:lnTo>
                  <a:lnTo>
                    <a:pt x="33" y="0"/>
                  </a:lnTo>
                  <a:close/>
                  <a:moveTo>
                    <a:pt x="11" y="1"/>
                  </a:moveTo>
                  <a:lnTo>
                    <a:pt x="11" y="1"/>
                  </a:lnTo>
                  <a:close/>
                  <a:moveTo>
                    <a:pt x="11" y="1"/>
                  </a:moveTo>
                  <a:lnTo>
                    <a:pt x="11" y="1"/>
                  </a:lnTo>
                  <a:lnTo>
                    <a:pt x="11" y="1"/>
                  </a:lnTo>
                  <a:lnTo>
                    <a:pt x="11" y="1"/>
                  </a:lnTo>
                  <a:lnTo>
                    <a:pt x="11" y="1"/>
                  </a:lnTo>
                  <a:close/>
                  <a:moveTo>
                    <a:pt x="21" y="1"/>
                  </a:moveTo>
                  <a:lnTo>
                    <a:pt x="21" y="1"/>
                  </a:lnTo>
                  <a:lnTo>
                    <a:pt x="16" y="0"/>
                  </a:lnTo>
                  <a:lnTo>
                    <a:pt x="16" y="0"/>
                  </a:lnTo>
                  <a:lnTo>
                    <a:pt x="21" y="1"/>
                  </a:lnTo>
                  <a:close/>
                  <a:moveTo>
                    <a:pt x="21" y="1"/>
                  </a:moveTo>
                  <a:lnTo>
                    <a:pt x="21" y="1"/>
                  </a:lnTo>
                  <a:lnTo>
                    <a:pt x="21" y="1"/>
                  </a:lnTo>
                  <a:close/>
                  <a:moveTo>
                    <a:pt x="11" y="1"/>
                  </a:moveTo>
                  <a:lnTo>
                    <a:pt x="11" y="1"/>
                  </a:lnTo>
                  <a:close/>
                  <a:moveTo>
                    <a:pt x="11" y="1"/>
                  </a:moveTo>
                  <a:lnTo>
                    <a:pt x="11" y="1"/>
                  </a:lnTo>
                  <a:lnTo>
                    <a:pt x="11" y="1"/>
                  </a:lnTo>
                  <a:lnTo>
                    <a:pt x="11" y="1"/>
                  </a:lnTo>
                  <a:lnTo>
                    <a:pt x="11" y="1"/>
                  </a:lnTo>
                  <a:close/>
                  <a:moveTo>
                    <a:pt x="27" y="1"/>
                  </a:moveTo>
                  <a:lnTo>
                    <a:pt x="27" y="1"/>
                  </a:lnTo>
                  <a:lnTo>
                    <a:pt x="32" y="1"/>
                  </a:lnTo>
                  <a:lnTo>
                    <a:pt x="32" y="1"/>
                  </a:lnTo>
                  <a:lnTo>
                    <a:pt x="27" y="1"/>
                  </a:lnTo>
                  <a:close/>
                  <a:moveTo>
                    <a:pt x="27" y="1"/>
                  </a:moveTo>
                  <a:lnTo>
                    <a:pt x="27" y="1"/>
                  </a:lnTo>
                  <a:lnTo>
                    <a:pt x="27" y="1"/>
                  </a:lnTo>
                  <a:close/>
                  <a:moveTo>
                    <a:pt x="43" y="1"/>
                  </a:moveTo>
                  <a:lnTo>
                    <a:pt x="43" y="1"/>
                  </a:lnTo>
                  <a:lnTo>
                    <a:pt x="36" y="0"/>
                  </a:lnTo>
                  <a:lnTo>
                    <a:pt x="36" y="0"/>
                  </a:lnTo>
                  <a:lnTo>
                    <a:pt x="33" y="0"/>
                  </a:lnTo>
                  <a:lnTo>
                    <a:pt x="33" y="0"/>
                  </a:lnTo>
                  <a:lnTo>
                    <a:pt x="36" y="0"/>
                  </a:lnTo>
                  <a:lnTo>
                    <a:pt x="36" y="0"/>
                  </a:lnTo>
                  <a:lnTo>
                    <a:pt x="43" y="1"/>
                  </a:lnTo>
                  <a:lnTo>
                    <a:pt x="43" y="1"/>
                  </a:lnTo>
                  <a:close/>
                  <a:moveTo>
                    <a:pt x="8" y="1"/>
                  </a:moveTo>
                  <a:lnTo>
                    <a:pt x="8" y="1"/>
                  </a:lnTo>
                  <a:lnTo>
                    <a:pt x="10" y="1"/>
                  </a:lnTo>
                  <a:lnTo>
                    <a:pt x="10" y="1"/>
                  </a:lnTo>
                  <a:lnTo>
                    <a:pt x="8" y="1"/>
                  </a:lnTo>
                  <a:close/>
                  <a:moveTo>
                    <a:pt x="8" y="1"/>
                  </a:moveTo>
                  <a:lnTo>
                    <a:pt x="8" y="1"/>
                  </a:lnTo>
                  <a:lnTo>
                    <a:pt x="8" y="1"/>
                  </a:lnTo>
                  <a:lnTo>
                    <a:pt x="8" y="1"/>
                  </a:lnTo>
                  <a:lnTo>
                    <a:pt x="8" y="1"/>
                  </a:lnTo>
                  <a:close/>
                  <a:moveTo>
                    <a:pt x="7" y="3"/>
                  </a:moveTo>
                  <a:lnTo>
                    <a:pt x="7" y="3"/>
                  </a:lnTo>
                  <a:lnTo>
                    <a:pt x="8" y="3"/>
                  </a:lnTo>
                  <a:lnTo>
                    <a:pt x="8" y="3"/>
                  </a:lnTo>
                  <a:lnTo>
                    <a:pt x="7" y="3"/>
                  </a:lnTo>
                  <a:close/>
                  <a:moveTo>
                    <a:pt x="3" y="35"/>
                  </a:moveTo>
                  <a:lnTo>
                    <a:pt x="3" y="35"/>
                  </a:lnTo>
                  <a:lnTo>
                    <a:pt x="3" y="29"/>
                  </a:lnTo>
                  <a:lnTo>
                    <a:pt x="1" y="24"/>
                  </a:lnTo>
                  <a:lnTo>
                    <a:pt x="1" y="24"/>
                  </a:lnTo>
                  <a:lnTo>
                    <a:pt x="0" y="22"/>
                  </a:lnTo>
                  <a:lnTo>
                    <a:pt x="0" y="19"/>
                  </a:lnTo>
                  <a:lnTo>
                    <a:pt x="0" y="19"/>
                  </a:lnTo>
                  <a:lnTo>
                    <a:pt x="0" y="22"/>
                  </a:lnTo>
                  <a:lnTo>
                    <a:pt x="1" y="24"/>
                  </a:lnTo>
                  <a:lnTo>
                    <a:pt x="1" y="24"/>
                  </a:lnTo>
                  <a:lnTo>
                    <a:pt x="3" y="29"/>
                  </a:lnTo>
                  <a:lnTo>
                    <a:pt x="3" y="35"/>
                  </a:lnTo>
                  <a:close/>
                </a:path>
              </a:pathLst>
            </a:custGeom>
            <a:solidFill>
              <a:srgbClr val="60B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28" name="Line 311"/>
            <p:cNvSpPr>
              <a:spLocks noChangeShapeType="1"/>
            </p:cNvSpPr>
            <p:nvPr/>
          </p:nvSpPr>
          <p:spPr bwMode="auto">
            <a:xfrm>
              <a:off x="6985001" y="4352926"/>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29" name="Rectangle 312"/>
            <p:cNvSpPr>
              <a:spLocks noChangeArrowheads="1"/>
            </p:cNvSpPr>
            <p:nvPr/>
          </p:nvSpPr>
          <p:spPr bwMode="auto">
            <a:xfrm>
              <a:off x="6985001" y="4352926"/>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30" name="Line 313"/>
            <p:cNvSpPr>
              <a:spLocks noChangeShapeType="1"/>
            </p:cNvSpPr>
            <p:nvPr/>
          </p:nvSpPr>
          <p:spPr bwMode="auto">
            <a:xfrm>
              <a:off x="6950076" y="43545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31" name="Rectangle 314"/>
            <p:cNvSpPr>
              <a:spLocks noChangeArrowheads="1"/>
            </p:cNvSpPr>
            <p:nvPr/>
          </p:nvSpPr>
          <p:spPr bwMode="auto">
            <a:xfrm>
              <a:off x="6950076" y="4354513"/>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32" name="Freeform 315"/>
            <p:cNvSpPr>
              <a:spLocks/>
            </p:cNvSpPr>
            <p:nvPr/>
          </p:nvSpPr>
          <p:spPr bwMode="auto">
            <a:xfrm>
              <a:off x="6958013" y="4352926"/>
              <a:ext cx="7938" cy="1588"/>
            </a:xfrm>
            <a:custGeom>
              <a:avLst/>
              <a:gdLst>
                <a:gd name="T0" fmla="*/ 5 w 5"/>
                <a:gd name="T1" fmla="*/ 1 h 1"/>
                <a:gd name="T2" fmla="*/ 5 w 5"/>
                <a:gd name="T3" fmla="*/ 1 h 1"/>
                <a:gd name="T4" fmla="*/ 0 w 5"/>
                <a:gd name="T5" fmla="*/ 0 h 1"/>
                <a:gd name="T6" fmla="*/ 0 w 5"/>
                <a:gd name="T7" fmla="*/ 0 h 1"/>
                <a:gd name="T8" fmla="*/ 5 w 5"/>
                <a:gd name="T9" fmla="*/ 1 h 1"/>
              </a:gdLst>
              <a:ahLst/>
              <a:cxnLst>
                <a:cxn ang="0">
                  <a:pos x="T0" y="T1"/>
                </a:cxn>
                <a:cxn ang="0">
                  <a:pos x="T2" y="T3"/>
                </a:cxn>
                <a:cxn ang="0">
                  <a:pos x="T4" y="T5"/>
                </a:cxn>
                <a:cxn ang="0">
                  <a:pos x="T6" y="T7"/>
                </a:cxn>
                <a:cxn ang="0">
                  <a:pos x="T8" y="T9"/>
                </a:cxn>
              </a:cxnLst>
              <a:rect l="0" t="0" r="r" b="b"/>
              <a:pathLst>
                <a:path w="5" h="1">
                  <a:moveTo>
                    <a:pt x="5" y="1"/>
                  </a:moveTo>
                  <a:lnTo>
                    <a:pt x="5" y="1"/>
                  </a:lnTo>
                  <a:lnTo>
                    <a:pt x="0" y="0"/>
                  </a:lnTo>
                  <a:lnTo>
                    <a:pt x="0" y="0"/>
                  </a:lnTo>
                  <a:lnTo>
                    <a:pt x="5"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33" name="Freeform 316"/>
            <p:cNvSpPr>
              <a:spLocks/>
            </p:cNvSpPr>
            <p:nvPr/>
          </p:nvSpPr>
          <p:spPr bwMode="auto">
            <a:xfrm>
              <a:off x="6965951" y="4354513"/>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34" name="Line 317"/>
            <p:cNvSpPr>
              <a:spLocks noChangeShapeType="1"/>
            </p:cNvSpPr>
            <p:nvPr/>
          </p:nvSpPr>
          <p:spPr bwMode="auto">
            <a:xfrm>
              <a:off x="6950076" y="43545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35" name="Rectangle 318"/>
            <p:cNvSpPr>
              <a:spLocks noChangeArrowheads="1"/>
            </p:cNvSpPr>
            <p:nvPr/>
          </p:nvSpPr>
          <p:spPr bwMode="auto">
            <a:xfrm>
              <a:off x="6950076" y="4354513"/>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36" name="Rectangle 319"/>
            <p:cNvSpPr>
              <a:spLocks noChangeArrowheads="1"/>
            </p:cNvSpPr>
            <p:nvPr/>
          </p:nvSpPr>
          <p:spPr bwMode="auto">
            <a:xfrm>
              <a:off x="6975476" y="4354513"/>
              <a:ext cx="793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37" name="Freeform 320"/>
            <p:cNvSpPr>
              <a:spLocks/>
            </p:cNvSpPr>
            <p:nvPr/>
          </p:nvSpPr>
          <p:spPr bwMode="auto">
            <a:xfrm>
              <a:off x="6975476" y="4354513"/>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38" name="Freeform 321"/>
            <p:cNvSpPr>
              <a:spLocks/>
            </p:cNvSpPr>
            <p:nvPr/>
          </p:nvSpPr>
          <p:spPr bwMode="auto">
            <a:xfrm>
              <a:off x="6985001" y="4352926"/>
              <a:ext cx="15875" cy="1588"/>
            </a:xfrm>
            <a:custGeom>
              <a:avLst/>
              <a:gdLst>
                <a:gd name="T0" fmla="*/ 10 w 10"/>
                <a:gd name="T1" fmla="*/ 1 h 1"/>
                <a:gd name="T2" fmla="*/ 10 w 10"/>
                <a:gd name="T3" fmla="*/ 1 h 1"/>
                <a:gd name="T4" fmla="*/ 3 w 10"/>
                <a:gd name="T5" fmla="*/ 0 h 1"/>
                <a:gd name="T6" fmla="*/ 3 w 10"/>
                <a:gd name="T7" fmla="*/ 0 h 1"/>
                <a:gd name="T8" fmla="*/ 0 w 10"/>
                <a:gd name="T9" fmla="*/ 0 h 1"/>
                <a:gd name="T10" fmla="*/ 0 w 10"/>
                <a:gd name="T11" fmla="*/ 0 h 1"/>
                <a:gd name="T12" fmla="*/ 3 w 10"/>
                <a:gd name="T13" fmla="*/ 0 h 1"/>
                <a:gd name="T14" fmla="*/ 3 w 10"/>
                <a:gd name="T15" fmla="*/ 0 h 1"/>
                <a:gd name="T16" fmla="*/ 10 w 10"/>
                <a:gd name="T17" fmla="*/ 1 h 1"/>
                <a:gd name="T18" fmla="*/ 10 w 10"/>
                <a:gd name="T1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
                  <a:moveTo>
                    <a:pt x="10" y="1"/>
                  </a:moveTo>
                  <a:lnTo>
                    <a:pt x="10" y="1"/>
                  </a:lnTo>
                  <a:lnTo>
                    <a:pt x="3" y="0"/>
                  </a:lnTo>
                  <a:lnTo>
                    <a:pt x="3" y="0"/>
                  </a:lnTo>
                  <a:lnTo>
                    <a:pt x="0" y="0"/>
                  </a:lnTo>
                  <a:lnTo>
                    <a:pt x="0" y="0"/>
                  </a:lnTo>
                  <a:lnTo>
                    <a:pt x="3" y="0"/>
                  </a:lnTo>
                  <a:lnTo>
                    <a:pt x="3" y="0"/>
                  </a:lnTo>
                  <a:lnTo>
                    <a:pt x="10" y="1"/>
                  </a:lnTo>
                  <a:lnTo>
                    <a:pt x="1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39" name="Rectangle 322"/>
            <p:cNvSpPr>
              <a:spLocks noChangeArrowheads="1"/>
            </p:cNvSpPr>
            <p:nvPr/>
          </p:nvSpPr>
          <p:spPr bwMode="auto">
            <a:xfrm>
              <a:off x="6945313" y="4354513"/>
              <a:ext cx="3175"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40" name="Rectangle 323"/>
            <p:cNvSpPr>
              <a:spLocks noChangeArrowheads="1"/>
            </p:cNvSpPr>
            <p:nvPr/>
          </p:nvSpPr>
          <p:spPr bwMode="auto">
            <a:xfrm>
              <a:off x="6945313" y="4354513"/>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41" name="Rectangle 324"/>
            <p:cNvSpPr>
              <a:spLocks noChangeArrowheads="1"/>
            </p:cNvSpPr>
            <p:nvPr/>
          </p:nvSpPr>
          <p:spPr bwMode="auto">
            <a:xfrm>
              <a:off x="6943726" y="43576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42" name="Freeform 325"/>
            <p:cNvSpPr>
              <a:spLocks/>
            </p:cNvSpPr>
            <p:nvPr/>
          </p:nvSpPr>
          <p:spPr bwMode="auto">
            <a:xfrm>
              <a:off x="6932613" y="4383088"/>
              <a:ext cx="4763" cy="25400"/>
            </a:xfrm>
            <a:custGeom>
              <a:avLst/>
              <a:gdLst>
                <a:gd name="T0" fmla="*/ 3 w 3"/>
                <a:gd name="T1" fmla="*/ 16 h 16"/>
                <a:gd name="T2" fmla="*/ 3 w 3"/>
                <a:gd name="T3" fmla="*/ 16 h 16"/>
                <a:gd name="T4" fmla="*/ 3 w 3"/>
                <a:gd name="T5" fmla="*/ 10 h 16"/>
                <a:gd name="T6" fmla="*/ 1 w 3"/>
                <a:gd name="T7" fmla="*/ 5 h 16"/>
                <a:gd name="T8" fmla="*/ 1 w 3"/>
                <a:gd name="T9" fmla="*/ 5 h 16"/>
                <a:gd name="T10" fmla="*/ 0 w 3"/>
                <a:gd name="T11" fmla="*/ 3 h 16"/>
                <a:gd name="T12" fmla="*/ 0 w 3"/>
                <a:gd name="T13" fmla="*/ 0 h 16"/>
                <a:gd name="T14" fmla="*/ 0 w 3"/>
                <a:gd name="T15" fmla="*/ 0 h 16"/>
                <a:gd name="T16" fmla="*/ 0 w 3"/>
                <a:gd name="T17" fmla="*/ 3 h 16"/>
                <a:gd name="T18" fmla="*/ 1 w 3"/>
                <a:gd name="T19" fmla="*/ 5 h 16"/>
                <a:gd name="T20" fmla="*/ 1 w 3"/>
                <a:gd name="T21" fmla="*/ 5 h 16"/>
                <a:gd name="T22" fmla="*/ 3 w 3"/>
                <a:gd name="T23" fmla="*/ 10 h 16"/>
                <a:gd name="T24" fmla="*/ 3 w 3"/>
                <a:gd name="T2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16">
                  <a:moveTo>
                    <a:pt x="3" y="16"/>
                  </a:moveTo>
                  <a:lnTo>
                    <a:pt x="3" y="16"/>
                  </a:lnTo>
                  <a:lnTo>
                    <a:pt x="3" y="10"/>
                  </a:lnTo>
                  <a:lnTo>
                    <a:pt x="1" y="5"/>
                  </a:lnTo>
                  <a:lnTo>
                    <a:pt x="1" y="5"/>
                  </a:lnTo>
                  <a:lnTo>
                    <a:pt x="0" y="3"/>
                  </a:lnTo>
                  <a:lnTo>
                    <a:pt x="0" y="0"/>
                  </a:lnTo>
                  <a:lnTo>
                    <a:pt x="0" y="0"/>
                  </a:lnTo>
                  <a:lnTo>
                    <a:pt x="0" y="3"/>
                  </a:lnTo>
                  <a:lnTo>
                    <a:pt x="1" y="5"/>
                  </a:lnTo>
                  <a:lnTo>
                    <a:pt x="1" y="5"/>
                  </a:lnTo>
                  <a:lnTo>
                    <a:pt x="3" y="10"/>
                  </a:lnTo>
                  <a:lnTo>
                    <a:pt x="3"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43" name="Freeform 326"/>
            <p:cNvSpPr>
              <a:spLocks/>
            </p:cNvSpPr>
            <p:nvPr/>
          </p:nvSpPr>
          <p:spPr bwMode="auto">
            <a:xfrm>
              <a:off x="6954838" y="4665663"/>
              <a:ext cx="23813" cy="17463"/>
            </a:xfrm>
            <a:custGeom>
              <a:avLst/>
              <a:gdLst>
                <a:gd name="T0" fmla="*/ 0 w 15"/>
                <a:gd name="T1" fmla="*/ 10 h 11"/>
                <a:gd name="T2" fmla="*/ 0 w 15"/>
                <a:gd name="T3" fmla="*/ 10 h 11"/>
                <a:gd name="T4" fmla="*/ 13 w 15"/>
                <a:gd name="T5" fmla="*/ 11 h 11"/>
                <a:gd name="T6" fmla="*/ 13 w 15"/>
                <a:gd name="T7" fmla="*/ 11 h 11"/>
                <a:gd name="T8" fmla="*/ 15 w 15"/>
                <a:gd name="T9" fmla="*/ 10 h 11"/>
                <a:gd name="T10" fmla="*/ 15 w 15"/>
                <a:gd name="T11" fmla="*/ 9 h 11"/>
                <a:gd name="T12" fmla="*/ 12 w 15"/>
                <a:gd name="T13" fmla="*/ 0 h 11"/>
                <a:gd name="T14" fmla="*/ 12 w 15"/>
                <a:gd name="T15" fmla="*/ 0 h 11"/>
                <a:gd name="T16" fmla="*/ 6 w 15"/>
                <a:gd name="T17" fmla="*/ 4 h 11"/>
                <a:gd name="T18" fmla="*/ 3 w 15"/>
                <a:gd name="T19" fmla="*/ 7 h 11"/>
                <a:gd name="T20" fmla="*/ 0 w 15"/>
                <a:gd name="T21"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11">
                  <a:moveTo>
                    <a:pt x="0" y="10"/>
                  </a:moveTo>
                  <a:lnTo>
                    <a:pt x="0" y="10"/>
                  </a:lnTo>
                  <a:lnTo>
                    <a:pt x="13" y="11"/>
                  </a:lnTo>
                  <a:lnTo>
                    <a:pt x="13" y="11"/>
                  </a:lnTo>
                  <a:lnTo>
                    <a:pt x="15" y="10"/>
                  </a:lnTo>
                  <a:lnTo>
                    <a:pt x="15" y="9"/>
                  </a:lnTo>
                  <a:lnTo>
                    <a:pt x="12" y="0"/>
                  </a:lnTo>
                  <a:lnTo>
                    <a:pt x="12" y="0"/>
                  </a:lnTo>
                  <a:lnTo>
                    <a:pt x="6" y="4"/>
                  </a:lnTo>
                  <a:lnTo>
                    <a:pt x="3" y="7"/>
                  </a:lnTo>
                  <a:lnTo>
                    <a:pt x="0" y="10"/>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44" name="Freeform 327"/>
            <p:cNvSpPr>
              <a:spLocks/>
            </p:cNvSpPr>
            <p:nvPr/>
          </p:nvSpPr>
          <p:spPr bwMode="auto">
            <a:xfrm>
              <a:off x="6954838" y="4665663"/>
              <a:ext cx="23813" cy="17463"/>
            </a:xfrm>
            <a:custGeom>
              <a:avLst/>
              <a:gdLst>
                <a:gd name="T0" fmla="*/ 0 w 15"/>
                <a:gd name="T1" fmla="*/ 10 h 11"/>
                <a:gd name="T2" fmla="*/ 0 w 15"/>
                <a:gd name="T3" fmla="*/ 10 h 11"/>
                <a:gd name="T4" fmla="*/ 13 w 15"/>
                <a:gd name="T5" fmla="*/ 11 h 11"/>
                <a:gd name="T6" fmla="*/ 13 w 15"/>
                <a:gd name="T7" fmla="*/ 11 h 11"/>
                <a:gd name="T8" fmla="*/ 15 w 15"/>
                <a:gd name="T9" fmla="*/ 10 h 11"/>
                <a:gd name="T10" fmla="*/ 15 w 15"/>
                <a:gd name="T11" fmla="*/ 9 h 11"/>
                <a:gd name="T12" fmla="*/ 12 w 15"/>
                <a:gd name="T13" fmla="*/ 0 h 11"/>
                <a:gd name="T14" fmla="*/ 12 w 15"/>
                <a:gd name="T15" fmla="*/ 0 h 11"/>
                <a:gd name="T16" fmla="*/ 6 w 15"/>
                <a:gd name="T17" fmla="*/ 4 h 11"/>
                <a:gd name="T18" fmla="*/ 3 w 15"/>
                <a:gd name="T19" fmla="*/ 7 h 11"/>
                <a:gd name="T20" fmla="*/ 0 w 15"/>
                <a:gd name="T21"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11">
                  <a:moveTo>
                    <a:pt x="0" y="10"/>
                  </a:moveTo>
                  <a:lnTo>
                    <a:pt x="0" y="10"/>
                  </a:lnTo>
                  <a:lnTo>
                    <a:pt x="13" y="11"/>
                  </a:lnTo>
                  <a:lnTo>
                    <a:pt x="13" y="11"/>
                  </a:lnTo>
                  <a:lnTo>
                    <a:pt x="15" y="10"/>
                  </a:lnTo>
                  <a:lnTo>
                    <a:pt x="15" y="9"/>
                  </a:lnTo>
                  <a:lnTo>
                    <a:pt x="12" y="0"/>
                  </a:lnTo>
                  <a:lnTo>
                    <a:pt x="12" y="0"/>
                  </a:lnTo>
                  <a:lnTo>
                    <a:pt x="6" y="4"/>
                  </a:lnTo>
                  <a:lnTo>
                    <a:pt x="3" y="7"/>
                  </a:lnTo>
                  <a:lnTo>
                    <a:pt x="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45" name="Freeform 328"/>
            <p:cNvSpPr>
              <a:spLocks/>
            </p:cNvSpPr>
            <p:nvPr/>
          </p:nvSpPr>
          <p:spPr bwMode="auto">
            <a:xfrm>
              <a:off x="7104063" y="4614863"/>
              <a:ext cx="249238" cy="201613"/>
            </a:xfrm>
            <a:custGeom>
              <a:avLst/>
              <a:gdLst>
                <a:gd name="T0" fmla="*/ 0 w 157"/>
                <a:gd name="T1" fmla="*/ 55 h 127"/>
                <a:gd name="T2" fmla="*/ 3 w 157"/>
                <a:gd name="T3" fmla="*/ 77 h 127"/>
                <a:gd name="T4" fmla="*/ 6 w 157"/>
                <a:gd name="T5" fmla="*/ 80 h 127"/>
                <a:gd name="T6" fmla="*/ 10 w 157"/>
                <a:gd name="T7" fmla="*/ 80 h 127"/>
                <a:gd name="T8" fmla="*/ 10 w 157"/>
                <a:gd name="T9" fmla="*/ 83 h 127"/>
                <a:gd name="T10" fmla="*/ 12 w 157"/>
                <a:gd name="T11" fmla="*/ 97 h 127"/>
                <a:gd name="T12" fmla="*/ 16 w 157"/>
                <a:gd name="T13" fmla="*/ 107 h 127"/>
                <a:gd name="T14" fmla="*/ 26 w 157"/>
                <a:gd name="T15" fmla="*/ 110 h 127"/>
                <a:gd name="T16" fmla="*/ 37 w 157"/>
                <a:gd name="T17" fmla="*/ 112 h 127"/>
                <a:gd name="T18" fmla="*/ 38 w 157"/>
                <a:gd name="T19" fmla="*/ 114 h 127"/>
                <a:gd name="T20" fmla="*/ 39 w 157"/>
                <a:gd name="T21" fmla="*/ 116 h 127"/>
                <a:gd name="T22" fmla="*/ 55 w 157"/>
                <a:gd name="T23" fmla="*/ 116 h 127"/>
                <a:gd name="T24" fmla="*/ 58 w 157"/>
                <a:gd name="T25" fmla="*/ 114 h 127"/>
                <a:gd name="T26" fmla="*/ 60 w 157"/>
                <a:gd name="T27" fmla="*/ 113 h 127"/>
                <a:gd name="T28" fmla="*/ 64 w 157"/>
                <a:gd name="T29" fmla="*/ 116 h 127"/>
                <a:gd name="T30" fmla="*/ 81 w 157"/>
                <a:gd name="T31" fmla="*/ 122 h 127"/>
                <a:gd name="T32" fmla="*/ 84 w 157"/>
                <a:gd name="T33" fmla="*/ 125 h 127"/>
                <a:gd name="T34" fmla="*/ 86 w 157"/>
                <a:gd name="T35" fmla="*/ 127 h 127"/>
                <a:gd name="T36" fmla="*/ 93 w 157"/>
                <a:gd name="T37" fmla="*/ 125 h 127"/>
                <a:gd name="T38" fmla="*/ 105 w 157"/>
                <a:gd name="T39" fmla="*/ 119 h 127"/>
                <a:gd name="T40" fmla="*/ 112 w 157"/>
                <a:gd name="T41" fmla="*/ 109 h 127"/>
                <a:gd name="T42" fmla="*/ 113 w 157"/>
                <a:gd name="T43" fmla="*/ 98 h 127"/>
                <a:gd name="T44" fmla="*/ 118 w 157"/>
                <a:gd name="T45" fmla="*/ 90 h 127"/>
                <a:gd name="T46" fmla="*/ 128 w 157"/>
                <a:gd name="T47" fmla="*/ 80 h 127"/>
                <a:gd name="T48" fmla="*/ 136 w 157"/>
                <a:gd name="T49" fmla="*/ 65 h 127"/>
                <a:gd name="T50" fmla="*/ 141 w 157"/>
                <a:gd name="T51" fmla="*/ 55 h 127"/>
                <a:gd name="T52" fmla="*/ 147 w 157"/>
                <a:gd name="T53" fmla="*/ 52 h 127"/>
                <a:gd name="T54" fmla="*/ 152 w 157"/>
                <a:gd name="T55" fmla="*/ 52 h 127"/>
                <a:gd name="T56" fmla="*/ 157 w 157"/>
                <a:gd name="T57" fmla="*/ 49 h 127"/>
                <a:gd name="T58" fmla="*/ 154 w 157"/>
                <a:gd name="T59" fmla="*/ 46 h 127"/>
                <a:gd name="T60" fmla="*/ 139 w 157"/>
                <a:gd name="T61" fmla="*/ 36 h 127"/>
                <a:gd name="T62" fmla="*/ 139 w 157"/>
                <a:gd name="T63" fmla="*/ 33 h 127"/>
                <a:gd name="T64" fmla="*/ 144 w 157"/>
                <a:gd name="T65" fmla="*/ 30 h 127"/>
                <a:gd name="T66" fmla="*/ 142 w 157"/>
                <a:gd name="T67" fmla="*/ 28 h 127"/>
                <a:gd name="T68" fmla="*/ 135 w 157"/>
                <a:gd name="T69" fmla="*/ 17 h 127"/>
                <a:gd name="T70" fmla="*/ 129 w 157"/>
                <a:gd name="T71" fmla="*/ 9 h 127"/>
                <a:gd name="T72" fmla="*/ 135 w 157"/>
                <a:gd name="T73" fmla="*/ 9 h 127"/>
                <a:gd name="T74" fmla="*/ 138 w 157"/>
                <a:gd name="T75" fmla="*/ 7 h 127"/>
                <a:gd name="T76" fmla="*/ 135 w 157"/>
                <a:gd name="T77" fmla="*/ 4 h 127"/>
                <a:gd name="T78" fmla="*/ 135 w 157"/>
                <a:gd name="T79" fmla="*/ 1 h 127"/>
                <a:gd name="T80" fmla="*/ 123 w 157"/>
                <a:gd name="T81" fmla="*/ 0 h 127"/>
                <a:gd name="T82" fmla="*/ 116 w 157"/>
                <a:gd name="T83" fmla="*/ 0 h 127"/>
                <a:gd name="T84" fmla="*/ 108 w 157"/>
                <a:gd name="T85" fmla="*/ 6 h 127"/>
                <a:gd name="T86" fmla="*/ 100 w 157"/>
                <a:gd name="T87" fmla="*/ 16 h 127"/>
                <a:gd name="T88" fmla="*/ 96 w 157"/>
                <a:gd name="T89" fmla="*/ 25 h 127"/>
                <a:gd name="T90" fmla="*/ 80 w 157"/>
                <a:gd name="T91" fmla="*/ 43 h 127"/>
                <a:gd name="T92" fmla="*/ 74 w 157"/>
                <a:gd name="T93" fmla="*/ 46 h 127"/>
                <a:gd name="T94" fmla="*/ 70 w 157"/>
                <a:gd name="T95" fmla="*/ 46 h 127"/>
                <a:gd name="T96" fmla="*/ 60 w 157"/>
                <a:gd name="T97" fmla="*/ 41 h 127"/>
                <a:gd name="T98" fmla="*/ 55 w 157"/>
                <a:gd name="T99" fmla="*/ 41 h 127"/>
                <a:gd name="T100" fmla="*/ 47 w 157"/>
                <a:gd name="T101" fmla="*/ 48 h 127"/>
                <a:gd name="T102" fmla="*/ 31 w 157"/>
                <a:gd name="T103" fmla="*/ 51 h 127"/>
                <a:gd name="T104" fmla="*/ 26 w 157"/>
                <a:gd name="T105" fmla="*/ 51 h 127"/>
                <a:gd name="T106" fmla="*/ 16 w 157"/>
                <a:gd name="T107" fmla="*/ 42 h 127"/>
                <a:gd name="T108" fmla="*/ 10 w 157"/>
                <a:gd name="T109" fmla="*/ 38 h 127"/>
                <a:gd name="T110" fmla="*/ 6 w 157"/>
                <a:gd name="T111" fmla="*/ 35 h 127"/>
                <a:gd name="T112" fmla="*/ 5 w 157"/>
                <a:gd name="T113" fmla="*/ 36 h 127"/>
                <a:gd name="T114" fmla="*/ 2 w 157"/>
                <a:gd name="T115" fmla="*/ 4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7" h="127">
                  <a:moveTo>
                    <a:pt x="0" y="55"/>
                  </a:moveTo>
                  <a:lnTo>
                    <a:pt x="0" y="55"/>
                  </a:lnTo>
                  <a:lnTo>
                    <a:pt x="2" y="70"/>
                  </a:lnTo>
                  <a:lnTo>
                    <a:pt x="3" y="77"/>
                  </a:lnTo>
                  <a:lnTo>
                    <a:pt x="5" y="78"/>
                  </a:lnTo>
                  <a:lnTo>
                    <a:pt x="6" y="80"/>
                  </a:lnTo>
                  <a:lnTo>
                    <a:pt x="6" y="80"/>
                  </a:lnTo>
                  <a:lnTo>
                    <a:pt x="10" y="80"/>
                  </a:lnTo>
                  <a:lnTo>
                    <a:pt x="10" y="80"/>
                  </a:lnTo>
                  <a:lnTo>
                    <a:pt x="10" y="83"/>
                  </a:lnTo>
                  <a:lnTo>
                    <a:pt x="10" y="83"/>
                  </a:lnTo>
                  <a:lnTo>
                    <a:pt x="12" y="97"/>
                  </a:lnTo>
                  <a:lnTo>
                    <a:pt x="15" y="104"/>
                  </a:lnTo>
                  <a:lnTo>
                    <a:pt x="16" y="107"/>
                  </a:lnTo>
                  <a:lnTo>
                    <a:pt x="16" y="107"/>
                  </a:lnTo>
                  <a:lnTo>
                    <a:pt x="26" y="110"/>
                  </a:lnTo>
                  <a:lnTo>
                    <a:pt x="37" y="112"/>
                  </a:lnTo>
                  <a:lnTo>
                    <a:pt x="37" y="112"/>
                  </a:lnTo>
                  <a:lnTo>
                    <a:pt x="37" y="114"/>
                  </a:lnTo>
                  <a:lnTo>
                    <a:pt x="38" y="114"/>
                  </a:lnTo>
                  <a:lnTo>
                    <a:pt x="39" y="116"/>
                  </a:lnTo>
                  <a:lnTo>
                    <a:pt x="39" y="116"/>
                  </a:lnTo>
                  <a:lnTo>
                    <a:pt x="50" y="116"/>
                  </a:lnTo>
                  <a:lnTo>
                    <a:pt x="55" y="116"/>
                  </a:lnTo>
                  <a:lnTo>
                    <a:pt x="58" y="114"/>
                  </a:lnTo>
                  <a:lnTo>
                    <a:pt x="58" y="114"/>
                  </a:lnTo>
                  <a:lnTo>
                    <a:pt x="58" y="113"/>
                  </a:lnTo>
                  <a:lnTo>
                    <a:pt x="60" y="113"/>
                  </a:lnTo>
                  <a:lnTo>
                    <a:pt x="64" y="116"/>
                  </a:lnTo>
                  <a:lnTo>
                    <a:pt x="64" y="116"/>
                  </a:lnTo>
                  <a:lnTo>
                    <a:pt x="77" y="120"/>
                  </a:lnTo>
                  <a:lnTo>
                    <a:pt x="81" y="122"/>
                  </a:lnTo>
                  <a:lnTo>
                    <a:pt x="84" y="125"/>
                  </a:lnTo>
                  <a:lnTo>
                    <a:pt x="84" y="125"/>
                  </a:lnTo>
                  <a:lnTo>
                    <a:pt x="84" y="126"/>
                  </a:lnTo>
                  <a:lnTo>
                    <a:pt x="86" y="127"/>
                  </a:lnTo>
                  <a:lnTo>
                    <a:pt x="89" y="127"/>
                  </a:lnTo>
                  <a:lnTo>
                    <a:pt x="93" y="125"/>
                  </a:lnTo>
                  <a:lnTo>
                    <a:pt x="93" y="125"/>
                  </a:lnTo>
                  <a:lnTo>
                    <a:pt x="105" y="119"/>
                  </a:lnTo>
                  <a:lnTo>
                    <a:pt x="109" y="114"/>
                  </a:lnTo>
                  <a:lnTo>
                    <a:pt x="112" y="109"/>
                  </a:lnTo>
                  <a:lnTo>
                    <a:pt x="112" y="109"/>
                  </a:lnTo>
                  <a:lnTo>
                    <a:pt x="113" y="98"/>
                  </a:lnTo>
                  <a:lnTo>
                    <a:pt x="115" y="94"/>
                  </a:lnTo>
                  <a:lnTo>
                    <a:pt x="118" y="90"/>
                  </a:lnTo>
                  <a:lnTo>
                    <a:pt x="118" y="90"/>
                  </a:lnTo>
                  <a:lnTo>
                    <a:pt x="128" y="80"/>
                  </a:lnTo>
                  <a:lnTo>
                    <a:pt x="134" y="72"/>
                  </a:lnTo>
                  <a:lnTo>
                    <a:pt x="136" y="65"/>
                  </a:lnTo>
                  <a:lnTo>
                    <a:pt x="136" y="65"/>
                  </a:lnTo>
                  <a:lnTo>
                    <a:pt x="141" y="55"/>
                  </a:lnTo>
                  <a:lnTo>
                    <a:pt x="142" y="52"/>
                  </a:lnTo>
                  <a:lnTo>
                    <a:pt x="147" y="52"/>
                  </a:lnTo>
                  <a:lnTo>
                    <a:pt x="147" y="52"/>
                  </a:lnTo>
                  <a:lnTo>
                    <a:pt x="152" y="52"/>
                  </a:lnTo>
                  <a:lnTo>
                    <a:pt x="155" y="51"/>
                  </a:lnTo>
                  <a:lnTo>
                    <a:pt x="157" y="49"/>
                  </a:lnTo>
                  <a:lnTo>
                    <a:pt x="154" y="46"/>
                  </a:lnTo>
                  <a:lnTo>
                    <a:pt x="154" y="46"/>
                  </a:lnTo>
                  <a:lnTo>
                    <a:pt x="144" y="41"/>
                  </a:lnTo>
                  <a:lnTo>
                    <a:pt x="139" y="36"/>
                  </a:lnTo>
                  <a:lnTo>
                    <a:pt x="139" y="35"/>
                  </a:lnTo>
                  <a:lnTo>
                    <a:pt x="139" y="33"/>
                  </a:lnTo>
                  <a:lnTo>
                    <a:pt x="139" y="33"/>
                  </a:lnTo>
                  <a:lnTo>
                    <a:pt x="144" y="30"/>
                  </a:lnTo>
                  <a:lnTo>
                    <a:pt x="144" y="29"/>
                  </a:lnTo>
                  <a:lnTo>
                    <a:pt x="142" y="28"/>
                  </a:lnTo>
                  <a:lnTo>
                    <a:pt x="142" y="28"/>
                  </a:lnTo>
                  <a:lnTo>
                    <a:pt x="135" y="17"/>
                  </a:lnTo>
                  <a:lnTo>
                    <a:pt x="131" y="10"/>
                  </a:lnTo>
                  <a:lnTo>
                    <a:pt x="129" y="9"/>
                  </a:lnTo>
                  <a:lnTo>
                    <a:pt x="129" y="9"/>
                  </a:lnTo>
                  <a:lnTo>
                    <a:pt x="135" y="9"/>
                  </a:lnTo>
                  <a:lnTo>
                    <a:pt x="138" y="7"/>
                  </a:lnTo>
                  <a:lnTo>
                    <a:pt x="138" y="7"/>
                  </a:lnTo>
                  <a:lnTo>
                    <a:pt x="138" y="7"/>
                  </a:lnTo>
                  <a:lnTo>
                    <a:pt x="135" y="4"/>
                  </a:lnTo>
                  <a:lnTo>
                    <a:pt x="134" y="3"/>
                  </a:lnTo>
                  <a:lnTo>
                    <a:pt x="135" y="1"/>
                  </a:lnTo>
                  <a:lnTo>
                    <a:pt x="135" y="1"/>
                  </a:lnTo>
                  <a:lnTo>
                    <a:pt x="123" y="0"/>
                  </a:lnTo>
                  <a:lnTo>
                    <a:pt x="116" y="0"/>
                  </a:lnTo>
                  <a:lnTo>
                    <a:pt x="116" y="0"/>
                  </a:lnTo>
                  <a:lnTo>
                    <a:pt x="112" y="1"/>
                  </a:lnTo>
                  <a:lnTo>
                    <a:pt x="108" y="6"/>
                  </a:lnTo>
                  <a:lnTo>
                    <a:pt x="103" y="10"/>
                  </a:lnTo>
                  <a:lnTo>
                    <a:pt x="100" y="16"/>
                  </a:lnTo>
                  <a:lnTo>
                    <a:pt x="100" y="16"/>
                  </a:lnTo>
                  <a:lnTo>
                    <a:pt x="96" y="25"/>
                  </a:lnTo>
                  <a:lnTo>
                    <a:pt x="89" y="35"/>
                  </a:lnTo>
                  <a:lnTo>
                    <a:pt x="80" y="43"/>
                  </a:lnTo>
                  <a:lnTo>
                    <a:pt x="77" y="46"/>
                  </a:lnTo>
                  <a:lnTo>
                    <a:pt x="74" y="46"/>
                  </a:lnTo>
                  <a:lnTo>
                    <a:pt x="74" y="46"/>
                  </a:lnTo>
                  <a:lnTo>
                    <a:pt x="70" y="46"/>
                  </a:lnTo>
                  <a:lnTo>
                    <a:pt x="64" y="43"/>
                  </a:lnTo>
                  <a:lnTo>
                    <a:pt x="60" y="41"/>
                  </a:lnTo>
                  <a:lnTo>
                    <a:pt x="55" y="41"/>
                  </a:lnTo>
                  <a:lnTo>
                    <a:pt x="55" y="41"/>
                  </a:lnTo>
                  <a:lnTo>
                    <a:pt x="51" y="43"/>
                  </a:lnTo>
                  <a:lnTo>
                    <a:pt x="47" y="48"/>
                  </a:lnTo>
                  <a:lnTo>
                    <a:pt x="41" y="51"/>
                  </a:lnTo>
                  <a:lnTo>
                    <a:pt x="31" y="51"/>
                  </a:lnTo>
                  <a:lnTo>
                    <a:pt x="31" y="51"/>
                  </a:lnTo>
                  <a:lnTo>
                    <a:pt x="26" y="51"/>
                  </a:lnTo>
                  <a:lnTo>
                    <a:pt x="24" y="48"/>
                  </a:lnTo>
                  <a:lnTo>
                    <a:pt x="16" y="42"/>
                  </a:lnTo>
                  <a:lnTo>
                    <a:pt x="16" y="42"/>
                  </a:lnTo>
                  <a:lnTo>
                    <a:pt x="10" y="38"/>
                  </a:lnTo>
                  <a:lnTo>
                    <a:pt x="9" y="36"/>
                  </a:lnTo>
                  <a:lnTo>
                    <a:pt x="6" y="35"/>
                  </a:lnTo>
                  <a:lnTo>
                    <a:pt x="6" y="35"/>
                  </a:lnTo>
                  <a:lnTo>
                    <a:pt x="5" y="36"/>
                  </a:lnTo>
                  <a:lnTo>
                    <a:pt x="3" y="38"/>
                  </a:lnTo>
                  <a:lnTo>
                    <a:pt x="2" y="43"/>
                  </a:lnTo>
                  <a:lnTo>
                    <a:pt x="0" y="55"/>
                  </a:lnTo>
                  <a:close/>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46" name="Freeform 329"/>
            <p:cNvSpPr>
              <a:spLocks/>
            </p:cNvSpPr>
            <p:nvPr/>
          </p:nvSpPr>
          <p:spPr bwMode="auto">
            <a:xfrm>
              <a:off x="7104063" y="4614863"/>
              <a:ext cx="249238" cy="201613"/>
            </a:xfrm>
            <a:custGeom>
              <a:avLst/>
              <a:gdLst>
                <a:gd name="T0" fmla="*/ 0 w 157"/>
                <a:gd name="T1" fmla="*/ 55 h 127"/>
                <a:gd name="T2" fmla="*/ 3 w 157"/>
                <a:gd name="T3" fmla="*/ 77 h 127"/>
                <a:gd name="T4" fmla="*/ 6 w 157"/>
                <a:gd name="T5" fmla="*/ 80 h 127"/>
                <a:gd name="T6" fmla="*/ 10 w 157"/>
                <a:gd name="T7" fmla="*/ 80 h 127"/>
                <a:gd name="T8" fmla="*/ 10 w 157"/>
                <a:gd name="T9" fmla="*/ 83 h 127"/>
                <a:gd name="T10" fmla="*/ 12 w 157"/>
                <a:gd name="T11" fmla="*/ 97 h 127"/>
                <a:gd name="T12" fmla="*/ 16 w 157"/>
                <a:gd name="T13" fmla="*/ 107 h 127"/>
                <a:gd name="T14" fmla="*/ 26 w 157"/>
                <a:gd name="T15" fmla="*/ 110 h 127"/>
                <a:gd name="T16" fmla="*/ 37 w 157"/>
                <a:gd name="T17" fmla="*/ 112 h 127"/>
                <a:gd name="T18" fmla="*/ 38 w 157"/>
                <a:gd name="T19" fmla="*/ 114 h 127"/>
                <a:gd name="T20" fmla="*/ 39 w 157"/>
                <a:gd name="T21" fmla="*/ 116 h 127"/>
                <a:gd name="T22" fmla="*/ 55 w 157"/>
                <a:gd name="T23" fmla="*/ 116 h 127"/>
                <a:gd name="T24" fmla="*/ 58 w 157"/>
                <a:gd name="T25" fmla="*/ 114 h 127"/>
                <a:gd name="T26" fmla="*/ 60 w 157"/>
                <a:gd name="T27" fmla="*/ 113 h 127"/>
                <a:gd name="T28" fmla="*/ 64 w 157"/>
                <a:gd name="T29" fmla="*/ 116 h 127"/>
                <a:gd name="T30" fmla="*/ 81 w 157"/>
                <a:gd name="T31" fmla="*/ 122 h 127"/>
                <a:gd name="T32" fmla="*/ 84 w 157"/>
                <a:gd name="T33" fmla="*/ 125 h 127"/>
                <a:gd name="T34" fmla="*/ 86 w 157"/>
                <a:gd name="T35" fmla="*/ 127 h 127"/>
                <a:gd name="T36" fmla="*/ 93 w 157"/>
                <a:gd name="T37" fmla="*/ 125 h 127"/>
                <a:gd name="T38" fmla="*/ 105 w 157"/>
                <a:gd name="T39" fmla="*/ 119 h 127"/>
                <a:gd name="T40" fmla="*/ 112 w 157"/>
                <a:gd name="T41" fmla="*/ 109 h 127"/>
                <a:gd name="T42" fmla="*/ 113 w 157"/>
                <a:gd name="T43" fmla="*/ 98 h 127"/>
                <a:gd name="T44" fmla="*/ 118 w 157"/>
                <a:gd name="T45" fmla="*/ 90 h 127"/>
                <a:gd name="T46" fmla="*/ 128 w 157"/>
                <a:gd name="T47" fmla="*/ 80 h 127"/>
                <a:gd name="T48" fmla="*/ 136 w 157"/>
                <a:gd name="T49" fmla="*/ 65 h 127"/>
                <a:gd name="T50" fmla="*/ 141 w 157"/>
                <a:gd name="T51" fmla="*/ 55 h 127"/>
                <a:gd name="T52" fmla="*/ 147 w 157"/>
                <a:gd name="T53" fmla="*/ 52 h 127"/>
                <a:gd name="T54" fmla="*/ 152 w 157"/>
                <a:gd name="T55" fmla="*/ 52 h 127"/>
                <a:gd name="T56" fmla="*/ 157 w 157"/>
                <a:gd name="T57" fmla="*/ 49 h 127"/>
                <a:gd name="T58" fmla="*/ 154 w 157"/>
                <a:gd name="T59" fmla="*/ 46 h 127"/>
                <a:gd name="T60" fmla="*/ 139 w 157"/>
                <a:gd name="T61" fmla="*/ 36 h 127"/>
                <a:gd name="T62" fmla="*/ 139 w 157"/>
                <a:gd name="T63" fmla="*/ 33 h 127"/>
                <a:gd name="T64" fmla="*/ 144 w 157"/>
                <a:gd name="T65" fmla="*/ 30 h 127"/>
                <a:gd name="T66" fmla="*/ 142 w 157"/>
                <a:gd name="T67" fmla="*/ 28 h 127"/>
                <a:gd name="T68" fmla="*/ 135 w 157"/>
                <a:gd name="T69" fmla="*/ 17 h 127"/>
                <a:gd name="T70" fmla="*/ 129 w 157"/>
                <a:gd name="T71" fmla="*/ 9 h 127"/>
                <a:gd name="T72" fmla="*/ 135 w 157"/>
                <a:gd name="T73" fmla="*/ 9 h 127"/>
                <a:gd name="T74" fmla="*/ 138 w 157"/>
                <a:gd name="T75" fmla="*/ 7 h 127"/>
                <a:gd name="T76" fmla="*/ 135 w 157"/>
                <a:gd name="T77" fmla="*/ 4 h 127"/>
                <a:gd name="T78" fmla="*/ 135 w 157"/>
                <a:gd name="T79" fmla="*/ 1 h 127"/>
                <a:gd name="T80" fmla="*/ 123 w 157"/>
                <a:gd name="T81" fmla="*/ 0 h 127"/>
                <a:gd name="T82" fmla="*/ 116 w 157"/>
                <a:gd name="T83" fmla="*/ 0 h 127"/>
                <a:gd name="T84" fmla="*/ 108 w 157"/>
                <a:gd name="T85" fmla="*/ 6 h 127"/>
                <a:gd name="T86" fmla="*/ 100 w 157"/>
                <a:gd name="T87" fmla="*/ 16 h 127"/>
                <a:gd name="T88" fmla="*/ 96 w 157"/>
                <a:gd name="T89" fmla="*/ 25 h 127"/>
                <a:gd name="T90" fmla="*/ 80 w 157"/>
                <a:gd name="T91" fmla="*/ 43 h 127"/>
                <a:gd name="T92" fmla="*/ 74 w 157"/>
                <a:gd name="T93" fmla="*/ 46 h 127"/>
                <a:gd name="T94" fmla="*/ 70 w 157"/>
                <a:gd name="T95" fmla="*/ 46 h 127"/>
                <a:gd name="T96" fmla="*/ 60 w 157"/>
                <a:gd name="T97" fmla="*/ 41 h 127"/>
                <a:gd name="T98" fmla="*/ 55 w 157"/>
                <a:gd name="T99" fmla="*/ 41 h 127"/>
                <a:gd name="T100" fmla="*/ 47 w 157"/>
                <a:gd name="T101" fmla="*/ 48 h 127"/>
                <a:gd name="T102" fmla="*/ 31 w 157"/>
                <a:gd name="T103" fmla="*/ 51 h 127"/>
                <a:gd name="T104" fmla="*/ 26 w 157"/>
                <a:gd name="T105" fmla="*/ 51 h 127"/>
                <a:gd name="T106" fmla="*/ 16 w 157"/>
                <a:gd name="T107" fmla="*/ 42 h 127"/>
                <a:gd name="T108" fmla="*/ 10 w 157"/>
                <a:gd name="T109" fmla="*/ 38 h 127"/>
                <a:gd name="T110" fmla="*/ 6 w 157"/>
                <a:gd name="T111" fmla="*/ 35 h 127"/>
                <a:gd name="T112" fmla="*/ 5 w 157"/>
                <a:gd name="T113" fmla="*/ 36 h 127"/>
                <a:gd name="T114" fmla="*/ 2 w 157"/>
                <a:gd name="T115" fmla="*/ 4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7" h="127">
                  <a:moveTo>
                    <a:pt x="0" y="55"/>
                  </a:moveTo>
                  <a:lnTo>
                    <a:pt x="0" y="55"/>
                  </a:lnTo>
                  <a:lnTo>
                    <a:pt x="2" y="70"/>
                  </a:lnTo>
                  <a:lnTo>
                    <a:pt x="3" y="77"/>
                  </a:lnTo>
                  <a:lnTo>
                    <a:pt x="5" y="78"/>
                  </a:lnTo>
                  <a:lnTo>
                    <a:pt x="6" y="80"/>
                  </a:lnTo>
                  <a:lnTo>
                    <a:pt x="6" y="80"/>
                  </a:lnTo>
                  <a:lnTo>
                    <a:pt x="10" y="80"/>
                  </a:lnTo>
                  <a:lnTo>
                    <a:pt x="10" y="80"/>
                  </a:lnTo>
                  <a:lnTo>
                    <a:pt x="10" y="83"/>
                  </a:lnTo>
                  <a:lnTo>
                    <a:pt x="10" y="83"/>
                  </a:lnTo>
                  <a:lnTo>
                    <a:pt x="12" y="97"/>
                  </a:lnTo>
                  <a:lnTo>
                    <a:pt x="15" y="104"/>
                  </a:lnTo>
                  <a:lnTo>
                    <a:pt x="16" y="107"/>
                  </a:lnTo>
                  <a:lnTo>
                    <a:pt x="16" y="107"/>
                  </a:lnTo>
                  <a:lnTo>
                    <a:pt x="26" y="110"/>
                  </a:lnTo>
                  <a:lnTo>
                    <a:pt x="37" y="112"/>
                  </a:lnTo>
                  <a:lnTo>
                    <a:pt x="37" y="112"/>
                  </a:lnTo>
                  <a:lnTo>
                    <a:pt x="37" y="114"/>
                  </a:lnTo>
                  <a:lnTo>
                    <a:pt x="38" y="114"/>
                  </a:lnTo>
                  <a:lnTo>
                    <a:pt x="39" y="116"/>
                  </a:lnTo>
                  <a:lnTo>
                    <a:pt x="39" y="116"/>
                  </a:lnTo>
                  <a:lnTo>
                    <a:pt x="50" y="116"/>
                  </a:lnTo>
                  <a:lnTo>
                    <a:pt x="55" y="116"/>
                  </a:lnTo>
                  <a:lnTo>
                    <a:pt x="58" y="114"/>
                  </a:lnTo>
                  <a:lnTo>
                    <a:pt x="58" y="114"/>
                  </a:lnTo>
                  <a:lnTo>
                    <a:pt x="58" y="113"/>
                  </a:lnTo>
                  <a:lnTo>
                    <a:pt x="60" y="113"/>
                  </a:lnTo>
                  <a:lnTo>
                    <a:pt x="64" y="116"/>
                  </a:lnTo>
                  <a:lnTo>
                    <a:pt x="64" y="116"/>
                  </a:lnTo>
                  <a:lnTo>
                    <a:pt x="77" y="120"/>
                  </a:lnTo>
                  <a:lnTo>
                    <a:pt x="81" y="122"/>
                  </a:lnTo>
                  <a:lnTo>
                    <a:pt x="84" y="125"/>
                  </a:lnTo>
                  <a:lnTo>
                    <a:pt x="84" y="125"/>
                  </a:lnTo>
                  <a:lnTo>
                    <a:pt x="84" y="126"/>
                  </a:lnTo>
                  <a:lnTo>
                    <a:pt x="86" y="127"/>
                  </a:lnTo>
                  <a:lnTo>
                    <a:pt x="89" y="127"/>
                  </a:lnTo>
                  <a:lnTo>
                    <a:pt x="93" y="125"/>
                  </a:lnTo>
                  <a:lnTo>
                    <a:pt x="93" y="125"/>
                  </a:lnTo>
                  <a:lnTo>
                    <a:pt x="105" y="119"/>
                  </a:lnTo>
                  <a:lnTo>
                    <a:pt x="109" y="114"/>
                  </a:lnTo>
                  <a:lnTo>
                    <a:pt x="112" y="109"/>
                  </a:lnTo>
                  <a:lnTo>
                    <a:pt x="112" y="109"/>
                  </a:lnTo>
                  <a:lnTo>
                    <a:pt x="113" y="98"/>
                  </a:lnTo>
                  <a:lnTo>
                    <a:pt x="115" y="94"/>
                  </a:lnTo>
                  <a:lnTo>
                    <a:pt x="118" y="90"/>
                  </a:lnTo>
                  <a:lnTo>
                    <a:pt x="118" y="90"/>
                  </a:lnTo>
                  <a:lnTo>
                    <a:pt x="128" y="80"/>
                  </a:lnTo>
                  <a:lnTo>
                    <a:pt x="134" y="72"/>
                  </a:lnTo>
                  <a:lnTo>
                    <a:pt x="136" y="65"/>
                  </a:lnTo>
                  <a:lnTo>
                    <a:pt x="136" y="65"/>
                  </a:lnTo>
                  <a:lnTo>
                    <a:pt x="141" y="55"/>
                  </a:lnTo>
                  <a:lnTo>
                    <a:pt x="142" y="52"/>
                  </a:lnTo>
                  <a:lnTo>
                    <a:pt x="147" y="52"/>
                  </a:lnTo>
                  <a:lnTo>
                    <a:pt x="147" y="52"/>
                  </a:lnTo>
                  <a:lnTo>
                    <a:pt x="152" y="52"/>
                  </a:lnTo>
                  <a:lnTo>
                    <a:pt x="155" y="51"/>
                  </a:lnTo>
                  <a:lnTo>
                    <a:pt x="157" y="49"/>
                  </a:lnTo>
                  <a:lnTo>
                    <a:pt x="154" y="46"/>
                  </a:lnTo>
                  <a:lnTo>
                    <a:pt x="154" y="46"/>
                  </a:lnTo>
                  <a:lnTo>
                    <a:pt x="144" y="41"/>
                  </a:lnTo>
                  <a:lnTo>
                    <a:pt x="139" y="36"/>
                  </a:lnTo>
                  <a:lnTo>
                    <a:pt x="139" y="35"/>
                  </a:lnTo>
                  <a:lnTo>
                    <a:pt x="139" y="33"/>
                  </a:lnTo>
                  <a:lnTo>
                    <a:pt x="139" y="33"/>
                  </a:lnTo>
                  <a:lnTo>
                    <a:pt x="144" y="30"/>
                  </a:lnTo>
                  <a:lnTo>
                    <a:pt x="144" y="29"/>
                  </a:lnTo>
                  <a:lnTo>
                    <a:pt x="142" y="28"/>
                  </a:lnTo>
                  <a:lnTo>
                    <a:pt x="142" y="28"/>
                  </a:lnTo>
                  <a:lnTo>
                    <a:pt x="135" y="17"/>
                  </a:lnTo>
                  <a:lnTo>
                    <a:pt x="131" y="10"/>
                  </a:lnTo>
                  <a:lnTo>
                    <a:pt x="129" y="9"/>
                  </a:lnTo>
                  <a:lnTo>
                    <a:pt x="129" y="9"/>
                  </a:lnTo>
                  <a:lnTo>
                    <a:pt x="135" y="9"/>
                  </a:lnTo>
                  <a:lnTo>
                    <a:pt x="138" y="7"/>
                  </a:lnTo>
                  <a:lnTo>
                    <a:pt x="138" y="7"/>
                  </a:lnTo>
                  <a:lnTo>
                    <a:pt x="138" y="7"/>
                  </a:lnTo>
                  <a:lnTo>
                    <a:pt x="135" y="4"/>
                  </a:lnTo>
                  <a:lnTo>
                    <a:pt x="134" y="3"/>
                  </a:lnTo>
                  <a:lnTo>
                    <a:pt x="135" y="1"/>
                  </a:lnTo>
                  <a:lnTo>
                    <a:pt x="135" y="1"/>
                  </a:lnTo>
                  <a:lnTo>
                    <a:pt x="123" y="0"/>
                  </a:lnTo>
                  <a:lnTo>
                    <a:pt x="116" y="0"/>
                  </a:lnTo>
                  <a:lnTo>
                    <a:pt x="116" y="0"/>
                  </a:lnTo>
                  <a:lnTo>
                    <a:pt x="112" y="1"/>
                  </a:lnTo>
                  <a:lnTo>
                    <a:pt x="108" y="6"/>
                  </a:lnTo>
                  <a:lnTo>
                    <a:pt x="103" y="10"/>
                  </a:lnTo>
                  <a:lnTo>
                    <a:pt x="100" y="16"/>
                  </a:lnTo>
                  <a:lnTo>
                    <a:pt x="100" y="16"/>
                  </a:lnTo>
                  <a:lnTo>
                    <a:pt x="96" y="25"/>
                  </a:lnTo>
                  <a:lnTo>
                    <a:pt x="89" y="35"/>
                  </a:lnTo>
                  <a:lnTo>
                    <a:pt x="80" y="43"/>
                  </a:lnTo>
                  <a:lnTo>
                    <a:pt x="77" y="46"/>
                  </a:lnTo>
                  <a:lnTo>
                    <a:pt x="74" y="46"/>
                  </a:lnTo>
                  <a:lnTo>
                    <a:pt x="74" y="46"/>
                  </a:lnTo>
                  <a:lnTo>
                    <a:pt x="70" y="46"/>
                  </a:lnTo>
                  <a:lnTo>
                    <a:pt x="64" y="43"/>
                  </a:lnTo>
                  <a:lnTo>
                    <a:pt x="60" y="41"/>
                  </a:lnTo>
                  <a:lnTo>
                    <a:pt x="55" y="41"/>
                  </a:lnTo>
                  <a:lnTo>
                    <a:pt x="55" y="41"/>
                  </a:lnTo>
                  <a:lnTo>
                    <a:pt x="51" y="43"/>
                  </a:lnTo>
                  <a:lnTo>
                    <a:pt x="47" y="48"/>
                  </a:lnTo>
                  <a:lnTo>
                    <a:pt x="41" y="51"/>
                  </a:lnTo>
                  <a:lnTo>
                    <a:pt x="31" y="51"/>
                  </a:lnTo>
                  <a:lnTo>
                    <a:pt x="31" y="51"/>
                  </a:lnTo>
                  <a:lnTo>
                    <a:pt x="26" y="51"/>
                  </a:lnTo>
                  <a:lnTo>
                    <a:pt x="24" y="48"/>
                  </a:lnTo>
                  <a:lnTo>
                    <a:pt x="16" y="42"/>
                  </a:lnTo>
                  <a:lnTo>
                    <a:pt x="16" y="42"/>
                  </a:lnTo>
                  <a:lnTo>
                    <a:pt x="10" y="38"/>
                  </a:lnTo>
                  <a:lnTo>
                    <a:pt x="9" y="36"/>
                  </a:lnTo>
                  <a:lnTo>
                    <a:pt x="6" y="35"/>
                  </a:lnTo>
                  <a:lnTo>
                    <a:pt x="6" y="35"/>
                  </a:lnTo>
                  <a:lnTo>
                    <a:pt x="5" y="36"/>
                  </a:lnTo>
                  <a:lnTo>
                    <a:pt x="3" y="38"/>
                  </a:lnTo>
                  <a:lnTo>
                    <a:pt x="2" y="43"/>
                  </a:lnTo>
                  <a:lnTo>
                    <a:pt x="0" y="5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47" name="Freeform 330"/>
            <p:cNvSpPr>
              <a:spLocks/>
            </p:cNvSpPr>
            <p:nvPr/>
          </p:nvSpPr>
          <p:spPr bwMode="auto">
            <a:xfrm>
              <a:off x="7226301" y="4592638"/>
              <a:ext cx="31750" cy="28575"/>
            </a:xfrm>
            <a:custGeom>
              <a:avLst/>
              <a:gdLst>
                <a:gd name="T0" fmla="*/ 7 w 20"/>
                <a:gd name="T1" fmla="*/ 18 h 18"/>
                <a:gd name="T2" fmla="*/ 7 w 20"/>
                <a:gd name="T3" fmla="*/ 18 h 18"/>
                <a:gd name="T4" fmla="*/ 10 w 20"/>
                <a:gd name="T5" fmla="*/ 14 h 18"/>
                <a:gd name="T6" fmla="*/ 12 w 20"/>
                <a:gd name="T7" fmla="*/ 11 h 18"/>
                <a:gd name="T8" fmla="*/ 13 w 20"/>
                <a:gd name="T9" fmla="*/ 11 h 18"/>
                <a:gd name="T10" fmla="*/ 13 w 20"/>
                <a:gd name="T11" fmla="*/ 11 h 18"/>
                <a:gd name="T12" fmla="*/ 15 w 20"/>
                <a:gd name="T13" fmla="*/ 13 h 18"/>
                <a:gd name="T14" fmla="*/ 16 w 20"/>
                <a:gd name="T15" fmla="*/ 15 h 18"/>
                <a:gd name="T16" fmla="*/ 19 w 20"/>
                <a:gd name="T17" fmla="*/ 17 h 18"/>
                <a:gd name="T18" fmla="*/ 19 w 20"/>
                <a:gd name="T19" fmla="*/ 17 h 18"/>
                <a:gd name="T20" fmla="*/ 20 w 20"/>
                <a:gd name="T21" fmla="*/ 15 h 18"/>
                <a:gd name="T22" fmla="*/ 20 w 20"/>
                <a:gd name="T23" fmla="*/ 15 h 18"/>
                <a:gd name="T24" fmla="*/ 20 w 20"/>
                <a:gd name="T25" fmla="*/ 10 h 18"/>
                <a:gd name="T26" fmla="*/ 17 w 20"/>
                <a:gd name="T27" fmla="*/ 1 h 18"/>
                <a:gd name="T28" fmla="*/ 17 w 20"/>
                <a:gd name="T29" fmla="*/ 1 h 18"/>
                <a:gd name="T30" fmla="*/ 15 w 20"/>
                <a:gd name="T31" fmla="*/ 1 h 18"/>
                <a:gd name="T32" fmla="*/ 13 w 20"/>
                <a:gd name="T33" fmla="*/ 0 h 18"/>
                <a:gd name="T34" fmla="*/ 12 w 20"/>
                <a:gd name="T35" fmla="*/ 1 h 18"/>
                <a:gd name="T36" fmla="*/ 12 w 20"/>
                <a:gd name="T37" fmla="*/ 1 h 18"/>
                <a:gd name="T38" fmla="*/ 7 w 20"/>
                <a:gd name="T39" fmla="*/ 5 h 18"/>
                <a:gd name="T40" fmla="*/ 4 w 20"/>
                <a:gd name="T41" fmla="*/ 8 h 18"/>
                <a:gd name="T42" fmla="*/ 2 w 20"/>
                <a:gd name="T43" fmla="*/ 8 h 18"/>
                <a:gd name="T44" fmla="*/ 2 w 20"/>
                <a:gd name="T45" fmla="*/ 8 h 18"/>
                <a:gd name="T46" fmla="*/ 0 w 20"/>
                <a:gd name="T47" fmla="*/ 10 h 18"/>
                <a:gd name="T48" fmla="*/ 0 w 20"/>
                <a:gd name="T49" fmla="*/ 11 h 18"/>
                <a:gd name="T50" fmla="*/ 2 w 20"/>
                <a:gd name="T51" fmla="*/ 13 h 18"/>
                <a:gd name="T52" fmla="*/ 0 w 20"/>
                <a:gd name="T53" fmla="*/ 14 h 18"/>
                <a:gd name="T54" fmla="*/ 0 w 20"/>
                <a:gd name="T55" fmla="*/ 15 h 18"/>
                <a:gd name="T56" fmla="*/ 0 w 20"/>
                <a:gd name="T57" fmla="*/ 15 h 18"/>
                <a:gd name="T58" fmla="*/ 4 w 20"/>
                <a:gd name="T59" fmla="*/ 18 h 18"/>
                <a:gd name="T60" fmla="*/ 7 w 20"/>
                <a:gd name="T6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 h="18">
                  <a:moveTo>
                    <a:pt x="7" y="18"/>
                  </a:moveTo>
                  <a:lnTo>
                    <a:pt x="7" y="18"/>
                  </a:lnTo>
                  <a:lnTo>
                    <a:pt x="10" y="14"/>
                  </a:lnTo>
                  <a:lnTo>
                    <a:pt x="12" y="11"/>
                  </a:lnTo>
                  <a:lnTo>
                    <a:pt x="13" y="11"/>
                  </a:lnTo>
                  <a:lnTo>
                    <a:pt x="13" y="11"/>
                  </a:lnTo>
                  <a:lnTo>
                    <a:pt x="15" y="13"/>
                  </a:lnTo>
                  <a:lnTo>
                    <a:pt x="16" y="15"/>
                  </a:lnTo>
                  <a:lnTo>
                    <a:pt x="19" y="17"/>
                  </a:lnTo>
                  <a:lnTo>
                    <a:pt x="19" y="17"/>
                  </a:lnTo>
                  <a:lnTo>
                    <a:pt x="20" y="15"/>
                  </a:lnTo>
                  <a:lnTo>
                    <a:pt x="20" y="15"/>
                  </a:lnTo>
                  <a:lnTo>
                    <a:pt x="20" y="10"/>
                  </a:lnTo>
                  <a:lnTo>
                    <a:pt x="17" y="1"/>
                  </a:lnTo>
                  <a:lnTo>
                    <a:pt x="17" y="1"/>
                  </a:lnTo>
                  <a:lnTo>
                    <a:pt x="15" y="1"/>
                  </a:lnTo>
                  <a:lnTo>
                    <a:pt x="13" y="0"/>
                  </a:lnTo>
                  <a:lnTo>
                    <a:pt x="12" y="1"/>
                  </a:lnTo>
                  <a:lnTo>
                    <a:pt x="12" y="1"/>
                  </a:lnTo>
                  <a:lnTo>
                    <a:pt x="7" y="5"/>
                  </a:lnTo>
                  <a:lnTo>
                    <a:pt x="4" y="8"/>
                  </a:lnTo>
                  <a:lnTo>
                    <a:pt x="2" y="8"/>
                  </a:lnTo>
                  <a:lnTo>
                    <a:pt x="2" y="8"/>
                  </a:lnTo>
                  <a:lnTo>
                    <a:pt x="0" y="10"/>
                  </a:lnTo>
                  <a:lnTo>
                    <a:pt x="0" y="11"/>
                  </a:lnTo>
                  <a:lnTo>
                    <a:pt x="2" y="13"/>
                  </a:lnTo>
                  <a:lnTo>
                    <a:pt x="0" y="14"/>
                  </a:lnTo>
                  <a:lnTo>
                    <a:pt x="0" y="15"/>
                  </a:lnTo>
                  <a:lnTo>
                    <a:pt x="0" y="15"/>
                  </a:lnTo>
                  <a:lnTo>
                    <a:pt x="4" y="18"/>
                  </a:lnTo>
                  <a:lnTo>
                    <a:pt x="7" y="18"/>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48" name="Freeform 331"/>
            <p:cNvSpPr>
              <a:spLocks/>
            </p:cNvSpPr>
            <p:nvPr/>
          </p:nvSpPr>
          <p:spPr bwMode="auto">
            <a:xfrm>
              <a:off x="7226301" y="4592638"/>
              <a:ext cx="31750" cy="28575"/>
            </a:xfrm>
            <a:custGeom>
              <a:avLst/>
              <a:gdLst>
                <a:gd name="T0" fmla="*/ 7 w 20"/>
                <a:gd name="T1" fmla="*/ 18 h 18"/>
                <a:gd name="T2" fmla="*/ 7 w 20"/>
                <a:gd name="T3" fmla="*/ 18 h 18"/>
                <a:gd name="T4" fmla="*/ 10 w 20"/>
                <a:gd name="T5" fmla="*/ 14 h 18"/>
                <a:gd name="T6" fmla="*/ 12 w 20"/>
                <a:gd name="T7" fmla="*/ 11 h 18"/>
                <a:gd name="T8" fmla="*/ 13 w 20"/>
                <a:gd name="T9" fmla="*/ 11 h 18"/>
                <a:gd name="T10" fmla="*/ 13 w 20"/>
                <a:gd name="T11" fmla="*/ 11 h 18"/>
                <a:gd name="T12" fmla="*/ 15 w 20"/>
                <a:gd name="T13" fmla="*/ 13 h 18"/>
                <a:gd name="T14" fmla="*/ 16 w 20"/>
                <a:gd name="T15" fmla="*/ 15 h 18"/>
                <a:gd name="T16" fmla="*/ 19 w 20"/>
                <a:gd name="T17" fmla="*/ 17 h 18"/>
                <a:gd name="T18" fmla="*/ 19 w 20"/>
                <a:gd name="T19" fmla="*/ 17 h 18"/>
                <a:gd name="T20" fmla="*/ 20 w 20"/>
                <a:gd name="T21" fmla="*/ 15 h 18"/>
                <a:gd name="T22" fmla="*/ 20 w 20"/>
                <a:gd name="T23" fmla="*/ 15 h 18"/>
                <a:gd name="T24" fmla="*/ 20 w 20"/>
                <a:gd name="T25" fmla="*/ 10 h 18"/>
                <a:gd name="T26" fmla="*/ 17 w 20"/>
                <a:gd name="T27" fmla="*/ 1 h 18"/>
                <a:gd name="T28" fmla="*/ 17 w 20"/>
                <a:gd name="T29" fmla="*/ 1 h 18"/>
                <a:gd name="T30" fmla="*/ 15 w 20"/>
                <a:gd name="T31" fmla="*/ 1 h 18"/>
                <a:gd name="T32" fmla="*/ 13 w 20"/>
                <a:gd name="T33" fmla="*/ 0 h 18"/>
                <a:gd name="T34" fmla="*/ 12 w 20"/>
                <a:gd name="T35" fmla="*/ 1 h 18"/>
                <a:gd name="T36" fmla="*/ 12 w 20"/>
                <a:gd name="T37" fmla="*/ 1 h 18"/>
                <a:gd name="T38" fmla="*/ 7 w 20"/>
                <a:gd name="T39" fmla="*/ 5 h 18"/>
                <a:gd name="T40" fmla="*/ 4 w 20"/>
                <a:gd name="T41" fmla="*/ 8 h 18"/>
                <a:gd name="T42" fmla="*/ 2 w 20"/>
                <a:gd name="T43" fmla="*/ 8 h 18"/>
                <a:gd name="T44" fmla="*/ 2 w 20"/>
                <a:gd name="T45" fmla="*/ 8 h 18"/>
                <a:gd name="T46" fmla="*/ 0 w 20"/>
                <a:gd name="T47" fmla="*/ 10 h 18"/>
                <a:gd name="T48" fmla="*/ 0 w 20"/>
                <a:gd name="T49" fmla="*/ 11 h 18"/>
                <a:gd name="T50" fmla="*/ 2 w 20"/>
                <a:gd name="T51" fmla="*/ 13 h 18"/>
                <a:gd name="T52" fmla="*/ 0 w 20"/>
                <a:gd name="T53" fmla="*/ 14 h 18"/>
                <a:gd name="T54" fmla="*/ 0 w 20"/>
                <a:gd name="T55" fmla="*/ 15 h 18"/>
                <a:gd name="T56" fmla="*/ 0 w 20"/>
                <a:gd name="T57" fmla="*/ 15 h 18"/>
                <a:gd name="T58" fmla="*/ 4 w 20"/>
                <a:gd name="T59" fmla="*/ 18 h 18"/>
                <a:gd name="T60" fmla="*/ 7 w 20"/>
                <a:gd name="T6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 h="18">
                  <a:moveTo>
                    <a:pt x="7" y="18"/>
                  </a:moveTo>
                  <a:lnTo>
                    <a:pt x="7" y="18"/>
                  </a:lnTo>
                  <a:lnTo>
                    <a:pt x="10" y="14"/>
                  </a:lnTo>
                  <a:lnTo>
                    <a:pt x="12" y="11"/>
                  </a:lnTo>
                  <a:lnTo>
                    <a:pt x="13" y="11"/>
                  </a:lnTo>
                  <a:lnTo>
                    <a:pt x="13" y="11"/>
                  </a:lnTo>
                  <a:lnTo>
                    <a:pt x="15" y="13"/>
                  </a:lnTo>
                  <a:lnTo>
                    <a:pt x="16" y="15"/>
                  </a:lnTo>
                  <a:lnTo>
                    <a:pt x="19" y="17"/>
                  </a:lnTo>
                  <a:lnTo>
                    <a:pt x="19" y="17"/>
                  </a:lnTo>
                  <a:lnTo>
                    <a:pt x="20" y="15"/>
                  </a:lnTo>
                  <a:lnTo>
                    <a:pt x="20" y="15"/>
                  </a:lnTo>
                  <a:lnTo>
                    <a:pt x="20" y="10"/>
                  </a:lnTo>
                  <a:lnTo>
                    <a:pt x="17" y="1"/>
                  </a:lnTo>
                  <a:lnTo>
                    <a:pt x="17" y="1"/>
                  </a:lnTo>
                  <a:lnTo>
                    <a:pt x="15" y="1"/>
                  </a:lnTo>
                  <a:lnTo>
                    <a:pt x="13" y="0"/>
                  </a:lnTo>
                  <a:lnTo>
                    <a:pt x="12" y="1"/>
                  </a:lnTo>
                  <a:lnTo>
                    <a:pt x="12" y="1"/>
                  </a:lnTo>
                  <a:lnTo>
                    <a:pt x="7" y="5"/>
                  </a:lnTo>
                  <a:lnTo>
                    <a:pt x="4" y="8"/>
                  </a:lnTo>
                  <a:lnTo>
                    <a:pt x="2" y="8"/>
                  </a:lnTo>
                  <a:lnTo>
                    <a:pt x="2" y="8"/>
                  </a:lnTo>
                  <a:lnTo>
                    <a:pt x="0" y="10"/>
                  </a:lnTo>
                  <a:lnTo>
                    <a:pt x="0" y="11"/>
                  </a:lnTo>
                  <a:lnTo>
                    <a:pt x="2" y="13"/>
                  </a:lnTo>
                  <a:lnTo>
                    <a:pt x="0" y="14"/>
                  </a:lnTo>
                  <a:lnTo>
                    <a:pt x="0" y="15"/>
                  </a:lnTo>
                  <a:lnTo>
                    <a:pt x="0" y="15"/>
                  </a:lnTo>
                  <a:lnTo>
                    <a:pt x="4" y="18"/>
                  </a:lnTo>
                  <a:lnTo>
                    <a:pt x="7"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49" name="Freeform 332"/>
            <p:cNvSpPr>
              <a:spLocks/>
            </p:cNvSpPr>
            <p:nvPr/>
          </p:nvSpPr>
          <p:spPr bwMode="auto">
            <a:xfrm>
              <a:off x="7129463" y="4541838"/>
              <a:ext cx="230188" cy="153988"/>
            </a:xfrm>
            <a:custGeom>
              <a:avLst/>
              <a:gdLst>
                <a:gd name="T0" fmla="*/ 15 w 145"/>
                <a:gd name="T1" fmla="*/ 97 h 97"/>
                <a:gd name="T2" fmla="*/ 31 w 145"/>
                <a:gd name="T3" fmla="*/ 94 h 97"/>
                <a:gd name="T4" fmla="*/ 39 w 145"/>
                <a:gd name="T5" fmla="*/ 87 h 97"/>
                <a:gd name="T6" fmla="*/ 44 w 145"/>
                <a:gd name="T7" fmla="*/ 87 h 97"/>
                <a:gd name="T8" fmla="*/ 54 w 145"/>
                <a:gd name="T9" fmla="*/ 92 h 97"/>
                <a:gd name="T10" fmla="*/ 58 w 145"/>
                <a:gd name="T11" fmla="*/ 92 h 97"/>
                <a:gd name="T12" fmla="*/ 64 w 145"/>
                <a:gd name="T13" fmla="*/ 89 h 97"/>
                <a:gd name="T14" fmla="*/ 80 w 145"/>
                <a:gd name="T15" fmla="*/ 71 h 97"/>
                <a:gd name="T16" fmla="*/ 84 w 145"/>
                <a:gd name="T17" fmla="*/ 62 h 97"/>
                <a:gd name="T18" fmla="*/ 92 w 145"/>
                <a:gd name="T19" fmla="*/ 52 h 97"/>
                <a:gd name="T20" fmla="*/ 100 w 145"/>
                <a:gd name="T21" fmla="*/ 46 h 97"/>
                <a:gd name="T22" fmla="*/ 107 w 145"/>
                <a:gd name="T23" fmla="*/ 46 h 97"/>
                <a:gd name="T24" fmla="*/ 120 w 145"/>
                <a:gd name="T25" fmla="*/ 47 h 97"/>
                <a:gd name="T26" fmla="*/ 129 w 145"/>
                <a:gd name="T27" fmla="*/ 45 h 97"/>
                <a:gd name="T28" fmla="*/ 135 w 145"/>
                <a:gd name="T29" fmla="*/ 43 h 97"/>
                <a:gd name="T30" fmla="*/ 135 w 145"/>
                <a:gd name="T31" fmla="*/ 42 h 97"/>
                <a:gd name="T32" fmla="*/ 135 w 145"/>
                <a:gd name="T33" fmla="*/ 37 h 97"/>
                <a:gd name="T34" fmla="*/ 144 w 145"/>
                <a:gd name="T35" fmla="*/ 30 h 97"/>
                <a:gd name="T36" fmla="*/ 144 w 145"/>
                <a:gd name="T37" fmla="*/ 27 h 97"/>
                <a:gd name="T38" fmla="*/ 135 w 145"/>
                <a:gd name="T39" fmla="*/ 23 h 97"/>
                <a:gd name="T40" fmla="*/ 126 w 145"/>
                <a:gd name="T41" fmla="*/ 18 h 97"/>
                <a:gd name="T42" fmla="*/ 116 w 145"/>
                <a:gd name="T43" fmla="*/ 16 h 97"/>
                <a:gd name="T44" fmla="*/ 116 w 145"/>
                <a:gd name="T45" fmla="*/ 14 h 97"/>
                <a:gd name="T46" fmla="*/ 116 w 145"/>
                <a:gd name="T47" fmla="*/ 7 h 97"/>
                <a:gd name="T48" fmla="*/ 115 w 145"/>
                <a:gd name="T49" fmla="*/ 4 h 97"/>
                <a:gd name="T50" fmla="*/ 106 w 145"/>
                <a:gd name="T51" fmla="*/ 0 h 97"/>
                <a:gd name="T52" fmla="*/ 103 w 145"/>
                <a:gd name="T53" fmla="*/ 0 h 97"/>
                <a:gd name="T54" fmla="*/ 96 w 145"/>
                <a:gd name="T55" fmla="*/ 11 h 97"/>
                <a:gd name="T56" fmla="*/ 89 w 145"/>
                <a:gd name="T57" fmla="*/ 21 h 97"/>
                <a:gd name="T58" fmla="*/ 83 w 145"/>
                <a:gd name="T59" fmla="*/ 29 h 97"/>
                <a:gd name="T60" fmla="*/ 81 w 145"/>
                <a:gd name="T61" fmla="*/ 32 h 97"/>
                <a:gd name="T62" fmla="*/ 78 w 145"/>
                <a:gd name="T63" fmla="*/ 33 h 97"/>
                <a:gd name="T64" fmla="*/ 81 w 145"/>
                <a:gd name="T65" fmla="*/ 42 h 97"/>
                <a:gd name="T66" fmla="*/ 81 w 145"/>
                <a:gd name="T67" fmla="*/ 47 h 97"/>
                <a:gd name="T68" fmla="*/ 80 w 145"/>
                <a:gd name="T69" fmla="*/ 49 h 97"/>
                <a:gd name="T70" fmla="*/ 76 w 145"/>
                <a:gd name="T71" fmla="*/ 45 h 97"/>
                <a:gd name="T72" fmla="*/ 74 w 145"/>
                <a:gd name="T73" fmla="*/ 43 h 97"/>
                <a:gd name="T74" fmla="*/ 71 w 145"/>
                <a:gd name="T75" fmla="*/ 46 h 97"/>
                <a:gd name="T76" fmla="*/ 68 w 145"/>
                <a:gd name="T77" fmla="*/ 50 h 97"/>
                <a:gd name="T78" fmla="*/ 61 w 145"/>
                <a:gd name="T79" fmla="*/ 47 h 97"/>
                <a:gd name="T80" fmla="*/ 54 w 145"/>
                <a:gd name="T81" fmla="*/ 53 h 97"/>
                <a:gd name="T82" fmla="*/ 47 w 145"/>
                <a:gd name="T83" fmla="*/ 59 h 97"/>
                <a:gd name="T84" fmla="*/ 45 w 145"/>
                <a:gd name="T85" fmla="*/ 59 h 97"/>
                <a:gd name="T86" fmla="*/ 45 w 145"/>
                <a:gd name="T87" fmla="*/ 63 h 97"/>
                <a:gd name="T88" fmla="*/ 44 w 145"/>
                <a:gd name="T89" fmla="*/ 65 h 97"/>
                <a:gd name="T90" fmla="*/ 22 w 145"/>
                <a:gd name="T91" fmla="*/ 66 h 97"/>
                <a:gd name="T92" fmla="*/ 18 w 145"/>
                <a:gd name="T93" fmla="*/ 78 h 97"/>
                <a:gd name="T94" fmla="*/ 13 w 145"/>
                <a:gd name="T95" fmla="*/ 88 h 97"/>
                <a:gd name="T96" fmla="*/ 6 w 145"/>
                <a:gd name="T97" fmla="*/ 88 h 97"/>
                <a:gd name="T98" fmla="*/ 0 w 145"/>
                <a:gd name="T99" fmla="*/ 88 h 97"/>
                <a:gd name="T100" fmla="*/ 0 w 145"/>
                <a:gd name="T101" fmla="*/ 88 h 97"/>
                <a:gd name="T102" fmla="*/ 10 w 145"/>
                <a:gd name="T10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5" h="97">
                  <a:moveTo>
                    <a:pt x="15" y="97"/>
                  </a:moveTo>
                  <a:lnTo>
                    <a:pt x="15" y="97"/>
                  </a:lnTo>
                  <a:lnTo>
                    <a:pt x="25" y="97"/>
                  </a:lnTo>
                  <a:lnTo>
                    <a:pt x="31" y="94"/>
                  </a:lnTo>
                  <a:lnTo>
                    <a:pt x="35" y="89"/>
                  </a:lnTo>
                  <a:lnTo>
                    <a:pt x="39" y="87"/>
                  </a:lnTo>
                  <a:lnTo>
                    <a:pt x="39" y="87"/>
                  </a:lnTo>
                  <a:lnTo>
                    <a:pt x="44" y="87"/>
                  </a:lnTo>
                  <a:lnTo>
                    <a:pt x="48" y="89"/>
                  </a:lnTo>
                  <a:lnTo>
                    <a:pt x="54" y="92"/>
                  </a:lnTo>
                  <a:lnTo>
                    <a:pt x="58" y="92"/>
                  </a:lnTo>
                  <a:lnTo>
                    <a:pt x="58" y="92"/>
                  </a:lnTo>
                  <a:lnTo>
                    <a:pt x="61" y="92"/>
                  </a:lnTo>
                  <a:lnTo>
                    <a:pt x="64" y="89"/>
                  </a:lnTo>
                  <a:lnTo>
                    <a:pt x="73" y="81"/>
                  </a:lnTo>
                  <a:lnTo>
                    <a:pt x="80" y="71"/>
                  </a:lnTo>
                  <a:lnTo>
                    <a:pt x="84" y="62"/>
                  </a:lnTo>
                  <a:lnTo>
                    <a:pt x="84" y="62"/>
                  </a:lnTo>
                  <a:lnTo>
                    <a:pt x="87" y="56"/>
                  </a:lnTo>
                  <a:lnTo>
                    <a:pt x="92" y="52"/>
                  </a:lnTo>
                  <a:lnTo>
                    <a:pt x="96" y="47"/>
                  </a:lnTo>
                  <a:lnTo>
                    <a:pt x="100" y="46"/>
                  </a:lnTo>
                  <a:lnTo>
                    <a:pt x="100" y="46"/>
                  </a:lnTo>
                  <a:lnTo>
                    <a:pt x="107" y="46"/>
                  </a:lnTo>
                  <a:lnTo>
                    <a:pt x="119" y="47"/>
                  </a:lnTo>
                  <a:lnTo>
                    <a:pt x="120" y="47"/>
                  </a:lnTo>
                  <a:lnTo>
                    <a:pt x="120" y="47"/>
                  </a:lnTo>
                  <a:lnTo>
                    <a:pt x="129" y="45"/>
                  </a:lnTo>
                  <a:lnTo>
                    <a:pt x="134" y="43"/>
                  </a:lnTo>
                  <a:lnTo>
                    <a:pt x="135" y="43"/>
                  </a:lnTo>
                  <a:lnTo>
                    <a:pt x="135" y="42"/>
                  </a:lnTo>
                  <a:lnTo>
                    <a:pt x="135" y="42"/>
                  </a:lnTo>
                  <a:lnTo>
                    <a:pt x="135" y="40"/>
                  </a:lnTo>
                  <a:lnTo>
                    <a:pt x="135" y="37"/>
                  </a:lnTo>
                  <a:lnTo>
                    <a:pt x="139" y="33"/>
                  </a:lnTo>
                  <a:lnTo>
                    <a:pt x="144" y="30"/>
                  </a:lnTo>
                  <a:lnTo>
                    <a:pt x="145" y="29"/>
                  </a:lnTo>
                  <a:lnTo>
                    <a:pt x="144" y="27"/>
                  </a:lnTo>
                  <a:lnTo>
                    <a:pt x="144" y="27"/>
                  </a:lnTo>
                  <a:lnTo>
                    <a:pt x="135" y="23"/>
                  </a:lnTo>
                  <a:lnTo>
                    <a:pt x="126" y="18"/>
                  </a:lnTo>
                  <a:lnTo>
                    <a:pt x="126" y="18"/>
                  </a:lnTo>
                  <a:lnTo>
                    <a:pt x="118" y="17"/>
                  </a:lnTo>
                  <a:lnTo>
                    <a:pt x="116" y="16"/>
                  </a:lnTo>
                  <a:lnTo>
                    <a:pt x="116" y="14"/>
                  </a:lnTo>
                  <a:lnTo>
                    <a:pt x="116" y="14"/>
                  </a:lnTo>
                  <a:lnTo>
                    <a:pt x="116" y="10"/>
                  </a:lnTo>
                  <a:lnTo>
                    <a:pt x="116" y="7"/>
                  </a:lnTo>
                  <a:lnTo>
                    <a:pt x="115" y="4"/>
                  </a:lnTo>
                  <a:lnTo>
                    <a:pt x="115" y="4"/>
                  </a:lnTo>
                  <a:lnTo>
                    <a:pt x="109" y="1"/>
                  </a:lnTo>
                  <a:lnTo>
                    <a:pt x="106" y="0"/>
                  </a:lnTo>
                  <a:lnTo>
                    <a:pt x="103" y="0"/>
                  </a:lnTo>
                  <a:lnTo>
                    <a:pt x="103" y="0"/>
                  </a:lnTo>
                  <a:lnTo>
                    <a:pt x="100" y="4"/>
                  </a:lnTo>
                  <a:lnTo>
                    <a:pt x="96" y="11"/>
                  </a:lnTo>
                  <a:lnTo>
                    <a:pt x="89" y="21"/>
                  </a:lnTo>
                  <a:lnTo>
                    <a:pt x="89" y="21"/>
                  </a:lnTo>
                  <a:lnTo>
                    <a:pt x="86" y="24"/>
                  </a:lnTo>
                  <a:lnTo>
                    <a:pt x="83" y="29"/>
                  </a:lnTo>
                  <a:lnTo>
                    <a:pt x="83" y="29"/>
                  </a:lnTo>
                  <a:lnTo>
                    <a:pt x="81" y="32"/>
                  </a:lnTo>
                  <a:lnTo>
                    <a:pt x="78" y="33"/>
                  </a:lnTo>
                  <a:lnTo>
                    <a:pt x="78" y="33"/>
                  </a:lnTo>
                  <a:lnTo>
                    <a:pt x="78" y="33"/>
                  </a:lnTo>
                  <a:lnTo>
                    <a:pt x="81" y="42"/>
                  </a:lnTo>
                  <a:lnTo>
                    <a:pt x="81" y="47"/>
                  </a:lnTo>
                  <a:lnTo>
                    <a:pt x="81" y="47"/>
                  </a:lnTo>
                  <a:lnTo>
                    <a:pt x="80" y="49"/>
                  </a:lnTo>
                  <a:lnTo>
                    <a:pt x="80" y="49"/>
                  </a:lnTo>
                  <a:lnTo>
                    <a:pt x="77" y="47"/>
                  </a:lnTo>
                  <a:lnTo>
                    <a:pt x="76" y="45"/>
                  </a:lnTo>
                  <a:lnTo>
                    <a:pt x="74" y="43"/>
                  </a:lnTo>
                  <a:lnTo>
                    <a:pt x="74" y="43"/>
                  </a:lnTo>
                  <a:lnTo>
                    <a:pt x="73" y="43"/>
                  </a:lnTo>
                  <a:lnTo>
                    <a:pt x="71" y="46"/>
                  </a:lnTo>
                  <a:lnTo>
                    <a:pt x="68" y="50"/>
                  </a:lnTo>
                  <a:lnTo>
                    <a:pt x="68" y="50"/>
                  </a:lnTo>
                  <a:lnTo>
                    <a:pt x="65" y="50"/>
                  </a:lnTo>
                  <a:lnTo>
                    <a:pt x="61" y="47"/>
                  </a:lnTo>
                  <a:lnTo>
                    <a:pt x="61" y="47"/>
                  </a:lnTo>
                  <a:lnTo>
                    <a:pt x="54" y="53"/>
                  </a:lnTo>
                  <a:lnTo>
                    <a:pt x="50" y="58"/>
                  </a:lnTo>
                  <a:lnTo>
                    <a:pt x="47" y="59"/>
                  </a:lnTo>
                  <a:lnTo>
                    <a:pt x="47" y="59"/>
                  </a:lnTo>
                  <a:lnTo>
                    <a:pt x="45" y="59"/>
                  </a:lnTo>
                  <a:lnTo>
                    <a:pt x="45" y="62"/>
                  </a:lnTo>
                  <a:lnTo>
                    <a:pt x="45" y="63"/>
                  </a:lnTo>
                  <a:lnTo>
                    <a:pt x="44" y="65"/>
                  </a:lnTo>
                  <a:lnTo>
                    <a:pt x="44" y="65"/>
                  </a:lnTo>
                  <a:lnTo>
                    <a:pt x="22" y="66"/>
                  </a:lnTo>
                  <a:lnTo>
                    <a:pt x="22" y="66"/>
                  </a:lnTo>
                  <a:lnTo>
                    <a:pt x="21" y="71"/>
                  </a:lnTo>
                  <a:lnTo>
                    <a:pt x="18" y="78"/>
                  </a:lnTo>
                  <a:lnTo>
                    <a:pt x="15" y="85"/>
                  </a:lnTo>
                  <a:lnTo>
                    <a:pt x="13" y="88"/>
                  </a:lnTo>
                  <a:lnTo>
                    <a:pt x="13" y="88"/>
                  </a:lnTo>
                  <a:lnTo>
                    <a:pt x="6" y="88"/>
                  </a:lnTo>
                  <a:lnTo>
                    <a:pt x="3" y="88"/>
                  </a:lnTo>
                  <a:lnTo>
                    <a:pt x="0" y="88"/>
                  </a:lnTo>
                  <a:lnTo>
                    <a:pt x="0" y="88"/>
                  </a:lnTo>
                  <a:lnTo>
                    <a:pt x="0" y="88"/>
                  </a:lnTo>
                  <a:lnTo>
                    <a:pt x="8" y="94"/>
                  </a:lnTo>
                  <a:lnTo>
                    <a:pt x="10" y="97"/>
                  </a:lnTo>
                  <a:lnTo>
                    <a:pt x="15" y="97"/>
                  </a:lnTo>
                  <a:close/>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50" name="Freeform 333"/>
            <p:cNvSpPr>
              <a:spLocks/>
            </p:cNvSpPr>
            <p:nvPr/>
          </p:nvSpPr>
          <p:spPr bwMode="auto">
            <a:xfrm>
              <a:off x="7129463" y="4541838"/>
              <a:ext cx="230188" cy="153988"/>
            </a:xfrm>
            <a:custGeom>
              <a:avLst/>
              <a:gdLst>
                <a:gd name="T0" fmla="*/ 15 w 145"/>
                <a:gd name="T1" fmla="*/ 97 h 97"/>
                <a:gd name="T2" fmla="*/ 31 w 145"/>
                <a:gd name="T3" fmla="*/ 94 h 97"/>
                <a:gd name="T4" fmla="*/ 39 w 145"/>
                <a:gd name="T5" fmla="*/ 87 h 97"/>
                <a:gd name="T6" fmla="*/ 44 w 145"/>
                <a:gd name="T7" fmla="*/ 87 h 97"/>
                <a:gd name="T8" fmla="*/ 54 w 145"/>
                <a:gd name="T9" fmla="*/ 92 h 97"/>
                <a:gd name="T10" fmla="*/ 58 w 145"/>
                <a:gd name="T11" fmla="*/ 92 h 97"/>
                <a:gd name="T12" fmla="*/ 64 w 145"/>
                <a:gd name="T13" fmla="*/ 89 h 97"/>
                <a:gd name="T14" fmla="*/ 80 w 145"/>
                <a:gd name="T15" fmla="*/ 71 h 97"/>
                <a:gd name="T16" fmla="*/ 84 w 145"/>
                <a:gd name="T17" fmla="*/ 62 h 97"/>
                <a:gd name="T18" fmla="*/ 92 w 145"/>
                <a:gd name="T19" fmla="*/ 52 h 97"/>
                <a:gd name="T20" fmla="*/ 100 w 145"/>
                <a:gd name="T21" fmla="*/ 46 h 97"/>
                <a:gd name="T22" fmla="*/ 107 w 145"/>
                <a:gd name="T23" fmla="*/ 46 h 97"/>
                <a:gd name="T24" fmla="*/ 120 w 145"/>
                <a:gd name="T25" fmla="*/ 47 h 97"/>
                <a:gd name="T26" fmla="*/ 129 w 145"/>
                <a:gd name="T27" fmla="*/ 45 h 97"/>
                <a:gd name="T28" fmla="*/ 135 w 145"/>
                <a:gd name="T29" fmla="*/ 43 h 97"/>
                <a:gd name="T30" fmla="*/ 135 w 145"/>
                <a:gd name="T31" fmla="*/ 42 h 97"/>
                <a:gd name="T32" fmla="*/ 135 w 145"/>
                <a:gd name="T33" fmla="*/ 37 h 97"/>
                <a:gd name="T34" fmla="*/ 144 w 145"/>
                <a:gd name="T35" fmla="*/ 30 h 97"/>
                <a:gd name="T36" fmla="*/ 144 w 145"/>
                <a:gd name="T37" fmla="*/ 27 h 97"/>
                <a:gd name="T38" fmla="*/ 135 w 145"/>
                <a:gd name="T39" fmla="*/ 23 h 97"/>
                <a:gd name="T40" fmla="*/ 126 w 145"/>
                <a:gd name="T41" fmla="*/ 18 h 97"/>
                <a:gd name="T42" fmla="*/ 116 w 145"/>
                <a:gd name="T43" fmla="*/ 16 h 97"/>
                <a:gd name="T44" fmla="*/ 116 w 145"/>
                <a:gd name="T45" fmla="*/ 14 h 97"/>
                <a:gd name="T46" fmla="*/ 116 w 145"/>
                <a:gd name="T47" fmla="*/ 7 h 97"/>
                <a:gd name="T48" fmla="*/ 115 w 145"/>
                <a:gd name="T49" fmla="*/ 4 h 97"/>
                <a:gd name="T50" fmla="*/ 106 w 145"/>
                <a:gd name="T51" fmla="*/ 0 h 97"/>
                <a:gd name="T52" fmla="*/ 103 w 145"/>
                <a:gd name="T53" fmla="*/ 0 h 97"/>
                <a:gd name="T54" fmla="*/ 96 w 145"/>
                <a:gd name="T55" fmla="*/ 11 h 97"/>
                <a:gd name="T56" fmla="*/ 89 w 145"/>
                <a:gd name="T57" fmla="*/ 21 h 97"/>
                <a:gd name="T58" fmla="*/ 83 w 145"/>
                <a:gd name="T59" fmla="*/ 29 h 97"/>
                <a:gd name="T60" fmla="*/ 81 w 145"/>
                <a:gd name="T61" fmla="*/ 32 h 97"/>
                <a:gd name="T62" fmla="*/ 78 w 145"/>
                <a:gd name="T63" fmla="*/ 33 h 97"/>
                <a:gd name="T64" fmla="*/ 81 w 145"/>
                <a:gd name="T65" fmla="*/ 42 h 97"/>
                <a:gd name="T66" fmla="*/ 81 w 145"/>
                <a:gd name="T67" fmla="*/ 47 h 97"/>
                <a:gd name="T68" fmla="*/ 80 w 145"/>
                <a:gd name="T69" fmla="*/ 49 h 97"/>
                <a:gd name="T70" fmla="*/ 76 w 145"/>
                <a:gd name="T71" fmla="*/ 45 h 97"/>
                <a:gd name="T72" fmla="*/ 74 w 145"/>
                <a:gd name="T73" fmla="*/ 43 h 97"/>
                <a:gd name="T74" fmla="*/ 71 w 145"/>
                <a:gd name="T75" fmla="*/ 46 h 97"/>
                <a:gd name="T76" fmla="*/ 68 w 145"/>
                <a:gd name="T77" fmla="*/ 50 h 97"/>
                <a:gd name="T78" fmla="*/ 61 w 145"/>
                <a:gd name="T79" fmla="*/ 47 h 97"/>
                <a:gd name="T80" fmla="*/ 54 w 145"/>
                <a:gd name="T81" fmla="*/ 53 h 97"/>
                <a:gd name="T82" fmla="*/ 47 w 145"/>
                <a:gd name="T83" fmla="*/ 59 h 97"/>
                <a:gd name="T84" fmla="*/ 45 w 145"/>
                <a:gd name="T85" fmla="*/ 59 h 97"/>
                <a:gd name="T86" fmla="*/ 45 w 145"/>
                <a:gd name="T87" fmla="*/ 63 h 97"/>
                <a:gd name="T88" fmla="*/ 44 w 145"/>
                <a:gd name="T89" fmla="*/ 65 h 97"/>
                <a:gd name="T90" fmla="*/ 22 w 145"/>
                <a:gd name="T91" fmla="*/ 66 h 97"/>
                <a:gd name="T92" fmla="*/ 18 w 145"/>
                <a:gd name="T93" fmla="*/ 78 h 97"/>
                <a:gd name="T94" fmla="*/ 13 w 145"/>
                <a:gd name="T95" fmla="*/ 88 h 97"/>
                <a:gd name="T96" fmla="*/ 6 w 145"/>
                <a:gd name="T97" fmla="*/ 88 h 97"/>
                <a:gd name="T98" fmla="*/ 0 w 145"/>
                <a:gd name="T99" fmla="*/ 88 h 97"/>
                <a:gd name="T100" fmla="*/ 0 w 145"/>
                <a:gd name="T101" fmla="*/ 88 h 97"/>
                <a:gd name="T102" fmla="*/ 10 w 145"/>
                <a:gd name="T10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5" h="97">
                  <a:moveTo>
                    <a:pt x="15" y="97"/>
                  </a:moveTo>
                  <a:lnTo>
                    <a:pt x="15" y="97"/>
                  </a:lnTo>
                  <a:lnTo>
                    <a:pt x="25" y="97"/>
                  </a:lnTo>
                  <a:lnTo>
                    <a:pt x="31" y="94"/>
                  </a:lnTo>
                  <a:lnTo>
                    <a:pt x="35" y="89"/>
                  </a:lnTo>
                  <a:lnTo>
                    <a:pt x="39" y="87"/>
                  </a:lnTo>
                  <a:lnTo>
                    <a:pt x="39" y="87"/>
                  </a:lnTo>
                  <a:lnTo>
                    <a:pt x="44" y="87"/>
                  </a:lnTo>
                  <a:lnTo>
                    <a:pt x="48" y="89"/>
                  </a:lnTo>
                  <a:lnTo>
                    <a:pt x="54" y="92"/>
                  </a:lnTo>
                  <a:lnTo>
                    <a:pt x="58" y="92"/>
                  </a:lnTo>
                  <a:lnTo>
                    <a:pt x="58" y="92"/>
                  </a:lnTo>
                  <a:lnTo>
                    <a:pt x="61" y="92"/>
                  </a:lnTo>
                  <a:lnTo>
                    <a:pt x="64" y="89"/>
                  </a:lnTo>
                  <a:lnTo>
                    <a:pt x="73" y="81"/>
                  </a:lnTo>
                  <a:lnTo>
                    <a:pt x="80" y="71"/>
                  </a:lnTo>
                  <a:lnTo>
                    <a:pt x="84" y="62"/>
                  </a:lnTo>
                  <a:lnTo>
                    <a:pt x="84" y="62"/>
                  </a:lnTo>
                  <a:lnTo>
                    <a:pt x="87" y="56"/>
                  </a:lnTo>
                  <a:lnTo>
                    <a:pt x="92" y="52"/>
                  </a:lnTo>
                  <a:lnTo>
                    <a:pt x="96" y="47"/>
                  </a:lnTo>
                  <a:lnTo>
                    <a:pt x="100" y="46"/>
                  </a:lnTo>
                  <a:lnTo>
                    <a:pt x="100" y="46"/>
                  </a:lnTo>
                  <a:lnTo>
                    <a:pt x="107" y="46"/>
                  </a:lnTo>
                  <a:lnTo>
                    <a:pt x="119" y="47"/>
                  </a:lnTo>
                  <a:lnTo>
                    <a:pt x="120" y="47"/>
                  </a:lnTo>
                  <a:lnTo>
                    <a:pt x="120" y="47"/>
                  </a:lnTo>
                  <a:lnTo>
                    <a:pt x="129" y="45"/>
                  </a:lnTo>
                  <a:lnTo>
                    <a:pt x="134" y="43"/>
                  </a:lnTo>
                  <a:lnTo>
                    <a:pt x="135" y="43"/>
                  </a:lnTo>
                  <a:lnTo>
                    <a:pt x="135" y="42"/>
                  </a:lnTo>
                  <a:lnTo>
                    <a:pt x="135" y="42"/>
                  </a:lnTo>
                  <a:lnTo>
                    <a:pt x="135" y="40"/>
                  </a:lnTo>
                  <a:lnTo>
                    <a:pt x="135" y="37"/>
                  </a:lnTo>
                  <a:lnTo>
                    <a:pt x="139" y="33"/>
                  </a:lnTo>
                  <a:lnTo>
                    <a:pt x="144" y="30"/>
                  </a:lnTo>
                  <a:lnTo>
                    <a:pt x="145" y="29"/>
                  </a:lnTo>
                  <a:lnTo>
                    <a:pt x="144" y="27"/>
                  </a:lnTo>
                  <a:lnTo>
                    <a:pt x="144" y="27"/>
                  </a:lnTo>
                  <a:lnTo>
                    <a:pt x="135" y="23"/>
                  </a:lnTo>
                  <a:lnTo>
                    <a:pt x="126" y="18"/>
                  </a:lnTo>
                  <a:lnTo>
                    <a:pt x="126" y="18"/>
                  </a:lnTo>
                  <a:lnTo>
                    <a:pt x="118" y="17"/>
                  </a:lnTo>
                  <a:lnTo>
                    <a:pt x="116" y="16"/>
                  </a:lnTo>
                  <a:lnTo>
                    <a:pt x="116" y="14"/>
                  </a:lnTo>
                  <a:lnTo>
                    <a:pt x="116" y="14"/>
                  </a:lnTo>
                  <a:lnTo>
                    <a:pt x="116" y="10"/>
                  </a:lnTo>
                  <a:lnTo>
                    <a:pt x="116" y="7"/>
                  </a:lnTo>
                  <a:lnTo>
                    <a:pt x="115" y="4"/>
                  </a:lnTo>
                  <a:lnTo>
                    <a:pt x="115" y="4"/>
                  </a:lnTo>
                  <a:lnTo>
                    <a:pt x="109" y="1"/>
                  </a:lnTo>
                  <a:lnTo>
                    <a:pt x="106" y="0"/>
                  </a:lnTo>
                  <a:lnTo>
                    <a:pt x="103" y="0"/>
                  </a:lnTo>
                  <a:lnTo>
                    <a:pt x="103" y="0"/>
                  </a:lnTo>
                  <a:lnTo>
                    <a:pt x="100" y="4"/>
                  </a:lnTo>
                  <a:lnTo>
                    <a:pt x="96" y="11"/>
                  </a:lnTo>
                  <a:lnTo>
                    <a:pt x="89" y="21"/>
                  </a:lnTo>
                  <a:lnTo>
                    <a:pt x="89" y="21"/>
                  </a:lnTo>
                  <a:lnTo>
                    <a:pt x="86" y="24"/>
                  </a:lnTo>
                  <a:lnTo>
                    <a:pt x="83" y="29"/>
                  </a:lnTo>
                  <a:lnTo>
                    <a:pt x="83" y="29"/>
                  </a:lnTo>
                  <a:lnTo>
                    <a:pt x="81" y="32"/>
                  </a:lnTo>
                  <a:lnTo>
                    <a:pt x="78" y="33"/>
                  </a:lnTo>
                  <a:lnTo>
                    <a:pt x="78" y="33"/>
                  </a:lnTo>
                  <a:lnTo>
                    <a:pt x="78" y="33"/>
                  </a:lnTo>
                  <a:lnTo>
                    <a:pt x="81" y="42"/>
                  </a:lnTo>
                  <a:lnTo>
                    <a:pt x="81" y="47"/>
                  </a:lnTo>
                  <a:lnTo>
                    <a:pt x="81" y="47"/>
                  </a:lnTo>
                  <a:lnTo>
                    <a:pt x="80" y="49"/>
                  </a:lnTo>
                  <a:lnTo>
                    <a:pt x="80" y="49"/>
                  </a:lnTo>
                  <a:lnTo>
                    <a:pt x="77" y="47"/>
                  </a:lnTo>
                  <a:lnTo>
                    <a:pt x="76" y="45"/>
                  </a:lnTo>
                  <a:lnTo>
                    <a:pt x="74" y="43"/>
                  </a:lnTo>
                  <a:lnTo>
                    <a:pt x="74" y="43"/>
                  </a:lnTo>
                  <a:lnTo>
                    <a:pt x="73" y="43"/>
                  </a:lnTo>
                  <a:lnTo>
                    <a:pt x="71" y="46"/>
                  </a:lnTo>
                  <a:lnTo>
                    <a:pt x="68" y="50"/>
                  </a:lnTo>
                  <a:lnTo>
                    <a:pt x="68" y="50"/>
                  </a:lnTo>
                  <a:lnTo>
                    <a:pt x="65" y="50"/>
                  </a:lnTo>
                  <a:lnTo>
                    <a:pt x="61" y="47"/>
                  </a:lnTo>
                  <a:lnTo>
                    <a:pt x="61" y="47"/>
                  </a:lnTo>
                  <a:lnTo>
                    <a:pt x="54" y="53"/>
                  </a:lnTo>
                  <a:lnTo>
                    <a:pt x="50" y="58"/>
                  </a:lnTo>
                  <a:lnTo>
                    <a:pt x="47" y="59"/>
                  </a:lnTo>
                  <a:lnTo>
                    <a:pt x="47" y="59"/>
                  </a:lnTo>
                  <a:lnTo>
                    <a:pt x="45" y="59"/>
                  </a:lnTo>
                  <a:lnTo>
                    <a:pt x="45" y="62"/>
                  </a:lnTo>
                  <a:lnTo>
                    <a:pt x="45" y="63"/>
                  </a:lnTo>
                  <a:lnTo>
                    <a:pt x="44" y="65"/>
                  </a:lnTo>
                  <a:lnTo>
                    <a:pt x="44" y="65"/>
                  </a:lnTo>
                  <a:lnTo>
                    <a:pt x="22" y="66"/>
                  </a:lnTo>
                  <a:lnTo>
                    <a:pt x="22" y="66"/>
                  </a:lnTo>
                  <a:lnTo>
                    <a:pt x="21" y="71"/>
                  </a:lnTo>
                  <a:lnTo>
                    <a:pt x="18" y="78"/>
                  </a:lnTo>
                  <a:lnTo>
                    <a:pt x="15" y="85"/>
                  </a:lnTo>
                  <a:lnTo>
                    <a:pt x="13" y="88"/>
                  </a:lnTo>
                  <a:lnTo>
                    <a:pt x="13" y="88"/>
                  </a:lnTo>
                  <a:lnTo>
                    <a:pt x="6" y="88"/>
                  </a:lnTo>
                  <a:lnTo>
                    <a:pt x="3" y="88"/>
                  </a:lnTo>
                  <a:lnTo>
                    <a:pt x="0" y="88"/>
                  </a:lnTo>
                  <a:lnTo>
                    <a:pt x="0" y="88"/>
                  </a:lnTo>
                  <a:lnTo>
                    <a:pt x="0" y="88"/>
                  </a:lnTo>
                  <a:lnTo>
                    <a:pt x="8" y="94"/>
                  </a:lnTo>
                  <a:lnTo>
                    <a:pt x="10" y="97"/>
                  </a:lnTo>
                  <a:lnTo>
                    <a:pt x="15" y="9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51" name="Freeform 700"/>
            <p:cNvSpPr>
              <a:spLocks/>
            </p:cNvSpPr>
            <p:nvPr/>
          </p:nvSpPr>
          <p:spPr bwMode="auto">
            <a:xfrm>
              <a:off x="7651750" y="4725989"/>
              <a:ext cx="261938" cy="217488"/>
            </a:xfrm>
            <a:custGeom>
              <a:avLst/>
              <a:gdLst>
                <a:gd name="T0" fmla="*/ 164 w 165"/>
                <a:gd name="T1" fmla="*/ 31 h 137"/>
                <a:gd name="T2" fmla="*/ 158 w 165"/>
                <a:gd name="T3" fmla="*/ 28 h 137"/>
                <a:gd name="T4" fmla="*/ 159 w 165"/>
                <a:gd name="T5" fmla="*/ 26 h 137"/>
                <a:gd name="T6" fmla="*/ 155 w 165"/>
                <a:gd name="T7" fmla="*/ 21 h 137"/>
                <a:gd name="T8" fmla="*/ 151 w 165"/>
                <a:gd name="T9" fmla="*/ 27 h 137"/>
                <a:gd name="T10" fmla="*/ 142 w 165"/>
                <a:gd name="T11" fmla="*/ 26 h 137"/>
                <a:gd name="T12" fmla="*/ 133 w 165"/>
                <a:gd name="T13" fmla="*/ 24 h 137"/>
                <a:gd name="T14" fmla="*/ 112 w 165"/>
                <a:gd name="T15" fmla="*/ 14 h 137"/>
                <a:gd name="T16" fmla="*/ 104 w 165"/>
                <a:gd name="T17" fmla="*/ 23 h 137"/>
                <a:gd name="T18" fmla="*/ 97 w 165"/>
                <a:gd name="T19" fmla="*/ 24 h 137"/>
                <a:gd name="T20" fmla="*/ 84 w 165"/>
                <a:gd name="T21" fmla="*/ 23 h 137"/>
                <a:gd name="T22" fmla="*/ 81 w 165"/>
                <a:gd name="T23" fmla="*/ 24 h 137"/>
                <a:gd name="T24" fmla="*/ 88 w 165"/>
                <a:gd name="T25" fmla="*/ 30 h 137"/>
                <a:gd name="T26" fmla="*/ 87 w 165"/>
                <a:gd name="T27" fmla="*/ 34 h 137"/>
                <a:gd name="T28" fmla="*/ 85 w 165"/>
                <a:gd name="T29" fmla="*/ 39 h 137"/>
                <a:gd name="T30" fmla="*/ 74 w 165"/>
                <a:gd name="T31" fmla="*/ 44 h 137"/>
                <a:gd name="T32" fmla="*/ 71 w 165"/>
                <a:gd name="T33" fmla="*/ 40 h 137"/>
                <a:gd name="T34" fmla="*/ 72 w 165"/>
                <a:gd name="T35" fmla="*/ 37 h 137"/>
                <a:gd name="T36" fmla="*/ 58 w 165"/>
                <a:gd name="T37" fmla="*/ 28 h 137"/>
                <a:gd name="T38" fmla="*/ 57 w 165"/>
                <a:gd name="T39" fmla="*/ 26 h 137"/>
                <a:gd name="T40" fmla="*/ 58 w 165"/>
                <a:gd name="T41" fmla="*/ 17 h 137"/>
                <a:gd name="T42" fmla="*/ 52 w 165"/>
                <a:gd name="T43" fmla="*/ 10 h 137"/>
                <a:gd name="T44" fmla="*/ 23 w 165"/>
                <a:gd name="T45" fmla="*/ 1 h 137"/>
                <a:gd name="T46" fmla="*/ 17 w 165"/>
                <a:gd name="T47" fmla="*/ 2 h 137"/>
                <a:gd name="T48" fmla="*/ 12 w 165"/>
                <a:gd name="T49" fmla="*/ 4 h 137"/>
                <a:gd name="T50" fmla="*/ 0 w 165"/>
                <a:gd name="T51" fmla="*/ 0 h 137"/>
                <a:gd name="T52" fmla="*/ 0 w 165"/>
                <a:gd name="T53" fmla="*/ 7 h 137"/>
                <a:gd name="T54" fmla="*/ 6 w 165"/>
                <a:gd name="T55" fmla="*/ 7 h 137"/>
                <a:gd name="T56" fmla="*/ 9 w 165"/>
                <a:gd name="T57" fmla="*/ 8 h 137"/>
                <a:gd name="T58" fmla="*/ 16 w 165"/>
                <a:gd name="T59" fmla="*/ 18 h 137"/>
                <a:gd name="T60" fmla="*/ 32 w 165"/>
                <a:gd name="T61" fmla="*/ 26 h 137"/>
                <a:gd name="T62" fmla="*/ 45 w 165"/>
                <a:gd name="T63" fmla="*/ 27 h 137"/>
                <a:gd name="T64" fmla="*/ 36 w 165"/>
                <a:gd name="T65" fmla="*/ 36 h 137"/>
                <a:gd name="T66" fmla="*/ 25 w 165"/>
                <a:gd name="T67" fmla="*/ 37 h 137"/>
                <a:gd name="T68" fmla="*/ 26 w 165"/>
                <a:gd name="T69" fmla="*/ 39 h 137"/>
                <a:gd name="T70" fmla="*/ 41 w 165"/>
                <a:gd name="T71" fmla="*/ 49 h 137"/>
                <a:gd name="T72" fmla="*/ 36 w 165"/>
                <a:gd name="T73" fmla="*/ 50 h 137"/>
                <a:gd name="T74" fmla="*/ 36 w 165"/>
                <a:gd name="T75" fmla="*/ 57 h 137"/>
                <a:gd name="T76" fmla="*/ 43 w 165"/>
                <a:gd name="T77" fmla="*/ 56 h 137"/>
                <a:gd name="T78" fmla="*/ 48 w 165"/>
                <a:gd name="T79" fmla="*/ 52 h 137"/>
                <a:gd name="T80" fmla="*/ 49 w 165"/>
                <a:gd name="T81" fmla="*/ 46 h 137"/>
                <a:gd name="T82" fmla="*/ 55 w 165"/>
                <a:gd name="T83" fmla="*/ 52 h 137"/>
                <a:gd name="T84" fmla="*/ 75 w 165"/>
                <a:gd name="T85" fmla="*/ 60 h 137"/>
                <a:gd name="T86" fmla="*/ 90 w 165"/>
                <a:gd name="T87" fmla="*/ 66 h 137"/>
                <a:gd name="T88" fmla="*/ 107 w 165"/>
                <a:gd name="T89" fmla="*/ 76 h 137"/>
                <a:gd name="T90" fmla="*/ 120 w 165"/>
                <a:gd name="T91" fmla="*/ 84 h 137"/>
                <a:gd name="T92" fmla="*/ 135 w 165"/>
                <a:gd name="T93" fmla="*/ 104 h 137"/>
                <a:gd name="T94" fmla="*/ 139 w 165"/>
                <a:gd name="T95" fmla="*/ 114 h 137"/>
                <a:gd name="T96" fmla="*/ 127 w 165"/>
                <a:gd name="T97" fmla="*/ 111 h 137"/>
                <a:gd name="T98" fmla="*/ 117 w 165"/>
                <a:gd name="T99" fmla="*/ 121 h 137"/>
                <a:gd name="T100" fmla="*/ 116 w 165"/>
                <a:gd name="T101" fmla="*/ 127 h 137"/>
                <a:gd name="T102" fmla="*/ 125 w 165"/>
                <a:gd name="T103" fmla="*/ 124 h 137"/>
                <a:gd name="T104" fmla="*/ 133 w 165"/>
                <a:gd name="T105" fmla="*/ 121 h 137"/>
                <a:gd name="T106" fmla="*/ 139 w 165"/>
                <a:gd name="T107" fmla="*/ 126 h 137"/>
                <a:gd name="T108" fmla="*/ 146 w 165"/>
                <a:gd name="T109" fmla="*/ 120 h 137"/>
                <a:gd name="T110" fmla="*/ 152 w 165"/>
                <a:gd name="T111" fmla="*/ 121 h 137"/>
                <a:gd name="T112" fmla="*/ 155 w 165"/>
                <a:gd name="T113" fmla="*/ 126 h 137"/>
                <a:gd name="T114" fmla="*/ 165 w 165"/>
                <a:gd name="T115" fmla="*/ 11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5" h="137">
                  <a:moveTo>
                    <a:pt x="162" y="99"/>
                  </a:moveTo>
                  <a:lnTo>
                    <a:pt x="164" y="88"/>
                  </a:lnTo>
                  <a:lnTo>
                    <a:pt x="164" y="31"/>
                  </a:lnTo>
                  <a:lnTo>
                    <a:pt x="164" y="31"/>
                  </a:lnTo>
                  <a:lnTo>
                    <a:pt x="159" y="30"/>
                  </a:lnTo>
                  <a:lnTo>
                    <a:pt x="158" y="28"/>
                  </a:lnTo>
                  <a:lnTo>
                    <a:pt x="158" y="28"/>
                  </a:lnTo>
                  <a:lnTo>
                    <a:pt x="158" y="28"/>
                  </a:lnTo>
                  <a:lnTo>
                    <a:pt x="159" y="26"/>
                  </a:lnTo>
                  <a:lnTo>
                    <a:pt x="158" y="24"/>
                  </a:lnTo>
                  <a:lnTo>
                    <a:pt x="156" y="21"/>
                  </a:lnTo>
                  <a:lnTo>
                    <a:pt x="155" y="21"/>
                  </a:lnTo>
                  <a:lnTo>
                    <a:pt x="155" y="21"/>
                  </a:lnTo>
                  <a:lnTo>
                    <a:pt x="152" y="26"/>
                  </a:lnTo>
                  <a:lnTo>
                    <a:pt x="151" y="27"/>
                  </a:lnTo>
                  <a:lnTo>
                    <a:pt x="148" y="28"/>
                  </a:lnTo>
                  <a:lnTo>
                    <a:pt x="148" y="28"/>
                  </a:lnTo>
                  <a:lnTo>
                    <a:pt x="142" y="26"/>
                  </a:lnTo>
                  <a:lnTo>
                    <a:pt x="138" y="24"/>
                  </a:lnTo>
                  <a:lnTo>
                    <a:pt x="133" y="24"/>
                  </a:lnTo>
                  <a:lnTo>
                    <a:pt x="133" y="24"/>
                  </a:lnTo>
                  <a:lnTo>
                    <a:pt x="127" y="21"/>
                  </a:lnTo>
                  <a:lnTo>
                    <a:pt x="120" y="18"/>
                  </a:lnTo>
                  <a:lnTo>
                    <a:pt x="112" y="14"/>
                  </a:lnTo>
                  <a:lnTo>
                    <a:pt x="112" y="14"/>
                  </a:lnTo>
                  <a:lnTo>
                    <a:pt x="107" y="20"/>
                  </a:lnTo>
                  <a:lnTo>
                    <a:pt x="104" y="23"/>
                  </a:lnTo>
                  <a:lnTo>
                    <a:pt x="101" y="24"/>
                  </a:lnTo>
                  <a:lnTo>
                    <a:pt x="101" y="24"/>
                  </a:lnTo>
                  <a:lnTo>
                    <a:pt x="97" y="24"/>
                  </a:lnTo>
                  <a:lnTo>
                    <a:pt x="91" y="23"/>
                  </a:lnTo>
                  <a:lnTo>
                    <a:pt x="91" y="23"/>
                  </a:lnTo>
                  <a:lnTo>
                    <a:pt x="84" y="23"/>
                  </a:lnTo>
                  <a:lnTo>
                    <a:pt x="81" y="24"/>
                  </a:lnTo>
                  <a:lnTo>
                    <a:pt x="81" y="24"/>
                  </a:lnTo>
                  <a:lnTo>
                    <a:pt x="81" y="24"/>
                  </a:lnTo>
                  <a:lnTo>
                    <a:pt x="87" y="27"/>
                  </a:lnTo>
                  <a:lnTo>
                    <a:pt x="88" y="28"/>
                  </a:lnTo>
                  <a:lnTo>
                    <a:pt x="88" y="30"/>
                  </a:lnTo>
                  <a:lnTo>
                    <a:pt x="88" y="30"/>
                  </a:lnTo>
                  <a:lnTo>
                    <a:pt x="87" y="31"/>
                  </a:lnTo>
                  <a:lnTo>
                    <a:pt x="87" y="34"/>
                  </a:lnTo>
                  <a:lnTo>
                    <a:pt x="87" y="37"/>
                  </a:lnTo>
                  <a:lnTo>
                    <a:pt x="85" y="39"/>
                  </a:lnTo>
                  <a:lnTo>
                    <a:pt x="85" y="39"/>
                  </a:lnTo>
                  <a:lnTo>
                    <a:pt x="80" y="43"/>
                  </a:lnTo>
                  <a:lnTo>
                    <a:pt x="77" y="44"/>
                  </a:lnTo>
                  <a:lnTo>
                    <a:pt x="74" y="44"/>
                  </a:lnTo>
                  <a:lnTo>
                    <a:pt x="74" y="44"/>
                  </a:lnTo>
                  <a:lnTo>
                    <a:pt x="71" y="43"/>
                  </a:lnTo>
                  <a:lnTo>
                    <a:pt x="71" y="40"/>
                  </a:lnTo>
                  <a:lnTo>
                    <a:pt x="72" y="37"/>
                  </a:lnTo>
                  <a:lnTo>
                    <a:pt x="72" y="37"/>
                  </a:lnTo>
                  <a:lnTo>
                    <a:pt x="72" y="37"/>
                  </a:lnTo>
                  <a:lnTo>
                    <a:pt x="65" y="33"/>
                  </a:lnTo>
                  <a:lnTo>
                    <a:pt x="58" y="28"/>
                  </a:lnTo>
                  <a:lnTo>
                    <a:pt x="58" y="28"/>
                  </a:lnTo>
                  <a:lnTo>
                    <a:pt x="57" y="28"/>
                  </a:lnTo>
                  <a:lnTo>
                    <a:pt x="55" y="27"/>
                  </a:lnTo>
                  <a:lnTo>
                    <a:pt x="57" y="26"/>
                  </a:lnTo>
                  <a:lnTo>
                    <a:pt x="58" y="21"/>
                  </a:lnTo>
                  <a:lnTo>
                    <a:pt x="58" y="20"/>
                  </a:lnTo>
                  <a:lnTo>
                    <a:pt x="58" y="17"/>
                  </a:lnTo>
                  <a:lnTo>
                    <a:pt x="58" y="17"/>
                  </a:lnTo>
                  <a:lnTo>
                    <a:pt x="55" y="13"/>
                  </a:lnTo>
                  <a:lnTo>
                    <a:pt x="52" y="10"/>
                  </a:lnTo>
                  <a:lnTo>
                    <a:pt x="46" y="5"/>
                  </a:lnTo>
                  <a:lnTo>
                    <a:pt x="46" y="5"/>
                  </a:lnTo>
                  <a:lnTo>
                    <a:pt x="23" y="1"/>
                  </a:lnTo>
                  <a:lnTo>
                    <a:pt x="23" y="1"/>
                  </a:lnTo>
                  <a:lnTo>
                    <a:pt x="20" y="2"/>
                  </a:lnTo>
                  <a:lnTo>
                    <a:pt x="17" y="2"/>
                  </a:lnTo>
                  <a:lnTo>
                    <a:pt x="15" y="4"/>
                  </a:lnTo>
                  <a:lnTo>
                    <a:pt x="12" y="4"/>
                  </a:lnTo>
                  <a:lnTo>
                    <a:pt x="12" y="4"/>
                  </a:lnTo>
                  <a:lnTo>
                    <a:pt x="4" y="1"/>
                  </a:lnTo>
                  <a:lnTo>
                    <a:pt x="1" y="0"/>
                  </a:lnTo>
                  <a:lnTo>
                    <a:pt x="0" y="0"/>
                  </a:lnTo>
                  <a:lnTo>
                    <a:pt x="0" y="0"/>
                  </a:lnTo>
                  <a:lnTo>
                    <a:pt x="0" y="4"/>
                  </a:lnTo>
                  <a:lnTo>
                    <a:pt x="0" y="7"/>
                  </a:lnTo>
                  <a:lnTo>
                    <a:pt x="3" y="7"/>
                  </a:lnTo>
                  <a:lnTo>
                    <a:pt x="3" y="7"/>
                  </a:lnTo>
                  <a:lnTo>
                    <a:pt x="6" y="7"/>
                  </a:lnTo>
                  <a:lnTo>
                    <a:pt x="6" y="7"/>
                  </a:lnTo>
                  <a:lnTo>
                    <a:pt x="7" y="7"/>
                  </a:lnTo>
                  <a:lnTo>
                    <a:pt x="9" y="8"/>
                  </a:lnTo>
                  <a:lnTo>
                    <a:pt x="9" y="8"/>
                  </a:lnTo>
                  <a:lnTo>
                    <a:pt x="13" y="15"/>
                  </a:lnTo>
                  <a:lnTo>
                    <a:pt x="16" y="18"/>
                  </a:lnTo>
                  <a:lnTo>
                    <a:pt x="23" y="21"/>
                  </a:lnTo>
                  <a:lnTo>
                    <a:pt x="23" y="21"/>
                  </a:lnTo>
                  <a:lnTo>
                    <a:pt x="32" y="26"/>
                  </a:lnTo>
                  <a:lnTo>
                    <a:pt x="39" y="26"/>
                  </a:lnTo>
                  <a:lnTo>
                    <a:pt x="45" y="27"/>
                  </a:lnTo>
                  <a:lnTo>
                    <a:pt x="45" y="27"/>
                  </a:lnTo>
                  <a:lnTo>
                    <a:pt x="42" y="31"/>
                  </a:lnTo>
                  <a:lnTo>
                    <a:pt x="39" y="34"/>
                  </a:lnTo>
                  <a:lnTo>
                    <a:pt x="36" y="36"/>
                  </a:lnTo>
                  <a:lnTo>
                    <a:pt x="36" y="36"/>
                  </a:lnTo>
                  <a:lnTo>
                    <a:pt x="28" y="36"/>
                  </a:lnTo>
                  <a:lnTo>
                    <a:pt x="25" y="37"/>
                  </a:lnTo>
                  <a:lnTo>
                    <a:pt x="25" y="39"/>
                  </a:lnTo>
                  <a:lnTo>
                    <a:pt x="26" y="39"/>
                  </a:lnTo>
                  <a:lnTo>
                    <a:pt x="26" y="39"/>
                  </a:lnTo>
                  <a:lnTo>
                    <a:pt x="36" y="44"/>
                  </a:lnTo>
                  <a:lnTo>
                    <a:pt x="39" y="47"/>
                  </a:lnTo>
                  <a:lnTo>
                    <a:pt x="41" y="49"/>
                  </a:lnTo>
                  <a:lnTo>
                    <a:pt x="39" y="49"/>
                  </a:lnTo>
                  <a:lnTo>
                    <a:pt x="39" y="49"/>
                  </a:lnTo>
                  <a:lnTo>
                    <a:pt x="36" y="50"/>
                  </a:lnTo>
                  <a:lnTo>
                    <a:pt x="35" y="52"/>
                  </a:lnTo>
                  <a:lnTo>
                    <a:pt x="35" y="55"/>
                  </a:lnTo>
                  <a:lnTo>
                    <a:pt x="36" y="57"/>
                  </a:lnTo>
                  <a:lnTo>
                    <a:pt x="36" y="57"/>
                  </a:lnTo>
                  <a:lnTo>
                    <a:pt x="41" y="57"/>
                  </a:lnTo>
                  <a:lnTo>
                    <a:pt x="43" y="56"/>
                  </a:lnTo>
                  <a:lnTo>
                    <a:pt x="46" y="55"/>
                  </a:lnTo>
                  <a:lnTo>
                    <a:pt x="48" y="52"/>
                  </a:lnTo>
                  <a:lnTo>
                    <a:pt x="48" y="52"/>
                  </a:lnTo>
                  <a:lnTo>
                    <a:pt x="46" y="46"/>
                  </a:lnTo>
                  <a:lnTo>
                    <a:pt x="46" y="44"/>
                  </a:lnTo>
                  <a:lnTo>
                    <a:pt x="49" y="46"/>
                  </a:lnTo>
                  <a:lnTo>
                    <a:pt x="49" y="46"/>
                  </a:lnTo>
                  <a:lnTo>
                    <a:pt x="52" y="50"/>
                  </a:lnTo>
                  <a:lnTo>
                    <a:pt x="55" y="52"/>
                  </a:lnTo>
                  <a:lnTo>
                    <a:pt x="59" y="55"/>
                  </a:lnTo>
                  <a:lnTo>
                    <a:pt x="59" y="55"/>
                  </a:lnTo>
                  <a:lnTo>
                    <a:pt x="75" y="60"/>
                  </a:lnTo>
                  <a:lnTo>
                    <a:pt x="83" y="63"/>
                  </a:lnTo>
                  <a:lnTo>
                    <a:pt x="90" y="66"/>
                  </a:lnTo>
                  <a:lnTo>
                    <a:pt x="90" y="66"/>
                  </a:lnTo>
                  <a:lnTo>
                    <a:pt x="99" y="72"/>
                  </a:lnTo>
                  <a:lnTo>
                    <a:pt x="107" y="76"/>
                  </a:lnTo>
                  <a:lnTo>
                    <a:pt x="107" y="76"/>
                  </a:lnTo>
                  <a:lnTo>
                    <a:pt x="110" y="76"/>
                  </a:lnTo>
                  <a:lnTo>
                    <a:pt x="116" y="79"/>
                  </a:lnTo>
                  <a:lnTo>
                    <a:pt x="120" y="84"/>
                  </a:lnTo>
                  <a:lnTo>
                    <a:pt x="125" y="89"/>
                  </a:lnTo>
                  <a:lnTo>
                    <a:pt x="125" y="89"/>
                  </a:lnTo>
                  <a:lnTo>
                    <a:pt x="135" y="104"/>
                  </a:lnTo>
                  <a:lnTo>
                    <a:pt x="139" y="111"/>
                  </a:lnTo>
                  <a:lnTo>
                    <a:pt x="139" y="113"/>
                  </a:lnTo>
                  <a:lnTo>
                    <a:pt x="139" y="114"/>
                  </a:lnTo>
                  <a:lnTo>
                    <a:pt x="139" y="114"/>
                  </a:lnTo>
                  <a:lnTo>
                    <a:pt x="132" y="113"/>
                  </a:lnTo>
                  <a:lnTo>
                    <a:pt x="127" y="111"/>
                  </a:lnTo>
                  <a:lnTo>
                    <a:pt x="125" y="114"/>
                  </a:lnTo>
                  <a:lnTo>
                    <a:pt x="125" y="114"/>
                  </a:lnTo>
                  <a:lnTo>
                    <a:pt x="117" y="121"/>
                  </a:lnTo>
                  <a:lnTo>
                    <a:pt x="114" y="126"/>
                  </a:lnTo>
                  <a:lnTo>
                    <a:pt x="114" y="127"/>
                  </a:lnTo>
                  <a:lnTo>
                    <a:pt x="116" y="127"/>
                  </a:lnTo>
                  <a:lnTo>
                    <a:pt x="116" y="127"/>
                  </a:lnTo>
                  <a:lnTo>
                    <a:pt x="119" y="126"/>
                  </a:lnTo>
                  <a:lnTo>
                    <a:pt x="125" y="124"/>
                  </a:lnTo>
                  <a:lnTo>
                    <a:pt x="130" y="121"/>
                  </a:lnTo>
                  <a:lnTo>
                    <a:pt x="133" y="121"/>
                  </a:lnTo>
                  <a:lnTo>
                    <a:pt x="133" y="121"/>
                  </a:lnTo>
                  <a:lnTo>
                    <a:pt x="135" y="124"/>
                  </a:lnTo>
                  <a:lnTo>
                    <a:pt x="136" y="126"/>
                  </a:lnTo>
                  <a:lnTo>
                    <a:pt x="139" y="126"/>
                  </a:lnTo>
                  <a:lnTo>
                    <a:pt x="139" y="126"/>
                  </a:lnTo>
                  <a:lnTo>
                    <a:pt x="143" y="121"/>
                  </a:lnTo>
                  <a:lnTo>
                    <a:pt x="146" y="120"/>
                  </a:lnTo>
                  <a:lnTo>
                    <a:pt x="148" y="120"/>
                  </a:lnTo>
                  <a:lnTo>
                    <a:pt x="148" y="120"/>
                  </a:lnTo>
                  <a:lnTo>
                    <a:pt x="152" y="121"/>
                  </a:lnTo>
                  <a:lnTo>
                    <a:pt x="154" y="123"/>
                  </a:lnTo>
                  <a:lnTo>
                    <a:pt x="155" y="126"/>
                  </a:lnTo>
                  <a:lnTo>
                    <a:pt x="155" y="126"/>
                  </a:lnTo>
                  <a:lnTo>
                    <a:pt x="158" y="131"/>
                  </a:lnTo>
                  <a:lnTo>
                    <a:pt x="165" y="137"/>
                  </a:lnTo>
                  <a:lnTo>
                    <a:pt x="165" y="111"/>
                  </a:lnTo>
                  <a:lnTo>
                    <a:pt x="162" y="99"/>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52" name="Freeform 701"/>
            <p:cNvSpPr>
              <a:spLocks/>
            </p:cNvSpPr>
            <p:nvPr/>
          </p:nvSpPr>
          <p:spPr bwMode="auto">
            <a:xfrm>
              <a:off x="7908925" y="4775201"/>
              <a:ext cx="260350" cy="212725"/>
            </a:xfrm>
            <a:custGeom>
              <a:avLst/>
              <a:gdLst>
                <a:gd name="T0" fmla="*/ 162 w 164"/>
                <a:gd name="T1" fmla="*/ 129 h 134"/>
                <a:gd name="T2" fmla="*/ 148 w 164"/>
                <a:gd name="T3" fmla="*/ 119 h 134"/>
                <a:gd name="T4" fmla="*/ 138 w 164"/>
                <a:gd name="T5" fmla="*/ 110 h 134"/>
                <a:gd name="T6" fmla="*/ 129 w 164"/>
                <a:gd name="T7" fmla="*/ 105 h 134"/>
                <a:gd name="T8" fmla="*/ 123 w 164"/>
                <a:gd name="T9" fmla="*/ 100 h 134"/>
                <a:gd name="T10" fmla="*/ 118 w 164"/>
                <a:gd name="T11" fmla="*/ 90 h 134"/>
                <a:gd name="T12" fmla="*/ 102 w 164"/>
                <a:gd name="T13" fmla="*/ 70 h 134"/>
                <a:gd name="T14" fmla="*/ 102 w 164"/>
                <a:gd name="T15" fmla="*/ 68 h 134"/>
                <a:gd name="T16" fmla="*/ 112 w 164"/>
                <a:gd name="T17" fmla="*/ 68 h 134"/>
                <a:gd name="T18" fmla="*/ 118 w 164"/>
                <a:gd name="T19" fmla="*/ 67 h 134"/>
                <a:gd name="T20" fmla="*/ 118 w 164"/>
                <a:gd name="T21" fmla="*/ 67 h 134"/>
                <a:gd name="T22" fmla="*/ 107 w 164"/>
                <a:gd name="T23" fmla="*/ 55 h 134"/>
                <a:gd name="T24" fmla="*/ 102 w 164"/>
                <a:gd name="T25" fmla="*/ 53 h 134"/>
                <a:gd name="T26" fmla="*/ 84 w 164"/>
                <a:gd name="T27" fmla="*/ 48 h 134"/>
                <a:gd name="T28" fmla="*/ 81 w 164"/>
                <a:gd name="T29" fmla="*/ 47 h 134"/>
                <a:gd name="T30" fmla="*/ 81 w 164"/>
                <a:gd name="T31" fmla="*/ 41 h 134"/>
                <a:gd name="T32" fmla="*/ 77 w 164"/>
                <a:gd name="T33" fmla="*/ 37 h 134"/>
                <a:gd name="T34" fmla="*/ 67 w 164"/>
                <a:gd name="T35" fmla="*/ 29 h 134"/>
                <a:gd name="T36" fmla="*/ 63 w 164"/>
                <a:gd name="T37" fmla="*/ 24 h 134"/>
                <a:gd name="T38" fmla="*/ 54 w 164"/>
                <a:gd name="T39" fmla="*/ 19 h 134"/>
                <a:gd name="T40" fmla="*/ 48 w 164"/>
                <a:gd name="T41" fmla="*/ 18 h 134"/>
                <a:gd name="T42" fmla="*/ 35 w 164"/>
                <a:gd name="T43" fmla="*/ 11 h 134"/>
                <a:gd name="T44" fmla="*/ 21 w 164"/>
                <a:gd name="T45" fmla="*/ 8 h 134"/>
                <a:gd name="T46" fmla="*/ 7 w 164"/>
                <a:gd name="T47" fmla="*/ 3 h 134"/>
                <a:gd name="T48" fmla="*/ 2 w 164"/>
                <a:gd name="T49" fmla="*/ 0 h 134"/>
                <a:gd name="T50" fmla="*/ 0 w 164"/>
                <a:gd name="T51" fmla="*/ 68 h 134"/>
                <a:gd name="T52" fmla="*/ 3 w 164"/>
                <a:gd name="T53" fmla="*/ 106 h 134"/>
                <a:gd name="T54" fmla="*/ 7 w 164"/>
                <a:gd name="T55" fmla="*/ 110 h 134"/>
                <a:gd name="T56" fmla="*/ 10 w 164"/>
                <a:gd name="T57" fmla="*/ 110 h 134"/>
                <a:gd name="T58" fmla="*/ 31 w 164"/>
                <a:gd name="T59" fmla="*/ 109 h 134"/>
                <a:gd name="T60" fmla="*/ 39 w 164"/>
                <a:gd name="T61" fmla="*/ 108 h 134"/>
                <a:gd name="T62" fmla="*/ 42 w 164"/>
                <a:gd name="T63" fmla="*/ 105 h 134"/>
                <a:gd name="T64" fmla="*/ 41 w 164"/>
                <a:gd name="T65" fmla="*/ 103 h 134"/>
                <a:gd name="T66" fmla="*/ 35 w 164"/>
                <a:gd name="T67" fmla="*/ 95 h 134"/>
                <a:gd name="T68" fmla="*/ 36 w 164"/>
                <a:gd name="T69" fmla="*/ 93 h 134"/>
                <a:gd name="T70" fmla="*/ 47 w 164"/>
                <a:gd name="T71" fmla="*/ 92 h 134"/>
                <a:gd name="T72" fmla="*/ 48 w 164"/>
                <a:gd name="T73" fmla="*/ 92 h 134"/>
                <a:gd name="T74" fmla="*/ 49 w 164"/>
                <a:gd name="T75" fmla="*/ 89 h 134"/>
                <a:gd name="T76" fmla="*/ 54 w 164"/>
                <a:gd name="T77" fmla="*/ 86 h 134"/>
                <a:gd name="T78" fmla="*/ 61 w 164"/>
                <a:gd name="T79" fmla="*/ 87 h 134"/>
                <a:gd name="T80" fmla="*/ 67 w 164"/>
                <a:gd name="T81" fmla="*/ 87 h 134"/>
                <a:gd name="T82" fmla="*/ 67 w 164"/>
                <a:gd name="T83" fmla="*/ 87 h 134"/>
                <a:gd name="T84" fmla="*/ 68 w 164"/>
                <a:gd name="T85" fmla="*/ 86 h 134"/>
                <a:gd name="T86" fmla="*/ 73 w 164"/>
                <a:gd name="T87" fmla="*/ 86 h 134"/>
                <a:gd name="T88" fmla="*/ 86 w 164"/>
                <a:gd name="T89" fmla="*/ 89 h 134"/>
                <a:gd name="T90" fmla="*/ 87 w 164"/>
                <a:gd name="T91" fmla="*/ 92 h 134"/>
                <a:gd name="T92" fmla="*/ 93 w 164"/>
                <a:gd name="T93" fmla="*/ 100 h 134"/>
                <a:gd name="T94" fmla="*/ 97 w 164"/>
                <a:gd name="T95" fmla="*/ 108 h 134"/>
                <a:gd name="T96" fmla="*/ 105 w 164"/>
                <a:gd name="T97" fmla="*/ 116 h 134"/>
                <a:gd name="T98" fmla="*/ 120 w 164"/>
                <a:gd name="T99" fmla="*/ 122 h 134"/>
                <a:gd name="T100" fmla="*/ 126 w 164"/>
                <a:gd name="T101" fmla="*/ 122 h 134"/>
                <a:gd name="T102" fmla="*/ 144 w 164"/>
                <a:gd name="T103" fmla="*/ 129 h 134"/>
                <a:gd name="T104" fmla="*/ 147 w 164"/>
                <a:gd name="T105" fmla="*/ 131 h 134"/>
                <a:gd name="T106" fmla="*/ 149 w 164"/>
                <a:gd name="T107" fmla="*/ 134 h 134"/>
                <a:gd name="T108" fmla="*/ 154 w 164"/>
                <a:gd name="T109" fmla="*/ 134 h 134"/>
                <a:gd name="T110" fmla="*/ 164 w 164"/>
                <a:gd name="T111" fmla="*/ 13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4" h="134">
                  <a:moveTo>
                    <a:pt x="162" y="129"/>
                  </a:moveTo>
                  <a:lnTo>
                    <a:pt x="162" y="129"/>
                  </a:lnTo>
                  <a:lnTo>
                    <a:pt x="157" y="125"/>
                  </a:lnTo>
                  <a:lnTo>
                    <a:pt x="148" y="119"/>
                  </a:lnTo>
                  <a:lnTo>
                    <a:pt x="148" y="119"/>
                  </a:lnTo>
                  <a:lnTo>
                    <a:pt x="138" y="110"/>
                  </a:lnTo>
                  <a:lnTo>
                    <a:pt x="129" y="105"/>
                  </a:lnTo>
                  <a:lnTo>
                    <a:pt x="129" y="105"/>
                  </a:lnTo>
                  <a:lnTo>
                    <a:pt x="126" y="103"/>
                  </a:lnTo>
                  <a:lnTo>
                    <a:pt x="123" y="100"/>
                  </a:lnTo>
                  <a:lnTo>
                    <a:pt x="118" y="90"/>
                  </a:lnTo>
                  <a:lnTo>
                    <a:pt x="118" y="90"/>
                  </a:lnTo>
                  <a:lnTo>
                    <a:pt x="106" y="77"/>
                  </a:lnTo>
                  <a:lnTo>
                    <a:pt x="102" y="70"/>
                  </a:lnTo>
                  <a:lnTo>
                    <a:pt x="100" y="68"/>
                  </a:lnTo>
                  <a:lnTo>
                    <a:pt x="102" y="68"/>
                  </a:lnTo>
                  <a:lnTo>
                    <a:pt x="102" y="68"/>
                  </a:lnTo>
                  <a:lnTo>
                    <a:pt x="112" y="68"/>
                  </a:lnTo>
                  <a:lnTo>
                    <a:pt x="116" y="68"/>
                  </a:lnTo>
                  <a:lnTo>
                    <a:pt x="118" y="67"/>
                  </a:lnTo>
                  <a:lnTo>
                    <a:pt x="118" y="67"/>
                  </a:lnTo>
                  <a:lnTo>
                    <a:pt x="118" y="67"/>
                  </a:lnTo>
                  <a:lnTo>
                    <a:pt x="112" y="60"/>
                  </a:lnTo>
                  <a:lnTo>
                    <a:pt x="107" y="55"/>
                  </a:lnTo>
                  <a:lnTo>
                    <a:pt x="102" y="53"/>
                  </a:lnTo>
                  <a:lnTo>
                    <a:pt x="102" y="53"/>
                  </a:lnTo>
                  <a:lnTo>
                    <a:pt x="90" y="51"/>
                  </a:lnTo>
                  <a:lnTo>
                    <a:pt x="84" y="48"/>
                  </a:lnTo>
                  <a:lnTo>
                    <a:pt x="83" y="48"/>
                  </a:lnTo>
                  <a:lnTo>
                    <a:pt x="81" y="47"/>
                  </a:lnTo>
                  <a:lnTo>
                    <a:pt x="81" y="47"/>
                  </a:lnTo>
                  <a:lnTo>
                    <a:pt x="81" y="41"/>
                  </a:lnTo>
                  <a:lnTo>
                    <a:pt x="80" y="39"/>
                  </a:lnTo>
                  <a:lnTo>
                    <a:pt x="77" y="37"/>
                  </a:lnTo>
                  <a:lnTo>
                    <a:pt x="77" y="37"/>
                  </a:lnTo>
                  <a:lnTo>
                    <a:pt x="67" y="29"/>
                  </a:lnTo>
                  <a:lnTo>
                    <a:pt x="63" y="24"/>
                  </a:lnTo>
                  <a:lnTo>
                    <a:pt x="63" y="24"/>
                  </a:lnTo>
                  <a:lnTo>
                    <a:pt x="61" y="21"/>
                  </a:lnTo>
                  <a:lnTo>
                    <a:pt x="54" y="19"/>
                  </a:lnTo>
                  <a:lnTo>
                    <a:pt x="54" y="19"/>
                  </a:lnTo>
                  <a:lnTo>
                    <a:pt x="48" y="18"/>
                  </a:lnTo>
                  <a:lnTo>
                    <a:pt x="44" y="15"/>
                  </a:lnTo>
                  <a:lnTo>
                    <a:pt x="35" y="11"/>
                  </a:lnTo>
                  <a:lnTo>
                    <a:pt x="35" y="11"/>
                  </a:lnTo>
                  <a:lnTo>
                    <a:pt x="21" y="8"/>
                  </a:lnTo>
                  <a:lnTo>
                    <a:pt x="13" y="6"/>
                  </a:lnTo>
                  <a:lnTo>
                    <a:pt x="7" y="3"/>
                  </a:lnTo>
                  <a:lnTo>
                    <a:pt x="7" y="3"/>
                  </a:lnTo>
                  <a:lnTo>
                    <a:pt x="2" y="0"/>
                  </a:lnTo>
                  <a:lnTo>
                    <a:pt x="2" y="57"/>
                  </a:lnTo>
                  <a:lnTo>
                    <a:pt x="0" y="68"/>
                  </a:lnTo>
                  <a:lnTo>
                    <a:pt x="3" y="80"/>
                  </a:lnTo>
                  <a:lnTo>
                    <a:pt x="3" y="106"/>
                  </a:lnTo>
                  <a:lnTo>
                    <a:pt x="3" y="106"/>
                  </a:lnTo>
                  <a:lnTo>
                    <a:pt x="7" y="110"/>
                  </a:lnTo>
                  <a:lnTo>
                    <a:pt x="10" y="110"/>
                  </a:lnTo>
                  <a:lnTo>
                    <a:pt x="10" y="110"/>
                  </a:lnTo>
                  <a:lnTo>
                    <a:pt x="21" y="109"/>
                  </a:lnTo>
                  <a:lnTo>
                    <a:pt x="31" y="109"/>
                  </a:lnTo>
                  <a:lnTo>
                    <a:pt x="31" y="109"/>
                  </a:lnTo>
                  <a:lnTo>
                    <a:pt x="39" y="108"/>
                  </a:lnTo>
                  <a:lnTo>
                    <a:pt x="42" y="106"/>
                  </a:lnTo>
                  <a:lnTo>
                    <a:pt x="42" y="105"/>
                  </a:lnTo>
                  <a:lnTo>
                    <a:pt x="41" y="103"/>
                  </a:lnTo>
                  <a:lnTo>
                    <a:pt x="41" y="103"/>
                  </a:lnTo>
                  <a:lnTo>
                    <a:pt x="36" y="97"/>
                  </a:lnTo>
                  <a:lnTo>
                    <a:pt x="35" y="95"/>
                  </a:lnTo>
                  <a:lnTo>
                    <a:pt x="36" y="93"/>
                  </a:lnTo>
                  <a:lnTo>
                    <a:pt x="36" y="93"/>
                  </a:lnTo>
                  <a:lnTo>
                    <a:pt x="44" y="92"/>
                  </a:lnTo>
                  <a:lnTo>
                    <a:pt x="47" y="92"/>
                  </a:lnTo>
                  <a:lnTo>
                    <a:pt x="48" y="92"/>
                  </a:lnTo>
                  <a:lnTo>
                    <a:pt x="48" y="92"/>
                  </a:lnTo>
                  <a:lnTo>
                    <a:pt x="48" y="90"/>
                  </a:lnTo>
                  <a:lnTo>
                    <a:pt x="49" y="89"/>
                  </a:lnTo>
                  <a:lnTo>
                    <a:pt x="54" y="86"/>
                  </a:lnTo>
                  <a:lnTo>
                    <a:pt x="54" y="86"/>
                  </a:lnTo>
                  <a:lnTo>
                    <a:pt x="57" y="86"/>
                  </a:lnTo>
                  <a:lnTo>
                    <a:pt x="61" y="87"/>
                  </a:lnTo>
                  <a:lnTo>
                    <a:pt x="64" y="87"/>
                  </a:lnTo>
                  <a:lnTo>
                    <a:pt x="67" y="87"/>
                  </a:lnTo>
                  <a:lnTo>
                    <a:pt x="67" y="87"/>
                  </a:lnTo>
                  <a:lnTo>
                    <a:pt x="67" y="87"/>
                  </a:lnTo>
                  <a:lnTo>
                    <a:pt x="67" y="86"/>
                  </a:lnTo>
                  <a:lnTo>
                    <a:pt x="68" y="86"/>
                  </a:lnTo>
                  <a:lnTo>
                    <a:pt x="73" y="86"/>
                  </a:lnTo>
                  <a:lnTo>
                    <a:pt x="73" y="86"/>
                  </a:lnTo>
                  <a:lnTo>
                    <a:pt x="81" y="89"/>
                  </a:lnTo>
                  <a:lnTo>
                    <a:pt x="86" y="89"/>
                  </a:lnTo>
                  <a:lnTo>
                    <a:pt x="86" y="89"/>
                  </a:lnTo>
                  <a:lnTo>
                    <a:pt x="87" y="92"/>
                  </a:lnTo>
                  <a:lnTo>
                    <a:pt x="90" y="96"/>
                  </a:lnTo>
                  <a:lnTo>
                    <a:pt x="93" y="100"/>
                  </a:lnTo>
                  <a:lnTo>
                    <a:pt x="93" y="100"/>
                  </a:lnTo>
                  <a:lnTo>
                    <a:pt x="97" y="108"/>
                  </a:lnTo>
                  <a:lnTo>
                    <a:pt x="105" y="116"/>
                  </a:lnTo>
                  <a:lnTo>
                    <a:pt x="105" y="116"/>
                  </a:lnTo>
                  <a:lnTo>
                    <a:pt x="112" y="121"/>
                  </a:lnTo>
                  <a:lnTo>
                    <a:pt x="120" y="122"/>
                  </a:lnTo>
                  <a:lnTo>
                    <a:pt x="120" y="122"/>
                  </a:lnTo>
                  <a:lnTo>
                    <a:pt x="126" y="122"/>
                  </a:lnTo>
                  <a:lnTo>
                    <a:pt x="133" y="125"/>
                  </a:lnTo>
                  <a:lnTo>
                    <a:pt x="144" y="129"/>
                  </a:lnTo>
                  <a:lnTo>
                    <a:pt x="144" y="129"/>
                  </a:lnTo>
                  <a:lnTo>
                    <a:pt x="147" y="131"/>
                  </a:lnTo>
                  <a:lnTo>
                    <a:pt x="148" y="132"/>
                  </a:lnTo>
                  <a:lnTo>
                    <a:pt x="149" y="134"/>
                  </a:lnTo>
                  <a:lnTo>
                    <a:pt x="154" y="134"/>
                  </a:lnTo>
                  <a:lnTo>
                    <a:pt x="154" y="134"/>
                  </a:lnTo>
                  <a:lnTo>
                    <a:pt x="161" y="134"/>
                  </a:lnTo>
                  <a:lnTo>
                    <a:pt x="164" y="132"/>
                  </a:lnTo>
                  <a:lnTo>
                    <a:pt x="162" y="129"/>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53" name="Freeform 702"/>
            <p:cNvSpPr>
              <a:spLocks/>
            </p:cNvSpPr>
            <p:nvPr/>
          </p:nvSpPr>
          <p:spPr bwMode="auto">
            <a:xfrm>
              <a:off x="7908925" y="4775201"/>
              <a:ext cx="260350" cy="212725"/>
            </a:xfrm>
            <a:custGeom>
              <a:avLst/>
              <a:gdLst>
                <a:gd name="T0" fmla="*/ 162 w 164"/>
                <a:gd name="T1" fmla="*/ 129 h 134"/>
                <a:gd name="T2" fmla="*/ 148 w 164"/>
                <a:gd name="T3" fmla="*/ 119 h 134"/>
                <a:gd name="T4" fmla="*/ 138 w 164"/>
                <a:gd name="T5" fmla="*/ 110 h 134"/>
                <a:gd name="T6" fmla="*/ 129 w 164"/>
                <a:gd name="T7" fmla="*/ 105 h 134"/>
                <a:gd name="T8" fmla="*/ 123 w 164"/>
                <a:gd name="T9" fmla="*/ 100 h 134"/>
                <a:gd name="T10" fmla="*/ 118 w 164"/>
                <a:gd name="T11" fmla="*/ 90 h 134"/>
                <a:gd name="T12" fmla="*/ 102 w 164"/>
                <a:gd name="T13" fmla="*/ 70 h 134"/>
                <a:gd name="T14" fmla="*/ 102 w 164"/>
                <a:gd name="T15" fmla="*/ 68 h 134"/>
                <a:gd name="T16" fmla="*/ 112 w 164"/>
                <a:gd name="T17" fmla="*/ 68 h 134"/>
                <a:gd name="T18" fmla="*/ 118 w 164"/>
                <a:gd name="T19" fmla="*/ 67 h 134"/>
                <a:gd name="T20" fmla="*/ 118 w 164"/>
                <a:gd name="T21" fmla="*/ 67 h 134"/>
                <a:gd name="T22" fmla="*/ 107 w 164"/>
                <a:gd name="T23" fmla="*/ 55 h 134"/>
                <a:gd name="T24" fmla="*/ 102 w 164"/>
                <a:gd name="T25" fmla="*/ 53 h 134"/>
                <a:gd name="T26" fmla="*/ 84 w 164"/>
                <a:gd name="T27" fmla="*/ 48 h 134"/>
                <a:gd name="T28" fmla="*/ 81 w 164"/>
                <a:gd name="T29" fmla="*/ 47 h 134"/>
                <a:gd name="T30" fmla="*/ 81 w 164"/>
                <a:gd name="T31" fmla="*/ 41 h 134"/>
                <a:gd name="T32" fmla="*/ 77 w 164"/>
                <a:gd name="T33" fmla="*/ 37 h 134"/>
                <a:gd name="T34" fmla="*/ 67 w 164"/>
                <a:gd name="T35" fmla="*/ 29 h 134"/>
                <a:gd name="T36" fmla="*/ 63 w 164"/>
                <a:gd name="T37" fmla="*/ 24 h 134"/>
                <a:gd name="T38" fmla="*/ 54 w 164"/>
                <a:gd name="T39" fmla="*/ 19 h 134"/>
                <a:gd name="T40" fmla="*/ 48 w 164"/>
                <a:gd name="T41" fmla="*/ 18 h 134"/>
                <a:gd name="T42" fmla="*/ 35 w 164"/>
                <a:gd name="T43" fmla="*/ 11 h 134"/>
                <a:gd name="T44" fmla="*/ 21 w 164"/>
                <a:gd name="T45" fmla="*/ 8 h 134"/>
                <a:gd name="T46" fmla="*/ 7 w 164"/>
                <a:gd name="T47" fmla="*/ 3 h 134"/>
                <a:gd name="T48" fmla="*/ 2 w 164"/>
                <a:gd name="T49" fmla="*/ 0 h 134"/>
                <a:gd name="T50" fmla="*/ 0 w 164"/>
                <a:gd name="T51" fmla="*/ 68 h 134"/>
                <a:gd name="T52" fmla="*/ 3 w 164"/>
                <a:gd name="T53" fmla="*/ 106 h 134"/>
                <a:gd name="T54" fmla="*/ 7 w 164"/>
                <a:gd name="T55" fmla="*/ 110 h 134"/>
                <a:gd name="T56" fmla="*/ 10 w 164"/>
                <a:gd name="T57" fmla="*/ 110 h 134"/>
                <a:gd name="T58" fmla="*/ 31 w 164"/>
                <a:gd name="T59" fmla="*/ 109 h 134"/>
                <a:gd name="T60" fmla="*/ 39 w 164"/>
                <a:gd name="T61" fmla="*/ 108 h 134"/>
                <a:gd name="T62" fmla="*/ 42 w 164"/>
                <a:gd name="T63" fmla="*/ 105 h 134"/>
                <a:gd name="T64" fmla="*/ 41 w 164"/>
                <a:gd name="T65" fmla="*/ 103 h 134"/>
                <a:gd name="T66" fmla="*/ 35 w 164"/>
                <a:gd name="T67" fmla="*/ 95 h 134"/>
                <a:gd name="T68" fmla="*/ 36 w 164"/>
                <a:gd name="T69" fmla="*/ 93 h 134"/>
                <a:gd name="T70" fmla="*/ 47 w 164"/>
                <a:gd name="T71" fmla="*/ 92 h 134"/>
                <a:gd name="T72" fmla="*/ 48 w 164"/>
                <a:gd name="T73" fmla="*/ 92 h 134"/>
                <a:gd name="T74" fmla="*/ 49 w 164"/>
                <a:gd name="T75" fmla="*/ 89 h 134"/>
                <a:gd name="T76" fmla="*/ 54 w 164"/>
                <a:gd name="T77" fmla="*/ 86 h 134"/>
                <a:gd name="T78" fmla="*/ 61 w 164"/>
                <a:gd name="T79" fmla="*/ 87 h 134"/>
                <a:gd name="T80" fmla="*/ 67 w 164"/>
                <a:gd name="T81" fmla="*/ 87 h 134"/>
                <a:gd name="T82" fmla="*/ 67 w 164"/>
                <a:gd name="T83" fmla="*/ 87 h 134"/>
                <a:gd name="T84" fmla="*/ 68 w 164"/>
                <a:gd name="T85" fmla="*/ 86 h 134"/>
                <a:gd name="T86" fmla="*/ 73 w 164"/>
                <a:gd name="T87" fmla="*/ 86 h 134"/>
                <a:gd name="T88" fmla="*/ 86 w 164"/>
                <a:gd name="T89" fmla="*/ 89 h 134"/>
                <a:gd name="T90" fmla="*/ 87 w 164"/>
                <a:gd name="T91" fmla="*/ 92 h 134"/>
                <a:gd name="T92" fmla="*/ 93 w 164"/>
                <a:gd name="T93" fmla="*/ 100 h 134"/>
                <a:gd name="T94" fmla="*/ 97 w 164"/>
                <a:gd name="T95" fmla="*/ 108 h 134"/>
                <a:gd name="T96" fmla="*/ 105 w 164"/>
                <a:gd name="T97" fmla="*/ 116 h 134"/>
                <a:gd name="T98" fmla="*/ 120 w 164"/>
                <a:gd name="T99" fmla="*/ 122 h 134"/>
                <a:gd name="T100" fmla="*/ 126 w 164"/>
                <a:gd name="T101" fmla="*/ 122 h 134"/>
                <a:gd name="T102" fmla="*/ 144 w 164"/>
                <a:gd name="T103" fmla="*/ 129 h 134"/>
                <a:gd name="T104" fmla="*/ 147 w 164"/>
                <a:gd name="T105" fmla="*/ 131 h 134"/>
                <a:gd name="T106" fmla="*/ 149 w 164"/>
                <a:gd name="T107" fmla="*/ 134 h 134"/>
                <a:gd name="T108" fmla="*/ 154 w 164"/>
                <a:gd name="T109" fmla="*/ 134 h 134"/>
                <a:gd name="T110" fmla="*/ 164 w 164"/>
                <a:gd name="T111" fmla="*/ 13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4" h="134">
                  <a:moveTo>
                    <a:pt x="162" y="129"/>
                  </a:moveTo>
                  <a:lnTo>
                    <a:pt x="162" y="129"/>
                  </a:lnTo>
                  <a:lnTo>
                    <a:pt x="157" y="125"/>
                  </a:lnTo>
                  <a:lnTo>
                    <a:pt x="148" y="119"/>
                  </a:lnTo>
                  <a:lnTo>
                    <a:pt x="148" y="119"/>
                  </a:lnTo>
                  <a:lnTo>
                    <a:pt x="138" y="110"/>
                  </a:lnTo>
                  <a:lnTo>
                    <a:pt x="129" y="105"/>
                  </a:lnTo>
                  <a:lnTo>
                    <a:pt x="129" y="105"/>
                  </a:lnTo>
                  <a:lnTo>
                    <a:pt x="126" y="103"/>
                  </a:lnTo>
                  <a:lnTo>
                    <a:pt x="123" y="100"/>
                  </a:lnTo>
                  <a:lnTo>
                    <a:pt x="118" y="90"/>
                  </a:lnTo>
                  <a:lnTo>
                    <a:pt x="118" y="90"/>
                  </a:lnTo>
                  <a:lnTo>
                    <a:pt x="106" y="77"/>
                  </a:lnTo>
                  <a:lnTo>
                    <a:pt x="102" y="70"/>
                  </a:lnTo>
                  <a:lnTo>
                    <a:pt x="100" y="68"/>
                  </a:lnTo>
                  <a:lnTo>
                    <a:pt x="102" y="68"/>
                  </a:lnTo>
                  <a:lnTo>
                    <a:pt x="102" y="68"/>
                  </a:lnTo>
                  <a:lnTo>
                    <a:pt x="112" y="68"/>
                  </a:lnTo>
                  <a:lnTo>
                    <a:pt x="116" y="68"/>
                  </a:lnTo>
                  <a:lnTo>
                    <a:pt x="118" y="67"/>
                  </a:lnTo>
                  <a:lnTo>
                    <a:pt x="118" y="67"/>
                  </a:lnTo>
                  <a:lnTo>
                    <a:pt x="118" y="67"/>
                  </a:lnTo>
                  <a:lnTo>
                    <a:pt x="112" y="60"/>
                  </a:lnTo>
                  <a:lnTo>
                    <a:pt x="107" y="55"/>
                  </a:lnTo>
                  <a:lnTo>
                    <a:pt x="102" y="53"/>
                  </a:lnTo>
                  <a:lnTo>
                    <a:pt x="102" y="53"/>
                  </a:lnTo>
                  <a:lnTo>
                    <a:pt x="90" y="51"/>
                  </a:lnTo>
                  <a:lnTo>
                    <a:pt x="84" y="48"/>
                  </a:lnTo>
                  <a:lnTo>
                    <a:pt x="83" y="48"/>
                  </a:lnTo>
                  <a:lnTo>
                    <a:pt x="81" y="47"/>
                  </a:lnTo>
                  <a:lnTo>
                    <a:pt x="81" y="47"/>
                  </a:lnTo>
                  <a:lnTo>
                    <a:pt x="81" y="41"/>
                  </a:lnTo>
                  <a:lnTo>
                    <a:pt x="80" y="39"/>
                  </a:lnTo>
                  <a:lnTo>
                    <a:pt x="77" y="37"/>
                  </a:lnTo>
                  <a:lnTo>
                    <a:pt x="77" y="37"/>
                  </a:lnTo>
                  <a:lnTo>
                    <a:pt x="67" y="29"/>
                  </a:lnTo>
                  <a:lnTo>
                    <a:pt x="63" y="24"/>
                  </a:lnTo>
                  <a:lnTo>
                    <a:pt x="63" y="24"/>
                  </a:lnTo>
                  <a:lnTo>
                    <a:pt x="61" y="21"/>
                  </a:lnTo>
                  <a:lnTo>
                    <a:pt x="54" y="19"/>
                  </a:lnTo>
                  <a:lnTo>
                    <a:pt x="54" y="19"/>
                  </a:lnTo>
                  <a:lnTo>
                    <a:pt x="48" y="18"/>
                  </a:lnTo>
                  <a:lnTo>
                    <a:pt x="44" y="15"/>
                  </a:lnTo>
                  <a:lnTo>
                    <a:pt x="35" y="11"/>
                  </a:lnTo>
                  <a:lnTo>
                    <a:pt x="35" y="11"/>
                  </a:lnTo>
                  <a:lnTo>
                    <a:pt x="21" y="8"/>
                  </a:lnTo>
                  <a:lnTo>
                    <a:pt x="13" y="6"/>
                  </a:lnTo>
                  <a:lnTo>
                    <a:pt x="7" y="3"/>
                  </a:lnTo>
                  <a:lnTo>
                    <a:pt x="7" y="3"/>
                  </a:lnTo>
                  <a:lnTo>
                    <a:pt x="2" y="0"/>
                  </a:lnTo>
                  <a:lnTo>
                    <a:pt x="2" y="57"/>
                  </a:lnTo>
                  <a:lnTo>
                    <a:pt x="0" y="68"/>
                  </a:lnTo>
                  <a:lnTo>
                    <a:pt x="3" y="80"/>
                  </a:lnTo>
                  <a:lnTo>
                    <a:pt x="3" y="106"/>
                  </a:lnTo>
                  <a:lnTo>
                    <a:pt x="3" y="106"/>
                  </a:lnTo>
                  <a:lnTo>
                    <a:pt x="7" y="110"/>
                  </a:lnTo>
                  <a:lnTo>
                    <a:pt x="10" y="110"/>
                  </a:lnTo>
                  <a:lnTo>
                    <a:pt x="10" y="110"/>
                  </a:lnTo>
                  <a:lnTo>
                    <a:pt x="21" y="109"/>
                  </a:lnTo>
                  <a:lnTo>
                    <a:pt x="31" y="109"/>
                  </a:lnTo>
                  <a:lnTo>
                    <a:pt x="31" y="109"/>
                  </a:lnTo>
                  <a:lnTo>
                    <a:pt x="39" y="108"/>
                  </a:lnTo>
                  <a:lnTo>
                    <a:pt x="42" y="106"/>
                  </a:lnTo>
                  <a:lnTo>
                    <a:pt x="42" y="105"/>
                  </a:lnTo>
                  <a:lnTo>
                    <a:pt x="41" y="103"/>
                  </a:lnTo>
                  <a:lnTo>
                    <a:pt x="41" y="103"/>
                  </a:lnTo>
                  <a:lnTo>
                    <a:pt x="36" y="97"/>
                  </a:lnTo>
                  <a:lnTo>
                    <a:pt x="35" y="95"/>
                  </a:lnTo>
                  <a:lnTo>
                    <a:pt x="36" y="93"/>
                  </a:lnTo>
                  <a:lnTo>
                    <a:pt x="36" y="93"/>
                  </a:lnTo>
                  <a:lnTo>
                    <a:pt x="44" y="92"/>
                  </a:lnTo>
                  <a:lnTo>
                    <a:pt x="47" y="92"/>
                  </a:lnTo>
                  <a:lnTo>
                    <a:pt x="48" y="92"/>
                  </a:lnTo>
                  <a:lnTo>
                    <a:pt x="48" y="92"/>
                  </a:lnTo>
                  <a:lnTo>
                    <a:pt x="48" y="90"/>
                  </a:lnTo>
                  <a:lnTo>
                    <a:pt x="49" y="89"/>
                  </a:lnTo>
                  <a:lnTo>
                    <a:pt x="54" y="86"/>
                  </a:lnTo>
                  <a:lnTo>
                    <a:pt x="54" y="86"/>
                  </a:lnTo>
                  <a:lnTo>
                    <a:pt x="57" y="86"/>
                  </a:lnTo>
                  <a:lnTo>
                    <a:pt x="61" y="87"/>
                  </a:lnTo>
                  <a:lnTo>
                    <a:pt x="64" y="87"/>
                  </a:lnTo>
                  <a:lnTo>
                    <a:pt x="67" y="87"/>
                  </a:lnTo>
                  <a:lnTo>
                    <a:pt x="67" y="87"/>
                  </a:lnTo>
                  <a:lnTo>
                    <a:pt x="67" y="87"/>
                  </a:lnTo>
                  <a:lnTo>
                    <a:pt x="67" y="86"/>
                  </a:lnTo>
                  <a:lnTo>
                    <a:pt x="68" y="86"/>
                  </a:lnTo>
                  <a:lnTo>
                    <a:pt x="73" y="86"/>
                  </a:lnTo>
                  <a:lnTo>
                    <a:pt x="73" y="86"/>
                  </a:lnTo>
                  <a:lnTo>
                    <a:pt x="81" y="89"/>
                  </a:lnTo>
                  <a:lnTo>
                    <a:pt x="86" y="89"/>
                  </a:lnTo>
                  <a:lnTo>
                    <a:pt x="86" y="89"/>
                  </a:lnTo>
                  <a:lnTo>
                    <a:pt x="87" y="92"/>
                  </a:lnTo>
                  <a:lnTo>
                    <a:pt x="90" y="96"/>
                  </a:lnTo>
                  <a:lnTo>
                    <a:pt x="93" y="100"/>
                  </a:lnTo>
                  <a:lnTo>
                    <a:pt x="93" y="100"/>
                  </a:lnTo>
                  <a:lnTo>
                    <a:pt x="97" y="108"/>
                  </a:lnTo>
                  <a:lnTo>
                    <a:pt x="105" y="116"/>
                  </a:lnTo>
                  <a:lnTo>
                    <a:pt x="105" y="116"/>
                  </a:lnTo>
                  <a:lnTo>
                    <a:pt x="112" y="121"/>
                  </a:lnTo>
                  <a:lnTo>
                    <a:pt x="120" y="122"/>
                  </a:lnTo>
                  <a:lnTo>
                    <a:pt x="120" y="122"/>
                  </a:lnTo>
                  <a:lnTo>
                    <a:pt x="126" y="122"/>
                  </a:lnTo>
                  <a:lnTo>
                    <a:pt x="133" y="125"/>
                  </a:lnTo>
                  <a:lnTo>
                    <a:pt x="144" y="129"/>
                  </a:lnTo>
                  <a:lnTo>
                    <a:pt x="144" y="129"/>
                  </a:lnTo>
                  <a:lnTo>
                    <a:pt x="147" y="131"/>
                  </a:lnTo>
                  <a:lnTo>
                    <a:pt x="148" y="132"/>
                  </a:lnTo>
                  <a:lnTo>
                    <a:pt x="149" y="134"/>
                  </a:lnTo>
                  <a:lnTo>
                    <a:pt x="154" y="134"/>
                  </a:lnTo>
                  <a:lnTo>
                    <a:pt x="154" y="134"/>
                  </a:lnTo>
                  <a:lnTo>
                    <a:pt x="161" y="134"/>
                  </a:lnTo>
                  <a:lnTo>
                    <a:pt x="164" y="132"/>
                  </a:lnTo>
                  <a:lnTo>
                    <a:pt x="162" y="12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54" name="Freeform 764"/>
            <p:cNvSpPr>
              <a:spLocks/>
            </p:cNvSpPr>
            <p:nvPr/>
          </p:nvSpPr>
          <p:spPr bwMode="auto">
            <a:xfrm>
              <a:off x="6194425" y="3373439"/>
              <a:ext cx="139700" cy="61913"/>
            </a:xfrm>
            <a:custGeom>
              <a:avLst/>
              <a:gdLst>
                <a:gd name="T0" fmla="*/ 88 w 88"/>
                <a:gd name="T1" fmla="*/ 1 h 39"/>
                <a:gd name="T2" fmla="*/ 88 w 88"/>
                <a:gd name="T3" fmla="*/ 1 h 39"/>
                <a:gd name="T4" fmla="*/ 85 w 88"/>
                <a:gd name="T5" fmla="*/ 6 h 39"/>
                <a:gd name="T6" fmla="*/ 84 w 88"/>
                <a:gd name="T7" fmla="*/ 7 h 39"/>
                <a:gd name="T8" fmla="*/ 82 w 88"/>
                <a:gd name="T9" fmla="*/ 7 h 39"/>
                <a:gd name="T10" fmla="*/ 82 w 88"/>
                <a:gd name="T11" fmla="*/ 7 h 39"/>
                <a:gd name="T12" fmla="*/ 64 w 88"/>
                <a:gd name="T13" fmla="*/ 10 h 39"/>
                <a:gd name="T14" fmla="*/ 64 w 88"/>
                <a:gd name="T15" fmla="*/ 10 h 39"/>
                <a:gd name="T16" fmla="*/ 49 w 88"/>
                <a:gd name="T17" fmla="*/ 7 h 39"/>
                <a:gd name="T18" fmla="*/ 39 w 88"/>
                <a:gd name="T19" fmla="*/ 7 h 39"/>
                <a:gd name="T20" fmla="*/ 33 w 88"/>
                <a:gd name="T21" fmla="*/ 7 h 39"/>
                <a:gd name="T22" fmla="*/ 33 w 88"/>
                <a:gd name="T23" fmla="*/ 7 h 39"/>
                <a:gd name="T24" fmla="*/ 29 w 88"/>
                <a:gd name="T25" fmla="*/ 10 h 39"/>
                <a:gd name="T26" fmla="*/ 26 w 88"/>
                <a:gd name="T27" fmla="*/ 11 h 39"/>
                <a:gd name="T28" fmla="*/ 24 w 88"/>
                <a:gd name="T29" fmla="*/ 14 h 39"/>
                <a:gd name="T30" fmla="*/ 24 w 88"/>
                <a:gd name="T31" fmla="*/ 14 h 39"/>
                <a:gd name="T32" fmla="*/ 22 w 88"/>
                <a:gd name="T33" fmla="*/ 20 h 39"/>
                <a:gd name="T34" fmla="*/ 20 w 88"/>
                <a:gd name="T35" fmla="*/ 23 h 39"/>
                <a:gd name="T36" fmla="*/ 17 w 88"/>
                <a:gd name="T37" fmla="*/ 24 h 39"/>
                <a:gd name="T38" fmla="*/ 17 w 88"/>
                <a:gd name="T39" fmla="*/ 24 h 39"/>
                <a:gd name="T40" fmla="*/ 17 w 88"/>
                <a:gd name="T41" fmla="*/ 26 h 39"/>
                <a:gd name="T42" fmla="*/ 17 w 88"/>
                <a:gd name="T43" fmla="*/ 27 h 39"/>
                <a:gd name="T44" fmla="*/ 16 w 88"/>
                <a:gd name="T45" fmla="*/ 35 h 39"/>
                <a:gd name="T46" fmla="*/ 16 w 88"/>
                <a:gd name="T47" fmla="*/ 36 h 39"/>
                <a:gd name="T48" fmla="*/ 14 w 88"/>
                <a:gd name="T49" fmla="*/ 39 h 39"/>
                <a:gd name="T50" fmla="*/ 11 w 88"/>
                <a:gd name="T51" fmla="*/ 39 h 39"/>
                <a:gd name="T52" fmla="*/ 8 w 88"/>
                <a:gd name="T53" fmla="*/ 36 h 39"/>
                <a:gd name="T54" fmla="*/ 8 w 88"/>
                <a:gd name="T55" fmla="*/ 36 h 39"/>
                <a:gd name="T56" fmla="*/ 4 w 88"/>
                <a:gd name="T57" fmla="*/ 35 h 39"/>
                <a:gd name="T58" fmla="*/ 1 w 88"/>
                <a:gd name="T59" fmla="*/ 33 h 39"/>
                <a:gd name="T60" fmla="*/ 0 w 88"/>
                <a:gd name="T61" fmla="*/ 30 h 39"/>
                <a:gd name="T62" fmla="*/ 0 w 88"/>
                <a:gd name="T63" fmla="*/ 30 h 39"/>
                <a:gd name="T64" fmla="*/ 0 w 88"/>
                <a:gd name="T65" fmla="*/ 26 h 39"/>
                <a:gd name="T66" fmla="*/ 1 w 88"/>
                <a:gd name="T67" fmla="*/ 22 h 39"/>
                <a:gd name="T68" fmla="*/ 3 w 88"/>
                <a:gd name="T69" fmla="*/ 17 h 39"/>
                <a:gd name="T70" fmla="*/ 3 w 88"/>
                <a:gd name="T71" fmla="*/ 13 h 39"/>
                <a:gd name="T72" fmla="*/ 3 w 88"/>
                <a:gd name="T73" fmla="*/ 13 h 39"/>
                <a:gd name="T74" fmla="*/ 3 w 88"/>
                <a:gd name="T75" fmla="*/ 10 h 39"/>
                <a:gd name="T76" fmla="*/ 6 w 88"/>
                <a:gd name="T77" fmla="*/ 7 h 39"/>
                <a:gd name="T78" fmla="*/ 13 w 88"/>
                <a:gd name="T79" fmla="*/ 4 h 39"/>
                <a:gd name="T80" fmla="*/ 13 w 88"/>
                <a:gd name="T81" fmla="*/ 4 h 39"/>
                <a:gd name="T82" fmla="*/ 19 w 88"/>
                <a:gd name="T83" fmla="*/ 1 h 39"/>
                <a:gd name="T84" fmla="*/ 22 w 88"/>
                <a:gd name="T85" fmla="*/ 0 h 39"/>
                <a:gd name="T86" fmla="*/ 24 w 88"/>
                <a:gd name="T87" fmla="*/ 0 h 39"/>
                <a:gd name="T88" fmla="*/ 24 w 88"/>
                <a:gd name="T89" fmla="*/ 0 h 39"/>
                <a:gd name="T90" fmla="*/ 33 w 88"/>
                <a:gd name="T91" fmla="*/ 1 h 39"/>
                <a:gd name="T92" fmla="*/ 42 w 88"/>
                <a:gd name="T93" fmla="*/ 1 h 39"/>
                <a:gd name="T94" fmla="*/ 42 w 88"/>
                <a:gd name="T95" fmla="*/ 1 h 39"/>
                <a:gd name="T96" fmla="*/ 58 w 88"/>
                <a:gd name="T97" fmla="*/ 3 h 39"/>
                <a:gd name="T98" fmla="*/ 65 w 88"/>
                <a:gd name="T99" fmla="*/ 4 h 39"/>
                <a:gd name="T100" fmla="*/ 71 w 88"/>
                <a:gd name="T101" fmla="*/ 4 h 39"/>
                <a:gd name="T102" fmla="*/ 71 w 88"/>
                <a:gd name="T103" fmla="*/ 4 h 39"/>
                <a:gd name="T104" fmla="*/ 82 w 88"/>
                <a:gd name="T105" fmla="*/ 1 h 39"/>
                <a:gd name="T106" fmla="*/ 87 w 88"/>
                <a:gd name="T107" fmla="*/ 1 h 39"/>
                <a:gd name="T108" fmla="*/ 88 w 88"/>
                <a:gd name="T109" fmla="*/ 1 h 39"/>
                <a:gd name="T110" fmla="*/ 88 w 88"/>
                <a:gd name="T111" fmla="*/ 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8" h="39">
                  <a:moveTo>
                    <a:pt x="88" y="1"/>
                  </a:moveTo>
                  <a:lnTo>
                    <a:pt x="88" y="1"/>
                  </a:lnTo>
                  <a:lnTo>
                    <a:pt x="85" y="6"/>
                  </a:lnTo>
                  <a:lnTo>
                    <a:pt x="84" y="7"/>
                  </a:lnTo>
                  <a:lnTo>
                    <a:pt x="82" y="7"/>
                  </a:lnTo>
                  <a:lnTo>
                    <a:pt x="82" y="7"/>
                  </a:lnTo>
                  <a:lnTo>
                    <a:pt x="64" y="10"/>
                  </a:lnTo>
                  <a:lnTo>
                    <a:pt x="64" y="10"/>
                  </a:lnTo>
                  <a:lnTo>
                    <a:pt x="49" y="7"/>
                  </a:lnTo>
                  <a:lnTo>
                    <a:pt x="39" y="7"/>
                  </a:lnTo>
                  <a:lnTo>
                    <a:pt x="33" y="7"/>
                  </a:lnTo>
                  <a:lnTo>
                    <a:pt x="33" y="7"/>
                  </a:lnTo>
                  <a:lnTo>
                    <a:pt x="29" y="10"/>
                  </a:lnTo>
                  <a:lnTo>
                    <a:pt x="26" y="11"/>
                  </a:lnTo>
                  <a:lnTo>
                    <a:pt x="24" y="14"/>
                  </a:lnTo>
                  <a:lnTo>
                    <a:pt x="24" y="14"/>
                  </a:lnTo>
                  <a:lnTo>
                    <a:pt x="22" y="20"/>
                  </a:lnTo>
                  <a:lnTo>
                    <a:pt x="20" y="23"/>
                  </a:lnTo>
                  <a:lnTo>
                    <a:pt x="17" y="24"/>
                  </a:lnTo>
                  <a:lnTo>
                    <a:pt x="17" y="24"/>
                  </a:lnTo>
                  <a:lnTo>
                    <a:pt x="17" y="26"/>
                  </a:lnTo>
                  <a:lnTo>
                    <a:pt x="17" y="27"/>
                  </a:lnTo>
                  <a:lnTo>
                    <a:pt x="16" y="35"/>
                  </a:lnTo>
                  <a:lnTo>
                    <a:pt x="16" y="36"/>
                  </a:lnTo>
                  <a:lnTo>
                    <a:pt x="14" y="39"/>
                  </a:lnTo>
                  <a:lnTo>
                    <a:pt x="11" y="39"/>
                  </a:lnTo>
                  <a:lnTo>
                    <a:pt x="8" y="36"/>
                  </a:lnTo>
                  <a:lnTo>
                    <a:pt x="8" y="36"/>
                  </a:lnTo>
                  <a:lnTo>
                    <a:pt x="4" y="35"/>
                  </a:lnTo>
                  <a:lnTo>
                    <a:pt x="1" y="33"/>
                  </a:lnTo>
                  <a:lnTo>
                    <a:pt x="0" y="30"/>
                  </a:lnTo>
                  <a:lnTo>
                    <a:pt x="0" y="30"/>
                  </a:lnTo>
                  <a:lnTo>
                    <a:pt x="0" y="26"/>
                  </a:lnTo>
                  <a:lnTo>
                    <a:pt x="1" y="22"/>
                  </a:lnTo>
                  <a:lnTo>
                    <a:pt x="3" y="17"/>
                  </a:lnTo>
                  <a:lnTo>
                    <a:pt x="3" y="13"/>
                  </a:lnTo>
                  <a:lnTo>
                    <a:pt x="3" y="13"/>
                  </a:lnTo>
                  <a:lnTo>
                    <a:pt x="3" y="10"/>
                  </a:lnTo>
                  <a:lnTo>
                    <a:pt x="6" y="7"/>
                  </a:lnTo>
                  <a:lnTo>
                    <a:pt x="13" y="4"/>
                  </a:lnTo>
                  <a:lnTo>
                    <a:pt x="13" y="4"/>
                  </a:lnTo>
                  <a:lnTo>
                    <a:pt x="19" y="1"/>
                  </a:lnTo>
                  <a:lnTo>
                    <a:pt x="22" y="0"/>
                  </a:lnTo>
                  <a:lnTo>
                    <a:pt x="24" y="0"/>
                  </a:lnTo>
                  <a:lnTo>
                    <a:pt x="24" y="0"/>
                  </a:lnTo>
                  <a:lnTo>
                    <a:pt x="33" y="1"/>
                  </a:lnTo>
                  <a:lnTo>
                    <a:pt x="42" y="1"/>
                  </a:lnTo>
                  <a:lnTo>
                    <a:pt x="42" y="1"/>
                  </a:lnTo>
                  <a:lnTo>
                    <a:pt x="58" y="3"/>
                  </a:lnTo>
                  <a:lnTo>
                    <a:pt x="65" y="4"/>
                  </a:lnTo>
                  <a:lnTo>
                    <a:pt x="71" y="4"/>
                  </a:lnTo>
                  <a:lnTo>
                    <a:pt x="71" y="4"/>
                  </a:lnTo>
                  <a:lnTo>
                    <a:pt x="82" y="1"/>
                  </a:lnTo>
                  <a:lnTo>
                    <a:pt x="87" y="1"/>
                  </a:lnTo>
                  <a:lnTo>
                    <a:pt x="88" y="1"/>
                  </a:lnTo>
                  <a:lnTo>
                    <a:pt x="88"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55" name="Freeform 765"/>
            <p:cNvSpPr>
              <a:spLocks/>
            </p:cNvSpPr>
            <p:nvPr/>
          </p:nvSpPr>
          <p:spPr bwMode="auto">
            <a:xfrm>
              <a:off x="6435725" y="3297239"/>
              <a:ext cx="55563" cy="44450"/>
            </a:xfrm>
            <a:custGeom>
              <a:avLst/>
              <a:gdLst>
                <a:gd name="T0" fmla="*/ 33 w 35"/>
                <a:gd name="T1" fmla="*/ 20 h 28"/>
                <a:gd name="T2" fmla="*/ 33 w 35"/>
                <a:gd name="T3" fmla="*/ 20 h 28"/>
                <a:gd name="T4" fmla="*/ 29 w 35"/>
                <a:gd name="T5" fmla="*/ 23 h 28"/>
                <a:gd name="T6" fmla="*/ 24 w 35"/>
                <a:gd name="T7" fmla="*/ 26 h 28"/>
                <a:gd name="T8" fmla="*/ 22 w 35"/>
                <a:gd name="T9" fmla="*/ 28 h 28"/>
                <a:gd name="T10" fmla="*/ 16 w 35"/>
                <a:gd name="T11" fmla="*/ 26 h 28"/>
                <a:gd name="T12" fmla="*/ 16 w 35"/>
                <a:gd name="T13" fmla="*/ 26 h 28"/>
                <a:gd name="T14" fmla="*/ 4 w 35"/>
                <a:gd name="T15" fmla="*/ 19 h 28"/>
                <a:gd name="T16" fmla="*/ 0 w 35"/>
                <a:gd name="T17" fmla="*/ 15 h 28"/>
                <a:gd name="T18" fmla="*/ 0 w 35"/>
                <a:gd name="T19" fmla="*/ 13 h 28"/>
                <a:gd name="T20" fmla="*/ 0 w 35"/>
                <a:gd name="T21" fmla="*/ 12 h 28"/>
                <a:gd name="T22" fmla="*/ 0 w 35"/>
                <a:gd name="T23" fmla="*/ 12 h 28"/>
                <a:gd name="T24" fmla="*/ 1 w 35"/>
                <a:gd name="T25" fmla="*/ 9 h 28"/>
                <a:gd name="T26" fmla="*/ 1 w 35"/>
                <a:gd name="T27" fmla="*/ 4 h 28"/>
                <a:gd name="T28" fmla="*/ 3 w 35"/>
                <a:gd name="T29" fmla="*/ 1 h 28"/>
                <a:gd name="T30" fmla="*/ 4 w 35"/>
                <a:gd name="T31" fmla="*/ 0 h 28"/>
                <a:gd name="T32" fmla="*/ 6 w 35"/>
                <a:gd name="T33" fmla="*/ 0 h 28"/>
                <a:gd name="T34" fmla="*/ 6 w 35"/>
                <a:gd name="T35" fmla="*/ 0 h 28"/>
                <a:gd name="T36" fmla="*/ 9 w 35"/>
                <a:gd name="T37" fmla="*/ 3 h 28"/>
                <a:gd name="T38" fmla="*/ 10 w 35"/>
                <a:gd name="T39" fmla="*/ 6 h 28"/>
                <a:gd name="T40" fmla="*/ 11 w 35"/>
                <a:gd name="T41" fmla="*/ 9 h 28"/>
                <a:gd name="T42" fmla="*/ 14 w 35"/>
                <a:gd name="T43" fmla="*/ 12 h 28"/>
                <a:gd name="T44" fmla="*/ 14 w 35"/>
                <a:gd name="T45" fmla="*/ 12 h 28"/>
                <a:gd name="T46" fmla="*/ 20 w 35"/>
                <a:gd name="T47" fmla="*/ 15 h 28"/>
                <a:gd name="T48" fmla="*/ 27 w 35"/>
                <a:gd name="T49" fmla="*/ 17 h 28"/>
                <a:gd name="T50" fmla="*/ 33 w 35"/>
                <a:gd name="T51" fmla="*/ 19 h 28"/>
                <a:gd name="T52" fmla="*/ 35 w 35"/>
                <a:gd name="T53" fmla="*/ 20 h 28"/>
                <a:gd name="T54" fmla="*/ 33 w 35"/>
                <a:gd name="T55"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8">
                  <a:moveTo>
                    <a:pt x="33" y="20"/>
                  </a:moveTo>
                  <a:lnTo>
                    <a:pt x="33" y="20"/>
                  </a:lnTo>
                  <a:lnTo>
                    <a:pt x="29" y="23"/>
                  </a:lnTo>
                  <a:lnTo>
                    <a:pt x="24" y="26"/>
                  </a:lnTo>
                  <a:lnTo>
                    <a:pt x="22" y="28"/>
                  </a:lnTo>
                  <a:lnTo>
                    <a:pt x="16" y="26"/>
                  </a:lnTo>
                  <a:lnTo>
                    <a:pt x="16" y="26"/>
                  </a:lnTo>
                  <a:lnTo>
                    <a:pt x="4" y="19"/>
                  </a:lnTo>
                  <a:lnTo>
                    <a:pt x="0" y="15"/>
                  </a:lnTo>
                  <a:lnTo>
                    <a:pt x="0" y="13"/>
                  </a:lnTo>
                  <a:lnTo>
                    <a:pt x="0" y="12"/>
                  </a:lnTo>
                  <a:lnTo>
                    <a:pt x="0" y="12"/>
                  </a:lnTo>
                  <a:lnTo>
                    <a:pt x="1" y="9"/>
                  </a:lnTo>
                  <a:lnTo>
                    <a:pt x="1" y="4"/>
                  </a:lnTo>
                  <a:lnTo>
                    <a:pt x="3" y="1"/>
                  </a:lnTo>
                  <a:lnTo>
                    <a:pt x="4" y="0"/>
                  </a:lnTo>
                  <a:lnTo>
                    <a:pt x="6" y="0"/>
                  </a:lnTo>
                  <a:lnTo>
                    <a:pt x="6" y="0"/>
                  </a:lnTo>
                  <a:lnTo>
                    <a:pt x="9" y="3"/>
                  </a:lnTo>
                  <a:lnTo>
                    <a:pt x="10" y="6"/>
                  </a:lnTo>
                  <a:lnTo>
                    <a:pt x="11" y="9"/>
                  </a:lnTo>
                  <a:lnTo>
                    <a:pt x="14" y="12"/>
                  </a:lnTo>
                  <a:lnTo>
                    <a:pt x="14" y="12"/>
                  </a:lnTo>
                  <a:lnTo>
                    <a:pt x="20" y="15"/>
                  </a:lnTo>
                  <a:lnTo>
                    <a:pt x="27" y="17"/>
                  </a:lnTo>
                  <a:lnTo>
                    <a:pt x="33" y="19"/>
                  </a:lnTo>
                  <a:lnTo>
                    <a:pt x="35" y="20"/>
                  </a:lnTo>
                  <a:lnTo>
                    <a:pt x="33"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56" name="Freeform 766"/>
            <p:cNvSpPr>
              <a:spLocks/>
            </p:cNvSpPr>
            <p:nvPr/>
          </p:nvSpPr>
          <p:spPr bwMode="auto">
            <a:xfrm>
              <a:off x="6554788" y="3998914"/>
              <a:ext cx="127000" cy="168275"/>
            </a:xfrm>
            <a:custGeom>
              <a:avLst/>
              <a:gdLst>
                <a:gd name="T0" fmla="*/ 73 w 80"/>
                <a:gd name="T1" fmla="*/ 106 h 106"/>
                <a:gd name="T2" fmla="*/ 68 w 80"/>
                <a:gd name="T3" fmla="*/ 91 h 106"/>
                <a:gd name="T4" fmla="*/ 65 w 80"/>
                <a:gd name="T5" fmla="*/ 82 h 106"/>
                <a:gd name="T6" fmla="*/ 62 w 80"/>
                <a:gd name="T7" fmla="*/ 78 h 106"/>
                <a:gd name="T8" fmla="*/ 61 w 80"/>
                <a:gd name="T9" fmla="*/ 77 h 106"/>
                <a:gd name="T10" fmla="*/ 60 w 80"/>
                <a:gd name="T11" fmla="*/ 75 h 106"/>
                <a:gd name="T12" fmla="*/ 60 w 80"/>
                <a:gd name="T13" fmla="*/ 75 h 106"/>
                <a:gd name="T14" fmla="*/ 58 w 80"/>
                <a:gd name="T15" fmla="*/ 75 h 106"/>
                <a:gd name="T16" fmla="*/ 58 w 80"/>
                <a:gd name="T17" fmla="*/ 75 h 106"/>
                <a:gd name="T18" fmla="*/ 57 w 80"/>
                <a:gd name="T19" fmla="*/ 75 h 106"/>
                <a:gd name="T20" fmla="*/ 57 w 80"/>
                <a:gd name="T21" fmla="*/ 77 h 106"/>
                <a:gd name="T22" fmla="*/ 57 w 80"/>
                <a:gd name="T23" fmla="*/ 78 h 106"/>
                <a:gd name="T24" fmla="*/ 57 w 80"/>
                <a:gd name="T25" fmla="*/ 78 h 106"/>
                <a:gd name="T26" fmla="*/ 55 w 80"/>
                <a:gd name="T27" fmla="*/ 81 h 106"/>
                <a:gd name="T28" fmla="*/ 51 w 80"/>
                <a:gd name="T29" fmla="*/ 79 h 106"/>
                <a:gd name="T30" fmla="*/ 49 w 80"/>
                <a:gd name="T31" fmla="*/ 81 h 106"/>
                <a:gd name="T32" fmla="*/ 48 w 80"/>
                <a:gd name="T33" fmla="*/ 79 h 106"/>
                <a:gd name="T34" fmla="*/ 44 w 80"/>
                <a:gd name="T35" fmla="*/ 84 h 106"/>
                <a:gd name="T36" fmla="*/ 45 w 80"/>
                <a:gd name="T37" fmla="*/ 87 h 106"/>
                <a:gd name="T38" fmla="*/ 44 w 80"/>
                <a:gd name="T39" fmla="*/ 91 h 106"/>
                <a:gd name="T40" fmla="*/ 41 w 80"/>
                <a:gd name="T41" fmla="*/ 90 h 106"/>
                <a:gd name="T42" fmla="*/ 39 w 80"/>
                <a:gd name="T43" fmla="*/ 88 h 106"/>
                <a:gd name="T44" fmla="*/ 36 w 80"/>
                <a:gd name="T45" fmla="*/ 88 h 106"/>
                <a:gd name="T46" fmla="*/ 33 w 80"/>
                <a:gd name="T47" fmla="*/ 90 h 106"/>
                <a:gd name="T48" fmla="*/ 32 w 80"/>
                <a:gd name="T49" fmla="*/ 88 h 106"/>
                <a:gd name="T50" fmla="*/ 31 w 80"/>
                <a:gd name="T51" fmla="*/ 90 h 106"/>
                <a:gd name="T52" fmla="*/ 26 w 80"/>
                <a:gd name="T53" fmla="*/ 93 h 106"/>
                <a:gd name="T54" fmla="*/ 19 w 80"/>
                <a:gd name="T55" fmla="*/ 95 h 106"/>
                <a:gd name="T56" fmla="*/ 15 w 80"/>
                <a:gd name="T57" fmla="*/ 81 h 106"/>
                <a:gd name="T58" fmla="*/ 13 w 80"/>
                <a:gd name="T59" fmla="*/ 75 h 106"/>
                <a:gd name="T60" fmla="*/ 9 w 80"/>
                <a:gd name="T61" fmla="*/ 66 h 106"/>
                <a:gd name="T62" fmla="*/ 7 w 80"/>
                <a:gd name="T63" fmla="*/ 62 h 106"/>
                <a:gd name="T64" fmla="*/ 2 w 80"/>
                <a:gd name="T65" fmla="*/ 32 h 106"/>
                <a:gd name="T66" fmla="*/ 2 w 80"/>
                <a:gd name="T67" fmla="*/ 20 h 106"/>
                <a:gd name="T68" fmla="*/ 0 w 80"/>
                <a:gd name="T69" fmla="*/ 9 h 106"/>
                <a:gd name="T70" fmla="*/ 0 w 80"/>
                <a:gd name="T71" fmla="*/ 9 h 106"/>
                <a:gd name="T72" fmla="*/ 5 w 80"/>
                <a:gd name="T73" fmla="*/ 9 h 106"/>
                <a:gd name="T74" fmla="*/ 7 w 80"/>
                <a:gd name="T75" fmla="*/ 1 h 106"/>
                <a:gd name="T76" fmla="*/ 12 w 80"/>
                <a:gd name="T77" fmla="*/ 0 h 106"/>
                <a:gd name="T78" fmla="*/ 15 w 80"/>
                <a:gd name="T79" fmla="*/ 1 h 106"/>
                <a:gd name="T80" fmla="*/ 19 w 80"/>
                <a:gd name="T81" fmla="*/ 4 h 106"/>
                <a:gd name="T82" fmla="*/ 23 w 80"/>
                <a:gd name="T83" fmla="*/ 7 h 106"/>
                <a:gd name="T84" fmla="*/ 29 w 80"/>
                <a:gd name="T85" fmla="*/ 20 h 106"/>
                <a:gd name="T86" fmla="*/ 31 w 80"/>
                <a:gd name="T87" fmla="*/ 24 h 106"/>
                <a:gd name="T88" fmla="*/ 36 w 80"/>
                <a:gd name="T89" fmla="*/ 27 h 106"/>
                <a:gd name="T90" fmla="*/ 62 w 80"/>
                <a:gd name="T91" fmla="*/ 29 h 106"/>
                <a:gd name="T92" fmla="*/ 73 w 80"/>
                <a:gd name="T93" fmla="*/ 30 h 106"/>
                <a:gd name="T94" fmla="*/ 73 w 80"/>
                <a:gd name="T95" fmla="*/ 35 h 106"/>
                <a:gd name="T96" fmla="*/ 60 w 80"/>
                <a:gd name="T97" fmla="*/ 46 h 106"/>
                <a:gd name="T98" fmla="*/ 55 w 80"/>
                <a:gd name="T99" fmla="*/ 52 h 106"/>
                <a:gd name="T100" fmla="*/ 55 w 80"/>
                <a:gd name="T101" fmla="*/ 56 h 106"/>
                <a:gd name="T102" fmla="*/ 67 w 80"/>
                <a:gd name="T103" fmla="*/ 64 h 106"/>
                <a:gd name="T104" fmla="*/ 73 w 80"/>
                <a:gd name="T105" fmla="*/ 66 h 106"/>
                <a:gd name="T106" fmla="*/ 80 w 80"/>
                <a:gd name="T107" fmla="*/ 75 h 106"/>
                <a:gd name="T108" fmla="*/ 78 w 80"/>
                <a:gd name="T109" fmla="*/ 84 h 106"/>
                <a:gd name="T110" fmla="*/ 80 w 80"/>
                <a:gd name="T111" fmla="*/ 94 h 106"/>
                <a:gd name="T112" fmla="*/ 80 w 80"/>
                <a:gd name="T113" fmla="*/ 95 h 106"/>
                <a:gd name="T114" fmla="*/ 78 w 80"/>
                <a:gd name="T115" fmla="*/ 98 h 106"/>
                <a:gd name="T116" fmla="*/ 73 w 80"/>
                <a:gd name="T11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106">
                  <a:moveTo>
                    <a:pt x="73" y="106"/>
                  </a:moveTo>
                  <a:lnTo>
                    <a:pt x="73" y="106"/>
                  </a:lnTo>
                  <a:lnTo>
                    <a:pt x="68" y="91"/>
                  </a:lnTo>
                  <a:lnTo>
                    <a:pt x="68" y="91"/>
                  </a:lnTo>
                  <a:lnTo>
                    <a:pt x="65" y="82"/>
                  </a:lnTo>
                  <a:lnTo>
                    <a:pt x="65" y="82"/>
                  </a:lnTo>
                  <a:lnTo>
                    <a:pt x="62" y="78"/>
                  </a:lnTo>
                  <a:lnTo>
                    <a:pt x="62" y="78"/>
                  </a:lnTo>
                  <a:lnTo>
                    <a:pt x="62" y="77"/>
                  </a:lnTo>
                  <a:lnTo>
                    <a:pt x="61" y="77"/>
                  </a:lnTo>
                  <a:lnTo>
                    <a:pt x="61" y="77"/>
                  </a:lnTo>
                  <a:lnTo>
                    <a:pt x="60" y="75"/>
                  </a:lnTo>
                  <a:lnTo>
                    <a:pt x="60" y="75"/>
                  </a:lnTo>
                  <a:lnTo>
                    <a:pt x="60" y="75"/>
                  </a:lnTo>
                  <a:lnTo>
                    <a:pt x="60" y="75"/>
                  </a:lnTo>
                  <a:lnTo>
                    <a:pt x="58" y="75"/>
                  </a:lnTo>
                  <a:lnTo>
                    <a:pt x="58" y="75"/>
                  </a:lnTo>
                  <a:lnTo>
                    <a:pt x="58" y="75"/>
                  </a:lnTo>
                  <a:lnTo>
                    <a:pt x="58" y="75"/>
                  </a:lnTo>
                  <a:lnTo>
                    <a:pt x="57" y="75"/>
                  </a:lnTo>
                  <a:lnTo>
                    <a:pt x="57" y="75"/>
                  </a:lnTo>
                  <a:lnTo>
                    <a:pt x="57" y="77"/>
                  </a:lnTo>
                  <a:lnTo>
                    <a:pt x="57" y="77"/>
                  </a:lnTo>
                  <a:lnTo>
                    <a:pt x="57" y="78"/>
                  </a:lnTo>
                  <a:lnTo>
                    <a:pt x="57" y="78"/>
                  </a:lnTo>
                  <a:lnTo>
                    <a:pt x="57" y="78"/>
                  </a:lnTo>
                  <a:lnTo>
                    <a:pt x="55" y="81"/>
                  </a:lnTo>
                  <a:lnTo>
                    <a:pt x="55" y="81"/>
                  </a:lnTo>
                  <a:lnTo>
                    <a:pt x="51" y="79"/>
                  </a:lnTo>
                  <a:lnTo>
                    <a:pt x="51" y="79"/>
                  </a:lnTo>
                  <a:lnTo>
                    <a:pt x="49" y="81"/>
                  </a:lnTo>
                  <a:lnTo>
                    <a:pt x="49" y="81"/>
                  </a:lnTo>
                  <a:lnTo>
                    <a:pt x="48" y="79"/>
                  </a:lnTo>
                  <a:lnTo>
                    <a:pt x="48" y="79"/>
                  </a:lnTo>
                  <a:lnTo>
                    <a:pt x="45" y="81"/>
                  </a:lnTo>
                  <a:lnTo>
                    <a:pt x="44" y="84"/>
                  </a:lnTo>
                  <a:lnTo>
                    <a:pt x="44" y="84"/>
                  </a:lnTo>
                  <a:lnTo>
                    <a:pt x="45" y="87"/>
                  </a:lnTo>
                  <a:lnTo>
                    <a:pt x="44" y="91"/>
                  </a:lnTo>
                  <a:lnTo>
                    <a:pt x="44" y="91"/>
                  </a:lnTo>
                  <a:lnTo>
                    <a:pt x="41" y="90"/>
                  </a:lnTo>
                  <a:lnTo>
                    <a:pt x="41" y="90"/>
                  </a:lnTo>
                  <a:lnTo>
                    <a:pt x="39" y="88"/>
                  </a:lnTo>
                  <a:lnTo>
                    <a:pt x="39" y="88"/>
                  </a:lnTo>
                  <a:lnTo>
                    <a:pt x="36" y="88"/>
                  </a:lnTo>
                  <a:lnTo>
                    <a:pt x="36" y="88"/>
                  </a:lnTo>
                  <a:lnTo>
                    <a:pt x="36" y="88"/>
                  </a:lnTo>
                  <a:lnTo>
                    <a:pt x="33" y="90"/>
                  </a:lnTo>
                  <a:lnTo>
                    <a:pt x="33" y="90"/>
                  </a:lnTo>
                  <a:lnTo>
                    <a:pt x="32" y="88"/>
                  </a:lnTo>
                  <a:lnTo>
                    <a:pt x="32" y="88"/>
                  </a:lnTo>
                  <a:lnTo>
                    <a:pt x="31" y="90"/>
                  </a:lnTo>
                  <a:lnTo>
                    <a:pt x="31" y="90"/>
                  </a:lnTo>
                  <a:lnTo>
                    <a:pt x="26" y="93"/>
                  </a:lnTo>
                  <a:lnTo>
                    <a:pt x="19" y="95"/>
                  </a:lnTo>
                  <a:lnTo>
                    <a:pt x="19" y="95"/>
                  </a:lnTo>
                  <a:lnTo>
                    <a:pt x="18" y="87"/>
                  </a:lnTo>
                  <a:lnTo>
                    <a:pt x="15" y="81"/>
                  </a:lnTo>
                  <a:lnTo>
                    <a:pt x="15" y="81"/>
                  </a:lnTo>
                  <a:lnTo>
                    <a:pt x="13" y="75"/>
                  </a:lnTo>
                  <a:lnTo>
                    <a:pt x="10" y="71"/>
                  </a:lnTo>
                  <a:lnTo>
                    <a:pt x="9" y="66"/>
                  </a:lnTo>
                  <a:lnTo>
                    <a:pt x="7" y="62"/>
                  </a:lnTo>
                  <a:lnTo>
                    <a:pt x="7" y="62"/>
                  </a:lnTo>
                  <a:lnTo>
                    <a:pt x="5" y="48"/>
                  </a:lnTo>
                  <a:lnTo>
                    <a:pt x="2" y="32"/>
                  </a:lnTo>
                  <a:lnTo>
                    <a:pt x="2" y="32"/>
                  </a:lnTo>
                  <a:lnTo>
                    <a:pt x="2" y="20"/>
                  </a:lnTo>
                  <a:lnTo>
                    <a:pt x="0" y="9"/>
                  </a:lnTo>
                  <a:lnTo>
                    <a:pt x="0" y="9"/>
                  </a:lnTo>
                  <a:lnTo>
                    <a:pt x="0" y="9"/>
                  </a:lnTo>
                  <a:lnTo>
                    <a:pt x="0" y="9"/>
                  </a:lnTo>
                  <a:lnTo>
                    <a:pt x="5" y="9"/>
                  </a:lnTo>
                  <a:lnTo>
                    <a:pt x="5" y="9"/>
                  </a:lnTo>
                  <a:lnTo>
                    <a:pt x="6" y="7"/>
                  </a:lnTo>
                  <a:lnTo>
                    <a:pt x="7" y="1"/>
                  </a:lnTo>
                  <a:lnTo>
                    <a:pt x="7" y="1"/>
                  </a:lnTo>
                  <a:lnTo>
                    <a:pt x="12" y="0"/>
                  </a:lnTo>
                  <a:lnTo>
                    <a:pt x="12" y="0"/>
                  </a:lnTo>
                  <a:lnTo>
                    <a:pt x="15" y="1"/>
                  </a:lnTo>
                  <a:lnTo>
                    <a:pt x="19" y="4"/>
                  </a:lnTo>
                  <a:lnTo>
                    <a:pt x="19" y="4"/>
                  </a:lnTo>
                  <a:lnTo>
                    <a:pt x="23" y="7"/>
                  </a:lnTo>
                  <a:lnTo>
                    <a:pt x="23" y="7"/>
                  </a:lnTo>
                  <a:lnTo>
                    <a:pt x="28" y="16"/>
                  </a:lnTo>
                  <a:lnTo>
                    <a:pt x="29" y="20"/>
                  </a:lnTo>
                  <a:lnTo>
                    <a:pt x="31" y="24"/>
                  </a:lnTo>
                  <a:lnTo>
                    <a:pt x="31" y="24"/>
                  </a:lnTo>
                  <a:lnTo>
                    <a:pt x="32" y="26"/>
                  </a:lnTo>
                  <a:lnTo>
                    <a:pt x="36" y="27"/>
                  </a:lnTo>
                  <a:lnTo>
                    <a:pt x="49" y="27"/>
                  </a:lnTo>
                  <a:lnTo>
                    <a:pt x="62" y="29"/>
                  </a:lnTo>
                  <a:lnTo>
                    <a:pt x="73" y="30"/>
                  </a:lnTo>
                  <a:lnTo>
                    <a:pt x="73" y="30"/>
                  </a:lnTo>
                  <a:lnTo>
                    <a:pt x="74" y="32"/>
                  </a:lnTo>
                  <a:lnTo>
                    <a:pt x="73" y="35"/>
                  </a:lnTo>
                  <a:lnTo>
                    <a:pt x="67" y="40"/>
                  </a:lnTo>
                  <a:lnTo>
                    <a:pt x="60" y="46"/>
                  </a:lnTo>
                  <a:lnTo>
                    <a:pt x="55" y="52"/>
                  </a:lnTo>
                  <a:lnTo>
                    <a:pt x="55" y="52"/>
                  </a:lnTo>
                  <a:lnTo>
                    <a:pt x="54" y="53"/>
                  </a:lnTo>
                  <a:lnTo>
                    <a:pt x="55" y="56"/>
                  </a:lnTo>
                  <a:lnTo>
                    <a:pt x="61" y="59"/>
                  </a:lnTo>
                  <a:lnTo>
                    <a:pt x="67" y="64"/>
                  </a:lnTo>
                  <a:lnTo>
                    <a:pt x="73" y="66"/>
                  </a:lnTo>
                  <a:lnTo>
                    <a:pt x="73" y="66"/>
                  </a:lnTo>
                  <a:lnTo>
                    <a:pt x="80" y="75"/>
                  </a:lnTo>
                  <a:lnTo>
                    <a:pt x="80" y="75"/>
                  </a:lnTo>
                  <a:lnTo>
                    <a:pt x="78" y="79"/>
                  </a:lnTo>
                  <a:lnTo>
                    <a:pt x="78" y="84"/>
                  </a:lnTo>
                  <a:lnTo>
                    <a:pt x="78" y="84"/>
                  </a:lnTo>
                  <a:lnTo>
                    <a:pt x="80" y="94"/>
                  </a:lnTo>
                  <a:lnTo>
                    <a:pt x="80" y="94"/>
                  </a:lnTo>
                  <a:lnTo>
                    <a:pt x="80" y="95"/>
                  </a:lnTo>
                  <a:lnTo>
                    <a:pt x="80" y="95"/>
                  </a:lnTo>
                  <a:lnTo>
                    <a:pt x="78" y="98"/>
                  </a:lnTo>
                  <a:lnTo>
                    <a:pt x="77" y="100"/>
                  </a:lnTo>
                  <a:lnTo>
                    <a:pt x="73" y="106"/>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57" name="Freeform 767"/>
            <p:cNvSpPr>
              <a:spLocks/>
            </p:cNvSpPr>
            <p:nvPr/>
          </p:nvSpPr>
          <p:spPr bwMode="auto">
            <a:xfrm>
              <a:off x="6554788" y="3998914"/>
              <a:ext cx="127000" cy="168275"/>
            </a:xfrm>
            <a:custGeom>
              <a:avLst/>
              <a:gdLst>
                <a:gd name="T0" fmla="*/ 73 w 80"/>
                <a:gd name="T1" fmla="*/ 106 h 106"/>
                <a:gd name="T2" fmla="*/ 68 w 80"/>
                <a:gd name="T3" fmla="*/ 91 h 106"/>
                <a:gd name="T4" fmla="*/ 65 w 80"/>
                <a:gd name="T5" fmla="*/ 82 h 106"/>
                <a:gd name="T6" fmla="*/ 62 w 80"/>
                <a:gd name="T7" fmla="*/ 78 h 106"/>
                <a:gd name="T8" fmla="*/ 61 w 80"/>
                <a:gd name="T9" fmla="*/ 77 h 106"/>
                <a:gd name="T10" fmla="*/ 60 w 80"/>
                <a:gd name="T11" fmla="*/ 75 h 106"/>
                <a:gd name="T12" fmla="*/ 60 w 80"/>
                <a:gd name="T13" fmla="*/ 75 h 106"/>
                <a:gd name="T14" fmla="*/ 58 w 80"/>
                <a:gd name="T15" fmla="*/ 75 h 106"/>
                <a:gd name="T16" fmla="*/ 58 w 80"/>
                <a:gd name="T17" fmla="*/ 75 h 106"/>
                <a:gd name="T18" fmla="*/ 57 w 80"/>
                <a:gd name="T19" fmla="*/ 75 h 106"/>
                <a:gd name="T20" fmla="*/ 57 w 80"/>
                <a:gd name="T21" fmla="*/ 77 h 106"/>
                <a:gd name="T22" fmla="*/ 57 w 80"/>
                <a:gd name="T23" fmla="*/ 78 h 106"/>
                <a:gd name="T24" fmla="*/ 57 w 80"/>
                <a:gd name="T25" fmla="*/ 78 h 106"/>
                <a:gd name="T26" fmla="*/ 55 w 80"/>
                <a:gd name="T27" fmla="*/ 81 h 106"/>
                <a:gd name="T28" fmla="*/ 51 w 80"/>
                <a:gd name="T29" fmla="*/ 79 h 106"/>
                <a:gd name="T30" fmla="*/ 49 w 80"/>
                <a:gd name="T31" fmla="*/ 81 h 106"/>
                <a:gd name="T32" fmla="*/ 48 w 80"/>
                <a:gd name="T33" fmla="*/ 79 h 106"/>
                <a:gd name="T34" fmla="*/ 44 w 80"/>
                <a:gd name="T35" fmla="*/ 84 h 106"/>
                <a:gd name="T36" fmla="*/ 45 w 80"/>
                <a:gd name="T37" fmla="*/ 87 h 106"/>
                <a:gd name="T38" fmla="*/ 44 w 80"/>
                <a:gd name="T39" fmla="*/ 91 h 106"/>
                <a:gd name="T40" fmla="*/ 41 w 80"/>
                <a:gd name="T41" fmla="*/ 90 h 106"/>
                <a:gd name="T42" fmla="*/ 39 w 80"/>
                <a:gd name="T43" fmla="*/ 88 h 106"/>
                <a:gd name="T44" fmla="*/ 36 w 80"/>
                <a:gd name="T45" fmla="*/ 88 h 106"/>
                <a:gd name="T46" fmla="*/ 33 w 80"/>
                <a:gd name="T47" fmla="*/ 90 h 106"/>
                <a:gd name="T48" fmla="*/ 32 w 80"/>
                <a:gd name="T49" fmla="*/ 88 h 106"/>
                <a:gd name="T50" fmla="*/ 31 w 80"/>
                <a:gd name="T51" fmla="*/ 90 h 106"/>
                <a:gd name="T52" fmla="*/ 26 w 80"/>
                <a:gd name="T53" fmla="*/ 93 h 106"/>
                <a:gd name="T54" fmla="*/ 19 w 80"/>
                <a:gd name="T55" fmla="*/ 95 h 106"/>
                <a:gd name="T56" fmla="*/ 15 w 80"/>
                <a:gd name="T57" fmla="*/ 81 h 106"/>
                <a:gd name="T58" fmla="*/ 13 w 80"/>
                <a:gd name="T59" fmla="*/ 75 h 106"/>
                <a:gd name="T60" fmla="*/ 9 w 80"/>
                <a:gd name="T61" fmla="*/ 66 h 106"/>
                <a:gd name="T62" fmla="*/ 7 w 80"/>
                <a:gd name="T63" fmla="*/ 62 h 106"/>
                <a:gd name="T64" fmla="*/ 2 w 80"/>
                <a:gd name="T65" fmla="*/ 32 h 106"/>
                <a:gd name="T66" fmla="*/ 2 w 80"/>
                <a:gd name="T67" fmla="*/ 20 h 106"/>
                <a:gd name="T68" fmla="*/ 0 w 80"/>
                <a:gd name="T69" fmla="*/ 9 h 106"/>
                <a:gd name="T70" fmla="*/ 0 w 80"/>
                <a:gd name="T71" fmla="*/ 9 h 106"/>
                <a:gd name="T72" fmla="*/ 5 w 80"/>
                <a:gd name="T73" fmla="*/ 9 h 106"/>
                <a:gd name="T74" fmla="*/ 7 w 80"/>
                <a:gd name="T75" fmla="*/ 1 h 106"/>
                <a:gd name="T76" fmla="*/ 12 w 80"/>
                <a:gd name="T77" fmla="*/ 0 h 106"/>
                <a:gd name="T78" fmla="*/ 15 w 80"/>
                <a:gd name="T79" fmla="*/ 1 h 106"/>
                <a:gd name="T80" fmla="*/ 19 w 80"/>
                <a:gd name="T81" fmla="*/ 4 h 106"/>
                <a:gd name="T82" fmla="*/ 23 w 80"/>
                <a:gd name="T83" fmla="*/ 7 h 106"/>
                <a:gd name="T84" fmla="*/ 29 w 80"/>
                <a:gd name="T85" fmla="*/ 20 h 106"/>
                <a:gd name="T86" fmla="*/ 31 w 80"/>
                <a:gd name="T87" fmla="*/ 24 h 106"/>
                <a:gd name="T88" fmla="*/ 36 w 80"/>
                <a:gd name="T89" fmla="*/ 27 h 106"/>
                <a:gd name="T90" fmla="*/ 62 w 80"/>
                <a:gd name="T91" fmla="*/ 29 h 106"/>
                <a:gd name="T92" fmla="*/ 73 w 80"/>
                <a:gd name="T93" fmla="*/ 30 h 106"/>
                <a:gd name="T94" fmla="*/ 73 w 80"/>
                <a:gd name="T95" fmla="*/ 35 h 106"/>
                <a:gd name="T96" fmla="*/ 60 w 80"/>
                <a:gd name="T97" fmla="*/ 46 h 106"/>
                <a:gd name="T98" fmla="*/ 55 w 80"/>
                <a:gd name="T99" fmla="*/ 52 h 106"/>
                <a:gd name="T100" fmla="*/ 55 w 80"/>
                <a:gd name="T101" fmla="*/ 56 h 106"/>
                <a:gd name="T102" fmla="*/ 67 w 80"/>
                <a:gd name="T103" fmla="*/ 64 h 106"/>
                <a:gd name="T104" fmla="*/ 73 w 80"/>
                <a:gd name="T105" fmla="*/ 66 h 106"/>
                <a:gd name="T106" fmla="*/ 80 w 80"/>
                <a:gd name="T107" fmla="*/ 75 h 106"/>
                <a:gd name="T108" fmla="*/ 78 w 80"/>
                <a:gd name="T109" fmla="*/ 84 h 106"/>
                <a:gd name="T110" fmla="*/ 80 w 80"/>
                <a:gd name="T111" fmla="*/ 94 h 106"/>
                <a:gd name="T112" fmla="*/ 80 w 80"/>
                <a:gd name="T113" fmla="*/ 95 h 106"/>
                <a:gd name="T114" fmla="*/ 78 w 80"/>
                <a:gd name="T115" fmla="*/ 98 h 106"/>
                <a:gd name="T116" fmla="*/ 73 w 80"/>
                <a:gd name="T11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106">
                  <a:moveTo>
                    <a:pt x="73" y="106"/>
                  </a:moveTo>
                  <a:lnTo>
                    <a:pt x="73" y="106"/>
                  </a:lnTo>
                  <a:lnTo>
                    <a:pt x="68" y="91"/>
                  </a:lnTo>
                  <a:lnTo>
                    <a:pt x="68" y="91"/>
                  </a:lnTo>
                  <a:lnTo>
                    <a:pt x="65" y="82"/>
                  </a:lnTo>
                  <a:lnTo>
                    <a:pt x="65" y="82"/>
                  </a:lnTo>
                  <a:lnTo>
                    <a:pt x="62" y="78"/>
                  </a:lnTo>
                  <a:lnTo>
                    <a:pt x="62" y="78"/>
                  </a:lnTo>
                  <a:lnTo>
                    <a:pt x="62" y="77"/>
                  </a:lnTo>
                  <a:lnTo>
                    <a:pt x="61" y="77"/>
                  </a:lnTo>
                  <a:lnTo>
                    <a:pt x="61" y="77"/>
                  </a:lnTo>
                  <a:lnTo>
                    <a:pt x="60" y="75"/>
                  </a:lnTo>
                  <a:lnTo>
                    <a:pt x="60" y="75"/>
                  </a:lnTo>
                  <a:lnTo>
                    <a:pt x="60" y="75"/>
                  </a:lnTo>
                  <a:lnTo>
                    <a:pt x="60" y="75"/>
                  </a:lnTo>
                  <a:lnTo>
                    <a:pt x="58" y="75"/>
                  </a:lnTo>
                  <a:lnTo>
                    <a:pt x="58" y="75"/>
                  </a:lnTo>
                  <a:lnTo>
                    <a:pt x="58" y="75"/>
                  </a:lnTo>
                  <a:lnTo>
                    <a:pt x="58" y="75"/>
                  </a:lnTo>
                  <a:lnTo>
                    <a:pt x="57" y="75"/>
                  </a:lnTo>
                  <a:lnTo>
                    <a:pt x="57" y="75"/>
                  </a:lnTo>
                  <a:lnTo>
                    <a:pt x="57" y="77"/>
                  </a:lnTo>
                  <a:lnTo>
                    <a:pt x="57" y="77"/>
                  </a:lnTo>
                  <a:lnTo>
                    <a:pt x="57" y="78"/>
                  </a:lnTo>
                  <a:lnTo>
                    <a:pt x="57" y="78"/>
                  </a:lnTo>
                  <a:lnTo>
                    <a:pt x="57" y="78"/>
                  </a:lnTo>
                  <a:lnTo>
                    <a:pt x="55" y="81"/>
                  </a:lnTo>
                  <a:lnTo>
                    <a:pt x="55" y="81"/>
                  </a:lnTo>
                  <a:lnTo>
                    <a:pt x="51" y="79"/>
                  </a:lnTo>
                  <a:lnTo>
                    <a:pt x="51" y="79"/>
                  </a:lnTo>
                  <a:lnTo>
                    <a:pt x="49" y="81"/>
                  </a:lnTo>
                  <a:lnTo>
                    <a:pt x="49" y="81"/>
                  </a:lnTo>
                  <a:lnTo>
                    <a:pt x="48" y="79"/>
                  </a:lnTo>
                  <a:lnTo>
                    <a:pt x="48" y="79"/>
                  </a:lnTo>
                  <a:lnTo>
                    <a:pt x="45" y="81"/>
                  </a:lnTo>
                  <a:lnTo>
                    <a:pt x="44" y="84"/>
                  </a:lnTo>
                  <a:lnTo>
                    <a:pt x="44" y="84"/>
                  </a:lnTo>
                  <a:lnTo>
                    <a:pt x="45" y="87"/>
                  </a:lnTo>
                  <a:lnTo>
                    <a:pt x="44" y="91"/>
                  </a:lnTo>
                  <a:lnTo>
                    <a:pt x="44" y="91"/>
                  </a:lnTo>
                  <a:lnTo>
                    <a:pt x="41" y="90"/>
                  </a:lnTo>
                  <a:lnTo>
                    <a:pt x="41" y="90"/>
                  </a:lnTo>
                  <a:lnTo>
                    <a:pt x="39" y="88"/>
                  </a:lnTo>
                  <a:lnTo>
                    <a:pt x="39" y="88"/>
                  </a:lnTo>
                  <a:lnTo>
                    <a:pt x="36" y="88"/>
                  </a:lnTo>
                  <a:lnTo>
                    <a:pt x="36" y="88"/>
                  </a:lnTo>
                  <a:lnTo>
                    <a:pt x="36" y="88"/>
                  </a:lnTo>
                  <a:lnTo>
                    <a:pt x="33" y="90"/>
                  </a:lnTo>
                  <a:lnTo>
                    <a:pt x="33" y="90"/>
                  </a:lnTo>
                  <a:lnTo>
                    <a:pt x="32" y="88"/>
                  </a:lnTo>
                  <a:lnTo>
                    <a:pt x="32" y="88"/>
                  </a:lnTo>
                  <a:lnTo>
                    <a:pt x="31" y="90"/>
                  </a:lnTo>
                  <a:lnTo>
                    <a:pt x="31" y="90"/>
                  </a:lnTo>
                  <a:lnTo>
                    <a:pt x="26" y="93"/>
                  </a:lnTo>
                  <a:lnTo>
                    <a:pt x="19" y="95"/>
                  </a:lnTo>
                  <a:lnTo>
                    <a:pt x="19" y="95"/>
                  </a:lnTo>
                  <a:lnTo>
                    <a:pt x="18" y="87"/>
                  </a:lnTo>
                  <a:lnTo>
                    <a:pt x="15" y="81"/>
                  </a:lnTo>
                  <a:lnTo>
                    <a:pt x="15" y="81"/>
                  </a:lnTo>
                  <a:lnTo>
                    <a:pt x="13" y="75"/>
                  </a:lnTo>
                  <a:lnTo>
                    <a:pt x="10" y="71"/>
                  </a:lnTo>
                  <a:lnTo>
                    <a:pt x="9" y="66"/>
                  </a:lnTo>
                  <a:lnTo>
                    <a:pt x="7" y="62"/>
                  </a:lnTo>
                  <a:lnTo>
                    <a:pt x="7" y="62"/>
                  </a:lnTo>
                  <a:lnTo>
                    <a:pt x="5" y="48"/>
                  </a:lnTo>
                  <a:lnTo>
                    <a:pt x="2" y="32"/>
                  </a:lnTo>
                  <a:lnTo>
                    <a:pt x="2" y="32"/>
                  </a:lnTo>
                  <a:lnTo>
                    <a:pt x="2" y="20"/>
                  </a:lnTo>
                  <a:lnTo>
                    <a:pt x="0" y="9"/>
                  </a:lnTo>
                  <a:lnTo>
                    <a:pt x="0" y="9"/>
                  </a:lnTo>
                  <a:lnTo>
                    <a:pt x="0" y="9"/>
                  </a:lnTo>
                  <a:lnTo>
                    <a:pt x="0" y="9"/>
                  </a:lnTo>
                  <a:lnTo>
                    <a:pt x="5" y="9"/>
                  </a:lnTo>
                  <a:lnTo>
                    <a:pt x="5" y="9"/>
                  </a:lnTo>
                  <a:lnTo>
                    <a:pt x="6" y="7"/>
                  </a:lnTo>
                  <a:lnTo>
                    <a:pt x="7" y="1"/>
                  </a:lnTo>
                  <a:lnTo>
                    <a:pt x="7" y="1"/>
                  </a:lnTo>
                  <a:lnTo>
                    <a:pt x="12" y="0"/>
                  </a:lnTo>
                  <a:lnTo>
                    <a:pt x="12" y="0"/>
                  </a:lnTo>
                  <a:lnTo>
                    <a:pt x="15" y="1"/>
                  </a:lnTo>
                  <a:lnTo>
                    <a:pt x="19" y="4"/>
                  </a:lnTo>
                  <a:lnTo>
                    <a:pt x="19" y="4"/>
                  </a:lnTo>
                  <a:lnTo>
                    <a:pt x="23" y="7"/>
                  </a:lnTo>
                  <a:lnTo>
                    <a:pt x="23" y="7"/>
                  </a:lnTo>
                  <a:lnTo>
                    <a:pt x="28" y="16"/>
                  </a:lnTo>
                  <a:lnTo>
                    <a:pt x="29" y="20"/>
                  </a:lnTo>
                  <a:lnTo>
                    <a:pt x="31" y="24"/>
                  </a:lnTo>
                  <a:lnTo>
                    <a:pt x="31" y="24"/>
                  </a:lnTo>
                  <a:lnTo>
                    <a:pt x="32" y="26"/>
                  </a:lnTo>
                  <a:lnTo>
                    <a:pt x="36" y="27"/>
                  </a:lnTo>
                  <a:lnTo>
                    <a:pt x="49" y="27"/>
                  </a:lnTo>
                  <a:lnTo>
                    <a:pt x="62" y="29"/>
                  </a:lnTo>
                  <a:lnTo>
                    <a:pt x="73" y="30"/>
                  </a:lnTo>
                  <a:lnTo>
                    <a:pt x="73" y="30"/>
                  </a:lnTo>
                  <a:lnTo>
                    <a:pt x="74" y="32"/>
                  </a:lnTo>
                  <a:lnTo>
                    <a:pt x="73" y="35"/>
                  </a:lnTo>
                  <a:lnTo>
                    <a:pt x="67" y="40"/>
                  </a:lnTo>
                  <a:lnTo>
                    <a:pt x="60" y="46"/>
                  </a:lnTo>
                  <a:lnTo>
                    <a:pt x="55" y="52"/>
                  </a:lnTo>
                  <a:lnTo>
                    <a:pt x="55" y="52"/>
                  </a:lnTo>
                  <a:lnTo>
                    <a:pt x="54" y="53"/>
                  </a:lnTo>
                  <a:lnTo>
                    <a:pt x="55" y="56"/>
                  </a:lnTo>
                  <a:lnTo>
                    <a:pt x="61" y="59"/>
                  </a:lnTo>
                  <a:lnTo>
                    <a:pt x="67" y="64"/>
                  </a:lnTo>
                  <a:lnTo>
                    <a:pt x="73" y="66"/>
                  </a:lnTo>
                  <a:lnTo>
                    <a:pt x="73" y="66"/>
                  </a:lnTo>
                  <a:lnTo>
                    <a:pt x="80" y="75"/>
                  </a:lnTo>
                  <a:lnTo>
                    <a:pt x="80" y="75"/>
                  </a:lnTo>
                  <a:lnTo>
                    <a:pt x="78" y="79"/>
                  </a:lnTo>
                  <a:lnTo>
                    <a:pt x="78" y="84"/>
                  </a:lnTo>
                  <a:lnTo>
                    <a:pt x="78" y="84"/>
                  </a:lnTo>
                  <a:lnTo>
                    <a:pt x="80" y="94"/>
                  </a:lnTo>
                  <a:lnTo>
                    <a:pt x="80" y="94"/>
                  </a:lnTo>
                  <a:lnTo>
                    <a:pt x="80" y="95"/>
                  </a:lnTo>
                  <a:lnTo>
                    <a:pt x="80" y="95"/>
                  </a:lnTo>
                  <a:lnTo>
                    <a:pt x="78" y="98"/>
                  </a:lnTo>
                  <a:lnTo>
                    <a:pt x="77" y="100"/>
                  </a:lnTo>
                  <a:lnTo>
                    <a:pt x="73" y="1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58" name="Freeform 768"/>
            <p:cNvSpPr>
              <a:spLocks/>
            </p:cNvSpPr>
            <p:nvPr/>
          </p:nvSpPr>
          <p:spPr bwMode="auto">
            <a:xfrm>
              <a:off x="6573838" y="3995739"/>
              <a:ext cx="11113" cy="9525"/>
            </a:xfrm>
            <a:custGeom>
              <a:avLst/>
              <a:gdLst>
                <a:gd name="T0" fmla="*/ 7 w 7"/>
                <a:gd name="T1" fmla="*/ 6 h 6"/>
                <a:gd name="T2" fmla="*/ 7 w 7"/>
                <a:gd name="T3" fmla="*/ 6 h 6"/>
                <a:gd name="T4" fmla="*/ 3 w 7"/>
                <a:gd name="T5" fmla="*/ 3 h 6"/>
                <a:gd name="T6" fmla="*/ 0 w 7"/>
                <a:gd name="T7" fmla="*/ 2 h 6"/>
                <a:gd name="T8" fmla="*/ 0 w 7"/>
                <a:gd name="T9" fmla="*/ 2 h 6"/>
                <a:gd name="T10" fmla="*/ 1 w 7"/>
                <a:gd name="T11" fmla="*/ 0 h 6"/>
                <a:gd name="T12" fmla="*/ 1 w 7"/>
                <a:gd name="T13" fmla="*/ 0 h 6"/>
                <a:gd name="T14" fmla="*/ 4 w 7"/>
                <a:gd name="T15" fmla="*/ 3 h 6"/>
                <a:gd name="T16" fmla="*/ 7 w 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6">
                  <a:moveTo>
                    <a:pt x="7" y="6"/>
                  </a:moveTo>
                  <a:lnTo>
                    <a:pt x="7" y="6"/>
                  </a:lnTo>
                  <a:lnTo>
                    <a:pt x="3" y="3"/>
                  </a:lnTo>
                  <a:lnTo>
                    <a:pt x="0" y="2"/>
                  </a:lnTo>
                  <a:lnTo>
                    <a:pt x="0" y="2"/>
                  </a:lnTo>
                  <a:lnTo>
                    <a:pt x="1" y="0"/>
                  </a:lnTo>
                  <a:lnTo>
                    <a:pt x="1" y="0"/>
                  </a:lnTo>
                  <a:lnTo>
                    <a:pt x="4" y="3"/>
                  </a:lnTo>
                  <a:lnTo>
                    <a:pt x="7" y="6"/>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59" name="Freeform 769"/>
            <p:cNvSpPr>
              <a:spLocks/>
            </p:cNvSpPr>
            <p:nvPr/>
          </p:nvSpPr>
          <p:spPr bwMode="auto">
            <a:xfrm>
              <a:off x="6573838" y="3995739"/>
              <a:ext cx="11113" cy="9525"/>
            </a:xfrm>
            <a:custGeom>
              <a:avLst/>
              <a:gdLst>
                <a:gd name="T0" fmla="*/ 7 w 7"/>
                <a:gd name="T1" fmla="*/ 6 h 6"/>
                <a:gd name="T2" fmla="*/ 7 w 7"/>
                <a:gd name="T3" fmla="*/ 6 h 6"/>
                <a:gd name="T4" fmla="*/ 3 w 7"/>
                <a:gd name="T5" fmla="*/ 3 h 6"/>
                <a:gd name="T6" fmla="*/ 0 w 7"/>
                <a:gd name="T7" fmla="*/ 2 h 6"/>
                <a:gd name="T8" fmla="*/ 0 w 7"/>
                <a:gd name="T9" fmla="*/ 2 h 6"/>
                <a:gd name="T10" fmla="*/ 1 w 7"/>
                <a:gd name="T11" fmla="*/ 0 h 6"/>
                <a:gd name="T12" fmla="*/ 1 w 7"/>
                <a:gd name="T13" fmla="*/ 0 h 6"/>
                <a:gd name="T14" fmla="*/ 4 w 7"/>
                <a:gd name="T15" fmla="*/ 3 h 6"/>
                <a:gd name="T16" fmla="*/ 7 w 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6">
                  <a:moveTo>
                    <a:pt x="7" y="6"/>
                  </a:moveTo>
                  <a:lnTo>
                    <a:pt x="7" y="6"/>
                  </a:lnTo>
                  <a:lnTo>
                    <a:pt x="3" y="3"/>
                  </a:lnTo>
                  <a:lnTo>
                    <a:pt x="0" y="2"/>
                  </a:lnTo>
                  <a:lnTo>
                    <a:pt x="0" y="2"/>
                  </a:lnTo>
                  <a:lnTo>
                    <a:pt x="1" y="0"/>
                  </a:lnTo>
                  <a:lnTo>
                    <a:pt x="1" y="0"/>
                  </a:lnTo>
                  <a:lnTo>
                    <a:pt x="4" y="3"/>
                  </a:lnTo>
                  <a:lnTo>
                    <a:pt x="7"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60" name="Freeform 770"/>
            <p:cNvSpPr>
              <a:spLocks/>
            </p:cNvSpPr>
            <p:nvPr/>
          </p:nvSpPr>
          <p:spPr bwMode="auto">
            <a:xfrm>
              <a:off x="6554788" y="4000501"/>
              <a:ext cx="11113" cy="12700"/>
            </a:xfrm>
            <a:custGeom>
              <a:avLst/>
              <a:gdLst>
                <a:gd name="T0" fmla="*/ 5 w 7"/>
                <a:gd name="T1" fmla="*/ 8 h 8"/>
                <a:gd name="T2" fmla="*/ 5 w 7"/>
                <a:gd name="T3" fmla="*/ 8 h 8"/>
                <a:gd name="T4" fmla="*/ 0 w 7"/>
                <a:gd name="T5" fmla="*/ 8 h 8"/>
                <a:gd name="T6" fmla="*/ 0 w 7"/>
                <a:gd name="T7" fmla="*/ 8 h 8"/>
                <a:gd name="T8" fmla="*/ 0 w 7"/>
                <a:gd name="T9" fmla="*/ 5 h 8"/>
                <a:gd name="T10" fmla="*/ 3 w 7"/>
                <a:gd name="T11" fmla="*/ 3 h 8"/>
                <a:gd name="T12" fmla="*/ 7 w 7"/>
                <a:gd name="T13" fmla="*/ 0 h 8"/>
                <a:gd name="T14" fmla="*/ 7 w 7"/>
                <a:gd name="T15" fmla="*/ 0 h 8"/>
                <a:gd name="T16" fmla="*/ 6 w 7"/>
                <a:gd name="T17" fmla="*/ 6 h 8"/>
                <a:gd name="T18" fmla="*/ 5 w 7"/>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8">
                  <a:moveTo>
                    <a:pt x="5" y="8"/>
                  </a:moveTo>
                  <a:lnTo>
                    <a:pt x="5" y="8"/>
                  </a:lnTo>
                  <a:lnTo>
                    <a:pt x="0" y="8"/>
                  </a:lnTo>
                  <a:lnTo>
                    <a:pt x="0" y="8"/>
                  </a:lnTo>
                  <a:lnTo>
                    <a:pt x="0" y="5"/>
                  </a:lnTo>
                  <a:lnTo>
                    <a:pt x="3" y="3"/>
                  </a:lnTo>
                  <a:lnTo>
                    <a:pt x="7" y="0"/>
                  </a:lnTo>
                  <a:lnTo>
                    <a:pt x="7" y="0"/>
                  </a:lnTo>
                  <a:lnTo>
                    <a:pt x="6" y="6"/>
                  </a:lnTo>
                  <a:lnTo>
                    <a:pt x="5" y="8"/>
                  </a:lnTo>
                  <a:close/>
                </a:path>
              </a:pathLst>
            </a:custGeom>
            <a:solidFill>
              <a:srgbClr val="60B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61" name="Freeform 771"/>
            <p:cNvSpPr>
              <a:spLocks/>
            </p:cNvSpPr>
            <p:nvPr/>
          </p:nvSpPr>
          <p:spPr bwMode="auto">
            <a:xfrm>
              <a:off x="6554788" y="4000501"/>
              <a:ext cx="11113" cy="12700"/>
            </a:xfrm>
            <a:custGeom>
              <a:avLst/>
              <a:gdLst>
                <a:gd name="T0" fmla="*/ 5 w 7"/>
                <a:gd name="T1" fmla="*/ 8 h 8"/>
                <a:gd name="T2" fmla="*/ 5 w 7"/>
                <a:gd name="T3" fmla="*/ 8 h 8"/>
                <a:gd name="T4" fmla="*/ 0 w 7"/>
                <a:gd name="T5" fmla="*/ 8 h 8"/>
                <a:gd name="T6" fmla="*/ 0 w 7"/>
                <a:gd name="T7" fmla="*/ 8 h 8"/>
                <a:gd name="T8" fmla="*/ 0 w 7"/>
                <a:gd name="T9" fmla="*/ 5 h 8"/>
                <a:gd name="T10" fmla="*/ 3 w 7"/>
                <a:gd name="T11" fmla="*/ 3 h 8"/>
                <a:gd name="T12" fmla="*/ 7 w 7"/>
                <a:gd name="T13" fmla="*/ 0 h 8"/>
                <a:gd name="T14" fmla="*/ 7 w 7"/>
                <a:gd name="T15" fmla="*/ 0 h 8"/>
                <a:gd name="T16" fmla="*/ 6 w 7"/>
                <a:gd name="T17" fmla="*/ 6 h 8"/>
                <a:gd name="T18" fmla="*/ 5 w 7"/>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8">
                  <a:moveTo>
                    <a:pt x="5" y="8"/>
                  </a:moveTo>
                  <a:lnTo>
                    <a:pt x="5" y="8"/>
                  </a:lnTo>
                  <a:lnTo>
                    <a:pt x="0" y="8"/>
                  </a:lnTo>
                  <a:lnTo>
                    <a:pt x="0" y="8"/>
                  </a:lnTo>
                  <a:lnTo>
                    <a:pt x="0" y="5"/>
                  </a:lnTo>
                  <a:lnTo>
                    <a:pt x="3" y="3"/>
                  </a:lnTo>
                  <a:lnTo>
                    <a:pt x="7" y="0"/>
                  </a:lnTo>
                  <a:lnTo>
                    <a:pt x="7" y="0"/>
                  </a:lnTo>
                  <a:lnTo>
                    <a:pt x="6" y="6"/>
                  </a:lnTo>
                  <a:lnTo>
                    <a:pt x="5"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62" name="Freeform 772"/>
            <p:cNvSpPr>
              <a:spLocks/>
            </p:cNvSpPr>
            <p:nvPr/>
          </p:nvSpPr>
          <p:spPr bwMode="auto">
            <a:xfrm>
              <a:off x="6678613" y="4132264"/>
              <a:ext cx="3175" cy="15875"/>
            </a:xfrm>
            <a:custGeom>
              <a:avLst/>
              <a:gdLst>
                <a:gd name="T0" fmla="*/ 2 w 2"/>
                <a:gd name="T1" fmla="*/ 10 h 10"/>
                <a:gd name="T2" fmla="*/ 2 w 2"/>
                <a:gd name="T3" fmla="*/ 10 h 10"/>
                <a:gd name="T4" fmla="*/ 0 w 2"/>
                <a:gd name="T5" fmla="*/ 0 h 10"/>
                <a:gd name="T6" fmla="*/ 0 w 2"/>
                <a:gd name="T7" fmla="*/ 0 h 10"/>
                <a:gd name="T8" fmla="*/ 2 w 2"/>
                <a:gd name="T9" fmla="*/ 10 h 10"/>
              </a:gdLst>
              <a:ahLst/>
              <a:cxnLst>
                <a:cxn ang="0">
                  <a:pos x="T0" y="T1"/>
                </a:cxn>
                <a:cxn ang="0">
                  <a:pos x="T2" y="T3"/>
                </a:cxn>
                <a:cxn ang="0">
                  <a:pos x="T4" y="T5"/>
                </a:cxn>
                <a:cxn ang="0">
                  <a:pos x="T6" y="T7"/>
                </a:cxn>
                <a:cxn ang="0">
                  <a:pos x="T8" y="T9"/>
                </a:cxn>
              </a:cxnLst>
              <a:rect l="0" t="0" r="r" b="b"/>
              <a:pathLst>
                <a:path w="2" h="10">
                  <a:moveTo>
                    <a:pt x="2" y="10"/>
                  </a:moveTo>
                  <a:lnTo>
                    <a:pt x="2" y="10"/>
                  </a:lnTo>
                  <a:lnTo>
                    <a:pt x="0" y="0"/>
                  </a:lnTo>
                  <a:lnTo>
                    <a:pt x="0" y="0"/>
                  </a:lnTo>
                  <a:lnTo>
                    <a:pt x="2" y="10"/>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63" name="Freeform 773"/>
            <p:cNvSpPr>
              <a:spLocks/>
            </p:cNvSpPr>
            <p:nvPr/>
          </p:nvSpPr>
          <p:spPr bwMode="auto">
            <a:xfrm>
              <a:off x="6678613" y="4132264"/>
              <a:ext cx="3175" cy="15875"/>
            </a:xfrm>
            <a:custGeom>
              <a:avLst/>
              <a:gdLst>
                <a:gd name="T0" fmla="*/ 2 w 2"/>
                <a:gd name="T1" fmla="*/ 10 h 10"/>
                <a:gd name="T2" fmla="*/ 2 w 2"/>
                <a:gd name="T3" fmla="*/ 10 h 10"/>
                <a:gd name="T4" fmla="*/ 0 w 2"/>
                <a:gd name="T5" fmla="*/ 0 h 10"/>
                <a:gd name="T6" fmla="*/ 0 w 2"/>
                <a:gd name="T7" fmla="*/ 0 h 10"/>
                <a:gd name="T8" fmla="*/ 2 w 2"/>
                <a:gd name="T9" fmla="*/ 10 h 10"/>
              </a:gdLst>
              <a:ahLst/>
              <a:cxnLst>
                <a:cxn ang="0">
                  <a:pos x="T0" y="T1"/>
                </a:cxn>
                <a:cxn ang="0">
                  <a:pos x="T2" y="T3"/>
                </a:cxn>
                <a:cxn ang="0">
                  <a:pos x="T4" y="T5"/>
                </a:cxn>
                <a:cxn ang="0">
                  <a:pos x="T6" y="T7"/>
                </a:cxn>
                <a:cxn ang="0">
                  <a:pos x="T8" y="T9"/>
                </a:cxn>
              </a:cxnLst>
              <a:rect l="0" t="0" r="r" b="b"/>
              <a:pathLst>
                <a:path w="2" h="10">
                  <a:moveTo>
                    <a:pt x="2" y="10"/>
                  </a:moveTo>
                  <a:lnTo>
                    <a:pt x="2" y="10"/>
                  </a:lnTo>
                  <a:lnTo>
                    <a:pt x="0" y="0"/>
                  </a:lnTo>
                  <a:lnTo>
                    <a:pt x="0" y="0"/>
                  </a:lnTo>
                  <a:lnTo>
                    <a:pt x="2"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64" name="Freeform 775"/>
            <p:cNvSpPr>
              <a:spLocks/>
            </p:cNvSpPr>
            <p:nvPr/>
          </p:nvSpPr>
          <p:spPr bwMode="auto">
            <a:xfrm>
              <a:off x="5876925" y="3703639"/>
              <a:ext cx="395288" cy="388938"/>
            </a:xfrm>
            <a:custGeom>
              <a:avLst/>
              <a:gdLst>
                <a:gd name="T0" fmla="*/ 169 w 249"/>
                <a:gd name="T1" fmla="*/ 12 h 245"/>
                <a:gd name="T2" fmla="*/ 164 w 249"/>
                <a:gd name="T3" fmla="*/ 18 h 245"/>
                <a:gd name="T4" fmla="*/ 168 w 249"/>
                <a:gd name="T5" fmla="*/ 34 h 245"/>
                <a:gd name="T6" fmla="*/ 162 w 249"/>
                <a:gd name="T7" fmla="*/ 44 h 245"/>
                <a:gd name="T8" fmla="*/ 164 w 249"/>
                <a:gd name="T9" fmla="*/ 57 h 245"/>
                <a:gd name="T10" fmla="*/ 156 w 249"/>
                <a:gd name="T11" fmla="*/ 68 h 245"/>
                <a:gd name="T12" fmla="*/ 145 w 249"/>
                <a:gd name="T13" fmla="*/ 74 h 245"/>
                <a:gd name="T14" fmla="*/ 135 w 249"/>
                <a:gd name="T15" fmla="*/ 92 h 245"/>
                <a:gd name="T16" fmla="*/ 129 w 249"/>
                <a:gd name="T17" fmla="*/ 99 h 245"/>
                <a:gd name="T18" fmla="*/ 110 w 249"/>
                <a:gd name="T19" fmla="*/ 102 h 245"/>
                <a:gd name="T20" fmla="*/ 103 w 249"/>
                <a:gd name="T21" fmla="*/ 109 h 245"/>
                <a:gd name="T22" fmla="*/ 97 w 249"/>
                <a:gd name="T23" fmla="*/ 115 h 245"/>
                <a:gd name="T24" fmla="*/ 82 w 249"/>
                <a:gd name="T25" fmla="*/ 121 h 245"/>
                <a:gd name="T26" fmla="*/ 65 w 249"/>
                <a:gd name="T27" fmla="*/ 142 h 245"/>
                <a:gd name="T28" fmla="*/ 27 w 249"/>
                <a:gd name="T29" fmla="*/ 142 h 245"/>
                <a:gd name="T30" fmla="*/ 4 w 249"/>
                <a:gd name="T31" fmla="*/ 151 h 245"/>
                <a:gd name="T32" fmla="*/ 22 w 249"/>
                <a:gd name="T33" fmla="*/ 168 h 245"/>
                <a:gd name="T34" fmla="*/ 26 w 249"/>
                <a:gd name="T35" fmla="*/ 183 h 245"/>
                <a:gd name="T36" fmla="*/ 32 w 249"/>
                <a:gd name="T37" fmla="*/ 192 h 245"/>
                <a:gd name="T38" fmla="*/ 27 w 249"/>
                <a:gd name="T39" fmla="*/ 193 h 245"/>
                <a:gd name="T40" fmla="*/ 14 w 249"/>
                <a:gd name="T41" fmla="*/ 197 h 245"/>
                <a:gd name="T42" fmla="*/ 14 w 249"/>
                <a:gd name="T43" fmla="*/ 222 h 245"/>
                <a:gd name="T44" fmla="*/ 40 w 249"/>
                <a:gd name="T45" fmla="*/ 218 h 245"/>
                <a:gd name="T46" fmla="*/ 52 w 249"/>
                <a:gd name="T47" fmla="*/ 221 h 245"/>
                <a:gd name="T48" fmla="*/ 71 w 249"/>
                <a:gd name="T49" fmla="*/ 219 h 245"/>
                <a:gd name="T50" fmla="*/ 88 w 249"/>
                <a:gd name="T51" fmla="*/ 219 h 245"/>
                <a:gd name="T52" fmla="*/ 96 w 249"/>
                <a:gd name="T53" fmla="*/ 231 h 245"/>
                <a:gd name="T54" fmla="*/ 103 w 249"/>
                <a:gd name="T55" fmla="*/ 244 h 245"/>
                <a:gd name="T56" fmla="*/ 116 w 249"/>
                <a:gd name="T57" fmla="*/ 245 h 245"/>
                <a:gd name="T58" fmla="*/ 124 w 249"/>
                <a:gd name="T59" fmla="*/ 238 h 245"/>
                <a:gd name="T60" fmla="*/ 153 w 249"/>
                <a:gd name="T61" fmla="*/ 235 h 245"/>
                <a:gd name="T62" fmla="*/ 156 w 249"/>
                <a:gd name="T63" fmla="*/ 213 h 245"/>
                <a:gd name="T64" fmla="*/ 156 w 249"/>
                <a:gd name="T65" fmla="*/ 180 h 245"/>
                <a:gd name="T66" fmla="*/ 171 w 249"/>
                <a:gd name="T67" fmla="*/ 171 h 245"/>
                <a:gd name="T68" fmla="*/ 200 w 249"/>
                <a:gd name="T69" fmla="*/ 142 h 245"/>
                <a:gd name="T70" fmla="*/ 222 w 249"/>
                <a:gd name="T71" fmla="*/ 119 h 245"/>
                <a:gd name="T72" fmla="*/ 232 w 249"/>
                <a:gd name="T73" fmla="*/ 103 h 245"/>
                <a:gd name="T74" fmla="*/ 249 w 249"/>
                <a:gd name="T75" fmla="*/ 89 h 245"/>
                <a:gd name="T76" fmla="*/ 226 w 249"/>
                <a:gd name="T77" fmla="*/ 74 h 245"/>
                <a:gd name="T78" fmla="*/ 232 w 249"/>
                <a:gd name="T79" fmla="*/ 64 h 245"/>
                <a:gd name="T80" fmla="*/ 223 w 249"/>
                <a:gd name="T81" fmla="*/ 57 h 245"/>
                <a:gd name="T82" fmla="*/ 226 w 249"/>
                <a:gd name="T83" fmla="*/ 54 h 245"/>
                <a:gd name="T84" fmla="*/ 219 w 249"/>
                <a:gd name="T85" fmla="*/ 47 h 245"/>
                <a:gd name="T86" fmla="*/ 214 w 249"/>
                <a:gd name="T87" fmla="*/ 35 h 245"/>
                <a:gd name="T88" fmla="*/ 230 w 249"/>
                <a:gd name="T89" fmla="*/ 35 h 245"/>
                <a:gd name="T90" fmla="*/ 226 w 249"/>
                <a:gd name="T91" fmla="*/ 24 h 245"/>
                <a:gd name="T92" fmla="*/ 217 w 249"/>
                <a:gd name="T93" fmla="*/ 6 h 245"/>
                <a:gd name="T94" fmla="*/ 201 w 249"/>
                <a:gd name="T95" fmla="*/ 2 h 245"/>
                <a:gd name="T96" fmla="*/ 178 w 249"/>
                <a:gd name="T97" fmla="*/ 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9" h="245">
                  <a:moveTo>
                    <a:pt x="178" y="6"/>
                  </a:moveTo>
                  <a:lnTo>
                    <a:pt x="178" y="6"/>
                  </a:lnTo>
                  <a:lnTo>
                    <a:pt x="175" y="9"/>
                  </a:lnTo>
                  <a:lnTo>
                    <a:pt x="169" y="12"/>
                  </a:lnTo>
                  <a:lnTo>
                    <a:pt x="165" y="15"/>
                  </a:lnTo>
                  <a:lnTo>
                    <a:pt x="165" y="16"/>
                  </a:lnTo>
                  <a:lnTo>
                    <a:pt x="164" y="18"/>
                  </a:lnTo>
                  <a:lnTo>
                    <a:pt x="164" y="18"/>
                  </a:lnTo>
                  <a:lnTo>
                    <a:pt x="166" y="26"/>
                  </a:lnTo>
                  <a:lnTo>
                    <a:pt x="168" y="31"/>
                  </a:lnTo>
                  <a:lnTo>
                    <a:pt x="168" y="34"/>
                  </a:lnTo>
                  <a:lnTo>
                    <a:pt x="168" y="34"/>
                  </a:lnTo>
                  <a:lnTo>
                    <a:pt x="168" y="37"/>
                  </a:lnTo>
                  <a:lnTo>
                    <a:pt x="165" y="38"/>
                  </a:lnTo>
                  <a:lnTo>
                    <a:pt x="164" y="41"/>
                  </a:lnTo>
                  <a:lnTo>
                    <a:pt x="162" y="44"/>
                  </a:lnTo>
                  <a:lnTo>
                    <a:pt x="162" y="44"/>
                  </a:lnTo>
                  <a:lnTo>
                    <a:pt x="162" y="48"/>
                  </a:lnTo>
                  <a:lnTo>
                    <a:pt x="162" y="53"/>
                  </a:lnTo>
                  <a:lnTo>
                    <a:pt x="164" y="57"/>
                  </a:lnTo>
                  <a:lnTo>
                    <a:pt x="164" y="61"/>
                  </a:lnTo>
                  <a:lnTo>
                    <a:pt x="164" y="61"/>
                  </a:lnTo>
                  <a:lnTo>
                    <a:pt x="159" y="67"/>
                  </a:lnTo>
                  <a:lnTo>
                    <a:pt x="156" y="68"/>
                  </a:lnTo>
                  <a:lnTo>
                    <a:pt x="152" y="71"/>
                  </a:lnTo>
                  <a:lnTo>
                    <a:pt x="152" y="71"/>
                  </a:lnTo>
                  <a:lnTo>
                    <a:pt x="148" y="73"/>
                  </a:lnTo>
                  <a:lnTo>
                    <a:pt x="145" y="74"/>
                  </a:lnTo>
                  <a:lnTo>
                    <a:pt x="139" y="80"/>
                  </a:lnTo>
                  <a:lnTo>
                    <a:pt x="139" y="80"/>
                  </a:lnTo>
                  <a:lnTo>
                    <a:pt x="136" y="86"/>
                  </a:lnTo>
                  <a:lnTo>
                    <a:pt x="135" y="92"/>
                  </a:lnTo>
                  <a:lnTo>
                    <a:pt x="132" y="97"/>
                  </a:lnTo>
                  <a:lnTo>
                    <a:pt x="130" y="99"/>
                  </a:lnTo>
                  <a:lnTo>
                    <a:pt x="129" y="99"/>
                  </a:lnTo>
                  <a:lnTo>
                    <a:pt x="129" y="99"/>
                  </a:lnTo>
                  <a:lnTo>
                    <a:pt x="122" y="99"/>
                  </a:lnTo>
                  <a:lnTo>
                    <a:pt x="116" y="99"/>
                  </a:lnTo>
                  <a:lnTo>
                    <a:pt x="116" y="99"/>
                  </a:lnTo>
                  <a:lnTo>
                    <a:pt x="110" y="102"/>
                  </a:lnTo>
                  <a:lnTo>
                    <a:pt x="106" y="105"/>
                  </a:lnTo>
                  <a:lnTo>
                    <a:pt x="103" y="108"/>
                  </a:lnTo>
                  <a:lnTo>
                    <a:pt x="103" y="109"/>
                  </a:lnTo>
                  <a:lnTo>
                    <a:pt x="103" y="109"/>
                  </a:lnTo>
                  <a:lnTo>
                    <a:pt x="103" y="112"/>
                  </a:lnTo>
                  <a:lnTo>
                    <a:pt x="101" y="113"/>
                  </a:lnTo>
                  <a:lnTo>
                    <a:pt x="97" y="115"/>
                  </a:lnTo>
                  <a:lnTo>
                    <a:pt x="97" y="115"/>
                  </a:lnTo>
                  <a:lnTo>
                    <a:pt x="88" y="115"/>
                  </a:lnTo>
                  <a:lnTo>
                    <a:pt x="85" y="116"/>
                  </a:lnTo>
                  <a:lnTo>
                    <a:pt x="82" y="121"/>
                  </a:lnTo>
                  <a:lnTo>
                    <a:pt x="82" y="121"/>
                  </a:lnTo>
                  <a:lnTo>
                    <a:pt x="74" y="134"/>
                  </a:lnTo>
                  <a:lnTo>
                    <a:pt x="69" y="139"/>
                  </a:lnTo>
                  <a:lnTo>
                    <a:pt x="68" y="142"/>
                  </a:lnTo>
                  <a:lnTo>
                    <a:pt x="65" y="142"/>
                  </a:lnTo>
                  <a:lnTo>
                    <a:pt x="65" y="142"/>
                  </a:lnTo>
                  <a:lnTo>
                    <a:pt x="46" y="142"/>
                  </a:lnTo>
                  <a:lnTo>
                    <a:pt x="27" y="142"/>
                  </a:lnTo>
                  <a:lnTo>
                    <a:pt x="27" y="142"/>
                  </a:lnTo>
                  <a:lnTo>
                    <a:pt x="0" y="145"/>
                  </a:lnTo>
                  <a:lnTo>
                    <a:pt x="0" y="145"/>
                  </a:lnTo>
                  <a:lnTo>
                    <a:pt x="4" y="151"/>
                  </a:lnTo>
                  <a:lnTo>
                    <a:pt x="4" y="151"/>
                  </a:lnTo>
                  <a:lnTo>
                    <a:pt x="9" y="157"/>
                  </a:lnTo>
                  <a:lnTo>
                    <a:pt x="19" y="164"/>
                  </a:lnTo>
                  <a:lnTo>
                    <a:pt x="19" y="164"/>
                  </a:lnTo>
                  <a:lnTo>
                    <a:pt x="22" y="168"/>
                  </a:lnTo>
                  <a:lnTo>
                    <a:pt x="23" y="171"/>
                  </a:lnTo>
                  <a:lnTo>
                    <a:pt x="25" y="179"/>
                  </a:lnTo>
                  <a:lnTo>
                    <a:pt x="25" y="179"/>
                  </a:lnTo>
                  <a:lnTo>
                    <a:pt x="26" y="183"/>
                  </a:lnTo>
                  <a:lnTo>
                    <a:pt x="29" y="186"/>
                  </a:lnTo>
                  <a:lnTo>
                    <a:pt x="30" y="189"/>
                  </a:lnTo>
                  <a:lnTo>
                    <a:pt x="32" y="192"/>
                  </a:lnTo>
                  <a:lnTo>
                    <a:pt x="32" y="192"/>
                  </a:lnTo>
                  <a:lnTo>
                    <a:pt x="32" y="192"/>
                  </a:lnTo>
                  <a:lnTo>
                    <a:pt x="30" y="193"/>
                  </a:lnTo>
                  <a:lnTo>
                    <a:pt x="27" y="193"/>
                  </a:lnTo>
                  <a:lnTo>
                    <a:pt x="27" y="193"/>
                  </a:lnTo>
                  <a:lnTo>
                    <a:pt x="23" y="193"/>
                  </a:lnTo>
                  <a:lnTo>
                    <a:pt x="19" y="195"/>
                  </a:lnTo>
                  <a:lnTo>
                    <a:pt x="19" y="195"/>
                  </a:lnTo>
                  <a:lnTo>
                    <a:pt x="14" y="197"/>
                  </a:lnTo>
                  <a:lnTo>
                    <a:pt x="12" y="205"/>
                  </a:lnTo>
                  <a:lnTo>
                    <a:pt x="6" y="221"/>
                  </a:lnTo>
                  <a:lnTo>
                    <a:pt x="6" y="221"/>
                  </a:lnTo>
                  <a:lnTo>
                    <a:pt x="14" y="222"/>
                  </a:lnTo>
                  <a:lnTo>
                    <a:pt x="23" y="221"/>
                  </a:lnTo>
                  <a:lnTo>
                    <a:pt x="23" y="221"/>
                  </a:lnTo>
                  <a:lnTo>
                    <a:pt x="40" y="218"/>
                  </a:lnTo>
                  <a:lnTo>
                    <a:pt x="40" y="218"/>
                  </a:lnTo>
                  <a:lnTo>
                    <a:pt x="43" y="218"/>
                  </a:lnTo>
                  <a:lnTo>
                    <a:pt x="45" y="219"/>
                  </a:lnTo>
                  <a:lnTo>
                    <a:pt x="48" y="219"/>
                  </a:lnTo>
                  <a:lnTo>
                    <a:pt x="52" y="221"/>
                  </a:lnTo>
                  <a:lnTo>
                    <a:pt x="52" y="221"/>
                  </a:lnTo>
                  <a:lnTo>
                    <a:pt x="61" y="221"/>
                  </a:lnTo>
                  <a:lnTo>
                    <a:pt x="71" y="219"/>
                  </a:lnTo>
                  <a:lnTo>
                    <a:pt x="71" y="219"/>
                  </a:lnTo>
                  <a:lnTo>
                    <a:pt x="80" y="218"/>
                  </a:lnTo>
                  <a:lnTo>
                    <a:pt x="85" y="216"/>
                  </a:lnTo>
                  <a:lnTo>
                    <a:pt x="85" y="216"/>
                  </a:lnTo>
                  <a:lnTo>
                    <a:pt x="88" y="219"/>
                  </a:lnTo>
                  <a:lnTo>
                    <a:pt x="91" y="223"/>
                  </a:lnTo>
                  <a:lnTo>
                    <a:pt x="94" y="228"/>
                  </a:lnTo>
                  <a:lnTo>
                    <a:pt x="96" y="231"/>
                  </a:lnTo>
                  <a:lnTo>
                    <a:pt x="96" y="231"/>
                  </a:lnTo>
                  <a:lnTo>
                    <a:pt x="97" y="234"/>
                  </a:lnTo>
                  <a:lnTo>
                    <a:pt x="97" y="237"/>
                  </a:lnTo>
                  <a:lnTo>
                    <a:pt x="98" y="241"/>
                  </a:lnTo>
                  <a:lnTo>
                    <a:pt x="103" y="244"/>
                  </a:lnTo>
                  <a:lnTo>
                    <a:pt x="103" y="244"/>
                  </a:lnTo>
                  <a:lnTo>
                    <a:pt x="107" y="245"/>
                  </a:lnTo>
                  <a:lnTo>
                    <a:pt x="110" y="245"/>
                  </a:lnTo>
                  <a:lnTo>
                    <a:pt x="116" y="245"/>
                  </a:lnTo>
                  <a:lnTo>
                    <a:pt x="116" y="245"/>
                  </a:lnTo>
                  <a:lnTo>
                    <a:pt x="120" y="239"/>
                  </a:lnTo>
                  <a:lnTo>
                    <a:pt x="122" y="238"/>
                  </a:lnTo>
                  <a:lnTo>
                    <a:pt x="124" y="238"/>
                  </a:lnTo>
                  <a:lnTo>
                    <a:pt x="124" y="238"/>
                  </a:lnTo>
                  <a:lnTo>
                    <a:pt x="142" y="238"/>
                  </a:lnTo>
                  <a:lnTo>
                    <a:pt x="151" y="237"/>
                  </a:lnTo>
                  <a:lnTo>
                    <a:pt x="153" y="235"/>
                  </a:lnTo>
                  <a:lnTo>
                    <a:pt x="156" y="234"/>
                  </a:lnTo>
                  <a:lnTo>
                    <a:pt x="156" y="234"/>
                  </a:lnTo>
                  <a:lnTo>
                    <a:pt x="156" y="225"/>
                  </a:lnTo>
                  <a:lnTo>
                    <a:pt x="156" y="213"/>
                  </a:lnTo>
                  <a:lnTo>
                    <a:pt x="155" y="190"/>
                  </a:lnTo>
                  <a:lnTo>
                    <a:pt x="155" y="190"/>
                  </a:lnTo>
                  <a:lnTo>
                    <a:pt x="155" y="186"/>
                  </a:lnTo>
                  <a:lnTo>
                    <a:pt x="156" y="180"/>
                  </a:lnTo>
                  <a:lnTo>
                    <a:pt x="158" y="177"/>
                  </a:lnTo>
                  <a:lnTo>
                    <a:pt x="162" y="174"/>
                  </a:lnTo>
                  <a:lnTo>
                    <a:pt x="162" y="174"/>
                  </a:lnTo>
                  <a:lnTo>
                    <a:pt x="171" y="171"/>
                  </a:lnTo>
                  <a:lnTo>
                    <a:pt x="177" y="168"/>
                  </a:lnTo>
                  <a:lnTo>
                    <a:pt x="182" y="163"/>
                  </a:lnTo>
                  <a:lnTo>
                    <a:pt x="182" y="163"/>
                  </a:lnTo>
                  <a:lnTo>
                    <a:pt x="200" y="142"/>
                  </a:lnTo>
                  <a:lnTo>
                    <a:pt x="208" y="132"/>
                  </a:lnTo>
                  <a:lnTo>
                    <a:pt x="214" y="126"/>
                  </a:lnTo>
                  <a:lnTo>
                    <a:pt x="214" y="126"/>
                  </a:lnTo>
                  <a:lnTo>
                    <a:pt x="222" y="119"/>
                  </a:lnTo>
                  <a:lnTo>
                    <a:pt x="224" y="115"/>
                  </a:lnTo>
                  <a:lnTo>
                    <a:pt x="227" y="109"/>
                  </a:lnTo>
                  <a:lnTo>
                    <a:pt x="227" y="109"/>
                  </a:lnTo>
                  <a:lnTo>
                    <a:pt x="232" y="103"/>
                  </a:lnTo>
                  <a:lnTo>
                    <a:pt x="239" y="97"/>
                  </a:lnTo>
                  <a:lnTo>
                    <a:pt x="249" y="90"/>
                  </a:lnTo>
                  <a:lnTo>
                    <a:pt x="249" y="90"/>
                  </a:lnTo>
                  <a:lnTo>
                    <a:pt x="249" y="89"/>
                  </a:lnTo>
                  <a:lnTo>
                    <a:pt x="248" y="86"/>
                  </a:lnTo>
                  <a:lnTo>
                    <a:pt x="239" y="82"/>
                  </a:lnTo>
                  <a:lnTo>
                    <a:pt x="232" y="77"/>
                  </a:lnTo>
                  <a:lnTo>
                    <a:pt x="226" y="74"/>
                  </a:lnTo>
                  <a:lnTo>
                    <a:pt x="226" y="74"/>
                  </a:lnTo>
                  <a:lnTo>
                    <a:pt x="226" y="71"/>
                  </a:lnTo>
                  <a:lnTo>
                    <a:pt x="227" y="70"/>
                  </a:lnTo>
                  <a:lnTo>
                    <a:pt x="232" y="64"/>
                  </a:lnTo>
                  <a:lnTo>
                    <a:pt x="233" y="61"/>
                  </a:lnTo>
                  <a:lnTo>
                    <a:pt x="232" y="60"/>
                  </a:lnTo>
                  <a:lnTo>
                    <a:pt x="229" y="57"/>
                  </a:lnTo>
                  <a:lnTo>
                    <a:pt x="223" y="57"/>
                  </a:lnTo>
                  <a:lnTo>
                    <a:pt x="223" y="57"/>
                  </a:lnTo>
                  <a:lnTo>
                    <a:pt x="223" y="57"/>
                  </a:lnTo>
                  <a:lnTo>
                    <a:pt x="224" y="55"/>
                  </a:lnTo>
                  <a:lnTo>
                    <a:pt x="226" y="54"/>
                  </a:lnTo>
                  <a:lnTo>
                    <a:pt x="223" y="51"/>
                  </a:lnTo>
                  <a:lnTo>
                    <a:pt x="223" y="51"/>
                  </a:lnTo>
                  <a:lnTo>
                    <a:pt x="220" y="50"/>
                  </a:lnTo>
                  <a:lnTo>
                    <a:pt x="219" y="47"/>
                  </a:lnTo>
                  <a:lnTo>
                    <a:pt x="216" y="41"/>
                  </a:lnTo>
                  <a:lnTo>
                    <a:pt x="216" y="41"/>
                  </a:lnTo>
                  <a:lnTo>
                    <a:pt x="214" y="37"/>
                  </a:lnTo>
                  <a:lnTo>
                    <a:pt x="214" y="35"/>
                  </a:lnTo>
                  <a:lnTo>
                    <a:pt x="216" y="34"/>
                  </a:lnTo>
                  <a:lnTo>
                    <a:pt x="220" y="34"/>
                  </a:lnTo>
                  <a:lnTo>
                    <a:pt x="230" y="35"/>
                  </a:lnTo>
                  <a:lnTo>
                    <a:pt x="230" y="35"/>
                  </a:lnTo>
                  <a:lnTo>
                    <a:pt x="233" y="35"/>
                  </a:lnTo>
                  <a:lnTo>
                    <a:pt x="232" y="32"/>
                  </a:lnTo>
                  <a:lnTo>
                    <a:pt x="229" y="28"/>
                  </a:lnTo>
                  <a:lnTo>
                    <a:pt x="226" y="24"/>
                  </a:lnTo>
                  <a:lnTo>
                    <a:pt x="226" y="24"/>
                  </a:lnTo>
                  <a:lnTo>
                    <a:pt x="224" y="16"/>
                  </a:lnTo>
                  <a:lnTo>
                    <a:pt x="222" y="11"/>
                  </a:lnTo>
                  <a:lnTo>
                    <a:pt x="217" y="6"/>
                  </a:lnTo>
                  <a:lnTo>
                    <a:pt x="213" y="2"/>
                  </a:lnTo>
                  <a:lnTo>
                    <a:pt x="213" y="0"/>
                  </a:lnTo>
                  <a:lnTo>
                    <a:pt x="213" y="0"/>
                  </a:lnTo>
                  <a:lnTo>
                    <a:pt x="201" y="2"/>
                  </a:lnTo>
                  <a:lnTo>
                    <a:pt x="201" y="2"/>
                  </a:lnTo>
                  <a:lnTo>
                    <a:pt x="188" y="2"/>
                  </a:lnTo>
                  <a:lnTo>
                    <a:pt x="182" y="3"/>
                  </a:lnTo>
                  <a:lnTo>
                    <a:pt x="178"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65" name="Freeform 777"/>
            <p:cNvSpPr>
              <a:spLocks/>
            </p:cNvSpPr>
            <p:nvPr/>
          </p:nvSpPr>
          <p:spPr bwMode="auto">
            <a:xfrm>
              <a:off x="5862638" y="3657601"/>
              <a:ext cx="354013" cy="276225"/>
            </a:xfrm>
            <a:custGeom>
              <a:avLst/>
              <a:gdLst>
                <a:gd name="T0" fmla="*/ 6 w 223"/>
                <a:gd name="T1" fmla="*/ 167 h 174"/>
                <a:gd name="T2" fmla="*/ 7 w 223"/>
                <a:gd name="T3" fmla="*/ 164 h 174"/>
                <a:gd name="T4" fmla="*/ 7 w 223"/>
                <a:gd name="T5" fmla="*/ 164 h 174"/>
                <a:gd name="T6" fmla="*/ 7 w 223"/>
                <a:gd name="T7" fmla="*/ 164 h 174"/>
                <a:gd name="T8" fmla="*/ 18 w 223"/>
                <a:gd name="T9" fmla="*/ 147 h 174"/>
                <a:gd name="T10" fmla="*/ 10 w 223"/>
                <a:gd name="T11" fmla="*/ 139 h 174"/>
                <a:gd name="T12" fmla="*/ 2 w 223"/>
                <a:gd name="T13" fmla="*/ 128 h 174"/>
                <a:gd name="T14" fmla="*/ 6 w 223"/>
                <a:gd name="T15" fmla="*/ 100 h 174"/>
                <a:gd name="T16" fmla="*/ 3 w 223"/>
                <a:gd name="T17" fmla="*/ 89 h 174"/>
                <a:gd name="T18" fmla="*/ 2 w 223"/>
                <a:gd name="T19" fmla="*/ 77 h 174"/>
                <a:gd name="T20" fmla="*/ 10 w 223"/>
                <a:gd name="T21" fmla="*/ 66 h 174"/>
                <a:gd name="T22" fmla="*/ 10 w 223"/>
                <a:gd name="T23" fmla="*/ 64 h 174"/>
                <a:gd name="T24" fmla="*/ 22 w 223"/>
                <a:gd name="T25" fmla="*/ 60 h 174"/>
                <a:gd name="T26" fmla="*/ 32 w 223"/>
                <a:gd name="T27" fmla="*/ 63 h 174"/>
                <a:gd name="T28" fmla="*/ 34 w 223"/>
                <a:gd name="T29" fmla="*/ 63 h 174"/>
                <a:gd name="T30" fmla="*/ 41 w 223"/>
                <a:gd name="T31" fmla="*/ 57 h 174"/>
                <a:gd name="T32" fmla="*/ 42 w 223"/>
                <a:gd name="T33" fmla="*/ 57 h 174"/>
                <a:gd name="T34" fmla="*/ 42 w 223"/>
                <a:gd name="T35" fmla="*/ 55 h 174"/>
                <a:gd name="T36" fmla="*/ 63 w 223"/>
                <a:gd name="T37" fmla="*/ 42 h 174"/>
                <a:gd name="T38" fmla="*/ 67 w 223"/>
                <a:gd name="T39" fmla="*/ 29 h 174"/>
                <a:gd name="T40" fmla="*/ 78 w 223"/>
                <a:gd name="T41" fmla="*/ 22 h 174"/>
                <a:gd name="T42" fmla="*/ 90 w 223"/>
                <a:gd name="T43" fmla="*/ 19 h 174"/>
                <a:gd name="T44" fmla="*/ 113 w 223"/>
                <a:gd name="T45" fmla="*/ 21 h 174"/>
                <a:gd name="T46" fmla="*/ 125 w 223"/>
                <a:gd name="T47" fmla="*/ 24 h 174"/>
                <a:gd name="T48" fmla="*/ 132 w 223"/>
                <a:gd name="T49" fmla="*/ 21 h 174"/>
                <a:gd name="T50" fmla="*/ 152 w 223"/>
                <a:gd name="T51" fmla="*/ 18 h 174"/>
                <a:gd name="T52" fmla="*/ 158 w 223"/>
                <a:gd name="T53" fmla="*/ 6 h 174"/>
                <a:gd name="T54" fmla="*/ 173 w 223"/>
                <a:gd name="T55" fmla="*/ 0 h 174"/>
                <a:gd name="T56" fmla="*/ 175 w 223"/>
                <a:gd name="T57" fmla="*/ 25 h 174"/>
                <a:gd name="T58" fmla="*/ 178 w 223"/>
                <a:gd name="T59" fmla="*/ 28 h 174"/>
                <a:gd name="T60" fmla="*/ 206 w 223"/>
                <a:gd name="T61" fmla="*/ 24 h 174"/>
                <a:gd name="T62" fmla="*/ 220 w 223"/>
                <a:gd name="T63" fmla="*/ 27 h 174"/>
                <a:gd name="T64" fmla="*/ 210 w 223"/>
                <a:gd name="T65" fmla="*/ 31 h 174"/>
                <a:gd name="T66" fmla="*/ 187 w 223"/>
                <a:gd name="T67" fmla="*/ 35 h 174"/>
                <a:gd name="T68" fmla="*/ 175 w 223"/>
                <a:gd name="T69" fmla="*/ 44 h 174"/>
                <a:gd name="T70" fmla="*/ 173 w 223"/>
                <a:gd name="T71" fmla="*/ 47 h 174"/>
                <a:gd name="T72" fmla="*/ 177 w 223"/>
                <a:gd name="T73" fmla="*/ 63 h 174"/>
                <a:gd name="T74" fmla="*/ 173 w 223"/>
                <a:gd name="T75" fmla="*/ 70 h 174"/>
                <a:gd name="T76" fmla="*/ 170 w 223"/>
                <a:gd name="T77" fmla="*/ 76 h 174"/>
                <a:gd name="T78" fmla="*/ 173 w 223"/>
                <a:gd name="T79" fmla="*/ 90 h 174"/>
                <a:gd name="T80" fmla="*/ 161 w 223"/>
                <a:gd name="T81" fmla="*/ 100 h 174"/>
                <a:gd name="T82" fmla="*/ 148 w 223"/>
                <a:gd name="T83" fmla="*/ 109 h 174"/>
                <a:gd name="T84" fmla="*/ 141 w 223"/>
                <a:gd name="T85" fmla="*/ 126 h 174"/>
                <a:gd name="T86" fmla="*/ 133 w 223"/>
                <a:gd name="T87" fmla="*/ 128 h 174"/>
                <a:gd name="T88" fmla="*/ 131 w 223"/>
                <a:gd name="T89" fmla="*/ 128 h 174"/>
                <a:gd name="T90" fmla="*/ 125 w 223"/>
                <a:gd name="T91" fmla="*/ 128 h 174"/>
                <a:gd name="T92" fmla="*/ 112 w 223"/>
                <a:gd name="T93" fmla="*/ 137 h 174"/>
                <a:gd name="T94" fmla="*/ 112 w 223"/>
                <a:gd name="T95" fmla="*/ 141 h 174"/>
                <a:gd name="T96" fmla="*/ 97 w 223"/>
                <a:gd name="T97" fmla="*/ 144 h 174"/>
                <a:gd name="T98" fmla="*/ 83 w 223"/>
                <a:gd name="T99" fmla="*/ 163 h 174"/>
                <a:gd name="T100" fmla="*/ 74 w 223"/>
                <a:gd name="T101" fmla="*/ 171 h 174"/>
                <a:gd name="T102" fmla="*/ 48 w 223"/>
                <a:gd name="T103" fmla="*/ 171 h 174"/>
                <a:gd name="T104" fmla="*/ 36 w 223"/>
                <a:gd name="T105" fmla="*/ 171 h 174"/>
                <a:gd name="T106" fmla="*/ 36 w 223"/>
                <a:gd name="T107" fmla="*/ 171 h 174"/>
                <a:gd name="T108" fmla="*/ 36 w 223"/>
                <a:gd name="T109" fmla="*/ 171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3" h="174">
                  <a:moveTo>
                    <a:pt x="9" y="174"/>
                  </a:moveTo>
                  <a:lnTo>
                    <a:pt x="9" y="174"/>
                  </a:lnTo>
                  <a:lnTo>
                    <a:pt x="7" y="168"/>
                  </a:lnTo>
                  <a:lnTo>
                    <a:pt x="6" y="167"/>
                  </a:lnTo>
                  <a:lnTo>
                    <a:pt x="7" y="164"/>
                  </a:lnTo>
                  <a:lnTo>
                    <a:pt x="7" y="164"/>
                  </a:lnTo>
                  <a:lnTo>
                    <a:pt x="7" y="164"/>
                  </a:lnTo>
                  <a:lnTo>
                    <a:pt x="7" y="164"/>
                  </a:lnTo>
                  <a:lnTo>
                    <a:pt x="7" y="164"/>
                  </a:lnTo>
                  <a:lnTo>
                    <a:pt x="7" y="164"/>
                  </a:lnTo>
                  <a:lnTo>
                    <a:pt x="7" y="164"/>
                  </a:lnTo>
                  <a:lnTo>
                    <a:pt x="7" y="164"/>
                  </a:lnTo>
                  <a:lnTo>
                    <a:pt x="7" y="164"/>
                  </a:lnTo>
                  <a:lnTo>
                    <a:pt x="7" y="164"/>
                  </a:lnTo>
                  <a:lnTo>
                    <a:pt x="7" y="164"/>
                  </a:lnTo>
                  <a:lnTo>
                    <a:pt x="7" y="164"/>
                  </a:lnTo>
                  <a:lnTo>
                    <a:pt x="13" y="155"/>
                  </a:lnTo>
                  <a:lnTo>
                    <a:pt x="16" y="151"/>
                  </a:lnTo>
                  <a:lnTo>
                    <a:pt x="18" y="147"/>
                  </a:lnTo>
                  <a:lnTo>
                    <a:pt x="18" y="147"/>
                  </a:lnTo>
                  <a:lnTo>
                    <a:pt x="18" y="145"/>
                  </a:lnTo>
                  <a:lnTo>
                    <a:pt x="16" y="144"/>
                  </a:lnTo>
                  <a:lnTo>
                    <a:pt x="16" y="144"/>
                  </a:lnTo>
                  <a:lnTo>
                    <a:pt x="10" y="139"/>
                  </a:lnTo>
                  <a:lnTo>
                    <a:pt x="7" y="137"/>
                  </a:lnTo>
                  <a:lnTo>
                    <a:pt x="3" y="132"/>
                  </a:lnTo>
                  <a:lnTo>
                    <a:pt x="3" y="132"/>
                  </a:lnTo>
                  <a:lnTo>
                    <a:pt x="2" y="128"/>
                  </a:lnTo>
                  <a:lnTo>
                    <a:pt x="2" y="124"/>
                  </a:lnTo>
                  <a:lnTo>
                    <a:pt x="2" y="124"/>
                  </a:lnTo>
                  <a:lnTo>
                    <a:pt x="3" y="109"/>
                  </a:lnTo>
                  <a:lnTo>
                    <a:pt x="6" y="100"/>
                  </a:lnTo>
                  <a:lnTo>
                    <a:pt x="6" y="100"/>
                  </a:lnTo>
                  <a:lnTo>
                    <a:pt x="6" y="99"/>
                  </a:lnTo>
                  <a:lnTo>
                    <a:pt x="6" y="99"/>
                  </a:lnTo>
                  <a:lnTo>
                    <a:pt x="3" y="89"/>
                  </a:lnTo>
                  <a:lnTo>
                    <a:pt x="2" y="84"/>
                  </a:lnTo>
                  <a:lnTo>
                    <a:pt x="0" y="79"/>
                  </a:lnTo>
                  <a:lnTo>
                    <a:pt x="0" y="79"/>
                  </a:lnTo>
                  <a:lnTo>
                    <a:pt x="2" y="77"/>
                  </a:lnTo>
                  <a:lnTo>
                    <a:pt x="2" y="77"/>
                  </a:lnTo>
                  <a:lnTo>
                    <a:pt x="7" y="71"/>
                  </a:lnTo>
                  <a:lnTo>
                    <a:pt x="10" y="66"/>
                  </a:lnTo>
                  <a:lnTo>
                    <a:pt x="10" y="66"/>
                  </a:lnTo>
                  <a:lnTo>
                    <a:pt x="10" y="64"/>
                  </a:lnTo>
                  <a:lnTo>
                    <a:pt x="10" y="64"/>
                  </a:lnTo>
                  <a:lnTo>
                    <a:pt x="10" y="64"/>
                  </a:lnTo>
                  <a:lnTo>
                    <a:pt x="10" y="64"/>
                  </a:lnTo>
                  <a:lnTo>
                    <a:pt x="10" y="64"/>
                  </a:lnTo>
                  <a:lnTo>
                    <a:pt x="10" y="55"/>
                  </a:lnTo>
                  <a:lnTo>
                    <a:pt x="10" y="55"/>
                  </a:lnTo>
                  <a:lnTo>
                    <a:pt x="22" y="60"/>
                  </a:lnTo>
                  <a:lnTo>
                    <a:pt x="31" y="63"/>
                  </a:lnTo>
                  <a:lnTo>
                    <a:pt x="31" y="63"/>
                  </a:lnTo>
                  <a:lnTo>
                    <a:pt x="32" y="63"/>
                  </a:lnTo>
                  <a:lnTo>
                    <a:pt x="32" y="63"/>
                  </a:lnTo>
                  <a:lnTo>
                    <a:pt x="34" y="63"/>
                  </a:lnTo>
                  <a:lnTo>
                    <a:pt x="34" y="63"/>
                  </a:lnTo>
                  <a:lnTo>
                    <a:pt x="34" y="63"/>
                  </a:lnTo>
                  <a:lnTo>
                    <a:pt x="34" y="63"/>
                  </a:lnTo>
                  <a:lnTo>
                    <a:pt x="38" y="61"/>
                  </a:lnTo>
                  <a:lnTo>
                    <a:pt x="41" y="57"/>
                  </a:lnTo>
                  <a:lnTo>
                    <a:pt x="41" y="57"/>
                  </a:lnTo>
                  <a:lnTo>
                    <a:pt x="41" y="57"/>
                  </a:lnTo>
                  <a:lnTo>
                    <a:pt x="41" y="57"/>
                  </a:lnTo>
                  <a:lnTo>
                    <a:pt x="41" y="57"/>
                  </a:lnTo>
                  <a:lnTo>
                    <a:pt x="41" y="57"/>
                  </a:lnTo>
                  <a:lnTo>
                    <a:pt x="42" y="57"/>
                  </a:lnTo>
                  <a:lnTo>
                    <a:pt x="42" y="57"/>
                  </a:lnTo>
                  <a:lnTo>
                    <a:pt x="42" y="57"/>
                  </a:lnTo>
                  <a:lnTo>
                    <a:pt x="42" y="57"/>
                  </a:lnTo>
                  <a:lnTo>
                    <a:pt x="42" y="55"/>
                  </a:lnTo>
                  <a:lnTo>
                    <a:pt x="42" y="55"/>
                  </a:lnTo>
                  <a:lnTo>
                    <a:pt x="45" y="53"/>
                  </a:lnTo>
                  <a:lnTo>
                    <a:pt x="52" y="48"/>
                  </a:lnTo>
                  <a:lnTo>
                    <a:pt x="63" y="42"/>
                  </a:lnTo>
                  <a:lnTo>
                    <a:pt x="63" y="42"/>
                  </a:lnTo>
                  <a:lnTo>
                    <a:pt x="64" y="40"/>
                  </a:lnTo>
                  <a:lnTo>
                    <a:pt x="65" y="34"/>
                  </a:lnTo>
                  <a:lnTo>
                    <a:pt x="67" y="29"/>
                  </a:lnTo>
                  <a:lnTo>
                    <a:pt x="70" y="25"/>
                  </a:lnTo>
                  <a:lnTo>
                    <a:pt x="70" y="25"/>
                  </a:lnTo>
                  <a:lnTo>
                    <a:pt x="73" y="24"/>
                  </a:lnTo>
                  <a:lnTo>
                    <a:pt x="78" y="22"/>
                  </a:lnTo>
                  <a:lnTo>
                    <a:pt x="87" y="21"/>
                  </a:lnTo>
                  <a:lnTo>
                    <a:pt x="87" y="21"/>
                  </a:lnTo>
                  <a:lnTo>
                    <a:pt x="90" y="19"/>
                  </a:lnTo>
                  <a:lnTo>
                    <a:pt x="90" y="19"/>
                  </a:lnTo>
                  <a:lnTo>
                    <a:pt x="106" y="18"/>
                  </a:lnTo>
                  <a:lnTo>
                    <a:pt x="106" y="18"/>
                  </a:lnTo>
                  <a:lnTo>
                    <a:pt x="109" y="18"/>
                  </a:lnTo>
                  <a:lnTo>
                    <a:pt x="113" y="21"/>
                  </a:lnTo>
                  <a:lnTo>
                    <a:pt x="116" y="22"/>
                  </a:lnTo>
                  <a:lnTo>
                    <a:pt x="120" y="24"/>
                  </a:lnTo>
                  <a:lnTo>
                    <a:pt x="120" y="24"/>
                  </a:lnTo>
                  <a:lnTo>
                    <a:pt x="125" y="24"/>
                  </a:lnTo>
                  <a:lnTo>
                    <a:pt x="125" y="24"/>
                  </a:lnTo>
                  <a:lnTo>
                    <a:pt x="128" y="24"/>
                  </a:lnTo>
                  <a:lnTo>
                    <a:pt x="132" y="21"/>
                  </a:lnTo>
                  <a:lnTo>
                    <a:pt x="132" y="21"/>
                  </a:lnTo>
                  <a:lnTo>
                    <a:pt x="142" y="19"/>
                  </a:lnTo>
                  <a:lnTo>
                    <a:pt x="151" y="18"/>
                  </a:lnTo>
                  <a:lnTo>
                    <a:pt x="151" y="18"/>
                  </a:lnTo>
                  <a:lnTo>
                    <a:pt x="152" y="18"/>
                  </a:lnTo>
                  <a:lnTo>
                    <a:pt x="154" y="15"/>
                  </a:lnTo>
                  <a:lnTo>
                    <a:pt x="155" y="9"/>
                  </a:lnTo>
                  <a:lnTo>
                    <a:pt x="155" y="9"/>
                  </a:lnTo>
                  <a:lnTo>
                    <a:pt x="158" y="6"/>
                  </a:lnTo>
                  <a:lnTo>
                    <a:pt x="162" y="3"/>
                  </a:lnTo>
                  <a:lnTo>
                    <a:pt x="168" y="2"/>
                  </a:lnTo>
                  <a:lnTo>
                    <a:pt x="173" y="0"/>
                  </a:lnTo>
                  <a:lnTo>
                    <a:pt x="173" y="0"/>
                  </a:lnTo>
                  <a:lnTo>
                    <a:pt x="174" y="2"/>
                  </a:lnTo>
                  <a:lnTo>
                    <a:pt x="175" y="3"/>
                  </a:lnTo>
                  <a:lnTo>
                    <a:pt x="175" y="12"/>
                  </a:lnTo>
                  <a:lnTo>
                    <a:pt x="175" y="25"/>
                  </a:lnTo>
                  <a:lnTo>
                    <a:pt x="175" y="25"/>
                  </a:lnTo>
                  <a:lnTo>
                    <a:pt x="175" y="28"/>
                  </a:lnTo>
                  <a:lnTo>
                    <a:pt x="178" y="28"/>
                  </a:lnTo>
                  <a:lnTo>
                    <a:pt x="178" y="28"/>
                  </a:lnTo>
                  <a:lnTo>
                    <a:pt x="187" y="28"/>
                  </a:lnTo>
                  <a:lnTo>
                    <a:pt x="187" y="28"/>
                  </a:lnTo>
                  <a:lnTo>
                    <a:pt x="197" y="25"/>
                  </a:lnTo>
                  <a:lnTo>
                    <a:pt x="206" y="24"/>
                  </a:lnTo>
                  <a:lnTo>
                    <a:pt x="206" y="24"/>
                  </a:lnTo>
                  <a:lnTo>
                    <a:pt x="223" y="22"/>
                  </a:lnTo>
                  <a:lnTo>
                    <a:pt x="223" y="22"/>
                  </a:lnTo>
                  <a:lnTo>
                    <a:pt x="220" y="27"/>
                  </a:lnTo>
                  <a:lnTo>
                    <a:pt x="220" y="28"/>
                  </a:lnTo>
                  <a:lnTo>
                    <a:pt x="222" y="29"/>
                  </a:lnTo>
                  <a:lnTo>
                    <a:pt x="222" y="29"/>
                  </a:lnTo>
                  <a:lnTo>
                    <a:pt x="210" y="31"/>
                  </a:lnTo>
                  <a:lnTo>
                    <a:pt x="210" y="31"/>
                  </a:lnTo>
                  <a:lnTo>
                    <a:pt x="197" y="31"/>
                  </a:lnTo>
                  <a:lnTo>
                    <a:pt x="191" y="32"/>
                  </a:lnTo>
                  <a:lnTo>
                    <a:pt x="187" y="35"/>
                  </a:lnTo>
                  <a:lnTo>
                    <a:pt x="187" y="35"/>
                  </a:lnTo>
                  <a:lnTo>
                    <a:pt x="184" y="38"/>
                  </a:lnTo>
                  <a:lnTo>
                    <a:pt x="180" y="41"/>
                  </a:lnTo>
                  <a:lnTo>
                    <a:pt x="175" y="44"/>
                  </a:lnTo>
                  <a:lnTo>
                    <a:pt x="173" y="47"/>
                  </a:lnTo>
                  <a:lnTo>
                    <a:pt x="173" y="47"/>
                  </a:lnTo>
                  <a:lnTo>
                    <a:pt x="173" y="47"/>
                  </a:lnTo>
                  <a:lnTo>
                    <a:pt x="173" y="47"/>
                  </a:lnTo>
                  <a:lnTo>
                    <a:pt x="175" y="54"/>
                  </a:lnTo>
                  <a:lnTo>
                    <a:pt x="177" y="63"/>
                  </a:lnTo>
                  <a:lnTo>
                    <a:pt x="177" y="63"/>
                  </a:lnTo>
                  <a:lnTo>
                    <a:pt x="177" y="63"/>
                  </a:lnTo>
                  <a:lnTo>
                    <a:pt x="177" y="63"/>
                  </a:lnTo>
                  <a:lnTo>
                    <a:pt x="177" y="66"/>
                  </a:lnTo>
                  <a:lnTo>
                    <a:pt x="174" y="67"/>
                  </a:lnTo>
                  <a:lnTo>
                    <a:pt x="173" y="70"/>
                  </a:lnTo>
                  <a:lnTo>
                    <a:pt x="171" y="73"/>
                  </a:lnTo>
                  <a:lnTo>
                    <a:pt x="171" y="73"/>
                  </a:lnTo>
                  <a:lnTo>
                    <a:pt x="170" y="76"/>
                  </a:lnTo>
                  <a:lnTo>
                    <a:pt x="170" y="76"/>
                  </a:lnTo>
                  <a:lnTo>
                    <a:pt x="171" y="82"/>
                  </a:lnTo>
                  <a:lnTo>
                    <a:pt x="173" y="87"/>
                  </a:lnTo>
                  <a:lnTo>
                    <a:pt x="173" y="87"/>
                  </a:lnTo>
                  <a:lnTo>
                    <a:pt x="173" y="90"/>
                  </a:lnTo>
                  <a:lnTo>
                    <a:pt x="173" y="90"/>
                  </a:lnTo>
                  <a:lnTo>
                    <a:pt x="168" y="96"/>
                  </a:lnTo>
                  <a:lnTo>
                    <a:pt x="165" y="97"/>
                  </a:lnTo>
                  <a:lnTo>
                    <a:pt x="161" y="100"/>
                  </a:lnTo>
                  <a:lnTo>
                    <a:pt x="161" y="100"/>
                  </a:lnTo>
                  <a:lnTo>
                    <a:pt x="157" y="102"/>
                  </a:lnTo>
                  <a:lnTo>
                    <a:pt x="154" y="103"/>
                  </a:lnTo>
                  <a:lnTo>
                    <a:pt x="148" y="109"/>
                  </a:lnTo>
                  <a:lnTo>
                    <a:pt x="148" y="109"/>
                  </a:lnTo>
                  <a:lnTo>
                    <a:pt x="145" y="115"/>
                  </a:lnTo>
                  <a:lnTo>
                    <a:pt x="144" y="121"/>
                  </a:lnTo>
                  <a:lnTo>
                    <a:pt x="141" y="126"/>
                  </a:lnTo>
                  <a:lnTo>
                    <a:pt x="139" y="128"/>
                  </a:lnTo>
                  <a:lnTo>
                    <a:pt x="138" y="128"/>
                  </a:lnTo>
                  <a:lnTo>
                    <a:pt x="138" y="128"/>
                  </a:lnTo>
                  <a:lnTo>
                    <a:pt x="133" y="128"/>
                  </a:lnTo>
                  <a:lnTo>
                    <a:pt x="133" y="128"/>
                  </a:lnTo>
                  <a:lnTo>
                    <a:pt x="131" y="128"/>
                  </a:lnTo>
                  <a:lnTo>
                    <a:pt x="131" y="128"/>
                  </a:lnTo>
                  <a:lnTo>
                    <a:pt x="131" y="128"/>
                  </a:lnTo>
                  <a:lnTo>
                    <a:pt x="131" y="128"/>
                  </a:lnTo>
                  <a:lnTo>
                    <a:pt x="125" y="128"/>
                  </a:lnTo>
                  <a:lnTo>
                    <a:pt x="125" y="128"/>
                  </a:lnTo>
                  <a:lnTo>
                    <a:pt x="125" y="128"/>
                  </a:lnTo>
                  <a:lnTo>
                    <a:pt x="125" y="128"/>
                  </a:lnTo>
                  <a:lnTo>
                    <a:pt x="119" y="131"/>
                  </a:lnTo>
                  <a:lnTo>
                    <a:pt x="115" y="134"/>
                  </a:lnTo>
                  <a:lnTo>
                    <a:pt x="112" y="137"/>
                  </a:lnTo>
                  <a:lnTo>
                    <a:pt x="112" y="138"/>
                  </a:lnTo>
                  <a:lnTo>
                    <a:pt x="112" y="138"/>
                  </a:lnTo>
                  <a:lnTo>
                    <a:pt x="112" y="141"/>
                  </a:lnTo>
                  <a:lnTo>
                    <a:pt x="112" y="141"/>
                  </a:lnTo>
                  <a:lnTo>
                    <a:pt x="110" y="142"/>
                  </a:lnTo>
                  <a:lnTo>
                    <a:pt x="106" y="144"/>
                  </a:lnTo>
                  <a:lnTo>
                    <a:pt x="106" y="144"/>
                  </a:lnTo>
                  <a:lnTo>
                    <a:pt x="97" y="144"/>
                  </a:lnTo>
                  <a:lnTo>
                    <a:pt x="94" y="145"/>
                  </a:lnTo>
                  <a:lnTo>
                    <a:pt x="91" y="150"/>
                  </a:lnTo>
                  <a:lnTo>
                    <a:pt x="91" y="150"/>
                  </a:lnTo>
                  <a:lnTo>
                    <a:pt x="83" y="163"/>
                  </a:lnTo>
                  <a:lnTo>
                    <a:pt x="78" y="168"/>
                  </a:lnTo>
                  <a:lnTo>
                    <a:pt x="77" y="171"/>
                  </a:lnTo>
                  <a:lnTo>
                    <a:pt x="74" y="171"/>
                  </a:lnTo>
                  <a:lnTo>
                    <a:pt x="74" y="171"/>
                  </a:lnTo>
                  <a:lnTo>
                    <a:pt x="64" y="171"/>
                  </a:lnTo>
                  <a:lnTo>
                    <a:pt x="64" y="171"/>
                  </a:lnTo>
                  <a:lnTo>
                    <a:pt x="48" y="171"/>
                  </a:lnTo>
                  <a:lnTo>
                    <a:pt x="48" y="171"/>
                  </a:lnTo>
                  <a:lnTo>
                    <a:pt x="48" y="171"/>
                  </a:lnTo>
                  <a:lnTo>
                    <a:pt x="48" y="171"/>
                  </a:lnTo>
                  <a:lnTo>
                    <a:pt x="36" y="171"/>
                  </a:lnTo>
                  <a:lnTo>
                    <a:pt x="36" y="171"/>
                  </a:lnTo>
                  <a:lnTo>
                    <a:pt x="36" y="171"/>
                  </a:lnTo>
                  <a:lnTo>
                    <a:pt x="36" y="171"/>
                  </a:lnTo>
                  <a:lnTo>
                    <a:pt x="36" y="171"/>
                  </a:lnTo>
                  <a:lnTo>
                    <a:pt x="36" y="171"/>
                  </a:lnTo>
                  <a:lnTo>
                    <a:pt x="36" y="171"/>
                  </a:lnTo>
                  <a:lnTo>
                    <a:pt x="36" y="171"/>
                  </a:lnTo>
                  <a:lnTo>
                    <a:pt x="36" y="171"/>
                  </a:lnTo>
                  <a:lnTo>
                    <a:pt x="36" y="171"/>
                  </a:lnTo>
                  <a:lnTo>
                    <a:pt x="9" y="1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66" name="Freeform 778"/>
            <p:cNvSpPr>
              <a:spLocks noEditPoints="1"/>
            </p:cNvSpPr>
            <p:nvPr/>
          </p:nvSpPr>
          <p:spPr bwMode="auto">
            <a:xfrm>
              <a:off x="5911850" y="3687764"/>
              <a:ext cx="93663" cy="69850"/>
            </a:xfrm>
            <a:custGeom>
              <a:avLst/>
              <a:gdLst>
                <a:gd name="T0" fmla="*/ 56 w 59"/>
                <a:gd name="T1" fmla="*/ 2 h 44"/>
                <a:gd name="T2" fmla="*/ 56 w 59"/>
                <a:gd name="T3" fmla="*/ 2 h 44"/>
                <a:gd name="T4" fmla="*/ 59 w 59"/>
                <a:gd name="T5" fmla="*/ 0 h 44"/>
                <a:gd name="T6" fmla="*/ 59 w 59"/>
                <a:gd name="T7" fmla="*/ 0 h 44"/>
                <a:gd name="T8" fmla="*/ 59 w 59"/>
                <a:gd name="T9" fmla="*/ 0 h 44"/>
                <a:gd name="T10" fmla="*/ 59 w 59"/>
                <a:gd name="T11" fmla="*/ 0 h 44"/>
                <a:gd name="T12" fmla="*/ 56 w 59"/>
                <a:gd name="T13" fmla="*/ 2 h 44"/>
                <a:gd name="T14" fmla="*/ 11 w 59"/>
                <a:gd name="T15" fmla="*/ 38 h 44"/>
                <a:gd name="T16" fmla="*/ 11 w 59"/>
                <a:gd name="T17" fmla="*/ 38 h 44"/>
                <a:gd name="T18" fmla="*/ 11 w 59"/>
                <a:gd name="T19" fmla="*/ 38 h 44"/>
                <a:gd name="T20" fmla="*/ 11 w 59"/>
                <a:gd name="T21" fmla="*/ 38 h 44"/>
                <a:gd name="T22" fmla="*/ 11 w 59"/>
                <a:gd name="T23" fmla="*/ 38 h 44"/>
                <a:gd name="T24" fmla="*/ 10 w 59"/>
                <a:gd name="T25" fmla="*/ 38 h 44"/>
                <a:gd name="T26" fmla="*/ 10 w 59"/>
                <a:gd name="T27" fmla="*/ 38 h 44"/>
                <a:gd name="T28" fmla="*/ 10 w 59"/>
                <a:gd name="T29" fmla="*/ 38 h 44"/>
                <a:gd name="T30" fmla="*/ 10 w 59"/>
                <a:gd name="T31" fmla="*/ 38 h 44"/>
                <a:gd name="T32" fmla="*/ 10 w 59"/>
                <a:gd name="T33" fmla="*/ 38 h 44"/>
                <a:gd name="T34" fmla="*/ 1 w 59"/>
                <a:gd name="T35" fmla="*/ 44 h 44"/>
                <a:gd name="T36" fmla="*/ 1 w 59"/>
                <a:gd name="T37" fmla="*/ 44 h 44"/>
                <a:gd name="T38" fmla="*/ 0 w 59"/>
                <a:gd name="T39" fmla="*/ 44 h 44"/>
                <a:gd name="T40" fmla="*/ 0 w 59"/>
                <a:gd name="T41" fmla="*/ 44 h 44"/>
                <a:gd name="T42" fmla="*/ 1 w 59"/>
                <a:gd name="T43" fmla="*/ 44 h 44"/>
                <a:gd name="T44" fmla="*/ 3 w 59"/>
                <a:gd name="T45" fmla="*/ 44 h 44"/>
                <a:gd name="T46" fmla="*/ 3 w 59"/>
                <a:gd name="T47" fmla="*/ 44 h 44"/>
                <a:gd name="T48" fmla="*/ 7 w 59"/>
                <a:gd name="T49" fmla="*/ 42 h 44"/>
                <a:gd name="T50" fmla="*/ 10 w 59"/>
                <a:gd name="T51" fmla="*/ 38 h 44"/>
                <a:gd name="T52" fmla="*/ 10 w 59"/>
                <a:gd name="T53" fmla="*/ 38 h 44"/>
                <a:gd name="T54" fmla="*/ 7 w 59"/>
                <a:gd name="T55" fmla="*/ 42 h 44"/>
                <a:gd name="T56" fmla="*/ 3 w 59"/>
                <a:gd name="T57" fmla="*/ 44 h 44"/>
                <a:gd name="T58" fmla="*/ 3 w 59"/>
                <a:gd name="T59" fmla="*/ 44 h 44"/>
                <a:gd name="T60" fmla="*/ 3 w 59"/>
                <a:gd name="T61" fmla="*/ 44 h 44"/>
                <a:gd name="T62" fmla="*/ 3 w 59"/>
                <a:gd name="T6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9" h="44">
                  <a:moveTo>
                    <a:pt x="56" y="2"/>
                  </a:moveTo>
                  <a:lnTo>
                    <a:pt x="56" y="2"/>
                  </a:lnTo>
                  <a:lnTo>
                    <a:pt x="59" y="0"/>
                  </a:lnTo>
                  <a:lnTo>
                    <a:pt x="59" y="0"/>
                  </a:lnTo>
                  <a:lnTo>
                    <a:pt x="59" y="0"/>
                  </a:lnTo>
                  <a:lnTo>
                    <a:pt x="59" y="0"/>
                  </a:lnTo>
                  <a:lnTo>
                    <a:pt x="56" y="2"/>
                  </a:lnTo>
                  <a:close/>
                  <a:moveTo>
                    <a:pt x="11" y="38"/>
                  </a:moveTo>
                  <a:lnTo>
                    <a:pt x="11" y="38"/>
                  </a:lnTo>
                  <a:lnTo>
                    <a:pt x="11" y="38"/>
                  </a:lnTo>
                  <a:lnTo>
                    <a:pt x="11" y="38"/>
                  </a:lnTo>
                  <a:lnTo>
                    <a:pt x="11" y="38"/>
                  </a:lnTo>
                  <a:close/>
                  <a:moveTo>
                    <a:pt x="10" y="38"/>
                  </a:moveTo>
                  <a:lnTo>
                    <a:pt x="10" y="38"/>
                  </a:lnTo>
                  <a:lnTo>
                    <a:pt x="10" y="38"/>
                  </a:lnTo>
                  <a:lnTo>
                    <a:pt x="10" y="38"/>
                  </a:lnTo>
                  <a:lnTo>
                    <a:pt x="10" y="38"/>
                  </a:lnTo>
                  <a:close/>
                  <a:moveTo>
                    <a:pt x="1" y="44"/>
                  </a:moveTo>
                  <a:lnTo>
                    <a:pt x="1" y="44"/>
                  </a:lnTo>
                  <a:lnTo>
                    <a:pt x="0" y="44"/>
                  </a:lnTo>
                  <a:lnTo>
                    <a:pt x="0" y="44"/>
                  </a:lnTo>
                  <a:lnTo>
                    <a:pt x="1" y="44"/>
                  </a:lnTo>
                  <a:close/>
                  <a:moveTo>
                    <a:pt x="3" y="44"/>
                  </a:moveTo>
                  <a:lnTo>
                    <a:pt x="3" y="44"/>
                  </a:lnTo>
                  <a:lnTo>
                    <a:pt x="7" y="42"/>
                  </a:lnTo>
                  <a:lnTo>
                    <a:pt x="10" y="38"/>
                  </a:lnTo>
                  <a:lnTo>
                    <a:pt x="10" y="38"/>
                  </a:lnTo>
                  <a:lnTo>
                    <a:pt x="7" y="42"/>
                  </a:lnTo>
                  <a:lnTo>
                    <a:pt x="3" y="44"/>
                  </a:lnTo>
                  <a:close/>
                  <a:moveTo>
                    <a:pt x="3" y="44"/>
                  </a:moveTo>
                  <a:lnTo>
                    <a:pt x="3" y="44"/>
                  </a:lnTo>
                  <a:lnTo>
                    <a:pt x="3" y="44"/>
                  </a:lnTo>
                  <a:close/>
                </a:path>
              </a:pathLst>
            </a:custGeom>
            <a:solidFill>
              <a:srgbClr val="60B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67" name="Freeform 779"/>
            <p:cNvSpPr>
              <a:spLocks/>
            </p:cNvSpPr>
            <p:nvPr/>
          </p:nvSpPr>
          <p:spPr bwMode="auto">
            <a:xfrm>
              <a:off x="6000750" y="3687764"/>
              <a:ext cx="4763" cy="3175"/>
            </a:xfrm>
            <a:custGeom>
              <a:avLst/>
              <a:gdLst>
                <a:gd name="T0" fmla="*/ 0 w 3"/>
                <a:gd name="T1" fmla="*/ 2 h 2"/>
                <a:gd name="T2" fmla="*/ 0 w 3"/>
                <a:gd name="T3" fmla="*/ 2 h 2"/>
                <a:gd name="T4" fmla="*/ 3 w 3"/>
                <a:gd name="T5" fmla="*/ 0 h 2"/>
                <a:gd name="T6" fmla="*/ 3 w 3"/>
                <a:gd name="T7" fmla="*/ 0 h 2"/>
                <a:gd name="T8" fmla="*/ 3 w 3"/>
                <a:gd name="T9" fmla="*/ 0 h 2"/>
                <a:gd name="T10" fmla="*/ 3 w 3"/>
                <a:gd name="T11" fmla="*/ 0 h 2"/>
                <a:gd name="T12" fmla="*/ 0 w 3"/>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0" y="2"/>
                  </a:moveTo>
                  <a:lnTo>
                    <a:pt x="0" y="2"/>
                  </a:lnTo>
                  <a:lnTo>
                    <a:pt x="3" y="0"/>
                  </a:lnTo>
                  <a:lnTo>
                    <a:pt x="3" y="0"/>
                  </a:lnTo>
                  <a:lnTo>
                    <a:pt x="3" y="0"/>
                  </a:lnTo>
                  <a:lnTo>
                    <a:pt x="3"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68" name="Freeform 785"/>
            <p:cNvSpPr>
              <a:spLocks noEditPoints="1"/>
            </p:cNvSpPr>
            <p:nvPr/>
          </p:nvSpPr>
          <p:spPr bwMode="auto">
            <a:xfrm>
              <a:off x="5862638" y="3744914"/>
              <a:ext cx="28575" cy="173038"/>
            </a:xfrm>
            <a:custGeom>
              <a:avLst/>
              <a:gdLst>
                <a:gd name="T0" fmla="*/ 10 w 18"/>
                <a:gd name="T1" fmla="*/ 9 h 109"/>
                <a:gd name="T2" fmla="*/ 10 w 18"/>
                <a:gd name="T3" fmla="*/ 9 h 109"/>
                <a:gd name="T4" fmla="*/ 10 w 18"/>
                <a:gd name="T5" fmla="*/ 0 h 109"/>
                <a:gd name="T6" fmla="*/ 10 w 18"/>
                <a:gd name="T7" fmla="*/ 0 h 109"/>
                <a:gd name="T8" fmla="*/ 10 w 18"/>
                <a:gd name="T9" fmla="*/ 0 h 109"/>
                <a:gd name="T10" fmla="*/ 10 w 18"/>
                <a:gd name="T11" fmla="*/ 9 h 109"/>
                <a:gd name="T12" fmla="*/ 10 w 18"/>
                <a:gd name="T13" fmla="*/ 9 h 109"/>
                <a:gd name="T14" fmla="*/ 10 w 18"/>
                <a:gd name="T15" fmla="*/ 9 h 109"/>
                <a:gd name="T16" fmla="*/ 10 w 18"/>
                <a:gd name="T17" fmla="*/ 9 h 109"/>
                <a:gd name="T18" fmla="*/ 6 w 18"/>
                <a:gd name="T19" fmla="*/ 44 h 109"/>
                <a:gd name="T20" fmla="*/ 6 w 18"/>
                <a:gd name="T21" fmla="*/ 44 h 109"/>
                <a:gd name="T22" fmla="*/ 3 w 18"/>
                <a:gd name="T23" fmla="*/ 34 h 109"/>
                <a:gd name="T24" fmla="*/ 2 w 18"/>
                <a:gd name="T25" fmla="*/ 29 h 109"/>
                <a:gd name="T26" fmla="*/ 0 w 18"/>
                <a:gd name="T27" fmla="*/ 24 h 109"/>
                <a:gd name="T28" fmla="*/ 0 w 18"/>
                <a:gd name="T29" fmla="*/ 24 h 109"/>
                <a:gd name="T30" fmla="*/ 2 w 18"/>
                <a:gd name="T31" fmla="*/ 29 h 109"/>
                <a:gd name="T32" fmla="*/ 3 w 18"/>
                <a:gd name="T33" fmla="*/ 34 h 109"/>
                <a:gd name="T34" fmla="*/ 6 w 18"/>
                <a:gd name="T35" fmla="*/ 44 h 109"/>
                <a:gd name="T36" fmla="*/ 18 w 18"/>
                <a:gd name="T37" fmla="*/ 92 h 109"/>
                <a:gd name="T38" fmla="*/ 18 w 18"/>
                <a:gd name="T39" fmla="*/ 92 h 109"/>
                <a:gd name="T40" fmla="*/ 18 w 18"/>
                <a:gd name="T41" fmla="*/ 90 h 109"/>
                <a:gd name="T42" fmla="*/ 16 w 18"/>
                <a:gd name="T43" fmla="*/ 89 h 109"/>
                <a:gd name="T44" fmla="*/ 16 w 18"/>
                <a:gd name="T45" fmla="*/ 89 h 109"/>
                <a:gd name="T46" fmla="*/ 10 w 18"/>
                <a:gd name="T47" fmla="*/ 84 h 109"/>
                <a:gd name="T48" fmla="*/ 7 w 18"/>
                <a:gd name="T49" fmla="*/ 82 h 109"/>
                <a:gd name="T50" fmla="*/ 3 w 18"/>
                <a:gd name="T51" fmla="*/ 77 h 109"/>
                <a:gd name="T52" fmla="*/ 3 w 18"/>
                <a:gd name="T53" fmla="*/ 77 h 109"/>
                <a:gd name="T54" fmla="*/ 2 w 18"/>
                <a:gd name="T55" fmla="*/ 73 h 109"/>
                <a:gd name="T56" fmla="*/ 2 w 18"/>
                <a:gd name="T57" fmla="*/ 69 h 109"/>
                <a:gd name="T58" fmla="*/ 2 w 18"/>
                <a:gd name="T59" fmla="*/ 69 h 109"/>
                <a:gd name="T60" fmla="*/ 2 w 18"/>
                <a:gd name="T61" fmla="*/ 73 h 109"/>
                <a:gd name="T62" fmla="*/ 3 w 18"/>
                <a:gd name="T63" fmla="*/ 77 h 109"/>
                <a:gd name="T64" fmla="*/ 3 w 18"/>
                <a:gd name="T65" fmla="*/ 77 h 109"/>
                <a:gd name="T66" fmla="*/ 7 w 18"/>
                <a:gd name="T67" fmla="*/ 82 h 109"/>
                <a:gd name="T68" fmla="*/ 10 w 18"/>
                <a:gd name="T69" fmla="*/ 84 h 109"/>
                <a:gd name="T70" fmla="*/ 16 w 18"/>
                <a:gd name="T71" fmla="*/ 89 h 109"/>
                <a:gd name="T72" fmla="*/ 16 w 18"/>
                <a:gd name="T73" fmla="*/ 89 h 109"/>
                <a:gd name="T74" fmla="*/ 18 w 18"/>
                <a:gd name="T75" fmla="*/ 90 h 109"/>
                <a:gd name="T76" fmla="*/ 18 w 18"/>
                <a:gd name="T77" fmla="*/ 92 h 109"/>
                <a:gd name="T78" fmla="*/ 7 w 18"/>
                <a:gd name="T79" fmla="*/ 109 h 109"/>
                <a:gd name="T80" fmla="*/ 7 w 18"/>
                <a:gd name="T81" fmla="*/ 109 h 109"/>
                <a:gd name="T82" fmla="*/ 7 w 18"/>
                <a:gd name="T83" fmla="*/ 109 h 109"/>
                <a:gd name="T84" fmla="*/ 7 w 18"/>
                <a:gd name="T85" fmla="*/ 109 h 109"/>
                <a:gd name="T86" fmla="*/ 7 w 18"/>
                <a:gd name="T87" fmla="*/ 109 h 109"/>
                <a:gd name="T88" fmla="*/ 7 w 18"/>
                <a:gd name="T89" fmla="*/ 109 h 109"/>
                <a:gd name="T90" fmla="*/ 7 w 18"/>
                <a:gd name="T91" fmla="*/ 109 h 109"/>
                <a:gd name="T92" fmla="*/ 7 w 18"/>
                <a:gd name="T93" fmla="*/ 109 h 109"/>
                <a:gd name="T94" fmla="*/ 7 w 18"/>
                <a:gd name="T95" fmla="*/ 109 h 109"/>
                <a:gd name="T96" fmla="*/ 7 w 18"/>
                <a:gd name="T97" fmla="*/ 109 h 109"/>
                <a:gd name="T98" fmla="*/ 7 w 18"/>
                <a:gd name="T99" fmla="*/ 109 h 109"/>
                <a:gd name="T100" fmla="*/ 7 w 18"/>
                <a:gd name="T101"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 h="109">
                  <a:moveTo>
                    <a:pt x="10" y="9"/>
                  </a:moveTo>
                  <a:lnTo>
                    <a:pt x="10" y="9"/>
                  </a:lnTo>
                  <a:lnTo>
                    <a:pt x="10" y="0"/>
                  </a:lnTo>
                  <a:lnTo>
                    <a:pt x="10" y="0"/>
                  </a:lnTo>
                  <a:lnTo>
                    <a:pt x="10" y="0"/>
                  </a:lnTo>
                  <a:lnTo>
                    <a:pt x="10" y="9"/>
                  </a:lnTo>
                  <a:close/>
                  <a:moveTo>
                    <a:pt x="10" y="9"/>
                  </a:moveTo>
                  <a:lnTo>
                    <a:pt x="10" y="9"/>
                  </a:lnTo>
                  <a:lnTo>
                    <a:pt x="10" y="9"/>
                  </a:lnTo>
                  <a:close/>
                  <a:moveTo>
                    <a:pt x="6" y="44"/>
                  </a:moveTo>
                  <a:lnTo>
                    <a:pt x="6" y="44"/>
                  </a:lnTo>
                  <a:lnTo>
                    <a:pt x="3" y="34"/>
                  </a:lnTo>
                  <a:lnTo>
                    <a:pt x="2" y="29"/>
                  </a:lnTo>
                  <a:lnTo>
                    <a:pt x="0" y="24"/>
                  </a:lnTo>
                  <a:lnTo>
                    <a:pt x="0" y="24"/>
                  </a:lnTo>
                  <a:lnTo>
                    <a:pt x="2" y="29"/>
                  </a:lnTo>
                  <a:lnTo>
                    <a:pt x="3" y="34"/>
                  </a:lnTo>
                  <a:lnTo>
                    <a:pt x="6" y="44"/>
                  </a:lnTo>
                  <a:close/>
                  <a:moveTo>
                    <a:pt x="18" y="92"/>
                  </a:moveTo>
                  <a:lnTo>
                    <a:pt x="18" y="92"/>
                  </a:lnTo>
                  <a:lnTo>
                    <a:pt x="18" y="90"/>
                  </a:lnTo>
                  <a:lnTo>
                    <a:pt x="16" y="89"/>
                  </a:lnTo>
                  <a:lnTo>
                    <a:pt x="16" y="89"/>
                  </a:lnTo>
                  <a:lnTo>
                    <a:pt x="10" y="84"/>
                  </a:lnTo>
                  <a:lnTo>
                    <a:pt x="7" y="82"/>
                  </a:lnTo>
                  <a:lnTo>
                    <a:pt x="3" y="77"/>
                  </a:lnTo>
                  <a:lnTo>
                    <a:pt x="3" y="77"/>
                  </a:lnTo>
                  <a:lnTo>
                    <a:pt x="2" y="73"/>
                  </a:lnTo>
                  <a:lnTo>
                    <a:pt x="2" y="69"/>
                  </a:lnTo>
                  <a:lnTo>
                    <a:pt x="2" y="69"/>
                  </a:lnTo>
                  <a:lnTo>
                    <a:pt x="2" y="73"/>
                  </a:lnTo>
                  <a:lnTo>
                    <a:pt x="3" y="77"/>
                  </a:lnTo>
                  <a:lnTo>
                    <a:pt x="3" y="77"/>
                  </a:lnTo>
                  <a:lnTo>
                    <a:pt x="7" y="82"/>
                  </a:lnTo>
                  <a:lnTo>
                    <a:pt x="10" y="84"/>
                  </a:lnTo>
                  <a:lnTo>
                    <a:pt x="16" y="89"/>
                  </a:lnTo>
                  <a:lnTo>
                    <a:pt x="16" y="89"/>
                  </a:lnTo>
                  <a:lnTo>
                    <a:pt x="18" y="90"/>
                  </a:lnTo>
                  <a:lnTo>
                    <a:pt x="18" y="92"/>
                  </a:lnTo>
                  <a:close/>
                  <a:moveTo>
                    <a:pt x="7" y="109"/>
                  </a:moveTo>
                  <a:lnTo>
                    <a:pt x="7" y="109"/>
                  </a:lnTo>
                  <a:lnTo>
                    <a:pt x="7" y="109"/>
                  </a:lnTo>
                  <a:lnTo>
                    <a:pt x="7" y="109"/>
                  </a:lnTo>
                  <a:lnTo>
                    <a:pt x="7" y="109"/>
                  </a:lnTo>
                  <a:close/>
                  <a:moveTo>
                    <a:pt x="7" y="109"/>
                  </a:moveTo>
                  <a:lnTo>
                    <a:pt x="7" y="109"/>
                  </a:lnTo>
                  <a:lnTo>
                    <a:pt x="7" y="109"/>
                  </a:lnTo>
                  <a:lnTo>
                    <a:pt x="7" y="109"/>
                  </a:lnTo>
                  <a:lnTo>
                    <a:pt x="7" y="109"/>
                  </a:lnTo>
                  <a:close/>
                  <a:moveTo>
                    <a:pt x="7" y="109"/>
                  </a:moveTo>
                  <a:lnTo>
                    <a:pt x="7" y="109"/>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69" name="Freeform 793"/>
            <p:cNvSpPr>
              <a:spLocks noEditPoints="1"/>
            </p:cNvSpPr>
            <p:nvPr/>
          </p:nvSpPr>
          <p:spPr bwMode="auto">
            <a:xfrm>
              <a:off x="5876925" y="3703639"/>
              <a:ext cx="338138" cy="230188"/>
            </a:xfrm>
            <a:custGeom>
              <a:avLst/>
              <a:gdLst>
                <a:gd name="T0" fmla="*/ 166 w 213"/>
                <a:gd name="T1" fmla="*/ 15 h 145"/>
                <a:gd name="T2" fmla="*/ 178 w 213"/>
                <a:gd name="T3" fmla="*/ 6 h 145"/>
                <a:gd name="T4" fmla="*/ 188 w 213"/>
                <a:gd name="T5" fmla="*/ 2 h 145"/>
                <a:gd name="T6" fmla="*/ 213 w 213"/>
                <a:gd name="T7" fmla="*/ 0 h 145"/>
                <a:gd name="T8" fmla="*/ 201 w 213"/>
                <a:gd name="T9" fmla="*/ 2 h 145"/>
                <a:gd name="T10" fmla="*/ 178 w 213"/>
                <a:gd name="T11" fmla="*/ 6 h 145"/>
                <a:gd name="T12" fmla="*/ 171 w 213"/>
                <a:gd name="T13" fmla="*/ 12 h 145"/>
                <a:gd name="T14" fmla="*/ 161 w 213"/>
                <a:gd name="T15" fmla="*/ 47 h 145"/>
                <a:gd name="T16" fmla="*/ 162 w 213"/>
                <a:gd name="T17" fmla="*/ 44 h 145"/>
                <a:gd name="T18" fmla="*/ 168 w 213"/>
                <a:gd name="T19" fmla="*/ 37 h 145"/>
                <a:gd name="T20" fmla="*/ 168 w 213"/>
                <a:gd name="T21" fmla="*/ 34 h 145"/>
                <a:gd name="T22" fmla="*/ 168 w 213"/>
                <a:gd name="T23" fmla="*/ 34 h 145"/>
                <a:gd name="T24" fmla="*/ 164 w 213"/>
                <a:gd name="T25" fmla="*/ 41 h 145"/>
                <a:gd name="T26" fmla="*/ 161 w 213"/>
                <a:gd name="T27" fmla="*/ 47 h 145"/>
                <a:gd name="T28" fmla="*/ 122 w 213"/>
                <a:gd name="T29" fmla="*/ 99 h 145"/>
                <a:gd name="T30" fmla="*/ 124 w 213"/>
                <a:gd name="T31" fmla="*/ 99 h 145"/>
                <a:gd name="T32" fmla="*/ 129 w 213"/>
                <a:gd name="T33" fmla="*/ 99 h 145"/>
                <a:gd name="T34" fmla="*/ 135 w 213"/>
                <a:gd name="T35" fmla="*/ 92 h 145"/>
                <a:gd name="T36" fmla="*/ 139 w 213"/>
                <a:gd name="T37" fmla="*/ 80 h 145"/>
                <a:gd name="T38" fmla="*/ 152 w 213"/>
                <a:gd name="T39" fmla="*/ 71 h 145"/>
                <a:gd name="T40" fmla="*/ 159 w 213"/>
                <a:gd name="T41" fmla="*/ 67 h 145"/>
                <a:gd name="T42" fmla="*/ 164 w 213"/>
                <a:gd name="T43" fmla="*/ 58 h 145"/>
                <a:gd name="T44" fmla="*/ 164 w 213"/>
                <a:gd name="T45" fmla="*/ 61 h 145"/>
                <a:gd name="T46" fmla="*/ 152 w 213"/>
                <a:gd name="T47" fmla="*/ 71 h 145"/>
                <a:gd name="T48" fmla="*/ 145 w 213"/>
                <a:gd name="T49" fmla="*/ 74 h 145"/>
                <a:gd name="T50" fmla="*/ 136 w 213"/>
                <a:gd name="T51" fmla="*/ 86 h 145"/>
                <a:gd name="T52" fmla="*/ 130 w 213"/>
                <a:gd name="T53" fmla="*/ 99 h 145"/>
                <a:gd name="T54" fmla="*/ 116 w 213"/>
                <a:gd name="T55" fmla="*/ 99 h 145"/>
                <a:gd name="T56" fmla="*/ 116 w 213"/>
                <a:gd name="T57" fmla="*/ 99 h 145"/>
                <a:gd name="T58" fmla="*/ 103 w 213"/>
                <a:gd name="T59" fmla="*/ 109 h 145"/>
                <a:gd name="T60" fmla="*/ 110 w 213"/>
                <a:gd name="T61" fmla="*/ 102 h 145"/>
                <a:gd name="T62" fmla="*/ 110 w 213"/>
                <a:gd name="T63" fmla="*/ 102 h 145"/>
                <a:gd name="T64" fmla="*/ 103 w 213"/>
                <a:gd name="T65" fmla="*/ 109 h 145"/>
                <a:gd name="T66" fmla="*/ 39 w 213"/>
                <a:gd name="T67" fmla="*/ 142 h 145"/>
                <a:gd name="T68" fmla="*/ 39 w 213"/>
                <a:gd name="T69" fmla="*/ 142 h 145"/>
                <a:gd name="T70" fmla="*/ 27 w 213"/>
                <a:gd name="T71" fmla="*/ 142 h 145"/>
                <a:gd name="T72" fmla="*/ 27 w 213"/>
                <a:gd name="T73" fmla="*/ 142 h 145"/>
                <a:gd name="T74" fmla="*/ 65 w 213"/>
                <a:gd name="T75" fmla="*/ 142 h 145"/>
                <a:gd name="T76" fmla="*/ 65 w 213"/>
                <a:gd name="T77" fmla="*/ 142 h 145"/>
                <a:gd name="T78" fmla="*/ 69 w 213"/>
                <a:gd name="T79" fmla="*/ 139 h 145"/>
                <a:gd name="T80" fmla="*/ 82 w 213"/>
                <a:gd name="T81" fmla="*/ 121 h 145"/>
                <a:gd name="T82" fmla="*/ 97 w 213"/>
                <a:gd name="T83" fmla="*/ 115 h 145"/>
                <a:gd name="T84" fmla="*/ 103 w 213"/>
                <a:gd name="T85" fmla="*/ 112 h 145"/>
                <a:gd name="T86" fmla="*/ 97 w 213"/>
                <a:gd name="T87" fmla="*/ 115 h 145"/>
                <a:gd name="T88" fmla="*/ 85 w 213"/>
                <a:gd name="T89" fmla="*/ 116 h 145"/>
                <a:gd name="T90" fmla="*/ 74 w 213"/>
                <a:gd name="T91" fmla="*/ 134 h 145"/>
                <a:gd name="T92" fmla="*/ 65 w 213"/>
                <a:gd name="T93" fmla="*/ 142 h 145"/>
                <a:gd name="T94" fmla="*/ 0 w 213"/>
                <a:gd name="T95" fmla="*/ 145 h 145"/>
                <a:gd name="T96" fmla="*/ 27 w 213"/>
                <a:gd name="T97" fmla="*/ 142 h 145"/>
                <a:gd name="T98" fmla="*/ 27 w 213"/>
                <a:gd name="T99" fmla="*/ 14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3" h="145">
                  <a:moveTo>
                    <a:pt x="164" y="18"/>
                  </a:moveTo>
                  <a:lnTo>
                    <a:pt x="164" y="18"/>
                  </a:lnTo>
                  <a:lnTo>
                    <a:pt x="166" y="15"/>
                  </a:lnTo>
                  <a:lnTo>
                    <a:pt x="171" y="12"/>
                  </a:lnTo>
                  <a:lnTo>
                    <a:pt x="175" y="9"/>
                  </a:lnTo>
                  <a:lnTo>
                    <a:pt x="178" y="6"/>
                  </a:lnTo>
                  <a:lnTo>
                    <a:pt x="178" y="6"/>
                  </a:lnTo>
                  <a:lnTo>
                    <a:pt x="182" y="3"/>
                  </a:lnTo>
                  <a:lnTo>
                    <a:pt x="188" y="2"/>
                  </a:lnTo>
                  <a:lnTo>
                    <a:pt x="201" y="2"/>
                  </a:lnTo>
                  <a:lnTo>
                    <a:pt x="201" y="2"/>
                  </a:lnTo>
                  <a:lnTo>
                    <a:pt x="213" y="0"/>
                  </a:lnTo>
                  <a:lnTo>
                    <a:pt x="213" y="0"/>
                  </a:lnTo>
                  <a:lnTo>
                    <a:pt x="201" y="2"/>
                  </a:lnTo>
                  <a:lnTo>
                    <a:pt x="201" y="2"/>
                  </a:lnTo>
                  <a:lnTo>
                    <a:pt x="188" y="2"/>
                  </a:lnTo>
                  <a:lnTo>
                    <a:pt x="182" y="3"/>
                  </a:lnTo>
                  <a:lnTo>
                    <a:pt x="178" y="6"/>
                  </a:lnTo>
                  <a:lnTo>
                    <a:pt x="178" y="6"/>
                  </a:lnTo>
                  <a:lnTo>
                    <a:pt x="175" y="9"/>
                  </a:lnTo>
                  <a:lnTo>
                    <a:pt x="171" y="12"/>
                  </a:lnTo>
                  <a:lnTo>
                    <a:pt x="166" y="15"/>
                  </a:lnTo>
                  <a:lnTo>
                    <a:pt x="164" y="18"/>
                  </a:lnTo>
                  <a:close/>
                  <a:moveTo>
                    <a:pt x="161" y="47"/>
                  </a:moveTo>
                  <a:lnTo>
                    <a:pt x="161" y="47"/>
                  </a:lnTo>
                  <a:lnTo>
                    <a:pt x="162" y="44"/>
                  </a:lnTo>
                  <a:lnTo>
                    <a:pt x="162" y="44"/>
                  </a:lnTo>
                  <a:lnTo>
                    <a:pt x="164" y="41"/>
                  </a:lnTo>
                  <a:lnTo>
                    <a:pt x="165" y="38"/>
                  </a:lnTo>
                  <a:lnTo>
                    <a:pt x="168" y="37"/>
                  </a:lnTo>
                  <a:lnTo>
                    <a:pt x="168" y="34"/>
                  </a:lnTo>
                  <a:lnTo>
                    <a:pt x="168" y="34"/>
                  </a:lnTo>
                  <a:lnTo>
                    <a:pt x="168" y="34"/>
                  </a:lnTo>
                  <a:lnTo>
                    <a:pt x="168" y="34"/>
                  </a:lnTo>
                  <a:lnTo>
                    <a:pt x="168" y="34"/>
                  </a:lnTo>
                  <a:lnTo>
                    <a:pt x="168" y="34"/>
                  </a:lnTo>
                  <a:lnTo>
                    <a:pt x="168" y="37"/>
                  </a:lnTo>
                  <a:lnTo>
                    <a:pt x="165" y="38"/>
                  </a:lnTo>
                  <a:lnTo>
                    <a:pt x="164" y="41"/>
                  </a:lnTo>
                  <a:lnTo>
                    <a:pt x="162" y="44"/>
                  </a:lnTo>
                  <a:lnTo>
                    <a:pt x="162" y="44"/>
                  </a:lnTo>
                  <a:lnTo>
                    <a:pt x="161" y="47"/>
                  </a:lnTo>
                  <a:close/>
                  <a:moveTo>
                    <a:pt x="122" y="99"/>
                  </a:moveTo>
                  <a:lnTo>
                    <a:pt x="122" y="99"/>
                  </a:lnTo>
                  <a:lnTo>
                    <a:pt x="122" y="99"/>
                  </a:lnTo>
                  <a:close/>
                  <a:moveTo>
                    <a:pt x="129" y="99"/>
                  </a:moveTo>
                  <a:lnTo>
                    <a:pt x="129" y="99"/>
                  </a:lnTo>
                  <a:lnTo>
                    <a:pt x="124" y="99"/>
                  </a:lnTo>
                  <a:lnTo>
                    <a:pt x="124" y="99"/>
                  </a:lnTo>
                  <a:lnTo>
                    <a:pt x="129" y="99"/>
                  </a:lnTo>
                  <a:lnTo>
                    <a:pt x="129" y="99"/>
                  </a:lnTo>
                  <a:lnTo>
                    <a:pt x="130" y="99"/>
                  </a:lnTo>
                  <a:lnTo>
                    <a:pt x="132" y="97"/>
                  </a:lnTo>
                  <a:lnTo>
                    <a:pt x="135" y="92"/>
                  </a:lnTo>
                  <a:lnTo>
                    <a:pt x="136" y="86"/>
                  </a:lnTo>
                  <a:lnTo>
                    <a:pt x="139" y="80"/>
                  </a:lnTo>
                  <a:lnTo>
                    <a:pt x="139" y="80"/>
                  </a:lnTo>
                  <a:lnTo>
                    <a:pt x="145" y="74"/>
                  </a:lnTo>
                  <a:lnTo>
                    <a:pt x="148" y="73"/>
                  </a:lnTo>
                  <a:lnTo>
                    <a:pt x="152" y="71"/>
                  </a:lnTo>
                  <a:lnTo>
                    <a:pt x="152" y="71"/>
                  </a:lnTo>
                  <a:lnTo>
                    <a:pt x="156" y="68"/>
                  </a:lnTo>
                  <a:lnTo>
                    <a:pt x="159" y="67"/>
                  </a:lnTo>
                  <a:lnTo>
                    <a:pt x="164" y="61"/>
                  </a:lnTo>
                  <a:lnTo>
                    <a:pt x="164" y="61"/>
                  </a:lnTo>
                  <a:lnTo>
                    <a:pt x="164" y="58"/>
                  </a:lnTo>
                  <a:lnTo>
                    <a:pt x="164" y="58"/>
                  </a:lnTo>
                  <a:lnTo>
                    <a:pt x="164" y="61"/>
                  </a:lnTo>
                  <a:lnTo>
                    <a:pt x="164" y="61"/>
                  </a:lnTo>
                  <a:lnTo>
                    <a:pt x="159" y="67"/>
                  </a:lnTo>
                  <a:lnTo>
                    <a:pt x="156" y="68"/>
                  </a:lnTo>
                  <a:lnTo>
                    <a:pt x="152" y="71"/>
                  </a:lnTo>
                  <a:lnTo>
                    <a:pt x="152" y="71"/>
                  </a:lnTo>
                  <a:lnTo>
                    <a:pt x="148" y="73"/>
                  </a:lnTo>
                  <a:lnTo>
                    <a:pt x="145" y="74"/>
                  </a:lnTo>
                  <a:lnTo>
                    <a:pt x="139" y="80"/>
                  </a:lnTo>
                  <a:lnTo>
                    <a:pt x="139" y="80"/>
                  </a:lnTo>
                  <a:lnTo>
                    <a:pt x="136" y="86"/>
                  </a:lnTo>
                  <a:lnTo>
                    <a:pt x="135" y="92"/>
                  </a:lnTo>
                  <a:lnTo>
                    <a:pt x="132" y="97"/>
                  </a:lnTo>
                  <a:lnTo>
                    <a:pt x="130" y="99"/>
                  </a:lnTo>
                  <a:lnTo>
                    <a:pt x="129" y="99"/>
                  </a:lnTo>
                  <a:close/>
                  <a:moveTo>
                    <a:pt x="116" y="99"/>
                  </a:moveTo>
                  <a:lnTo>
                    <a:pt x="116" y="99"/>
                  </a:lnTo>
                  <a:lnTo>
                    <a:pt x="122" y="99"/>
                  </a:lnTo>
                  <a:lnTo>
                    <a:pt x="122" y="99"/>
                  </a:lnTo>
                  <a:lnTo>
                    <a:pt x="116" y="99"/>
                  </a:lnTo>
                  <a:close/>
                  <a:moveTo>
                    <a:pt x="103" y="109"/>
                  </a:moveTo>
                  <a:lnTo>
                    <a:pt x="103" y="109"/>
                  </a:lnTo>
                  <a:lnTo>
                    <a:pt x="103" y="109"/>
                  </a:lnTo>
                  <a:lnTo>
                    <a:pt x="103" y="108"/>
                  </a:lnTo>
                  <a:lnTo>
                    <a:pt x="106" y="105"/>
                  </a:lnTo>
                  <a:lnTo>
                    <a:pt x="110" y="102"/>
                  </a:lnTo>
                  <a:lnTo>
                    <a:pt x="116" y="99"/>
                  </a:lnTo>
                  <a:lnTo>
                    <a:pt x="116" y="99"/>
                  </a:lnTo>
                  <a:lnTo>
                    <a:pt x="110" y="102"/>
                  </a:lnTo>
                  <a:lnTo>
                    <a:pt x="106" y="105"/>
                  </a:lnTo>
                  <a:lnTo>
                    <a:pt x="103" y="108"/>
                  </a:lnTo>
                  <a:lnTo>
                    <a:pt x="103" y="109"/>
                  </a:lnTo>
                  <a:close/>
                  <a:moveTo>
                    <a:pt x="39" y="142"/>
                  </a:moveTo>
                  <a:lnTo>
                    <a:pt x="39" y="142"/>
                  </a:lnTo>
                  <a:lnTo>
                    <a:pt x="39" y="142"/>
                  </a:lnTo>
                  <a:close/>
                  <a:moveTo>
                    <a:pt x="27" y="142"/>
                  </a:moveTo>
                  <a:lnTo>
                    <a:pt x="27" y="142"/>
                  </a:lnTo>
                  <a:lnTo>
                    <a:pt x="39" y="142"/>
                  </a:lnTo>
                  <a:lnTo>
                    <a:pt x="39" y="142"/>
                  </a:lnTo>
                  <a:lnTo>
                    <a:pt x="27" y="142"/>
                  </a:lnTo>
                  <a:close/>
                  <a:moveTo>
                    <a:pt x="27" y="142"/>
                  </a:moveTo>
                  <a:lnTo>
                    <a:pt x="27" y="142"/>
                  </a:lnTo>
                  <a:lnTo>
                    <a:pt x="27" y="142"/>
                  </a:lnTo>
                  <a:lnTo>
                    <a:pt x="27" y="142"/>
                  </a:lnTo>
                  <a:lnTo>
                    <a:pt x="27" y="142"/>
                  </a:lnTo>
                  <a:close/>
                  <a:moveTo>
                    <a:pt x="65" y="142"/>
                  </a:moveTo>
                  <a:lnTo>
                    <a:pt x="65" y="142"/>
                  </a:lnTo>
                  <a:lnTo>
                    <a:pt x="55" y="142"/>
                  </a:lnTo>
                  <a:lnTo>
                    <a:pt x="55" y="142"/>
                  </a:lnTo>
                  <a:lnTo>
                    <a:pt x="65" y="142"/>
                  </a:lnTo>
                  <a:lnTo>
                    <a:pt x="65" y="142"/>
                  </a:lnTo>
                  <a:lnTo>
                    <a:pt x="68" y="142"/>
                  </a:lnTo>
                  <a:lnTo>
                    <a:pt x="69" y="139"/>
                  </a:lnTo>
                  <a:lnTo>
                    <a:pt x="74" y="134"/>
                  </a:lnTo>
                  <a:lnTo>
                    <a:pt x="82" y="121"/>
                  </a:lnTo>
                  <a:lnTo>
                    <a:pt x="82" y="121"/>
                  </a:lnTo>
                  <a:lnTo>
                    <a:pt x="85" y="116"/>
                  </a:lnTo>
                  <a:lnTo>
                    <a:pt x="88" y="115"/>
                  </a:lnTo>
                  <a:lnTo>
                    <a:pt x="97" y="115"/>
                  </a:lnTo>
                  <a:lnTo>
                    <a:pt x="97" y="115"/>
                  </a:lnTo>
                  <a:lnTo>
                    <a:pt x="101" y="113"/>
                  </a:lnTo>
                  <a:lnTo>
                    <a:pt x="103" y="112"/>
                  </a:lnTo>
                  <a:lnTo>
                    <a:pt x="103" y="112"/>
                  </a:lnTo>
                  <a:lnTo>
                    <a:pt x="101" y="113"/>
                  </a:lnTo>
                  <a:lnTo>
                    <a:pt x="97" y="115"/>
                  </a:lnTo>
                  <a:lnTo>
                    <a:pt x="97" y="115"/>
                  </a:lnTo>
                  <a:lnTo>
                    <a:pt x="88" y="115"/>
                  </a:lnTo>
                  <a:lnTo>
                    <a:pt x="85" y="116"/>
                  </a:lnTo>
                  <a:lnTo>
                    <a:pt x="82" y="121"/>
                  </a:lnTo>
                  <a:lnTo>
                    <a:pt x="82" y="121"/>
                  </a:lnTo>
                  <a:lnTo>
                    <a:pt x="74" y="134"/>
                  </a:lnTo>
                  <a:lnTo>
                    <a:pt x="69" y="139"/>
                  </a:lnTo>
                  <a:lnTo>
                    <a:pt x="68" y="142"/>
                  </a:lnTo>
                  <a:lnTo>
                    <a:pt x="65" y="142"/>
                  </a:lnTo>
                  <a:close/>
                  <a:moveTo>
                    <a:pt x="0" y="145"/>
                  </a:moveTo>
                  <a:lnTo>
                    <a:pt x="0" y="145"/>
                  </a:lnTo>
                  <a:lnTo>
                    <a:pt x="0" y="145"/>
                  </a:lnTo>
                  <a:lnTo>
                    <a:pt x="27" y="142"/>
                  </a:lnTo>
                  <a:lnTo>
                    <a:pt x="27" y="142"/>
                  </a:lnTo>
                  <a:lnTo>
                    <a:pt x="27" y="142"/>
                  </a:lnTo>
                  <a:lnTo>
                    <a:pt x="27" y="142"/>
                  </a:lnTo>
                  <a:lnTo>
                    <a:pt x="27" y="142"/>
                  </a:lnTo>
                  <a:lnTo>
                    <a:pt x="27" y="142"/>
                  </a:lnTo>
                  <a:lnTo>
                    <a:pt x="0" y="145"/>
                  </a:lnTo>
                  <a:close/>
                </a:path>
              </a:pathLst>
            </a:custGeom>
            <a:solidFill>
              <a:srgbClr val="60B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70" name="Freeform 794"/>
            <p:cNvSpPr>
              <a:spLocks/>
            </p:cNvSpPr>
            <p:nvPr/>
          </p:nvSpPr>
          <p:spPr bwMode="auto">
            <a:xfrm>
              <a:off x="6137275" y="3703639"/>
              <a:ext cx="77788" cy="28575"/>
            </a:xfrm>
            <a:custGeom>
              <a:avLst/>
              <a:gdLst>
                <a:gd name="T0" fmla="*/ 0 w 49"/>
                <a:gd name="T1" fmla="*/ 18 h 18"/>
                <a:gd name="T2" fmla="*/ 0 w 49"/>
                <a:gd name="T3" fmla="*/ 18 h 18"/>
                <a:gd name="T4" fmla="*/ 2 w 49"/>
                <a:gd name="T5" fmla="*/ 15 h 18"/>
                <a:gd name="T6" fmla="*/ 7 w 49"/>
                <a:gd name="T7" fmla="*/ 12 h 18"/>
                <a:gd name="T8" fmla="*/ 11 w 49"/>
                <a:gd name="T9" fmla="*/ 9 h 18"/>
                <a:gd name="T10" fmla="*/ 14 w 49"/>
                <a:gd name="T11" fmla="*/ 6 h 18"/>
                <a:gd name="T12" fmla="*/ 14 w 49"/>
                <a:gd name="T13" fmla="*/ 6 h 18"/>
                <a:gd name="T14" fmla="*/ 18 w 49"/>
                <a:gd name="T15" fmla="*/ 3 h 18"/>
                <a:gd name="T16" fmla="*/ 24 w 49"/>
                <a:gd name="T17" fmla="*/ 2 h 18"/>
                <a:gd name="T18" fmla="*/ 37 w 49"/>
                <a:gd name="T19" fmla="*/ 2 h 18"/>
                <a:gd name="T20" fmla="*/ 37 w 49"/>
                <a:gd name="T21" fmla="*/ 2 h 18"/>
                <a:gd name="T22" fmla="*/ 49 w 49"/>
                <a:gd name="T23" fmla="*/ 0 h 18"/>
                <a:gd name="T24" fmla="*/ 49 w 49"/>
                <a:gd name="T25" fmla="*/ 0 h 18"/>
                <a:gd name="T26" fmla="*/ 37 w 49"/>
                <a:gd name="T27" fmla="*/ 2 h 18"/>
                <a:gd name="T28" fmla="*/ 37 w 49"/>
                <a:gd name="T29" fmla="*/ 2 h 18"/>
                <a:gd name="T30" fmla="*/ 24 w 49"/>
                <a:gd name="T31" fmla="*/ 2 h 18"/>
                <a:gd name="T32" fmla="*/ 18 w 49"/>
                <a:gd name="T33" fmla="*/ 3 h 18"/>
                <a:gd name="T34" fmla="*/ 14 w 49"/>
                <a:gd name="T35" fmla="*/ 6 h 18"/>
                <a:gd name="T36" fmla="*/ 14 w 49"/>
                <a:gd name="T37" fmla="*/ 6 h 18"/>
                <a:gd name="T38" fmla="*/ 11 w 49"/>
                <a:gd name="T39" fmla="*/ 9 h 18"/>
                <a:gd name="T40" fmla="*/ 7 w 49"/>
                <a:gd name="T41" fmla="*/ 12 h 18"/>
                <a:gd name="T42" fmla="*/ 2 w 49"/>
                <a:gd name="T43" fmla="*/ 15 h 18"/>
                <a:gd name="T44" fmla="*/ 0 w 49"/>
                <a:gd name="T4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 h="18">
                  <a:moveTo>
                    <a:pt x="0" y="18"/>
                  </a:moveTo>
                  <a:lnTo>
                    <a:pt x="0" y="18"/>
                  </a:lnTo>
                  <a:lnTo>
                    <a:pt x="2" y="15"/>
                  </a:lnTo>
                  <a:lnTo>
                    <a:pt x="7" y="12"/>
                  </a:lnTo>
                  <a:lnTo>
                    <a:pt x="11" y="9"/>
                  </a:lnTo>
                  <a:lnTo>
                    <a:pt x="14" y="6"/>
                  </a:lnTo>
                  <a:lnTo>
                    <a:pt x="14" y="6"/>
                  </a:lnTo>
                  <a:lnTo>
                    <a:pt x="18" y="3"/>
                  </a:lnTo>
                  <a:lnTo>
                    <a:pt x="24" y="2"/>
                  </a:lnTo>
                  <a:lnTo>
                    <a:pt x="37" y="2"/>
                  </a:lnTo>
                  <a:lnTo>
                    <a:pt x="37" y="2"/>
                  </a:lnTo>
                  <a:lnTo>
                    <a:pt x="49" y="0"/>
                  </a:lnTo>
                  <a:lnTo>
                    <a:pt x="49" y="0"/>
                  </a:lnTo>
                  <a:lnTo>
                    <a:pt x="37" y="2"/>
                  </a:lnTo>
                  <a:lnTo>
                    <a:pt x="37" y="2"/>
                  </a:lnTo>
                  <a:lnTo>
                    <a:pt x="24" y="2"/>
                  </a:lnTo>
                  <a:lnTo>
                    <a:pt x="18" y="3"/>
                  </a:lnTo>
                  <a:lnTo>
                    <a:pt x="14" y="6"/>
                  </a:lnTo>
                  <a:lnTo>
                    <a:pt x="14" y="6"/>
                  </a:lnTo>
                  <a:lnTo>
                    <a:pt x="11" y="9"/>
                  </a:lnTo>
                  <a:lnTo>
                    <a:pt x="7" y="12"/>
                  </a:lnTo>
                  <a:lnTo>
                    <a:pt x="2" y="15"/>
                  </a:lnTo>
                  <a:lnTo>
                    <a:pt x="0"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71" name="Freeform 795"/>
            <p:cNvSpPr>
              <a:spLocks/>
            </p:cNvSpPr>
            <p:nvPr/>
          </p:nvSpPr>
          <p:spPr bwMode="auto">
            <a:xfrm>
              <a:off x="6132513" y="3757614"/>
              <a:ext cx="11113" cy="20638"/>
            </a:xfrm>
            <a:custGeom>
              <a:avLst/>
              <a:gdLst>
                <a:gd name="T0" fmla="*/ 0 w 7"/>
                <a:gd name="T1" fmla="*/ 13 h 13"/>
                <a:gd name="T2" fmla="*/ 0 w 7"/>
                <a:gd name="T3" fmla="*/ 13 h 13"/>
                <a:gd name="T4" fmla="*/ 1 w 7"/>
                <a:gd name="T5" fmla="*/ 10 h 13"/>
                <a:gd name="T6" fmla="*/ 1 w 7"/>
                <a:gd name="T7" fmla="*/ 10 h 13"/>
                <a:gd name="T8" fmla="*/ 3 w 7"/>
                <a:gd name="T9" fmla="*/ 7 h 13"/>
                <a:gd name="T10" fmla="*/ 4 w 7"/>
                <a:gd name="T11" fmla="*/ 4 h 13"/>
                <a:gd name="T12" fmla="*/ 7 w 7"/>
                <a:gd name="T13" fmla="*/ 3 h 13"/>
                <a:gd name="T14" fmla="*/ 7 w 7"/>
                <a:gd name="T15" fmla="*/ 0 h 13"/>
                <a:gd name="T16" fmla="*/ 7 w 7"/>
                <a:gd name="T17" fmla="*/ 0 h 13"/>
                <a:gd name="T18" fmla="*/ 7 w 7"/>
                <a:gd name="T19" fmla="*/ 0 h 13"/>
                <a:gd name="T20" fmla="*/ 7 w 7"/>
                <a:gd name="T21" fmla="*/ 0 h 13"/>
                <a:gd name="T22" fmla="*/ 7 w 7"/>
                <a:gd name="T23" fmla="*/ 0 h 13"/>
                <a:gd name="T24" fmla="*/ 7 w 7"/>
                <a:gd name="T25" fmla="*/ 0 h 13"/>
                <a:gd name="T26" fmla="*/ 7 w 7"/>
                <a:gd name="T27" fmla="*/ 3 h 13"/>
                <a:gd name="T28" fmla="*/ 4 w 7"/>
                <a:gd name="T29" fmla="*/ 4 h 13"/>
                <a:gd name="T30" fmla="*/ 3 w 7"/>
                <a:gd name="T31" fmla="*/ 7 h 13"/>
                <a:gd name="T32" fmla="*/ 1 w 7"/>
                <a:gd name="T33" fmla="*/ 10 h 13"/>
                <a:gd name="T34" fmla="*/ 1 w 7"/>
                <a:gd name="T35" fmla="*/ 10 h 13"/>
                <a:gd name="T36" fmla="*/ 0 w 7"/>
                <a:gd name="T3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3">
                  <a:moveTo>
                    <a:pt x="0" y="13"/>
                  </a:moveTo>
                  <a:lnTo>
                    <a:pt x="0" y="13"/>
                  </a:lnTo>
                  <a:lnTo>
                    <a:pt x="1" y="10"/>
                  </a:lnTo>
                  <a:lnTo>
                    <a:pt x="1" y="10"/>
                  </a:lnTo>
                  <a:lnTo>
                    <a:pt x="3" y="7"/>
                  </a:lnTo>
                  <a:lnTo>
                    <a:pt x="4" y="4"/>
                  </a:lnTo>
                  <a:lnTo>
                    <a:pt x="7" y="3"/>
                  </a:lnTo>
                  <a:lnTo>
                    <a:pt x="7" y="0"/>
                  </a:lnTo>
                  <a:lnTo>
                    <a:pt x="7" y="0"/>
                  </a:lnTo>
                  <a:lnTo>
                    <a:pt x="7" y="0"/>
                  </a:lnTo>
                  <a:lnTo>
                    <a:pt x="7" y="0"/>
                  </a:lnTo>
                  <a:lnTo>
                    <a:pt x="7" y="0"/>
                  </a:lnTo>
                  <a:lnTo>
                    <a:pt x="7" y="0"/>
                  </a:lnTo>
                  <a:lnTo>
                    <a:pt x="7" y="3"/>
                  </a:lnTo>
                  <a:lnTo>
                    <a:pt x="4" y="4"/>
                  </a:lnTo>
                  <a:lnTo>
                    <a:pt x="3" y="7"/>
                  </a:lnTo>
                  <a:lnTo>
                    <a:pt x="1" y="10"/>
                  </a:lnTo>
                  <a:lnTo>
                    <a:pt x="1" y="10"/>
                  </a:lnTo>
                  <a:lnTo>
                    <a:pt x="0"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72" name="Freeform 796"/>
            <p:cNvSpPr>
              <a:spLocks/>
            </p:cNvSpPr>
            <p:nvPr/>
          </p:nvSpPr>
          <p:spPr bwMode="auto">
            <a:xfrm>
              <a:off x="6070600" y="3860801"/>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73" name="Freeform 797"/>
            <p:cNvSpPr>
              <a:spLocks/>
            </p:cNvSpPr>
            <p:nvPr/>
          </p:nvSpPr>
          <p:spPr bwMode="auto">
            <a:xfrm>
              <a:off x="6073775" y="3795714"/>
              <a:ext cx="63500" cy="65088"/>
            </a:xfrm>
            <a:custGeom>
              <a:avLst/>
              <a:gdLst>
                <a:gd name="T0" fmla="*/ 5 w 40"/>
                <a:gd name="T1" fmla="*/ 41 h 41"/>
                <a:gd name="T2" fmla="*/ 5 w 40"/>
                <a:gd name="T3" fmla="*/ 41 h 41"/>
                <a:gd name="T4" fmla="*/ 0 w 40"/>
                <a:gd name="T5" fmla="*/ 41 h 41"/>
                <a:gd name="T6" fmla="*/ 0 w 40"/>
                <a:gd name="T7" fmla="*/ 41 h 41"/>
                <a:gd name="T8" fmla="*/ 5 w 40"/>
                <a:gd name="T9" fmla="*/ 41 h 41"/>
                <a:gd name="T10" fmla="*/ 5 w 40"/>
                <a:gd name="T11" fmla="*/ 41 h 41"/>
                <a:gd name="T12" fmla="*/ 6 w 40"/>
                <a:gd name="T13" fmla="*/ 41 h 41"/>
                <a:gd name="T14" fmla="*/ 8 w 40"/>
                <a:gd name="T15" fmla="*/ 39 h 41"/>
                <a:gd name="T16" fmla="*/ 11 w 40"/>
                <a:gd name="T17" fmla="*/ 34 h 41"/>
                <a:gd name="T18" fmla="*/ 12 w 40"/>
                <a:gd name="T19" fmla="*/ 28 h 41"/>
                <a:gd name="T20" fmla="*/ 15 w 40"/>
                <a:gd name="T21" fmla="*/ 22 h 41"/>
                <a:gd name="T22" fmla="*/ 15 w 40"/>
                <a:gd name="T23" fmla="*/ 22 h 41"/>
                <a:gd name="T24" fmla="*/ 21 w 40"/>
                <a:gd name="T25" fmla="*/ 16 h 41"/>
                <a:gd name="T26" fmla="*/ 24 w 40"/>
                <a:gd name="T27" fmla="*/ 15 h 41"/>
                <a:gd name="T28" fmla="*/ 28 w 40"/>
                <a:gd name="T29" fmla="*/ 13 h 41"/>
                <a:gd name="T30" fmla="*/ 28 w 40"/>
                <a:gd name="T31" fmla="*/ 13 h 41"/>
                <a:gd name="T32" fmla="*/ 32 w 40"/>
                <a:gd name="T33" fmla="*/ 10 h 41"/>
                <a:gd name="T34" fmla="*/ 35 w 40"/>
                <a:gd name="T35" fmla="*/ 9 h 41"/>
                <a:gd name="T36" fmla="*/ 40 w 40"/>
                <a:gd name="T37" fmla="*/ 3 h 41"/>
                <a:gd name="T38" fmla="*/ 40 w 40"/>
                <a:gd name="T39" fmla="*/ 3 h 41"/>
                <a:gd name="T40" fmla="*/ 40 w 40"/>
                <a:gd name="T41" fmla="*/ 0 h 41"/>
                <a:gd name="T42" fmla="*/ 40 w 40"/>
                <a:gd name="T43" fmla="*/ 0 h 41"/>
                <a:gd name="T44" fmla="*/ 40 w 40"/>
                <a:gd name="T45" fmla="*/ 3 h 41"/>
                <a:gd name="T46" fmla="*/ 40 w 40"/>
                <a:gd name="T47" fmla="*/ 3 h 41"/>
                <a:gd name="T48" fmla="*/ 35 w 40"/>
                <a:gd name="T49" fmla="*/ 9 h 41"/>
                <a:gd name="T50" fmla="*/ 32 w 40"/>
                <a:gd name="T51" fmla="*/ 10 h 41"/>
                <a:gd name="T52" fmla="*/ 28 w 40"/>
                <a:gd name="T53" fmla="*/ 13 h 41"/>
                <a:gd name="T54" fmla="*/ 28 w 40"/>
                <a:gd name="T55" fmla="*/ 13 h 41"/>
                <a:gd name="T56" fmla="*/ 24 w 40"/>
                <a:gd name="T57" fmla="*/ 15 h 41"/>
                <a:gd name="T58" fmla="*/ 21 w 40"/>
                <a:gd name="T59" fmla="*/ 16 h 41"/>
                <a:gd name="T60" fmla="*/ 15 w 40"/>
                <a:gd name="T61" fmla="*/ 22 h 41"/>
                <a:gd name="T62" fmla="*/ 15 w 40"/>
                <a:gd name="T63" fmla="*/ 22 h 41"/>
                <a:gd name="T64" fmla="*/ 12 w 40"/>
                <a:gd name="T65" fmla="*/ 28 h 41"/>
                <a:gd name="T66" fmla="*/ 11 w 40"/>
                <a:gd name="T67" fmla="*/ 34 h 41"/>
                <a:gd name="T68" fmla="*/ 8 w 40"/>
                <a:gd name="T69" fmla="*/ 39 h 41"/>
                <a:gd name="T70" fmla="*/ 6 w 40"/>
                <a:gd name="T71" fmla="*/ 41 h 41"/>
                <a:gd name="T72" fmla="*/ 5 w 40"/>
                <a:gd name="T73"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41">
                  <a:moveTo>
                    <a:pt x="5" y="41"/>
                  </a:moveTo>
                  <a:lnTo>
                    <a:pt x="5" y="41"/>
                  </a:lnTo>
                  <a:lnTo>
                    <a:pt x="0" y="41"/>
                  </a:lnTo>
                  <a:lnTo>
                    <a:pt x="0" y="41"/>
                  </a:lnTo>
                  <a:lnTo>
                    <a:pt x="5" y="41"/>
                  </a:lnTo>
                  <a:lnTo>
                    <a:pt x="5" y="41"/>
                  </a:lnTo>
                  <a:lnTo>
                    <a:pt x="6" y="41"/>
                  </a:lnTo>
                  <a:lnTo>
                    <a:pt x="8" y="39"/>
                  </a:lnTo>
                  <a:lnTo>
                    <a:pt x="11" y="34"/>
                  </a:lnTo>
                  <a:lnTo>
                    <a:pt x="12" y="28"/>
                  </a:lnTo>
                  <a:lnTo>
                    <a:pt x="15" y="22"/>
                  </a:lnTo>
                  <a:lnTo>
                    <a:pt x="15" y="22"/>
                  </a:lnTo>
                  <a:lnTo>
                    <a:pt x="21" y="16"/>
                  </a:lnTo>
                  <a:lnTo>
                    <a:pt x="24" y="15"/>
                  </a:lnTo>
                  <a:lnTo>
                    <a:pt x="28" y="13"/>
                  </a:lnTo>
                  <a:lnTo>
                    <a:pt x="28" y="13"/>
                  </a:lnTo>
                  <a:lnTo>
                    <a:pt x="32" y="10"/>
                  </a:lnTo>
                  <a:lnTo>
                    <a:pt x="35" y="9"/>
                  </a:lnTo>
                  <a:lnTo>
                    <a:pt x="40" y="3"/>
                  </a:lnTo>
                  <a:lnTo>
                    <a:pt x="40" y="3"/>
                  </a:lnTo>
                  <a:lnTo>
                    <a:pt x="40" y="0"/>
                  </a:lnTo>
                  <a:lnTo>
                    <a:pt x="40" y="0"/>
                  </a:lnTo>
                  <a:lnTo>
                    <a:pt x="40" y="3"/>
                  </a:lnTo>
                  <a:lnTo>
                    <a:pt x="40" y="3"/>
                  </a:lnTo>
                  <a:lnTo>
                    <a:pt x="35" y="9"/>
                  </a:lnTo>
                  <a:lnTo>
                    <a:pt x="32" y="10"/>
                  </a:lnTo>
                  <a:lnTo>
                    <a:pt x="28" y="13"/>
                  </a:lnTo>
                  <a:lnTo>
                    <a:pt x="28" y="13"/>
                  </a:lnTo>
                  <a:lnTo>
                    <a:pt x="24" y="15"/>
                  </a:lnTo>
                  <a:lnTo>
                    <a:pt x="21" y="16"/>
                  </a:lnTo>
                  <a:lnTo>
                    <a:pt x="15" y="22"/>
                  </a:lnTo>
                  <a:lnTo>
                    <a:pt x="15" y="22"/>
                  </a:lnTo>
                  <a:lnTo>
                    <a:pt x="12" y="28"/>
                  </a:lnTo>
                  <a:lnTo>
                    <a:pt x="11" y="34"/>
                  </a:lnTo>
                  <a:lnTo>
                    <a:pt x="8" y="39"/>
                  </a:lnTo>
                  <a:lnTo>
                    <a:pt x="6" y="41"/>
                  </a:lnTo>
                  <a:lnTo>
                    <a:pt x="5" y="4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74" name="Rectangle 798"/>
            <p:cNvSpPr>
              <a:spLocks noChangeArrowheads="1"/>
            </p:cNvSpPr>
            <p:nvPr/>
          </p:nvSpPr>
          <p:spPr bwMode="auto">
            <a:xfrm>
              <a:off x="6061075" y="3860801"/>
              <a:ext cx="9525"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75" name="Freeform 799"/>
            <p:cNvSpPr>
              <a:spLocks/>
            </p:cNvSpPr>
            <p:nvPr/>
          </p:nvSpPr>
          <p:spPr bwMode="auto">
            <a:xfrm>
              <a:off x="6040438" y="3860801"/>
              <a:ext cx="20638" cy="15875"/>
            </a:xfrm>
            <a:custGeom>
              <a:avLst/>
              <a:gdLst>
                <a:gd name="T0" fmla="*/ 0 w 13"/>
                <a:gd name="T1" fmla="*/ 10 h 10"/>
                <a:gd name="T2" fmla="*/ 0 w 13"/>
                <a:gd name="T3" fmla="*/ 10 h 10"/>
                <a:gd name="T4" fmla="*/ 0 w 13"/>
                <a:gd name="T5" fmla="*/ 10 h 10"/>
                <a:gd name="T6" fmla="*/ 0 w 13"/>
                <a:gd name="T7" fmla="*/ 9 h 10"/>
                <a:gd name="T8" fmla="*/ 3 w 13"/>
                <a:gd name="T9" fmla="*/ 6 h 10"/>
                <a:gd name="T10" fmla="*/ 7 w 13"/>
                <a:gd name="T11" fmla="*/ 3 h 10"/>
                <a:gd name="T12" fmla="*/ 13 w 13"/>
                <a:gd name="T13" fmla="*/ 0 h 10"/>
                <a:gd name="T14" fmla="*/ 13 w 13"/>
                <a:gd name="T15" fmla="*/ 0 h 10"/>
                <a:gd name="T16" fmla="*/ 7 w 13"/>
                <a:gd name="T17" fmla="*/ 3 h 10"/>
                <a:gd name="T18" fmla="*/ 3 w 13"/>
                <a:gd name="T19" fmla="*/ 6 h 10"/>
                <a:gd name="T20" fmla="*/ 0 w 13"/>
                <a:gd name="T21" fmla="*/ 9 h 10"/>
                <a:gd name="T22" fmla="*/ 0 w 13"/>
                <a:gd name="T2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0">
                  <a:moveTo>
                    <a:pt x="0" y="10"/>
                  </a:moveTo>
                  <a:lnTo>
                    <a:pt x="0" y="10"/>
                  </a:lnTo>
                  <a:lnTo>
                    <a:pt x="0" y="10"/>
                  </a:lnTo>
                  <a:lnTo>
                    <a:pt x="0" y="9"/>
                  </a:lnTo>
                  <a:lnTo>
                    <a:pt x="3" y="6"/>
                  </a:lnTo>
                  <a:lnTo>
                    <a:pt x="7" y="3"/>
                  </a:lnTo>
                  <a:lnTo>
                    <a:pt x="13" y="0"/>
                  </a:lnTo>
                  <a:lnTo>
                    <a:pt x="13" y="0"/>
                  </a:lnTo>
                  <a:lnTo>
                    <a:pt x="7" y="3"/>
                  </a:lnTo>
                  <a:lnTo>
                    <a:pt x="3" y="6"/>
                  </a:lnTo>
                  <a:lnTo>
                    <a:pt x="0" y="9"/>
                  </a:lnTo>
                  <a:lnTo>
                    <a:pt x="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76" name="Freeform 800"/>
            <p:cNvSpPr>
              <a:spLocks/>
            </p:cNvSpPr>
            <p:nvPr/>
          </p:nvSpPr>
          <p:spPr bwMode="auto">
            <a:xfrm>
              <a:off x="5938838" y="392906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77" name="Rectangle 801"/>
            <p:cNvSpPr>
              <a:spLocks noChangeArrowheads="1"/>
            </p:cNvSpPr>
            <p:nvPr/>
          </p:nvSpPr>
          <p:spPr bwMode="auto">
            <a:xfrm>
              <a:off x="5919788" y="3929064"/>
              <a:ext cx="19050"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78" name="Rectangle 802"/>
            <p:cNvSpPr>
              <a:spLocks noChangeArrowheads="1"/>
            </p:cNvSpPr>
            <p:nvPr/>
          </p:nvSpPr>
          <p:spPr bwMode="auto">
            <a:xfrm>
              <a:off x="5919788" y="3929064"/>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79" name="Freeform 803"/>
            <p:cNvSpPr>
              <a:spLocks/>
            </p:cNvSpPr>
            <p:nvPr/>
          </p:nvSpPr>
          <p:spPr bwMode="auto">
            <a:xfrm>
              <a:off x="5964238" y="3881439"/>
              <a:ext cx="76200" cy="47625"/>
            </a:xfrm>
            <a:custGeom>
              <a:avLst/>
              <a:gdLst>
                <a:gd name="T0" fmla="*/ 10 w 48"/>
                <a:gd name="T1" fmla="*/ 30 h 30"/>
                <a:gd name="T2" fmla="*/ 10 w 48"/>
                <a:gd name="T3" fmla="*/ 30 h 30"/>
                <a:gd name="T4" fmla="*/ 0 w 48"/>
                <a:gd name="T5" fmla="*/ 30 h 30"/>
                <a:gd name="T6" fmla="*/ 0 w 48"/>
                <a:gd name="T7" fmla="*/ 30 h 30"/>
                <a:gd name="T8" fmla="*/ 10 w 48"/>
                <a:gd name="T9" fmla="*/ 30 h 30"/>
                <a:gd name="T10" fmla="*/ 10 w 48"/>
                <a:gd name="T11" fmla="*/ 30 h 30"/>
                <a:gd name="T12" fmla="*/ 13 w 48"/>
                <a:gd name="T13" fmla="*/ 30 h 30"/>
                <a:gd name="T14" fmla="*/ 14 w 48"/>
                <a:gd name="T15" fmla="*/ 27 h 30"/>
                <a:gd name="T16" fmla="*/ 19 w 48"/>
                <a:gd name="T17" fmla="*/ 22 h 30"/>
                <a:gd name="T18" fmla="*/ 27 w 48"/>
                <a:gd name="T19" fmla="*/ 9 h 30"/>
                <a:gd name="T20" fmla="*/ 27 w 48"/>
                <a:gd name="T21" fmla="*/ 9 h 30"/>
                <a:gd name="T22" fmla="*/ 30 w 48"/>
                <a:gd name="T23" fmla="*/ 4 h 30"/>
                <a:gd name="T24" fmla="*/ 33 w 48"/>
                <a:gd name="T25" fmla="*/ 3 h 30"/>
                <a:gd name="T26" fmla="*/ 42 w 48"/>
                <a:gd name="T27" fmla="*/ 3 h 30"/>
                <a:gd name="T28" fmla="*/ 42 w 48"/>
                <a:gd name="T29" fmla="*/ 3 h 30"/>
                <a:gd name="T30" fmla="*/ 46 w 48"/>
                <a:gd name="T31" fmla="*/ 1 h 30"/>
                <a:gd name="T32" fmla="*/ 48 w 48"/>
                <a:gd name="T33" fmla="*/ 0 h 30"/>
                <a:gd name="T34" fmla="*/ 48 w 48"/>
                <a:gd name="T35" fmla="*/ 0 h 30"/>
                <a:gd name="T36" fmla="*/ 46 w 48"/>
                <a:gd name="T37" fmla="*/ 1 h 30"/>
                <a:gd name="T38" fmla="*/ 42 w 48"/>
                <a:gd name="T39" fmla="*/ 3 h 30"/>
                <a:gd name="T40" fmla="*/ 42 w 48"/>
                <a:gd name="T41" fmla="*/ 3 h 30"/>
                <a:gd name="T42" fmla="*/ 33 w 48"/>
                <a:gd name="T43" fmla="*/ 3 h 30"/>
                <a:gd name="T44" fmla="*/ 30 w 48"/>
                <a:gd name="T45" fmla="*/ 4 h 30"/>
                <a:gd name="T46" fmla="*/ 27 w 48"/>
                <a:gd name="T47" fmla="*/ 9 h 30"/>
                <a:gd name="T48" fmla="*/ 27 w 48"/>
                <a:gd name="T49" fmla="*/ 9 h 30"/>
                <a:gd name="T50" fmla="*/ 19 w 48"/>
                <a:gd name="T51" fmla="*/ 22 h 30"/>
                <a:gd name="T52" fmla="*/ 14 w 48"/>
                <a:gd name="T53" fmla="*/ 27 h 30"/>
                <a:gd name="T54" fmla="*/ 13 w 48"/>
                <a:gd name="T55" fmla="*/ 30 h 30"/>
                <a:gd name="T56" fmla="*/ 10 w 48"/>
                <a:gd name="T5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0">
                  <a:moveTo>
                    <a:pt x="10" y="30"/>
                  </a:moveTo>
                  <a:lnTo>
                    <a:pt x="10" y="30"/>
                  </a:lnTo>
                  <a:lnTo>
                    <a:pt x="0" y="30"/>
                  </a:lnTo>
                  <a:lnTo>
                    <a:pt x="0" y="30"/>
                  </a:lnTo>
                  <a:lnTo>
                    <a:pt x="10" y="30"/>
                  </a:lnTo>
                  <a:lnTo>
                    <a:pt x="10" y="30"/>
                  </a:lnTo>
                  <a:lnTo>
                    <a:pt x="13" y="30"/>
                  </a:lnTo>
                  <a:lnTo>
                    <a:pt x="14" y="27"/>
                  </a:lnTo>
                  <a:lnTo>
                    <a:pt x="19" y="22"/>
                  </a:lnTo>
                  <a:lnTo>
                    <a:pt x="27" y="9"/>
                  </a:lnTo>
                  <a:lnTo>
                    <a:pt x="27" y="9"/>
                  </a:lnTo>
                  <a:lnTo>
                    <a:pt x="30" y="4"/>
                  </a:lnTo>
                  <a:lnTo>
                    <a:pt x="33" y="3"/>
                  </a:lnTo>
                  <a:lnTo>
                    <a:pt x="42" y="3"/>
                  </a:lnTo>
                  <a:lnTo>
                    <a:pt x="42" y="3"/>
                  </a:lnTo>
                  <a:lnTo>
                    <a:pt x="46" y="1"/>
                  </a:lnTo>
                  <a:lnTo>
                    <a:pt x="48" y="0"/>
                  </a:lnTo>
                  <a:lnTo>
                    <a:pt x="48" y="0"/>
                  </a:lnTo>
                  <a:lnTo>
                    <a:pt x="46" y="1"/>
                  </a:lnTo>
                  <a:lnTo>
                    <a:pt x="42" y="3"/>
                  </a:lnTo>
                  <a:lnTo>
                    <a:pt x="42" y="3"/>
                  </a:lnTo>
                  <a:lnTo>
                    <a:pt x="33" y="3"/>
                  </a:lnTo>
                  <a:lnTo>
                    <a:pt x="30" y="4"/>
                  </a:lnTo>
                  <a:lnTo>
                    <a:pt x="27" y="9"/>
                  </a:lnTo>
                  <a:lnTo>
                    <a:pt x="27" y="9"/>
                  </a:lnTo>
                  <a:lnTo>
                    <a:pt x="19" y="22"/>
                  </a:lnTo>
                  <a:lnTo>
                    <a:pt x="14" y="27"/>
                  </a:lnTo>
                  <a:lnTo>
                    <a:pt x="13" y="30"/>
                  </a:lnTo>
                  <a:lnTo>
                    <a:pt x="10" y="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80" name="Freeform 804"/>
            <p:cNvSpPr>
              <a:spLocks/>
            </p:cNvSpPr>
            <p:nvPr/>
          </p:nvSpPr>
          <p:spPr bwMode="auto">
            <a:xfrm>
              <a:off x="5876925" y="3929064"/>
              <a:ext cx="42863" cy="4763"/>
            </a:xfrm>
            <a:custGeom>
              <a:avLst/>
              <a:gdLst>
                <a:gd name="T0" fmla="*/ 0 w 27"/>
                <a:gd name="T1" fmla="*/ 3 h 3"/>
                <a:gd name="T2" fmla="*/ 0 w 27"/>
                <a:gd name="T3" fmla="*/ 3 h 3"/>
                <a:gd name="T4" fmla="*/ 0 w 27"/>
                <a:gd name="T5" fmla="*/ 3 h 3"/>
                <a:gd name="T6" fmla="*/ 27 w 27"/>
                <a:gd name="T7" fmla="*/ 0 h 3"/>
                <a:gd name="T8" fmla="*/ 27 w 27"/>
                <a:gd name="T9" fmla="*/ 0 h 3"/>
                <a:gd name="T10" fmla="*/ 27 w 27"/>
                <a:gd name="T11" fmla="*/ 0 h 3"/>
                <a:gd name="T12" fmla="*/ 27 w 27"/>
                <a:gd name="T13" fmla="*/ 0 h 3"/>
                <a:gd name="T14" fmla="*/ 27 w 27"/>
                <a:gd name="T15" fmla="*/ 0 h 3"/>
                <a:gd name="T16" fmla="*/ 27 w 27"/>
                <a:gd name="T17" fmla="*/ 0 h 3"/>
                <a:gd name="T18" fmla="*/ 0 w 27"/>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3">
                  <a:moveTo>
                    <a:pt x="0" y="3"/>
                  </a:moveTo>
                  <a:lnTo>
                    <a:pt x="0" y="3"/>
                  </a:lnTo>
                  <a:lnTo>
                    <a:pt x="0" y="3"/>
                  </a:lnTo>
                  <a:lnTo>
                    <a:pt x="27" y="0"/>
                  </a:lnTo>
                  <a:lnTo>
                    <a:pt x="27" y="0"/>
                  </a:lnTo>
                  <a:lnTo>
                    <a:pt x="27" y="0"/>
                  </a:lnTo>
                  <a:lnTo>
                    <a:pt x="27" y="0"/>
                  </a:lnTo>
                  <a:lnTo>
                    <a:pt x="27" y="0"/>
                  </a:lnTo>
                  <a:lnTo>
                    <a:pt x="27"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81" name="Freeform 812"/>
            <p:cNvSpPr>
              <a:spLocks/>
            </p:cNvSpPr>
            <p:nvPr/>
          </p:nvSpPr>
          <p:spPr bwMode="auto">
            <a:xfrm>
              <a:off x="6267450" y="3521076"/>
              <a:ext cx="49213" cy="12700"/>
            </a:xfrm>
            <a:custGeom>
              <a:avLst/>
              <a:gdLst>
                <a:gd name="T0" fmla="*/ 31 w 31"/>
                <a:gd name="T1" fmla="*/ 1 h 8"/>
                <a:gd name="T2" fmla="*/ 31 w 31"/>
                <a:gd name="T3" fmla="*/ 1 h 8"/>
                <a:gd name="T4" fmla="*/ 25 w 31"/>
                <a:gd name="T5" fmla="*/ 7 h 8"/>
                <a:gd name="T6" fmla="*/ 20 w 31"/>
                <a:gd name="T7" fmla="*/ 8 h 8"/>
                <a:gd name="T8" fmla="*/ 16 w 31"/>
                <a:gd name="T9" fmla="*/ 8 h 8"/>
                <a:gd name="T10" fmla="*/ 16 w 31"/>
                <a:gd name="T11" fmla="*/ 8 h 8"/>
                <a:gd name="T12" fmla="*/ 3 w 31"/>
                <a:gd name="T13" fmla="*/ 7 h 8"/>
                <a:gd name="T14" fmla="*/ 0 w 31"/>
                <a:gd name="T15" fmla="*/ 5 h 8"/>
                <a:gd name="T16" fmla="*/ 0 w 31"/>
                <a:gd name="T17" fmla="*/ 5 h 8"/>
                <a:gd name="T18" fmla="*/ 3 w 31"/>
                <a:gd name="T19" fmla="*/ 4 h 8"/>
                <a:gd name="T20" fmla="*/ 3 w 31"/>
                <a:gd name="T21" fmla="*/ 4 h 8"/>
                <a:gd name="T22" fmla="*/ 10 w 31"/>
                <a:gd name="T23" fmla="*/ 1 h 8"/>
                <a:gd name="T24" fmla="*/ 20 w 31"/>
                <a:gd name="T25" fmla="*/ 1 h 8"/>
                <a:gd name="T26" fmla="*/ 29 w 31"/>
                <a:gd name="T27" fmla="*/ 0 h 8"/>
                <a:gd name="T28" fmla="*/ 31 w 31"/>
                <a:gd name="T29" fmla="*/ 1 h 8"/>
                <a:gd name="T30" fmla="*/ 31 w 31"/>
                <a:gd name="T31"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8">
                  <a:moveTo>
                    <a:pt x="31" y="1"/>
                  </a:moveTo>
                  <a:lnTo>
                    <a:pt x="31" y="1"/>
                  </a:lnTo>
                  <a:lnTo>
                    <a:pt x="25" y="7"/>
                  </a:lnTo>
                  <a:lnTo>
                    <a:pt x="20" y="8"/>
                  </a:lnTo>
                  <a:lnTo>
                    <a:pt x="16" y="8"/>
                  </a:lnTo>
                  <a:lnTo>
                    <a:pt x="16" y="8"/>
                  </a:lnTo>
                  <a:lnTo>
                    <a:pt x="3" y="7"/>
                  </a:lnTo>
                  <a:lnTo>
                    <a:pt x="0" y="5"/>
                  </a:lnTo>
                  <a:lnTo>
                    <a:pt x="0" y="5"/>
                  </a:lnTo>
                  <a:lnTo>
                    <a:pt x="3" y="4"/>
                  </a:lnTo>
                  <a:lnTo>
                    <a:pt x="3" y="4"/>
                  </a:lnTo>
                  <a:lnTo>
                    <a:pt x="10" y="1"/>
                  </a:lnTo>
                  <a:lnTo>
                    <a:pt x="20" y="1"/>
                  </a:lnTo>
                  <a:lnTo>
                    <a:pt x="29" y="0"/>
                  </a:lnTo>
                  <a:lnTo>
                    <a:pt x="31" y="1"/>
                  </a:lnTo>
                  <a:lnTo>
                    <a:pt x="31"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82" name="Freeform 813"/>
            <p:cNvSpPr>
              <a:spLocks noEditPoints="1"/>
            </p:cNvSpPr>
            <p:nvPr/>
          </p:nvSpPr>
          <p:spPr bwMode="auto">
            <a:xfrm>
              <a:off x="7539038" y="3656014"/>
              <a:ext cx="71438" cy="131763"/>
            </a:xfrm>
            <a:custGeom>
              <a:avLst/>
              <a:gdLst>
                <a:gd name="T0" fmla="*/ 0 w 45"/>
                <a:gd name="T1" fmla="*/ 71 h 83"/>
                <a:gd name="T2" fmla="*/ 4 w 45"/>
                <a:gd name="T3" fmla="*/ 83 h 83"/>
                <a:gd name="T4" fmla="*/ 3 w 45"/>
                <a:gd name="T5" fmla="*/ 83 h 83"/>
                <a:gd name="T6" fmla="*/ 2 w 45"/>
                <a:gd name="T7" fmla="*/ 78 h 83"/>
                <a:gd name="T8" fmla="*/ 0 w 45"/>
                <a:gd name="T9" fmla="*/ 72 h 83"/>
                <a:gd name="T10" fmla="*/ 0 w 45"/>
                <a:gd name="T11" fmla="*/ 71 h 83"/>
                <a:gd name="T12" fmla="*/ 4 w 45"/>
                <a:gd name="T13" fmla="*/ 64 h 83"/>
                <a:gd name="T14" fmla="*/ 7 w 45"/>
                <a:gd name="T15" fmla="*/ 58 h 83"/>
                <a:gd name="T16" fmla="*/ 7 w 45"/>
                <a:gd name="T17" fmla="*/ 54 h 83"/>
                <a:gd name="T18" fmla="*/ 7 w 45"/>
                <a:gd name="T19" fmla="*/ 51 h 83"/>
                <a:gd name="T20" fmla="*/ 4 w 45"/>
                <a:gd name="T21" fmla="*/ 43 h 83"/>
                <a:gd name="T22" fmla="*/ 2 w 45"/>
                <a:gd name="T23" fmla="*/ 35 h 83"/>
                <a:gd name="T24" fmla="*/ 2 w 45"/>
                <a:gd name="T25" fmla="*/ 35 h 83"/>
                <a:gd name="T26" fmla="*/ 2 w 45"/>
                <a:gd name="T27" fmla="*/ 35 h 83"/>
                <a:gd name="T28" fmla="*/ 4 w 45"/>
                <a:gd name="T29" fmla="*/ 35 h 83"/>
                <a:gd name="T30" fmla="*/ 7 w 45"/>
                <a:gd name="T31" fmla="*/ 36 h 83"/>
                <a:gd name="T32" fmla="*/ 9 w 45"/>
                <a:gd name="T33" fmla="*/ 36 h 83"/>
                <a:gd name="T34" fmla="*/ 10 w 45"/>
                <a:gd name="T35" fmla="*/ 33 h 83"/>
                <a:gd name="T36" fmla="*/ 12 w 45"/>
                <a:gd name="T37" fmla="*/ 30 h 83"/>
                <a:gd name="T38" fmla="*/ 10 w 45"/>
                <a:gd name="T39" fmla="*/ 28 h 83"/>
                <a:gd name="T40" fmla="*/ 9 w 45"/>
                <a:gd name="T41" fmla="*/ 23 h 83"/>
                <a:gd name="T42" fmla="*/ 7 w 45"/>
                <a:gd name="T43" fmla="*/ 19 h 83"/>
                <a:gd name="T44" fmla="*/ 4 w 45"/>
                <a:gd name="T45" fmla="*/ 16 h 83"/>
                <a:gd name="T46" fmla="*/ 4 w 45"/>
                <a:gd name="T47" fmla="*/ 16 h 83"/>
                <a:gd name="T48" fmla="*/ 3 w 45"/>
                <a:gd name="T49" fmla="*/ 16 h 83"/>
                <a:gd name="T50" fmla="*/ 19 w 45"/>
                <a:gd name="T51" fmla="*/ 6 h 83"/>
                <a:gd name="T52" fmla="*/ 22 w 45"/>
                <a:gd name="T53" fmla="*/ 4 h 83"/>
                <a:gd name="T54" fmla="*/ 30 w 45"/>
                <a:gd name="T55" fmla="*/ 0 h 83"/>
                <a:gd name="T56" fmla="*/ 33 w 45"/>
                <a:gd name="T57" fmla="*/ 6 h 83"/>
                <a:gd name="T58" fmla="*/ 39 w 45"/>
                <a:gd name="T59" fmla="*/ 16 h 83"/>
                <a:gd name="T60" fmla="*/ 41 w 45"/>
                <a:gd name="T61" fmla="*/ 22 h 83"/>
                <a:gd name="T62" fmla="*/ 41 w 45"/>
                <a:gd name="T63" fmla="*/ 33 h 83"/>
                <a:gd name="T64" fmla="*/ 42 w 45"/>
                <a:gd name="T65" fmla="*/ 43 h 83"/>
                <a:gd name="T66" fmla="*/ 45 w 45"/>
                <a:gd name="T67" fmla="*/ 51 h 83"/>
                <a:gd name="T68" fmla="*/ 45 w 45"/>
                <a:gd name="T69" fmla="*/ 56 h 83"/>
                <a:gd name="T70" fmla="*/ 45 w 45"/>
                <a:gd name="T71" fmla="*/ 61 h 83"/>
                <a:gd name="T72" fmla="*/ 38 w 45"/>
                <a:gd name="T73" fmla="*/ 68 h 83"/>
                <a:gd name="T74" fmla="*/ 35 w 45"/>
                <a:gd name="T75" fmla="*/ 72 h 83"/>
                <a:gd name="T76" fmla="*/ 33 w 45"/>
                <a:gd name="T77" fmla="*/ 72 h 83"/>
                <a:gd name="T78" fmla="*/ 28 w 45"/>
                <a:gd name="T79" fmla="*/ 72 h 83"/>
                <a:gd name="T80" fmla="*/ 19 w 45"/>
                <a:gd name="T81" fmla="*/ 72 h 83"/>
                <a:gd name="T82" fmla="*/ 16 w 45"/>
                <a:gd name="T83" fmla="*/ 75 h 83"/>
                <a:gd name="T84" fmla="*/ 9 w 45"/>
                <a:gd name="T85" fmla="*/ 81 h 83"/>
                <a:gd name="T86" fmla="*/ 6 w 45"/>
                <a:gd name="T87" fmla="*/ 83 h 83"/>
                <a:gd name="T88" fmla="*/ 4 w 45"/>
                <a:gd name="T89"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5" h="83">
                  <a:moveTo>
                    <a:pt x="0" y="71"/>
                  </a:moveTo>
                  <a:lnTo>
                    <a:pt x="0" y="71"/>
                  </a:lnTo>
                  <a:lnTo>
                    <a:pt x="0" y="71"/>
                  </a:lnTo>
                  <a:close/>
                  <a:moveTo>
                    <a:pt x="4" y="83"/>
                  </a:moveTo>
                  <a:lnTo>
                    <a:pt x="4" y="83"/>
                  </a:lnTo>
                  <a:lnTo>
                    <a:pt x="3" y="83"/>
                  </a:lnTo>
                  <a:lnTo>
                    <a:pt x="3" y="83"/>
                  </a:lnTo>
                  <a:lnTo>
                    <a:pt x="2" y="78"/>
                  </a:lnTo>
                  <a:lnTo>
                    <a:pt x="0" y="72"/>
                  </a:lnTo>
                  <a:lnTo>
                    <a:pt x="0" y="72"/>
                  </a:lnTo>
                  <a:lnTo>
                    <a:pt x="0" y="71"/>
                  </a:lnTo>
                  <a:lnTo>
                    <a:pt x="0" y="71"/>
                  </a:lnTo>
                  <a:lnTo>
                    <a:pt x="0" y="71"/>
                  </a:lnTo>
                  <a:lnTo>
                    <a:pt x="4" y="64"/>
                  </a:lnTo>
                  <a:lnTo>
                    <a:pt x="4" y="64"/>
                  </a:lnTo>
                  <a:lnTo>
                    <a:pt x="7" y="58"/>
                  </a:lnTo>
                  <a:lnTo>
                    <a:pt x="7" y="58"/>
                  </a:lnTo>
                  <a:lnTo>
                    <a:pt x="7" y="54"/>
                  </a:lnTo>
                  <a:lnTo>
                    <a:pt x="7" y="54"/>
                  </a:lnTo>
                  <a:lnTo>
                    <a:pt x="7" y="51"/>
                  </a:lnTo>
                  <a:lnTo>
                    <a:pt x="7" y="51"/>
                  </a:lnTo>
                  <a:lnTo>
                    <a:pt x="4" y="43"/>
                  </a:lnTo>
                  <a:lnTo>
                    <a:pt x="4" y="43"/>
                  </a:lnTo>
                  <a:lnTo>
                    <a:pt x="2" y="35"/>
                  </a:lnTo>
                  <a:lnTo>
                    <a:pt x="2" y="35"/>
                  </a:lnTo>
                  <a:lnTo>
                    <a:pt x="2" y="35"/>
                  </a:lnTo>
                  <a:lnTo>
                    <a:pt x="2" y="35"/>
                  </a:lnTo>
                  <a:lnTo>
                    <a:pt x="2" y="35"/>
                  </a:lnTo>
                  <a:lnTo>
                    <a:pt x="4" y="35"/>
                  </a:lnTo>
                  <a:lnTo>
                    <a:pt x="4" y="35"/>
                  </a:lnTo>
                  <a:lnTo>
                    <a:pt x="7" y="36"/>
                  </a:lnTo>
                  <a:lnTo>
                    <a:pt x="7" y="36"/>
                  </a:lnTo>
                  <a:lnTo>
                    <a:pt x="7" y="36"/>
                  </a:lnTo>
                  <a:lnTo>
                    <a:pt x="9" y="36"/>
                  </a:lnTo>
                  <a:lnTo>
                    <a:pt x="9" y="36"/>
                  </a:lnTo>
                  <a:lnTo>
                    <a:pt x="10" y="33"/>
                  </a:lnTo>
                  <a:lnTo>
                    <a:pt x="10" y="33"/>
                  </a:lnTo>
                  <a:lnTo>
                    <a:pt x="12" y="30"/>
                  </a:lnTo>
                  <a:lnTo>
                    <a:pt x="12" y="30"/>
                  </a:lnTo>
                  <a:lnTo>
                    <a:pt x="10" y="28"/>
                  </a:lnTo>
                  <a:lnTo>
                    <a:pt x="9" y="23"/>
                  </a:lnTo>
                  <a:lnTo>
                    <a:pt x="9" y="23"/>
                  </a:lnTo>
                  <a:lnTo>
                    <a:pt x="7" y="19"/>
                  </a:lnTo>
                  <a:lnTo>
                    <a:pt x="7" y="19"/>
                  </a:lnTo>
                  <a:lnTo>
                    <a:pt x="4" y="16"/>
                  </a:lnTo>
                  <a:lnTo>
                    <a:pt x="4" y="16"/>
                  </a:lnTo>
                  <a:lnTo>
                    <a:pt x="4" y="16"/>
                  </a:lnTo>
                  <a:lnTo>
                    <a:pt x="4" y="16"/>
                  </a:lnTo>
                  <a:lnTo>
                    <a:pt x="3" y="16"/>
                  </a:lnTo>
                  <a:lnTo>
                    <a:pt x="3" y="16"/>
                  </a:lnTo>
                  <a:lnTo>
                    <a:pt x="15" y="7"/>
                  </a:lnTo>
                  <a:lnTo>
                    <a:pt x="19" y="6"/>
                  </a:lnTo>
                  <a:lnTo>
                    <a:pt x="22" y="4"/>
                  </a:lnTo>
                  <a:lnTo>
                    <a:pt x="22" y="4"/>
                  </a:lnTo>
                  <a:lnTo>
                    <a:pt x="26" y="3"/>
                  </a:lnTo>
                  <a:lnTo>
                    <a:pt x="30" y="0"/>
                  </a:lnTo>
                  <a:lnTo>
                    <a:pt x="30" y="0"/>
                  </a:lnTo>
                  <a:lnTo>
                    <a:pt x="33" y="6"/>
                  </a:lnTo>
                  <a:lnTo>
                    <a:pt x="33" y="6"/>
                  </a:lnTo>
                  <a:lnTo>
                    <a:pt x="39" y="16"/>
                  </a:lnTo>
                  <a:lnTo>
                    <a:pt x="39" y="16"/>
                  </a:lnTo>
                  <a:lnTo>
                    <a:pt x="41" y="22"/>
                  </a:lnTo>
                  <a:lnTo>
                    <a:pt x="41" y="22"/>
                  </a:lnTo>
                  <a:lnTo>
                    <a:pt x="41" y="33"/>
                  </a:lnTo>
                  <a:lnTo>
                    <a:pt x="41" y="33"/>
                  </a:lnTo>
                  <a:lnTo>
                    <a:pt x="42" y="43"/>
                  </a:lnTo>
                  <a:lnTo>
                    <a:pt x="42" y="43"/>
                  </a:lnTo>
                  <a:lnTo>
                    <a:pt x="45" y="51"/>
                  </a:lnTo>
                  <a:lnTo>
                    <a:pt x="45" y="56"/>
                  </a:lnTo>
                  <a:lnTo>
                    <a:pt x="45" y="56"/>
                  </a:lnTo>
                  <a:lnTo>
                    <a:pt x="45" y="61"/>
                  </a:lnTo>
                  <a:lnTo>
                    <a:pt x="45" y="61"/>
                  </a:lnTo>
                  <a:lnTo>
                    <a:pt x="38" y="68"/>
                  </a:lnTo>
                  <a:lnTo>
                    <a:pt x="38" y="68"/>
                  </a:lnTo>
                  <a:lnTo>
                    <a:pt x="35" y="71"/>
                  </a:lnTo>
                  <a:lnTo>
                    <a:pt x="35" y="72"/>
                  </a:lnTo>
                  <a:lnTo>
                    <a:pt x="33" y="72"/>
                  </a:lnTo>
                  <a:lnTo>
                    <a:pt x="33" y="72"/>
                  </a:lnTo>
                  <a:lnTo>
                    <a:pt x="33" y="72"/>
                  </a:lnTo>
                  <a:lnTo>
                    <a:pt x="28" y="72"/>
                  </a:lnTo>
                  <a:lnTo>
                    <a:pt x="28" y="72"/>
                  </a:lnTo>
                  <a:lnTo>
                    <a:pt x="19" y="72"/>
                  </a:lnTo>
                  <a:lnTo>
                    <a:pt x="19" y="72"/>
                  </a:lnTo>
                  <a:lnTo>
                    <a:pt x="16" y="75"/>
                  </a:lnTo>
                  <a:lnTo>
                    <a:pt x="16" y="75"/>
                  </a:lnTo>
                  <a:lnTo>
                    <a:pt x="9" y="81"/>
                  </a:lnTo>
                  <a:lnTo>
                    <a:pt x="9" y="81"/>
                  </a:lnTo>
                  <a:lnTo>
                    <a:pt x="6" y="83"/>
                  </a:lnTo>
                  <a:lnTo>
                    <a:pt x="4" y="83"/>
                  </a:lnTo>
                  <a:lnTo>
                    <a:pt x="4" y="83"/>
                  </a:lnTo>
                  <a:close/>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83" name="Freeform 814"/>
            <p:cNvSpPr>
              <a:spLocks/>
            </p:cNvSpPr>
            <p:nvPr/>
          </p:nvSpPr>
          <p:spPr bwMode="auto">
            <a:xfrm>
              <a:off x="7539038" y="37687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84" name="Freeform 815"/>
            <p:cNvSpPr>
              <a:spLocks/>
            </p:cNvSpPr>
            <p:nvPr/>
          </p:nvSpPr>
          <p:spPr bwMode="auto">
            <a:xfrm>
              <a:off x="7539038" y="3656014"/>
              <a:ext cx="71438" cy="131763"/>
            </a:xfrm>
            <a:custGeom>
              <a:avLst/>
              <a:gdLst>
                <a:gd name="T0" fmla="*/ 4 w 45"/>
                <a:gd name="T1" fmla="*/ 83 h 83"/>
                <a:gd name="T2" fmla="*/ 3 w 45"/>
                <a:gd name="T3" fmla="*/ 83 h 83"/>
                <a:gd name="T4" fmla="*/ 0 w 45"/>
                <a:gd name="T5" fmla="*/ 72 h 83"/>
                <a:gd name="T6" fmla="*/ 0 w 45"/>
                <a:gd name="T7" fmla="*/ 71 h 83"/>
                <a:gd name="T8" fmla="*/ 0 w 45"/>
                <a:gd name="T9" fmla="*/ 71 h 83"/>
                <a:gd name="T10" fmla="*/ 4 w 45"/>
                <a:gd name="T11" fmla="*/ 64 h 83"/>
                <a:gd name="T12" fmla="*/ 7 w 45"/>
                <a:gd name="T13" fmla="*/ 58 h 83"/>
                <a:gd name="T14" fmla="*/ 7 w 45"/>
                <a:gd name="T15" fmla="*/ 54 h 83"/>
                <a:gd name="T16" fmla="*/ 7 w 45"/>
                <a:gd name="T17" fmla="*/ 51 h 83"/>
                <a:gd name="T18" fmla="*/ 4 w 45"/>
                <a:gd name="T19" fmla="*/ 43 h 83"/>
                <a:gd name="T20" fmla="*/ 2 w 45"/>
                <a:gd name="T21" fmla="*/ 35 h 83"/>
                <a:gd name="T22" fmla="*/ 2 w 45"/>
                <a:gd name="T23" fmla="*/ 35 h 83"/>
                <a:gd name="T24" fmla="*/ 4 w 45"/>
                <a:gd name="T25" fmla="*/ 35 h 83"/>
                <a:gd name="T26" fmla="*/ 7 w 45"/>
                <a:gd name="T27" fmla="*/ 36 h 83"/>
                <a:gd name="T28" fmla="*/ 7 w 45"/>
                <a:gd name="T29" fmla="*/ 36 h 83"/>
                <a:gd name="T30" fmla="*/ 9 w 45"/>
                <a:gd name="T31" fmla="*/ 36 h 83"/>
                <a:gd name="T32" fmla="*/ 10 w 45"/>
                <a:gd name="T33" fmla="*/ 33 h 83"/>
                <a:gd name="T34" fmla="*/ 12 w 45"/>
                <a:gd name="T35" fmla="*/ 30 h 83"/>
                <a:gd name="T36" fmla="*/ 9 w 45"/>
                <a:gd name="T37" fmla="*/ 23 h 83"/>
                <a:gd name="T38" fmla="*/ 7 w 45"/>
                <a:gd name="T39" fmla="*/ 19 h 83"/>
                <a:gd name="T40" fmla="*/ 4 w 45"/>
                <a:gd name="T41" fmla="*/ 16 h 83"/>
                <a:gd name="T42" fmla="*/ 4 w 45"/>
                <a:gd name="T43" fmla="*/ 16 h 83"/>
                <a:gd name="T44" fmla="*/ 3 w 45"/>
                <a:gd name="T45" fmla="*/ 16 h 83"/>
                <a:gd name="T46" fmla="*/ 15 w 45"/>
                <a:gd name="T47" fmla="*/ 7 h 83"/>
                <a:gd name="T48" fmla="*/ 22 w 45"/>
                <a:gd name="T49" fmla="*/ 4 h 83"/>
                <a:gd name="T50" fmla="*/ 26 w 45"/>
                <a:gd name="T51" fmla="*/ 3 h 83"/>
                <a:gd name="T52" fmla="*/ 30 w 45"/>
                <a:gd name="T53" fmla="*/ 0 h 83"/>
                <a:gd name="T54" fmla="*/ 33 w 45"/>
                <a:gd name="T55" fmla="*/ 6 h 83"/>
                <a:gd name="T56" fmla="*/ 39 w 45"/>
                <a:gd name="T57" fmla="*/ 16 h 83"/>
                <a:gd name="T58" fmla="*/ 41 w 45"/>
                <a:gd name="T59" fmla="*/ 22 h 83"/>
                <a:gd name="T60" fmla="*/ 41 w 45"/>
                <a:gd name="T61" fmla="*/ 33 h 83"/>
                <a:gd name="T62" fmla="*/ 42 w 45"/>
                <a:gd name="T63" fmla="*/ 43 h 83"/>
                <a:gd name="T64" fmla="*/ 45 w 45"/>
                <a:gd name="T65" fmla="*/ 56 h 83"/>
                <a:gd name="T66" fmla="*/ 45 w 45"/>
                <a:gd name="T67" fmla="*/ 61 h 83"/>
                <a:gd name="T68" fmla="*/ 38 w 45"/>
                <a:gd name="T69" fmla="*/ 68 h 83"/>
                <a:gd name="T70" fmla="*/ 35 w 45"/>
                <a:gd name="T71" fmla="*/ 71 h 83"/>
                <a:gd name="T72" fmla="*/ 33 w 45"/>
                <a:gd name="T73" fmla="*/ 72 h 83"/>
                <a:gd name="T74" fmla="*/ 33 w 45"/>
                <a:gd name="T75" fmla="*/ 72 h 83"/>
                <a:gd name="T76" fmla="*/ 28 w 45"/>
                <a:gd name="T77" fmla="*/ 72 h 83"/>
                <a:gd name="T78" fmla="*/ 19 w 45"/>
                <a:gd name="T79" fmla="*/ 72 h 83"/>
                <a:gd name="T80" fmla="*/ 16 w 45"/>
                <a:gd name="T81" fmla="*/ 75 h 83"/>
                <a:gd name="T82" fmla="*/ 9 w 45"/>
                <a:gd name="T83" fmla="*/ 81 h 83"/>
                <a:gd name="T84" fmla="*/ 4 w 45"/>
                <a:gd name="T8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83">
                  <a:moveTo>
                    <a:pt x="4" y="83"/>
                  </a:moveTo>
                  <a:lnTo>
                    <a:pt x="4" y="83"/>
                  </a:lnTo>
                  <a:lnTo>
                    <a:pt x="3" y="83"/>
                  </a:lnTo>
                  <a:lnTo>
                    <a:pt x="3" y="83"/>
                  </a:lnTo>
                  <a:lnTo>
                    <a:pt x="2" y="78"/>
                  </a:lnTo>
                  <a:lnTo>
                    <a:pt x="0" y="72"/>
                  </a:lnTo>
                  <a:lnTo>
                    <a:pt x="0" y="72"/>
                  </a:lnTo>
                  <a:lnTo>
                    <a:pt x="0" y="71"/>
                  </a:lnTo>
                  <a:lnTo>
                    <a:pt x="0" y="71"/>
                  </a:lnTo>
                  <a:lnTo>
                    <a:pt x="0" y="71"/>
                  </a:lnTo>
                  <a:lnTo>
                    <a:pt x="4" y="64"/>
                  </a:lnTo>
                  <a:lnTo>
                    <a:pt x="4" y="64"/>
                  </a:lnTo>
                  <a:lnTo>
                    <a:pt x="7" y="58"/>
                  </a:lnTo>
                  <a:lnTo>
                    <a:pt x="7" y="58"/>
                  </a:lnTo>
                  <a:lnTo>
                    <a:pt x="7" y="54"/>
                  </a:lnTo>
                  <a:lnTo>
                    <a:pt x="7" y="54"/>
                  </a:lnTo>
                  <a:lnTo>
                    <a:pt x="7" y="51"/>
                  </a:lnTo>
                  <a:lnTo>
                    <a:pt x="7" y="51"/>
                  </a:lnTo>
                  <a:lnTo>
                    <a:pt x="4" y="43"/>
                  </a:lnTo>
                  <a:lnTo>
                    <a:pt x="4" y="43"/>
                  </a:lnTo>
                  <a:lnTo>
                    <a:pt x="2" y="35"/>
                  </a:lnTo>
                  <a:lnTo>
                    <a:pt x="2" y="35"/>
                  </a:lnTo>
                  <a:lnTo>
                    <a:pt x="2" y="35"/>
                  </a:lnTo>
                  <a:lnTo>
                    <a:pt x="2" y="35"/>
                  </a:lnTo>
                  <a:lnTo>
                    <a:pt x="2" y="35"/>
                  </a:lnTo>
                  <a:lnTo>
                    <a:pt x="4" y="35"/>
                  </a:lnTo>
                  <a:lnTo>
                    <a:pt x="4" y="35"/>
                  </a:lnTo>
                  <a:lnTo>
                    <a:pt x="7" y="36"/>
                  </a:lnTo>
                  <a:lnTo>
                    <a:pt x="7" y="36"/>
                  </a:lnTo>
                  <a:lnTo>
                    <a:pt x="7" y="36"/>
                  </a:lnTo>
                  <a:lnTo>
                    <a:pt x="9" y="36"/>
                  </a:lnTo>
                  <a:lnTo>
                    <a:pt x="9" y="36"/>
                  </a:lnTo>
                  <a:lnTo>
                    <a:pt x="10" y="33"/>
                  </a:lnTo>
                  <a:lnTo>
                    <a:pt x="10" y="33"/>
                  </a:lnTo>
                  <a:lnTo>
                    <a:pt x="12" y="30"/>
                  </a:lnTo>
                  <a:lnTo>
                    <a:pt x="12" y="30"/>
                  </a:lnTo>
                  <a:lnTo>
                    <a:pt x="10" y="28"/>
                  </a:lnTo>
                  <a:lnTo>
                    <a:pt x="9" y="23"/>
                  </a:lnTo>
                  <a:lnTo>
                    <a:pt x="9" y="23"/>
                  </a:lnTo>
                  <a:lnTo>
                    <a:pt x="7" y="19"/>
                  </a:lnTo>
                  <a:lnTo>
                    <a:pt x="7" y="19"/>
                  </a:lnTo>
                  <a:lnTo>
                    <a:pt x="4" y="16"/>
                  </a:lnTo>
                  <a:lnTo>
                    <a:pt x="4" y="16"/>
                  </a:lnTo>
                  <a:lnTo>
                    <a:pt x="4" y="16"/>
                  </a:lnTo>
                  <a:lnTo>
                    <a:pt x="4" y="16"/>
                  </a:lnTo>
                  <a:lnTo>
                    <a:pt x="3" y="16"/>
                  </a:lnTo>
                  <a:lnTo>
                    <a:pt x="3" y="16"/>
                  </a:lnTo>
                  <a:lnTo>
                    <a:pt x="15" y="7"/>
                  </a:lnTo>
                  <a:lnTo>
                    <a:pt x="19" y="6"/>
                  </a:lnTo>
                  <a:lnTo>
                    <a:pt x="22" y="4"/>
                  </a:lnTo>
                  <a:lnTo>
                    <a:pt x="22" y="4"/>
                  </a:lnTo>
                  <a:lnTo>
                    <a:pt x="26" y="3"/>
                  </a:lnTo>
                  <a:lnTo>
                    <a:pt x="30" y="0"/>
                  </a:lnTo>
                  <a:lnTo>
                    <a:pt x="30" y="0"/>
                  </a:lnTo>
                  <a:lnTo>
                    <a:pt x="33" y="6"/>
                  </a:lnTo>
                  <a:lnTo>
                    <a:pt x="33" y="6"/>
                  </a:lnTo>
                  <a:lnTo>
                    <a:pt x="39" y="16"/>
                  </a:lnTo>
                  <a:lnTo>
                    <a:pt x="39" y="16"/>
                  </a:lnTo>
                  <a:lnTo>
                    <a:pt x="41" y="22"/>
                  </a:lnTo>
                  <a:lnTo>
                    <a:pt x="41" y="22"/>
                  </a:lnTo>
                  <a:lnTo>
                    <a:pt x="41" y="33"/>
                  </a:lnTo>
                  <a:lnTo>
                    <a:pt x="41" y="33"/>
                  </a:lnTo>
                  <a:lnTo>
                    <a:pt x="42" y="43"/>
                  </a:lnTo>
                  <a:lnTo>
                    <a:pt x="42" y="43"/>
                  </a:lnTo>
                  <a:lnTo>
                    <a:pt x="45" y="51"/>
                  </a:lnTo>
                  <a:lnTo>
                    <a:pt x="45" y="56"/>
                  </a:lnTo>
                  <a:lnTo>
                    <a:pt x="45" y="56"/>
                  </a:lnTo>
                  <a:lnTo>
                    <a:pt x="45" y="61"/>
                  </a:lnTo>
                  <a:lnTo>
                    <a:pt x="45" y="61"/>
                  </a:lnTo>
                  <a:lnTo>
                    <a:pt x="38" y="68"/>
                  </a:lnTo>
                  <a:lnTo>
                    <a:pt x="38" y="68"/>
                  </a:lnTo>
                  <a:lnTo>
                    <a:pt x="35" y="71"/>
                  </a:lnTo>
                  <a:lnTo>
                    <a:pt x="35" y="72"/>
                  </a:lnTo>
                  <a:lnTo>
                    <a:pt x="33" y="72"/>
                  </a:lnTo>
                  <a:lnTo>
                    <a:pt x="33" y="72"/>
                  </a:lnTo>
                  <a:lnTo>
                    <a:pt x="33" y="72"/>
                  </a:lnTo>
                  <a:lnTo>
                    <a:pt x="28" y="72"/>
                  </a:lnTo>
                  <a:lnTo>
                    <a:pt x="28" y="72"/>
                  </a:lnTo>
                  <a:lnTo>
                    <a:pt x="19" y="72"/>
                  </a:lnTo>
                  <a:lnTo>
                    <a:pt x="19" y="72"/>
                  </a:lnTo>
                  <a:lnTo>
                    <a:pt x="16" y="75"/>
                  </a:lnTo>
                  <a:lnTo>
                    <a:pt x="16" y="75"/>
                  </a:lnTo>
                  <a:lnTo>
                    <a:pt x="9" y="81"/>
                  </a:lnTo>
                  <a:lnTo>
                    <a:pt x="9" y="81"/>
                  </a:lnTo>
                  <a:lnTo>
                    <a:pt x="6" y="83"/>
                  </a:lnTo>
                  <a:lnTo>
                    <a:pt x="4" y="83"/>
                  </a:lnTo>
                  <a:lnTo>
                    <a:pt x="4"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85" name="Freeform 836"/>
            <p:cNvSpPr>
              <a:spLocks/>
            </p:cNvSpPr>
            <p:nvPr/>
          </p:nvSpPr>
          <p:spPr bwMode="auto">
            <a:xfrm>
              <a:off x="6354763" y="4476751"/>
              <a:ext cx="55563" cy="92075"/>
            </a:xfrm>
            <a:custGeom>
              <a:avLst/>
              <a:gdLst>
                <a:gd name="T0" fmla="*/ 12 w 35"/>
                <a:gd name="T1" fmla="*/ 58 h 58"/>
                <a:gd name="T2" fmla="*/ 12 w 35"/>
                <a:gd name="T3" fmla="*/ 58 h 58"/>
                <a:gd name="T4" fmla="*/ 7 w 35"/>
                <a:gd name="T5" fmla="*/ 57 h 58"/>
                <a:gd name="T6" fmla="*/ 5 w 35"/>
                <a:gd name="T7" fmla="*/ 54 h 58"/>
                <a:gd name="T8" fmla="*/ 3 w 35"/>
                <a:gd name="T9" fmla="*/ 49 h 58"/>
                <a:gd name="T10" fmla="*/ 2 w 35"/>
                <a:gd name="T11" fmla="*/ 44 h 58"/>
                <a:gd name="T12" fmla="*/ 0 w 35"/>
                <a:gd name="T13" fmla="*/ 32 h 58"/>
                <a:gd name="T14" fmla="*/ 2 w 35"/>
                <a:gd name="T15" fmla="*/ 22 h 58"/>
                <a:gd name="T16" fmla="*/ 2 w 35"/>
                <a:gd name="T17" fmla="*/ 22 h 58"/>
                <a:gd name="T18" fmla="*/ 5 w 35"/>
                <a:gd name="T19" fmla="*/ 16 h 58"/>
                <a:gd name="T20" fmla="*/ 3 w 35"/>
                <a:gd name="T21" fmla="*/ 12 h 58"/>
                <a:gd name="T22" fmla="*/ 3 w 35"/>
                <a:gd name="T23" fmla="*/ 12 h 58"/>
                <a:gd name="T24" fmla="*/ 3 w 35"/>
                <a:gd name="T25" fmla="*/ 10 h 58"/>
                <a:gd name="T26" fmla="*/ 3 w 35"/>
                <a:gd name="T27" fmla="*/ 9 h 58"/>
                <a:gd name="T28" fmla="*/ 6 w 35"/>
                <a:gd name="T29" fmla="*/ 9 h 58"/>
                <a:gd name="T30" fmla="*/ 9 w 35"/>
                <a:gd name="T31" fmla="*/ 7 h 58"/>
                <a:gd name="T32" fmla="*/ 9 w 35"/>
                <a:gd name="T33" fmla="*/ 7 h 58"/>
                <a:gd name="T34" fmla="*/ 10 w 35"/>
                <a:gd name="T35" fmla="*/ 4 h 58"/>
                <a:gd name="T36" fmla="*/ 10 w 35"/>
                <a:gd name="T37" fmla="*/ 3 h 58"/>
                <a:gd name="T38" fmla="*/ 10 w 35"/>
                <a:gd name="T39" fmla="*/ 0 h 58"/>
                <a:gd name="T40" fmla="*/ 12 w 35"/>
                <a:gd name="T41" fmla="*/ 0 h 58"/>
                <a:gd name="T42" fmla="*/ 12 w 35"/>
                <a:gd name="T43" fmla="*/ 0 h 58"/>
                <a:gd name="T44" fmla="*/ 16 w 35"/>
                <a:gd name="T45" fmla="*/ 3 h 58"/>
                <a:gd name="T46" fmla="*/ 16 w 35"/>
                <a:gd name="T47" fmla="*/ 3 h 58"/>
                <a:gd name="T48" fmla="*/ 22 w 35"/>
                <a:gd name="T49" fmla="*/ 9 h 58"/>
                <a:gd name="T50" fmla="*/ 29 w 35"/>
                <a:gd name="T51" fmla="*/ 17 h 58"/>
                <a:gd name="T52" fmla="*/ 33 w 35"/>
                <a:gd name="T53" fmla="*/ 26 h 58"/>
                <a:gd name="T54" fmla="*/ 35 w 35"/>
                <a:gd name="T55" fmla="*/ 32 h 58"/>
                <a:gd name="T56" fmla="*/ 35 w 35"/>
                <a:gd name="T57" fmla="*/ 32 h 58"/>
                <a:gd name="T58" fmla="*/ 33 w 35"/>
                <a:gd name="T59" fmla="*/ 38 h 58"/>
                <a:gd name="T60" fmla="*/ 32 w 35"/>
                <a:gd name="T61" fmla="*/ 44 h 58"/>
                <a:gd name="T62" fmla="*/ 31 w 35"/>
                <a:gd name="T63" fmla="*/ 48 h 58"/>
                <a:gd name="T64" fmla="*/ 28 w 35"/>
                <a:gd name="T65" fmla="*/ 51 h 58"/>
                <a:gd name="T66" fmla="*/ 28 w 35"/>
                <a:gd name="T67" fmla="*/ 51 h 58"/>
                <a:gd name="T68" fmla="*/ 25 w 35"/>
                <a:gd name="T69" fmla="*/ 52 h 58"/>
                <a:gd name="T70" fmla="*/ 20 w 35"/>
                <a:gd name="T71" fmla="*/ 54 h 58"/>
                <a:gd name="T72" fmla="*/ 13 w 35"/>
                <a:gd name="T73" fmla="*/ 58 h 58"/>
                <a:gd name="T74" fmla="*/ 13 w 35"/>
                <a:gd name="T75" fmla="*/ 58 h 58"/>
                <a:gd name="T76" fmla="*/ 12 w 35"/>
                <a:gd name="T7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 h="58">
                  <a:moveTo>
                    <a:pt x="12" y="58"/>
                  </a:moveTo>
                  <a:lnTo>
                    <a:pt x="12" y="58"/>
                  </a:lnTo>
                  <a:lnTo>
                    <a:pt x="7" y="57"/>
                  </a:lnTo>
                  <a:lnTo>
                    <a:pt x="5" y="54"/>
                  </a:lnTo>
                  <a:lnTo>
                    <a:pt x="3" y="49"/>
                  </a:lnTo>
                  <a:lnTo>
                    <a:pt x="2" y="44"/>
                  </a:lnTo>
                  <a:lnTo>
                    <a:pt x="0" y="32"/>
                  </a:lnTo>
                  <a:lnTo>
                    <a:pt x="2" y="22"/>
                  </a:lnTo>
                  <a:lnTo>
                    <a:pt x="2" y="22"/>
                  </a:lnTo>
                  <a:lnTo>
                    <a:pt x="5" y="16"/>
                  </a:lnTo>
                  <a:lnTo>
                    <a:pt x="3" y="12"/>
                  </a:lnTo>
                  <a:lnTo>
                    <a:pt x="3" y="12"/>
                  </a:lnTo>
                  <a:lnTo>
                    <a:pt x="3" y="10"/>
                  </a:lnTo>
                  <a:lnTo>
                    <a:pt x="3" y="9"/>
                  </a:lnTo>
                  <a:lnTo>
                    <a:pt x="6" y="9"/>
                  </a:lnTo>
                  <a:lnTo>
                    <a:pt x="9" y="7"/>
                  </a:lnTo>
                  <a:lnTo>
                    <a:pt x="9" y="7"/>
                  </a:lnTo>
                  <a:lnTo>
                    <a:pt x="10" y="4"/>
                  </a:lnTo>
                  <a:lnTo>
                    <a:pt x="10" y="3"/>
                  </a:lnTo>
                  <a:lnTo>
                    <a:pt x="10" y="0"/>
                  </a:lnTo>
                  <a:lnTo>
                    <a:pt x="12" y="0"/>
                  </a:lnTo>
                  <a:lnTo>
                    <a:pt x="12" y="0"/>
                  </a:lnTo>
                  <a:lnTo>
                    <a:pt x="16" y="3"/>
                  </a:lnTo>
                  <a:lnTo>
                    <a:pt x="16" y="3"/>
                  </a:lnTo>
                  <a:lnTo>
                    <a:pt x="22" y="9"/>
                  </a:lnTo>
                  <a:lnTo>
                    <a:pt x="29" y="17"/>
                  </a:lnTo>
                  <a:lnTo>
                    <a:pt x="33" y="26"/>
                  </a:lnTo>
                  <a:lnTo>
                    <a:pt x="35" y="32"/>
                  </a:lnTo>
                  <a:lnTo>
                    <a:pt x="35" y="32"/>
                  </a:lnTo>
                  <a:lnTo>
                    <a:pt x="33" y="38"/>
                  </a:lnTo>
                  <a:lnTo>
                    <a:pt x="32" y="44"/>
                  </a:lnTo>
                  <a:lnTo>
                    <a:pt x="31" y="48"/>
                  </a:lnTo>
                  <a:lnTo>
                    <a:pt x="28" y="51"/>
                  </a:lnTo>
                  <a:lnTo>
                    <a:pt x="28" y="51"/>
                  </a:lnTo>
                  <a:lnTo>
                    <a:pt x="25" y="52"/>
                  </a:lnTo>
                  <a:lnTo>
                    <a:pt x="20" y="54"/>
                  </a:lnTo>
                  <a:lnTo>
                    <a:pt x="13" y="58"/>
                  </a:lnTo>
                  <a:lnTo>
                    <a:pt x="13" y="58"/>
                  </a:lnTo>
                  <a:lnTo>
                    <a:pt x="12" y="58"/>
                  </a:lnTo>
                  <a:close/>
                </a:path>
              </a:pathLst>
            </a:cu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86" name="Freeform 837"/>
            <p:cNvSpPr>
              <a:spLocks/>
            </p:cNvSpPr>
            <p:nvPr/>
          </p:nvSpPr>
          <p:spPr bwMode="auto">
            <a:xfrm>
              <a:off x="6354763" y="4476751"/>
              <a:ext cx="55563" cy="92075"/>
            </a:xfrm>
            <a:custGeom>
              <a:avLst/>
              <a:gdLst>
                <a:gd name="T0" fmla="*/ 12 w 35"/>
                <a:gd name="T1" fmla="*/ 58 h 58"/>
                <a:gd name="T2" fmla="*/ 12 w 35"/>
                <a:gd name="T3" fmla="*/ 58 h 58"/>
                <a:gd name="T4" fmla="*/ 7 w 35"/>
                <a:gd name="T5" fmla="*/ 57 h 58"/>
                <a:gd name="T6" fmla="*/ 5 w 35"/>
                <a:gd name="T7" fmla="*/ 54 h 58"/>
                <a:gd name="T8" fmla="*/ 3 w 35"/>
                <a:gd name="T9" fmla="*/ 49 h 58"/>
                <a:gd name="T10" fmla="*/ 2 w 35"/>
                <a:gd name="T11" fmla="*/ 44 h 58"/>
                <a:gd name="T12" fmla="*/ 0 w 35"/>
                <a:gd name="T13" fmla="*/ 32 h 58"/>
                <a:gd name="T14" fmla="*/ 2 w 35"/>
                <a:gd name="T15" fmla="*/ 22 h 58"/>
                <a:gd name="T16" fmla="*/ 2 w 35"/>
                <a:gd name="T17" fmla="*/ 22 h 58"/>
                <a:gd name="T18" fmla="*/ 5 w 35"/>
                <a:gd name="T19" fmla="*/ 16 h 58"/>
                <a:gd name="T20" fmla="*/ 3 w 35"/>
                <a:gd name="T21" fmla="*/ 12 h 58"/>
                <a:gd name="T22" fmla="*/ 3 w 35"/>
                <a:gd name="T23" fmla="*/ 12 h 58"/>
                <a:gd name="T24" fmla="*/ 3 w 35"/>
                <a:gd name="T25" fmla="*/ 10 h 58"/>
                <a:gd name="T26" fmla="*/ 3 w 35"/>
                <a:gd name="T27" fmla="*/ 9 h 58"/>
                <a:gd name="T28" fmla="*/ 6 w 35"/>
                <a:gd name="T29" fmla="*/ 9 h 58"/>
                <a:gd name="T30" fmla="*/ 9 w 35"/>
                <a:gd name="T31" fmla="*/ 7 h 58"/>
                <a:gd name="T32" fmla="*/ 9 w 35"/>
                <a:gd name="T33" fmla="*/ 7 h 58"/>
                <a:gd name="T34" fmla="*/ 10 w 35"/>
                <a:gd name="T35" fmla="*/ 4 h 58"/>
                <a:gd name="T36" fmla="*/ 10 w 35"/>
                <a:gd name="T37" fmla="*/ 3 h 58"/>
                <a:gd name="T38" fmla="*/ 10 w 35"/>
                <a:gd name="T39" fmla="*/ 0 h 58"/>
                <a:gd name="T40" fmla="*/ 12 w 35"/>
                <a:gd name="T41" fmla="*/ 0 h 58"/>
                <a:gd name="T42" fmla="*/ 12 w 35"/>
                <a:gd name="T43" fmla="*/ 0 h 58"/>
                <a:gd name="T44" fmla="*/ 16 w 35"/>
                <a:gd name="T45" fmla="*/ 3 h 58"/>
                <a:gd name="T46" fmla="*/ 16 w 35"/>
                <a:gd name="T47" fmla="*/ 3 h 58"/>
                <a:gd name="T48" fmla="*/ 22 w 35"/>
                <a:gd name="T49" fmla="*/ 9 h 58"/>
                <a:gd name="T50" fmla="*/ 29 w 35"/>
                <a:gd name="T51" fmla="*/ 17 h 58"/>
                <a:gd name="T52" fmla="*/ 33 w 35"/>
                <a:gd name="T53" fmla="*/ 26 h 58"/>
                <a:gd name="T54" fmla="*/ 35 w 35"/>
                <a:gd name="T55" fmla="*/ 32 h 58"/>
                <a:gd name="T56" fmla="*/ 35 w 35"/>
                <a:gd name="T57" fmla="*/ 32 h 58"/>
                <a:gd name="T58" fmla="*/ 33 w 35"/>
                <a:gd name="T59" fmla="*/ 38 h 58"/>
                <a:gd name="T60" fmla="*/ 32 w 35"/>
                <a:gd name="T61" fmla="*/ 44 h 58"/>
                <a:gd name="T62" fmla="*/ 31 w 35"/>
                <a:gd name="T63" fmla="*/ 48 h 58"/>
                <a:gd name="T64" fmla="*/ 28 w 35"/>
                <a:gd name="T65" fmla="*/ 51 h 58"/>
                <a:gd name="T66" fmla="*/ 28 w 35"/>
                <a:gd name="T67" fmla="*/ 51 h 58"/>
                <a:gd name="T68" fmla="*/ 25 w 35"/>
                <a:gd name="T69" fmla="*/ 52 h 58"/>
                <a:gd name="T70" fmla="*/ 20 w 35"/>
                <a:gd name="T71" fmla="*/ 54 h 58"/>
                <a:gd name="T72" fmla="*/ 13 w 35"/>
                <a:gd name="T73" fmla="*/ 58 h 58"/>
                <a:gd name="T74" fmla="*/ 13 w 35"/>
                <a:gd name="T75" fmla="*/ 58 h 58"/>
                <a:gd name="T76" fmla="*/ 12 w 35"/>
                <a:gd name="T7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 h="58">
                  <a:moveTo>
                    <a:pt x="12" y="58"/>
                  </a:moveTo>
                  <a:lnTo>
                    <a:pt x="12" y="58"/>
                  </a:lnTo>
                  <a:lnTo>
                    <a:pt x="7" y="57"/>
                  </a:lnTo>
                  <a:lnTo>
                    <a:pt x="5" y="54"/>
                  </a:lnTo>
                  <a:lnTo>
                    <a:pt x="3" y="49"/>
                  </a:lnTo>
                  <a:lnTo>
                    <a:pt x="2" y="44"/>
                  </a:lnTo>
                  <a:lnTo>
                    <a:pt x="0" y="32"/>
                  </a:lnTo>
                  <a:lnTo>
                    <a:pt x="2" y="22"/>
                  </a:lnTo>
                  <a:lnTo>
                    <a:pt x="2" y="22"/>
                  </a:lnTo>
                  <a:lnTo>
                    <a:pt x="5" y="16"/>
                  </a:lnTo>
                  <a:lnTo>
                    <a:pt x="3" y="12"/>
                  </a:lnTo>
                  <a:lnTo>
                    <a:pt x="3" y="12"/>
                  </a:lnTo>
                  <a:lnTo>
                    <a:pt x="3" y="10"/>
                  </a:lnTo>
                  <a:lnTo>
                    <a:pt x="3" y="9"/>
                  </a:lnTo>
                  <a:lnTo>
                    <a:pt x="6" y="9"/>
                  </a:lnTo>
                  <a:lnTo>
                    <a:pt x="9" y="7"/>
                  </a:lnTo>
                  <a:lnTo>
                    <a:pt x="9" y="7"/>
                  </a:lnTo>
                  <a:lnTo>
                    <a:pt x="10" y="4"/>
                  </a:lnTo>
                  <a:lnTo>
                    <a:pt x="10" y="3"/>
                  </a:lnTo>
                  <a:lnTo>
                    <a:pt x="10" y="0"/>
                  </a:lnTo>
                  <a:lnTo>
                    <a:pt x="12" y="0"/>
                  </a:lnTo>
                  <a:lnTo>
                    <a:pt x="12" y="0"/>
                  </a:lnTo>
                  <a:lnTo>
                    <a:pt x="16" y="3"/>
                  </a:lnTo>
                  <a:lnTo>
                    <a:pt x="16" y="3"/>
                  </a:lnTo>
                  <a:lnTo>
                    <a:pt x="22" y="9"/>
                  </a:lnTo>
                  <a:lnTo>
                    <a:pt x="29" y="17"/>
                  </a:lnTo>
                  <a:lnTo>
                    <a:pt x="33" y="26"/>
                  </a:lnTo>
                  <a:lnTo>
                    <a:pt x="35" y="32"/>
                  </a:lnTo>
                  <a:lnTo>
                    <a:pt x="35" y="32"/>
                  </a:lnTo>
                  <a:lnTo>
                    <a:pt x="33" y="38"/>
                  </a:lnTo>
                  <a:lnTo>
                    <a:pt x="32" y="44"/>
                  </a:lnTo>
                  <a:lnTo>
                    <a:pt x="31" y="48"/>
                  </a:lnTo>
                  <a:lnTo>
                    <a:pt x="28" y="51"/>
                  </a:lnTo>
                  <a:lnTo>
                    <a:pt x="28" y="51"/>
                  </a:lnTo>
                  <a:lnTo>
                    <a:pt x="25" y="52"/>
                  </a:lnTo>
                  <a:lnTo>
                    <a:pt x="20" y="54"/>
                  </a:lnTo>
                  <a:lnTo>
                    <a:pt x="13" y="58"/>
                  </a:lnTo>
                  <a:lnTo>
                    <a:pt x="13" y="58"/>
                  </a:lnTo>
                  <a:lnTo>
                    <a:pt x="12"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87" name="Freeform 838"/>
            <p:cNvSpPr>
              <a:spLocks/>
            </p:cNvSpPr>
            <p:nvPr/>
          </p:nvSpPr>
          <p:spPr bwMode="auto">
            <a:xfrm>
              <a:off x="6750050" y="4567239"/>
              <a:ext cx="266700" cy="309563"/>
            </a:xfrm>
            <a:custGeom>
              <a:avLst/>
              <a:gdLst>
                <a:gd name="T0" fmla="*/ 77 w 168"/>
                <a:gd name="T1" fmla="*/ 52 h 195"/>
                <a:gd name="T2" fmla="*/ 70 w 168"/>
                <a:gd name="T3" fmla="*/ 46 h 195"/>
                <a:gd name="T4" fmla="*/ 55 w 168"/>
                <a:gd name="T5" fmla="*/ 34 h 195"/>
                <a:gd name="T6" fmla="*/ 45 w 168"/>
                <a:gd name="T7" fmla="*/ 24 h 195"/>
                <a:gd name="T8" fmla="*/ 35 w 168"/>
                <a:gd name="T9" fmla="*/ 13 h 195"/>
                <a:gd name="T10" fmla="*/ 22 w 168"/>
                <a:gd name="T11" fmla="*/ 11 h 195"/>
                <a:gd name="T12" fmla="*/ 12 w 168"/>
                <a:gd name="T13" fmla="*/ 8 h 195"/>
                <a:gd name="T14" fmla="*/ 0 w 168"/>
                <a:gd name="T15" fmla="*/ 0 h 195"/>
                <a:gd name="T16" fmla="*/ 0 w 168"/>
                <a:gd name="T17" fmla="*/ 4 h 195"/>
                <a:gd name="T18" fmla="*/ 5 w 168"/>
                <a:gd name="T19" fmla="*/ 23 h 195"/>
                <a:gd name="T20" fmla="*/ 15 w 168"/>
                <a:gd name="T21" fmla="*/ 31 h 195"/>
                <a:gd name="T22" fmla="*/ 16 w 168"/>
                <a:gd name="T23" fmla="*/ 36 h 195"/>
                <a:gd name="T24" fmla="*/ 22 w 168"/>
                <a:gd name="T25" fmla="*/ 42 h 195"/>
                <a:gd name="T26" fmla="*/ 35 w 168"/>
                <a:gd name="T27" fmla="*/ 53 h 195"/>
                <a:gd name="T28" fmla="*/ 38 w 168"/>
                <a:gd name="T29" fmla="*/ 60 h 195"/>
                <a:gd name="T30" fmla="*/ 50 w 168"/>
                <a:gd name="T31" fmla="*/ 65 h 195"/>
                <a:gd name="T32" fmla="*/ 54 w 168"/>
                <a:gd name="T33" fmla="*/ 69 h 195"/>
                <a:gd name="T34" fmla="*/ 61 w 168"/>
                <a:gd name="T35" fmla="*/ 91 h 195"/>
                <a:gd name="T36" fmla="*/ 71 w 168"/>
                <a:gd name="T37" fmla="*/ 101 h 195"/>
                <a:gd name="T38" fmla="*/ 79 w 168"/>
                <a:gd name="T39" fmla="*/ 111 h 195"/>
                <a:gd name="T40" fmla="*/ 83 w 168"/>
                <a:gd name="T41" fmla="*/ 115 h 195"/>
                <a:gd name="T42" fmla="*/ 90 w 168"/>
                <a:gd name="T43" fmla="*/ 137 h 195"/>
                <a:gd name="T44" fmla="*/ 103 w 168"/>
                <a:gd name="T45" fmla="*/ 150 h 195"/>
                <a:gd name="T46" fmla="*/ 126 w 168"/>
                <a:gd name="T47" fmla="*/ 170 h 195"/>
                <a:gd name="T48" fmla="*/ 144 w 168"/>
                <a:gd name="T49" fmla="*/ 189 h 195"/>
                <a:gd name="T50" fmla="*/ 149 w 168"/>
                <a:gd name="T51" fmla="*/ 194 h 195"/>
                <a:gd name="T52" fmla="*/ 147 w 168"/>
                <a:gd name="T53" fmla="*/ 186 h 195"/>
                <a:gd name="T54" fmla="*/ 152 w 168"/>
                <a:gd name="T55" fmla="*/ 188 h 195"/>
                <a:gd name="T56" fmla="*/ 160 w 168"/>
                <a:gd name="T57" fmla="*/ 191 h 195"/>
                <a:gd name="T58" fmla="*/ 165 w 168"/>
                <a:gd name="T59" fmla="*/ 182 h 195"/>
                <a:gd name="T60" fmla="*/ 165 w 168"/>
                <a:gd name="T61" fmla="*/ 165 h 195"/>
                <a:gd name="T62" fmla="*/ 161 w 168"/>
                <a:gd name="T63" fmla="*/ 157 h 195"/>
                <a:gd name="T64" fmla="*/ 163 w 168"/>
                <a:gd name="T65" fmla="*/ 156 h 195"/>
                <a:gd name="T66" fmla="*/ 167 w 168"/>
                <a:gd name="T67" fmla="*/ 146 h 195"/>
                <a:gd name="T68" fmla="*/ 168 w 168"/>
                <a:gd name="T69" fmla="*/ 139 h 195"/>
                <a:gd name="T70" fmla="*/ 161 w 168"/>
                <a:gd name="T71" fmla="*/ 134 h 195"/>
                <a:gd name="T72" fmla="*/ 151 w 168"/>
                <a:gd name="T73" fmla="*/ 131 h 195"/>
                <a:gd name="T74" fmla="*/ 145 w 168"/>
                <a:gd name="T75" fmla="*/ 120 h 195"/>
                <a:gd name="T76" fmla="*/ 135 w 168"/>
                <a:gd name="T77" fmla="*/ 110 h 195"/>
                <a:gd name="T78" fmla="*/ 134 w 168"/>
                <a:gd name="T79" fmla="*/ 105 h 195"/>
                <a:gd name="T80" fmla="*/ 136 w 168"/>
                <a:gd name="T81" fmla="*/ 98 h 195"/>
                <a:gd name="T82" fmla="*/ 126 w 168"/>
                <a:gd name="T83" fmla="*/ 88 h 195"/>
                <a:gd name="T84" fmla="*/ 125 w 168"/>
                <a:gd name="T85" fmla="*/ 84 h 195"/>
                <a:gd name="T86" fmla="*/ 125 w 168"/>
                <a:gd name="T87" fmla="*/ 79 h 195"/>
                <a:gd name="T88" fmla="*/ 121 w 168"/>
                <a:gd name="T89" fmla="*/ 78 h 195"/>
                <a:gd name="T90" fmla="*/ 116 w 168"/>
                <a:gd name="T91" fmla="*/ 75 h 195"/>
                <a:gd name="T92" fmla="*/ 110 w 168"/>
                <a:gd name="T93" fmla="*/ 71 h 195"/>
                <a:gd name="T94" fmla="*/ 105 w 168"/>
                <a:gd name="T95" fmla="*/ 68 h 195"/>
                <a:gd name="T96" fmla="*/ 100 w 168"/>
                <a:gd name="T97" fmla="*/ 63 h 195"/>
                <a:gd name="T98" fmla="*/ 81 w 168"/>
                <a:gd name="T99" fmla="*/ 59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8" h="195">
                  <a:moveTo>
                    <a:pt x="81" y="59"/>
                  </a:moveTo>
                  <a:lnTo>
                    <a:pt x="81" y="59"/>
                  </a:lnTo>
                  <a:lnTo>
                    <a:pt x="77" y="52"/>
                  </a:lnTo>
                  <a:lnTo>
                    <a:pt x="73" y="47"/>
                  </a:lnTo>
                  <a:lnTo>
                    <a:pt x="73" y="47"/>
                  </a:lnTo>
                  <a:lnTo>
                    <a:pt x="70" y="46"/>
                  </a:lnTo>
                  <a:lnTo>
                    <a:pt x="65" y="42"/>
                  </a:lnTo>
                  <a:lnTo>
                    <a:pt x="65" y="42"/>
                  </a:lnTo>
                  <a:lnTo>
                    <a:pt x="55" y="34"/>
                  </a:lnTo>
                  <a:lnTo>
                    <a:pt x="50" y="30"/>
                  </a:lnTo>
                  <a:lnTo>
                    <a:pt x="45" y="24"/>
                  </a:lnTo>
                  <a:lnTo>
                    <a:pt x="45" y="24"/>
                  </a:lnTo>
                  <a:lnTo>
                    <a:pt x="42" y="20"/>
                  </a:lnTo>
                  <a:lnTo>
                    <a:pt x="39" y="16"/>
                  </a:lnTo>
                  <a:lnTo>
                    <a:pt x="35" y="13"/>
                  </a:lnTo>
                  <a:lnTo>
                    <a:pt x="32" y="11"/>
                  </a:lnTo>
                  <a:lnTo>
                    <a:pt x="32" y="11"/>
                  </a:lnTo>
                  <a:lnTo>
                    <a:pt x="22" y="11"/>
                  </a:lnTo>
                  <a:lnTo>
                    <a:pt x="16" y="10"/>
                  </a:lnTo>
                  <a:lnTo>
                    <a:pt x="12" y="8"/>
                  </a:lnTo>
                  <a:lnTo>
                    <a:pt x="12" y="8"/>
                  </a:lnTo>
                  <a:lnTo>
                    <a:pt x="5" y="2"/>
                  </a:lnTo>
                  <a:lnTo>
                    <a:pt x="2" y="0"/>
                  </a:lnTo>
                  <a:lnTo>
                    <a:pt x="0" y="0"/>
                  </a:lnTo>
                  <a:lnTo>
                    <a:pt x="0" y="0"/>
                  </a:lnTo>
                  <a:lnTo>
                    <a:pt x="0" y="0"/>
                  </a:lnTo>
                  <a:lnTo>
                    <a:pt x="0" y="4"/>
                  </a:lnTo>
                  <a:lnTo>
                    <a:pt x="0" y="11"/>
                  </a:lnTo>
                  <a:lnTo>
                    <a:pt x="3" y="18"/>
                  </a:lnTo>
                  <a:lnTo>
                    <a:pt x="5" y="23"/>
                  </a:lnTo>
                  <a:lnTo>
                    <a:pt x="5" y="23"/>
                  </a:lnTo>
                  <a:lnTo>
                    <a:pt x="12" y="29"/>
                  </a:lnTo>
                  <a:lnTo>
                    <a:pt x="15" y="31"/>
                  </a:lnTo>
                  <a:lnTo>
                    <a:pt x="16" y="33"/>
                  </a:lnTo>
                  <a:lnTo>
                    <a:pt x="16" y="33"/>
                  </a:lnTo>
                  <a:lnTo>
                    <a:pt x="16" y="36"/>
                  </a:lnTo>
                  <a:lnTo>
                    <a:pt x="18" y="39"/>
                  </a:lnTo>
                  <a:lnTo>
                    <a:pt x="22" y="42"/>
                  </a:lnTo>
                  <a:lnTo>
                    <a:pt x="22" y="42"/>
                  </a:lnTo>
                  <a:lnTo>
                    <a:pt x="29" y="47"/>
                  </a:lnTo>
                  <a:lnTo>
                    <a:pt x="35" y="53"/>
                  </a:lnTo>
                  <a:lnTo>
                    <a:pt x="35" y="53"/>
                  </a:lnTo>
                  <a:lnTo>
                    <a:pt x="36" y="58"/>
                  </a:lnTo>
                  <a:lnTo>
                    <a:pt x="36" y="59"/>
                  </a:lnTo>
                  <a:lnTo>
                    <a:pt x="38" y="60"/>
                  </a:lnTo>
                  <a:lnTo>
                    <a:pt x="41" y="62"/>
                  </a:lnTo>
                  <a:lnTo>
                    <a:pt x="41" y="62"/>
                  </a:lnTo>
                  <a:lnTo>
                    <a:pt x="50" y="65"/>
                  </a:lnTo>
                  <a:lnTo>
                    <a:pt x="52" y="66"/>
                  </a:lnTo>
                  <a:lnTo>
                    <a:pt x="54" y="69"/>
                  </a:lnTo>
                  <a:lnTo>
                    <a:pt x="54" y="69"/>
                  </a:lnTo>
                  <a:lnTo>
                    <a:pt x="54" y="79"/>
                  </a:lnTo>
                  <a:lnTo>
                    <a:pt x="57" y="85"/>
                  </a:lnTo>
                  <a:lnTo>
                    <a:pt x="61" y="91"/>
                  </a:lnTo>
                  <a:lnTo>
                    <a:pt x="61" y="91"/>
                  </a:lnTo>
                  <a:lnTo>
                    <a:pt x="68" y="97"/>
                  </a:lnTo>
                  <a:lnTo>
                    <a:pt x="71" y="101"/>
                  </a:lnTo>
                  <a:lnTo>
                    <a:pt x="71" y="101"/>
                  </a:lnTo>
                  <a:lnTo>
                    <a:pt x="73" y="107"/>
                  </a:lnTo>
                  <a:lnTo>
                    <a:pt x="79" y="111"/>
                  </a:lnTo>
                  <a:lnTo>
                    <a:pt x="79" y="111"/>
                  </a:lnTo>
                  <a:lnTo>
                    <a:pt x="81" y="113"/>
                  </a:lnTo>
                  <a:lnTo>
                    <a:pt x="83" y="115"/>
                  </a:lnTo>
                  <a:lnTo>
                    <a:pt x="84" y="123"/>
                  </a:lnTo>
                  <a:lnTo>
                    <a:pt x="87" y="130"/>
                  </a:lnTo>
                  <a:lnTo>
                    <a:pt x="90" y="137"/>
                  </a:lnTo>
                  <a:lnTo>
                    <a:pt x="90" y="137"/>
                  </a:lnTo>
                  <a:lnTo>
                    <a:pt x="96" y="143"/>
                  </a:lnTo>
                  <a:lnTo>
                    <a:pt x="103" y="150"/>
                  </a:lnTo>
                  <a:lnTo>
                    <a:pt x="115" y="162"/>
                  </a:lnTo>
                  <a:lnTo>
                    <a:pt x="115" y="162"/>
                  </a:lnTo>
                  <a:lnTo>
                    <a:pt x="126" y="170"/>
                  </a:lnTo>
                  <a:lnTo>
                    <a:pt x="135" y="179"/>
                  </a:lnTo>
                  <a:lnTo>
                    <a:pt x="135" y="179"/>
                  </a:lnTo>
                  <a:lnTo>
                    <a:pt x="144" y="189"/>
                  </a:lnTo>
                  <a:lnTo>
                    <a:pt x="148" y="194"/>
                  </a:lnTo>
                  <a:lnTo>
                    <a:pt x="149" y="195"/>
                  </a:lnTo>
                  <a:lnTo>
                    <a:pt x="149" y="194"/>
                  </a:lnTo>
                  <a:lnTo>
                    <a:pt x="149" y="194"/>
                  </a:lnTo>
                  <a:lnTo>
                    <a:pt x="147" y="188"/>
                  </a:lnTo>
                  <a:lnTo>
                    <a:pt x="147" y="186"/>
                  </a:lnTo>
                  <a:lnTo>
                    <a:pt x="148" y="185"/>
                  </a:lnTo>
                  <a:lnTo>
                    <a:pt x="148" y="185"/>
                  </a:lnTo>
                  <a:lnTo>
                    <a:pt x="152" y="188"/>
                  </a:lnTo>
                  <a:lnTo>
                    <a:pt x="158" y="191"/>
                  </a:lnTo>
                  <a:lnTo>
                    <a:pt x="158" y="191"/>
                  </a:lnTo>
                  <a:lnTo>
                    <a:pt x="160" y="191"/>
                  </a:lnTo>
                  <a:lnTo>
                    <a:pt x="163" y="188"/>
                  </a:lnTo>
                  <a:lnTo>
                    <a:pt x="164" y="185"/>
                  </a:lnTo>
                  <a:lnTo>
                    <a:pt x="165" y="182"/>
                  </a:lnTo>
                  <a:lnTo>
                    <a:pt x="165" y="182"/>
                  </a:lnTo>
                  <a:lnTo>
                    <a:pt x="167" y="170"/>
                  </a:lnTo>
                  <a:lnTo>
                    <a:pt x="165" y="165"/>
                  </a:lnTo>
                  <a:lnTo>
                    <a:pt x="164" y="160"/>
                  </a:lnTo>
                  <a:lnTo>
                    <a:pt x="164" y="160"/>
                  </a:lnTo>
                  <a:lnTo>
                    <a:pt x="161" y="157"/>
                  </a:lnTo>
                  <a:lnTo>
                    <a:pt x="161" y="156"/>
                  </a:lnTo>
                  <a:lnTo>
                    <a:pt x="163" y="156"/>
                  </a:lnTo>
                  <a:lnTo>
                    <a:pt x="163" y="156"/>
                  </a:lnTo>
                  <a:lnTo>
                    <a:pt x="165" y="155"/>
                  </a:lnTo>
                  <a:lnTo>
                    <a:pt x="167" y="152"/>
                  </a:lnTo>
                  <a:lnTo>
                    <a:pt x="167" y="146"/>
                  </a:lnTo>
                  <a:lnTo>
                    <a:pt x="167" y="146"/>
                  </a:lnTo>
                  <a:lnTo>
                    <a:pt x="168" y="142"/>
                  </a:lnTo>
                  <a:lnTo>
                    <a:pt x="168" y="139"/>
                  </a:lnTo>
                  <a:lnTo>
                    <a:pt x="167" y="137"/>
                  </a:lnTo>
                  <a:lnTo>
                    <a:pt x="167" y="137"/>
                  </a:lnTo>
                  <a:lnTo>
                    <a:pt x="161" y="134"/>
                  </a:lnTo>
                  <a:lnTo>
                    <a:pt x="157" y="134"/>
                  </a:lnTo>
                  <a:lnTo>
                    <a:pt x="152" y="133"/>
                  </a:lnTo>
                  <a:lnTo>
                    <a:pt x="151" y="131"/>
                  </a:lnTo>
                  <a:lnTo>
                    <a:pt x="151" y="131"/>
                  </a:lnTo>
                  <a:lnTo>
                    <a:pt x="148" y="126"/>
                  </a:lnTo>
                  <a:lnTo>
                    <a:pt x="145" y="120"/>
                  </a:lnTo>
                  <a:lnTo>
                    <a:pt x="141" y="117"/>
                  </a:lnTo>
                  <a:lnTo>
                    <a:pt x="141" y="117"/>
                  </a:lnTo>
                  <a:lnTo>
                    <a:pt x="135" y="110"/>
                  </a:lnTo>
                  <a:lnTo>
                    <a:pt x="134" y="107"/>
                  </a:lnTo>
                  <a:lnTo>
                    <a:pt x="134" y="105"/>
                  </a:lnTo>
                  <a:lnTo>
                    <a:pt x="134" y="105"/>
                  </a:lnTo>
                  <a:lnTo>
                    <a:pt x="135" y="101"/>
                  </a:lnTo>
                  <a:lnTo>
                    <a:pt x="136" y="98"/>
                  </a:lnTo>
                  <a:lnTo>
                    <a:pt x="136" y="98"/>
                  </a:lnTo>
                  <a:lnTo>
                    <a:pt x="135" y="95"/>
                  </a:lnTo>
                  <a:lnTo>
                    <a:pt x="131" y="92"/>
                  </a:lnTo>
                  <a:lnTo>
                    <a:pt x="126" y="88"/>
                  </a:lnTo>
                  <a:lnTo>
                    <a:pt x="125" y="85"/>
                  </a:lnTo>
                  <a:lnTo>
                    <a:pt x="125" y="85"/>
                  </a:lnTo>
                  <a:lnTo>
                    <a:pt x="125" y="84"/>
                  </a:lnTo>
                  <a:lnTo>
                    <a:pt x="126" y="82"/>
                  </a:lnTo>
                  <a:lnTo>
                    <a:pt x="126" y="81"/>
                  </a:lnTo>
                  <a:lnTo>
                    <a:pt x="125" y="79"/>
                  </a:lnTo>
                  <a:lnTo>
                    <a:pt x="125" y="79"/>
                  </a:lnTo>
                  <a:lnTo>
                    <a:pt x="122" y="78"/>
                  </a:lnTo>
                  <a:lnTo>
                    <a:pt x="121" y="78"/>
                  </a:lnTo>
                  <a:lnTo>
                    <a:pt x="118" y="78"/>
                  </a:lnTo>
                  <a:lnTo>
                    <a:pt x="116" y="75"/>
                  </a:lnTo>
                  <a:lnTo>
                    <a:pt x="116" y="75"/>
                  </a:lnTo>
                  <a:lnTo>
                    <a:pt x="113" y="71"/>
                  </a:lnTo>
                  <a:lnTo>
                    <a:pt x="110" y="71"/>
                  </a:lnTo>
                  <a:lnTo>
                    <a:pt x="110" y="71"/>
                  </a:lnTo>
                  <a:lnTo>
                    <a:pt x="107" y="69"/>
                  </a:lnTo>
                  <a:lnTo>
                    <a:pt x="105" y="68"/>
                  </a:lnTo>
                  <a:lnTo>
                    <a:pt x="105" y="68"/>
                  </a:lnTo>
                  <a:lnTo>
                    <a:pt x="102" y="65"/>
                  </a:lnTo>
                  <a:lnTo>
                    <a:pt x="100" y="63"/>
                  </a:lnTo>
                  <a:lnTo>
                    <a:pt x="100" y="63"/>
                  </a:lnTo>
                  <a:lnTo>
                    <a:pt x="92" y="62"/>
                  </a:lnTo>
                  <a:lnTo>
                    <a:pt x="86" y="62"/>
                  </a:lnTo>
                  <a:lnTo>
                    <a:pt x="81" y="59"/>
                  </a:lnTo>
                  <a:close/>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88" name="Freeform 839"/>
            <p:cNvSpPr>
              <a:spLocks/>
            </p:cNvSpPr>
            <p:nvPr/>
          </p:nvSpPr>
          <p:spPr bwMode="auto">
            <a:xfrm>
              <a:off x="6750050" y="4567239"/>
              <a:ext cx="266700" cy="309563"/>
            </a:xfrm>
            <a:custGeom>
              <a:avLst/>
              <a:gdLst>
                <a:gd name="T0" fmla="*/ 77 w 168"/>
                <a:gd name="T1" fmla="*/ 52 h 195"/>
                <a:gd name="T2" fmla="*/ 70 w 168"/>
                <a:gd name="T3" fmla="*/ 46 h 195"/>
                <a:gd name="T4" fmla="*/ 55 w 168"/>
                <a:gd name="T5" fmla="*/ 34 h 195"/>
                <a:gd name="T6" fmla="*/ 45 w 168"/>
                <a:gd name="T7" fmla="*/ 24 h 195"/>
                <a:gd name="T8" fmla="*/ 35 w 168"/>
                <a:gd name="T9" fmla="*/ 13 h 195"/>
                <a:gd name="T10" fmla="*/ 22 w 168"/>
                <a:gd name="T11" fmla="*/ 11 h 195"/>
                <a:gd name="T12" fmla="*/ 12 w 168"/>
                <a:gd name="T13" fmla="*/ 8 h 195"/>
                <a:gd name="T14" fmla="*/ 0 w 168"/>
                <a:gd name="T15" fmla="*/ 0 h 195"/>
                <a:gd name="T16" fmla="*/ 0 w 168"/>
                <a:gd name="T17" fmla="*/ 4 h 195"/>
                <a:gd name="T18" fmla="*/ 5 w 168"/>
                <a:gd name="T19" fmla="*/ 23 h 195"/>
                <a:gd name="T20" fmla="*/ 15 w 168"/>
                <a:gd name="T21" fmla="*/ 31 h 195"/>
                <a:gd name="T22" fmla="*/ 16 w 168"/>
                <a:gd name="T23" fmla="*/ 36 h 195"/>
                <a:gd name="T24" fmla="*/ 22 w 168"/>
                <a:gd name="T25" fmla="*/ 42 h 195"/>
                <a:gd name="T26" fmla="*/ 35 w 168"/>
                <a:gd name="T27" fmla="*/ 53 h 195"/>
                <a:gd name="T28" fmla="*/ 38 w 168"/>
                <a:gd name="T29" fmla="*/ 60 h 195"/>
                <a:gd name="T30" fmla="*/ 50 w 168"/>
                <a:gd name="T31" fmla="*/ 65 h 195"/>
                <a:gd name="T32" fmla="*/ 54 w 168"/>
                <a:gd name="T33" fmla="*/ 69 h 195"/>
                <a:gd name="T34" fmla="*/ 61 w 168"/>
                <a:gd name="T35" fmla="*/ 91 h 195"/>
                <a:gd name="T36" fmla="*/ 71 w 168"/>
                <a:gd name="T37" fmla="*/ 101 h 195"/>
                <a:gd name="T38" fmla="*/ 79 w 168"/>
                <a:gd name="T39" fmla="*/ 111 h 195"/>
                <a:gd name="T40" fmla="*/ 83 w 168"/>
                <a:gd name="T41" fmla="*/ 115 h 195"/>
                <a:gd name="T42" fmla="*/ 90 w 168"/>
                <a:gd name="T43" fmla="*/ 137 h 195"/>
                <a:gd name="T44" fmla="*/ 103 w 168"/>
                <a:gd name="T45" fmla="*/ 150 h 195"/>
                <a:gd name="T46" fmla="*/ 126 w 168"/>
                <a:gd name="T47" fmla="*/ 170 h 195"/>
                <a:gd name="T48" fmla="*/ 144 w 168"/>
                <a:gd name="T49" fmla="*/ 189 h 195"/>
                <a:gd name="T50" fmla="*/ 149 w 168"/>
                <a:gd name="T51" fmla="*/ 194 h 195"/>
                <a:gd name="T52" fmla="*/ 147 w 168"/>
                <a:gd name="T53" fmla="*/ 186 h 195"/>
                <a:gd name="T54" fmla="*/ 152 w 168"/>
                <a:gd name="T55" fmla="*/ 188 h 195"/>
                <a:gd name="T56" fmla="*/ 160 w 168"/>
                <a:gd name="T57" fmla="*/ 191 h 195"/>
                <a:gd name="T58" fmla="*/ 165 w 168"/>
                <a:gd name="T59" fmla="*/ 182 h 195"/>
                <a:gd name="T60" fmla="*/ 165 w 168"/>
                <a:gd name="T61" fmla="*/ 165 h 195"/>
                <a:gd name="T62" fmla="*/ 161 w 168"/>
                <a:gd name="T63" fmla="*/ 157 h 195"/>
                <a:gd name="T64" fmla="*/ 163 w 168"/>
                <a:gd name="T65" fmla="*/ 156 h 195"/>
                <a:gd name="T66" fmla="*/ 167 w 168"/>
                <a:gd name="T67" fmla="*/ 146 h 195"/>
                <a:gd name="T68" fmla="*/ 168 w 168"/>
                <a:gd name="T69" fmla="*/ 139 h 195"/>
                <a:gd name="T70" fmla="*/ 161 w 168"/>
                <a:gd name="T71" fmla="*/ 134 h 195"/>
                <a:gd name="T72" fmla="*/ 151 w 168"/>
                <a:gd name="T73" fmla="*/ 131 h 195"/>
                <a:gd name="T74" fmla="*/ 145 w 168"/>
                <a:gd name="T75" fmla="*/ 120 h 195"/>
                <a:gd name="T76" fmla="*/ 135 w 168"/>
                <a:gd name="T77" fmla="*/ 110 h 195"/>
                <a:gd name="T78" fmla="*/ 134 w 168"/>
                <a:gd name="T79" fmla="*/ 105 h 195"/>
                <a:gd name="T80" fmla="*/ 136 w 168"/>
                <a:gd name="T81" fmla="*/ 98 h 195"/>
                <a:gd name="T82" fmla="*/ 126 w 168"/>
                <a:gd name="T83" fmla="*/ 88 h 195"/>
                <a:gd name="T84" fmla="*/ 125 w 168"/>
                <a:gd name="T85" fmla="*/ 84 h 195"/>
                <a:gd name="T86" fmla="*/ 125 w 168"/>
                <a:gd name="T87" fmla="*/ 79 h 195"/>
                <a:gd name="T88" fmla="*/ 121 w 168"/>
                <a:gd name="T89" fmla="*/ 78 h 195"/>
                <a:gd name="T90" fmla="*/ 116 w 168"/>
                <a:gd name="T91" fmla="*/ 75 h 195"/>
                <a:gd name="T92" fmla="*/ 110 w 168"/>
                <a:gd name="T93" fmla="*/ 71 h 195"/>
                <a:gd name="T94" fmla="*/ 105 w 168"/>
                <a:gd name="T95" fmla="*/ 68 h 195"/>
                <a:gd name="T96" fmla="*/ 100 w 168"/>
                <a:gd name="T97" fmla="*/ 63 h 195"/>
                <a:gd name="T98" fmla="*/ 81 w 168"/>
                <a:gd name="T99" fmla="*/ 59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8" h="195">
                  <a:moveTo>
                    <a:pt x="81" y="59"/>
                  </a:moveTo>
                  <a:lnTo>
                    <a:pt x="81" y="59"/>
                  </a:lnTo>
                  <a:lnTo>
                    <a:pt x="77" y="52"/>
                  </a:lnTo>
                  <a:lnTo>
                    <a:pt x="73" y="47"/>
                  </a:lnTo>
                  <a:lnTo>
                    <a:pt x="73" y="47"/>
                  </a:lnTo>
                  <a:lnTo>
                    <a:pt x="70" y="46"/>
                  </a:lnTo>
                  <a:lnTo>
                    <a:pt x="65" y="42"/>
                  </a:lnTo>
                  <a:lnTo>
                    <a:pt x="65" y="42"/>
                  </a:lnTo>
                  <a:lnTo>
                    <a:pt x="55" y="34"/>
                  </a:lnTo>
                  <a:lnTo>
                    <a:pt x="50" y="30"/>
                  </a:lnTo>
                  <a:lnTo>
                    <a:pt x="45" y="24"/>
                  </a:lnTo>
                  <a:lnTo>
                    <a:pt x="45" y="24"/>
                  </a:lnTo>
                  <a:lnTo>
                    <a:pt x="42" y="20"/>
                  </a:lnTo>
                  <a:lnTo>
                    <a:pt x="39" y="16"/>
                  </a:lnTo>
                  <a:lnTo>
                    <a:pt x="35" y="13"/>
                  </a:lnTo>
                  <a:lnTo>
                    <a:pt x="32" y="11"/>
                  </a:lnTo>
                  <a:lnTo>
                    <a:pt x="32" y="11"/>
                  </a:lnTo>
                  <a:lnTo>
                    <a:pt x="22" y="11"/>
                  </a:lnTo>
                  <a:lnTo>
                    <a:pt x="16" y="10"/>
                  </a:lnTo>
                  <a:lnTo>
                    <a:pt x="12" y="8"/>
                  </a:lnTo>
                  <a:lnTo>
                    <a:pt x="12" y="8"/>
                  </a:lnTo>
                  <a:lnTo>
                    <a:pt x="5" y="2"/>
                  </a:lnTo>
                  <a:lnTo>
                    <a:pt x="2" y="0"/>
                  </a:lnTo>
                  <a:lnTo>
                    <a:pt x="0" y="0"/>
                  </a:lnTo>
                  <a:lnTo>
                    <a:pt x="0" y="0"/>
                  </a:lnTo>
                  <a:lnTo>
                    <a:pt x="0" y="0"/>
                  </a:lnTo>
                  <a:lnTo>
                    <a:pt x="0" y="4"/>
                  </a:lnTo>
                  <a:lnTo>
                    <a:pt x="0" y="11"/>
                  </a:lnTo>
                  <a:lnTo>
                    <a:pt x="3" y="18"/>
                  </a:lnTo>
                  <a:lnTo>
                    <a:pt x="5" y="23"/>
                  </a:lnTo>
                  <a:lnTo>
                    <a:pt x="5" y="23"/>
                  </a:lnTo>
                  <a:lnTo>
                    <a:pt x="12" y="29"/>
                  </a:lnTo>
                  <a:lnTo>
                    <a:pt x="15" y="31"/>
                  </a:lnTo>
                  <a:lnTo>
                    <a:pt x="16" y="33"/>
                  </a:lnTo>
                  <a:lnTo>
                    <a:pt x="16" y="33"/>
                  </a:lnTo>
                  <a:lnTo>
                    <a:pt x="16" y="36"/>
                  </a:lnTo>
                  <a:lnTo>
                    <a:pt x="18" y="39"/>
                  </a:lnTo>
                  <a:lnTo>
                    <a:pt x="22" y="42"/>
                  </a:lnTo>
                  <a:lnTo>
                    <a:pt x="22" y="42"/>
                  </a:lnTo>
                  <a:lnTo>
                    <a:pt x="29" y="47"/>
                  </a:lnTo>
                  <a:lnTo>
                    <a:pt x="35" y="53"/>
                  </a:lnTo>
                  <a:lnTo>
                    <a:pt x="35" y="53"/>
                  </a:lnTo>
                  <a:lnTo>
                    <a:pt x="36" y="58"/>
                  </a:lnTo>
                  <a:lnTo>
                    <a:pt x="36" y="59"/>
                  </a:lnTo>
                  <a:lnTo>
                    <a:pt x="38" y="60"/>
                  </a:lnTo>
                  <a:lnTo>
                    <a:pt x="41" y="62"/>
                  </a:lnTo>
                  <a:lnTo>
                    <a:pt x="41" y="62"/>
                  </a:lnTo>
                  <a:lnTo>
                    <a:pt x="50" y="65"/>
                  </a:lnTo>
                  <a:lnTo>
                    <a:pt x="52" y="66"/>
                  </a:lnTo>
                  <a:lnTo>
                    <a:pt x="54" y="69"/>
                  </a:lnTo>
                  <a:lnTo>
                    <a:pt x="54" y="69"/>
                  </a:lnTo>
                  <a:lnTo>
                    <a:pt x="54" y="79"/>
                  </a:lnTo>
                  <a:lnTo>
                    <a:pt x="57" y="85"/>
                  </a:lnTo>
                  <a:lnTo>
                    <a:pt x="61" y="91"/>
                  </a:lnTo>
                  <a:lnTo>
                    <a:pt x="61" y="91"/>
                  </a:lnTo>
                  <a:lnTo>
                    <a:pt x="68" y="97"/>
                  </a:lnTo>
                  <a:lnTo>
                    <a:pt x="71" y="101"/>
                  </a:lnTo>
                  <a:lnTo>
                    <a:pt x="71" y="101"/>
                  </a:lnTo>
                  <a:lnTo>
                    <a:pt x="73" y="107"/>
                  </a:lnTo>
                  <a:lnTo>
                    <a:pt x="79" y="111"/>
                  </a:lnTo>
                  <a:lnTo>
                    <a:pt x="79" y="111"/>
                  </a:lnTo>
                  <a:lnTo>
                    <a:pt x="81" y="113"/>
                  </a:lnTo>
                  <a:lnTo>
                    <a:pt x="83" y="115"/>
                  </a:lnTo>
                  <a:lnTo>
                    <a:pt x="84" y="123"/>
                  </a:lnTo>
                  <a:lnTo>
                    <a:pt x="87" y="130"/>
                  </a:lnTo>
                  <a:lnTo>
                    <a:pt x="90" y="137"/>
                  </a:lnTo>
                  <a:lnTo>
                    <a:pt x="90" y="137"/>
                  </a:lnTo>
                  <a:lnTo>
                    <a:pt x="96" y="143"/>
                  </a:lnTo>
                  <a:lnTo>
                    <a:pt x="103" y="150"/>
                  </a:lnTo>
                  <a:lnTo>
                    <a:pt x="115" y="162"/>
                  </a:lnTo>
                  <a:lnTo>
                    <a:pt x="115" y="162"/>
                  </a:lnTo>
                  <a:lnTo>
                    <a:pt x="126" y="170"/>
                  </a:lnTo>
                  <a:lnTo>
                    <a:pt x="135" y="179"/>
                  </a:lnTo>
                  <a:lnTo>
                    <a:pt x="135" y="179"/>
                  </a:lnTo>
                  <a:lnTo>
                    <a:pt x="144" y="189"/>
                  </a:lnTo>
                  <a:lnTo>
                    <a:pt x="148" y="194"/>
                  </a:lnTo>
                  <a:lnTo>
                    <a:pt x="149" y="195"/>
                  </a:lnTo>
                  <a:lnTo>
                    <a:pt x="149" y="194"/>
                  </a:lnTo>
                  <a:lnTo>
                    <a:pt x="149" y="194"/>
                  </a:lnTo>
                  <a:lnTo>
                    <a:pt x="147" y="188"/>
                  </a:lnTo>
                  <a:lnTo>
                    <a:pt x="147" y="186"/>
                  </a:lnTo>
                  <a:lnTo>
                    <a:pt x="148" y="185"/>
                  </a:lnTo>
                  <a:lnTo>
                    <a:pt x="148" y="185"/>
                  </a:lnTo>
                  <a:lnTo>
                    <a:pt x="152" y="188"/>
                  </a:lnTo>
                  <a:lnTo>
                    <a:pt x="158" y="191"/>
                  </a:lnTo>
                  <a:lnTo>
                    <a:pt x="158" y="191"/>
                  </a:lnTo>
                  <a:lnTo>
                    <a:pt x="160" y="191"/>
                  </a:lnTo>
                  <a:lnTo>
                    <a:pt x="163" y="188"/>
                  </a:lnTo>
                  <a:lnTo>
                    <a:pt x="164" y="185"/>
                  </a:lnTo>
                  <a:lnTo>
                    <a:pt x="165" y="182"/>
                  </a:lnTo>
                  <a:lnTo>
                    <a:pt x="165" y="182"/>
                  </a:lnTo>
                  <a:lnTo>
                    <a:pt x="167" y="170"/>
                  </a:lnTo>
                  <a:lnTo>
                    <a:pt x="165" y="165"/>
                  </a:lnTo>
                  <a:lnTo>
                    <a:pt x="164" y="160"/>
                  </a:lnTo>
                  <a:lnTo>
                    <a:pt x="164" y="160"/>
                  </a:lnTo>
                  <a:lnTo>
                    <a:pt x="161" y="157"/>
                  </a:lnTo>
                  <a:lnTo>
                    <a:pt x="161" y="156"/>
                  </a:lnTo>
                  <a:lnTo>
                    <a:pt x="163" y="156"/>
                  </a:lnTo>
                  <a:lnTo>
                    <a:pt x="163" y="156"/>
                  </a:lnTo>
                  <a:lnTo>
                    <a:pt x="165" y="155"/>
                  </a:lnTo>
                  <a:lnTo>
                    <a:pt x="167" y="152"/>
                  </a:lnTo>
                  <a:lnTo>
                    <a:pt x="167" y="146"/>
                  </a:lnTo>
                  <a:lnTo>
                    <a:pt x="167" y="146"/>
                  </a:lnTo>
                  <a:lnTo>
                    <a:pt x="168" y="142"/>
                  </a:lnTo>
                  <a:lnTo>
                    <a:pt x="168" y="139"/>
                  </a:lnTo>
                  <a:lnTo>
                    <a:pt x="167" y="137"/>
                  </a:lnTo>
                  <a:lnTo>
                    <a:pt x="167" y="137"/>
                  </a:lnTo>
                  <a:lnTo>
                    <a:pt x="161" y="134"/>
                  </a:lnTo>
                  <a:lnTo>
                    <a:pt x="157" y="134"/>
                  </a:lnTo>
                  <a:lnTo>
                    <a:pt x="152" y="133"/>
                  </a:lnTo>
                  <a:lnTo>
                    <a:pt x="151" y="131"/>
                  </a:lnTo>
                  <a:lnTo>
                    <a:pt x="151" y="131"/>
                  </a:lnTo>
                  <a:lnTo>
                    <a:pt x="148" y="126"/>
                  </a:lnTo>
                  <a:lnTo>
                    <a:pt x="145" y="120"/>
                  </a:lnTo>
                  <a:lnTo>
                    <a:pt x="141" y="117"/>
                  </a:lnTo>
                  <a:lnTo>
                    <a:pt x="141" y="117"/>
                  </a:lnTo>
                  <a:lnTo>
                    <a:pt x="135" y="110"/>
                  </a:lnTo>
                  <a:lnTo>
                    <a:pt x="134" y="107"/>
                  </a:lnTo>
                  <a:lnTo>
                    <a:pt x="134" y="105"/>
                  </a:lnTo>
                  <a:lnTo>
                    <a:pt x="134" y="105"/>
                  </a:lnTo>
                  <a:lnTo>
                    <a:pt x="135" y="101"/>
                  </a:lnTo>
                  <a:lnTo>
                    <a:pt x="136" y="98"/>
                  </a:lnTo>
                  <a:lnTo>
                    <a:pt x="136" y="98"/>
                  </a:lnTo>
                  <a:lnTo>
                    <a:pt x="135" y="95"/>
                  </a:lnTo>
                  <a:lnTo>
                    <a:pt x="131" y="92"/>
                  </a:lnTo>
                  <a:lnTo>
                    <a:pt x="126" y="88"/>
                  </a:lnTo>
                  <a:lnTo>
                    <a:pt x="125" y="85"/>
                  </a:lnTo>
                  <a:lnTo>
                    <a:pt x="125" y="85"/>
                  </a:lnTo>
                  <a:lnTo>
                    <a:pt x="125" y="84"/>
                  </a:lnTo>
                  <a:lnTo>
                    <a:pt x="126" y="82"/>
                  </a:lnTo>
                  <a:lnTo>
                    <a:pt x="126" y="81"/>
                  </a:lnTo>
                  <a:lnTo>
                    <a:pt x="125" y="79"/>
                  </a:lnTo>
                  <a:lnTo>
                    <a:pt x="125" y="79"/>
                  </a:lnTo>
                  <a:lnTo>
                    <a:pt x="122" y="78"/>
                  </a:lnTo>
                  <a:lnTo>
                    <a:pt x="121" y="78"/>
                  </a:lnTo>
                  <a:lnTo>
                    <a:pt x="118" y="78"/>
                  </a:lnTo>
                  <a:lnTo>
                    <a:pt x="116" y="75"/>
                  </a:lnTo>
                  <a:lnTo>
                    <a:pt x="116" y="75"/>
                  </a:lnTo>
                  <a:lnTo>
                    <a:pt x="113" y="71"/>
                  </a:lnTo>
                  <a:lnTo>
                    <a:pt x="110" y="71"/>
                  </a:lnTo>
                  <a:lnTo>
                    <a:pt x="110" y="71"/>
                  </a:lnTo>
                  <a:lnTo>
                    <a:pt x="107" y="69"/>
                  </a:lnTo>
                  <a:lnTo>
                    <a:pt x="105" y="68"/>
                  </a:lnTo>
                  <a:lnTo>
                    <a:pt x="105" y="68"/>
                  </a:lnTo>
                  <a:lnTo>
                    <a:pt x="102" y="65"/>
                  </a:lnTo>
                  <a:lnTo>
                    <a:pt x="100" y="63"/>
                  </a:lnTo>
                  <a:lnTo>
                    <a:pt x="100" y="63"/>
                  </a:lnTo>
                  <a:lnTo>
                    <a:pt x="92" y="62"/>
                  </a:lnTo>
                  <a:lnTo>
                    <a:pt x="86" y="62"/>
                  </a:lnTo>
                  <a:lnTo>
                    <a:pt x="81" y="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89" name="Freeform 840"/>
            <p:cNvSpPr>
              <a:spLocks/>
            </p:cNvSpPr>
            <p:nvPr/>
          </p:nvSpPr>
          <p:spPr bwMode="auto">
            <a:xfrm>
              <a:off x="7000875" y="4867276"/>
              <a:ext cx="230188" cy="71438"/>
            </a:xfrm>
            <a:custGeom>
              <a:avLst/>
              <a:gdLst>
                <a:gd name="T0" fmla="*/ 142 w 145"/>
                <a:gd name="T1" fmla="*/ 45 h 45"/>
                <a:gd name="T2" fmla="*/ 133 w 145"/>
                <a:gd name="T3" fmla="*/ 39 h 45"/>
                <a:gd name="T4" fmla="*/ 125 w 145"/>
                <a:gd name="T5" fmla="*/ 38 h 45"/>
                <a:gd name="T6" fmla="*/ 104 w 145"/>
                <a:gd name="T7" fmla="*/ 39 h 45"/>
                <a:gd name="T8" fmla="*/ 86 w 145"/>
                <a:gd name="T9" fmla="*/ 37 h 45"/>
                <a:gd name="T10" fmla="*/ 65 w 145"/>
                <a:gd name="T11" fmla="*/ 29 h 45"/>
                <a:gd name="T12" fmla="*/ 58 w 145"/>
                <a:gd name="T13" fmla="*/ 28 h 45"/>
                <a:gd name="T14" fmla="*/ 35 w 145"/>
                <a:gd name="T15" fmla="*/ 26 h 45"/>
                <a:gd name="T16" fmla="*/ 22 w 145"/>
                <a:gd name="T17" fmla="*/ 25 h 45"/>
                <a:gd name="T18" fmla="*/ 13 w 145"/>
                <a:gd name="T19" fmla="*/ 24 h 45"/>
                <a:gd name="T20" fmla="*/ 13 w 145"/>
                <a:gd name="T21" fmla="*/ 22 h 45"/>
                <a:gd name="T22" fmla="*/ 19 w 145"/>
                <a:gd name="T23" fmla="*/ 19 h 45"/>
                <a:gd name="T24" fmla="*/ 18 w 145"/>
                <a:gd name="T25" fmla="*/ 18 h 45"/>
                <a:gd name="T26" fmla="*/ 2 w 145"/>
                <a:gd name="T27" fmla="*/ 15 h 45"/>
                <a:gd name="T28" fmla="*/ 2 w 145"/>
                <a:gd name="T29" fmla="*/ 13 h 45"/>
                <a:gd name="T30" fmla="*/ 7 w 145"/>
                <a:gd name="T31" fmla="*/ 9 h 45"/>
                <a:gd name="T32" fmla="*/ 10 w 145"/>
                <a:gd name="T33" fmla="*/ 5 h 45"/>
                <a:gd name="T34" fmla="*/ 26 w 145"/>
                <a:gd name="T35" fmla="*/ 3 h 45"/>
                <a:gd name="T36" fmla="*/ 29 w 145"/>
                <a:gd name="T37" fmla="*/ 2 h 45"/>
                <a:gd name="T38" fmla="*/ 33 w 145"/>
                <a:gd name="T39" fmla="*/ 0 h 45"/>
                <a:gd name="T40" fmla="*/ 36 w 145"/>
                <a:gd name="T41" fmla="*/ 0 h 45"/>
                <a:gd name="T42" fmla="*/ 51 w 145"/>
                <a:gd name="T43" fmla="*/ 10 h 45"/>
                <a:gd name="T44" fmla="*/ 54 w 145"/>
                <a:gd name="T45" fmla="*/ 12 h 45"/>
                <a:gd name="T46" fmla="*/ 71 w 145"/>
                <a:gd name="T47" fmla="*/ 12 h 45"/>
                <a:gd name="T48" fmla="*/ 75 w 145"/>
                <a:gd name="T49" fmla="*/ 12 h 45"/>
                <a:gd name="T50" fmla="*/ 83 w 145"/>
                <a:gd name="T51" fmla="*/ 9 h 45"/>
                <a:gd name="T52" fmla="*/ 87 w 145"/>
                <a:gd name="T53" fmla="*/ 8 h 45"/>
                <a:gd name="T54" fmla="*/ 102 w 145"/>
                <a:gd name="T55" fmla="*/ 12 h 45"/>
                <a:gd name="T56" fmla="*/ 109 w 145"/>
                <a:gd name="T57" fmla="*/ 12 h 45"/>
                <a:gd name="T58" fmla="*/ 128 w 145"/>
                <a:gd name="T59" fmla="*/ 13 h 45"/>
                <a:gd name="T60" fmla="*/ 133 w 145"/>
                <a:gd name="T61" fmla="*/ 15 h 45"/>
                <a:gd name="T62" fmla="*/ 135 w 145"/>
                <a:gd name="T63" fmla="*/ 16 h 45"/>
                <a:gd name="T64" fmla="*/ 132 w 145"/>
                <a:gd name="T65" fmla="*/ 18 h 45"/>
                <a:gd name="T66" fmla="*/ 131 w 145"/>
                <a:gd name="T67" fmla="*/ 21 h 45"/>
                <a:gd name="T68" fmla="*/ 132 w 145"/>
                <a:gd name="T69" fmla="*/ 21 h 45"/>
                <a:gd name="T70" fmla="*/ 135 w 145"/>
                <a:gd name="T71" fmla="*/ 25 h 45"/>
                <a:gd name="T72" fmla="*/ 136 w 145"/>
                <a:gd name="T73" fmla="*/ 28 h 45"/>
                <a:gd name="T74" fmla="*/ 141 w 145"/>
                <a:gd name="T75" fmla="*/ 28 h 45"/>
                <a:gd name="T76" fmla="*/ 145 w 145"/>
                <a:gd name="T77" fmla="*/ 29 h 45"/>
                <a:gd name="T78" fmla="*/ 145 w 145"/>
                <a:gd name="T79" fmla="*/ 39 h 45"/>
                <a:gd name="T80" fmla="*/ 144 w 145"/>
                <a:gd name="T8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5" h="45">
                  <a:moveTo>
                    <a:pt x="142" y="45"/>
                  </a:moveTo>
                  <a:lnTo>
                    <a:pt x="142" y="45"/>
                  </a:lnTo>
                  <a:lnTo>
                    <a:pt x="136" y="42"/>
                  </a:lnTo>
                  <a:lnTo>
                    <a:pt x="133" y="39"/>
                  </a:lnTo>
                  <a:lnTo>
                    <a:pt x="129" y="38"/>
                  </a:lnTo>
                  <a:lnTo>
                    <a:pt x="125" y="38"/>
                  </a:lnTo>
                  <a:lnTo>
                    <a:pt x="125" y="38"/>
                  </a:lnTo>
                  <a:lnTo>
                    <a:pt x="104" y="39"/>
                  </a:lnTo>
                  <a:lnTo>
                    <a:pt x="94" y="39"/>
                  </a:lnTo>
                  <a:lnTo>
                    <a:pt x="86" y="37"/>
                  </a:lnTo>
                  <a:lnTo>
                    <a:pt x="86" y="37"/>
                  </a:lnTo>
                  <a:lnTo>
                    <a:pt x="65" y="29"/>
                  </a:lnTo>
                  <a:lnTo>
                    <a:pt x="65" y="29"/>
                  </a:lnTo>
                  <a:lnTo>
                    <a:pt x="58" y="28"/>
                  </a:lnTo>
                  <a:lnTo>
                    <a:pt x="49" y="28"/>
                  </a:lnTo>
                  <a:lnTo>
                    <a:pt x="35" y="26"/>
                  </a:lnTo>
                  <a:lnTo>
                    <a:pt x="35" y="26"/>
                  </a:lnTo>
                  <a:lnTo>
                    <a:pt x="22" y="25"/>
                  </a:lnTo>
                  <a:lnTo>
                    <a:pt x="15" y="24"/>
                  </a:lnTo>
                  <a:lnTo>
                    <a:pt x="13" y="24"/>
                  </a:lnTo>
                  <a:lnTo>
                    <a:pt x="13" y="22"/>
                  </a:lnTo>
                  <a:lnTo>
                    <a:pt x="13" y="22"/>
                  </a:lnTo>
                  <a:lnTo>
                    <a:pt x="19" y="19"/>
                  </a:lnTo>
                  <a:lnTo>
                    <a:pt x="19" y="19"/>
                  </a:lnTo>
                  <a:lnTo>
                    <a:pt x="18" y="18"/>
                  </a:lnTo>
                  <a:lnTo>
                    <a:pt x="18" y="18"/>
                  </a:lnTo>
                  <a:lnTo>
                    <a:pt x="6" y="16"/>
                  </a:lnTo>
                  <a:lnTo>
                    <a:pt x="2" y="15"/>
                  </a:lnTo>
                  <a:lnTo>
                    <a:pt x="0" y="13"/>
                  </a:lnTo>
                  <a:lnTo>
                    <a:pt x="2" y="13"/>
                  </a:lnTo>
                  <a:lnTo>
                    <a:pt x="2" y="13"/>
                  </a:lnTo>
                  <a:lnTo>
                    <a:pt x="7" y="9"/>
                  </a:lnTo>
                  <a:lnTo>
                    <a:pt x="10" y="5"/>
                  </a:lnTo>
                  <a:lnTo>
                    <a:pt x="10" y="5"/>
                  </a:lnTo>
                  <a:lnTo>
                    <a:pt x="18" y="3"/>
                  </a:lnTo>
                  <a:lnTo>
                    <a:pt x="26" y="3"/>
                  </a:lnTo>
                  <a:lnTo>
                    <a:pt x="26" y="3"/>
                  </a:lnTo>
                  <a:lnTo>
                    <a:pt x="29" y="2"/>
                  </a:lnTo>
                  <a:lnTo>
                    <a:pt x="31" y="0"/>
                  </a:lnTo>
                  <a:lnTo>
                    <a:pt x="33" y="0"/>
                  </a:lnTo>
                  <a:lnTo>
                    <a:pt x="36" y="0"/>
                  </a:lnTo>
                  <a:lnTo>
                    <a:pt x="36" y="0"/>
                  </a:lnTo>
                  <a:lnTo>
                    <a:pt x="45" y="8"/>
                  </a:lnTo>
                  <a:lnTo>
                    <a:pt x="51" y="10"/>
                  </a:lnTo>
                  <a:lnTo>
                    <a:pt x="54" y="12"/>
                  </a:lnTo>
                  <a:lnTo>
                    <a:pt x="54" y="12"/>
                  </a:lnTo>
                  <a:lnTo>
                    <a:pt x="61" y="12"/>
                  </a:lnTo>
                  <a:lnTo>
                    <a:pt x="71" y="12"/>
                  </a:lnTo>
                  <a:lnTo>
                    <a:pt x="71" y="12"/>
                  </a:lnTo>
                  <a:lnTo>
                    <a:pt x="75" y="12"/>
                  </a:lnTo>
                  <a:lnTo>
                    <a:pt x="78" y="10"/>
                  </a:lnTo>
                  <a:lnTo>
                    <a:pt x="83" y="9"/>
                  </a:lnTo>
                  <a:lnTo>
                    <a:pt x="87" y="8"/>
                  </a:lnTo>
                  <a:lnTo>
                    <a:pt x="87" y="8"/>
                  </a:lnTo>
                  <a:lnTo>
                    <a:pt x="94" y="9"/>
                  </a:lnTo>
                  <a:lnTo>
                    <a:pt x="102" y="12"/>
                  </a:lnTo>
                  <a:lnTo>
                    <a:pt x="102" y="12"/>
                  </a:lnTo>
                  <a:lnTo>
                    <a:pt x="109" y="12"/>
                  </a:lnTo>
                  <a:lnTo>
                    <a:pt x="119" y="13"/>
                  </a:lnTo>
                  <a:lnTo>
                    <a:pt x="128" y="13"/>
                  </a:lnTo>
                  <a:lnTo>
                    <a:pt x="133" y="15"/>
                  </a:lnTo>
                  <a:lnTo>
                    <a:pt x="133" y="15"/>
                  </a:lnTo>
                  <a:lnTo>
                    <a:pt x="135" y="16"/>
                  </a:lnTo>
                  <a:lnTo>
                    <a:pt x="135" y="16"/>
                  </a:lnTo>
                  <a:lnTo>
                    <a:pt x="132" y="18"/>
                  </a:lnTo>
                  <a:lnTo>
                    <a:pt x="132" y="18"/>
                  </a:lnTo>
                  <a:lnTo>
                    <a:pt x="131" y="19"/>
                  </a:lnTo>
                  <a:lnTo>
                    <a:pt x="131" y="21"/>
                  </a:lnTo>
                  <a:lnTo>
                    <a:pt x="132" y="21"/>
                  </a:lnTo>
                  <a:lnTo>
                    <a:pt x="132" y="21"/>
                  </a:lnTo>
                  <a:lnTo>
                    <a:pt x="133" y="22"/>
                  </a:lnTo>
                  <a:lnTo>
                    <a:pt x="135" y="25"/>
                  </a:lnTo>
                  <a:lnTo>
                    <a:pt x="135" y="26"/>
                  </a:lnTo>
                  <a:lnTo>
                    <a:pt x="136" y="28"/>
                  </a:lnTo>
                  <a:lnTo>
                    <a:pt x="136" y="28"/>
                  </a:lnTo>
                  <a:lnTo>
                    <a:pt x="141" y="28"/>
                  </a:lnTo>
                  <a:lnTo>
                    <a:pt x="144" y="28"/>
                  </a:lnTo>
                  <a:lnTo>
                    <a:pt x="145" y="29"/>
                  </a:lnTo>
                  <a:lnTo>
                    <a:pt x="145" y="29"/>
                  </a:lnTo>
                  <a:lnTo>
                    <a:pt x="145" y="39"/>
                  </a:lnTo>
                  <a:lnTo>
                    <a:pt x="144" y="44"/>
                  </a:lnTo>
                  <a:lnTo>
                    <a:pt x="144" y="45"/>
                  </a:lnTo>
                  <a:lnTo>
                    <a:pt x="142" y="45"/>
                  </a:lnTo>
                  <a:close/>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90" name="Freeform 841"/>
            <p:cNvSpPr>
              <a:spLocks/>
            </p:cNvSpPr>
            <p:nvPr/>
          </p:nvSpPr>
          <p:spPr bwMode="auto">
            <a:xfrm>
              <a:off x="7000875" y="4867276"/>
              <a:ext cx="230188" cy="71438"/>
            </a:xfrm>
            <a:custGeom>
              <a:avLst/>
              <a:gdLst>
                <a:gd name="T0" fmla="*/ 142 w 145"/>
                <a:gd name="T1" fmla="*/ 45 h 45"/>
                <a:gd name="T2" fmla="*/ 133 w 145"/>
                <a:gd name="T3" fmla="*/ 39 h 45"/>
                <a:gd name="T4" fmla="*/ 125 w 145"/>
                <a:gd name="T5" fmla="*/ 38 h 45"/>
                <a:gd name="T6" fmla="*/ 104 w 145"/>
                <a:gd name="T7" fmla="*/ 39 h 45"/>
                <a:gd name="T8" fmla="*/ 86 w 145"/>
                <a:gd name="T9" fmla="*/ 37 h 45"/>
                <a:gd name="T10" fmla="*/ 65 w 145"/>
                <a:gd name="T11" fmla="*/ 29 h 45"/>
                <a:gd name="T12" fmla="*/ 58 w 145"/>
                <a:gd name="T13" fmla="*/ 28 h 45"/>
                <a:gd name="T14" fmla="*/ 35 w 145"/>
                <a:gd name="T15" fmla="*/ 26 h 45"/>
                <a:gd name="T16" fmla="*/ 22 w 145"/>
                <a:gd name="T17" fmla="*/ 25 h 45"/>
                <a:gd name="T18" fmla="*/ 13 w 145"/>
                <a:gd name="T19" fmla="*/ 24 h 45"/>
                <a:gd name="T20" fmla="*/ 13 w 145"/>
                <a:gd name="T21" fmla="*/ 22 h 45"/>
                <a:gd name="T22" fmla="*/ 19 w 145"/>
                <a:gd name="T23" fmla="*/ 19 h 45"/>
                <a:gd name="T24" fmla="*/ 18 w 145"/>
                <a:gd name="T25" fmla="*/ 18 h 45"/>
                <a:gd name="T26" fmla="*/ 2 w 145"/>
                <a:gd name="T27" fmla="*/ 15 h 45"/>
                <a:gd name="T28" fmla="*/ 2 w 145"/>
                <a:gd name="T29" fmla="*/ 13 h 45"/>
                <a:gd name="T30" fmla="*/ 7 w 145"/>
                <a:gd name="T31" fmla="*/ 9 h 45"/>
                <a:gd name="T32" fmla="*/ 10 w 145"/>
                <a:gd name="T33" fmla="*/ 5 h 45"/>
                <a:gd name="T34" fmla="*/ 26 w 145"/>
                <a:gd name="T35" fmla="*/ 3 h 45"/>
                <a:gd name="T36" fmla="*/ 29 w 145"/>
                <a:gd name="T37" fmla="*/ 2 h 45"/>
                <a:gd name="T38" fmla="*/ 33 w 145"/>
                <a:gd name="T39" fmla="*/ 0 h 45"/>
                <a:gd name="T40" fmla="*/ 36 w 145"/>
                <a:gd name="T41" fmla="*/ 0 h 45"/>
                <a:gd name="T42" fmla="*/ 51 w 145"/>
                <a:gd name="T43" fmla="*/ 10 h 45"/>
                <a:gd name="T44" fmla="*/ 54 w 145"/>
                <a:gd name="T45" fmla="*/ 12 h 45"/>
                <a:gd name="T46" fmla="*/ 71 w 145"/>
                <a:gd name="T47" fmla="*/ 12 h 45"/>
                <a:gd name="T48" fmla="*/ 75 w 145"/>
                <a:gd name="T49" fmla="*/ 12 h 45"/>
                <a:gd name="T50" fmla="*/ 83 w 145"/>
                <a:gd name="T51" fmla="*/ 9 h 45"/>
                <a:gd name="T52" fmla="*/ 87 w 145"/>
                <a:gd name="T53" fmla="*/ 8 h 45"/>
                <a:gd name="T54" fmla="*/ 102 w 145"/>
                <a:gd name="T55" fmla="*/ 12 h 45"/>
                <a:gd name="T56" fmla="*/ 109 w 145"/>
                <a:gd name="T57" fmla="*/ 12 h 45"/>
                <a:gd name="T58" fmla="*/ 128 w 145"/>
                <a:gd name="T59" fmla="*/ 13 h 45"/>
                <a:gd name="T60" fmla="*/ 133 w 145"/>
                <a:gd name="T61" fmla="*/ 15 h 45"/>
                <a:gd name="T62" fmla="*/ 135 w 145"/>
                <a:gd name="T63" fmla="*/ 16 h 45"/>
                <a:gd name="T64" fmla="*/ 132 w 145"/>
                <a:gd name="T65" fmla="*/ 18 h 45"/>
                <a:gd name="T66" fmla="*/ 131 w 145"/>
                <a:gd name="T67" fmla="*/ 21 h 45"/>
                <a:gd name="T68" fmla="*/ 132 w 145"/>
                <a:gd name="T69" fmla="*/ 21 h 45"/>
                <a:gd name="T70" fmla="*/ 135 w 145"/>
                <a:gd name="T71" fmla="*/ 25 h 45"/>
                <a:gd name="T72" fmla="*/ 136 w 145"/>
                <a:gd name="T73" fmla="*/ 28 h 45"/>
                <a:gd name="T74" fmla="*/ 141 w 145"/>
                <a:gd name="T75" fmla="*/ 28 h 45"/>
                <a:gd name="T76" fmla="*/ 145 w 145"/>
                <a:gd name="T77" fmla="*/ 29 h 45"/>
                <a:gd name="T78" fmla="*/ 145 w 145"/>
                <a:gd name="T79" fmla="*/ 39 h 45"/>
                <a:gd name="T80" fmla="*/ 144 w 145"/>
                <a:gd name="T8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5" h="45">
                  <a:moveTo>
                    <a:pt x="142" y="45"/>
                  </a:moveTo>
                  <a:lnTo>
                    <a:pt x="142" y="45"/>
                  </a:lnTo>
                  <a:lnTo>
                    <a:pt x="136" y="42"/>
                  </a:lnTo>
                  <a:lnTo>
                    <a:pt x="133" y="39"/>
                  </a:lnTo>
                  <a:lnTo>
                    <a:pt x="129" y="38"/>
                  </a:lnTo>
                  <a:lnTo>
                    <a:pt x="125" y="38"/>
                  </a:lnTo>
                  <a:lnTo>
                    <a:pt x="125" y="38"/>
                  </a:lnTo>
                  <a:lnTo>
                    <a:pt x="104" y="39"/>
                  </a:lnTo>
                  <a:lnTo>
                    <a:pt x="94" y="39"/>
                  </a:lnTo>
                  <a:lnTo>
                    <a:pt x="86" y="37"/>
                  </a:lnTo>
                  <a:lnTo>
                    <a:pt x="86" y="37"/>
                  </a:lnTo>
                  <a:lnTo>
                    <a:pt x="65" y="29"/>
                  </a:lnTo>
                  <a:lnTo>
                    <a:pt x="65" y="29"/>
                  </a:lnTo>
                  <a:lnTo>
                    <a:pt x="58" y="28"/>
                  </a:lnTo>
                  <a:lnTo>
                    <a:pt x="49" y="28"/>
                  </a:lnTo>
                  <a:lnTo>
                    <a:pt x="35" y="26"/>
                  </a:lnTo>
                  <a:lnTo>
                    <a:pt x="35" y="26"/>
                  </a:lnTo>
                  <a:lnTo>
                    <a:pt x="22" y="25"/>
                  </a:lnTo>
                  <a:lnTo>
                    <a:pt x="15" y="24"/>
                  </a:lnTo>
                  <a:lnTo>
                    <a:pt x="13" y="24"/>
                  </a:lnTo>
                  <a:lnTo>
                    <a:pt x="13" y="22"/>
                  </a:lnTo>
                  <a:lnTo>
                    <a:pt x="13" y="22"/>
                  </a:lnTo>
                  <a:lnTo>
                    <a:pt x="19" y="19"/>
                  </a:lnTo>
                  <a:lnTo>
                    <a:pt x="19" y="19"/>
                  </a:lnTo>
                  <a:lnTo>
                    <a:pt x="18" y="18"/>
                  </a:lnTo>
                  <a:lnTo>
                    <a:pt x="18" y="18"/>
                  </a:lnTo>
                  <a:lnTo>
                    <a:pt x="6" y="16"/>
                  </a:lnTo>
                  <a:lnTo>
                    <a:pt x="2" y="15"/>
                  </a:lnTo>
                  <a:lnTo>
                    <a:pt x="0" y="13"/>
                  </a:lnTo>
                  <a:lnTo>
                    <a:pt x="2" y="13"/>
                  </a:lnTo>
                  <a:lnTo>
                    <a:pt x="2" y="13"/>
                  </a:lnTo>
                  <a:lnTo>
                    <a:pt x="7" y="9"/>
                  </a:lnTo>
                  <a:lnTo>
                    <a:pt x="10" y="5"/>
                  </a:lnTo>
                  <a:lnTo>
                    <a:pt x="10" y="5"/>
                  </a:lnTo>
                  <a:lnTo>
                    <a:pt x="18" y="3"/>
                  </a:lnTo>
                  <a:lnTo>
                    <a:pt x="26" y="3"/>
                  </a:lnTo>
                  <a:lnTo>
                    <a:pt x="26" y="3"/>
                  </a:lnTo>
                  <a:lnTo>
                    <a:pt x="29" y="2"/>
                  </a:lnTo>
                  <a:lnTo>
                    <a:pt x="31" y="0"/>
                  </a:lnTo>
                  <a:lnTo>
                    <a:pt x="33" y="0"/>
                  </a:lnTo>
                  <a:lnTo>
                    <a:pt x="36" y="0"/>
                  </a:lnTo>
                  <a:lnTo>
                    <a:pt x="36" y="0"/>
                  </a:lnTo>
                  <a:lnTo>
                    <a:pt x="45" y="8"/>
                  </a:lnTo>
                  <a:lnTo>
                    <a:pt x="51" y="10"/>
                  </a:lnTo>
                  <a:lnTo>
                    <a:pt x="54" y="12"/>
                  </a:lnTo>
                  <a:lnTo>
                    <a:pt x="54" y="12"/>
                  </a:lnTo>
                  <a:lnTo>
                    <a:pt x="61" y="12"/>
                  </a:lnTo>
                  <a:lnTo>
                    <a:pt x="71" y="12"/>
                  </a:lnTo>
                  <a:lnTo>
                    <a:pt x="71" y="12"/>
                  </a:lnTo>
                  <a:lnTo>
                    <a:pt x="75" y="12"/>
                  </a:lnTo>
                  <a:lnTo>
                    <a:pt x="78" y="10"/>
                  </a:lnTo>
                  <a:lnTo>
                    <a:pt x="83" y="9"/>
                  </a:lnTo>
                  <a:lnTo>
                    <a:pt x="87" y="8"/>
                  </a:lnTo>
                  <a:lnTo>
                    <a:pt x="87" y="8"/>
                  </a:lnTo>
                  <a:lnTo>
                    <a:pt x="94" y="9"/>
                  </a:lnTo>
                  <a:lnTo>
                    <a:pt x="102" y="12"/>
                  </a:lnTo>
                  <a:lnTo>
                    <a:pt x="102" y="12"/>
                  </a:lnTo>
                  <a:lnTo>
                    <a:pt x="109" y="12"/>
                  </a:lnTo>
                  <a:lnTo>
                    <a:pt x="119" y="13"/>
                  </a:lnTo>
                  <a:lnTo>
                    <a:pt x="128" y="13"/>
                  </a:lnTo>
                  <a:lnTo>
                    <a:pt x="133" y="15"/>
                  </a:lnTo>
                  <a:lnTo>
                    <a:pt x="133" y="15"/>
                  </a:lnTo>
                  <a:lnTo>
                    <a:pt x="135" y="16"/>
                  </a:lnTo>
                  <a:lnTo>
                    <a:pt x="135" y="16"/>
                  </a:lnTo>
                  <a:lnTo>
                    <a:pt x="132" y="18"/>
                  </a:lnTo>
                  <a:lnTo>
                    <a:pt x="132" y="18"/>
                  </a:lnTo>
                  <a:lnTo>
                    <a:pt x="131" y="19"/>
                  </a:lnTo>
                  <a:lnTo>
                    <a:pt x="131" y="21"/>
                  </a:lnTo>
                  <a:lnTo>
                    <a:pt x="132" y="21"/>
                  </a:lnTo>
                  <a:lnTo>
                    <a:pt x="132" y="21"/>
                  </a:lnTo>
                  <a:lnTo>
                    <a:pt x="133" y="22"/>
                  </a:lnTo>
                  <a:lnTo>
                    <a:pt x="135" y="25"/>
                  </a:lnTo>
                  <a:lnTo>
                    <a:pt x="135" y="26"/>
                  </a:lnTo>
                  <a:lnTo>
                    <a:pt x="136" y="28"/>
                  </a:lnTo>
                  <a:lnTo>
                    <a:pt x="136" y="28"/>
                  </a:lnTo>
                  <a:lnTo>
                    <a:pt x="141" y="28"/>
                  </a:lnTo>
                  <a:lnTo>
                    <a:pt x="144" y="28"/>
                  </a:lnTo>
                  <a:lnTo>
                    <a:pt x="145" y="29"/>
                  </a:lnTo>
                  <a:lnTo>
                    <a:pt x="145" y="29"/>
                  </a:lnTo>
                  <a:lnTo>
                    <a:pt x="145" y="39"/>
                  </a:lnTo>
                  <a:lnTo>
                    <a:pt x="144" y="44"/>
                  </a:lnTo>
                  <a:lnTo>
                    <a:pt x="144" y="45"/>
                  </a:lnTo>
                  <a:lnTo>
                    <a:pt x="142" y="4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91" name="Freeform 842"/>
            <p:cNvSpPr>
              <a:spLocks/>
            </p:cNvSpPr>
            <p:nvPr/>
          </p:nvSpPr>
          <p:spPr bwMode="auto">
            <a:xfrm>
              <a:off x="7237413" y="4921251"/>
              <a:ext cx="20638" cy="7938"/>
            </a:xfrm>
            <a:custGeom>
              <a:avLst/>
              <a:gdLst>
                <a:gd name="T0" fmla="*/ 10 w 13"/>
                <a:gd name="T1" fmla="*/ 5 h 5"/>
                <a:gd name="T2" fmla="*/ 10 w 13"/>
                <a:gd name="T3" fmla="*/ 5 h 5"/>
                <a:gd name="T4" fmla="*/ 5 w 13"/>
                <a:gd name="T5" fmla="*/ 5 h 5"/>
                <a:gd name="T6" fmla="*/ 2 w 13"/>
                <a:gd name="T7" fmla="*/ 4 h 5"/>
                <a:gd name="T8" fmla="*/ 0 w 13"/>
                <a:gd name="T9" fmla="*/ 3 h 5"/>
                <a:gd name="T10" fmla="*/ 3 w 13"/>
                <a:gd name="T11" fmla="*/ 1 h 5"/>
                <a:gd name="T12" fmla="*/ 3 w 13"/>
                <a:gd name="T13" fmla="*/ 1 h 5"/>
                <a:gd name="T14" fmla="*/ 9 w 13"/>
                <a:gd name="T15" fmla="*/ 0 h 5"/>
                <a:gd name="T16" fmla="*/ 12 w 13"/>
                <a:gd name="T17" fmla="*/ 1 h 5"/>
                <a:gd name="T18" fmla="*/ 13 w 13"/>
                <a:gd name="T19" fmla="*/ 1 h 5"/>
                <a:gd name="T20" fmla="*/ 13 w 13"/>
                <a:gd name="T21" fmla="*/ 1 h 5"/>
                <a:gd name="T22" fmla="*/ 13 w 13"/>
                <a:gd name="T23" fmla="*/ 4 h 5"/>
                <a:gd name="T24" fmla="*/ 12 w 13"/>
                <a:gd name="T25" fmla="*/ 5 h 5"/>
                <a:gd name="T26" fmla="*/ 10 w 1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5">
                  <a:moveTo>
                    <a:pt x="10" y="5"/>
                  </a:moveTo>
                  <a:lnTo>
                    <a:pt x="10" y="5"/>
                  </a:lnTo>
                  <a:lnTo>
                    <a:pt x="5" y="5"/>
                  </a:lnTo>
                  <a:lnTo>
                    <a:pt x="2" y="4"/>
                  </a:lnTo>
                  <a:lnTo>
                    <a:pt x="0" y="3"/>
                  </a:lnTo>
                  <a:lnTo>
                    <a:pt x="3" y="1"/>
                  </a:lnTo>
                  <a:lnTo>
                    <a:pt x="3" y="1"/>
                  </a:lnTo>
                  <a:lnTo>
                    <a:pt x="9" y="0"/>
                  </a:lnTo>
                  <a:lnTo>
                    <a:pt x="12" y="1"/>
                  </a:lnTo>
                  <a:lnTo>
                    <a:pt x="13" y="1"/>
                  </a:lnTo>
                  <a:lnTo>
                    <a:pt x="13" y="1"/>
                  </a:lnTo>
                  <a:lnTo>
                    <a:pt x="13" y="4"/>
                  </a:lnTo>
                  <a:lnTo>
                    <a:pt x="12" y="5"/>
                  </a:lnTo>
                  <a:lnTo>
                    <a:pt x="10" y="5"/>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92" name="Freeform 843"/>
            <p:cNvSpPr>
              <a:spLocks/>
            </p:cNvSpPr>
            <p:nvPr/>
          </p:nvSpPr>
          <p:spPr bwMode="auto">
            <a:xfrm>
              <a:off x="7237413" y="4921251"/>
              <a:ext cx="20638" cy="7938"/>
            </a:xfrm>
            <a:custGeom>
              <a:avLst/>
              <a:gdLst>
                <a:gd name="T0" fmla="*/ 10 w 13"/>
                <a:gd name="T1" fmla="*/ 5 h 5"/>
                <a:gd name="T2" fmla="*/ 10 w 13"/>
                <a:gd name="T3" fmla="*/ 5 h 5"/>
                <a:gd name="T4" fmla="*/ 5 w 13"/>
                <a:gd name="T5" fmla="*/ 5 h 5"/>
                <a:gd name="T6" fmla="*/ 2 w 13"/>
                <a:gd name="T7" fmla="*/ 4 h 5"/>
                <a:gd name="T8" fmla="*/ 0 w 13"/>
                <a:gd name="T9" fmla="*/ 3 h 5"/>
                <a:gd name="T10" fmla="*/ 3 w 13"/>
                <a:gd name="T11" fmla="*/ 1 h 5"/>
                <a:gd name="T12" fmla="*/ 3 w 13"/>
                <a:gd name="T13" fmla="*/ 1 h 5"/>
                <a:gd name="T14" fmla="*/ 9 w 13"/>
                <a:gd name="T15" fmla="*/ 0 h 5"/>
                <a:gd name="T16" fmla="*/ 12 w 13"/>
                <a:gd name="T17" fmla="*/ 1 h 5"/>
                <a:gd name="T18" fmla="*/ 13 w 13"/>
                <a:gd name="T19" fmla="*/ 1 h 5"/>
                <a:gd name="T20" fmla="*/ 13 w 13"/>
                <a:gd name="T21" fmla="*/ 1 h 5"/>
                <a:gd name="T22" fmla="*/ 13 w 13"/>
                <a:gd name="T23" fmla="*/ 4 h 5"/>
                <a:gd name="T24" fmla="*/ 12 w 13"/>
                <a:gd name="T25" fmla="*/ 5 h 5"/>
                <a:gd name="T26" fmla="*/ 10 w 1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5">
                  <a:moveTo>
                    <a:pt x="10" y="5"/>
                  </a:moveTo>
                  <a:lnTo>
                    <a:pt x="10" y="5"/>
                  </a:lnTo>
                  <a:lnTo>
                    <a:pt x="5" y="5"/>
                  </a:lnTo>
                  <a:lnTo>
                    <a:pt x="2" y="4"/>
                  </a:lnTo>
                  <a:lnTo>
                    <a:pt x="0" y="3"/>
                  </a:lnTo>
                  <a:lnTo>
                    <a:pt x="3" y="1"/>
                  </a:lnTo>
                  <a:lnTo>
                    <a:pt x="3" y="1"/>
                  </a:lnTo>
                  <a:lnTo>
                    <a:pt x="9" y="0"/>
                  </a:lnTo>
                  <a:lnTo>
                    <a:pt x="12" y="1"/>
                  </a:lnTo>
                  <a:lnTo>
                    <a:pt x="13" y="1"/>
                  </a:lnTo>
                  <a:lnTo>
                    <a:pt x="13" y="1"/>
                  </a:lnTo>
                  <a:lnTo>
                    <a:pt x="13" y="4"/>
                  </a:lnTo>
                  <a:lnTo>
                    <a:pt x="12" y="5"/>
                  </a:lnTo>
                  <a:lnTo>
                    <a:pt x="10"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93" name="Freeform 844"/>
            <p:cNvSpPr>
              <a:spLocks/>
            </p:cNvSpPr>
            <p:nvPr/>
          </p:nvSpPr>
          <p:spPr bwMode="auto">
            <a:xfrm>
              <a:off x="7272338" y="4927601"/>
              <a:ext cx="14288" cy="14288"/>
            </a:xfrm>
            <a:custGeom>
              <a:avLst/>
              <a:gdLst>
                <a:gd name="T0" fmla="*/ 2 w 9"/>
                <a:gd name="T1" fmla="*/ 9 h 9"/>
                <a:gd name="T2" fmla="*/ 2 w 9"/>
                <a:gd name="T3" fmla="*/ 9 h 9"/>
                <a:gd name="T4" fmla="*/ 0 w 9"/>
                <a:gd name="T5" fmla="*/ 9 h 9"/>
                <a:gd name="T6" fmla="*/ 0 w 9"/>
                <a:gd name="T7" fmla="*/ 7 h 9"/>
                <a:gd name="T8" fmla="*/ 0 w 9"/>
                <a:gd name="T9" fmla="*/ 4 h 9"/>
                <a:gd name="T10" fmla="*/ 3 w 9"/>
                <a:gd name="T11" fmla="*/ 1 h 9"/>
                <a:gd name="T12" fmla="*/ 6 w 9"/>
                <a:gd name="T13" fmla="*/ 0 h 9"/>
                <a:gd name="T14" fmla="*/ 6 w 9"/>
                <a:gd name="T15" fmla="*/ 0 h 9"/>
                <a:gd name="T16" fmla="*/ 7 w 9"/>
                <a:gd name="T17" fmla="*/ 0 h 9"/>
                <a:gd name="T18" fmla="*/ 9 w 9"/>
                <a:gd name="T19" fmla="*/ 1 h 9"/>
                <a:gd name="T20" fmla="*/ 7 w 9"/>
                <a:gd name="T21" fmla="*/ 4 h 9"/>
                <a:gd name="T22" fmla="*/ 6 w 9"/>
                <a:gd name="T23" fmla="*/ 7 h 9"/>
                <a:gd name="T24" fmla="*/ 2 w 9"/>
                <a:gd name="T2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9">
                  <a:moveTo>
                    <a:pt x="2" y="9"/>
                  </a:moveTo>
                  <a:lnTo>
                    <a:pt x="2" y="9"/>
                  </a:lnTo>
                  <a:lnTo>
                    <a:pt x="0" y="9"/>
                  </a:lnTo>
                  <a:lnTo>
                    <a:pt x="0" y="7"/>
                  </a:lnTo>
                  <a:lnTo>
                    <a:pt x="0" y="4"/>
                  </a:lnTo>
                  <a:lnTo>
                    <a:pt x="3" y="1"/>
                  </a:lnTo>
                  <a:lnTo>
                    <a:pt x="6" y="0"/>
                  </a:lnTo>
                  <a:lnTo>
                    <a:pt x="6" y="0"/>
                  </a:lnTo>
                  <a:lnTo>
                    <a:pt x="7" y="0"/>
                  </a:lnTo>
                  <a:lnTo>
                    <a:pt x="9" y="1"/>
                  </a:lnTo>
                  <a:lnTo>
                    <a:pt x="7" y="4"/>
                  </a:lnTo>
                  <a:lnTo>
                    <a:pt x="6" y="7"/>
                  </a:lnTo>
                  <a:lnTo>
                    <a:pt x="2" y="9"/>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94" name="Freeform 845"/>
            <p:cNvSpPr>
              <a:spLocks/>
            </p:cNvSpPr>
            <p:nvPr/>
          </p:nvSpPr>
          <p:spPr bwMode="auto">
            <a:xfrm>
              <a:off x="7272338" y="4927601"/>
              <a:ext cx="14288" cy="14288"/>
            </a:xfrm>
            <a:custGeom>
              <a:avLst/>
              <a:gdLst>
                <a:gd name="T0" fmla="*/ 2 w 9"/>
                <a:gd name="T1" fmla="*/ 9 h 9"/>
                <a:gd name="T2" fmla="*/ 2 w 9"/>
                <a:gd name="T3" fmla="*/ 9 h 9"/>
                <a:gd name="T4" fmla="*/ 0 w 9"/>
                <a:gd name="T5" fmla="*/ 9 h 9"/>
                <a:gd name="T6" fmla="*/ 0 w 9"/>
                <a:gd name="T7" fmla="*/ 7 h 9"/>
                <a:gd name="T8" fmla="*/ 0 w 9"/>
                <a:gd name="T9" fmla="*/ 4 h 9"/>
                <a:gd name="T10" fmla="*/ 3 w 9"/>
                <a:gd name="T11" fmla="*/ 1 h 9"/>
                <a:gd name="T12" fmla="*/ 6 w 9"/>
                <a:gd name="T13" fmla="*/ 0 h 9"/>
                <a:gd name="T14" fmla="*/ 6 w 9"/>
                <a:gd name="T15" fmla="*/ 0 h 9"/>
                <a:gd name="T16" fmla="*/ 7 w 9"/>
                <a:gd name="T17" fmla="*/ 0 h 9"/>
                <a:gd name="T18" fmla="*/ 9 w 9"/>
                <a:gd name="T19" fmla="*/ 1 h 9"/>
                <a:gd name="T20" fmla="*/ 7 w 9"/>
                <a:gd name="T21" fmla="*/ 4 h 9"/>
                <a:gd name="T22" fmla="*/ 6 w 9"/>
                <a:gd name="T23" fmla="*/ 7 h 9"/>
                <a:gd name="T24" fmla="*/ 2 w 9"/>
                <a:gd name="T2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9">
                  <a:moveTo>
                    <a:pt x="2" y="9"/>
                  </a:moveTo>
                  <a:lnTo>
                    <a:pt x="2" y="9"/>
                  </a:lnTo>
                  <a:lnTo>
                    <a:pt x="0" y="9"/>
                  </a:lnTo>
                  <a:lnTo>
                    <a:pt x="0" y="7"/>
                  </a:lnTo>
                  <a:lnTo>
                    <a:pt x="0" y="4"/>
                  </a:lnTo>
                  <a:lnTo>
                    <a:pt x="3" y="1"/>
                  </a:lnTo>
                  <a:lnTo>
                    <a:pt x="6" y="0"/>
                  </a:lnTo>
                  <a:lnTo>
                    <a:pt x="6" y="0"/>
                  </a:lnTo>
                  <a:lnTo>
                    <a:pt x="7" y="0"/>
                  </a:lnTo>
                  <a:lnTo>
                    <a:pt x="9" y="1"/>
                  </a:lnTo>
                  <a:lnTo>
                    <a:pt x="7" y="4"/>
                  </a:lnTo>
                  <a:lnTo>
                    <a:pt x="6" y="7"/>
                  </a:lnTo>
                  <a:lnTo>
                    <a:pt x="2" y="9"/>
                  </a:lnTo>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95" name="Freeform 846"/>
            <p:cNvSpPr>
              <a:spLocks/>
            </p:cNvSpPr>
            <p:nvPr/>
          </p:nvSpPr>
          <p:spPr bwMode="auto">
            <a:xfrm>
              <a:off x="7296150" y="4929189"/>
              <a:ext cx="22225" cy="12700"/>
            </a:xfrm>
            <a:custGeom>
              <a:avLst/>
              <a:gdLst>
                <a:gd name="T0" fmla="*/ 11 w 14"/>
                <a:gd name="T1" fmla="*/ 8 h 8"/>
                <a:gd name="T2" fmla="*/ 11 w 14"/>
                <a:gd name="T3" fmla="*/ 8 h 8"/>
                <a:gd name="T4" fmla="*/ 4 w 14"/>
                <a:gd name="T5" fmla="*/ 6 h 8"/>
                <a:gd name="T6" fmla="*/ 0 w 14"/>
                <a:gd name="T7" fmla="*/ 6 h 8"/>
                <a:gd name="T8" fmla="*/ 0 w 14"/>
                <a:gd name="T9" fmla="*/ 5 h 8"/>
                <a:gd name="T10" fmla="*/ 1 w 14"/>
                <a:gd name="T11" fmla="*/ 5 h 8"/>
                <a:gd name="T12" fmla="*/ 1 w 14"/>
                <a:gd name="T13" fmla="*/ 5 h 8"/>
                <a:gd name="T14" fmla="*/ 4 w 14"/>
                <a:gd name="T15" fmla="*/ 0 h 8"/>
                <a:gd name="T16" fmla="*/ 7 w 14"/>
                <a:gd name="T17" fmla="*/ 0 h 8"/>
                <a:gd name="T18" fmla="*/ 10 w 14"/>
                <a:gd name="T19" fmla="*/ 0 h 8"/>
                <a:gd name="T20" fmla="*/ 10 w 14"/>
                <a:gd name="T21" fmla="*/ 0 h 8"/>
                <a:gd name="T22" fmla="*/ 13 w 14"/>
                <a:gd name="T23" fmla="*/ 2 h 8"/>
                <a:gd name="T24" fmla="*/ 14 w 14"/>
                <a:gd name="T25" fmla="*/ 5 h 8"/>
                <a:gd name="T26" fmla="*/ 14 w 14"/>
                <a:gd name="T27" fmla="*/ 6 h 8"/>
                <a:gd name="T28" fmla="*/ 11 w 14"/>
                <a:gd name="T2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8">
                  <a:moveTo>
                    <a:pt x="11" y="8"/>
                  </a:moveTo>
                  <a:lnTo>
                    <a:pt x="11" y="8"/>
                  </a:lnTo>
                  <a:lnTo>
                    <a:pt x="4" y="6"/>
                  </a:lnTo>
                  <a:lnTo>
                    <a:pt x="0" y="6"/>
                  </a:lnTo>
                  <a:lnTo>
                    <a:pt x="0" y="5"/>
                  </a:lnTo>
                  <a:lnTo>
                    <a:pt x="1" y="5"/>
                  </a:lnTo>
                  <a:lnTo>
                    <a:pt x="1" y="5"/>
                  </a:lnTo>
                  <a:lnTo>
                    <a:pt x="4" y="0"/>
                  </a:lnTo>
                  <a:lnTo>
                    <a:pt x="7" y="0"/>
                  </a:lnTo>
                  <a:lnTo>
                    <a:pt x="10" y="0"/>
                  </a:lnTo>
                  <a:lnTo>
                    <a:pt x="10" y="0"/>
                  </a:lnTo>
                  <a:lnTo>
                    <a:pt x="13" y="2"/>
                  </a:lnTo>
                  <a:lnTo>
                    <a:pt x="14" y="5"/>
                  </a:lnTo>
                  <a:lnTo>
                    <a:pt x="14" y="6"/>
                  </a:lnTo>
                  <a:lnTo>
                    <a:pt x="11" y="8"/>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96" name="Freeform 847"/>
            <p:cNvSpPr>
              <a:spLocks/>
            </p:cNvSpPr>
            <p:nvPr/>
          </p:nvSpPr>
          <p:spPr bwMode="auto">
            <a:xfrm>
              <a:off x="7296150" y="4929189"/>
              <a:ext cx="22225" cy="12700"/>
            </a:xfrm>
            <a:custGeom>
              <a:avLst/>
              <a:gdLst>
                <a:gd name="T0" fmla="*/ 11 w 14"/>
                <a:gd name="T1" fmla="*/ 8 h 8"/>
                <a:gd name="T2" fmla="*/ 11 w 14"/>
                <a:gd name="T3" fmla="*/ 8 h 8"/>
                <a:gd name="T4" fmla="*/ 4 w 14"/>
                <a:gd name="T5" fmla="*/ 6 h 8"/>
                <a:gd name="T6" fmla="*/ 0 w 14"/>
                <a:gd name="T7" fmla="*/ 6 h 8"/>
                <a:gd name="T8" fmla="*/ 0 w 14"/>
                <a:gd name="T9" fmla="*/ 5 h 8"/>
                <a:gd name="T10" fmla="*/ 1 w 14"/>
                <a:gd name="T11" fmla="*/ 5 h 8"/>
                <a:gd name="T12" fmla="*/ 1 w 14"/>
                <a:gd name="T13" fmla="*/ 5 h 8"/>
                <a:gd name="T14" fmla="*/ 4 w 14"/>
                <a:gd name="T15" fmla="*/ 0 h 8"/>
                <a:gd name="T16" fmla="*/ 7 w 14"/>
                <a:gd name="T17" fmla="*/ 0 h 8"/>
                <a:gd name="T18" fmla="*/ 10 w 14"/>
                <a:gd name="T19" fmla="*/ 0 h 8"/>
                <a:gd name="T20" fmla="*/ 10 w 14"/>
                <a:gd name="T21" fmla="*/ 0 h 8"/>
                <a:gd name="T22" fmla="*/ 13 w 14"/>
                <a:gd name="T23" fmla="*/ 2 h 8"/>
                <a:gd name="T24" fmla="*/ 14 w 14"/>
                <a:gd name="T25" fmla="*/ 5 h 8"/>
                <a:gd name="T26" fmla="*/ 14 w 14"/>
                <a:gd name="T27" fmla="*/ 6 h 8"/>
                <a:gd name="T28" fmla="*/ 11 w 14"/>
                <a:gd name="T2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8">
                  <a:moveTo>
                    <a:pt x="11" y="8"/>
                  </a:moveTo>
                  <a:lnTo>
                    <a:pt x="11" y="8"/>
                  </a:lnTo>
                  <a:lnTo>
                    <a:pt x="4" y="6"/>
                  </a:lnTo>
                  <a:lnTo>
                    <a:pt x="0" y="6"/>
                  </a:lnTo>
                  <a:lnTo>
                    <a:pt x="0" y="5"/>
                  </a:lnTo>
                  <a:lnTo>
                    <a:pt x="1" y="5"/>
                  </a:lnTo>
                  <a:lnTo>
                    <a:pt x="1" y="5"/>
                  </a:lnTo>
                  <a:lnTo>
                    <a:pt x="4" y="0"/>
                  </a:lnTo>
                  <a:lnTo>
                    <a:pt x="7" y="0"/>
                  </a:lnTo>
                  <a:lnTo>
                    <a:pt x="10" y="0"/>
                  </a:lnTo>
                  <a:lnTo>
                    <a:pt x="10" y="0"/>
                  </a:lnTo>
                  <a:lnTo>
                    <a:pt x="13" y="2"/>
                  </a:lnTo>
                  <a:lnTo>
                    <a:pt x="14" y="5"/>
                  </a:lnTo>
                  <a:lnTo>
                    <a:pt x="14" y="6"/>
                  </a:lnTo>
                  <a:lnTo>
                    <a:pt x="11"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97" name="Freeform 848"/>
            <p:cNvSpPr>
              <a:spLocks/>
            </p:cNvSpPr>
            <p:nvPr/>
          </p:nvSpPr>
          <p:spPr bwMode="auto">
            <a:xfrm>
              <a:off x="7318375" y="4922839"/>
              <a:ext cx="31750" cy="15875"/>
            </a:xfrm>
            <a:custGeom>
              <a:avLst/>
              <a:gdLst>
                <a:gd name="T0" fmla="*/ 13 w 20"/>
                <a:gd name="T1" fmla="*/ 10 h 10"/>
                <a:gd name="T2" fmla="*/ 13 w 20"/>
                <a:gd name="T3" fmla="*/ 10 h 10"/>
                <a:gd name="T4" fmla="*/ 9 w 20"/>
                <a:gd name="T5" fmla="*/ 9 h 10"/>
                <a:gd name="T6" fmla="*/ 3 w 20"/>
                <a:gd name="T7" fmla="*/ 4 h 10"/>
                <a:gd name="T8" fmla="*/ 0 w 20"/>
                <a:gd name="T9" fmla="*/ 2 h 10"/>
                <a:gd name="T10" fmla="*/ 1 w 20"/>
                <a:gd name="T11" fmla="*/ 0 h 10"/>
                <a:gd name="T12" fmla="*/ 4 w 20"/>
                <a:gd name="T13" fmla="*/ 0 h 10"/>
                <a:gd name="T14" fmla="*/ 4 w 20"/>
                <a:gd name="T15" fmla="*/ 0 h 10"/>
                <a:gd name="T16" fmla="*/ 17 w 20"/>
                <a:gd name="T17" fmla="*/ 3 h 10"/>
                <a:gd name="T18" fmla="*/ 20 w 20"/>
                <a:gd name="T19" fmla="*/ 3 h 10"/>
                <a:gd name="T20" fmla="*/ 20 w 20"/>
                <a:gd name="T21" fmla="*/ 6 h 10"/>
                <a:gd name="T22" fmla="*/ 20 w 20"/>
                <a:gd name="T23" fmla="*/ 6 h 10"/>
                <a:gd name="T24" fmla="*/ 16 w 20"/>
                <a:gd name="T25" fmla="*/ 9 h 10"/>
                <a:gd name="T26" fmla="*/ 13 w 20"/>
                <a:gd name="T2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0">
                  <a:moveTo>
                    <a:pt x="13" y="10"/>
                  </a:moveTo>
                  <a:lnTo>
                    <a:pt x="13" y="10"/>
                  </a:lnTo>
                  <a:lnTo>
                    <a:pt x="9" y="9"/>
                  </a:lnTo>
                  <a:lnTo>
                    <a:pt x="3" y="4"/>
                  </a:lnTo>
                  <a:lnTo>
                    <a:pt x="0" y="2"/>
                  </a:lnTo>
                  <a:lnTo>
                    <a:pt x="1" y="0"/>
                  </a:lnTo>
                  <a:lnTo>
                    <a:pt x="4" y="0"/>
                  </a:lnTo>
                  <a:lnTo>
                    <a:pt x="4" y="0"/>
                  </a:lnTo>
                  <a:lnTo>
                    <a:pt x="17" y="3"/>
                  </a:lnTo>
                  <a:lnTo>
                    <a:pt x="20" y="3"/>
                  </a:lnTo>
                  <a:lnTo>
                    <a:pt x="20" y="6"/>
                  </a:lnTo>
                  <a:lnTo>
                    <a:pt x="20" y="6"/>
                  </a:lnTo>
                  <a:lnTo>
                    <a:pt x="16" y="9"/>
                  </a:lnTo>
                  <a:lnTo>
                    <a:pt x="13" y="10"/>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98" name="Freeform 849"/>
            <p:cNvSpPr>
              <a:spLocks/>
            </p:cNvSpPr>
            <p:nvPr/>
          </p:nvSpPr>
          <p:spPr bwMode="auto">
            <a:xfrm>
              <a:off x="7318375" y="4922839"/>
              <a:ext cx="31750" cy="15875"/>
            </a:xfrm>
            <a:custGeom>
              <a:avLst/>
              <a:gdLst>
                <a:gd name="T0" fmla="*/ 13 w 20"/>
                <a:gd name="T1" fmla="*/ 10 h 10"/>
                <a:gd name="T2" fmla="*/ 13 w 20"/>
                <a:gd name="T3" fmla="*/ 10 h 10"/>
                <a:gd name="T4" fmla="*/ 9 w 20"/>
                <a:gd name="T5" fmla="*/ 9 h 10"/>
                <a:gd name="T6" fmla="*/ 3 w 20"/>
                <a:gd name="T7" fmla="*/ 4 h 10"/>
                <a:gd name="T8" fmla="*/ 0 w 20"/>
                <a:gd name="T9" fmla="*/ 2 h 10"/>
                <a:gd name="T10" fmla="*/ 1 w 20"/>
                <a:gd name="T11" fmla="*/ 0 h 10"/>
                <a:gd name="T12" fmla="*/ 4 w 20"/>
                <a:gd name="T13" fmla="*/ 0 h 10"/>
                <a:gd name="T14" fmla="*/ 4 w 20"/>
                <a:gd name="T15" fmla="*/ 0 h 10"/>
                <a:gd name="T16" fmla="*/ 17 w 20"/>
                <a:gd name="T17" fmla="*/ 3 h 10"/>
                <a:gd name="T18" fmla="*/ 20 w 20"/>
                <a:gd name="T19" fmla="*/ 3 h 10"/>
                <a:gd name="T20" fmla="*/ 20 w 20"/>
                <a:gd name="T21" fmla="*/ 6 h 10"/>
                <a:gd name="T22" fmla="*/ 20 w 20"/>
                <a:gd name="T23" fmla="*/ 6 h 10"/>
                <a:gd name="T24" fmla="*/ 16 w 20"/>
                <a:gd name="T25" fmla="*/ 9 h 10"/>
                <a:gd name="T26" fmla="*/ 13 w 20"/>
                <a:gd name="T2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0">
                  <a:moveTo>
                    <a:pt x="13" y="10"/>
                  </a:moveTo>
                  <a:lnTo>
                    <a:pt x="13" y="10"/>
                  </a:lnTo>
                  <a:lnTo>
                    <a:pt x="9" y="9"/>
                  </a:lnTo>
                  <a:lnTo>
                    <a:pt x="3" y="4"/>
                  </a:lnTo>
                  <a:lnTo>
                    <a:pt x="0" y="2"/>
                  </a:lnTo>
                  <a:lnTo>
                    <a:pt x="1" y="0"/>
                  </a:lnTo>
                  <a:lnTo>
                    <a:pt x="4" y="0"/>
                  </a:lnTo>
                  <a:lnTo>
                    <a:pt x="4" y="0"/>
                  </a:lnTo>
                  <a:lnTo>
                    <a:pt x="17" y="3"/>
                  </a:lnTo>
                  <a:lnTo>
                    <a:pt x="20" y="3"/>
                  </a:lnTo>
                  <a:lnTo>
                    <a:pt x="20" y="6"/>
                  </a:lnTo>
                  <a:lnTo>
                    <a:pt x="20" y="6"/>
                  </a:lnTo>
                  <a:lnTo>
                    <a:pt x="16" y="9"/>
                  </a:lnTo>
                  <a:lnTo>
                    <a:pt x="13" y="10"/>
                  </a:lnTo>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599" name="Freeform 850"/>
            <p:cNvSpPr>
              <a:spLocks/>
            </p:cNvSpPr>
            <p:nvPr/>
          </p:nvSpPr>
          <p:spPr bwMode="auto">
            <a:xfrm>
              <a:off x="7354888" y="4949826"/>
              <a:ext cx="41275" cy="28575"/>
            </a:xfrm>
            <a:custGeom>
              <a:avLst/>
              <a:gdLst>
                <a:gd name="T0" fmla="*/ 22 w 26"/>
                <a:gd name="T1" fmla="*/ 18 h 18"/>
                <a:gd name="T2" fmla="*/ 22 w 26"/>
                <a:gd name="T3" fmla="*/ 18 h 18"/>
                <a:gd name="T4" fmla="*/ 16 w 26"/>
                <a:gd name="T5" fmla="*/ 15 h 18"/>
                <a:gd name="T6" fmla="*/ 12 w 26"/>
                <a:gd name="T7" fmla="*/ 12 h 18"/>
                <a:gd name="T8" fmla="*/ 7 w 26"/>
                <a:gd name="T9" fmla="*/ 8 h 18"/>
                <a:gd name="T10" fmla="*/ 3 w 26"/>
                <a:gd name="T11" fmla="*/ 5 h 18"/>
                <a:gd name="T12" fmla="*/ 3 w 26"/>
                <a:gd name="T13" fmla="*/ 5 h 18"/>
                <a:gd name="T14" fmla="*/ 0 w 26"/>
                <a:gd name="T15" fmla="*/ 3 h 18"/>
                <a:gd name="T16" fmla="*/ 0 w 26"/>
                <a:gd name="T17" fmla="*/ 0 h 18"/>
                <a:gd name="T18" fmla="*/ 3 w 26"/>
                <a:gd name="T19" fmla="*/ 0 h 18"/>
                <a:gd name="T20" fmla="*/ 9 w 26"/>
                <a:gd name="T21" fmla="*/ 0 h 18"/>
                <a:gd name="T22" fmla="*/ 9 w 26"/>
                <a:gd name="T23" fmla="*/ 0 h 18"/>
                <a:gd name="T24" fmla="*/ 13 w 26"/>
                <a:gd name="T25" fmla="*/ 3 h 18"/>
                <a:gd name="T26" fmla="*/ 20 w 26"/>
                <a:gd name="T27" fmla="*/ 8 h 18"/>
                <a:gd name="T28" fmla="*/ 26 w 26"/>
                <a:gd name="T29" fmla="*/ 14 h 18"/>
                <a:gd name="T30" fmla="*/ 26 w 26"/>
                <a:gd name="T31" fmla="*/ 14 h 18"/>
                <a:gd name="T32" fmla="*/ 26 w 26"/>
                <a:gd name="T33" fmla="*/ 16 h 18"/>
                <a:gd name="T34" fmla="*/ 25 w 26"/>
                <a:gd name="T35" fmla="*/ 18 h 18"/>
                <a:gd name="T36" fmla="*/ 22 w 26"/>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18">
                  <a:moveTo>
                    <a:pt x="22" y="18"/>
                  </a:moveTo>
                  <a:lnTo>
                    <a:pt x="22" y="18"/>
                  </a:lnTo>
                  <a:lnTo>
                    <a:pt x="16" y="15"/>
                  </a:lnTo>
                  <a:lnTo>
                    <a:pt x="12" y="12"/>
                  </a:lnTo>
                  <a:lnTo>
                    <a:pt x="7" y="8"/>
                  </a:lnTo>
                  <a:lnTo>
                    <a:pt x="3" y="5"/>
                  </a:lnTo>
                  <a:lnTo>
                    <a:pt x="3" y="5"/>
                  </a:lnTo>
                  <a:lnTo>
                    <a:pt x="0" y="3"/>
                  </a:lnTo>
                  <a:lnTo>
                    <a:pt x="0" y="0"/>
                  </a:lnTo>
                  <a:lnTo>
                    <a:pt x="3" y="0"/>
                  </a:lnTo>
                  <a:lnTo>
                    <a:pt x="9" y="0"/>
                  </a:lnTo>
                  <a:lnTo>
                    <a:pt x="9" y="0"/>
                  </a:lnTo>
                  <a:lnTo>
                    <a:pt x="13" y="3"/>
                  </a:lnTo>
                  <a:lnTo>
                    <a:pt x="20" y="8"/>
                  </a:lnTo>
                  <a:lnTo>
                    <a:pt x="26" y="14"/>
                  </a:lnTo>
                  <a:lnTo>
                    <a:pt x="26" y="14"/>
                  </a:lnTo>
                  <a:lnTo>
                    <a:pt x="26" y="16"/>
                  </a:lnTo>
                  <a:lnTo>
                    <a:pt x="25" y="18"/>
                  </a:lnTo>
                  <a:lnTo>
                    <a:pt x="22" y="18"/>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00" name="Freeform 851"/>
            <p:cNvSpPr>
              <a:spLocks/>
            </p:cNvSpPr>
            <p:nvPr/>
          </p:nvSpPr>
          <p:spPr bwMode="auto">
            <a:xfrm>
              <a:off x="7354888" y="4949826"/>
              <a:ext cx="41275" cy="28575"/>
            </a:xfrm>
            <a:custGeom>
              <a:avLst/>
              <a:gdLst>
                <a:gd name="T0" fmla="*/ 22 w 26"/>
                <a:gd name="T1" fmla="*/ 18 h 18"/>
                <a:gd name="T2" fmla="*/ 22 w 26"/>
                <a:gd name="T3" fmla="*/ 18 h 18"/>
                <a:gd name="T4" fmla="*/ 16 w 26"/>
                <a:gd name="T5" fmla="*/ 15 h 18"/>
                <a:gd name="T6" fmla="*/ 12 w 26"/>
                <a:gd name="T7" fmla="*/ 12 h 18"/>
                <a:gd name="T8" fmla="*/ 7 w 26"/>
                <a:gd name="T9" fmla="*/ 8 h 18"/>
                <a:gd name="T10" fmla="*/ 3 w 26"/>
                <a:gd name="T11" fmla="*/ 5 h 18"/>
                <a:gd name="T12" fmla="*/ 3 w 26"/>
                <a:gd name="T13" fmla="*/ 5 h 18"/>
                <a:gd name="T14" fmla="*/ 0 w 26"/>
                <a:gd name="T15" fmla="*/ 3 h 18"/>
                <a:gd name="T16" fmla="*/ 0 w 26"/>
                <a:gd name="T17" fmla="*/ 0 h 18"/>
                <a:gd name="T18" fmla="*/ 3 w 26"/>
                <a:gd name="T19" fmla="*/ 0 h 18"/>
                <a:gd name="T20" fmla="*/ 9 w 26"/>
                <a:gd name="T21" fmla="*/ 0 h 18"/>
                <a:gd name="T22" fmla="*/ 9 w 26"/>
                <a:gd name="T23" fmla="*/ 0 h 18"/>
                <a:gd name="T24" fmla="*/ 13 w 26"/>
                <a:gd name="T25" fmla="*/ 3 h 18"/>
                <a:gd name="T26" fmla="*/ 20 w 26"/>
                <a:gd name="T27" fmla="*/ 8 h 18"/>
                <a:gd name="T28" fmla="*/ 26 w 26"/>
                <a:gd name="T29" fmla="*/ 14 h 18"/>
                <a:gd name="T30" fmla="*/ 26 w 26"/>
                <a:gd name="T31" fmla="*/ 14 h 18"/>
                <a:gd name="T32" fmla="*/ 26 w 26"/>
                <a:gd name="T33" fmla="*/ 16 h 18"/>
                <a:gd name="T34" fmla="*/ 25 w 26"/>
                <a:gd name="T35" fmla="*/ 18 h 18"/>
                <a:gd name="T36" fmla="*/ 22 w 26"/>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18">
                  <a:moveTo>
                    <a:pt x="22" y="18"/>
                  </a:moveTo>
                  <a:lnTo>
                    <a:pt x="22" y="18"/>
                  </a:lnTo>
                  <a:lnTo>
                    <a:pt x="16" y="15"/>
                  </a:lnTo>
                  <a:lnTo>
                    <a:pt x="12" y="12"/>
                  </a:lnTo>
                  <a:lnTo>
                    <a:pt x="7" y="8"/>
                  </a:lnTo>
                  <a:lnTo>
                    <a:pt x="3" y="5"/>
                  </a:lnTo>
                  <a:lnTo>
                    <a:pt x="3" y="5"/>
                  </a:lnTo>
                  <a:lnTo>
                    <a:pt x="0" y="3"/>
                  </a:lnTo>
                  <a:lnTo>
                    <a:pt x="0" y="0"/>
                  </a:lnTo>
                  <a:lnTo>
                    <a:pt x="3" y="0"/>
                  </a:lnTo>
                  <a:lnTo>
                    <a:pt x="9" y="0"/>
                  </a:lnTo>
                  <a:lnTo>
                    <a:pt x="9" y="0"/>
                  </a:lnTo>
                  <a:lnTo>
                    <a:pt x="13" y="3"/>
                  </a:lnTo>
                  <a:lnTo>
                    <a:pt x="20" y="8"/>
                  </a:lnTo>
                  <a:lnTo>
                    <a:pt x="26" y="14"/>
                  </a:lnTo>
                  <a:lnTo>
                    <a:pt x="26" y="14"/>
                  </a:lnTo>
                  <a:lnTo>
                    <a:pt x="26" y="16"/>
                  </a:lnTo>
                  <a:lnTo>
                    <a:pt x="25" y="18"/>
                  </a:lnTo>
                  <a:lnTo>
                    <a:pt x="22"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01" name="Freeform 852"/>
            <p:cNvSpPr>
              <a:spLocks/>
            </p:cNvSpPr>
            <p:nvPr/>
          </p:nvSpPr>
          <p:spPr bwMode="auto">
            <a:xfrm>
              <a:off x="7369175" y="4927601"/>
              <a:ext cx="82550" cy="14288"/>
            </a:xfrm>
            <a:custGeom>
              <a:avLst/>
              <a:gdLst>
                <a:gd name="T0" fmla="*/ 22 w 52"/>
                <a:gd name="T1" fmla="*/ 9 h 9"/>
                <a:gd name="T2" fmla="*/ 22 w 52"/>
                <a:gd name="T3" fmla="*/ 9 h 9"/>
                <a:gd name="T4" fmla="*/ 9 w 52"/>
                <a:gd name="T5" fmla="*/ 7 h 9"/>
                <a:gd name="T6" fmla="*/ 1 w 52"/>
                <a:gd name="T7" fmla="*/ 6 h 9"/>
                <a:gd name="T8" fmla="*/ 0 w 52"/>
                <a:gd name="T9" fmla="*/ 6 h 9"/>
                <a:gd name="T10" fmla="*/ 1 w 52"/>
                <a:gd name="T11" fmla="*/ 4 h 9"/>
                <a:gd name="T12" fmla="*/ 1 w 52"/>
                <a:gd name="T13" fmla="*/ 4 h 9"/>
                <a:gd name="T14" fmla="*/ 6 w 52"/>
                <a:gd name="T15" fmla="*/ 0 h 9"/>
                <a:gd name="T16" fmla="*/ 10 w 52"/>
                <a:gd name="T17" fmla="*/ 0 h 9"/>
                <a:gd name="T18" fmla="*/ 14 w 52"/>
                <a:gd name="T19" fmla="*/ 0 h 9"/>
                <a:gd name="T20" fmla="*/ 14 w 52"/>
                <a:gd name="T21" fmla="*/ 0 h 9"/>
                <a:gd name="T22" fmla="*/ 26 w 52"/>
                <a:gd name="T23" fmla="*/ 3 h 9"/>
                <a:gd name="T24" fmla="*/ 32 w 52"/>
                <a:gd name="T25" fmla="*/ 4 h 9"/>
                <a:gd name="T26" fmla="*/ 38 w 52"/>
                <a:gd name="T27" fmla="*/ 3 h 9"/>
                <a:gd name="T28" fmla="*/ 38 w 52"/>
                <a:gd name="T29" fmla="*/ 3 h 9"/>
                <a:gd name="T30" fmla="*/ 49 w 52"/>
                <a:gd name="T31" fmla="*/ 0 h 9"/>
                <a:gd name="T32" fmla="*/ 52 w 52"/>
                <a:gd name="T33" fmla="*/ 0 h 9"/>
                <a:gd name="T34" fmla="*/ 52 w 52"/>
                <a:gd name="T35" fmla="*/ 1 h 9"/>
                <a:gd name="T36" fmla="*/ 52 w 52"/>
                <a:gd name="T37" fmla="*/ 1 h 9"/>
                <a:gd name="T38" fmla="*/ 52 w 52"/>
                <a:gd name="T39" fmla="*/ 1 h 9"/>
                <a:gd name="T40" fmla="*/ 45 w 52"/>
                <a:gd name="T41" fmla="*/ 6 h 9"/>
                <a:gd name="T42" fmla="*/ 40 w 52"/>
                <a:gd name="T43" fmla="*/ 7 h 9"/>
                <a:gd name="T44" fmla="*/ 40 w 52"/>
                <a:gd name="T45" fmla="*/ 7 h 9"/>
                <a:gd name="T46" fmla="*/ 32 w 52"/>
                <a:gd name="T47" fmla="*/ 9 h 9"/>
                <a:gd name="T48" fmla="*/ 22 w 52"/>
                <a:gd name="T4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9">
                  <a:moveTo>
                    <a:pt x="22" y="9"/>
                  </a:moveTo>
                  <a:lnTo>
                    <a:pt x="22" y="9"/>
                  </a:lnTo>
                  <a:lnTo>
                    <a:pt x="9" y="7"/>
                  </a:lnTo>
                  <a:lnTo>
                    <a:pt x="1" y="6"/>
                  </a:lnTo>
                  <a:lnTo>
                    <a:pt x="0" y="6"/>
                  </a:lnTo>
                  <a:lnTo>
                    <a:pt x="1" y="4"/>
                  </a:lnTo>
                  <a:lnTo>
                    <a:pt x="1" y="4"/>
                  </a:lnTo>
                  <a:lnTo>
                    <a:pt x="6" y="0"/>
                  </a:lnTo>
                  <a:lnTo>
                    <a:pt x="10" y="0"/>
                  </a:lnTo>
                  <a:lnTo>
                    <a:pt x="14" y="0"/>
                  </a:lnTo>
                  <a:lnTo>
                    <a:pt x="14" y="0"/>
                  </a:lnTo>
                  <a:lnTo>
                    <a:pt x="26" y="3"/>
                  </a:lnTo>
                  <a:lnTo>
                    <a:pt x="32" y="4"/>
                  </a:lnTo>
                  <a:lnTo>
                    <a:pt x="38" y="3"/>
                  </a:lnTo>
                  <a:lnTo>
                    <a:pt x="38" y="3"/>
                  </a:lnTo>
                  <a:lnTo>
                    <a:pt x="49" y="0"/>
                  </a:lnTo>
                  <a:lnTo>
                    <a:pt x="52" y="0"/>
                  </a:lnTo>
                  <a:lnTo>
                    <a:pt x="52" y="1"/>
                  </a:lnTo>
                  <a:lnTo>
                    <a:pt x="52" y="1"/>
                  </a:lnTo>
                  <a:lnTo>
                    <a:pt x="52" y="1"/>
                  </a:lnTo>
                  <a:lnTo>
                    <a:pt x="45" y="6"/>
                  </a:lnTo>
                  <a:lnTo>
                    <a:pt x="40" y="7"/>
                  </a:lnTo>
                  <a:lnTo>
                    <a:pt x="40" y="7"/>
                  </a:lnTo>
                  <a:lnTo>
                    <a:pt x="32" y="9"/>
                  </a:lnTo>
                  <a:lnTo>
                    <a:pt x="22" y="9"/>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02" name="Freeform 853"/>
            <p:cNvSpPr>
              <a:spLocks/>
            </p:cNvSpPr>
            <p:nvPr/>
          </p:nvSpPr>
          <p:spPr bwMode="auto">
            <a:xfrm>
              <a:off x="7369175" y="4927601"/>
              <a:ext cx="82550" cy="14288"/>
            </a:xfrm>
            <a:custGeom>
              <a:avLst/>
              <a:gdLst>
                <a:gd name="T0" fmla="*/ 22 w 52"/>
                <a:gd name="T1" fmla="*/ 9 h 9"/>
                <a:gd name="T2" fmla="*/ 22 w 52"/>
                <a:gd name="T3" fmla="*/ 9 h 9"/>
                <a:gd name="T4" fmla="*/ 9 w 52"/>
                <a:gd name="T5" fmla="*/ 7 h 9"/>
                <a:gd name="T6" fmla="*/ 1 w 52"/>
                <a:gd name="T7" fmla="*/ 6 h 9"/>
                <a:gd name="T8" fmla="*/ 0 w 52"/>
                <a:gd name="T9" fmla="*/ 6 h 9"/>
                <a:gd name="T10" fmla="*/ 1 w 52"/>
                <a:gd name="T11" fmla="*/ 4 h 9"/>
                <a:gd name="T12" fmla="*/ 1 w 52"/>
                <a:gd name="T13" fmla="*/ 4 h 9"/>
                <a:gd name="T14" fmla="*/ 6 w 52"/>
                <a:gd name="T15" fmla="*/ 0 h 9"/>
                <a:gd name="T16" fmla="*/ 10 w 52"/>
                <a:gd name="T17" fmla="*/ 0 h 9"/>
                <a:gd name="T18" fmla="*/ 14 w 52"/>
                <a:gd name="T19" fmla="*/ 0 h 9"/>
                <a:gd name="T20" fmla="*/ 14 w 52"/>
                <a:gd name="T21" fmla="*/ 0 h 9"/>
                <a:gd name="T22" fmla="*/ 26 w 52"/>
                <a:gd name="T23" fmla="*/ 3 h 9"/>
                <a:gd name="T24" fmla="*/ 32 w 52"/>
                <a:gd name="T25" fmla="*/ 4 h 9"/>
                <a:gd name="T26" fmla="*/ 38 w 52"/>
                <a:gd name="T27" fmla="*/ 3 h 9"/>
                <a:gd name="T28" fmla="*/ 38 w 52"/>
                <a:gd name="T29" fmla="*/ 3 h 9"/>
                <a:gd name="T30" fmla="*/ 49 w 52"/>
                <a:gd name="T31" fmla="*/ 0 h 9"/>
                <a:gd name="T32" fmla="*/ 52 w 52"/>
                <a:gd name="T33" fmla="*/ 0 h 9"/>
                <a:gd name="T34" fmla="*/ 52 w 52"/>
                <a:gd name="T35" fmla="*/ 1 h 9"/>
                <a:gd name="T36" fmla="*/ 52 w 52"/>
                <a:gd name="T37" fmla="*/ 1 h 9"/>
                <a:gd name="T38" fmla="*/ 52 w 52"/>
                <a:gd name="T39" fmla="*/ 1 h 9"/>
                <a:gd name="T40" fmla="*/ 45 w 52"/>
                <a:gd name="T41" fmla="*/ 6 h 9"/>
                <a:gd name="T42" fmla="*/ 40 w 52"/>
                <a:gd name="T43" fmla="*/ 7 h 9"/>
                <a:gd name="T44" fmla="*/ 40 w 52"/>
                <a:gd name="T45" fmla="*/ 7 h 9"/>
                <a:gd name="T46" fmla="*/ 32 w 52"/>
                <a:gd name="T47" fmla="*/ 9 h 9"/>
                <a:gd name="T48" fmla="*/ 22 w 52"/>
                <a:gd name="T4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9">
                  <a:moveTo>
                    <a:pt x="22" y="9"/>
                  </a:moveTo>
                  <a:lnTo>
                    <a:pt x="22" y="9"/>
                  </a:lnTo>
                  <a:lnTo>
                    <a:pt x="9" y="7"/>
                  </a:lnTo>
                  <a:lnTo>
                    <a:pt x="1" y="6"/>
                  </a:lnTo>
                  <a:lnTo>
                    <a:pt x="0" y="6"/>
                  </a:lnTo>
                  <a:lnTo>
                    <a:pt x="1" y="4"/>
                  </a:lnTo>
                  <a:lnTo>
                    <a:pt x="1" y="4"/>
                  </a:lnTo>
                  <a:lnTo>
                    <a:pt x="6" y="0"/>
                  </a:lnTo>
                  <a:lnTo>
                    <a:pt x="10" y="0"/>
                  </a:lnTo>
                  <a:lnTo>
                    <a:pt x="14" y="0"/>
                  </a:lnTo>
                  <a:lnTo>
                    <a:pt x="14" y="0"/>
                  </a:lnTo>
                  <a:lnTo>
                    <a:pt x="26" y="3"/>
                  </a:lnTo>
                  <a:lnTo>
                    <a:pt x="32" y="4"/>
                  </a:lnTo>
                  <a:lnTo>
                    <a:pt x="38" y="3"/>
                  </a:lnTo>
                  <a:lnTo>
                    <a:pt x="38" y="3"/>
                  </a:lnTo>
                  <a:lnTo>
                    <a:pt x="49" y="0"/>
                  </a:lnTo>
                  <a:lnTo>
                    <a:pt x="52" y="0"/>
                  </a:lnTo>
                  <a:lnTo>
                    <a:pt x="52" y="1"/>
                  </a:lnTo>
                  <a:lnTo>
                    <a:pt x="52" y="1"/>
                  </a:lnTo>
                  <a:lnTo>
                    <a:pt x="52" y="1"/>
                  </a:lnTo>
                  <a:lnTo>
                    <a:pt x="45" y="6"/>
                  </a:lnTo>
                  <a:lnTo>
                    <a:pt x="40" y="7"/>
                  </a:lnTo>
                  <a:lnTo>
                    <a:pt x="40" y="7"/>
                  </a:lnTo>
                  <a:lnTo>
                    <a:pt x="32" y="9"/>
                  </a:lnTo>
                  <a:lnTo>
                    <a:pt x="22"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03" name="Freeform 854"/>
            <p:cNvSpPr>
              <a:spLocks/>
            </p:cNvSpPr>
            <p:nvPr/>
          </p:nvSpPr>
          <p:spPr bwMode="auto">
            <a:xfrm>
              <a:off x="7345363" y="4683126"/>
              <a:ext cx="161925" cy="168275"/>
            </a:xfrm>
            <a:custGeom>
              <a:avLst/>
              <a:gdLst>
                <a:gd name="T0" fmla="*/ 8 w 102"/>
                <a:gd name="T1" fmla="*/ 105 h 106"/>
                <a:gd name="T2" fmla="*/ 11 w 102"/>
                <a:gd name="T3" fmla="*/ 96 h 106"/>
                <a:gd name="T4" fmla="*/ 13 w 102"/>
                <a:gd name="T5" fmla="*/ 82 h 106"/>
                <a:gd name="T6" fmla="*/ 8 w 102"/>
                <a:gd name="T7" fmla="*/ 77 h 106"/>
                <a:gd name="T8" fmla="*/ 0 w 102"/>
                <a:gd name="T9" fmla="*/ 71 h 106"/>
                <a:gd name="T10" fmla="*/ 5 w 102"/>
                <a:gd name="T11" fmla="*/ 58 h 106"/>
                <a:gd name="T12" fmla="*/ 6 w 102"/>
                <a:gd name="T13" fmla="*/ 48 h 106"/>
                <a:gd name="T14" fmla="*/ 8 w 102"/>
                <a:gd name="T15" fmla="*/ 42 h 106"/>
                <a:gd name="T16" fmla="*/ 12 w 102"/>
                <a:gd name="T17" fmla="*/ 34 h 106"/>
                <a:gd name="T18" fmla="*/ 18 w 102"/>
                <a:gd name="T19" fmla="*/ 28 h 106"/>
                <a:gd name="T20" fmla="*/ 26 w 102"/>
                <a:gd name="T21" fmla="*/ 12 h 106"/>
                <a:gd name="T22" fmla="*/ 35 w 102"/>
                <a:gd name="T23" fmla="*/ 6 h 106"/>
                <a:gd name="T24" fmla="*/ 40 w 102"/>
                <a:gd name="T25" fmla="*/ 2 h 106"/>
                <a:gd name="T26" fmla="*/ 58 w 102"/>
                <a:gd name="T27" fmla="*/ 8 h 106"/>
                <a:gd name="T28" fmla="*/ 79 w 102"/>
                <a:gd name="T29" fmla="*/ 11 h 106"/>
                <a:gd name="T30" fmla="*/ 89 w 102"/>
                <a:gd name="T31" fmla="*/ 11 h 106"/>
                <a:gd name="T32" fmla="*/ 100 w 102"/>
                <a:gd name="T33" fmla="*/ 0 h 106"/>
                <a:gd name="T34" fmla="*/ 102 w 102"/>
                <a:gd name="T35" fmla="*/ 3 h 106"/>
                <a:gd name="T36" fmla="*/ 93 w 102"/>
                <a:gd name="T37" fmla="*/ 13 h 106"/>
                <a:gd name="T38" fmla="*/ 79 w 102"/>
                <a:gd name="T39" fmla="*/ 21 h 106"/>
                <a:gd name="T40" fmla="*/ 71 w 102"/>
                <a:gd name="T41" fmla="*/ 19 h 106"/>
                <a:gd name="T42" fmla="*/ 55 w 102"/>
                <a:gd name="T43" fmla="*/ 18 h 106"/>
                <a:gd name="T44" fmla="*/ 38 w 102"/>
                <a:gd name="T45" fmla="*/ 18 h 106"/>
                <a:gd name="T46" fmla="*/ 31 w 102"/>
                <a:gd name="T47" fmla="*/ 18 h 106"/>
                <a:gd name="T48" fmla="*/ 28 w 102"/>
                <a:gd name="T49" fmla="*/ 25 h 106"/>
                <a:gd name="T50" fmla="*/ 24 w 102"/>
                <a:gd name="T51" fmla="*/ 34 h 106"/>
                <a:gd name="T52" fmla="*/ 29 w 102"/>
                <a:gd name="T53" fmla="*/ 42 h 106"/>
                <a:gd name="T54" fmla="*/ 41 w 102"/>
                <a:gd name="T55" fmla="*/ 40 h 106"/>
                <a:gd name="T56" fmla="*/ 45 w 102"/>
                <a:gd name="T57" fmla="*/ 34 h 106"/>
                <a:gd name="T58" fmla="*/ 64 w 102"/>
                <a:gd name="T59" fmla="*/ 29 h 106"/>
                <a:gd name="T60" fmla="*/ 70 w 102"/>
                <a:gd name="T61" fmla="*/ 32 h 106"/>
                <a:gd name="T62" fmla="*/ 61 w 102"/>
                <a:gd name="T63" fmla="*/ 37 h 106"/>
                <a:gd name="T64" fmla="*/ 51 w 102"/>
                <a:gd name="T65" fmla="*/ 47 h 106"/>
                <a:gd name="T66" fmla="*/ 47 w 102"/>
                <a:gd name="T67" fmla="*/ 53 h 106"/>
                <a:gd name="T68" fmla="*/ 54 w 102"/>
                <a:gd name="T69" fmla="*/ 60 h 106"/>
                <a:gd name="T70" fmla="*/ 60 w 102"/>
                <a:gd name="T71" fmla="*/ 64 h 106"/>
                <a:gd name="T72" fmla="*/ 58 w 102"/>
                <a:gd name="T73" fmla="*/ 70 h 106"/>
                <a:gd name="T74" fmla="*/ 55 w 102"/>
                <a:gd name="T75" fmla="*/ 79 h 106"/>
                <a:gd name="T76" fmla="*/ 61 w 102"/>
                <a:gd name="T77" fmla="*/ 87 h 106"/>
                <a:gd name="T78" fmla="*/ 55 w 102"/>
                <a:gd name="T79" fmla="*/ 90 h 106"/>
                <a:gd name="T80" fmla="*/ 51 w 102"/>
                <a:gd name="T81" fmla="*/ 95 h 106"/>
                <a:gd name="T82" fmla="*/ 47 w 102"/>
                <a:gd name="T83" fmla="*/ 96 h 106"/>
                <a:gd name="T84" fmla="*/ 41 w 102"/>
                <a:gd name="T85" fmla="*/ 89 h 106"/>
                <a:gd name="T86" fmla="*/ 40 w 102"/>
                <a:gd name="T87" fmla="*/ 80 h 106"/>
                <a:gd name="T88" fmla="*/ 37 w 102"/>
                <a:gd name="T89" fmla="*/ 74 h 106"/>
                <a:gd name="T90" fmla="*/ 40 w 102"/>
                <a:gd name="T91" fmla="*/ 66 h 106"/>
                <a:gd name="T92" fmla="*/ 40 w 102"/>
                <a:gd name="T93" fmla="*/ 64 h 106"/>
                <a:gd name="T94" fmla="*/ 29 w 102"/>
                <a:gd name="T95" fmla="*/ 66 h 106"/>
                <a:gd name="T96" fmla="*/ 25 w 102"/>
                <a:gd name="T97" fmla="*/ 80 h 106"/>
                <a:gd name="T98" fmla="*/ 25 w 102"/>
                <a:gd name="T99" fmla="*/ 103 h 106"/>
                <a:gd name="T100" fmla="*/ 13 w 102"/>
                <a:gd name="T101"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2" h="106">
                  <a:moveTo>
                    <a:pt x="11" y="105"/>
                  </a:moveTo>
                  <a:lnTo>
                    <a:pt x="11" y="105"/>
                  </a:lnTo>
                  <a:lnTo>
                    <a:pt x="8" y="105"/>
                  </a:lnTo>
                  <a:lnTo>
                    <a:pt x="8" y="103"/>
                  </a:lnTo>
                  <a:lnTo>
                    <a:pt x="11" y="96"/>
                  </a:lnTo>
                  <a:lnTo>
                    <a:pt x="11" y="96"/>
                  </a:lnTo>
                  <a:lnTo>
                    <a:pt x="13" y="92"/>
                  </a:lnTo>
                  <a:lnTo>
                    <a:pt x="15" y="86"/>
                  </a:lnTo>
                  <a:lnTo>
                    <a:pt x="13" y="82"/>
                  </a:lnTo>
                  <a:lnTo>
                    <a:pt x="12" y="79"/>
                  </a:lnTo>
                  <a:lnTo>
                    <a:pt x="12" y="79"/>
                  </a:lnTo>
                  <a:lnTo>
                    <a:pt x="8" y="77"/>
                  </a:lnTo>
                  <a:lnTo>
                    <a:pt x="5" y="77"/>
                  </a:lnTo>
                  <a:lnTo>
                    <a:pt x="2" y="76"/>
                  </a:lnTo>
                  <a:lnTo>
                    <a:pt x="0" y="71"/>
                  </a:lnTo>
                  <a:lnTo>
                    <a:pt x="0" y="71"/>
                  </a:lnTo>
                  <a:lnTo>
                    <a:pt x="2" y="64"/>
                  </a:lnTo>
                  <a:lnTo>
                    <a:pt x="5" y="58"/>
                  </a:lnTo>
                  <a:lnTo>
                    <a:pt x="5" y="58"/>
                  </a:lnTo>
                  <a:lnTo>
                    <a:pt x="6" y="53"/>
                  </a:lnTo>
                  <a:lnTo>
                    <a:pt x="6" y="48"/>
                  </a:lnTo>
                  <a:lnTo>
                    <a:pt x="6" y="45"/>
                  </a:lnTo>
                  <a:lnTo>
                    <a:pt x="8" y="42"/>
                  </a:lnTo>
                  <a:lnTo>
                    <a:pt x="8" y="42"/>
                  </a:lnTo>
                  <a:lnTo>
                    <a:pt x="9" y="40"/>
                  </a:lnTo>
                  <a:lnTo>
                    <a:pt x="11" y="37"/>
                  </a:lnTo>
                  <a:lnTo>
                    <a:pt x="12" y="34"/>
                  </a:lnTo>
                  <a:lnTo>
                    <a:pt x="15" y="32"/>
                  </a:lnTo>
                  <a:lnTo>
                    <a:pt x="15" y="32"/>
                  </a:lnTo>
                  <a:lnTo>
                    <a:pt x="18" y="28"/>
                  </a:lnTo>
                  <a:lnTo>
                    <a:pt x="21" y="22"/>
                  </a:lnTo>
                  <a:lnTo>
                    <a:pt x="24" y="16"/>
                  </a:lnTo>
                  <a:lnTo>
                    <a:pt x="26" y="12"/>
                  </a:lnTo>
                  <a:lnTo>
                    <a:pt x="26" y="12"/>
                  </a:lnTo>
                  <a:lnTo>
                    <a:pt x="32" y="9"/>
                  </a:lnTo>
                  <a:lnTo>
                    <a:pt x="35" y="6"/>
                  </a:lnTo>
                  <a:lnTo>
                    <a:pt x="35" y="6"/>
                  </a:lnTo>
                  <a:lnTo>
                    <a:pt x="38" y="3"/>
                  </a:lnTo>
                  <a:lnTo>
                    <a:pt x="40" y="2"/>
                  </a:lnTo>
                  <a:lnTo>
                    <a:pt x="47" y="5"/>
                  </a:lnTo>
                  <a:lnTo>
                    <a:pt x="47" y="5"/>
                  </a:lnTo>
                  <a:lnTo>
                    <a:pt x="58" y="8"/>
                  </a:lnTo>
                  <a:lnTo>
                    <a:pt x="68" y="9"/>
                  </a:lnTo>
                  <a:lnTo>
                    <a:pt x="68" y="9"/>
                  </a:lnTo>
                  <a:lnTo>
                    <a:pt x="79" y="11"/>
                  </a:lnTo>
                  <a:lnTo>
                    <a:pt x="84" y="11"/>
                  </a:lnTo>
                  <a:lnTo>
                    <a:pt x="89" y="11"/>
                  </a:lnTo>
                  <a:lnTo>
                    <a:pt x="89" y="11"/>
                  </a:lnTo>
                  <a:lnTo>
                    <a:pt x="95" y="3"/>
                  </a:lnTo>
                  <a:lnTo>
                    <a:pt x="97" y="0"/>
                  </a:lnTo>
                  <a:lnTo>
                    <a:pt x="100" y="0"/>
                  </a:lnTo>
                  <a:lnTo>
                    <a:pt x="100" y="0"/>
                  </a:lnTo>
                  <a:lnTo>
                    <a:pt x="102" y="0"/>
                  </a:lnTo>
                  <a:lnTo>
                    <a:pt x="102" y="3"/>
                  </a:lnTo>
                  <a:lnTo>
                    <a:pt x="99" y="8"/>
                  </a:lnTo>
                  <a:lnTo>
                    <a:pt x="99" y="8"/>
                  </a:lnTo>
                  <a:lnTo>
                    <a:pt x="93" y="13"/>
                  </a:lnTo>
                  <a:lnTo>
                    <a:pt x="84" y="18"/>
                  </a:lnTo>
                  <a:lnTo>
                    <a:pt x="84" y="18"/>
                  </a:lnTo>
                  <a:lnTo>
                    <a:pt x="79" y="21"/>
                  </a:lnTo>
                  <a:lnTo>
                    <a:pt x="76" y="21"/>
                  </a:lnTo>
                  <a:lnTo>
                    <a:pt x="71" y="19"/>
                  </a:lnTo>
                  <a:lnTo>
                    <a:pt x="71" y="19"/>
                  </a:lnTo>
                  <a:lnTo>
                    <a:pt x="63" y="18"/>
                  </a:lnTo>
                  <a:lnTo>
                    <a:pt x="58" y="18"/>
                  </a:lnTo>
                  <a:lnTo>
                    <a:pt x="55" y="18"/>
                  </a:lnTo>
                  <a:lnTo>
                    <a:pt x="55" y="18"/>
                  </a:lnTo>
                  <a:lnTo>
                    <a:pt x="48" y="19"/>
                  </a:lnTo>
                  <a:lnTo>
                    <a:pt x="38" y="18"/>
                  </a:lnTo>
                  <a:lnTo>
                    <a:pt x="38" y="18"/>
                  </a:lnTo>
                  <a:lnTo>
                    <a:pt x="32" y="18"/>
                  </a:lnTo>
                  <a:lnTo>
                    <a:pt x="31" y="18"/>
                  </a:lnTo>
                  <a:lnTo>
                    <a:pt x="29" y="21"/>
                  </a:lnTo>
                  <a:lnTo>
                    <a:pt x="29" y="21"/>
                  </a:lnTo>
                  <a:lnTo>
                    <a:pt x="28" y="25"/>
                  </a:lnTo>
                  <a:lnTo>
                    <a:pt x="24" y="31"/>
                  </a:lnTo>
                  <a:lnTo>
                    <a:pt x="24" y="31"/>
                  </a:lnTo>
                  <a:lnTo>
                    <a:pt x="24" y="34"/>
                  </a:lnTo>
                  <a:lnTo>
                    <a:pt x="24" y="38"/>
                  </a:lnTo>
                  <a:lnTo>
                    <a:pt x="25" y="41"/>
                  </a:lnTo>
                  <a:lnTo>
                    <a:pt x="29" y="42"/>
                  </a:lnTo>
                  <a:lnTo>
                    <a:pt x="29" y="42"/>
                  </a:lnTo>
                  <a:lnTo>
                    <a:pt x="37" y="42"/>
                  </a:lnTo>
                  <a:lnTo>
                    <a:pt x="41" y="40"/>
                  </a:lnTo>
                  <a:lnTo>
                    <a:pt x="42" y="38"/>
                  </a:lnTo>
                  <a:lnTo>
                    <a:pt x="42" y="38"/>
                  </a:lnTo>
                  <a:lnTo>
                    <a:pt x="45" y="34"/>
                  </a:lnTo>
                  <a:lnTo>
                    <a:pt x="51" y="32"/>
                  </a:lnTo>
                  <a:lnTo>
                    <a:pt x="64" y="29"/>
                  </a:lnTo>
                  <a:lnTo>
                    <a:pt x="64" y="29"/>
                  </a:lnTo>
                  <a:lnTo>
                    <a:pt x="68" y="29"/>
                  </a:lnTo>
                  <a:lnTo>
                    <a:pt x="70" y="31"/>
                  </a:lnTo>
                  <a:lnTo>
                    <a:pt x="70" y="32"/>
                  </a:lnTo>
                  <a:lnTo>
                    <a:pt x="67" y="34"/>
                  </a:lnTo>
                  <a:lnTo>
                    <a:pt x="67" y="34"/>
                  </a:lnTo>
                  <a:lnTo>
                    <a:pt x="61" y="37"/>
                  </a:lnTo>
                  <a:lnTo>
                    <a:pt x="55" y="40"/>
                  </a:lnTo>
                  <a:lnTo>
                    <a:pt x="55" y="40"/>
                  </a:lnTo>
                  <a:lnTo>
                    <a:pt x="51" y="47"/>
                  </a:lnTo>
                  <a:lnTo>
                    <a:pt x="48" y="50"/>
                  </a:lnTo>
                  <a:lnTo>
                    <a:pt x="47" y="53"/>
                  </a:lnTo>
                  <a:lnTo>
                    <a:pt x="47" y="53"/>
                  </a:lnTo>
                  <a:lnTo>
                    <a:pt x="48" y="57"/>
                  </a:lnTo>
                  <a:lnTo>
                    <a:pt x="50" y="60"/>
                  </a:lnTo>
                  <a:lnTo>
                    <a:pt x="54" y="60"/>
                  </a:lnTo>
                  <a:lnTo>
                    <a:pt x="54" y="60"/>
                  </a:lnTo>
                  <a:lnTo>
                    <a:pt x="58" y="61"/>
                  </a:lnTo>
                  <a:lnTo>
                    <a:pt x="60" y="64"/>
                  </a:lnTo>
                  <a:lnTo>
                    <a:pt x="60" y="67"/>
                  </a:lnTo>
                  <a:lnTo>
                    <a:pt x="58" y="70"/>
                  </a:lnTo>
                  <a:lnTo>
                    <a:pt x="58" y="70"/>
                  </a:lnTo>
                  <a:lnTo>
                    <a:pt x="54" y="73"/>
                  </a:lnTo>
                  <a:lnTo>
                    <a:pt x="54" y="76"/>
                  </a:lnTo>
                  <a:lnTo>
                    <a:pt x="55" y="79"/>
                  </a:lnTo>
                  <a:lnTo>
                    <a:pt x="55" y="79"/>
                  </a:lnTo>
                  <a:lnTo>
                    <a:pt x="60" y="84"/>
                  </a:lnTo>
                  <a:lnTo>
                    <a:pt x="61" y="87"/>
                  </a:lnTo>
                  <a:lnTo>
                    <a:pt x="60" y="89"/>
                  </a:lnTo>
                  <a:lnTo>
                    <a:pt x="60" y="89"/>
                  </a:lnTo>
                  <a:lnTo>
                    <a:pt x="55" y="90"/>
                  </a:lnTo>
                  <a:lnTo>
                    <a:pt x="53" y="92"/>
                  </a:lnTo>
                  <a:lnTo>
                    <a:pt x="53" y="92"/>
                  </a:lnTo>
                  <a:lnTo>
                    <a:pt x="51" y="95"/>
                  </a:lnTo>
                  <a:lnTo>
                    <a:pt x="48" y="96"/>
                  </a:lnTo>
                  <a:lnTo>
                    <a:pt x="47" y="96"/>
                  </a:lnTo>
                  <a:lnTo>
                    <a:pt x="47" y="96"/>
                  </a:lnTo>
                  <a:lnTo>
                    <a:pt x="44" y="95"/>
                  </a:lnTo>
                  <a:lnTo>
                    <a:pt x="44" y="93"/>
                  </a:lnTo>
                  <a:lnTo>
                    <a:pt x="41" y="89"/>
                  </a:lnTo>
                  <a:lnTo>
                    <a:pt x="41" y="89"/>
                  </a:lnTo>
                  <a:lnTo>
                    <a:pt x="41" y="84"/>
                  </a:lnTo>
                  <a:lnTo>
                    <a:pt x="40" y="80"/>
                  </a:lnTo>
                  <a:lnTo>
                    <a:pt x="38" y="77"/>
                  </a:lnTo>
                  <a:lnTo>
                    <a:pt x="38" y="77"/>
                  </a:lnTo>
                  <a:lnTo>
                    <a:pt x="37" y="74"/>
                  </a:lnTo>
                  <a:lnTo>
                    <a:pt x="37" y="70"/>
                  </a:lnTo>
                  <a:lnTo>
                    <a:pt x="38" y="67"/>
                  </a:lnTo>
                  <a:lnTo>
                    <a:pt x="40" y="66"/>
                  </a:lnTo>
                  <a:lnTo>
                    <a:pt x="40" y="66"/>
                  </a:lnTo>
                  <a:lnTo>
                    <a:pt x="41" y="64"/>
                  </a:lnTo>
                  <a:lnTo>
                    <a:pt x="40" y="64"/>
                  </a:lnTo>
                  <a:lnTo>
                    <a:pt x="35" y="64"/>
                  </a:lnTo>
                  <a:lnTo>
                    <a:pt x="29" y="66"/>
                  </a:lnTo>
                  <a:lnTo>
                    <a:pt x="29" y="66"/>
                  </a:lnTo>
                  <a:lnTo>
                    <a:pt x="26" y="71"/>
                  </a:lnTo>
                  <a:lnTo>
                    <a:pt x="25" y="80"/>
                  </a:lnTo>
                  <a:lnTo>
                    <a:pt x="25" y="80"/>
                  </a:lnTo>
                  <a:lnTo>
                    <a:pt x="25" y="92"/>
                  </a:lnTo>
                  <a:lnTo>
                    <a:pt x="25" y="100"/>
                  </a:lnTo>
                  <a:lnTo>
                    <a:pt x="25" y="103"/>
                  </a:lnTo>
                  <a:lnTo>
                    <a:pt x="25" y="103"/>
                  </a:lnTo>
                  <a:lnTo>
                    <a:pt x="18" y="105"/>
                  </a:lnTo>
                  <a:lnTo>
                    <a:pt x="13" y="106"/>
                  </a:lnTo>
                  <a:lnTo>
                    <a:pt x="11" y="105"/>
                  </a:lnTo>
                  <a:close/>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04" name="Freeform 855"/>
            <p:cNvSpPr>
              <a:spLocks/>
            </p:cNvSpPr>
            <p:nvPr/>
          </p:nvSpPr>
          <p:spPr bwMode="auto">
            <a:xfrm>
              <a:off x="7345363" y="4683126"/>
              <a:ext cx="161925" cy="168275"/>
            </a:xfrm>
            <a:custGeom>
              <a:avLst/>
              <a:gdLst>
                <a:gd name="T0" fmla="*/ 8 w 102"/>
                <a:gd name="T1" fmla="*/ 105 h 106"/>
                <a:gd name="T2" fmla="*/ 11 w 102"/>
                <a:gd name="T3" fmla="*/ 96 h 106"/>
                <a:gd name="T4" fmla="*/ 13 w 102"/>
                <a:gd name="T5" fmla="*/ 82 h 106"/>
                <a:gd name="T6" fmla="*/ 8 w 102"/>
                <a:gd name="T7" fmla="*/ 77 h 106"/>
                <a:gd name="T8" fmla="*/ 0 w 102"/>
                <a:gd name="T9" fmla="*/ 71 h 106"/>
                <a:gd name="T10" fmla="*/ 5 w 102"/>
                <a:gd name="T11" fmla="*/ 58 h 106"/>
                <a:gd name="T12" fmla="*/ 6 w 102"/>
                <a:gd name="T13" fmla="*/ 48 h 106"/>
                <a:gd name="T14" fmla="*/ 8 w 102"/>
                <a:gd name="T15" fmla="*/ 42 h 106"/>
                <a:gd name="T16" fmla="*/ 12 w 102"/>
                <a:gd name="T17" fmla="*/ 34 h 106"/>
                <a:gd name="T18" fmla="*/ 18 w 102"/>
                <a:gd name="T19" fmla="*/ 28 h 106"/>
                <a:gd name="T20" fmla="*/ 26 w 102"/>
                <a:gd name="T21" fmla="*/ 12 h 106"/>
                <a:gd name="T22" fmla="*/ 35 w 102"/>
                <a:gd name="T23" fmla="*/ 6 h 106"/>
                <a:gd name="T24" fmla="*/ 40 w 102"/>
                <a:gd name="T25" fmla="*/ 2 h 106"/>
                <a:gd name="T26" fmla="*/ 58 w 102"/>
                <a:gd name="T27" fmla="*/ 8 h 106"/>
                <a:gd name="T28" fmla="*/ 79 w 102"/>
                <a:gd name="T29" fmla="*/ 11 h 106"/>
                <a:gd name="T30" fmla="*/ 89 w 102"/>
                <a:gd name="T31" fmla="*/ 11 h 106"/>
                <a:gd name="T32" fmla="*/ 100 w 102"/>
                <a:gd name="T33" fmla="*/ 0 h 106"/>
                <a:gd name="T34" fmla="*/ 102 w 102"/>
                <a:gd name="T35" fmla="*/ 3 h 106"/>
                <a:gd name="T36" fmla="*/ 93 w 102"/>
                <a:gd name="T37" fmla="*/ 13 h 106"/>
                <a:gd name="T38" fmla="*/ 79 w 102"/>
                <a:gd name="T39" fmla="*/ 21 h 106"/>
                <a:gd name="T40" fmla="*/ 71 w 102"/>
                <a:gd name="T41" fmla="*/ 19 h 106"/>
                <a:gd name="T42" fmla="*/ 55 w 102"/>
                <a:gd name="T43" fmla="*/ 18 h 106"/>
                <a:gd name="T44" fmla="*/ 38 w 102"/>
                <a:gd name="T45" fmla="*/ 18 h 106"/>
                <a:gd name="T46" fmla="*/ 31 w 102"/>
                <a:gd name="T47" fmla="*/ 18 h 106"/>
                <a:gd name="T48" fmla="*/ 28 w 102"/>
                <a:gd name="T49" fmla="*/ 25 h 106"/>
                <a:gd name="T50" fmla="*/ 24 w 102"/>
                <a:gd name="T51" fmla="*/ 34 h 106"/>
                <a:gd name="T52" fmla="*/ 29 w 102"/>
                <a:gd name="T53" fmla="*/ 42 h 106"/>
                <a:gd name="T54" fmla="*/ 41 w 102"/>
                <a:gd name="T55" fmla="*/ 40 h 106"/>
                <a:gd name="T56" fmla="*/ 45 w 102"/>
                <a:gd name="T57" fmla="*/ 34 h 106"/>
                <a:gd name="T58" fmla="*/ 64 w 102"/>
                <a:gd name="T59" fmla="*/ 29 h 106"/>
                <a:gd name="T60" fmla="*/ 70 w 102"/>
                <a:gd name="T61" fmla="*/ 32 h 106"/>
                <a:gd name="T62" fmla="*/ 61 w 102"/>
                <a:gd name="T63" fmla="*/ 37 h 106"/>
                <a:gd name="T64" fmla="*/ 51 w 102"/>
                <a:gd name="T65" fmla="*/ 47 h 106"/>
                <a:gd name="T66" fmla="*/ 47 w 102"/>
                <a:gd name="T67" fmla="*/ 53 h 106"/>
                <a:gd name="T68" fmla="*/ 54 w 102"/>
                <a:gd name="T69" fmla="*/ 60 h 106"/>
                <a:gd name="T70" fmla="*/ 60 w 102"/>
                <a:gd name="T71" fmla="*/ 64 h 106"/>
                <a:gd name="T72" fmla="*/ 58 w 102"/>
                <a:gd name="T73" fmla="*/ 70 h 106"/>
                <a:gd name="T74" fmla="*/ 55 w 102"/>
                <a:gd name="T75" fmla="*/ 79 h 106"/>
                <a:gd name="T76" fmla="*/ 61 w 102"/>
                <a:gd name="T77" fmla="*/ 87 h 106"/>
                <a:gd name="T78" fmla="*/ 55 w 102"/>
                <a:gd name="T79" fmla="*/ 90 h 106"/>
                <a:gd name="T80" fmla="*/ 51 w 102"/>
                <a:gd name="T81" fmla="*/ 95 h 106"/>
                <a:gd name="T82" fmla="*/ 47 w 102"/>
                <a:gd name="T83" fmla="*/ 96 h 106"/>
                <a:gd name="T84" fmla="*/ 41 w 102"/>
                <a:gd name="T85" fmla="*/ 89 h 106"/>
                <a:gd name="T86" fmla="*/ 40 w 102"/>
                <a:gd name="T87" fmla="*/ 80 h 106"/>
                <a:gd name="T88" fmla="*/ 37 w 102"/>
                <a:gd name="T89" fmla="*/ 74 h 106"/>
                <a:gd name="T90" fmla="*/ 40 w 102"/>
                <a:gd name="T91" fmla="*/ 66 h 106"/>
                <a:gd name="T92" fmla="*/ 40 w 102"/>
                <a:gd name="T93" fmla="*/ 64 h 106"/>
                <a:gd name="T94" fmla="*/ 29 w 102"/>
                <a:gd name="T95" fmla="*/ 66 h 106"/>
                <a:gd name="T96" fmla="*/ 25 w 102"/>
                <a:gd name="T97" fmla="*/ 80 h 106"/>
                <a:gd name="T98" fmla="*/ 25 w 102"/>
                <a:gd name="T99" fmla="*/ 103 h 106"/>
                <a:gd name="T100" fmla="*/ 13 w 102"/>
                <a:gd name="T101"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2" h="106">
                  <a:moveTo>
                    <a:pt x="11" y="105"/>
                  </a:moveTo>
                  <a:lnTo>
                    <a:pt x="11" y="105"/>
                  </a:lnTo>
                  <a:lnTo>
                    <a:pt x="8" y="105"/>
                  </a:lnTo>
                  <a:lnTo>
                    <a:pt x="8" y="103"/>
                  </a:lnTo>
                  <a:lnTo>
                    <a:pt x="11" y="96"/>
                  </a:lnTo>
                  <a:lnTo>
                    <a:pt x="11" y="96"/>
                  </a:lnTo>
                  <a:lnTo>
                    <a:pt x="13" y="92"/>
                  </a:lnTo>
                  <a:lnTo>
                    <a:pt x="15" y="86"/>
                  </a:lnTo>
                  <a:lnTo>
                    <a:pt x="13" y="82"/>
                  </a:lnTo>
                  <a:lnTo>
                    <a:pt x="12" y="79"/>
                  </a:lnTo>
                  <a:lnTo>
                    <a:pt x="12" y="79"/>
                  </a:lnTo>
                  <a:lnTo>
                    <a:pt x="8" y="77"/>
                  </a:lnTo>
                  <a:lnTo>
                    <a:pt x="5" y="77"/>
                  </a:lnTo>
                  <a:lnTo>
                    <a:pt x="2" y="76"/>
                  </a:lnTo>
                  <a:lnTo>
                    <a:pt x="0" y="71"/>
                  </a:lnTo>
                  <a:lnTo>
                    <a:pt x="0" y="71"/>
                  </a:lnTo>
                  <a:lnTo>
                    <a:pt x="2" y="64"/>
                  </a:lnTo>
                  <a:lnTo>
                    <a:pt x="5" y="58"/>
                  </a:lnTo>
                  <a:lnTo>
                    <a:pt x="5" y="58"/>
                  </a:lnTo>
                  <a:lnTo>
                    <a:pt x="6" y="53"/>
                  </a:lnTo>
                  <a:lnTo>
                    <a:pt x="6" y="48"/>
                  </a:lnTo>
                  <a:lnTo>
                    <a:pt x="6" y="45"/>
                  </a:lnTo>
                  <a:lnTo>
                    <a:pt x="8" y="42"/>
                  </a:lnTo>
                  <a:lnTo>
                    <a:pt x="8" y="42"/>
                  </a:lnTo>
                  <a:lnTo>
                    <a:pt x="9" y="40"/>
                  </a:lnTo>
                  <a:lnTo>
                    <a:pt x="11" y="37"/>
                  </a:lnTo>
                  <a:lnTo>
                    <a:pt x="12" y="34"/>
                  </a:lnTo>
                  <a:lnTo>
                    <a:pt x="15" y="32"/>
                  </a:lnTo>
                  <a:lnTo>
                    <a:pt x="15" y="32"/>
                  </a:lnTo>
                  <a:lnTo>
                    <a:pt x="18" y="28"/>
                  </a:lnTo>
                  <a:lnTo>
                    <a:pt x="21" y="22"/>
                  </a:lnTo>
                  <a:lnTo>
                    <a:pt x="24" y="16"/>
                  </a:lnTo>
                  <a:lnTo>
                    <a:pt x="26" y="12"/>
                  </a:lnTo>
                  <a:lnTo>
                    <a:pt x="26" y="12"/>
                  </a:lnTo>
                  <a:lnTo>
                    <a:pt x="32" y="9"/>
                  </a:lnTo>
                  <a:lnTo>
                    <a:pt x="35" y="6"/>
                  </a:lnTo>
                  <a:lnTo>
                    <a:pt x="35" y="6"/>
                  </a:lnTo>
                  <a:lnTo>
                    <a:pt x="38" y="3"/>
                  </a:lnTo>
                  <a:lnTo>
                    <a:pt x="40" y="2"/>
                  </a:lnTo>
                  <a:lnTo>
                    <a:pt x="47" y="5"/>
                  </a:lnTo>
                  <a:lnTo>
                    <a:pt x="47" y="5"/>
                  </a:lnTo>
                  <a:lnTo>
                    <a:pt x="58" y="8"/>
                  </a:lnTo>
                  <a:lnTo>
                    <a:pt x="68" y="9"/>
                  </a:lnTo>
                  <a:lnTo>
                    <a:pt x="68" y="9"/>
                  </a:lnTo>
                  <a:lnTo>
                    <a:pt x="79" y="11"/>
                  </a:lnTo>
                  <a:lnTo>
                    <a:pt x="84" y="11"/>
                  </a:lnTo>
                  <a:lnTo>
                    <a:pt x="89" y="11"/>
                  </a:lnTo>
                  <a:lnTo>
                    <a:pt x="89" y="11"/>
                  </a:lnTo>
                  <a:lnTo>
                    <a:pt x="95" y="3"/>
                  </a:lnTo>
                  <a:lnTo>
                    <a:pt x="97" y="0"/>
                  </a:lnTo>
                  <a:lnTo>
                    <a:pt x="100" y="0"/>
                  </a:lnTo>
                  <a:lnTo>
                    <a:pt x="100" y="0"/>
                  </a:lnTo>
                  <a:lnTo>
                    <a:pt x="102" y="0"/>
                  </a:lnTo>
                  <a:lnTo>
                    <a:pt x="102" y="3"/>
                  </a:lnTo>
                  <a:lnTo>
                    <a:pt x="99" y="8"/>
                  </a:lnTo>
                  <a:lnTo>
                    <a:pt x="99" y="8"/>
                  </a:lnTo>
                  <a:lnTo>
                    <a:pt x="93" y="13"/>
                  </a:lnTo>
                  <a:lnTo>
                    <a:pt x="84" y="18"/>
                  </a:lnTo>
                  <a:lnTo>
                    <a:pt x="84" y="18"/>
                  </a:lnTo>
                  <a:lnTo>
                    <a:pt x="79" y="21"/>
                  </a:lnTo>
                  <a:lnTo>
                    <a:pt x="76" y="21"/>
                  </a:lnTo>
                  <a:lnTo>
                    <a:pt x="71" y="19"/>
                  </a:lnTo>
                  <a:lnTo>
                    <a:pt x="71" y="19"/>
                  </a:lnTo>
                  <a:lnTo>
                    <a:pt x="63" y="18"/>
                  </a:lnTo>
                  <a:lnTo>
                    <a:pt x="58" y="18"/>
                  </a:lnTo>
                  <a:lnTo>
                    <a:pt x="55" y="18"/>
                  </a:lnTo>
                  <a:lnTo>
                    <a:pt x="55" y="18"/>
                  </a:lnTo>
                  <a:lnTo>
                    <a:pt x="48" y="19"/>
                  </a:lnTo>
                  <a:lnTo>
                    <a:pt x="38" y="18"/>
                  </a:lnTo>
                  <a:lnTo>
                    <a:pt x="38" y="18"/>
                  </a:lnTo>
                  <a:lnTo>
                    <a:pt x="32" y="18"/>
                  </a:lnTo>
                  <a:lnTo>
                    <a:pt x="31" y="18"/>
                  </a:lnTo>
                  <a:lnTo>
                    <a:pt x="29" y="21"/>
                  </a:lnTo>
                  <a:lnTo>
                    <a:pt x="29" y="21"/>
                  </a:lnTo>
                  <a:lnTo>
                    <a:pt x="28" y="25"/>
                  </a:lnTo>
                  <a:lnTo>
                    <a:pt x="24" y="31"/>
                  </a:lnTo>
                  <a:lnTo>
                    <a:pt x="24" y="31"/>
                  </a:lnTo>
                  <a:lnTo>
                    <a:pt x="24" y="34"/>
                  </a:lnTo>
                  <a:lnTo>
                    <a:pt x="24" y="38"/>
                  </a:lnTo>
                  <a:lnTo>
                    <a:pt x="25" y="41"/>
                  </a:lnTo>
                  <a:lnTo>
                    <a:pt x="29" y="42"/>
                  </a:lnTo>
                  <a:lnTo>
                    <a:pt x="29" y="42"/>
                  </a:lnTo>
                  <a:lnTo>
                    <a:pt x="37" y="42"/>
                  </a:lnTo>
                  <a:lnTo>
                    <a:pt x="41" y="40"/>
                  </a:lnTo>
                  <a:lnTo>
                    <a:pt x="42" y="38"/>
                  </a:lnTo>
                  <a:lnTo>
                    <a:pt x="42" y="38"/>
                  </a:lnTo>
                  <a:lnTo>
                    <a:pt x="45" y="34"/>
                  </a:lnTo>
                  <a:lnTo>
                    <a:pt x="51" y="32"/>
                  </a:lnTo>
                  <a:lnTo>
                    <a:pt x="64" y="29"/>
                  </a:lnTo>
                  <a:lnTo>
                    <a:pt x="64" y="29"/>
                  </a:lnTo>
                  <a:lnTo>
                    <a:pt x="68" y="29"/>
                  </a:lnTo>
                  <a:lnTo>
                    <a:pt x="70" y="31"/>
                  </a:lnTo>
                  <a:lnTo>
                    <a:pt x="70" y="32"/>
                  </a:lnTo>
                  <a:lnTo>
                    <a:pt x="67" y="34"/>
                  </a:lnTo>
                  <a:lnTo>
                    <a:pt x="67" y="34"/>
                  </a:lnTo>
                  <a:lnTo>
                    <a:pt x="61" y="37"/>
                  </a:lnTo>
                  <a:lnTo>
                    <a:pt x="55" y="40"/>
                  </a:lnTo>
                  <a:lnTo>
                    <a:pt x="55" y="40"/>
                  </a:lnTo>
                  <a:lnTo>
                    <a:pt x="51" y="47"/>
                  </a:lnTo>
                  <a:lnTo>
                    <a:pt x="48" y="50"/>
                  </a:lnTo>
                  <a:lnTo>
                    <a:pt x="47" y="53"/>
                  </a:lnTo>
                  <a:lnTo>
                    <a:pt x="47" y="53"/>
                  </a:lnTo>
                  <a:lnTo>
                    <a:pt x="48" y="57"/>
                  </a:lnTo>
                  <a:lnTo>
                    <a:pt x="50" y="60"/>
                  </a:lnTo>
                  <a:lnTo>
                    <a:pt x="54" y="60"/>
                  </a:lnTo>
                  <a:lnTo>
                    <a:pt x="54" y="60"/>
                  </a:lnTo>
                  <a:lnTo>
                    <a:pt x="58" y="61"/>
                  </a:lnTo>
                  <a:lnTo>
                    <a:pt x="60" y="64"/>
                  </a:lnTo>
                  <a:lnTo>
                    <a:pt x="60" y="67"/>
                  </a:lnTo>
                  <a:lnTo>
                    <a:pt x="58" y="70"/>
                  </a:lnTo>
                  <a:lnTo>
                    <a:pt x="58" y="70"/>
                  </a:lnTo>
                  <a:lnTo>
                    <a:pt x="54" y="73"/>
                  </a:lnTo>
                  <a:lnTo>
                    <a:pt x="54" y="76"/>
                  </a:lnTo>
                  <a:lnTo>
                    <a:pt x="55" y="79"/>
                  </a:lnTo>
                  <a:lnTo>
                    <a:pt x="55" y="79"/>
                  </a:lnTo>
                  <a:lnTo>
                    <a:pt x="60" y="84"/>
                  </a:lnTo>
                  <a:lnTo>
                    <a:pt x="61" y="87"/>
                  </a:lnTo>
                  <a:lnTo>
                    <a:pt x="60" y="89"/>
                  </a:lnTo>
                  <a:lnTo>
                    <a:pt x="60" y="89"/>
                  </a:lnTo>
                  <a:lnTo>
                    <a:pt x="55" y="90"/>
                  </a:lnTo>
                  <a:lnTo>
                    <a:pt x="53" y="92"/>
                  </a:lnTo>
                  <a:lnTo>
                    <a:pt x="53" y="92"/>
                  </a:lnTo>
                  <a:lnTo>
                    <a:pt x="51" y="95"/>
                  </a:lnTo>
                  <a:lnTo>
                    <a:pt x="48" y="96"/>
                  </a:lnTo>
                  <a:lnTo>
                    <a:pt x="47" y="96"/>
                  </a:lnTo>
                  <a:lnTo>
                    <a:pt x="47" y="96"/>
                  </a:lnTo>
                  <a:lnTo>
                    <a:pt x="44" y="95"/>
                  </a:lnTo>
                  <a:lnTo>
                    <a:pt x="44" y="93"/>
                  </a:lnTo>
                  <a:lnTo>
                    <a:pt x="41" y="89"/>
                  </a:lnTo>
                  <a:lnTo>
                    <a:pt x="41" y="89"/>
                  </a:lnTo>
                  <a:lnTo>
                    <a:pt x="41" y="84"/>
                  </a:lnTo>
                  <a:lnTo>
                    <a:pt x="40" y="80"/>
                  </a:lnTo>
                  <a:lnTo>
                    <a:pt x="38" y="77"/>
                  </a:lnTo>
                  <a:lnTo>
                    <a:pt x="38" y="77"/>
                  </a:lnTo>
                  <a:lnTo>
                    <a:pt x="37" y="74"/>
                  </a:lnTo>
                  <a:lnTo>
                    <a:pt x="37" y="70"/>
                  </a:lnTo>
                  <a:lnTo>
                    <a:pt x="38" y="67"/>
                  </a:lnTo>
                  <a:lnTo>
                    <a:pt x="40" y="66"/>
                  </a:lnTo>
                  <a:lnTo>
                    <a:pt x="40" y="66"/>
                  </a:lnTo>
                  <a:lnTo>
                    <a:pt x="41" y="64"/>
                  </a:lnTo>
                  <a:lnTo>
                    <a:pt x="40" y="64"/>
                  </a:lnTo>
                  <a:lnTo>
                    <a:pt x="35" y="64"/>
                  </a:lnTo>
                  <a:lnTo>
                    <a:pt x="29" y="66"/>
                  </a:lnTo>
                  <a:lnTo>
                    <a:pt x="29" y="66"/>
                  </a:lnTo>
                  <a:lnTo>
                    <a:pt x="26" y="71"/>
                  </a:lnTo>
                  <a:lnTo>
                    <a:pt x="25" y="80"/>
                  </a:lnTo>
                  <a:lnTo>
                    <a:pt x="25" y="80"/>
                  </a:lnTo>
                  <a:lnTo>
                    <a:pt x="25" y="92"/>
                  </a:lnTo>
                  <a:lnTo>
                    <a:pt x="25" y="100"/>
                  </a:lnTo>
                  <a:lnTo>
                    <a:pt x="25" y="103"/>
                  </a:lnTo>
                  <a:lnTo>
                    <a:pt x="25" y="103"/>
                  </a:lnTo>
                  <a:lnTo>
                    <a:pt x="18" y="105"/>
                  </a:lnTo>
                  <a:lnTo>
                    <a:pt x="13" y="106"/>
                  </a:lnTo>
                  <a:lnTo>
                    <a:pt x="11" y="10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05" name="Freeform 856"/>
            <p:cNvSpPr>
              <a:spLocks/>
            </p:cNvSpPr>
            <p:nvPr/>
          </p:nvSpPr>
          <p:spPr bwMode="auto">
            <a:xfrm>
              <a:off x="7092950" y="4194176"/>
              <a:ext cx="55563" cy="47625"/>
            </a:xfrm>
            <a:custGeom>
              <a:avLst/>
              <a:gdLst>
                <a:gd name="T0" fmla="*/ 3 w 35"/>
                <a:gd name="T1" fmla="*/ 30 h 30"/>
                <a:gd name="T2" fmla="*/ 3 w 35"/>
                <a:gd name="T3" fmla="*/ 30 h 30"/>
                <a:gd name="T4" fmla="*/ 0 w 35"/>
                <a:gd name="T5" fmla="*/ 26 h 30"/>
                <a:gd name="T6" fmla="*/ 0 w 35"/>
                <a:gd name="T7" fmla="*/ 22 h 30"/>
                <a:gd name="T8" fmla="*/ 0 w 35"/>
                <a:gd name="T9" fmla="*/ 16 h 30"/>
                <a:gd name="T10" fmla="*/ 3 w 35"/>
                <a:gd name="T11" fmla="*/ 12 h 30"/>
                <a:gd name="T12" fmla="*/ 3 w 35"/>
                <a:gd name="T13" fmla="*/ 12 h 30"/>
                <a:gd name="T14" fmla="*/ 12 w 35"/>
                <a:gd name="T15" fmla="*/ 6 h 30"/>
                <a:gd name="T16" fmla="*/ 16 w 35"/>
                <a:gd name="T17" fmla="*/ 3 h 30"/>
                <a:gd name="T18" fmla="*/ 20 w 35"/>
                <a:gd name="T19" fmla="*/ 1 h 30"/>
                <a:gd name="T20" fmla="*/ 20 w 35"/>
                <a:gd name="T21" fmla="*/ 1 h 30"/>
                <a:gd name="T22" fmla="*/ 28 w 35"/>
                <a:gd name="T23" fmla="*/ 0 h 30"/>
                <a:gd name="T24" fmla="*/ 31 w 35"/>
                <a:gd name="T25" fmla="*/ 0 h 30"/>
                <a:gd name="T26" fmla="*/ 33 w 35"/>
                <a:gd name="T27" fmla="*/ 3 h 30"/>
                <a:gd name="T28" fmla="*/ 33 w 35"/>
                <a:gd name="T29" fmla="*/ 3 h 30"/>
                <a:gd name="T30" fmla="*/ 35 w 35"/>
                <a:gd name="T31" fmla="*/ 6 h 30"/>
                <a:gd name="T32" fmla="*/ 35 w 35"/>
                <a:gd name="T33" fmla="*/ 9 h 30"/>
                <a:gd name="T34" fmla="*/ 32 w 35"/>
                <a:gd name="T35" fmla="*/ 13 h 30"/>
                <a:gd name="T36" fmla="*/ 32 w 35"/>
                <a:gd name="T37" fmla="*/ 13 h 30"/>
                <a:gd name="T38" fmla="*/ 31 w 35"/>
                <a:gd name="T39" fmla="*/ 19 h 30"/>
                <a:gd name="T40" fmla="*/ 28 w 35"/>
                <a:gd name="T41" fmla="*/ 23 h 30"/>
                <a:gd name="T42" fmla="*/ 28 w 35"/>
                <a:gd name="T43" fmla="*/ 23 h 30"/>
                <a:gd name="T44" fmla="*/ 25 w 35"/>
                <a:gd name="T45" fmla="*/ 26 h 30"/>
                <a:gd name="T46" fmla="*/ 19 w 35"/>
                <a:gd name="T47" fmla="*/ 29 h 30"/>
                <a:gd name="T48" fmla="*/ 12 w 35"/>
                <a:gd name="T49" fmla="*/ 30 h 30"/>
                <a:gd name="T50" fmla="*/ 7 w 35"/>
                <a:gd name="T51" fmla="*/ 30 h 30"/>
                <a:gd name="T52" fmla="*/ 3 w 35"/>
                <a:gd name="T5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 h="30">
                  <a:moveTo>
                    <a:pt x="3" y="30"/>
                  </a:moveTo>
                  <a:lnTo>
                    <a:pt x="3" y="30"/>
                  </a:lnTo>
                  <a:lnTo>
                    <a:pt x="0" y="26"/>
                  </a:lnTo>
                  <a:lnTo>
                    <a:pt x="0" y="22"/>
                  </a:lnTo>
                  <a:lnTo>
                    <a:pt x="0" y="16"/>
                  </a:lnTo>
                  <a:lnTo>
                    <a:pt x="3" y="12"/>
                  </a:lnTo>
                  <a:lnTo>
                    <a:pt x="3" y="12"/>
                  </a:lnTo>
                  <a:lnTo>
                    <a:pt x="12" y="6"/>
                  </a:lnTo>
                  <a:lnTo>
                    <a:pt x="16" y="3"/>
                  </a:lnTo>
                  <a:lnTo>
                    <a:pt x="20" y="1"/>
                  </a:lnTo>
                  <a:lnTo>
                    <a:pt x="20" y="1"/>
                  </a:lnTo>
                  <a:lnTo>
                    <a:pt x="28" y="0"/>
                  </a:lnTo>
                  <a:lnTo>
                    <a:pt x="31" y="0"/>
                  </a:lnTo>
                  <a:lnTo>
                    <a:pt x="33" y="3"/>
                  </a:lnTo>
                  <a:lnTo>
                    <a:pt x="33" y="3"/>
                  </a:lnTo>
                  <a:lnTo>
                    <a:pt x="35" y="6"/>
                  </a:lnTo>
                  <a:lnTo>
                    <a:pt x="35" y="9"/>
                  </a:lnTo>
                  <a:lnTo>
                    <a:pt x="32" y="13"/>
                  </a:lnTo>
                  <a:lnTo>
                    <a:pt x="32" y="13"/>
                  </a:lnTo>
                  <a:lnTo>
                    <a:pt x="31" y="19"/>
                  </a:lnTo>
                  <a:lnTo>
                    <a:pt x="28" y="23"/>
                  </a:lnTo>
                  <a:lnTo>
                    <a:pt x="28" y="23"/>
                  </a:lnTo>
                  <a:lnTo>
                    <a:pt x="25" y="26"/>
                  </a:lnTo>
                  <a:lnTo>
                    <a:pt x="19" y="29"/>
                  </a:lnTo>
                  <a:lnTo>
                    <a:pt x="12" y="30"/>
                  </a:lnTo>
                  <a:lnTo>
                    <a:pt x="7" y="30"/>
                  </a:lnTo>
                  <a:lnTo>
                    <a:pt x="3" y="30"/>
                  </a:lnTo>
                  <a:close/>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06" name="Freeform 857"/>
            <p:cNvSpPr>
              <a:spLocks/>
            </p:cNvSpPr>
            <p:nvPr/>
          </p:nvSpPr>
          <p:spPr bwMode="auto">
            <a:xfrm>
              <a:off x="7092950" y="4194176"/>
              <a:ext cx="55563" cy="47625"/>
            </a:xfrm>
            <a:custGeom>
              <a:avLst/>
              <a:gdLst>
                <a:gd name="T0" fmla="*/ 3 w 35"/>
                <a:gd name="T1" fmla="*/ 30 h 30"/>
                <a:gd name="T2" fmla="*/ 3 w 35"/>
                <a:gd name="T3" fmla="*/ 30 h 30"/>
                <a:gd name="T4" fmla="*/ 0 w 35"/>
                <a:gd name="T5" fmla="*/ 26 h 30"/>
                <a:gd name="T6" fmla="*/ 0 w 35"/>
                <a:gd name="T7" fmla="*/ 22 h 30"/>
                <a:gd name="T8" fmla="*/ 0 w 35"/>
                <a:gd name="T9" fmla="*/ 16 h 30"/>
                <a:gd name="T10" fmla="*/ 3 w 35"/>
                <a:gd name="T11" fmla="*/ 12 h 30"/>
                <a:gd name="T12" fmla="*/ 3 w 35"/>
                <a:gd name="T13" fmla="*/ 12 h 30"/>
                <a:gd name="T14" fmla="*/ 12 w 35"/>
                <a:gd name="T15" fmla="*/ 6 h 30"/>
                <a:gd name="T16" fmla="*/ 16 w 35"/>
                <a:gd name="T17" fmla="*/ 3 h 30"/>
                <a:gd name="T18" fmla="*/ 20 w 35"/>
                <a:gd name="T19" fmla="*/ 1 h 30"/>
                <a:gd name="T20" fmla="*/ 20 w 35"/>
                <a:gd name="T21" fmla="*/ 1 h 30"/>
                <a:gd name="T22" fmla="*/ 28 w 35"/>
                <a:gd name="T23" fmla="*/ 0 h 30"/>
                <a:gd name="T24" fmla="*/ 31 w 35"/>
                <a:gd name="T25" fmla="*/ 0 h 30"/>
                <a:gd name="T26" fmla="*/ 33 w 35"/>
                <a:gd name="T27" fmla="*/ 3 h 30"/>
                <a:gd name="T28" fmla="*/ 33 w 35"/>
                <a:gd name="T29" fmla="*/ 3 h 30"/>
                <a:gd name="T30" fmla="*/ 35 w 35"/>
                <a:gd name="T31" fmla="*/ 6 h 30"/>
                <a:gd name="T32" fmla="*/ 35 w 35"/>
                <a:gd name="T33" fmla="*/ 9 h 30"/>
                <a:gd name="T34" fmla="*/ 32 w 35"/>
                <a:gd name="T35" fmla="*/ 13 h 30"/>
                <a:gd name="T36" fmla="*/ 32 w 35"/>
                <a:gd name="T37" fmla="*/ 13 h 30"/>
                <a:gd name="T38" fmla="*/ 31 w 35"/>
                <a:gd name="T39" fmla="*/ 19 h 30"/>
                <a:gd name="T40" fmla="*/ 28 w 35"/>
                <a:gd name="T41" fmla="*/ 23 h 30"/>
                <a:gd name="T42" fmla="*/ 28 w 35"/>
                <a:gd name="T43" fmla="*/ 23 h 30"/>
                <a:gd name="T44" fmla="*/ 25 w 35"/>
                <a:gd name="T45" fmla="*/ 26 h 30"/>
                <a:gd name="T46" fmla="*/ 19 w 35"/>
                <a:gd name="T47" fmla="*/ 29 h 30"/>
                <a:gd name="T48" fmla="*/ 12 w 35"/>
                <a:gd name="T49" fmla="*/ 30 h 30"/>
                <a:gd name="T50" fmla="*/ 7 w 35"/>
                <a:gd name="T51" fmla="*/ 30 h 30"/>
                <a:gd name="T52" fmla="*/ 3 w 35"/>
                <a:gd name="T5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 h="30">
                  <a:moveTo>
                    <a:pt x="3" y="30"/>
                  </a:moveTo>
                  <a:lnTo>
                    <a:pt x="3" y="30"/>
                  </a:lnTo>
                  <a:lnTo>
                    <a:pt x="0" y="26"/>
                  </a:lnTo>
                  <a:lnTo>
                    <a:pt x="0" y="22"/>
                  </a:lnTo>
                  <a:lnTo>
                    <a:pt x="0" y="16"/>
                  </a:lnTo>
                  <a:lnTo>
                    <a:pt x="3" y="12"/>
                  </a:lnTo>
                  <a:lnTo>
                    <a:pt x="3" y="12"/>
                  </a:lnTo>
                  <a:lnTo>
                    <a:pt x="12" y="6"/>
                  </a:lnTo>
                  <a:lnTo>
                    <a:pt x="16" y="3"/>
                  </a:lnTo>
                  <a:lnTo>
                    <a:pt x="20" y="1"/>
                  </a:lnTo>
                  <a:lnTo>
                    <a:pt x="20" y="1"/>
                  </a:lnTo>
                  <a:lnTo>
                    <a:pt x="28" y="0"/>
                  </a:lnTo>
                  <a:lnTo>
                    <a:pt x="31" y="0"/>
                  </a:lnTo>
                  <a:lnTo>
                    <a:pt x="33" y="3"/>
                  </a:lnTo>
                  <a:lnTo>
                    <a:pt x="33" y="3"/>
                  </a:lnTo>
                  <a:lnTo>
                    <a:pt x="35" y="6"/>
                  </a:lnTo>
                  <a:lnTo>
                    <a:pt x="35" y="9"/>
                  </a:lnTo>
                  <a:lnTo>
                    <a:pt x="32" y="13"/>
                  </a:lnTo>
                  <a:lnTo>
                    <a:pt x="32" y="13"/>
                  </a:lnTo>
                  <a:lnTo>
                    <a:pt x="31" y="19"/>
                  </a:lnTo>
                  <a:lnTo>
                    <a:pt x="28" y="23"/>
                  </a:lnTo>
                  <a:lnTo>
                    <a:pt x="28" y="23"/>
                  </a:lnTo>
                  <a:lnTo>
                    <a:pt x="25" y="26"/>
                  </a:lnTo>
                  <a:lnTo>
                    <a:pt x="19" y="29"/>
                  </a:lnTo>
                  <a:lnTo>
                    <a:pt x="12" y="30"/>
                  </a:lnTo>
                  <a:lnTo>
                    <a:pt x="7" y="30"/>
                  </a:lnTo>
                  <a:lnTo>
                    <a:pt x="3" y="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07" name="Freeform 858"/>
            <p:cNvSpPr>
              <a:spLocks/>
            </p:cNvSpPr>
            <p:nvPr/>
          </p:nvSpPr>
          <p:spPr bwMode="auto">
            <a:xfrm>
              <a:off x="7383463" y="4049714"/>
              <a:ext cx="46038" cy="96838"/>
            </a:xfrm>
            <a:custGeom>
              <a:avLst/>
              <a:gdLst>
                <a:gd name="T0" fmla="*/ 24 w 29"/>
                <a:gd name="T1" fmla="*/ 1 h 61"/>
                <a:gd name="T2" fmla="*/ 24 w 29"/>
                <a:gd name="T3" fmla="*/ 1 h 61"/>
                <a:gd name="T4" fmla="*/ 24 w 29"/>
                <a:gd name="T5" fmla="*/ 0 h 61"/>
                <a:gd name="T6" fmla="*/ 21 w 29"/>
                <a:gd name="T7" fmla="*/ 1 h 61"/>
                <a:gd name="T8" fmla="*/ 16 w 29"/>
                <a:gd name="T9" fmla="*/ 5 h 61"/>
                <a:gd name="T10" fmla="*/ 7 w 29"/>
                <a:gd name="T11" fmla="*/ 14 h 61"/>
                <a:gd name="T12" fmla="*/ 7 w 29"/>
                <a:gd name="T13" fmla="*/ 14 h 61"/>
                <a:gd name="T14" fmla="*/ 2 w 29"/>
                <a:gd name="T15" fmla="*/ 24 h 61"/>
                <a:gd name="T16" fmla="*/ 0 w 29"/>
                <a:gd name="T17" fmla="*/ 36 h 61"/>
                <a:gd name="T18" fmla="*/ 0 w 29"/>
                <a:gd name="T19" fmla="*/ 36 h 61"/>
                <a:gd name="T20" fmla="*/ 2 w 29"/>
                <a:gd name="T21" fmla="*/ 47 h 61"/>
                <a:gd name="T22" fmla="*/ 4 w 29"/>
                <a:gd name="T23" fmla="*/ 53 h 61"/>
                <a:gd name="T24" fmla="*/ 7 w 29"/>
                <a:gd name="T25" fmla="*/ 58 h 61"/>
                <a:gd name="T26" fmla="*/ 7 w 29"/>
                <a:gd name="T27" fmla="*/ 58 h 61"/>
                <a:gd name="T28" fmla="*/ 10 w 29"/>
                <a:gd name="T29" fmla="*/ 59 h 61"/>
                <a:gd name="T30" fmla="*/ 10 w 29"/>
                <a:gd name="T31" fmla="*/ 61 h 61"/>
                <a:gd name="T32" fmla="*/ 14 w 29"/>
                <a:gd name="T33" fmla="*/ 55 h 61"/>
                <a:gd name="T34" fmla="*/ 14 w 29"/>
                <a:gd name="T35" fmla="*/ 55 h 61"/>
                <a:gd name="T36" fmla="*/ 18 w 29"/>
                <a:gd name="T37" fmla="*/ 42 h 61"/>
                <a:gd name="T38" fmla="*/ 20 w 29"/>
                <a:gd name="T39" fmla="*/ 36 h 61"/>
                <a:gd name="T40" fmla="*/ 23 w 29"/>
                <a:gd name="T41" fmla="*/ 32 h 61"/>
                <a:gd name="T42" fmla="*/ 23 w 29"/>
                <a:gd name="T43" fmla="*/ 32 h 61"/>
                <a:gd name="T44" fmla="*/ 26 w 29"/>
                <a:gd name="T45" fmla="*/ 29 h 61"/>
                <a:gd name="T46" fmla="*/ 27 w 29"/>
                <a:gd name="T47" fmla="*/ 23 h 61"/>
                <a:gd name="T48" fmla="*/ 29 w 29"/>
                <a:gd name="T49" fmla="*/ 17 h 61"/>
                <a:gd name="T50" fmla="*/ 29 w 29"/>
                <a:gd name="T51" fmla="*/ 13 h 61"/>
                <a:gd name="T52" fmla="*/ 29 w 29"/>
                <a:gd name="T53" fmla="*/ 13 h 61"/>
                <a:gd name="T54" fmla="*/ 24 w 29"/>
                <a:gd name="T55" fmla="*/ 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9" h="61">
                  <a:moveTo>
                    <a:pt x="24" y="1"/>
                  </a:moveTo>
                  <a:lnTo>
                    <a:pt x="24" y="1"/>
                  </a:lnTo>
                  <a:lnTo>
                    <a:pt x="24" y="0"/>
                  </a:lnTo>
                  <a:lnTo>
                    <a:pt x="21" y="1"/>
                  </a:lnTo>
                  <a:lnTo>
                    <a:pt x="16" y="5"/>
                  </a:lnTo>
                  <a:lnTo>
                    <a:pt x="7" y="14"/>
                  </a:lnTo>
                  <a:lnTo>
                    <a:pt x="7" y="14"/>
                  </a:lnTo>
                  <a:lnTo>
                    <a:pt x="2" y="24"/>
                  </a:lnTo>
                  <a:lnTo>
                    <a:pt x="0" y="36"/>
                  </a:lnTo>
                  <a:lnTo>
                    <a:pt x="0" y="36"/>
                  </a:lnTo>
                  <a:lnTo>
                    <a:pt x="2" y="47"/>
                  </a:lnTo>
                  <a:lnTo>
                    <a:pt x="4" y="53"/>
                  </a:lnTo>
                  <a:lnTo>
                    <a:pt x="7" y="58"/>
                  </a:lnTo>
                  <a:lnTo>
                    <a:pt x="7" y="58"/>
                  </a:lnTo>
                  <a:lnTo>
                    <a:pt x="10" y="59"/>
                  </a:lnTo>
                  <a:lnTo>
                    <a:pt x="10" y="61"/>
                  </a:lnTo>
                  <a:lnTo>
                    <a:pt x="14" y="55"/>
                  </a:lnTo>
                  <a:lnTo>
                    <a:pt x="14" y="55"/>
                  </a:lnTo>
                  <a:lnTo>
                    <a:pt x="18" y="42"/>
                  </a:lnTo>
                  <a:lnTo>
                    <a:pt x="20" y="36"/>
                  </a:lnTo>
                  <a:lnTo>
                    <a:pt x="23" y="32"/>
                  </a:lnTo>
                  <a:lnTo>
                    <a:pt x="23" y="32"/>
                  </a:lnTo>
                  <a:lnTo>
                    <a:pt x="26" y="29"/>
                  </a:lnTo>
                  <a:lnTo>
                    <a:pt x="27" y="23"/>
                  </a:lnTo>
                  <a:lnTo>
                    <a:pt x="29" y="17"/>
                  </a:lnTo>
                  <a:lnTo>
                    <a:pt x="29" y="13"/>
                  </a:lnTo>
                  <a:lnTo>
                    <a:pt x="29" y="13"/>
                  </a:lnTo>
                  <a:lnTo>
                    <a:pt x="24" y="1"/>
                  </a:lnTo>
                  <a:close/>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08" name="Freeform 859"/>
            <p:cNvSpPr>
              <a:spLocks/>
            </p:cNvSpPr>
            <p:nvPr/>
          </p:nvSpPr>
          <p:spPr bwMode="auto">
            <a:xfrm>
              <a:off x="7383463" y="4049714"/>
              <a:ext cx="46038" cy="96838"/>
            </a:xfrm>
            <a:custGeom>
              <a:avLst/>
              <a:gdLst>
                <a:gd name="T0" fmla="*/ 24 w 29"/>
                <a:gd name="T1" fmla="*/ 1 h 61"/>
                <a:gd name="T2" fmla="*/ 24 w 29"/>
                <a:gd name="T3" fmla="*/ 1 h 61"/>
                <a:gd name="T4" fmla="*/ 24 w 29"/>
                <a:gd name="T5" fmla="*/ 0 h 61"/>
                <a:gd name="T6" fmla="*/ 21 w 29"/>
                <a:gd name="T7" fmla="*/ 1 h 61"/>
                <a:gd name="T8" fmla="*/ 16 w 29"/>
                <a:gd name="T9" fmla="*/ 5 h 61"/>
                <a:gd name="T10" fmla="*/ 7 w 29"/>
                <a:gd name="T11" fmla="*/ 14 h 61"/>
                <a:gd name="T12" fmla="*/ 7 w 29"/>
                <a:gd name="T13" fmla="*/ 14 h 61"/>
                <a:gd name="T14" fmla="*/ 2 w 29"/>
                <a:gd name="T15" fmla="*/ 24 h 61"/>
                <a:gd name="T16" fmla="*/ 0 w 29"/>
                <a:gd name="T17" fmla="*/ 36 h 61"/>
                <a:gd name="T18" fmla="*/ 0 w 29"/>
                <a:gd name="T19" fmla="*/ 36 h 61"/>
                <a:gd name="T20" fmla="*/ 2 w 29"/>
                <a:gd name="T21" fmla="*/ 47 h 61"/>
                <a:gd name="T22" fmla="*/ 4 w 29"/>
                <a:gd name="T23" fmla="*/ 53 h 61"/>
                <a:gd name="T24" fmla="*/ 7 w 29"/>
                <a:gd name="T25" fmla="*/ 58 h 61"/>
                <a:gd name="T26" fmla="*/ 7 w 29"/>
                <a:gd name="T27" fmla="*/ 58 h 61"/>
                <a:gd name="T28" fmla="*/ 10 w 29"/>
                <a:gd name="T29" fmla="*/ 59 h 61"/>
                <a:gd name="T30" fmla="*/ 10 w 29"/>
                <a:gd name="T31" fmla="*/ 61 h 61"/>
                <a:gd name="T32" fmla="*/ 14 w 29"/>
                <a:gd name="T33" fmla="*/ 55 h 61"/>
                <a:gd name="T34" fmla="*/ 14 w 29"/>
                <a:gd name="T35" fmla="*/ 55 h 61"/>
                <a:gd name="T36" fmla="*/ 18 w 29"/>
                <a:gd name="T37" fmla="*/ 42 h 61"/>
                <a:gd name="T38" fmla="*/ 20 w 29"/>
                <a:gd name="T39" fmla="*/ 36 h 61"/>
                <a:gd name="T40" fmla="*/ 23 w 29"/>
                <a:gd name="T41" fmla="*/ 32 h 61"/>
                <a:gd name="T42" fmla="*/ 23 w 29"/>
                <a:gd name="T43" fmla="*/ 32 h 61"/>
                <a:gd name="T44" fmla="*/ 26 w 29"/>
                <a:gd name="T45" fmla="*/ 29 h 61"/>
                <a:gd name="T46" fmla="*/ 27 w 29"/>
                <a:gd name="T47" fmla="*/ 23 h 61"/>
                <a:gd name="T48" fmla="*/ 29 w 29"/>
                <a:gd name="T49" fmla="*/ 17 h 61"/>
                <a:gd name="T50" fmla="*/ 29 w 29"/>
                <a:gd name="T51" fmla="*/ 13 h 61"/>
                <a:gd name="T52" fmla="*/ 29 w 29"/>
                <a:gd name="T53" fmla="*/ 13 h 61"/>
                <a:gd name="T54" fmla="*/ 24 w 29"/>
                <a:gd name="T55" fmla="*/ 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9" h="61">
                  <a:moveTo>
                    <a:pt x="24" y="1"/>
                  </a:moveTo>
                  <a:lnTo>
                    <a:pt x="24" y="1"/>
                  </a:lnTo>
                  <a:lnTo>
                    <a:pt x="24" y="0"/>
                  </a:lnTo>
                  <a:lnTo>
                    <a:pt x="21" y="1"/>
                  </a:lnTo>
                  <a:lnTo>
                    <a:pt x="16" y="5"/>
                  </a:lnTo>
                  <a:lnTo>
                    <a:pt x="7" y="14"/>
                  </a:lnTo>
                  <a:lnTo>
                    <a:pt x="7" y="14"/>
                  </a:lnTo>
                  <a:lnTo>
                    <a:pt x="2" y="24"/>
                  </a:lnTo>
                  <a:lnTo>
                    <a:pt x="0" y="36"/>
                  </a:lnTo>
                  <a:lnTo>
                    <a:pt x="0" y="36"/>
                  </a:lnTo>
                  <a:lnTo>
                    <a:pt x="2" y="47"/>
                  </a:lnTo>
                  <a:lnTo>
                    <a:pt x="4" y="53"/>
                  </a:lnTo>
                  <a:lnTo>
                    <a:pt x="7" y="58"/>
                  </a:lnTo>
                  <a:lnTo>
                    <a:pt x="7" y="58"/>
                  </a:lnTo>
                  <a:lnTo>
                    <a:pt x="10" y="59"/>
                  </a:lnTo>
                  <a:lnTo>
                    <a:pt x="10" y="61"/>
                  </a:lnTo>
                  <a:lnTo>
                    <a:pt x="14" y="55"/>
                  </a:lnTo>
                  <a:lnTo>
                    <a:pt x="14" y="55"/>
                  </a:lnTo>
                  <a:lnTo>
                    <a:pt x="18" y="42"/>
                  </a:lnTo>
                  <a:lnTo>
                    <a:pt x="20" y="36"/>
                  </a:lnTo>
                  <a:lnTo>
                    <a:pt x="23" y="32"/>
                  </a:lnTo>
                  <a:lnTo>
                    <a:pt x="23" y="32"/>
                  </a:lnTo>
                  <a:lnTo>
                    <a:pt x="26" y="29"/>
                  </a:lnTo>
                  <a:lnTo>
                    <a:pt x="27" y="23"/>
                  </a:lnTo>
                  <a:lnTo>
                    <a:pt x="29" y="17"/>
                  </a:lnTo>
                  <a:lnTo>
                    <a:pt x="29" y="13"/>
                  </a:lnTo>
                  <a:lnTo>
                    <a:pt x="29" y="13"/>
                  </a:lnTo>
                  <a:lnTo>
                    <a:pt x="24"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09" name="Freeform 860"/>
            <p:cNvSpPr>
              <a:spLocks/>
            </p:cNvSpPr>
            <p:nvPr/>
          </p:nvSpPr>
          <p:spPr bwMode="auto">
            <a:xfrm>
              <a:off x="7621588" y="3800476"/>
              <a:ext cx="65088" cy="87313"/>
            </a:xfrm>
            <a:custGeom>
              <a:avLst/>
              <a:gdLst>
                <a:gd name="T0" fmla="*/ 23 w 41"/>
                <a:gd name="T1" fmla="*/ 55 h 55"/>
                <a:gd name="T2" fmla="*/ 20 w 41"/>
                <a:gd name="T3" fmla="*/ 51 h 55"/>
                <a:gd name="T4" fmla="*/ 19 w 41"/>
                <a:gd name="T5" fmla="*/ 48 h 55"/>
                <a:gd name="T6" fmla="*/ 16 w 41"/>
                <a:gd name="T7" fmla="*/ 52 h 55"/>
                <a:gd name="T8" fmla="*/ 15 w 41"/>
                <a:gd name="T9" fmla="*/ 55 h 55"/>
                <a:gd name="T10" fmla="*/ 13 w 41"/>
                <a:gd name="T11" fmla="*/ 54 h 55"/>
                <a:gd name="T12" fmla="*/ 10 w 41"/>
                <a:gd name="T13" fmla="*/ 45 h 55"/>
                <a:gd name="T14" fmla="*/ 10 w 41"/>
                <a:gd name="T15" fmla="*/ 39 h 55"/>
                <a:gd name="T16" fmla="*/ 12 w 41"/>
                <a:gd name="T17" fmla="*/ 35 h 55"/>
                <a:gd name="T18" fmla="*/ 16 w 41"/>
                <a:gd name="T19" fmla="*/ 29 h 55"/>
                <a:gd name="T20" fmla="*/ 16 w 41"/>
                <a:gd name="T21" fmla="*/ 23 h 55"/>
                <a:gd name="T22" fmla="*/ 13 w 41"/>
                <a:gd name="T23" fmla="*/ 18 h 55"/>
                <a:gd name="T24" fmla="*/ 10 w 41"/>
                <a:gd name="T25" fmla="*/ 16 h 55"/>
                <a:gd name="T26" fmla="*/ 10 w 41"/>
                <a:gd name="T27" fmla="*/ 19 h 55"/>
                <a:gd name="T28" fmla="*/ 10 w 41"/>
                <a:gd name="T29" fmla="*/ 25 h 55"/>
                <a:gd name="T30" fmla="*/ 9 w 41"/>
                <a:gd name="T31" fmla="*/ 26 h 55"/>
                <a:gd name="T32" fmla="*/ 0 w 41"/>
                <a:gd name="T33" fmla="*/ 19 h 55"/>
                <a:gd name="T34" fmla="*/ 2 w 41"/>
                <a:gd name="T35" fmla="*/ 15 h 55"/>
                <a:gd name="T36" fmla="*/ 3 w 41"/>
                <a:gd name="T37" fmla="*/ 10 h 55"/>
                <a:gd name="T38" fmla="*/ 9 w 41"/>
                <a:gd name="T39" fmla="*/ 7 h 55"/>
                <a:gd name="T40" fmla="*/ 13 w 41"/>
                <a:gd name="T41" fmla="*/ 3 h 55"/>
                <a:gd name="T42" fmla="*/ 18 w 41"/>
                <a:gd name="T43" fmla="*/ 0 h 55"/>
                <a:gd name="T44" fmla="*/ 22 w 41"/>
                <a:gd name="T45" fmla="*/ 2 h 55"/>
                <a:gd name="T46" fmla="*/ 26 w 41"/>
                <a:gd name="T47" fmla="*/ 5 h 55"/>
                <a:gd name="T48" fmla="*/ 31 w 41"/>
                <a:gd name="T49" fmla="*/ 3 h 55"/>
                <a:gd name="T50" fmla="*/ 35 w 41"/>
                <a:gd name="T51" fmla="*/ 5 h 55"/>
                <a:gd name="T52" fmla="*/ 35 w 41"/>
                <a:gd name="T53" fmla="*/ 9 h 55"/>
                <a:gd name="T54" fmla="*/ 39 w 41"/>
                <a:gd name="T55" fmla="*/ 15 h 55"/>
                <a:gd name="T56" fmla="*/ 39 w 41"/>
                <a:gd name="T57" fmla="*/ 21 h 55"/>
                <a:gd name="T58" fmla="*/ 36 w 41"/>
                <a:gd name="T59" fmla="*/ 28 h 55"/>
                <a:gd name="T60" fmla="*/ 34 w 41"/>
                <a:gd name="T61" fmla="*/ 36 h 55"/>
                <a:gd name="T62" fmla="*/ 32 w 41"/>
                <a:gd name="T63" fmla="*/ 48 h 55"/>
                <a:gd name="T64" fmla="*/ 31 w 41"/>
                <a:gd name="T65" fmla="*/ 49 h 55"/>
                <a:gd name="T66" fmla="*/ 25 w 41"/>
                <a:gd name="T6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55">
                  <a:moveTo>
                    <a:pt x="23" y="55"/>
                  </a:moveTo>
                  <a:lnTo>
                    <a:pt x="23" y="55"/>
                  </a:lnTo>
                  <a:lnTo>
                    <a:pt x="20" y="54"/>
                  </a:lnTo>
                  <a:lnTo>
                    <a:pt x="20" y="51"/>
                  </a:lnTo>
                  <a:lnTo>
                    <a:pt x="19" y="48"/>
                  </a:lnTo>
                  <a:lnTo>
                    <a:pt x="19" y="48"/>
                  </a:lnTo>
                  <a:lnTo>
                    <a:pt x="19" y="48"/>
                  </a:lnTo>
                  <a:lnTo>
                    <a:pt x="16" y="52"/>
                  </a:lnTo>
                  <a:lnTo>
                    <a:pt x="16" y="54"/>
                  </a:lnTo>
                  <a:lnTo>
                    <a:pt x="15" y="55"/>
                  </a:lnTo>
                  <a:lnTo>
                    <a:pt x="15" y="55"/>
                  </a:lnTo>
                  <a:lnTo>
                    <a:pt x="13" y="54"/>
                  </a:lnTo>
                  <a:lnTo>
                    <a:pt x="12" y="51"/>
                  </a:lnTo>
                  <a:lnTo>
                    <a:pt x="10" y="45"/>
                  </a:lnTo>
                  <a:lnTo>
                    <a:pt x="10" y="45"/>
                  </a:lnTo>
                  <a:lnTo>
                    <a:pt x="10" y="39"/>
                  </a:lnTo>
                  <a:lnTo>
                    <a:pt x="10" y="36"/>
                  </a:lnTo>
                  <a:lnTo>
                    <a:pt x="12" y="35"/>
                  </a:lnTo>
                  <a:lnTo>
                    <a:pt x="12" y="35"/>
                  </a:lnTo>
                  <a:lnTo>
                    <a:pt x="16" y="29"/>
                  </a:lnTo>
                  <a:lnTo>
                    <a:pt x="16" y="25"/>
                  </a:lnTo>
                  <a:lnTo>
                    <a:pt x="16" y="23"/>
                  </a:lnTo>
                  <a:lnTo>
                    <a:pt x="16" y="23"/>
                  </a:lnTo>
                  <a:lnTo>
                    <a:pt x="13" y="18"/>
                  </a:lnTo>
                  <a:lnTo>
                    <a:pt x="12" y="16"/>
                  </a:lnTo>
                  <a:lnTo>
                    <a:pt x="10" y="16"/>
                  </a:lnTo>
                  <a:lnTo>
                    <a:pt x="10" y="16"/>
                  </a:lnTo>
                  <a:lnTo>
                    <a:pt x="10" y="19"/>
                  </a:lnTo>
                  <a:lnTo>
                    <a:pt x="10" y="22"/>
                  </a:lnTo>
                  <a:lnTo>
                    <a:pt x="10" y="25"/>
                  </a:lnTo>
                  <a:lnTo>
                    <a:pt x="9" y="26"/>
                  </a:lnTo>
                  <a:lnTo>
                    <a:pt x="9" y="26"/>
                  </a:lnTo>
                  <a:lnTo>
                    <a:pt x="5" y="23"/>
                  </a:lnTo>
                  <a:lnTo>
                    <a:pt x="0" y="19"/>
                  </a:lnTo>
                  <a:lnTo>
                    <a:pt x="0" y="19"/>
                  </a:lnTo>
                  <a:lnTo>
                    <a:pt x="2" y="15"/>
                  </a:lnTo>
                  <a:lnTo>
                    <a:pt x="2" y="12"/>
                  </a:lnTo>
                  <a:lnTo>
                    <a:pt x="3" y="10"/>
                  </a:lnTo>
                  <a:lnTo>
                    <a:pt x="3" y="10"/>
                  </a:lnTo>
                  <a:lnTo>
                    <a:pt x="9" y="7"/>
                  </a:lnTo>
                  <a:lnTo>
                    <a:pt x="13" y="3"/>
                  </a:lnTo>
                  <a:lnTo>
                    <a:pt x="13" y="3"/>
                  </a:lnTo>
                  <a:lnTo>
                    <a:pt x="15" y="2"/>
                  </a:lnTo>
                  <a:lnTo>
                    <a:pt x="18" y="0"/>
                  </a:lnTo>
                  <a:lnTo>
                    <a:pt x="20" y="0"/>
                  </a:lnTo>
                  <a:lnTo>
                    <a:pt x="22" y="2"/>
                  </a:lnTo>
                  <a:lnTo>
                    <a:pt x="22" y="2"/>
                  </a:lnTo>
                  <a:lnTo>
                    <a:pt x="26" y="5"/>
                  </a:lnTo>
                  <a:lnTo>
                    <a:pt x="31" y="3"/>
                  </a:lnTo>
                  <a:lnTo>
                    <a:pt x="31" y="3"/>
                  </a:lnTo>
                  <a:lnTo>
                    <a:pt x="34" y="3"/>
                  </a:lnTo>
                  <a:lnTo>
                    <a:pt x="35" y="5"/>
                  </a:lnTo>
                  <a:lnTo>
                    <a:pt x="35" y="9"/>
                  </a:lnTo>
                  <a:lnTo>
                    <a:pt x="35" y="9"/>
                  </a:lnTo>
                  <a:lnTo>
                    <a:pt x="36" y="12"/>
                  </a:lnTo>
                  <a:lnTo>
                    <a:pt x="39" y="15"/>
                  </a:lnTo>
                  <a:lnTo>
                    <a:pt x="41" y="18"/>
                  </a:lnTo>
                  <a:lnTo>
                    <a:pt x="39" y="21"/>
                  </a:lnTo>
                  <a:lnTo>
                    <a:pt x="39" y="21"/>
                  </a:lnTo>
                  <a:lnTo>
                    <a:pt x="36" y="28"/>
                  </a:lnTo>
                  <a:lnTo>
                    <a:pt x="34" y="36"/>
                  </a:lnTo>
                  <a:lnTo>
                    <a:pt x="34" y="36"/>
                  </a:lnTo>
                  <a:lnTo>
                    <a:pt x="32" y="44"/>
                  </a:lnTo>
                  <a:lnTo>
                    <a:pt x="32" y="48"/>
                  </a:lnTo>
                  <a:lnTo>
                    <a:pt x="31" y="49"/>
                  </a:lnTo>
                  <a:lnTo>
                    <a:pt x="31" y="49"/>
                  </a:lnTo>
                  <a:lnTo>
                    <a:pt x="26" y="52"/>
                  </a:lnTo>
                  <a:lnTo>
                    <a:pt x="25" y="55"/>
                  </a:lnTo>
                  <a:lnTo>
                    <a:pt x="23" y="55"/>
                  </a:lnTo>
                  <a:close/>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10" name="Freeform 861"/>
            <p:cNvSpPr>
              <a:spLocks/>
            </p:cNvSpPr>
            <p:nvPr/>
          </p:nvSpPr>
          <p:spPr bwMode="auto">
            <a:xfrm>
              <a:off x="7621588" y="3800476"/>
              <a:ext cx="65088" cy="87313"/>
            </a:xfrm>
            <a:custGeom>
              <a:avLst/>
              <a:gdLst>
                <a:gd name="T0" fmla="*/ 23 w 41"/>
                <a:gd name="T1" fmla="*/ 55 h 55"/>
                <a:gd name="T2" fmla="*/ 20 w 41"/>
                <a:gd name="T3" fmla="*/ 51 h 55"/>
                <a:gd name="T4" fmla="*/ 19 w 41"/>
                <a:gd name="T5" fmla="*/ 48 h 55"/>
                <a:gd name="T6" fmla="*/ 16 w 41"/>
                <a:gd name="T7" fmla="*/ 52 h 55"/>
                <a:gd name="T8" fmla="*/ 15 w 41"/>
                <a:gd name="T9" fmla="*/ 55 h 55"/>
                <a:gd name="T10" fmla="*/ 13 w 41"/>
                <a:gd name="T11" fmla="*/ 54 h 55"/>
                <a:gd name="T12" fmla="*/ 10 w 41"/>
                <a:gd name="T13" fmla="*/ 45 h 55"/>
                <a:gd name="T14" fmla="*/ 10 w 41"/>
                <a:gd name="T15" fmla="*/ 39 h 55"/>
                <a:gd name="T16" fmla="*/ 12 w 41"/>
                <a:gd name="T17" fmla="*/ 35 h 55"/>
                <a:gd name="T18" fmla="*/ 16 w 41"/>
                <a:gd name="T19" fmla="*/ 29 h 55"/>
                <a:gd name="T20" fmla="*/ 16 w 41"/>
                <a:gd name="T21" fmla="*/ 23 h 55"/>
                <a:gd name="T22" fmla="*/ 13 w 41"/>
                <a:gd name="T23" fmla="*/ 18 h 55"/>
                <a:gd name="T24" fmla="*/ 10 w 41"/>
                <a:gd name="T25" fmla="*/ 16 h 55"/>
                <a:gd name="T26" fmla="*/ 10 w 41"/>
                <a:gd name="T27" fmla="*/ 19 h 55"/>
                <a:gd name="T28" fmla="*/ 10 w 41"/>
                <a:gd name="T29" fmla="*/ 25 h 55"/>
                <a:gd name="T30" fmla="*/ 9 w 41"/>
                <a:gd name="T31" fmla="*/ 26 h 55"/>
                <a:gd name="T32" fmla="*/ 0 w 41"/>
                <a:gd name="T33" fmla="*/ 19 h 55"/>
                <a:gd name="T34" fmla="*/ 2 w 41"/>
                <a:gd name="T35" fmla="*/ 15 h 55"/>
                <a:gd name="T36" fmla="*/ 3 w 41"/>
                <a:gd name="T37" fmla="*/ 10 h 55"/>
                <a:gd name="T38" fmla="*/ 9 w 41"/>
                <a:gd name="T39" fmla="*/ 7 h 55"/>
                <a:gd name="T40" fmla="*/ 13 w 41"/>
                <a:gd name="T41" fmla="*/ 3 h 55"/>
                <a:gd name="T42" fmla="*/ 18 w 41"/>
                <a:gd name="T43" fmla="*/ 0 h 55"/>
                <a:gd name="T44" fmla="*/ 22 w 41"/>
                <a:gd name="T45" fmla="*/ 2 h 55"/>
                <a:gd name="T46" fmla="*/ 26 w 41"/>
                <a:gd name="T47" fmla="*/ 5 h 55"/>
                <a:gd name="T48" fmla="*/ 31 w 41"/>
                <a:gd name="T49" fmla="*/ 3 h 55"/>
                <a:gd name="T50" fmla="*/ 35 w 41"/>
                <a:gd name="T51" fmla="*/ 5 h 55"/>
                <a:gd name="T52" fmla="*/ 35 w 41"/>
                <a:gd name="T53" fmla="*/ 9 h 55"/>
                <a:gd name="T54" fmla="*/ 39 w 41"/>
                <a:gd name="T55" fmla="*/ 15 h 55"/>
                <a:gd name="T56" fmla="*/ 39 w 41"/>
                <a:gd name="T57" fmla="*/ 21 h 55"/>
                <a:gd name="T58" fmla="*/ 36 w 41"/>
                <a:gd name="T59" fmla="*/ 28 h 55"/>
                <a:gd name="T60" fmla="*/ 34 w 41"/>
                <a:gd name="T61" fmla="*/ 36 h 55"/>
                <a:gd name="T62" fmla="*/ 32 w 41"/>
                <a:gd name="T63" fmla="*/ 48 h 55"/>
                <a:gd name="T64" fmla="*/ 31 w 41"/>
                <a:gd name="T65" fmla="*/ 49 h 55"/>
                <a:gd name="T66" fmla="*/ 25 w 41"/>
                <a:gd name="T6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55">
                  <a:moveTo>
                    <a:pt x="23" y="55"/>
                  </a:moveTo>
                  <a:lnTo>
                    <a:pt x="23" y="55"/>
                  </a:lnTo>
                  <a:lnTo>
                    <a:pt x="20" y="54"/>
                  </a:lnTo>
                  <a:lnTo>
                    <a:pt x="20" y="51"/>
                  </a:lnTo>
                  <a:lnTo>
                    <a:pt x="19" y="48"/>
                  </a:lnTo>
                  <a:lnTo>
                    <a:pt x="19" y="48"/>
                  </a:lnTo>
                  <a:lnTo>
                    <a:pt x="19" y="48"/>
                  </a:lnTo>
                  <a:lnTo>
                    <a:pt x="16" y="52"/>
                  </a:lnTo>
                  <a:lnTo>
                    <a:pt x="16" y="54"/>
                  </a:lnTo>
                  <a:lnTo>
                    <a:pt x="15" y="55"/>
                  </a:lnTo>
                  <a:lnTo>
                    <a:pt x="15" y="55"/>
                  </a:lnTo>
                  <a:lnTo>
                    <a:pt x="13" y="54"/>
                  </a:lnTo>
                  <a:lnTo>
                    <a:pt x="12" y="51"/>
                  </a:lnTo>
                  <a:lnTo>
                    <a:pt x="10" y="45"/>
                  </a:lnTo>
                  <a:lnTo>
                    <a:pt x="10" y="45"/>
                  </a:lnTo>
                  <a:lnTo>
                    <a:pt x="10" y="39"/>
                  </a:lnTo>
                  <a:lnTo>
                    <a:pt x="10" y="36"/>
                  </a:lnTo>
                  <a:lnTo>
                    <a:pt x="12" y="35"/>
                  </a:lnTo>
                  <a:lnTo>
                    <a:pt x="12" y="35"/>
                  </a:lnTo>
                  <a:lnTo>
                    <a:pt x="16" y="29"/>
                  </a:lnTo>
                  <a:lnTo>
                    <a:pt x="16" y="25"/>
                  </a:lnTo>
                  <a:lnTo>
                    <a:pt x="16" y="23"/>
                  </a:lnTo>
                  <a:lnTo>
                    <a:pt x="16" y="23"/>
                  </a:lnTo>
                  <a:lnTo>
                    <a:pt x="13" y="18"/>
                  </a:lnTo>
                  <a:lnTo>
                    <a:pt x="12" y="16"/>
                  </a:lnTo>
                  <a:lnTo>
                    <a:pt x="10" y="16"/>
                  </a:lnTo>
                  <a:lnTo>
                    <a:pt x="10" y="16"/>
                  </a:lnTo>
                  <a:lnTo>
                    <a:pt x="10" y="19"/>
                  </a:lnTo>
                  <a:lnTo>
                    <a:pt x="10" y="22"/>
                  </a:lnTo>
                  <a:lnTo>
                    <a:pt x="10" y="25"/>
                  </a:lnTo>
                  <a:lnTo>
                    <a:pt x="9" y="26"/>
                  </a:lnTo>
                  <a:lnTo>
                    <a:pt x="9" y="26"/>
                  </a:lnTo>
                  <a:lnTo>
                    <a:pt x="5" y="23"/>
                  </a:lnTo>
                  <a:lnTo>
                    <a:pt x="0" y="19"/>
                  </a:lnTo>
                  <a:lnTo>
                    <a:pt x="0" y="19"/>
                  </a:lnTo>
                  <a:lnTo>
                    <a:pt x="2" y="15"/>
                  </a:lnTo>
                  <a:lnTo>
                    <a:pt x="2" y="12"/>
                  </a:lnTo>
                  <a:lnTo>
                    <a:pt x="3" y="10"/>
                  </a:lnTo>
                  <a:lnTo>
                    <a:pt x="3" y="10"/>
                  </a:lnTo>
                  <a:lnTo>
                    <a:pt x="9" y="7"/>
                  </a:lnTo>
                  <a:lnTo>
                    <a:pt x="13" y="3"/>
                  </a:lnTo>
                  <a:lnTo>
                    <a:pt x="13" y="3"/>
                  </a:lnTo>
                  <a:lnTo>
                    <a:pt x="15" y="2"/>
                  </a:lnTo>
                  <a:lnTo>
                    <a:pt x="18" y="0"/>
                  </a:lnTo>
                  <a:lnTo>
                    <a:pt x="20" y="0"/>
                  </a:lnTo>
                  <a:lnTo>
                    <a:pt x="22" y="2"/>
                  </a:lnTo>
                  <a:lnTo>
                    <a:pt x="22" y="2"/>
                  </a:lnTo>
                  <a:lnTo>
                    <a:pt x="26" y="5"/>
                  </a:lnTo>
                  <a:lnTo>
                    <a:pt x="31" y="3"/>
                  </a:lnTo>
                  <a:lnTo>
                    <a:pt x="31" y="3"/>
                  </a:lnTo>
                  <a:lnTo>
                    <a:pt x="34" y="3"/>
                  </a:lnTo>
                  <a:lnTo>
                    <a:pt x="35" y="5"/>
                  </a:lnTo>
                  <a:lnTo>
                    <a:pt x="35" y="9"/>
                  </a:lnTo>
                  <a:lnTo>
                    <a:pt x="35" y="9"/>
                  </a:lnTo>
                  <a:lnTo>
                    <a:pt x="36" y="12"/>
                  </a:lnTo>
                  <a:lnTo>
                    <a:pt x="39" y="15"/>
                  </a:lnTo>
                  <a:lnTo>
                    <a:pt x="41" y="18"/>
                  </a:lnTo>
                  <a:lnTo>
                    <a:pt x="39" y="21"/>
                  </a:lnTo>
                  <a:lnTo>
                    <a:pt x="39" y="21"/>
                  </a:lnTo>
                  <a:lnTo>
                    <a:pt x="36" y="28"/>
                  </a:lnTo>
                  <a:lnTo>
                    <a:pt x="34" y="36"/>
                  </a:lnTo>
                  <a:lnTo>
                    <a:pt x="34" y="36"/>
                  </a:lnTo>
                  <a:lnTo>
                    <a:pt x="32" y="44"/>
                  </a:lnTo>
                  <a:lnTo>
                    <a:pt x="32" y="48"/>
                  </a:lnTo>
                  <a:lnTo>
                    <a:pt x="31" y="49"/>
                  </a:lnTo>
                  <a:lnTo>
                    <a:pt x="31" y="49"/>
                  </a:lnTo>
                  <a:lnTo>
                    <a:pt x="26" y="52"/>
                  </a:lnTo>
                  <a:lnTo>
                    <a:pt x="25" y="55"/>
                  </a:lnTo>
                  <a:lnTo>
                    <a:pt x="23" y="5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11" name="Freeform 862"/>
            <p:cNvSpPr>
              <a:spLocks/>
            </p:cNvSpPr>
            <p:nvPr/>
          </p:nvSpPr>
          <p:spPr bwMode="auto">
            <a:xfrm>
              <a:off x="7691438" y="3787776"/>
              <a:ext cx="63500" cy="53975"/>
            </a:xfrm>
            <a:custGeom>
              <a:avLst/>
              <a:gdLst>
                <a:gd name="T0" fmla="*/ 10 w 40"/>
                <a:gd name="T1" fmla="*/ 34 h 34"/>
                <a:gd name="T2" fmla="*/ 10 w 40"/>
                <a:gd name="T3" fmla="*/ 34 h 34"/>
                <a:gd name="T4" fmla="*/ 7 w 40"/>
                <a:gd name="T5" fmla="*/ 31 h 34"/>
                <a:gd name="T6" fmla="*/ 5 w 40"/>
                <a:gd name="T7" fmla="*/ 27 h 34"/>
                <a:gd name="T8" fmla="*/ 5 w 40"/>
                <a:gd name="T9" fmla="*/ 24 h 34"/>
                <a:gd name="T10" fmla="*/ 4 w 40"/>
                <a:gd name="T11" fmla="*/ 21 h 34"/>
                <a:gd name="T12" fmla="*/ 4 w 40"/>
                <a:gd name="T13" fmla="*/ 21 h 34"/>
                <a:gd name="T14" fmla="*/ 1 w 40"/>
                <a:gd name="T15" fmla="*/ 21 h 34"/>
                <a:gd name="T16" fmla="*/ 0 w 40"/>
                <a:gd name="T17" fmla="*/ 20 h 34"/>
                <a:gd name="T18" fmla="*/ 0 w 40"/>
                <a:gd name="T19" fmla="*/ 20 h 34"/>
                <a:gd name="T20" fmla="*/ 0 w 40"/>
                <a:gd name="T21" fmla="*/ 20 h 34"/>
                <a:gd name="T22" fmla="*/ 10 w 40"/>
                <a:gd name="T23" fmla="*/ 8 h 34"/>
                <a:gd name="T24" fmla="*/ 10 w 40"/>
                <a:gd name="T25" fmla="*/ 8 h 34"/>
                <a:gd name="T26" fmla="*/ 11 w 40"/>
                <a:gd name="T27" fmla="*/ 8 h 34"/>
                <a:gd name="T28" fmla="*/ 14 w 40"/>
                <a:gd name="T29" fmla="*/ 8 h 34"/>
                <a:gd name="T30" fmla="*/ 16 w 40"/>
                <a:gd name="T31" fmla="*/ 10 h 34"/>
                <a:gd name="T32" fmla="*/ 18 w 40"/>
                <a:gd name="T33" fmla="*/ 10 h 34"/>
                <a:gd name="T34" fmla="*/ 18 w 40"/>
                <a:gd name="T35" fmla="*/ 10 h 34"/>
                <a:gd name="T36" fmla="*/ 23 w 40"/>
                <a:gd name="T37" fmla="*/ 8 h 34"/>
                <a:gd name="T38" fmla="*/ 24 w 40"/>
                <a:gd name="T39" fmla="*/ 5 h 34"/>
                <a:gd name="T40" fmla="*/ 26 w 40"/>
                <a:gd name="T41" fmla="*/ 1 h 34"/>
                <a:gd name="T42" fmla="*/ 29 w 40"/>
                <a:gd name="T43" fmla="*/ 0 h 34"/>
                <a:gd name="T44" fmla="*/ 29 w 40"/>
                <a:gd name="T45" fmla="*/ 0 h 34"/>
                <a:gd name="T46" fmla="*/ 32 w 40"/>
                <a:gd name="T47" fmla="*/ 0 h 34"/>
                <a:gd name="T48" fmla="*/ 34 w 40"/>
                <a:gd name="T49" fmla="*/ 1 h 34"/>
                <a:gd name="T50" fmla="*/ 40 w 40"/>
                <a:gd name="T51" fmla="*/ 5 h 34"/>
                <a:gd name="T52" fmla="*/ 40 w 40"/>
                <a:gd name="T53" fmla="*/ 5 h 34"/>
                <a:gd name="T54" fmla="*/ 40 w 40"/>
                <a:gd name="T55" fmla="*/ 8 h 34"/>
                <a:gd name="T56" fmla="*/ 37 w 40"/>
                <a:gd name="T57" fmla="*/ 13 h 34"/>
                <a:gd name="T58" fmla="*/ 34 w 40"/>
                <a:gd name="T59" fmla="*/ 17 h 34"/>
                <a:gd name="T60" fmla="*/ 33 w 40"/>
                <a:gd name="T61" fmla="*/ 18 h 34"/>
                <a:gd name="T62" fmla="*/ 33 w 40"/>
                <a:gd name="T63" fmla="*/ 18 h 34"/>
                <a:gd name="T64" fmla="*/ 27 w 40"/>
                <a:gd name="T65" fmla="*/ 17 h 34"/>
                <a:gd name="T66" fmla="*/ 23 w 40"/>
                <a:gd name="T67" fmla="*/ 17 h 34"/>
                <a:gd name="T68" fmla="*/ 20 w 40"/>
                <a:gd name="T69" fmla="*/ 18 h 34"/>
                <a:gd name="T70" fmla="*/ 20 w 40"/>
                <a:gd name="T71" fmla="*/ 18 h 34"/>
                <a:gd name="T72" fmla="*/ 16 w 40"/>
                <a:gd name="T73" fmla="*/ 29 h 34"/>
                <a:gd name="T74" fmla="*/ 13 w 40"/>
                <a:gd name="T75" fmla="*/ 33 h 34"/>
                <a:gd name="T76" fmla="*/ 11 w 40"/>
                <a:gd name="T77" fmla="*/ 34 h 34"/>
                <a:gd name="T78" fmla="*/ 10 w 40"/>
                <a:gd name="T7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 h="34">
                  <a:moveTo>
                    <a:pt x="10" y="34"/>
                  </a:moveTo>
                  <a:lnTo>
                    <a:pt x="10" y="34"/>
                  </a:lnTo>
                  <a:lnTo>
                    <a:pt x="7" y="31"/>
                  </a:lnTo>
                  <a:lnTo>
                    <a:pt x="5" y="27"/>
                  </a:lnTo>
                  <a:lnTo>
                    <a:pt x="5" y="24"/>
                  </a:lnTo>
                  <a:lnTo>
                    <a:pt x="4" y="21"/>
                  </a:lnTo>
                  <a:lnTo>
                    <a:pt x="4" y="21"/>
                  </a:lnTo>
                  <a:lnTo>
                    <a:pt x="1" y="21"/>
                  </a:lnTo>
                  <a:lnTo>
                    <a:pt x="0" y="20"/>
                  </a:lnTo>
                  <a:lnTo>
                    <a:pt x="0" y="20"/>
                  </a:lnTo>
                  <a:lnTo>
                    <a:pt x="0" y="20"/>
                  </a:lnTo>
                  <a:lnTo>
                    <a:pt x="10" y="8"/>
                  </a:lnTo>
                  <a:lnTo>
                    <a:pt x="10" y="8"/>
                  </a:lnTo>
                  <a:lnTo>
                    <a:pt x="11" y="8"/>
                  </a:lnTo>
                  <a:lnTo>
                    <a:pt x="14" y="8"/>
                  </a:lnTo>
                  <a:lnTo>
                    <a:pt x="16" y="10"/>
                  </a:lnTo>
                  <a:lnTo>
                    <a:pt x="18" y="10"/>
                  </a:lnTo>
                  <a:lnTo>
                    <a:pt x="18" y="10"/>
                  </a:lnTo>
                  <a:lnTo>
                    <a:pt x="23" y="8"/>
                  </a:lnTo>
                  <a:lnTo>
                    <a:pt x="24" y="5"/>
                  </a:lnTo>
                  <a:lnTo>
                    <a:pt x="26" y="1"/>
                  </a:lnTo>
                  <a:lnTo>
                    <a:pt x="29" y="0"/>
                  </a:lnTo>
                  <a:lnTo>
                    <a:pt x="29" y="0"/>
                  </a:lnTo>
                  <a:lnTo>
                    <a:pt x="32" y="0"/>
                  </a:lnTo>
                  <a:lnTo>
                    <a:pt x="34" y="1"/>
                  </a:lnTo>
                  <a:lnTo>
                    <a:pt x="40" y="5"/>
                  </a:lnTo>
                  <a:lnTo>
                    <a:pt x="40" y="5"/>
                  </a:lnTo>
                  <a:lnTo>
                    <a:pt x="40" y="8"/>
                  </a:lnTo>
                  <a:lnTo>
                    <a:pt x="37" y="13"/>
                  </a:lnTo>
                  <a:lnTo>
                    <a:pt x="34" y="17"/>
                  </a:lnTo>
                  <a:lnTo>
                    <a:pt x="33" y="18"/>
                  </a:lnTo>
                  <a:lnTo>
                    <a:pt x="33" y="18"/>
                  </a:lnTo>
                  <a:lnTo>
                    <a:pt x="27" y="17"/>
                  </a:lnTo>
                  <a:lnTo>
                    <a:pt x="23" y="17"/>
                  </a:lnTo>
                  <a:lnTo>
                    <a:pt x="20" y="18"/>
                  </a:lnTo>
                  <a:lnTo>
                    <a:pt x="20" y="18"/>
                  </a:lnTo>
                  <a:lnTo>
                    <a:pt x="16" y="29"/>
                  </a:lnTo>
                  <a:lnTo>
                    <a:pt x="13" y="33"/>
                  </a:lnTo>
                  <a:lnTo>
                    <a:pt x="11" y="34"/>
                  </a:lnTo>
                  <a:lnTo>
                    <a:pt x="10" y="34"/>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12" name="Freeform 863"/>
            <p:cNvSpPr>
              <a:spLocks/>
            </p:cNvSpPr>
            <p:nvPr/>
          </p:nvSpPr>
          <p:spPr bwMode="auto">
            <a:xfrm>
              <a:off x="7691438" y="3787776"/>
              <a:ext cx="63500" cy="53975"/>
            </a:xfrm>
            <a:custGeom>
              <a:avLst/>
              <a:gdLst>
                <a:gd name="T0" fmla="*/ 10 w 40"/>
                <a:gd name="T1" fmla="*/ 34 h 34"/>
                <a:gd name="T2" fmla="*/ 10 w 40"/>
                <a:gd name="T3" fmla="*/ 34 h 34"/>
                <a:gd name="T4" fmla="*/ 7 w 40"/>
                <a:gd name="T5" fmla="*/ 31 h 34"/>
                <a:gd name="T6" fmla="*/ 5 w 40"/>
                <a:gd name="T7" fmla="*/ 27 h 34"/>
                <a:gd name="T8" fmla="*/ 5 w 40"/>
                <a:gd name="T9" fmla="*/ 24 h 34"/>
                <a:gd name="T10" fmla="*/ 4 w 40"/>
                <a:gd name="T11" fmla="*/ 21 h 34"/>
                <a:gd name="T12" fmla="*/ 4 w 40"/>
                <a:gd name="T13" fmla="*/ 21 h 34"/>
                <a:gd name="T14" fmla="*/ 1 w 40"/>
                <a:gd name="T15" fmla="*/ 21 h 34"/>
                <a:gd name="T16" fmla="*/ 0 w 40"/>
                <a:gd name="T17" fmla="*/ 20 h 34"/>
                <a:gd name="T18" fmla="*/ 0 w 40"/>
                <a:gd name="T19" fmla="*/ 20 h 34"/>
                <a:gd name="T20" fmla="*/ 0 w 40"/>
                <a:gd name="T21" fmla="*/ 20 h 34"/>
                <a:gd name="T22" fmla="*/ 10 w 40"/>
                <a:gd name="T23" fmla="*/ 8 h 34"/>
                <a:gd name="T24" fmla="*/ 10 w 40"/>
                <a:gd name="T25" fmla="*/ 8 h 34"/>
                <a:gd name="T26" fmla="*/ 11 w 40"/>
                <a:gd name="T27" fmla="*/ 8 h 34"/>
                <a:gd name="T28" fmla="*/ 14 w 40"/>
                <a:gd name="T29" fmla="*/ 8 h 34"/>
                <a:gd name="T30" fmla="*/ 16 w 40"/>
                <a:gd name="T31" fmla="*/ 10 h 34"/>
                <a:gd name="T32" fmla="*/ 18 w 40"/>
                <a:gd name="T33" fmla="*/ 10 h 34"/>
                <a:gd name="T34" fmla="*/ 18 w 40"/>
                <a:gd name="T35" fmla="*/ 10 h 34"/>
                <a:gd name="T36" fmla="*/ 23 w 40"/>
                <a:gd name="T37" fmla="*/ 8 h 34"/>
                <a:gd name="T38" fmla="*/ 24 w 40"/>
                <a:gd name="T39" fmla="*/ 5 h 34"/>
                <a:gd name="T40" fmla="*/ 26 w 40"/>
                <a:gd name="T41" fmla="*/ 1 h 34"/>
                <a:gd name="T42" fmla="*/ 29 w 40"/>
                <a:gd name="T43" fmla="*/ 0 h 34"/>
                <a:gd name="T44" fmla="*/ 29 w 40"/>
                <a:gd name="T45" fmla="*/ 0 h 34"/>
                <a:gd name="T46" fmla="*/ 32 w 40"/>
                <a:gd name="T47" fmla="*/ 0 h 34"/>
                <a:gd name="T48" fmla="*/ 34 w 40"/>
                <a:gd name="T49" fmla="*/ 1 h 34"/>
                <a:gd name="T50" fmla="*/ 40 w 40"/>
                <a:gd name="T51" fmla="*/ 5 h 34"/>
                <a:gd name="T52" fmla="*/ 40 w 40"/>
                <a:gd name="T53" fmla="*/ 5 h 34"/>
                <a:gd name="T54" fmla="*/ 40 w 40"/>
                <a:gd name="T55" fmla="*/ 8 h 34"/>
                <a:gd name="T56" fmla="*/ 37 w 40"/>
                <a:gd name="T57" fmla="*/ 13 h 34"/>
                <a:gd name="T58" fmla="*/ 34 w 40"/>
                <a:gd name="T59" fmla="*/ 17 h 34"/>
                <a:gd name="T60" fmla="*/ 33 w 40"/>
                <a:gd name="T61" fmla="*/ 18 h 34"/>
                <a:gd name="T62" fmla="*/ 33 w 40"/>
                <a:gd name="T63" fmla="*/ 18 h 34"/>
                <a:gd name="T64" fmla="*/ 27 w 40"/>
                <a:gd name="T65" fmla="*/ 17 h 34"/>
                <a:gd name="T66" fmla="*/ 23 w 40"/>
                <a:gd name="T67" fmla="*/ 17 h 34"/>
                <a:gd name="T68" fmla="*/ 20 w 40"/>
                <a:gd name="T69" fmla="*/ 18 h 34"/>
                <a:gd name="T70" fmla="*/ 20 w 40"/>
                <a:gd name="T71" fmla="*/ 18 h 34"/>
                <a:gd name="T72" fmla="*/ 16 w 40"/>
                <a:gd name="T73" fmla="*/ 29 h 34"/>
                <a:gd name="T74" fmla="*/ 13 w 40"/>
                <a:gd name="T75" fmla="*/ 33 h 34"/>
                <a:gd name="T76" fmla="*/ 11 w 40"/>
                <a:gd name="T77" fmla="*/ 34 h 34"/>
                <a:gd name="T78" fmla="*/ 10 w 40"/>
                <a:gd name="T7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 h="34">
                  <a:moveTo>
                    <a:pt x="10" y="34"/>
                  </a:moveTo>
                  <a:lnTo>
                    <a:pt x="10" y="34"/>
                  </a:lnTo>
                  <a:lnTo>
                    <a:pt x="7" y="31"/>
                  </a:lnTo>
                  <a:lnTo>
                    <a:pt x="5" y="27"/>
                  </a:lnTo>
                  <a:lnTo>
                    <a:pt x="5" y="24"/>
                  </a:lnTo>
                  <a:lnTo>
                    <a:pt x="4" y="21"/>
                  </a:lnTo>
                  <a:lnTo>
                    <a:pt x="4" y="21"/>
                  </a:lnTo>
                  <a:lnTo>
                    <a:pt x="1" y="21"/>
                  </a:lnTo>
                  <a:lnTo>
                    <a:pt x="0" y="20"/>
                  </a:lnTo>
                  <a:lnTo>
                    <a:pt x="0" y="20"/>
                  </a:lnTo>
                  <a:lnTo>
                    <a:pt x="0" y="20"/>
                  </a:lnTo>
                  <a:lnTo>
                    <a:pt x="10" y="8"/>
                  </a:lnTo>
                  <a:lnTo>
                    <a:pt x="10" y="8"/>
                  </a:lnTo>
                  <a:lnTo>
                    <a:pt x="11" y="8"/>
                  </a:lnTo>
                  <a:lnTo>
                    <a:pt x="14" y="8"/>
                  </a:lnTo>
                  <a:lnTo>
                    <a:pt x="16" y="10"/>
                  </a:lnTo>
                  <a:lnTo>
                    <a:pt x="18" y="10"/>
                  </a:lnTo>
                  <a:lnTo>
                    <a:pt x="18" y="10"/>
                  </a:lnTo>
                  <a:lnTo>
                    <a:pt x="23" y="8"/>
                  </a:lnTo>
                  <a:lnTo>
                    <a:pt x="24" y="5"/>
                  </a:lnTo>
                  <a:lnTo>
                    <a:pt x="26" y="1"/>
                  </a:lnTo>
                  <a:lnTo>
                    <a:pt x="29" y="0"/>
                  </a:lnTo>
                  <a:lnTo>
                    <a:pt x="29" y="0"/>
                  </a:lnTo>
                  <a:lnTo>
                    <a:pt x="32" y="0"/>
                  </a:lnTo>
                  <a:lnTo>
                    <a:pt x="34" y="1"/>
                  </a:lnTo>
                  <a:lnTo>
                    <a:pt x="40" y="5"/>
                  </a:lnTo>
                  <a:lnTo>
                    <a:pt x="40" y="5"/>
                  </a:lnTo>
                  <a:lnTo>
                    <a:pt x="40" y="8"/>
                  </a:lnTo>
                  <a:lnTo>
                    <a:pt x="37" y="13"/>
                  </a:lnTo>
                  <a:lnTo>
                    <a:pt x="34" y="17"/>
                  </a:lnTo>
                  <a:lnTo>
                    <a:pt x="33" y="18"/>
                  </a:lnTo>
                  <a:lnTo>
                    <a:pt x="33" y="18"/>
                  </a:lnTo>
                  <a:lnTo>
                    <a:pt x="27" y="17"/>
                  </a:lnTo>
                  <a:lnTo>
                    <a:pt x="23" y="17"/>
                  </a:lnTo>
                  <a:lnTo>
                    <a:pt x="20" y="18"/>
                  </a:lnTo>
                  <a:lnTo>
                    <a:pt x="20" y="18"/>
                  </a:lnTo>
                  <a:lnTo>
                    <a:pt x="16" y="29"/>
                  </a:lnTo>
                  <a:lnTo>
                    <a:pt x="13" y="33"/>
                  </a:lnTo>
                  <a:lnTo>
                    <a:pt x="11" y="34"/>
                  </a:lnTo>
                  <a:lnTo>
                    <a:pt x="1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13" name="Freeform 864"/>
            <p:cNvSpPr>
              <a:spLocks/>
            </p:cNvSpPr>
            <p:nvPr/>
          </p:nvSpPr>
          <p:spPr bwMode="auto">
            <a:xfrm>
              <a:off x="7653338" y="3562351"/>
              <a:ext cx="284163" cy="252413"/>
            </a:xfrm>
            <a:custGeom>
              <a:avLst/>
              <a:gdLst>
                <a:gd name="T0" fmla="*/ 71 w 179"/>
                <a:gd name="T1" fmla="*/ 155 h 159"/>
                <a:gd name="T2" fmla="*/ 70 w 179"/>
                <a:gd name="T3" fmla="*/ 144 h 159"/>
                <a:gd name="T4" fmla="*/ 73 w 179"/>
                <a:gd name="T5" fmla="*/ 137 h 159"/>
                <a:gd name="T6" fmla="*/ 63 w 179"/>
                <a:gd name="T7" fmla="*/ 134 h 159"/>
                <a:gd name="T8" fmla="*/ 45 w 179"/>
                <a:gd name="T9" fmla="*/ 140 h 159"/>
                <a:gd name="T10" fmla="*/ 40 w 179"/>
                <a:gd name="T11" fmla="*/ 143 h 159"/>
                <a:gd name="T12" fmla="*/ 29 w 179"/>
                <a:gd name="T13" fmla="*/ 146 h 159"/>
                <a:gd name="T14" fmla="*/ 24 w 179"/>
                <a:gd name="T15" fmla="*/ 144 h 159"/>
                <a:gd name="T16" fmla="*/ 12 w 179"/>
                <a:gd name="T17" fmla="*/ 147 h 159"/>
                <a:gd name="T18" fmla="*/ 0 w 179"/>
                <a:gd name="T19" fmla="*/ 146 h 159"/>
                <a:gd name="T20" fmla="*/ 6 w 179"/>
                <a:gd name="T21" fmla="*/ 142 h 159"/>
                <a:gd name="T22" fmla="*/ 21 w 179"/>
                <a:gd name="T23" fmla="*/ 130 h 159"/>
                <a:gd name="T24" fmla="*/ 34 w 179"/>
                <a:gd name="T25" fmla="*/ 120 h 159"/>
                <a:gd name="T26" fmla="*/ 54 w 179"/>
                <a:gd name="T27" fmla="*/ 117 h 159"/>
                <a:gd name="T28" fmla="*/ 64 w 179"/>
                <a:gd name="T29" fmla="*/ 114 h 159"/>
                <a:gd name="T30" fmla="*/ 77 w 179"/>
                <a:gd name="T31" fmla="*/ 117 h 159"/>
                <a:gd name="T32" fmla="*/ 84 w 179"/>
                <a:gd name="T33" fmla="*/ 117 h 159"/>
                <a:gd name="T34" fmla="*/ 84 w 179"/>
                <a:gd name="T35" fmla="*/ 111 h 159"/>
                <a:gd name="T36" fmla="*/ 90 w 179"/>
                <a:gd name="T37" fmla="*/ 101 h 159"/>
                <a:gd name="T38" fmla="*/ 95 w 179"/>
                <a:gd name="T39" fmla="*/ 89 h 159"/>
                <a:gd name="T40" fmla="*/ 103 w 179"/>
                <a:gd name="T41" fmla="*/ 81 h 159"/>
                <a:gd name="T42" fmla="*/ 100 w 179"/>
                <a:gd name="T43" fmla="*/ 88 h 159"/>
                <a:gd name="T44" fmla="*/ 103 w 179"/>
                <a:gd name="T45" fmla="*/ 95 h 159"/>
                <a:gd name="T46" fmla="*/ 111 w 179"/>
                <a:gd name="T47" fmla="*/ 91 h 159"/>
                <a:gd name="T48" fmla="*/ 126 w 179"/>
                <a:gd name="T49" fmla="*/ 79 h 159"/>
                <a:gd name="T50" fmla="*/ 144 w 179"/>
                <a:gd name="T51" fmla="*/ 59 h 159"/>
                <a:gd name="T52" fmla="*/ 151 w 179"/>
                <a:gd name="T53" fmla="*/ 37 h 159"/>
                <a:gd name="T54" fmla="*/ 147 w 179"/>
                <a:gd name="T55" fmla="*/ 30 h 159"/>
                <a:gd name="T56" fmla="*/ 150 w 179"/>
                <a:gd name="T57" fmla="*/ 23 h 159"/>
                <a:gd name="T58" fmla="*/ 148 w 179"/>
                <a:gd name="T59" fmla="*/ 14 h 159"/>
                <a:gd name="T60" fmla="*/ 153 w 179"/>
                <a:gd name="T61" fmla="*/ 8 h 159"/>
                <a:gd name="T62" fmla="*/ 154 w 179"/>
                <a:gd name="T63" fmla="*/ 2 h 159"/>
                <a:gd name="T64" fmla="*/ 157 w 179"/>
                <a:gd name="T65" fmla="*/ 7 h 159"/>
                <a:gd name="T66" fmla="*/ 164 w 179"/>
                <a:gd name="T67" fmla="*/ 11 h 159"/>
                <a:gd name="T68" fmla="*/ 167 w 179"/>
                <a:gd name="T69" fmla="*/ 7 h 159"/>
                <a:gd name="T70" fmla="*/ 161 w 179"/>
                <a:gd name="T71" fmla="*/ 4 h 159"/>
                <a:gd name="T72" fmla="*/ 164 w 179"/>
                <a:gd name="T73" fmla="*/ 0 h 159"/>
                <a:gd name="T74" fmla="*/ 170 w 179"/>
                <a:gd name="T75" fmla="*/ 4 h 159"/>
                <a:gd name="T76" fmla="*/ 174 w 179"/>
                <a:gd name="T77" fmla="*/ 18 h 159"/>
                <a:gd name="T78" fmla="*/ 179 w 179"/>
                <a:gd name="T79" fmla="*/ 42 h 159"/>
                <a:gd name="T80" fmla="*/ 174 w 179"/>
                <a:gd name="T81" fmla="*/ 52 h 159"/>
                <a:gd name="T82" fmla="*/ 173 w 179"/>
                <a:gd name="T83" fmla="*/ 62 h 159"/>
                <a:gd name="T84" fmla="*/ 167 w 179"/>
                <a:gd name="T85" fmla="*/ 62 h 159"/>
                <a:gd name="T86" fmla="*/ 166 w 179"/>
                <a:gd name="T87" fmla="*/ 76 h 159"/>
                <a:gd name="T88" fmla="*/ 161 w 179"/>
                <a:gd name="T89" fmla="*/ 101 h 159"/>
                <a:gd name="T90" fmla="*/ 161 w 179"/>
                <a:gd name="T91" fmla="*/ 114 h 159"/>
                <a:gd name="T92" fmla="*/ 160 w 179"/>
                <a:gd name="T93" fmla="*/ 118 h 159"/>
                <a:gd name="T94" fmla="*/ 155 w 179"/>
                <a:gd name="T95" fmla="*/ 129 h 159"/>
                <a:gd name="T96" fmla="*/ 148 w 179"/>
                <a:gd name="T97" fmla="*/ 130 h 159"/>
                <a:gd name="T98" fmla="*/ 147 w 179"/>
                <a:gd name="T99" fmla="*/ 123 h 159"/>
                <a:gd name="T100" fmla="*/ 150 w 179"/>
                <a:gd name="T101" fmla="*/ 115 h 159"/>
                <a:gd name="T102" fmla="*/ 144 w 179"/>
                <a:gd name="T103" fmla="*/ 120 h 159"/>
                <a:gd name="T104" fmla="*/ 138 w 179"/>
                <a:gd name="T105" fmla="*/ 121 h 159"/>
                <a:gd name="T106" fmla="*/ 134 w 179"/>
                <a:gd name="T107" fmla="*/ 134 h 159"/>
                <a:gd name="T108" fmla="*/ 131 w 179"/>
                <a:gd name="T109" fmla="*/ 130 h 159"/>
                <a:gd name="T110" fmla="*/ 125 w 179"/>
                <a:gd name="T111" fmla="*/ 134 h 159"/>
                <a:gd name="T112" fmla="*/ 115 w 179"/>
                <a:gd name="T113" fmla="*/ 139 h 159"/>
                <a:gd name="T114" fmla="*/ 102 w 179"/>
                <a:gd name="T115" fmla="*/ 136 h 159"/>
                <a:gd name="T116" fmla="*/ 98 w 179"/>
                <a:gd name="T117" fmla="*/ 143 h 159"/>
                <a:gd name="T118" fmla="*/ 92 w 179"/>
                <a:gd name="T119" fmla="*/ 147 h 159"/>
                <a:gd name="T120" fmla="*/ 80 w 179"/>
                <a:gd name="T121"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9" h="159">
                  <a:moveTo>
                    <a:pt x="80" y="159"/>
                  </a:moveTo>
                  <a:lnTo>
                    <a:pt x="80" y="159"/>
                  </a:lnTo>
                  <a:lnTo>
                    <a:pt x="74" y="157"/>
                  </a:lnTo>
                  <a:lnTo>
                    <a:pt x="71" y="155"/>
                  </a:lnTo>
                  <a:lnTo>
                    <a:pt x="71" y="155"/>
                  </a:lnTo>
                  <a:lnTo>
                    <a:pt x="70" y="149"/>
                  </a:lnTo>
                  <a:lnTo>
                    <a:pt x="69" y="146"/>
                  </a:lnTo>
                  <a:lnTo>
                    <a:pt x="70" y="144"/>
                  </a:lnTo>
                  <a:lnTo>
                    <a:pt x="70" y="144"/>
                  </a:lnTo>
                  <a:lnTo>
                    <a:pt x="73" y="142"/>
                  </a:lnTo>
                  <a:lnTo>
                    <a:pt x="74" y="139"/>
                  </a:lnTo>
                  <a:lnTo>
                    <a:pt x="73" y="137"/>
                  </a:lnTo>
                  <a:lnTo>
                    <a:pt x="73" y="137"/>
                  </a:lnTo>
                  <a:lnTo>
                    <a:pt x="67" y="134"/>
                  </a:lnTo>
                  <a:lnTo>
                    <a:pt x="63" y="134"/>
                  </a:lnTo>
                  <a:lnTo>
                    <a:pt x="63" y="134"/>
                  </a:lnTo>
                  <a:lnTo>
                    <a:pt x="53" y="137"/>
                  </a:lnTo>
                  <a:lnTo>
                    <a:pt x="53" y="137"/>
                  </a:lnTo>
                  <a:lnTo>
                    <a:pt x="48" y="140"/>
                  </a:lnTo>
                  <a:lnTo>
                    <a:pt x="45" y="140"/>
                  </a:lnTo>
                  <a:lnTo>
                    <a:pt x="42" y="140"/>
                  </a:lnTo>
                  <a:lnTo>
                    <a:pt x="42" y="140"/>
                  </a:lnTo>
                  <a:lnTo>
                    <a:pt x="41" y="140"/>
                  </a:lnTo>
                  <a:lnTo>
                    <a:pt x="40" y="143"/>
                  </a:lnTo>
                  <a:lnTo>
                    <a:pt x="37" y="144"/>
                  </a:lnTo>
                  <a:lnTo>
                    <a:pt x="37" y="144"/>
                  </a:lnTo>
                  <a:lnTo>
                    <a:pt x="32" y="146"/>
                  </a:lnTo>
                  <a:lnTo>
                    <a:pt x="29" y="146"/>
                  </a:lnTo>
                  <a:lnTo>
                    <a:pt x="28" y="146"/>
                  </a:lnTo>
                  <a:lnTo>
                    <a:pt x="28" y="146"/>
                  </a:lnTo>
                  <a:lnTo>
                    <a:pt x="27" y="144"/>
                  </a:lnTo>
                  <a:lnTo>
                    <a:pt x="24" y="144"/>
                  </a:lnTo>
                  <a:lnTo>
                    <a:pt x="21" y="146"/>
                  </a:lnTo>
                  <a:lnTo>
                    <a:pt x="21" y="146"/>
                  </a:lnTo>
                  <a:lnTo>
                    <a:pt x="18" y="147"/>
                  </a:lnTo>
                  <a:lnTo>
                    <a:pt x="12" y="147"/>
                  </a:lnTo>
                  <a:lnTo>
                    <a:pt x="12" y="147"/>
                  </a:lnTo>
                  <a:lnTo>
                    <a:pt x="3" y="147"/>
                  </a:lnTo>
                  <a:lnTo>
                    <a:pt x="0" y="147"/>
                  </a:lnTo>
                  <a:lnTo>
                    <a:pt x="0" y="146"/>
                  </a:lnTo>
                  <a:lnTo>
                    <a:pt x="0" y="144"/>
                  </a:lnTo>
                  <a:lnTo>
                    <a:pt x="0" y="144"/>
                  </a:lnTo>
                  <a:lnTo>
                    <a:pt x="3" y="143"/>
                  </a:lnTo>
                  <a:lnTo>
                    <a:pt x="6" y="142"/>
                  </a:lnTo>
                  <a:lnTo>
                    <a:pt x="12" y="139"/>
                  </a:lnTo>
                  <a:lnTo>
                    <a:pt x="12" y="139"/>
                  </a:lnTo>
                  <a:lnTo>
                    <a:pt x="16" y="134"/>
                  </a:lnTo>
                  <a:lnTo>
                    <a:pt x="21" y="130"/>
                  </a:lnTo>
                  <a:lnTo>
                    <a:pt x="21" y="130"/>
                  </a:lnTo>
                  <a:lnTo>
                    <a:pt x="28" y="124"/>
                  </a:lnTo>
                  <a:lnTo>
                    <a:pt x="31" y="121"/>
                  </a:lnTo>
                  <a:lnTo>
                    <a:pt x="34" y="120"/>
                  </a:lnTo>
                  <a:lnTo>
                    <a:pt x="34" y="120"/>
                  </a:lnTo>
                  <a:lnTo>
                    <a:pt x="44" y="118"/>
                  </a:lnTo>
                  <a:lnTo>
                    <a:pt x="50" y="118"/>
                  </a:lnTo>
                  <a:lnTo>
                    <a:pt x="54" y="117"/>
                  </a:lnTo>
                  <a:lnTo>
                    <a:pt x="54" y="117"/>
                  </a:lnTo>
                  <a:lnTo>
                    <a:pt x="58" y="115"/>
                  </a:lnTo>
                  <a:lnTo>
                    <a:pt x="61" y="114"/>
                  </a:lnTo>
                  <a:lnTo>
                    <a:pt x="64" y="114"/>
                  </a:lnTo>
                  <a:lnTo>
                    <a:pt x="64" y="114"/>
                  </a:lnTo>
                  <a:lnTo>
                    <a:pt x="74" y="115"/>
                  </a:lnTo>
                  <a:lnTo>
                    <a:pt x="74" y="115"/>
                  </a:lnTo>
                  <a:lnTo>
                    <a:pt x="77" y="117"/>
                  </a:lnTo>
                  <a:lnTo>
                    <a:pt x="79" y="118"/>
                  </a:lnTo>
                  <a:lnTo>
                    <a:pt x="79" y="118"/>
                  </a:lnTo>
                  <a:lnTo>
                    <a:pt x="83" y="118"/>
                  </a:lnTo>
                  <a:lnTo>
                    <a:pt x="84" y="117"/>
                  </a:lnTo>
                  <a:lnTo>
                    <a:pt x="86" y="115"/>
                  </a:lnTo>
                  <a:lnTo>
                    <a:pt x="86" y="115"/>
                  </a:lnTo>
                  <a:lnTo>
                    <a:pt x="86" y="113"/>
                  </a:lnTo>
                  <a:lnTo>
                    <a:pt x="84" y="111"/>
                  </a:lnTo>
                  <a:lnTo>
                    <a:pt x="84" y="108"/>
                  </a:lnTo>
                  <a:lnTo>
                    <a:pt x="86" y="107"/>
                  </a:lnTo>
                  <a:lnTo>
                    <a:pt x="86" y="107"/>
                  </a:lnTo>
                  <a:lnTo>
                    <a:pt x="90" y="101"/>
                  </a:lnTo>
                  <a:lnTo>
                    <a:pt x="93" y="98"/>
                  </a:lnTo>
                  <a:lnTo>
                    <a:pt x="95" y="95"/>
                  </a:lnTo>
                  <a:lnTo>
                    <a:pt x="95" y="95"/>
                  </a:lnTo>
                  <a:lnTo>
                    <a:pt x="95" y="89"/>
                  </a:lnTo>
                  <a:lnTo>
                    <a:pt x="95" y="85"/>
                  </a:lnTo>
                  <a:lnTo>
                    <a:pt x="95" y="85"/>
                  </a:lnTo>
                  <a:lnTo>
                    <a:pt x="99" y="82"/>
                  </a:lnTo>
                  <a:lnTo>
                    <a:pt x="103" y="81"/>
                  </a:lnTo>
                  <a:lnTo>
                    <a:pt x="103" y="81"/>
                  </a:lnTo>
                  <a:lnTo>
                    <a:pt x="103" y="81"/>
                  </a:lnTo>
                  <a:lnTo>
                    <a:pt x="103" y="82"/>
                  </a:lnTo>
                  <a:lnTo>
                    <a:pt x="100" y="88"/>
                  </a:lnTo>
                  <a:lnTo>
                    <a:pt x="100" y="88"/>
                  </a:lnTo>
                  <a:lnTo>
                    <a:pt x="100" y="92"/>
                  </a:lnTo>
                  <a:lnTo>
                    <a:pt x="100" y="94"/>
                  </a:lnTo>
                  <a:lnTo>
                    <a:pt x="103" y="95"/>
                  </a:lnTo>
                  <a:lnTo>
                    <a:pt x="103" y="95"/>
                  </a:lnTo>
                  <a:lnTo>
                    <a:pt x="106" y="94"/>
                  </a:lnTo>
                  <a:lnTo>
                    <a:pt x="111" y="91"/>
                  </a:lnTo>
                  <a:lnTo>
                    <a:pt x="111" y="91"/>
                  </a:lnTo>
                  <a:lnTo>
                    <a:pt x="115" y="87"/>
                  </a:lnTo>
                  <a:lnTo>
                    <a:pt x="124" y="81"/>
                  </a:lnTo>
                  <a:lnTo>
                    <a:pt x="124" y="81"/>
                  </a:lnTo>
                  <a:lnTo>
                    <a:pt x="126" y="79"/>
                  </a:lnTo>
                  <a:lnTo>
                    <a:pt x="131" y="76"/>
                  </a:lnTo>
                  <a:lnTo>
                    <a:pt x="138" y="68"/>
                  </a:lnTo>
                  <a:lnTo>
                    <a:pt x="138" y="68"/>
                  </a:lnTo>
                  <a:lnTo>
                    <a:pt x="144" y="59"/>
                  </a:lnTo>
                  <a:lnTo>
                    <a:pt x="147" y="50"/>
                  </a:lnTo>
                  <a:lnTo>
                    <a:pt x="147" y="50"/>
                  </a:lnTo>
                  <a:lnTo>
                    <a:pt x="150" y="42"/>
                  </a:lnTo>
                  <a:lnTo>
                    <a:pt x="151" y="37"/>
                  </a:lnTo>
                  <a:lnTo>
                    <a:pt x="151" y="34"/>
                  </a:lnTo>
                  <a:lnTo>
                    <a:pt x="151" y="34"/>
                  </a:lnTo>
                  <a:lnTo>
                    <a:pt x="148" y="31"/>
                  </a:lnTo>
                  <a:lnTo>
                    <a:pt x="147" y="30"/>
                  </a:lnTo>
                  <a:lnTo>
                    <a:pt x="148" y="29"/>
                  </a:lnTo>
                  <a:lnTo>
                    <a:pt x="148" y="29"/>
                  </a:lnTo>
                  <a:lnTo>
                    <a:pt x="150" y="26"/>
                  </a:lnTo>
                  <a:lnTo>
                    <a:pt x="150" y="23"/>
                  </a:lnTo>
                  <a:lnTo>
                    <a:pt x="150" y="23"/>
                  </a:lnTo>
                  <a:lnTo>
                    <a:pt x="148" y="18"/>
                  </a:lnTo>
                  <a:lnTo>
                    <a:pt x="148" y="16"/>
                  </a:lnTo>
                  <a:lnTo>
                    <a:pt x="148" y="14"/>
                  </a:lnTo>
                  <a:lnTo>
                    <a:pt x="148" y="14"/>
                  </a:lnTo>
                  <a:lnTo>
                    <a:pt x="151" y="11"/>
                  </a:lnTo>
                  <a:lnTo>
                    <a:pt x="153" y="8"/>
                  </a:lnTo>
                  <a:lnTo>
                    <a:pt x="153" y="8"/>
                  </a:lnTo>
                  <a:lnTo>
                    <a:pt x="153" y="5"/>
                  </a:lnTo>
                  <a:lnTo>
                    <a:pt x="153" y="4"/>
                  </a:lnTo>
                  <a:lnTo>
                    <a:pt x="154" y="2"/>
                  </a:lnTo>
                  <a:lnTo>
                    <a:pt x="154" y="2"/>
                  </a:lnTo>
                  <a:lnTo>
                    <a:pt x="155" y="2"/>
                  </a:lnTo>
                  <a:lnTo>
                    <a:pt x="157" y="4"/>
                  </a:lnTo>
                  <a:lnTo>
                    <a:pt x="157" y="7"/>
                  </a:lnTo>
                  <a:lnTo>
                    <a:pt x="157" y="7"/>
                  </a:lnTo>
                  <a:lnTo>
                    <a:pt x="158" y="10"/>
                  </a:lnTo>
                  <a:lnTo>
                    <a:pt x="161" y="11"/>
                  </a:lnTo>
                  <a:lnTo>
                    <a:pt x="161" y="11"/>
                  </a:lnTo>
                  <a:lnTo>
                    <a:pt x="164" y="11"/>
                  </a:lnTo>
                  <a:lnTo>
                    <a:pt x="166" y="11"/>
                  </a:lnTo>
                  <a:lnTo>
                    <a:pt x="167" y="10"/>
                  </a:lnTo>
                  <a:lnTo>
                    <a:pt x="167" y="10"/>
                  </a:lnTo>
                  <a:lnTo>
                    <a:pt x="167" y="7"/>
                  </a:lnTo>
                  <a:lnTo>
                    <a:pt x="166" y="5"/>
                  </a:lnTo>
                  <a:lnTo>
                    <a:pt x="166" y="5"/>
                  </a:lnTo>
                  <a:lnTo>
                    <a:pt x="163" y="5"/>
                  </a:lnTo>
                  <a:lnTo>
                    <a:pt x="161" y="4"/>
                  </a:lnTo>
                  <a:lnTo>
                    <a:pt x="161" y="4"/>
                  </a:lnTo>
                  <a:lnTo>
                    <a:pt x="161" y="1"/>
                  </a:lnTo>
                  <a:lnTo>
                    <a:pt x="163" y="0"/>
                  </a:lnTo>
                  <a:lnTo>
                    <a:pt x="164" y="0"/>
                  </a:lnTo>
                  <a:lnTo>
                    <a:pt x="164" y="0"/>
                  </a:lnTo>
                  <a:lnTo>
                    <a:pt x="167" y="0"/>
                  </a:lnTo>
                  <a:lnTo>
                    <a:pt x="168" y="1"/>
                  </a:lnTo>
                  <a:lnTo>
                    <a:pt x="170" y="4"/>
                  </a:lnTo>
                  <a:lnTo>
                    <a:pt x="170" y="4"/>
                  </a:lnTo>
                  <a:lnTo>
                    <a:pt x="171" y="11"/>
                  </a:lnTo>
                  <a:lnTo>
                    <a:pt x="173" y="16"/>
                  </a:lnTo>
                  <a:lnTo>
                    <a:pt x="174" y="18"/>
                  </a:lnTo>
                  <a:lnTo>
                    <a:pt x="174" y="18"/>
                  </a:lnTo>
                  <a:lnTo>
                    <a:pt x="176" y="23"/>
                  </a:lnTo>
                  <a:lnTo>
                    <a:pt x="177" y="30"/>
                  </a:lnTo>
                  <a:lnTo>
                    <a:pt x="179" y="42"/>
                  </a:lnTo>
                  <a:lnTo>
                    <a:pt x="179" y="42"/>
                  </a:lnTo>
                  <a:lnTo>
                    <a:pt x="177" y="46"/>
                  </a:lnTo>
                  <a:lnTo>
                    <a:pt x="174" y="52"/>
                  </a:lnTo>
                  <a:lnTo>
                    <a:pt x="174" y="52"/>
                  </a:lnTo>
                  <a:lnTo>
                    <a:pt x="174" y="58"/>
                  </a:lnTo>
                  <a:lnTo>
                    <a:pt x="174" y="60"/>
                  </a:lnTo>
                  <a:lnTo>
                    <a:pt x="173" y="62"/>
                  </a:lnTo>
                  <a:lnTo>
                    <a:pt x="173" y="62"/>
                  </a:lnTo>
                  <a:lnTo>
                    <a:pt x="170" y="62"/>
                  </a:lnTo>
                  <a:lnTo>
                    <a:pt x="168" y="60"/>
                  </a:lnTo>
                  <a:lnTo>
                    <a:pt x="168" y="60"/>
                  </a:lnTo>
                  <a:lnTo>
                    <a:pt x="167" y="62"/>
                  </a:lnTo>
                  <a:lnTo>
                    <a:pt x="166" y="63"/>
                  </a:lnTo>
                  <a:lnTo>
                    <a:pt x="166" y="68"/>
                  </a:lnTo>
                  <a:lnTo>
                    <a:pt x="166" y="68"/>
                  </a:lnTo>
                  <a:lnTo>
                    <a:pt x="166" y="76"/>
                  </a:lnTo>
                  <a:lnTo>
                    <a:pt x="166" y="85"/>
                  </a:lnTo>
                  <a:lnTo>
                    <a:pt x="166" y="85"/>
                  </a:lnTo>
                  <a:lnTo>
                    <a:pt x="164" y="94"/>
                  </a:lnTo>
                  <a:lnTo>
                    <a:pt x="161" y="101"/>
                  </a:lnTo>
                  <a:lnTo>
                    <a:pt x="161" y="101"/>
                  </a:lnTo>
                  <a:lnTo>
                    <a:pt x="160" y="107"/>
                  </a:lnTo>
                  <a:lnTo>
                    <a:pt x="160" y="110"/>
                  </a:lnTo>
                  <a:lnTo>
                    <a:pt x="161" y="114"/>
                  </a:lnTo>
                  <a:lnTo>
                    <a:pt x="161" y="114"/>
                  </a:lnTo>
                  <a:lnTo>
                    <a:pt x="163" y="115"/>
                  </a:lnTo>
                  <a:lnTo>
                    <a:pt x="161" y="117"/>
                  </a:lnTo>
                  <a:lnTo>
                    <a:pt x="160" y="118"/>
                  </a:lnTo>
                  <a:lnTo>
                    <a:pt x="157" y="121"/>
                  </a:lnTo>
                  <a:lnTo>
                    <a:pt x="157" y="121"/>
                  </a:lnTo>
                  <a:lnTo>
                    <a:pt x="155" y="124"/>
                  </a:lnTo>
                  <a:lnTo>
                    <a:pt x="155" y="129"/>
                  </a:lnTo>
                  <a:lnTo>
                    <a:pt x="155" y="130"/>
                  </a:lnTo>
                  <a:lnTo>
                    <a:pt x="154" y="131"/>
                  </a:lnTo>
                  <a:lnTo>
                    <a:pt x="154" y="131"/>
                  </a:lnTo>
                  <a:lnTo>
                    <a:pt x="148" y="130"/>
                  </a:lnTo>
                  <a:lnTo>
                    <a:pt x="147" y="130"/>
                  </a:lnTo>
                  <a:lnTo>
                    <a:pt x="145" y="127"/>
                  </a:lnTo>
                  <a:lnTo>
                    <a:pt x="145" y="127"/>
                  </a:lnTo>
                  <a:lnTo>
                    <a:pt x="147" y="123"/>
                  </a:lnTo>
                  <a:lnTo>
                    <a:pt x="150" y="118"/>
                  </a:lnTo>
                  <a:lnTo>
                    <a:pt x="150" y="118"/>
                  </a:lnTo>
                  <a:lnTo>
                    <a:pt x="151" y="115"/>
                  </a:lnTo>
                  <a:lnTo>
                    <a:pt x="150" y="115"/>
                  </a:lnTo>
                  <a:lnTo>
                    <a:pt x="150" y="114"/>
                  </a:lnTo>
                  <a:lnTo>
                    <a:pt x="150" y="114"/>
                  </a:lnTo>
                  <a:lnTo>
                    <a:pt x="147" y="117"/>
                  </a:lnTo>
                  <a:lnTo>
                    <a:pt x="144" y="120"/>
                  </a:lnTo>
                  <a:lnTo>
                    <a:pt x="144" y="120"/>
                  </a:lnTo>
                  <a:lnTo>
                    <a:pt x="140" y="120"/>
                  </a:lnTo>
                  <a:lnTo>
                    <a:pt x="140" y="120"/>
                  </a:lnTo>
                  <a:lnTo>
                    <a:pt x="138" y="121"/>
                  </a:lnTo>
                  <a:lnTo>
                    <a:pt x="138" y="121"/>
                  </a:lnTo>
                  <a:lnTo>
                    <a:pt x="137" y="129"/>
                  </a:lnTo>
                  <a:lnTo>
                    <a:pt x="135" y="133"/>
                  </a:lnTo>
                  <a:lnTo>
                    <a:pt x="134" y="134"/>
                  </a:lnTo>
                  <a:lnTo>
                    <a:pt x="134" y="134"/>
                  </a:lnTo>
                  <a:lnTo>
                    <a:pt x="132" y="133"/>
                  </a:lnTo>
                  <a:lnTo>
                    <a:pt x="132" y="131"/>
                  </a:lnTo>
                  <a:lnTo>
                    <a:pt x="131" y="130"/>
                  </a:lnTo>
                  <a:lnTo>
                    <a:pt x="131" y="129"/>
                  </a:lnTo>
                  <a:lnTo>
                    <a:pt x="131" y="129"/>
                  </a:lnTo>
                  <a:lnTo>
                    <a:pt x="128" y="131"/>
                  </a:lnTo>
                  <a:lnTo>
                    <a:pt x="125" y="134"/>
                  </a:lnTo>
                  <a:lnTo>
                    <a:pt x="125" y="134"/>
                  </a:lnTo>
                  <a:lnTo>
                    <a:pt x="121" y="136"/>
                  </a:lnTo>
                  <a:lnTo>
                    <a:pt x="115" y="139"/>
                  </a:lnTo>
                  <a:lnTo>
                    <a:pt x="115" y="139"/>
                  </a:lnTo>
                  <a:lnTo>
                    <a:pt x="106" y="139"/>
                  </a:lnTo>
                  <a:lnTo>
                    <a:pt x="106" y="139"/>
                  </a:lnTo>
                  <a:lnTo>
                    <a:pt x="103" y="136"/>
                  </a:lnTo>
                  <a:lnTo>
                    <a:pt x="102" y="136"/>
                  </a:lnTo>
                  <a:lnTo>
                    <a:pt x="100" y="134"/>
                  </a:lnTo>
                  <a:lnTo>
                    <a:pt x="100" y="134"/>
                  </a:lnTo>
                  <a:lnTo>
                    <a:pt x="99" y="139"/>
                  </a:lnTo>
                  <a:lnTo>
                    <a:pt x="98" y="143"/>
                  </a:lnTo>
                  <a:lnTo>
                    <a:pt x="98" y="143"/>
                  </a:lnTo>
                  <a:lnTo>
                    <a:pt x="96" y="144"/>
                  </a:lnTo>
                  <a:lnTo>
                    <a:pt x="92" y="147"/>
                  </a:lnTo>
                  <a:lnTo>
                    <a:pt x="92" y="147"/>
                  </a:lnTo>
                  <a:lnTo>
                    <a:pt x="87" y="155"/>
                  </a:lnTo>
                  <a:lnTo>
                    <a:pt x="83" y="157"/>
                  </a:lnTo>
                  <a:lnTo>
                    <a:pt x="82" y="159"/>
                  </a:lnTo>
                  <a:lnTo>
                    <a:pt x="80" y="159"/>
                  </a:lnTo>
                  <a:close/>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14" name="Freeform 865"/>
            <p:cNvSpPr>
              <a:spLocks/>
            </p:cNvSpPr>
            <p:nvPr/>
          </p:nvSpPr>
          <p:spPr bwMode="auto">
            <a:xfrm>
              <a:off x="7653338" y="3562351"/>
              <a:ext cx="284163" cy="252413"/>
            </a:xfrm>
            <a:custGeom>
              <a:avLst/>
              <a:gdLst>
                <a:gd name="T0" fmla="*/ 71 w 179"/>
                <a:gd name="T1" fmla="*/ 155 h 159"/>
                <a:gd name="T2" fmla="*/ 70 w 179"/>
                <a:gd name="T3" fmla="*/ 144 h 159"/>
                <a:gd name="T4" fmla="*/ 73 w 179"/>
                <a:gd name="T5" fmla="*/ 137 h 159"/>
                <a:gd name="T6" fmla="*/ 63 w 179"/>
                <a:gd name="T7" fmla="*/ 134 h 159"/>
                <a:gd name="T8" fmla="*/ 45 w 179"/>
                <a:gd name="T9" fmla="*/ 140 h 159"/>
                <a:gd name="T10" fmla="*/ 40 w 179"/>
                <a:gd name="T11" fmla="*/ 143 h 159"/>
                <a:gd name="T12" fmla="*/ 29 w 179"/>
                <a:gd name="T13" fmla="*/ 146 h 159"/>
                <a:gd name="T14" fmla="*/ 24 w 179"/>
                <a:gd name="T15" fmla="*/ 144 h 159"/>
                <a:gd name="T16" fmla="*/ 12 w 179"/>
                <a:gd name="T17" fmla="*/ 147 h 159"/>
                <a:gd name="T18" fmla="*/ 0 w 179"/>
                <a:gd name="T19" fmla="*/ 146 h 159"/>
                <a:gd name="T20" fmla="*/ 6 w 179"/>
                <a:gd name="T21" fmla="*/ 142 h 159"/>
                <a:gd name="T22" fmla="*/ 21 w 179"/>
                <a:gd name="T23" fmla="*/ 130 h 159"/>
                <a:gd name="T24" fmla="*/ 34 w 179"/>
                <a:gd name="T25" fmla="*/ 120 h 159"/>
                <a:gd name="T26" fmla="*/ 54 w 179"/>
                <a:gd name="T27" fmla="*/ 117 h 159"/>
                <a:gd name="T28" fmla="*/ 64 w 179"/>
                <a:gd name="T29" fmla="*/ 114 h 159"/>
                <a:gd name="T30" fmla="*/ 77 w 179"/>
                <a:gd name="T31" fmla="*/ 117 h 159"/>
                <a:gd name="T32" fmla="*/ 84 w 179"/>
                <a:gd name="T33" fmla="*/ 117 h 159"/>
                <a:gd name="T34" fmla="*/ 84 w 179"/>
                <a:gd name="T35" fmla="*/ 111 h 159"/>
                <a:gd name="T36" fmla="*/ 90 w 179"/>
                <a:gd name="T37" fmla="*/ 101 h 159"/>
                <a:gd name="T38" fmla="*/ 95 w 179"/>
                <a:gd name="T39" fmla="*/ 89 h 159"/>
                <a:gd name="T40" fmla="*/ 103 w 179"/>
                <a:gd name="T41" fmla="*/ 81 h 159"/>
                <a:gd name="T42" fmla="*/ 100 w 179"/>
                <a:gd name="T43" fmla="*/ 88 h 159"/>
                <a:gd name="T44" fmla="*/ 103 w 179"/>
                <a:gd name="T45" fmla="*/ 95 h 159"/>
                <a:gd name="T46" fmla="*/ 111 w 179"/>
                <a:gd name="T47" fmla="*/ 91 h 159"/>
                <a:gd name="T48" fmla="*/ 126 w 179"/>
                <a:gd name="T49" fmla="*/ 79 h 159"/>
                <a:gd name="T50" fmla="*/ 144 w 179"/>
                <a:gd name="T51" fmla="*/ 59 h 159"/>
                <a:gd name="T52" fmla="*/ 151 w 179"/>
                <a:gd name="T53" fmla="*/ 37 h 159"/>
                <a:gd name="T54" fmla="*/ 147 w 179"/>
                <a:gd name="T55" fmla="*/ 30 h 159"/>
                <a:gd name="T56" fmla="*/ 150 w 179"/>
                <a:gd name="T57" fmla="*/ 23 h 159"/>
                <a:gd name="T58" fmla="*/ 148 w 179"/>
                <a:gd name="T59" fmla="*/ 14 h 159"/>
                <a:gd name="T60" fmla="*/ 153 w 179"/>
                <a:gd name="T61" fmla="*/ 8 h 159"/>
                <a:gd name="T62" fmla="*/ 154 w 179"/>
                <a:gd name="T63" fmla="*/ 2 h 159"/>
                <a:gd name="T64" fmla="*/ 157 w 179"/>
                <a:gd name="T65" fmla="*/ 7 h 159"/>
                <a:gd name="T66" fmla="*/ 164 w 179"/>
                <a:gd name="T67" fmla="*/ 11 h 159"/>
                <a:gd name="T68" fmla="*/ 167 w 179"/>
                <a:gd name="T69" fmla="*/ 7 h 159"/>
                <a:gd name="T70" fmla="*/ 161 w 179"/>
                <a:gd name="T71" fmla="*/ 4 h 159"/>
                <a:gd name="T72" fmla="*/ 164 w 179"/>
                <a:gd name="T73" fmla="*/ 0 h 159"/>
                <a:gd name="T74" fmla="*/ 170 w 179"/>
                <a:gd name="T75" fmla="*/ 4 h 159"/>
                <a:gd name="T76" fmla="*/ 174 w 179"/>
                <a:gd name="T77" fmla="*/ 18 h 159"/>
                <a:gd name="T78" fmla="*/ 179 w 179"/>
                <a:gd name="T79" fmla="*/ 42 h 159"/>
                <a:gd name="T80" fmla="*/ 174 w 179"/>
                <a:gd name="T81" fmla="*/ 52 h 159"/>
                <a:gd name="T82" fmla="*/ 173 w 179"/>
                <a:gd name="T83" fmla="*/ 62 h 159"/>
                <a:gd name="T84" fmla="*/ 167 w 179"/>
                <a:gd name="T85" fmla="*/ 62 h 159"/>
                <a:gd name="T86" fmla="*/ 166 w 179"/>
                <a:gd name="T87" fmla="*/ 76 h 159"/>
                <a:gd name="T88" fmla="*/ 161 w 179"/>
                <a:gd name="T89" fmla="*/ 101 h 159"/>
                <a:gd name="T90" fmla="*/ 161 w 179"/>
                <a:gd name="T91" fmla="*/ 114 h 159"/>
                <a:gd name="T92" fmla="*/ 160 w 179"/>
                <a:gd name="T93" fmla="*/ 118 h 159"/>
                <a:gd name="T94" fmla="*/ 155 w 179"/>
                <a:gd name="T95" fmla="*/ 129 h 159"/>
                <a:gd name="T96" fmla="*/ 148 w 179"/>
                <a:gd name="T97" fmla="*/ 130 h 159"/>
                <a:gd name="T98" fmla="*/ 147 w 179"/>
                <a:gd name="T99" fmla="*/ 123 h 159"/>
                <a:gd name="T100" fmla="*/ 150 w 179"/>
                <a:gd name="T101" fmla="*/ 115 h 159"/>
                <a:gd name="T102" fmla="*/ 144 w 179"/>
                <a:gd name="T103" fmla="*/ 120 h 159"/>
                <a:gd name="T104" fmla="*/ 138 w 179"/>
                <a:gd name="T105" fmla="*/ 121 h 159"/>
                <a:gd name="T106" fmla="*/ 134 w 179"/>
                <a:gd name="T107" fmla="*/ 134 h 159"/>
                <a:gd name="T108" fmla="*/ 131 w 179"/>
                <a:gd name="T109" fmla="*/ 130 h 159"/>
                <a:gd name="T110" fmla="*/ 125 w 179"/>
                <a:gd name="T111" fmla="*/ 134 h 159"/>
                <a:gd name="T112" fmla="*/ 115 w 179"/>
                <a:gd name="T113" fmla="*/ 139 h 159"/>
                <a:gd name="T114" fmla="*/ 102 w 179"/>
                <a:gd name="T115" fmla="*/ 136 h 159"/>
                <a:gd name="T116" fmla="*/ 98 w 179"/>
                <a:gd name="T117" fmla="*/ 143 h 159"/>
                <a:gd name="T118" fmla="*/ 92 w 179"/>
                <a:gd name="T119" fmla="*/ 147 h 159"/>
                <a:gd name="T120" fmla="*/ 80 w 179"/>
                <a:gd name="T121"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9" h="159">
                  <a:moveTo>
                    <a:pt x="80" y="159"/>
                  </a:moveTo>
                  <a:lnTo>
                    <a:pt x="80" y="159"/>
                  </a:lnTo>
                  <a:lnTo>
                    <a:pt x="74" y="157"/>
                  </a:lnTo>
                  <a:lnTo>
                    <a:pt x="71" y="155"/>
                  </a:lnTo>
                  <a:lnTo>
                    <a:pt x="71" y="155"/>
                  </a:lnTo>
                  <a:lnTo>
                    <a:pt x="70" y="149"/>
                  </a:lnTo>
                  <a:lnTo>
                    <a:pt x="69" y="146"/>
                  </a:lnTo>
                  <a:lnTo>
                    <a:pt x="70" y="144"/>
                  </a:lnTo>
                  <a:lnTo>
                    <a:pt x="70" y="144"/>
                  </a:lnTo>
                  <a:lnTo>
                    <a:pt x="73" y="142"/>
                  </a:lnTo>
                  <a:lnTo>
                    <a:pt x="74" y="139"/>
                  </a:lnTo>
                  <a:lnTo>
                    <a:pt x="73" y="137"/>
                  </a:lnTo>
                  <a:lnTo>
                    <a:pt x="73" y="137"/>
                  </a:lnTo>
                  <a:lnTo>
                    <a:pt x="67" y="134"/>
                  </a:lnTo>
                  <a:lnTo>
                    <a:pt x="63" y="134"/>
                  </a:lnTo>
                  <a:lnTo>
                    <a:pt x="63" y="134"/>
                  </a:lnTo>
                  <a:lnTo>
                    <a:pt x="53" y="137"/>
                  </a:lnTo>
                  <a:lnTo>
                    <a:pt x="53" y="137"/>
                  </a:lnTo>
                  <a:lnTo>
                    <a:pt x="48" y="140"/>
                  </a:lnTo>
                  <a:lnTo>
                    <a:pt x="45" y="140"/>
                  </a:lnTo>
                  <a:lnTo>
                    <a:pt x="42" y="140"/>
                  </a:lnTo>
                  <a:lnTo>
                    <a:pt x="42" y="140"/>
                  </a:lnTo>
                  <a:lnTo>
                    <a:pt x="41" y="140"/>
                  </a:lnTo>
                  <a:lnTo>
                    <a:pt x="40" y="143"/>
                  </a:lnTo>
                  <a:lnTo>
                    <a:pt x="37" y="144"/>
                  </a:lnTo>
                  <a:lnTo>
                    <a:pt x="37" y="144"/>
                  </a:lnTo>
                  <a:lnTo>
                    <a:pt x="32" y="146"/>
                  </a:lnTo>
                  <a:lnTo>
                    <a:pt x="29" y="146"/>
                  </a:lnTo>
                  <a:lnTo>
                    <a:pt x="28" y="146"/>
                  </a:lnTo>
                  <a:lnTo>
                    <a:pt x="28" y="146"/>
                  </a:lnTo>
                  <a:lnTo>
                    <a:pt x="27" y="144"/>
                  </a:lnTo>
                  <a:lnTo>
                    <a:pt x="24" y="144"/>
                  </a:lnTo>
                  <a:lnTo>
                    <a:pt x="21" y="146"/>
                  </a:lnTo>
                  <a:lnTo>
                    <a:pt x="21" y="146"/>
                  </a:lnTo>
                  <a:lnTo>
                    <a:pt x="18" y="147"/>
                  </a:lnTo>
                  <a:lnTo>
                    <a:pt x="12" y="147"/>
                  </a:lnTo>
                  <a:lnTo>
                    <a:pt x="12" y="147"/>
                  </a:lnTo>
                  <a:lnTo>
                    <a:pt x="3" y="147"/>
                  </a:lnTo>
                  <a:lnTo>
                    <a:pt x="0" y="147"/>
                  </a:lnTo>
                  <a:lnTo>
                    <a:pt x="0" y="146"/>
                  </a:lnTo>
                  <a:lnTo>
                    <a:pt x="0" y="144"/>
                  </a:lnTo>
                  <a:lnTo>
                    <a:pt x="0" y="144"/>
                  </a:lnTo>
                  <a:lnTo>
                    <a:pt x="3" y="143"/>
                  </a:lnTo>
                  <a:lnTo>
                    <a:pt x="6" y="142"/>
                  </a:lnTo>
                  <a:lnTo>
                    <a:pt x="12" y="139"/>
                  </a:lnTo>
                  <a:lnTo>
                    <a:pt x="12" y="139"/>
                  </a:lnTo>
                  <a:lnTo>
                    <a:pt x="16" y="134"/>
                  </a:lnTo>
                  <a:lnTo>
                    <a:pt x="21" y="130"/>
                  </a:lnTo>
                  <a:lnTo>
                    <a:pt x="21" y="130"/>
                  </a:lnTo>
                  <a:lnTo>
                    <a:pt x="28" y="124"/>
                  </a:lnTo>
                  <a:lnTo>
                    <a:pt x="31" y="121"/>
                  </a:lnTo>
                  <a:lnTo>
                    <a:pt x="34" y="120"/>
                  </a:lnTo>
                  <a:lnTo>
                    <a:pt x="34" y="120"/>
                  </a:lnTo>
                  <a:lnTo>
                    <a:pt x="44" y="118"/>
                  </a:lnTo>
                  <a:lnTo>
                    <a:pt x="50" y="118"/>
                  </a:lnTo>
                  <a:lnTo>
                    <a:pt x="54" y="117"/>
                  </a:lnTo>
                  <a:lnTo>
                    <a:pt x="54" y="117"/>
                  </a:lnTo>
                  <a:lnTo>
                    <a:pt x="58" y="115"/>
                  </a:lnTo>
                  <a:lnTo>
                    <a:pt x="61" y="114"/>
                  </a:lnTo>
                  <a:lnTo>
                    <a:pt x="64" y="114"/>
                  </a:lnTo>
                  <a:lnTo>
                    <a:pt x="64" y="114"/>
                  </a:lnTo>
                  <a:lnTo>
                    <a:pt x="74" y="115"/>
                  </a:lnTo>
                  <a:lnTo>
                    <a:pt x="74" y="115"/>
                  </a:lnTo>
                  <a:lnTo>
                    <a:pt x="77" y="117"/>
                  </a:lnTo>
                  <a:lnTo>
                    <a:pt x="79" y="118"/>
                  </a:lnTo>
                  <a:lnTo>
                    <a:pt x="79" y="118"/>
                  </a:lnTo>
                  <a:lnTo>
                    <a:pt x="83" y="118"/>
                  </a:lnTo>
                  <a:lnTo>
                    <a:pt x="84" y="117"/>
                  </a:lnTo>
                  <a:lnTo>
                    <a:pt x="86" y="115"/>
                  </a:lnTo>
                  <a:lnTo>
                    <a:pt x="86" y="115"/>
                  </a:lnTo>
                  <a:lnTo>
                    <a:pt x="86" y="113"/>
                  </a:lnTo>
                  <a:lnTo>
                    <a:pt x="84" y="111"/>
                  </a:lnTo>
                  <a:lnTo>
                    <a:pt x="84" y="108"/>
                  </a:lnTo>
                  <a:lnTo>
                    <a:pt x="86" y="107"/>
                  </a:lnTo>
                  <a:lnTo>
                    <a:pt x="86" y="107"/>
                  </a:lnTo>
                  <a:lnTo>
                    <a:pt x="90" y="101"/>
                  </a:lnTo>
                  <a:lnTo>
                    <a:pt x="93" y="98"/>
                  </a:lnTo>
                  <a:lnTo>
                    <a:pt x="95" y="95"/>
                  </a:lnTo>
                  <a:lnTo>
                    <a:pt x="95" y="95"/>
                  </a:lnTo>
                  <a:lnTo>
                    <a:pt x="95" y="89"/>
                  </a:lnTo>
                  <a:lnTo>
                    <a:pt x="95" y="85"/>
                  </a:lnTo>
                  <a:lnTo>
                    <a:pt x="95" y="85"/>
                  </a:lnTo>
                  <a:lnTo>
                    <a:pt x="99" y="82"/>
                  </a:lnTo>
                  <a:lnTo>
                    <a:pt x="103" y="81"/>
                  </a:lnTo>
                  <a:lnTo>
                    <a:pt x="103" y="81"/>
                  </a:lnTo>
                  <a:lnTo>
                    <a:pt x="103" y="81"/>
                  </a:lnTo>
                  <a:lnTo>
                    <a:pt x="103" y="82"/>
                  </a:lnTo>
                  <a:lnTo>
                    <a:pt x="100" y="88"/>
                  </a:lnTo>
                  <a:lnTo>
                    <a:pt x="100" y="88"/>
                  </a:lnTo>
                  <a:lnTo>
                    <a:pt x="100" y="92"/>
                  </a:lnTo>
                  <a:lnTo>
                    <a:pt x="100" y="94"/>
                  </a:lnTo>
                  <a:lnTo>
                    <a:pt x="103" y="95"/>
                  </a:lnTo>
                  <a:lnTo>
                    <a:pt x="103" y="95"/>
                  </a:lnTo>
                  <a:lnTo>
                    <a:pt x="106" y="94"/>
                  </a:lnTo>
                  <a:lnTo>
                    <a:pt x="111" y="91"/>
                  </a:lnTo>
                  <a:lnTo>
                    <a:pt x="111" y="91"/>
                  </a:lnTo>
                  <a:lnTo>
                    <a:pt x="115" y="87"/>
                  </a:lnTo>
                  <a:lnTo>
                    <a:pt x="124" y="81"/>
                  </a:lnTo>
                  <a:lnTo>
                    <a:pt x="124" y="81"/>
                  </a:lnTo>
                  <a:lnTo>
                    <a:pt x="126" y="79"/>
                  </a:lnTo>
                  <a:lnTo>
                    <a:pt x="131" y="76"/>
                  </a:lnTo>
                  <a:lnTo>
                    <a:pt x="138" y="68"/>
                  </a:lnTo>
                  <a:lnTo>
                    <a:pt x="138" y="68"/>
                  </a:lnTo>
                  <a:lnTo>
                    <a:pt x="144" y="59"/>
                  </a:lnTo>
                  <a:lnTo>
                    <a:pt x="147" y="50"/>
                  </a:lnTo>
                  <a:lnTo>
                    <a:pt x="147" y="50"/>
                  </a:lnTo>
                  <a:lnTo>
                    <a:pt x="150" y="42"/>
                  </a:lnTo>
                  <a:lnTo>
                    <a:pt x="151" y="37"/>
                  </a:lnTo>
                  <a:lnTo>
                    <a:pt x="151" y="34"/>
                  </a:lnTo>
                  <a:lnTo>
                    <a:pt x="151" y="34"/>
                  </a:lnTo>
                  <a:lnTo>
                    <a:pt x="148" y="31"/>
                  </a:lnTo>
                  <a:lnTo>
                    <a:pt x="147" y="30"/>
                  </a:lnTo>
                  <a:lnTo>
                    <a:pt x="148" y="29"/>
                  </a:lnTo>
                  <a:lnTo>
                    <a:pt x="148" y="29"/>
                  </a:lnTo>
                  <a:lnTo>
                    <a:pt x="150" y="26"/>
                  </a:lnTo>
                  <a:lnTo>
                    <a:pt x="150" y="23"/>
                  </a:lnTo>
                  <a:lnTo>
                    <a:pt x="150" y="23"/>
                  </a:lnTo>
                  <a:lnTo>
                    <a:pt x="148" y="18"/>
                  </a:lnTo>
                  <a:lnTo>
                    <a:pt x="148" y="16"/>
                  </a:lnTo>
                  <a:lnTo>
                    <a:pt x="148" y="14"/>
                  </a:lnTo>
                  <a:lnTo>
                    <a:pt x="148" y="14"/>
                  </a:lnTo>
                  <a:lnTo>
                    <a:pt x="151" y="11"/>
                  </a:lnTo>
                  <a:lnTo>
                    <a:pt x="153" y="8"/>
                  </a:lnTo>
                  <a:lnTo>
                    <a:pt x="153" y="8"/>
                  </a:lnTo>
                  <a:lnTo>
                    <a:pt x="153" y="5"/>
                  </a:lnTo>
                  <a:lnTo>
                    <a:pt x="153" y="4"/>
                  </a:lnTo>
                  <a:lnTo>
                    <a:pt x="154" y="2"/>
                  </a:lnTo>
                  <a:lnTo>
                    <a:pt x="154" y="2"/>
                  </a:lnTo>
                  <a:lnTo>
                    <a:pt x="155" y="2"/>
                  </a:lnTo>
                  <a:lnTo>
                    <a:pt x="157" y="4"/>
                  </a:lnTo>
                  <a:lnTo>
                    <a:pt x="157" y="7"/>
                  </a:lnTo>
                  <a:lnTo>
                    <a:pt x="157" y="7"/>
                  </a:lnTo>
                  <a:lnTo>
                    <a:pt x="158" y="10"/>
                  </a:lnTo>
                  <a:lnTo>
                    <a:pt x="161" y="11"/>
                  </a:lnTo>
                  <a:lnTo>
                    <a:pt x="161" y="11"/>
                  </a:lnTo>
                  <a:lnTo>
                    <a:pt x="164" y="11"/>
                  </a:lnTo>
                  <a:lnTo>
                    <a:pt x="166" y="11"/>
                  </a:lnTo>
                  <a:lnTo>
                    <a:pt x="167" y="10"/>
                  </a:lnTo>
                  <a:lnTo>
                    <a:pt x="167" y="10"/>
                  </a:lnTo>
                  <a:lnTo>
                    <a:pt x="167" y="7"/>
                  </a:lnTo>
                  <a:lnTo>
                    <a:pt x="166" y="5"/>
                  </a:lnTo>
                  <a:lnTo>
                    <a:pt x="166" y="5"/>
                  </a:lnTo>
                  <a:lnTo>
                    <a:pt x="163" y="5"/>
                  </a:lnTo>
                  <a:lnTo>
                    <a:pt x="161" y="4"/>
                  </a:lnTo>
                  <a:lnTo>
                    <a:pt x="161" y="4"/>
                  </a:lnTo>
                  <a:lnTo>
                    <a:pt x="161" y="1"/>
                  </a:lnTo>
                  <a:lnTo>
                    <a:pt x="163" y="0"/>
                  </a:lnTo>
                  <a:lnTo>
                    <a:pt x="164" y="0"/>
                  </a:lnTo>
                  <a:lnTo>
                    <a:pt x="164" y="0"/>
                  </a:lnTo>
                  <a:lnTo>
                    <a:pt x="167" y="0"/>
                  </a:lnTo>
                  <a:lnTo>
                    <a:pt x="168" y="1"/>
                  </a:lnTo>
                  <a:lnTo>
                    <a:pt x="170" y="4"/>
                  </a:lnTo>
                  <a:lnTo>
                    <a:pt x="170" y="4"/>
                  </a:lnTo>
                  <a:lnTo>
                    <a:pt x="171" y="11"/>
                  </a:lnTo>
                  <a:lnTo>
                    <a:pt x="173" y="16"/>
                  </a:lnTo>
                  <a:lnTo>
                    <a:pt x="174" y="18"/>
                  </a:lnTo>
                  <a:lnTo>
                    <a:pt x="174" y="18"/>
                  </a:lnTo>
                  <a:lnTo>
                    <a:pt x="176" y="23"/>
                  </a:lnTo>
                  <a:lnTo>
                    <a:pt x="177" y="30"/>
                  </a:lnTo>
                  <a:lnTo>
                    <a:pt x="179" y="42"/>
                  </a:lnTo>
                  <a:lnTo>
                    <a:pt x="179" y="42"/>
                  </a:lnTo>
                  <a:lnTo>
                    <a:pt x="177" y="46"/>
                  </a:lnTo>
                  <a:lnTo>
                    <a:pt x="174" y="52"/>
                  </a:lnTo>
                  <a:lnTo>
                    <a:pt x="174" y="52"/>
                  </a:lnTo>
                  <a:lnTo>
                    <a:pt x="174" y="58"/>
                  </a:lnTo>
                  <a:lnTo>
                    <a:pt x="174" y="60"/>
                  </a:lnTo>
                  <a:lnTo>
                    <a:pt x="173" y="62"/>
                  </a:lnTo>
                  <a:lnTo>
                    <a:pt x="173" y="62"/>
                  </a:lnTo>
                  <a:lnTo>
                    <a:pt x="170" y="62"/>
                  </a:lnTo>
                  <a:lnTo>
                    <a:pt x="168" y="60"/>
                  </a:lnTo>
                  <a:lnTo>
                    <a:pt x="168" y="60"/>
                  </a:lnTo>
                  <a:lnTo>
                    <a:pt x="167" y="62"/>
                  </a:lnTo>
                  <a:lnTo>
                    <a:pt x="166" y="63"/>
                  </a:lnTo>
                  <a:lnTo>
                    <a:pt x="166" y="68"/>
                  </a:lnTo>
                  <a:lnTo>
                    <a:pt x="166" y="68"/>
                  </a:lnTo>
                  <a:lnTo>
                    <a:pt x="166" y="76"/>
                  </a:lnTo>
                  <a:lnTo>
                    <a:pt x="166" y="85"/>
                  </a:lnTo>
                  <a:lnTo>
                    <a:pt x="166" y="85"/>
                  </a:lnTo>
                  <a:lnTo>
                    <a:pt x="164" y="94"/>
                  </a:lnTo>
                  <a:lnTo>
                    <a:pt x="161" y="101"/>
                  </a:lnTo>
                  <a:lnTo>
                    <a:pt x="161" y="101"/>
                  </a:lnTo>
                  <a:lnTo>
                    <a:pt x="160" y="107"/>
                  </a:lnTo>
                  <a:lnTo>
                    <a:pt x="160" y="110"/>
                  </a:lnTo>
                  <a:lnTo>
                    <a:pt x="161" y="114"/>
                  </a:lnTo>
                  <a:lnTo>
                    <a:pt x="161" y="114"/>
                  </a:lnTo>
                  <a:lnTo>
                    <a:pt x="163" y="115"/>
                  </a:lnTo>
                  <a:lnTo>
                    <a:pt x="161" y="117"/>
                  </a:lnTo>
                  <a:lnTo>
                    <a:pt x="160" y="118"/>
                  </a:lnTo>
                  <a:lnTo>
                    <a:pt x="157" y="121"/>
                  </a:lnTo>
                  <a:lnTo>
                    <a:pt x="157" y="121"/>
                  </a:lnTo>
                  <a:lnTo>
                    <a:pt x="155" y="124"/>
                  </a:lnTo>
                  <a:lnTo>
                    <a:pt x="155" y="129"/>
                  </a:lnTo>
                  <a:lnTo>
                    <a:pt x="155" y="130"/>
                  </a:lnTo>
                  <a:lnTo>
                    <a:pt x="154" y="131"/>
                  </a:lnTo>
                  <a:lnTo>
                    <a:pt x="154" y="131"/>
                  </a:lnTo>
                  <a:lnTo>
                    <a:pt x="148" y="130"/>
                  </a:lnTo>
                  <a:lnTo>
                    <a:pt x="147" y="130"/>
                  </a:lnTo>
                  <a:lnTo>
                    <a:pt x="145" y="127"/>
                  </a:lnTo>
                  <a:lnTo>
                    <a:pt x="145" y="127"/>
                  </a:lnTo>
                  <a:lnTo>
                    <a:pt x="147" y="123"/>
                  </a:lnTo>
                  <a:lnTo>
                    <a:pt x="150" y="118"/>
                  </a:lnTo>
                  <a:lnTo>
                    <a:pt x="150" y="118"/>
                  </a:lnTo>
                  <a:lnTo>
                    <a:pt x="151" y="115"/>
                  </a:lnTo>
                  <a:lnTo>
                    <a:pt x="150" y="115"/>
                  </a:lnTo>
                  <a:lnTo>
                    <a:pt x="150" y="114"/>
                  </a:lnTo>
                  <a:lnTo>
                    <a:pt x="150" y="114"/>
                  </a:lnTo>
                  <a:lnTo>
                    <a:pt x="147" y="117"/>
                  </a:lnTo>
                  <a:lnTo>
                    <a:pt x="144" y="120"/>
                  </a:lnTo>
                  <a:lnTo>
                    <a:pt x="144" y="120"/>
                  </a:lnTo>
                  <a:lnTo>
                    <a:pt x="140" y="120"/>
                  </a:lnTo>
                  <a:lnTo>
                    <a:pt x="140" y="120"/>
                  </a:lnTo>
                  <a:lnTo>
                    <a:pt x="138" y="121"/>
                  </a:lnTo>
                  <a:lnTo>
                    <a:pt x="138" y="121"/>
                  </a:lnTo>
                  <a:lnTo>
                    <a:pt x="137" y="129"/>
                  </a:lnTo>
                  <a:lnTo>
                    <a:pt x="135" y="133"/>
                  </a:lnTo>
                  <a:lnTo>
                    <a:pt x="134" y="134"/>
                  </a:lnTo>
                  <a:lnTo>
                    <a:pt x="134" y="134"/>
                  </a:lnTo>
                  <a:lnTo>
                    <a:pt x="132" y="133"/>
                  </a:lnTo>
                  <a:lnTo>
                    <a:pt x="132" y="131"/>
                  </a:lnTo>
                  <a:lnTo>
                    <a:pt x="131" y="130"/>
                  </a:lnTo>
                  <a:lnTo>
                    <a:pt x="131" y="129"/>
                  </a:lnTo>
                  <a:lnTo>
                    <a:pt x="131" y="129"/>
                  </a:lnTo>
                  <a:lnTo>
                    <a:pt x="128" y="131"/>
                  </a:lnTo>
                  <a:lnTo>
                    <a:pt x="125" y="134"/>
                  </a:lnTo>
                  <a:lnTo>
                    <a:pt x="125" y="134"/>
                  </a:lnTo>
                  <a:lnTo>
                    <a:pt x="121" y="136"/>
                  </a:lnTo>
                  <a:lnTo>
                    <a:pt x="115" y="139"/>
                  </a:lnTo>
                  <a:lnTo>
                    <a:pt x="115" y="139"/>
                  </a:lnTo>
                  <a:lnTo>
                    <a:pt x="106" y="139"/>
                  </a:lnTo>
                  <a:lnTo>
                    <a:pt x="106" y="139"/>
                  </a:lnTo>
                  <a:lnTo>
                    <a:pt x="103" y="136"/>
                  </a:lnTo>
                  <a:lnTo>
                    <a:pt x="102" y="136"/>
                  </a:lnTo>
                  <a:lnTo>
                    <a:pt x="100" y="134"/>
                  </a:lnTo>
                  <a:lnTo>
                    <a:pt x="100" y="134"/>
                  </a:lnTo>
                  <a:lnTo>
                    <a:pt x="99" y="139"/>
                  </a:lnTo>
                  <a:lnTo>
                    <a:pt x="98" y="143"/>
                  </a:lnTo>
                  <a:lnTo>
                    <a:pt x="98" y="143"/>
                  </a:lnTo>
                  <a:lnTo>
                    <a:pt x="96" y="144"/>
                  </a:lnTo>
                  <a:lnTo>
                    <a:pt x="92" y="147"/>
                  </a:lnTo>
                  <a:lnTo>
                    <a:pt x="92" y="147"/>
                  </a:lnTo>
                  <a:lnTo>
                    <a:pt x="87" y="155"/>
                  </a:lnTo>
                  <a:lnTo>
                    <a:pt x="83" y="157"/>
                  </a:lnTo>
                  <a:lnTo>
                    <a:pt x="82" y="159"/>
                  </a:lnTo>
                  <a:lnTo>
                    <a:pt x="80" y="1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15" name="Freeform 866"/>
            <p:cNvSpPr>
              <a:spLocks/>
            </p:cNvSpPr>
            <p:nvPr/>
          </p:nvSpPr>
          <p:spPr bwMode="auto">
            <a:xfrm>
              <a:off x="7883525" y="3424239"/>
              <a:ext cx="147638" cy="138113"/>
            </a:xfrm>
            <a:custGeom>
              <a:avLst/>
              <a:gdLst>
                <a:gd name="T0" fmla="*/ 13 w 93"/>
                <a:gd name="T1" fmla="*/ 81 h 87"/>
                <a:gd name="T2" fmla="*/ 6 w 93"/>
                <a:gd name="T3" fmla="*/ 87 h 87"/>
                <a:gd name="T4" fmla="*/ 5 w 93"/>
                <a:gd name="T5" fmla="*/ 85 h 87"/>
                <a:gd name="T6" fmla="*/ 2 w 93"/>
                <a:gd name="T7" fmla="*/ 81 h 87"/>
                <a:gd name="T8" fmla="*/ 2 w 93"/>
                <a:gd name="T9" fmla="*/ 79 h 87"/>
                <a:gd name="T10" fmla="*/ 5 w 93"/>
                <a:gd name="T11" fmla="*/ 76 h 87"/>
                <a:gd name="T12" fmla="*/ 5 w 93"/>
                <a:gd name="T13" fmla="*/ 75 h 87"/>
                <a:gd name="T14" fmla="*/ 0 w 93"/>
                <a:gd name="T15" fmla="*/ 66 h 87"/>
                <a:gd name="T16" fmla="*/ 0 w 93"/>
                <a:gd name="T17" fmla="*/ 63 h 87"/>
                <a:gd name="T18" fmla="*/ 5 w 93"/>
                <a:gd name="T19" fmla="*/ 59 h 87"/>
                <a:gd name="T20" fmla="*/ 9 w 93"/>
                <a:gd name="T21" fmla="*/ 56 h 87"/>
                <a:gd name="T22" fmla="*/ 10 w 93"/>
                <a:gd name="T23" fmla="*/ 52 h 87"/>
                <a:gd name="T24" fmla="*/ 13 w 93"/>
                <a:gd name="T25" fmla="*/ 49 h 87"/>
                <a:gd name="T26" fmla="*/ 18 w 93"/>
                <a:gd name="T27" fmla="*/ 52 h 87"/>
                <a:gd name="T28" fmla="*/ 22 w 93"/>
                <a:gd name="T29" fmla="*/ 52 h 87"/>
                <a:gd name="T30" fmla="*/ 26 w 93"/>
                <a:gd name="T31" fmla="*/ 47 h 87"/>
                <a:gd name="T32" fmla="*/ 28 w 93"/>
                <a:gd name="T33" fmla="*/ 42 h 87"/>
                <a:gd name="T34" fmla="*/ 28 w 93"/>
                <a:gd name="T35" fmla="*/ 39 h 87"/>
                <a:gd name="T36" fmla="*/ 31 w 93"/>
                <a:gd name="T37" fmla="*/ 30 h 87"/>
                <a:gd name="T38" fmla="*/ 32 w 93"/>
                <a:gd name="T39" fmla="*/ 20 h 87"/>
                <a:gd name="T40" fmla="*/ 31 w 93"/>
                <a:gd name="T41" fmla="*/ 10 h 87"/>
                <a:gd name="T42" fmla="*/ 31 w 93"/>
                <a:gd name="T43" fmla="*/ 5 h 87"/>
                <a:gd name="T44" fmla="*/ 32 w 93"/>
                <a:gd name="T45" fmla="*/ 1 h 87"/>
                <a:gd name="T46" fmla="*/ 37 w 93"/>
                <a:gd name="T47" fmla="*/ 0 h 87"/>
                <a:gd name="T48" fmla="*/ 37 w 93"/>
                <a:gd name="T49" fmla="*/ 0 h 87"/>
                <a:gd name="T50" fmla="*/ 48 w 93"/>
                <a:gd name="T51" fmla="*/ 16 h 87"/>
                <a:gd name="T52" fmla="*/ 57 w 93"/>
                <a:gd name="T53" fmla="*/ 21 h 87"/>
                <a:gd name="T54" fmla="*/ 64 w 93"/>
                <a:gd name="T55" fmla="*/ 26 h 87"/>
                <a:gd name="T56" fmla="*/ 68 w 93"/>
                <a:gd name="T57" fmla="*/ 24 h 87"/>
                <a:gd name="T58" fmla="*/ 71 w 93"/>
                <a:gd name="T59" fmla="*/ 24 h 87"/>
                <a:gd name="T60" fmla="*/ 71 w 93"/>
                <a:gd name="T61" fmla="*/ 29 h 87"/>
                <a:gd name="T62" fmla="*/ 74 w 93"/>
                <a:gd name="T63" fmla="*/ 30 h 87"/>
                <a:gd name="T64" fmla="*/ 80 w 93"/>
                <a:gd name="T65" fmla="*/ 27 h 87"/>
                <a:gd name="T66" fmla="*/ 84 w 93"/>
                <a:gd name="T67" fmla="*/ 27 h 87"/>
                <a:gd name="T68" fmla="*/ 84 w 93"/>
                <a:gd name="T69" fmla="*/ 36 h 87"/>
                <a:gd name="T70" fmla="*/ 86 w 93"/>
                <a:gd name="T71" fmla="*/ 40 h 87"/>
                <a:gd name="T72" fmla="*/ 87 w 93"/>
                <a:gd name="T73" fmla="*/ 43 h 87"/>
                <a:gd name="T74" fmla="*/ 92 w 93"/>
                <a:gd name="T75" fmla="*/ 43 h 87"/>
                <a:gd name="T76" fmla="*/ 93 w 93"/>
                <a:gd name="T77" fmla="*/ 45 h 87"/>
                <a:gd name="T78" fmla="*/ 84 w 93"/>
                <a:gd name="T79" fmla="*/ 47 h 87"/>
                <a:gd name="T80" fmla="*/ 73 w 93"/>
                <a:gd name="T81" fmla="*/ 50 h 87"/>
                <a:gd name="T82" fmla="*/ 64 w 93"/>
                <a:gd name="T83" fmla="*/ 58 h 87"/>
                <a:gd name="T84" fmla="*/ 58 w 93"/>
                <a:gd name="T85" fmla="*/ 65 h 87"/>
                <a:gd name="T86" fmla="*/ 57 w 93"/>
                <a:gd name="T87" fmla="*/ 74 h 87"/>
                <a:gd name="T88" fmla="*/ 52 w 93"/>
                <a:gd name="T89" fmla="*/ 75 h 87"/>
                <a:gd name="T90" fmla="*/ 45 w 93"/>
                <a:gd name="T91" fmla="*/ 69 h 87"/>
                <a:gd name="T92" fmla="*/ 37 w 93"/>
                <a:gd name="T93" fmla="*/ 65 h 87"/>
                <a:gd name="T94" fmla="*/ 35 w 93"/>
                <a:gd name="T95" fmla="*/ 65 h 87"/>
                <a:gd name="T96" fmla="*/ 29 w 93"/>
                <a:gd name="T97" fmla="*/ 62 h 87"/>
                <a:gd name="T98" fmla="*/ 28 w 93"/>
                <a:gd name="T99" fmla="*/ 62 h 87"/>
                <a:gd name="T100" fmla="*/ 19 w 93"/>
                <a:gd name="T101" fmla="*/ 68 h 87"/>
                <a:gd name="T102" fmla="*/ 18 w 93"/>
                <a:gd name="T103" fmla="*/ 68 h 87"/>
                <a:gd name="T104" fmla="*/ 13 w 93"/>
                <a:gd name="T105" fmla="*/ 62 h 87"/>
                <a:gd name="T106" fmla="*/ 12 w 93"/>
                <a:gd name="T107" fmla="*/ 61 h 87"/>
                <a:gd name="T108" fmla="*/ 8 w 93"/>
                <a:gd name="T109" fmla="*/ 68 h 87"/>
                <a:gd name="T110" fmla="*/ 9 w 93"/>
                <a:gd name="T111" fmla="*/ 69 h 87"/>
                <a:gd name="T112" fmla="*/ 16 w 93"/>
                <a:gd name="T113" fmla="*/ 71 h 87"/>
                <a:gd name="T114" fmla="*/ 21 w 93"/>
                <a:gd name="T115" fmla="*/ 75 h 87"/>
                <a:gd name="T116" fmla="*/ 19 w 93"/>
                <a:gd name="T117" fmla="*/ 76 h 87"/>
                <a:gd name="T118" fmla="*/ 16 w 93"/>
                <a:gd name="T119" fmla="*/ 7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 h="87">
                  <a:moveTo>
                    <a:pt x="13" y="81"/>
                  </a:moveTo>
                  <a:lnTo>
                    <a:pt x="13" y="81"/>
                  </a:lnTo>
                  <a:lnTo>
                    <a:pt x="9" y="85"/>
                  </a:lnTo>
                  <a:lnTo>
                    <a:pt x="6" y="87"/>
                  </a:lnTo>
                  <a:lnTo>
                    <a:pt x="5" y="85"/>
                  </a:lnTo>
                  <a:lnTo>
                    <a:pt x="5" y="85"/>
                  </a:lnTo>
                  <a:lnTo>
                    <a:pt x="2" y="82"/>
                  </a:lnTo>
                  <a:lnTo>
                    <a:pt x="2" y="81"/>
                  </a:lnTo>
                  <a:lnTo>
                    <a:pt x="2" y="79"/>
                  </a:lnTo>
                  <a:lnTo>
                    <a:pt x="2" y="79"/>
                  </a:lnTo>
                  <a:lnTo>
                    <a:pt x="5" y="76"/>
                  </a:lnTo>
                  <a:lnTo>
                    <a:pt x="5" y="76"/>
                  </a:lnTo>
                  <a:lnTo>
                    <a:pt x="5" y="75"/>
                  </a:lnTo>
                  <a:lnTo>
                    <a:pt x="5" y="75"/>
                  </a:lnTo>
                  <a:lnTo>
                    <a:pt x="2" y="69"/>
                  </a:lnTo>
                  <a:lnTo>
                    <a:pt x="0" y="66"/>
                  </a:lnTo>
                  <a:lnTo>
                    <a:pt x="0" y="63"/>
                  </a:lnTo>
                  <a:lnTo>
                    <a:pt x="0" y="63"/>
                  </a:lnTo>
                  <a:lnTo>
                    <a:pt x="2" y="62"/>
                  </a:lnTo>
                  <a:lnTo>
                    <a:pt x="5" y="59"/>
                  </a:lnTo>
                  <a:lnTo>
                    <a:pt x="9" y="56"/>
                  </a:lnTo>
                  <a:lnTo>
                    <a:pt x="9" y="56"/>
                  </a:lnTo>
                  <a:lnTo>
                    <a:pt x="10" y="55"/>
                  </a:lnTo>
                  <a:lnTo>
                    <a:pt x="10" y="52"/>
                  </a:lnTo>
                  <a:lnTo>
                    <a:pt x="10" y="50"/>
                  </a:lnTo>
                  <a:lnTo>
                    <a:pt x="13" y="49"/>
                  </a:lnTo>
                  <a:lnTo>
                    <a:pt x="13" y="49"/>
                  </a:lnTo>
                  <a:lnTo>
                    <a:pt x="18" y="52"/>
                  </a:lnTo>
                  <a:lnTo>
                    <a:pt x="21" y="52"/>
                  </a:lnTo>
                  <a:lnTo>
                    <a:pt x="22" y="52"/>
                  </a:lnTo>
                  <a:lnTo>
                    <a:pt x="22" y="52"/>
                  </a:lnTo>
                  <a:lnTo>
                    <a:pt x="26" y="47"/>
                  </a:lnTo>
                  <a:lnTo>
                    <a:pt x="28" y="45"/>
                  </a:lnTo>
                  <a:lnTo>
                    <a:pt x="28" y="42"/>
                  </a:lnTo>
                  <a:lnTo>
                    <a:pt x="28" y="42"/>
                  </a:lnTo>
                  <a:lnTo>
                    <a:pt x="28" y="39"/>
                  </a:lnTo>
                  <a:lnTo>
                    <a:pt x="28" y="36"/>
                  </a:lnTo>
                  <a:lnTo>
                    <a:pt x="31" y="30"/>
                  </a:lnTo>
                  <a:lnTo>
                    <a:pt x="31" y="30"/>
                  </a:lnTo>
                  <a:lnTo>
                    <a:pt x="32" y="20"/>
                  </a:lnTo>
                  <a:lnTo>
                    <a:pt x="32" y="13"/>
                  </a:lnTo>
                  <a:lnTo>
                    <a:pt x="31" y="10"/>
                  </a:lnTo>
                  <a:lnTo>
                    <a:pt x="31" y="10"/>
                  </a:lnTo>
                  <a:lnTo>
                    <a:pt x="31" y="5"/>
                  </a:lnTo>
                  <a:lnTo>
                    <a:pt x="32" y="1"/>
                  </a:lnTo>
                  <a:lnTo>
                    <a:pt x="32" y="1"/>
                  </a:lnTo>
                  <a:lnTo>
                    <a:pt x="35" y="0"/>
                  </a:lnTo>
                  <a:lnTo>
                    <a:pt x="37" y="0"/>
                  </a:lnTo>
                  <a:lnTo>
                    <a:pt x="37" y="0"/>
                  </a:lnTo>
                  <a:lnTo>
                    <a:pt x="37" y="0"/>
                  </a:lnTo>
                  <a:lnTo>
                    <a:pt x="41" y="7"/>
                  </a:lnTo>
                  <a:lnTo>
                    <a:pt x="48" y="16"/>
                  </a:lnTo>
                  <a:lnTo>
                    <a:pt x="48" y="16"/>
                  </a:lnTo>
                  <a:lnTo>
                    <a:pt x="57" y="21"/>
                  </a:lnTo>
                  <a:lnTo>
                    <a:pt x="60" y="24"/>
                  </a:lnTo>
                  <a:lnTo>
                    <a:pt x="64" y="26"/>
                  </a:lnTo>
                  <a:lnTo>
                    <a:pt x="64" y="26"/>
                  </a:lnTo>
                  <a:lnTo>
                    <a:pt x="68" y="24"/>
                  </a:lnTo>
                  <a:lnTo>
                    <a:pt x="70" y="23"/>
                  </a:lnTo>
                  <a:lnTo>
                    <a:pt x="71" y="24"/>
                  </a:lnTo>
                  <a:lnTo>
                    <a:pt x="71" y="24"/>
                  </a:lnTo>
                  <a:lnTo>
                    <a:pt x="71" y="29"/>
                  </a:lnTo>
                  <a:lnTo>
                    <a:pt x="73" y="29"/>
                  </a:lnTo>
                  <a:lnTo>
                    <a:pt x="74" y="30"/>
                  </a:lnTo>
                  <a:lnTo>
                    <a:pt x="74" y="30"/>
                  </a:lnTo>
                  <a:lnTo>
                    <a:pt x="80" y="27"/>
                  </a:lnTo>
                  <a:lnTo>
                    <a:pt x="83" y="27"/>
                  </a:lnTo>
                  <a:lnTo>
                    <a:pt x="84" y="27"/>
                  </a:lnTo>
                  <a:lnTo>
                    <a:pt x="84" y="27"/>
                  </a:lnTo>
                  <a:lnTo>
                    <a:pt x="84" y="36"/>
                  </a:lnTo>
                  <a:lnTo>
                    <a:pt x="84" y="36"/>
                  </a:lnTo>
                  <a:lnTo>
                    <a:pt x="86" y="40"/>
                  </a:lnTo>
                  <a:lnTo>
                    <a:pt x="86" y="43"/>
                  </a:lnTo>
                  <a:lnTo>
                    <a:pt x="87" y="43"/>
                  </a:lnTo>
                  <a:lnTo>
                    <a:pt x="87" y="43"/>
                  </a:lnTo>
                  <a:lnTo>
                    <a:pt x="92" y="43"/>
                  </a:lnTo>
                  <a:lnTo>
                    <a:pt x="93" y="45"/>
                  </a:lnTo>
                  <a:lnTo>
                    <a:pt x="93" y="45"/>
                  </a:lnTo>
                  <a:lnTo>
                    <a:pt x="93" y="45"/>
                  </a:lnTo>
                  <a:lnTo>
                    <a:pt x="84" y="47"/>
                  </a:lnTo>
                  <a:lnTo>
                    <a:pt x="73" y="50"/>
                  </a:lnTo>
                  <a:lnTo>
                    <a:pt x="73" y="50"/>
                  </a:lnTo>
                  <a:lnTo>
                    <a:pt x="68" y="53"/>
                  </a:lnTo>
                  <a:lnTo>
                    <a:pt x="64" y="58"/>
                  </a:lnTo>
                  <a:lnTo>
                    <a:pt x="61" y="61"/>
                  </a:lnTo>
                  <a:lnTo>
                    <a:pt x="58" y="65"/>
                  </a:lnTo>
                  <a:lnTo>
                    <a:pt x="58" y="65"/>
                  </a:lnTo>
                  <a:lnTo>
                    <a:pt x="57" y="74"/>
                  </a:lnTo>
                  <a:lnTo>
                    <a:pt x="55" y="75"/>
                  </a:lnTo>
                  <a:lnTo>
                    <a:pt x="52" y="75"/>
                  </a:lnTo>
                  <a:lnTo>
                    <a:pt x="52" y="75"/>
                  </a:lnTo>
                  <a:lnTo>
                    <a:pt x="45" y="69"/>
                  </a:lnTo>
                  <a:lnTo>
                    <a:pt x="41" y="66"/>
                  </a:lnTo>
                  <a:lnTo>
                    <a:pt x="37" y="65"/>
                  </a:lnTo>
                  <a:lnTo>
                    <a:pt x="37" y="65"/>
                  </a:lnTo>
                  <a:lnTo>
                    <a:pt x="35" y="65"/>
                  </a:lnTo>
                  <a:lnTo>
                    <a:pt x="32" y="63"/>
                  </a:lnTo>
                  <a:lnTo>
                    <a:pt x="29" y="62"/>
                  </a:lnTo>
                  <a:lnTo>
                    <a:pt x="28" y="62"/>
                  </a:lnTo>
                  <a:lnTo>
                    <a:pt x="28" y="62"/>
                  </a:lnTo>
                  <a:lnTo>
                    <a:pt x="22" y="66"/>
                  </a:lnTo>
                  <a:lnTo>
                    <a:pt x="19" y="68"/>
                  </a:lnTo>
                  <a:lnTo>
                    <a:pt x="18" y="68"/>
                  </a:lnTo>
                  <a:lnTo>
                    <a:pt x="18" y="68"/>
                  </a:lnTo>
                  <a:lnTo>
                    <a:pt x="15" y="63"/>
                  </a:lnTo>
                  <a:lnTo>
                    <a:pt x="13" y="62"/>
                  </a:lnTo>
                  <a:lnTo>
                    <a:pt x="12" y="61"/>
                  </a:lnTo>
                  <a:lnTo>
                    <a:pt x="12" y="61"/>
                  </a:lnTo>
                  <a:lnTo>
                    <a:pt x="9" y="65"/>
                  </a:lnTo>
                  <a:lnTo>
                    <a:pt x="8" y="68"/>
                  </a:lnTo>
                  <a:lnTo>
                    <a:pt x="9" y="69"/>
                  </a:lnTo>
                  <a:lnTo>
                    <a:pt x="9" y="69"/>
                  </a:lnTo>
                  <a:lnTo>
                    <a:pt x="16" y="71"/>
                  </a:lnTo>
                  <a:lnTo>
                    <a:pt x="16" y="71"/>
                  </a:lnTo>
                  <a:lnTo>
                    <a:pt x="19" y="72"/>
                  </a:lnTo>
                  <a:lnTo>
                    <a:pt x="21" y="75"/>
                  </a:lnTo>
                  <a:lnTo>
                    <a:pt x="21" y="76"/>
                  </a:lnTo>
                  <a:lnTo>
                    <a:pt x="19" y="76"/>
                  </a:lnTo>
                  <a:lnTo>
                    <a:pt x="19" y="76"/>
                  </a:lnTo>
                  <a:lnTo>
                    <a:pt x="16" y="79"/>
                  </a:lnTo>
                  <a:lnTo>
                    <a:pt x="13" y="81"/>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16" name="Freeform 867"/>
            <p:cNvSpPr>
              <a:spLocks/>
            </p:cNvSpPr>
            <p:nvPr/>
          </p:nvSpPr>
          <p:spPr bwMode="auto">
            <a:xfrm>
              <a:off x="7883525" y="3424239"/>
              <a:ext cx="147638" cy="138113"/>
            </a:xfrm>
            <a:custGeom>
              <a:avLst/>
              <a:gdLst>
                <a:gd name="T0" fmla="*/ 13 w 93"/>
                <a:gd name="T1" fmla="*/ 81 h 87"/>
                <a:gd name="T2" fmla="*/ 6 w 93"/>
                <a:gd name="T3" fmla="*/ 87 h 87"/>
                <a:gd name="T4" fmla="*/ 5 w 93"/>
                <a:gd name="T5" fmla="*/ 85 h 87"/>
                <a:gd name="T6" fmla="*/ 2 w 93"/>
                <a:gd name="T7" fmla="*/ 81 h 87"/>
                <a:gd name="T8" fmla="*/ 2 w 93"/>
                <a:gd name="T9" fmla="*/ 79 h 87"/>
                <a:gd name="T10" fmla="*/ 5 w 93"/>
                <a:gd name="T11" fmla="*/ 76 h 87"/>
                <a:gd name="T12" fmla="*/ 5 w 93"/>
                <a:gd name="T13" fmla="*/ 75 h 87"/>
                <a:gd name="T14" fmla="*/ 0 w 93"/>
                <a:gd name="T15" fmla="*/ 66 h 87"/>
                <a:gd name="T16" fmla="*/ 0 w 93"/>
                <a:gd name="T17" fmla="*/ 63 h 87"/>
                <a:gd name="T18" fmla="*/ 5 w 93"/>
                <a:gd name="T19" fmla="*/ 59 h 87"/>
                <a:gd name="T20" fmla="*/ 9 w 93"/>
                <a:gd name="T21" fmla="*/ 56 h 87"/>
                <a:gd name="T22" fmla="*/ 10 w 93"/>
                <a:gd name="T23" fmla="*/ 52 h 87"/>
                <a:gd name="T24" fmla="*/ 13 w 93"/>
                <a:gd name="T25" fmla="*/ 49 h 87"/>
                <a:gd name="T26" fmla="*/ 18 w 93"/>
                <a:gd name="T27" fmla="*/ 52 h 87"/>
                <a:gd name="T28" fmla="*/ 22 w 93"/>
                <a:gd name="T29" fmla="*/ 52 h 87"/>
                <a:gd name="T30" fmla="*/ 26 w 93"/>
                <a:gd name="T31" fmla="*/ 47 h 87"/>
                <a:gd name="T32" fmla="*/ 28 w 93"/>
                <a:gd name="T33" fmla="*/ 42 h 87"/>
                <a:gd name="T34" fmla="*/ 28 w 93"/>
                <a:gd name="T35" fmla="*/ 39 h 87"/>
                <a:gd name="T36" fmla="*/ 31 w 93"/>
                <a:gd name="T37" fmla="*/ 30 h 87"/>
                <a:gd name="T38" fmla="*/ 32 w 93"/>
                <a:gd name="T39" fmla="*/ 20 h 87"/>
                <a:gd name="T40" fmla="*/ 31 w 93"/>
                <a:gd name="T41" fmla="*/ 10 h 87"/>
                <a:gd name="T42" fmla="*/ 31 w 93"/>
                <a:gd name="T43" fmla="*/ 5 h 87"/>
                <a:gd name="T44" fmla="*/ 32 w 93"/>
                <a:gd name="T45" fmla="*/ 1 h 87"/>
                <a:gd name="T46" fmla="*/ 37 w 93"/>
                <a:gd name="T47" fmla="*/ 0 h 87"/>
                <a:gd name="T48" fmla="*/ 37 w 93"/>
                <a:gd name="T49" fmla="*/ 0 h 87"/>
                <a:gd name="T50" fmla="*/ 48 w 93"/>
                <a:gd name="T51" fmla="*/ 16 h 87"/>
                <a:gd name="T52" fmla="*/ 57 w 93"/>
                <a:gd name="T53" fmla="*/ 21 h 87"/>
                <a:gd name="T54" fmla="*/ 64 w 93"/>
                <a:gd name="T55" fmla="*/ 26 h 87"/>
                <a:gd name="T56" fmla="*/ 68 w 93"/>
                <a:gd name="T57" fmla="*/ 24 h 87"/>
                <a:gd name="T58" fmla="*/ 71 w 93"/>
                <a:gd name="T59" fmla="*/ 24 h 87"/>
                <a:gd name="T60" fmla="*/ 71 w 93"/>
                <a:gd name="T61" fmla="*/ 29 h 87"/>
                <a:gd name="T62" fmla="*/ 74 w 93"/>
                <a:gd name="T63" fmla="*/ 30 h 87"/>
                <a:gd name="T64" fmla="*/ 80 w 93"/>
                <a:gd name="T65" fmla="*/ 27 h 87"/>
                <a:gd name="T66" fmla="*/ 84 w 93"/>
                <a:gd name="T67" fmla="*/ 27 h 87"/>
                <a:gd name="T68" fmla="*/ 84 w 93"/>
                <a:gd name="T69" fmla="*/ 36 h 87"/>
                <a:gd name="T70" fmla="*/ 86 w 93"/>
                <a:gd name="T71" fmla="*/ 40 h 87"/>
                <a:gd name="T72" fmla="*/ 87 w 93"/>
                <a:gd name="T73" fmla="*/ 43 h 87"/>
                <a:gd name="T74" fmla="*/ 92 w 93"/>
                <a:gd name="T75" fmla="*/ 43 h 87"/>
                <a:gd name="T76" fmla="*/ 93 w 93"/>
                <a:gd name="T77" fmla="*/ 45 h 87"/>
                <a:gd name="T78" fmla="*/ 84 w 93"/>
                <a:gd name="T79" fmla="*/ 47 h 87"/>
                <a:gd name="T80" fmla="*/ 73 w 93"/>
                <a:gd name="T81" fmla="*/ 50 h 87"/>
                <a:gd name="T82" fmla="*/ 64 w 93"/>
                <a:gd name="T83" fmla="*/ 58 h 87"/>
                <a:gd name="T84" fmla="*/ 58 w 93"/>
                <a:gd name="T85" fmla="*/ 65 h 87"/>
                <a:gd name="T86" fmla="*/ 57 w 93"/>
                <a:gd name="T87" fmla="*/ 74 h 87"/>
                <a:gd name="T88" fmla="*/ 52 w 93"/>
                <a:gd name="T89" fmla="*/ 75 h 87"/>
                <a:gd name="T90" fmla="*/ 45 w 93"/>
                <a:gd name="T91" fmla="*/ 69 h 87"/>
                <a:gd name="T92" fmla="*/ 37 w 93"/>
                <a:gd name="T93" fmla="*/ 65 h 87"/>
                <a:gd name="T94" fmla="*/ 35 w 93"/>
                <a:gd name="T95" fmla="*/ 65 h 87"/>
                <a:gd name="T96" fmla="*/ 29 w 93"/>
                <a:gd name="T97" fmla="*/ 62 h 87"/>
                <a:gd name="T98" fmla="*/ 28 w 93"/>
                <a:gd name="T99" fmla="*/ 62 h 87"/>
                <a:gd name="T100" fmla="*/ 19 w 93"/>
                <a:gd name="T101" fmla="*/ 68 h 87"/>
                <a:gd name="T102" fmla="*/ 18 w 93"/>
                <a:gd name="T103" fmla="*/ 68 h 87"/>
                <a:gd name="T104" fmla="*/ 13 w 93"/>
                <a:gd name="T105" fmla="*/ 62 h 87"/>
                <a:gd name="T106" fmla="*/ 12 w 93"/>
                <a:gd name="T107" fmla="*/ 61 h 87"/>
                <a:gd name="T108" fmla="*/ 8 w 93"/>
                <a:gd name="T109" fmla="*/ 68 h 87"/>
                <a:gd name="T110" fmla="*/ 9 w 93"/>
                <a:gd name="T111" fmla="*/ 69 h 87"/>
                <a:gd name="T112" fmla="*/ 16 w 93"/>
                <a:gd name="T113" fmla="*/ 71 h 87"/>
                <a:gd name="T114" fmla="*/ 21 w 93"/>
                <a:gd name="T115" fmla="*/ 75 h 87"/>
                <a:gd name="T116" fmla="*/ 19 w 93"/>
                <a:gd name="T117" fmla="*/ 76 h 87"/>
                <a:gd name="T118" fmla="*/ 16 w 93"/>
                <a:gd name="T119" fmla="*/ 7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 h="87">
                  <a:moveTo>
                    <a:pt x="13" y="81"/>
                  </a:moveTo>
                  <a:lnTo>
                    <a:pt x="13" y="81"/>
                  </a:lnTo>
                  <a:lnTo>
                    <a:pt x="9" y="85"/>
                  </a:lnTo>
                  <a:lnTo>
                    <a:pt x="6" y="87"/>
                  </a:lnTo>
                  <a:lnTo>
                    <a:pt x="5" y="85"/>
                  </a:lnTo>
                  <a:lnTo>
                    <a:pt x="5" y="85"/>
                  </a:lnTo>
                  <a:lnTo>
                    <a:pt x="2" y="82"/>
                  </a:lnTo>
                  <a:lnTo>
                    <a:pt x="2" y="81"/>
                  </a:lnTo>
                  <a:lnTo>
                    <a:pt x="2" y="79"/>
                  </a:lnTo>
                  <a:lnTo>
                    <a:pt x="2" y="79"/>
                  </a:lnTo>
                  <a:lnTo>
                    <a:pt x="5" y="76"/>
                  </a:lnTo>
                  <a:lnTo>
                    <a:pt x="5" y="76"/>
                  </a:lnTo>
                  <a:lnTo>
                    <a:pt x="5" y="75"/>
                  </a:lnTo>
                  <a:lnTo>
                    <a:pt x="5" y="75"/>
                  </a:lnTo>
                  <a:lnTo>
                    <a:pt x="2" y="69"/>
                  </a:lnTo>
                  <a:lnTo>
                    <a:pt x="0" y="66"/>
                  </a:lnTo>
                  <a:lnTo>
                    <a:pt x="0" y="63"/>
                  </a:lnTo>
                  <a:lnTo>
                    <a:pt x="0" y="63"/>
                  </a:lnTo>
                  <a:lnTo>
                    <a:pt x="2" y="62"/>
                  </a:lnTo>
                  <a:lnTo>
                    <a:pt x="5" y="59"/>
                  </a:lnTo>
                  <a:lnTo>
                    <a:pt x="9" y="56"/>
                  </a:lnTo>
                  <a:lnTo>
                    <a:pt x="9" y="56"/>
                  </a:lnTo>
                  <a:lnTo>
                    <a:pt x="10" y="55"/>
                  </a:lnTo>
                  <a:lnTo>
                    <a:pt x="10" y="52"/>
                  </a:lnTo>
                  <a:lnTo>
                    <a:pt x="10" y="50"/>
                  </a:lnTo>
                  <a:lnTo>
                    <a:pt x="13" y="49"/>
                  </a:lnTo>
                  <a:lnTo>
                    <a:pt x="13" y="49"/>
                  </a:lnTo>
                  <a:lnTo>
                    <a:pt x="18" y="52"/>
                  </a:lnTo>
                  <a:lnTo>
                    <a:pt x="21" y="52"/>
                  </a:lnTo>
                  <a:lnTo>
                    <a:pt x="22" y="52"/>
                  </a:lnTo>
                  <a:lnTo>
                    <a:pt x="22" y="52"/>
                  </a:lnTo>
                  <a:lnTo>
                    <a:pt x="26" y="47"/>
                  </a:lnTo>
                  <a:lnTo>
                    <a:pt x="28" y="45"/>
                  </a:lnTo>
                  <a:lnTo>
                    <a:pt x="28" y="42"/>
                  </a:lnTo>
                  <a:lnTo>
                    <a:pt x="28" y="42"/>
                  </a:lnTo>
                  <a:lnTo>
                    <a:pt x="28" y="39"/>
                  </a:lnTo>
                  <a:lnTo>
                    <a:pt x="28" y="36"/>
                  </a:lnTo>
                  <a:lnTo>
                    <a:pt x="31" y="30"/>
                  </a:lnTo>
                  <a:lnTo>
                    <a:pt x="31" y="30"/>
                  </a:lnTo>
                  <a:lnTo>
                    <a:pt x="32" y="20"/>
                  </a:lnTo>
                  <a:lnTo>
                    <a:pt x="32" y="13"/>
                  </a:lnTo>
                  <a:lnTo>
                    <a:pt x="31" y="10"/>
                  </a:lnTo>
                  <a:lnTo>
                    <a:pt x="31" y="10"/>
                  </a:lnTo>
                  <a:lnTo>
                    <a:pt x="31" y="5"/>
                  </a:lnTo>
                  <a:lnTo>
                    <a:pt x="32" y="1"/>
                  </a:lnTo>
                  <a:lnTo>
                    <a:pt x="32" y="1"/>
                  </a:lnTo>
                  <a:lnTo>
                    <a:pt x="35" y="0"/>
                  </a:lnTo>
                  <a:lnTo>
                    <a:pt x="37" y="0"/>
                  </a:lnTo>
                  <a:lnTo>
                    <a:pt x="37" y="0"/>
                  </a:lnTo>
                  <a:lnTo>
                    <a:pt x="37" y="0"/>
                  </a:lnTo>
                  <a:lnTo>
                    <a:pt x="41" y="7"/>
                  </a:lnTo>
                  <a:lnTo>
                    <a:pt x="48" y="16"/>
                  </a:lnTo>
                  <a:lnTo>
                    <a:pt x="48" y="16"/>
                  </a:lnTo>
                  <a:lnTo>
                    <a:pt x="57" y="21"/>
                  </a:lnTo>
                  <a:lnTo>
                    <a:pt x="60" y="24"/>
                  </a:lnTo>
                  <a:lnTo>
                    <a:pt x="64" y="26"/>
                  </a:lnTo>
                  <a:lnTo>
                    <a:pt x="64" y="26"/>
                  </a:lnTo>
                  <a:lnTo>
                    <a:pt x="68" y="24"/>
                  </a:lnTo>
                  <a:lnTo>
                    <a:pt x="70" y="23"/>
                  </a:lnTo>
                  <a:lnTo>
                    <a:pt x="71" y="24"/>
                  </a:lnTo>
                  <a:lnTo>
                    <a:pt x="71" y="24"/>
                  </a:lnTo>
                  <a:lnTo>
                    <a:pt x="71" y="29"/>
                  </a:lnTo>
                  <a:lnTo>
                    <a:pt x="73" y="29"/>
                  </a:lnTo>
                  <a:lnTo>
                    <a:pt x="74" y="30"/>
                  </a:lnTo>
                  <a:lnTo>
                    <a:pt x="74" y="30"/>
                  </a:lnTo>
                  <a:lnTo>
                    <a:pt x="80" y="27"/>
                  </a:lnTo>
                  <a:lnTo>
                    <a:pt x="83" y="27"/>
                  </a:lnTo>
                  <a:lnTo>
                    <a:pt x="84" y="27"/>
                  </a:lnTo>
                  <a:lnTo>
                    <a:pt x="84" y="27"/>
                  </a:lnTo>
                  <a:lnTo>
                    <a:pt x="84" y="36"/>
                  </a:lnTo>
                  <a:lnTo>
                    <a:pt x="84" y="36"/>
                  </a:lnTo>
                  <a:lnTo>
                    <a:pt x="86" y="40"/>
                  </a:lnTo>
                  <a:lnTo>
                    <a:pt x="86" y="43"/>
                  </a:lnTo>
                  <a:lnTo>
                    <a:pt x="87" y="43"/>
                  </a:lnTo>
                  <a:lnTo>
                    <a:pt x="87" y="43"/>
                  </a:lnTo>
                  <a:lnTo>
                    <a:pt x="92" y="43"/>
                  </a:lnTo>
                  <a:lnTo>
                    <a:pt x="93" y="45"/>
                  </a:lnTo>
                  <a:lnTo>
                    <a:pt x="93" y="45"/>
                  </a:lnTo>
                  <a:lnTo>
                    <a:pt x="93" y="45"/>
                  </a:lnTo>
                  <a:lnTo>
                    <a:pt x="84" y="47"/>
                  </a:lnTo>
                  <a:lnTo>
                    <a:pt x="73" y="50"/>
                  </a:lnTo>
                  <a:lnTo>
                    <a:pt x="73" y="50"/>
                  </a:lnTo>
                  <a:lnTo>
                    <a:pt x="68" y="53"/>
                  </a:lnTo>
                  <a:lnTo>
                    <a:pt x="64" y="58"/>
                  </a:lnTo>
                  <a:lnTo>
                    <a:pt x="61" y="61"/>
                  </a:lnTo>
                  <a:lnTo>
                    <a:pt x="58" y="65"/>
                  </a:lnTo>
                  <a:lnTo>
                    <a:pt x="58" y="65"/>
                  </a:lnTo>
                  <a:lnTo>
                    <a:pt x="57" y="74"/>
                  </a:lnTo>
                  <a:lnTo>
                    <a:pt x="55" y="75"/>
                  </a:lnTo>
                  <a:lnTo>
                    <a:pt x="52" y="75"/>
                  </a:lnTo>
                  <a:lnTo>
                    <a:pt x="52" y="75"/>
                  </a:lnTo>
                  <a:lnTo>
                    <a:pt x="45" y="69"/>
                  </a:lnTo>
                  <a:lnTo>
                    <a:pt x="41" y="66"/>
                  </a:lnTo>
                  <a:lnTo>
                    <a:pt x="37" y="65"/>
                  </a:lnTo>
                  <a:lnTo>
                    <a:pt x="37" y="65"/>
                  </a:lnTo>
                  <a:lnTo>
                    <a:pt x="35" y="65"/>
                  </a:lnTo>
                  <a:lnTo>
                    <a:pt x="32" y="63"/>
                  </a:lnTo>
                  <a:lnTo>
                    <a:pt x="29" y="62"/>
                  </a:lnTo>
                  <a:lnTo>
                    <a:pt x="28" y="62"/>
                  </a:lnTo>
                  <a:lnTo>
                    <a:pt x="28" y="62"/>
                  </a:lnTo>
                  <a:lnTo>
                    <a:pt x="22" y="66"/>
                  </a:lnTo>
                  <a:lnTo>
                    <a:pt x="19" y="68"/>
                  </a:lnTo>
                  <a:lnTo>
                    <a:pt x="18" y="68"/>
                  </a:lnTo>
                  <a:lnTo>
                    <a:pt x="18" y="68"/>
                  </a:lnTo>
                  <a:lnTo>
                    <a:pt x="15" y="63"/>
                  </a:lnTo>
                  <a:lnTo>
                    <a:pt x="13" y="62"/>
                  </a:lnTo>
                  <a:lnTo>
                    <a:pt x="12" y="61"/>
                  </a:lnTo>
                  <a:lnTo>
                    <a:pt x="12" y="61"/>
                  </a:lnTo>
                  <a:lnTo>
                    <a:pt x="9" y="65"/>
                  </a:lnTo>
                  <a:lnTo>
                    <a:pt x="8" y="68"/>
                  </a:lnTo>
                  <a:lnTo>
                    <a:pt x="9" y="69"/>
                  </a:lnTo>
                  <a:lnTo>
                    <a:pt x="9" y="69"/>
                  </a:lnTo>
                  <a:lnTo>
                    <a:pt x="16" y="71"/>
                  </a:lnTo>
                  <a:lnTo>
                    <a:pt x="16" y="71"/>
                  </a:lnTo>
                  <a:lnTo>
                    <a:pt x="19" y="72"/>
                  </a:lnTo>
                  <a:lnTo>
                    <a:pt x="21" y="75"/>
                  </a:lnTo>
                  <a:lnTo>
                    <a:pt x="21" y="76"/>
                  </a:lnTo>
                  <a:lnTo>
                    <a:pt x="19" y="76"/>
                  </a:lnTo>
                  <a:lnTo>
                    <a:pt x="19" y="76"/>
                  </a:lnTo>
                  <a:lnTo>
                    <a:pt x="16" y="79"/>
                  </a:lnTo>
                  <a:lnTo>
                    <a:pt x="13" y="8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17" name="Freeform 870"/>
            <p:cNvSpPr>
              <a:spLocks/>
            </p:cNvSpPr>
            <p:nvPr/>
          </p:nvSpPr>
          <p:spPr bwMode="auto">
            <a:xfrm>
              <a:off x="7369175" y="4233864"/>
              <a:ext cx="114300" cy="157163"/>
            </a:xfrm>
            <a:custGeom>
              <a:avLst/>
              <a:gdLst>
                <a:gd name="T0" fmla="*/ 61 w 72"/>
                <a:gd name="T1" fmla="*/ 98 h 99"/>
                <a:gd name="T2" fmla="*/ 55 w 72"/>
                <a:gd name="T3" fmla="*/ 94 h 99"/>
                <a:gd name="T4" fmla="*/ 56 w 72"/>
                <a:gd name="T5" fmla="*/ 89 h 99"/>
                <a:gd name="T6" fmla="*/ 55 w 72"/>
                <a:gd name="T7" fmla="*/ 82 h 99"/>
                <a:gd name="T8" fmla="*/ 52 w 72"/>
                <a:gd name="T9" fmla="*/ 82 h 99"/>
                <a:gd name="T10" fmla="*/ 49 w 72"/>
                <a:gd name="T11" fmla="*/ 89 h 99"/>
                <a:gd name="T12" fmla="*/ 45 w 72"/>
                <a:gd name="T13" fmla="*/ 85 h 99"/>
                <a:gd name="T14" fmla="*/ 36 w 72"/>
                <a:gd name="T15" fmla="*/ 85 h 99"/>
                <a:gd name="T16" fmla="*/ 33 w 72"/>
                <a:gd name="T17" fmla="*/ 82 h 99"/>
                <a:gd name="T18" fmla="*/ 35 w 72"/>
                <a:gd name="T19" fmla="*/ 78 h 99"/>
                <a:gd name="T20" fmla="*/ 27 w 72"/>
                <a:gd name="T21" fmla="*/ 82 h 99"/>
                <a:gd name="T22" fmla="*/ 19 w 72"/>
                <a:gd name="T23" fmla="*/ 78 h 99"/>
                <a:gd name="T24" fmla="*/ 10 w 72"/>
                <a:gd name="T25" fmla="*/ 72 h 99"/>
                <a:gd name="T26" fmla="*/ 13 w 72"/>
                <a:gd name="T27" fmla="*/ 69 h 99"/>
                <a:gd name="T28" fmla="*/ 11 w 72"/>
                <a:gd name="T29" fmla="*/ 66 h 99"/>
                <a:gd name="T30" fmla="*/ 0 w 72"/>
                <a:gd name="T31" fmla="*/ 56 h 99"/>
                <a:gd name="T32" fmla="*/ 0 w 72"/>
                <a:gd name="T33" fmla="*/ 52 h 99"/>
                <a:gd name="T34" fmla="*/ 0 w 72"/>
                <a:gd name="T35" fmla="*/ 42 h 99"/>
                <a:gd name="T36" fmla="*/ 3 w 72"/>
                <a:gd name="T37" fmla="*/ 40 h 99"/>
                <a:gd name="T38" fmla="*/ 7 w 72"/>
                <a:gd name="T39" fmla="*/ 44 h 99"/>
                <a:gd name="T40" fmla="*/ 11 w 72"/>
                <a:gd name="T41" fmla="*/ 40 h 99"/>
                <a:gd name="T42" fmla="*/ 13 w 72"/>
                <a:gd name="T43" fmla="*/ 11 h 99"/>
                <a:gd name="T44" fmla="*/ 16 w 72"/>
                <a:gd name="T45" fmla="*/ 4 h 99"/>
                <a:gd name="T46" fmla="*/ 25 w 72"/>
                <a:gd name="T47" fmla="*/ 0 h 99"/>
                <a:gd name="T48" fmla="*/ 32 w 72"/>
                <a:gd name="T49" fmla="*/ 4 h 99"/>
                <a:gd name="T50" fmla="*/ 39 w 72"/>
                <a:gd name="T51" fmla="*/ 5 h 99"/>
                <a:gd name="T52" fmla="*/ 40 w 72"/>
                <a:gd name="T53" fmla="*/ 10 h 99"/>
                <a:gd name="T54" fmla="*/ 38 w 72"/>
                <a:gd name="T55" fmla="*/ 15 h 99"/>
                <a:gd name="T56" fmla="*/ 40 w 72"/>
                <a:gd name="T57" fmla="*/ 23 h 99"/>
                <a:gd name="T58" fmla="*/ 43 w 72"/>
                <a:gd name="T59" fmla="*/ 33 h 99"/>
                <a:gd name="T60" fmla="*/ 39 w 72"/>
                <a:gd name="T61" fmla="*/ 43 h 99"/>
                <a:gd name="T62" fmla="*/ 32 w 72"/>
                <a:gd name="T63" fmla="*/ 49 h 99"/>
                <a:gd name="T64" fmla="*/ 38 w 72"/>
                <a:gd name="T65" fmla="*/ 57 h 99"/>
                <a:gd name="T66" fmla="*/ 43 w 72"/>
                <a:gd name="T67" fmla="*/ 63 h 99"/>
                <a:gd name="T68" fmla="*/ 42 w 72"/>
                <a:gd name="T69" fmla="*/ 66 h 99"/>
                <a:gd name="T70" fmla="*/ 35 w 72"/>
                <a:gd name="T71" fmla="*/ 62 h 99"/>
                <a:gd name="T72" fmla="*/ 35 w 72"/>
                <a:gd name="T73" fmla="*/ 68 h 99"/>
                <a:gd name="T74" fmla="*/ 38 w 72"/>
                <a:gd name="T75" fmla="*/ 72 h 99"/>
                <a:gd name="T76" fmla="*/ 53 w 72"/>
                <a:gd name="T77" fmla="*/ 73 h 99"/>
                <a:gd name="T78" fmla="*/ 61 w 72"/>
                <a:gd name="T79" fmla="*/ 78 h 99"/>
                <a:gd name="T80" fmla="*/ 67 w 72"/>
                <a:gd name="T81" fmla="*/ 78 h 99"/>
                <a:gd name="T82" fmla="*/ 68 w 72"/>
                <a:gd name="T83" fmla="*/ 82 h 99"/>
                <a:gd name="T84" fmla="*/ 65 w 72"/>
                <a:gd name="T85" fmla="*/ 86 h 99"/>
                <a:gd name="T86" fmla="*/ 72 w 72"/>
                <a:gd name="T87" fmla="*/ 92 h 99"/>
                <a:gd name="T88" fmla="*/ 72 w 72"/>
                <a:gd name="T89" fmla="*/ 9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 h="99">
                  <a:moveTo>
                    <a:pt x="69" y="99"/>
                  </a:moveTo>
                  <a:lnTo>
                    <a:pt x="69" y="99"/>
                  </a:lnTo>
                  <a:lnTo>
                    <a:pt x="61" y="98"/>
                  </a:lnTo>
                  <a:lnTo>
                    <a:pt x="56" y="97"/>
                  </a:lnTo>
                  <a:lnTo>
                    <a:pt x="55" y="94"/>
                  </a:lnTo>
                  <a:lnTo>
                    <a:pt x="55" y="94"/>
                  </a:lnTo>
                  <a:lnTo>
                    <a:pt x="55" y="92"/>
                  </a:lnTo>
                  <a:lnTo>
                    <a:pt x="56" y="91"/>
                  </a:lnTo>
                  <a:lnTo>
                    <a:pt x="56" y="89"/>
                  </a:lnTo>
                  <a:lnTo>
                    <a:pt x="56" y="88"/>
                  </a:lnTo>
                  <a:lnTo>
                    <a:pt x="56" y="88"/>
                  </a:lnTo>
                  <a:lnTo>
                    <a:pt x="55" y="82"/>
                  </a:lnTo>
                  <a:lnTo>
                    <a:pt x="53" y="81"/>
                  </a:lnTo>
                  <a:lnTo>
                    <a:pt x="52" y="82"/>
                  </a:lnTo>
                  <a:lnTo>
                    <a:pt x="52" y="82"/>
                  </a:lnTo>
                  <a:lnTo>
                    <a:pt x="51" y="86"/>
                  </a:lnTo>
                  <a:lnTo>
                    <a:pt x="51" y="89"/>
                  </a:lnTo>
                  <a:lnTo>
                    <a:pt x="49" y="89"/>
                  </a:lnTo>
                  <a:lnTo>
                    <a:pt x="49" y="89"/>
                  </a:lnTo>
                  <a:lnTo>
                    <a:pt x="46" y="86"/>
                  </a:lnTo>
                  <a:lnTo>
                    <a:pt x="45" y="85"/>
                  </a:lnTo>
                  <a:lnTo>
                    <a:pt x="42" y="85"/>
                  </a:lnTo>
                  <a:lnTo>
                    <a:pt x="42" y="85"/>
                  </a:lnTo>
                  <a:lnTo>
                    <a:pt x="36" y="85"/>
                  </a:lnTo>
                  <a:lnTo>
                    <a:pt x="33" y="84"/>
                  </a:lnTo>
                  <a:lnTo>
                    <a:pt x="33" y="82"/>
                  </a:lnTo>
                  <a:lnTo>
                    <a:pt x="33" y="82"/>
                  </a:lnTo>
                  <a:lnTo>
                    <a:pt x="36" y="78"/>
                  </a:lnTo>
                  <a:lnTo>
                    <a:pt x="36" y="76"/>
                  </a:lnTo>
                  <a:lnTo>
                    <a:pt x="35" y="78"/>
                  </a:lnTo>
                  <a:lnTo>
                    <a:pt x="35" y="78"/>
                  </a:lnTo>
                  <a:lnTo>
                    <a:pt x="29" y="81"/>
                  </a:lnTo>
                  <a:lnTo>
                    <a:pt x="27" y="82"/>
                  </a:lnTo>
                  <a:lnTo>
                    <a:pt x="23" y="81"/>
                  </a:lnTo>
                  <a:lnTo>
                    <a:pt x="23" y="81"/>
                  </a:lnTo>
                  <a:lnTo>
                    <a:pt x="19" y="78"/>
                  </a:lnTo>
                  <a:lnTo>
                    <a:pt x="13" y="75"/>
                  </a:lnTo>
                  <a:lnTo>
                    <a:pt x="13" y="75"/>
                  </a:lnTo>
                  <a:lnTo>
                    <a:pt x="10" y="72"/>
                  </a:lnTo>
                  <a:lnTo>
                    <a:pt x="10" y="71"/>
                  </a:lnTo>
                  <a:lnTo>
                    <a:pt x="13" y="69"/>
                  </a:lnTo>
                  <a:lnTo>
                    <a:pt x="13" y="69"/>
                  </a:lnTo>
                  <a:lnTo>
                    <a:pt x="14" y="68"/>
                  </a:lnTo>
                  <a:lnTo>
                    <a:pt x="14" y="68"/>
                  </a:lnTo>
                  <a:lnTo>
                    <a:pt x="11" y="66"/>
                  </a:lnTo>
                  <a:lnTo>
                    <a:pt x="4" y="62"/>
                  </a:lnTo>
                  <a:lnTo>
                    <a:pt x="4" y="62"/>
                  </a:lnTo>
                  <a:lnTo>
                    <a:pt x="0" y="56"/>
                  </a:lnTo>
                  <a:lnTo>
                    <a:pt x="0" y="55"/>
                  </a:lnTo>
                  <a:lnTo>
                    <a:pt x="0" y="52"/>
                  </a:lnTo>
                  <a:lnTo>
                    <a:pt x="0" y="52"/>
                  </a:lnTo>
                  <a:lnTo>
                    <a:pt x="0" y="49"/>
                  </a:lnTo>
                  <a:lnTo>
                    <a:pt x="0" y="46"/>
                  </a:lnTo>
                  <a:lnTo>
                    <a:pt x="0" y="42"/>
                  </a:lnTo>
                  <a:lnTo>
                    <a:pt x="1" y="42"/>
                  </a:lnTo>
                  <a:lnTo>
                    <a:pt x="3" y="40"/>
                  </a:lnTo>
                  <a:lnTo>
                    <a:pt x="3" y="40"/>
                  </a:lnTo>
                  <a:lnTo>
                    <a:pt x="4" y="42"/>
                  </a:lnTo>
                  <a:lnTo>
                    <a:pt x="6" y="43"/>
                  </a:lnTo>
                  <a:lnTo>
                    <a:pt x="7" y="44"/>
                  </a:lnTo>
                  <a:lnTo>
                    <a:pt x="10" y="43"/>
                  </a:lnTo>
                  <a:lnTo>
                    <a:pt x="10" y="43"/>
                  </a:lnTo>
                  <a:lnTo>
                    <a:pt x="11" y="40"/>
                  </a:lnTo>
                  <a:lnTo>
                    <a:pt x="13" y="37"/>
                  </a:lnTo>
                  <a:lnTo>
                    <a:pt x="13" y="29"/>
                  </a:lnTo>
                  <a:lnTo>
                    <a:pt x="13" y="11"/>
                  </a:lnTo>
                  <a:lnTo>
                    <a:pt x="13" y="11"/>
                  </a:lnTo>
                  <a:lnTo>
                    <a:pt x="13" y="7"/>
                  </a:lnTo>
                  <a:lnTo>
                    <a:pt x="16" y="4"/>
                  </a:lnTo>
                  <a:lnTo>
                    <a:pt x="20" y="1"/>
                  </a:lnTo>
                  <a:lnTo>
                    <a:pt x="25" y="0"/>
                  </a:lnTo>
                  <a:lnTo>
                    <a:pt x="25" y="0"/>
                  </a:lnTo>
                  <a:lnTo>
                    <a:pt x="27" y="0"/>
                  </a:lnTo>
                  <a:lnTo>
                    <a:pt x="30" y="2"/>
                  </a:lnTo>
                  <a:lnTo>
                    <a:pt x="32" y="4"/>
                  </a:lnTo>
                  <a:lnTo>
                    <a:pt x="36" y="5"/>
                  </a:lnTo>
                  <a:lnTo>
                    <a:pt x="36" y="5"/>
                  </a:lnTo>
                  <a:lnTo>
                    <a:pt x="39" y="5"/>
                  </a:lnTo>
                  <a:lnTo>
                    <a:pt x="40" y="7"/>
                  </a:lnTo>
                  <a:lnTo>
                    <a:pt x="40" y="8"/>
                  </a:lnTo>
                  <a:lnTo>
                    <a:pt x="40" y="10"/>
                  </a:lnTo>
                  <a:lnTo>
                    <a:pt x="40" y="10"/>
                  </a:lnTo>
                  <a:lnTo>
                    <a:pt x="38" y="13"/>
                  </a:lnTo>
                  <a:lnTo>
                    <a:pt x="38" y="15"/>
                  </a:lnTo>
                  <a:lnTo>
                    <a:pt x="38" y="18"/>
                  </a:lnTo>
                  <a:lnTo>
                    <a:pt x="40" y="23"/>
                  </a:lnTo>
                  <a:lnTo>
                    <a:pt x="40" y="23"/>
                  </a:lnTo>
                  <a:lnTo>
                    <a:pt x="42" y="24"/>
                  </a:lnTo>
                  <a:lnTo>
                    <a:pt x="43" y="27"/>
                  </a:lnTo>
                  <a:lnTo>
                    <a:pt x="43" y="33"/>
                  </a:lnTo>
                  <a:lnTo>
                    <a:pt x="40" y="42"/>
                  </a:lnTo>
                  <a:lnTo>
                    <a:pt x="40" y="42"/>
                  </a:lnTo>
                  <a:lnTo>
                    <a:pt x="39" y="43"/>
                  </a:lnTo>
                  <a:lnTo>
                    <a:pt x="36" y="44"/>
                  </a:lnTo>
                  <a:lnTo>
                    <a:pt x="33" y="47"/>
                  </a:lnTo>
                  <a:lnTo>
                    <a:pt x="32" y="49"/>
                  </a:lnTo>
                  <a:lnTo>
                    <a:pt x="32" y="49"/>
                  </a:lnTo>
                  <a:lnTo>
                    <a:pt x="33" y="53"/>
                  </a:lnTo>
                  <a:lnTo>
                    <a:pt x="38" y="57"/>
                  </a:lnTo>
                  <a:lnTo>
                    <a:pt x="38" y="57"/>
                  </a:lnTo>
                  <a:lnTo>
                    <a:pt x="40" y="60"/>
                  </a:lnTo>
                  <a:lnTo>
                    <a:pt x="43" y="63"/>
                  </a:lnTo>
                  <a:lnTo>
                    <a:pt x="43" y="66"/>
                  </a:lnTo>
                  <a:lnTo>
                    <a:pt x="43" y="66"/>
                  </a:lnTo>
                  <a:lnTo>
                    <a:pt x="42" y="66"/>
                  </a:lnTo>
                  <a:lnTo>
                    <a:pt x="42" y="66"/>
                  </a:lnTo>
                  <a:lnTo>
                    <a:pt x="36" y="62"/>
                  </a:lnTo>
                  <a:lnTo>
                    <a:pt x="35" y="62"/>
                  </a:lnTo>
                  <a:lnTo>
                    <a:pt x="35" y="62"/>
                  </a:lnTo>
                  <a:lnTo>
                    <a:pt x="35" y="62"/>
                  </a:lnTo>
                  <a:lnTo>
                    <a:pt x="35" y="68"/>
                  </a:lnTo>
                  <a:lnTo>
                    <a:pt x="35" y="71"/>
                  </a:lnTo>
                  <a:lnTo>
                    <a:pt x="38" y="72"/>
                  </a:lnTo>
                  <a:lnTo>
                    <a:pt x="38" y="72"/>
                  </a:lnTo>
                  <a:lnTo>
                    <a:pt x="46" y="72"/>
                  </a:lnTo>
                  <a:lnTo>
                    <a:pt x="51" y="73"/>
                  </a:lnTo>
                  <a:lnTo>
                    <a:pt x="53" y="73"/>
                  </a:lnTo>
                  <a:lnTo>
                    <a:pt x="53" y="73"/>
                  </a:lnTo>
                  <a:lnTo>
                    <a:pt x="56" y="76"/>
                  </a:lnTo>
                  <a:lnTo>
                    <a:pt x="61" y="78"/>
                  </a:lnTo>
                  <a:lnTo>
                    <a:pt x="61" y="78"/>
                  </a:lnTo>
                  <a:lnTo>
                    <a:pt x="65" y="78"/>
                  </a:lnTo>
                  <a:lnTo>
                    <a:pt x="67" y="78"/>
                  </a:lnTo>
                  <a:lnTo>
                    <a:pt x="68" y="81"/>
                  </a:lnTo>
                  <a:lnTo>
                    <a:pt x="68" y="81"/>
                  </a:lnTo>
                  <a:lnTo>
                    <a:pt x="68" y="82"/>
                  </a:lnTo>
                  <a:lnTo>
                    <a:pt x="67" y="84"/>
                  </a:lnTo>
                  <a:lnTo>
                    <a:pt x="65" y="85"/>
                  </a:lnTo>
                  <a:lnTo>
                    <a:pt x="65" y="86"/>
                  </a:lnTo>
                  <a:lnTo>
                    <a:pt x="65" y="86"/>
                  </a:lnTo>
                  <a:lnTo>
                    <a:pt x="69" y="91"/>
                  </a:lnTo>
                  <a:lnTo>
                    <a:pt x="72" y="92"/>
                  </a:lnTo>
                  <a:lnTo>
                    <a:pt x="72" y="94"/>
                  </a:lnTo>
                  <a:lnTo>
                    <a:pt x="72" y="94"/>
                  </a:lnTo>
                  <a:lnTo>
                    <a:pt x="72" y="98"/>
                  </a:lnTo>
                  <a:lnTo>
                    <a:pt x="71" y="99"/>
                  </a:lnTo>
                  <a:lnTo>
                    <a:pt x="69" y="99"/>
                  </a:lnTo>
                  <a:close/>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18" name="Freeform 871"/>
            <p:cNvSpPr>
              <a:spLocks/>
            </p:cNvSpPr>
            <p:nvPr/>
          </p:nvSpPr>
          <p:spPr bwMode="auto">
            <a:xfrm>
              <a:off x="7369175" y="4233864"/>
              <a:ext cx="114300" cy="157163"/>
            </a:xfrm>
            <a:custGeom>
              <a:avLst/>
              <a:gdLst>
                <a:gd name="T0" fmla="*/ 61 w 72"/>
                <a:gd name="T1" fmla="*/ 98 h 99"/>
                <a:gd name="T2" fmla="*/ 55 w 72"/>
                <a:gd name="T3" fmla="*/ 94 h 99"/>
                <a:gd name="T4" fmla="*/ 56 w 72"/>
                <a:gd name="T5" fmla="*/ 89 h 99"/>
                <a:gd name="T6" fmla="*/ 55 w 72"/>
                <a:gd name="T7" fmla="*/ 82 h 99"/>
                <a:gd name="T8" fmla="*/ 52 w 72"/>
                <a:gd name="T9" fmla="*/ 82 h 99"/>
                <a:gd name="T10" fmla="*/ 49 w 72"/>
                <a:gd name="T11" fmla="*/ 89 h 99"/>
                <a:gd name="T12" fmla="*/ 45 w 72"/>
                <a:gd name="T13" fmla="*/ 85 h 99"/>
                <a:gd name="T14" fmla="*/ 36 w 72"/>
                <a:gd name="T15" fmla="*/ 85 h 99"/>
                <a:gd name="T16" fmla="*/ 33 w 72"/>
                <a:gd name="T17" fmla="*/ 82 h 99"/>
                <a:gd name="T18" fmla="*/ 35 w 72"/>
                <a:gd name="T19" fmla="*/ 78 h 99"/>
                <a:gd name="T20" fmla="*/ 27 w 72"/>
                <a:gd name="T21" fmla="*/ 82 h 99"/>
                <a:gd name="T22" fmla="*/ 19 w 72"/>
                <a:gd name="T23" fmla="*/ 78 h 99"/>
                <a:gd name="T24" fmla="*/ 10 w 72"/>
                <a:gd name="T25" fmla="*/ 72 h 99"/>
                <a:gd name="T26" fmla="*/ 13 w 72"/>
                <a:gd name="T27" fmla="*/ 69 h 99"/>
                <a:gd name="T28" fmla="*/ 11 w 72"/>
                <a:gd name="T29" fmla="*/ 66 h 99"/>
                <a:gd name="T30" fmla="*/ 0 w 72"/>
                <a:gd name="T31" fmla="*/ 56 h 99"/>
                <a:gd name="T32" fmla="*/ 0 w 72"/>
                <a:gd name="T33" fmla="*/ 52 h 99"/>
                <a:gd name="T34" fmla="*/ 0 w 72"/>
                <a:gd name="T35" fmla="*/ 42 h 99"/>
                <a:gd name="T36" fmla="*/ 3 w 72"/>
                <a:gd name="T37" fmla="*/ 40 h 99"/>
                <a:gd name="T38" fmla="*/ 7 w 72"/>
                <a:gd name="T39" fmla="*/ 44 h 99"/>
                <a:gd name="T40" fmla="*/ 11 w 72"/>
                <a:gd name="T41" fmla="*/ 40 h 99"/>
                <a:gd name="T42" fmla="*/ 13 w 72"/>
                <a:gd name="T43" fmla="*/ 11 h 99"/>
                <a:gd name="T44" fmla="*/ 16 w 72"/>
                <a:gd name="T45" fmla="*/ 4 h 99"/>
                <a:gd name="T46" fmla="*/ 25 w 72"/>
                <a:gd name="T47" fmla="*/ 0 h 99"/>
                <a:gd name="T48" fmla="*/ 32 w 72"/>
                <a:gd name="T49" fmla="*/ 4 h 99"/>
                <a:gd name="T50" fmla="*/ 39 w 72"/>
                <a:gd name="T51" fmla="*/ 5 h 99"/>
                <a:gd name="T52" fmla="*/ 40 w 72"/>
                <a:gd name="T53" fmla="*/ 10 h 99"/>
                <a:gd name="T54" fmla="*/ 38 w 72"/>
                <a:gd name="T55" fmla="*/ 15 h 99"/>
                <a:gd name="T56" fmla="*/ 40 w 72"/>
                <a:gd name="T57" fmla="*/ 23 h 99"/>
                <a:gd name="T58" fmla="*/ 43 w 72"/>
                <a:gd name="T59" fmla="*/ 33 h 99"/>
                <a:gd name="T60" fmla="*/ 39 w 72"/>
                <a:gd name="T61" fmla="*/ 43 h 99"/>
                <a:gd name="T62" fmla="*/ 32 w 72"/>
                <a:gd name="T63" fmla="*/ 49 h 99"/>
                <a:gd name="T64" fmla="*/ 38 w 72"/>
                <a:gd name="T65" fmla="*/ 57 h 99"/>
                <a:gd name="T66" fmla="*/ 43 w 72"/>
                <a:gd name="T67" fmla="*/ 63 h 99"/>
                <a:gd name="T68" fmla="*/ 42 w 72"/>
                <a:gd name="T69" fmla="*/ 66 h 99"/>
                <a:gd name="T70" fmla="*/ 35 w 72"/>
                <a:gd name="T71" fmla="*/ 62 h 99"/>
                <a:gd name="T72" fmla="*/ 35 w 72"/>
                <a:gd name="T73" fmla="*/ 68 h 99"/>
                <a:gd name="T74" fmla="*/ 38 w 72"/>
                <a:gd name="T75" fmla="*/ 72 h 99"/>
                <a:gd name="T76" fmla="*/ 53 w 72"/>
                <a:gd name="T77" fmla="*/ 73 h 99"/>
                <a:gd name="T78" fmla="*/ 61 w 72"/>
                <a:gd name="T79" fmla="*/ 78 h 99"/>
                <a:gd name="T80" fmla="*/ 67 w 72"/>
                <a:gd name="T81" fmla="*/ 78 h 99"/>
                <a:gd name="T82" fmla="*/ 68 w 72"/>
                <a:gd name="T83" fmla="*/ 82 h 99"/>
                <a:gd name="T84" fmla="*/ 65 w 72"/>
                <a:gd name="T85" fmla="*/ 86 h 99"/>
                <a:gd name="T86" fmla="*/ 72 w 72"/>
                <a:gd name="T87" fmla="*/ 92 h 99"/>
                <a:gd name="T88" fmla="*/ 72 w 72"/>
                <a:gd name="T89" fmla="*/ 9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 h="99">
                  <a:moveTo>
                    <a:pt x="69" y="99"/>
                  </a:moveTo>
                  <a:lnTo>
                    <a:pt x="69" y="99"/>
                  </a:lnTo>
                  <a:lnTo>
                    <a:pt x="61" y="98"/>
                  </a:lnTo>
                  <a:lnTo>
                    <a:pt x="56" y="97"/>
                  </a:lnTo>
                  <a:lnTo>
                    <a:pt x="55" y="94"/>
                  </a:lnTo>
                  <a:lnTo>
                    <a:pt x="55" y="94"/>
                  </a:lnTo>
                  <a:lnTo>
                    <a:pt x="55" y="92"/>
                  </a:lnTo>
                  <a:lnTo>
                    <a:pt x="56" y="91"/>
                  </a:lnTo>
                  <a:lnTo>
                    <a:pt x="56" y="89"/>
                  </a:lnTo>
                  <a:lnTo>
                    <a:pt x="56" y="88"/>
                  </a:lnTo>
                  <a:lnTo>
                    <a:pt x="56" y="88"/>
                  </a:lnTo>
                  <a:lnTo>
                    <a:pt x="55" y="82"/>
                  </a:lnTo>
                  <a:lnTo>
                    <a:pt x="53" y="81"/>
                  </a:lnTo>
                  <a:lnTo>
                    <a:pt x="52" y="82"/>
                  </a:lnTo>
                  <a:lnTo>
                    <a:pt x="52" y="82"/>
                  </a:lnTo>
                  <a:lnTo>
                    <a:pt x="51" y="86"/>
                  </a:lnTo>
                  <a:lnTo>
                    <a:pt x="51" y="89"/>
                  </a:lnTo>
                  <a:lnTo>
                    <a:pt x="49" y="89"/>
                  </a:lnTo>
                  <a:lnTo>
                    <a:pt x="49" y="89"/>
                  </a:lnTo>
                  <a:lnTo>
                    <a:pt x="46" y="86"/>
                  </a:lnTo>
                  <a:lnTo>
                    <a:pt x="45" y="85"/>
                  </a:lnTo>
                  <a:lnTo>
                    <a:pt x="42" y="85"/>
                  </a:lnTo>
                  <a:lnTo>
                    <a:pt x="42" y="85"/>
                  </a:lnTo>
                  <a:lnTo>
                    <a:pt x="36" y="85"/>
                  </a:lnTo>
                  <a:lnTo>
                    <a:pt x="33" y="84"/>
                  </a:lnTo>
                  <a:lnTo>
                    <a:pt x="33" y="82"/>
                  </a:lnTo>
                  <a:lnTo>
                    <a:pt x="33" y="82"/>
                  </a:lnTo>
                  <a:lnTo>
                    <a:pt x="36" y="78"/>
                  </a:lnTo>
                  <a:lnTo>
                    <a:pt x="36" y="76"/>
                  </a:lnTo>
                  <a:lnTo>
                    <a:pt x="35" y="78"/>
                  </a:lnTo>
                  <a:lnTo>
                    <a:pt x="35" y="78"/>
                  </a:lnTo>
                  <a:lnTo>
                    <a:pt x="29" y="81"/>
                  </a:lnTo>
                  <a:lnTo>
                    <a:pt x="27" y="82"/>
                  </a:lnTo>
                  <a:lnTo>
                    <a:pt x="23" y="81"/>
                  </a:lnTo>
                  <a:lnTo>
                    <a:pt x="23" y="81"/>
                  </a:lnTo>
                  <a:lnTo>
                    <a:pt x="19" y="78"/>
                  </a:lnTo>
                  <a:lnTo>
                    <a:pt x="13" y="75"/>
                  </a:lnTo>
                  <a:lnTo>
                    <a:pt x="13" y="75"/>
                  </a:lnTo>
                  <a:lnTo>
                    <a:pt x="10" y="72"/>
                  </a:lnTo>
                  <a:lnTo>
                    <a:pt x="10" y="71"/>
                  </a:lnTo>
                  <a:lnTo>
                    <a:pt x="13" y="69"/>
                  </a:lnTo>
                  <a:lnTo>
                    <a:pt x="13" y="69"/>
                  </a:lnTo>
                  <a:lnTo>
                    <a:pt x="14" y="68"/>
                  </a:lnTo>
                  <a:lnTo>
                    <a:pt x="14" y="68"/>
                  </a:lnTo>
                  <a:lnTo>
                    <a:pt x="11" y="66"/>
                  </a:lnTo>
                  <a:lnTo>
                    <a:pt x="4" y="62"/>
                  </a:lnTo>
                  <a:lnTo>
                    <a:pt x="4" y="62"/>
                  </a:lnTo>
                  <a:lnTo>
                    <a:pt x="0" y="56"/>
                  </a:lnTo>
                  <a:lnTo>
                    <a:pt x="0" y="55"/>
                  </a:lnTo>
                  <a:lnTo>
                    <a:pt x="0" y="52"/>
                  </a:lnTo>
                  <a:lnTo>
                    <a:pt x="0" y="52"/>
                  </a:lnTo>
                  <a:lnTo>
                    <a:pt x="0" y="49"/>
                  </a:lnTo>
                  <a:lnTo>
                    <a:pt x="0" y="46"/>
                  </a:lnTo>
                  <a:lnTo>
                    <a:pt x="0" y="42"/>
                  </a:lnTo>
                  <a:lnTo>
                    <a:pt x="1" y="42"/>
                  </a:lnTo>
                  <a:lnTo>
                    <a:pt x="3" y="40"/>
                  </a:lnTo>
                  <a:lnTo>
                    <a:pt x="3" y="40"/>
                  </a:lnTo>
                  <a:lnTo>
                    <a:pt x="4" y="42"/>
                  </a:lnTo>
                  <a:lnTo>
                    <a:pt x="6" y="43"/>
                  </a:lnTo>
                  <a:lnTo>
                    <a:pt x="7" y="44"/>
                  </a:lnTo>
                  <a:lnTo>
                    <a:pt x="10" y="43"/>
                  </a:lnTo>
                  <a:lnTo>
                    <a:pt x="10" y="43"/>
                  </a:lnTo>
                  <a:lnTo>
                    <a:pt x="11" y="40"/>
                  </a:lnTo>
                  <a:lnTo>
                    <a:pt x="13" y="37"/>
                  </a:lnTo>
                  <a:lnTo>
                    <a:pt x="13" y="29"/>
                  </a:lnTo>
                  <a:lnTo>
                    <a:pt x="13" y="11"/>
                  </a:lnTo>
                  <a:lnTo>
                    <a:pt x="13" y="11"/>
                  </a:lnTo>
                  <a:lnTo>
                    <a:pt x="13" y="7"/>
                  </a:lnTo>
                  <a:lnTo>
                    <a:pt x="16" y="4"/>
                  </a:lnTo>
                  <a:lnTo>
                    <a:pt x="20" y="1"/>
                  </a:lnTo>
                  <a:lnTo>
                    <a:pt x="25" y="0"/>
                  </a:lnTo>
                  <a:lnTo>
                    <a:pt x="25" y="0"/>
                  </a:lnTo>
                  <a:lnTo>
                    <a:pt x="27" y="0"/>
                  </a:lnTo>
                  <a:lnTo>
                    <a:pt x="30" y="2"/>
                  </a:lnTo>
                  <a:lnTo>
                    <a:pt x="32" y="4"/>
                  </a:lnTo>
                  <a:lnTo>
                    <a:pt x="36" y="5"/>
                  </a:lnTo>
                  <a:lnTo>
                    <a:pt x="36" y="5"/>
                  </a:lnTo>
                  <a:lnTo>
                    <a:pt x="39" y="5"/>
                  </a:lnTo>
                  <a:lnTo>
                    <a:pt x="40" y="7"/>
                  </a:lnTo>
                  <a:lnTo>
                    <a:pt x="40" y="8"/>
                  </a:lnTo>
                  <a:lnTo>
                    <a:pt x="40" y="10"/>
                  </a:lnTo>
                  <a:lnTo>
                    <a:pt x="40" y="10"/>
                  </a:lnTo>
                  <a:lnTo>
                    <a:pt x="38" y="13"/>
                  </a:lnTo>
                  <a:lnTo>
                    <a:pt x="38" y="15"/>
                  </a:lnTo>
                  <a:lnTo>
                    <a:pt x="38" y="18"/>
                  </a:lnTo>
                  <a:lnTo>
                    <a:pt x="40" y="23"/>
                  </a:lnTo>
                  <a:lnTo>
                    <a:pt x="40" y="23"/>
                  </a:lnTo>
                  <a:lnTo>
                    <a:pt x="42" y="24"/>
                  </a:lnTo>
                  <a:lnTo>
                    <a:pt x="43" y="27"/>
                  </a:lnTo>
                  <a:lnTo>
                    <a:pt x="43" y="33"/>
                  </a:lnTo>
                  <a:lnTo>
                    <a:pt x="40" y="42"/>
                  </a:lnTo>
                  <a:lnTo>
                    <a:pt x="40" y="42"/>
                  </a:lnTo>
                  <a:lnTo>
                    <a:pt x="39" y="43"/>
                  </a:lnTo>
                  <a:lnTo>
                    <a:pt x="36" y="44"/>
                  </a:lnTo>
                  <a:lnTo>
                    <a:pt x="33" y="47"/>
                  </a:lnTo>
                  <a:lnTo>
                    <a:pt x="32" y="49"/>
                  </a:lnTo>
                  <a:lnTo>
                    <a:pt x="32" y="49"/>
                  </a:lnTo>
                  <a:lnTo>
                    <a:pt x="33" y="53"/>
                  </a:lnTo>
                  <a:lnTo>
                    <a:pt x="38" y="57"/>
                  </a:lnTo>
                  <a:lnTo>
                    <a:pt x="38" y="57"/>
                  </a:lnTo>
                  <a:lnTo>
                    <a:pt x="40" y="60"/>
                  </a:lnTo>
                  <a:lnTo>
                    <a:pt x="43" y="63"/>
                  </a:lnTo>
                  <a:lnTo>
                    <a:pt x="43" y="66"/>
                  </a:lnTo>
                  <a:lnTo>
                    <a:pt x="43" y="66"/>
                  </a:lnTo>
                  <a:lnTo>
                    <a:pt x="42" y="66"/>
                  </a:lnTo>
                  <a:lnTo>
                    <a:pt x="42" y="66"/>
                  </a:lnTo>
                  <a:lnTo>
                    <a:pt x="36" y="62"/>
                  </a:lnTo>
                  <a:lnTo>
                    <a:pt x="35" y="62"/>
                  </a:lnTo>
                  <a:lnTo>
                    <a:pt x="35" y="62"/>
                  </a:lnTo>
                  <a:lnTo>
                    <a:pt x="35" y="62"/>
                  </a:lnTo>
                  <a:lnTo>
                    <a:pt x="35" y="68"/>
                  </a:lnTo>
                  <a:lnTo>
                    <a:pt x="35" y="71"/>
                  </a:lnTo>
                  <a:lnTo>
                    <a:pt x="38" y="72"/>
                  </a:lnTo>
                  <a:lnTo>
                    <a:pt x="38" y="72"/>
                  </a:lnTo>
                  <a:lnTo>
                    <a:pt x="46" y="72"/>
                  </a:lnTo>
                  <a:lnTo>
                    <a:pt x="51" y="73"/>
                  </a:lnTo>
                  <a:lnTo>
                    <a:pt x="53" y="73"/>
                  </a:lnTo>
                  <a:lnTo>
                    <a:pt x="53" y="73"/>
                  </a:lnTo>
                  <a:lnTo>
                    <a:pt x="56" y="76"/>
                  </a:lnTo>
                  <a:lnTo>
                    <a:pt x="61" y="78"/>
                  </a:lnTo>
                  <a:lnTo>
                    <a:pt x="61" y="78"/>
                  </a:lnTo>
                  <a:lnTo>
                    <a:pt x="65" y="78"/>
                  </a:lnTo>
                  <a:lnTo>
                    <a:pt x="67" y="78"/>
                  </a:lnTo>
                  <a:lnTo>
                    <a:pt x="68" y="81"/>
                  </a:lnTo>
                  <a:lnTo>
                    <a:pt x="68" y="81"/>
                  </a:lnTo>
                  <a:lnTo>
                    <a:pt x="68" y="82"/>
                  </a:lnTo>
                  <a:lnTo>
                    <a:pt x="67" y="84"/>
                  </a:lnTo>
                  <a:lnTo>
                    <a:pt x="65" y="85"/>
                  </a:lnTo>
                  <a:lnTo>
                    <a:pt x="65" y="86"/>
                  </a:lnTo>
                  <a:lnTo>
                    <a:pt x="65" y="86"/>
                  </a:lnTo>
                  <a:lnTo>
                    <a:pt x="69" y="91"/>
                  </a:lnTo>
                  <a:lnTo>
                    <a:pt x="72" y="92"/>
                  </a:lnTo>
                  <a:lnTo>
                    <a:pt x="72" y="94"/>
                  </a:lnTo>
                  <a:lnTo>
                    <a:pt x="72" y="94"/>
                  </a:lnTo>
                  <a:lnTo>
                    <a:pt x="72" y="98"/>
                  </a:lnTo>
                  <a:lnTo>
                    <a:pt x="71" y="99"/>
                  </a:lnTo>
                  <a:lnTo>
                    <a:pt x="69" y="9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19" name="Freeform 872"/>
            <p:cNvSpPr>
              <a:spLocks/>
            </p:cNvSpPr>
            <p:nvPr/>
          </p:nvSpPr>
          <p:spPr bwMode="auto">
            <a:xfrm>
              <a:off x="7488238" y="4394201"/>
              <a:ext cx="31750" cy="60325"/>
            </a:xfrm>
            <a:custGeom>
              <a:avLst/>
              <a:gdLst>
                <a:gd name="T0" fmla="*/ 12 w 20"/>
                <a:gd name="T1" fmla="*/ 0 h 38"/>
                <a:gd name="T2" fmla="*/ 12 w 20"/>
                <a:gd name="T3" fmla="*/ 0 h 38"/>
                <a:gd name="T4" fmla="*/ 9 w 20"/>
                <a:gd name="T5" fmla="*/ 0 h 38"/>
                <a:gd name="T6" fmla="*/ 6 w 20"/>
                <a:gd name="T7" fmla="*/ 1 h 38"/>
                <a:gd name="T8" fmla="*/ 5 w 20"/>
                <a:gd name="T9" fmla="*/ 3 h 38"/>
                <a:gd name="T10" fmla="*/ 3 w 20"/>
                <a:gd name="T11" fmla="*/ 3 h 38"/>
                <a:gd name="T12" fmla="*/ 3 w 20"/>
                <a:gd name="T13" fmla="*/ 3 h 38"/>
                <a:gd name="T14" fmla="*/ 0 w 20"/>
                <a:gd name="T15" fmla="*/ 4 h 38"/>
                <a:gd name="T16" fmla="*/ 3 w 20"/>
                <a:gd name="T17" fmla="*/ 7 h 38"/>
                <a:gd name="T18" fmla="*/ 3 w 20"/>
                <a:gd name="T19" fmla="*/ 7 h 38"/>
                <a:gd name="T20" fmla="*/ 7 w 20"/>
                <a:gd name="T21" fmla="*/ 13 h 38"/>
                <a:gd name="T22" fmla="*/ 10 w 20"/>
                <a:gd name="T23" fmla="*/ 14 h 38"/>
                <a:gd name="T24" fmla="*/ 10 w 20"/>
                <a:gd name="T25" fmla="*/ 17 h 38"/>
                <a:gd name="T26" fmla="*/ 10 w 20"/>
                <a:gd name="T27" fmla="*/ 17 h 38"/>
                <a:gd name="T28" fmla="*/ 10 w 20"/>
                <a:gd name="T29" fmla="*/ 22 h 38"/>
                <a:gd name="T30" fmla="*/ 9 w 20"/>
                <a:gd name="T31" fmla="*/ 23 h 38"/>
                <a:gd name="T32" fmla="*/ 9 w 20"/>
                <a:gd name="T33" fmla="*/ 23 h 38"/>
                <a:gd name="T34" fmla="*/ 6 w 20"/>
                <a:gd name="T35" fmla="*/ 25 h 38"/>
                <a:gd name="T36" fmla="*/ 5 w 20"/>
                <a:gd name="T37" fmla="*/ 26 h 38"/>
                <a:gd name="T38" fmla="*/ 5 w 20"/>
                <a:gd name="T39" fmla="*/ 27 h 38"/>
                <a:gd name="T40" fmla="*/ 5 w 20"/>
                <a:gd name="T41" fmla="*/ 27 h 38"/>
                <a:gd name="T42" fmla="*/ 7 w 20"/>
                <a:gd name="T43" fmla="*/ 35 h 38"/>
                <a:gd name="T44" fmla="*/ 9 w 20"/>
                <a:gd name="T45" fmla="*/ 38 h 38"/>
                <a:gd name="T46" fmla="*/ 10 w 20"/>
                <a:gd name="T47" fmla="*/ 38 h 38"/>
                <a:gd name="T48" fmla="*/ 10 w 20"/>
                <a:gd name="T49" fmla="*/ 38 h 38"/>
                <a:gd name="T50" fmla="*/ 12 w 20"/>
                <a:gd name="T51" fmla="*/ 36 h 38"/>
                <a:gd name="T52" fmla="*/ 12 w 20"/>
                <a:gd name="T53" fmla="*/ 33 h 38"/>
                <a:gd name="T54" fmla="*/ 13 w 20"/>
                <a:gd name="T55" fmla="*/ 30 h 38"/>
                <a:gd name="T56" fmla="*/ 15 w 20"/>
                <a:gd name="T57" fmla="*/ 27 h 38"/>
                <a:gd name="T58" fmla="*/ 15 w 20"/>
                <a:gd name="T59" fmla="*/ 27 h 38"/>
                <a:gd name="T60" fmla="*/ 19 w 20"/>
                <a:gd name="T61" fmla="*/ 26 h 38"/>
                <a:gd name="T62" fmla="*/ 20 w 20"/>
                <a:gd name="T63" fmla="*/ 25 h 38"/>
                <a:gd name="T64" fmla="*/ 20 w 20"/>
                <a:gd name="T65" fmla="*/ 22 h 38"/>
                <a:gd name="T66" fmla="*/ 20 w 20"/>
                <a:gd name="T67" fmla="*/ 22 h 38"/>
                <a:gd name="T68" fmla="*/ 20 w 20"/>
                <a:gd name="T69" fmla="*/ 14 h 38"/>
                <a:gd name="T70" fmla="*/ 20 w 20"/>
                <a:gd name="T71" fmla="*/ 10 h 38"/>
                <a:gd name="T72" fmla="*/ 19 w 20"/>
                <a:gd name="T73" fmla="*/ 7 h 38"/>
                <a:gd name="T74" fmla="*/ 19 w 20"/>
                <a:gd name="T75" fmla="*/ 7 h 38"/>
                <a:gd name="T76" fmla="*/ 16 w 20"/>
                <a:gd name="T77" fmla="*/ 3 h 38"/>
                <a:gd name="T78" fmla="*/ 15 w 20"/>
                <a:gd name="T79" fmla="*/ 1 h 38"/>
                <a:gd name="T80" fmla="*/ 12 w 20"/>
                <a:gd name="T8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 h="38">
                  <a:moveTo>
                    <a:pt x="12" y="0"/>
                  </a:moveTo>
                  <a:lnTo>
                    <a:pt x="12" y="0"/>
                  </a:lnTo>
                  <a:lnTo>
                    <a:pt x="9" y="0"/>
                  </a:lnTo>
                  <a:lnTo>
                    <a:pt x="6" y="1"/>
                  </a:lnTo>
                  <a:lnTo>
                    <a:pt x="5" y="3"/>
                  </a:lnTo>
                  <a:lnTo>
                    <a:pt x="3" y="3"/>
                  </a:lnTo>
                  <a:lnTo>
                    <a:pt x="3" y="3"/>
                  </a:lnTo>
                  <a:lnTo>
                    <a:pt x="0" y="4"/>
                  </a:lnTo>
                  <a:lnTo>
                    <a:pt x="3" y="7"/>
                  </a:lnTo>
                  <a:lnTo>
                    <a:pt x="3" y="7"/>
                  </a:lnTo>
                  <a:lnTo>
                    <a:pt x="7" y="13"/>
                  </a:lnTo>
                  <a:lnTo>
                    <a:pt x="10" y="14"/>
                  </a:lnTo>
                  <a:lnTo>
                    <a:pt x="10" y="17"/>
                  </a:lnTo>
                  <a:lnTo>
                    <a:pt x="10" y="17"/>
                  </a:lnTo>
                  <a:lnTo>
                    <a:pt x="10" y="22"/>
                  </a:lnTo>
                  <a:lnTo>
                    <a:pt x="9" y="23"/>
                  </a:lnTo>
                  <a:lnTo>
                    <a:pt x="9" y="23"/>
                  </a:lnTo>
                  <a:lnTo>
                    <a:pt x="6" y="25"/>
                  </a:lnTo>
                  <a:lnTo>
                    <a:pt x="5" y="26"/>
                  </a:lnTo>
                  <a:lnTo>
                    <a:pt x="5" y="27"/>
                  </a:lnTo>
                  <a:lnTo>
                    <a:pt x="5" y="27"/>
                  </a:lnTo>
                  <a:lnTo>
                    <a:pt x="7" y="35"/>
                  </a:lnTo>
                  <a:lnTo>
                    <a:pt x="9" y="38"/>
                  </a:lnTo>
                  <a:lnTo>
                    <a:pt x="10" y="38"/>
                  </a:lnTo>
                  <a:lnTo>
                    <a:pt x="10" y="38"/>
                  </a:lnTo>
                  <a:lnTo>
                    <a:pt x="12" y="36"/>
                  </a:lnTo>
                  <a:lnTo>
                    <a:pt x="12" y="33"/>
                  </a:lnTo>
                  <a:lnTo>
                    <a:pt x="13" y="30"/>
                  </a:lnTo>
                  <a:lnTo>
                    <a:pt x="15" y="27"/>
                  </a:lnTo>
                  <a:lnTo>
                    <a:pt x="15" y="27"/>
                  </a:lnTo>
                  <a:lnTo>
                    <a:pt x="19" y="26"/>
                  </a:lnTo>
                  <a:lnTo>
                    <a:pt x="20" y="25"/>
                  </a:lnTo>
                  <a:lnTo>
                    <a:pt x="20" y="22"/>
                  </a:lnTo>
                  <a:lnTo>
                    <a:pt x="20" y="22"/>
                  </a:lnTo>
                  <a:lnTo>
                    <a:pt x="20" y="14"/>
                  </a:lnTo>
                  <a:lnTo>
                    <a:pt x="20" y="10"/>
                  </a:lnTo>
                  <a:lnTo>
                    <a:pt x="19" y="7"/>
                  </a:lnTo>
                  <a:lnTo>
                    <a:pt x="19" y="7"/>
                  </a:lnTo>
                  <a:lnTo>
                    <a:pt x="16" y="3"/>
                  </a:lnTo>
                  <a:lnTo>
                    <a:pt x="15" y="1"/>
                  </a:lnTo>
                  <a:lnTo>
                    <a:pt x="12" y="0"/>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20" name="Freeform 873"/>
            <p:cNvSpPr>
              <a:spLocks/>
            </p:cNvSpPr>
            <p:nvPr/>
          </p:nvSpPr>
          <p:spPr bwMode="auto">
            <a:xfrm>
              <a:off x="7488238" y="4394201"/>
              <a:ext cx="31750" cy="60325"/>
            </a:xfrm>
            <a:custGeom>
              <a:avLst/>
              <a:gdLst>
                <a:gd name="T0" fmla="*/ 12 w 20"/>
                <a:gd name="T1" fmla="*/ 0 h 38"/>
                <a:gd name="T2" fmla="*/ 12 w 20"/>
                <a:gd name="T3" fmla="*/ 0 h 38"/>
                <a:gd name="T4" fmla="*/ 9 w 20"/>
                <a:gd name="T5" fmla="*/ 0 h 38"/>
                <a:gd name="T6" fmla="*/ 6 w 20"/>
                <a:gd name="T7" fmla="*/ 1 h 38"/>
                <a:gd name="T8" fmla="*/ 5 w 20"/>
                <a:gd name="T9" fmla="*/ 3 h 38"/>
                <a:gd name="T10" fmla="*/ 3 w 20"/>
                <a:gd name="T11" fmla="*/ 3 h 38"/>
                <a:gd name="T12" fmla="*/ 3 w 20"/>
                <a:gd name="T13" fmla="*/ 3 h 38"/>
                <a:gd name="T14" fmla="*/ 0 w 20"/>
                <a:gd name="T15" fmla="*/ 4 h 38"/>
                <a:gd name="T16" fmla="*/ 3 w 20"/>
                <a:gd name="T17" fmla="*/ 7 h 38"/>
                <a:gd name="T18" fmla="*/ 3 w 20"/>
                <a:gd name="T19" fmla="*/ 7 h 38"/>
                <a:gd name="T20" fmla="*/ 7 w 20"/>
                <a:gd name="T21" fmla="*/ 13 h 38"/>
                <a:gd name="T22" fmla="*/ 10 w 20"/>
                <a:gd name="T23" fmla="*/ 14 h 38"/>
                <a:gd name="T24" fmla="*/ 10 w 20"/>
                <a:gd name="T25" fmla="*/ 17 h 38"/>
                <a:gd name="T26" fmla="*/ 10 w 20"/>
                <a:gd name="T27" fmla="*/ 17 h 38"/>
                <a:gd name="T28" fmla="*/ 10 w 20"/>
                <a:gd name="T29" fmla="*/ 22 h 38"/>
                <a:gd name="T30" fmla="*/ 9 w 20"/>
                <a:gd name="T31" fmla="*/ 23 h 38"/>
                <a:gd name="T32" fmla="*/ 9 w 20"/>
                <a:gd name="T33" fmla="*/ 23 h 38"/>
                <a:gd name="T34" fmla="*/ 6 w 20"/>
                <a:gd name="T35" fmla="*/ 25 h 38"/>
                <a:gd name="T36" fmla="*/ 5 w 20"/>
                <a:gd name="T37" fmla="*/ 26 h 38"/>
                <a:gd name="T38" fmla="*/ 5 w 20"/>
                <a:gd name="T39" fmla="*/ 27 h 38"/>
                <a:gd name="T40" fmla="*/ 5 w 20"/>
                <a:gd name="T41" fmla="*/ 27 h 38"/>
                <a:gd name="T42" fmla="*/ 7 w 20"/>
                <a:gd name="T43" fmla="*/ 35 h 38"/>
                <a:gd name="T44" fmla="*/ 9 w 20"/>
                <a:gd name="T45" fmla="*/ 38 h 38"/>
                <a:gd name="T46" fmla="*/ 10 w 20"/>
                <a:gd name="T47" fmla="*/ 38 h 38"/>
                <a:gd name="T48" fmla="*/ 10 w 20"/>
                <a:gd name="T49" fmla="*/ 38 h 38"/>
                <a:gd name="T50" fmla="*/ 12 w 20"/>
                <a:gd name="T51" fmla="*/ 36 h 38"/>
                <a:gd name="T52" fmla="*/ 12 w 20"/>
                <a:gd name="T53" fmla="*/ 33 h 38"/>
                <a:gd name="T54" fmla="*/ 13 w 20"/>
                <a:gd name="T55" fmla="*/ 30 h 38"/>
                <a:gd name="T56" fmla="*/ 15 w 20"/>
                <a:gd name="T57" fmla="*/ 27 h 38"/>
                <a:gd name="T58" fmla="*/ 15 w 20"/>
                <a:gd name="T59" fmla="*/ 27 h 38"/>
                <a:gd name="T60" fmla="*/ 19 w 20"/>
                <a:gd name="T61" fmla="*/ 26 h 38"/>
                <a:gd name="T62" fmla="*/ 20 w 20"/>
                <a:gd name="T63" fmla="*/ 25 h 38"/>
                <a:gd name="T64" fmla="*/ 20 w 20"/>
                <a:gd name="T65" fmla="*/ 22 h 38"/>
                <a:gd name="T66" fmla="*/ 20 w 20"/>
                <a:gd name="T67" fmla="*/ 22 h 38"/>
                <a:gd name="T68" fmla="*/ 20 w 20"/>
                <a:gd name="T69" fmla="*/ 14 h 38"/>
                <a:gd name="T70" fmla="*/ 20 w 20"/>
                <a:gd name="T71" fmla="*/ 10 h 38"/>
                <a:gd name="T72" fmla="*/ 19 w 20"/>
                <a:gd name="T73" fmla="*/ 7 h 38"/>
                <a:gd name="T74" fmla="*/ 19 w 20"/>
                <a:gd name="T75" fmla="*/ 7 h 38"/>
                <a:gd name="T76" fmla="*/ 16 w 20"/>
                <a:gd name="T77" fmla="*/ 3 h 38"/>
                <a:gd name="T78" fmla="*/ 15 w 20"/>
                <a:gd name="T79" fmla="*/ 1 h 38"/>
                <a:gd name="T80" fmla="*/ 12 w 20"/>
                <a:gd name="T8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 h="38">
                  <a:moveTo>
                    <a:pt x="12" y="0"/>
                  </a:moveTo>
                  <a:lnTo>
                    <a:pt x="12" y="0"/>
                  </a:lnTo>
                  <a:lnTo>
                    <a:pt x="9" y="0"/>
                  </a:lnTo>
                  <a:lnTo>
                    <a:pt x="6" y="1"/>
                  </a:lnTo>
                  <a:lnTo>
                    <a:pt x="5" y="3"/>
                  </a:lnTo>
                  <a:lnTo>
                    <a:pt x="3" y="3"/>
                  </a:lnTo>
                  <a:lnTo>
                    <a:pt x="3" y="3"/>
                  </a:lnTo>
                  <a:lnTo>
                    <a:pt x="0" y="4"/>
                  </a:lnTo>
                  <a:lnTo>
                    <a:pt x="3" y="7"/>
                  </a:lnTo>
                  <a:lnTo>
                    <a:pt x="3" y="7"/>
                  </a:lnTo>
                  <a:lnTo>
                    <a:pt x="7" y="13"/>
                  </a:lnTo>
                  <a:lnTo>
                    <a:pt x="10" y="14"/>
                  </a:lnTo>
                  <a:lnTo>
                    <a:pt x="10" y="17"/>
                  </a:lnTo>
                  <a:lnTo>
                    <a:pt x="10" y="17"/>
                  </a:lnTo>
                  <a:lnTo>
                    <a:pt x="10" y="22"/>
                  </a:lnTo>
                  <a:lnTo>
                    <a:pt x="9" y="23"/>
                  </a:lnTo>
                  <a:lnTo>
                    <a:pt x="9" y="23"/>
                  </a:lnTo>
                  <a:lnTo>
                    <a:pt x="6" y="25"/>
                  </a:lnTo>
                  <a:lnTo>
                    <a:pt x="5" y="26"/>
                  </a:lnTo>
                  <a:lnTo>
                    <a:pt x="5" y="27"/>
                  </a:lnTo>
                  <a:lnTo>
                    <a:pt x="5" y="27"/>
                  </a:lnTo>
                  <a:lnTo>
                    <a:pt x="7" y="35"/>
                  </a:lnTo>
                  <a:lnTo>
                    <a:pt x="9" y="38"/>
                  </a:lnTo>
                  <a:lnTo>
                    <a:pt x="10" y="38"/>
                  </a:lnTo>
                  <a:lnTo>
                    <a:pt x="10" y="38"/>
                  </a:lnTo>
                  <a:lnTo>
                    <a:pt x="12" y="36"/>
                  </a:lnTo>
                  <a:lnTo>
                    <a:pt x="12" y="33"/>
                  </a:lnTo>
                  <a:lnTo>
                    <a:pt x="13" y="30"/>
                  </a:lnTo>
                  <a:lnTo>
                    <a:pt x="15" y="27"/>
                  </a:lnTo>
                  <a:lnTo>
                    <a:pt x="15" y="27"/>
                  </a:lnTo>
                  <a:lnTo>
                    <a:pt x="19" y="26"/>
                  </a:lnTo>
                  <a:lnTo>
                    <a:pt x="20" y="25"/>
                  </a:lnTo>
                  <a:lnTo>
                    <a:pt x="20" y="22"/>
                  </a:lnTo>
                  <a:lnTo>
                    <a:pt x="20" y="22"/>
                  </a:lnTo>
                  <a:lnTo>
                    <a:pt x="20" y="14"/>
                  </a:lnTo>
                  <a:lnTo>
                    <a:pt x="20" y="10"/>
                  </a:lnTo>
                  <a:lnTo>
                    <a:pt x="19" y="7"/>
                  </a:lnTo>
                  <a:lnTo>
                    <a:pt x="19" y="7"/>
                  </a:lnTo>
                  <a:lnTo>
                    <a:pt x="16" y="3"/>
                  </a:lnTo>
                  <a:lnTo>
                    <a:pt x="15" y="1"/>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21" name="Freeform 874"/>
            <p:cNvSpPr>
              <a:spLocks/>
            </p:cNvSpPr>
            <p:nvPr/>
          </p:nvSpPr>
          <p:spPr bwMode="auto">
            <a:xfrm>
              <a:off x="7431088" y="4467226"/>
              <a:ext cx="114300" cy="100013"/>
            </a:xfrm>
            <a:custGeom>
              <a:avLst/>
              <a:gdLst>
                <a:gd name="T0" fmla="*/ 59 w 72"/>
                <a:gd name="T1" fmla="*/ 0 h 63"/>
                <a:gd name="T2" fmla="*/ 56 w 72"/>
                <a:gd name="T3" fmla="*/ 2 h 63"/>
                <a:gd name="T4" fmla="*/ 52 w 72"/>
                <a:gd name="T5" fmla="*/ 15 h 63"/>
                <a:gd name="T6" fmla="*/ 48 w 72"/>
                <a:gd name="T7" fmla="*/ 16 h 63"/>
                <a:gd name="T8" fmla="*/ 43 w 72"/>
                <a:gd name="T9" fmla="*/ 18 h 63"/>
                <a:gd name="T10" fmla="*/ 36 w 72"/>
                <a:gd name="T11" fmla="*/ 25 h 63"/>
                <a:gd name="T12" fmla="*/ 30 w 72"/>
                <a:gd name="T13" fmla="*/ 28 h 63"/>
                <a:gd name="T14" fmla="*/ 28 w 72"/>
                <a:gd name="T15" fmla="*/ 23 h 63"/>
                <a:gd name="T16" fmla="*/ 25 w 72"/>
                <a:gd name="T17" fmla="*/ 22 h 63"/>
                <a:gd name="T18" fmla="*/ 19 w 72"/>
                <a:gd name="T19" fmla="*/ 23 h 63"/>
                <a:gd name="T20" fmla="*/ 17 w 72"/>
                <a:gd name="T21" fmla="*/ 25 h 63"/>
                <a:gd name="T22" fmla="*/ 14 w 72"/>
                <a:gd name="T23" fmla="*/ 28 h 63"/>
                <a:gd name="T24" fmla="*/ 10 w 72"/>
                <a:gd name="T25" fmla="*/ 28 h 63"/>
                <a:gd name="T26" fmla="*/ 1 w 72"/>
                <a:gd name="T27" fmla="*/ 32 h 63"/>
                <a:gd name="T28" fmla="*/ 1 w 72"/>
                <a:gd name="T29" fmla="*/ 35 h 63"/>
                <a:gd name="T30" fmla="*/ 0 w 72"/>
                <a:gd name="T31" fmla="*/ 42 h 63"/>
                <a:gd name="T32" fmla="*/ 1 w 72"/>
                <a:gd name="T33" fmla="*/ 42 h 63"/>
                <a:gd name="T34" fmla="*/ 7 w 72"/>
                <a:gd name="T35" fmla="*/ 35 h 63"/>
                <a:gd name="T36" fmla="*/ 9 w 72"/>
                <a:gd name="T37" fmla="*/ 35 h 63"/>
                <a:gd name="T38" fmla="*/ 12 w 72"/>
                <a:gd name="T39" fmla="*/ 39 h 63"/>
                <a:gd name="T40" fmla="*/ 14 w 72"/>
                <a:gd name="T41" fmla="*/ 39 h 63"/>
                <a:gd name="T42" fmla="*/ 28 w 72"/>
                <a:gd name="T43" fmla="*/ 34 h 63"/>
                <a:gd name="T44" fmla="*/ 29 w 72"/>
                <a:gd name="T45" fmla="*/ 35 h 63"/>
                <a:gd name="T46" fmla="*/ 35 w 72"/>
                <a:gd name="T47" fmla="*/ 41 h 63"/>
                <a:gd name="T48" fmla="*/ 35 w 72"/>
                <a:gd name="T49" fmla="*/ 42 h 63"/>
                <a:gd name="T50" fmla="*/ 32 w 72"/>
                <a:gd name="T51" fmla="*/ 48 h 63"/>
                <a:gd name="T52" fmla="*/ 35 w 72"/>
                <a:gd name="T53" fmla="*/ 57 h 63"/>
                <a:gd name="T54" fmla="*/ 42 w 72"/>
                <a:gd name="T55" fmla="*/ 61 h 63"/>
                <a:gd name="T56" fmla="*/ 48 w 72"/>
                <a:gd name="T57" fmla="*/ 63 h 63"/>
                <a:gd name="T58" fmla="*/ 54 w 72"/>
                <a:gd name="T59" fmla="*/ 60 h 63"/>
                <a:gd name="T60" fmla="*/ 56 w 72"/>
                <a:gd name="T61" fmla="*/ 55 h 63"/>
                <a:gd name="T62" fmla="*/ 55 w 72"/>
                <a:gd name="T63" fmla="*/ 51 h 63"/>
                <a:gd name="T64" fmla="*/ 55 w 72"/>
                <a:gd name="T65" fmla="*/ 47 h 63"/>
                <a:gd name="T66" fmla="*/ 61 w 72"/>
                <a:gd name="T67" fmla="*/ 45 h 63"/>
                <a:gd name="T68" fmla="*/ 62 w 72"/>
                <a:gd name="T69" fmla="*/ 47 h 63"/>
                <a:gd name="T70" fmla="*/ 67 w 72"/>
                <a:gd name="T71" fmla="*/ 50 h 63"/>
                <a:gd name="T72" fmla="*/ 72 w 72"/>
                <a:gd name="T73" fmla="*/ 48 h 63"/>
                <a:gd name="T74" fmla="*/ 72 w 72"/>
                <a:gd name="T75" fmla="*/ 45 h 63"/>
                <a:gd name="T76" fmla="*/ 71 w 72"/>
                <a:gd name="T77" fmla="*/ 29 h 63"/>
                <a:gd name="T78" fmla="*/ 70 w 72"/>
                <a:gd name="T79" fmla="*/ 22 h 63"/>
                <a:gd name="T80" fmla="*/ 62 w 72"/>
                <a:gd name="T8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2" h="63">
                  <a:moveTo>
                    <a:pt x="59" y="0"/>
                  </a:moveTo>
                  <a:lnTo>
                    <a:pt x="59" y="0"/>
                  </a:lnTo>
                  <a:lnTo>
                    <a:pt x="58" y="0"/>
                  </a:lnTo>
                  <a:lnTo>
                    <a:pt x="56" y="2"/>
                  </a:lnTo>
                  <a:lnTo>
                    <a:pt x="55" y="8"/>
                  </a:lnTo>
                  <a:lnTo>
                    <a:pt x="52" y="15"/>
                  </a:lnTo>
                  <a:lnTo>
                    <a:pt x="52" y="15"/>
                  </a:lnTo>
                  <a:lnTo>
                    <a:pt x="48" y="16"/>
                  </a:lnTo>
                  <a:lnTo>
                    <a:pt x="45" y="16"/>
                  </a:lnTo>
                  <a:lnTo>
                    <a:pt x="43" y="18"/>
                  </a:lnTo>
                  <a:lnTo>
                    <a:pt x="43" y="18"/>
                  </a:lnTo>
                  <a:lnTo>
                    <a:pt x="36" y="25"/>
                  </a:lnTo>
                  <a:lnTo>
                    <a:pt x="33" y="28"/>
                  </a:lnTo>
                  <a:lnTo>
                    <a:pt x="30" y="28"/>
                  </a:lnTo>
                  <a:lnTo>
                    <a:pt x="30" y="28"/>
                  </a:lnTo>
                  <a:lnTo>
                    <a:pt x="28" y="23"/>
                  </a:lnTo>
                  <a:lnTo>
                    <a:pt x="25" y="22"/>
                  </a:lnTo>
                  <a:lnTo>
                    <a:pt x="25" y="22"/>
                  </a:lnTo>
                  <a:lnTo>
                    <a:pt x="20" y="22"/>
                  </a:lnTo>
                  <a:lnTo>
                    <a:pt x="19" y="23"/>
                  </a:lnTo>
                  <a:lnTo>
                    <a:pt x="17" y="25"/>
                  </a:lnTo>
                  <a:lnTo>
                    <a:pt x="17" y="25"/>
                  </a:lnTo>
                  <a:lnTo>
                    <a:pt x="17" y="26"/>
                  </a:lnTo>
                  <a:lnTo>
                    <a:pt x="14" y="28"/>
                  </a:lnTo>
                  <a:lnTo>
                    <a:pt x="10" y="28"/>
                  </a:lnTo>
                  <a:lnTo>
                    <a:pt x="10" y="28"/>
                  </a:lnTo>
                  <a:lnTo>
                    <a:pt x="4" y="31"/>
                  </a:lnTo>
                  <a:lnTo>
                    <a:pt x="1" y="32"/>
                  </a:lnTo>
                  <a:lnTo>
                    <a:pt x="1" y="35"/>
                  </a:lnTo>
                  <a:lnTo>
                    <a:pt x="1" y="35"/>
                  </a:lnTo>
                  <a:lnTo>
                    <a:pt x="0" y="41"/>
                  </a:lnTo>
                  <a:lnTo>
                    <a:pt x="0" y="42"/>
                  </a:lnTo>
                  <a:lnTo>
                    <a:pt x="1" y="42"/>
                  </a:lnTo>
                  <a:lnTo>
                    <a:pt x="1" y="42"/>
                  </a:lnTo>
                  <a:lnTo>
                    <a:pt x="6" y="37"/>
                  </a:lnTo>
                  <a:lnTo>
                    <a:pt x="7" y="35"/>
                  </a:lnTo>
                  <a:lnTo>
                    <a:pt x="9" y="35"/>
                  </a:lnTo>
                  <a:lnTo>
                    <a:pt x="9" y="35"/>
                  </a:lnTo>
                  <a:lnTo>
                    <a:pt x="10" y="39"/>
                  </a:lnTo>
                  <a:lnTo>
                    <a:pt x="12" y="39"/>
                  </a:lnTo>
                  <a:lnTo>
                    <a:pt x="14" y="39"/>
                  </a:lnTo>
                  <a:lnTo>
                    <a:pt x="14" y="39"/>
                  </a:lnTo>
                  <a:lnTo>
                    <a:pt x="23" y="35"/>
                  </a:lnTo>
                  <a:lnTo>
                    <a:pt x="28" y="34"/>
                  </a:lnTo>
                  <a:lnTo>
                    <a:pt x="29" y="35"/>
                  </a:lnTo>
                  <a:lnTo>
                    <a:pt x="29" y="35"/>
                  </a:lnTo>
                  <a:lnTo>
                    <a:pt x="33" y="38"/>
                  </a:lnTo>
                  <a:lnTo>
                    <a:pt x="35" y="41"/>
                  </a:lnTo>
                  <a:lnTo>
                    <a:pt x="35" y="42"/>
                  </a:lnTo>
                  <a:lnTo>
                    <a:pt x="35" y="42"/>
                  </a:lnTo>
                  <a:lnTo>
                    <a:pt x="32" y="45"/>
                  </a:lnTo>
                  <a:lnTo>
                    <a:pt x="32" y="48"/>
                  </a:lnTo>
                  <a:lnTo>
                    <a:pt x="32" y="52"/>
                  </a:lnTo>
                  <a:lnTo>
                    <a:pt x="35" y="57"/>
                  </a:lnTo>
                  <a:lnTo>
                    <a:pt x="35" y="57"/>
                  </a:lnTo>
                  <a:lnTo>
                    <a:pt x="42" y="61"/>
                  </a:lnTo>
                  <a:lnTo>
                    <a:pt x="45" y="63"/>
                  </a:lnTo>
                  <a:lnTo>
                    <a:pt x="48" y="63"/>
                  </a:lnTo>
                  <a:lnTo>
                    <a:pt x="48" y="63"/>
                  </a:lnTo>
                  <a:lnTo>
                    <a:pt x="54" y="60"/>
                  </a:lnTo>
                  <a:lnTo>
                    <a:pt x="56" y="57"/>
                  </a:lnTo>
                  <a:lnTo>
                    <a:pt x="56" y="55"/>
                  </a:lnTo>
                  <a:lnTo>
                    <a:pt x="56" y="55"/>
                  </a:lnTo>
                  <a:lnTo>
                    <a:pt x="55" y="51"/>
                  </a:lnTo>
                  <a:lnTo>
                    <a:pt x="55" y="47"/>
                  </a:lnTo>
                  <a:lnTo>
                    <a:pt x="55" y="47"/>
                  </a:lnTo>
                  <a:lnTo>
                    <a:pt x="58" y="45"/>
                  </a:lnTo>
                  <a:lnTo>
                    <a:pt x="61" y="45"/>
                  </a:lnTo>
                  <a:lnTo>
                    <a:pt x="62" y="47"/>
                  </a:lnTo>
                  <a:lnTo>
                    <a:pt x="62" y="47"/>
                  </a:lnTo>
                  <a:lnTo>
                    <a:pt x="65" y="48"/>
                  </a:lnTo>
                  <a:lnTo>
                    <a:pt x="67" y="50"/>
                  </a:lnTo>
                  <a:lnTo>
                    <a:pt x="70" y="50"/>
                  </a:lnTo>
                  <a:lnTo>
                    <a:pt x="72" y="48"/>
                  </a:lnTo>
                  <a:lnTo>
                    <a:pt x="72" y="48"/>
                  </a:lnTo>
                  <a:lnTo>
                    <a:pt x="72" y="45"/>
                  </a:lnTo>
                  <a:lnTo>
                    <a:pt x="72" y="41"/>
                  </a:lnTo>
                  <a:lnTo>
                    <a:pt x="71" y="29"/>
                  </a:lnTo>
                  <a:lnTo>
                    <a:pt x="71" y="29"/>
                  </a:lnTo>
                  <a:lnTo>
                    <a:pt x="70" y="22"/>
                  </a:lnTo>
                  <a:lnTo>
                    <a:pt x="67" y="12"/>
                  </a:lnTo>
                  <a:lnTo>
                    <a:pt x="62" y="5"/>
                  </a:lnTo>
                  <a:lnTo>
                    <a:pt x="59" y="0"/>
                  </a:lnTo>
                  <a:close/>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22" name="Freeform 875"/>
            <p:cNvSpPr>
              <a:spLocks/>
            </p:cNvSpPr>
            <p:nvPr/>
          </p:nvSpPr>
          <p:spPr bwMode="auto">
            <a:xfrm>
              <a:off x="7431088" y="4467226"/>
              <a:ext cx="114300" cy="100013"/>
            </a:xfrm>
            <a:custGeom>
              <a:avLst/>
              <a:gdLst>
                <a:gd name="T0" fmla="*/ 59 w 72"/>
                <a:gd name="T1" fmla="*/ 0 h 63"/>
                <a:gd name="T2" fmla="*/ 56 w 72"/>
                <a:gd name="T3" fmla="*/ 2 h 63"/>
                <a:gd name="T4" fmla="*/ 52 w 72"/>
                <a:gd name="T5" fmla="*/ 15 h 63"/>
                <a:gd name="T6" fmla="*/ 48 w 72"/>
                <a:gd name="T7" fmla="*/ 16 h 63"/>
                <a:gd name="T8" fmla="*/ 43 w 72"/>
                <a:gd name="T9" fmla="*/ 18 h 63"/>
                <a:gd name="T10" fmla="*/ 36 w 72"/>
                <a:gd name="T11" fmla="*/ 25 h 63"/>
                <a:gd name="T12" fmla="*/ 30 w 72"/>
                <a:gd name="T13" fmla="*/ 28 h 63"/>
                <a:gd name="T14" fmla="*/ 28 w 72"/>
                <a:gd name="T15" fmla="*/ 23 h 63"/>
                <a:gd name="T16" fmla="*/ 25 w 72"/>
                <a:gd name="T17" fmla="*/ 22 h 63"/>
                <a:gd name="T18" fmla="*/ 19 w 72"/>
                <a:gd name="T19" fmla="*/ 23 h 63"/>
                <a:gd name="T20" fmla="*/ 17 w 72"/>
                <a:gd name="T21" fmla="*/ 25 h 63"/>
                <a:gd name="T22" fmla="*/ 14 w 72"/>
                <a:gd name="T23" fmla="*/ 28 h 63"/>
                <a:gd name="T24" fmla="*/ 10 w 72"/>
                <a:gd name="T25" fmla="*/ 28 h 63"/>
                <a:gd name="T26" fmla="*/ 1 w 72"/>
                <a:gd name="T27" fmla="*/ 32 h 63"/>
                <a:gd name="T28" fmla="*/ 1 w 72"/>
                <a:gd name="T29" fmla="*/ 35 h 63"/>
                <a:gd name="T30" fmla="*/ 0 w 72"/>
                <a:gd name="T31" fmla="*/ 42 h 63"/>
                <a:gd name="T32" fmla="*/ 1 w 72"/>
                <a:gd name="T33" fmla="*/ 42 h 63"/>
                <a:gd name="T34" fmla="*/ 7 w 72"/>
                <a:gd name="T35" fmla="*/ 35 h 63"/>
                <a:gd name="T36" fmla="*/ 9 w 72"/>
                <a:gd name="T37" fmla="*/ 35 h 63"/>
                <a:gd name="T38" fmla="*/ 12 w 72"/>
                <a:gd name="T39" fmla="*/ 39 h 63"/>
                <a:gd name="T40" fmla="*/ 14 w 72"/>
                <a:gd name="T41" fmla="*/ 39 h 63"/>
                <a:gd name="T42" fmla="*/ 28 w 72"/>
                <a:gd name="T43" fmla="*/ 34 h 63"/>
                <a:gd name="T44" fmla="*/ 29 w 72"/>
                <a:gd name="T45" fmla="*/ 35 h 63"/>
                <a:gd name="T46" fmla="*/ 35 w 72"/>
                <a:gd name="T47" fmla="*/ 41 h 63"/>
                <a:gd name="T48" fmla="*/ 35 w 72"/>
                <a:gd name="T49" fmla="*/ 42 h 63"/>
                <a:gd name="T50" fmla="*/ 32 w 72"/>
                <a:gd name="T51" fmla="*/ 48 h 63"/>
                <a:gd name="T52" fmla="*/ 35 w 72"/>
                <a:gd name="T53" fmla="*/ 57 h 63"/>
                <a:gd name="T54" fmla="*/ 42 w 72"/>
                <a:gd name="T55" fmla="*/ 61 h 63"/>
                <a:gd name="T56" fmla="*/ 48 w 72"/>
                <a:gd name="T57" fmla="*/ 63 h 63"/>
                <a:gd name="T58" fmla="*/ 54 w 72"/>
                <a:gd name="T59" fmla="*/ 60 h 63"/>
                <a:gd name="T60" fmla="*/ 56 w 72"/>
                <a:gd name="T61" fmla="*/ 55 h 63"/>
                <a:gd name="T62" fmla="*/ 55 w 72"/>
                <a:gd name="T63" fmla="*/ 51 h 63"/>
                <a:gd name="T64" fmla="*/ 55 w 72"/>
                <a:gd name="T65" fmla="*/ 47 h 63"/>
                <a:gd name="T66" fmla="*/ 61 w 72"/>
                <a:gd name="T67" fmla="*/ 45 h 63"/>
                <a:gd name="T68" fmla="*/ 62 w 72"/>
                <a:gd name="T69" fmla="*/ 47 h 63"/>
                <a:gd name="T70" fmla="*/ 67 w 72"/>
                <a:gd name="T71" fmla="*/ 50 h 63"/>
                <a:gd name="T72" fmla="*/ 72 w 72"/>
                <a:gd name="T73" fmla="*/ 48 h 63"/>
                <a:gd name="T74" fmla="*/ 72 w 72"/>
                <a:gd name="T75" fmla="*/ 45 h 63"/>
                <a:gd name="T76" fmla="*/ 71 w 72"/>
                <a:gd name="T77" fmla="*/ 29 h 63"/>
                <a:gd name="T78" fmla="*/ 70 w 72"/>
                <a:gd name="T79" fmla="*/ 22 h 63"/>
                <a:gd name="T80" fmla="*/ 62 w 72"/>
                <a:gd name="T8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2" h="63">
                  <a:moveTo>
                    <a:pt x="59" y="0"/>
                  </a:moveTo>
                  <a:lnTo>
                    <a:pt x="59" y="0"/>
                  </a:lnTo>
                  <a:lnTo>
                    <a:pt x="58" y="0"/>
                  </a:lnTo>
                  <a:lnTo>
                    <a:pt x="56" y="2"/>
                  </a:lnTo>
                  <a:lnTo>
                    <a:pt x="55" y="8"/>
                  </a:lnTo>
                  <a:lnTo>
                    <a:pt x="52" y="15"/>
                  </a:lnTo>
                  <a:lnTo>
                    <a:pt x="52" y="15"/>
                  </a:lnTo>
                  <a:lnTo>
                    <a:pt x="48" y="16"/>
                  </a:lnTo>
                  <a:lnTo>
                    <a:pt x="45" y="16"/>
                  </a:lnTo>
                  <a:lnTo>
                    <a:pt x="43" y="18"/>
                  </a:lnTo>
                  <a:lnTo>
                    <a:pt x="43" y="18"/>
                  </a:lnTo>
                  <a:lnTo>
                    <a:pt x="36" y="25"/>
                  </a:lnTo>
                  <a:lnTo>
                    <a:pt x="33" y="28"/>
                  </a:lnTo>
                  <a:lnTo>
                    <a:pt x="30" y="28"/>
                  </a:lnTo>
                  <a:lnTo>
                    <a:pt x="30" y="28"/>
                  </a:lnTo>
                  <a:lnTo>
                    <a:pt x="28" y="23"/>
                  </a:lnTo>
                  <a:lnTo>
                    <a:pt x="25" y="22"/>
                  </a:lnTo>
                  <a:lnTo>
                    <a:pt x="25" y="22"/>
                  </a:lnTo>
                  <a:lnTo>
                    <a:pt x="20" y="22"/>
                  </a:lnTo>
                  <a:lnTo>
                    <a:pt x="19" y="23"/>
                  </a:lnTo>
                  <a:lnTo>
                    <a:pt x="17" y="25"/>
                  </a:lnTo>
                  <a:lnTo>
                    <a:pt x="17" y="25"/>
                  </a:lnTo>
                  <a:lnTo>
                    <a:pt x="17" y="26"/>
                  </a:lnTo>
                  <a:lnTo>
                    <a:pt x="14" y="28"/>
                  </a:lnTo>
                  <a:lnTo>
                    <a:pt x="10" y="28"/>
                  </a:lnTo>
                  <a:lnTo>
                    <a:pt x="10" y="28"/>
                  </a:lnTo>
                  <a:lnTo>
                    <a:pt x="4" y="31"/>
                  </a:lnTo>
                  <a:lnTo>
                    <a:pt x="1" y="32"/>
                  </a:lnTo>
                  <a:lnTo>
                    <a:pt x="1" y="35"/>
                  </a:lnTo>
                  <a:lnTo>
                    <a:pt x="1" y="35"/>
                  </a:lnTo>
                  <a:lnTo>
                    <a:pt x="0" y="41"/>
                  </a:lnTo>
                  <a:lnTo>
                    <a:pt x="0" y="42"/>
                  </a:lnTo>
                  <a:lnTo>
                    <a:pt x="1" y="42"/>
                  </a:lnTo>
                  <a:lnTo>
                    <a:pt x="1" y="42"/>
                  </a:lnTo>
                  <a:lnTo>
                    <a:pt x="6" y="37"/>
                  </a:lnTo>
                  <a:lnTo>
                    <a:pt x="7" y="35"/>
                  </a:lnTo>
                  <a:lnTo>
                    <a:pt x="9" y="35"/>
                  </a:lnTo>
                  <a:lnTo>
                    <a:pt x="9" y="35"/>
                  </a:lnTo>
                  <a:lnTo>
                    <a:pt x="10" y="39"/>
                  </a:lnTo>
                  <a:lnTo>
                    <a:pt x="12" y="39"/>
                  </a:lnTo>
                  <a:lnTo>
                    <a:pt x="14" y="39"/>
                  </a:lnTo>
                  <a:lnTo>
                    <a:pt x="14" y="39"/>
                  </a:lnTo>
                  <a:lnTo>
                    <a:pt x="23" y="35"/>
                  </a:lnTo>
                  <a:lnTo>
                    <a:pt x="28" y="34"/>
                  </a:lnTo>
                  <a:lnTo>
                    <a:pt x="29" y="35"/>
                  </a:lnTo>
                  <a:lnTo>
                    <a:pt x="29" y="35"/>
                  </a:lnTo>
                  <a:lnTo>
                    <a:pt x="33" y="38"/>
                  </a:lnTo>
                  <a:lnTo>
                    <a:pt x="35" y="41"/>
                  </a:lnTo>
                  <a:lnTo>
                    <a:pt x="35" y="42"/>
                  </a:lnTo>
                  <a:lnTo>
                    <a:pt x="35" y="42"/>
                  </a:lnTo>
                  <a:lnTo>
                    <a:pt x="32" y="45"/>
                  </a:lnTo>
                  <a:lnTo>
                    <a:pt x="32" y="48"/>
                  </a:lnTo>
                  <a:lnTo>
                    <a:pt x="32" y="52"/>
                  </a:lnTo>
                  <a:lnTo>
                    <a:pt x="35" y="57"/>
                  </a:lnTo>
                  <a:lnTo>
                    <a:pt x="35" y="57"/>
                  </a:lnTo>
                  <a:lnTo>
                    <a:pt x="42" y="61"/>
                  </a:lnTo>
                  <a:lnTo>
                    <a:pt x="45" y="63"/>
                  </a:lnTo>
                  <a:lnTo>
                    <a:pt x="48" y="63"/>
                  </a:lnTo>
                  <a:lnTo>
                    <a:pt x="48" y="63"/>
                  </a:lnTo>
                  <a:lnTo>
                    <a:pt x="54" y="60"/>
                  </a:lnTo>
                  <a:lnTo>
                    <a:pt x="56" y="57"/>
                  </a:lnTo>
                  <a:lnTo>
                    <a:pt x="56" y="55"/>
                  </a:lnTo>
                  <a:lnTo>
                    <a:pt x="56" y="55"/>
                  </a:lnTo>
                  <a:lnTo>
                    <a:pt x="55" y="51"/>
                  </a:lnTo>
                  <a:lnTo>
                    <a:pt x="55" y="47"/>
                  </a:lnTo>
                  <a:lnTo>
                    <a:pt x="55" y="47"/>
                  </a:lnTo>
                  <a:lnTo>
                    <a:pt x="58" y="45"/>
                  </a:lnTo>
                  <a:lnTo>
                    <a:pt x="61" y="45"/>
                  </a:lnTo>
                  <a:lnTo>
                    <a:pt x="62" y="47"/>
                  </a:lnTo>
                  <a:lnTo>
                    <a:pt x="62" y="47"/>
                  </a:lnTo>
                  <a:lnTo>
                    <a:pt x="65" y="48"/>
                  </a:lnTo>
                  <a:lnTo>
                    <a:pt x="67" y="50"/>
                  </a:lnTo>
                  <a:lnTo>
                    <a:pt x="70" y="50"/>
                  </a:lnTo>
                  <a:lnTo>
                    <a:pt x="72" y="48"/>
                  </a:lnTo>
                  <a:lnTo>
                    <a:pt x="72" y="48"/>
                  </a:lnTo>
                  <a:lnTo>
                    <a:pt x="72" y="45"/>
                  </a:lnTo>
                  <a:lnTo>
                    <a:pt x="72" y="41"/>
                  </a:lnTo>
                  <a:lnTo>
                    <a:pt x="71" y="29"/>
                  </a:lnTo>
                  <a:lnTo>
                    <a:pt x="71" y="29"/>
                  </a:lnTo>
                  <a:lnTo>
                    <a:pt x="70" y="22"/>
                  </a:lnTo>
                  <a:lnTo>
                    <a:pt x="67" y="12"/>
                  </a:lnTo>
                  <a:lnTo>
                    <a:pt x="62" y="5"/>
                  </a:lnTo>
                  <a:lnTo>
                    <a:pt x="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23" name="Freeform 876"/>
            <p:cNvSpPr>
              <a:spLocks/>
            </p:cNvSpPr>
            <p:nvPr/>
          </p:nvSpPr>
          <p:spPr bwMode="auto">
            <a:xfrm>
              <a:off x="7429500" y="4414839"/>
              <a:ext cx="33338" cy="36513"/>
            </a:xfrm>
            <a:custGeom>
              <a:avLst/>
              <a:gdLst>
                <a:gd name="T0" fmla="*/ 20 w 21"/>
                <a:gd name="T1" fmla="*/ 12 h 23"/>
                <a:gd name="T2" fmla="*/ 20 w 21"/>
                <a:gd name="T3" fmla="*/ 12 h 23"/>
                <a:gd name="T4" fmla="*/ 15 w 21"/>
                <a:gd name="T5" fmla="*/ 14 h 23"/>
                <a:gd name="T6" fmla="*/ 10 w 21"/>
                <a:gd name="T7" fmla="*/ 19 h 23"/>
                <a:gd name="T8" fmla="*/ 10 w 21"/>
                <a:gd name="T9" fmla="*/ 19 h 23"/>
                <a:gd name="T10" fmla="*/ 2 w 21"/>
                <a:gd name="T11" fmla="*/ 23 h 23"/>
                <a:gd name="T12" fmla="*/ 1 w 21"/>
                <a:gd name="T13" fmla="*/ 23 h 23"/>
                <a:gd name="T14" fmla="*/ 0 w 21"/>
                <a:gd name="T15" fmla="*/ 22 h 23"/>
                <a:gd name="T16" fmla="*/ 0 w 21"/>
                <a:gd name="T17" fmla="*/ 22 h 23"/>
                <a:gd name="T18" fmla="*/ 1 w 21"/>
                <a:gd name="T19" fmla="*/ 17 h 23"/>
                <a:gd name="T20" fmla="*/ 4 w 21"/>
                <a:gd name="T21" fmla="*/ 16 h 23"/>
                <a:gd name="T22" fmla="*/ 5 w 21"/>
                <a:gd name="T23" fmla="*/ 14 h 23"/>
                <a:gd name="T24" fmla="*/ 5 w 21"/>
                <a:gd name="T25" fmla="*/ 12 h 23"/>
                <a:gd name="T26" fmla="*/ 5 w 21"/>
                <a:gd name="T27" fmla="*/ 12 h 23"/>
                <a:gd name="T28" fmla="*/ 1 w 21"/>
                <a:gd name="T29" fmla="*/ 4 h 23"/>
                <a:gd name="T30" fmla="*/ 1 w 21"/>
                <a:gd name="T31" fmla="*/ 1 h 23"/>
                <a:gd name="T32" fmla="*/ 2 w 21"/>
                <a:gd name="T33" fmla="*/ 0 h 23"/>
                <a:gd name="T34" fmla="*/ 2 w 21"/>
                <a:gd name="T35" fmla="*/ 0 h 23"/>
                <a:gd name="T36" fmla="*/ 7 w 21"/>
                <a:gd name="T37" fmla="*/ 0 h 23"/>
                <a:gd name="T38" fmla="*/ 8 w 21"/>
                <a:gd name="T39" fmla="*/ 1 h 23"/>
                <a:gd name="T40" fmla="*/ 11 w 21"/>
                <a:gd name="T41" fmla="*/ 3 h 23"/>
                <a:gd name="T42" fmla="*/ 14 w 21"/>
                <a:gd name="T43" fmla="*/ 3 h 23"/>
                <a:gd name="T44" fmla="*/ 14 w 21"/>
                <a:gd name="T45" fmla="*/ 3 h 23"/>
                <a:gd name="T46" fmla="*/ 18 w 21"/>
                <a:gd name="T47" fmla="*/ 4 h 23"/>
                <a:gd name="T48" fmla="*/ 20 w 21"/>
                <a:gd name="T49" fmla="*/ 7 h 23"/>
                <a:gd name="T50" fmla="*/ 21 w 21"/>
                <a:gd name="T51" fmla="*/ 9 h 23"/>
                <a:gd name="T52" fmla="*/ 20 w 21"/>
                <a:gd name="T53"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 h="23">
                  <a:moveTo>
                    <a:pt x="20" y="12"/>
                  </a:moveTo>
                  <a:lnTo>
                    <a:pt x="20" y="12"/>
                  </a:lnTo>
                  <a:lnTo>
                    <a:pt x="15" y="14"/>
                  </a:lnTo>
                  <a:lnTo>
                    <a:pt x="10" y="19"/>
                  </a:lnTo>
                  <a:lnTo>
                    <a:pt x="10" y="19"/>
                  </a:lnTo>
                  <a:lnTo>
                    <a:pt x="2" y="23"/>
                  </a:lnTo>
                  <a:lnTo>
                    <a:pt x="1" y="23"/>
                  </a:lnTo>
                  <a:lnTo>
                    <a:pt x="0" y="22"/>
                  </a:lnTo>
                  <a:lnTo>
                    <a:pt x="0" y="22"/>
                  </a:lnTo>
                  <a:lnTo>
                    <a:pt x="1" y="17"/>
                  </a:lnTo>
                  <a:lnTo>
                    <a:pt x="4" y="16"/>
                  </a:lnTo>
                  <a:lnTo>
                    <a:pt x="5" y="14"/>
                  </a:lnTo>
                  <a:lnTo>
                    <a:pt x="5" y="12"/>
                  </a:lnTo>
                  <a:lnTo>
                    <a:pt x="5" y="12"/>
                  </a:lnTo>
                  <a:lnTo>
                    <a:pt x="1" y="4"/>
                  </a:lnTo>
                  <a:lnTo>
                    <a:pt x="1" y="1"/>
                  </a:lnTo>
                  <a:lnTo>
                    <a:pt x="2" y="0"/>
                  </a:lnTo>
                  <a:lnTo>
                    <a:pt x="2" y="0"/>
                  </a:lnTo>
                  <a:lnTo>
                    <a:pt x="7" y="0"/>
                  </a:lnTo>
                  <a:lnTo>
                    <a:pt x="8" y="1"/>
                  </a:lnTo>
                  <a:lnTo>
                    <a:pt x="11" y="3"/>
                  </a:lnTo>
                  <a:lnTo>
                    <a:pt x="14" y="3"/>
                  </a:lnTo>
                  <a:lnTo>
                    <a:pt x="14" y="3"/>
                  </a:lnTo>
                  <a:lnTo>
                    <a:pt x="18" y="4"/>
                  </a:lnTo>
                  <a:lnTo>
                    <a:pt x="20" y="7"/>
                  </a:lnTo>
                  <a:lnTo>
                    <a:pt x="21" y="9"/>
                  </a:lnTo>
                  <a:lnTo>
                    <a:pt x="20" y="12"/>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24" name="Freeform 877"/>
            <p:cNvSpPr>
              <a:spLocks/>
            </p:cNvSpPr>
            <p:nvPr/>
          </p:nvSpPr>
          <p:spPr bwMode="auto">
            <a:xfrm>
              <a:off x="7429500" y="4414839"/>
              <a:ext cx="33338" cy="36513"/>
            </a:xfrm>
            <a:custGeom>
              <a:avLst/>
              <a:gdLst>
                <a:gd name="T0" fmla="*/ 20 w 21"/>
                <a:gd name="T1" fmla="*/ 12 h 23"/>
                <a:gd name="T2" fmla="*/ 20 w 21"/>
                <a:gd name="T3" fmla="*/ 12 h 23"/>
                <a:gd name="T4" fmla="*/ 15 w 21"/>
                <a:gd name="T5" fmla="*/ 14 h 23"/>
                <a:gd name="T6" fmla="*/ 10 w 21"/>
                <a:gd name="T7" fmla="*/ 19 h 23"/>
                <a:gd name="T8" fmla="*/ 10 w 21"/>
                <a:gd name="T9" fmla="*/ 19 h 23"/>
                <a:gd name="T10" fmla="*/ 2 w 21"/>
                <a:gd name="T11" fmla="*/ 23 h 23"/>
                <a:gd name="T12" fmla="*/ 1 w 21"/>
                <a:gd name="T13" fmla="*/ 23 h 23"/>
                <a:gd name="T14" fmla="*/ 0 w 21"/>
                <a:gd name="T15" fmla="*/ 22 h 23"/>
                <a:gd name="T16" fmla="*/ 0 w 21"/>
                <a:gd name="T17" fmla="*/ 22 h 23"/>
                <a:gd name="T18" fmla="*/ 1 w 21"/>
                <a:gd name="T19" fmla="*/ 17 h 23"/>
                <a:gd name="T20" fmla="*/ 4 w 21"/>
                <a:gd name="T21" fmla="*/ 16 h 23"/>
                <a:gd name="T22" fmla="*/ 5 w 21"/>
                <a:gd name="T23" fmla="*/ 14 h 23"/>
                <a:gd name="T24" fmla="*/ 5 w 21"/>
                <a:gd name="T25" fmla="*/ 12 h 23"/>
                <a:gd name="T26" fmla="*/ 5 w 21"/>
                <a:gd name="T27" fmla="*/ 12 h 23"/>
                <a:gd name="T28" fmla="*/ 1 w 21"/>
                <a:gd name="T29" fmla="*/ 4 h 23"/>
                <a:gd name="T30" fmla="*/ 1 w 21"/>
                <a:gd name="T31" fmla="*/ 1 h 23"/>
                <a:gd name="T32" fmla="*/ 2 w 21"/>
                <a:gd name="T33" fmla="*/ 0 h 23"/>
                <a:gd name="T34" fmla="*/ 2 w 21"/>
                <a:gd name="T35" fmla="*/ 0 h 23"/>
                <a:gd name="T36" fmla="*/ 7 w 21"/>
                <a:gd name="T37" fmla="*/ 0 h 23"/>
                <a:gd name="T38" fmla="*/ 8 w 21"/>
                <a:gd name="T39" fmla="*/ 1 h 23"/>
                <a:gd name="T40" fmla="*/ 11 w 21"/>
                <a:gd name="T41" fmla="*/ 3 h 23"/>
                <a:gd name="T42" fmla="*/ 14 w 21"/>
                <a:gd name="T43" fmla="*/ 3 h 23"/>
                <a:gd name="T44" fmla="*/ 14 w 21"/>
                <a:gd name="T45" fmla="*/ 3 h 23"/>
                <a:gd name="T46" fmla="*/ 18 w 21"/>
                <a:gd name="T47" fmla="*/ 4 h 23"/>
                <a:gd name="T48" fmla="*/ 20 w 21"/>
                <a:gd name="T49" fmla="*/ 7 h 23"/>
                <a:gd name="T50" fmla="*/ 21 w 21"/>
                <a:gd name="T51" fmla="*/ 9 h 23"/>
                <a:gd name="T52" fmla="*/ 20 w 21"/>
                <a:gd name="T53"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 h="23">
                  <a:moveTo>
                    <a:pt x="20" y="12"/>
                  </a:moveTo>
                  <a:lnTo>
                    <a:pt x="20" y="12"/>
                  </a:lnTo>
                  <a:lnTo>
                    <a:pt x="15" y="14"/>
                  </a:lnTo>
                  <a:lnTo>
                    <a:pt x="10" y="19"/>
                  </a:lnTo>
                  <a:lnTo>
                    <a:pt x="10" y="19"/>
                  </a:lnTo>
                  <a:lnTo>
                    <a:pt x="2" y="23"/>
                  </a:lnTo>
                  <a:lnTo>
                    <a:pt x="1" y="23"/>
                  </a:lnTo>
                  <a:lnTo>
                    <a:pt x="0" y="22"/>
                  </a:lnTo>
                  <a:lnTo>
                    <a:pt x="0" y="22"/>
                  </a:lnTo>
                  <a:lnTo>
                    <a:pt x="1" y="17"/>
                  </a:lnTo>
                  <a:lnTo>
                    <a:pt x="4" y="16"/>
                  </a:lnTo>
                  <a:lnTo>
                    <a:pt x="5" y="14"/>
                  </a:lnTo>
                  <a:lnTo>
                    <a:pt x="5" y="12"/>
                  </a:lnTo>
                  <a:lnTo>
                    <a:pt x="5" y="12"/>
                  </a:lnTo>
                  <a:lnTo>
                    <a:pt x="1" y="4"/>
                  </a:lnTo>
                  <a:lnTo>
                    <a:pt x="1" y="1"/>
                  </a:lnTo>
                  <a:lnTo>
                    <a:pt x="2" y="0"/>
                  </a:lnTo>
                  <a:lnTo>
                    <a:pt x="2" y="0"/>
                  </a:lnTo>
                  <a:lnTo>
                    <a:pt x="7" y="0"/>
                  </a:lnTo>
                  <a:lnTo>
                    <a:pt x="8" y="1"/>
                  </a:lnTo>
                  <a:lnTo>
                    <a:pt x="11" y="3"/>
                  </a:lnTo>
                  <a:lnTo>
                    <a:pt x="14" y="3"/>
                  </a:lnTo>
                  <a:lnTo>
                    <a:pt x="14" y="3"/>
                  </a:lnTo>
                  <a:lnTo>
                    <a:pt x="18" y="4"/>
                  </a:lnTo>
                  <a:lnTo>
                    <a:pt x="20" y="7"/>
                  </a:lnTo>
                  <a:lnTo>
                    <a:pt x="21" y="9"/>
                  </a:lnTo>
                  <a:lnTo>
                    <a:pt x="2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25" name="Freeform 878"/>
            <p:cNvSpPr>
              <a:spLocks/>
            </p:cNvSpPr>
            <p:nvPr/>
          </p:nvSpPr>
          <p:spPr bwMode="auto">
            <a:xfrm>
              <a:off x="7442200" y="4441826"/>
              <a:ext cx="30163" cy="50800"/>
            </a:xfrm>
            <a:custGeom>
              <a:avLst/>
              <a:gdLst>
                <a:gd name="T0" fmla="*/ 18 w 19"/>
                <a:gd name="T1" fmla="*/ 0 h 32"/>
                <a:gd name="T2" fmla="*/ 18 w 19"/>
                <a:gd name="T3" fmla="*/ 0 h 32"/>
                <a:gd name="T4" fmla="*/ 15 w 19"/>
                <a:gd name="T5" fmla="*/ 0 h 32"/>
                <a:gd name="T6" fmla="*/ 12 w 19"/>
                <a:gd name="T7" fmla="*/ 2 h 32"/>
                <a:gd name="T8" fmla="*/ 9 w 19"/>
                <a:gd name="T9" fmla="*/ 5 h 32"/>
                <a:gd name="T10" fmla="*/ 6 w 19"/>
                <a:gd name="T11" fmla="*/ 9 h 32"/>
                <a:gd name="T12" fmla="*/ 6 w 19"/>
                <a:gd name="T13" fmla="*/ 9 h 32"/>
                <a:gd name="T14" fmla="*/ 5 w 19"/>
                <a:gd name="T15" fmla="*/ 12 h 32"/>
                <a:gd name="T16" fmla="*/ 2 w 19"/>
                <a:gd name="T17" fmla="*/ 15 h 32"/>
                <a:gd name="T18" fmla="*/ 0 w 19"/>
                <a:gd name="T19" fmla="*/ 16 h 32"/>
                <a:gd name="T20" fmla="*/ 0 w 19"/>
                <a:gd name="T21" fmla="*/ 21 h 32"/>
                <a:gd name="T22" fmla="*/ 0 w 19"/>
                <a:gd name="T23" fmla="*/ 21 h 32"/>
                <a:gd name="T24" fmla="*/ 6 w 19"/>
                <a:gd name="T25" fmla="*/ 29 h 32"/>
                <a:gd name="T26" fmla="*/ 9 w 19"/>
                <a:gd name="T27" fmla="*/ 32 h 32"/>
                <a:gd name="T28" fmla="*/ 10 w 19"/>
                <a:gd name="T29" fmla="*/ 32 h 32"/>
                <a:gd name="T30" fmla="*/ 10 w 19"/>
                <a:gd name="T31" fmla="*/ 31 h 32"/>
                <a:gd name="T32" fmla="*/ 10 w 19"/>
                <a:gd name="T33" fmla="*/ 31 h 32"/>
                <a:gd name="T34" fmla="*/ 12 w 19"/>
                <a:gd name="T35" fmla="*/ 22 h 32"/>
                <a:gd name="T36" fmla="*/ 13 w 19"/>
                <a:gd name="T37" fmla="*/ 15 h 32"/>
                <a:gd name="T38" fmla="*/ 13 w 19"/>
                <a:gd name="T39" fmla="*/ 15 h 32"/>
                <a:gd name="T40" fmla="*/ 15 w 19"/>
                <a:gd name="T41" fmla="*/ 11 h 32"/>
                <a:gd name="T42" fmla="*/ 18 w 19"/>
                <a:gd name="T43" fmla="*/ 5 h 32"/>
                <a:gd name="T44" fmla="*/ 19 w 19"/>
                <a:gd name="T45" fmla="*/ 2 h 32"/>
                <a:gd name="T46" fmla="*/ 19 w 19"/>
                <a:gd name="T47" fmla="*/ 0 h 32"/>
                <a:gd name="T48" fmla="*/ 18 w 1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2">
                  <a:moveTo>
                    <a:pt x="18" y="0"/>
                  </a:moveTo>
                  <a:lnTo>
                    <a:pt x="18" y="0"/>
                  </a:lnTo>
                  <a:lnTo>
                    <a:pt x="15" y="0"/>
                  </a:lnTo>
                  <a:lnTo>
                    <a:pt x="12" y="2"/>
                  </a:lnTo>
                  <a:lnTo>
                    <a:pt x="9" y="5"/>
                  </a:lnTo>
                  <a:lnTo>
                    <a:pt x="6" y="9"/>
                  </a:lnTo>
                  <a:lnTo>
                    <a:pt x="6" y="9"/>
                  </a:lnTo>
                  <a:lnTo>
                    <a:pt x="5" y="12"/>
                  </a:lnTo>
                  <a:lnTo>
                    <a:pt x="2" y="15"/>
                  </a:lnTo>
                  <a:lnTo>
                    <a:pt x="0" y="16"/>
                  </a:lnTo>
                  <a:lnTo>
                    <a:pt x="0" y="21"/>
                  </a:lnTo>
                  <a:lnTo>
                    <a:pt x="0" y="21"/>
                  </a:lnTo>
                  <a:lnTo>
                    <a:pt x="6" y="29"/>
                  </a:lnTo>
                  <a:lnTo>
                    <a:pt x="9" y="32"/>
                  </a:lnTo>
                  <a:lnTo>
                    <a:pt x="10" y="32"/>
                  </a:lnTo>
                  <a:lnTo>
                    <a:pt x="10" y="31"/>
                  </a:lnTo>
                  <a:lnTo>
                    <a:pt x="10" y="31"/>
                  </a:lnTo>
                  <a:lnTo>
                    <a:pt x="12" y="22"/>
                  </a:lnTo>
                  <a:lnTo>
                    <a:pt x="13" y="15"/>
                  </a:lnTo>
                  <a:lnTo>
                    <a:pt x="13" y="15"/>
                  </a:lnTo>
                  <a:lnTo>
                    <a:pt x="15" y="11"/>
                  </a:lnTo>
                  <a:lnTo>
                    <a:pt x="18" y="5"/>
                  </a:lnTo>
                  <a:lnTo>
                    <a:pt x="19" y="2"/>
                  </a:lnTo>
                  <a:lnTo>
                    <a:pt x="19" y="0"/>
                  </a:lnTo>
                  <a:lnTo>
                    <a:pt x="18" y="0"/>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26" name="Freeform 879"/>
            <p:cNvSpPr>
              <a:spLocks/>
            </p:cNvSpPr>
            <p:nvPr/>
          </p:nvSpPr>
          <p:spPr bwMode="auto">
            <a:xfrm>
              <a:off x="7442200" y="4441826"/>
              <a:ext cx="30163" cy="50800"/>
            </a:xfrm>
            <a:custGeom>
              <a:avLst/>
              <a:gdLst>
                <a:gd name="T0" fmla="*/ 18 w 19"/>
                <a:gd name="T1" fmla="*/ 0 h 32"/>
                <a:gd name="T2" fmla="*/ 18 w 19"/>
                <a:gd name="T3" fmla="*/ 0 h 32"/>
                <a:gd name="T4" fmla="*/ 15 w 19"/>
                <a:gd name="T5" fmla="*/ 0 h 32"/>
                <a:gd name="T6" fmla="*/ 12 w 19"/>
                <a:gd name="T7" fmla="*/ 2 h 32"/>
                <a:gd name="T8" fmla="*/ 9 w 19"/>
                <a:gd name="T9" fmla="*/ 5 h 32"/>
                <a:gd name="T10" fmla="*/ 6 w 19"/>
                <a:gd name="T11" fmla="*/ 9 h 32"/>
                <a:gd name="T12" fmla="*/ 6 w 19"/>
                <a:gd name="T13" fmla="*/ 9 h 32"/>
                <a:gd name="T14" fmla="*/ 5 w 19"/>
                <a:gd name="T15" fmla="*/ 12 h 32"/>
                <a:gd name="T16" fmla="*/ 2 w 19"/>
                <a:gd name="T17" fmla="*/ 15 h 32"/>
                <a:gd name="T18" fmla="*/ 0 w 19"/>
                <a:gd name="T19" fmla="*/ 16 h 32"/>
                <a:gd name="T20" fmla="*/ 0 w 19"/>
                <a:gd name="T21" fmla="*/ 21 h 32"/>
                <a:gd name="T22" fmla="*/ 0 w 19"/>
                <a:gd name="T23" fmla="*/ 21 h 32"/>
                <a:gd name="T24" fmla="*/ 6 w 19"/>
                <a:gd name="T25" fmla="*/ 29 h 32"/>
                <a:gd name="T26" fmla="*/ 9 w 19"/>
                <a:gd name="T27" fmla="*/ 32 h 32"/>
                <a:gd name="T28" fmla="*/ 10 w 19"/>
                <a:gd name="T29" fmla="*/ 32 h 32"/>
                <a:gd name="T30" fmla="*/ 10 w 19"/>
                <a:gd name="T31" fmla="*/ 31 h 32"/>
                <a:gd name="T32" fmla="*/ 10 w 19"/>
                <a:gd name="T33" fmla="*/ 31 h 32"/>
                <a:gd name="T34" fmla="*/ 12 w 19"/>
                <a:gd name="T35" fmla="*/ 22 h 32"/>
                <a:gd name="T36" fmla="*/ 13 w 19"/>
                <a:gd name="T37" fmla="*/ 15 h 32"/>
                <a:gd name="T38" fmla="*/ 13 w 19"/>
                <a:gd name="T39" fmla="*/ 15 h 32"/>
                <a:gd name="T40" fmla="*/ 15 w 19"/>
                <a:gd name="T41" fmla="*/ 11 h 32"/>
                <a:gd name="T42" fmla="*/ 18 w 19"/>
                <a:gd name="T43" fmla="*/ 5 h 32"/>
                <a:gd name="T44" fmla="*/ 19 w 19"/>
                <a:gd name="T45" fmla="*/ 2 h 32"/>
                <a:gd name="T46" fmla="*/ 19 w 19"/>
                <a:gd name="T47" fmla="*/ 0 h 32"/>
                <a:gd name="T48" fmla="*/ 18 w 1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2">
                  <a:moveTo>
                    <a:pt x="18" y="0"/>
                  </a:moveTo>
                  <a:lnTo>
                    <a:pt x="18" y="0"/>
                  </a:lnTo>
                  <a:lnTo>
                    <a:pt x="15" y="0"/>
                  </a:lnTo>
                  <a:lnTo>
                    <a:pt x="12" y="2"/>
                  </a:lnTo>
                  <a:lnTo>
                    <a:pt x="9" y="5"/>
                  </a:lnTo>
                  <a:lnTo>
                    <a:pt x="6" y="9"/>
                  </a:lnTo>
                  <a:lnTo>
                    <a:pt x="6" y="9"/>
                  </a:lnTo>
                  <a:lnTo>
                    <a:pt x="5" y="12"/>
                  </a:lnTo>
                  <a:lnTo>
                    <a:pt x="2" y="15"/>
                  </a:lnTo>
                  <a:lnTo>
                    <a:pt x="0" y="16"/>
                  </a:lnTo>
                  <a:lnTo>
                    <a:pt x="0" y="21"/>
                  </a:lnTo>
                  <a:lnTo>
                    <a:pt x="0" y="21"/>
                  </a:lnTo>
                  <a:lnTo>
                    <a:pt x="6" y="29"/>
                  </a:lnTo>
                  <a:lnTo>
                    <a:pt x="9" y="32"/>
                  </a:lnTo>
                  <a:lnTo>
                    <a:pt x="10" y="32"/>
                  </a:lnTo>
                  <a:lnTo>
                    <a:pt x="10" y="31"/>
                  </a:lnTo>
                  <a:lnTo>
                    <a:pt x="10" y="31"/>
                  </a:lnTo>
                  <a:lnTo>
                    <a:pt x="12" y="22"/>
                  </a:lnTo>
                  <a:lnTo>
                    <a:pt x="13" y="15"/>
                  </a:lnTo>
                  <a:lnTo>
                    <a:pt x="13" y="15"/>
                  </a:lnTo>
                  <a:lnTo>
                    <a:pt x="15" y="11"/>
                  </a:lnTo>
                  <a:lnTo>
                    <a:pt x="18" y="5"/>
                  </a:lnTo>
                  <a:lnTo>
                    <a:pt x="19" y="2"/>
                  </a:lnTo>
                  <a:lnTo>
                    <a:pt x="19"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27" name="Freeform 880"/>
            <p:cNvSpPr>
              <a:spLocks/>
            </p:cNvSpPr>
            <p:nvPr/>
          </p:nvSpPr>
          <p:spPr bwMode="auto">
            <a:xfrm>
              <a:off x="7472363" y="4460876"/>
              <a:ext cx="23813" cy="14288"/>
            </a:xfrm>
            <a:custGeom>
              <a:avLst/>
              <a:gdLst>
                <a:gd name="T0" fmla="*/ 10 w 15"/>
                <a:gd name="T1" fmla="*/ 0 h 9"/>
                <a:gd name="T2" fmla="*/ 10 w 15"/>
                <a:gd name="T3" fmla="*/ 0 h 9"/>
                <a:gd name="T4" fmla="*/ 9 w 15"/>
                <a:gd name="T5" fmla="*/ 0 h 9"/>
                <a:gd name="T6" fmla="*/ 6 w 15"/>
                <a:gd name="T7" fmla="*/ 0 h 9"/>
                <a:gd name="T8" fmla="*/ 3 w 15"/>
                <a:gd name="T9" fmla="*/ 3 h 9"/>
                <a:gd name="T10" fmla="*/ 0 w 15"/>
                <a:gd name="T11" fmla="*/ 7 h 9"/>
                <a:gd name="T12" fmla="*/ 0 w 15"/>
                <a:gd name="T13" fmla="*/ 7 h 9"/>
                <a:gd name="T14" fmla="*/ 0 w 15"/>
                <a:gd name="T15" fmla="*/ 9 h 9"/>
                <a:gd name="T16" fmla="*/ 0 w 15"/>
                <a:gd name="T17" fmla="*/ 9 h 9"/>
                <a:gd name="T18" fmla="*/ 6 w 15"/>
                <a:gd name="T19" fmla="*/ 9 h 9"/>
                <a:gd name="T20" fmla="*/ 12 w 15"/>
                <a:gd name="T21" fmla="*/ 7 h 9"/>
                <a:gd name="T22" fmla="*/ 15 w 15"/>
                <a:gd name="T23" fmla="*/ 6 h 9"/>
                <a:gd name="T24" fmla="*/ 15 w 15"/>
                <a:gd name="T25" fmla="*/ 4 h 9"/>
                <a:gd name="T26" fmla="*/ 15 w 15"/>
                <a:gd name="T27" fmla="*/ 1 h 9"/>
                <a:gd name="T28" fmla="*/ 10 w 15"/>
                <a:gd name="T2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9">
                  <a:moveTo>
                    <a:pt x="10" y="0"/>
                  </a:moveTo>
                  <a:lnTo>
                    <a:pt x="10" y="0"/>
                  </a:lnTo>
                  <a:lnTo>
                    <a:pt x="9" y="0"/>
                  </a:lnTo>
                  <a:lnTo>
                    <a:pt x="6" y="0"/>
                  </a:lnTo>
                  <a:lnTo>
                    <a:pt x="3" y="3"/>
                  </a:lnTo>
                  <a:lnTo>
                    <a:pt x="0" y="7"/>
                  </a:lnTo>
                  <a:lnTo>
                    <a:pt x="0" y="7"/>
                  </a:lnTo>
                  <a:lnTo>
                    <a:pt x="0" y="9"/>
                  </a:lnTo>
                  <a:lnTo>
                    <a:pt x="0" y="9"/>
                  </a:lnTo>
                  <a:lnTo>
                    <a:pt x="6" y="9"/>
                  </a:lnTo>
                  <a:lnTo>
                    <a:pt x="12" y="7"/>
                  </a:lnTo>
                  <a:lnTo>
                    <a:pt x="15" y="6"/>
                  </a:lnTo>
                  <a:lnTo>
                    <a:pt x="15" y="4"/>
                  </a:lnTo>
                  <a:lnTo>
                    <a:pt x="15" y="1"/>
                  </a:lnTo>
                  <a:lnTo>
                    <a:pt x="10" y="0"/>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28" name="Freeform 881"/>
            <p:cNvSpPr>
              <a:spLocks/>
            </p:cNvSpPr>
            <p:nvPr/>
          </p:nvSpPr>
          <p:spPr bwMode="auto">
            <a:xfrm>
              <a:off x="7472363" y="4460876"/>
              <a:ext cx="23813" cy="14288"/>
            </a:xfrm>
            <a:custGeom>
              <a:avLst/>
              <a:gdLst>
                <a:gd name="T0" fmla="*/ 10 w 15"/>
                <a:gd name="T1" fmla="*/ 0 h 9"/>
                <a:gd name="T2" fmla="*/ 10 w 15"/>
                <a:gd name="T3" fmla="*/ 0 h 9"/>
                <a:gd name="T4" fmla="*/ 9 w 15"/>
                <a:gd name="T5" fmla="*/ 0 h 9"/>
                <a:gd name="T6" fmla="*/ 6 w 15"/>
                <a:gd name="T7" fmla="*/ 0 h 9"/>
                <a:gd name="T8" fmla="*/ 3 w 15"/>
                <a:gd name="T9" fmla="*/ 3 h 9"/>
                <a:gd name="T10" fmla="*/ 0 w 15"/>
                <a:gd name="T11" fmla="*/ 7 h 9"/>
                <a:gd name="T12" fmla="*/ 0 w 15"/>
                <a:gd name="T13" fmla="*/ 7 h 9"/>
                <a:gd name="T14" fmla="*/ 0 w 15"/>
                <a:gd name="T15" fmla="*/ 9 h 9"/>
                <a:gd name="T16" fmla="*/ 0 w 15"/>
                <a:gd name="T17" fmla="*/ 9 h 9"/>
                <a:gd name="T18" fmla="*/ 6 w 15"/>
                <a:gd name="T19" fmla="*/ 9 h 9"/>
                <a:gd name="T20" fmla="*/ 12 w 15"/>
                <a:gd name="T21" fmla="*/ 7 h 9"/>
                <a:gd name="T22" fmla="*/ 15 w 15"/>
                <a:gd name="T23" fmla="*/ 6 h 9"/>
                <a:gd name="T24" fmla="*/ 15 w 15"/>
                <a:gd name="T25" fmla="*/ 4 h 9"/>
                <a:gd name="T26" fmla="*/ 15 w 15"/>
                <a:gd name="T27" fmla="*/ 1 h 9"/>
                <a:gd name="T28" fmla="*/ 10 w 15"/>
                <a:gd name="T2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9">
                  <a:moveTo>
                    <a:pt x="10" y="0"/>
                  </a:moveTo>
                  <a:lnTo>
                    <a:pt x="10" y="0"/>
                  </a:lnTo>
                  <a:lnTo>
                    <a:pt x="9" y="0"/>
                  </a:lnTo>
                  <a:lnTo>
                    <a:pt x="6" y="0"/>
                  </a:lnTo>
                  <a:lnTo>
                    <a:pt x="3" y="3"/>
                  </a:lnTo>
                  <a:lnTo>
                    <a:pt x="0" y="7"/>
                  </a:lnTo>
                  <a:lnTo>
                    <a:pt x="0" y="7"/>
                  </a:lnTo>
                  <a:lnTo>
                    <a:pt x="0" y="9"/>
                  </a:lnTo>
                  <a:lnTo>
                    <a:pt x="0" y="9"/>
                  </a:lnTo>
                  <a:lnTo>
                    <a:pt x="6" y="9"/>
                  </a:lnTo>
                  <a:lnTo>
                    <a:pt x="12" y="7"/>
                  </a:lnTo>
                  <a:lnTo>
                    <a:pt x="15" y="6"/>
                  </a:lnTo>
                  <a:lnTo>
                    <a:pt x="15" y="4"/>
                  </a:lnTo>
                  <a:lnTo>
                    <a:pt x="15" y="1"/>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29" name="Freeform 882"/>
            <p:cNvSpPr>
              <a:spLocks/>
            </p:cNvSpPr>
            <p:nvPr/>
          </p:nvSpPr>
          <p:spPr bwMode="auto">
            <a:xfrm>
              <a:off x="7386638" y="4373564"/>
              <a:ext cx="30163" cy="30163"/>
            </a:xfrm>
            <a:custGeom>
              <a:avLst/>
              <a:gdLst>
                <a:gd name="T0" fmla="*/ 12 w 19"/>
                <a:gd name="T1" fmla="*/ 19 h 19"/>
                <a:gd name="T2" fmla="*/ 12 w 19"/>
                <a:gd name="T3" fmla="*/ 19 h 19"/>
                <a:gd name="T4" fmla="*/ 11 w 19"/>
                <a:gd name="T5" fmla="*/ 19 h 19"/>
                <a:gd name="T6" fmla="*/ 9 w 19"/>
                <a:gd name="T7" fmla="*/ 17 h 19"/>
                <a:gd name="T8" fmla="*/ 8 w 19"/>
                <a:gd name="T9" fmla="*/ 13 h 19"/>
                <a:gd name="T10" fmla="*/ 6 w 19"/>
                <a:gd name="T11" fmla="*/ 10 h 19"/>
                <a:gd name="T12" fmla="*/ 6 w 19"/>
                <a:gd name="T13" fmla="*/ 9 h 19"/>
                <a:gd name="T14" fmla="*/ 5 w 19"/>
                <a:gd name="T15" fmla="*/ 7 h 19"/>
                <a:gd name="T16" fmla="*/ 5 w 19"/>
                <a:gd name="T17" fmla="*/ 7 h 19"/>
                <a:gd name="T18" fmla="*/ 2 w 19"/>
                <a:gd name="T19" fmla="*/ 7 h 19"/>
                <a:gd name="T20" fmla="*/ 2 w 19"/>
                <a:gd name="T21" fmla="*/ 4 h 19"/>
                <a:gd name="T22" fmla="*/ 2 w 19"/>
                <a:gd name="T23" fmla="*/ 3 h 19"/>
                <a:gd name="T24" fmla="*/ 0 w 19"/>
                <a:gd name="T25" fmla="*/ 0 h 19"/>
                <a:gd name="T26" fmla="*/ 0 w 19"/>
                <a:gd name="T27" fmla="*/ 0 h 19"/>
                <a:gd name="T28" fmla="*/ 0 w 19"/>
                <a:gd name="T29" fmla="*/ 0 h 19"/>
                <a:gd name="T30" fmla="*/ 2 w 19"/>
                <a:gd name="T31" fmla="*/ 0 h 19"/>
                <a:gd name="T32" fmla="*/ 6 w 19"/>
                <a:gd name="T33" fmla="*/ 0 h 19"/>
                <a:gd name="T34" fmla="*/ 15 w 19"/>
                <a:gd name="T35" fmla="*/ 1 h 19"/>
                <a:gd name="T36" fmla="*/ 15 w 19"/>
                <a:gd name="T37" fmla="*/ 1 h 19"/>
                <a:gd name="T38" fmla="*/ 18 w 19"/>
                <a:gd name="T39" fmla="*/ 3 h 19"/>
                <a:gd name="T40" fmla="*/ 19 w 19"/>
                <a:gd name="T41" fmla="*/ 6 h 19"/>
                <a:gd name="T42" fmla="*/ 19 w 19"/>
                <a:gd name="T43" fmla="*/ 10 h 19"/>
                <a:gd name="T44" fmla="*/ 19 w 19"/>
                <a:gd name="T45" fmla="*/ 10 h 19"/>
                <a:gd name="T46" fmla="*/ 18 w 19"/>
                <a:gd name="T47" fmla="*/ 16 h 19"/>
                <a:gd name="T48" fmla="*/ 16 w 19"/>
                <a:gd name="T49" fmla="*/ 17 h 19"/>
                <a:gd name="T50" fmla="*/ 12 w 19"/>
                <a:gd name="T5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19">
                  <a:moveTo>
                    <a:pt x="12" y="19"/>
                  </a:moveTo>
                  <a:lnTo>
                    <a:pt x="12" y="19"/>
                  </a:lnTo>
                  <a:lnTo>
                    <a:pt x="11" y="19"/>
                  </a:lnTo>
                  <a:lnTo>
                    <a:pt x="9" y="17"/>
                  </a:lnTo>
                  <a:lnTo>
                    <a:pt x="8" y="13"/>
                  </a:lnTo>
                  <a:lnTo>
                    <a:pt x="6" y="10"/>
                  </a:lnTo>
                  <a:lnTo>
                    <a:pt x="6" y="9"/>
                  </a:lnTo>
                  <a:lnTo>
                    <a:pt x="5" y="7"/>
                  </a:lnTo>
                  <a:lnTo>
                    <a:pt x="5" y="7"/>
                  </a:lnTo>
                  <a:lnTo>
                    <a:pt x="2" y="7"/>
                  </a:lnTo>
                  <a:lnTo>
                    <a:pt x="2" y="4"/>
                  </a:lnTo>
                  <a:lnTo>
                    <a:pt x="2" y="3"/>
                  </a:lnTo>
                  <a:lnTo>
                    <a:pt x="0" y="0"/>
                  </a:lnTo>
                  <a:lnTo>
                    <a:pt x="0" y="0"/>
                  </a:lnTo>
                  <a:lnTo>
                    <a:pt x="0" y="0"/>
                  </a:lnTo>
                  <a:lnTo>
                    <a:pt x="2" y="0"/>
                  </a:lnTo>
                  <a:lnTo>
                    <a:pt x="6" y="0"/>
                  </a:lnTo>
                  <a:lnTo>
                    <a:pt x="15" y="1"/>
                  </a:lnTo>
                  <a:lnTo>
                    <a:pt x="15" y="1"/>
                  </a:lnTo>
                  <a:lnTo>
                    <a:pt x="18" y="3"/>
                  </a:lnTo>
                  <a:lnTo>
                    <a:pt x="19" y="6"/>
                  </a:lnTo>
                  <a:lnTo>
                    <a:pt x="19" y="10"/>
                  </a:lnTo>
                  <a:lnTo>
                    <a:pt x="19" y="10"/>
                  </a:lnTo>
                  <a:lnTo>
                    <a:pt x="18" y="16"/>
                  </a:lnTo>
                  <a:lnTo>
                    <a:pt x="16" y="17"/>
                  </a:lnTo>
                  <a:lnTo>
                    <a:pt x="12" y="19"/>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30" name="Freeform 883"/>
            <p:cNvSpPr>
              <a:spLocks/>
            </p:cNvSpPr>
            <p:nvPr/>
          </p:nvSpPr>
          <p:spPr bwMode="auto">
            <a:xfrm>
              <a:off x="7386638" y="4373564"/>
              <a:ext cx="30163" cy="30163"/>
            </a:xfrm>
            <a:custGeom>
              <a:avLst/>
              <a:gdLst>
                <a:gd name="T0" fmla="*/ 12 w 19"/>
                <a:gd name="T1" fmla="*/ 19 h 19"/>
                <a:gd name="T2" fmla="*/ 12 w 19"/>
                <a:gd name="T3" fmla="*/ 19 h 19"/>
                <a:gd name="T4" fmla="*/ 11 w 19"/>
                <a:gd name="T5" fmla="*/ 19 h 19"/>
                <a:gd name="T6" fmla="*/ 9 w 19"/>
                <a:gd name="T7" fmla="*/ 17 h 19"/>
                <a:gd name="T8" fmla="*/ 8 w 19"/>
                <a:gd name="T9" fmla="*/ 13 h 19"/>
                <a:gd name="T10" fmla="*/ 6 w 19"/>
                <a:gd name="T11" fmla="*/ 10 h 19"/>
                <a:gd name="T12" fmla="*/ 6 w 19"/>
                <a:gd name="T13" fmla="*/ 9 h 19"/>
                <a:gd name="T14" fmla="*/ 5 w 19"/>
                <a:gd name="T15" fmla="*/ 7 h 19"/>
                <a:gd name="T16" fmla="*/ 5 w 19"/>
                <a:gd name="T17" fmla="*/ 7 h 19"/>
                <a:gd name="T18" fmla="*/ 2 w 19"/>
                <a:gd name="T19" fmla="*/ 7 h 19"/>
                <a:gd name="T20" fmla="*/ 2 w 19"/>
                <a:gd name="T21" fmla="*/ 4 h 19"/>
                <a:gd name="T22" fmla="*/ 2 w 19"/>
                <a:gd name="T23" fmla="*/ 3 h 19"/>
                <a:gd name="T24" fmla="*/ 0 w 19"/>
                <a:gd name="T25" fmla="*/ 0 h 19"/>
                <a:gd name="T26" fmla="*/ 0 w 19"/>
                <a:gd name="T27" fmla="*/ 0 h 19"/>
                <a:gd name="T28" fmla="*/ 0 w 19"/>
                <a:gd name="T29" fmla="*/ 0 h 19"/>
                <a:gd name="T30" fmla="*/ 2 w 19"/>
                <a:gd name="T31" fmla="*/ 0 h 19"/>
                <a:gd name="T32" fmla="*/ 6 w 19"/>
                <a:gd name="T33" fmla="*/ 0 h 19"/>
                <a:gd name="T34" fmla="*/ 15 w 19"/>
                <a:gd name="T35" fmla="*/ 1 h 19"/>
                <a:gd name="T36" fmla="*/ 15 w 19"/>
                <a:gd name="T37" fmla="*/ 1 h 19"/>
                <a:gd name="T38" fmla="*/ 18 w 19"/>
                <a:gd name="T39" fmla="*/ 3 h 19"/>
                <a:gd name="T40" fmla="*/ 19 w 19"/>
                <a:gd name="T41" fmla="*/ 6 h 19"/>
                <a:gd name="T42" fmla="*/ 19 w 19"/>
                <a:gd name="T43" fmla="*/ 10 h 19"/>
                <a:gd name="T44" fmla="*/ 19 w 19"/>
                <a:gd name="T45" fmla="*/ 10 h 19"/>
                <a:gd name="T46" fmla="*/ 18 w 19"/>
                <a:gd name="T47" fmla="*/ 16 h 19"/>
                <a:gd name="T48" fmla="*/ 16 w 19"/>
                <a:gd name="T49" fmla="*/ 17 h 19"/>
                <a:gd name="T50" fmla="*/ 12 w 19"/>
                <a:gd name="T5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19">
                  <a:moveTo>
                    <a:pt x="12" y="19"/>
                  </a:moveTo>
                  <a:lnTo>
                    <a:pt x="12" y="19"/>
                  </a:lnTo>
                  <a:lnTo>
                    <a:pt x="11" y="19"/>
                  </a:lnTo>
                  <a:lnTo>
                    <a:pt x="9" y="17"/>
                  </a:lnTo>
                  <a:lnTo>
                    <a:pt x="8" y="13"/>
                  </a:lnTo>
                  <a:lnTo>
                    <a:pt x="6" y="10"/>
                  </a:lnTo>
                  <a:lnTo>
                    <a:pt x="6" y="9"/>
                  </a:lnTo>
                  <a:lnTo>
                    <a:pt x="5" y="7"/>
                  </a:lnTo>
                  <a:lnTo>
                    <a:pt x="5" y="7"/>
                  </a:lnTo>
                  <a:lnTo>
                    <a:pt x="2" y="7"/>
                  </a:lnTo>
                  <a:lnTo>
                    <a:pt x="2" y="4"/>
                  </a:lnTo>
                  <a:lnTo>
                    <a:pt x="2" y="3"/>
                  </a:lnTo>
                  <a:lnTo>
                    <a:pt x="0" y="0"/>
                  </a:lnTo>
                  <a:lnTo>
                    <a:pt x="0" y="0"/>
                  </a:lnTo>
                  <a:lnTo>
                    <a:pt x="0" y="0"/>
                  </a:lnTo>
                  <a:lnTo>
                    <a:pt x="2" y="0"/>
                  </a:lnTo>
                  <a:lnTo>
                    <a:pt x="6" y="0"/>
                  </a:lnTo>
                  <a:lnTo>
                    <a:pt x="15" y="1"/>
                  </a:lnTo>
                  <a:lnTo>
                    <a:pt x="15" y="1"/>
                  </a:lnTo>
                  <a:lnTo>
                    <a:pt x="18" y="3"/>
                  </a:lnTo>
                  <a:lnTo>
                    <a:pt x="19" y="6"/>
                  </a:lnTo>
                  <a:lnTo>
                    <a:pt x="19" y="10"/>
                  </a:lnTo>
                  <a:lnTo>
                    <a:pt x="19" y="10"/>
                  </a:lnTo>
                  <a:lnTo>
                    <a:pt x="18" y="16"/>
                  </a:lnTo>
                  <a:lnTo>
                    <a:pt x="16" y="17"/>
                  </a:lnTo>
                  <a:lnTo>
                    <a:pt x="12" y="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31" name="Freeform 884"/>
            <p:cNvSpPr>
              <a:spLocks/>
            </p:cNvSpPr>
            <p:nvPr/>
          </p:nvSpPr>
          <p:spPr bwMode="auto">
            <a:xfrm>
              <a:off x="7307263" y="4435476"/>
              <a:ext cx="61913" cy="65088"/>
            </a:xfrm>
            <a:custGeom>
              <a:avLst/>
              <a:gdLst>
                <a:gd name="T0" fmla="*/ 35 w 39"/>
                <a:gd name="T1" fmla="*/ 1 h 41"/>
                <a:gd name="T2" fmla="*/ 35 w 39"/>
                <a:gd name="T3" fmla="*/ 1 h 41"/>
                <a:gd name="T4" fmla="*/ 33 w 39"/>
                <a:gd name="T5" fmla="*/ 3 h 41"/>
                <a:gd name="T6" fmla="*/ 33 w 39"/>
                <a:gd name="T7" fmla="*/ 6 h 41"/>
                <a:gd name="T8" fmla="*/ 33 w 39"/>
                <a:gd name="T9" fmla="*/ 9 h 41"/>
                <a:gd name="T10" fmla="*/ 32 w 39"/>
                <a:gd name="T11" fmla="*/ 12 h 41"/>
                <a:gd name="T12" fmla="*/ 32 w 39"/>
                <a:gd name="T13" fmla="*/ 12 h 41"/>
                <a:gd name="T14" fmla="*/ 27 w 39"/>
                <a:gd name="T15" fmla="*/ 13 h 41"/>
                <a:gd name="T16" fmla="*/ 23 w 39"/>
                <a:gd name="T17" fmla="*/ 17 h 41"/>
                <a:gd name="T18" fmla="*/ 16 w 39"/>
                <a:gd name="T19" fmla="*/ 23 h 41"/>
                <a:gd name="T20" fmla="*/ 16 w 39"/>
                <a:gd name="T21" fmla="*/ 23 h 41"/>
                <a:gd name="T22" fmla="*/ 6 w 39"/>
                <a:gd name="T23" fmla="*/ 33 h 41"/>
                <a:gd name="T24" fmla="*/ 1 w 39"/>
                <a:gd name="T25" fmla="*/ 39 h 41"/>
                <a:gd name="T26" fmla="*/ 0 w 39"/>
                <a:gd name="T27" fmla="*/ 41 h 41"/>
                <a:gd name="T28" fmla="*/ 1 w 39"/>
                <a:gd name="T29" fmla="*/ 41 h 41"/>
                <a:gd name="T30" fmla="*/ 1 w 39"/>
                <a:gd name="T31" fmla="*/ 41 h 41"/>
                <a:gd name="T32" fmla="*/ 4 w 39"/>
                <a:gd name="T33" fmla="*/ 39 h 41"/>
                <a:gd name="T34" fmla="*/ 10 w 39"/>
                <a:gd name="T35" fmla="*/ 35 h 41"/>
                <a:gd name="T36" fmla="*/ 22 w 39"/>
                <a:gd name="T37" fmla="*/ 26 h 41"/>
                <a:gd name="T38" fmla="*/ 22 w 39"/>
                <a:gd name="T39" fmla="*/ 26 h 41"/>
                <a:gd name="T40" fmla="*/ 32 w 39"/>
                <a:gd name="T41" fmla="*/ 20 h 41"/>
                <a:gd name="T42" fmla="*/ 36 w 39"/>
                <a:gd name="T43" fmla="*/ 17 h 41"/>
                <a:gd name="T44" fmla="*/ 39 w 39"/>
                <a:gd name="T45" fmla="*/ 15 h 41"/>
                <a:gd name="T46" fmla="*/ 39 w 39"/>
                <a:gd name="T47" fmla="*/ 15 h 41"/>
                <a:gd name="T48" fmla="*/ 39 w 39"/>
                <a:gd name="T49" fmla="*/ 4 h 41"/>
                <a:gd name="T50" fmla="*/ 37 w 39"/>
                <a:gd name="T51" fmla="*/ 1 h 41"/>
                <a:gd name="T52" fmla="*/ 36 w 39"/>
                <a:gd name="T53" fmla="*/ 0 h 41"/>
                <a:gd name="T54" fmla="*/ 35 w 39"/>
                <a:gd name="T55" fmla="*/ 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 h="41">
                  <a:moveTo>
                    <a:pt x="35" y="1"/>
                  </a:moveTo>
                  <a:lnTo>
                    <a:pt x="35" y="1"/>
                  </a:lnTo>
                  <a:lnTo>
                    <a:pt x="33" y="3"/>
                  </a:lnTo>
                  <a:lnTo>
                    <a:pt x="33" y="6"/>
                  </a:lnTo>
                  <a:lnTo>
                    <a:pt x="33" y="9"/>
                  </a:lnTo>
                  <a:lnTo>
                    <a:pt x="32" y="12"/>
                  </a:lnTo>
                  <a:lnTo>
                    <a:pt x="32" y="12"/>
                  </a:lnTo>
                  <a:lnTo>
                    <a:pt x="27" y="13"/>
                  </a:lnTo>
                  <a:lnTo>
                    <a:pt x="23" y="17"/>
                  </a:lnTo>
                  <a:lnTo>
                    <a:pt x="16" y="23"/>
                  </a:lnTo>
                  <a:lnTo>
                    <a:pt x="16" y="23"/>
                  </a:lnTo>
                  <a:lnTo>
                    <a:pt x="6" y="33"/>
                  </a:lnTo>
                  <a:lnTo>
                    <a:pt x="1" y="39"/>
                  </a:lnTo>
                  <a:lnTo>
                    <a:pt x="0" y="41"/>
                  </a:lnTo>
                  <a:lnTo>
                    <a:pt x="1" y="41"/>
                  </a:lnTo>
                  <a:lnTo>
                    <a:pt x="1" y="41"/>
                  </a:lnTo>
                  <a:lnTo>
                    <a:pt x="4" y="39"/>
                  </a:lnTo>
                  <a:lnTo>
                    <a:pt x="10" y="35"/>
                  </a:lnTo>
                  <a:lnTo>
                    <a:pt x="22" y="26"/>
                  </a:lnTo>
                  <a:lnTo>
                    <a:pt x="22" y="26"/>
                  </a:lnTo>
                  <a:lnTo>
                    <a:pt x="32" y="20"/>
                  </a:lnTo>
                  <a:lnTo>
                    <a:pt x="36" y="17"/>
                  </a:lnTo>
                  <a:lnTo>
                    <a:pt x="39" y="15"/>
                  </a:lnTo>
                  <a:lnTo>
                    <a:pt x="39" y="15"/>
                  </a:lnTo>
                  <a:lnTo>
                    <a:pt x="39" y="4"/>
                  </a:lnTo>
                  <a:lnTo>
                    <a:pt x="37" y="1"/>
                  </a:lnTo>
                  <a:lnTo>
                    <a:pt x="36" y="0"/>
                  </a:lnTo>
                  <a:lnTo>
                    <a:pt x="35" y="1"/>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32" name="Freeform 885"/>
            <p:cNvSpPr>
              <a:spLocks/>
            </p:cNvSpPr>
            <p:nvPr/>
          </p:nvSpPr>
          <p:spPr bwMode="auto">
            <a:xfrm>
              <a:off x="7307263" y="4435476"/>
              <a:ext cx="61913" cy="65088"/>
            </a:xfrm>
            <a:custGeom>
              <a:avLst/>
              <a:gdLst>
                <a:gd name="T0" fmla="*/ 35 w 39"/>
                <a:gd name="T1" fmla="*/ 1 h 41"/>
                <a:gd name="T2" fmla="*/ 35 w 39"/>
                <a:gd name="T3" fmla="*/ 1 h 41"/>
                <a:gd name="T4" fmla="*/ 33 w 39"/>
                <a:gd name="T5" fmla="*/ 3 h 41"/>
                <a:gd name="T6" fmla="*/ 33 w 39"/>
                <a:gd name="T7" fmla="*/ 6 h 41"/>
                <a:gd name="T8" fmla="*/ 33 w 39"/>
                <a:gd name="T9" fmla="*/ 9 h 41"/>
                <a:gd name="T10" fmla="*/ 32 w 39"/>
                <a:gd name="T11" fmla="*/ 12 h 41"/>
                <a:gd name="T12" fmla="*/ 32 w 39"/>
                <a:gd name="T13" fmla="*/ 12 h 41"/>
                <a:gd name="T14" fmla="*/ 27 w 39"/>
                <a:gd name="T15" fmla="*/ 13 h 41"/>
                <a:gd name="T16" fmla="*/ 23 w 39"/>
                <a:gd name="T17" fmla="*/ 17 h 41"/>
                <a:gd name="T18" fmla="*/ 16 w 39"/>
                <a:gd name="T19" fmla="*/ 23 h 41"/>
                <a:gd name="T20" fmla="*/ 16 w 39"/>
                <a:gd name="T21" fmla="*/ 23 h 41"/>
                <a:gd name="T22" fmla="*/ 6 w 39"/>
                <a:gd name="T23" fmla="*/ 33 h 41"/>
                <a:gd name="T24" fmla="*/ 1 w 39"/>
                <a:gd name="T25" fmla="*/ 39 h 41"/>
                <a:gd name="T26" fmla="*/ 0 w 39"/>
                <a:gd name="T27" fmla="*/ 41 h 41"/>
                <a:gd name="T28" fmla="*/ 1 w 39"/>
                <a:gd name="T29" fmla="*/ 41 h 41"/>
                <a:gd name="T30" fmla="*/ 1 w 39"/>
                <a:gd name="T31" fmla="*/ 41 h 41"/>
                <a:gd name="T32" fmla="*/ 4 w 39"/>
                <a:gd name="T33" fmla="*/ 39 h 41"/>
                <a:gd name="T34" fmla="*/ 10 w 39"/>
                <a:gd name="T35" fmla="*/ 35 h 41"/>
                <a:gd name="T36" fmla="*/ 22 w 39"/>
                <a:gd name="T37" fmla="*/ 26 h 41"/>
                <a:gd name="T38" fmla="*/ 22 w 39"/>
                <a:gd name="T39" fmla="*/ 26 h 41"/>
                <a:gd name="T40" fmla="*/ 32 w 39"/>
                <a:gd name="T41" fmla="*/ 20 h 41"/>
                <a:gd name="T42" fmla="*/ 36 w 39"/>
                <a:gd name="T43" fmla="*/ 17 h 41"/>
                <a:gd name="T44" fmla="*/ 39 w 39"/>
                <a:gd name="T45" fmla="*/ 15 h 41"/>
                <a:gd name="T46" fmla="*/ 39 w 39"/>
                <a:gd name="T47" fmla="*/ 15 h 41"/>
                <a:gd name="T48" fmla="*/ 39 w 39"/>
                <a:gd name="T49" fmla="*/ 4 h 41"/>
                <a:gd name="T50" fmla="*/ 37 w 39"/>
                <a:gd name="T51" fmla="*/ 1 h 41"/>
                <a:gd name="T52" fmla="*/ 36 w 39"/>
                <a:gd name="T53" fmla="*/ 0 h 41"/>
                <a:gd name="T54" fmla="*/ 35 w 39"/>
                <a:gd name="T55" fmla="*/ 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 h="41">
                  <a:moveTo>
                    <a:pt x="35" y="1"/>
                  </a:moveTo>
                  <a:lnTo>
                    <a:pt x="35" y="1"/>
                  </a:lnTo>
                  <a:lnTo>
                    <a:pt x="33" y="3"/>
                  </a:lnTo>
                  <a:lnTo>
                    <a:pt x="33" y="6"/>
                  </a:lnTo>
                  <a:lnTo>
                    <a:pt x="33" y="9"/>
                  </a:lnTo>
                  <a:lnTo>
                    <a:pt x="32" y="12"/>
                  </a:lnTo>
                  <a:lnTo>
                    <a:pt x="32" y="12"/>
                  </a:lnTo>
                  <a:lnTo>
                    <a:pt x="27" y="13"/>
                  </a:lnTo>
                  <a:lnTo>
                    <a:pt x="23" y="17"/>
                  </a:lnTo>
                  <a:lnTo>
                    <a:pt x="16" y="23"/>
                  </a:lnTo>
                  <a:lnTo>
                    <a:pt x="16" y="23"/>
                  </a:lnTo>
                  <a:lnTo>
                    <a:pt x="6" y="33"/>
                  </a:lnTo>
                  <a:lnTo>
                    <a:pt x="1" y="39"/>
                  </a:lnTo>
                  <a:lnTo>
                    <a:pt x="0" y="41"/>
                  </a:lnTo>
                  <a:lnTo>
                    <a:pt x="1" y="41"/>
                  </a:lnTo>
                  <a:lnTo>
                    <a:pt x="1" y="41"/>
                  </a:lnTo>
                  <a:lnTo>
                    <a:pt x="4" y="39"/>
                  </a:lnTo>
                  <a:lnTo>
                    <a:pt x="10" y="35"/>
                  </a:lnTo>
                  <a:lnTo>
                    <a:pt x="22" y="26"/>
                  </a:lnTo>
                  <a:lnTo>
                    <a:pt x="22" y="26"/>
                  </a:lnTo>
                  <a:lnTo>
                    <a:pt x="32" y="20"/>
                  </a:lnTo>
                  <a:lnTo>
                    <a:pt x="36" y="17"/>
                  </a:lnTo>
                  <a:lnTo>
                    <a:pt x="39" y="15"/>
                  </a:lnTo>
                  <a:lnTo>
                    <a:pt x="39" y="15"/>
                  </a:lnTo>
                  <a:lnTo>
                    <a:pt x="39" y="4"/>
                  </a:lnTo>
                  <a:lnTo>
                    <a:pt x="37" y="1"/>
                  </a:lnTo>
                  <a:lnTo>
                    <a:pt x="36" y="0"/>
                  </a:lnTo>
                  <a:lnTo>
                    <a:pt x="35"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33" name="Freeform 886"/>
            <p:cNvSpPr>
              <a:spLocks/>
            </p:cNvSpPr>
            <p:nvPr/>
          </p:nvSpPr>
          <p:spPr bwMode="auto">
            <a:xfrm>
              <a:off x="8116888" y="4840289"/>
              <a:ext cx="84138" cy="26988"/>
            </a:xfrm>
            <a:custGeom>
              <a:avLst/>
              <a:gdLst>
                <a:gd name="T0" fmla="*/ 0 w 53"/>
                <a:gd name="T1" fmla="*/ 14 h 17"/>
                <a:gd name="T2" fmla="*/ 0 w 53"/>
                <a:gd name="T3" fmla="*/ 14 h 17"/>
                <a:gd name="T4" fmla="*/ 5 w 53"/>
                <a:gd name="T5" fmla="*/ 16 h 17"/>
                <a:gd name="T6" fmla="*/ 16 w 53"/>
                <a:gd name="T7" fmla="*/ 17 h 17"/>
                <a:gd name="T8" fmla="*/ 27 w 53"/>
                <a:gd name="T9" fmla="*/ 17 h 17"/>
                <a:gd name="T10" fmla="*/ 34 w 53"/>
                <a:gd name="T11" fmla="*/ 17 h 17"/>
                <a:gd name="T12" fmla="*/ 34 w 53"/>
                <a:gd name="T13" fmla="*/ 17 h 17"/>
                <a:gd name="T14" fmla="*/ 46 w 53"/>
                <a:gd name="T15" fmla="*/ 12 h 17"/>
                <a:gd name="T16" fmla="*/ 52 w 53"/>
                <a:gd name="T17" fmla="*/ 7 h 17"/>
                <a:gd name="T18" fmla="*/ 53 w 53"/>
                <a:gd name="T19" fmla="*/ 6 h 17"/>
                <a:gd name="T20" fmla="*/ 53 w 53"/>
                <a:gd name="T21" fmla="*/ 4 h 17"/>
                <a:gd name="T22" fmla="*/ 53 w 53"/>
                <a:gd name="T23" fmla="*/ 4 h 17"/>
                <a:gd name="T24" fmla="*/ 50 w 53"/>
                <a:gd name="T25" fmla="*/ 1 h 17"/>
                <a:gd name="T26" fmla="*/ 47 w 53"/>
                <a:gd name="T27" fmla="*/ 0 h 17"/>
                <a:gd name="T28" fmla="*/ 43 w 53"/>
                <a:gd name="T29" fmla="*/ 0 h 17"/>
                <a:gd name="T30" fmla="*/ 42 w 53"/>
                <a:gd name="T31" fmla="*/ 0 h 17"/>
                <a:gd name="T32" fmla="*/ 42 w 53"/>
                <a:gd name="T33" fmla="*/ 0 h 17"/>
                <a:gd name="T34" fmla="*/ 34 w 53"/>
                <a:gd name="T35" fmla="*/ 6 h 17"/>
                <a:gd name="T36" fmla="*/ 29 w 53"/>
                <a:gd name="T37" fmla="*/ 9 h 17"/>
                <a:gd name="T38" fmla="*/ 26 w 53"/>
                <a:gd name="T39" fmla="*/ 10 h 17"/>
                <a:gd name="T40" fmla="*/ 26 w 53"/>
                <a:gd name="T41" fmla="*/ 10 h 17"/>
                <a:gd name="T42" fmla="*/ 24 w 53"/>
                <a:gd name="T43" fmla="*/ 9 h 17"/>
                <a:gd name="T44" fmla="*/ 23 w 53"/>
                <a:gd name="T45" fmla="*/ 7 h 17"/>
                <a:gd name="T46" fmla="*/ 23 w 53"/>
                <a:gd name="T47" fmla="*/ 7 h 17"/>
                <a:gd name="T48" fmla="*/ 21 w 53"/>
                <a:gd name="T49" fmla="*/ 7 h 17"/>
                <a:gd name="T50" fmla="*/ 21 w 53"/>
                <a:gd name="T51" fmla="*/ 7 h 17"/>
                <a:gd name="T52" fmla="*/ 8 w 53"/>
                <a:gd name="T53" fmla="*/ 10 h 17"/>
                <a:gd name="T54" fmla="*/ 2 w 53"/>
                <a:gd name="T55" fmla="*/ 12 h 17"/>
                <a:gd name="T56" fmla="*/ 0 w 53"/>
                <a:gd name="T57" fmla="*/ 13 h 17"/>
                <a:gd name="T58" fmla="*/ 0 w 53"/>
                <a:gd name="T59"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17">
                  <a:moveTo>
                    <a:pt x="0" y="14"/>
                  </a:moveTo>
                  <a:lnTo>
                    <a:pt x="0" y="14"/>
                  </a:lnTo>
                  <a:lnTo>
                    <a:pt x="5" y="16"/>
                  </a:lnTo>
                  <a:lnTo>
                    <a:pt x="16" y="17"/>
                  </a:lnTo>
                  <a:lnTo>
                    <a:pt x="27" y="17"/>
                  </a:lnTo>
                  <a:lnTo>
                    <a:pt x="34" y="17"/>
                  </a:lnTo>
                  <a:lnTo>
                    <a:pt x="34" y="17"/>
                  </a:lnTo>
                  <a:lnTo>
                    <a:pt x="46" y="12"/>
                  </a:lnTo>
                  <a:lnTo>
                    <a:pt x="52" y="7"/>
                  </a:lnTo>
                  <a:lnTo>
                    <a:pt x="53" y="6"/>
                  </a:lnTo>
                  <a:lnTo>
                    <a:pt x="53" y="4"/>
                  </a:lnTo>
                  <a:lnTo>
                    <a:pt x="53" y="4"/>
                  </a:lnTo>
                  <a:lnTo>
                    <a:pt x="50" y="1"/>
                  </a:lnTo>
                  <a:lnTo>
                    <a:pt x="47" y="0"/>
                  </a:lnTo>
                  <a:lnTo>
                    <a:pt x="43" y="0"/>
                  </a:lnTo>
                  <a:lnTo>
                    <a:pt x="42" y="0"/>
                  </a:lnTo>
                  <a:lnTo>
                    <a:pt x="42" y="0"/>
                  </a:lnTo>
                  <a:lnTo>
                    <a:pt x="34" y="6"/>
                  </a:lnTo>
                  <a:lnTo>
                    <a:pt x="29" y="9"/>
                  </a:lnTo>
                  <a:lnTo>
                    <a:pt x="26" y="10"/>
                  </a:lnTo>
                  <a:lnTo>
                    <a:pt x="26" y="10"/>
                  </a:lnTo>
                  <a:lnTo>
                    <a:pt x="24" y="9"/>
                  </a:lnTo>
                  <a:lnTo>
                    <a:pt x="23" y="7"/>
                  </a:lnTo>
                  <a:lnTo>
                    <a:pt x="23" y="7"/>
                  </a:lnTo>
                  <a:lnTo>
                    <a:pt x="21" y="7"/>
                  </a:lnTo>
                  <a:lnTo>
                    <a:pt x="21" y="7"/>
                  </a:lnTo>
                  <a:lnTo>
                    <a:pt x="8" y="10"/>
                  </a:lnTo>
                  <a:lnTo>
                    <a:pt x="2" y="12"/>
                  </a:lnTo>
                  <a:lnTo>
                    <a:pt x="0" y="13"/>
                  </a:lnTo>
                  <a:lnTo>
                    <a:pt x="0" y="14"/>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34" name="Freeform 887"/>
            <p:cNvSpPr>
              <a:spLocks/>
            </p:cNvSpPr>
            <p:nvPr/>
          </p:nvSpPr>
          <p:spPr bwMode="auto">
            <a:xfrm>
              <a:off x="8116888" y="4840289"/>
              <a:ext cx="84138" cy="26988"/>
            </a:xfrm>
            <a:custGeom>
              <a:avLst/>
              <a:gdLst>
                <a:gd name="T0" fmla="*/ 0 w 53"/>
                <a:gd name="T1" fmla="*/ 14 h 17"/>
                <a:gd name="T2" fmla="*/ 0 w 53"/>
                <a:gd name="T3" fmla="*/ 14 h 17"/>
                <a:gd name="T4" fmla="*/ 5 w 53"/>
                <a:gd name="T5" fmla="*/ 16 h 17"/>
                <a:gd name="T6" fmla="*/ 16 w 53"/>
                <a:gd name="T7" fmla="*/ 17 h 17"/>
                <a:gd name="T8" fmla="*/ 27 w 53"/>
                <a:gd name="T9" fmla="*/ 17 h 17"/>
                <a:gd name="T10" fmla="*/ 34 w 53"/>
                <a:gd name="T11" fmla="*/ 17 h 17"/>
                <a:gd name="T12" fmla="*/ 34 w 53"/>
                <a:gd name="T13" fmla="*/ 17 h 17"/>
                <a:gd name="T14" fmla="*/ 46 w 53"/>
                <a:gd name="T15" fmla="*/ 12 h 17"/>
                <a:gd name="T16" fmla="*/ 52 w 53"/>
                <a:gd name="T17" fmla="*/ 7 h 17"/>
                <a:gd name="T18" fmla="*/ 53 w 53"/>
                <a:gd name="T19" fmla="*/ 6 h 17"/>
                <a:gd name="T20" fmla="*/ 53 w 53"/>
                <a:gd name="T21" fmla="*/ 4 h 17"/>
                <a:gd name="T22" fmla="*/ 53 w 53"/>
                <a:gd name="T23" fmla="*/ 4 h 17"/>
                <a:gd name="T24" fmla="*/ 50 w 53"/>
                <a:gd name="T25" fmla="*/ 1 h 17"/>
                <a:gd name="T26" fmla="*/ 47 w 53"/>
                <a:gd name="T27" fmla="*/ 0 h 17"/>
                <a:gd name="T28" fmla="*/ 43 w 53"/>
                <a:gd name="T29" fmla="*/ 0 h 17"/>
                <a:gd name="T30" fmla="*/ 42 w 53"/>
                <a:gd name="T31" fmla="*/ 0 h 17"/>
                <a:gd name="T32" fmla="*/ 42 w 53"/>
                <a:gd name="T33" fmla="*/ 0 h 17"/>
                <a:gd name="T34" fmla="*/ 34 w 53"/>
                <a:gd name="T35" fmla="*/ 6 h 17"/>
                <a:gd name="T36" fmla="*/ 29 w 53"/>
                <a:gd name="T37" fmla="*/ 9 h 17"/>
                <a:gd name="T38" fmla="*/ 26 w 53"/>
                <a:gd name="T39" fmla="*/ 10 h 17"/>
                <a:gd name="T40" fmla="*/ 26 w 53"/>
                <a:gd name="T41" fmla="*/ 10 h 17"/>
                <a:gd name="T42" fmla="*/ 24 w 53"/>
                <a:gd name="T43" fmla="*/ 9 h 17"/>
                <a:gd name="T44" fmla="*/ 23 w 53"/>
                <a:gd name="T45" fmla="*/ 7 h 17"/>
                <a:gd name="T46" fmla="*/ 23 w 53"/>
                <a:gd name="T47" fmla="*/ 7 h 17"/>
                <a:gd name="T48" fmla="*/ 21 w 53"/>
                <a:gd name="T49" fmla="*/ 7 h 17"/>
                <a:gd name="T50" fmla="*/ 21 w 53"/>
                <a:gd name="T51" fmla="*/ 7 h 17"/>
                <a:gd name="T52" fmla="*/ 8 w 53"/>
                <a:gd name="T53" fmla="*/ 10 h 17"/>
                <a:gd name="T54" fmla="*/ 2 w 53"/>
                <a:gd name="T55" fmla="*/ 12 h 17"/>
                <a:gd name="T56" fmla="*/ 0 w 53"/>
                <a:gd name="T57" fmla="*/ 13 h 17"/>
                <a:gd name="T58" fmla="*/ 0 w 53"/>
                <a:gd name="T59"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17">
                  <a:moveTo>
                    <a:pt x="0" y="14"/>
                  </a:moveTo>
                  <a:lnTo>
                    <a:pt x="0" y="14"/>
                  </a:lnTo>
                  <a:lnTo>
                    <a:pt x="5" y="16"/>
                  </a:lnTo>
                  <a:lnTo>
                    <a:pt x="16" y="17"/>
                  </a:lnTo>
                  <a:lnTo>
                    <a:pt x="27" y="17"/>
                  </a:lnTo>
                  <a:lnTo>
                    <a:pt x="34" y="17"/>
                  </a:lnTo>
                  <a:lnTo>
                    <a:pt x="34" y="17"/>
                  </a:lnTo>
                  <a:lnTo>
                    <a:pt x="46" y="12"/>
                  </a:lnTo>
                  <a:lnTo>
                    <a:pt x="52" y="7"/>
                  </a:lnTo>
                  <a:lnTo>
                    <a:pt x="53" y="6"/>
                  </a:lnTo>
                  <a:lnTo>
                    <a:pt x="53" y="4"/>
                  </a:lnTo>
                  <a:lnTo>
                    <a:pt x="53" y="4"/>
                  </a:lnTo>
                  <a:lnTo>
                    <a:pt x="50" y="1"/>
                  </a:lnTo>
                  <a:lnTo>
                    <a:pt x="47" y="0"/>
                  </a:lnTo>
                  <a:lnTo>
                    <a:pt x="43" y="0"/>
                  </a:lnTo>
                  <a:lnTo>
                    <a:pt x="42" y="0"/>
                  </a:lnTo>
                  <a:lnTo>
                    <a:pt x="42" y="0"/>
                  </a:lnTo>
                  <a:lnTo>
                    <a:pt x="34" y="6"/>
                  </a:lnTo>
                  <a:lnTo>
                    <a:pt x="29" y="9"/>
                  </a:lnTo>
                  <a:lnTo>
                    <a:pt x="26" y="10"/>
                  </a:lnTo>
                  <a:lnTo>
                    <a:pt x="26" y="10"/>
                  </a:lnTo>
                  <a:lnTo>
                    <a:pt x="24" y="9"/>
                  </a:lnTo>
                  <a:lnTo>
                    <a:pt x="23" y="7"/>
                  </a:lnTo>
                  <a:lnTo>
                    <a:pt x="23" y="7"/>
                  </a:lnTo>
                  <a:lnTo>
                    <a:pt x="21" y="7"/>
                  </a:lnTo>
                  <a:lnTo>
                    <a:pt x="21" y="7"/>
                  </a:lnTo>
                  <a:lnTo>
                    <a:pt x="8" y="10"/>
                  </a:lnTo>
                  <a:lnTo>
                    <a:pt x="2" y="12"/>
                  </a:lnTo>
                  <a:lnTo>
                    <a:pt x="0" y="13"/>
                  </a:lnTo>
                  <a:lnTo>
                    <a:pt x="0"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35" name="Freeform 888"/>
            <p:cNvSpPr>
              <a:spLocks/>
            </p:cNvSpPr>
            <p:nvPr/>
          </p:nvSpPr>
          <p:spPr bwMode="auto">
            <a:xfrm>
              <a:off x="8275638" y="4860926"/>
              <a:ext cx="23813" cy="26988"/>
            </a:xfrm>
            <a:custGeom>
              <a:avLst/>
              <a:gdLst>
                <a:gd name="T0" fmla="*/ 8 w 15"/>
                <a:gd name="T1" fmla="*/ 17 h 17"/>
                <a:gd name="T2" fmla="*/ 8 w 15"/>
                <a:gd name="T3" fmla="*/ 17 h 17"/>
                <a:gd name="T4" fmla="*/ 4 w 15"/>
                <a:gd name="T5" fmla="*/ 13 h 17"/>
                <a:gd name="T6" fmla="*/ 1 w 15"/>
                <a:gd name="T7" fmla="*/ 7 h 17"/>
                <a:gd name="T8" fmla="*/ 0 w 15"/>
                <a:gd name="T9" fmla="*/ 1 h 17"/>
                <a:gd name="T10" fmla="*/ 0 w 15"/>
                <a:gd name="T11" fmla="*/ 0 h 17"/>
                <a:gd name="T12" fmla="*/ 2 w 15"/>
                <a:gd name="T13" fmla="*/ 0 h 17"/>
                <a:gd name="T14" fmla="*/ 2 w 15"/>
                <a:gd name="T15" fmla="*/ 0 h 17"/>
                <a:gd name="T16" fmla="*/ 8 w 15"/>
                <a:gd name="T17" fmla="*/ 4 h 17"/>
                <a:gd name="T18" fmla="*/ 14 w 15"/>
                <a:gd name="T19" fmla="*/ 10 h 17"/>
                <a:gd name="T20" fmla="*/ 15 w 15"/>
                <a:gd name="T21" fmla="*/ 13 h 17"/>
                <a:gd name="T22" fmla="*/ 15 w 15"/>
                <a:gd name="T23" fmla="*/ 16 h 17"/>
                <a:gd name="T24" fmla="*/ 14 w 15"/>
                <a:gd name="T25" fmla="*/ 17 h 17"/>
                <a:gd name="T26" fmla="*/ 8 w 15"/>
                <a:gd name="T2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7">
                  <a:moveTo>
                    <a:pt x="8" y="17"/>
                  </a:moveTo>
                  <a:lnTo>
                    <a:pt x="8" y="17"/>
                  </a:lnTo>
                  <a:lnTo>
                    <a:pt x="4" y="13"/>
                  </a:lnTo>
                  <a:lnTo>
                    <a:pt x="1" y="7"/>
                  </a:lnTo>
                  <a:lnTo>
                    <a:pt x="0" y="1"/>
                  </a:lnTo>
                  <a:lnTo>
                    <a:pt x="0" y="0"/>
                  </a:lnTo>
                  <a:lnTo>
                    <a:pt x="2" y="0"/>
                  </a:lnTo>
                  <a:lnTo>
                    <a:pt x="2" y="0"/>
                  </a:lnTo>
                  <a:lnTo>
                    <a:pt x="8" y="4"/>
                  </a:lnTo>
                  <a:lnTo>
                    <a:pt x="14" y="10"/>
                  </a:lnTo>
                  <a:lnTo>
                    <a:pt x="15" y="13"/>
                  </a:lnTo>
                  <a:lnTo>
                    <a:pt x="15" y="16"/>
                  </a:lnTo>
                  <a:lnTo>
                    <a:pt x="14" y="17"/>
                  </a:lnTo>
                  <a:lnTo>
                    <a:pt x="8" y="17"/>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36" name="Freeform 889"/>
            <p:cNvSpPr>
              <a:spLocks/>
            </p:cNvSpPr>
            <p:nvPr/>
          </p:nvSpPr>
          <p:spPr bwMode="auto">
            <a:xfrm>
              <a:off x="8275638" y="4860926"/>
              <a:ext cx="23813" cy="26988"/>
            </a:xfrm>
            <a:custGeom>
              <a:avLst/>
              <a:gdLst>
                <a:gd name="T0" fmla="*/ 8 w 15"/>
                <a:gd name="T1" fmla="*/ 17 h 17"/>
                <a:gd name="T2" fmla="*/ 8 w 15"/>
                <a:gd name="T3" fmla="*/ 17 h 17"/>
                <a:gd name="T4" fmla="*/ 4 w 15"/>
                <a:gd name="T5" fmla="*/ 13 h 17"/>
                <a:gd name="T6" fmla="*/ 1 w 15"/>
                <a:gd name="T7" fmla="*/ 7 h 17"/>
                <a:gd name="T8" fmla="*/ 0 w 15"/>
                <a:gd name="T9" fmla="*/ 1 h 17"/>
                <a:gd name="T10" fmla="*/ 0 w 15"/>
                <a:gd name="T11" fmla="*/ 0 h 17"/>
                <a:gd name="T12" fmla="*/ 2 w 15"/>
                <a:gd name="T13" fmla="*/ 0 h 17"/>
                <a:gd name="T14" fmla="*/ 2 w 15"/>
                <a:gd name="T15" fmla="*/ 0 h 17"/>
                <a:gd name="T16" fmla="*/ 8 w 15"/>
                <a:gd name="T17" fmla="*/ 4 h 17"/>
                <a:gd name="T18" fmla="*/ 14 w 15"/>
                <a:gd name="T19" fmla="*/ 10 h 17"/>
                <a:gd name="T20" fmla="*/ 15 w 15"/>
                <a:gd name="T21" fmla="*/ 13 h 17"/>
                <a:gd name="T22" fmla="*/ 15 w 15"/>
                <a:gd name="T23" fmla="*/ 16 h 17"/>
                <a:gd name="T24" fmla="*/ 14 w 15"/>
                <a:gd name="T25" fmla="*/ 17 h 17"/>
                <a:gd name="T26" fmla="*/ 8 w 15"/>
                <a:gd name="T2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7">
                  <a:moveTo>
                    <a:pt x="8" y="17"/>
                  </a:moveTo>
                  <a:lnTo>
                    <a:pt x="8" y="17"/>
                  </a:lnTo>
                  <a:lnTo>
                    <a:pt x="4" y="13"/>
                  </a:lnTo>
                  <a:lnTo>
                    <a:pt x="1" y="7"/>
                  </a:lnTo>
                  <a:lnTo>
                    <a:pt x="0" y="1"/>
                  </a:lnTo>
                  <a:lnTo>
                    <a:pt x="0" y="0"/>
                  </a:lnTo>
                  <a:lnTo>
                    <a:pt x="2" y="0"/>
                  </a:lnTo>
                  <a:lnTo>
                    <a:pt x="2" y="0"/>
                  </a:lnTo>
                  <a:lnTo>
                    <a:pt x="8" y="4"/>
                  </a:lnTo>
                  <a:lnTo>
                    <a:pt x="14" y="10"/>
                  </a:lnTo>
                  <a:lnTo>
                    <a:pt x="15" y="13"/>
                  </a:lnTo>
                  <a:lnTo>
                    <a:pt x="15" y="16"/>
                  </a:lnTo>
                  <a:lnTo>
                    <a:pt x="14" y="17"/>
                  </a:lnTo>
                  <a:lnTo>
                    <a:pt x="8"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37" name="Freeform 890"/>
            <p:cNvSpPr>
              <a:spLocks/>
            </p:cNvSpPr>
            <p:nvPr/>
          </p:nvSpPr>
          <p:spPr bwMode="auto">
            <a:xfrm>
              <a:off x="8194675" y="4821239"/>
              <a:ext cx="15875" cy="15875"/>
            </a:xfrm>
            <a:custGeom>
              <a:avLst/>
              <a:gdLst>
                <a:gd name="T0" fmla="*/ 6 w 10"/>
                <a:gd name="T1" fmla="*/ 9 h 10"/>
                <a:gd name="T2" fmla="*/ 6 w 10"/>
                <a:gd name="T3" fmla="*/ 9 h 10"/>
                <a:gd name="T4" fmla="*/ 1 w 10"/>
                <a:gd name="T5" fmla="*/ 5 h 10"/>
                <a:gd name="T6" fmla="*/ 0 w 10"/>
                <a:gd name="T7" fmla="*/ 2 h 10"/>
                <a:gd name="T8" fmla="*/ 0 w 10"/>
                <a:gd name="T9" fmla="*/ 0 h 10"/>
                <a:gd name="T10" fmla="*/ 0 w 10"/>
                <a:gd name="T11" fmla="*/ 0 h 10"/>
                <a:gd name="T12" fmla="*/ 6 w 10"/>
                <a:gd name="T13" fmla="*/ 0 h 10"/>
                <a:gd name="T14" fmla="*/ 9 w 10"/>
                <a:gd name="T15" fmla="*/ 0 h 10"/>
                <a:gd name="T16" fmla="*/ 10 w 10"/>
                <a:gd name="T17" fmla="*/ 2 h 10"/>
                <a:gd name="T18" fmla="*/ 10 w 10"/>
                <a:gd name="T19" fmla="*/ 2 h 10"/>
                <a:gd name="T20" fmla="*/ 10 w 10"/>
                <a:gd name="T21" fmla="*/ 8 h 10"/>
                <a:gd name="T22" fmla="*/ 9 w 10"/>
                <a:gd name="T23" fmla="*/ 10 h 10"/>
                <a:gd name="T24" fmla="*/ 7 w 10"/>
                <a:gd name="T25" fmla="*/ 10 h 10"/>
                <a:gd name="T26" fmla="*/ 6 w 10"/>
                <a:gd name="T2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10">
                  <a:moveTo>
                    <a:pt x="6" y="9"/>
                  </a:moveTo>
                  <a:lnTo>
                    <a:pt x="6" y="9"/>
                  </a:lnTo>
                  <a:lnTo>
                    <a:pt x="1" y="5"/>
                  </a:lnTo>
                  <a:lnTo>
                    <a:pt x="0" y="2"/>
                  </a:lnTo>
                  <a:lnTo>
                    <a:pt x="0" y="0"/>
                  </a:lnTo>
                  <a:lnTo>
                    <a:pt x="0" y="0"/>
                  </a:lnTo>
                  <a:lnTo>
                    <a:pt x="6" y="0"/>
                  </a:lnTo>
                  <a:lnTo>
                    <a:pt x="9" y="0"/>
                  </a:lnTo>
                  <a:lnTo>
                    <a:pt x="10" y="2"/>
                  </a:lnTo>
                  <a:lnTo>
                    <a:pt x="10" y="2"/>
                  </a:lnTo>
                  <a:lnTo>
                    <a:pt x="10" y="8"/>
                  </a:lnTo>
                  <a:lnTo>
                    <a:pt x="9" y="10"/>
                  </a:lnTo>
                  <a:lnTo>
                    <a:pt x="7" y="10"/>
                  </a:lnTo>
                  <a:lnTo>
                    <a:pt x="6" y="9"/>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38" name="Freeform 891"/>
            <p:cNvSpPr>
              <a:spLocks/>
            </p:cNvSpPr>
            <p:nvPr/>
          </p:nvSpPr>
          <p:spPr bwMode="auto">
            <a:xfrm>
              <a:off x="8194675" y="4821239"/>
              <a:ext cx="15875" cy="15875"/>
            </a:xfrm>
            <a:custGeom>
              <a:avLst/>
              <a:gdLst>
                <a:gd name="T0" fmla="*/ 6 w 10"/>
                <a:gd name="T1" fmla="*/ 9 h 10"/>
                <a:gd name="T2" fmla="*/ 6 w 10"/>
                <a:gd name="T3" fmla="*/ 9 h 10"/>
                <a:gd name="T4" fmla="*/ 1 w 10"/>
                <a:gd name="T5" fmla="*/ 5 h 10"/>
                <a:gd name="T6" fmla="*/ 0 w 10"/>
                <a:gd name="T7" fmla="*/ 2 h 10"/>
                <a:gd name="T8" fmla="*/ 0 w 10"/>
                <a:gd name="T9" fmla="*/ 0 h 10"/>
                <a:gd name="T10" fmla="*/ 0 w 10"/>
                <a:gd name="T11" fmla="*/ 0 h 10"/>
                <a:gd name="T12" fmla="*/ 6 w 10"/>
                <a:gd name="T13" fmla="*/ 0 h 10"/>
                <a:gd name="T14" fmla="*/ 9 w 10"/>
                <a:gd name="T15" fmla="*/ 0 h 10"/>
                <a:gd name="T16" fmla="*/ 10 w 10"/>
                <a:gd name="T17" fmla="*/ 2 h 10"/>
                <a:gd name="T18" fmla="*/ 10 w 10"/>
                <a:gd name="T19" fmla="*/ 2 h 10"/>
                <a:gd name="T20" fmla="*/ 10 w 10"/>
                <a:gd name="T21" fmla="*/ 8 h 10"/>
                <a:gd name="T22" fmla="*/ 9 w 10"/>
                <a:gd name="T23" fmla="*/ 10 h 10"/>
                <a:gd name="T24" fmla="*/ 7 w 10"/>
                <a:gd name="T25" fmla="*/ 10 h 10"/>
                <a:gd name="T26" fmla="*/ 6 w 10"/>
                <a:gd name="T2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10">
                  <a:moveTo>
                    <a:pt x="6" y="9"/>
                  </a:moveTo>
                  <a:lnTo>
                    <a:pt x="6" y="9"/>
                  </a:lnTo>
                  <a:lnTo>
                    <a:pt x="1" y="5"/>
                  </a:lnTo>
                  <a:lnTo>
                    <a:pt x="0" y="2"/>
                  </a:lnTo>
                  <a:lnTo>
                    <a:pt x="0" y="0"/>
                  </a:lnTo>
                  <a:lnTo>
                    <a:pt x="0" y="0"/>
                  </a:lnTo>
                  <a:lnTo>
                    <a:pt x="6" y="0"/>
                  </a:lnTo>
                  <a:lnTo>
                    <a:pt x="9" y="0"/>
                  </a:lnTo>
                  <a:lnTo>
                    <a:pt x="10" y="2"/>
                  </a:lnTo>
                  <a:lnTo>
                    <a:pt x="10" y="2"/>
                  </a:lnTo>
                  <a:lnTo>
                    <a:pt x="10" y="8"/>
                  </a:lnTo>
                  <a:lnTo>
                    <a:pt x="9" y="10"/>
                  </a:lnTo>
                  <a:lnTo>
                    <a:pt x="7" y="10"/>
                  </a:lnTo>
                  <a:lnTo>
                    <a:pt x="6"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39" name="Freeform 892"/>
            <p:cNvSpPr>
              <a:spLocks/>
            </p:cNvSpPr>
            <p:nvPr/>
          </p:nvSpPr>
          <p:spPr bwMode="auto">
            <a:xfrm>
              <a:off x="7999413" y="5838826"/>
              <a:ext cx="93663" cy="98425"/>
            </a:xfrm>
            <a:custGeom>
              <a:avLst/>
              <a:gdLst>
                <a:gd name="T0" fmla="*/ 32 w 59"/>
                <a:gd name="T1" fmla="*/ 62 h 62"/>
                <a:gd name="T2" fmla="*/ 32 w 59"/>
                <a:gd name="T3" fmla="*/ 62 h 62"/>
                <a:gd name="T4" fmla="*/ 26 w 59"/>
                <a:gd name="T5" fmla="*/ 60 h 62"/>
                <a:gd name="T6" fmla="*/ 19 w 59"/>
                <a:gd name="T7" fmla="*/ 56 h 62"/>
                <a:gd name="T8" fmla="*/ 14 w 59"/>
                <a:gd name="T9" fmla="*/ 50 h 62"/>
                <a:gd name="T10" fmla="*/ 13 w 59"/>
                <a:gd name="T11" fmla="*/ 46 h 62"/>
                <a:gd name="T12" fmla="*/ 13 w 59"/>
                <a:gd name="T13" fmla="*/ 43 h 62"/>
                <a:gd name="T14" fmla="*/ 13 w 59"/>
                <a:gd name="T15" fmla="*/ 43 h 62"/>
                <a:gd name="T16" fmla="*/ 13 w 59"/>
                <a:gd name="T17" fmla="*/ 34 h 62"/>
                <a:gd name="T18" fmla="*/ 10 w 59"/>
                <a:gd name="T19" fmla="*/ 29 h 62"/>
                <a:gd name="T20" fmla="*/ 10 w 59"/>
                <a:gd name="T21" fmla="*/ 29 h 62"/>
                <a:gd name="T22" fmla="*/ 4 w 59"/>
                <a:gd name="T23" fmla="*/ 14 h 62"/>
                <a:gd name="T24" fmla="*/ 0 w 59"/>
                <a:gd name="T25" fmla="*/ 2 h 62"/>
                <a:gd name="T26" fmla="*/ 0 w 59"/>
                <a:gd name="T27" fmla="*/ 2 h 62"/>
                <a:gd name="T28" fmla="*/ 0 w 59"/>
                <a:gd name="T29" fmla="*/ 1 h 62"/>
                <a:gd name="T30" fmla="*/ 3 w 59"/>
                <a:gd name="T31" fmla="*/ 0 h 62"/>
                <a:gd name="T32" fmla="*/ 7 w 59"/>
                <a:gd name="T33" fmla="*/ 0 h 62"/>
                <a:gd name="T34" fmla="*/ 11 w 59"/>
                <a:gd name="T35" fmla="*/ 1 h 62"/>
                <a:gd name="T36" fmla="*/ 11 w 59"/>
                <a:gd name="T37" fmla="*/ 1 h 62"/>
                <a:gd name="T38" fmla="*/ 24 w 59"/>
                <a:gd name="T39" fmla="*/ 5 h 62"/>
                <a:gd name="T40" fmla="*/ 30 w 59"/>
                <a:gd name="T41" fmla="*/ 7 h 62"/>
                <a:gd name="T42" fmla="*/ 34 w 59"/>
                <a:gd name="T43" fmla="*/ 7 h 62"/>
                <a:gd name="T44" fmla="*/ 34 w 59"/>
                <a:gd name="T45" fmla="*/ 7 h 62"/>
                <a:gd name="T46" fmla="*/ 46 w 59"/>
                <a:gd name="T47" fmla="*/ 4 h 62"/>
                <a:gd name="T48" fmla="*/ 53 w 59"/>
                <a:gd name="T49" fmla="*/ 2 h 62"/>
                <a:gd name="T50" fmla="*/ 55 w 59"/>
                <a:gd name="T51" fmla="*/ 4 h 62"/>
                <a:gd name="T52" fmla="*/ 56 w 59"/>
                <a:gd name="T53" fmla="*/ 4 h 62"/>
                <a:gd name="T54" fmla="*/ 56 w 59"/>
                <a:gd name="T55" fmla="*/ 4 h 62"/>
                <a:gd name="T56" fmla="*/ 58 w 59"/>
                <a:gd name="T57" fmla="*/ 7 h 62"/>
                <a:gd name="T58" fmla="*/ 58 w 59"/>
                <a:gd name="T59" fmla="*/ 8 h 62"/>
                <a:gd name="T60" fmla="*/ 58 w 59"/>
                <a:gd name="T61" fmla="*/ 10 h 62"/>
                <a:gd name="T62" fmla="*/ 58 w 59"/>
                <a:gd name="T63" fmla="*/ 13 h 62"/>
                <a:gd name="T64" fmla="*/ 58 w 59"/>
                <a:gd name="T65" fmla="*/ 13 h 62"/>
                <a:gd name="T66" fmla="*/ 59 w 59"/>
                <a:gd name="T67" fmla="*/ 18 h 62"/>
                <a:gd name="T68" fmla="*/ 59 w 59"/>
                <a:gd name="T69" fmla="*/ 24 h 62"/>
                <a:gd name="T70" fmla="*/ 59 w 59"/>
                <a:gd name="T71" fmla="*/ 30 h 62"/>
                <a:gd name="T72" fmla="*/ 58 w 59"/>
                <a:gd name="T73" fmla="*/ 34 h 62"/>
                <a:gd name="T74" fmla="*/ 58 w 59"/>
                <a:gd name="T75" fmla="*/ 34 h 62"/>
                <a:gd name="T76" fmla="*/ 53 w 59"/>
                <a:gd name="T77" fmla="*/ 42 h 62"/>
                <a:gd name="T78" fmla="*/ 50 w 59"/>
                <a:gd name="T79" fmla="*/ 47 h 62"/>
                <a:gd name="T80" fmla="*/ 50 w 59"/>
                <a:gd name="T81" fmla="*/ 47 h 62"/>
                <a:gd name="T82" fmla="*/ 52 w 59"/>
                <a:gd name="T83" fmla="*/ 52 h 62"/>
                <a:gd name="T84" fmla="*/ 50 w 59"/>
                <a:gd name="T85" fmla="*/ 55 h 62"/>
                <a:gd name="T86" fmla="*/ 49 w 59"/>
                <a:gd name="T87" fmla="*/ 55 h 62"/>
                <a:gd name="T88" fmla="*/ 49 w 59"/>
                <a:gd name="T89" fmla="*/ 55 h 62"/>
                <a:gd name="T90" fmla="*/ 46 w 59"/>
                <a:gd name="T91" fmla="*/ 50 h 62"/>
                <a:gd name="T92" fmla="*/ 45 w 59"/>
                <a:gd name="T93" fmla="*/ 49 h 62"/>
                <a:gd name="T94" fmla="*/ 43 w 59"/>
                <a:gd name="T95" fmla="*/ 49 h 62"/>
                <a:gd name="T96" fmla="*/ 43 w 59"/>
                <a:gd name="T97" fmla="*/ 49 h 62"/>
                <a:gd name="T98" fmla="*/ 39 w 59"/>
                <a:gd name="T99" fmla="*/ 58 h 62"/>
                <a:gd name="T100" fmla="*/ 36 w 59"/>
                <a:gd name="T101" fmla="*/ 60 h 62"/>
                <a:gd name="T102" fmla="*/ 33 w 59"/>
                <a:gd name="T103" fmla="*/ 62 h 62"/>
                <a:gd name="T104" fmla="*/ 32 w 59"/>
                <a:gd name="T105"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9" h="62">
                  <a:moveTo>
                    <a:pt x="32" y="62"/>
                  </a:moveTo>
                  <a:lnTo>
                    <a:pt x="32" y="62"/>
                  </a:lnTo>
                  <a:lnTo>
                    <a:pt x="26" y="60"/>
                  </a:lnTo>
                  <a:lnTo>
                    <a:pt x="19" y="56"/>
                  </a:lnTo>
                  <a:lnTo>
                    <a:pt x="14" y="50"/>
                  </a:lnTo>
                  <a:lnTo>
                    <a:pt x="13" y="46"/>
                  </a:lnTo>
                  <a:lnTo>
                    <a:pt x="13" y="43"/>
                  </a:lnTo>
                  <a:lnTo>
                    <a:pt x="13" y="43"/>
                  </a:lnTo>
                  <a:lnTo>
                    <a:pt x="13" y="34"/>
                  </a:lnTo>
                  <a:lnTo>
                    <a:pt x="10" y="29"/>
                  </a:lnTo>
                  <a:lnTo>
                    <a:pt x="10" y="29"/>
                  </a:lnTo>
                  <a:lnTo>
                    <a:pt x="4" y="14"/>
                  </a:lnTo>
                  <a:lnTo>
                    <a:pt x="0" y="2"/>
                  </a:lnTo>
                  <a:lnTo>
                    <a:pt x="0" y="2"/>
                  </a:lnTo>
                  <a:lnTo>
                    <a:pt x="0" y="1"/>
                  </a:lnTo>
                  <a:lnTo>
                    <a:pt x="3" y="0"/>
                  </a:lnTo>
                  <a:lnTo>
                    <a:pt x="7" y="0"/>
                  </a:lnTo>
                  <a:lnTo>
                    <a:pt x="11" y="1"/>
                  </a:lnTo>
                  <a:lnTo>
                    <a:pt x="11" y="1"/>
                  </a:lnTo>
                  <a:lnTo>
                    <a:pt x="24" y="5"/>
                  </a:lnTo>
                  <a:lnTo>
                    <a:pt x="30" y="7"/>
                  </a:lnTo>
                  <a:lnTo>
                    <a:pt x="34" y="7"/>
                  </a:lnTo>
                  <a:lnTo>
                    <a:pt x="34" y="7"/>
                  </a:lnTo>
                  <a:lnTo>
                    <a:pt x="46" y="4"/>
                  </a:lnTo>
                  <a:lnTo>
                    <a:pt x="53" y="2"/>
                  </a:lnTo>
                  <a:lnTo>
                    <a:pt x="55" y="4"/>
                  </a:lnTo>
                  <a:lnTo>
                    <a:pt x="56" y="4"/>
                  </a:lnTo>
                  <a:lnTo>
                    <a:pt x="56" y="4"/>
                  </a:lnTo>
                  <a:lnTo>
                    <a:pt x="58" y="7"/>
                  </a:lnTo>
                  <a:lnTo>
                    <a:pt x="58" y="8"/>
                  </a:lnTo>
                  <a:lnTo>
                    <a:pt x="58" y="10"/>
                  </a:lnTo>
                  <a:lnTo>
                    <a:pt x="58" y="13"/>
                  </a:lnTo>
                  <a:lnTo>
                    <a:pt x="58" y="13"/>
                  </a:lnTo>
                  <a:lnTo>
                    <a:pt x="59" y="18"/>
                  </a:lnTo>
                  <a:lnTo>
                    <a:pt x="59" y="24"/>
                  </a:lnTo>
                  <a:lnTo>
                    <a:pt x="59" y="30"/>
                  </a:lnTo>
                  <a:lnTo>
                    <a:pt x="58" y="34"/>
                  </a:lnTo>
                  <a:lnTo>
                    <a:pt x="58" y="34"/>
                  </a:lnTo>
                  <a:lnTo>
                    <a:pt x="53" y="42"/>
                  </a:lnTo>
                  <a:lnTo>
                    <a:pt x="50" y="47"/>
                  </a:lnTo>
                  <a:lnTo>
                    <a:pt x="50" y="47"/>
                  </a:lnTo>
                  <a:lnTo>
                    <a:pt x="52" y="52"/>
                  </a:lnTo>
                  <a:lnTo>
                    <a:pt x="50" y="55"/>
                  </a:lnTo>
                  <a:lnTo>
                    <a:pt x="49" y="55"/>
                  </a:lnTo>
                  <a:lnTo>
                    <a:pt x="49" y="55"/>
                  </a:lnTo>
                  <a:lnTo>
                    <a:pt x="46" y="50"/>
                  </a:lnTo>
                  <a:lnTo>
                    <a:pt x="45" y="49"/>
                  </a:lnTo>
                  <a:lnTo>
                    <a:pt x="43" y="49"/>
                  </a:lnTo>
                  <a:lnTo>
                    <a:pt x="43" y="49"/>
                  </a:lnTo>
                  <a:lnTo>
                    <a:pt x="39" y="58"/>
                  </a:lnTo>
                  <a:lnTo>
                    <a:pt x="36" y="60"/>
                  </a:lnTo>
                  <a:lnTo>
                    <a:pt x="33" y="62"/>
                  </a:lnTo>
                  <a:lnTo>
                    <a:pt x="32" y="62"/>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40" name="Freeform 893"/>
            <p:cNvSpPr>
              <a:spLocks/>
            </p:cNvSpPr>
            <p:nvPr/>
          </p:nvSpPr>
          <p:spPr bwMode="auto">
            <a:xfrm>
              <a:off x="7999413" y="5838826"/>
              <a:ext cx="93663" cy="98425"/>
            </a:xfrm>
            <a:custGeom>
              <a:avLst/>
              <a:gdLst>
                <a:gd name="T0" fmla="*/ 32 w 59"/>
                <a:gd name="T1" fmla="*/ 62 h 62"/>
                <a:gd name="T2" fmla="*/ 32 w 59"/>
                <a:gd name="T3" fmla="*/ 62 h 62"/>
                <a:gd name="T4" fmla="*/ 26 w 59"/>
                <a:gd name="T5" fmla="*/ 60 h 62"/>
                <a:gd name="T6" fmla="*/ 19 w 59"/>
                <a:gd name="T7" fmla="*/ 56 h 62"/>
                <a:gd name="T8" fmla="*/ 14 w 59"/>
                <a:gd name="T9" fmla="*/ 50 h 62"/>
                <a:gd name="T10" fmla="*/ 13 w 59"/>
                <a:gd name="T11" fmla="*/ 46 h 62"/>
                <a:gd name="T12" fmla="*/ 13 w 59"/>
                <a:gd name="T13" fmla="*/ 43 h 62"/>
                <a:gd name="T14" fmla="*/ 13 w 59"/>
                <a:gd name="T15" fmla="*/ 43 h 62"/>
                <a:gd name="T16" fmla="*/ 13 w 59"/>
                <a:gd name="T17" fmla="*/ 34 h 62"/>
                <a:gd name="T18" fmla="*/ 10 w 59"/>
                <a:gd name="T19" fmla="*/ 29 h 62"/>
                <a:gd name="T20" fmla="*/ 10 w 59"/>
                <a:gd name="T21" fmla="*/ 29 h 62"/>
                <a:gd name="T22" fmla="*/ 4 w 59"/>
                <a:gd name="T23" fmla="*/ 14 h 62"/>
                <a:gd name="T24" fmla="*/ 0 w 59"/>
                <a:gd name="T25" fmla="*/ 2 h 62"/>
                <a:gd name="T26" fmla="*/ 0 w 59"/>
                <a:gd name="T27" fmla="*/ 2 h 62"/>
                <a:gd name="T28" fmla="*/ 0 w 59"/>
                <a:gd name="T29" fmla="*/ 1 h 62"/>
                <a:gd name="T30" fmla="*/ 3 w 59"/>
                <a:gd name="T31" fmla="*/ 0 h 62"/>
                <a:gd name="T32" fmla="*/ 7 w 59"/>
                <a:gd name="T33" fmla="*/ 0 h 62"/>
                <a:gd name="T34" fmla="*/ 11 w 59"/>
                <a:gd name="T35" fmla="*/ 1 h 62"/>
                <a:gd name="T36" fmla="*/ 11 w 59"/>
                <a:gd name="T37" fmla="*/ 1 h 62"/>
                <a:gd name="T38" fmla="*/ 24 w 59"/>
                <a:gd name="T39" fmla="*/ 5 h 62"/>
                <a:gd name="T40" fmla="*/ 30 w 59"/>
                <a:gd name="T41" fmla="*/ 7 h 62"/>
                <a:gd name="T42" fmla="*/ 34 w 59"/>
                <a:gd name="T43" fmla="*/ 7 h 62"/>
                <a:gd name="T44" fmla="*/ 34 w 59"/>
                <a:gd name="T45" fmla="*/ 7 h 62"/>
                <a:gd name="T46" fmla="*/ 46 w 59"/>
                <a:gd name="T47" fmla="*/ 4 h 62"/>
                <a:gd name="T48" fmla="*/ 53 w 59"/>
                <a:gd name="T49" fmla="*/ 2 h 62"/>
                <a:gd name="T50" fmla="*/ 55 w 59"/>
                <a:gd name="T51" fmla="*/ 4 h 62"/>
                <a:gd name="T52" fmla="*/ 56 w 59"/>
                <a:gd name="T53" fmla="*/ 4 h 62"/>
                <a:gd name="T54" fmla="*/ 56 w 59"/>
                <a:gd name="T55" fmla="*/ 4 h 62"/>
                <a:gd name="T56" fmla="*/ 58 w 59"/>
                <a:gd name="T57" fmla="*/ 7 h 62"/>
                <a:gd name="T58" fmla="*/ 58 w 59"/>
                <a:gd name="T59" fmla="*/ 8 h 62"/>
                <a:gd name="T60" fmla="*/ 58 w 59"/>
                <a:gd name="T61" fmla="*/ 10 h 62"/>
                <a:gd name="T62" fmla="*/ 58 w 59"/>
                <a:gd name="T63" fmla="*/ 13 h 62"/>
                <a:gd name="T64" fmla="*/ 58 w 59"/>
                <a:gd name="T65" fmla="*/ 13 h 62"/>
                <a:gd name="T66" fmla="*/ 59 w 59"/>
                <a:gd name="T67" fmla="*/ 18 h 62"/>
                <a:gd name="T68" fmla="*/ 59 w 59"/>
                <a:gd name="T69" fmla="*/ 24 h 62"/>
                <a:gd name="T70" fmla="*/ 59 w 59"/>
                <a:gd name="T71" fmla="*/ 30 h 62"/>
                <a:gd name="T72" fmla="*/ 58 w 59"/>
                <a:gd name="T73" fmla="*/ 34 h 62"/>
                <a:gd name="T74" fmla="*/ 58 w 59"/>
                <a:gd name="T75" fmla="*/ 34 h 62"/>
                <a:gd name="T76" fmla="*/ 53 w 59"/>
                <a:gd name="T77" fmla="*/ 42 h 62"/>
                <a:gd name="T78" fmla="*/ 50 w 59"/>
                <a:gd name="T79" fmla="*/ 47 h 62"/>
                <a:gd name="T80" fmla="*/ 50 w 59"/>
                <a:gd name="T81" fmla="*/ 47 h 62"/>
                <a:gd name="T82" fmla="*/ 52 w 59"/>
                <a:gd name="T83" fmla="*/ 52 h 62"/>
                <a:gd name="T84" fmla="*/ 50 w 59"/>
                <a:gd name="T85" fmla="*/ 55 h 62"/>
                <a:gd name="T86" fmla="*/ 49 w 59"/>
                <a:gd name="T87" fmla="*/ 55 h 62"/>
                <a:gd name="T88" fmla="*/ 49 w 59"/>
                <a:gd name="T89" fmla="*/ 55 h 62"/>
                <a:gd name="T90" fmla="*/ 46 w 59"/>
                <a:gd name="T91" fmla="*/ 50 h 62"/>
                <a:gd name="T92" fmla="*/ 45 w 59"/>
                <a:gd name="T93" fmla="*/ 49 h 62"/>
                <a:gd name="T94" fmla="*/ 43 w 59"/>
                <a:gd name="T95" fmla="*/ 49 h 62"/>
                <a:gd name="T96" fmla="*/ 43 w 59"/>
                <a:gd name="T97" fmla="*/ 49 h 62"/>
                <a:gd name="T98" fmla="*/ 39 w 59"/>
                <a:gd name="T99" fmla="*/ 58 h 62"/>
                <a:gd name="T100" fmla="*/ 36 w 59"/>
                <a:gd name="T101" fmla="*/ 60 h 62"/>
                <a:gd name="T102" fmla="*/ 33 w 59"/>
                <a:gd name="T103" fmla="*/ 62 h 62"/>
                <a:gd name="T104" fmla="*/ 32 w 59"/>
                <a:gd name="T105"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9" h="62">
                  <a:moveTo>
                    <a:pt x="32" y="62"/>
                  </a:moveTo>
                  <a:lnTo>
                    <a:pt x="32" y="62"/>
                  </a:lnTo>
                  <a:lnTo>
                    <a:pt x="26" y="60"/>
                  </a:lnTo>
                  <a:lnTo>
                    <a:pt x="19" y="56"/>
                  </a:lnTo>
                  <a:lnTo>
                    <a:pt x="14" y="50"/>
                  </a:lnTo>
                  <a:lnTo>
                    <a:pt x="13" y="46"/>
                  </a:lnTo>
                  <a:lnTo>
                    <a:pt x="13" y="43"/>
                  </a:lnTo>
                  <a:lnTo>
                    <a:pt x="13" y="43"/>
                  </a:lnTo>
                  <a:lnTo>
                    <a:pt x="13" y="34"/>
                  </a:lnTo>
                  <a:lnTo>
                    <a:pt x="10" y="29"/>
                  </a:lnTo>
                  <a:lnTo>
                    <a:pt x="10" y="29"/>
                  </a:lnTo>
                  <a:lnTo>
                    <a:pt x="4" y="14"/>
                  </a:lnTo>
                  <a:lnTo>
                    <a:pt x="0" y="2"/>
                  </a:lnTo>
                  <a:lnTo>
                    <a:pt x="0" y="2"/>
                  </a:lnTo>
                  <a:lnTo>
                    <a:pt x="0" y="1"/>
                  </a:lnTo>
                  <a:lnTo>
                    <a:pt x="3" y="0"/>
                  </a:lnTo>
                  <a:lnTo>
                    <a:pt x="7" y="0"/>
                  </a:lnTo>
                  <a:lnTo>
                    <a:pt x="11" y="1"/>
                  </a:lnTo>
                  <a:lnTo>
                    <a:pt x="11" y="1"/>
                  </a:lnTo>
                  <a:lnTo>
                    <a:pt x="24" y="5"/>
                  </a:lnTo>
                  <a:lnTo>
                    <a:pt x="30" y="7"/>
                  </a:lnTo>
                  <a:lnTo>
                    <a:pt x="34" y="7"/>
                  </a:lnTo>
                  <a:lnTo>
                    <a:pt x="34" y="7"/>
                  </a:lnTo>
                  <a:lnTo>
                    <a:pt x="46" y="4"/>
                  </a:lnTo>
                  <a:lnTo>
                    <a:pt x="53" y="2"/>
                  </a:lnTo>
                  <a:lnTo>
                    <a:pt x="55" y="4"/>
                  </a:lnTo>
                  <a:lnTo>
                    <a:pt x="56" y="4"/>
                  </a:lnTo>
                  <a:lnTo>
                    <a:pt x="56" y="4"/>
                  </a:lnTo>
                  <a:lnTo>
                    <a:pt x="58" y="7"/>
                  </a:lnTo>
                  <a:lnTo>
                    <a:pt x="58" y="8"/>
                  </a:lnTo>
                  <a:lnTo>
                    <a:pt x="58" y="10"/>
                  </a:lnTo>
                  <a:lnTo>
                    <a:pt x="58" y="13"/>
                  </a:lnTo>
                  <a:lnTo>
                    <a:pt x="58" y="13"/>
                  </a:lnTo>
                  <a:lnTo>
                    <a:pt x="59" y="18"/>
                  </a:lnTo>
                  <a:lnTo>
                    <a:pt x="59" y="24"/>
                  </a:lnTo>
                  <a:lnTo>
                    <a:pt x="59" y="30"/>
                  </a:lnTo>
                  <a:lnTo>
                    <a:pt x="58" y="34"/>
                  </a:lnTo>
                  <a:lnTo>
                    <a:pt x="58" y="34"/>
                  </a:lnTo>
                  <a:lnTo>
                    <a:pt x="53" y="42"/>
                  </a:lnTo>
                  <a:lnTo>
                    <a:pt x="50" y="47"/>
                  </a:lnTo>
                  <a:lnTo>
                    <a:pt x="50" y="47"/>
                  </a:lnTo>
                  <a:lnTo>
                    <a:pt x="52" y="52"/>
                  </a:lnTo>
                  <a:lnTo>
                    <a:pt x="50" y="55"/>
                  </a:lnTo>
                  <a:lnTo>
                    <a:pt x="49" y="55"/>
                  </a:lnTo>
                  <a:lnTo>
                    <a:pt x="49" y="55"/>
                  </a:lnTo>
                  <a:lnTo>
                    <a:pt x="46" y="50"/>
                  </a:lnTo>
                  <a:lnTo>
                    <a:pt x="45" y="49"/>
                  </a:lnTo>
                  <a:lnTo>
                    <a:pt x="43" y="49"/>
                  </a:lnTo>
                  <a:lnTo>
                    <a:pt x="43" y="49"/>
                  </a:lnTo>
                  <a:lnTo>
                    <a:pt x="39" y="58"/>
                  </a:lnTo>
                  <a:lnTo>
                    <a:pt x="36" y="60"/>
                  </a:lnTo>
                  <a:lnTo>
                    <a:pt x="33" y="62"/>
                  </a:lnTo>
                  <a:lnTo>
                    <a:pt x="32" y="6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41" name="Freeform 894"/>
            <p:cNvSpPr>
              <a:spLocks/>
            </p:cNvSpPr>
            <p:nvPr/>
          </p:nvSpPr>
          <p:spPr bwMode="auto">
            <a:xfrm>
              <a:off x="8534400" y="5830889"/>
              <a:ext cx="182563" cy="215900"/>
            </a:xfrm>
            <a:custGeom>
              <a:avLst/>
              <a:gdLst>
                <a:gd name="T0" fmla="*/ 41 w 115"/>
                <a:gd name="T1" fmla="*/ 135 h 136"/>
                <a:gd name="T2" fmla="*/ 32 w 115"/>
                <a:gd name="T3" fmla="*/ 136 h 136"/>
                <a:gd name="T4" fmla="*/ 25 w 115"/>
                <a:gd name="T5" fmla="*/ 135 h 136"/>
                <a:gd name="T6" fmla="*/ 25 w 115"/>
                <a:gd name="T7" fmla="*/ 133 h 136"/>
                <a:gd name="T8" fmla="*/ 22 w 115"/>
                <a:gd name="T9" fmla="*/ 126 h 136"/>
                <a:gd name="T10" fmla="*/ 19 w 115"/>
                <a:gd name="T11" fmla="*/ 126 h 136"/>
                <a:gd name="T12" fmla="*/ 9 w 115"/>
                <a:gd name="T13" fmla="*/ 123 h 136"/>
                <a:gd name="T14" fmla="*/ 2 w 115"/>
                <a:gd name="T15" fmla="*/ 119 h 136"/>
                <a:gd name="T16" fmla="*/ 0 w 115"/>
                <a:gd name="T17" fmla="*/ 118 h 136"/>
                <a:gd name="T18" fmla="*/ 9 w 115"/>
                <a:gd name="T19" fmla="*/ 105 h 136"/>
                <a:gd name="T20" fmla="*/ 13 w 115"/>
                <a:gd name="T21" fmla="*/ 100 h 136"/>
                <a:gd name="T22" fmla="*/ 19 w 115"/>
                <a:gd name="T23" fmla="*/ 96 h 136"/>
                <a:gd name="T24" fmla="*/ 23 w 115"/>
                <a:gd name="T25" fmla="*/ 86 h 136"/>
                <a:gd name="T26" fmla="*/ 26 w 115"/>
                <a:gd name="T27" fmla="*/ 80 h 136"/>
                <a:gd name="T28" fmla="*/ 28 w 115"/>
                <a:gd name="T29" fmla="*/ 78 h 136"/>
                <a:gd name="T30" fmla="*/ 38 w 115"/>
                <a:gd name="T31" fmla="*/ 73 h 136"/>
                <a:gd name="T32" fmla="*/ 47 w 115"/>
                <a:gd name="T33" fmla="*/ 64 h 136"/>
                <a:gd name="T34" fmla="*/ 52 w 115"/>
                <a:gd name="T35" fmla="*/ 60 h 136"/>
                <a:gd name="T36" fmla="*/ 65 w 115"/>
                <a:gd name="T37" fmla="*/ 47 h 136"/>
                <a:gd name="T38" fmla="*/ 68 w 115"/>
                <a:gd name="T39" fmla="*/ 41 h 136"/>
                <a:gd name="T40" fmla="*/ 70 w 115"/>
                <a:gd name="T41" fmla="*/ 31 h 136"/>
                <a:gd name="T42" fmla="*/ 74 w 115"/>
                <a:gd name="T43" fmla="*/ 26 h 136"/>
                <a:gd name="T44" fmla="*/ 77 w 115"/>
                <a:gd name="T45" fmla="*/ 22 h 136"/>
                <a:gd name="T46" fmla="*/ 84 w 115"/>
                <a:gd name="T47" fmla="*/ 6 h 136"/>
                <a:gd name="T48" fmla="*/ 87 w 115"/>
                <a:gd name="T49" fmla="*/ 2 h 136"/>
                <a:gd name="T50" fmla="*/ 93 w 115"/>
                <a:gd name="T51" fmla="*/ 0 h 136"/>
                <a:gd name="T52" fmla="*/ 94 w 115"/>
                <a:gd name="T53" fmla="*/ 3 h 136"/>
                <a:gd name="T54" fmla="*/ 97 w 115"/>
                <a:gd name="T55" fmla="*/ 6 h 136"/>
                <a:gd name="T56" fmla="*/ 100 w 115"/>
                <a:gd name="T57" fmla="*/ 7 h 136"/>
                <a:gd name="T58" fmla="*/ 102 w 115"/>
                <a:gd name="T59" fmla="*/ 13 h 136"/>
                <a:gd name="T60" fmla="*/ 103 w 115"/>
                <a:gd name="T61" fmla="*/ 15 h 136"/>
                <a:gd name="T62" fmla="*/ 107 w 115"/>
                <a:gd name="T63" fmla="*/ 10 h 136"/>
                <a:gd name="T64" fmla="*/ 112 w 115"/>
                <a:gd name="T65" fmla="*/ 9 h 136"/>
                <a:gd name="T66" fmla="*/ 113 w 115"/>
                <a:gd name="T67" fmla="*/ 10 h 136"/>
                <a:gd name="T68" fmla="*/ 115 w 115"/>
                <a:gd name="T69" fmla="*/ 18 h 136"/>
                <a:gd name="T70" fmla="*/ 115 w 115"/>
                <a:gd name="T71" fmla="*/ 34 h 136"/>
                <a:gd name="T72" fmla="*/ 112 w 115"/>
                <a:gd name="T73" fmla="*/ 38 h 136"/>
                <a:gd name="T74" fmla="*/ 102 w 115"/>
                <a:gd name="T75" fmla="*/ 58 h 136"/>
                <a:gd name="T76" fmla="*/ 100 w 115"/>
                <a:gd name="T77" fmla="*/ 63 h 136"/>
                <a:gd name="T78" fmla="*/ 102 w 115"/>
                <a:gd name="T79" fmla="*/ 71 h 136"/>
                <a:gd name="T80" fmla="*/ 102 w 115"/>
                <a:gd name="T81" fmla="*/ 73 h 136"/>
                <a:gd name="T82" fmla="*/ 96 w 115"/>
                <a:gd name="T83" fmla="*/ 71 h 136"/>
                <a:gd name="T84" fmla="*/ 90 w 115"/>
                <a:gd name="T85" fmla="*/ 73 h 136"/>
                <a:gd name="T86" fmla="*/ 78 w 115"/>
                <a:gd name="T87" fmla="*/ 80 h 136"/>
                <a:gd name="T88" fmla="*/ 68 w 115"/>
                <a:gd name="T89" fmla="*/ 89 h 136"/>
                <a:gd name="T90" fmla="*/ 67 w 115"/>
                <a:gd name="T91" fmla="*/ 97 h 136"/>
                <a:gd name="T92" fmla="*/ 65 w 115"/>
                <a:gd name="T93" fmla="*/ 107 h 136"/>
                <a:gd name="T94" fmla="*/ 62 w 115"/>
                <a:gd name="T95" fmla="*/ 115 h 136"/>
                <a:gd name="T96" fmla="*/ 57 w 115"/>
                <a:gd name="T97" fmla="*/ 122 h 136"/>
                <a:gd name="T98" fmla="*/ 41 w 115"/>
                <a:gd name="T99" fmla="*/ 135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5" h="136">
                  <a:moveTo>
                    <a:pt x="41" y="135"/>
                  </a:moveTo>
                  <a:lnTo>
                    <a:pt x="41" y="135"/>
                  </a:lnTo>
                  <a:lnTo>
                    <a:pt x="38" y="135"/>
                  </a:lnTo>
                  <a:lnTo>
                    <a:pt x="32" y="136"/>
                  </a:lnTo>
                  <a:lnTo>
                    <a:pt x="28" y="135"/>
                  </a:lnTo>
                  <a:lnTo>
                    <a:pt x="25" y="135"/>
                  </a:lnTo>
                  <a:lnTo>
                    <a:pt x="25" y="133"/>
                  </a:lnTo>
                  <a:lnTo>
                    <a:pt x="25" y="133"/>
                  </a:lnTo>
                  <a:lnTo>
                    <a:pt x="22" y="128"/>
                  </a:lnTo>
                  <a:lnTo>
                    <a:pt x="22" y="126"/>
                  </a:lnTo>
                  <a:lnTo>
                    <a:pt x="19" y="126"/>
                  </a:lnTo>
                  <a:lnTo>
                    <a:pt x="19" y="126"/>
                  </a:lnTo>
                  <a:lnTo>
                    <a:pt x="15" y="125"/>
                  </a:lnTo>
                  <a:lnTo>
                    <a:pt x="9" y="123"/>
                  </a:lnTo>
                  <a:lnTo>
                    <a:pt x="3" y="120"/>
                  </a:lnTo>
                  <a:lnTo>
                    <a:pt x="2" y="119"/>
                  </a:lnTo>
                  <a:lnTo>
                    <a:pt x="0" y="118"/>
                  </a:lnTo>
                  <a:lnTo>
                    <a:pt x="0" y="118"/>
                  </a:lnTo>
                  <a:lnTo>
                    <a:pt x="5" y="110"/>
                  </a:lnTo>
                  <a:lnTo>
                    <a:pt x="9" y="105"/>
                  </a:lnTo>
                  <a:lnTo>
                    <a:pt x="9" y="105"/>
                  </a:lnTo>
                  <a:lnTo>
                    <a:pt x="13" y="100"/>
                  </a:lnTo>
                  <a:lnTo>
                    <a:pt x="19" y="96"/>
                  </a:lnTo>
                  <a:lnTo>
                    <a:pt x="19" y="96"/>
                  </a:lnTo>
                  <a:lnTo>
                    <a:pt x="20" y="91"/>
                  </a:lnTo>
                  <a:lnTo>
                    <a:pt x="23" y="86"/>
                  </a:lnTo>
                  <a:lnTo>
                    <a:pt x="25" y="81"/>
                  </a:lnTo>
                  <a:lnTo>
                    <a:pt x="26" y="80"/>
                  </a:lnTo>
                  <a:lnTo>
                    <a:pt x="28" y="78"/>
                  </a:lnTo>
                  <a:lnTo>
                    <a:pt x="28" y="78"/>
                  </a:lnTo>
                  <a:lnTo>
                    <a:pt x="32" y="77"/>
                  </a:lnTo>
                  <a:lnTo>
                    <a:pt x="38" y="73"/>
                  </a:lnTo>
                  <a:lnTo>
                    <a:pt x="42" y="70"/>
                  </a:lnTo>
                  <a:lnTo>
                    <a:pt x="47" y="64"/>
                  </a:lnTo>
                  <a:lnTo>
                    <a:pt x="47" y="64"/>
                  </a:lnTo>
                  <a:lnTo>
                    <a:pt x="52" y="60"/>
                  </a:lnTo>
                  <a:lnTo>
                    <a:pt x="58" y="52"/>
                  </a:lnTo>
                  <a:lnTo>
                    <a:pt x="65" y="47"/>
                  </a:lnTo>
                  <a:lnTo>
                    <a:pt x="67" y="44"/>
                  </a:lnTo>
                  <a:lnTo>
                    <a:pt x="68" y="41"/>
                  </a:lnTo>
                  <a:lnTo>
                    <a:pt x="68" y="41"/>
                  </a:lnTo>
                  <a:lnTo>
                    <a:pt x="70" y="31"/>
                  </a:lnTo>
                  <a:lnTo>
                    <a:pt x="71" y="28"/>
                  </a:lnTo>
                  <a:lnTo>
                    <a:pt x="74" y="26"/>
                  </a:lnTo>
                  <a:lnTo>
                    <a:pt x="74" y="26"/>
                  </a:lnTo>
                  <a:lnTo>
                    <a:pt x="77" y="22"/>
                  </a:lnTo>
                  <a:lnTo>
                    <a:pt x="78" y="18"/>
                  </a:lnTo>
                  <a:lnTo>
                    <a:pt x="84" y="6"/>
                  </a:lnTo>
                  <a:lnTo>
                    <a:pt x="84" y="6"/>
                  </a:lnTo>
                  <a:lnTo>
                    <a:pt x="87" y="2"/>
                  </a:lnTo>
                  <a:lnTo>
                    <a:pt x="90" y="0"/>
                  </a:lnTo>
                  <a:lnTo>
                    <a:pt x="93" y="0"/>
                  </a:lnTo>
                  <a:lnTo>
                    <a:pt x="94" y="3"/>
                  </a:lnTo>
                  <a:lnTo>
                    <a:pt x="94" y="3"/>
                  </a:lnTo>
                  <a:lnTo>
                    <a:pt x="96" y="5"/>
                  </a:lnTo>
                  <a:lnTo>
                    <a:pt x="97" y="6"/>
                  </a:lnTo>
                  <a:lnTo>
                    <a:pt x="99" y="6"/>
                  </a:lnTo>
                  <a:lnTo>
                    <a:pt x="100" y="7"/>
                  </a:lnTo>
                  <a:lnTo>
                    <a:pt x="100" y="7"/>
                  </a:lnTo>
                  <a:lnTo>
                    <a:pt x="102" y="13"/>
                  </a:lnTo>
                  <a:lnTo>
                    <a:pt x="102" y="15"/>
                  </a:lnTo>
                  <a:lnTo>
                    <a:pt x="103" y="15"/>
                  </a:lnTo>
                  <a:lnTo>
                    <a:pt x="103" y="15"/>
                  </a:lnTo>
                  <a:lnTo>
                    <a:pt x="107" y="10"/>
                  </a:lnTo>
                  <a:lnTo>
                    <a:pt x="110" y="9"/>
                  </a:lnTo>
                  <a:lnTo>
                    <a:pt x="112" y="9"/>
                  </a:lnTo>
                  <a:lnTo>
                    <a:pt x="112" y="9"/>
                  </a:lnTo>
                  <a:lnTo>
                    <a:pt x="113" y="10"/>
                  </a:lnTo>
                  <a:lnTo>
                    <a:pt x="115" y="18"/>
                  </a:lnTo>
                  <a:lnTo>
                    <a:pt x="115" y="18"/>
                  </a:lnTo>
                  <a:lnTo>
                    <a:pt x="115" y="29"/>
                  </a:lnTo>
                  <a:lnTo>
                    <a:pt x="115" y="34"/>
                  </a:lnTo>
                  <a:lnTo>
                    <a:pt x="112" y="38"/>
                  </a:lnTo>
                  <a:lnTo>
                    <a:pt x="112" y="38"/>
                  </a:lnTo>
                  <a:lnTo>
                    <a:pt x="106" y="48"/>
                  </a:lnTo>
                  <a:lnTo>
                    <a:pt x="102" y="58"/>
                  </a:lnTo>
                  <a:lnTo>
                    <a:pt x="102" y="58"/>
                  </a:lnTo>
                  <a:lnTo>
                    <a:pt x="100" y="63"/>
                  </a:lnTo>
                  <a:lnTo>
                    <a:pt x="102" y="67"/>
                  </a:lnTo>
                  <a:lnTo>
                    <a:pt x="102" y="71"/>
                  </a:lnTo>
                  <a:lnTo>
                    <a:pt x="102" y="73"/>
                  </a:lnTo>
                  <a:lnTo>
                    <a:pt x="102" y="73"/>
                  </a:lnTo>
                  <a:lnTo>
                    <a:pt x="99" y="73"/>
                  </a:lnTo>
                  <a:lnTo>
                    <a:pt x="96" y="71"/>
                  </a:lnTo>
                  <a:lnTo>
                    <a:pt x="93" y="71"/>
                  </a:lnTo>
                  <a:lnTo>
                    <a:pt x="90" y="73"/>
                  </a:lnTo>
                  <a:lnTo>
                    <a:pt x="90" y="73"/>
                  </a:lnTo>
                  <a:lnTo>
                    <a:pt x="78" y="80"/>
                  </a:lnTo>
                  <a:lnTo>
                    <a:pt x="71" y="84"/>
                  </a:lnTo>
                  <a:lnTo>
                    <a:pt x="68" y="89"/>
                  </a:lnTo>
                  <a:lnTo>
                    <a:pt x="68" y="89"/>
                  </a:lnTo>
                  <a:lnTo>
                    <a:pt x="67" y="97"/>
                  </a:lnTo>
                  <a:lnTo>
                    <a:pt x="67" y="103"/>
                  </a:lnTo>
                  <a:lnTo>
                    <a:pt x="65" y="107"/>
                  </a:lnTo>
                  <a:lnTo>
                    <a:pt x="65" y="107"/>
                  </a:lnTo>
                  <a:lnTo>
                    <a:pt x="62" y="115"/>
                  </a:lnTo>
                  <a:lnTo>
                    <a:pt x="57" y="122"/>
                  </a:lnTo>
                  <a:lnTo>
                    <a:pt x="57" y="122"/>
                  </a:lnTo>
                  <a:lnTo>
                    <a:pt x="49" y="129"/>
                  </a:lnTo>
                  <a:lnTo>
                    <a:pt x="41" y="135"/>
                  </a:lnTo>
                  <a:close/>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42" name="Freeform 895"/>
            <p:cNvSpPr>
              <a:spLocks/>
            </p:cNvSpPr>
            <p:nvPr/>
          </p:nvSpPr>
          <p:spPr bwMode="auto">
            <a:xfrm>
              <a:off x="8534400" y="5830889"/>
              <a:ext cx="182563" cy="215900"/>
            </a:xfrm>
            <a:custGeom>
              <a:avLst/>
              <a:gdLst>
                <a:gd name="T0" fmla="*/ 41 w 115"/>
                <a:gd name="T1" fmla="*/ 135 h 136"/>
                <a:gd name="T2" fmla="*/ 32 w 115"/>
                <a:gd name="T3" fmla="*/ 136 h 136"/>
                <a:gd name="T4" fmla="*/ 25 w 115"/>
                <a:gd name="T5" fmla="*/ 135 h 136"/>
                <a:gd name="T6" fmla="*/ 25 w 115"/>
                <a:gd name="T7" fmla="*/ 133 h 136"/>
                <a:gd name="T8" fmla="*/ 22 w 115"/>
                <a:gd name="T9" fmla="*/ 126 h 136"/>
                <a:gd name="T10" fmla="*/ 19 w 115"/>
                <a:gd name="T11" fmla="*/ 126 h 136"/>
                <a:gd name="T12" fmla="*/ 9 w 115"/>
                <a:gd name="T13" fmla="*/ 123 h 136"/>
                <a:gd name="T14" fmla="*/ 2 w 115"/>
                <a:gd name="T15" fmla="*/ 119 h 136"/>
                <a:gd name="T16" fmla="*/ 0 w 115"/>
                <a:gd name="T17" fmla="*/ 118 h 136"/>
                <a:gd name="T18" fmla="*/ 9 w 115"/>
                <a:gd name="T19" fmla="*/ 105 h 136"/>
                <a:gd name="T20" fmla="*/ 13 w 115"/>
                <a:gd name="T21" fmla="*/ 100 h 136"/>
                <a:gd name="T22" fmla="*/ 19 w 115"/>
                <a:gd name="T23" fmla="*/ 96 h 136"/>
                <a:gd name="T24" fmla="*/ 23 w 115"/>
                <a:gd name="T25" fmla="*/ 86 h 136"/>
                <a:gd name="T26" fmla="*/ 26 w 115"/>
                <a:gd name="T27" fmla="*/ 80 h 136"/>
                <a:gd name="T28" fmla="*/ 28 w 115"/>
                <a:gd name="T29" fmla="*/ 78 h 136"/>
                <a:gd name="T30" fmla="*/ 38 w 115"/>
                <a:gd name="T31" fmla="*/ 73 h 136"/>
                <a:gd name="T32" fmla="*/ 47 w 115"/>
                <a:gd name="T33" fmla="*/ 64 h 136"/>
                <a:gd name="T34" fmla="*/ 52 w 115"/>
                <a:gd name="T35" fmla="*/ 60 h 136"/>
                <a:gd name="T36" fmla="*/ 65 w 115"/>
                <a:gd name="T37" fmla="*/ 47 h 136"/>
                <a:gd name="T38" fmla="*/ 68 w 115"/>
                <a:gd name="T39" fmla="*/ 41 h 136"/>
                <a:gd name="T40" fmla="*/ 70 w 115"/>
                <a:gd name="T41" fmla="*/ 31 h 136"/>
                <a:gd name="T42" fmla="*/ 74 w 115"/>
                <a:gd name="T43" fmla="*/ 26 h 136"/>
                <a:gd name="T44" fmla="*/ 77 w 115"/>
                <a:gd name="T45" fmla="*/ 22 h 136"/>
                <a:gd name="T46" fmla="*/ 84 w 115"/>
                <a:gd name="T47" fmla="*/ 6 h 136"/>
                <a:gd name="T48" fmla="*/ 87 w 115"/>
                <a:gd name="T49" fmla="*/ 2 h 136"/>
                <a:gd name="T50" fmla="*/ 93 w 115"/>
                <a:gd name="T51" fmla="*/ 0 h 136"/>
                <a:gd name="T52" fmla="*/ 94 w 115"/>
                <a:gd name="T53" fmla="*/ 3 h 136"/>
                <a:gd name="T54" fmla="*/ 97 w 115"/>
                <a:gd name="T55" fmla="*/ 6 h 136"/>
                <a:gd name="T56" fmla="*/ 100 w 115"/>
                <a:gd name="T57" fmla="*/ 7 h 136"/>
                <a:gd name="T58" fmla="*/ 102 w 115"/>
                <a:gd name="T59" fmla="*/ 13 h 136"/>
                <a:gd name="T60" fmla="*/ 103 w 115"/>
                <a:gd name="T61" fmla="*/ 15 h 136"/>
                <a:gd name="T62" fmla="*/ 107 w 115"/>
                <a:gd name="T63" fmla="*/ 10 h 136"/>
                <a:gd name="T64" fmla="*/ 112 w 115"/>
                <a:gd name="T65" fmla="*/ 9 h 136"/>
                <a:gd name="T66" fmla="*/ 113 w 115"/>
                <a:gd name="T67" fmla="*/ 10 h 136"/>
                <a:gd name="T68" fmla="*/ 115 w 115"/>
                <a:gd name="T69" fmla="*/ 18 h 136"/>
                <a:gd name="T70" fmla="*/ 115 w 115"/>
                <a:gd name="T71" fmla="*/ 34 h 136"/>
                <a:gd name="T72" fmla="*/ 112 w 115"/>
                <a:gd name="T73" fmla="*/ 38 h 136"/>
                <a:gd name="T74" fmla="*/ 102 w 115"/>
                <a:gd name="T75" fmla="*/ 58 h 136"/>
                <a:gd name="T76" fmla="*/ 100 w 115"/>
                <a:gd name="T77" fmla="*/ 63 h 136"/>
                <a:gd name="T78" fmla="*/ 102 w 115"/>
                <a:gd name="T79" fmla="*/ 71 h 136"/>
                <a:gd name="T80" fmla="*/ 102 w 115"/>
                <a:gd name="T81" fmla="*/ 73 h 136"/>
                <a:gd name="T82" fmla="*/ 96 w 115"/>
                <a:gd name="T83" fmla="*/ 71 h 136"/>
                <a:gd name="T84" fmla="*/ 90 w 115"/>
                <a:gd name="T85" fmla="*/ 73 h 136"/>
                <a:gd name="T86" fmla="*/ 78 w 115"/>
                <a:gd name="T87" fmla="*/ 80 h 136"/>
                <a:gd name="T88" fmla="*/ 68 w 115"/>
                <a:gd name="T89" fmla="*/ 89 h 136"/>
                <a:gd name="T90" fmla="*/ 67 w 115"/>
                <a:gd name="T91" fmla="*/ 97 h 136"/>
                <a:gd name="T92" fmla="*/ 65 w 115"/>
                <a:gd name="T93" fmla="*/ 107 h 136"/>
                <a:gd name="T94" fmla="*/ 62 w 115"/>
                <a:gd name="T95" fmla="*/ 115 h 136"/>
                <a:gd name="T96" fmla="*/ 57 w 115"/>
                <a:gd name="T97" fmla="*/ 122 h 136"/>
                <a:gd name="T98" fmla="*/ 41 w 115"/>
                <a:gd name="T99" fmla="*/ 135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5" h="136">
                  <a:moveTo>
                    <a:pt x="41" y="135"/>
                  </a:moveTo>
                  <a:lnTo>
                    <a:pt x="41" y="135"/>
                  </a:lnTo>
                  <a:lnTo>
                    <a:pt x="38" y="135"/>
                  </a:lnTo>
                  <a:lnTo>
                    <a:pt x="32" y="136"/>
                  </a:lnTo>
                  <a:lnTo>
                    <a:pt x="28" y="135"/>
                  </a:lnTo>
                  <a:lnTo>
                    <a:pt x="25" y="135"/>
                  </a:lnTo>
                  <a:lnTo>
                    <a:pt x="25" y="133"/>
                  </a:lnTo>
                  <a:lnTo>
                    <a:pt x="25" y="133"/>
                  </a:lnTo>
                  <a:lnTo>
                    <a:pt x="22" y="128"/>
                  </a:lnTo>
                  <a:lnTo>
                    <a:pt x="22" y="126"/>
                  </a:lnTo>
                  <a:lnTo>
                    <a:pt x="19" y="126"/>
                  </a:lnTo>
                  <a:lnTo>
                    <a:pt x="19" y="126"/>
                  </a:lnTo>
                  <a:lnTo>
                    <a:pt x="15" y="125"/>
                  </a:lnTo>
                  <a:lnTo>
                    <a:pt x="9" y="123"/>
                  </a:lnTo>
                  <a:lnTo>
                    <a:pt x="3" y="120"/>
                  </a:lnTo>
                  <a:lnTo>
                    <a:pt x="2" y="119"/>
                  </a:lnTo>
                  <a:lnTo>
                    <a:pt x="0" y="118"/>
                  </a:lnTo>
                  <a:lnTo>
                    <a:pt x="0" y="118"/>
                  </a:lnTo>
                  <a:lnTo>
                    <a:pt x="5" y="110"/>
                  </a:lnTo>
                  <a:lnTo>
                    <a:pt x="9" y="105"/>
                  </a:lnTo>
                  <a:lnTo>
                    <a:pt x="9" y="105"/>
                  </a:lnTo>
                  <a:lnTo>
                    <a:pt x="13" y="100"/>
                  </a:lnTo>
                  <a:lnTo>
                    <a:pt x="19" y="96"/>
                  </a:lnTo>
                  <a:lnTo>
                    <a:pt x="19" y="96"/>
                  </a:lnTo>
                  <a:lnTo>
                    <a:pt x="20" y="91"/>
                  </a:lnTo>
                  <a:lnTo>
                    <a:pt x="23" y="86"/>
                  </a:lnTo>
                  <a:lnTo>
                    <a:pt x="25" y="81"/>
                  </a:lnTo>
                  <a:lnTo>
                    <a:pt x="26" y="80"/>
                  </a:lnTo>
                  <a:lnTo>
                    <a:pt x="28" y="78"/>
                  </a:lnTo>
                  <a:lnTo>
                    <a:pt x="28" y="78"/>
                  </a:lnTo>
                  <a:lnTo>
                    <a:pt x="32" y="77"/>
                  </a:lnTo>
                  <a:lnTo>
                    <a:pt x="38" y="73"/>
                  </a:lnTo>
                  <a:lnTo>
                    <a:pt x="42" y="70"/>
                  </a:lnTo>
                  <a:lnTo>
                    <a:pt x="47" y="64"/>
                  </a:lnTo>
                  <a:lnTo>
                    <a:pt x="47" y="64"/>
                  </a:lnTo>
                  <a:lnTo>
                    <a:pt x="52" y="60"/>
                  </a:lnTo>
                  <a:lnTo>
                    <a:pt x="58" y="52"/>
                  </a:lnTo>
                  <a:lnTo>
                    <a:pt x="65" y="47"/>
                  </a:lnTo>
                  <a:lnTo>
                    <a:pt x="67" y="44"/>
                  </a:lnTo>
                  <a:lnTo>
                    <a:pt x="68" y="41"/>
                  </a:lnTo>
                  <a:lnTo>
                    <a:pt x="68" y="41"/>
                  </a:lnTo>
                  <a:lnTo>
                    <a:pt x="70" y="31"/>
                  </a:lnTo>
                  <a:lnTo>
                    <a:pt x="71" y="28"/>
                  </a:lnTo>
                  <a:lnTo>
                    <a:pt x="74" y="26"/>
                  </a:lnTo>
                  <a:lnTo>
                    <a:pt x="74" y="26"/>
                  </a:lnTo>
                  <a:lnTo>
                    <a:pt x="77" y="22"/>
                  </a:lnTo>
                  <a:lnTo>
                    <a:pt x="78" y="18"/>
                  </a:lnTo>
                  <a:lnTo>
                    <a:pt x="84" y="6"/>
                  </a:lnTo>
                  <a:lnTo>
                    <a:pt x="84" y="6"/>
                  </a:lnTo>
                  <a:lnTo>
                    <a:pt x="87" y="2"/>
                  </a:lnTo>
                  <a:lnTo>
                    <a:pt x="90" y="0"/>
                  </a:lnTo>
                  <a:lnTo>
                    <a:pt x="93" y="0"/>
                  </a:lnTo>
                  <a:lnTo>
                    <a:pt x="94" y="3"/>
                  </a:lnTo>
                  <a:lnTo>
                    <a:pt x="94" y="3"/>
                  </a:lnTo>
                  <a:lnTo>
                    <a:pt x="96" y="5"/>
                  </a:lnTo>
                  <a:lnTo>
                    <a:pt x="97" y="6"/>
                  </a:lnTo>
                  <a:lnTo>
                    <a:pt x="99" y="6"/>
                  </a:lnTo>
                  <a:lnTo>
                    <a:pt x="100" y="7"/>
                  </a:lnTo>
                  <a:lnTo>
                    <a:pt x="100" y="7"/>
                  </a:lnTo>
                  <a:lnTo>
                    <a:pt x="102" y="13"/>
                  </a:lnTo>
                  <a:lnTo>
                    <a:pt x="102" y="15"/>
                  </a:lnTo>
                  <a:lnTo>
                    <a:pt x="103" y="15"/>
                  </a:lnTo>
                  <a:lnTo>
                    <a:pt x="103" y="15"/>
                  </a:lnTo>
                  <a:lnTo>
                    <a:pt x="107" y="10"/>
                  </a:lnTo>
                  <a:lnTo>
                    <a:pt x="110" y="9"/>
                  </a:lnTo>
                  <a:lnTo>
                    <a:pt x="112" y="9"/>
                  </a:lnTo>
                  <a:lnTo>
                    <a:pt x="112" y="9"/>
                  </a:lnTo>
                  <a:lnTo>
                    <a:pt x="113" y="10"/>
                  </a:lnTo>
                  <a:lnTo>
                    <a:pt x="115" y="18"/>
                  </a:lnTo>
                  <a:lnTo>
                    <a:pt x="115" y="18"/>
                  </a:lnTo>
                  <a:lnTo>
                    <a:pt x="115" y="29"/>
                  </a:lnTo>
                  <a:lnTo>
                    <a:pt x="115" y="34"/>
                  </a:lnTo>
                  <a:lnTo>
                    <a:pt x="112" y="38"/>
                  </a:lnTo>
                  <a:lnTo>
                    <a:pt x="112" y="38"/>
                  </a:lnTo>
                  <a:lnTo>
                    <a:pt x="106" y="48"/>
                  </a:lnTo>
                  <a:lnTo>
                    <a:pt x="102" y="58"/>
                  </a:lnTo>
                  <a:lnTo>
                    <a:pt x="102" y="58"/>
                  </a:lnTo>
                  <a:lnTo>
                    <a:pt x="100" y="63"/>
                  </a:lnTo>
                  <a:lnTo>
                    <a:pt x="102" y="67"/>
                  </a:lnTo>
                  <a:lnTo>
                    <a:pt x="102" y="71"/>
                  </a:lnTo>
                  <a:lnTo>
                    <a:pt x="102" y="73"/>
                  </a:lnTo>
                  <a:lnTo>
                    <a:pt x="102" y="73"/>
                  </a:lnTo>
                  <a:lnTo>
                    <a:pt x="99" y="73"/>
                  </a:lnTo>
                  <a:lnTo>
                    <a:pt x="96" y="71"/>
                  </a:lnTo>
                  <a:lnTo>
                    <a:pt x="93" y="71"/>
                  </a:lnTo>
                  <a:lnTo>
                    <a:pt x="90" y="73"/>
                  </a:lnTo>
                  <a:lnTo>
                    <a:pt x="90" y="73"/>
                  </a:lnTo>
                  <a:lnTo>
                    <a:pt x="78" y="80"/>
                  </a:lnTo>
                  <a:lnTo>
                    <a:pt x="71" y="84"/>
                  </a:lnTo>
                  <a:lnTo>
                    <a:pt x="68" y="89"/>
                  </a:lnTo>
                  <a:lnTo>
                    <a:pt x="68" y="89"/>
                  </a:lnTo>
                  <a:lnTo>
                    <a:pt x="67" y="97"/>
                  </a:lnTo>
                  <a:lnTo>
                    <a:pt x="67" y="103"/>
                  </a:lnTo>
                  <a:lnTo>
                    <a:pt x="65" y="107"/>
                  </a:lnTo>
                  <a:lnTo>
                    <a:pt x="65" y="107"/>
                  </a:lnTo>
                  <a:lnTo>
                    <a:pt x="62" y="115"/>
                  </a:lnTo>
                  <a:lnTo>
                    <a:pt x="57" y="122"/>
                  </a:lnTo>
                  <a:lnTo>
                    <a:pt x="57" y="122"/>
                  </a:lnTo>
                  <a:lnTo>
                    <a:pt x="49" y="129"/>
                  </a:lnTo>
                  <a:lnTo>
                    <a:pt x="41" y="1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43" name="Freeform 896"/>
            <p:cNvSpPr>
              <a:spLocks/>
            </p:cNvSpPr>
            <p:nvPr/>
          </p:nvSpPr>
          <p:spPr bwMode="auto">
            <a:xfrm>
              <a:off x="8678863" y="5630864"/>
              <a:ext cx="150813" cy="230188"/>
            </a:xfrm>
            <a:custGeom>
              <a:avLst/>
              <a:gdLst>
                <a:gd name="T0" fmla="*/ 34 w 95"/>
                <a:gd name="T1" fmla="*/ 141 h 145"/>
                <a:gd name="T2" fmla="*/ 40 w 95"/>
                <a:gd name="T3" fmla="*/ 131 h 145"/>
                <a:gd name="T4" fmla="*/ 42 w 95"/>
                <a:gd name="T5" fmla="*/ 120 h 145"/>
                <a:gd name="T6" fmla="*/ 41 w 95"/>
                <a:gd name="T7" fmla="*/ 118 h 145"/>
                <a:gd name="T8" fmla="*/ 27 w 95"/>
                <a:gd name="T9" fmla="*/ 109 h 145"/>
                <a:gd name="T10" fmla="*/ 18 w 95"/>
                <a:gd name="T11" fmla="*/ 102 h 145"/>
                <a:gd name="T12" fmla="*/ 18 w 95"/>
                <a:gd name="T13" fmla="*/ 100 h 145"/>
                <a:gd name="T14" fmla="*/ 29 w 95"/>
                <a:gd name="T15" fmla="*/ 87 h 145"/>
                <a:gd name="T16" fmla="*/ 31 w 95"/>
                <a:gd name="T17" fmla="*/ 81 h 145"/>
                <a:gd name="T18" fmla="*/ 35 w 95"/>
                <a:gd name="T19" fmla="*/ 71 h 145"/>
                <a:gd name="T20" fmla="*/ 37 w 95"/>
                <a:gd name="T21" fmla="*/ 67 h 145"/>
                <a:gd name="T22" fmla="*/ 35 w 95"/>
                <a:gd name="T23" fmla="*/ 65 h 145"/>
                <a:gd name="T24" fmla="*/ 29 w 95"/>
                <a:gd name="T25" fmla="*/ 60 h 145"/>
                <a:gd name="T26" fmla="*/ 32 w 95"/>
                <a:gd name="T27" fmla="*/ 55 h 145"/>
                <a:gd name="T28" fmla="*/ 34 w 95"/>
                <a:gd name="T29" fmla="*/ 54 h 145"/>
                <a:gd name="T30" fmla="*/ 28 w 95"/>
                <a:gd name="T31" fmla="*/ 48 h 145"/>
                <a:gd name="T32" fmla="*/ 24 w 95"/>
                <a:gd name="T33" fmla="*/ 44 h 145"/>
                <a:gd name="T34" fmla="*/ 12 w 95"/>
                <a:gd name="T35" fmla="*/ 23 h 145"/>
                <a:gd name="T36" fmla="*/ 8 w 95"/>
                <a:gd name="T37" fmla="*/ 18 h 145"/>
                <a:gd name="T38" fmla="*/ 0 w 95"/>
                <a:gd name="T39" fmla="*/ 2 h 145"/>
                <a:gd name="T40" fmla="*/ 0 w 95"/>
                <a:gd name="T41" fmla="*/ 0 h 145"/>
                <a:gd name="T42" fmla="*/ 9 w 95"/>
                <a:gd name="T43" fmla="*/ 7 h 145"/>
                <a:gd name="T44" fmla="*/ 19 w 95"/>
                <a:gd name="T45" fmla="*/ 15 h 145"/>
                <a:gd name="T46" fmla="*/ 24 w 95"/>
                <a:gd name="T47" fmla="*/ 18 h 145"/>
                <a:gd name="T48" fmla="*/ 31 w 95"/>
                <a:gd name="T49" fmla="*/ 26 h 145"/>
                <a:gd name="T50" fmla="*/ 32 w 95"/>
                <a:gd name="T51" fmla="*/ 31 h 145"/>
                <a:gd name="T52" fmla="*/ 32 w 95"/>
                <a:gd name="T53" fmla="*/ 42 h 145"/>
                <a:gd name="T54" fmla="*/ 34 w 95"/>
                <a:gd name="T55" fmla="*/ 47 h 145"/>
                <a:gd name="T56" fmla="*/ 41 w 95"/>
                <a:gd name="T57" fmla="*/ 57 h 145"/>
                <a:gd name="T58" fmla="*/ 44 w 95"/>
                <a:gd name="T59" fmla="*/ 57 h 145"/>
                <a:gd name="T60" fmla="*/ 48 w 95"/>
                <a:gd name="T61" fmla="*/ 51 h 145"/>
                <a:gd name="T62" fmla="*/ 47 w 95"/>
                <a:gd name="T63" fmla="*/ 47 h 145"/>
                <a:gd name="T64" fmla="*/ 44 w 95"/>
                <a:gd name="T65" fmla="*/ 38 h 145"/>
                <a:gd name="T66" fmla="*/ 45 w 95"/>
                <a:gd name="T67" fmla="*/ 35 h 145"/>
                <a:gd name="T68" fmla="*/ 45 w 95"/>
                <a:gd name="T69" fmla="*/ 35 h 145"/>
                <a:gd name="T70" fmla="*/ 54 w 95"/>
                <a:gd name="T71" fmla="*/ 57 h 145"/>
                <a:gd name="T72" fmla="*/ 55 w 95"/>
                <a:gd name="T73" fmla="*/ 60 h 145"/>
                <a:gd name="T74" fmla="*/ 64 w 95"/>
                <a:gd name="T75" fmla="*/ 67 h 145"/>
                <a:gd name="T76" fmla="*/ 70 w 95"/>
                <a:gd name="T77" fmla="*/ 70 h 145"/>
                <a:gd name="T78" fmla="*/ 77 w 95"/>
                <a:gd name="T79" fmla="*/ 71 h 145"/>
                <a:gd name="T80" fmla="*/ 83 w 95"/>
                <a:gd name="T81" fmla="*/ 67 h 145"/>
                <a:gd name="T82" fmla="*/ 90 w 95"/>
                <a:gd name="T83" fmla="*/ 67 h 145"/>
                <a:gd name="T84" fmla="*/ 95 w 95"/>
                <a:gd name="T85" fmla="*/ 71 h 145"/>
                <a:gd name="T86" fmla="*/ 93 w 95"/>
                <a:gd name="T87" fmla="*/ 76 h 145"/>
                <a:gd name="T88" fmla="*/ 84 w 95"/>
                <a:gd name="T89" fmla="*/ 90 h 145"/>
                <a:gd name="T90" fmla="*/ 80 w 95"/>
                <a:gd name="T91" fmla="*/ 96 h 145"/>
                <a:gd name="T92" fmla="*/ 76 w 95"/>
                <a:gd name="T93" fmla="*/ 99 h 145"/>
                <a:gd name="T94" fmla="*/ 74 w 95"/>
                <a:gd name="T95" fmla="*/ 105 h 145"/>
                <a:gd name="T96" fmla="*/ 74 w 95"/>
                <a:gd name="T97" fmla="*/ 112 h 145"/>
                <a:gd name="T98" fmla="*/ 64 w 95"/>
                <a:gd name="T99" fmla="*/ 122 h 145"/>
                <a:gd name="T100" fmla="*/ 57 w 95"/>
                <a:gd name="T101" fmla="*/ 132 h 145"/>
                <a:gd name="T102" fmla="*/ 54 w 95"/>
                <a:gd name="T103" fmla="*/ 141 h 145"/>
                <a:gd name="T104" fmla="*/ 48 w 95"/>
                <a:gd name="T105" fmla="*/ 145 h 145"/>
                <a:gd name="T106" fmla="*/ 41 w 95"/>
                <a:gd name="T107" fmla="*/ 145 h 145"/>
                <a:gd name="T108" fmla="*/ 34 w 95"/>
                <a:gd name="T109" fmla="*/ 14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5" h="145">
                  <a:moveTo>
                    <a:pt x="34" y="141"/>
                  </a:moveTo>
                  <a:lnTo>
                    <a:pt x="34" y="141"/>
                  </a:lnTo>
                  <a:lnTo>
                    <a:pt x="35" y="136"/>
                  </a:lnTo>
                  <a:lnTo>
                    <a:pt x="40" y="131"/>
                  </a:lnTo>
                  <a:lnTo>
                    <a:pt x="42" y="123"/>
                  </a:lnTo>
                  <a:lnTo>
                    <a:pt x="42" y="120"/>
                  </a:lnTo>
                  <a:lnTo>
                    <a:pt x="41" y="118"/>
                  </a:lnTo>
                  <a:lnTo>
                    <a:pt x="41" y="118"/>
                  </a:lnTo>
                  <a:lnTo>
                    <a:pt x="35" y="113"/>
                  </a:lnTo>
                  <a:lnTo>
                    <a:pt x="27" y="109"/>
                  </a:lnTo>
                  <a:lnTo>
                    <a:pt x="19" y="105"/>
                  </a:lnTo>
                  <a:lnTo>
                    <a:pt x="18" y="102"/>
                  </a:lnTo>
                  <a:lnTo>
                    <a:pt x="18" y="100"/>
                  </a:lnTo>
                  <a:lnTo>
                    <a:pt x="18" y="100"/>
                  </a:lnTo>
                  <a:lnTo>
                    <a:pt x="25" y="93"/>
                  </a:lnTo>
                  <a:lnTo>
                    <a:pt x="29" y="87"/>
                  </a:lnTo>
                  <a:lnTo>
                    <a:pt x="31" y="81"/>
                  </a:lnTo>
                  <a:lnTo>
                    <a:pt x="31" y="81"/>
                  </a:lnTo>
                  <a:lnTo>
                    <a:pt x="32" y="76"/>
                  </a:lnTo>
                  <a:lnTo>
                    <a:pt x="35" y="71"/>
                  </a:lnTo>
                  <a:lnTo>
                    <a:pt x="37" y="68"/>
                  </a:lnTo>
                  <a:lnTo>
                    <a:pt x="37" y="67"/>
                  </a:lnTo>
                  <a:lnTo>
                    <a:pt x="35" y="65"/>
                  </a:lnTo>
                  <a:lnTo>
                    <a:pt x="35" y="65"/>
                  </a:lnTo>
                  <a:lnTo>
                    <a:pt x="31" y="61"/>
                  </a:lnTo>
                  <a:lnTo>
                    <a:pt x="29" y="60"/>
                  </a:lnTo>
                  <a:lnTo>
                    <a:pt x="31" y="58"/>
                  </a:lnTo>
                  <a:lnTo>
                    <a:pt x="32" y="55"/>
                  </a:lnTo>
                  <a:lnTo>
                    <a:pt x="32" y="55"/>
                  </a:lnTo>
                  <a:lnTo>
                    <a:pt x="34" y="54"/>
                  </a:lnTo>
                  <a:lnTo>
                    <a:pt x="32" y="52"/>
                  </a:lnTo>
                  <a:lnTo>
                    <a:pt x="28" y="48"/>
                  </a:lnTo>
                  <a:lnTo>
                    <a:pt x="28" y="48"/>
                  </a:lnTo>
                  <a:lnTo>
                    <a:pt x="24" y="44"/>
                  </a:lnTo>
                  <a:lnTo>
                    <a:pt x="19" y="36"/>
                  </a:lnTo>
                  <a:lnTo>
                    <a:pt x="12" y="23"/>
                  </a:lnTo>
                  <a:lnTo>
                    <a:pt x="12" y="23"/>
                  </a:lnTo>
                  <a:lnTo>
                    <a:pt x="8" y="18"/>
                  </a:lnTo>
                  <a:lnTo>
                    <a:pt x="3" y="9"/>
                  </a:lnTo>
                  <a:lnTo>
                    <a:pt x="0" y="2"/>
                  </a:lnTo>
                  <a:lnTo>
                    <a:pt x="0" y="0"/>
                  </a:lnTo>
                  <a:lnTo>
                    <a:pt x="0" y="0"/>
                  </a:lnTo>
                  <a:lnTo>
                    <a:pt x="0" y="0"/>
                  </a:lnTo>
                  <a:lnTo>
                    <a:pt x="9" y="7"/>
                  </a:lnTo>
                  <a:lnTo>
                    <a:pt x="15" y="12"/>
                  </a:lnTo>
                  <a:lnTo>
                    <a:pt x="19" y="15"/>
                  </a:lnTo>
                  <a:lnTo>
                    <a:pt x="19" y="15"/>
                  </a:lnTo>
                  <a:lnTo>
                    <a:pt x="24" y="18"/>
                  </a:lnTo>
                  <a:lnTo>
                    <a:pt x="28" y="22"/>
                  </a:lnTo>
                  <a:lnTo>
                    <a:pt x="31" y="26"/>
                  </a:lnTo>
                  <a:lnTo>
                    <a:pt x="32" y="31"/>
                  </a:lnTo>
                  <a:lnTo>
                    <a:pt x="32" y="31"/>
                  </a:lnTo>
                  <a:lnTo>
                    <a:pt x="32" y="38"/>
                  </a:lnTo>
                  <a:lnTo>
                    <a:pt x="32" y="42"/>
                  </a:lnTo>
                  <a:lnTo>
                    <a:pt x="34" y="47"/>
                  </a:lnTo>
                  <a:lnTo>
                    <a:pt x="34" y="47"/>
                  </a:lnTo>
                  <a:lnTo>
                    <a:pt x="40" y="54"/>
                  </a:lnTo>
                  <a:lnTo>
                    <a:pt x="41" y="57"/>
                  </a:lnTo>
                  <a:lnTo>
                    <a:pt x="44" y="57"/>
                  </a:lnTo>
                  <a:lnTo>
                    <a:pt x="44" y="57"/>
                  </a:lnTo>
                  <a:lnTo>
                    <a:pt x="47" y="52"/>
                  </a:lnTo>
                  <a:lnTo>
                    <a:pt x="48" y="51"/>
                  </a:lnTo>
                  <a:lnTo>
                    <a:pt x="47" y="47"/>
                  </a:lnTo>
                  <a:lnTo>
                    <a:pt x="47" y="47"/>
                  </a:lnTo>
                  <a:lnTo>
                    <a:pt x="45" y="42"/>
                  </a:lnTo>
                  <a:lnTo>
                    <a:pt x="44" y="38"/>
                  </a:lnTo>
                  <a:lnTo>
                    <a:pt x="45" y="35"/>
                  </a:lnTo>
                  <a:lnTo>
                    <a:pt x="45" y="35"/>
                  </a:lnTo>
                  <a:lnTo>
                    <a:pt x="45" y="35"/>
                  </a:lnTo>
                  <a:lnTo>
                    <a:pt x="45" y="35"/>
                  </a:lnTo>
                  <a:lnTo>
                    <a:pt x="50" y="45"/>
                  </a:lnTo>
                  <a:lnTo>
                    <a:pt x="54" y="57"/>
                  </a:lnTo>
                  <a:lnTo>
                    <a:pt x="54" y="57"/>
                  </a:lnTo>
                  <a:lnTo>
                    <a:pt x="55" y="60"/>
                  </a:lnTo>
                  <a:lnTo>
                    <a:pt x="58" y="64"/>
                  </a:lnTo>
                  <a:lnTo>
                    <a:pt x="64" y="67"/>
                  </a:lnTo>
                  <a:lnTo>
                    <a:pt x="70" y="70"/>
                  </a:lnTo>
                  <a:lnTo>
                    <a:pt x="70" y="70"/>
                  </a:lnTo>
                  <a:lnTo>
                    <a:pt x="74" y="71"/>
                  </a:lnTo>
                  <a:lnTo>
                    <a:pt x="77" y="71"/>
                  </a:lnTo>
                  <a:lnTo>
                    <a:pt x="83" y="67"/>
                  </a:lnTo>
                  <a:lnTo>
                    <a:pt x="83" y="67"/>
                  </a:lnTo>
                  <a:lnTo>
                    <a:pt x="87" y="65"/>
                  </a:lnTo>
                  <a:lnTo>
                    <a:pt x="90" y="67"/>
                  </a:lnTo>
                  <a:lnTo>
                    <a:pt x="93" y="68"/>
                  </a:lnTo>
                  <a:lnTo>
                    <a:pt x="95" y="71"/>
                  </a:lnTo>
                  <a:lnTo>
                    <a:pt x="95" y="71"/>
                  </a:lnTo>
                  <a:lnTo>
                    <a:pt x="93" y="76"/>
                  </a:lnTo>
                  <a:lnTo>
                    <a:pt x="90" y="81"/>
                  </a:lnTo>
                  <a:lnTo>
                    <a:pt x="84" y="90"/>
                  </a:lnTo>
                  <a:lnTo>
                    <a:pt x="84" y="90"/>
                  </a:lnTo>
                  <a:lnTo>
                    <a:pt x="80" y="96"/>
                  </a:lnTo>
                  <a:lnTo>
                    <a:pt x="76" y="99"/>
                  </a:lnTo>
                  <a:lnTo>
                    <a:pt x="76" y="99"/>
                  </a:lnTo>
                  <a:lnTo>
                    <a:pt x="74" y="102"/>
                  </a:lnTo>
                  <a:lnTo>
                    <a:pt x="74" y="105"/>
                  </a:lnTo>
                  <a:lnTo>
                    <a:pt x="76" y="107"/>
                  </a:lnTo>
                  <a:lnTo>
                    <a:pt x="74" y="112"/>
                  </a:lnTo>
                  <a:lnTo>
                    <a:pt x="74" y="112"/>
                  </a:lnTo>
                  <a:lnTo>
                    <a:pt x="64" y="122"/>
                  </a:lnTo>
                  <a:lnTo>
                    <a:pt x="60" y="128"/>
                  </a:lnTo>
                  <a:lnTo>
                    <a:pt x="57" y="132"/>
                  </a:lnTo>
                  <a:lnTo>
                    <a:pt x="57" y="132"/>
                  </a:lnTo>
                  <a:lnTo>
                    <a:pt x="54" y="141"/>
                  </a:lnTo>
                  <a:lnTo>
                    <a:pt x="53" y="144"/>
                  </a:lnTo>
                  <a:lnTo>
                    <a:pt x="48" y="145"/>
                  </a:lnTo>
                  <a:lnTo>
                    <a:pt x="48" y="145"/>
                  </a:lnTo>
                  <a:lnTo>
                    <a:pt x="41" y="145"/>
                  </a:lnTo>
                  <a:lnTo>
                    <a:pt x="37" y="144"/>
                  </a:lnTo>
                  <a:lnTo>
                    <a:pt x="34" y="141"/>
                  </a:lnTo>
                  <a:close/>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44" name="Freeform 897"/>
            <p:cNvSpPr>
              <a:spLocks/>
            </p:cNvSpPr>
            <p:nvPr/>
          </p:nvSpPr>
          <p:spPr bwMode="auto">
            <a:xfrm>
              <a:off x="8678863" y="5630864"/>
              <a:ext cx="150813" cy="230188"/>
            </a:xfrm>
            <a:custGeom>
              <a:avLst/>
              <a:gdLst>
                <a:gd name="T0" fmla="*/ 34 w 95"/>
                <a:gd name="T1" fmla="*/ 141 h 145"/>
                <a:gd name="T2" fmla="*/ 40 w 95"/>
                <a:gd name="T3" fmla="*/ 131 h 145"/>
                <a:gd name="T4" fmla="*/ 42 w 95"/>
                <a:gd name="T5" fmla="*/ 120 h 145"/>
                <a:gd name="T6" fmla="*/ 41 w 95"/>
                <a:gd name="T7" fmla="*/ 118 h 145"/>
                <a:gd name="T8" fmla="*/ 27 w 95"/>
                <a:gd name="T9" fmla="*/ 109 h 145"/>
                <a:gd name="T10" fmla="*/ 18 w 95"/>
                <a:gd name="T11" fmla="*/ 102 h 145"/>
                <a:gd name="T12" fmla="*/ 18 w 95"/>
                <a:gd name="T13" fmla="*/ 100 h 145"/>
                <a:gd name="T14" fmla="*/ 29 w 95"/>
                <a:gd name="T15" fmla="*/ 87 h 145"/>
                <a:gd name="T16" fmla="*/ 31 w 95"/>
                <a:gd name="T17" fmla="*/ 81 h 145"/>
                <a:gd name="T18" fmla="*/ 35 w 95"/>
                <a:gd name="T19" fmla="*/ 71 h 145"/>
                <a:gd name="T20" fmla="*/ 37 w 95"/>
                <a:gd name="T21" fmla="*/ 67 h 145"/>
                <a:gd name="T22" fmla="*/ 35 w 95"/>
                <a:gd name="T23" fmla="*/ 65 h 145"/>
                <a:gd name="T24" fmla="*/ 29 w 95"/>
                <a:gd name="T25" fmla="*/ 60 h 145"/>
                <a:gd name="T26" fmla="*/ 32 w 95"/>
                <a:gd name="T27" fmla="*/ 55 h 145"/>
                <a:gd name="T28" fmla="*/ 34 w 95"/>
                <a:gd name="T29" fmla="*/ 54 h 145"/>
                <a:gd name="T30" fmla="*/ 28 w 95"/>
                <a:gd name="T31" fmla="*/ 48 h 145"/>
                <a:gd name="T32" fmla="*/ 24 w 95"/>
                <a:gd name="T33" fmla="*/ 44 h 145"/>
                <a:gd name="T34" fmla="*/ 12 w 95"/>
                <a:gd name="T35" fmla="*/ 23 h 145"/>
                <a:gd name="T36" fmla="*/ 8 w 95"/>
                <a:gd name="T37" fmla="*/ 18 h 145"/>
                <a:gd name="T38" fmla="*/ 0 w 95"/>
                <a:gd name="T39" fmla="*/ 2 h 145"/>
                <a:gd name="T40" fmla="*/ 0 w 95"/>
                <a:gd name="T41" fmla="*/ 0 h 145"/>
                <a:gd name="T42" fmla="*/ 9 w 95"/>
                <a:gd name="T43" fmla="*/ 7 h 145"/>
                <a:gd name="T44" fmla="*/ 19 w 95"/>
                <a:gd name="T45" fmla="*/ 15 h 145"/>
                <a:gd name="T46" fmla="*/ 24 w 95"/>
                <a:gd name="T47" fmla="*/ 18 h 145"/>
                <a:gd name="T48" fmla="*/ 31 w 95"/>
                <a:gd name="T49" fmla="*/ 26 h 145"/>
                <a:gd name="T50" fmla="*/ 32 w 95"/>
                <a:gd name="T51" fmla="*/ 31 h 145"/>
                <a:gd name="T52" fmla="*/ 32 w 95"/>
                <a:gd name="T53" fmla="*/ 42 h 145"/>
                <a:gd name="T54" fmla="*/ 34 w 95"/>
                <a:gd name="T55" fmla="*/ 47 h 145"/>
                <a:gd name="T56" fmla="*/ 41 w 95"/>
                <a:gd name="T57" fmla="*/ 57 h 145"/>
                <a:gd name="T58" fmla="*/ 44 w 95"/>
                <a:gd name="T59" fmla="*/ 57 h 145"/>
                <a:gd name="T60" fmla="*/ 48 w 95"/>
                <a:gd name="T61" fmla="*/ 51 h 145"/>
                <a:gd name="T62" fmla="*/ 47 w 95"/>
                <a:gd name="T63" fmla="*/ 47 h 145"/>
                <a:gd name="T64" fmla="*/ 44 w 95"/>
                <a:gd name="T65" fmla="*/ 38 h 145"/>
                <a:gd name="T66" fmla="*/ 45 w 95"/>
                <a:gd name="T67" fmla="*/ 35 h 145"/>
                <a:gd name="T68" fmla="*/ 45 w 95"/>
                <a:gd name="T69" fmla="*/ 35 h 145"/>
                <a:gd name="T70" fmla="*/ 54 w 95"/>
                <a:gd name="T71" fmla="*/ 57 h 145"/>
                <a:gd name="T72" fmla="*/ 55 w 95"/>
                <a:gd name="T73" fmla="*/ 60 h 145"/>
                <a:gd name="T74" fmla="*/ 64 w 95"/>
                <a:gd name="T75" fmla="*/ 67 h 145"/>
                <a:gd name="T76" fmla="*/ 70 w 95"/>
                <a:gd name="T77" fmla="*/ 70 h 145"/>
                <a:gd name="T78" fmla="*/ 77 w 95"/>
                <a:gd name="T79" fmla="*/ 71 h 145"/>
                <a:gd name="T80" fmla="*/ 83 w 95"/>
                <a:gd name="T81" fmla="*/ 67 h 145"/>
                <a:gd name="T82" fmla="*/ 90 w 95"/>
                <a:gd name="T83" fmla="*/ 67 h 145"/>
                <a:gd name="T84" fmla="*/ 95 w 95"/>
                <a:gd name="T85" fmla="*/ 71 h 145"/>
                <a:gd name="T86" fmla="*/ 93 w 95"/>
                <a:gd name="T87" fmla="*/ 76 h 145"/>
                <a:gd name="T88" fmla="*/ 84 w 95"/>
                <a:gd name="T89" fmla="*/ 90 h 145"/>
                <a:gd name="T90" fmla="*/ 80 w 95"/>
                <a:gd name="T91" fmla="*/ 96 h 145"/>
                <a:gd name="T92" fmla="*/ 76 w 95"/>
                <a:gd name="T93" fmla="*/ 99 h 145"/>
                <a:gd name="T94" fmla="*/ 74 w 95"/>
                <a:gd name="T95" fmla="*/ 105 h 145"/>
                <a:gd name="T96" fmla="*/ 74 w 95"/>
                <a:gd name="T97" fmla="*/ 112 h 145"/>
                <a:gd name="T98" fmla="*/ 64 w 95"/>
                <a:gd name="T99" fmla="*/ 122 h 145"/>
                <a:gd name="T100" fmla="*/ 57 w 95"/>
                <a:gd name="T101" fmla="*/ 132 h 145"/>
                <a:gd name="T102" fmla="*/ 54 w 95"/>
                <a:gd name="T103" fmla="*/ 141 h 145"/>
                <a:gd name="T104" fmla="*/ 48 w 95"/>
                <a:gd name="T105" fmla="*/ 145 h 145"/>
                <a:gd name="T106" fmla="*/ 41 w 95"/>
                <a:gd name="T107" fmla="*/ 145 h 145"/>
                <a:gd name="T108" fmla="*/ 34 w 95"/>
                <a:gd name="T109" fmla="*/ 14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5" h="145">
                  <a:moveTo>
                    <a:pt x="34" y="141"/>
                  </a:moveTo>
                  <a:lnTo>
                    <a:pt x="34" y="141"/>
                  </a:lnTo>
                  <a:lnTo>
                    <a:pt x="35" y="136"/>
                  </a:lnTo>
                  <a:lnTo>
                    <a:pt x="40" y="131"/>
                  </a:lnTo>
                  <a:lnTo>
                    <a:pt x="42" y="123"/>
                  </a:lnTo>
                  <a:lnTo>
                    <a:pt x="42" y="120"/>
                  </a:lnTo>
                  <a:lnTo>
                    <a:pt x="41" y="118"/>
                  </a:lnTo>
                  <a:lnTo>
                    <a:pt x="41" y="118"/>
                  </a:lnTo>
                  <a:lnTo>
                    <a:pt x="35" y="113"/>
                  </a:lnTo>
                  <a:lnTo>
                    <a:pt x="27" y="109"/>
                  </a:lnTo>
                  <a:lnTo>
                    <a:pt x="19" y="105"/>
                  </a:lnTo>
                  <a:lnTo>
                    <a:pt x="18" y="102"/>
                  </a:lnTo>
                  <a:lnTo>
                    <a:pt x="18" y="100"/>
                  </a:lnTo>
                  <a:lnTo>
                    <a:pt x="18" y="100"/>
                  </a:lnTo>
                  <a:lnTo>
                    <a:pt x="25" y="93"/>
                  </a:lnTo>
                  <a:lnTo>
                    <a:pt x="29" y="87"/>
                  </a:lnTo>
                  <a:lnTo>
                    <a:pt x="31" y="81"/>
                  </a:lnTo>
                  <a:lnTo>
                    <a:pt x="31" y="81"/>
                  </a:lnTo>
                  <a:lnTo>
                    <a:pt x="32" y="76"/>
                  </a:lnTo>
                  <a:lnTo>
                    <a:pt x="35" y="71"/>
                  </a:lnTo>
                  <a:lnTo>
                    <a:pt x="37" y="68"/>
                  </a:lnTo>
                  <a:lnTo>
                    <a:pt x="37" y="67"/>
                  </a:lnTo>
                  <a:lnTo>
                    <a:pt x="35" y="65"/>
                  </a:lnTo>
                  <a:lnTo>
                    <a:pt x="35" y="65"/>
                  </a:lnTo>
                  <a:lnTo>
                    <a:pt x="31" y="61"/>
                  </a:lnTo>
                  <a:lnTo>
                    <a:pt x="29" y="60"/>
                  </a:lnTo>
                  <a:lnTo>
                    <a:pt x="31" y="58"/>
                  </a:lnTo>
                  <a:lnTo>
                    <a:pt x="32" y="55"/>
                  </a:lnTo>
                  <a:lnTo>
                    <a:pt x="32" y="55"/>
                  </a:lnTo>
                  <a:lnTo>
                    <a:pt x="34" y="54"/>
                  </a:lnTo>
                  <a:lnTo>
                    <a:pt x="32" y="52"/>
                  </a:lnTo>
                  <a:lnTo>
                    <a:pt x="28" y="48"/>
                  </a:lnTo>
                  <a:lnTo>
                    <a:pt x="28" y="48"/>
                  </a:lnTo>
                  <a:lnTo>
                    <a:pt x="24" y="44"/>
                  </a:lnTo>
                  <a:lnTo>
                    <a:pt x="19" y="36"/>
                  </a:lnTo>
                  <a:lnTo>
                    <a:pt x="12" y="23"/>
                  </a:lnTo>
                  <a:lnTo>
                    <a:pt x="12" y="23"/>
                  </a:lnTo>
                  <a:lnTo>
                    <a:pt x="8" y="18"/>
                  </a:lnTo>
                  <a:lnTo>
                    <a:pt x="3" y="9"/>
                  </a:lnTo>
                  <a:lnTo>
                    <a:pt x="0" y="2"/>
                  </a:lnTo>
                  <a:lnTo>
                    <a:pt x="0" y="0"/>
                  </a:lnTo>
                  <a:lnTo>
                    <a:pt x="0" y="0"/>
                  </a:lnTo>
                  <a:lnTo>
                    <a:pt x="0" y="0"/>
                  </a:lnTo>
                  <a:lnTo>
                    <a:pt x="9" y="7"/>
                  </a:lnTo>
                  <a:lnTo>
                    <a:pt x="15" y="12"/>
                  </a:lnTo>
                  <a:lnTo>
                    <a:pt x="19" y="15"/>
                  </a:lnTo>
                  <a:lnTo>
                    <a:pt x="19" y="15"/>
                  </a:lnTo>
                  <a:lnTo>
                    <a:pt x="24" y="18"/>
                  </a:lnTo>
                  <a:lnTo>
                    <a:pt x="28" y="22"/>
                  </a:lnTo>
                  <a:lnTo>
                    <a:pt x="31" y="26"/>
                  </a:lnTo>
                  <a:lnTo>
                    <a:pt x="32" y="31"/>
                  </a:lnTo>
                  <a:lnTo>
                    <a:pt x="32" y="31"/>
                  </a:lnTo>
                  <a:lnTo>
                    <a:pt x="32" y="38"/>
                  </a:lnTo>
                  <a:lnTo>
                    <a:pt x="32" y="42"/>
                  </a:lnTo>
                  <a:lnTo>
                    <a:pt x="34" y="47"/>
                  </a:lnTo>
                  <a:lnTo>
                    <a:pt x="34" y="47"/>
                  </a:lnTo>
                  <a:lnTo>
                    <a:pt x="40" y="54"/>
                  </a:lnTo>
                  <a:lnTo>
                    <a:pt x="41" y="57"/>
                  </a:lnTo>
                  <a:lnTo>
                    <a:pt x="44" y="57"/>
                  </a:lnTo>
                  <a:lnTo>
                    <a:pt x="44" y="57"/>
                  </a:lnTo>
                  <a:lnTo>
                    <a:pt x="47" y="52"/>
                  </a:lnTo>
                  <a:lnTo>
                    <a:pt x="48" y="51"/>
                  </a:lnTo>
                  <a:lnTo>
                    <a:pt x="47" y="47"/>
                  </a:lnTo>
                  <a:lnTo>
                    <a:pt x="47" y="47"/>
                  </a:lnTo>
                  <a:lnTo>
                    <a:pt x="45" y="42"/>
                  </a:lnTo>
                  <a:lnTo>
                    <a:pt x="44" y="38"/>
                  </a:lnTo>
                  <a:lnTo>
                    <a:pt x="45" y="35"/>
                  </a:lnTo>
                  <a:lnTo>
                    <a:pt x="45" y="35"/>
                  </a:lnTo>
                  <a:lnTo>
                    <a:pt x="45" y="35"/>
                  </a:lnTo>
                  <a:lnTo>
                    <a:pt x="45" y="35"/>
                  </a:lnTo>
                  <a:lnTo>
                    <a:pt x="50" y="45"/>
                  </a:lnTo>
                  <a:lnTo>
                    <a:pt x="54" y="57"/>
                  </a:lnTo>
                  <a:lnTo>
                    <a:pt x="54" y="57"/>
                  </a:lnTo>
                  <a:lnTo>
                    <a:pt x="55" y="60"/>
                  </a:lnTo>
                  <a:lnTo>
                    <a:pt x="58" y="64"/>
                  </a:lnTo>
                  <a:lnTo>
                    <a:pt x="64" y="67"/>
                  </a:lnTo>
                  <a:lnTo>
                    <a:pt x="70" y="70"/>
                  </a:lnTo>
                  <a:lnTo>
                    <a:pt x="70" y="70"/>
                  </a:lnTo>
                  <a:lnTo>
                    <a:pt x="74" y="71"/>
                  </a:lnTo>
                  <a:lnTo>
                    <a:pt x="77" y="71"/>
                  </a:lnTo>
                  <a:lnTo>
                    <a:pt x="83" y="67"/>
                  </a:lnTo>
                  <a:lnTo>
                    <a:pt x="83" y="67"/>
                  </a:lnTo>
                  <a:lnTo>
                    <a:pt x="87" y="65"/>
                  </a:lnTo>
                  <a:lnTo>
                    <a:pt x="90" y="67"/>
                  </a:lnTo>
                  <a:lnTo>
                    <a:pt x="93" y="68"/>
                  </a:lnTo>
                  <a:lnTo>
                    <a:pt x="95" y="71"/>
                  </a:lnTo>
                  <a:lnTo>
                    <a:pt x="95" y="71"/>
                  </a:lnTo>
                  <a:lnTo>
                    <a:pt x="93" y="76"/>
                  </a:lnTo>
                  <a:lnTo>
                    <a:pt x="90" y="81"/>
                  </a:lnTo>
                  <a:lnTo>
                    <a:pt x="84" y="90"/>
                  </a:lnTo>
                  <a:lnTo>
                    <a:pt x="84" y="90"/>
                  </a:lnTo>
                  <a:lnTo>
                    <a:pt x="80" y="96"/>
                  </a:lnTo>
                  <a:lnTo>
                    <a:pt x="76" y="99"/>
                  </a:lnTo>
                  <a:lnTo>
                    <a:pt x="76" y="99"/>
                  </a:lnTo>
                  <a:lnTo>
                    <a:pt x="74" y="102"/>
                  </a:lnTo>
                  <a:lnTo>
                    <a:pt x="74" y="105"/>
                  </a:lnTo>
                  <a:lnTo>
                    <a:pt x="76" y="107"/>
                  </a:lnTo>
                  <a:lnTo>
                    <a:pt x="74" y="112"/>
                  </a:lnTo>
                  <a:lnTo>
                    <a:pt x="74" y="112"/>
                  </a:lnTo>
                  <a:lnTo>
                    <a:pt x="64" y="122"/>
                  </a:lnTo>
                  <a:lnTo>
                    <a:pt x="60" y="128"/>
                  </a:lnTo>
                  <a:lnTo>
                    <a:pt x="57" y="132"/>
                  </a:lnTo>
                  <a:lnTo>
                    <a:pt x="57" y="132"/>
                  </a:lnTo>
                  <a:lnTo>
                    <a:pt x="54" y="141"/>
                  </a:lnTo>
                  <a:lnTo>
                    <a:pt x="53" y="144"/>
                  </a:lnTo>
                  <a:lnTo>
                    <a:pt x="48" y="145"/>
                  </a:lnTo>
                  <a:lnTo>
                    <a:pt x="48" y="145"/>
                  </a:lnTo>
                  <a:lnTo>
                    <a:pt x="41" y="145"/>
                  </a:lnTo>
                  <a:lnTo>
                    <a:pt x="37" y="144"/>
                  </a:lnTo>
                  <a:lnTo>
                    <a:pt x="34" y="14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45" name="Freeform 1025"/>
            <p:cNvSpPr>
              <a:spLocks/>
            </p:cNvSpPr>
            <p:nvPr/>
          </p:nvSpPr>
          <p:spPr bwMode="auto">
            <a:xfrm>
              <a:off x="7483475" y="3508376"/>
              <a:ext cx="161925" cy="173038"/>
            </a:xfrm>
            <a:custGeom>
              <a:avLst/>
              <a:gdLst>
                <a:gd name="T0" fmla="*/ 38 w 102"/>
                <a:gd name="T1" fmla="*/ 109 h 109"/>
                <a:gd name="T2" fmla="*/ 32 w 102"/>
                <a:gd name="T3" fmla="*/ 107 h 109"/>
                <a:gd name="T4" fmla="*/ 18 w 102"/>
                <a:gd name="T5" fmla="*/ 103 h 109"/>
                <a:gd name="T6" fmla="*/ 12 w 102"/>
                <a:gd name="T7" fmla="*/ 102 h 109"/>
                <a:gd name="T8" fmla="*/ 12 w 102"/>
                <a:gd name="T9" fmla="*/ 102 h 109"/>
                <a:gd name="T10" fmla="*/ 12 w 102"/>
                <a:gd name="T11" fmla="*/ 102 h 109"/>
                <a:gd name="T12" fmla="*/ 16 w 102"/>
                <a:gd name="T13" fmla="*/ 94 h 109"/>
                <a:gd name="T14" fmla="*/ 19 w 102"/>
                <a:gd name="T15" fmla="*/ 87 h 109"/>
                <a:gd name="T16" fmla="*/ 19 w 102"/>
                <a:gd name="T17" fmla="*/ 84 h 109"/>
                <a:gd name="T18" fmla="*/ 19 w 102"/>
                <a:gd name="T19" fmla="*/ 80 h 109"/>
                <a:gd name="T20" fmla="*/ 21 w 102"/>
                <a:gd name="T21" fmla="*/ 74 h 109"/>
                <a:gd name="T22" fmla="*/ 21 w 102"/>
                <a:gd name="T23" fmla="*/ 71 h 109"/>
                <a:gd name="T24" fmla="*/ 19 w 102"/>
                <a:gd name="T25" fmla="*/ 71 h 109"/>
                <a:gd name="T26" fmla="*/ 18 w 102"/>
                <a:gd name="T27" fmla="*/ 70 h 109"/>
                <a:gd name="T28" fmla="*/ 13 w 102"/>
                <a:gd name="T29" fmla="*/ 70 h 109"/>
                <a:gd name="T30" fmla="*/ 13 w 102"/>
                <a:gd name="T31" fmla="*/ 70 h 109"/>
                <a:gd name="T32" fmla="*/ 10 w 102"/>
                <a:gd name="T33" fmla="*/ 70 h 109"/>
                <a:gd name="T34" fmla="*/ 9 w 102"/>
                <a:gd name="T35" fmla="*/ 68 h 109"/>
                <a:gd name="T36" fmla="*/ 6 w 102"/>
                <a:gd name="T37" fmla="*/ 67 h 109"/>
                <a:gd name="T38" fmla="*/ 3 w 102"/>
                <a:gd name="T39" fmla="*/ 65 h 109"/>
                <a:gd name="T40" fmla="*/ 0 w 102"/>
                <a:gd name="T41" fmla="*/ 67 h 109"/>
                <a:gd name="T42" fmla="*/ 5 w 102"/>
                <a:gd name="T43" fmla="*/ 60 h 109"/>
                <a:gd name="T44" fmla="*/ 8 w 102"/>
                <a:gd name="T45" fmla="*/ 55 h 109"/>
                <a:gd name="T46" fmla="*/ 21 w 102"/>
                <a:gd name="T47" fmla="*/ 48 h 109"/>
                <a:gd name="T48" fmla="*/ 32 w 102"/>
                <a:gd name="T49" fmla="*/ 42 h 109"/>
                <a:gd name="T50" fmla="*/ 41 w 102"/>
                <a:gd name="T51" fmla="*/ 34 h 109"/>
                <a:gd name="T52" fmla="*/ 44 w 102"/>
                <a:gd name="T53" fmla="*/ 29 h 109"/>
                <a:gd name="T54" fmla="*/ 47 w 102"/>
                <a:gd name="T55" fmla="*/ 28 h 109"/>
                <a:gd name="T56" fmla="*/ 48 w 102"/>
                <a:gd name="T57" fmla="*/ 28 h 109"/>
                <a:gd name="T58" fmla="*/ 52 w 102"/>
                <a:gd name="T59" fmla="*/ 29 h 109"/>
                <a:gd name="T60" fmla="*/ 58 w 102"/>
                <a:gd name="T61" fmla="*/ 31 h 109"/>
                <a:gd name="T62" fmla="*/ 63 w 102"/>
                <a:gd name="T63" fmla="*/ 29 h 109"/>
                <a:gd name="T64" fmla="*/ 65 w 102"/>
                <a:gd name="T65" fmla="*/ 25 h 109"/>
                <a:gd name="T66" fmla="*/ 65 w 102"/>
                <a:gd name="T67" fmla="*/ 18 h 109"/>
                <a:gd name="T68" fmla="*/ 67 w 102"/>
                <a:gd name="T69" fmla="*/ 16 h 109"/>
                <a:gd name="T70" fmla="*/ 73 w 102"/>
                <a:gd name="T71" fmla="*/ 18 h 109"/>
                <a:gd name="T72" fmla="*/ 76 w 102"/>
                <a:gd name="T73" fmla="*/ 16 h 109"/>
                <a:gd name="T74" fmla="*/ 77 w 102"/>
                <a:gd name="T75" fmla="*/ 15 h 109"/>
                <a:gd name="T76" fmla="*/ 89 w 102"/>
                <a:gd name="T77" fmla="*/ 3 h 109"/>
                <a:gd name="T78" fmla="*/ 93 w 102"/>
                <a:gd name="T79" fmla="*/ 0 h 109"/>
                <a:gd name="T80" fmla="*/ 102 w 102"/>
                <a:gd name="T81" fmla="*/ 8 h 109"/>
                <a:gd name="T82" fmla="*/ 102 w 102"/>
                <a:gd name="T83" fmla="*/ 9 h 109"/>
                <a:gd name="T84" fmla="*/ 99 w 102"/>
                <a:gd name="T85" fmla="*/ 10 h 109"/>
                <a:gd name="T86" fmla="*/ 96 w 102"/>
                <a:gd name="T87" fmla="*/ 15 h 109"/>
                <a:gd name="T88" fmla="*/ 87 w 102"/>
                <a:gd name="T89" fmla="*/ 34 h 109"/>
                <a:gd name="T90" fmla="*/ 84 w 102"/>
                <a:gd name="T91" fmla="*/ 38 h 109"/>
                <a:gd name="T92" fmla="*/ 76 w 102"/>
                <a:gd name="T93" fmla="*/ 50 h 109"/>
                <a:gd name="T94" fmla="*/ 71 w 102"/>
                <a:gd name="T95" fmla="*/ 55 h 109"/>
                <a:gd name="T96" fmla="*/ 68 w 102"/>
                <a:gd name="T97" fmla="*/ 58 h 109"/>
                <a:gd name="T98" fmla="*/ 60 w 102"/>
                <a:gd name="T99" fmla="*/ 63 h 109"/>
                <a:gd name="T100" fmla="*/ 55 w 102"/>
                <a:gd name="T101" fmla="*/ 64 h 109"/>
                <a:gd name="T102" fmla="*/ 52 w 102"/>
                <a:gd name="T103" fmla="*/ 68 h 109"/>
                <a:gd name="T104" fmla="*/ 51 w 102"/>
                <a:gd name="T105" fmla="*/ 71 h 109"/>
                <a:gd name="T106" fmla="*/ 50 w 102"/>
                <a:gd name="T107" fmla="*/ 76 h 109"/>
                <a:gd name="T108" fmla="*/ 51 w 102"/>
                <a:gd name="T109" fmla="*/ 79 h 109"/>
                <a:gd name="T110" fmla="*/ 52 w 102"/>
                <a:gd name="T111" fmla="*/ 80 h 109"/>
                <a:gd name="T112" fmla="*/ 58 w 102"/>
                <a:gd name="T113" fmla="*/ 86 h 109"/>
                <a:gd name="T114" fmla="*/ 65 w 102"/>
                <a:gd name="T115" fmla="*/ 93 h 109"/>
                <a:gd name="T116" fmla="*/ 61 w 102"/>
                <a:gd name="T117" fmla="*/ 96 h 109"/>
                <a:gd name="T118" fmla="*/ 57 w 102"/>
                <a:gd name="T119" fmla="*/ 97 h 109"/>
                <a:gd name="T120" fmla="*/ 50 w 102"/>
                <a:gd name="T121" fmla="*/ 10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2" h="109">
                  <a:moveTo>
                    <a:pt x="38" y="109"/>
                  </a:moveTo>
                  <a:lnTo>
                    <a:pt x="38" y="109"/>
                  </a:lnTo>
                  <a:lnTo>
                    <a:pt x="32" y="107"/>
                  </a:lnTo>
                  <a:lnTo>
                    <a:pt x="32" y="107"/>
                  </a:lnTo>
                  <a:lnTo>
                    <a:pt x="18" y="103"/>
                  </a:lnTo>
                  <a:lnTo>
                    <a:pt x="18" y="103"/>
                  </a:lnTo>
                  <a:lnTo>
                    <a:pt x="12" y="102"/>
                  </a:lnTo>
                  <a:lnTo>
                    <a:pt x="12" y="102"/>
                  </a:lnTo>
                  <a:lnTo>
                    <a:pt x="12" y="102"/>
                  </a:lnTo>
                  <a:lnTo>
                    <a:pt x="12" y="102"/>
                  </a:lnTo>
                  <a:lnTo>
                    <a:pt x="12" y="102"/>
                  </a:lnTo>
                  <a:lnTo>
                    <a:pt x="12" y="102"/>
                  </a:lnTo>
                  <a:lnTo>
                    <a:pt x="16" y="94"/>
                  </a:lnTo>
                  <a:lnTo>
                    <a:pt x="16" y="94"/>
                  </a:lnTo>
                  <a:lnTo>
                    <a:pt x="18" y="92"/>
                  </a:lnTo>
                  <a:lnTo>
                    <a:pt x="19" y="87"/>
                  </a:lnTo>
                  <a:lnTo>
                    <a:pt x="19" y="86"/>
                  </a:lnTo>
                  <a:lnTo>
                    <a:pt x="19" y="84"/>
                  </a:lnTo>
                  <a:lnTo>
                    <a:pt x="19" y="84"/>
                  </a:lnTo>
                  <a:lnTo>
                    <a:pt x="19" y="80"/>
                  </a:lnTo>
                  <a:lnTo>
                    <a:pt x="19" y="80"/>
                  </a:lnTo>
                  <a:lnTo>
                    <a:pt x="21" y="74"/>
                  </a:lnTo>
                  <a:lnTo>
                    <a:pt x="21" y="74"/>
                  </a:lnTo>
                  <a:lnTo>
                    <a:pt x="21" y="71"/>
                  </a:lnTo>
                  <a:lnTo>
                    <a:pt x="21" y="71"/>
                  </a:lnTo>
                  <a:lnTo>
                    <a:pt x="19" y="71"/>
                  </a:lnTo>
                  <a:lnTo>
                    <a:pt x="19" y="71"/>
                  </a:lnTo>
                  <a:lnTo>
                    <a:pt x="18" y="70"/>
                  </a:lnTo>
                  <a:lnTo>
                    <a:pt x="18" y="70"/>
                  </a:lnTo>
                  <a:lnTo>
                    <a:pt x="13" y="70"/>
                  </a:lnTo>
                  <a:lnTo>
                    <a:pt x="13" y="70"/>
                  </a:lnTo>
                  <a:lnTo>
                    <a:pt x="13" y="70"/>
                  </a:lnTo>
                  <a:lnTo>
                    <a:pt x="13" y="70"/>
                  </a:lnTo>
                  <a:lnTo>
                    <a:pt x="10" y="70"/>
                  </a:lnTo>
                  <a:lnTo>
                    <a:pt x="10" y="70"/>
                  </a:lnTo>
                  <a:lnTo>
                    <a:pt x="9" y="68"/>
                  </a:lnTo>
                  <a:lnTo>
                    <a:pt x="9" y="68"/>
                  </a:lnTo>
                  <a:lnTo>
                    <a:pt x="6" y="67"/>
                  </a:lnTo>
                  <a:lnTo>
                    <a:pt x="6" y="67"/>
                  </a:lnTo>
                  <a:lnTo>
                    <a:pt x="3" y="65"/>
                  </a:lnTo>
                  <a:lnTo>
                    <a:pt x="3" y="65"/>
                  </a:lnTo>
                  <a:lnTo>
                    <a:pt x="0" y="67"/>
                  </a:lnTo>
                  <a:lnTo>
                    <a:pt x="0" y="67"/>
                  </a:lnTo>
                  <a:lnTo>
                    <a:pt x="5" y="60"/>
                  </a:lnTo>
                  <a:lnTo>
                    <a:pt x="8" y="55"/>
                  </a:lnTo>
                  <a:lnTo>
                    <a:pt x="8" y="55"/>
                  </a:lnTo>
                  <a:lnTo>
                    <a:pt x="13" y="51"/>
                  </a:lnTo>
                  <a:lnTo>
                    <a:pt x="21" y="48"/>
                  </a:lnTo>
                  <a:lnTo>
                    <a:pt x="21" y="48"/>
                  </a:lnTo>
                  <a:lnTo>
                    <a:pt x="32" y="42"/>
                  </a:lnTo>
                  <a:lnTo>
                    <a:pt x="38" y="38"/>
                  </a:lnTo>
                  <a:lnTo>
                    <a:pt x="41" y="34"/>
                  </a:lnTo>
                  <a:lnTo>
                    <a:pt x="41" y="34"/>
                  </a:lnTo>
                  <a:lnTo>
                    <a:pt x="44" y="29"/>
                  </a:lnTo>
                  <a:lnTo>
                    <a:pt x="45" y="28"/>
                  </a:lnTo>
                  <a:lnTo>
                    <a:pt x="47" y="28"/>
                  </a:lnTo>
                  <a:lnTo>
                    <a:pt x="47" y="28"/>
                  </a:lnTo>
                  <a:lnTo>
                    <a:pt x="48" y="28"/>
                  </a:lnTo>
                  <a:lnTo>
                    <a:pt x="48" y="28"/>
                  </a:lnTo>
                  <a:lnTo>
                    <a:pt x="52" y="29"/>
                  </a:lnTo>
                  <a:lnTo>
                    <a:pt x="58" y="31"/>
                  </a:lnTo>
                  <a:lnTo>
                    <a:pt x="58" y="31"/>
                  </a:lnTo>
                  <a:lnTo>
                    <a:pt x="63" y="29"/>
                  </a:lnTo>
                  <a:lnTo>
                    <a:pt x="63" y="29"/>
                  </a:lnTo>
                  <a:lnTo>
                    <a:pt x="64" y="28"/>
                  </a:lnTo>
                  <a:lnTo>
                    <a:pt x="65" y="25"/>
                  </a:lnTo>
                  <a:lnTo>
                    <a:pt x="65" y="21"/>
                  </a:lnTo>
                  <a:lnTo>
                    <a:pt x="65" y="18"/>
                  </a:lnTo>
                  <a:lnTo>
                    <a:pt x="65" y="16"/>
                  </a:lnTo>
                  <a:lnTo>
                    <a:pt x="67" y="16"/>
                  </a:lnTo>
                  <a:lnTo>
                    <a:pt x="67" y="16"/>
                  </a:lnTo>
                  <a:lnTo>
                    <a:pt x="73" y="18"/>
                  </a:lnTo>
                  <a:lnTo>
                    <a:pt x="73" y="18"/>
                  </a:lnTo>
                  <a:lnTo>
                    <a:pt x="76" y="16"/>
                  </a:lnTo>
                  <a:lnTo>
                    <a:pt x="77" y="15"/>
                  </a:lnTo>
                  <a:lnTo>
                    <a:pt x="77" y="15"/>
                  </a:lnTo>
                  <a:lnTo>
                    <a:pt x="84" y="8"/>
                  </a:lnTo>
                  <a:lnTo>
                    <a:pt x="89" y="3"/>
                  </a:lnTo>
                  <a:lnTo>
                    <a:pt x="93" y="0"/>
                  </a:lnTo>
                  <a:lnTo>
                    <a:pt x="93" y="0"/>
                  </a:lnTo>
                  <a:lnTo>
                    <a:pt x="100" y="0"/>
                  </a:lnTo>
                  <a:lnTo>
                    <a:pt x="102" y="8"/>
                  </a:lnTo>
                  <a:lnTo>
                    <a:pt x="102" y="8"/>
                  </a:lnTo>
                  <a:lnTo>
                    <a:pt x="102" y="9"/>
                  </a:lnTo>
                  <a:lnTo>
                    <a:pt x="102" y="9"/>
                  </a:lnTo>
                  <a:lnTo>
                    <a:pt x="99" y="10"/>
                  </a:lnTo>
                  <a:lnTo>
                    <a:pt x="99" y="10"/>
                  </a:lnTo>
                  <a:lnTo>
                    <a:pt x="96" y="15"/>
                  </a:lnTo>
                  <a:lnTo>
                    <a:pt x="96" y="15"/>
                  </a:lnTo>
                  <a:lnTo>
                    <a:pt x="87" y="34"/>
                  </a:lnTo>
                  <a:lnTo>
                    <a:pt x="87" y="34"/>
                  </a:lnTo>
                  <a:lnTo>
                    <a:pt x="84" y="38"/>
                  </a:lnTo>
                  <a:lnTo>
                    <a:pt x="84" y="38"/>
                  </a:lnTo>
                  <a:lnTo>
                    <a:pt x="76" y="50"/>
                  </a:lnTo>
                  <a:lnTo>
                    <a:pt x="76" y="50"/>
                  </a:lnTo>
                  <a:lnTo>
                    <a:pt x="71" y="55"/>
                  </a:lnTo>
                  <a:lnTo>
                    <a:pt x="71" y="55"/>
                  </a:lnTo>
                  <a:lnTo>
                    <a:pt x="68" y="58"/>
                  </a:lnTo>
                  <a:lnTo>
                    <a:pt x="68" y="58"/>
                  </a:lnTo>
                  <a:lnTo>
                    <a:pt x="60" y="63"/>
                  </a:lnTo>
                  <a:lnTo>
                    <a:pt x="60" y="63"/>
                  </a:lnTo>
                  <a:lnTo>
                    <a:pt x="55" y="64"/>
                  </a:lnTo>
                  <a:lnTo>
                    <a:pt x="55" y="64"/>
                  </a:lnTo>
                  <a:lnTo>
                    <a:pt x="52" y="68"/>
                  </a:lnTo>
                  <a:lnTo>
                    <a:pt x="52" y="68"/>
                  </a:lnTo>
                  <a:lnTo>
                    <a:pt x="51" y="71"/>
                  </a:lnTo>
                  <a:lnTo>
                    <a:pt x="51" y="71"/>
                  </a:lnTo>
                  <a:lnTo>
                    <a:pt x="50" y="76"/>
                  </a:lnTo>
                  <a:lnTo>
                    <a:pt x="50" y="76"/>
                  </a:lnTo>
                  <a:lnTo>
                    <a:pt x="51" y="79"/>
                  </a:lnTo>
                  <a:lnTo>
                    <a:pt x="52" y="80"/>
                  </a:lnTo>
                  <a:lnTo>
                    <a:pt x="52" y="80"/>
                  </a:lnTo>
                  <a:lnTo>
                    <a:pt x="58" y="86"/>
                  </a:lnTo>
                  <a:lnTo>
                    <a:pt x="58" y="86"/>
                  </a:lnTo>
                  <a:lnTo>
                    <a:pt x="63" y="89"/>
                  </a:lnTo>
                  <a:lnTo>
                    <a:pt x="65" y="93"/>
                  </a:lnTo>
                  <a:lnTo>
                    <a:pt x="65" y="93"/>
                  </a:lnTo>
                  <a:lnTo>
                    <a:pt x="61" y="96"/>
                  </a:lnTo>
                  <a:lnTo>
                    <a:pt x="57" y="97"/>
                  </a:lnTo>
                  <a:lnTo>
                    <a:pt x="57" y="97"/>
                  </a:lnTo>
                  <a:lnTo>
                    <a:pt x="54" y="97"/>
                  </a:lnTo>
                  <a:lnTo>
                    <a:pt x="50" y="100"/>
                  </a:lnTo>
                  <a:lnTo>
                    <a:pt x="38" y="109"/>
                  </a:lnTo>
                  <a:close/>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46" name="Freeform 1026"/>
            <p:cNvSpPr>
              <a:spLocks/>
            </p:cNvSpPr>
            <p:nvPr/>
          </p:nvSpPr>
          <p:spPr bwMode="auto">
            <a:xfrm>
              <a:off x="7483475" y="3508376"/>
              <a:ext cx="161925" cy="173038"/>
            </a:xfrm>
            <a:custGeom>
              <a:avLst/>
              <a:gdLst>
                <a:gd name="T0" fmla="*/ 38 w 102"/>
                <a:gd name="T1" fmla="*/ 109 h 109"/>
                <a:gd name="T2" fmla="*/ 32 w 102"/>
                <a:gd name="T3" fmla="*/ 107 h 109"/>
                <a:gd name="T4" fmla="*/ 18 w 102"/>
                <a:gd name="T5" fmla="*/ 103 h 109"/>
                <a:gd name="T6" fmla="*/ 12 w 102"/>
                <a:gd name="T7" fmla="*/ 102 h 109"/>
                <a:gd name="T8" fmla="*/ 12 w 102"/>
                <a:gd name="T9" fmla="*/ 102 h 109"/>
                <a:gd name="T10" fmla="*/ 12 w 102"/>
                <a:gd name="T11" fmla="*/ 102 h 109"/>
                <a:gd name="T12" fmla="*/ 16 w 102"/>
                <a:gd name="T13" fmla="*/ 94 h 109"/>
                <a:gd name="T14" fmla="*/ 19 w 102"/>
                <a:gd name="T15" fmla="*/ 87 h 109"/>
                <a:gd name="T16" fmla="*/ 19 w 102"/>
                <a:gd name="T17" fmla="*/ 84 h 109"/>
                <a:gd name="T18" fmla="*/ 19 w 102"/>
                <a:gd name="T19" fmla="*/ 80 h 109"/>
                <a:gd name="T20" fmla="*/ 21 w 102"/>
                <a:gd name="T21" fmla="*/ 74 h 109"/>
                <a:gd name="T22" fmla="*/ 21 w 102"/>
                <a:gd name="T23" fmla="*/ 71 h 109"/>
                <a:gd name="T24" fmla="*/ 19 w 102"/>
                <a:gd name="T25" fmla="*/ 71 h 109"/>
                <a:gd name="T26" fmla="*/ 18 w 102"/>
                <a:gd name="T27" fmla="*/ 70 h 109"/>
                <a:gd name="T28" fmla="*/ 13 w 102"/>
                <a:gd name="T29" fmla="*/ 70 h 109"/>
                <a:gd name="T30" fmla="*/ 13 w 102"/>
                <a:gd name="T31" fmla="*/ 70 h 109"/>
                <a:gd name="T32" fmla="*/ 10 w 102"/>
                <a:gd name="T33" fmla="*/ 70 h 109"/>
                <a:gd name="T34" fmla="*/ 9 w 102"/>
                <a:gd name="T35" fmla="*/ 68 h 109"/>
                <a:gd name="T36" fmla="*/ 6 w 102"/>
                <a:gd name="T37" fmla="*/ 67 h 109"/>
                <a:gd name="T38" fmla="*/ 3 w 102"/>
                <a:gd name="T39" fmla="*/ 65 h 109"/>
                <a:gd name="T40" fmla="*/ 0 w 102"/>
                <a:gd name="T41" fmla="*/ 67 h 109"/>
                <a:gd name="T42" fmla="*/ 5 w 102"/>
                <a:gd name="T43" fmla="*/ 60 h 109"/>
                <a:gd name="T44" fmla="*/ 8 w 102"/>
                <a:gd name="T45" fmla="*/ 55 h 109"/>
                <a:gd name="T46" fmla="*/ 21 w 102"/>
                <a:gd name="T47" fmla="*/ 48 h 109"/>
                <a:gd name="T48" fmla="*/ 32 w 102"/>
                <a:gd name="T49" fmla="*/ 42 h 109"/>
                <a:gd name="T50" fmla="*/ 41 w 102"/>
                <a:gd name="T51" fmla="*/ 34 h 109"/>
                <a:gd name="T52" fmla="*/ 44 w 102"/>
                <a:gd name="T53" fmla="*/ 29 h 109"/>
                <a:gd name="T54" fmla="*/ 47 w 102"/>
                <a:gd name="T55" fmla="*/ 28 h 109"/>
                <a:gd name="T56" fmla="*/ 48 w 102"/>
                <a:gd name="T57" fmla="*/ 28 h 109"/>
                <a:gd name="T58" fmla="*/ 52 w 102"/>
                <a:gd name="T59" fmla="*/ 29 h 109"/>
                <a:gd name="T60" fmla="*/ 58 w 102"/>
                <a:gd name="T61" fmla="*/ 31 h 109"/>
                <a:gd name="T62" fmla="*/ 63 w 102"/>
                <a:gd name="T63" fmla="*/ 29 h 109"/>
                <a:gd name="T64" fmla="*/ 65 w 102"/>
                <a:gd name="T65" fmla="*/ 25 h 109"/>
                <a:gd name="T66" fmla="*/ 65 w 102"/>
                <a:gd name="T67" fmla="*/ 18 h 109"/>
                <a:gd name="T68" fmla="*/ 67 w 102"/>
                <a:gd name="T69" fmla="*/ 16 h 109"/>
                <a:gd name="T70" fmla="*/ 73 w 102"/>
                <a:gd name="T71" fmla="*/ 18 h 109"/>
                <a:gd name="T72" fmla="*/ 76 w 102"/>
                <a:gd name="T73" fmla="*/ 16 h 109"/>
                <a:gd name="T74" fmla="*/ 77 w 102"/>
                <a:gd name="T75" fmla="*/ 15 h 109"/>
                <a:gd name="T76" fmla="*/ 89 w 102"/>
                <a:gd name="T77" fmla="*/ 3 h 109"/>
                <a:gd name="T78" fmla="*/ 93 w 102"/>
                <a:gd name="T79" fmla="*/ 0 h 109"/>
                <a:gd name="T80" fmla="*/ 102 w 102"/>
                <a:gd name="T81" fmla="*/ 8 h 109"/>
                <a:gd name="T82" fmla="*/ 102 w 102"/>
                <a:gd name="T83" fmla="*/ 9 h 109"/>
                <a:gd name="T84" fmla="*/ 99 w 102"/>
                <a:gd name="T85" fmla="*/ 10 h 109"/>
                <a:gd name="T86" fmla="*/ 96 w 102"/>
                <a:gd name="T87" fmla="*/ 15 h 109"/>
                <a:gd name="T88" fmla="*/ 87 w 102"/>
                <a:gd name="T89" fmla="*/ 34 h 109"/>
                <a:gd name="T90" fmla="*/ 84 w 102"/>
                <a:gd name="T91" fmla="*/ 38 h 109"/>
                <a:gd name="T92" fmla="*/ 76 w 102"/>
                <a:gd name="T93" fmla="*/ 50 h 109"/>
                <a:gd name="T94" fmla="*/ 71 w 102"/>
                <a:gd name="T95" fmla="*/ 55 h 109"/>
                <a:gd name="T96" fmla="*/ 68 w 102"/>
                <a:gd name="T97" fmla="*/ 58 h 109"/>
                <a:gd name="T98" fmla="*/ 60 w 102"/>
                <a:gd name="T99" fmla="*/ 63 h 109"/>
                <a:gd name="T100" fmla="*/ 55 w 102"/>
                <a:gd name="T101" fmla="*/ 64 h 109"/>
                <a:gd name="T102" fmla="*/ 52 w 102"/>
                <a:gd name="T103" fmla="*/ 68 h 109"/>
                <a:gd name="T104" fmla="*/ 51 w 102"/>
                <a:gd name="T105" fmla="*/ 71 h 109"/>
                <a:gd name="T106" fmla="*/ 50 w 102"/>
                <a:gd name="T107" fmla="*/ 76 h 109"/>
                <a:gd name="T108" fmla="*/ 51 w 102"/>
                <a:gd name="T109" fmla="*/ 79 h 109"/>
                <a:gd name="T110" fmla="*/ 52 w 102"/>
                <a:gd name="T111" fmla="*/ 80 h 109"/>
                <a:gd name="T112" fmla="*/ 58 w 102"/>
                <a:gd name="T113" fmla="*/ 86 h 109"/>
                <a:gd name="T114" fmla="*/ 65 w 102"/>
                <a:gd name="T115" fmla="*/ 93 h 109"/>
                <a:gd name="T116" fmla="*/ 61 w 102"/>
                <a:gd name="T117" fmla="*/ 96 h 109"/>
                <a:gd name="T118" fmla="*/ 57 w 102"/>
                <a:gd name="T119" fmla="*/ 97 h 109"/>
                <a:gd name="T120" fmla="*/ 50 w 102"/>
                <a:gd name="T121" fmla="*/ 10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2" h="109">
                  <a:moveTo>
                    <a:pt x="38" y="109"/>
                  </a:moveTo>
                  <a:lnTo>
                    <a:pt x="38" y="109"/>
                  </a:lnTo>
                  <a:lnTo>
                    <a:pt x="32" y="107"/>
                  </a:lnTo>
                  <a:lnTo>
                    <a:pt x="32" y="107"/>
                  </a:lnTo>
                  <a:lnTo>
                    <a:pt x="18" y="103"/>
                  </a:lnTo>
                  <a:lnTo>
                    <a:pt x="18" y="103"/>
                  </a:lnTo>
                  <a:lnTo>
                    <a:pt x="12" y="102"/>
                  </a:lnTo>
                  <a:lnTo>
                    <a:pt x="12" y="102"/>
                  </a:lnTo>
                  <a:lnTo>
                    <a:pt x="12" y="102"/>
                  </a:lnTo>
                  <a:lnTo>
                    <a:pt x="12" y="102"/>
                  </a:lnTo>
                  <a:lnTo>
                    <a:pt x="12" y="102"/>
                  </a:lnTo>
                  <a:lnTo>
                    <a:pt x="12" y="102"/>
                  </a:lnTo>
                  <a:lnTo>
                    <a:pt x="16" y="94"/>
                  </a:lnTo>
                  <a:lnTo>
                    <a:pt x="16" y="94"/>
                  </a:lnTo>
                  <a:lnTo>
                    <a:pt x="18" y="92"/>
                  </a:lnTo>
                  <a:lnTo>
                    <a:pt x="19" y="87"/>
                  </a:lnTo>
                  <a:lnTo>
                    <a:pt x="19" y="86"/>
                  </a:lnTo>
                  <a:lnTo>
                    <a:pt x="19" y="84"/>
                  </a:lnTo>
                  <a:lnTo>
                    <a:pt x="19" y="84"/>
                  </a:lnTo>
                  <a:lnTo>
                    <a:pt x="19" y="80"/>
                  </a:lnTo>
                  <a:lnTo>
                    <a:pt x="19" y="80"/>
                  </a:lnTo>
                  <a:lnTo>
                    <a:pt x="21" y="74"/>
                  </a:lnTo>
                  <a:lnTo>
                    <a:pt x="21" y="74"/>
                  </a:lnTo>
                  <a:lnTo>
                    <a:pt x="21" y="71"/>
                  </a:lnTo>
                  <a:lnTo>
                    <a:pt x="21" y="71"/>
                  </a:lnTo>
                  <a:lnTo>
                    <a:pt x="19" y="71"/>
                  </a:lnTo>
                  <a:lnTo>
                    <a:pt x="19" y="71"/>
                  </a:lnTo>
                  <a:lnTo>
                    <a:pt x="18" y="70"/>
                  </a:lnTo>
                  <a:lnTo>
                    <a:pt x="18" y="70"/>
                  </a:lnTo>
                  <a:lnTo>
                    <a:pt x="13" y="70"/>
                  </a:lnTo>
                  <a:lnTo>
                    <a:pt x="13" y="70"/>
                  </a:lnTo>
                  <a:lnTo>
                    <a:pt x="13" y="70"/>
                  </a:lnTo>
                  <a:lnTo>
                    <a:pt x="13" y="70"/>
                  </a:lnTo>
                  <a:lnTo>
                    <a:pt x="10" y="70"/>
                  </a:lnTo>
                  <a:lnTo>
                    <a:pt x="10" y="70"/>
                  </a:lnTo>
                  <a:lnTo>
                    <a:pt x="9" y="68"/>
                  </a:lnTo>
                  <a:lnTo>
                    <a:pt x="9" y="68"/>
                  </a:lnTo>
                  <a:lnTo>
                    <a:pt x="6" y="67"/>
                  </a:lnTo>
                  <a:lnTo>
                    <a:pt x="6" y="67"/>
                  </a:lnTo>
                  <a:lnTo>
                    <a:pt x="3" y="65"/>
                  </a:lnTo>
                  <a:lnTo>
                    <a:pt x="3" y="65"/>
                  </a:lnTo>
                  <a:lnTo>
                    <a:pt x="0" y="67"/>
                  </a:lnTo>
                  <a:lnTo>
                    <a:pt x="0" y="67"/>
                  </a:lnTo>
                  <a:lnTo>
                    <a:pt x="5" y="60"/>
                  </a:lnTo>
                  <a:lnTo>
                    <a:pt x="8" y="55"/>
                  </a:lnTo>
                  <a:lnTo>
                    <a:pt x="8" y="55"/>
                  </a:lnTo>
                  <a:lnTo>
                    <a:pt x="13" y="51"/>
                  </a:lnTo>
                  <a:lnTo>
                    <a:pt x="21" y="48"/>
                  </a:lnTo>
                  <a:lnTo>
                    <a:pt x="21" y="48"/>
                  </a:lnTo>
                  <a:lnTo>
                    <a:pt x="32" y="42"/>
                  </a:lnTo>
                  <a:lnTo>
                    <a:pt x="38" y="38"/>
                  </a:lnTo>
                  <a:lnTo>
                    <a:pt x="41" y="34"/>
                  </a:lnTo>
                  <a:lnTo>
                    <a:pt x="41" y="34"/>
                  </a:lnTo>
                  <a:lnTo>
                    <a:pt x="44" y="29"/>
                  </a:lnTo>
                  <a:lnTo>
                    <a:pt x="45" y="28"/>
                  </a:lnTo>
                  <a:lnTo>
                    <a:pt x="47" y="28"/>
                  </a:lnTo>
                  <a:lnTo>
                    <a:pt x="47" y="28"/>
                  </a:lnTo>
                  <a:lnTo>
                    <a:pt x="48" y="28"/>
                  </a:lnTo>
                  <a:lnTo>
                    <a:pt x="48" y="28"/>
                  </a:lnTo>
                  <a:lnTo>
                    <a:pt x="52" y="29"/>
                  </a:lnTo>
                  <a:lnTo>
                    <a:pt x="58" y="31"/>
                  </a:lnTo>
                  <a:lnTo>
                    <a:pt x="58" y="31"/>
                  </a:lnTo>
                  <a:lnTo>
                    <a:pt x="63" y="29"/>
                  </a:lnTo>
                  <a:lnTo>
                    <a:pt x="63" y="29"/>
                  </a:lnTo>
                  <a:lnTo>
                    <a:pt x="64" y="28"/>
                  </a:lnTo>
                  <a:lnTo>
                    <a:pt x="65" y="25"/>
                  </a:lnTo>
                  <a:lnTo>
                    <a:pt x="65" y="21"/>
                  </a:lnTo>
                  <a:lnTo>
                    <a:pt x="65" y="18"/>
                  </a:lnTo>
                  <a:lnTo>
                    <a:pt x="65" y="16"/>
                  </a:lnTo>
                  <a:lnTo>
                    <a:pt x="67" y="16"/>
                  </a:lnTo>
                  <a:lnTo>
                    <a:pt x="67" y="16"/>
                  </a:lnTo>
                  <a:lnTo>
                    <a:pt x="73" y="18"/>
                  </a:lnTo>
                  <a:lnTo>
                    <a:pt x="73" y="18"/>
                  </a:lnTo>
                  <a:lnTo>
                    <a:pt x="76" y="16"/>
                  </a:lnTo>
                  <a:lnTo>
                    <a:pt x="77" y="15"/>
                  </a:lnTo>
                  <a:lnTo>
                    <a:pt x="77" y="15"/>
                  </a:lnTo>
                  <a:lnTo>
                    <a:pt x="84" y="8"/>
                  </a:lnTo>
                  <a:lnTo>
                    <a:pt x="89" y="3"/>
                  </a:lnTo>
                  <a:lnTo>
                    <a:pt x="93" y="0"/>
                  </a:lnTo>
                  <a:lnTo>
                    <a:pt x="93" y="0"/>
                  </a:lnTo>
                  <a:lnTo>
                    <a:pt x="100" y="0"/>
                  </a:lnTo>
                  <a:lnTo>
                    <a:pt x="102" y="8"/>
                  </a:lnTo>
                  <a:lnTo>
                    <a:pt x="102" y="8"/>
                  </a:lnTo>
                  <a:lnTo>
                    <a:pt x="102" y="9"/>
                  </a:lnTo>
                  <a:lnTo>
                    <a:pt x="102" y="9"/>
                  </a:lnTo>
                  <a:lnTo>
                    <a:pt x="99" y="10"/>
                  </a:lnTo>
                  <a:lnTo>
                    <a:pt x="99" y="10"/>
                  </a:lnTo>
                  <a:lnTo>
                    <a:pt x="96" y="15"/>
                  </a:lnTo>
                  <a:lnTo>
                    <a:pt x="96" y="15"/>
                  </a:lnTo>
                  <a:lnTo>
                    <a:pt x="87" y="34"/>
                  </a:lnTo>
                  <a:lnTo>
                    <a:pt x="87" y="34"/>
                  </a:lnTo>
                  <a:lnTo>
                    <a:pt x="84" y="38"/>
                  </a:lnTo>
                  <a:lnTo>
                    <a:pt x="84" y="38"/>
                  </a:lnTo>
                  <a:lnTo>
                    <a:pt x="76" y="50"/>
                  </a:lnTo>
                  <a:lnTo>
                    <a:pt x="76" y="50"/>
                  </a:lnTo>
                  <a:lnTo>
                    <a:pt x="71" y="55"/>
                  </a:lnTo>
                  <a:lnTo>
                    <a:pt x="71" y="55"/>
                  </a:lnTo>
                  <a:lnTo>
                    <a:pt x="68" y="58"/>
                  </a:lnTo>
                  <a:lnTo>
                    <a:pt x="68" y="58"/>
                  </a:lnTo>
                  <a:lnTo>
                    <a:pt x="60" y="63"/>
                  </a:lnTo>
                  <a:lnTo>
                    <a:pt x="60" y="63"/>
                  </a:lnTo>
                  <a:lnTo>
                    <a:pt x="55" y="64"/>
                  </a:lnTo>
                  <a:lnTo>
                    <a:pt x="55" y="64"/>
                  </a:lnTo>
                  <a:lnTo>
                    <a:pt x="52" y="68"/>
                  </a:lnTo>
                  <a:lnTo>
                    <a:pt x="52" y="68"/>
                  </a:lnTo>
                  <a:lnTo>
                    <a:pt x="51" y="71"/>
                  </a:lnTo>
                  <a:lnTo>
                    <a:pt x="51" y="71"/>
                  </a:lnTo>
                  <a:lnTo>
                    <a:pt x="50" y="76"/>
                  </a:lnTo>
                  <a:lnTo>
                    <a:pt x="50" y="76"/>
                  </a:lnTo>
                  <a:lnTo>
                    <a:pt x="51" y="79"/>
                  </a:lnTo>
                  <a:lnTo>
                    <a:pt x="52" y="80"/>
                  </a:lnTo>
                  <a:lnTo>
                    <a:pt x="52" y="80"/>
                  </a:lnTo>
                  <a:lnTo>
                    <a:pt x="58" y="86"/>
                  </a:lnTo>
                  <a:lnTo>
                    <a:pt x="58" y="86"/>
                  </a:lnTo>
                  <a:lnTo>
                    <a:pt x="63" y="89"/>
                  </a:lnTo>
                  <a:lnTo>
                    <a:pt x="65" y="93"/>
                  </a:lnTo>
                  <a:lnTo>
                    <a:pt x="65" y="93"/>
                  </a:lnTo>
                  <a:lnTo>
                    <a:pt x="61" y="96"/>
                  </a:lnTo>
                  <a:lnTo>
                    <a:pt x="57" y="97"/>
                  </a:lnTo>
                  <a:lnTo>
                    <a:pt x="57" y="97"/>
                  </a:lnTo>
                  <a:lnTo>
                    <a:pt x="54" y="97"/>
                  </a:lnTo>
                  <a:lnTo>
                    <a:pt x="50" y="100"/>
                  </a:lnTo>
                  <a:lnTo>
                    <a:pt x="38" y="10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47" name="Freeform 1132"/>
            <p:cNvSpPr>
              <a:spLocks/>
            </p:cNvSpPr>
            <p:nvPr/>
          </p:nvSpPr>
          <p:spPr bwMode="auto">
            <a:xfrm>
              <a:off x="7467600" y="4941889"/>
              <a:ext cx="39688" cy="26988"/>
            </a:xfrm>
            <a:custGeom>
              <a:avLst/>
              <a:gdLst>
                <a:gd name="T0" fmla="*/ 5 w 25"/>
                <a:gd name="T1" fmla="*/ 10 h 17"/>
                <a:gd name="T2" fmla="*/ 5 w 25"/>
                <a:gd name="T3" fmla="*/ 10 h 17"/>
                <a:gd name="T4" fmla="*/ 0 w 25"/>
                <a:gd name="T5" fmla="*/ 13 h 17"/>
                <a:gd name="T6" fmla="*/ 0 w 25"/>
                <a:gd name="T7" fmla="*/ 14 h 17"/>
                <a:gd name="T8" fmla="*/ 2 w 25"/>
                <a:gd name="T9" fmla="*/ 16 h 17"/>
                <a:gd name="T10" fmla="*/ 5 w 25"/>
                <a:gd name="T11" fmla="*/ 17 h 17"/>
                <a:gd name="T12" fmla="*/ 9 w 25"/>
                <a:gd name="T13" fmla="*/ 17 h 17"/>
                <a:gd name="T14" fmla="*/ 9 w 25"/>
                <a:gd name="T15" fmla="*/ 17 h 17"/>
                <a:gd name="T16" fmla="*/ 13 w 25"/>
                <a:gd name="T17" fmla="*/ 17 h 17"/>
                <a:gd name="T18" fmla="*/ 18 w 25"/>
                <a:gd name="T19" fmla="*/ 16 h 17"/>
                <a:gd name="T20" fmla="*/ 25 w 25"/>
                <a:gd name="T21" fmla="*/ 10 h 17"/>
                <a:gd name="T22" fmla="*/ 25 w 25"/>
                <a:gd name="T23" fmla="*/ 10 h 17"/>
                <a:gd name="T24" fmla="*/ 20 w 25"/>
                <a:gd name="T25" fmla="*/ 0 h 17"/>
                <a:gd name="T26" fmla="*/ 20 w 25"/>
                <a:gd name="T27" fmla="*/ 0 h 17"/>
                <a:gd name="T28" fmla="*/ 13 w 25"/>
                <a:gd name="T29" fmla="*/ 4 h 17"/>
                <a:gd name="T30" fmla="*/ 5 w 25"/>
                <a:gd name="T31"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17">
                  <a:moveTo>
                    <a:pt x="5" y="10"/>
                  </a:moveTo>
                  <a:lnTo>
                    <a:pt x="5" y="10"/>
                  </a:lnTo>
                  <a:lnTo>
                    <a:pt x="0" y="13"/>
                  </a:lnTo>
                  <a:lnTo>
                    <a:pt x="0" y="14"/>
                  </a:lnTo>
                  <a:lnTo>
                    <a:pt x="2" y="16"/>
                  </a:lnTo>
                  <a:lnTo>
                    <a:pt x="5" y="17"/>
                  </a:lnTo>
                  <a:lnTo>
                    <a:pt x="9" y="17"/>
                  </a:lnTo>
                  <a:lnTo>
                    <a:pt x="9" y="17"/>
                  </a:lnTo>
                  <a:lnTo>
                    <a:pt x="13" y="17"/>
                  </a:lnTo>
                  <a:lnTo>
                    <a:pt x="18" y="16"/>
                  </a:lnTo>
                  <a:lnTo>
                    <a:pt x="25" y="10"/>
                  </a:lnTo>
                  <a:lnTo>
                    <a:pt x="25" y="10"/>
                  </a:lnTo>
                  <a:lnTo>
                    <a:pt x="20" y="0"/>
                  </a:lnTo>
                  <a:lnTo>
                    <a:pt x="20" y="0"/>
                  </a:lnTo>
                  <a:lnTo>
                    <a:pt x="13" y="4"/>
                  </a:lnTo>
                  <a:lnTo>
                    <a:pt x="5" y="10"/>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48" name="Freeform 1133"/>
            <p:cNvSpPr>
              <a:spLocks/>
            </p:cNvSpPr>
            <p:nvPr/>
          </p:nvSpPr>
          <p:spPr bwMode="auto">
            <a:xfrm>
              <a:off x="7467600" y="4941889"/>
              <a:ext cx="39688" cy="26988"/>
            </a:xfrm>
            <a:custGeom>
              <a:avLst/>
              <a:gdLst>
                <a:gd name="T0" fmla="*/ 5 w 25"/>
                <a:gd name="T1" fmla="*/ 10 h 17"/>
                <a:gd name="T2" fmla="*/ 5 w 25"/>
                <a:gd name="T3" fmla="*/ 10 h 17"/>
                <a:gd name="T4" fmla="*/ 0 w 25"/>
                <a:gd name="T5" fmla="*/ 13 h 17"/>
                <a:gd name="T6" fmla="*/ 0 w 25"/>
                <a:gd name="T7" fmla="*/ 14 h 17"/>
                <a:gd name="T8" fmla="*/ 2 w 25"/>
                <a:gd name="T9" fmla="*/ 16 h 17"/>
                <a:gd name="T10" fmla="*/ 5 w 25"/>
                <a:gd name="T11" fmla="*/ 17 h 17"/>
                <a:gd name="T12" fmla="*/ 9 w 25"/>
                <a:gd name="T13" fmla="*/ 17 h 17"/>
                <a:gd name="T14" fmla="*/ 9 w 25"/>
                <a:gd name="T15" fmla="*/ 17 h 17"/>
                <a:gd name="T16" fmla="*/ 13 w 25"/>
                <a:gd name="T17" fmla="*/ 17 h 17"/>
                <a:gd name="T18" fmla="*/ 18 w 25"/>
                <a:gd name="T19" fmla="*/ 16 h 17"/>
                <a:gd name="T20" fmla="*/ 25 w 25"/>
                <a:gd name="T21" fmla="*/ 10 h 17"/>
                <a:gd name="T22" fmla="*/ 25 w 25"/>
                <a:gd name="T23" fmla="*/ 10 h 17"/>
                <a:gd name="T24" fmla="*/ 20 w 25"/>
                <a:gd name="T25" fmla="*/ 0 h 17"/>
                <a:gd name="T26" fmla="*/ 20 w 25"/>
                <a:gd name="T27" fmla="*/ 0 h 17"/>
                <a:gd name="T28" fmla="*/ 13 w 25"/>
                <a:gd name="T29" fmla="*/ 4 h 17"/>
                <a:gd name="T30" fmla="*/ 5 w 25"/>
                <a:gd name="T31"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17">
                  <a:moveTo>
                    <a:pt x="5" y="10"/>
                  </a:moveTo>
                  <a:lnTo>
                    <a:pt x="5" y="10"/>
                  </a:lnTo>
                  <a:lnTo>
                    <a:pt x="0" y="13"/>
                  </a:lnTo>
                  <a:lnTo>
                    <a:pt x="0" y="14"/>
                  </a:lnTo>
                  <a:lnTo>
                    <a:pt x="2" y="16"/>
                  </a:lnTo>
                  <a:lnTo>
                    <a:pt x="5" y="17"/>
                  </a:lnTo>
                  <a:lnTo>
                    <a:pt x="9" y="17"/>
                  </a:lnTo>
                  <a:lnTo>
                    <a:pt x="9" y="17"/>
                  </a:lnTo>
                  <a:lnTo>
                    <a:pt x="13" y="17"/>
                  </a:lnTo>
                  <a:lnTo>
                    <a:pt x="18" y="16"/>
                  </a:lnTo>
                  <a:lnTo>
                    <a:pt x="25" y="10"/>
                  </a:lnTo>
                  <a:lnTo>
                    <a:pt x="25" y="10"/>
                  </a:lnTo>
                  <a:lnTo>
                    <a:pt x="20" y="0"/>
                  </a:lnTo>
                  <a:lnTo>
                    <a:pt x="20" y="0"/>
                  </a:lnTo>
                  <a:lnTo>
                    <a:pt x="13" y="4"/>
                  </a:lnTo>
                  <a:lnTo>
                    <a:pt x="5"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49" name="Freeform 1134"/>
            <p:cNvSpPr>
              <a:spLocks/>
            </p:cNvSpPr>
            <p:nvPr/>
          </p:nvSpPr>
          <p:spPr bwMode="auto">
            <a:xfrm>
              <a:off x="7499350" y="4933951"/>
              <a:ext cx="44450" cy="23813"/>
            </a:xfrm>
            <a:custGeom>
              <a:avLst/>
              <a:gdLst>
                <a:gd name="T0" fmla="*/ 28 w 28"/>
                <a:gd name="T1" fmla="*/ 2 h 15"/>
                <a:gd name="T2" fmla="*/ 28 w 28"/>
                <a:gd name="T3" fmla="*/ 2 h 15"/>
                <a:gd name="T4" fmla="*/ 22 w 28"/>
                <a:gd name="T5" fmla="*/ 0 h 15"/>
                <a:gd name="T6" fmla="*/ 13 w 28"/>
                <a:gd name="T7" fmla="*/ 0 h 15"/>
                <a:gd name="T8" fmla="*/ 6 w 28"/>
                <a:gd name="T9" fmla="*/ 2 h 15"/>
                <a:gd name="T10" fmla="*/ 2 w 28"/>
                <a:gd name="T11" fmla="*/ 3 h 15"/>
                <a:gd name="T12" fmla="*/ 2 w 28"/>
                <a:gd name="T13" fmla="*/ 3 h 15"/>
                <a:gd name="T14" fmla="*/ 0 w 28"/>
                <a:gd name="T15" fmla="*/ 5 h 15"/>
                <a:gd name="T16" fmla="*/ 0 w 28"/>
                <a:gd name="T17" fmla="*/ 5 h 15"/>
                <a:gd name="T18" fmla="*/ 5 w 28"/>
                <a:gd name="T19" fmla="*/ 15 h 15"/>
                <a:gd name="T20" fmla="*/ 5 w 28"/>
                <a:gd name="T21" fmla="*/ 15 h 15"/>
                <a:gd name="T22" fmla="*/ 12 w 28"/>
                <a:gd name="T23" fmla="*/ 9 h 15"/>
                <a:gd name="T24" fmla="*/ 16 w 28"/>
                <a:gd name="T25" fmla="*/ 6 h 15"/>
                <a:gd name="T26" fmla="*/ 16 w 28"/>
                <a:gd name="T27" fmla="*/ 6 h 15"/>
                <a:gd name="T28" fmla="*/ 25 w 28"/>
                <a:gd name="T29" fmla="*/ 5 h 15"/>
                <a:gd name="T30" fmla="*/ 28 w 28"/>
                <a:gd name="T31" fmla="*/ 3 h 15"/>
                <a:gd name="T32" fmla="*/ 28 w 28"/>
                <a:gd name="T33" fmla="*/ 2 h 15"/>
                <a:gd name="T34" fmla="*/ 28 w 28"/>
                <a:gd name="T35"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 h="15">
                  <a:moveTo>
                    <a:pt x="28" y="2"/>
                  </a:moveTo>
                  <a:lnTo>
                    <a:pt x="28" y="2"/>
                  </a:lnTo>
                  <a:lnTo>
                    <a:pt x="22" y="0"/>
                  </a:lnTo>
                  <a:lnTo>
                    <a:pt x="13" y="0"/>
                  </a:lnTo>
                  <a:lnTo>
                    <a:pt x="6" y="2"/>
                  </a:lnTo>
                  <a:lnTo>
                    <a:pt x="2" y="3"/>
                  </a:lnTo>
                  <a:lnTo>
                    <a:pt x="2" y="3"/>
                  </a:lnTo>
                  <a:lnTo>
                    <a:pt x="0" y="5"/>
                  </a:lnTo>
                  <a:lnTo>
                    <a:pt x="0" y="5"/>
                  </a:lnTo>
                  <a:lnTo>
                    <a:pt x="5" y="15"/>
                  </a:lnTo>
                  <a:lnTo>
                    <a:pt x="5" y="15"/>
                  </a:lnTo>
                  <a:lnTo>
                    <a:pt x="12" y="9"/>
                  </a:lnTo>
                  <a:lnTo>
                    <a:pt x="16" y="6"/>
                  </a:lnTo>
                  <a:lnTo>
                    <a:pt x="16" y="6"/>
                  </a:lnTo>
                  <a:lnTo>
                    <a:pt x="25" y="5"/>
                  </a:lnTo>
                  <a:lnTo>
                    <a:pt x="28" y="3"/>
                  </a:lnTo>
                  <a:lnTo>
                    <a:pt x="28" y="2"/>
                  </a:lnTo>
                  <a:lnTo>
                    <a:pt x="28" y="2"/>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50" name="Freeform 1135"/>
            <p:cNvSpPr>
              <a:spLocks/>
            </p:cNvSpPr>
            <p:nvPr/>
          </p:nvSpPr>
          <p:spPr bwMode="auto">
            <a:xfrm>
              <a:off x="7499350" y="4933951"/>
              <a:ext cx="44450" cy="23813"/>
            </a:xfrm>
            <a:custGeom>
              <a:avLst/>
              <a:gdLst>
                <a:gd name="T0" fmla="*/ 28 w 28"/>
                <a:gd name="T1" fmla="*/ 2 h 15"/>
                <a:gd name="T2" fmla="*/ 28 w 28"/>
                <a:gd name="T3" fmla="*/ 2 h 15"/>
                <a:gd name="T4" fmla="*/ 22 w 28"/>
                <a:gd name="T5" fmla="*/ 0 h 15"/>
                <a:gd name="T6" fmla="*/ 13 w 28"/>
                <a:gd name="T7" fmla="*/ 0 h 15"/>
                <a:gd name="T8" fmla="*/ 6 w 28"/>
                <a:gd name="T9" fmla="*/ 2 h 15"/>
                <a:gd name="T10" fmla="*/ 2 w 28"/>
                <a:gd name="T11" fmla="*/ 3 h 15"/>
                <a:gd name="T12" fmla="*/ 2 w 28"/>
                <a:gd name="T13" fmla="*/ 3 h 15"/>
                <a:gd name="T14" fmla="*/ 0 w 28"/>
                <a:gd name="T15" fmla="*/ 5 h 15"/>
                <a:gd name="T16" fmla="*/ 0 w 28"/>
                <a:gd name="T17" fmla="*/ 5 h 15"/>
                <a:gd name="T18" fmla="*/ 5 w 28"/>
                <a:gd name="T19" fmla="*/ 15 h 15"/>
                <a:gd name="T20" fmla="*/ 5 w 28"/>
                <a:gd name="T21" fmla="*/ 15 h 15"/>
                <a:gd name="T22" fmla="*/ 12 w 28"/>
                <a:gd name="T23" fmla="*/ 9 h 15"/>
                <a:gd name="T24" fmla="*/ 16 w 28"/>
                <a:gd name="T25" fmla="*/ 6 h 15"/>
                <a:gd name="T26" fmla="*/ 16 w 28"/>
                <a:gd name="T27" fmla="*/ 6 h 15"/>
                <a:gd name="T28" fmla="*/ 25 w 28"/>
                <a:gd name="T29" fmla="*/ 5 h 15"/>
                <a:gd name="T30" fmla="*/ 28 w 28"/>
                <a:gd name="T31" fmla="*/ 3 h 15"/>
                <a:gd name="T32" fmla="*/ 28 w 28"/>
                <a:gd name="T33" fmla="*/ 2 h 15"/>
                <a:gd name="T34" fmla="*/ 28 w 28"/>
                <a:gd name="T35"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 h="15">
                  <a:moveTo>
                    <a:pt x="28" y="2"/>
                  </a:moveTo>
                  <a:lnTo>
                    <a:pt x="28" y="2"/>
                  </a:lnTo>
                  <a:lnTo>
                    <a:pt x="22" y="0"/>
                  </a:lnTo>
                  <a:lnTo>
                    <a:pt x="13" y="0"/>
                  </a:lnTo>
                  <a:lnTo>
                    <a:pt x="6" y="2"/>
                  </a:lnTo>
                  <a:lnTo>
                    <a:pt x="2" y="3"/>
                  </a:lnTo>
                  <a:lnTo>
                    <a:pt x="2" y="3"/>
                  </a:lnTo>
                  <a:lnTo>
                    <a:pt x="0" y="5"/>
                  </a:lnTo>
                  <a:lnTo>
                    <a:pt x="0" y="5"/>
                  </a:lnTo>
                  <a:lnTo>
                    <a:pt x="5" y="15"/>
                  </a:lnTo>
                  <a:lnTo>
                    <a:pt x="5" y="15"/>
                  </a:lnTo>
                  <a:lnTo>
                    <a:pt x="12" y="9"/>
                  </a:lnTo>
                  <a:lnTo>
                    <a:pt x="16" y="6"/>
                  </a:lnTo>
                  <a:lnTo>
                    <a:pt x="16" y="6"/>
                  </a:lnTo>
                  <a:lnTo>
                    <a:pt x="25" y="5"/>
                  </a:lnTo>
                  <a:lnTo>
                    <a:pt x="28" y="3"/>
                  </a:lnTo>
                  <a:lnTo>
                    <a:pt x="28" y="2"/>
                  </a:lnTo>
                  <a:lnTo>
                    <a:pt x="28"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51" name="Freeform 1136"/>
            <p:cNvSpPr>
              <a:spLocks/>
            </p:cNvSpPr>
            <p:nvPr/>
          </p:nvSpPr>
          <p:spPr bwMode="auto">
            <a:xfrm>
              <a:off x="8343900" y="4533901"/>
              <a:ext cx="6350" cy="7938"/>
            </a:xfrm>
            <a:custGeom>
              <a:avLst/>
              <a:gdLst>
                <a:gd name="T0" fmla="*/ 3 w 4"/>
                <a:gd name="T1" fmla="*/ 5 h 5"/>
                <a:gd name="T2" fmla="*/ 3 w 4"/>
                <a:gd name="T3" fmla="*/ 5 h 5"/>
                <a:gd name="T4" fmla="*/ 1 w 4"/>
                <a:gd name="T5" fmla="*/ 5 h 5"/>
                <a:gd name="T6" fmla="*/ 0 w 4"/>
                <a:gd name="T7" fmla="*/ 3 h 5"/>
                <a:gd name="T8" fmla="*/ 0 w 4"/>
                <a:gd name="T9" fmla="*/ 0 h 5"/>
                <a:gd name="T10" fmla="*/ 1 w 4"/>
                <a:gd name="T11" fmla="*/ 0 h 5"/>
                <a:gd name="T12" fmla="*/ 1 w 4"/>
                <a:gd name="T13" fmla="*/ 0 h 5"/>
                <a:gd name="T14" fmla="*/ 3 w 4"/>
                <a:gd name="T15" fmla="*/ 0 h 5"/>
                <a:gd name="T16" fmla="*/ 4 w 4"/>
                <a:gd name="T17" fmla="*/ 2 h 5"/>
                <a:gd name="T18" fmla="*/ 4 w 4"/>
                <a:gd name="T19" fmla="*/ 3 h 5"/>
                <a:gd name="T20" fmla="*/ 3 w 4"/>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5">
                  <a:moveTo>
                    <a:pt x="3" y="5"/>
                  </a:moveTo>
                  <a:lnTo>
                    <a:pt x="3" y="5"/>
                  </a:lnTo>
                  <a:lnTo>
                    <a:pt x="1" y="5"/>
                  </a:lnTo>
                  <a:lnTo>
                    <a:pt x="0" y="3"/>
                  </a:lnTo>
                  <a:lnTo>
                    <a:pt x="0" y="0"/>
                  </a:lnTo>
                  <a:lnTo>
                    <a:pt x="1" y="0"/>
                  </a:lnTo>
                  <a:lnTo>
                    <a:pt x="1" y="0"/>
                  </a:lnTo>
                  <a:lnTo>
                    <a:pt x="3" y="0"/>
                  </a:lnTo>
                  <a:lnTo>
                    <a:pt x="4" y="2"/>
                  </a:lnTo>
                  <a:lnTo>
                    <a:pt x="4" y="3"/>
                  </a:lnTo>
                  <a:lnTo>
                    <a:pt x="3" y="5"/>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52" name="Freeform 1137"/>
            <p:cNvSpPr>
              <a:spLocks/>
            </p:cNvSpPr>
            <p:nvPr/>
          </p:nvSpPr>
          <p:spPr bwMode="auto">
            <a:xfrm>
              <a:off x="8343900" y="4533901"/>
              <a:ext cx="6350" cy="7938"/>
            </a:xfrm>
            <a:custGeom>
              <a:avLst/>
              <a:gdLst>
                <a:gd name="T0" fmla="*/ 3 w 4"/>
                <a:gd name="T1" fmla="*/ 5 h 5"/>
                <a:gd name="T2" fmla="*/ 3 w 4"/>
                <a:gd name="T3" fmla="*/ 5 h 5"/>
                <a:gd name="T4" fmla="*/ 1 w 4"/>
                <a:gd name="T5" fmla="*/ 5 h 5"/>
                <a:gd name="T6" fmla="*/ 0 w 4"/>
                <a:gd name="T7" fmla="*/ 3 h 5"/>
                <a:gd name="T8" fmla="*/ 0 w 4"/>
                <a:gd name="T9" fmla="*/ 0 h 5"/>
                <a:gd name="T10" fmla="*/ 1 w 4"/>
                <a:gd name="T11" fmla="*/ 0 h 5"/>
                <a:gd name="T12" fmla="*/ 1 w 4"/>
                <a:gd name="T13" fmla="*/ 0 h 5"/>
                <a:gd name="T14" fmla="*/ 3 w 4"/>
                <a:gd name="T15" fmla="*/ 0 h 5"/>
                <a:gd name="T16" fmla="*/ 4 w 4"/>
                <a:gd name="T17" fmla="*/ 2 h 5"/>
                <a:gd name="T18" fmla="*/ 4 w 4"/>
                <a:gd name="T19" fmla="*/ 3 h 5"/>
                <a:gd name="T20" fmla="*/ 3 w 4"/>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5">
                  <a:moveTo>
                    <a:pt x="3" y="5"/>
                  </a:moveTo>
                  <a:lnTo>
                    <a:pt x="3" y="5"/>
                  </a:lnTo>
                  <a:lnTo>
                    <a:pt x="1" y="5"/>
                  </a:lnTo>
                  <a:lnTo>
                    <a:pt x="0" y="3"/>
                  </a:lnTo>
                  <a:lnTo>
                    <a:pt x="0" y="0"/>
                  </a:lnTo>
                  <a:lnTo>
                    <a:pt x="1" y="0"/>
                  </a:lnTo>
                  <a:lnTo>
                    <a:pt x="1" y="0"/>
                  </a:lnTo>
                  <a:lnTo>
                    <a:pt x="3" y="0"/>
                  </a:lnTo>
                  <a:lnTo>
                    <a:pt x="4" y="2"/>
                  </a:lnTo>
                  <a:lnTo>
                    <a:pt x="4" y="3"/>
                  </a:lnTo>
                  <a:lnTo>
                    <a:pt x="3"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53" name="Freeform 1172"/>
            <p:cNvSpPr>
              <a:spLocks/>
            </p:cNvSpPr>
            <p:nvPr/>
          </p:nvSpPr>
          <p:spPr bwMode="auto">
            <a:xfrm>
              <a:off x="6964363" y="3008314"/>
              <a:ext cx="144463" cy="176213"/>
            </a:xfrm>
            <a:custGeom>
              <a:avLst/>
              <a:gdLst>
                <a:gd name="T0" fmla="*/ 87 w 91"/>
                <a:gd name="T1" fmla="*/ 20 h 111"/>
                <a:gd name="T2" fmla="*/ 81 w 91"/>
                <a:gd name="T3" fmla="*/ 40 h 111"/>
                <a:gd name="T4" fmla="*/ 81 w 91"/>
                <a:gd name="T5" fmla="*/ 43 h 111"/>
                <a:gd name="T6" fmla="*/ 74 w 91"/>
                <a:gd name="T7" fmla="*/ 46 h 111"/>
                <a:gd name="T8" fmla="*/ 71 w 91"/>
                <a:gd name="T9" fmla="*/ 47 h 111"/>
                <a:gd name="T10" fmla="*/ 74 w 91"/>
                <a:gd name="T11" fmla="*/ 53 h 111"/>
                <a:gd name="T12" fmla="*/ 75 w 91"/>
                <a:gd name="T13" fmla="*/ 55 h 111"/>
                <a:gd name="T14" fmla="*/ 68 w 91"/>
                <a:gd name="T15" fmla="*/ 60 h 111"/>
                <a:gd name="T16" fmla="*/ 64 w 91"/>
                <a:gd name="T17" fmla="*/ 63 h 111"/>
                <a:gd name="T18" fmla="*/ 52 w 91"/>
                <a:gd name="T19" fmla="*/ 76 h 111"/>
                <a:gd name="T20" fmla="*/ 46 w 91"/>
                <a:gd name="T21" fmla="*/ 81 h 111"/>
                <a:gd name="T22" fmla="*/ 35 w 91"/>
                <a:gd name="T23" fmla="*/ 88 h 111"/>
                <a:gd name="T24" fmla="*/ 29 w 91"/>
                <a:gd name="T25" fmla="*/ 98 h 111"/>
                <a:gd name="T26" fmla="*/ 28 w 91"/>
                <a:gd name="T27" fmla="*/ 102 h 111"/>
                <a:gd name="T28" fmla="*/ 17 w 91"/>
                <a:gd name="T29" fmla="*/ 110 h 111"/>
                <a:gd name="T30" fmla="*/ 12 w 91"/>
                <a:gd name="T31" fmla="*/ 111 h 111"/>
                <a:gd name="T32" fmla="*/ 0 w 91"/>
                <a:gd name="T33" fmla="*/ 110 h 111"/>
                <a:gd name="T34" fmla="*/ 0 w 91"/>
                <a:gd name="T35" fmla="*/ 110 h 111"/>
                <a:gd name="T36" fmla="*/ 3 w 91"/>
                <a:gd name="T37" fmla="*/ 107 h 111"/>
                <a:gd name="T38" fmla="*/ 12 w 91"/>
                <a:gd name="T39" fmla="*/ 102 h 111"/>
                <a:gd name="T40" fmla="*/ 19 w 91"/>
                <a:gd name="T41" fmla="*/ 95 h 111"/>
                <a:gd name="T42" fmla="*/ 26 w 91"/>
                <a:gd name="T43" fmla="*/ 86 h 111"/>
                <a:gd name="T44" fmla="*/ 41 w 91"/>
                <a:gd name="T45" fmla="*/ 68 h 111"/>
                <a:gd name="T46" fmla="*/ 46 w 91"/>
                <a:gd name="T47" fmla="*/ 57 h 111"/>
                <a:gd name="T48" fmla="*/ 56 w 91"/>
                <a:gd name="T49" fmla="*/ 49 h 111"/>
                <a:gd name="T50" fmla="*/ 62 w 91"/>
                <a:gd name="T51" fmla="*/ 43 h 111"/>
                <a:gd name="T52" fmla="*/ 80 w 91"/>
                <a:gd name="T53" fmla="*/ 15 h 111"/>
                <a:gd name="T54" fmla="*/ 84 w 91"/>
                <a:gd name="T55" fmla="*/ 7 h 111"/>
                <a:gd name="T56" fmla="*/ 90 w 91"/>
                <a:gd name="T57" fmla="*/ 0 h 111"/>
                <a:gd name="T58" fmla="*/ 90 w 91"/>
                <a:gd name="T59" fmla="*/ 0 h 111"/>
                <a:gd name="T60" fmla="*/ 91 w 91"/>
                <a:gd name="T61" fmla="*/ 7 h 111"/>
                <a:gd name="T62" fmla="*/ 87 w 91"/>
                <a:gd name="T63" fmla="*/ 2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111">
                  <a:moveTo>
                    <a:pt x="87" y="20"/>
                  </a:moveTo>
                  <a:lnTo>
                    <a:pt x="87" y="20"/>
                  </a:lnTo>
                  <a:lnTo>
                    <a:pt x="83" y="31"/>
                  </a:lnTo>
                  <a:lnTo>
                    <a:pt x="81" y="40"/>
                  </a:lnTo>
                  <a:lnTo>
                    <a:pt x="81" y="40"/>
                  </a:lnTo>
                  <a:lnTo>
                    <a:pt x="81" y="43"/>
                  </a:lnTo>
                  <a:lnTo>
                    <a:pt x="80" y="44"/>
                  </a:lnTo>
                  <a:lnTo>
                    <a:pt x="74" y="46"/>
                  </a:lnTo>
                  <a:lnTo>
                    <a:pt x="74" y="46"/>
                  </a:lnTo>
                  <a:lnTo>
                    <a:pt x="71" y="47"/>
                  </a:lnTo>
                  <a:lnTo>
                    <a:pt x="71" y="49"/>
                  </a:lnTo>
                  <a:lnTo>
                    <a:pt x="74" y="53"/>
                  </a:lnTo>
                  <a:lnTo>
                    <a:pt x="74" y="53"/>
                  </a:lnTo>
                  <a:lnTo>
                    <a:pt x="75" y="55"/>
                  </a:lnTo>
                  <a:lnTo>
                    <a:pt x="74" y="57"/>
                  </a:lnTo>
                  <a:lnTo>
                    <a:pt x="68" y="60"/>
                  </a:lnTo>
                  <a:lnTo>
                    <a:pt x="68" y="60"/>
                  </a:lnTo>
                  <a:lnTo>
                    <a:pt x="64" y="63"/>
                  </a:lnTo>
                  <a:lnTo>
                    <a:pt x="58" y="69"/>
                  </a:lnTo>
                  <a:lnTo>
                    <a:pt x="52" y="76"/>
                  </a:lnTo>
                  <a:lnTo>
                    <a:pt x="46" y="81"/>
                  </a:lnTo>
                  <a:lnTo>
                    <a:pt x="46" y="81"/>
                  </a:lnTo>
                  <a:lnTo>
                    <a:pt x="39" y="85"/>
                  </a:lnTo>
                  <a:lnTo>
                    <a:pt x="35" y="88"/>
                  </a:lnTo>
                  <a:lnTo>
                    <a:pt x="30" y="92"/>
                  </a:lnTo>
                  <a:lnTo>
                    <a:pt x="29" y="98"/>
                  </a:lnTo>
                  <a:lnTo>
                    <a:pt x="29" y="98"/>
                  </a:lnTo>
                  <a:lnTo>
                    <a:pt x="28" y="102"/>
                  </a:lnTo>
                  <a:lnTo>
                    <a:pt x="25" y="105"/>
                  </a:lnTo>
                  <a:lnTo>
                    <a:pt x="17" y="110"/>
                  </a:lnTo>
                  <a:lnTo>
                    <a:pt x="17" y="110"/>
                  </a:lnTo>
                  <a:lnTo>
                    <a:pt x="12" y="111"/>
                  </a:lnTo>
                  <a:lnTo>
                    <a:pt x="7" y="110"/>
                  </a:lnTo>
                  <a:lnTo>
                    <a:pt x="0" y="110"/>
                  </a:lnTo>
                  <a:lnTo>
                    <a:pt x="0" y="110"/>
                  </a:lnTo>
                  <a:lnTo>
                    <a:pt x="0" y="110"/>
                  </a:lnTo>
                  <a:lnTo>
                    <a:pt x="0" y="108"/>
                  </a:lnTo>
                  <a:lnTo>
                    <a:pt x="3" y="107"/>
                  </a:lnTo>
                  <a:lnTo>
                    <a:pt x="12" y="102"/>
                  </a:lnTo>
                  <a:lnTo>
                    <a:pt x="12" y="102"/>
                  </a:lnTo>
                  <a:lnTo>
                    <a:pt x="14" y="99"/>
                  </a:lnTo>
                  <a:lnTo>
                    <a:pt x="19" y="95"/>
                  </a:lnTo>
                  <a:lnTo>
                    <a:pt x="26" y="86"/>
                  </a:lnTo>
                  <a:lnTo>
                    <a:pt x="26" y="86"/>
                  </a:lnTo>
                  <a:lnTo>
                    <a:pt x="33" y="76"/>
                  </a:lnTo>
                  <a:lnTo>
                    <a:pt x="41" y="68"/>
                  </a:lnTo>
                  <a:lnTo>
                    <a:pt x="41" y="68"/>
                  </a:lnTo>
                  <a:lnTo>
                    <a:pt x="46" y="57"/>
                  </a:lnTo>
                  <a:lnTo>
                    <a:pt x="51" y="53"/>
                  </a:lnTo>
                  <a:lnTo>
                    <a:pt x="56" y="49"/>
                  </a:lnTo>
                  <a:lnTo>
                    <a:pt x="56" y="49"/>
                  </a:lnTo>
                  <a:lnTo>
                    <a:pt x="62" y="43"/>
                  </a:lnTo>
                  <a:lnTo>
                    <a:pt x="70" y="33"/>
                  </a:lnTo>
                  <a:lnTo>
                    <a:pt x="80" y="15"/>
                  </a:lnTo>
                  <a:lnTo>
                    <a:pt x="80" y="15"/>
                  </a:lnTo>
                  <a:lnTo>
                    <a:pt x="84" y="7"/>
                  </a:lnTo>
                  <a:lnTo>
                    <a:pt x="87" y="2"/>
                  </a:lnTo>
                  <a:lnTo>
                    <a:pt x="90" y="0"/>
                  </a:lnTo>
                  <a:lnTo>
                    <a:pt x="90" y="0"/>
                  </a:lnTo>
                  <a:lnTo>
                    <a:pt x="90" y="0"/>
                  </a:lnTo>
                  <a:lnTo>
                    <a:pt x="91" y="1"/>
                  </a:lnTo>
                  <a:lnTo>
                    <a:pt x="91" y="7"/>
                  </a:lnTo>
                  <a:lnTo>
                    <a:pt x="90" y="14"/>
                  </a:lnTo>
                  <a:lnTo>
                    <a:pt x="87"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54" name="Freeform 1174"/>
            <p:cNvSpPr>
              <a:spLocks/>
            </p:cNvSpPr>
            <p:nvPr/>
          </p:nvSpPr>
          <p:spPr bwMode="auto">
            <a:xfrm>
              <a:off x="6586538" y="3163889"/>
              <a:ext cx="779463" cy="377825"/>
            </a:xfrm>
            <a:custGeom>
              <a:avLst/>
              <a:gdLst>
                <a:gd name="T0" fmla="*/ 22 w 491"/>
                <a:gd name="T1" fmla="*/ 90 h 238"/>
                <a:gd name="T2" fmla="*/ 18 w 491"/>
                <a:gd name="T3" fmla="*/ 106 h 238"/>
                <a:gd name="T4" fmla="*/ 50 w 491"/>
                <a:gd name="T5" fmla="*/ 126 h 238"/>
                <a:gd name="T6" fmla="*/ 55 w 491"/>
                <a:gd name="T7" fmla="*/ 149 h 238"/>
                <a:gd name="T8" fmla="*/ 60 w 491"/>
                <a:gd name="T9" fmla="*/ 172 h 238"/>
                <a:gd name="T10" fmla="*/ 84 w 491"/>
                <a:gd name="T11" fmla="*/ 178 h 238"/>
                <a:gd name="T12" fmla="*/ 97 w 491"/>
                <a:gd name="T13" fmla="*/ 188 h 238"/>
                <a:gd name="T14" fmla="*/ 90 w 491"/>
                <a:gd name="T15" fmla="*/ 200 h 238"/>
                <a:gd name="T16" fmla="*/ 105 w 491"/>
                <a:gd name="T17" fmla="*/ 219 h 238"/>
                <a:gd name="T18" fmla="*/ 141 w 491"/>
                <a:gd name="T19" fmla="*/ 217 h 238"/>
                <a:gd name="T20" fmla="*/ 163 w 491"/>
                <a:gd name="T21" fmla="*/ 214 h 238"/>
                <a:gd name="T22" fmla="*/ 182 w 491"/>
                <a:gd name="T23" fmla="*/ 222 h 238"/>
                <a:gd name="T24" fmla="*/ 205 w 491"/>
                <a:gd name="T25" fmla="*/ 225 h 238"/>
                <a:gd name="T26" fmla="*/ 225 w 491"/>
                <a:gd name="T27" fmla="*/ 238 h 238"/>
                <a:gd name="T28" fmla="*/ 263 w 491"/>
                <a:gd name="T29" fmla="*/ 232 h 238"/>
                <a:gd name="T30" fmla="*/ 308 w 491"/>
                <a:gd name="T31" fmla="*/ 216 h 238"/>
                <a:gd name="T32" fmla="*/ 336 w 491"/>
                <a:gd name="T33" fmla="*/ 209 h 238"/>
                <a:gd name="T34" fmla="*/ 384 w 491"/>
                <a:gd name="T35" fmla="*/ 152 h 238"/>
                <a:gd name="T36" fmla="*/ 393 w 491"/>
                <a:gd name="T37" fmla="*/ 142 h 238"/>
                <a:gd name="T38" fmla="*/ 400 w 491"/>
                <a:gd name="T39" fmla="*/ 146 h 238"/>
                <a:gd name="T40" fmla="*/ 415 w 491"/>
                <a:gd name="T41" fmla="*/ 164 h 238"/>
                <a:gd name="T42" fmla="*/ 438 w 491"/>
                <a:gd name="T43" fmla="*/ 154 h 238"/>
                <a:gd name="T44" fmla="*/ 473 w 491"/>
                <a:gd name="T45" fmla="*/ 135 h 238"/>
                <a:gd name="T46" fmla="*/ 489 w 491"/>
                <a:gd name="T47" fmla="*/ 132 h 238"/>
                <a:gd name="T48" fmla="*/ 491 w 491"/>
                <a:gd name="T49" fmla="*/ 109 h 238"/>
                <a:gd name="T50" fmla="*/ 468 w 491"/>
                <a:gd name="T51" fmla="*/ 100 h 238"/>
                <a:gd name="T52" fmla="*/ 455 w 491"/>
                <a:gd name="T53" fmla="*/ 104 h 238"/>
                <a:gd name="T54" fmla="*/ 444 w 491"/>
                <a:gd name="T55" fmla="*/ 109 h 238"/>
                <a:gd name="T56" fmla="*/ 434 w 491"/>
                <a:gd name="T57" fmla="*/ 85 h 238"/>
                <a:gd name="T58" fmla="*/ 442 w 491"/>
                <a:gd name="T59" fmla="*/ 55 h 238"/>
                <a:gd name="T60" fmla="*/ 423 w 491"/>
                <a:gd name="T61" fmla="*/ 52 h 238"/>
                <a:gd name="T62" fmla="*/ 407 w 491"/>
                <a:gd name="T63" fmla="*/ 45 h 238"/>
                <a:gd name="T64" fmla="*/ 380 w 491"/>
                <a:gd name="T65" fmla="*/ 58 h 238"/>
                <a:gd name="T66" fmla="*/ 351 w 491"/>
                <a:gd name="T67" fmla="*/ 70 h 238"/>
                <a:gd name="T68" fmla="*/ 323 w 491"/>
                <a:gd name="T69" fmla="*/ 65 h 238"/>
                <a:gd name="T70" fmla="*/ 297 w 491"/>
                <a:gd name="T71" fmla="*/ 54 h 238"/>
                <a:gd name="T72" fmla="*/ 280 w 491"/>
                <a:gd name="T73" fmla="*/ 42 h 238"/>
                <a:gd name="T74" fmla="*/ 266 w 491"/>
                <a:gd name="T75" fmla="*/ 41 h 238"/>
                <a:gd name="T76" fmla="*/ 234 w 491"/>
                <a:gd name="T77" fmla="*/ 45 h 238"/>
                <a:gd name="T78" fmla="*/ 212 w 491"/>
                <a:gd name="T79" fmla="*/ 30 h 238"/>
                <a:gd name="T80" fmla="*/ 206 w 491"/>
                <a:gd name="T81" fmla="*/ 17 h 238"/>
                <a:gd name="T82" fmla="*/ 170 w 491"/>
                <a:gd name="T83" fmla="*/ 3 h 238"/>
                <a:gd name="T84" fmla="*/ 163 w 491"/>
                <a:gd name="T85" fmla="*/ 3 h 238"/>
                <a:gd name="T86" fmla="*/ 160 w 491"/>
                <a:gd name="T87" fmla="*/ 10 h 238"/>
                <a:gd name="T88" fmla="*/ 148 w 491"/>
                <a:gd name="T89" fmla="*/ 33 h 238"/>
                <a:gd name="T90" fmla="*/ 147 w 491"/>
                <a:gd name="T91" fmla="*/ 43 h 238"/>
                <a:gd name="T92" fmla="*/ 129 w 491"/>
                <a:gd name="T93" fmla="*/ 54 h 238"/>
                <a:gd name="T94" fmla="*/ 103 w 491"/>
                <a:gd name="T95" fmla="*/ 36 h 238"/>
                <a:gd name="T96" fmla="*/ 92 w 491"/>
                <a:gd name="T97" fmla="*/ 32 h 238"/>
                <a:gd name="T98" fmla="*/ 73 w 491"/>
                <a:gd name="T99" fmla="*/ 26 h 238"/>
                <a:gd name="T100" fmla="*/ 38 w 491"/>
                <a:gd name="T101" fmla="*/ 33 h 238"/>
                <a:gd name="T102" fmla="*/ 11 w 491"/>
                <a:gd name="T103" fmla="*/ 38 h 238"/>
                <a:gd name="T104" fmla="*/ 9 w 491"/>
                <a:gd name="T105" fmla="*/ 57 h 238"/>
                <a:gd name="T106" fmla="*/ 0 w 491"/>
                <a:gd name="T107" fmla="*/ 64 h 238"/>
                <a:gd name="T108" fmla="*/ 5 w 491"/>
                <a:gd name="T109" fmla="*/ 7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91" h="238">
                  <a:moveTo>
                    <a:pt x="21" y="84"/>
                  </a:moveTo>
                  <a:lnTo>
                    <a:pt x="21" y="84"/>
                  </a:lnTo>
                  <a:lnTo>
                    <a:pt x="22" y="87"/>
                  </a:lnTo>
                  <a:lnTo>
                    <a:pt x="22" y="90"/>
                  </a:lnTo>
                  <a:lnTo>
                    <a:pt x="16" y="99"/>
                  </a:lnTo>
                  <a:lnTo>
                    <a:pt x="16" y="99"/>
                  </a:lnTo>
                  <a:lnTo>
                    <a:pt x="16" y="101"/>
                  </a:lnTo>
                  <a:lnTo>
                    <a:pt x="18" y="106"/>
                  </a:lnTo>
                  <a:lnTo>
                    <a:pt x="22" y="109"/>
                  </a:lnTo>
                  <a:lnTo>
                    <a:pt x="28" y="113"/>
                  </a:lnTo>
                  <a:lnTo>
                    <a:pt x="41" y="120"/>
                  </a:lnTo>
                  <a:lnTo>
                    <a:pt x="50" y="126"/>
                  </a:lnTo>
                  <a:lnTo>
                    <a:pt x="50" y="126"/>
                  </a:lnTo>
                  <a:lnTo>
                    <a:pt x="53" y="130"/>
                  </a:lnTo>
                  <a:lnTo>
                    <a:pt x="54" y="135"/>
                  </a:lnTo>
                  <a:lnTo>
                    <a:pt x="55" y="149"/>
                  </a:lnTo>
                  <a:lnTo>
                    <a:pt x="57" y="169"/>
                  </a:lnTo>
                  <a:lnTo>
                    <a:pt x="57" y="169"/>
                  </a:lnTo>
                  <a:lnTo>
                    <a:pt x="58" y="172"/>
                  </a:lnTo>
                  <a:lnTo>
                    <a:pt x="60" y="172"/>
                  </a:lnTo>
                  <a:lnTo>
                    <a:pt x="69" y="175"/>
                  </a:lnTo>
                  <a:lnTo>
                    <a:pt x="79" y="177"/>
                  </a:lnTo>
                  <a:lnTo>
                    <a:pt x="84" y="178"/>
                  </a:lnTo>
                  <a:lnTo>
                    <a:pt x="84" y="178"/>
                  </a:lnTo>
                  <a:lnTo>
                    <a:pt x="92" y="183"/>
                  </a:lnTo>
                  <a:lnTo>
                    <a:pt x="97" y="187"/>
                  </a:lnTo>
                  <a:lnTo>
                    <a:pt x="97" y="187"/>
                  </a:lnTo>
                  <a:lnTo>
                    <a:pt x="97" y="188"/>
                  </a:lnTo>
                  <a:lnTo>
                    <a:pt x="95" y="191"/>
                  </a:lnTo>
                  <a:lnTo>
                    <a:pt x="90" y="198"/>
                  </a:lnTo>
                  <a:lnTo>
                    <a:pt x="90" y="198"/>
                  </a:lnTo>
                  <a:lnTo>
                    <a:pt x="90" y="200"/>
                  </a:lnTo>
                  <a:lnTo>
                    <a:pt x="90" y="203"/>
                  </a:lnTo>
                  <a:lnTo>
                    <a:pt x="95" y="209"/>
                  </a:lnTo>
                  <a:lnTo>
                    <a:pt x="105" y="219"/>
                  </a:lnTo>
                  <a:lnTo>
                    <a:pt x="105" y="219"/>
                  </a:lnTo>
                  <a:lnTo>
                    <a:pt x="108" y="220"/>
                  </a:lnTo>
                  <a:lnTo>
                    <a:pt x="113" y="220"/>
                  </a:lnTo>
                  <a:lnTo>
                    <a:pt x="126" y="220"/>
                  </a:lnTo>
                  <a:lnTo>
                    <a:pt x="141" y="217"/>
                  </a:lnTo>
                  <a:lnTo>
                    <a:pt x="150" y="216"/>
                  </a:lnTo>
                  <a:lnTo>
                    <a:pt x="150" y="216"/>
                  </a:lnTo>
                  <a:lnTo>
                    <a:pt x="155" y="214"/>
                  </a:lnTo>
                  <a:lnTo>
                    <a:pt x="163" y="214"/>
                  </a:lnTo>
                  <a:lnTo>
                    <a:pt x="168" y="216"/>
                  </a:lnTo>
                  <a:lnTo>
                    <a:pt x="174" y="217"/>
                  </a:lnTo>
                  <a:lnTo>
                    <a:pt x="174" y="217"/>
                  </a:lnTo>
                  <a:lnTo>
                    <a:pt x="182" y="222"/>
                  </a:lnTo>
                  <a:lnTo>
                    <a:pt x="196" y="222"/>
                  </a:lnTo>
                  <a:lnTo>
                    <a:pt x="196" y="222"/>
                  </a:lnTo>
                  <a:lnTo>
                    <a:pt x="202" y="223"/>
                  </a:lnTo>
                  <a:lnTo>
                    <a:pt x="205" y="225"/>
                  </a:lnTo>
                  <a:lnTo>
                    <a:pt x="212" y="229"/>
                  </a:lnTo>
                  <a:lnTo>
                    <a:pt x="218" y="233"/>
                  </a:lnTo>
                  <a:lnTo>
                    <a:pt x="222" y="236"/>
                  </a:lnTo>
                  <a:lnTo>
                    <a:pt x="225" y="238"/>
                  </a:lnTo>
                  <a:lnTo>
                    <a:pt x="225" y="238"/>
                  </a:lnTo>
                  <a:lnTo>
                    <a:pt x="232" y="238"/>
                  </a:lnTo>
                  <a:lnTo>
                    <a:pt x="241" y="236"/>
                  </a:lnTo>
                  <a:lnTo>
                    <a:pt x="263" y="232"/>
                  </a:lnTo>
                  <a:lnTo>
                    <a:pt x="286" y="225"/>
                  </a:lnTo>
                  <a:lnTo>
                    <a:pt x="300" y="219"/>
                  </a:lnTo>
                  <a:lnTo>
                    <a:pt x="300" y="219"/>
                  </a:lnTo>
                  <a:lnTo>
                    <a:pt x="308" y="216"/>
                  </a:lnTo>
                  <a:lnTo>
                    <a:pt x="313" y="214"/>
                  </a:lnTo>
                  <a:lnTo>
                    <a:pt x="331" y="211"/>
                  </a:lnTo>
                  <a:lnTo>
                    <a:pt x="331" y="211"/>
                  </a:lnTo>
                  <a:lnTo>
                    <a:pt x="336" y="209"/>
                  </a:lnTo>
                  <a:lnTo>
                    <a:pt x="344" y="203"/>
                  </a:lnTo>
                  <a:lnTo>
                    <a:pt x="361" y="184"/>
                  </a:lnTo>
                  <a:lnTo>
                    <a:pt x="376" y="165"/>
                  </a:lnTo>
                  <a:lnTo>
                    <a:pt x="384" y="152"/>
                  </a:lnTo>
                  <a:lnTo>
                    <a:pt x="384" y="152"/>
                  </a:lnTo>
                  <a:lnTo>
                    <a:pt x="387" y="148"/>
                  </a:lnTo>
                  <a:lnTo>
                    <a:pt x="390" y="145"/>
                  </a:lnTo>
                  <a:lnTo>
                    <a:pt x="393" y="142"/>
                  </a:lnTo>
                  <a:lnTo>
                    <a:pt x="397" y="143"/>
                  </a:lnTo>
                  <a:lnTo>
                    <a:pt x="397" y="143"/>
                  </a:lnTo>
                  <a:lnTo>
                    <a:pt x="399" y="143"/>
                  </a:lnTo>
                  <a:lnTo>
                    <a:pt x="400" y="146"/>
                  </a:lnTo>
                  <a:lnTo>
                    <a:pt x="405" y="154"/>
                  </a:lnTo>
                  <a:lnTo>
                    <a:pt x="409" y="159"/>
                  </a:lnTo>
                  <a:lnTo>
                    <a:pt x="410" y="162"/>
                  </a:lnTo>
                  <a:lnTo>
                    <a:pt x="415" y="164"/>
                  </a:lnTo>
                  <a:lnTo>
                    <a:pt x="415" y="164"/>
                  </a:lnTo>
                  <a:lnTo>
                    <a:pt x="418" y="164"/>
                  </a:lnTo>
                  <a:lnTo>
                    <a:pt x="423" y="162"/>
                  </a:lnTo>
                  <a:lnTo>
                    <a:pt x="438" y="154"/>
                  </a:lnTo>
                  <a:lnTo>
                    <a:pt x="460" y="138"/>
                  </a:lnTo>
                  <a:lnTo>
                    <a:pt x="460" y="138"/>
                  </a:lnTo>
                  <a:lnTo>
                    <a:pt x="465" y="136"/>
                  </a:lnTo>
                  <a:lnTo>
                    <a:pt x="473" y="135"/>
                  </a:lnTo>
                  <a:lnTo>
                    <a:pt x="480" y="135"/>
                  </a:lnTo>
                  <a:lnTo>
                    <a:pt x="486" y="133"/>
                  </a:lnTo>
                  <a:lnTo>
                    <a:pt x="486" y="133"/>
                  </a:lnTo>
                  <a:lnTo>
                    <a:pt x="489" y="132"/>
                  </a:lnTo>
                  <a:lnTo>
                    <a:pt x="490" y="129"/>
                  </a:lnTo>
                  <a:lnTo>
                    <a:pt x="491" y="122"/>
                  </a:lnTo>
                  <a:lnTo>
                    <a:pt x="491" y="114"/>
                  </a:lnTo>
                  <a:lnTo>
                    <a:pt x="491" y="109"/>
                  </a:lnTo>
                  <a:lnTo>
                    <a:pt x="491" y="109"/>
                  </a:lnTo>
                  <a:lnTo>
                    <a:pt x="489" y="107"/>
                  </a:lnTo>
                  <a:lnTo>
                    <a:pt x="481" y="104"/>
                  </a:lnTo>
                  <a:lnTo>
                    <a:pt x="468" y="100"/>
                  </a:lnTo>
                  <a:lnTo>
                    <a:pt x="468" y="100"/>
                  </a:lnTo>
                  <a:lnTo>
                    <a:pt x="464" y="100"/>
                  </a:lnTo>
                  <a:lnTo>
                    <a:pt x="461" y="101"/>
                  </a:lnTo>
                  <a:lnTo>
                    <a:pt x="455" y="104"/>
                  </a:lnTo>
                  <a:lnTo>
                    <a:pt x="449" y="107"/>
                  </a:lnTo>
                  <a:lnTo>
                    <a:pt x="445" y="109"/>
                  </a:lnTo>
                  <a:lnTo>
                    <a:pt x="445" y="109"/>
                  </a:lnTo>
                  <a:lnTo>
                    <a:pt x="444" y="109"/>
                  </a:lnTo>
                  <a:lnTo>
                    <a:pt x="442" y="107"/>
                  </a:lnTo>
                  <a:lnTo>
                    <a:pt x="439" y="101"/>
                  </a:lnTo>
                  <a:lnTo>
                    <a:pt x="436" y="94"/>
                  </a:lnTo>
                  <a:lnTo>
                    <a:pt x="434" y="85"/>
                  </a:lnTo>
                  <a:lnTo>
                    <a:pt x="434" y="85"/>
                  </a:lnTo>
                  <a:lnTo>
                    <a:pt x="434" y="80"/>
                  </a:lnTo>
                  <a:lnTo>
                    <a:pt x="435" y="71"/>
                  </a:lnTo>
                  <a:lnTo>
                    <a:pt x="442" y="55"/>
                  </a:lnTo>
                  <a:lnTo>
                    <a:pt x="442" y="55"/>
                  </a:lnTo>
                  <a:lnTo>
                    <a:pt x="435" y="55"/>
                  </a:lnTo>
                  <a:lnTo>
                    <a:pt x="435" y="55"/>
                  </a:lnTo>
                  <a:lnTo>
                    <a:pt x="423" y="52"/>
                  </a:lnTo>
                  <a:lnTo>
                    <a:pt x="418" y="51"/>
                  </a:lnTo>
                  <a:lnTo>
                    <a:pt x="413" y="48"/>
                  </a:lnTo>
                  <a:lnTo>
                    <a:pt x="413" y="48"/>
                  </a:lnTo>
                  <a:lnTo>
                    <a:pt x="407" y="45"/>
                  </a:lnTo>
                  <a:lnTo>
                    <a:pt x="405" y="46"/>
                  </a:lnTo>
                  <a:lnTo>
                    <a:pt x="400" y="48"/>
                  </a:lnTo>
                  <a:lnTo>
                    <a:pt x="400" y="48"/>
                  </a:lnTo>
                  <a:lnTo>
                    <a:pt x="380" y="58"/>
                  </a:lnTo>
                  <a:lnTo>
                    <a:pt x="363" y="65"/>
                  </a:lnTo>
                  <a:lnTo>
                    <a:pt x="363" y="65"/>
                  </a:lnTo>
                  <a:lnTo>
                    <a:pt x="355" y="68"/>
                  </a:lnTo>
                  <a:lnTo>
                    <a:pt x="351" y="70"/>
                  </a:lnTo>
                  <a:lnTo>
                    <a:pt x="348" y="71"/>
                  </a:lnTo>
                  <a:lnTo>
                    <a:pt x="348" y="71"/>
                  </a:lnTo>
                  <a:lnTo>
                    <a:pt x="336" y="68"/>
                  </a:lnTo>
                  <a:lnTo>
                    <a:pt x="323" y="65"/>
                  </a:lnTo>
                  <a:lnTo>
                    <a:pt x="323" y="65"/>
                  </a:lnTo>
                  <a:lnTo>
                    <a:pt x="310" y="59"/>
                  </a:lnTo>
                  <a:lnTo>
                    <a:pt x="297" y="54"/>
                  </a:lnTo>
                  <a:lnTo>
                    <a:pt x="297" y="54"/>
                  </a:lnTo>
                  <a:lnTo>
                    <a:pt x="289" y="51"/>
                  </a:lnTo>
                  <a:lnTo>
                    <a:pt x="283" y="45"/>
                  </a:lnTo>
                  <a:lnTo>
                    <a:pt x="283" y="45"/>
                  </a:lnTo>
                  <a:lnTo>
                    <a:pt x="280" y="42"/>
                  </a:lnTo>
                  <a:lnTo>
                    <a:pt x="276" y="41"/>
                  </a:lnTo>
                  <a:lnTo>
                    <a:pt x="270" y="41"/>
                  </a:lnTo>
                  <a:lnTo>
                    <a:pt x="266" y="41"/>
                  </a:lnTo>
                  <a:lnTo>
                    <a:pt x="266" y="41"/>
                  </a:lnTo>
                  <a:lnTo>
                    <a:pt x="260" y="43"/>
                  </a:lnTo>
                  <a:lnTo>
                    <a:pt x="251" y="45"/>
                  </a:lnTo>
                  <a:lnTo>
                    <a:pt x="242" y="45"/>
                  </a:lnTo>
                  <a:lnTo>
                    <a:pt x="234" y="45"/>
                  </a:lnTo>
                  <a:lnTo>
                    <a:pt x="234" y="45"/>
                  </a:lnTo>
                  <a:lnTo>
                    <a:pt x="225" y="42"/>
                  </a:lnTo>
                  <a:lnTo>
                    <a:pt x="218" y="38"/>
                  </a:lnTo>
                  <a:lnTo>
                    <a:pt x="212" y="30"/>
                  </a:lnTo>
                  <a:lnTo>
                    <a:pt x="210" y="23"/>
                  </a:lnTo>
                  <a:lnTo>
                    <a:pt x="210" y="23"/>
                  </a:lnTo>
                  <a:lnTo>
                    <a:pt x="209" y="20"/>
                  </a:lnTo>
                  <a:lnTo>
                    <a:pt x="206" y="17"/>
                  </a:lnTo>
                  <a:lnTo>
                    <a:pt x="200" y="15"/>
                  </a:lnTo>
                  <a:lnTo>
                    <a:pt x="190" y="12"/>
                  </a:lnTo>
                  <a:lnTo>
                    <a:pt x="190" y="12"/>
                  </a:lnTo>
                  <a:lnTo>
                    <a:pt x="170" y="3"/>
                  </a:lnTo>
                  <a:lnTo>
                    <a:pt x="170" y="3"/>
                  </a:lnTo>
                  <a:lnTo>
                    <a:pt x="164" y="0"/>
                  </a:lnTo>
                  <a:lnTo>
                    <a:pt x="163" y="0"/>
                  </a:lnTo>
                  <a:lnTo>
                    <a:pt x="163" y="3"/>
                  </a:lnTo>
                  <a:lnTo>
                    <a:pt x="163" y="3"/>
                  </a:lnTo>
                  <a:lnTo>
                    <a:pt x="163" y="6"/>
                  </a:lnTo>
                  <a:lnTo>
                    <a:pt x="160" y="10"/>
                  </a:lnTo>
                  <a:lnTo>
                    <a:pt x="160" y="10"/>
                  </a:lnTo>
                  <a:lnTo>
                    <a:pt x="151" y="23"/>
                  </a:lnTo>
                  <a:lnTo>
                    <a:pt x="148" y="29"/>
                  </a:lnTo>
                  <a:lnTo>
                    <a:pt x="148" y="33"/>
                  </a:lnTo>
                  <a:lnTo>
                    <a:pt x="148" y="33"/>
                  </a:lnTo>
                  <a:lnTo>
                    <a:pt x="150" y="35"/>
                  </a:lnTo>
                  <a:lnTo>
                    <a:pt x="150" y="39"/>
                  </a:lnTo>
                  <a:lnTo>
                    <a:pt x="150" y="39"/>
                  </a:lnTo>
                  <a:lnTo>
                    <a:pt x="147" y="43"/>
                  </a:lnTo>
                  <a:lnTo>
                    <a:pt x="142" y="49"/>
                  </a:lnTo>
                  <a:lnTo>
                    <a:pt x="137" y="54"/>
                  </a:lnTo>
                  <a:lnTo>
                    <a:pt x="132" y="54"/>
                  </a:lnTo>
                  <a:lnTo>
                    <a:pt x="129" y="54"/>
                  </a:lnTo>
                  <a:lnTo>
                    <a:pt x="129" y="54"/>
                  </a:lnTo>
                  <a:lnTo>
                    <a:pt x="122" y="51"/>
                  </a:lnTo>
                  <a:lnTo>
                    <a:pt x="115" y="45"/>
                  </a:lnTo>
                  <a:lnTo>
                    <a:pt x="103" y="36"/>
                  </a:lnTo>
                  <a:lnTo>
                    <a:pt x="103" y="36"/>
                  </a:lnTo>
                  <a:lnTo>
                    <a:pt x="99" y="35"/>
                  </a:lnTo>
                  <a:lnTo>
                    <a:pt x="95" y="33"/>
                  </a:lnTo>
                  <a:lnTo>
                    <a:pt x="92" y="32"/>
                  </a:lnTo>
                  <a:lnTo>
                    <a:pt x="86" y="30"/>
                  </a:lnTo>
                  <a:lnTo>
                    <a:pt x="86" y="30"/>
                  </a:lnTo>
                  <a:lnTo>
                    <a:pt x="77" y="26"/>
                  </a:lnTo>
                  <a:lnTo>
                    <a:pt x="73" y="26"/>
                  </a:lnTo>
                  <a:lnTo>
                    <a:pt x="69" y="26"/>
                  </a:lnTo>
                  <a:lnTo>
                    <a:pt x="69" y="26"/>
                  </a:lnTo>
                  <a:lnTo>
                    <a:pt x="54" y="30"/>
                  </a:lnTo>
                  <a:lnTo>
                    <a:pt x="38" y="33"/>
                  </a:lnTo>
                  <a:lnTo>
                    <a:pt x="38" y="33"/>
                  </a:lnTo>
                  <a:lnTo>
                    <a:pt x="22" y="35"/>
                  </a:lnTo>
                  <a:lnTo>
                    <a:pt x="15" y="36"/>
                  </a:lnTo>
                  <a:lnTo>
                    <a:pt x="11" y="38"/>
                  </a:lnTo>
                  <a:lnTo>
                    <a:pt x="11" y="38"/>
                  </a:lnTo>
                  <a:lnTo>
                    <a:pt x="9" y="42"/>
                  </a:lnTo>
                  <a:lnTo>
                    <a:pt x="11" y="49"/>
                  </a:lnTo>
                  <a:lnTo>
                    <a:pt x="9" y="57"/>
                  </a:lnTo>
                  <a:lnTo>
                    <a:pt x="9" y="59"/>
                  </a:lnTo>
                  <a:lnTo>
                    <a:pt x="8" y="61"/>
                  </a:lnTo>
                  <a:lnTo>
                    <a:pt x="8" y="61"/>
                  </a:lnTo>
                  <a:lnTo>
                    <a:pt x="0" y="64"/>
                  </a:lnTo>
                  <a:lnTo>
                    <a:pt x="0" y="64"/>
                  </a:lnTo>
                  <a:lnTo>
                    <a:pt x="2" y="71"/>
                  </a:lnTo>
                  <a:lnTo>
                    <a:pt x="2" y="71"/>
                  </a:lnTo>
                  <a:lnTo>
                    <a:pt x="5" y="74"/>
                  </a:lnTo>
                  <a:lnTo>
                    <a:pt x="11" y="78"/>
                  </a:lnTo>
                  <a:lnTo>
                    <a:pt x="16" y="81"/>
                  </a:lnTo>
                  <a:lnTo>
                    <a:pt x="21" y="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55" name="Freeform 1175"/>
            <p:cNvSpPr>
              <a:spLocks/>
            </p:cNvSpPr>
            <p:nvPr/>
          </p:nvSpPr>
          <p:spPr bwMode="auto">
            <a:xfrm>
              <a:off x="6662738" y="3224214"/>
              <a:ext cx="25400" cy="25400"/>
            </a:xfrm>
            <a:custGeom>
              <a:avLst/>
              <a:gdLst>
                <a:gd name="T0" fmla="*/ 7 w 16"/>
                <a:gd name="T1" fmla="*/ 0 h 16"/>
                <a:gd name="T2" fmla="*/ 7 w 16"/>
                <a:gd name="T3" fmla="*/ 0 h 16"/>
                <a:gd name="T4" fmla="*/ 13 w 16"/>
                <a:gd name="T5" fmla="*/ 3 h 16"/>
                <a:gd name="T6" fmla="*/ 16 w 16"/>
                <a:gd name="T7" fmla="*/ 4 h 16"/>
                <a:gd name="T8" fmla="*/ 16 w 16"/>
                <a:gd name="T9" fmla="*/ 7 h 16"/>
                <a:gd name="T10" fmla="*/ 16 w 16"/>
                <a:gd name="T11" fmla="*/ 7 h 16"/>
                <a:gd name="T12" fmla="*/ 16 w 16"/>
                <a:gd name="T13" fmla="*/ 10 h 16"/>
                <a:gd name="T14" fmla="*/ 13 w 16"/>
                <a:gd name="T15" fmla="*/ 13 h 16"/>
                <a:gd name="T16" fmla="*/ 10 w 16"/>
                <a:gd name="T17" fmla="*/ 16 h 16"/>
                <a:gd name="T18" fmla="*/ 7 w 16"/>
                <a:gd name="T19" fmla="*/ 16 h 16"/>
                <a:gd name="T20" fmla="*/ 7 w 16"/>
                <a:gd name="T21" fmla="*/ 16 h 16"/>
                <a:gd name="T22" fmla="*/ 2 w 16"/>
                <a:gd name="T23" fmla="*/ 11 h 16"/>
                <a:gd name="T24" fmla="*/ 0 w 16"/>
                <a:gd name="T25" fmla="*/ 10 h 16"/>
                <a:gd name="T26" fmla="*/ 0 w 16"/>
                <a:gd name="T27" fmla="*/ 7 h 16"/>
                <a:gd name="T28" fmla="*/ 0 w 16"/>
                <a:gd name="T29" fmla="*/ 7 h 16"/>
                <a:gd name="T30" fmla="*/ 2 w 16"/>
                <a:gd name="T31" fmla="*/ 4 h 16"/>
                <a:gd name="T32" fmla="*/ 3 w 16"/>
                <a:gd name="T33" fmla="*/ 3 h 16"/>
                <a:gd name="T34" fmla="*/ 6 w 16"/>
                <a:gd name="T35" fmla="*/ 0 h 16"/>
                <a:gd name="T36" fmla="*/ 7 w 16"/>
                <a:gd name="T3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16">
                  <a:moveTo>
                    <a:pt x="7" y="0"/>
                  </a:moveTo>
                  <a:lnTo>
                    <a:pt x="7" y="0"/>
                  </a:lnTo>
                  <a:lnTo>
                    <a:pt x="13" y="3"/>
                  </a:lnTo>
                  <a:lnTo>
                    <a:pt x="16" y="4"/>
                  </a:lnTo>
                  <a:lnTo>
                    <a:pt x="16" y="7"/>
                  </a:lnTo>
                  <a:lnTo>
                    <a:pt x="16" y="7"/>
                  </a:lnTo>
                  <a:lnTo>
                    <a:pt x="16" y="10"/>
                  </a:lnTo>
                  <a:lnTo>
                    <a:pt x="13" y="13"/>
                  </a:lnTo>
                  <a:lnTo>
                    <a:pt x="10" y="16"/>
                  </a:lnTo>
                  <a:lnTo>
                    <a:pt x="7" y="16"/>
                  </a:lnTo>
                  <a:lnTo>
                    <a:pt x="7" y="16"/>
                  </a:lnTo>
                  <a:lnTo>
                    <a:pt x="2" y="11"/>
                  </a:lnTo>
                  <a:lnTo>
                    <a:pt x="0" y="10"/>
                  </a:lnTo>
                  <a:lnTo>
                    <a:pt x="0" y="7"/>
                  </a:lnTo>
                  <a:lnTo>
                    <a:pt x="0" y="7"/>
                  </a:lnTo>
                  <a:lnTo>
                    <a:pt x="2" y="4"/>
                  </a:lnTo>
                  <a:lnTo>
                    <a:pt x="3" y="3"/>
                  </a:lnTo>
                  <a:lnTo>
                    <a:pt x="6" y="0"/>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56" name="Freeform 1176"/>
            <p:cNvSpPr>
              <a:spLocks noEditPoints="1"/>
            </p:cNvSpPr>
            <p:nvPr/>
          </p:nvSpPr>
          <p:spPr bwMode="auto">
            <a:xfrm>
              <a:off x="7200900" y="4989514"/>
              <a:ext cx="1036638" cy="784225"/>
            </a:xfrm>
            <a:custGeom>
              <a:avLst/>
              <a:gdLst>
                <a:gd name="T0" fmla="*/ 632 w 653"/>
                <a:gd name="T1" fmla="*/ 229 h 494"/>
                <a:gd name="T2" fmla="*/ 601 w 653"/>
                <a:gd name="T3" fmla="*/ 193 h 494"/>
                <a:gd name="T4" fmla="*/ 578 w 653"/>
                <a:gd name="T5" fmla="*/ 162 h 494"/>
                <a:gd name="T6" fmla="*/ 536 w 653"/>
                <a:gd name="T7" fmla="*/ 126 h 494"/>
                <a:gd name="T8" fmla="*/ 517 w 653"/>
                <a:gd name="T9" fmla="*/ 68 h 494"/>
                <a:gd name="T10" fmla="*/ 491 w 653"/>
                <a:gd name="T11" fmla="*/ 29 h 494"/>
                <a:gd name="T12" fmla="*/ 477 w 653"/>
                <a:gd name="T13" fmla="*/ 2 h 494"/>
                <a:gd name="T14" fmla="*/ 464 w 653"/>
                <a:gd name="T15" fmla="*/ 33 h 494"/>
                <a:gd name="T16" fmla="*/ 446 w 653"/>
                <a:gd name="T17" fmla="*/ 112 h 494"/>
                <a:gd name="T18" fmla="*/ 422 w 653"/>
                <a:gd name="T19" fmla="*/ 101 h 494"/>
                <a:gd name="T20" fmla="*/ 393 w 653"/>
                <a:gd name="T21" fmla="*/ 84 h 494"/>
                <a:gd name="T22" fmla="*/ 364 w 653"/>
                <a:gd name="T23" fmla="*/ 64 h 494"/>
                <a:gd name="T24" fmla="*/ 381 w 653"/>
                <a:gd name="T25" fmla="*/ 38 h 494"/>
                <a:gd name="T26" fmla="*/ 374 w 653"/>
                <a:gd name="T27" fmla="*/ 19 h 494"/>
                <a:gd name="T28" fmla="*/ 356 w 653"/>
                <a:gd name="T29" fmla="*/ 22 h 494"/>
                <a:gd name="T30" fmla="*/ 316 w 653"/>
                <a:gd name="T31" fmla="*/ 10 h 494"/>
                <a:gd name="T32" fmla="*/ 285 w 653"/>
                <a:gd name="T33" fmla="*/ 22 h 494"/>
                <a:gd name="T34" fmla="*/ 264 w 653"/>
                <a:gd name="T35" fmla="*/ 54 h 494"/>
                <a:gd name="T36" fmla="*/ 268 w 653"/>
                <a:gd name="T37" fmla="*/ 71 h 494"/>
                <a:gd name="T38" fmla="*/ 239 w 653"/>
                <a:gd name="T39" fmla="*/ 62 h 494"/>
                <a:gd name="T40" fmla="*/ 209 w 653"/>
                <a:gd name="T41" fmla="*/ 52 h 494"/>
                <a:gd name="T42" fmla="*/ 196 w 653"/>
                <a:gd name="T43" fmla="*/ 74 h 494"/>
                <a:gd name="T44" fmla="*/ 180 w 653"/>
                <a:gd name="T45" fmla="*/ 88 h 494"/>
                <a:gd name="T46" fmla="*/ 170 w 653"/>
                <a:gd name="T47" fmla="*/ 106 h 494"/>
                <a:gd name="T48" fmla="*/ 142 w 653"/>
                <a:gd name="T49" fmla="*/ 110 h 494"/>
                <a:gd name="T50" fmla="*/ 123 w 653"/>
                <a:gd name="T51" fmla="*/ 145 h 494"/>
                <a:gd name="T52" fmla="*/ 33 w 653"/>
                <a:gd name="T53" fmla="*/ 177 h 494"/>
                <a:gd name="T54" fmla="*/ 18 w 653"/>
                <a:gd name="T55" fmla="*/ 187 h 494"/>
                <a:gd name="T56" fmla="*/ 3 w 653"/>
                <a:gd name="T57" fmla="*/ 228 h 494"/>
                <a:gd name="T58" fmla="*/ 10 w 653"/>
                <a:gd name="T59" fmla="*/ 245 h 494"/>
                <a:gd name="T60" fmla="*/ 5 w 653"/>
                <a:gd name="T61" fmla="*/ 259 h 494"/>
                <a:gd name="T62" fmla="*/ 15 w 653"/>
                <a:gd name="T63" fmla="*/ 291 h 494"/>
                <a:gd name="T64" fmla="*/ 41 w 653"/>
                <a:gd name="T65" fmla="*/ 375 h 494"/>
                <a:gd name="T66" fmla="*/ 25 w 653"/>
                <a:gd name="T67" fmla="*/ 393 h 494"/>
                <a:gd name="T68" fmla="*/ 48 w 653"/>
                <a:gd name="T69" fmla="*/ 419 h 494"/>
                <a:gd name="T70" fmla="*/ 104 w 653"/>
                <a:gd name="T71" fmla="*/ 398 h 494"/>
                <a:gd name="T72" fmla="*/ 151 w 653"/>
                <a:gd name="T73" fmla="*/ 396 h 494"/>
                <a:gd name="T74" fmla="*/ 190 w 653"/>
                <a:gd name="T75" fmla="*/ 378 h 494"/>
                <a:gd name="T76" fmla="*/ 290 w 653"/>
                <a:gd name="T77" fmla="*/ 361 h 494"/>
                <a:gd name="T78" fmla="*/ 333 w 653"/>
                <a:gd name="T79" fmla="*/ 378 h 494"/>
                <a:gd name="T80" fmla="*/ 348 w 653"/>
                <a:gd name="T81" fmla="*/ 404 h 494"/>
                <a:gd name="T82" fmla="*/ 362 w 653"/>
                <a:gd name="T83" fmla="*/ 410 h 494"/>
                <a:gd name="T84" fmla="*/ 384 w 653"/>
                <a:gd name="T85" fmla="*/ 385 h 494"/>
                <a:gd name="T86" fmla="*/ 383 w 653"/>
                <a:gd name="T87" fmla="*/ 416 h 494"/>
                <a:gd name="T88" fmla="*/ 390 w 653"/>
                <a:gd name="T89" fmla="*/ 416 h 494"/>
                <a:gd name="T90" fmla="*/ 394 w 653"/>
                <a:gd name="T91" fmla="*/ 432 h 494"/>
                <a:gd name="T92" fmla="*/ 417 w 653"/>
                <a:gd name="T93" fmla="*/ 443 h 494"/>
                <a:gd name="T94" fmla="*/ 443 w 653"/>
                <a:gd name="T95" fmla="*/ 482 h 494"/>
                <a:gd name="T96" fmla="*/ 474 w 653"/>
                <a:gd name="T97" fmla="*/ 493 h 494"/>
                <a:gd name="T98" fmla="*/ 511 w 653"/>
                <a:gd name="T99" fmla="*/ 485 h 494"/>
                <a:gd name="T100" fmla="*/ 548 w 653"/>
                <a:gd name="T101" fmla="*/ 481 h 494"/>
                <a:gd name="T102" fmla="*/ 587 w 653"/>
                <a:gd name="T103" fmla="*/ 455 h 494"/>
                <a:gd name="T104" fmla="*/ 601 w 653"/>
                <a:gd name="T105" fmla="*/ 407 h 494"/>
                <a:gd name="T106" fmla="*/ 642 w 653"/>
                <a:gd name="T107" fmla="*/ 354 h 494"/>
                <a:gd name="T108" fmla="*/ 369 w 653"/>
                <a:gd name="T109" fmla="*/ 356 h 494"/>
                <a:gd name="T110" fmla="*/ 384 w 653"/>
                <a:gd name="T111" fmla="*/ 307 h 494"/>
                <a:gd name="T112" fmla="*/ 398 w 653"/>
                <a:gd name="T113" fmla="*/ 301 h 494"/>
                <a:gd name="T114" fmla="*/ 400 w 653"/>
                <a:gd name="T115" fmla="*/ 365 h 494"/>
                <a:gd name="T116" fmla="*/ 393 w 653"/>
                <a:gd name="T117" fmla="*/ 339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53" h="494">
                  <a:moveTo>
                    <a:pt x="653" y="296"/>
                  </a:moveTo>
                  <a:lnTo>
                    <a:pt x="653" y="296"/>
                  </a:lnTo>
                  <a:lnTo>
                    <a:pt x="649" y="287"/>
                  </a:lnTo>
                  <a:lnTo>
                    <a:pt x="649" y="278"/>
                  </a:lnTo>
                  <a:lnTo>
                    <a:pt x="649" y="278"/>
                  </a:lnTo>
                  <a:lnTo>
                    <a:pt x="649" y="272"/>
                  </a:lnTo>
                  <a:lnTo>
                    <a:pt x="648" y="265"/>
                  </a:lnTo>
                  <a:lnTo>
                    <a:pt x="643" y="254"/>
                  </a:lnTo>
                  <a:lnTo>
                    <a:pt x="643" y="254"/>
                  </a:lnTo>
                  <a:lnTo>
                    <a:pt x="639" y="242"/>
                  </a:lnTo>
                  <a:lnTo>
                    <a:pt x="635" y="235"/>
                  </a:lnTo>
                  <a:lnTo>
                    <a:pt x="632" y="229"/>
                  </a:lnTo>
                  <a:lnTo>
                    <a:pt x="632" y="229"/>
                  </a:lnTo>
                  <a:lnTo>
                    <a:pt x="624" y="223"/>
                  </a:lnTo>
                  <a:lnTo>
                    <a:pt x="617" y="216"/>
                  </a:lnTo>
                  <a:lnTo>
                    <a:pt x="617" y="216"/>
                  </a:lnTo>
                  <a:lnTo>
                    <a:pt x="611" y="212"/>
                  </a:lnTo>
                  <a:lnTo>
                    <a:pt x="610" y="209"/>
                  </a:lnTo>
                  <a:lnTo>
                    <a:pt x="608" y="203"/>
                  </a:lnTo>
                  <a:lnTo>
                    <a:pt x="608" y="203"/>
                  </a:lnTo>
                  <a:lnTo>
                    <a:pt x="607" y="197"/>
                  </a:lnTo>
                  <a:lnTo>
                    <a:pt x="604" y="194"/>
                  </a:lnTo>
                  <a:lnTo>
                    <a:pt x="601" y="193"/>
                  </a:lnTo>
                  <a:lnTo>
                    <a:pt x="601" y="193"/>
                  </a:lnTo>
                  <a:lnTo>
                    <a:pt x="600" y="191"/>
                  </a:lnTo>
                  <a:lnTo>
                    <a:pt x="598" y="190"/>
                  </a:lnTo>
                  <a:lnTo>
                    <a:pt x="597" y="191"/>
                  </a:lnTo>
                  <a:lnTo>
                    <a:pt x="597" y="191"/>
                  </a:lnTo>
                  <a:lnTo>
                    <a:pt x="595" y="193"/>
                  </a:lnTo>
                  <a:lnTo>
                    <a:pt x="594" y="193"/>
                  </a:lnTo>
                  <a:lnTo>
                    <a:pt x="591" y="191"/>
                  </a:lnTo>
                  <a:lnTo>
                    <a:pt x="590" y="187"/>
                  </a:lnTo>
                  <a:lnTo>
                    <a:pt x="590" y="187"/>
                  </a:lnTo>
                  <a:lnTo>
                    <a:pt x="582" y="170"/>
                  </a:lnTo>
                  <a:lnTo>
                    <a:pt x="582" y="170"/>
                  </a:lnTo>
                  <a:lnTo>
                    <a:pt x="578" y="162"/>
                  </a:lnTo>
                  <a:lnTo>
                    <a:pt x="572" y="155"/>
                  </a:lnTo>
                  <a:lnTo>
                    <a:pt x="572" y="155"/>
                  </a:lnTo>
                  <a:lnTo>
                    <a:pt x="564" y="151"/>
                  </a:lnTo>
                  <a:lnTo>
                    <a:pt x="558" y="148"/>
                  </a:lnTo>
                  <a:lnTo>
                    <a:pt x="555" y="145"/>
                  </a:lnTo>
                  <a:lnTo>
                    <a:pt x="555" y="145"/>
                  </a:lnTo>
                  <a:lnTo>
                    <a:pt x="553" y="142"/>
                  </a:lnTo>
                  <a:lnTo>
                    <a:pt x="551" y="141"/>
                  </a:lnTo>
                  <a:lnTo>
                    <a:pt x="545" y="135"/>
                  </a:lnTo>
                  <a:lnTo>
                    <a:pt x="545" y="135"/>
                  </a:lnTo>
                  <a:lnTo>
                    <a:pt x="539" y="129"/>
                  </a:lnTo>
                  <a:lnTo>
                    <a:pt x="536" y="126"/>
                  </a:lnTo>
                  <a:lnTo>
                    <a:pt x="536" y="122"/>
                  </a:lnTo>
                  <a:lnTo>
                    <a:pt x="536" y="122"/>
                  </a:lnTo>
                  <a:lnTo>
                    <a:pt x="536" y="119"/>
                  </a:lnTo>
                  <a:lnTo>
                    <a:pt x="535" y="113"/>
                  </a:lnTo>
                  <a:lnTo>
                    <a:pt x="530" y="103"/>
                  </a:lnTo>
                  <a:lnTo>
                    <a:pt x="530" y="103"/>
                  </a:lnTo>
                  <a:lnTo>
                    <a:pt x="524" y="88"/>
                  </a:lnTo>
                  <a:lnTo>
                    <a:pt x="522" y="81"/>
                  </a:lnTo>
                  <a:lnTo>
                    <a:pt x="520" y="77"/>
                  </a:lnTo>
                  <a:lnTo>
                    <a:pt x="520" y="77"/>
                  </a:lnTo>
                  <a:lnTo>
                    <a:pt x="520" y="73"/>
                  </a:lnTo>
                  <a:lnTo>
                    <a:pt x="517" y="68"/>
                  </a:lnTo>
                  <a:lnTo>
                    <a:pt x="513" y="59"/>
                  </a:lnTo>
                  <a:lnTo>
                    <a:pt x="513" y="59"/>
                  </a:lnTo>
                  <a:lnTo>
                    <a:pt x="509" y="57"/>
                  </a:lnTo>
                  <a:lnTo>
                    <a:pt x="506" y="57"/>
                  </a:lnTo>
                  <a:lnTo>
                    <a:pt x="506" y="57"/>
                  </a:lnTo>
                  <a:lnTo>
                    <a:pt x="501" y="58"/>
                  </a:lnTo>
                  <a:lnTo>
                    <a:pt x="498" y="58"/>
                  </a:lnTo>
                  <a:lnTo>
                    <a:pt x="497" y="57"/>
                  </a:lnTo>
                  <a:lnTo>
                    <a:pt x="497" y="57"/>
                  </a:lnTo>
                  <a:lnTo>
                    <a:pt x="495" y="45"/>
                  </a:lnTo>
                  <a:lnTo>
                    <a:pt x="494" y="36"/>
                  </a:lnTo>
                  <a:lnTo>
                    <a:pt x="491" y="29"/>
                  </a:lnTo>
                  <a:lnTo>
                    <a:pt x="491" y="29"/>
                  </a:lnTo>
                  <a:lnTo>
                    <a:pt x="485" y="20"/>
                  </a:lnTo>
                  <a:lnTo>
                    <a:pt x="484" y="19"/>
                  </a:lnTo>
                  <a:lnTo>
                    <a:pt x="485" y="17"/>
                  </a:lnTo>
                  <a:lnTo>
                    <a:pt x="485" y="17"/>
                  </a:lnTo>
                  <a:lnTo>
                    <a:pt x="487" y="16"/>
                  </a:lnTo>
                  <a:lnTo>
                    <a:pt x="485" y="15"/>
                  </a:lnTo>
                  <a:lnTo>
                    <a:pt x="482" y="13"/>
                  </a:lnTo>
                  <a:lnTo>
                    <a:pt x="481" y="12"/>
                  </a:lnTo>
                  <a:lnTo>
                    <a:pt x="481" y="12"/>
                  </a:lnTo>
                  <a:lnTo>
                    <a:pt x="480" y="4"/>
                  </a:lnTo>
                  <a:lnTo>
                    <a:pt x="477" y="2"/>
                  </a:lnTo>
                  <a:lnTo>
                    <a:pt x="474" y="0"/>
                  </a:lnTo>
                  <a:lnTo>
                    <a:pt x="474" y="0"/>
                  </a:lnTo>
                  <a:lnTo>
                    <a:pt x="472" y="2"/>
                  </a:lnTo>
                  <a:lnTo>
                    <a:pt x="472" y="3"/>
                  </a:lnTo>
                  <a:lnTo>
                    <a:pt x="469" y="9"/>
                  </a:lnTo>
                  <a:lnTo>
                    <a:pt x="468" y="16"/>
                  </a:lnTo>
                  <a:lnTo>
                    <a:pt x="465" y="19"/>
                  </a:lnTo>
                  <a:lnTo>
                    <a:pt x="465" y="19"/>
                  </a:lnTo>
                  <a:lnTo>
                    <a:pt x="465" y="22"/>
                  </a:lnTo>
                  <a:lnTo>
                    <a:pt x="464" y="26"/>
                  </a:lnTo>
                  <a:lnTo>
                    <a:pt x="464" y="33"/>
                  </a:lnTo>
                  <a:lnTo>
                    <a:pt x="464" y="33"/>
                  </a:lnTo>
                  <a:lnTo>
                    <a:pt x="462" y="39"/>
                  </a:lnTo>
                  <a:lnTo>
                    <a:pt x="462" y="45"/>
                  </a:lnTo>
                  <a:lnTo>
                    <a:pt x="462" y="45"/>
                  </a:lnTo>
                  <a:lnTo>
                    <a:pt x="462" y="62"/>
                  </a:lnTo>
                  <a:lnTo>
                    <a:pt x="462" y="71"/>
                  </a:lnTo>
                  <a:lnTo>
                    <a:pt x="461" y="77"/>
                  </a:lnTo>
                  <a:lnTo>
                    <a:pt x="461" y="77"/>
                  </a:lnTo>
                  <a:lnTo>
                    <a:pt x="453" y="96"/>
                  </a:lnTo>
                  <a:lnTo>
                    <a:pt x="449" y="107"/>
                  </a:lnTo>
                  <a:lnTo>
                    <a:pt x="448" y="110"/>
                  </a:lnTo>
                  <a:lnTo>
                    <a:pt x="446" y="112"/>
                  </a:lnTo>
                  <a:lnTo>
                    <a:pt x="446" y="112"/>
                  </a:lnTo>
                  <a:lnTo>
                    <a:pt x="442" y="109"/>
                  </a:lnTo>
                  <a:lnTo>
                    <a:pt x="439" y="109"/>
                  </a:lnTo>
                  <a:lnTo>
                    <a:pt x="436" y="109"/>
                  </a:lnTo>
                  <a:lnTo>
                    <a:pt x="436" y="109"/>
                  </a:lnTo>
                  <a:lnTo>
                    <a:pt x="435" y="109"/>
                  </a:lnTo>
                  <a:lnTo>
                    <a:pt x="433" y="110"/>
                  </a:lnTo>
                  <a:lnTo>
                    <a:pt x="433" y="110"/>
                  </a:lnTo>
                  <a:lnTo>
                    <a:pt x="430" y="110"/>
                  </a:lnTo>
                  <a:lnTo>
                    <a:pt x="430" y="110"/>
                  </a:lnTo>
                  <a:lnTo>
                    <a:pt x="427" y="109"/>
                  </a:lnTo>
                  <a:lnTo>
                    <a:pt x="426" y="107"/>
                  </a:lnTo>
                  <a:lnTo>
                    <a:pt x="422" y="101"/>
                  </a:lnTo>
                  <a:lnTo>
                    <a:pt x="422" y="101"/>
                  </a:lnTo>
                  <a:lnTo>
                    <a:pt x="417" y="100"/>
                  </a:lnTo>
                  <a:lnTo>
                    <a:pt x="413" y="99"/>
                  </a:lnTo>
                  <a:lnTo>
                    <a:pt x="407" y="97"/>
                  </a:lnTo>
                  <a:lnTo>
                    <a:pt x="404" y="96"/>
                  </a:lnTo>
                  <a:lnTo>
                    <a:pt x="404" y="96"/>
                  </a:lnTo>
                  <a:lnTo>
                    <a:pt x="403" y="94"/>
                  </a:lnTo>
                  <a:lnTo>
                    <a:pt x="403" y="91"/>
                  </a:lnTo>
                  <a:lnTo>
                    <a:pt x="401" y="88"/>
                  </a:lnTo>
                  <a:lnTo>
                    <a:pt x="397" y="87"/>
                  </a:lnTo>
                  <a:lnTo>
                    <a:pt x="397" y="87"/>
                  </a:lnTo>
                  <a:lnTo>
                    <a:pt x="393" y="84"/>
                  </a:lnTo>
                  <a:lnTo>
                    <a:pt x="390" y="81"/>
                  </a:lnTo>
                  <a:lnTo>
                    <a:pt x="388" y="78"/>
                  </a:lnTo>
                  <a:lnTo>
                    <a:pt x="384" y="77"/>
                  </a:lnTo>
                  <a:lnTo>
                    <a:pt x="384" y="77"/>
                  </a:lnTo>
                  <a:lnTo>
                    <a:pt x="380" y="78"/>
                  </a:lnTo>
                  <a:lnTo>
                    <a:pt x="378" y="77"/>
                  </a:lnTo>
                  <a:lnTo>
                    <a:pt x="375" y="77"/>
                  </a:lnTo>
                  <a:lnTo>
                    <a:pt x="375" y="77"/>
                  </a:lnTo>
                  <a:lnTo>
                    <a:pt x="368" y="71"/>
                  </a:lnTo>
                  <a:lnTo>
                    <a:pt x="364" y="67"/>
                  </a:lnTo>
                  <a:lnTo>
                    <a:pt x="364" y="64"/>
                  </a:lnTo>
                  <a:lnTo>
                    <a:pt x="364" y="64"/>
                  </a:lnTo>
                  <a:lnTo>
                    <a:pt x="365" y="58"/>
                  </a:lnTo>
                  <a:lnTo>
                    <a:pt x="369" y="52"/>
                  </a:lnTo>
                  <a:lnTo>
                    <a:pt x="369" y="52"/>
                  </a:lnTo>
                  <a:lnTo>
                    <a:pt x="371" y="49"/>
                  </a:lnTo>
                  <a:lnTo>
                    <a:pt x="372" y="45"/>
                  </a:lnTo>
                  <a:lnTo>
                    <a:pt x="372" y="45"/>
                  </a:lnTo>
                  <a:lnTo>
                    <a:pt x="371" y="42"/>
                  </a:lnTo>
                  <a:lnTo>
                    <a:pt x="371" y="39"/>
                  </a:lnTo>
                  <a:lnTo>
                    <a:pt x="374" y="39"/>
                  </a:lnTo>
                  <a:lnTo>
                    <a:pt x="374" y="39"/>
                  </a:lnTo>
                  <a:lnTo>
                    <a:pt x="380" y="38"/>
                  </a:lnTo>
                  <a:lnTo>
                    <a:pt x="381" y="38"/>
                  </a:lnTo>
                  <a:lnTo>
                    <a:pt x="381" y="36"/>
                  </a:lnTo>
                  <a:lnTo>
                    <a:pt x="381" y="36"/>
                  </a:lnTo>
                  <a:lnTo>
                    <a:pt x="381" y="32"/>
                  </a:lnTo>
                  <a:lnTo>
                    <a:pt x="383" y="28"/>
                  </a:lnTo>
                  <a:lnTo>
                    <a:pt x="384" y="23"/>
                  </a:lnTo>
                  <a:lnTo>
                    <a:pt x="384" y="22"/>
                  </a:lnTo>
                  <a:lnTo>
                    <a:pt x="383" y="20"/>
                  </a:lnTo>
                  <a:lnTo>
                    <a:pt x="383" y="20"/>
                  </a:lnTo>
                  <a:lnTo>
                    <a:pt x="377" y="17"/>
                  </a:lnTo>
                  <a:lnTo>
                    <a:pt x="375" y="17"/>
                  </a:lnTo>
                  <a:lnTo>
                    <a:pt x="374" y="19"/>
                  </a:lnTo>
                  <a:lnTo>
                    <a:pt x="374" y="19"/>
                  </a:lnTo>
                  <a:lnTo>
                    <a:pt x="374" y="22"/>
                  </a:lnTo>
                  <a:lnTo>
                    <a:pt x="372" y="23"/>
                  </a:lnTo>
                  <a:lnTo>
                    <a:pt x="371" y="23"/>
                  </a:lnTo>
                  <a:lnTo>
                    <a:pt x="371" y="23"/>
                  </a:lnTo>
                  <a:lnTo>
                    <a:pt x="368" y="19"/>
                  </a:lnTo>
                  <a:lnTo>
                    <a:pt x="367" y="17"/>
                  </a:lnTo>
                  <a:lnTo>
                    <a:pt x="365" y="17"/>
                  </a:lnTo>
                  <a:lnTo>
                    <a:pt x="365" y="17"/>
                  </a:lnTo>
                  <a:lnTo>
                    <a:pt x="364" y="19"/>
                  </a:lnTo>
                  <a:lnTo>
                    <a:pt x="362" y="20"/>
                  </a:lnTo>
                  <a:lnTo>
                    <a:pt x="359" y="22"/>
                  </a:lnTo>
                  <a:lnTo>
                    <a:pt x="356" y="22"/>
                  </a:lnTo>
                  <a:lnTo>
                    <a:pt x="356" y="22"/>
                  </a:lnTo>
                  <a:lnTo>
                    <a:pt x="348" y="17"/>
                  </a:lnTo>
                  <a:lnTo>
                    <a:pt x="343" y="16"/>
                  </a:lnTo>
                  <a:lnTo>
                    <a:pt x="339" y="15"/>
                  </a:lnTo>
                  <a:lnTo>
                    <a:pt x="339" y="15"/>
                  </a:lnTo>
                  <a:lnTo>
                    <a:pt x="332" y="15"/>
                  </a:lnTo>
                  <a:lnTo>
                    <a:pt x="326" y="12"/>
                  </a:lnTo>
                  <a:lnTo>
                    <a:pt x="326" y="12"/>
                  </a:lnTo>
                  <a:lnTo>
                    <a:pt x="320" y="10"/>
                  </a:lnTo>
                  <a:lnTo>
                    <a:pt x="317" y="9"/>
                  </a:lnTo>
                  <a:lnTo>
                    <a:pt x="316" y="10"/>
                  </a:lnTo>
                  <a:lnTo>
                    <a:pt x="316" y="10"/>
                  </a:lnTo>
                  <a:lnTo>
                    <a:pt x="316" y="13"/>
                  </a:lnTo>
                  <a:lnTo>
                    <a:pt x="314" y="16"/>
                  </a:lnTo>
                  <a:lnTo>
                    <a:pt x="313" y="19"/>
                  </a:lnTo>
                  <a:lnTo>
                    <a:pt x="313" y="19"/>
                  </a:lnTo>
                  <a:lnTo>
                    <a:pt x="309" y="22"/>
                  </a:lnTo>
                  <a:lnTo>
                    <a:pt x="303" y="23"/>
                  </a:lnTo>
                  <a:lnTo>
                    <a:pt x="299" y="25"/>
                  </a:lnTo>
                  <a:lnTo>
                    <a:pt x="294" y="23"/>
                  </a:lnTo>
                  <a:lnTo>
                    <a:pt x="294" y="23"/>
                  </a:lnTo>
                  <a:lnTo>
                    <a:pt x="291" y="22"/>
                  </a:lnTo>
                  <a:lnTo>
                    <a:pt x="288" y="22"/>
                  </a:lnTo>
                  <a:lnTo>
                    <a:pt x="285" y="22"/>
                  </a:lnTo>
                  <a:lnTo>
                    <a:pt x="285" y="22"/>
                  </a:lnTo>
                  <a:lnTo>
                    <a:pt x="280" y="28"/>
                  </a:lnTo>
                  <a:lnTo>
                    <a:pt x="275" y="32"/>
                  </a:lnTo>
                  <a:lnTo>
                    <a:pt x="275" y="32"/>
                  </a:lnTo>
                  <a:lnTo>
                    <a:pt x="274" y="33"/>
                  </a:lnTo>
                  <a:lnTo>
                    <a:pt x="275" y="36"/>
                  </a:lnTo>
                  <a:lnTo>
                    <a:pt x="275" y="38"/>
                  </a:lnTo>
                  <a:lnTo>
                    <a:pt x="275" y="39"/>
                  </a:lnTo>
                  <a:lnTo>
                    <a:pt x="275" y="39"/>
                  </a:lnTo>
                  <a:lnTo>
                    <a:pt x="267" y="46"/>
                  </a:lnTo>
                  <a:lnTo>
                    <a:pt x="267" y="46"/>
                  </a:lnTo>
                  <a:lnTo>
                    <a:pt x="264" y="54"/>
                  </a:lnTo>
                  <a:lnTo>
                    <a:pt x="262" y="58"/>
                  </a:lnTo>
                  <a:lnTo>
                    <a:pt x="262" y="59"/>
                  </a:lnTo>
                  <a:lnTo>
                    <a:pt x="264" y="59"/>
                  </a:lnTo>
                  <a:lnTo>
                    <a:pt x="264" y="59"/>
                  </a:lnTo>
                  <a:lnTo>
                    <a:pt x="268" y="61"/>
                  </a:lnTo>
                  <a:lnTo>
                    <a:pt x="270" y="62"/>
                  </a:lnTo>
                  <a:lnTo>
                    <a:pt x="270" y="64"/>
                  </a:lnTo>
                  <a:lnTo>
                    <a:pt x="270" y="64"/>
                  </a:lnTo>
                  <a:lnTo>
                    <a:pt x="270" y="67"/>
                  </a:lnTo>
                  <a:lnTo>
                    <a:pt x="270" y="70"/>
                  </a:lnTo>
                  <a:lnTo>
                    <a:pt x="270" y="71"/>
                  </a:lnTo>
                  <a:lnTo>
                    <a:pt x="268" y="71"/>
                  </a:lnTo>
                  <a:lnTo>
                    <a:pt x="268" y="71"/>
                  </a:lnTo>
                  <a:lnTo>
                    <a:pt x="264" y="68"/>
                  </a:lnTo>
                  <a:lnTo>
                    <a:pt x="259" y="67"/>
                  </a:lnTo>
                  <a:lnTo>
                    <a:pt x="259" y="67"/>
                  </a:lnTo>
                  <a:lnTo>
                    <a:pt x="254" y="65"/>
                  </a:lnTo>
                  <a:lnTo>
                    <a:pt x="246" y="65"/>
                  </a:lnTo>
                  <a:lnTo>
                    <a:pt x="246" y="65"/>
                  </a:lnTo>
                  <a:lnTo>
                    <a:pt x="243" y="68"/>
                  </a:lnTo>
                  <a:lnTo>
                    <a:pt x="242" y="70"/>
                  </a:lnTo>
                  <a:lnTo>
                    <a:pt x="241" y="68"/>
                  </a:lnTo>
                  <a:lnTo>
                    <a:pt x="241" y="68"/>
                  </a:lnTo>
                  <a:lnTo>
                    <a:pt x="239" y="62"/>
                  </a:lnTo>
                  <a:lnTo>
                    <a:pt x="238" y="61"/>
                  </a:lnTo>
                  <a:lnTo>
                    <a:pt x="238" y="61"/>
                  </a:lnTo>
                  <a:lnTo>
                    <a:pt x="232" y="55"/>
                  </a:lnTo>
                  <a:lnTo>
                    <a:pt x="229" y="52"/>
                  </a:lnTo>
                  <a:lnTo>
                    <a:pt x="228" y="51"/>
                  </a:lnTo>
                  <a:lnTo>
                    <a:pt x="228" y="51"/>
                  </a:lnTo>
                  <a:lnTo>
                    <a:pt x="220" y="52"/>
                  </a:lnTo>
                  <a:lnTo>
                    <a:pt x="213" y="55"/>
                  </a:lnTo>
                  <a:lnTo>
                    <a:pt x="213" y="55"/>
                  </a:lnTo>
                  <a:lnTo>
                    <a:pt x="210" y="54"/>
                  </a:lnTo>
                  <a:lnTo>
                    <a:pt x="209" y="52"/>
                  </a:lnTo>
                  <a:lnTo>
                    <a:pt x="209" y="52"/>
                  </a:lnTo>
                  <a:lnTo>
                    <a:pt x="207" y="54"/>
                  </a:lnTo>
                  <a:lnTo>
                    <a:pt x="207" y="54"/>
                  </a:lnTo>
                  <a:lnTo>
                    <a:pt x="204" y="59"/>
                  </a:lnTo>
                  <a:lnTo>
                    <a:pt x="203" y="61"/>
                  </a:lnTo>
                  <a:lnTo>
                    <a:pt x="201" y="61"/>
                  </a:lnTo>
                  <a:lnTo>
                    <a:pt x="201" y="61"/>
                  </a:lnTo>
                  <a:lnTo>
                    <a:pt x="200" y="61"/>
                  </a:lnTo>
                  <a:lnTo>
                    <a:pt x="199" y="64"/>
                  </a:lnTo>
                  <a:lnTo>
                    <a:pt x="196" y="68"/>
                  </a:lnTo>
                  <a:lnTo>
                    <a:pt x="196" y="68"/>
                  </a:lnTo>
                  <a:lnTo>
                    <a:pt x="196" y="71"/>
                  </a:lnTo>
                  <a:lnTo>
                    <a:pt x="196" y="74"/>
                  </a:lnTo>
                  <a:lnTo>
                    <a:pt x="194" y="75"/>
                  </a:lnTo>
                  <a:lnTo>
                    <a:pt x="193" y="77"/>
                  </a:lnTo>
                  <a:lnTo>
                    <a:pt x="193" y="77"/>
                  </a:lnTo>
                  <a:lnTo>
                    <a:pt x="190" y="75"/>
                  </a:lnTo>
                  <a:lnTo>
                    <a:pt x="187" y="74"/>
                  </a:lnTo>
                  <a:lnTo>
                    <a:pt x="186" y="73"/>
                  </a:lnTo>
                  <a:lnTo>
                    <a:pt x="184" y="74"/>
                  </a:lnTo>
                  <a:lnTo>
                    <a:pt x="184" y="74"/>
                  </a:lnTo>
                  <a:lnTo>
                    <a:pt x="181" y="78"/>
                  </a:lnTo>
                  <a:lnTo>
                    <a:pt x="181" y="84"/>
                  </a:lnTo>
                  <a:lnTo>
                    <a:pt x="181" y="84"/>
                  </a:lnTo>
                  <a:lnTo>
                    <a:pt x="180" y="88"/>
                  </a:lnTo>
                  <a:lnTo>
                    <a:pt x="180" y="90"/>
                  </a:lnTo>
                  <a:lnTo>
                    <a:pt x="178" y="91"/>
                  </a:lnTo>
                  <a:lnTo>
                    <a:pt x="178" y="91"/>
                  </a:lnTo>
                  <a:lnTo>
                    <a:pt x="174" y="90"/>
                  </a:lnTo>
                  <a:lnTo>
                    <a:pt x="171" y="90"/>
                  </a:lnTo>
                  <a:lnTo>
                    <a:pt x="170" y="90"/>
                  </a:lnTo>
                  <a:lnTo>
                    <a:pt x="170" y="90"/>
                  </a:lnTo>
                  <a:lnTo>
                    <a:pt x="168" y="94"/>
                  </a:lnTo>
                  <a:lnTo>
                    <a:pt x="170" y="99"/>
                  </a:lnTo>
                  <a:lnTo>
                    <a:pt x="170" y="99"/>
                  </a:lnTo>
                  <a:lnTo>
                    <a:pt x="170" y="101"/>
                  </a:lnTo>
                  <a:lnTo>
                    <a:pt x="170" y="106"/>
                  </a:lnTo>
                  <a:lnTo>
                    <a:pt x="168" y="109"/>
                  </a:lnTo>
                  <a:lnTo>
                    <a:pt x="167" y="109"/>
                  </a:lnTo>
                  <a:lnTo>
                    <a:pt x="165" y="109"/>
                  </a:lnTo>
                  <a:lnTo>
                    <a:pt x="165" y="109"/>
                  </a:lnTo>
                  <a:lnTo>
                    <a:pt x="161" y="100"/>
                  </a:lnTo>
                  <a:lnTo>
                    <a:pt x="159" y="97"/>
                  </a:lnTo>
                  <a:lnTo>
                    <a:pt x="157" y="96"/>
                  </a:lnTo>
                  <a:lnTo>
                    <a:pt x="157" y="96"/>
                  </a:lnTo>
                  <a:lnTo>
                    <a:pt x="149" y="101"/>
                  </a:lnTo>
                  <a:lnTo>
                    <a:pt x="145" y="106"/>
                  </a:lnTo>
                  <a:lnTo>
                    <a:pt x="142" y="110"/>
                  </a:lnTo>
                  <a:lnTo>
                    <a:pt x="142" y="110"/>
                  </a:lnTo>
                  <a:lnTo>
                    <a:pt x="142" y="113"/>
                  </a:lnTo>
                  <a:lnTo>
                    <a:pt x="144" y="117"/>
                  </a:lnTo>
                  <a:lnTo>
                    <a:pt x="144" y="122"/>
                  </a:lnTo>
                  <a:lnTo>
                    <a:pt x="142" y="125"/>
                  </a:lnTo>
                  <a:lnTo>
                    <a:pt x="142" y="125"/>
                  </a:lnTo>
                  <a:lnTo>
                    <a:pt x="139" y="128"/>
                  </a:lnTo>
                  <a:lnTo>
                    <a:pt x="138" y="132"/>
                  </a:lnTo>
                  <a:lnTo>
                    <a:pt x="135" y="138"/>
                  </a:lnTo>
                  <a:lnTo>
                    <a:pt x="135" y="138"/>
                  </a:lnTo>
                  <a:lnTo>
                    <a:pt x="131" y="141"/>
                  </a:lnTo>
                  <a:lnTo>
                    <a:pt x="123" y="145"/>
                  </a:lnTo>
                  <a:lnTo>
                    <a:pt x="123" y="145"/>
                  </a:lnTo>
                  <a:lnTo>
                    <a:pt x="107" y="151"/>
                  </a:lnTo>
                  <a:lnTo>
                    <a:pt x="90" y="157"/>
                  </a:lnTo>
                  <a:lnTo>
                    <a:pt x="90" y="157"/>
                  </a:lnTo>
                  <a:lnTo>
                    <a:pt x="81" y="162"/>
                  </a:lnTo>
                  <a:lnTo>
                    <a:pt x="75" y="164"/>
                  </a:lnTo>
                  <a:lnTo>
                    <a:pt x="70" y="165"/>
                  </a:lnTo>
                  <a:lnTo>
                    <a:pt x="70" y="165"/>
                  </a:lnTo>
                  <a:lnTo>
                    <a:pt x="54" y="167"/>
                  </a:lnTo>
                  <a:lnTo>
                    <a:pt x="47" y="168"/>
                  </a:lnTo>
                  <a:lnTo>
                    <a:pt x="41" y="171"/>
                  </a:lnTo>
                  <a:lnTo>
                    <a:pt x="41" y="171"/>
                  </a:lnTo>
                  <a:lnTo>
                    <a:pt x="33" y="177"/>
                  </a:lnTo>
                  <a:lnTo>
                    <a:pt x="31" y="180"/>
                  </a:lnTo>
                  <a:lnTo>
                    <a:pt x="29" y="181"/>
                  </a:lnTo>
                  <a:lnTo>
                    <a:pt x="29" y="181"/>
                  </a:lnTo>
                  <a:lnTo>
                    <a:pt x="26" y="183"/>
                  </a:lnTo>
                  <a:lnTo>
                    <a:pt x="23" y="188"/>
                  </a:lnTo>
                  <a:lnTo>
                    <a:pt x="19" y="191"/>
                  </a:lnTo>
                  <a:lnTo>
                    <a:pt x="19" y="193"/>
                  </a:lnTo>
                  <a:lnTo>
                    <a:pt x="18" y="193"/>
                  </a:lnTo>
                  <a:lnTo>
                    <a:pt x="18" y="193"/>
                  </a:lnTo>
                  <a:lnTo>
                    <a:pt x="18" y="191"/>
                  </a:lnTo>
                  <a:lnTo>
                    <a:pt x="18" y="188"/>
                  </a:lnTo>
                  <a:lnTo>
                    <a:pt x="18" y="187"/>
                  </a:lnTo>
                  <a:lnTo>
                    <a:pt x="16" y="188"/>
                  </a:lnTo>
                  <a:lnTo>
                    <a:pt x="16" y="188"/>
                  </a:lnTo>
                  <a:lnTo>
                    <a:pt x="9" y="194"/>
                  </a:lnTo>
                  <a:lnTo>
                    <a:pt x="7" y="199"/>
                  </a:lnTo>
                  <a:lnTo>
                    <a:pt x="7" y="203"/>
                  </a:lnTo>
                  <a:lnTo>
                    <a:pt x="7" y="203"/>
                  </a:lnTo>
                  <a:lnTo>
                    <a:pt x="7" y="210"/>
                  </a:lnTo>
                  <a:lnTo>
                    <a:pt x="6" y="216"/>
                  </a:lnTo>
                  <a:lnTo>
                    <a:pt x="6" y="216"/>
                  </a:lnTo>
                  <a:lnTo>
                    <a:pt x="3" y="223"/>
                  </a:lnTo>
                  <a:lnTo>
                    <a:pt x="3" y="226"/>
                  </a:lnTo>
                  <a:lnTo>
                    <a:pt x="3" y="228"/>
                  </a:lnTo>
                  <a:lnTo>
                    <a:pt x="3" y="228"/>
                  </a:lnTo>
                  <a:lnTo>
                    <a:pt x="3" y="228"/>
                  </a:lnTo>
                  <a:lnTo>
                    <a:pt x="9" y="223"/>
                  </a:lnTo>
                  <a:lnTo>
                    <a:pt x="10" y="222"/>
                  </a:lnTo>
                  <a:lnTo>
                    <a:pt x="10" y="222"/>
                  </a:lnTo>
                  <a:lnTo>
                    <a:pt x="9" y="226"/>
                  </a:lnTo>
                  <a:lnTo>
                    <a:pt x="7" y="229"/>
                  </a:lnTo>
                  <a:lnTo>
                    <a:pt x="6" y="233"/>
                  </a:lnTo>
                  <a:lnTo>
                    <a:pt x="6" y="233"/>
                  </a:lnTo>
                  <a:lnTo>
                    <a:pt x="7" y="239"/>
                  </a:lnTo>
                  <a:lnTo>
                    <a:pt x="10" y="245"/>
                  </a:lnTo>
                  <a:lnTo>
                    <a:pt x="10" y="245"/>
                  </a:lnTo>
                  <a:lnTo>
                    <a:pt x="15" y="254"/>
                  </a:lnTo>
                  <a:lnTo>
                    <a:pt x="15" y="256"/>
                  </a:lnTo>
                  <a:lnTo>
                    <a:pt x="15" y="258"/>
                  </a:lnTo>
                  <a:lnTo>
                    <a:pt x="13" y="258"/>
                  </a:lnTo>
                  <a:lnTo>
                    <a:pt x="13" y="258"/>
                  </a:lnTo>
                  <a:lnTo>
                    <a:pt x="7" y="254"/>
                  </a:lnTo>
                  <a:lnTo>
                    <a:pt x="6" y="252"/>
                  </a:lnTo>
                  <a:lnTo>
                    <a:pt x="6" y="254"/>
                  </a:lnTo>
                  <a:lnTo>
                    <a:pt x="6" y="254"/>
                  </a:lnTo>
                  <a:lnTo>
                    <a:pt x="6" y="258"/>
                  </a:lnTo>
                  <a:lnTo>
                    <a:pt x="6" y="259"/>
                  </a:lnTo>
                  <a:lnTo>
                    <a:pt x="5" y="259"/>
                  </a:lnTo>
                  <a:lnTo>
                    <a:pt x="5" y="259"/>
                  </a:lnTo>
                  <a:lnTo>
                    <a:pt x="2" y="256"/>
                  </a:lnTo>
                  <a:lnTo>
                    <a:pt x="0" y="256"/>
                  </a:lnTo>
                  <a:lnTo>
                    <a:pt x="0" y="258"/>
                  </a:lnTo>
                  <a:lnTo>
                    <a:pt x="0" y="258"/>
                  </a:lnTo>
                  <a:lnTo>
                    <a:pt x="2" y="267"/>
                  </a:lnTo>
                  <a:lnTo>
                    <a:pt x="3" y="271"/>
                  </a:lnTo>
                  <a:lnTo>
                    <a:pt x="5" y="274"/>
                  </a:lnTo>
                  <a:lnTo>
                    <a:pt x="5" y="274"/>
                  </a:lnTo>
                  <a:lnTo>
                    <a:pt x="7" y="277"/>
                  </a:lnTo>
                  <a:lnTo>
                    <a:pt x="10" y="281"/>
                  </a:lnTo>
                  <a:lnTo>
                    <a:pt x="15" y="291"/>
                  </a:lnTo>
                  <a:lnTo>
                    <a:pt x="15" y="291"/>
                  </a:lnTo>
                  <a:lnTo>
                    <a:pt x="19" y="301"/>
                  </a:lnTo>
                  <a:lnTo>
                    <a:pt x="23" y="309"/>
                  </a:lnTo>
                  <a:lnTo>
                    <a:pt x="23" y="309"/>
                  </a:lnTo>
                  <a:lnTo>
                    <a:pt x="28" y="317"/>
                  </a:lnTo>
                  <a:lnTo>
                    <a:pt x="29" y="327"/>
                  </a:lnTo>
                  <a:lnTo>
                    <a:pt x="29" y="327"/>
                  </a:lnTo>
                  <a:lnTo>
                    <a:pt x="32" y="342"/>
                  </a:lnTo>
                  <a:lnTo>
                    <a:pt x="38" y="358"/>
                  </a:lnTo>
                  <a:lnTo>
                    <a:pt x="38" y="358"/>
                  </a:lnTo>
                  <a:lnTo>
                    <a:pt x="41" y="371"/>
                  </a:lnTo>
                  <a:lnTo>
                    <a:pt x="41" y="375"/>
                  </a:lnTo>
                  <a:lnTo>
                    <a:pt x="41" y="377"/>
                  </a:lnTo>
                  <a:lnTo>
                    <a:pt x="41" y="375"/>
                  </a:lnTo>
                  <a:lnTo>
                    <a:pt x="41" y="375"/>
                  </a:lnTo>
                  <a:lnTo>
                    <a:pt x="38" y="372"/>
                  </a:lnTo>
                  <a:lnTo>
                    <a:pt x="36" y="371"/>
                  </a:lnTo>
                  <a:lnTo>
                    <a:pt x="35" y="374"/>
                  </a:lnTo>
                  <a:lnTo>
                    <a:pt x="35" y="374"/>
                  </a:lnTo>
                  <a:lnTo>
                    <a:pt x="32" y="382"/>
                  </a:lnTo>
                  <a:lnTo>
                    <a:pt x="31" y="387"/>
                  </a:lnTo>
                  <a:lnTo>
                    <a:pt x="29" y="390"/>
                  </a:lnTo>
                  <a:lnTo>
                    <a:pt x="29" y="390"/>
                  </a:lnTo>
                  <a:lnTo>
                    <a:pt x="25" y="393"/>
                  </a:lnTo>
                  <a:lnTo>
                    <a:pt x="23" y="394"/>
                  </a:lnTo>
                  <a:lnTo>
                    <a:pt x="22" y="396"/>
                  </a:lnTo>
                  <a:lnTo>
                    <a:pt x="22" y="396"/>
                  </a:lnTo>
                  <a:lnTo>
                    <a:pt x="23" y="401"/>
                  </a:lnTo>
                  <a:lnTo>
                    <a:pt x="26" y="404"/>
                  </a:lnTo>
                  <a:lnTo>
                    <a:pt x="29" y="406"/>
                  </a:lnTo>
                  <a:lnTo>
                    <a:pt x="29" y="406"/>
                  </a:lnTo>
                  <a:lnTo>
                    <a:pt x="32" y="407"/>
                  </a:lnTo>
                  <a:lnTo>
                    <a:pt x="35" y="410"/>
                  </a:lnTo>
                  <a:lnTo>
                    <a:pt x="44" y="416"/>
                  </a:lnTo>
                  <a:lnTo>
                    <a:pt x="44" y="416"/>
                  </a:lnTo>
                  <a:lnTo>
                    <a:pt x="48" y="419"/>
                  </a:lnTo>
                  <a:lnTo>
                    <a:pt x="55" y="420"/>
                  </a:lnTo>
                  <a:lnTo>
                    <a:pt x="61" y="420"/>
                  </a:lnTo>
                  <a:lnTo>
                    <a:pt x="65" y="420"/>
                  </a:lnTo>
                  <a:lnTo>
                    <a:pt x="65" y="420"/>
                  </a:lnTo>
                  <a:lnTo>
                    <a:pt x="75" y="414"/>
                  </a:lnTo>
                  <a:lnTo>
                    <a:pt x="87" y="409"/>
                  </a:lnTo>
                  <a:lnTo>
                    <a:pt x="87" y="409"/>
                  </a:lnTo>
                  <a:lnTo>
                    <a:pt x="91" y="406"/>
                  </a:lnTo>
                  <a:lnTo>
                    <a:pt x="96" y="403"/>
                  </a:lnTo>
                  <a:lnTo>
                    <a:pt x="100" y="400"/>
                  </a:lnTo>
                  <a:lnTo>
                    <a:pt x="104" y="398"/>
                  </a:lnTo>
                  <a:lnTo>
                    <a:pt x="104" y="398"/>
                  </a:lnTo>
                  <a:lnTo>
                    <a:pt x="116" y="397"/>
                  </a:lnTo>
                  <a:lnTo>
                    <a:pt x="125" y="396"/>
                  </a:lnTo>
                  <a:lnTo>
                    <a:pt x="129" y="397"/>
                  </a:lnTo>
                  <a:lnTo>
                    <a:pt x="129" y="397"/>
                  </a:lnTo>
                  <a:lnTo>
                    <a:pt x="136" y="400"/>
                  </a:lnTo>
                  <a:lnTo>
                    <a:pt x="141" y="400"/>
                  </a:lnTo>
                  <a:lnTo>
                    <a:pt x="144" y="398"/>
                  </a:lnTo>
                  <a:lnTo>
                    <a:pt x="144" y="398"/>
                  </a:lnTo>
                  <a:lnTo>
                    <a:pt x="148" y="394"/>
                  </a:lnTo>
                  <a:lnTo>
                    <a:pt x="149" y="394"/>
                  </a:lnTo>
                  <a:lnTo>
                    <a:pt x="151" y="396"/>
                  </a:lnTo>
                  <a:lnTo>
                    <a:pt x="151" y="396"/>
                  </a:lnTo>
                  <a:lnTo>
                    <a:pt x="155" y="398"/>
                  </a:lnTo>
                  <a:lnTo>
                    <a:pt x="157" y="400"/>
                  </a:lnTo>
                  <a:lnTo>
                    <a:pt x="159" y="397"/>
                  </a:lnTo>
                  <a:lnTo>
                    <a:pt x="159" y="397"/>
                  </a:lnTo>
                  <a:lnTo>
                    <a:pt x="162" y="393"/>
                  </a:lnTo>
                  <a:lnTo>
                    <a:pt x="165" y="387"/>
                  </a:lnTo>
                  <a:lnTo>
                    <a:pt x="170" y="382"/>
                  </a:lnTo>
                  <a:lnTo>
                    <a:pt x="171" y="380"/>
                  </a:lnTo>
                  <a:lnTo>
                    <a:pt x="174" y="380"/>
                  </a:lnTo>
                  <a:lnTo>
                    <a:pt x="174" y="380"/>
                  </a:lnTo>
                  <a:lnTo>
                    <a:pt x="181" y="378"/>
                  </a:lnTo>
                  <a:lnTo>
                    <a:pt x="190" y="378"/>
                  </a:lnTo>
                  <a:lnTo>
                    <a:pt x="212" y="378"/>
                  </a:lnTo>
                  <a:lnTo>
                    <a:pt x="212" y="378"/>
                  </a:lnTo>
                  <a:lnTo>
                    <a:pt x="226" y="378"/>
                  </a:lnTo>
                  <a:lnTo>
                    <a:pt x="232" y="377"/>
                  </a:lnTo>
                  <a:lnTo>
                    <a:pt x="238" y="374"/>
                  </a:lnTo>
                  <a:lnTo>
                    <a:pt x="238" y="374"/>
                  </a:lnTo>
                  <a:lnTo>
                    <a:pt x="246" y="371"/>
                  </a:lnTo>
                  <a:lnTo>
                    <a:pt x="257" y="368"/>
                  </a:lnTo>
                  <a:lnTo>
                    <a:pt x="274" y="364"/>
                  </a:lnTo>
                  <a:lnTo>
                    <a:pt x="274" y="364"/>
                  </a:lnTo>
                  <a:lnTo>
                    <a:pt x="285" y="361"/>
                  </a:lnTo>
                  <a:lnTo>
                    <a:pt x="290" y="361"/>
                  </a:lnTo>
                  <a:lnTo>
                    <a:pt x="294" y="362"/>
                  </a:lnTo>
                  <a:lnTo>
                    <a:pt x="294" y="362"/>
                  </a:lnTo>
                  <a:lnTo>
                    <a:pt x="301" y="368"/>
                  </a:lnTo>
                  <a:lnTo>
                    <a:pt x="306" y="369"/>
                  </a:lnTo>
                  <a:lnTo>
                    <a:pt x="313" y="371"/>
                  </a:lnTo>
                  <a:lnTo>
                    <a:pt x="313" y="371"/>
                  </a:lnTo>
                  <a:lnTo>
                    <a:pt x="327" y="372"/>
                  </a:lnTo>
                  <a:lnTo>
                    <a:pt x="332" y="374"/>
                  </a:lnTo>
                  <a:lnTo>
                    <a:pt x="333" y="375"/>
                  </a:lnTo>
                  <a:lnTo>
                    <a:pt x="333" y="375"/>
                  </a:lnTo>
                  <a:lnTo>
                    <a:pt x="333" y="377"/>
                  </a:lnTo>
                  <a:lnTo>
                    <a:pt x="333" y="378"/>
                  </a:lnTo>
                  <a:lnTo>
                    <a:pt x="332" y="380"/>
                  </a:lnTo>
                  <a:lnTo>
                    <a:pt x="333" y="382"/>
                  </a:lnTo>
                  <a:lnTo>
                    <a:pt x="333" y="382"/>
                  </a:lnTo>
                  <a:lnTo>
                    <a:pt x="335" y="384"/>
                  </a:lnTo>
                  <a:lnTo>
                    <a:pt x="336" y="384"/>
                  </a:lnTo>
                  <a:lnTo>
                    <a:pt x="339" y="385"/>
                  </a:lnTo>
                  <a:lnTo>
                    <a:pt x="339" y="388"/>
                  </a:lnTo>
                  <a:lnTo>
                    <a:pt x="339" y="388"/>
                  </a:lnTo>
                  <a:lnTo>
                    <a:pt x="342" y="393"/>
                  </a:lnTo>
                  <a:lnTo>
                    <a:pt x="343" y="397"/>
                  </a:lnTo>
                  <a:lnTo>
                    <a:pt x="348" y="404"/>
                  </a:lnTo>
                  <a:lnTo>
                    <a:pt x="348" y="404"/>
                  </a:lnTo>
                  <a:lnTo>
                    <a:pt x="349" y="410"/>
                  </a:lnTo>
                  <a:lnTo>
                    <a:pt x="352" y="414"/>
                  </a:lnTo>
                  <a:lnTo>
                    <a:pt x="352" y="414"/>
                  </a:lnTo>
                  <a:lnTo>
                    <a:pt x="356" y="419"/>
                  </a:lnTo>
                  <a:lnTo>
                    <a:pt x="359" y="419"/>
                  </a:lnTo>
                  <a:lnTo>
                    <a:pt x="361" y="417"/>
                  </a:lnTo>
                  <a:lnTo>
                    <a:pt x="361" y="417"/>
                  </a:lnTo>
                  <a:lnTo>
                    <a:pt x="361" y="416"/>
                  </a:lnTo>
                  <a:lnTo>
                    <a:pt x="359" y="414"/>
                  </a:lnTo>
                  <a:lnTo>
                    <a:pt x="359" y="413"/>
                  </a:lnTo>
                  <a:lnTo>
                    <a:pt x="362" y="410"/>
                  </a:lnTo>
                  <a:lnTo>
                    <a:pt x="362" y="410"/>
                  </a:lnTo>
                  <a:lnTo>
                    <a:pt x="365" y="406"/>
                  </a:lnTo>
                  <a:lnTo>
                    <a:pt x="367" y="401"/>
                  </a:lnTo>
                  <a:lnTo>
                    <a:pt x="369" y="397"/>
                  </a:lnTo>
                  <a:lnTo>
                    <a:pt x="371" y="394"/>
                  </a:lnTo>
                  <a:lnTo>
                    <a:pt x="374" y="394"/>
                  </a:lnTo>
                  <a:lnTo>
                    <a:pt x="374" y="394"/>
                  </a:lnTo>
                  <a:lnTo>
                    <a:pt x="378" y="394"/>
                  </a:lnTo>
                  <a:lnTo>
                    <a:pt x="380" y="393"/>
                  </a:lnTo>
                  <a:lnTo>
                    <a:pt x="381" y="390"/>
                  </a:lnTo>
                  <a:lnTo>
                    <a:pt x="383" y="388"/>
                  </a:lnTo>
                  <a:lnTo>
                    <a:pt x="383" y="388"/>
                  </a:lnTo>
                  <a:lnTo>
                    <a:pt x="384" y="385"/>
                  </a:lnTo>
                  <a:lnTo>
                    <a:pt x="385" y="384"/>
                  </a:lnTo>
                  <a:lnTo>
                    <a:pt x="388" y="382"/>
                  </a:lnTo>
                  <a:lnTo>
                    <a:pt x="390" y="382"/>
                  </a:lnTo>
                  <a:lnTo>
                    <a:pt x="390" y="382"/>
                  </a:lnTo>
                  <a:lnTo>
                    <a:pt x="390" y="387"/>
                  </a:lnTo>
                  <a:lnTo>
                    <a:pt x="390" y="391"/>
                  </a:lnTo>
                  <a:lnTo>
                    <a:pt x="388" y="394"/>
                  </a:lnTo>
                  <a:lnTo>
                    <a:pt x="388" y="394"/>
                  </a:lnTo>
                  <a:lnTo>
                    <a:pt x="385" y="398"/>
                  </a:lnTo>
                  <a:lnTo>
                    <a:pt x="384" y="406"/>
                  </a:lnTo>
                  <a:lnTo>
                    <a:pt x="383" y="413"/>
                  </a:lnTo>
                  <a:lnTo>
                    <a:pt x="383" y="416"/>
                  </a:lnTo>
                  <a:lnTo>
                    <a:pt x="383" y="416"/>
                  </a:lnTo>
                  <a:lnTo>
                    <a:pt x="378" y="417"/>
                  </a:lnTo>
                  <a:lnTo>
                    <a:pt x="375" y="422"/>
                  </a:lnTo>
                  <a:lnTo>
                    <a:pt x="375" y="422"/>
                  </a:lnTo>
                  <a:lnTo>
                    <a:pt x="375" y="423"/>
                  </a:lnTo>
                  <a:lnTo>
                    <a:pt x="377" y="424"/>
                  </a:lnTo>
                  <a:lnTo>
                    <a:pt x="378" y="424"/>
                  </a:lnTo>
                  <a:lnTo>
                    <a:pt x="381" y="423"/>
                  </a:lnTo>
                  <a:lnTo>
                    <a:pt x="381" y="423"/>
                  </a:lnTo>
                  <a:lnTo>
                    <a:pt x="385" y="420"/>
                  </a:lnTo>
                  <a:lnTo>
                    <a:pt x="388" y="419"/>
                  </a:lnTo>
                  <a:lnTo>
                    <a:pt x="390" y="416"/>
                  </a:lnTo>
                  <a:lnTo>
                    <a:pt x="390" y="416"/>
                  </a:lnTo>
                  <a:lnTo>
                    <a:pt x="393" y="410"/>
                  </a:lnTo>
                  <a:lnTo>
                    <a:pt x="394" y="407"/>
                  </a:lnTo>
                  <a:lnTo>
                    <a:pt x="396" y="409"/>
                  </a:lnTo>
                  <a:lnTo>
                    <a:pt x="396" y="409"/>
                  </a:lnTo>
                  <a:lnTo>
                    <a:pt x="397" y="416"/>
                  </a:lnTo>
                  <a:lnTo>
                    <a:pt x="400" y="423"/>
                  </a:lnTo>
                  <a:lnTo>
                    <a:pt x="400" y="423"/>
                  </a:lnTo>
                  <a:lnTo>
                    <a:pt x="400" y="424"/>
                  </a:lnTo>
                  <a:lnTo>
                    <a:pt x="400" y="426"/>
                  </a:lnTo>
                  <a:lnTo>
                    <a:pt x="397" y="429"/>
                  </a:lnTo>
                  <a:lnTo>
                    <a:pt x="394" y="432"/>
                  </a:lnTo>
                  <a:lnTo>
                    <a:pt x="394" y="432"/>
                  </a:lnTo>
                  <a:lnTo>
                    <a:pt x="394" y="432"/>
                  </a:lnTo>
                  <a:lnTo>
                    <a:pt x="398" y="433"/>
                  </a:lnTo>
                  <a:lnTo>
                    <a:pt x="400" y="433"/>
                  </a:lnTo>
                  <a:lnTo>
                    <a:pt x="403" y="433"/>
                  </a:lnTo>
                  <a:lnTo>
                    <a:pt x="403" y="433"/>
                  </a:lnTo>
                  <a:lnTo>
                    <a:pt x="404" y="430"/>
                  </a:lnTo>
                  <a:lnTo>
                    <a:pt x="406" y="429"/>
                  </a:lnTo>
                  <a:lnTo>
                    <a:pt x="406" y="430"/>
                  </a:lnTo>
                  <a:lnTo>
                    <a:pt x="409" y="433"/>
                  </a:lnTo>
                  <a:lnTo>
                    <a:pt x="409" y="433"/>
                  </a:lnTo>
                  <a:lnTo>
                    <a:pt x="417" y="443"/>
                  </a:lnTo>
                  <a:lnTo>
                    <a:pt x="420" y="449"/>
                  </a:lnTo>
                  <a:lnTo>
                    <a:pt x="422" y="453"/>
                  </a:lnTo>
                  <a:lnTo>
                    <a:pt x="422" y="453"/>
                  </a:lnTo>
                  <a:lnTo>
                    <a:pt x="422" y="458"/>
                  </a:lnTo>
                  <a:lnTo>
                    <a:pt x="422" y="462"/>
                  </a:lnTo>
                  <a:lnTo>
                    <a:pt x="427" y="471"/>
                  </a:lnTo>
                  <a:lnTo>
                    <a:pt x="427" y="471"/>
                  </a:lnTo>
                  <a:lnTo>
                    <a:pt x="432" y="477"/>
                  </a:lnTo>
                  <a:lnTo>
                    <a:pt x="435" y="480"/>
                  </a:lnTo>
                  <a:lnTo>
                    <a:pt x="439" y="481"/>
                  </a:lnTo>
                  <a:lnTo>
                    <a:pt x="439" y="481"/>
                  </a:lnTo>
                  <a:lnTo>
                    <a:pt x="443" y="482"/>
                  </a:lnTo>
                  <a:lnTo>
                    <a:pt x="445" y="484"/>
                  </a:lnTo>
                  <a:lnTo>
                    <a:pt x="446" y="487"/>
                  </a:lnTo>
                  <a:lnTo>
                    <a:pt x="448" y="490"/>
                  </a:lnTo>
                  <a:lnTo>
                    <a:pt x="451" y="488"/>
                  </a:lnTo>
                  <a:lnTo>
                    <a:pt x="451" y="488"/>
                  </a:lnTo>
                  <a:lnTo>
                    <a:pt x="453" y="487"/>
                  </a:lnTo>
                  <a:lnTo>
                    <a:pt x="455" y="484"/>
                  </a:lnTo>
                  <a:lnTo>
                    <a:pt x="455" y="484"/>
                  </a:lnTo>
                  <a:lnTo>
                    <a:pt x="458" y="484"/>
                  </a:lnTo>
                  <a:lnTo>
                    <a:pt x="458" y="484"/>
                  </a:lnTo>
                  <a:lnTo>
                    <a:pt x="468" y="491"/>
                  </a:lnTo>
                  <a:lnTo>
                    <a:pt x="474" y="493"/>
                  </a:lnTo>
                  <a:lnTo>
                    <a:pt x="478" y="494"/>
                  </a:lnTo>
                  <a:lnTo>
                    <a:pt x="478" y="494"/>
                  </a:lnTo>
                  <a:lnTo>
                    <a:pt x="487" y="490"/>
                  </a:lnTo>
                  <a:lnTo>
                    <a:pt x="495" y="487"/>
                  </a:lnTo>
                  <a:lnTo>
                    <a:pt x="495" y="487"/>
                  </a:lnTo>
                  <a:lnTo>
                    <a:pt x="498" y="485"/>
                  </a:lnTo>
                  <a:lnTo>
                    <a:pt x="500" y="482"/>
                  </a:lnTo>
                  <a:lnTo>
                    <a:pt x="503" y="477"/>
                  </a:lnTo>
                  <a:lnTo>
                    <a:pt x="503" y="477"/>
                  </a:lnTo>
                  <a:lnTo>
                    <a:pt x="506" y="478"/>
                  </a:lnTo>
                  <a:lnTo>
                    <a:pt x="511" y="485"/>
                  </a:lnTo>
                  <a:lnTo>
                    <a:pt x="511" y="485"/>
                  </a:lnTo>
                  <a:lnTo>
                    <a:pt x="517" y="493"/>
                  </a:lnTo>
                  <a:lnTo>
                    <a:pt x="519" y="494"/>
                  </a:lnTo>
                  <a:lnTo>
                    <a:pt x="523" y="494"/>
                  </a:lnTo>
                  <a:lnTo>
                    <a:pt x="523" y="494"/>
                  </a:lnTo>
                  <a:lnTo>
                    <a:pt x="529" y="493"/>
                  </a:lnTo>
                  <a:lnTo>
                    <a:pt x="533" y="494"/>
                  </a:lnTo>
                  <a:lnTo>
                    <a:pt x="537" y="493"/>
                  </a:lnTo>
                  <a:lnTo>
                    <a:pt x="540" y="491"/>
                  </a:lnTo>
                  <a:lnTo>
                    <a:pt x="540" y="491"/>
                  </a:lnTo>
                  <a:lnTo>
                    <a:pt x="543" y="488"/>
                  </a:lnTo>
                  <a:lnTo>
                    <a:pt x="545" y="484"/>
                  </a:lnTo>
                  <a:lnTo>
                    <a:pt x="548" y="481"/>
                  </a:lnTo>
                  <a:lnTo>
                    <a:pt x="552" y="480"/>
                  </a:lnTo>
                  <a:lnTo>
                    <a:pt x="552" y="480"/>
                  </a:lnTo>
                  <a:lnTo>
                    <a:pt x="562" y="478"/>
                  </a:lnTo>
                  <a:lnTo>
                    <a:pt x="571" y="474"/>
                  </a:lnTo>
                  <a:lnTo>
                    <a:pt x="571" y="474"/>
                  </a:lnTo>
                  <a:lnTo>
                    <a:pt x="577" y="474"/>
                  </a:lnTo>
                  <a:lnTo>
                    <a:pt x="581" y="472"/>
                  </a:lnTo>
                  <a:lnTo>
                    <a:pt x="584" y="472"/>
                  </a:lnTo>
                  <a:lnTo>
                    <a:pt x="585" y="471"/>
                  </a:lnTo>
                  <a:lnTo>
                    <a:pt x="587" y="469"/>
                  </a:lnTo>
                  <a:lnTo>
                    <a:pt x="587" y="469"/>
                  </a:lnTo>
                  <a:lnTo>
                    <a:pt x="587" y="455"/>
                  </a:lnTo>
                  <a:lnTo>
                    <a:pt x="588" y="448"/>
                  </a:lnTo>
                  <a:lnTo>
                    <a:pt x="590" y="443"/>
                  </a:lnTo>
                  <a:lnTo>
                    <a:pt x="590" y="443"/>
                  </a:lnTo>
                  <a:lnTo>
                    <a:pt x="591" y="440"/>
                  </a:lnTo>
                  <a:lnTo>
                    <a:pt x="593" y="436"/>
                  </a:lnTo>
                  <a:lnTo>
                    <a:pt x="594" y="429"/>
                  </a:lnTo>
                  <a:lnTo>
                    <a:pt x="595" y="423"/>
                  </a:lnTo>
                  <a:lnTo>
                    <a:pt x="595" y="423"/>
                  </a:lnTo>
                  <a:lnTo>
                    <a:pt x="597" y="419"/>
                  </a:lnTo>
                  <a:lnTo>
                    <a:pt x="598" y="414"/>
                  </a:lnTo>
                  <a:lnTo>
                    <a:pt x="598" y="410"/>
                  </a:lnTo>
                  <a:lnTo>
                    <a:pt x="601" y="407"/>
                  </a:lnTo>
                  <a:lnTo>
                    <a:pt x="601" y="407"/>
                  </a:lnTo>
                  <a:lnTo>
                    <a:pt x="604" y="403"/>
                  </a:lnTo>
                  <a:lnTo>
                    <a:pt x="608" y="397"/>
                  </a:lnTo>
                  <a:lnTo>
                    <a:pt x="613" y="391"/>
                  </a:lnTo>
                  <a:lnTo>
                    <a:pt x="617" y="387"/>
                  </a:lnTo>
                  <a:lnTo>
                    <a:pt x="617" y="387"/>
                  </a:lnTo>
                  <a:lnTo>
                    <a:pt x="624" y="382"/>
                  </a:lnTo>
                  <a:lnTo>
                    <a:pt x="632" y="378"/>
                  </a:lnTo>
                  <a:lnTo>
                    <a:pt x="632" y="378"/>
                  </a:lnTo>
                  <a:lnTo>
                    <a:pt x="635" y="375"/>
                  </a:lnTo>
                  <a:lnTo>
                    <a:pt x="637" y="369"/>
                  </a:lnTo>
                  <a:lnTo>
                    <a:pt x="642" y="354"/>
                  </a:lnTo>
                  <a:lnTo>
                    <a:pt x="648" y="338"/>
                  </a:lnTo>
                  <a:lnTo>
                    <a:pt x="649" y="327"/>
                  </a:lnTo>
                  <a:lnTo>
                    <a:pt x="649" y="327"/>
                  </a:lnTo>
                  <a:lnTo>
                    <a:pt x="653" y="310"/>
                  </a:lnTo>
                  <a:lnTo>
                    <a:pt x="653" y="301"/>
                  </a:lnTo>
                  <a:lnTo>
                    <a:pt x="653" y="296"/>
                  </a:lnTo>
                  <a:close/>
                  <a:moveTo>
                    <a:pt x="368" y="372"/>
                  </a:moveTo>
                  <a:lnTo>
                    <a:pt x="368" y="372"/>
                  </a:lnTo>
                  <a:lnTo>
                    <a:pt x="368" y="369"/>
                  </a:lnTo>
                  <a:lnTo>
                    <a:pt x="367" y="364"/>
                  </a:lnTo>
                  <a:lnTo>
                    <a:pt x="368" y="359"/>
                  </a:lnTo>
                  <a:lnTo>
                    <a:pt x="369" y="356"/>
                  </a:lnTo>
                  <a:lnTo>
                    <a:pt x="369" y="356"/>
                  </a:lnTo>
                  <a:lnTo>
                    <a:pt x="369" y="355"/>
                  </a:lnTo>
                  <a:lnTo>
                    <a:pt x="371" y="356"/>
                  </a:lnTo>
                  <a:lnTo>
                    <a:pt x="374" y="358"/>
                  </a:lnTo>
                  <a:lnTo>
                    <a:pt x="377" y="364"/>
                  </a:lnTo>
                  <a:lnTo>
                    <a:pt x="377" y="364"/>
                  </a:lnTo>
                  <a:lnTo>
                    <a:pt x="375" y="367"/>
                  </a:lnTo>
                  <a:lnTo>
                    <a:pt x="374" y="371"/>
                  </a:lnTo>
                  <a:lnTo>
                    <a:pt x="371" y="372"/>
                  </a:lnTo>
                  <a:lnTo>
                    <a:pt x="368" y="372"/>
                  </a:lnTo>
                  <a:close/>
                  <a:moveTo>
                    <a:pt x="384" y="307"/>
                  </a:moveTo>
                  <a:lnTo>
                    <a:pt x="384" y="307"/>
                  </a:lnTo>
                  <a:lnTo>
                    <a:pt x="385" y="303"/>
                  </a:lnTo>
                  <a:lnTo>
                    <a:pt x="385" y="298"/>
                  </a:lnTo>
                  <a:lnTo>
                    <a:pt x="385" y="296"/>
                  </a:lnTo>
                  <a:lnTo>
                    <a:pt x="385" y="296"/>
                  </a:lnTo>
                  <a:lnTo>
                    <a:pt x="385" y="291"/>
                  </a:lnTo>
                  <a:lnTo>
                    <a:pt x="388" y="290"/>
                  </a:lnTo>
                  <a:lnTo>
                    <a:pt x="391" y="290"/>
                  </a:lnTo>
                  <a:lnTo>
                    <a:pt x="394" y="293"/>
                  </a:lnTo>
                  <a:lnTo>
                    <a:pt x="394" y="293"/>
                  </a:lnTo>
                  <a:lnTo>
                    <a:pt x="398" y="298"/>
                  </a:lnTo>
                  <a:lnTo>
                    <a:pt x="398" y="301"/>
                  </a:lnTo>
                  <a:lnTo>
                    <a:pt x="398" y="301"/>
                  </a:lnTo>
                  <a:lnTo>
                    <a:pt x="400" y="304"/>
                  </a:lnTo>
                  <a:lnTo>
                    <a:pt x="401" y="309"/>
                  </a:lnTo>
                  <a:lnTo>
                    <a:pt x="401" y="312"/>
                  </a:lnTo>
                  <a:lnTo>
                    <a:pt x="401" y="314"/>
                  </a:lnTo>
                  <a:lnTo>
                    <a:pt x="401" y="314"/>
                  </a:lnTo>
                  <a:lnTo>
                    <a:pt x="398" y="319"/>
                  </a:lnTo>
                  <a:lnTo>
                    <a:pt x="397" y="320"/>
                  </a:lnTo>
                  <a:lnTo>
                    <a:pt x="394" y="320"/>
                  </a:lnTo>
                  <a:lnTo>
                    <a:pt x="394" y="320"/>
                  </a:lnTo>
                  <a:lnTo>
                    <a:pt x="388" y="313"/>
                  </a:lnTo>
                  <a:lnTo>
                    <a:pt x="384" y="307"/>
                  </a:lnTo>
                  <a:close/>
                  <a:moveTo>
                    <a:pt x="400" y="365"/>
                  </a:moveTo>
                  <a:lnTo>
                    <a:pt x="400" y="365"/>
                  </a:lnTo>
                  <a:lnTo>
                    <a:pt x="398" y="365"/>
                  </a:lnTo>
                  <a:lnTo>
                    <a:pt x="398" y="364"/>
                  </a:lnTo>
                  <a:lnTo>
                    <a:pt x="397" y="361"/>
                  </a:lnTo>
                  <a:lnTo>
                    <a:pt x="398" y="356"/>
                  </a:lnTo>
                  <a:lnTo>
                    <a:pt x="397" y="354"/>
                  </a:lnTo>
                  <a:lnTo>
                    <a:pt x="397" y="354"/>
                  </a:lnTo>
                  <a:lnTo>
                    <a:pt x="391" y="345"/>
                  </a:lnTo>
                  <a:lnTo>
                    <a:pt x="390" y="340"/>
                  </a:lnTo>
                  <a:lnTo>
                    <a:pt x="391" y="339"/>
                  </a:lnTo>
                  <a:lnTo>
                    <a:pt x="393" y="339"/>
                  </a:lnTo>
                  <a:lnTo>
                    <a:pt x="393" y="339"/>
                  </a:lnTo>
                  <a:lnTo>
                    <a:pt x="396" y="339"/>
                  </a:lnTo>
                  <a:lnTo>
                    <a:pt x="397" y="340"/>
                  </a:lnTo>
                  <a:lnTo>
                    <a:pt x="401" y="345"/>
                  </a:lnTo>
                  <a:lnTo>
                    <a:pt x="403" y="351"/>
                  </a:lnTo>
                  <a:lnTo>
                    <a:pt x="403" y="355"/>
                  </a:lnTo>
                  <a:lnTo>
                    <a:pt x="403" y="355"/>
                  </a:lnTo>
                  <a:lnTo>
                    <a:pt x="403" y="362"/>
                  </a:lnTo>
                  <a:lnTo>
                    <a:pt x="401" y="364"/>
                  </a:lnTo>
                  <a:lnTo>
                    <a:pt x="400" y="365"/>
                  </a:lnTo>
                  <a:close/>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57" name="Freeform 1177"/>
            <p:cNvSpPr>
              <a:spLocks/>
            </p:cNvSpPr>
            <p:nvPr/>
          </p:nvSpPr>
          <p:spPr bwMode="auto">
            <a:xfrm>
              <a:off x="7200900" y="4989514"/>
              <a:ext cx="1036638" cy="784225"/>
            </a:xfrm>
            <a:custGeom>
              <a:avLst/>
              <a:gdLst>
                <a:gd name="T0" fmla="*/ 635 w 653"/>
                <a:gd name="T1" fmla="*/ 235 h 494"/>
                <a:gd name="T2" fmla="*/ 604 w 653"/>
                <a:gd name="T3" fmla="*/ 194 h 494"/>
                <a:gd name="T4" fmla="*/ 590 w 653"/>
                <a:gd name="T5" fmla="*/ 187 h 494"/>
                <a:gd name="T6" fmla="*/ 551 w 653"/>
                <a:gd name="T7" fmla="*/ 141 h 494"/>
                <a:gd name="T8" fmla="*/ 524 w 653"/>
                <a:gd name="T9" fmla="*/ 88 h 494"/>
                <a:gd name="T10" fmla="*/ 501 w 653"/>
                <a:gd name="T11" fmla="*/ 58 h 494"/>
                <a:gd name="T12" fmla="*/ 485 w 653"/>
                <a:gd name="T13" fmla="*/ 17 h 494"/>
                <a:gd name="T14" fmla="*/ 472 w 653"/>
                <a:gd name="T15" fmla="*/ 3 h 494"/>
                <a:gd name="T16" fmla="*/ 462 w 653"/>
                <a:gd name="T17" fmla="*/ 45 h 494"/>
                <a:gd name="T18" fmla="*/ 439 w 653"/>
                <a:gd name="T19" fmla="*/ 109 h 494"/>
                <a:gd name="T20" fmla="*/ 422 w 653"/>
                <a:gd name="T21" fmla="*/ 101 h 494"/>
                <a:gd name="T22" fmla="*/ 393 w 653"/>
                <a:gd name="T23" fmla="*/ 84 h 494"/>
                <a:gd name="T24" fmla="*/ 364 w 653"/>
                <a:gd name="T25" fmla="*/ 64 h 494"/>
                <a:gd name="T26" fmla="*/ 374 w 653"/>
                <a:gd name="T27" fmla="*/ 39 h 494"/>
                <a:gd name="T28" fmla="*/ 377 w 653"/>
                <a:gd name="T29" fmla="*/ 17 h 494"/>
                <a:gd name="T30" fmla="*/ 365 w 653"/>
                <a:gd name="T31" fmla="*/ 17 h 494"/>
                <a:gd name="T32" fmla="*/ 326 w 653"/>
                <a:gd name="T33" fmla="*/ 12 h 494"/>
                <a:gd name="T34" fmla="*/ 303 w 653"/>
                <a:gd name="T35" fmla="*/ 23 h 494"/>
                <a:gd name="T36" fmla="*/ 274 w 653"/>
                <a:gd name="T37" fmla="*/ 33 h 494"/>
                <a:gd name="T38" fmla="*/ 264 w 653"/>
                <a:gd name="T39" fmla="*/ 59 h 494"/>
                <a:gd name="T40" fmla="*/ 259 w 653"/>
                <a:gd name="T41" fmla="*/ 67 h 494"/>
                <a:gd name="T42" fmla="*/ 238 w 653"/>
                <a:gd name="T43" fmla="*/ 61 h 494"/>
                <a:gd name="T44" fmla="*/ 207 w 653"/>
                <a:gd name="T45" fmla="*/ 54 h 494"/>
                <a:gd name="T46" fmla="*/ 196 w 653"/>
                <a:gd name="T47" fmla="*/ 74 h 494"/>
                <a:gd name="T48" fmla="*/ 181 w 653"/>
                <a:gd name="T49" fmla="*/ 84 h 494"/>
                <a:gd name="T50" fmla="*/ 170 w 653"/>
                <a:gd name="T51" fmla="*/ 99 h 494"/>
                <a:gd name="T52" fmla="*/ 149 w 653"/>
                <a:gd name="T53" fmla="*/ 101 h 494"/>
                <a:gd name="T54" fmla="*/ 135 w 653"/>
                <a:gd name="T55" fmla="*/ 138 h 494"/>
                <a:gd name="T56" fmla="*/ 70 w 653"/>
                <a:gd name="T57" fmla="*/ 165 h 494"/>
                <a:gd name="T58" fmla="*/ 19 w 653"/>
                <a:gd name="T59" fmla="*/ 191 h 494"/>
                <a:gd name="T60" fmla="*/ 7 w 653"/>
                <a:gd name="T61" fmla="*/ 203 h 494"/>
                <a:gd name="T62" fmla="*/ 10 w 653"/>
                <a:gd name="T63" fmla="*/ 222 h 494"/>
                <a:gd name="T64" fmla="*/ 15 w 653"/>
                <a:gd name="T65" fmla="*/ 258 h 494"/>
                <a:gd name="T66" fmla="*/ 2 w 653"/>
                <a:gd name="T67" fmla="*/ 256 h 494"/>
                <a:gd name="T68" fmla="*/ 15 w 653"/>
                <a:gd name="T69" fmla="*/ 291 h 494"/>
                <a:gd name="T70" fmla="*/ 41 w 653"/>
                <a:gd name="T71" fmla="*/ 375 h 494"/>
                <a:gd name="T72" fmla="*/ 29 w 653"/>
                <a:gd name="T73" fmla="*/ 390 h 494"/>
                <a:gd name="T74" fmla="*/ 44 w 653"/>
                <a:gd name="T75" fmla="*/ 416 h 494"/>
                <a:gd name="T76" fmla="*/ 96 w 653"/>
                <a:gd name="T77" fmla="*/ 403 h 494"/>
                <a:gd name="T78" fmla="*/ 144 w 653"/>
                <a:gd name="T79" fmla="*/ 398 h 494"/>
                <a:gd name="T80" fmla="*/ 170 w 653"/>
                <a:gd name="T81" fmla="*/ 382 h 494"/>
                <a:gd name="T82" fmla="*/ 238 w 653"/>
                <a:gd name="T83" fmla="*/ 374 h 494"/>
                <a:gd name="T84" fmla="*/ 313 w 653"/>
                <a:gd name="T85" fmla="*/ 371 h 494"/>
                <a:gd name="T86" fmla="*/ 335 w 653"/>
                <a:gd name="T87" fmla="*/ 384 h 494"/>
                <a:gd name="T88" fmla="*/ 352 w 653"/>
                <a:gd name="T89" fmla="*/ 414 h 494"/>
                <a:gd name="T90" fmla="*/ 367 w 653"/>
                <a:gd name="T91" fmla="*/ 401 h 494"/>
                <a:gd name="T92" fmla="*/ 385 w 653"/>
                <a:gd name="T93" fmla="*/ 384 h 494"/>
                <a:gd name="T94" fmla="*/ 383 w 653"/>
                <a:gd name="T95" fmla="*/ 416 h 494"/>
                <a:gd name="T96" fmla="*/ 388 w 653"/>
                <a:gd name="T97" fmla="*/ 419 h 494"/>
                <a:gd name="T98" fmla="*/ 400 w 653"/>
                <a:gd name="T99" fmla="*/ 426 h 494"/>
                <a:gd name="T100" fmla="*/ 406 w 653"/>
                <a:gd name="T101" fmla="*/ 430 h 494"/>
                <a:gd name="T102" fmla="*/ 432 w 653"/>
                <a:gd name="T103" fmla="*/ 477 h 494"/>
                <a:gd name="T104" fmla="*/ 455 w 653"/>
                <a:gd name="T105" fmla="*/ 484 h 494"/>
                <a:gd name="T106" fmla="*/ 498 w 653"/>
                <a:gd name="T107" fmla="*/ 485 h 494"/>
                <a:gd name="T108" fmla="*/ 529 w 653"/>
                <a:gd name="T109" fmla="*/ 493 h 494"/>
                <a:gd name="T110" fmla="*/ 571 w 653"/>
                <a:gd name="T111" fmla="*/ 474 h 494"/>
                <a:gd name="T112" fmla="*/ 590 w 653"/>
                <a:gd name="T113" fmla="*/ 443 h 494"/>
                <a:gd name="T114" fmla="*/ 604 w 653"/>
                <a:gd name="T115" fmla="*/ 403 h 494"/>
                <a:gd name="T116" fmla="*/ 648 w 653"/>
                <a:gd name="T117" fmla="*/ 338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53" h="494">
                  <a:moveTo>
                    <a:pt x="653" y="296"/>
                  </a:moveTo>
                  <a:lnTo>
                    <a:pt x="653" y="296"/>
                  </a:lnTo>
                  <a:lnTo>
                    <a:pt x="649" y="287"/>
                  </a:lnTo>
                  <a:lnTo>
                    <a:pt x="649" y="278"/>
                  </a:lnTo>
                  <a:lnTo>
                    <a:pt x="649" y="278"/>
                  </a:lnTo>
                  <a:lnTo>
                    <a:pt x="649" y="272"/>
                  </a:lnTo>
                  <a:lnTo>
                    <a:pt x="648" y="265"/>
                  </a:lnTo>
                  <a:lnTo>
                    <a:pt x="643" y="254"/>
                  </a:lnTo>
                  <a:lnTo>
                    <a:pt x="643" y="254"/>
                  </a:lnTo>
                  <a:lnTo>
                    <a:pt x="639" y="242"/>
                  </a:lnTo>
                  <a:lnTo>
                    <a:pt x="635" y="235"/>
                  </a:lnTo>
                  <a:lnTo>
                    <a:pt x="632" y="229"/>
                  </a:lnTo>
                  <a:lnTo>
                    <a:pt x="632" y="229"/>
                  </a:lnTo>
                  <a:lnTo>
                    <a:pt x="624" y="223"/>
                  </a:lnTo>
                  <a:lnTo>
                    <a:pt x="617" y="216"/>
                  </a:lnTo>
                  <a:lnTo>
                    <a:pt x="617" y="216"/>
                  </a:lnTo>
                  <a:lnTo>
                    <a:pt x="611" y="212"/>
                  </a:lnTo>
                  <a:lnTo>
                    <a:pt x="610" y="209"/>
                  </a:lnTo>
                  <a:lnTo>
                    <a:pt x="608" y="203"/>
                  </a:lnTo>
                  <a:lnTo>
                    <a:pt x="608" y="203"/>
                  </a:lnTo>
                  <a:lnTo>
                    <a:pt x="607" y="197"/>
                  </a:lnTo>
                  <a:lnTo>
                    <a:pt x="604" y="194"/>
                  </a:lnTo>
                  <a:lnTo>
                    <a:pt x="601" y="193"/>
                  </a:lnTo>
                  <a:lnTo>
                    <a:pt x="601" y="193"/>
                  </a:lnTo>
                  <a:lnTo>
                    <a:pt x="600" y="191"/>
                  </a:lnTo>
                  <a:lnTo>
                    <a:pt x="598" y="190"/>
                  </a:lnTo>
                  <a:lnTo>
                    <a:pt x="597" y="191"/>
                  </a:lnTo>
                  <a:lnTo>
                    <a:pt x="597" y="191"/>
                  </a:lnTo>
                  <a:lnTo>
                    <a:pt x="595" y="193"/>
                  </a:lnTo>
                  <a:lnTo>
                    <a:pt x="594" y="193"/>
                  </a:lnTo>
                  <a:lnTo>
                    <a:pt x="591" y="191"/>
                  </a:lnTo>
                  <a:lnTo>
                    <a:pt x="590" y="187"/>
                  </a:lnTo>
                  <a:lnTo>
                    <a:pt x="590" y="187"/>
                  </a:lnTo>
                  <a:lnTo>
                    <a:pt x="582" y="170"/>
                  </a:lnTo>
                  <a:lnTo>
                    <a:pt x="582" y="170"/>
                  </a:lnTo>
                  <a:lnTo>
                    <a:pt x="578" y="162"/>
                  </a:lnTo>
                  <a:lnTo>
                    <a:pt x="572" y="155"/>
                  </a:lnTo>
                  <a:lnTo>
                    <a:pt x="572" y="155"/>
                  </a:lnTo>
                  <a:lnTo>
                    <a:pt x="564" y="151"/>
                  </a:lnTo>
                  <a:lnTo>
                    <a:pt x="558" y="148"/>
                  </a:lnTo>
                  <a:lnTo>
                    <a:pt x="555" y="145"/>
                  </a:lnTo>
                  <a:lnTo>
                    <a:pt x="555" y="145"/>
                  </a:lnTo>
                  <a:lnTo>
                    <a:pt x="553" y="142"/>
                  </a:lnTo>
                  <a:lnTo>
                    <a:pt x="551" y="141"/>
                  </a:lnTo>
                  <a:lnTo>
                    <a:pt x="545" y="135"/>
                  </a:lnTo>
                  <a:lnTo>
                    <a:pt x="545" y="135"/>
                  </a:lnTo>
                  <a:lnTo>
                    <a:pt x="539" y="129"/>
                  </a:lnTo>
                  <a:lnTo>
                    <a:pt x="536" y="126"/>
                  </a:lnTo>
                  <a:lnTo>
                    <a:pt x="536" y="122"/>
                  </a:lnTo>
                  <a:lnTo>
                    <a:pt x="536" y="122"/>
                  </a:lnTo>
                  <a:lnTo>
                    <a:pt x="536" y="119"/>
                  </a:lnTo>
                  <a:lnTo>
                    <a:pt x="535" y="113"/>
                  </a:lnTo>
                  <a:lnTo>
                    <a:pt x="530" y="103"/>
                  </a:lnTo>
                  <a:lnTo>
                    <a:pt x="530" y="103"/>
                  </a:lnTo>
                  <a:lnTo>
                    <a:pt x="524" y="88"/>
                  </a:lnTo>
                  <a:lnTo>
                    <a:pt x="522" y="81"/>
                  </a:lnTo>
                  <a:lnTo>
                    <a:pt x="520" y="77"/>
                  </a:lnTo>
                  <a:lnTo>
                    <a:pt x="520" y="77"/>
                  </a:lnTo>
                  <a:lnTo>
                    <a:pt x="520" y="73"/>
                  </a:lnTo>
                  <a:lnTo>
                    <a:pt x="517" y="68"/>
                  </a:lnTo>
                  <a:lnTo>
                    <a:pt x="513" y="59"/>
                  </a:lnTo>
                  <a:lnTo>
                    <a:pt x="513" y="59"/>
                  </a:lnTo>
                  <a:lnTo>
                    <a:pt x="509" y="57"/>
                  </a:lnTo>
                  <a:lnTo>
                    <a:pt x="506" y="57"/>
                  </a:lnTo>
                  <a:lnTo>
                    <a:pt x="506" y="57"/>
                  </a:lnTo>
                  <a:lnTo>
                    <a:pt x="501" y="58"/>
                  </a:lnTo>
                  <a:lnTo>
                    <a:pt x="498" y="58"/>
                  </a:lnTo>
                  <a:lnTo>
                    <a:pt x="497" y="57"/>
                  </a:lnTo>
                  <a:lnTo>
                    <a:pt x="497" y="57"/>
                  </a:lnTo>
                  <a:lnTo>
                    <a:pt x="495" y="45"/>
                  </a:lnTo>
                  <a:lnTo>
                    <a:pt x="494" y="36"/>
                  </a:lnTo>
                  <a:lnTo>
                    <a:pt x="491" y="29"/>
                  </a:lnTo>
                  <a:lnTo>
                    <a:pt x="491" y="29"/>
                  </a:lnTo>
                  <a:lnTo>
                    <a:pt x="485" y="20"/>
                  </a:lnTo>
                  <a:lnTo>
                    <a:pt x="484" y="19"/>
                  </a:lnTo>
                  <a:lnTo>
                    <a:pt x="485" y="17"/>
                  </a:lnTo>
                  <a:lnTo>
                    <a:pt x="485" y="17"/>
                  </a:lnTo>
                  <a:lnTo>
                    <a:pt x="487" y="16"/>
                  </a:lnTo>
                  <a:lnTo>
                    <a:pt x="485" y="15"/>
                  </a:lnTo>
                  <a:lnTo>
                    <a:pt x="482" y="13"/>
                  </a:lnTo>
                  <a:lnTo>
                    <a:pt x="481" y="12"/>
                  </a:lnTo>
                  <a:lnTo>
                    <a:pt x="481" y="12"/>
                  </a:lnTo>
                  <a:lnTo>
                    <a:pt x="480" y="4"/>
                  </a:lnTo>
                  <a:lnTo>
                    <a:pt x="477" y="2"/>
                  </a:lnTo>
                  <a:lnTo>
                    <a:pt x="474" y="0"/>
                  </a:lnTo>
                  <a:lnTo>
                    <a:pt x="474" y="0"/>
                  </a:lnTo>
                  <a:lnTo>
                    <a:pt x="472" y="2"/>
                  </a:lnTo>
                  <a:lnTo>
                    <a:pt x="472" y="3"/>
                  </a:lnTo>
                  <a:lnTo>
                    <a:pt x="469" y="9"/>
                  </a:lnTo>
                  <a:lnTo>
                    <a:pt x="468" y="16"/>
                  </a:lnTo>
                  <a:lnTo>
                    <a:pt x="465" y="19"/>
                  </a:lnTo>
                  <a:lnTo>
                    <a:pt x="465" y="19"/>
                  </a:lnTo>
                  <a:lnTo>
                    <a:pt x="465" y="22"/>
                  </a:lnTo>
                  <a:lnTo>
                    <a:pt x="464" y="26"/>
                  </a:lnTo>
                  <a:lnTo>
                    <a:pt x="464" y="33"/>
                  </a:lnTo>
                  <a:lnTo>
                    <a:pt x="464" y="33"/>
                  </a:lnTo>
                  <a:lnTo>
                    <a:pt x="462" y="39"/>
                  </a:lnTo>
                  <a:lnTo>
                    <a:pt x="462" y="45"/>
                  </a:lnTo>
                  <a:lnTo>
                    <a:pt x="462" y="45"/>
                  </a:lnTo>
                  <a:lnTo>
                    <a:pt x="462" y="62"/>
                  </a:lnTo>
                  <a:lnTo>
                    <a:pt x="462" y="71"/>
                  </a:lnTo>
                  <a:lnTo>
                    <a:pt x="461" y="77"/>
                  </a:lnTo>
                  <a:lnTo>
                    <a:pt x="461" y="77"/>
                  </a:lnTo>
                  <a:lnTo>
                    <a:pt x="453" y="96"/>
                  </a:lnTo>
                  <a:lnTo>
                    <a:pt x="449" y="107"/>
                  </a:lnTo>
                  <a:lnTo>
                    <a:pt x="448" y="110"/>
                  </a:lnTo>
                  <a:lnTo>
                    <a:pt x="446" y="112"/>
                  </a:lnTo>
                  <a:lnTo>
                    <a:pt x="446" y="112"/>
                  </a:lnTo>
                  <a:lnTo>
                    <a:pt x="442" y="109"/>
                  </a:lnTo>
                  <a:lnTo>
                    <a:pt x="439" y="109"/>
                  </a:lnTo>
                  <a:lnTo>
                    <a:pt x="436" y="109"/>
                  </a:lnTo>
                  <a:lnTo>
                    <a:pt x="436" y="109"/>
                  </a:lnTo>
                  <a:lnTo>
                    <a:pt x="435" y="109"/>
                  </a:lnTo>
                  <a:lnTo>
                    <a:pt x="433" y="110"/>
                  </a:lnTo>
                  <a:lnTo>
                    <a:pt x="433" y="110"/>
                  </a:lnTo>
                  <a:lnTo>
                    <a:pt x="430" y="110"/>
                  </a:lnTo>
                  <a:lnTo>
                    <a:pt x="430" y="110"/>
                  </a:lnTo>
                  <a:lnTo>
                    <a:pt x="427" y="109"/>
                  </a:lnTo>
                  <a:lnTo>
                    <a:pt x="426" y="107"/>
                  </a:lnTo>
                  <a:lnTo>
                    <a:pt x="422" y="101"/>
                  </a:lnTo>
                  <a:lnTo>
                    <a:pt x="422" y="101"/>
                  </a:lnTo>
                  <a:lnTo>
                    <a:pt x="417" y="100"/>
                  </a:lnTo>
                  <a:lnTo>
                    <a:pt x="413" y="99"/>
                  </a:lnTo>
                  <a:lnTo>
                    <a:pt x="407" y="97"/>
                  </a:lnTo>
                  <a:lnTo>
                    <a:pt x="404" y="96"/>
                  </a:lnTo>
                  <a:lnTo>
                    <a:pt x="404" y="96"/>
                  </a:lnTo>
                  <a:lnTo>
                    <a:pt x="403" y="94"/>
                  </a:lnTo>
                  <a:lnTo>
                    <a:pt x="403" y="91"/>
                  </a:lnTo>
                  <a:lnTo>
                    <a:pt x="401" y="88"/>
                  </a:lnTo>
                  <a:lnTo>
                    <a:pt x="397" y="87"/>
                  </a:lnTo>
                  <a:lnTo>
                    <a:pt x="397" y="87"/>
                  </a:lnTo>
                  <a:lnTo>
                    <a:pt x="393" y="84"/>
                  </a:lnTo>
                  <a:lnTo>
                    <a:pt x="390" y="81"/>
                  </a:lnTo>
                  <a:lnTo>
                    <a:pt x="388" y="78"/>
                  </a:lnTo>
                  <a:lnTo>
                    <a:pt x="384" y="77"/>
                  </a:lnTo>
                  <a:lnTo>
                    <a:pt x="384" y="77"/>
                  </a:lnTo>
                  <a:lnTo>
                    <a:pt x="380" y="78"/>
                  </a:lnTo>
                  <a:lnTo>
                    <a:pt x="378" y="77"/>
                  </a:lnTo>
                  <a:lnTo>
                    <a:pt x="375" y="77"/>
                  </a:lnTo>
                  <a:lnTo>
                    <a:pt x="375" y="77"/>
                  </a:lnTo>
                  <a:lnTo>
                    <a:pt x="368" y="71"/>
                  </a:lnTo>
                  <a:lnTo>
                    <a:pt x="364" y="67"/>
                  </a:lnTo>
                  <a:lnTo>
                    <a:pt x="364" y="64"/>
                  </a:lnTo>
                  <a:lnTo>
                    <a:pt x="364" y="64"/>
                  </a:lnTo>
                  <a:lnTo>
                    <a:pt x="365" y="58"/>
                  </a:lnTo>
                  <a:lnTo>
                    <a:pt x="369" y="52"/>
                  </a:lnTo>
                  <a:lnTo>
                    <a:pt x="369" y="52"/>
                  </a:lnTo>
                  <a:lnTo>
                    <a:pt x="371" y="49"/>
                  </a:lnTo>
                  <a:lnTo>
                    <a:pt x="372" y="45"/>
                  </a:lnTo>
                  <a:lnTo>
                    <a:pt x="372" y="45"/>
                  </a:lnTo>
                  <a:lnTo>
                    <a:pt x="371" y="42"/>
                  </a:lnTo>
                  <a:lnTo>
                    <a:pt x="371" y="39"/>
                  </a:lnTo>
                  <a:lnTo>
                    <a:pt x="374" y="39"/>
                  </a:lnTo>
                  <a:lnTo>
                    <a:pt x="374" y="39"/>
                  </a:lnTo>
                  <a:lnTo>
                    <a:pt x="380" y="38"/>
                  </a:lnTo>
                  <a:lnTo>
                    <a:pt x="381" y="38"/>
                  </a:lnTo>
                  <a:lnTo>
                    <a:pt x="381" y="36"/>
                  </a:lnTo>
                  <a:lnTo>
                    <a:pt x="381" y="36"/>
                  </a:lnTo>
                  <a:lnTo>
                    <a:pt x="381" y="32"/>
                  </a:lnTo>
                  <a:lnTo>
                    <a:pt x="383" y="28"/>
                  </a:lnTo>
                  <a:lnTo>
                    <a:pt x="384" y="23"/>
                  </a:lnTo>
                  <a:lnTo>
                    <a:pt x="384" y="22"/>
                  </a:lnTo>
                  <a:lnTo>
                    <a:pt x="383" y="20"/>
                  </a:lnTo>
                  <a:lnTo>
                    <a:pt x="383" y="20"/>
                  </a:lnTo>
                  <a:lnTo>
                    <a:pt x="377" y="17"/>
                  </a:lnTo>
                  <a:lnTo>
                    <a:pt x="375" y="17"/>
                  </a:lnTo>
                  <a:lnTo>
                    <a:pt x="374" y="19"/>
                  </a:lnTo>
                  <a:lnTo>
                    <a:pt x="374" y="19"/>
                  </a:lnTo>
                  <a:lnTo>
                    <a:pt x="374" y="22"/>
                  </a:lnTo>
                  <a:lnTo>
                    <a:pt x="372" y="23"/>
                  </a:lnTo>
                  <a:lnTo>
                    <a:pt x="371" y="23"/>
                  </a:lnTo>
                  <a:lnTo>
                    <a:pt x="371" y="23"/>
                  </a:lnTo>
                  <a:lnTo>
                    <a:pt x="368" y="19"/>
                  </a:lnTo>
                  <a:lnTo>
                    <a:pt x="367" y="17"/>
                  </a:lnTo>
                  <a:lnTo>
                    <a:pt x="365" y="17"/>
                  </a:lnTo>
                  <a:lnTo>
                    <a:pt x="365" y="17"/>
                  </a:lnTo>
                  <a:lnTo>
                    <a:pt x="364" y="19"/>
                  </a:lnTo>
                  <a:lnTo>
                    <a:pt x="362" y="20"/>
                  </a:lnTo>
                  <a:lnTo>
                    <a:pt x="359" y="22"/>
                  </a:lnTo>
                  <a:lnTo>
                    <a:pt x="356" y="22"/>
                  </a:lnTo>
                  <a:lnTo>
                    <a:pt x="356" y="22"/>
                  </a:lnTo>
                  <a:lnTo>
                    <a:pt x="348" y="17"/>
                  </a:lnTo>
                  <a:lnTo>
                    <a:pt x="343" y="16"/>
                  </a:lnTo>
                  <a:lnTo>
                    <a:pt x="339" y="15"/>
                  </a:lnTo>
                  <a:lnTo>
                    <a:pt x="339" y="15"/>
                  </a:lnTo>
                  <a:lnTo>
                    <a:pt x="332" y="15"/>
                  </a:lnTo>
                  <a:lnTo>
                    <a:pt x="326" y="12"/>
                  </a:lnTo>
                  <a:lnTo>
                    <a:pt x="326" y="12"/>
                  </a:lnTo>
                  <a:lnTo>
                    <a:pt x="320" y="10"/>
                  </a:lnTo>
                  <a:lnTo>
                    <a:pt x="317" y="9"/>
                  </a:lnTo>
                  <a:lnTo>
                    <a:pt x="316" y="10"/>
                  </a:lnTo>
                  <a:lnTo>
                    <a:pt x="316" y="10"/>
                  </a:lnTo>
                  <a:lnTo>
                    <a:pt x="316" y="13"/>
                  </a:lnTo>
                  <a:lnTo>
                    <a:pt x="314" y="16"/>
                  </a:lnTo>
                  <a:lnTo>
                    <a:pt x="313" y="19"/>
                  </a:lnTo>
                  <a:lnTo>
                    <a:pt x="313" y="19"/>
                  </a:lnTo>
                  <a:lnTo>
                    <a:pt x="309" y="22"/>
                  </a:lnTo>
                  <a:lnTo>
                    <a:pt x="303" y="23"/>
                  </a:lnTo>
                  <a:lnTo>
                    <a:pt x="299" y="25"/>
                  </a:lnTo>
                  <a:lnTo>
                    <a:pt x="294" y="23"/>
                  </a:lnTo>
                  <a:lnTo>
                    <a:pt x="294" y="23"/>
                  </a:lnTo>
                  <a:lnTo>
                    <a:pt x="291" y="22"/>
                  </a:lnTo>
                  <a:lnTo>
                    <a:pt x="288" y="22"/>
                  </a:lnTo>
                  <a:lnTo>
                    <a:pt x="285" y="22"/>
                  </a:lnTo>
                  <a:lnTo>
                    <a:pt x="285" y="22"/>
                  </a:lnTo>
                  <a:lnTo>
                    <a:pt x="280" y="28"/>
                  </a:lnTo>
                  <a:lnTo>
                    <a:pt x="275" y="32"/>
                  </a:lnTo>
                  <a:lnTo>
                    <a:pt x="275" y="32"/>
                  </a:lnTo>
                  <a:lnTo>
                    <a:pt x="274" y="33"/>
                  </a:lnTo>
                  <a:lnTo>
                    <a:pt x="275" y="36"/>
                  </a:lnTo>
                  <a:lnTo>
                    <a:pt x="275" y="38"/>
                  </a:lnTo>
                  <a:lnTo>
                    <a:pt x="275" y="39"/>
                  </a:lnTo>
                  <a:lnTo>
                    <a:pt x="275" y="39"/>
                  </a:lnTo>
                  <a:lnTo>
                    <a:pt x="267" y="46"/>
                  </a:lnTo>
                  <a:lnTo>
                    <a:pt x="267" y="46"/>
                  </a:lnTo>
                  <a:lnTo>
                    <a:pt x="264" y="54"/>
                  </a:lnTo>
                  <a:lnTo>
                    <a:pt x="262" y="58"/>
                  </a:lnTo>
                  <a:lnTo>
                    <a:pt x="262" y="59"/>
                  </a:lnTo>
                  <a:lnTo>
                    <a:pt x="264" y="59"/>
                  </a:lnTo>
                  <a:lnTo>
                    <a:pt x="264" y="59"/>
                  </a:lnTo>
                  <a:lnTo>
                    <a:pt x="268" y="61"/>
                  </a:lnTo>
                  <a:lnTo>
                    <a:pt x="270" y="62"/>
                  </a:lnTo>
                  <a:lnTo>
                    <a:pt x="270" y="64"/>
                  </a:lnTo>
                  <a:lnTo>
                    <a:pt x="270" y="64"/>
                  </a:lnTo>
                  <a:lnTo>
                    <a:pt x="270" y="67"/>
                  </a:lnTo>
                  <a:lnTo>
                    <a:pt x="270" y="70"/>
                  </a:lnTo>
                  <a:lnTo>
                    <a:pt x="270" y="71"/>
                  </a:lnTo>
                  <a:lnTo>
                    <a:pt x="268" y="71"/>
                  </a:lnTo>
                  <a:lnTo>
                    <a:pt x="268" y="71"/>
                  </a:lnTo>
                  <a:lnTo>
                    <a:pt x="264" y="68"/>
                  </a:lnTo>
                  <a:lnTo>
                    <a:pt x="259" y="67"/>
                  </a:lnTo>
                  <a:lnTo>
                    <a:pt x="259" y="67"/>
                  </a:lnTo>
                  <a:lnTo>
                    <a:pt x="254" y="65"/>
                  </a:lnTo>
                  <a:lnTo>
                    <a:pt x="246" y="65"/>
                  </a:lnTo>
                  <a:lnTo>
                    <a:pt x="246" y="65"/>
                  </a:lnTo>
                  <a:lnTo>
                    <a:pt x="243" y="68"/>
                  </a:lnTo>
                  <a:lnTo>
                    <a:pt x="242" y="70"/>
                  </a:lnTo>
                  <a:lnTo>
                    <a:pt x="241" y="68"/>
                  </a:lnTo>
                  <a:lnTo>
                    <a:pt x="241" y="68"/>
                  </a:lnTo>
                  <a:lnTo>
                    <a:pt x="239" y="62"/>
                  </a:lnTo>
                  <a:lnTo>
                    <a:pt x="238" y="61"/>
                  </a:lnTo>
                  <a:lnTo>
                    <a:pt x="238" y="61"/>
                  </a:lnTo>
                  <a:lnTo>
                    <a:pt x="232" y="55"/>
                  </a:lnTo>
                  <a:lnTo>
                    <a:pt x="229" y="52"/>
                  </a:lnTo>
                  <a:lnTo>
                    <a:pt x="228" y="51"/>
                  </a:lnTo>
                  <a:lnTo>
                    <a:pt x="228" y="51"/>
                  </a:lnTo>
                  <a:lnTo>
                    <a:pt x="220" y="52"/>
                  </a:lnTo>
                  <a:lnTo>
                    <a:pt x="213" y="55"/>
                  </a:lnTo>
                  <a:lnTo>
                    <a:pt x="213" y="55"/>
                  </a:lnTo>
                  <a:lnTo>
                    <a:pt x="210" y="54"/>
                  </a:lnTo>
                  <a:lnTo>
                    <a:pt x="209" y="52"/>
                  </a:lnTo>
                  <a:lnTo>
                    <a:pt x="209" y="52"/>
                  </a:lnTo>
                  <a:lnTo>
                    <a:pt x="207" y="54"/>
                  </a:lnTo>
                  <a:lnTo>
                    <a:pt x="207" y="54"/>
                  </a:lnTo>
                  <a:lnTo>
                    <a:pt x="204" y="59"/>
                  </a:lnTo>
                  <a:lnTo>
                    <a:pt x="203" y="61"/>
                  </a:lnTo>
                  <a:lnTo>
                    <a:pt x="201" y="61"/>
                  </a:lnTo>
                  <a:lnTo>
                    <a:pt x="201" y="61"/>
                  </a:lnTo>
                  <a:lnTo>
                    <a:pt x="200" y="61"/>
                  </a:lnTo>
                  <a:lnTo>
                    <a:pt x="199" y="64"/>
                  </a:lnTo>
                  <a:lnTo>
                    <a:pt x="196" y="68"/>
                  </a:lnTo>
                  <a:lnTo>
                    <a:pt x="196" y="68"/>
                  </a:lnTo>
                  <a:lnTo>
                    <a:pt x="196" y="71"/>
                  </a:lnTo>
                  <a:lnTo>
                    <a:pt x="196" y="74"/>
                  </a:lnTo>
                  <a:lnTo>
                    <a:pt x="194" y="75"/>
                  </a:lnTo>
                  <a:lnTo>
                    <a:pt x="193" y="77"/>
                  </a:lnTo>
                  <a:lnTo>
                    <a:pt x="193" y="77"/>
                  </a:lnTo>
                  <a:lnTo>
                    <a:pt x="190" y="75"/>
                  </a:lnTo>
                  <a:lnTo>
                    <a:pt x="187" y="74"/>
                  </a:lnTo>
                  <a:lnTo>
                    <a:pt x="186" y="73"/>
                  </a:lnTo>
                  <a:lnTo>
                    <a:pt x="184" y="74"/>
                  </a:lnTo>
                  <a:lnTo>
                    <a:pt x="184" y="74"/>
                  </a:lnTo>
                  <a:lnTo>
                    <a:pt x="181" y="78"/>
                  </a:lnTo>
                  <a:lnTo>
                    <a:pt x="181" y="84"/>
                  </a:lnTo>
                  <a:lnTo>
                    <a:pt x="181" y="84"/>
                  </a:lnTo>
                  <a:lnTo>
                    <a:pt x="180" y="88"/>
                  </a:lnTo>
                  <a:lnTo>
                    <a:pt x="180" y="90"/>
                  </a:lnTo>
                  <a:lnTo>
                    <a:pt x="178" y="91"/>
                  </a:lnTo>
                  <a:lnTo>
                    <a:pt x="178" y="91"/>
                  </a:lnTo>
                  <a:lnTo>
                    <a:pt x="174" y="90"/>
                  </a:lnTo>
                  <a:lnTo>
                    <a:pt x="171" y="90"/>
                  </a:lnTo>
                  <a:lnTo>
                    <a:pt x="170" y="90"/>
                  </a:lnTo>
                  <a:lnTo>
                    <a:pt x="170" y="90"/>
                  </a:lnTo>
                  <a:lnTo>
                    <a:pt x="168" y="94"/>
                  </a:lnTo>
                  <a:lnTo>
                    <a:pt x="170" y="99"/>
                  </a:lnTo>
                  <a:lnTo>
                    <a:pt x="170" y="99"/>
                  </a:lnTo>
                  <a:lnTo>
                    <a:pt x="170" y="101"/>
                  </a:lnTo>
                  <a:lnTo>
                    <a:pt x="170" y="106"/>
                  </a:lnTo>
                  <a:lnTo>
                    <a:pt x="168" y="109"/>
                  </a:lnTo>
                  <a:lnTo>
                    <a:pt x="167" y="109"/>
                  </a:lnTo>
                  <a:lnTo>
                    <a:pt x="165" y="109"/>
                  </a:lnTo>
                  <a:lnTo>
                    <a:pt x="165" y="109"/>
                  </a:lnTo>
                  <a:lnTo>
                    <a:pt x="161" y="100"/>
                  </a:lnTo>
                  <a:lnTo>
                    <a:pt x="159" y="97"/>
                  </a:lnTo>
                  <a:lnTo>
                    <a:pt x="157" y="96"/>
                  </a:lnTo>
                  <a:lnTo>
                    <a:pt x="157" y="96"/>
                  </a:lnTo>
                  <a:lnTo>
                    <a:pt x="149" y="101"/>
                  </a:lnTo>
                  <a:lnTo>
                    <a:pt x="145" y="106"/>
                  </a:lnTo>
                  <a:lnTo>
                    <a:pt x="142" y="110"/>
                  </a:lnTo>
                  <a:lnTo>
                    <a:pt x="142" y="110"/>
                  </a:lnTo>
                  <a:lnTo>
                    <a:pt x="142" y="113"/>
                  </a:lnTo>
                  <a:lnTo>
                    <a:pt x="144" y="117"/>
                  </a:lnTo>
                  <a:lnTo>
                    <a:pt x="144" y="122"/>
                  </a:lnTo>
                  <a:lnTo>
                    <a:pt x="142" y="125"/>
                  </a:lnTo>
                  <a:lnTo>
                    <a:pt x="142" y="125"/>
                  </a:lnTo>
                  <a:lnTo>
                    <a:pt x="139" y="128"/>
                  </a:lnTo>
                  <a:lnTo>
                    <a:pt x="138" y="132"/>
                  </a:lnTo>
                  <a:lnTo>
                    <a:pt x="135" y="138"/>
                  </a:lnTo>
                  <a:lnTo>
                    <a:pt x="135" y="138"/>
                  </a:lnTo>
                  <a:lnTo>
                    <a:pt x="131" y="141"/>
                  </a:lnTo>
                  <a:lnTo>
                    <a:pt x="123" y="145"/>
                  </a:lnTo>
                  <a:lnTo>
                    <a:pt x="123" y="145"/>
                  </a:lnTo>
                  <a:lnTo>
                    <a:pt x="107" y="151"/>
                  </a:lnTo>
                  <a:lnTo>
                    <a:pt x="90" y="157"/>
                  </a:lnTo>
                  <a:lnTo>
                    <a:pt x="90" y="157"/>
                  </a:lnTo>
                  <a:lnTo>
                    <a:pt x="81" y="162"/>
                  </a:lnTo>
                  <a:lnTo>
                    <a:pt x="75" y="164"/>
                  </a:lnTo>
                  <a:lnTo>
                    <a:pt x="70" y="165"/>
                  </a:lnTo>
                  <a:lnTo>
                    <a:pt x="70" y="165"/>
                  </a:lnTo>
                  <a:lnTo>
                    <a:pt x="54" y="167"/>
                  </a:lnTo>
                  <a:lnTo>
                    <a:pt x="47" y="168"/>
                  </a:lnTo>
                  <a:lnTo>
                    <a:pt x="41" y="171"/>
                  </a:lnTo>
                  <a:lnTo>
                    <a:pt x="41" y="171"/>
                  </a:lnTo>
                  <a:lnTo>
                    <a:pt x="33" y="177"/>
                  </a:lnTo>
                  <a:lnTo>
                    <a:pt x="31" y="180"/>
                  </a:lnTo>
                  <a:lnTo>
                    <a:pt x="29" y="181"/>
                  </a:lnTo>
                  <a:lnTo>
                    <a:pt x="29" y="181"/>
                  </a:lnTo>
                  <a:lnTo>
                    <a:pt x="26" y="183"/>
                  </a:lnTo>
                  <a:lnTo>
                    <a:pt x="23" y="188"/>
                  </a:lnTo>
                  <a:lnTo>
                    <a:pt x="19" y="191"/>
                  </a:lnTo>
                  <a:lnTo>
                    <a:pt x="19" y="193"/>
                  </a:lnTo>
                  <a:lnTo>
                    <a:pt x="18" y="193"/>
                  </a:lnTo>
                  <a:lnTo>
                    <a:pt x="18" y="193"/>
                  </a:lnTo>
                  <a:lnTo>
                    <a:pt x="18" y="191"/>
                  </a:lnTo>
                  <a:lnTo>
                    <a:pt x="18" y="188"/>
                  </a:lnTo>
                  <a:lnTo>
                    <a:pt x="18" y="187"/>
                  </a:lnTo>
                  <a:lnTo>
                    <a:pt x="16" y="188"/>
                  </a:lnTo>
                  <a:lnTo>
                    <a:pt x="16" y="188"/>
                  </a:lnTo>
                  <a:lnTo>
                    <a:pt x="9" y="194"/>
                  </a:lnTo>
                  <a:lnTo>
                    <a:pt x="7" y="199"/>
                  </a:lnTo>
                  <a:lnTo>
                    <a:pt x="7" y="203"/>
                  </a:lnTo>
                  <a:lnTo>
                    <a:pt x="7" y="203"/>
                  </a:lnTo>
                  <a:lnTo>
                    <a:pt x="7" y="210"/>
                  </a:lnTo>
                  <a:lnTo>
                    <a:pt x="6" y="216"/>
                  </a:lnTo>
                  <a:lnTo>
                    <a:pt x="6" y="216"/>
                  </a:lnTo>
                  <a:lnTo>
                    <a:pt x="3" y="223"/>
                  </a:lnTo>
                  <a:lnTo>
                    <a:pt x="3" y="226"/>
                  </a:lnTo>
                  <a:lnTo>
                    <a:pt x="3" y="228"/>
                  </a:lnTo>
                  <a:lnTo>
                    <a:pt x="3" y="228"/>
                  </a:lnTo>
                  <a:lnTo>
                    <a:pt x="3" y="228"/>
                  </a:lnTo>
                  <a:lnTo>
                    <a:pt x="9" y="223"/>
                  </a:lnTo>
                  <a:lnTo>
                    <a:pt x="10" y="222"/>
                  </a:lnTo>
                  <a:lnTo>
                    <a:pt x="10" y="222"/>
                  </a:lnTo>
                  <a:lnTo>
                    <a:pt x="9" y="226"/>
                  </a:lnTo>
                  <a:lnTo>
                    <a:pt x="7" y="229"/>
                  </a:lnTo>
                  <a:lnTo>
                    <a:pt x="6" y="233"/>
                  </a:lnTo>
                  <a:lnTo>
                    <a:pt x="6" y="233"/>
                  </a:lnTo>
                  <a:lnTo>
                    <a:pt x="7" y="239"/>
                  </a:lnTo>
                  <a:lnTo>
                    <a:pt x="10" y="245"/>
                  </a:lnTo>
                  <a:lnTo>
                    <a:pt x="10" y="245"/>
                  </a:lnTo>
                  <a:lnTo>
                    <a:pt x="15" y="254"/>
                  </a:lnTo>
                  <a:lnTo>
                    <a:pt x="15" y="256"/>
                  </a:lnTo>
                  <a:lnTo>
                    <a:pt x="15" y="258"/>
                  </a:lnTo>
                  <a:lnTo>
                    <a:pt x="13" y="258"/>
                  </a:lnTo>
                  <a:lnTo>
                    <a:pt x="13" y="258"/>
                  </a:lnTo>
                  <a:lnTo>
                    <a:pt x="7" y="254"/>
                  </a:lnTo>
                  <a:lnTo>
                    <a:pt x="6" y="252"/>
                  </a:lnTo>
                  <a:lnTo>
                    <a:pt x="6" y="254"/>
                  </a:lnTo>
                  <a:lnTo>
                    <a:pt x="6" y="254"/>
                  </a:lnTo>
                  <a:lnTo>
                    <a:pt x="6" y="258"/>
                  </a:lnTo>
                  <a:lnTo>
                    <a:pt x="6" y="259"/>
                  </a:lnTo>
                  <a:lnTo>
                    <a:pt x="5" y="259"/>
                  </a:lnTo>
                  <a:lnTo>
                    <a:pt x="5" y="259"/>
                  </a:lnTo>
                  <a:lnTo>
                    <a:pt x="2" y="256"/>
                  </a:lnTo>
                  <a:lnTo>
                    <a:pt x="0" y="256"/>
                  </a:lnTo>
                  <a:lnTo>
                    <a:pt x="0" y="258"/>
                  </a:lnTo>
                  <a:lnTo>
                    <a:pt x="0" y="258"/>
                  </a:lnTo>
                  <a:lnTo>
                    <a:pt x="2" y="267"/>
                  </a:lnTo>
                  <a:lnTo>
                    <a:pt x="3" y="271"/>
                  </a:lnTo>
                  <a:lnTo>
                    <a:pt x="5" y="274"/>
                  </a:lnTo>
                  <a:lnTo>
                    <a:pt x="5" y="274"/>
                  </a:lnTo>
                  <a:lnTo>
                    <a:pt x="7" y="277"/>
                  </a:lnTo>
                  <a:lnTo>
                    <a:pt x="10" y="281"/>
                  </a:lnTo>
                  <a:lnTo>
                    <a:pt x="15" y="291"/>
                  </a:lnTo>
                  <a:lnTo>
                    <a:pt x="15" y="291"/>
                  </a:lnTo>
                  <a:lnTo>
                    <a:pt x="19" y="301"/>
                  </a:lnTo>
                  <a:lnTo>
                    <a:pt x="23" y="309"/>
                  </a:lnTo>
                  <a:lnTo>
                    <a:pt x="23" y="309"/>
                  </a:lnTo>
                  <a:lnTo>
                    <a:pt x="28" y="317"/>
                  </a:lnTo>
                  <a:lnTo>
                    <a:pt x="29" y="327"/>
                  </a:lnTo>
                  <a:lnTo>
                    <a:pt x="29" y="327"/>
                  </a:lnTo>
                  <a:lnTo>
                    <a:pt x="32" y="342"/>
                  </a:lnTo>
                  <a:lnTo>
                    <a:pt x="38" y="358"/>
                  </a:lnTo>
                  <a:lnTo>
                    <a:pt x="38" y="358"/>
                  </a:lnTo>
                  <a:lnTo>
                    <a:pt x="41" y="371"/>
                  </a:lnTo>
                  <a:lnTo>
                    <a:pt x="41" y="375"/>
                  </a:lnTo>
                  <a:lnTo>
                    <a:pt x="41" y="377"/>
                  </a:lnTo>
                  <a:lnTo>
                    <a:pt x="41" y="375"/>
                  </a:lnTo>
                  <a:lnTo>
                    <a:pt x="41" y="375"/>
                  </a:lnTo>
                  <a:lnTo>
                    <a:pt x="38" y="372"/>
                  </a:lnTo>
                  <a:lnTo>
                    <a:pt x="36" y="371"/>
                  </a:lnTo>
                  <a:lnTo>
                    <a:pt x="35" y="374"/>
                  </a:lnTo>
                  <a:lnTo>
                    <a:pt x="35" y="374"/>
                  </a:lnTo>
                  <a:lnTo>
                    <a:pt x="32" y="382"/>
                  </a:lnTo>
                  <a:lnTo>
                    <a:pt x="31" y="387"/>
                  </a:lnTo>
                  <a:lnTo>
                    <a:pt x="29" y="390"/>
                  </a:lnTo>
                  <a:lnTo>
                    <a:pt x="29" y="390"/>
                  </a:lnTo>
                  <a:lnTo>
                    <a:pt x="25" y="393"/>
                  </a:lnTo>
                  <a:lnTo>
                    <a:pt x="23" y="394"/>
                  </a:lnTo>
                  <a:lnTo>
                    <a:pt x="22" y="396"/>
                  </a:lnTo>
                  <a:lnTo>
                    <a:pt x="22" y="396"/>
                  </a:lnTo>
                  <a:lnTo>
                    <a:pt x="23" y="401"/>
                  </a:lnTo>
                  <a:lnTo>
                    <a:pt x="26" y="404"/>
                  </a:lnTo>
                  <a:lnTo>
                    <a:pt x="29" y="406"/>
                  </a:lnTo>
                  <a:lnTo>
                    <a:pt x="29" y="406"/>
                  </a:lnTo>
                  <a:lnTo>
                    <a:pt x="32" y="407"/>
                  </a:lnTo>
                  <a:lnTo>
                    <a:pt x="35" y="410"/>
                  </a:lnTo>
                  <a:lnTo>
                    <a:pt x="44" y="416"/>
                  </a:lnTo>
                  <a:lnTo>
                    <a:pt x="44" y="416"/>
                  </a:lnTo>
                  <a:lnTo>
                    <a:pt x="48" y="419"/>
                  </a:lnTo>
                  <a:lnTo>
                    <a:pt x="55" y="420"/>
                  </a:lnTo>
                  <a:lnTo>
                    <a:pt x="61" y="420"/>
                  </a:lnTo>
                  <a:lnTo>
                    <a:pt x="65" y="420"/>
                  </a:lnTo>
                  <a:lnTo>
                    <a:pt x="65" y="420"/>
                  </a:lnTo>
                  <a:lnTo>
                    <a:pt x="75" y="414"/>
                  </a:lnTo>
                  <a:lnTo>
                    <a:pt x="87" y="409"/>
                  </a:lnTo>
                  <a:lnTo>
                    <a:pt x="87" y="409"/>
                  </a:lnTo>
                  <a:lnTo>
                    <a:pt x="91" y="406"/>
                  </a:lnTo>
                  <a:lnTo>
                    <a:pt x="96" y="403"/>
                  </a:lnTo>
                  <a:lnTo>
                    <a:pt x="100" y="400"/>
                  </a:lnTo>
                  <a:lnTo>
                    <a:pt x="104" y="398"/>
                  </a:lnTo>
                  <a:lnTo>
                    <a:pt x="104" y="398"/>
                  </a:lnTo>
                  <a:lnTo>
                    <a:pt x="116" y="397"/>
                  </a:lnTo>
                  <a:lnTo>
                    <a:pt x="125" y="396"/>
                  </a:lnTo>
                  <a:lnTo>
                    <a:pt x="129" y="397"/>
                  </a:lnTo>
                  <a:lnTo>
                    <a:pt x="129" y="397"/>
                  </a:lnTo>
                  <a:lnTo>
                    <a:pt x="136" y="400"/>
                  </a:lnTo>
                  <a:lnTo>
                    <a:pt x="141" y="400"/>
                  </a:lnTo>
                  <a:lnTo>
                    <a:pt x="144" y="398"/>
                  </a:lnTo>
                  <a:lnTo>
                    <a:pt x="144" y="398"/>
                  </a:lnTo>
                  <a:lnTo>
                    <a:pt x="148" y="394"/>
                  </a:lnTo>
                  <a:lnTo>
                    <a:pt x="149" y="394"/>
                  </a:lnTo>
                  <a:lnTo>
                    <a:pt x="151" y="396"/>
                  </a:lnTo>
                  <a:lnTo>
                    <a:pt x="151" y="396"/>
                  </a:lnTo>
                  <a:lnTo>
                    <a:pt x="155" y="398"/>
                  </a:lnTo>
                  <a:lnTo>
                    <a:pt x="157" y="400"/>
                  </a:lnTo>
                  <a:lnTo>
                    <a:pt x="159" y="397"/>
                  </a:lnTo>
                  <a:lnTo>
                    <a:pt x="159" y="397"/>
                  </a:lnTo>
                  <a:lnTo>
                    <a:pt x="162" y="393"/>
                  </a:lnTo>
                  <a:lnTo>
                    <a:pt x="165" y="387"/>
                  </a:lnTo>
                  <a:lnTo>
                    <a:pt x="170" y="382"/>
                  </a:lnTo>
                  <a:lnTo>
                    <a:pt x="171" y="380"/>
                  </a:lnTo>
                  <a:lnTo>
                    <a:pt x="174" y="380"/>
                  </a:lnTo>
                  <a:lnTo>
                    <a:pt x="174" y="380"/>
                  </a:lnTo>
                  <a:lnTo>
                    <a:pt x="181" y="378"/>
                  </a:lnTo>
                  <a:lnTo>
                    <a:pt x="190" y="378"/>
                  </a:lnTo>
                  <a:lnTo>
                    <a:pt x="212" y="378"/>
                  </a:lnTo>
                  <a:lnTo>
                    <a:pt x="212" y="378"/>
                  </a:lnTo>
                  <a:lnTo>
                    <a:pt x="226" y="378"/>
                  </a:lnTo>
                  <a:lnTo>
                    <a:pt x="232" y="377"/>
                  </a:lnTo>
                  <a:lnTo>
                    <a:pt x="238" y="374"/>
                  </a:lnTo>
                  <a:lnTo>
                    <a:pt x="238" y="374"/>
                  </a:lnTo>
                  <a:lnTo>
                    <a:pt x="246" y="371"/>
                  </a:lnTo>
                  <a:lnTo>
                    <a:pt x="257" y="368"/>
                  </a:lnTo>
                  <a:lnTo>
                    <a:pt x="274" y="364"/>
                  </a:lnTo>
                  <a:lnTo>
                    <a:pt x="274" y="364"/>
                  </a:lnTo>
                  <a:lnTo>
                    <a:pt x="285" y="361"/>
                  </a:lnTo>
                  <a:lnTo>
                    <a:pt x="290" y="361"/>
                  </a:lnTo>
                  <a:lnTo>
                    <a:pt x="294" y="362"/>
                  </a:lnTo>
                  <a:lnTo>
                    <a:pt x="294" y="362"/>
                  </a:lnTo>
                  <a:lnTo>
                    <a:pt x="301" y="368"/>
                  </a:lnTo>
                  <a:lnTo>
                    <a:pt x="306" y="369"/>
                  </a:lnTo>
                  <a:lnTo>
                    <a:pt x="313" y="371"/>
                  </a:lnTo>
                  <a:lnTo>
                    <a:pt x="313" y="371"/>
                  </a:lnTo>
                  <a:lnTo>
                    <a:pt x="327" y="372"/>
                  </a:lnTo>
                  <a:lnTo>
                    <a:pt x="332" y="374"/>
                  </a:lnTo>
                  <a:lnTo>
                    <a:pt x="333" y="375"/>
                  </a:lnTo>
                  <a:lnTo>
                    <a:pt x="333" y="375"/>
                  </a:lnTo>
                  <a:lnTo>
                    <a:pt x="333" y="377"/>
                  </a:lnTo>
                  <a:lnTo>
                    <a:pt x="333" y="378"/>
                  </a:lnTo>
                  <a:lnTo>
                    <a:pt x="332" y="380"/>
                  </a:lnTo>
                  <a:lnTo>
                    <a:pt x="333" y="382"/>
                  </a:lnTo>
                  <a:lnTo>
                    <a:pt x="333" y="382"/>
                  </a:lnTo>
                  <a:lnTo>
                    <a:pt x="335" y="384"/>
                  </a:lnTo>
                  <a:lnTo>
                    <a:pt x="336" y="384"/>
                  </a:lnTo>
                  <a:lnTo>
                    <a:pt x="339" y="385"/>
                  </a:lnTo>
                  <a:lnTo>
                    <a:pt x="339" y="388"/>
                  </a:lnTo>
                  <a:lnTo>
                    <a:pt x="339" y="388"/>
                  </a:lnTo>
                  <a:lnTo>
                    <a:pt x="342" y="393"/>
                  </a:lnTo>
                  <a:lnTo>
                    <a:pt x="343" y="397"/>
                  </a:lnTo>
                  <a:lnTo>
                    <a:pt x="348" y="404"/>
                  </a:lnTo>
                  <a:lnTo>
                    <a:pt x="348" y="404"/>
                  </a:lnTo>
                  <a:lnTo>
                    <a:pt x="349" y="410"/>
                  </a:lnTo>
                  <a:lnTo>
                    <a:pt x="352" y="414"/>
                  </a:lnTo>
                  <a:lnTo>
                    <a:pt x="352" y="414"/>
                  </a:lnTo>
                  <a:lnTo>
                    <a:pt x="356" y="419"/>
                  </a:lnTo>
                  <a:lnTo>
                    <a:pt x="359" y="419"/>
                  </a:lnTo>
                  <a:lnTo>
                    <a:pt x="361" y="417"/>
                  </a:lnTo>
                  <a:lnTo>
                    <a:pt x="361" y="417"/>
                  </a:lnTo>
                  <a:lnTo>
                    <a:pt x="361" y="416"/>
                  </a:lnTo>
                  <a:lnTo>
                    <a:pt x="359" y="414"/>
                  </a:lnTo>
                  <a:lnTo>
                    <a:pt x="359" y="413"/>
                  </a:lnTo>
                  <a:lnTo>
                    <a:pt x="362" y="410"/>
                  </a:lnTo>
                  <a:lnTo>
                    <a:pt x="362" y="410"/>
                  </a:lnTo>
                  <a:lnTo>
                    <a:pt x="365" y="406"/>
                  </a:lnTo>
                  <a:lnTo>
                    <a:pt x="367" y="401"/>
                  </a:lnTo>
                  <a:lnTo>
                    <a:pt x="369" y="397"/>
                  </a:lnTo>
                  <a:lnTo>
                    <a:pt x="371" y="394"/>
                  </a:lnTo>
                  <a:lnTo>
                    <a:pt x="374" y="394"/>
                  </a:lnTo>
                  <a:lnTo>
                    <a:pt x="374" y="394"/>
                  </a:lnTo>
                  <a:lnTo>
                    <a:pt x="378" y="394"/>
                  </a:lnTo>
                  <a:lnTo>
                    <a:pt x="380" y="393"/>
                  </a:lnTo>
                  <a:lnTo>
                    <a:pt x="381" y="390"/>
                  </a:lnTo>
                  <a:lnTo>
                    <a:pt x="383" y="388"/>
                  </a:lnTo>
                  <a:lnTo>
                    <a:pt x="383" y="388"/>
                  </a:lnTo>
                  <a:lnTo>
                    <a:pt x="384" y="385"/>
                  </a:lnTo>
                  <a:lnTo>
                    <a:pt x="385" y="384"/>
                  </a:lnTo>
                  <a:lnTo>
                    <a:pt x="388" y="382"/>
                  </a:lnTo>
                  <a:lnTo>
                    <a:pt x="390" y="382"/>
                  </a:lnTo>
                  <a:lnTo>
                    <a:pt x="390" y="382"/>
                  </a:lnTo>
                  <a:lnTo>
                    <a:pt x="390" y="387"/>
                  </a:lnTo>
                  <a:lnTo>
                    <a:pt x="390" y="391"/>
                  </a:lnTo>
                  <a:lnTo>
                    <a:pt x="388" y="394"/>
                  </a:lnTo>
                  <a:lnTo>
                    <a:pt x="388" y="394"/>
                  </a:lnTo>
                  <a:lnTo>
                    <a:pt x="385" y="398"/>
                  </a:lnTo>
                  <a:lnTo>
                    <a:pt x="384" y="406"/>
                  </a:lnTo>
                  <a:lnTo>
                    <a:pt x="383" y="413"/>
                  </a:lnTo>
                  <a:lnTo>
                    <a:pt x="383" y="416"/>
                  </a:lnTo>
                  <a:lnTo>
                    <a:pt x="383" y="416"/>
                  </a:lnTo>
                  <a:lnTo>
                    <a:pt x="378" y="417"/>
                  </a:lnTo>
                  <a:lnTo>
                    <a:pt x="375" y="422"/>
                  </a:lnTo>
                  <a:lnTo>
                    <a:pt x="375" y="422"/>
                  </a:lnTo>
                  <a:lnTo>
                    <a:pt x="375" y="423"/>
                  </a:lnTo>
                  <a:lnTo>
                    <a:pt x="377" y="424"/>
                  </a:lnTo>
                  <a:lnTo>
                    <a:pt x="378" y="424"/>
                  </a:lnTo>
                  <a:lnTo>
                    <a:pt x="381" y="423"/>
                  </a:lnTo>
                  <a:lnTo>
                    <a:pt x="381" y="423"/>
                  </a:lnTo>
                  <a:lnTo>
                    <a:pt x="385" y="420"/>
                  </a:lnTo>
                  <a:lnTo>
                    <a:pt x="388" y="419"/>
                  </a:lnTo>
                  <a:lnTo>
                    <a:pt x="390" y="416"/>
                  </a:lnTo>
                  <a:lnTo>
                    <a:pt x="390" y="416"/>
                  </a:lnTo>
                  <a:lnTo>
                    <a:pt x="393" y="410"/>
                  </a:lnTo>
                  <a:lnTo>
                    <a:pt x="394" y="407"/>
                  </a:lnTo>
                  <a:lnTo>
                    <a:pt x="396" y="409"/>
                  </a:lnTo>
                  <a:lnTo>
                    <a:pt x="396" y="409"/>
                  </a:lnTo>
                  <a:lnTo>
                    <a:pt x="397" y="416"/>
                  </a:lnTo>
                  <a:lnTo>
                    <a:pt x="400" y="423"/>
                  </a:lnTo>
                  <a:lnTo>
                    <a:pt x="400" y="423"/>
                  </a:lnTo>
                  <a:lnTo>
                    <a:pt x="400" y="424"/>
                  </a:lnTo>
                  <a:lnTo>
                    <a:pt x="400" y="426"/>
                  </a:lnTo>
                  <a:lnTo>
                    <a:pt x="397" y="429"/>
                  </a:lnTo>
                  <a:lnTo>
                    <a:pt x="394" y="432"/>
                  </a:lnTo>
                  <a:lnTo>
                    <a:pt x="394" y="432"/>
                  </a:lnTo>
                  <a:lnTo>
                    <a:pt x="394" y="432"/>
                  </a:lnTo>
                  <a:lnTo>
                    <a:pt x="398" y="433"/>
                  </a:lnTo>
                  <a:lnTo>
                    <a:pt x="400" y="433"/>
                  </a:lnTo>
                  <a:lnTo>
                    <a:pt x="403" y="433"/>
                  </a:lnTo>
                  <a:lnTo>
                    <a:pt x="403" y="433"/>
                  </a:lnTo>
                  <a:lnTo>
                    <a:pt x="404" y="430"/>
                  </a:lnTo>
                  <a:lnTo>
                    <a:pt x="406" y="429"/>
                  </a:lnTo>
                  <a:lnTo>
                    <a:pt x="406" y="430"/>
                  </a:lnTo>
                  <a:lnTo>
                    <a:pt x="409" y="433"/>
                  </a:lnTo>
                  <a:lnTo>
                    <a:pt x="409" y="433"/>
                  </a:lnTo>
                  <a:lnTo>
                    <a:pt x="417" y="443"/>
                  </a:lnTo>
                  <a:lnTo>
                    <a:pt x="420" y="449"/>
                  </a:lnTo>
                  <a:lnTo>
                    <a:pt x="422" y="453"/>
                  </a:lnTo>
                  <a:lnTo>
                    <a:pt x="422" y="453"/>
                  </a:lnTo>
                  <a:lnTo>
                    <a:pt x="422" y="458"/>
                  </a:lnTo>
                  <a:lnTo>
                    <a:pt x="422" y="462"/>
                  </a:lnTo>
                  <a:lnTo>
                    <a:pt x="427" y="471"/>
                  </a:lnTo>
                  <a:lnTo>
                    <a:pt x="427" y="471"/>
                  </a:lnTo>
                  <a:lnTo>
                    <a:pt x="432" y="477"/>
                  </a:lnTo>
                  <a:lnTo>
                    <a:pt x="435" y="480"/>
                  </a:lnTo>
                  <a:lnTo>
                    <a:pt x="439" y="481"/>
                  </a:lnTo>
                  <a:lnTo>
                    <a:pt x="439" y="481"/>
                  </a:lnTo>
                  <a:lnTo>
                    <a:pt x="443" y="482"/>
                  </a:lnTo>
                  <a:lnTo>
                    <a:pt x="445" y="484"/>
                  </a:lnTo>
                  <a:lnTo>
                    <a:pt x="446" y="487"/>
                  </a:lnTo>
                  <a:lnTo>
                    <a:pt x="448" y="490"/>
                  </a:lnTo>
                  <a:lnTo>
                    <a:pt x="451" y="488"/>
                  </a:lnTo>
                  <a:lnTo>
                    <a:pt x="451" y="488"/>
                  </a:lnTo>
                  <a:lnTo>
                    <a:pt x="453" y="487"/>
                  </a:lnTo>
                  <a:lnTo>
                    <a:pt x="455" y="484"/>
                  </a:lnTo>
                  <a:lnTo>
                    <a:pt x="455" y="484"/>
                  </a:lnTo>
                  <a:lnTo>
                    <a:pt x="458" y="484"/>
                  </a:lnTo>
                  <a:lnTo>
                    <a:pt x="458" y="484"/>
                  </a:lnTo>
                  <a:lnTo>
                    <a:pt x="468" y="491"/>
                  </a:lnTo>
                  <a:lnTo>
                    <a:pt x="474" y="493"/>
                  </a:lnTo>
                  <a:lnTo>
                    <a:pt x="478" y="494"/>
                  </a:lnTo>
                  <a:lnTo>
                    <a:pt x="478" y="494"/>
                  </a:lnTo>
                  <a:lnTo>
                    <a:pt x="487" y="490"/>
                  </a:lnTo>
                  <a:lnTo>
                    <a:pt x="495" y="487"/>
                  </a:lnTo>
                  <a:lnTo>
                    <a:pt x="495" y="487"/>
                  </a:lnTo>
                  <a:lnTo>
                    <a:pt x="498" y="485"/>
                  </a:lnTo>
                  <a:lnTo>
                    <a:pt x="500" y="482"/>
                  </a:lnTo>
                  <a:lnTo>
                    <a:pt x="503" y="477"/>
                  </a:lnTo>
                  <a:lnTo>
                    <a:pt x="503" y="477"/>
                  </a:lnTo>
                  <a:lnTo>
                    <a:pt x="506" y="478"/>
                  </a:lnTo>
                  <a:lnTo>
                    <a:pt x="511" y="485"/>
                  </a:lnTo>
                  <a:lnTo>
                    <a:pt x="511" y="485"/>
                  </a:lnTo>
                  <a:lnTo>
                    <a:pt x="517" y="493"/>
                  </a:lnTo>
                  <a:lnTo>
                    <a:pt x="519" y="494"/>
                  </a:lnTo>
                  <a:lnTo>
                    <a:pt x="523" y="494"/>
                  </a:lnTo>
                  <a:lnTo>
                    <a:pt x="523" y="494"/>
                  </a:lnTo>
                  <a:lnTo>
                    <a:pt x="529" y="493"/>
                  </a:lnTo>
                  <a:lnTo>
                    <a:pt x="533" y="494"/>
                  </a:lnTo>
                  <a:lnTo>
                    <a:pt x="537" y="493"/>
                  </a:lnTo>
                  <a:lnTo>
                    <a:pt x="540" y="491"/>
                  </a:lnTo>
                  <a:lnTo>
                    <a:pt x="540" y="491"/>
                  </a:lnTo>
                  <a:lnTo>
                    <a:pt x="543" y="488"/>
                  </a:lnTo>
                  <a:lnTo>
                    <a:pt x="545" y="484"/>
                  </a:lnTo>
                  <a:lnTo>
                    <a:pt x="548" y="481"/>
                  </a:lnTo>
                  <a:lnTo>
                    <a:pt x="552" y="480"/>
                  </a:lnTo>
                  <a:lnTo>
                    <a:pt x="552" y="480"/>
                  </a:lnTo>
                  <a:lnTo>
                    <a:pt x="562" y="478"/>
                  </a:lnTo>
                  <a:lnTo>
                    <a:pt x="571" y="474"/>
                  </a:lnTo>
                  <a:lnTo>
                    <a:pt x="571" y="474"/>
                  </a:lnTo>
                  <a:lnTo>
                    <a:pt x="577" y="474"/>
                  </a:lnTo>
                  <a:lnTo>
                    <a:pt x="581" y="472"/>
                  </a:lnTo>
                  <a:lnTo>
                    <a:pt x="584" y="472"/>
                  </a:lnTo>
                  <a:lnTo>
                    <a:pt x="585" y="471"/>
                  </a:lnTo>
                  <a:lnTo>
                    <a:pt x="587" y="469"/>
                  </a:lnTo>
                  <a:lnTo>
                    <a:pt x="587" y="469"/>
                  </a:lnTo>
                  <a:lnTo>
                    <a:pt x="587" y="455"/>
                  </a:lnTo>
                  <a:lnTo>
                    <a:pt x="588" y="448"/>
                  </a:lnTo>
                  <a:lnTo>
                    <a:pt x="590" y="443"/>
                  </a:lnTo>
                  <a:lnTo>
                    <a:pt x="590" y="443"/>
                  </a:lnTo>
                  <a:lnTo>
                    <a:pt x="591" y="440"/>
                  </a:lnTo>
                  <a:lnTo>
                    <a:pt x="593" y="436"/>
                  </a:lnTo>
                  <a:lnTo>
                    <a:pt x="594" y="429"/>
                  </a:lnTo>
                  <a:lnTo>
                    <a:pt x="595" y="423"/>
                  </a:lnTo>
                  <a:lnTo>
                    <a:pt x="595" y="423"/>
                  </a:lnTo>
                  <a:lnTo>
                    <a:pt x="597" y="419"/>
                  </a:lnTo>
                  <a:lnTo>
                    <a:pt x="598" y="414"/>
                  </a:lnTo>
                  <a:lnTo>
                    <a:pt x="598" y="410"/>
                  </a:lnTo>
                  <a:lnTo>
                    <a:pt x="601" y="407"/>
                  </a:lnTo>
                  <a:lnTo>
                    <a:pt x="601" y="407"/>
                  </a:lnTo>
                  <a:lnTo>
                    <a:pt x="604" y="403"/>
                  </a:lnTo>
                  <a:lnTo>
                    <a:pt x="608" y="397"/>
                  </a:lnTo>
                  <a:lnTo>
                    <a:pt x="613" y="391"/>
                  </a:lnTo>
                  <a:lnTo>
                    <a:pt x="617" y="387"/>
                  </a:lnTo>
                  <a:lnTo>
                    <a:pt x="617" y="387"/>
                  </a:lnTo>
                  <a:lnTo>
                    <a:pt x="624" y="382"/>
                  </a:lnTo>
                  <a:lnTo>
                    <a:pt x="632" y="378"/>
                  </a:lnTo>
                  <a:lnTo>
                    <a:pt x="632" y="378"/>
                  </a:lnTo>
                  <a:lnTo>
                    <a:pt x="635" y="375"/>
                  </a:lnTo>
                  <a:lnTo>
                    <a:pt x="637" y="369"/>
                  </a:lnTo>
                  <a:lnTo>
                    <a:pt x="642" y="354"/>
                  </a:lnTo>
                  <a:lnTo>
                    <a:pt x="648" y="338"/>
                  </a:lnTo>
                  <a:lnTo>
                    <a:pt x="649" y="327"/>
                  </a:lnTo>
                  <a:lnTo>
                    <a:pt x="649" y="327"/>
                  </a:lnTo>
                  <a:lnTo>
                    <a:pt x="653" y="310"/>
                  </a:lnTo>
                  <a:lnTo>
                    <a:pt x="653" y="301"/>
                  </a:lnTo>
                  <a:lnTo>
                    <a:pt x="653" y="29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58" name="Freeform 1178"/>
            <p:cNvSpPr>
              <a:spLocks/>
            </p:cNvSpPr>
            <p:nvPr/>
          </p:nvSpPr>
          <p:spPr bwMode="auto">
            <a:xfrm>
              <a:off x="7783513" y="5553076"/>
              <a:ext cx="15875" cy="26988"/>
            </a:xfrm>
            <a:custGeom>
              <a:avLst/>
              <a:gdLst>
                <a:gd name="T0" fmla="*/ 1 w 10"/>
                <a:gd name="T1" fmla="*/ 17 h 17"/>
                <a:gd name="T2" fmla="*/ 1 w 10"/>
                <a:gd name="T3" fmla="*/ 17 h 17"/>
                <a:gd name="T4" fmla="*/ 1 w 10"/>
                <a:gd name="T5" fmla="*/ 14 h 17"/>
                <a:gd name="T6" fmla="*/ 0 w 10"/>
                <a:gd name="T7" fmla="*/ 9 h 17"/>
                <a:gd name="T8" fmla="*/ 1 w 10"/>
                <a:gd name="T9" fmla="*/ 4 h 17"/>
                <a:gd name="T10" fmla="*/ 2 w 10"/>
                <a:gd name="T11" fmla="*/ 1 h 17"/>
                <a:gd name="T12" fmla="*/ 2 w 10"/>
                <a:gd name="T13" fmla="*/ 1 h 17"/>
                <a:gd name="T14" fmla="*/ 2 w 10"/>
                <a:gd name="T15" fmla="*/ 0 h 17"/>
                <a:gd name="T16" fmla="*/ 4 w 10"/>
                <a:gd name="T17" fmla="*/ 1 h 17"/>
                <a:gd name="T18" fmla="*/ 7 w 10"/>
                <a:gd name="T19" fmla="*/ 3 h 17"/>
                <a:gd name="T20" fmla="*/ 10 w 10"/>
                <a:gd name="T21" fmla="*/ 9 h 17"/>
                <a:gd name="T22" fmla="*/ 10 w 10"/>
                <a:gd name="T23" fmla="*/ 9 h 17"/>
                <a:gd name="T24" fmla="*/ 8 w 10"/>
                <a:gd name="T25" fmla="*/ 12 h 17"/>
                <a:gd name="T26" fmla="*/ 7 w 10"/>
                <a:gd name="T27" fmla="*/ 16 h 17"/>
                <a:gd name="T28" fmla="*/ 4 w 10"/>
                <a:gd name="T29" fmla="*/ 17 h 17"/>
                <a:gd name="T30" fmla="*/ 1 w 10"/>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17">
                  <a:moveTo>
                    <a:pt x="1" y="17"/>
                  </a:moveTo>
                  <a:lnTo>
                    <a:pt x="1" y="17"/>
                  </a:lnTo>
                  <a:lnTo>
                    <a:pt x="1" y="14"/>
                  </a:lnTo>
                  <a:lnTo>
                    <a:pt x="0" y="9"/>
                  </a:lnTo>
                  <a:lnTo>
                    <a:pt x="1" y="4"/>
                  </a:lnTo>
                  <a:lnTo>
                    <a:pt x="2" y="1"/>
                  </a:lnTo>
                  <a:lnTo>
                    <a:pt x="2" y="1"/>
                  </a:lnTo>
                  <a:lnTo>
                    <a:pt x="2" y="0"/>
                  </a:lnTo>
                  <a:lnTo>
                    <a:pt x="4" y="1"/>
                  </a:lnTo>
                  <a:lnTo>
                    <a:pt x="7" y="3"/>
                  </a:lnTo>
                  <a:lnTo>
                    <a:pt x="10" y="9"/>
                  </a:lnTo>
                  <a:lnTo>
                    <a:pt x="10" y="9"/>
                  </a:lnTo>
                  <a:lnTo>
                    <a:pt x="8" y="12"/>
                  </a:lnTo>
                  <a:lnTo>
                    <a:pt x="7" y="16"/>
                  </a:lnTo>
                  <a:lnTo>
                    <a:pt x="4" y="17"/>
                  </a:lnTo>
                  <a:lnTo>
                    <a:pt x="1"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59" name="Freeform 1179"/>
            <p:cNvSpPr>
              <a:spLocks/>
            </p:cNvSpPr>
            <p:nvPr/>
          </p:nvSpPr>
          <p:spPr bwMode="auto">
            <a:xfrm>
              <a:off x="7810500" y="5449889"/>
              <a:ext cx="26988" cy="47625"/>
            </a:xfrm>
            <a:custGeom>
              <a:avLst/>
              <a:gdLst>
                <a:gd name="T0" fmla="*/ 0 w 17"/>
                <a:gd name="T1" fmla="*/ 17 h 30"/>
                <a:gd name="T2" fmla="*/ 0 w 17"/>
                <a:gd name="T3" fmla="*/ 17 h 30"/>
                <a:gd name="T4" fmla="*/ 1 w 17"/>
                <a:gd name="T5" fmla="*/ 13 h 30"/>
                <a:gd name="T6" fmla="*/ 1 w 17"/>
                <a:gd name="T7" fmla="*/ 8 h 30"/>
                <a:gd name="T8" fmla="*/ 1 w 17"/>
                <a:gd name="T9" fmla="*/ 6 h 30"/>
                <a:gd name="T10" fmla="*/ 1 w 17"/>
                <a:gd name="T11" fmla="*/ 6 h 30"/>
                <a:gd name="T12" fmla="*/ 1 w 17"/>
                <a:gd name="T13" fmla="*/ 1 h 30"/>
                <a:gd name="T14" fmla="*/ 4 w 17"/>
                <a:gd name="T15" fmla="*/ 0 h 30"/>
                <a:gd name="T16" fmla="*/ 7 w 17"/>
                <a:gd name="T17" fmla="*/ 0 h 30"/>
                <a:gd name="T18" fmla="*/ 10 w 17"/>
                <a:gd name="T19" fmla="*/ 3 h 30"/>
                <a:gd name="T20" fmla="*/ 10 w 17"/>
                <a:gd name="T21" fmla="*/ 3 h 30"/>
                <a:gd name="T22" fmla="*/ 14 w 17"/>
                <a:gd name="T23" fmla="*/ 8 h 30"/>
                <a:gd name="T24" fmla="*/ 14 w 17"/>
                <a:gd name="T25" fmla="*/ 11 h 30"/>
                <a:gd name="T26" fmla="*/ 14 w 17"/>
                <a:gd name="T27" fmla="*/ 11 h 30"/>
                <a:gd name="T28" fmla="*/ 16 w 17"/>
                <a:gd name="T29" fmla="*/ 14 h 30"/>
                <a:gd name="T30" fmla="*/ 17 w 17"/>
                <a:gd name="T31" fmla="*/ 19 h 30"/>
                <a:gd name="T32" fmla="*/ 17 w 17"/>
                <a:gd name="T33" fmla="*/ 22 h 30"/>
                <a:gd name="T34" fmla="*/ 17 w 17"/>
                <a:gd name="T35" fmla="*/ 24 h 30"/>
                <a:gd name="T36" fmla="*/ 17 w 17"/>
                <a:gd name="T37" fmla="*/ 24 h 30"/>
                <a:gd name="T38" fmla="*/ 14 w 17"/>
                <a:gd name="T39" fmla="*/ 29 h 30"/>
                <a:gd name="T40" fmla="*/ 13 w 17"/>
                <a:gd name="T41" fmla="*/ 30 h 30"/>
                <a:gd name="T42" fmla="*/ 10 w 17"/>
                <a:gd name="T43" fmla="*/ 30 h 30"/>
                <a:gd name="T44" fmla="*/ 10 w 17"/>
                <a:gd name="T45" fmla="*/ 30 h 30"/>
                <a:gd name="T46" fmla="*/ 4 w 17"/>
                <a:gd name="T47" fmla="*/ 23 h 30"/>
                <a:gd name="T48" fmla="*/ 0 w 17"/>
                <a:gd name="T49" fmla="*/ 1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 h="30">
                  <a:moveTo>
                    <a:pt x="0" y="17"/>
                  </a:moveTo>
                  <a:lnTo>
                    <a:pt x="0" y="17"/>
                  </a:lnTo>
                  <a:lnTo>
                    <a:pt x="1" y="13"/>
                  </a:lnTo>
                  <a:lnTo>
                    <a:pt x="1" y="8"/>
                  </a:lnTo>
                  <a:lnTo>
                    <a:pt x="1" y="6"/>
                  </a:lnTo>
                  <a:lnTo>
                    <a:pt x="1" y="6"/>
                  </a:lnTo>
                  <a:lnTo>
                    <a:pt x="1" y="1"/>
                  </a:lnTo>
                  <a:lnTo>
                    <a:pt x="4" y="0"/>
                  </a:lnTo>
                  <a:lnTo>
                    <a:pt x="7" y="0"/>
                  </a:lnTo>
                  <a:lnTo>
                    <a:pt x="10" y="3"/>
                  </a:lnTo>
                  <a:lnTo>
                    <a:pt x="10" y="3"/>
                  </a:lnTo>
                  <a:lnTo>
                    <a:pt x="14" y="8"/>
                  </a:lnTo>
                  <a:lnTo>
                    <a:pt x="14" y="11"/>
                  </a:lnTo>
                  <a:lnTo>
                    <a:pt x="14" y="11"/>
                  </a:lnTo>
                  <a:lnTo>
                    <a:pt x="16" y="14"/>
                  </a:lnTo>
                  <a:lnTo>
                    <a:pt x="17" y="19"/>
                  </a:lnTo>
                  <a:lnTo>
                    <a:pt x="17" y="22"/>
                  </a:lnTo>
                  <a:lnTo>
                    <a:pt x="17" y="24"/>
                  </a:lnTo>
                  <a:lnTo>
                    <a:pt x="17" y="24"/>
                  </a:lnTo>
                  <a:lnTo>
                    <a:pt x="14" y="29"/>
                  </a:lnTo>
                  <a:lnTo>
                    <a:pt x="13" y="30"/>
                  </a:lnTo>
                  <a:lnTo>
                    <a:pt x="10" y="30"/>
                  </a:lnTo>
                  <a:lnTo>
                    <a:pt x="10" y="30"/>
                  </a:lnTo>
                  <a:lnTo>
                    <a:pt x="4" y="23"/>
                  </a:lnTo>
                  <a:lnTo>
                    <a:pt x="0"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60" name="Freeform 1180"/>
            <p:cNvSpPr>
              <a:spLocks/>
            </p:cNvSpPr>
            <p:nvPr/>
          </p:nvSpPr>
          <p:spPr bwMode="auto">
            <a:xfrm>
              <a:off x="7820025" y="5527676"/>
              <a:ext cx="20638" cy="41275"/>
            </a:xfrm>
            <a:custGeom>
              <a:avLst/>
              <a:gdLst>
                <a:gd name="T0" fmla="*/ 10 w 13"/>
                <a:gd name="T1" fmla="*/ 26 h 26"/>
                <a:gd name="T2" fmla="*/ 10 w 13"/>
                <a:gd name="T3" fmla="*/ 26 h 26"/>
                <a:gd name="T4" fmla="*/ 8 w 13"/>
                <a:gd name="T5" fmla="*/ 26 h 26"/>
                <a:gd name="T6" fmla="*/ 8 w 13"/>
                <a:gd name="T7" fmla="*/ 25 h 26"/>
                <a:gd name="T8" fmla="*/ 7 w 13"/>
                <a:gd name="T9" fmla="*/ 22 h 26"/>
                <a:gd name="T10" fmla="*/ 8 w 13"/>
                <a:gd name="T11" fmla="*/ 17 h 26"/>
                <a:gd name="T12" fmla="*/ 7 w 13"/>
                <a:gd name="T13" fmla="*/ 15 h 26"/>
                <a:gd name="T14" fmla="*/ 7 w 13"/>
                <a:gd name="T15" fmla="*/ 15 h 26"/>
                <a:gd name="T16" fmla="*/ 1 w 13"/>
                <a:gd name="T17" fmla="*/ 6 h 26"/>
                <a:gd name="T18" fmla="*/ 0 w 13"/>
                <a:gd name="T19" fmla="*/ 1 h 26"/>
                <a:gd name="T20" fmla="*/ 1 w 13"/>
                <a:gd name="T21" fmla="*/ 0 h 26"/>
                <a:gd name="T22" fmla="*/ 3 w 13"/>
                <a:gd name="T23" fmla="*/ 0 h 26"/>
                <a:gd name="T24" fmla="*/ 3 w 13"/>
                <a:gd name="T25" fmla="*/ 0 h 26"/>
                <a:gd name="T26" fmla="*/ 6 w 13"/>
                <a:gd name="T27" fmla="*/ 0 h 26"/>
                <a:gd name="T28" fmla="*/ 7 w 13"/>
                <a:gd name="T29" fmla="*/ 1 h 26"/>
                <a:gd name="T30" fmla="*/ 11 w 13"/>
                <a:gd name="T31" fmla="*/ 6 h 26"/>
                <a:gd name="T32" fmla="*/ 13 w 13"/>
                <a:gd name="T33" fmla="*/ 12 h 26"/>
                <a:gd name="T34" fmla="*/ 13 w 13"/>
                <a:gd name="T35" fmla="*/ 16 h 26"/>
                <a:gd name="T36" fmla="*/ 13 w 13"/>
                <a:gd name="T37" fmla="*/ 16 h 26"/>
                <a:gd name="T38" fmla="*/ 13 w 13"/>
                <a:gd name="T39" fmla="*/ 23 h 26"/>
                <a:gd name="T40" fmla="*/ 11 w 13"/>
                <a:gd name="T41" fmla="*/ 25 h 26"/>
                <a:gd name="T42" fmla="*/ 10 w 13"/>
                <a:gd name="T4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26">
                  <a:moveTo>
                    <a:pt x="10" y="26"/>
                  </a:moveTo>
                  <a:lnTo>
                    <a:pt x="10" y="26"/>
                  </a:lnTo>
                  <a:lnTo>
                    <a:pt x="8" y="26"/>
                  </a:lnTo>
                  <a:lnTo>
                    <a:pt x="8" y="25"/>
                  </a:lnTo>
                  <a:lnTo>
                    <a:pt x="7" y="22"/>
                  </a:lnTo>
                  <a:lnTo>
                    <a:pt x="8" y="17"/>
                  </a:lnTo>
                  <a:lnTo>
                    <a:pt x="7" y="15"/>
                  </a:lnTo>
                  <a:lnTo>
                    <a:pt x="7" y="15"/>
                  </a:lnTo>
                  <a:lnTo>
                    <a:pt x="1" y="6"/>
                  </a:lnTo>
                  <a:lnTo>
                    <a:pt x="0" y="1"/>
                  </a:lnTo>
                  <a:lnTo>
                    <a:pt x="1" y="0"/>
                  </a:lnTo>
                  <a:lnTo>
                    <a:pt x="3" y="0"/>
                  </a:lnTo>
                  <a:lnTo>
                    <a:pt x="3" y="0"/>
                  </a:lnTo>
                  <a:lnTo>
                    <a:pt x="6" y="0"/>
                  </a:lnTo>
                  <a:lnTo>
                    <a:pt x="7" y="1"/>
                  </a:lnTo>
                  <a:lnTo>
                    <a:pt x="11" y="6"/>
                  </a:lnTo>
                  <a:lnTo>
                    <a:pt x="13" y="12"/>
                  </a:lnTo>
                  <a:lnTo>
                    <a:pt x="13" y="16"/>
                  </a:lnTo>
                  <a:lnTo>
                    <a:pt x="13" y="16"/>
                  </a:lnTo>
                  <a:lnTo>
                    <a:pt x="13" y="23"/>
                  </a:lnTo>
                  <a:lnTo>
                    <a:pt x="11" y="25"/>
                  </a:lnTo>
                  <a:lnTo>
                    <a:pt x="1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61" name="Freeform 1220"/>
            <p:cNvSpPr>
              <a:spLocks/>
            </p:cNvSpPr>
            <p:nvPr/>
          </p:nvSpPr>
          <p:spPr bwMode="auto">
            <a:xfrm>
              <a:off x="8029576" y="3460751"/>
              <a:ext cx="22225" cy="20638"/>
            </a:xfrm>
            <a:custGeom>
              <a:avLst/>
              <a:gdLst>
                <a:gd name="T0" fmla="*/ 14 w 14"/>
                <a:gd name="T1" fmla="*/ 0 h 13"/>
                <a:gd name="T2" fmla="*/ 14 w 14"/>
                <a:gd name="T3" fmla="*/ 0 h 13"/>
                <a:gd name="T4" fmla="*/ 11 w 14"/>
                <a:gd name="T5" fmla="*/ 3 h 13"/>
                <a:gd name="T6" fmla="*/ 7 w 14"/>
                <a:gd name="T7" fmla="*/ 7 h 13"/>
                <a:gd name="T8" fmla="*/ 2 w 14"/>
                <a:gd name="T9" fmla="*/ 11 h 13"/>
                <a:gd name="T10" fmla="*/ 0 w 14"/>
                <a:gd name="T11" fmla="*/ 13 h 13"/>
                <a:gd name="T12" fmla="*/ 0 w 14"/>
                <a:gd name="T13" fmla="*/ 11 h 13"/>
                <a:gd name="T14" fmla="*/ 0 w 14"/>
                <a:gd name="T15" fmla="*/ 11 h 13"/>
                <a:gd name="T16" fmla="*/ 1 w 14"/>
                <a:gd name="T17" fmla="*/ 9 h 13"/>
                <a:gd name="T18" fmla="*/ 5 w 14"/>
                <a:gd name="T19" fmla="*/ 4 h 13"/>
                <a:gd name="T20" fmla="*/ 11 w 14"/>
                <a:gd name="T21" fmla="*/ 0 h 13"/>
                <a:gd name="T22" fmla="*/ 14 w 14"/>
                <a:gd name="T2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3">
                  <a:moveTo>
                    <a:pt x="14" y="0"/>
                  </a:moveTo>
                  <a:lnTo>
                    <a:pt x="14" y="0"/>
                  </a:lnTo>
                  <a:lnTo>
                    <a:pt x="11" y="3"/>
                  </a:lnTo>
                  <a:lnTo>
                    <a:pt x="7" y="7"/>
                  </a:lnTo>
                  <a:lnTo>
                    <a:pt x="2" y="11"/>
                  </a:lnTo>
                  <a:lnTo>
                    <a:pt x="0" y="13"/>
                  </a:lnTo>
                  <a:lnTo>
                    <a:pt x="0" y="11"/>
                  </a:lnTo>
                  <a:lnTo>
                    <a:pt x="0" y="11"/>
                  </a:lnTo>
                  <a:lnTo>
                    <a:pt x="1" y="9"/>
                  </a:lnTo>
                  <a:lnTo>
                    <a:pt x="5" y="4"/>
                  </a:lnTo>
                  <a:lnTo>
                    <a:pt x="11" y="0"/>
                  </a:lnTo>
                  <a:lnTo>
                    <a:pt x="14" y="0"/>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62" name="Freeform 1221"/>
            <p:cNvSpPr>
              <a:spLocks/>
            </p:cNvSpPr>
            <p:nvPr/>
          </p:nvSpPr>
          <p:spPr bwMode="auto">
            <a:xfrm>
              <a:off x="8029576" y="3460751"/>
              <a:ext cx="22225" cy="20638"/>
            </a:xfrm>
            <a:custGeom>
              <a:avLst/>
              <a:gdLst>
                <a:gd name="T0" fmla="*/ 14 w 14"/>
                <a:gd name="T1" fmla="*/ 0 h 13"/>
                <a:gd name="T2" fmla="*/ 14 w 14"/>
                <a:gd name="T3" fmla="*/ 0 h 13"/>
                <a:gd name="T4" fmla="*/ 11 w 14"/>
                <a:gd name="T5" fmla="*/ 3 h 13"/>
                <a:gd name="T6" fmla="*/ 7 w 14"/>
                <a:gd name="T7" fmla="*/ 7 h 13"/>
                <a:gd name="T8" fmla="*/ 2 w 14"/>
                <a:gd name="T9" fmla="*/ 11 h 13"/>
                <a:gd name="T10" fmla="*/ 0 w 14"/>
                <a:gd name="T11" fmla="*/ 13 h 13"/>
                <a:gd name="T12" fmla="*/ 0 w 14"/>
                <a:gd name="T13" fmla="*/ 11 h 13"/>
                <a:gd name="T14" fmla="*/ 0 w 14"/>
                <a:gd name="T15" fmla="*/ 11 h 13"/>
                <a:gd name="T16" fmla="*/ 1 w 14"/>
                <a:gd name="T17" fmla="*/ 9 h 13"/>
                <a:gd name="T18" fmla="*/ 5 w 14"/>
                <a:gd name="T19" fmla="*/ 4 h 13"/>
                <a:gd name="T20" fmla="*/ 11 w 14"/>
                <a:gd name="T21" fmla="*/ 0 h 13"/>
                <a:gd name="T22" fmla="*/ 14 w 14"/>
                <a:gd name="T2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3">
                  <a:moveTo>
                    <a:pt x="14" y="0"/>
                  </a:moveTo>
                  <a:lnTo>
                    <a:pt x="14" y="0"/>
                  </a:lnTo>
                  <a:lnTo>
                    <a:pt x="11" y="3"/>
                  </a:lnTo>
                  <a:lnTo>
                    <a:pt x="7" y="7"/>
                  </a:lnTo>
                  <a:lnTo>
                    <a:pt x="2" y="11"/>
                  </a:lnTo>
                  <a:lnTo>
                    <a:pt x="0" y="13"/>
                  </a:lnTo>
                  <a:lnTo>
                    <a:pt x="0" y="11"/>
                  </a:lnTo>
                  <a:lnTo>
                    <a:pt x="0" y="11"/>
                  </a:lnTo>
                  <a:lnTo>
                    <a:pt x="1" y="9"/>
                  </a:lnTo>
                  <a:lnTo>
                    <a:pt x="5" y="4"/>
                  </a:lnTo>
                  <a:lnTo>
                    <a:pt x="11"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63" name="Freeform 1222"/>
            <p:cNvSpPr>
              <a:spLocks/>
            </p:cNvSpPr>
            <p:nvPr/>
          </p:nvSpPr>
          <p:spPr bwMode="auto">
            <a:xfrm>
              <a:off x="8066088" y="3419476"/>
              <a:ext cx="42863" cy="36513"/>
            </a:xfrm>
            <a:custGeom>
              <a:avLst/>
              <a:gdLst>
                <a:gd name="T0" fmla="*/ 1 w 27"/>
                <a:gd name="T1" fmla="*/ 23 h 23"/>
                <a:gd name="T2" fmla="*/ 1 w 27"/>
                <a:gd name="T3" fmla="*/ 23 h 23"/>
                <a:gd name="T4" fmla="*/ 0 w 27"/>
                <a:gd name="T5" fmla="*/ 22 h 23"/>
                <a:gd name="T6" fmla="*/ 1 w 27"/>
                <a:gd name="T7" fmla="*/ 19 h 23"/>
                <a:gd name="T8" fmla="*/ 6 w 27"/>
                <a:gd name="T9" fmla="*/ 13 h 23"/>
                <a:gd name="T10" fmla="*/ 10 w 27"/>
                <a:gd name="T11" fmla="*/ 8 h 23"/>
                <a:gd name="T12" fmla="*/ 14 w 27"/>
                <a:gd name="T13" fmla="*/ 7 h 23"/>
                <a:gd name="T14" fmla="*/ 14 w 27"/>
                <a:gd name="T15" fmla="*/ 7 h 23"/>
                <a:gd name="T16" fmla="*/ 17 w 27"/>
                <a:gd name="T17" fmla="*/ 6 h 23"/>
                <a:gd name="T18" fmla="*/ 21 w 27"/>
                <a:gd name="T19" fmla="*/ 4 h 23"/>
                <a:gd name="T20" fmla="*/ 27 w 27"/>
                <a:gd name="T21" fmla="*/ 0 h 23"/>
                <a:gd name="T22" fmla="*/ 27 w 27"/>
                <a:gd name="T23" fmla="*/ 0 h 23"/>
                <a:gd name="T24" fmla="*/ 24 w 27"/>
                <a:gd name="T25" fmla="*/ 4 h 23"/>
                <a:gd name="T26" fmla="*/ 16 w 27"/>
                <a:gd name="T27" fmla="*/ 13 h 23"/>
                <a:gd name="T28" fmla="*/ 6 w 27"/>
                <a:gd name="T29" fmla="*/ 20 h 23"/>
                <a:gd name="T30" fmla="*/ 1 w 27"/>
                <a:gd name="T3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3">
                  <a:moveTo>
                    <a:pt x="1" y="23"/>
                  </a:moveTo>
                  <a:lnTo>
                    <a:pt x="1" y="23"/>
                  </a:lnTo>
                  <a:lnTo>
                    <a:pt x="0" y="22"/>
                  </a:lnTo>
                  <a:lnTo>
                    <a:pt x="1" y="19"/>
                  </a:lnTo>
                  <a:lnTo>
                    <a:pt x="6" y="13"/>
                  </a:lnTo>
                  <a:lnTo>
                    <a:pt x="10" y="8"/>
                  </a:lnTo>
                  <a:lnTo>
                    <a:pt x="14" y="7"/>
                  </a:lnTo>
                  <a:lnTo>
                    <a:pt x="14" y="7"/>
                  </a:lnTo>
                  <a:lnTo>
                    <a:pt x="17" y="6"/>
                  </a:lnTo>
                  <a:lnTo>
                    <a:pt x="21" y="4"/>
                  </a:lnTo>
                  <a:lnTo>
                    <a:pt x="27" y="0"/>
                  </a:lnTo>
                  <a:lnTo>
                    <a:pt x="27" y="0"/>
                  </a:lnTo>
                  <a:lnTo>
                    <a:pt x="24" y="4"/>
                  </a:lnTo>
                  <a:lnTo>
                    <a:pt x="16" y="13"/>
                  </a:lnTo>
                  <a:lnTo>
                    <a:pt x="6" y="20"/>
                  </a:lnTo>
                  <a:lnTo>
                    <a:pt x="1" y="23"/>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64" name="Freeform 1223"/>
            <p:cNvSpPr>
              <a:spLocks/>
            </p:cNvSpPr>
            <p:nvPr/>
          </p:nvSpPr>
          <p:spPr bwMode="auto">
            <a:xfrm>
              <a:off x="8066088" y="3419476"/>
              <a:ext cx="42863" cy="36513"/>
            </a:xfrm>
            <a:custGeom>
              <a:avLst/>
              <a:gdLst>
                <a:gd name="T0" fmla="*/ 1 w 27"/>
                <a:gd name="T1" fmla="*/ 23 h 23"/>
                <a:gd name="T2" fmla="*/ 1 w 27"/>
                <a:gd name="T3" fmla="*/ 23 h 23"/>
                <a:gd name="T4" fmla="*/ 0 w 27"/>
                <a:gd name="T5" fmla="*/ 22 h 23"/>
                <a:gd name="T6" fmla="*/ 1 w 27"/>
                <a:gd name="T7" fmla="*/ 19 h 23"/>
                <a:gd name="T8" fmla="*/ 6 w 27"/>
                <a:gd name="T9" fmla="*/ 13 h 23"/>
                <a:gd name="T10" fmla="*/ 10 w 27"/>
                <a:gd name="T11" fmla="*/ 8 h 23"/>
                <a:gd name="T12" fmla="*/ 14 w 27"/>
                <a:gd name="T13" fmla="*/ 7 h 23"/>
                <a:gd name="T14" fmla="*/ 14 w 27"/>
                <a:gd name="T15" fmla="*/ 7 h 23"/>
                <a:gd name="T16" fmla="*/ 17 w 27"/>
                <a:gd name="T17" fmla="*/ 6 h 23"/>
                <a:gd name="T18" fmla="*/ 21 w 27"/>
                <a:gd name="T19" fmla="*/ 4 h 23"/>
                <a:gd name="T20" fmla="*/ 27 w 27"/>
                <a:gd name="T21" fmla="*/ 0 h 23"/>
                <a:gd name="T22" fmla="*/ 27 w 27"/>
                <a:gd name="T23" fmla="*/ 0 h 23"/>
                <a:gd name="T24" fmla="*/ 24 w 27"/>
                <a:gd name="T25" fmla="*/ 4 h 23"/>
                <a:gd name="T26" fmla="*/ 16 w 27"/>
                <a:gd name="T27" fmla="*/ 13 h 23"/>
                <a:gd name="T28" fmla="*/ 6 w 27"/>
                <a:gd name="T29" fmla="*/ 20 h 23"/>
                <a:gd name="T30" fmla="*/ 1 w 27"/>
                <a:gd name="T3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3">
                  <a:moveTo>
                    <a:pt x="1" y="23"/>
                  </a:moveTo>
                  <a:lnTo>
                    <a:pt x="1" y="23"/>
                  </a:lnTo>
                  <a:lnTo>
                    <a:pt x="0" y="22"/>
                  </a:lnTo>
                  <a:lnTo>
                    <a:pt x="1" y="19"/>
                  </a:lnTo>
                  <a:lnTo>
                    <a:pt x="6" y="13"/>
                  </a:lnTo>
                  <a:lnTo>
                    <a:pt x="10" y="8"/>
                  </a:lnTo>
                  <a:lnTo>
                    <a:pt x="14" y="7"/>
                  </a:lnTo>
                  <a:lnTo>
                    <a:pt x="14" y="7"/>
                  </a:lnTo>
                  <a:lnTo>
                    <a:pt x="17" y="6"/>
                  </a:lnTo>
                  <a:lnTo>
                    <a:pt x="21" y="4"/>
                  </a:lnTo>
                  <a:lnTo>
                    <a:pt x="27" y="0"/>
                  </a:lnTo>
                  <a:lnTo>
                    <a:pt x="27" y="0"/>
                  </a:lnTo>
                  <a:lnTo>
                    <a:pt x="24" y="4"/>
                  </a:lnTo>
                  <a:lnTo>
                    <a:pt x="16" y="13"/>
                  </a:lnTo>
                  <a:lnTo>
                    <a:pt x="6" y="20"/>
                  </a:lnTo>
                  <a:lnTo>
                    <a:pt x="1"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65" name="Freeform 1224"/>
            <p:cNvSpPr>
              <a:spLocks/>
            </p:cNvSpPr>
            <p:nvPr/>
          </p:nvSpPr>
          <p:spPr bwMode="auto">
            <a:xfrm>
              <a:off x="8128001" y="3390901"/>
              <a:ext cx="17463" cy="20638"/>
            </a:xfrm>
            <a:custGeom>
              <a:avLst/>
              <a:gdLst>
                <a:gd name="T0" fmla="*/ 1 w 11"/>
                <a:gd name="T1" fmla="*/ 13 h 13"/>
                <a:gd name="T2" fmla="*/ 1 w 11"/>
                <a:gd name="T3" fmla="*/ 13 h 13"/>
                <a:gd name="T4" fmla="*/ 0 w 11"/>
                <a:gd name="T5" fmla="*/ 12 h 13"/>
                <a:gd name="T6" fmla="*/ 1 w 11"/>
                <a:gd name="T7" fmla="*/ 11 h 13"/>
                <a:gd name="T8" fmla="*/ 4 w 11"/>
                <a:gd name="T9" fmla="*/ 6 h 13"/>
                <a:gd name="T10" fmla="*/ 9 w 11"/>
                <a:gd name="T11" fmla="*/ 2 h 13"/>
                <a:gd name="T12" fmla="*/ 10 w 11"/>
                <a:gd name="T13" fmla="*/ 0 h 13"/>
                <a:gd name="T14" fmla="*/ 11 w 11"/>
                <a:gd name="T15" fmla="*/ 2 h 13"/>
                <a:gd name="T16" fmla="*/ 11 w 11"/>
                <a:gd name="T17" fmla="*/ 2 h 13"/>
                <a:gd name="T18" fmla="*/ 11 w 11"/>
                <a:gd name="T19" fmla="*/ 3 h 13"/>
                <a:gd name="T20" fmla="*/ 11 w 11"/>
                <a:gd name="T21" fmla="*/ 5 h 13"/>
                <a:gd name="T22" fmla="*/ 9 w 11"/>
                <a:gd name="T23" fmla="*/ 9 h 13"/>
                <a:gd name="T24" fmla="*/ 4 w 11"/>
                <a:gd name="T25" fmla="*/ 12 h 13"/>
                <a:gd name="T26" fmla="*/ 1 w 11"/>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3">
                  <a:moveTo>
                    <a:pt x="1" y="13"/>
                  </a:moveTo>
                  <a:lnTo>
                    <a:pt x="1" y="13"/>
                  </a:lnTo>
                  <a:lnTo>
                    <a:pt x="0" y="12"/>
                  </a:lnTo>
                  <a:lnTo>
                    <a:pt x="1" y="11"/>
                  </a:lnTo>
                  <a:lnTo>
                    <a:pt x="4" y="6"/>
                  </a:lnTo>
                  <a:lnTo>
                    <a:pt x="9" y="2"/>
                  </a:lnTo>
                  <a:lnTo>
                    <a:pt x="10" y="0"/>
                  </a:lnTo>
                  <a:lnTo>
                    <a:pt x="11" y="2"/>
                  </a:lnTo>
                  <a:lnTo>
                    <a:pt x="11" y="2"/>
                  </a:lnTo>
                  <a:lnTo>
                    <a:pt x="11" y="3"/>
                  </a:lnTo>
                  <a:lnTo>
                    <a:pt x="11" y="5"/>
                  </a:lnTo>
                  <a:lnTo>
                    <a:pt x="9" y="9"/>
                  </a:lnTo>
                  <a:lnTo>
                    <a:pt x="4" y="12"/>
                  </a:lnTo>
                  <a:lnTo>
                    <a:pt x="1" y="13"/>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66" name="Freeform 1225"/>
            <p:cNvSpPr>
              <a:spLocks/>
            </p:cNvSpPr>
            <p:nvPr/>
          </p:nvSpPr>
          <p:spPr bwMode="auto">
            <a:xfrm>
              <a:off x="8128001" y="3390901"/>
              <a:ext cx="17463" cy="20638"/>
            </a:xfrm>
            <a:custGeom>
              <a:avLst/>
              <a:gdLst>
                <a:gd name="T0" fmla="*/ 1 w 11"/>
                <a:gd name="T1" fmla="*/ 13 h 13"/>
                <a:gd name="T2" fmla="*/ 1 w 11"/>
                <a:gd name="T3" fmla="*/ 13 h 13"/>
                <a:gd name="T4" fmla="*/ 0 w 11"/>
                <a:gd name="T5" fmla="*/ 12 h 13"/>
                <a:gd name="T6" fmla="*/ 1 w 11"/>
                <a:gd name="T7" fmla="*/ 11 h 13"/>
                <a:gd name="T8" fmla="*/ 4 w 11"/>
                <a:gd name="T9" fmla="*/ 6 h 13"/>
                <a:gd name="T10" fmla="*/ 9 w 11"/>
                <a:gd name="T11" fmla="*/ 2 h 13"/>
                <a:gd name="T12" fmla="*/ 10 w 11"/>
                <a:gd name="T13" fmla="*/ 0 h 13"/>
                <a:gd name="T14" fmla="*/ 11 w 11"/>
                <a:gd name="T15" fmla="*/ 2 h 13"/>
                <a:gd name="T16" fmla="*/ 11 w 11"/>
                <a:gd name="T17" fmla="*/ 2 h 13"/>
                <a:gd name="T18" fmla="*/ 11 w 11"/>
                <a:gd name="T19" fmla="*/ 3 h 13"/>
                <a:gd name="T20" fmla="*/ 11 w 11"/>
                <a:gd name="T21" fmla="*/ 5 h 13"/>
                <a:gd name="T22" fmla="*/ 9 w 11"/>
                <a:gd name="T23" fmla="*/ 9 h 13"/>
                <a:gd name="T24" fmla="*/ 4 w 11"/>
                <a:gd name="T25" fmla="*/ 12 h 13"/>
                <a:gd name="T26" fmla="*/ 1 w 11"/>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3">
                  <a:moveTo>
                    <a:pt x="1" y="13"/>
                  </a:moveTo>
                  <a:lnTo>
                    <a:pt x="1" y="13"/>
                  </a:lnTo>
                  <a:lnTo>
                    <a:pt x="0" y="12"/>
                  </a:lnTo>
                  <a:lnTo>
                    <a:pt x="1" y="11"/>
                  </a:lnTo>
                  <a:lnTo>
                    <a:pt x="4" y="6"/>
                  </a:lnTo>
                  <a:lnTo>
                    <a:pt x="9" y="2"/>
                  </a:lnTo>
                  <a:lnTo>
                    <a:pt x="10" y="0"/>
                  </a:lnTo>
                  <a:lnTo>
                    <a:pt x="11" y="2"/>
                  </a:lnTo>
                  <a:lnTo>
                    <a:pt x="11" y="2"/>
                  </a:lnTo>
                  <a:lnTo>
                    <a:pt x="11" y="3"/>
                  </a:lnTo>
                  <a:lnTo>
                    <a:pt x="11" y="5"/>
                  </a:lnTo>
                  <a:lnTo>
                    <a:pt x="9" y="9"/>
                  </a:lnTo>
                  <a:lnTo>
                    <a:pt x="4" y="12"/>
                  </a:lnTo>
                  <a:lnTo>
                    <a:pt x="1"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67" name="Freeform 1226"/>
            <p:cNvSpPr>
              <a:spLocks/>
            </p:cNvSpPr>
            <p:nvPr/>
          </p:nvSpPr>
          <p:spPr bwMode="auto">
            <a:xfrm>
              <a:off x="8178801" y="3357563"/>
              <a:ext cx="11113" cy="12700"/>
            </a:xfrm>
            <a:custGeom>
              <a:avLst/>
              <a:gdLst>
                <a:gd name="T0" fmla="*/ 7 w 7"/>
                <a:gd name="T1" fmla="*/ 0 h 8"/>
                <a:gd name="T2" fmla="*/ 7 w 7"/>
                <a:gd name="T3" fmla="*/ 0 h 8"/>
                <a:gd name="T4" fmla="*/ 4 w 7"/>
                <a:gd name="T5" fmla="*/ 0 h 8"/>
                <a:gd name="T6" fmla="*/ 1 w 7"/>
                <a:gd name="T7" fmla="*/ 1 h 8"/>
                <a:gd name="T8" fmla="*/ 0 w 7"/>
                <a:gd name="T9" fmla="*/ 4 h 8"/>
                <a:gd name="T10" fmla="*/ 0 w 7"/>
                <a:gd name="T11" fmla="*/ 7 h 8"/>
                <a:gd name="T12" fmla="*/ 0 w 7"/>
                <a:gd name="T13" fmla="*/ 7 h 8"/>
                <a:gd name="T14" fmla="*/ 1 w 7"/>
                <a:gd name="T15" fmla="*/ 8 h 8"/>
                <a:gd name="T16" fmla="*/ 3 w 7"/>
                <a:gd name="T17" fmla="*/ 8 h 8"/>
                <a:gd name="T18" fmla="*/ 5 w 7"/>
                <a:gd name="T19" fmla="*/ 5 h 8"/>
                <a:gd name="T20" fmla="*/ 7 w 7"/>
                <a:gd name="T21" fmla="*/ 3 h 8"/>
                <a:gd name="T22" fmla="*/ 7 w 7"/>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7" y="0"/>
                  </a:moveTo>
                  <a:lnTo>
                    <a:pt x="7" y="0"/>
                  </a:lnTo>
                  <a:lnTo>
                    <a:pt x="4" y="0"/>
                  </a:lnTo>
                  <a:lnTo>
                    <a:pt x="1" y="1"/>
                  </a:lnTo>
                  <a:lnTo>
                    <a:pt x="0" y="4"/>
                  </a:lnTo>
                  <a:lnTo>
                    <a:pt x="0" y="7"/>
                  </a:lnTo>
                  <a:lnTo>
                    <a:pt x="0" y="7"/>
                  </a:lnTo>
                  <a:lnTo>
                    <a:pt x="1" y="8"/>
                  </a:lnTo>
                  <a:lnTo>
                    <a:pt x="3" y="8"/>
                  </a:lnTo>
                  <a:lnTo>
                    <a:pt x="5" y="5"/>
                  </a:lnTo>
                  <a:lnTo>
                    <a:pt x="7" y="3"/>
                  </a:lnTo>
                  <a:lnTo>
                    <a:pt x="7" y="0"/>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68" name="Freeform 1227"/>
            <p:cNvSpPr>
              <a:spLocks/>
            </p:cNvSpPr>
            <p:nvPr/>
          </p:nvSpPr>
          <p:spPr bwMode="auto">
            <a:xfrm>
              <a:off x="8178801" y="3357563"/>
              <a:ext cx="11113" cy="12700"/>
            </a:xfrm>
            <a:custGeom>
              <a:avLst/>
              <a:gdLst>
                <a:gd name="T0" fmla="*/ 7 w 7"/>
                <a:gd name="T1" fmla="*/ 0 h 8"/>
                <a:gd name="T2" fmla="*/ 7 w 7"/>
                <a:gd name="T3" fmla="*/ 0 h 8"/>
                <a:gd name="T4" fmla="*/ 4 w 7"/>
                <a:gd name="T5" fmla="*/ 0 h 8"/>
                <a:gd name="T6" fmla="*/ 1 w 7"/>
                <a:gd name="T7" fmla="*/ 1 h 8"/>
                <a:gd name="T8" fmla="*/ 0 w 7"/>
                <a:gd name="T9" fmla="*/ 4 h 8"/>
                <a:gd name="T10" fmla="*/ 0 w 7"/>
                <a:gd name="T11" fmla="*/ 7 h 8"/>
                <a:gd name="T12" fmla="*/ 0 w 7"/>
                <a:gd name="T13" fmla="*/ 7 h 8"/>
                <a:gd name="T14" fmla="*/ 1 w 7"/>
                <a:gd name="T15" fmla="*/ 8 h 8"/>
                <a:gd name="T16" fmla="*/ 3 w 7"/>
                <a:gd name="T17" fmla="*/ 8 h 8"/>
                <a:gd name="T18" fmla="*/ 5 w 7"/>
                <a:gd name="T19" fmla="*/ 5 h 8"/>
                <a:gd name="T20" fmla="*/ 7 w 7"/>
                <a:gd name="T21" fmla="*/ 3 h 8"/>
                <a:gd name="T22" fmla="*/ 7 w 7"/>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7" y="0"/>
                  </a:moveTo>
                  <a:lnTo>
                    <a:pt x="7" y="0"/>
                  </a:lnTo>
                  <a:lnTo>
                    <a:pt x="4" y="0"/>
                  </a:lnTo>
                  <a:lnTo>
                    <a:pt x="1" y="1"/>
                  </a:lnTo>
                  <a:lnTo>
                    <a:pt x="0" y="4"/>
                  </a:lnTo>
                  <a:lnTo>
                    <a:pt x="0" y="7"/>
                  </a:lnTo>
                  <a:lnTo>
                    <a:pt x="0" y="7"/>
                  </a:lnTo>
                  <a:lnTo>
                    <a:pt x="1" y="8"/>
                  </a:lnTo>
                  <a:lnTo>
                    <a:pt x="3" y="8"/>
                  </a:lnTo>
                  <a:lnTo>
                    <a:pt x="5" y="5"/>
                  </a:lnTo>
                  <a:lnTo>
                    <a:pt x="7" y="3"/>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69" name="Freeform 1228"/>
            <p:cNvSpPr>
              <a:spLocks/>
            </p:cNvSpPr>
            <p:nvPr/>
          </p:nvSpPr>
          <p:spPr bwMode="auto">
            <a:xfrm>
              <a:off x="8267701" y="3224213"/>
              <a:ext cx="25400" cy="22225"/>
            </a:xfrm>
            <a:custGeom>
              <a:avLst/>
              <a:gdLst>
                <a:gd name="T0" fmla="*/ 16 w 16"/>
                <a:gd name="T1" fmla="*/ 0 h 14"/>
                <a:gd name="T2" fmla="*/ 16 w 16"/>
                <a:gd name="T3" fmla="*/ 0 h 14"/>
                <a:gd name="T4" fmla="*/ 13 w 16"/>
                <a:gd name="T5" fmla="*/ 0 h 14"/>
                <a:gd name="T6" fmla="*/ 12 w 16"/>
                <a:gd name="T7" fmla="*/ 1 h 14"/>
                <a:gd name="T8" fmla="*/ 9 w 16"/>
                <a:gd name="T9" fmla="*/ 3 h 14"/>
                <a:gd name="T10" fmla="*/ 6 w 16"/>
                <a:gd name="T11" fmla="*/ 4 h 14"/>
                <a:gd name="T12" fmla="*/ 6 w 16"/>
                <a:gd name="T13" fmla="*/ 4 h 14"/>
                <a:gd name="T14" fmla="*/ 3 w 16"/>
                <a:gd name="T15" fmla="*/ 7 h 14"/>
                <a:gd name="T16" fmla="*/ 0 w 16"/>
                <a:gd name="T17" fmla="*/ 10 h 14"/>
                <a:gd name="T18" fmla="*/ 0 w 16"/>
                <a:gd name="T19" fmla="*/ 13 h 14"/>
                <a:gd name="T20" fmla="*/ 2 w 16"/>
                <a:gd name="T21" fmla="*/ 14 h 14"/>
                <a:gd name="T22" fmla="*/ 2 w 16"/>
                <a:gd name="T23" fmla="*/ 14 h 14"/>
                <a:gd name="T24" fmla="*/ 6 w 16"/>
                <a:gd name="T25" fmla="*/ 13 h 14"/>
                <a:gd name="T26" fmla="*/ 12 w 16"/>
                <a:gd name="T27" fmla="*/ 7 h 14"/>
                <a:gd name="T28" fmla="*/ 16 w 16"/>
                <a:gd name="T29" fmla="*/ 1 h 14"/>
                <a:gd name="T30" fmla="*/ 16 w 16"/>
                <a:gd name="T31" fmla="*/ 0 h 14"/>
                <a:gd name="T32" fmla="*/ 16 w 16"/>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4">
                  <a:moveTo>
                    <a:pt x="16" y="0"/>
                  </a:moveTo>
                  <a:lnTo>
                    <a:pt x="16" y="0"/>
                  </a:lnTo>
                  <a:lnTo>
                    <a:pt x="13" y="0"/>
                  </a:lnTo>
                  <a:lnTo>
                    <a:pt x="12" y="1"/>
                  </a:lnTo>
                  <a:lnTo>
                    <a:pt x="9" y="3"/>
                  </a:lnTo>
                  <a:lnTo>
                    <a:pt x="6" y="4"/>
                  </a:lnTo>
                  <a:lnTo>
                    <a:pt x="6" y="4"/>
                  </a:lnTo>
                  <a:lnTo>
                    <a:pt x="3" y="7"/>
                  </a:lnTo>
                  <a:lnTo>
                    <a:pt x="0" y="10"/>
                  </a:lnTo>
                  <a:lnTo>
                    <a:pt x="0" y="13"/>
                  </a:lnTo>
                  <a:lnTo>
                    <a:pt x="2" y="14"/>
                  </a:lnTo>
                  <a:lnTo>
                    <a:pt x="2" y="14"/>
                  </a:lnTo>
                  <a:lnTo>
                    <a:pt x="6" y="13"/>
                  </a:lnTo>
                  <a:lnTo>
                    <a:pt x="12" y="7"/>
                  </a:lnTo>
                  <a:lnTo>
                    <a:pt x="16" y="1"/>
                  </a:lnTo>
                  <a:lnTo>
                    <a:pt x="16" y="0"/>
                  </a:lnTo>
                  <a:lnTo>
                    <a:pt x="16" y="0"/>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70" name="Freeform 1229"/>
            <p:cNvSpPr>
              <a:spLocks/>
            </p:cNvSpPr>
            <p:nvPr/>
          </p:nvSpPr>
          <p:spPr bwMode="auto">
            <a:xfrm>
              <a:off x="8267701" y="3224213"/>
              <a:ext cx="25400" cy="22225"/>
            </a:xfrm>
            <a:custGeom>
              <a:avLst/>
              <a:gdLst>
                <a:gd name="T0" fmla="*/ 16 w 16"/>
                <a:gd name="T1" fmla="*/ 0 h 14"/>
                <a:gd name="T2" fmla="*/ 16 w 16"/>
                <a:gd name="T3" fmla="*/ 0 h 14"/>
                <a:gd name="T4" fmla="*/ 13 w 16"/>
                <a:gd name="T5" fmla="*/ 0 h 14"/>
                <a:gd name="T6" fmla="*/ 12 w 16"/>
                <a:gd name="T7" fmla="*/ 1 h 14"/>
                <a:gd name="T8" fmla="*/ 9 w 16"/>
                <a:gd name="T9" fmla="*/ 3 h 14"/>
                <a:gd name="T10" fmla="*/ 6 w 16"/>
                <a:gd name="T11" fmla="*/ 4 h 14"/>
                <a:gd name="T12" fmla="*/ 6 w 16"/>
                <a:gd name="T13" fmla="*/ 4 h 14"/>
                <a:gd name="T14" fmla="*/ 3 w 16"/>
                <a:gd name="T15" fmla="*/ 7 h 14"/>
                <a:gd name="T16" fmla="*/ 0 w 16"/>
                <a:gd name="T17" fmla="*/ 10 h 14"/>
                <a:gd name="T18" fmla="*/ 0 w 16"/>
                <a:gd name="T19" fmla="*/ 13 h 14"/>
                <a:gd name="T20" fmla="*/ 2 w 16"/>
                <a:gd name="T21" fmla="*/ 14 h 14"/>
                <a:gd name="T22" fmla="*/ 2 w 16"/>
                <a:gd name="T23" fmla="*/ 14 h 14"/>
                <a:gd name="T24" fmla="*/ 6 w 16"/>
                <a:gd name="T25" fmla="*/ 13 h 14"/>
                <a:gd name="T26" fmla="*/ 12 w 16"/>
                <a:gd name="T27" fmla="*/ 7 h 14"/>
                <a:gd name="T28" fmla="*/ 16 w 16"/>
                <a:gd name="T29" fmla="*/ 1 h 14"/>
                <a:gd name="T30" fmla="*/ 16 w 16"/>
                <a:gd name="T31" fmla="*/ 0 h 14"/>
                <a:gd name="T32" fmla="*/ 16 w 16"/>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4">
                  <a:moveTo>
                    <a:pt x="16" y="0"/>
                  </a:moveTo>
                  <a:lnTo>
                    <a:pt x="16" y="0"/>
                  </a:lnTo>
                  <a:lnTo>
                    <a:pt x="13" y="0"/>
                  </a:lnTo>
                  <a:lnTo>
                    <a:pt x="12" y="1"/>
                  </a:lnTo>
                  <a:lnTo>
                    <a:pt x="9" y="3"/>
                  </a:lnTo>
                  <a:lnTo>
                    <a:pt x="6" y="4"/>
                  </a:lnTo>
                  <a:lnTo>
                    <a:pt x="6" y="4"/>
                  </a:lnTo>
                  <a:lnTo>
                    <a:pt x="3" y="7"/>
                  </a:lnTo>
                  <a:lnTo>
                    <a:pt x="0" y="10"/>
                  </a:lnTo>
                  <a:lnTo>
                    <a:pt x="0" y="13"/>
                  </a:lnTo>
                  <a:lnTo>
                    <a:pt x="2" y="14"/>
                  </a:lnTo>
                  <a:lnTo>
                    <a:pt x="2" y="14"/>
                  </a:lnTo>
                  <a:lnTo>
                    <a:pt x="6" y="13"/>
                  </a:lnTo>
                  <a:lnTo>
                    <a:pt x="12" y="7"/>
                  </a:lnTo>
                  <a:lnTo>
                    <a:pt x="16" y="1"/>
                  </a:lnTo>
                  <a:lnTo>
                    <a:pt x="16"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71" name="Freeform 1230"/>
            <p:cNvSpPr>
              <a:spLocks/>
            </p:cNvSpPr>
            <p:nvPr/>
          </p:nvSpPr>
          <p:spPr bwMode="auto">
            <a:xfrm>
              <a:off x="8240713" y="3292476"/>
              <a:ext cx="4763" cy="4763"/>
            </a:xfrm>
            <a:custGeom>
              <a:avLst/>
              <a:gdLst>
                <a:gd name="T0" fmla="*/ 1 w 3"/>
                <a:gd name="T1" fmla="*/ 0 h 3"/>
                <a:gd name="T2" fmla="*/ 1 w 3"/>
                <a:gd name="T3" fmla="*/ 0 h 3"/>
                <a:gd name="T4" fmla="*/ 0 w 3"/>
                <a:gd name="T5" fmla="*/ 0 h 3"/>
                <a:gd name="T6" fmla="*/ 0 w 3"/>
                <a:gd name="T7" fmla="*/ 2 h 3"/>
                <a:gd name="T8" fmla="*/ 0 w 3"/>
                <a:gd name="T9" fmla="*/ 3 h 3"/>
                <a:gd name="T10" fmla="*/ 0 w 3"/>
                <a:gd name="T11" fmla="*/ 3 h 3"/>
                <a:gd name="T12" fmla="*/ 0 w 3"/>
                <a:gd name="T13" fmla="*/ 3 h 3"/>
                <a:gd name="T14" fmla="*/ 3 w 3"/>
                <a:gd name="T15" fmla="*/ 2 h 3"/>
                <a:gd name="T16" fmla="*/ 3 w 3"/>
                <a:gd name="T17" fmla="*/ 0 h 3"/>
                <a:gd name="T18" fmla="*/ 1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1" y="0"/>
                  </a:moveTo>
                  <a:lnTo>
                    <a:pt x="1" y="0"/>
                  </a:lnTo>
                  <a:lnTo>
                    <a:pt x="0" y="0"/>
                  </a:lnTo>
                  <a:lnTo>
                    <a:pt x="0" y="2"/>
                  </a:lnTo>
                  <a:lnTo>
                    <a:pt x="0" y="3"/>
                  </a:lnTo>
                  <a:lnTo>
                    <a:pt x="0" y="3"/>
                  </a:lnTo>
                  <a:lnTo>
                    <a:pt x="0" y="3"/>
                  </a:lnTo>
                  <a:lnTo>
                    <a:pt x="3" y="2"/>
                  </a:lnTo>
                  <a:lnTo>
                    <a:pt x="3" y="0"/>
                  </a:lnTo>
                  <a:lnTo>
                    <a:pt x="1" y="0"/>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72" name="Freeform 1231"/>
            <p:cNvSpPr>
              <a:spLocks/>
            </p:cNvSpPr>
            <p:nvPr/>
          </p:nvSpPr>
          <p:spPr bwMode="auto">
            <a:xfrm>
              <a:off x="8240713" y="3292476"/>
              <a:ext cx="4763" cy="4763"/>
            </a:xfrm>
            <a:custGeom>
              <a:avLst/>
              <a:gdLst>
                <a:gd name="T0" fmla="*/ 1 w 3"/>
                <a:gd name="T1" fmla="*/ 0 h 3"/>
                <a:gd name="T2" fmla="*/ 1 w 3"/>
                <a:gd name="T3" fmla="*/ 0 h 3"/>
                <a:gd name="T4" fmla="*/ 0 w 3"/>
                <a:gd name="T5" fmla="*/ 0 h 3"/>
                <a:gd name="T6" fmla="*/ 0 w 3"/>
                <a:gd name="T7" fmla="*/ 2 h 3"/>
                <a:gd name="T8" fmla="*/ 0 w 3"/>
                <a:gd name="T9" fmla="*/ 3 h 3"/>
                <a:gd name="T10" fmla="*/ 0 w 3"/>
                <a:gd name="T11" fmla="*/ 3 h 3"/>
                <a:gd name="T12" fmla="*/ 0 w 3"/>
                <a:gd name="T13" fmla="*/ 3 h 3"/>
                <a:gd name="T14" fmla="*/ 3 w 3"/>
                <a:gd name="T15" fmla="*/ 2 h 3"/>
                <a:gd name="T16" fmla="*/ 3 w 3"/>
                <a:gd name="T17" fmla="*/ 0 h 3"/>
                <a:gd name="T18" fmla="*/ 1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1" y="0"/>
                  </a:moveTo>
                  <a:lnTo>
                    <a:pt x="1" y="0"/>
                  </a:lnTo>
                  <a:lnTo>
                    <a:pt x="0" y="0"/>
                  </a:lnTo>
                  <a:lnTo>
                    <a:pt x="0" y="2"/>
                  </a:lnTo>
                  <a:lnTo>
                    <a:pt x="0" y="3"/>
                  </a:lnTo>
                  <a:lnTo>
                    <a:pt x="0" y="3"/>
                  </a:lnTo>
                  <a:lnTo>
                    <a:pt x="0" y="3"/>
                  </a:lnTo>
                  <a:lnTo>
                    <a:pt x="3" y="2"/>
                  </a:lnTo>
                  <a:lnTo>
                    <a:pt x="3"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73" name="Freeform 1232"/>
            <p:cNvSpPr>
              <a:spLocks/>
            </p:cNvSpPr>
            <p:nvPr/>
          </p:nvSpPr>
          <p:spPr bwMode="auto">
            <a:xfrm>
              <a:off x="7570788" y="4014788"/>
              <a:ext cx="14288" cy="19050"/>
            </a:xfrm>
            <a:custGeom>
              <a:avLst/>
              <a:gdLst>
                <a:gd name="T0" fmla="*/ 8 w 9"/>
                <a:gd name="T1" fmla="*/ 0 h 12"/>
                <a:gd name="T2" fmla="*/ 8 w 9"/>
                <a:gd name="T3" fmla="*/ 0 h 12"/>
                <a:gd name="T4" fmla="*/ 5 w 9"/>
                <a:gd name="T5" fmla="*/ 1 h 12"/>
                <a:gd name="T6" fmla="*/ 2 w 9"/>
                <a:gd name="T7" fmla="*/ 4 h 12"/>
                <a:gd name="T8" fmla="*/ 0 w 9"/>
                <a:gd name="T9" fmla="*/ 9 h 12"/>
                <a:gd name="T10" fmla="*/ 0 w 9"/>
                <a:gd name="T11" fmla="*/ 10 h 12"/>
                <a:gd name="T12" fmla="*/ 0 w 9"/>
                <a:gd name="T13" fmla="*/ 12 h 12"/>
                <a:gd name="T14" fmla="*/ 0 w 9"/>
                <a:gd name="T15" fmla="*/ 12 h 12"/>
                <a:gd name="T16" fmla="*/ 5 w 9"/>
                <a:gd name="T17" fmla="*/ 10 h 12"/>
                <a:gd name="T18" fmla="*/ 8 w 9"/>
                <a:gd name="T19" fmla="*/ 7 h 12"/>
                <a:gd name="T20" fmla="*/ 9 w 9"/>
                <a:gd name="T21" fmla="*/ 3 h 12"/>
                <a:gd name="T22" fmla="*/ 9 w 9"/>
                <a:gd name="T23" fmla="*/ 1 h 12"/>
                <a:gd name="T24" fmla="*/ 8 w 9"/>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2">
                  <a:moveTo>
                    <a:pt x="8" y="0"/>
                  </a:moveTo>
                  <a:lnTo>
                    <a:pt x="8" y="0"/>
                  </a:lnTo>
                  <a:lnTo>
                    <a:pt x="5" y="1"/>
                  </a:lnTo>
                  <a:lnTo>
                    <a:pt x="2" y="4"/>
                  </a:lnTo>
                  <a:lnTo>
                    <a:pt x="0" y="9"/>
                  </a:lnTo>
                  <a:lnTo>
                    <a:pt x="0" y="10"/>
                  </a:lnTo>
                  <a:lnTo>
                    <a:pt x="0" y="12"/>
                  </a:lnTo>
                  <a:lnTo>
                    <a:pt x="0" y="12"/>
                  </a:lnTo>
                  <a:lnTo>
                    <a:pt x="5" y="10"/>
                  </a:lnTo>
                  <a:lnTo>
                    <a:pt x="8" y="7"/>
                  </a:lnTo>
                  <a:lnTo>
                    <a:pt x="9" y="3"/>
                  </a:lnTo>
                  <a:lnTo>
                    <a:pt x="9" y="1"/>
                  </a:lnTo>
                  <a:lnTo>
                    <a:pt x="8" y="0"/>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74" name="Freeform 1233"/>
            <p:cNvSpPr>
              <a:spLocks/>
            </p:cNvSpPr>
            <p:nvPr/>
          </p:nvSpPr>
          <p:spPr bwMode="auto">
            <a:xfrm>
              <a:off x="7570788" y="4014788"/>
              <a:ext cx="14288" cy="19050"/>
            </a:xfrm>
            <a:custGeom>
              <a:avLst/>
              <a:gdLst>
                <a:gd name="T0" fmla="*/ 8 w 9"/>
                <a:gd name="T1" fmla="*/ 0 h 12"/>
                <a:gd name="T2" fmla="*/ 8 w 9"/>
                <a:gd name="T3" fmla="*/ 0 h 12"/>
                <a:gd name="T4" fmla="*/ 5 w 9"/>
                <a:gd name="T5" fmla="*/ 1 h 12"/>
                <a:gd name="T6" fmla="*/ 2 w 9"/>
                <a:gd name="T7" fmla="*/ 4 h 12"/>
                <a:gd name="T8" fmla="*/ 0 w 9"/>
                <a:gd name="T9" fmla="*/ 9 h 12"/>
                <a:gd name="T10" fmla="*/ 0 w 9"/>
                <a:gd name="T11" fmla="*/ 10 h 12"/>
                <a:gd name="T12" fmla="*/ 0 w 9"/>
                <a:gd name="T13" fmla="*/ 12 h 12"/>
                <a:gd name="T14" fmla="*/ 0 w 9"/>
                <a:gd name="T15" fmla="*/ 12 h 12"/>
                <a:gd name="T16" fmla="*/ 5 w 9"/>
                <a:gd name="T17" fmla="*/ 10 h 12"/>
                <a:gd name="T18" fmla="*/ 8 w 9"/>
                <a:gd name="T19" fmla="*/ 7 h 12"/>
                <a:gd name="T20" fmla="*/ 9 w 9"/>
                <a:gd name="T21" fmla="*/ 3 h 12"/>
                <a:gd name="T22" fmla="*/ 9 w 9"/>
                <a:gd name="T23" fmla="*/ 1 h 12"/>
                <a:gd name="T24" fmla="*/ 8 w 9"/>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2">
                  <a:moveTo>
                    <a:pt x="8" y="0"/>
                  </a:moveTo>
                  <a:lnTo>
                    <a:pt x="8" y="0"/>
                  </a:lnTo>
                  <a:lnTo>
                    <a:pt x="5" y="1"/>
                  </a:lnTo>
                  <a:lnTo>
                    <a:pt x="2" y="4"/>
                  </a:lnTo>
                  <a:lnTo>
                    <a:pt x="0" y="9"/>
                  </a:lnTo>
                  <a:lnTo>
                    <a:pt x="0" y="10"/>
                  </a:lnTo>
                  <a:lnTo>
                    <a:pt x="0" y="12"/>
                  </a:lnTo>
                  <a:lnTo>
                    <a:pt x="0" y="12"/>
                  </a:lnTo>
                  <a:lnTo>
                    <a:pt x="5" y="10"/>
                  </a:lnTo>
                  <a:lnTo>
                    <a:pt x="8" y="7"/>
                  </a:lnTo>
                  <a:lnTo>
                    <a:pt x="9" y="3"/>
                  </a:lnTo>
                  <a:lnTo>
                    <a:pt x="9" y="1"/>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75" name="Freeform 1234"/>
            <p:cNvSpPr>
              <a:spLocks/>
            </p:cNvSpPr>
            <p:nvPr/>
          </p:nvSpPr>
          <p:spPr bwMode="auto">
            <a:xfrm>
              <a:off x="8221663" y="4087813"/>
              <a:ext cx="4763" cy="3175"/>
            </a:xfrm>
            <a:custGeom>
              <a:avLst/>
              <a:gdLst>
                <a:gd name="T0" fmla="*/ 2 w 3"/>
                <a:gd name="T1" fmla="*/ 2 h 2"/>
                <a:gd name="T2" fmla="*/ 2 w 3"/>
                <a:gd name="T3" fmla="*/ 2 h 2"/>
                <a:gd name="T4" fmla="*/ 0 w 3"/>
                <a:gd name="T5" fmla="*/ 2 h 2"/>
                <a:gd name="T6" fmla="*/ 0 w 3"/>
                <a:gd name="T7" fmla="*/ 2 h 2"/>
                <a:gd name="T8" fmla="*/ 2 w 3"/>
                <a:gd name="T9" fmla="*/ 0 h 2"/>
                <a:gd name="T10" fmla="*/ 2 w 3"/>
                <a:gd name="T11" fmla="*/ 0 h 2"/>
                <a:gd name="T12" fmla="*/ 3 w 3"/>
                <a:gd name="T13" fmla="*/ 0 h 2"/>
                <a:gd name="T14" fmla="*/ 3 w 3"/>
                <a:gd name="T15" fmla="*/ 0 h 2"/>
                <a:gd name="T16" fmla="*/ 3 w 3"/>
                <a:gd name="T17" fmla="*/ 2 h 2"/>
                <a:gd name="T18" fmla="*/ 2 w 3"/>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
                  <a:moveTo>
                    <a:pt x="2" y="2"/>
                  </a:moveTo>
                  <a:lnTo>
                    <a:pt x="2" y="2"/>
                  </a:lnTo>
                  <a:lnTo>
                    <a:pt x="0" y="2"/>
                  </a:lnTo>
                  <a:lnTo>
                    <a:pt x="0" y="2"/>
                  </a:lnTo>
                  <a:lnTo>
                    <a:pt x="2" y="0"/>
                  </a:lnTo>
                  <a:lnTo>
                    <a:pt x="2" y="0"/>
                  </a:lnTo>
                  <a:lnTo>
                    <a:pt x="3" y="0"/>
                  </a:lnTo>
                  <a:lnTo>
                    <a:pt x="3" y="0"/>
                  </a:lnTo>
                  <a:lnTo>
                    <a:pt x="3" y="2"/>
                  </a:lnTo>
                  <a:lnTo>
                    <a:pt x="2" y="2"/>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76" name="Freeform 1235"/>
            <p:cNvSpPr>
              <a:spLocks/>
            </p:cNvSpPr>
            <p:nvPr/>
          </p:nvSpPr>
          <p:spPr bwMode="auto">
            <a:xfrm>
              <a:off x="8221663" y="4087813"/>
              <a:ext cx="4763" cy="3175"/>
            </a:xfrm>
            <a:custGeom>
              <a:avLst/>
              <a:gdLst>
                <a:gd name="T0" fmla="*/ 2 w 3"/>
                <a:gd name="T1" fmla="*/ 2 h 2"/>
                <a:gd name="T2" fmla="*/ 2 w 3"/>
                <a:gd name="T3" fmla="*/ 2 h 2"/>
                <a:gd name="T4" fmla="*/ 0 w 3"/>
                <a:gd name="T5" fmla="*/ 2 h 2"/>
                <a:gd name="T6" fmla="*/ 0 w 3"/>
                <a:gd name="T7" fmla="*/ 2 h 2"/>
                <a:gd name="T8" fmla="*/ 2 w 3"/>
                <a:gd name="T9" fmla="*/ 0 h 2"/>
                <a:gd name="T10" fmla="*/ 2 w 3"/>
                <a:gd name="T11" fmla="*/ 0 h 2"/>
                <a:gd name="T12" fmla="*/ 3 w 3"/>
                <a:gd name="T13" fmla="*/ 0 h 2"/>
                <a:gd name="T14" fmla="*/ 3 w 3"/>
                <a:gd name="T15" fmla="*/ 0 h 2"/>
                <a:gd name="T16" fmla="*/ 3 w 3"/>
                <a:gd name="T17" fmla="*/ 2 h 2"/>
                <a:gd name="T18" fmla="*/ 2 w 3"/>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
                  <a:moveTo>
                    <a:pt x="2" y="2"/>
                  </a:moveTo>
                  <a:lnTo>
                    <a:pt x="2" y="2"/>
                  </a:lnTo>
                  <a:lnTo>
                    <a:pt x="0" y="2"/>
                  </a:lnTo>
                  <a:lnTo>
                    <a:pt x="0" y="2"/>
                  </a:lnTo>
                  <a:lnTo>
                    <a:pt x="2" y="0"/>
                  </a:lnTo>
                  <a:lnTo>
                    <a:pt x="2" y="0"/>
                  </a:lnTo>
                  <a:lnTo>
                    <a:pt x="3" y="0"/>
                  </a:lnTo>
                  <a:lnTo>
                    <a:pt x="3" y="0"/>
                  </a:lnTo>
                  <a:lnTo>
                    <a:pt x="3"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77" name="Freeform 1236"/>
            <p:cNvSpPr>
              <a:spLocks/>
            </p:cNvSpPr>
            <p:nvPr/>
          </p:nvSpPr>
          <p:spPr bwMode="auto">
            <a:xfrm>
              <a:off x="7918451" y="4041776"/>
              <a:ext cx="4763" cy="4763"/>
            </a:xfrm>
            <a:custGeom>
              <a:avLst/>
              <a:gdLst>
                <a:gd name="T0" fmla="*/ 1 w 3"/>
                <a:gd name="T1" fmla="*/ 3 h 3"/>
                <a:gd name="T2" fmla="*/ 1 w 3"/>
                <a:gd name="T3" fmla="*/ 3 h 3"/>
                <a:gd name="T4" fmla="*/ 0 w 3"/>
                <a:gd name="T5" fmla="*/ 2 h 3"/>
                <a:gd name="T6" fmla="*/ 0 w 3"/>
                <a:gd name="T7" fmla="*/ 2 h 3"/>
                <a:gd name="T8" fmla="*/ 1 w 3"/>
                <a:gd name="T9" fmla="*/ 0 h 3"/>
                <a:gd name="T10" fmla="*/ 1 w 3"/>
                <a:gd name="T11" fmla="*/ 0 h 3"/>
                <a:gd name="T12" fmla="*/ 3 w 3"/>
                <a:gd name="T13" fmla="*/ 0 h 3"/>
                <a:gd name="T14" fmla="*/ 3 w 3"/>
                <a:gd name="T15" fmla="*/ 2 h 3"/>
                <a:gd name="T16" fmla="*/ 3 w 3"/>
                <a:gd name="T17" fmla="*/ 2 h 3"/>
                <a:gd name="T18" fmla="*/ 1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1" y="3"/>
                  </a:moveTo>
                  <a:lnTo>
                    <a:pt x="1" y="3"/>
                  </a:lnTo>
                  <a:lnTo>
                    <a:pt x="0" y="2"/>
                  </a:lnTo>
                  <a:lnTo>
                    <a:pt x="0" y="2"/>
                  </a:lnTo>
                  <a:lnTo>
                    <a:pt x="1" y="0"/>
                  </a:lnTo>
                  <a:lnTo>
                    <a:pt x="1" y="0"/>
                  </a:lnTo>
                  <a:lnTo>
                    <a:pt x="3" y="0"/>
                  </a:lnTo>
                  <a:lnTo>
                    <a:pt x="3" y="2"/>
                  </a:lnTo>
                  <a:lnTo>
                    <a:pt x="3" y="2"/>
                  </a:lnTo>
                  <a:lnTo>
                    <a:pt x="1" y="3"/>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78" name="Freeform 1237"/>
            <p:cNvSpPr>
              <a:spLocks/>
            </p:cNvSpPr>
            <p:nvPr/>
          </p:nvSpPr>
          <p:spPr bwMode="auto">
            <a:xfrm>
              <a:off x="7918451" y="4041776"/>
              <a:ext cx="4763" cy="4763"/>
            </a:xfrm>
            <a:custGeom>
              <a:avLst/>
              <a:gdLst>
                <a:gd name="T0" fmla="*/ 1 w 3"/>
                <a:gd name="T1" fmla="*/ 3 h 3"/>
                <a:gd name="T2" fmla="*/ 1 w 3"/>
                <a:gd name="T3" fmla="*/ 3 h 3"/>
                <a:gd name="T4" fmla="*/ 0 w 3"/>
                <a:gd name="T5" fmla="*/ 2 h 3"/>
                <a:gd name="T6" fmla="*/ 0 w 3"/>
                <a:gd name="T7" fmla="*/ 2 h 3"/>
                <a:gd name="T8" fmla="*/ 1 w 3"/>
                <a:gd name="T9" fmla="*/ 0 h 3"/>
                <a:gd name="T10" fmla="*/ 1 w 3"/>
                <a:gd name="T11" fmla="*/ 0 h 3"/>
                <a:gd name="T12" fmla="*/ 3 w 3"/>
                <a:gd name="T13" fmla="*/ 0 h 3"/>
                <a:gd name="T14" fmla="*/ 3 w 3"/>
                <a:gd name="T15" fmla="*/ 2 h 3"/>
                <a:gd name="T16" fmla="*/ 3 w 3"/>
                <a:gd name="T17" fmla="*/ 2 h 3"/>
                <a:gd name="T18" fmla="*/ 1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1" y="3"/>
                  </a:moveTo>
                  <a:lnTo>
                    <a:pt x="1" y="3"/>
                  </a:lnTo>
                  <a:lnTo>
                    <a:pt x="0" y="2"/>
                  </a:lnTo>
                  <a:lnTo>
                    <a:pt x="0" y="2"/>
                  </a:lnTo>
                  <a:lnTo>
                    <a:pt x="1" y="0"/>
                  </a:lnTo>
                  <a:lnTo>
                    <a:pt x="1" y="0"/>
                  </a:lnTo>
                  <a:lnTo>
                    <a:pt x="3" y="0"/>
                  </a:lnTo>
                  <a:lnTo>
                    <a:pt x="3" y="2"/>
                  </a:lnTo>
                  <a:lnTo>
                    <a:pt x="3" y="2"/>
                  </a:lnTo>
                  <a:lnTo>
                    <a:pt x="1"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79" name="Freeform 1238"/>
            <p:cNvSpPr>
              <a:spLocks/>
            </p:cNvSpPr>
            <p:nvPr/>
          </p:nvSpPr>
          <p:spPr bwMode="auto">
            <a:xfrm>
              <a:off x="7458076" y="4081463"/>
              <a:ext cx="4763" cy="1588"/>
            </a:xfrm>
            <a:custGeom>
              <a:avLst/>
              <a:gdLst>
                <a:gd name="T0" fmla="*/ 2 w 3"/>
                <a:gd name="T1" fmla="*/ 1 h 1"/>
                <a:gd name="T2" fmla="*/ 2 w 3"/>
                <a:gd name="T3" fmla="*/ 1 h 1"/>
                <a:gd name="T4" fmla="*/ 0 w 3"/>
                <a:gd name="T5" fmla="*/ 1 h 1"/>
                <a:gd name="T6" fmla="*/ 0 w 3"/>
                <a:gd name="T7" fmla="*/ 0 h 1"/>
                <a:gd name="T8" fmla="*/ 2 w 3"/>
                <a:gd name="T9" fmla="*/ 0 h 1"/>
                <a:gd name="T10" fmla="*/ 2 w 3"/>
                <a:gd name="T11" fmla="*/ 0 h 1"/>
                <a:gd name="T12" fmla="*/ 3 w 3"/>
                <a:gd name="T13" fmla="*/ 0 h 1"/>
                <a:gd name="T14" fmla="*/ 3 w 3"/>
                <a:gd name="T15" fmla="*/ 0 h 1"/>
                <a:gd name="T16" fmla="*/ 3 w 3"/>
                <a:gd name="T17" fmla="*/ 1 h 1"/>
                <a:gd name="T18" fmla="*/ 2 w 3"/>
                <a:gd name="T1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
                  <a:moveTo>
                    <a:pt x="2" y="1"/>
                  </a:moveTo>
                  <a:lnTo>
                    <a:pt x="2" y="1"/>
                  </a:lnTo>
                  <a:lnTo>
                    <a:pt x="0" y="1"/>
                  </a:lnTo>
                  <a:lnTo>
                    <a:pt x="0" y="0"/>
                  </a:lnTo>
                  <a:lnTo>
                    <a:pt x="2" y="0"/>
                  </a:lnTo>
                  <a:lnTo>
                    <a:pt x="2" y="0"/>
                  </a:lnTo>
                  <a:lnTo>
                    <a:pt x="3" y="0"/>
                  </a:lnTo>
                  <a:lnTo>
                    <a:pt x="3" y="0"/>
                  </a:lnTo>
                  <a:lnTo>
                    <a:pt x="3" y="1"/>
                  </a:lnTo>
                  <a:lnTo>
                    <a:pt x="2" y="1"/>
                  </a:lnTo>
                  <a:close/>
                </a:path>
              </a:pathLst>
            </a:custGeom>
            <a:solidFill>
              <a:srgbClr val="CCD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80" name="Freeform 1239"/>
            <p:cNvSpPr>
              <a:spLocks/>
            </p:cNvSpPr>
            <p:nvPr/>
          </p:nvSpPr>
          <p:spPr bwMode="auto">
            <a:xfrm>
              <a:off x="7458076" y="4081463"/>
              <a:ext cx="4763" cy="1588"/>
            </a:xfrm>
            <a:custGeom>
              <a:avLst/>
              <a:gdLst>
                <a:gd name="T0" fmla="*/ 2 w 3"/>
                <a:gd name="T1" fmla="*/ 1 h 1"/>
                <a:gd name="T2" fmla="*/ 2 w 3"/>
                <a:gd name="T3" fmla="*/ 1 h 1"/>
                <a:gd name="T4" fmla="*/ 0 w 3"/>
                <a:gd name="T5" fmla="*/ 1 h 1"/>
                <a:gd name="T6" fmla="*/ 0 w 3"/>
                <a:gd name="T7" fmla="*/ 0 h 1"/>
                <a:gd name="T8" fmla="*/ 2 w 3"/>
                <a:gd name="T9" fmla="*/ 0 h 1"/>
                <a:gd name="T10" fmla="*/ 2 w 3"/>
                <a:gd name="T11" fmla="*/ 0 h 1"/>
                <a:gd name="T12" fmla="*/ 3 w 3"/>
                <a:gd name="T13" fmla="*/ 0 h 1"/>
                <a:gd name="T14" fmla="*/ 3 w 3"/>
                <a:gd name="T15" fmla="*/ 0 h 1"/>
                <a:gd name="T16" fmla="*/ 3 w 3"/>
                <a:gd name="T17" fmla="*/ 1 h 1"/>
                <a:gd name="T18" fmla="*/ 2 w 3"/>
                <a:gd name="T1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
                  <a:moveTo>
                    <a:pt x="2" y="1"/>
                  </a:moveTo>
                  <a:lnTo>
                    <a:pt x="2" y="1"/>
                  </a:lnTo>
                  <a:lnTo>
                    <a:pt x="0" y="1"/>
                  </a:lnTo>
                  <a:lnTo>
                    <a:pt x="0" y="0"/>
                  </a:lnTo>
                  <a:lnTo>
                    <a:pt x="2" y="0"/>
                  </a:lnTo>
                  <a:lnTo>
                    <a:pt x="2" y="0"/>
                  </a:lnTo>
                  <a:lnTo>
                    <a:pt x="3" y="0"/>
                  </a:lnTo>
                  <a:lnTo>
                    <a:pt x="3" y="0"/>
                  </a:lnTo>
                  <a:lnTo>
                    <a:pt x="3" y="1"/>
                  </a:lnTo>
                  <a:lnTo>
                    <a:pt x="2"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81" name="Freeform 1275"/>
            <p:cNvSpPr>
              <a:spLocks/>
            </p:cNvSpPr>
            <p:nvPr/>
          </p:nvSpPr>
          <p:spPr bwMode="auto">
            <a:xfrm>
              <a:off x="6745288" y="4562476"/>
              <a:ext cx="276225" cy="319088"/>
            </a:xfrm>
            <a:custGeom>
              <a:avLst/>
              <a:gdLst>
                <a:gd name="T0" fmla="*/ 70 w 174"/>
                <a:gd name="T1" fmla="*/ 43 h 201"/>
                <a:gd name="T2" fmla="*/ 39 w 174"/>
                <a:gd name="T3" fmla="*/ 14 h 201"/>
                <a:gd name="T4" fmla="*/ 8 w 174"/>
                <a:gd name="T5" fmla="*/ 1 h 201"/>
                <a:gd name="T6" fmla="*/ 2 w 174"/>
                <a:gd name="T7" fmla="*/ 17 h 201"/>
                <a:gd name="T8" fmla="*/ 16 w 174"/>
                <a:gd name="T9" fmla="*/ 36 h 201"/>
                <a:gd name="T10" fmla="*/ 16 w 174"/>
                <a:gd name="T11" fmla="*/ 36 h 201"/>
                <a:gd name="T12" fmla="*/ 37 w 174"/>
                <a:gd name="T13" fmla="*/ 61 h 201"/>
                <a:gd name="T14" fmla="*/ 54 w 174"/>
                <a:gd name="T15" fmla="*/ 71 h 201"/>
                <a:gd name="T16" fmla="*/ 70 w 174"/>
                <a:gd name="T17" fmla="*/ 101 h 201"/>
                <a:gd name="T18" fmla="*/ 83 w 174"/>
                <a:gd name="T19" fmla="*/ 120 h 201"/>
                <a:gd name="T20" fmla="*/ 128 w 174"/>
                <a:gd name="T21" fmla="*/ 175 h 201"/>
                <a:gd name="T22" fmla="*/ 147 w 174"/>
                <a:gd name="T23" fmla="*/ 195 h 201"/>
                <a:gd name="T24" fmla="*/ 155 w 174"/>
                <a:gd name="T25" fmla="*/ 198 h 201"/>
                <a:gd name="T26" fmla="*/ 151 w 174"/>
                <a:gd name="T27" fmla="*/ 189 h 201"/>
                <a:gd name="T28" fmla="*/ 151 w 174"/>
                <a:gd name="T29" fmla="*/ 191 h 201"/>
                <a:gd name="T30" fmla="*/ 151 w 174"/>
                <a:gd name="T31" fmla="*/ 191 h 201"/>
                <a:gd name="T32" fmla="*/ 171 w 174"/>
                <a:gd name="T33" fmla="*/ 172 h 201"/>
                <a:gd name="T34" fmla="*/ 166 w 174"/>
                <a:gd name="T35" fmla="*/ 159 h 201"/>
                <a:gd name="T36" fmla="*/ 164 w 174"/>
                <a:gd name="T37" fmla="*/ 160 h 201"/>
                <a:gd name="T38" fmla="*/ 164 w 174"/>
                <a:gd name="T39" fmla="*/ 160 h 201"/>
                <a:gd name="T40" fmla="*/ 171 w 174"/>
                <a:gd name="T41" fmla="*/ 158 h 201"/>
                <a:gd name="T42" fmla="*/ 174 w 174"/>
                <a:gd name="T43" fmla="*/ 140 h 201"/>
                <a:gd name="T44" fmla="*/ 155 w 174"/>
                <a:gd name="T45" fmla="*/ 134 h 201"/>
                <a:gd name="T46" fmla="*/ 147 w 174"/>
                <a:gd name="T47" fmla="*/ 117 h 201"/>
                <a:gd name="T48" fmla="*/ 138 w 174"/>
                <a:gd name="T49" fmla="*/ 110 h 201"/>
                <a:gd name="T50" fmla="*/ 131 w 174"/>
                <a:gd name="T51" fmla="*/ 88 h 201"/>
                <a:gd name="T52" fmla="*/ 131 w 174"/>
                <a:gd name="T53" fmla="*/ 87 h 201"/>
                <a:gd name="T54" fmla="*/ 125 w 174"/>
                <a:gd name="T55" fmla="*/ 79 h 201"/>
                <a:gd name="T56" fmla="*/ 113 w 174"/>
                <a:gd name="T57" fmla="*/ 71 h 201"/>
                <a:gd name="T58" fmla="*/ 103 w 174"/>
                <a:gd name="T59" fmla="*/ 63 h 201"/>
                <a:gd name="T60" fmla="*/ 87 w 174"/>
                <a:gd name="T61" fmla="*/ 66 h 201"/>
                <a:gd name="T62" fmla="*/ 103 w 174"/>
                <a:gd name="T63" fmla="*/ 69 h 201"/>
                <a:gd name="T64" fmla="*/ 115 w 174"/>
                <a:gd name="T65" fmla="*/ 75 h 201"/>
                <a:gd name="T66" fmla="*/ 124 w 174"/>
                <a:gd name="T67" fmla="*/ 84 h 201"/>
                <a:gd name="T68" fmla="*/ 126 w 174"/>
                <a:gd name="T69" fmla="*/ 84 h 201"/>
                <a:gd name="T70" fmla="*/ 126 w 174"/>
                <a:gd name="T71" fmla="*/ 84 h 201"/>
                <a:gd name="T72" fmla="*/ 125 w 174"/>
                <a:gd name="T73" fmla="*/ 88 h 201"/>
                <a:gd name="T74" fmla="*/ 137 w 174"/>
                <a:gd name="T75" fmla="*/ 101 h 201"/>
                <a:gd name="T76" fmla="*/ 134 w 174"/>
                <a:gd name="T77" fmla="*/ 113 h 201"/>
                <a:gd name="T78" fmla="*/ 151 w 174"/>
                <a:gd name="T79" fmla="*/ 136 h 201"/>
                <a:gd name="T80" fmla="*/ 168 w 174"/>
                <a:gd name="T81" fmla="*/ 145 h 201"/>
                <a:gd name="T82" fmla="*/ 163 w 174"/>
                <a:gd name="T83" fmla="*/ 158 h 201"/>
                <a:gd name="T84" fmla="*/ 166 w 174"/>
                <a:gd name="T85" fmla="*/ 165 h 201"/>
                <a:gd name="T86" fmla="*/ 161 w 174"/>
                <a:gd name="T87" fmla="*/ 191 h 201"/>
                <a:gd name="T88" fmla="*/ 147 w 174"/>
                <a:gd name="T89" fmla="*/ 189 h 201"/>
                <a:gd name="T90" fmla="*/ 151 w 174"/>
                <a:gd name="T91" fmla="*/ 197 h 201"/>
                <a:gd name="T92" fmla="*/ 152 w 174"/>
                <a:gd name="T93" fmla="*/ 197 h 201"/>
                <a:gd name="T94" fmla="*/ 142 w 174"/>
                <a:gd name="T95" fmla="*/ 184 h 201"/>
                <a:gd name="T96" fmla="*/ 108 w 174"/>
                <a:gd name="T97" fmla="*/ 152 h 201"/>
                <a:gd name="T98" fmla="*/ 79 w 174"/>
                <a:gd name="T99" fmla="*/ 108 h 201"/>
                <a:gd name="T100" fmla="*/ 60 w 174"/>
                <a:gd name="T101" fmla="*/ 82 h 201"/>
                <a:gd name="T102" fmla="*/ 44 w 174"/>
                <a:gd name="T103" fmla="*/ 62 h 201"/>
                <a:gd name="T104" fmla="*/ 42 w 174"/>
                <a:gd name="T105" fmla="*/ 62 h 201"/>
                <a:gd name="T106" fmla="*/ 26 w 174"/>
                <a:gd name="T107" fmla="*/ 42 h 201"/>
                <a:gd name="T108" fmla="*/ 21 w 174"/>
                <a:gd name="T109" fmla="*/ 34 h 201"/>
                <a:gd name="T110" fmla="*/ 5 w 174"/>
                <a:gd name="T111" fmla="*/ 5 h 201"/>
                <a:gd name="T112" fmla="*/ 3 w 174"/>
                <a:gd name="T113" fmla="*/ 4 h 201"/>
                <a:gd name="T114" fmla="*/ 3 w 174"/>
                <a:gd name="T115" fmla="*/ 5 h 201"/>
                <a:gd name="T116" fmla="*/ 35 w 174"/>
                <a:gd name="T117" fmla="*/ 17 h 201"/>
                <a:gd name="T118" fmla="*/ 63 w 174"/>
                <a:gd name="T119" fmla="*/ 45 h 201"/>
                <a:gd name="T120" fmla="*/ 76 w 174"/>
                <a:gd name="T121" fmla="*/ 55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4" h="201">
                  <a:moveTo>
                    <a:pt x="84" y="62"/>
                  </a:moveTo>
                  <a:lnTo>
                    <a:pt x="86" y="61"/>
                  </a:lnTo>
                  <a:lnTo>
                    <a:pt x="86" y="61"/>
                  </a:lnTo>
                  <a:lnTo>
                    <a:pt x="82" y="55"/>
                  </a:lnTo>
                  <a:lnTo>
                    <a:pt x="82" y="55"/>
                  </a:lnTo>
                  <a:lnTo>
                    <a:pt x="80" y="50"/>
                  </a:lnTo>
                  <a:lnTo>
                    <a:pt x="80" y="50"/>
                  </a:lnTo>
                  <a:lnTo>
                    <a:pt x="77" y="49"/>
                  </a:lnTo>
                  <a:lnTo>
                    <a:pt x="77" y="49"/>
                  </a:lnTo>
                  <a:lnTo>
                    <a:pt x="70" y="43"/>
                  </a:lnTo>
                  <a:lnTo>
                    <a:pt x="70" y="43"/>
                  </a:lnTo>
                  <a:lnTo>
                    <a:pt x="66" y="40"/>
                  </a:lnTo>
                  <a:lnTo>
                    <a:pt x="66" y="40"/>
                  </a:lnTo>
                  <a:lnTo>
                    <a:pt x="57" y="33"/>
                  </a:lnTo>
                  <a:lnTo>
                    <a:pt x="57" y="33"/>
                  </a:lnTo>
                  <a:lnTo>
                    <a:pt x="53" y="30"/>
                  </a:lnTo>
                  <a:lnTo>
                    <a:pt x="51" y="27"/>
                  </a:lnTo>
                  <a:lnTo>
                    <a:pt x="51" y="27"/>
                  </a:lnTo>
                  <a:lnTo>
                    <a:pt x="48" y="21"/>
                  </a:lnTo>
                  <a:lnTo>
                    <a:pt x="44" y="17"/>
                  </a:lnTo>
                  <a:lnTo>
                    <a:pt x="44" y="17"/>
                  </a:lnTo>
                  <a:lnTo>
                    <a:pt x="39" y="14"/>
                  </a:lnTo>
                  <a:lnTo>
                    <a:pt x="35" y="13"/>
                  </a:lnTo>
                  <a:lnTo>
                    <a:pt x="35" y="13"/>
                  </a:lnTo>
                  <a:lnTo>
                    <a:pt x="26" y="11"/>
                  </a:lnTo>
                  <a:lnTo>
                    <a:pt x="26" y="11"/>
                  </a:lnTo>
                  <a:lnTo>
                    <a:pt x="21" y="10"/>
                  </a:lnTo>
                  <a:lnTo>
                    <a:pt x="16" y="8"/>
                  </a:lnTo>
                  <a:lnTo>
                    <a:pt x="16" y="8"/>
                  </a:lnTo>
                  <a:lnTo>
                    <a:pt x="11" y="4"/>
                  </a:lnTo>
                  <a:lnTo>
                    <a:pt x="11" y="4"/>
                  </a:lnTo>
                  <a:lnTo>
                    <a:pt x="8" y="1"/>
                  </a:lnTo>
                  <a:lnTo>
                    <a:pt x="8" y="1"/>
                  </a:lnTo>
                  <a:lnTo>
                    <a:pt x="6" y="0"/>
                  </a:lnTo>
                  <a:lnTo>
                    <a:pt x="3" y="0"/>
                  </a:lnTo>
                  <a:lnTo>
                    <a:pt x="3" y="0"/>
                  </a:lnTo>
                  <a:lnTo>
                    <a:pt x="2" y="0"/>
                  </a:lnTo>
                  <a:lnTo>
                    <a:pt x="2" y="0"/>
                  </a:lnTo>
                  <a:lnTo>
                    <a:pt x="0" y="1"/>
                  </a:lnTo>
                  <a:lnTo>
                    <a:pt x="0" y="1"/>
                  </a:lnTo>
                  <a:lnTo>
                    <a:pt x="0" y="5"/>
                  </a:lnTo>
                  <a:lnTo>
                    <a:pt x="0" y="5"/>
                  </a:lnTo>
                  <a:lnTo>
                    <a:pt x="2" y="17"/>
                  </a:lnTo>
                  <a:lnTo>
                    <a:pt x="2" y="17"/>
                  </a:lnTo>
                  <a:lnTo>
                    <a:pt x="3" y="23"/>
                  </a:lnTo>
                  <a:lnTo>
                    <a:pt x="3" y="23"/>
                  </a:lnTo>
                  <a:lnTo>
                    <a:pt x="6" y="27"/>
                  </a:lnTo>
                  <a:lnTo>
                    <a:pt x="6" y="27"/>
                  </a:lnTo>
                  <a:lnTo>
                    <a:pt x="13" y="34"/>
                  </a:lnTo>
                  <a:lnTo>
                    <a:pt x="13" y="34"/>
                  </a:lnTo>
                  <a:lnTo>
                    <a:pt x="16" y="36"/>
                  </a:lnTo>
                  <a:lnTo>
                    <a:pt x="16" y="37"/>
                  </a:lnTo>
                  <a:lnTo>
                    <a:pt x="16" y="37"/>
                  </a:lnTo>
                  <a:lnTo>
                    <a:pt x="18" y="36"/>
                  </a:lnTo>
                  <a:lnTo>
                    <a:pt x="16" y="36"/>
                  </a:lnTo>
                  <a:lnTo>
                    <a:pt x="16" y="36"/>
                  </a:lnTo>
                  <a:lnTo>
                    <a:pt x="16" y="37"/>
                  </a:lnTo>
                  <a:lnTo>
                    <a:pt x="18" y="36"/>
                  </a:lnTo>
                  <a:lnTo>
                    <a:pt x="16" y="36"/>
                  </a:lnTo>
                  <a:lnTo>
                    <a:pt x="18" y="36"/>
                  </a:lnTo>
                  <a:lnTo>
                    <a:pt x="16" y="36"/>
                  </a:lnTo>
                  <a:lnTo>
                    <a:pt x="16" y="36"/>
                  </a:lnTo>
                  <a:lnTo>
                    <a:pt x="18" y="36"/>
                  </a:lnTo>
                  <a:lnTo>
                    <a:pt x="16" y="36"/>
                  </a:lnTo>
                  <a:lnTo>
                    <a:pt x="19" y="36"/>
                  </a:lnTo>
                  <a:lnTo>
                    <a:pt x="16" y="36"/>
                  </a:lnTo>
                  <a:lnTo>
                    <a:pt x="16" y="36"/>
                  </a:lnTo>
                  <a:lnTo>
                    <a:pt x="16" y="39"/>
                  </a:lnTo>
                  <a:lnTo>
                    <a:pt x="16" y="39"/>
                  </a:lnTo>
                  <a:lnTo>
                    <a:pt x="18" y="42"/>
                  </a:lnTo>
                  <a:lnTo>
                    <a:pt x="18" y="42"/>
                  </a:lnTo>
                  <a:lnTo>
                    <a:pt x="24" y="46"/>
                  </a:lnTo>
                  <a:lnTo>
                    <a:pt x="24" y="46"/>
                  </a:lnTo>
                  <a:lnTo>
                    <a:pt x="31" y="52"/>
                  </a:lnTo>
                  <a:lnTo>
                    <a:pt x="35" y="58"/>
                  </a:lnTo>
                  <a:lnTo>
                    <a:pt x="35" y="58"/>
                  </a:lnTo>
                  <a:lnTo>
                    <a:pt x="37" y="61"/>
                  </a:lnTo>
                  <a:lnTo>
                    <a:pt x="37" y="62"/>
                  </a:lnTo>
                  <a:lnTo>
                    <a:pt x="37" y="62"/>
                  </a:lnTo>
                  <a:lnTo>
                    <a:pt x="38" y="65"/>
                  </a:lnTo>
                  <a:lnTo>
                    <a:pt x="38" y="66"/>
                  </a:lnTo>
                  <a:lnTo>
                    <a:pt x="38" y="66"/>
                  </a:lnTo>
                  <a:lnTo>
                    <a:pt x="42" y="68"/>
                  </a:lnTo>
                  <a:lnTo>
                    <a:pt x="42" y="68"/>
                  </a:lnTo>
                  <a:lnTo>
                    <a:pt x="51" y="69"/>
                  </a:lnTo>
                  <a:lnTo>
                    <a:pt x="51" y="69"/>
                  </a:lnTo>
                  <a:lnTo>
                    <a:pt x="54" y="71"/>
                  </a:lnTo>
                  <a:lnTo>
                    <a:pt x="54" y="71"/>
                  </a:lnTo>
                  <a:lnTo>
                    <a:pt x="54" y="72"/>
                  </a:lnTo>
                  <a:lnTo>
                    <a:pt x="54" y="72"/>
                  </a:lnTo>
                  <a:lnTo>
                    <a:pt x="54" y="76"/>
                  </a:lnTo>
                  <a:lnTo>
                    <a:pt x="54" y="76"/>
                  </a:lnTo>
                  <a:lnTo>
                    <a:pt x="55" y="87"/>
                  </a:lnTo>
                  <a:lnTo>
                    <a:pt x="55" y="87"/>
                  </a:lnTo>
                  <a:lnTo>
                    <a:pt x="58" y="91"/>
                  </a:lnTo>
                  <a:lnTo>
                    <a:pt x="63" y="95"/>
                  </a:lnTo>
                  <a:lnTo>
                    <a:pt x="63" y="95"/>
                  </a:lnTo>
                  <a:lnTo>
                    <a:pt x="70" y="101"/>
                  </a:lnTo>
                  <a:lnTo>
                    <a:pt x="70" y="101"/>
                  </a:lnTo>
                  <a:lnTo>
                    <a:pt x="70" y="103"/>
                  </a:lnTo>
                  <a:lnTo>
                    <a:pt x="70" y="103"/>
                  </a:lnTo>
                  <a:lnTo>
                    <a:pt x="71" y="104"/>
                  </a:lnTo>
                  <a:lnTo>
                    <a:pt x="71" y="104"/>
                  </a:lnTo>
                  <a:lnTo>
                    <a:pt x="74" y="111"/>
                  </a:lnTo>
                  <a:lnTo>
                    <a:pt x="74" y="111"/>
                  </a:lnTo>
                  <a:lnTo>
                    <a:pt x="76" y="113"/>
                  </a:lnTo>
                  <a:lnTo>
                    <a:pt x="80" y="116"/>
                  </a:lnTo>
                  <a:lnTo>
                    <a:pt x="80" y="116"/>
                  </a:lnTo>
                  <a:lnTo>
                    <a:pt x="83" y="120"/>
                  </a:lnTo>
                  <a:lnTo>
                    <a:pt x="83" y="120"/>
                  </a:lnTo>
                  <a:lnTo>
                    <a:pt x="86" y="130"/>
                  </a:lnTo>
                  <a:lnTo>
                    <a:pt x="86" y="130"/>
                  </a:lnTo>
                  <a:lnTo>
                    <a:pt x="89" y="136"/>
                  </a:lnTo>
                  <a:lnTo>
                    <a:pt x="90" y="142"/>
                  </a:lnTo>
                  <a:lnTo>
                    <a:pt x="90" y="142"/>
                  </a:lnTo>
                  <a:lnTo>
                    <a:pt x="97" y="147"/>
                  </a:lnTo>
                  <a:lnTo>
                    <a:pt x="105" y="156"/>
                  </a:lnTo>
                  <a:lnTo>
                    <a:pt x="105" y="156"/>
                  </a:lnTo>
                  <a:lnTo>
                    <a:pt x="116" y="166"/>
                  </a:lnTo>
                  <a:lnTo>
                    <a:pt x="116" y="166"/>
                  </a:lnTo>
                  <a:lnTo>
                    <a:pt x="128" y="175"/>
                  </a:lnTo>
                  <a:lnTo>
                    <a:pt x="128" y="175"/>
                  </a:lnTo>
                  <a:lnTo>
                    <a:pt x="134" y="181"/>
                  </a:lnTo>
                  <a:lnTo>
                    <a:pt x="134" y="181"/>
                  </a:lnTo>
                  <a:lnTo>
                    <a:pt x="135" y="182"/>
                  </a:lnTo>
                  <a:lnTo>
                    <a:pt x="135" y="182"/>
                  </a:lnTo>
                  <a:lnTo>
                    <a:pt x="137" y="184"/>
                  </a:lnTo>
                  <a:lnTo>
                    <a:pt x="137" y="184"/>
                  </a:lnTo>
                  <a:lnTo>
                    <a:pt x="139" y="187"/>
                  </a:lnTo>
                  <a:lnTo>
                    <a:pt x="139" y="187"/>
                  </a:lnTo>
                  <a:lnTo>
                    <a:pt x="147" y="195"/>
                  </a:lnTo>
                  <a:lnTo>
                    <a:pt x="147" y="195"/>
                  </a:lnTo>
                  <a:lnTo>
                    <a:pt x="150" y="198"/>
                  </a:lnTo>
                  <a:lnTo>
                    <a:pt x="150" y="198"/>
                  </a:lnTo>
                  <a:lnTo>
                    <a:pt x="151" y="200"/>
                  </a:lnTo>
                  <a:lnTo>
                    <a:pt x="151" y="200"/>
                  </a:lnTo>
                  <a:lnTo>
                    <a:pt x="151" y="200"/>
                  </a:lnTo>
                  <a:lnTo>
                    <a:pt x="152" y="201"/>
                  </a:lnTo>
                  <a:lnTo>
                    <a:pt x="152" y="201"/>
                  </a:lnTo>
                  <a:lnTo>
                    <a:pt x="155" y="200"/>
                  </a:lnTo>
                  <a:lnTo>
                    <a:pt x="155" y="200"/>
                  </a:lnTo>
                  <a:lnTo>
                    <a:pt x="155" y="198"/>
                  </a:lnTo>
                  <a:lnTo>
                    <a:pt x="155" y="198"/>
                  </a:lnTo>
                  <a:lnTo>
                    <a:pt x="155" y="197"/>
                  </a:lnTo>
                  <a:lnTo>
                    <a:pt x="155" y="197"/>
                  </a:lnTo>
                  <a:lnTo>
                    <a:pt x="152" y="191"/>
                  </a:lnTo>
                  <a:lnTo>
                    <a:pt x="152" y="191"/>
                  </a:lnTo>
                  <a:lnTo>
                    <a:pt x="152" y="189"/>
                  </a:lnTo>
                  <a:lnTo>
                    <a:pt x="152" y="189"/>
                  </a:lnTo>
                  <a:lnTo>
                    <a:pt x="152" y="189"/>
                  </a:lnTo>
                  <a:lnTo>
                    <a:pt x="151" y="189"/>
                  </a:lnTo>
                  <a:lnTo>
                    <a:pt x="152" y="189"/>
                  </a:lnTo>
                  <a:lnTo>
                    <a:pt x="152" y="189"/>
                  </a:lnTo>
                  <a:lnTo>
                    <a:pt x="151" y="189"/>
                  </a:lnTo>
                  <a:lnTo>
                    <a:pt x="152" y="189"/>
                  </a:lnTo>
                  <a:lnTo>
                    <a:pt x="150" y="189"/>
                  </a:lnTo>
                  <a:lnTo>
                    <a:pt x="151" y="191"/>
                  </a:lnTo>
                  <a:lnTo>
                    <a:pt x="151" y="191"/>
                  </a:lnTo>
                  <a:lnTo>
                    <a:pt x="152" y="189"/>
                  </a:lnTo>
                  <a:lnTo>
                    <a:pt x="150" y="189"/>
                  </a:lnTo>
                  <a:lnTo>
                    <a:pt x="151" y="191"/>
                  </a:lnTo>
                  <a:lnTo>
                    <a:pt x="150" y="189"/>
                  </a:lnTo>
                  <a:lnTo>
                    <a:pt x="150" y="191"/>
                  </a:lnTo>
                  <a:lnTo>
                    <a:pt x="150" y="191"/>
                  </a:lnTo>
                  <a:lnTo>
                    <a:pt x="151" y="191"/>
                  </a:lnTo>
                  <a:lnTo>
                    <a:pt x="150" y="189"/>
                  </a:lnTo>
                  <a:lnTo>
                    <a:pt x="150" y="191"/>
                  </a:lnTo>
                  <a:lnTo>
                    <a:pt x="150" y="191"/>
                  </a:lnTo>
                  <a:lnTo>
                    <a:pt x="150" y="191"/>
                  </a:lnTo>
                  <a:lnTo>
                    <a:pt x="150" y="191"/>
                  </a:lnTo>
                  <a:lnTo>
                    <a:pt x="150" y="191"/>
                  </a:lnTo>
                  <a:lnTo>
                    <a:pt x="150" y="191"/>
                  </a:lnTo>
                  <a:lnTo>
                    <a:pt x="150" y="191"/>
                  </a:lnTo>
                  <a:lnTo>
                    <a:pt x="150" y="191"/>
                  </a:lnTo>
                  <a:lnTo>
                    <a:pt x="151" y="191"/>
                  </a:lnTo>
                  <a:lnTo>
                    <a:pt x="151" y="191"/>
                  </a:lnTo>
                  <a:lnTo>
                    <a:pt x="155" y="194"/>
                  </a:lnTo>
                  <a:lnTo>
                    <a:pt x="155" y="194"/>
                  </a:lnTo>
                  <a:lnTo>
                    <a:pt x="161" y="195"/>
                  </a:lnTo>
                  <a:lnTo>
                    <a:pt x="161" y="197"/>
                  </a:lnTo>
                  <a:lnTo>
                    <a:pt x="161" y="197"/>
                  </a:lnTo>
                  <a:lnTo>
                    <a:pt x="166" y="195"/>
                  </a:lnTo>
                  <a:lnTo>
                    <a:pt x="168" y="192"/>
                  </a:lnTo>
                  <a:lnTo>
                    <a:pt x="170" y="189"/>
                  </a:lnTo>
                  <a:lnTo>
                    <a:pt x="171" y="185"/>
                  </a:lnTo>
                  <a:lnTo>
                    <a:pt x="171" y="185"/>
                  </a:lnTo>
                  <a:lnTo>
                    <a:pt x="171" y="172"/>
                  </a:lnTo>
                  <a:lnTo>
                    <a:pt x="171" y="172"/>
                  </a:lnTo>
                  <a:lnTo>
                    <a:pt x="171" y="166"/>
                  </a:lnTo>
                  <a:lnTo>
                    <a:pt x="171" y="166"/>
                  </a:lnTo>
                  <a:lnTo>
                    <a:pt x="170" y="162"/>
                  </a:lnTo>
                  <a:lnTo>
                    <a:pt x="170" y="162"/>
                  </a:lnTo>
                  <a:lnTo>
                    <a:pt x="166" y="159"/>
                  </a:lnTo>
                  <a:lnTo>
                    <a:pt x="166" y="159"/>
                  </a:lnTo>
                  <a:lnTo>
                    <a:pt x="166" y="159"/>
                  </a:lnTo>
                  <a:lnTo>
                    <a:pt x="166" y="159"/>
                  </a:lnTo>
                  <a:lnTo>
                    <a:pt x="166" y="159"/>
                  </a:lnTo>
                  <a:lnTo>
                    <a:pt x="166" y="159"/>
                  </a:lnTo>
                  <a:lnTo>
                    <a:pt x="166" y="159"/>
                  </a:lnTo>
                  <a:lnTo>
                    <a:pt x="164" y="160"/>
                  </a:lnTo>
                  <a:lnTo>
                    <a:pt x="166" y="159"/>
                  </a:lnTo>
                  <a:lnTo>
                    <a:pt x="166" y="159"/>
                  </a:lnTo>
                  <a:lnTo>
                    <a:pt x="164" y="160"/>
                  </a:lnTo>
                  <a:lnTo>
                    <a:pt x="166" y="159"/>
                  </a:lnTo>
                  <a:lnTo>
                    <a:pt x="164" y="160"/>
                  </a:lnTo>
                  <a:lnTo>
                    <a:pt x="166" y="160"/>
                  </a:lnTo>
                  <a:lnTo>
                    <a:pt x="166" y="160"/>
                  </a:lnTo>
                  <a:lnTo>
                    <a:pt x="166" y="159"/>
                  </a:lnTo>
                  <a:lnTo>
                    <a:pt x="164" y="160"/>
                  </a:lnTo>
                  <a:lnTo>
                    <a:pt x="166" y="160"/>
                  </a:lnTo>
                  <a:lnTo>
                    <a:pt x="164" y="160"/>
                  </a:lnTo>
                  <a:lnTo>
                    <a:pt x="166" y="162"/>
                  </a:lnTo>
                  <a:lnTo>
                    <a:pt x="166" y="160"/>
                  </a:lnTo>
                  <a:lnTo>
                    <a:pt x="164" y="160"/>
                  </a:lnTo>
                  <a:lnTo>
                    <a:pt x="166" y="162"/>
                  </a:lnTo>
                  <a:lnTo>
                    <a:pt x="164" y="160"/>
                  </a:lnTo>
                  <a:lnTo>
                    <a:pt x="166" y="162"/>
                  </a:lnTo>
                  <a:lnTo>
                    <a:pt x="166" y="162"/>
                  </a:lnTo>
                  <a:lnTo>
                    <a:pt x="166" y="162"/>
                  </a:lnTo>
                  <a:lnTo>
                    <a:pt x="164" y="160"/>
                  </a:lnTo>
                  <a:lnTo>
                    <a:pt x="166" y="162"/>
                  </a:lnTo>
                  <a:lnTo>
                    <a:pt x="166" y="162"/>
                  </a:lnTo>
                  <a:lnTo>
                    <a:pt x="166" y="162"/>
                  </a:lnTo>
                  <a:lnTo>
                    <a:pt x="166" y="162"/>
                  </a:lnTo>
                  <a:lnTo>
                    <a:pt x="166" y="162"/>
                  </a:lnTo>
                  <a:lnTo>
                    <a:pt x="166" y="162"/>
                  </a:lnTo>
                  <a:lnTo>
                    <a:pt x="166" y="162"/>
                  </a:lnTo>
                  <a:lnTo>
                    <a:pt x="167" y="160"/>
                  </a:lnTo>
                  <a:lnTo>
                    <a:pt x="167" y="160"/>
                  </a:lnTo>
                  <a:lnTo>
                    <a:pt x="170" y="159"/>
                  </a:lnTo>
                  <a:lnTo>
                    <a:pt x="171" y="158"/>
                  </a:lnTo>
                  <a:lnTo>
                    <a:pt x="171" y="158"/>
                  </a:lnTo>
                  <a:lnTo>
                    <a:pt x="173" y="152"/>
                  </a:lnTo>
                  <a:lnTo>
                    <a:pt x="173" y="152"/>
                  </a:lnTo>
                  <a:lnTo>
                    <a:pt x="173" y="149"/>
                  </a:lnTo>
                  <a:lnTo>
                    <a:pt x="173" y="149"/>
                  </a:lnTo>
                  <a:lnTo>
                    <a:pt x="173" y="149"/>
                  </a:lnTo>
                  <a:lnTo>
                    <a:pt x="173" y="147"/>
                  </a:lnTo>
                  <a:lnTo>
                    <a:pt x="173" y="147"/>
                  </a:lnTo>
                  <a:lnTo>
                    <a:pt x="174" y="143"/>
                  </a:lnTo>
                  <a:lnTo>
                    <a:pt x="174" y="143"/>
                  </a:lnTo>
                  <a:lnTo>
                    <a:pt x="174" y="140"/>
                  </a:lnTo>
                  <a:lnTo>
                    <a:pt x="174" y="140"/>
                  </a:lnTo>
                  <a:lnTo>
                    <a:pt x="170" y="137"/>
                  </a:lnTo>
                  <a:lnTo>
                    <a:pt x="170" y="137"/>
                  </a:lnTo>
                  <a:lnTo>
                    <a:pt x="166" y="136"/>
                  </a:lnTo>
                  <a:lnTo>
                    <a:pt x="160" y="134"/>
                  </a:lnTo>
                  <a:lnTo>
                    <a:pt x="160" y="134"/>
                  </a:lnTo>
                  <a:lnTo>
                    <a:pt x="155" y="133"/>
                  </a:lnTo>
                  <a:lnTo>
                    <a:pt x="155" y="133"/>
                  </a:lnTo>
                  <a:lnTo>
                    <a:pt x="155" y="133"/>
                  </a:lnTo>
                  <a:lnTo>
                    <a:pt x="154" y="134"/>
                  </a:lnTo>
                  <a:lnTo>
                    <a:pt x="155" y="134"/>
                  </a:lnTo>
                  <a:lnTo>
                    <a:pt x="155" y="134"/>
                  </a:lnTo>
                  <a:lnTo>
                    <a:pt x="155" y="133"/>
                  </a:lnTo>
                  <a:lnTo>
                    <a:pt x="154" y="134"/>
                  </a:lnTo>
                  <a:lnTo>
                    <a:pt x="155" y="134"/>
                  </a:lnTo>
                  <a:lnTo>
                    <a:pt x="155" y="134"/>
                  </a:lnTo>
                  <a:lnTo>
                    <a:pt x="154" y="131"/>
                  </a:lnTo>
                  <a:lnTo>
                    <a:pt x="154" y="131"/>
                  </a:lnTo>
                  <a:lnTo>
                    <a:pt x="151" y="124"/>
                  </a:lnTo>
                  <a:lnTo>
                    <a:pt x="151" y="124"/>
                  </a:lnTo>
                  <a:lnTo>
                    <a:pt x="147" y="117"/>
                  </a:lnTo>
                  <a:lnTo>
                    <a:pt x="147" y="117"/>
                  </a:lnTo>
                  <a:lnTo>
                    <a:pt x="141" y="113"/>
                  </a:lnTo>
                  <a:lnTo>
                    <a:pt x="141" y="113"/>
                  </a:lnTo>
                  <a:lnTo>
                    <a:pt x="138" y="110"/>
                  </a:lnTo>
                  <a:lnTo>
                    <a:pt x="138" y="110"/>
                  </a:lnTo>
                  <a:lnTo>
                    <a:pt x="138" y="110"/>
                  </a:lnTo>
                  <a:lnTo>
                    <a:pt x="138" y="110"/>
                  </a:lnTo>
                  <a:lnTo>
                    <a:pt x="138" y="110"/>
                  </a:lnTo>
                  <a:lnTo>
                    <a:pt x="138" y="110"/>
                  </a:lnTo>
                  <a:lnTo>
                    <a:pt x="138" y="110"/>
                  </a:lnTo>
                  <a:lnTo>
                    <a:pt x="138" y="110"/>
                  </a:lnTo>
                  <a:lnTo>
                    <a:pt x="138" y="110"/>
                  </a:lnTo>
                  <a:lnTo>
                    <a:pt x="141" y="105"/>
                  </a:lnTo>
                  <a:lnTo>
                    <a:pt x="141" y="105"/>
                  </a:lnTo>
                  <a:lnTo>
                    <a:pt x="142" y="101"/>
                  </a:lnTo>
                  <a:lnTo>
                    <a:pt x="142" y="101"/>
                  </a:lnTo>
                  <a:lnTo>
                    <a:pt x="141" y="98"/>
                  </a:lnTo>
                  <a:lnTo>
                    <a:pt x="141" y="98"/>
                  </a:lnTo>
                  <a:lnTo>
                    <a:pt x="138" y="95"/>
                  </a:lnTo>
                  <a:lnTo>
                    <a:pt x="138" y="95"/>
                  </a:lnTo>
                  <a:lnTo>
                    <a:pt x="132" y="91"/>
                  </a:lnTo>
                  <a:lnTo>
                    <a:pt x="132" y="91"/>
                  </a:lnTo>
                  <a:lnTo>
                    <a:pt x="131" y="88"/>
                  </a:lnTo>
                  <a:lnTo>
                    <a:pt x="131" y="88"/>
                  </a:lnTo>
                  <a:lnTo>
                    <a:pt x="131" y="88"/>
                  </a:lnTo>
                  <a:lnTo>
                    <a:pt x="129" y="88"/>
                  </a:lnTo>
                  <a:lnTo>
                    <a:pt x="131" y="88"/>
                  </a:lnTo>
                  <a:lnTo>
                    <a:pt x="131" y="88"/>
                  </a:lnTo>
                  <a:lnTo>
                    <a:pt x="129" y="88"/>
                  </a:lnTo>
                  <a:lnTo>
                    <a:pt x="131" y="88"/>
                  </a:lnTo>
                  <a:lnTo>
                    <a:pt x="131" y="88"/>
                  </a:lnTo>
                  <a:lnTo>
                    <a:pt x="131" y="88"/>
                  </a:lnTo>
                  <a:lnTo>
                    <a:pt x="131" y="88"/>
                  </a:lnTo>
                  <a:lnTo>
                    <a:pt x="131" y="87"/>
                  </a:lnTo>
                  <a:lnTo>
                    <a:pt x="131" y="87"/>
                  </a:lnTo>
                  <a:lnTo>
                    <a:pt x="131" y="85"/>
                  </a:lnTo>
                  <a:lnTo>
                    <a:pt x="131" y="85"/>
                  </a:lnTo>
                  <a:lnTo>
                    <a:pt x="132" y="84"/>
                  </a:lnTo>
                  <a:lnTo>
                    <a:pt x="132" y="84"/>
                  </a:lnTo>
                  <a:lnTo>
                    <a:pt x="131" y="81"/>
                  </a:lnTo>
                  <a:lnTo>
                    <a:pt x="131" y="81"/>
                  </a:lnTo>
                  <a:lnTo>
                    <a:pt x="128" y="79"/>
                  </a:lnTo>
                  <a:lnTo>
                    <a:pt x="128" y="79"/>
                  </a:lnTo>
                  <a:lnTo>
                    <a:pt x="125" y="79"/>
                  </a:lnTo>
                  <a:lnTo>
                    <a:pt x="125" y="79"/>
                  </a:lnTo>
                  <a:lnTo>
                    <a:pt x="124" y="79"/>
                  </a:lnTo>
                  <a:lnTo>
                    <a:pt x="122" y="79"/>
                  </a:lnTo>
                  <a:lnTo>
                    <a:pt x="122" y="79"/>
                  </a:lnTo>
                  <a:lnTo>
                    <a:pt x="121" y="76"/>
                  </a:lnTo>
                  <a:lnTo>
                    <a:pt x="121" y="76"/>
                  </a:lnTo>
                  <a:lnTo>
                    <a:pt x="118" y="72"/>
                  </a:lnTo>
                  <a:lnTo>
                    <a:pt x="118" y="72"/>
                  </a:lnTo>
                  <a:lnTo>
                    <a:pt x="116" y="71"/>
                  </a:lnTo>
                  <a:lnTo>
                    <a:pt x="116" y="71"/>
                  </a:lnTo>
                  <a:lnTo>
                    <a:pt x="113" y="71"/>
                  </a:lnTo>
                  <a:lnTo>
                    <a:pt x="113" y="71"/>
                  </a:lnTo>
                  <a:lnTo>
                    <a:pt x="112" y="71"/>
                  </a:lnTo>
                  <a:lnTo>
                    <a:pt x="112" y="71"/>
                  </a:lnTo>
                  <a:lnTo>
                    <a:pt x="110" y="69"/>
                  </a:lnTo>
                  <a:lnTo>
                    <a:pt x="110" y="69"/>
                  </a:lnTo>
                  <a:lnTo>
                    <a:pt x="108" y="66"/>
                  </a:lnTo>
                  <a:lnTo>
                    <a:pt x="108" y="66"/>
                  </a:lnTo>
                  <a:lnTo>
                    <a:pt x="105" y="65"/>
                  </a:lnTo>
                  <a:lnTo>
                    <a:pt x="105" y="65"/>
                  </a:lnTo>
                  <a:lnTo>
                    <a:pt x="103" y="63"/>
                  </a:lnTo>
                  <a:lnTo>
                    <a:pt x="103" y="63"/>
                  </a:lnTo>
                  <a:lnTo>
                    <a:pt x="103" y="63"/>
                  </a:lnTo>
                  <a:lnTo>
                    <a:pt x="95" y="63"/>
                  </a:lnTo>
                  <a:lnTo>
                    <a:pt x="95" y="63"/>
                  </a:lnTo>
                  <a:lnTo>
                    <a:pt x="89" y="62"/>
                  </a:lnTo>
                  <a:lnTo>
                    <a:pt x="89" y="62"/>
                  </a:lnTo>
                  <a:lnTo>
                    <a:pt x="86" y="61"/>
                  </a:lnTo>
                  <a:lnTo>
                    <a:pt x="84" y="62"/>
                  </a:lnTo>
                  <a:lnTo>
                    <a:pt x="83" y="63"/>
                  </a:lnTo>
                  <a:lnTo>
                    <a:pt x="83" y="63"/>
                  </a:lnTo>
                  <a:lnTo>
                    <a:pt x="84" y="66"/>
                  </a:lnTo>
                  <a:lnTo>
                    <a:pt x="87" y="66"/>
                  </a:lnTo>
                  <a:lnTo>
                    <a:pt x="87" y="66"/>
                  </a:lnTo>
                  <a:lnTo>
                    <a:pt x="96" y="68"/>
                  </a:lnTo>
                  <a:lnTo>
                    <a:pt x="96" y="68"/>
                  </a:lnTo>
                  <a:lnTo>
                    <a:pt x="103" y="68"/>
                  </a:lnTo>
                  <a:lnTo>
                    <a:pt x="103" y="68"/>
                  </a:lnTo>
                  <a:lnTo>
                    <a:pt x="103" y="68"/>
                  </a:lnTo>
                  <a:lnTo>
                    <a:pt x="102" y="68"/>
                  </a:lnTo>
                  <a:lnTo>
                    <a:pt x="103" y="68"/>
                  </a:lnTo>
                  <a:lnTo>
                    <a:pt x="103" y="68"/>
                  </a:lnTo>
                  <a:lnTo>
                    <a:pt x="102" y="68"/>
                  </a:lnTo>
                  <a:lnTo>
                    <a:pt x="103" y="69"/>
                  </a:lnTo>
                  <a:lnTo>
                    <a:pt x="103" y="69"/>
                  </a:lnTo>
                  <a:lnTo>
                    <a:pt x="106" y="72"/>
                  </a:lnTo>
                  <a:lnTo>
                    <a:pt x="106" y="72"/>
                  </a:lnTo>
                  <a:lnTo>
                    <a:pt x="110" y="75"/>
                  </a:lnTo>
                  <a:lnTo>
                    <a:pt x="110" y="75"/>
                  </a:lnTo>
                  <a:lnTo>
                    <a:pt x="113" y="75"/>
                  </a:lnTo>
                  <a:lnTo>
                    <a:pt x="115" y="75"/>
                  </a:lnTo>
                  <a:lnTo>
                    <a:pt x="115" y="75"/>
                  </a:lnTo>
                  <a:lnTo>
                    <a:pt x="115" y="75"/>
                  </a:lnTo>
                  <a:lnTo>
                    <a:pt x="115" y="75"/>
                  </a:lnTo>
                  <a:lnTo>
                    <a:pt x="115" y="75"/>
                  </a:lnTo>
                  <a:lnTo>
                    <a:pt x="115" y="75"/>
                  </a:lnTo>
                  <a:lnTo>
                    <a:pt x="115" y="75"/>
                  </a:lnTo>
                  <a:lnTo>
                    <a:pt x="115" y="75"/>
                  </a:lnTo>
                  <a:lnTo>
                    <a:pt x="115" y="75"/>
                  </a:lnTo>
                  <a:lnTo>
                    <a:pt x="115" y="75"/>
                  </a:lnTo>
                  <a:lnTo>
                    <a:pt x="115" y="75"/>
                  </a:lnTo>
                  <a:lnTo>
                    <a:pt x="115" y="75"/>
                  </a:lnTo>
                  <a:lnTo>
                    <a:pt x="116" y="79"/>
                  </a:lnTo>
                  <a:lnTo>
                    <a:pt x="116" y="79"/>
                  </a:lnTo>
                  <a:lnTo>
                    <a:pt x="121" y="84"/>
                  </a:lnTo>
                  <a:lnTo>
                    <a:pt x="121" y="84"/>
                  </a:lnTo>
                  <a:lnTo>
                    <a:pt x="124" y="84"/>
                  </a:lnTo>
                  <a:lnTo>
                    <a:pt x="124" y="84"/>
                  </a:lnTo>
                  <a:lnTo>
                    <a:pt x="125" y="84"/>
                  </a:lnTo>
                  <a:lnTo>
                    <a:pt x="125" y="84"/>
                  </a:lnTo>
                  <a:lnTo>
                    <a:pt x="126" y="84"/>
                  </a:lnTo>
                  <a:lnTo>
                    <a:pt x="126" y="84"/>
                  </a:lnTo>
                  <a:lnTo>
                    <a:pt x="126" y="84"/>
                  </a:lnTo>
                  <a:lnTo>
                    <a:pt x="128" y="84"/>
                  </a:lnTo>
                  <a:lnTo>
                    <a:pt x="126" y="84"/>
                  </a:lnTo>
                  <a:lnTo>
                    <a:pt x="126" y="84"/>
                  </a:lnTo>
                  <a:lnTo>
                    <a:pt x="128" y="84"/>
                  </a:lnTo>
                  <a:lnTo>
                    <a:pt x="126" y="84"/>
                  </a:lnTo>
                  <a:lnTo>
                    <a:pt x="128" y="84"/>
                  </a:lnTo>
                  <a:lnTo>
                    <a:pt x="126" y="84"/>
                  </a:lnTo>
                  <a:lnTo>
                    <a:pt x="126" y="84"/>
                  </a:lnTo>
                  <a:lnTo>
                    <a:pt x="128" y="84"/>
                  </a:lnTo>
                  <a:lnTo>
                    <a:pt x="126" y="84"/>
                  </a:lnTo>
                  <a:lnTo>
                    <a:pt x="128" y="84"/>
                  </a:lnTo>
                  <a:lnTo>
                    <a:pt x="126" y="84"/>
                  </a:lnTo>
                  <a:lnTo>
                    <a:pt x="126" y="84"/>
                  </a:lnTo>
                  <a:lnTo>
                    <a:pt x="128" y="84"/>
                  </a:lnTo>
                  <a:lnTo>
                    <a:pt x="126" y="84"/>
                  </a:lnTo>
                  <a:lnTo>
                    <a:pt x="126" y="84"/>
                  </a:lnTo>
                  <a:lnTo>
                    <a:pt x="126" y="84"/>
                  </a:lnTo>
                  <a:lnTo>
                    <a:pt x="126" y="84"/>
                  </a:lnTo>
                  <a:lnTo>
                    <a:pt x="126" y="84"/>
                  </a:lnTo>
                  <a:lnTo>
                    <a:pt x="126" y="84"/>
                  </a:lnTo>
                  <a:lnTo>
                    <a:pt x="126" y="85"/>
                  </a:lnTo>
                  <a:lnTo>
                    <a:pt x="126" y="85"/>
                  </a:lnTo>
                  <a:lnTo>
                    <a:pt x="125" y="88"/>
                  </a:lnTo>
                  <a:lnTo>
                    <a:pt x="125" y="88"/>
                  </a:lnTo>
                  <a:lnTo>
                    <a:pt x="125" y="88"/>
                  </a:lnTo>
                  <a:lnTo>
                    <a:pt x="125" y="88"/>
                  </a:lnTo>
                  <a:lnTo>
                    <a:pt x="125" y="88"/>
                  </a:lnTo>
                  <a:lnTo>
                    <a:pt x="126" y="91"/>
                  </a:lnTo>
                  <a:lnTo>
                    <a:pt x="126" y="91"/>
                  </a:lnTo>
                  <a:lnTo>
                    <a:pt x="129" y="94"/>
                  </a:lnTo>
                  <a:lnTo>
                    <a:pt x="129" y="94"/>
                  </a:lnTo>
                  <a:lnTo>
                    <a:pt x="135" y="100"/>
                  </a:lnTo>
                  <a:lnTo>
                    <a:pt x="135" y="100"/>
                  </a:lnTo>
                  <a:lnTo>
                    <a:pt x="137" y="101"/>
                  </a:lnTo>
                  <a:lnTo>
                    <a:pt x="137" y="101"/>
                  </a:lnTo>
                  <a:lnTo>
                    <a:pt x="137" y="101"/>
                  </a:lnTo>
                  <a:lnTo>
                    <a:pt x="138" y="101"/>
                  </a:lnTo>
                  <a:lnTo>
                    <a:pt x="137" y="101"/>
                  </a:lnTo>
                  <a:lnTo>
                    <a:pt x="137" y="101"/>
                  </a:lnTo>
                  <a:lnTo>
                    <a:pt x="138" y="101"/>
                  </a:lnTo>
                  <a:lnTo>
                    <a:pt x="137" y="101"/>
                  </a:lnTo>
                  <a:lnTo>
                    <a:pt x="137" y="101"/>
                  </a:lnTo>
                  <a:lnTo>
                    <a:pt x="137" y="103"/>
                  </a:lnTo>
                  <a:lnTo>
                    <a:pt x="137" y="103"/>
                  </a:lnTo>
                  <a:lnTo>
                    <a:pt x="134" y="107"/>
                  </a:lnTo>
                  <a:lnTo>
                    <a:pt x="134" y="107"/>
                  </a:lnTo>
                  <a:lnTo>
                    <a:pt x="134" y="110"/>
                  </a:lnTo>
                  <a:lnTo>
                    <a:pt x="134" y="110"/>
                  </a:lnTo>
                  <a:lnTo>
                    <a:pt x="134" y="113"/>
                  </a:lnTo>
                  <a:lnTo>
                    <a:pt x="134" y="113"/>
                  </a:lnTo>
                  <a:lnTo>
                    <a:pt x="138" y="117"/>
                  </a:lnTo>
                  <a:lnTo>
                    <a:pt x="142" y="121"/>
                  </a:lnTo>
                  <a:lnTo>
                    <a:pt x="142" y="121"/>
                  </a:lnTo>
                  <a:lnTo>
                    <a:pt x="145" y="124"/>
                  </a:lnTo>
                  <a:lnTo>
                    <a:pt x="148" y="130"/>
                  </a:lnTo>
                  <a:lnTo>
                    <a:pt x="148" y="130"/>
                  </a:lnTo>
                  <a:lnTo>
                    <a:pt x="150" y="133"/>
                  </a:lnTo>
                  <a:lnTo>
                    <a:pt x="150" y="133"/>
                  </a:lnTo>
                  <a:lnTo>
                    <a:pt x="151" y="136"/>
                  </a:lnTo>
                  <a:lnTo>
                    <a:pt x="151" y="136"/>
                  </a:lnTo>
                  <a:lnTo>
                    <a:pt x="152" y="137"/>
                  </a:lnTo>
                  <a:lnTo>
                    <a:pt x="152" y="137"/>
                  </a:lnTo>
                  <a:lnTo>
                    <a:pt x="157" y="139"/>
                  </a:lnTo>
                  <a:lnTo>
                    <a:pt x="157" y="139"/>
                  </a:lnTo>
                  <a:lnTo>
                    <a:pt x="163" y="140"/>
                  </a:lnTo>
                  <a:lnTo>
                    <a:pt x="168" y="142"/>
                  </a:lnTo>
                  <a:lnTo>
                    <a:pt x="168" y="142"/>
                  </a:lnTo>
                  <a:lnTo>
                    <a:pt x="170" y="143"/>
                  </a:lnTo>
                  <a:lnTo>
                    <a:pt x="170" y="143"/>
                  </a:lnTo>
                  <a:lnTo>
                    <a:pt x="170" y="143"/>
                  </a:lnTo>
                  <a:lnTo>
                    <a:pt x="168" y="145"/>
                  </a:lnTo>
                  <a:lnTo>
                    <a:pt x="168" y="145"/>
                  </a:lnTo>
                  <a:lnTo>
                    <a:pt x="168" y="147"/>
                  </a:lnTo>
                  <a:lnTo>
                    <a:pt x="167" y="149"/>
                  </a:lnTo>
                  <a:lnTo>
                    <a:pt x="167" y="149"/>
                  </a:lnTo>
                  <a:lnTo>
                    <a:pt x="167" y="152"/>
                  </a:lnTo>
                  <a:lnTo>
                    <a:pt x="167" y="152"/>
                  </a:lnTo>
                  <a:lnTo>
                    <a:pt x="167" y="155"/>
                  </a:lnTo>
                  <a:lnTo>
                    <a:pt x="167" y="155"/>
                  </a:lnTo>
                  <a:lnTo>
                    <a:pt x="166" y="156"/>
                  </a:lnTo>
                  <a:lnTo>
                    <a:pt x="166" y="156"/>
                  </a:lnTo>
                  <a:lnTo>
                    <a:pt x="163" y="158"/>
                  </a:lnTo>
                  <a:lnTo>
                    <a:pt x="163" y="158"/>
                  </a:lnTo>
                  <a:lnTo>
                    <a:pt x="161" y="159"/>
                  </a:lnTo>
                  <a:lnTo>
                    <a:pt x="161" y="159"/>
                  </a:lnTo>
                  <a:lnTo>
                    <a:pt x="161" y="160"/>
                  </a:lnTo>
                  <a:lnTo>
                    <a:pt x="161" y="160"/>
                  </a:lnTo>
                  <a:lnTo>
                    <a:pt x="161" y="162"/>
                  </a:lnTo>
                  <a:lnTo>
                    <a:pt x="161" y="162"/>
                  </a:lnTo>
                  <a:lnTo>
                    <a:pt x="163" y="163"/>
                  </a:lnTo>
                  <a:lnTo>
                    <a:pt x="163" y="163"/>
                  </a:lnTo>
                  <a:lnTo>
                    <a:pt x="166" y="165"/>
                  </a:lnTo>
                  <a:lnTo>
                    <a:pt x="166" y="165"/>
                  </a:lnTo>
                  <a:lnTo>
                    <a:pt x="167" y="168"/>
                  </a:lnTo>
                  <a:lnTo>
                    <a:pt x="167" y="168"/>
                  </a:lnTo>
                  <a:lnTo>
                    <a:pt x="167" y="172"/>
                  </a:lnTo>
                  <a:lnTo>
                    <a:pt x="167" y="172"/>
                  </a:lnTo>
                  <a:lnTo>
                    <a:pt x="166" y="185"/>
                  </a:lnTo>
                  <a:lnTo>
                    <a:pt x="166" y="185"/>
                  </a:lnTo>
                  <a:lnTo>
                    <a:pt x="166" y="188"/>
                  </a:lnTo>
                  <a:lnTo>
                    <a:pt x="164" y="189"/>
                  </a:lnTo>
                  <a:lnTo>
                    <a:pt x="161" y="191"/>
                  </a:lnTo>
                  <a:lnTo>
                    <a:pt x="161" y="191"/>
                  </a:lnTo>
                  <a:lnTo>
                    <a:pt x="161" y="191"/>
                  </a:lnTo>
                  <a:lnTo>
                    <a:pt x="160" y="191"/>
                  </a:lnTo>
                  <a:lnTo>
                    <a:pt x="160" y="191"/>
                  </a:lnTo>
                  <a:lnTo>
                    <a:pt x="155" y="188"/>
                  </a:lnTo>
                  <a:lnTo>
                    <a:pt x="155" y="188"/>
                  </a:lnTo>
                  <a:lnTo>
                    <a:pt x="151" y="187"/>
                  </a:lnTo>
                  <a:lnTo>
                    <a:pt x="150" y="185"/>
                  </a:lnTo>
                  <a:lnTo>
                    <a:pt x="150" y="185"/>
                  </a:lnTo>
                  <a:lnTo>
                    <a:pt x="148" y="187"/>
                  </a:lnTo>
                  <a:lnTo>
                    <a:pt x="148" y="187"/>
                  </a:lnTo>
                  <a:lnTo>
                    <a:pt x="147" y="189"/>
                  </a:lnTo>
                  <a:lnTo>
                    <a:pt x="147" y="189"/>
                  </a:lnTo>
                  <a:lnTo>
                    <a:pt x="147" y="191"/>
                  </a:lnTo>
                  <a:lnTo>
                    <a:pt x="147" y="191"/>
                  </a:lnTo>
                  <a:lnTo>
                    <a:pt x="151" y="198"/>
                  </a:lnTo>
                  <a:lnTo>
                    <a:pt x="151" y="198"/>
                  </a:lnTo>
                  <a:lnTo>
                    <a:pt x="151" y="198"/>
                  </a:lnTo>
                  <a:lnTo>
                    <a:pt x="151" y="198"/>
                  </a:lnTo>
                  <a:lnTo>
                    <a:pt x="151" y="198"/>
                  </a:lnTo>
                  <a:lnTo>
                    <a:pt x="151" y="198"/>
                  </a:lnTo>
                  <a:lnTo>
                    <a:pt x="151" y="198"/>
                  </a:lnTo>
                  <a:lnTo>
                    <a:pt x="152" y="198"/>
                  </a:lnTo>
                  <a:lnTo>
                    <a:pt x="151" y="197"/>
                  </a:lnTo>
                  <a:lnTo>
                    <a:pt x="151" y="197"/>
                  </a:lnTo>
                  <a:lnTo>
                    <a:pt x="151" y="198"/>
                  </a:lnTo>
                  <a:lnTo>
                    <a:pt x="152" y="198"/>
                  </a:lnTo>
                  <a:lnTo>
                    <a:pt x="151" y="197"/>
                  </a:lnTo>
                  <a:lnTo>
                    <a:pt x="152" y="198"/>
                  </a:lnTo>
                  <a:lnTo>
                    <a:pt x="152" y="195"/>
                  </a:lnTo>
                  <a:lnTo>
                    <a:pt x="152" y="195"/>
                  </a:lnTo>
                  <a:lnTo>
                    <a:pt x="151" y="197"/>
                  </a:lnTo>
                  <a:lnTo>
                    <a:pt x="152" y="198"/>
                  </a:lnTo>
                  <a:lnTo>
                    <a:pt x="152" y="195"/>
                  </a:lnTo>
                  <a:lnTo>
                    <a:pt x="152" y="197"/>
                  </a:lnTo>
                  <a:lnTo>
                    <a:pt x="154" y="195"/>
                  </a:lnTo>
                  <a:lnTo>
                    <a:pt x="154" y="195"/>
                  </a:lnTo>
                  <a:lnTo>
                    <a:pt x="152" y="195"/>
                  </a:lnTo>
                  <a:lnTo>
                    <a:pt x="152" y="197"/>
                  </a:lnTo>
                  <a:lnTo>
                    <a:pt x="154" y="195"/>
                  </a:lnTo>
                  <a:lnTo>
                    <a:pt x="154" y="195"/>
                  </a:lnTo>
                  <a:lnTo>
                    <a:pt x="152" y="195"/>
                  </a:lnTo>
                  <a:lnTo>
                    <a:pt x="152" y="195"/>
                  </a:lnTo>
                  <a:lnTo>
                    <a:pt x="145" y="187"/>
                  </a:lnTo>
                  <a:lnTo>
                    <a:pt x="145" y="187"/>
                  </a:lnTo>
                  <a:lnTo>
                    <a:pt x="142" y="184"/>
                  </a:lnTo>
                  <a:lnTo>
                    <a:pt x="142" y="184"/>
                  </a:lnTo>
                  <a:lnTo>
                    <a:pt x="141" y="181"/>
                  </a:lnTo>
                  <a:lnTo>
                    <a:pt x="141" y="181"/>
                  </a:lnTo>
                  <a:lnTo>
                    <a:pt x="139" y="179"/>
                  </a:lnTo>
                  <a:lnTo>
                    <a:pt x="139" y="179"/>
                  </a:lnTo>
                  <a:lnTo>
                    <a:pt x="129" y="171"/>
                  </a:lnTo>
                  <a:lnTo>
                    <a:pt x="129" y="171"/>
                  </a:lnTo>
                  <a:lnTo>
                    <a:pt x="119" y="162"/>
                  </a:lnTo>
                  <a:lnTo>
                    <a:pt x="119" y="162"/>
                  </a:lnTo>
                  <a:lnTo>
                    <a:pt x="108" y="152"/>
                  </a:lnTo>
                  <a:lnTo>
                    <a:pt x="108" y="152"/>
                  </a:lnTo>
                  <a:lnTo>
                    <a:pt x="95" y="139"/>
                  </a:lnTo>
                  <a:lnTo>
                    <a:pt x="95" y="139"/>
                  </a:lnTo>
                  <a:lnTo>
                    <a:pt x="92" y="133"/>
                  </a:lnTo>
                  <a:lnTo>
                    <a:pt x="90" y="126"/>
                  </a:lnTo>
                  <a:lnTo>
                    <a:pt x="90" y="126"/>
                  </a:lnTo>
                  <a:lnTo>
                    <a:pt x="87" y="117"/>
                  </a:lnTo>
                  <a:lnTo>
                    <a:pt x="87" y="117"/>
                  </a:lnTo>
                  <a:lnTo>
                    <a:pt x="86" y="114"/>
                  </a:lnTo>
                  <a:lnTo>
                    <a:pt x="83" y="111"/>
                  </a:lnTo>
                  <a:lnTo>
                    <a:pt x="83" y="111"/>
                  </a:lnTo>
                  <a:lnTo>
                    <a:pt x="79" y="108"/>
                  </a:lnTo>
                  <a:lnTo>
                    <a:pt x="79" y="108"/>
                  </a:lnTo>
                  <a:lnTo>
                    <a:pt x="76" y="103"/>
                  </a:lnTo>
                  <a:lnTo>
                    <a:pt x="76" y="103"/>
                  </a:lnTo>
                  <a:lnTo>
                    <a:pt x="76" y="100"/>
                  </a:lnTo>
                  <a:lnTo>
                    <a:pt x="76" y="100"/>
                  </a:lnTo>
                  <a:lnTo>
                    <a:pt x="71" y="97"/>
                  </a:lnTo>
                  <a:lnTo>
                    <a:pt x="71" y="97"/>
                  </a:lnTo>
                  <a:lnTo>
                    <a:pt x="66" y="91"/>
                  </a:lnTo>
                  <a:lnTo>
                    <a:pt x="66" y="91"/>
                  </a:lnTo>
                  <a:lnTo>
                    <a:pt x="61" y="87"/>
                  </a:lnTo>
                  <a:lnTo>
                    <a:pt x="60" y="82"/>
                  </a:lnTo>
                  <a:lnTo>
                    <a:pt x="60" y="82"/>
                  </a:lnTo>
                  <a:lnTo>
                    <a:pt x="60" y="76"/>
                  </a:lnTo>
                  <a:lnTo>
                    <a:pt x="60" y="76"/>
                  </a:lnTo>
                  <a:lnTo>
                    <a:pt x="58" y="72"/>
                  </a:lnTo>
                  <a:lnTo>
                    <a:pt x="58" y="72"/>
                  </a:lnTo>
                  <a:lnTo>
                    <a:pt x="57" y="68"/>
                  </a:lnTo>
                  <a:lnTo>
                    <a:pt x="57" y="68"/>
                  </a:lnTo>
                  <a:lnTo>
                    <a:pt x="54" y="66"/>
                  </a:lnTo>
                  <a:lnTo>
                    <a:pt x="51" y="65"/>
                  </a:lnTo>
                  <a:lnTo>
                    <a:pt x="51" y="65"/>
                  </a:lnTo>
                  <a:lnTo>
                    <a:pt x="44" y="62"/>
                  </a:lnTo>
                  <a:lnTo>
                    <a:pt x="44" y="62"/>
                  </a:lnTo>
                  <a:lnTo>
                    <a:pt x="42" y="62"/>
                  </a:lnTo>
                  <a:lnTo>
                    <a:pt x="42" y="62"/>
                  </a:lnTo>
                  <a:lnTo>
                    <a:pt x="42" y="62"/>
                  </a:lnTo>
                  <a:lnTo>
                    <a:pt x="42" y="62"/>
                  </a:lnTo>
                  <a:lnTo>
                    <a:pt x="42" y="62"/>
                  </a:lnTo>
                  <a:lnTo>
                    <a:pt x="42" y="62"/>
                  </a:lnTo>
                  <a:lnTo>
                    <a:pt x="42" y="62"/>
                  </a:lnTo>
                  <a:lnTo>
                    <a:pt x="41" y="62"/>
                  </a:lnTo>
                  <a:lnTo>
                    <a:pt x="42" y="62"/>
                  </a:lnTo>
                  <a:lnTo>
                    <a:pt x="42" y="62"/>
                  </a:lnTo>
                  <a:lnTo>
                    <a:pt x="41" y="62"/>
                  </a:lnTo>
                  <a:lnTo>
                    <a:pt x="42" y="62"/>
                  </a:lnTo>
                  <a:lnTo>
                    <a:pt x="42" y="62"/>
                  </a:lnTo>
                  <a:lnTo>
                    <a:pt x="42" y="62"/>
                  </a:lnTo>
                  <a:lnTo>
                    <a:pt x="42" y="59"/>
                  </a:lnTo>
                  <a:lnTo>
                    <a:pt x="42" y="59"/>
                  </a:lnTo>
                  <a:lnTo>
                    <a:pt x="39" y="55"/>
                  </a:lnTo>
                  <a:lnTo>
                    <a:pt x="39" y="55"/>
                  </a:lnTo>
                  <a:lnTo>
                    <a:pt x="34" y="49"/>
                  </a:lnTo>
                  <a:lnTo>
                    <a:pt x="26" y="42"/>
                  </a:lnTo>
                  <a:lnTo>
                    <a:pt x="26" y="42"/>
                  </a:lnTo>
                  <a:lnTo>
                    <a:pt x="22" y="39"/>
                  </a:lnTo>
                  <a:lnTo>
                    <a:pt x="22" y="39"/>
                  </a:lnTo>
                  <a:lnTo>
                    <a:pt x="21" y="39"/>
                  </a:lnTo>
                  <a:lnTo>
                    <a:pt x="21" y="39"/>
                  </a:lnTo>
                  <a:lnTo>
                    <a:pt x="21" y="37"/>
                  </a:lnTo>
                  <a:lnTo>
                    <a:pt x="21" y="37"/>
                  </a:lnTo>
                  <a:lnTo>
                    <a:pt x="21" y="37"/>
                  </a:lnTo>
                  <a:lnTo>
                    <a:pt x="22" y="36"/>
                  </a:lnTo>
                  <a:lnTo>
                    <a:pt x="22" y="36"/>
                  </a:lnTo>
                  <a:lnTo>
                    <a:pt x="21" y="34"/>
                  </a:lnTo>
                  <a:lnTo>
                    <a:pt x="21" y="34"/>
                  </a:lnTo>
                  <a:lnTo>
                    <a:pt x="18" y="32"/>
                  </a:lnTo>
                  <a:lnTo>
                    <a:pt x="18" y="32"/>
                  </a:lnTo>
                  <a:lnTo>
                    <a:pt x="13" y="29"/>
                  </a:lnTo>
                  <a:lnTo>
                    <a:pt x="13" y="29"/>
                  </a:lnTo>
                  <a:lnTo>
                    <a:pt x="11" y="24"/>
                  </a:lnTo>
                  <a:lnTo>
                    <a:pt x="11" y="24"/>
                  </a:lnTo>
                  <a:lnTo>
                    <a:pt x="9" y="21"/>
                  </a:lnTo>
                  <a:lnTo>
                    <a:pt x="9" y="21"/>
                  </a:lnTo>
                  <a:lnTo>
                    <a:pt x="6" y="13"/>
                  </a:lnTo>
                  <a:lnTo>
                    <a:pt x="6" y="13"/>
                  </a:lnTo>
                  <a:lnTo>
                    <a:pt x="5" y="5"/>
                  </a:lnTo>
                  <a:lnTo>
                    <a:pt x="5" y="4"/>
                  </a:lnTo>
                  <a:lnTo>
                    <a:pt x="5" y="4"/>
                  </a:lnTo>
                  <a:lnTo>
                    <a:pt x="5" y="4"/>
                  </a:lnTo>
                  <a:lnTo>
                    <a:pt x="5" y="4"/>
                  </a:lnTo>
                  <a:lnTo>
                    <a:pt x="5" y="4"/>
                  </a:lnTo>
                  <a:lnTo>
                    <a:pt x="5" y="4"/>
                  </a:lnTo>
                  <a:lnTo>
                    <a:pt x="5" y="4"/>
                  </a:lnTo>
                  <a:lnTo>
                    <a:pt x="3" y="4"/>
                  </a:lnTo>
                  <a:lnTo>
                    <a:pt x="5" y="4"/>
                  </a:lnTo>
                  <a:lnTo>
                    <a:pt x="5" y="4"/>
                  </a:lnTo>
                  <a:lnTo>
                    <a:pt x="3" y="4"/>
                  </a:lnTo>
                  <a:lnTo>
                    <a:pt x="5" y="4"/>
                  </a:lnTo>
                  <a:lnTo>
                    <a:pt x="3" y="4"/>
                  </a:lnTo>
                  <a:lnTo>
                    <a:pt x="3" y="5"/>
                  </a:lnTo>
                  <a:lnTo>
                    <a:pt x="5" y="4"/>
                  </a:lnTo>
                  <a:lnTo>
                    <a:pt x="3" y="4"/>
                  </a:lnTo>
                  <a:lnTo>
                    <a:pt x="3" y="5"/>
                  </a:lnTo>
                  <a:lnTo>
                    <a:pt x="3" y="4"/>
                  </a:lnTo>
                  <a:lnTo>
                    <a:pt x="3" y="5"/>
                  </a:lnTo>
                  <a:lnTo>
                    <a:pt x="3" y="5"/>
                  </a:lnTo>
                  <a:lnTo>
                    <a:pt x="3" y="4"/>
                  </a:lnTo>
                  <a:lnTo>
                    <a:pt x="3" y="5"/>
                  </a:lnTo>
                  <a:lnTo>
                    <a:pt x="3" y="5"/>
                  </a:lnTo>
                  <a:lnTo>
                    <a:pt x="3" y="5"/>
                  </a:lnTo>
                  <a:lnTo>
                    <a:pt x="8" y="8"/>
                  </a:lnTo>
                  <a:lnTo>
                    <a:pt x="8" y="8"/>
                  </a:lnTo>
                  <a:lnTo>
                    <a:pt x="13" y="13"/>
                  </a:lnTo>
                  <a:lnTo>
                    <a:pt x="13" y="13"/>
                  </a:lnTo>
                  <a:lnTo>
                    <a:pt x="19" y="16"/>
                  </a:lnTo>
                  <a:lnTo>
                    <a:pt x="25" y="17"/>
                  </a:lnTo>
                  <a:lnTo>
                    <a:pt x="25" y="17"/>
                  </a:lnTo>
                  <a:lnTo>
                    <a:pt x="35" y="17"/>
                  </a:lnTo>
                  <a:lnTo>
                    <a:pt x="35" y="17"/>
                  </a:lnTo>
                  <a:lnTo>
                    <a:pt x="37" y="19"/>
                  </a:lnTo>
                  <a:lnTo>
                    <a:pt x="41" y="20"/>
                  </a:lnTo>
                  <a:lnTo>
                    <a:pt x="41" y="20"/>
                  </a:lnTo>
                  <a:lnTo>
                    <a:pt x="44" y="24"/>
                  </a:lnTo>
                  <a:lnTo>
                    <a:pt x="47" y="29"/>
                  </a:lnTo>
                  <a:lnTo>
                    <a:pt x="47" y="29"/>
                  </a:lnTo>
                  <a:lnTo>
                    <a:pt x="51" y="34"/>
                  </a:lnTo>
                  <a:lnTo>
                    <a:pt x="57" y="40"/>
                  </a:lnTo>
                  <a:lnTo>
                    <a:pt x="57" y="40"/>
                  </a:lnTo>
                  <a:lnTo>
                    <a:pt x="63" y="45"/>
                  </a:lnTo>
                  <a:lnTo>
                    <a:pt x="63" y="45"/>
                  </a:lnTo>
                  <a:lnTo>
                    <a:pt x="67" y="47"/>
                  </a:lnTo>
                  <a:lnTo>
                    <a:pt x="67" y="47"/>
                  </a:lnTo>
                  <a:lnTo>
                    <a:pt x="71" y="50"/>
                  </a:lnTo>
                  <a:lnTo>
                    <a:pt x="76" y="53"/>
                  </a:lnTo>
                  <a:lnTo>
                    <a:pt x="76" y="53"/>
                  </a:lnTo>
                  <a:lnTo>
                    <a:pt x="76" y="53"/>
                  </a:lnTo>
                  <a:lnTo>
                    <a:pt x="76" y="53"/>
                  </a:lnTo>
                  <a:lnTo>
                    <a:pt x="76" y="53"/>
                  </a:lnTo>
                  <a:lnTo>
                    <a:pt x="76" y="53"/>
                  </a:lnTo>
                  <a:lnTo>
                    <a:pt x="76" y="53"/>
                  </a:lnTo>
                  <a:lnTo>
                    <a:pt x="76" y="55"/>
                  </a:lnTo>
                  <a:lnTo>
                    <a:pt x="76" y="55"/>
                  </a:lnTo>
                  <a:lnTo>
                    <a:pt x="79" y="59"/>
                  </a:lnTo>
                  <a:lnTo>
                    <a:pt x="83" y="63"/>
                  </a:lnTo>
                  <a:lnTo>
                    <a:pt x="84"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82" name="Freeform 1276"/>
            <p:cNvSpPr>
              <a:spLocks/>
            </p:cNvSpPr>
            <p:nvPr/>
          </p:nvSpPr>
          <p:spPr bwMode="auto">
            <a:xfrm>
              <a:off x="6999288" y="4862513"/>
              <a:ext cx="236538" cy="79375"/>
            </a:xfrm>
            <a:custGeom>
              <a:avLst/>
              <a:gdLst>
                <a:gd name="T0" fmla="*/ 132 w 149"/>
                <a:gd name="T1" fmla="*/ 38 h 50"/>
                <a:gd name="T2" fmla="*/ 87 w 149"/>
                <a:gd name="T3" fmla="*/ 38 h 50"/>
                <a:gd name="T4" fmla="*/ 50 w 149"/>
                <a:gd name="T5" fmla="*/ 28 h 50"/>
                <a:gd name="T6" fmla="*/ 17 w 149"/>
                <a:gd name="T7" fmla="*/ 25 h 50"/>
                <a:gd name="T8" fmla="*/ 17 w 149"/>
                <a:gd name="T9" fmla="*/ 24 h 50"/>
                <a:gd name="T10" fmla="*/ 14 w 149"/>
                <a:gd name="T11" fmla="*/ 25 h 50"/>
                <a:gd name="T12" fmla="*/ 16 w 149"/>
                <a:gd name="T13" fmla="*/ 28 h 50"/>
                <a:gd name="T14" fmla="*/ 21 w 149"/>
                <a:gd name="T15" fmla="*/ 25 h 50"/>
                <a:gd name="T16" fmla="*/ 20 w 149"/>
                <a:gd name="T17" fmla="*/ 19 h 50"/>
                <a:gd name="T18" fmla="*/ 4 w 149"/>
                <a:gd name="T19" fmla="*/ 15 h 50"/>
                <a:gd name="T20" fmla="*/ 4 w 149"/>
                <a:gd name="T21" fmla="*/ 18 h 50"/>
                <a:gd name="T22" fmla="*/ 4 w 149"/>
                <a:gd name="T23" fmla="*/ 18 h 50"/>
                <a:gd name="T24" fmla="*/ 3 w 149"/>
                <a:gd name="T25" fmla="*/ 18 h 50"/>
                <a:gd name="T26" fmla="*/ 14 w 149"/>
                <a:gd name="T27" fmla="*/ 11 h 50"/>
                <a:gd name="T28" fmla="*/ 33 w 149"/>
                <a:gd name="T29" fmla="*/ 6 h 50"/>
                <a:gd name="T30" fmla="*/ 40 w 149"/>
                <a:gd name="T31" fmla="*/ 8 h 50"/>
                <a:gd name="T32" fmla="*/ 58 w 149"/>
                <a:gd name="T33" fmla="*/ 18 h 50"/>
                <a:gd name="T34" fmla="*/ 74 w 149"/>
                <a:gd name="T35" fmla="*/ 18 h 50"/>
                <a:gd name="T36" fmla="*/ 90 w 149"/>
                <a:gd name="T37" fmla="*/ 13 h 50"/>
                <a:gd name="T38" fmla="*/ 124 w 149"/>
                <a:gd name="T39" fmla="*/ 19 h 50"/>
                <a:gd name="T40" fmla="*/ 133 w 149"/>
                <a:gd name="T41" fmla="*/ 19 h 50"/>
                <a:gd name="T42" fmla="*/ 134 w 149"/>
                <a:gd name="T43" fmla="*/ 19 h 50"/>
                <a:gd name="T44" fmla="*/ 133 w 149"/>
                <a:gd name="T45" fmla="*/ 21 h 50"/>
                <a:gd name="T46" fmla="*/ 134 w 149"/>
                <a:gd name="T47" fmla="*/ 19 h 50"/>
                <a:gd name="T48" fmla="*/ 133 w 149"/>
                <a:gd name="T49" fmla="*/ 18 h 50"/>
                <a:gd name="T50" fmla="*/ 129 w 149"/>
                <a:gd name="T51" fmla="*/ 22 h 50"/>
                <a:gd name="T52" fmla="*/ 133 w 149"/>
                <a:gd name="T53" fmla="*/ 29 h 50"/>
                <a:gd name="T54" fmla="*/ 143 w 149"/>
                <a:gd name="T55" fmla="*/ 34 h 50"/>
                <a:gd name="T56" fmla="*/ 143 w 149"/>
                <a:gd name="T57" fmla="*/ 34 h 50"/>
                <a:gd name="T58" fmla="*/ 143 w 149"/>
                <a:gd name="T59" fmla="*/ 40 h 50"/>
                <a:gd name="T60" fmla="*/ 143 w 149"/>
                <a:gd name="T61" fmla="*/ 45 h 50"/>
                <a:gd name="T62" fmla="*/ 143 w 149"/>
                <a:gd name="T63" fmla="*/ 45 h 50"/>
                <a:gd name="T64" fmla="*/ 142 w 149"/>
                <a:gd name="T65" fmla="*/ 50 h 50"/>
                <a:gd name="T66" fmla="*/ 147 w 149"/>
                <a:gd name="T67" fmla="*/ 47 h 50"/>
                <a:gd name="T68" fmla="*/ 147 w 149"/>
                <a:gd name="T69" fmla="*/ 31 h 50"/>
                <a:gd name="T70" fmla="*/ 137 w 149"/>
                <a:gd name="T71" fmla="*/ 28 h 50"/>
                <a:gd name="T72" fmla="*/ 139 w 149"/>
                <a:gd name="T73" fmla="*/ 28 h 50"/>
                <a:gd name="T74" fmla="*/ 137 w 149"/>
                <a:gd name="T75" fmla="*/ 28 h 50"/>
                <a:gd name="T76" fmla="*/ 133 w 149"/>
                <a:gd name="T77" fmla="*/ 22 h 50"/>
                <a:gd name="T78" fmla="*/ 133 w 149"/>
                <a:gd name="T79" fmla="*/ 22 h 50"/>
                <a:gd name="T80" fmla="*/ 133 w 149"/>
                <a:gd name="T81" fmla="*/ 22 h 50"/>
                <a:gd name="T82" fmla="*/ 134 w 149"/>
                <a:gd name="T83" fmla="*/ 24 h 50"/>
                <a:gd name="T84" fmla="*/ 137 w 149"/>
                <a:gd name="T85" fmla="*/ 22 h 50"/>
                <a:gd name="T86" fmla="*/ 133 w 149"/>
                <a:gd name="T87" fmla="*/ 15 h 50"/>
                <a:gd name="T88" fmla="*/ 104 w 149"/>
                <a:gd name="T89" fmla="*/ 12 h 50"/>
                <a:gd name="T90" fmla="*/ 84 w 149"/>
                <a:gd name="T91" fmla="*/ 9 h 50"/>
                <a:gd name="T92" fmla="*/ 72 w 149"/>
                <a:gd name="T93" fmla="*/ 13 h 50"/>
                <a:gd name="T94" fmla="*/ 53 w 149"/>
                <a:gd name="T95" fmla="*/ 12 h 50"/>
                <a:gd name="T96" fmla="*/ 36 w 149"/>
                <a:gd name="T97" fmla="*/ 0 h 50"/>
                <a:gd name="T98" fmla="*/ 19 w 149"/>
                <a:gd name="T99" fmla="*/ 3 h 50"/>
                <a:gd name="T100" fmla="*/ 1 w 149"/>
                <a:gd name="T101" fmla="*/ 13 h 50"/>
                <a:gd name="T102" fmla="*/ 1 w 149"/>
                <a:gd name="T103" fmla="*/ 21 h 50"/>
                <a:gd name="T104" fmla="*/ 17 w 149"/>
                <a:gd name="T105" fmla="*/ 24 h 50"/>
                <a:gd name="T106" fmla="*/ 20 w 149"/>
                <a:gd name="T107" fmla="*/ 22 h 50"/>
                <a:gd name="T108" fmla="*/ 19 w 149"/>
                <a:gd name="T109" fmla="*/ 21 h 50"/>
                <a:gd name="T110" fmla="*/ 19 w 149"/>
                <a:gd name="T111" fmla="*/ 21 h 50"/>
                <a:gd name="T112" fmla="*/ 19 w 149"/>
                <a:gd name="T113" fmla="*/ 21 h 50"/>
                <a:gd name="T114" fmla="*/ 11 w 149"/>
                <a:gd name="T115" fmla="*/ 25 h 50"/>
                <a:gd name="T116" fmla="*/ 26 w 149"/>
                <a:gd name="T117" fmla="*/ 31 h 50"/>
                <a:gd name="T118" fmla="*/ 66 w 149"/>
                <a:gd name="T119" fmla="*/ 35 h 50"/>
                <a:gd name="T120" fmla="*/ 101 w 149"/>
                <a:gd name="T121" fmla="*/ 44 h 50"/>
                <a:gd name="T122" fmla="*/ 142 w 149"/>
                <a:gd name="T1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9" h="50">
                  <a:moveTo>
                    <a:pt x="143" y="48"/>
                  </a:moveTo>
                  <a:lnTo>
                    <a:pt x="143" y="45"/>
                  </a:lnTo>
                  <a:lnTo>
                    <a:pt x="143" y="45"/>
                  </a:lnTo>
                  <a:lnTo>
                    <a:pt x="139" y="42"/>
                  </a:lnTo>
                  <a:lnTo>
                    <a:pt x="136" y="41"/>
                  </a:lnTo>
                  <a:lnTo>
                    <a:pt x="136" y="41"/>
                  </a:lnTo>
                  <a:lnTo>
                    <a:pt x="132" y="38"/>
                  </a:lnTo>
                  <a:lnTo>
                    <a:pt x="132" y="38"/>
                  </a:lnTo>
                  <a:lnTo>
                    <a:pt x="126" y="38"/>
                  </a:lnTo>
                  <a:lnTo>
                    <a:pt x="126" y="38"/>
                  </a:lnTo>
                  <a:lnTo>
                    <a:pt x="101" y="40"/>
                  </a:lnTo>
                  <a:lnTo>
                    <a:pt x="101" y="40"/>
                  </a:lnTo>
                  <a:lnTo>
                    <a:pt x="94" y="40"/>
                  </a:lnTo>
                  <a:lnTo>
                    <a:pt x="87" y="38"/>
                  </a:lnTo>
                  <a:lnTo>
                    <a:pt x="87" y="38"/>
                  </a:lnTo>
                  <a:lnTo>
                    <a:pt x="76" y="34"/>
                  </a:lnTo>
                  <a:lnTo>
                    <a:pt x="76" y="34"/>
                  </a:lnTo>
                  <a:lnTo>
                    <a:pt x="68" y="31"/>
                  </a:lnTo>
                  <a:lnTo>
                    <a:pt x="68" y="31"/>
                  </a:lnTo>
                  <a:lnTo>
                    <a:pt x="61" y="29"/>
                  </a:lnTo>
                  <a:lnTo>
                    <a:pt x="50" y="28"/>
                  </a:lnTo>
                  <a:lnTo>
                    <a:pt x="50" y="28"/>
                  </a:lnTo>
                  <a:lnTo>
                    <a:pt x="37" y="27"/>
                  </a:lnTo>
                  <a:lnTo>
                    <a:pt x="37" y="27"/>
                  </a:lnTo>
                  <a:lnTo>
                    <a:pt x="24" y="25"/>
                  </a:lnTo>
                  <a:lnTo>
                    <a:pt x="24" y="25"/>
                  </a:lnTo>
                  <a:lnTo>
                    <a:pt x="17" y="25"/>
                  </a:lnTo>
                  <a:lnTo>
                    <a:pt x="17" y="25"/>
                  </a:lnTo>
                  <a:lnTo>
                    <a:pt x="16" y="24"/>
                  </a:lnTo>
                  <a:lnTo>
                    <a:pt x="16" y="24"/>
                  </a:lnTo>
                  <a:lnTo>
                    <a:pt x="16" y="25"/>
                  </a:lnTo>
                  <a:lnTo>
                    <a:pt x="17" y="24"/>
                  </a:lnTo>
                  <a:lnTo>
                    <a:pt x="16" y="24"/>
                  </a:lnTo>
                  <a:lnTo>
                    <a:pt x="16" y="25"/>
                  </a:lnTo>
                  <a:lnTo>
                    <a:pt x="17" y="24"/>
                  </a:lnTo>
                  <a:lnTo>
                    <a:pt x="14" y="25"/>
                  </a:lnTo>
                  <a:lnTo>
                    <a:pt x="17" y="25"/>
                  </a:lnTo>
                  <a:lnTo>
                    <a:pt x="17" y="25"/>
                  </a:lnTo>
                  <a:lnTo>
                    <a:pt x="17" y="24"/>
                  </a:lnTo>
                  <a:lnTo>
                    <a:pt x="14" y="25"/>
                  </a:lnTo>
                  <a:lnTo>
                    <a:pt x="17" y="25"/>
                  </a:lnTo>
                  <a:lnTo>
                    <a:pt x="14" y="25"/>
                  </a:lnTo>
                  <a:lnTo>
                    <a:pt x="17" y="27"/>
                  </a:lnTo>
                  <a:lnTo>
                    <a:pt x="17" y="27"/>
                  </a:lnTo>
                  <a:lnTo>
                    <a:pt x="17" y="25"/>
                  </a:lnTo>
                  <a:lnTo>
                    <a:pt x="14" y="25"/>
                  </a:lnTo>
                  <a:lnTo>
                    <a:pt x="17" y="27"/>
                  </a:lnTo>
                  <a:lnTo>
                    <a:pt x="16" y="27"/>
                  </a:lnTo>
                  <a:lnTo>
                    <a:pt x="16" y="28"/>
                  </a:lnTo>
                  <a:lnTo>
                    <a:pt x="17" y="27"/>
                  </a:lnTo>
                  <a:lnTo>
                    <a:pt x="16" y="27"/>
                  </a:lnTo>
                  <a:lnTo>
                    <a:pt x="16" y="28"/>
                  </a:lnTo>
                  <a:lnTo>
                    <a:pt x="16" y="28"/>
                  </a:lnTo>
                  <a:lnTo>
                    <a:pt x="20" y="25"/>
                  </a:lnTo>
                  <a:lnTo>
                    <a:pt x="20" y="25"/>
                  </a:lnTo>
                  <a:lnTo>
                    <a:pt x="21" y="25"/>
                  </a:lnTo>
                  <a:lnTo>
                    <a:pt x="23" y="24"/>
                  </a:lnTo>
                  <a:lnTo>
                    <a:pt x="23" y="24"/>
                  </a:lnTo>
                  <a:lnTo>
                    <a:pt x="23" y="22"/>
                  </a:lnTo>
                  <a:lnTo>
                    <a:pt x="23" y="22"/>
                  </a:lnTo>
                  <a:lnTo>
                    <a:pt x="23" y="19"/>
                  </a:lnTo>
                  <a:lnTo>
                    <a:pt x="23" y="19"/>
                  </a:lnTo>
                  <a:lnTo>
                    <a:pt x="20" y="19"/>
                  </a:lnTo>
                  <a:lnTo>
                    <a:pt x="20" y="19"/>
                  </a:lnTo>
                  <a:lnTo>
                    <a:pt x="19" y="18"/>
                  </a:lnTo>
                  <a:lnTo>
                    <a:pt x="19" y="18"/>
                  </a:lnTo>
                  <a:lnTo>
                    <a:pt x="8" y="16"/>
                  </a:lnTo>
                  <a:lnTo>
                    <a:pt x="8" y="16"/>
                  </a:lnTo>
                  <a:lnTo>
                    <a:pt x="4" y="16"/>
                  </a:lnTo>
                  <a:lnTo>
                    <a:pt x="4" y="15"/>
                  </a:lnTo>
                  <a:lnTo>
                    <a:pt x="3" y="16"/>
                  </a:lnTo>
                  <a:lnTo>
                    <a:pt x="4" y="16"/>
                  </a:lnTo>
                  <a:lnTo>
                    <a:pt x="4" y="15"/>
                  </a:lnTo>
                  <a:lnTo>
                    <a:pt x="3" y="16"/>
                  </a:lnTo>
                  <a:lnTo>
                    <a:pt x="4" y="16"/>
                  </a:lnTo>
                  <a:lnTo>
                    <a:pt x="3" y="18"/>
                  </a:lnTo>
                  <a:lnTo>
                    <a:pt x="4" y="18"/>
                  </a:lnTo>
                  <a:lnTo>
                    <a:pt x="4" y="18"/>
                  </a:lnTo>
                  <a:lnTo>
                    <a:pt x="4" y="16"/>
                  </a:lnTo>
                  <a:lnTo>
                    <a:pt x="3" y="18"/>
                  </a:lnTo>
                  <a:lnTo>
                    <a:pt x="4" y="18"/>
                  </a:lnTo>
                  <a:lnTo>
                    <a:pt x="3" y="18"/>
                  </a:lnTo>
                  <a:lnTo>
                    <a:pt x="4" y="18"/>
                  </a:lnTo>
                  <a:lnTo>
                    <a:pt x="4" y="18"/>
                  </a:lnTo>
                  <a:lnTo>
                    <a:pt x="4" y="18"/>
                  </a:lnTo>
                  <a:lnTo>
                    <a:pt x="3" y="18"/>
                  </a:lnTo>
                  <a:lnTo>
                    <a:pt x="4" y="18"/>
                  </a:lnTo>
                  <a:lnTo>
                    <a:pt x="3" y="18"/>
                  </a:lnTo>
                  <a:lnTo>
                    <a:pt x="4" y="19"/>
                  </a:lnTo>
                  <a:lnTo>
                    <a:pt x="4" y="18"/>
                  </a:lnTo>
                  <a:lnTo>
                    <a:pt x="3" y="18"/>
                  </a:lnTo>
                  <a:lnTo>
                    <a:pt x="4" y="19"/>
                  </a:lnTo>
                  <a:lnTo>
                    <a:pt x="4" y="19"/>
                  </a:lnTo>
                  <a:lnTo>
                    <a:pt x="4" y="18"/>
                  </a:lnTo>
                  <a:lnTo>
                    <a:pt x="4" y="18"/>
                  </a:lnTo>
                  <a:lnTo>
                    <a:pt x="10" y="13"/>
                  </a:lnTo>
                  <a:lnTo>
                    <a:pt x="10" y="13"/>
                  </a:lnTo>
                  <a:lnTo>
                    <a:pt x="14" y="11"/>
                  </a:lnTo>
                  <a:lnTo>
                    <a:pt x="14" y="11"/>
                  </a:lnTo>
                  <a:lnTo>
                    <a:pt x="16" y="9"/>
                  </a:lnTo>
                  <a:lnTo>
                    <a:pt x="16" y="9"/>
                  </a:lnTo>
                  <a:lnTo>
                    <a:pt x="27" y="8"/>
                  </a:lnTo>
                  <a:lnTo>
                    <a:pt x="27" y="8"/>
                  </a:lnTo>
                  <a:lnTo>
                    <a:pt x="30" y="8"/>
                  </a:lnTo>
                  <a:lnTo>
                    <a:pt x="33" y="6"/>
                  </a:lnTo>
                  <a:lnTo>
                    <a:pt x="33" y="6"/>
                  </a:lnTo>
                  <a:lnTo>
                    <a:pt x="36" y="6"/>
                  </a:lnTo>
                  <a:lnTo>
                    <a:pt x="36" y="6"/>
                  </a:lnTo>
                  <a:lnTo>
                    <a:pt x="37" y="6"/>
                  </a:lnTo>
                  <a:lnTo>
                    <a:pt x="37" y="6"/>
                  </a:lnTo>
                  <a:lnTo>
                    <a:pt x="40" y="8"/>
                  </a:lnTo>
                  <a:lnTo>
                    <a:pt x="40" y="8"/>
                  </a:lnTo>
                  <a:lnTo>
                    <a:pt x="48" y="13"/>
                  </a:lnTo>
                  <a:lnTo>
                    <a:pt x="48" y="13"/>
                  </a:lnTo>
                  <a:lnTo>
                    <a:pt x="52" y="16"/>
                  </a:lnTo>
                  <a:lnTo>
                    <a:pt x="52" y="16"/>
                  </a:lnTo>
                  <a:lnTo>
                    <a:pt x="55" y="18"/>
                  </a:lnTo>
                  <a:lnTo>
                    <a:pt x="55" y="18"/>
                  </a:lnTo>
                  <a:lnTo>
                    <a:pt x="58" y="18"/>
                  </a:lnTo>
                  <a:lnTo>
                    <a:pt x="58" y="18"/>
                  </a:lnTo>
                  <a:lnTo>
                    <a:pt x="66" y="18"/>
                  </a:lnTo>
                  <a:lnTo>
                    <a:pt x="66" y="18"/>
                  </a:lnTo>
                  <a:lnTo>
                    <a:pt x="71" y="18"/>
                  </a:lnTo>
                  <a:lnTo>
                    <a:pt x="71" y="18"/>
                  </a:lnTo>
                  <a:lnTo>
                    <a:pt x="74" y="18"/>
                  </a:lnTo>
                  <a:lnTo>
                    <a:pt x="74" y="18"/>
                  </a:lnTo>
                  <a:lnTo>
                    <a:pt x="78" y="18"/>
                  </a:lnTo>
                  <a:lnTo>
                    <a:pt x="82" y="16"/>
                  </a:lnTo>
                  <a:lnTo>
                    <a:pt x="82" y="16"/>
                  </a:lnTo>
                  <a:lnTo>
                    <a:pt x="88" y="13"/>
                  </a:lnTo>
                  <a:lnTo>
                    <a:pt x="88" y="13"/>
                  </a:lnTo>
                  <a:lnTo>
                    <a:pt x="90" y="13"/>
                  </a:lnTo>
                  <a:lnTo>
                    <a:pt x="90" y="13"/>
                  </a:lnTo>
                  <a:lnTo>
                    <a:pt x="95" y="15"/>
                  </a:lnTo>
                  <a:lnTo>
                    <a:pt x="95" y="15"/>
                  </a:lnTo>
                  <a:lnTo>
                    <a:pt x="103" y="16"/>
                  </a:lnTo>
                  <a:lnTo>
                    <a:pt x="103" y="16"/>
                  </a:lnTo>
                  <a:lnTo>
                    <a:pt x="110" y="18"/>
                  </a:lnTo>
                  <a:lnTo>
                    <a:pt x="110" y="18"/>
                  </a:lnTo>
                  <a:lnTo>
                    <a:pt x="124" y="19"/>
                  </a:lnTo>
                  <a:lnTo>
                    <a:pt x="124" y="19"/>
                  </a:lnTo>
                  <a:lnTo>
                    <a:pt x="130" y="19"/>
                  </a:lnTo>
                  <a:lnTo>
                    <a:pt x="130" y="19"/>
                  </a:lnTo>
                  <a:lnTo>
                    <a:pt x="132" y="19"/>
                  </a:lnTo>
                  <a:lnTo>
                    <a:pt x="133" y="19"/>
                  </a:lnTo>
                  <a:lnTo>
                    <a:pt x="133" y="19"/>
                  </a:lnTo>
                  <a:lnTo>
                    <a:pt x="133" y="19"/>
                  </a:lnTo>
                  <a:lnTo>
                    <a:pt x="133" y="19"/>
                  </a:lnTo>
                  <a:lnTo>
                    <a:pt x="133" y="19"/>
                  </a:lnTo>
                  <a:lnTo>
                    <a:pt x="133" y="19"/>
                  </a:lnTo>
                  <a:lnTo>
                    <a:pt x="133" y="19"/>
                  </a:lnTo>
                  <a:lnTo>
                    <a:pt x="133" y="19"/>
                  </a:lnTo>
                  <a:lnTo>
                    <a:pt x="133" y="21"/>
                  </a:lnTo>
                  <a:lnTo>
                    <a:pt x="134" y="19"/>
                  </a:lnTo>
                  <a:lnTo>
                    <a:pt x="133" y="21"/>
                  </a:lnTo>
                  <a:lnTo>
                    <a:pt x="133" y="21"/>
                  </a:lnTo>
                  <a:lnTo>
                    <a:pt x="134" y="19"/>
                  </a:lnTo>
                  <a:lnTo>
                    <a:pt x="133" y="21"/>
                  </a:lnTo>
                  <a:lnTo>
                    <a:pt x="134" y="19"/>
                  </a:lnTo>
                  <a:lnTo>
                    <a:pt x="133" y="19"/>
                  </a:lnTo>
                  <a:lnTo>
                    <a:pt x="133" y="21"/>
                  </a:lnTo>
                  <a:lnTo>
                    <a:pt x="134" y="19"/>
                  </a:lnTo>
                  <a:lnTo>
                    <a:pt x="133" y="19"/>
                  </a:lnTo>
                  <a:lnTo>
                    <a:pt x="134" y="19"/>
                  </a:lnTo>
                  <a:lnTo>
                    <a:pt x="134" y="18"/>
                  </a:lnTo>
                  <a:lnTo>
                    <a:pt x="134" y="18"/>
                  </a:lnTo>
                  <a:lnTo>
                    <a:pt x="133" y="19"/>
                  </a:lnTo>
                  <a:lnTo>
                    <a:pt x="134" y="19"/>
                  </a:lnTo>
                  <a:lnTo>
                    <a:pt x="134" y="18"/>
                  </a:lnTo>
                  <a:lnTo>
                    <a:pt x="134" y="19"/>
                  </a:lnTo>
                  <a:lnTo>
                    <a:pt x="134" y="18"/>
                  </a:lnTo>
                  <a:lnTo>
                    <a:pt x="134" y="18"/>
                  </a:lnTo>
                  <a:lnTo>
                    <a:pt x="134" y="19"/>
                  </a:lnTo>
                  <a:lnTo>
                    <a:pt x="134" y="18"/>
                  </a:lnTo>
                  <a:lnTo>
                    <a:pt x="133" y="18"/>
                  </a:lnTo>
                  <a:lnTo>
                    <a:pt x="133" y="18"/>
                  </a:lnTo>
                  <a:lnTo>
                    <a:pt x="132" y="18"/>
                  </a:lnTo>
                  <a:lnTo>
                    <a:pt x="132" y="18"/>
                  </a:lnTo>
                  <a:lnTo>
                    <a:pt x="130" y="19"/>
                  </a:lnTo>
                  <a:lnTo>
                    <a:pt x="130" y="19"/>
                  </a:lnTo>
                  <a:lnTo>
                    <a:pt x="129" y="22"/>
                  </a:lnTo>
                  <a:lnTo>
                    <a:pt x="129" y="22"/>
                  </a:lnTo>
                  <a:lnTo>
                    <a:pt x="130" y="25"/>
                  </a:lnTo>
                  <a:lnTo>
                    <a:pt x="130" y="25"/>
                  </a:lnTo>
                  <a:lnTo>
                    <a:pt x="132" y="27"/>
                  </a:lnTo>
                  <a:lnTo>
                    <a:pt x="132" y="28"/>
                  </a:lnTo>
                  <a:lnTo>
                    <a:pt x="132" y="28"/>
                  </a:lnTo>
                  <a:lnTo>
                    <a:pt x="133" y="29"/>
                  </a:lnTo>
                  <a:lnTo>
                    <a:pt x="133" y="29"/>
                  </a:lnTo>
                  <a:lnTo>
                    <a:pt x="134" y="31"/>
                  </a:lnTo>
                  <a:lnTo>
                    <a:pt x="134" y="31"/>
                  </a:lnTo>
                  <a:lnTo>
                    <a:pt x="137" y="32"/>
                  </a:lnTo>
                  <a:lnTo>
                    <a:pt x="137" y="32"/>
                  </a:lnTo>
                  <a:lnTo>
                    <a:pt x="139" y="32"/>
                  </a:lnTo>
                  <a:lnTo>
                    <a:pt x="139" y="32"/>
                  </a:lnTo>
                  <a:lnTo>
                    <a:pt x="143" y="34"/>
                  </a:lnTo>
                  <a:lnTo>
                    <a:pt x="143" y="34"/>
                  </a:lnTo>
                  <a:lnTo>
                    <a:pt x="143" y="34"/>
                  </a:lnTo>
                  <a:lnTo>
                    <a:pt x="143" y="32"/>
                  </a:lnTo>
                  <a:lnTo>
                    <a:pt x="143" y="34"/>
                  </a:lnTo>
                  <a:lnTo>
                    <a:pt x="143" y="34"/>
                  </a:lnTo>
                  <a:lnTo>
                    <a:pt x="143" y="32"/>
                  </a:lnTo>
                  <a:lnTo>
                    <a:pt x="143" y="34"/>
                  </a:lnTo>
                  <a:lnTo>
                    <a:pt x="145" y="32"/>
                  </a:lnTo>
                  <a:lnTo>
                    <a:pt x="143" y="32"/>
                  </a:lnTo>
                  <a:lnTo>
                    <a:pt x="143" y="34"/>
                  </a:lnTo>
                  <a:lnTo>
                    <a:pt x="145" y="32"/>
                  </a:lnTo>
                  <a:lnTo>
                    <a:pt x="143" y="32"/>
                  </a:lnTo>
                  <a:lnTo>
                    <a:pt x="143" y="32"/>
                  </a:lnTo>
                  <a:lnTo>
                    <a:pt x="143" y="40"/>
                  </a:lnTo>
                  <a:lnTo>
                    <a:pt x="143" y="40"/>
                  </a:lnTo>
                  <a:lnTo>
                    <a:pt x="143" y="44"/>
                  </a:lnTo>
                  <a:lnTo>
                    <a:pt x="143" y="44"/>
                  </a:lnTo>
                  <a:lnTo>
                    <a:pt x="143" y="45"/>
                  </a:lnTo>
                  <a:lnTo>
                    <a:pt x="143" y="45"/>
                  </a:lnTo>
                  <a:lnTo>
                    <a:pt x="143" y="45"/>
                  </a:lnTo>
                  <a:lnTo>
                    <a:pt x="143" y="45"/>
                  </a:lnTo>
                  <a:lnTo>
                    <a:pt x="143" y="45"/>
                  </a:lnTo>
                  <a:lnTo>
                    <a:pt x="143" y="45"/>
                  </a:lnTo>
                  <a:lnTo>
                    <a:pt x="143" y="47"/>
                  </a:lnTo>
                  <a:lnTo>
                    <a:pt x="143" y="45"/>
                  </a:lnTo>
                  <a:lnTo>
                    <a:pt x="143" y="45"/>
                  </a:lnTo>
                  <a:lnTo>
                    <a:pt x="143" y="47"/>
                  </a:lnTo>
                  <a:lnTo>
                    <a:pt x="143" y="45"/>
                  </a:lnTo>
                  <a:lnTo>
                    <a:pt x="143" y="45"/>
                  </a:lnTo>
                  <a:lnTo>
                    <a:pt x="143" y="45"/>
                  </a:lnTo>
                  <a:lnTo>
                    <a:pt x="143" y="45"/>
                  </a:lnTo>
                  <a:lnTo>
                    <a:pt x="143" y="45"/>
                  </a:lnTo>
                  <a:lnTo>
                    <a:pt x="143" y="45"/>
                  </a:lnTo>
                  <a:lnTo>
                    <a:pt x="143" y="48"/>
                  </a:lnTo>
                  <a:lnTo>
                    <a:pt x="142" y="50"/>
                  </a:lnTo>
                  <a:lnTo>
                    <a:pt x="142" y="50"/>
                  </a:lnTo>
                  <a:lnTo>
                    <a:pt x="143" y="50"/>
                  </a:lnTo>
                  <a:lnTo>
                    <a:pt x="143" y="50"/>
                  </a:lnTo>
                  <a:lnTo>
                    <a:pt x="145" y="50"/>
                  </a:lnTo>
                  <a:lnTo>
                    <a:pt x="145" y="50"/>
                  </a:lnTo>
                  <a:lnTo>
                    <a:pt x="147" y="47"/>
                  </a:lnTo>
                  <a:lnTo>
                    <a:pt x="147" y="47"/>
                  </a:lnTo>
                  <a:lnTo>
                    <a:pt x="147" y="44"/>
                  </a:lnTo>
                  <a:lnTo>
                    <a:pt x="147" y="44"/>
                  </a:lnTo>
                  <a:lnTo>
                    <a:pt x="149" y="40"/>
                  </a:lnTo>
                  <a:lnTo>
                    <a:pt x="149" y="40"/>
                  </a:lnTo>
                  <a:lnTo>
                    <a:pt x="147" y="32"/>
                  </a:lnTo>
                  <a:lnTo>
                    <a:pt x="147" y="32"/>
                  </a:lnTo>
                  <a:lnTo>
                    <a:pt x="147" y="31"/>
                  </a:lnTo>
                  <a:lnTo>
                    <a:pt x="146" y="29"/>
                  </a:lnTo>
                  <a:lnTo>
                    <a:pt x="146" y="29"/>
                  </a:lnTo>
                  <a:lnTo>
                    <a:pt x="143" y="28"/>
                  </a:lnTo>
                  <a:lnTo>
                    <a:pt x="143" y="28"/>
                  </a:lnTo>
                  <a:lnTo>
                    <a:pt x="139" y="28"/>
                  </a:lnTo>
                  <a:lnTo>
                    <a:pt x="139" y="28"/>
                  </a:lnTo>
                  <a:lnTo>
                    <a:pt x="137" y="28"/>
                  </a:lnTo>
                  <a:lnTo>
                    <a:pt x="137" y="29"/>
                  </a:lnTo>
                  <a:lnTo>
                    <a:pt x="139" y="28"/>
                  </a:lnTo>
                  <a:lnTo>
                    <a:pt x="137" y="28"/>
                  </a:lnTo>
                  <a:lnTo>
                    <a:pt x="137" y="29"/>
                  </a:lnTo>
                  <a:lnTo>
                    <a:pt x="139" y="28"/>
                  </a:lnTo>
                  <a:lnTo>
                    <a:pt x="137" y="29"/>
                  </a:lnTo>
                  <a:lnTo>
                    <a:pt x="139" y="28"/>
                  </a:lnTo>
                  <a:lnTo>
                    <a:pt x="139" y="28"/>
                  </a:lnTo>
                  <a:lnTo>
                    <a:pt x="137" y="29"/>
                  </a:lnTo>
                  <a:lnTo>
                    <a:pt x="139" y="28"/>
                  </a:lnTo>
                  <a:lnTo>
                    <a:pt x="137" y="28"/>
                  </a:lnTo>
                  <a:lnTo>
                    <a:pt x="139" y="28"/>
                  </a:lnTo>
                  <a:lnTo>
                    <a:pt x="139" y="28"/>
                  </a:lnTo>
                  <a:lnTo>
                    <a:pt x="137" y="28"/>
                  </a:lnTo>
                  <a:lnTo>
                    <a:pt x="139" y="28"/>
                  </a:lnTo>
                  <a:lnTo>
                    <a:pt x="139" y="28"/>
                  </a:lnTo>
                  <a:lnTo>
                    <a:pt x="137" y="27"/>
                  </a:lnTo>
                  <a:lnTo>
                    <a:pt x="137" y="27"/>
                  </a:lnTo>
                  <a:lnTo>
                    <a:pt x="136" y="24"/>
                  </a:lnTo>
                  <a:lnTo>
                    <a:pt x="133" y="22"/>
                  </a:lnTo>
                  <a:lnTo>
                    <a:pt x="133" y="22"/>
                  </a:lnTo>
                  <a:lnTo>
                    <a:pt x="133" y="22"/>
                  </a:lnTo>
                  <a:lnTo>
                    <a:pt x="133" y="22"/>
                  </a:lnTo>
                  <a:lnTo>
                    <a:pt x="133" y="22"/>
                  </a:lnTo>
                  <a:lnTo>
                    <a:pt x="133" y="22"/>
                  </a:lnTo>
                  <a:lnTo>
                    <a:pt x="133" y="22"/>
                  </a:lnTo>
                  <a:lnTo>
                    <a:pt x="133" y="22"/>
                  </a:lnTo>
                  <a:lnTo>
                    <a:pt x="133" y="22"/>
                  </a:lnTo>
                  <a:lnTo>
                    <a:pt x="133" y="22"/>
                  </a:lnTo>
                  <a:lnTo>
                    <a:pt x="133" y="22"/>
                  </a:lnTo>
                  <a:lnTo>
                    <a:pt x="133" y="22"/>
                  </a:lnTo>
                  <a:lnTo>
                    <a:pt x="133" y="22"/>
                  </a:lnTo>
                  <a:lnTo>
                    <a:pt x="133" y="24"/>
                  </a:lnTo>
                  <a:lnTo>
                    <a:pt x="133" y="22"/>
                  </a:lnTo>
                  <a:lnTo>
                    <a:pt x="133" y="22"/>
                  </a:lnTo>
                  <a:lnTo>
                    <a:pt x="133" y="24"/>
                  </a:lnTo>
                  <a:lnTo>
                    <a:pt x="133" y="24"/>
                  </a:lnTo>
                  <a:lnTo>
                    <a:pt x="134" y="24"/>
                  </a:lnTo>
                  <a:lnTo>
                    <a:pt x="134" y="24"/>
                  </a:lnTo>
                  <a:lnTo>
                    <a:pt x="133" y="22"/>
                  </a:lnTo>
                  <a:lnTo>
                    <a:pt x="133" y="24"/>
                  </a:lnTo>
                  <a:lnTo>
                    <a:pt x="134" y="24"/>
                  </a:lnTo>
                  <a:lnTo>
                    <a:pt x="133" y="22"/>
                  </a:lnTo>
                  <a:lnTo>
                    <a:pt x="133" y="24"/>
                  </a:lnTo>
                  <a:lnTo>
                    <a:pt x="133" y="24"/>
                  </a:lnTo>
                  <a:lnTo>
                    <a:pt x="136" y="22"/>
                  </a:lnTo>
                  <a:lnTo>
                    <a:pt x="136" y="22"/>
                  </a:lnTo>
                  <a:lnTo>
                    <a:pt x="137" y="22"/>
                  </a:lnTo>
                  <a:lnTo>
                    <a:pt x="137" y="22"/>
                  </a:lnTo>
                  <a:lnTo>
                    <a:pt x="139" y="19"/>
                  </a:lnTo>
                  <a:lnTo>
                    <a:pt x="139" y="19"/>
                  </a:lnTo>
                  <a:lnTo>
                    <a:pt x="137" y="16"/>
                  </a:lnTo>
                  <a:lnTo>
                    <a:pt x="137" y="16"/>
                  </a:lnTo>
                  <a:lnTo>
                    <a:pt x="136" y="15"/>
                  </a:lnTo>
                  <a:lnTo>
                    <a:pt x="136" y="15"/>
                  </a:lnTo>
                  <a:lnTo>
                    <a:pt x="133" y="15"/>
                  </a:lnTo>
                  <a:lnTo>
                    <a:pt x="133" y="15"/>
                  </a:lnTo>
                  <a:lnTo>
                    <a:pt x="117" y="13"/>
                  </a:lnTo>
                  <a:lnTo>
                    <a:pt x="117" y="13"/>
                  </a:lnTo>
                  <a:lnTo>
                    <a:pt x="110" y="13"/>
                  </a:lnTo>
                  <a:lnTo>
                    <a:pt x="110" y="13"/>
                  </a:lnTo>
                  <a:lnTo>
                    <a:pt x="104" y="12"/>
                  </a:lnTo>
                  <a:lnTo>
                    <a:pt x="104" y="12"/>
                  </a:lnTo>
                  <a:lnTo>
                    <a:pt x="97" y="9"/>
                  </a:lnTo>
                  <a:lnTo>
                    <a:pt x="97" y="9"/>
                  </a:lnTo>
                  <a:lnTo>
                    <a:pt x="90" y="9"/>
                  </a:lnTo>
                  <a:lnTo>
                    <a:pt x="90" y="9"/>
                  </a:lnTo>
                  <a:lnTo>
                    <a:pt x="88" y="9"/>
                  </a:lnTo>
                  <a:lnTo>
                    <a:pt x="88" y="9"/>
                  </a:lnTo>
                  <a:lnTo>
                    <a:pt x="84" y="9"/>
                  </a:lnTo>
                  <a:lnTo>
                    <a:pt x="79" y="11"/>
                  </a:lnTo>
                  <a:lnTo>
                    <a:pt x="79" y="11"/>
                  </a:lnTo>
                  <a:lnTo>
                    <a:pt x="76" y="12"/>
                  </a:lnTo>
                  <a:lnTo>
                    <a:pt x="74" y="13"/>
                  </a:lnTo>
                  <a:lnTo>
                    <a:pt x="74" y="13"/>
                  </a:lnTo>
                  <a:lnTo>
                    <a:pt x="72" y="13"/>
                  </a:lnTo>
                  <a:lnTo>
                    <a:pt x="72" y="13"/>
                  </a:lnTo>
                  <a:lnTo>
                    <a:pt x="66" y="12"/>
                  </a:lnTo>
                  <a:lnTo>
                    <a:pt x="66" y="12"/>
                  </a:lnTo>
                  <a:lnTo>
                    <a:pt x="58" y="13"/>
                  </a:lnTo>
                  <a:lnTo>
                    <a:pt x="58" y="13"/>
                  </a:lnTo>
                  <a:lnTo>
                    <a:pt x="56" y="13"/>
                  </a:lnTo>
                  <a:lnTo>
                    <a:pt x="56" y="13"/>
                  </a:lnTo>
                  <a:lnTo>
                    <a:pt x="53" y="12"/>
                  </a:lnTo>
                  <a:lnTo>
                    <a:pt x="53" y="12"/>
                  </a:lnTo>
                  <a:lnTo>
                    <a:pt x="46" y="6"/>
                  </a:lnTo>
                  <a:lnTo>
                    <a:pt x="46" y="6"/>
                  </a:lnTo>
                  <a:lnTo>
                    <a:pt x="39" y="2"/>
                  </a:lnTo>
                  <a:lnTo>
                    <a:pt x="39" y="2"/>
                  </a:lnTo>
                  <a:lnTo>
                    <a:pt x="36" y="0"/>
                  </a:lnTo>
                  <a:lnTo>
                    <a:pt x="36" y="0"/>
                  </a:lnTo>
                  <a:lnTo>
                    <a:pt x="33" y="0"/>
                  </a:lnTo>
                  <a:lnTo>
                    <a:pt x="30" y="2"/>
                  </a:lnTo>
                  <a:lnTo>
                    <a:pt x="30" y="2"/>
                  </a:lnTo>
                  <a:lnTo>
                    <a:pt x="27" y="3"/>
                  </a:lnTo>
                  <a:lnTo>
                    <a:pt x="27" y="3"/>
                  </a:lnTo>
                  <a:lnTo>
                    <a:pt x="19" y="3"/>
                  </a:lnTo>
                  <a:lnTo>
                    <a:pt x="19" y="3"/>
                  </a:lnTo>
                  <a:lnTo>
                    <a:pt x="14" y="5"/>
                  </a:lnTo>
                  <a:lnTo>
                    <a:pt x="14" y="5"/>
                  </a:lnTo>
                  <a:lnTo>
                    <a:pt x="10" y="6"/>
                  </a:lnTo>
                  <a:lnTo>
                    <a:pt x="10" y="6"/>
                  </a:lnTo>
                  <a:lnTo>
                    <a:pt x="7" y="11"/>
                  </a:lnTo>
                  <a:lnTo>
                    <a:pt x="7" y="11"/>
                  </a:lnTo>
                  <a:lnTo>
                    <a:pt x="1" y="13"/>
                  </a:lnTo>
                  <a:lnTo>
                    <a:pt x="0" y="15"/>
                  </a:lnTo>
                  <a:lnTo>
                    <a:pt x="0" y="15"/>
                  </a:lnTo>
                  <a:lnTo>
                    <a:pt x="0" y="18"/>
                  </a:lnTo>
                  <a:lnTo>
                    <a:pt x="0" y="18"/>
                  </a:lnTo>
                  <a:lnTo>
                    <a:pt x="0" y="19"/>
                  </a:lnTo>
                  <a:lnTo>
                    <a:pt x="0" y="19"/>
                  </a:lnTo>
                  <a:lnTo>
                    <a:pt x="1" y="21"/>
                  </a:lnTo>
                  <a:lnTo>
                    <a:pt x="1" y="21"/>
                  </a:lnTo>
                  <a:lnTo>
                    <a:pt x="6" y="21"/>
                  </a:lnTo>
                  <a:lnTo>
                    <a:pt x="6" y="21"/>
                  </a:lnTo>
                  <a:lnTo>
                    <a:pt x="11" y="22"/>
                  </a:lnTo>
                  <a:lnTo>
                    <a:pt x="11" y="22"/>
                  </a:lnTo>
                  <a:lnTo>
                    <a:pt x="17" y="24"/>
                  </a:lnTo>
                  <a:lnTo>
                    <a:pt x="17" y="24"/>
                  </a:lnTo>
                  <a:lnTo>
                    <a:pt x="19" y="24"/>
                  </a:lnTo>
                  <a:lnTo>
                    <a:pt x="20" y="22"/>
                  </a:lnTo>
                  <a:lnTo>
                    <a:pt x="19" y="24"/>
                  </a:lnTo>
                  <a:lnTo>
                    <a:pt x="19" y="24"/>
                  </a:lnTo>
                  <a:lnTo>
                    <a:pt x="20" y="22"/>
                  </a:lnTo>
                  <a:lnTo>
                    <a:pt x="19" y="24"/>
                  </a:lnTo>
                  <a:lnTo>
                    <a:pt x="20" y="22"/>
                  </a:lnTo>
                  <a:lnTo>
                    <a:pt x="19" y="22"/>
                  </a:lnTo>
                  <a:lnTo>
                    <a:pt x="19" y="22"/>
                  </a:lnTo>
                  <a:lnTo>
                    <a:pt x="19" y="24"/>
                  </a:lnTo>
                  <a:lnTo>
                    <a:pt x="20" y="22"/>
                  </a:lnTo>
                  <a:lnTo>
                    <a:pt x="19" y="22"/>
                  </a:lnTo>
                  <a:lnTo>
                    <a:pt x="20" y="22"/>
                  </a:lnTo>
                  <a:lnTo>
                    <a:pt x="19" y="21"/>
                  </a:lnTo>
                  <a:lnTo>
                    <a:pt x="19" y="21"/>
                  </a:lnTo>
                  <a:lnTo>
                    <a:pt x="19" y="22"/>
                  </a:lnTo>
                  <a:lnTo>
                    <a:pt x="20" y="22"/>
                  </a:lnTo>
                  <a:lnTo>
                    <a:pt x="19" y="21"/>
                  </a:lnTo>
                  <a:lnTo>
                    <a:pt x="20" y="21"/>
                  </a:lnTo>
                  <a:lnTo>
                    <a:pt x="19" y="21"/>
                  </a:lnTo>
                  <a:lnTo>
                    <a:pt x="19" y="21"/>
                  </a:lnTo>
                  <a:lnTo>
                    <a:pt x="20" y="21"/>
                  </a:lnTo>
                  <a:lnTo>
                    <a:pt x="19" y="21"/>
                  </a:lnTo>
                  <a:lnTo>
                    <a:pt x="19" y="21"/>
                  </a:lnTo>
                  <a:lnTo>
                    <a:pt x="19" y="21"/>
                  </a:lnTo>
                  <a:lnTo>
                    <a:pt x="19" y="21"/>
                  </a:lnTo>
                  <a:lnTo>
                    <a:pt x="19" y="21"/>
                  </a:lnTo>
                  <a:lnTo>
                    <a:pt x="19" y="21"/>
                  </a:lnTo>
                  <a:lnTo>
                    <a:pt x="19" y="21"/>
                  </a:lnTo>
                  <a:lnTo>
                    <a:pt x="17" y="21"/>
                  </a:lnTo>
                  <a:lnTo>
                    <a:pt x="17" y="21"/>
                  </a:lnTo>
                  <a:lnTo>
                    <a:pt x="14" y="24"/>
                  </a:lnTo>
                  <a:lnTo>
                    <a:pt x="13" y="24"/>
                  </a:lnTo>
                  <a:lnTo>
                    <a:pt x="13" y="24"/>
                  </a:lnTo>
                  <a:lnTo>
                    <a:pt x="11" y="25"/>
                  </a:lnTo>
                  <a:lnTo>
                    <a:pt x="11" y="25"/>
                  </a:lnTo>
                  <a:lnTo>
                    <a:pt x="13" y="28"/>
                  </a:lnTo>
                  <a:lnTo>
                    <a:pt x="13" y="28"/>
                  </a:lnTo>
                  <a:lnTo>
                    <a:pt x="16" y="29"/>
                  </a:lnTo>
                  <a:lnTo>
                    <a:pt x="16" y="29"/>
                  </a:lnTo>
                  <a:lnTo>
                    <a:pt x="26" y="31"/>
                  </a:lnTo>
                  <a:lnTo>
                    <a:pt x="26" y="31"/>
                  </a:lnTo>
                  <a:lnTo>
                    <a:pt x="36" y="32"/>
                  </a:lnTo>
                  <a:lnTo>
                    <a:pt x="36" y="32"/>
                  </a:lnTo>
                  <a:lnTo>
                    <a:pt x="50" y="32"/>
                  </a:lnTo>
                  <a:lnTo>
                    <a:pt x="50" y="32"/>
                  </a:lnTo>
                  <a:lnTo>
                    <a:pt x="59" y="34"/>
                  </a:lnTo>
                  <a:lnTo>
                    <a:pt x="66" y="35"/>
                  </a:lnTo>
                  <a:lnTo>
                    <a:pt x="66" y="35"/>
                  </a:lnTo>
                  <a:lnTo>
                    <a:pt x="74" y="38"/>
                  </a:lnTo>
                  <a:lnTo>
                    <a:pt x="74" y="38"/>
                  </a:lnTo>
                  <a:lnTo>
                    <a:pt x="85" y="42"/>
                  </a:lnTo>
                  <a:lnTo>
                    <a:pt x="85" y="42"/>
                  </a:lnTo>
                  <a:lnTo>
                    <a:pt x="92" y="44"/>
                  </a:lnTo>
                  <a:lnTo>
                    <a:pt x="101" y="44"/>
                  </a:lnTo>
                  <a:lnTo>
                    <a:pt x="101" y="44"/>
                  </a:lnTo>
                  <a:lnTo>
                    <a:pt x="126" y="44"/>
                  </a:lnTo>
                  <a:lnTo>
                    <a:pt x="126" y="44"/>
                  </a:lnTo>
                  <a:lnTo>
                    <a:pt x="130" y="44"/>
                  </a:lnTo>
                  <a:lnTo>
                    <a:pt x="130" y="44"/>
                  </a:lnTo>
                  <a:lnTo>
                    <a:pt x="134" y="45"/>
                  </a:lnTo>
                  <a:lnTo>
                    <a:pt x="134" y="45"/>
                  </a:lnTo>
                  <a:lnTo>
                    <a:pt x="142" y="50"/>
                  </a:lnTo>
                  <a:lnTo>
                    <a:pt x="143"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83" name="Freeform 1277"/>
            <p:cNvSpPr>
              <a:spLocks/>
            </p:cNvSpPr>
            <p:nvPr/>
          </p:nvSpPr>
          <p:spPr bwMode="auto">
            <a:xfrm>
              <a:off x="7237413" y="4921251"/>
              <a:ext cx="20638" cy="7938"/>
            </a:xfrm>
            <a:custGeom>
              <a:avLst/>
              <a:gdLst>
                <a:gd name="T0" fmla="*/ 10 w 13"/>
                <a:gd name="T1" fmla="*/ 5 h 5"/>
                <a:gd name="T2" fmla="*/ 10 w 13"/>
                <a:gd name="T3" fmla="*/ 5 h 5"/>
                <a:gd name="T4" fmla="*/ 5 w 13"/>
                <a:gd name="T5" fmla="*/ 5 h 5"/>
                <a:gd name="T6" fmla="*/ 2 w 13"/>
                <a:gd name="T7" fmla="*/ 4 h 5"/>
                <a:gd name="T8" fmla="*/ 0 w 13"/>
                <a:gd name="T9" fmla="*/ 3 h 5"/>
                <a:gd name="T10" fmla="*/ 3 w 13"/>
                <a:gd name="T11" fmla="*/ 1 h 5"/>
                <a:gd name="T12" fmla="*/ 3 w 13"/>
                <a:gd name="T13" fmla="*/ 1 h 5"/>
                <a:gd name="T14" fmla="*/ 9 w 13"/>
                <a:gd name="T15" fmla="*/ 0 h 5"/>
                <a:gd name="T16" fmla="*/ 12 w 13"/>
                <a:gd name="T17" fmla="*/ 1 h 5"/>
                <a:gd name="T18" fmla="*/ 13 w 13"/>
                <a:gd name="T19" fmla="*/ 1 h 5"/>
                <a:gd name="T20" fmla="*/ 13 w 13"/>
                <a:gd name="T21" fmla="*/ 1 h 5"/>
                <a:gd name="T22" fmla="*/ 13 w 13"/>
                <a:gd name="T23" fmla="*/ 4 h 5"/>
                <a:gd name="T24" fmla="*/ 12 w 13"/>
                <a:gd name="T25" fmla="*/ 5 h 5"/>
                <a:gd name="T26" fmla="*/ 10 w 1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5">
                  <a:moveTo>
                    <a:pt x="10" y="5"/>
                  </a:moveTo>
                  <a:lnTo>
                    <a:pt x="10" y="5"/>
                  </a:lnTo>
                  <a:lnTo>
                    <a:pt x="5" y="5"/>
                  </a:lnTo>
                  <a:lnTo>
                    <a:pt x="2" y="4"/>
                  </a:lnTo>
                  <a:lnTo>
                    <a:pt x="0" y="3"/>
                  </a:lnTo>
                  <a:lnTo>
                    <a:pt x="3" y="1"/>
                  </a:lnTo>
                  <a:lnTo>
                    <a:pt x="3" y="1"/>
                  </a:lnTo>
                  <a:lnTo>
                    <a:pt x="9" y="0"/>
                  </a:lnTo>
                  <a:lnTo>
                    <a:pt x="12" y="1"/>
                  </a:lnTo>
                  <a:lnTo>
                    <a:pt x="13" y="1"/>
                  </a:lnTo>
                  <a:lnTo>
                    <a:pt x="13" y="1"/>
                  </a:lnTo>
                  <a:lnTo>
                    <a:pt x="13" y="4"/>
                  </a:lnTo>
                  <a:lnTo>
                    <a:pt x="12" y="5"/>
                  </a:lnTo>
                  <a:lnTo>
                    <a:pt x="10" y="5"/>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84" name="Freeform 1278"/>
            <p:cNvSpPr>
              <a:spLocks/>
            </p:cNvSpPr>
            <p:nvPr/>
          </p:nvSpPr>
          <p:spPr bwMode="auto">
            <a:xfrm>
              <a:off x="7237413" y="4921251"/>
              <a:ext cx="20638" cy="7938"/>
            </a:xfrm>
            <a:custGeom>
              <a:avLst/>
              <a:gdLst>
                <a:gd name="T0" fmla="*/ 10 w 13"/>
                <a:gd name="T1" fmla="*/ 5 h 5"/>
                <a:gd name="T2" fmla="*/ 10 w 13"/>
                <a:gd name="T3" fmla="*/ 5 h 5"/>
                <a:gd name="T4" fmla="*/ 5 w 13"/>
                <a:gd name="T5" fmla="*/ 5 h 5"/>
                <a:gd name="T6" fmla="*/ 2 w 13"/>
                <a:gd name="T7" fmla="*/ 4 h 5"/>
                <a:gd name="T8" fmla="*/ 0 w 13"/>
                <a:gd name="T9" fmla="*/ 3 h 5"/>
                <a:gd name="T10" fmla="*/ 3 w 13"/>
                <a:gd name="T11" fmla="*/ 1 h 5"/>
                <a:gd name="T12" fmla="*/ 3 w 13"/>
                <a:gd name="T13" fmla="*/ 1 h 5"/>
                <a:gd name="T14" fmla="*/ 9 w 13"/>
                <a:gd name="T15" fmla="*/ 0 h 5"/>
                <a:gd name="T16" fmla="*/ 12 w 13"/>
                <a:gd name="T17" fmla="*/ 1 h 5"/>
                <a:gd name="T18" fmla="*/ 13 w 13"/>
                <a:gd name="T19" fmla="*/ 1 h 5"/>
                <a:gd name="T20" fmla="*/ 13 w 13"/>
                <a:gd name="T21" fmla="*/ 1 h 5"/>
                <a:gd name="T22" fmla="*/ 13 w 13"/>
                <a:gd name="T23" fmla="*/ 4 h 5"/>
                <a:gd name="T24" fmla="*/ 12 w 13"/>
                <a:gd name="T25" fmla="*/ 5 h 5"/>
                <a:gd name="T26" fmla="*/ 10 w 1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5">
                  <a:moveTo>
                    <a:pt x="10" y="5"/>
                  </a:moveTo>
                  <a:lnTo>
                    <a:pt x="10" y="5"/>
                  </a:lnTo>
                  <a:lnTo>
                    <a:pt x="5" y="5"/>
                  </a:lnTo>
                  <a:lnTo>
                    <a:pt x="2" y="4"/>
                  </a:lnTo>
                  <a:lnTo>
                    <a:pt x="0" y="3"/>
                  </a:lnTo>
                  <a:lnTo>
                    <a:pt x="3" y="1"/>
                  </a:lnTo>
                  <a:lnTo>
                    <a:pt x="3" y="1"/>
                  </a:lnTo>
                  <a:lnTo>
                    <a:pt x="9" y="0"/>
                  </a:lnTo>
                  <a:lnTo>
                    <a:pt x="12" y="1"/>
                  </a:lnTo>
                  <a:lnTo>
                    <a:pt x="13" y="1"/>
                  </a:lnTo>
                  <a:lnTo>
                    <a:pt x="13" y="1"/>
                  </a:lnTo>
                  <a:lnTo>
                    <a:pt x="13" y="4"/>
                  </a:lnTo>
                  <a:lnTo>
                    <a:pt x="12" y="5"/>
                  </a:lnTo>
                  <a:lnTo>
                    <a:pt x="10" y="5"/>
                  </a:lnTo>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85" name="Freeform 1279"/>
            <p:cNvSpPr>
              <a:spLocks/>
            </p:cNvSpPr>
            <p:nvPr/>
          </p:nvSpPr>
          <p:spPr bwMode="auto">
            <a:xfrm>
              <a:off x="7296151" y="4929188"/>
              <a:ext cx="22225" cy="12700"/>
            </a:xfrm>
            <a:custGeom>
              <a:avLst/>
              <a:gdLst>
                <a:gd name="T0" fmla="*/ 11 w 14"/>
                <a:gd name="T1" fmla="*/ 8 h 8"/>
                <a:gd name="T2" fmla="*/ 11 w 14"/>
                <a:gd name="T3" fmla="*/ 8 h 8"/>
                <a:gd name="T4" fmla="*/ 4 w 14"/>
                <a:gd name="T5" fmla="*/ 6 h 8"/>
                <a:gd name="T6" fmla="*/ 0 w 14"/>
                <a:gd name="T7" fmla="*/ 6 h 8"/>
                <a:gd name="T8" fmla="*/ 0 w 14"/>
                <a:gd name="T9" fmla="*/ 5 h 8"/>
                <a:gd name="T10" fmla="*/ 1 w 14"/>
                <a:gd name="T11" fmla="*/ 5 h 8"/>
                <a:gd name="T12" fmla="*/ 1 w 14"/>
                <a:gd name="T13" fmla="*/ 5 h 8"/>
                <a:gd name="T14" fmla="*/ 4 w 14"/>
                <a:gd name="T15" fmla="*/ 0 h 8"/>
                <a:gd name="T16" fmla="*/ 7 w 14"/>
                <a:gd name="T17" fmla="*/ 0 h 8"/>
                <a:gd name="T18" fmla="*/ 10 w 14"/>
                <a:gd name="T19" fmla="*/ 0 h 8"/>
                <a:gd name="T20" fmla="*/ 10 w 14"/>
                <a:gd name="T21" fmla="*/ 0 h 8"/>
                <a:gd name="T22" fmla="*/ 13 w 14"/>
                <a:gd name="T23" fmla="*/ 2 h 8"/>
                <a:gd name="T24" fmla="*/ 14 w 14"/>
                <a:gd name="T25" fmla="*/ 5 h 8"/>
                <a:gd name="T26" fmla="*/ 14 w 14"/>
                <a:gd name="T27" fmla="*/ 6 h 8"/>
                <a:gd name="T28" fmla="*/ 11 w 14"/>
                <a:gd name="T2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8">
                  <a:moveTo>
                    <a:pt x="11" y="8"/>
                  </a:moveTo>
                  <a:lnTo>
                    <a:pt x="11" y="8"/>
                  </a:lnTo>
                  <a:lnTo>
                    <a:pt x="4" y="6"/>
                  </a:lnTo>
                  <a:lnTo>
                    <a:pt x="0" y="6"/>
                  </a:lnTo>
                  <a:lnTo>
                    <a:pt x="0" y="5"/>
                  </a:lnTo>
                  <a:lnTo>
                    <a:pt x="1" y="5"/>
                  </a:lnTo>
                  <a:lnTo>
                    <a:pt x="1" y="5"/>
                  </a:lnTo>
                  <a:lnTo>
                    <a:pt x="4" y="0"/>
                  </a:lnTo>
                  <a:lnTo>
                    <a:pt x="7" y="0"/>
                  </a:lnTo>
                  <a:lnTo>
                    <a:pt x="10" y="0"/>
                  </a:lnTo>
                  <a:lnTo>
                    <a:pt x="10" y="0"/>
                  </a:lnTo>
                  <a:lnTo>
                    <a:pt x="13" y="2"/>
                  </a:lnTo>
                  <a:lnTo>
                    <a:pt x="14" y="5"/>
                  </a:lnTo>
                  <a:lnTo>
                    <a:pt x="14" y="6"/>
                  </a:lnTo>
                  <a:lnTo>
                    <a:pt x="11" y="8"/>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86" name="Freeform 1280"/>
            <p:cNvSpPr>
              <a:spLocks/>
            </p:cNvSpPr>
            <p:nvPr/>
          </p:nvSpPr>
          <p:spPr bwMode="auto">
            <a:xfrm>
              <a:off x="7296151" y="4929188"/>
              <a:ext cx="22225" cy="12700"/>
            </a:xfrm>
            <a:custGeom>
              <a:avLst/>
              <a:gdLst>
                <a:gd name="T0" fmla="*/ 11 w 14"/>
                <a:gd name="T1" fmla="*/ 8 h 8"/>
                <a:gd name="T2" fmla="*/ 11 w 14"/>
                <a:gd name="T3" fmla="*/ 8 h 8"/>
                <a:gd name="T4" fmla="*/ 4 w 14"/>
                <a:gd name="T5" fmla="*/ 6 h 8"/>
                <a:gd name="T6" fmla="*/ 0 w 14"/>
                <a:gd name="T7" fmla="*/ 6 h 8"/>
                <a:gd name="T8" fmla="*/ 0 w 14"/>
                <a:gd name="T9" fmla="*/ 5 h 8"/>
                <a:gd name="T10" fmla="*/ 1 w 14"/>
                <a:gd name="T11" fmla="*/ 5 h 8"/>
                <a:gd name="T12" fmla="*/ 1 w 14"/>
                <a:gd name="T13" fmla="*/ 5 h 8"/>
                <a:gd name="T14" fmla="*/ 4 w 14"/>
                <a:gd name="T15" fmla="*/ 0 h 8"/>
                <a:gd name="T16" fmla="*/ 7 w 14"/>
                <a:gd name="T17" fmla="*/ 0 h 8"/>
                <a:gd name="T18" fmla="*/ 10 w 14"/>
                <a:gd name="T19" fmla="*/ 0 h 8"/>
                <a:gd name="T20" fmla="*/ 10 w 14"/>
                <a:gd name="T21" fmla="*/ 0 h 8"/>
                <a:gd name="T22" fmla="*/ 13 w 14"/>
                <a:gd name="T23" fmla="*/ 2 h 8"/>
                <a:gd name="T24" fmla="*/ 14 w 14"/>
                <a:gd name="T25" fmla="*/ 5 h 8"/>
                <a:gd name="T26" fmla="*/ 14 w 14"/>
                <a:gd name="T27" fmla="*/ 6 h 8"/>
                <a:gd name="T28" fmla="*/ 11 w 14"/>
                <a:gd name="T2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8">
                  <a:moveTo>
                    <a:pt x="11" y="8"/>
                  </a:moveTo>
                  <a:lnTo>
                    <a:pt x="11" y="8"/>
                  </a:lnTo>
                  <a:lnTo>
                    <a:pt x="4" y="6"/>
                  </a:lnTo>
                  <a:lnTo>
                    <a:pt x="0" y="6"/>
                  </a:lnTo>
                  <a:lnTo>
                    <a:pt x="0" y="5"/>
                  </a:lnTo>
                  <a:lnTo>
                    <a:pt x="1" y="5"/>
                  </a:lnTo>
                  <a:lnTo>
                    <a:pt x="1" y="5"/>
                  </a:lnTo>
                  <a:lnTo>
                    <a:pt x="4" y="0"/>
                  </a:lnTo>
                  <a:lnTo>
                    <a:pt x="7" y="0"/>
                  </a:lnTo>
                  <a:lnTo>
                    <a:pt x="10" y="0"/>
                  </a:lnTo>
                  <a:lnTo>
                    <a:pt x="10" y="0"/>
                  </a:lnTo>
                  <a:lnTo>
                    <a:pt x="13" y="2"/>
                  </a:lnTo>
                  <a:lnTo>
                    <a:pt x="14" y="5"/>
                  </a:lnTo>
                  <a:lnTo>
                    <a:pt x="14" y="6"/>
                  </a:lnTo>
                  <a:lnTo>
                    <a:pt x="11" y="8"/>
                  </a:lnTo>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87" name="Freeform 1281"/>
            <p:cNvSpPr>
              <a:spLocks/>
            </p:cNvSpPr>
            <p:nvPr/>
          </p:nvSpPr>
          <p:spPr bwMode="auto">
            <a:xfrm>
              <a:off x="7354888" y="4949826"/>
              <a:ext cx="41275" cy="28575"/>
            </a:xfrm>
            <a:custGeom>
              <a:avLst/>
              <a:gdLst>
                <a:gd name="T0" fmla="*/ 22 w 26"/>
                <a:gd name="T1" fmla="*/ 18 h 18"/>
                <a:gd name="T2" fmla="*/ 22 w 26"/>
                <a:gd name="T3" fmla="*/ 18 h 18"/>
                <a:gd name="T4" fmla="*/ 16 w 26"/>
                <a:gd name="T5" fmla="*/ 15 h 18"/>
                <a:gd name="T6" fmla="*/ 12 w 26"/>
                <a:gd name="T7" fmla="*/ 12 h 18"/>
                <a:gd name="T8" fmla="*/ 7 w 26"/>
                <a:gd name="T9" fmla="*/ 8 h 18"/>
                <a:gd name="T10" fmla="*/ 3 w 26"/>
                <a:gd name="T11" fmla="*/ 5 h 18"/>
                <a:gd name="T12" fmla="*/ 3 w 26"/>
                <a:gd name="T13" fmla="*/ 5 h 18"/>
                <a:gd name="T14" fmla="*/ 0 w 26"/>
                <a:gd name="T15" fmla="*/ 3 h 18"/>
                <a:gd name="T16" fmla="*/ 0 w 26"/>
                <a:gd name="T17" fmla="*/ 0 h 18"/>
                <a:gd name="T18" fmla="*/ 3 w 26"/>
                <a:gd name="T19" fmla="*/ 0 h 18"/>
                <a:gd name="T20" fmla="*/ 9 w 26"/>
                <a:gd name="T21" fmla="*/ 0 h 18"/>
                <a:gd name="T22" fmla="*/ 9 w 26"/>
                <a:gd name="T23" fmla="*/ 0 h 18"/>
                <a:gd name="T24" fmla="*/ 13 w 26"/>
                <a:gd name="T25" fmla="*/ 3 h 18"/>
                <a:gd name="T26" fmla="*/ 20 w 26"/>
                <a:gd name="T27" fmla="*/ 8 h 18"/>
                <a:gd name="T28" fmla="*/ 26 w 26"/>
                <a:gd name="T29" fmla="*/ 14 h 18"/>
                <a:gd name="T30" fmla="*/ 26 w 26"/>
                <a:gd name="T31" fmla="*/ 14 h 18"/>
                <a:gd name="T32" fmla="*/ 26 w 26"/>
                <a:gd name="T33" fmla="*/ 16 h 18"/>
                <a:gd name="T34" fmla="*/ 25 w 26"/>
                <a:gd name="T35" fmla="*/ 18 h 18"/>
                <a:gd name="T36" fmla="*/ 22 w 26"/>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18">
                  <a:moveTo>
                    <a:pt x="22" y="18"/>
                  </a:moveTo>
                  <a:lnTo>
                    <a:pt x="22" y="18"/>
                  </a:lnTo>
                  <a:lnTo>
                    <a:pt x="16" y="15"/>
                  </a:lnTo>
                  <a:lnTo>
                    <a:pt x="12" y="12"/>
                  </a:lnTo>
                  <a:lnTo>
                    <a:pt x="7" y="8"/>
                  </a:lnTo>
                  <a:lnTo>
                    <a:pt x="3" y="5"/>
                  </a:lnTo>
                  <a:lnTo>
                    <a:pt x="3" y="5"/>
                  </a:lnTo>
                  <a:lnTo>
                    <a:pt x="0" y="3"/>
                  </a:lnTo>
                  <a:lnTo>
                    <a:pt x="0" y="0"/>
                  </a:lnTo>
                  <a:lnTo>
                    <a:pt x="3" y="0"/>
                  </a:lnTo>
                  <a:lnTo>
                    <a:pt x="9" y="0"/>
                  </a:lnTo>
                  <a:lnTo>
                    <a:pt x="9" y="0"/>
                  </a:lnTo>
                  <a:lnTo>
                    <a:pt x="13" y="3"/>
                  </a:lnTo>
                  <a:lnTo>
                    <a:pt x="20" y="8"/>
                  </a:lnTo>
                  <a:lnTo>
                    <a:pt x="26" y="14"/>
                  </a:lnTo>
                  <a:lnTo>
                    <a:pt x="26" y="14"/>
                  </a:lnTo>
                  <a:lnTo>
                    <a:pt x="26" y="16"/>
                  </a:lnTo>
                  <a:lnTo>
                    <a:pt x="25" y="18"/>
                  </a:lnTo>
                  <a:lnTo>
                    <a:pt x="22" y="18"/>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88" name="Freeform 1282"/>
            <p:cNvSpPr>
              <a:spLocks/>
            </p:cNvSpPr>
            <p:nvPr/>
          </p:nvSpPr>
          <p:spPr bwMode="auto">
            <a:xfrm>
              <a:off x="7354888" y="4949826"/>
              <a:ext cx="41275" cy="28575"/>
            </a:xfrm>
            <a:custGeom>
              <a:avLst/>
              <a:gdLst>
                <a:gd name="T0" fmla="*/ 22 w 26"/>
                <a:gd name="T1" fmla="*/ 18 h 18"/>
                <a:gd name="T2" fmla="*/ 22 w 26"/>
                <a:gd name="T3" fmla="*/ 18 h 18"/>
                <a:gd name="T4" fmla="*/ 16 w 26"/>
                <a:gd name="T5" fmla="*/ 15 h 18"/>
                <a:gd name="T6" fmla="*/ 12 w 26"/>
                <a:gd name="T7" fmla="*/ 12 h 18"/>
                <a:gd name="T8" fmla="*/ 7 w 26"/>
                <a:gd name="T9" fmla="*/ 8 h 18"/>
                <a:gd name="T10" fmla="*/ 3 w 26"/>
                <a:gd name="T11" fmla="*/ 5 h 18"/>
                <a:gd name="T12" fmla="*/ 3 w 26"/>
                <a:gd name="T13" fmla="*/ 5 h 18"/>
                <a:gd name="T14" fmla="*/ 0 w 26"/>
                <a:gd name="T15" fmla="*/ 3 h 18"/>
                <a:gd name="T16" fmla="*/ 0 w 26"/>
                <a:gd name="T17" fmla="*/ 0 h 18"/>
                <a:gd name="T18" fmla="*/ 3 w 26"/>
                <a:gd name="T19" fmla="*/ 0 h 18"/>
                <a:gd name="T20" fmla="*/ 9 w 26"/>
                <a:gd name="T21" fmla="*/ 0 h 18"/>
                <a:gd name="T22" fmla="*/ 9 w 26"/>
                <a:gd name="T23" fmla="*/ 0 h 18"/>
                <a:gd name="T24" fmla="*/ 13 w 26"/>
                <a:gd name="T25" fmla="*/ 3 h 18"/>
                <a:gd name="T26" fmla="*/ 20 w 26"/>
                <a:gd name="T27" fmla="*/ 8 h 18"/>
                <a:gd name="T28" fmla="*/ 26 w 26"/>
                <a:gd name="T29" fmla="*/ 14 h 18"/>
                <a:gd name="T30" fmla="*/ 26 w 26"/>
                <a:gd name="T31" fmla="*/ 14 h 18"/>
                <a:gd name="T32" fmla="*/ 26 w 26"/>
                <a:gd name="T33" fmla="*/ 16 h 18"/>
                <a:gd name="T34" fmla="*/ 25 w 26"/>
                <a:gd name="T35" fmla="*/ 18 h 18"/>
                <a:gd name="T36" fmla="*/ 22 w 26"/>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18">
                  <a:moveTo>
                    <a:pt x="22" y="18"/>
                  </a:moveTo>
                  <a:lnTo>
                    <a:pt x="22" y="18"/>
                  </a:lnTo>
                  <a:lnTo>
                    <a:pt x="16" y="15"/>
                  </a:lnTo>
                  <a:lnTo>
                    <a:pt x="12" y="12"/>
                  </a:lnTo>
                  <a:lnTo>
                    <a:pt x="7" y="8"/>
                  </a:lnTo>
                  <a:lnTo>
                    <a:pt x="3" y="5"/>
                  </a:lnTo>
                  <a:lnTo>
                    <a:pt x="3" y="5"/>
                  </a:lnTo>
                  <a:lnTo>
                    <a:pt x="0" y="3"/>
                  </a:lnTo>
                  <a:lnTo>
                    <a:pt x="0" y="0"/>
                  </a:lnTo>
                  <a:lnTo>
                    <a:pt x="3" y="0"/>
                  </a:lnTo>
                  <a:lnTo>
                    <a:pt x="9" y="0"/>
                  </a:lnTo>
                  <a:lnTo>
                    <a:pt x="9" y="0"/>
                  </a:lnTo>
                  <a:lnTo>
                    <a:pt x="13" y="3"/>
                  </a:lnTo>
                  <a:lnTo>
                    <a:pt x="20" y="8"/>
                  </a:lnTo>
                  <a:lnTo>
                    <a:pt x="26" y="14"/>
                  </a:lnTo>
                  <a:lnTo>
                    <a:pt x="26" y="14"/>
                  </a:lnTo>
                  <a:lnTo>
                    <a:pt x="26" y="16"/>
                  </a:lnTo>
                  <a:lnTo>
                    <a:pt x="25" y="18"/>
                  </a:lnTo>
                  <a:lnTo>
                    <a:pt x="22" y="18"/>
                  </a:lnTo>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89" name="Freeform 1283"/>
            <p:cNvSpPr>
              <a:spLocks/>
            </p:cNvSpPr>
            <p:nvPr/>
          </p:nvSpPr>
          <p:spPr bwMode="auto">
            <a:xfrm>
              <a:off x="7369176" y="4927601"/>
              <a:ext cx="82550" cy="14288"/>
            </a:xfrm>
            <a:custGeom>
              <a:avLst/>
              <a:gdLst>
                <a:gd name="T0" fmla="*/ 22 w 52"/>
                <a:gd name="T1" fmla="*/ 9 h 9"/>
                <a:gd name="T2" fmla="*/ 22 w 52"/>
                <a:gd name="T3" fmla="*/ 9 h 9"/>
                <a:gd name="T4" fmla="*/ 9 w 52"/>
                <a:gd name="T5" fmla="*/ 7 h 9"/>
                <a:gd name="T6" fmla="*/ 1 w 52"/>
                <a:gd name="T7" fmla="*/ 6 h 9"/>
                <a:gd name="T8" fmla="*/ 0 w 52"/>
                <a:gd name="T9" fmla="*/ 6 h 9"/>
                <a:gd name="T10" fmla="*/ 1 w 52"/>
                <a:gd name="T11" fmla="*/ 4 h 9"/>
                <a:gd name="T12" fmla="*/ 1 w 52"/>
                <a:gd name="T13" fmla="*/ 4 h 9"/>
                <a:gd name="T14" fmla="*/ 6 w 52"/>
                <a:gd name="T15" fmla="*/ 0 h 9"/>
                <a:gd name="T16" fmla="*/ 10 w 52"/>
                <a:gd name="T17" fmla="*/ 0 h 9"/>
                <a:gd name="T18" fmla="*/ 14 w 52"/>
                <a:gd name="T19" fmla="*/ 0 h 9"/>
                <a:gd name="T20" fmla="*/ 14 w 52"/>
                <a:gd name="T21" fmla="*/ 0 h 9"/>
                <a:gd name="T22" fmla="*/ 26 w 52"/>
                <a:gd name="T23" fmla="*/ 3 h 9"/>
                <a:gd name="T24" fmla="*/ 32 w 52"/>
                <a:gd name="T25" fmla="*/ 4 h 9"/>
                <a:gd name="T26" fmla="*/ 38 w 52"/>
                <a:gd name="T27" fmla="*/ 3 h 9"/>
                <a:gd name="T28" fmla="*/ 38 w 52"/>
                <a:gd name="T29" fmla="*/ 3 h 9"/>
                <a:gd name="T30" fmla="*/ 49 w 52"/>
                <a:gd name="T31" fmla="*/ 0 h 9"/>
                <a:gd name="T32" fmla="*/ 52 w 52"/>
                <a:gd name="T33" fmla="*/ 0 h 9"/>
                <a:gd name="T34" fmla="*/ 52 w 52"/>
                <a:gd name="T35" fmla="*/ 1 h 9"/>
                <a:gd name="T36" fmla="*/ 52 w 52"/>
                <a:gd name="T37" fmla="*/ 1 h 9"/>
                <a:gd name="T38" fmla="*/ 52 w 52"/>
                <a:gd name="T39" fmla="*/ 1 h 9"/>
                <a:gd name="T40" fmla="*/ 45 w 52"/>
                <a:gd name="T41" fmla="*/ 6 h 9"/>
                <a:gd name="T42" fmla="*/ 40 w 52"/>
                <a:gd name="T43" fmla="*/ 7 h 9"/>
                <a:gd name="T44" fmla="*/ 40 w 52"/>
                <a:gd name="T45" fmla="*/ 7 h 9"/>
                <a:gd name="T46" fmla="*/ 32 w 52"/>
                <a:gd name="T47" fmla="*/ 9 h 9"/>
                <a:gd name="T48" fmla="*/ 22 w 52"/>
                <a:gd name="T4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9">
                  <a:moveTo>
                    <a:pt x="22" y="9"/>
                  </a:moveTo>
                  <a:lnTo>
                    <a:pt x="22" y="9"/>
                  </a:lnTo>
                  <a:lnTo>
                    <a:pt x="9" y="7"/>
                  </a:lnTo>
                  <a:lnTo>
                    <a:pt x="1" y="6"/>
                  </a:lnTo>
                  <a:lnTo>
                    <a:pt x="0" y="6"/>
                  </a:lnTo>
                  <a:lnTo>
                    <a:pt x="1" y="4"/>
                  </a:lnTo>
                  <a:lnTo>
                    <a:pt x="1" y="4"/>
                  </a:lnTo>
                  <a:lnTo>
                    <a:pt x="6" y="0"/>
                  </a:lnTo>
                  <a:lnTo>
                    <a:pt x="10" y="0"/>
                  </a:lnTo>
                  <a:lnTo>
                    <a:pt x="14" y="0"/>
                  </a:lnTo>
                  <a:lnTo>
                    <a:pt x="14" y="0"/>
                  </a:lnTo>
                  <a:lnTo>
                    <a:pt x="26" y="3"/>
                  </a:lnTo>
                  <a:lnTo>
                    <a:pt x="32" y="4"/>
                  </a:lnTo>
                  <a:lnTo>
                    <a:pt x="38" y="3"/>
                  </a:lnTo>
                  <a:lnTo>
                    <a:pt x="38" y="3"/>
                  </a:lnTo>
                  <a:lnTo>
                    <a:pt x="49" y="0"/>
                  </a:lnTo>
                  <a:lnTo>
                    <a:pt x="52" y="0"/>
                  </a:lnTo>
                  <a:lnTo>
                    <a:pt x="52" y="1"/>
                  </a:lnTo>
                  <a:lnTo>
                    <a:pt x="52" y="1"/>
                  </a:lnTo>
                  <a:lnTo>
                    <a:pt x="52" y="1"/>
                  </a:lnTo>
                  <a:lnTo>
                    <a:pt x="45" y="6"/>
                  </a:lnTo>
                  <a:lnTo>
                    <a:pt x="40" y="7"/>
                  </a:lnTo>
                  <a:lnTo>
                    <a:pt x="40" y="7"/>
                  </a:lnTo>
                  <a:lnTo>
                    <a:pt x="32" y="9"/>
                  </a:lnTo>
                  <a:lnTo>
                    <a:pt x="22" y="9"/>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90" name="Freeform 1284"/>
            <p:cNvSpPr>
              <a:spLocks/>
            </p:cNvSpPr>
            <p:nvPr/>
          </p:nvSpPr>
          <p:spPr bwMode="auto">
            <a:xfrm>
              <a:off x="7369176" y="4927601"/>
              <a:ext cx="82550" cy="14288"/>
            </a:xfrm>
            <a:custGeom>
              <a:avLst/>
              <a:gdLst>
                <a:gd name="T0" fmla="*/ 22 w 52"/>
                <a:gd name="T1" fmla="*/ 9 h 9"/>
                <a:gd name="T2" fmla="*/ 22 w 52"/>
                <a:gd name="T3" fmla="*/ 9 h 9"/>
                <a:gd name="T4" fmla="*/ 9 w 52"/>
                <a:gd name="T5" fmla="*/ 7 h 9"/>
                <a:gd name="T6" fmla="*/ 1 w 52"/>
                <a:gd name="T7" fmla="*/ 6 h 9"/>
                <a:gd name="T8" fmla="*/ 0 w 52"/>
                <a:gd name="T9" fmla="*/ 6 h 9"/>
                <a:gd name="T10" fmla="*/ 1 w 52"/>
                <a:gd name="T11" fmla="*/ 4 h 9"/>
                <a:gd name="T12" fmla="*/ 1 w 52"/>
                <a:gd name="T13" fmla="*/ 4 h 9"/>
                <a:gd name="T14" fmla="*/ 6 w 52"/>
                <a:gd name="T15" fmla="*/ 0 h 9"/>
                <a:gd name="T16" fmla="*/ 10 w 52"/>
                <a:gd name="T17" fmla="*/ 0 h 9"/>
                <a:gd name="T18" fmla="*/ 14 w 52"/>
                <a:gd name="T19" fmla="*/ 0 h 9"/>
                <a:gd name="T20" fmla="*/ 14 w 52"/>
                <a:gd name="T21" fmla="*/ 0 h 9"/>
                <a:gd name="T22" fmla="*/ 26 w 52"/>
                <a:gd name="T23" fmla="*/ 3 h 9"/>
                <a:gd name="T24" fmla="*/ 32 w 52"/>
                <a:gd name="T25" fmla="*/ 4 h 9"/>
                <a:gd name="T26" fmla="*/ 38 w 52"/>
                <a:gd name="T27" fmla="*/ 3 h 9"/>
                <a:gd name="T28" fmla="*/ 38 w 52"/>
                <a:gd name="T29" fmla="*/ 3 h 9"/>
                <a:gd name="T30" fmla="*/ 49 w 52"/>
                <a:gd name="T31" fmla="*/ 0 h 9"/>
                <a:gd name="T32" fmla="*/ 52 w 52"/>
                <a:gd name="T33" fmla="*/ 0 h 9"/>
                <a:gd name="T34" fmla="*/ 52 w 52"/>
                <a:gd name="T35" fmla="*/ 1 h 9"/>
                <a:gd name="T36" fmla="*/ 52 w 52"/>
                <a:gd name="T37" fmla="*/ 1 h 9"/>
                <a:gd name="T38" fmla="*/ 52 w 52"/>
                <a:gd name="T39" fmla="*/ 1 h 9"/>
                <a:gd name="T40" fmla="*/ 45 w 52"/>
                <a:gd name="T41" fmla="*/ 6 h 9"/>
                <a:gd name="T42" fmla="*/ 40 w 52"/>
                <a:gd name="T43" fmla="*/ 7 h 9"/>
                <a:gd name="T44" fmla="*/ 40 w 52"/>
                <a:gd name="T45" fmla="*/ 7 h 9"/>
                <a:gd name="T46" fmla="*/ 32 w 52"/>
                <a:gd name="T47" fmla="*/ 9 h 9"/>
                <a:gd name="T48" fmla="*/ 22 w 52"/>
                <a:gd name="T4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9">
                  <a:moveTo>
                    <a:pt x="22" y="9"/>
                  </a:moveTo>
                  <a:lnTo>
                    <a:pt x="22" y="9"/>
                  </a:lnTo>
                  <a:lnTo>
                    <a:pt x="9" y="7"/>
                  </a:lnTo>
                  <a:lnTo>
                    <a:pt x="1" y="6"/>
                  </a:lnTo>
                  <a:lnTo>
                    <a:pt x="0" y="6"/>
                  </a:lnTo>
                  <a:lnTo>
                    <a:pt x="1" y="4"/>
                  </a:lnTo>
                  <a:lnTo>
                    <a:pt x="1" y="4"/>
                  </a:lnTo>
                  <a:lnTo>
                    <a:pt x="6" y="0"/>
                  </a:lnTo>
                  <a:lnTo>
                    <a:pt x="10" y="0"/>
                  </a:lnTo>
                  <a:lnTo>
                    <a:pt x="14" y="0"/>
                  </a:lnTo>
                  <a:lnTo>
                    <a:pt x="14" y="0"/>
                  </a:lnTo>
                  <a:lnTo>
                    <a:pt x="26" y="3"/>
                  </a:lnTo>
                  <a:lnTo>
                    <a:pt x="32" y="4"/>
                  </a:lnTo>
                  <a:lnTo>
                    <a:pt x="38" y="3"/>
                  </a:lnTo>
                  <a:lnTo>
                    <a:pt x="38" y="3"/>
                  </a:lnTo>
                  <a:lnTo>
                    <a:pt x="49" y="0"/>
                  </a:lnTo>
                  <a:lnTo>
                    <a:pt x="52" y="0"/>
                  </a:lnTo>
                  <a:lnTo>
                    <a:pt x="52" y="1"/>
                  </a:lnTo>
                  <a:lnTo>
                    <a:pt x="52" y="1"/>
                  </a:lnTo>
                  <a:lnTo>
                    <a:pt x="52" y="1"/>
                  </a:lnTo>
                  <a:lnTo>
                    <a:pt x="45" y="6"/>
                  </a:lnTo>
                  <a:lnTo>
                    <a:pt x="40" y="7"/>
                  </a:lnTo>
                  <a:lnTo>
                    <a:pt x="40" y="7"/>
                  </a:lnTo>
                  <a:lnTo>
                    <a:pt x="32" y="9"/>
                  </a:lnTo>
                  <a:lnTo>
                    <a:pt x="22" y="9"/>
                  </a:lnTo>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91" name="Freeform 1285"/>
            <p:cNvSpPr>
              <a:spLocks/>
            </p:cNvSpPr>
            <p:nvPr/>
          </p:nvSpPr>
          <p:spPr bwMode="auto">
            <a:xfrm>
              <a:off x="7467601" y="4933951"/>
              <a:ext cx="76200" cy="34925"/>
            </a:xfrm>
            <a:custGeom>
              <a:avLst/>
              <a:gdLst>
                <a:gd name="T0" fmla="*/ 9 w 48"/>
                <a:gd name="T1" fmla="*/ 22 h 22"/>
                <a:gd name="T2" fmla="*/ 9 w 48"/>
                <a:gd name="T3" fmla="*/ 22 h 22"/>
                <a:gd name="T4" fmla="*/ 5 w 48"/>
                <a:gd name="T5" fmla="*/ 22 h 22"/>
                <a:gd name="T6" fmla="*/ 2 w 48"/>
                <a:gd name="T7" fmla="*/ 21 h 22"/>
                <a:gd name="T8" fmla="*/ 0 w 48"/>
                <a:gd name="T9" fmla="*/ 19 h 22"/>
                <a:gd name="T10" fmla="*/ 0 w 48"/>
                <a:gd name="T11" fmla="*/ 18 h 22"/>
                <a:gd name="T12" fmla="*/ 5 w 48"/>
                <a:gd name="T13" fmla="*/ 15 h 22"/>
                <a:gd name="T14" fmla="*/ 5 w 48"/>
                <a:gd name="T15" fmla="*/ 15 h 22"/>
                <a:gd name="T16" fmla="*/ 15 w 48"/>
                <a:gd name="T17" fmla="*/ 9 h 22"/>
                <a:gd name="T18" fmla="*/ 19 w 48"/>
                <a:gd name="T19" fmla="*/ 6 h 22"/>
                <a:gd name="T20" fmla="*/ 22 w 48"/>
                <a:gd name="T21" fmla="*/ 3 h 22"/>
                <a:gd name="T22" fmla="*/ 22 w 48"/>
                <a:gd name="T23" fmla="*/ 3 h 22"/>
                <a:gd name="T24" fmla="*/ 26 w 48"/>
                <a:gd name="T25" fmla="*/ 2 h 22"/>
                <a:gd name="T26" fmla="*/ 33 w 48"/>
                <a:gd name="T27" fmla="*/ 0 h 22"/>
                <a:gd name="T28" fmla="*/ 42 w 48"/>
                <a:gd name="T29" fmla="*/ 0 h 22"/>
                <a:gd name="T30" fmla="*/ 48 w 48"/>
                <a:gd name="T31" fmla="*/ 2 h 22"/>
                <a:gd name="T32" fmla="*/ 48 w 48"/>
                <a:gd name="T33" fmla="*/ 2 h 22"/>
                <a:gd name="T34" fmla="*/ 48 w 48"/>
                <a:gd name="T35" fmla="*/ 2 h 22"/>
                <a:gd name="T36" fmla="*/ 48 w 48"/>
                <a:gd name="T37" fmla="*/ 3 h 22"/>
                <a:gd name="T38" fmla="*/ 45 w 48"/>
                <a:gd name="T39" fmla="*/ 5 h 22"/>
                <a:gd name="T40" fmla="*/ 36 w 48"/>
                <a:gd name="T41" fmla="*/ 6 h 22"/>
                <a:gd name="T42" fmla="*/ 36 w 48"/>
                <a:gd name="T43" fmla="*/ 6 h 22"/>
                <a:gd name="T44" fmla="*/ 32 w 48"/>
                <a:gd name="T45" fmla="*/ 9 h 22"/>
                <a:gd name="T46" fmla="*/ 25 w 48"/>
                <a:gd name="T47" fmla="*/ 15 h 22"/>
                <a:gd name="T48" fmla="*/ 16 w 48"/>
                <a:gd name="T49" fmla="*/ 21 h 22"/>
                <a:gd name="T50" fmla="*/ 13 w 48"/>
                <a:gd name="T51" fmla="*/ 22 h 22"/>
                <a:gd name="T52" fmla="*/ 9 w 48"/>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22">
                  <a:moveTo>
                    <a:pt x="9" y="22"/>
                  </a:moveTo>
                  <a:lnTo>
                    <a:pt x="9" y="22"/>
                  </a:lnTo>
                  <a:lnTo>
                    <a:pt x="5" y="22"/>
                  </a:lnTo>
                  <a:lnTo>
                    <a:pt x="2" y="21"/>
                  </a:lnTo>
                  <a:lnTo>
                    <a:pt x="0" y="19"/>
                  </a:lnTo>
                  <a:lnTo>
                    <a:pt x="0" y="18"/>
                  </a:lnTo>
                  <a:lnTo>
                    <a:pt x="5" y="15"/>
                  </a:lnTo>
                  <a:lnTo>
                    <a:pt x="5" y="15"/>
                  </a:lnTo>
                  <a:lnTo>
                    <a:pt x="15" y="9"/>
                  </a:lnTo>
                  <a:lnTo>
                    <a:pt x="19" y="6"/>
                  </a:lnTo>
                  <a:lnTo>
                    <a:pt x="22" y="3"/>
                  </a:lnTo>
                  <a:lnTo>
                    <a:pt x="22" y="3"/>
                  </a:lnTo>
                  <a:lnTo>
                    <a:pt x="26" y="2"/>
                  </a:lnTo>
                  <a:lnTo>
                    <a:pt x="33" y="0"/>
                  </a:lnTo>
                  <a:lnTo>
                    <a:pt x="42" y="0"/>
                  </a:lnTo>
                  <a:lnTo>
                    <a:pt x="48" y="2"/>
                  </a:lnTo>
                  <a:lnTo>
                    <a:pt x="48" y="2"/>
                  </a:lnTo>
                  <a:lnTo>
                    <a:pt x="48" y="2"/>
                  </a:lnTo>
                  <a:lnTo>
                    <a:pt x="48" y="3"/>
                  </a:lnTo>
                  <a:lnTo>
                    <a:pt x="45" y="5"/>
                  </a:lnTo>
                  <a:lnTo>
                    <a:pt x="36" y="6"/>
                  </a:lnTo>
                  <a:lnTo>
                    <a:pt x="36" y="6"/>
                  </a:lnTo>
                  <a:lnTo>
                    <a:pt x="32" y="9"/>
                  </a:lnTo>
                  <a:lnTo>
                    <a:pt x="25" y="15"/>
                  </a:lnTo>
                  <a:lnTo>
                    <a:pt x="16" y="21"/>
                  </a:lnTo>
                  <a:lnTo>
                    <a:pt x="13" y="22"/>
                  </a:lnTo>
                  <a:lnTo>
                    <a:pt x="9" y="22"/>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92" name="Freeform 1286"/>
            <p:cNvSpPr>
              <a:spLocks/>
            </p:cNvSpPr>
            <p:nvPr/>
          </p:nvSpPr>
          <p:spPr bwMode="auto">
            <a:xfrm>
              <a:off x="7467601" y="4933951"/>
              <a:ext cx="76200" cy="34925"/>
            </a:xfrm>
            <a:custGeom>
              <a:avLst/>
              <a:gdLst>
                <a:gd name="T0" fmla="*/ 9 w 48"/>
                <a:gd name="T1" fmla="*/ 22 h 22"/>
                <a:gd name="T2" fmla="*/ 9 w 48"/>
                <a:gd name="T3" fmla="*/ 22 h 22"/>
                <a:gd name="T4" fmla="*/ 5 w 48"/>
                <a:gd name="T5" fmla="*/ 22 h 22"/>
                <a:gd name="T6" fmla="*/ 2 w 48"/>
                <a:gd name="T7" fmla="*/ 21 h 22"/>
                <a:gd name="T8" fmla="*/ 0 w 48"/>
                <a:gd name="T9" fmla="*/ 19 h 22"/>
                <a:gd name="T10" fmla="*/ 0 w 48"/>
                <a:gd name="T11" fmla="*/ 18 h 22"/>
                <a:gd name="T12" fmla="*/ 5 w 48"/>
                <a:gd name="T13" fmla="*/ 15 h 22"/>
                <a:gd name="T14" fmla="*/ 5 w 48"/>
                <a:gd name="T15" fmla="*/ 15 h 22"/>
                <a:gd name="T16" fmla="*/ 15 w 48"/>
                <a:gd name="T17" fmla="*/ 9 h 22"/>
                <a:gd name="T18" fmla="*/ 19 w 48"/>
                <a:gd name="T19" fmla="*/ 6 h 22"/>
                <a:gd name="T20" fmla="*/ 22 w 48"/>
                <a:gd name="T21" fmla="*/ 3 h 22"/>
                <a:gd name="T22" fmla="*/ 22 w 48"/>
                <a:gd name="T23" fmla="*/ 3 h 22"/>
                <a:gd name="T24" fmla="*/ 26 w 48"/>
                <a:gd name="T25" fmla="*/ 2 h 22"/>
                <a:gd name="T26" fmla="*/ 33 w 48"/>
                <a:gd name="T27" fmla="*/ 0 h 22"/>
                <a:gd name="T28" fmla="*/ 42 w 48"/>
                <a:gd name="T29" fmla="*/ 0 h 22"/>
                <a:gd name="T30" fmla="*/ 48 w 48"/>
                <a:gd name="T31" fmla="*/ 2 h 22"/>
                <a:gd name="T32" fmla="*/ 48 w 48"/>
                <a:gd name="T33" fmla="*/ 2 h 22"/>
                <a:gd name="T34" fmla="*/ 48 w 48"/>
                <a:gd name="T35" fmla="*/ 2 h 22"/>
                <a:gd name="T36" fmla="*/ 48 w 48"/>
                <a:gd name="T37" fmla="*/ 3 h 22"/>
                <a:gd name="T38" fmla="*/ 45 w 48"/>
                <a:gd name="T39" fmla="*/ 5 h 22"/>
                <a:gd name="T40" fmla="*/ 36 w 48"/>
                <a:gd name="T41" fmla="*/ 6 h 22"/>
                <a:gd name="T42" fmla="*/ 36 w 48"/>
                <a:gd name="T43" fmla="*/ 6 h 22"/>
                <a:gd name="T44" fmla="*/ 32 w 48"/>
                <a:gd name="T45" fmla="*/ 9 h 22"/>
                <a:gd name="T46" fmla="*/ 25 w 48"/>
                <a:gd name="T47" fmla="*/ 15 h 22"/>
                <a:gd name="T48" fmla="*/ 16 w 48"/>
                <a:gd name="T49" fmla="*/ 21 h 22"/>
                <a:gd name="T50" fmla="*/ 13 w 48"/>
                <a:gd name="T51" fmla="*/ 22 h 22"/>
                <a:gd name="T52" fmla="*/ 9 w 48"/>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22">
                  <a:moveTo>
                    <a:pt x="9" y="22"/>
                  </a:moveTo>
                  <a:lnTo>
                    <a:pt x="9" y="22"/>
                  </a:lnTo>
                  <a:lnTo>
                    <a:pt x="5" y="22"/>
                  </a:lnTo>
                  <a:lnTo>
                    <a:pt x="2" y="21"/>
                  </a:lnTo>
                  <a:lnTo>
                    <a:pt x="0" y="19"/>
                  </a:lnTo>
                  <a:lnTo>
                    <a:pt x="0" y="18"/>
                  </a:lnTo>
                  <a:lnTo>
                    <a:pt x="5" y="15"/>
                  </a:lnTo>
                  <a:lnTo>
                    <a:pt x="5" y="15"/>
                  </a:lnTo>
                  <a:lnTo>
                    <a:pt x="15" y="9"/>
                  </a:lnTo>
                  <a:lnTo>
                    <a:pt x="19" y="6"/>
                  </a:lnTo>
                  <a:lnTo>
                    <a:pt x="22" y="3"/>
                  </a:lnTo>
                  <a:lnTo>
                    <a:pt x="22" y="3"/>
                  </a:lnTo>
                  <a:lnTo>
                    <a:pt x="26" y="2"/>
                  </a:lnTo>
                  <a:lnTo>
                    <a:pt x="33" y="0"/>
                  </a:lnTo>
                  <a:lnTo>
                    <a:pt x="42" y="0"/>
                  </a:lnTo>
                  <a:lnTo>
                    <a:pt x="48" y="2"/>
                  </a:lnTo>
                  <a:lnTo>
                    <a:pt x="48" y="2"/>
                  </a:lnTo>
                  <a:lnTo>
                    <a:pt x="48" y="2"/>
                  </a:lnTo>
                  <a:lnTo>
                    <a:pt x="48" y="3"/>
                  </a:lnTo>
                  <a:lnTo>
                    <a:pt x="45" y="5"/>
                  </a:lnTo>
                  <a:lnTo>
                    <a:pt x="36" y="6"/>
                  </a:lnTo>
                  <a:lnTo>
                    <a:pt x="36" y="6"/>
                  </a:lnTo>
                  <a:lnTo>
                    <a:pt x="32" y="9"/>
                  </a:lnTo>
                  <a:lnTo>
                    <a:pt x="25" y="15"/>
                  </a:lnTo>
                  <a:lnTo>
                    <a:pt x="16" y="21"/>
                  </a:lnTo>
                  <a:lnTo>
                    <a:pt x="13" y="22"/>
                  </a:lnTo>
                  <a:lnTo>
                    <a:pt x="9" y="22"/>
                  </a:lnTo>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93" name="Freeform 1287"/>
            <p:cNvSpPr>
              <a:spLocks/>
            </p:cNvSpPr>
            <p:nvPr/>
          </p:nvSpPr>
          <p:spPr bwMode="auto">
            <a:xfrm>
              <a:off x="7099301" y="4537076"/>
              <a:ext cx="263525" cy="282575"/>
            </a:xfrm>
            <a:custGeom>
              <a:avLst/>
              <a:gdLst>
                <a:gd name="T0" fmla="*/ 137 w 166"/>
                <a:gd name="T1" fmla="*/ 17 h 178"/>
                <a:gd name="T2" fmla="*/ 129 w 166"/>
                <a:gd name="T3" fmla="*/ 1 h 178"/>
                <a:gd name="T4" fmla="*/ 106 w 166"/>
                <a:gd name="T5" fmla="*/ 21 h 178"/>
                <a:gd name="T6" fmla="*/ 100 w 166"/>
                <a:gd name="T7" fmla="*/ 32 h 178"/>
                <a:gd name="T8" fmla="*/ 99 w 166"/>
                <a:gd name="T9" fmla="*/ 35 h 178"/>
                <a:gd name="T10" fmla="*/ 77 w 166"/>
                <a:gd name="T11" fmla="*/ 45 h 178"/>
                <a:gd name="T12" fmla="*/ 79 w 166"/>
                <a:gd name="T13" fmla="*/ 48 h 178"/>
                <a:gd name="T14" fmla="*/ 66 w 166"/>
                <a:gd name="T15" fmla="*/ 61 h 178"/>
                <a:gd name="T16" fmla="*/ 61 w 166"/>
                <a:gd name="T17" fmla="*/ 66 h 178"/>
                <a:gd name="T18" fmla="*/ 40 w 166"/>
                <a:gd name="T19" fmla="*/ 68 h 178"/>
                <a:gd name="T20" fmla="*/ 32 w 166"/>
                <a:gd name="T21" fmla="*/ 88 h 178"/>
                <a:gd name="T22" fmla="*/ 16 w 166"/>
                <a:gd name="T23" fmla="*/ 85 h 178"/>
                <a:gd name="T24" fmla="*/ 2 w 166"/>
                <a:gd name="T25" fmla="*/ 119 h 178"/>
                <a:gd name="T26" fmla="*/ 12 w 166"/>
                <a:gd name="T27" fmla="*/ 130 h 178"/>
                <a:gd name="T28" fmla="*/ 11 w 166"/>
                <a:gd name="T29" fmla="*/ 132 h 178"/>
                <a:gd name="T30" fmla="*/ 31 w 166"/>
                <a:gd name="T31" fmla="*/ 161 h 178"/>
                <a:gd name="T32" fmla="*/ 40 w 166"/>
                <a:gd name="T33" fmla="*/ 162 h 178"/>
                <a:gd name="T34" fmla="*/ 42 w 166"/>
                <a:gd name="T35" fmla="*/ 168 h 178"/>
                <a:gd name="T36" fmla="*/ 64 w 166"/>
                <a:gd name="T37" fmla="*/ 163 h 178"/>
                <a:gd name="T38" fmla="*/ 61 w 166"/>
                <a:gd name="T39" fmla="*/ 163 h 178"/>
                <a:gd name="T40" fmla="*/ 84 w 166"/>
                <a:gd name="T41" fmla="*/ 174 h 178"/>
                <a:gd name="T42" fmla="*/ 86 w 166"/>
                <a:gd name="T43" fmla="*/ 176 h 178"/>
                <a:gd name="T44" fmla="*/ 122 w 166"/>
                <a:gd name="T45" fmla="*/ 140 h 178"/>
                <a:gd name="T46" fmla="*/ 160 w 166"/>
                <a:gd name="T47" fmla="*/ 101 h 178"/>
                <a:gd name="T48" fmla="*/ 145 w 166"/>
                <a:gd name="T49" fmla="*/ 84 h 178"/>
                <a:gd name="T50" fmla="*/ 145 w 166"/>
                <a:gd name="T51" fmla="*/ 85 h 178"/>
                <a:gd name="T52" fmla="*/ 135 w 166"/>
                <a:gd name="T53" fmla="*/ 58 h 178"/>
                <a:gd name="T54" fmla="*/ 132 w 166"/>
                <a:gd name="T55" fmla="*/ 58 h 178"/>
                <a:gd name="T56" fmla="*/ 144 w 166"/>
                <a:gd name="T57" fmla="*/ 56 h 178"/>
                <a:gd name="T58" fmla="*/ 139 w 166"/>
                <a:gd name="T59" fmla="*/ 52 h 178"/>
                <a:gd name="T60" fmla="*/ 157 w 166"/>
                <a:gd name="T61" fmla="*/ 46 h 178"/>
                <a:gd name="T62" fmla="*/ 166 w 166"/>
                <a:gd name="T63" fmla="*/ 29 h 178"/>
                <a:gd name="T64" fmla="*/ 163 w 166"/>
                <a:gd name="T65" fmla="*/ 32 h 178"/>
                <a:gd name="T66" fmla="*/ 153 w 166"/>
                <a:gd name="T67" fmla="*/ 39 h 178"/>
                <a:gd name="T68" fmla="*/ 154 w 166"/>
                <a:gd name="T69" fmla="*/ 46 h 178"/>
                <a:gd name="T70" fmla="*/ 135 w 166"/>
                <a:gd name="T71" fmla="*/ 52 h 178"/>
                <a:gd name="T72" fmla="*/ 138 w 166"/>
                <a:gd name="T73" fmla="*/ 56 h 178"/>
                <a:gd name="T74" fmla="*/ 129 w 166"/>
                <a:gd name="T75" fmla="*/ 56 h 178"/>
                <a:gd name="T76" fmla="*/ 141 w 166"/>
                <a:gd name="T77" fmla="*/ 81 h 178"/>
                <a:gd name="T78" fmla="*/ 157 w 166"/>
                <a:gd name="T79" fmla="*/ 98 h 178"/>
                <a:gd name="T80" fmla="*/ 155 w 166"/>
                <a:gd name="T81" fmla="*/ 98 h 178"/>
                <a:gd name="T82" fmla="*/ 119 w 166"/>
                <a:gd name="T83" fmla="*/ 137 h 178"/>
                <a:gd name="T84" fmla="*/ 90 w 166"/>
                <a:gd name="T85" fmla="*/ 174 h 178"/>
                <a:gd name="T86" fmla="*/ 61 w 166"/>
                <a:gd name="T87" fmla="*/ 159 h 178"/>
                <a:gd name="T88" fmla="*/ 51 w 166"/>
                <a:gd name="T89" fmla="*/ 162 h 178"/>
                <a:gd name="T90" fmla="*/ 41 w 166"/>
                <a:gd name="T91" fmla="*/ 163 h 178"/>
                <a:gd name="T92" fmla="*/ 40 w 166"/>
                <a:gd name="T93" fmla="*/ 158 h 178"/>
                <a:gd name="T94" fmla="*/ 21 w 166"/>
                <a:gd name="T95" fmla="*/ 155 h 178"/>
                <a:gd name="T96" fmla="*/ 12 w 166"/>
                <a:gd name="T97" fmla="*/ 126 h 178"/>
                <a:gd name="T98" fmla="*/ 8 w 166"/>
                <a:gd name="T99" fmla="*/ 123 h 178"/>
                <a:gd name="T100" fmla="*/ 9 w 166"/>
                <a:gd name="T101" fmla="*/ 87 h 178"/>
                <a:gd name="T102" fmla="*/ 34 w 166"/>
                <a:gd name="T103" fmla="*/ 92 h 178"/>
                <a:gd name="T104" fmla="*/ 42 w 166"/>
                <a:gd name="T105" fmla="*/ 72 h 178"/>
                <a:gd name="T106" fmla="*/ 66 w 166"/>
                <a:gd name="T107" fmla="*/ 63 h 178"/>
                <a:gd name="T108" fmla="*/ 80 w 166"/>
                <a:gd name="T109" fmla="*/ 53 h 178"/>
                <a:gd name="T110" fmla="*/ 82 w 166"/>
                <a:gd name="T111" fmla="*/ 45 h 178"/>
                <a:gd name="T112" fmla="*/ 82 w 166"/>
                <a:gd name="T113" fmla="*/ 46 h 178"/>
                <a:gd name="T114" fmla="*/ 93 w 166"/>
                <a:gd name="T115" fmla="*/ 37 h 178"/>
                <a:gd name="T116" fmla="*/ 97 w 166"/>
                <a:gd name="T117" fmla="*/ 39 h 178"/>
                <a:gd name="T118" fmla="*/ 108 w 166"/>
                <a:gd name="T119" fmla="*/ 26 h 178"/>
                <a:gd name="T120" fmla="*/ 118 w 166"/>
                <a:gd name="T121" fmla="*/ 13 h 178"/>
                <a:gd name="T122" fmla="*/ 131 w 166"/>
                <a:gd name="T123" fmla="*/ 8 h 178"/>
                <a:gd name="T124" fmla="*/ 138 w 166"/>
                <a:gd name="T125" fmla="*/ 2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 h="178">
                  <a:moveTo>
                    <a:pt x="163" y="30"/>
                  </a:moveTo>
                  <a:lnTo>
                    <a:pt x="163" y="27"/>
                  </a:lnTo>
                  <a:lnTo>
                    <a:pt x="163" y="27"/>
                  </a:lnTo>
                  <a:lnTo>
                    <a:pt x="155" y="24"/>
                  </a:lnTo>
                  <a:lnTo>
                    <a:pt x="155" y="24"/>
                  </a:lnTo>
                  <a:lnTo>
                    <a:pt x="145" y="20"/>
                  </a:lnTo>
                  <a:lnTo>
                    <a:pt x="145" y="20"/>
                  </a:lnTo>
                  <a:lnTo>
                    <a:pt x="138" y="17"/>
                  </a:lnTo>
                  <a:lnTo>
                    <a:pt x="138" y="17"/>
                  </a:lnTo>
                  <a:lnTo>
                    <a:pt x="137" y="17"/>
                  </a:lnTo>
                  <a:lnTo>
                    <a:pt x="137" y="17"/>
                  </a:lnTo>
                  <a:lnTo>
                    <a:pt x="137" y="17"/>
                  </a:lnTo>
                  <a:lnTo>
                    <a:pt x="138" y="17"/>
                  </a:lnTo>
                  <a:lnTo>
                    <a:pt x="137" y="17"/>
                  </a:lnTo>
                  <a:lnTo>
                    <a:pt x="137" y="17"/>
                  </a:lnTo>
                  <a:lnTo>
                    <a:pt x="138" y="17"/>
                  </a:lnTo>
                  <a:lnTo>
                    <a:pt x="137" y="17"/>
                  </a:lnTo>
                  <a:lnTo>
                    <a:pt x="137" y="17"/>
                  </a:lnTo>
                  <a:lnTo>
                    <a:pt x="138" y="17"/>
                  </a:lnTo>
                  <a:lnTo>
                    <a:pt x="137" y="17"/>
                  </a:lnTo>
                  <a:lnTo>
                    <a:pt x="137" y="17"/>
                  </a:lnTo>
                  <a:lnTo>
                    <a:pt x="137" y="17"/>
                  </a:lnTo>
                  <a:lnTo>
                    <a:pt x="137" y="17"/>
                  </a:lnTo>
                  <a:lnTo>
                    <a:pt x="138" y="13"/>
                  </a:lnTo>
                  <a:lnTo>
                    <a:pt x="138" y="13"/>
                  </a:lnTo>
                  <a:lnTo>
                    <a:pt x="138" y="10"/>
                  </a:lnTo>
                  <a:lnTo>
                    <a:pt x="135" y="6"/>
                  </a:lnTo>
                  <a:lnTo>
                    <a:pt x="135" y="6"/>
                  </a:lnTo>
                  <a:lnTo>
                    <a:pt x="129" y="1"/>
                  </a:lnTo>
                  <a:lnTo>
                    <a:pt x="129" y="1"/>
                  </a:lnTo>
                  <a:lnTo>
                    <a:pt x="125" y="0"/>
                  </a:lnTo>
                  <a:lnTo>
                    <a:pt x="125" y="0"/>
                  </a:lnTo>
                  <a:lnTo>
                    <a:pt x="122" y="1"/>
                  </a:lnTo>
                  <a:lnTo>
                    <a:pt x="122" y="1"/>
                  </a:lnTo>
                  <a:lnTo>
                    <a:pt x="119" y="3"/>
                  </a:lnTo>
                  <a:lnTo>
                    <a:pt x="119" y="3"/>
                  </a:lnTo>
                  <a:lnTo>
                    <a:pt x="112" y="14"/>
                  </a:lnTo>
                  <a:lnTo>
                    <a:pt x="112" y="14"/>
                  </a:lnTo>
                  <a:lnTo>
                    <a:pt x="108" y="20"/>
                  </a:lnTo>
                  <a:lnTo>
                    <a:pt x="108" y="20"/>
                  </a:lnTo>
                  <a:lnTo>
                    <a:pt x="106" y="21"/>
                  </a:lnTo>
                  <a:lnTo>
                    <a:pt x="106" y="21"/>
                  </a:lnTo>
                  <a:lnTo>
                    <a:pt x="106" y="23"/>
                  </a:lnTo>
                  <a:lnTo>
                    <a:pt x="106" y="21"/>
                  </a:lnTo>
                  <a:lnTo>
                    <a:pt x="106" y="21"/>
                  </a:lnTo>
                  <a:lnTo>
                    <a:pt x="106" y="23"/>
                  </a:lnTo>
                  <a:lnTo>
                    <a:pt x="106" y="21"/>
                  </a:lnTo>
                  <a:lnTo>
                    <a:pt x="108" y="23"/>
                  </a:lnTo>
                  <a:lnTo>
                    <a:pt x="106" y="21"/>
                  </a:lnTo>
                  <a:lnTo>
                    <a:pt x="106" y="21"/>
                  </a:lnTo>
                  <a:lnTo>
                    <a:pt x="108" y="23"/>
                  </a:lnTo>
                  <a:lnTo>
                    <a:pt x="106" y="21"/>
                  </a:lnTo>
                  <a:lnTo>
                    <a:pt x="106" y="21"/>
                  </a:lnTo>
                  <a:lnTo>
                    <a:pt x="105" y="21"/>
                  </a:lnTo>
                  <a:lnTo>
                    <a:pt x="105" y="21"/>
                  </a:lnTo>
                  <a:lnTo>
                    <a:pt x="102" y="26"/>
                  </a:lnTo>
                  <a:lnTo>
                    <a:pt x="102" y="26"/>
                  </a:lnTo>
                  <a:lnTo>
                    <a:pt x="100" y="29"/>
                  </a:lnTo>
                  <a:lnTo>
                    <a:pt x="100" y="29"/>
                  </a:lnTo>
                  <a:lnTo>
                    <a:pt x="100" y="32"/>
                  </a:lnTo>
                  <a:lnTo>
                    <a:pt x="100" y="32"/>
                  </a:lnTo>
                  <a:lnTo>
                    <a:pt x="99" y="33"/>
                  </a:lnTo>
                  <a:lnTo>
                    <a:pt x="97" y="35"/>
                  </a:lnTo>
                  <a:lnTo>
                    <a:pt x="97" y="35"/>
                  </a:lnTo>
                  <a:lnTo>
                    <a:pt x="97" y="35"/>
                  </a:lnTo>
                  <a:lnTo>
                    <a:pt x="97" y="35"/>
                  </a:lnTo>
                  <a:lnTo>
                    <a:pt x="97" y="35"/>
                  </a:lnTo>
                  <a:lnTo>
                    <a:pt x="97" y="35"/>
                  </a:lnTo>
                  <a:lnTo>
                    <a:pt x="97" y="35"/>
                  </a:lnTo>
                  <a:lnTo>
                    <a:pt x="97" y="35"/>
                  </a:lnTo>
                  <a:lnTo>
                    <a:pt x="99" y="35"/>
                  </a:lnTo>
                  <a:lnTo>
                    <a:pt x="97" y="35"/>
                  </a:lnTo>
                  <a:lnTo>
                    <a:pt x="97" y="35"/>
                  </a:lnTo>
                  <a:lnTo>
                    <a:pt x="99" y="35"/>
                  </a:lnTo>
                  <a:lnTo>
                    <a:pt x="99" y="35"/>
                  </a:lnTo>
                  <a:lnTo>
                    <a:pt x="96" y="33"/>
                  </a:lnTo>
                  <a:lnTo>
                    <a:pt x="96" y="33"/>
                  </a:lnTo>
                  <a:lnTo>
                    <a:pt x="93" y="33"/>
                  </a:lnTo>
                  <a:lnTo>
                    <a:pt x="93" y="33"/>
                  </a:lnTo>
                  <a:lnTo>
                    <a:pt x="90" y="35"/>
                  </a:lnTo>
                  <a:lnTo>
                    <a:pt x="90" y="35"/>
                  </a:lnTo>
                  <a:lnTo>
                    <a:pt x="86" y="39"/>
                  </a:lnTo>
                  <a:lnTo>
                    <a:pt x="86" y="39"/>
                  </a:lnTo>
                  <a:lnTo>
                    <a:pt x="83" y="40"/>
                  </a:lnTo>
                  <a:lnTo>
                    <a:pt x="83" y="40"/>
                  </a:lnTo>
                  <a:lnTo>
                    <a:pt x="82" y="42"/>
                  </a:lnTo>
                  <a:lnTo>
                    <a:pt x="82" y="42"/>
                  </a:lnTo>
                  <a:lnTo>
                    <a:pt x="79" y="42"/>
                  </a:lnTo>
                  <a:lnTo>
                    <a:pt x="79" y="42"/>
                  </a:lnTo>
                  <a:lnTo>
                    <a:pt x="77" y="45"/>
                  </a:lnTo>
                  <a:lnTo>
                    <a:pt x="77" y="45"/>
                  </a:lnTo>
                  <a:lnTo>
                    <a:pt x="79" y="48"/>
                  </a:lnTo>
                  <a:lnTo>
                    <a:pt x="79" y="48"/>
                  </a:lnTo>
                  <a:lnTo>
                    <a:pt x="79" y="49"/>
                  </a:lnTo>
                  <a:lnTo>
                    <a:pt x="79" y="49"/>
                  </a:lnTo>
                  <a:lnTo>
                    <a:pt x="79" y="49"/>
                  </a:lnTo>
                  <a:lnTo>
                    <a:pt x="79" y="49"/>
                  </a:lnTo>
                  <a:lnTo>
                    <a:pt x="79" y="49"/>
                  </a:lnTo>
                  <a:lnTo>
                    <a:pt x="79" y="49"/>
                  </a:lnTo>
                  <a:lnTo>
                    <a:pt x="79" y="49"/>
                  </a:lnTo>
                  <a:lnTo>
                    <a:pt x="80" y="49"/>
                  </a:lnTo>
                  <a:lnTo>
                    <a:pt x="79" y="48"/>
                  </a:lnTo>
                  <a:lnTo>
                    <a:pt x="79" y="49"/>
                  </a:lnTo>
                  <a:lnTo>
                    <a:pt x="80" y="49"/>
                  </a:lnTo>
                  <a:lnTo>
                    <a:pt x="79" y="48"/>
                  </a:lnTo>
                  <a:lnTo>
                    <a:pt x="80" y="49"/>
                  </a:lnTo>
                  <a:lnTo>
                    <a:pt x="79" y="48"/>
                  </a:lnTo>
                  <a:lnTo>
                    <a:pt x="79" y="48"/>
                  </a:lnTo>
                  <a:lnTo>
                    <a:pt x="80" y="49"/>
                  </a:lnTo>
                  <a:lnTo>
                    <a:pt x="79" y="48"/>
                  </a:lnTo>
                  <a:lnTo>
                    <a:pt x="79" y="48"/>
                  </a:lnTo>
                  <a:lnTo>
                    <a:pt x="77" y="49"/>
                  </a:lnTo>
                  <a:lnTo>
                    <a:pt x="77" y="49"/>
                  </a:lnTo>
                  <a:lnTo>
                    <a:pt x="70" y="55"/>
                  </a:lnTo>
                  <a:lnTo>
                    <a:pt x="70" y="55"/>
                  </a:lnTo>
                  <a:lnTo>
                    <a:pt x="67" y="58"/>
                  </a:lnTo>
                  <a:lnTo>
                    <a:pt x="67" y="58"/>
                  </a:lnTo>
                  <a:lnTo>
                    <a:pt x="66" y="59"/>
                  </a:lnTo>
                  <a:lnTo>
                    <a:pt x="66" y="59"/>
                  </a:lnTo>
                  <a:lnTo>
                    <a:pt x="66" y="61"/>
                  </a:lnTo>
                  <a:lnTo>
                    <a:pt x="66" y="59"/>
                  </a:lnTo>
                  <a:lnTo>
                    <a:pt x="66" y="59"/>
                  </a:lnTo>
                  <a:lnTo>
                    <a:pt x="66" y="61"/>
                  </a:lnTo>
                  <a:lnTo>
                    <a:pt x="66" y="59"/>
                  </a:lnTo>
                  <a:lnTo>
                    <a:pt x="66" y="59"/>
                  </a:lnTo>
                  <a:lnTo>
                    <a:pt x="63" y="59"/>
                  </a:lnTo>
                  <a:lnTo>
                    <a:pt x="63" y="59"/>
                  </a:lnTo>
                  <a:lnTo>
                    <a:pt x="61" y="62"/>
                  </a:lnTo>
                  <a:lnTo>
                    <a:pt x="61" y="62"/>
                  </a:lnTo>
                  <a:lnTo>
                    <a:pt x="61" y="65"/>
                  </a:lnTo>
                  <a:lnTo>
                    <a:pt x="61" y="65"/>
                  </a:lnTo>
                  <a:lnTo>
                    <a:pt x="61" y="66"/>
                  </a:lnTo>
                  <a:lnTo>
                    <a:pt x="61" y="66"/>
                  </a:lnTo>
                  <a:lnTo>
                    <a:pt x="63" y="66"/>
                  </a:lnTo>
                  <a:lnTo>
                    <a:pt x="61" y="66"/>
                  </a:lnTo>
                  <a:lnTo>
                    <a:pt x="61" y="66"/>
                  </a:lnTo>
                  <a:lnTo>
                    <a:pt x="63" y="66"/>
                  </a:lnTo>
                  <a:lnTo>
                    <a:pt x="61" y="66"/>
                  </a:lnTo>
                  <a:lnTo>
                    <a:pt x="63" y="66"/>
                  </a:lnTo>
                  <a:lnTo>
                    <a:pt x="63" y="65"/>
                  </a:lnTo>
                  <a:lnTo>
                    <a:pt x="61" y="66"/>
                  </a:lnTo>
                  <a:lnTo>
                    <a:pt x="63" y="66"/>
                  </a:lnTo>
                  <a:lnTo>
                    <a:pt x="63" y="65"/>
                  </a:lnTo>
                  <a:lnTo>
                    <a:pt x="63" y="65"/>
                  </a:lnTo>
                  <a:lnTo>
                    <a:pt x="53" y="66"/>
                  </a:lnTo>
                  <a:lnTo>
                    <a:pt x="53" y="66"/>
                  </a:lnTo>
                  <a:lnTo>
                    <a:pt x="41" y="68"/>
                  </a:lnTo>
                  <a:lnTo>
                    <a:pt x="41" y="68"/>
                  </a:lnTo>
                  <a:lnTo>
                    <a:pt x="40" y="68"/>
                  </a:lnTo>
                  <a:lnTo>
                    <a:pt x="40" y="68"/>
                  </a:lnTo>
                  <a:lnTo>
                    <a:pt x="38" y="71"/>
                  </a:lnTo>
                  <a:lnTo>
                    <a:pt x="38" y="71"/>
                  </a:lnTo>
                  <a:lnTo>
                    <a:pt x="32" y="82"/>
                  </a:lnTo>
                  <a:lnTo>
                    <a:pt x="32" y="82"/>
                  </a:lnTo>
                  <a:lnTo>
                    <a:pt x="31" y="88"/>
                  </a:lnTo>
                  <a:lnTo>
                    <a:pt x="31" y="88"/>
                  </a:lnTo>
                  <a:lnTo>
                    <a:pt x="31" y="88"/>
                  </a:lnTo>
                  <a:lnTo>
                    <a:pt x="31" y="88"/>
                  </a:lnTo>
                  <a:lnTo>
                    <a:pt x="31" y="90"/>
                  </a:lnTo>
                  <a:lnTo>
                    <a:pt x="31" y="88"/>
                  </a:lnTo>
                  <a:lnTo>
                    <a:pt x="31" y="88"/>
                  </a:lnTo>
                  <a:lnTo>
                    <a:pt x="31" y="90"/>
                  </a:lnTo>
                  <a:lnTo>
                    <a:pt x="31" y="88"/>
                  </a:lnTo>
                  <a:lnTo>
                    <a:pt x="32" y="90"/>
                  </a:lnTo>
                  <a:lnTo>
                    <a:pt x="32" y="88"/>
                  </a:lnTo>
                  <a:lnTo>
                    <a:pt x="32" y="88"/>
                  </a:lnTo>
                  <a:lnTo>
                    <a:pt x="31" y="88"/>
                  </a:lnTo>
                  <a:lnTo>
                    <a:pt x="32" y="90"/>
                  </a:lnTo>
                  <a:lnTo>
                    <a:pt x="32" y="88"/>
                  </a:lnTo>
                  <a:lnTo>
                    <a:pt x="32" y="88"/>
                  </a:lnTo>
                  <a:lnTo>
                    <a:pt x="31" y="88"/>
                  </a:lnTo>
                  <a:lnTo>
                    <a:pt x="31" y="88"/>
                  </a:lnTo>
                  <a:lnTo>
                    <a:pt x="24" y="90"/>
                  </a:lnTo>
                  <a:lnTo>
                    <a:pt x="24" y="90"/>
                  </a:lnTo>
                  <a:lnTo>
                    <a:pt x="21" y="88"/>
                  </a:lnTo>
                  <a:lnTo>
                    <a:pt x="21" y="88"/>
                  </a:lnTo>
                  <a:lnTo>
                    <a:pt x="21" y="88"/>
                  </a:lnTo>
                  <a:lnTo>
                    <a:pt x="21" y="88"/>
                  </a:lnTo>
                  <a:lnTo>
                    <a:pt x="21" y="88"/>
                  </a:lnTo>
                  <a:lnTo>
                    <a:pt x="16" y="85"/>
                  </a:lnTo>
                  <a:lnTo>
                    <a:pt x="16" y="85"/>
                  </a:lnTo>
                  <a:lnTo>
                    <a:pt x="13" y="82"/>
                  </a:lnTo>
                  <a:lnTo>
                    <a:pt x="9" y="82"/>
                  </a:lnTo>
                  <a:lnTo>
                    <a:pt x="9" y="82"/>
                  </a:lnTo>
                  <a:lnTo>
                    <a:pt x="8" y="82"/>
                  </a:lnTo>
                  <a:lnTo>
                    <a:pt x="8" y="82"/>
                  </a:lnTo>
                  <a:lnTo>
                    <a:pt x="5" y="84"/>
                  </a:lnTo>
                  <a:lnTo>
                    <a:pt x="5" y="84"/>
                  </a:lnTo>
                  <a:lnTo>
                    <a:pt x="3" y="90"/>
                  </a:lnTo>
                  <a:lnTo>
                    <a:pt x="3" y="90"/>
                  </a:lnTo>
                  <a:lnTo>
                    <a:pt x="2" y="98"/>
                  </a:lnTo>
                  <a:lnTo>
                    <a:pt x="2" y="98"/>
                  </a:lnTo>
                  <a:lnTo>
                    <a:pt x="0" y="104"/>
                  </a:lnTo>
                  <a:lnTo>
                    <a:pt x="0" y="104"/>
                  </a:lnTo>
                  <a:lnTo>
                    <a:pt x="2" y="119"/>
                  </a:lnTo>
                  <a:lnTo>
                    <a:pt x="2" y="119"/>
                  </a:lnTo>
                  <a:lnTo>
                    <a:pt x="3" y="126"/>
                  </a:lnTo>
                  <a:lnTo>
                    <a:pt x="3" y="126"/>
                  </a:lnTo>
                  <a:lnTo>
                    <a:pt x="5" y="129"/>
                  </a:lnTo>
                  <a:lnTo>
                    <a:pt x="5" y="129"/>
                  </a:lnTo>
                  <a:lnTo>
                    <a:pt x="6" y="130"/>
                  </a:lnTo>
                  <a:lnTo>
                    <a:pt x="6" y="130"/>
                  </a:lnTo>
                  <a:lnTo>
                    <a:pt x="9" y="132"/>
                  </a:lnTo>
                  <a:lnTo>
                    <a:pt x="9" y="132"/>
                  </a:lnTo>
                  <a:lnTo>
                    <a:pt x="12" y="132"/>
                  </a:lnTo>
                  <a:lnTo>
                    <a:pt x="12" y="130"/>
                  </a:lnTo>
                  <a:lnTo>
                    <a:pt x="12" y="130"/>
                  </a:lnTo>
                  <a:lnTo>
                    <a:pt x="12" y="132"/>
                  </a:lnTo>
                  <a:lnTo>
                    <a:pt x="12" y="130"/>
                  </a:lnTo>
                  <a:lnTo>
                    <a:pt x="12" y="130"/>
                  </a:lnTo>
                  <a:lnTo>
                    <a:pt x="12" y="129"/>
                  </a:lnTo>
                  <a:lnTo>
                    <a:pt x="11" y="130"/>
                  </a:lnTo>
                  <a:lnTo>
                    <a:pt x="12" y="130"/>
                  </a:lnTo>
                  <a:lnTo>
                    <a:pt x="12" y="129"/>
                  </a:lnTo>
                  <a:lnTo>
                    <a:pt x="11" y="130"/>
                  </a:lnTo>
                  <a:lnTo>
                    <a:pt x="12" y="130"/>
                  </a:lnTo>
                  <a:lnTo>
                    <a:pt x="11" y="130"/>
                  </a:lnTo>
                  <a:lnTo>
                    <a:pt x="11" y="130"/>
                  </a:lnTo>
                  <a:lnTo>
                    <a:pt x="12" y="130"/>
                  </a:lnTo>
                  <a:lnTo>
                    <a:pt x="11" y="130"/>
                  </a:lnTo>
                  <a:lnTo>
                    <a:pt x="11" y="130"/>
                  </a:lnTo>
                  <a:lnTo>
                    <a:pt x="11" y="130"/>
                  </a:lnTo>
                  <a:lnTo>
                    <a:pt x="11" y="132"/>
                  </a:lnTo>
                  <a:lnTo>
                    <a:pt x="11" y="132"/>
                  </a:lnTo>
                  <a:lnTo>
                    <a:pt x="11" y="132"/>
                  </a:lnTo>
                  <a:lnTo>
                    <a:pt x="11" y="133"/>
                  </a:lnTo>
                  <a:lnTo>
                    <a:pt x="11" y="133"/>
                  </a:lnTo>
                  <a:lnTo>
                    <a:pt x="13" y="147"/>
                  </a:lnTo>
                  <a:lnTo>
                    <a:pt x="13" y="147"/>
                  </a:lnTo>
                  <a:lnTo>
                    <a:pt x="15" y="155"/>
                  </a:lnTo>
                  <a:lnTo>
                    <a:pt x="15" y="155"/>
                  </a:lnTo>
                  <a:lnTo>
                    <a:pt x="16" y="156"/>
                  </a:lnTo>
                  <a:lnTo>
                    <a:pt x="16" y="158"/>
                  </a:lnTo>
                  <a:lnTo>
                    <a:pt x="16" y="158"/>
                  </a:lnTo>
                  <a:lnTo>
                    <a:pt x="18" y="159"/>
                  </a:lnTo>
                  <a:lnTo>
                    <a:pt x="18" y="159"/>
                  </a:lnTo>
                  <a:lnTo>
                    <a:pt x="19" y="159"/>
                  </a:lnTo>
                  <a:lnTo>
                    <a:pt x="19" y="159"/>
                  </a:lnTo>
                  <a:lnTo>
                    <a:pt x="31" y="161"/>
                  </a:lnTo>
                  <a:lnTo>
                    <a:pt x="31" y="161"/>
                  </a:lnTo>
                  <a:lnTo>
                    <a:pt x="37" y="162"/>
                  </a:lnTo>
                  <a:lnTo>
                    <a:pt x="37" y="162"/>
                  </a:lnTo>
                  <a:lnTo>
                    <a:pt x="38" y="163"/>
                  </a:lnTo>
                  <a:lnTo>
                    <a:pt x="38" y="163"/>
                  </a:lnTo>
                  <a:lnTo>
                    <a:pt x="40" y="161"/>
                  </a:lnTo>
                  <a:lnTo>
                    <a:pt x="38" y="162"/>
                  </a:lnTo>
                  <a:lnTo>
                    <a:pt x="38" y="162"/>
                  </a:lnTo>
                  <a:lnTo>
                    <a:pt x="38" y="163"/>
                  </a:lnTo>
                  <a:lnTo>
                    <a:pt x="40" y="161"/>
                  </a:lnTo>
                  <a:lnTo>
                    <a:pt x="38" y="162"/>
                  </a:lnTo>
                  <a:lnTo>
                    <a:pt x="38" y="162"/>
                  </a:lnTo>
                  <a:lnTo>
                    <a:pt x="40" y="162"/>
                  </a:lnTo>
                  <a:lnTo>
                    <a:pt x="38" y="162"/>
                  </a:lnTo>
                  <a:lnTo>
                    <a:pt x="38" y="162"/>
                  </a:lnTo>
                  <a:lnTo>
                    <a:pt x="40" y="162"/>
                  </a:lnTo>
                  <a:lnTo>
                    <a:pt x="38" y="162"/>
                  </a:lnTo>
                  <a:lnTo>
                    <a:pt x="38" y="162"/>
                  </a:lnTo>
                  <a:lnTo>
                    <a:pt x="38" y="161"/>
                  </a:lnTo>
                  <a:lnTo>
                    <a:pt x="38" y="162"/>
                  </a:lnTo>
                  <a:lnTo>
                    <a:pt x="38" y="162"/>
                  </a:lnTo>
                  <a:lnTo>
                    <a:pt x="38" y="161"/>
                  </a:lnTo>
                  <a:lnTo>
                    <a:pt x="38" y="162"/>
                  </a:lnTo>
                  <a:lnTo>
                    <a:pt x="38" y="162"/>
                  </a:lnTo>
                  <a:lnTo>
                    <a:pt x="37" y="163"/>
                  </a:lnTo>
                  <a:lnTo>
                    <a:pt x="37" y="163"/>
                  </a:lnTo>
                  <a:lnTo>
                    <a:pt x="38" y="165"/>
                  </a:lnTo>
                  <a:lnTo>
                    <a:pt x="38" y="165"/>
                  </a:lnTo>
                  <a:lnTo>
                    <a:pt x="40" y="166"/>
                  </a:lnTo>
                  <a:lnTo>
                    <a:pt x="40" y="166"/>
                  </a:lnTo>
                  <a:lnTo>
                    <a:pt x="42" y="168"/>
                  </a:lnTo>
                  <a:lnTo>
                    <a:pt x="42" y="168"/>
                  </a:lnTo>
                  <a:lnTo>
                    <a:pt x="51" y="168"/>
                  </a:lnTo>
                  <a:lnTo>
                    <a:pt x="51" y="168"/>
                  </a:lnTo>
                  <a:lnTo>
                    <a:pt x="57" y="166"/>
                  </a:lnTo>
                  <a:lnTo>
                    <a:pt x="57" y="166"/>
                  </a:lnTo>
                  <a:lnTo>
                    <a:pt x="61" y="166"/>
                  </a:lnTo>
                  <a:lnTo>
                    <a:pt x="61" y="166"/>
                  </a:lnTo>
                  <a:lnTo>
                    <a:pt x="63" y="163"/>
                  </a:lnTo>
                  <a:lnTo>
                    <a:pt x="63" y="163"/>
                  </a:lnTo>
                  <a:lnTo>
                    <a:pt x="64" y="163"/>
                  </a:lnTo>
                  <a:lnTo>
                    <a:pt x="63" y="162"/>
                  </a:lnTo>
                  <a:lnTo>
                    <a:pt x="64" y="163"/>
                  </a:lnTo>
                  <a:lnTo>
                    <a:pt x="64" y="163"/>
                  </a:lnTo>
                  <a:lnTo>
                    <a:pt x="63" y="162"/>
                  </a:lnTo>
                  <a:lnTo>
                    <a:pt x="64" y="163"/>
                  </a:lnTo>
                  <a:lnTo>
                    <a:pt x="61" y="162"/>
                  </a:lnTo>
                  <a:lnTo>
                    <a:pt x="63" y="163"/>
                  </a:lnTo>
                  <a:lnTo>
                    <a:pt x="64" y="163"/>
                  </a:lnTo>
                  <a:lnTo>
                    <a:pt x="61" y="162"/>
                  </a:lnTo>
                  <a:lnTo>
                    <a:pt x="63" y="163"/>
                  </a:lnTo>
                  <a:lnTo>
                    <a:pt x="61" y="162"/>
                  </a:lnTo>
                  <a:lnTo>
                    <a:pt x="61" y="163"/>
                  </a:lnTo>
                  <a:lnTo>
                    <a:pt x="61" y="163"/>
                  </a:lnTo>
                  <a:lnTo>
                    <a:pt x="63" y="163"/>
                  </a:lnTo>
                  <a:lnTo>
                    <a:pt x="61" y="162"/>
                  </a:lnTo>
                  <a:lnTo>
                    <a:pt x="61" y="163"/>
                  </a:lnTo>
                  <a:lnTo>
                    <a:pt x="61" y="162"/>
                  </a:lnTo>
                  <a:lnTo>
                    <a:pt x="61" y="163"/>
                  </a:lnTo>
                  <a:lnTo>
                    <a:pt x="61" y="163"/>
                  </a:lnTo>
                  <a:lnTo>
                    <a:pt x="61" y="163"/>
                  </a:lnTo>
                  <a:lnTo>
                    <a:pt x="61" y="162"/>
                  </a:lnTo>
                  <a:lnTo>
                    <a:pt x="61" y="163"/>
                  </a:lnTo>
                  <a:lnTo>
                    <a:pt x="61" y="163"/>
                  </a:lnTo>
                  <a:lnTo>
                    <a:pt x="61" y="163"/>
                  </a:lnTo>
                  <a:lnTo>
                    <a:pt x="61" y="163"/>
                  </a:lnTo>
                  <a:lnTo>
                    <a:pt x="61" y="163"/>
                  </a:lnTo>
                  <a:lnTo>
                    <a:pt x="61" y="163"/>
                  </a:lnTo>
                  <a:lnTo>
                    <a:pt x="61" y="163"/>
                  </a:lnTo>
                  <a:lnTo>
                    <a:pt x="63" y="165"/>
                  </a:lnTo>
                  <a:lnTo>
                    <a:pt x="63" y="165"/>
                  </a:lnTo>
                  <a:lnTo>
                    <a:pt x="67" y="166"/>
                  </a:lnTo>
                  <a:lnTo>
                    <a:pt x="67" y="166"/>
                  </a:lnTo>
                  <a:lnTo>
                    <a:pt x="79" y="172"/>
                  </a:lnTo>
                  <a:lnTo>
                    <a:pt x="79" y="172"/>
                  </a:lnTo>
                  <a:lnTo>
                    <a:pt x="84" y="174"/>
                  </a:lnTo>
                  <a:lnTo>
                    <a:pt x="84" y="174"/>
                  </a:lnTo>
                  <a:lnTo>
                    <a:pt x="84" y="174"/>
                  </a:lnTo>
                  <a:lnTo>
                    <a:pt x="86" y="174"/>
                  </a:lnTo>
                  <a:lnTo>
                    <a:pt x="84" y="174"/>
                  </a:lnTo>
                  <a:lnTo>
                    <a:pt x="84" y="174"/>
                  </a:lnTo>
                  <a:lnTo>
                    <a:pt x="86" y="174"/>
                  </a:lnTo>
                  <a:lnTo>
                    <a:pt x="84" y="174"/>
                  </a:lnTo>
                  <a:lnTo>
                    <a:pt x="86" y="174"/>
                  </a:lnTo>
                  <a:lnTo>
                    <a:pt x="84" y="174"/>
                  </a:lnTo>
                  <a:lnTo>
                    <a:pt x="84" y="174"/>
                  </a:lnTo>
                  <a:lnTo>
                    <a:pt x="86" y="174"/>
                  </a:lnTo>
                  <a:lnTo>
                    <a:pt x="84" y="174"/>
                  </a:lnTo>
                  <a:lnTo>
                    <a:pt x="84" y="174"/>
                  </a:lnTo>
                  <a:lnTo>
                    <a:pt x="86" y="176"/>
                  </a:lnTo>
                  <a:lnTo>
                    <a:pt x="86" y="176"/>
                  </a:lnTo>
                  <a:lnTo>
                    <a:pt x="87" y="178"/>
                  </a:lnTo>
                  <a:lnTo>
                    <a:pt x="90" y="178"/>
                  </a:lnTo>
                  <a:lnTo>
                    <a:pt x="90" y="178"/>
                  </a:lnTo>
                  <a:lnTo>
                    <a:pt x="93" y="178"/>
                  </a:lnTo>
                  <a:lnTo>
                    <a:pt x="97" y="176"/>
                  </a:lnTo>
                  <a:lnTo>
                    <a:pt x="97" y="176"/>
                  </a:lnTo>
                  <a:lnTo>
                    <a:pt x="109" y="169"/>
                  </a:lnTo>
                  <a:lnTo>
                    <a:pt x="109" y="169"/>
                  </a:lnTo>
                  <a:lnTo>
                    <a:pt x="113" y="165"/>
                  </a:lnTo>
                  <a:lnTo>
                    <a:pt x="116" y="159"/>
                  </a:lnTo>
                  <a:lnTo>
                    <a:pt x="116" y="159"/>
                  </a:lnTo>
                  <a:lnTo>
                    <a:pt x="119" y="147"/>
                  </a:lnTo>
                  <a:lnTo>
                    <a:pt x="119" y="147"/>
                  </a:lnTo>
                  <a:lnTo>
                    <a:pt x="119" y="143"/>
                  </a:lnTo>
                  <a:lnTo>
                    <a:pt x="122" y="140"/>
                  </a:lnTo>
                  <a:lnTo>
                    <a:pt x="122" y="140"/>
                  </a:lnTo>
                  <a:lnTo>
                    <a:pt x="132" y="130"/>
                  </a:lnTo>
                  <a:lnTo>
                    <a:pt x="138" y="123"/>
                  </a:lnTo>
                  <a:lnTo>
                    <a:pt x="142" y="114"/>
                  </a:lnTo>
                  <a:lnTo>
                    <a:pt x="142" y="114"/>
                  </a:lnTo>
                  <a:lnTo>
                    <a:pt x="145" y="105"/>
                  </a:lnTo>
                  <a:lnTo>
                    <a:pt x="145" y="105"/>
                  </a:lnTo>
                  <a:lnTo>
                    <a:pt x="147" y="104"/>
                  </a:lnTo>
                  <a:lnTo>
                    <a:pt x="147" y="104"/>
                  </a:lnTo>
                  <a:lnTo>
                    <a:pt x="150" y="103"/>
                  </a:lnTo>
                  <a:lnTo>
                    <a:pt x="150" y="103"/>
                  </a:lnTo>
                  <a:lnTo>
                    <a:pt x="157" y="103"/>
                  </a:lnTo>
                  <a:lnTo>
                    <a:pt x="157" y="103"/>
                  </a:lnTo>
                  <a:lnTo>
                    <a:pt x="160" y="101"/>
                  </a:lnTo>
                  <a:lnTo>
                    <a:pt x="160" y="101"/>
                  </a:lnTo>
                  <a:lnTo>
                    <a:pt x="161" y="100"/>
                  </a:lnTo>
                  <a:lnTo>
                    <a:pt x="161" y="100"/>
                  </a:lnTo>
                  <a:lnTo>
                    <a:pt x="161" y="98"/>
                  </a:lnTo>
                  <a:lnTo>
                    <a:pt x="161" y="98"/>
                  </a:lnTo>
                  <a:lnTo>
                    <a:pt x="161" y="95"/>
                  </a:lnTo>
                  <a:lnTo>
                    <a:pt x="161" y="95"/>
                  </a:lnTo>
                  <a:lnTo>
                    <a:pt x="158" y="94"/>
                  </a:lnTo>
                  <a:lnTo>
                    <a:pt x="158" y="94"/>
                  </a:lnTo>
                  <a:lnTo>
                    <a:pt x="150" y="88"/>
                  </a:lnTo>
                  <a:lnTo>
                    <a:pt x="150" y="88"/>
                  </a:lnTo>
                  <a:lnTo>
                    <a:pt x="145" y="85"/>
                  </a:lnTo>
                  <a:lnTo>
                    <a:pt x="145" y="84"/>
                  </a:lnTo>
                  <a:lnTo>
                    <a:pt x="145" y="84"/>
                  </a:lnTo>
                  <a:lnTo>
                    <a:pt x="144" y="84"/>
                  </a:lnTo>
                  <a:lnTo>
                    <a:pt x="145" y="84"/>
                  </a:lnTo>
                  <a:lnTo>
                    <a:pt x="145" y="84"/>
                  </a:lnTo>
                  <a:lnTo>
                    <a:pt x="144" y="84"/>
                  </a:lnTo>
                  <a:lnTo>
                    <a:pt x="145" y="84"/>
                  </a:lnTo>
                  <a:lnTo>
                    <a:pt x="144" y="84"/>
                  </a:lnTo>
                  <a:lnTo>
                    <a:pt x="145" y="85"/>
                  </a:lnTo>
                  <a:lnTo>
                    <a:pt x="145" y="84"/>
                  </a:lnTo>
                  <a:lnTo>
                    <a:pt x="144" y="84"/>
                  </a:lnTo>
                  <a:lnTo>
                    <a:pt x="145" y="85"/>
                  </a:lnTo>
                  <a:lnTo>
                    <a:pt x="144" y="84"/>
                  </a:lnTo>
                  <a:lnTo>
                    <a:pt x="145" y="85"/>
                  </a:lnTo>
                  <a:lnTo>
                    <a:pt x="145" y="85"/>
                  </a:lnTo>
                  <a:lnTo>
                    <a:pt x="144" y="84"/>
                  </a:lnTo>
                  <a:lnTo>
                    <a:pt x="145" y="85"/>
                  </a:lnTo>
                  <a:lnTo>
                    <a:pt x="144" y="85"/>
                  </a:lnTo>
                  <a:lnTo>
                    <a:pt x="145" y="85"/>
                  </a:lnTo>
                  <a:lnTo>
                    <a:pt x="145" y="85"/>
                  </a:lnTo>
                  <a:lnTo>
                    <a:pt x="144" y="85"/>
                  </a:lnTo>
                  <a:lnTo>
                    <a:pt x="145" y="85"/>
                  </a:lnTo>
                  <a:lnTo>
                    <a:pt x="145" y="85"/>
                  </a:lnTo>
                  <a:lnTo>
                    <a:pt x="148" y="82"/>
                  </a:lnTo>
                  <a:lnTo>
                    <a:pt x="148" y="82"/>
                  </a:lnTo>
                  <a:lnTo>
                    <a:pt x="150" y="78"/>
                  </a:lnTo>
                  <a:lnTo>
                    <a:pt x="150" y="78"/>
                  </a:lnTo>
                  <a:lnTo>
                    <a:pt x="148" y="74"/>
                  </a:lnTo>
                  <a:lnTo>
                    <a:pt x="148" y="74"/>
                  </a:lnTo>
                  <a:lnTo>
                    <a:pt x="139" y="65"/>
                  </a:lnTo>
                  <a:lnTo>
                    <a:pt x="139" y="65"/>
                  </a:lnTo>
                  <a:lnTo>
                    <a:pt x="135" y="59"/>
                  </a:lnTo>
                  <a:lnTo>
                    <a:pt x="135" y="59"/>
                  </a:lnTo>
                  <a:lnTo>
                    <a:pt x="135" y="58"/>
                  </a:lnTo>
                  <a:lnTo>
                    <a:pt x="134" y="56"/>
                  </a:lnTo>
                  <a:lnTo>
                    <a:pt x="134" y="56"/>
                  </a:lnTo>
                  <a:lnTo>
                    <a:pt x="132" y="58"/>
                  </a:lnTo>
                  <a:lnTo>
                    <a:pt x="134" y="58"/>
                  </a:lnTo>
                  <a:lnTo>
                    <a:pt x="134" y="58"/>
                  </a:lnTo>
                  <a:lnTo>
                    <a:pt x="134" y="56"/>
                  </a:lnTo>
                  <a:lnTo>
                    <a:pt x="132" y="58"/>
                  </a:lnTo>
                  <a:lnTo>
                    <a:pt x="134" y="58"/>
                  </a:lnTo>
                  <a:lnTo>
                    <a:pt x="132" y="58"/>
                  </a:lnTo>
                  <a:lnTo>
                    <a:pt x="134" y="59"/>
                  </a:lnTo>
                  <a:lnTo>
                    <a:pt x="134" y="59"/>
                  </a:lnTo>
                  <a:lnTo>
                    <a:pt x="134" y="58"/>
                  </a:lnTo>
                  <a:lnTo>
                    <a:pt x="132" y="58"/>
                  </a:lnTo>
                  <a:lnTo>
                    <a:pt x="134" y="59"/>
                  </a:lnTo>
                  <a:lnTo>
                    <a:pt x="132" y="58"/>
                  </a:lnTo>
                  <a:lnTo>
                    <a:pt x="132" y="59"/>
                  </a:lnTo>
                  <a:lnTo>
                    <a:pt x="132" y="59"/>
                  </a:lnTo>
                  <a:lnTo>
                    <a:pt x="134" y="59"/>
                  </a:lnTo>
                  <a:lnTo>
                    <a:pt x="132" y="58"/>
                  </a:lnTo>
                  <a:lnTo>
                    <a:pt x="132" y="59"/>
                  </a:lnTo>
                  <a:lnTo>
                    <a:pt x="132" y="59"/>
                  </a:lnTo>
                  <a:lnTo>
                    <a:pt x="135" y="59"/>
                  </a:lnTo>
                  <a:lnTo>
                    <a:pt x="135" y="59"/>
                  </a:lnTo>
                  <a:lnTo>
                    <a:pt x="139" y="59"/>
                  </a:lnTo>
                  <a:lnTo>
                    <a:pt x="139" y="59"/>
                  </a:lnTo>
                  <a:lnTo>
                    <a:pt x="141" y="59"/>
                  </a:lnTo>
                  <a:lnTo>
                    <a:pt x="142" y="59"/>
                  </a:lnTo>
                  <a:lnTo>
                    <a:pt x="142" y="59"/>
                  </a:lnTo>
                  <a:lnTo>
                    <a:pt x="144" y="56"/>
                  </a:lnTo>
                  <a:lnTo>
                    <a:pt x="144" y="56"/>
                  </a:lnTo>
                  <a:lnTo>
                    <a:pt x="142" y="55"/>
                  </a:lnTo>
                  <a:lnTo>
                    <a:pt x="142" y="55"/>
                  </a:lnTo>
                  <a:lnTo>
                    <a:pt x="141" y="52"/>
                  </a:lnTo>
                  <a:lnTo>
                    <a:pt x="139" y="50"/>
                  </a:lnTo>
                  <a:lnTo>
                    <a:pt x="139" y="50"/>
                  </a:lnTo>
                  <a:lnTo>
                    <a:pt x="139" y="52"/>
                  </a:lnTo>
                  <a:lnTo>
                    <a:pt x="139" y="52"/>
                  </a:lnTo>
                  <a:lnTo>
                    <a:pt x="139" y="50"/>
                  </a:lnTo>
                  <a:lnTo>
                    <a:pt x="139" y="52"/>
                  </a:lnTo>
                  <a:lnTo>
                    <a:pt x="139" y="52"/>
                  </a:lnTo>
                  <a:lnTo>
                    <a:pt x="138" y="52"/>
                  </a:lnTo>
                  <a:lnTo>
                    <a:pt x="139" y="52"/>
                  </a:lnTo>
                  <a:lnTo>
                    <a:pt x="139" y="52"/>
                  </a:lnTo>
                  <a:lnTo>
                    <a:pt x="138" y="52"/>
                  </a:lnTo>
                  <a:lnTo>
                    <a:pt x="139" y="52"/>
                  </a:lnTo>
                  <a:lnTo>
                    <a:pt x="138" y="52"/>
                  </a:lnTo>
                  <a:lnTo>
                    <a:pt x="139" y="52"/>
                  </a:lnTo>
                  <a:lnTo>
                    <a:pt x="139" y="52"/>
                  </a:lnTo>
                  <a:lnTo>
                    <a:pt x="138" y="52"/>
                  </a:lnTo>
                  <a:lnTo>
                    <a:pt x="139" y="52"/>
                  </a:lnTo>
                  <a:lnTo>
                    <a:pt x="139" y="52"/>
                  </a:lnTo>
                  <a:lnTo>
                    <a:pt x="139" y="52"/>
                  </a:lnTo>
                  <a:lnTo>
                    <a:pt x="148" y="50"/>
                  </a:lnTo>
                  <a:lnTo>
                    <a:pt x="148" y="50"/>
                  </a:lnTo>
                  <a:lnTo>
                    <a:pt x="153" y="49"/>
                  </a:lnTo>
                  <a:lnTo>
                    <a:pt x="153" y="49"/>
                  </a:lnTo>
                  <a:lnTo>
                    <a:pt x="155" y="48"/>
                  </a:lnTo>
                  <a:lnTo>
                    <a:pt x="155" y="48"/>
                  </a:lnTo>
                  <a:lnTo>
                    <a:pt x="155" y="48"/>
                  </a:lnTo>
                  <a:lnTo>
                    <a:pt x="157" y="46"/>
                  </a:lnTo>
                  <a:lnTo>
                    <a:pt x="157" y="46"/>
                  </a:lnTo>
                  <a:lnTo>
                    <a:pt x="155" y="43"/>
                  </a:lnTo>
                  <a:lnTo>
                    <a:pt x="155" y="43"/>
                  </a:lnTo>
                  <a:lnTo>
                    <a:pt x="155" y="43"/>
                  </a:lnTo>
                  <a:lnTo>
                    <a:pt x="155" y="43"/>
                  </a:lnTo>
                  <a:lnTo>
                    <a:pt x="161" y="37"/>
                  </a:lnTo>
                  <a:lnTo>
                    <a:pt x="161" y="37"/>
                  </a:lnTo>
                  <a:lnTo>
                    <a:pt x="164" y="35"/>
                  </a:lnTo>
                  <a:lnTo>
                    <a:pt x="164" y="35"/>
                  </a:lnTo>
                  <a:lnTo>
                    <a:pt x="166" y="33"/>
                  </a:lnTo>
                  <a:lnTo>
                    <a:pt x="166" y="33"/>
                  </a:lnTo>
                  <a:lnTo>
                    <a:pt x="166" y="32"/>
                  </a:lnTo>
                  <a:lnTo>
                    <a:pt x="166" y="32"/>
                  </a:lnTo>
                  <a:lnTo>
                    <a:pt x="166" y="29"/>
                  </a:lnTo>
                  <a:lnTo>
                    <a:pt x="166" y="29"/>
                  </a:lnTo>
                  <a:lnTo>
                    <a:pt x="163" y="27"/>
                  </a:lnTo>
                  <a:lnTo>
                    <a:pt x="163" y="30"/>
                  </a:lnTo>
                  <a:lnTo>
                    <a:pt x="161" y="33"/>
                  </a:lnTo>
                  <a:lnTo>
                    <a:pt x="161" y="33"/>
                  </a:lnTo>
                  <a:lnTo>
                    <a:pt x="163" y="32"/>
                  </a:lnTo>
                  <a:lnTo>
                    <a:pt x="161" y="33"/>
                  </a:lnTo>
                  <a:lnTo>
                    <a:pt x="161" y="33"/>
                  </a:lnTo>
                  <a:lnTo>
                    <a:pt x="163" y="32"/>
                  </a:lnTo>
                  <a:lnTo>
                    <a:pt x="161" y="33"/>
                  </a:lnTo>
                  <a:lnTo>
                    <a:pt x="163" y="32"/>
                  </a:lnTo>
                  <a:lnTo>
                    <a:pt x="161" y="32"/>
                  </a:lnTo>
                  <a:lnTo>
                    <a:pt x="161" y="33"/>
                  </a:lnTo>
                  <a:lnTo>
                    <a:pt x="163" y="32"/>
                  </a:lnTo>
                  <a:lnTo>
                    <a:pt x="161" y="32"/>
                  </a:lnTo>
                  <a:lnTo>
                    <a:pt x="163" y="32"/>
                  </a:lnTo>
                  <a:lnTo>
                    <a:pt x="161" y="30"/>
                  </a:lnTo>
                  <a:lnTo>
                    <a:pt x="161" y="32"/>
                  </a:lnTo>
                  <a:lnTo>
                    <a:pt x="163" y="32"/>
                  </a:lnTo>
                  <a:lnTo>
                    <a:pt x="161" y="30"/>
                  </a:lnTo>
                  <a:lnTo>
                    <a:pt x="161" y="32"/>
                  </a:lnTo>
                  <a:lnTo>
                    <a:pt x="161" y="30"/>
                  </a:lnTo>
                  <a:lnTo>
                    <a:pt x="161" y="30"/>
                  </a:lnTo>
                  <a:lnTo>
                    <a:pt x="161" y="32"/>
                  </a:lnTo>
                  <a:lnTo>
                    <a:pt x="161" y="30"/>
                  </a:lnTo>
                  <a:lnTo>
                    <a:pt x="161" y="30"/>
                  </a:lnTo>
                  <a:lnTo>
                    <a:pt x="160" y="33"/>
                  </a:lnTo>
                  <a:lnTo>
                    <a:pt x="160" y="33"/>
                  </a:lnTo>
                  <a:lnTo>
                    <a:pt x="154" y="37"/>
                  </a:lnTo>
                  <a:lnTo>
                    <a:pt x="154" y="37"/>
                  </a:lnTo>
                  <a:lnTo>
                    <a:pt x="153" y="39"/>
                  </a:lnTo>
                  <a:lnTo>
                    <a:pt x="153" y="39"/>
                  </a:lnTo>
                  <a:lnTo>
                    <a:pt x="151" y="43"/>
                  </a:lnTo>
                  <a:lnTo>
                    <a:pt x="151" y="43"/>
                  </a:lnTo>
                  <a:lnTo>
                    <a:pt x="153" y="46"/>
                  </a:lnTo>
                  <a:lnTo>
                    <a:pt x="154" y="46"/>
                  </a:lnTo>
                  <a:lnTo>
                    <a:pt x="151" y="46"/>
                  </a:lnTo>
                  <a:lnTo>
                    <a:pt x="151" y="46"/>
                  </a:lnTo>
                  <a:lnTo>
                    <a:pt x="153" y="46"/>
                  </a:lnTo>
                  <a:lnTo>
                    <a:pt x="154" y="46"/>
                  </a:lnTo>
                  <a:lnTo>
                    <a:pt x="151" y="46"/>
                  </a:lnTo>
                  <a:lnTo>
                    <a:pt x="154" y="46"/>
                  </a:lnTo>
                  <a:lnTo>
                    <a:pt x="153" y="45"/>
                  </a:lnTo>
                  <a:lnTo>
                    <a:pt x="153" y="45"/>
                  </a:lnTo>
                  <a:lnTo>
                    <a:pt x="151" y="46"/>
                  </a:lnTo>
                  <a:lnTo>
                    <a:pt x="154" y="46"/>
                  </a:lnTo>
                  <a:lnTo>
                    <a:pt x="153" y="45"/>
                  </a:lnTo>
                  <a:lnTo>
                    <a:pt x="153" y="45"/>
                  </a:lnTo>
                  <a:lnTo>
                    <a:pt x="153" y="45"/>
                  </a:lnTo>
                  <a:lnTo>
                    <a:pt x="153" y="45"/>
                  </a:lnTo>
                  <a:lnTo>
                    <a:pt x="153" y="45"/>
                  </a:lnTo>
                  <a:lnTo>
                    <a:pt x="153" y="45"/>
                  </a:lnTo>
                  <a:lnTo>
                    <a:pt x="153" y="45"/>
                  </a:lnTo>
                  <a:lnTo>
                    <a:pt x="150" y="45"/>
                  </a:lnTo>
                  <a:lnTo>
                    <a:pt x="150" y="45"/>
                  </a:lnTo>
                  <a:lnTo>
                    <a:pt x="138" y="48"/>
                  </a:lnTo>
                  <a:lnTo>
                    <a:pt x="138" y="48"/>
                  </a:lnTo>
                  <a:lnTo>
                    <a:pt x="137" y="49"/>
                  </a:lnTo>
                  <a:lnTo>
                    <a:pt x="137" y="49"/>
                  </a:lnTo>
                  <a:lnTo>
                    <a:pt x="135" y="52"/>
                  </a:lnTo>
                  <a:lnTo>
                    <a:pt x="135" y="52"/>
                  </a:lnTo>
                  <a:lnTo>
                    <a:pt x="135" y="53"/>
                  </a:lnTo>
                  <a:lnTo>
                    <a:pt x="135" y="53"/>
                  </a:lnTo>
                  <a:lnTo>
                    <a:pt x="138" y="56"/>
                  </a:lnTo>
                  <a:lnTo>
                    <a:pt x="138" y="56"/>
                  </a:lnTo>
                  <a:lnTo>
                    <a:pt x="139" y="58"/>
                  </a:lnTo>
                  <a:lnTo>
                    <a:pt x="141" y="56"/>
                  </a:lnTo>
                  <a:lnTo>
                    <a:pt x="138" y="56"/>
                  </a:lnTo>
                  <a:lnTo>
                    <a:pt x="138" y="56"/>
                  </a:lnTo>
                  <a:lnTo>
                    <a:pt x="139" y="58"/>
                  </a:lnTo>
                  <a:lnTo>
                    <a:pt x="141" y="56"/>
                  </a:lnTo>
                  <a:lnTo>
                    <a:pt x="138" y="56"/>
                  </a:lnTo>
                  <a:lnTo>
                    <a:pt x="141" y="56"/>
                  </a:lnTo>
                  <a:lnTo>
                    <a:pt x="139" y="55"/>
                  </a:lnTo>
                  <a:lnTo>
                    <a:pt x="139" y="55"/>
                  </a:lnTo>
                  <a:lnTo>
                    <a:pt x="138" y="56"/>
                  </a:lnTo>
                  <a:lnTo>
                    <a:pt x="141" y="56"/>
                  </a:lnTo>
                  <a:lnTo>
                    <a:pt x="139" y="55"/>
                  </a:lnTo>
                  <a:lnTo>
                    <a:pt x="139" y="56"/>
                  </a:lnTo>
                  <a:lnTo>
                    <a:pt x="139" y="55"/>
                  </a:lnTo>
                  <a:lnTo>
                    <a:pt x="139" y="55"/>
                  </a:lnTo>
                  <a:lnTo>
                    <a:pt x="139" y="56"/>
                  </a:lnTo>
                  <a:lnTo>
                    <a:pt x="139" y="55"/>
                  </a:lnTo>
                  <a:lnTo>
                    <a:pt x="139" y="55"/>
                  </a:lnTo>
                  <a:lnTo>
                    <a:pt x="138" y="55"/>
                  </a:lnTo>
                  <a:lnTo>
                    <a:pt x="138" y="55"/>
                  </a:lnTo>
                  <a:lnTo>
                    <a:pt x="135" y="55"/>
                  </a:lnTo>
                  <a:lnTo>
                    <a:pt x="135" y="55"/>
                  </a:lnTo>
                  <a:lnTo>
                    <a:pt x="132" y="55"/>
                  </a:lnTo>
                  <a:lnTo>
                    <a:pt x="132" y="55"/>
                  </a:lnTo>
                  <a:lnTo>
                    <a:pt x="129" y="56"/>
                  </a:lnTo>
                  <a:lnTo>
                    <a:pt x="129" y="56"/>
                  </a:lnTo>
                  <a:lnTo>
                    <a:pt x="129" y="58"/>
                  </a:lnTo>
                  <a:lnTo>
                    <a:pt x="129" y="58"/>
                  </a:lnTo>
                  <a:lnTo>
                    <a:pt x="129" y="59"/>
                  </a:lnTo>
                  <a:lnTo>
                    <a:pt x="129" y="59"/>
                  </a:lnTo>
                  <a:lnTo>
                    <a:pt x="132" y="63"/>
                  </a:lnTo>
                  <a:lnTo>
                    <a:pt x="132" y="63"/>
                  </a:lnTo>
                  <a:lnTo>
                    <a:pt x="144" y="78"/>
                  </a:lnTo>
                  <a:lnTo>
                    <a:pt x="144" y="78"/>
                  </a:lnTo>
                  <a:lnTo>
                    <a:pt x="144" y="78"/>
                  </a:lnTo>
                  <a:lnTo>
                    <a:pt x="144" y="78"/>
                  </a:lnTo>
                  <a:lnTo>
                    <a:pt x="144" y="78"/>
                  </a:lnTo>
                  <a:lnTo>
                    <a:pt x="144" y="78"/>
                  </a:lnTo>
                  <a:lnTo>
                    <a:pt x="141" y="81"/>
                  </a:lnTo>
                  <a:lnTo>
                    <a:pt x="141" y="81"/>
                  </a:lnTo>
                  <a:lnTo>
                    <a:pt x="139" y="84"/>
                  </a:lnTo>
                  <a:lnTo>
                    <a:pt x="139" y="84"/>
                  </a:lnTo>
                  <a:lnTo>
                    <a:pt x="141" y="87"/>
                  </a:lnTo>
                  <a:lnTo>
                    <a:pt x="141" y="87"/>
                  </a:lnTo>
                  <a:lnTo>
                    <a:pt x="144" y="90"/>
                  </a:lnTo>
                  <a:lnTo>
                    <a:pt x="144" y="90"/>
                  </a:lnTo>
                  <a:lnTo>
                    <a:pt x="151" y="94"/>
                  </a:lnTo>
                  <a:lnTo>
                    <a:pt x="151" y="94"/>
                  </a:lnTo>
                  <a:lnTo>
                    <a:pt x="155" y="98"/>
                  </a:lnTo>
                  <a:lnTo>
                    <a:pt x="155" y="98"/>
                  </a:lnTo>
                  <a:lnTo>
                    <a:pt x="157" y="98"/>
                  </a:lnTo>
                  <a:lnTo>
                    <a:pt x="157" y="98"/>
                  </a:lnTo>
                  <a:lnTo>
                    <a:pt x="157" y="98"/>
                  </a:lnTo>
                  <a:lnTo>
                    <a:pt x="158" y="98"/>
                  </a:lnTo>
                  <a:lnTo>
                    <a:pt x="157" y="98"/>
                  </a:lnTo>
                  <a:lnTo>
                    <a:pt x="157" y="98"/>
                  </a:lnTo>
                  <a:lnTo>
                    <a:pt x="158" y="98"/>
                  </a:lnTo>
                  <a:lnTo>
                    <a:pt x="157" y="98"/>
                  </a:lnTo>
                  <a:lnTo>
                    <a:pt x="158" y="98"/>
                  </a:lnTo>
                  <a:lnTo>
                    <a:pt x="157" y="98"/>
                  </a:lnTo>
                  <a:lnTo>
                    <a:pt x="157" y="98"/>
                  </a:lnTo>
                  <a:lnTo>
                    <a:pt x="158" y="98"/>
                  </a:lnTo>
                  <a:lnTo>
                    <a:pt x="157" y="98"/>
                  </a:lnTo>
                  <a:lnTo>
                    <a:pt x="158" y="98"/>
                  </a:lnTo>
                  <a:lnTo>
                    <a:pt x="157" y="97"/>
                  </a:lnTo>
                  <a:lnTo>
                    <a:pt x="157" y="98"/>
                  </a:lnTo>
                  <a:lnTo>
                    <a:pt x="158" y="98"/>
                  </a:lnTo>
                  <a:lnTo>
                    <a:pt x="157" y="97"/>
                  </a:lnTo>
                  <a:lnTo>
                    <a:pt x="157" y="97"/>
                  </a:lnTo>
                  <a:lnTo>
                    <a:pt x="155" y="98"/>
                  </a:lnTo>
                  <a:lnTo>
                    <a:pt x="155" y="98"/>
                  </a:lnTo>
                  <a:lnTo>
                    <a:pt x="150" y="98"/>
                  </a:lnTo>
                  <a:lnTo>
                    <a:pt x="150" y="98"/>
                  </a:lnTo>
                  <a:lnTo>
                    <a:pt x="145" y="100"/>
                  </a:lnTo>
                  <a:lnTo>
                    <a:pt x="145" y="100"/>
                  </a:lnTo>
                  <a:lnTo>
                    <a:pt x="142" y="101"/>
                  </a:lnTo>
                  <a:lnTo>
                    <a:pt x="142" y="101"/>
                  </a:lnTo>
                  <a:lnTo>
                    <a:pt x="139" y="107"/>
                  </a:lnTo>
                  <a:lnTo>
                    <a:pt x="139" y="107"/>
                  </a:lnTo>
                  <a:lnTo>
                    <a:pt x="138" y="113"/>
                  </a:lnTo>
                  <a:lnTo>
                    <a:pt x="138" y="113"/>
                  </a:lnTo>
                  <a:lnTo>
                    <a:pt x="134" y="120"/>
                  </a:lnTo>
                  <a:lnTo>
                    <a:pt x="129" y="127"/>
                  </a:lnTo>
                  <a:lnTo>
                    <a:pt x="119" y="137"/>
                  </a:lnTo>
                  <a:lnTo>
                    <a:pt x="119" y="137"/>
                  </a:lnTo>
                  <a:lnTo>
                    <a:pt x="115" y="142"/>
                  </a:lnTo>
                  <a:lnTo>
                    <a:pt x="113" y="147"/>
                  </a:lnTo>
                  <a:lnTo>
                    <a:pt x="113" y="147"/>
                  </a:lnTo>
                  <a:lnTo>
                    <a:pt x="112" y="158"/>
                  </a:lnTo>
                  <a:lnTo>
                    <a:pt x="112" y="158"/>
                  </a:lnTo>
                  <a:lnTo>
                    <a:pt x="109" y="162"/>
                  </a:lnTo>
                  <a:lnTo>
                    <a:pt x="106" y="166"/>
                  </a:lnTo>
                  <a:lnTo>
                    <a:pt x="106" y="166"/>
                  </a:lnTo>
                  <a:lnTo>
                    <a:pt x="96" y="172"/>
                  </a:lnTo>
                  <a:lnTo>
                    <a:pt x="96" y="172"/>
                  </a:lnTo>
                  <a:lnTo>
                    <a:pt x="90" y="174"/>
                  </a:lnTo>
                  <a:lnTo>
                    <a:pt x="90" y="174"/>
                  </a:lnTo>
                  <a:lnTo>
                    <a:pt x="89" y="174"/>
                  </a:lnTo>
                  <a:lnTo>
                    <a:pt x="90" y="174"/>
                  </a:lnTo>
                  <a:lnTo>
                    <a:pt x="90" y="174"/>
                  </a:lnTo>
                  <a:lnTo>
                    <a:pt x="89" y="174"/>
                  </a:lnTo>
                  <a:lnTo>
                    <a:pt x="90" y="174"/>
                  </a:lnTo>
                  <a:lnTo>
                    <a:pt x="90" y="174"/>
                  </a:lnTo>
                  <a:lnTo>
                    <a:pt x="90" y="174"/>
                  </a:lnTo>
                  <a:lnTo>
                    <a:pt x="89" y="171"/>
                  </a:lnTo>
                  <a:lnTo>
                    <a:pt x="89" y="171"/>
                  </a:lnTo>
                  <a:lnTo>
                    <a:pt x="84" y="168"/>
                  </a:lnTo>
                  <a:lnTo>
                    <a:pt x="84" y="168"/>
                  </a:lnTo>
                  <a:lnTo>
                    <a:pt x="69" y="162"/>
                  </a:lnTo>
                  <a:lnTo>
                    <a:pt x="69" y="162"/>
                  </a:lnTo>
                  <a:lnTo>
                    <a:pt x="64" y="161"/>
                  </a:lnTo>
                  <a:lnTo>
                    <a:pt x="64" y="159"/>
                  </a:lnTo>
                  <a:lnTo>
                    <a:pt x="64" y="159"/>
                  </a:lnTo>
                  <a:lnTo>
                    <a:pt x="61" y="159"/>
                  </a:lnTo>
                  <a:lnTo>
                    <a:pt x="61" y="159"/>
                  </a:lnTo>
                  <a:lnTo>
                    <a:pt x="60" y="161"/>
                  </a:lnTo>
                  <a:lnTo>
                    <a:pt x="60" y="161"/>
                  </a:lnTo>
                  <a:lnTo>
                    <a:pt x="58" y="161"/>
                  </a:lnTo>
                  <a:lnTo>
                    <a:pt x="58" y="162"/>
                  </a:lnTo>
                  <a:lnTo>
                    <a:pt x="60" y="162"/>
                  </a:lnTo>
                  <a:lnTo>
                    <a:pt x="58" y="162"/>
                  </a:lnTo>
                  <a:lnTo>
                    <a:pt x="58" y="162"/>
                  </a:lnTo>
                  <a:lnTo>
                    <a:pt x="60" y="162"/>
                  </a:lnTo>
                  <a:lnTo>
                    <a:pt x="58" y="162"/>
                  </a:lnTo>
                  <a:lnTo>
                    <a:pt x="58" y="162"/>
                  </a:lnTo>
                  <a:lnTo>
                    <a:pt x="58" y="162"/>
                  </a:lnTo>
                  <a:lnTo>
                    <a:pt x="55" y="162"/>
                  </a:lnTo>
                  <a:lnTo>
                    <a:pt x="55" y="162"/>
                  </a:lnTo>
                  <a:lnTo>
                    <a:pt x="51" y="162"/>
                  </a:lnTo>
                  <a:lnTo>
                    <a:pt x="51" y="162"/>
                  </a:lnTo>
                  <a:lnTo>
                    <a:pt x="42" y="162"/>
                  </a:lnTo>
                  <a:lnTo>
                    <a:pt x="42" y="162"/>
                  </a:lnTo>
                  <a:lnTo>
                    <a:pt x="42" y="162"/>
                  </a:lnTo>
                  <a:lnTo>
                    <a:pt x="41" y="162"/>
                  </a:lnTo>
                  <a:lnTo>
                    <a:pt x="41" y="163"/>
                  </a:lnTo>
                  <a:lnTo>
                    <a:pt x="42" y="162"/>
                  </a:lnTo>
                  <a:lnTo>
                    <a:pt x="41" y="162"/>
                  </a:lnTo>
                  <a:lnTo>
                    <a:pt x="41" y="163"/>
                  </a:lnTo>
                  <a:lnTo>
                    <a:pt x="42" y="162"/>
                  </a:lnTo>
                  <a:lnTo>
                    <a:pt x="41" y="163"/>
                  </a:lnTo>
                  <a:lnTo>
                    <a:pt x="42" y="163"/>
                  </a:lnTo>
                  <a:lnTo>
                    <a:pt x="42" y="162"/>
                  </a:lnTo>
                  <a:lnTo>
                    <a:pt x="41" y="163"/>
                  </a:lnTo>
                  <a:lnTo>
                    <a:pt x="42" y="163"/>
                  </a:lnTo>
                  <a:lnTo>
                    <a:pt x="41" y="163"/>
                  </a:lnTo>
                  <a:lnTo>
                    <a:pt x="42" y="163"/>
                  </a:lnTo>
                  <a:lnTo>
                    <a:pt x="42" y="163"/>
                  </a:lnTo>
                  <a:lnTo>
                    <a:pt x="41" y="163"/>
                  </a:lnTo>
                  <a:lnTo>
                    <a:pt x="42" y="163"/>
                  </a:lnTo>
                  <a:lnTo>
                    <a:pt x="42" y="163"/>
                  </a:lnTo>
                  <a:lnTo>
                    <a:pt x="42" y="163"/>
                  </a:lnTo>
                  <a:lnTo>
                    <a:pt x="42" y="162"/>
                  </a:lnTo>
                  <a:lnTo>
                    <a:pt x="42" y="162"/>
                  </a:lnTo>
                  <a:lnTo>
                    <a:pt x="42" y="159"/>
                  </a:lnTo>
                  <a:lnTo>
                    <a:pt x="42" y="159"/>
                  </a:lnTo>
                  <a:lnTo>
                    <a:pt x="42" y="159"/>
                  </a:lnTo>
                  <a:lnTo>
                    <a:pt x="41" y="158"/>
                  </a:lnTo>
                  <a:lnTo>
                    <a:pt x="41" y="158"/>
                  </a:lnTo>
                  <a:lnTo>
                    <a:pt x="40" y="158"/>
                  </a:lnTo>
                  <a:lnTo>
                    <a:pt x="40" y="158"/>
                  </a:lnTo>
                  <a:lnTo>
                    <a:pt x="28" y="155"/>
                  </a:lnTo>
                  <a:lnTo>
                    <a:pt x="28" y="155"/>
                  </a:lnTo>
                  <a:lnTo>
                    <a:pt x="22" y="155"/>
                  </a:lnTo>
                  <a:lnTo>
                    <a:pt x="22" y="155"/>
                  </a:lnTo>
                  <a:lnTo>
                    <a:pt x="21" y="155"/>
                  </a:lnTo>
                  <a:lnTo>
                    <a:pt x="21" y="155"/>
                  </a:lnTo>
                  <a:lnTo>
                    <a:pt x="19" y="155"/>
                  </a:lnTo>
                  <a:lnTo>
                    <a:pt x="19" y="156"/>
                  </a:lnTo>
                  <a:lnTo>
                    <a:pt x="21" y="155"/>
                  </a:lnTo>
                  <a:lnTo>
                    <a:pt x="21" y="155"/>
                  </a:lnTo>
                  <a:lnTo>
                    <a:pt x="19" y="155"/>
                  </a:lnTo>
                  <a:lnTo>
                    <a:pt x="19" y="156"/>
                  </a:lnTo>
                  <a:lnTo>
                    <a:pt x="21" y="155"/>
                  </a:lnTo>
                  <a:lnTo>
                    <a:pt x="21" y="155"/>
                  </a:lnTo>
                  <a:lnTo>
                    <a:pt x="21" y="155"/>
                  </a:lnTo>
                  <a:lnTo>
                    <a:pt x="19" y="152"/>
                  </a:lnTo>
                  <a:lnTo>
                    <a:pt x="19" y="152"/>
                  </a:lnTo>
                  <a:lnTo>
                    <a:pt x="16" y="142"/>
                  </a:lnTo>
                  <a:lnTo>
                    <a:pt x="16" y="142"/>
                  </a:lnTo>
                  <a:lnTo>
                    <a:pt x="16" y="133"/>
                  </a:lnTo>
                  <a:lnTo>
                    <a:pt x="16" y="132"/>
                  </a:lnTo>
                  <a:lnTo>
                    <a:pt x="16" y="132"/>
                  </a:lnTo>
                  <a:lnTo>
                    <a:pt x="16" y="132"/>
                  </a:lnTo>
                  <a:lnTo>
                    <a:pt x="16" y="130"/>
                  </a:lnTo>
                  <a:lnTo>
                    <a:pt x="16" y="130"/>
                  </a:lnTo>
                  <a:lnTo>
                    <a:pt x="15" y="127"/>
                  </a:lnTo>
                  <a:lnTo>
                    <a:pt x="15" y="127"/>
                  </a:lnTo>
                  <a:lnTo>
                    <a:pt x="13" y="126"/>
                  </a:lnTo>
                  <a:lnTo>
                    <a:pt x="13" y="126"/>
                  </a:lnTo>
                  <a:lnTo>
                    <a:pt x="12" y="126"/>
                  </a:lnTo>
                  <a:lnTo>
                    <a:pt x="12" y="126"/>
                  </a:lnTo>
                  <a:lnTo>
                    <a:pt x="9" y="126"/>
                  </a:lnTo>
                  <a:lnTo>
                    <a:pt x="9" y="127"/>
                  </a:lnTo>
                  <a:lnTo>
                    <a:pt x="9" y="126"/>
                  </a:lnTo>
                  <a:lnTo>
                    <a:pt x="9" y="126"/>
                  </a:lnTo>
                  <a:lnTo>
                    <a:pt x="9" y="127"/>
                  </a:lnTo>
                  <a:lnTo>
                    <a:pt x="9" y="126"/>
                  </a:lnTo>
                  <a:lnTo>
                    <a:pt x="9" y="127"/>
                  </a:lnTo>
                  <a:lnTo>
                    <a:pt x="9" y="126"/>
                  </a:lnTo>
                  <a:lnTo>
                    <a:pt x="9" y="126"/>
                  </a:lnTo>
                  <a:lnTo>
                    <a:pt x="9" y="127"/>
                  </a:lnTo>
                  <a:lnTo>
                    <a:pt x="9" y="126"/>
                  </a:lnTo>
                  <a:lnTo>
                    <a:pt x="9" y="126"/>
                  </a:lnTo>
                  <a:lnTo>
                    <a:pt x="8" y="123"/>
                  </a:lnTo>
                  <a:lnTo>
                    <a:pt x="8" y="123"/>
                  </a:lnTo>
                  <a:lnTo>
                    <a:pt x="6" y="113"/>
                  </a:lnTo>
                  <a:lnTo>
                    <a:pt x="6" y="104"/>
                  </a:lnTo>
                  <a:lnTo>
                    <a:pt x="6" y="104"/>
                  </a:lnTo>
                  <a:lnTo>
                    <a:pt x="8" y="94"/>
                  </a:lnTo>
                  <a:lnTo>
                    <a:pt x="8" y="94"/>
                  </a:lnTo>
                  <a:lnTo>
                    <a:pt x="9" y="88"/>
                  </a:lnTo>
                  <a:lnTo>
                    <a:pt x="9" y="88"/>
                  </a:lnTo>
                  <a:lnTo>
                    <a:pt x="9" y="87"/>
                  </a:lnTo>
                  <a:lnTo>
                    <a:pt x="9" y="87"/>
                  </a:lnTo>
                  <a:lnTo>
                    <a:pt x="9" y="85"/>
                  </a:lnTo>
                  <a:lnTo>
                    <a:pt x="9" y="87"/>
                  </a:lnTo>
                  <a:lnTo>
                    <a:pt x="9" y="87"/>
                  </a:lnTo>
                  <a:lnTo>
                    <a:pt x="9" y="87"/>
                  </a:lnTo>
                  <a:lnTo>
                    <a:pt x="9" y="85"/>
                  </a:lnTo>
                  <a:lnTo>
                    <a:pt x="9" y="87"/>
                  </a:lnTo>
                  <a:lnTo>
                    <a:pt x="9" y="87"/>
                  </a:lnTo>
                  <a:lnTo>
                    <a:pt x="13" y="90"/>
                  </a:lnTo>
                  <a:lnTo>
                    <a:pt x="13" y="90"/>
                  </a:lnTo>
                  <a:lnTo>
                    <a:pt x="18" y="92"/>
                  </a:lnTo>
                  <a:lnTo>
                    <a:pt x="18" y="92"/>
                  </a:lnTo>
                  <a:lnTo>
                    <a:pt x="21" y="94"/>
                  </a:lnTo>
                  <a:lnTo>
                    <a:pt x="24" y="94"/>
                  </a:lnTo>
                  <a:lnTo>
                    <a:pt x="24" y="94"/>
                  </a:lnTo>
                  <a:lnTo>
                    <a:pt x="28" y="94"/>
                  </a:lnTo>
                  <a:lnTo>
                    <a:pt x="28" y="94"/>
                  </a:lnTo>
                  <a:lnTo>
                    <a:pt x="31" y="94"/>
                  </a:lnTo>
                  <a:lnTo>
                    <a:pt x="31" y="94"/>
                  </a:lnTo>
                  <a:lnTo>
                    <a:pt x="32" y="92"/>
                  </a:lnTo>
                  <a:lnTo>
                    <a:pt x="32" y="92"/>
                  </a:lnTo>
                  <a:lnTo>
                    <a:pt x="34" y="92"/>
                  </a:lnTo>
                  <a:lnTo>
                    <a:pt x="34" y="92"/>
                  </a:lnTo>
                  <a:lnTo>
                    <a:pt x="34" y="91"/>
                  </a:lnTo>
                  <a:lnTo>
                    <a:pt x="34" y="91"/>
                  </a:lnTo>
                  <a:lnTo>
                    <a:pt x="35" y="90"/>
                  </a:lnTo>
                  <a:lnTo>
                    <a:pt x="35" y="90"/>
                  </a:lnTo>
                  <a:lnTo>
                    <a:pt x="40" y="78"/>
                  </a:lnTo>
                  <a:lnTo>
                    <a:pt x="40" y="78"/>
                  </a:lnTo>
                  <a:lnTo>
                    <a:pt x="42" y="74"/>
                  </a:lnTo>
                  <a:lnTo>
                    <a:pt x="42" y="74"/>
                  </a:lnTo>
                  <a:lnTo>
                    <a:pt x="42" y="72"/>
                  </a:lnTo>
                  <a:lnTo>
                    <a:pt x="42" y="72"/>
                  </a:lnTo>
                  <a:lnTo>
                    <a:pt x="41" y="71"/>
                  </a:lnTo>
                  <a:lnTo>
                    <a:pt x="41" y="72"/>
                  </a:lnTo>
                  <a:lnTo>
                    <a:pt x="41" y="72"/>
                  </a:lnTo>
                  <a:lnTo>
                    <a:pt x="42" y="72"/>
                  </a:lnTo>
                  <a:lnTo>
                    <a:pt x="41" y="71"/>
                  </a:lnTo>
                  <a:lnTo>
                    <a:pt x="41" y="72"/>
                  </a:lnTo>
                  <a:lnTo>
                    <a:pt x="41" y="72"/>
                  </a:lnTo>
                  <a:lnTo>
                    <a:pt x="53" y="72"/>
                  </a:lnTo>
                  <a:lnTo>
                    <a:pt x="53" y="72"/>
                  </a:lnTo>
                  <a:lnTo>
                    <a:pt x="63" y="71"/>
                  </a:lnTo>
                  <a:lnTo>
                    <a:pt x="63" y="71"/>
                  </a:lnTo>
                  <a:lnTo>
                    <a:pt x="66" y="69"/>
                  </a:lnTo>
                  <a:lnTo>
                    <a:pt x="66" y="69"/>
                  </a:lnTo>
                  <a:lnTo>
                    <a:pt x="67" y="66"/>
                  </a:lnTo>
                  <a:lnTo>
                    <a:pt x="67" y="66"/>
                  </a:lnTo>
                  <a:lnTo>
                    <a:pt x="67" y="65"/>
                  </a:lnTo>
                  <a:lnTo>
                    <a:pt x="67" y="65"/>
                  </a:lnTo>
                  <a:lnTo>
                    <a:pt x="67" y="63"/>
                  </a:lnTo>
                  <a:lnTo>
                    <a:pt x="66" y="63"/>
                  </a:lnTo>
                  <a:lnTo>
                    <a:pt x="66" y="63"/>
                  </a:lnTo>
                  <a:lnTo>
                    <a:pt x="67" y="63"/>
                  </a:lnTo>
                  <a:lnTo>
                    <a:pt x="66" y="63"/>
                  </a:lnTo>
                  <a:lnTo>
                    <a:pt x="66" y="63"/>
                  </a:lnTo>
                  <a:lnTo>
                    <a:pt x="66" y="62"/>
                  </a:lnTo>
                  <a:lnTo>
                    <a:pt x="66" y="63"/>
                  </a:lnTo>
                  <a:lnTo>
                    <a:pt x="66" y="63"/>
                  </a:lnTo>
                  <a:lnTo>
                    <a:pt x="66" y="62"/>
                  </a:lnTo>
                  <a:lnTo>
                    <a:pt x="66" y="63"/>
                  </a:lnTo>
                  <a:lnTo>
                    <a:pt x="66" y="63"/>
                  </a:lnTo>
                  <a:lnTo>
                    <a:pt x="67" y="63"/>
                  </a:lnTo>
                  <a:lnTo>
                    <a:pt x="67" y="63"/>
                  </a:lnTo>
                  <a:lnTo>
                    <a:pt x="76" y="56"/>
                  </a:lnTo>
                  <a:lnTo>
                    <a:pt x="76" y="56"/>
                  </a:lnTo>
                  <a:lnTo>
                    <a:pt x="80" y="53"/>
                  </a:lnTo>
                  <a:lnTo>
                    <a:pt x="80" y="53"/>
                  </a:lnTo>
                  <a:lnTo>
                    <a:pt x="82" y="52"/>
                  </a:lnTo>
                  <a:lnTo>
                    <a:pt x="82" y="52"/>
                  </a:lnTo>
                  <a:lnTo>
                    <a:pt x="83" y="50"/>
                  </a:lnTo>
                  <a:lnTo>
                    <a:pt x="83" y="50"/>
                  </a:lnTo>
                  <a:lnTo>
                    <a:pt x="83" y="49"/>
                  </a:lnTo>
                  <a:lnTo>
                    <a:pt x="83" y="49"/>
                  </a:lnTo>
                  <a:lnTo>
                    <a:pt x="83" y="46"/>
                  </a:lnTo>
                  <a:lnTo>
                    <a:pt x="83" y="45"/>
                  </a:lnTo>
                  <a:lnTo>
                    <a:pt x="83" y="45"/>
                  </a:lnTo>
                  <a:lnTo>
                    <a:pt x="83" y="45"/>
                  </a:lnTo>
                  <a:lnTo>
                    <a:pt x="82" y="45"/>
                  </a:lnTo>
                  <a:lnTo>
                    <a:pt x="83" y="45"/>
                  </a:lnTo>
                  <a:lnTo>
                    <a:pt x="83" y="45"/>
                  </a:lnTo>
                  <a:lnTo>
                    <a:pt x="82" y="45"/>
                  </a:lnTo>
                  <a:lnTo>
                    <a:pt x="83" y="45"/>
                  </a:lnTo>
                  <a:lnTo>
                    <a:pt x="80" y="45"/>
                  </a:lnTo>
                  <a:lnTo>
                    <a:pt x="82" y="46"/>
                  </a:lnTo>
                  <a:lnTo>
                    <a:pt x="82" y="46"/>
                  </a:lnTo>
                  <a:lnTo>
                    <a:pt x="83" y="45"/>
                  </a:lnTo>
                  <a:lnTo>
                    <a:pt x="80" y="45"/>
                  </a:lnTo>
                  <a:lnTo>
                    <a:pt x="82" y="46"/>
                  </a:lnTo>
                  <a:lnTo>
                    <a:pt x="82" y="45"/>
                  </a:lnTo>
                  <a:lnTo>
                    <a:pt x="82" y="46"/>
                  </a:lnTo>
                  <a:lnTo>
                    <a:pt x="82" y="46"/>
                  </a:lnTo>
                  <a:lnTo>
                    <a:pt x="82" y="45"/>
                  </a:lnTo>
                  <a:lnTo>
                    <a:pt x="82" y="46"/>
                  </a:lnTo>
                  <a:lnTo>
                    <a:pt x="82" y="46"/>
                  </a:lnTo>
                  <a:lnTo>
                    <a:pt x="82" y="46"/>
                  </a:lnTo>
                  <a:lnTo>
                    <a:pt x="82" y="46"/>
                  </a:lnTo>
                  <a:lnTo>
                    <a:pt x="82" y="46"/>
                  </a:lnTo>
                  <a:lnTo>
                    <a:pt x="82" y="46"/>
                  </a:lnTo>
                  <a:lnTo>
                    <a:pt x="82" y="46"/>
                  </a:lnTo>
                  <a:lnTo>
                    <a:pt x="82" y="46"/>
                  </a:lnTo>
                  <a:lnTo>
                    <a:pt x="86" y="45"/>
                  </a:lnTo>
                  <a:lnTo>
                    <a:pt x="86" y="45"/>
                  </a:lnTo>
                  <a:lnTo>
                    <a:pt x="90" y="40"/>
                  </a:lnTo>
                  <a:lnTo>
                    <a:pt x="90" y="40"/>
                  </a:lnTo>
                  <a:lnTo>
                    <a:pt x="93" y="37"/>
                  </a:lnTo>
                  <a:lnTo>
                    <a:pt x="93" y="37"/>
                  </a:lnTo>
                  <a:lnTo>
                    <a:pt x="93" y="37"/>
                  </a:lnTo>
                  <a:lnTo>
                    <a:pt x="93" y="37"/>
                  </a:lnTo>
                  <a:lnTo>
                    <a:pt x="93" y="37"/>
                  </a:lnTo>
                  <a:lnTo>
                    <a:pt x="93" y="37"/>
                  </a:lnTo>
                  <a:lnTo>
                    <a:pt x="93" y="37"/>
                  </a:lnTo>
                  <a:lnTo>
                    <a:pt x="93" y="37"/>
                  </a:lnTo>
                  <a:lnTo>
                    <a:pt x="93" y="37"/>
                  </a:lnTo>
                  <a:lnTo>
                    <a:pt x="93" y="37"/>
                  </a:lnTo>
                  <a:lnTo>
                    <a:pt x="93" y="37"/>
                  </a:lnTo>
                  <a:lnTo>
                    <a:pt x="93" y="37"/>
                  </a:lnTo>
                  <a:lnTo>
                    <a:pt x="93" y="37"/>
                  </a:lnTo>
                  <a:lnTo>
                    <a:pt x="93" y="37"/>
                  </a:lnTo>
                  <a:lnTo>
                    <a:pt x="93" y="37"/>
                  </a:lnTo>
                  <a:lnTo>
                    <a:pt x="93" y="37"/>
                  </a:lnTo>
                  <a:lnTo>
                    <a:pt x="93" y="37"/>
                  </a:lnTo>
                  <a:lnTo>
                    <a:pt x="93" y="37"/>
                  </a:lnTo>
                  <a:lnTo>
                    <a:pt x="95" y="39"/>
                  </a:lnTo>
                  <a:lnTo>
                    <a:pt x="95" y="39"/>
                  </a:lnTo>
                  <a:lnTo>
                    <a:pt x="97" y="39"/>
                  </a:lnTo>
                  <a:lnTo>
                    <a:pt x="97" y="39"/>
                  </a:lnTo>
                  <a:lnTo>
                    <a:pt x="100" y="37"/>
                  </a:lnTo>
                  <a:lnTo>
                    <a:pt x="100" y="37"/>
                  </a:lnTo>
                  <a:lnTo>
                    <a:pt x="103" y="35"/>
                  </a:lnTo>
                  <a:lnTo>
                    <a:pt x="103" y="35"/>
                  </a:lnTo>
                  <a:lnTo>
                    <a:pt x="105" y="32"/>
                  </a:lnTo>
                  <a:lnTo>
                    <a:pt x="105" y="32"/>
                  </a:lnTo>
                  <a:lnTo>
                    <a:pt x="105" y="32"/>
                  </a:lnTo>
                  <a:lnTo>
                    <a:pt x="105" y="32"/>
                  </a:lnTo>
                  <a:lnTo>
                    <a:pt x="105" y="32"/>
                  </a:lnTo>
                  <a:lnTo>
                    <a:pt x="105" y="32"/>
                  </a:lnTo>
                  <a:lnTo>
                    <a:pt x="105" y="30"/>
                  </a:lnTo>
                  <a:lnTo>
                    <a:pt x="105" y="30"/>
                  </a:lnTo>
                  <a:lnTo>
                    <a:pt x="108" y="27"/>
                  </a:lnTo>
                  <a:lnTo>
                    <a:pt x="108" y="27"/>
                  </a:lnTo>
                  <a:lnTo>
                    <a:pt x="108" y="26"/>
                  </a:lnTo>
                  <a:lnTo>
                    <a:pt x="109" y="26"/>
                  </a:lnTo>
                  <a:lnTo>
                    <a:pt x="109" y="26"/>
                  </a:lnTo>
                  <a:lnTo>
                    <a:pt x="108" y="26"/>
                  </a:lnTo>
                  <a:lnTo>
                    <a:pt x="108" y="26"/>
                  </a:lnTo>
                  <a:lnTo>
                    <a:pt x="109" y="26"/>
                  </a:lnTo>
                  <a:lnTo>
                    <a:pt x="108" y="26"/>
                  </a:lnTo>
                  <a:lnTo>
                    <a:pt x="108" y="26"/>
                  </a:lnTo>
                  <a:lnTo>
                    <a:pt x="108" y="26"/>
                  </a:lnTo>
                  <a:lnTo>
                    <a:pt x="108" y="26"/>
                  </a:lnTo>
                  <a:lnTo>
                    <a:pt x="109" y="26"/>
                  </a:lnTo>
                  <a:lnTo>
                    <a:pt x="109" y="26"/>
                  </a:lnTo>
                  <a:lnTo>
                    <a:pt x="111" y="24"/>
                  </a:lnTo>
                  <a:lnTo>
                    <a:pt x="111" y="24"/>
                  </a:lnTo>
                  <a:lnTo>
                    <a:pt x="118" y="13"/>
                  </a:lnTo>
                  <a:lnTo>
                    <a:pt x="118" y="13"/>
                  </a:lnTo>
                  <a:lnTo>
                    <a:pt x="122" y="7"/>
                  </a:lnTo>
                  <a:lnTo>
                    <a:pt x="122" y="7"/>
                  </a:lnTo>
                  <a:lnTo>
                    <a:pt x="124" y="6"/>
                  </a:lnTo>
                  <a:lnTo>
                    <a:pt x="124" y="6"/>
                  </a:lnTo>
                  <a:lnTo>
                    <a:pt x="124" y="6"/>
                  </a:lnTo>
                  <a:lnTo>
                    <a:pt x="124" y="4"/>
                  </a:lnTo>
                  <a:lnTo>
                    <a:pt x="124" y="6"/>
                  </a:lnTo>
                  <a:lnTo>
                    <a:pt x="124" y="6"/>
                  </a:lnTo>
                  <a:lnTo>
                    <a:pt x="124" y="4"/>
                  </a:lnTo>
                  <a:lnTo>
                    <a:pt x="124" y="6"/>
                  </a:lnTo>
                  <a:lnTo>
                    <a:pt x="125" y="6"/>
                  </a:lnTo>
                  <a:lnTo>
                    <a:pt x="125" y="6"/>
                  </a:lnTo>
                  <a:lnTo>
                    <a:pt x="128" y="7"/>
                  </a:lnTo>
                  <a:lnTo>
                    <a:pt x="128" y="7"/>
                  </a:lnTo>
                  <a:lnTo>
                    <a:pt x="131" y="8"/>
                  </a:lnTo>
                  <a:lnTo>
                    <a:pt x="131" y="8"/>
                  </a:lnTo>
                  <a:lnTo>
                    <a:pt x="132" y="11"/>
                  </a:lnTo>
                  <a:lnTo>
                    <a:pt x="134" y="13"/>
                  </a:lnTo>
                  <a:lnTo>
                    <a:pt x="134" y="13"/>
                  </a:lnTo>
                  <a:lnTo>
                    <a:pt x="132" y="16"/>
                  </a:lnTo>
                  <a:lnTo>
                    <a:pt x="135" y="17"/>
                  </a:lnTo>
                  <a:lnTo>
                    <a:pt x="132" y="16"/>
                  </a:lnTo>
                  <a:lnTo>
                    <a:pt x="132" y="16"/>
                  </a:lnTo>
                  <a:lnTo>
                    <a:pt x="132" y="17"/>
                  </a:lnTo>
                  <a:lnTo>
                    <a:pt x="132" y="17"/>
                  </a:lnTo>
                  <a:lnTo>
                    <a:pt x="132" y="19"/>
                  </a:lnTo>
                  <a:lnTo>
                    <a:pt x="134" y="20"/>
                  </a:lnTo>
                  <a:lnTo>
                    <a:pt x="134" y="20"/>
                  </a:lnTo>
                  <a:lnTo>
                    <a:pt x="138" y="23"/>
                  </a:lnTo>
                  <a:lnTo>
                    <a:pt x="138" y="23"/>
                  </a:lnTo>
                  <a:lnTo>
                    <a:pt x="144" y="24"/>
                  </a:lnTo>
                  <a:lnTo>
                    <a:pt x="144" y="24"/>
                  </a:lnTo>
                  <a:lnTo>
                    <a:pt x="154" y="29"/>
                  </a:lnTo>
                  <a:lnTo>
                    <a:pt x="154" y="29"/>
                  </a:lnTo>
                  <a:lnTo>
                    <a:pt x="161" y="33"/>
                  </a:lnTo>
                  <a:lnTo>
                    <a:pt x="16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94" name="Freeform 1288"/>
            <p:cNvSpPr>
              <a:spLocks/>
            </p:cNvSpPr>
            <p:nvPr/>
          </p:nvSpPr>
          <p:spPr bwMode="auto">
            <a:xfrm>
              <a:off x="7088188" y="4189413"/>
              <a:ext cx="65088" cy="57150"/>
            </a:xfrm>
            <a:custGeom>
              <a:avLst/>
              <a:gdLst>
                <a:gd name="T0" fmla="*/ 6 w 41"/>
                <a:gd name="T1" fmla="*/ 30 h 36"/>
                <a:gd name="T2" fmla="*/ 6 w 41"/>
                <a:gd name="T3" fmla="*/ 30 h 36"/>
                <a:gd name="T4" fmla="*/ 6 w 41"/>
                <a:gd name="T5" fmla="*/ 30 h 36"/>
                <a:gd name="T6" fmla="*/ 6 w 41"/>
                <a:gd name="T7" fmla="*/ 30 h 36"/>
                <a:gd name="T8" fmla="*/ 6 w 41"/>
                <a:gd name="T9" fmla="*/ 29 h 36"/>
                <a:gd name="T10" fmla="*/ 5 w 41"/>
                <a:gd name="T11" fmla="*/ 25 h 36"/>
                <a:gd name="T12" fmla="*/ 6 w 41"/>
                <a:gd name="T13" fmla="*/ 20 h 36"/>
                <a:gd name="T14" fmla="*/ 7 w 41"/>
                <a:gd name="T15" fmla="*/ 16 h 36"/>
                <a:gd name="T16" fmla="*/ 16 w 41"/>
                <a:gd name="T17" fmla="*/ 12 h 36"/>
                <a:gd name="T18" fmla="*/ 25 w 41"/>
                <a:gd name="T19" fmla="*/ 7 h 36"/>
                <a:gd name="T20" fmla="*/ 31 w 41"/>
                <a:gd name="T21" fmla="*/ 4 h 36"/>
                <a:gd name="T22" fmla="*/ 32 w 41"/>
                <a:gd name="T23" fmla="*/ 6 h 36"/>
                <a:gd name="T24" fmla="*/ 35 w 41"/>
                <a:gd name="T25" fmla="*/ 7 h 36"/>
                <a:gd name="T26" fmla="*/ 35 w 41"/>
                <a:gd name="T27" fmla="*/ 10 h 36"/>
                <a:gd name="T28" fmla="*/ 35 w 41"/>
                <a:gd name="T29" fmla="*/ 13 h 36"/>
                <a:gd name="T30" fmla="*/ 34 w 41"/>
                <a:gd name="T31" fmla="*/ 15 h 36"/>
                <a:gd name="T32" fmla="*/ 32 w 41"/>
                <a:gd name="T33" fmla="*/ 17 h 36"/>
                <a:gd name="T34" fmla="*/ 31 w 41"/>
                <a:gd name="T35" fmla="*/ 23 h 36"/>
                <a:gd name="T36" fmla="*/ 29 w 41"/>
                <a:gd name="T37" fmla="*/ 25 h 36"/>
                <a:gd name="T38" fmla="*/ 29 w 41"/>
                <a:gd name="T39" fmla="*/ 25 h 36"/>
                <a:gd name="T40" fmla="*/ 29 w 41"/>
                <a:gd name="T41" fmla="*/ 25 h 36"/>
                <a:gd name="T42" fmla="*/ 29 w 41"/>
                <a:gd name="T43" fmla="*/ 25 h 36"/>
                <a:gd name="T44" fmla="*/ 29 w 41"/>
                <a:gd name="T45" fmla="*/ 25 h 36"/>
                <a:gd name="T46" fmla="*/ 23 w 41"/>
                <a:gd name="T47" fmla="*/ 29 h 36"/>
                <a:gd name="T48" fmla="*/ 12 w 41"/>
                <a:gd name="T49" fmla="*/ 32 h 36"/>
                <a:gd name="T50" fmla="*/ 6 w 41"/>
                <a:gd name="T51" fmla="*/ 30 h 36"/>
                <a:gd name="T52" fmla="*/ 5 w 41"/>
                <a:gd name="T53" fmla="*/ 35 h 36"/>
                <a:gd name="T54" fmla="*/ 12 w 41"/>
                <a:gd name="T55" fmla="*/ 36 h 36"/>
                <a:gd name="T56" fmla="*/ 19 w 41"/>
                <a:gd name="T57" fmla="*/ 35 h 36"/>
                <a:gd name="T58" fmla="*/ 26 w 41"/>
                <a:gd name="T59" fmla="*/ 33 h 36"/>
                <a:gd name="T60" fmla="*/ 32 w 41"/>
                <a:gd name="T61" fmla="*/ 29 h 36"/>
                <a:gd name="T62" fmla="*/ 35 w 41"/>
                <a:gd name="T63" fmla="*/ 26 h 36"/>
                <a:gd name="T64" fmla="*/ 36 w 41"/>
                <a:gd name="T65" fmla="*/ 22 h 36"/>
                <a:gd name="T66" fmla="*/ 36 w 41"/>
                <a:gd name="T67" fmla="*/ 19 h 36"/>
                <a:gd name="T68" fmla="*/ 36 w 41"/>
                <a:gd name="T69" fmla="*/ 19 h 36"/>
                <a:gd name="T70" fmla="*/ 36 w 41"/>
                <a:gd name="T71" fmla="*/ 19 h 36"/>
                <a:gd name="T72" fmla="*/ 36 w 41"/>
                <a:gd name="T73" fmla="*/ 19 h 36"/>
                <a:gd name="T74" fmla="*/ 36 w 41"/>
                <a:gd name="T75" fmla="*/ 19 h 36"/>
                <a:gd name="T76" fmla="*/ 39 w 41"/>
                <a:gd name="T77" fmla="*/ 15 h 36"/>
                <a:gd name="T78" fmla="*/ 41 w 41"/>
                <a:gd name="T79" fmla="*/ 10 h 36"/>
                <a:gd name="T80" fmla="*/ 38 w 41"/>
                <a:gd name="T81" fmla="*/ 3 h 36"/>
                <a:gd name="T82" fmla="*/ 35 w 41"/>
                <a:gd name="T83" fmla="*/ 1 h 36"/>
                <a:gd name="T84" fmla="*/ 31 w 41"/>
                <a:gd name="T85" fmla="*/ 0 h 36"/>
                <a:gd name="T86" fmla="*/ 28 w 41"/>
                <a:gd name="T87" fmla="*/ 0 h 36"/>
                <a:gd name="T88" fmla="*/ 23 w 41"/>
                <a:gd name="T89" fmla="*/ 1 h 36"/>
                <a:gd name="T90" fmla="*/ 13 w 41"/>
                <a:gd name="T91" fmla="*/ 7 h 36"/>
                <a:gd name="T92" fmla="*/ 5 w 41"/>
                <a:gd name="T93" fmla="*/ 13 h 36"/>
                <a:gd name="T94" fmla="*/ 2 w 41"/>
                <a:gd name="T95" fmla="*/ 19 h 36"/>
                <a:gd name="T96" fmla="*/ 0 w 41"/>
                <a:gd name="T97" fmla="*/ 25 h 36"/>
                <a:gd name="T98" fmla="*/ 2 w 41"/>
                <a:gd name="T99" fmla="*/ 30 h 36"/>
                <a:gd name="T100" fmla="*/ 2 w 41"/>
                <a:gd name="T101" fmla="*/ 33 h 36"/>
                <a:gd name="T102" fmla="*/ 6 w 41"/>
                <a:gd name="T103" fmla="*/ 3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1" h="36">
                  <a:moveTo>
                    <a:pt x="6" y="33"/>
                  </a:moveTo>
                  <a:lnTo>
                    <a:pt x="6" y="30"/>
                  </a:lnTo>
                  <a:lnTo>
                    <a:pt x="6" y="30"/>
                  </a:lnTo>
                  <a:lnTo>
                    <a:pt x="6" y="30"/>
                  </a:lnTo>
                  <a:lnTo>
                    <a:pt x="6" y="30"/>
                  </a:lnTo>
                  <a:lnTo>
                    <a:pt x="6" y="30"/>
                  </a:lnTo>
                  <a:lnTo>
                    <a:pt x="6" y="30"/>
                  </a:lnTo>
                  <a:lnTo>
                    <a:pt x="6" y="30"/>
                  </a:lnTo>
                  <a:lnTo>
                    <a:pt x="6" y="30"/>
                  </a:lnTo>
                  <a:lnTo>
                    <a:pt x="6" y="29"/>
                  </a:lnTo>
                  <a:lnTo>
                    <a:pt x="6" y="29"/>
                  </a:lnTo>
                  <a:lnTo>
                    <a:pt x="5" y="25"/>
                  </a:lnTo>
                  <a:lnTo>
                    <a:pt x="5" y="25"/>
                  </a:lnTo>
                  <a:lnTo>
                    <a:pt x="6" y="20"/>
                  </a:lnTo>
                  <a:lnTo>
                    <a:pt x="6" y="20"/>
                  </a:lnTo>
                  <a:lnTo>
                    <a:pt x="7" y="16"/>
                  </a:lnTo>
                  <a:lnTo>
                    <a:pt x="7" y="16"/>
                  </a:lnTo>
                  <a:lnTo>
                    <a:pt x="16" y="12"/>
                  </a:lnTo>
                  <a:lnTo>
                    <a:pt x="20" y="9"/>
                  </a:lnTo>
                  <a:lnTo>
                    <a:pt x="25" y="7"/>
                  </a:lnTo>
                  <a:lnTo>
                    <a:pt x="25" y="7"/>
                  </a:lnTo>
                  <a:lnTo>
                    <a:pt x="31" y="4"/>
                  </a:lnTo>
                  <a:lnTo>
                    <a:pt x="31" y="4"/>
                  </a:lnTo>
                  <a:lnTo>
                    <a:pt x="32" y="6"/>
                  </a:lnTo>
                  <a:lnTo>
                    <a:pt x="32" y="6"/>
                  </a:lnTo>
                  <a:lnTo>
                    <a:pt x="35" y="7"/>
                  </a:lnTo>
                  <a:lnTo>
                    <a:pt x="35" y="7"/>
                  </a:lnTo>
                  <a:lnTo>
                    <a:pt x="35" y="10"/>
                  </a:lnTo>
                  <a:lnTo>
                    <a:pt x="35" y="10"/>
                  </a:lnTo>
                  <a:lnTo>
                    <a:pt x="35" y="13"/>
                  </a:lnTo>
                  <a:lnTo>
                    <a:pt x="35" y="13"/>
                  </a:lnTo>
                  <a:lnTo>
                    <a:pt x="34" y="15"/>
                  </a:lnTo>
                  <a:lnTo>
                    <a:pt x="34" y="15"/>
                  </a:lnTo>
                  <a:lnTo>
                    <a:pt x="32" y="17"/>
                  </a:lnTo>
                  <a:lnTo>
                    <a:pt x="32" y="17"/>
                  </a:lnTo>
                  <a:lnTo>
                    <a:pt x="31" y="23"/>
                  </a:lnTo>
                  <a:lnTo>
                    <a:pt x="31" y="23"/>
                  </a:lnTo>
                  <a:lnTo>
                    <a:pt x="29" y="25"/>
                  </a:lnTo>
                  <a:lnTo>
                    <a:pt x="29" y="25"/>
                  </a:lnTo>
                  <a:lnTo>
                    <a:pt x="29" y="25"/>
                  </a:lnTo>
                  <a:lnTo>
                    <a:pt x="29" y="25"/>
                  </a:lnTo>
                  <a:lnTo>
                    <a:pt x="29" y="25"/>
                  </a:lnTo>
                  <a:lnTo>
                    <a:pt x="29" y="25"/>
                  </a:lnTo>
                  <a:lnTo>
                    <a:pt x="29" y="25"/>
                  </a:lnTo>
                  <a:lnTo>
                    <a:pt x="29" y="25"/>
                  </a:lnTo>
                  <a:lnTo>
                    <a:pt x="29" y="25"/>
                  </a:lnTo>
                  <a:lnTo>
                    <a:pt x="23" y="29"/>
                  </a:lnTo>
                  <a:lnTo>
                    <a:pt x="23" y="29"/>
                  </a:lnTo>
                  <a:lnTo>
                    <a:pt x="18" y="30"/>
                  </a:lnTo>
                  <a:lnTo>
                    <a:pt x="12" y="32"/>
                  </a:lnTo>
                  <a:lnTo>
                    <a:pt x="12" y="32"/>
                  </a:lnTo>
                  <a:lnTo>
                    <a:pt x="6" y="30"/>
                  </a:lnTo>
                  <a:lnTo>
                    <a:pt x="6" y="33"/>
                  </a:lnTo>
                  <a:lnTo>
                    <a:pt x="5" y="35"/>
                  </a:lnTo>
                  <a:lnTo>
                    <a:pt x="5" y="35"/>
                  </a:lnTo>
                  <a:lnTo>
                    <a:pt x="12" y="36"/>
                  </a:lnTo>
                  <a:lnTo>
                    <a:pt x="12" y="36"/>
                  </a:lnTo>
                  <a:lnTo>
                    <a:pt x="19" y="35"/>
                  </a:lnTo>
                  <a:lnTo>
                    <a:pt x="26" y="33"/>
                  </a:lnTo>
                  <a:lnTo>
                    <a:pt x="26" y="33"/>
                  </a:lnTo>
                  <a:lnTo>
                    <a:pt x="32" y="29"/>
                  </a:lnTo>
                  <a:lnTo>
                    <a:pt x="32" y="29"/>
                  </a:lnTo>
                  <a:lnTo>
                    <a:pt x="35" y="26"/>
                  </a:lnTo>
                  <a:lnTo>
                    <a:pt x="35" y="26"/>
                  </a:lnTo>
                  <a:lnTo>
                    <a:pt x="36" y="22"/>
                  </a:lnTo>
                  <a:lnTo>
                    <a:pt x="36" y="22"/>
                  </a:lnTo>
                  <a:lnTo>
                    <a:pt x="36" y="19"/>
                  </a:lnTo>
                  <a:lnTo>
                    <a:pt x="36" y="19"/>
                  </a:lnTo>
                  <a:lnTo>
                    <a:pt x="36" y="19"/>
                  </a:lnTo>
                  <a:lnTo>
                    <a:pt x="36" y="19"/>
                  </a:lnTo>
                  <a:lnTo>
                    <a:pt x="36" y="19"/>
                  </a:lnTo>
                  <a:lnTo>
                    <a:pt x="36" y="19"/>
                  </a:lnTo>
                  <a:lnTo>
                    <a:pt x="36" y="19"/>
                  </a:lnTo>
                  <a:lnTo>
                    <a:pt x="36" y="19"/>
                  </a:lnTo>
                  <a:lnTo>
                    <a:pt x="36" y="19"/>
                  </a:lnTo>
                  <a:lnTo>
                    <a:pt x="36" y="19"/>
                  </a:lnTo>
                  <a:lnTo>
                    <a:pt x="39" y="15"/>
                  </a:lnTo>
                  <a:lnTo>
                    <a:pt x="39" y="15"/>
                  </a:lnTo>
                  <a:lnTo>
                    <a:pt x="41" y="10"/>
                  </a:lnTo>
                  <a:lnTo>
                    <a:pt x="41" y="10"/>
                  </a:lnTo>
                  <a:lnTo>
                    <a:pt x="41" y="7"/>
                  </a:lnTo>
                  <a:lnTo>
                    <a:pt x="38" y="3"/>
                  </a:lnTo>
                  <a:lnTo>
                    <a:pt x="38" y="3"/>
                  </a:lnTo>
                  <a:lnTo>
                    <a:pt x="35" y="1"/>
                  </a:lnTo>
                  <a:lnTo>
                    <a:pt x="35" y="1"/>
                  </a:lnTo>
                  <a:lnTo>
                    <a:pt x="31" y="0"/>
                  </a:lnTo>
                  <a:lnTo>
                    <a:pt x="31" y="0"/>
                  </a:lnTo>
                  <a:lnTo>
                    <a:pt x="28" y="0"/>
                  </a:lnTo>
                  <a:lnTo>
                    <a:pt x="23" y="1"/>
                  </a:lnTo>
                  <a:lnTo>
                    <a:pt x="23" y="1"/>
                  </a:lnTo>
                  <a:lnTo>
                    <a:pt x="18" y="4"/>
                  </a:lnTo>
                  <a:lnTo>
                    <a:pt x="13" y="7"/>
                  </a:lnTo>
                  <a:lnTo>
                    <a:pt x="5" y="13"/>
                  </a:lnTo>
                  <a:lnTo>
                    <a:pt x="5" y="13"/>
                  </a:lnTo>
                  <a:lnTo>
                    <a:pt x="3" y="15"/>
                  </a:lnTo>
                  <a:lnTo>
                    <a:pt x="2" y="19"/>
                  </a:lnTo>
                  <a:lnTo>
                    <a:pt x="2" y="19"/>
                  </a:lnTo>
                  <a:lnTo>
                    <a:pt x="0" y="25"/>
                  </a:lnTo>
                  <a:lnTo>
                    <a:pt x="0" y="25"/>
                  </a:lnTo>
                  <a:lnTo>
                    <a:pt x="2" y="30"/>
                  </a:lnTo>
                  <a:lnTo>
                    <a:pt x="2" y="30"/>
                  </a:lnTo>
                  <a:lnTo>
                    <a:pt x="2" y="33"/>
                  </a:lnTo>
                  <a:lnTo>
                    <a:pt x="5" y="35"/>
                  </a:lnTo>
                  <a:lnTo>
                    <a:pt x="6"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95" name="Freeform 1289"/>
            <p:cNvSpPr>
              <a:spLocks/>
            </p:cNvSpPr>
            <p:nvPr/>
          </p:nvSpPr>
          <p:spPr bwMode="auto">
            <a:xfrm>
              <a:off x="7616826" y="3795713"/>
              <a:ext cx="71438" cy="96838"/>
            </a:xfrm>
            <a:custGeom>
              <a:avLst/>
              <a:gdLst>
                <a:gd name="T0" fmla="*/ 25 w 45"/>
                <a:gd name="T1" fmla="*/ 57 h 61"/>
                <a:gd name="T2" fmla="*/ 26 w 45"/>
                <a:gd name="T3" fmla="*/ 57 h 61"/>
                <a:gd name="T4" fmla="*/ 26 w 45"/>
                <a:gd name="T5" fmla="*/ 57 h 61"/>
                <a:gd name="T6" fmla="*/ 23 w 45"/>
                <a:gd name="T7" fmla="*/ 48 h 61"/>
                <a:gd name="T8" fmla="*/ 19 w 45"/>
                <a:gd name="T9" fmla="*/ 48 h 61"/>
                <a:gd name="T10" fmla="*/ 18 w 45"/>
                <a:gd name="T11" fmla="*/ 55 h 61"/>
                <a:gd name="T12" fmla="*/ 18 w 45"/>
                <a:gd name="T13" fmla="*/ 57 h 61"/>
                <a:gd name="T14" fmla="*/ 18 w 45"/>
                <a:gd name="T15" fmla="*/ 55 h 61"/>
                <a:gd name="T16" fmla="*/ 18 w 45"/>
                <a:gd name="T17" fmla="*/ 57 h 61"/>
                <a:gd name="T18" fmla="*/ 19 w 45"/>
                <a:gd name="T19" fmla="*/ 55 h 61"/>
                <a:gd name="T20" fmla="*/ 16 w 45"/>
                <a:gd name="T21" fmla="*/ 48 h 61"/>
                <a:gd name="T22" fmla="*/ 16 w 45"/>
                <a:gd name="T23" fmla="*/ 39 h 61"/>
                <a:gd name="T24" fmla="*/ 22 w 45"/>
                <a:gd name="T25" fmla="*/ 28 h 61"/>
                <a:gd name="T26" fmla="*/ 18 w 45"/>
                <a:gd name="T27" fmla="*/ 18 h 61"/>
                <a:gd name="T28" fmla="*/ 10 w 45"/>
                <a:gd name="T29" fmla="*/ 19 h 61"/>
                <a:gd name="T30" fmla="*/ 10 w 45"/>
                <a:gd name="T31" fmla="*/ 28 h 61"/>
                <a:gd name="T32" fmla="*/ 10 w 45"/>
                <a:gd name="T33" fmla="*/ 28 h 61"/>
                <a:gd name="T34" fmla="*/ 12 w 45"/>
                <a:gd name="T35" fmla="*/ 29 h 61"/>
                <a:gd name="T36" fmla="*/ 13 w 45"/>
                <a:gd name="T37" fmla="*/ 26 h 61"/>
                <a:gd name="T38" fmla="*/ 9 w 45"/>
                <a:gd name="T39" fmla="*/ 24 h 61"/>
                <a:gd name="T40" fmla="*/ 5 w 45"/>
                <a:gd name="T41" fmla="*/ 22 h 61"/>
                <a:gd name="T42" fmla="*/ 6 w 45"/>
                <a:gd name="T43" fmla="*/ 21 h 61"/>
                <a:gd name="T44" fmla="*/ 16 w 45"/>
                <a:gd name="T45" fmla="*/ 10 h 61"/>
                <a:gd name="T46" fmla="*/ 23 w 45"/>
                <a:gd name="T47" fmla="*/ 6 h 61"/>
                <a:gd name="T48" fmla="*/ 35 w 45"/>
                <a:gd name="T49" fmla="*/ 9 h 61"/>
                <a:gd name="T50" fmla="*/ 35 w 45"/>
                <a:gd name="T51" fmla="*/ 9 h 61"/>
                <a:gd name="T52" fmla="*/ 35 w 45"/>
                <a:gd name="T53" fmla="*/ 9 h 61"/>
                <a:gd name="T54" fmla="*/ 41 w 45"/>
                <a:gd name="T55" fmla="*/ 21 h 61"/>
                <a:gd name="T56" fmla="*/ 41 w 45"/>
                <a:gd name="T57" fmla="*/ 22 h 61"/>
                <a:gd name="T58" fmla="*/ 34 w 45"/>
                <a:gd name="T59" fmla="*/ 39 h 61"/>
                <a:gd name="T60" fmla="*/ 32 w 45"/>
                <a:gd name="T61" fmla="*/ 50 h 61"/>
                <a:gd name="T62" fmla="*/ 32 w 45"/>
                <a:gd name="T63" fmla="*/ 50 h 61"/>
                <a:gd name="T64" fmla="*/ 26 w 45"/>
                <a:gd name="T65" fmla="*/ 58 h 61"/>
                <a:gd name="T66" fmla="*/ 32 w 45"/>
                <a:gd name="T67" fmla="*/ 57 h 61"/>
                <a:gd name="T68" fmla="*/ 38 w 45"/>
                <a:gd name="T69" fmla="*/ 45 h 61"/>
                <a:gd name="T70" fmla="*/ 45 w 45"/>
                <a:gd name="T71" fmla="*/ 25 h 61"/>
                <a:gd name="T72" fmla="*/ 42 w 45"/>
                <a:gd name="T73" fmla="*/ 15 h 61"/>
                <a:gd name="T74" fmla="*/ 38 w 45"/>
                <a:gd name="T75" fmla="*/ 5 h 61"/>
                <a:gd name="T76" fmla="*/ 31 w 45"/>
                <a:gd name="T77" fmla="*/ 5 h 61"/>
                <a:gd name="T78" fmla="*/ 22 w 45"/>
                <a:gd name="T79" fmla="*/ 0 h 61"/>
                <a:gd name="T80" fmla="*/ 6 w 45"/>
                <a:gd name="T81" fmla="*/ 12 h 61"/>
                <a:gd name="T82" fmla="*/ 2 w 45"/>
                <a:gd name="T83" fmla="*/ 22 h 61"/>
                <a:gd name="T84" fmla="*/ 9 w 45"/>
                <a:gd name="T85" fmla="*/ 31 h 61"/>
                <a:gd name="T86" fmla="*/ 15 w 45"/>
                <a:gd name="T87" fmla="*/ 31 h 61"/>
                <a:gd name="T88" fmla="*/ 15 w 45"/>
                <a:gd name="T89" fmla="*/ 24 h 61"/>
                <a:gd name="T90" fmla="*/ 15 w 45"/>
                <a:gd name="T91" fmla="*/ 21 h 61"/>
                <a:gd name="T92" fmla="*/ 15 w 45"/>
                <a:gd name="T93" fmla="*/ 22 h 61"/>
                <a:gd name="T94" fmla="*/ 15 w 45"/>
                <a:gd name="T95" fmla="*/ 21 h 61"/>
                <a:gd name="T96" fmla="*/ 13 w 45"/>
                <a:gd name="T97" fmla="*/ 22 h 61"/>
                <a:gd name="T98" fmla="*/ 15 w 45"/>
                <a:gd name="T99" fmla="*/ 24 h 61"/>
                <a:gd name="T100" fmla="*/ 16 w 45"/>
                <a:gd name="T101" fmla="*/ 32 h 61"/>
                <a:gd name="T102" fmla="*/ 10 w 45"/>
                <a:gd name="T103" fmla="*/ 42 h 61"/>
                <a:gd name="T104" fmla="*/ 15 w 45"/>
                <a:gd name="T105" fmla="*/ 58 h 61"/>
                <a:gd name="T106" fmla="*/ 22 w 45"/>
                <a:gd name="T107" fmla="*/ 57 h 61"/>
                <a:gd name="T108" fmla="*/ 23 w 45"/>
                <a:gd name="T109" fmla="*/ 52 h 61"/>
                <a:gd name="T110" fmla="*/ 23 w 45"/>
                <a:gd name="T111" fmla="*/ 52 h 61"/>
                <a:gd name="T112" fmla="*/ 22 w 45"/>
                <a:gd name="T113" fmla="*/ 54 h 61"/>
                <a:gd name="T114" fmla="*/ 21 w 45"/>
                <a:gd name="T115" fmla="*/ 52 h 61"/>
                <a:gd name="T116" fmla="*/ 21 w 45"/>
                <a:gd name="T117" fmla="*/ 52 h 61"/>
                <a:gd name="T118" fmla="*/ 21 w 45"/>
                <a:gd name="T119" fmla="*/ 54 h 61"/>
                <a:gd name="T120" fmla="*/ 25 w 45"/>
                <a:gd name="T1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5" h="61">
                  <a:moveTo>
                    <a:pt x="26" y="58"/>
                  </a:moveTo>
                  <a:lnTo>
                    <a:pt x="25" y="57"/>
                  </a:lnTo>
                  <a:lnTo>
                    <a:pt x="25" y="57"/>
                  </a:lnTo>
                  <a:lnTo>
                    <a:pt x="25" y="57"/>
                  </a:lnTo>
                  <a:lnTo>
                    <a:pt x="25" y="57"/>
                  </a:lnTo>
                  <a:lnTo>
                    <a:pt x="25" y="57"/>
                  </a:lnTo>
                  <a:lnTo>
                    <a:pt x="25" y="57"/>
                  </a:lnTo>
                  <a:lnTo>
                    <a:pt x="25" y="57"/>
                  </a:lnTo>
                  <a:lnTo>
                    <a:pt x="26" y="57"/>
                  </a:lnTo>
                  <a:lnTo>
                    <a:pt x="25" y="57"/>
                  </a:lnTo>
                  <a:lnTo>
                    <a:pt x="25" y="57"/>
                  </a:lnTo>
                  <a:lnTo>
                    <a:pt x="26" y="57"/>
                  </a:lnTo>
                  <a:lnTo>
                    <a:pt x="26" y="57"/>
                  </a:lnTo>
                  <a:lnTo>
                    <a:pt x="26" y="57"/>
                  </a:lnTo>
                  <a:lnTo>
                    <a:pt x="26" y="57"/>
                  </a:lnTo>
                  <a:lnTo>
                    <a:pt x="26" y="57"/>
                  </a:lnTo>
                  <a:lnTo>
                    <a:pt x="26" y="57"/>
                  </a:lnTo>
                  <a:lnTo>
                    <a:pt x="26" y="57"/>
                  </a:lnTo>
                  <a:lnTo>
                    <a:pt x="26" y="57"/>
                  </a:lnTo>
                  <a:lnTo>
                    <a:pt x="25" y="52"/>
                  </a:lnTo>
                  <a:lnTo>
                    <a:pt x="25" y="52"/>
                  </a:lnTo>
                  <a:lnTo>
                    <a:pt x="25" y="51"/>
                  </a:lnTo>
                  <a:lnTo>
                    <a:pt x="23" y="50"/>
                  </a:lnTo>
                  <a:lnTo>
                    <a:pt x="23" y="48"/>
                  </a:lnTo>
                  <a:lnTo>
                    <a:pt x="23" y="48"/>
                  </a:lnTo>
                  <a:lnTo>
                    <a:pt x="22" y="48"/>
                  </a:lnTo>
                  <a:lnTo>
                    <a:pt x="22" y="48"/>
                  </a:lnTo>
                  <a:lnTo>
                    <a:pt x="19" y="48"/>
                  </a:lnTo>
                  <a:lnTo>
                    <a:pt x="22" y="51"/>
                  </a:lnTo>
                  <a:lnTo>
                    <a:pt x="19" y="48"/>
                  </a:lnTo>
                  <a:lnTo>
                    <a:pt x="19" y="48"/>
                  </a:lnTo>
                  <a:lnTo>
                    <a:pt x="19" y="50"/>
                  </a:lnTo>
                  <a:lnTo>
                    <a:pt x="19" y="50"/>
                  </a:lnTo>
                  <a:lnTo>
                    <a:pt x="18" y="52"/>
                  </a:lnTo>
                  <a:lnTo>
                    <a:pt x="18" y="52"/>
                  </a:lnTo>
                  <a:lnTo>
                    <a:pt x="18" y="55"/>
                  </a:lnTo>
                  <a:lnTo>
                    <a:pt x="16" y="55"/>
                  </a:lnTo>
                  <a:lnTo>
                    <a:pt x="16" y="55"/>
                  </a:lnTo>
                  <a:lnTo>
                    <a:pt x="18" y="57"/>
                  </a:lnTo>
                  <a:lnTo>
                    <a:pt x="18" y="55"/>
                  </a:lnTo>
                  <a:lnTo>
                    <a:pt x="16" y="55"/>
                  </a:lnTo>
                  <a:lnTo>
                    <a:pt x="18" y="57"/>
                  </a:lnTo>
                  <a:lnTo>
                    <a:pt x="18" y="55"/>
                  </a:lnTo>
                  <a:lnTo>
                    <a:pt x="18" y="57"/>
                  </a:lnTo>
                  <a:lnTo>
                    <a:pt x="18" y="55"/>
                  </a:lnTo>
                  <a:lnTo>
                    <a:pt x="18" y="55"/>
                  </a:lnTo>
                  <a:lnTo>
                    <a:pt x="18" y="57"/>
                  </a:lnTo>
                  <a:lnTo>
                    <a:pt x="18" y="55"/>
                  </a:lnTo>
                  <a:lnTo>
                    <a:pt x="18" y="57"/>
                  </a:lnTo>
                  <a:lnTo>
                    <a:pt x="19" y="55"/>
                  </a:lnTo>
                  <a:lnTo>
                    <a:pt x="18" y="55"/>
                  </a:lnTo>
                  <a:lnTo>
                    <a:pt x="18" y="57"/>
                  </a:lnTo>
                  <a:lnTo>
                    <a:pt x="19" y="55"/>
                  </a:lnTo>
                  <a:lnTo>
                    <a:pt x="18" y="57"/>
                  </a:lnTo>
                  <a:lnTo>
                    <a:pt x="19" y="55"/>
                  </a:lnTo>
                  <a:lnTo>
                    <a:pt x="19" y="55"/>
                  </a:lnTo>
                  <a:lnTo>
                    <a:pt x="18" y="57"/>
                  </a:lnTo>
                  <a:lnTo>
                    <a:pt x="19" y="55"/>
                  </a:lnTo>
                  <a:lnTo>
                    <a:pt x="19" y="55"/>
                  </a:lnTo>
                  <a:lnTo>
                    <a:pt x="19" y="55"/>
                  </a:lnTo>
                  <a:lnTo>
                    <a:pt x="19" y="55"/>
                  </a:lnTo>
                  <a:lnTo>
                    <a:pt x="19" y="55"/>
                  </a:lnTo>
                  <a:lnTo>
                    <a:pt x="19" y="55"/>
                  </a:lnTo>
                  <a:lnTo>
                    <a:pt x="18" y="52"/>
                  </a:lnTo>
                  <a:lnTo>
                    <a:pt x="18" y="52"/>
                  </a:lnTo>
                  <a:lnTo>
                    <a:pt x="16" y="48"/>
                  </a:lnTo>
                  <a:lnTo>
                    <a:pt x="16" y="48"/>
                  </a:lnTo>
                  <a:lnTo>
                    <a:pt x="15" y="42"/>
                  </a:lnTo>
                  <a:lnTo>
                    <a:pt x="15" y="42"/>
                  </a:lnTo>
                  <a:lnTo>
                    <a:pt x="16" y="41"/>
                  </a:lnTo>
                  <a:lnTo>
                    <a:pt x="16" y="41"/>
                  </a:lnTo>
                  <a:lnTo>
                    <a:pt x="16" y="39"/>
                  </a:lnTo>
                  <a:lnTo>
                    <a:pt x="16" y="39"/>
                  </a:lnTo>
                  <a:lnTo>
                    <a:pt x="21" y="35"/>
                  </a:lnTo>
                  <a:lnTo>
                    <a:pt x="21" y="35"/>
                  </a:lnTo>
                  <a:lnTo>
                    <a:pt x="22" y="31"/>
                  </a:lnTo>
                  <a:lnTo>
                    <a:pt x="22" y="28"/>
                  </a:lnTo>
                  <a:lnTo>
                    <a:pt x="22" y="28"/>
                  </a:lnTo>
                  <a:lnTo>
                    <a:pt x="21" y="25"/>
                  </a:lnTo>
                  <a:lnTo>
                    <a:pt x="21" y="25"/>
                  </a:lnTo>
                  <a:lnTo>
                    <a:pt x="19" y="21"/>
                  </a:lnTo>
                  <a:lnTo>
                    <a:pt x="19" y="21"/>
                  </a:lnTo>
                  <a:lnTo>
                    <a:pt x="18" y="18"/>
                  </a:lnTo>
                  <a:lnTo>
                    <a:pt x="18" y="18"/>
                  </a:lnTo>
                  <a:lnTo>
                    <a:pt x="15" y="18"/>
                  </a:lnTo>
                  <a:lnTo>
                    <a:pt x="15" y="18"/>
                  </a:lnTo>
                  <a:lnTo>
                    <a:pt x="12" y="18"/>
                  </a:lnTo>
                  <a:lnTo>
                    <a:pt x="12" y="18"/>
                  </a:lnTo>
                  <a:lnTo>
                    <a:pt x="10" y="19"/>
                  </a:lnTo>
                  <a:lnTo>
                    <a:pt x="10" y="19"/>
                  </a:lnTo>
                  <a:lnTo>
                    <a:pt x="10" y="21"/>
                  </a:lnTo>
                  <a:lnTo>
                    <a:pt x="10" y="21"/>
                  </a:lnTo>
                  <a:lnTo>
                    <a:pt x="10" y="24"/>
                  </a:lnTo>
                  <a:lnTo>
                    <a:pt x="10" y="24"/>
                  </a:lnTo>
                  <a:lnTo>
                    <a:pt x="10" y="28"/>
                  </a:lnTo>
                  <a:lnTo>
                    <a:pt x="10" y="28"/>
                  </a:lnTo>
                  <a:lnTo>
                    <a:pt x="10" y="28"/>
                  </a:lnTo>
                  <a:lnTo>
                    <a:pt x="12" y="28"/>
                  </a:lnTo>
                  <a:lnTo>
                    <a:pt x="10" y="28"/>
                  </a:lnTo>
                  <a:lnTo>
                    <a:pt x="10" y="28"/>
                  </a:lnTo>
                  <a:lnTo>
                    <a:pt x="12" y="28"/>
                  </a:lnTo>
                  <a:lnTo>
                    <a:pt x="10" y="28"/>
                  </a:lnTo>
                  <a:lnTo>
                    <a:pt x="12" y="29"/>
                  </a:lnTo>
                  <a:lnTo>
                    <a:pt x="12" y="28"/>
                  </a:lnTo>
                  <a:lnTo>
                    <a:pt x="10" y="28"/>
                  </a:lnTo>
                  <a:lnTo>
                    <a:pt x="12" y="29"/>
                  </a:lnTo>
                  <a:lnTo>
                    <a:pt x="12" y="28"/>
                  </a:lnTo>
                  <a:lnTo>
                    <a:pt x="12" y="29"/>
                  </a:lnTo>
                  <a:lnTo>
                    <a:pt x="12" y="26"/>
                  </a:lnTo>
                  <a:lnTo>
                    <a:pt x="12" y="28"/>
                  </a:lnTo>
                  <a:lnTo>
                    <a:pt x="12" y="29"/>
                  </a:lnTo>
                  <a:lnTo>
                    <a:pt x="12" y="26"/>
                  </a:lnTo>
                  <a:lnTo>
                    <a:pt x="12" y="28"/>
                  </a:lnTo>
                  <a:lnTo>
                    <a:pt x="13" y="26"/>
                  </a:lnTo>
                  <a:lnTo>
                    <a:pt x="12" y="26"/>
                  </a:lnTo>
                  <a:lnTo>
                    <a:pt x="12" y="28"/>
                  </a:lnTo>
                  <a:lnTo>
                    <a:pt x="13" y="26"/>
                  </a:lnTo>
                  <a:lnTo>
                    <a:pt x="13" y="26"/>
                  </a:lnTo>
                  <a:lnTo>
                    <a:pt x="13" y="26"/>
                  </a:lnTo>
                  <a:lnTo>
                    <a:pt x="9" y="24"/>
                  </a:lnTo>
                  <a:lnTo>
                    <a:pt x="9" y="24"/>
                  </a:lnTo>
                  <a:lnTo>
                    <a:pt x="6" y="22"/>
                  </a:lnTo>
                  <a:lnTo>
                    <a:pt x="6" y="21"/>
                  </a:lnTo>
                  <a:lnTo>
                    <a:pt x="6" y="21"/>
                  </a:lnTo>
                  <a:lnTo>
                    <a:pt x="6" y="21"/>
                  </a:lnTo>
                  <a:lnTo>
                    <a:pt x="5" y="22"/>
                  </a:lnTo>
                  <a:lnTo>
                    <a:pt x="6" y="22"/>
                  </a:lnTo>
                  <a:lnTo>
                    <a:pt x="6" y="21"/>
                  </a:lnTo>
                  <a:lnTo>
                    <a:pt x="5" y="22"/>
                  </a:lnTo>
                  <a:lnTo>
                    <a:pt x="6" y="22"/>
                  </a:lnTo>
                  <a:lnTo>
                    <a:pt x="6" y="21"/>
                  </a:lnTo>
                  <a:lnTo>
                    <a:pt x="6" y="21"/>
                  </a:lnTo>
                  <a:lnTo>
                    <a:pt x="6" y="18"/>
                  </a:lnTo>
                  <a:lnTo>
                    <a:pt x="6" y="18"/>
                  </a:lnTo>
                  <a:lnTo>
                    <a:pt x="8" y="16"/>
                  </a:lnTo>
                  <a:lnTo>
                    <a:pt x="8" y="16"/>
                  </a:lnTo>
                  <a:lnTo>
                    <a:pt x="13" y="13"/>
                  </a:lnTo>
                  <a:lnTo>
                    <a:pt x="16" y="10"/>
                  </a:lnTo>
                  <a:lnTo>
                    <a:pt x="19" y="8"/>
                  </a:lnTo>
                  <a:lnTo>
                    <a:pt x="19" y="8"/>
                  </a:lnTo>
                  <a:lnTo>
                    <a:pt x="21" y="6"/>
                  </a:lnTo>
                  <a:lnTo>
                    <a:pt x="22" y="6"/>
                  </a:lnTo>
                  <a:lnTo>
                    <a:pt x="22" y="6"/>
                  </a:lnTo>
                  <a:lnTo>
                    <a:pt x="23" y="6"/>
                  </a:lnTo>
                  <a:lnTo>
                    <a:pt x="23" y="6"/>
                  </a:lnTo>
                  <a:lnTo>
                    <a:pt x="26" y="9"/>
                  </a:lnTo>
                  <a:lnTo>
                    <a:pt x="31" y="9"/>
                  </a:lnTo>
                  <a:lnTo>
                    <a:pt x="31" y="9"/>
                  </a:lnTo>
                  <a:lnTo>
                    <a:pt x="35" y="9"/>
                  </a:lnTo>
                  <a:lnTo>
                    <a:pt x="35" y="9"/>
                  </a:lnTo>
                  <a:lnTo>
                    <a:pt x="35" y="9"/>
                  </a:lnTo>
                  <a:lnTo>
                    <a:pt x="35" y="8"/>
                  </a:lnTo>
                  <a:lnTo>
                    <a:pt x="35" y="9"/>
                  </a:lnTo>
                  <a:lnTo>
                    <a:pt x="35" y="9"/>
                  </a:lnTo>
                  <a:lnTo>
                    <a:pt x="35" y="8"/>
                  </a:lnTo>
                  <a:lnTo>
                    <a:pt x="35" y="9"/>
                  </a:lnTo>
                  <a:lnTo>
                    <a:pt x="35" y="8"/>
                  </a:lnTo>
                  <a:lnTo>
                    <a:pt x="35" y="9"/>
                  </a:lnTo>
                  <a:lnTo>
                    <a:pt x="35" y="9"/>
                  </a:lnTo>
                  <a:lnTo>
                    <a:pt x="35" y="8"/>
                  </a:lnTo>
                  <a:lnTo>
                    <a:pt x="35" y="9"/>
                  </a:lnTo>
                  <a:lnTo>
                    <a:pt x="35" y="9"/>
                  </a:lnTo>
                  <a:lnTo>
                    <a:pt x="37" y="12"/>
                  </a:lnTo>
                  <a:lnTo>
                    <a:pt x="37" y="12"/>
                  </a:lnTo>
                  <a:lnTo>
                    <a:pt x="37" y="16"/>
                  </a:lnTo>
                  <a:lnTo>
                    <a:pt x="39" y="19"/>
                  </a:lnTo>
                  <a:lnTo>
                    <a:pt x="39" y="19"/>
                  </a:lnTo>
                  <a:lnTo>
                    <a:pt x="41" y="21"/>
                  </a:lnTo>
                  <a:lnTo>
                    <a:pt x="41" y="21"/>
                  </a:lnTo>
                  <a:lnTo>
                    <a:pt x="41" y="22"/>
                  </a:lnTo>
                  <a:lnTo>
                    <a:pt x="41" y="22"/>
                  </a:lnTo>
                  <a:lnTo>
                    <a:pt x="41" y="22"/>
                  </a:lnTo>
                  <a:lnTo>
                    <a:pt x="41" y="22"/>
                  </a:lnTo>
                  <a:lnTo>
                    <a:pt x="41" y="22"/>
                  </a:lnTo>
                  <a:lnTo>
                    <a:pt x="41" y="22"/>
                  </a:lnTo>
                  <a:lnTo>
                    <a:pt x="41" y="22"/>
                  </a:lnTo>
                  <a:lnTo>
                    <a:pt x="37" y="29"/>
                  </a:lnTo>
                  <a:lnTo>
                    <a:pt x="37" y="29"/>
                  </a:lnTo>
                  <a:lnTo>
                    <a:pt x="34" y="39"/>
                  </a:lnTo>
                  <a:lnTo>
                    <a:pt x="34" y="39"/>
                  </a:lnTo>
                  <a:lnTo>
                    <a:pt x="32" y="47"/>
                  </a:lnTo>
                  <a:lnTo>
                    <a:pt x="32" y="47"/>
                  </a:lnTo>
                  <a:lnTo>
                    <a:pt x="32" y="50"/>
                  </a:lnTo>
                  <a:lnTo>
                    <a:pt x="32" y="50"/>
                  </a:lnTo>
                  <a:lnTo>
                    <a:pt x="32" y="50"/>
                  </a:lnTo>
                  <a:lnTo>
                    <a:pt x="32" y="50"/>
                  </a:lnTo>
                  <a:lnTo>
                    <a:pt x="32" y="51"/>
                  </a:lnTo>
                  <a:lnTo>
                    <a:pt x="32" y="50"/>
                  </a:lnTo>
                  <a:lnTo>
                    <a:pt x="32" y="50"/>
                  </a:lnTo>
                  <a:lnTo>
                    <a:pt x="32" y="51"/>
                  </a:lnTo>
                  <a:lnTo>
                    <a:pt x="32" y="50"/>
                  </a:lnTo>
                  <a:lnTo>
                    <a:pt x="32" y="50"/>
                  </a:lnTo>
                  <a:lnTo>
                    <a:pt x="28" y="54"/>
                  </a:lnTo>
                  <a:lnTo>
                    <a:pt x="28" y="54"/>
                  </a:lnTo>
                  <a:lnTo>
                    <a:pt x="26" y="55"/>
                  </a:lnTo>
                  <a:lnTo>
                    <a:pt x="25" y="57"/>
                  </a:lnTo>
                  <a:lnTo>
                    <a:pt x="25" y="57"/>
                  </a:lnTo>
                  <a:lnTo>
                    <a:pt x="26" y="58"/>
                  </a:lnTo>
                  <a:lnTo>
                    <a:pt x="26" y="61"/>
                  </a:lnTo>
                  <a:lnTo>
                    <a:pt x="26" y="61"/>
                  </a:lnTo>
                  <a:lnTo>
                    <a:pt x="29" y="60"/>
                  </a:lnTo>
                  <a:lnTo>
                    <a:pt x="29" y="60"/>
                  </a:lnTo>
                  <a:lnTo>
                    <a:pt x="32" y="57"/>
                  </a:lnTo>
                  <a:lnTo>
                    <a:pt x="32" y="57"/>
                  </a:lnTo>
                  <a:lnTo>
                    <a:pt x="35" y="54"/>
                  </a:lnTo>
                  <a:lnTo>
                    <a:pt x="35" y="54"/>
                  </a:lnTo>
                  <a:lnTo>
                    <a:pt x="37" y="51"/>
                  </a:lnTo>
                  <a:lnTo>
                    <a:pt x="37" y="51"/>
                  </a:lnTo>
                  <a:lnTo>
                    <a:pt x="38" y="45"/>
                  </a:lnTo>
                  <a:lnTo>
                    <a:pt x="38" y="45"/>
                  </a:lnTo>
                  <a:lnTo>
                    <a:pt x="38" y="39"/>
                  </a:lnTo>
                  <a:lnTo>
                    <a:pt x="38" y="39"/>
                  </a:lnTo>
                  <a:lnTo>
                    <a:pt x="41" y="32"/>
                  </a:lnTo>
                  <a:lnTo>
                    <a:pt x="41" y="32"/>
                  </a:lnTo>
                  <a:lnTo>
                    <a:pt x="45" y="25"/>
                  </a:lnTo>
                  <a:lnTo>
                    <a:pt x="45" y="25"/>
                  </a:lnTo>
                  <a:lnTo>
                    <a:pt x="45" y="22"/>
                  </a:lnTo>
                  <a:lnTo>
                    <a:pt x="45" y="22"/>
                  </a:lnTo>
                  <a:lnTo>
                    <a:pt x="45" y="19"/>
                  </a:lnTo>
                  <a:lnTo>
                    <a:pt x="45" y="19"/>
                  </a:lnTo>
                  <a:lnTo>
                    <a:pt x="42" y="15"/>
                  </a:lnTo>
                  <a:lnTo>
                    <a:pt x="42" y="15"/>
                  </a:lnTo>
                  <a:lnTo>
                    <a:pt x="41" y="12"/>
                  </a:lnTo>
                  <a:lnTo>
                    <a:pt x="41" y="12"/>
                  </a:lnTo>
                  <a:lnTo>
                    <a:pt x="39" y="8"/>
                  </a:lnTo>
                  <a:lnTo>
                    <a:pt x="39" y="8"/>
                  </a:lnTo>
                  <a:lnTo>
                    <a:pt x="38" y="5"/>
                  </a:lnTo>
                  <a:lnTo>
                    <a:pt x="38" y="5"/>
                  </a:lnTo>
                  <a:lnTo>
                    <a:pt x="35" y="3"/>
                  </a:lnTo>
                  <a:lnTo>
                    <a:pt x="35" y="3"/>
                  </a:lnTo>
                  <a:lnTo>
                    <a:pt x="34" y="5"/>
                  </a:lnTo>
                  <a:lnTo>
                    <a:pt x="34" y="5"/>
                  </a:lnTo>
                  <a:lnTo>
                    <a:pt x="31" y="5"/>
                  </a:lnTo>
                  <a:lnTo>
                    <a:pt x="31" y="5"/>
                  </a:lnTo>
                  <a:lnTo>
                    <a:pt x="29" y="5"/>
                  </a:lnTo>
                  <a:lnTo>
                    <a:pt x="28" y="3"/>
                  </a:lnTo>
                  <a:lnTo>
                    <a:pt x="28" y="3"/>
                  </a:lnTo>
                  <a:lnTo>
                    <a:pt x="25" y="2"/>
                  </a:lnTo>
                  <a:lnTo>
                    <a:pt x="22" y="0"/>
                  </a:lnTo>
                  <a:lnTo>
                    <a:pt x="22" y="0"/>
                  </a:lnTo>
                  <a:lnTo>
                    <a:pt x="18" y="2"/>
                  </a:lnTo>
                  <a:lnTo>
                    <a:pt x="15" y="5"/>
                  </a:lnTo>
                  <a:lnTo>
                    <a:pt x="15" y="5"/>
                  </a:lnTo>
                  <a:lnTo>
                    <a:pt x="10" y="9"/>
                  </a:lnTo>
                  <a:lnTo>
                    <a:pt x="6" y="12"/>
                  </a:lnTo>
                  <a:lnTo>
                    <a:pt x="6" y="12"/>
                  </a:lnTo>
                  <a:lnTo>
                    <a:pt x="3" y="13"/>
                  </a:lnTo>
                  <a:lnTo>
                    <a:pt x="2" y="16"/>
                  </a:lnTo>
                  <a:lnTo>
                    <a:pt x="2" y="16"/>
                  </a:lnTo>
                  <a:lnTo>
                    <a:pt x="0" y="21"/>
                  </a:lnTo>
                  <a:lnTo>
                    <a:pt x="0" y="21"/>
                  </a:lnTo>
                  <a:lnTo>
                    <a:pt x="2" y="22"/>
                  </a:lnTo>
                  <a:lnTo>
                    <a:pt x="2" y="22"/>
                  </a:lnTo>
                  <a:lnTo>
                    <a:pt x="2" y="24"/>
                  </a:lnTo>
                  <a:lnTo>
                    <a:pt x="2" y="24"/>
                  </a:lnTo>
                  <a:lnTo>
                    <a:pt x="6" y="29"/>
                  </a:lnTo>
                  <a:lnTo>
                    <a:pt x="6" y="29"/>
                  </a:lnTo>
                  <a:lnTo>
                    <a:pt x="9" y="31"/>
                  </a:lnTo>
                  <a:lnTo>
                    <a:pt x="10" y="32"/>
                  </a:lnTo>
                  <a:lnTo>
                    <a:pt x="10" y="32"/>
                  </a:lnTo>
                  <a:lnTo>
                    <a:pt x="12" y="32"/>
                  </a:lnTo>
                  <a:lnTo>
                    <a:pt x="12" y="32"/>
                  </a:lnTo>
                  <a:lnTo>
                    <a:pt x="15" y="31"/>
                  </a:lnTo>
                  <a:lnTo>
                    <a:pt x="15" y="31"/>
                  </a:lnTo>
                  <a:lnTo>
                    <a:pt x="15" y="29"/>
                  </a:lnTo>
                  <a:lnTo>
                    <a:pt x="15" y="29"/>
                  </a:lnTo>
                  <a:lnTo>
                    <a:pt x="16" y="28"/>
                  </a:lnTo>
                  <a:lnTo>
                    <a:pt x="16" y="28"/>
                  </a:lnTo>
                  <a:lnTo>
                    <a:pt x="15" y="24"/>
                  </a:lnTo>
                  <a:lnTo>
                    <a:pt x="15" y="24"/>
                  </a:lnTo>
                  <a:lnTo>
                    <a:pt x="16" y="21"/>
                  </a:lnTo>
                  <a:lnTo>
                    <a:pt x="16" y="21"/>
                  </a:lnTo>
                  <a:lnTo>
                    <a:pt x="15" y="21"/>
                  </a:lnTo>
                  <a:lnTo>
                    <a:pt x="15" y="22"/>
                  </a:lnTo>
                  <a:lnTo>
                    <a:pt x="16" y="21"/>
                  </a:lnTo>
                  <a:lnTo>
                    <a:pt x="15" y="21"/>
                  </a:lnTo>
                  <a:lnTo>
                    <a:pt x="15" y="22"/>
                  </a:lnTo>
                  <a:lnTo>
                    <a:pt x="15" y="21"/>
                  </a:lnTo>
                  <a:lnTo>
                    <a:pt x="15" y="22"/>
                  </a:lnTo>
                  <a:lnTo>
                    <a:pt x="15" y="22"/>
                  </a:lnTo>
                  <a:lnTo>
                    <a:pt x="15" y="21"/>
                  </a:lnTo>
                  <a:lnTo>
                    <a:pt x="15" y="22"/>
                  </a:lnTo>
                  <a:lnTo>
                    <a:pt x="15" y="21"/>
                  </a:lnTo>
                  <a:lnTo>
                    <a:pt x="15" y="22"/>
                  </a:lnTo>
                  <a:lnTo>
                    <a:pt x="15" y="22"/>
                  </a:lnTo>
                  <a:lnTo>
                    <a:pt x="15" y="21"/>
                  </a:lnTo>
                  <a:lnTo>
                    <a:pt x="15" y="22"/>
                  </a:lnTo>
                  <a:lnTo>
                    <a:pt x="15" y="21"/>
                  </a:lnTo>
                  <a:lnTo>
                    <a:pt x="13" y="22"/>
                  </a:lnTo>
                  <a:lnTo>
                    <a:pt x="15" y="22"/>
                  </a:lnTo>
                  <a:lnTo>
                    <a:pt x="15" y="21"/>
                  </a:lnTo>
                  <a:lnTo>
                    <a:pt x="13" y="22"/>
                  </a:lnTo>
                  <a:lnTo>
                    <a:pt x="13" y="22"/>
                  </a:lnTo>
                  <a:lnTo>
                    <a:pt x="13" y="22"/>
                  </a:lnTo>
                  <a:lnTo>
                    <a:pt x="13" y="22"/>
                  </a:lnTo>
                  <a:lnTo>
                    <a:pt x="13" y="22"/>
                  </a:lnTo>
                  <a:lnTo>
                    <a:pt x="13" y="22"/>
                  </a:lnTo>
                  <a:lnTo>
                    <a:pt x="13" y="22"/>
                  </a:lnTo>
                  <a:lnTo>
                    <a:pt x="15" y="24"/>
                  </a:lnTo>
                  <a:lnTo>
                    <a:pt x="15" y="24"/>
                  </a:lnTo>
                  <a:lnTo>
                    <a:pt x="18" y="26"/>
                  </a:lnTo>
                  <a:lnTo>
                    <a:pt x="18" y="28"/>
                  </a:lnTo>
                  <a:lnTo>
                    <a:pt x="18" y="28"/>
                  </a:lnTo>
                  <a:lnTo>
                    <a:pt x="18" y="28"/>
                  </a:lnTo>
                  <a:lnTo>
                    <a:pt x="16" y="32"/>
                  </a:lnTo>
                  <a:lnTo>
                    <a:pt x="16" y="32"/>
                  </a:lnTo>
                  <a:lnTo>
                    <a:pt x="13" y="37"/>
                  </a:lnTo>
                  <a:lnTo>
                    <a:pt x="13" y="37"/>
                  </a:lnTo>
                  <a:lnTo>
                    <a:pt x="10" y="39"/>
                  </a:lnTo>
                  <a:lnTo>
                    <a:pt x="10" y="39"/>
                  </a:lnTo>
                  <a:lnTo>
                    <a:pt x="10" y="42"/>
                  </a:lnTo>
                  <a:lnTo>
                    <a:pt x="10" y="42"/>
                  </a:lnTo>
                  <a:lnTo>
                    <a:pt x="10" y="48"/>
                  </a:lnTo>
                  <a:lnTo>
                    <a:pt x="10" y="48"/>
                  </a:lnTo>
                  <a:lnTo>
                    <a:pt x="13" y="55"/>
                  </a:lnTo>
                  <a:lnTo>
                    <a:pt x="13" y="55"/>
                  </a:lnTo>
                  <a:lnTo>
                    <a:pt x="15" y="58"/>
                  </a:lnTo>
                  <a:lnTo>
                    <a:pt x="15" y="58"/>
                  </a:lnTo>
                  <a:lnTo>
                    <a:pt x="18" y="60"/>
                  </a:lnTo>
                  <a:lnTo>
                    <a:pt x="18" y="60"/>
                  </a:lnTo>
                  <a:lnTo>
                    <a:pt x="18" y="60"/>
                  </a:lnTo>
                  <a:lnTo>
                    <a:pt x="21" y="60"/>
                  </a:lnTo>
                  <a:lnTo>
                    <a:pt x="21" y="60"/>
                  </a:lnTo>
                  <a:lnTo>
                    <a:pt x="22" y="57"/>
                  </a:lnTo>
                  <a:lnTo>
                    <a:pt x="22" y="57"/>
                  </a:lnTo>
                  <a:lnTo>
                    <a:pt x="23" y="54"/>
                  </a:lnTo>
                  <a:lnTo>
                    <a:pt x="23" y="54"/>
                  </a:lnTo>
                  <a:lnTo>
                    <a:pt x="23" y="52"/>
                  </a:lnTo>
                  <a:lnTo>
                    <a:pt x="23" y="52"/>
                  </a:lnTo>
                  <a:lnTo>
                    <a:pt x="23" y="52"/>
                  </a:lnTo>
                  <a:lnTo>
                    <a:pt x="22" y="52"/>
                  </a:lnTo>
                  <a:lnTo>
                    <a:pt x="23" y="52"/>
                  </a:lnTo>
                  <a:lnTo>
                    <a:pt x="23" y="52"/>
                  </a:lnTo>
                  <a:lnTo>
                    <a:pt x="22" y="52"/>
                  </a:lnTo>
                  <a:lnTo>
                    <a:pt x="23" y="52"/>
                  </a:lnTo>
                  <a:lnTo>
                    <a:pt x="23" y="52"/>
                  </a:lnTo>
                  <a:lnTo>
                    <a:pt x="22" y="51"/>
                  </a:lnTo>
                  <a:lnTo>
                    <a:pt x="22" y="54"/>
                  </a:lnTo>
                  <a:lnTo>
                    <a:pt x="22" y="54"/>
                  </a:lnTo>
                  <a:lnTo>
                    <a:pt x="23" y="52"/>
                  </a:lnTo>
                  <a:lnTo>
                    <a:pt x="22" y="51"/>
                  </a:lnTo>
                  <a:lnTo>
                    <a:pt x="22" y="54"/>
                  </a:lnTo>
                  <a:lnTo>
                    <a:pt x="22" y="51"/>
                  </a:lnTo>
                  <a:lnTo>
                    <a:pt x="21" y="52"/>
                  </a:lnTo>
                  <a:lnTo>
                    <a:pt x="21" y="52"/>
                  </a:lnTo>
                  <a:lnTo>
                    <a:pt x="22" y="54"/>
                  </a:lnTo>
                  <a:lnTo>
                    <a:pt x="22" y="51"/>
                  </a:lnTo>
                  <a:lnTo>
                    <a:pt x="21" y="52"/>
                  </a:lnTo>
                  <a:lnTo>
                    <a:pt x="21" y="51"/>
                  </a:lnTo>
                  <a:lnTo>
                    <a:pt x="19" y="52"/>
                  </a:lnTo>
                  <a:lnTo>
                    <a:pt x="21" y="52"/>
                  </a:lnTo>
                  <a:lnTo>
                    <a:pt x="21" y="51"/>
                  </a:lnTo>
                  <a:lnTo>
                    <a:pt x="19" y="52"/>
                  </a:lnTo>
                  <a:lnTo>
                    <a:pt x="21" y="52"/>
                  </a:lnTo>
                  <a:lnTo>
                    <a:pt x="19" y="52"/>
                  </a:lnTo>
                  <a:lnTo>
                    <a:pt x="19" y="52"/>
                  </a:lnTo>
                  <a:lnTo>
                    <a:pt x="21" y="52"/>
                  </a:lnTo>
                  <a:lnTo>
                    <a:pt x="19" y="52"/>
                  </a:lnTo>
                  <a:lnTo>
                    <a:pt x="19" y="52"/>
                  </a:lnTo>
                  <a:lnTo>
                    <a:pt x="21" y="54"/>
                  </a:lnTo>
                  <a:lnTo>
                    <a:pt x="21" y="54"/>
                  </a:lnTo>
                  <a:lnTo>
                    <a:pt x="21" y="58"/>
                  </a:lnTo>
                  <a:lnTo>
                    <a:pt x="21" y="58"/>
                  </a:lnTo>
                  <a:lnTo>
                    <a:pt x="22" y="60"/>
                  </a:lnTo>
                  <a:lnTo>
                    <a:pt x="22" y="60"/>
                  </a:lnTo>
                  <a:lnTo>
                    <a:pt x="25" y="61"/>
                  </a:lnTo>
                  <a:lnTo>
                    <a:pt x="26" y="61"/>
                  </a:lnTo>
                  <a:lnTo>
                    <a:pt x="26"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96" name="Freeform 1290"/>
            <p:cNvSpPr>
              <a:spLocks/>
            </p:cNvSpPr>
            <p:nvPr/>
          </p:nvSpPr>
          <p:spPr bwMode="auto">
            <a:xfrm>
              <a:off x="7691438" y="3787776"/>
              <a:ext cx="63500" cy="53975"/>
            </a:xfrm>
            <a:custGeom>
              <a:avLst/>
              <a:gdLst>
                <a:gd name="T0" fmla="*/ 10 w 40"/>
                <a:gd name="T1" fmla="*/ 34 h 34"/>
                <a:gd name="T2" fmla="*/ 10 w 40"/>
                <a:gd name="T3" fmla="*/ 34 h 34"/>
                <a:gd name="T4" fmla="*/ 7 w 40"/>
                <a:gd name="T5" fmla="*/ 31 h 34"/>
                <a:gd name="T6" fmla="*/ 5 w 40"/>
                <a:gd name="T7" fmla="*/ 27 h 34"/>
                <a:gd name="T8" fmla="*/ 5 w 40"/>
                <a:gd name="T9" fmla="*/ 24 h 34"/>
                <a:gd name="T10" fmla="*/ 4 w 40"/>
                <a:gd name="T11" fmla="*/ 21 h 34"/>
                <a:gd name="T12" fmla="*/ 4 w 40"/>
                <a:gd name="T13" fmla="*/ 21 h 34"/>
                <a:gd name="T14" fmla="*/ 1 w 40"/>
                <a:gd name="T15" fmla="*/ 21 h 34"/>
                <a:gd name="T16" fmla="*/ 0 w 40"/>
                <a:gd name="T17" fmla="*/ 20 h 34"/>
                <a:gd name="T18" fmla="*/ 0 w 40"/>
                <a:gd name="T19" fmla="*/ 20 h 34"/>
                <a:gd name="T20" fmla="*/ 0 w 40"/>
                <a:gd name="T21" fmla="*/ 20 h 34"/>
                <a:gd name="T22" fmla="*/ 10 w 40"/>
                <a:gd name="T23" fmla="*/ 8 h 34"/>
                <a:gd name="T24" fmla="*/ 10 w 40"/>
                <a:gd name="T25" fmla="*/ 8 h 34"/>
                <a:gd name="T26" fmla="*/ 11 w 40"/>
                <a:gd name="T27" fmla="*/ 8 h 34"/>
                <a:gd name="T28" fmla="*/ 14 w 40"/>
                <a:gd name="T29" fmla="*/ 8 h 34"/>
                <a:gd name="T30" fmla="*/ 16 w 40"/>
                <a:gd name="T31" fmla="*/ 10 h 34"/>
                <a:gd name="T32" fmla="*/ 18 w 40"/>
                <a:gd name="T33" fmla="*/ 10 h 34"/>
                <a:gd name="T34" fmla="*/ 18 w 40"/>
                <a:gd name="T35" fmla="*/ 10 h 34"/>
                <a:gd name="T36" fmla="*/ 23 w 40"/>
                <a:gd name="T37" fmla="*/ 8 h 34"/>
                <a:gd name="T38" fmla="*/ 24 w 40"/>
                <a:gd name="T39" fmla="*/ 5 h 34"/>
                <a:gd name="T40" fmla="*/ 26 w 40"/>
                <a:gd name="T41" fmla="*/ 1 h 34"/>
                <a:gd name="T42" fmla="*/ 29 w 40"/>
                <a:gd name="T43" fmla="*/ 0 h 34"/>
                <a:gd name="T44" fmla="*/ 29 w 40"/>
                <a:gd name="T45" fmla="*/ 0 h 34"/>
                <a:gd name="T46" fmla="*/ 32 w 40"/>
                <a:gd name="T47" fmla="*/ 0 h 34"/>
                <a:gd name="T48" fmla="*/ 34 w 40"/>
                <a:gd name="T49" fmla="*/ 1 h 34"/>
                <a:gd name="T50" fmla="*/ 40 w 40"/>
                <a:gd name="T51" fmla="*/ 5 h 34"/>
                <a:gd name="T52" fmla="*/ 40 w 40"/>
                <a:gd name="T53" fmla="*/ 5 h 34"/>
                <a:gd name="T54" fmla="*/ 40 w 40"/>
                <a:gd name="T55" fmla="*/ 8 h 34"/>
                <a:gd name="T56" fmla="*/ 37 w 40"/>
                <a:gd name="T57" fmla="*/ 13 h 34"/>
                <a:gd name="T58" fmla="*/ 34 w 40"/>
                <a:gd name="T59" fmla="*/ 17 h 34"/>
                <a:gd name="T60" fmla="*/ 33 w 40"/>
                <a:gd name="T61" fmla="*/ 18 h 34"/>
                <a:gd name="T62" fmla="*/ 33 w 40"/>
                <a:gd name="T63" fmla="*/ 18 h 34"/>
                <a:gd name="T64" fmla="*/ 27 w 40"/>
                <a:gd name="T65" fmla="*/ 17 h 34"/>
                <a:gd name="T66" fmla="*/ 23 w 40"/>
                <a:gd name="T67" fmla="*/ 17 h 34"/>
                <a:gd name="T68" fmla="*/ 20 w 40"/>
                <a:gd name="T69" fmla="*/ 18 h 34"/>
                <a:gd name="T70" fmla="*/ 20 w 40"/>
                <a:gd name="T71" fmla="*/ 18 h 34"/>
                <a:gd name="T72" fmla="*/ 16 w 40"/>
                <a:gd name="T73" fmla="*/ 29 h 34"/>
                <a:gd name="T74" fmla="*/ 13 w 40"/>
                <a:gd name="T75" fmla="*/ 33 h 34"/>
                <a:gd name="T76" fmla="*/ 11 w 40"/>
                <a:gd name="T77" fmla="*/ 34 h 34"/>
                <a:gd name="T78" fmla="*/ 10 w 40"/>
                <a:gd name="T7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 h="34">
                  <a:moveTo>
                    <a:pt x="10" y="34"/>
                  </a:moveTo>
                  <a:lnTo>
                    <a:pt x="10" y="34"/>
                  </a:lnTo>
                  <a:lnTo>
                    <a:pt x="7" y="31"/>
                  </a:lnTo>
                  <a:lnTo>
                    <a:pt x="5" y="27"/>
                  </a:lnTo>
                  <a:lnTo>
                    <a:pt x="5" y="24"/>
                  </a:lnTo>
                  <a:lnTo>
                    <a:pt x="4" y="21"/>
                  </a:lnTo>
                  <a:lnTo>
                    <a:pt x="4" y="21"/>
                  </a:lnTo>
                  <a:lnTo>
                    <a:pt x="1" y="21"/>
                  </a:lnTo>
                  <a:lnTo>
                    <a:pt x="0" y="20"/>
                  </a:lnTo>
                  <a:lnTo>
                    <a:pt x="0" y="20"/>
                  </a:lnTo>
                  <a:lnTo>
                    <a:pt x="0" y="20"/>
                  </a:lnTo>
                  <a:lnTo>
                    <a:pt x="10" y="8"/>
                  </a:lnTo>
                  <a:lnTo>
                    <a:pt x="10" y="8"/>
                  </a:lnTo>
                  <a:lnTo>
                    <a:pt x="11" y="8"/>
                  </a:lnTo>
                  <a:lnTo>
                    <a:pt x="14" y="8"/>
                  </a:lnTo>
                  <a:lnTo>
                    <a:pt x="16" y="10"/>
                  </a:lnTo>
                  <a:lnTo>
                    <a:pt x="18" y="10"/>
                  </a:lnTo>
                  <a:lnTo>
                    <a:pt x="18" y="10"/>
                  </a:lnTo>
                  <a:lnTo>
                    <a:pt x="23" y="8"/>
                  </a:lnTo>
                  <a:lnTo>
                    <a:pt x="24" y="5"/>
                  </a:lnTo>
                  <a:lnTo>
                    <a:pt x="26" y="1"/>
                  </a:lnTo>
                  <a:lnTo>
                    <a:pt x="29" y="0"/>
                  </a:lnTo>
                  <a:lnTo>
                    <a:pt x="29" y="0"/>
                  </a:lnTo>
                  <a:lnTo>
                    <a:pt x="32" y="0"/>
                  </a:lnTo>
                  <a:lnTo>
                    <a:pt x="34" y="1"/>
                  </a:lnTo>
                  <a:lnTo>
                    <a:pt x="40" y="5"/>
                  </a:lnTo>
                  <a:lnTo>
                    <a:pt x="40" y="5"/>
                  </a:lnTo>
                  <a:lnTo>
                    <a:pt x="40" y="8"/>
                  </a:lnTo>
                  <a:lnTo>
                    <a:pt x="37" y="13"/>
                  </a:lnTo>
                  <a:lnTo>
                    <a:pt x="34" y="17"/>
                  </a:lnTo>
                  <a:lnTo>
                    <a:pt x="33" y="18"/>
                  </a:lnTo>
                  <a:lnTo>
                    <a:pt x="33" y="18"/>
                  </a:lnTo>
                  <a:lnTo>
                    <a:pt x="27" y="17"/>
                  </a:lnTo>
                  <a:lnTo>
                    <a:pt x="23" y="17"/>
                  </a:lnTo>
                  <a:lnTo>
                    <a:pt x="20" y="18"/>
                  </a:lnTo>
                  <a:lnTo>
                    <a:pt x="20" y="18"/>
                  </a:lnTo>
                  <a:lnTo>
                    <a:pt x="16" y="29"/>
                  </a:lnTo>
                  <a:lnTo>
                    <a:pt x="13" y="33"/>
                  </a:lnTo>
                  <a:lnTo>
                    <a:pt x="11" y="34"/>
                  </a:lnTo>
                  <a:lnTo>
                    <a:pt x="10" y="34"/>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97" name="Freeform 1291"/>
            <p:cNvSpPr>
              <a:spLocks/>
            </p:cNvSpPr>
            <p:nvPr/>
          </p:nvSpPr>
          <p:spPr bwMode="auto">
            <a:xfrm>
              <a:off x="7691438" y="3787776"/>
              <a:ext cx="63500" cy="53975"/>
            </a:xfrm>
            <a:custGeom>
              <a:avLst/>
              <a:gdLst>
                <a:gd name="T0" fmla="*/ 10 w 40"/>
                <a:gd name="T1" fmla="*/ 34 h 34"/>
                <a:gd name="T2" fmla="*/ 10 w 40"/>
                <a:gd name="T3" fmla="*/ 34 h 34"/>
                <a:gd name="T4" fmla="*/ 7 w 40"/>
                <a:gd name="T5" fmla="*/ 31 h 34"/>
                <a:gd name="T6" fmla="*/ 5 w 40"/>
                <a:gd name="T7" fmla="*/ 27 h 34"/>
                <a:gd name="T8" fmla="*/ 5 w 40"/>
                <a:gd name="T9" fmla="*/ 24 h 34"/>
                <a:gd name="T10" fmla="*/ 4 w 40"/>
                <a:gd name="T11" fmla="*/ 21 h 34"/>
                <a:gd name="T12" fmla="*/ 4 w 40"/>
                <a:gd name="T13" fmla="*/ 21 h 34"/>
                <a:gd name="T14" fmla="*/ 1 w 40"/>
                <a:gd name="T15" fmla="*/ 21 h 34"/>
                <a:gd name="T16" fmla="*/ 0 w 40"/>
                <a:gd name="T17" fmla="*/ 20 h 34"/>
                <a:gd name="T18" fmla="*/ 0 w 40"/>
                <a:gd name="T19" fmla="*/ 20 h 34"/>
                <a:gd name="T20" fmla="*/ 0 w 40"/>
                <a:gd name="T21" fmla="*/ 20 h 34"/>
                <a:gd name="T22" fmla="*/ 10 w 40"/>
                <a:gd name="T23" fmla="*/ 8 h 34"/>
                <a:gd name="T24" fmla="*/ 10 w 40"/>
                <a:gd name="T25" fmla="*/ 8 h 34"/>
                <a:gd name="T26" fmla="*/ 11 w 40"/>
                <a:gd name="T27" fmla="*/ 8 h 34"/>
                <a:gd name="T28" fmla="*/ 14 w 40"/>
                <a:gd name="T29" fmla="*/ 8 h 34"/>
                <a:gd name="T30" fmla="*/ 16 w 40"/>
                <a:gd name="T31" fmla="*/ 10 h 34"/>
                <a:gd name="T32" fmla="*/ 18 w 40"/>
                <a:gd name="T33" fmla="*/ 10 h 34"/>
                <a:gd name="T34" fmla="*/ 18 w 40"/>
                <a:gd name="T35" fmla="*/ 10 h 34"/>
                <a:gd name="T36" fmla="*/ 23 w 40"/>
                <a:gd name="T37" fmla="*/ 8 h 34"/>
                <a:gd name="T38" fmla="*/ 24 w 40"/>
                <a:gd name="T39" fmla="*/ 5 h 34"/>
                <a:gd name="T40" fmla="*/ 26 w 40"/>
                <a:gd name="T41" fmla="*/ 1 h 34"/>
                <a:gd name="T42" fmla="*/ 29 w 40"/>
                <a:gd name="T43" fmla="*/ 0 h 34"/>
                <a:gd name="T44" fmla="*/ 29 w 40"/>
                <a:gd name="T45" fmla="*/ 0 h 34"/>
                <a:gd name="T46" fmla="*/ 32 w 40"/>
                <a:gd name="T47" fmla="*/ 0 h 34"/>
                <a:gd name="T48" fmla="*/ 34 w 40"/>
                <a:gd name="T49" fmla="*/ 1 h 34"/>
                <a:gd name="T50" fmla="*/ 40 w 40"/>
                <a:gd name="T51" fmla="*/ 5 h 34"/>
                <a:gd name="T52" fmla="*/ 40 w 40"/>
                <a:gd name="T53" fmla="*/ 5 h 34"/>
                <a:gd name="T54" fmla="*/ 40 w 40"/>
                <a:gd name="T55" fmla="*/ 8 h 34"/>
                <a:gd name="T56" fmla="*/ 37 w 40"/>
                <a:gd name="T57" fmla="*/ 13 h 34"/>
                <a:gd name="T58" fmla="*/ 34 w 40"/>
                <a:gd name="T59" fmla="*/ 17 h 34"/>
                <a:gd name="T60" fmla="*/ 33 w 40"/>
                <a:gd name="T61" fmla="*/ 18 h 34"/>
                <a:gd name="T62" fmla="*/ 33 w 40"/>
                <a:gd name="T63" fmla="*/ 18 h 34"/>
                <a:gd name="T64" fmla="*/ 27 w 40"/>
                <a:gd name="T65" fmla="*/ 17 h 34"/>
                <a:gd name="T66" fmla="*/ 23 w 40"/>
                <a:gd name="T67" fmla="*/ 17 h 34"/>
                <a:gd name="T68" fmla="*/ 20 w 40"/>
                <a:gd name="T69" fmla="*/ 18 h 34"/>
                <a:gd name="T70" fmla="*/ 20 w 40"/>
                <a:gd name="T71" fmla="*/ 18 h 34"/>
                <a:gd name="T72" fmla="*/ 16 w 40"/>
                <a:gd name="T73" fmla="*/ 29 h 34"/>
                <a:gd name="T74" fmla="*/ 13 w 40"/>
                <a:gd name="T75" fmla="*/ 33 h 34"/>
                <a:gd name="T76" fmla="*/ 11 w 40"/>
                <a:gd name="T77" fmla="*/ 34 h 34"/>
                <a:gd name="T78" fmla="*/ 10 w 40"/>
                <a:gd name="T7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 h="34">
                  <a:moveTo>
                    <a:pt x="10" y="34"/>
                  </a:moveTo>
                  <a:lnTo>
                    <a:pt x="10" y="34"/>
                  </a:lnTo>
                  <a:lnTo>
                    <a:pt x="7" y="31"/>
                  </a:lnTo>
                  <a:lnTo>
                    <a:pt x="5" y="27"/>
                  </a:lnTo>
                  <a:lnTo>
                    <a:pt x="5" y="24"/>
                  </a:lnTo>
                  <a:lnTo>
                    <a:pt x="4" y="21"/>
                  </a:lnTo>
                  <a:lnTo>
                    <a:pt x="4" y="21"/>
                  </a:lnTo>
                  <a:lnTo>
                    <a:pt x="1" y="21"/>
                  </a:lnTo>
                  <a:lnTo>
                    <a:pt x="0" y="20"/>
                  </a:lnTo>
                  <a:lnTo>
                    <a:pt x="0" y="20"/>
                  </a:lnTo>
                  <a:lnTo>
                    <a:pt x="0" y="20"/>
                  </a:lnTo>
                  <a:lnTo>
                    <a:pt x="10" y="8"/>
                  </a:lnTo>
                  <a:lnTo>
                    <a:pt x="10" y="8"/>
                  </a:lnTo>
                  <a:lnTo>
                    <a:pt x="11" y="8"/>
                  </a:lnTo>
                  <a:lnTo>
                    <a:pt x="14" y="8"/>
                  </a:lnTo>
                  <a:lnTo>
                    <a:pt x="16" y="10"/>
                  </a:lnTo>
                  <a:lnTo>
                    <a:pt x="18" y="10"/>
                  </a:lnTo>
                  <a:lnTo>
                    <a:pt x="18" y="10"/>
                  </a:lnTo>
                  <a:lnTo>
                    <a:pt x="23" y="8"/>
                  </a:lnTo>
                  <a:lnTo>
                    <a:pt x="24" y="5"/>
                  </a:lnTo>
                  <a:lnTo>
                    <a:pt x="26" y="1"/>
                  </a:lnTo>
                  <a:lnTo>
                    <a:pt x="29" y="0"/>
                  </a:lnTo>
                  <a:lnTo>
                    <a:pt x="29" y="0"/>
                  </a:lnTo>
                  <a:lnTo>
                    <a:pt x="32" y="0"/>
                  </a:lnTo>
                  <a:lnTo>
                    <a:pt x="34" y="1"/>
                  </a:lnTo>
                  <a:lnTo>
                    <a:pt x="40" y="5"/>
                  </a:lnTo>
                  <a:lnTo>
                    <a:pt x="40" y="5"/>
                  </a:lnTo>
                  <a:lnTo>
                    <a:pt x="40" y="8"/>
                  </a:lnTo>
                  <a:lnTo>
                    <a:pt x="37" y="13"/>
                  </a:lnTo>
                  <a:lnTo>
                    <a:pt x="34" y="17"/>
                  </a:lnTo>
                  <a:lnTo>
                    <a:pt x="33" y="18"/>
                  </a:lnTo>
                  <a:lnTo>
                    <a:pt x="33" y="18"/>
                  </a:lnTo>
                  <a:lnTo>
                    <a:pt x="27" y="17"/>
                  </a:lnTo>
                  <a:lnTo>
                    <a:pt x="23" y="17"/>
                  </a:lnTo>
                  <a:lnTo>
                    <a:pt x="20" y="18"/>
                  </a:lnTo>
                  <a:lnTo>
                    <a:pt x="20" y="18"/>
                  </a:lnTo>
                  <a:lnTo>
                    <a:pt x="16" y="29"/>
                  </a:lnTo>
                  <a:lnTo>
                    <a:pt x="13" y="33"/>
                  </a:lnTo>
                  <a:lnTo>
                    <a:pt x="11" y="34"/>
                  </a:lnTo>
                  <a:lnTo>
                    <a:pt x="10" y="34"/>
                  </a:lnTo>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98" name="Freeform 1292"/>
            <p:cNvSpPr>
              <a:spLocks/>
            </p:cNvSpPr>
            <p:nvPr/>
          </p:nvSpPr>
          <p:spPr bwMode="auto">
            <a:xfrm>
              <a:off x="7650163" y="3557588"/>
              <a:ext cx="292100" cy="261938"/>
            </a:xfrm>
            <a:custGeom>
              <a:avLst/>
              <a:gdLst>
                <a:gd name="T0" fmla="*/ 78 w 184"/>
                <a:gd name="T1" fmla="*/ 145 h 165"/>
                <a:gd name="T2" fmla="*/ 49 w 184"/>
                <a:gd name="T3" fmla="*/ 140 h 165"/>
                <a:gd name="T4" fmla="*/ 31 w 184"/>
                <a:gd name="T5" fmla="*/ 146 h 165"/>
                <a:gd name="T6" fmla="*/ 20 w 184"/>
                <a:gd name="T7" fmla="*/ 147 h 165"/>
                <a:gd name="T8" fmla="*/ 5 w 184"/>
                <a:gd name="T9" fmla="*/ 150 h 165"/>
                <a:gd name="T10" fmla="*/ 20 w 184"/>
                <a:gd name="T11" fmla="*/ 139 h 165"/>
                <a:gd name="T12" fmla="*/ 65 w 184"/>
                <a:gd name="T13" fmla="*/ 118 h 165"/>
                <a:gd name="T14" fmla="*/ 91 w 184"/>
                <a:gd name="T15" fmla="*/ 117 h 165"/>
                <a:gd name="T16" fmla="*/ 105 w 184"/>
                <a:gd name="T17" fmla="*/ 87 h 165"/>
                <a:gd name="T18" fmla="*/ 102 w 184"/>
                <a:gd name="T19" fmla="*/ 84 h 165"/>
                <a:gd name="T20" fmla="*/ 126 w 184"/>
                <a:gd name="T21" fmla="*/ 87 h 165"/>
                <a:gd name="T22" fmla="*/ 150 w 184"/>
                <a:gd name="T23" fmla="*/ 33 h 165"/>
                <a:gd name="T24" fmla="*/ 155 w 184"/>
                <a:gd name="T25" fmla="*/ 30 h 165"/>
                <a:gd name="T26" fmla="*/ 153 w 184"/>
                <a:gd name="T27" fmla="*/ 20 h 165"/>
                <a:gd name="T28" fmla="*/ 156 w 184"/>
                <a:gd name="T29" fmla="*/ 8 h 165"/>
                <a:gd name="T30" fmla="*/ 156 w 184"/>
                <a:gd name="T31" fmla="*/ 8 h 165"/>
                <a:gd name="T32" fmla="*/ 170 w 184"/>
                <a:gd name="T33" fmla="*/ 8 h 165"/>
                <a:gd name="T34" fmla="*/ 166 w 184"/>
                <a:gd name="T35" fmla="*/ 7 h 165"/>
                <a:gd name="T36" fmla="*/ 175 w 184"/>
                <a:gd name="T37" fmla="*/ 23 h 165"/>
                <a:gd name="T38" fmla="*/ 173 w 184"/>
                <a:gd name="T39" fmla="*/ 58 h 165"/>
                <a:gd name="T40" fmla="*/ 173 w 184"/>
                <a:gd name="T41" fmla="*/ 62 h 165"/>
                <a:gd name="T42" fmla="*/ 165 w 184"/>
                <a:gd name="T43" fmla="*/ 71 h 165"/>
                <a:gd name="T44" fmla="*/ 162 w 184"/>
                <a:gd name="T45" fmla="*/ 104 h 165"/>
                <a:gd name="T46" fmla="*/ 163 w 184"/>
                <a:gd name="T47" fmla="*/ 118 h 165"/>
                <a:gd name="T48" fmla="*/ 155 w 184"/>
                <a:gd name="T49" fmla="*/ 133 h 165"/>
                <a:gd name="T50" fmla="*/ 153 w 184"/>
                <a:gd name="T51" fmla="*/ 124 h 165"/>
                <a:gd name="T52" fmla="*/ 144 w 184"/>
                <a:gd name="T53" fmla="*/ 120 h 165"/>
                <a:gd name="T54" fmla="*/ 136 w 184"/>
                <a:gd name="T55" fmla="*/ 134 h 165"/>
                <a:gd name="T56" fmla="*/ 137 w 184"/>
                <a:gd name="T57" fmla="*/ 134 h 165"/>
                <a:gd name="T58" fmla="*/ 127 w 184"/>
                <a:gd name="T59" fmla="*/ 134 h 165"/>
                <a:gd name="T60" fmla="*/ 108 w 184"/>
                <a:gd name="T61" fmla="*/ 139 h 165"/>
                <a:gd name="T62" fmla="*/ 100 w 184"/>
                <a:gd name="T63" fmla="*/ 142 h 165"/>
                <a:gd name="T64" fmla="*/ 84 w 184"/>
                <a:gd name="T65" fmla="*/ 159 h 165"/>
                <a:gd name="T66" fmla="*/ 102 w 184"/>
                <a:gd name="T67" fmla="*/ 147 h 165"/>
                <a:gd name="T68" fmla="*/ 104 w 184"/>
                <a:gd name="T69" fmla="*/ 139 h 165"/>
                <a:gd name="T70" fmla="*/ 117 w 184"/>
                <a:gd name="T71" fmla="*/ 145 h 165"/>
                <a:gd name="T72" fmla="*/ 133 w 184"/>
                <a:gd name="T73" fmla="*/ 132 h 165"/>
                <a:gd name="T74" fmla="*/ 133 w 184"/>
                <a:gd name="T75" fmla="*/ 139 h 165"/>
                <a:gd name="T76" fmla="*/ 143 w 184"/>
                <a:gd name="T77" fmla="*/ 126 h 165"/>
                <a:gd name="T78" fmla="*/ 152 w 184"/>
                <a:gd name="T79" fmla="*/ 120 h 165"/>
                <a:gd name="T80" fmla="*/ 147 w 184"/>
                <a:gd name="T81" fmla="*/ 124 h 165"/>
                <a:gd name="T82" fmla="*/ 165 w 184"/>
                <a:gd name="T83" fmla="*/ 123 h 165"/>
                <a:gd name="T84" fmla="*/ 170 w 184"/>
                <a:gd name="T85" fmla="*/ 87 h 165"/>
                <a:gd name="T86" fmla="*/ 175 w 184"/>
                <a:gd name="T87" fmla="*/ 66 h 165"/>
                <a:gd name="T88" fmla="*/ 181 w 184"/>
                <a:gd name="T89" fmla="*/ 23 h 165"/>
                <a:gd name="T90" fmla="*/ 168 w 184"/>
                <a:gd name="T91" fmla="*/ 0 h 165"/>
                <a:gd name="T92" fmla="*/ 168 w 184"/>
                <a:gd name="T93" fmla="*/ 8 h 165"/>
                <a:gd name="T94" fmla="*/ 166 w 184"/>
                <a:gd name="T95" fmla="*/ 13 h 165"/>
                <a:gd name="T96" fmla="*/ 160 w 184"/>
                <a:gd name="T97" fmla="*/ 5 h 165"/>
                <a:gd name="T98" fmla="*/ 149 w 184"/>
                <a:gd name="T99" fmla="*/ 23 h 165"/>
                <a:gd name="T100" fmla="*/ 147 w 184"/>
                <a:gd name="T101" fmla="*/ 32 h 165"/>
                <a:gd name="T102" fmla="*/ 143 w 184"/>
                <a:gd name="T103" fmla="*/ 61 h 165"/>
                <a:gd name="T104" fmla="*/ 104 w 184"/>
                <a:gd name="T105" fmla="*/ 95 h 165"/>
                <a:gd name="T106" fmla="*/ 104 w 184"/>
                <a:gd name="T107" fmla="*/ 81 h 165"/>
                <a:gd name="T108" fmla="*/ 85 w 184"/>
                <a:gd name="T109" fmla="*/ 116 h 165"/>
                <a:gd name="T110" fmla="*/ 81 w 184"/>
                <a:gd name="T111" fmla="*/ 118 h 165"/>
                <a:gd name="T112" fmla="*/ 31 w 184"/>
                <a:gd name="T113" fmla="*/ 121 h 165"/>
                <a:gd name="T114" fmla="*/ 2 w 184"/>
                <a:gd name="T115" fmla="*/ 153 h 165"/>
                <a:gd name="T116" fmla="*/ 27 w 184"/>
                <a:gd name="T117" fmla="*/ 150 h 165"/>
                <a:gd name="T118" fmla="*/ 40 w 184"/>
                <a:gd name="T119" fmla="*/ 150 h 165"/>
                <a:gd name="T120" fmla="*/ 44 w 184"/>
                <a:gd name="T121" fmla="*/ 145 h 165"/>
                <a:gd name="T122" fmla="*/ 73 w 184"/>
                <a:gd name="T123" fmla="*/ 143 h 165"/>
                <a:gd name="T124" fmla="*/ 69 w 184"/>
                <a:gd name="T125" fmla="*/ 15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4" h="165">
                  <a:moveTo>
                    <a:pt x="82" y="162"/>
                  </a:moveTo>
                  <a:lnTo>
                    <a:pt x="82" y="159"/>
                  </a:lnTo>
                  <a:lnTo>
                    <a:pt x="82" y="159"/>
                  </a:lnTo>
                  <a:lnTo>
                    <a:pt x="78" y="159"/>
                  </a:lnTo>
                  <a:lnTo>
                    <a:pt x="78" y="159"/>
                  </a:lnTo>
                  <a:lnTo>
                    <a:pt x="76" y="156"/>
                  </a:lnTo>
                  <a:lnTo>
                    <a:pt x="76" y="156"/>
                  </a:lnTo>
                  <a:lnTo>
                    <a:pt x="73" y="150"/>
                  </a:lnTo>
                  <a:lnTo>
                    <a:pt x="73" y="149"/>
                  </a:lnTo>
                  <a:lnTo>
                    <a:pt x="73" y="149"/>
                  </a:lnTo>
                  <a:lnTo>
                    <a:pt x="73" y="149"/>
                  </a:lnTo>
                  <a:lnTo>
                    <a:pt x="73" y="149"/>
                  </a:lnTo>
                  <a:lnTo>
                    <a:pt x="73" y="149"/>
                  </a:lnTo>
                  <a:lnTo>
                    <a:pt x="73" y="149"/>
                  </a:lnTo>
                  <a:lnTo>
                    <a:pt x="73" y="149"/>
                  </a:lnTo>
                  <a:lnTo>
                    <a:pt x="73" y="149"/>
                  </a:lnTo>
                  <a:lnTo>
                    <a:pt x="76" y="147"/>
                  </a:lnTo>
                  <a:lnTo>
                    <a:pt x="76" y="147"/>
                  </a:lnTo>
                  <a:lnTo>
                    <a:pt x="78" y="145"/>
                  </a:lnTo>
                  <a:lnTo>
                    <a:pt x="78" y="145"/>
                  </a:lnTo>
                  <a:lnTo>
                    <a:pt x="79" y="142"/>
                  </a:lnTo>
                  <a:lnTo>
                    <a:pt x="79" y="142"/>
                  </a:lnTo>
                  <a:lnTo>
                    <a:pt x="78" y="140"/>
                  </a:lnTo>
                  <a:lnTo>
                    <a:pt x="76" y="139"/>
                  </a:lnTo>
                  <a:lnTo>
                    <a:pt x="76" y="139"/>
                  </a:lnTo>
                  <a:lnTo>
                    <a:pt x="72" y="136"/>
                  </a:lnTo>
                  <a:lnTo>
                    <a:pt x="68" y="134"/>
                  </a:lnTo>
                  <a:lnTo>
                    <a:pt x="68" y="134"/>
                  </a:lnTo>
                  <a:lnTo>
                    <a:pt x="65" y="136"/>
                  </a:lnTo>
                  <a:lnTo>
                    <a:pt x="65" y="136"/>
                  </a:lnTo>
                  <a:lnTo>
                    <a:pt x="59" y="136"/>
                  </a:lnTo>
                  <a:lnTo>
                    <a:pt x="59" y="136"/>
                  </a:lnTo>
                  <a:lnTo>
                    <a:pt x="56" y="137"/>
                  </a:lnTo>
                  <a:lnTo>
                    <a:pt x="56" y="137"/>
                  </a:lnTo>
                  <a:lnTo>
                    <a:pt x="53" y="137"/>
                  </a:lnTo>
                  <a:lnTo>
                    <a:pt x="53" y="137"/>
                  </a:lnTo>
                  <a:lnTo>
                    <a:pt x="52" y="139"/>
                  </a:lnTo>
                  <a:lnTo>
                    <a:pt x="52" y="139"/>
                  </a:lnTo>
                  <a:lnTo>
                    <a:pt x="49" y="140"/>
                  </a:lnTo>
                  <a:lnTo>
                    <a:pt x="49" y="140"/>
                  </a:lnTo>
                  <a:lnTo>
                    <a:pt x="46" y="142"/>
                  </a:lnTo>
                  <a:lnTo>
                    <a:pt x="46" y="142"/>
                  </a:lnTo>
                  <a:lnTo>
                    <a:pt x="46" y="142"/>
                  </a:lnTo>
                  <a:lnTo>
                    <a:pt x="44" y="140"/>
                  </a:lnTo>
                  <a:lnTo>
                    <a:pt x="44" y="140"/>
                  </a:lnTo>
                  <a:lnTo>
                    <a:pt x="40" y="142"/>
                  </a:lnTo>
                  <a:lnTo>
                    <a:pt x="40" y="142"/>
                  </a:lnTo>
                  <a:lnTo>
                    <a:pt x="39" y="145"/>
                  </a:lnTo>
                  <a:lnTo>
                    <a:pt x="37" y="146"/>
                  </a:lnTo>
                  <a:lnTo>
                    <a:pt x="37" y="146"/>
                  </a:lnTo>
                  <a:lnTo>
                    <a:pt x="39" y="147"/>
                  </a:lnTo>
                  <a:lnTo>
                    <a:pt x="39" y="146"/>
                  </a:lnTo>
                  <a:lnTo>
                    <a:pt x="39" y="146"/>
                  </a:lnTo>
                  <a:lnTo>
                    <a:pt x="37" y="146"/>
                  </a:lnTo>
                  <a:lnTo>
                    <a:pt x="39" y="147"/>
                  </a:lnTo>
                  <a:lnTo>
                    <a:pt x="39" y="146"/>
                  </a:lnTo>
                  <a:lnTo>
                    <a:pt x="39" y="146"/>
                  </a:lnTo>
                  <a:lnTo>
                    <a:pt x="37" y="146"/>
                  </a:lnTo>
                  <a:lnTo>
                    <a:pt x="37" y="146"/>
                  </a:lnTo>
                  <a:lnTo>
                    <a:pt x="31" y="146"/>
                  </a:lnTo>
                  <a:lnTo>
                    <a:pt x="31" y="146"/>
                  </a:lnTo>
                  <a:lnTo>
                    <a:pt x="31" y="146"/>
                  </a:lnTo>
                  <a:lnTo>
                    <a:pt x="31" y="147"/>
                  </a:lnTo>
                  <a:lnTo>
                    <a:pt x="31" y="146"/>
                  </a:lnTo>
                  <a:lnTo>
                    <a:pt x="31" y="146"/>
                  </a:lnTo>
                  <a:lnTo>
                    <a:pt x="31" y="147"/>
                  </a:lnTo>
                  <a:lnTo>
                    <a:pt x="31" y="146"/>
                  </a:lnTo>
                  <a:lnTo>
                    <a:pt x="31" y="146"/>
                  </a:lnTo>
                  <a:lnTo>
                    <a:pt x="29" y="146"/>
                  </a:lnTo>
                  <a:lnTo>
                    <a:pt x="29" y="146"/>
                  </a:lnTo>
                  <a:lnTo>
                    <a:pt x="27" y="145"/>
                  </a:lnTo>
                  <a:lnTo>
                    <a:pt x="27" y="145"/>
                  </a:lnTo>
                  <a:lnTo>
                    <a:pt x="23" y="146"/>
                  </a:lnTo>
                  <a:lnTo>
                    <a:pt x="23" y="146"/>
                  </a:lnTo>
                  <a:lnTo>
                    <a:pt x="20" y="147"/>
                  </a:lnTo>
                  <a:lnTo>
                    <a:pt x="20" y="147"/>
                  </a:lnTo>
                  <a:lnTo>
                    <a:pt x="20" y="147"/>
                  </a:lnTo>
                  <a:lnTo>
                    <a:pt x="20" y="147"/>
                  </a:lnTo>
                  <a:lnTo>
                    <a:pt x="20" y="147"/>
                  </a:lnTo>
                  <a:lnTo>
                    <a:pt x="20" y="147"/>
                  </a:lnTo>
                  <a:lnTo>
                    <a:pt x="20" y="147"/>
                  </a:lnTo>
                  <a:lnTo>
                    <a:pt x="18" y="147"/>
                  </a:lnTo>
                  <a:lnTo>
                    <a:pt x="18" y="147"/>
                  </a:lnTo>
                  <a:lnTo>
                    <a:pt x="14" y="147"/>
                  </a:lnTo>
                  <a:lnTo>
                    <a:pt x="14" y="147"/>
                  </a:lnTo>
                  <a:lnTo>
                    <a:pt x="10" y="147"/>
                  </a:lnTo>
                  <a:lnTo>
                    <a:pt x="10" y="147"/>
                  </a:lnTo>
                  <a:lnTo>
                    <a:pt x="5" y="149"/>
                  </a:lnTo>
                  <a:lnTo>
                    <a:pt x="4" y="149"/>
                  </a:lnTo>
                  <a:lnTo>
                    <a:pt x="4" y="149"/>
                  </a:lnTo>
                  <a:lnTo>
                    <a:pt x="4" y="149"/>
                  </a:lnTo>
                  <a:lnTo>
                    <a:pt x="5" y="149"/>
                  </a:lnTo>
                  <a:lnTo>
                    <a:pt x="4" y="149"/>
                  </a:lnTo>
                  <a:lnTo>
                    <a:pt x="4" y="149"/>
                  </a:lnTo>
                  <a:lnTo>
                    <a:pt x="5" y="149"/>
                  </a:lnTo>
                  <a:lnTo>
                    <a:pt x="4" y="150"/>
                  </a:lnTo>
                  <a:lnTo>
                    <a:pt x="5" y="150"/>
                  </a:lnTo>
                  <a:lnTo>
                    <a:pt x="5" y="149"/>
                  </a:lnTo>
                  <a:lnTo>
                    <a:pt x="4" y="150"/>
                  </a:lnTo>
                  <a:lnTo>
                    <a:pt x="5" y="150"/>
                  </a:lnTo>
                  <a:lnTo>
                    <a:pt x="4" y="150"/>
                  </a:lnTo>
                  <a:lnTo>
                    <a:pt x="5" y="150"/>
                  </a:lnTo>
                  <a:lnTo>
                    <a:pt x="5" y="150"/>
                  </a:lnTo>
                  <a:lnTo>
                    <a:pt x="4" y="150"/>
                  </a:lnTo>
                  <a:lnTo>
                    <a:pt x="5" y="150"/>
                  </a:lnTo>
                  <a:lnTo>
                    <a:pt x="5" y="150"/>
                  </a:lnTo>
                  <a:lnTo>
                    <a:pt x="5" y="150"/>
                  </a:lnTo>
                  <a:lnTo>
                    <a:pt x="5" y="150"/>
                  </a:lnTo>
                  <a:lnTo>
                    <a:pt x="5" y="150"/>
                  </a:lnTo>
                  <a:lnTo>
                    <a:pt x="5" y="150"/>
                  </a:lnTo>
                  <a:lnTo>
                    <a:pt x="5" y="149"/>
                  </a:lnTo>
                  <a:lnTo>
                    <a:pt x="5" y="149"/>
                  </a:lnTo>
                  <a:lnTo>
                    <a:pt x="7" y="147"/>
                  </a:lnTo>
                  <a:lnTo>
                    <a:pt x="10" y="146"/>
                  </a:lnTo>
                  <a:lnTo>
                    <a:pt x="10" y="146"/>
                  </a:lnTo>
                  <a:lnTo>
                    <a:pt x="16" y="145"/>
                  </a:lnTo>
                  <a:lnTo>
                    <a:pt x="16" y="145"/>
                  </a:lnTo>
                  <a:lnTo>
                    <a:pt x="18" y="142"/>
                  </a:lnTo>
                  <a:lnTo>
                    <a:pt x="20" y="139"/>
                  </a:lnTo>
                  <a:lnTo>
                    <a:pt x="20" y="139"/>
                  </a:lnTo>
                  <a:lnTo>
                    <a:pt x="24" y="134"/>
                  </a:lnTo>
                  <a:lnTo>
                    <a:pt x="24" y="134"/>
                  </a:lnTo>
                  <a:lnTo>
                    <a:pt x="31" y="129"/>
                  </a:lnTo>
                  <a:lnTo>
                    <a:pt x="31" y="129"/>
                  </a:lnTo>
                  <a:lnTo>
                    <a:pt x="34" y="126"/>
                  </a:lnTo>
                  <a:lnTo>
                    <a:pt x="34" y="126"/>
                  </a:lnTo>
                  <a:lnTo>
                    <a:pt x="37" y="124"/>
                  </a:lnTo>
                  <a:lnTo>
                    <a:pt x="37" y="124"/>
                  </a:lnTo>
                  <a:lnTo>
                    <a:pt x="40" y="124"/>
                  </a:lnTo>
                  <a:lnTo>
                    <a:pt x="40" y="124"/>
                  </a:lnTo>
                  <a:lnTo>
                    <a:pt x="50" y="124"/>
                  </a:lnTo>
                  <a:lnTo>
                    <a:pt x="50" y="124"/>
                  </a:lnTo>
                  <a:lnTo>
                    <a:pt x="55" y="124"/>
                  </a:lnTo>
                  <a:lnTo>
                    <a:pt x="55" y="124"/>
                  </a:lnTo>
                  <a:lnTo>
                    <a:pt x="58" y="123"/>
                  </a:lnTo>
                  <a:lnTo>
                    <a:pt x="58" y="123"/>
                  </a:lnTo>
                  <a:lnTo>
                    <a:pt x="62" y="120"/>
                  </a:lnTo>
                  <a:lnTo>
                    <a:pt x="62" y="120"/>
                  </a:lnTo>
                  <a:lnTo>
                    <a:pt x="65" y="118"/>
                  </a:lnTo>
                  <a:lnTo>
                    <a:pt x="65" y="118"/>
                  </a:lnTo>
                  <a:lnTo>
                    <a:pt x="66" y="120"/>
                  </a:lnTo>
                  <a:lnTo>
                    <a:pt x="66" y="120"/>
                  </a:lnTo>
                  <a:lnTo>
                    <a:pt x="73" y="120"/>
                  </a:lnTo>
                  <a:lnTo>
                    <a:pt x="73" y="120"/>
                  </a:lnTo>
                  <a:lnTo>
                    <a:pt x="75" y="121"/>
                  </a:lnTo>
                  <a:lnTo>
                    <a:pt x="75" y="121"/>
                  </a:lnTo>
                  <a:lnTo>
                    <a:pt x="76" y="121"/>
                  </a:lnTo>
                  <a:lnTo>
                    <a:pt x="76" y="121"/>
                  </a:lnTo>
                  <a:lnTo>
                    <a:pt x="78" y="123"/>
                  </a:lnTo>
                  <a:lnTo>
                    <a:pt x="78" y="123"/>
                  </a:lnTo>
                  <a:lnTo>
                    <a:pt x="81" y="124"/>
                  </a:lnTo>
                  <a:lnTo>
                    <a:pt x="81" y="124"/>
                  </a:lnTo>
                  <a:lnTo>
                    <a:pt x="85" y="123"/>
                  </a:lnTo>
                  <a:lnTo>
                    <a:pt x="85" y="123"/>
                  </a:lnTo>
                  <a:lnTo>
                    <a:pt x="88" y="121"/>
                  </a:lnTo>
                  <a:lnTo>
                    <a:pt x="88" y="121"/>
                  </a:lnTo>
                  <a:lnTo>
                    <a:pt x="91" y="118"/>
                  </a:lnTo>
                  <a:lnTo>
                    <a:pt x="91" y="118"/>
                  </a:lnTo>
                  <a:lnTo>
                    <a:pt x="91" y="117"/>
                  </a:lnTo>
                  <a:lnTo>
                    <a:pt x="91" y="117"/>
                  </a:lnTo>
                  <a:lnTo>
                    <a:pt x="89" y="114"/>
                  </a:lnTo>
                  <a:lnTo>
                    <a:pt x="89" y="114"/>
                  </a:lnTo>
                  <a:lnTo>
                    <a:pt x="89" y="111"/>
                  </a:lnTo>
                  <a:lnTo>
                    <a:pt x="89" y="111"/>
                  </a:lnTo>
                  <a:lnTo>
                    <a:pt x="89" y="111"/>
                  </a:lnTo>
                  <a:lnTo>
                    <a:pt x="94" y="105"/>
                  </a:lnTo>
                  <a:lnTo>
                    <a:pt x="94" y="105"/>
                  </a:lnTo>
                  <a:lnTo>
                    <a:pt x="97" y="103"/>
                  </a:lnTo>
                  <a:lnTo>
                    <a:pt x="98" y="100"/>
                  </a:lnTo>
                  <a:lnTo>
                    <a:pt x="98" y="100"/>
                  </a:lnTo>
                  <a:lnTo>
                    <a:pt x="100" y="95"/>
                  </a:lnTo>
                  <a:lnTo>
                    <a:pt x="100" y="92"/>
                  </a:lnTo>
                  <a:lnTo>
                    <a:pt x="100" y="92"/>
                  </a:lnTo>
                  <a:lnTo>
                    <a:pt x="100" y="90"/>
                  </a:lnTo>
                  <a:lnTo>
                    <a:pt x="100" y="90"/>
                  </a:lnTo>
                  <a:lnTo>
                    <a:pt x="100" y="88"/>
                  </a:lnTo>
                  <a:lnTo>
                    <a:pt x="100" y="88"/>
                  </a:lnTo>
                  <a:lnTo>
                    <a:pt x="105" y="87"/>
                  </a:lnTo>
                  <a:lnTo>
                    <a:pt x="105" y="85"/>
                  </a:lnTo>
                  <a:lnTo>
                    <a:pt x="105" y="87"/>
                  </a:lnTo>
                  <a:lnTo>
                    <a:pt x="105" y="87"/>
                  </a:lnTo>
                  <a:lnTo>
                    <a:pt x="105" y="85"/>
                  </a:lnTo>
                  <a:lnTo>
                    <a:pt x="105" y="87"/>
                  </a:lnTo>
                  <a:lnTo>
                    <a:pt x="105" y="84"/>
                  </a:lnTo>
                  <a:lnTo>
                    <a:pt x="104" y="85"/>
                  </a:lnTo>
                  <a:lnTo>
                    <a:pt x="104" y="85"/>
                  </a:lnTo>
                  <a:lnTo>
                    <a:pt x="105" y="87"/>
                  </a:lnTo>
                  <a:lnTo>
                    <a:pt x="105" y="84"/>
                  </a:lnTo>
                  <a:lnTo>
                    <a:pt x="104" y="85"/>
                  </a:lnTo>
                  <a:lnTo>
                    <a:pt x="105" y="84"/>
                  </a:lnTo>
                  <a:lnTo>
                    <a:pt x="102" y="84"/>
                  </a:lnTo>
                  <a:lnTo>
                    <a:pt x="102" y="84"/>
                  </a:lnTo>
                  <a:lnTo>
                    <a:pt x="104" y="85"/>
                  </a:lnTo>
                  <a:lnTo>
                    <a:pt x="105" y="84"/>
                  </a:lnTo>
                  <a:lnTo>
                    <a:pt x="102" y="84"/>
                  </a:lnTo>
                  <a:lnTo>
                    <a:pt x="104" y="84"/>
                  </a:lnTo>
                  <a:lnTo>
                    <a:pt x="102" y="84"/>
                  </a:lnTo>
                  <a:lnTo>
                    <a:pt x="102" y="84"/>
                  </a:lnTo>
                  <a:lnTo>
                    <a:pt x="104" y="84"/>
                  </a:lnTo>
                  <a:lnTo>
                    <a:pt x="102" y="84"/>
                  </a:lnTo>
                  <a:lnTo>
                    <a:pt x="102" y="84"/>
                  </a:lnTo>
                  <a:lnTo>
                    <a:pt x="102" y="87"/>
                  </a:lnTo>
                  <a:lnTo>
                    <a:pt x="102" y="87"/>
                  </a:lnTo>
                  <a:lnTo>
                    <a:pt x="101" y="90"/>
                  </a:lnTo>
                  <a:lnTo>
                    <a:pt x="101" y="90"/>
                  </a:lnTo>
                  <a:lnTo>
                    <a:pt x="100" y="94"/>
                  </a:lnTo>
                  <a:lnTo>
                    <a:pt x="100" y="94"/>
                  </a:lnTo>
                  <a:lnTo>
                    <a:pt x="100" y="98"/>
                  </a:lnTo>
                  <a:lnTo>
                    <a:pt x="100" y="98"/>
                  </a:lnTo>
                  <a:lnTo>
                    <a:pt x="102" y="100"/>
                  </a:lnTo>
                  <a:lnTo>
                    <a:pt x="102" y="100"/>
                  </a:lnTo>
                  <a:lnTo>
                    <a:pt x="104" y="100"/>
                  </a:lnTo>
                  <a:lnTo>
                    <a:pt x="105" y="100"/>
                  </a:lnTo>
                  <a:lnTo>
                    <a:pt x="105" y="100"/>
                  </a:lnTo>
                  <a:lnTo>
                    <a:pt x="110" y="98"/>
                  </a:lnTo>
                  <a:lnTo>
                    <a:pt x="114" y="95"/>
                  </a:lnTo>
                  <a:lnTo>
                    <a:pt x="114" y="95"/>
                  </a:lnTo>
                  <a:lnTo>
                    <a:pt x="118" y="91"/>
                  </a:lnTo>
                  <a:lnTo>
                    <a:pt x="118" y="91"/>
                  </a:lnTo>
                  <a:lnTo>
                    <a:pt x="126" y="87"/>
                  </a:lnTo>
                  <a:lnTo>
                    <a:pt x="126" y="87"/>
                  </a:lnTo>
                  <a:lnTo>
                    <a:pt x="130" y="84"/>
                  </a:lnTo>
                  <a:lnTo>
                    <a:pt x="134" y="81"/>
                  </a:lnTo>
                  <a:lnTo>
                    <a:pt x="134" y="81"/>
                  </a:lnTo>
                  <a:lnTo>
                    <a:pt x="142" y="72"/>
                  </a:lnTo>
                  <a:lnTo>
                    <a:pt x="142" y="72"/>
                  </a:lnTo>
                  <a:lnTo>
                    <a:pt x="147" y="63"/>
                  </a:lnTo>
                  <a:lnTo>
                    <a:pt x="152" y="53"/>
                  </a:lnTo>
                  <a:lnTo>
                    <a:pt x="152" y="53"/>
                  </a:lnTo>
                  <a:lnTo>
                    <a:pt x="155" y="48"/>
                  </a:lnTo>
                  <a:lnTo>
                    <a:pt x="155" y="48"/>
                  </a:lnTo>
                  <a:lnTo>
                    <a:pt x="156" y="43"/>
                  </a:lnTo>
                  <a:lnTo>
                    <a:pt x="156" y="39"/>
                  </a:lnTo>
                  <a:lnTo>
                    <a:pt x="156" y="39"/>
                  </a:lnTo>
                  <a:lnTo>
                    <a:pt x="155" y="36"/>
                  </a:lnTo>
                  <a:lnTo>
                    <a:pt x="155" y="36"/>
                  </a:lnTo>
                  <a:lnTo>
                    <a:pt x="152" y="33"/>
                  </a:lnTo>
                  <a:lnTo>
                    <a:pt x="150" y="33"/>
                  </a:lnTo>
                  <a:lnTo>
                    <a:pt x="150" y="33"/>
                  </a:lnTo>
                  <a:lnTo>
                    <a:pt x="150" y="33"/>
                  </a:lnTo>
                  <a:lnTo>
                    <a:pt x="150" y="33"/>
                  </a:lnTo>
                  <a:lnTo>
                    <a:pt x="150" y="33"/>
                  </a:lnTo>
                  <a:lnTo>
                    <a:pt x="150" y="33"/>
                  </a:lnTo>
                  <a:lnTo>
                    <a:pt x="150" y="33"/>
                  </a:lnTo>
                  <a:lnTo>
                    <a:pt x="150" y="33"/>
                  </a:lnTo>
                  <a:lnTo>
                    <a:pt x="152" y="33"/>
                  </a:lnTo>
                  <a:lnTo>
                    <a:pt x="152" y="33"/>
                  </a:lnTo>
                  <a:lnTo>
                    <a:pt x="150" y="33"/>
                  </a:lnTo>
                  <a:lnTo>
                    <a:pt x="150" y="33"/>
                  </a:lnTo>
                  <a:lnTo>
                    <a:pt x="152" y="33"/>
                  </a:lnTo>
                  <a:lnTo>
                    <a:pt x="150" y="33"/>
                  </a:lnTo>
                  <a:lnTo>
                    <a:pt x="152" y="34"/>
                  </a:lnTo>
                  <a:lnTo>
                    <a:pt x="152" y="33"/>
                  </a:lnTo>
                  <a:lnTo>
                    <a:pt x="150" y="33"/>
                  </a:lnTo>
                  <a:lnTo>
                    <a:pt x="152" y="34"/>
                  </a:lnTo>
                  <a:lnTo>
                    <a:pt x="152" y="34"/>
                  </a:lnTo>
                  <a:lnTo>
                    <a:pt x="152" y="34"/>
                  </a:lnTo>
                  <a:lnTo>
                    <a:pt x="153" y="32"/>
                  </a:lnTo>
                  <a:lnTo>
                    <a:pt x="153" y="32"/>
                  </a:lnTo>
                  <a:lnTo>
                    <a:pt x="155" y="30"/>
                  </a:lnTo>
                  <a:lnTo>
                    <a:pt x="155" y="30"/>
                  </a:lnTo>
                  <a:lnTo>
                    <a:pt x="155" y="29"/>
                  </a:lnTo>
                  <a:lnTo>
                    <a:pt x="155" y="29"/>
                  </a:lnTo>
                  <a:lnTo>
                    <a:pt x="155" y="26"/>
                  </a:lnTo>
                  <a:lnTo>
                    <a:pt x="155" y="26"/>
                  </a:lnTo>
                  <a:lnTo>
                    <a:pt x="153" y="21"/>
                  </a:lnTo>
                  <a:lnTo>
                    <a:pt x="153" y="21"/>
                  </a:lnTo>
                  <a:lnTo>
                    <a:pt x="153" y="20"/>
                  </a:lnTo>
                  <a:lnTo>
                    <a:pt x="153" y="19"/>
                  </a:lnTo>
                  <a:lnTo>
                    <a:pt x="152" y="19"/>
                  </a:lnTo>
                  <a:lnTo>
                    <a:pt x="153" y="19"/>
                  </a:lnTo>
                  <a:lnTo>
                    <a:pt x="153" y="19"/>
                  </a:lnTo>
                  <a:lnTo>
                    <a:pt x="152" y="19"/>
                  </a:lnTo>
                  <a:lnTo>
                    <a:pt x="153" y="19"/>
                  </a:lnTo>
                  <a:lnTo>
                    <a:pt x="152" y="19"/>
                  </a:lnTo>
                  <a:lnTo>
                    <a:pt x="152" y="20"/>
                  </a:lnTo>
                  <a:lnTo>
                    <a:pt x="153" y="19"/>
                  </a:lnTo>
                  <a:lnTo>
                    <a:pt x="152" y="19"/>
                  </a:lnTo>
                  <a:lnTo>
                    <a:pt x="152" y="20"/>
                  </a:lnTo>
                  <a:lnTo>
                    <a:pt x="153" y="20"/>
                  </a:lnTo>
                  <a:lnTo>
                    <a:pt x="153" y="20"/>
                  </a:lnTo>
                  <a:lnTo>
                    <a:pt x="155" y="16"/>
                  </a:lnTo>
                  <a:lnTo>
                    <a:pt x="155" y="16"/>
                  </a:lnTo>
                  <a:lnTo>
                    <a:pt x="157" y="13"/>
                  </a:lnTo>
                  <a:lnTo>
                    <a:pt x="157" y="13"/>
                  </a:lnTo>
                  <a:lnTo>
                    <a:pt x="157" y="8"/>
                  </a:lnTo>
                  <a:lnTo>
                    <a:pt x="157" y="8"/>
                  </a:lnTo>
                  <a:lnTo>
                    <a:pt x="157" y="7"/>
                  </a:lnTo>
                  <a:lnTo>
                    <a:pt x="156" y="7"/>
                  </a:lnTo>
                  <a:lnTo>
                    <a:pt x="157" y="8"/>
                  </a:lnTo>
                  <a:lnTo>
                    <a:pt x="157" y="7"/>
                  </a:lnTo>
                  <a:lnTo>
                    <a:pt x="156" y="7"/>
                  </a:lnTo>
                  <a:lnTo>
                    <a:pt x="157" y="8"/>
                  </a:lnTo>
                  <a:lnTo>
                    <a:pt x="156" y="7"/>
                  </a:lnTo>
                  <a:lnTo>
                    <a:pt x="156" y="8"/>
                  </a:lnTo>
                  <a:lnTo>
                    <a:pt x="157" y="8"/>
                  </a:lnTo>
                  <a:lnTo>
                    <a:pt x="156" y="7"/>
                  </a:lnTo>
                  <a:lnTo>
                    <a:pt x="156" y="8"/>
                  </a:lnTo>
                  <a:lnTo>
                    <a:pt x="156" y="8"/>
                  </a:lnTo>
                  <a:lnTo>
                    <a:pt x="156" y="8"/>
                  </a:lnTo>
                  <a:lnTo>
                    <a:pt x="156" y="8"/>
                  </a:lnTo>
                  <a:lnTo>
                    <a:pt x="156" y="8"/>
                  </a:lnTo>
                  <a:lnTo>
                    <a:pt x="156" y="8"/>
                  </a:lnTo>
                  <a:lnTo>
                    <a:pt x="156" y="8"/>
                  </a:lnTo>
                  <a:lnTo>
                    <a:pt x="157" y="8"/>
                  </a:lnTo>
                  <a:lnTo>
                    <a:pt x="157" y="7"/>
                  </a:lnTo>
                  <a:lnTo>
                    <a:pt x="156" y="8"/>
                  </a:lnTo>
                  <a:lnTo>
                    <a:pt x="157" y="8"/>
                  </a:lnTo>
                  <a:lnTo>
                    <a:pt x="157" y="7"/>
                  </a:lnTo>
                  <a:lnTo>
                    <a:pt x="156" y="8"/>
                  </a:lnTo>
                  <a:lnTo>
                    <a:pt x="157" y="7"/>
                  </a:lnTo>
                  <a:lnTo>
                    <a:pt x="156" y="8"/>
                  </a:lnTo>
                  <a:lnTo>
                    <a:pt x="156" y="8"/>
                  </a:lnTo>
                  <a:lnTo>
                    <a:pt x="157" y="7"/>
                  </a:lnTo>
                  <a:lnTo>
                    <a:pt x="156" y="8"/>
                  </a:lnTo>
                  <a:lnTo>
                    <a:pt x="156" y="7"/>
                  </a:lnTo>
                  <a:lnTo>
                    <a:pt x="156" y="8"/>
                  </a:lnTo>
                  <a:lnTo>
                    <a:pt x="156" y="8"/>
                  </a:lnTo>
                  <a:lnTo>
                    <a:pt x="156" y="7"/>
                  </a:lnTo>
                  <a:lnTo>
                    <a:pt x="156" y="8"/>
                  </a:lnTo>
                  <a:lnTo>
                    <a:pt x="156" y="8"/>
                  </a:lnTo>
                  <a:lnTo>
                    <a:pt x="156" y="10"/>
                  </a:lnTo>
                  <a:lnTo>
                    <a:pt x="156" y="10"/>
                  </a:lnTo>
                  <a:lnTo>
                    <a:pt x="159" y="14"/>
                  </a:lnTo>
                  <a:lnTo>
                    <a:pt x="159" y="14"/>
                  </a:lnTo>
                  <a:lnTo>
                    <a:pt x="160" y="16"/>
                  </a:lnTo>
                  <a:lnTo>
                    <a:pt x="160" y="16"/>
                  </a:lnTo>
                  <a:lnTo>
                    <a:pt x="163" y="17"/>
                  </a:lnTo>
                  <a:lnTo>
                    <a:pt x="163" y="17"/>
                  </a:lnTo>
                  <a:lnTo>
                    <a:pt x="166" y="17"/>
                  </a:lnTo>
                  <a:lnTo>
                    <a:pt x="166" y="17"/>
                  </a:lnTo>
                  <a:lnTo>
                    <a:pt x="169" y="17"/>
                  </a:lnTo>
                  <a:lnTo>
                    <a:pt x="169" y="17"/>
                  </a:lnTo>
                  <a:lnTo>
                    <a:pt x="170" y="16"/>
                  </a:lnTo>
                  <a:lnTo>
                    <a:pt x="170" y="16"/>
                  </a:lnTo>
                  <a:lnTo>
                    <a:pt x="170" y="13"/>
                  </a:lnTo>
                  <a:lnTo>
                    <a:pt x="170" y="13"/>
                  </a:lnTo>
                  <a:lnTo>
                    <a:pt x="170" y="11"/>
                  </a:lnTo>
                  <a:lnTo>
                    <a:pt x="170" y="11"/>
                  </a:lnTo>
                  <a:lnTo>
                    <a:pt x="170" y="8"/>
                  </a:lnTo>
                  <a:lnTo>
                    <a:pt x="170" y="8"/>
                  </a:lnTo>
                  <a:lnTo>
                    <a:pt x="170" y="7"/>
                  </a:lnTo>
                  <a:lnTo>
                    <a:pt x="170" y="7"/>
                  </a:lnTo>
                  <a:lnTo>
                    <a:pt x="168" y="5"/>
                  </a:lnTo>
                  <a:lnTo>
                    <a:pt x="168" y="5"/>
                  </a:lnTo>
                  <a:lnTo>
                    <a:pt x="166" y="5"/>
                  </a:lnTo>
                  <a:lnTo>
                    <a:pt x="165" y="5"/>
                  </a:lnTo>
                  <a:lnTo>
                    <a:pt x="165" y="5"/>
                  </a:lnTo>
                  <a:lnTo>
                    <a:pt x="165" y="7"/>
                  </a:lnTo>
                  <a:lnTo>
                    <a:pt x="165" y="5"/>
                  </a:lnTo>
                  <a:lnTo>
                    <a:pt x="165" y="5"/>
                  </a:lnTo>
                  <a:lnTo>
                    <a:pt x="165" y="7"/>
                  </a:lnTo>
                  <a:lnTo>
                    <a:pt x="165" y="5"/>
                  </a:lnTo>
                  <a:lnTo>
                    <a:pt x="163" y="7"/>
                  </a:lnTo>
                  <a:lnTo>
                    <a:pt x="166" y="7"/>
                  </a:lnTo>
                  <a:lnTo>
                    <a:pt x="166" y="7"/>
                  </a:lnTo>
                  <a:lnTo>
                    <a:pt x="165" y="5"/>
                  </a:lnTo>
                  <a:lnTo>
                    <a:pt x="163" y="7"/>
                  </a:lnTo>
                  <a:lnTo>
                    <a:pt x="166" y="7"/>
                  </a:lnTo>
                  <a:lnTo>
                    <a:pt x="166" y="7"/>
                  </a:lnTo>
                  <a:lnTo>
                    <a:pt x="166" y="5"/>
                  </a:lnTo>
                  <a:lnTo>
                    <a:pt x="166" y="5"/>
                  </a:lnTo>
                  <a:lnTo>
                    <a:pt x="166" y="5"/>
                  </a:lnTo>
                  <a:lnTo>
                    <a:pt x="168" y="5"/>
                  </a:lnTo>
                  <a:lnTo>
                    <a:pt x="168" y="5"/>
                  </a:lnTo>
                  <a:lnTo>
                    <a:pt x="169" y="5"/>
                  </a:lnTo>
                  <a:lnTo>
                    <a:pt x="169" y="7"/>
                  </a:lnTo>
                  <a:lnTo>
                    <a:pt x="169" y="7"/>
                  </a:lnTo>
                  <a:lnTo>
                    <a:pt x="172" y="16"/>
                  </a:lnTo>
                  <a:lnTo>
                    <a:pt x="172" y="16"/>
                  </a:lnTo>
                  <a:lnTo>
                    <a:pt x="173" y="20"/>
                  </a:lnTo>
                  <a:lnTo>
                    <a:pt x="173" y="20"/>
                  </a:lnTo>
                  <a:lnTo>
                    <a:pt x="173" y="21"/>
                  </a:lnTo>
                  <a:lnTo>
                    <a:pt x="173" y="21"/>
                  </a:lnTo>
                  <a:lnTo>
                    <a:pt x="175" y="23"/>
                  </a:lnTo>
                  <a:lnTo>
                    <a:pt x="176" y="23"/>
                  </a:lnTo>
                  <a:lnTo>
                    <a:pt x="175" y="23"/>
                  </a:lnTo>
                  <a:lnTo>
                    <a:pt x="175" y="23"/>
                  </a:lnTo>
                  <a:lnTo>
                    <a:pt x="176" y="23"/>
                  </a:lnTo>
                  <a:lnTo>
                    <a:pt x="175" y="23"/>
                  </a:lnTo>
                  <a:lnTo>
                    <a:pt x="175" y="23"/>
                  </a:lnTo>
                  <a:lnTo>
                    <a:pt x="175" y="23"/>
                  </a:lnTo>
                  <a:lnTo>
                    <a:pt x="175" y="23"/>
                  </a:lnTo>
                  <a:lnTo>
                    <a:pt x="175" y="23"/>
                  </a:lnTo>
                  <a:lnTo>
                    <a:pt x="175" y="23"/>
                  </a:lnTo>
                  <a:lnTo>
                    <a:pt x="176" y="27"/>
                  </a:lnTo>
                  <a:lnTo>
                    <a:pt x="176" y="27"/>
                  </a:lnTo>
                  <a:lnTo>
                    <a:pt x="178" y="37"/>
                  </a:lnTo>
                  <a:lnTo>
                    <a:pt x="178" y="37"/>
                  </a:lnTo>
                  <a:lnTo>
                    <a:pt x="178" y="42"/>
                  </a:lnTo>
                  <a:lnTo>
                    <a:pt x="178" y="42"/>
                  </a:lnTo>
                  <a:lnTo>
                    <a:pt x="179" y="45"/>
                  </a:lnTo>
                  <a:lnTo>
                    <a:pt x="179" y="45"/>
                  </a:lnTo>
                  <a:lnTo>
                    <a:pt x="178" y="46"/>
                  </a:lnTo>
                  <a:lnTo>
                    <a:pt x="178" y="46"/>
                  </a:lnTo>
                  <a:lnTo>
                    <a:pt x="176" y="49"/>
                  </a:lnTo>
                  <a:lnTo>
                    <a:pt x="176" y="49"/>
                  </a:lnTo>
                  <a:lnTo>
                    <a:pt x="175" y="53"/>
                  </a:lnTo>
                  <a:lnTo>
                    <a:pt x="175" y="53"/>
                  </a:lnTo>
                  <a:lnTo>
                    <a:pt x="173" y="58"/>
                  </a:lnTo>
                  <a:lnTo>
                    <a:pt x="173" y="58"/>
                  </a:lnTo>
                  <a:lnTo>
                    <a:pt x="173" y="62"/>
                  </a:lnTo>
                  <a:lnTo>
                    <a:pt x="173" y="62"/>
                  </a:lnTo>
                  <a:lnTo>
                    <a:pt x="173" y="62"/>
                  </a:lnTo>
                  <a:lnTo>
                    <a:pt x="173" y="62"/>
                  </a:lnTo>
                  <a:lnTo>
                    <a:pt x="175" y="63"/>
                  </a:lnTo>
                  <a:lnTo>
                    <a:pt x="173" y="62"/>
                  </a:lnTo>
                  <a:lnTo>
                    <a:pt x="173" y="62"/>
                  </a:lnTo>
                  <a:lnTo>
                    <a:pt x="173" y="62"/>
                  </a:lnTo>
                  <a:lnTo>
                    <a:pt x="175" y="63"/>
                  </a:lnTo>
                  <a:lnTo>
                    <a:pt x="173" y="62"/>
                  </a:lnTo>
                  <a:lnTo>
                    <a:pt x="173" y="62"/>
                  </a:lnTo>
                  <a:lnTo>
                    <a:pt x="173" y="62"/>
                  </a:lnTo>
                  <a:lnTo>
                    <a:pt x="173" y="62"/>
                  </a:lnTo>
                  <a:lnTo>
                    <a:pt x="173" y="62"/>
                  </a:lnTo>
                  <a:lnTo>
                    <a:pt x="173" y="62"/>
                  </a:lnTo>
                  <a:lnTo>
                    <a:pt x="173" y="62"/>
                  </a:lnTo>
                  <a:lnTo>
                    <a:pt x="173" y="62"/>
                  </a:lnTo>
                  <a:lnTo>
                    <a:pt x="173" y="62"/>
                  </a:lnTo>
                  <a:lnTo>
                    <a:pt x="173" y="62"/>
                  </a:lnTo>
                  <a:lnTo>
                    <a:pt x="173" y="62"/>
                  </a:lnTo>
                  <a:lnTo>
                    <a:pt x="173" y="62"/>
                  </a:lnTo>
                  <a:lnTo>
                    <a:pt x="173" y="62"/>
                  </a:lnTo>
                  <a:lnTo>
                    <a:pt x="173" y="62"/>
                  </a:lnTo>
                  <a:lnTo>
                    <a:pt x="173" y="62"/>
                  </a:lnTo>
                  <a:lnTo>
                    <a:pt x="173" y="62"/>
                  </a:lnTo>
                  <a:lnTo>
                    <a:pt x="173" y="62"/>
                  </a:lnTo>
                  <a:lnTo>
                    <a:pt x="173" y="62"/>
                  </a:lnTo>
                  <a:lnTo>
                    <a:pt x="173" y="62"/>
                  </a:lnTo>
                  <a:lnTo>
                    <a:pt x="173" y="62"/>
                  </a:lnTo>
                  <a:lnTo>
                    <a:pt x="170" y="61"/>
                  </a:lnTo>
                  <a:lnTo>
                    <a:pt x="170" y="62"/>
                  </a:lnTo>
                  <a:lnTo>
                    <a:pt x="170" y="62"/>
                  </a:lnTo>
                  <a:lnTo>
                    <a:pt x="168" y="62"/>
                  </a:lnTo>
                  <a:lnTo>
                    <a:pt x="168" y="62"/>
                  </a:lnTo>
                  <a:lnTo>
                    <a:pt x="165" y="66"/>
                  </a:lnTo>
                  <a:lnTo>
                    <a:pt x="165" y="66"/>
                  </a:lnTo>
                  <a:lnTo>
                    <a:pt x="165" y="69"/>
                  </a:lnTo>
                  <a:lnTo>
                    <a:pt x="165" y="69"/>
                  </a:lnTo>
                  <a:lnTo>
                    <a:pt x="165" y="71"/>
                  </a:lnTo>
                  <a:lnTo>
                    <a:pt x="165" y="71"/>
                  </a:lnTo>
                  <a:lnTo>
                    <a:pt x="166" y="84"/>
                  </a:lnTo>
                  <a:lnTo>
                    <a:pt x="166" y="84"/>
                  </a:lnTo>
                  <a:lnTo>
                    <a:pt x="166" y="87"/>
                  </a:lnTo>
                  <a:lnTo>
                    <a:pt x="166" y="87"/>
                  </a:lnTo>
                  <a:lnTo>
                    <a:pt x="166" y="88"/>
                  </a:lnTo>
                  <a:lnTo>
                    <a:pt x="166" y="88"/>
                  </a:lnTo>
                  <a:lnTo>
                    <a:pt x="166" y="88"/>
                  </a:lnTo>
                  <a:lnTo>
                    <a:pt x="166" y="88"/>
                  </a:lnTo>
                  <a:lnTo>
                    <a:pt x="166" y="88"/>
                  </a:lnTo>
                  <a:lnTo>
                    <a:pt x="166" y="88"/>
                  </a:lnTo>
                  <a:lnTo>
                    <a:pt x="165" y="91"/>
                  </a:lnTo>
                  <a:lnTo>
                    <a:pt x="165" y="91"/>
                  </a:lnTo>
                  <a:lnTo>
                    <a:pt x="163" y="98"/>
                  </a:lnTo>
                  <a:lnTo>
                    <a:pt x="163" y="98"/>
                  </a:lnTo>
                  <a:lnTo>
                    <a:pt x="162" y="103"/>
                  </a:lnTo>
                  <a:lnTo>
                    <a:pt x="162" y="103"/>
                  </a:lnTo>
                  <a:lnTo>
                    <a:pt x="162" y="104"/>
                  </a:lnTo>
                  <a:lnTo>
                    <a:pt x="162" y="104"/>
                  </a:lnTo>
                  <a:lnTo>
                    <a:pt x="162" y="104"/>
                  </a:lnTo>
                  <a:lnTo>
                    <a:pt x="162" y="104"/>
                  </a:lnTo>
                  <a:lnTo>
                    <a:pt x="162" y="104"/>
                  </a:lnTo>
                  <a:lnTo>
                    <a:pt x="162" y="104"/>
                  </a:lnTo>
                  <a:lnTo>
                    <a:pt x="162" y="104"/>
                  </a:lnTo>
                  <a:lnTo>
                    <a:pt x="160" y="107"/>
                  </a:lnTo>
                  <a:lnTo>
                    <a:pt x="160" y="111"/>
                  </a:lnTo>
                  <a:lnTo>
                    <a:pt x="160" y="111"/>
                  </a:lnTo>
                  <a:lnTo>
                    <a:pt x="160" y="114"/>
                  </a:lnTo>
                  <a:lnTo>
                    <a:pt x="162" y="118"/>
                  </a:lnTo>
                  <a:lnTo>
                    <a:pt x="162" y="118"/>
                  </a:lnTo>
                  <a:lnTo>
                    <a:pt x="162" y="118"/>
                  </a:lnTo>
                  <a:lnTo>
                    <a:pt x="163" y="118"/>
                  </a:lnTo>
                  <a:lnTo>
                    <a:pt x="162" y="118"/>
                  </a:lnTo>
                  <a:lnTo>
                    <a:pt x="162" y="118"/>
                  </a:lnTo>
                  <a:lnTo>
                    <a:pt x="163" y="118"/>
                  </a:lnTo>
                  <a:lnTo>
                    <a:pt x="162" y="118"/>
                  </a:lnTo>
                  <a:lnTo>
                    <a:pt x="163" y="118"/>
                  </a:lnTo>
                  <a:lnTo>
                    <a:pt x="162" y="118"/>
                  </a:lnTo>
                  <a:lnTo>
                    <a:pt x="162" y="118"/>
                  </a:lnTo>
                  <a:lnTo>
                    <a:pt x="163" y="118"/>
                  </a:lnTo>
                  <a:lnTo>
                    <a:pt x="162" y="118"/>
                  </a:lnTo>
                  <a:lnTo>
                    <a:pt x="163" y="118"/>
                  </a:lnTo>
                  <a:lnTo>
                    <a:pt x="162" y="117"/>
                  </a:lnTo>
                  <a:lnTo>
                    <a:pt x="162" y="118"/>
                  </a:lnTo>
                  <a:lnTo>
                    <a:pt x="163" y="118"/>
                  </a:lnTo>
                  <a:lnTo>
                    <a:pt x="162" y="117"/>
                  </a:lnTo>
                  <a:lnTo>
                    <a:pt x="162" y="118"/>
                  </a:lnTo>
                  <a:lnTo>
                    <a:pt x="162" y="117"/>
                  </a:lnTo>
                  <a:lnTo>
                    <a:pt x="162" y="117"/>
                  </a:lnTo>
                  <a:lnTo>
                    <a:pt x="162" y="118"/>
                  </a:lnTo>
                  <a:lnTo>
                    <a:pt x="162" y="117"/>
                  </a:lnTo>
                  <a:lnTo>
                    <a:pt x="162" y="117"/>
                  </a:lnTo>
                  <a:lnTo>
                    <a:pt x="160" y="118"/>
                  </a:lnTo>
                  <a:lnTo>
                    <a:pt x="160" y="118"/>
                  </a:lnTo>
                  <a:lnTo>
                    <a:pt x="157" y="123"/>
                  </a:lnTo>
                  <a:lnTo>
                    <a:pt x="157" y="123"/>
                  </a:lnTo>
                  <a:lnTo>
                    <a:pt x="156" y="127"/>
                  </a:lnTo>
                  <a:lnTo>
                    <a:pt x="155" y="130"/>
                  </a:lnTo>
                  <a:lnTo>
                    <a:pt x="155" y="130"/>
                  </a:lnTo>
                  <a:lnTo>
                    <a:pt x="155" y="133"/>
                  </a:lnTo>
                  <a:lnTo>
                    <a:pt x="155" y="133"/>
                  </a:lnTo>
                  <a:lnTo>
                    <a:pt x="155" y="133"/>
                  </a:lnTo>
                  <a:lnTo>
                    <a:pt x="155" y="132"/>
                  </a:lnTo>
                  <a:lnTo>
                    <a:pt x="155" y="133"/>
                  </a:lnTo>
                  <a:lnTo>
                    <a:pt x="155" y="133"/>
                  </a:lnTo>
                  <a:lnTo>
                    <a:pt x="155" y="132"/>
                  </a:lnTo>
                  <a:lnTo>
                    <a:pt x="156" y="133"/>
                  </a:lnTo>
                  <a:lnTo>
                    <a:pt x="156" y="132"/>
                  </a:lnTo>
                  <a:lnTo>
                    <a:pt x="155" y="132"/>
                  </a:lnTo>
                  <a:lnTo>
                    <a:pt x="156" y="133"/>
                  </a:lnTo>
                  <a:lnTo>
                    <a:pt x="156" y="132"/>
                  </a:lnTo>
                  <a:lnTo>
                    <a:pt x="156" y="132"/>
                  </a:lnTo>
                  <a:lnTo>
                    <a:pt x="152" y="132"/>
                  </a:lnTo>
                  <a:lnTo>
                    <a:pt x="152" y="132"/>
                  </a:lnTo>
                  <a:lnTo>
                    <a:pt x="150" y="130"/>
                  </a:lnTo>
                  <a:lnTo>
                    <a:pt x="150" y="130"/>
                  </a:lnTo>
                  <a:lnTo>
                    <a:pt x="150" y="130"/>
                  </a:lnTo>
                  <a:lnTo>
                    <a:pt x="152" y="127"/>
                  </a:lnTo>
                  <a:lnTo>
                    <a:pt x="152" y="127"/>
                  </a:lnTo>
                  <a:lnTo>
                    <a:pt x="153" y="124"/>
                  </a:lnTo>
                  <a:lnTo>
                    <a:pt x="153" y="124"/>
                  </a:lnTo>
                  <a:lnTo>
                    <a:pt x="155" y="121"/>
                  </a:lnTo>
                  <a:lnTo>
                    <a:pt x="155" y="120"/>
                  </a:lnTo>
                  <a:lnTo>
                    <a:pt x="155" y="120"/>
                  </a:lnTo>
                  <a:lnTo>
                    <a:pt x="155" y="117"/>
                  </a:lnTo>
                  <a:lnTo>
                    <a:pt x="155" y="117"/>
                  </a:lnTo>
                  <a:lnTo>
                    <a:pt x="153" y="116"/>
                  </a:lnTo>
                  <a:lnTo>
                    <a:pt x="153" y="116"/>
                  </a:lnTo>
                  <a:lnTo>
                    <a:pt x="152" y="116"/>
                  </a:lnTo>
                  <a:lnTo>
                    <a:pt x="150" y="116"/>
                  </a:lnTo>
                  <a:lnTo>
                    <a:pt x="150" y="116"/>
                  </a:lnTo>
                  <a:lnTo>
                    <a:pt x="150" y="116"/>
                  </a:lnTo>
                  <a:lnTo>
                    <a:pt x="150" y="116"/>
                  </a:lnTo>
                  <a:lnTo>
                    <a:pt x="149" y="116"/>
                  </a:lnTo>
                  <a:lnTo>
                    <a:pt x="149" y="116"/>
                  </a:lnTo>
                  <a:lnTo>
                    <a:pt x="147" y="117"/>
                  </a:lnTo>
                  <a:lnTo>
                    <a:pt x="147" y="117"/>
                  </a:lnTo>
                  <a:lnTo>
                    <a:pt x="146" y="120"/>
                  </a:lnTo>
                  <a:lnTo>
                    <a:pt x="144" y="120"/>
                  </a:lnTo>
                  <a:lnTo>
                    <a:pt x="144" y="120"/>
                  </a:lnTo>
                  <a:lnTo>
                    <a:pt x="144" y="121"/>
                  </a:lnTo>
                  <a:lnTo>
                    <a:pt x="144" y="120"/>
                  </a:lnTo>
                  <a:lnTo>
                    <a:pt x="144" y="120"/>
                  </a:lnTo>
                  <a:lnTo>
                    <a:pt x="144" y="121"/>
                  </a:lnTo>
                  <a:lnTo>
                    <a:pt x="144" y="120"/>
                  </a:lnTo>
                  <a:lnTo>
                    <a:pt x="144" y="120"/>
                  </a:lnTo>
                  <a:lnTo>
                    <a:pt x="144" y="120"/>
                  </a:lnTo>
                  <a:lnTo>
                    <a:pt x="143" y="120"/>
                  </a:lnTo>
                  <a:lnTo>
                    <a:pt x="143" y="120"/>
                  </a:lnTo>
                  <a:lnTo>
                    <a:pt x="140" y="121"/>
                  </a:lnTo>
                  <a:lnTo>
                    <a:pt x="140" y="121"/>
                  </a:lnTo>
                  <a:lnTo>
                    <a:pt x="139" y="123"/>
                  </a:lnTo>
                  <a:lnTo>
                    <a:pt x="139" y="123"/>
                  </a:lnTo>
                  <a:lnTo>
                    <a:pt x="139" y="124"/>
                  </a:lnTo>
                  <a:lnTo>
                    <a:pt x="139" y="124"/>
                  </a:lnTo>
                  <a:lnTo>
                    <a:pt x="137" y="132"/>
                  </a:lnTo>
                  <a:lnTo>
                    <a:pt x="137" y="132"/>
                  </a:lnTo>
                  <a:lnTo>
                    <a:pt x="136" y="134"/>
                  </a:lnTo>
                  <a:lnTo>
                    <a:pt x="136" y="134"/>
                  </a:lnTo>
                  <a:lnTo>
                    <a:pt x="136" y="134"/>
                  </a:lnTo>
                  <a:lnTo>
                    <a:pt x="136" y="136"/>
                  </a:lnTo>
                  <a:lnTo>
                    <a:pt x="136" y="134"/>
                  </a:lnTo>
                  <a:lnTo>
                    <a:pt x="136" y="134"/>
                  </a:lnTo>
                  <a:lnTo>
                    <a:pt x="136" y="136"/>
                  </a:lnTo>
                  <a:lnTo>
                    <a:pt x="136" y="134"/>
                  </a:lnTo>
                  <a:lnTo>
                    <a:pt x="136" y="136"/>
                  </a:lnTo>
                  <a:lnTo>
                    <a:pt x="136" y="134"/>
                  </a:lnTo>
                  <a:lnTo>
                    <a:pt x="136" y="134"/>
                  </a:lnTo>
                  <a:lnTo>
                    <a:pt x="136" y="136"/>
                  </a:lnTo>
                  <a:lnTo>
                    <a:pt x="136" y="134"/>
                  </a:lnTo>
                  <a:lnTo>
                    <a:pt x="136" y="136"/>
                  </a:lnTo>
                  <a:lnTo>
                    <a:pt x="137" y="134"/>
                  </a:lnTo>
                  <a:lnTo>
                    <a:pt x="136" y="134"/>
                  </a:lnTo>
                  <a:lnTo>
                    <a:pt x="136" y="136"/>
                  </a:lnTo>
                  <a:lnTo>
                    <a:pt x="137" y="134"/>
                  </a:lnTo>
                  <a:lnTo>
                    <a:pt x="136" y="136"/>
                  </a:lnTo>
                  <a:lnTo>
                    <a:pt x="137" y="134"/>
                  </a:lnTo>
                  <a:lnTo>
                    <a:pt x="137" y="134"/>
                  </a:lnTo>
                  <a:lnTo>
                    <a:pt x="136" y="136"/>
                  </a:lnTo>
                  <a:lnTo>
                    <a:pt x="137" y="134"/>
                  </a:lnTo>
                  <a:lnTo>
                    <a:pt x="137" y="134"/>
                  </a:lnTo>
                  <a:lnTo>
                    <a:pt x="137" y="134"/>
                  </a:lnTo>
                  <a:lnTo>
                    <a:pt x="137" y="134"/>
                  </a:lnTo>
                  <a:lnTo>
                    <a:pt x="137" y="134"/>
                  </a:lnTo>
                  <a:lnTo>
                    <a:pt x="137" y="134"/>
                  </a:lnTo>
                  <a:lnTo>
                    <a:pt x="136" y="133"/>
                  </a:lnTo>
                  <a:lnTo>
                    <a:pt x="136" y="133"/>
                  </a:lnTo>
                  <a:lnTo>
                    <a:pt x="136" y="132"/>
                  </a:lnTo>
                  <a:lnTo>
                    <a:pt x="136" y="132"/>
                  </a:lnTo>
                  <a:lnTo>
                    <a:pt x="134" y="130"/>
                  </a:lnTo>
                  <a:lnTo>
                    <a:pt x="134" y="130"/>
                  </a:lnTo>
                  <a:lnTo>
                    <a:pt x="133" y="129"/>
                  </a:lnTo>
                  <a:lnTo>
                    <a:pt x="131" y="129"/>
                  </a:lnTo>
                  <a:lnTo>
                    <a:pt x="133" y="132"/>
                  </a:lnTo>
                  <a:lnTo>
                    <a:pt x="131" y="129"/>
                  </a:lnTo>
                  <a:lnTo>
                    <a:pt x="131" y="129"/>
                  </a:lnTo>
                  <a:lnTo>
                    <a:pt x="128" y="130"/>
                  </a:lnTo>
                  <a:lnTo>
                    <a:pt x="128" y="130"/>
                  </a:lnTo>
                  <a:lnTo>
                    <a:pt x="127" y="133"/>
                  </a:lnTo>
                  <a:lnTo>
                    <a:pt x="127" y="134"/>
                  </a:lnTo>
                  <a:lnTo>
                    <a:pt x="126" y="134"/>
                  </a:lnTo>
                  <a:lnTo>
                    <a:pt x="126" y="134"/>
                  </a:lnTo>
                  <a:lnTo>
                    <a:pt x="126" y="134"/>
                  </a:lnTo>
                  <a:lnTo>
                    <a:pt x="126" y="134"/>
                  </a:lnTo>
                  <a:lnTo>
                    <a:pt x="126" y="134"/>
                  </a:lnTo>
                  <a:lnTo>
                    <a:pt x="126" y="134"/>
                  </a:lnTo>
                  <a:lnTo>
                    <a:pt x="126" y="134"/>
                  </a:lnTo>
                  <a:lnTo>
                    <a:pt x="126" y="134"/>
                  </a:lnTo>
                  <a:lnTo>
                    <a:pt x="121" y="137"/>
                  </a:lnTo>
                  <a:lnTo>
                    <a:pt x="121" y="137"/>
                  </a:lnTo>
                  <a:lnTo>
                    <a:pt x="118" y="139"/>
                  </a:lnTo>
                  <a:lnTo>
                    <a:pt x="118" y="139"/>
                  </a:lnTo>
                  <a:lnTo>
                    <a:pt x="117" y="139"/>
                  </a:lnTo>
                  <a:lnTo>
                    <a:pt x="117" y="139"/>
                  </a:lnTo>
                  <a:lnTo>
                    <a:pt x="111" y="139"/>
                  </a:lnTo>
                  <a:lnTo>
                    <a:pt x="111" y="139"/>
                  </a:lnTo>
                  <a:lnTo>
                    <a:pt x="108" y="139"/>
                  </a:lnTo>
                  <a:lnTo>
                    <a:pt x="108" y="140"/>
                  </a:lnTo>
                  <a:lnTo>
                    <a:pt x="108" y="139"/>
                  </a:lnTo>
                  <a:lnTo>
                    <a:pt x="108" y="139"/>
                  </a:lnTo>
                  <a:lnTo>
                    <a:pt x="108" y="140"/>
                  </a:lnTo>
                  <a:lnTo>
                    <a:pt x="108" y="139"/>
                  </a:lnTo>
                  <a:lnTo>
                    <a:pt x="108" y="139"/>
                  </a:lnTo>
                  <a:lnTo>
                    <a:pt x="108" y="139"/>
                  </a:lnTo>
                  <a:lnTo>
                    <a:pt x="108" y="139"/>
                  </a:lnTo>
                  <a:lnTo>
                    <a:pt x="108" y="139"/>
                  </a:lnTo>
                  <a:lnTo>
                    <a:pt x="108" y="139"/>
                  </a:lnTo>
                  <a:lnTo>
                    <a:pt x="108" y="139"/>
                  </a:lnTo>
                  <a:lnTo>
                    <a:pt x="107" y="137"/>
                  </a:lnTo>
                  <a:lnTo>
                    <a:pt x="107" y="137"/>
                  </a:lnTo>
                  <a:lnTo>
                    <a:pt x="105" y="136"/>
                  </a:lnTo>
                  <a:lnTo>
                    <a:pt x="105" y="136"/>
                  </a:lnTo>
                  <a:lnTo>
                    <a:pt x="104" y="136"/>
                  </a:lnTo>
                  <a:lnTo>
                    <a:pt x="104" y="136"/>
                  </a:lnTo>
                  <a:lnTo>
                    <a:pt x="101" y="136"/>
                  </a:lnTo>
                  <a:lnTo>
                    <a:pt x="101" y="136"/>
                  </a:lnTo>
                  <a:lnTo>
                    <a:pt x="101" y="136"/>
                  </a:lnTo>
                  <a:lnTo>
                    <a:pt x="101" y="137"/>
                  </a:lnTo>
                  <a:lnTo>
                    <a:pt x="101" y="137"/>
                  </a:lnTo>
                  <a:lnTo>
                    <a:pt x="100" y="142"/>
                  </a:lnTo>
                  <a:lnTo>
                    <a:pt x="100" y="142"/>
                  </a:lnTo>
                  <a:lnTo>
                    <a:pt x="98" y="145"/>
                  </a:lnTo>
                  <a:lnTo>
                    <a:pt x="98" y="145"/>
                  </a:lnTo>
                  <a:lnTo>
                    <a:pt x="98" y="145"/>
                  </a:lnTo>
                  <a:lnTo>
                    <a:pt x="100" y="146"/>
                  </a:lnTo>
                  <a:lnTo>
                    <a:pt x="98" y="145"/>
                  </a:lnTo>
                  <a:lnTo>
                    <a:pt x="98" y="145"/>
                  </a:lnTo>
                  <a:lnTo>
                    <a:pt x="100" y="146"/>
                  </a:lnTo>
                  <a:lnTo>
                    <a:pt x="98" y="145"/>
                  </a:lnTo>
                  <a:lnTo>
                    <a:pt x="98" y="145"/>
                  </a:lnTo>
                  <a:lnTo>
                    <a:pt x="97" y="145"/>
                  </a:lnTo>
                  <a:lnTo>
                    <a:pt x="97" y="145"/>
                  </a:lnTo>
                  <a:lnTo>
                    <a:pt x="92" y="147"/>
                  </a:lnTo>
                  <a:lnTo>
                    <a:pt x="92" y="147"/>
                  </a:lnTo>
                  <a:lnTo>
                    <a:pt x="89" y="152"/>
                  </a:lnTo>
                  <a:lnTo>
                    <a:pt x="89" y="152"/>
                  </a:lnTo>
                  <a:lnTo>
                    <a:pt x="85" y="158"/>
                  </a:lnTo>
                  <a:lnTo>
                    <a:pt x="85" y="158"/>
                  </a:lnTo>
                  <a:lnTo>
                    <a:pt x="84" y="159"/>
                  </a:lnTo>
                  <a:lnTo>
                    <a:pt x="84" y="159"/>
                  </a:lnTo>
                  <a:lnTo>
                    <a:pt x="82" y="159"/>
                  </a:lnTo>
                  <a:lnTo>
                    <a:pt x="82" y="159"/>
                  </a:lnTo>
                  <a:lnTo>
                    <a:pt x="82" y="162"/>
                  </a:lnTo>
                  <a:lnTo>
                    <a:pt x="81" y="165"/>
                  </a:lnTo>
                  <a:lnTo>
                    <a:pt x="82" y="165"/>
                  </a:lnTo>
                  <a:lnTo>
                    <a:pt x="82" y="165"/>
                  </a:lnTo>
                  <a:lnTo>
                    <a:pt x="85" y="163"/>
                  </a:lnTo>
                  <a:lnTo>
                    <a:pt x="88" y="162"/>
                  </a:lnTo>
                  <a:lnTo>
                    <a:pt x="88" y="162"/>
                  </a:lnTo>
                  <a:lnTo>
                    <a:pt x="92" y="156"/>
                  </a:lnTo>
                  <a:lnTo>
                    <a:pt x="92" y="156"/>
                  </a:lnTo>
                  <a:lnTo>
                    <a:pt x="94" y="153"/>
                  </a:lnTo>
                  <a:lnTo>
                    <a:pt x="94" y="153"/>
                  </a:lnTo>
                  <a:lnTo>
                    <a:pt x="95" y="152"/>
                  </a:lnTo>
                  <a:lnTo>
                    <a:pt x="95" y="152"/>
                  </a:lnTo>
                  <a:lnTo>
                    <a:pt x="98" y="150"/>
                  </a:lnTo>
                  <a:lnTo>
                    <a:pt x="98" y="150"/>
                  </a:lnTo>
                  <a:lnTo>
                    <a:pt x="101" y="149"/>
                  </a:lnTo>
                  <a:lnTo>
                    <a:pt x="101" y="149"/>
                  </a:lnTo>
                  <a:lnTo>
                    <a:pt x="102" y="147"/>
                  </a:lnTo>
                  <a:lnTo>
                    <a:pt x="102" y="147"/>
                  </a:lnTo>
                  <a:lnTo>
                    <a:pt x="104" y="145"/>
                  </a:lnTo>
                  <a:lnTo>
                    <a:pt x="104" y="145"/>
                  </a:lnTo>
                  <a:lnTo>
                    <a:pt x="104" y="142"/>
                  </a:lnTo>
                  <a:lnTo>
                    <a:pt x="104" y="142"/>
                  </a:lnTo>
                  <a:lnTo>
                    <a:pt x="105" y="140"/>
                  </a:lnTo>
                  <a:lnTo>
                    <a:pt x="105" y="140"/>
                  </a:lnTo>
                  <a:lnTo>
                    <a:pt x="104" y="139"/>
                  </a:lnTo>
                  <a:lnTo>
                    <a:pt x="105" y="140"/>
                  </a:lnTo>
                  <a:lnTo>
                    <a:pt x="105" y="140"/>
                  </a:lnTo>
                  <a:lnTo>
                    <a:pt x="104" y="139"/>
                  </a:lnTo>
                  <a:lnTo>
                    <a:pt x="105" y="140"/>
                  </a:lnTo>
                  <a:lnTo>
                    <a:pt x="105" y="140"/>
                  </a:lnTo>
                  <a:lnTo>
                    <a:pt x="104" y="139"/>
                  </a:lnTo>
                  <a:lnTo>
                    <a:pt x="104" y="140"/>
                  </a:lnTo>
                  <a:lnTo>
                    <a:pt x="104" y="140"/>
                  </a:lnTo>
                  <a:lnTo>
                    <a:pt x="105" y="140"/>
                  </a:lnTo>
                  <a:lnTo>
                    <a:pt x="104" y="139"/>
                  </a:lnTo>
                  <a:lnTo>
                    <a:pt x="104" y="140"/>
                  </a:lnTo>
                  <a:lnTo>
                    <a:pt x="104" y="139"/>
                  </a:lnTo>
                  <a:lnTo>
                    <a:pt x="102" y="140"/>
                  </a:lnTo>
                  <a:lnTo>
                    <a:pt x="102" y="140"/>
                  </a:lnTo>
                  <a:lnTo>
                    <a:pt x="104" y="140"/>
                  </a:lnTo>
                  <a:lnTo>
                    <a:pt x="104" y="139"/>
                  </a:lnTo>
                  <a:lnTo>
                    <a:pt x="102" y="140"/>
                  </a:lnTo>
                  <a:lnTo>
                    <a:pt x="102" y="140"/>
                  </a:lnTo>
                  <a:lnTo>
                    <a:pt x="102" y="140"/>
                  </a:lnTo>
                  <a:lnTo>
                    <a:pt x="102" y="140"/>
                  </a:lnTo>
                  <a:lnTo>
                    <a:pt x="102" y="140"/>
                  </a:lnTo>
                  <a:lnTo>
                    <a:pt x="102" y="140"/>
                  </a:lnTo>
                  <a:lnTo>
                    <a:pt x="104" y="142"/>
                  </a:lnTo>
                  <a:lnTo>
                    <a:pt x="104" y="142"/>
                  </a:lnTo>
                  <a:lnTo>
                    <a:pt x="105" y="143"/>
                  </a:lnTo>
                  <a:lnTo>
                    <a:pt x="105" y="143"/>
                  </a:lnTo>
                  <a:lnTo>
                    <a:pt x="107" y="143"/>
                  </a:lnTo>
                  <a:lnTo>
                    <a:pt x="107" y="143"/>
                  </a:lnTo>
                  <a:lnTo>
                    <a:pt x="111" y="145"/>
                  </a:lnTo>
                  <a:lnTo>
                    <a:pt x="111" y="145"/>
                  </a:lnTo>
                  <a:lnTo>
                    <a:pt x="117" y="145"/>
                  </a:lnTo>
                  <a:lnTo>
                    <a:pt x="117" y="145"/>
                  </a:lnTo>
                  <a:lnTo>
                    <a:pt x="120" y="143"/>
                  </a:lnTo>
                  <a:lnTo>
                    <a:pt x="120" y="143"/>
                  </a:lnTo>
                  <a:lnTo>
                    <a:pt x="128" y="139"/>
                  </a:lnTo>
                  <a:lnTo>
                    <a:pt x="128" y="139"/>
                  </a:lnTo>
                  <a:lnTo>
                    <a:pt x="130" y="137"/>
                  </a:lnTo>
                  <a:lnTo>
                    <a:pt x="130" y="137"/>
                  </a:lnTo>
                  <a:lnTo>
                    <a:pt x="133" y="134"/>
                  </a:lnTo>
                  <a:lnTo>
                    <a:pt x="133" y="134"/>
                  </a:lnTo>
                  <a:lnTo>
                    <a:pt x="133" y="134"/>
                  </a:lnTo>
                  <a:lnTo>
                    <a:pt x="133" y="134"/>
                  </a:lnTo>
                  <a:lnTo>
                    <a:pt x="133" y="134"/>
                  </a:lnTo>
                  <a:lnTo>
                    <a:pt x="133" y="134"/>
                  </a:lnTo>
                  <a:lnTo>
                    <a:pt x="133" y="134"/>
                  </a:lnTo>
                  <a:lnTo>
                    <a:pt x="133" y="134"/>
                  </a:lnTo>
                  <a:lnTo>
                    <a:pt x="133" y="133"/>
                  </a:lnTo>
                  <a:lnTo>
                    <a:pt x="133" y="134"/>
                  </a:lnTo>
                  <a:lnTo>
                    <a:pt x="133" y="134"/>
                  </a:lnTo>
                  <a:lnTo>
                    <a:pt x="133" y="133"/>
                  </a:lnTo>
                  <a:lnTo>
                    <a:pt x="133" y="134"/>
                  </a:lnTo>
                  <a:lnTo>
                    <a:pt x="133" y="132"/>
                  </a:lnTo>
                  <a:lnTo>
                    <a:pt x="133" y="134"/>
                  </a:lnTo>
                  <a:lnTo>
                    <a:pt x="133" y="134"/>
                  </a:lnTo>
                  <a:lnTo>
                    <a:pt x="133" y="132"/>
                  </a:lnTo>
                  <a:lnTo>
                    <a:pt x="133" y="134"/>
                  </a:lnTo>
                  <a:lnTo>
                    <a:pt x="133" y="133"/>
                  </a:lnTo>
                  <a:lnTo>
                    <a:pt x="131" y="133"/>
                  </a:lnTo>
                  <a:lnTo>
                    <a:pt x="131" y="133"/>
                  </a:lnTo>
                  <a:lnTo>
                    <a:pt x="133" y="134"/>
                  </a:lnTo>
                  <a:lnTo>
                    <a:pt x="133" y="133"/>
                  </a:lnTo>
                  <a:lnTo>
                    <a:pt x="131" y="133"/>
                  </a:lnTo>
                  <a:lnTo>
                    <a:pt x="131" y="133"/>
                  </a:lnTo>
                  <a:lnTo>
                    <a:pt x="131" y="133"/>
                  </a:lnTo>
                  <a:lnTo>
                    <a:pt x="131" y="133"/>
                  </a:lnTo>
                  <a:lnTo>
                    <a:pt x="131" y="133"/>
                  </a:lnTo>
                  <a:lnTo>
                    <a:pt x="131" y="133"/>
                  </a:lnTo>
                  <a:lnTo>
                    <a:pt x="131" y="133"/>
                  </a:lnTo>
                  <a:lnTo>
                    <a:pt x="131" y="133"/>
                  </a:lnTo>
                  <a:lnTo>
                    <a:pt x="131" y="136"/>
                  </a:lnTo>
                  <a:lnTo>
                    <a:pt x="131" y="136"/>
                  </a:lnTo>
                  <a:lnTo>
                    <a:pt x="133" y="139"/>
                  </a:lnTo>
                  <a:lnTo>
                    <a:pt x="133" y="139"/>
                  </a:lnTo>
                  <a:lnTo>
                    <a:pt x="136" y="140"/>
                  </a:lnTo>
                  <a:lnTo>
                    <a:pt x="136" y="140"/>
                  </a:lnTo>
                  <a:lnTo>
                    <a:pt x="139" y="139"/>
                  </a:lnTo>
                  <a:lnTo>
                    <a:pt x="139" y="139"/>
                  </a:lnTo>
                  <a:lnTo>
                    <a:pt x="140" y="136"/>
                  </a:lnTo>
                  <a:lnTo>
                    <a:pt x="140" y="136"/>
                  </a:lnTo>
                  <a:lnTo>
                    <a:pt x="143" y="126"/>
                  </a:lnTo>
                  <a:lnTo>
                    <a:pt x="143" y="126"/>
                  </a:lnTo>
                  <a:lnTo>
                    <a:pt x="142" y="124"/>
                  </a:lnTo>
                  <a:lnTo>
                    <a:pt x="143" y="126"/>
                  </a:lnTo>
                  <a:lnTo>
                    <a:pt x="143" y="126"/>
                  </a:lnTo>
                  <a:lnTo>
                    <a:pt x="142" y="124"/>
                  </a:lnTo>
                  <a:lnTo>
                    <a:pt x="143" y="126"/>
                  </a:lnTo>
                  <a:lnTo>
                    <a:pt x="143" y="126"/>
                  </a:lnTo>
                  <a:lnTo>
                    <a:pt x="143" y="126"/>
                  </a:lnTo>
                  <a:lnTo>
                    <a:pt x="143" y="126"/>
                  </a:lnTo>
                  <a:lnTo>
                    <a:pt x="143" y="126"/>
                  </a:lnTo>
                  <a:lnTo>
                    <a:pt x="143" y="126"/>
                  </a:lnTo>
                  <a:lnTo>
                    <a:pt x="143" y="126"/>
                  </a:lnTo>
                  <a:lnTo>
                    <a:pt x="143" y="126"/>
                  </a:lnTo>
                  <a:lnTo>
                    <a:pt x="144" y="126"/>
                  </a:lnTo>
                  <a:lnTo>
                    <a:pt x="146" y="126"/>
                  </a:lnTo>
                  <a:lnTo>
                    <a:pt x="146" y="126"/>
                  </a:lnTo>
                  <a:lnTo>
                    <a:pt x="149" y="124"/>
                  </a:lnTo>
                  <a:lnTo>
                    <a:pt x="149" y="124"/>
                  </a:lnTo>
                  <a:lnTo>
                    <a:pt x="152" y="121"/>
                  </a:lnTo>
                  <a:lnTo>
                    <a:pt x="153" y="120"/>
                  </a:lnTo>
                  <a:lnTo>
                    <a:pt x="153" y="120"/>
                  </a:lnTo>
                  <a:lnTo>
                    <a:pt x="152" y="118"/>
                  </a:lnTo>
                  <a:lnTo>
                    <a:pt x="152" y="120"/>
                  </a:lnTo>
                  <a:lnTo>
                    <a:pt x="153" y="120"/>
                  </a:lnTo>
                  <a:lnTo>
                    <a:pt x="152" y="118"/>
                  </a:lnTo>
                  <a:lnTo>
                    <a:pt x="152" y="120"/>
                  </a:lnTo>
                  <a:lnTo>
                    <a:pt x="152" y="120"/>
                  </a:lnTo>
                  <a:lnTo>
                    <a:pt x="152" y="118"/>
                  </a:lnTo>
                  <a:lnTo>
                    <a:pt x="152" y="120"/>
                  </a:lnTo>
                  <a:lnTo>
                    <a:pt x="152" y="120"/>
                  </a:lnTo>
                  <a:lnTo>
                    <a:pt x="152" y="118"/>
                  </a:lnTo>
                  <a:lnTo>
                    <a:pt x="152" y="120"/>
                  </a:lnTo>
                  <a:lnTo>
                    <a:pt x="152" y="118"/>
                  </a:lnTo>
                  <a:lnTo>
                    <a:pt x="150" y="120"/>
                  </a:lnTo>
                  <a:lnTo>
                    <a:pt x="152" y="120"/>
                  </a:lnTo>
                  <a:lnTo>
                    <a:pt x="152" y="118"/>
                  </a:lnTo>
                  <a:lnTo>
                    <a:pt x="150" y="120"/>
                  </a:lnTo>
                  <a:lnTo>
                    <a:pt x="152" y="118"/>
                  </a:lnTo>
                  <a:lnTo>
                    <a:pt x="150" y="120"/>
                  </a:lnTo>
                  <a:lnTo>
                    <a:pt x="150" y="120"/>
                  </a:lnTo>
                  <a:lnTo>
                    <a:pt x="152" y="118"/>
                  </a:lnTo>
                  <a:lnTo>
                    <a:pt x="150" y="120"/>
                  </a:lnTo>
                  <a:lnTo>
                    <a:pt x="150" y="120"/>
                  </a:lnTo>
                  <a:lnTo>
                    <a:pt x="150" y="120"/>
                  </a:lnTo>
                  <a:lnTo>
                    <a:pt x="150" y="120"/>
                  </a:lnTo>
                  <a:lnTo>
                    <a:pt x="150" y="120"/>
                  </a:lnTo>
                  <a:lnTo>
                    <a:pt x="150" y="120"/>
                  </a:lnTo>
                  <a:lnTo>
                    <a:pt x="150" y="120"/>
                  </a:lnTo>
                  <a:lnTo>
                    <a:pt x="150" y="120"/>
                  </a:lnTo>
                  <a:lnTo>
                    <a:pt x="150" y="120"/>
                  </a:lnTo>
                  <a:lnTo>
                    <a:pt x="150" y="120"/>
                  </a:lnTo>
                  <a:lnTo>
                    <a:pt x="147" y="124"/>
                  </a:lnTo>
                  <a:lnTo>
                    <a:pt x="147" y="124"/>
                  </a:lnTo>
                  <a:lnTo>
                    <a:pt x="146" y="127"/>
                  </a:lnTo>
                  <a:lnTo>
                    <a:pt x="146" y="130"/>
                  </a:lnTo>
                  <a:lnTo>
                    <a:pt x="146" y="130"/>
                  </a:lnTo>
                  <a:lnTo>
                    <a:pt x="147" y="134"/>
                  </a:lnTo>
                  <a:lnTo>
                    <a:pt x="147" y="134"/>
                  </a:lnTo>
                  <a:lnTo>
                    <a:pt x="149" y="136"/>
                  </a:lnTo>
                  <a:lnTo>
                    <a:pt x="152" y="136"/>
                  </a:lnTo>
                  <a:lnTo>
                    <a:pt x="152" y="136"/>
                  </a:lnTo>
                  <a:lnTo>
                    <a:pt x="156" y="137"/>
                  </a:lnTo>
                  <a:lnTo>
                    <a:pt x="156" y="137"/>
                  </a:lnTo>
                  <a:lnTo>
                    <a:pt x="157" y="136"/>
                  </a:lnTo>
                  <a:lnTo>
                    <a:pt x="157" y="136"/>
                  </a:lnTo>
                  <a:lnTo>
                    <a:pt x="159" y="133"/>
                  </a:lnTo>
                  <a:lnTo>
                    <a:pt x="159" y="133"/>
                  </a:lnTo>
                  <a:lnTo>
                    <a:pt x="160" y="129"/>
                  </a:lnTo>
                  <a:lnTo>
                    <a:pt x="160" y="129"/>
                  </a:lnTo>
                  <a:lnTo>
                    <a:pt x="162" y="126"/>
                  </a:lnTo>
                  <a:lnTo>
                    <a:pt x="162" y="126"/>
                  </a:lnTo>
                  <a:lnTo>
                    <a:pt x="165" y="123"/>
                  </a:lnTo>
                  <a:lnTo>
                    <a:pt x="165" y="123"/>
                  </a:lnTo>
                  <a:lnTo>
                    <a:pt x="166" y="121"/>
                  </a:lnTo>
                  <a:lnTo>
                    <a:pt x="166" y="121"/>
                  </a:lnTo>
                  <a:lnTo>
                    <a:pt x="168" y="118"/>
                  </a:lnTo>
                  <a:lnTo>
                    <a:pt x="168" y="118"/>
                  </a:lnTo>
                  <a:lnTo>
                    <a:pt x="166" y="116"/>
                  </a:lnTo>
                  <a:lnTo>
                    <a:pt x="166" y="116"/>
                  </a:lnTo>
                  <a:lnTo>
                    <a:pt x="165" y="111"/>
                  </a:lnTo>
                  <a:lnTo>
                    <a:pt x="165" y="111"/>
                  </a:lnTo>
                  <a:lnTo>
                    <a:pt x="166" y="105"/>
                  </a:lnTo>
                  <a:lnTo>
                    <a:pt x="166" y="105"/>
                  </a:lnTo>
                  <a:lnTo>
                    <a:pt x="166" y="104"/>
                  </a:lnTo>
                  <a:lnTo>
                    <a:pt x="166" y="104"/>
                  </a:lnTo>
                  <a:lnTo>
                    <a:pt x="169" y="95"/>
                  </a:lnTo>
                  <a:lnTo>
                    <a:pt x="169" y="95"/>
                  </a:lnTo>
                  <a:lnTo>
                    <a:pt x="169" y="92"/>
                  </a:lnTo>
                  <a:lnTo>
                    <a:pt x="169" y="92"/>
                  </a:lnTo>
                  <a:lnTo>
                    <a:pt x="170" y="90"/>
                  </a:lnTo>
                  <a:lnTo>
                    <a:pt x="170" y="90"/>
                  </a:lnTo>
                  <a:lnTo>
                    <a:pt x="170" y="87"/>
                  </a:lnTo>
                  <a:lnTo>
                    <a:pt x="170" y="87"/>
                  </a:lnTo>
                  <a:lnTo>
                    <a:pt x="170" y="84"/>
                  </a:lnTo>
                  <a:lnTo>
                    <a:pt x="170" y="84"/>
                  </a:lnTo>
                  <a:lnTo>
                    <a:pt x="170" y="71"/>
                  </a:lnTo>
                  <a:lnTo>
                    <a:pt x="170" y="69"/>
                  </a:lnTo>
                  <a:lnTo>
                    <a:pt x="170" y="69"/>
                  </a:lnTo>
                  <a:lnTo>
                    <a:pt x="170" y="66"/>
                  </a:lnTo>
                  <a:lnTo>
                    <a:pt x="170" y="66"/>
                  </a:lnTo>
                  <a:lnTo>
                    <a:pt x="170" y="66"/>
                  </a:lnTo>
                  <a:lnTo>
                    <a:pt x="170" y="66"/>
                  </a:lnTo>
                  <a:lnTo>
                    <a:pt x="170" y="66"/>
                  </a:lnTo>
                  <a:lnTo>
                    <a:pt x="170" y="66"/>
                  </a:lnTo>
                  <a:lnTo>
                    <a:pt x="170" y="66"/>
                  </a:lnTo>
                  <a:lnTo>
                    <a:pt x="170" y="66"/>
                  </a:lnTo>
                  <a:lnTo>
                    <a:pt x="170" y="66"/>
                  </a:lnTo>
                  <a:lnTo>
                    <a:pt x="172" y="66"/>
                  </a:lnTo>
                  <a:lnTo>
                    <a:pt x="172" y="66"/>
                  </a:lnTo>
                  <a:lnTo>
                    <a:pt x="173" y="68"/>
                  </a:lnTo>
                  <a:lnTo>
                    <a:pt x="173" y="68"/>
                  </a:lnTo>
                  <a:lnTo>
                    <a:pt x="175" y="66"/>
                  </a:lnTo>
                  <a:lnTo>
                    <a:pt x="175" y="66"/>
                  </a:lnTo>
                  <a:lnTo>
                    <a:pt x="178" y="65"/>
                  </a:lnTo>
                  <a:lnTo>
                    <a:pt x="178" y="65"/>
                  </a:lnTo>
                  <a:lnTo>
                    <a:pt x="178" y="62"/>
                  </a:lnTo>
                  <a:lnTo>
                    <a:pt x="178" y="62"/>
                  </a:lnTo>
                  <a:lnTo>
                    <a:pt x="179" y="58"/>
                  </a:lnTo>
                  <a:lnTo>
                    <a:pt x="179" y="58"/>
                  </a:lnTo>
                  <a:lnTo>
                    <a:pt x="179" y="55"/>
                  </a:lnTo>
                  <a:lnTo>
                    <a:pt x="179" y="55"/>
                  </a:lnTo>
                  <a:lnTo>
                    <a:pt x="181" y="50"/>
                  </a:lnTo>
                  <a:lnTo>
                    <a:pt x="181" y="50"/>
                  </a:lnTo>
                  <a:lnTo>
                    <a:pt x="182" y="48"/>
                  </a:lnTo>
                  <a:lnTo>
                    <a:pt x="182" y="48"/>
                  </a:lnTo>
                  <a:lnTo>
                    <a:pt x="184" y="45"/>
                  </a:lnTo>
                  <a:lnTo>
                    <a:pt x="184" y="45"/>
                  </a:lnTo>
                  <a:lnTo>
                    <a:pt x="184" y="39"/>
                  </a:lnTo>
                  <a:lnTo>
                    <a:pt x="184" y="39"/>
                  </a:lnTo>
                  <a:lnTo>
                    <a:pt x="181" y="29"/>
                  </a:lnTo>
                  <a:lnTo>
                    <a:pt x="181" y="29"/>
                  </a:lnTo>
                  <a:lnTo>
                    <a:pt x="181" y="23"/>
                  </a:lnTo>
                  <a:lnTo>
                    <a:pt x="181" y="23"/>
                  </a:lnTo>
                  <a:lnTo>
                    <a:pt x="179" y="21"/>
                  </a:lnTo>
                  <a:lnTo>
                    <a:pt x="179" y="21"/>
                  </a:lnTo>
                  <a:lnTo>
                    <a:pt x="178" y="20"/>
                  </a:lnTo>
                  <a:lnTo>
                    <a:pt x="178" y="20"/>
                  </a:lnTo>
                  <a:lnTo>
                    <a:pt x="178" y="20"/>
                  </a:lnTo>
                  <a:lnTo>
                    <a:pt x="178" y="20"/>
                  </a:lnTo>
                  <a:lnTo>
                    <a:pt x="178" y="20"/>
                  </a:lnTo>
                  <a:lnTo>
                    <a:pt x="178" y="20"/>
                  </a:lnTo>
                  <a:lnTo>
                    <a:pt x="178" y="20"/>
                  </a:lnTo>
                  <a:lnTo>
                    <a:pt x="178" y="20"/>
                  </a:lnTo>
                  <a:lnTo>
                    <a:pt x="178" y="17"/>
                  </a:lnTo>
                  <a:lnTo>
                    <a:pt x="178" y="17"/>
                  </a:lnTo>
                  <a:lnTo>
                    <a:pt x="175" y="7"/>
                  </a:lnTo>
                  <a:lnTo>
                    <a:pt x="175" y="7"/>
                  </a:lnTo>
                  <a:lnTo>
                    <a:pt x="173" y="4"/>
                  </a:lnTo>
                  <a:lnTo>
                    <a:pt x="172" y="3"/>
                  </a:lnTo>
                  <a:lnTo>
                    <a:pt x="172" y="3"/>
                  </a:lnTo>
                  <a:lnTo>
                    <a:pt x="170" y="1"/>
                  </a:lnTo>
                  <a:lnTo>
                    <a:pt x="168" y="0"/>
                  </a:lnTo>
                  <a:lnTo>
                    <a:pt x="166" y="0"/>
                  </a:lnTo>
                  <a:lnTo>
                    <a:pt x="166" y="0"/>
                  </a:lnTo>
                  <a:lnTo>
                    <a:pt x="163" y="1"/>
                  </a:lnTo>
                  <a:lnTo>
                    <a:pt x="163" y="1"/>
                  </a:lnTo>
                  <a:lnTo>
                    <a:pt x="160" y="5"/>
                  </a:lnTo>
                  <a:lnTo>
                    <a:pt x="160" y="5"/>
                  </a:lnTo>
                  <a:lnTo>
                    <a:pt x="160" y="7"/>
                  </a:lnTo>
                  <a:lnTo>
                    <a:pt x="160" y="7"/>
                  </a:lnTo>
                  <a:lnTo>
                    <a:pt x="162" y="10"/>
                  </a:lnTo>
                  <a:lnTo>
                    <a:pt x="162" y="10"/>
                  </a:lnTo>
                  <a:lnTo>
                    <a:pt x="163" y="11"/>
                  </a:lnTo>
                  <a:lnTo>
                    <a:pt x="163" y="11"/>
                  </a:lnTo>
                  <a:lnTo>
                    <a:pt x="166" y="11"/>
                  </a:lnTo>
                  <a:lnTo>
                    <a:pt x="166" y="11"/>
                  </a:lnTo>
                  <a:lnTo>
                    <a:pt x="168" y="11"/>
                  </a:lnTo>
                  <a:lnTo>
                    <a:pt x="168" y="8"/>
                  </a:lnTo>
                  <a:lnTo>
                    <a:pt x="166" y="10"/>
                  </a:lnTo>
                  <a:lnTo>
                    <a:pt x="166" y="10"/>
                  </a:lnTo>
                  <a:lnTo>
                    <a:pt x="168" y="11"/>
                  </a:lnTo>
                  <a:lnTo>
                    <a:pt x="168" y="8"/>
                  </a:lnTo>
                  <a:lnTo>
                    <a:pt x="166" y="10"/>
                  </a:lnTo>
                  <a:lnTo>
                    <a:pt x="168" y="10"/>
                  </a:lnTo>
                  <a:lnTo>
                    <a:pt x="166" y="10"/>
                  </a:lnTo>
                  <a:lnTo>
                    <a:pt x="166" y="10"/>
                  </a:lnTo>
                  <a:lnTo>
                    <a:pt x="168" y="10"/>
                  </a:lnTo>
                  <a:lnTo>
                    <a:pt x="166" y="10"/>
                  </a:lnTo>
                  <a:lnTo>
                    <a:pt x="166" y="10"/>
                  </a:lnTo>
                  <a:lnTo>
                    <a:pt x="166" y="10"/>
                  </a:lnTo>
                  <a:lnTo>
                    <a:pt x="166" y="10"/>
                  </a:lnTo>
                  <a:lnTo>
                    <a:pt x="166" y="10"/>
                  </a:lnTo>
                  <a:lnTo>
                    <a:pt x="166" y="10"/>
                  </a:lnTo>
                  <a:lnTo>
                    <a:pt x="166" y="10"/>
                  </a:lnTo>
                  <a:lnTo>
                    <a:pt x="166" y="11"/>
                  </a:lnTo>
                  <a:lnTo>
                    <a:pt x="166" y="11"/>
                  </a:lnTo>
                  <a:lnTo>
                    <a:pt x="166" y="13"/>
                  </a:lnTo>
                  <a:lnTo>
                    <a:pt x="166" y="13"/>
                  </a:lnTo>
                  <a:lnTo>
                    <a:pt x="166" y="13"/>
                  </a:lnTo>
                  <a:lnTo>
                    <a:pt x="166" y="13"/>
                  </a:lnTo>
                  <a:lnTo>
                    <a:pt x="166" y="13"/>
                  </a:lnTo>
                  <a:lnTo>
                    <a:pt x="166" y="13"/>
                  </a:lnTo>
                  <a:lnTo>
                    <a:pt x="168" y="14"/>
                  </a:lnTo>
                  <a:lnTo>
                    <a:pt x="166" y="13"/>
                  </a:lnTo>
                  <a:lnTo>
                    <a:pt x="166" y="13"/>
                  </a:lnTo>
                  <a:lnTo>
                    <a:pt x="168" y="14"/>
                  </a:lnTo>
                  <a:lnTo>
                    <a:pt x="166" y="13"/>
                  </a:lnTo>
                  <a:lnTo>
                    <a:pt x="168" y="13"/>
                  </a:lnTo>
                  <a:lnTo>
                    <a:pt x="168" y="13"/>
                  </a:lnTo>
                  <a:lnTo>
                    <a:pt x="166" y="13"/>
                  </a:lnTo>
                  <a:lnTo>
                    <a:pt x="168" y="13"/>
                  </a:lnTo>
                  <a:lnTo>
                    <a:pt x="168" y="13"/>
                  </a:lnTo>
                  <a:lnTo>
                    <a:pt x="166" y="13"/>
                  </a:lnTo>
                  <a:lnTo>
                    <a:pt x="166" y="13"/>
                  </a:lnTo>
                  <a:lnTo>
                    <a:pt x="163" y="11"/>
                  </a:lnTo>
                  <a:lnTo>
                    <a:pt x="162" y="11"/>
                  </a:lnTo>
                  <a:lnTo>
                    <a:pt x="162" y="11"/>
                  </a:lnTo>
                  <a:lnTo>
                    <a:pt x="162" y="11"/>
                  </a:lnTo>
                  <a:lnTo>
                    <a:pt x="162" y="10"/>
                  </a:lnTo>
                  <a:lnTo>
                    <a:pt x="162" y="10"/>
                  </a:lnTo>
                  <a:lnTo>
                    <a:pt x="160" y="5"/>
                  </a:lnTo>
                  <a:lnTo>
                    <a:pt x="160" y="5"/>
                  </a:lnTo>
                  <a:lnTo>
                    <a:pt x="159" y="4"/>
                  </a:lnTo>
                  <a:lnTo>
                    <a:pt x="159" y="4"/>
                  </a:lnTo>
                  <a:lnTo>
                    <a:pt x="157" y="3"/>
                  </a:lnTo>
                  <a:lnTo>
                    <a:pt x="156" y="3"/>
                  </a:lnTo>
                  <a:lnTo>
                    <a:pt x="156" y="3"/>
                  </a:lnTo>
                  <a:lnTo>
                    <a:pt x="155" y="4"/>
                  </a:lnTo>
                  <a:lnTo>
                    <a:pt x="155" y="4"/>
                  </a:lnTo>
                  <a:lnTo>
                    <a:pt x="152" y="7"/>
                  </a:lnTo>
                  <a:lnTo>
                    <a:pt x="152" y="7"/>
                  </a:lnTo>
                  <a:lnTo>
                    <a:pt x="152" y="8"/>
                  </a:lnTo>
                  <a:lnTo>
                    <a:pt x="152" y="8"/>
                  </a:lnTo>
                  <a:lnTo>
                    <a:pt x="152" y="11"/>
                  </a:lnTo>
                  <a:lnTo>
                    <a:pt x="152" y="11"/>
                  </a:lnTo>
                  <a:lnTo>
                    <a:pt x="150" y="13"/>
                  </a:lnTo>
                  <a:lnTo>
                    <a:pt x="150" y="13"/>
                  </a:lnTo>
                  <a:lnTo>
                    <a:pt x="149" y="16"/>
                  </a:lnTo>
                  <a:lnTo>
                    <a:pt x="149" y="16"/>
                  </a:lnTo>
                  <a:lnTo>
                    <a:pt x="147" y="19"/>
                  </a:lnTo>
                  <a:lnTo>
                    <a:pt x="147" y="19"/>
                  </a:lnTo>
                  <a:lnTo>
                    <a:pt x="149" y="23"/>
                  </a:lnTo>
                  <a:lnTo>
                    <a:pt x="149" y="23"/>
                  </a:lnTo>
                  <a:lnTo>
                    <a:pt x="150" y="26"/>
                  </a:lnTo>
                  <a:lnTo>
                    <a:pt x="150" y="26"/>
                  </a:lnTo>
                  <a:lnTo>
                    <a:pt x="150" y="29"/>
                  </a:lnTo>
                  <a:lnTo>
                    <a:pt x="150" y="29"/>
                  </a:lnTo>
                  <a:lnTo>
                    <a:pt x="150" y="29"/>
                  </a:lnTo>
                  <a:lnTo>
                    <a:pt x="150" y="29"/>
                  </a:lnTo>
                  <a:lnTo>
                    <a:pt x="150" y="29"/>
                  </a:lnTo>
                  <a:lnTo>
                    <a:pt x="150" y="29"/>
                  </a:lnTo>
                  <a:lnTo>
                    <a:pt x="150" y="29"/>
                  </a:lnTo>
                  <a:lnTo>
                    <a:pt x="150" y="29"/>
                  </a:lnTo>
                  <a:lnTo>
                    <a:pt x="150" y="29"/>
                  </a:lnTo>
                  <a:lnTo>
                    <a:pt x="150" y="29"/>
                  </a:lnTo>
                  <a:lnTo>
                    <a:pt x="150" y="29"/>
                  </a:lnTo>
                  <a:lnTo>
                    <a:pt x="150" y="29"/>
                  </a:lnTo>
                  <a:lnTo>
                    <a:pt x="150" y="29"/>
                  </a:lnTo>
                  <a:lnTo>
                    <a:pt x="147" y="30"/>
                  </a:lnTo>
                  <a:lnTo>
                    <a:pt x="147" y="30"/>
                  </a:lnTo>
                  <a:lnTo>
                    <a:pt x="147" y="32"/>
                  </a:lnTo>
                  <a:lnTo>
                    <a:pt x="147" y="32"/>
                  </a:lnTo>
                  <a:lnTo>
                    <a:pt x="146" y="33"/>
                  </a:lnTo>
                  <a:lnTo>
                    <a:pt x="146" y="33"/>
                  </a:lnTo>
                  <a:lnTo>
                    <a:pt x="147" y="36"/>
                  </a:lnTo>
                  <a:lnTo>
                    <a:pt x="147" y="36"/>
                  </a:lnTo>
                  <a:lnTo>
                    <a:pt x="149" y="37"/>
                  </a:lnTo>
                  <a:lnTo>
                    <a:pt x="149" y="37"/>
                  </a:lnTo>
                  <a:lnTo>
                    <a:pt x="152" y="39"/>
                  </a:lnTo>
                  <a:lnTo>
                    <a:pt x="152" y="39"/>
                  </a:lnTo>
                  <a:lnTo>
                    <a:pt x="152" y="39"/>
                  </a:lnTo>
                  <a:lnTo>
                    <a:pt x="152" y="39"/>
                  </a:lnTo>
                  <a:lnTo>
                    <a:pt x="152" y="39"/>
                  </a:lnTo>
                  <a:lnTo>
                    <a:pt x="152" y="39"/>
                  </a:lnTo>
                  <a:lnTo>
                    <a:pt x="152" y="39"/>
                  </a:lnTo>
                  <a:lnTo>
                    <a:pt x="152" y="39"/>
                  </a:lnTo>
                  <a:lnTo>
                    <a:pt x="152" y="39"/>
                  </a:lnTo>
                  <a:lnTo>
                    <a:pt x="149" y="45"/>
                  </a:lnTo>
                  <a:lnTo>
                    <a:pt x="149" y="45"/>
                  </a:lnTo>
                  <a:lnTo>
                    <a:pt x="146" y="53"/>
                  </a:lnTo>
                  <a:lnTo>
                    <a:pt x="146" y="53"/>
                  </a:lnTo>
                  <a:lnTo>
                    <a:pt x="143" y="61"/>
                  </a:lnTo>
                  <a:lnTo>
                    <a:pt x="139" y="69"/>
                  </a:lnTo>
                  <a:lnTo>
                    <a:pt x="139" y="69"/>
                  </a:lnTo>
                  <a:lnTo>
                    <a:pt x="131" y="76"/>
                  </a:lnTo>
                  <a:lnTo>
                    <a:pt x="131" y="76"/>
                  </a:lnTo>
                  <a:lnTo>
                    <a:pt x="124" y="82"/>
                  </a:lnTo>
                  <a:lnTo>
                    <a:pt x="124" y="82"/>
                  </a:lnTo>
                  <a:lnTo>
                    <a:pt x="115" y="87"/>
                  </a:lnTo>
                  <a:lnTo>
                    <a:pt x="115" y="87"/>
                  </a:lnTo>
                  <a:lnTo>
                    <a:pt x="110" y="92"/>
                  </a:lnTo>
                  <a:lnTo>
                    <a:pt x="110" y="92"/>
                  </a:lnTo>
                  <a:lnTo>
                    <a:pt x="108" y="94"/>
                  </a:lnTo>
                  <a:lnTo>
                    <a:pt x="104" y="95"/>
                  </a:lnTo>
                  <a:lnTo>
                    <a:pt x="104" y="95"/>
                  </a:lnTo>
                  <a:lnTo>
                    <a:pt x="104" y="95"/>
                  </a:lnTo>
                  <a:lnTo>
                    <a:pt x="104" y="95"/>
                  </a:lnTo>
                  <a:lnTo>
                    <a:pt x="104" y="95"/>
                  </a:lnTo>
                  <a:lnTo>
                    <a:pt x="104" y="95"/>
                  </a:lnTo>
                  <a:lnTo>
                    <a:pt x="104" y="95"/>
                  </a:lnTo>
                  <a:lnTo>
                    <a:pt x="104" y="95"/>
                  </a:lnTo>
                  <a:lnTo>
                    <a:pt x="104" y="95"/>
                  </a:lnTo>
                  <a:lnTo>
                    <a:pt x="104" y="95"/>
                  </a:lnTo>
                  <a:lnTo>
                    <a:pt x="104" y="95"/>
                  </a:lnTo>
                  <a:lnTo>
                    <a:pt x="104" y="95"/>
                  </a:lnTo>
                  <a:lnTo>
                    <a:pt x="104" y="95"/>
                  </a:lnTo>
                  <a:lnTo>
                    <a:pt x="104" y="95"/>
                  </a:lnTo>
                  <a:lnTo>
                    <a:pt x="104" y="94"/>
                  </a:lnTo>
                  <a:lnTo>
                    <a:pt x="104" y="94"/>
                  </a:lnTo>
                  <a:lnTo>
                    <a:pt x="105" y="91"/>
                  </a:lnTo>
                  <a:lnTo>
                    <a:pt x="105" y="91"/>
                  </a:lnTo>
                  <a:lnTo>
                    <a:pt x="107" y="88"/>
                  </a:lnTo>
                  <a:lnTo>
                    <a:pt x="107" y="88"/>
                  </a:lnTo>
                  <a:lnTo>
                    <a:pt x="108" y="87"/>
                  </a:lnTo>
                  <a:lnTo>
                    <a:pt x="108" y="87"/>
                  </a:lnTo>
                  <a:lnTo>
                    <a:pt x="108" y="84"/>
                  </a:lnTo>
                  <a:lnTo>
                    <a:pt x="108" y="84"/>
                  </a:lnTo>
                  <a:lnTo>
                    <a:pt x="107" y="82"/>
                  </a:lnTo>
                  <a:lnTo>
                    <a:pt x="107" y="82"/>
                  </a:lnTo>
                  <a:lnTo>
                    <a:pt x="105" y="81"/>
                  </a:lnTo>
                  <a:lnTo>
                    <a:pt x="104" y="81"/>
                  </a:lnTo>
                  <a:lnTo>
                    <a:pt x="104" y="81"/>
                  </a:lnTo>
                  <a:lnTo>
                    <a:pt x="100" y="82"/>
                  </a:lnTo>
                  <a:lnTo>
                    <a:pt x="100" y="82"/>
                  </a:lnTo>
                  <a:lnTo>
                    <a:pt x="97" y="84"/>
                  </a:lnTo>
                  <a:lnTo>
                    <a:pt x="97" y="84"/>
                  </a:lnTo>
                  <a:lnTo>
                    <a:pt x="95" y="87"/>
                  </a:lnTo>
                  <a:lnTo>
                    <a:pt x="95" y="87"/>
                  </a:lnTo>
                  <a:lnTo>
                    <a:pt x="94" y="90"/>
                  </a:lnTo>
                  <a:lnTo>
                    <a:pt x="94" y="92"/>
                  </a:lnTo>
                  <a:lnTo>
                    <a:pt x="94" y="95"/>
                  </a:lnTo>
                  <a:lnTo>
                    <a:pt x="94" y="95"/>
                  </a:lnTo>
                  <a:lnTo>
                    <a:pt x="94" y="98"/>
                  </a:lnTo>
                  <a:lnTo>
                    <a:pt x="94" y="98"/>
                  </a:lnTo>
                  <a:lnTo>
                    <a:pt x="91" y="103"/>
                  </a:lnTo>
                  <a:lnTo>
                    <a:pt x="91" y="103"/>
                  </a:lnTo>
                  <a:lnTo>
                    <a:pt x="85" y="108"/>
                  </a:lnTo>
                  <a:lnTo>
                    <a:pt x="85" y="108"/>
                  </a:lnTo>
                  <a:lnTo>
                    <a:pt x="84" y="111"/>
                  </a:lnTo>
                  <a:lnTo>
                    <a:pt x="84" y="111"/>
                  </a:lnTo>
                  <a:lnTo>
                    <a:pt x="85" y="116"/>
                  </a:lnTo>
                  <a:lnTo>
                    <a:pt x="85" y="116"/>
                  </a:lnTo>
                  <a:lnTo>
                    <a:pt x="85" y="117"/>
                  </a:lnTo>
                  <a:lnTo>
                    <a:pt x="85" y="117"/>
                  </a:lnTo>
                  <a:lnTo>
                    <a:pt x="85" y="118"/>
                  </a:lnTo>
                  <a:lnTo>
                    <a:pt x="85" y="118"/>
                  </a:lnTo>
                  <a:lnTo>
                    <a:pt x="84" y="118"/>
                  </a:lnTo>
                  <a:lnTo>
                    <a:pt x="84" y="118"/>
                  </a:lnTo>
                  <a:lnTo>
                    <a:pt x="81" y="118"/>
                  </a:lnTo>
                  <a:lnTo>
                    <a:pt x="81" y="120"/>
                  </a:lnTo>
                  <a:lnTo>
                    <a:pt x="81" y="118"/>
                  </a:lnTo>
                  <a:lnTo>
                    <a:pt x="81" y="118"/>
                  </a:lnTo>
                  <a:lnTo>
                    <a:pt x="81" y="120"/>
                  </a:lnTo>
                  <a:lnTo>
                    <a:pt x="81" y="118"/>
                  </a:lnTo>
                  <a:lnTo>
                    <a:pt x="81" y="118"/>
                  </a:lnTo>
                  <a:lnTo>
                    <a:pt x="81" y="118"/>
                  </a:lnTo>
                  <a:lnTo>
                    <a:pt x="81" y="118"/>
                  </a:lnTo>
                  <a:lnTo>
                    <a:pt x="81" y="118"/>
                  </a:lnTo>
                  <a:lnTo>
                    <a:pt x="81" y="118"/>
                  </a:lnTo>
                  <a:lnTo>
                    <a:pt x="81" y="118"/>
                  </a:lnTo>
                  <a:lnTo>
                    <a:pt x="81" y="118"/>
                  </a:lnTo>
                  <a:lnTo>
                    <a:pt x="81" y="118"/>
                  </a:lnTo>
                  <a:lnTo>
                    <a:pt x="78" y="116"/>
                  </a:lnTo>
                  <a:lnTo>
                    <a:pt x="78" y="116"/>
                  </a:lnTo>
                  <a:lnTo>
                    <a:pt x="73" y="116"/>
                  </a:lnTo>
                  <a:lnTo>
                    <a:pt x="73" y="116"/>
                  </a:lnTo>
                  <a:lnTo>
                    <a:pt x="68" y="114"/>
                  </a:lnTo>
                  <a:lnTo>
                    <a:pt x="68" y="114"/>
                  </a:lnTo>
                  <a:lnTo>
                    <a:pt x="65" y="114"/>
                  </a:lnTo>
                  <a:lnTo>
                    <a:pt x="65" y="114"/>
                  </a:lnTo>
                  <a:lnTo>
                    <a:pt x="60" y="114"/>
                  </a:lnTo>
                  <a:lnTo>
                    <a:pt x="59" y="116"/>
                  </a:lnTo>
                  <a:lnTo>
                    <a:pt x="59" y="116"/>
                  </a:lnTo>
                  <a:lnTo>
                    <a:pt x="56" y="118"/>
                  </a:lnTo>
                  <a:lnTo>
                    <a:pt x="56" y="118"/>
                  </a:lnTo>
                  <a:lnTo>
                    <a:pt x="52" y="118"/>
                  </a:lnTo>
                  <a:lnTo>
                    <a:pt x="52" y="118"/>
                  </a:lnTo>
                  <a:lnTo>
                    <a:pt x="43" y="118"/>
                  </a:lnTo>
                  <a:lnTo>
                    <a:pt x="43" y="118"/>
                  </a:lnTo>
                  <a:lnTo>
                    <a:pt x="36" y="120"/>
                  </a:lnTo>
                  <a:lnTo>
                    <a:pt x="36" y="120"/>
                  </a:lnTo>
                  <a:lnTo>
                    <a:pt x="31" y="121"/>
                  </a:lnTo>
                  <a:lnTo>
                    <a:pt x="31" y="121"/>
                  </a:lnTo>
                  <a:lnTo>
                    <a:pt x="26" y="127"/>
                  </a:lnTo>
                  <a:lnTo>
                    <a:pt x="26" y="127"/>
                  </a:lnTo>
                  <a:lnTo>
                    <a:pt x="21" y="130"/>
                  </a:lnTo>
                  <a:lnTo>
                    <a:pt x="21" y="130"/>
                  </a:lnTo>
                  <a:lnTo>
                    <a:pt x="18" y="133"/>
                  </a:lnTo>
                  <a:lnTo>
                    <a:pt x="16" y="136"/>
                  </a:lnTo>
                  <a:lnTo>
                    <a:pt x="16" y="136"/>
                  </a:lnTo>
                  <a:lnTo>
                    <a:pt x="13" y="140"/>
                  </a:lnTo>
                  <a:lnTo>
                    <a:pt x="13" y="140"/>
                  </a:lnTo>
                  <a:lnTo>
                    <a:pt x="7" y="142"/>
                  </a:lnTo>
                  <a:lnTo>
                    <a:pt x="7" y="142"/>
                  </a:lnTo>
                  <a:lnTo>
                    <a:pt x="4" y="143"/>
                  </a:lnTo>
                  <a:lnTo>
                    <a:pt x="1" y="147"/>
                  </a:lnTo>
                  <a:lnTo>
                    <a:pt x="1" y="147"/>
                  </a:lnTo>
                  <a:lnTo>
                    <a:pt x="0" y="150"/>
                  </a:lnTo>
                  <a:lnTo>
                    <a:pt x="0" y="150"/>
                  </a:lnTo>
                  <a:lnTo>
                    <a:pt x="1" y="152"/>
                  </a:lnTo>
                  <a:lnTo>
                    <a:pt x="1" y="152"/>
                  </a:lnTo>
                  <a:lnTo>
                    <a:pt x="2" y="153"/>
                  </a:lnTo>
                  <a:lnTo>
                    <a:pt x="2" y="153"/>
                  </a:lnTo>
                  <a:lnTo>
                    <a:pt x="5" y="153"/>
                  </a:lnTo>
                  <a:lnTo>
                    <a:pt x="5" y="153"/>
                  </a:lnTo>
                  <a:lnTo>
                    <a:pt x="10" y="153"/>
                  </a:lnTo>
                  <a:lnTo>
                    <a:pt x="10" y="153"/>
                  </a:lnTo>
                  <a:lnTo>
                    <a:pt x="14" y="153"/>
                  </a:lnTo>
                  <a:lnTo>
                    <a:pt x="14" y="153"/>
                  </a:lnTo>
                  <a:lnTo>
                    <a:pt x="20" y="152"/>
                  </a:lnTo>
                  <a:lnTo>
                    <a:pt x="20" y="152"/>
                  </a:lnTo>
                  <a:lnTo>
                    <a:pt x="23" y="152"/>
                  </a:lnTo>
                  <a:lnTo>
                    <a:pt x="23" y="152"/>
                  </a:lnTo>
                  <a:lnTo>
                    <a:pt x="24" y="150"/>
                  </a:lnTo>
                  <a:lnTo>
                    <a:pt x="23" y="149"/>
                  </a:lnTo>
                  <a:lnTo>
                    <a:pt x="24" y="150"/>
                  </a:lnTo>
                  <a:lnTo>
                    <a:pt x="24" y="150"/>
                  </a:lnTo>
                  <a:lnTo>
                    <a:pt x="23" y="149"/>
                  </a:lnTo>
                  <a:lnTo>
                    <a:pt x="24" y="150"/>
                  </a:lnTo>
                  <a:lnTo>
                    <a:pt x="24" y="150"/>
                  </a:lnTo>
                  <a:lnTo>
                    <a:pt x="27" y="150"/>
                  </a:lnTo>
                  <a:lnTo>
                    <a:pt x="27" y="150"/>
                  </a:lnTo>
                  <a:lnTo>
                    <a:pt x="27" y="150"/>
                  </a:lnTo>
                  <a:lnTo>
                    <a:pt x="29" y="150"/>
                  </a:lnTo>
                  <a:lnTo>
                    <a:pt x="29" y="150"/>
                  </a:lnTo>
                  <a:lnTo>
                    <a:pt x="29" y="150"/>
                  </a:lnTo>
                  <a:lnTo>
                    <a:pt x="29" y="150"/>
                  </a:lnTo>
                  <a:lnTo>
                    <a:pt x="29" y="150"/>
                  </a:lnTo>
                  <a:lnTo>
                    <a:pt x="29" y="150"/>
                  </a:lnTo>
                  <a:lnTo>
                    <a:pt x="29" y="150"/>
                  </a:lnTo>
                  <a:lnTo>
                    <a:pt x="29" y="150"/>
                  </a:lnTo>
                  <a:lnTo>
                    <a:pt x="30" y="152"/>
                  </a:lnTo>
                  <a:lnTo>
                    <a:pt x="30" y="152"/>
                  </a:lnTo>
                  <a:lnTo>
                    <a:pt x="31" y="152"/>
                  </a:lnTo>
                  <a:lnTo>
                    <a:pt x="31" y="152"/>
                  </a:lnTo>
                  <a:lnTo>
                    <a:pt x="36" y="152"/>
                  </a:lnTo>
                  <a:lnTo>
                    <a:pt x="36" y="152"/>
                  </a:lnTo>
                  <a:lnTo>
                    <a:pt x="37" y="150"/>
                  </a:lnTo>
                  <a:lnTo>
                    <a:pt x="39" y="150"/>
                  </a:lnTo>
                  <a:lnTo>
                    <a:pt x="39" y="150"/>
                  </a:lnTo>
                  <a:lnTo>
                    <a:pt x="39" y="150"/>
                  </a:lnTo>
                  <a:lnTo>
                    <a:pt x="40" y="150"/>
                  </a:lnTo>
                  <a:lnTo>
                    <a:pt x="40" y="150"/>
                  </a:lnTo>
                  <a:lnTo>
                    <a:pt x="42" y="149"/>
                  </a:lnTo>
                  <a:lnTo>
                    <a:pt x="42" y="149"/>
                  </a:lnTo>
                  <a:lnTo>
                    <a:pt x="44" y="146"/>
                  </a:lnTo>
                  <a:lnTo>
                    <a:pt x="44" y="146"/>
                  </a:lnTo>
                  <a:lnTo>
                    <a:pt x="44" y="146"/>
                  </a:lnTo>
                  <a:lnTo>
                    <a:pt x="44" y="146"/>
                  </a:lnTo>
                  <a:lnTo>
                    <a:pt x="44" y="146"/>
                  </a:lnTo>
                  <a:lnTo>
                    <a:pt x="44" y="146"/>
                  </a:lnTo>
                  <a:lnTo>
                    <a:pt x="44" y="146"/>
                  </a:lnTo>
                  <a:lnTo>
                    <a:pt x="44" y="146"/>
                  </a:lnTo>
                  <a:lnTo>
                    <a:pt x="44" y="145"/>
                  </a:lnTo>
                  <a:lnTo>
                    <a:pt x="44" y="146"/>
                  </a:lnTo>
                  <a:lnTo>
                    <a:pt x="44" y="146"/>
                  </a:lnTo>
                  <a:lnTo>
                    <a:pt x="44" y="145"/>
                  </a:lnTo>
                  <a:lnTo>
                    <a:pt x="44" y="146"/>
                  </a:lnTo>
                  <a:lnTo>
                    <a:pt x="44" y="145"/>
                  </a:lnTo>
                  <a:lnTo>
                    <a:pt x="44" y="146"/>
                  </a:lnTo>
                  <a:lnTo>
                    <a:pt x="44" y="146"/>
                  </a:lnTo>
                  <a:lnTo>
                    <a:pt x="44" y="145"/>
                  </a:lnTo>
                  <a:lnTo>
                    <a:pt x="44" y="146"/>
                  </a:lnTo>
                  <a:lnTo>
                    <a:pt x="44" y="146"/>
                  </a:lnTo>
                  <a:lnTo>
                    <a:pt x="46" y="146"/>
                  </a:lnTo>
                  <a:lnTo>
                    <a:pt x="46" y="146"/>
                  </a:lnTo>
                  <a:lnTo>
                    <a:pt x="49" y="146"/>
                  </a:lnTo>
                  <a:lnTo>
                    <a:pt x="52" y="145"/>
                  </a:lnTo>
                  <a:lnTo>
                    <a:pt x="52" y="145"/>
                  </a:lnTo>
                  <a:lnTo>
                    <a:pt x="55" y="143"/>
                  </a:lnTo>
                  <a:lnTo>
                    <a:pt x="55" y="143"/>
                  </a:lnTo>
                  <a:lnTo>
                    <a:pt x="55" y="143"/>
                  </a:lnTo>
                  <a:lnTo>
                    <a:pt x="55" y="143"/>
                  </a:lnTo>
                  <a:lnTo>
                    <a:pt x="56" y="142"/>
                  </a:lnTo>
                  <a:lnTo>
                    <a:pt x="56" y="142"/>
                  </a:lnTo>
                  <a:lnTo>
                    <a:pt x="66" y="140"/>
                  </a:lnTo>
                  <a:lnTo>
                    <a:pt x="66" y="140"/>
                  </a:lnTo>
                  <a:lnTo>
                    <a:pt x="68" y="140"/>
                  </a:lnTo>
                  <a:lnTo>
                    <a:pt x="68" y="140"/>
                  </a:lnTo>
                  <a:lnTo>
                    <a:pt x="71" y="140"/>
                  </a:lnTo>
                  <a:lnTo>
                    <a:pt x="73" y="142"/>
                  </a:lnTo>
                  <a:lnTo>
                    <a:pt x="73" y="143"/>
                  </a:lnTo>
                  <a:lnTo>
                    <a:pt x="73" y="143"/>
                  </a:lnTo>
                  <a:lnTo>
                    <a:pt x="75" y="142"/>
                  </a:lnTo>
                  <a:lnTo>
                    <a:pt x="73" y="142"/>
                  </a:lnTo>
                  <a:lnTo>
                    <a:pt x="73" y="143"/>
                  </a:lnTo>
                  <a:lnTo>
                    <a:pt x="75" y="142"/>
                  </a:lnTo>
                  <a:lnTo>
                    <a:pt x="73" y="142"/>
                  </a:lnTo>
                  <a:lnTo>
                    <a:pt x="73" y="142"/>
                  </a:lnTo>
                  <a:lnTo>
                    <a:pt x="73" y="142"/>
                  </a:lnTo>
                  <a:lnTo>
                    <a:pt x="73" y="142"/>
                  </a:lnTo>
                  <a:lnTo>
                    <a:pt x="73" y="142"/>
                  </a:lnTo>
                  <a:lnTo>
                    <a:pt x="73" y="142"/>
                  </a:lnTo>
                  <a:lnTo>
                    <a:pt x="73" y="143"/>
                  </a:lnTo>
                  <a:lnTo>
                    <a:pt x="73" y="143"/>
                  </a:lnTo>
                  <a:lnTo>
                    <a:pt x="72" y="145"/>
                  </a:lnTo>
                  <a:lnTo>
                    <a:pt x="72" y="145"/>
                  </a:lnTo>
                  <a:lnTo>
                    <a:pt x="71" y="146"/>
                  </a:lnTo>
                  <a:lnTo>
                    <a:pt x="71" y="146"/>
                  </a:lnTo>
                  <a:lnTo>
                    <a:pt x="69" y="147"/>
                  </a:lnTo>
                  <a:lnTo>
                    <a:pt x="69" y="147"/>
                  </a:lnTo>
                  <a:lnTo>
                    <a:pt x="69" y="150"/>
                  </a:lnTo>
                  <a:lnTo>
                    <a:pt x="69" y="150"/>
                  </a:lnTo>
                  <a:lnTo>
                    <a:pt x="69" y="155"/>
                  </a:lnTo>
                  <a:lnTo>
                    <a:pt x="72" y="159"/>
                  </a:lnTo>
                  <a:lnTo>
                    <a:pt x="72" y="159"/>
                  </a:lnTo>
                  <a:lnTo>
                    <a:pt x="75" y="163"/>
                  </a:lnTo>
                  <a:lnTo>
                    <a:pt x="75" y="163"/>
                  </a:lnTo>
                  <a:lnTo>
                    <a:pt x="78" y="163"/>
                  </a:lnTo>
                  <a:lnTo>
                    <a:pt x="81" y="165"/>
                  </a:lnTo>
                  <a:lnTo>
                    <a:pt x="82"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699" name="Freeform 1293"/>
            <p:cNvSpPr>
              <a:spLocks/>
            </p:cNvSpPr>
            <p:nvPr/>
          </p:nvSpPr>
          <p:spPr bwMode="auto">
            <a:xfrm>
              <a:off x="7883526" y="3424238"/>
              <a:ext cx="147638" cy="138113"/>
            </a:xfrm>
            <a:custGeom>
              <a:avLst/>
              <a:gdLst>
                <a:gd name="T0" fmla="*/ 13 w 93"/>
                <a:gd name="T1" fmla="*/ 81 h 87"/>
                <a:gd name="T2" fmla="*/ 6 w 93"/>
                <a:gd name="T3" fmla="*/ 87 h 87"/>
                <a:gd name="T4" fmla="*/ 5 w 93"/>
                <a:gd name="T5" fmla="*/ 85 h 87"/>
                <a:gd name="T6" fmla="*/ 2 w 93"/>
                <a:gd name="T7" fmla="*/ 81 h 87"/>
                <a:gd name="T8" fmla="*/ 2 w 93"/>
                <a:gd name="T9" fmla="*/ 79 h 87"/>
                <a:gd name="T10" fmla="*/ 5 w 93"/>
                <a:gd name="T11" fmla="*/ 76 h 87"/>
                <a:gd name="T12" fmla="*/ 5 w 93"/>
                <a:gd name="T13" fmla="*/ 75 h 87"/>
                <a:gd name="T14" fmla="*/ 0 w 93"/>
                <a:gd name="T15" fmla="*/ 66 h 87"/>
                <a:gd name="T16" fmla="*/ 0 w 93"/>
                <a:gd name="T17" fmla="*/ 63 h 87"/>
                <a:gd name="T18" fmla="*/ 5 w 93"/>
                <a:gd name="T19" fmla="*/ 59 h 87"/>
                <a:gd name="T20" fmla="*/ 9 w 93"/>
                <a:gd name="T21" fmla="*/ 56 h 87"/>
                <a:gd name="T22" fmla="*/ 10 w 93"/>
                <a:gd name="T23" fmla="*/ 52 h 87"/>
                <a:gd name="T24" fmla="*/ 13 w 93"/>
                <a:gd name="T25" fmla="*/ 49 h 87"/>
                <a:gd name="T26" fmla="*/ 18 w 93"/>
                <a:gd name="T27" fmla="*/ 52 h 87"/>
                <a:gd name="T28" fmla="*/ 22 w 93"/>
                <a:gd name="T29" fmla="*/ 52 h 87"/>
                <a:gd name="T30" fmla="*/ 26 w 93"/>
                <a:gd name="T31" fmla="*/ 47 h 87"/>
                <a:gd name="T32" fmla="*/ 28 w 93"/>
                <a:gd name="T33" fmla="*/ 42 h 87"/>
                <a:gd name="T34" fmla="*/ 28 w 93"/>
                <a:gd name="T35" fmla="*/ 39 h 87"/>
                <a:gd name="T36" fmla="*/ 31 w 93"/>
                <a:gd name="T37" fmla="*/ 30 h 87"/>
                <a:gd name="T38" fmla="*/ 32 w 93"/>
                <a:gd name="T39" fmla="*/ 20 h 87"/>
                <a:gd name="T40" fmla="*/ 31 w 93"/>
                <a:gd name="T41" fmla="*/ 10 h 87"/>
                <a:gd name="T42" fmla="*/ 31 w 93"/>
                <a:gd name="T43" fmla="*/ 5 h 87"/>
                <a:gd name="T44" fmla="*/ 32 w 93"/>
                <a:gd name="T45" fmla="*/ 1 h 87"/>
                <a:gd name="T46" fmla="*/ 37 w 93"/>
                <a:gd name="T47" fmla="*/ 0 h 87"/>
                <a:gd name="T48" fmla="*/ 37 w 93"/>
                <a:gd name="T49" fmla="*/ 0 h 87"/>
                <a:gd name="T50" fmla="*/ 48 w 93"/>
                <a:gd name="T51" fmla="*/ 16 h 87"/>
                <a:gd name="T52" fmla="*/ 57 w 93"/>
                <a:gd name="T53" fmla="*/ 21 h 87"/>
                <a:gd name="T54" fmla="*/ 64 w 93"/>
                <a:gd name="T55" fmla="*/ 26 h 87"/>
                <a:gd name="T56" fmla="*/ 68 w 93"/>
                <a:gd name="T57" fmla="*/ 24 h 87"/>
                <a:gd name="T58" fmla="*/ 71 w 93"/>
                <a:gd name="T59" fmla="*/ 24 h 87"/>
                <a:gd name="T60" fmla="*/ 71 w 93"/>
                <a:gd name="T61" fmla="*/ 29 h 87"/>
                <a:gd name="T62" fmla="*/ 74 w 93"/>
                <a:gd name="T63" fmla="*/ 30 h 87"/>
                <a:gd name="T64" fmla="*/ 80 w 93"/>
                <a:gd name="T65" fmla="*/ 27 h 87"/>
                <a:gd name="T66" fmla="*/ 84 w 93"/>
                <a:gd name="T67" fmla="*/ 27 h 87"/>
                <a:gd name="T68" fmla="*/ 84 w 93"/>
                <a:gd name="T69" fmla="*/ 36 h 87"/>
                <a:gd name="T70" fmla="*/ 86 w 93"/>
                <a:gd name="T71" fmla="*/ 40 h 87"/>
                <a:gd name="T72" fmla="*/ 87 w 93"/>
                <a:gd name="T73" fmla="*/ 43 h 87"/>
                <a:gd name="T74" fmla="*/ 92 w 93"/>
                <a:gd name="T75" fmla="*/ 43 h 87"/>
                <a:gd name="T76" fmla="*/ 93 w 93"/>
                <a:gd name="T77" fmla="*/ 45 h 87"/>
                <a:gd name="T78" fmla="*/ 84 w 93"/>
                <a:gd name="T79" fmla="*/ 47 h 87"/>
                <a:gd name="T80" fmla="*/ 73 w 93"/>
                <a:gd name="T81" fmla="*/ 50 h 87"/>
                <a:gd name="T82" fmla="*/ 64 w 93"/>
                <a:gd name="T83" fmla="*/ 58 h 87"/>
                <a:gd name="T84" fmla="*/ 58 w 93"/>
                <a:gd name="T85" fmla="*/ 65 h 87"/>
                <a:gd name="T86" fmla="*/ 57 w 93"/>
                <a:gd name="T87" fmla="*/ 74 h 87"/>
                <a:gd name="T88" fmla="*/ 52 w 93"/>
                <a:gd name="T89" fmla="*/ 75 h 87"/>
                <a:gd name="T90" fmla="*/ 45 w 93"/>
                <a:gd name="T91" fmla="*/ 69 h 87"/>
                <a:gd name="T92" fmla="*/ 37 w 93"/>
                <a:gd name="T93" fmla="*/ 65 h 87"/>
                <a:gd name="T94" fmla="*/ 35 w 93"/>
                <a:gd name="T95" fmla="*/ 65 h 87"/>
                <a:gd name="T96" fmla="*/ 29 w 93"/>
                <a:gd name="T97" fmla="*/ 62 h 87"/>
                <a:gd name="T98" fmla="*/ 28 w 93"/>
                <a:gd name="T99" fmla="*/ 62 h 87"/>
                <a:gd name="T100" fmla="*/ 19 w 93"/>
                <a:gd name="T101" fmla="*/ 68 h 87"/>
                <a:gd name="T102" fmla="*/ 18 w 93"/>
                <a:gd name="T103" fmla="*/ 68 h 87"/>
                <a:gd name="T104" fmla="*/ 13 w 93"/>
                <a:gd name="T105" fmla="*/ 62 h 87"/>
                <a:gd name="T106" fmla="*/ 12 w 93"/>
                <a:gd name="T107" fmla="*/ 61 h 87"/>
                <a:gd name="T108" fmla="*/ 8 w 93"/>
                <a:gd name="T109" fmla="*/ 68 h 87"/>
                <a:gd name="T110" fmla="*/ 9 w 93"/>
                <a:gd name="T111" fmla="*/ 69 h 87"/>
                <a:gd name="T112" fmla="*/ 16 w 93"/>
                <a:gd name="T113" fmla="*/ 71 h 87"/>
                <a:gd name="T114" fmla="*/ 21 w 93"/>
                <a:gd name="T115" fmla="*/ 75 h 87"/>
                <a:gd name="T116" fmla="*/ 19 w 93"/>
                <a:gd name="T117" fmla="*/ 76 h 87"/>
                <a:gd name="T118" fmla="*/ 16 w 93"/>
                <a:gd name="T119" fmla="*/ 7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 h="87">
                  <a:moveTo>
                    <a:pt x="13" y="81"/>
                  </a:moveTo>
                  <a:lnTo>
                    <a:pt x="13" y="81"/>
                  </a:lnTo>
                  <a:lnTo>
                    <a:pt x="9" y="85"/>
                  </a:lnTo>
                  <a:lnTo>
                    <a:pt x="6" y="87"/>
                  </a:lnTo>
                  <a:lnTo>
                    <a:pt x="5" y="85"/>
                  </a:lnTo>
                  <a:lnTo>
                    <a:pt x="5" y="85"/>
                  </a:lnTo>
                  <a:lnTo>
                    <a:pt x="2" y="82"/>
                  </a:lnTo>
                  <a:lnTo>
                    <a:pt x="2" y="81"/>
                  </a:lnTo>
                  <a:lnTo>
                    <a:pt x="2" y="79"/>
                  </a:lnTo>
                  <a:lnTo>
                    <a:pt x="2" y="79"/>
                  </a:lnTo>
                  <a:lnTo>
                    <a:pt x="5" y="76"/>
                  </a:lnTo>
                  <a:lnTo>
                    <a:pt x="5" y="76"/>
                  </a:lnTo>
                  <a:lnTo>
                    <a:pt x="5" y="75"/>
                  </a:lnTo>
                  <a:lnTo>
                    <a:pt x="5" y="75"/>
                  </a:lnTo>
                  <a:lnTo>
                    <a:pt x="2" y="69"/>
                  </a:lnTo>
                  <a:lnTo>
                    <a:pt x="0" y="66"/>
                  </a:lnTo>
                  <a:lnTo>
                    <a:pt x="0" y="63"/>
                  </a:lnTo>
                  <a:lnTo>
                    <a:pt x="0" y="63"/>
                  </a:lnTo>
                  <a:lnTo>
                    <a:pt x="2" y="62"/>
                  </a:lnTo>
                  <a:lnTo>
                    <a:pt x="5" y="59"/>
                  </a:lnTo>
                  <a:lnTo>
                    <a:pt x="9" y="56"/>
                  </a:lnTo>
                  <a:lnTo>
                    <a:pt x="9" y="56"/>
                  </a:lnTo>
                  <a:lnTo>
                    <a:pt x="10" y="55"/>
                  </a:lnTo>
                  <a:lnTo>
                    <a:pt x="10" y="52"/>
                  </a:lnTo>
                  <a:lnTo>
                    <a:pt x="10" y="50"/>
                  </a:lnTo>
                  <a:lnTo>
                    <a:pt x="13" y="49"/>
                  </a:lnTo>
                  <a:lnTo>
                    <a:pt x="13" y="49"/>
                  </a:lnTo>
                  <a:lnTo>
                    <a:pt x="18" y="52"/>
                  </a:lnTo>
                  <a:lnTo>
                    <a:pt x="21" y="52"/>
                  </a:lnTo>
                  <a:lnTo>
                    <a:pt x="22" y="52"/>
                  </a:lnTo>
                  <a:lnTo>
                    <a:pt x="22" y="52"/>
                  </a:lnTo>
                  <a:lnTo>
                    <a:pt x="26" y="47"/>
                  </a:lnTo>
                  <a:lnTo>
                    <a:pt x="28" y="45"/>
                  </a:lnTo>
                  <a:lnTo>
                    <a:pt x="28" y="42"/>
                  </a:lnTo>
                  <a:lnTo>
                    <a:pt x="28" y="42"/>
                  </a:lnTo>
                  <a:lnTo>
                    <a:pt x="28" y="39"/>
                  </a:lnTo>
                  <a:lnTo>
                    <a:pt x="28" y="36"/>
                  </a:lnTo>
                  <a:lnTo>
                    <a:pt x="31" y="30"/>
                  </a:lnTo>
                  <a:lnTo>
                    <a:pt x="31" y="30"/>
                  </a:lnTo>
                  <a:lnTo>
                    <a:pt x="32" y="20"/>
                  </a:lnTo>
                  <a:lnTo>
                    <a:pt x="32" y="13"/>
                  </a:lnTo>
                  <a:lnTo>
                    <a:pt x="31" y="10"/>
                  </a:lnTo>
                  <a:lnTo>
                    <a:pt x="31" y="10"/>
                  </a:lnTo>
                  <a:lnTo>
                    <a:pt x="31" y="5"/>
                  </a:lnTo>
                  <a:lnTo>
                    <a:pt x="32" y="1"/>
                  </a:lnTo>
                  <a:lnTo>
                    <a:pt x="32" y="1"/>
                  </a:lnTo>
                  <a:lnTo>
                    <a:pt x="35" y="0"/>
                  </a:lnTo>
                  <a:lnTo>
                    <a:pt x="37" y="0"/>
                  </a:lnTo>
                  <a:lnTo>
                    <a:pt x="37" y="0"/>
                  </a:lnTo>
                  <a:lnTo>
                    <a:pt x="37" y="0"/>
                  </a:lnTo>
                  <a:lnTo>
                    <a:pt x="41" y="7"/>
                  </a:lnTo>
                  <a:lnTo>
                    <a:pt x="48" y="16"/>
                  </a:lnTo>
                  <a:lnTo>
                    <a:pt x="48" y="16"/>
                  </a:lnTo>
                  <a:lnTo>
                    <a:pt x="57" y="21"/>
                  </a:lnTo>
                  <a:lnTo>
                    <a:pt x="60" y="24"/>
                  </a:lnTo>
                  <a:lnTo>
                    <a:pt x="64" y="26"/>
                  </a:lnTo>
                  <a:lnTo>
                    <a:pt x="64" y="26"/>
                  </a:lnTo>
                  <a:lnTo>
                    <a:pt x="68" y="24"/>
                  </a:lnTo>
                  <a:lnTo>
                    <a:pt x="70" y="23"/>
                  </a:lnTo>
                  <a:lnTo>
                    <a:pt x="71" y="24"/>
                  </a:lnTo>
                  <a:lnTo>
                    <a:pt x="71" y="24"/>
                  </a:lnTo>
                  <a:lnTo>
                    <a:pt x="71" y="29"/>
                  </a:lnTo>
                  <a:lnTo>
                    <a:pt x="73" y="29"/>
                  </a:lnTo>
                  <a:lnTo>
                    <a:pt x="74" y="30"/>
                  </a:lnTo>
                  <a:lnTo>
                    <a:pt x="74" y="30"/>
                  </a:lnTo>
                  <a:lnTo>
                    <a:pt x="80" y="27"/>
                  </a:lnTo>
                  <a:lnTo>
                    <a:pt x="83" y="27"/>
                  </a:lnTo>
                  <a:lnTo>
                    <a:pt x="84" y="27"/>
                  </a:lnTo>
                  <a:lnTo>
                    <a:pt x="84" y="27"/>
                  </a:lnTo>
                  <a:lnTo>
                    <a:pt x="84" y="36"/>
                  </a:lnTo>
                  <a:lnTo>
                    <a:pt x="84" y="36"/>
                  </a:lnTo>
                  <a:lnTo>
                    <a:pt x="86" y="40"/>
                  </a:lnTo>
                  <a:lnTo>
                    <a:pt x="86" y="43"/>
                  </a:lnTo>
                  <a:lnTo>
                    <a:pt x="87" y="43"/>
                  </a:lnTo>
                  <a:lnTo>
                    <a:pt x="87" y="43"/>
                  </a:lnTo>
                  <a:lnTo>
                    <a:pt x="92" y="43"/>
                  </a:lnTo>
                  <a:lnTo>
                    <a:pt x="93" y="45"/>
                  </a:lnTo>
                  <a:lnTo>
                    <a:pt x="93" y="45"/>
                  </a:lnTo>
                  <a:lnTo>
                    <a:pt x="93" y="45"/>
                  </a:lnTo>
                  <a:lnTo>
                    <a:pt x="84" y="47"/>
                  </a:lnTo>
                  <a:lnTo>
                    <a:pt x="73" y="50"/>
                  </a:lnTo>
                  <a:lnTo>
                    <a:pt x="73" y="50"/>
                  </a:lnTo>
                  <a:lnTo>
                    <a:pt x="68" y="53"/>
                  </a:lnTo>
                  <a:lnTo>
                    <a:pt x="64" y="58"/>
                  </a:lnTo>
                  <a:lnTo>
                    <a:pt x="61" y="61"/>
                  </a:lnTo>
                  <a:lnTo>
                    <a:pt x="58" y="65"/>
                  </a:lnTo>
                  <a:lnTo>
                    <a:pt x="58" y="65"/>
                  </a:lnTo>
                  <a:lnTo>
                    <a:pt x="57" y="74"/>
                  </a:lnTo>
                  <a:lnTo>
                    <a:pt x="55" y="75"/>
                  </a:lnTo>
                  <a:lnTo>
                    <a:pt x="52" y="75"/>
                  </a:lnTo>
                  <a:lnTo>
                    <a:pt x="52" y="75"/>
                  </a:lnTo>
                  <a:lnTo>
                    <a:pt x="45" y="69"/>
                  </a:lnTo>
                  <a:lnTo>
                    <a:pt x="41" y="66"/>
                  </a:lnTo>
                  <a:lnTo>
                    <a:pt x="37" y="65"/>
                  </a:lnTo>
                  <a:lnTo>
                    <a:pt x="37" y="65"/>
                  </a:lnTo>
                  <a:lnTo>
                    <a:pt x="35" y="65"/>
                  </a:lnTo>
                  <a:lnTo>
                    <a:pt x="32" y="63"/>
                  </a:lnTo>
                  <a:lnTo>
                    <a:pt x="29" y="62"/>
                  </a:lnTo>
                  <a:lnTo>
                    <a:pt x="28" y="62"/>
                  </a:lnTo>
                  <a:lnTo>
                    <a:pt x="28" y="62"/>
                  </a:lnTo>
                  <a:lnTo>
                    <a:pt x="22" y="66"/>
                  </a:lnTo>
                  <a:lnTo>
                    <a:pt x="19" y="68"/>
                  </a:lnTo>
                  <a:lnTo>
                    <a:pt x="18" y="68"/>
                  </a:lnTo>
                  <a:lnTo>
                    <a:pt x="18" y="68"/>
                  </a:lnTo>
                  <a:lnTo>
                    <a:pt x="15" y="63"/>
                  </a:lnTo>
                  <a:lnTo>
                    <a:pt x="13" y="62"/>
                  </a:lnTo>
                  <a:lnTo>
                    <a:pt x="12" y="61"/>
                  </a:lnTo>
                  <a:lnTo>
                    <a:pt x="12" y="61"/>
                  </a:lnTo>
                  <a:lnTo>
                    <a:pt x="9" y="65"/>
                  </a:lnTo>
                  <a:lnTo>
                    <a:pt x="8" y="68"/>
                  </a:lnTo>
                  <a:lnTo>
                    <a:pt x="9" y="69"/>
                  </a:lnTo>
                  <a:lnTo>
                    <a:pt x="9" y="69"/>
                  </a:lnTo>
                  <a:lnTo>
                    <a:pt x="16" y="71"/>
                  </a:lnTo>
                  <a:lnTo>
                    <a:pt x="16" y="71"/>
                  </a:lnTo>
                  <a:lnTo>
                    <a:pt x="19" y="72"/>
                  </a:lnTo>
                  <a:lnTo>
                    <a:pt x="21" y="75"/>
                  </a:lnTo>
                  <a:lnTo>
                    <a:pt x="21" y="76"/>
                  </a:lnTo>
                  <a:lnTo>
                    <a:pt x="19" y="76"/>
                  </a:lnTo>
                  <a:lnTo>
                    <a:pt x="19" y="76"/>
                  </a:lnTo>
                  <a:lnTo>
                    <a:pt x="16" y="79"/>
                  </a:lnTo>
                  <a:lnTo>
                    <a:pt x="13" y="81"/>
                  </a:lnTo>
                  <a:close/>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00" name="Freeform 1294"/>
            <p:cNvSpPr>
              <a:spLocks/>
            </p:cNvSpPr>
            <p:nvPr/>
          </p:nvSpPr>
          <p:spPr bwMode="auto">
            <a:xfrm>
              <a:off x="7883526" y="3424238"/>
              <a:ext cx="147638" cy="138113"/>
            </a:xfrm>
            <a:custGeom>
              <a:avLst/>
              <a:gdLst>
                <a:gd name="T0" fmla="*/ 13 w 93"/>
                <a:gd name="T1" fmla="*/ 81 h 87"/>
                <a:gd name="T2" fmla="*/ 6 w 93"/>
                <a:gd name="T3" fmla="*/ 87 h 87"/>
                <a:gd name="T4" fmla="*/ 5 w 93"/>
                <a:gd name="T5" fmla="*/ 85 h 87"/>
                <a:gd name="T6" fmla="*/ 2 w 93"/>
                <a:gd name="T7" fmla="*/ 81 h 87"/>
                <a:gd name="T8" fmla="*/ 2 w 93"/>
                <a:gd name="T9" fmla="*/ 79 h 87"/>
                <a:gd name="T10" fmla="*/ 5 w 93"/>
                <a:gd name="T11" fmla="*/ 76 h 87"/>
                <a:gd name="T12" fmla="*/ 5 w 93"/>
                <a:gd name="T13" fmla="*/ 75 h 87"/>
                <a:gd name="T14" fmla="*/ 0 w 93"/>
                <a:gd name="T15" fmla="*/ 66 h 87"/>
                <a:gd name="T16" fmla="*/ 0 w 93"/>
                <a:gd name="T17" fmla="*/ 63 h 87"/>
                <a:gd name="T18" fmla="*/ 5 w 93"/>
                <a:gd name="T19" fmla="*/ 59 h 87"/>
                <a:gd name="T20" fmla="*/ 9 w 93"/>
                <a:gd name="T21" fmla="*/ 56 h 87"/>
                <a:gd name="T22" fmla="*/ 10 w 93"/>
                <a:gd name="T23" fmla="*/ 52 h 87"/>
                <a:gd name="T24" fmla="*/ 13 w 93"/>
                <a:gd name="T25" fmla="*/ 49 h 87"/>
                <a:gd name="T26" fmla="*/ 18 w 93"/>
                <a:gd name="T27" fmla="*/ 52 h 87"/>
                <a:gd name="T28" fmla="*/ 22 w 93"/>
                <a:gd name="T29" fmla="*/ 52 h 87"/>
                <a:gd name="T30" fmla="*/ 26 w 93"/>
                <a:gd name="T31" fmla="*/ 47 h 87"/>
                <a:gd name="T32" fmla="*/ 28 w 93"/>
                <a:gd name="T33" fmla="*/ 42 h 87"/>
                <a:gd name="T34" fmla="*/ 28 w 93"/>
                <a:gd name="T35" fmla="*/ 39 h 87"/>
                <a:gd name="T36" fmla="*/ 31 w 93"/>
                <a:gd name="T37" fmla="*/ 30 h 87"/>
                <a:gd name="T38" fmla="*/ 32 w 93"/>
                <a:gd name="T39" fmla="*/ 20 h 87"/>
                <a:gd name="T40" fmla="*/ 31 w 93"/>
                <a:gd name="T41" fmla="*/ 10 h 87"/>
                <a:gd name="T42" fmla="*/ 31 w 93"/>
                <a:gd name="T43" fmla="*/ 5 h 87"/>
                <a:gd name="T44" fmla="*/ 32 w 93"/>
                <a:gd name="T45" fmla="*/ 1 h 87"/>
                <a:gd name="T46" fmla="*/ 37 w 93"/>
                <a:gd name="T47" fmla="*/ 0 h 87"/>
                <a:gd name="T48" fmla="*/ 37 w 93"/>
                <a:gd name="T49" fmla="*/ 0 h 87"/>
                <a:gd name="T50" fmla="*/ 48 w 93"/>
                <a:gd name="T51" fmla="*/ 16 h 87"/>
                <a:gd name="T52" fmla="*/ 57 w 93"/>
                <a:gd name="T53" fmla="*/ 21 h 87"/>
                <a:gd name="T54" fmla="*/ 64 w 93"/>
                <a:gd name="T55" fmla="*/ 26 h 87"/>
                <a:gd name="T56" fmla="*/ 68 w 93"/>
                <a:gd name="T57" fmla="*/ 24 h 87"/>
                <a:gd name="T58" fmla="*/ 71 w 93"/>
                <a:gd name="T59" fmla="*/ 24 h 87"/>
                <a:gd name="T60" fmla="*/ 71 w 93"/>
                <a:gd name="T61" fmla="*/ 29 h 87"/>
                <a:gd name="T62" fmla="*/ 74 w 93"/>
                <a:gd name="T63" fmla="*/ 30 h 87"/>
                <a:gd name="T64" fmla="*/ 80 w 93"/>
                <a:gd name="T65" fmla="*/ 27 h 87"/>
                <a:gd name="T66" fmla="*/ 84 w 93"/>
                <a:gd name="T67" fmla="*/ 27 h 87"/>
                <a:gd name="T68" fmla="*/ 84 w 93"/>
                <a:gd name="T69" fmla="*/ 36 h 87"/>
                <a:gd name="T70" fmla="*/ 86 w 93"/>
                <a:gd name="T71" fmla="*/ 40 h 87"/>
                <a:gd name="T72" fmla="*/ 87 w 93"/>
                <a:gd name="T73" fmla="*/ 43 h 87"/>
                <a:gd name="T74" fmla="*/ 92 w 93"/>
                <a:gd name="T75" fmla="*/ 43 h 87"/>
                <a:gd name="T76" fmla="*/ 93 w 93"/>
                <a:gd name="T77" fmla="*/ 45 h 87"/>
                <a:gd name="T78" fmla="*/ 84 w 93"/>
                <a:gd name="T79" fmla="*/ 47 h 87"/>
                <a:gd name="T80" fmla="*/ 73 w 93"/>
                <a:gd name="T81" fmla="*/ 50 h 87"/>
                <a:gd name="T82" fmla="*/ 64 w 93"/>
                <a:gd name="T83" fmla="*/ 58 h 87"/>
                <a:gd name="T84" fmla="*/ 58 w 93"/>
                <a:gd name="T85" fmla="*/ 65 h 87"/>
                <a:gd name="T86" fmla="*/ 57 w 93"/>
                <a:gd name="T87" fmla="*/ 74 h 87"/>
                <a:gd name="T88" fmla="*/ 52 w 93"/>
                <a:gd name="T89" fmla="*/ 75 h 87"/>
                <a:gd name="T90" fmla="*/ 45 w 93"/>
                <a:gd name="T91" fmla="*/ 69 h 87"/>
                <a:gd name="T92" fmla="*/ 37 w 93"/>
                <a:gd name="T93" fmla="*/ 65 h 87"/>
                <a:gd name="T94" fmla="*/ 35 w 93"/>
                <a:gd name="T95" fmla="*/ 65 h 87"/>
                <a:gd name="T96" fmla="*/ 29 w 93"/>
                <a:gd name="T97" fmla="*/ 62 h 87"/>
                <a:gd name="T98" fmla="*/ 28 w 93"/>
                <a:gd name="T99" fmla="*/ 62 h 87"/>
                <a:gd name="T100" fmla="*/ 19 w 93"/>
                <a:gd name="T101" fmla="*/ 68 h 87"/>
                <a:gd name="T102" fmla="*/ 18 w 93"/>
                <a:gd name="T103" fmla="*/ 68 h 87"/>
                <a:gd name="T104" fmla="*/ 13 w 93"/>
                <a:gd name="T105" fmla="*/ 62 h 87"/>
                <a:gd name="T106" fmla="*/ 12 w 93"/>
                <a:gd name="T107" fmla="*/ 61 h 87"/>
                <a:gd name="T108" fmla="*/ 8 w 93"/>
                <a:gd name="T109" fmla="*/ 68 h 87"/>
                <a:gd name="T110" fmla="*/ 9 w 93"/>
                <a:gd name="T111" fmla="*/ 69 h 87"/>
                <a:gd name="T112" fmla="*/ 16 w 93"/>
                <a:gd name="T113" fmla="*/ 71 h 87"/>
                <a:gd name="T114" fmla="*/ 21 w 93"/>
                <a:gd name="T115" fmla="*/ 75 h 87"/>
                <a:gd name="T116" fmla="*/ 19 w 93"/>
                <a:gd name="T117" fmla="*/ 76 h 87"/>
                <a:gd name="T118" fmla="*/ 16 w 93"/>
                <a:gd name="T119" fmla="*/ 7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 h="87">
                  <a:moveTo>
                    <a:pt x="13" y="81"/>
                  </a:moveTo>
                  <a:lnTo>
                    <a:pt x="13" y="81"/>
                  </a:lnTo>
                  <a:lnTo>
                    <a:pt x="9" y="85"/>
                  </a:lnTo>
                  <a:lnTo>
                    <a:pt x="6" y="87"/>
                  </a:lnTo>
                  <a:lnTo>
                    <a:pt x="5" y="85"/>
                  </a:lnTo>
                  <a:lnTo>
                    <a:pt x="5" y="85"/>
                  </a:lnTo>
                  <a:lnTo>
                    <a:pt x="2" y="82"/>
                  </a:lnTo>
                  <a:lnTo>
                    <a:pt x="2" y="81"/>
                  </a:lnTo>
                  <a:lnTo>
                    <a:pt x="2" y="79"/>
                  </a:lnTo>
                  <a:lnTo>
                    <a:pt x="2" y="79"/>
                  </a:lnTo>
                  <a:lnTo>
                    <a:pt x="5" y="76"/>
                  </a:lnTo>
                  <a:lnTo>
                    <a:pt x="5" y="76"/>
                  </a:lnTo>
                  <a:lnTo>
                    <a:pt x="5" y="75"/>
                  </a:lnTo>
                  <a:lnTo>
                    <a:pt x="5" y="75"/>
                  </a:lnTo>
                  <a:lnTo>
                    <a:pt x="2" y="69"/>
                  </a:lnTo>
                  <a:lnTo>
                    <a:pt x="0" y="66"/>
                  </a:lnTo>
                  <a:lnTo>
                    <a:pt x="0" y="63"/>
                  </a:lnTo>
                  <a:lnTo>
                    <a:pt x="0" y="63"/>
                  </a:lnTo>
                  <a:lnTo>
                    <a:pt x="2" y="62"/>
                  </a:lnTo>
                  <a:lnTo>
                    <a:pt x="5" y="59"/>
                  </a:lnTo>
                  <a:lnTo>
                    <a:pt x="9" y="56"/>
                  </a:lnTo>
                  <a:lnTo>
                    <a:pt x="9" y="56"/>
                  </a:lnTo>
                  <a:lnTo>
                    <a:pt x="10" y="55"/>
                  </a:lnTo>
                  <a:lnTo>
                    <a:pt x="10" y="52"/>
                  </a:lnTo>
                  <a:lnTo>
                    <a:pt x="10" y="50"/>
                  </a:lnTo>
                  <a:lnTo>
                    <a:pt x="13" y="49"/>
                  </a:lnTo>
                  <a:lnTo>
                    <a:pt x="13" y="49"/>
                  </a:lnTo>
                  <a:lnTo>
                    <a:pt x="18" y="52"/>
                  </a:lnTo>
                  <a:lnTo>
                    <a:pt x="21" y="52"/>
                  </a:lnTo>
                  <a:lnTo>
                    <a:pt x="22" y="52"/>
                  </a:lnTo>
                  <a:lnTo>
                    <a:pt x="22" y="52"/>
                  </a:lnTo>
                  <a:lnTo>
                    <a:pt x="26" y="47"/>
                  </a:lnTo>
                  <a:lnTo>
                    <a:pt x="28" y="45"/>
                  </a:lnTo>
                  <a:lnTo>
                    <a:pt x="28" y="42"/>
                  </a:lnTo>
                  <a:lnTo>
                    <a:pt x="28" y="42"/>
                  </a:lnTo>
                  <a:lnTo>
                    <a:pt x="28" y="39"/>
                  </a:lnTo>
                  <a:lnTo>
                    <a:pt x="28" y="36"/>
                  </a:lnTo>
                  <a:lnTo>
                    <a:pt x="31" y="30"/>
                  </a:lnTo>
                  <a:lnTo>
                    <a:pt x="31" y="30"/>
                  </a:lnTo>
                  <a:lnTo>
                    <a:pt x="32" y="20"/>
                  </a:lnTo>
                  <a:lnTo>
                    <a:pt x="32" y="13"/>
                  </a:lnTo>
                  <a:lnTo>
                    <a:pt x="31" y="10"/>
                  </a:lnTo>
                  <a:lnTo>
                    <a:pt x="31" y="10"/>
                  </a:lnTo>
                  <a:lnTo>
                    <a:pt x="31" y="5"/>
                  </a:lnTo>
                  <a:lnTo>
                    <a:pt x="32" y="1"/>
                  </a:lnTo>
                  <a:lnTo>
                    <a:pt x="32" y="1"/>
                  </a:lnTo>
                  <a:lnTo>
                    <a:pt x="35" y="0"/>
                  </a:lnTo>
                  <a:lnTo>
                    <a:pt x="37" y="0"/>
                  </a:lnTo>
                  <a:lnTo>
                    <a:pt x="37" y="0"/>
                  </a:lnTo>
                  <a:lnTo>
                    <a:pt x="37" y="0"/>
                  </a:lnTo>
                  <a:lnTo>
                    <a:pt x="41" y="7"/>
                  </a:lnTo>
                  <a:lnTo>
                    <a:pt x="48" y="16"/>
                  </a:lnTo>
                  <a:lnTo>
                    <a:pt x="48" y="16"/>
                  </a:lnTo>
                  <a:lnTo>
                    <a:pt x="57" y="21"/>
                  </a:lnTo>
                  <a:lnTo>
                    <a:pt x="60" y="24"/>
                  </a:lnTo>
                  <a:lnTo>
                    <a:pt x="64" y="26"/>
                  </a:lnTo>
                  <a:lnTo>
                    <a:pt x="64" y="26"/>
                  </a:lnTo>
                  <a:lnTo>
                    <a:pt x="68" y="24"/>
                  </a:lnTo>
                  <a:lnTo>
                    <a:pt x="70" y="23"/>
                  </a:lnTo>
                  <a:lnTo>
                    <a:pt x="71" y="24"/>
                  </a:lnTo>
                  <a:lnTo>
                    <a:pt x="71" y="24"/>
                  </a:lnTo>
                  <a:lnTo>
                    <a:pt x="71" y="29"/>
                  </a:lnTo>
                  <a:lnTo>
                    <a:pt x="73" y="29"/>
                  </a:lnTo>
                  <a:lnTo>
                    <a:pt x="74" y="30"/>
                  </a:lnTo>
                  <a:lnTo>
                    <a:pt x="74" y="30"/>
                  </a:lnTo>
                  <a:lnTo>
                    <a:pt x="80" y="27"/>
                  </a:lnTo>
                  <a:lnTo>
                    <a:pt x="83" y="27"/>
                  </a:lnTo>
                  <a:lnTo>
                    <a:pt x="84" y="27"/>
                  </a:lnTo>
                  <a:lnTo>
                    <a:pt x="84" y="27"/>
                  </a:lnTo>
                  <a:lnTo>
                    <a:pt x="84" y="36"/>
                  </a:lnTo>
                  <a:lnTo>
                    <a:pt x="84" y="36"/>
                  </a:lnTo>
                  <a:lnTo>
                    <a:pt x="86" y="40"/>
                  </a:lnTo>
                  <a:lnTo>
                    <a:pt x="86" y="43"/>
                  </a:lnTo>
                  <a:lnTo>
                    <a:pt x="87" y="43"/>
                  </a:lnTo>
                  <a:lnTo>
                    <a:pt x="87" y="43"/>
                  </a:lnTo>
                  <a:lnTo>
                    <a:pt x="92" y="43"/>
                  </a:lnTo>
                  <a:lnTo>
                    <a:pt x="93" y="45"/>
                  </a:lnTo>
                  <a:lnTo>
                    <a:pt x="93" y="45"/>
                  </a:lnTo>
                  <a:lnTo>
                    <a:pt x="93" y="45"/>
                  </a:lnTo>
                  <a:lnTo>
                    <a:pt x="84" y="47"/>
                  </a:lnTo>
                  <a:lnTo>
                    <a:pt x="73" y="50"/>
                  </a:lnTo>
                  <a:lnTo>
                    <a:pt x="73" y="50"/>
                  </a:lnTo>
                  <a:lnTo>
                    <a:pt x="68" y="53"/>
                  </a:lnTo>
                  <a:lnTo>
                    <a:pt x="64" y="58"/>
                  </a:lnTo>
                  <a:lnTo>
                    <a:pt x="61" y="61"/>
                  </a:lnTo>
                  <a:lnTo>
                    <a:pt x="58" y="65"/>
                  </a:lnTo>
                  <a:lnTo>
                    <a:pt x="58" y="65"/>
                  </a:lnTo>
                  <a:lnTo>
                    <a:pt x="57" y="74"/>
                  </a:lnTo>
                  <a:lnTo>
                    <a:pt x="55" y="75"/>
                  </a:lnTo>
                  <a:lnTo>
                    <a:pt x="52" y="75"/>
                  </a:lnTo>
                  <a:lnTo>
                    <a:pt x="52" y="75"/>
                  </a:lnTo>
                  <a:lnTo>
                    <a:pt x="45" y="69"/>
                  </a:lnTo>
                  <a:lnTo>
                    <a:pt x="41" y="66"/>
                  </a:lnTo>
                  <a:lnTo>
                    <a:pt x="37" y="65"/>
                  </a:lnTo>
                  <a:lnTo>
                    <a:pt x="37" y="65"/>
                  </a:lnTo>
                  <a:lnTo>
                    <a:pt x="35" y="65"/>
                  </a:lnTo>
                  <a:lnTo>
                    <a:pt x="32" y="63"/>
                  </a:lnTo>
                  <a:lnTo>
                    <a:pt x="29" y="62"/>
                  </a:lnTo>
                  <a:lnTo>
                    <a:pt x="28" y="62"/>
                  </a:lnTo>
                  <a:lnTo>
                    <a:pt x="28" y="62"/>
                  </a:lnTo>
                  <a:lnTo>
                    <a:pt x="22" y="66"/>
                  </a:lnTo>
                  <a:lnTo>
                    <a:pt x="19" y="68"/>
                  </a:lnTo>
                  <a:lnTo>
                    <a:pt x="18" y="68"/>
                  </a:lnTo>
                  <a:lnTo>
                    <a:pt x="18" y="68"/>
                  </a:lnTo>
                  <a:lnTo>
                    <a:pt x="15" y="63"/>
                  </a:lnTo>
                  <a:lnTo>
                    <a:pt x="13" y="62"/>
                  </a:lnTo>
                  <a:lnTo>
                    <a:pt x="12" y="61"/>
                  </a:lnTo>
                  <a:lnTo>
                    <a:pt x="12" y="61"/>
                  </a:lnTo>
                  <a:lnTo>
                    <a:pt x="9" y="65"/>
                  </a:lnTo>
                  <a:lnTo>
                    <a:pt x="8" y="68"/>
                  </a:lnTo>
                  <a:lnTo>
                    <a:pt x="9" y="69"/>
                  </a:lnTo>
                  <a:lnTo>
                    <a:pt x="9" y="69"/>
                  </a:lnTo>
                  <a:lnTo>
                    <a:pt x="16" y="71"/>
                  </a:lnTo>
                  <a:lnTo>
                    <a:pt x="16" y="71"/>
                  </a:lnTo>
                  <a:lnTo>
                    <a:pt x="19" y="72"/>
                  </a:lnTo>
                  <a:lnTo>
                    <a:pt x="21" y="75"/>
                  </a:lnTo>
                  <a:lnTo>
                    <a:pt x="21" y="76"/>
                  </a:lnTo>
                  <a:lnTo>
                    <a:pt x="19" y="76"/>
                  </a:lnTo>
                  <a:lnTo>
                    <a:pt x="19" y="76"/>
                  </a:lnTo>
                  <a:lnTo>
                    <a:pt x="16" y="79"/>
                  </a:lnTo>
                  <a:lnTo>
                    <a:pt x="13" y="8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01" name="Freeform 1295"/>
            <p:cNvSpPr>
              <a:spLocks/>
            </p:cNvSpPr>
            <p:nvPr/>
          </p:nvSpPr>
          <p:spPr bwMode="auto">
            <a:xfrm>
              <a:off x="7878763" y="3419476"/>
              <a:ext cx="157163" cy="144463"/>
            </a:xfrm>
            <a:custGeom>
              <a:avLst/>
              <a:gdLst>
                <a:gd name="T0" fmla="*/ 9 w 99"/>
                <a:gd name="T1" fmla="*/ 87 h 91"/>
                <a:gd name="T2" fmla="*/ 11 w 99"/>
                <a:gd name="T3" fmla="*/ 87 h 91"/>
                <a:gd name="T4" fmla="*/ 8 w 99"/>
                <a:gd name="T5" fmla="*/ 84 h 91"/>
                <a:gd name="T6" fmla="*/ 6 w 99"/>
                <a:gd name="T7" fmla="*/ 68 h 91"/>
                <a:gd name="T8" fmla="*/ 15 w 99"/>
                <a:gd name="T9" fmla="*/ 55 h 91"/>
                <a:gd name="T10" fmla="*/ 15 w 99"/>
                <a:gd name="T11" fmla="*/ 55 h 91"/>
                <a:gd name="T12" fmla="*/ 19 w 99"/>
                <a:gd name="T13" fmla="*/ 56 h 91"/>
                <a:gd name="T14" fmla="*/ 34 w 99"/>
                <a:gd name="T15" fmla="*/ 46 h 91"/>
                <a:gd name="T16" fmla="*/ 35 w 99"/>
                <a:gd name="T17" fmla="*/ 35 h 91"/>
                <a:gd name="T18" fmla="*/ 37 w 99"/>
                <a:gd name="T19" fmla="*/ 11 h 91"/>
                <a:gd name="T20" fmla="*/ 38 w 99"/>
                <a:gd name="T21" fmla="*/ 4 h 91"/>
                <a:gd name="T22" fmla="*/ 38 w 99"/>
                <a:gd name="T23" fmla="*/ 4 h 91"/>
                <a:gd name="T24" fmla="*/ 66 w 99"/>
                <a:gd name="T25" fmla="*/ 32 h 91"/>
                <a:gd name="T26" fmla="*/ 73 w 99"/>
                <a:gd name="T27" fmla="*/ 29 h 91"/>
                <a:gd name="T28" fmla="*/ 71 w 99"/>
                <a:gd name="T29" fmla="*/ 27 h 91"/>
                <a:gd name="T30" fmla="*/ 84 w 99"/>
                <a:gd name="T31" fmla="*/ 33 h 91"/>
                <a:gd name="T32" fmla="*/ 86 w 99"/>
                <a:gd name="T33" fmla="*/ 32 h 91"/>
                <a:gd name="T34" fmla="*/ 84 w 99"/>
                <a:gd name="T35" fmla="*/ 35 h 91"/>
                <a:gd name="T36" fmla="*/ 87 w 99"/>
                <a:gd name="T37" fmla="*/ 48 h 91"/>
                <a:gd name="T38" fmla="*/ 96 w 99"/>
                <a:gd name="T39" fmla="*/ 48 h 91"/>
                <a:gd name="T40" fmla="*/ 95 w 99"/>
                <a:gd name="T41" fmla="*/ 48 h 91"/>
                <a:gd name="T42" fmla="*/ 96 w 99"/>
                <a:gd name="T43" fmla="*/ 46 h 91"/>
                <a:gd name="T44" fmla="*/ 61 w 99"/>
                <a:gd name="T45" fmla="*/ 62 h 91"/>
                <a:gd name="T46" fmla="*/ 57 w 99"/>
                <a:gd name="T47" fmla="*/ 77 h 91"/>
                <a:gd name="T48" fmla="*/ 57 w 99"/>
                <a:gd name="T49" fmla="*/ 77 h 91"/>
                <a:gd name="T50" fmla="*/ 41 w 99"/>
                <a:gd name="T51" fmla="*/ 65 h 91"/>
                <a:gd name="T52" fmla="*/ 34 w 99"/>
                <a:gd name="T53" fmla="*/ 62 h 91"/>
                <a:gd name="T54" fmla="*/ 21 w 99"/>
                <a:gd name="T55" fmla="*/ 69 h 91"/>
                <a:gd name="T56" fmla="*/ 21 w 99"/>
                <a:gd name="T57" fmla="*/ 71 h 91"/>
                <a:gd name="T58" fmla="*/ 18 w 99"/>
                <a:gd name="T59" fmla="*/ 62 h 91"/>
                <a:gd name="T60" fmla="*/ 9 w 99"/>
                <a:gd name="T61" fmla="*/ 72 h 91"/>
                <a:gd name="T62" fmla="*/ 22 w 99"/>
                <a:gd name="T63" fmla="*/ 79 h 91"/>
                <a:gd name="T64" fmla="*/ 19 w 99"/>
                <a:gd name="T65" fmla="*/ 78 h 91"/>
                <a:gd name="T66" fmla="*/ 19 w 99"/>
                <a:gd name="T67" fmla="*/ 85 h 91"/>
                <a:gd name="T68" fmla="*/ 25 w 99"/>
                <a:gd name="T69" fmla="*/ 75 h 91"/>
                <a:gd name="T70" fmla="*/ 13 w 99"/>
                <a:gd name="T71" fmla="*/ 71 h 91"/>
                <a:gd name="T72" fmla="*/ 15 w 99"/>
                <a:gd name="T73" fmla="*/ 66 h 91"/>
                <a:gd name="T74" fmla="*/ 15 w 99"/>
                <a:gd name="T75" fmla="*/ 66 h 91"/>
                <a:gd name="T76" fmla="*/ 18 w 99"/>
                <a:gd name="T77" fmla="*/ 72 h 91"/>
                <a:gd name="T78" fmla="*/ 31 w 99"/>
                <a:gd name="T79" fmla="*/ 66 h 91"/>
                <a:gd name="T80" fmla="*/ 31 w 99"/>
                <a:gd name="T81" fmla="*/ 66 h 91"/>
                <a:gd name="T82" fmla="*/ 41 w 99"/>
                <a:gd name="T83" fmla="*/ 71 h 91"/>
                <a:gd name="T84" fmla="*/ 57 w 99"/>
                <a:gd name="T85" fmla="*/ 81 h 91"/>
                <a:gd name="T86" fmla="*/ 77 w 99"/>
                <a:gd name="T87" fmla="*/ 56 h 91"/>
                <a:gd name="T88" fmla="*/ 99 w 99"/>
                <a:gd name="T89" fmla="*/ 48 h 91"/>
                <a:gd name="T90" fmla="*/ 90 w 99"/>
                <a:gd name="T91" fmla="*/ 45 h 91"/>
                <a:gd name="T92" fmla="*/ 92 w 99"/>
                <a:gd name="T93" fmla="*/ 45 h 91"/>
                <a:gd name="T94" fmla="*/ 90 w 99"/>
                <a:gd name="T95" fmla="*/ 30 h 91"/>
                <a:gd name="T96" fmla="*/ 79 w 99"/>
                <a:gd name="T97" fmla="*/ 30 h 91"/>
                <a:gd name="T98" fmla="*/ 77 w 99"/>
                <a:gd name="T99" fmla="*/ 30 h 91"/>
                <a:gd name="T100" fmla="*/ 71 w 99"/>
                <a:gd name="T101" fmla="*/ 24 h 91"/>
                <a:gd name="T102" fmla="*/ 47 w 99"/>
                <a:gd name="T103" fmla="*/ 8 h 91"/>
                <a:gd name="T104" fmla="*/ 31 w 99"/>
                <a:gd name="T105" fmla="*/ 6 h 91"/>
                <a:gd name="T106" fmla="*/ 32 w 99"/>
                <a:gd name="T107" fmla="*/ 20 h 91"/>
                <a:gd name="T108" fmla="*/ 32 w 99"/>
                <a:gd name="T109" fmla="*/ 32 h 91"/>
                <a:gd name="T110" fmla="*/ 26 w 99"/>
                <a:gd name="T111" fmla="*/ 50 h 91"/>
                <a:gd name="T112" fmla="*/ 24 w 99"/>
                <a:gd name="T113" fmla="*/ 53 h 91"/>
                <a:gd name="T114" fmla="*/ 11 w 99"/>
                <a:gd name="T115" fmla="*/ 56 h 91"/>
                <a:gd name="T116" fmla="*/ 5 w 99"/>
                <a:gd name="T117" fmla="*/ 79 h 91"/>
                <a:gd name="T118" fmla="*/ 5 w 99"/>
                <a:gd name="T119" fmla="*/ 79 h 91"/>
                <a:gd name="T120" fmla="*/ 5 w 99"/>
                <a:gd name="T121" fmla="*/ 78 h 91"/>
                <a:gd name="T122" fmla="*/ 9 w 99"/>
                <a:gd name="T1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 h="91">
                  <a:moveTo>
                    <a:pt x="16" y="84"/>
                  </a:moveTo>
                  <a:lnTo>
                    <a:pt x="15" y="81"/>
                  </a:lnTo>
                  <a:lnTo>
                    <a:pt x="15" y="81"/>
                  </a:lnTo>
                  <a:lnTo>
                    <a:pt x="11" y="85"/>
                  </a:lnTo>
                  <a:lnTo>
                    <a:pt x="11" y="85"/>
                  </a:lnTo>
                  <a:lnTo>
                    <a:pt x="9" y="87"/>
                  </a:lnTo>
                  <a:lnTo>
                    <a:pt x="9" y="87"/>
                  </a:lnTo>
                  <a:lnTo>
                    <a:pt x="9" y="87"/>
                  </a:lnTo>
                  <a:lnTo>
                    <a:pt x="9" y="87"/>
                  </a:lnTo>
                  <a:lnTo>
                    <a:pt x="9" y="87"/>
                  </a:lnTo>
                  <a:lnTo>
                    <a:pt x="9" y="87"/>
                  </a:lnTo>
                  <a:lnTo>
                    <a:pt x="9" y="87"/>
                  </a:lnTo>
                  <a:lnTo>
                    <a:pt x="9" y="88"/>
                  </a:lnTo>
                  <a:lnTo>
                    <a:pt x="9" y="87"/>
                  </a:lnTo>
                  <a:lnTo>
                    <a:pt x="9" y="87"/>
                  </a:lnTo>
                  <a:lnTo>
                    <a:pt x="9" y="88"/>
                  </a:lnTo>
                  <a:lnTo>
                    <a:pt x="9" y="87"/>
                  </a:lnTo>
                  <a:lnTo>
                    <a:pt x="9" y="88"/>
                  </a:lnTo>
                  <a:lnTo>
                    <a:pt x="11" y="87"/>
                  </a:lnTo>
                  <a:lnTo>
                    <a:pt x="9" y="87"/>
                  </a:lnTo>
                  <a:lnTo>
                    <a:pt x="9" y="88"/>
                  </a:lnTo>
                  <a:lnTo>
                    <a:pt x="11" y="87"/>
                  </a:lnTo>
                  <a:lnTo>
                    <a:pt x="11" y="87"/>
                  </a:lnTo>
                  <a:lnTo>
                    <a:pt x="8" y="85"/>
                  </a:lnTo>
                  <a:lnTo>
                    <a:pt x="8" y="84"/>
                  </a:lnTo>
                  <a:lnTo>
                    <a:pt x="8" y="84"/>
                  </a:lnTo>
                  <a:lnTo>
                    <a:pt x="8" y="84"/>
                  </a:lnTo>
                  <a:lnTo>
                    <a:pt x="8" y="84"/>
                  </a:lnTo>
                  <a:lnTo>
                    <a:pt x="8" y="84"/>
                  </a:lnTo>
                  <a:lnTo>
                    <a:pt x="8" y="84"/>
                  </a:lnTo>
                  <a:lnTo>
                    <a:pt x="8" y="84"/>
                  </a:lnTo>
                  <a:lnTo>
                    <a:pt x="8" y="84"/>
                  </a:lnTo>
                  <a:lnTo>
                    <a:pt x="8" y="84"/>
                  </a:lnTo>
                  <a:lnTo>
                    <a:pt x="8" y="82"/>
                  </a:lnTo>
                  <a:lnTo>
                    <a:pt x="8" y="82"/>
                  </a:lnTo>
                  <a:lnTo>
                    <a:pt x="9" y="81"/>
                  </a:lnTo>
                  <a:lnTo>
                    <a:pt x="9" y="81"/>
                  </a:lnTo>
                  <a:lnTo>
                    <a:pt x="11" y="79"/>
                  </a:lnTo>
                  <a:lnTo>
                    <a:pt x="11" y="79"/>
                  </a:lnTo>
                  <a:lnTo>
                    <a:pt x="9" y="77"/>
                  </a:lnTo>
                  <a:lnTo>
                    <a:pt x="9" y="77"/>
                  </a:lnTo>
                  <a:lnTo>
                    <a:pt x="8" y="72"/>
                  </a:lnTo>
                  <a:lnTo>
                    <a:pt x="8" y="72"/>
                  </a:lnTo>
                  <a:lnTo>
                    <a:pt x="6" y="68"/>
                  </a:lnTo>
                  <a:lnTo>
                    <a:pt x="6" y="68"/>
                  </a:lnTo>
                  <a:lnTo>
                    <a:pt x="6" y="68"/>
                  </a:lnTo>
                  <a:lnTo>
                    <a:pt x="9" y="65"/>
                  </a:lnTo>
                  <a:lnTo>
                    <a:pt x="9" y="65"/>
                  </a:lnTo>
                  <a:lnTo>
                    <a:pt x="13" y="61"/>
                  </a:lnTo>
                  <a:lnTo>
                    <a:pt x="13" y="61"/>
                  </a:lnTo>
                  <a:lnTo>
                    <a:pt x="15" y="58"/>
                  </a:lnTo>
                  <a:lnTo>
                    <a:pt x="15" y="58"/>
                  </a:lnTo>
                  <a:lnTo>
                    <a:pt x="16" y="55"/>
                  </a:lnTo>
                  <a:lnTo>
                    <a:pt x="16" y="55"/>
                  </a:lnTo>
                  <a:lnTo>
                    <a:pt x="15" y="55"/>
                  </a:lnTo>
                  <a:lnTo>
                    <a:pt x="16" y="55"/>
                  </a:lnTo>
                  <a:lnTo>
                    <a:pt x="16" y="55"/>
                  </a:lnTo>
                  <a:lnTo>
                    <a:pt x="15" y="55"/>
                  </a:lnTo>
                  <a:lnTo>
                    <a:pt x="16" y="55"/>
                  </a:lnTo>
                  <a:lnTo>
                    <a:pt x="15" y="53"/>
                  </a:lnTo>
                  <a:lnTo>
                    <a:pt x="15" y="55"/>
                  </a:lnTo>
                  <a:lnTo>
                    <a:pt x="16" y="55"/>
                  </a:lnTo>
                  <a:lnTo>
                    <a:pt x="15" y="53"/>
                  </a:lnTo>
                  <a:lnTo>
                    <a:pt x="15" y="55"/>
                  </a:lnTo>
                  <a:lnTo>
                    <a:pt x="15" y="55"/>
                  </a:lnTo>
                  <a:lnTo>
                    <a:pt x="15" y="55"/>
                  </a:lnTo>
                  <a:lnTo>
                    <a:pt x="15" y="55"/>
                  </a:lnTo>
                  <a:lnTo>
                    <a:pt x="15" y="55"/>
                  </a:lnTo>
                  <a:lnTo>
                    <a:pt x="15" y="55"/>
                  </a:lnTo>
                  <a:lnTo>
                    <a:pt x="15" y="55"/>
                  </a:lnTo>
                  <a:lnTo>
                    <a:pt x="15" y="55"/>
                  </a:lnTo>
                  <a:lnTo>
                    <a:pt x="15" y="55"/>
                  </a:lnTo>
                  <a:lnTo>
                    <a:pt x="15" y="55"/>
                  </a:lnTo>
                  <a:lnTo>
                    <a:pt x="15" y="55"/>
                  </a:lnTo>
                  <a:lnTo>
                    <a:pt x="15" y="55"/>
                  </a:lnTo>
                  <a:lnTo>
                    <a:pt x="15" y="55"/>
                  </a:lnTo>
                  <a:lnTo>
                    <a:pt x="19" y="56"/>
                  </a:lnTo>
                  <a:lnTo>
                    <a:pt x="19" y="56"/>
                  </a:lnTo>
                  <a:lnTo>
                    <a:pt x="22" y="58"/>
                  </a:lnTo>
                  <a:lnTo>
                    <a:pt x="22" y="58"/>
                  </a:lnTo>
                  <a:lnTo>
                    <a:pt x="24" y="58"/>
                  </a:lnTo>
                  <a:lnTo>
                    <a:pt x="24" y="58"/>
                  </a:lnTo>
                  <a:lnTo>
                    <a:pt x="26" y="58"/>
                  </a:lnTo>
                  <a:lnTo>
                    <a:pt x="26" y="58"/>
                  </a:lnTo>
                  <a:lnTo>
                    <a:pt x="31" y="53"/>
                  </a:lnTo>
                  <a:lnTo>
                    <a:pt x="31" y="53"/>
                  </a:lnTo>
                  <a:lnTo>
                    <a:pt x="32" y="50"/>
                  </a:lnTo>
                  <a:lnTo>
                    <a:pt x="34" y="46"/>
                  </a:lnTo>
                  <a:lnTo>
                    <a:pt x="34" y="46"/>
                  </a:lnTo>
                  <a:lnTo>
                    <a:pt x="32" y="45"/>
                  </a:lnTo>
                  <a:lnTo>
                    <a:pt x="32" y="45"/>
                  </a:lnTo>
                  <a:lnTo>
                    <a:pt x="32" y="43"/>
                  </a:lnTo>
                  <a:lnTo>
                    <a:pt x="32" y="43"/>
                  </a:lnTo>
                  <a:lnTo>
                    <a:pt x="34" y="39"/>
                  </a:lnTo>
                  <a:lnTo>
                    <a:pt x="34" y="39"/>
                  </a:lnTo>
                  <a:lnTo>
                    <a:pt x="35" y="36"/>
                  </a:lnTo>
                  <a:lnTo>
                    <a:pt x="35" y="36"/>
                  </a:lnTo>
                  <a:lnTo>
                    <a:pt x="35" y="35"/>
                  </a:lnTo>
                  <a:lnTo>
                    <a:pt x="35" y="35"/>
                  </a:lnTo>
                  <a:lnTo>
                    <a:pt x="37" y="33"/>
                  </a:lnTo>
                  <a:lnTo>
                    <a:pt x="37" y="33"/>
                  </a:lnTo>
                  <a:lnTo>
                    <a:pt x="37" y="27"/>
                  </a:lnTo>
                  <a:lnTo>
                    <a:pt x="37" y="27"/>
                  </a:lnTo>
                  <a:lnTo>
                    <a:pt x="38" y="20"/>
                  </a:lnTo>
                  <a:lnTo>
                    <a:pt x="38" y="20"/>
                  </a:lnTo>
                  <a:lnTo>
                    <a:pt x="38" y="14"/>
                  </a:lnTo>
                  <a:lnTo>
                    <a:pt x="38" y="14"/>
                  </a:lnTo>
                  <a:lnTo>
                    <a:pt x="37" y="13"/>
                  </a:lnTo>
                  <a:lnTo>
                    <a:pt x="37" y="13"/>
                  </a:lnTo>
                  <a:lnTo>
                    <a:pt x="37" y="11"/>
                  </a:lnTo>
                  <a:lnTo>
                    <a:pt x="37" y="11"/>
                  </a:lnTo>
                  <a:lnTo>
                    <a:pt x="35" y="8"/>
                  </a:lnTo>
                  <a:lnTo>
                    <a:pt x="35" y="8"/>
                  </a:lnTo>
                  <a:lnTo>
                    <a:pt x="37" y="7"/>
                  </a:lnTo>
                  <a:lnTo>
                    <a:pt x="37" y="7"/>
                  </a:lnTo>
                  <a:lnTo>
                    <a:pt x="38" y="6"/>
                  </a:lnTo>
                  <a:lnTo>
                    <a:pt x="38" y="4"/>
                  </a:lnTo>
                  <a:lnTo>
                    <a:pt x="38" y="4"/>
                  </a:lnTo>
                  <a:lnTo>
                    <a:pt x="38" y="4"/>
                  </a:lnTo>
                  <a:lnTo>
                    <a:pt x="38" y="4"/>
                  </a:lnTo>
                  <a:lnTo>
                    <a:pt x="38" y="4"/>
                  </a:lnTo>
                  <a:lnTo>
                    <a:pt x="38" y="4"/>
                  </a:lnTo>
                  <a:lnTo>
                    <a:pt x="38" y="3"/>
                  </a:lnTo>
                  <a:lnTo>
                    <a:pt x="38" y="4"/>
                  </a:lnTo>
                  <a:lnTo>
                    <a:pt x="38" y="4"/>
                  </a:lnTo>
                  <a:lnTo>
                    <a:pt x="38" y="3"/>
                  </a:lnTo>
                  <a:lnTo>
                    <a:pt x="38" y="4"/>
                  </a:lnTo>
                  <a:lnTo>
                    <a:pt x="38" y="4"/>
                  </a:lnTo>
                  <a:lnTo>
                    <a:pt x="38" y="4"/>
                  </a:lnTo>
                  <a:lnTo>
                    <a:pt x="38" y="4"/>
                  </a:lnTo>
                  <a:lnTo>
                    <a:pt x="38" y="4"/>
                  </a:lnTo>
                  <a:lnTo>
                    <a:pt x="38" y="4"/>
                  </a:lnTo>
                  <a:lnTo>
                    <a:pt x="38" y="4"/>
                  </a:lnTo>
                  <a:lnTo>
                    <a:pt x="38" y="4"/>
                  </a:lnTo>
                  <a:lnTo>
                    <a:pt x="42" y="11"/>
                  </a:lnTo>
                  <a:lnTo>
                    <a:pt x="42" y="11"/>
                  </a:lnTo>
                  <a:lnTo>
                    <a:pt x="50" y="20"/>
                  </a:lnTo>
                  <a:lnTo>
                    <a:pt x="50" y="20"/>
                  </a:lnTo>
                  <a:lnTo>
                    <a:pt x="58" y="27"/>
                  </a:lnTo>
                  <a:lnTo>
                    <a:pt x="58" y="27"/>
                  </a:lnTo>
                  <a:lnTo>
                    <a:pt x="61" y="30"/>
                  </a:lnTo>
                  <a:lnTo>
                    <a:pt x="61" y="30"/>
                  </a:lnTo>
                  <a:lnTo>
                    <a:pt x="66" y="32"/>
                  </a:lnTo>
                  <a:lnTo>
                    <a:pt x="67" y="30"/>
                  </a:lnTo>
                  <a:lnTo>
                    <a:pt x="67" y="30"/>
                  </a:lnTo>
                  <a:lnTo>
                    <a:pt x="71" y="30"/>
                  </a:lnTo>
                  <a:lnTo>
                    <a:pt x="71" y="30"/>
                  </a:lnTo>
                  <a:lnTo>
                    <a:pt x="73" y="29"/>
                  </a:lnTo>
                  <a:lnTo>
                    <a:pt x="73" y="29"/>
                  </a:lnTo>
                  <a:lnTo>
                    <a:pt x="73" y="29"/>
                  </a:lnTo>
                  <a:lnTo>
                    <a:pt x="73" y="29"/>
                  </a:lnTo>
                  <a:lnTo>
                    <a:pt x="73" y="29"/>
                  </a:lnTo>
                  <a:lnTo>
                    <a:pt x="73" y="29"/>
                  </a:lnTo>
                  <a:lnTo>
                    <a:pt x="73" y="29"/>
                  </a:lnTo>
                  <a:lnTo>
                    <a:pt x="73" y="29"/>
                  </a:lnTo>
                  <a:lnTo>
                    <a:pt x="73" y="27"/>
                  </a:lnTo>
                  <a:lnTo>
                    <a:pt x="73" y="29"/>
                  </a:lnTo>
                  <a:lnTo>
                    <a:pt x="73" y="29"/>
                  </a:lnTo>
                  <a:lnTo>
                    <a:pt x="73" y="27"/>
                  </a:lnTo>
                  <a:lnTo>
                    <a:pt x="73" y="29"/>
                  </a:lnTo>
                  <a:lnTo>
                    <a:pt x="73" y="27"/>
                  </a:lnTo>
                  <a:lnTo>
                    <a:pt x="71" y="27"/>
                  </a:lnTo>
                  <a:lnTo>
                    <a:pt x="73" y="29"/>
                  </a:lnTo>
                  <a:lnTo>
                    <a:pt x="73" y="27"/>
                  </a:lnTo>
                  <a:lnTo>
                    <a:pt x="71" y="27"/>
                  </a:lnTo>
                  <a:lnTo>
                    <a:pt x="71" y="27"/>
                  </a:lnTo>
                  <a:lnTo>
                    <a:pt x="73" y="32"/>
                  </a:lnTo>
                  <a:lnTo>
                    <a:pt x="73" y="32"/>
                  </a:lnTo>
                  <a:lnTo>
                    <a:pt x="73" y="35"/>
                  </a:lnTo>
                  <a:lnTo>
                    <a:pt x="73" y="35"/>
                  </a:lnTo>
                  <a:lnTo>
                    <a:pt x="77" y="36"/>
                  </a:lnTo>
                  <a:lnTo>
                    <a:pt x="77" y="36"/>
                  </a:lnTo>
                  <a:lnTo>
                    <a:pt x="80" y="35"/>
                  </a:lnTo>
                  <a:lnTo>
                    <a:pt x="80" y="35"/>
                  </a:lnTo>
                  <a:lnTo>
                    <a:pt x="84" y="33"/>
                  </a:lnTo>
                  <a:lnTo>
                    <a:pt x="84" y="33"/>
                  </a:lnTo>
                  <a:lnTo>
                    <a:pt x="87" y="32"/>
                  </a:lnTo>
                  <a:lnTo>
                    <a:pt x="87" y="32"/>
                  </a:lnTo>
                  <a:lnTo>
                    <a:pt x="87" y="32"/>
                  </a:lnTo>
                  <a:lnTo>
                    <a:pt x="87" y="32"/>
                  </a:lnTo>
                  <a:lnTo>
                    <a:pt x="87" y="32"/>
                  </a:lnTo>
                  <a:lnTo>
                    <a:pt x="87" y="32"/>
                  </a:lnTo>
                  <a:lnTo>
                    <a:pt x="87" y="32"/>
                  </a:lnTo>
                  <a:lnTo>
                    <a:pt x="87" y="32"/>
                  </a:lnTo>
                  <a:lnTo>
                    <a:pt x="87" y="30"/>
                  </a:lnTo>
                  <a:lnTo>
                    <a:pt x="86" y="32"/>
                  </a:lnTo>
                  <a:lnTo>
                    <a:pt x="86" y="32"/>
                  </a:lnTo>
                  <a:lnTo>
                    <a:pt x="87" y="32"/>
                  </a:lnTo>
                  <a:lnTo>
                    <a:pt x="87" y="30"/>
                  </a:lnTo>
                  <a:lnTo>
                    <a:pt x="86" y="32"/>
                  </a:lnTo>
                  <a:lnTo>
                    <a:pt x="87" y="30"/>
                  </a:lnTo>
                  <a:lnTo>
                    <a:pt x="84" y="30"/>
                  </a:lnTo>
                  <a:lnTo>
                    <a:pt x="84" y="30"/>
                  </a:lnTo>
                  <a:lnTo>
                    <a:pt x="86" y="32"/>
                  </a:lnTo>
                  <a:lnTo>
                    <a:pt x="87" y="30"/>
                  </a:lnTo>
                  <a:lnTo>
                    <a:pt x="84" y="30"/>
                  </a:lnTo>
                  <a:lnTo>
                    <a:pt x="84" y="30"/>
                  </a:lnTo>
                  <a:lnTo>
                    <a:pt x="84" y="35"/>
                  </a:lnTo>
                  <a:lnTo>
                    <a:pt x="84" y="35"/>
                  </a:lnTo>
                  <a:lnTo>
                    <a:pt x="84" y="36"/>
                  </a:lnTo>
                  <a:lnTo>
                    <a:pt x="84" y="36"/>
                  </a:lnTo>
                  <a:lnTo>
                    <a:pt x="86" y="39"/>
                  </a:lnTo>
                  <a:lnTo>
                    <a:pt x="86" y="39"/>
                  </a:lnTo>
                  <a:lnTo>
                    <a:pt x="86" y="40"/>
                  </a:lnTo>
                  <a:lnTo>
                    <a:pt x="86" y="40"/>
                  </a:lnTo>
                  <a:lnTo>
                    <a:pt x="86" y="45"/>
                  </a:lnTo>
                  <a:lnTo>
                    <a:pt x="86" y="45"/>
                  </a:lnTo>
                  <a:lnTo>
                    <a:pt x="87" y="48"/>
                  </a:lnTo>
                  <a:lnTo>
                    <a:pt x="87" y="48"/>
                  </a:lnTo>
                  <a:lnTo>
                    <a:pt x="89" y="49"/>
                  </a:lnTo>
                  <a:lnTo>
                    <a:pt x="90" y="49"/>
                  </a:lnTo>
                  <a:lnTo>
                    <a:pt x="90" y="49"/>
                  </a:lnTo>
                  <a:lnTo>
                    <a:pt x="93" y="49"/>
                  </a:lnTo>
                  <a:lnTo>
                    <a:pt x="93" y="49"/>
                  </a:lnTo>
                  <a:lnTo>
                    <a:pt x="95" y="49"/>
                  </a:lnTo>
                  <a:lnTo>
                    <a:pt x="96" y="49"/>
                  </a:lnTo>
                  <a:lnTo>
                    <a:pt x="96" y="48"/>
                  </a:lnTo>
                  <a:lnTo>
                    <a:pt x="95" y="49"/>
                  </a:lnTo>
                  <a:lnTo>
                    <a:pt x="96" y="49"/>
                  </a:lnTo>
                  <a:lnTo>
                    <a:pt x="96" y="48"/>
                  </a:lnTo>
                  <a:lnTo>
                    <a:pt x="95" y="49"/>
                  </a:lnTo>
                  <a:lnTo>
                    <a:pt x="96" y="48"/>
                  </a:lnTo>
                  <a:lnTo>
                    <a:pt x="95" y="48"/>
                  </a:lnTo>
                  <a:lnTo>
                    <a:pt x="95" y="48"/>
                  </a:lnTo>
                  <a:lnTo>
                    <a:pt x="95" y="49"/>
                  </a:lnTo>
                  <a:lnTo>
                    <a:pt x="96" y="48"/>
                  </a:lnTo>
                  <a:lnTo>
                    <a:pt x="95" y="48"/>
                  </a:lnTo>
                  <a:lnTo>
                    <a:pt x="96" y="48"/>
                  </a:lnTo>
                  <a:lnTo>
                    <a:pt x="95" y="46"/>
                  </a:lnTo>
                  <a:lnTo>
                    <a:pt x="95" y="46"/>
                  </a:lnTo>
                  <a:lnTo>
                    <a:pt x="95" y="48"/>
                  </a:lnTo>
                  <a:lnTo>
                    <a:pt x="96" y="48"/>
                  </a:lnTo>
                  <a:lnTo>
                    <a:pt x="95" y="46"/>
                  </a:lnTo>
                  <a:lnTo>
                    <a:pt x="95" y="46"/>
                  </a:lnTo>
                  <a:lnTo>
                    <a:pt x="95" y="46"/>
                  </a:lnTo>
                  <a:lnTo>
                    <a:pt x="95" y="46"/>
                  </a:lnTo>
                  <a:lnTo>
                    <a:pt x="95" y="46"/>
                  </a:lnTo>
                  <a:lnTo>
                    <a:pt x="95" y="46"/>
                  </a:lnTo>
                  <a:lnTo>
                    <a:pt x="96" y="46"/>
                  </a:lnTo>
                  <a:lnTo>
                    <a:pt x="95" y="46"/>
                  </a:lnTo>
                  <a:lnTo>
                    <a:pt x="95" y="46"/>
                  </a:lnTo>
                  <a:lnTo>
                    <a:pt x="96" y="46"/>
                  </a:lnTo>
                  <a:lnTo>
                    <a:pt x="95" y="46"/>
                  </a:lnTo>
                  <a:lnTo>
                    <a:pt x="95" y="46"/>
                  </a:lnTo>
                  <a:lnTo>
                    <a:pt x="92" y="46"/>
                  </a:lnTo>
                  <a:lnTo>
                    <a:pt x="92" y="46"/>
                  </a:lnTo>
                  <a:lnTo>
                    <a:pt x="83" y="49"/>
                  </a:lnTo>
                  <a:lnTo>
                    <a:pt x="83" y="49"/>
                  </a:lnTo>
                  <a:lnTo>
                    <a:pt x="74" y="52"/>
                  </a:lnTo>
                  <a:lnTo>
                    <a:pt x="74" y="52"/>
                  </a:lnTo>
                  <a:lnTo>
                    <a:pt x="70" y="55"/>
                  </a:lnTo>
                  <a:lnTo>
                    <a:pt x="66" y="58"/>
                  </a:lnTo>
                  <a:lnTo>
                    <a:pt x="61" y="62"/>
                  </a:lnTo>
                  <a:lnTo>
                    <a:pt x="60" y="66"/>
                  </a:lnTo>
                  <a:lnTo>
                    <a:pt x="60" y="66"/>
                  </a:lnTo>
                  <a:lnTo>
                    <a:pt x="57" y="74"/>
                  </a:lnTo>
                  <a:lnTo>
                    <a:pt x="57" y="74"/>
                  </a:lnTo>
                  <a:lnTo>
                    <a:pt x="57" y="77"/>
                  </a:lnTo>
                  <a:lnTo>
                    <a:pt x="57" y="77"/>
                  </a:lnTo>
                  <a:lnTo>
                    <a:pt x="57" y="77"/>
                  </a:lnTo>
                  <a:lnTo>
                    <a:pt x="57" y="77"/>
                  </a:lnTo>
                  <a:lnTo>
                    <a:pt x="57" y="77"/>
                  </a:lnTo>
                  <a:lnTo>
                    <a:pt x="57" y="77"/>
                  </a:lnTo>
                  <a:lnTo>
                    <a:pt x="57" y="77"/>
                  </a:lnTo>
                  <a:lnTo>
                    <a:pt x="57" y="77"/>
                  </a:lnTo>
                  <a:lnTo>
                    <a:pt x="57" y="75"/>
                  </a:lnTo>
                  <a:lnTo>
                    <a:pt x="57" y="77"/>
                  </a:lnTo>
                  <a:lnTo>
                    <a:pt x="57" y="77"/>
                  </a:lnTo>
                  <a:lnTo>
                    <a:pt x="57" y="75"/>
                  </a:lnTo>
                  <a:lnTo>
                    <a:pt x="57" y="77"/>
                  </a:lnTo>
                  <a:lnTo>
                    <a:pt x="57" y="77"/>
                  </a:lnTo>
                  <a:lnTo>
                    <a:pt x="57" y="75"/>
                  </a:lnTo>
                  <a:lnTo>
                    <a:pt x="57" y="77"/>
                  </a:lnTo>
                  <a:lnTo>
                    <a:pt x="57" y="77"/>
                  </a:lnTo>
                  <a:lnTo>
                    <a:pt x="57" y="77"/>
                  </a:lnTo>
                  <a:lnTo>
                    <a:pt x="58" y="77"/>
                  </a:lnTo>
                  <a:lnTo>
                    <a:pt x="57" y="77"/>
                  </a:lnTo>
                  <a:lnTo>
                    <a:pt x="57" y="77"/>
                  </a:lnTo>
                  <a:lnTo>
                    <a:pt x="58" y="77"/>
                  </a:lnTo>
                  <a:lnTo>
                    <a:pt x="57" y="77"/>
                  </a:lnTo>
                  <a:lnTo>
                    <a:pt x="57" y="77"/>
                  </a:lnTo>
                  <a:lnTo>
                    <a:pt x="50" y="71"/>
                  </a:lnTo>
                  <a:lnTo>
                    <a:pt x="50" y="71"/>
                  </a:lnTo>
                  <a:lnTo>
                    <a:pt x="45" y="66"/>
                  </a:lnTo>
                  <a:lnTo>
                    <a:pt x="45" y="66"/>
                  </a:lnTo>
                  <a:lnTo>
                    <a:pt x="41" y="65"/>
                  </a:lnTo>
                  <a:lnTo>
                    <a:pt x="40" y="65"/>
                  </a:lnTo>
                  <a:lnTo>
                    <a:pt x="40" y="68"/>
                  </a:lnTo>
                  <a:lnTo>
                    <a:pt x="40" y="65"/>
                  </a:lnTo>
                  <a:lnTo>
                    <a:pt x="40" y="65"/>
                  </a:lnTo>
                  <a:lnTo>
                    <a:pt x="40" y="65"/>
                  </a:lnTo>
                  <a:lnTo>
                    <a:pt x="38" y="65"/>
                  </a:lnTo>
                  <a:lnTo>
                    <a:pt x="38" y="65"/>
                  </a:lnTo>
                  <a:lnTo>
                    <a:pt x="35" y="64"/>
                  </a:lnTo>
                  <a:lnTo>
                    <a:pt x="35" y="64"/>
                  </a:lnTo>
                  <a:lnTo>
                    <a:pt x="34" y="62"/>
                  </a:lnTo>
                  <a:lnTo>
                    <a:pt x="34" y="62"/>
                  </a:lnTo>
                  <a:lnTo>
                    <a:pt x="31" y="62"/>
                  </a:lnTo>
                  <a:lnTo>
                    <a:pt x="31" y="62"/>
                  </a:lnTo>
                  <a:lnTo>
                    <a:pt x="29" y="62"/>
                  </a:lnTo>
                  <a:lnTo>
                    <a:pt x="29" y="62"/>
                  </a:lnTo>
                  <a:lnTo>
                    <a:pt x="29" y="62"/>
                  </a:lnTo>
                  <a:lnTo>
                    <a:pt x="26" y="64"/>
                  </a:lnTo>
                  <a:lnTo>
                    <a:pt x="26" y="64"/>
                  </a:lnTo>
                  <a:lnTo>
                    <a:pt x="24" y="68"/>
                  </a:lnTo>
                  <a:lnTo>
                    <a:pt x="24" y="68"/>
                  </a:lnTo>
                  <a:lnTo>
                    <a:pt x="21" y="69"/>
                  </a:lnTo>
                  <a:lnTo>
                    <a:pt x="21" y="69"/>
                  </a:lnTo>
                  <a:lnTo>
                    <a:pt x="21" y="71"/>
                  </a:lnTo>
                  <a:lnTo>
                    <a:pt x="21" y="69"/>
                  </a:lnTo>
                  <a:lnTo>
                    <a:pt x="21" y="69"/>
                  </a:lnTo>
                  <a:lnTo>
                    <a:pt x="21" y="71"/>
                  </a:lnTo>
                  <a:lnTo>
                    <a:pt x="21" y="69"/>
                  </a:lnTo>
                  <a:lnTo>
                    <a:pt x="21" y="71"/>
                  </a:lnTo>
                  <a:lnTo>
                    <a:pt x="22" y="69"/>
                  </a:lnTo>
                  <a:lnTo>
                    <a:pt x="21" y="69"/>
                  </a:lnTo>
                  <a:lnTo>
                    <a:pt x="21" y="71"/>
                  </a:lnTo>
                  <a:lnTo>
                    <a:pt x="22" y="69"/>
                  </a:lnTo>
                  <a:lnTo>
                    <a:pt x="21" y="71"/>
                  </a:lnTo>
                  <a:lnTo>
                    <a:pt x="24" y="71"/>
                  </a:lnTo>
                  <a:lnTo>
                    <a:pt x="22" y="69"/>
                  </a:lnTo>
                  <a:lnTo>
                    <a:pt x="21" y="71"/>
                  </a:lnTo>
                  <a:lnTo>
                    <a:pt x="24" y="71"/>
                  </a:lnTo>
                  <a:lnTo>
                    <a:pt x="24" y="71"/>
                  </a:lnTo>
                  <a:lnTo>
                    <a:pt x="24" y="71"/>
                  </a:lnTo>
                  <a:lnTo>
                    <a:pt x="22" y="68"/>
                  </a:lnTo>
                  <a:lnTo>
                    <a:pt x="22" y="68"/>
                  </a:lnTo>
                  <a:lnTo>
                    <a:pt x="19" y="64"/>
                  </a:lnTo>
                  <a:lnTo>
                    <a:pt x="19" y="64"/>
                  </a:lnTo>
                  <a:lnTo>
                    <a:pt x="18" y="62"/>
                  </a:lnTo>
                  <a:lnTo>
                    <a:pt x="18" y="62"/>
                  </a:lnTo>
                  <a:lnTo>
                    <a:pt x="15" y="62"/>
                  </a:lnTo>
                  <a:lnTo>
                    <a:pt x="13" y="62"/>
                  </a:lnTo>
                  <a:lnTo>
                    <a:pt x="13" y="62"/>
                  </a:lnTo>
                  <a:lnTo>
                    <a:pt x="12" y="64"/>
                  </a:lnTo>
                  <a:lnTo>
                    <a:pt x="12" y="64"/>
                  </a:lnTo>
                  <a:lnTo>
                    <a:pt x="9" y="66"/>
                  </a:lnTo>
                  <a:lnTo>
                    <a:pt x="9" y="66"/>
                  </a:lnTo>
                  <a:lnTo>
                    <a:pt x="9" y="71"/>
                  </a:lnTo>
                  <a:lnTo>
                    <a:pt x="9" y="71"/>
                  </a:lnTo>
                  <a:lnTo>
                    <a:pt x="9" y="72"/>
                  </a:lnTo>
                  <a:lnTo>
                    <a:pt x="9" y="72"/>
                  </a:lnTo>
                  <a:lnTo>
                    <a:pt x="12" y="75"/>
                  </a:lnTo>
                  <a:lnTo>
                    <a:pt x="12" y="75"/>
                  </a:lnTo>
                  <a:lnTo>
                    <a:pt x="15" y="77"/>
                  </a:lnTo>
                  <a:lnTo>
                    <a:pt x="19" y="77"/>
                  </a:lnTo>
                  <a:lnTo>
                    <a:pt x="19" y="77"/>
                  </a:lnTo>
                  <a:lnTo>
                    <a:pt x="21" y="78"/>
                  </a:lnTo>
                  <a:lnTo>
                    <a:pt x="21" y="78"/>
                  </a:lnTo>
                  <a:lnTo>
                    <a:pt x="21" y="78"/>
                  </a:lnTo>
                  <a:lnTo>
                    <a:pt x="21" y="79"/>
                  </a:lnTo>
                  <a:lnTo>
                    <a:pt x="22" y="79"/>
                  </a:lnTo>
                  <a:lnTo>
                    <a:pt x="22" y="78"/>
                  </a:lnTo>
                  <a:lnTo>
                    <a:pt x="21" y="79"/>
                  </a:lnTo>
                  <a:lnTo>
                    <a:pt x="22" y="79"/>
                  </a:lnTo>
                  <a:lnTo>
                    <a:pt x="22" y="78"/>
                  </a:lnTo>
                  <a:lnTo>
                    <a:pt x="22" y="79"/>
                  </a:lnTo>
                  <a:lnTo>
                    <a:pt x="22" y="78"/>
                  </a:lnTo>
                  <a:lnTo>
                    <a:pt x="22" y="78"/>
                  </a:lnTo>
                  <a:lnTo>
                    <a:pt x="22" y="79"/>
                  </a:lnTo>
                  <a:lnTo>
                    <a:pt x="22" y="78"/>
                  </a:lnTo>
                  <a:lnTo>
                    <a:pt x="22" y="78"/>
                  </a:lnTo>
                  <a:lnTo>
                    <a:pt x="19" y="78"/>
                  </a:lnTo>
                  <a:lnTo>
                    <a:pt x="18" y="79"/>
                  </a:lnTo>
                  <a:lnTo>
                    <a:pt x="18" y="79"/>
                  </a:lnTo>
                  <a:lnTo>
                    <a:pt x="15" y="81"/>
                  </a:lnTo>
                  <a:lnTo>
                    <a:pt x="15" y="81"/>
                  </a:lnTo>
                  <a:lnTo>
                    <a:pt x="15" y="81"/>
                  </a:lnTo>
                  <a:lnTo>
                    <a:pt x="15" y="81"/>
                  </a:lnTo>
                  <a:lnTo>
                    <a:pt x="16" y="84"/>
                  </a:lnTo>
                  <a:lnTo>
                    <a:pt x="16" y="87"/>
                  </a:lnTo>
                  <a:lnTo>
                    <a:pt x="16" y="87"/>
                  </a:lnTo>
                  <a:lnTo>
                    <a:pt x="19" y="85"/>
                  </a:lnTo>
                  <a:lnTo>
                    <a:pt x="19" y="85"/>
                  </a:lnTo>
                  <a:lnTo>
                    <a:pt x="21" y="84"/>
                  </a:lnTo>
                  <a:lnTo>
                    <a:pt x="21" y="84"/>
                  </a:lnTo>
                  <a:lnTo>
                    <a:pt x="22" y="82"/>
                  </a:lnTo>
                  <a:lnTo>
                    <a:pt x="22" y="82"/>
                  </a:lnTo>
                  <a:lnTo>
                    <a:pt x="25" y="81"/>
                  </a:lnTo>
                  <a:lnTo>
                    <a:pt x="25" y="81"/>
                  </a:lnTo>
                  <a:lnTo>
                    <a:pt x="26" y="79"/>
                  </a:lnTo>
                  <a:lnTo>
                    <a:pt x="26" y="79"/>
                  </a:lnTo>
                  <a:lnTo>
                    <a:pt x="26" y="77"/>
                  </a:lnTo>
                  <a:lnTo>
                    <a:pt x="25" y="75"/>
                  </a:lnTo>
                  <a:lnTo>
                    <a:pt x="25" y="75"/>
                  </a:lnTo>
                  <a:lnTo>
                    <a:pt x="22" y="72"/>
                  </a:lnTo>
                  <a:lnTo>
                    <a:pt x="21" y="72"/>
                  </a:lnTo>
                  <a:lnTo>
                    <a:pt x="21" y="72"/>
                  </a:lnTo>
                  <a:lnTo>
                    <a:pt x="13" y="71"/>
                  </a:lnTo>
                  <a:lnTo>
                    <a:pt x="13" y="71"/>
                  </a:lnTo>
                  <a:lnTo>
                    <a:pt x="13" y="71"/>
                  </a:lnTo>
                  <a:lnTo>
                    <a:pt x="13" y="71"/>
                  </a:lnTo>
                  <a:lnTo>
                    <a:pt x="13" y="71"/>
                  </a:lnTo>
                  <a:lnTo>
                    <a:pt x="13" y="71"/>
                  </a:lnTo>
                  <a:lnTo>
                    <a:pt x="13" y="71"/>
                  </a:lnTo>
                  <a:lnTo>
                    <a:pt x="13" y="71"/>
                  </a:lnTo>
                  <a:lnTo>
                    <a:pt x="13" y="71"/>
                  </a:lnTo>
                  <a:lnTo>
                    <a:pt x="13" y="71"/>
                  </a:lnTo>
                  <a:lnTo>
                    <a:pt x="13" y="71"/>
                  </a:lnTo>
                  <a:lnTo>
                    <a:pt x="13" y="71"/>
                  </a:lnTo>
                  <a:lnTo>
                    <a:pt x="13" y="71"/>
                  </a:lnTo>
                  <a:lnTo>
                    <a:pt x="15" y="68"/>
                  </a:lnTo>
                  <a:lnTo>
                    <a:pt x="15" y="66"/>
                  </a:lnTo>
                  <a:lnTo>
                    <a:pt x="15" y="66"/>
                  </a:lnTo>
                  <a:lnTo>
                    <a:pt x="15" y="66"/>
                  </a:lnTo>
                  <a:lnTo>
                    <a:pt x="15" y="66"/>
                  </a:lnTo>
                  <a:lnTo>
                    <a:pt x="15" y="66"/>
                  </a:lnTo>
                  <a:lnTo>
                    <a:pt x="15" y="66"/>
                  </a:lnTo>
                  <a:lnTo>
                    <a:pt x="15" y="66"/>
                  </a:lnTo>
                  <a:lnTo>
                    <a:pt x="15" y="66"/>
                  </a:lnTo>
                  <a:lnTo>
                    <a:pt x="15" y="65"/>
                  </a:lnTo>
                  <a:lnTo>
                    <a:pt x="15" y="66"/>
                  </a:lnTo>
                  <a:lnTo>
                    <a:pt x="15" y="66"/>
                  </a:lnTo>
                  <a:lnTo>
                    <a:pt x="15" y="65"/>
                  </a:lnTo>
                  <a:lnTo>
                    <a:pt x="15" y="66"/>
                  </a:lnTo>
                  <a:lnTo>
                    <a:pt x="15" y="65"/>
                  </a:lnTo>
                  <a:lnTo>
                    <a:pt x="15" y="66"/>
                  </a:lnTo>
                  <a:lnTo>
                    <a:pt x="15" y="66"/>
                  </a:lnTo>
                  <a:lnTo>
                    <a:pt x="15" y="65"/>
                  </a:lnTo>
                  <a:lnTo>
                    <a:pt x="15" y="66"/>
                  </a:lnTo>
                  <a:lnTo>
                    <a:pt x="15" y="66"/>
                  </a:lnTo>
                  <a:lnTo>
                    <a:pt x="15" y="66"/>
                  </a:lnTo>
                  <a:lnTo>
                    <a:pt x="15" y="66"/>
                  </a:lnTo>
                  <a:lnTo>
                    <a:pt x="15" y="66"/>
                  </a:lnTo>
                  <a:lnTo>
                    <a:pt x="15" y="66"/>
                  </a:lnTo>
                  <a:lnTo>
                    <a:pt x="15" y="66"/>
                  </a:lnTo>
                  <a:lnTo>
                    <a:pt x="16" y="69"/>
                  </a:lnTo>
                  <a:lnTo>
                    <a:pt x="16" y="69"/>
                  </a:lnTo>
                  <a:lnTo>
                    <a:pt x="18" y="72"/>
                  </a:lnTo>
                  <a:lnTo>
                    <a:pt x="18" y="72"/>
                  </a:lnTo>
                  <a:lnTo>
                    <a:pt x="19" y="74"/>
                  </a:lnTo>
                  <a:lnTo>
                    <a:pt x="19" y="74"/>
                  </a:lnTo>
                  <a:lnTo>
                    <a:pt x="21" y="74"/>
                  </a:lnTo>
                  <a:lnTo>
                    <a:pt x="21" y="74"/>
                  </a:lnTo>
                  <a:lnTo>
                    <a:pt x="24" y="74"/>
                  </a:lnTo>
                  <a:lnTo>
                    <a:pt x="24" y="74"/>
                  </a:lnTo>
                  <a:lnTo>
                    <a:pt x="28" y="69"/>
                  </a:lnTo>
                  <a:lnTo>
                    <a:pt x="28" y="69"/>
                  </a:lnTo>
                  <a:lnTo>
                    <a:pt x="31" y="68"/>
                  </a:lnTo>
                  <a:lnTo>
                    <a:pt x="31" y="66"/>
                  </a:lnTo>
                  <a:lnTo>
                    <a:pt x="32" y="66"/>
                  </a:lnTo>
                  <a:lnTo>
                    <a:pt x="32" y="66"/>
                  </a:lnTo>
                  <a:lnTo>
                    <a:pt x="31" y="65"/>
                  </a:lnTo>
                  <a:lnTo>
                    <a:pt x="31" y="66"/>
                  </a:lnTo>
                  <a:lnTo>
                    <a:pt x="32" y="66"/>
                  </a:lnTo>
                  <a:lnTo>
                    <a:pt x="31" y="65"/>
                  </a:lnTo>
                  <a:lnTo>
                    <a:pt x="31" y="66"/>
                  </a:lnTo>
                  <a:lnTo>
                    <a:pt x="31" y="66"/>
                  </a:lnTo>
                  <a:lnTo>
                    <a:pt x="31" y="66"/>
                  </a:lnTo>
                  <a:lnTo>
                    <a:pt x="31" y="66"/>
                  </a:lnTo>
                  <a:lnTo>
                    <a:pt x="31" y="66"/>
                  </a:lnTo>
                  <a:lnTo>
                    <a:pt x="31" y="66"/>
                  </a:lnTo>
                  <a:lnTo>
                    <a:pt x="31" y="66"/>
                  </a:lnTo>
                  <a:lnTo>
                    <a:pt x="32" y="68"/>
                  </a:lnTo>
                  <a:lnTo>
                    <a:pt x="32" y="68"/>
                  </a:lnTo>
                  <a:lnTo>
                    <a:pt x="35" y="69"/>
                  </a:lnTo>
                  <a:lnTo>
                    <a:pt x="35" y="69"/>
                  </a:lnTo>
                  <a:lnTo>
                    <a:pt x="40" y="71"/>
                  </a:lnTo>
                  <a:lnTo>
                    <a:pt x="41" y="71"/>
                  </a:lnTo>
                  <a:lnTo>
                    <a:pt x="41" y="71"/>
                  </a:lnTo>
                  <a:lnTo>
                    <a:pt x="41" y="69"/>
                  </a:lnTo>
                  <a:lnTo>
                    <a:pt x="41" y="71"/>
                  </a:lnTo>
                  <a:lnTo>
                    <a:pt x="41" y="71"/>
                  </a:lnTo>
                  <a:lnTo>
                    <a:pt x="41" y="69"/>
                  </a:lnTo>
                  <a:lnTo>
                    <a:pt x="41" y="71"/>
                  </a:lnTo>
                  <a:lnTo>
                    <a:pt x="41" y="71"/>
                  </a:lnTo>
                  <a:lnTo>
                    <a:pt x="41" y="71"/>
                  </a:lnTo>
                  <a:lnTo>
                    <a:pt x="44" y="72"/>
                  </a:lnTo>
                  <a:lnTo>
                    <a:pt x="44" y="72"/>
                  </a:lnTo>
                  <a:lnTo>
                    <a:pt x="54" y="79"/>
                  </a:lnTo>
                  <a:lnTo>
                    <a:pt x="54" y="79"/>
                  </a:lnTo>
                  <a:lnTo>
                    <a:pt x="57" y="81"/>
                  </a:lnTo>
                  <a:lnTo>
                    <a:pt x="57" y="81"/>
                  </a:lnTo>
                  <a:lnTo>
                    <a:pt x="60" y="79"/>
                  </a:lnTo>
                  <a:lnTo>
                    <a:pt x="60" y="79"/>
                  </a:lnTo>
                  <a:lnTo>
                    <a:pt x="61" y="78"/>
                  </a:lnTo>
                  <a:lnTo>
                    <a:pt x="61" y="78"/>
                  </a:lnTo>
                  <a:lnTo>
                    <a:pt x="63" y="74"/>
                  </a:lnTo>
                  <a:lnTo>
                    <a:pt x="63" y="74"/>
                  </a:lnTo>
                  <a:lnTo>
                    <a:pt x="64" y="69"/>
                  </a:lnTo>
                  <a:lnTo>
                    <a:pt x="64" y="69"/>
                  </a:lnTo>
                  <a:lnTo>
                    <a:pt x="66" y="65"/>
                  </a:lnTo>
                  <a:lnTo>
                    <a:pt x="68" y="62"/>
                  </a:lnTo>
                  <a:lnTo>
                    <a:pt x="77" y="56"/>
                  </a:lnTo>
                  <a:lnTo>
                    <a:pt x="77" y="56"/>
                  </a:lnTo>
                  <a:lnTo>
                    <a:pt x="89" y="53"/>
                  </a:lnTo>
                  <a:lnTo>
                    <a:pt x="89" y="53"/>
                  </a:lnTo>
                  <a:lnTo>
                    <a:pt x="95" y="52"/>
                  </a:lnTo>
                  <a:lnTo>
                    <a:pt x="95" y="52"/>
                  </a:lnTo>
                  <a:lnTo>
                    <a:pt x="96" y="50"/>
                  </a:lnTo>
                  <a:lnTo>
                    <a:pt x="96" y="50"/>
                  </a:lnTo>
                  <a:lnTo>
                    <a:pt x="97" y="49"/>
                  </a:lnTo>
                  <a:lnTo>
                    <a:pt x="99" y="49"/>
                  </a:lnTo>
                  <a:lnTo>
                    <a:pt x="99" y="49"/>
                  </a:lnTo>
                  <a:lnTo>
                    <a:pt x="99" y="48"/>
                  </a:lnTo>
                  <a:lnTo>
                    <a:pt x="99" y="48"/>
                  </a:lnTo>
                  <a:lnTo>
                    <a:pt x="99" y="46"/>
                  </a:lnTo>
                  <a:lnTo>
                    <a:pt x="99" y="46"/>
                  </a:lnTo>
                  <a:lnTo>
                    <a:pt x="97" y="45"/>
                  </a:lnTo>
                  <a:lnTo>
                    <a:pt x="97" y="45"/>
                  </a:lnTo>
                  <a:lnTo>
                    <a:pt x="95" y="45"/>
                  </a:lnTo>
                  <a:lnTo>
                    <a:pt x="95" y="45"/>
                  </a:lnTo>
                  <a:lnTo>
                    <a:pt x="93" y="43"/>
                  </a:lnTo>
                  <a:lnTo>
                    <a:pt x="93" y="43"/>
                  </a:lnTo>
                  <a:lnTo>
                    <a:pt x="90" y="43"/>
                  </a:lnTo>
                  <a:lnTo>
                    <a:pt x="90" y="45"/>
                  </a:lnTo>
                  <a:lnTo>
                    <a:pt x="92" y="45"/>
                  </a:lnTo>
                  <a:lnTo>
                    <a:pt x="90" y="43"/>
                  </a:lnTo>
                  <a:lnTo>
                    <a:pt x="90" y="45"/>
                  </a:lnTo>
                  <a:lnTo>
                    <a:pt x="92" y="45"/>
                  </a:lnTo>
                  <a:lnTo>
                    <a:pt x="92" y="45"/>
                  </a:lnTo>
                  <a:lnTo>
                    <a:pt x="92" y="45"/>
                  </a:lnTo>
                  <a:lnTo>
                    <a:pt x="92" y="45"/>
                  </a:lnTo>
                  <a:lnTo>
                    <a:pt x="92" y="45"/>
                  </a:lnTo>
                  <a:lnTo>
                    <a:pt x="92" y="45"/>
                  </a:lnTo>
                  <a:lnTo>
                    <a:pt x="92" y="45"/>
                  </a:lnTo>
                  <a:lnTo>
                    <a:pt x="92" y="45"/>
                  </a:lnTo>
                  <a:lnTo>
                    <a:pt x="90" y="42"/>
                  </a:lnTo>
                  <a:lnTo>
                    <a:pt x="90" y="42"/>
                  </a:lnTo>
                  <a:lnTo>
                    <a:pt x="90" y="39"/>
                  </a:lnTo>
                  <a:lnTo>
                    <a:pt x="90" y="39"/>
                  </a:lnTo>
                  <a:lnTo>
                    <a:pt x="90" y="37"/>
                  </a:lnTo>
                  <a:lnTo>
                    <a:pt x="90" y="37"/>
                  </a:lnTo>
                  <a:lnTo>
                    <a:pt x="90" y="36"/>
                  </a:lnTo>
                  <a:lnTo>
                    <a:pt x="90" y="36"/>
                  </a:lnTo>
                  <a:lnTo>
                    <a:pt x="90" y="35"/>
                  </a:lnTo>
                  <a:lnTo>
                    <a:pt x="90" y="35"/>
                  </a:lnTo>
                  <a:lnTo>
                    <a:pt x="90" y="30"/>
                  </a:lnTo>
                  <a:lnTo>
                    <a:pt x="90" y="30"/>
                  </a:lnTo>
                  <a:lnTo>
                    <a:pt x="89" y="27"/>
                  </a:lnTo>
                  <a:lnTo>
                    <a:pt x="89" y="27"/>
                  </a:lnTo>
                  <a:lnTo>
                    <a:pt x="87" y="27"/>
                  </a:lnTo>
                  <a:lnTo>
                    <a:pt x="87" y="27"/>
                  </a:lnTo>
                  <a:lnTo>
                    <a:pt x="86" y="27"/>
                  </a:lnTo>
                  <a:lnTo>
                    <a:pt x="86" y="27"/>
                  </a:lnTo>
                  <a:lnTo>
                    <a:pt x="80" y="29"/>
                  </a:lnTo>
                  <a:lnTo>
                    <a:pt x="80" y="29"/>
                  </a:lnTo>
                  <a:lnTo>
                    <a:pt x="79" y="30"/>
                  </a:lnTo>
                  <a:lnTo>
                    <a:pt x="79" y="30"/>
                  </a:lnTo>
                  <a:lnTo>
                    <a:pt x="77" y="30"/>
                  </a:lnTo>
                  <a:lnTo>
                    <a:pt x="77" y="30"/>
                  </a:lnTo>
                  <a:lnTo>
                    <a:pt x="77" y="32"/>
                  </a:lnTo>
                  <a:lnTo>
                    <a:pt x="77" y="30"/>
                  </a:lnTo>
                  <a:lnTo>
                    <a:pt x="77" y="30"/>
                  </a:lnTo>
                  <a:lnTo>
                    <a:pt x="77" y="32"/>
                  </a:lnTo>
                  <a:lnTo>
                    <a:pt x="77" y="30"/>
                  </a:lnTo>
                  <a:lnTo>
                    <a:pt x="77" y="30"/>
                  </a:lnTo>
                  <a:lnTo>
                    <a:pt x="77" y="30"/>
                  </a:lnTo>
                  <a:lnTo>
                    <a:pt x="77" y="30"/>
                  </a:lnTo>
                  <a:lnTo>
                    <a:pt x="77" y="30"/>
                  </a:lnTo>
                  <a:lnTo>
                    <a:pt x="77" y="30"/>
                  </a:lnTo>
                  <a:lnTo>
                    <a:pt x="77" y="30"/>
                  </a:lnTo>
                  <a:lnTo>
                    <a:pt x="77" y="30"/>
                  </a:lnTo>
                  <a:lnTo>
                    <a:pt x="77" y="26"/>
                  </a:lnTo>
                  <a:lnTo>
                    <a:pt x="77" y="26"/>
                  </a:lnTo>
                  <a:lnTo>
                    <a:pt x="76" y="24"/>
                  </a:lnTo>
                  <a:lnTo>
                    <a:pt x="76" y="24"/>
                  </a:lnTo>
                  <a:lnTo>
                    <a:pt x="73" y="23"/>
                  </a:lnTo>
                  <a:lnTo>
                    <a:pt x="73" y="23"/>
                  </a:lnTo>
                  <a:lnTo>
                    <a:pt x="71" y="24"/>
                  </a:lnTo>
                  <a:lnTo>
                    <a:pt x="71" y="24"/>
                  </a:lnTo>
                  <a:lnTo>
                    <a:pt x="66" y="26"/>
                  </a:lnTo>
                  <a:lnTo>
                    <a:pt x="67" y="26"/>
                  </a:lnTo>
                  <a:lnTo>
                    <a:pt x="66" y="26"/>
                  </a:lnTo>
                  <a:lnTo>
                    <a:pt x="66" y="26"/>
                  </a:lnTo>
                  <a:lnTo>
                    <a:pt x="64" y="26"/>
                  </a:lnTo>
                  <a:lnTo>
                    <a:pt x="64" y="26"/>
                  </a:lnTo>
                  <a:lnTo>
                    <a:pt x="58" y="22"/>
                  </a:lnTo>
                  <a:lnTo>
                    <a:pt x="54" y="17"/>
                  </a:lnTo>
                  <a:lnTo>
                    <a:pt x="54" y="17"/>
                  </a:lnTo>
                  <a:lnTo>
                    <a:pt x="47" y="8"/>
                  </a:lnTo>
                  <a:lnTo>
                    <a:pt x="47" y="8"/>
                  </a:lnTo>
                  <a:lnTo>
                    <a:pt x="42" y="3"/>
                  </a:lnTo>
                  <a:lnTo>
                    <a:pt x="42" y="3"/>
                  </a:lnTo>
                  <a:lnTo>
                    <a:pt x="41" y="0"/>
                  </a:lnTo>
                  <a:lnTo>
                    <a:pt x="41" y="0"/>
                  </a:lnTo>
                  <a:lnTo>
                    <a:pt x="38" y="0"/>
                  </a:lnTo>
                  <a:lnTo>
                    <a:pt x="38" y="0"/>
                  </a:lnTo>
                  <a:lnTo>
                    <a:pt x="35" y="1"/>
                  </a:lnTo>
                  <a:lnTo>
                    <a:pt x="35" y="1"/>
                  </a:lnTo>
                  <a:lnTo>
                    <a:pt x="34" y="3"/>
                  </a:lnTo>
                  <a:lnTo>
                    <a:pt x="34" y="3"/>
                  </a:lnTo>
                  <a:lnTo>
                    <a:pt x="31" y="6"/>
                  </a:lnTo>
                  <a:lnTo>
                    <a:pt x="31" y="8"/>
                  </a:lnTo>
                  <a:lnTo>
                    <a:pt x="31" y="8"/>
                  </a:lnTo>
                  <a:lnTo>
                    <a:pt x="32" y="14"/>
                  </a:lnTo>
                  <a:lnTo>
                    <a:pt x="32" y="13"/>
                  </a:lnTo>
                  <a:lnTo>
                    <a:pt x="32" y="13"/>
                  </a:lnTo>
                  <a:lnTo>
                    <a:pt x="32" y="14"/>
                  </a:lnTo>
                  <a:lnTo>
                    <a:pt x="32" y="13"/>
                  </a:lnTo>
                  <a:lnTo>
                    <a:pt x="32" y="13"/>
                  </a:lnTo>
                  <a:lnTo>
                    <a:pt x="32" y="14"/>
                  </a:lnTo>
                  <a:lnTo>
                    <a:pt x="32" y="14"/>
                  </a:lnTo>
                  <a:lnTo>
                    <a:pt x="32" y="20"/>
                  </a:lnTo>
                  <a:lnTo>
                    <a:pt x="32" y="20"/>
                  </a:lnTo>
                  <a:lnTo>
                    <a:pt x="32" y="29"/>
                  </a:lnTo>
                  <a:lnTo>
                    <a:pt x="32" y="29"/>
                  </a:lnTo>
                  <a:lnTo>
                    <a:pt x="32" y="32"/>
                  </a:lnTo>
                  <a:lnTo>
                    <a:pt x="31" y="32"/>
                  </a:lnTo>
                  <a:lnTo>
                    <a:pt x="31" y="32"/>
                  </a:lnTo>
                  <a:lnTo>
                    <a:pt x="32" y="33"/>
                  </a:lnTo>
                  <a:lnTo>
                    <a:pt x="32" y="32"/>
                  </a:lnTo>
                  <a:lnTo>
                    <a:pt x="31" y="32"/>
                  </a:lnTo>
                  <a:lnTo>
                    <a:pt x="32" y="33"/>
                  </a:lnTo>
                  <a:lnTo>
                    <a:pt x="32" y="32"/>
                  </a:lnTo>
                  <a:lnTo>
                    <a:pt x="32" y="32"/>
                  </a:lnTo>
                  <a:lnTo>
                    <a:pt x="31" y="35"/>
                  </a:lnTo>
                  <a:lnTo>
                    <a:pt x="31" y="35"/>
                  </a:lnTo>
                  <a:lnTo>
                    <a:pt x="28" y="39"/>
                  </a:lnTo>
                  <a:lnTo>
                    <a:pt x="28" y="43"/>
                  </a:lnTo>
                  <a:lnTo>
                    <a:pt x="28" y="43"/>
                  </a:lnTo>
                  <a:lnTo>
                    <a:pt x="28" y="46"/>
                  </a:lnTo>
                  <a:lnTo>
                    <a:pt x="28" y="46"/>
                  </a:lnTo>
                  <a:lnTo>
                    <a:pt x="28" y="46"/>
                  </a:lnTo>
                  <a:lnTo>
                    <a:pt x="26" y="50"/>
                  </a:lnTo>
                  <a:lnTo>
                    <a:pt x="26" y="50"/>
                  </a:lnTo>
                  <a:lnTo>
                    <a:pt x="24" y="53"/>
                  </a:lnTo>
                  <a:lnTo>
                    <a:pt x="24" y="55"/>
                  </a:lnTo>
                  <a:lnTo>
                    <a:pt x="24" y="53"/>
                  </a:lnTo>
                  <a:lnTo>
                    <a:pt x="24" y="53"/>
                  </a:lnTo>
                  <a:lnTo>
                    <a:pt x="24" y="55"/>
                  </a:lnTo>
                  <a:lnTo>
                    <a:pt x="24" y="53"/>
                  </a:lnTo>
                  <a:lnTo>
                    <a:pt x="24" y="53"/>
                  </a:lnTo>
                  <a:lnTo>
                    <a:pt x="24" y="53"/>
                  </a:lnTo>
                  <a:lnTo>
                    <a:pt x="24" y="53"/>
                  </a:lnTo>
                  <a:lnTo>
                    <a:pt x="24" y="53"/>
                  </a:lnTo>
                  <a:lnTo>
                    <a:pt x="24" y="53"/>
                  </a:lnTo>
                  <a:lnTo>
                    <a:pt x="21" y="52"/>
                  </a:lnTo>
                  <a:lnTo>
                    <a:pt x="21" y="52"/>
                  </a:lnTo>
                  <a:lnTo>
                    <a:pt x="16" y="50"/>
                  </a:lnTo>
                  <a:lnTo>
                    <a:pt x="15" y="50"/>
                  </a:lnTo>
                  <a:lnTo>
                    <a:pt x="15" y="50"/>
                  </a:lnTo>
                  <a:lnTo>
                    <a:pt x="13" y="50"/>
                  </a:lnTo>
                  <a:lnTo>
                    <a:pt x="13" y="50"/>
                  </a:lnTo>
                  <a:lnTo>
                    <a:pt x="11" y="53"/>
                  </a:lnTo>
                  <a:lnTo>
                    <a:pt x="11" y="53"/>
                  </a:lnTo>
                  <a:lnTo>
                    <a:pt x="11" y="56"/>
                  </a:lnTo>
                  <a:lnTo>
                    <a:pt x="11" y="56"/>
                  </a:lnTo>
                  <a:lnTo>
                    <a:pt x="11" y="58"/>
                  </a:lnTo>
                  <a:lnTo>
                    <a:pt x="11" y="58"/>
                  </a:lnTo>
                  <a:lnTo>
                    <a:pt x="6" y="61"/>
                  </a:lnTo>
                  <a:lnTo>
                    <a:pt x="6" y="61"/>
                  </a:lnTo>
                  <a:lnTo>
                    <a:pt x="3" y="62"/>
                  </a:lnTo>
                  <a:lnTo>
                    <a:pt x="2" y="66"/>
                  </a:lnTo>
                  <a:lnTo>
                    <a:pt x="2" y="66"/>
                  </a:lnTo>
                  <a:lnTo>
                    <a:pt x="0" y="68"/>
                  </a:lnTo>
                  <a:lnTo>
                    <a:pt x="0" y="68"/>
                  </a:lnTo>
                  <a:lnTo>
                    <a:pt x="2" y="74"/>
                  </a:lnTo>
                  <a:lnTo>
                    <a:pt x="5" y="79"/>
                  </a:lnTo>
                  <a:lnTo>
                    <a:pt x="5" y="79"/>
                  </a:lnTo>
                  <a:lnTo>
                    <a:pt x="6" y="79"/>
                  </a:lnTo>
                  <a:lnTo>
                    <a:pt x="5" y="79"/>
                  </a:lnTo>
                  <a:lnTo>
                    <a:pt x="5" y="79"/>
                  </a:lnTo>
                  <a:lnTo>
                    <a:pt x="6" y="79"/>
                  </a:lnTo>
                  <a:lnTo>
                    <a:pt x="5" y="79"/>
                  </a:lnTo>
                  <a:lnTo>
                    <a:pt x="6" y="79"/>
                  </a:lnTo>
                  <a:lnTo>
                    <a:pt x="5" y="79"/>
                  </a:lnTo>
                  <a:lnTo>
                    <a:pt x="5" y="79"/>
                  </a:lnTo>
                  <a:lnTo>
                    <a:pt x="6" y="79"/>
                  </a:lnTo>
                  <a:lnTo>
                    <a:pt x="5" y="79"/>
                  </a:lnTo>
                  <a:lnTo>
                    <a:pt x="6" y="79"/>
                  </a:lnTo>
                  <a:lnTo>
                    <a:pt x="6" y="78"/>
                  </a:lnTo>
                  <a:lnTo>
                    <a:pt x="5" y="79"/>
                  </a:lnTo>
                  <a:lnTo>
                    <a:pt x="6" y="79"/>
                  </a:lnTo>
                  <a:lnTo>
                    <a:pt x="6" y="78"/>
                  </a:lnTo>
                  <a:lnTo>
                    <a:pt x="6" y="78"/>
                  </a:lnTo>
                  <a:lnTo>
                    <a:pt x="6" y="78"/>
                  </a:lnTo>
                  <a:lnTo>
                    <a:pt x="6" y="78"/>
                  </a:lnTo>
                  <a:lnTo>
                    <a:pt x="6" y="78"/>
                  </a:lnTo>
                  <a:lnTo>
                    <a:pt x="6" y="78"/>
                  </a:lnTo>
                  <a:lnTo>
                    <a:pt x="5" y="78"/>
                  </a:lnTo>
                  <a:lnTo>
                    <a:pt x="5" y="78"/>
                  </a:lnTo>
                  <a:lnTo>
                    <a:pt x="3" y="81"/>
                  </a:lnTo>
                  <a:lnTo>
                    <a:pt x="3" y="81"/>
                  </a:lnTo>
                  <a:lnTo>
                    <a:pt x="2" y="84"/>
                  </a:lnTo>
                  <a:lnTo>
                    <a:pt x="2" y="84"/>
                  </a:lnTo>
                  <a:lnTo>
                    <a:pt x="3" y="85"/>
                  </a:lnTo>
                  <a:lnTo>
                    <a:pt x="3" y="88"/>
                  </a:lnTo>
                  <a:lnTo>
                    <a:pt x="3" y="88"/>
                  </a:lnTo>
                  <a:lnTo>
                    <a:pt x="6" y="91"/>
                  </a:lnTo>
                  <a:lnTo>
                    <a:pt x="6" y="91"/>
                  </a:lnTo>
                  <a:lnTo>
                    <a:pt x="9" y="91"/>
                  </a:lnTo>
                  <a:lnTo>
                    <a:pt x="9" y="91"/>
                  </a:lnTo>
                  <a:lnTo>
                    <a:pt x="12" y="91"/>
                  </a:lnTo>
                  <a:lnTo>
                    <a:pt x="12" y="91"/>
                  </a:lnTo>
                  <a:lnTo>
                    <a:pt x="15" y="88"/>
                  </a:lnTo>
                  <a:lnTo>
                    <a:pt x="15" y="88"/>
                  </a:lnTo>
                  <a:lnTo>
                    <a:pt x="16" y="87"/>
                  </a:lnTo>
                  <a:lnTo>
                    <a:pt x="16" y="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02" name="Freeform 1299"/>
            <p:cNvSpPr>
              <a:spLocks/>
            </p:cNvSpPr>
            <p:nvPr/>
          </p:nvSpPr>
          <p:spPr bwMode="auto">
            <a:xfrm>
              <a:off x="7488238" y="4394201"/>
              <a:ext cx="31750" cy="60325"/>
            </a:xfrm>
            <a:custGeom>
              <a:avLst/>
              <a:gdLst>
                <a:gd name="T0" fmla="*/ 12 w 20"/>
                <a:gd name="T1" fmla="*/ 0 h 38"/>
                <a:gd name="T2" fmla="*/ 12 w 20"/>
                <a:gd name="T3" fmla="*/ 0 h 38"/>
                <a:gd name="T4" fmla="*/ 9 w 20"/>
                <a:gd name="T5" fmla="*/ 0 h 38"/>
                <a:gd name="T6" fmla="*/ 6 w 20"/>
                <a:gd name="T7" fmla="*/ 1 h 38"/>
                <a:gd name="T8" fmla="*/ 5 w 20"/>
                <a:gd name="T9" fmla="*/ 3 h 38"/>
                <a:gd name="T10" fmla="*/ 3 w 20"/>
                <a:gd name="T11" fmla="*/ 3 h 38"/>
                <a:gd name="T12" fmla="*/ 3 w 20"/>
                <a:gd name="T13" fmla="*/ 3 h 38"/>
                <a:gd name="T14" fmla="*/ 0 w 20"/>
                <a:gd name="T15" fmla="*/ 4 h 38"/>
                <a:gd name="T16" fmla="*/ 3 w 20"/>
                <a:gd name="T17" fmla="*/ 7 h 38"/>
                <a:gd name="T18" fmla="*/ 3 w 20"/>
                <a:gd name="T19" fmla="*/ 7 h 38"/>
                <a:gd name="T20" fmla="*/ 7 w 20"/>
                <a:gd name="T21" fmla="*/ 13 h 38"/>
                <a:gd name="T22" fmla="*/ 10 w 20"/>
                <a:gd name="T23" fmla="*/ 14 h 38"/>
                <a:gd name="T24" fmla="*/ 10 w 20"/>
                <a:gd name="T25" fmla="*/ 17 h 38"/>
                <a:gd name="T26" fmla="*/ 10 w 20"/>
                <a:gd name="T27" fmla="*/ 17 h 38"/>
                <a:gd name="T28" fmla="*/ 10 w 20"/>
                <a:gd name="T29" fmla="*/ 22 h 38"/>
                <a:gd name="T30" fmla="*/ 9 w 20"/>
                <a:gd name="T31" fmla="*/ 23 h 38"/>
                <a:gd name="T32" fmla="*/ 9 w 20"/>
                <a:gd name="T33" fmla="*/ 23 h 38"/>
                <a:gd name="T34" fmla="*/ 6 w 20"/>
                <a:gd name="T35" fmla="*/ 25 h 38"/>
                <a:gd name="T36" fmla="*/ 5 w 20"/>
                <a:gd name="T37" fmla="*/ 26 h 38"/>
                <a:gd name="T38" fmla="*/ 5 w 20"/>
                <a:gd name="T39" fmla="*/ 27 h 38"/>
                <a:gd name="T40" fmla="*/ 5 w 20"/>
                <a:gd name="T41" fmla="*/ 27 h 38"/>
                <a:gd name="T42" fmla="*/ 7 w 20"/>
                <a:gd name="T43" fmla="*/ 35 h 38"/>
                <a:gd name="T44" fmla="*/ 9 w 20"/>
                <a:gd name="T45" fmla="*/ 38 h 38"/>
                <a:gd name="T46" fmla="*/ 10 w 20"/>
                <a:gd name="T47" fmla="*/ 38 h 38"/>
                <a:gd name="T48" fmla="*/ 10 w 20"/>
                <a:gd name="T49" fmla="*/ 38 h 38"/>
                <a:gd name="T50" fmla="*/ 12 w 20"/>
                <a:gd name="T51" fmla="*/ 36 h 38"/>
                <a:gd name="T52" fmla="*/ 12 w 20"/>
                <a:gd name="T53" fmla="*/ 33 h 38"/>
                <a:gd name="T54" fmla="*/ 13 w 20"/>
                <a:gd name="T55" fmla="*/ 30 h 38"/>
                <a:gd name="T56" fmla="*/ 15 w 20"/>
                <a:gd name="T57" fmla="*/ 27 h 38"/>
                <a:gd name="T58" fmla="*/ 15 w 20"/>
                <a:gd name="T59" fmla="*/ 27 h 38"/>
                <a:gd name="T60" fmla="*/ 19 w 20"/>
                <a:gd name="T61" fmla="*/ 26 h 38"/>
                <a:gd name="T62" fmla="*/ 20 w 20"/>
                <a:gd name="T63" fmla="*/ 25 h 38"/>
                <a:gd name="T64" fmla="*/ 20 w 20"/>
                <a:gd name="T65" fmla="*/ 22 h 38"/>
                <a:gd name="T66" fmla="*/ 20 w 20"/>
                <a:gd name="T67" fmla="*/ 22 h 38"/>
                <a:gd name="T68" fmla="*/ 20 w 20"/>
                <a:gd name="T69" fmla="*/ 14 h 38"/>
                <a:gd name="T70" fmla="*/ 20 w 20"/>
                <a:gd name="T71" fmla="*/ 10 h 38"/>
                <a:gd name="T72" fmla="*/ 19 w 20"/>
                <a:gd name="T73" fmla="*/ 7 h 38"/>
                <a:gd name="T74" fmla="*/ 19 w 20"/>
                <a:gd name="T75" fmla="*/ 7 h 38"/>
                <a:gd name="T76" fmla="*/ 16 w 20"/>
                <a:gd name="T77" fmla="*/ 3 h 38"/>
                <a:gd name="T78" fmla="*/ 15 w 20"/>
                <a:gd name="T79" fmla="*/ 1 h 38"/>
                <a:gd name="T80" fmla="*/ 12 w 20"/>
                <a:gd name="T8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 h="38">
                  <a:moveTo>
                    <a:pt x="12" y="0"/>
                  </a:moveTo>
                  <a:lnTo>
                    <a:pt x="12" y="0"/>
                  </a:lnTo>
                  <a:lnTo>
                    <a:pt x="9" y="0"/>
                  </a:lnTo>
                  <a:lnTo>
                    <a:pt x="6" y="1"/>
                  </a:lnTo>
                  <a:lnTo>
                    <a:pt x="5" y="3"/>
                  </a:lnTo>
                  <a:lnTo>
                    <a:pt x="3" y="3"/>
                  </a:lnTo>
                  <a:lnTo>
                    <a:pt x="3" y="3"/>
                  </a:lnTo>
                  <a:lnTo>
                    <a:pt x="0" y="4"/>
                  </a:lnTo>
                  <a:lnTo>
                    <a:pt x="3" y="7"/>
                  </a:lnTo>
                  <a:lnTo>
                    <a:pt x="3" y="7"/>
                  </a:lnTo>
                  <a:lnTo>
                    <a:pt x="7" y="13"/>
                  </a:lnTo>
                  <a:lnTo>
                    <a:pt x="10" y="14"/>
                  </a:lnTo>
                  <a:lnTo>
                    <a:pt x="10" y="17"/>
                  </a:lnTo>
                  <a:lnTo>
                    <a:pt x="10" y="17"/>
                  </a:lnTo>
                  <a:lnTo>
                    <a:pt x="10" y="22"/>
                  </a:lnTo>
                  <a:lnTo>
                    <a:pt x="9" y="23"/>
                  </a:lnTo>
                  <a:lnTo>
                    <a:pt x="9" y="23"/>
                  </a:lnTo>
                  <a:lnTo>
                    <a:pt x="6" y="25"/>
                  </a:lnTo>
                  <a:lnTo>
                    <a:pt x="5" y="26"/>
                  </a:lnTo>
                  <a:lnTo>
                    <a:pt x="5" y="27"/>
                  </a:lnTo>
                  <a:lnTo>
                    <a:pt x="5" y="27"/>
                  </a:lnTo>
                  <a:lnTo>
                    <a:pt x="7" y="35"/>
                  </a:lnTo>
                  <a:lnTo>
                    <a:pt x="9" y="38"/>
                  </a:lnTo>
                  <a:lnTo>
                    <a:pt x="10" y="38"/>
                  </a:lnTo>
                  <a:lnTo>
                    <a:pt x="10" y="38"/>
                  </a:lnTo>
                  <a:lnTo>
                    <a:pt x="12" y="36"/>
                  </a:lnTo>
                  <a:lnTo>
                    <a:pt x="12" y="33"/>
                  </a:lnTo>
                  <a:lnTo>
                    <a:pt x="13" y="30"/>
                  </a:lnTo>
                  <a:lnTo>
                    <a:pt x="15" y="27"/>
                  </a:lnTo>
                  <a:lnTo>
                    <a:pt x="15" y="27"/>
                  </a:lnTo>
                  <a:lnTo>
                    <a:pt x="19" y="26"/>
                  </a:lnTo>
                  <a:lnTo>
                    <a:pt x="20" y="25"/>
                  </a:lnTo>
                  <a:lnTo>
                    <a:pt x="20" y="22"/>
                  </a:lnTo>
                  <a:lnTo>
                    <a:pt x="20" y="22"/>
                  </a:lnTo>
                  <a:lnTo>
                    <a:pt x="20" y="14"/>
                  </a:lnTo>
                  <a:lnTo>
                    <a:pt x="20" y="10"/>
                  </a:lnTo>
                  <a:lnTo>
                    <a:pt x="19" y="7"/>
                  </a:lnTo>
                  <a:lnTo>
                    <a:pt x="19" y="7"/>
                  </a:lnTo>
                  <a:lnTo>
                    <a:pt x="16" y="3"/>
                  </a:lnTo>
                  <a:lnTo>
                    <a:pt x="15" y="1"/>
                  </a:lnTo>
                  <a:lnTo>
                    <a:pt x="12" y="0"/>
                  </a:lnTo>
                  <a:close/>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03" name="Freeform 1301"/>
            <p:cNvSpPr>
              <a:spLocks/>
            </p:cNvSpPr>
            <p:nvPr/>
          </p:nvSpPr>
          <p:spPr bwMode="auto">
            <a:xfrm>
              <a:off x="7429501" y="4414838"/>
              <a:ext cx="33338" cy="36513"/>
            </a:xfrm>
            <a:custGeom>
              <a:avLst/>
              <a:gdLst>
                <a:gd name="T0" fmla="*/ 20 w 21"/>
                <a:gd name="T1" fmla="*/ 12 h 23"/>
                <a:gd name="T2" fmla="*/ 20 w 21"/>
                <a:gd name="T3" fmla="*/ 12 h 23"/>
                <a:gd name="T4" fmla="*/ 15 w 21"/>
                <a:gd name="T5" fmla="*/ 14 h 23"/>
                <a:gd name="T6" fmla="*/ 10 w 21"/>
                <a:gd name="T7" fmla="*/ 19 h 23"/>
                <a:gd name="T8" fmla="*/ 10 w 21"/>
                <a:gd name="T9" fmla="*/ 19 h 23"/>
                <a:gd name="T10" fmla="*/ 2 w 21"/>
                <a:gd name="T11" fmla="*/ 23 h 23"/>
                <a:gd name="T12" fmla="*/ 1 w 21"/>
                <a:gd name="T13" fmla="*/ 23 h 23"/>
                <a:gd name="T14" fmla="*/ 0 w 21"/>
                <a:gd name="T15" fmla="*/ 22 h 23"/>
                <a:gd name="T16" fmla="*/ 0 w 21"/>
                <a:gd name="T17" fmla="*/ 22 h 23"/>
                <a:gd name="T18" fmla="*/ 1 w 21"/>
                <a:gd name="T19" fmla="*/ 17 h 23"/>
                <a:gd name="T20" fmla="*/ 4 w 21"/>
                <a:gd name="T21" fmla="*/ 16 h 23"/>
                <a:gd name="T22" fmla="*/ 5 w 21"/>
                <a:gd name="T23" fmla="*/ 14 h 23"/>
                <a:gd name="T24" fmla="*/ 5 w 21"/>
                <a:gd name="T25" fmla="*/ 12 h 23"/>
                <a:gd name="T26" fmla="*/ 5 w 21"/>
                <a:gd name="T27" fmla="*/ 12 h 23"/>
                <a:gd name="T28" fmla="*/ 1 w 21"/>
                <a:gd name="T29" fmla="*/ 4 h 23"/>
                <a:gd name="T30" fmla="*/ 1 w 21"/>
                <a:gd name="T31" fmla="*/ 1 h 23"/>
                <a:gd name="T32" fmla="*/ 2 w 21"/>
                <a:gd name="T33" fmla="*/ 0 h 23"/>
                <a:gd name="T34" fmla="*/ 2 w 21"/>
                <a:gd name="T35" fmla="*/ 0 h 23"/>
                <a:gd name="T36" fmla="*/ 7 w 21"/>
                <a:gd name="T37" fmla="*/ 0 h 23"/>
                <a:gd name="T38" fmla="*/ 8 w 21"/>
                <a:gd name="T39" fmla="*/ 1 h 23"/>
                <a:gd name="T40" fmla="*/ 11 w 21"/>
                <a:gd name="T41" fmla="*/ 3 h 23"/>
                <a:gd name="T42" fmla="*/ 14 w 21"/>
                <a:gd name="T43" fmla="*/ 3 h 23"/>
                <a:gd name="T44" fmla="*/ 14 w 21"/>
                <a:gd name="T45" fmla="*/ 3 h 23"/>
                <a:gd name="T46" fmla="*/ 18 w 21"/>
                <a:gd name="T47" fmla="*/ 4 h 23"/>
                <a:gd name="T48" fmla="*/ 20 w 21"/>
                <a:gd name="T49" fmla="*/ 7 h 23"/>
                <a:gd name="T50" fmla="*/ 21 w 21"/>
                <a:gd name="T51" fmla="*/ 9 h 23"/>
                <a:gd name="T52" fmla="*/ 20 w 21"/>
                <a:gd name="T53"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 h="23">
                  <a:moveTo>
                    <a:pt x="20" y="12"/>
                  </a:moveTo>
                  <a:lnTo>
                    <a:pt x="20" y="12"/>
                  </a:lnTo>
                  <a:lnTo>
                    <a:pt x="15" y="14"/>
                  </a:lnTo>
                  <a:lnTo>
                    <a:pt x="10" y="19"/>
                  </a:lnTo>
                  <a:lnTo>
                    <a:pt x="10" y="19"/>
                  </a:lnTo>
                  <a:lnTo>
                    <a:pt x="2" y="23"/>
                  </a:lnTo>
                  <a:lnTo>
                    <a:pt x="1" y="23"/>
                  </a:lnTo>
                  <a:lnTo>
                    <a:pt x="0" y="22"/>
                  </a:lnTo>
                  <a:lnTo>
                    <a:pt x="0" y="22"/>
                  </a:lnTo>
                  <a:lnTo>
                    <a:pt x="1" y="17"/>
                  </a:lnTo>
                  <a:lnTo>
                    <a:pt x="4" y="16"/>
                  </a:lnTo>
                  <a:lnTo>
                    <a:pt x="5" y="14"/>
                  </a:lnTo>
                  <a:lnTo>
                    <a:pt x="5" y="12"/>
                  </a:lnTo>
                  <a:lnTo>
                    <a:pt x="5" y="12"/>
                  </a:lnTo>
                  <a:lnTo>
                    <a:pt x="1" y="4"/>
                  </a:lnTo>
                  <a:lnTo>
                    <a:pt x="1" y="1"/>
                  </a:lnTo>
                  <a:lnTo>
                    <a:pt x="2" y="0"/>
                  </a:lnTo>
                  <a:lnTo>
                    <a:pt x="2" y="0"/>
                  </a:lnTo>
                  <a:lnTo>
                    <a:pt x="7" y="0"/>
                  </a:lnTo>
                  <a:lnTo>
                    <a:pt x="8" y="1"/>
                  </a:lnTo>
                  <a:lnTo>
                    <a:pt x="11" y="3"/>
                  </a:lnTo>
                  <a:lnTo>
                    <a:pt x="14" y="3"/>
                  </a:lnTo>
                  <a:lnTo>
                    <a:pt x="14" y="3"/>
                  </a:lnTo>
                  <a:lnTo>
                    <a:pt x="18" y="4"/>
                  </a:lnTo>
                  <a:lnTo>
                    <a:pt x="20" y="7"/>
                  </a:lnTo>
                  <a:lnTo>
                    <a:pt x="21" y="9"/>
                  </a:lnTo>
                  <a:lnTo>
                    <a:pt x="20" y="12"/>
                  </a:lnTo>
                  <a:close/>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04" name="Freeform 1302"/>
            <p:cNvSpPr>
              <a:spLocks/>
            </p:cNvSpPr>
            <p:nvPr/>
          </p:nvSpPr>
          <p:spPr bwMode="auto">
            <a:xfrm>
              <a:off x="7429501" y="4414838"/>
              <a:ext cx="33338" cy="36513"/>
            </a:xfrm>
            <a:custGeom>
              <a:avLst/>
              <a:gdLst>
                <a:gd name="T0" fmla="*/ 20 w 21"/>
                <a:gd name="T1" fmla="*/ 12 h 23"/>
                <a:gd name="T2" fmla="*/ 20 w 21"/>
                <a:gd name="T3" fmla="*/ 12 h 23"/>
                <a:gd name="T4" fmla="*/ 15 w 21"/>
                <a:gd name="T5" fmla="*/ 14 h 23"/>
                <a:gd name="T6" fmla="*/ 10 w 21"/>
                <a:gd name="T7" fmla="*/ 19 h 23"/>
                <a:gd name="T8" fmla="*/ 10 w 21"/>
                <a:gd name="T9" fmla="*/ 19 h 23"/>
                <a:gd name="T10" fmla="*/ 2 w 21"/>
                <a:gd name="T11" fmla="*/ 23 h 23"/>
                <a:gd name="T12" fmla="*/ 1 w 21"/>
                <a:gd name="T13" fmla="*/ 23 h 23"/>
                <a:gd name="T14" fmla="*/ 0 w 21"/>
                <a:gd name="T15" fmla="*/ 22 h 23"/>
                <a:gd name="T16" fmla="*/ 0 w 21"/>
                <a:gd name="T17" fmla="*/ 22 h 23"/>
                <a:gd name="T18" fmla="*/ 1 w 21"/>
                <a:gd name="T19" fmla="*/ 17 h 23"/>
                <a:gd name="T20" fmla="*/ 4 w 21"/>
                <a:gd name="T21" fmla="*/ 16 h 23"/>
                <a:gd name="T22" fmla="*/ 5 w 21"/>
                <a:gd name="T23" fmla="*/ 14 h 23"/>
                <a:gd name="T24" fmla="*/ 5 w 21"/>
                <a:gd name="T25" fmla="*/ 12 h 23"/>
                <a:gd name="T26" fmla="*/ 5 w 21"/>
                <a:gd name="T27" fmla="*/ 12 h 23"/>
                <a:gd name="T28" fmla="*/ 1 w 21"/>
                <a:gd name="T29" fmla="*/ 4 h 23"/>
                <a:gd name="T30" fmla="*/ 1 w 21"/>
                <a:gd name="T31" fmla="*/ 1 h 23"/>
                <a:gd name="T32" fmla="*/ 2 w 21"/>
                <a:gd name="T33" fmla="*/ 0 h 23"/>
                <a:gd name="T34" fmla="*/ 2 w 21"/>
                <a:gd name="T35" fmla="*/ 0 h 23"/>
                <a:gd name="T36" fmla="*/ 7 w 21"/>
                <a:gd name="T37" fmla="*/ 0 h 23"/>
                <a:gd name="T38" fmla="*/ 8 w 21"/>
                <a:gd name="T39" fmla="*/ 1 h 23"/>
                <a:gd name="T40" fmla="*/ 11 w 21"/>
                <a:gd name="T41" fmla="*/ 3 h 23"/>
                <a:gd name="T42" fmla="*/ 14 w 21"/>
                <a:gd name="T43" fmla="*/ 3 h 23"/>
                <a:gd name="T44" fmla="*/ 14 w 21"/>
                <a:gd name="T45" fmla="*/ 3 h 23"/>
                <a:gd name="T46" fmla="*/ 18 w 21"/>
                <a:gd name="T47" fmla="*/ 4 h 23"/>
                <a:gd name="T48" fmla="*/ 20 w 21"/>
                <a:gd name="T49" fmla="*/ 7 h 23"/>
                <a:gd name="T50" fmla="*/ 21 w 21"/>
                <a:gd name="T51" fmla="*/ 9 h 23"/>
                <a:gd name="T52" fmla="*/ 20 w 21"/>
                <a:gd name="T53"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 h="23">
                  <a:moveTo>
                    <a:pt x="20" y="12"/>
                  </a:moveTo>
                  <a:lnTo>
                    <a:pt x="20" y="12"/>
                  </a:lnTo>
                  <a:lnTo>
                    <a:pt x="15" y="14"/>
                  </a:lnTo>
                  <a:lnTo>
                    <a:pt x="10" y="19"/>
                  </a:lnTo>
                  <a:lnTo>
                    <a:pt x="10" y="19"/>
                  </a:lnTo>
                  <a:lnTo>
                    <a:pt x="2" y="23"/>
                  </a:lnTo>
                  <a:lnTo>
                    <a:pt x="1" y="23"/>
                  </a:lnTo>
                  <a:lnTo>
                    <a:pt x="0" y="22"/>
                  </a:lnTo>
                  <a:lnTo>
                    <a:pt x="0" y="22"/>
                  </a:lnTo>
                  <a:lnTo>
                    <a:pt x="1" y="17"/>
                  </a:lnTo>
                  <a:lnTo>
                    <a:pt x="4" y="16"/>
                  </a:lnTo>
                  <a:lnTo>
                    <a:pt x="5" y="14"/>
                  </a:lnTo>
                  <a:lnTo>
                    <a:pt x="5" y="12"/>
                  </a:lnTo>
                  <a:lnTo>
                    <a:pt x="5" y="12"/>
                  </a:lnTo>
                  <a:lnTo>
                    <a:pt x="1" y="4"/>
                  </a:lnTo>
                  <a:lnTo>
                    <a:pt x="1" y="1"/>
                  </a:lnTo>
                  <a:lnTo>
                    <a:pt x="2" y="0"/>
                  </a:lnTo>
                  <a:lnTo>
                    <a:pt x="2" y="0"/>
                  </a:lnTo>
                  <a:lnTo>
                    <a:pt x="7" y="0"/>
                  </a:lnTo>
                  <a:lnTo>
                    <a:pt x="8" y="1"/>
                  </a:lnTo>
                  <a:lnTo>
                    <a:pt x="11" y="3"/>
                  </a:lnTo>
                  <a:lnTo>
                    <a:pt x="14" y="3"/>
                  </a:lnTo>
                  <a:lnTo>
                    <a:pt x="14" y="3"/>
                  </a:lnTo>
                  <a:lnTo>
                    <a:pt x="18" y="4"/>
                  </a:lnTo>
                  <a:lnTo>
                    <a:pt x="20" y="7"/>
                  </a:lnTo>
                  <a:lnTo>
                    <a:pt x="21" y="9"/>
                  </a:lnTo>
                  <a:lnTo>
                    <a:pt x="2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05" name="Freeform 1303"/>
            <p:cNvSpPr>
              <a:spLocks/>
            </p:cNvSpPr>
            <p:nvPr/>
          </p:nvSpPr>
          <p:spPr bwMode="auto">
            <a:xfrm>
              <a:off x="7442201" y="4441826"/>
              <a:ext cx="30163" cy="50800"/>
            </a:xfrm>
            <a:custGeom>
              <a:avLst/>
              <a:gdLst>
                <a:gd name="T0" fmla="*/ 18 w 19"/>
                <a:gd name="T1" fmla="*/ 0 h 32"/>
                <a:gd name="T2" fmla="*/ 18 w 19"/>
                <a:gd name="T3" fmla="*/ 0 h 32"/>
                <a:gd name="T4" fmla="*/ 15 w 19"/>
                <a:gd name="T5" fmla="*/ 0 h 32"/>
                <a:gd name="T6" fmla="*/ 12 w 19"/>
                <a:gd name="T7" fmla="*/ 2 h 32"/>
                <a:gd name="T8" fmla="*/ 9 w 19"/>
                <a:gd name="T9" fmla="*/ 5 h 32"/>
                <a:gd name="T10" fmla="*/ 6 w 19"/>
                <a:gd name="T11" fmla="*/ 9 h 32"/>
                <a:gd name="T12" fmla="*/ 6 w 19"/>
                <a:gd name="T13" fmla="*/ 9 h 32"/>
                <a:gd name="T14" fmla="*/ 5 w 19"/>
                <a:gd name="T15" fmla="*/ 12 h 32"/>
                <a:gd name="T16" fmla="*/ 2 w 19"/>
                <a:gd name="T17" fmla="*/ 15 h 32"/>
                <a:gd name="T18" fmla="*/ 0 w 19"/>
                <a:gd name="T19" fmla="*/ 16 h 32"/>
                <a:gd name="T20" fmla="*/ 0 w 19"/>
                <a:gd name="T21" fmla="*/ 21 h 32"/>
                <a:gd name="T22" fmla="*/ 0 w 19"/>
                <a:gd name="T23" fmla="*/ 21 h 32"/>
                <a:gd name="T24" fmla="*/ 6 w 19"/>
                <a:gd name="T25" fmla="*/ 29 h 32"/>
                <a:gd name="T26" fmla="*/ 9 w 19"/>
                <a:gd name="T27" fmla="*/ 32 h 32"/>
                <a:gd name="T28" fmla="*/ 10 w 19"/>
                <a:gd name="T29" fmla="*/ 32 h 32"/>
                <a:gd name="T30" fmla="*/ 10 w 19"/>
                <a:gd name="T31" fmla="*/ 31 h 32"/>
                <a:gd name="T32" fmla="*/ 10 w 19"/>
                <a:gd name="T33" fmla="*/ 31 h 32"/>
                <a:gd name="T34" fmla="*/ 12 w 19"/>
                <a:gd name="T35" fmla="*/ 22 h 32"/>
                <a:gd name="T36" fmla="*/ 13 w 19"/>
                <a:gd name="T37" fmla="*/ 15 h 32"/>
                <a:gd name="T38" fmla="*/ 13 w 19"/>
                <a:gd name="T39" fmla="*/ 15 h 32"/>
                <a:gd name="T40" fmla="*/ 15 w 19"/>
                <a:gd name="T41" fmla="*/ 11 h 32"/>
                <a:gd name="T42" fmla="*/ 18 w 19"/>
                <a:gd name="T43" fmla="*/ 5 h 32"/>
                <a:gd name="T44" fmla="*/ 19 w 19"/>
                <a:gd name="T45" fmla="*/ 2 h 32"/>
                <a:gd name="T46" fmla="*/ 19 w 19"/>
                <a:gd name="T47" fmla="*/ 0 h 32"/>
                <a:gd name="T48" fmla="*/ 18 w 1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2">
                  <a:moveTo>
                    <a:pt x="18" y="0"/>
                  </a:moveTo>
                  <a:lnTo>
                    <a:pt x="18" y="0"/>
                  </a:lnTo>
                  <a:lnTo>
                    <a:pt x="15" y="0"/>
                  </a:lnTo>
                  <a:lnTo>
                    <a:pt x="12" y="2"/>
                  </a:lnTo>
                  <a:lnTo>
                    <a:pt x="9" y="5"/>
                  </a:lnTo>
                  <a:lnTo>
                    <a:pt x="6" y="9"/>
                  </a:lnTo>
                  <a:lnTo>
                    <a:pt x="6" y="9"/>
                  </a:lnTo>
                  <a:lnTo>
                    <a:pt x="5" y="12"/>
                  </a:lnTo>
                  <a:lnTo>
                    <a:pt x="2" y="15"/>
                  </a:lnTo>
                  <a:lnTo>
                    <a:pt x="0" y="16"/>
                  </a:lnTo>
                  <a:lnTo>
                    <a:pt x="0" y="21"/>
                  </a:lnTo>
                  <a:lnTo>
                    <a:pt x="0" y="21"/>
                  </a:lnTo>
                  <a:lnTo>
                    <a:pt x="6" y="29"/>
                  </a:lnTo>
                  <a:lnTo>
                    <a:pt x="9" y="32"/>
                  </a:lnTo>
                  <a:lnTo>
                    <a:pt x="10" y="32"/>
                  </a:lnTo>
                  <a:lnTo>
                    <a:pt x="10" y="31"/>
                  </a:lnTo>
                  <a:lnTo>
                    <a:pt x="10" y="31"/>
                  </a:lnTo>
                  <a:lnTo>
                    <a:pt x="12" y="22"/>
                  </a:lnTo>
                  <a:lnTo>
                    <a:pt x="13" y="15"/>
                  </a:lnTo>
                  <a:lnTo>
                    <a:pt x="13" y="15"/>
                  </a:lnTo>
                  <a:lnTo>
                    <a:pt x="15" y="11"/>
                  </a:lnTo>
                  <a:lnTo>
                    <a:pt x="18" y="5"/>
                  </a:lnTo>
                  <a:lnTo>
                    <a:pt x="19" y="2"/>
                  </a:lnTo>
                  <a:lnTo>
                    <a:pt x="19" y="0"/>
                  </a:lnTo>
                  <a:lnTo>
                    <a:pt x="18" y="0"/>
                  </a:lnTo>
                  <a:close/>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06" name="Freeform 1304"/>
            <p:cNvSpPr>
              <a:spLocks/>
            </p:cNvSpPr>
            <p:nvPr/>
          </p:nvSpPr>
          <p:spPr bwMode="auto">
            <a:xfrm>
              <a:off x="7442201" y="4441826"/>
              <a:ext cx="30163" cy="50800"/>
            </a:xfrm>
            <a:custGeom>
              <a:avLst/>
              <a:gdLst>
                <a:gd name="T0" fmla="*/ 18 w 19"/>
                <a:gd name="T1" fmla="*/ 0 h 32"/>
                <a:gd name="T2" fmla="*/ 18 w 19"/>
                <a:gd name="T3" fmla="*/ 0 h 32"/>
                <a:gd name="T4" fmla="*/ 15 w 19"/>
                <a:gd name="T5" fmla="*/ 0 h 32"/>
                <a:gd name="T6" fmla="*/ 12 w 19"/>
                <a:gd name="T7" fmla="*/ 2 h 32"/>
                <a:gd name="T8" fmla="*/ 9 w 19"/>
                <a:gd name="T9" fmla="*/ 5 h 32"/>
                <a:gd name="T10" fmla="*/ 6 w 19"/>
                <a:gd name="T11" fmla="*/ 9 h 32"/>
                <a:gd name="T12" fmla="*/ 6 w 19"/>
                <a:gd name="T13" fmla="*/ 9 h 32"/>
                <a:gd name="T14" fmla="*/ 5 w 19"/>
                <a:gd name="T15" fmla="*/ 12 h 32"/>
                <a:gd name="T16" fmla="*/ 2 w 19"/>
                <a:gd name="T17" fmla="*/ 15 h 32"/>
                <a:gd name="T18" fmla="*/ 0 w 19"/>
                <a:gd name="T19" fmla="*/ 16 h 32"/>
                <a:gd name="T20" fmla="*/ 0 w 19"/>
                <a:gd name="T21" fmla="*/ 21 h 32"/>
                <a:gd name="T22" fmla="*/ 0 w 19"/>
                <a:gd name="T23" fmla="*/ 21 h 32"/>
                <a:gd name="T24" fmla="*/ 6 w 19"/>
                <a:gd name="T25" fmla="*/ 29 h 32"/>
                <a:gd name="T26" fmla="*/ 9 w 19"/>
                <a:gd name="T27" fmla="*/ 32 h 32"/>
                <a:gd name="T28" fmla="*/ 10 w 19"/>
                <a:gd name="T29" fmla="*/ 32 h 32"/>
                <a:gd name="T30" fmla="*/ 10 w 19"/>
                <a:gd name="T31" fmla="*/ 31 h 32"/>
                <a:gd name="T32" fmla="*/ 10 w 19"/>
                <a:gd name="T33" fmla="*/ 31 h 32"/>
                <a:gd name="T34" fmla="*/ 12 w 19"/>
                <a:gd name="T35" fmla="*/ 22 h 32"/>
                <a:gd name="T36" fmla="*/ 13 w 19"/>
                <a:gd name="T37" fmla="*/ 15 h 32"/>
                <a:gd name="T38" fmla="*/ 13 w 19"/>
                <a:gd name="T39" fmla="*/ 15 h 32"/>
                <a:gd name="T40" fmla="*/ 15 w 19"/>
                <a:gd name="T41" fmla="*/ 11 h 32"/>
                <a:gd name="T42" fmla="*/ 18 w 19"/>
                <a:gd name="T43" fmla="*/ 5 h 32"/>
                <a:gd name="T44" fmla="*/ 19 w 19"/>
                <a:gd name="T45" fmla="*/ 2 h 32"/>
                <a:gd name="T46" fmla="*/ 19 w 19"/>
                <a:gd name="T47" fmla="*/ 0 h 32"/>
                <a:gd name="T48" fmla="*/ 18 w 1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2">
                  <a:moveTo>
                    <a:pt x="18" y="0"/>
                  </a:moveTo>
                  <a:lnTo>
                    <a:pt x="18" y="0"/>
                  </a:lnTo>
                  <a:lnTo>
                    <a:pt x="15" y="0"/>
                  </a:lnTo>
                  <a:lnTo>
                    <a:pt x="12" y="2"/>
                  </a:lnTo>
                  <a:lnTo>
                    <a:pt x="9" y="5"/>
                  </a:lnTo>
                  <a:lnTo>
                    <a:pt x="6" y="9"/>
                  </a:lnTo>
                  <a:lnTo>
                    <a:pt x="6" y="9"/>
                  </a:lnTo>
                  <a:lnTo>
                    <a:pt x="5" y="12"/>
                  </a:lnTo>
                  <a:lnTo>
                    <a:pt x="2" y="15"/>
                  </a:lnTo>
                  <a:lnTo>
                    <a:pt x="0" y="16"/>
                  </a:lnTo>
                  <a:lnTo>
                    <a:pt x="0" y="21"/>
                  </a:lnTo>
                  <a:lnTo>
                    <a:pt x="0" y="21"/>
                  </a:lnTo>
                  <a:lnTo>
                    <a:pt x="6" y="29"/>
                  </a:lnTo>
                  <a:lnTo>
                    <a:pt x="9" y="32"/>
                  </a:lnTo>
                  <a:lnTo>
                    <a:pt x="10" y="32"/>
                  </a:lnTo>
                  <a:lnTo>
                    <a:pt x="10" y="31"/>
                  </a:lnTo>
                  <a:lnTo>
                    <a:pt x="10" y="31"/>
                  </a:lnTo>
                  <a:lnTo>
                    <a:pt x="12" y="22"/>
                  </a:lnTo>
                  <a:lnTo>
                    <a:pt x="13" y="15"/>
                  </a:lnTo>
                  <a:lnTo>
                    <a:pt x="13" y="15"/>
                  </a:lnTo>
                  <a:lnTo>
                    <a:pt x="15" y="11"/>
                  </a:lnTo>
                  <a:lnTo>
                    <a:pt x="18" y="5"/>
                  </a:lnTo>
                  <a:lnTo>
                    <a:pt x="19" y="2"/>
                  </a:lnTo>
                  <a:lnTo>
                    <a:pt x="19"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07" name="Freeform 1305"/>
            <p:cNvSpPr>
              <a:spLocks/>
            </p:cNvSpPr>
            <p:nvPr/>
          </p:nvSpPr>
          <p:spPr bwMode="auto">
            <a:xfrm>
              <a:off x="7472363" y="4460876"/>
              <a:ext cx="23813" cy="14288"/>
            </a:xfrm>
            <a:custGeom>
              <a:avLst/>
              <a:gdLst>
                <a:gd name="T0" fmla="*/ 10 w 15"/>
                <a:gd name="T1" fmla="*/ 0 h 9"/>
                <a:gd name="T2" fmla="*/ 10 w 15"/>
                <a:gd name="T3" fmla="*/ 0 h 9"/>
                <a:gd name="T4" fmla="*/ 9 w 15"/>
                <a:gd name="T5" fmla="*/ 0 h 9"/>
                <a:gd name="T6" fmla="*/ 6 w 15"/>
                <a:gd name="T7" fmla="*/ 0 h 9"/>
                <a:gd name="T8" fmla="*/ 3 w 15"/>
                <a:gd name="T9" fmla="*/ 3 h 9"/>
                <a:gd name="T10" fmla="*/ 0 w 15"/>
                <a:gd name="T11" fmla="*/ 7 h 9"/>
                <a:gd name="T12" fmla="*/ 0 w 15"/>
                <a:gd name="T13" fmla="*/ 7 h 9"/>
                <a:gd name="T14" fmla="*/ 0 w 15"/>
                <a:gd name="T15" fmla="*/ 9 h 9"/>
                <a:gd name="T16" fmla="*/ 0 w 15"/>
                <a:gd name="T17" fmla="*/ 9 h 9"/>
                <a:gd name="T18" fmla="*/ 6 w 15"/>
                <a:gd name="T19" fmla="*/ 9 h 9"/>
                <a:gd name="T20" fmla="*/ 12 w 15"/>
                <a:gd name="T21" fmla="*/ 7 h 9"/>
                <a:gd name="T22" fmla="*/ 15 w 15"/>
                <a:gd name="T23" fmla="*/ 6 h 9"/>
                <a:gd name="T24" fmla="*/ 15 w 15"/>
                <a:gd name="T25" fmla="*/ 4 h 9"/>
                <a:gd name="T26" fmla="*/ 15 w 15"/>
                <a:gd name="T27" fmla="*/ 1 h 9"/>
                <a:gd name="T28" fmla="*/ 10 w 15"/>
                <a:gd name="T2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9">
                  <a:moveTo>
                    <a:pt x="10" y="0"/>
                  </a:moveTo>
                  <a:lnTo>
                    <a:pt x="10" y="0"/>
                  </a:lnTo>
                  <a:lnTo>
                    <a:pt x="9" y="0"/>
                  </a:lnTo>
                  <a:lnTo>
                    <a:pt x="6" y="0"/>
                  </a:lnTo>
                  <a:lnTo>
                    <a:pt x="3" y="3"/>
                  </a:lnTo>
                  <a:lnTo>
                    <a:pt x="0" y="7"/>
                  </a:lnTo>
                  <a:lnTo>
                    <a:pt x="0" y="7"/>
                  </a:lnTo>
                  <a:lnTo>
                    <a:pt x="0" y="9"/>
                  </a:lnTo>
                  <a:lnTo>
                    <a:pt x="0" y="9"/>
                  </a:lnTo>
                  <a:lnTo>
                    <a:pt x="6" y="9"/>
                  </a:lnTo>
                  <a:lnTo>
                    <a:pt x="12" y="7"/>
                  </a:lnTo>
                  <a:lnTo>
                    <a:pt x="15" y="6"/>
                  </a:lnTo>
                  <a:lnTo>
                    <a:pt x="15" y="4"/>
                  </a:lnTo>
                  <a:lnTo>
                    <a:pt x="15" y="1"/>
                  </a:lnTo>
                  <a:lnTo>
                    <a:pt x="10" y="0"/>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08" name="Freeform 1306"/>
            <p:cNvSpPr>
              <a:spLocks/>
            </p:cNvSpPr>
            <p:nvPr/>
          </p:nvSpPr>
          <p:spPr bwMode="auto">
            <a:xfrm>
              <a:off x="7472363" y="4460876"/>
              <a:ext cx="23813" cy="14288"/>
            </a:xfrm>
            <a:custGeom>
              <a:avLst/>
              <a:gdLst>
                <a:gd name="T0" fmla="*/ 10 w 15"/>
                <a:gd name="T1" fmla="*/ 0 h 9"/>
                <a:gd name="T2" fmla="*/ 10 w 15"/>
                <a:gd name="T3" fmla="*/ 0 h 9"/>
                <a:gd name="T4" fmla="*/ 9 w 15"/>
                <a:gd name="T5" fmla="*/ 0 h 9"/>
                <a:gd name="T6" fmla="*/ 6 w 15"/>
                <a:gd name="T7" fmla="*/ 0 h 9"/>
                <a:gd name="T8" fmla="*/ 3 w 15"/>
                <a:gd name="T9" fmla="*/ 3 h 9"/>
                <a:gd name="T10" fmla="*/ 0 w 15"/>
                <a:gd name="T11" fmla="*/ 7 h 9"/>
                <a:gd name="T12" fmla="*/ 0 w 15"/>
                <a:gd name="T13" fmla="*/ 7 h 9"/>
                <a:gd name="T14" fmla="*/ 0 w 15"/>
                <a:gd name="T15" fmla="*/ 9 h 9"/>
                <a:gd name="T16" fmla="*/ 0 w 15"/>
                <a:gd name="T17" fmla="*/ 9 h 9"/>
                <a:gd name="T18" fmla="*/ 6 w 15"/>
                <a:gd name="T19" fmla="*/ 9 h 9"/>
                <a:gd name="T20" fmla="*/ 12 w 15"/>
                <a:gd name="T21" fmla="*/ 7 h 9"/>
                <a:gd name="T22" fmla="*/ 15 w 15"/>
                <a:gd name="T23" fmla="*/ 6 h 9"/>
                <a:gd name="T24" fmla="*/ 15 w 15"/>
                <a:gd name="T25" fmla="*/ 4 h 9"/>
                <a:gd name="T26" fmla="*/ 15 w 15"/>
                <a:gd name="T27" fmla="*/ 1 h 9"/>
                <a:gd name="T28" fmla="*/ 10 w 15"/>
                <a:gd name="T2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9">
                  <a:moveTo>
                    <a:pt x="10" y="0"/>
                  </a:moveTo>
                  <a:lnTo>
                    <a:pt x="10" y="0"/>
                  </a:lnTo>
                  <a:lnTo>
                    <a:pt x="9" y="0"/>
                  </a:lnTo>
                  <a:lnTo>
                    <a:pt x="6" y="0"/>
                  </a:lnTo>
                  <a:lnTo>
                    <a:pt x="3" y="3"/>
                  </a:lnTo>
                  <a:lnTo>
                    <a:pt x="0" y="7"/>
                  </a:lnTo>
                  <a:lnTo>
                    <a:pt x="0" y="7"/>
                  </a:lnTo>
                  <a:lnTo>
                    <a:pt x="0" y="9"/>
                  </a:lnTo>
                  <a:lnTo>
                    <a:pt x="0" y="9"/>
                  </a:lnTo>
                  <a:lnTo>
                    <a:pt x="6" y="9"/>
                  </a:lnTo>
                  <a:lnTo>
                    <a:pt x="12" y="7"/>
                  </a:lnTo>
                  <a:lnTo>
                    <a:pt x="15" y="6"/>
                  </a:lnTo>
                  <a:lnTo>
                    <a:pt x="15" y="4"/>
                  </a:lnTo>
                  <a:lnTo>
                    <a:pt x="15" y="1"/>
                  </a:lnTo>
                  <a:lnTo>
                    <a:pt x="10" y="0"/>
                  </a:lnTo>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09" name="Freeform 1307"/>
            <p:cNvSpPr>
              <a:spLocks/>
            </p:cNvSpPr>
            <p:nvPr/>
          </p:nvSpPr>
          <p:spPr bwMode="auto">
            <a:xfrm>
              <a:off x="7386638" y="4373563"/>
              <a:ext cx="30163" cy="30163"/>
            </a:xfrm>
            <a:custGeom>
              <a:avLst/>
              <a:gdLst>
                <a:gd name="T0" fmla="*/ 12 w 19"/>
                <a:gd name="T1" fmla="*/ 19 h 19"/>
                <a:gd name="T2" fmla="*/ 12 w 19"/>
                <a:gd name="T3" fmla="*/ 19 h 19"/>
                <a:gd name="T4" fmla="*/ 11 w 19"/>
                <a:gd name="T5" fmla="*/ 19 h 19"/>
                <a:gd name="T6" fmla="*/ 9 w 19"/>
                <a:gd name="T7" fmla="*/ 17 h 19"/>
                <a:gd name="T8" fmla="*/ 8 w 19"/>
                <a:gd name="T9" fmla="*/ 13 h 19"/>
                <a:gd name="T10" fmla="*/ 6 w 19"/>
                <a:gd name="T11" fmla="*/ 10 h 19"/>
                <a:gd name="T12" fmla="*/ 6 w 19"/>
                <a:gd name="T13" fmla="*/ 9 h 19"/>
                <a:gd name="T14" fmla="*/ 5 w 19"/>
                <a:gd name="T15" fmla="*/ 7 h 19"/>
                <a:gd name="T16" fmla="*/ 5 w 19"/>
                <a:gd name="T17" fmla="*/ 7 h 19"/>
                <a:gd name="T18" fmla="*/ 2 w 19"/>
                <a:gd name="T19" fmla="*/ 7 h 19"/>
                <a:gd name="T20" fmla="*/ 2 w 19"/>
                <a:gd name="T21" fmla="*/ 4 h 19"/>
                <a:gd name="T22" fmla="*/ 2 w 19"/>
                <a:gd name="T23" fmla="*/ 3 h 19"/>
                <a:gd name="T24" fmla="*/ 0 w 19"/>
                <a:gd name="T25" fmla="*/ 0 h 19"/>
                <a:gd name="T26" fmla="*/ 0 w 19"/>
                <a:gd name="T27" fmla="*/ 0 h 19"/>
                <a:gd name="T28" fmla="*/ 0 w 19"/>
                <a:gd name="T29" fmla="*/ 0 h 19"/>
                <a:gd name="T30" fmla="*/ 2 w 19"/>
                <a:gd name="T31" fmla="*/ 0 h 19"/>
                <a:gd name="T32" fmla="*/ 6 w 19"/>
                <a:gd name="T33" fmla="*/ 0 h 19"/>
                <a:gd name="T34" fmla="*/ 15 w 19"/>
                <a:gd name="T35" fmla="*/ 1 h 19"/>
                <a:gd name="T36" fmla="*/ 15 w 19"/>
                <a:gd name="T37" fmla="*/ 1 h 19"/>
                <a:gd name="T38" fmla="*/ 18 w 19"/>
                <a:gd name="T39" fmla="*/ 3 h 19"/>
                <a:gd name="T40" fmla="*/ 19 w 19"/>
                <a:gd name="T41" fmla="*/ 6 h 19"/>
                <a:gd name="T42" fmla="*/ 19 w 19"/>
                <a:gd name="T43" fmla="*/ 10 h 19"/>
                <a:gd name="T44" fmla="*/ 19 w 19"/>
                <a:gd name="T45" fmla="*/ 10 h 19"/>
                <a:gd name="T46" fmla="*/ 18 w 19"/>
                <a:gd name="T47" fmla="*/ 16 h 19"/>
                <a:gd name="T48" fmla="*/ 16 w 19"/>
                <a:gd name="T49" fmla="*/ 17 h 19"/>
                <a:gd name="T50" fmla="*/ 12 w 19"/>
                <a:gd name="T5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19">
                  <a:moveTo>
                    <a:pt x="12" y="19"/>
                  </a:moveTo>
                  <a:lnTo>
                    <a:pt x="12" y="19"/>
                  </a:lnTo>
                  <a:lnTo>
                    <a:pt x="11" y="19"/>
                  </a:lnTo>
                  <a:lnTo>
                    <a:pt x="9" y="17"/>
                  </a:lnTo>
                  <a:lnTo>
                    <a:pt x="8" y="13"/>
                  </a:lnTo>
                  <a:lnTo>
                    <a:pt x="6" y="10"/>
                  </a:lnTo>
                  <a:lnTo>
                    <a:pt x="6" y="9"/>
                  </a:lnTo>
                  <a:lnTo>
                    <a:pt x="5" y="7"/>
                  </a:lnTo>
                  <a:lnTo>
                    <a:pt x="5" y="7"/>
                  </a:lnTo>
                  <a:lnTo>
                    <a:pt x="2" y="7"/>
                  </a:lnTo>
                  <a:lnTo>
                    <a:pt x="2" y="4"/>
                  </a:lnTo>
                  <a:lnTo>
                    <a:pt x="2" y="3"/>
                  </a:lnTo>
                  <a:lnTo>
                    <a:pt x="0" y="0"/>
                  </a:lnTo>
                  <a:lnTo>
                    <a:pt x="0" y="0"/>
                  </a:lnTo>
                  <a:lnTo>
                    <a:pt x="0" y="0"/>
                  </a:lnTo>
                  <a:lnTo>
                    <a:pt x="2" y="0"/>
                  </a:lnTo>
                  <a:lnTo>
                    <a:pt x="6" y="0"/>
                  </a:lnTo>
                  <a:lnTo>
                    <a:pt x="15" y="1"/>
                  </a:lnTo>
                  <a:lnTo>
                    <a:pt x="15" y="1"/>
                  </a:lnTo>
                  <a:lnTo>
                    <a:pt x="18" y="3"/>
                  </a:lnTo>
                  <a:lnTo>
                    <a:pt x="19" y="6"/>
                  </a:lnTo>
                  <a:lnTo>
                    <a:pt x="19" y="10"/>
                  </a:lnTo>
                  <a:lnTo>
                    <a:pt x="19" y="10"/>
                  </a:lnTo>
                  <a:lnTo>
                    <a:pt x="18" y="16"/>
                  </a:lnTo>
                  <a:lnTo>
                    <a:pt x="16" y="17"/>
                  </a:lnTo>
                  <a:lnTo>
                    <a:pt x="12" y="19"/>
                  </a:lnTo>
                  <a:close/>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10" name="Freeform 1308"/>
            <p:cNvSpPr>
              <a:spLocks/>
            </p:cNvSpPr>
            <p:nvPr/>
          </p:nvSpPr>
          <p:spPr bwMode="auto">
            <a:xfrm>
              <a:off x="7386638" y="4373563"/>
              <a:ext cx="30163" cy="30163"/>
            </a:xfrm>
            <a:custGeom>
              <a:avLst/>
              <a:gdLst>
                <a:gd name="T0" fmla="*/ 12 w 19"/>
                <a:gd name="T1" fmla="*/ 19 h 19"/>
                <a:gd name="T2" fmla="*/ 12 w 19"/>
                <a:gd name="T3" fmla="*/ 19 h 19"/>
                <a:gd name="T4" fmla="*/ 11 w 19"/>
                <a:gd name="T5" fmla="*/ 19 h 19"/>
                <a:gd name="T6" fmla="*/ 9 w 19"/>
                <a:gd name="T7" fmla="*/ 17 h 19"/>
                <a:gd name="T8" fmla="*/ 8 w 19"/>
                <a:gd name="T9" fmla="*/ 13 h 19"/>
                <a:gd name="T10" fmla="*/ 6 w 19"/>
                <a:gd name="T11" fmla="*/ 10 h 19"/>
                <a:gd name="T12" fmla="*/ 6 w 19"/>
                <a:gd name="T13" fmla="*/ 9 h 19"/>
                <a:gd name="T14" fmla="*/ 5 w 19"/>
                <a:gd name="T15" fmla="*/ 7 h 19"/>
                <a:gd name="T16" fmla="*/ 5 w 19"/>
                <a:gd name="T17" fmla="*/ 7 h 19"/>
                <a:gd name="T18" fmla="*/ 2 w 19"/>
                <a:gd name="T19" fmla="*/ 7 h 19"/>
                <a:gd name="T20" fmla="*/ 2 w 19"/>
                <a:gd name="T21" fmla="*/ 4 h 19"/>
                <a:gd name="T22" fmla="*/ 2 w 19"/>
                <a:gd name="T23" fmla="*/ 3 h 19"/>
                <a:gd name="T24" fmla="*/ 0 w 19"/>
                <a:gd name="T25" fmla="*/ 0 h 19"/>
                <a:gd name="T26" fmla="*/ 0 w 19"/>
                <a:gd name="T27" fmla="*/ 0 h 19"/>
                <a:gd name="T28" fmla="*/ 0 w 19"/>
                <a:gd name="T29" fmla="*/ 0 h 19"/>
                <a:gd name="T30" fmla="*/ 2 w 19"/>
                <a:gd name="T31" fmla="*/ 0 h 19"/>
                <a:gd name="T32" fmla="*/ 6 w 19"/>
                <a:gd name="T33" fmla="*/ 0 h 19"/>
                <a:gd name="T34" fmla="*/ 15 w 19"/>
                <a:gd name="T35" fmla="*/ 1 h 19"/>
                <a:gd name="T36" fmla="*/ 15 w 19"/>
                <a:gd name="T37" fmla="*/ 1 h 19"/>
                <a:gd name="T38" fmla="*/ 18 w 19"/>
                <a:gd name="T39" fmla="*/ 3 h 19"/>
                <a:gd name="T40" fmla="*/ 19 w 19"/>
                <a:gd name="T41" fmla="*/ 6 h 19"/>
                <a:gd name="T42" fmla="*/ 19 w 19"/>
                <a:gd name="T43" fmla="*/ 10 h 19"/>
                <a:gd name="T44" fmla="*/ 19 w 19"/>
                <a:gd name="T45" fmla="*/ 10 h 19"/>
                <a:gd name="T46" fmla="*/ 18 w 19"/>
                <a:gd name="T47" fmla="*/ 16 h 19"/>
                <a:gd name="T48" fmla="*/ 16 w 19"/>
                <a:gd name="T49" fmla="*/ 17 h 19"/>
                <a:gd name="T50" fmla="*/ 12 w 19"/>
                <a:gd name="T5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19">
                  <a:moveTo>
                    <a:pt x="12" y="19"/>
                  </a:moveTo>
                  <a:lnTo>
                    <a:pt x="12" y="19"/>
                  </a:lnTo>
                  <a:lnTo>
                    <a:pt x="11" y="19"/>
                  </a:lnTo>
                  <a:lnTo>
                    <a:pt x="9" y="17"/>
                  </a:lnTo>
                  <a:lnTo>
                    <a:pt x="8" y="13"/>
                  </a:lnTo>
                  <a:lnTo>
                    <a:pt x="6" y="10"/>
                  </a:lnTo>
                  <a:lnTo>
                    <a:pt x="6" y="9"/>
                  </a:lnTo>
                  <a:lnTo>
                    <a:pt x="5" y="7"/>
                  </a:lnTo>
                  <a:lnTo>
                    <a:pt x="5" y="7"/>
                  </a:lnTo>
                  <a:lnTo>
                    <a:pt x="2" y="7"/>
                  </a:lnTo>
                  <a:lnTo>
                    <a:pt x="2" y="4"/>
                  </a:lnTo>
                  <a:lnTo>
                    <a:pt x="2" y="3"/>
                  </a:lnTo>
                  <a:lnTo>
                    <a:pt x="0" y="0"/>
                  </a:lnTo>
                  <a:lnTo>
                    <a:pt x="0" y="0"/>
                  </a:lnTo>
                  <a:lnTo>
                    <a:pt x="0" y="0"/>
                  </a:lnTo>
                  <a:lnTo>
                    <a:pt x="2" y="0"/>
                  </a:lnTo>
                  <a:lnTo>
                    <a:pt x="6" y="0"/>
                  </a:lnTo>
                  <a:lnTo>
                    <a:pt x="15" y="1"/>
                  </a:lnTo>
                  <a:lnTo>
                    <a:pt x="15" y="1"/>
                  </a:lnTo>
                  <a:lnTo>
                    <a:pt x="18" y="3"/>
                  </a:lnTo>
                  <a:lnTo>
                    <a:pt x="19" y="6"/>
                  </a:lnTo>
                  <a:lnTo>
                    <a:pt x="19" y="10"/>
                  </a:lnTo>
                  <a:lnTo>
                    <a:pt x="19" y="10"/>
                  </a:lnTo>
                  <a:lnTo>
                    <a:pt x="18" y="16"/>
                  </a:lnTo>
                  <a:lnTo>
                    <a:pt x="16" y="17"/>
                  </a:lnTo>
                  <a:lnTo>
                    <a:pt x="12" y="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11" name="Freeform 1309"/>
            <p:cNvSpPr>
              <a:spLocks/>
            </p:cNvSpPr>
            <p:nvPr/>
          </p:nvSpPr>
          <p:spPr bwMode="auto">
            <a:xfrm>
              <a:off x="7307263" y="4435476"/>
              <a:ext cx="61913" cy="65088"/>
            </a:xfrm>
            <a:custGeom>
              <a:avLst/>
              <a:gdLst>
                <a:gd name="T0" fmla="*/ 35 w 39"/>
                <a:gd name="T1" fmla="*/ 1 h 41"/>
                <a:gd name="T2" fmla="*/ 35 w 39"/>
                <a:gd name="T3" fmla="*/ 1 h 41"/>
                <a:gd name="T4" fmla="*/ 33 w 39"/>
                <a:gd name="T5" fmla="*/ 3 h 41"/>
                <a:gd name="T6" fmla="*/ 33 w 39"/>
                <a:gd name="T7" fmla="*/ 6 h 41"/>
                <a:gd name="T8" fmla="*/ 33 w 39"/>
                <a:gd name="T9" fmla="*/ 9 h 41"/>
                <a:gd name="T10" fmla="*/ 32 w 39"/>
                <a:gd name="T11" fmla="*/ 12 h 41"/>
                <a:gd name="T12" fmla="*/ 32 w 39"/>
                <a:gd name="T13" fmla="*/ 12 h 41"/>
                <a:gd name="T14" fmla="*/ 27 w 39"/>
                <a:gd name="T15" fmla="*/ 13 h 41"/>
                <a:gd name="T16" fmla="*/ 23 w 39"/>
                <a:gd name="T17" fmla="*/ 17 h 41"/>
                <a:gd name="T18" fmla="*/ 16 w 39"/>
                <a:gd name="T19" fmla="*/ 23 h 41"/>
                <a:gd name="T20" fmla="*/ 16 w 39"/>
                <a:gd name="T21" fmla="*/ 23 h 41"/>
                <a:gd name="T22" fmla="*/ 6 w 39"/>
                <a:gd name="T23" fmla="*/ 33 h 41"/>
                <a:gd name="T24" fmla="*/ 1 w 39"/>
                <a:gd name="T25" fmla="*/ 39 h 41"/>
                <a:gd name="T26" fmla="*/ 0 w 39"/>
                <a:gd name="T27" fmla="*/ 41 h 41"/>
                <a:gd name="T28" fmla="*/ 1 w 39"/>
                <a:gd name="T29" fmla="*/ 41 h 41"/>
                <a:gd name="T30" fmla="*/ 1 w 39"/>
                <a:gd name="T31" fmla="*/ 41 h 41"/>
                <a:gd name="T32" fmla="*/ 4 w 39"/>
                <a:gd name="T33" fmla="*/ 39 h 41"/>
                <a:gd name="T34" fmla="*/ 10 w 39"/>
                <a:gd name="T35" fmla="*/ 35 h 41"/>
                <a:gd name="T36" fmla="*/ 22 w 39"/>
                <a:gd name="T37" fmla="*/ 26 h 41"/>
                <a:gd name="T38" fmla="*/ 22 w 39"/>
                <a:gd name="T39" fmla="*/ 26 h 41"/>
                <a:gd name="T40" fmla="*/ 32 w 39"/>
                <a:gd name="T41" fmla="*/ 20 h 41"/>
                <a:gd name="T42" fmla="*/ 36 w 39"/>
                <a:gd name="T43" fmla="*/ 17 h 41"/>
                <a:gd name="T44" fmla="*/ 39 w 39"/>
                <a:gd name="T45" fmla="*/ 15 h 41"/>
                <a:gd name="T46" fmla="*/ 39 w 39"/>
                <a:gd name="T47" fmla="*/ 15 h 41"/>
                <a:gd name="T48" fmla="*/ 39 w 39"/>
                <a:gd name="T49" fmla="*/ 4 h 41"/>
                <a:gd name="T50" fmla="*/ 37 w 39"/>
                <a:gd name="T51" fmla="*/ 1 h 41"/>
                <a:gd name="T52" fmla="*/ 36 w 39"/>
                <a:gd name="T53" fmla="*/ 0 h 41"/>
                <a:gd name="T54" fmla="*/ 35 w 39"/>
                <a:gd name="T55" fmla="*/ 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 h="41">
                  <a:moveTo>
                    <a:pt x="35" y="1"/>
                  </a:moveTo>
                  <a:lnTo>
                    <a:pt x="35" y="1"/>
                  </a:lnTo>
                  <a:lnTo>
                    <a:pt x="33" y="3"/>
                  </a:lnTo>
                  <a:lnTo>
                    <a:pt x="33" y="6"/>
                  </a:lnTo>
                  <a:lnTo>
                    <a:pt x="33" y="9"/>
                  </a:lnTo>
                  <a:lnTo>
                    <a:pt x="32" y="12"/>
                  </a:lnTo>
                  <a:lnTo>
                    <a:pt x="32" y="12"/>
                  </a:lnTo>
                  <a:lnTo>
                    <a:pt x="27" y="13"/>
                  </a:lnTo>
                  <a:lnTo>
                    <a:pt x="23" y="17"/>
                  </a:lnTo>
                  <a:lnTo>
                    <a:pt x="16" y="23"/>
                  </a:lnTo>
                  <a:lnTo>
                    <a:pt x="16" y="23"/>
                  </a:lnTo>
                  <a:lnTo>
                    <a:pt x="6" y="33"/>
                  </a:lnTo>
                  <a:lnTo>
                    <a:pt x="1" y="39"/>
                  </a:lnTo>
                  <a:lnTo>
                    <a:pt x="0" y="41"/>
                  </a:lnTo>
                  <a:lnTo>
                    <a:pt x="1" y="41"/>
                  </a:lnTo>
                  <a:lnTo>
                    <a:pt x="1" y="41"/>
                  </a:lnTo>
                  <a:lnTo>
                    <a:pt x="4" y="39"/>
                  </a:lnTo>
                  <a:lnTo>
                    <a:pt x="10" y="35"/>
                  </a:lnTo>
                  <a:lnTo>
                    <a:pt x="22" y="26"/>
                  </a:lnTo>
                  <a:lnTo>
                    <a:pt x="22" y="26"/>
                  </a:lnTo>
                  <a:lnTo>
                    <a:pt x="32" y="20"/>
                  </a:lnTo>
                  <a:lnTo>
                    <a:pt x="36" y="17"/>
                  </a:lnTo>
                  <a:lnTo>
                    <a:pt x="39" y="15"/>
                  </a:lnTo>
                  <a:lnTo>
                    <a:pt x="39" y="15"/>
                  </a:lnTo>
                  <a:lnTo>
                    <a:pt x="39" y="4"/>
                  </a:lnTo>
                  <a:lnTo>
                    <a:pt x="37" y="1"/>
                  </a:lnTo>
                  <a:lnTo>
                    <a:pt x="36" y="0"/>
                  </a:lnTo>
                  <a:lnTo>
                    <a:pt x="35" y="1"/>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12" name="Freeform 1310"/>
            <p:cNvSpPr>
              <a:spLocks/>
            </p:cNvSpPr>
            <p:nvPr/>
          </p:nvSpPr>
          <p:spPr bwMode="auto">
            <a:xfrm>
              <a:off x="7307263" y="4435476"/>
              <a:ext cx="61913" cy="65088"/>
            </a:xfrm>
            <a:custGeom>
              <a:avLst/>
              <a:gdLst>
                <a:gd name="T0" fmla="*/ 35 w 39"/>
                <a:gd name="T1" fmla="*/ 1 h 41"/>
                <a:gd name="T2" fmla="*/ 35 w 39"/>
                <a:gd name="T3" fmla="*/ 1 h 41"/>
                <a:gd name="T4" fmla="*/ 33 w 39"/>
                <a:gd name="T5" fmla="*/ 3 h 41"/>
                <a:gd name="T6" fmla="*/ 33 w 39"/>
                <a:gd name="T7" fmla="*/ 6 h 41"/>
                <a:gd name="T8" fmla="*/ 33 w 39"/>
                <a:gd name="T9" fmla="*/ 9 h 41"/>
                <a:gd name="T10" fmla="*/ 32 w 39"/>
                <a:gd name="T11" fmla="*/ 12 h 41"/>
                <a:gd name="T12" fmla="*/ 32 w 39"/>
                <a:gd name="T13" fmla="*/ 12 h 41"/>
                <a:gd name="T14" fmla="*/ 27 w 39"/>
                <a:gd name="T15" fmla="*/ 13 h 41"/>
                <a:gd name="T16" fmla="*/ 23 w 39"/>
                <a:gd name="T17" fmla="*/ 17 h 41"/>
                <a:gd name="T18" fmla="*/ 16 w 39"/>
                <a:gd name="T19" fmla="*/ 23 h 41"/>
                <a:gd name="T20" fmla="*/ 16 w 39"/>
                <a:gd name="T21" fmla="*/ 23 h 41"/>
                <a:gd name="T22" fmla="*/ 6 w 39"/>
                <a:gd name="T23" fmla="*/ 33 h 41"/>
                <a:gd name="T24" fmla="*/ 1 w 39"/>
                <a:gd name="T25" fmla="*/ 39 h 41"/>
                <a:gd name="T26" fmla="*/ 0 w 39"/>
                <a:gd name="T27" fmla="*/ 41 h 41"/>
                <a:gd name="T28" fmla="*/ 1 w 39"/>
                <a:gd name="T29" fmla="*/ 41 h 41"/>
                <a:gd name="T30" fmla="*/ 1 w 39"/>
                <a:gd name="T31" fmla="*/ 41 h 41"/>
                <a:gd name="T32" fmla="*/ 4 w 39"/>
                <a:gd name="T33" fmla="*/ 39 h 41"/>
                <a:gd name="T34" fmla="*/ 10 w 39"/>
                <a:gd name="T35" fmla="*/ 35 h 41"/>
                <a:gd name="T36" fmla="*/ 22 w 39"/>
                <a:gd name="T37" fmla="*/ 26 h 41"/>
                <a:gd name="T38" fmla="*/ 22 w 39"/>
                <a:gd name="T39" fmla="*/ 26 h 41"/>
                <a:gd name="T40" fmla="*/ 32 w 39"/>
                <a:gd name="T41" fmla="*/ 20 h 41"/>
                <a:gd name="T42" fmla="*/ 36 w 39"/>
                <a:gd name="T43" fmla="*/ 17 h 41"/>
                <a:gd name="T44" fmla="*/ 39 w 39"/>
                <a:gd name="T45" fmla="*/ 15 h 41"/>
                <a:gd name="T46" fmla="*/ 39 w 39"/>
                <a:gd name="T47" fmla="*/ 15 h 41"/>
                <a:gd name="T48" fmla="*/ 39 w 39"/>
                <a:gd name="T49" fmla="*/ 4 h 41"/>
                <a:gd name="T50" fmla="*/ 37 w 39"/>
                <a:gd name="T51" fmla="*/ 1 h 41"/>
                <a:gd name="T52" fmla="*/ 36 w 39"/>
                <a:gd name="T53" fmla="*/ 0 h 41"/>
                <a:gd name="T54" fmla="*/ 35 w 39"/>
                <a:gd name="T55" fmla="*/ 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 h="41">
                  <a:moveTo>
                    <a:pt x="35" y="1"/>
                  </a:moveTo>
                  <a:lnTo>
                    <a:pt x="35" y="1"/>
                  </a:lnTo>
                  <a:lnTo>
                    <a:pt x="33" y="3"/>
                  </a:lnTo>
                  <a:lnTo>
                    <a:pt x="33" y="6"/>
                  </a:lnTo>
                  <a:lnTo>
                    <a:pt x="33" y="9"/>
                  </a:lnTo>
                  <a:lnTo>
                    <a:pt x="32" y="12"/>
                  </a:lnTo>
                  <a:lnTo>
                    <a:pt x="32" y="12"/>
                  </a:lnTo>
                  <a:lnTo>
                    <a:pt x="27" y="13"/>
                  </a:lnTo>
                  <a:lnTo>
                    <a:pt x="23" y="17"/>
                  </a:lnTo>
                  <a:lnTo>
                    <a:pt x="16" y="23"/>
                  </a:lnTo>
                  <a:lnTo>
                    <a:pt x="16" y="23"/>
                  </a:lnTo>
                  <a:lnTo>
                    <a:pt x="6" y="33"/>
                  </a:lnTo>
                  <a:lnTo>
                    <a:pt x="1" y="39"/>
                  </a:lnTo>
                  <a:lnTo>
                    <a:pt x="0" y="41"/>
                  </a:lnTo>
                  <a:lnTo>
                    <a:pt x="1" y="41"/>
                  </a:lnTo>
                  <a:lnTo>
                    <a:pt x="1" y="41"/>
                  </a:lnTo>
                  <a:lnTo>
                    <a:pt x="4" y="39"/>
                  </a:lnTo>
                  <a:lnTo>
                    <a:pt x="10" y="35"/>
                  </a:lnTo>
                  <a:lnTo>
                    <a:pt x="22" y="26"/>
                  </a:lnTo>
                  <a:lnTo>
                    <a:pt x="22" y="26"/>
                  </a:lnTo>
                  <a:lnTo>
                    <a:pt x="32" y="20"/>
                  </a:lnTo>
                  <a:lnTo>
                    <a:pt x="36" y="17"/>
                  </a:lnTo>
                  <a:lnTo>
                    <a:pt x="39" y="15"/>
                  </a:lnTo>
                  <a:lnTo>
                    <a:pt x="39" y="15"/>
                  </a:lnTo>
                  <a:lnTo>
                    <a:pt x="39" y="4"/>
                  </a:lnTo>
                  <a:lnTo>
                    <a:pt x="37" y="1"/>
                  </a:lnTo>
                  <a:lnTo>
                    <a:pt x="36" y="0"/>
                  </a:lnTo>
                  <a:lnTo>
                    <a:pt x="35" y="1"/>
                  </a:lnTo>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13" name="Freeform 1311"/>
            <p:cNvSpPr>
              <a:spLocks/>
            </p:cNvSpPr>
            <p:nvPr/>
          </p:nvSpPr>
          <p:spPr bwMode="auto">
            <a:xfrm>
              <a:off x="7651751" y="4725988"/>
              <a:ext cx="517525" cy="261938"/>
            </a:xfrm>
            <a:custGeom>
              <a:avLst/>
              <a:gdLst>
                <a:gd name="T0" fmla="*/ 57 w 326"/>
                <a:gd name="T1" fmla="*/ 26 h 165"/>
                <a:gd name="T2" fmla="*/ 55 w 326"/>
                <a:gd name="T3" fmla="*/ 13 h 165"/>
                <a:gd name="T4" fmla="*/ 23 w 326"/>
                <a:gd name="T5" fmla="*/ 1 h 165"/>
                <a:gd name="T6" fmla="*/ 12 w 326"/>
                <a:gd name="T7" fmla="*/ 4 h 165"/>
                <a:gd name="T8" fmla="*/ 0 w 326"/>
                <a:gd name="T9" fmla="*/ 4 h 165"/>
                <a:gd name="T10" fmla="*/ 6 w 326"/>
                <a:gd name="T11" fmla="*/ 7 h 165"/>
                <a:gd name="T12" fmla="*/ 16 w 326"/>
                <a:gd name="T13" fmla="*/ 18 h 165"/>
                <a:gd name="T14" fmla="*/ 45 w 326"/>
                <a:gd name="T15" fmla="*/ 27 h 165"/>
                <a:gd name="T16" fmla="*/ 36 w 326"/>
                <a:gd name="T17" fmla="*/ 36 h 165"/>
                <a:gd name="T18" fmla="*/ 26 w 326"/>
                <a:gd name="T19" fmla="*/ 39 h 165"/>
                <a:gd name="T20" fmla="*/ 39 w 326"/>
                <a:gd name="T21" fmla="*/ 49 h 165"/>
                <a:gd name="T22" fmla="*/ 36 w 326"/>
                <a:gd name="T23" fmla="*/ 57 h 165"/>
                <a:gd name="T24" fmla="*/ 48 w 326"/>
                <a:gd name="T25" fmla="*/ 52 h 165"/>
                <a:gd name="T26" fmla="*/ 52 w 326"/>
                <a:gd name="T27" fmla="*/ 50 h 165"/>
                <a:gd name="T28" fmla="*/ 83 w 326"/>
                <a:gd name="T29" fmla="*/ 63 h 165"/>
                <a:gd name="T30" fmla="*/ 107 w 326"/>
                <a:gd name="T31" fmla="*/ 76 h 165"/>
                <a:gd name="T32" fmla="*/ 125 w 326"/>
                <a:gd name="T33" fmla="*/ 89 h 165"/>
                <a:gd name="T34" fmla="*/ 139 w 326"/>
                <a:gd name="T35" fmla="*/ 114 h 165"/>
                <a:gd name="T36" fmla="*/ 117 w 326"/>
                <a:gd name="T37" fmla="*/ 121 h 165"/>
                <a:gd name="T38" fmla="*/ 119 w 326"/>
                <a:gd name="T39" fmla="*/ 126 h 165"/>
                <a:gd name="T40" fmla="*/ 135 w 326"/>
                <a:gd name="T41" fmla="*/ 124 h 165"/>
                <a:gd name="T42" fmla="*/ 146 w 326"/>
                <a:gd name="T43" fmla="*/ 120 h 165"/>
                <a:gd name="T44" fmla="*/ 155 w 326"/>
                <a:gd name="T45" fmla="*/ 126 h 165"/>
                <a:gd name="T46" fmla="*/ 171 w 326"/>
                <a:gd name="T47" fmla="*/ 141 h 165"/>
                <a:gd name="T48" fmla="*/ 193 w 326"/>
                <a:gd name="T49" fmla="*/ 140 h 165"/>
                <a:gd name="T50" fmla="*/ 203 w 326"/>
                <a:gd name="T51" fmla="*/ 134 h 165"/>
                <a:gd name="T52" fmla="*/ 206 w 326"/>
                <a:gd name="T53" fmla="*/ 123 h 165"/>
                <a:gd name="T54" fmla="*/ 211 w 326"/>
                <a:gd name="T55" fmla="*/ 120 h 165"/>
                <a:gd name="T56" fmla="*/ 226 w 326"/>
                <a:gd name="T57" fmla="*/ 118 h 165"/>
                <a:gd name="T58" fmla="*/ 230 w 326"/>
                <a:gd name="T59" fmla="*/ 117 h 165"/>
                <a:gd name="T60" fmla="*/ 248 w 326"/>
                <a:gd name="T61" fmla="*/ 120 h 165"/>
                <a:gd name="T62" fmla="*/ 259 w 326"/>
                <a:gd name="T63" fmla="*/ 139 h 165"/>
                <a:gd name="T64" fmla="*/ 282 w 326"/>
                <a:gd name="T65" fmla="*/ 153 h 165"/>
                <a:gd name="T66" fmla="*/ 309 w 326"/>
                <a:gd name="T67" fmla="*/ 162 h 165"/>
                <a:gd name="T68" fmla="*/ 323 w 326"/>
                <a:gd name="T69" fmla="*/ 165 h 165"/>
                <a:gd name="T70" fmla="*/ 310 w 326"/>
                <a:gd name="T71" fmla="*/ 150 h 165"/>
                <a:gd name="T72" fmla="*/ 288 w 326"/>
                <a:gd name="T73" fmla="*/ 134 h 165"/>
                <a:gd name="T74" fmla="*/ 264 w 326"/>
                <a:gd name="T75" fmla="*/ 101 h 165"/>
                <a:gd name="T76" fmla="*/ 278 w 326"/>
                <a:gd name="T77" fmla="*/ 99 h 165"/>
                <a:gd name="T78" fmla="*/ 269 w 326"/>
                <a:gd name="T79" fmla="*/ 86 h 165"/>
                <a:gd name="T80" fmla="*/ 245 w 326"/>
                <a:gd name="T81" fmla="*/ 79 h 165"/>
                <a:gd name="T82" fmla="*/ 239 w 326"/>
                <a:gd name="T83" fmla="*/ 68 h 165"/>
                <a:gd name="T84" fmla="*/ 223 w 326"/>
                <a:gd name="T85" fmla="*/ 52 h 165"/>
                <a:gd name="T86" fmla="*/ 197 w 326"/>
                <a:gd name="T87" fmla="*/ 42 h 165"/>
                <a:gd name="T88" fmla="*/ 169 w 326"/>
                <a:gd name="T89" fmla="*/ 34 h 165"/>
                <a:gd name="T90" fmla="*/ 158 w 326"/>
                <a:gd name="T91" fmla="*/ 28 h 165"/>
                <a:gd name="T92" fmla="*/ 155 w 326"/>
                <a:gd name="T93" fmla="*/ 21 h 165"/>
                <a:gd name="T94" fmla="*/ 142 w 326"/>
                <a:gd name="T95" fmla="*/ 26 h 165"/>
                <a:gd name="T96" fmla="*/ 120 w 326"/>
                <a:gd name="T97" fmla="*/ 18 h 165"/>
                <a:gd name="T98" fmla="*/ 101 w 326"/>
                <a:gd name="T99" fmla="*/ 24 h 165"/>
                <a:gd name="T100" fmla="*/ 84 w 326"/>
                <a:gd name="T101" fmla="*/ 23 h 165"/>
                <a:gd name="T102" fmla="*/ 88 w 326"/>
                <a:gd name="T103" fmla="*/ 28 h 165"/>
                <a:gd name="T104" fmla="*/ 87 w 326"/>
                <a:gd name="T105" fmla="*/ 37 h 165"/>
                <a:gd name="T106" fmla="*/ 74 w 326"/>
                <a:gd name="T107" fmla="*/ 44 h 165"/>
                <a:gd name="T108" fmla="*/ 72 w 326"/>
                <a:gd name="T109" fmla="*/ 37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6" h="165">
                  <a:moveTo>
                    <a:pt x="58" y="28"/>
                  </a:moveTo>
                  <a:lnTo>
                    <a:pt x="58" y="28"/>
                  </a:lnTo>
                  <a:lnTo>
                    <a:pt x="57" y="28"/>
                  </a:lnTo>
                  <a:lnTo>
                    <a:pt x="55" y="27"/>
                  </a:lnTo>
                  <a:lnTo>
                    <a:pt x="57" y="26"/>
                  </a:lnTo>
                  <a:lnTo>
                    <a:pt x="58" y="21"/>
                  </a:lnTo>
                  <a:lnTo>
                    <a:pt x="58" y="20"/>
                  </a:lnTo>
                  <a:lnTo>
                    <a:pt x="58" y="17"/>
                  </a:lnTo>
                  <a:lnTo>
                    <a:pt x="58" y="17"/>
                  </a:lnTo>
                  <a:lnTo>
                    <a:pt x="55" y="13"/>
                  </a:lnTo>
                  <a:lnTo>
                    <a:pt x="52" y="10"/>
                  </a:lnTo>
                  <a:lnTo>
                    <a:pt x="46" y="5"/>
                  </a:lnTo>
                  <a:lnTo>
                    <a:pt x="46" y="5"/>
                  </a:lnTo>
                  <a:lnTo>
                    <a:pt x="23" y="1"/>
                  </a:lnTo>
                  <a:lnTo>
                    <a:pt x="23" y="1"/>
                  </a:lnTo>
                  <a:lnTo>
                    <a:pt x="20" y="2"/>
                  </a:lnTo>
                  <a:lnTo>
                    <a:pt x="17" y="2"/>
                  </a:lnTo>
                  <a:lnTo>
                    <a:pt x="15" y="4"/>
                  </a:lnTo>
                  <a:lnTo>
                    <a:pt x="12" y="4"/>
                  </a:lnTo>
                  <a:lnTo>
                    <a:pt x="12" y="4"/>
                  </a:lnTo>
                  <a:lnTo>
                    <a:pt x="4" y="1"/>
                  </a:lnTo>
                  <a:lnTo>
                    <a:pt x="1" y="0"/>
                  </a:lnTo>
                  <a:lnTo>
                    <a:pt x="0" y="0"/>
                  </a:lnTo>
                  <a:lnTo>
                    <a:pt x="0" y="0"/>
                  </a:lnTo>
                  <a:lnTo>
                    <a:pt x="0" y="4"/>
                  </a:lnTo>
                  <a:lnTo>
                    <a:pt x="0" y="7"/>
                  </a:lnTo>
                  <a:lnTo>
                    <a:pt x="3" y="7"/>
                  </a:lnTo>
                  <a:lnTo>
                    <a:pt x="3" y="7"/>
                  </a:lnTo>
                  <a:lnTo>
                    <a:pt x="6" y="7"/>
                  </a:lnTo>
                  <a:lnTo>
                    <a:pt x="6" y="7"/>
                  </a:lnTo>
                  <a:lnTo>
                    <a:pt x="7" y="7"/>
                  </a:lnTo>
                  <a:lnTo>
                    <a:pt x="9" y="8"/>
                  </a:lnTo>
                  <a:lnTo>
                    <a:pt x="9" y="8"/>
                  </a:lnTo>
                  <a:lnTo>
                    <a:pt x="13" y="15"/>
                  </a:lnTo>
                  <a:lnTo>
                    <a:pt x="16" y="18"/>
                  </a:lnTo>
                  <a:lnTo>
                    <a:pt x="23" y="21"/>
                  </a:lnTo>
                  <a:lnTo>
                    <a:pt x="23" y="21"/>
                  </a:lnTo>
                  <a:lnTo>
                    <a:pt x="32" y="26"/>
                  </a:lnTo>
                  <a:lnTo>
                    <a:pt x="39" y="26"/>
                  </a:lnTo>
                  <a:lnTo>
                    <a:pt x="45" y="27"/>
                  </a:lnTo>
                  <a:lnTo>
                    <a:pt x="45" y="27"/>
                  </a:lnTo>
                  <a:lnTo>
                    <a:pt x="42" y="31"/>
                  </a:lnTo>
                  <a:lnTo>
                    <a:pt x="39" y="34"/>
                  </a:lnTo>
                  <a:lnTo>
                    <a:pt x="36" y="36"/>
                  </a:lnTo>
                  <a:lnTo>
                    <a:pt x="36" y="36"/>
                  </a:lnTo>
                  <a:lnTo>
                    <a:pt x="28" y="36"/>
                  </a:lnTo>
                  <a:lnTo>
                    <a:pt x="25" y="37"/>
                  </a:lnTo>
                  <a:lnTo>
                    <a:pt x="25" y="39"/>
                  </a:lnTo>
                  <a:lnTo>
                    <a:pt x="26" y="39"/>
                  </a:lnTo>
                  <a:lnTo>
                    <a:pt x="26" y="39"/>
                  </a:lnTo>
                  <a:lnTo>
                    <a:pt x="36" y="44"/>
                  </a:lnTo>
                  <a:lnTo>
                    <a:pt x="39" y="47"/>
                  </a:lnTo>
                  <a:lnTo>
                    <a:pt x="41" y="49"/>
                  </a:lnTo>
                  <a:lnTo>
                    <a:pt x="39" y="49"/>
                  </a:lnTo>
                  <a:lnTo>
                    <a:pt x="39" y="49"/>
                  </a:lnTo>
                  <a:lnTo>
                    <a:pt x="36" y="50"/>
                  </a:lnTo>
                  <a:lnTo>
                    <a:pt x="35" y="52"/>
                  </a:lnTo>
                  <a:lnTo>
                    <a:pt x="35" y="55"/>
                  </a:lnTo>
                  <a:lnTo>
                    <a:pt x="36" y="57"/>
                  </a:lnTo>
                  <a:lnTo>
                    <a:pt x="36" y="57"/>
                  </a:lnTo>
                  <a:lnTo>
                    <a:pt x="41" y="57"/>
                  </a:lnTo>
                  <a:lnTo>
                    <a:pt x="43" y="56"/>
                  </a:lnTo>
                  <a:lnTo>
                    <a:pt x="46" y="55"/>
                  </a:lnTo>
                  <a:lnTo>
                    <a:pt x="48" y="52"/>
                  </a:lnTo>
                  <a:lnTo>
                    <a:pt x="48" y="52"/>
                  </a:lnTo>
                  <a:lnTo>
                    <a:pt x="46" y="46"/>
                  </a:lnTo>
                  <a:lnTo>
                    <a:pt x="46" y="44"/>
                  </a:lnTo>
                  <a:lnTo>
                    <a:pt x="49" y="46"/>
                  </a:lnTo>
                  <a:lnTo>
                    <a:pt x="49" y="46"/>
                  </a:lnTo>
                  <a:lnTo>
                    <a:pt x="52" y="50"/>
                  </a:lnTo>
                  <a:lnTo>
                    <a:pt x="55" y="52"/>
                  </a:lnTo>
                  <a:lnTo>
                    <a:pt x="59" y="55"/>
                  </a:lnTo>
                  <a:lnTo>
                    <a:pt x="59" y="55"/>
                  </a:lnTo>
                  <a:lnTo>
                    <a:pt x="75" y="60"/>
                  </a:lnTo>
                  <a:lnTo>
                    <a:pt x="83" y="63"/>
                  </a:lnTo>
                  <a:lnTo>
                    <a:pt x="90" y="66"/>
                  </a:lnTo>
                  <a:lnTo>
                    <a:pt x="90" y="66"/>
                  </a:lnTo>
                  <a:lnTo>
                    <a:pt x="99" y="72"/>
                  </a:lnTo>
                  <a:lnTo>
                    <a:pt x="107" y="76"/>
                  </a:lnTo>
                  <a:lnTo>
                    <a:pt x="107" y="76"/>
                  </a:lnTo>
                  <a:lnTo>
                    <a:pt x="110" y="76"/>
                  </a:lnTo>
                  <a:lnTo>
                    <a:pt x="116" y="79"/>
                  </a:lnTo>
                  <a:lnTo>
                    <a:pt x="120" y="84"/>
                  </a:lnTo>
                  <a:lnTo>
                    <a:pt x="125" y="89"/>
                  </a:lnTo>
                  <a:lnTo>
                    <a:pt x="125" y="89"/>
                  </a:lnTo>
                  <a:lnTo>
                    <a:pt x="135" y="104"/>
                  </a:lnTo>
                  <a:lnTo>
                    <a:pt x="139" y="111"/>
                  </a:lnTo>
                  <a:lnTo>
                    <a:pt x="139" y="113"/>
                  </a:lnTo>
                  <a:lnTo>
                    <a:pt x="139" y="114"/>
                  </a:lnTo>
                  <a:lnTo>
                    <a:pt x="139" y="114"/>
                  </a:lnTo>
                  <a:lnTo>
                    <a:pt x="132" y="113"/>
                  </a:lnTo>
                  <a:lnTo>
                    <a:pt x="127" y="111"/>
                  </a:lnTo>
                  <a:lnTo>
                    <a:pt x="125" y="114"/>
                  </a:lnTo>
                  <a:lnTo>
                    <a:pt x="125" y="114"/>
                  </a:lnTo>
                  <a:lnTo>
                    <a:pt x="117" y="121"/>
                  </a:lnTo>
                  <a:lnTo>
                    <a:pt x="114" y="126"/>
                  </a:lnTo>
                  <a:lnTo>
                    <a:pt x="114" y="127"/>
                  </a:lnTo>
                  <a:lnTo>
                    <a:pt x="116" y="127"/>
                  </a:lnTo>
                  <a:lnTo>
                    <a:pt x="116" y="127"/>
                  </a:lnTo>
                  <a:lnTo>
                    <a:pt x="119" y="126"/>
                  </a:lnTo>
                  <a:lnTo>
                    <a:pt x="125" y="124"/>
                  </a:lnTo>
                  <a:lnTo>
                    <a:pt x="130" y="121"/>
                  </a:lnTo>
                  <a:lnTo>
                    <a:pt x="133" y="121"/>
                  </a:lnTo>
                  <a:lnTo>
                    <a:pt x="133" y="121"/>
                  </a:lnTo>
                  <a:lnTo>
                    <a:pt x="135" y="124"/>
                  </a:lnTo>
                  <a:lnTo>
                    <a:pt x="136" y="126"/>
                  </a:lnTo>
                  <a:lnTo>
                    <a:pt x="139" y="126"/>
                  </a:lnTo>
                  <a:lnTo>
                    <a:pt x="139" y="126"/>
                  </a:lnTo>
                  <a:lnTo>
                    <a:pt x="143" y="121"/>
                  </a:lnTo>
                  <a:lnTo>
                    <a:pt x="146" y="120"/>
                  </a:lnTo>
                  <a:lnTo>
                    <a:pt x="148" y="120"/>
                  </a:lnTo>
                  <a:lnTo>
                    <a:pt x="148" y="120"/>
                  </a:lnTo>
                  <a:lnTo>
                    <a:pt x="152" y="121"/>
                  </a:lnTo>
                  <a:lnTo>
                    <a:pt x="154" y="123"/>
                  </a:lnTo>
                  <a:lnTo>
                    <a:pt x="155" y="126"/>
                  </a:lnTo>
                  <a:lnTo>
                    <a:pt x="155" y="126"/>
                  </a:lnTo>
                  <a:lnTo>
                    <a:pt x="158" y="130"/>
                  </a:lnTo>
                  <a:lnTo>
                    <a:pt x="162" y="136"/>
                  </a:lnTo>
                  <a:lnTo>
                    <a:pt x="168" y="140"/>
                  </a:lnTo>
                  <a:lnTo>
                    <a:pt x="171" y="141"/>
                  </a:lnTo>
                  <a:lnTo>
                    <a:pt x="172" y="141"/>
                  </a:lnTo>
                  <a:lnTo>
                    <a:pt x="172" y="141"/>
                  </a:lnTo>
                  <a:lnTo>
                    <a:pt x="183" y="140"/>
                  </a:lnTo>
                  <a:lnTo>
                    <a:pt x="193" y="140"/>
                  </a:lnTo>
                  <a:lnTo>
                    <a:pt x="193" y="140"/>
                  </a:lnTo>
                  <a:lnTo>
                    <a:pt x="201" y="139"/>
                  </a:lnTo>
                  <a:lnTo>
                    <a:pt x="204" y="137"/>
                  </a:lnTo>
                  <a:lnTo>
                    <a:pt x="204" y="136"/>
                  </a:lnTo>
                  <a:lnTo>
                    <a:pt x="203" y="134"/>
                  </a:lnTo>
                  <a:lnTo>
                    <a:pt x="203" y="134"/>
                  </a:lnTo>
                  <a:lnTo>
                    <a:pt x="198" y="128"/>
                  </a:lnTo>
                  <a:lnTo>
                    <a:pt x="197" y="126"/>
                  </a:lnTo>
                  <a:lnTo>
                    <a:pt x="198" y="124"/>
                  </a:lnTo>
                  <a:lnTo>
                    <a:pt x="198" y="124"/>
                  </a:lnTo>
                  <a:lnTo>
                    <a:pt x="206" y="123"/>
                  </a:lnTo>
                  <a:lnTo>
                    <a:pt x="209" y="123"/>
                  </a:lnTo>
                  <a:lnTo>
                    <a:pt x="210" y="123"/>
                  </a:lnTo>
                  <a:lnTo>
                    <a:pt x="210" y="123"/>
                  </a:lnTo>
                  <a:lnTo>
                    <a:pt x="210" y="121"/>
                  </a:lnTo>
                  <a:lnTo>
                    <a:pt x="211" y="120"/>
                  </a:lnTo>
                  <a:lnTo>
                    <a:pt x="216" y="117"/>
                  </a:lnTo>
                  <a:lnTo>
                    <a:pt x="216" y="117"/>
                  </a:lnTo>
                  <a:lnTo>
                    <a:pt x="219" y="117"/>
                  </a:lnTo>
                  <a:lnTo>
                    <a:pt x="223" y="118"/>
                  </a:lnTo>
                  <a:lnTo>
                    <a:pt x="226" y="118"/>
                  </a:lnTo>
                  <a:lnTo>
                    <a:pt x="229" y="118"/>
                  </a:lnTo>
                  <a:lnTo>
                    <a:pt x="229" y="118"/>
                  </a:lnTo>
                  <a:lnTo>
                    <a:pt x="229" y="118"/>
                  </a:lnTo>
                  <a:lnTo>
                    <a:pt x="229" y="117"/>
                  </a:lnTo>
                  <a:lnTo>
                    <a:pt x="230" y="117"/>
                  </a:lnTo>
                  <a:lnTo>
                    <a:pt x="235" y="117"/>
                  </a:lnTo>
                  <a:lnTo>
                    <a:pt x="235" y="117"/>
                  </a:lnTo>
                  <a:lnTo>
                    <a:pt x="243" y="120"/>
                  </a:lnTo>
                  <a:lnTo>
                    <a:pt x="248" y="120"/>
                  </a:lnTo>
                  <a:lnTo>
                    <a:pt x="248" y="120"/>
                  </a:lnTo>
                  <a:lnTo>
                    <a:pt x="249" y="123"/>
                  </a:lnTo>
                  <a:lnTo>
                    <a:pt x="252" y="127"/>
                  </a:lnTo>
                  <a:lnTo>
                    <a:pt x="255" y="131"/>
                  </a:lnTo>
                  <a:lnTo>
                    <a:pt x="255" y="131"/>
                  </a:lnTo>
                  <a:lnTo>
                    <a:pt x="259" y="139"/>
                  </a:lnTo>
                  <a:lnTo>
                    <a:pt x="267" y="147"/>
                  </a:lnTo>
                  <a:lnTo>
                    <a:pt x="267" y="147"/>
                  </a:lnTo>
                  <a:lnTo>
                    <a:pt x="274" y="152"/>
                  </a:lnTo>
                  <a:lnTo>
                    <a:pt x="282" y="153"/>
                  </a:lnTo>
                  <a:lnTo>
                    <a:pt x="282" y="153"/>
                  </a:lnTo>
                  <a:lnTo>
                    <a:pt x="288" y="153"/>
                  </a:lnTo>
                  <a:lnTo>
                    <a:pt x="295" y="156"/>
                  </a:lnTo>
                  <a:lnTo>
                    <a:pt x="306" y="160"/>
                  </a:lnTo>
                  <a:lnTo>
                    <a:pt x="306" y="160"/>
                  </a:lnTo>
                  <a:lnTo>
                    <a:pt x="309" y="162"/>
                  </a:lnTo>
                  <a:lnTo>
                    <a:pt x="310" y="163"/>
                  </a:lnTo>
                  <a:lnTo>
                    <a:pt x="311" y="165"/>
                  </a:lnTo>
                  <a:lnTo>
                    <a:pt x="316" y="165"/>
                  </a:lnTo>
                  <a:lnTo>
                    <a:pt x="316" y="165"/>
                  </a:lnTo>
                  <a:lnTo>
                    <a:pt x="323" y="165"/>
                  </a:lnTo>
                  <a:lnTo>
                    <a:pt x="326" y="163"/>
                  </a:lnTo>
                  <a:lnTo>
                    <a:pt x="324" y="160"/>
                  </a:lnTo>
                  <a:lnTo>
                    <a:pt x="324" y="160"/>
                  </a:lnTo>
                  <a:lnTo>
                    <a:pt x="319" y="156"/>
                  </a:lnTo>
                  <a:lnTo>
                    <a:pt x="310" y="150"/>
                  </a:lnTo>
                  <a:lnTo>
                    <a:pt x="310" y="150"/>
                  </a:lnTo>
                  <a:lnTo>
                    <a:pt x="300" y="141"/>
                  </a:lnTo>
                  <a:lnTo>
                    <a:pt x="291" y="136"/>
                  </a:lnTo>
                  <a:lnTo>
                    <a:pt x="291" y="136"/>
                  </a:lnTo>
                  <a:lnTo>
                    <a:pt x="288" y="134"/>
                  </a:lnTo>
                  <a:lnTo>
                    <a:pt x="285" y="131"/>
                  </a:lnTo>
                  <a:lnTo>
                    <a:pt x="280" y="121"/>
                  </a:lnTo>
                  <a:lnTo>
                    <a:pt x="280" y="121"/>
                  </a:lnTo>
                  <a:lnTo>
                    <a:pt x="268" y="107"/>
                  </a:lnTo>
                  <a:lnTo>
                    <a:pt x="264" y="101"/>
                  </a:lnTo>
                  <a:lnTo>
                    <a:pt x="262" y="99"/>
                  </a:lnTo>
                  <a:lnTo>
                    <a:pt x="264" y="99"/>
                  </a:lnTo>
                  <a:lnTo>
                    <a:pt x="264" y="99"/>
                  </a:lnTo>
                  <a:lnTo>
                    <a:pt x="274" y="99"/>
                  </a:lnTo>
                  <a:lnTo>
                    <a:pt x="278" y="99"/>
                  </a:lnTo>
                  <a:lnTo>
                    <a:pt x="280" y="98"/>
                  </a:lnTo>
                  <a:lnTo>
                    <a:pt x="280" y="98"/>
                  </a:lnTo>
                  <a:lnTo>
                    <a:pt x="280" y="98"/>
                  </a:lnTo>
                  <a:lnTo>
                    <a:pt x="274" y="91"/>
                  </a:lnTo>
                  <a:lnTo>
                    <a:pt x="269" y="86"/>
                  </a:lnTo>
                  <a:lnTo>
                    <a:pt x="264" y="84"/>
                  </a:lnTo>
                  <a:lnTo>
                    <a:pt x="264" y="84"/>
                  </a:lnTo>
                  <a:lnTo>
                    <a:pt x="252" y="82"/>
                  </a:lnTo>
                  <a:lnTo>
                    <a:pt x="246" y="79"/>
                  </a:lnTo>
                  <a:lnTo>
                    <a:pt x="245" y="79"/>
                  </a:lnTo>
                  <a:lnTo>
                    <a:pt x="243" y="78"/>
                  </a:lnTo>
                  <a:lnTo>
                    <a:pt x="243" y="78"/>
                  </a:lnTo>
                  <a:lnTo>
                    <a:pt x="243" y="72"/>
                  </a:lnTo>
                  <a:lnTo>
                    <a:pt x="242" y="70"/>
                  </a:lnTo>
                  <a:lnTo>
                    <a:pt x="239" y="68"/>
                  </a:lnTo>
                  <a:lnTo>
                    <a:pt x="239" y="68"/>
                  </a:lnTo>
                  <a:lnTo>
                    <a:pt x="229" y="60"/>
                  </a:lnTo>
                  <a:lnTo>
                    <a:pt x="225" y="55"/>
                  </a:lnTo>
                  <a:lnTo>
                    <a:pt x="225" y="55"/>
                  </a:lnTo>
                  <a:lnTo>
                    <a:pt x="223" y="52"/>
                  </a:lnTo>
                  <a:lnTo>
                    <a:pt x="216" y="50"/>
                  </a:lnTo>
                  <a:lnTo>
                    <a:pt x="216" y="50"/>
                  </a:lnTo>
                  <a:lnTo>
                    <a:pt x="210" y="49"/>
                  </a:lnTo>
                  <a:lnTo>
                    <a:pt x="206" y="46"/>
                  </a:lnTo>
                  <a:lnTo>
                    <a:pt x="197" y="42"/>
                  </a:lnTo>
                  <a:lnTo>
                    <a:pt x="197" y="42"/>
                  </a:lnTo>
                  <a:lnTo>
                    <a:pt x="183" y="39"/>
                  </a:lnTo>
                  <a:lnTo>
                    <a:pt x="175" y="37"/>
                  </a:lnTo>
                  <a:lnTo>
                    <a:pt x="169" y="34"/>
                  </a:lnTo>
                  <a:lnTo>
                    <a:pt x="169" y="34"/>
                  </a:lnTo>
                  <a:lnTo>
                    <a:pt x="167" y="33"/>
                  </a:lnTo>
                  <a:lnTo>
                    <a:pt x="162" y="30"/>
                  </a:lnTo>
                  <a:lnTo>
                    <a:pt x="159" y="30"/>
                  </a:lnTo>
                  <a:lnTo>
                    <a:pt x="158" y="28"/>
                  </a:lnTo>
                  <a:lnTo>
                    <a:pt x="158" y="28"/>
                  </a:lnTo>
                  <a:lnTo>
                    <a:pt x="159" y="26"/>
                  </a:lnTo>
                  <a:lnTo>
                    <a:pt x="158" y="24"/>
                  </a:lnTo>
                  <a:lnTo>
                    <a:pt x="156" y="21"/>
                  </a:lnTo>
                  <a:lnTo>
                    <a:pt x="155" y="21"/>
                  </a:lnTo>
                  <a:lnTo>
                    <a:pt x="155" y="21"/>
                  </a:lnTo>
                  <a:lnTo>
                    <a:pt x="152" y="26"/>
                  </a:lnTo>
                  <a:lnTo>
                    <a:pt x="151" y="27"/>
                  </a:lnTo>
                  <a:lnTo>
                    <a:pt x="148" y="28"/>
                  </a:lnTo>
                  <a:lnTo>
                    <a:pt x="148" y="28"/>
                  </a:lnTo>
                  <a:lnTo>
                    <a:pt x="142" y="26"/>
                  </a:lnTo>
                  <a:lnTo>
                    <a:pt x="138" y="24"/>
                  </a:lnTo>
                  <a:lnTo>
                    <a:pt x="133" y="24"/>
                  </a:lnTo>
                  <a:lnTo>
                    <a:pt x="133" y="24"/>
                  </a:lnTo>
                  <a:lnTo>
                    <a:pt x="127" y="21"/>
                  </a:lnTo>
                  <a:lnTo>
                    <a:pt x="120" y="18"/>
                  </a:lnTo>
                  <a:lnTo>
                    <a:pt x="112" y="14"/>
                  </a:lnTo>
                  <a:lnTo>
                    <a:pt x="112" y="14"/>
                  </a:lnTo>
                  <a:lnTo>
                    <a:pt x="107" y="20"/>
                  </a:lnTo>
                  <a:lnTo>
                    <a:pt x="104" y="23"/>
                  </a:lnTo>
                  <a:lnTo>
                    <a:pt x="101" y="24"/>
                  </a:lnTo>
                  <a:lnTo>
                    <a:pt x="101" y="24"/>
                  </a:lnTo>
                  <a:lnTo>
                    <a:pt x="97" y="23"/>
                  </a:lnTo>
                  <a:lnTo>
                    <a:pt x="91" y="23"/>
                  </a:lnTo>
                  <a:lnTo>
                    <a:pt x="91" y="23"/>
                  </a:lnTo>
                  <a:lnTo>
                    <a:pt x="84" y="23"/>
                  </a:lnTo>
                  <a:lnTo>
                    <a:pt x="81" y="24"/>
                  </a:lnTo>
                  <a:lnTo>
                    <a:pt x="81" y="24"/>
                  </a:lnTo>
                  <a:lnTo>
                    <a:pt x="81" y="24"/>
                  </a:lnTo>
                  <a:lnTo>
                    <a:pt x="87" y="27"/>
                  </a:lnTo>
                  <a:lnTo>
                    <a:pt x="88" y="28"/>
                  </a:lnTo>
                  <a:lnTo>
                    <a:pt x="88" y="30"/>
                  </a:lnTo>
                  <a:lnTo>
                    <a:pt x="88" y="30"/>
                  </a:lnTo>
                  <a:lnTo>
                    <a:pt x="87" y="31"/>
                  </a:lnTo>
                  <a:lnTo>
                    <a:pt x="87" y="34"/>
                  </a:lnTo>
                  <a:lnTo>
                    <a:pt x="87" y="37"/>
                  </a:lnTo>
                  <a:lnTo>
                    <a:pt x="85" y="39"/>
                  </a:lnTo>
                  <a:lnTo>
                    <a:pt x="85" y="39"/>
                  </a:lnTo>
                  <a:lnTo>
                    <a:pt x="80" y="43"/>
                  </a:lnTo>
                  <a:lnTo>
                    <a:pt x="77" y="44"/>
                  </a:lnTo>
                  <a:lnTo>
                    <a:pt x="74" y="44"/>
                  </a:lnTo>
                  <a:lnTo>
                    <a:pt x="74" y="44"/>
                  </a:lnTo>
                  <a:lnTo>
                    <a:pt x="71" y="43"/>
                  </a:lnTo>
                  <a:lnTo>
                    <a:pt x="71" y="40"/>
                  </a:lnTo>
                  <a:lnTo>
                    <a:pt x="72" y="37"/>
                  </a:lnTo>
                  <a:lnTo>
                    <a:pt x="72" y="37"/>
                  </a:lnTo>
                  <a:lnTo>
                    <a:pt x="72" y="37"/>
                  </a:lnTo>
                  <a:lnTo>
                    <a:pt x="65" y="33"/>
                  </a:lnTo>
                  <a:lnTo>
                    <a:pt x="58" y="28"/>
                  </a:lnTo>
                  <a:close/>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14" name="Freeform 1312"/>
            <p:cNvSpPr>
              <a:spLocks/>
            </p:cNvSpPr>
            <p:nvPr/>
          </p:nvSpPr>
          <p:spPr bwMode="auto">
            <a:xfrm>
              <a:off x="7651751" y="4725988"/>
              <a:ext cx="517525" cy="261938"/>
            </a:xfrm>
            <a:custGeom>
              <a:avLst/>
              <a:gdLst>
                <a:gd name="T0" fmla="*/ 57 w 326"/>
                <a:gd name="T1" fmla="*/ 26 h 165"/>
                <a:gd name="T2" fmla="*/ 55 w 326"/>
                <a:gd name="T3" fmla="*/ 13 h 165"/>
                <a:gd name="T4" fmla="*/ 23 w 326"/>
                <a:gd name="T5" fmla="*/ 1 h 165"/>
                <a:gd name="T6" fmla="*/ 12 w 326"/>
                <a:gd name="T7" fmla="*/ 4 h 165"/>
                <a:gd name="T8" fmla="*/ 0 w 326"/>
                <a:gd name="T9" fmla="*/ 4 h 165"/>
                <a:gd name="T10" fmla="*/ 6 w 326"/>
                <a:gd name="T11" fmla="*/ 7 h 165"/>
                <a:gd name="T12" fmla="*/ 16 w 326"/>
                <a:gd name="T13" fmla="*/ 18 h 165"/>
                <a:gd name="T14" fmla="*/ 45 w 326"/>
                <a:gd name="T15" fmla="*/ 27 h 165"/>
                <a:gd name="T16" fmla="*/ 36 w 326"/>
                <a:gd name="T17" fmla="*/ 36 h 165"/>
                <a:gd name="T18" fmla="*/ 26 w 326"/>
                <a:gd name="T19" fmla="*/ 39 h 165"/>
                <a:gd name="T20" fmla="*/ 39 w 326"/>
                <a:gd name="T21" fmla="*/ 49 h 165"/>
                <a:gd name="T22" fmla="*/ 36 w 326"/>
                <a:gd name="T23" fmla="*/ 57 h 165"/>
                <a:gd name="T24" fmla="*/ 48 w 326"/>
                <a:gd name="T25" fmla="*/ 52 h 165"/>
                <a:gd name="T26" fmla="*/ 52 w 326"/>
                <a:gd name="T27" fmla="*/ 50 h 165"/>
                <a:gd name="T28" fmla="*/ 83 w 326"/>
                <a:gd name="T29" fmla="*/ 63 h 165"/>
                <a:gd name="T30" fmla="*/ 107 w 326"/>
                <a:gd name="T31" fmla="*/ 76 h 165"/>
                <a:gd name="T32" fmla="*/ 125 w 326"/>
                <a:gd name="T33" fmla="*/ 89 h 165"/>
                <a:gd name="T34" fmla="*/ 139 w 326"/>
                <a:gd name="T35" fmla="*/ 114 h 165"/>
                <a:gd name="T36" fmla="*/ 117 w 326"/>
                <a:gd name="T37" fmla="*/ 121 h 165"/>
                <a:gd name="T38" fmla="*/ 119 w 326"/>
                <a:gd name="T39" fmla="*/ 126 h 165"/>
                <a:gd name="T40" fmla="*/ 135 w 326"/>
                <a:gd name="T41" fmla="*/ 124 h 165"/>
                <a:gd name="T42" fmla="*/ 146 w 326"/>
                <a:gd name="T43" fmla="*/ 120 h 165"/>
                <a:gd name="T44" fmla="*/ 155 w 326"/>
                <a:gd name="T45" fmla="*/ 126 h 165"/>
                <a:gd name="T46" fmla="*/ 171 w 326"/>
                <a:gd name="T47" fmla="*/ 141 h 165"/>
                <a:gd name="T48" fmla="*/ 193 w 326"/>
                <a:gd name="T49" fmla="*/ 140 h 165"/>
                <a:gd name="T50" fmla="*/ 203 w 326"/>
                <a:gd name="T51" fmla="*/ 134 h 165"/>
                <a:gd name="T52" fmla="*/ 206 w 326"/>
                <a:gd name="T53" fmla="*/ 123 h 165"/>
                <a:gd name="T54" fmla="*/ 211 w 326"/>
                <a:gd name="T55" fmla="*/ 120 h 165"/>
                <a:gd name="T56" fmla="*/ 226 w 326"/>
                <a:gd name="T57" fmla="*/ 118 h 165"/>
                <a:gd name="T58" fmla="*/ 230 w 326"/>
                <a:gd name="T59" fmla="*/ 117 h 165"/>
                <a:gd name="T60" fmla="*/ 248 w 326"/>
                <a:gd name="T61" fmla="*/ 120 h 165"/>
                <a:gd name="T62" fmla="*/ 259 w 326"/>
                <a:gd name="T63" fmla="*/ 139 h 165"/>
                <a:gd name="T64" fmla="*/ 282 w 326"/>
                <a:gd name="T65" fmla="*/ 153 h 165"/>
                <a:gd name="T66" fmla="*/ 309 w 326"/>
                <a:gd name="T67" fmla="*/ 162 h 165"/>
                <a:gd name="T68" fmla="*/ 323 w 326"/>
                <a:gd name="T69" fmla="*/ 165 h 165"/>
                <a:gd name="T70" fmla="*/ 310 w 326"/>
                <a:gd name="T71" fmla="*/ 150 h 165"/>
                <a:gd name="T72" fmla="*/ 288 w 326"/>
                <a:gd name="T73" fmla="*/ 134 h 165"/>
                <a:gd name="T74" fmla="*/ 264 w 326"/>
                <a:gd name="T75" fmla="*/ 101 h 165"/>
                <a:gd name="T76" fmla="*/ 278 w 326"/>
                <a:gd name="T77" fmla="*/ 99 h 165"/>
                <a:gd name="T78" fmla="*/ 269 w 326"/>
                <a:gd name="T79" fmla="*/ 86 h 165"/>
                <a:gd name="T80" fmla="*/ 245 w 326"/>
                <a:gd name="T81" fmla="*/ 79 h 165"/>
                <a:gd name="T82" fmla="*/ 239 w 326"/>
                <a:gd name="T83" fmla="*/ 68 h 165"/>
                <a:gd name="T84" fmla="*/ 223 w 326"/>
                <a:gd name="T85" fmla="*/ 52 h 165"/>
                <a:gd name="T86" fmla="*/ 197 w 326"/>
                <a:gd name="T87" fmla="*/ 42 h 165"/>
                <a:gd name="T88" fmla="*/ 169 w 326"/>
                <a:gd name="T89" fmla="*/ 34 h 165"/>
                <a:gd name="T90" fmla="*/ 158 w 326"/>
                <a:gd name="T91" fmla="*/ 28 h 165"/>
                <a:gd name="T92" fmla="*/ 155 w 326"/>
                <a:gd name="T93" fmla="*/ 21 h 165"/>
                <a:gd name="T94" fmla="*/ 142 w 326"/>
                <a:gd name="T95" fmla="*/ 26 h 165"/>
                <a:gd name="T96" fmla="*/ 120 w 326"/>
                <a:gd name="T97" fmla="*/ 18 h 165"/>
                <a:gd name="T98" fmla="*/ 101 w 326"/>
                <a:gd name="T99" fmla="*/ 24 h 165"/>
                <a:gd name="T100" fmla="*/ 84 w 326"/>
                <a:gd name="T101" fmla="*/ 23 h 165"/>
                <a:gd name="T102" fmla="*/ 88 w 326"/>
                <a:gd name="T103" fmla="*/ 28 h 165"/>
                <a:gd name="T104" fmla="*/ 87 w 326"/>
                <a:gd name="T105" fmla="*/ 37 h 165"/>
                <a:gd name="T106" fmla="*/ 74 w 326"/>
                <a:gd name="T107" fmla="*/ 44 h 165"/>
                <a:gd name="T108" fmla="*/ 72 w 326"/>
                <a:gd name="T109" fmla="*/ 37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6" h="165">
                  <a:moveTo>
                    <a:pt x="58" y="28"/>
                  </a:moveTo>
                  <a:lnTo>
                    <a:pt x="58" y="28"/>
                  </a:lnTo>
                  <a:lnTo>
                    <a:pt x="57" y="28"/>
                  </a:lnTo>
                  <a:lnTo>
                    <a:pt x="55" y="27"/>
                  </a:lnTo>
                  <a:lnTo>
                    <a:pt x="57" y="26"/>
                  </a:lnTo>
                  <a:lnTo>
                    <a:pt x="58" y="21"/>
                  </a:lnTo>
                  <a:lnTo>
                    <a:pt x="58" y="20"/>
                  </a:lnTo>
                  <a:lnTo>
                    <a:pt x="58" y="17"/>
                  </a:lnTo>
                  <a:lnTo>
                    <a:pt x="58" y="17"/>
                  </a:lnTo>
                  <a:lnTo>
                    <a:pt x="55" y="13"/>
                  </a:lnTo>
                  <a:lnTo>
                    <a:pt x="52" y="10"/>
                  </a:lnTo>
                  <a:lnTo>
                    <a:pt x="46" y="5"/>
                  </a:lnTo>
                  <a:lnTo>
                    <a:pt x="46" y="5"/>
                  </a:lnTo>
                  <a:lnTo>
                    <a:pt x="23" y="1"/>
                  </a:lnTo>
                  <a:lnTo>
                    <a:pt x="23" y="1"/>
                  </a:lnTo>
                  <a:lnTo>
                    <a:pt x="20" y="2"/>
                  </a:lnTo>
                  <a:lnTo>
                    <a:pt x="17" y="2"/>
                  </a:lnTo>
                  <a:lnTo>
                    <a:pt x="15" y="4"/>
                  </a:lnTo>
                  <a:lnTo>
                    <a:pt x="12" y="4"/>
                  </a:lnTo>
                  <a:lnTo>
                    <a:pt x="12" y="4"/>
                  </a:lnTo>
                  <a:lnTo>
                    <a:pt x="4" y="1"/>
                  </a:lnTo>
                  <a:lnTo>
                    <a:pt x="1" y="0"/>
                  </a:lnTo>
                  <a:lnTo>
                    <a:pt x="0" y="0"/>
                  </a:lnTo>
                  <a:lnTo>
                    <a:pt x="0" y="0"/>
                  </a:lnTo>
                  <a:lnTo>
                    <a:pt x="0" y="4"/>
                  </a:lnTo>
                  <a:lnTo>
                    <a:pt x="0" y="7"/>
                  </a:lnTo>
                  <a:lnTo>
                    <a:pt x="3" y="7"/>
                  </a:lnTo>
                  <a:lnTo>
                    <a:pt x="3" y="7"/>
                  </a:lnTo>
                  <a:lnTo>
                    <a:pt x="6" y="7"/>
                  </a:lnTo>
                  <a:lnTo>
                    <a:pt x="6" y="7"/>
                  </a:lnTo>
                  <a:lnTo>
                    <a:pt x="7" y="7"/>
                  </a:lnTo>
                  <a:lnTo>
                    <a:pt x="9" y="8"/>
                  </a:lnTo>
                  <a:lnTo>
                    <a:pt x="9" y="8"/>
                  </a:lnTo>
                  <a:lnTo>
                    <a:pt x="13" y="15"/>
                  </a:lnTo>
                  <a:lnTo>
                    <a:pt x="16" y="18"/>
                  </a:lnTo>
                  <a:lnTo>
                    <a:pt x="23" y="21"/>
                  </a:lnTo>
                  <a:lnTo>
                    <a:pt x="23" y="21"/>
                  </a:lnTo>
                  <a:lnTo>
                    <a:pt x="32" y="26"/>
                  </a:lnTo>
                  <a:lnTo>
                    <a:pt x="39" y="26"/>
                  </a:lnTo>
                  <a:lnTo>
                    <a:pt x="45" y="27"/>
                  </a:lnTo>
                  <a:lnTo>
                    <a:pt x="45" y="27"/>
                  </a:lnTo>
                  <a:lnTo>
                    <a:pt x="42" y="31"/>
                  </a:lnTo>
                  <a:lnTo>
                    <a:pt x="39" y="34"/>
                  </a:lnTo>
                  <a:lnTo>
                    <a:pt x="36" y="36"/>
                  </a:lnTo>
                  <a:lnTo>
                    <a:pt x="36" y="36"/>
                  </a:lnTo>
                  <a:lnTo>
                    <a:pt x="28" y="36"/>
                  </a:lnTo>
                  <a:lnTo>
                    <a:pt x="25" y="37"/>
                  </a:lnTo>
                  <a:lnTo>
                    <a:pt x="25" y="39"/>
                  </a:lnTo>
                  <a:lnTo>
                    <a:pt x="26" y="39"/>
                  </a:lnTo>
                  <a:lnTo>
                    <a:pt x="26" y="39"/>
                  </a:lnTo>
                  <a:lnTo>
                    <a:pt x="36" y="44"/>
                  </a:lnTo>
                  <a:lnTo>
                    <a:pt x="39" y="47"/>
                  </a:lnTo>
                  <a:lnTo>
                    <a:pt x="41" y="49"/>
                  </a:lnTo>
                  <a:lnTo>
                    <a:pt x="39" y="49"/>
                  </a:lnTo>
                  <a:lnTo>
                    <a:pt x="39" y="49"/>
                  </a:lnTo>
                  <a:lnTo>
                    <a:pt x="36" y="50"/>
                  </a:lnTo>
                  <a:lnTo>
                    <a:pt x="35" y="52"/>
                  </a:lnTo>
                  <a:lnTo>
                    <a:pt x="35" y="55"/>
                  </a:lnTo>
                  <a:lnTo>
                    <a:pt x="36" y="57"/>
                  </a:lnTo>
                  <a:lnTo>
                    <a:pt x="36" y="57"/>
                  </a:lnTo>
                  <a:lnTo>
                    <a:pt x="41" y="57"/>
                  </a:lnTo>
                  <a:lnTo>
                    <a:pt x="43" y="56"/>
                  </a:lnTo>
                  <a:lnTo>
                    <a:pt x="46" y="55"/>
                  </a:lnTo>
                  <a:lnTo>
                    <a:pt x="48" y="52"/>
                  </a:lnTo>
                  <a:lnTo>
                    <a:pt x="48" y="52"/>
                  </a:lnTo>
                  <a:lnTo>
                    <a:pt x="46" y="46"/>
                  </a:lnTo>
                  <a:lnTo>
                    <a:pt x="46" y="44"/>
                  </a:lnTo>
                  <a:lnTo>
                    <a:pt x="49" y="46"/>
                  </a:lnTo>
                  <a:lnTo>
                    <a:pt x="49" y="46"/>
                  </a:lnTo>
                  <a:lnTo>
                    <a:pt x="52" y="50"/>
                  </a:lnTo>
                  <a:lnTo>
                    <a:pt x="55" y="52"/>
                  </a:lnTo>
                  <a:lnTo>
                    <a:pt x="59" y="55"/>
                  </a:lnTo>
                  <a:lnTo>
                    <a:pt x="59" y="55"/>
                  </a:lnTo>
                  <a:lnTo>
                    <a:pt x="75" y="60"/>
                  </a:lnTo>
                  <a:lnTo>
                    <a:pt x="83" y="63"/>
                  </a:lnTo>
                  <a:lnTo>
                    <a:pt x="90" y="66"/>
                  </a:lnTo>
                  <a:lnTo>
                    <a:pt x="90" y="66"/>
                  </a:lnTo>
                  <a:lnTo>
                    <a:pt x="99" y="72"/>
                  </a:lnTo>
                  <a:lnTo>
                    <a:pt x="107" y="76"/>
                  </a:lnTo>
                  <a:lnTo>
                    <a:pt x="107" y="76"/>
                  </a:lnTo>
                  <a:lnTo>
                    <a:pt x="110" y="76"/>
                  </a:lnTo>
                  <a:lnTo>
                    <a:pt x="116" y="79"/>
                  </a:lnTo>
                  <a:lnTo>
                    <a:pt x="120" y="84"/>
                  </a:lnTo>
                  <a:lnTo>
                    <a:pt x="125" y="89"/>
                  </a:lnTo>
                  <a:lnTo>
                    <a:pt x="125" y="89"/>
                  </a:lnTo>
                  <a:lnTo>
                    <a:pt x="135" y="104"/>
                  </a:lnTo>
                  <a:lnTo>
                    <a:pt x="139" y="111"/>
                  </a:lnTo>
                  <a:lnTo>
                    <a:pt x="139" y="113"/>
                  </a:lnTo>
                  <a:lnTo>
                    <a:pt x="139" y="114"/>
                  </a:lnTo>
                  <a:lnTo>
                    <a:pt x="139" y="114"/>
                  </a:lnTo>
                  <a:lnTo>
                    <a:pt x="132" y="113"/>
                  </a:lnTo>
                  <a:lnTo>
                    <a:pt x="127" y="111"/>
                  </a:lnTo>
                  <a:lnTo>
                    <a:pt x="125" y="114"/>
                  </a:lnTo>
                  <a:lnTo>
                    <a:pt x="125" y="114"/>
                  </a:lnTo>
                  <a:lnTo>
                    <a:pt x="117" y="121"/>
                  </a:lnTo>
                  <a:lnTo>
                    <a:pt x="114" y="126"/>
                  </a:lnTo>
                  <a:lnTo>
                    <a:pt x="114" y="127"/>
                  </a:lnTo>
                  <a:lnTo>
                    <a:pt x="116" y="127"/>
                  </a:lnTo>
                  <a:lnTo>
                    <a:pt x="116" y="127"/>
                  </a:lnTo>
                  <a:lnTo>
                    <a:pt x="119" y="126"/>
                  </a:lnTo>
                  <a:lnTo>
                    <a:pt x="125" y="124"/>
                  </a:lnTo>
                  <a:lnTo>
                    <a:pt x="130" y="121"/>
                  </a:lnTo>
                  <a:lnTo>
                    <a:pt x="133" y="121"/>
                  </a:lnTo>
                  <a:lnTo>
                    <a:pt x="133" y="121"/>
                  </a:lnTo>
                  <a:lnTo>
                    <a:pt x="135" y="124"/>
                  </a:lnTo>
                  <a:lnTo>
                    <a:pt x="136" y="126"/>
                  </a:lnTo>
                  <a:lnTo>
                    <a:pt x="139" y="126"/>
                  </a:lnTo>
                  <a:lnTo>
                    <a:pt x="139" y="126"/>
                  </a:lnTo>
                  <a:lnTo>
                    <a:pt x="143" y="121"/>
                  </a:lnTo>
                  <a:lnTo>
                    <a:pt x="146" y="120"/>
                  </a:lnTo>
                  <a:lnTo>
                    <a:pt x="148" y="120"/>
                  </a:lnTo>
                  <a:lnTo>
                    <a:pt x="148" y="120"/>
                  </a:lnTo>
                  <a:lnTo>
                    <a:pt x="152" y="121"/>
                  </a:lnTo>
                  <a:lnTo>
                    <a:pt x="154" y="123"/>
                  </a:lnTo>
                  <a:lnTo>
                    <a:pt x="155" y="126"/>
                  </a:lnTo>
                  <a:lnTo>
                    <a:pt x="155" y="126"/>
                  </a:lnTo>
                  <a:lnTo>
                    <a:pt x="158" y="130"/>
                  </a:lnTo>
                  <a:lnTo>
                    <a:pt x="162" y="136"/>
                  </a:lnTo>
                  <a:lnTo>
                    <a:pt x="168" y="140"/>
                  </a:lnTo>
                  <a:lnTo>
                    <a:pt x="171" y="141"/>
                  </a:lnTo>
                  <a:lnTo>
                    <a:pt x="172" y="141"/>
                  </a:lnTo>
                  <a:lnTo>
                    <a:pt x="172" y="141"/>
                  </a:lnTo>
                  <a:lnTo>
                    <a:pt x="183" y="140"/>
                  </a:lnTo>
                  <a:lnTo>
                    <a:pt x="193" y="140"/>
                  </a:lnTo>
                  <a:lnTo>
                    <a:pt x="193" y="140"/>
                  </a:lnTo>
                  <a:lnTo>
                    <a:pt x="201" y="139"/>
                  </a:lnTo>
                  <a:lnTo>
                    <a:pt x="204" y="137"/>
                  </a:lnTo>
                  <a:lnTo>
                    <a:pt x="204" y="136"/>
                  </a:lnTo>
                  <a:lnTo>
                    <a:pt x="203" y="134"/>
                  </a:lnTo>
                  <a:lnTo>
                    <a:pt x="203" y="134"/>
                  </a:lnTo>
                  <a:lnTo>
                    <a:pt x="198" y="128"/>
                  </a:lnTo>
                  <a:lnTo>
                    <a:pt x="197" y="126"/>
                  </a:lnTo>
                  <a:lnTo>
                    <a:pt x="198" y="124"/>
                  </a:lnTo>
                  <a:lnTo>
                    <a:pt x="198" y="124"/>
                  </a:lnTo>
                  <a:lnTo>
                    <a:pt x="206" y="123"/>
                  </a:lnTo>
                  <a:lnTo>
                    <a:pt x="209" y="123"/>
                  </a:lnTo>
                  <a:lnTo>
                    <a:pt x="210" y="123"/>
                  </a:lnTo>
                  <a:lnTo>
                    <a:pt x="210" y="123"/>
                  </a:lnTo>
                  <a:lnTo>
                    <a:pt x="210" y="121"/>
                  </a:lnTo>
                  <a:lnTo>
                    <a:pt x="211" y="120"/>
                  </a:lnTo>
                  <a:lnTo>
                    <a:pt x="216" y="117"/>
                  </a:lnTo>
                  <a:lnTo>
                    <a:pt x="216" y="117"/>
                  </a:lnTo>
                  <a:lnTo>
                    <a:pt x="219" y="117"/>
                  </a:lnTo>
                  <a:lnTo>
                    <a:pt x="223" y="118"/>
                  </a:lnTo>
                  <a:lnTo>
                    <a:pt x="226" y="118"/>
                  </a:lnTo>
                  <a:lnTo>
                    <a:pt x="229" y="118"/>
                  </a:lnTo>
                  <a:lnTo>
                    <a:pt x="229" y="118"/>
                  </a:lnTo>
                  <a:lnTo>
                    <a:pt x="229" y="118"/>
                  </a:lnTo>
                  <a:lnTo>
                    <a:pt x="229" y="117"/>
                  </a:lnTo>
                  <a:lnTo>
                    <a:pt x="230" y="117"/>
                  </a:lnTo>
                  <a:lnTo>
                    <a:pt x="235" y="117"/>
                  </a:lnTo>
                  <a:lnTo>
                    <a:pt x="235" y="117"/>
                  </a:lnTo>
                  <a:lnTo>
                    <a:pt x="243" y="120"/>
                  </a:lnTo>
                  <a:lnTo>
                    <a:pt x="248" y="120"/>
                  </a:lnTo>
                  <a:lnTo>
                    <a:pt x="248" y="120"/>
                  </a:lnTo>
                  <a:lnTo>
                    <a:pt x="249" y="123"/>
                  </a:lnTo>
                  <a:lnTo>
                    <a:pt x="252" y="127"/>
                  </a:lnTo>
                  <a:lnTo>
                    <a:pt x="255" y="131"/>
                  </a:lnTo>
                  <a:lnTo>
                    <a:pt x="255" y="131"/>
                  </a:lnTo>
                  <a:lnTo>
                    <a:pt x="259" y="139"/>
                  </a:lnTo>
                  <a:lnTo>
                    <a:pt x="267" y="147"/>
                  </a:lnTo>
                  <a:lnTo>
                    <a:pt x="267" y="147"/>
                  </a:lnTo>
                  <a:lnTo>
                    <a:pt x="274" y="152"/>
                  </a:lnTo>
                  <a:lnTo>
                    <a:pt x="282" y="153"/>
                  </a:lnTo>
                  <a:lnTo>
                    <a:pt x="282" y="153"/>
                  </a:lnTo>
                  <a:lnTo>
                    <a:pt x="288" y="153"/>
                  </a:lnTo>
                  <a:lnTo>
                    <a:pt x="295" y="156"/>
                  </a:lnTo>
                  <a:lnTo>
                    <a:pt x="306" y="160"/>
                  </a:lnTo>
                  <a:lnTo>
                    <a:pt x="306" y="160"/>
                  </a:lnTo>
                  <a:lnTo>
                    <a:pt x="309" y="162"/>
                  </a:lnTo>
                  <a:lnTo>
                    <a:pt x="310" y="163"/>
                  </a:lnTo>
                  <a:lnTo>
                    <a:pt x="311" y="165"/>
                  </a:lnTo>
                  <a:lnTo>
                    <a:pt x="316" y="165"/>
                  </a:lnTo>
                  <a:lnTo>
                    <a:pt x="316" y="165"/>
                  </a:lnTo>
                  <a:lnTo>
                    <a:pt x="323" y="165"/>
                  </a:lnTo>
                  <a:lnTo>
                    <a:pt x="326" y="163"/>
                  </a:lnTo>
                  <a:lnTo>
                    <a:pt x="324" y="160"/>
                  </a:lnTo>
                  <a:lnTo>
                    <a:pt x="324" y="160"/>
                  </a:lnTo>
                  <a:lnTo>
                    <a:pt x="319" y="156"/>
                  </a:lnTo>
                  <a:lnTo>
                    <a:pt x="310" y="150"/>
                  </a:lnTo>
                  <a:lnTo>
                    <a:pt x="310" y="150"/>
                  </a:lnTo>
                  <a:lnTo>
                    <a:pt x="300" y="141"/>
                  </a:lnTo>
                  <a:lnTo>
                    <a:pt x="291" y="136"/>
                  </a:lnTo>
                  <a:lnTo>
                    <a:pt x="291" y="136"/>
                  </a:lnTo>
                  <a:lnTo>
                    <a:pt x="288" y="134"/>
                  </a:lnTo>
                  <a:lnTo>
                    <a:pt x="285" y="131"/>
                  </a:lnTo>
                  <a:lnTo>
                    <a:pt x="280" y="121"/>
                  </a:lnTo>
                  <a:lnTo>
                    <a:pt x="280" y="121"/>
                  </a:lnTo>
                  <a:lnTo>
                    <a:pt x="268" y="107"/>
                  </a:lnTo>
                  <a:lnTo>
                    <a:pt x="264" y="101"/>
                  </a:lnTo>
                  <a:lnTo>
                    <a:pt x="262" y="99"/>
                  </a:lnTo>
                  <a:lnTo>
                    <a:pt x="264" y="99"/>
                  </a:lnTo>
                  <a:lnTo>
                    <a:pt x="264" y="99"/>
                  </a:lnTo>
                  <a:lnTo>
                    <a:pt x="274" y="99"/>
                  </a:lnTo>
                  <a:lnTo>
                    <a:pt x="278" y="99"/>
                  </a:lnTo>
                  <a:lnTo>
                    <a:pt x="280" y="98"/>
                  </a:lnTo>
                  <a:lnTo>
                    <a:pt x="280" y="98"/>
                  </a:lnTo>
                  <a:lnTo>
                    <a:pt x="280" y="98"/>
                  </a:lnTo>
                  <a:lnTo>
                    <a:pt x="274" y="91"/>
                  </a:lnTo>
                  <a:lnTo>
                    <a:pt x="269" y="86"/>
                  </a:lnTo>
                  <a:lnTo>
                    <a:pt x="264" y="84"/>
                  </a:lnTo>
                  <a:lnTo>
                    <a:pt x="264" y="84"/>
                  </a:lnTo>
                  <a:lnTo>
                    <a:pt x="252" y="82"/>
                  </a:lnTo>
                  <a:lnTo>
                    <a:pt x="246" y="79"/>
                  </a:lnTo>
                  <a:lnTo>
                    <a:pt x="245" y="79"/>
                  </a:lnTo>
                  <a:lnTo>
                    <a:pt x="243" y="78"/>
                  </a:lnTo>
                  <a:lnTo>
                    <a:pt x="243" y="78"/>
                  </a:lnTo>
                  <a:lnTo>
                    <a:pt x="243" y="72"/>
                  </a:lnTo>
                  <a:lnTo>
                    <a:pt x="242" y="70"/>
                  </a:lnTo>
                  <a:lnTo>
                    <a:pt x="239" y="68"/>
                  </a:lnTo>
                  <a:lnTo>
                    <a:pt x="239" y="68"/>
                  </a:lnTo>
                  <a:lnTo>
                    <a:pt x="229" y="60"/>
                  </a:lnTo>
                  <a:lnTo>
                    <a:pt x="225" y="55"/>
                  </a:lnTo>
                  <a:lnTo>
                    <a:pt x="225" y="55"/>
                  </a:lnTo>
                  <a:lnTo>
                    <a:pt x="223" y="52"/>
                  </a:lnTo>
                  <a:lnTo>
                    <a:pt x="216" y="50"/>
                  </a:lnTo>
                  <a:lnTo>
                    <a:pt x="216" y="50"/>
                  </a:lnTo>
                  <a:lnTo>
                    <a:pt x="210" y="49"/>
                  </a:lnTo>
                  <a:lnTo>
                    <a:pt x="206" y="46"/>
                  </a:lnTo>
                  <a:lnTo>
                    <a:pt x="197" y="42"/>
                  </a:lnTo>
                  <a:lnTo>
                    <a:pt x="197" y="42"/>
                  </a:lnTo>
                  <a:lnTo>
                    <a:pt x="183" y="39"/>
                  </a:lnTo>
                  <a:lnTo>
                    <a:pt x="175" y="37"/>
                  </a:lnTo>
                  <a:lnTo>
                    <a:pt x="169" y="34"/>
                  </a:lnTo>
                  <a:lnTo>
                    <a:pt x="169" y="34"/>
                  </a:lnTo>
                  <a:lnTo>
                    <a:pt x="167" y="33"/>
                  </a:lnTo>
                  <a:lnTo>
                    <a:pt x="162" y="30"/>
                  </a:lnTo>
                  <a:lnTo>
                    <a:pt x="159" y="30"/>
                  </a:lnTo>
                  <a:lnTo>
                    <a:pt x="158" y="28"/>
                  </a:lnTo>
                  <a:lnTo>
                    <a:pt x="158" y="28"/>
                  </a:lnTo>
                  <a:lnTo>
                    <a:pt x="159" y="26"/>
                  </a:lnTo>
                  <a:lnTo>
                    <a:pt x="158" y="24"/>
                  </a:lnTo>
                  <a:lnTo>
                    <a:pt x="156" y="21"/>
                  </a:lnTo>
                  <a:lnTo>
                    <a:pt x="155" y="21"/>
                  </a:lnTo>
                  <a:lnTo>
                    <a:pt x="155" y="21"/>
                  </a:lnTo>
                  <a:lnTo>
                    <a:pt x="152" y="26"/>
                  </a:lnTo>
                  <a:lnTo>
                    <a:pt x="151" y="27"/>
                  </a:lnTo>
                  <a:lnTo>
                    <a:pt x="148" y="28"/>
                  </a:lnTo>
                  <a:lnTo>
                    <a:pt x="148" y="28"/>
                  </a:lnTo>
                  <a:lnTo>
                    <a:pt x="142" y="26"/>
                  </a:lnTo>
                  <a:lnTo>
                    <a:pt x="138" y="24"/>
                  </a:lnTo>
                  <a:lnTo>
                    <a:pt x="133" y="24"/>
                  </a:lnTo>
                  <a:lnTo>
                    <a:pt x="133" y="24"/>
                  </a:lnTo>
                  <a:lnTo>
                    <a:pt x="127" y="21"/>
                  </a:lnTo>
                  <a:lnTo>
                    <a:pt x="120" y="18"/>
                  </a:lnTo>
                  <a:lnTo>
                    <a:pt x="112" y="14"/>
                  </a:lnTo>
                  <a:lnTo>
                    <a:pt x="112" y="14"/>
                  </a:lnTo>
                  <a:lnTo>
                    <a:pt x="107" y="20"/>
                  </a:lnTo>
                  <a:lnTo>
                    <a:pt x="104" y="23"/>
                  </a:lnTo>
                  <a:lnTo>
                    <a:pt x="101" y="24"/>
                  </a:lnTo>
                  <a:lnTo>
                    <a:pt x="101" y="24"/>
                  </a:lnTo>
                  <a:lnTo>
                    <a:pt x="97" y="23"/>
                  </a:lnTo>
                  <a:lnTo>
                    <a:pt x="91" y="23"/>
                  </a:lnTo>
                  <a:lnTo>
                    <a:pt x="91" y="23"/>
                  </a:lnTo>
                  <a:lnTo>
                    <a:pt x="84" y="23"/>
                  </a:lnTo>
                  <a:lnTo>
                    <a:pt x="81" y="24"/>
                  </a:lnTo>
                  <a:lnTo>
                    <a:pt x="81" y="24"/>
                  </a:lnTo>
                  <a:lnTo>
                    <a:pt x="81" y="24"/>
                  </a:lnTo>
                  <a:lnTo>
                    <a:pt x="87" y="27"/>
                  </a:lnTo>
                  <a:lnTo>
                    <a:pt x="88" y="28"/>
                  </a:lnTo>
                  <a:lnTo>
                    <a:pt x="88" y="30"/>
                  </a:lnTo>
                  <a:lnTo>
                    <a:pt x="88" y="30"/>
                  </a:lnTo>
                  <a:lnTo>
                    <a:pt x="87" y="31"/>
                  </a:lnTo>
                  <a:lnTo>
                    <a:pt x="87" y="34"/>
                  </a:lnTo>
                  <a:lnTo>
                    <a:pt x="87" y="37"/>
                  </a:lnTo>
                  <a:lnTo>
                    <a:pt x="85" y="39"/>
                  </a:lnTo>
                  <a:lnTo>
                    <a:pt x="85" y="39"/>
                  </a:lnTo>
                  <a:lnTo>
                    <a:pt x="80" y="43"/>
                  </a:lnTo>
                  <a:lnTo>
                    <a:pt x="77" y="44"/>
                  </a:lnTo>
                  <a:lnTo>
                    <a:pt x="74" y="44"/>
                  </a:lnTo>
                  <a:lnTo>
                    <a:pt x="74" y="44"/>
                  </a:lnTo>
                  <a:lnTo>
                    <a:pt x="71" y="43"/>
                  </a:lnTo>
                  <a:lnTo>
                    <a:pt x="71" y="40"/>
                  </a:lnTo>
                  <a:lnTo>
                    <a:pt x="72" y="37"/>
                  </a:lnTo>
                  <a:lnTo>
                    <a:pt x="72" y="37"/>
                  </a:lnTo>
                  <a:lnTo>
                    <a:pt x="72" y="37"/>
                  </a:lnTo>
                  <a:lnTo>
                    <a:pt x="65" y="33"/>
                  </a:lnTo>
                  <a:lnTo>
                    <a:pt x="58"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15" name="Freeform 1313"/>
            <p:cNvSpPr>
              <a:spLocks/>
            </p:cNvSpPr>
            <p:nvPr/>
          </p:nvSpPr>
          <p:spPr bwMode="auto">
            <a:xfrm>
              <a:off x="8116888" y="4840288"/>
              <a:ext cx="84138" cy="26988"/>
            </a:xfrm>
            <a:custGeom>
              <a:avLst/>
              <a:gdLst>
                <a:gd name="T0" fmla="*/ 0 w 53"/>
                <a:gd name="T1" fmla="*/ 14 h 17"/>
                <a:gd name="T2" fmla="*/ 0 w 53"/>
                <a:gd name="T3" fmla="*/ 14 h 17"/>
                <a:gd name="T4" fmla="*/ 5 w 53"/>
                <a:gd name="T5" fmla="*/ 16 h 17"/>
                <a:gd name="T6" fmla="*/ 16 w 53"/>
                <a:gd name="T7" fmla="*/ 17 h 17"/>
                <a:gd name="T8" fmla="*/ 27 w 53"/>
                <a:gd name="T9" fmla="*/ 17 h 17"/>
                <a:gd name="T10" fmla="*/ 34 w 53"/>
                <a:gd name="T11" fmla="*/ 17 h 17"/>
                <a:gd name="T12" fmla="*/ 34 w 53"/>
                <a:gd name="T13" fmla="*/ 17 h 17"/>
                <a:gd name="T14" fmla="*/ 46 w 53"/>
                <a:gd name="T15" fmla="*/ 12 h 17"/>
                <a:gd name="T16" fmla="*/ 52 w 53"/>
                <a:gd name="T17" fmla="*/ 7 h 17"/>
                <a:gd name="T18" fmla="*/ 53 w 53"/>
                <a:gd name="T19" fmla="*/ 6 h 17"/>
                <a:gd name="T20" fmla="*/ 53 w 53"/>
                <a:gd name="T21" fmla="*/ 4 h 17"/>
                <a:gd name="T22" fmla="*/ 53 w 53"/>
                <a:gd name="T23" fmla="*/ 4 h 17"/>
                <a:gd name="T24" fmla="*/ 50 w 53"/>
                <a:gd name="T25" fmla="*/ 1 h 17"/>
                <a:gd name="T26" fmla="*/ 47 w 53"/>
                <a:gd name="T27" fmla="*/ 0 h 17"/>
                <a:gd name="T28" fmla="*/ 43 w 53"/>
                <a:gd name="T29" fmla="*/ 0 h 17"/>
                <a:gd name="T30" fmla="*/ 42 w 53"/>
                <a:gd name="T31" fmla="*/ 0 h 17"/>
                <a:gd name="T32" fmla="*/ 42 w 53"/>
                <a:gd name="T33" fmla="*/ 0 h 17"/>
                <a:gd name="T34" fmla="*/ 34 w 53"/>
                <a:gd name="T35" fmla="*/ 6 h 17"/>
                <a:gd name="T36" fmla="*/ 29 w 53"/>
                <a:gd name="T37" fmla="*/ 9 h 17"/>
                <a:gd name="T38" fmla="*/ 26 w 53"/>
                <a:gd name="T39" fmla="*/ 10 h 17"/>
                <a:gd name="T40" fmla="*/ 26 w 53"/>
                <a:gd name="T41" fmla="*/ 10 h 17"/>
                <a:gd name="T42" fmla="*/ 24 w 53"/>
                <a:gd name="T43" fmla="*/ 9 h 17"/>
                <a:gd name="T44" fmla="*/ 23 w 53"/>
                <a:gd name="T45" fmla="*/ 7 h 17"/>
                <a:gd name="T46" fmla="*/ 23 w 53"/>
                <a:gd name="T47" fmla="*/ 7 h 17"/>
                <a:gd name="T48" fmla="*/ 21 w 53"/>
                <a:gd name="T49" fmla="*/ 7 h 17"/>
                <a:gd name="T50" fmla="*/ 21 w 53"/>
                <a:gd name="T51" fmla="*/ 7 h 17"/>
                <a:gd name="T52" fmla="*/ 8 w 53"/>
                <a:gd name="T53" fmla="*/ 10 h 17"/>
                <a:gd name="T54" fmla="*/ 2 w 53"/>
                <a:gd name="T55" fmla="*/ 12 h 17"/>
                <a:gd name="T56" fmla="*/ 0 w 53"/>
                <a:gd name="T57" fmla="*/ 13 h 17"/>
                <a:gd name="T58" fmla="*/ 0 w 53"/>
                <a:gd name="T59"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17">
                  <a:moveTo>
                    <a:pt x="0" y="14"/>
                  </a:moveTo>
                  <a:lnTo>
                    <a:pt x="0" y="14"/>
                  </a:lnTo>
                  <a:lnTo>
                    <a:pt x="5" y="16"/>
                  </a:lnTo>
                  <a:lnTo>
                    <a:pt x="16" y="17"/>
                  </a:lnTo>
                  <a:lnTo>
                    <a:pt x="27" y="17"/>
                  </a:lnTo>
                  <a:lnTo>
                    <a:pt x="34" y="17"/>
                  </a:lnTo>
                  <a:lnTo>
                    <a:pt x="34" y="17"/>
                  </a:lnTo>
                  <a:lnTo>
                    <a:pt x="46" y="12"/>
                  </a:lnTo>
                  <a:lnTo>
                    <a:pt x="52" y="7"/>
                  </a:lnTo>
                  <a:lnTo>
                    <a:pt x="53" y="6"/>
                  </a:lnTo>
                  <a:lnTo>
                    <a:pt x="53" y="4"/>
                  </a:lnTo>
                  <a:lnTo>
                    <a:pt x="53" y="4"/>
                  </a:lnTo>
                  <a:lnTo>
                    <a:pt x="50" y="1"/>
                  </a:lnTo>
                  <a:lnTo>
                    <a:pt x="47" y="0"/>
                  </a:lnTo>
                  <a:lnTo>
                    <a:pt x="43" y="0"/>
                  </a:lnTo>
                  <a:lnTo>
                    <a:pt x="42" y="0"/>
                  </a:lnTo>
                  <a:lnTo>
                    <a:pt x="42" y="0"/>
                  </a:lnTo>
                  <a:lnTo>
                    <a:pt x="34" y="6"/>
                  </a:lnTo>
                  <a:lnTo>
                    <a:pt x="29" y="9"/>
                  </a:lnTo>
                  <a:lnTo>
                    <a:pt x="26" y="10"/>
                  </a:lnTo>
                  <a:lnTo>
                    <a:pt x="26" y="10"/>
                  </a:lnTo>
                  <a:lnTo>
                    <a:pt x="24" y="9"/>
                  </a:lnTo>
                  <a:lnTo>
                    <a:pt x="23" y="7"/>
                  </a:lnTo>
                  <a:lnTo>
                    <a:pt x="23" y="7"/>
                  </a:lnTo>
                  <a:lnTo>
                    <a:pt x="21" y="7"/>
                  </a:lnTo>
                  <a:lnTo>
                    <a:pt x="21" y="7"/>
                  </a:lnTo>
                  <a:lnTo>
                    <a:pt x="8" y="10"/>
                  </a:lnTo>
                  <a:lnTo>
                    <a:pt x="2" y="12"/>
                  </a:lnTo>
                  <a:lnTo>
                    <a:pt x="0" y="13"/>
                  </a:lnTo>
                  <a:lnTo>
                    <a:pt x="0" y="14"/>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16" name="Freeform 1314"/>
            <p:cNvSpPr>
              <a:spLocks/>
            </p:cNvSpPr>
            <p:nvPr/>
          </p:nvSpPr>
          <p:spPr bwMode="auto">
            <a:xfrm>
              <a:off x="8116888" y="4840288"/>
              <a:ext cx="84138" cy="26988"/>
            </a:xfrm>
            <a:custGeom>
              <a:avLst/>
              <a:gdLst>
                <a:gd name="T0" fmla="*/ 0 w 53"/>
                <a:gd name="T1" fmla="*/ 14 h 17"/>
                <a:gd name="T2" fmla="*/ 0 w 53"/>
                <a:gd name="T3" fmla="*/ 14 h 17"/>
                <a:gd name="T4" fmla="*/ 5 w 53"/>
                <a:gd name="T5" fmla="*/ 16 h 17"/>
                <a:gd name="T6" fmla="*/ 16 w 53"/>
                <a:gd name="T7" fmla="*/ 17 h 17"/>
                <a:gd name="T8" fmla="*/ 27 w 53"/>
                <a:gd name="T9" fmla="*/ 17 h 17"/>
                <a:gd name="T10" fmla="*/ 34 w 53"/>
                <a:gd name="T11" fmla="*/ 17 h 17"/>
                <a:gd name="T12" fmla="*/ 34 w 53"/>
                <a:gd name="T13" fmla="*/ 17 h 17"/>
                <a:gd name="T14" fmla="*/ 46 w 53"/>
                <a:gd name="T15" fmla="*/ 12 h 17"/>
                <a:gd name="T16" fmla="*/ 52 w 53"/>
                <a:gd name="T17" fmla="*/ 7 h 17"/>
                <a:gd name="T18" fmla="*/ 53 w 53"/>
                <a:gd name="T19" fmla="*/ 6 h 17"/>
                <a:gd name="T20" fmla="*/ 53 w 53"/>
                <a:gd name="T21" fmla="*/ 4 h 17"/>
                <a:gd name="T22" fmla="*/ 53 w 53"/>
                <a:gd name="T23" fmla="*/ 4 h 17"/>
                <a:gd name="T24" fmla="*/ 50 w 53"/>
                <a:gd name="T25" fmla="*/ 1 h 17"/>
                <a:gd name="T26" fmla="*/ 47 w 53"/>
                <a:gd name="T27" fmla="*/ 0 h 17"/>
                <a:gd name="T28" fmla="*/ 43 w 53"/>
                <a:gd name="T29" fmla="*/ 0 h 17"/>
                <a:gd name="T30" fmla="*/ 42 w 53"/>
                <a:gd name="T31" fmla="*/ 0 h 17"/>
                <a:gd name="T32" fmla="*/ 42 w 53"/>
                <a:gd name="T33" fmla="*/ 0 h 17"/>
                <a:gd name="T34" fmla="*/ 34 w 53"/>
                <a:gd name="T35" fmla="*/ 6 h 17"/>
                <a:gd name="T36" fmla="*/ 29 w 53"/>
                <a:gd name="T37" fmla="*/ 9 h 17"/>
                <a:gd name="T38" fmla="*/ 26 w 53"/>
                <a:gd name="T39" fmla="*/ 10 h 17"/>
                <a:gd name="T40" fmla="*/ 26 w 53"/>
                <a:gd name="T41" fmla="*/ 10 h 17"/>
                <a:gd name="T42" fmla="*/ 24 w 53"/>
                <a:gd name="T43" fmla="*/ 9 h 17"/>
                <a:gd name="T44" fmla="*/ 23 w 53"/>
                <a:gd name="T45" fmla="*/ 7 h 17"/>
                <a:gd name="T46" fmla="*/ 23 w 53"/>
                <a:gd name="T47" fmla="*/ 7 h 17"/>
                <a:gd name="T48" fmla="*/ 21 w 53"/>
                <a:gd name="T49" fmla="*/ 7 h 17"/>
                <a:gd name="T50" fmla="*/ 21 w 53"/>
                <a:gd name="T51" fmla="*/ 7 h 17"/>
                <a:gd name="T52" fmla="*/ 8 w 53"/>
                <a:gd name="T53" fmla="*/ 10 h 17"/>
                <a:gd name="T54" fmla="*/ 2 w 53"/>
                <a:gd name="T55" fmla="*/ 12 h 17"/>
                <a:gd name="T56" fmla="*/ 0 w 53"/>
                <a:gd name="T57" fmla="*/ 13 h 17"/>
                <a:gd name="T58" fmla="*/ 0 w 53"/>
                <a:gd name="T59"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17">
                  <a:moveTo>
                    <a:pt x="0" y="14"/>
                  </a:moveTo>
                  <a:lnTo>
                    <a:pt x="0" y="14"/>
                  </a:lnTo>
                  <a:lnTo>
                    <a:pt x="5" y="16"/>
                  </a:lnTo>
                  <a:lnTo>
                    <a:pt x="16" y="17"/>
                  </a:lnTo>
                  <a:lnTo>
                    <a:pt x="27" y="17"/>
                  </a:lnTo>
                  <a:lnTo>
                    <a:pt x="34" y="17"/>
                  </a:lnTo>
                  <a:lnTo>
                    <a:pt x="34" y="17"/>
                  </a:lnTo>
                  <a:lnTo>
                    <a:pt x="46" y="12"/>
                  </a:lnTo>
                  <a:lnTo>
                    <a:pt x="52" y="7"/>
                  </a:lnTo>
                  <a:lnTo>
                    <a:pt x="53" y="6"/>
                  </a:lnTo>
                  <a:lnTo>
                    <a:pt x="53" y="4"/>
                  </a:lnTo>
                  <a:lnTo>
                    <a:pt x="53" y="4"/>
                  </a:lnTo>
                  <a:lnTo>
                    <a:pt x="50" y="1"/>
                  </a:lnTo>
                  <a:lnTo>
                    <a:pt x="47" y="0"/>
                  </a:lnTo>
                  <a:lnTo>
                    <a:pt x="43" y="0"/>
                  </a:lnTo>
                  <a:lnTo>
                    <a:pt x="42" y="0"/>
                  </a:lnTo>
                  <a:lnTo>
                    <a:pt x="42" y="0"/>
                  </a:lnTo>
                  <a:lnTo>
                    <a:pt x="34" y="6"/>
                  </a:lnTo>
                  <a:lnTo>
                    <a:pt x="29" y="9"/>
                  </a:lnTo>
                  <a:lnTo>
                    <a:pt x="26" y="10"/>
                  </a:lnTo>
                  <a:lnTo>
                    <a:pt x="26" y="10"/>
                  </a:lnTo>
                  <a:lnTo>
                    <a:pt x="24" y="9"/>
                  </a:lnTo>
                  <a:lnTo>
                    <a:pt x="23" y="7"/>
                  </a:lnTo>
                  <a:lnTo>
                    <a:pt x="23" y="7"/>
                  </a:lnTo>
                  <a:lnTo>
                    <a:pt x="21" y="7"/>
                  </a:lnTo>
                  <a:lnTo>
                    <a:pt x="21" y="7"/>
                  </a:lnTo>
                  <a:lnTo>
                    <a:pt x="8" y="10"/>
                  </a:lnTo>
                  <a:lnTo>
                    <a:pt x="2" y="12"/>
                  </a:lnTo>
                  <a:lnTo>
                    <a:pt x="0" y="13"/>
                  </a:lnTo>
                  <a:lnTo>
                    <a:pt x="0" y="14"/>
                  </a:lnTo>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17" name="Freeform 1315"/>
            <p:cNvSpPr>
              <a:spLocks/>
            </p:cNvSpPr>
            <p:nvPr/>
          </p:nvSpPr>
          <p:spPr bwMode="auto">
            <a:xfrm>
              <a:off x="8275638" y="4860926"/>
              <a:ext cx="23813" cy="26988"/>
            </a:xfrm>
            <a:custGeom>
              <a:avLst/>
              <a:gdLst>
                <a:gd name="T0" fmla="*/ 8 w 15"/>
                <a:gd name="T1" fmla="*/ 17 h 17"/>
                <a:gd name="T2" fmla="*/ 8 w 15"/>
                <a:gd name="T3" fmla="*/ 17 h 17"/>
                <a:gd name="T4" fmla="*/ 4 w 15"/>
                <a:gd name="T5" fmla="*/ 13 h 17"/>
                <a:gd name="T6" fmla="*/ 1 w 15"/>
                <a:gd name="T7" fmla="*/ 7 h 17"/>
                <a:gd name="T8" fmla="*/ 0 w 15"/>
                <a:gd name="T9" fmla="*/ 1 h 17"/>
                <a:gd name="T10" fmla="*/ 0 w 15"/>
                <a:gd name="T11" fmla="*/ 0 h 17"/>
                <a:gd name="T12" fmla="*/ 2 w 15"/>
                <a:gd name="T13" fmla="*/ 0 h 17"/>
                <a:gd name="T14" fmla="*/ 2 w 15"/>
                <a:gd name="T15" fmla="*/ 0 h 17"/>
                <a:gd name="T16" fmla="*/ 8 w 15"/>
                <a:gd name="T17" fmla="*/ 4 h 17"/>
                <a:gd name="T18" fmla="*/ 14 w 15"/>
                <a:gd name="T19" fmla="*/ 10 h 17"/>
                <a:gd name="T20" fmla="*/ 15 w 15"/>
                <a:gd name="T21" fmla="*/ 13 h 17"/>
                <a:gd name="T22" fmla="*/ 15 w 15"/>
                <a:gd name="T23" fmla="*/ 16 h 17"/>
                <a:gd name="T24" fmla="*/ 14 w 15"/>
                <a:gd name="T25" fmla="*/ 17 h 17"/>
                <a:gd name="T26" fmla="*/ 8 w 15"/>
                <a:gd name="T2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7">
                  <a:moveTo>
                    <a:pt x="8" y="17"/>
                  </a:moveTo>
                  <a:lnTo>
                    <a:pt x="8" y="17"/>
                  </a:lnTo>
                  <a:lnTo>
                    <a:pt x="4" y="13"/>
                  </a:lnTo>
                  <a:lnTo>
                    <a:pt x="1" y="7"/>
                  </a:lnTo>
                  <a:lnTo>
                    <a:pt x="0" y="1"/>
                  </a:lnTo>
                  <a:lnTo>
                    <a:pt x="0" y="0"/>
                  </a:lnTo>
                  <a:lnTo>
                    <a:pt x="2" y="0"/>
                  </a:lnTo>
                  <a:lnTo>
                    <a:pt x="2" y="0"/>
                  </a:lnTo>
                  <a:lnTo>
                    <a:pt x="8" y="4"/>
                  </a:lnTo>
                  <a:lnTo>
                    <a:pt x="14" y="10"/>
                  </a:lnTo>
                  <a:lnTo>
                    <a:pt x="15" y="13"/>
                  </a:lnTo>
                  <a:lnTo>
                    <a:pt x="15" y="16"/>
                  </a:lnTo>
                  <a:lnTo>
                    <a:pt x="14" y="17"/>
                  </a:lnTo>
                  <a:lnTo>
                    <a:pt x="8" y="17"/>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18" name="Freeform 1316"/>
            <p:cNvSpPr>
              <a:spLocks/>
            </p:cNvSpPr>
            <p:nvPr/>
          </p:nvSpPr>
          <p:spPr bwMode="auto">
            <a:xfrm>
              <a:off x="8275638" y="4860926"/>
              <a:ext cx="23813" cy="26988"/>
            </a:xfrm>
            <a:custGeom>
              <a:avLst/>
              <a:gdLst>
                <a:gd name="T0" fmla="*/ 8 w 15"/>
                <a:gd name="T1" fmla="*/ 17 h 17"/>
                <a:gd name="T2" fmla="*/ 8 w 15"/>
                <a:gd name="T3" fmla="*/ 17 h 17"/>
                <a:gd name="T4" fmla="*/ 4 w 15"/>
                <a:gd name="T5" fmla="*/ 13 h 17"/>
                <a:gd name="T6" fmla="*/ 1 w 15"/>
                <a:gd name="T7" fmla="*/ 7 h 17"/>
                <a:gd name="T8" fmla="*/ 0 w 15"/>
                <a:gd name="T9" fmla="*/ 1 h 17"/>
                <a:gd name="T10" fmla="*/ 0 w 15"/>
                <a:gd name="T11" fmla="*/ 0 h 17"/>
                <a:gd name="T12" fmla="*/ 2 w 15"/>
                <a:gd name="T13" fmla="*/ 0 h 17"/>
                <a:gd name="T14" fmla="*/ 2 w 15"/>
                <a:gd name="T15" fmla="*/ 0 h 17"/>
                <a:gd name="T16" fmla="*/ 8 w 15"/>
                <a:gd name="T17" fmla="*/ 4 h 17"/>
                <a:gd name="T18" fmla="*/ 14 w 15"/>
                <a:gd name="T19" fmla="*/ 10 h 17"/>
                <a:gd name="T20" fmla="*/ 15 w 15"/>
                <a:gd name="T21" fmla="*/ 13 h 17"/>
                <a:gd name="T22" fmla="*/ 15 w 15"/>
                <a:gd name="T23" fmla="*/ 16 h 17"/>
                <a:gd name="T24" fmla="*/ 14 w 15"/>
                <a:gd name="T25" fmla="*/ 17 h 17"/>
                <a:gd name="T26" fmla="*/ 8 w 15"/>
                <a:gd name="T2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7">
                  <a:moveTo>
                    <a:pt x="8" y="17"/>
                  </a:moveTo>
                  <a:lnTo>
                    <a:pt x="8" y="17"/>
                  </a:lnTo>
                  <a:lnTo>
                    <a:pt x="4" y="13"/>
                  </a:lnTo>
                  <a:lnTo>
                    <a:pt x="1" y="7"/>
                  </a:lnTo>
                  <a:lnTo>
                    <a:pt x="0" y="1"/>
                  </a:lnTo>
                  <a:lnTo>
                    <a:pt x="0" y="0"/>
                  </a:lnTo>
                  <a:lnTo>
                    <a:pt x="2" y="0"/>
                  </a:lnTo>
                  <a:lnTo>
                    <a:pt x="2" y="0"/>
                  </a:lnTo>
                  <a:lnTo>
                    <a:pt x="8" y="4"/>
                  </a:lnTo>
                  <a:lnTo>
                    <a:pt x="14" y="10"/>
                  </a:lnTo>
                  <a:lnTo>
                    <a:pt x="15" y="13"/>
                  </a:lnTo>
                  <a:lnTo>
                    <a:pt x="15" y="16"/>
                  </a:lnTo>
                  <a:lnTo>
                    <a:pt x="14" y="17"/>
                  </a:lnTo>
                  <a:lnTo>
                    <a:pt x="8" y="17"/>
                  </a:lnTo>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pic>
          <p:nvPicPr>
            <p:cNvPr id="719" name="Picture 132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97888" y="5226051"/>
              <a:ext cx="90488" cy="6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20" name="Freeform 1322"/>
            <p:cNvSpPr>
              <a:spLocks/>
            </p:cNvSpPr>
            <p:nvPr/>
          </p:nvSpPr>
          <p:spPr bwMode="auto">
            <a:xfrm>
              <a:off x="8816976" y="5157788"/>
              <a:ext cx="33338" cy="25400"/>
            </a:xfrm>
            <a:custGeom>
              <a:avLst/>
              <a:gdLst>
                <a:gd name="T0" fmla="*/ 15 w 21"/>
                <a:gd name="T1" fmla="*/ 16 h 16"/>
                <a:gd name="T2" fmla="*/ 15 w 21"/>
                <a:gd name="T3" fmla="*/ 16 h 16"/>
                <a:gd name="T4" fmla="*/ 6 w 21"/>
                <a:gd name="T5" fmla="*/ 16 h 16"/>
                <a:gd name="T6" fmla="*/ 2 w 21"/>
                <a:gd name="T7" fmla="*/ 13 h 16"/>
                <a:gd name="T8" fmla="*/ 0 w 21"/>
                <a:gd name="T9" fmla="*/ 11 h 16"/>
                <a:gd name="T10" fmla="*/ 0 w 21"/>
                <a:gd name="T11" fmla="*/ 11 h 16"/>
                <a:gd name="T12" fmla="*/ 0 w 21"/>
                <a:gd name="T13" fmla="*/ 9 h 16"/>
                <a:gd name="T14" fmla="*/ 0 w 21"/>
                <a:gd name="T15" fmla="*/ 9 h 16"/>
                <a:gd name="T16" fmla="*/ 3 w 21"/>
                <a:gd name="T17" fmla="*/ 6 h 16"/>
                <a:gd name="T18" fmla="*/ 6 w 21"/>
                <a:gd name="T19" fmla="*/ 4 h 16"/>
                <a:gd name="T20" fmla="*/ 9 w 21"/>
                <a:gd name="T21" fmla="*/ 3 h 16"/>
                <a:gd name="T22" fmla="*/ 10 w 21"/>
                <a:gd name="T23" fmla="*/ 1 h 16"/>
                <a:gd name="T24" fmla="*/ 10 w 21"/>
                <a:gd name="T25" fmla="*/ 1 h 16"/>
                <a:gd name="T26" fmla="*/ 10 w 21"/>
                <a:gd name="T27" fmla="*/ 0 h 16"/>
                <a:gd name="T28" fmla="*/ 10 w 21"/>
                <a:gd name="T29" fmla="*/ 0 h 16"/>
                <a:gd name="T30" fmla="*/ 13 w 21"/>
                <a:gd name="T31" fmla="*/ 1 h 16"/>
                <a:gd name="T32" fmla="*/ 18 w 21"/>
                <a:gd name="T33" fmla="*/ 6 h 16"/>
                <a:gd name="T34" fmla="*/ 18 w 21"/>
                <a:gd name="T35" fmla="*/ 6 h 16"/>
                <a:gd name="T36" fmla="*/ 19 w 21"/>
                <a:gd name="T37" fmla="*/ 9 h 16"/>
                <a:gd name="T38" fmla="*/ 21 w 21"/>
                <a:gd name="T39" fmla="*/ 11 h 16"/>
                <a:gd name="T40" fmla="*/ 21 w 21"/>
                <a:gd name="T41" fmla="*/ 11 h 16"/>
                <a:gd name="T42" fmla="*/ 19 w 21"/>
                <a:gd name="T43" fmla="*/ 14 h 16"/>
                <a:gd name="T44" fmla="*/ 18 w 21"/>
                <a:gd name="T45" fmla="*/ 16 h 16"/>
                <a:gd name="T46" fmla="*/ 15 w 21"/>
                <a:gd name="T4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 h="16">
                  <a:moveTo>
                    <a:pt x="15" y="16"/>
                  </a:moveTo>
                  <a:lnTo>
                    <a:pt x="15" y="16"/>
                  </a:lnTo>
                  <a:lnTo>
                    <a:pt x="6" y="16"/>
                  </a:lnTo>
                  <a:lnTo>
                    <a:pt x="2" y="13"/>
                  </a:lnTo>
                  <a:lnTo>
                    <a:pt x="0" y="11"/>
                  </a:lnTo>
                  <a:lnTo>
                    <a:pt x="0" y="11"/>
                  </a:lnTo>
                  <a:lnTo>
                    <a:pt x="0" y="9"/>
                  </a:lnTo>
                  <a:lnTo>
                    <a:pt x="0" y="9"/>
                  </a:lnTo>
                  <a:lnTo>
                    <a:pt x="3" y="6"/>
                  </a:lnTo>
                  <a:lnTo>
                    <a:pt x="6" y="4"/>
                  </a:lnTo>
                  <a:lnTo>
                    <a:pt x="9" y="3"/>
                  </a:lnTo>
                  <a:lnTo>
                    <a:pt x="10" y="1"/>
                  </a:lnTo>
                  <a:lnTo>
                    <a:pt x="10" y="1"/>
                  </a:lnTo>
                  <a:lnTo>
                    <a:pt x="10" y="0"/>
                  </a:lnTo>
                  <a:lnTo>
                    <a:pt x="10" y="0"/>
                  </a:lnTo>
                  <a:lnTo>
                    <a:pt x="13" y="1"/>
                  </a:lnTo>
                  <a:lnTo>
                    <a:pt x="18" y="6"/>
                  </a:lnTo>
                  <a:lnTo>
                    <a:pt x="18" y="6"/>
                  </a:lnTo>
                  <a:lnTo>
                    <a:pt x="19" y="9"/>
                  </a:lnTo>
                  <a:lnTo>
                    <a:pt x="21" y="11"/>
                  </a:lnTo>
                  <a:lnTo>
                    <a:pt x="21" y="11"/>
                  </a:lnTo>
                  <a:lnTo>
                    <a:pt x="19" y="14"/>
                  </a:lnTo>
                  <a:lnTo>
                    <a:pt x="18" y="16"/>
                  </a:lnTo>
                  <a:lnTo>
                    <a:pt x="15" y="16"/>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21" name="Freeform 1323"/>
            <p:cNvSpPr>
              <a:spLocks/>
            </p:cNvSpPr>
            <p:nvPr/>
          </p:nvSpPr>
          <p:spPr bwMode="auto">
            <a:xfrm>
              <a:off x="8816976" y="5157788"/>
              <a:ext cx="33338" cy="25400"/>
            </a:xfrm>
            <a:custGeom>
              <a:avLst/>
              <a:gdLst>
                <a:gd name="T0" fmla="*/ 15 w 21"/>
                <a:gd name="T1" fmla="*/ 16 h 16"/>
                <a:gd name="T2" fmla="*/ 15 w 21"/>
                <a:gd name="T3" fmla="*/ 16 h 16"/>
                <a:gd name="T4" fmla="*/ 6 w 21"/>
                <a:gd name="T5" fmla="*/ 16 h 16"/>
                <a:gd name="T6" fmla="*/ 2 w 21"/>
                <a:gd name="T7" fmla="*/ 13 h 16"/>
                <a:gd name="T8" fmla="*/ 0 w 21"/>
                <a:gd name="T9" fmla="*/ 11 h 16"/>
                <a:gd name="T10" fmla="*/ 0 w 21"/>
                <a:gd name="T11" fmla="*/ 11 h 16"/>
                <a:gd name="T12" fmla="*/ 0 w 21"/>
                <a:gd name="T13" fmla="*/ 9 h 16"/>
                <a:gd name="T14" fmla="*/ 0 w 21"/>
                <a:gd name="T15" fmla="*/ 9 h 16"/>
                <a:gd name="T16" fmla="*/ 3 w 21"/>
                <a:gd name="T17" fmla="*/ 6 h 16"/>
                <a:gd name="T18" fmla="*/ 6 w 21"/>
                <a:gd name="T19" fmla="*/ 4 h 16"/>
                <a:gd name="T20" fmla="*/ 9 w 21"/>
                <a:gd name="T21" fmla="*/ 3 h 16"/>
                <a:gd name="T22" fmla="*/ 10 w 21"/>
                <a:gd name="T23" fmla="*/ 1 h 16"/>
                <a:gd name="T24" fmla="*/ 10 w 21"/>
                <a:gd name="T25" fmla="*/ 1 h 16"/>
                <a:gd name="T26" fmla="*/ 10 w 21"/>
                <a:gd name="T27" fmla="*/ 0 h 16"/>
                <a:gd name="T28" fmla="*/ 10 w 21"/>
                <a:gd name="T29" fmla="*/ 0 h 16"/>
                <a:gd name="T30" fmla="*/ 13 w 21"/>
                <a:gd name="T31" fmla="*/ 1 h 16"/>
                <a:gd name="T32" fmla="*/ 18 w 21"/>
                <a:gd name="T33" fmla="*/ 6 h 16"/>
                <a:gd name="T34" fmla="*/ 18 w 21"/>
                <a:gd name="T35" fmla="*/ 6 h 16"/>
                <a:gd name="T36" fmla="*/ 19 w 21"/>
                <a:gd name="T37" fmla="*/ 9 h 16"/>
                <a:gd name="T38" fmla="*/ 21 w 21"/>
                <a:gd name="T39" fmla="*/ 11 h 16"/>
                <a:gd name="T40" fmla="*/ 21 w 21"/>
                <a:gd name="T41" fmla="*/ 11 h 16"/>
                <a:gd name="T42" fmla="*/ 19 w 21"/>
                <a:gd name="T43" fmla="*/ 14 h 16"/>
                <a:gd name="T44" fmla="*/ 18 w 21"/>
                <a:gd name="T45" fmla="*/ 16 h 16"/>
                <a:gd name="T46" fmla="*/ 15 w 21"/>
                <a:gd name="T4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 h="16">
                  <a:moveTo>
                    <a:pt x="15" y="16"/>
                  </a:moveTo>
                  <a:lnTo>
                    <a:pt x="15" y="16"/>
                  </a:lnTo>
                  <a:lnTo>
                    <a:pt x="6" y="16"/>
                  </a:lnTo>
                  <a:lnTo>
                    <a:pt x="2" y="13"/>
                  </a:lnTo>
                  <a:lnTo>
                    <a:pt x="0" y="11"/>
                  </a:lnTo>
                  <a:lnTo>
                    <a:pt x="0" y="11"/>
                  </a:lnTo>
                  <a:lnTo>
                    <a:pt x="0" y="9"/>
                  </a:lnTo>
                  <a:lnTo>
                    <a:pt x="0" y="9"/>
                  </a:lnTo>
                  <a:lnTo>
                    <a:pt x="3" y="6"/>
                  </a:lnTo>
                  <a:lnTo>
                    <a:pt x="6" y="4"/>
                  </a:lnTo>
                  <a:lnTo>
                    <a:pt x="9" y="3"/>
                  </a:lnTo>
                  <a:lnTo>
                    <a:pt x="10" y="1"/>
                  </a:lnTo>
                  <a:lnTo>
                    <a:pt x="10" y="1"/>
                  </a:lnTo>
                  <a:lnTo>
                    <a:pt x="10" y="0"/>
                  </a:lnTo>
                  <a:lnTo>
                    <a:pt x="10" y="0"/>
                  </a:lnTo>
                  <a:lnTo>
                    <a:pt x="13" y="1"/>
                  </a:lnTo>
                  <a:lnTo>
                    <a:pt x="18" y="6"/>
                  </a:lnTo>
                  <a:lnTo>
                    <a:pt x="18" y="6"/>
                  </a:lnTo>
                  <a:lnTo>
                    <a:pt x="19" y="9"/>
                  </a:lnTo>
                  <a:lnTo>
                    <a:pt x="21" y="11"/>
                  </a:lnTo>
                  <a:lnTo>
                    <a:pt x="21" y="11"/>
                  </a:lnTo>
                  <a:lnTo>
                    <a:pt x="19" y="14"/>
                  </a:lnTo>
                  <a:lnTo>
                    <a:pt x="18" y="16"/>
                  </a:lnTo>
                  <a:lnTo>
                    <a:pt x="15"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22" name="Freeform 1324"/>
            <p:cNvSpPr>
              <a:spLocks/>
            </p:cNvSpPr>
            <p:nvPr/>
          </p:nvSpPr>
          <p:spPr bwMode="auto">
            <a:xfrm>
              <a:off x="8842376" y="5126038"/>
              <a:ext cx="28575" cy="17463"/>
            </a:xfrm>
            <a:custGeom>
              <a:avLst/>
              <a:gdLst>
                <a:gd name="T0" fmla="*/ 6 w 18"/>
                <a:gd name="T1" fmla="*/ 11 h 11"/>
                <a:gd name="T2" fmla="*/ 6 w 18"/>
                <a:gd name="T3" fmla="*/ 11 h 11"/>
                <a:gd name="T4" fmla="*/ 2 w 18"/>
                <a:gd name="T5" fmla="*/ 11 h 11"/>
                <a:gd name="T6" fmla="*/ 2 w 18"/>
                <a:gd name="T7" fmla="*/ 11 h 11"/>
                <a:gd name="T8" fmla="*/ 0 w 18"/>
                <a:gd name="T9" fmla="*/ 8 h 11"/>
                <a:gd name="T10" fmla="*/ 0 w 18"/>
                <a:gd name="T11" fmla="*/ 8 h 11"/>
                <a:gd name="T12" fmla="*/ 2 w 18"/>
                <a:gd name="T13" fmla="*/ 7 h 11"/>
                <a:gd name="T14" fmla="*/ 5 w 18"/>
                <a:gd name="T15" fmla="*/ 5 h 11"/>
                <a:gd name="T16" fmla="*/ 5 w 18"/>
                <a:gd name="T17" fmla="*/ 5 h 11"/>
                <a:gd name="T18" fmla="*/ 12 w 18"/>
                <a:gd name="T19" fmla="*/ 2 h 11"/>
                <a:gd name="T20" fmla="*/ 18 w 18"/>
                <a:gd name="T21" fmla="*/ 0 h 11"/>
                <a:gd name="T22" fmla="*/ 18 w 18"/>
                <a:gd name="T23" fmla="*/ 0 h 11"/>
                <a:gd name="T24" fmla="*/ 18 w 18"/>
                <a:gd name="T25" fmla="*/ 1 h 11"/>
                <a:gd name="T26" fmla="*/ 18 w 18"/>
                <a:gd name="T27" fmla="*/ 1 h 11"/>
                <a:gd name="T28" fmla="*/ 18 w 18"/>
                <a:gd name="T29" fmla="*/ 1 h 11"/>
                <a:gd name="T30" fmla="*/ 18 w 18"/>
                <a:gd name="T31" fmla="*/ 4 h 11"/>
                <a:gd name="T32" fmla="*/ 15 w 18"/>
                <a:gd name="T33" fmla="*/ 8 h 11"/>
                <a:gd name="T34" fmla="*/ 10 w 18"/>
                <a:gd name="T35" fmla="*/ 10 h 11"/>
                <a:gd name="T36" fmla="*/ 6 w 18"/>
                <a:gd name="T3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11">
                  <a:moveTo>
                    <a:pt x="6" y="11"/>
                  </a:moveTo>
                  <a:lnTo>
                    <a:pt x="6" y="11"/>
                  </a:lnTo>
                  <a:lnTo>
                    <a:pt x="2" y="11"/>
                  </a:lnTo>
                  <a:lnTo>
                    <a:pt x="2" y="11"/>
                  </a:lnTo>
                  <a:lnTo>
                    <a:pt x="0" y="8"/>
                  </a:lnTo>
                  <a:lnTo>
                    <a:pt x="0" y="8"/>
                  </a:lnTo>
                  <a:lnTo>
                    <a:pt x="2" y="7"/>
                  </a:lnTo>
                  <a:lnTo>
                    <a:pt x="5" y="5"/>
                  </a:lnTo>
                  <a:lnTo>
                    <a:pt x="5" y="5"/>
                  </a:lnTo>
                  <a:lnTo>
                    <a:pt x="12" y="2"/>
                  </a:lnTo>
                  <a:lnTo>
                    <a:pt x="18" y="0"/>
                  </a:lnTo>
                  <a:lnTo>
                    <a:pt x="18" y="0"/>
                  </a:lnTo>
                  <a:lnTo>
                    <a:pt x="18" y="1"/>
                  </a:lnTo>
                  <a:lnTo>
                    <a:pt x="18" y="1"/>
                  </a:lnTo>
                  <a:lnTo>
                    <a:pt x="18" y="1"/>
                  </a:lnTo>
                  <a:lnTo>
                    <a:pt x="18" y="4"/>
                  </a:lnTo>
                  <a:lnTo>
                    <a:pt x="15" y="8"/>
                  </a:lnTo>
                  <a:lnTo>
                    <a:pt x="10" y="10"/>
                  </a:lnTo>
                  <a:lnTo>
                    <a:pt x="6" y="11"/>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23" name="Freeform 1325"/>
            <p:cNvSpPr>
              <a:spLocks/>
            </p:cNvSpPr>
            <p:nvPr/>
          </p:nvSpPr>
          <p:spPr bwMode="auto">
            <a:xfrm>
              <a:off x="8842376" y="5126038"/>
              <a:ext cx="28575" cy="17463"/>
            </a:xfrm>
            <a:custGeom>
              <a:avLst/>
              <a:gdLst>
                <a:gd name="T0" fmla="*/ 6 w 18"/>
                <a:gd name="T1" fmla="*/ 11 h 11"/>
                <a:gd name="T2" fmla="*/ 6 w 18"/>
                <a:gd name="T3" fmla="*/ 11 h 11"/>
                <a:gd name="T4" fmla="*/ 2 w 18"/>
                <a:gd name="T5" fmla="*/ 11 h 11"/>
                <a:gd name="T6" fmla="*/ 2 w 18"/>
                <a:gd name="T7" fmla="*/ 11 h 11"/>
                <a:gd name="T8" fmla="*/ 0 w 18"/>
                <a:gd name="T9" fmla="*/ 8 h 11"/>
                <a:gd name="T10" fmla="*/ 0 w 18"/>
                <a:gd name="T11" fmla="*/ 8 h 11"/>
                <a:gd name="T12" fmla="*/ 2 w 18"/>
                <a:gd name="T13" fmla="*/ 7 h 11"/>
                <a:gd name="T14" fmla="*/ 5 w 18"/>
                <a:gd name="T15" fmla="*/ 5 h 11"/>
                <a:gd name="T16" fmla="*/ 5 w 18"/>
                <a:gd name="T17" fmla="*/ 5 h 11"/>
                <a:gd name="T18" fmla="*/ 12 w 18"/>
                <a:gd name="T19" fmla="*/ 2 h 11"/>
                <a:gd name="T20" fmla="*/ 18 w 18"/>
                <a:gd name="T21" fmla="*/ 0 h 11"/>
                <a:gd name="T22" fmla="*/ 18 w 18"/>
                <a:gd name="T23" fmla="*/ 0 h 11"/>
                <a:gd name="T24" fmla="*/ 18 w 18"/>
                <a:gd name="T25" fmla="*/ 1 h 11"/>
                <a:gd name="T26" fmla="*/ 18 w 18"/>
                <a:gd name="T27" fmla="*/ 1 h 11"/>
                <a:gd name="T28" fmla="*/ 18 w 18"/>
                <a:gd name="T29" fmla="*/ 1 h 11"/>
                <a:gd name="T30" fmla="*/ 18 w 18"/>
                <a:gd name="T31" fmla="*/ 4 h 11"/>
                <a:gd name="T32" fmla="*/ 15 w 18"/>
                <a:gd name="T33" fmla="*/ 8 h 11"/>
                <a:gd name="T34" fmla="*/ 10 w 18"/>
                <a:gd name="T35" fmla="*/ 10 h 11"/>
                <a:gd name="T36" fmla="*/ 6 w 18"/>
                <a:gd name="T3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11">
                  <a:moveTo>
                    <a:pt x="6" y="11"/>
                  </a:moveTo>
                  <a:lnTo>
                    <a:pt x="6" y="11"/>
                  </a:lnTo>
                  <a:lnTo>
                    <a:pt x="2" y="11"/>
                  </a:lnTo>
                  <a:lnTo>
                    <a:pt x="2" y="11"/>
                  </a:lnTo>
                  <a:lnTo>
                    <a:pt x="0" y="8"/>
                  </a:lnTo>
                  <a:lnTo>
                    <a:pt x="0" y="8"/>
                  </a:lnTo>
                  <a:lnTo>
                    <a:pt x="2" y="7"/>
                  </a:lnTo>
                  <a:lnTo>
                    <a:pt x="5" y="5"/>
                  </a:lnTo>
                  <a:lnTo>
                    <a:pt x="5" y="5"/>
                  </a:lnTo>
                  <a:lnTo>
                    <a:pt x="12" y="2"/>
                  </a:lnTo>
                  <a:lnTo>
                    <a:pt x="18" y="0"/>
                  </a:lnTo>
                  <a:lnTo>
                    <a:pt x="18" y="0"/>
                  </a:lnTo>
                  <a:lnTo>
                    <a:pt x="18" y="1"/>
                  </a:lnTo>
                  <a:lnTo>
                    <a:pt x="18" y="1"/>
                  </a:lnTo>
                  <a:lnTo>
                    <a:pt x="18" y="1"/>
                  </a:lnTo>
                  <a:lnTo>
                    <a:pt x="18" y="4"/>
                  </a:lnTo>
                  <a:lnTo>
                    <a:pt x="15" y="8"/>
                  </a:lnTo>
                  <a:lnTo>
                    <a:pt x="10" y="10"/>
                  </a:lnTo>
                  <a:lnTo>
                    <a:pt x="6"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24" name="Freeform 1326"/>
            <p:cNvSpPr>
              <a:spLocks/>
            </p:cNvSpPr>
            <p:nvPr/>
          </p:nvSpPr>
          <p:spPr bwMode="auto">
            <a:xfrm>
              <a:off x="9058276" y="5056188"/>
              <a:ext cx="17463" cy="6350"/>
            </a:xfrm>
            <a:custGeom>
              <a:avLst/>
              <a:gdLst>
                <a:gd name="T0" fmla="*/ 5 w 11"/>
                <a:gd name="T1" fmla="*/ 4 h 4"/>
                <a:gd name="T2" fmla="*/ 5 w 11"/>
                <a:gd name="T3" fmla="*/ 4 h 4"/>
                <a:gd name="T4" fmla="*/ 2 w 11"/>
                <a:gd name="T5" fmla="*/ 3 h 4"/>
                <a:gd name="T6" fmla="*/ 0 w 11"/>
                <a:gd name="T7" fmla="*/ 2 h 4"/>
                <a:gd name="T8" fmla="*/ 0 w 11"/>
                <a:gd name="T9" fmla="*/ 2 h 4"/>
                <a:gd name="T10" fmla="*/ 2 w 11"/>
                <a:gd name="T11" fmla="*/ 0 h 4"/>
                <a:gd name="T12" fmla="*/ 3 w 11"/>
                <a:gd name="T13" fmla="*/ 0 h 4"/>
                <a:gd name="T14" fmla="*/ 3 w 11"/>
                <a:gd name="T15" fmla="*/ 0 h 4"/>
                <a:gd name="T16" fmla="*/ 8 w 11"/>
                <a:gd name="T17" fmla="*/ 0 h 4"/>
                <a:gd name="T18" fmla="*/ 11 w 11"/>
                <a:gd name="T19" fmla="*/ 0 h 4"/>
                <a:gd name="T20" fmla="*/ 11 w 11"/>
                <a:gd name="T21" fmla="*/ 0 h 4"/>
                <a:gd name="T22" fmla="*/ 6 w 11"/>
                <a:gd name="T23" fmla="*/ 3 h 4"/>
                <a:gd name="T24" fmla="*/ 6 w 11"/>
                <a:gd name="T25" fmla="*/ 3 h 4"/>
                <a:gd name="T26" fmla="*/ 5 w 11"/>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4">
                  <a:moveTo>
                    <a:pt x="5" y="4"/>
                  </a:moveTo>
                  <a:lnTo>
                    <a:pt x="5" y="4"/>
                  </a:lnTo>
                  <a:lnTo>
                    <a:pt x="2" y="3"/>
                  </a:lnTo>
                  <a:lnTo>
                    <a:pt x="0" y="2"/>
                  </a:lnTo>
                  <a:lnTo>
                    <a:pt x="0" y="2"/>
                  </a:lnTo>
                  <a:lnTo>
                    <a:pt x="2" y="0"/>
                  </a:lnTo>
                  <a:lnTo>
                    <a:pt x="3" y="0"/>
                  </a:lnTo>
                  <a:lnTo>
                    <a:pt x="3" y="0"/>
                  </a:lnTo>
                  <a:lnTo>
                    <a:pt x="8" y="0"/>
                  </a:lnTo>
                  <a:lnTo>
                    <a:pt x="11" y="0"/>
                  </a:lnTo>
                  <a:lnTo>
                    <a:pt x="11" y="0"/>
                  </a:lnTo>
                  <a:lnTo>
                    <a:pt x="6" y="3"/>
                  </a:lnTo>
                  <a:lnTo>
                    <a:pt x="6" y="3"/>
                  </a:lnTo>
                  <a:lnTo>
                    <a:pt x="5" y="4"/>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25" name="Freeform 1327"/>
            <p:cNvSpPr>
              <a:spLocks/>
            </p:cNvSpPr>
            <p:nvPr/>
          </p:nvSpPr>
          <p:spPr bwMode="auto">
            <a:xfrm>
              <a:off x="9058276" y="5056188"/>
              <a:ext cx="17463" cy="6350"/>
            </a:xfrm>
            <a:custGeom>
              <a:avLst/>
              <a:gdLst>
                <a:gd name="T0" fmla="*/ 5 w 11"/>
                <a:gd name="T1" fmla="*/ 4 h 4"/>
                <a:gd name="T2" fmla="*/ 5 w 11"/>
                <a:gd name="T3" fmla="*/ 4 h 4"/>
                <a:gd name="T4" fmla="*/ 2 w 11"/>
                <a:gd name="T5" fmla="*/ 3 h 4"/>
                <a:gd name="T6" fmla="*/ 0 w 11"/>
                <a:gd name="T7" fmla="*/ 2 h 4"/>
                <a:gd name="T8" fmla="*/ 0 w 11"/>
                <a:gd name="T9" fmla="*/ 2 h 4"/>
                <a:gd name="T10" fmla="*/ 2 w 11"/>
                <a:gd name="T11" fmla="*/ 0 h 4"/>
                <a:gd name="T12" fmla="*/ 3 w 11"/>
                <a:gd name="T13" fmla="*/ 0 h 4"/>
                <a:gd name="T14" fmla="*/ 3 w 11"/>
                <a:gd name="T15" fmla="*/ 0 h 4"/>
                <a:gd name="T16" fmla="*/ 8 w 11"/>
                <a:gd name="T17" fmla="*/ 0 h 4"/>
                <a:gd name="T18" fmla="*/ 11 w 11"/>
                <a:gd name="T19" fmla="*/ 0 h 4"/>
                <a:gd name="T20" fmla="*/ 11 w 11"/>
                <a:gd name="T21" fmla="*/ 0 h 4"/>
                <a:gd name="T22" fmla="*/ 6 w 11"/>
                <a:gd name="T23" fmla="*/ 3 h 4"/>
                <a:gd name="T24" fmla="*/ 6 w 11"/>
                <a:gd name="T25" fmla="*/ 3 h 4"/>
                <a:gd name="T26" fmla="*/ 5 w 11"/>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4">
                  <a:moveTo>
                    <a:pt x="5" y="4"/>
                  </a:moveTo>
                  <a:lnTo>
                    <a:pt x="5" y="4"/>
                  </a:lnTo>
                  <a:lnTo>
                    <a:pt x="2" y="3"/>
                  </a:lnTo>
                  <a:lnTo>
                    <a:pt x="0" y="2"/>
                  </a:lnTo>
                  <a:lnTo>
                    <a:pt x="0" y="2"/>
                  </a:lnTo>
                  <a:lnTo>
                    <a:pt x="2" y="0"/>
                  </a:lnTo>
                  <a:lnTo>
                    <a:pt x="3" y="0"/>
                  </a:lnTo>
                  <a:lnTo>
                    <a:pt x="3" y="0"/>
                  </a:lnTo>
                  <a:lnTo>
                    <a:pt x="8" y="0"/>
                  </a:lnTo>
                  <a:lnTo>
                    <a:pt x="11" y="0"/>
                  </a:lnTo>
                  <a:lnTo>
                    <a:pt x="11" y="0"/>
                  </a:lnTo>
                  <a:lnTo>
                    <a:pt x="6" y="3"/>
                  </a:lnTo>
                  <a:lnTo>
                    <a:pt x="6" y="3"/>
                  </a:lnTo>
                  <a:lnTo>
                    <a:pt x="5"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26" name="Freeform 1328"/>
            <p:cNvSpPr>
              <a:spLocks/>
            </p:cNvSpPr>
            <p:nvPr/>
          </p:nvSpPr>
          <p:spPr bwMode="auto">
            <a:xfrm>
              <a:off x="8569326" y="5091113"/>
              <a:ext cx="20638" cy="25400"/>
            </a:xfrm>
            <a:custGeom>
              <a:avLst/>
              <a:gdLst>
                <a:gd name="T0" fmla="*/ 9 w 13"/>
                <a:gd name="T1" fmla="*/ 16 h 16"/>
                <a:gd name="T2" fmla="*/ 9 w 13"/>
                <a:gd name="T3" fmla="*/ 16 h 16"/>
                <a:gd name="T4" fmla="*/ 7 w 13"/>
                <a:gd name="T5" fmla="*/ 16 h 16"/>
                <a:gd name="T6" fmla="*/ 7 w 13"/>
                <a:gd name="T7" fmla="*/ 16 h 16"/>
                <a:gd name="T8" fmla="*/ 3 w 13"/>
                <a:gd name="T9" fmla="*/ 10 h 16"/>
                <a:gd name="T10" fmla="*/ 1 w 13"/>
                <a:gd name="T11" fmla="*/ 6 h 16"/>
                <a:gd name="T12" fmla="*/ 0 w 13"/>
                <a:gd name="T13" fmla="*/ 1 h 16"/>
                <a:gd name="T14" fmla="*/ 0 w 13"/>
                <a:gd name="T15" fmla="*/ 1 h 16"/>
                <a:gd name="T16" fmla="*/ 1 w 13"/>
                <a:gd name="T17" fmla="*/ 0 h 16"/>
                <a:gd name="T18" fmla="*/ 3 w 13"/>
                <a:gd name="T19" fmla="*/ 0 h 16"/>
                <a:gd name="T20" fmla="*/ 3 w 13"/>
                <a:gd name="T21" fmla="*/ 0 h 16"/>
                <a:gd name="T22" fmla="*/ 3 w 13"/>
                <a:gd name="T23" fmla="*/ 0 h 16"/>
                <a:gd name="T24" fmla="*/ 3 w 13"/>
                <a:gd name="T25" fmla="*/ 0 h 16"/>
                <a:gd name="T26" fmla="*/ 7 w 13"/>
                <a:gd name="T27" fmla="*/ 1 h 16"/>
                <a:gd name="T28" fmla="*/ 10 w 13"/>
                <a:gd name="T29" fmla="*/ 4 h 16"/>
                <a:gd name="T30" fmla="*/ 13 w 13"/>
                <a:gd name="T31" fmla="*/ 9 h 16"/>
                <a:gd name="T32" fmla="*/ 13 w 13"/>
                <a:gd name="T33" fmla="*/ 9 h 16"/>
                <a:gd name="T34" fmla="*/ 13 w 13"/>
                <a:gd name="T35" fmla="*/ 10 h 16"/>
                <a:gd name="T36" fmla="*/ 13 w 13"/>
                <a:gd name="T37" fmla="*/ 10 h 16"/>
                <a:gd name="T38" fmla="*/ 12 w 13"/>
                <a:gd name="T39" fmla="*/ 14 h 16"/>
                <a:gd name="T40" fmla="*/ 10 w 13"/>
                <a:gd name="T41" fmla="*/ 16 h 16"/>
                <a:gd name="T42" fmla="*/ 9 w 13"/>
                <a:gd name="T4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16">
                  <a:moveTo>
                    <a:pt x="9" y="16"/>
                  </a:moveTo>
                  <a:lnTo>
                    <a:pt x="9" y="16"/>
                  </a:lnTo>
                  <a:lnTo>
                    <a:pt x="7" y="16"/>
                  </a:lnTo>
                  <a:lnTo>
                    <a:pt x="7" y="16"/>
                  </a:lnTo>
                  <a:lnTo>
                    <a:pt x="3" y="10"/>
                  </a:lnTo>
                  <a:lnTo>
                    <a:pt x="1" y="6"/>
                  </a:lnTo>
                  <a:lnTo>
                    <a:pt x="0" y="1"/>
                  </a:lnTo>
                  <a:lnTo>
                    <a:pt x="0" y="1"/>
                  </a:lnTo>
                  <a:lnTo>
                    <a:pt x="1" y="0"/>
                  </a:lnTo>
                  <a:lnTo>
                    <a:pt x="3" y="0"/>
                  </a:lnTo>
                  <a:lnTo>
                    <a:pt x="3" y="0"/>
                  </a:lnTo>
                  <a:lnTo>
                    <a:pt x="3" y="0"/>
                  </a:lnTo>
                  <a:lnTo>
                    <a:pt x="3" y="0"/>
                  </a:lnTo>
                  <a:lnTo>
                    <a:pt x="7" y="1"/>
                  </a:lnTo>
                  <a:lnTo>
                    <a:pt x="10" y="4"/>
                  </a:lnTo>
                  <a:lnTo>
                    <a:pt x="13" y="9"/>
                  </a:lnTo>
                  <a:lnTo>
                    <a:pt x="13" y="9"/>
                  </a:lnTo>
                  <a:lnTo>
                    <a:pt x="13" y="10"/>
                  </a:lnTo>
                  <a:lnTo>
                    <a:pt x="13" y="10"/>
                  </a:lnTo>
                  <a:lnTo>
                    <a:pt x="12" y="14"/>
                  </a:lnTo>
                  <a:lnTo>
                    <a:pt x="10" y="16"/>
                  </a:lnTo>
                  <a:lnTo>
                    <a:pt x="9" y="16"/>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27" name="Freeform 1329"/>
            <p:cNvSpPr>
              <a:spLocks/>
            </p:cNvSpPr>
            <p:nvPr/>
          </p:nvSpPr>
          <p:spPr bwMode="auto">
            <a:xfrm>
              <a:off x="8569326" y="5091113"/>
              <a:ext cx="20638" cy="25400"/>
            </a:xfrm>
            <a:custGeom>
              <a:avLst/>
              <a:gdLst>
                <a:gd name="T0" fmla="*/ 9 w 13"/>
                <a:gd name="T1" fmla="*/ 16 h 16"/>
                <a:gd name="T2" fmla="*/ 9 w 13"/>
                <a:gd name="T3" fmla="*/ 16 h 16"/>
                <a:gd name="T4" fmla="*/ 7 w 13"/>
                <a:gd name="T5" fmla="*/ 16 h 16"/>
                <a:gd name="T6" fmla="*/ 7 w 13"/>
                <a:gd name="T7" fmla="*/ 16 h 16"/>
                <a:gd name="T8" fmla="*/ 3 w 13"/>
                <a:gd name="T9" fmla="*/ 10 h 16"/>
                <a:gd name="T10" fmla="*/ 1 w 13"/>
                <a:gd name="T11" fmla="*/ 6 h 16"/>
                <a:gd name="T12" fmla="*/ 0 w 13"/>
                <a:gd name="T13" fmla="*/ 1 h 16"/>
                <a:gd name="T14" fmla="*/ 0 w 13"/>
                <a:gd name="T15" fmla="*/ 1 h 16"/>
                <a:gd name="T16" fmla="*/ 1 w 13"/>
                <a:gd name="T17" fmla="*/ 0 h 16"/>
                <a:gd name="T18" fmla="*/ 3 w 13"/>
                <a:gd name="T19" fmla="*/ 0 h 16"/>
                <a:gd name="T20" fmla="*/ 3 w 13"/>
                <a:gd name="T21" fmla="*/ 0 h 16"/>
                <a:gd name="T22" fmla="*/ 3 w 13"/>
                <a:gd name="T23" fmla="*/ 0 h 16"/>
                <a:gd name="T24" fmla="*/ 3 w 13"/>
                <a:gd name="T25" fmla="*/ 0 h 16"/>
                <a:gd name="T26" fmla="*/ 7 w 13"/>
                <a:gd name="T27" fmla="*/ 1 h 16"/>
                <a:gd name="T28" fmla="*/ 10 w 13"/>
                <a:gd name="T29" fmla="*/ 4 h 16"/>
                <a:gd name="T30" fmla="*/ 13 w 13"/>
                <a:gd name="T31" fmla="*/ 9 h 16"/>
                <a:gd name="T32" fmla="*/ 13 w 13"/>
                <a:gd name="T33" fmla="*/ 9 h 16"/>
                <a:gd name="T34" fmla="*/ 13 w 13"/>
                <a:gd name="T35" fmla="*/ 10 h 16"/>
                <a:gd name="T36" fmla="*/ 13 w 13"/>
                <a:gd name="T37" fmla="*/ 10 h 16"/>
                <a:gd name="T38" fmla="*/ 12 w 13"/>
                <a:gd name="T39" fmla="*/ 14 h 16"/>
                <a:gd name="T40" fmla="*/ 10 w 13"/>
                <a:gd name="T41" fmla="*/ 16 h 16"/>
                <a:gd name="T42" fmla="*/ 9 w 13"/>
                <a:gd name="T4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16">
                  <a:moveTo>
                    <a:pt x="9" y="16"/>
                  </a:moveTo>
                  <a:lnTo>
                    <a:pt x="9" y="16"/>
                  </a:lnTo>
                  <a:lnTo>
                    <a:pt x="7" y="16"/>
                  </a:lnTo>
                  <a:lnTo>
                    <a:pt x="7" y="16"/>
                  </a:lnTo>
                  <a:lnTo>
                    <a:pt x="3" y="10"/>
                  </a:lnTo>
                  <a:lnTo>
                    <a:pt x="1" y="6"/>
                  </a:lnTo>
                  <a:lnTo>
                    <a:pt x="0" y="1"/>
                  </a:lnTo>
                  <a:lnTo>
                    <a:pt x="0" y="1"/>
                  </a:lnTo>
                  <a:lnTo>
                    <a:pt x="1" y="0"/>
                  </a:lnTo>
                  <a:lnTo>
                    <a:pt x="3" y="0"/>
                  </a:lnTo>
                  <a:lnTo>
                    <a:pt x="3" y="0"/>
                  </a:lnTo>
                  <a:lnTo>
                    <a:pt x="3" y="0"/>
                  </a:lnTo>
                  <a:lnTo>
                    <a:pt x="3" y="0"/>
                  </a:lnTo>
                  <a:lnTo>
                    <a:pt x="7" y="1"/>
                  </a:lnTo>
                  <a:lnTo>
                    <a:pt x="10" y="4"/>
                  </a:lnTo>
                  <a:lnTo>
                    <a:pt x="13" y="9"/>
                  </a:lnTo>
                  <a:lnTo>
                    <a:pt x="13" y="9"/>
                  </a:lnTo>
                  <a:lnTo>
                    <a:pt x="13" y="10"/>
                  </a:lnTo>
                  <a:lnTo>
                    <a:pt x="13" y="10"/>
                  </a:lnTo>
                  <a:lnTo>
                    <a:pt x="12" y="14"/>
                  </a:lnTo>
                  <a:lnTo>
                    <a:pt x="10" y="16"/>
                  </a:lnTo>
                  <a:lnTo>
                    <a:pt x="9"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28" name="Freeform 1330"/>
            <p:cNvSpPr>
              <a:spLocks/>
            </p:cNvSpPr>
            <p:nvPr/>
          </p:nvSpPr>
          <p:spPr bwMode="auto">
            <a:xfrm>
              <a:off x="8194676" y="4821238"/>
              <a:ext cx="15875" cy="15875"/>
            </a:xfrm>
            <a:custGeom>
              <a:avLst/>
              <a:gdLst>
                <a:gd name="T0" fmla="*/ 6 w 10"/>
                <a:gd name="T1" fmla="*/ 9 h 10"/>
                <a:gd name="T2" fmla="*/ 6 w 10"/>
                <a:gd name="T3" fmla="*/ 9 h 10"/>
                <a:gd name="T4" fmla="*/ 1 w 10"/>
                <a:gd name="T5" fmla="*/ 5 h 10"/>
                <a:gd name="T6" fmla="*/ 0 w 10"/>
                <a:gd name="T7" fmla="*/ 2 h 10"/>
                <a:gd name="T8" fmla="*/ 0 w 10"/>
                <a:gd name="T9" fmla="*/ 0 h 10"/>
                <a:gd name="T10" fmla="*/ 0 w 10"/>
                <a:gd name="T11" fmla="*/ 0 h 10"/>
                <a:gd name="T12" fmla="*/ 6 w 10"/>
                <a:gd name="T13" fmla="*/ 0 h 10"/>
                <a:gd name="T14" fmla="*/ 9 w 10"/>
                <a:gd name="T15" fmla="*/ 0 h 10"/>
                <a:gd name="T16" fmla="*/ 10 w 10"/>
                <a:gd name="T17" fmla="*/ 2 h 10"/>
                <a:gd name="T18" fmla="*/ 10 w 10"/>
                <a:gd name="T19" fmla="*/ 2 h 10"/>
                <a:gd name="T20" fmla="*/ 10 w 10"/>
                <a:gd name="T21" fmla="*/ 8 h 10"/>
                <a:gd name="T22" fmla="*/ 9 w 10"/>
                <a:gd name="T23" fmla="*/ 10 h 10"/>
                <a:gd name="T24" fmla="*/ 7 w 10"/>
                <a:gd name="T25" fmla="*/ 10 h 10"/>
                <a:gd name="T26" fmla="*/ 6 w 10"/>
                <a:gd name="T2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10">
                  <a:moveTo>
                    <a:pt x="6" y="9"/>
                  </a:moveTo>
                  <a:lnTo>
                    <a:pt x="6" y="9"/>
                  </a:lnTo>
                  <a:lnTo>
                    <a:pt x="1" y="5"/>
                  </a:lnTo>
                  <a:lnTo>
                    <a:pt x="0" y="2"/>
                  </a:lnTo>
                  <a:lnTo>
                    <a:pt x="0" y="0"/>
                  </a:lnTo>
                  <a:lnTo>
                    <a:pt x="0" y="0"/>
                  </a:lnTo>
                  <a:lnTo>
                    <a:pt x="6" y="0"/>
                  </a:lnTo>
                  <a:lnTo>
                    <a:pt x="9" y="0"/>
                  </a:lnTo>
                  <a:lnTo>
                    <a:pt x="10" y="2"/>
                  </a:lnTo>
                  <a:lnTo>
                    <a:pt x="10" y="2"/>
                  </a:lnTo>
                  <a:lnTo>
                    <a:pt x="10" y="8"/>
                  </a:lnTo>
                  <a:lnTo>
                    <a:pt x="9" y="10"/>
                  </a:lnTo>
                  <a:lnTo>
                    <a:pt x="7" y="10"/>
                  </a:lnTo>
                  <a:lnTo>
                    <a:pt x="6" y="9"/>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29" name="Freeform 1331"/>
            <p:cNvSpPr>
              <a:spLocks/>
            </p:cNvSpPr>
            <p:nvPr/>
          </p:nvSpPr>
          <p:spPr bwMode="auto">
            <a:xfrm>
              <a:off x="8194676" y="4821238"/>
              <a:ext cx="15875" cy="15875"/>
            </a:xfrm>
            <a:custGeom>
              <a:avLst/>
              <a:gdLst>
                <a:gd name="T0" fmla="*/ 6 w 10"/>
                <a:gd name="T1" fmla="*/ 9 h 10"/>
                <a:gd name="T2" fmla="*/ 6 w 10"/>
                <a:gd name="T3" fmla="*/ 9 h 10"/>
                <a:gd name="T4" fmla="*/ 1 w 10"/>
                <a:gd name="T5" fmla="*/ 5 h 10"/>
                <a:gd name="T6" fmla="*/ 0 w 10"/>
                <a:gd name="T7" fmla="*/ 2 h 10"/>
                <a:gd name="T8" fmla="*/ 0 w 10"/>
                <a:gd name="T9" fmla="*/ 0 h 10"/>
                <a:gd name="T10" fmla="*/ 0 w 10"/>
                <a:gd name="T11" fmla="*/ 0 h 10"/>
                <a:gd name="T12" fmla="*/ 6 w 10"/>
                <a:gd name="T13" fmla="*/ 0 h 10"/>
                <a:gd name="T14" fmla="*/ 9 w 10"/>
                <a:gd name="T15" fmla="*/ 0 h 10"/>
                <a:gd name="T16" fmla="*/ 10 w 10"/>
                <a:gd name="T17" fmla="*/ 2 h 10"/>
                <a:gd name="T18" fmla="*/ 10 w 10"/>
                <a:gd name="T19" fmla="*/ 2 h 10"/>
                <a:gd name="T20" fmla="*/ 10 w 10"/>
                <a:gd name="T21" fmla="*/ 8 h 10"/>
                <a:gd name="T22" fmla="*/ 9 w 10"/>
                <a:gd name="T23" fmla="*/ 10 h 10"/>
                <a:gd name="T24" fmla="*/ 7 w 10"/>
                <a:gd name="T25" fmla="*/ 10 h 10"/>
                <a:gd name="T26" fmla="*/ 6 w 10"/>
                <a:gd name="T2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10">
                  <a:moveTo>
                    <a:pt x="6" y="9"/>
                  </a:moveTo>
                  <a:lnTo>
                    <a:pt x="6" y="9"/>
                  </a:lnTo>
                  <a:lnTo>
                    <a:pt x="1" y="5"/>
                  </a:lnTo>
                  <a:lnTo>
                    <a:pt x="0" y="2"/>
                  </a:lnTo>
                  <a:lnTo>
                    <a:pt x="0" y="0"/>
                  </a:lnTo>
                  <a:lnTo>
                    <a:pt x="0" y="0"/>
                  </a:lnTo>
                  <a:lnTo>
                    <a:pt x="6" y="0"/>
                  </a:lnTo>
                  <a:lnTo>
                    <a:pt x="9" y="0"/>
                  </a:lnTo>
                  <a:lnTo>
                    <a:pt x="10" y="2"/>
                  </a:lnTo>
                  <a:lnTo>
                    <a:pt x="10" y="2"/>
                  </a:lnTo>
                  <a:lnTo>
                    <a:pt x="10" y="8"/>
                  </a:lnTo>
                  <a:lnTo>
                    <a:pt x="9" y="10"/>
                  </a:lnTo>
                  <a:lnTo>
                    <a:pt x="7" y="10"/>
                  </a:lnTo>
                  <a:lnTo>
                    <a:pt x="6" y="9"/>
                  </a:lnTo>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30" name="Freeform 1332"/>
            <p:cNvSpPr>
              <a:spLocks/>
            </p:cNvSpPr>
            <p:nvPr/>
          </p:nvSpPr>
          <p:spPr bwMode="auto">
            <a:xfrm>
              <a:off x="7196138" y="4987926"/>
              <a:ext cx="1046163" cy="790575"/>
            </a:xfrm>
            <a:custGeom>
              <a:avLst/>
              <a:gdLst>
                <a:gd name="T0" fmla="*/ 452 w 659"/>
                <a:gd name="T1" fmla="*/ 101 h 498"/>
                <a:gd name="T2" fmla="*/ 435 w 659"/>
                <a:gd name="T3" fmla="*/ 108 h 498"/>
                <a:gd name="T4" fmla="*/ 370 w 659"/>
                <a:gd name="T5" fmla="*/ 63 h 498"/>
                <a:gd name="T6" fmla="*/ 386 w 659"/>
                <a:gd name="T7" fmla="*/ 36 h 498"/>
                <a:gd name="T8" fmla="*/ 364 w 659"/>
                <a:gd name="T9" fmla="*/ 18 h 498"/>
                <a:gd name="T10" fmla="*/ 287 w 659"/>
                <a:gd name="T11" fmla="*/ 21 h 498"/>
                <a:gd name="T12" fmla="*/ 271 w 659"/>
                <a:gd name="T13" fmla="*/ 63 h 498"/>
                <a:gd name="T14" fmla="*/ 248 w 659"/>
                <a:gd name="T15" fmla="*/ 65 h 498"/>
                <a:gd name="T16" fmla="*/ 213 w 659"/>
                <a:gd name="T17" fmla="*/ 50 h 498"/>
                <a:gd name="T18" fmla="*/ 196 w 659"/>
                <a:gd name="T19" fmla="*/ 75 h 498"/>
                <a:gd name="T20" fmla="*/ 170 w 659"/>
                <a:gd name="T21" fmla="*/ 100 h 498"/>
                <a:gd name="T22" fmla="*/ 142 w 659"/>
                <a:gd name="T23" fmla="*/ 124 h 498"/>
                <a:gd name="T24" fmla="*/ 21 w 659"/>
                <a:gd name="T25" fmla="*/ 191 h 498"/>
                <a:gd name="T26" fmla="*/ 3 w 659"/>
                <a:gd name="T27" fmla="*/ 227 h 498"/>
                <a:gd name="T28" fmla="*/ 12 w 659"/>
                <a:gd name="T29" fmla="*/ 223 h 498"/>
                <a:gd name="T30" fmla="*/ 6 w 659"/>
                <a:gd name="T31" fmla="*/ 257 h 498"/>
                <a:gd name="T32" fmla="*/ 19 w 659"/>
                <a:gd name="T33" fmla="*/ 304 h 498"/>
                <a:gd name="T34" fmla="*/ 36 w 659"/>
                <a:gd name="T35" fmla="*/ 372 h 498"/>
                <a:gd name="T36" fmla="*/ 148 w 659"/>
                <a:gd name="T37" fmla="*/ 401 h 498"/>
                <a:gd name="T38" fmla="*/ 233 w 659"/>
                <a:gd name="T39" fmla="*/ 381 h 498"/>
                <a:gd name="T40" fmla="*/ 333 w 659"/>
                <a:gd name="T41" fmla="*/ 385 h 498"/>
                <a:gd name="T42" fmla="*/ 365 w 659"/>
                <a:gd name="T43" fmla="*/ 414 h 498"/>
                <a:gd name="T44" fmla="*/ 384 w 659"/>
                <a:gd name="T45" fmla="*/ 410 h 498"/>
                <a:gd name="T46" fmla="*/ 396 w 659"/>
                <a:gd name="T47" fmla="*/ 410 h 498"/>
                <a:gd name="T48" fmla="*/ 407 w 659"/>
                <a:gd name="T49" fmla="*/ 433 h 498"/>
                <a:gd name="T50" fmla="*/ 458 w 659"/>
                <a:gd name="T51" fmla="*/ 485 h 498"/>
                <a:gd name="T52" fmla="*/ 506 w 659"/>
                <a:gd name="T53" fmla="*/ 481 h 498"/>
                <a:gd name="T54" fmla="*/ 594 w 659"/>
                <a:gd name="T55" fmla="*/ 447 h 498"/>
                <a:gd name="T56" fmla="*/ 655 w 659"/>
                <a:gd name="T57" fmla="*/ 279 h 498"/>
                <a:gd name="T58" fmla="*/ 597 w 659"/>
                <a:gd name="T59" fmla="*/ 191 h 498"/>
                <a:gd name="T60" fmla="*/ 525 w 659"/>
                <a:gd name="T61" fmla="*/ 74 h 498"/>
                <a:gd name="T62" fmla="*/ 490 w 659"/>
                <a:gd name="T63" fmla="*/ 21 h 498"/>
                <a:gd name="T64" fmla="*/ 488 w 659"/>
                <a:gd name="T65" fmla="*/ 18 h 498"/>
                <a:gd name="T66" fmla="*/ 520 w 659"/>
                <a:gd name="T67" fmla="*/ 75 h 498"/>
                <a:gd name="T68" fmla="*/ 601 w 659"/>
                <a:gd name="T69" fmla="*/ 194 h 498"/>
                <a:gd name="T70" fmla="*/ 651 w 659"/>
                <a:gd name="T71" fmla="*/ 289 h 498"/>
                <a:gd name="T72" fmla="*/ 588 w 659"/>
                <a:gd name="T73" fmla="*/ 452 h 498"/>
                <a:gd name="T74" fmla="*/ 498 w 659"/>
                <a:gd name="T75" fmla="*/ 485 h 498"/>
                <a:gd name="T76" fmla="*/ 452 w 659"/>
                <a:gd name="T77" fmla="*/ 489 h 498"/>
                <a:gd name="T78" fmla="*/ 399 w 659"/>
                <a:gd name="T79" fmla="*/ 433 h 498"/>
                <a:gd name="T80" fmla="*/ 380 w 659"/>
                <a:gd name="T81" fmla="*/ 423 h 498"/>
                <a:gd name="T82" fmla="*/ 381 w 659"/>
                <a:gd name="T83" fmla="*/ 391 h 498"/>
                <a:gd name="T84" fmla="*/ 345 w 659"/>
                <a:gd name="T85" fmla="*/ 386 h 498"/>
                <a:gd name="T86" fmla="*/ 170 w 659"/>
                <a:gd name="T87" fmla="*/ 381 h 498"/>
                <a:gd name="T88" fmla="*/ 32 w 659"/>
                <a:gd name="T89" fmla="*/ 404 h 498"/>
                <a:gd name="T90" fmla="*/ 42 w 659"/>
                <a:gd name="T91" fmla="*/ 357 h 498"/>
                <a:gd name="T92" fmla="*/ 3 w 659"/>
                <a:gd name="T93" fmla="*/ 257 h 498"/>
                <a:gd name="T94" fmla="*/ 18 w 659"/>
                <a:gd name="T95" fmla="*/ 262 h 498"/>
                <a:gd name="T96" fmla="*/ 8 w 659"/>
                <a:gd name="T97" fmla="*/ 227 h 498"/>
                <a:gd name="T98" fmla="*/ 19 w 659"/>
                <a:gd name="T99" fmla="*/ 189 h 498"/>
                <a:gd name="T100" fmla="*/ 122 w 659"/>
                <a:gd name="T101" fmla="*/ 150 h 498"/>
                <a:gd name="T102" fmla="*/ 168 w 659"/>
                <a:gd name="T103" fmla="*/ 113 h 498"/>
                <a:gd name="T104" fmla="*/ 189 w 659"/>
                <a:gd name="T105" fmla="*/ 76 h 498"/>
                <a:gd name="T106" fmla="*/ 207 w 659"/>
                <a:gd name="T107" fmla="*/ 63 h 498"/>
                <a:gd name="T108" fmla="*/ 235 w 659"/>
                <a:gd name="T109" fmla="*/ 59 h 498"/>
                <a:gd name="T110" fmla="*/ 274 w 659"/>
                <a:gd name="T111" fmla="*/ 66 h 498"/>
                <a:gd name="T112" fmla="*/ 278 w 659"/>
                <a:gd name="T113" fmla="*/ 34 h 498"/>
                <a:gd name="T114" fmla="*/ 328 w 659"/>
                <a:gd name="T115" fmla="*/ 16 h 498"/>
                <a:gd name="T116" fmla="*/ 380 w 659"/>
                <a:gd name="T117" fmla="*/ 20 h 498"/>
                <a:gd name="T118" fmla="*/ 375 w 659"/>
                <a:gd name="T119" fmla="*/ 37 h 498"/>
                <a:gd name="T120" fmla="*/ 388 w 659"/>
                <a:gd name="T121" fmla="*/ 82 h 498"/>
                <a:gd name="T122" fmla="*/ 464 w 659"/>
                <a:gd name="T123" fmla="*/ 84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9" h="498">
                  <a:moveTo>
                    <a:pt x="477" y="1"/>
                  </a:moveTo>
                  <a:lnTo>
                    <a:pt x="477" y="0"/>
                  </a:lnTo>
                  <a:lnTo>
                    <a:pt x="477" y="0"/>
                  </a:lnTo>
                  <a:lnTo>
                    <a:pt x="475" y="0"/>
                  </a:lnTo>
                  <a:lnTo>
                    <a:pt x="474" y="1"/>
                  </a:lnTo>
                  <a:lnTo>
                    <a:pt x="474" y="1"/>
                  </a:lnTo>
                  <a:lnTo>
                    <a:pt x="471" y="5"/>
                  </a:lnTo>
                  <a:lnTo>
                    <a:pt x="471" y="5"/>
                  </a:lnTo>
                  <a:lnTo>
                    <a:pt x="468" y="14"/>
                  </a:lnTo>
                  <a:lnTo>
                    <a:pt x="468" y="14"/>
                  </a:lnTo>
                  <a:lnTo>
                    <a:pt x="468" y="17"/>
                  </a:lnTo>
                  <a:lnTo>
                    <a:pt x="467" y="18"/>
                  </a:lnTo>
                  <a:lnTo>
                    <a:pt x="467" y="18"/>
                  </a:lnTo>
                  <a:lnTo>
                    <a:pt x="467" y="18"/>
                  </a:lnTo>
                  <a:lnTo>
                    <a:pt x="467" y="18"/>
                  </a:lnTo>
                  <a:lnTo>
                    <a:pt x="467" y="18"/>
                  </a:lnTo>
                  <a:lnTo>
                    <a:pt x="467" y="18"/>
                  </a:lnTo>
                  <a:lnTo>
                    <a:pt x="468" y="18"/>
                  </a:lnTo>
                  <a:lnTo>
                    <a:pt x="467" y="18"/>
                  </a:lnTo>
                  <a:lnTo>
                    <a:pt x="467" y="18"/>
                  </a:lnTo>
                  <a:lnTo>
                    <a:pt x="468" y="18"/>
                  </a:lnTo>
                  <a:lnTo>
                    <a:pt x="467" y="18"/>
                  </a:lnTo>
                  <a:lnTo>
                    <a:pt x="467" y="18"/>
                  </a:lnTo>
                  <a:lnTo>
                    <a:pt x="465" y="20"/>
                  </a:lnTo>
                  <a:lnTo>
                    <a:pt x="465" y="23"/>
                  </a:lnTo>
                  <a:lnTo>
                    <a:pt x="465" y="23"/>
                  </a:lnTo>
                  <a:lnTo>
                    <a:pt x="464" y="30"/>
                  </a:lnTo>
                  <a:lnTo>
                    <a:pt x="464" y="30"/>
                  </a:lnTo>
                  <a:lnTo>
                    <a:pt x="464" y="33"/>
                  </a:lnTo>
                  <a:lnTo>
                    <a:pt x="464" y="33"/>
                  </a:lnTo>
                  <a:lnTo>
                    <a:pt x="464" y="34"/>
                  </a:lnTo>
                  <a:lnTo>
                    <a:pt x="464" y="34"/>
                  </a:lnTo>
                  <a:lnTo>
                    <a:pt x="464" y="34"/>
                  </a:lnTo>
                  <a:lnTo>
                    <a:pt x="464" y="34"/>
                  </a:lnTo>
                  <a:lnTo>
                    <a:pt x="464" y="34"/>
                  </a:lnTo>
                  <a:lnTo>
                    <a:pt x="464" y="34"/>
                  </a:lnTo>
                  <a:lnTo>
                    <a:pt x="464" y="34"/>
                  </a:lnTo>
                  <a:lnTo>
                    <a:pt x="462" y="39"/>
                  </a:lnTo>
                  <a:lnTo>
                    <a:pt x="462" y="46"/>
                  </a:lnTo>
                  <a:lnTo>
                    <a:pt x="462" y="46"/>
                  </a:lnTo>
                  <a:lnTo>
                    <a:pt x="462" y="65"/>
                  </a:lnTo>
                  <a:lnTo>
                    <a:pt x="462" y="65"/>
                  </a:lnTo>
                  <a:lnTo>
                    <a:pt x="462" y="72"/>
                  </a:lnTo>
                  <a:lnTo>
                    <a:pt x="462" y="72"/>
                  </a:lnTo>
                  <a:lnTo>
                    <a:pt x="462" y="75"/>
                  </a:lnTo>
                  <a:lnTo>
                    <a:pt x="462" y="75"/>
                  </a:lnTo>
                  <a:lnTo>
                    <a:pt x="461" y="76"/>
                  </a:lnTo>
                  <a:lnTo>
                    <a:pt x="461" y="76"/>
                  </a:lnTo>
                  <a:lnTo>
                    <a:pt x="458" y="84"/>
                  </a:lnTo>
                  <a:lnTo>
                    <a:pt x="458" y="84"/>
                  </a:lnTo>
                  <a:lnTo>
                    <a:pt x="452" y="101"/>
                  </a:lnTo>
                  <a:lnTo>
                    <a:pt x="452" y="101"/>
                  </a:lnTo>
                  <a:lnTo>
                    <a:pt x="449" y="108"/>
                  </a:lnTo>
                  <a:lnTo>
                    <a:pt x="449" y="108"/>
                  </a:lnTo>
                  <a:lnTo>
                    <a:pt x="448" y="110"/>
                  </a:lnTo>
                  <a:lnTo>
                    <a:pt x="448" y="110"/>
                  </a:lnTo>
                  <a:lnTo>
                    <a:pt x="448" y="110"/>
                  </a:lnTo>
                  <a:lnTo>
                    <a:pt x="448" y="110"/>
                  </a:lnTo>
                  <a:lnTo>
                    <a:pt x="448" y="110"/>
                  </a:lnTo>
                  <a:lnTo>
                    <a:pt x="448" y="110"/>
                  </a:lnTo>
                  <a:lnTo>
                    <a:pt x="449" y="111"/>
                  </a:lnTo>
                  <a:lnTo>
                    <a:pt x="449" y="110"/>
                  </a:lnTo>
                  <a:lnTo>
                    <a:pt x="449" y="110"/>
                  </a:lnTo>
                  <a:lnTo>
                    <a:pt x="448" y="110"/>
                  </a:lnTo>
                  <a:lnTo>
                    <a:pt x="449" y="111"/>
                  </a:lnTo>
                  <a:lnTo>
                    <a:pt x="449" y="110"/>
                  </a:lnTo>
                  <a:lnTo>
                    <a:pt x="449" y="113"/>
                  </a:lnTo>
                  <a:lnTo>
                    <a:pt x="449" y="110"/>
                  </a:lnTo>
                  <a:lnTo>
                    <a:pt x="449" y="110"/>
                  </a:lnTo>
                  <a:lnTo>
                    <a:pt x="449" y="113"/>
                  </a:lnTo>
                  <a:lnTo>
                    <a:pt x="449" y="110"/>
                  </a:lnTo>
                  <a:lnTo>
                    <a:pt x="449" y="113"/>
                  </a:lnTo>
                  <a:lnTo>
                    <a:pt x="449" y="110"/>
                  </a:lnTo>
                  <a:lnTo>
                    <a:pt x="449" y="110"/>
                  </a:lnTo>
                  <a:lnTo>
                    <a:pt x="446" y="108"/>
                  </a:lnTo>
                  <a:lnTo>
                    <a:pt x="446" y="108"/>
                  </a:lnTo>
                  <a:lnTo>
                    <a:pt x="443" y="107"/>
                  </a:lnTo>
                  <a:lnTo>
                    <a:pt x="441" y="107"/>
                  </a:lnTo>
                  <a:lnTo>
                    <a:pt x="441" y="107"/>
                  </a:lnTo>
                  <a:lnTo>
                    <a:pt x="439" y="107"/>
                  </a:lnTo>
                  <a:lnTo>
                    <a:pt x="439" y="107"/>
                  </a:lnTo>
                  <a:lnTo>
                    <a:pt x="436" y="108"/>
                  </a:lnTo>
                  <a:lnTo>
                    <a:pt x="436" y="108"/>
                  </a:lnTo>
                  <a:lnTo>
                    <a:pt x="435" y="110"/>
                  </a:lnTo>
                  <a:lnTo>
                    <a:pt x="436" y="110"/>
                  </a:lnTo>
                  <a:lnTo>
                    <a:pt x="435" y="110"/>
                  </a:lnTo>
                  <a:lnTo>
                    <a:pt x="435" y="110"/>
                  </a:lnTo>
                  <a:lnTo>
                    <a:pt x="436" y="110"/>
                  </a:lnTo>
                  <a:lnTo>
                    <a:pt x="435" y="110"/>
                  </a:lnTo>
                  <a:lnTo>
                    <a:pt x="436" y="111"/>
                  </a:lnTo>
                  <a:lnTo>
                    <a:pt x="435" y="110"/>
                  </a:lnTo>
                  <a:lnTo>
                    <a:pt x="435" y="110"/>
                  </a:lnTo>
                  <a:lnTo>
                    <a:pt x="436" y="111"/>
                  </a:lnTo>
                  <a:lnTo>
                    <a:pt x="435" y="110"/>
                  </a:lnTo>
                  <a:lnTo>
                    <a:pt x="436" y="110"/>
                  </a:lnTo>
                  <a:lnTo>
                    <a:pt x="436" y="110"/>
                  </a:lnTo>
                  <a:lnTo>
                    <a:pt x="435" y="110"/>
                  </a:lnTo>
                  <a:lnTo>
                    <a:pt x="436" y="110"/>
                  </a:lnTo>
                  <a:lnTo>
                    <a:pt x="436" y="110"/>
                  </a:lnTo>
                  <a:lnTo>
                    <a:pt x="436" y="110"/>
                  </a:lnTo>
                  <a:lnTo>
                    <a:pt x="435" y="108"/>
                  </a:lnTo>
                  <a:lnTo>
                    <a:pt x="435" y="108"/>
                  </a:lnTo>
                  <a:lnTo>
                    <a:pt x="432" y="107"/>
                  </a:lnTo>
                  <a:lnTo>
                    <a:pt x="430" y="105"/>
                  </a:lnTo>
                  <a:lnTo>
                    <a:pt x="430" y="105"/>
                  </a:lnTo>
                  <a:lnTo>
                    <a:pt x="426" y="101"/>
                  </a:lnTo>
                  <a:lnTo>
                    <a:pt x="426" y="101"/>
                  </a:lnTo>
                  <a:lnTo>
                    <a:pt x="422" y="98"/>
                  </a:lnTo>
                  <a:lnTo>
                    <a:pt x="422" y="98"/>
                  </a:lnTo>
                  <a:lnTo>
                    <a:pt x="413" y="97"/>
                  </a:lnTo>
                  <a:lnTo>
                    <a:pt x="413" y="97"/>
                  </a:lnTo>
                  <a:lnTo>
                    <a:pt x="409" y="95"/>
                  </a:lnTo>
                  <a:lnTo>
                    <a:pt x="407" y="94"/>
                  </a:lnTo>
                  <a:lnTo>
                    <a:pt x="407" y="94"/>
                  </a:lnTo>
                  <a:lnTo>
                    <a:pt x="407" y="91"/>
                  </a:lnTo>
                  <a:lnTo>
                    <a:pt x="407" y="91"/>
                  </a:lnTo>
                  <a:lnTo>
                    <a:pt x="404" y="88"/>
                  </a:lnTo>
                  <a:lnTo>
                    <a:pt x="401" y="85"/>
                  </a:lnTo>
                  <a:lnTo>
                    <a:pt x="401" y="85"/>
                  </a:lnTo>
                  <a:lnTo>
                    <a:pt x="397" y="84"/>
                  </a:lnTo>
                  <a:lnTo>
                    <a:pt x="396" y="81"/>
                  </a:lnTo>
                  <a:lnTo>
                    <a:pt x="396" y="81"/>
                  </a:lnTo>
                  <a:lnTo>
                    <a:pt x="393" y="78"/>
                  </a:lnTo>
                  <a:lnTo>
                    <a:pt x="393" y="78"/>
                  </a:lnTo>
                  <a:lnTo>
                    <a:pt x="388" y="76"/>
                  </a:lnTo>
                  <a:lnTo>
                    <a:pt x="388" y="76"/>
                  </a:lnTo>
                  <a:lnTo>
                    <a:pt x="386" y="76"/>
                  </a:lnTo>
                  <a:lnTo>
                    <a:pt x="386" y="76"/>
                  </a:lnTo>
                  <a:lnTo>
                    <a:pt x="381" y="76"/>
                  </a:lnTo>
                  <a:lnTo>
                    <a:pt x="381" y="76"/>
                  </a:lnTo>
                  <a:lnTo>
                    <a:pt x="381" y="76"/>
                  </a:lnTo>
                  <a:lnTo>
                    <a:pt x="380" y="75"/>
                  </a:lnTo>
                  <a:lnTo>
                    <a:pt x="380" y="75"/>
                  </a:lnTo>
                  <a:lnTo>
                    <a:pt x="372" y="69"/>
                  </a:lnTo>
                  <a:lnTo>
                    <a:pt x="372" y="69"/>
                  </a:lnTo>
                  <a:lnTo>
                    <a:pt x="370" y="66"/>
                  </a:lnTo>
                  <a:lnTo>
                    <a:pt x="368" y="66"/>
                  </a:lnTo>
                  <a:lnTo>
                    <a:pt x="368" y="65"/>
                  </a:lnTo>
                  <a:lnTo>
                    <a:pt x="368" y="66"/>
                  </a:lnTo>
                  <a:lnTo>
                    <a:pt x="368" y="66"/>
                  </a:lnTo>
                  <a:lnTo>
                    <a:pt x="368" y="65"/>
                  </a:lnTo>
                  <a:lnTo>
                    <a:pt x="368" y="66"/>
                  </a:lnTo>
                  <a:lnTo>
                    <a:pt x="368" y="66"/>
                  </a:lnTo>
                  <a:lnTo>
                    <a:pt x="368" y="66"/>
                  </a:lnTo>
                  <a:lnTo>
                    <a:pt x="368" y="66"/>
                  </a:lnTo>
                  <a:lnTo>
                    <a:pt x="368" y="66"/>
                  </a:lnTo>
                  <a:lnTo>
                    <a:pt x="368" y="66"/>
                  </a:lnTo>
                  <a:lnTo>
                    <a:pt x="368" y="66"/>
                  </a:lnTo>
                  <a:lnTo>
                    <a:pt x="368" y="66"/>
                  </a:lnTo>
                  <a:lnTo>
                    <a:pt x="368" y="66"/>
                  </a:lnTo>
                  <a:lnTo>
                    <a:pt x="368" y="66"/>
                  </a:lnTo>
                  <a:lnTo>
                    <a:pt x="370" y="63"/>
                  </a:lnTo>
                  <a:lnTo>
                    <a:pt x="370" y="63"/>
                  </a:lnTo>
                  <a:lnTo>
                    <a:pt x="372" y="58"/>
                  </a:lnTo>
                  <a:lnTo>
                    <a:pt x="372" y="58"/>
                  </a:lnTo>
                  <a:lnTo>
                    <a:pt x="374" y="56"/>
                  </a:lnTo>
                  <a:lnTo>
                    <a:pt x="374" y="56"/>
                  </a:lnTo>
                  <a:lnTo>
                    <a:pt x="374" y="56"/>
                  </a:lnTo>
                  <a:lnTo>
                    <a:pt x="372" y="55"/>
                  </a:lnTo>
                  <a:lnTo>
                    <a:pt x="372" y="56"/>
                  </a:lnTo>
                  <a:lnTo>
                    <a:pt x="374" y="56"/>
                  </a:lnTo>
                  <a:lnTo>
                    <a:pt x="372" y="55"/>
                  </a:lnTo>
                  <a:lnTo>
                    <a:pt x="372" y="56"/>
                  </a:lnTo>
                  <a:lnTo>
                    <a:pt x="372" y="56"/>
                  </a:lnTo>
                  <a:lnTo>
                    <a:pt x="372" y="56"/>
                  </a:lnTo>
                  <a:lnTo>
                    <a:pt x="375" y="55"/>
                  </a:lnTo>
                  <a:lnTo>
                    <a:pt x="375" y="55"/>
                  </a:lnTo>
                  <a:lnTo>
                    <a:pt x="377" y="52"/>
                  </a:lnTo>
                  <a:lnTo>
                    <a:pt x="378" y="47"/>
                  </a:lnTo>
                  <a:lnTo>
                    <a:pt x="378" y="47"/>
                  </a:lnTo>
                  <a:lnTo>
                    <a:pt x="377" y="46"/>
                  </a:lnTo>
                  <a:lnTo>
                    <a:pt x="377" y="46"/>
                  </a:lnTo>
                  <a:lnTo>
                    <a:pt x="377" y="43"/>
                  </a:lnTo>
                  <a:lnTo>
                    <a:pt x="377" y="43"/>
                  </a:lnTo>
                  <a:lnTo>
                    <a:pt x="375" y="42"/>
                  </a:lnTo>
                  <a:lnTo>
                    <a:pt x="375" y="42"/>
                  </a:lnTo>
                  <a:lnTo>
                    <a:pt x="375" y="42"/>
                  </a:lnTo>
                  <a:lnTo>
                    <a:pt x="375" y="42"/>
                  </a:lnTo>
                  <a:lnTo>
                    <a:pt x="375" y="42"/>
                  </a:lnTo>
                  <a:lnTo>
                    <a:pt x="375" y="42"/>
                  </a:lnTo>
                  <a:lnTo>
                    <a:pt x="375" y="42"/>
                  </a:lnTo>
                  <a:lnTo>
                    <a:pt x="375" y="43"/>
                  </a:lnTo>
                  <a:lnTo>
                    <a:pt x="375" y="42"/>
                  </a:lnTo>
                  <a:lnTo>
                    <a:pt x="375" y="42"/>
                  </a:lnTo>
                  <a:lnTo>
                    <a:pt x="375" y="43"/>
                  </a:lnTo>
                  <a:lnTo>
                    <a:pt x="375" y="43"/>
                  </a:lnTo>
                  <a:lnTo>
                    <a:pt x="375" y="43"/>
                  </a:lnTo>
                  <a:lnTo>
                    <a:pt x="375" y="43"/>
                  </a:lnTo>
                  <a:lnTo>
                    <a:pt x="375" y="43"/>
                  </a:lnTo>
                  <a:lnTo>
                    <a:pt x="375" y="43"/>
                  </a:lnTo>
                  <a:lnTo>
                    <a:pt x="377" y="42"/>
                  </a:lnTo>
                  <a:lnTo>
                    <a:pt x="377" y="42"/>
                  </a:lnTo>
                  <a:lnTo>
                    <a:pt x="380" y="42"/>
                  </a:lnTo>
                  <a:lnTo>
                    <a:pt x="380" y="42"/>
                  </a:lnTo>
                  <a:lnTo>
                    <a:pt x="383" y="42"/>
                  </a:lnTo>
                  <a:lnTo>
                    <a:pt x="383" y="42"/>
                  </a:lnTo>
                  <a:lnTo>
                    <a:pt x="384" y="42"/>
                  </a:lnTo>
                  <a:lnTo>
                    <a:pt x="384" y="42"/>
                  </a:lnTo>
                  <a:lnTo>
                    <a:pt x="386" y="40"/>
                  </a:lnTo>
                  <a:lnTo>
                    <a:pt x="386" y="40"/>
                  </a:lnTo>
                  <a:lnTo>
                    <a:pt x="387" y="39"/>
                  </a:lnTo>
                  <a:lnTo>
                    <a:pt x="387" y="39"/>
                  </a:lnTo>
                  <a:lnTo>
                    <a:pt x="386" y="36"/>
                  </a:lnTo>
                  <a:lnTo>
                    <a:pt x="386" y="36"/>
                  </a:lnTo>
                  <a:lnTo>
                    <a:pt x="386" y="36"/>
                  </a:lnTo>
                  <a:lnTo>
                    <a:pt x="387" y="32"/>
                  </a:lnTo>
                  <a:lnTo>
                    <a:pt x="387" y="32"/>
                  </a:lnTo>
                  <a:lnTo>
                    <a:pt x="388" y="29"/>
                  </a:lnTo>
                  <a:lnTo>
                    <a:pt x="390" y="24"/>
                  </a:lnTo>
                  <a:lnTo>
                    <a:pt x="390" y="24"/>
                  </a:lnTo>
                  <a:lnTo>
                    <a:pt x="388" y="21"/>
                  </a:lnTo>
                  <a:lnTo>
                    <a:pt x="388" y="21"/>
                  </a:lnTo>
                  <a:lnTo>
                    <a:pt x="387" y="20"/>
                  </a:lnTo>
                  <a:lnTo>
                    <a:pt x="387" y="20"/>
                  </a:lnTo>
                  <a:lnTo>
                    <a:pt x="383" y="17"/>
                  </a:lnTo>
                  <a:lnTo>
                    <a:pt x="383" y="17"/>
                  </a:lnTo>
                  <a:lnTo>
                    <a:pt x="378" y="16"/>
                  </a:lnTo>
                  <a:lnTo>
                    <a:pt x="378" y="16"/>
                  </a:lnTo>
                  <a:lnTo>
                    <a:pt x="375" y="17"/>
                  </a:lnTo>
                  <a:lnTo>
                    <a:pt x="375" y="17"/>
                  </a:lnTo>
                  <a:lnTo>
                    <a:pt x="374" y="18"/>
                  </a:lnTo>
                  <a:lnTo>
                    <a:pt x="374" y="18"/>
                  </a:lnTo>
                  <a:lnTo>
                    <a:pt x="374" y="23"/>
                  </a:lnTo>
                  <a:lnTo>
                    <a:pt x="374" y="23"/>
                  </a:lnTo>
                  <a:lnTo>
                    <a:pt x="374" y="23"/>
                  </a:lnTo>
                  <a:lnTo>
                    <a:pt x="374" y="23"/>
                  </a:lnTo>
                  <a:lnTo>
                    <a:pt x="374" y="23"/>
                  </a:lnTo>
                  <a:lnTo>
                    <a:pt x="374" y="23"/>
                  </a:lnTo>
                  <a:lnTo>
                    <a:pt x="374" y="23"/>
                  </a:lnTo>
                  <a:lnTo>
                    <a:pt x="374" y="23"/>
                  </a:lnTo>
                  <a:lnTo>
                    <a:pt x="375" y="23"/>
                  </a:lnTo>
                  <a:lnTo>
                    <a:pt x="374" y="23"/>
                  </a:lnTo>
                  <a:lnTo>
                    <a:pt x="374" y="23"/>
                  </a:lnTo>
                  <a:lnTo>
                    <a:pt x="375" y="23"/>
                  </a:lnTo>
                  <a:lnTo>
                    <a:pt x="374" y="23"/>
                  </a:lnTo>
                  <a:lnTo>
                    <a:pt x="375" y="24"/>
                  </a:lnTo>
                  <a:lnTo>
                    <a:pt x="375" y="21"/>
                  </a:lnTo>
                  <a:lnTo>
                    <a:pt x="374" y="23"/>
                  </a:lnTo>
                  <a:lnTo>
                    <a:pt x="375" y="24"/>
                  </a:lnTo>
                  <a:lnTo>
                    <a:pt x="375" y="21"/>
                  </a:lnTo>
                  <a:lnTo>
                    <a:pt x="375" y="23"/>
                  </a:lnTo>
                  <a:lnTo>
                    <a:pt x="375" y="21"/>
                  </a:lnTo>
                  <a:lnTo>
                    <a:pt x="375" y="21"/>
                  </a:lnTo>
                  <a:lnTo>
                    <a:pt x="375" y="23"/>
                  </a:lnTo>
                  <a:lnTo>
                    <a:pt x="375" y="21"/>
                  </a:lnTo>
                  <a:lnTo>
                    <a:pt x="375" y="21"/>
                  </a:lnTo>
                  <a:lnTo>
                    <a:pt x="375" y="21"/>
                  </a:lnTo>
                  <a:lnTo>
                    <a:pt x="372" y="18"/>
                  </a:lnTo>
                  <a:lnTo>
                    <a:pt x="372" y="18"/>
                  </a:lnTo>
                  <a:lnTo>
                    <a:pt x="371" y="17"/>
                  </a:lnTo>
                  <a:lnTo>
                    <a:pt x="371" y="17"/>
                  </a:lnTo>
                  <a:lnTo>
                    <a:pt x="368" y="16"/>
                  </a:lnTo>
                  <a:lnTo>
                    <a:pt x="367" y="17"/>
                  </a:lnTo>
                  <a:lnTo>
                    <a:pt x="367" y="17"/>
                  </a:lnTo>
                  <a:lnTo>
                    <a:pt x="364" y="18"/>
                  </a:lnTo>
                  <a:lnTo>
                    <a:pt x="364" y="18"/>
                  </a:lnTo>
                  <a:lnTo>
                    <a:pt x="362" y="20"/>
                  </a:lnTo>
                  <a:lnTo>
                    <a:pt x="362" y="20"/>
                  </a:lnTo>
                  <a:lnTo>
                    <a:pt x="361" y="21"/>
                  </a:lnTo>
                  <a:lnTo>
                    <a:pt x="361" y="21"/>
                  </a:lnTo>
                  <a:lnTo>
                    <a:pt x="359" y="20"/>
                  </a:lnTo>
                  <a:lnTo>
                    <a:pt x="359" y="20"/>
                  </a:lnTo>
                  <a:lnTo>
                    <a:pt x="352" y="17"/>
                  </a:lnTo>
                  <a:lnTo>
                    <a:pt x="352" y="17"/>
                  </a:lnTo>
                  <a:lnTo>
                    <a:pt x="346" y="14"/>
                  </a:lnTo>
                  <a:lnTo>
                    <a:pt x="342" y="13"/>
                  </a:lnTo>
                  <a:lnTo>
                    <a:pt x="342" y="13"/>
                  </a:lnTo>
                  <a:lnTo>
                    <a:pt x="335" y="13"/>
                  </a:lnTo>
                  <a:lnTo>
                    <a:pt x="329" y="11"/>
                  </a:lnTo>
                  <a:lnTo>
                    <a:pt x="329" y="11"/>
                  </a:lnTo>
                  <a:lnTo>
                    <a:pt x="325" y="8"/>
                  </a:lnTo>
                  <a:lnTo>
                    <a:pt x="325" y="8"/>
                  </a:lnTo>
                  <a:lnTo>
                    <a:pt x="320" y="8"/>
                  </a:lnTo>
                  <a:lnTo>
                    <a:pt x="320" y="8"/>
                  </a:lnTo>
                  <a:lnTo>
                    <a:pt x="319" y="8"/>
                  </a:lnTo>
                  <a:lnTo>
                    <a:pt x="317" y="8"/>
                  </a:lnTo>
                  <a:lnTo>
                    <a:pt x="317" y="8"/>
                  </a:lnTo>
                  <a:lnTo>
                    <a:pt x="316" y="11"/>
                  </a:lnTo>
                  <a:lnTo>
                    <a:pt x="316" y="11"/>
                  </a:lnTo>
                  <a:lnTo>
                    <a:pt x="316" y="13"/>
                  </a:lnTo>
                  <a:lnTo>
                    <a:pt x="316" y="13"/>
                  </a:lnTo>
                  <a:lnTo>
                    <a:pt x="316" y="16"/>
                  </a:lnTo>
                  <a:lnTo>
                    <a:pt x="316" y="16"/>
                  </a:lnTo>
                  <a:lnTo>
                    <a:pt x="315" y="18"/>
                  </a:lnTo>
                  <a:lnTo>
                    <a:pt x="315" y="18"/>
                  </a:lnTo>
                  <a:lnTo>
                    <a:pt x="309" y="21"/>
                  </a:lnTo>
                  <a:lnTo>
                    <a:pt x="309" y="21"/>
                  </a:lnTo>
                  <a:lnTo>
                    <a:pt x="300" y="23"/>
                  </a:lnTo>
                  <a:lnTo>
                    <a:pt x="300" y="23"/>
                  </a:lnTo>
                  <a:lnTo>
                    <a:pt x="299" y="23"/>
                  </a:lnTo>
                  <a:lnTo>
                    <a:pt x="299" y="23"/>
                  </a:lnTo>
                  <a:lnTo>
                    <a:pt x="299" y="23"/>
                  </a:lnTo>
                  <a:lnTo>
                    <a:pt x="299" y="23"/>
                  </a:lnTo>
                  <a:lnTo>
                    <a:pt x="299" y="23"/>
                  </a:lnTo>
                  <a:lnTo>
                    <a:pt x="299" y="23"/>
                  </a:lnTo>
                  <a:lnTo>
                    <a:pt x="299" y="23"/>
                  </a:lnTo>
                  <a:lnTo>
                    <a:pt x="299" y="23"/>
                  </a:lnTo>
                  <a:lnTo>
                    <a:pt x="299" y="23"/>
                  </a:lnTo>
                  <a:lnTo>
                    <a:pt x="299" y="23"/>
                  </a:lnTo>
                  <a:lnTo>
                    <a:pt x="299" y="23"/>
                  </a:lnTo>
                  <a:lnTo>
                    <a:pt x="299" y="23"/>
                  </a:lnTo>
                  <a:lnTo>
                    <a:pt x="297" y="20"/>
                  </a:lnTo>
                  <a:lnTo>
                    <a:pt x="297" y="20"/>
                  </a:lnTo>
                  <a:lnTo>
                    <a:pt x="293" y="20"/>
                  </a:lnTo>
                  <a:lnTo>
                    <a:pt x="293" y="20"/>
                  </a:lnTo>
                  <a:lnTo>
                    <a:pt x="287" y="21"/>
                  </a:lnTo>
                  <a:lnTo>
                    <a:pt x="287" y="21"/>
                  </a:lnTo>
                  <a:lnTo>
                    <a:pt x="281" y="27"/>
                  </a:lnTo>
                  <a:lnTo>
                    <a:pt x="281" y="27"/>
                  </a:lnTo>
                  <a:lnTo>
                    <a:pt x="278" y="30"/>
                  </a:lnTo>
                  <a:lnTo>
                    <a:pt x="278" y="30"/>
                  </a:lnTo>
                  <a:lnTo>
                    <a:pt x="277" y="30"/>
                  </a:lnTo>
                  <a:lnTo>
                    <a:pt x="277" y="32"/>
                  </a:lnTo>
                  <a:lnTo>
                    <a:pt x="277" y="32"/>
                  </a:lnTo>
                  <a:lnTo>
                    <a:pt x="275" y="33"/>
                  </a:lnTo>
                  <a:lnTo>
                    <a:pt x="275" y="33"/>
                  </a:lnTo>
                  <a:lnTo>
                    <a:pt x="275" y="34"/>
                  </a:lnTo>
                  <a:lnTo>
                    <a:pt x="275" y="34"/>
                  </a:lnTo>
                  <a:lnTo>
                    <a:pt x="275" y="37"/>
                  </a:lnTo>
                  <a:lnTo>
                    <a:pt x="275" y="37"/>
                  </a:lnTo>
                  <a:lnTo>
                    <a:pt x="275" y="39"/>
                  </a:lnTo>
                  <a:lnTo>
                    <a:pt x="275" y="39"/>
                  </a:lnTo>
                  <a:lnTo>
                    <a:pt x="277" y="39"/>
                  </a:lnTo>
                  <a:lnTo>
                    <a:pt x="277" y="39"/>
                  </a:lnTo>
                  <a:lnTo>
                    <a:pt x="275" y="39"/>
                  </a:lnTo>
                  <a:lnTo>
                    <a:pt x="277" y="39"/>
                  </a:lnTo>
                  <a:lnTo>
                    <a:pt x="277" y="39"/>
                  </a:lnTo>
                  <a:lnTo>
                    <a:pt x="277" y="39"/>
                  </a:lnTo>
                  <a:lnTo>
                    <a:pt x="268" y="46"/>
                  </a:lnTo>
                  <a:lnTo>
                    <a:pt x="268" y="46"/>
                  </a:lnTo>
                  <a:lnTo>
                    <a:pt x="267" y="49"/>
                  </a:lnTo>
                  <a:lnTo>
                    <a:pt x="267" y="49"/>
                  </a:lnTo>
                  <a:lnTo>
                    <a:pt x="264" y="53"/>
                  </a:lnTo>
                  <a:lnTo>
                    <a:pt x="264" y="53"/>
                  </a:lnTo>
                  <a:lnTo>
                    <a:pt x="262" y="59"/>
                  </a:lnTo>
                  <a:lnTo>
                    <a:pt x="262" y="59"/>
                  </a:lnTo>
                  <a:lnTo>
                    <a:pt x="264" y="62"/>
                  </a:lnTo>
                  <a:lnTo>
                    <a:pt x="264" y="62"/>
                  </a:lnTo>
                  <a:lnTo>
                    <a:pt x="265" y="63"/>
                  </a:lnTo>
                  <a:lnTo>
                    <a:pt x="265" y="63"/>
                  </a:lnTo>
                  <a:lnTo>
                    <a:pt x="270" y="65"/>
                  </a:lnTo>
                  <a:lnTo>
                    <a:pt x="270" y="65"/>
                  </a:lnTo>
                  <a:lnTo>
                    <a:pt x="271" y="65"/>
                  </a:lnTo>
                  <a:lnTo>
                    <a:pt x="271" y="65"/>
                  </a:lnTo>
                  <a:lnTo>
                    <a:pt x="271" y="65"/>
                  </a:lnTo>
                  <a:lnTo>
                    <a:pt x="271" y="65"/>
                  </a:lnTo>
                  <a:lnTo>
                    <a:pt x="271" y="65"/>
                  </a:lnTo>
                  <a:lnTo>
                    <a:pt x="271" y="65"/>
                  </a:lnTo>
                  <a:lnTo>
                    <a:pt x="273" y="63"/>
                  </a:lnTo>
                  <a:lnTo>
                    <a:pt x="271" y="63"/>
                  </a:lnTo>
                  <a:lnTo>
                    <a:pt x="271" y="63"/>
                  </a:lnTo>
                  <a:lnTo>
                    <a:pt x="271" y="65"/>
                  </a:lnTo>
                  <a:lnTo>
                    <a:pt x="273" y="63"/>
                  </a:lnTo>
                  <a:lnTo>
                    <a:pt x="271" y="63"/>
                  </a:lnTo>
                  <a:lnTo>
                    <a:pt x="271" y="63"/>
                  </a:lnTo>
                  <a:lnTo>
                    <a:pt x="271" y="63"/>
                  </a:lnTo>
                  <a:lnTo>
                    <a:pt x="271" y="63"/>
                  </a:lnTo>
                  <a:lnTo>
                    <a:pt x="271" y="63"/>
                  </a:lnTo>
                  <a:lnTo>
                    <a:pt x="271" y="63"/>
                  </a:lnTo>
                  <a:lnTo>
                    <a:pt x="271" y="63"/>
                  </a:lnTo>
                  <a:lnTo>
                    <a:pt x="271" y="63"/>
                  </a:lnTo>
                  <a:lnTo>
                    <a:pt x="271" y="63"/>
                  </a:lnTo>
                  <a:lnTo>
                    <a:pt x="271" y="63"/>
                  </a:lnTo>
                  <a:lnTo>
                    <a:pt x="271" y="63"/>
                  </a:lnTo>
                  <a:lnTo>
                    <a:pt x="271" y="63"/>
                  </a:lnTo>
                  <a:lnTo>
                    <a:pt x="271" y="63"/>
                  </a:lnTo>
                  <a:lnTo>
                    <a:pt x="270" y="66"/>
                  </a:lnTo>
                  <a:lnTo>
                    <a:pt x="270" y="66"/>
                  </a:lnTo>
                  <a:lnTo>
                    <a:pt x="270" y="71"/>
                  </a:lnTo>
                  <a:lnTo>
                    <a:pt x="270" y="71"/>
                  </a:lnTo>
                  <a:lnTo>
                    <a:pt x="271" y="72"/>
                  </a:lnTo>
                  <a:lnTo>
                    <a:pt x="271" y="72"/>
                  </a:lnTo>
                  <a:lnTo>
                    <a:pt x="271" y="72"/>
                  </a:lnTo>
                  <a:lnTo>
                    <a:pt x="271" y="72"/>
                  </a:lnTo>
                  <a:lnTo>
                    <a:pt x="271" y="72"/>
                  </a:lnTo>
                  <a:lnTo>
                    <a:pt x="273" y="72"/>
                  </a:lnTo>
                  <a:lnTo>
                    <a:pt x="271" y="71"/>
                  </a:lnTo>
                  <a:lnTo>
                    <a:pt x="271" y="71"/>
                  </a:lnTo>
                  <a:lnTo>
                    <a:pt x="271" y="72"/>
                  </a:lnTo>
                  <a:lnTo>
                    <a:pt x="273" y="72"/>
                  </a:lnTo>
                  <a:lnTo>
                    <a:pt x="271" y="71"/>
                  </a:lnTo>
                  <a:lnTo>
                    <a:pt x="273" y="72"/>
                  </a:lnTo>
                  <a:lnTo>
                    <a:pt x="273" y="69"/>
                  </a:lnTo>
                  <a:lnTo>
                    <a:pt x="273" y="69"/>
                  </a:lnTo>
                  <a:lnTo>
                    <a:pt x="271" y="71"/>
                  </a:lnTo>
                  <a:lnTo>
                    <a:pt x="273" y="72"/>
                  </a:lnTo>
                  <a:lnTo>
                    <a:pt x="273" y="69"/>
                  </a:lnTo>
                  <a:lnTo>
                    <a:pt x="273" y="71"/>
                  </a:lnTo>
                  <a:lnTo>
                    <a:pt x="273" y="69"/>
                  </a:lnTo>
                  <a:lnTo>
                    <a:pt x="273" y="69"/>
                  </a:lnTo>
                  <a:lnTo>
                    <a:pt x="273" y="71"/>
                  </a:lnTo>
                  <a:lnTo>
                    <a:pt x="273" y="69"/>
                  </a:lnTo>
                  <a:lnTo>
                    <a:pt x="273" y="69"/>
                  </a:lnTo>
                  <a:lnTo>
                    <a:pt x="273" y="69"/>
                  </a:lnTo>
                  <a:lnTo>
                    <a:pt x="268" y="68"/>
                  </a:lnTo>
                  <a:lnTo>
                    <a:pt x="268" y="68"/>
                  </a:lnTo>
                  <a:lnTo>
                    <a:pt x="265" y="66"/>
                  </a:lnTo>
                  <a:lnTo>
                    <a:pt x="265" y="66"/>
                  </a:lnTo>
                  <a:lnTo>
                    <a:pt x="262" y="65"/>
                  </a:lnTo>
                  <a:lnTo>
                    <a:pt x="262" y="65"/>
                  </a:lnTo>
                  <a:lnTo>
                    <a:pt x="258" y="65"/>
                  </a:lnTo>
                  <a:lnTo>
                    <a:pt x="258" y="65"/>
                  </a:lnTo>
                  <a:lnTo>
                    <a:pt x="251" y="63"/>
                  </a:lnTo>
                  <a:lnTo>
                    <a:pt x="251" y="63"/>
                  </a:lnTo>
                  <a:lnTo>
                    <a:pt x="251" y="63"/>
                  </a:lnTo>
                  <a:lnTo>
                    <a:pt x="251" y="63"/>
                  </a:lnTo>
                  <a:lnTo>
                    <a:pt x="248" y="65"/>
                  </a:lnTo>
                  <a:lnTo>
                    <a:pt x="248" y="65"/>
                  </a:lnTo>
                  <a:lnTo>
                    <a:pt x="246" y="66"/>
                  </a:lnTo>
                  <a:lnTo>
                    <a:pt x="246" y="66"/>
                  </a:lnTo>
                  <a:lnTo>
                    <a:pt x="245" y="68"/>
                  </a:lnTo>
                  <a:lnTo>
                    <a:pt x="245" y="68"/>
                  </a:lnTo>
                  <a:lnTo>
                    <a:pt x="245" y="69"/>
                  </a:lnTo>
                  <a:lnTo>
                    <a:pt x="245" y="68"/>
                  </a:lnTo>
                  <a:lnTo>
                    <a:pt x="245" y="68"/>
                  </a:lnTo>
                  <a:lnTo>
                    <a:pt x="245" y="69"/>
                  </a:lnTo>
                  <a:lnTo>
                    <a:pt x="245" y="68"/>
                  </a:lnTo>
                  <a:lnTo>
                    <a:pt x="245" y="69"/>
                  </a:lnTo>
                  <a:lnTo>
                    <a:pt x="245" y="68"/>
                  </a:lnTo>
                  <a:lnTo>
                    <a:pt x="245" y="68"/>
                  </a:lnTo>
                  <a:lnTo>
                    <a:pt x="245" y="69"/>
                  </a:lnTo>
                  <a:lnTo>
                    <a:pt x="245" y="68"/>
                  </a:lnTo>
                  <a:lnTo>
                    <a:pt x="245" y="69"/>
                  </a:lnTo>
                  <a:lnTo>
                    <a:pt x="246" y="69"/>
                  </a:lnTo>
                  <a:lnTo>
                    <a:pt x="246" y="69"/>
                  </a:lnTo>
                  <a:lnTo>
                    <a:pt x="245" y="68"/>
                  </a:lnTo>
                  <a:lnTo>
                    <a:pt x="245" y="69"/>
                  </a:lnTo>
                  <a:lnTo>
                    <a:pt x="246" y="69"/>
                  </a:lnTo>
                  <a:lnTo>
                    <a:pt x="246" y="69"/>
                  </a:lnTo>
                  <a:lnTo>
                    <a:pt x="246" y="69"/>
                  </a:lnTo>
                  <a:lnTo>
                    <a:pt x="246" y="69"/>
                  </a:lnTo>
                  <a:lnTo>
                    <a:pt x="246" y="69"/>
                  </a:lnTo>
                  <a:lnTo>
                    <a:pt x="246" y="69"/>
                  </a:lnTo>
                  <a:lnTo>
                    <a:pt x="246" y="69"/>
                  </a:lnTo>
                  <a:lnTo>
                    <a:pt x="246" y="68"/>
                  </a:lnTo>
                  <a:lnTo>
                    <a:pt x="246" y="68"/>
                  </a:lnTo>
                  <a:lnTo>
                    <a:pt x="245" y="63"/>
                  </a:lnTo>
                  <a:lnTo>
                    <a:pt x="245" y="63"/>
                  </a:lnTo>
                  <a:lnTo>
                    <a:pt x="244" y="60"/>
                  </a:lnTo>
                  <a:lnTo>
                    <a:pt x="244" y="60"/>
                  </a:lnTo>
                  <a:lnTo>
                    <a:pt x="241" y="59"/>
                  </a:lnTo>
                  <a:lnTo>
                    <a:pt x="241" y="59"/>
                  </a:lnTo>
                  <a:lnTo>
                    <a:pt x="236" y="55"/>
                  </a:lnTo>
                  <a:lnTo>
                    <a:pt x="236" y="55"/>
                  </a:lnTo>
                  <a:lnTo>
                    <a:pt x="235" y="52"/>
                  </a:lnTo>
                  <a:lnTo>
                    <a:pt x="235" y="52"/>
                  </a:lnTo>
                  <a:lnTo>
                    <a:pt x="231" y="50"/>
                  </a:lnTo>
                  <a:lnTo>
                    <a:pt x="231" y="50"/>
                  </a:lnTo>
                  <a:lnTo>
                    <a:pt x="231" y="50"/>
                  </a:lnTo>
                  <a:lnTo>
                    <a:pt x="226" y="50"/>
                  </a:lnTo>
                  <a:lnTo>
                    <a:pt x="226" y="50"/>
                  </a:lnTo>
                  <a:lnTo>
                    <a:pt x="220" y="52"/>
                  </a:lnTo>
                  <a:lnTo>
                    <a:pt x="220" y="52"/>
                  </a:lnTo>
                  <a:lnTo>
                    <a:pt x="216" y="53"/>
                  </a:lnTo>
                  <a:lnTo>
                    <a:pt x="216" y="53"/>
                  </a:lnTo>
                  <a:lnTo>
                    <a:pt x="216" y="53"/>
                  </a:lnTo>
                  <a:lnTo>
                    <a:pt x="215" y="52"/>
                  </a:lnTo>
                  <a:lnTo>
                    <a:pt x="213" y="52"/>
                  </a:lnTo>
                  <a:lnTo>
                    <a:pt x="213" y="50"/>
                  </a:lnTo>
                  <a:lnTo>
                    <a:pt x="213" y="50"/>
                  </a:lnTo>
                  <a:lnTo>
                    <a:pt x="212" y="50"/>
                  </a:lnTo>
                  <a:lnTo>
                    <a:pt x="212" y="50"/>
                  </a:lnTo>
                  <a:lnTo>
                    <a:pt x="209" y="52"/>
                  </a:lnTo>
                  <a:lnTo>
                    <a:pt x="209" y="52"/>
                  </a:lnTo>
                  <a:lnTo>
                    <a:pt x="207" y="53"/>
                  </a:lnTo>
                  <a:lnTo>
                    <a:pt x="207" y="53"/>
                  </a:lnTo>
                  <a:lnTo>
                    <a:pt x="206" y="58"/>
                  </a:lnTo>
                  <a:lnTo>
                    <a:pt x="206" y="58"/>
                  </a:lnTo>
                  <a:lnTo>
                    <a:pt x="204" y="59"/>
                  </a:lnTo>
                  <a:lnTo>
                    <a:pt x="204" y="59"/>
                  </a:lnTo>
                  <a:lnTo>
                    <a:pt x="204" y="59"/>
                  </a:lnTo>
                  <a:lnTo>
                    <a:pt x="204" y="59"/>
                  </a:lnTo>
                  <a:lnTo>
                    <a:pt x="204" y="59"/>
                  </a:lnTo>
                  <a:lnTo>
                    <a:pt x="204" y="59"/>
                  </a:lnTo>
                  <a:lnTo>
                    <a:pt x="204" y="59"/>
                  </a:lnTo>
                  <a:lnTo>
                    <a:pt x="204" y="60"/>
                  </a:lnTo>
                  <a:lnTo>
                    <a:pt x="204" y="59"/>
                  </a:lnTo>
                  <a:lnTo>
                    <a:pt x="204" y="59"/>
                  </a:lnTo>
                  <a:lnTo>
                    <a:pt x="204" y="60"/>
                  </a:lnTo>
                  <a:lnTo>
                    <a:pt x="204" y="59"/>
                  </a:lnTo>
                  <a:lnTo>
                    <a:pt x="204" y="59"/>
                  </a:lnTo>
                  <a:lnTo>
                    <a:pt x="204" y="59"/>
                  </a:lnTo>
                  <a:lnTo>
                    <a:pt x="204" y="59"/>
                  </a:lnTo>
                  <a:lnTo>
                    <a:pt x="204" y="59"/>
                  </a:lnTo>
                  <a:lnTo>
                    <a:pt x="204" y="59"/>
                  </a:lnTo>
                  <a:lnTo>
                    <a:pt x="203" y="59"/>
                  </a:lnTo>
                  <a:lnTo>
                    <a:pt x="203" y="59"/>
                  </a:lnTo>
                  <a:lnTo>
                    <a:pt x="202" y="59"/>
                  </a:lnTo>
                  <a:lnTo>
                    <a:pt x="202" y="59"/>
                  </a:lnTo>
                  <a:lnTo>
                    <a:pt x="200" y="62"/>
                  </a:lnTo>
                  <a:lnTo>
                    <a:pt x="200" y="62"/>
                  </a:lnTo>
                  <a:lnTo>
                    <a:pt x="199" y="65"/>
                  </a:lnTo>
                  <a:lnTo>
                    <a:pt x="199" y="65"/>
                  </a:lnTo>
                  <a:lnTo>
                    <a:pt x="197" y="68"/>
                  </a:lnTo>
                  <a:lnTo>
                    <a:pt x="197" y="68"/>
                  </a:lnTo>
                  <a:lnTo>
                    <a:pt x="196" y="71"/>
                  </a:lnTo>
                  <a:lnTo>
                    <a:pt x="196" y="71"/>
                  </a:lnTo>
                  <a:lnTo>
                    <a:pt x="196" y="72"/>
                  </a:lnTo>
                  <a:lnTo>
                    <a:pt x="196" y="72"/>
                  </a:lnTo>
                  <a:lnTo>
                    <a:pt x="196" y="74"/>
                  </a:lnTo>
                  <a:lnTo>
                    <a:pt x="196" y="74"/>
                  </a:lnTo>
                  <a:lnTo>
                    <a:pt x="196" y="75"/>
                  </a:lnTo>
                  <a:lnTo>
                    <a:pt x="196" y="76"/>
                  </a:lnTo>
                  <a:lnTo>
                    <a:pt x="196" y="75"/>
                  </a:lnTo>
                  <a:lnTo>
                    <a:pt x="196" y="75"/>
                  </a:lnTo>
                  <a:lnTo>
                    <a:pt x="196" y="76"/>
                  </a:lnTo>
                  <a:lnTo>
                    <a:pt x="196" y="75"/>
                  </a:lnTo>
                  <a:lnTo>
                    <a:pt x="197" y="76"/>
                  </a:lnTo>
                  <a:lnTo>
                    <a:pt x="196" y="75"/>
                  </a:lnTo>
                  <a:lnTo>
                    <a:pt x="196" y="75"/>
                  </a:lnTo>
                  <a:lnTo>
                    <a:pt x="197" y="76"/>
                  </a:lnTo>
                  <a:lnTo>
                    <a:pt x="196" y="75"/>
                  </a:lnTo>
                  <a:lnTo>
                    <a:pt x="196" y="76"/>
                  </a:lnTo>
                  <a:lnTo>
                    <a:pt x="196" y="75"/>
                  </a:lnTo>
                  <a:lnTo>
                    <a:pt x="196" y="75"/>
                  </a:lnTo>
                  <a:lnTo>
                    <a:pt x="196" y="76"/>
                  </a:lnTo>
                  <a:lnTo>
                    <a:pt x="196" y="75"/>
                  </a:lnTo>
                  <a:lnTo>
                    <a:pt x="196" y="75"/>
                  </a:lnTo>
                  <a:lnTo>
                    <a:pt x="196" y="75"/>
                  </a:lnTo>
                  <a:lnTo>
                    <a:pt x="196" y="75"/>
                  </a:lnTo>
                  <a:lnTo>
                    <a:pt x="196" y="75"/>
                  </a:lnTo>
                  <a:lnTo>
                    <a:pt x="196" y="75"/>
                  </a:lnTo>
                  <a:lnTo>
                    <a:pt x="196" y="75"/>
                  </a:lnTo>
                  <a:lnTo>
                    <a:pt x="193" y="74"/>
                  </a:lnTo>
                  <a:lnTo>
                    <a:pt x="193" y="74"/>
                  </a:lnTo>
                  <a:lnTo>
                    <a:pt x="191" y="72"/>
                  </a:lnTo>
                  <a:lnTo>
                    <a:pt x="191" y="72"/>
                  </a:lnTo>
                  <a:lnTo>
                    <a:pt x="189" y="72"/>
                  </a:lnTo>
                  <a:lnTo>
                    <a:pt x="189" y="72"/>
                  </a:lnTo>
                  <a:lnTo>
                    <a:pt x="187" y="72"/>
                  </a:lnTo>
                  <a:lnTo>
                    <a:pt x="187" y="72"/>
                  </a:lnTo>
                  <a:lnTo>
                    <a:pt x="186" y="74"/>
                  </a:lnTo>
                  <a:lnTo>
                    <a:pt x="186" y="74"/>
                  </a:lnTo>
                  <a:lnTo>
                    <a:pt x="183" y="79"/>
                  </a:lnTo>
                  <a:lnTo>
                    <a:pt x="183" y="79"/>
                  </a:lnTo>
                  <a:lnTo>
                    <a:pt x="181" y="85"/>
                  </a:lnTo>
                  <a:lnTo>
                    <a:pt x="181" y="85"/>
                  </a:lnTo>
                  <a:lnTo>
                    <a:pt x="181" y="88"/>
                  </a:lnTo>
                  <a:lnTo>
                    <a:pt x="181" y="88"/>
                  </a:lnTo>
                  <a:lnTo>
                    <a:pt x="180" y="89"/>
                  </a:lnTo>
                  <a:lnTo>
                    <a:pt x="181" y="91"/>
                  </a:lnTo>
                  <a:lnTo>
                    <a:pt x="181" y="89"/>
                  </a:lnTo>
                  <a:lnTo>
                    <a:pt x="180" y="89"/>
                  </a:lnTo>
                  <a:lnTo>
                    <a:pt x="181" y="91"/>
                  </a:lnTo>
                  <a:lnTo>
                    <a:pt x="181" y="89"/>
                  </a:lnTo>
                  <a:lnTo>
                    <a:pt x="181" y="89"/>
                  </a:lnTo>
                  <a:lnTo>
                    <a:pt x="181" y="89"/>
                  </a:lnTo>
                  <a:lnTo>
                    <a:pt x="178" y="88"/>
                  </a:lnTo>
                  <a:lnTo>
                    <a:pt x="178" y="88"/>
                  </a:lnTo>
                  <a:lnTo>
                    <a:pt x="174" y="88"/>
                  </a:lnTo>
                  <a:lnTo>
                    <a:pt x="174" y="88"/>
                  </a:lnTo>
                  <a:lnTo>
                    <a:pt x="173" y="88"/>
                  </a:lnTo>
                  <a:lnTo>
                    <a:pt x="173" y="88"/>
                  </a:lnTo>
                  <a:lnTo>
                    <a:pt x="171" y="89"/>
                  </a:lnTo>
                  <a:lnTo>
                    <a:pt x="171" y="89"/>
                  </a:lnTo>
                  <a:lnTo>
                    <a:pt x="170" y="92"/>
                  </a:lnTo>
                  <a:lnTo>
                    <a:pt x="168" y="97"/>
                  </a:lnTo>
                  <a:lnTo>
                    <a:pt x="168" y="97"/>
                  </a:lnTo>
                  <a:lnTo>
                    <a:pt x="170" y="100"/>
                  </a:lnTo>
                  <a:lnTo>
                    <a:pt x="170" y="100"/>
                  </a:lnTo>
                  <a:lnTo>
                    <a:pt x="170" y="100"/>
                  </a:lnTo>
                  <a:lnTo>
                    <a:pt x="170" y="100"/>
                  </a:lnTo>
                  <a:lnTo>
                    <a:pt x="170" y="100"/>
                  </a:lnTo>
                  <a:lnTo>
                    <a:pt x="170" y="100"/>
                  </a:lnTo>
                  <a:lnTo>
                    <a:pt x="170" y="100"/>
                  </a:lnTo>
                  <a:lnTo>
                    <a:pt x="170" y="102"/>
                  </a:lnTo>
                  <a:lnTo>
                    <a:pt x="170" y="102"/>
                  </a:lnTo>
                  <a:lnTo>
                    <a:pt x="170" y="107"/>
                  </a:lnTo>
                  <a:lnTo>
                    <a:pt x="170" y="107"/>
                  </a:lnTo>
                  <a:lnTo>
                    <a:pt x="168" y="108"/>
                  </a:lnTo>
                  <a:lnTo>
                    <a:pt x="168" y="108"/>
                  </a:lnTo>
                  <a:lnTo>
                    <a:pt x="170" y="108"/>
                  </a:lnTo>
                  <a:lnTo>
                    <a:pt x="170" y="107"/>
                  </a:lnTo>
                  <a:lnTo>
                    <a:pt x="170" y="107"/>
                  </a:lnTo>
                  <a:lnTo>
                    <a:pt x="168" y="108"/>
                  </a:lnTo>
                  <a:lnTo>
                    <a:pt x="170" y="108"/>
                  </a:lnTo>
                  <a:lnTo>
                    <a:pt x="170" y="107"/>
                  </a:lnTo>
                  <a:lnTo>
                    <a:pt x="170" y="110"/>
                  </a:lnTo>
                  <a:lnTo>
                    <a:pt x="171" y="108"/>
                  </a:lnTo>
                  <a:lnTo>
                    <a:pt x="170" y="107"/>
                  </a:lnTo>
                  <a:lnTo>
                    <a:pt x="170" y="110"/>
                  </a:lnTo>
                  <a:lnTo>
                    <a:pt x="171" y="108"/>
                  </a:lnTo>
                  <a:lnTo>
                    <a:pt x="170" y="108"/>
                  </a:lnTo>
                  <a:lnTo>
                    <a:pt x="171" y="108"/>
                  </a:lnTo>
                  <a:lnTo>
                    <a:pt x="171" y="108"/>
                  </a:lnTo>
                  <a:lnTo>
                    <a:pt x="170" y="108"/>
                  </a:lnTo>
                  <a:lnTo>
                    <a:pt x="171" y="108"/>
                  </a:lnTo>
                  <a:lnTo>
                    <a:pt x="171" y="108"/>
                  </a:lnTo>
                  <a:lnTo>
                    <a:pt x="171" y="108"/>
                  </a:lnTo>
                  <a:lnTo>
                    <a:pt x="167" y="101"/>
                  </a:lnTo>
                  <a:lnTo>
                    <a:pt x="167" y="101"/>
                  </a:lnTo>
                  <a:lnTo>
                    <a:pt x="165" y="97"/>
                  </a:lnTo>
                  <a:lnTo>
                    <a:pt x="165" y="97"/>
                  </a:lnTo>
                  <a:lnTo>
                    <a:pt x="162" y="95"/>
                  </a:lnTo>
                  <a:lnTo>
                    <a:pt x="162" y="95"/>
                  </a:lnTo>
                  <a:lnTo>
                    <a:pt x="161" y="94"/>
                  </a:lnTo>
                  <a:lnTo>
                    <a:pt x="160" y="95"/>
                  </a:lnTo>
                  <a:lnTo>
                    <a:pt x="160" y="95"/>
                  </a:lnTo>
                  <a:lnTo>
                    <a:pt x="155" y="97"/>
                  </a:lnTo>
                  <a:lnTo>
                    <a:pt x="155" y="97"/>
                  </a:lnTo>
                  <a:lnTo>
                    <a:pt x="148" y="102"/>
                  </a:lnTo>
                  <a:lnTo>
                    <a:pt x="148" y="102"/>
                  </a:lnTo>
                  <a:lnTo>
                    <a:pt x="145" y="107"/>
                  </a:lnTo>
                  <a:lnTo>
                    <a:pt x="144" y="110"/>
                  </a:lnTo>
                  <a:lnTo>
                    <a:pt x="144" y="110"/>
                  </a:lnTo>
                  <a:lnTo>
                    <a:pt x="144" y="113"/>
                  </a:lnTo>
                  <a:lnTo>
                    <a:pt x="144" y="113"/>
                  </a:lnTo>
                  <a:lnTo>
                    <a:pt x="144" y="121"/>
                  </a:lnTo>
                  <a:lnTo>
                    <a:pt x="144" y="121"/>
                  </a:lnTo>
                  <a:lnTo>
                    <a:pt x="144" y="123"/>
                  </a:lnTo>
                  <a:lnTo>
                    <a:pt x="144" y="123"/>
                  </a:lnTo>
                  <a:lnTo>
                    <a:pt x="142" y="124"/>
                  </a:lnTo>
                  <a:lnTo>
                    <a:pt x="142" y="124"/>
                  </a:lnTo>
                  <a:lnTo>
                    <a:pt x="141" y="127"/>
                  </a:lnTo>
                  <a:lnTo>
                    <a:pt x="138" y="131"/>
                  </a:lnTo>
                  <a:lnTo>
                    <a:pt x="138" y="131"/>
                  </a:lnTo>
                  <a:lnTo>
                    <a:pt x="136" y="136"/>
                  </a:lnTo>
                  <a:lnTo>
                    <a:pt x="136" y="136"/>
                  </a:lnTo>
                  <a:lnTo>
                    <a:pt x="136" y="137"/>
                  </a:lnTo>
                  <a:lnTo>
                    <a:pt x="136" y="137"/>
                  </a:lnTo>
                  <a:lnTo>
                    <a:pt x="132" y="140"/>
                  </a:lnTo>
                  <a:lnTo>
                    <a:pt x="132" y="140"/>
                  </a:lnTo>
                  <a:lnTo>
                    <a:pt x="125" y="144"/>
                  </a:lnTo>
                  <a:lnTo>
                    <a:pt x="125" y="144"/>
                  </a:lnTo>
                  <a:lnTo>
                    <a:pt x="119" y="147"/>
                  </a:lnTo>
                  <a:lnTo>
                    <a:pt x="119" y="147"/>
                  </a:lnTo>
                  <a:lnTo>
                    <a:pt x="105" y="152"/>
                  </a:lnTo>
                  <a:lnTo>
                    <a:pt x="105" y="152"/>
                  </a:lnTo>
                  <a:lnTo>
                    <a:pt x="97" y="153"/>
                  </a:lnTo>
                  <a:lnTo>
                    <a:pt x="97" y="153"/>
                  </a:lnTo>
                  <a:lnTo>
                    <a:pt x="92" y="156"/>
                  </a:lnTo>
                  <a:lnTo>
                    <a:pt x="92" y="156"/>
                  </a:lnTo>
                  <a:lnTo>
                    <a:pt x="83" y="160"/>
                  </a:lnTo>
                  <a:lnTo>
                    <a:pt x="78" y="162"/>
                  </a:lnTo>
                  <a:lnTo>
                    <a:pt x="73" y="163"/>
                  </a:lnTo>
                  <a:lnTo>
                    <a:pt x="73" y="163"/>
                  </a:lnTo>
                  <a:lnTo>
                    <a:pt x="57" y="165"/>
                  </a:lnTo>
                  <a:lnTo>
                    <a:pt x="57" y="165"/>
                  </a:lnTo>
                  <a:lnTo>
                    <a:pt x="48" y="166"/>
                  </a:lnTo>
                  <a:lnTo>
                    <a:pt x="48" y="166"/>
                  </a:lnTo>
                  <a:lnTo>
                    <a:pt x="42" y="169"/>
                  </a:lnTo>
                  <a:lnTo>
                    <a:pt x="42" y="169"/>
                  </a:lnTo>
                  <a:lnTo>
                    <a:pt x="35" y="176"/>
                  </a:lnTo>
                  <a:lnTo>
                    <a:pt x="35" y="176"/>
                  </a:lnTo>
                  <a:lnTo>
                    <a:pt x="32" y="179"/>
                  </a:lnTo>
                  <a:lnTo>
                    <a:pt x="32" y="179"/>
                  </a:lnTo>
                  <a:lnTo>
                    <a:pt x="32" y="179"/>
                  </a:lnTo>
                  <a:lnTo>
                    <a:pt x="32" y="181"/>
                  </a:lnTo>
                  <a:lnTo>
                    <a:pt x="32" y="179"/>
                  </a:lnTo>
                  <a:lnTo>
                    <a:pt x="32" y="179"/>
                  </a:lnTo>
                  <a:lnTo>
                    <a:pt x="32" y="181"/>
                  </a:lnTo>
                  <a:lnTo>
                    <a:pt x="32" y="179"/>
                  </a:lnTo>
                  <a:lnTo>
                    <a:pt x="32" y="179"/>
                  </a:lnTo>
                  <a:lnTo>
                    <a:pt x="29" y="181"/>
                  </a:lnTo>
                  <a:lnTo>
                    <a:pt x="29" y="181"/>
                  </a:lnTo>
                  <a:lnTo>
                    <a:pt x="26" y="184"/>
                  </a:lnTo>
                  <a:lnTo>
                    <a:pt x="26" y="184"/>
                  </a:lnTo>
                  <a:lnTo>
                    <a:pt x="22" y="189"/>
                  </a:lnTo>
                  <a:lnTo>
                    <a:pt x="22" y="189"/>
                  </a:lnTo>
                  <a:lnTo>
                    <a:pt x="21" y="191"/>
                  </a:lnTo>
                  <a:lnTo>
                    <a:pt x="21" y="192"/>
                  </a:lnTo>
                  <a:lnTo>
                    <a:pt x="21" y="194"/>
                  </a:lnTo>
                  <a:lnTo>
                    <a:pt x="21" y="191"/>
                  </a:lnTo>
                  <a:lnTo>
                    <a:pt x="21" y="191"/>
                  </a:lnTo>
                  <a:lnTo>
                    <a:pt x="21" y="192"/>
                  </a:lnTo>
                  <a:lnTo>
                    <a:pt x="21" y="194"/>
                  </a:lnTo>
                  <a:lnTo>
                    <a:pt x="21" y="191"/>
                  </a:lnTo>
                  <a:lnTo>
                    <a:pt x="21" y="194"/>
                  </a:lnTo>
                  <a:lnTo>
                    <a:pt x="22" y="192"/>
                  </a:lnTo>
                  <a:lnTo>
                    <a:pt x="21" y="191"/>
                  </a:lnTo>
                  <a:lnTo>
                    <a:pt x="21" y="194"/>
                  </a:lnTo>
                  <a:lnTo>
                    <a:pt x="22" y="192"/>
                  </a:lnTo>
                  <a:lnTo>
                    <a:pt x="21" y="194"/>
                  </a:lnTo>
                  <a:lnTo>
                    <a:pt x="23" y="192"/>
                  </a:lnTo>
                  <a:lnTo>
                    <a:pt x="22" y="192"/>
                  </a:lnTo>
                  <a:lnTo>
                    <a:pt x="21" y="194"/>
                  </a:lnTo>
                  <a:lnTo>
                    <a:pt x="23" y="192"/>
                  </a:lnTo>
                  <a:lnTo>
                    <a:pt x="23" y="192"/>
                  </a:lnTo>
                  <a:lnTo>
                    <a:pt x="22" y="192"/>
                  </a:lnTo>
                  <a:lnTo>
                    <a:pt x="23" y="192"/>
                  </a:lnTo>
                  <a:lnTo>
                    <a:pt x="23" y="192"/>
                  </a:lnTo>
                  <a:lnTo>
                    <a:pt x="22" y="192"/>
                  </a:lnTo>
                  <a:lnTo>
                    <a:pt x="23" y="192"/>
                  </a:lnTo>
                  <a:lnTo>
                    <a:pt x="23" y="192"/>
                  </a:lnTo>
                  <a:lnTo>
                    <a:pt x="23" y="192"/>
                  </a:lnTo>
                  <a:lnTo>
                    <a:pt x="23" y="191"/>
                  </a:lnTo>
                  <a:lnTo>
                    <a:pt x="23" y="191"/>
                  </a:lnTo>
                  <a:lnTo>
                    <a:pt x="23" y="189"/>
                  </a:lnTo>
                  <a:lnTo>
                    <a:pt x="23" y="189"/>
                  </a:lnTo>
                  <a:lnTo>
                    <a:pt x="23" y="188"/>
                  </a:lnTo>
                  <a:lnTo>
                    <a:pt x="23" y="188"/>
                  </a:lnTo>
                  <a:lnTo>
                    <a:pt x="22" y="186"/>
                  </a:lnTo>
                  <a:lnTo>
                    <a:pt x="21" y="186"/>
                  </a:lnTo>
                  <a:lnTo>
                    <a:pt x="21" y="186"/>
                  </a:lnTo>
                  <a:lnTo>
                    <a:pt x="19" y="186"/>
                  </a:lnTo>
                  <a:lnTo>
                    <a:pt x="19" y="186"/>
                  </a:lnTo>
                  <a:lnTo>
                    <a:pt x="18" y="188"/>
                  </a:lnTo>
                  <a:lnTo>
                    <a:pt x="18" y="188"/>
                  </a:lnTo>
                  <a:lnTo>
                    <a:pt x="10" y="194"/>
                  </a:lnTo>
                  <a:lnTo>
                    <a:pt x="10" y="194"/>
                  </a:lnTo>
                  <a:lnTo>
                    <a:pt x="9" y="198"/>
                  </a:lnTo>
                  <a:lnTo>
                    <a:pt x="8" y="202"/>
                  </a:lnTo>
                  <a:lnTo>
                    <a:pt x="8" y="202"/>
                  </a:lnTo>
                  <a:lnTo>
                    <a:pt x="8" y="204"/>
                  </a:lnTo>
                  <a:lnTo>
                    <a:pt x="8" y="204"/>
                  </a:lnTo>
                  <a:lnTo>
                    <a:pt x="9" y="210"/>
                  </a:lnTo>
                  <a:lnTo>
                    <a:pt x="9" y="210"/>
                  </a:lnTo>
                  <a:lnTo>
                    <a:pt x="8" y="215"/>
                  </a:lnTo>
                  <a:lnTo>
                    <a:pt x="8" y="215"/>
                  </a:lnTo>
                  <a:lnTo>
                    <a:pt x="6" y="217"/>
                  </a:lnTo>
                  <a:lnTo>
                    <a:pt x="6" y="217"/>
                  </a:lnTo>
                  <a:lnTo>
                    <a:pt x="5" y="223"/>
                  </a:lnTo>
                  <a:lnTo>
                    <a:pt x="5" y="223"/>
                  </a:lnTo>
                  <a:lnTo>
                    <a:pt x="3" y="227"/>
                  </a:lnTo>
                  <a:lnTo>
                    <a:pt x="3" y="227"/>
                  </a:lnTo>
                  <a:lnTo>
                    <a:pt x="3" y="230"/>
                  </a:lnTo>
                  <a:lnTo>
                    <a:pt x="3" y="230"/>
                  </a:lnTo>
                  <a:lnTo>
                    <a:pt x="5" y="230"/>
                  </a:lnTo>
                  <a:lnTo>
                    <a:pt x="5" y="230"/>
                  </a:lnTo>
                  <a:lnTo>
                    <a:pt x="6" y="231"/>
                  </a:lnTo>
                  <a:lnTo>
                    <a:pt x="6" y="231"/>
                  </a:lnTo>
                  <a:lnTo>
                    <a:pt x="8" y="231"/>
                  </a:lnTo>
                  <a:lnTo>
                    <a:pt x="8" y="231"/>
                  </a:lnTo>
                  <a:lnTo>
                    <a:pt x="8" y="231"/>
                  </a:lnTo>
                  <a:lnTo>
                    <a:pt x="8" y="231"/>
                  </a:lnTo>
                  <a:lnTo>
                    <a:pt x="13" y="227"/>
                  </a:lnTo>
                  <a:lnTo>
                    <a:pt x="13" y="227"/>
                  </a:lnTo>
                  <a:lnTo>
                    <a:pt x="15" y="226"/>
                  </a:lnTo>
                  <a:lnTo>
                    <a:pt x="15" y="226"/>
                  </a:lnTo>
                  <a:lnTo>
                    <a:pt x="15" y="224"/>
                  </a:lnTo>
                  <a:lnTo>
                    <a:pt x="15" y="226"/>
                  </a:lnTo>
                  <a:lnTo>
                    <a:pt x="15" y="226"/>
                  </a:lnTo>
                  <a:lnTo>
                    <a:pt x="15" y="224"/>
                  </a:lnTo>
                  <a:lnTo>
                    <a:pt x="15" y="226"/>
                  </a:lnTo>
                  <a:lnTo>
                    <a:pt x="13" y="223"/>
                  </a:lnTo>
                  <a:lnTo>
                    <a:pt x="13" y="226"/>
                  </a:lnTo>
                  <a:lnTo>
                    <a:pt x="13" y="226"/>
                  </a:lnTo>
                  <a:lnTo>
                    <a:pt x="15" y="226"/>
                  </a:lnTo>
                  <a:lnTo>
                    <a:pt x="13" y="223"/>
                  </a:lnTo>
                  <a:lnTo>
                    <a:pt x="13" y="226"/>
                  </a:lnTo>
                  <a:lnTo>
                    <a:pt x="13" y="223"/>
                  </a:lnTo>
                  <a:lnTo>
                    <a:pt x="12" y="224"/>
                  </a:lnTo>
                  <a:lnTo>
                    <a:pt x="12" y="224"/>
                  </a:lnTo>
                  <a:lnTo>
                    <a:pt x="13" y="226"/>
                  </a:lnTo>
                  <a:lnTo>
                    <a:pt x="13" y="223"/>
                  </a:lnTo>
                  <a:lnTo>
                    <a:pt x="12" y="224"/>
                  </a:lnTo>
                  <a:lnTo>
                    <a:pt x="13" y="223"/>
                  </a:lnTo>
                  <a:lnTo>
                    <a:pt x="12" y="223"/>
                  </a:lnTo>
                  <a:lnTo>
                    <a:pt x="12" y="223"/>
                  </a:lnTo>
                  <a:lnTo>
                    <a:pt x="12" y="224"/>
                  </a:lnTo>
                  <a:lnTo>
                    <a:pt x="13" y="223"/>
                  </a:lnTo>
                  <a:lnTo>
                    <a:pt x="12" y="223"/>
                  </a:lnTo>
                  <a:lnTo>
                    <a:pt x="13" y="223"/>
                  </a:lnTo>
                  <a:lnTo>
                    <a:pt x="12" y="223"/>
                  </a:lnTo>
                  <a:lnTo>
                    <a:pt x="12" y="223"/>
                  </a:lnTo>
                  <a:lnTo>
                    <a:pt x="13" y="223"/>
                  </a:lnTo>
                  <a:lnTo>
                    <a:pt x="12" y="223"/>
                  </a:lnTo>
                  <a:lnTo>
                    <a:pt x="13" y="223"/>
                  </a:lnTo>
                  <a:lnTo>
                    <a:pt x="12" y="223"/>
                  </a:lnTo>
                  <a:lnTo>
                    <a:pt x="12" y="223"/>
                  </a:lnTo>
                  <a:lnTo>
                    <a:pt x="12" y="223"/>
                  </a:lnTo>
                  <a:lnTo>
                    <a:pt x="12" y="223"/>
                  </a:lnTo>
                  <a:lnTo>
                    <a:pt x="12" y="223"/>
                  </a:lnTo>
                  <a:lnTo>
                    <a:pt x="12" y="223"/>
                  </a:lnTo>
                  <a:lnTo>
                    <a:pt x="12" y="223"/>
                  </a:lnTo>
                  <a:lnTo>
                    <a:pt x="10" y="223"/>
                  </a:lnTo>
                  <a:lnTo>
                    <a:pt x="10" y="223"/>
                  </a:lnTo>
                  <a:lnTo>
                    <a:pt x="9" y="227"/>
                  </a:lnTo>
                  <a:lnTo>
                    <a:pt x="8" y="233"/>
                  </a:lnTo>
                  <a:lnTo>
                    <a:pt x="8" y="233"/>
                  </a:lnTo>
                  <a:lnTo>
                    <a:pt x="8" y="234"/>
                  </a:lnTo>
                  <a:lnTo>
                    <a:pt x="8" y="234"/>
                  </a:lnTo>
                  <a:lnTo>
                    <a:pt x="8" y="242"/>
                  </a:lnTo>
                  <a:lnTo>
                    <a:pt x="8" y="242"/>
                  </a:lnTo>
                  <a:lnTo>
                    <a:pt x="10" y="247"/>
                  </a:lnTo>
                  <a:lnTo>
                    <a:pt x="10" y="247"/>
                  </a:lnTo>
                  <a:lnTo>
                    <a:pt x="13" y="253"/>
                  </a:lnTo>
                  <a:lnTo>
                    <a:pt x="13" y="253"/>
                  </a:lnTo>
                  <a:lnTo>
                    <a:pt x="15" y="256"/>
                  </a:lnTo>
                  <a:lnTo>
                    <a:pt x="15" y="256"/>
                  </a:lnTo>
                  <a:lnTo>
                    <a:pt x="15" y="257"/>
                  </a:lnTo>
                  <a:lnTo>
                    <a:pt x="16" y="257"/>
                  </a:lnTo>
                  <a:lnTo>
                    <a:pt x="16" y="257"/>
                  </a:lnTo>
                  <a:lnTo>
                    <a:pt x="15" y="257"/>
                  </a:lnTo>
                  <a:lnTo>
                    <a:pt x="16" y="257"/>
                  </a:lnTo>
                  <a:lnTo>
                    <a:pt x="16" y="257"/>
                  </a:lnTo>
                  <a:lnTo>
                    <a:pt x="18" y="259"/>
                  </a:lnTo>
                  <a:lnTo>
                    <a:pt x="18" y="256"/>
                  </a:lnTo>
                  <a:lnTo>
                    <a:pt x="18" y="256"/>
                  </a:lnTo>
                  <a:lnTo>
                    <a:pt x="16" y="257"/>
                  </a:lnTo>
                  <a:lnTo>
                    <a:pt x="18" y="259"/>
                  </a:lnTo>
                  <a:lnTo>
                    <a:pt x="18" y="256"/>
                  </a:lnTo>
                  <a:lnTo>
                    <a:pt x="18" y="257"/>
                  </a:lnTo>
                  <a:lnTo>
                    <a:pt x="18" y="256"/>
                  </a:lnTo>
                  <a:lnTo>
                    <a:pt x="18" y="256"/>
                  </a:lnTo>
                  <a:lnTo>
                    <a:pt x="18" y="257"/>
                  </a:lnTo>
                  <a:lnTo>
                    <a:pt x="18" y="256"/>
                  </a:lnTo>
                  <a:lnTo>
                    <a:pt x="18" y="256"/>
                  </a:lnTo>
                  <a:lnTo>
                    <a:pt x="18" y="256"/>
                  </a:lnTo>
                  <a:lnTo>
                    <a:pt x="18" y="256"/>
                  </a:lnTo>
                  <a:lnTo>
                    <a:pt x="18" y="256"/>
                  </a:lnTo>
                  <a:lnTo>
                    <a:pt x="18" y="256"/>
                  </a:lnTo>
                  <a:lnTo>
                    <a:pt x="18" y="256"/>
                  </a:lnTo>
                  <a:lnTo>
                    <a:pt x="18" y="256"/>
                  </a:lnTo>
                  <a:lnTo>
                    <a:pt x="13" y="253"/>
                  </a:lnTo>
                  <a:lnTo>
                    <a:pt x="13" y="253"/>
                  </a:lnTo>
                  <a:lnTo>
                    <a:pt x="12" y="252"/>
                  </a:lnTo>
                  <a:lnTo>
                    <a:pt x="10" y="252"/>
                  </a:lnTo>
                  <a:lnTo>
                    <a:pt x="10" y="252"/>
                  </a:lnTo>
                  <a:lnTo>
                    <a:pt x="9" y="250"/>
                  </a:lnTo>
                  <a:lnTo>
                    <a:pt x="9" y="250"/>
                  </a:lnTo>
                  <a:lnTo>
                    <a:pt x="6" y="252"/>
                  </a:lnTo>
                  <a:lnTo>
                    <a:pt x="6" y="252"/>
                  </a:lnTo>
                  <a:lnTo>
                    <a:pt x="6" y="255"/>
                  </a:lnTo>
                  <a:lnTo>
                    <a:pt x="6" y="255"/>
                  </a:lnTo>
                  <a:lnTo>
                    <a:pt x="6" y="257"/>
                  </a:lnTo>
                  <a:lnTo>
                    <a:pt x="6" y="257"/>
                  </a:lnTo>
                  <a:lnTo>
                    <a:pt x="6" y="259"/>
                  </a:lnTo>
                  <a:lnTo>
                    <a:pt x="6" y="260"/>
                  </a:lnTo>
                  <a:lnTo>
                    <a:pt x="6" y="260"/>
                  </a:lnTo>
                  <a:lnTo>
                    <a:pt x="8" y="260"/>
                  </a:lnTo>
                  <a:lnTo>
                    <a:pt x="6" y="260"/>
                  </a:lnTo>
                  <a:lnTo>
                    <a:pt x="6" y="260"/>
                  </a:lnTo>
                  <a:lnTo>
                    <a:pt x="8" y="260"/>
                  </a:lnTo>
                  <a:lnTo>
                    <a:pt x="6" y="260"/>
                  </a:lnTo>
                  <a:lnTo>
                    <a:pt x="8" y="260"/>
                  </a:lnTo>
                  <a:lnTo>
                    <a:pt x="8" y="259"/>
                  </a:lnTo>
                  <a:lnTo>
                    <a:pt x="8" y="259"/>
                  </a:lnTo>
                  <a:lnTo>
                    <a:pt x="6" y="260"/>
                  </a:lnTo>
                  <a:lnTo>
                    <a:pt x="8" y="260"/>
                  </a:lnTo>
                  <a:lnTo>
                    <a:pt x="8" y="259"/>
                  </a:lnTo>
                  <a:lnTo>
                    <a:pt x="8" y="260"/>
                  </a:lnTo>
                  <a:lnTo>
                    <a:pt x="9" y="259"/>
                  </a:lnTo>
                  <a:lnTo>
                    <a:pt x="8" y="259"/>
                  </a:lnTo>
                  <a:lnTo>
                    <a:pt x="8" y="260"/>
                  </a:lnTo>
                  <a:lnTo>
                    <a:pt x="9" y="259"/>
                  </a:lnTo>
                  <a:lnTo>
                    <a:pt x="9" y="260"/>
                  </a:lnTo>
                  <a:lnTo>
                    <a:pt x="9" y="259"/>
                  </a:lnTo>
                  <a:lnTo>
                    <a:pt x="9" y="259"/>
                  </a:lnTo>
                  <a:lnTo>
                    <a:pt x="9" y="260"/>
                  </a:lnTo>
                  <a:lnTo>
                    <a:pt x="9" y="259"/>
                  </a:lnTo>
                  <a:lnTo>
                    <a:pt x="9" y="259"/>
                  </a:lnTo>
                  <a:lnTo>
                    <a:pt x="8" y="257"/>
                  </a:lnTo>
                  <a:lnTo>
                    <a:pt x="6" y="256"/>
                  </a:lnTo>
                  <a:lnTo>
                    <a:pt x="5" y="255"/>
                  </a:lnTo>
                  <a:lnTo>
                    <a:pt x="5" y="255"/>
                  </a:lnTo>
                  <a:lnTo>
                    <a:pt x="3" y="255"/>
                  </a:lnTo>
                  <a:lnTo>
                    <a:pt x="3" y="255"/>
                  </a:lnTo>
                  <a:lnTo>
                    <a:pt x="2" y="255"/>
                  </a:lnTo>
                  <a:lnTo>
                    <a:pt x="2" y="255"/>
                  </a:lnTo>
                  <a:lnTo>
                    <a:pt x="0" y="256"/>
                  </a:lnTo>
                  <a:lnTo>
                    <a:pt x="0" y="256"/>
                  </a:lnTo>
                  <a:lnTo>
                    <a:pt x="0" y="257"/>
                  </a:lnTo>
                  <a:lnTo>
                    <a:pt x="0" y="257"/>
                  </a:lnTo>
                  <a:lnTo>
                    <a:pt x="0" y="260"/>
                  </a:lnTo>
                  <a:lnTo>
                    <a:pt x="0" y="260"/>
                  </a:lnTo>
                  <a:lnTo>
                    <a:pt x="2" y="268"/>
                  </a:lnTo>
                  <a:lnTo>
                    <a:pt x="2" y="268"/>
                  </a:lnTo>
                  <a:lnTo>
                    <a:pt x="3" y="273"/>
                  </a:lnTo>
                  <a:lnTo>
                    <a:pt x="6" y="276"/>
                  </a:lnTo>
                  <a:lnTo>
                    <a:pt x="6" y="276"/>
                  </a:lnTo>
                  <a:lnTo>
                    <a:pt x="12" y="284"/>
                  </a:lnTo>
                  <a:lnTo>
                    <a:pt x="12" y="284"/>
                  </a:lnTo>
                  <a:lnTo>
                    <a:pt x="15" y="292"/>
                  </a:lnTo>
                  <a:lnTo>
                    <a:pt x="15" y="292"/>
                  </a:lnTo>
                  <a:lnTo>
                    <a:pt x="16" y="298"/>
                  </a:lnTo>
                  <a:lnTo>
                    <a:pt x="19" y="304"/>
                  </a:lnTo>
                  <a:lnTo>
                    <a:pt x="19" y="304"/>
                  </a:lnTo>
                  <a:lnTo>
                    <a:pt x="22" y="308"/>
                  </a:lnTo>
                  <a:lnTo>
                    <a:pt x="22" y="308"/>
                  </a:lnTo>
                  <a:lnTo>
                    <a:pt x="25" y="311"/>
                  </a:lnTo>
                  <a:lnTo>
                    <a:pt x="25" y="311"/>
                  </a:lnTo>
                  <a:lnTo>
                    <a:pt x="26" y="314"/>
                  </a:lnTo>
                  <a:lnTo>
                    <a:pt x="26" y="314"/>
                  </a:lnTo>
                  <a:lnTo>
                    <a:pt x="28" y="323"/>
                  </a:lnTo>
                  <a:lnTo>
                    <a:pt x="28" y="323"/>
                  </a:lnTo>
                  <a:lnTo>
                    <a:pt x="29" y="328"/>
                  </a:lnTo>
                  <a:lnTo>
                    <a:pt x="29" y="328"/>
                  </a:lnTo>
                  <a:lnTo>
                    <a:pt x="31" y="336"/>
                  </a:lnTo>
                  <a:lnTo>
                    <a:pt x="31" y="336"/>
                  </a:lnTo>
                  <a:lnTo>
                    <a:pt x="38" y="360"/>
                  </a:lnTo>
                  <a:lnTo>
                    <a:pt x="38" y="360"/>
                  </a:lnTo>
                  <a:lnTo>
                    <a:pt x="41" y="369"/>
                  </a:lnTo>
                  <a:lnTo>
                    <a:pt x="41" y="369"/>
                  </a:lnTo>
                  <a:lnTo>
                    <a:pt x="42" y="376"/>
                  </a:lnTo>
                  <a:lnTo>
                    <a:pt x="42" y="376"/>
                  </a:lnTo>
                  <a:lnTo>
                    <a:pt x="42" y="376"/>
                  </a:lnTo>
                  <a:lnTo>
                    <a:pt x="44" y="376"/>
                  </a:lnTo>
                  <a:lnTo>
                    <a:pt x="42" y="376"/>
                  </a:lnTo>
                  <a:lnTo>
                    <a:pt x="42" y="376"/>
                  </a:lnTo>
                  <a:lnTo>
                    <a:pt x="44" y="376"/>
                  </a:lnTo>
                  <a:lnTo>
                    <a:pt x="42" y="376"/>
                  </a:lnTo>
                  <a:lnTo>
                    <a:pt x="44" y="376"/>
                  </a:lnTo>
                  <a:lnTo>
                    <a:pt x="42" y="375"/>
                  </a:lnTo>
                  <a:lnTo>
                    <a:pt x="42" y="376"/>
                  </a:lnTo>
                  <a:lnTo>
                    <a:pt x="44" y="376"/>
                  </a:lnTo>
                  <a:lnTo>
                    <a:pt x="42" y="375"/>
                  </a:lnTo>
                  <a:lnTo>
                    <a:pt x="44" y="376"/>
                  </a:lnTo>
                  <a:lnTo>
                    <a:pt x="44" y="375"/>
                  </a:lnTo>
                  <a:lnTo>
                    <a:pt x="42" y="375"/>
                  </a:lnTo>
                  <a:lnTo>
                    <a:pt x="44" y="376"/>
                  </a:lnTo>
                  <a:lnTo>
                    <a:pt x="44" y="375"/>
                  </a:lnTo>
                  <a:lnTo>
                    <a:pt x="44" y="376"/>
                  </a:lnTo>
                  <a:lnTo>
                    <a:pt x="45" y="375"/>
                  </a:lnTo>
                  <a:lnTo>
                    <a:pt x="45" y="375"/>
                  </a:lnTo>
                  <a:lnTo>
                    <a:pt x="44" y="375"/>
                  </a:lnTo>
                  <a:lnTo>
                    <a:pt x="44" y="376"/>
                  </a:lnTo>
                  <a:lnTo>
                    <a:pt x="45" y="375"/>
                  </a:lnTo>
                  <a:lnTo>
                    <a:pt x="45" y="375"/>
                  </a:lnTo>
                  <a:lnTo>
                    <a:pt x="45" y="375"/>
                  </a:lnTo>
                  <a:lnTo>
                    <a:pt x="44" y="372"/>
                  </a:lnTo>
                  <a:lnTo>
                    <a:pt x="44" y="372"/>
                  </a:lnTo>
                  <a:lnTo>
                    <a:pt x="42" y="370"/>
                  </a:lnTo>
                  <a:lnTo>
                    <a:pt x="42" y="370"/>
                  </a:lnTo>
                  <a:lnTo>
                    <a:pt x="39" y="370"/>
                  </a:lnTo>
                  <a:lnTo>
                    <a:pt x="39" y="370"/>
                  </a:lnTo>
                  <a:lnTo>
                    <a:pt x="36" y="372"/>
                  </a:lnTo>
                  <a:lnTo>
                    <a:pt x="36" y="372"/>
                  </a:lnTo>
                  <a:lnTo>
                    <a:pt x="35" y="373"/>
                  </a:lnTo>
                  <a:lnTo>
                    <a:pt x="35" y="373"/>
                  </a:lnTo>
                  <a:lnTo>
                    <a:pt x="32" y="383"/>
                  </a:lnTo>
                  <a:lnTo>
                    <a:pt x="32" y="383"/>
                  </a:lnTo>
                  <a:lnTo>
                    <a:pt x="31" y="386"/>
                  </a:lnTo>
                  <a:lnTo>
                    <a:pt x="31" y="386"/>
                  </a:lnTo>
                  <a:lnTo>
                    <a:pt x="31" y="388"/>
                  </a:lnTo>
                  <a:lnTo>
                    <a:pt x="31" y="388"/>
                  </a:lnTo>
                  <a:lnTo>
                    <a:pt x="25" y="391"/>
                  </a:lnTo>
                  <a:lnTo>
                    <a:pt x="25" y="391"/>
                  </a:lnTo>
                  <a:lnTo>
                    <a:pt x="23" y="394"/>
                  </a:lnTo>
                  <a:lnTo>
                    <a:pt x="23" y="394"/>
                  </a:lnTo>
                  <a:lnTo>
                    <a:pt x="23" y="397"/>
                  </a:lnTo>
                  <a:lnTo>
                    <a:pt x="23" y="397"/>
                  </a:lnTo>
                  <a:lnTo>
                    <a:pt x="23" y="399"/>
                  </a:lnTo>
                  <a:lnTo>
                    <a:pt x="25" y="404"/>
                  </a:lnTo>
                  <a:lnTo>
                    <a:pt x="25" y="404"/>
                  </a:lnTo>
                  <a:lnTo>
                    <a:pt x="26" y="407"/>
                  </a:lnTo>
                  <a:lnTo>
                    <a:pt x="31" y="408"/>
                  </a:lnTo>
                  <a:lnTo>
                    <a:pt x="31" y="408"/>
                  </a:lnTo>
                  <a:lnTo>
                    <a:pt x="34" y="410"/>
                  </a:lnTo>
                  <a:lnTo>
                    <a:pt x="36" y="412"/>
                  </a:lnTo>
                  <a:lnTo>
                    <a:pt x="36" y="412"/>
                  </a:lnTo>
                  <a:lnTo>
                    <a:pt x="45" y="420"/>
                  </a:lnTo>
                  <a:lnTo>
                    <a:pt x="45" y="420"/>
                  </a:lnTo>
                  <a:lnTo>
                    <a:pt x="54" y="423"/>
                  </a:lnTo>
                  <a:lnTo>
                    <a:pt x="63" y="424"/>
                  </a:lnTo>
                  <a:lnTo>
                    <a:pt x="63" y="424"/>
                  </a:lnTo>
                  <a:lnTo>
                    <a:pt x="68" y="423"/>
                  </a:lnTo>
                  <a:lnTo>
                    <a:pt x="68" y="423"/>
                  </a:lnTo>
                  <a:lnTo>
                    <a:pt x="80" y="417"/>
                  </a:lnTo>
                  <a:lnTo>
                    <a:pt x="80" y="417"/>
                  </a:lnTo>
                  <a:lnTo>
                    <a:pt x="90" y="412"/>
                  </a:lnTo>
                  <a:lnTo>
                    <a:pt x="90" y="412"/>
                  </a:lnTo>
                  <a:lnTo>
                    <a:pt x="96" y="410"/>
                  </a:lnTo>
                  <a:lnTo>
                    <a:pt x="100" y="405"/>
                  </a:lnTo>
                  <a:lnTo>
                    <a:pt x="100" y="405"/>
                  </a:lnTo>
                  <a:lnTo>
                    <a:pt x="105" y="402"/>
                  </a:lnTo>
                  <a:lnTo>
                    <a:pt x="105" y="402"/>
                  </a:lnTo>
                  <a:lnTo>
                    <a:pt x="107" y="401"/>
                  </a:lnTo>
                  <a:lnTo>
                    <a:pt x="107" y="401"/>
                  </a:lnTo>
                  <a:lnTo>
                    <a:pt x="115" y="401"/>
                  </a:lnTo>
                  <a:lnTo>
                    <a:pt x="125" y="399"/>
                  </a:lnTo>
                  <a:lnTo>
                    <a:pt x="125" y="399"/>
                  </a:lnTo>
                  <a:lnTo>
                    <a:pt x="132" y="401"/>
                  </a:lnTo>
                  <a:lnTo>
                    <a:pt x="132" y="401"/>
                  </a:lnTo>
                  <a:lnTo>
                    <a:pt x="136" y="402"/>
                  </a:lnTo>
                  <a:lnTo>
                    <a:pt x="142" y="404"/>
                  </a:lnTo>
                  <a:lnTo>
                    <a:pt x="142" y="404"/>
                  </a:lnTo>
                  <a:lnTo>
                    <a:pt x="145" y="402"/>
                  </a:lnTo>
                  <a:lnTo>
                    <a:pt x="148" y="401"/>
                  </a:lnTo>
                  <a:lnTo>
                    <a:pt x="148" y="401"/>
                  </a:lnTo>
                  <a:lnTo>
                    <a:pt x="151" y="398"/>
                  </a:lnTo>
                  <a:lnTo>
                    <a:pt x="152" y="398"/>
                  </a:lnTo>
                  <a:lnTo>
                    <a:pt x="152" y="398"/>
                  </a:lnTo>
                  <a:lnTo>
                    <a:pt x="152" y="398"/>
                  </a:lnTo>
                  <a:lnTo>
                    <a:pt x="152" y="398"/>
                  </a:lnTo>
                  <a:lnTo>
                    <a:pt x="152" y="398"/>
                  </a:lnTo>
                  <a:lnTo>
                    <a:pt x="152" y="398"/>
                  </a:lnTo>
                  <a:lnTo>
                    <a:pt x="152" y="398"/>
                  </a:lnTo>
                  <a:lnTo>
                    <a:pt x="152" y="397"/>
                  </a:lnTo>
                  <a:lnTo>
                    <a:pt x="152" y="398"/>
                  </a:lnTo>
                  <a:lnTo>
                    <a:pt x="152" y="398"/>
                  </a:lnTo>
                  <a:lnTo>
                    <a:pt x="152" y="397"/>
                  </a:lnTo>
                  <a:lnTo>
                    <a:pt x="152" y="398"/>
                  </a:lnTo>
                  <a:lnTo>
                    <a:pt x="152" y="397"/>
                  </a:lnTo>
                  <a:lnTo>
                    <a:pt x="151" y="398"/>
                  </a:lnTo>
                  <a:lnTo>
                    <a:pt x="152" y="398"/>
                  </a:lnTo>
                  <a:lnTo>
                    <a:pt x="152" y="397"/>
                  </a:lnTo>
                  <a:lnTo>
                    <a:pt x="151" y="398"/>
                  </a:lnTo>
                  <a:lnTo>
                    <a:pt x="151" y="398"/>
                  </a:lnTo>
                  <a:lnTo>
                    <a:pt x="151" y="398"/>
                  </a:lnTo>
                  <a:lnTo>
                    <a:pt x="151" y="398"/>
                  </a:lnTo>
                  <a:lnTo>
                    <a:pt x="151" y="398"/>
                  </a:lnTo>
                  <a:lnTo>
                    <a:pt x="151" y="398"/>
                  </a:lnTo>
                  <a:lnTo>
                    <a:pt x="152" y="398"/>
                  </a:lnTo>
                  <a:lnTo>
                    <a:pt x="152" y="398"/>
                  </a:lnTo>
                  <a:lnTo>
                    <a:pt x="155" y="401"/>
                  </a:lnTo>
                  <a:lnTo>
                    <a:pt x="155" y="401"/>
                  </a:lnTo>
                  <a:lnTo>
                    <a:pt x="157" y="402"/>
                  </a:lnTo>
                  <a:lnTo>
                    <a:pt x="160" y="402"/>
                  </a:lnTo>
                  <a:lnTo>
                    <a:pt x="160" y="402"/>
                  </a:lnTo>
                  <a:lnTo>
                    <a:pt x="162" y="402"/>
                  </a:lnTo>
                  <a:lnTo>
                    <a:pt x="164" y="401"/>
                  </a:lnTo>
                  <a:lnTo>
                    <a:pt x="164" y="401"/>
                  </a:lnTo>
                  <a:lnTo>
                    <a:pt x="168" y="395"/>
                  </a:lnTo>
                  <a:lnTo>
                    <a:pt x="168" y="395"/>
                  </a:lnTo>
                  <a:lnTo>
                    <a:pt x="173" y="386"/>
                  </a:lnTo>
                  <a:lnTo>
                    <a:pt x="173" y="386"/>
                  </a:lnTo>
                  <a:lnTo>
                    <a:pt x="176" y="383"/>
                  </a:lnTo>
                  <a:lnTo>
                    <a:pt x="176" y="383"/>
                  </a:lnTo>
                  <a:lnTo>
                    <a:pt x="177" y="382"/>
                  </a:lnTo>
                  <a:lnTo>
                    <a:pt x="177" y="382"/>
                  </a:lnTo>
                  <a:lnTo>
                    <a:pt x="184" y="382"/>
                  </a:lnTo>
                  <a:lnTo>
                    <a:pt x="196" y="381"/>
                  </a:lnTo>
                  <a:lnTo>
                    <a:pt x="196" y="381"/>
                  </a:lnTo>
                  <a:lnTo>
                    <a:pt x="215" y="382"/>
                  </a:lnTo>
                  <a:lnTo>
                    <a:pt x="215" y="382"/>
                  </a:lnTo>
                  <a:lnTo>
                    <a:pt x="226" y="382"/>
                  </a:lnTo>
                  <a:lnTo>
                    <a:pt x="226" y="382"/>
                  </a:lnTo>
                  <a:lnTo>
                    <a:pt x="233" y="381"/>
                  </a:lnTo>
                  <a:lnTo>
                    <a:pt x="233" y="381"/>
                  </a:lnTo>
                  <a:lnTo>
                    <a:pt x="242" y="378"/>
                  </a:lnTo>
                  <a:lnTo>
                    <a:pt x="242" y="378"/>
                  </a:lnTo>
                  <a:lnTo>
                    <a:pt x="251" y="373"/>
                  </a:lnTo>
                  <a:lnTo>
                    <a:pt x="260" y="370"/>
                  </a:lnTo>
                  <a:lnTo>
                    <a:pt x="277" y="366"/>
                  </a:lnTo>
                  <a:lnTo>
                    <a:pt x="277" y="366"/>
                  </a:lnTo>
                  <a:lnTo>
                    <a:pt x="286" y="365"/>
                  </a:lnTo>
                  <a:lnTo>
                    <a:pt x="291" y="365"/>
                  </a:lnTo>
                  <a:lnTo>
                    <a:pt x="291" y="365"/>
                  </a:lnTo>
                  <a:lnTo>
                    <a:pt x="296" y="365"/>
                  </a:lnTo>
                  <a:lnTo>
                    <a:pt x="296" y="365"/>
                  </a:lnTo>
                  <a:lnTo>
                    <a:pt x="303" y="370"/>
                  </a:lnTo>
                  <a:lnTo>
                    <a:pt x="303" y="370"/>
                  </a:lnTo>
                  <a:lnTo>
                    <a:pt x="309" y="373"/>
                  </a:lnTo>
                  <a:lnTo>
                    <a:pt x="316" y="375"/>
                  </a:lnTo>
                  <a:lnTo>
                    <a:pt x="316" y="375"/>
                  </a:lnTo>
                  <a:lnTo>
                    <a:pt x="330" y="376"/>
                  </a:lnTo>
                  <a:lnTo>
                    <a:pt x="330" y="376"/>
                  </a:lnTo>
                  <a:lnTo>
                    <a:pt x="333" y="378"/>
                  </a:lnTo>
                  <a:lnTo>
                    <a:pt x="335" y="378"/>
                  </a:lnTo>
                  <a:lnTo>
                    <a:pt x="335" y="378"/>
                  </a:lnTo>
                  <a:lnTo>
                    <a:pt x="335" y="378"/>
                  </a:lnTo>
                  <a:lnTo>
                    <a:pt x="335" y="378"/>
                  </a:lnTo>
                  <a:lnTo>
                    <a:pt x="335" y="378"/>
                  </a:lnTo>
                  <a:lnTo>
                    <a:pt x="335" y="378"/>
                  </a:lnTo>
                  <a:lnTo>
                    <a:pt x="336" y="376"/>
                  </a:lnTo>
                  <a:lnTo>
                    <a:pt x="335" y="378"/>
                  </a:lnTo>
                  <a:lnTo>
                    <a:pt x="335" y="378"/>
                  </a:lnTo>
                  <a:lnTo>
                    <a:pt x="336" y="376"/>
                  </a:lnTo>
                  <a:lnTo>
                    <a:pt x="335" y="378"/>
                  </a:lnTo>
                  <a:lnTo>
                    <a:pt x="335" y="376"/>
                  </a:lnTo>
                  <a:lnTo>
                    <a:pt x="335" y="376"/>
                  </a:lnTo>
                  <a:lnTo>
                    <a:pt x="335" y="378"/>
                  </a:lnTo>
                  <a:lnTo>
                    <a:pt x="335" y="376"/>
                  </a:lnTo>
                  <a:lnTo>
                    <a:pt x="335" y="376"/>
                  </a:lnTo>
                  <a:lnTo>
                    <a:pt x="335" y="376"/>
                  </a:lnTo>
                  <a:lnTo>
                    <a:pt x="335" y="376"/>
                  </a:lnTo>
                  <a:lnTo>
                    <a:pt x="335" y="376"/>
                  </a:lnTo>
                  <a:lnTo>
                    <a:pt x="335" y="376"/>
                  </a:lnTo>
                  <a:lnTo>
                    <a:pt x="335" y="376"/>
                  </a:lnTo>
                  <a:lnTo>
                    <a:pt x="335" y="376"/>
                  </a:lnTo>
                  <a:lnTo>
                    <a:pt x="335" y="376"/>
                  </a:lnTo>
                  <a:lnTo>
                    <a:pt x="335" y="376"/>
                  </a:lnTo>
                  <a:lnTo>
                    <a:pt x="335" y="376"/>
                  </a:lnTo>
                  <a:lnTo>
                    <a:pt x="335" y="376"/>
                  </a:lnTo>
                  <a:lnTo>
                    <a:pt x="335" y="376"/>
                  </a:lnTo>
                  <a:lnTo>
                    <a:pt x="333" y="378"/>
                  </a:lnTo>
                  <a:lnTo>
                    <a:pt x="333" y="378"/>
                  </a:lnTo>
                  <a:lnTo>
                    <a:pt x="332" y="381"/>
                  </a:lnTo>
                  <a:lnTo>
                    <a:pt x="332" y="381"/>
                  </a:lnTo>
                  <a:lnTo>
                    <a:pt x="333" y="385"/>
                  </a:lnTo>
                  <a:lnTo>
                    <a:pt x="333" y="385"/>
                  </a:lnTo>
                  <a:lnTo>
                    <a:pt x="335" y="386"/>
                  </a:lnTo>
                  <a:lnTo>
                    <a:pt x="336" y="388"/>
                  </a:lnTo>
                  <a:lnTo>
                    <a:pt x="336" y="388"/>
                  </a:lnTo>
                  <a:lnTo>
                    <a:pt x="339" y="388"/>
                  </a:lnTo>
                  <a:lnTo>
                    <a:pt x="339" y="388"/>
                  </a:lnTo>
                  <a:lnTo>
                    <a:pt x="339" y="388"/>
                  </a:lnTo>
                  <a:lnTo>
                    <a:pt x="341" y="389"/>
                  </a:lnTo>
                  <a:lnTo>
                    <a:pt x="341" y="389"/>
                  </a:lnTo>
                  <a:lnTo>
                    <a:pt x="342" y="395"/>
                  </a:lnTo>
                  <a:lnTo>
                    <a:pt x="345" y="399"/>
                  </a:lnTo>
                  <a:lnTo>
                    <a:pt x="345" y="399"/>
                  </a:lnTo>
                  <a:lnTo>
                    <a:pt x="346" y="404"/>
                  </a:lnTo>
                  <a:lnTo>
                    <a:pt x="346" y="404"/>
                  </a:lnTo>
                  <a:lnTo>
                    <a:pt x="348" y="405"/>
                  </a:lnTo>
                  <a:lnTo>
                    <a:pt x="348" y="405"/>
                  </a:lnTo>
                  <a:lnTo>
                    <a:pt x="349" y="411"/>
                  </a:lnTo>
                  <a:lnTo>
                    <a:pt x="349" y="411"/>
                  </a:lnTo>
                  <a:lnTo>
                    <a:pt x="351" y="415"/>
                  </a:lnTo>
                  <a:lnTo>
                    <a:pt x="352" y="418"/>
                  </a:lnTo>
                  <a:lnTo>
                    <a:pt x="352" y="418"/>
                  </a:lnTo>
                  <a:lnTo>
                    <a:pt x="357" y="421"/>
                  </a:lnTo>
                  <a:lnTo>
                    <a:pt x="357" y="421"/>
                  </a:lnTo>
                  <a:lnTo>
                    <a:pt x="359" y="423"/>
                  </a:lnTo>
                  <a:lnTo>
                    <a:pt x="359" y="423"/>
                  </a:lnTo>
                  <a:lnTo>
                    <a:pt x="362" y="423"/>
                  </a:lnTo>
                  <a:lnTo>
                    <a:pt x="362" y="423"/>
                  </a:lnTo>
                  <a:lnTo>
                    <a:pt x="365" y="421"/>
                  </a:lnTo>
                  <a:lnTo>
                    <a:pt x="365" y="421"/>
                  </a:lnTo>
                  <a:lnTo>
                    <a:pt x="367" y="420"/>
                  </a:lnTo>
                  <a:lnTo>
                    <a:pt x="367" y="418"/>
                  </a:lnTo>
                  <a:lnTo>
                    <a:pt x="367" y="418"/>
                  </a:lnTo>
                  <a:lnTo>
                    <a:pt x="365" y="415"/>
                  </a:lnTo>
                  <a:lnTo>
                    <a:pt x="365" y="414"/>
                  </a:lnTo>
                  <a:lnTo>
                    <a:pt x="365" y="414"/>
                  </a:lnTo>
                  <a:lnTo>
                    <a:pt x="365" y="414"/>
                  </a:lnTo>
                  <a:lnTo>
                    <a:pt x="365" y="414"/>
                  </a:lnTo>
                  <a:lnTo>
                    <a:pt x="365" y="414"/>
                  </a:lnTo>
                  <a:lnTo>
                    <a:pt x="365" y="414"/>
                  </a:lnTo>
                  <a:lnTo>
                    <a:pt x="365" y="414"/>
                  </a:lnTo>
                  <a:lnTo>
                    <a:pt x="365" y="414"/>
                  </a:lnTo>
                  <a:lnTo>
                    <a:pt x="365" y="414"/>
                  </a:lnTo>
                  <a:lnTo>
                    <a:pt x="365" y="414"/>
                  </a:lnTo>
                  <a:lnTo>
                    <a:pt x="365" y="414"/>
                  </a:lnTo>
                  <a:lnTo>
                    <a:pt x="365" y="414"/>
                  </a:lnTo>
                  <a:lnTo>
                    <a:pt x="365" y="414"/>
                  </a:lnTo>
                  <a:lnTo>
                    <a:pt x="365" y="414"/>
                  </a:lnTo>
                  <a:lnTo>
                    <a:pt x="365" y="414"/>
                  </a:lnTo>
                  <a:lnTo>
                    <a:pt x="365" y="414"/>
                  </a:lnTo>
                  <a:lnTo>
                    <a:pt x="365" y="414"/>
                  </a:lnTo>
                  <a:lnTo>
                    <a:pt x="365" y="414"/>
                  </a:lnTo>
                  <a:lnTo>
                    <a:pt x="367" y="412"/>
                  </a:lnTo>
                  <a:lnTo>
                    <a:pt x="367" y="412"/>
                  </a:lnTo>
                  <a:lnTo>
                    <a:pt x="370" y="408"/>
                  </a:lnTo>
                  <a:lnTo>
                    <a:pt x="370" y="408"/>
                  </a:lnTo>
                  <a:lnTo>
                    <a:pt x="374" y="401"/>
                  </a:lnTo>
                  <a:lnTo>
                    <a:pt x="374" y="401"/>
                  </a:lnTo>
                  <a:lnTo>
                    <a:pt x="375" y="398"/>
                  </a:lnTo>
                  <a:lnTo>
                    <a:pt x="375" y="398"/>
                  </a:lnTo>
                  <a:lnTo>
                    <a:pt x="377" y="398"/>
                  </a:lnTo>
                  <a:lnTo>
                    <a:pt x="377" y="398"/>
                  </a:lnTo>
                  <a:lnTo>
                    <a:pt x="381" y="397"/>
                  </a:lnTo>
                  <a:lnTo>
                    <a:pt x="386" y="395"/>
                  </a:lnTo>
                  <a:lnTo>
                    <a:pt x="386" y="395"/>
                  </a:lnTo>
                  <a:lnTo>
                    <a:pt x="387" y="392"/>
                  </a:lnTo>
                  <a:lnTo>
                    <a:pt x="387" y="389"/>
                  </a:lnTo>
                  <a:lnTo>
                    <a:pt x="387" y="389"/>
                  </a:lnTo>
                  <a:lnTo>
                    <a:pt x="387" y="389"/>
                  </a:lnTo>
                  <a:lnTo>
                    <a:pt x="390" y="386"/>
                  </a:lnTo>
                  <a:lnTo>
                    <a:pt x="390" y="386"/>
                  </a:lnTo>
                  <a:lnTo>
                    <a:pt x="391" y="385"/>
                  </a:lnTo>
                  <a:lnTo>
                    <a:pt x="393" y="385"/>
                  </a:lnTo>
                  <a:lnTo>
                    <a:pt x="391" y="383"/>
                  </a:lnTo>
                  <a:lnTo>
                    <a:pt x="391" y="385"/>
                  </a:lnTo>
                  <a:lnTo>
                    <a:pt x="393" y="385"/>
                  </a:lnTo>
                  <a:lnTo>
                    <a:pt x="391" y="383"/>
                  </a:lnTo>
                  <a:lnTo>
                    <a:pt x="391" y="385"/>
                  </a:lnTo>
                  <a:lnTo>
                    <a:pt x="391" y="383"/>
                  </a:lnTo>
                  <a:lnTo>
                    <a:pt x="391" y="385"/>
                  </a:lnTo>
                  <a:lnTo>
                    <a:pt x="391" y="385"/>
                  </a:lnTo>
                  <a:lnTo>
                    <a:pt x="391" y="385"/>
                  </a:lnTo>
                  <a:lnTo>
                    <a:pt x="391" y="383"/>
                  </a:lnTo>
                  <a:lnTo>
                    <a:pt x="391" y="385"/>
                  </a:lnTo>
                  <a:lnTo>
                    <a:pt x="391" y="383"/>
                  </a:lnTo>
                  <a:lnTo>
                    <a:pt x="390" y="383"/>
                  </a:lnTo>
                  <a:lnTo>
                    <a:pt x="390" y="383"/>
                  </a:lnTo>
                  <a:lnTo>
                    <a:pt x="391" y="385"/>
                  </a:lnTo>
                  <a:lnTo>
                    <a:pt x="391" y="383"/>
                  </a:lnTo>
                  <a:lnTo>
                    <a:pt x="390" y="383"/>
                  </a:lnTo>
                  <a:lnTo>
                    <a:pt x="390" y="383"/>
                  </a:lnTo>
                  <a:lnTo>
                    <a:pt x="390" y="383"/>
                  </a:lnTo>
                  <a:lnTo>
                    <a:pt x="390" y="383"/>
                  </a:lnTo>
                  <a:lnTo>
                    <a:pt x="390" y="385"/>
                  </a:lnTo>
                  <a:lnTo>
                    <a:pt x="390" y="385"/>
                  </a:lnTo>
                  <a:lnTo>
                    <a:pt x="390" y="388"/>
                  </a:lnTo>
                  <a:lnTo>
                    <a:pt x="390" y="388"/>
                  </a:lnTo>
                  <a:lnTo>
                    <a:pt x="390" y="391"/>
                  </a:lnTo>
                  <a:lnTo>
                    <a:pt x="388" y="394"/>
                  </a:lnTo>
                  <a:lnTo>
                    <a:pt x="388" y="394"/>
                  </a:lnTo>
                  <a:lnTo>
                    <a:pt x="387" y="399"/>
                  </a:lnTo>
                  <a:lnTo>
                    <a:pt x="387" y="399"/>
                  </a:lnTo>
                  <a:lnTo>
                    <a:pt x="384" y="410"/>
                  </a:lnTo>
                  <a:lnTo>
                    <a:pt x="384" y="410"/>
                  </a:lnTo>
                  <a:lnTo>
                    <a:pt x="384" y="414"/>
                  </a:lnTo>
                  <a:lnTo>
                    <a:pt x="384" y="414"/>
                  </a:lnTo>
                  <a:lnTo>
                    <a:pt x="383" y="415"/>
                  </a:lnTo>
                  <a:lnTo>
                    <a:pt x="383" y="415"/>
                  </a:lnTo>
                  <a:lnTo>
                    <a:pt x="383" y="415"/>
                  </a:lnTo>
                  <a:lnTo>
                    <a:pt x="384" y="415"/>
                  </a:lnTo>
                  <a:lnTo>
                    <a:pt x="384" y="414"/>
                  </a:lnTo>
                  <a:lnTo>
                    <a:pt x="383" y="415"/>
                  </a:lnTo>
                  <a:lnTo>
                    <a:pt x="384" y="415"/>
                  </a:lnTo>
                  <a:lnTo>
                    <a:pt x="384" y="414"/>
                  </a:lnTo>
                  <a:lnTo>
                    <a:pt x="384" y="414"/>
                  </a:lnTo>
                  <a:lnTo>
                    <a:pt x="380" y="417"/>
                  </a:lnTo>
                  <a:lnTo>
                    <a:pt x="380" y="417"/>
                  </a:lnTo>
                  <a:lnTo>
                    <a:pt x="378" y="418"/>
                  </a:lnTo>
                  <a:lnTo>
                    <a:pt x="377" y="421"/>
                  </a:lnTo>
                  <a:lnTo>
                    <a:pt x="377" y="421"/>
                  </a:lnTo>
                  <a:lnTo>
                    <a:pt x="375" y="424"/>
                  </a:lnTo>
                  <a:lnTo>
                    <a:pt x="375" y="424"/>
                  </a:lnTo>
                  <a:lnTo>
                    <a:pt x="377" y="427"/>
                  </a:lnTo>
                  <a:lnTo>
                    <a:pt x="377" y="427"/>
                  </a:lnTo>
                  <a:lnTo>
                    <a:pt x="380" y="428"/>
                  </a:lnTo>
                  <a:lnTo>
                    <a:pt x="380" y="428"/>
                  </a:lnTo>
                  <a:lnTo>
                    <a:pt x="386" y="427"/>
                  </a:lnTo>
                  <a:lnTo>
                    <a:pt x="386" y="427"/>
                  </a:lnTo>
                  <a:lnTo>
                    <a:pt x="386" y="427"/>
                  </a:lnTo>
                  <a:lnTo>
                    <a:pt x="390" y="423"/>
                  </a:lnTo>
                  <a:lnTo>
                    <a:pt x="390" y="423"/>
                  </a:lnTo>
                  <a:lnTo>
                    <a:pt x="393" y="421"/>
                  </a:lnTo>
                  <a:lnTo>
                    <a:pt x="394" y="417"/>
                  </a:lnTo>
                  <a:lnTo>
                    <a:pt x="394" y="417"/>
                  </a:lnTo>
                  <a:lnTo>
                    <a:pt x="397" y="412"/>
                  </a:lnTo>
                  <a:lnTo>
                    <a:pt x="397" y="412"/>
                  </a:lnTo>
                  <a:lnTo>
                    <a:pt x="399" y="411"/>
                  </a:lnTo>
                  <a:lnTo>
                    <a:pt x="399" y="411"/>
                  </a:lnTo>
                  <a:lnTo>
                    <a:pt x="399" y="410"/>
                  </a:lnTo>
                  <a:lnTo>
                    <a:pt x="399" y="411"/>
                  </a:lnTo>
                  <a:lnTo>
                    <a:pt x="399" y="411"/>
                  </a:lnTo>
                  <a:lnTo>
                    <a:pt x="399" y="411"/>
                  </a:lnTo>
                  <a:lnTo>
                    <a:pt x="399" y="410"/>
                  </a:lnTo>
                  <a:lnTo>
                    <a:pt x="399" y="411"/>
                  </a:lnTo>
                  <a:lnTo>
                    <a:pt x="399" y="410"/>
                  </a:lnTo>
                  <a:lnTo>
                    <a:pt x="397" y="411"/>
                  </a:lnTo>
                  <a:lnTo>
                    <a:pt x="399" y="411"/>
                  </a:lnTo>
                  <a:lnTo>
                    <a:pt x="399" y="410"/>
                  </a:lnTo>
                  <a:lnTo>
                    <a:pt x="397" y="411"/>
                  </a:lnTo>
                  <a:lnTo>
                    <a:pt x="397" y="410"/>
                  </a:lnTo>
                  <a:lnTo>
                    <a:pt x="396" y="410"/>
                  </a:lnTo>
                  <a:lnTo>
                    <a:pt x="397" y="411"/>
                  </a:lnTo>
                  <a:lnTo>
                    <a:pt x="397" y="410"/>
                  </a:lnTo>
                  <a:lnTo>
                    <a:pt x="396" y="410"/>
                  </a:lnTo>
                  <a:lnTo>
                    <a:pt x="396" y="410"/>
                  </a:lnTo>
                  <a:lnTo>
                    <a:pt x="399" y="417"/>
                  </a:lnTo>
                  <a:lnTo>
                    <a:pt x="399" y="417"/>
                  </a:lnTo>
                  <a:lnTo>
                    <a:pt x="401" y="425"/>
                  </a:lnTo>
                  <a:lnTo>
                    <a:pt x="401" y="425"/>
                  </a:lnTo>
                  <a:lnTo>
                    <a:pt x="401" y="425"/>
                  </a:lnTo>
                  <a:lnTo>
                    <a:pt x="401" y="425"/>
                  </a:lnTo>
                  <a:lnTo>
                    <a:pt x="401" y="425"/>
                  </a:lnTo>
                  <a:lnTo>
                    <a:pt x="401" y="425"/>
                  </a:lnTo>
                  <a:lnTo>
                    <a:pt x="401" y="425"/>
                  </a:lnTo>
                  <a:lnTo>
                    <a:pt x="400" y="427"/>
                  </a:lnTo>
                  <a:lnTo>
                    <a:pt x="400" y="427"/>
                  </a:lnTo>
                  <a:lnTo>
                    <a:pt x="397" y="430"/>
                  </a:lnTo>
                  <a:lnTo>
                    <a:pt x="397" y="430"/>
                  </a:lnTo>
                  <a:lnTo>
                    <a:pt x="396" y="430"/>
                  </a:lnTo>
                  <a:lnTo>
                    <a:pt x="394" y="431"/>
                  </a:lnTo>
                  <a:lnTo>
                    <a:pt x="394" y="431"/>
                  </a:lnTo>
                  <a:lnTo>
                    <a:pt x="394" y="433"/>
                  </a:lnTo>
                  <a:lnTo>
                    <a:pt x="394" y="433"/>
                  </a:lnTo>
                  <a:lnTo>
                    <a:pt x="396" y="436"/>
                  </a:lnTo>
                  <a:lnTo>
                    <a:pt x="396" y="436"/>
                  </a:lnTo>
                  <a:lnTo>
                    <a:pt x="396" y="436"/>
                  </a:lnTo>
                  <a:lnTo>
                    <a:pt x="396" y="436"/>
                  </a:lnTo>
                  <a:lnTo>
                    <a:pt x="399" y="436"/>
                  </a:lnTo>
                  <a:lnTo>
                    <a:pt x="399" y="436"/>
                  </a:lnTo>
                  <a:lnTo>
                    <a:pt x="403" y="437"/>
                  </a:lnTo>
                  <a:lnTo>
                    <a:pt x="403" y="437"/>
                  </a:lnTo>
                  <a:lnTo>
                    <a:pt x="407" y="436"/>
                  </a:lnTo>
                  <a:lnTo>
                    <a:pt x="407" y="436"/>
                  </a:lnTo>
                  <a:lnTo>
                    <a:pt x="409" y="434"/>
                  </a:lnTo>
                  <a:lnTo>
                    <a:pt x="410" y="433"/>
                  </a:lnTo>
                  <a:lnTo>
                    <a:pt x="410" y="433"/>
                  </a:lnTo>
                  <a:lnTo>
                    <a:pt x="410" y="433"/>
                  </a:lnTo>
                  <a:lnTo>
                    <a:pt x="409" y="431"/>
                  </a:lnTo>
                  <a:lnTo>
                    <a:pt x="410" y="433"/>
                  </a:lnTo>
                  <a:lnTo>
                    <a:pt x="410" y="433"/>
                  </a:lnTo>
                  <a:lnTo>
                    <a:pt x="409" y="431"/>
                  </a:lnTo>
                  <a:lnTo>
                    <a:pt x="410" y="433"/>
                  </a:lnTo>
                  <a:lnTo>
                    <a:pt x="409" y="431"/>
                  </a:lnTo>
                  <a:lnTo>
                    <a:pt x="409" y="433"/>
                  </a:lnTo>
                  <a:lnTo>
                    <a:pt x="409" y="433"/>
                  </a:lnTo>
                  <a:lnTo>
                    <a:pt x="410" y="433"/>
                  </a:lnTo>
                  <a:lnTo>
                    <a:pt x="409" y="431"/>
                  </a:lnTo>
                  <a:lnTo>
                    <a:pt x="409" y="433"/>
                  </a:lnTo>
                  <a:lnTo>
                    <a:pt x="409" y="431"/>
                  </a:lnTo>
                  <a:lnTo>
                    <a:pt x="407" y="433"/>
                  </a:lnTo>
                  <a:lnTo>
                    <a:pt x="407" y="433"/>
                  </a:lnTo>
                  <a:lnTo>
                    <a:pt x="409" y="433"/>
                  </a:lnTo>
                  <a:lnTo>
                    <a:pt x="409" y="431"/>
                  </a:lnTo>
                  <a:lnTo>
                    <a:pt x="407" y="433"/>
                  </a:lnTo>
                  <a:lnTo>
                    <a:pt x="407" y="433"/>
                  </a:lnTo>
                  <a:lnTo>
                    <a:pt x="407" y="433"/>
                  </a:lnTo>
                  <a:lnTo>
                    <a:pt x="407" y="433"/>
                  </a:lnTo>
                  <a:lnTo>
                    <a:pt x="407" y="433"/>
                  </a:lnTo>
                  <a:lnTo>
                    <a:pt x="407" y="433"/>
                  </a:lnTo>
                  <a:lnTo>
                    <a:pt x="407" y="433"/>
                  </a:lnTo>
                  <a:lnTo>
                    <a:pt x="410" y="436"/>
                  </a:lnTo>
                  <a:lnTo>
                    <a:pt x="410" y="436"/>
                  </a:lnTo>
                  <a:lnTo>
                    <a:pt x="417" y="446"/>
                  </a:lnTo>
                  <a:lnTo>
                    <a:pt x="417" y="446"/>
                  </a:lnTo>
                  <a:lnTo>
                    <a:pt x="420" y="450"/>
                  </a:lnTo>
                  <a:lnTo>
                    <a:pt x="422" y="454"/>
                  </a:lnTo>
                  <a:lnTo>
                    <a:pt x="422" y="454"/>
                  </a:lnTo>
                  <a:lnTo>
                    <a:pt x="422" y="454"/>
                  </a:lnTo>
                  <a:lnTo>
                    <a:pt x="422" y="454"/>
                  </a:lnTo>
                  <a:lnTo>
                    <a:pt x="422" y="457"/>
                  </a:lnTo>
                  <a:lnTo>
                    <a:pt x="422" y="457"/>
                  </a:lnTo>
                  <a:lnTo>
                    <a:pt x="422" y="462"/>
                  </a:lnTo>
                  <a:lnTo>
                    <a:pt x="423" y="466"/>
                  </a:lnTo>
                  <a:lnTo>
                    <a:pt x="429" y="473"/>
                  </a:lnTo>
                  <a:lnTo>
                    <a:pt x="429" y="473"/>
                  </a:lnTo>
                  <a:lnTo>
                    <a:pt x="432" y="479"/>
                  </a:lnTo>
                  <a:lnTo>
                    <a:pt x="432" y="479"/>
                  </a:lnTo>
                  <a:lnTo>
                    <a:pt x="436" y="482"/>
                  </a:lnTo>
                  <a:lnTo>
                    <a:pt x="436" y="482"/>
                  </a:lnTo>
                  <a:lnTo>
                    <a:pt x="442" y="485"/>
                  </a:lnTo>
                  <a:lnTo>
                    <a:pt x="442" y="485"/>
                  </a:lnTo>
                  <a:lnTo>
                    <a:pt x="445" y="486"/>
                  </a:lnTo>
                  <a:lnTo>
                    <a:pt x="445" y="486"/>
                  </a:lnTo>
                  <a:lnTo>
                    <a:pt x="448" y="489"/>
                  </a:lnTo>
                  <a:lnTo>
                    <a:pt x="448" y="489"/>
                  </a:lnTo>
                  <a:lnTo>
                    <a:pt x="448" y="491"/>
                  </a:lnTo>
                  <a:lnTo>
                    <a:pt x="448" y="491"/>
                  </a:lnTo>
                  <a:lnTo>
                    <a:pt x="449" y="492"/>
                  </a:lnTo>
                  <a:lnTo>
                    <a:pt x="449" y="492"/>
                  </a:lnTo>
                  <a:lnTo>
                    <a:pt x="452" y="494"/>
                  </a:lnTo>
                  <a:lnTo>
                    <a:pt x="452" y="494"/>
                  </a:lnTo>
                  <a:lnTo>
                    <a:pt x="455" y="492"/>
                  </a:lnTo>
                  <a:lnTo>
                    <a:pt x="455" y="492"/>
                  </a:lnTo>
                  <a:lnTo>
                    <a:pt x="458" y="489"/>
                  </a:lnTo>
                  <a:lnTo>
                    <a:pt x="459" y="488"/>
                  </a:lnTo>
                  <a:lnTo>
                    <a:pt x="459" y="486"/>
                  </a:lnTo>
                  <a:lnTo>
                    <a:pt x="459" y="486"/>
                  </a:lnTo>
                  <a:lnTo>
                    <a:pt x="459" y="485"/>
                  </a:lnTo>
                  <a:lnTo>
                    <a:pt x="459" y="486"/>
                  </a:lnTo>
                  <a:lnTo>
                    <a:pt x="459" y="486"/>
                  </a:lnTo>
                  <a:lnTo>
                    <a:pt x="459" y="485"/>
                  </a:lnTo>
                  <a:lnTo>
                    <a:pt x="459" y="486"/>
                  </a:lnTo>
                  <a:lnTo>
                    <a:pt x="458" y="485"/>
                  </a:lnTo>
                  <a:lnTo>
                    <a:pt x="458" y="486"/>
                  </a:lnTo>
                  <a:lnTo>
                    <a:pt x="459" y="486"/>
                  </a:lnTo>
                  <a:lnTo>
                    <a:pt x="458" y="485"/>
                  </a:lnTo>
                  <a:lnTo>
                    <a:pt x="458" y="486"/>
                  </a:lnTo>
                  <a:lnTo>
                    <a:pt x="458" y="486"/>
                  </a:lnTo>
                  <a:lnTo>
                    <a:pt x="458" y="486"/>
                  </a:lnTo>
                  <a:lnTo>
                    <a:pt x="458" y="486"/>
                  </a:lnTo>
                  <a:lnTo>
                    <a:pt x="458" y="486"/>
                  </a:lnTo>
                  <a:lnTo>
                    <a:pt x="458" y="486"/>
                  </a:lnTo>
                  <a:lnTo>
                    <a:pt x="458" y="486"/>
                  </a:lnTo>
                  <a:lnTo>
                    <a:pt x="459" y="488"/>
                  </a:lnTo>
                  <a:lnTo>
                    <a:pt x="459" y="488"/>
                  </a:lnTo>
                  <a:lnTo>
                    <a:pt x="470" y="494"/>
                  </a:lnTo>
                  <a:lnTo>
                    <a:pt x="470" y="494"/>
                  </a:lnTo>
                  <a:lnTo>
                    <a:pt x="475" y="496"/>
                  </a:lnTo>
                  <a:lnTo>
                    <a:pt x="475" y="496"/>
                  </a:lnTo>
                  <a:lnTo>
                    <a:pt x="480" y="496"/>
                  </a:lnTo>
                  <a:lnTo>
                    <a:pt x="481" y="496"/>
                  </a:lnTo>
                  <a:lnTo>
                    <a:pt x="481" y="496"/>
                  </a:lnTo>
                  <a:lnTo>
                    <a:pt x="491" y="494"/>
                  </a:lnTo>
                  <a:lnTo>
                    <a:pt x="491" y="494"/>
                  </a:lnTo>
                  <a:lnTo>
                    <a:pt x="496" y="492"/>
                  </a:lnTo>
                  <a:lnTo>
                    <a:pt x="496" y="492"/>
                  </a:lnTo>
                  <a:lnTo>
                    <a:pt x="498" y="491"/>
                  </a:lnTo>
                  <a:lnTo>
                    <a:pt x="498" y="491"/>
                  </a:lnTo>
                  <a:lnTo>
                    <a:pt x="501" y="489"/>
                  </a:lnTo>
                  <a:lnTo>
                    <a:pt x="503" y="488"/>
                  </a:lnTo>
                  <a:lnTo>
                    <a:pt x="503" y="488"/>
                  </a:lnTo>
                  <a:lnTo>
                    <a:pt x="506" y="482"/>
                  </a:lnTo>
                  <a:lnTo>
                    <a:pt x="506" y="482"/>
                  </a:lnTo>
                  <a:lnTo>
                    <a:pt x="507" y="481"/>
                  </a:lnTo>
                  <a:lnTo>
                    <a:pt x="507" y="481"/>
                  </a:lnTo>
                  <a:lnTo>
                    <a:pt x="507" y="481"/>
                  </a:lnTo>
                  <a:lnTo>
                    <a:pt x="506" y="479"/>
                  </a:lnTo>
                  <a:lnTo>
                    <a:pt x="507" y="481"/>
                  </a:lnTo>
                  <a:lnTo>
                    <a:pt x="507" y="481"/>
                  </a:lnTo>
                  <a:lnTo>
                    <a:pt x="506" y="479"/>
                  </a:lnTo>
                  <a:lnTo>
                    <a:pt x="507" y="481"/>
                  </a:lnTo>
                  <a:lnTo>
                    <a:pt x="506" y="478"/>
                  </a:lnTo>
                  <a:lnTo>
                    <a:pt x="506" y="481"/>
                  </a:lnTo>
                  <a:lnTo>
                    <a:pt x="506" y="481"/>
                  </a:lnTo>
                  <a:lnTo>
                    <a:pt x="507" y="481"/>
                  </a:lnTo>
                  <a:lnTo>
                    <a:pt x="506" y="478"/>
                  </a:lnTo>
                  <a:lnTo>
                    <a:pt x="506" y="481"/>
                  </a:lnTo>
                  <a:lnTo>
                    <a:pt x="506" y="479"/>
                  </a:lnTo>
                  <a:lnTo>
                    <a:pt x="506" y="481"/>
                  </a:lnTo>
                  <a:lnTo>
                    <a:pt x="506" y="481"/>
                  </a:lnTo>
                  <a:lnTo>
                    <a:pt x="506" y="479"/>
                  </a:lnTo>
                  <a:lnTo>
                    <a:pt x="506" y="481"/>
                  </a:lnTo>
                  <a:lnTo>
                    <a:pt x="506" y="481"/>
                  </a:lnTo>
                  <a:lnTo>
                    <a:pt x="506" y="481"/>
                  </a:lnTo>
                  <a:lnTo>
                    <a:pt x="506" y="481"/>
                  </a:lnTo>
                  <a:lnTo>
                    <a:pt x="506" y="481"/>
                  </a:lnTo>
                  <a:lnTo>
                    <a:pt x="506" y="481"/>
                  </a:lnTo>
                  <a:lnTo>
                    <a:pt x="506" y="481"/>
                  </a:lnTo>
                  <a:lnTo>
                    <a:pt x="507" y="482"/>
                  </a:lnTo>
                  <a:lnTo>
                    <a:pt x="507" y="482"/>
                  </a:lnTo>
                  <a:lnTo>
                    <a:pt x="513" y="488"/>
                  </a:lnTo>
                  <a:lnTo>
                    <a:pt x="513" y="488"/>
                  </a:lnTo>
                  <a:lnTo>
                    <a:pt x="517" y="495"/>
                  </a:lnTo>
                  <a:lnTo>
                    <a:pt x="517" y="495"/>
                  </a:lnTo>
                  <a:lnTo>
                    <a:pt x="519" y="496"/>
                  </a:lnTo>
                  <a:lnTo>
                    <a:pt x="519" y="496"/>
                  </a:lnTo>
                  <a:lnTo>
                    <a:pt x="523" y="498"/>
                  </a:lnTo>
                  <a:lnTo>
                    <a:pt x="523" y="498"/>
                  </a:lnTo>
                  <a:lnTo>
                    <a:pt x="527" y="498"/>
                  </a:lnTo>
                  <a:lnTo>
                    <a:pt x="527" y="498"/>
                  </a:lnTo>
                  <a:lnTo>
                    <a:pt x="532" y="496"/>
                  </a:lnTo>
                  <a:lnTo>
                    <a:pt x="532" y="496"/>
                  </a:lnTo>
                  <a:lnTo>
                    <a:pt x="538" y="496"/>
                  </a:lnTo>
                  <a:lnTo>
                    <a:pt x="538" y="496"/>
                  </a:lnTo>
                  <a:lnTo>
                    <a:pt x="542" y="496"/>
                  </a:lnTo>
                  <a:lnTo>
                    <a:pt x="542" y="496"/>
                  </a:lnTo>
                  <a:lnTo>
                    <a:pt x="546" y="494"/>
                  </a:lnTo>
                  <a:lnTo>
                    <a:pt x="546" y="494"/>
                  </a:lnTo>
                  <a:lnTo>
                    <a:pt x="549" y="491"/>
                  </a:lnTo>
                  <a:lnTo>
                    <a:pt x="551" y="486"/>
                  </a:lnTo>
                  <a:lnTo>
                    <a:pt x="551" y="486"/>
                  </a:lnTo>
                  <a:lnTo>
                    <a:pt x="552" y="485"/>
                  </a:lnTo>
                  <a:lnTo>
                    <a:pt x="552" y="485"/>
                  </a:lnTo>
                  <a:lnTo>
                    <a:pt x="555" y="483"/>
                  </a:lnTo>
                  <a:lnTo>
                    <a:pt x="555" y="483"/>
                  </a:lnTo>
                  <a:lnTo>
                    <a:pt x="565" y="481"/>
                  </a:lnTo>
                  <a:lnTo>
                    <a:pt x="575" y="478"/>
                  </a:lnTo>
                  <a:lnTo>
                    <a:pt x="575" y="478"/>
                  </a:lnTo>
                  <a:lnTo>
                    <a:pt x="580" y="476"/>
                  </a:lnTo>
                  <a:lnTo>
                    <a:pt x="584" y="476"/>
                  </a:lnTo>
                  <a:lnTo>
                    <a:pt x="584" y="476"/>
                  </a:lnTo>
                  <a:lnTo>
                    <a:pt x="588" y="475"/>
                  </a:lnTo>
                  <a:lnTo>
                    <a:pt x="588" y="475"/>
                  </a:lnTo>
                  <a:lnTo>
                    <a:pt x="591" y="473"/>
                  </a:lnTo>
                  <a:lnTo>
                    <a:pt x="591" y="473"/>
                  </a:lnTo>
                  <a:lnTo>
                    <a:pt x="591" y="470"/>
                  </a:lnTo>
                  <a:lnTo>
                    <a:pt x="591" y="470"/>
                  </a:lnTo>
                  <a:lnTo>
                    <a:pt x="593" y="456"/>
                  </a:lnTo>
                  <a:lnTo>
                    <a:pt x="593" y="456"/>
                  </a:lnTo>
                  <a:lnTo>
                    <a:pt x="594" y="449"/>
                  </a:lnTo>
                  <a:lnTo>
                    <a:pt x="594" y="449"/>
                  </a:lnTo>
                  <a:lnTo>
                    <a:pt x="594" y="447"/>
                  </a:lnTo>
                  <a:lnTo>
                    <a:pt x="594" y="447"/>
                  </a:lnTo>
                  <a:lnTo>
                    <a:pt x="594" y="447"/>
                  </a:lnTo>
                  <a:lnTo>
                    <a:pt x="594" y="447"/>
                  </a:lnTo>
                  <a:lnTo>
                    <a:pt x="594" y="447"/>
                  </a:lnTo>
                  <a:lnTo>
                    <a:pt x="594" y="447"/>
                  </a:lnTo>
                  <a:lnTo>
                    <a:pt x="594" y="447"/>
                  </a:lnTo>
                  <a:lnTo>
                    <a:pt x="593" y="446"/>
                  </a:lnTo>
                  <a:lnTo>
                    <a:pt x="594" y="447"/>
                  </a:lnTo>
                  <a:lnTo>
                    <a:pt x="594" y="447"/>
                  </a:lnTo>
                  <a:lnTo>
                    <a:pt x="593" y="446"/>
                  </a:lnTo>
                  <a:lnTo>
                    <a:pt x="594" y="447"/>
                  </a:lnTo>
                  <a:lnTo>
                    <a:pt x="594" y="447"/>
                  </a:lnTo>
                  <a:lnTo>
                    <a:pt x="596" y="444"/>
                  </a:lnTo>
                  <a:lnTo>
                    <a:pt x="596" y="444"/>
                  </a:lnTo>
                  <a:lnTo>
                    <a:pt x="597" y="440"/>
                  </a:lnTo>
                  <a:lnTo>
                    <a:pt x="597" y="440"/>
                  </a:lnTo>
                  <a:lnTo>
                    <a:pt x="598" y="433"/>
                  </a:lnTo>
                  <a:lnTo>
                    <a:pt x="598" y="433"/>
                  </a:lnTo>
                  <a:lnTo>
                    <a:pt x="601" y="425"/>
                  </a:lnTo>
                  <a:lnTo>
                    <a:pt x="601" y="425"/>
                  </a:lnTo>
                  <a:lnTo>
                    <a:pt x="603" y="421"/>
                  </a:lnTo>
                  <a:lnTo>
                    <a:pt x="603" y="415"/>
                  </a:lnTo>
                  <a:lnTo>
                    <a:pt x="603" y="415"/>
                  </a:lnTo>
                  <a:lnTo>
                    <a:pt x="604" y="412"/>
                  </a:lnTo>
                  <a:lnTo>
                    <a:pt x="604" y="412"/>
                  </a:lnTo>
                  <a:lnTo>
                    <a:pt x="606" y="410"/>
                  </a:lnTo>
                  <a:lnTo>
                    <a:pt x="606" y="410"/>
                  </a:lnTo>
                  <a:lnTo>
                    <a:pt x="610" y="405"/>
                  </a:lnTo>
                  <a:lnTo>
                    <a:pt x="610" y="405"/>
                  </a:lnTo>
                  <a:lnTo>
                    <a:pt x="616" y="397"/>
                  </a:lnTo>
                  <a:lnTo>
                    <a:pt x="616" y="397"/>
                  </a:lnTo>
                  <a:lnTo>
                    <a:pt x="622" y="391"/>
                  </a:lnTo>
                  <a:lnTo>
                    <a:pt x="622" y="391"/>
                  </a:lnTo>
                  <a:lnTo>
                    <a:pt x="629" y="386"/>
                  </a:lnTo>
                  <a:lnTo>
                    <a:pt x="629" y="386"/>
                  </a:lnTo>
                  <a:lnTo>
                    <a:pt x="636" y="381"/>
                  </a:lnTo>
                  <a:lnTo>
                    <a:pt x="636" y="381"/>
                  </a:lnTo>
                  <a:lnTo>
                    <a:pt x="639" y="378"/>
                  </a:lnTo>
                  <a:lnTo>
                    <a:pt x="639" y="378"/>
                  </a:lnTo>
                  <a:lnTo>
                    <a:pt x="645" y="366"/>
                  </a:lnTo>
                  <a:lnTo>
                    <a:pt x="649" y="352"/>
                  </a:lnTo>
                  <a:lnTo>
                    <a:pt x="649" y="352"/>
                  </a:lnTo>
                  <a:lnTo>
                    <a:pt x="655" y="328"/>
                  </a:lnTo>
                  <a:lnTo>
                    <a:pt x="655" y="328"/>
                  </a:lnTo>
                  <a:lnTo>
                    <a:pt x="658" y="315"/>
                  </a:lnTo>
                  <a:lnTo>
                    <a:pt x="658" y="315"/>
                  </a:lnTo>
                  <a:lnTo>
                    <a:pt x="659" y="308"/>
                  </a:lnTo>
                  <a:lnTo>
                    <a:pt x="659" y="302"/>
                  </a:lnTo>
                  <a:lnTo>
                    <a:pt x="659" y="302"/>
                  </a:lnTo>
                  <a:lnTo>
                    <a:pt x="659" y="298"/>
                  </a:lnTo>
                  <a:lnTo>
                    <a:pt x="658" y="295"/>
                  </a:lnTo>
                  <a:lnTo>
                    <a:pt x="658" y="295"/>
                  </a:lnTo>
                  <a:lnTo>
                    <a:pt x="655" y="288"/>
                  </a:lnTo>
                  <a:lnTo>
                    <a:pt x="655" y="288"/>
                  </a:lnTo>
                  <a:lnTo>
                    <a:pt x="655" y="282"/>
                  </a:lnTo>
                  <a:lnTo>
                    <a:pt x="655" y="282"/>
                  </a:lnTo>
                  <a:lnTo>
                    <a:pt x="655" y="279"/>
                  </a:lnTo>
                  <a:lnTo>
                    <a:pt x="655" y="279"/>
                  </a:lnTo>
                  <a:lnTo>
                    <a:pt x="655" y="279"/>
                  </a:lnTo>
                  <a:lnTo>
                    <a:pt x="653" y="272"/>
                  </a:lnTo>
                  <a:lnTo>
                    <a:pt x="652" y="265"/>
                  </a:lnTo>
                  <a:lnTo>
                    <a:pt x="652" y="265"/>
                  </a:lnTo>
                  <a:lnTo>
                    <a:pt x="649" y="255"/>
                  </a:lnTo>
                  <a:lnTo>
                    <a:pt x="649" y="255"/>
                  </a:lnTo>
                  <a:lnTo>
                    <a:pt x="643" y="242"/>
                  </a:lnTo>
                  <a:lnTo>
                    <a:pt x="643" y="242"/>
                  </a:lnTo>
                  <a:lnTo>
                    <a:pt x="640" y="234"/>
                  </a:lnTo>
                  <a:lnTo>
                    <a:pt x="640" y="234"/>
                  </a:lnTo>
                  <a:lnTo>
                    <a:pt x="636" y="229"/>
                  </a:lnTo>
                  <a:lnTo>
                    <a:pt x="636" y="229"/>
                  </a:lnTo>
                  <a:lnTo>
                    <a:pt x="630" y="221"/>
                  </a:lnTo>
                  <a:lnTo>
                    <a:pt x="630" y="221"/>
                  </a:lnTo>
                  <a:lnTo>
                    <a:pt x="622" y="214"/>
                  </a:lnTo>
                  <a:lnTo>
                    <a:pt x="622" y="214"/>
                  </a:lnTo>
                  <a:lnTo>
                    <a:pt x="616" y="211"/>
                  </a:lnTo>
                  <a:lnTo>
                    <a:pt x="616" y="211"/>
                  </a:lnTo>
                  <a:lnTo>
                    <a:pt x="614" y="208"/>
                  </a:lnTo>
                  <a:lnTo>
                    <a:pt x="614" y="204"/>
                  </a:lnTo>
                  <a:lnTo>
                    <a:pt x="614" y="204"/>
                  </a:lnTo>
                  <a:lnTo>
                    <a:pt x="611" y="198"/>
                  </a:lnTo>
                  <a:lnTo>
                    <a:pt x="610" y="194"/>
                  </a:lnTo>
                  <a:lnTo>
                    <a:pt x="610" y="194"/>
                  </a:lnTo>
                  <a:lnTo>
                    <a:pt x="607" y="192"/>
                  </a:lnTo>
                  <a:lnTo>
                    <a:pt x="606" y="192"/>
                  </a:lnTo>
                  <a:lnTo>
                    <a:pt x="606" y="192"/>
                  </a:lnTo>
                  <a:lnTo>
                    <a:pt x="606" y="192"/>
                  </a:lnTo>
                  <a:lnTo>
                    <a:pt x="606" y="192"/>
                  </a:lnTo>
                  <a:lnTo>
                    <a:pt x="604" y="194"/>
                  </a:lnTo>
                  <a:lnTo>
                    <a:pt x="606" y="192"/>
                  </a:lnTo>
                  <a:lnTo>
                    <a:pt x="606" y="192"/>
                  </a:lnTo>
                  <a:lnTo>
                    <a:pt x="604" y="194"/>
                  </a:lnTo>
                  <a:lnTo>
                    <a:pt x="606" y="192"/>
                  </a:lnTo>
                  <a:lnTo>
                    <a:pt x="606" y="192"/>
                  </a:lnTo>
                  <a:lnTo>
                    <a:pt x="606" y="192"/>
                  </a:lnTo>
                  <a:lnTo>
                    <a:pt x="604" y="191"/>
                  </a:lnTo>
                  <a:lnTo>
                    <a:pt x="604" y="191"/>
                  </a:lnTo>
                  <a:lnTo>
                    <a:pt x="603" y="189"/>
                  </a:lnTo>
                  <a:lnTo>
                    <a:pt x="603" y="189"/>
                  </a:lnTo>
                  <a:lnTo>
                    <a:pt x="601" y="188"/>
                  </a:lnTo>
                  <a:lnTo>
                    <a:pt x="601" y="188"/>
                  </a:lnTo>
                  <a:lnTo>
                    <a:pt x="598" y="189"/>
                  </a:lnTo>
                  <a:lnTo>
                    <a:pt x="598" y="189"/>
                  </a:lnTo>
                  <a:lnTo>
                    <a:pt x="597" y="191"/>
                  </a:lnTo>
                  <a:lnTo>
                    <a:pt x="597" y="191"/>
                  </a:lnTo>
                  <a:lnTo>
                    <a:pt x="597" y="191"/>
                  </a:lnTo>
                  <a:lnTo>
                    <a:pt x="597" y="191"/>
                  </a:lnTo>
                  <a:lnTo>
                    <a:pt x="597" y="191"/>
                  </a:lnTo>
                  <a:lnTo>
                    <a:pt x="597" y="191"/>
                  </a:lnTo>
                  <a:lnTo>
                    <a:pt x="597" y="191"/>
                  </a:lnTo>
                  <a:lnTo>
                    <a:pt x="597" y="191"/>
                  </a:lnTo>
                  <a:lnTo>
                    <a:pt x="597" y="191"/>
                  </a:lnTo>
                  <a:lnTo>
                    <a:pt x="597" y="191"/>
                  </a:lnTo>
                  <a:lnTo>
                    <a:pt x="597" y="191"/>
                  </a:lnTo>
                  <a:lnTo>
                    <a:pt x="597" y="191"/>
                  </a:lnTo>
                  <a:lnTo>
                    <a:pt x="597" y="191"/>
                  </a:lnTo>
                  <a:lnTo>
                    <a:pt x="597" y="191"/>
                  </a:lnTo>
                  <a:lnTo>
                    <a:pt x="597" y="191"/>
                  </a:lnTo>
                  <a:lnTo>
                    <a:pt x="597" y="189"/>
                  </a:lnTo>
                  <a:lnTo>
                    <a:pt x="597" y="189"/>
                  </a:lnTo>
                  <a:lnTo>
                    <a:pt x="594" y="186"/>
                  </a:lnTo>
                  <a:lnTo>
                    <a:pt x="594" y="186"/>
                  </a:lnTo>
                  <a:lnTo>
                    <a:pt x="591" y="178"/>
                  </a:lnTo>
                  <a:lnTo>
                    <a:pt x="591" y="178"/>
                  </a:lnTo>
                  <a:lnTo>
                    <a:pt x="588" y="171"/>
                  </a:lnTo>
                  <a:lnTo>
                    <a:pt x="588" y="171"/>
                  </a:lnTo>
                  <a:lnTo>
                    <a:pt x="582" y="162"/>
                  </a:lnTo>
                  <a:lnTo>
                    <a:pt x="582" y="162"/>
                  </a:lnTo>
                  <a:lnTo>
                    <a:pt x="577" y="155"/>
                  </a:lnTo>
                  <a:lnTo>
                    <a:pt x="577" y="155"/>
                  </a:lnTo>
                  <a:lnTo>
                    <a:pt x="572" y="152"/>
                  </a:lnTo>
                  <a:lnTo>
                    <a:pt x="572" y="152"/>
                  </a:lnTo>
                  <a:lnTo>
                    <a:pt x="565" y="149"/>
                  </a:lnTo>
                  <a:lnTo>
                    <a:pt x="565" y="149"/>
                  </a:lnTo>
                  <a:lnTo>
                    <a:pt x="561" y="146"/>
                  </a:lnTo>
                  <a:lnTo>
                    <a:pt x="561" y="146"/>
                  </a:lnTo>
                  <a:lnTo>
                    <a:pt x="558" y="142"/>
                  </a:lnTo>
                  <a:lnTo>
                    <a:pt x="555" y="139"/>
                  </a:lnTo>
                  <a:lnTo>
                    <a:pt x="555" y="139"/>
                  </a:lnTo>
                  <a:lnTo>
                    <a:pt x="549" y="134"/>
                  </a:lnTo>
                  <a:lnTo>
                    <a:pt x="549" y="134"/>
                  </a:lnTo>
                  <a:lnTo>
                    <a:pt x="543" y="129"/>
                  </a:lnTo>
                  <a:lnTo>
                    <a:pt x="543" y="129"/>
                  </a:lnTo>
                  <a:lnTo>
                    <a:pt x="542" y="126"/>
                  </a:lnTo>
                  <a:lnTo>
                    <a:pt x="542" y="126"/>
                  </a:lnTo>
                  <a:lnTo>
                    <a:pt x="540" y="124"/>
                  </a:lnTo>
                  <a:lnTo>
                    <a:pt x="540" y="124"/>
                  </a:lnTo>
                  <a:lnTo>
                    <a:pt x="540" y="124"/>
                  </a:lnTo>
                  <a:lnTo>
                    <a:pt x="540" y="121"/>
                  </a:lnTo>
                  <a:lnTo>
                    <a:pt x="540" y="121"/>
                  </a:lnTo>
                  <a:lnTo>
                    <a:pt x="539" y="113"/>
                  </a:lnTo>
                  <a:lnTo>
                    <a:pt x="536" y="102"/>
                  </a:lnTo>
                  <a:lnTo>
                    <a:pt x="536" y="102"/>
                  </a:lnTo>
                  <a:lnTo>
                    <a:pt x="529" y="88"/>
                  </a:lnTo>
                  <a:lnTo>
                    <a:pt x="529" y="88"/>
                  </a:lnTo>
                  <a:lnTo>
                    <a:pt x="527" y="82"/>
                  </a:lnTo>
                  <a:lnTo>
                    <a:pt x="527" y="82"/>
                  </a:lnTo>
                  <a:lnTo>
                    <a:pt x="526" y="78"/>
                  </a:lnTo>
                  <a:lnTo>
                    <a:pt x="526" y="78"/>
                  </a:lnTo>
                  <a:lnTo>
                    <a:pt x="525" y="74"/>
                  </a:lnTo>
                  <a:lnTo>
                    <a:pt x="525" y="74"/>
                  </a:lnTo>
                  <a:lnTo>
                    <a:pt x="522" y="65"/>
                  </a:lnTo>
                  <a:lnTo>
                    <a:pt x="522" y="65"/>
                  </a:lnTo>
                  <a:lnTo>
                    <a:pt x="517" y="59"/>
                  </a:lnTo>
                  <a:lnTo>
                    <a:pt x="517" y="59"/>
                  </a:lnTo>
                  <a:lnTo>
                    <a:pt x="513" y="56"/>
                  </a:lnTo>
                  <a:lnTo>
                    <a:pt x="509" y="55"/>
                  </a:lnTo>
                  <a:lnTo>
                    <a:pt x="509" y="55"/>
                  </a:lnTo>
                  <a:lnTo>
                    <a:pt x="506" y="55"/>
                  </a:lnTo>
                  <a:lnTo>
                    <a:pt x="506" y="55"/>
                  </a:lnTo>
                  <a:lnTo>
                    <a:pt x="503" y="56"/>
                  </a:lnTo>
                  <a:lnTo>
                    <a:pt x="503" y="56"/>
                  </a:lnTo>
                  <a:lnTo>
                    <a:pt x="503" y="56"/>
                  </a:lnTo>
                  <a:lnTo>
                    <a:pt x="503" y="58"/>
                  </a:lnTo>
                  <a:lnTo>
                    <a:pt x="503" y="56"/>
                  </a:lnTo>
                  <a:lnTo>
                    <a:pt x="503" y="56"/>
                  </a:lnTo>
                  <a:lnTo>
                    <a:pt x="503" y="58"/>
                  </a:lnTo>
                  <a:lnTo>
                    <a:pt x="503" y="56"/>
                  </a:lnTo>
                  <a:lnTo>
                    <a:pt x="503" y="58"/>
                  </a:lnTo>
                  <a:lnTo>
                    <a:pt x="503" y="58"/>
                  </a:lnTo>
                  <a:lnTo>
                    <a:pt x="503" y="56"/>
                  </a:lnTo>
                  <a:lnTo>
                    <a:pt x="503" y="58"/>
                  </a:lnTo>
                  <a:lnTo>
                    <a:pt x="503" y="58"/>
                  </a:lnTo>
                  <a:lnTo>
                    <a:pt x="503" y="58"/>
                  </a:lnTo>
                  <a:lnTo>
                    <a:pt x="503" y="58"/>
                  </a:lnTo>
                  <a:lnTo>
                    <a:pt x="503" y="58"/>
                  </a:lnTo>
                  <a:lnTo>
                    <a:pt x="503" y="58"/>
                  </a:lnTo>
                  <a:lnTo>
                    <a:pt x="503" y="58"/>
                  </a:lnTo>
                  <a:lnTo>
                    <a:pt x="503" y="56"/>
                  </a:lnTo>
                  <a:lnTo>
                    <a:pt x="503" y="56"/>
                  </a:lnTo>
                  <a:lnTo>
                    <a:pt x="501" y="45"/>
                  </a:lnTo>
                  <a:lnTo>
                    <a:pt x="501" y="45"/>
                  </a:lnTo>
                  <a:lnTo>
                    <a:pt x="498" y="37"/>
                  </a:lnTo>
                  <a:lnTo>
                    <a:pt x="496" y="29"/>
                  </a:lnTo>
                  <a:lnTo>
                    <a:pt x="496" y="29"/>
                  </a:lnTo>
                  <a:lnTo>
                    <a:pt x="491" y="21"/>
                  </a:lnTo>
                  <a:lnTo>
                    <a:pt x="491" y="21"/>
                  </a:lnTo>
                  <a:lnTo>
                    <a:pt x="490" y="20"/>
                  </a:lnTo>
                  <a:lnTo>
                    <a:pt x="490" y="20"/>
                  </a:lnTo>
                  <a:lnTo>
                    <a:pt x="490" y="20"/>
                  </a:lnTo>
                  <a:lnTo>
                    <a:pt x="490" y="20"/>
                  </a:lnTo>
                  <a:lnTo>
                    <a:pt x="490" y="20"/>
                  </a:lnTo>
                  <a:lnTo>
                    <a:pt x="490" y="20"/>
                  </a:lnTo>
                  <a:lnTo>
                    <a:pt x="490" y="20"/>
                  </a:lnTo>
                  <a:lnTo>
                    <a:pt x="488" y="20"/>
                  </a:lnTo>
                  <a:lnTo>
                    <a:pt x="490" y="21"/>
                  </a:lnTo>
                  <a:lnTo>
                    <a:pt x="490" y="20"/>
                  </a:lnTo>
                  <a:lnTo>
                    <a:pt x="488" y="20"/>
                  </a:lnTo>
                  <a:lnTo>
                    <a:pt x="490" y="21"/>
                  </a:lnTo>
                  <a:lnTo>
                    <a:pt x="490" y="21"/>
                  </a:lnTo>
                  <a:lnTo>
                    <a:pt x="490" y="21"/>
                  </a:lnTo>
                  <a:lnTo>
                    <a:pt x="490" y="21"/>
                  </a:lnTo>
                  <a:lnTo>
                    <a:pt x="490" y="21"/>
                  </a:lnTo>
                  <a:lnTo>
                    <a:pt x="490" y="21"/>
                  </a:lnTo>
                  <a:lnTo>
                    <a:pt x="490" y="21"/>
                  </a:lnTo>
                  <a:lnTo>
                    <a:pt x="490" y="21"/>
                  </a:lnTo>
                  <a:lnTo>
                    <a:pt x="491" y="20"/>
                  </a:lnTo>
                  <a:lnTo>
                    <a:pt x="491" y="20"/>
                  </a:lnTo>
                  <a:lnTo>
                    <a:pt x="493" y="18"/>
                  </a:lnTo>
                  <a:lnTo>
                    <a:pt x="493" y="18"/>
                  </a:lnTo>
                  <a:lnTo>
                    <a:pt x="491" y="16"/>
                  </a:lnTo>
                  <a:lnTo>
                    <a:pt x="491" y="16"/>
                  </a:lnTo>
                  <a:lnTo>
                    <a:pt x="490" y="14"/>
                  </a:lnTo>
                  <a:lnTo>
                    <a:pt x="490" y="14"/>
                  </a:lnTo>
                  <a:lnTo>
                    <a:pt x="487" y="13"/>
                  </a:lnTo>
                  <a:lnTo>
                    <a:pt x="487" y="13"/>
                  </a:lnTo>
                  <a:lnTo>
                    <a:pt x="487" y="13"/>
                  </a:lnTo>
                  <a:lnTo>
                    <a:pt x="487" y="13"/>
                  </a:lnTo>
                  <a:lnTo>
                    <a:pt x="487" y="13"/>
                  </a:lnTo>
                  <a:lnTo>
                    <a:pt x="487" y="13"/>
                  </a:lnTo>
                  <a:lnTo>
                    <a:pt x="487" y="13"/>
                  </a:lnTo>
                  <a:lnTo>
                    <a:pt x="487" y="13"/>
                  </a:lnTo>
                  <a:lnTo>
                    <a:pt x="487" y="13"/>
                  </a:lnTo>
                  <a:lnTo>
                    <a:pt x="484" y="5"/>
                  </a:lnTo>
                  <a:lnTo>
                    <a:pt x="484" y="5"/>
                  </a:lnTo>
                  <a:lnTo>
                    <a:pt x="481" y="1"/>
                  </a:lnTo>
                  <a:lnTo>
                    <a:pt x="481" y="1"/>
                  </a:lnTo>
                  <a:lnTo>
                    <a:pt x="480" y="0"/>
                  </a:lnTo>
                  <a:lnTo>
                    <a:pt x="477" y="0"/>
                  </a:lnTo>
                  <a:lnTo>
                    <a:pt x="477" y="1"/>
                  </a:lnTo>
                  <a:lnTo>
                    <a:pt x="477" y="4"/>
                  </a:lnTo>
                  <a:lnTo>
                    <a:pt x="477" y="4"/>
                  </a:lnTo>
                  <a:lnTo>
                    <a:pt x="478" y="4"/>
                  </a:lnTo>
                  <a:lnTo>
                    <a:pt x="478" y="4"/>
                  </a:lnTo>
                  <a:lnTo>
                    <a:pt x="481" y="8"/>
                  </a:lnTo>
                  <a:lnTo>
                    <a:pt x="481" y="8"/>
                  </a:lnTo>
                  <a:lnTo>
                    <a:pt x="483" y="13"/>
                  </a:lnTo>
                  <a:lnTo>
                    <a:pt x="483" y="13"/>
                  </a:lnTo>
                  <a:lnTo>
                    <a:pt x="483" y="14"/>
                  </a:lnTo>
                  <a:lnTo>
                    <a:pt x="484" y="16"/>
                  </a:lnTo>
                  <a:lnTo>
                    <a:pt x="484" y="16"/>
                  </a:lnTo>
                  <a:lnTo>
                    <a:pt x="487" y="18"/>
                  </a:lnTo>
                  <a:lnTo>
                    <a:pt x="488" y="18"/>
                  </a:lnTo>
                  <a:lnTo>
                    <a:pt x="488" y="18"/>
                  </a:lnTo>
                  <a:lnTo>
                    <a:pt x="488" y="18"/>
                  </a:lnTo>
                  <a:lnTo>
                    <a:pt x="488" y="18"/>
                  </a:lnTo>
                  <a:lnTo>
                    <a:pt x="488" y="18"/>
                  </a:lnTo>
                  <a:lnTo>
                    <a:pt x="488" y="18"/>
                  </a:lnTo>
                  <a:lnTo>
                    <a:pt x="488" y="18"/>
                  </a:lnTo>
                  <a:lnTo>
                    <a:pt x="490" y="18"/>
                  </a:lnTo>
                  <a:lnTo>
                    <a:pt x="487" y="18"/>
                  </a:lnTo>
                  <a:lnTo>
                    <a:pt x="488" y="18"/>
                  </a:lnTo>
                  <a:lnTo>
                    <a:pt x="490" y="18"/>
                  </a:lnTo>
                  <a:lnTo>
                    <a:pt x="487" y="18"/>
                  </a:lnTo>
                  <a:lnTo>
                    <a:pt x="490" y="18"/>
                  </a:lnTo>
                  <a:lnTo>
                    <a:pt x="488" y="17"/>
                  </a:lnTo>
                  <a:lnTo>
                    <a:pt x="488" y="17"/>
                  </a:lnTo>
                  <a:lnTo>
                    <a:pt x="487" y="18"/>
                  </a:lnTo>
                  <a:lnTo>
                    <a:pt x="490" y="18"/>
                  </a:lnTo>
                  <a:lnTo>
                    <a:pt x="488" y="17"/>
                  </a:lnTo>
                  <a:lnTo>
                    <a:pt x="488" y="17"/>
                  </a:lnTo>
                  <a:lnTo>
                    <a:pt x="488" y="17"/>
                  </a:lnTo>
                  <a:lnTo>
                    <a:pt x="488" y="17"/>
                  </a:lnTo>
                  <a:lnTo>
                    <a:pt x="488" y="17"/>
                  </a:lnTo>
                  <a:lnTo>
                    <a:pt x="488" y="17"/>
                  </a:lnTo>
                  <a:lnTo>
                    <a:pt x="488" y="17"/>
                  </a:lnTo>
                  <a:lnTo>
                    <a:pt x="488" y="17"/>
                  </a:lnTo>
                  <a:lnTo>
                    <a:pt x="485" y="17"/>
                  </a:lnTo>
                  <a:lnTo>
                    <a:pt x="485" y="17"/>
                  </a:lnTo>
                  <a:lnTo>
                    <a:pt x="485" y="20"/>
                  </a:lnTo>
                  <a:lnTo>
                    <a:pt x="485" y="20"/>
                  </a:lnTo>
                  <a:lnTo>
                    <a:pt x="485" y="23"/>
                  </a:lnTo>
                  <a:lnTo>
                    <a:pt x="485" y="23"/>
                  </a:lnTo>
                  <a:lnTo>
                    <a:pt x="488" y="26"/>
                  </a:lnTo>
                  <a:lnTo>
                    <a:pt x="488" y="26"/>
                  </a:lnTo>
                  <a:lnTo>
                    <a:pt x="491" y="32"/>
                  </a:lnTo>
                  <a:lnTo>
                    <a:pt x="491" y="32"/>
                  </a:lnTo>
                  <a:lnTo>
                    <a:pt x="494" y="39"/>
                  </a:lnTo>
                  <a:lnTo>
                    <a:pt x="496" y="46"/>
                  </a:lnTo>
                  <a:lnTo>
                    <a:pt x="496" y="46"/>
                  </a:lnTo>
                  <a:lnTo>
                    <a:pt x="498" y="58"/>
                  </a:lnTo>
                  <a:lnTo>
                    <a:pt x="498" y="58"/>
                  </a:lnTo>
                  <a:lnTo>
                    <a:pt x="500" y="60"/>
                  </a:lnTo>
                  <a:lnTo>
                    <a:pt x="500" y="60"/>
                  </a:lnTo>
                  <a:lnTo>
                    <a:pt x="503" y="62"/>
                  </a:lnTo>
                  <a:lnTo>
                    <a:pt x="503" y="62"/>
                  </a:lnTo>
                  <a:lnTo>
                    <a:pt x="506" y="60"/>
                  </a:lnTo>
                  <a:lnTo>
                    <a:pt x="506" y="60"/>
                  </a:lnTo>
                  <a:lnTo>
                    <a:pt x="507" y="59"/>
                  </a:lnTo>
                  <a:lnTo>
                    <a:pt x="509" y="59"/>
                  </a:lnTo>
                  <a:lnTo>
                    <a:pt x="509" y="59"/>
                  </a:lnTo>
                  <a:lnTo>
                    <a:pt x="509" y="59"/>
                  </a:lnTo>
                  <a:lnTo>
                    <a:pt x="509" y="59"/>
                  </a:lnTo>
                  <a:lnTo>
                    <a:pt x="509" y="59"/>
                  </a:lnTo>
                  <a:lnTo>
                    <a:pt x="509" y="59"/>
                  </a:lnTo>
                  <a:lnTo>
                    <a:pt x="509" y="59"/>
                  </a:lnTo>
                  <a:lnTo>
                    <a:pt x="509" y="59"/>
                  </a:lnTo>
                  <a:lnTo>
                    <a:pt x="510" y="60"/>
                  </a:lnTo>
                  <a:lnTo>
                    <a:pt x="514" y="63"/>
                  </a:lnTo>
                  <a:lnTo>
                    <a:pt x="514" y="63"/>
                  </a:lnTo>
                  <a:lnTo>
                    <a:pt x="519" y="71"/>
                  </a:lnTo>
                  <a:lnTo>
                    <a:pt x="519" y="71"/>
                  </a:lnTo>
                  <a:lnTo>
                    <a:pt x="520" y="75"/>
                  </a:lnTo>
                  <a:lnTo>
                    <a:pt x="520" y="75"/>
                  </a:lnTo>
                  <a:lnTo>
                    <a:pt x="520" y="78"/>
                  </a:lnTo>
                  <a:lnTo>
                    <a:pt x="520" y="78"/>
                  </a:lnTo>
                  <a:lnTo>
                    <a:pt x="522" y="84"/>
                  </a:lnTo>
                  <a:lnTo>
                    <a:pt x="522" y="84"/>
                  </a:lnTo>
                  <a:lnTo>
                    <a:pt x="532" y="105"/>
                  </a:lnTo>
                  <a:lnTo>
                    <a:pt x="532" y="105"/>
                  </a:lnTo>
                  <a:lnTo>
                    <a:pt x="535" y="114"/>
                  </a:lnTo>
                  <a:lnTo>
                    <a:pt x="536" y="121"/>
                  </a:lnTo>
                  <a:lnTo>
                    <a:pt x="536" y="121"/>
                  </a:lnTo>
                  <a:lnTo>
                    <a:pt x="536" y="123"/>
                  </a:lnTo>
                  <a:lnTo>
                    <a:pt x="536" y="124"/>
                  </a:lnTo>
                  <a:lnTo>
                    <a:pt x="536" y="124"/>
                  </a:lnTo>
                  <a:lnTo>
                    <a:pt x="538" y="129"/>
                  </a:lnTo>
                  <a:lnTo>
                    <a:pt x="538" y="129"/>
                  </a:lnTo>
                  <a:lnTo>
                    <a:pt x="542" y="134"/>
                  </a:lnTo>
                  <a:lnTo>
                    <a:pt x="545" y="139"/>
                  </a:lnTo>
                  <a:lnTo>
                    <a:pt x="545" y="139"/>
                  </a:lnTo>
                  <a:lnTo>
                    <a:pt x="552" y="143"/>
                  </a:lnTo>
                  <a:lnTo>
                    <a:pt x="552" y="143"/>
                  </a:lnTo>
                  <a:lnTo>
                    <a:pt x="556" y="147"/>
                  </a:lnTo>
                  <a:lnTo>
                    <a:pt x="556" y="147"/>
                  </a:lnTo>
                  <a:lnTo>
                    <a:pt x="558" y="150"/>
                  </a:lnTo>
                  <a:lnTo>
                    <a:pt x="559" y="152"/>
                  </a:lnTo>
                  <a:lnTo>
                    <a:pt x="559" y="152"/>
                  </a:lnTo>
                  <a:lnTo>
                    <a:pt x="568" y="155"/>
                  </a:lnTo>
                  <a:lnTo>
                    <a:pt x="568" y="155"/>
                  </a:lnTo>
                  <a:lnTo>
                    <a:pt x="574" y="158"/>
                  </a:lnTo>
                  <a:lnTo>
                    <a:pt x="574" y="158"/>
                  </a:lnTo>
                  <a:lnTo>
                    <a:pt x="580" y="165"/>
                  </a:lnTo>
                  <a:lnTo>
                    <a:pt x="580" y="165"/>
                  </a:lnTo>
                  <a:lnTo>
                    <a:pt x="584" y="172"/>
                  </a:lnTo>
                  <a:lnTo>
                    <a:pt x="584" y="172"/>
                  </a:lnTo>
                  <a:lnTo>
                    <a:pt x="585" y="179"/>
                  </a:lnTo>
                  <a:lnTo>
                    <a:pt x="585" y="179"/>
                  </a:lnTo>
                  <a:lnTo>
                    <a:pt x="590" y="189"/>
                  </a:lnTo>
                  <a:lnTo>
                    <a:pt x="590" y="189"/>
                  </a:lnTo>
                  <a:lnTo>
                    <a:pt x="593" y="194"/>
                  </a:lnTo>
                  <a:lnTo>
                    <a:pt x="593" y="194"/>
                  </a:lnTo>
                  <a:lnTo>
                    <a:pt x="596" y="195"/>
                  </a:lnTo>
                  <a:lnTo>
                    <a:pt x="597" y="195"/>
                  </a:lnTo>
                  <a:lnTo>
                    <a:pt x="597" y="195"/>
                  </a:lnTo>
                  <a:lnTo>
                    <a:pt x="600" y="195"/>
                  </a:lnTo>
                  <a:lnTo>
                    <a:pt x="600" y="195"/>
                  </a:lnTo>
                  <a:lnTo>
                    <a:pt x="601" y="194"/>
                  </a:lnTo>
                  <a:lnTo>
                    <a:pt x="601" y="194"/>
                  </a:lnTo>
                  <a:lnTo>
                    <a:pt x="601" y="192"/>
                  </a:lnTo>
                  <a:lnTo>
                    <a:pt x="601" y="194"/>
                  </a:lnTo>
                  <a:lnTo>
                    <a:pt x="601" y="194"/>
                  </a:lnTo>
                  <a:lnTo>
                    <a:pt x="601" y="192"/>
                  </a:lnTo>
                  <a:lnTo>
                    <a:pt x="601" y="194"/>
                  </a:lnTo>
                  <a:lnTo>
                    <a:pt x="601" y="192"/>
                  </a:lnTo>
                  <a:lnTo>
                    <a:pt x="601" y="194"/>
                  </a:lnTo>
                  <a:lnTo>
                    <a:pt x="601" y="194"/>
                  </a:lnTo>
                  <a:lnTo>
                    <a:pt x="601" y="192"/>
                  </a:lnTo>
                  <a:lnTo>
                    <a:pt x="601" y="194"/>
                  </a:lnTo>
                  <a:lnTo>
                    <a:pt x="601" y="192"/>
                  </a:lnTo>
                  <a:lnTo>
                    <a:pt x="600" y="194"/>
                  </a:lnTo>
                  <a:lnTo>
                    <a:pt x="601" y="194"/>
                  </a:lnTo>
                  <a:lnTo>
                    <a:pt x="601" y="192"/>
                  </a:lnTo>
                  <a:lnTo>
                    <a:pt x="600" y="194"/>
                  </a:lnTo>
                  <a:lnTo>
                    <a:pt x="600" y="192"/>
                  </a:lnTo>
                  <a:lnTo>
                    <a:pt x="600" y="194"/>
                  </a:lnTo>
                  <a:lnTo>
                    <a:pt x="600" y="194"/>
                  </a:lnTo>
                  <a:lnTo>
                    <a:pt x="600" y="192"/>
                  </a:lnTo>
                  <a:lnTo>
                    <a:pt x="600" y="194"/>
                  </a:lnTo>
                  <a:lnTo>
                    <a:pt x="600" y="194"/>
                  </a:lnTo>
                  <a:lnTo>
                    <a:pt x="601" y="195"/>
                  </a:lnTo>
                  <a:lnTo>
                    <a:pt x="601" y="195"/>
                  </a:lnTo>
                  <a:lnTo>
                    <a:pt x="601" y="195"/>
                  </a:lnTo>
                  <a:lnTo>
                    <a:pt x="604" y="197"/>
                  </a:lnTo>
                  <a:lnTo>
                    <a:pt x="604" y="197"/>
                  </a:lnTo>
                  <a:lnTo>
                    <a:pt x="606" y="197"/>
                  </a:lnTo>
                  <a:lnTo>
                    <a:pt x="606" y="197"/>
                  </a:lnTo>
                  <a:lnTo>
                    <a:pt x="607" y="198"/>
                  </a:lnTo>
                  <a:lnTo>
                    <a:pt x="607" y="198"/>
                  </a:lnTo>
                  <a:lnTo>
                    <a:pt x="609" y="204"/>
                  </a:lnTo>
                  <a:lnTo>
                    <a:pt x="609" y="204"/>
                  </a:lnTo>
                  <a:lnTo>
                    <a:pt x="610" y="211"/>
                  </a:lnTo>
                  <a:lnTo>
                    <a:pt x="613" y="214"/>
                  </a:lnTo>
                  <a:lnTo>
                    <a:pt x="613" y="214"/>
                  </a:lnTo>
                  <a:lnTo>
                    <a:pt x="619" y="218"/>
                  </a:lnTo>
                  <a:lnTo>
                    <a:pt x="619" y="218"/>
                  </a:lnTo>
                  <a:lnTo>
                    <a:pt x="626" y="226"/>
                  </a:lnTo>
                  <a:lnTo>
                    <a:pt x="626" y="226"/>
                  </a:lnTo>
                  <a:lnTo>
                    <a:pt x="633" y="233"/>
                  </a:lnTo>
                  <a:lnTo>
                    <a:pt x="633" y="233"/>
                  </a:lnTo>
                  <a:lnTo>
                    <a:pt x="636" y="237"/>
                  </a:lnTo>
                  <a:lnTo>
                    <a:pt x="636" y="237"/>
                  </a:lnTo>
                  <a:lnTo>
                    <a:pt x="640" y="247"/>
                  </a:lnTo>
                  <a:lnTo>
                    <a:pt x="643" y="256"/>
                  </a:lnTo>
                  <a:lnTo>
                    <a:pt x="643" y="256"/>
                  </a:lnTo>
                  <a:lnTo>
                    <a:pt x="648" y="266"/>
                  </a:lnTo>
                  <a:lnTo>
                    <a:pt x="648" y="266"/>
                  </a:lnTo>
                  <a:lnTo>
                    <a:pt x="649" y="273"/>
                  </a:lnTo>
                  <a:lnTo>
                    <a:pt x="649" y="279"/>
                  </a:lnTo>
                  <a:lnTo>
                    <a:pt x="649" y="279"/>
                  </a:lnTo>
                  <a:lnTo>
                    <a:pt x="649" y="279"/>
                  </a:lnTo>
                  <a:lnTo>
                    <a:pt x="649" y="282"/>
                  </a:lnTo>
                  <a:lnTo>
                    <a:pt x="649" y="282"/>
                  </a:lnTo>
                  <a:lnTo>
                    <a:pt x="651" y="289"/>
                  </a:lnTo>
                  <a:lnTo>
                    <a:pt x="651" y="289"/>
                  </a:lnTo>
                  <a:lnTo>
                    <a:pt x="653" y="298"/>
                  </a:lnTo>
                  <a:lnTo>
                    <a:pt x="653" y="298"/>
                  </a:lnTo>
                  <a:lnTo>
                    <a:pt x="655" y="302"/>
                  </a:lnTo>
                  <a:lnTo>
                    <a:pt x="655" y="302"/>
                  </a:lnTo>
                  <a:lnTo>
                    <a:pt x="652" y="314"/>
                  </a:lnTo>
                  <a:lnTo>
                    <a:pt x="652" y="314"/>
                  </a:lnTo>
                  <a:lnTo>
                    <a:pt x="651" y="327"/>
                  </a:lnTo>
                  <a:lnTo>
                    <a:pt x="651" y="327"/>
                  </a:lnTo>
                  <a:lnTo>
                    <a:pt x="648" y="339"/>
                  </a:lnTo>
                  <a:lnTo>
                    <a:pt x="643" y="355"/>
                  </a:lnTo>
                  <a:lnTo>
                    <a:pt x="643" y="355"/>
                  </a:lnTo>
                  <a:lnTo>
                    <a:pt x="638" y="369"/>
                  </a:lnTo>
                  <a:lnTo>
                    <a:pt x="638" y="369"/>
                  </a:lnTo>
                  <a:lnTo>
                    <a:pt x="635" y="375"/>
                  </a:lnTo>
                  <a:lnTo>
                    <a:pt x="635" y="375"/>
                  </a:lnTo>
                  <a:lnTo>
                    <a:pt x="633" y="378"/>
                  </a:lnTo>
                  <a:lnTo>
                    <a:pt x="633" y="378"/>
                  </a:lnTo>
                  <a:lnTo>
                    <a:pt x="626" y="382"/>
                  </a:lnTo>
                  <a:lnTo>
                    <a:pt x="626" y="382"/>
                  </a:lnTo>
                  <a:lnTo>
                    <a:pt x="619" y="386"/>
                  </a:lnTo>
                  <a:lnTo>
                    <a:pt x="619" y="386"/>
                  </a:lnTo>
                  <a:lnTo>
                    <a:pt x="614" y="391"/>
                  </a:lnTo>
                  <a:lnTo>
                    <a:pt x="610" y="397"/>
                  </a:lnTo>
                  <a:lnTo>
                    <a:pt x="610" y="397"/>
                  </a:lnTo>
                  <a:lnTo>
                    <a:pt x="606" y="402"/>
                  </a:lnTo>
                  <a:lnTo>
                    <a:pt x="606" y="402"/>
                  </a:lnTo>
                  <a:lnTo>
                    <a:pt x="603" y="405"/>
                  </a:lnTo>
                  <a:lnTo>
                    <a:pt x="603" y="405"/>
                  </a:lnTo>
                  <a:lnTo>
                    <a:pt x="600" y="411"/>
                  </a:lnTo>
                  <a:lnTo>
                    <a:pt x="600" y="411"/>
                  </a:lnTo>
                  <a:lnTo>
                    <a:pt x="598" y="417"/>
                  </a:lnTo>
                  <a:lnTo>
                    <a:pt x="598" y="417"/>
                  </a:lnTo>
                  <a:lnTo>
                    <a:pt x="597" y="424"/>
                  </a:lnTo>
                  <a:lnTo>
                    <a:pt x="597" y="424"/>
                  </a:lnTo>
                  <a:lnTo>
                    <a:pt x="594" y="430"/>
                  </a:lnTo>
                  <a:lnTo>
                    <a:pt x="593" y="436"/>
                  </a:lnTo>
                  <a:lnTo>
                    <a:pt x="593" y="436"/>
                  </a:lnTo>
                  <a:lnTo>
                    <a:pt x="591" y="441"/>
                  </a:lnTo>
                  <a:lnTo>
                    <a:pt x="591" y="441"/>
                  </a:lnTo>
                  <a:lnTo>
                    <a:pt x="591" y="443"/>
                  </a:lnTo>
                  <a:lnTo>
                    <a:pt x="591" y="443"/>
                  </a:lnTo>
                  <a:lnTo>
                    <a:pt x="591" y="443"/>
                  </a:lnTo>
                  <a:lnTo>
                    <a:pt x="591" y="443"/>
                  </a:lnTo>
                  <a:lnTo>
                    <a:pt x="591" y="443"/>
                  </a:lnTo>
                  <a:lnTo>
                    <a:pt x="591" y="443"/>
                  </a:lnTo>
                  <a:lnTo>
                    <a:pt x="591" y="443"/>
                  </a:lnTo>
                  <a:lnTo>
                    <a:pt x="591" y="443"/>
                  </a:lnTo>
                  <a:lnTo>
                    <a:pt x="590" y="446"/>
                  </a:lnTo>
                  <a:lnTo>
                    <a:pt x="590" y="446"/>
                  </a:lnTo>
                  <a:lnTo>
                    <a:pt x="588" y="452"/>
                  </a:lnTo>
                  <a:lnTo>
                    <a:pt x="588" y="452"/>
                  </a:lnTo>
                  <a:lnTo>
                    <a:pt x="587" y="470"/>
                  </a:lnTo>
                  <a:lnTo>
                    <a:pt x="587" y="470"/>
                  </a:lnTo>
                  <a:lnTo>
                    <a:pt x="587" y="470"/>
                  </a:lnTo>
                  <a:lnTo>
                    <a:pt x="585" y="472"/>
                  </a:lnTo>
                  <a:lnTo>
                    <a:pt x="585" y="472"/>
                  </a:lnTo>
                  <a:lnTo>
                    <a:pt x="581" y="472"/>
                  </a:lnTo>
                  <a:lnTo>
                    <a:pt x="581" y="472"/>
                  </a:lnTo>
                  <a:lnTo>
                    <a:pt x="577" y="472"/>
                  </a:lnTo>
                  <a:lnTo>
                    <a:pt x="572" y="473"/>
                  </a:lnTo>
                  <a:lnTo>
                    <a:pt x="572" y="473"/>
                  </a:lnTo>
                  <a:lnTo>
                    <a:pt x="564" y="476"/>
                  </a:lnTo>
                  <a:lnTo>
                    <a:pt x="554" y="478"/>
                  </a:lnTo>
                  <a:lnTo>
                    <a:pt x="554" y="478"/>
                  </a:lnTo>
                  <a:lnTo>
                    <a:pt x="549" y="481"/>
                  </a:lnTo>
                  <a:lnTo>
                    <a:pt x="549" y="481"/>
                  </a:lnTo>
                  <a:lnTo>
                    <a:pt x="546" y="483"/>
                  </a:lnTo>
                  <a:lnTo>
                    <a:pt x="545" y="486"/>
                  </a:lnTo>
                  <a:lnTo>
                    <a:pt x="545" y="486"/>
                  </a:lnTo>
                  <a:lnTo>
                    <a:pt x="542" y="491"/>
                  </a:lnTo>
                  <a:lnTo>
                    <a:pt x="542" y="491"/>
                  </a:lnTo>
                  <a:lnTo>
                    <a:pt x="540" y="492"/>
                  </a:lnTo>
                  <a:lnTo>
                    <a:pt x="540" y="492"/>
                  </a:lnTo>
                  <a:lnTo>
                    <a:pt x="538" y="492"/>
                  </a:lnTo>
                  <a:lnTo>
                    <a:pt x="538" y="492"/>
                  </a:lnTo>
                  <a:lnTo>
                    <a:pt x="532" y="492"/>
                  </a:lnTo>
                  <a:lnTo>
                    <a:pt x="532" y="492"/>
                  </a:lnTo>
                  <a:lnTo>
                    <a:pt x="526" y="492"/>
                  </a:lnTo>
                  <a:lnTo>
                    <a:pt x="526" y="492"/>
                  </a:lnTo>
                  <a:lnTo>
                    <a:pt x="523" y="494"/>
                  </a:lnTo>
                  <a:lnTo>
                    <a:pt x="523" y="494"/>
                  </a:lnTo>
                  <a:lnTo>
                    <a:pt x="522" y="492"/>
                  </a:lnTo>
                  <a:lnTo>
                    <a:pt x="522" y="492"/>
                  </a:lnTo>
                  <a:lnTo>
                    <a:pt x="520" y="491"/>
                  </a:lnTo>
                  <a:lnTo>
                    <a:pt x="520" y="491"/>
                  </a:lnTo>
                  <a:lnTo>
                    <a:pt x="516" y="485"/>
                  </a:lnTo>
                  <a:lnTo>
                    <a:pt x="516" y="485"/>
                  </a:lnTo>
                  <a:lnTo>
                    <a:pt x="510" y="478"/>
                  </a:lnTo>
                  <a:lnTo>
                    <a:pt x="510" y="478"/>
                  </a:lnTo>
                  <a:lnTo>
                    <a:pt x="509" y="476"/>
                  </a:lnTo>
                  <a:lnTo>
                    <a:pt x="509" y="476"/>
                  </a:lnTo>
                  <a:lnTo>
                    <a:pt x="506" y="475"/>
                  </a:lnTo>
                  <a:lnTo>
                    <a:pt x="506" y="475"/>
                  </a:lnTo>
                  <a:lnTo>
                    <a:pt x="504" y="476"/>
                  </a:lnTo>
                  <a:lnTo>
                    <a:pt x="504" y="476"/>
                  </a:lnTo>
                  <a:lnTo>
                    <a:pt x="503" y="478"/>
                  </a:lnTo>
                  <a:lnTo>
                    <a:pt x="503" y="478"/>
                  </a:lnTo>
                  <a:lnTo>
                    <a:pt x="500" y="483"/>
                  </a:lnTo>
                  <a:lnTo>
                    <a:pt x="500" y="483"/>
                  </a:lnTo>
                  <a:lnTo>
                    <a:pt x="498" y="485"/>
                  </a:lnTo>
                  <a:lnTo>
                    <a:pt x="498" y="485"/>
                  </a:lnTo>
                  <a:lnTo>
                    <a:pt x="498" y="485"/>
                  </a:lnTo>
                  <a:lnTo>
                    <a:pt x="498" y="486"/>
                  </a:lnTo>
                  <a:lnTo>
                    <a:pt x="498" y="485"/>
                  </a:lnTo>
                  <a:lnTo>
                    <a:pt x="498" y="485"/>
                  </a:lnTo>
                  <a:lnTo>
                    <a:pt x="498" y="486"/>
                  </a:lnTo>
                  <a:lnTo>
                    <a:pt x="498" y="485"/>
                  </a:lnTo>
                  <a:lnTo>
                    <a:pt x="498" y="485"/>
                  </a:lnTo>
                  <a:lnTo>
                    <a:pt x="494" y="486"/>
                  </a:lnTo>
                  <a:lnTo>
                    <a:pt x="494" y="486"/>
                  </a:lnTo>
                  <a:lnTo>
                    <a:pt x="487" y="489"/>
                  </a:lnTo>
                  <a:lnTo>
                    <a:pt x="487" y="489"/>
                  </a:lnTo>
                  <a:lnTo>
                    <a:pt x="481" y="492"/>
                  </a:lnTo>
                  <a:lnTo>
                    <a:pt x="480" y="492"/>
                  </a:lnTo>
                  <a:lnTo>
                    <a:pt x="480" y="492"/>
                  </a:lnTo>
                  <a:lnTo>
                    <a:pt x="477" y="491"/>
                  </a:lnTo>
                  <a:lnTo>
                    <a:pt x="477" y="491"/>
                  </a:lnTo>
                  <a:lnTo>
                    <a:pt x="470" y="488"/>
                  </a:lnTo>
                  <a:lnTo>
                    <a:pt x="462" y="483"/>
                  </a:lnTo>
                  <a:lnTo>
                    <a:pt x="462" y="483"/>
                  </a:lnTo>
                  <a:lnTo>
                    <a:pt x="461" y="482"/>
                  </a:lnTo>
                  <a:lnTo>
                    <a:pt x="461" y="482"/>
                  </a:lnTo>
                  <a:lnTo>
                    <a:pt x="458" y="482"/>
                  </a:lnTo>
                  <a:lnTo>
                    <a:pt x="458" y="482"/>
                  </a:lnTo>
                  <a:lnTo>
                    <a:pt x="456" y="482"/>
                  </a:lnTo>
                  <a:lnTo>
                    <a:pt x="456" y="482"/>
                  </a:lnTo>
                  <a:lnTo>
                    <a:pt x="455" y="485"/>
                  </a:lnTo>
                  <a:lnTo>
                    <a:pt x="455" y="485"/>
                  </a:lnTo>
                  <a:lnTo>
                    <a:pt x="455" y="486"/>
                  </a:lnTo>
                  <a:lnTo>
                    <a:pt x="455" y="486"/>
                  </a:lnTo>
                  <a:lnTo>
                    <a:pt x="452" y="488"/>
                  </a:lnTo>
                  <a:lnTo>
                    <a:pt x="452" y="488"/>
                  </a:lnTo>
                  <a:lnTo>
                    <a:pt x="451" y="488"/>
                  </a:lnTo>
                  <a:lnTo>
                    <a:pt x="452" y="489"/>
                  </a:lnTo>
                  <a:lnTo>
                    <a:pt x="452" y="488"/>
                  </a:lnTo>
                  <a:lnTo>
                    <a:pt x="451" y="488"/>
                  </a:lnTo>
                  <a:lnTo>
                    <a:pt x="452" y="489"/>
                  </a:lnTo>
                  <a:lnTo>
                    <a:pt x="452" y="488"/>
                  </a:lnTo>
                  <a:lnTo>
                    <a:pt x="452" y="489"/>
                  </a:lnTo>
                  <a:lnTo>
                    <a:pt x="452" y="488"/>
                  </a:lnTo>
                  <a:lnTo>
                    <a:pt x="452" y="488"/>
                  </a:lnTo>
                  <a:lnTo>
                    <a:pt x="452" y="489"/>
                  </a:lnTo>
                  <a:lnTo>
                    <a:pt x="452" y="488"/>
                  </a:lnTo>
                  <a:lnTo>
                    <a:pt x="452" y="489"/>
                  </a:lnTo>
                  <a:lnTo>
                    <a:pt x="452" y="489"/>
                  </a:lnTo>
                  <a:lnTo>
                    <a:pt x="452" y="488"/>
                  </a:lnTo>
                  <a:lnTo>
                    <a:pt x="452" y="489"/>
                  </a:lnTo>
                  <a:lnTo>
                    <a:pt x="452" y="489"/>
                  </a:lnTo>
                  <a:lnTo>
                    <a:pt x="452" y="489"/>
                  </a:lnTo>
                  <a:lnTo>
                    <a:pt x="452" y="489"/>
                  </a:lnTo>
                  <a:lnTo>
                    <a:pt x="452" y="489"/>
                  </a:lnTo>
                  <a:lnTo>
                    <a:pt x="452" y="489"/>
                  </a:lnTo>
                  <a:lnTo>
                    <a:pt x="452" y="489"/>
                  </a:lnTo>
                  <a:lnTo>
                    <a:pt x="452" y="489"/>
                  </a:lnTo>
                  <a:lnTo>
                    <a:pt x="452" y="488"/>
                  </a:lnTo>
                  <a:lnTo>
                    <a:pt x="452" y="488"/>
                  </a:lnTo>
                  <a:lnTo>
                    <a:pt x="449" y="483"/>
                  </a:lnTo>
                  <a:lnTo>
                    <a:pt x="449" y="483"/>
                  </a:lnTo>
                  <a:lnTo>
                    <a:pt x="446" y="481"/>
                  </a:lnTo>
                  <a:lnTo>
                    <a:pt x="443" y="479"/>
                  </a:lnTo>
                  <a:lnTo>
                    <a:pt x="443" y="479"/>
                  </a:lnTo>
                  <a:lnTo>
                    <a:pt x="438" y="478"/>
                  </a:lnTo>
                  <a:lnTo>
                    <a:pt x="438" y="478"/>
                  </a:lnTo>
                  <a:lnTo>
                    <a:pt x="436" y="476"/>
                  </a:lnTo>
                  <a:lnTo>
                    <a:pt x="436" y="476"/>
                  </a:lnTo>
                  <a:lnTo>
                    <a:pt x="432" y="470"/>
                  </a:lnTo>
                  <a:lnTo>
                    <a:pt x="432" y="470"/>
                  </a:lnTo>
                  <a:lnTo>
                    <a:pt x="428" y="463"/>
                  </a:lnTo>
                  <a:lnTo>
                    <a:pt x="426" y="457"/>
                  </a:lnTo>
                  <a:lnTo>
                    <a:pt x="426" y="457"/>
                  </a:lnTo>
                  <a:lnTo>
                    <a:pt x="426" y="456"/>
                  </a:lnTo>
                  <a:lnTo>
                    <a:pt x="426" y="454"/>
                  </a:lnTo>
                  <a:lnTo>
                    <a:pt x="426" y="454"/>
                  </a:lnTo>
                  <a:lnTo>
                    <a:pt x="425" y="449"/>
                  </a:lnTo>
                  <a:lnTo>
                    <a:pt x="422" y="443"/>
                  </a:lnTo>
                  <a:lnTo>
                    <a:pt x="422" y="443"/>
                  </a:lnTo>
                  <a:lnTo>
                    <a:pt x="414" y="433"/>
                  </a:lnTo>
                  <a:lnTo>
                    <a:pt x="414" y="433"/>
                  </a:lnTo>
                  <a:lnTo>
                    <a:pt x="412" y="430"/>
                  </a:lnTo>
                  <a:lnTo>
                    <a:pt x="410" y="428"/>
                  </a:lnTo>
                  <a:lnTo>
                    <a:pt x="410" y="428"/>
                  </a:lnTo>
                  <a:lnTo>
                    <a:pt x="409" y="428"/>
                  </a:lnTo>
                  <a:lnTo>
                    <a:pt x="409" y="428"/>
                  </a:lnTo>
                  <a:lnTo>
                    <a:pt x="407" y="428"/>
                  </a:lnTo>
                  <a:lnTo>
                    <a:pt x="407" y="428"/>
                  </a:lnTo>
                  <a:lnTo>
                    <a:pt x="406" y="430"/>
                  </a:lnTo>
                  <a:lnTo>
                    <a:pt x="406" y="430"/>
                  </a:lnTo>
                  <a:lnTo>
                    <a:pt x="404" y="431"/>
                  </a:lnTo>
                  <a:lnTo>
                    <a:pt x="404" y="431"/>
                  </a:lnTo>
                  <a:lnTo>
                    <a:pt x="403" y="431"/>
                  </a:lnTo>
                  <a:lnTo>
                    <a:pt x="403" y="431"/>
                  </a:lnTo>
                  <a:lnTo>
                    <a:pt x="400" y="431"/>
                  </a:lnTo>
                  <a:lnTo>
                    <a:pt x="400" y="431"/>
                  </a:lnTo>
                  <a:lnTo>
                    <a:pt x="397" y="431"/>
                  </a:lnTo>
                  <a:lnTo>
                    <a:pt x="397" y="433"/>
                  </a:lnTo>
                  <a:lnTo>
                    <a:pt x="397" y="431"/>
                  </a:lnTo>
                  <a:lnTo>
                    <a:pt x="397" y="433"/>
                  </a:lnTo>
                  <a:lnTo>
                    <a:pt x="399" y="431"/>
                  </a:lnTo>
                  <a:lnTo>
                    <a:pt x="397" y="431"/>
                  </a:lnTo>
                  <a:lnTo>
                    <a:pt x="397" y="433"/>
                  </a:lnTo>
                  <a:lnTo>
                    <a:pt x="399" y="431"/>
                  </a:lnTo>
                  <a:lnTo>
                    <a:pt x="397" y="433"/>
                  </a:lnTo>
                  <a:lnTo>
                    <a:pt x="399" y="433"/>
                  </a:lnTo>
                  <a:lnTo>
                    <a:pt x="399" y="433"/>
                  </a:lnTo>
                  <a:lnTo>
                    <a:pt x="399" y="431"/>
                  </a:lnTo>
                  <a:lnTo>
                    <a:pt x="397" y="433"/>
                  </a:lnTo>
                  <a:lnTo>
                    <a:pt x="399" y="433"/>
                  </a:lnTo>
                  <a:lnTo>
                    <a:pt x="397" y="433"/>
                  </a:lnTo>
                  <a:lnTo>
                    <a:pt x="399" y="434"/>
                  </a:lnTo>
                  <a:lnTo>
                    <a:pt x="399" y="434"/>
                  </a:lnTo>
                  <a:lnTo>
                    <a:pt x="399" y="433"/>
                  </a:lnTo>
                  <a:lnTo>
                    <a:pt x="397" y="433"/>
                  </a:lnTo>
                  <a:lnTo>
                    <a:pt x="399" y="434"/>
                  </a:lnTo>
                  <a:lnTo>
                    <a:pt x="399" y="434"/>
                  </a:lnTo>
                  <a:lnTo>
                    <a:pt x="399" y="434"/>
                  </a:lnTo>
                  <a:lnTo>
                    <a:pt x="399" y="434"/>
                  </a:lnTo>
                  <a:lnTo>
                    <a:pt x="399" y="434"/>
                  </a:lnTo>
                  <a:lnTo>
                    <a:pt x="399" y="434"/>
                  </a:lnTo>
                  <a:lnTo>
                    <a:pt x="399" y="434"/>
                  </a:lnTo>
                  <a:lnTo>
                    <a:pt x="400" y="433"/>
                  </a:lnTo>
                  <a:lnTo>
                    <a:pt x="400" y="433"/>
                  </a:lnTo>
                  <a:lnTo>
                    <a:pt x="403" y="430"/>
                  </a:lnTo>
                  <a:lnTo>
                    <a:pt x="403" y="430"/>
                  </a:lnTo>
                  <a:lnTo>
                    <a:pt x="406" y="428"/>
                  </a:lnTo>
                  <a:lnTo>
                    <a:pt x="406" y="428"/>
                  </a:lnTo>
                  <a:lnTo>
                    <a:pt x="406" y="425"/>
                  </a:lnTo>
                  <a:lnTo>
                    <a:pt x="406" y="425"/>
                  </a:lnTo>
                  <a:lnTo>
                    <a:pt x="406" y="423"/>
                  </a:lnTo>
                  <a:lnTo>
                    <a:pt x="406" y="423"/>
                  </a:lnTo>
                  <a:lnTo>
                    <a:pt x="403" y="415"/>
                  </a:lnTo>
                  <a:lnTo>
                    <a:pt x="403" y="415"/>
                  </a:lnTo>
                  <a:lnTo>
                    <a:pt x="401" y="408"/>
                  </a:lnTo>
                  <a:lnTo>
                    <a:pt x="401" y="408"/>
                  </a:lnTo>
                  <a:lnTo>
                    <a:pt x="400" y="407"/>
                  </a:lnTo>
                  <a:lnTo>
                    <a:pt x="400" y="407"/>
                  </a:lnTo>
                  <a:lnTo>
                    <a:pt x="399" y="405"/>
                  </a:lnTo>
                  <a:lnTo>
                    <a:pt x="399" y="405"/>
                  </a:lnTo>
                  <a:lnTo>
                    <a:pt x="396" y="407"/>
                  </a:lnTo>
                  <a:lnTo>
                    <a:pt x="396" y="407"/>
                  </a:lnTo>
                  <a:lnTo>
                    <a:pt x="394" y="408"/>
                  </a:lnTo>
                  <a:lnTo>
                    <a:pt x="394" y="408"/>
                  </a:lnTo>
                  <a:lnTo>
                    <a:pt x="390" y="415"/>
                  </a:lnTo>
                  <a:lnTo>
                    <a:pt x="390" y="415"/>
                  </a:lnTo>
                  <a:lnTo>
                    <a:pt x="387" y="420"/>
                  </a:lnTo>
                  <a:lnTo>
                    <a:pt x="387" y="420"/>
                  </a:lnTo>
                  <a:lnTo>
                    <a:pt x="381" y="423"/>
                  </a:lnTo>
                  <a:lnTo>
                    <a:pt x="381" y="423"/>
                  </a:lnTo>
                  <a:lnTo>
                    <a:pt x="381" y="423"/>
                  </a:lnTo>
                  <a:lnTo>
                    <a:pt x="380" y="423"/>
                  </a:lnTo>
                  <a:lnTo>
                    <a:pt x="380" y="423"/>
                  </a:lnTo>
                  <a:lnTo>
                    <a:pt x="380" y="423"/>
                  </a:lnTo>
                  <a:lnTo>
                    <a:pt x="380" y="423"/>
                  </a:lnTo>
                  <a:lnTo>
                    <a:pt x="380" y="423"/>
                  </a:lnTo>
                  <a:lnTo>
                    <a:pt x="380" y="423"/>
                  </a:lnTo>
                  <a:lnTo>
                    <a:pt x="380" y="423"/>
                  </a:lnTo>
                  <a:lnTo>
                    <a:pt x="380" y="424"/>
                  </a:lnTo>
                  <a:lnTo>
                    <a:pt x="381" y="423"/>
                  </a:lnTo>
                  <a:lnTo>
                    <a:pt x="380" y="423"/>
                  </a:lnTo>
                  <a:lnTo>
                    <a:pt x="380" y="424"/>
                  </a:lnTo>
                  <a:lnTo>
                    <a:pt x="381" y="423"/>
                  </a:lnTo>
                  <a:lnTo>
                    <a:pt x="380" y="424"/>
                  </a:lnTo>
                  <a:lnTo>
                    <a:pt x="381" y="424"/>
                  </a:lnTo>
                  <a:lnTo>
                    <a:pt x="381" y="423"/>
                  </a:lnTo>
                  <a:lnTo>
                    <a:pt x="380" y="424"/>
                  </a:lnTo>
                  <a:lnTo>
                    <a:pt x="381" y="424"/>
                  </a:lnTo>
                  <a:lnTo>
                    <a:pt x="381" y="424"/>
                  </a:lnTo>
                  <a:lnTo>
                    <a:pt x="381" y="424"/>
                  </a:lnTo>
                  <a:lnTo>
                    <a:pt x="381" y="424"/>
                  </a:lnTo>
                  <a:lnTo>
                    <a:pt x="381" y="424"/>
                  </a:lnTo>
                  <a:lnTo>
                    <a:pt x="381" y="423"/>
                  </a:lnTo>
                  <a:lnTo>
                    <a:pt x="381" y="423"/>
                  </a:lnTo>
                  <a:lnTo>
                    <a:pt x="383" y="421"/>
                  </a:lnTo>
                  <a:lnTo>
                    <a:pt x="383" y="421"/>
                  </a:lnTo>
                  <a:lnTo>
                    <a:pt x="387" y="418"/>
                  </a:lnTo>
                  <a:lnTo>
                    <a:pt x="387" y="418"/>
                  </a:lnTo>
                  <a:lnTo>
                    <a:pt x="387" y="417"/>
                  </a:lnTo>
                  <a:lnTo>
                    <a:pt x="387" y="417"/>
                  </a:lnTo>
                  <a:lnTo>
                    <a:pt x="388" y="415"/>
                  </a:lnTo>
                  <a:lnTo>
                    <a:pt x="388" y="415"/>
                  </a:lnTo>
                  <a:lnTo>
                    <a:pt x="390" y="405"/>
                  </a:lnTo>
                  <a:lnTo>
                    <a:pt x="390" y="405"/>
                  </a:lnTo>
                  <a:lnTo>
                    <a:pt x="391" y="399"/>
                  </a:lnTo>
                  <a:lnTo>
                    <a:pt x="391" y="399"/>
                  </a:lnTo>
                  <a:lnTo>
                    <a:pt x="393" y="397"/>
                  </a:lnTo>
                  <a:lnTo>
                    <a:pt x="393" y="397"/>
                  </a:lnTo>
                  <a:lnTo>
                    <a:pt x="394" y="392"/>
                  </a:lnTo>
                  <a:lnTo>
                    <a:pt x="396" y="388"/>
                  </a:lnTo>
                  <a:lnTo>
                    <a:pt x="396" y="388"/>
                  </a:lnTo>
                  <a:lnTo>
                    <a:pt x="396" y="385"/>
                  </a:lnTo>
                  <a:lnTo>
                    <a:pt x="396" y="385"/>
                  </a:lnTo>
                  <a:lnTo>
                    <a:pt x="394" y="382"/>
                  </a:lnTo>
                  <a:lnTo>
                    <a:pt x="394" y="382"/>
                  </a:lnTo>
                  <a:lnTo>
                    <a:pt x="394" y="382"/>
                  </a:lnTo>
                  <a:lnTo>
                    <a:pt x="393" y="381"/>
                  </a:lnTo>
                  <a:lnTo>
                    <a:pt x="393" y="381"/>
                  </a:lnTo>
                  <a:lnTo>
                    <a:pt x="391" y="381"/>
                  </a:lnTo>
                  <a:lnTo>
                    <a:pt x="391" y="381"/>
                  </a:lnTo>
                  <a:lnTo>
                    <a:pt x="390" y="381"/>
                  </a:lnTo>
                  <a:lnTo>
                    <a:pt x="390" y="381"/>
                  </a:lnTo>
                  <a:lnTo>
                    <a:pt x="386" y="383"/>
                  </a:lnTo>
                  <a:lnTo>
                    <a:pt x="386" y="383"/>
                  </a:lnTo>
                  <a:lnTo>
                    <a:pt x="384" y="386"/>
                  </a:lnTo>
                  <a:lnTo>
                    <a:pt x="384" y="386"/>
                  </a:lnTo>
                  <a:lnTo>
                    <a:pt x="383" y="389"/>
                  </a:lnTo>
                  <a:lnTo>
                    <a:pt x="383" y="389"/>
                  </a:lnTo>
                  <a:lnTo>
                    <a:pt x="381" y="391"/>
                  </a:lnTo>
                  <a:lnTo>
                    <a:pt x="381" y="391"/>
                  </a:lnTo>
                  <a:lnTo>
                    <a:pt x="380" y="392"/>
                  </a:lnTo>
                  <a:lnTo>
                    <a:pt x="377" y="392"/>
                  </a:lnTo>
                  <a:lnTo>
                    <a:pt x="377" y="392"/>
                  </a:lnTo>
                  <a:lnTo>
                    <a:pt x="372" y="394"/>
                  </a:lnTo>
                  <a:lnTo>
                    <a:pt x="371" y="395"/>
                  </a:lnTo>
                  <a:lnTo>
                    <a:pt x="371" y="395"/>
                  </a:lnTo>
                  <a:lnTo>
                    <a:pt x="368" y="399"/>
                  </a:lnTo>
                  <a:lnTo>
                    <a:pt x="367" y="404"/>
                  </a:lnTo>
                  <a:lnTo>
                    <a:pt x="367" y="404"/>
                  </a:lnTo>
                  <a:lnTo>
                    <a:pt x="364" y="410"/>
                  </a:lnTo>
                  <a:lnTo>
                    <a:pt x="364" y="410"/>
                  </a:lnTo>
                  <a:lnTo>
                    <a:pt x="361" y="411"/>
                  </a:lnTo>
                  <a:lnTo>
                    <a:pt x="361" y="411"/>
                  </a:lnTo>
                  <a:lnTo>
                    <a:pt x="361" y="414"/>
                  </a:lnTo>
                  <a:lnTo>
                    <a:pt x="361" y="414"/>
                  </a:lnTo>
                  <a:lnTo>
                    <a:pt x="361" y="417"/>
                  </a:lnTo>
                  <a:lnTo>
                    <a:pt x="361" y="417"/>
                  </a:lnTo>
                  <a:lnTo>
                    <a:pt x="361" y="418"/>
                  </a:lnTo>
                  <a:lnTo>
                    <a:pt x="361" y="418"/>
                  </a:lnTo>
                  <a:lnTo>
                    <a:pt x="362" y="418"/>
                  </a:lnTo>
                  <a:lnTo>
                    <a:pt x="362" y="418"/>
                  </a:lnTo>
                  <a:lnTo>
                    <a:pt x="361" y="418"/>
                  </a:lnTo>
                  <a:lnTo>
                    <a:pt x="362" y="418"/>
                  </a:lnTo>
                  <a:lnTo>
                    <a:pt x="362" y="418"/>
                  </a:lnTo>
                  <a:lnTo>
                    <a:pt x="362" y="418"/>
                  </a:lnTo>
                  <a:lnTo>
                    <a:pt x="362" y="418"/>
                  </a:lnTo>
                  <a:lnTo>
                    <a:pt x="362" y="418"/>
                  </a:lnTo>
                  <a:lnTo>
                    <a:pt x="362" y="418"/>
                  </a:lnTo>
                  <a:lnTo>
                    <a:pt x="362" y="418"/>
                  </a:lnTo>
                  <a:lnTo>
                    <a:pt x="362" y="418"/>
                  </a:lnTo>
                  <a:lnTo>
                    <a:pt x="362" y="418"/>
                  </a:lnTo>
                  <a:lnTo>
                    <a:pt x="362" y="418"/>
                  </a:lnTo>
                  <a:lnTo>
                    <a:pt x="362" y="418"/>
                  </a:lnTo>
                  <a:lnTo>
                    <a:pt x="362" y="418"/>
                  </a:lnTo>
                  <a:lnTo>
                    <a:pt x="362" y="418"/>
                  </a:lnTo>
                  <a:lnTo>
                    <a:pt x="361" y="417"/>
                  </a:lnTo>
                  <a:lnTo>
                    <a:pt x="361" y="417"/>
                  </a:lnTo>
                  <a:lnTo>
                    <a:pt x="357" y="414"/>
                  </a:lnTo>
                  <a:lnTo>
                    <a:pt x="357" y="414"/>
                  </a:lnTo>
                  <a:lnTo>
                    <a:pt x="354" y="410"/>
                  </a:lnTo>
                  <a:lnTo>
                    <a:pt x="354" y="410"/>
                  </a:lnTo>
                  <a:lnTo>
                    <a:pt x="352" y="404"/>
                  </a:lnTo>
                  <a:lnTo>
                    <a:pt x="352" y="404"/>
                  </a:lnTo>
                  <a:lnTo>
                    <a:pt x="351" y="401"/>
                  </a:lnTo>
                  <a:lnTo>
                    <a:pt x="351" y="401"/>
                  </a:lnTo>
                  <a:lnTo>
                    <a:pt x="348" y="395"/>
                  </a:lnTo>
                  <a:lnTo>
                    <a:pt x="348" y="395"/>
                  </a:lnTo>
                  <a:lnTo>
                    <a:pt x="345" y="389"/>
                  </a:lnTo>
                  <a:lnTo>
                    <a:pt x="345" y="389"/>
                  </a:lnTo>
                  <a:lnTo>
                    <a:pt x="345" y="386"/>
                  </a:lnTo>
                  <a:lnTo>
                    <a:pt x="344" y="385"/>
                  </a:lnTo>
                  <a:lnTo>
                    <a:pt x="344" y="385"/>
                  </a:lnTo>
                  <a:lnTo>
                    <a:pt x="341" y="383"/>
                  </a:lnTo>
                  <a:lnTo>
                    <a:pt x="341" y="383"/>
                  </a:lnTo>
                  <a:lnTo>
                    <a:pt x="338" y="382"/>
                  </a:lnTo>
                  <a:lnTo>
                    <a:pt x="338" y="382"/>
                  </a:lnTo>
                  <a:lnTo>
                    <a:pt x="338" y="382"/>
                  </a:lnTo>
                  <a:lnTo>
                    <a:pt x="338" y="381"/>
                  </a:lnTo>
                  <a:lnTo>
                    <a:pt x="338" y="381"/>
                  </a:lnTo>
                  <a:lnTo>
                    <a:pt x="338" y="381"/>
                  </a:lnTo>
                  <a:lnTo>
                    <a:pt x="338" y="381"/>
                  </a:lnTo>
                  <a:lnTo>
                    <a:pt x="339" y="379"/>
                  </a:lnTo>
                  <a:lnTo>
                    <a:pt x="339" y="379"/>
                  </a:lnTo>
                  <a:lnTo>
                    <a:pt x="339" y="376"/>
                  </a:lnTo>
                  <a:lnTo>
                    <a:pt x="339" y="376"/>
                  </a:lnTo>
                  <a:lnTo>
                    <a:pt x="339" y="376"/>
                  </a:lnTo>
                  <a:lnTo>
                    <a:pt x="338" y="373"/>
                  </a:lnTo>
                  <a:lnTo>
                    <a:pt x="338" y="373"/>
                  </a:lnTo>
                  <a:lnTo>
                    <a:pt x="335" y="372"/>
                  </a:lnTo>
                  <a:lnTo>
                    <a:pt x="335" y="372"/>
                  </a:lnTo>
                  <a:lnTo>
                    <a:pt x="316" y="370"/>
                  </a:lnTo>
                  <a:lnTo>
                    <a:pt x="316" y="370"/>
                  </a:lnTo>
                  <a:lnTo>
                    <a:pt x="310" y="369"/>
                  </a:lnTo>
                  <a:lnTo>
                    <a:pt x="306" y="366"/>
                  </a:lnTo>
                  <a:lnTo>
                    <a:pt x="306" y="366"/>
                  </a:lnTo>
                  <a:lnTo>
                    <a:pt x="299" y="360"/>
                  </a:lnTo>
                  <a:lnTo>
                    <a:pt x="299" y="360"/>
                  </a:lnTo>
                  <a:lnTo>
                    <a:pt x="296" y="359"/>
                  </a:lnTo>
                  <a:lnTo>
                    <a:pt x="291" y="359"/>
                  </a:lnTo>
                  <a:lnTo>
                    <a:pt x="291" y="359"/>
                  </a:lnTo>
                  <a:lnTo>
                    <a:pt x="284" y="360"/>
                  </a:lnTo>
                  <a:lnTo>
                    <a:pt x="277" y="362"/>
                  </a:lnTo>
                  <a:lnTo>
                    <a:pt x="277" y="362"/>
                  </a:lnTo>
                  <a:lnTo>
                    <a:pt x="258" y="366"/>
                  </a:lnTo>
                  <a:lnTo>
                    <a:pt x="248" y="369"/>
                  </a:lnTo>
                  <a:lnTo>
                    <a:pt x="239" y="373"/>
                  </a:lnTo>
                  <a:lnTo>
                    <a:pt x="239" y="373"/>
                  </a:lnTo>
                  <a:lnTo>
                    <a:pt x="232" y="376"/>
                  </a:lnTo>
                  <a:lnTo>
                    <a:pt x="232" y="376"/>
                  </a:lnTo>
                  <a:lnTo>
                    <a:pt x="226" y="376"/>
                  </a:lnTo>
                  <a:lnTo>
                    <a:pt x="226" y="376"/>
                  </a:lnTo>
                  <a:lnTo>
                    <a:pt x="215" y="376"/>
                  </a:lnTo>
                  <a:lnTo>
                    <a:pt x="215" y="376"/>
                  </a:lnTo>
                  <a:lnTo>
                    <a:pt x="196" y="376"/>
                  </a:lnTo>
                  <a:lnTo>
                    <a:pt x="196" y="376"/>
                  </a:lnTo>
                  <a:lnTo>
                    <a:pt x="184" y="376"/>
                  </a:lnTo>
                  <a:lnTo>
                    <a:pt x="176" y="378"/>
                  </a:lnTo>
                  <a:lnTo>
                    <a:pt x="176" y="378"/>
                  </a:lnTo>
                  <a:lnTo>
                    <a:pt x="173" y="379"/>
                  </a:lnTo>
                  <a:lnTo>
                    <a:pt x="170" y="381"/>
                  </a:lnTo>
                  <a:lnTo>
                    <a:pt x="170" y="381"/>
                  </a:lnTo>
                  <a:lnTo>
                    <a:pt x="167" y="386"/>
                  </a:lnTo>
                  <a:lnTo>
                    <a:pt x="165" y="391"/>
                  </a:lnTo>
                  <a:lnTo>
                    <a:pt x="165" y="391"/>
                  </a:lnTo>
                  <a:lnTo>
                    <a:pt x="161" y="397"/>
                  </a:lnTo>
                  <a:lnTo>
                    <a:pt x="161" y="397"/>
                  </a:lnTo>
                  <a:lnTo>
                    <a:pt x="160" y="398"/>
                  </a:lnTo>
                  <a:lnTo>
                    <a:pt x="160" y="398"/>
                  </a:lnTo>
                  <a:lnTo>
                    <a:pt x="158" y="397"/>
                  </a:lnTo>
                  <a:lnTo>
                    <a:pt x="158" y="397"/>
                  </a:lnTo>
                  <a:lnTo>
                    <a:pt x="155" y="395"/>
                  </a:lnTo>
                  <a:lnTo>
                    <a:pt x="155" y="395"/>
                  </a:lnTo>
                  <a:lnTo>
                    <a:pt x="154" y="394"/>
                  </a:lnTo>
                  <a:lnTo>
                    <a:pt x="154" y="394"/>
                  </a:lnTo>
                  <a:lnTo>
                    <a:pt x="152" y="392"/>
                  </a:lnTo>
                  <a:lnTo>
                    <a:pt x="152" y="392"/>
                  </a:lnTo>
                  <a:lnTo>
                    <a:pt x="149" y="394"/>
                  </a:lnTo>
                  <a:lnTo>
                    <a:pt x="149" y="394"/>
                  </a:lnTo>
                  <a:lnTo>
                    <a:pt x="147" y="395"/>
                  </a:lnTo>
                  <a:lnTo>
                    <a:pt x="147" y="395"/>
                  </a:lnTo>
                  <a:lnTo>
                    <a:pt x="145" y="397"/>
                  </a:lnTo>
                  <a:lnTo>
                    <a:pt x="145" y="397"/>
                  </a:lnTo>
                  <a:lnTo>
                    <a:pt x="142" y="398"/>
                  </a:lnTo>
                  <a:lnTo>
                    <a:pt x="142" y="398"/>
                  </a:lnTo>
                  <a:lnTo>
                    <a:pt x="138" y="398"/>
                  </a:lnTo>
                  <a:lnTo>
                    <a:pt x="134" y="395"/>
                  </a:lnTo>
                  <a:lnTo>
                    <a:pt x="134" y="395"/>
                  </a:lnTo>
                  <a:lnTo>
                    <a:pt x="129" y="395"/>
                  </a:lnTo>
                  <a:lnTo>
                    <a:pt x="125" y="395"/>
                  </a:lnTo>
                  <a:lnTo>
                    <a:pt x="125" y="395"/>
                  </a:lnTo>
                  <a:lnTo>
                    <a:pt x="115" y="395"/>
                  </a:lnTo>
                  <a:lnTo>
                    <a:pt x="106" y="397"/>
                  </a:lnTo>
                  <a:lnTo>
                    <a:pt x="106" y="397"/>
                  </a:lnTo>
                  <a:lnTo>
                    <a:pt x="102" y="398"/>
                  </a:lnTo>
                  <a:lnTo>
                    <a:pt x="102" y="398"/>
                  </a:lnTo>
                  <a:lnTo>
                    <a:pt x="94" y="404"/>
                  </a:lnTo>
                  <a:lnTo>
                    <a:pt x="94" y="404"/>
                  </a:lnTo>
                  <a:lnTo>
                    <a:pt x="89" y="407"/>
                  </a:lnTo>
                  <a:lnTo>
                    <a:pt x="89" y="407"/>
                  </a:lnTo>
                  <a:lnTo>
                    <a:pt x="77" y="412"/>
                  </a:lnTo>
                  <a:lnTo>
                    <a:pt x="77" y="412"/>
                  </a:lnTo>
                  <a:lnTo>
                    <a:pt x="67" y="418"/>
                  </a:lnTo>
                  <a:lnTo>
                    <a:pt x="67" y="418"/>
                  </a:lnTo>
                  <a:lnTo>
                    <a:pt x="63" y="420"/>
                  </a:lnTo>
                  <a:lnTo>
                    <a:pt x="63" y="420"/>
                  </a:lnTo>
                  <a:lnTo>
                    <a:pt x="55" y="418"/>
                  </a:lnTo>
                  <a:lnTo>
                    <a:pt x="48" y="415"/>
                  </a:lnTo>
                  <a:lnTo>
                    <a:pt x="48" y="415"/>
                  </a:lnTo>
                  <a:lnTo>
                    <a:pt x="41" y="408"/>
                  </a:lnTo>
                  <a:lnTo>
                    <a:pt x="41" y="408"/>
                  </a:lnTo>
                  <a:lnTo>
                    <a:pt x="36" y="405"/>
                  </a:lnTo>
                  <a:lnTo>
                    <a:pt x="32" y="404"/>
                  </a:lnTo>
                  <a:lnTo>
                    <a:pt x="32" y="404"/>
                  </a:lnTo>
                  <a:lnTo>
                    <a:pt x="31" y="402"/>
                  </a:lnTo>
                  <a:lnTo>
                    <a:pt x="29" y="401"/>
                  </a:lnTo>
                  <a:lnTo>
                    <a:pt x="29" y="401"/>
                  </a:lnTo>
                  <a:lnTo>
                    <a:pt x="28" y="397"/>
                  </a:lnTo>
                  <a:lnTo>
                    <a:pt x="28" y="397"/>
                  </a:lnTo>
                  <a:lnTo>
                    <a:pt x="28" y="395"/>
                  </a:lnTo>
                  <a:lnTo>
                    <a:pt x="28" y="395"/>
                  </a:lnTo>
                  <a:lnTo>
                    <a:pt x="29" y="394"/>
                  </a:lnTo>
                  <a:lnTo>
                    <a:pt x="29" y="394"/>
                  </a:lnTo>
                  <a:lnTo>
                    <a:pt x="34" y="392"/>
                  </a:lnTo>
                  <a:lnTo>
                    <a:pt x="34" y="392"/>
                  </a:lnTo>
                  <a:lnTo>
                    <a:pt x="36" y="389"/>
                  </a:lnTo>
                  <a:lnTo>
                    <a:pt x="36" y="389"/>
                  </a:lnTo>
                  <a:lnTo>
                    <a:pt x="38" y="382"/>
                  </a:lnTo>
                  <a:lnTo>
                    <a:pt x="38" y="382"/>
                  </a:lnTo>
                  <a:lnTo>
                    <a:pt x="39" y="376"/>
                  </a:lnTo>
                  <a:lnTo>
                    <a:pt x="39" y="376"/>
                  </a:lnTo>
                  <a:lnTo>
                    <a:pt x="41" y="375"/>
                  </a:lnTo>
                  <a:lnTo>
                    <a:pt x="39" y="373"/>
                  </a:lnTo>
                  <a:lnTo>
                    <a:pt x="39" y="375"/>
                  </a:lnTo>
                  <a:lnTo>
                    <a:pt x="39" y="375"/>
                  </a:lnTo>
                  <a:lnTo>
                    <a:pt x="41" y="375"/>
                  </a:lnTo>
                  <a:lnTo>
                    <a:pt x="39" y="373"/>
                  </a:lnTo>
                  <a:lnTo>
                    <a:pt x="39" y="375"/>
                  </a:lnTo>
                  <a:lnTo>
                    <a:pt x="39" y="373"/>
                  </a:lnTo>
                  <a:lnTo>
                    <a:pt x="39" y="375"/>
                  </a:lnTo>
                  <a:lnTo>
                    <a:pt x="39" y="375"/>
                  </a:lnTo>
                  <a:lnTo>
                    <a:pt x="39" y="373"/>
                  </a:lnTo>
                  <a:lnTo>
                    <a:pt x="39" y="375"/>
                  </a:lnTo>
                  <a:lnTo>
                    <a:pt x="39" y="373"/>
                  </a:lnTo>
                  <a:lnTo>
                    <a:pt x="39" y="375"/>
                  </a:lnTo>
                  <a:lnTo>
                    <a:pt x="39" y="375"/>
                  </a:lnTo>
                  <a:lnTo>
                    <a:pt x="39" y="373"/>
                  </a:lnTo>
                  <a:lnTo>
                    <a:pt x="39" y="375"/>
                  </a:lnTo>
                  <a:lnTo>
                    <a:pt x="39" y="375"/>
                  </a:lnTo>
                  <a:lnTo>
                    <a:pt x="39" y="375"/>
                  </a:lnTo>
                  <a:lnTo>
                    <a:pt x="39" y="376"/>
                  </a:lnTo>
                  <a:lnTo>
                    <a:pt x="39" y="376"/>
                  </a:lnTo>
                  <a:lnTo>
                    <a:pt x="42" y="379"/>
                  </a:lnTo>
                  <a:lnTo>
                    <a:pt x="42" y="379"/>
                  </a:lnTo>
                  <a:lnTo>
                    <a:pt x="44" y="379"/>
                  </a:lnTo>
                  <a:lnTo>
                    <a:pt x="44" y="379"/>
                  </a:lnTo>
                  <a:lnTo>
                    <a:pt x="47" y="379"/>
                  </a:lnTo>
                  <a:lnTo>
                    <a:pt x="47" y="379"/>
                  </a:lnTo>
                  <a:lnTo>
                    <a:pt x="47" y="378"/>
                  </a:lnTo>
                  <a:lnTo>
                    <a:pt x="47" y="376"/>
                  </a:lnTo>
                  <a:lnTo>
                    <a:pt x="47" y="376"/>
                  </a:lnTo>
                  <a:lnTo>
                    <a:pt x="45" y="368"/>
                  </a:lnTo>
                  <a:lnTo>
                    <a:pt x="45" y="368"/>
                  </a:lnTo>
                  <a:lnTo>
                    <a:pt x="42" y="357"/>
                  </a:lnTo>
                  <a:lnTo>
                    <a:pt x="42" y="357"/>
                  </a:lnTo>
                  <a:lnTo>
                    <a:pt x="38" y="341"/>
                  </a:lnTo>
                  <a:lnTo>
                    <a:pt x="38" y="341"/>
                  </a:lnTo>
                  <a:lnTo>
                    <a:pt x="35" y="334"/>
                  </a:lnTo>
                  <a:lnTo>
                    <a:pt x="35" y="334"/>
                  </a:lnTo>
                  <a:lnTo>
                    <a:pt x="35" y="328"/>
                  </a:lnTo>
                  <a:lnTo>
                    <a:pt x="35" y="328"/>
                  </a:lnTo>
                  <a:lnTo>
                    <a:pt x="32" y="318"/>
                  </a:lnTo>
                  <a:lnTo>
                    <a:pt x="32" y="318"/>
                  </a:lnTo>
                  <a:lnTo>
                    <a:pt x="31" y="313"/>
                  </a:lnTo>
                  <a:lnTo>
                    <a:pt x="31" y="313"/>
                  </a:lnTo>
                  <a:lnTo>
                    <a:pt x="29" y="308"/>
                  </a:lnTo>
                  <a:lnTo>
                    <a:pt x="29" y="308"/>
                  </a:lnTo>
                  <a:lnTo>
                    <a:pt x="26" y="305"/>
                  </a:lnTo>
                  <a:lnTo>
                    <a:pt x="26" y="305"/>
                  </a:lnTo>
                  <a:lnTo>
                    <a:pt x="22" y="298"/>
                  </a:lnTo>
                  <a:lnTo>
                    <a:pt x="19" y="291"/>
                  </a:lnTo>
                  <a:lnTo>
                    <a:pt x="19" y="291"/>
                  </a:lnTo>
                  <a:lnTo>
                    <a:pt x="16" y="281"/>
                  </a:lnTo>
                  <a:lnTo>
                    <a:pt x="16" y="281"/>
                  </a:lnTo>
                  <a:lnTo>
                    <a:pt x="13" y="276"/>
                  </a:lnTo>
                  <a:lnTo>
                    <a:pt x="9" y="272"/>
                  </a:lnTo>
                  <a:lnTo>
                    <a:pt x="9" y="272"/>
                  </a:lnTo>
                  <a:lnTo>
                    <a:pt x="8" y="271"/>
                  </a:lnTo>
                  <a:lnTo>
                    <a:pt x="8" y="268"/>
                  </a:lnTo>
                  <a:lnTo>
                    <a:pt x="8" y="268"/>
                  </a:lnTo>
                  <a:lnTo>
                    <a:pt x="6" y="259"/>
                  </a:lnTo>
                  <a:lnTo>
                    <a:pt x="6" y="257"/>
                  </a:lnTo>
                  <a:lnTo>
                    <a:pt x="6" y="257"/>
                  </a:lnTo>
                  <a:lnTo>
                    <a:pt x="6" y="257"/>
                  </a:lnTo>
                  <a:lnTo>
                    <a:pt x="5" y="257"/>
                  </a:lnTo>
                  <a:lnTo>
                    <a:pt x="6" y="259"/>
                  </a:lnTo>
                  <a:lnTo>
                    <a:pt x="6" y="259"/>
                  </a:lnTo>
                  <a:lnTo>
                    <a:pt x="6" y="257"/>
                  </a:lnTo>
                  <a:lnTo>
                    <a:pt x="5" y="257"/>
                  </a:lnTo>
                  <a:lnTo>
                    <a:pt x="6" y="259"/>
                  </a:lnTo>
                  <a:lnTo>
                    <a:pt x="3" y="257"/>
                  </a:lnTo>
                  <a:lnTo>
                    <a:pt x="5" y="259"/>
                  </a:lnTo>
                  <a:lnTo>
                    <a:pt x="6" y="259"/>
                  </a:lnTo>
                  <a:lnTo>
                    <a:pt x="3" y="257"/>
                  </a:lnTo>
                  <a:lnTo>
                    <a:pt x="5" y="259"/>
                  </a:lnTo>
                  <a:lnTo>
                    <a:pt x="3" y="257"/>
                  </a:lnTo>
                  <a:lnTo>
                    <a:pt x="3" y="260"/>
                  </a:lnTo>
                  <a:lnTo>
                    <a:pt x="5" y="259"/>
                  </a:lnTo>
                  <a:lnTo>
                    <a:pt x="3" y="257"/>
                  </a:lnTo>
                  <a:lnTo>
                    <a:pt x="3" y="260"/>
                  </a:lnTo>
                  <a:lnTo>
                    <a:pt x="3" y="257"/>
                  </a:lnTo>
                  <a:lnTo>
                    <a:pt x="2" y="259"/>
                  </a:lnTo>
                  <a:lnTo>
                    <a:pt x="2" y="259"/>
                  </a:lnTo>
                  <a:lnTo>
                    <a:pt x="3" y="260"/>
                  </a:lnTo>
                  <a:lnTo>
                    <a:pt x="3" y="257"/>
                  </a:lnTo>
                  <a:lnTo>
                    <a:pt x="2" y="259"/>
                  </a:lnTo>
                  <a:lnTo>
                    <a:pt x="3" y="259"/>
                  </a:lnTo>
                  <a:lnTo>
                    <a:pt x="2" y="259"/>
                  </a:lnTo>
                  <a:lnTo>
                    <a:pt x="2" y="259"/>
                  </a:lnTo>
                  <a:lnTo>
                    <a:pt x="3" y="259"/>
                  </a:lnTo>
                  <a:lnTo>
                    <a:pt x="2" y="259"/>
                  </a:lnTo>
                  <a:lnTo>
                    <a:pt x="2" y="259"/>
                  </a:lnTo>
                  <a:lnTo>
                    <a:pt x="3" y="260"/>
                  </a:lnTo>
                  <a:lnTo>
                    <a:pt x="3" y="260"/>
                  </a:lnTo>
                  <a:lnTo>
                    <a:pt x="6" y="263"/>
                  </a:lnTo>
                  <a:lnTo>
                    <a:pt x="6" y="263"/>
                  </a:lnTo>
                  <a:lnTo>
                    <a:pt x="8" y="263"/>
                  </a:lnTo>
                  <a:lnTo>
                    <a:pt x="8" y="263"/>
                  </a:lnTo>
                  <a:lnTo>
                    <a:pt x="10" y="263"/>
                  </a:lnTo>
                  <a:lnTo>
                    <a:pt x="10" y="263"/>
                  </a:lnTo>
                  <a:lnTo>
                    <a:pt x="12" y="260"/>
                  </a:lnTo>
                  <a:lnTo>
                    <a:pt x="12" y="260"/>
                  </a:lnTo>
                  <a:lnTo>
                    <a:pt x="12" y="259"/>
                  </a:lnTo>
                  <a:lnTo>
                    <a:pt x="12" y="259"/>
                  </a:lnTo>
                  <a:lnTo>
                    <a:pt x="10" y="256"/>
                  </a:lnTo>
                  <a:lnTo>
                    <a:pt x="10" y="256"/>
                  </a:lnTo>
                  <a:lnTo>
                    <a:pt x="10" y="255"/>
                  </a:lnTo>
                  <a:lnTo>
                    <a:pt x="9" y="255"/>
                  </a:lnTo>
                  <a:lnTo>
                    <a:pt x="10" y="255"/>
                  </a:lnTo>
                  <a:lnTo>
                    <a:pt x="10" y="255"/>
                  </a:lnTo>
                  <a:lnTo>
                    <a:pt x="10" y="255"/>
                  </a:lnTo>
                  <a:lnTo>
                    <a:pt x="9" y="255"/>
                  </a:lnTo>
                  <a:lnTo>
                    <a:pt x="10" y="255"/>
                  </a:lnTo>
                  <a:lnTo>
                    <a:pt x="9" y="253"/>
                  </a:lnTo>
                  <a:lnTo>
                    <a:pt x="9" y="256"/>
                  </a:lnTo>
                  <a:lnTo>
                    <a:pt x="9" y="256"/>
                  </a:lnTo>
                  <a:lnTo>
                    <a:pt x="10" y="255"/>
                  </a:lnTo>
                  <a:lnTo>
                    <a:pt x="9" y="253"/>
                  </a:lnTo>
                  <a:lnTo>
                    <a:pt x="9" y="256"/>
                  </a:lnTo>
                  <a:lnTo>
                    <a:pt x="9" y="255"/>
                  </a:lnTo>
                  <a:lnTo>
                    <a:pt x="9" y="256"/>
                  </a:lnTo>
                  <a:lnTo>
                    <a:pt x="9" y="256"/>
                  </a:lnTo>
                  <a:lnTo>
                    <a:pt x="9" y="255"/>
                  </a:lnTo>
                  <a:lnTo>
                    <a:pt x="9" y="256"/>
                  </a:lnTo>
                  <a:lnTo>
                    <a:pt x="9" y="255"/>
                  </a:lnTo>
                  <a:lnTo>
                    <a:pt x="9" y="256"/>
                  </a:lnTo>
                  <a:lnTo>
                    <a:pt x="9" y="256"/>
                  </a:lnTo>
                  <a:lnTo>
                    <a:pt x="9" y="255"/>
                  </a:lnTo>
                  <a:lnTo>
                    <a:pt x="9" y="256"/>
                  </a:lnTo>
                  <a:lnTo>
                    <a:pt x="9" y="256"/>
                  </a:lnTo>
                  <a:lnTo>
                    <a:pt x="10" y="257"/>
                  </a:lnTo>
                  <a:lnTo>
                    <a:pt x="10" y="257"/>
                  </a:lnTo>
                  <a:lnTo>
                    <a:pt x="15" y="260"/>
                  </a:lnTo>
                  <a:lnTo>
                    <a:pt x="15" y="260"/>
                  </a:lnTo>
                  <a:lnTo>
                    <a:pt x="18" y="262"/>
                  </a:lnTo>
                  <a:lnTo>
                    <a:pt x="18" y="262"/>
                  </a:lnTo>
                  <a:lnTo>
                    <a:pt x="19" y="260"/>
                  </a:lnTo>
                  <a:lnTo>
                    <a:pt x="19" y="260"/>
                  </a:lnTo>
                  <a:lnTo>
                    <a:pt x="21" y="259"/>
                  </a:lnTo>
                  <a:lnTo>
                    <a:pt x="21" y="259"/>
                  </a:lnTo>
                  <a:lnTo>
                    <a:pt x="21" y="257"/>
                  </a:lnTo>
                  <a:lnTo>
                    <a:pt x="21" y="257"/>
                  </a:lnTo>
                  <a:lnTo>
                    <a:pt x="21" y="255"/>
                  </a:lnTo>
                  <a:lnTo>
                    <a:pt x="21" y="255"/>
                  </a:lnTo>
                  <a:lnTo>
                    <a:pt x="15" y="244"/>
                  </a:lnTo>
                  <a:lnTo>
                    <a:pt x="15" y="244"/>
                  </a:lnTo>
                  <a:lnTo>
                    <a:pt x="13" y="240"/>
                  </a:lnTo>
                  <a:lnTo>
                    <a:pt x="13" y="240"/>
                  </a:lnTo>
                  <a:lnTo>
                    <a:pt x="12" y="234"/>
                  </a:lnTo>
                  <a:lnTo>
                    <a:pt x="12" y="233"/>
                  </a:lnTo>
                  <a:lnTo>
                    <a:pt x="12" y="233"/>
                  </a:lnTo>
                  <a:lnTo>
                    <a:pt x="13" y="230"/>
                  </a:lnTo>
                  <a:lnTo>
                    <a:pt x="13" y="229"/>
                  </a:lnTo>
                  <a:lnTo>
                    <a:pt x="13" y="229"/>
                  </a:lnTo>
                  <a:lnTo>
                    <a:pt x="15" y="226"/>
                  </a:lnTo>
                  <a:lnTo>
                    <a:pt x="15" y="226"/>
                  </a:lnTo>
                  <a:lnTo>
                    <a:pt x="16" y="224"/>
                  </a:lnTo>
                  <a:lnTo>
                    <a:pt x="16" y="224"/>
                  </a:lnTo>
                  <a:lnTo>
                    <a:pt x="16" y="224"/>
                  </a:lnTo>
                  <a:lnTo>
                    <a:pt x="16" y="223"/>
                  </a:lnTo>
                  <a:lnTo>
                    <a:pt x="16" y="223"/>
                  </a:lnTo>
                  <a:lnTo>
                    <a:pt x="16" y="221"/>
                  </a:lnTo>
                  <a:lnTo>
                    <a:pt x="16" y="221"/>
                  </a:lnTo>
                  <a:lnTo>
                    <a:pt x="13" y="220"/>
                  </a:lnTo>
                  <a:lnTo>
                    <a:pt x="13" y="220"/>
                  </a:lnTo>
                  <a:lnTo>
                    <a:pt x="12" y="221"/>
                  </a:lnTo>
                  <a:lnTo>
                    <a:pt x="12" y="221"/>
                  </a:lnTo>
                  <a:lnTo>
                    <a:pt x="12" y="221"/>
                  </a:lnTo>
                  <a:lnTo>
                    <a:pt x="9" y="224"/>
                  </a:lnTo>
                  <a:lnTo>
                    <a:pt x="9" y="224"/>
                  </a:lnTo>
                  <a:lnTo>
                    <a:pt x="6" y="226"/>
                  </a:lnTo>
                  <a:lnTo>
                    <a:pt x="6" y="227"/>
                  </a:lnTo>
                  <a:lnTo>
                    <a:pt x="6" y="226"/>
                  </a:lnTo>
                  <a:lnTo>
                    <a:pt x="6" y="226"/>
                  </a:lnTo>
                  <a:lnTo>
                    <a:pt x="6" y="227"/>
                  </a:lnTo>
                  <a:lnTo>
                    <a:pt x="6" y="226"/>
                  </a:lnTo>
                  <a:lnTo>
                    <a:pt x="6" y="229"/>
                  </a:lnTo>
                  <a:lnTo>
                    <a:pt x="8" y="227"/>
                  </a:lnTo>
                  <a:lnTo>
                    <a:pt x="6" y="226"/>
                  </a:lnTo>
                  <a:lnTo>
                    <a:pt x="6" y="229"/>
                  </a:lnTo>
                  <a:lnTo>
                    <a:pt x="8" y="227"/>
                  </a:lnTo>
                  <a:lnTo>
                    <a:pt x="6" y="229"/>
                  </a:lnTo>
                  <a:lnTo>
                    <a:pt x="8" y="227"/>
                  </a:lnTo>
                  <a:lnTo>
                    <a:pt x="8" y="227"/>
                  </a:lnTo>
                  <a:lnTo>
                    <a:pt x="8" y="227"/>
                  </a:lnTo>
                  <a:lnTo>
                    <a:pt x="6" y="229"/>
                  </a:lnTo>
                  <a:lnTo>
                    <a:pt x="8" y="227"/>
                  </a:lnTo>
                  <a:lnTo>
                    <a:pt x="8" y="227"/>
                  </a:lnTo>
                  <a:lnTo>
                    <a:pt x="8" y="227"/>
                  </a:lnTo>
                  <a:lnTo>
                    <a:pt x="8" y="227"/>
                  </a:lnTo>
                  <a:lnTo>
                    <a:pt x="8" y="227"/>
                  </a:lnTo>
                  <a:lnTo>
                    <a:pt x="8" y="227"/>
                  </a:lnTo>
                  <a:lnTo>
                    <a:pt x="8" y="227"/>
                  </a:lnTo>
                  <a:lnTo>
                    <a:pt x="8" y="227"/>
                  </a:lnTo>
                  <a:lnTo>
                    <a:pt x="9" y="223"/>
                  </a:lnTo>
                  <a:lnTo>
                    <a:pt x="9" y="223"/>
                  </a:lnTo>
                  <a:lnTo>
                    <a:pt x="10" y="220"/>
                  </a:lnTo>
                  <a:lnTo>
                    <a:pt x="10" y="220"/>
                  </a:lnTo>
                  <a:lnTo>
                    <a:pt x="12" y="218"/>
                  </a:lnTo>
                  <a:lnTo>
                    <a:pt x="12" y="218"/>
                  </a:lnTo>
                  <a:lnTo>
                    <a:pt x="13" y="214"/>
                  </a:lnTo>
                  <a:lnTo>
                    <a:pt x="13" y="210"/>
                  </a:lnTo>
                  <a:lnTo>
                    <a:pt x="13" y="210"/>
                  </a:lnTo>
                  <a:lnTo>
                    <a:pt x="12" y="204"/>
                  </a:lnTo>
                  <a:lnTo>
                    <a:pt x="12" y="202"/>
                  </a:lnTo>
                  <a:lnTo>
                    <a:pt x="12" y="202"/>
                  </a:lnTo>
                  <a:lnTo>
                    <a:pt x="13" y="200"/>
                  </a:lnTo>
                  <a:lnTo>
                    <a:pt x="15" y="197"/>
                  </a:lnTo>
                  <a:lnTo>
                    <a:pt x="15" y="197"/>
                  </a:lnTo>
                  <a:lnTo>
                    <a:pt x="21" y="192"/>
                  </a:lnTo>
                  <a:lnTo>
                    <a:pt x="22" y="191"/>
                  </a:lnTo>
                  <a:lnTo>
                    <a:pt x="22" y="191"/>
                  </a:lnTo>
                  <a:lnTo>
                    <a:pt x="22" y="191"/>
                  </a:lnTo>
                  <a:lnTo>
                    <a:pt x="22" y="191"/>
                  </a:lnTo>
                  <a:lnTo>
                    <a:pt x="22" y="191"/>
                  </a:lnTo>
                  <a:lnTo>
                    <a:pt x="21" y="189"/>
                  </a:lnTo>
                  <a:lnTo>
                    <a:pt x="21" y="191"/>
                  </a:lnTo>
                  <a:lnTo>
                    <a:pt x="22" y="191"/>
                  </a:lnTo>
                  <a:lnTo>
                    <a:pt x="21" y="189"/>
                  </a:lnTo>
                  <a:lnTo>
                    <a:pt x="21" y="191"/>
                  </a:lnTo>
                  <a:lnTo>
                    <a:pt x="21" y="189"/>
                  </a:lnTo>
                  <a:lnTo>
                    <a:pt x="19" y="191"/>
                  </a:lnTo>
                  <a:lnTo>
                    <a:pt x="21" y="191"/>
                  </a:lnTo>
                  <a:lnTo>
                    <a:pt x="21" y="189"/>
                  </a:lnTo>
                  <a:lnTo>
                    <a:pt x="19" y="191"/>
                  </a:lnTo>
                  <a:lnTo>
                    <a:pt x="21" y="189"/>
                  </a:lnTo>
                  <a:lnTo>
                    <a:pt x="19" y="189"/>
                  </a:lnTo>
                  <a:lnTo>
                    <a:pt x="19" y="189"/>
                  </a:lnTo>
                  <a:lnTo>
                    <a:pt x="19" y="191"/>
                  </a:lnTo>
                  <a:lnTo>
                    <a:pt x="21" y="189"/>
                  </a:lnTo>
                  <a:lnTo>
                    <a:pt x="19" y="189"/>
                  </a:lnTo>
                  <a:lnTo>
                    <a:pt x="21" y="189"/>
                  </a:lnTo>
                  <a:lnTo>
                    <a:pt x="19" y="189"/>
                  </a:lnTo>
                  <a:lnTo>
                    <a:pt x="19" y="189"/>
                  </a:lnTo>
                  <a:lnTo>
                    <a:pt x="21" y="189"/>
                  </a:lnTo>
                  <a:lnTo>
                    <a:pt x="19" y="189"/>
                  </a:lnTo>
                  <a:lnTo>
                    <a:pt x="19" y="189"/>
                  </a:lnTo>
                  <a:lnTo>
                    <a:pt x="19" y="189"/>
                  </a:lnTo>
                  <a:lnTo>
                    <a:pt x="19" y="189"/>
                  </a:lnTo>
                  <a:lnTo>
                    <a:pt x="19" y="189"/>
                  </a:lnTo>
                  <a:lnTo>
                    <a:pt x="19" y="189"/>
                  </a:lnTo>
                  <a:lnTo>
                    <a:pt x="19" y="189"/>
                  </a:lnTo>
                  <a:lnTo>
                    <a:pt x="18" y="191"/>
                  </a:lnTo>
                  <a:lnTo>
                    <a:pt x="18" y="191"/>
                  </a:lnTo>
                  <a:lnTo>
                    <a:pt x="18" y="192"/>
                  </a:lnTo>
                  <a:lnTo>
                    <a:pt x="18" y="192"/>
                  </a:lnTo>
                  <a:lnTo>
                    <a:pt x="19" y="195"/>
                  </a:lnTo>
                  <a:lnTo>
                    <a:pt x="19" y="195"/>
                  </a:lnTo>
                  <a:lnTo>
                    <a:pt x="19" y="195"/>
                  </a:lnTo>
                  <a:lnTo>
                    <a:pt x="19" y="197"/>
                  </a:lnTo>
                  <a:lnTo>
                    <a:pt x="19" y="197"/>
                  </a:lnTo>
                  <a:lnTo>
                    <a:pt x="21" y="197"/>
                  </a:lnTo>
                  <a:lnTo>
                    <a:pt x="21" y="197"/>
                  </a:lnTo>
                  <a:lnTo>
                    <a:pt x="22" y="197"/>
                  </a:lnTo>
                  <a:lnTo>
                    <a:pt x="22" y="197"/>
                  </a:lnTo>
                  <a:lnTo>
                    <a:pt x="25" y="195"/>
                  </a:lnTo>
                  <a:lnTo>
                    <a:pt x="25" y="195"/>
                  </a:lnTo>
                  <a:lnTo>
                    <a:pt x="29" y="188"/>
                  </a:lnTo>
                  <a:lnTo>
                    <a:pt x="29" y="188"/>
                  </a:lnTo>
                  <a:lnTo>
                    <a:pt x="32" y="185"/>
                  </a:lnTo>
                  <a:lnTo>
                    <a:pt x="32" y="185"/>
                  </a:lnTo>
                  <a:lnTo>
                    <a:pt x="32" y="185"/>
                  </a:lnTo>
                  <a:lnTo>
                    <a:pt x="32" y="184"/>
                  </a:lnTo>
                  <a:lnTo>
                    <a:pt x="32" y="185"/>
                  </a:lnTo>
                  <a:lnTo>
                    <a:pt x="32" y="185"/>
                  </a:lnTo>
                  <a:lnTo>
                    <a:pt x="32" y="185"/>
                  </a:lnTo>
                  <a:lnTo>
                    <a:pt x="32" y="184"/>
                  </a:lnTo>
                  <a:lnTo>
                    <a:pt x="32" y="185"/>
                  </a:lnTo>
                  <a:lnTo>
                    <a:pt x="32" y="185"/>
                  </a:lnTo>
                  <a:lnTo>
                    <a:pt x="34" y="184"/>
                  </a:lnTo>
                  <a:lnTo>
                    <a:pt x="34" y="184"/>
                  </a:lnTo>
                  <a:lnTo>
                    <a:pt x="39" y="179"/>
                  </a:lnTo>
                  <a:lnTo>
                    <a:pt x="39" y="179"/>
                  </a:lnTo>
                  <a:lnTo>
                    <a:pt x="45" y="173"/>
                  </a:lnTo>
                  <a:lnTo>
                    <a:pt x="45" y="173"/>
                  </a:lnTo>
                  <a:lnTo>
                    <a:pt x="50" y="172"/>
                  </a:lnTo>
                  <a:lnTo>
                    <a:pt x="50" y="172"/>
                  </a:lnTo>
                  <a:lnTo>
                    <a:pt x="63" y="169"/>
                  </a:lnTo>
                  <a:lnTo>
                    <a:pt x="73" y="168"/>
                  </a:lnTo>
                  <a:lnTo>
                    <a:pt x="73" y="168"/>
                  </a:lnTo>
                  <a:lnTo>
                    <a:pt x="78" y="168"/>
                  </a:lnTo>
                  <a:lnTo>
                    <a:pt x="84" y="165"/>
                  </a:lnTo>
                  <a:lnTo>
                    <a:pt x="94" y="160"/>
                  </a:lnTo>
                  <a:lnTo>
                    <a:pt x="94" y="160"/>
                  </a:lnTo>
                  <a:lnTo>
                    <a:pt x="100" y="158"/>
                  </a:lnTo>
                  <a:lnTo>
                    <a:pt x="100" y="158"/>
                  </a:lnTo>
                  <a:lnTo>
                    <a:pt x="116" y="153"/>
                  </a:lnTo>
                  <a:lnTo>
                    <a:pt x="116" y="153"/>
                  </a:lnTo>
                  <a:lnTo>
                    <a:pt x="122" y="150"/>
                  </a:lnTo>
                  <a:lnTo>
                    <a:pt x="122" y="150"/>
                  </a:lnTo>
                  <a:lnTo>
                    <a:pt x="128" y="149"/>
                  </a:lnTo>
                  <a:lnTo>
                    <a:pt x="128" y="149"/>
                  </a:lnTo>
                  <a:lnTo>
                    <a:pt x="135" y="144"/>
                  </a:lnTo>
                  <a:lnTo>
                    <a:pt x="135" y="144"/>
                  </a:lnTo>
                  <a:lnTo>
                    <a:pt x="139" y="140"/>
                  </a:lnTo>
                  <a:lnTo>
                    <a:pt x="139" y="140"/>
                  </a:lnTo>
                  <a:lnTo>
                    <a:pt x="141" y="137"/>
                  </a:lnTo>
                  <a:lnTo>
                    <a:pt x="141" y="137"/>
                  </a:lnTo>
                  <a:lnTo>
                    <a:pt x="144" y="131"/>
                  </a:lnTo>
                  <a:lnTo>
                    <a:pt x="144" y="131"/>
                  </a:lnTo>
                  <a:lnTo>
                    <a:pt x="147" y="129"/>
                  </a:lnTo>
                  <a:lnTo>
                    <a:pt x="147" y="129"/>
                  </a:lnTo>
                  <a:lnTo>
                    <a:pt x="148" y="124"/>
                  </a:lnTo>
                  <a:lnTo>
                    <a:pt x="148" y="124"/>
                  </a:lnTo>
                  <a:lnTo>
                    <a:pt x="148" y="121"/>
                  </a:lnTo>
                  <a:lnTo>
                    <a:pt x="148" y="121"/>
                  </a:lnTo>
                  <a:lnTo>
                    <a:pt x="148" y="113"/>
                  </a:lnTo>
                  <a:lnTo>
                    <a:pt x="148" y="113"/>
                  </a:lnTo>
                  <a:lnTo>
                    <a:pt x="148" y="111"/>
                  </a:lnTo>
                  <a:lnTo>
                    <a:pt x="148" y="111"/>
                  </a:lnTo>
                  <a:lnTo>
                    <a:pt x="149" y="108"/>
                  </a:lnTo>
                  <a:lnTo>
                    <a:pt x="149" y="108"/>
                  </a:lnTo>
                  <a:lnTo>
                    <a:pt x="157" y="102"/>
                  </a:lnTo>
                  <a:lnTo>
                    <a:pt x="157" y="102"/>
                  </a:lnTo>
                  <a:lnTo>
                    <a:pt x="160" y="101"/>
                  </a:lnTo>
                  <a:lnTo>
                    <a:pt x="160" y="101"/>
                  </a:lnTo>
                  <a:lnTo>
                    <a:pt x="161" y="100"/>
                  </a:lnTo>
                  <a:lnTo>
                    <a:pt x="161" y="98"/>
                  </a:lnTo>
                  <a:lnTo>
                    <a:pt x="161" y="100"/>
                  </a:lnTo>
                  <a:lnTo>
                    <a:pt x="161" y="100"/>
                  </a:lnTo>
                  <a:lnTo>
                    <a:pt x="161" y="98"/>
                  </a:lnTo>
                  <a:lnTo>
                    <a:pt x="161" y="100"/>
                  </a:lnTo>
                  <a:lnTo>
                    <a:pt x="161" y="98"/>
                  </a:lnTo>
                  <a:lnTo>
                    <a:pt x="161" y="100"/>
                  </a:lnTo>
                  <a:lnTo>
                    <a:pt x="161" y="100"/>
                  </a:lnTo>
                  <a:lnTo>
                    <a:pt x="161" y="98"/>
                  </a:lnTo>
                  <a:lnTo>
                    <a:pt x="161" y="100"/>
                  </a:lnTo>
                  <a:lnTo>
                    <a:pt x="161" y="100"/>
                  </a:lnTo>
                  <a:lnTo>
                    <a:pt x="160" y="100"/>
                  </a:lnTo>
                  <a:lnTo>
                    <a:pt x="161" y="100"/>
                  </a:lnTo>
                  <a:lnTo>
                    <a:pt x="161" y="100"/>
                  </a:lnTo>
                  <a:lnTo>
                    <a:pt x="160" y="100"/>
                  </a:lnTo>
                  <a:lnTo>
                    <a:pt x="160" y="100"/>
                  </a:lnTo>
                  <a:lnTo>
                    <a:pt x="161" y="101"/>
                  </a:lnTo>
                  <a:lnTo>
                    <a:pt x="161" y="101"/>
                  </a:lnTo>
                  <a:lnTo>
                    <a:pt x="164" y="105"/>
                  </a:lnTo>
                  <a:lnTo>
                    <a:pt x="164" y="105"/>
                  </a:lnTo>
                  <a:lnTo>
                    <a:pt x="167" y="111"/>
                  </a:lnTo>
                  <a:lnTo>
                    <a:pt x="167" y="111"/>
                  </a:lnTo>
                  <a:lnTo>
                    <a:pt x="168" y="113"/>
                  </a:lnTo>
                  <a:lnTo>
                    <a:pt x="168" y="113"/>
                  </a:lnTo>
                  <a:lnTo>
                    <a:pt x="170" y="113"/>
                  </a:lnTo>
                  <a:lnTo>
                    <a:pt x="170" y="113"/>
                  </a:lnTo>
                  <a:lnTo>
                    <a:pt x="171" y="113"/>
                  </a:lnTo>
                  <a:lnTo>
                    <a:pt x="171" y="113"/>
                  </a:lnTo>
                  <a:lnTo>
                    <a:pt x="174" y="110"/>
                  </a:lnTo>
                  <a:lnTo>
                    <a:pt x="174" y="110"/>
                  </a:lnTo>
                  <a:lnTo>
                    <a:pt x="174" y="105"/>
                  </a:lnTo>
                  <a:lnTo>
                    <a:pt x="176" y="102"/>
                  </a:lnTo>
                  <a:lnTo>
                    <a:pt x="176" y="102"/>
                  </a:lnTo>
                  <a:lnTo>
                    <a:pt x="174" y="98"/>
                  </a:lnTo>
                  <a:lnTo>
                    <a:pt x="174" y="98"/>
                  </a:lnTo>
                  <a:lnTo>
                    <a:pt x="174" y="97"/>
                  </a:lnTo>
                  <a:lnTo>
                    <a:pt x="174" y="97"/>
                  </a:lnTo>
                  <a:lnTo>
                    <a:pt x="176" y="92"/>
                  </a:lnTo>
                  <a:lnTo>
                    <a:pt x="174" y="92"/>
                  </a:lnTo>
                  <a:lnTo>
                    <a:pt x="174" y="92"/>
                  </a:lnTo>
                  <a:lnTo>
                    <a:pt x="176" y="92"/>
                  </a:lnTo>
                  <a:lnTo>
                    <a:pt x="174" y="92"/>
                  </a:lnTo>
                  <a:lnTo>
                    <a:pt x="174" y="92"/>
                  </a:lnTo>
                  <a:lnTo>
                    <a:pt x="174" y="92"/>
                  </a:lnTo>
                  <a:lnTo>
                    <a:pt x="174" y="92"/>
                  </a:lnTo>
                  <a:lnTo>
                    <a:pt x="174" y="92"/>
                  </a:lnTo>
                  <a:lnTo>
                    <a:pt x="174" y="92"/>
                  </a:lnTo>
                  <a:lnTo>
                    <a:pt x="174" y="92"/>
                  </a:lnTo>
                  <a:lnTo>
                    <a:pt x="174" y="92"/>
                  </a:lnTo>
                  <a:lnTo>
                    <a:pt x="174" y="92"/>
                  </a:lnTo>
                  <a:lnTo>
                    <a:pt x="177" y="94"/>
                  </a:lnTo>
                  <a:lnTo>
                    <a:pt x="177" y="94"/>
                  </a:lnTo>
                  <a:lnTo>
                    <a:pt x="181" y="94"/>
                  </a:lnTo>
                  <a:lnTo>
                    <a:pt x="181" y="94"/>
                  </a:lnTo>
                  <a:lnTo>
                    <a:pt x="183" y="94"/>
                  </a:lnTo>
                  <a:lnTo>
                    <a:pt x="184" y="92"/>
                  </a:lnTo>
                  <a:lnTo>
                    <a:pt x="184" y="92"/>
                  </a:lnTo>
                  <a:lnTo>
                    <a:pt x="186" y="89"/>
                  </a:lnTo>
                  <a:lnTo>
                    <a:pt x="186" y="89"/>
                  </a:lnTo>
                  <a:lnTo>
                    <a:pt x="186" y="85"/>
                  </a:lnTo>
                  <a:lnTo>
                    <a:pt x="186" y="85"/>
                  </a:lnTo>
                  <a:lnTo>
                    <a:pt x="187" y="81"/>
                  </a:lnTo>
                  <a:lnTo>
                    <a:pt x="187" y="81"/>
                  </a:lnTo>
                  <a:lnTo>
                    <a:pt x="189" y="76"/>
                  </a:lnTo>
                  <a:lnTo>
                    <a:pt x="189" y="76"/>
                  </a:lnTo>
                  <a:lnTo>
                    <a:pt x="189" y="76"/>
                  </a:lnTo>
                  <a:lnTo>
                    <a:pt x="189" y="76"/>
                  </a:lnTo>
                  <a:lnTo>
                    <a:pt x="189" y="76"/>
                  </a:lnTo>
                  <a:lnTo>
                    <a:pt x="189" y="76"/>
                  </a:lnTo>
                  <a:lnTo>
                    <a:pt x="189" y="75"/>
                  </a:lnTo>
                  <a:lnTo>
                    <a:pt x="189" y="76"/>
                  </a:lnTo>
                  <a:lnTo>
                    <a:pt x="189" y="76"/>
                  </a:lnTo>
                  <a:lnTo>
                    <a:pt x="189" y="75"/>
                  </a:lnTo>
                  <a:lnTo>
                    <a:pt x="189" y="76"/>
                  </a:lnTo>
                  <a:lnTo>
                    <a:pt x="189" y="76"/>
                  </a:lnTo>
                  <a:lnTo>
                    <a:pt x="189" y="76"/>
                  </a:lnTo>
                  <a:lnTo>
                    <a:pt x="189" y="76"/>
                  </a:lnTo>
                  <a:lnTo>
                    <a:pt x="189" y="76"/>
                  </a:lnTo>
                  <a:lnTo>
                    <a:pt x="189" y="76"/>
                  </a:lnTo>
                  <a:lnTo>
                    <a:pt x="189" y="76"/>
                  </a:lnTo>
                  <a:lnTo>
                    <a:pt x="190" y="78"/>
                  </a:lnTo>
                  <a:lnTo>
                    <a:pt x="190" y="78"/>
                  </a:lnTo>
                  <a:lnTo>
                    <a:pt x="196" y="81"/>
                  </a:lnTo>
                  <a:lnTo>
                    <a:pt x="196" y="81"/>
                  </a:lnTo>
                  <a:lnTo>
                    <a:pt x="196" y="81"/>
                  </a:lnTo>
                  <a:lnTo>
                    <a:pt x="199" y="79"/>
                  </a:lnTo>
                  <a:lnTo>
                    <a:pt x="199" y="79"/>
                  </a:lnTo>
                  <a:lnTo>
                    <a:pt x="200" y="76"/>
                  </a:lnTo>
                  <a:lnTo>
                    <a:pt x="200" y="76"/>
                  </a:lnTo>
                  <a:lnTo>
                    <a:pt x="202" y="74"/>
                  </a:lnTo>
                  <a:lnTo>
                    <a:pt x="202" y="74"/>
                  </a:lnTo>
                  <a:lnTo>
                    <a:pt x="202" y="72"/>
                  </a:lnTo>
                  <a:lnTo>
                    <a:pt x="202" y="72"/>
                  </a:lnTo>
                  <a:lnTo>
                    <a:pt x="202" y="71"/>
                  </a:lnTo>
                  <a:lnTo>
                    <a:pt x="202" y="71"/>
                  </a:lnTo>
                  <a:lnTo>
                    <a:pt x="200" y="71"/>
                  </a:lnTo>
                  <a:lnTo>
                    <a:pt x="202" y="71"/>
                  </a:lnTo>
                  <a:lnTo>
                    <a:pt x="202" y="71"/>
                  </a:lnTo>
                  <a:lnTo>
                    <a:pt x="200" y="71"/>
                  </a:lnTo>
                  <a:lnTo>
                    <a:pt x="202" y="71"/>
                  </a:lnTo>
                  <a:lnTo>
                    <a:pt x="202" y="71"/>
                  </a:lnTo>
                  <a:lnTo>
                    <a:pt x="203" y="68"/>
                  </a:lnTo>
                  <a:lnTo>
                    <a:pt x="203" y="68"/>
                  </a:lnTo>
                  <a:lnTo>
                    <a:pt x="204" y="65"/>
                  </a:lnTo>
                  <a:lnTo>
                    <a:pt x="204" y="63"/>
                  </a:lnTo>
                  <a:lnTo>
                    <a:pt x="204" y="63"/>
                  </a:lnTo>
                  <a:lnTo>
                    <a:pt x="204" y="63"/>
                  </a:lnTo>
                  <a:lnTo>
                    <a:pt x="204" y="63"/>
                  </a:lnTo>
                  <a:lnTo>
                    <a:pt x="204" y="63"/>
                  </a:lnTo>
                  <a:lnTo>
                    <a:pt x="204" y="63"/>
                  </a:lnTo>
                  <a:lnTo>
                    <a:pt x="203" y="63"/>
                  </a:lnTo>
                  <a:lnTo>
                    <a:pt x="203" y="63"/>
                  </a:lnTo>
                  <a:lnTo>
                    <a:pt x="204" y="63"/>
                  </a:lnTo>
                  <a:lnTo>
                    <a:pt x="203" y="63"/>
                  </a:lnTo>
                  <a:lnTo>
                    <a:pt x="203" y="63"/>
                  </a:lnTo>
                  <a:lnTo>
                    <a:pt x="203" y="63"/>
                  </a:lnTo>
                  <a:lnTo>
                    <a:pt x="203" y="63"/>
                  </a:lnTo>
                  <a:lnTo>
                    <a:pt x="203" y="63"/>
                  </a:lnTo>
                  <a:lnTo>
                    <a:pt x="203" y="63"/>
                  </a:lnTo>
                  <a:lnTo>
                    <a:pt x="203" y="63"/>
                  </a:lnTo>
                  <a:lnTo>
                    <a:pt x="203" y="63"/>
                  </a:lnTo>
                  <a:lnTo>
                    <a:pt x="204" y="65"/>
                  </a:lnTo>
                  <a:lnTo>
                    <a:pt x="204" y="65"/>
                  </a:lnTo>
                  <a:lnTo>
                    <a:pt x="207" y="63"/>
                  </a:lnTo>
                  <a:lnTo>
                    <a:pt x="207" y="63"/>
                  </a:lnTo>
                  <a:lnTo>
                    <a:pt x="210" y="59"/>
                  </a:lnTo>
                  <a:lnTo>
                    <a:pt x="210" y="59"/>
                  </a:lnTo>
                  <a:lnTo>
                    <a:pt x="212" y="56"/>
                  </a:lnTo>
                  <a:lnTo>
                    <a:pt x="213" y="56"/>
                  </a:lnTo>
                  <a:lnTo>
                    <a:pt x="213" y="55"/>
                  </a:lnTo>
                  <a:lnTo>
                    <a:pt x="212" y="55"/>
                  </a:lnTo>
                  <a:lnTo>
                    <a:pt x="213" y="55"/>
                  </a:lnTo>
                  <a:lnTo>
                    <a:pt x="213" y="55"/>
                  </a:lnTo>
                  <a:lnTo>
                    <a:pt x="212" y="55"/>
                  </a:lnTo>
                  <a:lnTo>
                    <a:pt x="213" y="55"/>
                  </a:lnTo>
                  <a:lnTo>
                    <a:pt x="212" y="55"/>
                  </a:lnTo>
                  <a:lnTo>
                    <a:pt x="212" y="56"/>
                  </a:lnTo>
                  <a:lnTo>
                    <a:pt x="212" y="56"/>
                  </a:lnTo>
                  <a:lnTo>
                    <a:pt x="213" y="55"/>
                  </a:lnTo>
                  <a:lnTo>
                    <a:pt x="212" y="55"/>
                  </a:lnTo>
                  <a:lnTo>
                    <a:pt x="212" y="56"/>
                  </a:lnTo>
                  <a:lnTo>
                    <a:pt x="212" y="53"/>
                  </a:lnTo>
                  <a:lnTo>
                    <a:pt x="210" y="56"/>
                  </a:lnTo>
                  <a:lnTo>
                    <a:pt x="212" y="56"/>
                  </a:lnTo>
                  <a:lnTo>
                    <a:pt x="212" y="53"/>
                  </a:lnTo>
                  <a:lnTo>
                    <a:pt x="210" y="56"/>
                  </a:lnTo>
                  <a:lnTo>
                    <a:pt x="212" y="55"/>
                  </a:lnTo>
                  <a:lnTo>
                    <a:pt x="210" y="56"/>
                  </a:lnTo>
                  <a:lnTo>
                    <a:pt x="210" y="56"/>
                  </a:lnTo>
                  <a:lnTo>
                    <a:pt x="212" y="55"/>
                  </a:lnTo>
                  <a:lnTo>
                    <a:pt x="210" y="56"/>
                  </a:lnTo>
                  <a:lnTo>
                    <a:pt x="210" y="56"/>
                  </a:lnTo>
                  <a:lnTo>
                    <a:pt x="212" y="56"/>
                  </a:lnTo>
                  <a:lnTo>
                    <a:pt x="215" y="58"/>
                  </a:lnTo>
                  <a:lnTo>
                    <a:pt x="216" y="58"/>
                  </a:lnTo>
                  <a:lnTo>
                    <a:pt x="216" y="58"/>
                  </a:lnTo>
                  <a:lnTo>
                    <a:pt x="220" y="58"/>
                  </a:lnTo>
                  <a:lnTo>
                    <a:pt x="220" y="58"/>
                  </a:lnTo>
                  <a:lnTo>
                    <a:pt x="226" y="56"/>
                  </a:lnTo>
                  <a:lnTo>
                    <a:pt x="226" y="56"/>
                  </a:lnTo>
                  <a:lnTo>
                    <a:pt x="231" y="55"/>
                  </a:lnTo>
                  <a:lnTo>
                    <a:pt x="231" y="55"/>
                  </a:lnTo>
                  <a:lnTo>
                    <a:pt x="231" y="55"/>
                  </a:lnTo>
                  <a:lnTo>
                    <a:pt x="231" y="55"/>
                  </a:lnTo>
                  <a:lnTo>
                    <a:pt x="231" y="55"/>
                  </a:lnTo>
                  <a:lnTo>
                    <a:pt x="231" y="55"/>
                  </a:lnTo>
                  <a:lnTo>
                    <a:pt x="231" y="55"/>
                  </a:lnTo>
                  <a:lnTo>
                    <a:pt x="229" y="55"/>
                  </a:lnTo>
                  <a:lnTo>
                    <a:pt x="231" y="55"/>
                  </a:lnTo>
                  <a:lnTo>
                    <a:pt x="231" y="55"/>
                  </a:lnTo>
                  <a:lnTo>
                    <a:pt x="229" y="55"/>
                  </a:lnTo>
                  <a:lnTo>
                    <a:pt x="229" y="55"/>
                  </a:lnTo>
                  <a:lnTo>
                    <a:pt x="231" y="56"/>
                  </a:lnTo>
                  <a:lnTo>
                    <a:pt x="231" y="56"/>
                  </a:lnTo>
                  <a:lnTo>
                    <a:pt x="235" y="59"/>
                  </a:lnTo>
                  <a:lnTo>
                    <a:pt x="235" y="59"/>
                  </a:lnTo>
                  <a:lnTo>
                    <a:pt x="239" y="63"/>
                  </a:lnTo>
                  <a:lnTo>
                    <a:pt x="239" y="63"/>
                  </a:lnTo>
                  <a:lnTo>
                    <a:pt x="241" y="65"/>
                  </a:lnTo>
                  <a:lnTo>
                    <a:pt x="241" y="65"/>
                  </a:lnTo>
                  <a:lnTo>
                    <a:pt x="241" y="65"/>
                  </a:lnTo>
                  <a:lnTo>
                    <a:pt x="242" y="69"/>
                  </a:lnTo>
                  <a:lnTo>
                    <a:pt x="242" y="69"/>
                  </a:lnTo>
                  <a:lnTo>
                    <a:pt x="242" y="72"/>
                  </a:lnTo>
                  <a:lnTo>
                    <a:pt x="242" y="72"/>
                  </a:lnTo>
                  <a:lnTo>
                    <a:pt x="245" y="74"/>
                  </a:lnTo>
                  <a:lnTo>
                    <a:pt x="245" y="74"/>
                  </a:lnTo>
                  <a:lnTo>
                    <a:pt x="248" y="72"/>
                  </a:lnTo>
                  <a:lnTo>
                    <a:pt x="248" y="72"/>
                  </a:lnTo>
                  <a:lnTo>
                    <a:pt x="251" y="69"/>
                  </a:lnTo>
                  <a:lnTo>
                    <a:pt x="251" y="69"/>
                  </a:lnTo>
                  <a:lnTo>
                    <a:pt x="251" y="69"/>
                  </a:lnTo>
                  <a:lnTo>
                    <a:pt x="251" y="68"/>
                  </a:lnTo>
                  <a:lnTo>
                    <a:pt x="251" y="69"/>
                  </a:lnTo>
                  <a:lnTo>
                    <a:pt x="251" y="69"/>
                  </a:lnTo>
                  <a:lnTo>
                    <a:pt x="251" y="68"/>
                  </a:lnTo>
                  <a:lnTo>
                    <a:pt x="251" y="69"/>
                  </a:lnTo>
                  <a:lnTo>
                    <a:pt x="251" y="68"/>
                  </a:lnTo>
                  <a:lnTo>
                    <a:pt x="251" y="69"/>
                  </a:lnTo>
                  <a:lnTo>
                    <a:pt x="251" y="69"/>
                  </a:lnTo>
                  <a:lnTo>
                    <a:pt x="251" y="68"/>
                  </a:lnTo>
                  <a:lnTo>
                    <a:pt x="251" y="69"/>
                  </a:lnTo>
                  <a:lnTo>
                    <a:pt x="251" y="69"/>
                  </a:lnTo>
                  <a:lnTo>
                    <a:pt x="251" y="69"/>
                  </a:lnTo>
                  <a:lnTo>
                    <a:pt x="251" y="69"/>
                  </a:lnTo>
                  <a:lnTo>
                    <a:pt x="257" y="69"/>
                  </a:lnTo>
                  <a:lnTo>
                    <a:pt x="257" y="69"/>
                  </a:lnTo>
                  <a:lnTo>
                    <a:pt x="262" y="71"/>
                  </a:lnTo>
                  <a:lnTo>
                    <a:pt x="262" y="69"/>
                  </a:lnTo>
                  <a:lnTo>
                    <a:pt x="262" y="71"/>
                  </a:lnTo>
                  <a:lnTo>
                    <a:pt x="262" y="69"/>
                  </a:lnTo>
                  <a:lnTo>
                    <a:pt x="262" y="71"/>
                  </a:lnTo>
                  <a:lnTo>
                    <a:pt x="262" y="71"/>
                  </a:lnTo>
                  <a:lnTo>
                    <a:pt x="264" y="71"/>
                  </a:lnTo>
                  <a:lnTo>
                    <a:pt x="264" y="71"/>
                  </a:lnTo>
                  <a:lnTo>
                    <a:pt x="271" y="75"/>
                  </a:lnTo>
                  <a:lnTo>
                    <a:pt x="271" y="75"/>
                  </a:lnTo>
                  <a:lnTo>
                    <a:pt x="273" y="75"/>
                  </a:lnTo>
                  <a:lnTo>
                    <a:pt x="273" y="75"/>
                  </a:lnTo>
                  <a:lnTo>
                    <a:pt x="275" y="74"/>
                  </a:lnTo>
                  <a:lnTo>
                    <a:pt x="275" y="74"/>
                  </a:lnTo>
                  <a:lnTo>
                    <a:pt x="275" y="72"/>
                  </a:lnTo>
                  <a:lnTo>
                    <a:pt x="275" y="72"/>
                  </a:lnTo>
                  <a:lnTo>
                    <a:pt x="275" y="71"/>
                  </a:lnTo>
                  <a:lnTo>
                    <a:pt x="275" y="71"/>
                  </a:lnTo>
                  <a:lnTo>
                    <a:pt x="274" y="66"/>
                  </a:lnTo>
                  <a:lnTo>
                    <a:pt x="274" y="66"/>
                  </a:lnTo>
                  <a:lnTo>
                    <a:pt x="274" y="66"/>
                  </a:lnTo>
                  <a:lnTo>
                    <a:pt x="274" y="66"/>
                  </a:lnTo>
                  <a:lnTo>
                    <a:pt x="274" y="66"/>
                  </a:lnTo>
                  <a:lnTo>
                    <a:pt x="274" y="66"/>
                  </a:lnTo>
                  <a:lnTo>
                    <a:pt x="274" y="66"/>
                  </a:lnTo>
                  <a:lnTo>
                    <a:pt x="274" y="66"/>
                  </a:lnTo>
                  <a:lnTo>
                    <a:pt x="274" y="66"/>
                  </a:lnTo>
                  <a:lnTo>
                    <a:pt x="274" y="66"/>
                  </a:lnTo>
                  <a:lnTo>
                    <a:pt x="274" y="66"/>
                  </a:lnTo>
                  <a:lnTo>
                    <a:pt x="274" y="66"/>
                  </a:lnTo>
                  <a:lnTo>
                    <a:pt x="275" y="63"/>
                  </a:lnTo>
                  <a:lnTo>
                    <a:pt x="275" y="63"/>
                  </a:lnTo>
                  <a:lnTo>
                    <a:pt x="275" y="62"/>
                  </a:lnTo>
                  <a:lnTo>
                    <a:pt x="275" y="62"/>
                  </a:lnTo>
                  <a:lnTo>
                    <a:pt x="273" y="60"/>
                  </a:lnTo>
                  <a:lnTo>
                    <a:pt x="273" y="60"/>
                  </a:lnTo>
                  <a:lnTo>
                    <a:pt x="267" y="59"/>
                  </a:lnTo>
                  <a:lnTo>
                    <a:pt x="267" y="60"/>
                  </a:lnTo>
                  <a:lnTo>
                    <a:pt x="268" y="59"/>
                  </a:lnTo>
                  <a:lnTo>
                    <a:pt x="267" y="59"/>
                  </a:lnTo>
                  <a:lnTo>
                    <a:pt x="267" y="60"/>
                  </a:lnTo>
                  <a:lnTo>
                    <a:pt x="268" y="59"/>
                  </a:lnTo>
                  <a:lnTo>
                    <a:pt x="267" y="59"/>
                  </a:lnTo>
                  <a:lnTo>
                    <a:pt x="268" y="59"/>
                  </a:lnTo>
                  <a:lnTo>
                    <a:pt x="268" y="59"/>
                  </a:lnTo>
                  <a:lnTo>
                    <a:pt x="267" y="59"/>
                  </a:lnTo>
                  <a:lnTo>
                    <a:pt x="268" y="59"/>
                  </a:lnTo>
                  <a:lnTo>
                    <a:pt x="268" y="59"/>
                  </a:lnTo>
                  <a:lnTo>
                    <a:pt x="268" y="59"/>
                  </a:lnTo>
                  <a:lnTo>
                    <a:pt x="268" y="58"/>
                  </a:lnTo>
                  <a:lnTo>
                    <a:pt x="268" y="58"/>
                  </a:lnTo>
                  <a:lnTo>
                    <a:pt x="270" y="52"/>
                  </a:lnTo>
                  <a:lnTo>
                    <a:pt x="270" y="52"/>
                  </a:lnTo>
                  <a:lnTo>
                    <a:pt x="273" y="49"/>
                  </a:lnTo>
                  <a:lnTo>
                    <a:pt x="273" y="49"/>
                  </a:lnTo>
                  <a:lnTo>
                    <a:pt x="280" y="43"/>
                  </a:lnTo>
                  <a:lnTo>
                    <a:pt x="280" y="43"/>
                  </a:lnTo>
                  <a:lnTo>
                    <a:pt x="281" y="42"/>
                  </a:lnTo>
                  <a:lnTo>
                    <a:pt x="281" y="42"/>
                  </a:lnTo>
                  <a:lnTo>
                    <a:pt x="281" y="39"/>
                  </a:lnTo>
                  <a:lnTo>
                    <a:pt x="281" y="39"/>
                  </a:lnTo>
                  <a:lnTo>
                    <a:pt x="280" y="36"/>
                  </a:lnTo>
                  <a:lnTo>
                    <a:pt x="280" y="34"/>
                  </a:lnTo>
                  <a:lnTo>
                    <a:pt x="280" y="34"/>
                  </a:lnTo>
                  <a:lnTo>
                    <a:pt x="280" y="34"/>
                  </a:lnTo>
                  <a:lnTo>
                    <a:pt x="278" y="34"/>
                  </a:lnTo>
                  <a:lnTo>
                    <a:pt x="280" y="34"/>
                  </a:lnTo>
                  <a:lnTo>
                    <a:pt x="280" y="34"/>
                  </a:lnTo>
                  <a:lnTo>
                    <a:pt x="278" y="34"/>
                  </a:lnTo>
                  <a:lnTo>
                    <a:pt x="280" y="34"/>
                  </a:lnTo>
                  <a:lnTo>
                    <a:pt x="278" y="34"/>
                  </a:lnTo>
                  <a:lnTo>
                    <a:pt x="278" y="36"/>
                  </a:lnTo>
                  <a:lnTo>
                    <a:pt x="280" y="34"/>
                  </a:lnTo>
                  <a:lnTo>
                    <a:pt x="278" y="34"/>
                  </a:lnTo>
                  <a:lnTo>
                    <a:pt x="278" y="36"/>
                  </a:lnTo>
                  <a:lnTo>
                    <a:pt x="278" y="36"/>
                  </a:lnTo>
                  <a:lnTo>
                    <a:pt x="283" y="33"/>
                  </a:lnTo>
                  <a:lnTo>
                    <a:pt x="283" y="33"/>
                  </a:lnTo>
                  <a:lnTo>
                    <a:pt x="287" y="29"/>
                  </a:lnTo>
                  <a:lnTo>
                    <a:pt x="287" y="29"/>
                  </a:lnTo>
                  <a:lnTo>
                    <a:pt x="290" y="26"/>
                  </a:lnTo>
                  <a:lnTo>
                    <a:pt x="290" y="26"/>
                  </a:lnTo>
                  <a:lnTo>
                    <a:pt x="293" y="24"/>
                  </a:lnTo>
                  <a:lnTo>
                    <a:pt x="293" y="24"/>
                  </a:lnTo>
                  <a:lnTo>
                    <a:pt x="294" y="24"/>
                  </a:lnTo>
                  <a:lnTo>
                    <a:pt x="294" y="24"/>
                  </a:lnTo>
                  <a:lnTo>
                    <a:pt x="296" y="26"/>
                  </a:lnTo>
                  <a:lnTo>
                    <a:pt x="296" y="26"/>
                  </a:lnTo>
                  <a:lnTo>
                    <a:pt x="299" y="27"/>
                  </a:lnTo>
                  <a:lnTo>
                    <a:pt x="299" y="27"/>
                  </a:lnTo>
                  <a:lnTo>
                    <a:pt x="300" y="27"/>
                  </a:lnTo>
                  <a:lnTo>
                    <a:pt x="300" y="27"/>
                  </a:lnTo>
                  <a:lnTo>
                    <a:pt x="310" y="26"/>
                  </a:lnTo>
                  <a:lnTo>
                    <a:pt x="310" y="26"/>
                  </a:lnTo>
                  <a:lnTo>
                    <a:pt x="315" y="24"/>
                  </a:lnTo>
                  <a:lnTo>
                    <a:pt x="317" y="21"/>
                  </a:lnTo>
                  <a:lnTo>
                    <a:pt x="317" y="21"/>
                  </a:lnTo>
                  <a:lnTo>
                    <a:pt x="320" y="18"/>
                  </a:lnTo>
                  <a:lnTo>
                    <a:pt x="322" y="14"/>
                  </a:lnTo>
                  <a:lnTo>
                    <a:pt x="322" y="14"/>
                  </a:lnTo>
                  <a:lnTo>
                    <a:pt x="322" y="13"/>
                  </a:lnTo>
                  <a:lnTo>
                    <a:pt x="322" y="13"/>
                  </a:lnTo>
                  <a:lnTo>
                    <a:pt x="320" y="11"/>
                  </a:lnTo>
                  <a:lnTo>
                    <a:pt x="320" y="13"/>
                  </a:lnTo>
                  <a:lnTo>
                    <a:pt x="322" y="13"/>
                  </a:lnTo>
                  <a:lnTo>
                    <a:pt x="320" y="11"/>
                  </a:lnTo>
                  <a:lnTo>
                    <a:pt x="320" y="13"/>
                  </a:lnTo>
                  <a:lnTo>
                    <a:pt x="320" y="11"/>
                  </a:lnTo>
                  <a:lnTo>
                    <a:pt x="320" y="13"/>
                  </a:lnTo>
                  <a:lnTo>
                    <a:pt x="320" y="13"/>
                  </a:lnTo>
                  <a:lnTo>
                    <a:pt x="320" y="11"/>
                  </a:lnTo>
                  <a:lnTo>
                    <a:pt x="320" y="13"/>
                  </a:lnTo>
                  <a:lnTo>
                    <a:pt x="320" y="13"/>
                  </a:lnTo>
                  <a:lnTo>
                    <a:pt x="320" y="13"/>
                  </a:lnTo>
                  <a:lnTo>
                    <a:pt x="320" y="13"/>
                  </a:lnTo>
                  <a:lnTo>
                    <a:pt x="320" y="13"/>
                  </a:lnTo>
                  <a:lnTo>
                    <a:pt x="320" y="13"/>
                  </a:lnTo>
                  <a:lnTo>
                    <a:pt x="320" y="13"/>
                  </a:lnTo>
                  <a:lnTo>
                    <a:pt x="320" y="13"/>
                  </a:lnTo>
                  <a:lnTo>
                    <a:pt x="323" y="14"/>
                  </a:lnTo>
                  <a:lnTo>
                    <a:pt x="323" y="14"/>
                  </a:lnTo>
                  <a:lnTo>
                    <a:pt x="328" y="16"/>
                  </a:lnTo>
                  <a:lnTo>
                    <a:pt x="328" y="16"/>
                  </a:lnTo>
                  <a:lnTo>
                    <a:pt x="335" y="18"/>
                  </a:lnTo>
                  <a:lnTo>
                    <a:pt x="342" y="18"/>
                  </a:lnTo>
                  <a:lnTo>
                    <a:pt x="342" y="18"/>
                  </a:lnTo>
                  <a:lnTo>
                    <a:pt x="345" y="18"/>
                  </a:lnTo>
                  <a:lnTo>
                    <a:pt x="349" y="21"/>
                  </a:lnTo>
                  <a:lnTo>
                    <a:pt x="349" y="21"/>
                  </a:lnTo>
                  <a:lnTo>
                    <a:pt x="358" y="26"/>
                  </a:lnTo>
                  <a:lnTo>
                    <a:pt x="358" y="26"/>
                  </a:lnTo>
                  <a:lnTo>
                    <a:pt x="361" y="26"/>
                  </a:lnTo>
                  <a:lnTo>
                    <a:pt x="361" y="26"/>
                  </a:lnTo>
                  <a:lnTo>
                    <a:pt x="365" y="24"/>
                  </a:lnTo>
                  <a:lnTo>
                    <a:pt x="365" y="24"/>
                  </a:lnTo>
                  <a:lnTo>
                    <a:pt x="368" y="21"/>
                  </a:lnTo>
                  <a:lnTo>
                    <a:pt x="368" y="21"/>
                  </a:lnTo>
                  <a:lnTo>
                    <a:pt x="368" y="21"/>
                  </a:lnTo>
                  <a:lnTo>
                    <a:pt x="368" y="21"/>
                  </a:lnTo>
                  <a:lnTo>
                    <a:pt x="368" y="21"/>
                  </a:lnTo>
                  <a:lnTo>
                    <a:pt x="368" y="21"/>
                  </a:lnTo>
                  <a:lnTo>
                    <a:pt x="368" y="21"/>
                  </a:lnTo>
                  <a:lnTo>
                    <a:pt x="368" y="21"/>
                  </a:lnTo>
                  <a:lnTo>
                    <a:pt x="368" y="21"/>
                  </a:lnTo>
                  <a:lnTo>
                    <a:pt x="368" y="21"/>
                  </a:lnTo>
                  <a:lnTo>
                    <a:pt x="368" y="21"/>
                  </a:lnTo>
                  <a:lnTo>
                    <a:pt x="368" y="21"/>
                  </a:lnTo>
                  <a:lnTo>
                    <a:pt x="368" y="21"/>
                  </a:lnTo>
                  <a:lnTo>
                    <a:pt x="368" y="21"/>
                  </a:lnTo>
                  <a:lnTo>
                    <a:pt x="368" y="21"/>
                  </a:lnTo>
                  <a:lnTo>
                    <a:pt x="368" y="21"/>
                  </a:lnTo>
                  <a:lnTo>
                    <a:pt x="368" y="21"/>
                  </a:lnTo>
                  <a:lnTo>
                    <a:pt x="368" y="21"/>
                  </a:lnTo>
                  <a:lnTo>
                    <a:pt x="368" y="21"/>
                  </a:lnTo>
                  <a:lnTo>
                    <a:pt x="368" y="21"/>
                  </a:lnTo>
                  <a:lnTo>
                    <a:pt x="368" y="21"/>
                  </a:lnTo>
                  <a:lnTo>
                    <a:pt x="368" y="21"/>
                  </a:lnTo>
                  <a:lnTo>
                    <a:pt x="368" y="21"/>
                  </a:lnTo>
                  <a:lnTo>
                    <a:pt x="368" y="21"/>
                  </a:lnTo>
                  <a:lnTo>
                    <a:pt x="370" y="23"/>
                  </a:lnTo>
                  <a:lnTo>
                    <a:pt x="370" y="23"/>
                  </a:lnTo>
                  <a:lnTo>
                    <a:pt x="372" y="26"/>
                  </a:lnTo>
                  <a:lnTo>
                    <a:pt x="372" y="26"/>
                  </a:lnTo>
                  <a:lnTo>
                    <a:pt x="375" y="27"/>
                  </a:lnTo>
                  <a:lnTo>
                    <a:pt x="375" y="27"/>
                  </a:lnTo>
                  <a:lnTo>
                    <a:pt x="377" y="27"/>
                  </a:lnTo>
                  <a:lnTo>
                    <a:pt x="377" y="27"/>
                  </a:lnTo>
                  <a:lnTo>
                    <a:pt x="378" y="24"/>
                  </a:lnTo>
                  <a:lnTo>
                    <a:pt x="378" y="24"/>
                  </a:lnTo>
                  <a:lnTo>
                    <a:pt x="380" y="21"/>
                  </a:lnTo>
                  <a:lnTo>
                    <a:pt x="380" y="21"/>
                  </a:lnTo>
                  <a:lnTo>
                    <a:pt x="380" y="20"/>
                  </a:lnTo>
                  <a:lnTo>
                    <a:pt x="380" y="20"/>
                  </a:lnTo>
                  <a:lnTo>
                    <a:pt x="378" y="20"/>
                  </a:lnTo>
                  <a:lnTo>
                    <a:pt x="380" y="20"/>
                  </a:lnTo>
                  <a:lnTo>
                    <a:pt x="380" y="20"/>
                  </a:lnTo>
                  <a:lnTo>
                    <a:pt x="378" y="20"/>
                  </a:lnTo>
                  <a:lnTo>
                    <a:pt x="380" y="20"/>
                  </a:lnTo>
                  <a:lnTo>
                    <a:pt x="378" y="18"/>
                  </a:lnTo>
                  <a:lnTo>
                    <a:pt x="378" y="20"/>
                  </a:lnTo>
                  <a:lnTo>
                    <a:pt x="380" y="20"/>
                  </a:lnTo>
                  <a:lnTo>
                    <a:pt x="378" y="18"/>
                  </a:lnTo>
                  <a:lnTo>
                    <a:pt x="378" y="20"/>
                  </a:lnTo>
                  <a:lnTo>
                    <a:pt x="378" y="20"/>
                  </a:lnTo>
                  <a:lnTo>
                    <a:pt x="378" y="20"/>
                  </a:lnTo>
                  <a:lnTo>
                    <a:pt x="378" y="20"/>
                  </a:lnTo>
                  <a:lnTo>
                    <a:pt x="378" y="20"/>
                  </a:lnTo>
                  <a:lnTo>
                    <a:pt x="378" y="20"/>
                  </a:lnTo>
                  <a:lnTo>
                    <a:pt x="378" y="20"/>
                  </a:lnTo>
                  <a:lnTo>
                    <a:pt x="378" y="20"/>
                  </a:lnTo>
                  <a:lnTo>
                    <a:pt x="384" y="23"/>
                  </a:lnTo>
                  <a:lnTo>
                    <a:pt x="384" y="24"/>
                  </a:lnTo>
                  <a:lnTo>
                    <a:pt x="384" y="24"/>
                  </a:lnTo>
                  <a:lnTo>
                    <a:pt x="384" y="24"/>
                  </a:lnTo>
                  <a:lnTo>
                    <a:pt x="383" y="29"/>
                  </a:lnTo>
                  <a:lnTo>
                    <a:pt x="383" y="29"/>
                  </a:lnTo>
                  <a:lnTo>
                    <a:pt x="381" y="32"/>
                  </a:lnTo>
                  <a:lnTo>
                    <a:pt x="381" y="36"/>
                  </a:lnTo>
                  <a:lnTo>
                    <a:pt x="381" y="36"/>
                  </a:lnTo>
                  <a:lnTo>
                    <a:pt x="381" y="37"/>
                  </a:lnTo>
                  <a:lnTo>
                    <a:pt x="381" y="39"/>
                  </a:lnTo>
                  <a:lnTo>
                    <a:pt x="381" y="39"/>
                  </a:lnTo>
                  <a:lnTo>
                    <a:pt x="383" y="39"/>
                  </a:lnTo>
                  <a:lnTo>
                    <a:pt x="381" y="39"/>
                  </a:lnTo>
                  <a:lnTo>
                    <a:pt x="381" y="39"/>
                  </a:lnTo>
                  <a:lnTo>
                    <a:pt x="383" y="39"/>
                  </a:lnTo>
                  <a:lnTo>
                    <a:pt x="381" y="39"/>
                  </a:lnTo>
                  <a:lnTo>
                    <a:pt x="383" y="39"/>
                  </a:lnTo>
                  <a:lnTo>
                    <a:pt x="381" y="37"/>
                  </a:lnTo>
                  <a:lnTo>
                    <a:pt x="381" y="39"/>
                  </a:lnTo>
                  <a:lnTo>
                    <a:pt x="383" y="39"/>
                  </a:lnTo>
                  <a:lnTo>
                    <a:pt x="381" y="37"/>
                  </a:lnTo>
                  <a:lnTo>
                    <a:pt x="383" y="39"/>
                  </a:lnTo>
                  <a:lnTo>
                    <a:pt x="383" y="37"/>
                  </a:lnTo>
                  <a:lnTo>
                    <a:pt x="383" y="37"/>
                  </a:lnTo>
                  <a:lnTo>
                    <a:pt x="381" y="37"/>
                  </a:lnTo>
                  <a:lnTo>
                    <a:pt x="383" y="39"/>
                  </a:lnTo>
                  <a:lnTo>
                    <a:pt x="383" y="37"/>
                  </a:lnTo>
                  <a:lnTo>
                    <a:pt x="383" y="37"/>
                  </a:lnTo>
                  <a:lnTo>
                    <a:pt x="383" y="37"/>
                  </a:lnTo>
                  <a:lnTo>
                    <a:pt x="383" y="37"/>
                  </a:lnTo>
                  <a:lnTo>
                    <a:pt x="380" y="37"/>
                  </a:lnTo>
                  <a:lnTo>
                    <a:pt x="380" y="37"/>
                  </a:lnTo>
                  <a:lnTo>
                    <a:pt x="375" y="37"/>
                  </a:lnTo>
                  <a:lnTo>
                    <a:pt x="375" y="37"/>
                  </a:lnTo>
                  <a:lnTo>
                    <a:pt x="372" y="39"/>
                  </a:lnTo>
                  <a:lnTo>
                    <a:pt x="372" y="39"/>
                  </a:lnTo>
                  <a:lnTo>
                    <a:pt x="371" y="42"/>
                  </a:lnTo>
                  <a:lnTo>
                    <a:pt x="371" y="42"/>
                  </a:lnTo>
                  <a:lnTo>
                    <a:pt x="371" y="46"/>
                  </a:lnTo>
                  <a:lnTo>
                    <a:pt x="371" y="46"/>
                  </a:lnTo>
                  <a:lnTo>
                    <a:pt x="372" y="47"/>
                  </a:lnTo>
                  <a:lnTo>
                    <a:pt x="372" y="47"/>
                  </a:lnTo>
                  <a:lnTo>
                    <a:pt x="372" y="47"/>
                  </a:lnTo>
                  <a:lnTo>
                    <a:pt x="372" y="47"/>
                  </a:lnTo>
                  <a:lnTo>
                    <a:pt x="372" y="50"/>
                  </a:lnTo>
                  <a:lnTo>
                    <a:pt x="371" y="52"/>
                  </a:lnTo>
                  <a:lnTo>
                    <a:pt x="371" y="52"/>
                  </a:lnTo>
                  <a:lnTo>
                    <a:pt x="371" y="52"/>
                  </a:lnTo>
                  <a:lnTo>
                    <a:pt x="371" y="52"/>
                  </a:lnTo>
                  <a:lnTo>
                    <a:pt x="371" y="52"/>
                  </a:lnTo>
                  <a:lnTo>
                    <a:pt x="371" y="52"/>
                  </a:lnTo>
                  <a:lnTo>
                    <a:pt x="371" y="52"/>
                  </a:lnTo>
                  <a:lnTo>
                    <a:pt x="372" y="52"/>
                  </a:lnTo>
                  <a:lnTo>
                    <a:pt x="371" y="52"/>
                  </a:lnTo>
                  <a:lnTo>
                    <a:pt x="371" y="52"/>
                  </a:lnTo>
                  <a:lnTo>
                    <a:pt x="372" y="52"/>
                  </a:lnTo>
                  <a:lnTo>
                    <a:pt x="371" y="52"/>
                  </a:lnTo>
                  <a:lnTo>
                    <a:pt x="371" y="52"/>
                  </a:lnTo>
                  <a:lnTo>
                    <a:pt x="370" y="52"/>
                  </a:lnTo>
                  <a:lnTo>
                    <a:pt x="370" y="52"/>
                  </a:lnTo>
                  <a:lnTo>
                    <a:pt x="367" y="58"/>
                  </a:lnTo>
                  <a:lnTo>
                    <a:pt x="367" y="58"/>
                  </a:lnTo>
                  <a:lnTo>
                    <a:pt x="364" y="65"/>
                  </a:lnTo>
                  <a:lnTo>
                    <a:pt x="367" y="65"/>
                  </a:lnTo>
                  <a:lnTo>
                    <a:pt x="364" y="65"/>
                  </a:lnTo>
                  <a:lnTo>
                    <a:pt x="364" y="66"/>
                  </a:lnTo>
                  <a:lnTo>
                    <a:pt x="364" y="66"/>
                  </a:lnTo>
                  <a:lnTo>
                    <a:pt x="364" y="68"/>
                  </a:lnTo>
                  <a:lnTo>
                    <a:pt x="365" y="71"/>
                  </a:lnTo>
                  <a:lnTo>
                    <a:pt x="365" y="71"/>
                  </a:lnTo>
                  <a:lnTo>
                    <a:pt x="371" y="75"/>
                  </a:lnTo>
                  <a:lnTo>
                    <a:pt x="371" y="75"/>
                  </a:lnTo>
                  <a:lnTo>
                    <a:pt x="377" y="79"/>
                  </a:lnTo>
                  <a:lnTo>
                    <a:pt x="377" y="79"/>
                  </a:lnTo>
                  <a:lnTo>
                    <a:pt x="380" y="81"/>
                  </a:lnTo>
                  <a:lnTo>
                    <a:pt x="380" y="81"/>
                  </a:lnTo>
                  <a:lnTo>
                    <a:pt x="381" y="81"/>
                  </a:lnTo>
                  <a:lnTo>
                    <a:pt x="381" y="81"/>
                  </a:lnTo>
                  <a:lnTo>
                    <a:pt x="386" y="81"/>
                  </a:lnTo>
                  <a:lnTo>
                    <a:pt x="386" y="81"/>
                  </a:lnTo>
                  <a:lnTo>
                    <a:pt x="387" y="81"/>
                  </a:lnTo>
                  <a:lnTo>
                    <a:pt x="387" y="81"/>
                  </a:lnTo>
                  <a:lnTo>
                    <a:pt x="388" y="82"/>
                  </a:lnTo>
                  <a:lnTo>
                    <a:pt x="388" y="82"/>
                  </a:lnTo>
                  <a:lnTo>
                    <a:pt x="393" y="85"/>
                  </a:lnTo>
                  <a:lnTo>
                    <a:pt x="393" y="85"/>
                  </a:lnTo>
                  <a:lnTo>
                    <a:pt x="396" y="88"/>
                  </a:lnTo>
                  <a:lnTo>
                    <a:pt x="399" y="89"/>
                  </a:lnTo>
                  <a:lnTo>
                    <a:pt x="399" y="89"/>
                  </a:lnTo>
                  <a:lnTo>
                    <a:pt x="401" y="92"/>
                  </a:lnTo>
                  <a:lnTo>
                    <a:pt x="401" y="92"/>
                  </a:lnTo>
                  <a:lnTo>
                    <a:pt x="403" y="94"/>
                  </a:lnTo>
                  <a:lnTo>
                    <a:pt x="403" y="94"/>
                  </a:lnTo>
                  <a:lnTo>
                    <a:pt x="403" y="97"/>
                  </a:lnTo>
                  <a:lnTo>
                    <a:pt x="403" y="97"/>
                  </a:lnTo>
                  <a:lnTo>
                    <a:pt x="406" y="100"/>
                  </a:lnTo>
                  <a:lnTo>
                    <a:pt x="406" y="100"/>
                  </a:lnTo>
                  <a:lnTo>
                    <a:pt x="410" y="101"/>
                  </a:lnTo>
                  <a:lnTo>
                    <a:pt x="410" y="101"/>
                  </a:lnTo>
                  <a:lnTo>
                    <a:pt x="417" y="102"/>
                  </a:lnTo>
                  <a:lnTo>
                    <a:pt x="417" y="102"/>
                  </a:lnTo>
                  <a:lnTo>
                    <a:pt x="423" y="104"/>
                  </a:lnTo>
                  <a:lnTo>
                    <a:pt x="423" y="104"/>
                  </a:lnTo>
                  <a:lnTo>
                    <a:pt x="426" y="110"/>
                  </a:lnTo>
                  <a:lnTo>
                    <a:pt x="426" y="110"/>
                  </a:lnTo>
                  <a:lnTo>
                    <a:pt x="429" y="111"/>
                  </a:lnTo>
                  <a:lnTo>
                    <a:pt x="432" y="114"/>
                  </a:lnTo>
                  <a:lnTo>
                    <a:pt x="432" y="114"/>
                  </a:lnTo>
                  <a:lnTo>
                    <a:pt x="436" y="114"/>
                  </a:lnTo>
                  <a:lnTo>
                    <a:pt x="436" y="114"/>
                  </a:lnTo>
                  <a:lnTo>
                    <a:pt x="438" y="113"/>
                  </a:lnTo>
                  <a:lnTo>
                    <a:pt x="438" y="113"/>
                  </a:lnTo>
                  <a:lnTo>
                    <a:pt x="439" y="113"/>
                  </a:lnTo>
                  <a:lnTo>
                    <a:pt x="439" y="113"/>
                  </a:lnTo>
                  <a:lnTo>
                    <a:pt x="439" y="113"/>
                  </a:lnTo>
                  <a:lnTo>
                    <a:pt x="439" y="113"/>
                  </a:lnTo>
                  <a:lnTo>
                    <a:pt x="439" y="111"/>
                  </a:lnTo>
                  <a:lnTo>
                    <a:pt x="441" y="111"/>
                  </a:lnTo>
                  <a:lnTo>
                    <a:pt x="441" y="111"/>
                  </a:lnTo>
                  <a:lnTo>
                    <a:pt x="443" y="113"/>
                  </a:lnTo>
                  <a:lnTo>
                    <a:pt x="443" y="113"/>
                  </a:lnTo>
                  <a:lnTo>
                    <a:pt x="449" y="114"/>
                  </a:lnTo>
                  <a:lnTo>
                    <a:pt x="449" y="114"/>
                  </a:lnTo>
                  <a:lnTo>
                    <a:pt x="449" y="116"/>
                  </a:lnTo>
                  <a:lnTo>
                    <a:pt x="449" y="116"/>
                  </a:lnTo>
                  <a:lnTo>
                    <a:pt x="451" y="114"/>
                  </a:lnTo>
                  <a:lnTo>
                    <a:pt x="451" y="114"/>
                  </a:lnTo>
                  <a:lnTo>
                    <a:pt x="452" y="113"/>
                  </a:lnTo>
                  <a:lnTo>
                    <a:pt x="452" y="113"/>
                  </a:lnTo>
                  <a:lnTo>
                    <a:pt x="456" y="105"/>
                  </a:lnTo>
                  <a:lnTo>
                    <a:pt x="456" y="105"/>
                  </a:lnTo>
                  <a:lnTo>
                    <a:pt x="462" y="89"/>
                  </a:lnTo>
                  <a:lnTo>
                    <a:pt x="462" y="89"/>
                  </a:lnTo>
                  <a:lnTo>
                    <a:pt x="464" y="84"/>
                  </a:lnTo>
                  <a:lnTo>
                    <a:pt x="464" y="84"/>
                  </a:lnTo>
                  <a:lnTo>
                    <a:pt x="465" y="79"/>
                  </a:lnTo>
                  <a:lnTo>
                    <a:pt x="465" y="79"/>
                  </a:lnTo>
                  <a:lnTo>
                    <a:pt x="467" y="76"/>
                  </a:lnTo>
                  <a:lnTo>
                    <a:pt x="467" y="76"/>
                  </a:lnTo>
                  <a:lnTo>
                    <a:pt x="468" y="65"/>
                  </a:lnTo>
                  <a:lnTo>
                    <a:pt x="468" y="65"/>
                  </a:lnTo>
                  <a:lnTo>
                    <a:pt x="467" y="46"/>
                  </a:lnTo>
                  <a:lnTo>
                    <a:pt x="467" y="46"/>
                  </a:lnTo>
                  <a:lnTo>
                    <a:pt x="468" y="40"/>
                  </a:lnTo>
                  <a:lnTo>
                    <a:pt x="468" y="36"/>
                  </a:lnTo>
                  <a:lnTo>
                    <a:pt x="468" y="36"/>
                  </a:lnTo>
                  <a:lnTo>
                    <a:pt x="470" y="32"/>
                  </a:lnTo>
                  <a:lnTo>
                    <a:pt x="470" y="32"/>
                  </a:lnTo>
                  <a:lnTo>
                    <a:pt x="470" y="26"/>
                  </a:lnTo>
                  <a:lnTo>
                    <a:pt x="470" y="26"/>
                  </a:lnTo>
                  <a:lnTo>
                    <a:pt x="470" y="23"/>
                  </a:lnTo>
                  <a:lnTo>
                    <a:pt x="471" y="23"/>
                  </a:lnTo>
                  <a:lnTo>
                    <a:pt x="471" y="21"/>
                  </a:lnTo>
                  <a:lnTo>
                    <a:pt x="470" y="21"/>
                  </a:lnTo>
                  <a:lnTo>
                    <a:pt x="471" y="21"/>
                  </a:lnTo>
                  <a:lnTo>
                    <a:pt x="471" y="21"/>
                  </a:lnTo>
                  <a:lnTo>
                    <a:pt x="470" y="21"/>
                  </a:lnTo>
                  <a:lnTo>
                    <a:pt x="471" y="21"/>
                  </a:lnTo>
                  <a:lnTo>
                    <a:pt x="471" y="21"/>
                  </a:lnTo>
                  <a:lnTo>
                    <a:pt x="472" y="20"/>
                  </a:lnTo>
                  <a:lnTo>
                    <a:pt x="472" y="20"/>
                  </a:lnTo>
                  <a:lnTo>
                    <a:pt x="474" y="14"/>
                  </a:lnTo>
                  <a:lnTo>
                    <a:pt x="474" y="14"/>
                  </a:lnTo>
                  <a:lnTo>
                    <a:pt x="477" y="7"/>
                  </a:lnTo>
                  <a:lnTo>
                    <a:pt x="477" y="7"/>
                  </a:lnTo>
                  <a:lnTo>
                    <a:pt x="478" y="4"/>
                  </a:lnTo>
                  <a:lnTo>
                    <a:pt x="478" y="4"/>
                  </a:lnTo>
                  <a:lnTo>
                    <a:pt x="478" y="4"/>
                  </a:lnTo>
                  <a:lnTo>
                    <a:pt x="477" y="4"/>
                  </a:lnTo>
                  <a:lnTo>
                    <a:pt x="478" y="4"/>
                  </a:lnTo>
                  <a:lnTo>
                    <a:pt x="478" y="4"/>
                  </a:lnTo>
                  <a:lnTo>
                    <a:pt x="477" y="4"/>
                  </a:lnTo>
                  <a:lnTo>
                    <a:pt x="478" y="4"/>
                  </a:lnTo>
                  <a:lnTo>
                    <a:pt x="477" y="3"/>
                  </a:lnTo>
                  <a:lnTo>
                    <a:pt x="477" y="4"/>
                  </a:lnTo>
                  <a:lnTo>
                    <a:pt x="478" y="4"/>
                  </a:lnTo>
                  <a:lnTo>
                    <a:pt x="477" y="3"/>
                  </a:lnTo>
                  <a:lnTo>
                    <a:pt x="477" y="4"/>
                  </a:lnTo>
                  <a:lnTo>
                    <a:pt x="477"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31" name="Freeform 1333"/>
            <p:cNvSpPr>
              <a:spLocks/>
            </p:cNvSpPr>
            <p:nvPr/>
          </p:nvSpPr>
          <p:spPr bwMode="auto">
            <a:xfrm>
              <a:off x="7999413" y="5838826"/>
              <a:ext cx="93663" cy="98425"/>
            </a:xfrm>
            <a:custGeom>
              <a:avLst/>
              <a:gdLst>
                <a:gd name="T0" fmla="*/ 32 w 59"/>
                <a:gd name="T1" fmla="*/ 62 h 62"/>
                <a:gd name="T2" fmla="*/ 32 w 59"/>
                <a:gd name="T3" fmla="*/ 62 h 62"/>
                <a:gd name="T4" fmla="*/ 26 w 59"/>
                <a:gd name="T5" fmla="*/ 60 h 62"/>
                <a:gd name="T6" fmla="*/ 19 w 59"/>
                <a:gd name="T7" fmla="*/ 56 h 62"/>
                <a:gd name="T8" fmla="*/ 14 w 59"/>
                <a:gd name="T9" fmla="*/ 50 h 62"/>
                <a:gd name="T10" fmla="*/ 13 w 59"/>
                <a:gd name="T11" fmla="*/ 46 h 62"/>
                <a:gd name="T12" fmla="*/ 13 w 59"/>
                <a:gd name="T13" fmla="*/ 43 h 62"/>
                <a:gd name="T14" fmla="*/ 13 w 59"/>
                <a:gd name="T15" fmla="*/ 43 h 62"/>
                <a:gd name="T16" fmla="*/ 13 w 59"/>
                <a:gd name="T17" fmla="*/ 34 h 62"/>
                <a:gd name="T18" fmla="*/ 10 w 59"/>
                <a:gd name="T19" fmla="*/ 29 h 62"/>
                <a:gd name="T20" fmla="*/ 10 w 59"/>
                <a:gd name="T21" fmla="*/ 29 h 62"/>
                <a:gd name="T22" fmla="*/ 4 w 59"/>
                <a:gd name="T23" fmla="*/ 14 h 62"/>
                <a:gd name="T24" fmla="*/ 0 w 59"/>
                <a:gd name="T25" fmla="*/ 2 h 62"/>
                <a:gd name="T26" fmla="*/ 0 w 59"/>
                <a:gd name="T27" fmla="*/ 2 h 62"/>
                <a:gd name="T28" fmla="*/ 0 w 59"/>
                <a:gd name="T29" fmla="*/ 1 h 62"/>
                <a:gd name="T30" fmla="*/ 3 w 59"/>
                <a:gd name="T31" fmla="*/ 0 h 62"/>
                <a:gd name="T32" fmla="*/ 7 w 59"/>
                <a:gd name="T33" fmla="*/ 0 h 62"/>
                <a:gd name="T34" fmla="*/ 11 w 59"/>
                <a:gd name="T35" fmla="*/ 1 h 62"/>
                <a:gd name="T36" fmla="*/ 11 w 59"/>
                <a:gd name="T37" fmla="*/ 1 h 62"/>
                <a:gd name="T38" fmla="*/ 24 w 59"/>
                <a:gd name="T39" fmla="*/ 5 h 62"/>
                <a:gd name="T40" fmla="*/ 30 w 59"/>
                <a:gd name="T41" fmla="*/ 7 h 62"/>
                <a:gd name="T42" fmla="*/ 34 w 59"/>
                <a:gd name="T43" fmla="*/ 7 h 62"/>
                <a:gd name="T44" fmla="*/ 34 w 59"/>
                <a:gd name="T45" fmla="*/ 7 h 62"/>
                <a:gd name="T46" fmla="*/ 46 w 59"/>
                <a:gd name="T47" fmla="*/ 4 h 62"/>
                <a:gd name="T48" fmla="*/ 53 w 59"/>
                <a:gd name="T49" fmla="*/ 2 h 62"/>
                <a:gd name="T50" fmla="*/ 55 w 59"/>
                <a:gd name="T51" fmla="*/ 4 h 62"/>
                <a:gd name="T52" fmla="*/ 56 w 59"/>
                <a:gd name="T53" fmla="*/ 4 h 62"/>
                <a:gd name="T54" fmla="*/ 56 w 59"/>
                <a:gd name="T55" fmla="*/ 4 h 62"/>
                <a:gd name="T56" fmla="*/ 58 w 59"/>
                <a:gd name="T57" fmla="*/ 7 h 62"/>
                <a:gd name="T58" fmla="*/ 58 w 59"/>
                <a:gd name="T59" fmla="*/ 8 h 62"/>
                <a:gd name="T60" fmla="*/ 58 w 59"/>
                <a:gd name="T61" fmla="*/ 10 h 62"/>
                <a:gd name="T62" fmla="*/ 58 w 59"/>
                <a:gd name="T63" fmla="*/ 13 h 62"/>
                <a:gd name="T64" fmla="*/ 58 w 59"/>
                <a:gd name="T65" fmla="*/ 13 h 62"/>
                <a:gd name="T66" fmla="*/ 59 w 59"/>
                <a:gd name="T67" fmla="*/ 18 h 62"/>
                <a:gd name="T68" fmla="*/ 59 w 59"/>
                <a:gd name="T69" fmla="*/ 24 h 62"/>
                <a:gd name="T70" fmla="*/ 59 w 59"/>
                <a:gd name="T71" fmla="*/ 30 h 62"/>
                <a:gd name="T72" fmla="*/ 58 w 59"/>
                <a:gd name="T73" fmla="*/ 34 h 62"/>
                <a:gd name="T74" fmla="*/ 58 w 59"/>
                <a:gd name="T75" fmla="*/ 34 h 62"/>
                <a:gd name="T76" fmla="*/ 53 w 59"/>
                <a:gd name="T77" fmla="*/ 42 h 62"/>
                <a:gd name="T78" fmla="*/ 50 w 59"/>
                <a:gd name="T79" fmla="*/ 47 h 62"/>
                <a:gd name="T80" fmla="*/ 50 w 59"/>
                <a:gd name="T81" fmla="*/ 47 h 62"/>
                <a:gd name="T82" fmla="*/ 52 w 59"/>
                <a:gd name="T83" fmla="*/ 52 h 62"/>
                <a:gd name="T84" fmla="*/ 50 w 59"/>
                <a:gd name="T85" fmla="*/ 55 h 62"/>
                <a:gd name="T86" fmla="*/ 49 w 59"/>
                <a:gd name="T87" fmla="*/ 55 h 62"/>
                <a:gd name="T88" fmla="*/ 49 w 59"/>
                <a:gd name="T89" fmla="*/ 55 h 62"/>
                <a:gd name="T90" fmla="*/ 46 w 59"/>
                <a:gd name="T91" fmla="*/ 50 h 62"/>
                <a:gd name="T92" fmla="*/ 45 w 59"/>
                <a:gd name="T93" fmla="*/ 49 h 62"/>
                <a:gd name="T94" fmla="*/ 43 w 59"/>
                <a:gd name="T95" fmla="*/ 49 h 62"/>
                <a:gd name="T96" fmla="*/ 43 w 59"/>
                <a:gd name="T97" fmla="*/ 49 h 62"/>
                <a:gd name="T98" fmla="*/ 39 w 59"/>
                <a:gd name="T99" fmla="*/ 58 h 62"/>
                <a:gd name="T100" fmla="*/ 36 w 59"/>
                <a:gd name="T101" fmla="*/ 60 h 62"/>
                <a:gd name="T102" fmla="*/ 33 w 59"/>
                <a:gd name="T103" fmla="*/ 62 h 62"/>
                <a:gd name="T104" fmla="*/ 32 w 59"/>
                <a:gd name="T105"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9" h="62">
                  <a:moveTo>
                    <a:pt x="32" y="62"/>
                  </a:moveTo>
                  <a:lnTo>
                    <a:pt x="32" y="62"/>
                  </a:lnTo>
                  <a:lnTo>
                    <a:pt x="26" y="60"/>
                  </a:lnTo>
                  <a:lnTo>
                    <a:pt x="19" y="56"/>
                  </a:lnTo>
                  <a:lnTo>
                    <a:pt x="14" y="50"/>
                  </a:lnTo>
                  <a:lnTo>
                    <a:pt x="13" y="46"/>
                  </a:lnTo>
                  <a:lnTo>
                    <a:pt x="13" y="43"/>
                  </a:lnTo>
                  <a:lnTo>
                    <a:pt x="13" y="43"/>
                  </a:lnTo>
                  <a:lnTo>
                    <a:pt x="13" y="34"/>
                  </a:lnTo>
                  <a:lnTo>
                    <a:pt x="10" y="29"/>
                  </a:lnTo>
                  <a:lnTo>
                    <a:pt x="10" y="29"/>
                  </a:lnTo>
                  <a:lnTo>
                    <a:pt x="4" y="14"/>
                  </a:lnTo>
                  <a:lnTo>
                    <a:pt x="0" y="2"/>
                  </a:lnTo>
                  <a:lnTo>
                    <a:pt x="0" y="2"/>
                  </a:lnTo>
                  <a:lnTo>
                    <a:pt x="0" y="1"/>
                  </a:lnTo>
                  <a:lnTo>
                    <a:pt x="3" y="0"/>
                  </a:lnTo>
                  <a:lnTo>
                    <a:pt x="7" y="0"/>
                  </a:lnTo>
                  <a:lnTo>
                    <a:pt x="11" y="1"/>
                  </a:lnTo>
                  <a:lnTo>
                    <a:pt x="11" y="1"/>
                  </a:lnTo>
                  <a:lnTo>
                    <a:pt x="24" y="5"/>
                  </a:lnTo>
                  <a:lnTo>
                    <a:pt x="30" y="7"/>
                  </a:lnTo>
                  <a:lnTo>
                    <a:pt x="34" y="7"/>
                  </a:lnTo>
                  <a:lnTo>
                    <a:pt x="34" y="7"/>
                  </a:lnTo>
                  <a:lnTo>
                    <a:pt x="46" y="4"/>
                  </a:lnTo>
                  <a:lnTo>
                    <a:pt x="53" y="2"/>
                  </a:lnTo>
                  <a:lnTo>
                    <a:pt x="55" y="4"/>
                  </a:lnTo>
                  <a:lnTo>
                    <a:pt x="56" y="4"/>
                  </a:lnTo>
                  <a:lnTo>
                    <a:pt x="56" y="4"/>
                  </a:lnTo>
                  <a:lnTo>
                    <a:pt x="58" y="7"/>
                  </a:lnTo>
                  <a:lnTo>
                    <a:pt x="58" y="8"/>
                  </a:lnTo>
                  <a:lnTo>
                    <a:pt x="58" y="10"/>
                  </a:lnTo>
                  <a:lnTo>
                    <a:pt x="58" y="13"/>
                  </a:lnTo>
                  <a:lnTo>
                    <a:pt x="58" y="13"/>
                  </a:lnTo>
                  <a:lnTo>
                    <a:pt x="59" y="18"/>
                  </a:lnTo>
                  <a:lnTo>
                    <a:pt x="59" y="24"/>
                  </a:lnTo>
                  <a:lnTo>
                    <a:pt x="59" y="30"/>
                  </a:lnTo>
                  <a:lnTo>
                    <a:pt x="58" y="34"/>
                  </a:lnTo>
                  <a:lnTo>
                    <a:pt x="58" y="34"/>
                  </a:lnTo>
                  <a:lnTo>
                    <a:pt x="53" y="42"/>
                  </a:lnTo>
                  <a:lnTo>
                    <a:pt x="50" y="47"/>
                  </a:lnTo>
                  <a:lnTo>
                    <a:pt x="50" y="47"/>
                  </a:lnTo>
                  <a:lnTo>
                    <a:pt x="52" y="52"/>
                  </a:lnTo>
                  <a:lnTo>
                    <a:pt x="50" y="55"/>
                  </a:lnTo>
                  <a:lnTo>
                    <a:pt x="49" y="55"/>
                  </a:lnTo>
                  <a:lnTo>
                    <a:pt x="49" y="55"/>
                  </a:lnTo>
                  <a:lnTo>
                    <a:pt x="46" y="50"/>
                  </a:lnTo>
                  <a:lnTo>
                    <a:pt x="45" y="49"/>
                  </a:lnTo>
                  <a:lnTo>
                    <a:pt x="43" y="49"/>
                  </a:lnTo>
                  <a:lnTo>
                    <a:pt x="43" y="49"/>
                  </a:lnTo>
                  <a:lnTo>
                    <a:pt x="39" y="58"/>
                  </a:lnTo>
                  <a:lnTo>
                    <a:pt x="36" y="60"/>
                  </a:lnTo>
                  <a:lnTo>
                    <a:pt x="33" y="62"/>
                  </a:lnTo>
                  <a:lnTo>
                    <a:pt x="32" y="62"/>
                  </a:lnTo>
                  <a:close/>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32" name="Freeform 1334"/>
            <p:cNvSpPr>
              <a:spLocks/>
            </p:cNvSpPr>
            <p:nvPr/>
          </p:nvSpPr>
          <p:spPr bwMode="auto">
            <a:xfrm>
              <a:off x="7999413" y="5838826"/>
              <a:ext cx="93663" cy="98425"/>
            </a:xfrm>
            <a:custGeom>
              <a:avLst/>
              <a:gdLst>
                <a:gd name="T0" fmla="*/ 32 w 59"/>
                <a:gd name="T1" fmla="*/ 62 h 62"/>
                <a:gd name="T2" fmla="*/ 32 w 59"/>
                <a:gd name="T3" fmla="*/ 62 h 62"/>
                <a:gd name="T4" fmla="*/ 26 w 59"/>
                <a:gd name="T5" fmla="*/ 60 h 62"/>
                <a:gd name="T6" fmla="*/ 19 w 59"/>
                <a:gd name="T7" fmla="*/ 56 h 62"/>
                <a:gd name="T8" fmla="*/ 14 w 59"/>
                <a:gd name="T9" fmla="*/ 50 h 62"/>
                <a:gd name="T10" fmla="*/ 13 w 59"/>
                <a:gd name="T11" fmla="*/ 46 h 62"/>
                <a:gd name="T12" fmla="*/ 13 w 59"/>
                <a:gd name="T13" fmla="*/ 43 h 62"/>
                <a:gd name="T14" fmla="*/ 13 w 59"/>
                <a:gd name="T15" fmla="*/ 43 h 62"/>
                <a:gd name="T16" fmla="*/ 13 w 59"/>
                <a:gd name="T17" fmla="*/ 34 h 62"/>
                <a:gd name="T18" fmla="*/ 10 w 59"/>
                <a:gd name="T19" fmla="*/ 29 h 62"/>
                <a:gd name="T20" fmla="*/ 10 w 59"/>
                <a:gd name="T21" fmla="*/ 29 h 62"/>
                <a:gd name="T22" fmla="*/ 4 w 59"/>
                <a:gd name="T23" fmla="*/ 14 h 62"/>
                <a:gd name="T24" fmla="*/ 0 w 59"/>
                <a:gd name="T25" fmla="*/ 2 h 62"/>
                <a:gd name="T26" fmla="*/ 0 w 59"/>
                <a:gd name="T27" fmla="*/ 2 h 62"/>
                <a:gd name="T28" fmla="*/ 0 w 59"/>
                <a:gd name="T29" fmla="*/ 1 h 62"/>
                <a:gd name="T30" fmla="*/ 3 w 59"/>
                <a:gd name="T31" fmla="*/ 0 h 62"/>
                <a:gd name="T32" fmla="*/ 7 w 59"/>
                <a:gd name="T33" fmla="*/ 0 h 62"/>
                <a:gd name="T34" fmla="*/ 11 w 59"/>
                <a:gd name="T35" fmla="*/ 1 h 62"/>
                <a:gd name="T36" fmla="*/ 11 w 59"/>
                <a:gd name="T37" fmla="*/ 1 h 62"/>
                <a:gd name="T38" fmla="*/ 24 w 59"/>
                <a:gd name="T39" fmla="*/ 5 h 62"/>
                <a:gd name="T40" fmla="*/ 30 w 59"/>
                <a:gd name="T41" fmla="*/ 7 h 62"/>
                <a:gd name="T42" fmla="*/ 34 w 59"/>
                <a:gd name="T43" fmla="*/ 7 h 62"/>
                <a:gd name="T44" fmla="*/ 34 w 59"/>
                <a:gd name="T45" fmla="*/ 7 h 62"/>
                <a:gd name="T46" fmla="*/ 46 w 59"/>
                <a:gd name="T47" fmla="*/ 4 h 62"/>
                <a:gd name="T48" fmla="*/ 53 w 59"/>
                <a:gd name="T49" fmla="*/ 2 h 62"/>
                <a:gd name="T50" fmla="*/ 55 w 59"/>
                <a:gd name="T51" fmla="*/ 4 h 62"/>
                <a:gd name="T52" fmla="*/ 56 w 59"/>
                <a:gd name="T53" fmla="*/ 4 h 62"/>
                <a:gd name="T54" fmla="*/ 56 w 59"/>
                <a:gd name="T55" fmla="*/ 4 h 62"/>
                <a:gd name="T56" fmla="*/ 58 w 59"/>
                <a:gd name="T57" fmla="*/ 7 h 62"/>
                <a:gd name="T58" fmla="*/ 58 w 59"/>
                <a:gd name="T59" fmla="*/ 8 h 62"/>
                <a:gd name="T60" fmla="*/ 58 w 59"/>
                <a:gd name="T61" fmla="*/ 10 h 62"/>
                <a:gd name="T62" fmla="*/ 58 w 59"/>
                <a:gd name="T63" fmla="*/ 13 h 62"/>
                <a:gd name="T64" fmla="*/ 58 w 59"/>
                <a:gd name="T65" fmla="*/ 13 h 62"/>
                <a:gd name="T66" fmla="*/ 59 w 59"/>
                <a:gd name="T67" fmla="*/ 18 h 62"/>
                <a:gd name="T68" fmla="*/ 59 w 59"/>
                <a:gd name="T69" fmla="*/ 24 h 62"/>
                <a:gd name="T70" fmla="*/ 59 w 59"/>
                <a:gd name="T71" fmla="*/ 30 h 62"/>
                <a:gd name="T72" fmla="*/ 58 w 59"/>
                <a:gd name="T73" fmla="*/ 34 h 62"/>
                <a:gd name="T74" fmla="*/ 58 w 59"/>
                <a:gd name="T75" fmla="*/ 34 h 62"/>
                <a:gd name="T76" fmla="*/ 53 w 59"/>
                <a:gd name="T77" fmla="*/ 42 h 62"/>
                <a:gd name="T78" fmla="*/ 50 w 59"/>
                <a:gd name="T79" fmla="*/ 47 h 62"/>
                <a:gd name="T80" fmla="*/ 50 w 59"/>
                <a:gd name="T81" fmla="*/ 47 h 62"/>
                <a:gd name="T82" fmla="*/ 52 w 59"/>
                <a:gd name="T83" fmla="*/ 52 h 62"/>
                <a:gd name="T84" fmla="*/ 50 w 59"/>
                <a:gd name="T85" fmla="*/ 55 h 62"/>
                <a:gd name="T86" fmla="*/ 49 w 59"/>
                <a:gd name="T87" fmla="*/ 55 h 62"/>
                <a:gd name="T88" fmla="*/ 49 w 59"/>
                <a:gd name="T89" fmla="*/ 55 h 62"/>
                <a:gd name="T90" fmla="*/ 46 w 59"/>
                <a:gd name="T91" fmla="*/ 50 h 62"/>
                <a:gd name="T92" fmla="*/ 45 w 59"/>
                <a:gd name="T93" fmla="*/ 49 h 62"/>
                <a:gd name="T94" fmla="*/ 43 w 59"/>
                <a:gd name="T95" fmla="*/ 49 h 62"/>
                <a:gd name="T96" fmla="*/ 43 w 59"/>
                <a:gd name="T97" fmla="*/ 49 h 62"/>
                <a:gd name="T98" fmla="*/ 39 w 59"/>
                <a:gd name="T99" fmla="*/ 58 h 62"/>
                <a:gd name="T100" fmla="*/ 36 w 59"/>
                <a:gd name="T101" fmla="*/ 60 h 62"/>
                <a:gd name="T102" fmla="*/ 33 w 59"/>
                <a:gd name="T103" fmla="*/ 62 h 62"/>
                <a:gd name="T104" fmla="*/ 32 w 59"/>
                <a:gd name="T105"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9" h="62">
                  <a:moveTo>
                    <a:pt x="32" y="62"/>
                  </a:moveTo>
                  <a:lnTo>
                    <a:pt x="32" y="62"/>
                  </a:lnTo>
                  <a:lnTo>
                    <a:pt x="26" y="60"/>
                  </a:lnTo>
                  <a:lnTo>
                    <a:pt x="19" y="56"/>
                  </a:lnTo>
                  <a:lnTo>
                    <a:pt x="14" y="50"/>
                  </a:lnTo>
                  <a:lnTo>
                    <a:pt x="13" y="46"/>
                  </a:lnTo>
                  <a:lnTo>
                    <a:pt x="13" y="43"/>
                  </a:lnTo>
                  <a:lnTo>
                    <a:pt x="13" y="43"/>
                  </a:lnTo>
                  <a:lnTo>
                    <a:pt x="13" y="34"/>
                  </a:lnTo>
                  <a:lnTo>
                    <a:pt x="10" y="29"/>
                  </a:lnTo>
                  <a:lnTo>
                    <a:pt x="10" y="29"/>
                  </a:lnTo>
                  <a:lnTo>
                    <a:pt x="4" y="14"/>
                  </a:lnTo>
                  <a:lnTo>
                    <a:pt x="0" y="2"/>
                  </a:lnTo>
                  <a:lnTo>
                    <a:pt x="0" y="2"/>
                  </a:lnTo>
                  <a:lnTo>
                    <a:pt x="0" y="1"/>
                  </a:lnTo>
                  <a:lnTo>
                    <a:pt x="3" y="0"/>
                  </a:lnTo>
                  <a:lnTo>
                    <a:pt x="7" y="0"/>
                  </a:lnTo>
                  <a:lnTo>
                    <a:pt x="11" y="1"/>
                  </a:lnTo>
                  <a:lnTo>
                    <a:pt x="11" y="1"/>
                  </a:lnTo>
                  <a:lnTo>
                    <a:pt x="24" y="5"/>
                  </a:lnTo>
                  <a:lnTo>
                    <a:pt x="30" y="7"/>
                  </a:lnTo>
                  <a:lnTo>
                    <a:pt x="34" y="7"/>
                  </a:lnTo>
                  <a:lnTo>
                    <a:pt x="34" y="7"/>
                  </a:lnTo>
                  <a:lnTo>
                    <a:pt x="46" y="4"/>
                  </a:lnTo>
                  <a:lnTo>
                    <a:pt x="53" y="2"/>
                  </a:lnTo>
                  <a:lnTo>
                    <a:pt x="55" y="4"/>
                  </a:lnTo>
                  <a:lnTo>
                    <a:pt x="56" y="4"/>
                  </a:lnTo>
                  <a:lnTo>
                    <a:pt x="56" y="4"/>
                  </a:lnTo>
                  <a:lnTo>
                    <a:pt x="58" y="7"/>
                  </a:lnTo>
                  <a:lnTo>
                    <a:pt x="58" y="8"/>
                  </a:lnTo>
                  <a:lnTo>
                    <a:pt x="58" y="10"/>
                  </a:lnTo>
                  <a:lnTo>
                    <a:pt x="58" y="13"/>
                  </a:lnTo>
                  <a:lnTo>
                    <a:pt x="58" y="13"/>
                  </a:lnTo>
                  <a:lnTo>
                    <a:pt x="59" y="18"/>
                  </a:lnTo>
                  <a:lnTo>
                    <a:pt x="59" y="24"/>
                  </a:lnTo>
                  <a:lnTo>
                    <a:pt x="59" y="30"/>
                  </a:lnTo>
                  <a:lnTo>
                    <a:pt x="58" y="34"/>
                  </a:lnTo>
                  <a:lnTo>
                    <a:pt x="58" y="34"/>
                  </a:lnTo>
                  <a:lnTo>
                    <a:pt x="53" y="42"/>
                  </a:lnTo>
                  <a:lnTo>
                    <a:pt x="50" y="47"/>
                  </a:lnTo>
                  <a:lnTo>
                    <a:pt x="50" y="47"/>
                  </a:lnTo>
                  <a:lnTo>
                    <a:pt x="52" y="52"/>
                  </a:lnTo>
                  <a:lnTo>
                    <a:pt x="50" y="55"/>
                  </a:lnTo>
                  <a:lnTo>
                    <a:pt x="49" y="55"/>
                  </a:lnTo>
                  <a:lnTo>
                    <a:pt x="49" y="55"/>
                  </a:lnTo>
                  <a:lnTo>
                    <a:pt x="46" y="50"/>
                  </a:lnTo>
                  <a:lnTo>
                    <a:pt x="45" y="49"/>
                  </a:lnTo>
                  <a:lnTo>
                    <a:pt x="43" y="49"/>
                  </a:lnTo>
                  <a:lnTo>
                    <a:pt x="43" y="49"/>
                  </a:lnTo>
                  <a:lnTo>
                    <a:pt x="39" y="58"/>
                  </a:lnTo>
                  <a:lnTo>
                    <a:pt x="36" y="60"/>
                  </a:lnTo>
                  <a:lnTo>
                    <a:pt x="33" y="62"/>
                  </a:lnTo>
                  <a:lnTo>
                    <a:pt x="32" y="6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33" name="Freeform 1510"/>
            <p:cNvSpPr>
              <a:spLocks/>
            </p:cNvSpPr>
            <p:nvPr/>
          </p:nvSpPr>
          <p:spPr bwMode="auto">
            <a:xfrm>
              <a:off x="5738813" y="5254626"/>
              <a:ext cx="14288" cy="12700"/>
            </a:xfrm>
            <a:custGeom>
              <a:avLst/>
              <a:gdLst>
                <a:gd name="T0" fmla="*/ 6 w 9"/>
                <a:gd name="T1" fmla="*/ 8 h 8"/>
                <a:gd name="T2" fmla="*/ 6 w 9"/>
                <a:gd name="T3" fmla="*/ 8 h 8"/>
                <a:gd name="T4" fmla="*/ 1 w 9"/>
                <a:gd name="T5" fmla="*/ 7 h 8"/>
                <a:gd name="T6" fmla="*/ 0 w 9"/>
                <a:gd name="T7" fmla="*/ 3 h 8"/>
                <a:gd name="T8" fmla="*/ 0 w 9"/>
                <a:gd name="T9" fmla="*/ 3 h 8"/>
                <a:gd name="T10" fmla="*/ 0 w 9"/>
                <a:gd name="T11" fmla="*/ 1 h 8"/>
                <a:gd name="T12" fmla="*/ 1 w 9"/>
                <a:gd name="T13" fmla="*/ 0 h 8"/>
                <a:gd name="T14" fmla="*/ 1 w 9"/>
                <a:gd name="T15" fmla="*/ 0 h 8"/>
                <a:gd name="T16" fmla="*/ 4 w 9"/>
                <a:gd name="T17" fmla="*/ 0 h 8"/>
                <a:gd name="T18" fmla="*/ 4 w 9"/>
                <a:gd name="T19" fmla="*/ 0 h 8"/>
                <a:gd name="T20" fmla="*/ 6 w 9"/>
                <a:gd name="T21" fmla="*/ 0 h 8"/>
                <a:gd name="T22" fmla="*/ 7 w 9"/>
                <a:gd name="T23" fmla="*/ 1 h 8"/>
                <a:gd name="T24" fmla="*/ 9 w 9"/>
                <a:gd name="T25" fmla="*/ 5 h 8"/>
                <a:gd name="T26" fmla="*/ 9 w 9"/>
                <a:gd name="T27" fmla="*/ 5 h 8"/>
                <a:gd name="T28" fmla="*/ 7 w 9"/>
                <a:gd name="T29" fmla="*/ 8 h 8"/>
                <a:gd name="T30" fmla="*/ 7 w 9"/>
                <a:gd name="T31" fmla="*/ 8 h 8"/>
                <a:gd name="T32" fmla="*/ 6 w 9"/>
                <a:gd name="T3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8">
                  <a:moveTo>
                    <a:pt x="6" y="8"/>
                  </a:moveTo>
                  <a:lnTo>
                    <a:pt x="6" y="8"/>
                  </a:lnTo>
                  <a:lnTo>
                    <a:pt x="1" y="7"/>
                  </a:lnTo>
                  <a:lnTo>
                    <a:pt x="0" y="3"/>
                  </a:lnTo>
                  <a:lnTo>
                    <a:pt x="0" y="3"/>
                  </a:lnTo>
                  <a:lnTo>
                    <a:pt x="0" y="1"/>
                  </a:lnTo>
                  <a:lnTo>
                    <a:pt x="1" y="0"/>
                  </a:lnTo>
                  <a:lnTo>
                    <a:pt x="1" y="0"/>
                  </a:lnTo>
                  <a:lnTo>
                    <a:pt x="4" y="0"/>
                  </a:lnTo>
                  <a:lnTo>
                    <a:pt x="4" y="0"/>
                  </a:lnTo>
                  <a:lnTo>
                    <a:pt x="6" y="0"/>
                  </a:lnTo>
                  <a:lnTo>
                    <a:pt x="7" y="1"/>
                  </a:lnTo>
                  <a:lnTo>
                    <a:pt x="9" y="5"/>
                  </a:lnTo>
                  <a:lnTo>
                    <a:pt x="9" y="5"/>
                  </a:lnTo>
                  <a:lnTo>
                    <a:pt x="7" y="8"/>
                  </a:lnTo>
                  <a:lnTo>
                    <a:pt x="7" y="8"/>
                  </a:lnTo>
                  <a:lnTo>
                    <a:pt x="6" y="8"/>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34" name="Freeform 1511"/>
            <p:cNvSpPr>
              <a:spLocks/>
            </p:cNvSpPr>
            <p:nvPr/>
          </p:nvSpPr>
          <p:spPr bwMode="auto">
            <a:xfrm>
              <a:off x="5738813" y="5254626"/>
              <a:ext cx="14288" cy="12700"/>
            </a:xfrm>
            <a:custGeom>
              <a:avLst/>
              <a:gdLst>
                <a:gd name="T0" fmla="*/ 6 w 9"/>
                <a:gd name="T1" fmla="*/ 8 h 8"/>
                <a:gd name="T2" fmla="*/ 6 w 9"/>
                <a:gd name="T3" fmla="*/ 8 h 8"/>
                <a:gd name="T4" fmla="*/ 1 w 9"/>
                <a:gd name="T5" fmla="*/ 7 h 8"/>
                <a:gd name="T6" fmla="*/ 0 w 9"/>
                <a:gd name="T7" fmla="*/ 3 h 8"/>
                <a:gd name="T8" fmla="*/ 0 w 9"/>
                <a:gd name="T9" fmla="*/ 3 h 8"/>
                <a:gd name="T10" fmla="*/ 0 w 9"/>
                <a:gd name="T11" fmla="*/ 1 h 8"/>
                <a:gd name="T12" fmla="*/ 1 w 9"/>
                <a:gd name="T13" fmla="*/ 0 h 8"/>
                <a:gd name="T14" fmla="*/ 1 w 9"/>
                <a:gd name="T15" fmla="*/ 0 h 8"/>
                <a:gd name="T16" fmla="*/ 4 w 9"/>
                <a:gd name="T17" fmla="*/ 0 h 8"/>
                <a:gd name="T18" fmla="*/ 4 w 9"/>
                <a:gd name="T19" fmla="*/ 0 h 8"/>
                <a:gd name="T20" fmla="*/ 6 w 9"/>
                <a:gd name="T21" fmla="*/ 0 h 8"/>
                <a:gd name="T22" fmla="*/ 7 w 9"/>
                <a:gd name="T23" fmla="*/ 1 h 8"/>
                <a:gd name="T24" fmla="*/ 9 w 9"/>
                <a:gd name="T25" fmla="*/ 5 h 8"/>
                <a:gd name="T26" fmla="*/ 9 w 9"/>
                <a:gd name="T27" fmla="*/ 5 h 8"/>
                <a:gd name="T28" fmla="*/ 7 w 9"/>
                <a:gd name="T29" fmla="*/ 8 h 8"/>
                <a:gd name="T30" fmla="*/ 7 w 9"/>
                <a:gd name="T31" fmla="*/ 8 h 8"/>
                <a:gd name="T32" fmla="*/ 6 w 9"/>
                <a:gd name="T3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8">
                  <a:moveTo>
                    <a:pt x="6" y="8"/>
                  </a:moveTo>
                  <a:lnTo>
                    <a:pt x="6" y="8"/>
                  </a:lnTo>
                  <a:lnTo>
                    <a:pt x="1" y="7"/>
                  </a:lnTo>
                  <a:lnTo>
                    <a:pt x="0" y="3"/>
                  </a:lnTo>
                  <a:lnTo>
                    <a:pt x="0" y="3"/>
                  </a:lnTo>
                  <a:lnTo>
                    <a:pt x="0" y="1"/>
                  </a:lnTo>
                  <a:lnTo>
                    <a:pt x="1" y="0"/>
                  </a:lnTo>
                  <a:lnTo>
                    <a:pt x="1" y="0"/>
                  </a:lnTo>
                  <a:lnTo>
                    <a:pt x="4" y="0"/>
                  </a:lnTo>
                  <a:lnTo>
                    <a:pt x="4" y="0"/>
                  </a:lnTo>
                  <a:lnTo>
                    <a:pt x="6" y="0"/>
                  </a:lnTo>
                  <a:lnTo>
                    <a:pt x="7" y="1"/>
                  </a:lnTo>
                  <a:lnTo>
                    <a:pt x="9" y="5"/>
                  </a:lnTo>
                  <a:lnTo>
                    <a:pt x="9" y="5"/>
                  </a:lnTo>
                  <a:lnTo>
                    <a:pt x="7" y="8"/>
                  </a:lnTo>
                  <a:lnTo>
                    <a:pt x="7" y="8"/>
                  </a:lnTo>
                  <a:lnTo>
                    <a:pt x="6"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35" name="Freeform 1512"/>
            <p:cNvSpPr>
              <a:spLocks/>
            </p:cNvSpPr>
            <p:nvPr/>
          </p:nvSpPr>
          <p:spPr bwMode="auto">
            <a:xfrm>
              <a:off x="9001125" y="5251451"/>
              <a:ext cx="11113" cy="9525"/>
            </a:xfrm>
            <a:custGeom>
              <a:avLst/>
              <a:gdLst>
                <a:gd name="T0" fmla="*/ 6 w 7"/>
                <a:gd name="T1" fmla="*/ 6 h 6"/>
                <a:gd name="T2" fmla="*/ 6 w 7"/>
                <a:gd name="T3" fmla="*/ 6 h 6"/>
                <a:gd name="T4" fmla="*/ 3 w 7"/>
                <a:gd name="T5" fmla="*/ 5 h 6"/>
                <a:gd name="T6" fmla="*/ 0 w 7"/>
                <a:gd name="T7" fmla="*/ 2 h 6"/>
                <a:gd name="T8" fmla="*/ 0 w 7"/>
                <a:gd name="T9" fmla="*/ 2 h 6"/>
                <a:gd name="T10" fmla="*/ 2 w 7"/>
                <a:gd name="T11" fmla="*/ 0 h 6"/>
                <a:gd name="T12" fmla="*/ 2 w 7"/>
                <a:gd name="T13" fmla="*/ 0 h 6"/>
                <a:gd name="T14" fmla="*/ 3 w 7"/>
                <a:gd name="T15" fmla="*/ 0 h 6"/>
                <a:gd name="T16" fmla="*/ 3 w 7"/>
                <a:gd name="T17" fmla="*/ 0 h 6"/>
                <a:gd name="T18" fmla="*/ 5 w 7"/>
                <a:gd name="T19" fmla="*/ 0 h 6"/>
                <a:gd name="T20" fmla="*/ 6 w 7"/>
                <a:gd name="T21" fmla="*/ 2 h 6"/>
                <a:gd name="T22" fmla="*/ 7 w 7"/>
                <a:gd name="T23" fmla="*/ 5 h 6"/>
                <a:gd name="T24" fmla="*/ 7 w 7"/>
                <a:gd name="T25" fmla="*/ 5 h 6"/>
                <a:gd name="T26" fmla="*/ 7 w 7"/>
                <a:gd name="T27" fmla="*/ 6 h 6"/>
                <a:gd name="T28" fmla="*/ 7 w 7"/>
                <a:gd name="T29" fmla="*/ 6 h 6"/>
                <a:gd name="T30" fmla="*/ 6 w 7"/>
                <a:gd name="T3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6">
                  <a:moveTo>
                    <a:pt x="6" y="6"/>
                  </a:moveTo>
                  <a:lnTo>
                    <a:pt x="6" y="6"/>
                  </a:lnTo>
                  <a:lnTo>
                    <a:pt x="3" y="5"/>
                  </a:lnTo>
                  <a:lnTo>
                    <a:pt x="0" y="2"/>
                  </a:lnTo>
                  <a:lnTo>
                    <a:pt x="0" y="2"/>
                  </a:lnTo>
                  <a:lnTo>
                    <a:pt x="2" y="0"/>
                  </a:lnTo>
                  <a:lnTo>
                    <a:pt x="2" y="0"/>
                  </a:lnTo>
                  <a:lnTo>
                    <a:pt x="3" y="0"/>
                  </a:lnTo>
                  <a:lnTo>
                    <a:pt x="3" y="0"/>
                  </a:lnTo>
                  <a:lnTo>
                    <a:pt x="5" y="0"/>
                  </a:lnTo>
                  <a:lnTo>
                    <a:pt x="6" y="2"/>
                  </a:lnTo>
                  <a:lnTo>
                    <a:pt x="7" y="5"/>
                  </a:lnTo>
                  <a:lnTo>
                    <a:pt x="7" y="5"/>
                  </a:lnTo>
                  <a:lnTo>
                    <a:pt x="7" y="6"/>
                  </a:lnTo>
                  <a:lnTo>
                    <a:pt x="7" y="6"/>
                  </a:lnTo>
                  <a:lnTo>
                    <a:pt x="6" y="6"/>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36" name="Freeform 1513"/>
            <p:cNvSpPr>
              <a:spLocks/>
            </p:cNvSpPr>
            <p:nvPr/>
          </p:nvSpPr>
          <p:spPr bwMode="auto">
            <a:xfrm>
              <a:off x="9001125" y="5251451"/>
              <a:ext cx="11113" cy="9525"/>
            </a:xfrm>
            <a:custGeom>
              <a:avLst/>
              <a:gdLst>
                <a:gd name="T0" fmla="*/ 6 w 7"/>
                <a:gd name="T1" fmla="*/ 6 h 6"/>
                <a:gd name="T2" fmla="*/ 6 w 7"/>
                <a:gd name="T3" fmla="*/ 6 h 6"/>
                <a:gd name="T4" fmla="*/ 3 w 7"/>
                <a:gd name="T5" fmla="*/ 5 h 6"/>
                <a:gd name="T6" fmla="*/ 0 w 7"/>
                <a:gd name="T7" fmla="*/ 2 h 6"/>
                <a:gd name="T8" fmla="*/ 0 w 7"/>
                <a:gd name="T9" fmla="*/ 2 h 6"/>
                <a:gd name="T10" fmla="*/ 2 w 7"/>
                <a:gd name="T11" fmla="*/ 0 h 6"/>
                <a:gd name="T12" fmla="*/ 2 w 7"/>
                <a:gd name="T13" fmla="*/ 0 h 6"/>
                <a:gd name="T14" fmla="*/ 3 w 7"/>
                <a:gd name="T15" fmla="*/ 0 h 6"/>
                <a:gd name="T16" fmla="*/ 3 w 7"/>
                <a:gd name="T17" fmla="*/ 0 h 6"/>
                <a:gd name="T18" fmla="*/ 5 w 7"/>
                <a:gd name="T19" fmla="*/ 0 h 6"/>
                <a:gd name="T20" fmla="*/ 6 w 7"/>
                <a:gd name="T21" fmla="*/ 2 h 6"/>
                <a:gd name="T22" fmla="*/ 7 w 7"/>
                <a:gd name="T23" fmla="*/ 5 h 6"/>
                <a:gd name="T24" fmla="*/ 7 w 7"/>
                <a:gd name="T25" fmla="*/ 5 h 6"/>
                <a:gd name="T26" fmla="*/ 7 w 7"/>
                <a:gd name="T27" fmla="*/ 6 h 6"/>
                <a:gd name="T28" fmla="*/ 7 w 7"/>
                <a:gd name="T29" fmla="*/ 6 h 6"/>
                <a:gd name="T30" fmla="*/ 6 w 7"/>
                <a:gd name="T3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6">
                  <a:moveTo>
                    <a:pt x="6" y="6"/>
                  </a:moveTo>
                  <a:lnTo>
                    <a:pt x="6" y="6"/>
                  </a:lnTo>
                  <a:lnTo>
                    <a:pt x="3" y="5"/>
                  </a:lnTo>
                  <a:lnTo>
                    <a:pt x="0" y="2"/>
                  </a:lnTo>
                  <a:lnTo>
                    <a:pt x="0" y="2"/>
                  </a:lnTo>
                  <a:lnTo>
                    <a:pt x="2" y="0"/>
                  </a:lnTo>
                  <a:lnTo>
                    <a:pt x="2" y="0"/>
                  </a:lnTo>
                  <a:lnTo>
                    <a:pt x="3" y="0"/>
                  </a:lnTo>
                  <a:lnTo>
                    <a:pt x="3" y="0"/>
                  </a:lnTo>
                  <a:lnTo>
                    <a:pt x="5" y="0"/>
                  </a:lnTo>
                  <a:lnTo>
                    <a:pt x="6" y="2"/>
                  </a:lnTo>
                  <a:lnTo>
                    <a:pt x="7" y="5"/>
                  </a:lnTo>
                  <a:lnTo>
                    <a:pt x="7" y="5"/>
                  </a:lnTo>
                  <a:lnTo>
                    <a:pt x="7" y="6"/>
                  </a:lnTo>
                  <a:lnTo>
                    <a:pt x="7" y="6"/>
                  </a:lnTo>
                  <a:lnTo>
                    <a:pt x="6"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37" name="Freeform 1514"/>
            <p:cNvSpPr>
              <a:spLocks/>
            </p:cNvSpPr>
            <p:nvPr/>
          </p:nvSpPr>
          <p:spPr bwMode="auto">
            <a:xfrm>
              <a:off x="8851900" y="4922839"/>
              <a:ext cx="9525" cy="14288"/>
            </a:xfrm>
            <a:custGeom>
              <a:avLst/>
              <a:gdLst>
                <a:gd name="T0" fmla="*/ 3 w 6"/>
                <a:gd name="T1" fmla="*/ 9 h 9"/>
                <a:gd name="T2" fmla="*/ 3 w 6"/>
                <a:gd name="T3" fmla="*/ 9 h 9"/>
                <a:gd name="T4" fmla="*/ 2 w 6"/>
                <a:gd name="T5" fmla="*/ 7 h 9"/>
                <a:gd name="T6" fmla="*/ 2 w 6"/>
                <a:gd name="T7" fmla="*/ 7 h 9"/>
                <a:gd name="T8" fmla="*/ 0 w 6"/>
                <a:gd name="T9" fmla="*/ 6 h 9"/>
                <a:gd name="T10" fmla="*/ 0 w 6"/>
                <a:gd name="T11" fmla="*/ 6 h 9"/>
                <a:gd name="T12" fmla="*/ 2 w 6"/>
                <a:gd name="T13" fmla="*/ 3 h 9"/>
                <a:gd name="T14" fmla="*/ 4 w 6"/>
                <a:gd name="T15" fmla="*/ 0 h 9"/>
                <a:gd name="T16" fmla="*/ 4 w 6"/>
                <a:gd name="T17" fmla="*/ 0 h 9"/>
                <a:gd name="T18" fmla="*/ 4 w 6"/>
                <a:gd name="T19" fmla="*/ 2 h 9"/>
                <a:gd name="T20" fmla="*/ 4 w 6"/>
                <a:gd name="T21" fmla="*/ 2 h 9"/>
                <a:gd name="T22" fmla="*/ 6 w 6"/>
                <a:gd name="T23" fmla="*/ 4 h 9"/>
                <a:gd name="T24" fmla="*/ 6 w 6"/>
                <a:gd name="T25" fmla="*/ 4 h 9"/>
                <a:gd name="T26" fmla="*/ 4 w 6"/>
                <a:gd name="T27" fmla="*/ 7 h 9"/>
                <a:gd name="T28" fmla="*/ 3 w 6"/>
                <a:gd name="T2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9">
                  <a:moveTo>
                    <a:pt x="3" y="9"/>
                  </a:moveTo>
                  <a:lnTo>
                    <a:pt x="3" y="9"/>
                  </a:lnTo>
                  <a:lnTo>
                    <a:pt x="2" y="7"/>
                  </a:lnTo>
                  <a:lnTo>
                    <a:pt x="2" y="7"/>
                  </a:lnTo>
                  <a:lnTo>
                    <a:pt x="0" y="6"/>
                  </a:lnTo>
                  <a:lnTo>
                    <a:pt x="0" y="6"/>
                  </a:lnTo>
                  <a:lnTo>
                    <a:pt x="2" y="3"/>
                  </a:lnTo>
                  <a:lnTo>
                    <a:pt x="4" y="0"/>
                  </a:lnTo>
                  <a:lnTo>
                    <a:pt x="4" y="0"/>
                  </a:lnTo>
                  <a:lnTo>
                    <a:pt x="4" y="2"/>
                  </a:lnTo>
                  <a:lnTo>
                    <a:pt x="4" y="2"/>
                  </a:lnTo>
                  <a:lnTo>
                    <a:pt x="6" y="4"/>
                  </a:lnTo>
                  <a:lnTo>
                    <a:pt x="6" y="4"/>
                  </a:lnTo>
                  <a:lnTo>
                    <a:pt x="4" y="7"/>
                  </a:lnTo>
                  <a:lnTo>
                    <a:pt x="3" y="9"/>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38" name="Freeform 1515"/>
            <p:cNvSpPr>
              <a:spLocks/>
            </p:cNvSpPr>
            <p:nvPr/>
          </p:nvSpPr>
          <p:spPr bwMode="auto">
            <a:xfrm>
              <a:off x="8851900" y="4922839"/>
              <a:ext cx="9525" cy="14288"/>
            </a:xfrm>
            <a:custGeom>
              <a:avLst/>
              <a:gdLst>
                <a:gd name="T0" fmla="*/ 3 w 6"/>
                <a:gd name="T1" fmla="*/ 9 h 9"/>
                <a:gd name="T2" fmla="*/ 3 w 6"/>
                <a:gd name="T3" fmla="*/ 9 h 9"/>
                <a:gd name="T4" fmla="*/ 2 w 6"/>
                <a:gd name="T5" fmla="*/ 7 h 9"/>
                <a:gd name="T6" fmla="*/ 2 w 6"/>
                <a:gd name="T7" fmla="*/ 7 h 9"/>
                <a:gd name="T8" fmla="*/ 0 w 6"/>
                <a:gd name="T9" fmla="*/ 6 h 9"/>
                <a:gd name="T10" fmla="*/ 0 w 6"/>
                <a:gd name="T11" fmla="*/ 6 h 9"/>
                <a:gd name="T12" fmla="*/ 2 w 6"/>
                <a:gd name="T13" fmla="*/ 3 h 9"/>
                <a:gd name="T14" fmla="*/ 4 w 6"/>
                <a:gd name="T15" fmla="*/ 0 h 9"/>
                <a:gd name="T16" fmla="*/ 4 w 6"/>
                <a:gd name="T17" fmla="*/ 0 h 9"/>
                <a:gd name="T18" fmla="*/ 4 w 6"/>
                <a:gd name="T19" fmla="*/ 2 h 9"/>
                <a:gd name="T20" fmla="*/ 4 w 6"/>
                <a:gd name="T21" fmla="*/ 2 h 9"/>
                <a:gd name="T22" fmla="*/ 6 w 6"/>
                <a:gd name="T23" fmla="*/ 4 h 9"/>
                <a:gd name="T24" fmla="*/ 6 w 6"/>
                <a:gd name="T25" fmla="*/ 4 h 9"/>
                <a:gd name="T26" fmla="*/ 4 w 6"/>
                <a:gd name="T27" fmla="*/ 7 h 9"/>
                <a:gd name="T28" fmla="*/ 3 w 6"/>
                <a:gd name="T2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9">
                  <a:moveTo>
                    <a:pt x="3" y="9"/>
                  </a:moveTo>
                  <a:lnTo>
                    <a:pt x="3" y="9"/>
                  </a:lnTo>
                  <a:lnTo>
                    <a:pt x="2" y="7"/>
                  </a:lnTo>
                  <a:lnTo>
                    <a:pt x="2" y="7"/>
                  </a:lnTo>
                  <a:lnTo>
                    <a:pt x="0" y="6"/>
                  </a:lnTo>
                  <a:lnTo>
                    <a:pt x="0" y="6"/>
                  </a:lnTo>
                  <a:lnTo>
                    <a:pt x="2" y="3"/>
                  </a:lnTo>
                  <a:lnTo>
                    <a:pt x="4" y="0"/>
                  </a:lnTo>
                  <a:lnTo>
                    <a:pt x="4" y="0"/>
                  </a:lnTo>
                  <a:lnTo>
                    <a:pt x="4" y="2"/>
                  </a:lnTo>
                  <a:lnTo>
                    <a:pt x="4" y="2"/>
                  </a:lnTo>
                  <a:lnTo>
                    <a:pt x="6" y="4"/>
                  </a:lnTo>
                  <a:lnTo>
                    <a:pt x="6" y="4"/>
                  </a:lnTo>
                  <a:lnTo>
                    <a:pt x="4" y="7"/>
                  </a:lnTo>
                  <a:lnTo>
                    <a:pt x="3"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39" name="Freeform 1516"/>
            <p:cNvSpPr>
              <a:spLocks/>
            </p:cNvSpPr>
            <p:nvPr/>
          </p:nvSpPr>
          <p:spPr bwMode="auto">
            <a:xfrm>
              <a:off x="8391525" y="4949826"/>
              <a:ext cx="33338" cy="14288"/>
            </a:xfrm>
            <a:custGeom>
              <a:avLst/>
              <a:gdLst>
                <a:gd name="T0" fmla="*/ 13 w 21"/>
                <a:gd name="T1" fmla="*/ 9 h 9"/>
                <a:gd name="T2" fmla="*/ 13 w 21"/>
                <a:gd name="T3" fmla="*/ 9 h 9"/>
                <a:gd name="T4" fmla="*/ 11 w 21"/>
                <a:gd name="T5" fmla="*/ 9 h 9"/>
                <a:gd name="T6" fmla="*/ 8 w 21"/>
                <a:gd name="T7" fmla="*/ 8 h 9"/>
                <a:gd name="T8" fmla="*/ 8 w 21"/>
                <a:gd name="T9" fmla="*/ 8 h 9"/>
                <a:gd name="T10" fmla="*/ 2 w 21"/>
                <a:gd name="T11" fmla="*/ 3 h 9"/>
                <a:gd name="T12" fmla="*/ 0 w 21"/>
                <a:gd name="T13" fmla="*/ 0 h 9"/>
                <a:gd name="T14" fmla="*/ 0 w 21"/>
                <a:gd name="T15" fmla="*/ 0 h 9"/>
                <a:gd name="T16" fmla="*/ 2 w 21"/>
                <a:gd name="T17" fmla="*/ 0 h 9"/>
                <a:gd name="T18" fmla="*/ 2 w 21"/>
                <a:gd name="T19" fmla="*/ 0 h 9"/>
                <a:gd name="T20" fmla="*/ 2 w 21"/>
                <a:gd name="T21" fmla="*/ 0 h 9"/>
                <a:gd name="T22" fmla="*/ 2 w 21"/>
                <a:gd name="T23" fmla="*/ 0 h 9"/>
                <a:gd name="T24" fmla="*/ 12 w 21"/>
                <a:gd name="T25" fmla="*/ 2 h 9"/>
                <a:gd name="T26" fmla="*/ 18 w 21"/>
                <a:gd name="T27" fmla="*/ 5 h 9"/>
                <a:gd name="T28" fmla="*/ 21 w 21"/>
                <a:gd name="T29" fmla="*/ 6 h 9"/>
                <a:gd name="T30" fmla="*/ 21 w 21"/>
                <a:gd name="T31" fmla="*/ 6 h 9"/>
                <a:gd name="T32" fmla="*/ 19 w 21"/>
                <a:gd name="T33" fmla="*/ 8 h 9"/>
                <a:gd name="T34" fmla="*/ 19 w 21"/>
                <a:gd name="T35" fmla="*/ 8 h 9"/>
                <a:gd name="T36" fmla="*/ 18 w 21"/>
                <a:gd name="T37" fmla="*/ 9 h 9"/>
                <a:gd name="T38" fmla="*/ 13 w 21"/>
                <a:gd name="T3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 h="9">
                  <a:moveTo>
                    <a:pt x="13" y="9"/>
                  </a:moveTo>
                  <a:lnTo>
                    <a:pt x="13" y="9"/>
                  </a:lnTo>
                  <a:lnTo>
                    <a:pt x="11" y="9"/>
                  </a:lnTo>
                  <a:lnTo>
                    <a:pt x="8" y="8"/>
                  </a:lnTo>
                  <a:lnTo>
                    <a:pt x="8" y="8"/>
                  </a:lnTo>
                  <a:lnTo>
                    <a:pt x="2" y="3"/>
                  </a:lnTo>
                  <a:lnTo>
                    <a:pt x="0" y="0"/>
                  </a:lnTo>
                  <a:lnTo>
                    <a:pt x="0" y="0"/>
                  </a:lnTo>
                  <a:lnTo>
                    <a:pt x="2" y="0"/>
                  </a:lnTo>
                  <a:lnTo>
                    <a:pt x="2" y="0"/>
                  </a:lnTo>
                  <a:lnTo>
                    <a:pt x="2" y="0"/>
                  </a:lnTo>
                  <a:lnTo>
                    <a:pt x="2" y="0"/>
                  </a:lnTo>
                  <a:lnTo>
                    <a:pt x="12" y="2"/>
                  </a:lnTo>
                  <a:lnTo>
                    <a:pt x="18" y="5"/>
                  </a:lnTo>
                  <a:lnTo>
                    <a:pt x="21" y="6"/>
                  </a:lnTo>
                  <a:lnTo>
                    <a:pt x="21" y="6"/>
                  </a:lnTo>
                  <a:lnTo>
                    <a:pt x="19" y="8"/>
                  </a:lnTo>
                  <a:lnTo>
                    <a:pt x="19" y="8"/>
                  </a:lnTo>
                  <a:lnTo>
                    <a:pt x="18" y="9"/>
                  </a:lnTo>
                  <a:lnTo>
                    <a:pt x="13" y="9"/>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40" name="Freeform 1517"/>
            <p:cNvSpPr>
              <a:spLocks/>
            </p:cNvSpPr>
            <p:nvPr/>
          </p:nvSpPr>
          <p:spPr bwMode="auto">
            <a:xfrm>
              <a:off x="8391525" y="4949826"/>
              <a:ext cx="33338" cy="14288"/>
            </a:xfrm>
            <a:custGeom>
              <a:avLst/>
              <a:gdLst>
                <a:gd name="T0" fmla="*/ 13 w 21"/>
                <a:gd name="T1" fmla="*/ 9 h 9"/>
                <a:gd name="T2" fmla="*/ 13 w 21"/>
                <a:gd name="T3" fmla="*/ 9 h 9"/>
                <a:gd name="T4" fmla="*/ 11 w 21"/>
                <a:gd name="T5" fmla="*/ 9 h 9"/>
                <a:gd name="T6" fmla="*/ 8 w 21"/>
                <a:gd name="T7" fmla="*/ 8 h 9"/>
                <a:gd name="T8" fmla="*/ 8 w 21"/>
                <a:gd name="T9" fmla="*/ 8 h 9"/>
                <a:gd name="T10" fmla="*/ 2 w 21"/>
                <a:gd name="T11" fmla="*/ 3 h 9"/>
                <a:gd name="T12" fmla="*/ 0 w 21"/>
                <a:gd name="T13" fmla="*/ 0 h 9"/>
                <a:gd name="T14" fmla="*/ 0 w 21"/>
                <a:gd name="T15" fmla="*/ 0 h 9"/>
                <a:gd name="T16" fmla="*/ 2 w 21"/>
                <a:gd name="T17" fmla="*/ 0 h 9"/>
                <a:gd name="T18" fmla="*/ 2 w 21"/>
                <a:gd name="T19" fmla="*/ 0 h 9"/>
                <a:gd name="T20" fmla="*/ 2 w 21"/>
                <a:gd name="T21" fmla="*/ 0 h 9"/>
                <a:gd name="T22" fmla="*/ 2 w 21"/>
                <a:gd name="T23" fmla="*/ 0 h 9"/>
                <a:gd name="T24" fmla="*/ 12 w 21"/>
                <a:gd name="T25" fmla="*/ 2 h 9"/>
                <a:gd name="T26" fmla="*/ 18 w 21"/>
                <a:gd name="T27" fmla="*/ 5 h 9"/>
                <a:gd name="T28" fmla="*/ 21 w 21"/>
                <a:gd name="T29" fmla="*/ 6 h 9"/>
                <a:gd name="T30" fmla="*/ 21 w 21"/>
                <a:gd name="T31" fmla="*/ 6 h 9"/>
                <a:gd name="T32" fmla="*/ 19 w 21"/>
                <a:gd name="T33" fmla="*/ 8 h 9"/>
                <a:gd name="T34" fmla="*/ 19 w 21"/>
                <a:gd name="T35" fmla="*/ 8 h 9"/>
                <a:gd name="T36" fmla="*/ 18 w 21"/>
                <a:gd name="T37" fmla="*/ 9 h 9"/>
                <a:gd name="T38" fmla="*/ 13 w 21"/>
                <a:gd name="T3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 h="9">
                  <a:moveTo>
                    <a:pt x="13" y="9"/>
                  </a:moveTo>
                  <a:lnTo>
                    <a:pt x="13" y="9"/>
                  </a:lnTo>
                  <a:lnTo>
                    <a:pt x="11" y="9"/>
                  </a:lnTo>
                  <a:lnTo>
                    <a:pt x="8" y="8"/>
                  </a:lnTo>
                  <a:lnTo>
                    <a:pt x="8" y="8"/>
                  </a:lnTo>
                  <a:lnTo>
                    <a:pt x="2" y="3"/>
                  </a:lnTo>
                  <a:lnTo>
                    <a:pt x="0" y="0"/>
                  </a:lnTo>
                  <a:lnTo>
                    <a:pt x="0" y="0"/>
                  </a:lnTo>
                  <a:lnTo>
                    <a:pt x="2" y="0"/>
                  </a:lnTo>
                  <a:lnTo>
                    <a:pt x="2" y="0"/>
                  </a:lnTo>
                  <a:lnTo>
                    <a:pt x="2" y="0"/>
                  </a:lnTo>
                  <a:lnTo>
                    <a:pt x="2" y="0"/>
                  </a:lnTo>
                  <a:lnTo>
                    <a:pt x="12" y="2"/>
                  </a:lnTo>
                  <a:lnTo>
                    <a:pt x="18" y="5"/>
                  </a:lnTo>
                  <a:lnTo>
                    <a:pt x="21" y="6"/>
                  </a:lnTo>
                  <a:lnTo>
                    <a:pt x="21" y="6"/>
                  </a:lnTo>
                  <a:lnTo>
                    <a:pt x="19" y="8"/>
                  </a:lnTo>
                  <a:lnTo>
                    <a:pt x="19" y="8"/>
                  </a:lnTo>
                  <a:lnTo>
                    <a:pt x="18" y="9"/>
                  </a:lnTo>
                  <a:lnTo>
                    <a:pt x="13"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41" name="Freeform 1518"/>
            <p:cNvSpPr>
              <a:spLocks/>
            </p:cNvSpPr>
            <p:nvPr/>
          </p:nvSpPr>
          <p:spPr bwMode="auto">
            <a:xfrm>
              <a:off x="8450263" y="4979989"/>
              <a:ext cx="22225" cy="9525"/>
            </a:xfrm>
            <a:custGeom>
              <a:avLst/>
              <a:gdLst>
                <a:gd name="T0" fmla="*/ 10 w 14"/>
                <a:gd name="T1" fmla="*/ 6 h 6"/>
                <a:gd name="T2" fmla="*/ 10 w 14"/>
                <a:gd name="T3" fmla="*/ 6 h 6"/>
                <a:gd name="T4" fmla="*/ 4 w 14"/>
                <a:gd name="T5" fmla="*/ 5 h 6"/>
                <a:gd name="T6" fmla="*/ 1 w 14"/>
                <a:gd name="T7" fmla="*/ 3 h 6"/>
                <a:gd name="T8" fmla="*/ 0 w 14"/>
                <a:gd name="T9" fmla="*/ 2 h 6"/>
                <a:gd name="T10" fmla="*/ 0 w 14"/>
                <a:gd name="T11" fmla="*/ 2 h 6"/>
                <a:gd name="T12" fmla="*/ 0 w 14"/>
                <a:gd name="T13" fmla="*/ 2 h 6"/>
                <a:gd name="T14" fmla="*/ 3 w 14"/>
                <a:gd name="T15" fmla="*/ 2 h 6"/>
                <a:gd name="T16" fmla="*/ 5 w 14"/>
                <a:gd name="T17" fmla="*/ 0 h 6"/>
                <a:gd name="T18" fmla="*/ 5 w 14"/>
                <a:gd name="T19" fmla="*/ 0 h 6"/>
                <a:gd name="T20" fmla="*/ 11 w 14"/>
                <a:gd name="T21" fmla="*/ 2 h 6"/>
                <a:gd name="T22" fmla="*/ 13 w 14"/>
                <a:gd name="T23" fmla="*/ 3 h 6"/>
                <a:gd name="T24" fmla="*/ 14 w 14"/>
                <a:gd name="T25" fmla="*/ 5 h 6"/>
                <a:gd name="T26" fmla="*/ 14 w 14"/>
                <a:gd name="T27" fmla="*/ 5 h 6"/>
                <a:gd name="T28" fmla="*/ 13 w 14"/>
                <a:gd name="T29" fmla="*/ 5 h 6"/>
                <a:gd name="T30" fmla="*/ 13 w 14"/>
                <a:gd name="T31" fmla="*/ 5 h 6"/>
                <a:gd name="T32" fmla="*/ 10 w 14"/>
                <a:gd name="T3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6">
                  <a:moveTo>
                    <a:pt x="10" y="6"/>
                  </a:moveTo>
                  <a:lnTo>
                    <a:pt x="10" y="6"/>
                  </a:lnTo>
                  <a:lnTo>
                    <a:pt x="4" y="5"/>
                  </a:lnTo>
                  <a:lnTo>
                    <a:pt x="1" y="3"/>
                  </a:lnTo>
                  <a:lnTo>
                    <a:pt x="0" y="2"/>
                  </a:lnTo>
                  <a:lnTo>
                    <a:pt x="0" y="2"/>
                  </a:lnTo>
                  <a:lnTo>
                    <a:pt x="0" y="2"/>
                  </a:lnTo>
                  <a:lnTo>
                    <a:pt x="3" y="2"/>
                  </a:lnTo>
                  <a:lnTo>
                    <a:pt x="5" y="0"/>
                  </a:lnTo>
                  <a:lnTo>
                    <a:pt x="5" y="0"/>
                  </a:lnTo>
                  <a:lnTo>
                    <a:pt x="11" y="2"/>
                  </a:lnTo>
                  <a:lnTo>
                    <a:pt x="13" y="3"/>
                  </a:lnTo>
                  <a:lnTo>
                    <a:pt x="14" y="5"/>
                  </a:lnTo>
                  <a:lnTo>
                    <a:pt x="14" y="5"/>
                  </a:lnTo>
                  <a:lnTo>
                    <a:pt x="13" y="5"/>
                  </a:lnTo>
                  <a:lnTo>
                    <a:pt x="13" y="5"/>
                  </a:lnTo>
                  <a:lnTo>
                    <a:pt x="10" y="6"/>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42" name="Freeform 1519"/>
            <p:cNvSpPr>
              <a:spLocks/>
            </p:cNvSpPr>
            <p:nvPr/>
          </p:nvSpPr>
          <p:spPr bwMode="auto">
            <a:xfrm>
              <a:off x="8450263" y="4979989"/>
              <a:ext cx="22225" cy="9525"/>
            </a:xfrm>
            <a:custGeom>
              <a:avLst/>
              <a:gdLst>
                <a:gd name="T0" fmla="*/ 10 w 14"/>
                <a:gd name="T1" fmla="*/ 6 h 6"/>
                <a:gd name="T2" fmla="*/ 10 w 14"/>
                <a:gd name="T3" fmla="*/ 6 h 6"/>
                <a:gd name="T4" fmla="*/ 4 w 14"/>
                <a:gd name="T5" fmla="*/ 5 h 6"/>
                <a:gd name="T6" fmla="*/ 1 w 14"/>
                <a:gd name="T7" fmla="*/ 3 h 6"/>
                <a:gd name="T8" fmla="*/ 0 w 14"/>
                <a:gd name="T9" fmla="*/ 2 h 6"/>
                <a:gd name="T10" fmla="*/ 0 w 14"/>
                <a:gd name="T11" fmla="*/ 2 h 6"/>
                <a:gd name="T12" fmla="*/ 0 w 14"/>
                <a:gd name="T13" fmla="*/ 2 h 6"/>
                <a:gd name="T14" fmla="*/ 3 w 14"/>
                <a:gd name="T15" fmla="*/ 2 h 6"/>
                <a:gd name="T16" fmla="*/ 5 w 14"/>
                <a:gd name="T17" fmla="*/ 0 h 6"/>
                <a:gd name="T18" fmla="*/ 5 w 14"/>
                <a:gd name="T19" fmla="*/ 0 h 6"/>
                <a:gd name="T20" fmla="*/ 11 w 14"/>
                <a:gd name="T21" fmla="*/ 2 h 6"/>
                <a:gd name="T22" fmla="*/ 13 w 14"/>
                <a:gd name="T23" fmla="*/ 3 h 6"/>
                <a:gd name="T24" fmla="*/ 14 w 14"/>
                <a:gd name="T25" fmla="*/ 5 h 6"/>
                <a:gd name="T26" fmla="*/ 14 w 14"/>
                <a:gd name="T27" fmla="*/ 5 h 6"/>
                <a:gd name="T28" fmla="*/ 13 w 14"/>
                <a:gd name="T29" fmla="*/ 5 h 6"/>
                <a:gd name="T30" fmla="*/ 13 w 14"/>
                <a:gd name="T31" fmla="*/ 5 h 6"/>
                <a:gd name="T32" fmla="*/ 10 w 14"/>
                <a:gd name="T3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6">
                  <a:moveTo>
                    <a:pt x="10" y="6"/>
                  </a:moveTo>
                  <a:lnTo>
                    <a:pt x="10" y="6"/>
                  </a:lnTo>
                  <a:lnTo>
                    <a:pt x="4" y="5"/>
                  </a:lnTo>
                  <a:lnTo>
                    <a:pt x="1" y="3"/>
                  </a:lnTo>
                  <a:lnTo>
                    <a:pt x="0" y="2"/>
                  </a:lnTo>
                  <a:lnTo>
                    <a:pt x="0" y="2"/>
                  </a:lnTo>
                  <a:lnTo>
                    <a:pt x="0" y="2"/>
                  </a:lnTo>
                  <a:lnTo>
                    <a:pt x="3" y="2"/>
                  </a:lnTo>
                  <a:lnTo>
                    <a:pt x="5" y="0"/>
                  </a:lnTo>
                  <a:lnTo>
                    <a:pt x="5" y="0"/>
                  </a:lnTo>
                  <a:lnTo>
                    <a:pt x="11" y="2"/>
                  </a:lnTo>
                  <a:lnTo>
                    <a:pt x="13" y="3"/>
                  </a:lnTo>
                  <a:lnTo>
                    <a:pt x="14" y="5"/>
                  </a:lnTo>
                  <a:lnTo>
                    <a:pt x="14" y="5"/>
                  </a:lnTo>
                  <a:lnTo>
                    <a:pt x="13" y="5"/>
                  </a:lnTo>
                  <a:lnTo>
                    <a:pt x="13" y="5"/>
                  </a:lnTo>
                  <a:lnTo>
                    <a:pt x="1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43" name="Freeform 1520"/>
            <p:cNvSpPr>
              <a:spLocks/>
            </p:cNvSpPr>
            <p:nvPr/>
          </p:nvSpPr>
          <p:spPr bwMode="auto">
            <a:xfrm>
              <a:off x="8362950" y="4902201"/>
              <a:ext cx="33338" cy="25400"/>
            </a:xfrm>
            <a:custGeom>
              <a:avLst/>
              <a:gdLst>
                <a:gd name="T0" fmla="*/ 17 w 21"/>
                <a:gd name="T1" fmla="*/ 16 h 16"/>
                <a:gd name="T2" fmla="*/ 17 w 21"/>
                <a:gd name="T3" fmla="*/ 16 h 16"/>
                <a:gd name="T4" fmla="*/ 13 w 21"/>
                <a:gd name="T5" fmla="*/ 15 h 16"/>
                <a:gd name="T6" fmla="*/ 7 w 21"/>
                <a:gd name="T7" fmla="*/ 10 h 16"/>
                <a:gd name="T8" fmla="*/ 1 w 21"/>
                <a:gd name="T9" fmla="*/ 6 h 16"/>
                <a:gd name="T10" fmla="*/ 0 w 21"/>
                <a:gd name="T11" fmla="*/ 2 h 16"/>
                <a:gd name="T12" fmla="*/ 0 w 21"/>
                <a:gd name="T13" fmla="*/ 2 h 16"/>
                <a:gd name="T14" fmla="*/ 0 w 21"/>
                <a:gd name="T15" fmla="*/ 2 h 16"/>
                <a:gd name="T16" fmla="*/ 1 w 21"/>
                <a:gd name="T17" fmla="*/ 0 h 16"/>
                <a:gd name="T18" fmla="*/ 1 w 21"/>
                <a:gd name="T19" fmla="*/ 0 h 16"/>
                <a:gd name="T20" fmla="*/ 8 w 21"/>
                <a:gd name="T21" fmla="*/ 2 h 16"/>
                <a:gd name="T22" fmla="*/ 14 w 21"/>
                <a:gd name="T23" fmla="*/ 4 h 16"/>
                <a:gd name="T24" fmla="*/ 18 w 21"/>
                <a:gd name="T25" fmla="*/ 7 h 16"/>
                <a:gd name="T26" fmla="*/ 20 w 21"/>
                <a:gd name="T27" fmla="*/ 10 h 16"/>
                <a:gd name="T28" fmla="*/ 21 w 21"/>
                <a:gd name="T29" fmla="*/ 12 h 16"/>
                <a:gd name="T30" fmla="*/ 21 w 21"/>
                <a:gd name="T31" fmla="*/ 12 h 16"/>
                <a:gd name="T32" fmla="*/ 20 w 21"/>
                <a:gd name="T33" fmla="*/ 15 h 16"/>
                <a:gd name="T34" fmla="*/ 20 w 21"/>
                <a:gd name="T35" fmla="*/ 15 h 16"/>
                <a:gd name="T36" fmla="*/ 17 w 21"/>
                <a:gd name="T3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 h="16">
                  <a:moveTo>
                    <a:pt x="17" y="16"/>
                  </a:moveTo>
                  <a:lnTo>
                    <a:pt x="17" y="16"/>
                  </a:lnTo>
                  <a:lnTo>
                    <a:pt x="13" y="15"/>
                  </a:lnTo>
                  <a:lnTo>
                    <a:pt x="7" y="10"/>
                  </a:lnTo>
                  <a:lnTo>
                    <a:pt x="1" y="6"/>
                  </a:lnTo>
                  <a:lnTo>
                    <a:pt x="0" y="2"/>
                  </a:lnTo>
                  <a:lnTo>
                    <a:pt x="0" y="2"/>
                  </a:lnTo>
                  <a:lnTo>
                    <a:pt x="0" y="2"/>
                  </a:lnTo>
                  <a:lnTo>
                    <a:pt x="1" y="0"/>
                  </a:lnTo>
                  <a:lnTo>
                    <a:pt x="1" y="0"/>
                  </a:lnTo>
                  <a:lnTo>
                    <a:pt x="8" y="2"/>
                  </a:lnTo>
                  <a:lnTo>
                    <a:pt x="14" y="4"/>
                  </a:lnTo>
                  <a:lnTo>
                    <a:pt x="18" y="7"/>
                  </a:lnTo>
                  <a:lnTo>
                    <a:pt x="20" y="10"/>
                  </a:lnTo>
                  <a:lnTo>
                    <a:pt x="21" y="12"/>
                  </a:lnTo>
                  <a:lnTo>
                    <a:pt x="21" y="12"/>
                  </a:lnTo>
                  <a:lnTo>
                    <a:pt x="20" y="15"/>
                  </a:lnTo>
                  <a:lnTo>
                    <a:pt x="20" y="15"/>
                  </a:lnTo>
                  <a:lnTo>
                    <a:pt x="17" y="16"/>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44" name="Freeform 1521"/>
            <p:cNvSpPr>
              <a:spLocks/>
            </p:cNvSpPr>
            <p:nvPr/>
          </p:nvSpPr>
          <p:spPr bwMode="auto">
            <a:xfrm>
              <a:off x="8362950" y="4902201"/>
              <a:ext cx="33338" cy="25400"/>
            </a:xfrm>
            <a:custGeom>
              <a:avLst/>
              <a:gdLst>
                <a:gd name="T0" fmla="*/ 17 w 21"/>
                <a:gd name="T1" fmla="*/ 16 h 16"/>
                <a:gd name="T2" fmla="*/ 17 w 21"/>
                <a:gd name="T3" fmla="*/ 16 h 16"/>
                <a:gd name="T4" fmla="*/ 13 w 21"/>
                <a:gd name="T5" fmla="*/ 15 h 16"/>
                <a:gd name="T6" fmla="*/ 7 w 21"/>
                <a:gd name="T7" fmla="*/ 10 h 16"/>
                <a:gd name="T8" fmla="*/ 1 w 21"/>
                <a:gd name="T9" fmla="*/ 6 h 16"/>
                <a:gd name="T10" fmla="*/ 0 w 21"/>
                <a:gd name="T11" fmla="*/ 2 h 16"/>
                <a:gd name="T12" fmla="*/ 0 w 21"/>
                <a:gd name="T13" fmla="*/ 2 h 16"/>
                <a:gd name="T14" fmla="*/ 0 w 21"/>
                <a:gd name="T15" fmla="*/ 2 h 16"/>
                <a:gd name="T16" fmla="*/ 1 w 21"/>
                <a:gd name="T17" fmla="*/ 0 h 16"/>
                <a:gd name="T18" fmla="*/ 1 w 21"/>
                <a:gd name="T19" fmla="*/ 0 h 16"/>
                <a:gd name="T20" fmla="*/ 8 w 21"/>
                <a:gd name="T21" fmla="*/ 2 h 16"/>
                <a:gd name="T22" fmla="*/ 14 w 21"/>
                <a:gd name="T23" fmla="*/ 4 h 16"/>
                <a:gd name="T24" fmla="*/ 18 w 21"/>
                <a:gd name="T25" fmla="*/ 7 h 16"/>
                <a:gd name="T26" fmla="*/ 20 w 21"/>
                <a:gd name="T27" fmla="*/ 10 h 16"/>
                <a:gd name="T28" fmla="*/ 21 w 21"/>
                <a:gd name="T29" fmla="*/ 12 h 16"/>
                <a:gd name="T30" fmla="*/ 21 w 21"/>
                <a:gd name="T31" fmla="*/ 12 h 16"/>
                <a:gd name="T32" fmla="*/ 20 w 21"/>
                <a:gd name="T33" fmla="*/ 15 h 16"/>
                <a:gd name="T34" fmla="*/ 20 w 21"/>
                <a:gd name="T35" fmla="*/ 15 h 16"/>
                <a:gd name="T36" fmla="*/ 17 w 21"/>
                <a:gd name="T3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 h="16">
                  <a:moveTo>
                    <a:pt x="17" y="16"/>
                  </a:moveTo>
                  <a:lnTo>
                    <a:pt x="17" y="16"/>
                  </a:lnTo>
                  <a:lnTo>
                    <a:pt x="13" y="15"/>
                  </a:lnTo>
                  <a:lnTo>
                    <a:pt x="7" y="10"/>
                  </a:lnTo>
                  <a:lnTo>
                    <a:pt x="1" y="6"/>
                  </a:lnTo>
                  <a:lnTo>
                    <a:pt x="0" y="2"/>
                  </a:lnTo>
                  <a:lnTo>
                    <a:pt x="0" y="2"/>
                  </a:lnTo>
                  <a:lnTo>
                    <a:pt x="0" y="2"/>
                  </a:lnTo>
                  <a:lnTo>
                    <a:pt x="1" y="0"/>
                  </a:lnTo>
                  <a:lnTo>
                    <a:pt x="1" y="0"/>
                  </a:lnTo>
                  <a:lnTo>
                    <a:pt x="8" y="2"/>
                  </a:lnTo>
                  <a:lnTo>
                    <a:pt x="14" y="4"/>
                  </a:lnTo>
                  <a:lnTo>
                    <a:pt x="18" y="7"/>
                  </a:lnTo>
                  <a:lnTo>
                    <a:pt x="20" y="10"/>
                  </a:lnTo>
                  <a:lnTo>
                    <a:pt x="21" y="12"/>
                  </a:lnTo>
                  <a:lnTo>
                    <a:pt x="21" y="12"/>
                  </a:lnTo>
                  <a:lnTo>
                    <a:pt x="20" y="15"/>
                  </a:lnTo>
                  <a:lnTo>
                    <a:pt x="20" y="15"/>
                  </a:lnTo>
                  <a:lnTo>
                    <a:pt x="17"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45" name="Freeform 1522"/>
            <p:cNvSpPr>
              <a:spLocks/>
            </p:cNvSpPr>
            <p:nvPr/>
          </p:nvSpPr>
          <p:spPr bwMode="auto">
            <a:xfrm>
              <a:off x="8591550" y="4725989"/>
              <a:ext cx="17463" cy="11113"/>
            </a:xfrm>
            <a:custGeom>
              <a:avLst/>
              <a:gdLst>
                <a:gd name="T0" fmla="*/ 8 w 11"/>
                <a:gd name="T1" fmla="*/ 7 h 7"/>
                <a:gd name="T2" fmla="*/ 8 w 11"/>
                <a:gd name="T3" fmla="*/ 7 h 7"/>
                <a:gd name="T4" fmla="*/ 3 w 11"/>
                <a:gd name="T5" fmla="*/ 5 h 7"/>
                <a:gd name="T6" fmla="*/ 0 w 11"/>
                <a:gd name="T7" fmla="*/ 5 h 7"/>
                <a:gd name="T8" fmla="*/ 0 w 11"/>
                <a:gd name="T9" fmla="*/ 5 h 7"/>
                <a:gd name="T10" fmla="*/ 0 w 11"/>
                <a:gd name="T11" fmla="*/ 4 h 7"/>
                <a:gd name="T12" fmla="*/ 0 w 11"/>
                <a:gd name="T13" fmla="*/ 4 h 7"/>
                <a:gd name="T14" fmla="*/ 2 w 11"/>
                <a:gd name="T15" fmla="*/ 1 h 7"/>
                <a:gd name="T16" fmla="*/ 5 w 11"/>
                <a:gd name="T17" fmla="*/ 0 h 7"/>
                <a:gd name="T18" fmla="*/ 5 w 11"/>
                <a:gd name="T19" fmla="*/ 0 h 7"/>
                <a:gd name="T20" fmla="*/ 5 w 11"/>
                <a:gd name="T21" fmla="*/ 0 h 7"/>
                <a:gd name="T22" fmla="*/ 5 w 11"/>
                <a:gd name="T23" fmla="*/ 0 h 7"/>
                <a:gd name="T24" fmla="*/ 9 w 11"/>
                <a:gd name="T25" fmla="*/ 1 h 7"/>
                <a:gd name="T26" fmla="*/ 11 w 11"/>
                <a:gd name="T27" fmla="*/ 5 h 7"/>
                <a:gd name="T28" fmla="*/ 11 w 11"/>
                <a:gd name="T29" fmla="*/ 5 h 7"/>
                <a:gd name="T30" fmla="*/ 11 w 11"/>
                <a:gd name="T31" fmla="*/ 5 h 7"/>
                <a:gd name="T32" fmla="*/ 11 w 11"/>
                <a:gd name="T33" fmla="*/ 5 h 7"/>
                <a:gd name="T34" fmla="*/ 8 w 11"/>
                <a:gd name="T3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7">
                  <a:moveTo>
                    <a:pt x="8" y="7"/>
                  </a:moveTo>
                  <a:lnTo>
                    <a:pt x="8" y="7"/>
                  </a:lnTo>
                  <a:lnTo>
                    <a:pt x="3" y="5"/>
                  </a:lnTo>
                  <a:lnTo>
                    <a:pt x="0" y="5"/>
                  </a:lnTo>
                  <a:lnTo>
                    <a:pt x="0" y="5"/>
                  </a:lnTo>
                  <a:lnTo>
                    <a:pt x="0" y="4"/>
                  </a:lnTo>
                  <a:lnTo>
                    <a:pt x="0" y="4"/>
                  </a:lnTo>
                  <a:lnTo>
                    <a:pt x="2" y="1"/>
                  </a:lnTo>
                  <a:lnTo>
                    <a:pt x="5" y="0"/>
                  </a:lnTo>
                  <a:lnTo>
                    <a:pt x="5" y="0"/>
                  </a:lnTo>
                  <a:lnTo>
                    <a:pt x="5" y="0"/>
                  </a:lnTo>
                  <a:lnTo>
                    <a:pt x="5" y="0"/>
                  </a:lnTo>
                  <a:lnTo>
                    <a:pt x="9" y="1"/>
                  </a:lnTo>
                  <a:lnTo>
                    <a:pt x="11" y="5"/>
                  </a:lnTo>
                  <a:lnTo>
                    <a:pt x="11" y="5"/>
                  </a:lnTo>
                  <a:lnTo>
                    <a:pt x="11" y="5"/>
                  </a:lnTo>
                  <a:lnTo>
                    <a:pt x="11" y="5"/>
                  </a:lnTo>
                  <a:lnTo>
                    <a:pt x="8" y="7"/>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46" name="Freeform 1523"/>
            <p:cNvSpPr>
              <a:spLocks/>
            </p:cNvSpPr>
            <p:nvPr/>
          </p:nvSpPr>
          <p:spPr bwMode="auto">
            <a:xfrm>
              <a:off x="8591550" y="4725989"/>
              <a:ext cx="17463" cy="11113"/>
            </a:xfrm>
            <a:custGeom>
              <a:avLst/>
              <a:gdLst>
                <a:gd name="T0" fmla="*/ 8 w 11"/>
                <a:gd name="T1" fmla="*/ 7 h 7"/>
                <a:gd name="T2" fmla="*/ 8 w 11"/>
                <a:gd name="T3" fmla="*/ 7 h 7"/>
                <a:gd name="T4" fmla="*/ 3 w 11"/>
                <a:gd name="T5" fmla="*/ 5 h 7"/>
                <a:gd name="T6" fmla="*/ 0 w 11"/>
                <a:gd name="T7" fmla="*/ 5 h 7"/>
                <a:gd name="T8" fmla="*/ 0 w 11"/>
                <a:gd name="T9" fmla="*/ 5 h 7"/>
                <a:gd name="T10" fmla="*/ 0 w 11"/>
                <a:gd name="T11" fmla="*/ 4 h 7"/>
                <a:gd name="T12" fmla="*/ 0 w 11"/>
                <a:gd name="T13" fmla="*/ 4 h 7"/>
                <a:gd name="T14" fmla="*/ 2 w 11"/>
                <a:gd name="T15" fmla="*/ 1 h 7"/>
                <a:gd name="T16" fmla="*/ 5 w 11"/>
                <a:gd name="T17" fmla="*/ 0 h 7"/>
                <a:gd name="T18" fmla="*/ 5 w 11"/>
                <a:gd name="T19" fmla="*/ 0 h 7"/>
                <a:gd name="T20" fmla="*/ 5 w 11"/>
                <a:gd name="T21" fmla="*/ 0 h 7"/>
                <a:gd name="T22" fmla="*/ 5 w 11"/>
                <a:gd name="T23" fmla="*/ 0 h 7"/>
                <a:gd name="T24" fmla="*/ 9 w 11"/>
                <a:gd name="T25" fmla="*/ 1 h 7"/>
                <a:gd name="T26" fmla="*/ 11 w 11"/>
                <a:gd name="T27" fmla="*/ 5 h 7"/>
                <a:gd name="T28" fmla="*/ 11 w 11"/>
                <a:gd name="T29" fmla="*/ 5 h 7"/>
                <a:gd name="T30" fmla="*/ 11 w 11"/>
                <a:gd name="T31" fmla="*/ 5 h 7"/>
                <a:gd name="T32" fmla="*/ 11 w 11"/>
                <a:gd name="T33" fmla="*/ 5 h 7"/>
                <a:gd name="T34" fmla="*/ 8 w 11"/>
                <a:gd name="T3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7">
                  <a:moveTo>
                    <a:pt x="8" y="7"/>
                  </a:moveTo>
                  <a:lnTo>
                    <a:pt x="8" y="7"/>
                  </a:lnTo>
                  <a:lnTo>
                    <a:pt x="3" y="5"/>
                  </a:lnTo>
                  <a:lnTo>
                    <a:pt x="0" y="5"/>
                  </a:lnTo>
                  <a:lnTo>
                    <a:pt x="0" y="5"/>
                  </a:lnTo>
                  <a:lnTo>
                    <a:pt x="0" y="4"/>
                  </a:lnTo>
                  <a:lnTo>
                    <a:pt x="0" y="4"/>
                  </a:lnTo>
                  <a:lnTo>
                    <a:pt x="2" y="1"/>
                  </a:lnTo>
                  <a:lnTo>
                    <a:pt x="5" y="0"/>
                  </a:lnTo>
                  <a:lnTo>
                    <a:pt x="5" y="0"/>
                  </a:lnTo>
                  <a:lnTo>
                    <a:pt x="5" y="0"/>
                  </a:lnTo>
                  <a:lnTo>
                    <a:pt x="5" y="0"/>
                  </a:lnTo>
                  <a:lnTo>
                    <a:pt x="9" y="1"/>
                  </a:lnTo>
                  <a:lnTo>
                    <a:pt x="11" y="5"/>
                  </a:lnTo>
                  <a:lnTo>
                    <a:pt x="11" y="5"/>
                  </a:lnTo>
                  <a:lnTo>
                    <a:pt x="11" y="5"/>
                  </a:lnTo>
                  <a:lnTo>
                    <a:pt x="11" y="5"/>
                  </a:lnTo>
                  <a:lnTo>
                    <a:pt x="8"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47" name="Freeform 1524"/>
            <p:cNvSpPr>
              <a:spLocks/>
            </p:cNvSpPr>
            <p:nvPr/>
          </p:nvSpPr>
          <p:spPr bwMode="auto">
            <a:xfrm>
              <a:off x="8712200" y="4702176"/>
              <a:ext cx="6350" cy="4763"/>
            </a:xfrm>
            <a:custGeom>
              <a:avLst/>
              <a:gdLst>
                <a:gd name="T0" fmla="*/ 3 w 4"/>
                <a:gd name="T1" fmla="*/ 3 h 3"/>
                <a:gd name="T2" fmla="*/ 3 w 4"/>
                <a:gd name="T3" fmla="*/ 3 h 3"/>
                <a:gd name="T4" fmla="*/ 1 w 4"/>
                <a:gd name="T5" fmla="*/ 3 h 3"/>
                <a:gd name="T6" fmla="*/ 0 w 4"/>
                <a:gd name="T7" fmla="*/ 1 h 3"/>
                <a:gd name="T8" fmla="*/ 0 w 4"/>
                <a:gd name="T9" fmla="*/ 1 h 3"/>
                <a:gd name="T10" fmla="*/ 0 w 4"/>
                <a:gd name="T11" fmla="*/ 0 h 3"/>
                <a:gd name="T12" fmla="*/ 0 w 4"/>
                <a:gd name="T13" fmla="*/ 0 h 3"/>
                <a:gd name="T14" fmla="*/ 3 w 4"/>
                <a:gd name="T15" fmla="*/ 0 h 3"/>
                <a:gd name="T16" fmla="*/ 3 w 4"/>
                <a:gd name="T17" fmla="*/ 0 h 3"/>
                <a:gd name="T18" fmla="*/ 4 w 4"/>
                <a:gd name="T19" fmla="*/ 0 h 3"/>
                <a:gd name="T20" fmla="*/ 4 w 4"/>
                <a:gd name="T21" fmla="*/ 1 h 3"/>
                <a:gd name="T22" fmla="*/ 4 w 4"/>
                <a:gd name="T23" fmla="*/ 1 h 3"/>
                <a:gd name="T24" fmla="*/ 4 w 4"/>
                <a:gd name="T25" fmla="*/ 3 h 3"/>
                <a:gd name="T26" fmla="*/ 4 w 4"/>
                <a:gd name="T27" fmla="*/ 3 h 3"/>
                <a:gd name="T28" fmla="*/ 3 w 4"/>
                <a:gd name="T2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3">
                  <a:moveTo>
                    <a:pt x="3" y="3"/>
                  </a:moveTo>
                  <a:lnTo>
                    <a:pt x="3" y="3"/>
                  </a:lnTo>
                  <a:lnTo>
                    <a:pt x="1" y="3"/>
                  </a:lnTo>
                  <a:lnTo>
                    <a:pt x="0" y="1"/>
                  </a:lnTo>
                  <a:lnTo>
                    <a:pt x="0" y="1"/>
                  </a:lnTo>
                  <a:lnTo>
                    <a:pt x="0" y="0"/>
                  </a:lnTo>
                  <a:lnTo>
                    <a:pt x="0" y="0"/>
                  </a:lnTo>
                  <a:lnTo>
                    <a:pt x="3" y="0"/>
                  </a:lnTo>
                  <a:lnTo>
                    <a:pt x="3" y="0"/>
                  </a:lnTo>
                  <a:lnTo>
                    <a:pt x="4" y="0"/>
                  </a:lnTo>
                  <a:lnTo>
                    <a:pt x="4" y="1"/>
                  </a:lnTo>
                  <a:lnTo>
                    <a:pt x="4" y="1"/>
                  </a:lnTo>
                  <a:lnTo>
                    <a:pt x="4" y="3"/>
                  </a:lnTo>
                  <a:lnTo>
                    <a:pt x="4" y="3"/>
                  </a:lnTo>
                  <a:lnTo>
                    <a:pt x="3" y="3"/>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48" name="Freeform 1525"/>
            <p:cNvSpPr>
              <a:spLocks/>
            </p:cNvSpPr>
            <p:nvPr/>
          </p:nvSpPr>
          <p:spPr bwMode="auto">
            <a:xfrm>
              <a:off x="8712200" y="4702176"/>
              <a:ext cx="6350" cy="4763"/>
            </a:xfrm>
            <a:custGeom>
              <a:avLst/>
              <a:gdLst>
                <a:gd name="T0" fmla="*/ 3 w 4"/>
                <a:gd name="T1" fmla="*/ 3 h 3"/>
                <a:gd name="T2" fmla="*/ 3 w 4"/>
                <a:gd name="T3" fmla="*/ 3 h 3"/>
                <a:gd name="T4" fmla="*/ 1 w 4"/>
                <a:gd name="T5" fmla="*/ 3 h 3"/>
                <a:gd name="T6" fmla="*/ 0 w 4"/>
                <a:gd name="T7" fmla="*/ 1 h 3"/>
                <a:gd name="T8" fmla="*/ 0 w 4"/>
                <a:gd name="T9" fmla="*/ 1 h 3"/>
                <a:gd name="T10" fmla="*/ 0 w 4"/>
                <a:gd name="T11" fmla="*/ 0 h 3"/>
                <a:gd name="T12" fmla="*/ 0 w 4"/>
                <a:gd name="T13" fmla="*/ 0 h 3"/>
                <a:gd name="T14" fmla="*/ 3 w 4"/>
                <a:gd name="T15" fmla="*/ 0 h 3"/>
                <a:gd name="T16" fmla="*/ 3 w 4"/>
                <a:gd name="T17" fmla="*/ 0 h 3"/>
                <a:gd name="T18" fmla="*/ 4 w 4"/>
                <a:gd name="T19" fmla="*/ 0 h 3"/>
                <a:gd name="T20" fmla="*/ 4 w 4"/>
                <a:gd name="T21" fmla="*/ 1 h 3"/>
                <a:gd name="T22" fmla="*/ 4 w 4"/>
                <a:gd name="T23" fmla="*/ 1 h 3"/>
                <a:gd name="T24" fmla="*/ 4 w 4"/>
                <a:gd name="T25" fmla="*/ 3 h 3"/>
                <a:gd name="T26" fmla="*/ 4 w 4"/>
                <a:gd name="T27" fmla="*/ 3 h 3"/>
                <a:gd name="T28" fmla="*/ 3 w 4"/>
                <a:gd name="T2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3">
                  <a:moveTo>
                    <a:pt x="3" y="3"/>
                  </a:moveTo>
                  <a:lnTo>
                    <a:pt x="3" y="3"/>
                  </a:lnTo>
                  <a:lnTo>
                    <a:pt x="1" y="3"/>
                  </a:lnTo>
                  <a:lnTo>
                    <a:pt x="0" y="1"/>
                  </a:lnTo>
                  <a:lnTo>
                    <a:pt x="0" y="1"/>
                  </a:lnTo>
                  <a:lnTo>
                    <a:pt x="0" y="0"/>
                  </a:lnTo>
                  <a:lnTo>
                    <a:pt x="0" y="0"/>
                  </a:lnTo>
                  <a:lnTo>
                    <a:pt x="3" y="0"/>
                  </a:lnTo>
                  <a:lnTo>
                    <a:pt x="3" y="0"/>
                  </a:lnTo>
                  <a:lnTo>
                    <a:pt x="4" y="0"/>
                  </a:lnTo>
                  <a:lnTo>
                    <a:pt x="4" y="1"/>
                  </a:lnTo>
                  <a:lnTo>
                    <a:pt x="4" y="1"/>
                  </a:lnTo>
                  <a:lnTo>
                    <a:pt x="4" y="3"/>
                  </a:lnTo>
                  <a:lnTo>
                    <a:pt x="4" y="3"/>
                  </a:lnTo>
                  <a:lnTo>
                    <a:pt x="3"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49" name="Freeform 1526"/>
            <p:cNvSpPr>
              <a:spLocks/>
            </p:cNvSpPr>
            <p:nvPr/>
          </p:nvSpPr>
          <p:spPr bwMode="auto">
            <a:xfrm>
              <a:off x="8612188" y="4506914"/>
              <a:ext cx="12700" cy="9525"/>
            </a:xfrm>
            <a:custGeom>
              <a:avLst/>
              <a:gdLst>
                <a:gd name="T0" fmla="*/ 6 w 8"/>
                <a:gd name="T1" fmla="*/ 6 h 6"/>
                <a:gd name="T2" fmla="*/ 6 w 8"/>
                <a:gd name="T3" fmla="*/ 6 h 6"/>
                <a:gd name="T4" fmla="*/ 5 w 8"/>
                <a:gd name="T5" fmla="*/ 6 h 6"/>
                <a:gd name="T6" fmla="*/ 5 w 8"/>
                <a:gd name="T7" fmla="*/ 6 h 6"/>
                <a:gd name="T8" fmla="*/ 2 w 8"/>
                <a:gd name="T9" fmla="*/ 4 h 6"/>
                <a:gd name="T10" fmla="*/ 0 w 8"/>
                <a:gd name="T11" fmla="*/ 1 h 6"/>
                <a:gd name="T12" fmla="*/ 0 w 8"/>
                <a:gd name="T13" fmla="*/ 1 h 6"/>
                <a:gd name="T14" fmla="*/ 0 w 8"/>
                <a:gd name="T15" fmla="*/ 0 h 6"/>
                <a:gd name="T16" fmla="*/ 0 w 8"/>
                <a:gd name="T17" fmla="*/ 0 h 6"/>
                <a:gd name="T18" fmla="*/ 6 w 8"/>
                <a:gd name="T19" fmla="*/ 0 h 6"/>
                <a:gd name="T20" fmla="*/ 6 w 8"/>
                <a:gd name="T21" fmla="*/ 0 h 6"/>
                <a:gd name="T22" fmla="*/ 8 w 8"/>
                <a:gd name="T23" fmla="*/ 0 h 6"/>
                <a:gd name="T24" fmla="*/ 8 w 8"/>
                <a:gd name="T25" fmla="*/ 1 h 6"/>
                <a:gd name="T26" fmla="*/ 8 w 8"/>
                <a:gd name="T27" fmla="*/ 1 h 6"/>
                <a:gd name="T28" fmla="*/ 8 w 8"/>
                <a:gd name="T29" fmla="*/ 1 h 6"/>
                <a:gd name="T30" fmla="*/ 8 w 8"/>
                <a:gd name="T31" fmla="*/ 4 h 6"/>
                <a:gd name="T32" fmla="*/ 6 w 8"/>
                <a:gd name="T3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6" y="6"/>
                  </a:moveTo>
                  <a:lnTo>
                    <a:pt x="6" y="6"/>
                  </a:lnTo>
                  <a:lnTo>
                    <a:pt x="5" y="6"/>
                  </a:lnTo>
                  <a:lnTo>
                    <a:pt x="5" y="6"/>
                  </a:lnTo>
                  <a:lnTo>
                    <a:pt x="2" y="4"/>
                  </a:lnTo>
                  <a:lnTo>
                    <a:pt x="0" y="1"/>
                  </a:lnTo>
                  <a:lnTo>
                    <a:pt x="0" y="1"/>
                  </a:lnTo>
                  <a:lnTo>
                    <a:pt x="0" y="0"/>
                  </a:lnTo>
                  <a:lnTo>
                    <a:pt x="0" y="0"/>
                  </a:lnTo>
                  <a:lnTo>
                    <a:pt x="6" y="0"/>
                  </a:lnTo>
                  <a:lnTo>
                    <a:pt x="6" y="0"/>
                  </a:lnTo>
                  <a:lnTo>
                    <a:pt x="8" y="0"/>
                  </a:lnTo>
                  <a:lnTo>
                    <a:pt x="8" y="1"/>
                  </a:lnTo>
                  <a:lnTo>
                    <a:pt x="8" y="1"/>
                  </a:lnTo>
                  <a:lnTo>
                    <a:pt x="8" y="1"/>
                  </a:lnTo>
                  <a:lnTo>
                    <a:pt x="8" y="4"/>
                  </a:lnTo>
                  <a:lnTo>
                    <a:pt x="6" y="6"/>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50" name="Freeform 1527"/>
            <p:cNvSpPr>
              <a:spLocks/>
            </p:cNvSpPr>
            <p:nvPr/>
          </p:nvSpPr>
          <p:spPr bwMode="auto">
            <a:xfrm>
              <a:off x="8612188" y="4506914"/>
              <a:ext cx="12700" cy="9525"/>
            </a:xfrm>
            <a:custGeom>
              <a:avLst/>
              <a:gdLst>
                <a:gd name="T0" fmla="*/ 6 w 8"/>
                <a:gd name="T1" fmla="*/ 6 h 6"/>
                <a:gd name="T2" fmla="*/ 6 w 8"/>
                <a:gd name="T3" fmla="*/ 6 h 6"/>
                <a:gd name="T4" fmla="*/ 5 w 8"/>
                <a:gd name="T5" fmla="*/ 6 h 6"/>
                <a:gd name="T6" fmla="*/ 5 w 8"/>
                <a:gd name="T7" fmla="*/ 6 h 6"/>
                <a:gd name="T8" fmla="*/ 2 w 8"/>
                <a:gd name="T9" fmla="*/ 4 h 6"/>
                <a:gd name="T10" fmla="*/ 0 w 8"/>
                <a:gd name="T11" fmla="*/ 1 h 6"/>
                <a:gd name="T12" fmla="*/ 0 w 8"/>
                <a:gd name="T13" fmla="*/ 1 h 6"/>
                <a:gd name="T14" fmla="*/ 0 w 8"/>
                <a:gd name="T15" fmla="*/ 0 h 6"/>
                <a:gd name="T16" fmla="*/ 0 w 8"/>
                <a:gd name="T17" fmla="*/ 0 h 6"/>
                <a:gd name="T18" fmla="*/ 6 w 8"/>
                <a:gd name="T19" fmla="*/ 0 h 6"/>
                <a:gd name="T20" fmla="*/ 6 w 8"/>
                <a:gd name="T21" fmla="*/ 0 h 6"/>
                <a:gd name="T22" fmla="*/ 8 w 8"/>
                <a:gd name="T23" fmla="*/ 0 h 6"/>
                <a:gd name="T24" fmla="*/ 8 w 8"/>
                <a:gd name="T25" fmla="*/ 1 h 6"/>
                <a:gd name="T26" fmla="*/ 8 w 8"/>
                <a:gd name="T27" fmla="*/ 1 h 6"/>
                <a:gd name="T28" fmla="*/ 8 w 8"/>
                <a:gd name="T29" fmla="*/ 1 h 6"/>
                <a:gd name="T30" fmla="*/ 8 w 8"/>
                <a:gd name="T31" fmla="*/ 4 h 6"/>
                <a:gd name="T32" fmla="*/ 6 w 8"/>
                <a:gd name="T3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6" y="6"/>
                  </a:moveTo>
                  <a:lnTo>
                    <a:pt x="6" y="6"/>
                  </a:lnTo>
                  <a:lnTo>
                    <a:pt x="5" y="6"/>
                  </a:lnTo>
                  <a:lnTo>
                    <a:pt x="5" y="6"/>
                  </a:lnTo>
                  <a:lnTo>
                    <a:pt x="2" y="4"/>
                  </a:lnTo>
                  <a:lnTo>
                    <a:pt x="0" y="1"/>
                  </a:lnTo>
                  <a:lnTo>
                    <a:pt x="0" y="1"/>
                  </a:lnTo>
                  <a:lnTo>
                    <a:pt x="0" y="0"/>
                  </a:lnTo>
                  <a:lnTo>
                    <a:pt x="0" y="0"/>
                  </a:lnTo>
                  <a:lnTo>
                    <a:pt x="6" y="0"/>
                  </a:lnTo>
                  <a:lnTo>
                    <a:pt x="6" y="0"/>
                  </a:lnTo>
                  <a:lnTo>
                    <a:pt x="8" y="0"/>
                  </a:lnTo>
                  <a:lnTo>
                    <a:pt x="8" y="1"/>
                  </a:lnTo>
                  <a:lnTo>
                    <a:pt x="8" y="1"/>
                  </a:lnTo>
                  <a:lnTo>
                    <a:pt x="8" y="1"/>
                  </a:lnTo>
                  <a:lnTo>
                    <a:pt x="8" y="4"/>
                  </a:lnTo>
                  <a:lnTo>
                    <a:pt x="6"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51" name="Freeform 1528"/>
            <p:cNvSpPr>
              <a:spLocks/>
            </p:cNvSpPr>
            <p:nvPr/>
          </p:nvSpPr>
          <p:spPr bwMode="auto">
            <a:xfrm>
              <a:off x="8666163" y="4532314"/>
              <a:ext cx="15875" cy="11113"/>
            </a:xfrm>
            <a:custGeom>
              <a:avLst/>
              <a:gdLst>
                <a:gd name="T0" fmla="*/ 6 w 10"/>
                <a:gd name="T1" fmla="*/ 7 h 7"/>
                <a:gd name="T2" fmla="*/ 6 w 10"/>
                <a:gd name="T3" fmla="*/ 7 h 7"/>
                <a:gd name="T4" fmla="*/ 4 w 10"/>
                <a:gd name="T5" fmla="*/ 7 h 7"/>
                <a:gd name="T6" fmla="*/ 1 w 10"/>
                <a:gd name="T7" fmla="*/ 4 h 7"/>
                <a:gd name="T8" fmla="*/ 1 w 10"/>
                <a:gd name="T9" fmla="*/ 4 h 7"/>
                <a:gd name="T10" fmla="*/ 0 w 10"/>
                <a:gd name="T11" fmla="*/ 3 h 7"/>
                <a:gd name="T12" fmla="*/ 0 w 10"/>
                <a:gd name="T13" fmla="*/ 3 h 7"/>
                <a:gd name="T14" fmla="*/ 1 w 10"/>
                <a:gd name="T15" fmla="*/ 0 h 7"/>
                <a:gd name="T16" fmla="*/ 4 w 10"/>
                <a:gd name="T17" fmla="*/ 0 h 7"/>
                <a:gd name="T18" fmla="*/ 4 w 10"/>
                <a:gd name="T19" fmla="*/ 0 h 7"/>
                <a:gd name="T20" fmla="*/ 7 w 10"/>
                <a:gd name="T21" fmla="*/ 1 h 7"/>
                <a:gd name="T22" fmla="*/ 10 w 10"/>
                <a:gd name="T23" fmla="*/ 3 h 7"/>
                <a:gd name="T24" fmla="*/ 10 w 10"/>
                <a:gd name="T25" fmla="*/ 3 h 7"/>
                <a:gd name="T26" fmla="*/ 10 w 10"/>
                <a:gd name="T27" fmla="*/ 4 h 7"/>
                <a:gd name="T28" fmla="*/ 10 w 10"/>
                <a:gd name="T29" fmla="*/ 4 h 7"/>
                <a:gd name="T30" fmla="*/ 8 w 10"/>
                <a:gd name="T31" fmla="*/ 6 h 7"/>
                <a:gd name="T32" fmla="*/ 6 w 10"/>
                <a:gd name="T3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
                  <a:moveTo>
                    <a:pt x="6" y="7"/>
                  </a:moveTo>
                  <a:lnTo>
                    <a:pt x="6" y="7"/>
                  </a:lnTo>
                  <a:lnTo>
                    <a:pt x="4" y="7"/>
                  </a:lnTo>
                  <a:lnTo>
                    <a:pt x="1" y="4"/>
                  </a:lnTo>
                  <a:lnTo>
                    <a:pt x="1" y="4"/>
                  </a:lnTo>
                  <a:lnTo>
                    <a:pt x="0" y="3"/>
                  </a:lnTo>
                  <a:lnTo>
                    <a:pt x="0" y="3"/>
                  </a:lnTo>
                  <a:lnTo>
                    <a:pt x="1" y="0"/>
                  </a:lnTo>
                  <a:lnTo>
                    <a:pt x="4" y="0"/>
                  </a:lnTo>
                  <a:lnTo>
                    <a:pt x="4" y="0"/>
                  </a:lnTo>
                  <a:lnTo>
                    <a:pt x="7" y="1"/>
                  </a:lnTo>
                  <a:lnTo>
                    <a:pt x="10" y="3"/>
                  </a:lnTo>
                  <a:lnTo>
                    <a:pt x="10" y="3"/>
                  </a:lnTo>
                  <a:lnTo>
                    <a:pt x="10" y="4"/>
                  </a:lnTo>
                  <a:lnTo>
                    <a:pt x="10" y="4"/>
                  </a:lnTo>
                  <a:lnTo>
                    <a:pt x="8" y="6"/>
                  </a:lnTo>
                  <a:lnTo>
                    <a:pt x="6" y="7"/>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52" name="Freeform 1529"/>
            <p:cNvSpPr>
              <a:spLocks/>
            </p:cNvSpPr>
            <p:nvPr/>
          </p:nvSpPr>
          <p:spPr bwMode="auto">
            <a:xfrm>
              <a:off x="8666163" y="4532314"/>
              <a:ext cx="15875" cy="11113"/>
            </a:xfrm>
            <a:custGeom>
              <a:avLst/>
              <a:gdLst>
                <a:gd name="T0" fmla="*/ 6 w 10"/>
                <a:gd name="T1" fmla="*/ 7 h 7"/>
                <a:gd name="T2" fmla="*/ 6 w 10"/>
                <a:gd name="T3" fmla="*/ 7 h 7"/>
                <a:gd name="T4" fmla="*/ 4 w 10"/>
                <a:gd name="T5" fmla="*/ 7 h 7"/>
                <a:gd name="T6" fmla="*/ 1 w 10"/>
                <a:gd name="T7" fmla="*/ 4 h 7"/>
                <a:gd name="T8" fmla="*/ 1 w 10"/>
                <a:gd name="T9" fmla="*/ 4 h 7"/>
                <a:gd name="T10" fmla="*/ 0 w 10"/>
                <a:gd name="T11" fmla="*/ 3 h 7"/>
                <a:gd name="T12" fmla="*/ 0 w 10"/>
                <a:gd name="T13" fmla="*/ 3 h 7"/>
                <a:gd name="T14" fmla="*/ 1 w 10"/>
                <a:gd name="T15" fmla="*/ 0 h 7"/>
                <a:gd name="T16" fmla="*/ 4 w 10"/>
                <a:gd name="T17" fmla="*/ 0 h 7"/>
                <a:gd name="T18" fmla="*/ 4 w 10"/>
                <a:gd name="T19" fmla="*/ 0 h 7"/>
                <a:gd name="T20" fmla="*/ 7 w 10"/>
                <a:gd name="T21" fmla="*/ 1 h 7"/>
                <a:gd name="T22" fmla="*/ 10 w 10"/>
                <a:gd name="T23" fmla="*/ 3 h 7"/>
                <a:gd name="T24" fmla="*/ 10 w 10"/>
                <a:gd name="T25" fmla="*/ 3 h 7"/>
                <a:gd name="T26" fmla="*/ 10 w 10"/>
                <a:gd name="T27" fmla="*/ 4 h 7"/>
                <a:gd name="T28" fmla="*/ 10 w 10"/>
                <a:gd name="T29" fmla="*/ 4 h 7"/>
                <a:gd name="T30" fmla="*/ 8 w 10"/>
                <a:gd name="T31" fmla="*/ 6 h 7"/>
                <a:gd name="T32" fmla="*/ 6 w 10"/>
                <a:gd name="T3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
                  <a:moveTo>
                    <a:pt x="6" y="7"/>
                  </a:moveTo>
                  <a:lnTo>
                    <a:pt x="6" y="7"/>
                  </a:lnTo>
                  <a:lnTo>
                    <a:pt x="4" y="7"/>
                  </a:lnTo>
                  <a:lnTo>
                    <a:pt x="1" y="4"/>
                  </a:lnTo>
                  <a:lnTo>
                    <a:pt x="1" y="4"/>
                  </a:lnTo>
                  <a:lnTo>
                    <a:pt x="0" y="3"/>
                  </a:lnTo>
                  <a:lnTo>
                    <a:pt x="0" y="3"/>
                  </a:lnTo>
                  <a:lnTo>
                    <a:pt x="1" y="0"/>
                  </a:lnTo>
                  <a:lnTo>
                    <a:pt x="4" y="0"/>
                  </a:lnTo>
                  <a:lnTo>
                    <a:pt x="4" y="0"/>
                  </a:lnTo>
                  <a:lnTo>
                    <a:pt x="7" y="1"/>
                  </a:lnTo>
                  <a:lnTo>
                    <a:pt x="10" y="3"/>
                  </a:lnTo>
                  <a:lnTo>
                    <a:pt x="10" y="3"/>
                  </a:lnTo>
                  <a:lnTo>
                    <a:pt x="10" y="4"/>
                  </a:lnTo>
                  <a:lnTo>
                    <a:pt x="10" y="4"/>
                  </a:lnTo>
                  <a:lnTo>
                    <a:pt x="8" y="6"/>
                  </a:lnTo>
                  <a:lnTo>
                    <a:pt x="6"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53" name="Freeform 1530"/>
            <p:cNvSpPr>
              <a:spLocks/>
            </p:cNvSpPr>
            <p:nvPr/>
          </p:nvSpPr>
          <p:spPr bwMode="auto">
            <a:xfrm>
              <a:off x="8016875" y="4368801"/>
              <a:ext cx="7938" cy="6350"/>
            </a:xfrm>
            <a:custGeom>
              <a:avLst/>
              <a:gdLst>
                <a:gd name="T0" fmla="*/ 3 w 5"/>
                <a:gd name="T1" fmla="*/ 4 h 4"/>
                <a:gd name="T2" fmla="*/ 3 w 5"/>
                <a:gd name="T3" fmla="*/ 4 h 4"/>
                <a:gd name="T4" fmla="*/ 2 w 5"/>
                <a:gd name="T5" fmla="*/ 4 h 4"/>
                <a:gd name="T6" fmla="*/ 0 w 5"/>
                <a:gd name="T7" fmla="*/ 1 h 4"/>
                <a:gd name="T8" fmla="*/ 0 w 5"/>
                <a:gd name="T9" fmla="*/ 1 h 4"/>
                <a:gd name="T10" fmla="*/ 2 w 5"/>
                <a:gd name="T11" fmla="*/ 0 h 4"/>
                <a:gd name="T12" fmla="*/ 2 w 5"/>
                <a:gd name="T13" fmla="*/ 0 h 4"/>
                <a:gd name="T14" fmla="*/ 3 w 5"/>
                <a:gd name="T15" fmla="*/ 0 h 4"/>
                <a:gd name="T16" fmla="*/ 3 w 5"/>
                <a:gd name="T17" fmla="*/ 0 h 4"/>
                <a:gd name="T18" fmla="*/ 5 w 5"/>
                <a:gd name="T19" fmla="*/ 0 h 4"/>
                <a:gd name="T20" fmla="*/ 5 w 5"/>
                <a:gd name="T21" fmla="*/ 1 h 4"/>
                <a:gd name="T22" fmla="*/ 5 w 5"/>
                <a:gd name="T23" fmla="*/ 1 h 4"/>
                <a:gd name="T24" fmla="*/ 3 w 5"/>
                <a:gd name="T25" fmla="*/ 4 h 4"/>
                <a:gd name="T26" fmla="*/ 3 w 5"/>
                <a:gd name="T27" fmla="*/ 4 h 4"/>
                <a:gd name="T28" fmla="*/ 3 w 5"/>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4">
                  <a:moveTo>
                    <a:pt x="3" y="4"/>
                  </a:moveTo>
                  <a:lnTo>
                    <a:pt x="3" y="4"/>
                  </a:lnTo>
                  <a:lnTo>
                    <a:pt x="2" y="4"/>
                  </a:lnTo>
                  <a:lnTo>
                    <a:pt x="0" y="1"/>
                  </a:lnTo>
                  <a:lnTo>
                    <a:pt x="0" y="1"/>
                  </a:lnTo>
                  <a:lnTo>
                    <a:pt x="2" y="0"/>
                  </a:lnTo>
                  <a:lnTo>
                    <a:pt x="2" y="0"/>
                  </a:lnTo>
                  <a:lnTo>
                    <a:pt x="3" y="0"/>
                  </a:lnTo>
                  <a:lnTo>
                    <a:pt x="3" y="0"/>
                  </a:lnTo>
                  <a:lnTo>
                    <a:pt x="5" y="0"/>
                  </a:lnTo>
                  <a:lnTo>
                    <a:pt x="5" y="1"/>
                  </a:lnTo>
                  <a:lnTo>
                    <a:pt x="5" y="1"/>
                  </a:lnTo>
                  <a:lnTo>
                    <a:pt x="3" y="4"/>
                  </a:lnTo>
                  <a:lnTo>
                    <a:pt x="3" y="4"/>
                  </a:lnTo>
                  <a:lnTo>
                    <a:pt x="3" y="4"/>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54" name="Freeform 1531"/>
            <p:cNvSpPr>
              <a:spLocks/>
            </p:cNvSpPr>
            <p:nvPr/>
          </p:nvSpPr>
          <p:spPr bwMode="auto">
            <a:xfrm>
              <a:off x="8016875" y="4368801"/>
              <a:ext cx="7938" cy="6350"/>
            </a:xfrm>
            <a:custGeom>
              <a:avLst/>
              <a:gdLst>
                <a:gd name="T0" fmla="*/ 3 w 5"/>
                <a:gd name="T1" fmla="*/ 4 h 4"/>
                <a:gd name="T2" fmla="*/ 3 w 5"/>
                <a:gd name="T3" fmla="*/ 4 h 4"/>
                <a:gd name="T4" fmla="*/ 2 w 5"/>
                <a:gd name="T5" fmla="*/ 4 h 4"/>
                <a:gd name="T6" fmla="*/ 0 w 5"/>
                <a:gd name="T7" fmla="*/ 1 h 4"/>
                <a:gd name="T8" fmla="*/ 0 w 5"/>
                <a:gd name="T9" fmla="*/ 1 h 4"/>
                <a:gd name="T10" fmla="*/ 2 w 5"/>
                <a:gd name="T11" fmla="*/ 0 h 4"/>
                <a:gd name="T12" fmla="*/ 2 w 5"/>
                <a:gd name="T13" fmla="*/ 0 h 4"/>
                <a:gd name="T14" fmla="*/ 3 w 5"/>
                <a:gd name="T15" fmla="*/ 0 h 4"/>
                <a:gd name="T16" fmla="*/ 3 w 5"/>
                <a:gd name="T17" fmla="*/ 0 h 4"/>
                <a:gd name="T18" fmla="*/ 5 w 5"/>
                <a:gd name="T19" fmla="*/ 0 h 4"/>
                <a:gd name="T20" fmla="*/ 5 w 5"/>
                <a:gd name="T21" fmla="*/ 1 h 4"/>
                <a:gd name="T22" fmla="*/ 5 w 5"/>
                <a:gd name="T23" fmla="*/ 1 h 4"/>
                <a:gd name="T24" fmla="*/ 3 w 5"/>
                <a:gd name="T25" fmla="*/ 4 h 4"/>
                <a:gd name="T26" fmla="*/ 3 w 5"/>
                <a:gd name="T27" fmla="*/ 4 h 4"/>
                <a:gd name="T28" fmla="*/ 3 w 5"/>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4">
                  <a:moveTo>
                    <a:pt x="3" y="4"/>
                  </a:moveTo>
                  <a:lnTo>
                    <a:pt x="3" y="4"/>
                  </a:lnTo>
                  <a:lnTo>
                    <a:pt x="2" y="4"/>
                  </a:lnTo>
                  <a:lnTo>
                    <a:pt x="0" y="1"/>
                  </a:lnTo>
                  <a:lnTo>
                    <a:pt x="0" y="1"/>
                  </a:lnTo>
                  <a:lnTo>
                    <a:pt x="2" y="0"/>
                  </a:lnTo>
                  <a:lnTo>
                    <a:pt x="2" y="0"/>
                  </a:lnTo>
                  <a:lnTo>
                    <a:pt x="3" y="0"/>
                  </a:lnTo>
                  <a:lnTo>
                    <a:pt x="3" y="0"/>
                  </a:lnTo>
                  <a:lnTo>
                    <a:pt x="5" y="0"/>
                  </a:lnTo>
                  <a:lnTo>
                    <a:pt x="5" y="1"/>
                  </a:lnTo>
                  <a:lnTo>
                    <a:pt x="5" y="1"/>
                  </a:lnTo>
                  <a:lnTo>
                    <a:pt x="3" y="4"/>
                  </a:lnTo>
                  <a:lnTo>
                    <a:pt x="3" y="4"/>
                  </a:lnTo>
                  <a:lnTo>
                    <a:pt x="3"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55" name="Freeform 1532"/>
            <p:cNvSpPr>
              <a:spLocks/>
            </p:cNvSpPr>
            <p:nvPr/>
          </p:nvSpPr>
          <p:spPr bwMode="auto">
            <a:xfrm>
              <a:off x="8053388" y="4313239"/>
              <a:ext cx="12700" cy="9525"/>
            </a:xfrm>
            <a:custGeom>
              <a:avLst/>
              <a:gdLst>
                <a:gd name="T0" fmla="*/ 5 w 8"/>
                <a:gd name="T1" fmla="*/ 6 h 6"/>
                <a:gd name="T2" fmla="*/ 5 w 8"/>
                <a:gd name="T3" fmla="*/ 6 h 6"/>
                <a:gd name="T4" fmla="*/ 2 w 8"/>
                <a:gd name="T5" fmla="*/ 5 h 6"/>
                <a:gd name="T6" fmla="*/ 0 w 8"/>
                <a:gd name="T7" fmla="*/ 3 h 6"/>
                <a:gd name="T8" fmla="*/ 0 w 8"/>
                <a:gd name="T9" fmla="*/ 3 h 6"/>
                <a:gd name="T10" fmla="*/ 2 w 8"/>
                <a:gd name="T11" fmla="*/ 2 h 6"/>
                <a:gd name="T12" fmla="*/ 2 w 8"/>
                <a:gd name="T13" fmla="*/ 2 h 6"/>
                <a:gd name="T14" fmla="*/ 3 w 8"/>
                <a:gd name="T15" fmla="*/ 0 h 6"/>
                <a:gd name="T16" fmla="*/ 3 w 8"/>
                <a:gd name="T17" fmla="*/ 0 h 6"/>
                <a:gd name="T18" fmla="*/ 6 w 8"/>
                <a:gd name="T19" fmla="*/ 2 h 6"/>
                <a:gd name="T20" fmla="*/ 8 w 8"/>
                <a:gd name="T21" fmla="*/ 3 h 6"/>
                <a:gd name="T22" fmla="*/ 8 w 8"/>
                <a:gd name="T23" fmla="*/ 3 h 6"/>
                <a:gd name="T24" fmla="*/ 8 w 8"/>
                <a:gd name="T25" fmla="*/ 5 h 6"/>
                <a:gd name="T26" fmla="*/ 8 w 8"/>
                <a:gd name="T27" fmla="*/ 5 h 6"/>
                <a:gd name="T28" fmla="*/ 5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5" y="6"/>
                  </a:moveTo>
                  <a:lnTo>
                    <a:pt x="5" y="6"/>
                  </a:lnTo>
                  <a:lnTo>
                    <a:pt x="2" y="5"/>
                  </a:lnTo>
                  <a:lnTo>
                    <a:pt x="0" y="3"/>
                  </a:lnTo>
                  <a:lnTo>
                    <a:pt x="0" y="3"/>
                  </a:lnTo>
                  <a:lnTo>
                    <a:pt x="2" y="2"/>
                  </a:lnTo>
                  <a:lnTo>
                    <a:pt x="2" y="2"/>
                  </a:lnTo>
                  <a:lnTo>
                    <a:pt x="3" y="0"/>
                  </a:lnTo>
                  <a:lnTo>
                    <a:pt x="3" y="0"/>
                  </a:lnTo>
                  <a:lnTo>
                    <a:pt x="6" y="2"/>
                  </a:lnTo>
                  <a:lnTo>
                    <a:pt x="8" y="3"/>
                  </a:lnTo>
                  <a:lnTo>
                    <a:pt x="8" y="3"/>
                  </a:lnTo>
                  <a:lnTo>
                    <a:pt x="8" y="5"/>
                  </a:lnTo>
                  <a:lnTo>
                    <a:pt x="8" y="5"/>
                  </a:lnTo>
                  <a:lnTo>
                    <a:pt x="5" y="6"/>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56" name="Freeform 1533"/>
            <p:cNvSpPr>
              <a:spLocks/>
            </p:cNvSpPr>
            <p:nvPr/>
          </p:nvSpPr>
          <p:spPr bwMode="auto">
            <a:xfrm>
              <a:off x="8053388" y="4313239"/>
              <a:ext cx="12700" cy="9525"/>
            </a:xfrm>
            <a:custGeom>
              <a:avLst/>
              <a:gdLst>
                <a:gd name="T0" fmla="*/ 5 w 8"/>
                <a:gd name="T1" fmla="*/ 6 h 6"/>
                <a:gd name="T2" fmla="*/ 5 w 8"/>
                <a:gd name="T3" fmla="*/ 6 h 6"/>
                <a:gd name="T4" fmla="*/ 2 w 8"/>
                <a:gd name="T5" fmla="*/ 5 h 6"/>
                <a:gd name="T6" fmla="*/ 0 w 8"/>
                <a:gd name="T7" fmla="*/ 3 h 6"/>
                <a:gd name="T8" fmla="*/ 0 w 8"/>
                <a:gd name="T9" fmla="*/ 3 h 6"/>
                <a:gd name="T10" fmla="*/ 2 w 8"/>
                <a:gd name="T11" fmla="*/ 2 h 6"/>
                <a:gd name="T12" fmla="*/ 2 w 8"/>
                <a:gd name="T13" fmla="*/ 2 h 6"/>
                <a:gd name="T14" fmla="*/ 3 w 8"/>
                <a:gd name="T15" fmla="*/ 0 h 6"/>
                <a:gd name="T16" fmla="*/ 3 w 8"/>
                <a:gd name="T17" fmla="*/ 0 h 6"/>
                <a:gd name="T18" fmla="*/ 6 w 8"/>
                <a:gd name="T19" fmla="*/ 2 h 6"/>
                <a:gd name="T20" fmla="*/ 8 w 8"/>
                <a:gd name="T21" fmla="*/ 3 h 6"/>
                <a:gd name="T22" fmla="*/ 8 w 8"/>
                <a:gd name="T23" fmla="*/ 3 h 6"/>
                <a:gd name="T24" fmla="*/ 8 w 8"/>
                <a:gd name="T25" fmla="*/ 5 h 6"/>
                <a:gd name="T26" fmla="*/ 8 w 8"/>
                <a:gd name="T27" fmla="*/ 5 h 6"/>
                <a:gd name="T28" fmla="*/ 5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5" y="6"/>
                  </a:moveTo>
                  <a:lnTo>
                    <a:pt x="5" y="6"/>
                  </a:lnTo>
                  <a:lnTo>
                    <a:pt x="2" y="5"/>
                  </a:lnTo>
                  <a:lnTo>
                    <a:pt x="0" y="3"/>
                  </a:lnTo>
                  <a:lnTo>
                    <a:pt x="0" y="3"/>
                  </a:lnTo>
                  <a:lnTo>
                    <a:pt x="2" y="2"/>
                  </a:lnTo>
                  <a:lnTo>
                    <a:pt x="2" y="2"/>
                  </a:lnTo>
                  <a:lnTo>
                    <a:pt x="3" y="0"/>
                  </a:lnTo>
                  <a:lnTo>
                    <a:pt x="3" y="0"/>
                  </a:lnTo>
                  <a:lnTo>
                    <a:pt x="6" y="2"/>
                  </a:lnTo>
                  <a:lnTo>
                    <a:pt x="8" y="3"/>
                  </a:lnTo>
                  <a:lnTo>
                    <a:pt x="8" y="3"/>
                  </a:lnTo>
                  <a:lnTo>
                    <a:pt x="8" y="5"/>
                  </a:lnTo>
                  <a:lnTo>
                    <a:pt x="8" y="5"/>
                  </a:lnTo>
                  <a:lnTo>
                    <a:pt x="5"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57" name="Freeform 1534"/>
            <p:cNvSpPr>
              <a:spLocks/>
            </p:cNvSpPr>
            <p:nvPr/>
          </p:nvSpPr>
          <p:spPr bwMode="auto">
            <a:xfrm>
              <a:off x="8061325" y="4244976"/>
              <a:ext cx="6350" cy="6350"/>
            </a:xfrm>
            <a:custGeom>
              <a:avLst/>
              <a:gdLst>
                <a:gd name="T0" fmla="*/ 3 w 4"/>
                <a:gd name="T1" fmla="*/ 4 h 4"/>
                <a:gd name="T2" fmla="*/ 3 w 4"/>
                <a:gd name="T3" fmla="*/ 4 h 4"/>
                <a:gd name="T4" fmla="*/ 1 w 4"/>
                <a:gd name="T5" fmla="*/ 3 h 4"/>
                <a:gd name="T6" fmla="*/ 0 w 4"/>
                <a:gd name="T7" fmla="*/ 1 h 4"/>
                <a:gd name="T8" fmla="*/ 0 w 4"/>
                <a:gd name="T9" fmla="*/ 1 h 4"/>
                <a:gd name="T10" fmla="*/ 0 w 4"/>
                <a:gd name="T11" fmla="*/ 0 h 4"/>
                <a:gd name="T12" fmla="*/ 0 w 4"/>
                <a:gd name="T13" fmla="*/ 0 h 4"/>
                <a:gd name="T14" fmla="*/ 1 w 4"/>
                <a:gd name="T15" fmla="*/ 0 h 4"/>
                <a:gd name="T16" fmla="*/ 1 w 4"/>
                <a:gd name="T17" fmla="*/ 0 h 4"/>
                <a:gd name="T18" fmla="*/ 3 w 4"/>
                <a:gd name="T19" fmla="*/ 0 h 4"/>
                <a:gd name="T20" fmla="*/ 4 w 4"/>
                <a:gd name="T21" fmla="*/ 3 h 4"/>
                <a:gd name="T22" fmla="*/ 4 w 4"/>
                <a:gd name="T23" fmla="*/ 3 h 4"/>
                <a:gd name="T24" fmla="*/ 4 w 4"/>
                <a:gd name="T25" fmla="*/ 3 h 4"/>
                <a:gd name="T26" fmla="*/ 4 w 4"/>
                <a:gd name="T27" fmla="*/ 3 h 4"/>
                <a:gd name="T28" fmla="*/ 3 w 4"/>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4">
                  <a:moveTo>
                    <a:pt x="3" y="4"/>
                  </a:moveTo>
                  <a:lnTo>
                    <a:pt x="3" y="4"/>
                  </a:lnTo>
                  <a:lnTo>
                    <a:pt x="1" y="3"/>
                  </a:lnTo>
                  <a:lnTo>
                    <a:pt x="0" y="1"/>
                  </a:lnTo>
                  <a:lnTo>
                    <a:pt x="0" y="1"/>
                  </a:lnTo>
                  <a:lnTo>
                    <a:pt x="0" y="0"/>
                  </a:lnTo>
                  <a:lnTo>
                    <a:pt x="0" y="0"/>
                  </a:lnTo>
                  <a:lnTo>
                    <a:pt x="1" y="0"/>
                  </a:lnTo>
                  <a:lnTo>
                    <a:pt x="1" y="0"/>
                  </a:lnTo>
                  <a:lnTo>
                    <a:pt x="3" y="0"/>
                  </a:lnTo>
                  <a:lnTo>
                    <a:pt x="4" y="3"/>
                  </a:lnTo>
                  <a:lnTo>
                    <a:pt x="4" y="3"/>
                  </a:lnTo>
                  <a:lnTo>
                    <a:pt x="4" y="3"/>
                  </a:lnTo>
                  <a:lnTo>
                    <a:pt x="4" y="3"/>
                  </a:lnTo>
                  <a:lnTo>
                    <a:pt x="3" y="4"/>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58" name="Freeform 1535"/>
            <p:cNvSpPr>
              <a:spLocks/>
            </p:cNvSpPr>
            <p:nvPr/>
          </p:nvSpPr>
          <p:spPr bwMode="auto">
            <a:xfrm>
              <a:off x="8061325" y="4244976"/>
              <a:ext cx="6350" cy="6350"/>
            </a:xfrm>
            <a:custGeom>
              <a:avLst/>
              <a:gdLst>
                <a:gd name="T0" fmla="*/ 3 w 4"/>
                <a:gd name="T1" fmla="*/ 4 h 4"/>
                <a:gd name="T2" fmla="*/ 3 w 4"/>
                <a:gd name="T3" fmla="*/ 4 h 4"/>
                <a:gd name="T4" fmla="*/ 1 w 4"/>
                <a:gd name="T5" fmla="*/ 3 h 4"/>
                <a:gd name="T6" fmla="*/ 0 w 4"/>
                <a:gd name="T7" fmla="*/ 1 h 4"/>
                <a:gd name="T8" fmla="*/ 0 w 4"/>
                <a:gd name="T9" fmla="*/ 1 h 4"/>
                <a:gd name="T10" fmla="*/ 0 w 4"/>
                <a:gd name="T11" fmla="*/ 0 h 4"/>
                <a:gd name="T12" fmla="*/ 0 w 4"/>
                <a:gd name="T13" fmla="*/ 0 h 4"/>
                <a:gd name="T14" fmla="*/ 1 w 4"/>
                <a:gd name="T15" fmla="*/ 0 h 4"/>
                <a:gd name="T16" fmla="*/ 1 w 4"/>
                <a:gd name="T17" fmla="*/ 0 h 4"/>
                <a:gd name="T18" fmla="*/ 3 w 4"/>
                <a:gd name="T19" fmla="*/ 0 h 4"/>
                <a:gd name="T20" fmla="*/ 4 w 4"/>
                <a:gd name="T21" fmla="*/ 3 h 4"/>
                <a:gd name="T22" fmla="*/ 4 w 4"/>
                <a:gd name="T23" fmla="*/ 3 h 4"/>
                <a:gd name="T24" fmla="*/ 4 w 4"/>
                <a:gd name="T25" fmla="*/ 3 h 4"/>
                <a:gd name="T26" fmla="*/ 4 w 4"/>
                <a:gd name="T27" fmla="*/ 3 h 4"/>
                <a:gd name="T28" fmla="*/ 3 w 4"/>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4">
                  <a:moveTo>
                    <a:pt x="3" y="4"/>
                  </a:moveTo>
                  <a:lnTo>
                    <a:pt x="3" y="4"/>
                  </a:lnTo>
                  <a:lnTo>
                    <a:pt x="1" y="3"/>
                  </a:lnTo>
                  <a:lnTo>
                    <a:pt x="0" y="1"/>
                  </a:lnTo>
                  <a:lnTo>
                    <a:pt x="0" y="1"/>
                  </a:lnTo>
                  <a:lnTo>
                    <a:pt x="0" y="0"/>
                  </a:lnTo>
                  <a:lnTo>
                    <a:pt x="0" y="0"/>
                  </a:lnTo>
                  <a:lnTo>
                    <a:pt x="1" y="0"/>
                  </a:lnTo>
                  <a:lnTo>
                    <a:pt x="1" y="0"/>
                  </a:lnTo>
                  <a:lnTo>
                    <a:pt x="3" y="0"/>
                  </a:lnTo>
                  <a:lnTo>
                    <a:pt x="4" y="3"/>
                  </a:lnTo>
                  <a:lnTo>
                    <a:pt x="4" y="3"/>
                  </a:lnTo>
                  <a:lnTo>
                    <a:pt x="4" y="3"/>
                  </a:lnTo>
                  <a:lnTo>
                    <a:pt x="4" y="3"/>
                  </a:lnTo>
                  <a:lnTo>
                    <a:pt x="3"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59" name="Freeform 1536"/>
            <p:cNvSpPr>
              <a:spLocks/>
            </p:cNvSpPr>
            <p:nvPr/>
          </p:nvSpPr>
          <p:spPr bwMode="auto">
            <a:xfrm>
              <a:off x="7743825" y="4521201"/>
              <a:ext cx="9525" cy="7938"/>
            </a:xfrm>
            <a:custGeom>
              <a:avLst/>
              <a:gdLst>
                <a:gd name="T0" fmla="*/ 3 w 6"/>
                <a:gd name="T1" fmla="*/ 5 h 5"/>
                <a:gd name="T2" fmla="*/ 3 w 6"/>
                <a:gd name="T3" fmla="*/ 5 h 5"/>
                <a:gd name="T4" fmla="*/ 1 w 6"/>
                <a:gd name="T5" fmla="*/ 4 h 5"/>
                <a:gd name="T6" fmla="*/ 0 w 6"/>
                <a:gd name="T7" fmla="*/ 1 h 5"/>
                <a:gd name="T8" fmla="*/ 0 w 6"/>
                <a:gd name="T9" fmla="*/ 1 h 5"/>
                <a:gd name="T10" fmla="*/ 0 w 6"/>
                <a:gd name="T11" fmla="*/ 0 h 5"/>
                <a:gd name="T12" fmla="*/ 1 w 6"/>
                <a:gd name="T13" fmla="*/ 0 h 5"/>
                <a:gd name="T14" fmla="*/ 1 w 6"/>
                <a:gd name="T15" fmla="*/ 0 h 5"/>
                <a:gd name="T16" fmla="*/ 3 w 6"/>
                <a:gd name="T17" fmla="*/ 0 h 5"/>
                <a:gd name="T18" fmla="*/ 3 w 6"/>
                <a:gd name="T19" fmla="*/ 0 h 5"/>
                <a:gd name="T20" fmla="*/ 4 w 6"/>
                <a:gd name="T21" fmla="*/ 0 h 5"/>
                <a:gd name="T22" fmla="*/ 6 w 6"/>
                <a:gd name="T23" fmla="*/ 3 h 5"/>
                <a:gd name="T24" fmla="*/ 6 w 6"/>
                <a:gd name="T25" fmla="*/ 3 h 5"/>
                <a:gd name="T26" fmla="*/ 6 w 6"/>
                <a:gd name="T27" fmla="*/ 4 h 5"/>
                <a:gd name="T28" fmla="*/ 3 w 6"/>
                <a:gd name="T29" fmla="*/ 5 h 5"/>
                <a:gd name="T30" fmla="*/ 3 w 6"/>
                <a:gd name="T31" fmla="*/ 5 h 5"/>
                <a:gd name="T32" fmla="*/ 3 w 6"/>
                <a:gd name="T3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5">
                  <a:moveTo>
                    <a:pt x="3" y="5"/>
                  </a:moveTo>
                  <a:lnTo>
                    <a:pt x="3" y="5"/>
                  </a:lnTo>
                  <a:lnTo>
                    <a:pt x="1" y="4"/>
                  </a:lnTo>
                  <a:lnTo>
                    <a:pt x="0" y="1"/>
                  </a:lnTo>
                  <a:lnTo>
                    <a:pt x="0" y="1"/>
                  </a:lnTo>
                  <a:lnTo>
                    <a:pt x="0" y="0"/>
                  </a:lnTo>
                  <a:lnTo>
                    <a:pt x="1" y="0"/>
                  </a:lnTo>
                  <a:lnTo>
                    <a:pt x="1" y="0"/>
                  </a:lnTo>
                  <a:lnTo>
                    <a:pt x="3" y="0"/>
                  </a:lnTo>
                  <a:lnTo>
                    <a:pt x="3" y="0"/>
                  </a:lnTo>
                  <a:lnTo>
                    <a:pt x="4" y="0"/>
                  </a:lnTo>
                  <a:lnTo>
                    <a:pt x="6" y="3"/>
                  </a:lnTo>
                  <a:lnTo>
                    <a:pt x="6" y="3"/>
                  </a:lnTo>
                  <a:lnTo>
                    <a:pt x="6" y="4"/>
                  </a:lnTo>
                  <a:lnTo>
                    <a:pt x="3" y="5"/>
                  </a:lnTo>
                  <a:lnTo>
                    <a:pt x="3" y="5"/>
                  </a:lnTo>
                  <a:lnTo>
                    <a:pt x="3" y="5"/>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60" name="Freeform 1537"/>
            <p:cNvSpPr>
              <a:spLocks/>
            </p:cNvSpPr>
            <p:nvPr/>
          </p:nvSpPr>
          <p:spPr bwMode="auto">
            <a:xfrm>
              <a:off x="7743825" y="4521201"/>
              <a:ext cx="9525" cy="7938"/>
            </a:xfrm>
            <a:custGeom>
              <a:avLst/>
              <a:gdLst>
                <a:gd name="T0" fmla="*/ 3 w 6"/>
                <a:gd name="T1" fmla="*/ 5 h 5"/>
                <a:gd name="T2" fmla="*/ 3 w 6"/>
                <a:gd name="T3" fmla="*/ 5 h 5"/>
                <a:gd name="T4" fmla="*/ 1 w 6"/>
                <a:gd name="T5" fmla="*/ 4 h 5"/>
                <a:gd name="T6" fmla="*/ 0 w 6"/>
                <a:gd name="T7" fmla="*/ 1 h 5"/>
                <a:gd name="T8" fmla="*/ 0 w 6"/>
                <a:gd name="T9" fmla="*/ 1 h 5"/>
                <a:gd name="T10" fmla="*/ 0 w 6"/>
                <a:gd name="T11" fmla="*/ 0 h 5"/>
                <a:gd name="T12" fmla="*/ 1 w 6"/>
                <a:gd name="T13" fmla="*/ 0 h 5"/>
                <a:gd name="T14" fmla="*/ 1 w 6"/>
                <a:gd name="T15" fmla="*/ 0 h 5"/>
                <a:gd name="T16" fmla="*/ 3 w 6"/>
                <a:gd name="T17" fmla="*/ 0 h 5"/>
                <a:gd name="T18" fmla="*/ 3 w 6"/>
                <a:gd name="T19" fmla="*/ 0 h 5"/>
                <a:gd name="T20" fmla="*/ 4 w 6"/>
                <a:gd name="T21" fmla="*/ 0 h 5"/>
                <a:gd name="T22" fmla="*/ 6 w 6"/>
                <a:gd name="T23" fmla="*/ 3 h 5"/>
                <a:gd name="T24" fmla="*/ 6 w 6"/>
                <a:gd name="T25" fmla="*/ 3 h 5"/>
                <a:gd name="T26" fmla="*/ 6 w 6"/>
                <a:gd name="T27" fmla="*/ 4 h 5"/>
                <a:gd name="T28" fmla="*/ 3 w 6"/>
                <a:gd name="T29" fmla="*/ 5 h 5"/>
                <a:gd name="T30" fmla="*/ 3 w 6"/>
                <a:gd name="T31" fmla="*/ 5 h 5"/>
                <a:gd name="T32" fmla="*/ 3 w 6"/>
                <a:gd name="T3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5">
                  <a:moveTo>
                    <a:pt x="3" y="5"/>
                  </a:moveTo>
                  <a:lnTo>
                    <a:pt x="3" y="5"/>
                  </a:lnTo>
                  <a:lnTo>
                    <a:pt x="1" y="4"/>
                  </a:lnTo>
                  <a:lnTo>
                    <a:pt x="0" y="1"/>
                  </a:lnTo>
                  <a:lnTo>
                    <a:pt x="0" y="1"/>
                  </a:lnTo>
                  <a:lnTo>
                    <a:pt x="0" y="0"/>
                  </a:lnTo>
                  <a:lnTo>
                    <a:pt x="1" y="0"/>
                  </a:lnTo>
                  <a:lnTo>
                    <a:pt x="1" y="0"/>
                  </a:lnTo>
                  <a:lnTo>
                    <a:pt x="3" y="0"/>
                  </a:lnTo>
                  <a:lnTo>
                    <a:pt x="3" y="0"/>
                  </a:lnTo>
                  <a:lnTo>
                    <a:pt x="4" y="0"/>
                  </a:lnTo>
                  <a:lnTo>
                    <a:pt x="6" y="3"/>
                  </a:lnTo>
                  <a:lnTo>
                    <a:pt x="6" y="3"/>
                  </a:lnTo>
                  <a:lnTo>
                    <a:pt x="6" y="4"/>
                  </a:lnTo>
                  <a:lnTo>
                    <a:pt x="3" y="5"/>
                  </a:lnTo>
                  <a:lnTo>
                    <a:pt x="3" y="5"/>
                  </a:lnTo>
                  <a:lnTo>
                    <a:pt x="3"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61" name="Freeform 1538"/>
            <p:cNvSpPr>
              <a:spLocks/>
            </p:cNvSpPr>
            <p:nvPr/>
          </p:nvSpPr>
          <p:spPr bwMode="auto">
            <a:xfrm>
              <a:off x="8343900" y="4533901"/>
              <a:ext cx="6350" cy="7938"/>
            </a:xfrm>
            <a:custGeom>
              <a:avLst/>
              <a:gdLst>
                <a:gd name="T0" fmla="*/ 3 w 4"/>
                <a:gd name="T1" fmla="*/ 5 h 5"/>
                <a:gd name="T2" fmla="*/ 3 w 4"/>
                <a:gd name="T3" fmla="*/ 5 h 5"/>
                <a:gd name="T4" fmla="*/ 1 w 4"/>
                <a:gd name="T5" fmla="*/ 5 h 5"/>
                <a:gd name="T6" fmla="*/ 0 w 4"/>
                <a:gd name="T7" fmla="*/ 3 h 5"/>
                <a:gd name="T8" fmla="*/ 0 w 4"/>
                <a:gd name="T9" fmla="*/ 0 h 5"/>
                <a:gd name="T10" fmla="*/ 1 w 4"/>
                <a:gd name="T11" fmla="*/ 0 h 5"/>
                <a:gd name="T12" fmla="*/ 1 w 4"/>
                <a:gd name="T13" fmla="*/ 0 h 5"/>
                <a:gd name="T14" fmla="*/ 3 w 4"/>
                <a:gd name="T15" fmla="*/ 0 h 5"/>
                <a:gd name="T16" fmla="*/ 4 w 4"/>
                <a:gd name="T17" fmla="*/ 2 h 5"/>
                <a:gd name="T18" fmla="*/ 4 w 4"/>
                <a:gd name="T19" fmla="*/ 3 h 5"/>
                <a:gd name="T20" fmla="*/ 3 w 4"/>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5">
                  <a:moveTo>
                    <a:pt x="3" y="5"/>
                  </a:moveTo>
                  <a:lnTo>
                    <a:pt x="3" y="5"/>
                  </a:lnTo>
                  <a:lnTo>
                    <a:pt x="1" y="5"/>
                  </a:lnTo>
                  <a:lnTo>
                    <a:pt x="0" y="3"/>
                  </a:lnTo>
                  <a:lnTo>
                    <a:pt x="0" y="0"/>
                  </a:lnTo>
                  <a:lnTo>
                    <a:pt x="1" y="0"/>
                  </a:lnTo>
                  <a:lnTo>
                    <a:pt x="1" y="0"/>
                  </a:lnTo>
                  <a:lnTo>
                    <a:pt x="3" y="0"/>
                  </a:lnTo>
                  <a:lnTo>
                    <a:pt x="4" y="2"/>
                  </a:lnTo>
                  <a:lnTo>
                    <a:pt x="4" y="3"/>
                  </a:lnTo>
                  <a:lnTo>
                    <a:pt x="3" y="5"/>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62" name="Freeform 1539"/>
            <p:cNvSpPr>
              <a:spLocks/>
            </p:cNvSpPr>
            <p:nvPr/>
          </p:nvSpPr>
          <p:spPr bwMode="auto">
            <a:xfrm>
              <a:off x="8343900" y="4533901"/>
              <a:ext cx="6350" cy="7938"/>
            </a:xfrm>
            <a:custGeom>
              <a:avLst/>
              <a:gdLst>
                <a:gd name="T0" fmla="*/ 3 w 4"/>
                <a:gd name="T1" fmla="*/ 5 h 5"/>
                <a:gd name="T2" fmla="*/ 3 w 4"/>
                <a:gd name="T3" fmla="*/ 5 h 5"/>
                <a:gd name="T4" fmla="*/ 1 w 4"/>
                <a:gd name="T5" fmla="*/ 5 h 5"/>
                <a:gd name="T6" fmla="*/ 0 w 4"/>
                <a:gd name="T7" fmla="*/ 3 h 5"/>
                <a:gd name="T8" fmla="*/ 0 w 4"/>
                <a:gd name="T9" fmla="*/ 0 h 5"/>
                <a:gd name="T10" fmla="*/ 1 w 4"/>
                <a:gd name="T11" fmla="*/ 0 h 5"/>
                <a:gd name="T12" fmla="*/ 1 w 4"/>
                <a:gd name="T13" fmla="*/ 0 h 5"/>
                <a:gd name="T14" fmla="*/ 3 w 4"/>
                <a:gd name="T15" fmla="*/ 0 h 5"/>
                <a:gd name="T16" fmla="*/ 4 w 4"/>
                <a:gd name="T17" fmla="*/ 2 h 5"/>
                <a:gd name="T18" fmla="*/ 4 w 4"/>
                <a:gd name="T19" fmla="*/ 3 h 5"/>
                <a:gd name="T20" fmla="*/ 3 w 4"/>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5">
                  <a:moveTo>
                    <a:pt x="3" y="5"/>
                  </a:moveTo>
                  <a:lnTo>
                    <a:pt x="3" y="5"/>
                  </a:lnTo>
                  <a:lnTo>
                    <a:pt x="1" y="5"/>
                  </a:lnTo>
                  <a:lnTo>
                    <a:pt x="0" y="3"/>
                  </a:lnTo>
                  <a:lnTo>
                    <a:pt x="0" y="0"/>
                  </a:lnTo>
                  <a:lnTo>
                    <a:pt x="1" y="0"/>
                  </a:lnTo>
                  <a:lnTo>
                    <a:pt x="1" y="0"/>
                  </a:lnTo>
                  <a:lnTo>
                    <a:pt x="3" y="0"/>
                  </a:lnTo>
                  <a:lnTo>
                    <a:pt x="4" y="2"/>
                  </a:lnTo>
                  <a:lnTo>
                    <a:pt x="4" y="3"/>
                  </a:lnTo>
                  <a:lnTo>
                    <a:pt x="3"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63" name="Freeform 1544"/>
            <p:cNvSpPr>
              <a:spLocks/>
            </p:cNvSpPr>
            <p:nvPr/>
          </p:nvSpPr>
          <p:spPr bwMode="auto">
            <a:xfrm>
              <a:off x="5738813" y="4819651"/>
              <a:ext cx="11113" cy="6350"/>
            </a:xfrm>
            <a:custGeom>
              <a:avLst/>
              <a:gdLst>
                <a:gd name="T0" fmla="*/ 4 w 7"/>
                <a:gd name="T1" fmla="*/ 4 h 4"/>
                <a:gd name="T2" fmla="*/ 4 w 7"/>
                <a:gd name="T3" fmla="*/ 4 h 4"/>
                <a:gd name="T4" fmla="*/ 1 w 7"/>
                <a:gd name="T5" fmla="*/ 4 h 4"/>
                <a:gd name="T6" fmla="*/ 0 w 7"/>
                <a:gd name="T7" fmla="*/ 3 h 4"/>
                <a:gd name="T8" fmla="*/ 0 w 7"/>
                <a:gd name="T9" fmla="*/ 3 h 4"/>
                <a:gd name="T10" fmla="*/ 0 w 7"/>
                <a:gd name="T11" fmla="*/ 1 h 4"/>
                <a:gd name="T12" fmla="*/ 1 w 7"/>
                <a:gd name="T13" fmla="*/ 0 h 4"/>
                <a:gd name="T14" fmla="*/ 1 w 7"/>
                <a:gd name="T15" fmla="*/ 0 h 4"/>
                <a:gd name="T16" fmla="*/ 4 w 7"/>
                <a:gd name="T17" fmla="*/ 0 h 4"/>
                <a:gd name="T18" fmla="*/ 4 w 7"/>
                <a:gd name="T19" fmla="*/ 0 h 4"/>
                <a:gd name="T20" fmla="*/ 6 w 7"/>
                <a:gd name="T21" fmla="*/ 0 h 4"/>
                <a:gd name="T22" fmla="*/ 7 w 7"/>
                <a:gd name="T23" fmla="*/ 1 h 4"/>
                <a:gd name="T24" fmla="*/ 7 w 7"/>
                <a:gd name="T25" fmla="*/ 1 h 4"/>
                <a:gd name="T26" fmla="*/ 6 w 7"/>
                <a:gd name="T27" fmla="*/ 4 h 4"/>
                <a:gd name="T28" fmla="*/ 6 w 7"/>
                <a:gd name="T29" fmla="*/ 4 h 4"/>
                <a:gd name="T30" fmla="*/ 4 w 7"/>
                <a:gd name="T3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4">
                  <a:moveTo>
                    <a:pt x="4" y="4"/>
                  </a:moveTo>
                  <a:lnTo>
                    <a:pt x="4" y="4"/>
                  </a:lnTo>
                  <a:lnTo>
                    <a:pt x="1" y="4"/>
                  </a:lnTo>
                  <a:lnTo>
                    <a:pt x="0" y="3"/>
                  </a:lnTo>
                  <a:lnTo>
                    <a:pt x="0" y="3"/>
                  </a:lnTo>
                  <a:lnTo>
                    <a:pt x="0" y="1"/>
                  </a:lnTo>
                  <a:lnTo>
                    <a:pt x="1" y="0"/>
                  </a:lnTo>
                  <a:lnTo>
                    <a:pt x="1" y="0"/>
                  </a:lnTo>
                  <a:lnTo>
                    <a:pt x="4" y="0"/>
                  </a:lnTo>
                  <a:lnTo>
                    <a:pt x="4" y="0"/>
                  </a:lnTo>
                  <a:lnTo>
                    <a:pt x="6" y="0"/>
                  </a:lnTo>
                  <a:lnTo>
                    <a:pt x="7" y="1"/>
                  </a:lnTo>
                  <a:lnTo>
                    <a:pt x="7" y="1"/>
                  </a:lnTo>
                  <a:lnTo>
                    <a:pt x="6" y="4"/>
                  </a:lnTo>
                  <a:lnTo>
                    <a:pt x="6" y="4"/>
                  </a:lnTo>
                  <a:lnTo>
                    <a:pt x="4" y="4"/>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64" name="Freeform 1545"/>
            <p:cNvSpPr>
              <a:spLocks/>
            </p:cNvSpPr>
            <p:nvPr/>
          </p:nvSpPr>
          <p:spPr bwMode="auto">
            <a:xfrm>
              <a:off x="5738813" y="4819651"/>
              <a:ext cx="11113" cy="6350"/>
            </a:xfrm>
            <a:custGeom>
              <a:avLst/>
              <a:gdLst>
                <a:gd name="T0" fmla="*/ 4 w 7"/>
                <a:gd name="T1" fmla="*/ 4 h 4"/>
                <a:gd name="T2" fmla="*/ 4 w 7"/>
                <a:gd name="T3" fmla="*/ 4 h 4"/>
                <a:gd name="T4" fmla="*/ 1 w 7"/>
                <a:gd name="T5" fmla="*/ 4 h 4"/>
                <a:gd name="T6" fmla="*/ 0 w 7"/>
                <a:gd name="T7" fmla="*/ 3 h 4"/>
                <a:gd name="T8" fmla="*/ 0 w 7"/>
                <a:gd name="T9" fmla="*/ 3 h 4"/>
                <a:gd name="T10" fmla="*/ 0 w 7"/>
                <a:gd name="T11" fmla="*/ 1 h 4"/>
                <a:gd name="T12" fmla="*/ 1 w 7"/>
                <a:gd name="T13" fmla="*/ 0 h 4"/>
                <a:gd name="T14" fmla="*/ 1 w 7"/>
                <a:gd name="T15" fmla="*/ 0 h 4"/>
                <a:gd name="T16" fmla="*/ 4 w 7"/>
                <a:gd name="T17" fmla="*/ 0 h 4"/>
                <a:gd name="T18" fmla="*/ 4 w 7"/>
                <a:gd name="T19" fmla="*/ 0 h 4"/>
                <a:gd name="T20" fmla="*/ 6 w 7"/>
                <a:gd name="T21" fmla="*/ 0 h 4"/>
                <a:gd name="T22" fmla="*/ 7 w 7"/>
                <a:gd name="T23" fmla="*/ 1 h 4"/>
                <a:gd name="T24" fmla="*/ 7 w 7"/>
                <a:gd name="T25" fmla="*/ 1 h 4"/>
                <a:gd name="T26" fmla="*/ 6 w 7"/>
                <a:gd name="T27" fmla="*/ 4 h 4"/>
                <a:gd name="T28" fmla="*/ 6 w 7"/>
                <a:gd name="T29" fmla="*/ 4 h 4"/>
                <a:gd name="T30" fmla="*/ 4 w 7"/>
                <a:gd name="T3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4">
                  <a:moveTo>
                    <a:pt x="4" y="4"/>
                  </a:moveTo>
                  <a:lnTo>
                    <a:pt x="4" y="4"/>
                  </a:lnTo>
                  <a:lnTo>
                    <a:pt x="1" y="4"/>
                  </a:lnTo>
                  <a:lnTo>
                    <a:pt x="0" y="3"/>
                  </a:lnTo>
                  <a:lnTo>
                    <a:pt x="0" y="3"/>
                  </a:lnTo>
                  <a:lnTo>
                    <a:pt x="0" y="1"/>
                  </a:lnTo>
                  <a:lnTo>
                    <a:pt x="1" y="0"/>
                  </a:lnTo>
                  <a:lnTo>
                    <a:pt x="1" y="0"/>
                  </a:lnTo>
                  <a:lnTo>
                    <a:pt x="4" y="0"/>
                  </a:lnTo>
                  <a:lnTo>
                    <a:pt x="4" y="0"/>
                  </a:lnTo>
                  <a:lnTo>
                    <a:pt x="6" y="0"/>
                  </a:lnTo>
                  <a:lnTo>
                    <a:pt x="7" y="1"/>
                  </a:lnTo>
                  <a:lnTo>
                    <a:pt x="7" y="1"/>
                  </a:lnTo>
                  <a:lnTo>
                    <a:pt x="6" y="4"/>
                  </a:lnTo>
                  <a:lnTo>
                    <a:pt x="6" y="4"/>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65" name="Freeform 1546"/>
            <p:cNvSpPr>
              <a:spLocks/>
            </p:cNvSpPr>
            <p:nvPr/>
          </p:nvSpPr>
          <p:spPr bwMode="auto">
            <a:xfrm>
              <a:off x="6178550" y="4616451"/>
              <a:ext cx="12700" cy="9525"/>
            </a:xfrm>
            <a:custGeom>
              <a:avLst/>
              <a:gdLst>
                <a:gd name="T0" fmla="*/ 3 w 8"/>
                <a:gd name="T1" fmla="*/ 6 h 6"/>
                <a:gd name="T2" fmla="*/ 3 w 8"/>
                <a:gd name="T3" fmla="*/ 6 h 6"/>
                <a:gd name="T4" fmla="*/ 0 w 8"/>
                <a:gd name="T5" fmla="*/ 5 h 6"/>
                <a:gd name="T6" fmla="*/ 0 w 8"/>
                <a:gd name="T7" fmla="*/ 3 h 6"/>
                <a:gd name="T8" fmla="*/ 0 w 8"/>
                <a:gd name="T9" fmla="*/ 3 h 6"/>
                <a:gd name="T10" fmla="*/ 1 w 8"/>
                <a:gd name="T11" fmla="*/ 2 h 6"/>
                <a:gd name="T12" fmla="*/ 3 w 8"/>
                <a:gd name="T13" fmla="*/ 0 h 6"/>
                <a:gd name="T14" fmla="*/ 3 w 8"/>
                <a:gd name="T15" fmla="*/ 0 h 6"/>
                <a:gd name="T16" fmla="*/ 5 w 8"/>
                <a:gd name="T17" fmla="*/ 0 h 6"/>
                <a:gd name="T18" fmla="*/ 5 w 8"/>
                <a:gd name="T19" fmla="*/ 0 h 6"/>
                <a:gd name="T20" fmla="*/ 7 w 8"/>
                <a:gd name="T21" fmla="*/ 0 h 6"/>
                <a:gd name="T22" fmla="*/ 8 w 8"/>
                <a:gd name="T23" fmla="*/ 2 h 6"/>
                <a:gd name="T24" fmla="*/ 8 w 8"/>
                <a:gd name="T25" fmla="*/ 2 h 6"/>
                <a:gd name="T26" fmla="*/ 8 w 8"/>
                <a:gd name="T27" fmla="*/ 3 h 6"/>
                <a:gd name="T28" fmla="*/ 5 w 8"/>
                <a:gd name="T29" fmla="*/ 5 h 6"/>
                <a:gd name="T30" fmla="*/ 5 w 8"/>
                <a:gd name="T31" fmla="*/ 5 h 6"/>
                <a:gd name="T32" fmla="*/ 3 w 8"/>
                <a:gd name="T3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3" y="6"/>
                  </a:moveTo>
                  <a:lnTo>
                    <a:pt x="3" y="6"/>
                  </a:lnTo>
                  <a:lnTo>
                    <a:pt x="0" y="5"/>
                  </a:lnTo>
                  <a:lnTo>
                    <a:pt x="0" y="3"/>
                  </a:lnTo>
                  <a:lnTo>
                    <a:pt x="0" y="3"/>
                  </a:lnTo>
                  <a:lnTo>
                    <a:pt x="1" y="2"/>
                  </a:lnTo>
                  <a:lnTo>
                    <a:pt x="3" y="0"/>
                  </a:lnTo>
                  <a:lnTo>
                    <a:pt x="3" y="0"/>
                  </a:lnTo>
                  <a:lnTo>
                    <a:pt x="5" y="0"/>
                  </a:lnTo>
                  <a:lnTo>
                    <a:pt x="5" y="0"/>
                  </a:lnTo>
                  <a:lnTo>
                    <a:pt x="7" y="0"/>
                  </a:lnTo>
                  <a:lnTo>
                    <a:pt x="8" y="2"/>
                  </a:lnTo>
                  <a:lnTo>
                    <a:pt x="8" y="2"/>
                  </a:lnTo>
                  <a:lnTo>
                    <a:pt x="8" y="3"/>
                  </a:lnTo>
                  <a:lnTo>
                    <a:pt x="5" y="5"/>
                  </a:lnTo>
                  <a:lnTo>
                    <a:pt x="5" y="5"/>
                  </a:lnTo>
                  <a:lnTo>
                    <a:pt x="3" y="6"/>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66" name="Freeform 1547"/>
            <p:cNvSpPr>
              <a:spLocks/>
            </p:cNvSpPr>
            <p:nvPr/>
          </p:nvSpPr>
          <p:spPr bwMode="auto">
            <a:xfrm>
              <a:off x="6178550" y="4616451"/>
              <a:ext cx="12700" cy="9525"/>
            </a:xfrm>
            <a:custGeom>
              <a:avLst/>
              <a:gdLst>
                <a:gd name="T0" fmla="*/ 3 w 8"/>
                <a:gd name="T1" fmla="*/ 6 h 6"/>
                <a:gd name="T2" fmla="*/ 3 w 8"/>
                <a:gd name="T3" fmla="*/ 6 h 6"/>
                <a:gd name="T4" fmla="*/ 0 w 8"/>
                <a:gd name="T5" fmla="*/ 5 h 6"/>
                <a:gd name="T6" fmla="*/ 0 w 8"/>
                <a:gd name="T7" fmla="*/ 3 h 6"/>
                <a:gd name="T8" fmla="*/ 0 w 8"/>
                <a:gd name="T9" fmla="*/ 3 h 6"/>
                <a:gd name="T10" fmla="*/ 1 w 8"/>
                <a:gd name="T11" fmla="*/ 2 h 6"/>
                <a:gd name="T12" fmla="*/ 3 w 8"/>
                <a:gd name="T13" fmla="*/ 0 h 6"/>
                <a:gd name="T14" fmla="*/ 3 w 8"/>
                <a:gd name="T15" fmla="*/ 0 h 6"/>
                <a:gd name="T16" fmla="*/ 5 w 8"/>
                <a:gd name="T17" fmla="*/ 0 h 6"/>
                <a:gd name="T18" fmla="*/ 5 w 8"/>
                <a:gd name="T19" fmla="*/ 0 h 6"/>
                <a:gd name="T20" fmla="*/ 7 w 8"/>
                <a:gd name="T21" fmla="*/ 0 h 6"/>
                <a:gd name="T22" fmla="*/ 8 w 8"/>
                <a:gd name="T23" fmla="*/ 2 h 6"/>
                <a:gd name="T24" fmla="*/ 8 w 8"/>
                <a:gd name="T25" fmla="*/ 2 h 6"/>
                <a:gd name="T26" fmla="*/ 8 w 8"/>
                <a:gd name="T27" fmla="*/ 3 h 6"/>
                <a:gd name="T28" fmla="*/ 5 w 8"/>
                <a:gd name="T29" fmla="*/ 5 h 6"/>
                <a:gd name="T30" fmla="*/ 5 w 8"/>
                <a:gd name="T31" fmla="*/ 5 h 6"/>
                <a:gd name="T32" fmla="*/ 3 w 8"/>
                <a:gd name="T3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3" y="6"/>
                  </a:moveTo>
                  <a:lnTo>
                    <a:pt x="3" y="6"/>
                  </a:lnTo>
                  <a:lnTo>
                    <a:pt x="0" y="5"/>
                  </a:lnTo>
                  <a:lnTo>
                    <a:pt x="0" y="3"/>
                  </a:lnTo>
                  <a:lnTo>
                    <a:pt x="0" y="3"/>
                  </a:lnTo>
                  <a:lnTo>
                    <a:pt x="1" y="2"/>
                  </a:lnTo>
                  <a:lnTo>
                    <a:pt x="3" y="0"/>
                  </a:lnTo>
                  <a:lnTo>
                    <a:pt x="3" y="0"/>
                  </a:lnTo>
                  <a:lnTo>
                    <a:pt x="5" y="0"/>
                  </a:lnTo>
                  <a:lnTo>
                    <a:pt x="5" y="0"/>
                  </a:lnTo>
                  <a:lnTo>
                    <a:pt x="7" y="0"/>
                  </a:lnTo>
                  <a:lnTo>
                    <a:pt x="8" y="2"/>
                  </a:lnTo>
                  <a:lnTo>
                    <a:pt x="8" y="2"/>
                  </a:lnTo>
                  <a:lnTo>
                    <a:pt x="8" y="3"/>
                  </a:lnTo>
                  <a:lnTo>
                    <a:pt x="5" y="5"/>
                  </a:lnTo>
                  <a:lnTo>
                    <a:pt x="5" y="5"/>
                  </a:lnTo>
                  <a:lnTo>
                    <a:pt x="3"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67" name="Freeform 1548"/>
            <p:cNvSpPr>
              <a:spLocks/>
            </p:cNvSpPr>
            <p:nvPr/>
          </p:nvSpPr>
          <p:spPr bwMode="auto">
            <a:xfrm>
              <a:off x="5789613" y="5238751"/>
              <a:ext cx="11113" cy="7938"/>
            </a:xfrm>
            <a:custGeom>
              <a:avLst/>
              <a:gdLst>
                <a:gd name="T0" fmla="*/ 4 w 7"/>
                <a:gd name="T1" fmla="*/ 5 h 5"/>
                <a:gd name="T2" fmla="*/ 4 w 7"/>
                <a:gd name="T3" fmla="*/ 5 h 5"/>
                <a:gd name="T4" fmla="*/ 1 w 7"/>
                <a:gd name="T5" fmla="*/ 4 h 5"/>
                <a:gd name="T6" fmla="*/ 0 w 7"/>
                <a:gd name="T7" fmla="*/ 2 h 5"/>
                <a:gd name="T8" fmla="*/ 0 w 7"/>
                <a:gd name="T9" fmla="*/ 2 h 5"/>
                <a:gd name="T10" fmla="*/ 0 w 7"/>
                <a:gd name="T11" fmla="*/ 1 h 5"/>
                <a:gd name="T12" fmla="*/ 3 w 7"/>
                <a:gd name="T13" fmla="*/ 1 h 5"/>
                <a:gd name="T14" fmla="*/ 3 w 7"/>
                <a:gd name="T15" fmla="*/ 1 h 5"/>
                <a:gd name="T16" fmla="*/ 4 w 7"/>
                <a:gd name="T17" fmla="*/ 0 h 5"/>
                <a:gd name="T18" fmla="*/ 4 w 7"/>
                <a:gd name="T19" fmla="*/ 0 h 5"/>
                <a:gd name="T20" fmla="*/ 7 w 7"/>
                <a:gd name="T21" fmla="*/ 1 h 5"/>
                <a:gd name="T22" fmla="*/ 7 w 7"/>
                <a:gd name="T23" fmla="*/ 1 h 5"/>
                <a:gd name="T24" fmla="*/ 7 w 7"/>
                <a:gd name="T25" fmla="*/ 1 h 5"/>
                <a:gd name="T26" fmla="*/ 6 w 7"/>
                <a:gd name="T27" fmla="*/ 5 h 5"/>
                <a:gd name="T28" fmla="*/ 6 w 7"/>
                <a:gd name="T29" fmla="*/ 5 h 5"/>
                <a:gd name="T30" fmla="*/ 4 w 7"/>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5">
                  <a:moveTo>
                    <a:pt x="4" y="5"/>
                  </a:moveTo>
                  <a:lnTo>
                    <a:pt x="4" y="5"/>
                  </a:lnTo>
                  <a:lnTo>
                    <a:pt x="1" y="4"/>
                  </a:lnTo>
                  <a:lnTo>
                    <a:pt x="0" y="2"/>
                  </a:lnTo>
                  <a:lnTo>
                    <a:pt x="0" y="2"/>
                  </a:lnTo>
                  <a:lnTo>
                    <a:pt x="0" y="1"/>
                  </a:lnTo>
                  <a:lnTo>
                    <a:pt x="3" y="1"/>
                  </a:lnTo>
                  <a:lnTo>
                    <a:pt x="3" y="1"/>
                  </a:lnTo>
                  <a:lnTo>
                    <a:pt x="4" y="0"/>
                  </a:lnTo>
                  <a:lnTo>
                    <a:pt x="4" y="0"/>
                  </a:lnTo>
                  <a:lnTo>
                    <a:pt x="7" y="1"/>
                  </a:lnTo>
                  <a:lnTo>
                    <a:pt x="7" y="1"/>
                  </a:lnTo>
                  <a:lnTo>
                    <a:pt x="7" y="1"/>
                  </a:lnTo>
                  <a:lnTo>
                    <a:pt x="6" y="5"/>
                  </a:lnTo>
                  <a:lnTo>
                    <a:pt x="6" y="5"/>
                  </a:lnTo>
                  <a:lnTo>
                    <a:pt x="4" y="5"/>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68" name="Freeform 1549"/>
            <p:cNvSpPr>
              <a:spLocks/>
            </p:cNvSpPr>
            <p:nvPr/>
          </p:nvSpPr>
          <p:spPr bwMode="auto">
            <a:xfrm>
              <a:off x="5789613" y="5238751"/>
              <a:ext cx="11113" cy="7938"/>
            </a:xfrm>
            <a:custGeom>
              <a:avLst/>
              <a:gdLst>
                <a:gd name="T0" fmla="*/ 4 w 7"/>
                <a:gd name="T1" fmla="*/ 5 h 5"/>
                <a:gd name="T2" fmla="*/ 4 w 7"/>
                <a:gd name="T3" fmla="*/ 5 h 5"/>
                <a:gd name="T4" fmla="*/ 1 w 7"/>
                <a:gd name="T5" fmla="*/ 4 h 5"/>
                <a:gd name="T6" fmla="*/ 0 w 7"/>
                <a:gd name="T7" fmla="*/ 2 h 5"/>
                <a:gd name="T8" fmla="*/ 0 w 7"/>
                <a:gd name="T9" fmla="*/ 2 h 5"/>
                <a:gd name="T10" fmla="*/ 0 w 7"/>
                <a:gd name="T11" fmla="*/ 1 h 5"/>
                <a:gd name="T12" fmla="*/ 3 w 7"/>
                <a:gd name="T13" fmla="*/ 1 h 5"/>
                <a:gd name="T14" fmla="*/ 3 w 7"/>
                <a:gd name="T15" fmla="*/ 1 h 5"/>
                <a:gd name="T16" fmla="*/ 4 w 7"/>
                <a:gd name="T17" fmla="*/ 0 h 5"/>
                <a:gd name="T18" fmla="*/ 4 w 7"/>
                <a:gd name="T19" fmla="*/ 0 h 5"/>
                <a:gd name="T20" fmla="*/ 7 w 7"/>
                <a:gd name="T21" fmla="*/ 1 h 5"/>
                <a:gd name="T22" fmla="*/ 7 w 7"/>
                <a:gd name="T23" fmla="*/ 1 h 5"/>
                <a:gd name="T24" fmla="*/ 7 w 7"/>
                <a:gd name="T25" fmla="*/ 1 h 5"/>
                <a:gd name="T26" fmla="*/ 6 w 7"/>
                <a:gd name="T27" fmla="*/ 5 h 5"/>
                <a:gd name="T28" fmla="*/ 6 w 7"/>
                <a:gd name="T29" fmla="*/ 5 h 5"/>
                <a:gd name="T30" fmla="*/ 4 w 7"/>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5">
                  <a:moveTo>
                    <a:pt x="4" y="5"/>
                  </a:moveTo>
                  <a:lnTo>
                    <a:pt x="4" y="5"/>
                  </a:lnTo>
                  <a:lnTo>
                    <a:pt x="1" y="4"/>
                  </a:lnTo>
                  <a:lnTo>
                    <a:pt x="0" y="2"/>
                  </a:lnTo>
                  <a:lnTo>
                    <a:pt x="0" y="2"/>
                  </a:lnTo>
                  <a:lnTo>
                    <a:pt x="0" y="1"/>
                  </a:lnTo>
                  <a:lnTo>
                    <a:pt x="3" y="1"/>
                  </a:lnTo>
                  <a:lnTo>
                    <a:pt x="3" y="1"/>
                  </a:lnTo>
                  <a:lnTo>
                    <a:pt x="4" y="0"/>
                  </a:lnTo>
                  <a:lnTo>
                    <a:pt x="4" y="0"/>
                  </a:lnTo>
                  <a:lnTo>
                    <a:pt x="7" y="1"/>
                  </a:lnTo>
                  <a:lnTo>
                    <a:pt x="7" y="1"/>
                  </a:lnTo>
                  <a:lnTo>
                    <a:pt x="7" y="1"/>
                  </a:lnTo>
                  <a:lnTo>
                    <a:pt x="6" y="5"/>
                  </a:lnTo>
                  <a:lnTo>
                    <a:pt x="6" y="5"/>
                  </a:lnTo>
                  <a:lnTo>
                    <a:pt x="4"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69" name="Freeform 1562"/>
            <p:cNvSpPr>
              <a:spLocks/>
            </p:cNvSpPr>
            <p:nvPr/>
          </p:nvSpPr>
          <p:spPr bwMode="auto">
            <a:xfrm>
              <a:off x="8029575" y="3460751"/>
              <a:ext cx="22225" cy="20638"/>
            </a:xfrm>
            <a:custGeom>
              <a:avLst/>
              <a:gdLst>
                <a:gd name="T0" fmla="*/ 14 w 14"/>
                <a:gd name="T1" fmla="*/ 0 h 13"/>
                <a:gd name="T2" fmla="*/ 14 w 14"/>
                <a:gd name="T3" fmla="*/ 0 h 13"/>
                <a:gd name="T4" fmla="*/ 11 w 14"/>
                <a:gd name="T5" fmla="*/ 3 h 13"/>
                <a:gd name="T6" fmla="*/ 7 w 14"/>
                <a:gd name="T7" fmla="*/ 7 h 13"/>
                <a:gd name="T8" fmla="*/ 2 w 14"/>
                <a:gd name="T9" fmla="*/ 11 h 13"/>
                <a:gd name="T10" fmla="*/ 0 w 14"/>
                <a:gd name="T11" fmla="*/ 13 h 13"/>
                <a:gd name="T12" fmla="*/ 0 w 14"/>
                <a:gd name="T13" fmla="*/ 11 h 13"/>
                <a:gd name="T14" fmla="*/ 0 w 14"/>
                <a:gd name="T15" fmla="*/ 11 h 13"/>
                <a:gd name="T16" fmla="*/ 1 w 14"/>
                <a:gd name="T17" fmla="*/ 9 h 13"/>
                <a:gd name="T18" fmla="*/ 5 w 14"/>
                <a:gd name="T19" fmla="*/ 4 h 13"/>
                <a:gd name="T20" fmla="*/ 11 w 14"/>
                <a:gd name="T21" fmla="*/ 0 h 13"/>
                <a:gd name="T22" fmla="*/ 14 w 14"/>
                <a:gd name="T2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3">
                  <a:moveTo>
                    <a:pt x="14" y="0"/>
                  </a:moveTo>
                  <a:lnTo>
                    <a:pt x="14" y="0"/>
                  </a:lnTo>
                  <a:lnTo>
                    <a:pt x="11" y="3"/>
                  </a:lnTo>
                  <a:lnTo>
                    <a:pt x="7" y="7"/>
                  </a:lnTo>
                  <a:lnTo>
                    <a:pt x="2" y="11"/>
                  </a:lnTo>
                  <a:lnTo>
                    <a:pt x="0" y="13"/>
                  </a:lnTo>
                  <a:lnTo>
                    <a:pt x="0" y="11"/>
                  </a:lnTo>
                  <a:lnTo>
                    <a:pt x="0" y="11"/>
                  </a:lnTo>
                  <a:lnTo>
                    <a:pt x="1" y="9"/>
                  </a:lnTo>
                  <a:lnTo>
                    <a:pt x="5" y="4"/>
                  </a:lnTo>
                  <a:lnTo>
                    <a:pt x="11" y="0"/>
                  </a:lnTo>
                  <a:lnTo>
                    <a:pt x="14" y="0"/>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70" name="Freeform 1563"/>
            <p:cNvSpPr>
              <a:spLocks/>
            </p:cNvSpPr>
            <p:nvPr/>
          </p:nvSpPr>
          <p:spPr bwMode="auto">
            <a:xfrm>
              <a:off x="8029575" y="3460751"/>
              <a:ext cx="22225" cy="20638"/>
            </a:xfrm>
            <a:custGeom>
              <a:avLst/>
              <a:gdLst>
                <a:gd name="T0" fmla="*/ 14 w 14"/>
                <a:gd name="T1" fmla="*/ 0 h 13"/>
                <a:gd name="T2" fmla="*/ 14 w 14"/>
                <a:gd name="T3" fmla="*/ 0 h 13"/>
                <a:gd name="T4" fmla="*/ 11 w 14"/>
                <a:gd name="T5" fmla="*/ 3 h 13"/>
                <a:gd name="T6" fmla="*/ 7 w 14"/>
                <a:gd name="T7" fmla="*/ 7 h 13"/>
                <a:gd name="T8" fmla="*/ 2 w 14"/>
                <a:gd name="T9" fmla="*/ 11 h 13"/>
                <a:gd name="T10" fmla="*/ 0 w 14"/>
                <a:gd name="T11" fmla="*/ 13 h 13"/>
                <a:gd name="T12" fmla="*/ 0 w 14"/>
                <a:gd name="T13" fmla="*/ 11 h 13"/>
                <a:gd name="T14" fmla="*/ 0 w 14"/>
                <a:gd name="T15" fmla="*/ 11 h 13"/>
                <a:gd name="T16" fmla="*/ 1 w 14"/>
                <a:gd name="T17" fmla="*/ 9 h 13"/>
                <a:gd name="T18" fmla="*/ 5 w 14"/>
                <a:gd name="T19" fmla="*/ 4 h 13"/>
                <a:gd name="T20" fmla="*/ 11 w 14"/>
                <a:gd name="T21" fmla="*/ 0 h 13"/>
                <a:gd name="T22" fmla="*/ 14 w 14"/>
                <a:gd name="T2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3">
                  <a:moveTo>
                    <a:pt x="14" y="0"/>
                  </a:moveTo>
                  <a:lnTo>
                    <a:pt x="14" y="0"/>
                  </a:lnTo>
                  <a:lnTo>
                    <a:pt x="11" y="3"/>
                  </a:lnTo>
                  <a:lnTo>
                    <a:pt x="7" y="7"/>
                  </a:lnTo>
                  <a:lnTo>
                    <a:pt x="2" y="11"/>
                  </a:lnTo>
                  <a:lnTo>
                    <a:pt x="0" y="13"/>
                  </a:lnTo>
                  <a:lnTo>
                    <a:pt x="0" y="11"/>
                  </a:lnTo>
                  <a:lnTo>
                    <a:pt x="0" y="11"/>
                  </a:lnTo>
                  <a:lnTo>
                    <a:pt x="1" y="9"/>
                  </a:lnTo>
                  <a:lnTo>
                    <a:pt x="5" y="4"/>
                  </a:lnTo>
                  <a:lnTo>
                    <a:pt x="11" y="0"/>
                  </a:lnTo>
                  <a:lnTo>
                    <a:pt x="14" y="0"/>
                  </a:lnTo>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71" name="Freeform 1564"/>
            <p:cNvSpPr>
              <a:spLocks/>
            </p:cNvSpPr>
            <p:nvPr/>
          </p:nvSpPr>
          <p:spPr bwMode="auto">
            <a:xfrm>
              <a:off x="8066088" y="3419476"/>
              <a:ext cx="42863" cy="36513"/>
            </a:xfrm>
            <a:custGeom>
              <a:avLst/>
              <a:gdLst>
                <a:gd name="T0" fmla="*/ 1 w 27"/>
                <a:gd name="T1" fmla="*/ 23 h 23"/>
                <a:gd name="T2" fmla="*/ 1 w 27"/>
                <a:gd name="T3" fmla="*/ 23 h 23"/>
                <a:gd name="T4" fmla="*/ 0 w 27"/>
                <a:gd name="T5" fmla="*/ 22 h 23"/>
                <a:gd name="T6" fmla="*/ 1 w 27"/>
                <a:gd name="T7" fmla="*/ 19 h 23"/>
                <a:gd name="T8" fmla="*/ 6 w 27"/>
                <a:gd name="T9" fmla="*/ 13 h 23"/>
                <a:gd name="T10" fmla="*/ 10 w 27"/>
                <a:gd name="T11" fmla="*/ 8 h 23"/>
                <a:gd name="T12" fmla="*/ 14 w 27"/>
                <a:gd name="T13" fmla="*/ 7 h 23"/>
                <a:gd name="T14" fmla="*/ 14 w 27"/>
                <a:gd name="T15" fmla="*/ 7 h 23"/>
                <a:gd name="T16" fmla="*/ 17 w 27"/>
                <a:gd name="T17" fmla="*/ 6 h 23"/>
                <a:gd name="T18" fmla="*/ 21 w 27"/>
                <a:gd name="T19" fmla="*/ 4 h 23"/>
                <a:gd name="T20" fmla="*/ 27 w 27"/>
                <a:gd name="T21" fmla="*/ 0 h 23"/>
                <a:gd name="T22" fmla="*/ 27 w 27"/>
                <a:gd name="T23" fmla="*/ 0 h 23"/>
                <a:gd name="T24" fmla="*/ 24 w 27"/>
                <a:gd name="T25" fmla="*/ 4 h 23"/>
                <a:gd name="T26" fmla="*/ 16 w 27"/>
                <a:gd name="T27" fmla="*/ 13 h 23"/>
                <a:gd name="T28" fmla="*/ 6 w 27"/>
                <a:gd name="T29" fmla="*/ 20 h 23"/>
                <a:gd name="T30" fmla="*/ 1 w 27"/>
                <a:gd name="T3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3">
                  <a:moveTo>
                    <a:pt x="1" y="23"/>
                  </a:moveTo>
                  <a:lnTo>
                    <a:pt x="1" y="23"/>
                  </a:lnTo>
                  <a:lnTo>
                    <a:pt x="0" y="22"/>
                  </a:lnTo>
                  <a:lnTo>
                    <a:pt x="1" y="19"/>
                  </a:lnTo>
                  <a:lnTo>
                    <a:pt x="6" y="13"/>
                  </a:lnTo>
                  <a:lnTo>
                    <a:pt x="10" y="8"/>
                  </a:lnTo>
                  <a:lnTo>
                    <a:pt x="14" y="7"/>
                  </a:lnTo>
                  <a:lnTo>
                    <a:pt x="14" y="7"/>
                  </a:lnTo>
                  <a:lnTo>
                    <a:pt x="17" y="6"/>
                  </a:lnTo>
                  <a:lnTo>
                    <a:pt x="21" y="4"/>
                  </a:lnTo>
                  <a:lnTo>
                    <a:pt x="27" y="0"/>
                  </a:lnTo>
                  <a:lnTo>
                    <a:pt x="27" y="0"/>
                  </a:lnTo>
                  <a:lnTo>
                    <a:pt x="24" y="4"/>
                  </a:lnTo>
                  <a:lnTo>
                    <a:pt x="16" y="13"/>
                  </a:lnTo>
                  <a:lnTo>
                    <a:pt x="6" y="20"/>
                  </a:lnTo>
                  <a:lnTo>
                    <a:pt x="1" y="23"/>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72" name="Freeform 1565"/>
            <p:cNvSpPr>
              <a:spLocks/>
            </p:cNvSpPr>
            <p:nvPr/>
          </p:nvSpPr>
          <p:spPr bwMode="auto">
            <a:xfrm>
              <a:off x="8066088" y="3419476"/>
              <a:ext cx="42863" cy="36513"/>
            </a:xfrm>
            <a:custGeom>
              <a:avLst/>
              <a:gdLst>
                <a:gd name="T0" fmla="*/ 1 w 27"/>
                <a:gd name="T1" fmla="*/ 23 h 23"/>
                <a:gd name="T2" fmla="*/ 1 w 27"/>
                <a:gd name="T3" fmla="*/ 23 h 23"/>
                <a:gd name="T4" fmla="*/ 0 w 27"/>
                <a:gd name="T5" fmla="*/ 22 h 23"/>
                <a:gd name="T6" fmla="*/ 1 w 27"/>
                <a:gd name="T7" fmla="*/ 19 h 23"/>
                <a:gd name="T8" fmla="*/ 6 w 27"/>
                <a:gd name="T9" fmla="*/ 13 h 23"/>
                <a:gd name="T10" fmla="*/ 10 w 27"/>
                <a:gd name="T11" fmla="*/ 8 h 23"/>
                <a:gd name="T12" fmla="*/ 14 w 27"/>
                <a:gd name="T13" fmla="*/ 7 h 23"/>
                <a:gd name="T14" fmla="*/ 14 w 27"/>
                <a:gd name="T15" fmla="*/ 7 h 23"/>
                <a:gd name="T16" fmla="*/ 17 w 27"/>
                <a:gd name="T17" fmla="*/ 6 h 23"/>
                <a:gd name="T18" fmla="*/ 21 w 27"/>
                <a:gd name="T19" fmla="*/ 4 h 23"/>
                <a:gd name="T20" fmla="*/ 27 w 27"/>
                <a:gd name="T21" fmla="*/ 0 h 23"/>
                <a:gd name="T22" fmla="*/ 27 w 27"/>
                <a:gd name="T23" fmla="*/ 0 h 23"/>
                <a:gd name="T24" fmla="*/ 24 w 27"/>
                <a:gd name="T25" fmla="*/ 4 h 23"/>
                <a:gd name="T26" fmla="*/ 16 w 27"/>
                <a:gd name="T27" fmla="*/ 13 h 23"/>
                <a:gd name="T28" fmla="*/ 6 w 27"/>
                <a:gd name="T29" fmla="*/ 20 h 23"/>
                <a:gd name="T30" fmla="*/ 1 w 27"/>
                <a:gd name="T3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3">
                  <a:moveTo>
                    <a:pt x="1" y="23"/>
                  </a:moveTo>
                  <a:lnTo>
                    <a:pt x="1" y="23"/>
                  </a:lnTo>
                  <a:lnTo>
                    <a:pt x="0" y="22"/>
                  </a:lnTo>
                  <a:lnTo>
                    <a:pt x="1" y="19"/>
                  </a:lnTo>
                  <a:lnTo>
                    <a:pt x="6" y="13"/>
                  </a:lnTo>
                  <a:lnTo>
                    <a:pt x="10" y="8"/>
                  </a:lnTo>
                  <a:lnTo>
                    <a:pt x="14" y="7"/>
                  </a:lnTo>
                  <a:lnTo>
                    <a:pt x="14" y="7"/>
                  </a:lnTo>
                  <a:lnTo>
                    <a:pt x="17" y="6"/>
                  </a:lnTo>
                  <a:lnTo>
                    <a:pt x="21" y="4"/>
                  </a:lnTo>
                  <a:lnTo>
                    <a:pt x="27" y="0"/>
                  </a:lnTo>
                  <a:lnTo>
                    <a:pt x="27" y="0"/>
                  </a:lnTo>
                  <a:lnTo>
                    <a:pt x="24" y="4"/>
                  </a:lnTo>
                  <a:lnTo>
                    <a:pt x="16" y="13"/>
                  </a:lnTo>
                  <a:lnTo>
                    <a:pt x="6" y="20"/>
                  </a:lnTo>
                  <a:lnTo>
                    <a:pt x="1" y="23"/>
                  </a:lnTo>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73" name="Freeform 1566"/>
            <p:cNvSpPr>
              <a:spLocks/>
            </p:cNvSpPr>
            <p:nvPr/>
          </p:nvSpPr>
          <p:spPr bwMode="auto">
            <a:xfrm>
              <a:off x="8128000" y="3390901"/>
              <a:ext cx="17463" cy="20638"/>
            </a:xfrm>
            <a:custGeom>
              <a:avLst/>
              <a:gdLst>
                <a:gd name="T0" fmla="*/ 1 w 11"/>
                <a:gd name="T1" fmla="*/ 13 h 13"/>
                <a:gd name="T2" fmla="*/ 1 w 11"/>
                <a:gd name="T3" fmla="*/ 13 h 13"/>
                <a:gd name="T4" fmla="*/ 0 w 11"/>
                <a:gd name="T5" fmla="*/ 12 h 13"/>
                <a:gd name="T6" fmla="*/ 1 w 11"/>
                <a:gd name="T7" fmla="*/ 11 h 13"/>
                <a:gd name="T8" fmla="*/ 4 w 11"/>
                <a:gd name="T9" fmla="*/ 6 h 13"/>
                <a:gd name="T10" fmla="*/ 9 w 11"/>
                <a:gd name="T11" fmla="*/ 2 h 13"/>
                <a:gd name="T12" fmla="*/ 10 w 11"/>
                <a:gd name="T13" fmla="*/ 0 h 13"/>
                <a:gd name="T14" fmla="*/ 11 w 11"/>
                <a:gd name="T15" fmla="*/ 2 h 13"/>
                <a:gd name="T16" fmla="*/ 11 w 11"/>
                <a:gd name="T17" fmla="*/ 2 h 13"/>
                <a:gd name="T18" fmla="*/ 11 w 11"/>
                <a:gd name="T19" fmla="*/ 3 h 13"/>
                <a:gd name="T20" fmla="*/ 11 w 11"/>
                <a:gd name="T21" fmla="*/ 5 h 13"/>
                <a:gd name="T22" fmla="*/ 9 w 11"/>
                <a:gd name="T23" fmla="*/ 9 h 13"/>
                <a:gd name="T24" fmla="*/ 4 w 11"/>
                <a:gd name="T25" fmla="*/ 12 h 13"/>
                <a:gd name="T26" fmla="*/ 1 w 11"/>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3">
                  <a:moveTo>
                    <a:pt x="1" y="13"/>
                  </a:moveTo>
                  <a:lnTo>
                    <a:pt x="1" y="13"/>
                  </a:lnTo>
                  <a:lnTo>
                    <a:pt x="0" y="12"/>
                  </a:lnTo>
                  <a:lnTo>
                    <a:pt x="1" y="11"/>
                  </a:lnTo>
                  <a:lnTo>
                    <a:pt x="4" y="6"/>
                  </a:lnTo>
                  <a:lnTo>
                    <a:pt x="9" y="2"/>
                  </a:lnTo>
                  <a:lnTo>
                    <a:pt x="10" y="0"/>
                  </a:lnTo>
                  <a:lnTo>
                    <a:pt x="11" y="2"/>
                  </a:lnTo>
                  <a:lnTo>
                    <a:pt x="11" y="2"/>
                  </a:lnTo>
                  <a:lnTo>
                    <a:pt x="11" y="3"/>
                  </a:lnTo>
                  <a:lnTo>
                    <a:pt x="11" y="5"/>
                  </a:lnTo>
                  <a:lnTo>
                    <a:pt x="9" y="9"/>
                  </a:lnTo>
                  <a:lnTo>
                    <a:pt x="4" y="12"/>
                  </a:lnTo>
                  <a:lnTo>
                    <a:pt x="1" y="13"/>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74" name="Freeform 1567"/>
            <p:cNvSpPr>
              <a:spLocks/>
            </p:cNvSpPr>
            <p:nvPr/>
          </p:nvSpPr>
          <p:spPr bwMode="auto">
            <a:xfrm>
              <a:off x="8128000" y="3390901"/>
              <a:ext cx="17463" cy="20638"/>
            </a:xfrm>
            <a:custGeom>
              <a:avLst/>
              <a:gdLst>
                <a:gd name="T0" fmla="*/ 1 w 11"/>
                <a:gd name="T1" fmla="*/ 13 h 13"/>
                <a:gd name="T2" fmla="*/ 1 w 11"/>
                <a:gd name="T3" fmla="*/ 13 h 13"/>
                <a:gd name="T4" fmla="*/ 0 w 11"/>
                <a:gd name="T5" fmla="*/ 12 h 13"/>
                <a:gd name="T6" fmla="*/ 1 w 11"/>
                <a:gd name="T7" fmla="*/ 11 h 13"/>
                <a:gd name="T8" fmla="*/ 4 w 11"/>
                <a:gd name="T9" fmla="*/ 6 h 13"/>
                <a:gd name="T10" fmla="*/ 9 w 11"/>
                <a:gd name="T11" fmla="*/ 2 h 13"/>
                <a:gd name="T12" fmla="*/ 10 w 11"/>
                <a:gd name="T13" fmla="*/ 0 h 13"/>
                <a:gd name="T14" fmla="*/ 11 w 11"/>
                <a:gd name="T15" fmla="*/ 2 h 13"/>
                <a:gd name="T16" fmla="*/ 11 w 11"/>
                <a:gd name="T17" fmla="*/ 2 h 13"/>
                <a:gd name="T18" fmla="*/ 11 w 11"/>
                <a:gd name="T19" fmla="*/ 3 h 13"/>
                <a:gd name="T20" fmla="*/ 11 w 11"/>
                <a:gd name="T21" fmla="*/ 5 h 13"/>
                <a:gd name="T22" fmla="*/ 9 w 11"/>
                <a:gd name="T23" fmla="*/ 9 h 13"/>
                <a:gd name="T24" fmla="*/ 4 w 11"/>
                <a:gd name="T25" fmla="*/ 12 h 13"/>
                <a:gd name="T26" fmla="*/ 1 w 11"/>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3">
                  <a:moveTo>
                    <a:pt x="1" y="13"/>
                  </a:moveTo>
                  <a:lnTo>
                    <a:pt x="1" y="13"/>
                  </a:lnTo>
                  <a:lnTo>
                    <a:pt x="0" y="12"/>
                  </a:lnTo>
                  <a:lnTo>
                    <a:pt x="1" y="11"/>
                  </a:lnTo>
                  <a:lnTo>
                    <a:pt x="4" y="6"/>
                  </a:lnTo>
                  <a:lnTo>
                    <a:pt x="9" y="2"/>
                  </a:lnTo>
                  <a:lnTo>
                    <a:pt x="10" y="0"/>
                  </a:lnTo>
                  <a:lnTo>
                    <a:pt x="11" y="2"/>
                  </a:lnTo>
                  <a:lnTo>
                    <a:pt x="11" y="2"/>
                  </a:lnTo>
                  <a:lnTo>
                    <a:pt x="11" y="3"/>
                  </a:lnTo>
                  <a:lnTo>
                    <a:pt x="11" y="5"/>
                  </a:lnTo>
                  <a:lnTo>
                    <a:pt x="9" y="9"/>
                  </a:lnTo>
                  <a:lnTo>
                    <a:pt x="4" y="12"/>
                  </a:lnTo>
                  <a:lnTo>
                    <a:pt x="1" y="13"/>
                  </a:lnTo>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75" name="Freeform 1568"/>
            <p:cNvSpPr>
              <a:spLocks/>
            </p:cNvSpPr>
            <p:nvPr/>
          </p:nvSpPr>
          <p:spPr bwMode="auto">
            <a:xfrm>
              <a:off x="8178800" y="3357564"/>
              <a:ext cx="11113" cy="12700"/>
            </a:xfrm>
            <a:custGeom>
              <a:avLst/>
              <a:gdLst>
                <a:gd name="T0" fmla="*/ 7 w 7"/>
                <a:gd name="T1" fmla="*/ 0 h 8"/>
                <a:gd name="T2" fmla="*/ 7 w 7"/>
                <a:gd name="T3" fmla="*/ 0 h 8"/>
                <a:gd name="T4" fmla="*/ 4 w 7"/>
                <a:gd name="T5" fmla="*/ 0 h 8"/>
                <a:gd name="T6" fmla="*/ 1 w 7"/>
                <a:gd name="T7" fmla="*/ 1 h 8"/>
                <a:gd name="T8" fmla="*/ 0 w 7"/>
                <a:gd name="T9" fmla="*/ 4 h 8"/>
                <a:gd name="T10" fmla="*/ 0 w 7"/>
                <a:gd name="T11" fmla="*/ 7 h 8"/>
                <a:gd name="T12" fmla="*/ 0 w 7"/>
                <a:gd name="T13" fmla="*/ 7 h 8"/>
                <a:gd name="T14" fmla="*/ 1 w 7"/>
                <a:gd name="T15" fmla="*/ 8 h 8"/>
                <a:gd name="T16" fmla="*/ 3 w 7"/>
                <a:gd name="T17" fmla="*/ 8 h 8"/>
                <a:gd name="T18" fmla="*/ 5 w 7"/>
                <a:gd name="T19" fmla="*/ 5 h 8"/>
                <a:gd name="T20" fmla="*/ 7 w 7"/>
                <a:gd name="T21" fmla="*/ 3 h 8"/>
                <a:gd name="T22" fmla="*/ 7 w 7"/>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7" y="0"/>
                  </a:moveTo>
                  <a:lnTo>
                    <a:pt x="7" y="0"/>
                  </a:lnTo>
                  <a:lnTo>
                    <a:pt x="4" y="0"/>
                  </a:lnTo>
                  <a:lnTo>
                    <a:pt x="1" y="1"/>
                  </a:lnTo>
                  <a:lnTo>
                    <a:pt x="0" y="4"/>
                  </a:lnTo>
                  <a:lnTo>
                    <a:pt x="0" y="7"/>
                  </a:lnTo>
                  <a:lnTo>
                    <a:pt x="0" y="7"/>
                  </a:lnTo>
                  <a:lnTo>
                    <a:pt x="1" y="8"/>
                  </a:lnTo>
                  <a:lnTo>
                    <a:pt x="3" y="8"/>
                  </a:lnTo>
                  <a:lnTo>
                    <a:pt x="5" y="5"/>
                  </a:lnTo>
                  <a:lnTo>
                    <a:pt x="7" y="3"/>
                  </a:lnTo>
                  <a:lnTo>
                    <a:pt x="7" y="0"/>
                  </a:lnTo>
                  <a:close/>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76" name="Freeform 1570"/>
            <p:cNvSpPr>
              <a:spLocks/>
            </p:cNvSpPr>
            <p:nvPr/>
          </p:nvSpPr>
          <p:spPr bwMode="auto">
            <a:xfrm>
              <a:off x="8267700" y="3224214"/>
              <a:ext cx="25400" cy="22225"/>
            </a:xfrm>
            <a:custGeom>
              <a:avLst/>
              <a:gdLst>
                <a:gd name="T0" fmla="*/ 16 w 16"/>
                <a:gd name="T1" fmla="*/ 0 h 14"/>
                <a:gd name="T2" fmla="*/ 16 w 16"/>
                <a:gd name="T3" fmla="*/ 0 h 14"/>
                <a:gd name="T4" fmla="*/ 13 w 16"/>
                <a:gd name="T5" fmla="*/ 0 h 14"/>
                <a:gd name="T6" fmla="*/ 12 w 16"/>
                <a:gd name="T7" fmla="*/ 1 h 14"/>
                <a:gd name="T8" fmla="*/ 9 w 16"/>
                <a:gd name="T9" fmla="*/ 3 h 14"/>
                <a:gd name="T10" fmla="*/ 6 w 16"/>
                <a:gd name="T11" fmla="*/ 4 h 14"/>
                <a:gd name="T12" fmla="*/ 6 w 16"/>
                <a:gd name="T13" fmla="*/ 4 h 14"/>
                <a:gd name="T14" fmla="*/ 3 w 16"/>
                <a:gd name="T15" fmla="*/ 7 h 14"/>
                <a:gd name="T16" fmla="*/ 0 w 16"/>
                <a:gd name="T17" fmla="*/ 10 h 14"/>
                <a:gd name="T18" fmla="*/ 0 w 16"/>
                <a:gd name="T19" fmla="*/ 13 h 14"/>
                <a:gd name="T20" fmla="*/ 2 w 16"/>
                <a:gd name="T21" fmla="*/ 14 h 14"/>
                <a:gd name="T22" fmla="*/ 2 w 16"/>
                <a:gd name="T23" fmla="*/ 14 h 14"/>
                <a:gd name="T24" fmla="*/ 6 w 16"/>
                <a:gd name="T25" fmla="*/ 13 h 14"/>
                <a:gd name="T26" fmla="*/ 12 w 16"/>
                <a:gd name="T27" fmla="*/ 7 h 14"/>
                <a:gd name="T28" fmla="*/ 16 w 16"/>
                <a:gd name="T29" fmla="*/ 1 h 14"/>
                <a:gd name="T30" fmla="*/ 16 w 16"/>
                <a:gd name="T31" fmla="*/ 0 h 14"/>
                <a:gd name="T32" fmla="*/ 16 w 16"/>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4">
                  <a:moveTo>
                    <a:pt x="16" y="0"/>
                  </a:moveTo>
                  <a:lnTo>
                    <a:pt x="16" y="0"/>
                  </a:lnTo>
                  <a:lnTo>
                    <a:pt x="13" y="0"/>
                  </a:lnTo>
                  <a:lnTo>
                    <a:pt x="12" y="1"/>
                  </a:lnTo>
                  <a:lnTo>
                    <a:pt x="9" y="3"/>
                  </a:lnTo>
                  <a:lnTo>
                    <a:pt x="6" y="4"/>
                  </a:lnTo>
                  <a:lnTo>
                    <a:pt x="6" y="4"/>
                  </a:lnTo>
                  <a:lnTo>
                    <a:pt x="3" y="7"/>
                  </a:lnTo>
                  <a:lnTo>
                    <a:pt x="0" y="10"/>
                  </a:lnTo>
                  <a:lnTo>
                    <a:pt x="0" y="13"/>
                  </a:lnTo>
                  <a:lnTo>
                    <a:pt x="2" y="14"/>
                  </a:lnTo>
                  <a:lnTo>
                    <a:pt x="2" y="14"/>
                  </a:lnTo>
                  <a:lnTo>
                    <a:pt x="6" y="13"/>
                  </a:lnTo>
                  <a:lnTo>
                    <a:pt x="12" y="7"/>
                  </a:lnTo>
                  <a:lnTo>
                    <a:pt x="16" y="1"/>
                  </a:lnTo>
                  <a:lnTo>
                    <a:pt x="16" y="0"/>
                  </a:lnTo>
                  <a:lnTo>
                    <a:pt x="16" y="0"/>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77" name="Freeform 1571"/>
            <p:cNvSpPr>
              <a:spLocks/>
            </p:cNvSpPr>
            <p:nvPr/>
          </p:nvSpPr>
          <p:spPr bwMode="auto">
            <a:xfrm>
              <a:off x="8267700" y="3224214"/>
              <a:ext cx="25400" cy="22225"/>
            </a:xfrm>
            <a:custGeom>
              <a:avLst/>
              <a:gdLst>
                <a:gd name="T0" fmla="*/ 16 w 16"/>
                <a:gd name="T1" fmla="*/ 0 h 14"/>
                <a:gd name="T2" fmla="*/ 16 w 16"/>
                <a:gd name="T3" fmla="*/ 0 h 14"/>
                <a:gd name="T4" fmla="*/ 13 w 16"/>
                <a:gd name="T5" fmla="*/ 0 h 14"/>
                <a:gd name="T6" fmla="*/ 12 w 16"/>
                <a:gd name="T7" fmla="*/ 1 h 14"/>
                <a:gd name="T8" fmla="*/ 9 w 16"/>
                <a:gd name="T9" fmla="*/ 3 h 14"/>
                <a:gd name="T10" fmla="*/ 6 w 16"/>
                <a:gd name="T11" fmla="*/ 4 h 14"/>
                <a:gd name="T12" fmla="*/ 6 w 16"/>
                <a:gd name="T13" fmla="*/ 4 h 14"/>
                <a:gd name="T14" fmla="*/ 3 w 16"/>
                <a:gd name="T15" fmla="*/ 7 h 14"/>
                <a:gd name="T16" fmla="*/ 0 w 16"/>
                <a:gd name="T17" fmla="*/ 10 h 14"/>
                <a:gd name="T18" fmla="*/ 0 w 16"/>
                <a:gd name="T19" fmla="*/ 13 h 14"/>
                <a:gd name="T20" fmla="*/ 2 w 16"/>
                <a:gd name="T21" fmla="*/ 14 h 14"/>
                <a:gd name="T22" fmla="*/ 2 w 16"/>
                <a:gd name="T23" fmla="*/ 14 h 14"/>
                <a:gd name="T24" fmla="*/ 6 w 16"/>
                <a:gd name="T25" fmla="*/ 13 h 14"/>
                <a:gd name="T26" fmla="*/ 12 w 16"/>
                <a:gd name="T27" fmla="*/ 7 h 14"/>
                <a:gd name="T28" fmla="*/ 16 w 16"/>
                <a:gd name="T29" fmla="*/ 1 h 14"/>
                <a:gd name="T30" fmla="*/ 16 w 16"/>
                <a:gd name="T31" fmla="*/ 0 h 14"/>
                <a:gd name="T32" fmla="*/ 16 w 16"/>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4">
                  <a:moveTo>
                    <a:pt x="16" y="0"/>
                  </a:moveTo>
                  <a:lnTo>
                    <a:pt x="16" y="0"/>
                  </a:lnTo>
                  <a:lnTo>
                    <a:pt x="13" y="0"/>
                  </a:lnTo>
                  <a:lnTo>
                    <a:pt x="12" y="1"/>
                  </a:lnTo>
                  <a:lnTo>
                    <a:pt x="9" y="3"/>
                  </a:lnTo>
                  <a:lnTo>
                    <a:pt x="6" y="4"/>
                  </a:lnTo>
                  <a:lnTo>
                    <a:pt x="6" y="4"/>
                  </a:lnTo>
                  <a:lnTo>
                    <a:pt x="3" y="7"/>
                  </a:lnTo>
                  <a:lnTo>
                    <a:pt x="0" y="10"/>
                  </a:lnTo>
                  <a:lnTo>
                    <a:pt x="0" y="13"/>
                  </a:lnTo>
                  <a:lnTo>
                    <a:pt x="2" y="14"/>
                  </a:lnTo>
                  <a:lnTo>
                    <a:pt x="2" y="14"/>
                  </a:lnTo>
                  <a:lnTo>
                    <a:pt x="6" y="13"/>
                  </a:lnTo>
                  <a:lnTo>
                    <a:pt x="12" y="7"/>
                  </a:lnTo>
                  <a:lnTo>
                    <a:pt x="16" y="1"/>
                  </a:lnTo>
                  <a:lnTo>
                    <a:pt x="16" y="0"/>
                  </a:lnTo>
                  <a:lnTo>
                    <a:pt x="16" y="0"/>
                  </a:lnTo>
                </a:path>
              </a:pathLst>
            </a:custGeom>
            <a:solidFill>
              <a:srgbClr val="92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78" name="Freeform 1572"/>
            <p:cNvSpPr>
              <a:spLocks/>
            </p:cNvSpPr>
            <p:nvPr/>
          </p:nvSpPr>
          <p:spPr bwMode="auto">
            <a:xfrm>
              <a:off x="8240713" y="3292476"/>
              <a:ext cx="4763" cy="4763"/>
            </a:xfrm>
            <a:custGeom>
              <a:avLst/>
              <a:gdLst>
                <a:gd name="T0" fmla="*/ 1 w 3"/>
                <a:gd name="T1" fmla="*/ 0 h 3"/>
                <a:gd name="T2" fmla="*/ 1 w 3"/>
                <a:gd name="T3" fmla="*/ 0 h 3"/>
                <a:gd name="T4" fmla="*/ 0 w 3"/>
                <a:gd name="T5" fmla="*/ 0 h 3"/>
                <a:gd name="T6" fmla="*/ 0 w 3"/>
                <a:gd name="T7" fmla="*/ 2 h 3"/>
                <a:gd name="T8" fmla="*/ 0 w 3"/>
                <a:gd name="T9" fmla="*/ 3 h 3"/>
                <a:gd name="T10" fmla="*/ 0 w 3"/>
                <a:gd name="T11" fmla="*/ 3 h 3"/>
                <a:gd name="T12" fmla="*/ 0 w 3"/>
                <a:gd name="T13" fmla="*/ 3 h 3"/>
                <a:gd name="T14" fmla="*/ 3 w 3"/>
                <a:gd name="T15" fmla="*/ 2 h 3"/>
                <a:gd name="T16" fmla="*/ 3 w 3"/>
                <a:gd name="T17" fmla="*/ 0 h 3"/>
                <a:gd name="T18" fmla="*/ 1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1" y="0"/>
                  </a:moveTo>
                  <a:lnTo>
                    <a:pt x="1" y="0"/>
                  </a:lnTo>
                  <a:lnTo>
                    <a:pt x="0" y="0"/>
                  </a:lnTo>
                  <a:lnTo>
                    <a:pt x="0" y="2"/>
                  </a:lnTo>
                  <a:lnTo>
                    <a:pt x="0" y="3"/>
                  </a:lnTo>
                  <a:lnTo>
                    <a:pt x="0" y="3"/>
                  </a:lnTo>
                  <a:lnTo>
                    <a:pt x="0" y="3"/>
                  </a:lnTo>
                  <a:lnTo>
                    <a:pt x="3" y="2"/>
                  </a:lnTo>
                  <a:lnTo>
                    <a:pt x="3" y="0"/>
                  </a:lnTo>
                  <a:lnTo>
                    <a:pt x="1" y="0"/>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79" name="Freeform 1573"/>
            <p:cNvSpPr>
              <a:spLocks/>
            </p:cNvSpPr>
            <p:nvPr/>
          </p:nvSpPr>
          <p:spPr bwMode="auto">
            <a:xfrm>
              <a:off x="8240713" y="3292476"/>
              <a:ext cx="4763" cy="4763"/>
            </a:xfrm>
            <a:custGeom>
              <a:avLst/>
              <a:gdLst>
                <a:gd name="T0" fmla="*/ 1 w 3"/>
                <a:gd name="T1" fmla="*/ 0 h 3"/>
                <a:gd name="T2" fmla="*/ 1 w 3"/>
                <a:gd name="T3" fmla="*/ 0 h 3"/>
                <a:gd name="T4" fmla="*/ 0 w 3"/>
                <a:gd name="T5" fmla="*/ 0 h 3"/>
                <a:gd name="T6" fmla="*/ 0 w 3"/>
                <a:gd name="T7" fmla="*/ 2 h 3"/>
                <a:gd name="T8" fmla="*/ 0 w 3"/>
                <a:gd name="T9" fmla="*/ 3 h 3"/>
                <a:gd name="T10" fmla="*/ 0 w 3"/>
                <a:gd name="T11" fmla="*/ 3 h 3"/>
                <a:gd name="T12" fmla="*/ 0 w 3"/>
                <a:gd name="T13" fmla="*/ 3 h 3"/>
                <a:gd name="T14" fmla="*/ 3 w 3"/>
                <a:gd name="T15" fmla="*/ 2 h 3"/>
                <a:gd name="T16" fmla="*/ 3 w 3"/>
                <a:gd name="T17" fmla="*/ 0 h 3"/>
                <a:gd name="T18" fmla="*/ 1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1" y="0"/>
                  </a:moveTo>
                  <a:lnTo>
                    <a:pt x="1" y="0"/>
                  </a:lnTo>
                  <a:lnTo>
                    <a:pt x="0" y="0"/>
                  </a:lnTo>
                  <a:lnTo>
                    <a:pt x="0" y="2"/>
                  </a:lnTo>
                  <a:lnTo>
                    <a:pt x="0" y="3"/>
                  </a:lnTo>
                  <a:lnTo>
                    <a:pt x="0" y="3"/>
                  </a:lnTo>
                  <a:lnTo>
                    <a:pt x="0" y="3"/>
                  </a:lnTo>
                  <a:lnTo>
                    <a:pt x="3" y="2"/>
                  </a:lnTo>
                  <a:lnTo>
                    <a:pt x="3"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80" name="Freeform 1574"/>
            <p:cNvSpPr>
              <a:spLocks/>
            </p:cNvSpPr>
            <p:nvPr/>
          </p:nvSpPr>
          <p:spPr bwMode="auto">
            <a:xfrm>
              <a:off x="7570788" y="4014789"/>
              <a:ext cx="14288" cy="19050"/>
            </a:xfrm>
            <a:custGeom>
              <a:avLst/>
              <a:gdLst>
                <a:gd name="T0" fmla="*/ 8 w 9"/>
                <a:gd name="T1" fmla="*/ 0 h 12"/>
                <a:gd name="T2" fmla="*/ 8 w 9"/>
                <a:gd name="T3" fmla="*/ 0 h 12"/>
                <a:gd name="T4" fmla="*/ 5 w 9"/>
                <a:gd name="T5" fmla="*/ 1 h 12"/>
                <a:gd name="T6" fmla="*/ 2 w 9"/>
                <a:gd name="T7" fmla="*/ 4 h 12"/>
                <a:gd name="T8" fmla="*/ 0 w 9"/>
                <a:gd name="T9" fmla="*/ 9 h 12"/>
                <a:gd name="T10" fmla="*/ 0 w 9"/>
                <a:gd name="T11" fmla="*/ 10 h 12"/>
                <a:gd name="T12" fmla="*/ 0 w 9"/>
                <a:gd name="T13" fmla="*/ 12 h 12"/>
                <a:gd name="T14" fmla="*/ 0 w 9"/>
                <a:gd name="T15" fmla="*/ 12 h 12"/>
                <a:gd name="T16" fmla="*/ 5 w 9"/>
                <a:gd name="T17" fmla="*/ 10 h 12"/>
                <a:gd name="T18" fmla="*/ 8 w 9"/>
                <a:gd name="T19" fmla="*/ 7 h 12"/>
                <a:gd name="T20" fmla="*/ 9 w 9"/>
                <a:gd name="T21" fmla="*/ 3 h 12"/>
                <a:gd name="T22" fmla="*/ 9 w 9"/>
                <a:gd name="T23" fmla="*/ 1 h 12"/>
                <a:gd name="T24" fmla="*/ 8 w 9"/>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2">
                  <a:moveTo>
                    <a:pt x="8" y="0"/>
                  </a:moveTo>
                  <a:lnTo>
                    <a:pt x="8" y="0"/>
                  </a:lnTo>
                  <a:lnTo>
                    <a:pt x="5" y="1"/>
                  </a:lnTo>
                  <a:lnTo>
                    <a:pt x="2" y="4"/>
                  </a:lnTo>
                  <a:lnTo>
                    <a:pt x="0" y="9"/>
                  </a:lnTo>
                  <a:lnTo>
                    <a:pt x="0" y="10"/>
                  </a:lnTo>
                  <a:lnTo>
                    <a:pt x="0" y="12"/>
                  </a:lnTo>
                  <a:lnTo>
                    <a:pt x="0" y="12"/>
                  </a:lnTo>
                  <a:lnTo>
                    <a:pt x="5" y="10"/>
                  </a:lnTo>
                  <a:lnTo>
                    <a:pt x="8" y="7"/>
                  </a:lnTo>
                  <a:lnTo>
                    <a:pt x="9" y="3"/>
                  </a:lnTo>
                  <a:lnTo>
                    <a:pt x="9" y="1"/>
                  </a:lnTo>
                  <a:lnTo>
                    <a:pt x="8" y="0"/>
                  </a:lnTo>
                  <a:close/>
                </a:path>
              </a:pathLst>
            </a:custGeom>
            <a:solidFill>
              <a:srgbClr val="0DA0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81" name="Freeform 1575"/>
            <p:cNvSpPr>
              <a:spLocks/>
            </p:cNvSpPr>
            <p:nvPr/>
          </p:nvSpPr>
          <p:spPr bwMode="auto">
            <a:xfrm>
              <a:off x="7570788" y="4014789"/>
              <a:ext cx="14288" cy="19050"/>
            </a:xfrm>
            <a:custGeom>
              <a:avLst/>
              <a:gdLst>
                <a:gd name="T0" fmla="*/ 8 w 9"/>
                <a:gd name="T1" fmla="*/ 0 h 12"/>
                <a:gd name="T2" fmla="*/ 8 w 9"/>
                <a:gd name="T3" fmla="*/ 0 h 12"/>
                <a:gd name="T4" fmla="*/ 5 w 9"/>
                <a:gd name="T5" fmla="*/ 1 h 12"/>
                <a:gd name="T6" fmla="*/ 2 w 9"/>
                <a:gd name="T7" fmla="*/ 4 h 12"/>
                <a:gd name="T8" fmla="*/ 0 w 9"/>
                <a:gd name="T9" fmla="*/ 9 h 12"/>
                <a:gd name="T10" fmla="*/ 0 w 9"/>
                <a:gd name="T11" fmla="*/ 10 h 12"/>
                <a:gd name="T12" fmla="*/ 0 w 9"/>
                <a:gd name="T13" fmla="*/ 12 h 12"/>
                <a:gd name="T14" fmla="*/ 0 w 9"/>
                <a:gd name="T15" fmla="*/ 12 h 12"/>
                <a:gd name="T16" fmla="*/ 5 w 9"/>
                <a:gd name="T17" fmla="*/ 10 h 12"/>
                <a:gd name="T18" fmla="*/ 8 w 9"/>
                <a:gd name="T19" fmla="*/ 7 h 12"/>
                <a:gd name="T20" fmla="*/ 9 w 9"/>
                <a:gd name="T21" fmla="*/ 3 h 12"/>
                <a:gd name="T22" fmla="*/ 9 w 9"/>
                <a:gd name="T23" fmla="*/ 1 h 12"/>
                <a:gd name="T24" fmla="*/ 8 w 9"/>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2">
                  <a:moveTo>
                    <a:pt x="8" y="0"/>
                  </a:moveTo>
                  <a:lnTo>
                    <a:pt x="8" y="0"/>
                  </a:lnTo>
                  <a:lnTo>
                    <a:pt x="5" y="1"/>
                  </a:lnTo>
                  <a:lnTo>
                    <a:pt x="2" y="4"/>
                  </a:lnTo>
                  <a:lnTo>
                    <a:pt x="0" y="9"/>
                  </a:lnTo>
                  <a:lnTo>
                    <a:pt x="0" y="10"/>
                  </a:lnTo>
                  <a:lnTo>
                    <a:pt x="0" y="12"/>
                  </a:lnTo>
                  <a:lnTo>
                    <a:pt x="0" y="12"/>
                  </a:lnTo>
                  <a:lnTo>
                    <a:pt x="5" y="10"/>
                  </a:lnTo>
                  <a:lnTo>
                    <a:pt x="8" y="7"/>
                  </a:lnTo>
                  <a:lnTo>
                    <a:pt x="9" y="3"/>
                  </a:lnTo>
                  <a:lnTo>
                    <a:pt x="9" y="1"/>
                  </a:lnTo>
                  <a:lnTo>
                    <a:pt x="8" y="0"/>
                  </a:lnTo>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82" name="Freeform 1576"/>
            <p:cNvSpPr>
              <a:spLocks/>
            </p:cNvSpPr>
            <p:nvPr/>
          </p:nvSpPr>
          <p:spPr bwMode="auto">
            <a:xfrm>
              <a:off x="7729538" y="4178301"/>
              <a:ext cx="4763" cy="4763"/>
            </a:xfrm>
            <a:custGeom>
              <a:avLst/>
              <a:gdLst>
                <a:gd name="T0" fmla="*/ 3 w 3"/>
                <a:gd name="T1" fmla="*/ 3 h 3"/>
                <a:gd name="T2" fmla="*/ 3 w 3"/>
                <a:gd name="T3" fmla="*/ 3 h 3"/>
                <a:gd name="T4" fmla="*/ 2 w 3"/>
                <a:gd name="T5" fmla="*/ 3 h 3"/>
                <a:gd name="T6" fmla="*/ 2 w 3"/>
                <a:gd name="T7" fmla="*/ 3 h 3"/>
                <a:gd name="T8" fmla="*/ 0 w 3"/>
                <a:gd name="T9" fmla="*/ 1 h 3"/>
                <a:gd name="T10" fmla="*/ 0 w 3"/>
                <a:gd name="T11" fmla="*/ 1 h 3"/>
                <a:gd name="T12" fmla="*/ 2 w 3"/>
                <a:gd name="T13" fmla="*/ 0 h 3"/>
                <a:gd name="T14" fmla="*/ 2 w 3"/>
                <a:gd name="T15" fmla="*/ 0 h 3"/>
                <a:gd name="T16" fmla="*/ 3 w 3"/>
                <a:gd name="T17" fmla="*/ 0 h 3"/>
                <a:gd name="T18" fmla="*/ 3 w 3"/>
                <a:gd name="T19" fmla="*/ 0 h 3"/>
                <a:gd name="T20" fmla="*/ 3 w 3"/>
                <a:gd name="T21" fmla="*/ 1 h 3"/>
                <a:gd name="T22" fmla="*/ 3 w 3"/>
                <a:gd name="T23" fmla="*/ 1 h 3"/>
                <a:gd name="T24" fmla="*/ 3 w 3"/>
                <a:gd name="T25" fmla="*/ 1 h 3"/>
                <a:gd name="T26" fmla="*/ 3 w 3"/>
                <a:gd name="T2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3">
                  <a:moveTo>
                    <a:pt x="3" y="3"/>
                  </a:moveTo>
                  <a:lnTo>
                    <a:pt x="3" y="3"/>
                  </a:lnTo>
                  <a:lnTo>
                    <a:pt x="2" y="3"/>
                  </a:lnTo>
                  <a:lnTo>
                    <a:pt x="2" y="3"/>
                  </a:lnTo>
                  <a:lnTo>
                    <a:pt x="0" y="1"/>
                  </a:lnTo>
                  <a:lnTo>
                    <a:pt x="0" y="1"/>
                  </a:lnTo>
                  <a:lnTo>
                    <a:pt x="2" y="0"/>
                  </a:lnTo>
                  <a:lnTo>
                    <a:pt x="2" y="0"/>
                  </a:lnTo>
                  <a:lnTo>
                    <a:pt x="3" y="0"/>
                  </a:lnTo>
                  <a:lnTo>
                    <a:pt x="3" y="0"/>
                  </a:lnTo>
                  <a:lnTo>
                    <a:pt x="3" y="1"/>
                  </a:lnTo>
                  <a:lnTo>
                    <a:pt x="3" y="1"/>
                  </a:lnTo>
                  <a:lnTo>
                    <a:pt x="3" y="1"/>
                  </a:lnTo>
                  <a:lnTo>
                    <a:pt x="3" y="3"/>
                  </a:lnTo>
                  <a:close/>
                </a:path>
              </a:pathLst>
            </a:custGeom>
            <a:solidFill>
              <a:srgbClr val="CFCF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83" name="Freeform 1577"/>
            <p:cNvSpPr>
              <a:spLocks/>
            </p:cNvSpPr>
            <p:nvPr/>
          </p:nvSpPr>
          <p:spPr bwMode="auto">
            <a:xfrm>
              <a:off x="7729538" y="4178301"/>
              <a:ext cx="4763" cy="4763"/>
            </a:xfrm>
            <a:custGeom>
              <a:avLst/>
              <a:gdLst>
                <a:gd name="T0" fmla="*/ 3 w 3"/>
                <a:gd name="T1" fmla="*/ 3 h 3"/>
                <a:gd name="T2" fmla="*/ 3 w 3"/>
                <a:gd name="T3" fmla="*/ 3 h 3"/>
                <a:gd name="T4" fmla="*/ 2 w 3"/>
                <a:gd name="T5" fmla="*/ 3 h 3"/>
                <a:gd name="T6" fmla="*/ 2 w 3"/>
                <a:gd name="T7" fmla="*/ 3 h 3"/>
                <a:gd name="T8" fmla="*/ 0 w 3"/>
                <a:gd name="T9" fmla="*/ 1 h 3"/>
                <a:gd name="T10" fmla="*/ 0 w 3"/>
                <a:gd name="T11" fmla="*/ 1 h 3"/>
                <a:gd name="T12" fmla="*/ 2 w 3"/>
                <a:gd name="T13" fmla="*/ 0 h 3"/>
                <a:gd name="T14" fmla="*/ 2 w 3"/>
                <a:gd name="T15" fmla="*/ 0 h 3"/>
                <a:gd name="T16" fmla="*/ 3 w 3"/>
                <a:gd name="T17" fmla="*/ 0 h 3"/>
                <a:gd name="T18" fmla="*/ 3 w 3"/>
                <a:gd name="T19" fmla="*/ 0 h 3"/>
                <a:gd name="T20" fmla="*/ 3 w 3"/>
                <a:gd name="T21" fmla="*/ 1 h 3"/>
                <a:gd name="T22" fmla="*/ 3 w 3"/>
                <a:gd name="T23" fmla="*/ 1 h 3"/>
                <a:gd name="T24" fmla="*/ 3 w 3"/>
                <a:gd name="T25" fmla="*/ 1 h 3"/>
                <a:gd name="T26" fmla="*/ 3 w 3"/>
                <a:gd name="T2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3">
                  <a:moveTo>
                    <a:pt x="3" y="3"/>
                  </a:moveTo>
                  <a:lnTo>
                    <a:pt x="3" y="3"/>
                  </a:lnTo>
                  <a:lnTo>
                    <a:pt x="2" y="3"/>
                  </a:lnTo>
                  <a:lnTo>
                    <a:pt x="2" y="3"/>
                  </a:lnTo>
                  <a:lnTo>
                    <a:pt x="0" y="1"/>
                  </a:lnTo>
                  <a:lnTo>
                    <a:pt x="0" y="1"/>
                  </a:lnTo>
                  <a:lnTo>
                    <a:pt x="2" y="0"/>
                  </a:lnTo>
                  <a:lnTo>
                    <a:pt x="2" y="0"/>
                  </a:lnTo>
                  <a:lnTo>
                    <a:pt x="3" y="0"/>
                  </a:lnTo>
                  <a:lnTo>
                    <a:pt x="3" y="0"/>
                  </a:lnTo>
                  <a:lnTo>
                    <a:pt x="3" y="1"/>
                  </a:lnTo>
                  <a:lnTo>
                    <a:pt x="3" y="1"/>
                  </a:lnTo>
                  <a:lnTo>
                    <a:pt x="3" y="1"/>
                  </a:lnTo>
                  <a:lnTo>
                    <a:pt x="3"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84" name="Freeform 1578"/>
            <p:cNvSpPr>
              <a:spLocks noEditPoints="1"/>
            </p:cNvSpPr>
            <p:nvPr/>
          </p:nvSpPr>
          <p:spPr bwMode="auto">
            <a:xfrm>
              <a:off x="6199188" y="3092451"/>
              <a:ext cx="1554163" cy="1092200"/>
            </a:xfrm>
            <a:custGeom>
              <a:avLst/>
              <a:gdLst>
                <a:gd name="T0" fmla="*/ 916 w 979"/>
                <a:gd name="T1" fmla="*/ 141 h 688"/>
                <a:gd name="T2" fmla="*/ 864 w 979"/>
                <a:gd name="T3" fmla="*/ 88 h 688"/>
                <a:gd name="T4" fmla="*/ 824 w 979"/>
                <a:gd name="T5" fmla="*/ 6 h 688"/>
                <a:gd name="T6" fmla="*/ 733 w 979"/>
                <a:gd name="T7" fmla="*/ 20 h 688"/>
                <a:gd name="T8" fmla="*/ 741 w 979"/>
                <a:gd name="T9" fmla="*/ 52 h 688"/>
                <a:gd name="T10" fmla="*/ 679 w 979"/>
                <a:gd name="T11" fmla="*/ 116 h 688"/>
                <a:gd name="T12" fmla="*/ 712 w 979"/>
                <a:gd name="T13" fmla="*/ 145 h 688"/>
                <a:gd name="T14" fmla="*/ 709 w 979"/>
                <a:gd name="T15" fmla="*/ 181 h 688"/>
                <a:gd name="T16" fmla="*/ 641 w 979"/>
                <a:gd name="T17" fmla="*/ 188 h 688"/>
                <a:gd name="T18" fmla="*/ 544 w 979"/>
                <a:gd name="T19" fmla="*/ 264 h 688"/>
                <a:gd name="T20" fmla="*/ 440 w 979"/>
                <a:gd name="T21" fmla="*/ 267 h 688"/>
                <a:gd name="T22" fmla="*/ 349 w 979"/>
                <a:gd name="T23" fmla="*/ 264 h 688"/>
                <a:gd name="T24" fmla="*/ 313 w 979"/>
                <a:gd name="T25" fmla="*/ 220 h 688"/>
                <a:gd name="T26" fmla="*/ 260 w 979"/>
                <a:gd name="T27" fmla="*/ 146 h 688"/>
                <a:gd name="T28" fmla="*/ 240 w 979"/>
                <a:gd name="T29" fmla="*/ 110 h 688"/>
                <a:gd name="T30" fmla="*/ 205 w 979"/>
                <a:gd name="T31" fmla="*/ 129 h 688"/>
                <a:gd name="T32" fmla="*/ 162 w 979"/>
                <a:gd name="T33" fmla="*/ 171 h 688"/>
                <a:gd name="T34" fmla="*/ 140 w 979"/>
                <a:gd name="T35" fmla="*/ 196 h 688"/>
                <a:gd name="T36" fmla="*/ 107 w 979"/>
                <a:gd name="T37" fmla="*/ 217 h 688"/>
                <a:gd name="T38" fmla="*/ 103 w 979"/>
                <a:gd name="T39" fmla="*/ 281 h 688"/>
                <a:gd name="T40" fmla="*/ 49 w 979"/>
                <a:gd name="T41" fmla="*/ 314 h 688"/>
                <a:gd name="T42" fmla="*/ 13 w 979"/>
                <a:gd name="T43" fmla="*/ 323 h 688"/>
                <a:gd name="T44" fmla="*/ 17 w 979"/>
                <a:gd name="T45" fmla="*/ 352 h 688"/>
                <a:gd name="T46" fmla="*/ 8 w 979"/>
                <a:gd name="T47" fmla="*/ 384 h 688"/>
                <a:gd name="T48" fmla="*/ 47 w 979"/>
                <a:gd name="T49" fmla="*/ 409 h 688"/>
                <a:gd name="T50" fmla="*/ 65 w 979"/>
                <a:gd name="T51" fmla="*/ 440 h 688"/>
                <a:gd name="T52" fmla="*/ 104 w 979"/>
                <a:gd name="T53" fmla="*/ 501 h 688"/>
                <a:gd name="T54" fmla="*/ 103 w 979"/>
                <a:gd name="T55" fmla="*/ 540 h 688"/>
                <a:gd name="T56" fmla="*/ 205 w 979"/>
                <a:gd name="T57" fmla="*/ 556 h 688"/>
                <a:gd name="T58" fmla="*/ 291 w 979"/>
                <a:gd name="T59" fmla="*/ 548 h 688"/>
                <a:gd name="T60" fmla="*/ 339 w 979"/>
                <a:gd name="T61" fmla="*/ 552 h 688"/>
                <a:gd name="T62" fmla="*/ 394 w 979"/>
                <a:gd name="T63" fmla="*/ 543 h 688"/>
                <a:gd name="T64" fmla="*/ 385 w 979"/>
                <a:gd name="T65" fmla="*/ 613 h 688"/>
                <a:gd name="T66" fmla="*/ 407 w 979"/>
                <a:gd name="T67" fmla="*/ 661 h 688"/>
                <a:gd name="T68" fmla="*/ 449 w 979"/>
                <a:gd name="T69" fmla="*/ 679 h 688"/>
                <a:gd name="T70" fmla="*/ 465 w 979"/>
                <a:gd name="T71" fmla="*/ 652 h 688"/>
                <a:gd name="T72" fmla="*/ 495 w 979"/>
                <a:gd name="T73" fmla="*/ 652 h 688"/>
                <a:gd name="T74" fmla="*/ 531 w 979"/>
                <a:gd name="T75" fmla="*/ 664 h 688"/>
                <a:gd name="T76" fmla="*/ 570 w 979"/>
                <a:gd name="T77" fmla="*/ 675 h 688"/>
                <a:gd name="T78" fmla="*/ 589 w 979"/>
                <a:gd name="T79" fmla="*/ 685 h 688"/>
                <a:gd name="T80" fmla="*/ 641 w 979"/>
                <a:gd name="T81" fmla="*/ 661 h 688"/>
                <a:gd name="T82" fmla="*/ 672 w 979"/>
                <a:gd name="T83" fmla="*/ 649 h 688"/>
                <a:gd name="T84" fmla="*/ 715 w 979"/>
                <a:gd name="T85" fmla="*/ 620 h 688"/>
                <a:gd name="T86" fmla="*/ 740 w 979"/>
                <a:gd name="T87" fmla="*/ 593 h 688"/>
                <a:gd name="T88" fmla="*/ 770 w 979"/>
                <a:gd name="T89" fmla="*/ 552 h 688"/>
                <a:gd name="T90" fmla="*/ 760 w 979"/>
                <a:gd name="T91" fmla="*/ 517 h 688"/>
                <a:gd name="T92" fmla="*/ 770 w 979"/>
                <a:gd name="T93" fmla="*/ 487 h 688"/>
                <a:gd name="T94" fmla="*/ 735 w 979"/>
                <a:gd name="T95" fmla="*/ 430 h 688"/>
                <a:gd name="T96" fmla="*/ 772 w 979"/>
                <a:gd name="T97" fmla="*/ 391 h 688"/>
                <a:gd name="T98" fmla="*/ 746 w 979"/>
                <a:gd name="T99" fmla="*/ 378 h 688"/>
                <a:gd name="T100" fmla="*/ 708 w 979"/>
                <a:gd name="T101" fmla="*/ 343 h 688"/>
                <a:gd name="T102" fmla="*/ 767 w 979"/>
                <a:gd name="T103" fmla="*/ 307 h 688"/>
                <a:gd name="T104" fmla="*/ 769 w 979"/>
                <a:gd name="T105" fmla="*/ 338 h 688"/>
                <a:gd name="T106" fmla="*/ 808 w 979"/>
                <a:gd name="T107" fmla="*/ 332 h 688"/>
                <a:gd name="T108" fmla="*/ 857 w 979"/>
                <a:gd name="T109" fmla="*/ 290 h 688"/>
                <a:gd name="T110" fmla="*/ 882 w 979"/>
                <a:gd name="T111" fmla="*/ 280 h 688"/>
                <a:gd name="T112" fmla="*/ 925 w 979"/>
                <a:gd name="T113" fmla="*/ 235 h 688"/>
                <a:gd name="T114" fmla="*/ 948 w 979"/>
                <a:gd name="T115" fmla="*/ 214 h 688"/>
                <a:gd name="T116" fmla="*/ 433 w 979"/>
                <a:gd name="T117" fmla="*/ 390 h 688"/>
                <a:gd name="T118" fmla="*/ 430 w 979"/>
                <a:gd name="T119" fmla="*/ 384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79" h="688">
                  <a:moveTo>
                    <a:pt x="977" y="136"/>
                  </a:moveTo>
                  <a:lnTo>
                    <a:pt x="977" y="136"/>
                  </a:lnTo>
                  <a:lnTo>
                    <a:pt x="969" y="139"/>
                  </a:lnTo>
                  <a:lnTo>
                    <a:pt x="958" y="141"/>
                  </a:lnTo>
                  <a:lnTo>
                    <a:pt x="958" y="141"/>
                  </a:lnTo>
                  <a:lnTo>
                    <a:pt x="954" y="142"/>
                  </a:lnTo>
                  <a:lnTo>
                    <a:pt x="945" y="145"/>
                  </a:lnTo>
                  <a:lnTo>
                    <a:pt x="938" y="148"/>
                  </a:lnTo>
                  <a:lnTo>
                    <a:pt x="932" y="149"/>
                  </a:lnTo>
                  <a:lnTo>
                    <a:pt x="932" y="149"/>
                  </a:lnTo>
                  <a:lnTo>
                    <a:pt x="928" y="149"/>
                  </a:lnTo>
                  <a:lnTo>
                    <a:pt x="924" y="146"/>
                  </a:lnTo>
                  <a:lnTo>
                    <a:pt x="919" y="144"/>
                  </a:lnTo>
                  <a:lnTo>
                    <a:pt x="916" y="141"/>
                  </a:lnTo>
                  <a:lnTo>
                    <a:pt x="916" y="141"/>
                  </a:lnTo>
                  <a:lnTo>
                    <a:pt x="916" y="132"/>
                  </a:lnTo>
                  <a:lnTo>
                    <a:pt x="915" y="128"/>
                  </a:lnTo>
                  <a:lnTo>
                    <a:pt x="914" y="125"/>
                  </a:lnTo>
                  <a:lnTo>
                    <a:pt x="914" y="125"/>
                  </a:lnTo>
                  <a:lnTo>
                    <a:pt x="895" y="110"/>
                  </a:lnTo>
                  <a:lnTo>
                    <a:pt x="895" y="110"/>
                  </a:lnTo>
                  <a:lnTo>
                    <a:pt x="886" y="103"/>
                  </a:lnTo>
                  <a:lnTo>
                    <a:pt x="874" y="99"/>
                  </a:lnTo>
                  <a:lnTo>
                    <a:pt x="874" y="99"/>
                  </a:lnTo>
                  <a:lnTo>
                    <a:pt x="867" y="96"/>
                  </a:lnTo>
                  <a:lnTo>
                    <a:pt x="864" y="93"/>
                  </a:lnTo>
                  <a:lnTo>
                    <a:pt x="864" y="88"/>
                  </a:lnTo>
                  <a:lnTo>
                    <a:pt x="864" y="88"/>
                  </a:lnTo>
                  <a:lnTo>
                    <a:pt x="863" y="83"/>
                  </a:lnTo>
                  <a:lnTo>
                    <a:pt x="860" y="75"/>
                  </a:lnTo>
                  <a:lnTo>
                    <a:pt x="857" y="68"/>
                  </a:lnTo>
                  <a:lnTo>
                    <a:pt x="856" y="64"/>
                  </a:lnTo>
                  <a:lnTo>
                    <a:pt x="856" y="64"/>
                  </a:lnTo>
                  <a:lnTo>
                    <a:pt x="856" y="58"/>
                  </a:lnTo>
                  <a:lnTo>
                    <a:pt x="856" y="55"/>
                  </a:lnTo>
                  <a:lnTo>
                    <a:pt x="854" y="52"/>
                  </a:lnTo>
                  <a:lnTo>
                    <a:pt x="854" y="52"/>
                  </a:lnTo>
                  <a:lnTo>
                    <a:pt x="840" y="28"/>
                  </a:lnTo>
                  <a:lnTo>
                    <a:pt x="831" y="15"/>
                  </a:lnTo>
                  <a:lnTo>
                    <a:pt x="828" y="9"/>
                  </a:lnTo>
                  <a:lnTo>
                    <a:pt x="824" y="6"/>
                  </a:lnTo>
                  <a:lnTo>
                    <a:pt x="824" y="6"/>
                  </a:lnTo>
                  <a:lnTo>
                    <a:pt x="819" y="4"/>
                  </a:lnTo>
                  <a:lnTo>
                    <a:pt x="817" y="6"/>
                  </a:lnTo>
                  <a:lnTo>
                    <a:pt x="814" y="6"/>
                  </a:lnTo>
                  <a:lnTo>
                    <a:pt x="811" y="6"/>
                  </a:lnTo>
                  <a:lnTo>
                    <a:pt x="811" y="6"/>
                  </a:lnTo>
                  <a:lnTo>
                    <a:pt x="802" y="2"/>
                  </a:lnTo>
                  <a:lnTo>
                    <a:pt x="793" y="0"/>
                  </a:lnTo>
                  <a:lnTo>
                    <a:pt x="793" y="0"/>
                  </a:lnTo>
                  <a:lnTo>
                    <a:pt x="772" y="2"/>
                  </a:lnTo>
                  <a:lnTo>
                    <a:pt x="747" y="4"/>
                  </a:lnTo>
                  <a:lnTo>
                    <a:pt x="747" y="4"/>
                  </a:lnTo>
                  <a:lnTo>
                    <a:pt x="743" y="9"/>
                  </a:lnTo>
                  <a:lnTo>
                    <a:pt x="737" y="15"/>
                  </a:lnTo>
                  <a:lnTo>
                    <a:pt x="733" y="20"/>
                  </a:lnTo>
                  <a:lnTo>
                    <a:pt x="733" y="23"/>
                  </a:lnTo>
                  <a:lnTo>
                    <a:pt x="733" y="25"/>
                  </a:lnTo>
                  <a:lnTo>
                    <a:pt x="733" y="25"/>
                  </a:lnTo>
                  <a:lnTo>
                    <a:pt x="738" y="28"/>
                  </a:lnTo>
                  <a:lnTo>
                    <a:pt x="741" y="29"/>
                  </a:lnTo>
                  <a:lnTo>
                    <a:pt x="741" y="32"/>
                  </a:lnTo>
                  <a:lnTo>
                    <a:pt x="741" y="32"/>
                  </a:lnTo>
                  <a:lnTo>
                    <a:pt x="741" y="36"/>
                  </a:lnTo>
                  <a:lnTo>
                    <a:pt x="740" y="41"/>
                  </a:lnTo>
                  <a:lnTo>
                    <a:pt x="738" y="44"/>
                  </a:lnTo>
                  <a:lnTo>
                    <a:pt x="740" y="46"/>
                  </a:lnTo>
                  <a:lnTo>
                    <a:pt x="740" y="46"/>
                  </a:lnTo>
                  <a:lnTo>
                    <a:pt x="743" y="49"/>
                  </a:lnTo>
                  <a:lnTo>
                    <a:pt x="741" y="52"/>
                  </a:lnTo>
                  <a:lnTo>
                    <a:pt x="741" y="52"/>
                  </a:lnTo>
                  <a:lnTo>
                    <a:pt x="734" y="62"/>
                  </a:lnTo>
                  <a:lnTo>
                    <a:pt x="728" y="73"/>
                  </a:lnTo>
                  <a:lnTo>
                    <a:pt x="728" y="73"/>
                  </a:lnTo>
                  <a:lnTo>
                    <a:pt x="727" y="83"/>
                  </a:lnTo>
                  <a:lnTo>
                    <a:pt x="724" y="90"/>
                  </a:lnTo>
                  <a:lnTo>
                    <a:pt x="724" y="90"/>
                  </a:lnTo>
                  <a:lnTo>
                    <a:pt x="717" y="97"/>
                  </a:lnTo>
                  <a:lnTo>
                    <a:pt x="708" y="103"/>
                  </a:lnTo>
                  <a:lnTo>
                    <a:pt x="708" y="103"/>
                  </a:lnTo>
                  <a:lnTo>
                    <a:pt x="698" y="103"/>
                  </a:lnTo>
                  <a:lnTo>
                    <a:pt x="686" y="100"/>
                  </a:lnTo>
                  <a:lnTo>
                    <a:pt x="686" y="100"/>
                  </a:lnTo>
                  <a:lnTo>
                    <a:pt x="679" y="116"/>
                  </a:lnTo>
                  <a:lnTo>
                    <a:pt x="678" y="125"/>
                  </a:lnTo>
                  <a:lnTo>
                    <a:pt x="678" y="130"/>
                  </a:lnTo>
                  <a:lnTo>
                    <a:pt x="678" y="130"/>
                  </a:lnTo>
                  <a:lnTo>
                    <a:pt x="680" y="139"/>
                  </a:lnTo>
                  <a:lnTo>
                    <a:pt x="683" y="146"/>
                  </a:lnTo>
                  <a:lnTo>
                    <a:pt x="686" y="152"/>
                  </a:lnTo>
                  <a:lnTo>
                    <a:pt x="688" y="154"/>
                  </a:lnTo>
                  <a:lnTo>
                    <a:pt x="689" y="154"/>
                  </a:lnTo>
                  <a:lnTo>
                    <a:pt x="689" y="154"/>
                  </a:lnTo>
                  <a:lnTo>
                    <a:pt x="693" y="152"/>
                  </a:lnTo>
                  <a:lnTo>
                    <a:pt x="699" y="149"/>
                  </a:lnTo>
                  <a:lnTo>
                    <a:pt x="705" y="146"/>
                  </a:lnTo>
                  <a:lnTo>
                    <a:pt x="708" y="145"/>
                  </a:lnTo>
                  <a:lnTo>
                    <a:pt x="712" y="145"/>
                  </a:lnTo>
                  <a:lnTo>
                    <a:pt x="712" y="145"/>
                  </a:lnTo>
                  <a:lnTo>
                    <a:pt x="725" y="149"/>
                  </a:lnTo>
                  <a:lnTo>
                    <a:pt x="733" y="152"/>
                  </a:lnTo>
                  <a:lnTo>
                    <a:pt x="735" y="154"/>
                  </a:lnTo>
                  <a:lnTo>
                    <a:pt x="735" y="154"/>
                  </a:lnTo>
                  <a:lnTo>
                    <a:pt x="735" y="159"/>
                  </a:lnTo>
                  <a:lnTo>
                    <a:pt x="735" y="167"/>
                  </a:lnTo>
                  <a:lnTo>
                    <a:pt x="734" y="174"/>
                  </a:lnTo>
                  <a:lnTo>
                    <a:pt x="733" y="177"/>
                  </a:lnTo>
                  <a:lnTo>
                    <a:pt x="730" y="178"/>
                  </a:lnTo>
                  <a:lnTo>
                    <a:pt x="730" y="178"/>
                  </a:lnTo>
                  <a:lnTo>
                    <a:pt x="724" y="180"/>
                  </a:lnTo>
                  <a:lnTo>
                    <a:pt x="717" y="180"/>
                  </a:lnTo>
                  <a:lnTo>
                    <a:pt x="709" y="181"/>
                  </a:lnTo>
                  <a:lnTo>
                    <a:pt x="704" y="183"/>
                  </a:lnTo>
                  <a:lnTo>
                    <a:pt x="704" y="183"/>
                  </a:lnTo>
                  <a:lnTo>
                    <a:pt x="682" y="199"/>
                  </a:lnTo>
                  <a:lnTo>
                    <a:pt x="667" y="207"/>
                  </a:lnTo>
                  <a:lnTo>
                    <a:pt x="662" y="209"/>
                  </a:lnTo>
                  <a:lnTo>
                    <a:pt x="659" y="209"/>
                  </a:lnTo>
                  <a:lnTo>
                    <a:pt x="659" y="209"/>
                  </a:lnTo>
                  <a:lnTo>
                    <a:pt x="654" y="207"/>
                  </a:lnTo>
                  <a:lnTo>
                    <a:pt x="653" y="204"/>
                  </a:lnTo>
                  <a:lnTo>
                    <a:pt x="649" y="199"/>
                  </a:lnTo>
                  <a:lnTo>
                    <a:pt x="644" y="191"/>
                  </a:lnTo>
                  <a:lnTo>
                    <a:pt x="643" y="188"/>
                  </a:lnTo>
                  <a:lnTo>
                    <a:pt x="641" y="188"/>
                  </a:lnTo>
                  <a:lnTo>
                    <a:pt x="641" y="188"/>
                  </a:lnTo>
                  <a:lnTo>
                    <a:pt x="637" y="187"/>
                  </a:lnTo>
                  <a:lnTo>
                    <a:pt x="634" y="190"/>
                  </a:lnTo>
                  <a:lnTo>
                    <a:pt x="631" y="193"/>
                  </a:lnTo>
                  <a:lnTo>
                    <a:pt x="628" y="197"/>
                  </a:lnTo>
                  <a:lnTo>
                    <a:pt x="628" y="197"/>
                  </a:lnTo>
                  <a:lnTo>
                    <a:pt x="620" y="210"/>
                  </a:lnTo>
                  <a:lnTo>
                    <a:pt x="605" y="229"/>
                  </a:lnTo>
                  <a:lnTo>
                    <a:pt x="588" y="248"/>
                  </a:lnTo>
                  <a:lnTo>
                    <a:pt x="580" y="254"/>
                  </a:lnTo>
                  <a:lnTo>
                    <a:pt x="575" y="256"/>
                  </a:lnTo>
                  <a:lnTo>
                    <a:pt x="575" y="256"/>
                  </a:lnTo>
                  <a:lnTo>
                    <a:pt x="557" y="259"/>
                  </a:lnTo>
                  <a:lnTo>
                    <a:pt x="552" y="261"/>
                  </a:lnTo>
                  <a:lnTo>
                    <a:pt x="544" y="264"/>
                  </a:lnTo>
                  <a:lnTo>
                    <a:pt x="544" y="264"/>
                  </a:lnTo>
                  <a:lnTo>
                    <a:pt x="530" y="270"/>
                  </a:lnTo>
                  <a:lnTo>
                    <a:pt x="507" y="277"/>
                  </a:lnTo>
                  <a:lnTo>
                    <a:pt x="485" y="281"/>
                  </a:lnTo>
                  <a:lnTo>
                    <a:pt x="476" y="283"/>
                  </a:lnTo>
                  <a:lnTo>
                    <a:pt x="469" y="283"/>
                  </a:lnTo>
                  <a:lnTo>
                    <a:pt x="469" y="283"/>
                  </a:lnTo>
                  <a:lnTo>
                    <a:pt x="466" y="281"/>
                  </a:lnTo>
                  <a:lnTo>
                    <a:pt x="462" y="278"/>
                  </a:lnTo>
                  <a:lnTo>
                    <a:pt x="456" y="274"/>
                  </a:lnTo>
                  <a:lnTo>
                    <a:pt x="449" y="270"/>
                  </a:lnTo>
                  <a:lnTo>
                    <a:pt x="446" y="268"/>
                  </a:lnTo>
                  <a:lnTo>
                    <a:pt x="440" y="267"/>
                  </a:lnTo>
                  <a:lnTo>
                    <a:pt x="440" y="267"/>
                  </a:lnTo>
                  <a:lnTo>
                    <a:pt x="426" y="267"/>
                  </a:lnTo>
                  <a:lnTo>
                    <a:pt x="418" y="262"/>
                  </a:lnTo>
                  <a:lnTo>
                    <a:pt x="418" y="262"/>
                  </a:lnTo>
                  <a:lnTo>
                    <a:pt x="412" y="261"/>
                  </a:lnTo>
                  <a:lnTo>
                    <a:pt x="407" y="259"/>
                  </a:lnTo>
                  <a:lnTo>
                    <a:pt x="399" y="259"/>
                  </a:lnTo>
                  <a:lnTo>
                    <a:pt x="394" y="261"/>
                  </a:lnTo>
                  <a:lnTo>
                    <a:pt x="394" y="261"/>
                  </a:lnTo>
                  <a:lnTo>
                    <a:pt x="385" y="262"/>
                  </a:lnTo>
                  <a:lnTo>
                    <a:pt x="370" y="265"/>
                  </a:lnTo>
                  <a:lnTo>
                    <a:pt x="357" y="265"/>
                  </a:lnTo>
                  <a:lnTo>
                    <a:pt x="352" y="265"/>
                  </a:lnTo>
                  <a:lnTo>
                    <a:pt x="349" y="264"/>
                  </a:lnTo>
                  <a:lnTo>
                    <a:pt x="349" y="264"/>
                  </a:lnTo>
                  <a:lnTo>
                    <a:pt x="339" y="254"/>
                  </a:lnTo>
                  <a:lnTo>
                    <a:pt x="334" y="248"/>
                  </a:lnTo>
                  <a:lnTo>
                    <a:pt x="334" y="245"/>
                  </a:lnTo>
                  <a:lnTo>
                    <a:pt x="334" y="243"/>
                  </a:lnTo>
                  <a:lnTo>
                    <a:pt x="334" y="243"/>
                  </a:lnTo>
                  <a:lnTo>
                    <a:pt x="339" y="236"/>
                  </a:lnTo>
                  <a:lnTo>
                    <a:pt x="341" y="233"/>
                  </a:lnTo>
                  <a:lnTo>
                    <a:pt x="341" y="232"/>
                  </a:lnTo>
                  <a:lnTo>
                    <a:pt x="341" y="232"/>
                  </a:lnTo>
                  <a:lnTo>
                    <a:pt x="336" y="228"/>
                  </a:lnTo>
                  <a:lnTo>
                    <a:pt x="328" y="223"/>
                  </a:lnTo>
                  <a:lnTo>
                    <a:pt x="328" y="223"/>
                  </a:lnTo>
                  <a:lnTo>
                    <a:pt x="323" y="222"/>
                  </a:lnTo>
                  <a:lnTo>
                    <a:pt x="313" y="220"/>
                  </a:lnTo>
                  <a:lnTo>
                    <a:pt x="304" y="217"/>
                  </a:lnTo>
                  <a:lnTo>
                    <a:pt x="302" y="217"/>
                  </a:lnTo>
                  <a:lnTo>
                    <a:pt x="301" y="214"/>
                  </a:lnTo>
                  <a:lnTo>
                    <a:pt x="301" y="214"/>
                  </a:lnTo>
                  <a:lnTo>
                    <a:pt x="299" y="194"/>
                  </a:lnTo>
                  <a:lnTo>
                    <a:pt x="298" y="180"/>
                  </a:lnTo>
                  <a:lnTo>
                    <a:pt x="297" y="175"/>
                  </a:lnTo>
                  <a:lnTo>
                    <a:pt x="294" y="171"/>
                  </a:lnTo>
                  <a:lnTo>
                    <a:pt x="294" y="171"/>
                  </a:lnTo>
                  <a:lnTo>
                    <a:pt x="285" y="165"/>
                  </a:lnTo>
                  <a:lnTo>
                    <a:pt x="272" y="158"/>
                  </a:lnTo>
                  <a:lnTo>
                    <a:pt x="266" y="154"/>
                  </a:lnTo>
                  <a:lnTo>
                    <a:pt x="262" y="151"/>
                  </a:lnTo>
                  <a:lnTo>
                    <a:pt x="260" y="146"/>
                  </a:lnTo>
                  <a:lnTo>
                    <a:pt x="260" y="144"/>
                  </a:lnTo>
                  <a:lnTo>
                    <a:pt x="260" y="144"/>
                  </a:lnTo>
                  <a:lnTo>
                    <a:pt x="266" y="135"/>
                  </a:lnTo>
                  <a:lnTo>
                    <a:pt x="266" y="132"/>
                  </a:lnTo>
                  <a:lnTo>
                    <a:pt x="265" y="129"/>
                  </a:lnTo>
                  <a:lnTo>
                    <a:pt x="265" y="129"/>
                  </a:lnTo>
                  <a:lnTo>
                    <a:pt x="260" y="126"/>
                  </a:lnTo>
                  <a:lnTo>
                    <a:pt x="255" y="123"/>
                  </a:lnTo>
                  <a:lnTo>
                    <a:pt x="249" y="119"/>
                  </a:lnTo>
                  <a:lnTo>
                    <a:pt x="246" y="116"/>
                  </a:lnTo>
                  <a:lnTo>
                    <a:pt x="246" y="116"/>
                  </a:lnTo>
                  <a:lnTo>
                    <a:pt x="244" y="109"/>
                  </a:lnTo>
                  <a:lnTo>
                    <a:pt x="244" y="109"/>
                  </a:lnTo>
                  <a:lnTo>
                    <a:pt x="240" y="110"/>
                  </a:lnTo>
                  <a:lnTo>
                    <a:pt x="237" y="110"/>
                  </a:lnTo>
                  <a:lnTo>
                    <a:pt x="237" y="110"/>
                  </a:lnTo>
                  <a:lnTo>
                    <a:pt x="234" y="110"/>
                  </a:lnTo>
                  <a:lnTo>
                    <a:pt x="231" y="112"/>
                  </a:lnTo>
                  <a:lnTo>
                    <a:pt x="229" y="113"/>
                  </a:lnTo>
                  <a:lnTo>
                    <a:pt x="224" y="115"/>
                  </a:lnTo>
                  <a:lnTo>
                    <a:pt x="224" y="115"/>
                  </a:lnTo>
                  <a:lnTo>
                    <a:pt x="223" y="119"/>
                  </a:lnTo>
                  <a:lnTo>
                    <a:pt x="220" y="120"/>
                  </a:lnTo>
                  <a:lnTo>
                    <a:pt x="220" y="120"/>
                  </a:lnTo>
                  <a:lnTo>
                    <a:pt x="213" y="123"/>
                  </a:lnTo>
                  <a:lnTo>
                    <a:pt x="208" y="126"/>
                  </a:lnTo>
                  <a:lnTo>
                    <a:pt x="205" y="129"/>
                  </a:lnTo>
                  <a:lnTo>
                    <a:pt x="205" y="129"/>
                  </a:lnTo>
                  <a:lnTo>
                    <a:pt x="197" y="136"/>
                  </a:lnTo>
                  <a:lnTo>
                    <a:pt x="192" y="139"/>
                  </a:lnTo>
                  <a:lnTo>
                    <a:pt x="191" y="144"/>
                  </a:lnTo>
                  <a:lnTo>
                    <a:pt x="191" y="144"/>
                  </a:lnTo>
                  <a:lnTo>
                    <a:pt x="191" y="154"/>
                  </a:lnTo>
                  <a:lnTo>
                    <a:pt x="192" y="161"/>
                  </a:lnTo>
                  <a:lnTo>
                    <a:pt x="191" y="164"/>
                  </a:lnTo>
                  <a:lnTo>
                    <a:pt x="191" y="164"/>
                  </a:lnTo>
                  <a:lnTo>
                    <a:pt x="189" y="167"/>
                  </a:lnTo>
                  <a:lnTo>
                    <a:pt x="187" y="167"/>
                  </a:lnTo>
                  <a:lnTo>
                    <a:pt x="179" y="168"/>
                  </a:lnTo>
                  <a:lnTo>
                    <a:pt x="179" y="168"/>
                  </a:lnTo>
                  <a:lnTo>
                    <a:pt x="168" y="170"/>
                  </a:lnTo>
                  <a:lnTo>
                    <a:pt x="162" y="171"/>
                  </a:lnTo>
                  <a:lnTo>
                    <a:pt x="158" y="170"/>
                  </a:lnTo>
                  <a:lnTo>
                    <a:pt x="158" y="170"/>
                  </a:lnTo>
                  <a:lnTo>
                    <a:pt x="152" y="167"/>
                  </a:lnTo>
                  <a:lnTo>
                    <a:pt x="150" y="167"/>
                  </a:lnTo>
                  <a:lnTo>
                    <a:pt x="147" y="170"/>
                  </a:lnTo>
                  <a:lnTo>
                    <a:pt x="147" y="170"/>
                  </a:lnTo>
                  <a:lnTo>
                    <a:pt x="146" y="175"/>
                  </a:lnTo>
                  <a:lnTo>
                    <a:pt x="145" y="180"/>
                  </a:lnTo>
                  <a:lnTo>
                    <a:pt x="143" y="183"/>
                  </a:lnTo>
                  <a:lnTo>
                    <a:pt x="143" y="186"/>
                  </a:lnTo>
                  <a:lnTo>
                    <a:pt x="143" y="186"/>
                  </a:lnTo>
                  <a:lnTo>
                    <a:pt x="140" y="190"/>
                  </a:lnTo>
                  <a:lnTo>
                    <a:pt x="139" y="193"/>
                  </a:lnTo>
                  <a:lnTo>
                    <a:pt x="140" y="196"/>
                  </a:lnTo>
                  <a:lnTo>
                    <a:pt x="140" y="196"/>
                  </a:lnTo>
                  <a:lnTo>
                    <a:pt x="143" y="201"/>
                  </a:lnTo>
                  <a:lnTo>
                    <a:pt x="143" y="203"/>
                  </a:lnTo>
                  <a:lnTo>
                    <a:pt x="140" y="206"/>
                  </a:lnTo>
                  <a:lnTo>
                    <a:pt x="140" y="206"/>
                  </a:lnTo>
                  <a:lnTo>
                    <a:pt x="134" y="206"/>
                  </a:lnTo>
                  <a:lnTo>
                    <a:pt x="129" y="207"/>
                  </a:lnTo>
                  <a:lnTo>
                    <a:pt x="123" y="207"/>
                  </a:lnTo>
                  <a:lnTo>
                    <a:pt x="118" y="207"/>
                  </a:lnTo>
                  <a:lnTo>
                    <a:pt x="118" y="207"/>
                  </a:lnTo>
                  <a:lnTo>
                    <a:pt x="113" y="212"/>
                  </a:lnTo>
                  <a:lnTo>
                    <a:pt x="110" y="214"/>
                  </a:lnTo>
                  <a:lnTo>
                    <a:pt x="107" y="217"/>
                  </a:lnTo>
                  <a:lnTo>
                    <a:pt x="107" y="217"/>
                  </a:lnTo>
                  <a:lnTo>
                    <a:pt x="107" y="220"/>
                  </a:lnTo>
                  <a:lnTo>
                    <a:pt x="107" y="225"/>
                  </a:lnTo>
                  <a:lnTo>
                    <a:pt x="108" y="232"/>
                  </a:lnTo>
                  <a:lnTo>
                    <a:pt x="108" y="232"/>
                  </a:lnTo>
                  <a:lnTo>
                    <a:pt x="110" y="246"/>
                  </a:lnTo>
                  <a:lnTo>
                    <a:pt x="110" y="255"/>
                  </a:lnTo>
                  <a:lnTo>
                    <a:pt x="108" y="259"/>
                  </a:lnTo>
                  <a:lnTo>
                    <a:pt x="108" y="261"/>
                  </a:lnTo>
                  <a:lnTo>
                    <a:pt x="108" y="261"/>
                  </a:lnTo>
                  <a:lnTo>
                    <a:pt x="105" y="262"/>
                  </a:lnTo>
                  <a:lnTo>
                    <a:pt x="104" y="267"/>
                  </a:lnTo>
                  <a:lnTo>
                    <a:pt x="103" y="277"/>
                  </a:lnTo>
                  <a:lnTo>
                    <a:pt x="103" y="277"/>
                  </a:lnTo>
                  <a:lnTo>
                    <a:pt x="103" y="281"/>
                  </a:lnTo>
                  <a:lnTo>
                    <a:pt x="100" y="283"/>
                  </a:lnTo>
                  <a:lnTo>
                    <a:pt x="92" y="285"/>
                  </a:lnTo>
                  <a:lnTo>
                    <a:pt x="92" y="285"/>
                  </a:lnTo>
                  <a:lnTo>
                    <a:pt x="87" y="288"/>
                  </a:lnTo>
                  <a:lnTo>
                    <a:pt x="82" y="293"/>
                  </a:lnTo>
                  <a:lnTo>
                    <a:pt x="76" y="297"/>
                  </a:lnTo>
                  <a:lnTo>
                    <a:pt x="74" y="298"/>
                  </a:lnTo>
                  <a:lnTo>
                    <a:pt x="74" y="298"/>
                  </a:lnTo>
                  <a:lnTo>
                    <a:pt x="63" y="301"/>
                  </a:lnTo>
                  <a:lnTo>
                    <a:pt x="58" y="304"/>
                  </a:lnTo>
                  <a:lnTo>
                    <a:pt x="53" y="307"/>
                  </a:lnTo>
                  <a:lnTo>
                    <a:pt x="53" y="307"/>
                  </a:lnTo>
                  <a:lnTo>
                    <a:pt x="50" y="312"/>
                  </a:lnTo>
                  <a:lnTo>
                    <a:pt x="49" y="314"/>
                  </a:lnTo>
                  <a:lnTo>
                    <a:pt x="46" y="319"/>
                  </a:lnTo>
                  <a:lnTo>
                    <a:pt x="43" y="320"/>
                  </a:lnTo>
                  <a:lnTo>
                    <a:pt x="43" y="320"/>
                  </a:lnTo>
                  <a:lnTo>
                    <a:pt x="34" y="319"/>
                  </a:lnTo>
                  <a:lnTo>
                    <a:pt x="30" y="316"/>
                  </a:lnTo>
                  <a:lnTo>
                    <a:pt x="30" y="316"/>
                  </a:lnTo>
                  <a:lnTo>
                    <a:pt x="29" y="314"/>
                  </a:lnTo>
                  <a:lnTo>
                    <a:pt x="26" y="314"/>
                  </a:lnTo>
                  <a:lnTo>
                    <a:pt x="24" y="316"/>
                  </a:lnTo>
                  <a:lnTo>
                    <a:pt x="21" y="319"/>
                  </a:lnTo>
                  <a:lnTo>
                    <a:pt x="21" y="319"/>
                  </a:lnTo>
                  <a:lnTo>
                    <a:pt x="20" y="322"/>
                  </a:lnTo>
                  <a:lnTo>
                    <a:pt x="17" y="322"/>
                  </a:lnTo>
                  <a:lnTo>
                    <a:pt x="13" y="323"/>
                  </a:lnTo>
                  <a:lnTo>
                    <a:pt x="13" y="323"/>
                  </a:lnTo>
                  <a:lnTo>
                    <a:pt x="8" y="325"/>
                  </a:lnTo>
                  <a:lnTo>
                    <a:pt x="7" y="327"/>
                  </a:lnTo>
                  <a:lnTo>
                    <a:pt x="4" y="332"/>
                  </a:lnTo>
                  <a:lnTo>
                    <a:pt x="3" y="333"/>
                  </a:lnTo>
                  <a:lnTo>
                    <a:pt x="3" y="333"/>
                  </a:lnTo>
                  <a:lnTo>
                    <a:pt x="1" y="335"/>
                  </a:lnTo>
                  <a:lnTo>
                    <a:pt x="0" y="338"/>
                  </a:lnTo>
                  <a:lnTo>
                    <a:pt x="1" y="339"/>
                  </a:lnTo>
                  <a:lnTo>
                    <a:pt x="4" y="342"/>
                  </a:lnTo>
                  <a:lnTo>
                    <a:pt x="4" y="342"/>
                  </a:lnTo>
                  <a:lnTo>
                    <a:pt x="10" y="345"/>
                  </a:lnTo>
                  <a:lnTo>
                    <a:pt x="14" y="348"/>
                  </a:lnTo>
                  <a:lnTo>
                    <a:pt x="17" y="352"/>
                  </a:lnTo>
                  <a:lnTo>
                    <a:pt x="20" y="356"/>
                  </a:lnTo>
                  <a:lnTo>
                    <a:pt x="20" y="356"/>
                  </a:lnTo>
                  <a:lnTo>
                    <a:pt x="20" y="361"/>
                  </a:lnTo>
                  <a:lnTo>
                    <a:pt x="21" y="365"/>
                  </a:lnTo>
                  <a:lnTo>
                    <a:pt x="20" y="369"/>
                  </a:lnTo>
                  <a:lnTo>
                    <a:pt x="19" y="374"/>
                  </a:lnTo>
                  <a:lnTo>
                    <a:pt x="19" y="374"/>
                  </a:lnTo>
                  <a:lnTo>
                    <a:pt x="17" y="375"/>
                  </a:lnTo>
                  <a:lnTo>
                    <a:pt x="14" y="375"/>
                  </a:lnTo>
                  <a:lnTo>
                    <a:pt x="13" y="377"/>
                  </a:lnTo>
                  <a:lnTo>
                    <a:pt x="11" y="378"/>
                  </a:lnTo>
                  <a:lnTo>
                    <a:pt x="11" y="378"/>
                  </a:lnTo>
                  <a:lnTo>
                    <a:pt x="8" y="383"/>
                  </a:lnTo>
                  <a:lnTo>
                    <a:pt x="8" y="384"/>
                  </a:lnTo>
                  <a:lnTo>
                    <a:pt x="10" y="387"/>
                  </a:lnTo>
                  <a:lnTo>
                    <a:pt x="10" y="387"/>
                  </a:lnTo>
                  <a:lnTo>
                    <a:pt x="14" y="390"/>
                  </a:lnTo>
                  <a:lnTo>
                    <a:pt x="19" y="394"/>
                  </a:lnTo>
                  <a:lnTo>
                    <a:pt x="20" y="398"/>
                  </a:lnTo>
                  <a:lnTo>
                    <a:pt x="23" y="403"/>
                  </a:lnTo>
                  <a:lnTo>
                    <a:pt x="23" y="403"/>
                  </a:lnTo>
                  <a:lnTo>
                    <a:pt x="23" y="406"/>
                  </a:lnTo>
                  <a:lnTo>
                    <a:pt x="24" y="407"/>
                  </a:lnTo>
                  <a:lnTo>
                    <a:pt x="29" y="407"/>
                  </a:lnTo>
                  <a:lnTo>
                    <a:pt x="39" y="406"/>
                  </a:lnTo>
                  <a:lnTo>
                    <a:pt x="39" y="406"/>
                  </a:lnTo>
                  <a:lnTo>
                    <a:pt x="43" y="407"/>
                  </a:lnTo>
                  <a:lnTo>
                    <a:pt x="47" y="409"/>
                  </a:lnTo>
                  <a:lnTo>
                    <a:pt x="53" y="413"/>
                  </a:lnTo>
                  <a:lnTo>
                    <a:pt x="61" y="422"/>
                  </a:lnTo>
                  <a:lnTo>
                    <a:pt x="61" y="422"/>
                  </a:lnTo>
                  <a:lnTo>
                    <a:pt x="66" y="427"/>
                  </a:lnTo>
                  <a:lnTo>
                    <a:pt x="71" y="429"/>
                  </a:lnTo>
                  <a:lnTo>
                    <a:pt x="74" y="429"/>
                  </a:lnTo>
                  <a:lnTo>
                    <a:pt x="78" y="429"/>
                  </a:lnTo>
                  <a:lnTo>
                    <a:pt x="78" y="429"/>
                  </a:lnTo>
                  <a:lnTo>
                    <a:pt x="87" y="433"/>
                  </a:lnTo>
                  <a:lnTo>
                    <a:pt x="84" y="432"/>
                  </a:lnTo>
                  <a:lnTo>
                    <a:pt x="81" y="432"/>
                  </a:lnTo>
                  <a:lnTo>
                    <a:pt x="76" y="433"/>
                  </a:lnTo>
                  <a:lnTo>
                    <a:pt x="71" y="435"/>
                  </a:lnTo>
                  <a:lnTo>
                    <a:pt x="65" y="440"/>
                  </a:lnTo>
                  <a:lnTo>
                    <a:pt x="65" y="440"/>
                  </a:lnTo>
                  <a:lnTo>
                    <a:pt x="62" y="443"/>
                  </a:lnTo>
                  <a:lnTo>
                    <a:pt x="61" y="446"/>
                  </a:lnTo>
                  <a:lnTo>
                    <a:pt x="61" y="455"/>
                  </a:lnTo>
                  <a:lnTo>
                    <a:pt x="62" y="464"/>
                  </a:lnTo>
                  <a:lnTo>
                    <a:pt x="63" y="474"/>
                  </a:lnTo>
                  <a:lnTo>
                    <a:pt x="71" y="490"/>
                  </a:lnTo>
                  <a:lnTo>
                    <a:pt x="78" y="500"/>
                  </a:lnTo>
                  <a:lnTo>
                    <a:pt x="78" y="500"/>
                  </a:lnTo>
                  <a:lnTo>
                    <a:pt x="82" y="504"/>
                  </a:lnTo>
                  <a:lnTo>
                    <a:pt x="87" y="506"/>
                  </a:lnTo>
                  <a:lnTo>
                    <a:pt x="92" y="504"/>
                  </a:lnTo>
                  <a:lnTo>
                    <a:pt x="97" y="504"/>
                  </a:lnTo>
                  <a:lnTo>
                    <a:pt x="104" y="501"/>
                  </a:lnTo>
                  <a:lnTo>
                    <a:pt x="108" y="503"/>
                  </a:lnTo>
                  <a:lnTo>
                    <a:pt x="110" y="504"/>
                  </a:lnTo>
                  <a:lnTo>
                    <a:pt x="110" y="504"/>
                  </a:lnTo>
                  <a:lnTo>
                    <a:pt x="111" y="507"/>
                  </a:lnTo>
                  <a:lnTo>
                    <a:pt x="108" y="510"/>
                  </a:lnTo>
                  <a:lnTo>
                    <a:pt x="105" y="513"/>
                  </a:lnTo>
                  <a:lnTo>
                    <a:pt x="104" y="517"/>
                  </a:lnTo>
                  <a:lnTo>
                    <a:pt x="104" y="517"/>
                  </a:lnTo>
                  <a:lnTo>
                    <a:pt x="101" y="524"/>
                  </a:lnTo>
                  <a:lnTo>
                    <a:pt x="100" y="527"/>
                  </a:lnTo>
                  <a:lnTo>
                    <a:pt x="100" y="530"/>
                  </a:lnTo>
                  <a:lnTo>
                    <a:pt x="100" y="533"/>
                  </a:lnTo>
                  <a:lnTo>
                    <a:pt x="100" y="533"/>
                  </a:lnTo>
                  <a:lnTo>
                    <a:pt x="103" y="540"/>
                  </a:lnTo>
                  <a:lnTo>
                    <a:pt x="107" y="545"/>
                  </a:lnTo>
                  <a:lnTo>
                    <a:pt x="114" y="549"/>
                  </a:lnTo>
                  <a:lnTo>
                    <a:pt x="120" y="552"/>
                  </a:lnTo>
                  <a:lnTo>
                    <a:pt x="133" y="558"/>
                  </a:lnTo>
                  <a:lnTo>
                    <a:pt x="137" y="559"/>
                  </a:lnTo>
                  <a:lnTo>
                    <a:pt x="140" y="562"/>
                  </a:lnTo>
                  <a:lnTo>
                    <a:pt x="140" y="562"/>
                  </a:lnTo>
                  <a:lnTo>
                    <a:pt x="143" y="564"/>
                  </a:lnTo>
                  <a:lnTo>
                    <a:pt x="149" y="562"/>
                  </a:lnTo>
                  <a:lnTo>
                    <a:pt x="165" y="559"/>
                  </a:lnTo>
                  <a:lnTo>
                    <a:pt x="181" y="553"/>
                  </a:lnTo>
                  <a:lnTo>
                    <a:pt x="189" y="551"/>
                  </a:lnTo>
                  <a:lnTo>
                    <a:pt x="189" y="551"/>
                  </a:lnTo>
                  <a:lnTo>
                    <a:pt x="205" y="556"/>
                  </a:lnTo>
                  <a:lnTo>
                    <a:pt x="214" y="559"/>
                  </a:lnTo>
                  <a:lnTo>
                    <a:pt x="221" y="561"/>
                  </a:lnTo>
                  <a:lnTo>
                    <a:pt x="221" y="561"/>
                  </a:lnTo>
                  <a:lnTo>
                    <a:pt x="234" y="556"/>
                  </a:lnTo>
                  <a:lnTo>
                    <a:pt x="244" y="552"/>
                  </a:lnTo>
                  <a:lnTo>
                    <a:pt x="244" y="552"/>
                  </a:lnTo>
                  <a:lnTo>
                    <a:pt x="250" y="551"/>
                  </a:lnTo>
                  <a:lnTo>
                    <a:pt x="257" y="551"/>
                  </a:lnTo>
                  <a:lnTo>
                    <a:pt x="266" y="551"/>
                  </a:lnTo>
                  <a:lnTo>
                    <a:pt x="273" y="552"/>
                  </a:lnTo>
                  <a:lnTo>
                    <a:pt x="273" y="552"/>
                  </a:lnTo>
                  <a:lnTo>
                    <a:pt x="279" y="552"/>
                  </a:lnTo>
                  <a:lnTo>
                    <a:pt x="284" y="552"/>
                  </a:lnTo>
                  <a:lnTo>
                    <a:pt x="291" y="548"/>
                  </a:lnTo>
                  <a:lnTo>
                    <a:pt x="291" y="548"/>
                  </a:lnTo>
                  <a:lnTo>
                    <a:pt x="301" y="542"/>
                  </a:lnTo>
                  <a:lnTo>
                    <a:pt x="307" y="539"/>
                  </a:lnTo>
                  <a:lnTo>
                    <a:pt x="310" y="539"/>
                  </a:lnTo>
                  <a:lnTo>
                    <a:pt x="311" y="540"/>
                  </a:lnTo>
                  <a:lnTo>
                    <a:pt x="311" y="540"/>
                  </a:lnTo>
                  <a:lnTo>
                    <a:pt x="314" y="546"/>
                  </a:lnTo>
                  <a:lnTo>
                    <a:pt x="315" y="548"/>
                  </a:lnTo>
                  <a:lnTo>
                    <a:pt x="317" y="551"/>
                  </a:lnTo>
                  <a:lnTo>
                    <a:pt x="317" y="551"/>
                  </a:lnTo>
                  <a:lnTo>
                    <a:pt x="321" y="552"/>
                  </a:lnTo>
                  <a:lnTo>
                    <a:pt x="326" y="552"/>
                  </a:lnTo>
                  <a:lnTo>
                    <a:pt x="339" y="552"/>
                  </a:lnTo>
                  <a:lnTo>
                    <a:pt x="339" y="552"/>
                  </a:lnTo>
                  <a:lnTo>
                    <a:pt x="350" y="551"/>
                  </a:lnTo>
                  <a:lnTo>
                    <a:pt x="356" y="549"/>
                  </a:lnTo>
                  <a:lnTo>
                    <a:pt x="359" y="551"/>
                  </a:lnTo>
                  <a:lnTo>
                    <a:pt x="359" y="551"/>
                  </a:lnTo>
                  <a:lnTo>
                    <a:pt x="362" y="551"/>
                  </a:lnTo>
                  <a:lnTo>
                    <a:pt x="366" y="551"/>
                  </a:lnTo>
                  <a:lnTo>
                    <a:pt x="372" y="548"/>
                  </a:lnTo>
                  <a:lnTo>
                    <a:pt x="378" y="545"/>
                  </a:lnTo>
                  <a:lnTo>
                    <a:pt x="378" y="545"/>
                  </a:lnTo>
                  <a:lnTo>
                    <a:pt x="386" y="539"/>
                  </a:lnTo>
                  <a:lnTo>
                    <a:pt x="391" y="537"/>
                  </a:lnTo>
                  <a:lnTo>
                    <a:pt x="392" y="537"/>
                  </a:lnTo>
                  <a:lnTo>
                    <a:pt x="392" y="537"/>
                  </a:lnTo>
                  <a:lnTo>
                    <a:pt x="394" y="543"/>
                  </a:lnTo>
                  <a:lnTo>
                    <a:pt x="395" y="553"/>
                  </a:lnTo>
                  <a:lnTo>
                    <a:pt x="397" y="564"/>
                  </a:lnTo>
                  <a:lnTo>
                    <a:pt x="398" y="568"/>
                  </a:lnTo>
                  <a:lnTo>
                    <a:pt x="398" y="568"/>
                  </a:lnTo>
                  <a:lnTo>
                    <a:pt x="401" y="575"/>
                  </a:lnTo>
                  <a:lnTo>
                    <a:pt x="401" y="580"/>
                  </a:lnTo>
                  <a:lnTo>
                    <a:pt x="401" y="584"/>
                  </a:lnTo>
                  <a:lnTo>
                    <a:pt x="401" y="584"/>
                  </a:lnTo>
                  <a:lnTo>
                    <a:pt x="398" y="588"/>
                  </a:lnTo>
                  <a:lnTo>
                    <a:pt x="394" y="594"/>
                  </a:lnTo>
                  <a:lnTo>
                    <a:pt x="388" y="601"/>
                  </a:lnTo>
                  <a:lnTo>
                    <a:pt x="386" y="606"/>
                  </a:lnTo>
                  <a:lnTo>
                    <a:pt x="386" y="606"/>
                  </a:lnTo>
                  <a:lnTo>
                    <a:pt x="385" y="613"/>
                  </a:lnTo>
                  <a:lnTo>
                    <a:pt x="386" y="616"/>
                  </a:lnTo>
                  <a:lnTo>
                    <a:pt x="388" y="619"/>
                  </a:lnTo>
                  <a:lnTo>
                    <a:pt x="388" y="619"/>
                  </a:lnTo>
                  <a:lnTo>
                    <a:pt x="395" y="623"/>
                  </a:lnTo>
                  <a:lnTo>
                    <a:pt x="399" y="626"/>
                  </a:lnTo>
                  <a:lnTo>
                    <a:pt x="402" y="630"/>
                  </a:lnTo>
                  <a:lnTo>
                    <a:pt x="402" y="630"/>
                  </a:lnTo>
                  <a:lnTo>
                    <a:pt x="405" y="636"/>
                  </a:lnTo>
                  <a:lnTo>
                    <a:pt x="410" y="642"/>
                  </a:lnTo>
                  <a:lnTo>
                    <a:pt x="412" y="646"/>
                  </a:lnTo>
                  <a:lnTo>
                    <a:pt x="412" y="649"/>
                  </a:lnTo>
                  <a:lnTo>
                    <a:pt x="412" y="649"/>
                  </a:lnTo>
                  <a:lnTo>
                    <a:pt x="408" y="656"/>
                  </a:lnTo>
                  <a:lnTo>
                    <a:pt x="407" y="661"/>
                  </a:lnTo>
                  <a:lnTo>
                    <a:pt x="408" y="662"/>
                  </a:lnTo>
                  <a:lnTo>
                    <a:pt x="408" y="664"/>
                  </a:lnTo>
                  <a:lnTo>
                    <a:pt x="408" y="664"/>
                  </a:lnTo>
                  <a:lnTo>
                    <a:pt x="418" y="668"/>
                  </a:lnTo>
                  <a:lnTo>
                    <a:pt x="423" y="668"/>
                  </a:lnTo>
                  <a:lnTo>
                    <a:pt x="427" y="668"/>
                  </a:lnTo>
                  <a:lnTo>
                    <a:pt x="427" y="668"/>
                  </a:lnTo>
                  <a:lnTo>
                    <a:pt x="434" y="664"/>
                  </a:lnTo>
                  <a:lnTo>
                    <a:pt x="437" y="664"/>
                  </a:lnTo>
                  <a:lnTo>
                    <a:pt x="439" y="666"/>
                  </a:lnTo>
                  <a:lnTo>
                    <a:pt x="439" y="666"/>
                  </a:lnTo>
                  <a:lnTo>
                    <a:pt x="440" y="671"/>
                  </a:lnTo>
                  <a:lnTo>
                    <a:pt x="444" y="677"/>
                  </a:lnTo>
                  <a:lnTo>
                    <a:pt x="449" y="679"/>
                  </a:lnTo>
                  <a:lnTo>
                    <a:pt x="452" y="679"/>
                  </a:lnTo>
                  <a:lnTo>
                    <a:pt x="452" y="678"/>
                  </a:lnTo>
                  <a:lnTo>
                    <a:pt x="452" y="678"/>
                  </a:lnTo>
                  <a:lnTo>
                    <a:pt x="452" y="671"/>
                  </a:lnTo>
                  <a:lnTo>
                    <a:pt x="452" y="661"/>
                  </a:lnTo>
                  <a:lnTo>
                    <a:pt x="452" y="653"/>
                  </a:lnTo>
                  <a:lnTo>
                    <a:pt x="453" y="652"/>
                  </a:lnTo>
                  <a:lnTo>
                    <a:pt x="454" y="652"/>
                  </a:lnTo>
                  <a:lnTo>
                    <a:pt x="454" y="652"/>
                  </a:lnTo>
                  <a:lnTo>
                    <a:pt x="460" y="658"/>
                  </a:lnTo>
                  <a:lnTo>
                    <a:pt x="462" y="658"/>
                  </a:lnTo>
                  <a:lnTo>
                    <a:pt x="462" y="656"/>
                  </a:lnTo>
                  <a:lnTo>
                    <a:pt x="462" y="656"/>
                  </a:lnTo>
                  <a:lnTo>
                    <a:pt x="465" y="652"/>
                  </a:lnTo>
                  <a:lnTo>
                    <a:pt x="466" y="650"/>
                  </a:lnTo>
                  <a:lnTo>
                    <a:pt x="469" y="652"/>
                  </a:lnTo>
                  <a:lnTo>
                    <a:pt x="469" y="652"/>
                  </a:lnTo>
                  <a:lnTo>
                    <a:pt x="472" y="652"/>
                  </a:lnTo>
                  <a:lnTo>
                    <a:pt x="473" y="652"/>
                  </a:lnTo>
                  <a:lnTo>
                    <a:pt x="479" y="652"/>
                  </a:lnTo>
                  <a:lnTo>
                    <a:pt x="479" y="652"/>
                  </a:lnTo>
                  <a:lnTo>
                    <a:pt x="482" y="653"/>
                  </a:lnTo>
                  <a:lnTo>
                    <a:pt x="485" y="655"/>
                  </a:lnTo>
                  <a:lnTo>
                    <a:pt x="488" y="656"/>
                  </a:lnTo>
                  <a:lnTo>
                    <a:pt x="492" y="655"/>
                  </a:lnTo>
                  <a:lnTo>
                    <a:pt x="492" y="655"/>
                  </a:lnTo>
                  <a:lnTo>
                    <a:pt x="494" y="655"/>
                  </a:lnTo>
                  <a:lnTo>
                    <a:pt x="495" y="652"/>
                  </a:lnTo>
                  <a:lnTo>
                    <a:pt x="498" y="648"/>
                  </a:lnTo>
                  <a:lnTo>
                    <a:pt x="498" y="643"/>
                  </a:lnTo>
                  <a:lnTo>
                    <a:pt x="499" y="642"/>
                  </a:lnTo>
                  <a:lnTo>
                    <a:pt x="501" y="642"/>
                  </a:lnTo>
                  <a:lnTo>
                    <a:pt x="501" y="642"/>
                  </a:lnTo>
                  <a:lnTo>
                    <a:pt x="507" y="642"/>
                  </a:lnTo>
                  <a:lnTo>
                    <a:pt x="515" y="645"/>
                  </a:lnTo>
                  <a:lnTo>
                    <a:pt x="523" y="649"/>
                  </a:lnTo>
                  <a:lnTo>
                    <a:pt x="525" y="650"/>
                  </a:lnTo>
                  <a:lnTo>
                    <a:pt x="525" y="652"/>
                  </a:lnTo>
                  <a:lnTo>
                    <a:pt x="525" y="652"/>
                  </a:lnTo>
                  <a:lnTo>
                    <a:pt x="527" y="658"/>
                  </a:lnTo>
                  <a:lnTo>
                    <a:pt x="528" y="661"/>
                  </a:lnTo>
                  <a:lnTo>
                    <a:pt x="531" y="664"/>
                  </a:lnTo>
                  <a:lnTo>
                    <a:pt x="531" y="664"/>
                  </a:lnTo>
                  <a:lnTo>
                    <a:pt x="543" y="668"/>
                  </a:lnTo>
                  <a:lnTo>
                    <a:pt x="549" y="671"/>
                  </a:lnTo>
                  <a:lnTo>
                    <a:pt x="554" y="674"/>
                  </a:lnTo>
                  <a:lnTo>
                    <a:pt x="554" y="674"/>
                  </a:lnTo>
                  <a:lnTo>
                    <a:pt x="557" y="672"/>
                  </a:lnTo>
                  <a:lnTo>
                    <a:pt x="557" y="672"/>
                  </a:lnTo>
                  <a:lnTo>
                    <a:pt x="559" y="672"/>
                  </a:lnTo>
                  <a:lnTo>
                    <a:pt x="560" y="674"/>
                  </a:lnTo>
                  <a:lnTo>
                    <a:pt x="562" y="675"/>
                  </a:lnTo>
                  <a:lnTo>
                    <a:pt x="565" y="677"/>
                  </a:lnTo>
                  <a:lnTo>
                    <a:pt x="565" y="677"/>
                  </a:lnTo>
                  <a:lnTo>
                    <a:pt x="567" y="677"/>
                  </a:lnTo>
                  <a:lnTo>
                    <a:pt x="570" y="675"/>
                  </a:lnTo>
                  <a:lnTo>
                    <a:pt x="573" y="674"/>
                  </a:lnTo>
                  <a:lnTo>
                    <a:pt x="576" y="672"/>
                  </a:lnTo>
                  <a:lnTo>
                    <a:pt x="576" y="672"/>
                  </a:lnTo>
                  <a:lnTo>
                    <a:pt x="578" y="672"/>
                  </a:lnTo>
                  <a:lnTo>
                    <a:pt x="579" y="674"/>
                  </a:lnTo>
                  <a:lnTo>
                    <a:pt x="579" y="682"/>
                  </a:lnTo>
                  <a:lnTo>
                    <a:pt x="579" y="682"/>
                  </a:lnTo>
                  <a:lnTo>
                    <a:pt x="579" y="684"/>
                  </a:lnTo>
                  <a:lnTo>
                    <a:pt x="580" y="685"/>
                  </a:lnTo>
                  <a:lnTo>
                    <a:pt x="585" y="688"/>
                  </a:lnTo>
                  <a:lnTo>
                    <a:pt x="588" y="687"/>
                  </a:lnTo>
                  <a:lnTo>
                    <a:pt x="589" y="687"/>
                  </a:lnTo>
                  <a:lnTo>
                    <a:pt x="589" y="685"/>
                  </a:lnTo>
                  <a:lnTo>
                    <a:pt x="589" y="685"/>
                  </a:lnTo>
                  <a:lnTo>
                    <a:pt x="589" y="682"/>
                  </a:lnTo>
                  <a:lnTo>
                    <a:pt x="591" y="681"/>
                  </a:lnTo>
                  <a:lnTo>
                    <a:pt x="594" y="677"/>
                  </a:lnTo>
                  <a:lnTo>
                    <a:pt x="594" y="677"/>
                  </a:lnTo>
                  <a:lnTo>
                    <a:pt x="598" y="674"/>
                  </a:lnTo>
                  <a:lnTo>
                    <a:pt x="604" y="672"/>
                  </a:lnTo>
                  <a:lnTo>
                    <a:pt x="614" y="672"/>
                  </a:lnTo>
                  <a:lnTo>
                    <a:pt x="614" y="672"/>
                  </a:lnTo>
                  <a:lnTo>
                    <a:pt x="620" y="671"/>
                  </a:lnTo>
                  <a:lnTo>
                    <a:pt x="627" y="669"/>
                  </a:lnTo>
                  <a:lnTo>
                    <a:pt x="638" y="665"/>
                  </a:lnTo>
                  <a:lnTo>
                    <a:pt x="638" y="665"/>
                  </a:lnTo>
                  <a:lnTo>
                    <a:pt x="640" y="664"/>
                  </a:lnTo>
                  <a:lnTo>
                    <a:pt x="641" y="661"/>
                  </a:lnTo>
                  <a:lnTo>
                    <a:pt x="641" y="655"/>
                  </a:lnTo>
                  <a:lnTo>
                    <a:pt x="641" y="655"/>
                  </a:lnTo>
                  <a:lnTo>
                    <a:pt x="643" y="653"/>
                  </a:lnTo>
                  <a:lnTo>
                    <a:pt x="644" y="655"/>
                  </a:lnTo>
                  <a:lnTo>
                    <a:pt x="649" y="656"/>
                  </a:lnTo>
                  <a:lnTo>
                    <a:pt x="651" y="656"/>
                  </a:lnTo>
                  <a:lnTo>
                    <a:pt x="651" y="656"/>
                  </a:lnTo>
                  <a:lnTo>
                    <a:pt x="654" y="656"/>
                  </a:lnTo>
                  <a:lnTo>
                    <a:pt x="657" y="653"/>
                  </a:lnTo>
                  <a:lnTo>
                    <a:pt x="662" y="648"/>
                  </a:lnTo>
                  <a:lnTo>
                    <a:pt x="662" y="648"/>
                  </a:lnTo>
                  <a:lnTo>
                    <a:pt x="664" y="646"/>
                  </a:lnTo>
                  <a:lnTo>
                    <a:pt x="667" y="648"/>
                  </a:lnTo>
                  <a:lnTo>
                    <a:pt x="672" y="649"/>
                  </a:lnTo>
                  <a:lnTo>
                    <a:pt x="675" y="649"/>
                  </a:lnTo>
                  <a:lnTo>
                    <a:pt x="675" y="649"/>
                  </a:lnTo>
                  <a:lnTo>
                    <a:pt x="679" y="649"/>
                  </a:lnTo>
                  <a:lnTo>
                    <a:pt x="682" y="648"/>
                  </a:lnTo>
                  <a:lnTo>
                    <a:pt x="686" y="643"/>
                  </a:lnTo>
                  <a:lnTo>
                    <a:pt x="686" y="643"/>
                  </a:lnTo>
                  <a:lnTo>
                    <a:pt x="691" y="640"/>
                  </a:lnTo>
                  <a:lnTo>
                    <a:pt x="695" y="639"/>
                  </a:lnTo>
                  <a:lnTo>
                    <a:pt x="695" y="639"/>
                  </a:lnTo>
                  <a:lnTo>
                    <a:pt x="699" y="637"/>
                  </a:lnTo>
                  <a:lnTo>
                    <a:pt x="704" y="635"/>
                  </a:lnTo>
                  <a:lnTo>
                    <a:pt x="711" y="626"/>
                  </a:lnTo>
                  <a:lnTo>
                    <a:pt x="711" y="626"/>
                  </a:lnTo>
                  <a:lnTo>
                    <a:pt x="715" y="620"/>
                  </a:lnTo>
                  <a:lnTo>
                    <a:pt x="717" y="617"/>
                  </a:lnTo>
                  <a:lnTo>
                    <a:pt x="720" y="616"/>
                  </a:lnTo>
                  <a:lnTo>
                    <a:pt x="720" y="616"/>
                  </a:lnTo>
                  <a:lnTo>
                    <a:pt x="722" y="614"/>
                  </a:lnTo>
                  <a:lnTo>
                    <a:pt x="724" y="611"/>
                  </a:lnTo>
                  <a:lnTo>
                    <a:pt x="724" y="607"/>
                  </a:lnTo>
                  <a:lnTo>
                    <a:pt x="724" y="607"/>
                  </a:lnTo>
                  <a:lnTo>
                    <a:pt x="725" y="606"/>
                  </a:lnTo>
                  <a:lnTo>
                    <a:pt x="730" y="604"/>
                  </a:lnTo>
                  <a:lnTo>
                    <a:pt x="734" y="601"/>
                  </a:lnTo>
                  <a:lnTo>
                    <a:pt x="737" y="598"/>
                  </a:lnTo>
                  <a:lnTo>
                    <a:pt x="737" y="598"/>
                  </a:lnTo>
                  <a:lnTo>
                    <a:pt x="740" y="595"/>
                  </a:lnTo>
                  <a:lnTo>
                    <a:pt x="740" y="593"/>
                  </a:lnTo>
                  <a:lnTo>
                    <a:pt x="738" y="591"/>
                  </a:lnTo>
                  <a:lnTo>
                    <a:pt x="740" y="588"/>
                  </a:lnTo>
                  <a:lnTo>
                    <a:pt x="740" y="588"/>
                  </a:lnTo>
                  <a:lnTo>
                    <a:pt x="744" y="578"/>
                  </a:lnTo>
                  <a:lnTo>
                    <a:pt x="747" y="566"/>
                  </a:lnTo>
                  <a:lnTo>
                    <a:pt x="747" y="566"/>
                  </a:lnTo>
                  <a:lnTo>
                    <a:pt x="750" y="564"/>
                  </a:lnTo>
                  <a:lnTo>
                    <a:pt x="753" y="559"/>
                  </a:lnTo>
                  <a:lnTo>
                    <a:pt x="757" y="558"/>
                  </a:lnTo>
                  <a:lnTo>
                    <a:pt x="763" y="556"/>
                  </a:lnTo>
                  <a:lnTo>
                    <a:pt x="763" y="556"/>
                  </a:lnTo>
                  <a:lnTo>
                    <a:pt x="766" y="555"/>
                  </a:lnTo>
                  <a:lnTo>
                    <a:pt x="769" y="553"/>
                  </a:lnTo>
                  <a:lnTo>
                    <a:pt x="770" y="552"/>
                  </a:lnTo>
                  <a:lnTo>
                    <a:pt x="770" y="548"/>
                  </a:lnTo>
                  <a:lnTo>
                    <a:pt x="770" y="548"/>
                  </a:lnTo>
                  <a:lnTo>
                    <a:pt x="772" y="543"/>
                  </a:lnTo>
                  <a:lnTo>
                    <a:pt x="773" y="539"/>
                  </a:lnTo>
                  <a:lnTo>
                    <a:pt x="776" y="536"/>
                  </a:lnTo>
                  <a:lnTo>
                    <a:pt x="776" y="536"/>
                  </a:lnTo>
                  <a:lnTo>
                    <a:pt x="776" y="533"/>
                  </a:lnTo>
                  <a:lnTo>
                    <a:pt x="776" y="530"/>
                  </a:lnTo>
                  <a:lnTo>
                    <a:pt x="776" y="524"/>
                  </a:lnTo>
                  <a:lnTo>
                    <a:pt x="776" y="524"/>
                  </a:lnTo>
                  <a:lnTo>
                    <a:pt x="773" y="522"/>
                  </a:lnTo>
                  <a:lnTo>
                    <a:pt x="769" y="520"/>
                  </a:lnTo>
                  <a:lnTo>
                    <a:pt x="764" y="519"/>
                  </a:lnTo>
                  <a:lnTo>
                    <a:pt x="760" y="517"/>
                  </a:lnTo>
                  <a:lnTo>
                    <a:pt x="760" y="517"/>
                  </a:lnTo>
                  <a:lnTo>
                    <a:pt x="760" y="516"/>
                  </a:lnTo>
                  <a:lnTo>
                    <a:pt x="760" y="514"/>
                  </a:lnTo>
                  <a:lnTo>
                    <a:pt x="764" y="509"/>
                  </a:lnTo>
                  <a:lnTo>
                    <a:pt x="773" y="500"/>
                  </a:lnTo>
                  <a:lnTo>
                    <a:pt x="773" y="500"/>
                  </a:lnTo>
                  <a:lnTo>
                    <a:pt x="773" y="498"/>
                  </a:lnTo>
                  <a:lnTo>
                    <a:pt x="772" y="495"/>
                  </a:lnTo>
                  <a:lnTo>
                    <a:pt x="767" y="491"/>
                  </a:lnTo>
                  <a:lnTo>
                    <a:pt x="767" y="491"/>
                  </a:lnTo>
                  <a:lnTo>
                    <a:pt x="767" y="490"/>
                  </a:lnTo>
                  <a:lnTo>
                    <a:pt x="767" y="490"/>
                  </a:lnTo>
                  <a:lnTo>
                    <a:pt x="770" y="487"/>
                  </a:lnTo>
                  <a:lnTo>
                    <a:pt x="770" y="487"/>
                  </a:lnTo>
                  <a:lnTo>
                    <a:pt x="770" y="484"/>
                  </a:lnTo>
                  <a:lnTo>
                    <a:pt x="769" y="480"/>
                  </a:lnTo>
                  <a:lnTo>
                    <a:pt x="766" y="475"/>
                  </a:lnTo>
                  <a:lnTo>
                    <a:pt x="763" y="472"/>
                  </a:lnTo>
                  <a:lnTo>
                    <a:pt x="763" y="472"/>
                  </a:lnTo>
                  <a:lnTo>
                    <a:pt x="759" y="469"/>
                  </a:lnTo>
                  <a:lnTo>
                    <a:pt x="754" y="465"/>
                  </a:lnTo>
                  <a:lnTo>
                    <a:pt x="751" y="461"/>
                  </a:lnTo>
                  <a:lnTo>
                    <a:pt x="748" y="455"/>
                  </a:lnTo>
                  <a:lnTo>
                    <a:pt x="748" y="455"/>
                  </a:lnTo>
                  <a:lnTo>
                    <a:pt x="743" y="442"/>
                  </a:lnTo>
                  <a:lnTo>
                    <a:pt x="740" y="435"/>
                  </a:lnTo>
                  <a:lnTo>
                    <a:pt x="735" y="430"/>
                  </a:lnTo>
                  <a:lnTo>
                    <a:pt x="735" y="430"/>
                  </a:lnTo>
                  <a:lnTo>
                    <a:pt x="733" y="429"/>
                  </a:lnTo>
                  <a:lnTo>
                    <a:pt x="733" y="426"/>
                  </a:lnTo>
                  <a:lnTo>
                    <a:pt x="733" y="423"/>
                  </a:lnTo>
                  <a:lnTo>
                    <a:pt x="735" y="420"/>
                  </a:lnTo>
                  <a:lnTo>
                    <a:pt x="735" y="420"/>
                  </a:lnTo>
                  <a:lnTo>
                    <a:pt x="743" y="413"/>
                  </a:lnTo>
                  <a:lnTo>
                    <a:pt x="747" y="404"/>
                  </a:lnTo>
                  <a:lnTo>
                    <a:pt x="747" y="404"/>
                  </a:lnTo>
                  <a:lnTo>
                    <a:pt x="750" y="401"/>
                  </a:lnTo>
                  <a:lnTo>
                    <a:pt x="753" y="397"/>
                  </a:lnTo>
                  <a:lnTo>
                    <a:pt x="756" y="396"/>
                  </a:lnTo>
                  <a:lnTo>
                    <a:pt x="760" y="394"/>
                  </a:lnTo>
                  <a:lnTo>
                    <a:pt x="760" y="394"/>
                  </a:lnTo>
                  <a:lnTo>
                    <a:pt x="772" y="391"/>
                  </a:lnTo>
                  <a:lnTo>
                    <a:pt x="785" y="388"/>
                  </a:lnTo>
                  <a:lnTo>
                    <a:pt x="785" y="388"/>
                  </a:lnTo>
                  <a:lnTo>
                    <a:pt x="789" y="387"/>
                  </a:lnTo>
                  <a:lnTo>
                    <a:pt x="790" y="384"/>
                  </a:lnTo>
                  <a:lnTo>
                    <a:pt x="788" y="383"/>
                  </a:lnTo>
                  <a:lnTo>
                    <a:pt x="782" y="381"/>
                  </a:lnTo>
                  <a:lnTo>
                    <a:pt x="782" y="381"/>
                  </a:lnTo>
                  <a:lnTo>
                    <a:pt x="776" y="381"/>
                  </a:lnTo>
                  <a:lnTo>
                    <a:pt x="769" y="378"/>
                  </a:lnTo>
                  <a:lnTo>
                    <a:pt x="759" y="375"/>
                  </a:lnTo>
                  <a:lnTo>
                    <a:pt x="759" y="375"/>
                  </a:lnTo>
                  <a:lnTo>
                    <a:pt x="757" y="374"/>
                  </a:lnTo>
                  <a:lnTo>
                    <a:pt x="753" y="375"/>
                  </a:lnTo>
                  <a:lnTo>
                    <a:pt x="746" y="378"/>
                  </a:lnTo>
                  <a:lnTo>
                    <a:pt x="734" y="384"/>
                  </a:lnTo>
                  <a:lnTo>
                    <a:pt x="734" y="384"/>
                  </a:lnTo>
                  <a:lnTo>
                    <a:pt x="731" y="384"/>
                  </a:lnTo>
                  <a:lnTo>
                    <a:pt x="728" y="383"/>
                  </a:lnTo>
                  <a:lnTo>
                    <a:pt x="722" y="374"/>
                  </a:lnTo>
                  <a:lnTo>
                    <a:pt x="722" y="374"/>
                  </a:lnTo>
                  <a:lnTo>
                    <a:pt x="718" y="368"/>
                  </a:lnTo>
                  <a:lnTo>
                    <a:pt x="714" y="364"/>
                  </a:lnTo>
                  <a:lnTo>
                    <a:pt x="705" y="354"/>
                  </a:lnTo>
                  <a:lnTo>
                    <a:pt x="705" y="354"/>
                  </a:lnTo>
                  <a:lnTo>
                    <a:pt x="704" y="351"/>
                  </a:lnTo>
                  <a:lnTo>
                    <a:pt x="704" y="348"/>
                  </a:lnTo>
                  <a:lnTo>
                    <a:pt x="705" y="346"/>
                  </a:lnTo>
                  <a:lnTo>
                    <a:pt x="708" y="343"/>
                  </a:lnTo>
                  <a:lnTo>
                    <a:pt x="708" y="343"/>
                  </a:lnTo>
                  <a:lnTo>
                    <a:pt x="718" y="342"/>
                  </a:lnTo>
                  <a:lnTo>
                    <a:pt x="730" y="342"/>
                  </a:lnTo>
                  <a:lnTo>
                    <a:pt x="730" y="342"/>
                  </a:lnTo>
                  <a:lnTo>
                    <a:pt x="733" y="341"/>
                  </a:lnTo>
                  <a:lnTo>
                    <a:pt x="733" y="336"/>
                  </a:lnTo>
                  <a:lnTo>
                    <a:pt x="734" y="333"/>
                  </a:lnTo>
                  <a:lnTo>
                    <a:pt x="735" y="329"/>
                  </a:lnTo>
                  <a:lnTo>
                    <a:pt x="735" y="329"/>
                  </a:lnTo>
                  <a:lnTo>
                    <a:pt x="741" y="323"/>
                  </a:lnTo>
                  <a:lnTo>
                    <a:pt x="750" y="317"/>
                  </a:lnTo>
                  <a:lnTo>
                    <a:pt x="763" y="309"/>
                  </a:lnTo>
                  <a:lnTo>
                    <a:pt x="763" y="309"/>
                  </a:lnTo>
                  <a:lnTo>
                    <a:pt x="767" y="307"/>
                  </a:lnTo>
                  <a:lnTo>
                    <a:pt x="770" y="307"/>
                  </a:lnTo>
                  <a:lnTo>
                    <a:pt x="770" y="307"/>
                  </a:lnTo>
                  <a:lnTo>
                    <a:pt x="772" y="307"/>
                  </a:lnTo>
                  <a:lnTo>
                    <a:pt x="775" y="309"/>
                  </a:lnTo>
                  <a:lnTo>
                    <a:pt x="776" y="310"/>
                  </a:lnTo>
                  <a:lnTo>
                    <a:pt x="777" y="314"/>
                  </a:lnTo>
                  <a:lnTo>
                    <a:pt x="777" y="314"/>
                  </a:lnTo>
                  <a:lnTo>
                    <a:pt x="776" y="319"/>
                  </a:lnTo>
                  <a:lnTo>
                    <a:pt x="775" y="322"/>
                  </a:lnTo>
                  <a:lnTo>
                    <a:pt x="769" y="327"/>
                  </a:lnTo>
                  <a:lnTo>
                    <a:pt x="769" y="327"/>
                  </a:lnTo>
                  <a:lnTo>
                    <a:pt x="767" y="330"/>
                  </a:lnTo>
                  <a:lnTo>
                    <a:pt x="766" y="332"/>
                  </a:lnTo>
                  <a:lnTo>
                    <a:pt x="769" y="338"/>
                  </a:lnTo>
                  <a:lnTo>
                    <a:pt x="769" y="338"/>
                  </a:lnTo>
                  <a:lnTo>
                    <a:pt x="769" y="341"/>
                  </a:lnTo>
                  <a:lnTo>
                    <a:pt x="769" y="343"/>
                  </a:lnTo>
                  <a:lnTo>
                    <a:pt x="769" y="346"/>
                  </a:lnTo>
                  <a:lnTo>
                    <a:pt x="769" y="348"/>
                  </a:lnTo>
                  <a:lnTo>
                    <a:pt x="769" y="348"/>
                  </a:lnTo>
                  <a:lnTo>
                    <a:pt x="770" y="348"/>
                  </a:lnTo>
                  <a:lnTo>
                    <a:pt x="773" y="346"/>
                  </a:lnTo>
                  <a:lnTo>
                    <a:pt x="782" y="342"/>
                  </a:lnTo>
                  <a:lnTo>
                    <a:pt x="792" y="336"/>
                  </a:lnTo>
                  <a:lnTo>
                    <a:pt x="795" y="333"/>
                  </a:lnTo>
                  <a:lnTo>
                    <a:pt x="799" y="333"/>
                  </a:lnTo>
                  <a:lnTo>
                    <a:pt x="799" y="333"/>
                  </a:lnTo>
                  <a:lnTo>
                    <a:pt x="808" y="332"/>
                  </a:lnTo>
                  <a:lnTo>
                    <a:pt x="808" y="332"/>
                  </a:lnTo>
                  <a:lnTo>
                    <a:pt x="812" y="323"/>
                  </a:lnTo>
                  <a:lnTo>
                    <a:pt x="817" y="317"/>
                  </a:lnTo>
                  <a:lnTo>
                    <a:pt x="817" y="317"/>
                  </a:lnTo>
                  <a:lnTo>
                    <a:pt x="822" y="313"/>
                  </a:lnTo>
                  <a:lnTo>
                    <a:pt x="830" y="310"/>
                  </a:lnTo>
                  <a:lnTo>
                    <a:pt x="830" y="310"/>
                  </a:lnTo>
                  <a:lnTo>
                    <a:pt x="841" y="304"/>
                  </a:lnTo>
                  <a:lnTo>
                    <a:pt x="847" y="300"/>
                  </a:lnTo>
                  <a:lnTo>
                    <a:pt x="850" y="296"/>
                  </a:lnTo>
                  <a:lnTo>
                    <a:pt x="850" y="296"/>
                  </a:lnTo>
                  <a:lnTo>
                    <a:pt x="853" y="291"/>
                  </a:lnTo>
                  <a:lnTo>
                    <a:pt x="854" y="290"/>
                  </a:lnTo>
                  <a:lnTo>
                    <a:pt x="857" y="290"/>
                  </a:lnTo>
                  <a:lnTo>
                    <a:pt x="857" y="290"/>
                  </a:lnTo>
                  <a:lnTo>
                    <a:pt x="860" y="291"/>
                  </a:lnTo>
                  <a:lnTo>
                    <a:pt x="863" y="293"/>
                  </a:lnTo>
                  <a:lnTo>
                    <a:pt x="867" y="293"/>
                  </a:lnTo>
                  <a:lnTo>
                    <a:pt x="872" y="291"/>
                  </a:lnTo>
                  <a:lnTo>
                    <a:pt x="872" y="291"/>
                  </a:lnTo>
                  <a:lnTo>
                    <a:pt x="873" y="290"/>
                  </a:lnTo>
                  <a:lnTo>
                    <a:pt x="874" y="287"/>
                  </a:lnTo>
                  <a:lnTo>
                    <a:pt x="874" y="283"/>
                  </a:lnTo>
                  <a:lnTo>
                    <a:pt x="874" y="280"/>
                  </a:lnTo>
                  <a:lnTo>
                    <a:pt x="874" y="278"/>
                  </a:lnTo>
                  <a:lnTo>
                    <a:pt x="876" y="278"/>
                  </a:lnTo>
                  <a:lnTo>
                    <a:pt x="876" y="278"/>
                  </a:lnTo>
                  <a:lnTo>
                    <a:pt x="882" y="280"/>
                  </a:lnTo>
                  <a:lnTo>
                    <a:pt x="885" y="278"/>
                  </a:lnTo>
                  <a:lnTo>
                    <a:pt x="886" y="277"/>
                  </a:lnTo>
                  <a:lnTo>
                    <a:pt x="886" y="277"/>
                  </a:lnTo>
                  <a:lnTo>
                    <a:pt x="893" y="270"/>
                  </a:lnTo>
                  <a:lnTo>
                    <a:pt x="898" y="265"/>
                  </a:lnTo>
                  <a:lnTo>
                    <a:pt x="902" y="262"/>
                  </a:lnTo>
                  <a:lnTo>
                    <a:pt x="902" y="262"/>
                  </a:lnTo>
                  <a:lnTo>
                    <a:pt x="912" y="262"/>
                  </a:lnTo>
                  <a:lnTo>
                    <a:pt x="916" y="261"/>
                  </a:lnTo>
                  <a:lnTo>
                    <a:pt x="919" y="258"/>
                  </a:lnTo>
                  <a:lnTo>
                    <a:pt x="919" y="258"/>
                  </a:lnTo>
                  <a:lnTo>
                    <a:pt x="924" y="246"/>
                  </a:lnTo>
                  <a:lnTo>
                    <a:pt x="927" y="239"/>
                  </a:lnTo>
                  <a:lnTo>
                    <a:pt x="925" y="235"/>
                  </a:lnTo>
                  <a:lnTo>
                    <a:pt x="925" y="235"/>
                  </a:lnTo>
                  <a:lnTo>
                    <a:pt x="922" y="226"/>
                  </a:lnTo>
                  <a:lnTo>
                    <a:pt x="922" y="223"/>
                  </a:lnTo>
                  <a:lnTo>
                    <a:pt x="922" y="220"/>
                  </a:lnTo>
                  <a:lnTo>
                    <a:pt x="922" y="220"/>
                  </a:lnTo>
                  <a:lnTo>
                    <a:pt x="924" y="219"/>
                  </a:lnTo>
                  <a:lnTo>
                    <a:pt x="927" y="217"/>
                  </a:lnTo>
                  <a:lnTo>
                    <a:pt x="934" y="213"/>
                  </a:lnTo>
                  <a:lnTo>
                    <a:pt x="934" y="213"/>
                  </a:lnTo>
                  <a:lnTo>
                    <a:pt x="937" y="213"/>
                  </a:lnTo>
                  <a:lnTo>
                    <a:pt x="941" y="214"/>
                  </a:lnTo>
                  <a:lnTo>
                    <a:pt x="945" y="216"/>
                  </a:lnTo>
                  <a:lnTo>
                    <a:pt x="948" y="214"/>
                  </a:lnTo>
                  <a:lnTo>
                    <a:pt x="948" y="214"/>
                  </a:lnTo>
                  <a:lnTo>
                    <a:pt x="953" y="210"/>
                  </a:lnTo>
                  <a:lnTo>
                    <a:pt x="958" y="204"/>
                  </a:lnTo>
                  <a:lnTo>
                    <a:pt x="963" y="196"/>
                  </a:lnTo>
                  <a:lnTo>
                    <a:pt x="967" y="188"/>
                  </a:lnTo>
                  <a:lnTo>
                    <a:pt x="967" y="188"/>
                  </a:lnTo>
                  <a:lnTo>
                    <a:pt x="970" y="180"/>
                  </a:lnTo>
                  <a:lnTo>
                    <a:pt x="972" y="171"/>
                  </a:lnTo>
                  <a:lnTo>
                    <a:pt x="973" y="158"/>
                  </a:lnTo>
                  <a:lnTo>
                    <a:pt x="973" y="158"/>
                  </a:lnTo>
                  <a:lnTo>
                    <a:pt x="977" y="144"/>
                  </a:lnTo>
                  <a:lnTo>
                    <a:pt x="979" y="138"/>
                  </a:lnTo>
                  <a:lnTo>
                    <a:pt x="979" y="136"/>
                  </a:lnTo>
                  <a:lnTo>
                    <a:pt x="977" y="136"/>
                  </a:lnTo>
                  <a:close/>
                  <a:moveTo>
                    <a:pt x="433" y="390"/>
                  </a:moveTo>
                  <a:lnTo>
                    <a:pt x="433" y="390"/>
                  </a:lnTo>
                  <a:lnTo>
                    <a:pt x="430" y="393"/>
                  </a:lnTo>
                  <a:lnTo>
                    <a:pt x="424" y="394"/>
                  </a:lnTo>
                  <a:lnTo>
                    <a:pt x="420" y="394"/>
                  </a:lnTo>
                  <a:lnTo>
                    <a:pt x="415" y="393"/>
                  </a:lnTo>
                  <a:lnTo>
                    <a:pt x="415" y="393"/>
                  </a:lnTo>
                  <a:lnTo>
                    <a:pt x="414" y="390"/>
                  </a:lnTo>
                  <a:lnTo>
                    <a:pt x="412" y="388"/>
                  </a:lnTo>
                  <a:lnTo>
                    <a:pt x="414" y="384"/>
                  </a:lnTo>
                  <a:lnTo>
                    <a:pt x="418" y="380"/>
                  </a:lnTo>
                  <a:lnTo>
                    <a:pt x="421" y="380"/>
                  </a:lnTo>
                  <a:lnTo>
                    <a:pt x="421" y="380"/>
                  </a:lnTo>
                  <a:lnTo>
                    <a:pt x="426" y="381"/>
                  </a:lnTo>
                  <a:lnTo>
                    <a:pt x="430" y="384"/>
                  </a:lnTo>
                  <a:lnTo>
                    <a:pt x="433" y="388"/>
                  </a:lnTo>
                  <a:lnTo>
                    <a:pt x="433" y="390"/>
                  </a:lnTo>
                  <a:lnTo>
                    <a:pt x="433" y="390"/>
                  </a:lnTo>
                  <a:close/>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85" name="Freeform 1579"/>
            <p:cNvSpPr>
              <a:spLocks/>
            </p:cNvSpPr>
            <p:nvPr/>
          </p:nvSpPr>
          <p:spPr bwMode="auto">
            <a:xfrm>
              <a:off x="6199188" y="3092451"/>
              <a:ext cx="1554163" cy="1092200"/>
            </a:xfrm>
            <a:custGeom>
              <a:avLst/>
              <a:gdLst>
                <a:gd name="T0" fmla="*/ 919 w 979"/>
                <a:gd name="T1" fmla="*/ 144 h 688"/>
                <a:gd name="T2" fmla="*/ 864 w 979"/>
                <a:gd name="T3" fmla="*/ 93 h 688"/>
                <a:gd name="T4" fmla="*/ 831 w 979"/>
                <a:gd name="T5" fmla="*/ 15 h 688"/>
                <a:gd name="T6" fmla="*/ 747 w 979"/>
                <a:gd name="T7" fmla="*/ 4 h 688"/>
                <a:gd name="T8" fmla="*/ 740 w 979"/>
                <a:gd name="T9" fmla="*/ 41 h 688"/>
                <a:gd name="T10" fmla="*/ 717 w 979"/>
                <a:gd name="T11" fmla="*/ 97 h 688"/>
                <a:gd name="T12" fmla="*/ 688 w 979"/>
                <a:gd name="T13" fmla="*/ 154 h 688"/>
                <a:gd name="T14" fmla="*/ 735 w 979"/>
                <a:gd name="T15" fmla="*/ 159 h 688"/>
                <a:gd name="T16" fmla="*/ 662 w 979"/>
                <a:gd name="T17" fmla="*/ 209 h 688"/>
                <a:gd name="T18" fmla="*/ 628 w 979"/>
                <a:gd name="T19" fmla="*/ 197 h 688"/>
                <a:gd name="T20" fmla="*/ 507 w 979"/>
                <a:gd name="T21" fmla="*/ 277 h 688"/>
                <a:gd name="T22" fmla="*/ 418 w 979"/>
                <a:gd name="T23" fmla="*/ 262 h 688"/>
                <a:gd name="T24" fmla="*/ 339 w 979"/>
                <a:gd name="T25" fmla="*/ 254 h 688"/>
                <a:gd name="T26" fmla="*/ 313 w 979"/>
                <a:gd name="T27" fmla="*/ 220 h 688"/>
                <a:gd name="T28" fmla="*/ 262 w 979"/>
                <a:gd name="T29" fmla="*/ 151 h 688"/>
                <a:gd name="T30" fmla="*/ 244 w 979"/>
                <a:gd name="T31" fmla="*/ 109 h 688"/>
                <a:gd name="T32" fmla="*/ 213 w 979"/>
                <a:gd name="T33" fmla="*/ 123 h 688"/>
                <a:gd name="T34" fmla="*/ 187 w 979"/>
                <a:gd name="T35" fmla="*/ 167 h 688"/>
                <a:gd name="T36" fmla="*/ 143 w 979"/>
                <a:gd name="T37" fmla="*/ 183 h 688"/>
                <a:gd name="T38" fmla="*/ 123 w 979"/>
                <a:gd name="T39" fmla="*/ 207 h 688"/>
                <a:gd name="T40" fmla="*/ 108 w 979"/>
                <a:gd name="T41" fmla="*/ 259 h 688"/>
                <a:gd name="T42" fmla="*/ 76 w 979"/>
                <a:gd name="T43" fmla="*/ 297 h 688"/>
                <a:gd name="T44" fmla="*/ 30 w 979"/>
                <a:gd name="T45" fmla="*/ 316 h 688"/>
                <a:gd name="T46" fmla="*/ 4 w 979"/>
                <a:gd name="T47" fmla="*/ 332 h 688"/>
                <a:gd name="T48" fmla="*/ 20 w 979"/>
                <a:gd name="T49" fmla="*/ 361 h 688"/>
                <a:gd name="T50" fmla="*/ 10 w 979"/>
                <a:gd name="T51" fmla="*/ 387 h 688"/>
                <a:gd name="T52" fmla="*/ 53 w 979"/>
                <a:gd name="T53" fmla="*/ 413 h 688"/>
                <a:gd name="T54" fmla="*/ 65 w 979"/>
                <a:gd name="T55" fmla="*/ 440 h 688"/>
                <a:gd name="T56" fmla="*/ 97 w 979"/>
                <a:gd name="T57" fmla="*/ 504 h 688"/>
                <a:gd name="T58" fmla="*/ 100 w 979"/>
                <a:gd name="T59" fmla="*/ 533 h 688"/>
                <a:gd name="T60" fmla="*/ 181 w 979"/>
                <a:gd name="T61" fmla="*/ 553 h 688"/>
                <a:gd name="T62" fmla="*/ 273 w 979"/>
                <a:gd name="T63" fmla="*/ 552 h 688"/>
                <a:gd name="T64" fmla="*/ 317 w 979"/>
                <a:gd name="T65" fmla="*/ 551 h 688"/>
                <a:gd name="T66" fmla="*/ 378 w 979"/>
                <a:gd name="T67" fmla="*/ 545 h 688"/>
                <a:gd name="T68" fmla="*/ 401 w 979"/>
                <a:gd name="T69" fmla="*/ 584 h 688"/>
                <a:gd name="T70" fmla="*/ 402 w 979"/>
                <a:gd name="T71" fmla="*/ 630 h 688"/>
                <a:gd name="T72" fmla="*/ 423 w 979"/>
                <a:gd name="T73" fmla="*/ 668 h 688"/>
                <a:gd name="T74" fmla="*/ 452 w 979"/>
                <a:gd name="T75" fmla="*/ 671 h 688"/>
                <a:gd name="T76" fmla="*/ 469 w 979"/>
                <a:gd name="T77" fmla="*/ 652 h 688"/>
                <a:gd name="T78" fmla="*/ 498 w 979"/>
                <a:gd name="T79" fmla="*/ 643 h 688"/>
                <a:gd name="T80" fmla="*/ 531 w 979"/>
                <a:gd name="T81" fmla="*/ 664 h 688"/>
                <a:gd name="T82" fmla="*/ 570 w 979"/>
                <a:gd name="T83" fmla="*/ 675 h 688"/>
                <a:gd name="T84" fmla="*/ 589 w 979"/>
                <a:gd name="T85" fmla="*/ 685 h 688"/>
                <a:gd name="T86" fmla="*/ 638 w 979"/>
                <a:gd name="T87" fmla="*/ 665 h 688"/>
                <a:gd name="T88" fmla="*/ 662 w 979"/>
                <a:gd name="T89" fmla="*/ 648 h 688"/>
                <a:gd name="T90" fmla="*/ 699 w 979"/>
                <a:gd name="T91" fmla="*/ 637 h 688"/>
                <a:gd name="T92" fmla="*/ 730 w 979"/>
                <a:gd name="T93" fmla="*/ 604 h 688"/>
                <a:gd name="T94" fmla="*/ 753 w 979"/>
                <a:gd name="T95" fmla="*/ 559 h 688"/>
                <a:gd name="T96" fmla="*/ 776 w 979"/>
                <a:gd name="T97" fmla="*/ 533 h 688"/>
                <a:gd name="T98" fmla="*/ 773 w 979"/>
                <a:gd name="T99" fmla="*/ 500 h 688"/>
                <a:gd name="T100" fmla="*/ 763 w 979"/>
                <a:gd name="T101" fmla="*/ 472 h 688"/>
                <a:gd name="T102" fmla="*/ 735 w 979"/>
                <a:gd name="T103" fmla="*/ 420 h 688"/>
                <a:gd name="T104" fmla="*/ 789 w 979"/>
                <a:gd name="T105" fmla="*/ 387 h 688"/>
                <a:gd name="T106" fmla="*/ 734 w 979"/>
                <a:gd name="T107" fmla="*/ 384 h 688"/>
                <a:gd name="T108" fmla="*/ 708 w 979"/>
                <a:gd name="T109" fmla="*/ 343 h 688"/>
                <a:gd name="T110" fmla="*/ 767 w 979"/>
                <a:gd name="T111" fmla="*/ 307 h 688"/>
                <a:gd name="T112" fmla="*/ 766 w 979"/>
                <a:gd name="T113" fmla="*/ 332 h 688"/>
                <a:gd name="T114" fmla="*/ 799 w 979"/>
                <a:gd name="T115" fmla="*/ 333 h 688"/>
                <a:gd name="T116" fmla="*/ 850 w 979"/>
                <a:gd name="T117" fmla="*/ 296 h 688"/>
                <a:gd name="T118" fmla="*/ 874 w 979"/>
                <a:gd name="T119" fmla="*/ 280 h 688"/>
                <a:gd name="T120" fmla="*/ 916 w 979"/>
                <a:gd name="T121" fmla="*/ 261 h 688"/>
                <a:gd name="T122" fmla="*/ 934 w 979"/>
                <a:gd name="T123" fmla="*/ 213 h 688"/>
                <a:gd name="T124" fmla="*/ 972 w 979"/>
                <a:gd name="T125" fmla="*/ 171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79" h="688">
                  <a:moveTo>
                    <a:pt x="977" y="136"/>
                  </a:moveTo>
                  <a:lnTo>
                    <a:pt x="977" y="136"/>
                  </a:lnTo>
                  <a:lnTo>
                    <a:pt x="969" y="139"/>
                  </a:lnTo>
                  <a:lnTo>
                    <a:pt x="958" y="141"/>
                  </a:lnTo>
                  <a:lnTo>
                    <a:pt x="958" y="141"/>
                  </a:lnTo>
                  <a:lnTo>
                    <a:pt x="954" y="142"/>
                  </a:lnTo>
                  <a:lnTo>
                    <a:pt x="945" y="145"/>
                  </a:lnTo>
                  <a:lnTo>
                    <a:pt x="938" y="148"/>
                  </a:lnTo>
                  <a:lnTo>
                    <a:pt x="932" y="149"/>
                  </a:lnTo>
                  <a:lnTo>
                    <a:pt x="932" y="149"/>
                  </a:lnTo>
                  <a:lnTo>
                    <a:pt x="928" y="149"/>
                  </a:lnTo>
                  <a:lnTo>
                    <a:pt x="924" y="146"/>
                  </a:lnTo>
                  <a:lnTo>
                    <a:pt x="919" y="144"/>
                  </a:lnTo>
                  <a:lnTo>
                    <a:pt x="916" y="141"/>
                  </a:lnTo>
                  <a:lnTo>
                    <a:pt x="916" y="141"/>
                  </a:lnTo>
                  <a:lnTo>
                    <a:pt x="916" y="132"/>
                  </a:lnTo>
                  <a:lnTo>
                    <a:pt x="915" y="128"/>
                  </a:lnTo>
                  <a:lnTo>
                    <a:pt x="914" y="125"/>
                  </a:lnTo>
                  <a:lnTo>
                    <a:pt x="914" y="125"/>
                  </a:lnTo>
                  <a:lnTo>
                    <a:pt x="895" y="110"/>
                  </a:lnTo>
                  <a:lnTo>
                    <a:pt x="895" y="110"/>
                  </a:lnTo>
                  <a:lnTo>
                    <a:pt x="886" y="103"/>
                  </a:lnTo>
                  <a:lnTo>
                    <a:pt x="874" y="99"/>
                  </a:lnTo>
                  <a:lnTo>
                    <a:pt x="874" y="99"/>
                  </a:lnTo>
                  <a:lnTo>
                    <a:pt x="867" y="96"/>
                  </a:lnTo>
                  <a:lnTo>
                    <a:pt x="864" y="93"/>
                  </a:lnTo>
                  <a:lnTo>
                    <a:pt x="864" y="88"/>
                  </a:lnTo>
                  <a:lnTo>
                    <a:pt x="864" y="88"/>
                  </a:lnTo>
                  <a:lnTo>
                    <a:pt x="863" y="83"/>
                  </a:lnTo>
                  <a:lnTo>
                    <a:pt x="860" y="75"/>
                  </a:lnTo>
                  <a:lnTo>
                    <a:pt x="857" y="68"/>
                  </a:lnTo>
                  <a:lnTo>
                    <a:pt x="856" y="64"/>
                  </a:lnTo>
                  <a:lnTo>
                    <a:pt x="856" y="64"/>
                  </a:lnTo>
                  <a:lnTo>
                    <a:pt x="856" y="58"/>
                  </a:lnTo>
                  <a:lnTo>
                    <a:pt x="856" y="55"/>
                  </a:lnTo>
                  <a:lnTo>
                    <a:pt x="854" y="52"/>
                  </a:lnTo>
                  <a:lnTo>
                    <a:pt x="854" y="52"/>
                  </a:lnTo>
                  <a:lnTo>
                    <a:pt x="840" y="28"/>
                  </a:lnTo>
                  <a:lnTo>
                    <a:pt x="831" y="15"/>
                  </a:lnTo>
                  <a:lnTo>
                    <a:pt x="828" y="9"/>
                  </a:lnTo>
                  <a:lnTo>
                    <a:pt x="824" y="6"/>
                  </a:lnTo>
                  <a:lnTo>
                    <a:pt x="824" y="6"/>
                  </a:lnTo>
                  <a:lnTo>
                    <a:pt x="819" y="4"/>
                  </a:lnTo>
                  <a:lnTo>
                    <a:pt x="817" y="6"/>
                  </a:lnTo>
                  <a:lnTo>
                    <a:pt x="814" y="6"/>
                  </a:lnTo>
                  <a:lnTo>
                    <a:pt x="811" y="6"/>
                  </a:lnTo>
                  <a:lnTo>
                    <a:pt x="811" y="6"/>
                  </a:lnTo>
                  <a:lnTo>
                    <a:pt x="802" y="2"/>
                  </a:lnTo>
                  <a:lnTo>
                    <a:pt x="793" y="0"/>
                  </a:lnTo>
                  <a:lnTo>
                    <a:pt x="793" y="0"/>
                  </a:lnTo>
                  <a:lnTo>
                    <a:pt x="772" y="2"/>
                  </a:lnTo>
                  <a:lnTo>
                    <a:pt x="747" y="4"/>
                  </a:lnTo>
                  <a:lnTo>
                    <a:pt x="747" y="4"/>
                  </a:lnTo>
                  <a:lnTo>
                    <a:pt x="743" y="9"/>
                  </a:lnTo>
                  <a:lnTo>
                    <a:pt x="737" y="15"/>
                  </a:lnTo>
                  <a:lnTo>
                    <a:pt x="733" y="20"/>
                  </a:lnTo>
                  <a:lnTo>
                    <a:pt x="733" y="23"/>
                  </a:lnTo>
                  <a:lnTo>
                    <a:pt x="733" y="25"/>
                  </a:lnTo>
                  <a:lnTo>
                    <a:pt x="733" y="25"/>
                  </a:lnTo>
                  <a:lnTo>
                    <a:pt x="738" y="28"/>
                  </a:lnTo>
                  <a:lnTo>
                    <a:pt x="741" y="29"/>
                  </a:lnTo>
                  <a:lnTo>
                    <a:pt x="741" y="32"/>
                  </a:lnTo>
                  <a:lnTo>
                    <a:pt x="741" y="32"/>
                  </a:lnTo>
                  <a:lnTo>
                    <a:pt x="741" y="36"/>
                  </a:lnTo>
                  <a:lnTo>
                    <a:pt x="740" y="41"/>
                  </a:lnTo>
                  <a:lnTo>
                    <a:pt x="738" y="44"/>
                  </a:lnTo>
                  <a:lnTo>
                    <a:pt x="740" y="46"/>
                  </a:lnTo>
                  <a:lnTo>
                    <a:pt x="740" y="46"/>
                  </a:lnTo>
                  <a:lnTo>
                    <a:pt x="743" y="49"/>
                  </a:lnTo>
                  <a:lnTo>
                    <a:pt x="741" y="52"/>
                  </a:lnTo>
                  <a:lnTo>
                    <a:pt x="741" y="52"/>
                  </a:lnTo>
                  <a:lnTo>
                    <a:pt x="734" y="62"/>
                  </a:lnTo>
                  <a:lnTo>
                    <a:pt x="728" y="73"/>
                  </a:lnTo>
                  <a:lnTo>
                    <a:pt x="728" y="73"/>
                  </a:lnTo>
                  <a:lnTo>
                    <a:pt x="727" y="83"/>
                  </a:lnTo>
                  <a:lnTo>
                    <a:pt x="724" y="90"/>
                  </a:lnTo>
                  <a:lnTo>
                    <a:pt x="724" y="90"/>
                  </a:lnTo>
                  <a:lnTo>
                    <a:pt x="717" y="97"/>
                  </a:lnTo>
                  <a:lnTo>
                    <a:pt x="708" y="103"/>
                  </a:lnTo>
                  <a:lnTo>
                    <a:pt x="708" y="103"/>
                  </a:lnTo>
                  <a:lnTo>
                    <a:pt x="698" y="103"/>
                  </a:lnTo>
                  <a:lnTo>
                    <a:pt x="686" y="100"/>
                  </a:lnTo>
                  <a:lnTo>
                    <a:pt x="686" y="100"/>
                  </a:lnTo>
                  <a:lnTo>
                    <a:pt x="679" y="116"/>
                  </a:lnTo>
                  <a:lnTo>
                    <a:pt x="678" y="125"/>
                  </a:lnTo>
                  <a:lnTo>
                    <a:pt x="678" y="130"/>
                  </a:lnTo>
                  <a:lnTo>
                    <a:pt x="678" y="130"/>
                  </a:lnTo>
                  <a:lnTo>
                    <a:pt x="680" y="139"/>
                  </a:lnTo>
                  <a:lnTo>
                    <a:pt x="683" y="146"/>
                  </a:lnTo>
                  <a:lnTo>
                    <a:pt x="686" y="152"/>
                  </a:lnTo>
                  <a:lnTo>
                    <a:pt x="688" y="154"/>
                  </a:lnTo>
                  <a:lnTo>
                    <a:pt x="689" y="154"/>
                  </a:lnTo>
                  <a:lnTo>
                    <a:pt x="689" y="154"/>
                  </a:lnTo>
                  <a:lnTo>
                    <a:pt x="693" y="152"/>
                  </a:lnTo>
                  <a:lnTo>
                    <a:pt x="699" y="149"/>
                  </a:lnTo>
                  <a:lnTo>
                    <a:pt x="705" y="146"/>
                  </a:lnTo>
                  <a:lnTo>
                    <a:pt x="708" y="145"/>
                  </a:lnTo>
                  <a:lnTo>
                    <a:pt x="712" y="145"/>
                  </a:lnTo>
                  <a:lnTo>
                    <a:pt x="712" y="145"/>
                  </a:lnTo>
                  <a:lnTo>
                    <a:pt x="725" y="149"/>
                  </a:lnTo>
                  <a:lnTo>
                    <a:pt x="733" y="152"/>
                  </a:lnTo>
                  <a:lnTo>
                    <a:pt x="735" y="154"/>
                  </a:lnTo>
                  <a:lnTo>
                    <a:pt x="735" y="154"/>
                  </a:lnTo>
                  <a:lnTo>
                    <a:pt x="735" y="159"/>
                  </a:lnTo>
                  <a:lnTo>
                    <a:pt x="735" y="167"/>
                  </a:lnTo>
                  <a:lnTo>
                    <a:pt x="734" y="174"/>
                  </a:lnTo>
                  <a:lnTo>
                    <a:pt x="733" y="177"/>
                  </a:lnTo>
                  <a:lnTo>
                    <a:pt x="730" y="178"/>
                  </a:lnTo>
                  <a:lnTo>
                    <a:pt x="730" y="178"/>
                  </a:lnTo>
                  <a:lnTo>
                    <a:pt x="724" y="180"/>
                  </a:lnTo>
                  <a:lnTo>
                    <a:pt x="717" y="180"/>
                  </a:lnTo>
                  <a:lnTo>
                    <a:pt x="709" y="181"/>
                  </a:lnTo>
                  <a:lnTo>
                    <a:pt x="704" y="183"/>
                  </a:lnTo>
                  <a:lnTo>
                    <a:pt x="704" y="183"/>
                  </a:lnTo>
                  <a:lnTo>
                    <a:pt x="682" y="199"/>
                  </a:lnTo>
                  <a:lnTo>
                    <a:pt x="667" y="207"/>
                  </a:lnTo>
                  <a:lnTo>
                    <a:pt x="662" y="209"/>
                  </a:lnTo>
                  <a:lnTo>
                    <a:pt x="659" y="209"/>
                  </a:lnTo>
                  <a:lnTo>
                    <a:pt x="659" y="209"/>
                  </a:lnTo>
                  <a:lnTo>
                    <a:pt x="654" y="207"/>
                  </a:lnTo>
                  <a:lnTo>
                    <a:pt x="653" y="204"/>
                  </a:lnTo>
                  <a:lnTo>
                    <a:pt x="649" y="199"/>
                  </a:lnTo>
                  <a:lnTo>
                    <a:pt x="644" y="191"/>
                  </a:lnTo>
                  <a:lnTo>
                    <a:pt x="643" y="188"/>
                  </a:lnTo>
                  <a:lnTo>
                    <a:pt x="641" y="188"/>
                  </a:lnTo>
                  <a:lnTo>
                    <a:pt x="641" y="188"/>
                  </a:lnTo>
                  <a:lnTo>
                    <a:pt x="637" y="187"/>
                  </a:lnTo>
                  <a:lnTo>
                    <a:pt x="634" y="190"/>
                  </a:lnTo>
                  <a:lnTo>
                    <a:pt x="631" y="193"/>
                  </a:lnTo>
                  <a:lnTo>
                    <a:pt x="628" y="197"/>
                  </a:lnTo>
                  <a:lnTo>
                    <a:pt x="628" y="197"/>
                  </a:lnTo>
                  <a:lnTo>
                    <a:pt x="620" y="210"/>
                  </a:lnTo>
                  <a:lnTo>
                    <a:pt x="605" y="229"/>
                  </a:lnTo>
                  <a:lnTo>
                    <a:pt x="588" y="248"/>
                  </a:lnTo>
                  <a:lnTo>
                    <a:pt x="580" y="254"/>
                  </a:lnTo>
                  <a:lnTo>
                    <a:pt x="575" y="256"/>
                  </a:lnTo>
                  <a:lnTo>
                    <a:pt x="575" y="256"/>
                  </a:lnTo>
                  <a:lnTo>
                    <a:pt x="557" y="259"/>
                  </a:lnTo>
                  <a:lnTo>
                    <a:pt x="552" y="261"/>
                  </a:lnTo>
                  <a:lnTo>
                    <a:pt x="544" y="264"/>
                  </a:lnTo>
                  <a:lnTo>
                    <a:pt x="544" y="264"/>
                  </a:lnTo>
                  <a:lnTo>
                    <a:pt x="530" y="270"/>
                  </a:lnTo>
                  <a:lnTo>
                    <a:pt x="507" y="277"/>
                  </a:lnTo>
                  <a:lnTo>
                    <a:pt x="485" y="281"/>
                  </a:lnTo>
                  <a:lnTo>
                    <a:pt x="476" y="283"/>
                  </a:lnTo>
                  <a:lnTo>
                    <a:pt x="469" y="283"/>
                  </a:lnTo>
                  <a:lnTo>
                    <a:pt x="469" y="283"/>
                  </a:lnTo>
                  <a:lnTo>
                    <a:pt x="466" y="281"/>
                  </a:lnTo>
                  <a:lnTo>
                    <a:pt x="462" y="278"/>
                  </a:lnTo>
                  <a:lnTo>
                    <a:pt x="456" y="274"/>
                  </a:lnTo>
                  <a:lnTo>
                    <a:pt x="449" y="270"/>
                  </a:lnTo>
                  <a:lnTo>
                    <a:pt x="446" y="268"/>
                  </a:lnTo>
                  <a:lnTo>
                    <a:pt x="440" y="267"/>
                  </a:lnTo>
                  <a:lnTo>
                    <a:pt x="440" y="267"/>
                  </a:lnTo>
                  <a:lnTo>
                    <a:pt x="426" y="267"/>
                  </a:lnTo>
                  <a:lnTo>
                    <a:pt x="418" y="262"/>
                  </a:lnTo>
                  <a:lnTo>
                    <a:pt x="418" y="262"/>
                  </a:lnTo>
                  <a:lnTo>
                    <a:pt x="412" y="261"/>
                  </a:lnTo>
                  <a:lnTo>
                    <a:pt x="407" y="259"/>
                  </a:lnTo>
                  <a:lnTo>
                    <a:pt x="399" y="259"/>
                  </a:lnTo>
                  <a:lnTo>
                    <a:pt x="394" y="261"/>
                  </a:lnTo>
                  <a:lnTo>
                    <a:pt x="394" y="261"/>
                  </a:lnTo>
                  <a:lnTo>
                    <a:pt x="385" y="262"/>
                  </a:lnTo>
                  <a:lnTo>
                    <a:pt x="370" y="265"/>
                  </a:lnTo>
                  <a:lnTo>
                    <a:pt x="357" y="265"/>
                  </a:lnTo>
                  <a:lnTo>
                    <a:pt x="352" y="265"/>
                  </a:lnTo>
                  <a:lnTo>
                    <a:pt x="349" y="264"/>
                  </a:lnTo>
                  <a:lnTo>
                    <a:pt x="349" y="264"/>
                  </a:lnTo>
                  <a:lnTo>
                    <a:pt x="339" y="254"/>
                  </a:lnTo>
                  <a:lnTo>
                    <a:pt x="334" y="248"/>
                  </a:lnTo>
                  <a:lnTo>
                    <a:pt x="334" y="245"/>
                  </a:lnTo>
                  <a:lnTo>
                    <a:pt x="334" y="243"/>
                  </a:lnTo>
                  <a:lnTo>
                    <a:pt x="334" y="243"/>
                  </a:lnTo>
                  <a:lnTo>
                    <a:pt x="339" y="236"/>
                  </a:lnTo>
                  <a:lnTo>
                    <a:pt x="341" y="233"/>
                  </a:lnTo>
                  <a:lnTo>
                    <a:pt x="341" y="232"/>
                  </a:lnTo>
                  <a:lnTo>
                    <a:pt x="341" y="232"/>
                  </a:lnTo>
                  <a:lnTo>
                    <a:pt x="336" y="228"/>
                  </a:lnTo>
                  <a:lnTo>
                    <a:pt x="328" y="223"/>
                  </a:lnTo>
                  <a:lnTo>
                    <a:pt x="328" y="223"/>
                  </a:lnTo>
                  <a:lnTo>
                    <a:pt x="323" y="222"/>
                  </a:lnTo>
                  <a:lnTo>
                    <a:pt x="313" y="220"/>
                  </a:lnTo>
                  <a:lnTo>
                    <a:pt x="304" y="217"/>
                  </a:lnTo>
                  <a:lnTo>
                    <a:pt x="302" y="217"/>
                  </a:lnTo>
                  <a:lnTo>
                    <a:pt x="301" y="214"/>
                  </a:lnTo>
                  <a:lnTo>
                    <a:pt x="301" y="214"/>
                  </a:lnTo>
                  <a:lnTo>
                    <a:pt x="299" y="194"/>
                  </a:lnTo>
                  <a:lnTo>
                    <a:pt x="298" y="180"/>
                  </a:lnTo>
                  <a:lnTo>
                    <a:pt x="297" y="175"/>
                  </a:lnTo>
                  <a:lnTo>
                    <a:pt x="294" y="171"/>
                  </a:lnTo>
                  <a:lnTo>
                    <a:pt x="294" y="171"/>
                  </a:lnTo>
                  <a:lnTo>
                    <a:pt x="285" y="165"/>
                  </a:lnTo>
                  <a:lnTo>
                    <a:pt x="272" y="158"/>
                  </a:lnTo>
                  <a:lnTo>
                    <a:pt x="266" y="154"/>
                  </a:lnTo>
                  <a:lnTo>
                    <a:pt x="262" y="151"/>
                  </a:lnTo>
                  <a:lnTo>
                    <a:pt x="260" y="146"/>
                  </a:lnTo>
                  <a:lnTo>
                    <a:pt x="260" y="144"/>
                  </a:lnTo>
                  <a:lnTo>
                    <a:pt x="260" y="144"/>
                  </a:lnTo>
                  <a:lnTo>
                    <a:pt x="266" y="135"/>
                  </a:lnTo>
                  <a:lnTo>
                    <a:pt x="266" y="132"/>
                  </a:lnTo>
                  <a:lnTo>
                    <a:pt x="265" y="129"/>
                  </a:lnTo>
                  <a:lnTo>
                    <a:pt x="265" y="129"/>
                  </a:lnTo>
                  <a:lnTo>
                    <a:pt x="260" y="126"/>
                  </a:lnTo>
                  <a:lnTo>
                    <a:pt x="255" y="123"/>
                  </a:lnTo>
                  <a:lnTo>
                    <a:pt x="249" y="119"/>
                  </a:lnTo>
                  <a:lnTo>
                    <a:pt x="246" y="116"/>
                  </a:lnTo>
                  <a:lnTo>
                    <a:pt x="246" y="116"/>
                  </a:lnTo>
                  <a:lnTo>
                    <a:pt x="244" y="109"/>
                  </a:lnTo>
                  <a:lnTo>
                    <a:pt x="244" y="109"/>
                  </a:lnTo>
                  <a:lnTo>
                    <a:pt x="240" y="110"/>
                  </a:lnTo>
                  <a:lnTo>
                    <a:pt x="237" y="110"/>
                  </a:lnTo>
                  <a:lnTo>
                    <a:pt x="237" y="110"/>
                  </a:lnTo>
                  <a:lnTo>
                    <a:pt x="234" y="110"/>
                  </a:lnTo>
                  <a:lnTo>
                    <a:pt x="231" y="112"/>
                  </a:lnTo>
                  <a:lnTo>
                    <a:pt x="229" y="113"/>
                  </a:lnTo>
                  <a:lnTo>
                    <a:pt x="224" y="115"/>
                  </a:lnTo>
                  <a:lnTo>
                    <a:pt x="224" y="115"/>
                  </a:lnTo>
                  <a:lnTo>
                    <a:pt x="223" y="119"/>
                  </a:lnTo>
                  <a:lnTo>
                    <a:pt x="220" y="120"/>
                  </a:lnTo>
                  <a:lnTo>
                    <a:pt x="220" y="120"/>
                  </a:lnTo>
                  <a:lnTo>
                    <a:pt x="213" y="123"/>
                  </a:lnTo>
                  <a:lnTo>
                    <a:pt x="208" y="126"/>
                  </a:lnTo>
                  <a:lnTo>
                    <a:pt x="205" y="129"/>
                  </a:lnTo>
                  <a:lnTo>
                    <a:pt x="205" y="129"/>
                  </a:lnTo>
                  <a:lnTo>
                    <a:pt x="197" y="136"/>
                  </a:lnTo>
                  <a:lnTo>
                    <a:pt x="192" y="139"/>
                  </a:lnTo>
                  <a:lnTo>
                    <a:pt x="191" y="144"/>
                  </a:lnTo>
                  <a:lnTo>
                    <a:pt x="191" y="144"/>
                  </a:lnTo>
                  <a:lnTo>
                    <a:pt x="191" y="154"/>
                  </a:lnTo>
                  <a:lnTo>
                    <a:pt x="192" y="161"/>
                  </a:lnTo>
                  <a:lnTo>
                    <a:pt x="191" y="164"/>
                  </a:lnTo>
                  <a:lnTo>
                    <a:pt x="191" y="164"/>
                  </a:lnTo>
                  <a:lnTo>
                    <a:pt x="189" y="167"/>
                  </a:lnTo>
                  <a:lnTo>
                    <a:pt x="187" y="167"/>
                  </a:lnTo>
                  <a:lnTo>
                    <a:pt x="179" y="168"/>
                  </a:lnTo>
                  <a:lnTo>
                    <a:pt x="179" y="168"/>
                  </a:lnTo>
                  <a:lnTo>
                    <a:pt x="168" y="170"/>
                  </a:lnTo>
                  <a:lnTo>
                    <a:pt x="162" y="171"/>
                  </a:lnTo>
                  <a:lnTo>
                    <a:pt x="158" y="170"/>
                  </a:lnTo>
                  <a:lnTo>
                    <a:pt x="158" y="170"/>
                  </a:lnTo>
                  <a:lnTo>
                    <a:pt x="152" y="167"/>
                  </a:lnTo>
                  <a:lnTo>
                    <a:pt x="150" y="167"/>
                  </a:lnTo>
                  <a:lnTo>
                    <a:pt x="147" y="170"/>
                  </a:lnTo>
                  <a:lnTo>
                    <a:pt x="147" y="170"/>
                  </a:lnTo>
                  <a:lnTo>
                    <a:pt x="146" y="175"/>
                  </a:lnTo>
                  <a:lnTo>
                    <a:pt x="145" y="180"/>
                  </a:lnTo>
                  <a:lnTo>
                    <a:pt x="143" y="183"/>
                  </a:lnTo>
                  <a:lnTo>
                    <a:pt x="143" y="186"/>
                  </a:lnTo>
                  <a:lnTo>
                    <a:pt x="143" y="186"/>
                  </a:lnTo>
                  <a:lnTo>
                    <a:pt x="140" y="190"/>
                  </a:lnTo>
                  <a:lnTo>
                    <a:pt x="139" y="193"/>
                  </a:lnTo>
                  <a:lnTo>
                    <a:pt x="140" y="196"/>
                  </a:lnTo>
                  <a:lnTo>
                    <a:pt x="140" y="196"/>
                  </a:lnTo>
                  <a:lnTo>
                    <a:pt x="143" y="201"/>
                  </a:lnTo>
                  <a:lnTo>
                    <a:pt x="143" y="203"/>
                  </a:lnTo>
                  <a:lnTo>
                    <a:pt x="140" y="206"/>
                  </a:lnTo>
                  <a:lnTo>
                    <a:pt x="140" y="206"/>
                  </a:lnTo>
                  <a:lnTo>
                    <a:pt x="134" y="206"/>
                  </a:lnTo>
                  <a:lnTo>
                    <a:pt x="129" y="207"/>
                  </a:lnTo>
                  <a:lnTo>
                    <a:pt x="123" y="207"/>
                  </a:lnTo>
                  <a:lnTo>
                    <a:pt x="118" y="207"/>
                  </a:lnTo>
                  <a:lnTo>
                    <a:pt x="118" y="207"/>
                  </a:lnTo>
                  <a:lnTo>
                    <a:pt x="113" y="212"/>
                  </a:lnTo>
                  <a:lnTo>
                    <a:pt x="110" y="214"/>
                  </a:lnTo>
                  <a:lnTo>
                    <a:pt x="107" y="217"/>
                  </a:lnTo>
                  <a:lnTo>
                    <a:pt x="107" y="217"/>
                  </a:lnTo>
                  <a:lnTo>
                    <a:pt x="107" y="220"/>
                  </a:lnTo>
                  <a:lnTo>
                    <a:pt x="107" y="225"/>
                  </a:lnTo>
                  <a:lnTo>
                    <a:pt x="108" y="232"/>
                  </a:lnTo>
                  <a:lnTo>
                    <a:pt x="108" y="232"/>
                  </a:lnTo>
                  <a:lnTo>
                    <a:pt x="110" y="246"/>
                  </a:lnTo>
                  <a:lnTo>
                    <a:pt x="110" y="255"/>
                  </a:lnTo>
                  <a:lnTo>
                    <a:pt x="108" y="259"/>
                  </a:lnTo>
                  <a:lnTo>
                    <a:pt x="108" y="261"/>
                  </a:lnTo>
                  <a:lnTo>
                    <a:pt x="108" y="261"/>
                  </a:lnTo>
                  <a:lnTo>
                    <a:pt x="105" y="262"/>
                  </a:lnTo>
                  <a:lnTo>
                    <a:pt x="104" y="267"/>
                  </a:lnTo>
                  <a:lnTo>
                    <a:pt x="103" y="277"/>
                  </a:lnTo>
                  <a:lnTo>
                    <a:pt x="103" y="277"/>
                  </a:lnTo>
                  <a:lnTo>
                    <a:pt x="103" y="281"/>
                  </a:lnTo>
                  <a:lnTo>
                    <a:pt x="100" y="283"/>
                  </a:lnTo>
                  <a:lnTo>
                    <a:pt x="92" y="285"/>
                  </a:lnTo>
                  <a:lnTo>
                    <a:pt x="92" y="285"/>
                  </a:lnTo>
                  <a:lnTo>
                    <a:pt x="87" y="288"/>
                  </a:lnTo>
                  <a:lnTo>
                    <a:pt x="82" y="293"/>
                  </a:lnTo>
                  <a:lnTo>
                    <a:pt x="76" y="297"/>
                  </a:lnTo>
                  <a:lnTo>
                    <a:pt x="74" y="298"/>
                  </a:lnTo>
                  <a:lnTo>
                    <a:pt x="74" y="298"/>
                  </a:lnTo>
                  <a:lnTo>
                    <a:pt x="63" y="301"/>
                  </a:lnTo>
                  <a:lnTo>
                    <a:pt x="58" y="304"/>
                  </a:lnTo>
                  <a:lnTo>
                    <a:pt x="53" y="307"/>
                  </a:lnTo>
                  <a:lnTo>
                    <a:pt x="53" y="307"/>
                  </a:lnTo>
                  <a:lnTo>
                    <a:pt x="50" y="312"/>
                  </a:lnTo>
                  <a:lnTo>
                    <a:pt x="49" y="314"/>
                  </a:lnTo>
                  <a:lnTo>
                    <a:pt x="46" y="319"/>
                  </a:lnTo>
                  <a:lnTo>
                    <a:pt x="43" y="320"/>
                  </a:lnTo>
                  <a:lnTo>
                    <a:pt x="43" y="320"/>
                  </a:lnTo>
                  <a:lnTo>
                    <a:pt x="34" y="319"/>
                  </a:lnTo>
                  <a:lnTo>
                    <a:pt x="30" y="316"/>
                  </a:lnTo>
                  <a:lnTo>
                    <a:pt x="30" y="316"/>
                  </a:lnTo>
                  <a:lnTo>
                    <a:pt x="29" y="314"/>
                  </a:lnTo>
                  <a:lnTo>
                    <a:pt x="26" y="314"/>
                  </a:lnTo>
                  <a:lnTo>
                    <a:pt x="24" y="316"/>
                  </a:lnTo>
                  <a:lnTo>
                    <a:pt x="21" y="319"/>
                  </a:lnTo>
                  <a:lnTo>
                    <a:pt x="21" y="319"/>
                  </a:lnTo>
                  <a:lnTo>
                    <a:pt x="20" y="322"/>
                  </a:lnTo>
                  <a:lnTo>
                    <a:pt x="17" y="322"/>
                  </a:lnTo>
                  <a:lnTo>
                    <a:pt x="13" y="323"/>
                  </a:lnTo>
                  <a:lnTo>
                    <a:pt x="13" y="323"/>
                  </a:lnTo>
                  <a:lnTo>
                    <a:pt x="8" y="325"/>
                  </a:lnTo>
                  <a:lnTo>
                    <a:pt x="7" y="327"/>
                  </a:lnTo>
                  <a:lnTo>
                    <a:pt x="4" y="332"/>
                  </a:lnTo>
                  <a:lnTo>
                    <a:pt x="3" y="333"/>
                  </a:lnTo>
                  <a:lnTo>
                    <a:pt x="3" y="333"/>
                  </a:lnTo>
                  <a:lnTo>
                    <a:pt x="1" y="335"/>
                  </a:lnTo>
                  <a:lnTo>
                    <a:pt x="0" y="338"/>
                  </a:lnTo>
                  <a:lnTo>
                    <a:pt x="1" y="339"/>
                  </a:lnTo>
                  <a:lnTo>
                    <a:pt x="4" y="342"/>
                  </a:lnTo>
                  <a:lnTo>
                    <a:pt x="4" y="342"/>
                  </a:lnTo>
                  <a:lnTo>
                    <a:pt x="10" y="345"/>
                  </a:lnTo>
                  <a:lnTo>
                    <a:pt x="14" y="348"/>
                  </a:lnTo>
                  <a:lnTo>
                    <a:pt x="17" y="352"/>
                  </a:lnTo>
                  <a:lnTo>
                    <a:pt x="20" y="356"/>
                  </a:lnTo>
                  <a:lnTo>
                    <a:pt x="20" y="356"/>
                  </a:lnTo>
                  <a:lnTo>
                    <a:pt x="20" y="361"/>
                  </a:lnTo>
                  <a:lnTo>
                    <a:pt x="21" y="365"/>
                  </a:lnTo>
                  <a:lnTo>
                    <a:pt x="20" y="369"/>
                  </a:lnTo>
                  <a:lnTo>
                    <a:pt x="19" y="374"/>
                  </a:lnTo>
                  <a:lnTo>
                    <a:pt x="19" y="374"/>
                  </a:lnTo>
                  <a:lnTo>
                    <a:pt x="17" y="375"/>
                  </a:lnTo>
                  <a:lnTo>
                    <a:pt x="14" y="375"/>
                  </a:lnTo>
                  <a:lnTo>
                    <a:pt x="13" y="377"/>
                  </a:lnTo>
                  <a:lnTo>
                    <a:pt x="11" y="378"/>
                  </a:lnTo>
                  <a:lnTo>
                    <a:pt x="11" y="378"/>
                  </a:lnTo>
                  <a:lnTo>
                    <a:pt x="8" y="383"/>
                  </a:lnTo>
                  <a:lnTo>
                    <a:pt x="8" y="384"/>
                  </a:lnTo>
                  <a:lnTo>
                    <a:pt x="10" y="387"/>
                  </a:lnTo>
                  <a:lnTo>
                    <a:pt x="10" y="387"/>
                  </a:lnTo>
                  <a:lnTo>
                    <a:pt x="14" y="390"/>
                  </a:lnTo>
                  <a:lnTo>
                    <a:pt x="19" y="394"/>
                  </a:lnTo>
                  <a:lnTo>
                    <a:pt x="20" y="398"/>
                  </a:lnTo>
                  <a:lnTo>
                    <a:pt x="23" y="403"/>
                  </a:lnTo>
                  <a:lnTo>
                    <a:pt x="23" y="403"/>
                  </a:lnTo>
                  <a:lnTo>
                    <a:pt x="23" y="406"/>
                  </a:lnTo>
                  <a:lnTo>
                    <a:pt x="24" y="407"/>
                  </a:lnTo>
                  <a:lnTo>
                    <a:pt x="29" y="407"/>
                  </a:lnTo>
                  <a:lnTo>
                    <a:pt x="39" y="406"/>
                  </a:lnTo>
                  <a:lnTo>
                    <a:pt x="39" y="406"/>
                  </a:lnTo>
                  <a:lnTo>
                    <a:pt x="43" y="407"/>
                  </a:lnTo>
                  <a:lnTo>
                    <a:pt x="47" y="409"/>
                  </a:lnTo>
                  <a:lnTo>
                    <a:pt x="53" y="413"/>
                  </a:lnTo>
                  <a:lnTo>
                    <a:pt x="61" y="422"/>
                  </a:lnTo>
                  <a:lnTo>
                    <a:pt x="61" y="422"/>
                  </a:lnTo>
                  <a:lnTo>
                    <a:pt x="66" y="427"/>
                  </a:lnTo>
                  <a:lnTo>
                    <a:pt x="71" y="429"/>
                  </a:lnTo>
                  <a:lnTo>
                    <a:pt x="74" y="429"/>
                  </a:lnTo>
                  <a:lnTo>
                    <a:pt x="78" y="429"/>
                  </a:lnTo>
                  <a:lnTo>
                    <a:pt x="78" y="429"/>
                  </a:lnTo>
                  <a:lnTo>
                    <a:pt x="87" y="433"/>
                  </a:lnTo>
                  <a:lnTo>
                    <a:pt x="84" y="432"/>
                  </a:lnTo>
                  <a:lnTo>
                    <a:pt x="81" y="432"/>
                  </a:lnTo>
                  <a:lnTo>
                    <a:pt x="76" y="433"/>
                  </a:lnTo>
                  <a:lnTo>
                    <a:pt x="71" y="435"/>
                  </a:lnTo>
                  <a:lnTo>
                    <a:pt x="65" y="440"/>
                  </a:lnTo>
                  <a:lnTo>
                    <a:pt x="65" y="440"/>
                  </a:lnTo>
                  <a:lnTo>
                    <a:pt x="62" y="443"/>
                  </a:lnTo>
                  <a:lnTo>
                    <a:pt x="61" y="446"/>
                  </a:lnTo>
                  <a:lnTo>
                    <a:pt x="61" y="455"/>
                  </a:lnTo>
                  <a:lnTo>
                    <a:pt x="62" y="464"/>
                  </a:lnTo>
                  <a:lnTo>
                    <a:pt x="63" y="474"/>
                  </a:lnTo>
                  <a:lnTo>
                    <a:pt x="71" y="490"/>
                  </a:lnTo>
                  <a:lnTo>
                    <a:pt x="78" y="500"/>
                  </a:lnTo>
                  <a:lnTo>
                    <a:pt x="78" y="500"/>
                  </a:lnTo>
                  <a:lnTo>
                    <a:pt x="82" y="504"/>
                  </a:lnTo>
                  <a:lnTo>
                    <a:pt x="87" y="506"/>
                  </a:lnTo>
                  <a:lnTo>
                    <a:pt x="92" y="504"/>
                  </a:lnTo>
                  <a:lnTo>
                    <a:pt x="97" y="504"/>
                  </a:lnTo>
                  <a:lnTo>
                    <a:pt x="104" y="501"/>
                  </a:lnTo>
                  <a:lnTo>
                    <a:pt x="108" y="503"/>
                  </a:lnTo>
                  <a:lnTo>
                    <a:pt x="110" y="504"/>
                  </a:lnTo>
                  <a:lnTo>
                    <a:pt x="110" y="504"/>
                  </a:lnTo>
                  <a:lnTo>
                    <a:pt x="111" y="507"/>
                  </a:lnTo>
                  <a:lnTo>
                    <a:pt x="108" y="510"/>
                  </a:lnTo>
                  <a:lnTo>
                    <a:pt x="105" y="513"/>
                  </a:lnTo>
                  <a:lnTo>
                    <a:pt x="104" y="517"/>
                  </a:lnTo>
                  <a:lnTo>
                    <a:pt x="104" y="517"/>
                  </a:lnTo>
                  <a:lnTo>
                    <a:pt x="101" y="524"/>
                  </a:lnTo>
                  <a:lnTo>
                    <a:pt x="100" y="527"/>
                  </a:lnTo>
                  <a:lnTo>
                    <a:pt x="100" y="530"/>
                  </a:lnTo>
                  <a:lnTo>
                    <a:pt x="100" y="533"/>
                  </a:lnTo>
                  <a:lnTo>
                    <a:pt x="100" y="533"/>
                  </a:lnTo>
                  <a:lnTo>
                    <a:pt x="103" y="540"/>
                  </a:lnTo>
                  <a:lnTo>
                    <a:pt x="107" y="545"/>
                  </a:lnTo>
                  <a:lnTo>
                    <a:pt x="114" y="549"/>
                  </a:lnTo>
                  <a:lnTo>
                    <a:pt x="120" y="552"/>
                  </a:lnTo>
                  <a:lnTo>
                    <a:pt x="133" y="558"/>
                  </a:lnTo>
                  <a:lnTo>
                    <a:pt x="137" y="559"/>
                  </a:lnTo>
                  <a:lnTo>
                    <a:pt x="140" y="562"/>
                  </a:lnTo>
                  <a:lnTo>
                    <a:pt x="140" y="562"/>
                  </a:lnTo>
                  <a:lnTo>
                    <a:pt x="143" y="564"/>
                  </a:lnTo>
                  <a:lnTo>
                    <a:pt x="149" y="562"/>
                  </a:lnTo>
                  <a:lnTo>
                    <a:pt x="165" y="559"/>
                  </a:lnTo>
                  <a:lnTo>
                    <a:pt x="181" y="553"/>
                  </a:lnTo>
                  <a:lnTo>
                    <a:pt x="189" y="551"/>
                  </a:lnTo>
                  <a:lnTo>
                    <a:pt x="189" y="551"/>
                  </a:lnTo>
                  <a:lnTo>
                    <a:pt x="205" y="556"/>
                  </a:lnTo>
                  <a:lnTo>
                    <a:pt x="214" y="559"/>
                  </a:lnTo>
                  <a:lnTo>
                    <a:pt x="221" y="561"/>
                  </a:lnTo>
                  <a:lnTo>
                    <a:pt x="221" y="561"/>
                  </a:lnTo>
                  <a:lnTo>
                    <a:pt x="234" y="556"/>
                  </a:lnTo>
                  <a:lnTo>
                    <a:pt x="244" y="552"/>
                  </a:lnTo>
                  <a:lnTo>
                    <a:pt x="244" y="552"/>
                  </a:lnTo>
                  <a:lnTo>
                    <a:pt x="250" y="551"/>
                  </a:lnTo>
                  <a:lnTo>
                    <a:pt x="257" y="551"/>
                  </a:lnTo>
                  <a:lnTo>
                    <a:pt x="266" y="551"/>
                  </a:lnTo>
                  <a:lnTo>
                    <a:pt x="273" y="552"/>
                  </a:lnTo>
                  <a:lnTo>
                    <a:pt x="273" y="552"/>
                  </a:lnTo>
                  <a:lnTo>
                    <a:pt x="279" y="552"/>
                  </a:lnTo>
                  <a:lnTo>
                    <a:pt x="284" y="552"/>
                  </a:lnTo>
                  <a:lnTo>
                    <a:pt x="291" y="548"/>
                  </a:lnTo>
                  <a:lnTo>
                    <a:pt x="291" y="548"/>
                  </a:lnTo>
                  <a:lnTo>
                    <a:pt x="301" y="542"/>
                  </a:lnTo>
                  <a:lnTo>
                    <a:pt x="307" y="539"/>
                  </a:lnTo>
                  <a:lnTo>
                    <a:pt x="310" y="539"/>
                  </a:lnTo>
                  <a:lnTo>
                    <a:pt x="311" y="540"/>
                  </a:lnTo>
                  <a:lnTo>
                    <a:pt x="311" y="540"/>
                  </a:lnTo>
                  <a:lnTo>
                    <a:pt x="314" y="546"/>
                  </a:lnTo>
                  <a:lnTo>
                    <a:pt x="315" y="548"/>
                  </a:lnTo>
                  <a:lnTo>
                    <a:pt x="317" y="551"/>
                  </a:lnTo>
                  <a:lnTo>
                    <a:pt x="317" y="551"/>
                  </a:lnTo>
                  <a:lnTo>
                    <a:pt x="321" y="552"/>
                  </a:lnTo>
                  <a:lnTo>
                    <a:pt x="326" y="552"/>
                  </a:lnTo>
                  <a:lnTo>
                    <a:pt x="339" y="552"/>
                  </a:lnTo>
                  <a:lnTo>
                    <a:pt x="339" y="552"/>
                  </a:lnTo>
                  <a:lnTo>
                    <a:pt x="350" y="551"/>
                  </a:lnTo>
                  <a:lnTo>
                    <a:pt x="356" y="549"/>
                  </a:lnTo>
                  <a:lnTo>
                    <a:pt x="359" y="551"/>
                  </a:lnTo>
                  <a:lnTo>
                    <a:pt x="359" y="551"/>
                  </a:lnTo>
                  <a:lnTo>
                    <a:pt x="362" y="551"/>
                  </a:lnTo>
                  <a:lnTo>
                    <a:pt x="366" y="551"/>
                  </a:lnTo>
                  <a:lnTo>
                    <a:pt x="372" y="548"/>
                  </a:lnTo>
                  <a:lnTo>
                    <a:pt x="378" y="545"/>
                  </a:lnTo>
                  <a:lnTo>
                    <a:pt x="378" y="545"/>
                  </a:lnTo>
                  <a:lnTo>
                    <a:pt x="386" y="539"/>
                  </a:lnTo>
                  <a:lnTo>
                    <a:pt x="391" y="537"/>
                  </a:lnTo>
                  <a:lnTo>
                    <a:pt x="392" y="537"/>
                  </a:lnTo>
                  <a:lnTo>
                    <a:pt x="392" y="537"/>
                  </a:lnTo>
                  <a:lnTo>
                    <a:pt x="394" y="543"/>
                  </a:lnTo>
                  <a:lnTo>
                    <a:pt x="395" y="553"/>
                  </a:lnTo>
                  <a:lnTo>
                    <a:pt x="397" y="564"/>
                  </a:lnTo>
                  <a:lnTo>
                    <a:pt x="398" y="568"/>
                  </a:lnTo>
                  <a:lnTo>
                    <a:pt x="398" y="568"/>
                  </a:lnTo>
                  <a:lnTo>
                    <a:pt x="401" y="575"/>
                  </a:lnTo>
                  <a:lnTo>
                    <a:pt x="401" y="580"/>
                  </a:lnTo>
                  <a:lnTo>
                    <a:pt x="401" y="584"/>
                  </a:lnTo>
                  <a:lnTo>
                    <a:pt x="401" y="584"/>
                  </a:lnTo>
                  <a:lnTo>
                    <a:pt x="398" y="588"/>
                  </a:lnTo>
                  <a:lnTo>
                    <a:pt x="394" y="594"/>
                  </a:lnTo>
                  <a:lnTo>
                    <a:pt x="388" y="601"/>
                  </a:lnTo>
                  <a:lnTo>
                    <a:pt x="386" y="606"/>
                  </a:lnTo>
                  <a:lnTo>
                    <a:pt x="386" y="606"/>
                  </a:lnTo>
                  <a:lnTo>
                    <a:pt x="385" y="613"/>
                  </a:lnTo>
                  <a:lnTo>
                    <a:pt x="386" y="616"/>
                  </a:lnTo>
                  <a:lnTo>
                    <a:pt x="388" y="619"/>
                  </a:lnTo>
                  <a:lnTo>
                    <a:pt x="388" y="619"/>
                  </a:lnTo>
                  <a:lnTo>
                    <a:pt x="395" y="623"/>
                  </a:lnTo>
                  <a:lnTo>
                    <a:pt x="399" y="626"/>
                  </a:lnTo>
                  <a:lnTo>
                    <a:pt x="402" y="630"/>
                  </a:lnTo>
                  <a:lnTo>
                    <a:pt x="402" y="630"/>
                  </a:lnTo>
                  <a:lnTo>
                    <a:pt x="405" y="636"/>
                  </a:lnTo>
                  <a:lnTo>
                    <a:pt x="410" y="642"/>
                  </a:lnTo>
                  <a:lnTo>
                    <a:pt x="412" y="646"/>
                  </a:lnTo>
                  <a:lnTo>
                    <a:pt x="412" y="649"/>
                  </a:lnTo>
                  <a:lnTo>
                    <a:pt x="412" y="649"/>
                  </a:lnTo>
                  <a:lnTo>
                    <a:pt x="408" y="656"/>
                  </a:lnTo>
                  <a:lnTo>
                    <a:pt x="407" y="661"/>
                  </a:lnTo>
                  <a:lnTo>
                    <a:pt x="408" y="662"/>
                  </a:lnTo>
                  <a:lnTo>
                    <a:pt x="408" y="664"/>
                  </a:lnTo>
                  <a:lnTo>
                    <a:pt x="408" y="664"/>
                  </a:lnTo>
                  <a:lnTo>
                    <a:pt x="418" y="668"/>
                  </a:lnTo>
                  <a:lnTo>
                    <a:pt x="423" y="668"/>
                  </a:lnTo>
                  <a:lnTo>
                    <a:pt x="427" y="668"/>
                  </a:lnTo>
                  <a:lnTo>
                    <a:pt x="427" y="668"/>
                  </a:lnTo>
                  <a:lnTo>
                    <a:pt x="434" y="664"/>
                  </a:lnTo>
                  <a:lnTo>
                    <a:pt x="437" y="664"/>
                  </a:lnTo>
                  <a:lnTo>
                    <a:pt x="439" y="666"/>
                  </a:lnTo>
                  <a:lnTo>
                    <a:pt x="439" y="666"/>
                  </a:lnTo>
                  <a:lnTo>
                    <a:pt x="440" y="671"/>
                  </a:lnTo>
                  <a:lnTo>
                    <a:pt x="444" y="677"/>
                  </a:lnTo>
                  <a:lnTo>
                    <a:pt x="449" y="679"/>
                  </a:lnTo>
                  <a:lnTo>
                    <a:pt x="452" y="679"/>
                  </a:lnTo>
                  <a:lnTo>
                    <a:pt x="452" y="678"/>
                  </a:lnTo>
                  <a:lnTo>
                    <a:pt x="452" y="678"/>
                  </a:lnTo>
                  <a:lnTo>
                    <a:pt x="452" y="671"/>
                  </a:lnTo>
                  <a:lnTo>
                    <a:pt x="452" y="661"/>
                  </a:lnTo>
                  <a:lnTo>
                    <a:pt x="452" y="653"/>
                  </a:lnTo>
                  <a:lnTo>
                    <a:pt x="453" y="652"/>
                  </a:lnTo>
                  <a:lnTo>
                    <a:pt x="454" y="652"/>
                  </a:lnTo>
                  <a:lnTo>
                    <a:pt x="454" y="652"/>
                  </a:lnTo>
                  <a:lnTo>
                    <a:pt x="460" y="658"/>
                  </a:lnTo>
                  <a:lnTo>
                    <a:pt x="462" y="658"/>
                  </a:lnTo>
                  <a:lnTo>
                    <a:pt x="462" y="656"/>
                  </a:lnTo>
                  <a:lnTo>
                    <a:pt x="462" y="656"/>
                  </a:lnTo>
                  <a:lnTo>
                    <a:pt x="465" y="652"/>
                  </a:lnTo>
                  <a:lnTo>
                    <a:pt x="466" y="650"/>
                  </a:lnTo>
                  <a:lnTo>
                    <a:pt x="469" y="652"/>
                  </a:lnTo>
                  <a:lnTo>
                    <a:pt x="469" y="652"/>
                  </a:lnTo>
                  <a:lnTo>
                    <a:pt x="472" y="652"/>
                  </a:lnTo>
                  <a:lnTo>
                    <a:pt x="473" y="652"/>
                  </a:lnTo>
                  <a:lnTo>
                    <a:pt x="479" y="652"/>
                  </a:lnTo>
                  <a:lnTo>
                    <a:pt x="479" y="652"/>
                  </a:lnTo>
                  <a:lnTo>
                    <a:pt x="482" y="653"/>
                  </a:lnTo>
                  <a:lnTo>
                    <a:pt x="485" y="655"/>
                  </a:lnTo>
                  <a:lnTo>
                    <a:pt x="488" y="656"/>
                  </a:lnTo>
                  <a:lnTo>
                    <a:pt x="492" y="655"/>
                  </a:lnTo>
                  <a:lnTo>
                    <a:pt x="492" y="655"/>
                  </a:lnTo>
                  <a:lnTo>
                    <a:pt x="494" y="655"/>
                  </a:lnTo>
                  <a:lnTo>
                    <a:pt x="495" y="652"/>
                  </a:lnTo>
                  <a:lnTo>
                    <a:pt x="498" y="648"/>
                  </a:lnTo>
                  <a:lnTo>
                    <a:pt x="498" y="643"/>
                  </a:lnTo>
                  <a:lnTo>
                    <a:pt x="499" y="642"/>
                  </a:lnTo>
                  <a:lnTo>
                    <a:pt x="501" y="642"/>
                  </a:lnTo>
                  <a:lnTo>
                    <a:pt x="501" y="642"/>
                  </a:lnTo>
                  <a:lnTo>
                    <a:pt x="507" y="642"/>
                  </a:lnTo>
                  <a:lnTo>
                    <a:pt x="515" y="645"/>
                  </a:lnTo>
                  <a:lnTo>
                    <a:pt x="523" y="649"/>
                  </a:lnTo>
                  <a:lnTo>
                    <a:pt x="525" y="650"/>
                  </a:lnTo>
                  <a:lnTo>
                    <a:pt x="525" y="652"/>
                  </a:lnTo>
                  <a:lnTo>
                    <a:pt x="525" y="652"/>
                  </a:lnTo>
                  <a:lnTo>
                    <a:pt x="527" y="658"/>
                  </a:lnTo>
                  <a:lnTo>
                    <a:pt x="528" y="661"/>
                  </a:lnTo>
                  <a:lnTo>
                    <a:pt x="531" y="664"/>
                  </a:lnTo>
                  <a:lnTo>
                    <a:pt x="531" y="664"/>
                  </a:lnTo>
                  <a:lnTo>
                    <a:pt x="543" y="668"/>
                  </a:lnTo>
                  <a:lnTo>
                    <a:pt x="549" y="671"/>
                  </a:lnTo>
                  <a:lnTo>
                    <a:pt x="554" y="674"/>
                  </a:lnTo>
                  <a:lnTo>
                    <a:pt x="554" y="674"/>
                  </a:lnTo>
                  <a:lnTo>
                    <a:pt x="557" y="672"/>
                  </a:lnTo>
                  <a:lnTo>
                    <a:pt x="557" y="672"/>
                  </a:lnTo>
                  <a:lnTo>
                    <a:pt x="559" y="672"/>
                  </a:lnTo>
                  <a:lnTo>
                    <a:pt x="560" y="674"/>
                  </a:lnTo>
                  <a:lnTo>
                    <a:pt x="562" y="675"/>
                  </a:lnTo>
                  <a:lnTo>
                    <a:pt x="565" y="677"/>
                  </a:lnTo>
                  <a:lnTo>
                    <a:pt x="565" y="677"/>
                  </a:lnTo>
                  <a:lnTo>
                    <a:pt x="567" y="677"/>
                  </a:lnTo>
                  <a:lnTo>
                    <a:pt x="570" y="675"/>
                  </a:lnTo>
                  <a:lnTo>
                    <a:pt x="573" y="674"/>
                  </a:lnTo>
                  <a:lnTo>
                    <a:pt x="576" y="672"/>
                  </a:lnTo>
                  <a:lnTo>
                    <a:pt x="576" y="672"/>
                  </a:lnTo>
                  <a:lnTo>
                    <a:pt x="578" y="672"/>
                  </a:lnTo>
                  <a:lnTo>
                    <a:pt x="579" y="674"/>
                  </a:lnTo>
                  <a:lnTo>
                    <a:pt x="579" y="682"/>
                  </a:lnTo>
                  <a:lnTo>
                    <a:pt x="579" y="682"/>
                  </a:lnTo>
                  <a:lnTo>
                    <a:pt x="579" y="684"/>
                  </a:lnTo>
                  <a:lnTo>
                    <a:pt x="580" y="685"/>
                  </a:lnTo>
                  <a:lnTo>
                    <a:pt x="585" y="688"/>
                  </a:lnTo>
                  <a:lnTo>
                    <a:pt x="588" y="687"/>
                  </a:lnTo>
                  <a:lnTo>
                    <a:pt x="589" y="687"/>
                  </a:lnTo>
                  <a:lnTo>
                    <a:pt x="589" y="685"/>
                  </a:lnTo>
                  <a:lnTo>
                    <a:pt x="589" y="685"/>
                  </a:lnTo>
                  <a:lnTo>
                    <a:pt x="589" y="682"/>
                  </a:lnTo>
                  <a:lnTo>
                    <a:pt x="591" y="681"/>
                  </a:lnTo>
                  <a:lnTo>
                    <a:pt x="594" y="677"/>
                  </a:lnTo>
                  <a:lnTo>
                    <a:pt x="594" y="677"/>
                  </a:lnTo>
                  <a:lnTo>
                    <a:pt x="598" y="674"/>
                  </a:lnTo>
                  <a:lnTo>
                    <a:pt x="604" y="672"/>
                  </a:lnTo>
                  <a:lnTo>
                    <a:pt x="614" y="672"/>
                  </a:lnTo>
                  <a:lnTo>
                    <a:pt x="614" y="672"/>
                  </a:lnTo>
                  <a:lnTo>
                    <a:pt x="620" y="671"/>
                  </a:lnTo>
                  <a:lnTo>
                    <a:pt x="627" y="669"/>
                  </a:lnTo>
                  <a:lnTo>
                    <a:pt x="638" y="665"/>
                  </a:lnTo>
                  <a:lnTo>
                    <a:pt x="638" y="665"/>
                  </a:lnTo>
                  <a:lnTo>
                    <a:pt x="640" y="664"/>
                  </a:lnTo>
                  <a:lnTo>
                    <a:pt x="641" y="661"/>
                  </a:lnTo>
                  <a:lnTo>
                    <a:pt x="641" y="655"/>
                  </a:lnTo>
                  <a:lnTo>
                    <a:pt x="641" y="655"/>
                  </a:lnTo>
                  <a:lnTo>
                    <a:pt x="643" y="653"/>
                  </a:lnTo>
                  <a:lnTo>
                    <a:pt x="644" y="655"/>
                  </a:lnTo>
                  <a:lnTo>
                    <a:pt x="649" y="656"/>
                  </a:lnTo>
                  <a:lnTo>
                    <a:pt x="651" y="656"/>
                  </a:lnTo>
                  <a:lnTo>
                    <a:pt x="651" y="656"/>
                  </a:lnTo>
                  <a:lnTo>
                    <a:pt x="654" y="656"/>
                  </a:lnTo>
                  <a:lnTo>
                    <a:pt x="657" y="653"/>
                  </a:lnTo>
                  <a:lnTo>
                    <a:pt x="662" y="648"/>
                  </a:lnTo>
                  <a:lnTo>
                    <a:pt x="662" y="648"/>
                  </a:lnTo>
                  <a:lnTo>
                    <a:pt x="664" y="646"/>
                  </a:lnTo>
                  <a:lnTo>
                    <a:pt x="667" y="648"/>
                  </a:lnTo>
                  <a:lnTo>
                    <a:pt x="672" y="649"/>
                  </a:lnTo>
                  <a:lnTo>
                    <a:pt x="675" y="649"/>
                  </a:lnTo>
                  <a:lnTo>
                    <a:pt x="675" y="649"/>
                  </a:lnTo>
                  <a:lnTo>
                    <a:pt x="679" y="649"/>
                  </a:lnTo>
                  <a:lnTo>
                    <a:pt x="682" y="648"/>
                  </a:lnTo>
                  <a:lnTo>
                    <a:pt x="686" y="643"/>
                  </a:lnTo>
                  <a:lnTo>
                    <a:pt x="686" y="643"/>
                  </a:lnTo>
                  <a:lnTo>
                    <a:pt x="691" y="640"/>
                  </a:lnTo>
                  <a:lnTo>
                    <a:pt x="695" y="639"/>
                  </a:lnTo>
                  <a:lnTo>
                    <a:pt x="695" y="639"/>
                  </a:lnTo>
                  <a:lnTo>
                    <a:pt x="699" y="637"/>
                  </a:lnTo>
                  <a:lnTo>
                    <a:pt x="704" y="635"/>
                  </a:lnTo>
                  <a:lnTo>
                    <a:pt x="711" y="626"/>
                  </a:lnTo>
                  <a:lnTo>
                    <a:pt x="711" y="626"/>
                  </a:lnTo>
                  <a:lnTo>
                    <a:pt x="715" y="620"/>
                  </a:lnTo>
                  <a:lnTo>
                    <a:pt x="717" y="617"/>
                  </a:lnTo>
                  <a:lnTo>
                    <a:pt x="720" y="616"/>
                  </a:lnTo>
                  <a:lnTo>
                    <a:pt x="720" y="616"/>
                  </a:lnTo>
                  <a:lnTo>
                    <a:pt x="722" y="614"/>
                  </a:lnTo>
                  <a:lnTo>
                    <a:pt x="724" y="611"/>
                  </a:lnTo>
                  <a:lnTo>
                    <a:pt x="724" y="607"/>
                  </a:lnTo>
                  <a:lnTo>
                    <a:pt x="724" y="607"/>
                  </a:lnTo>
                  <a:lnTo>
                    <a:pt x="725" y="606"/>
                  </a:lnTo>
                  <a:lnTo>
                    <a:pt x="730" y="604"/>
                  </a:lnTo>
                  <a:lnTo>
                    <a:pt x="734" y="601"/>
                  </a:lnTo>
                  <a:lnTo>
                    <a:pt x="737" y="598"/>
                  </a:lnTo>
                  <a:lnTo>
                    <a:pt x="737" y="598"/>
                  </a:lnTo>
                  <a:lnTo>
                    <a:pt x="740" y="595"/>
                  </a:lnTo>
                  <a:lnTo>
                    <a:pt x="740" y="593"/>
                  </a:lnTo>
                  <a:lnTo>
                    <a:pt x="738" y="591"/>
                  </a:lnTo>
                  <a:lnTo>
                    <a:pt x="740" y="588"/>
                  </a:lnTo>
                  <a:lnTo>
                    <a:pt x="740" y="588"/>
                  </a:lnTo>
                  <a:lnTo>
                    <a:pt x="744" y="578"/>
                  </a:lnTo>
                  <a:lnTo>
                    <a:pt x="747" y="566"/>
                  </a:lnTo>
                  <a:lnTo>
                    <a:pt x="747" y="566"/>
                  </a:lnTo>
                  <a:lnTo>
                    <a:pt x="750" y="564"/>
                  </a:lnTo>
                  <a:lnTo>
                    <a:pt x="753" y="559"/>
                  </a:lnTo>
                  <a:lnTo>
                    <a:pt x="757" y="558"/>
                  </a:lnTo>
                  <a:lnTo>
                    <a:pt x="763" y="556"/>
                  </a:lnTo>
                  <a:lnTo>
                    <a:pt x="763" y="556"/>
                  </a:lnTo>
                  <a:lnTo>
                    <a:pt x="766" y="555"/>
                  </a:lnTo>
                  <a:lnTo>
                    <a:pt x="769" y="553"/>
                  </a:lnTo>
                  <a:lnTo>
                    <a:pt x="770" y="552"/>
                  </a:lnTo>
                  <a:lnTo>
                    <a:pt x="770" y="548"/>
                  </a:lnTo>
                  <a:lnTo>
                    <a:pt x="770" y="548"/>
                  </a:lnTo>
                  <a:lnTo>
                    <a:pt x="772" y="543"/>
                  </a:lnTo>
                  <a:lnTo>
                    <a:pt x="773" y="539"/>
                  </a:lnTo>
                  <a:lnTo>
                    <a:pt x="776" y="536"/>
                  </a:lnTo>
                  <a:lnTo>
                    <a:pt x="776" y="536"/>
                  </a:lnTo>
                  <a:lnTo>
                    <a:pt x="776" y="533"/>
                  </a:lnTo>
                  <a:lnTo>
                    <a:pt x="776" y="530"/>
                  </a:lnTo>
                  <a:lnTo>
                    <a:pt x="776" y="524"/>
                  </a:lnTo>
                  <a:lnTo>
                    <a:pt x="776" y="524"/>
                  </a:lnTo>
                  <a:lnTo>
                    <a:pt x="773" y="522"/>
                  </a:lnTo>
                  <a:lnTo>
                    <a:pt x="769" y="520"/>
                  </a:lnTo>
                  <a:lnTo>
                    <a:pt x="764" y="519"/>
                  </a:lnTo>
                  <a:lnTo>
                    <a:pt x="760" y="517"/>
                  </a:lnTo>
                  <a:lnTo>
                    <a:pt x="760" y="517"/>
                  </a:lnTo>
                  <a:lnTo>
                    <a:pt x="760" y="516"/>
                  </a:lnTo>
                  <a:lnTo>
                    <a:pt x="760" y="514"/>
                  </a:lnTo>
                  <a:lnTo>
                    <a:pt x="764" y="509"/>
                  </a:lnTo>
                  <a:lnTo>
                    <a:pt x="773" y="500"/>
                  </a:lnTo>
                  <a:lnTo>
                    <a:pt x="773" y="500"/>
                  </a:lnTo>
                  <a:lnTo>
                    <a:pt x="773" y="498"/>
                  </a:lnTo>
                  <a:lnTo>
                    <a:pt x="772" y="495"/>
                  </a:lnTo>
                  <a:lnTo>
                    <a:pt x="767" y="491"/>
                  </a:lnTo>
                  <a:lnTo>
                    <a:pt x="767" y="491"/>
                  </a:lnTo>
                  <a:lnTo>
                    <a:pt x="767" y="490"/>
                  </a:lnTo>
                  <a:lnTo>
                    <a:pt x="767" y="490"/>
                  </a:lnTo>
                  <a:lnTo>
                    <a:pt x="770" y="487"/>
                  </a:lnTo>
                  <a:lnTo>
                    <a:pt x="770" y="487"/>
                  </a:lnTo>
                  <a:lnTo>
                    <a:pt x="770" y="484"/>
                  </a:lnTo>
                  <a:lnTo>
                    <a:pt x="769" y="480"/>
                  </a:lnTo>
                  <a:lnTo>
                    <a:pt x="766" y="475"/>
                  </a:lnTo>
                  <a:lnTo>
                    <a:pt x="763" y="472"/>
                  </a:lnTo>
                  <a:lnTo>
                    <a:pt x="763" y="472"/>
                  </a:lnTo>
                  <a:lnTo>
                    <a:pt x="759" y="469"/>
                  </a:lnTo>
                  <a:lnTo>
                    <a:pt x="754" y="465"/>
                  </a:lnTo>
                  <a:lnTo>
                    <a:pt x="751" y="461"/>
                  </a:lnTo>
                  <a:lnTo>
                    <a:pt x="748" y="455"/>
                  </a:lnTo>
                  <a:lnTo>
                    <a:pt x="748" y="455"/>
                  </a:lnTo>
                  <a:lnTo>
                    <a:pt x="743" y="442"/>
                  </a:lnTo>
                  <a:lnTo>
                    <a:pt x="740" y="435"/>
                  </a:lnTo>
                  <a:lnTo>
                    <a:pt x="735" y="430"/>
                  </a:lnTo>
                  <a:lnTo>
                    <a:pt x="735" y="430"/>
                  </a:lnTo>
                  <a:lnTo>
                    <a:pt x="733" y="429"/>
                  </a:lnTo>
                  <a:lnTo>
                    <a:pt x="733" y="426"/>
                  </a:lnTo>
                  <a:lnTo>
                    <a:pt x="733" y="423"/>
                  </a:lnTo>
                  <a:lnTo>
                    <a:pt x="735" y="420"/>
                  </a:lnTo>
                  <a:lnTo>
                    <a:pt x="735" y="420"/>
                  </a:lnTo>
                  <a:lnTo>
                    <a:pt x="743" y="413"/>
                  </a:lnTo>
                  <a:lnTo>
                    <a:pt x="747" y="404"/>
                  </a:lnTo>
                  <a:lnTo>
                    <a:pt x="747" y="404"/>
                  </a:lnTo>
                  <a:lnTo>
                    <a:pt x="750" y="401"/>
                  </a:lnTo>
                  <a:lnTo>
                    <a:pt x="753" y="397"/>
                  </a:lnTo>
                  <a:lnTo>
                    <a:pt x="756" y="396"/>
                  </a:lnTo>
                  <a:lnTo>
                    <a:pt x="760" y="394"/>
                  </a:lnTo>
                  <a:lnTo>
                    <a:pt x="760" y="394"/>
                  </a:lnTo>
                  <a:lnTo>
                    <a:pt x="772" y="391"/>
                  </a:lnTo>
                  <a:lnTo>
                    <a:pt x="785" y="388"/>
                  </a:lnTo>
                  <a:lnTo>
                    <a:pt x="785" y="388"/>
                  </a:lnTo>
                  <a:lnTo>
                    <a:pt x="789" y="387"/>
                  </a:lnTo>
                  <a:lnTo>
                    <a:pt x="790" y="384"/>
                  </a:lnTo>
                  <a:lnTo>
                    <a:pt x="788" y="383"/>
                  </a:lnTo>
                  <a:lnTo>
                    <a:pt x="782" y="381"/>
                  </a:lnTo>
                  <a:lnTo>
                    <a:pt x="782" y="381"/>
                  </a:lnTo>
                  <a:lnTo>
                    <a:pt x="776" y="381"/>
                  </a:lnTo>
                  <a:lnTo>
                    <a:pt x="769" y="378"/>
                  </a:lnTo>
                  <a:lnTo>
                    <a:pt x="759" y="375"/>
                  </a:lnTo>
                  <a:lnTo>
                    <a:pt x="759" y="375"/>
                  </a:lnTo>
                  <a:lnTo>
                    <a:pt x="757" y="374"/>
                  </a:lnTo>
                  <a:lnTo>
                    <a:pt x="753" y="375"/>
                  </a:lnTo>
                  <a:lnTo>
                    <a:pt x="746" y="378"/>
                  </a:lnTo>
                  <a:lnTo>
                    <a:pt x="734" y="384"/>
                  </a:lnTo>
                  <a:lnTo>
                    <a:pt x="734" y="384"/>
                  </a:lnTo>
                  <a:lnTo>
                    <a:pt x="731" y="384"/>
                  </a:lnTo>
                  <a:lnTo>
                    <a:pt x="728" y="383"/>
                  </a:lnTo>
                  <a:lnTo>
                    <a:pt x="722" y="374"/>
                  </a:lnTo>
                  <a:lnTo>
                    <a:pt x="722" y="374"/>
                  </a:lnTo>
                  <a:lnTo>
                    <a:pt x="718" y="368"/>
                  </a:lnTo>
                  <a:lnTo>
                    <a:pt x="714" y="364"/>
                  </a:lnTo>
                  <a:lnTo>
                    <a:pt x="705" y="354"/>
                  </a:lnTo>
                  <a:lnTo>
                    <a:pt x="705" y="354"/>
                  </a:lnTo>
                  <a:lnTo>
                    <a:pt x="704" y="351"/>
                  </a:lnTo>
                  <a:lnTo>
                    <a:pt x="704" y="348"/>
                  </a:lnTo>
                  <a:lnTo>
                    <a:pt x="705" y="346"/>
                  </a:lnTo>
                  <a:lnTo>
                    <a:pt x="708" y="343"/>
                  </a:lnTo>
                  <a:lnTo>
                    <a:pt x="708" y="343"/>
                  </a:lnTo>
                  <a:lnTo>
                    <a:pt x="718" y="342"/>
                  </a:lnTo>
                  <a:lnTo>
                    <a:pt x="730" y="342"/>
                  </a:lnTo>
                  <a:lnTo>
                    <a:pt x="730" y="342"/>
                  </a:lnTo>
                  <a:lnTo>
                    <a:pt x="733" y="341"/>
                  </a:lnTo>
                  <a:lnTo>
                    <a:pt x="733" y="336"/>
                  </a:lnTo>
                  <a:lnTo>
                    <a:pt x="734" y="333"/>
                  </a:lnTo>
                  <a:lnTo>
                    <a:pt x="735" y="329"/>
                  </a:lnTo>
                  <a:lnTo>
                    <a:pt x="735" y="329"/>
                  </a:lnTo>
                  <a:lnTo>
                    <a:pt x="741" y="323"/>
                  </a:lnTo>
                  <a:lnTo>
                    <a:pt x="750" y="317"/>
                  </a:lnTo>
                  <a:lnTo>
                    <a:pt x="763" y="309"/>
                  </a:lnTo>
                  <a:lnTo>
                    <a:pt x="763" y="309"/>
                  </a:lnTo>
                  <a:lnTo>
                    <a:pt x="767" y="307"/>
                  </a:lnTo>
                  <a:lnTo>
                    <a:pt x="770" y="307"/>
                  </a:lnTo>
                  <a:lnTo>
                    <a:pt x="770" y="307"/>
                  </a:lnTo>
                  <a:lnTo>
                    <a:pt x="772" y="307"/>
                  </a:lnTo>
                  <a:lnTo>
                    <a:pt x="775" y="309"/>
                  </a:lnTo>
                  <a:lnTo>
                    <a:pt x="776" y="310"/>
                  </a:lnTo>
                  <a:lnTo>
                    <a:pt x="777" y="314"/>
                  </a:lnTo>
                  <a:lnTo>
                    <a:pt x="777" y="314"/>
                  </a:lnTo>
                  <a:lnTo>
                    <a:pt x="776" y="319"/>
                  </a:lnTo>
                  <a:lnTo>
                    <a:pt x="775" y="322"/>
                  </a:lnTo>
                  <a:lnTo>
                    <a:pt x="769" y="327"/>
                  </a:lnTo>
                  <a:lnTo>
                    <a:pt x="769" y="327"/>
                  </a:lnTo>
                  <a:lnTo>
                    <a:pt x="767" y="330"/>
                  </a:lnTo>
                  <a:lnTo>
                    <a:pt x="766" y="332"/>
                  </a:lnTo>
                  <a:lnTo>
                    <a:pt x="769" y="338"/>
                  </a:lnTo>
                  <a:lnTo>
                    <a:pt x="769" y="338"/>
                  </a:lnTo>
                  <a:lnTo>
                    <a:pt x="769" y="341"/>
                  </a:lnTo>
                  <a:lnTo>
                    <a:pt x="769" y="343"/>
                  </a:lnTo>
                  <a:lnTo>
                    <a:pt x="769" y="346"/>
                  </a:lnTo>
                  <a:lnTo>
                    <a:pt x="769" y="348"/>
                  </a:lnTo>
                  <a:lnTo>
                    <a:pt x="769" y="348"/>
                  </a:lnTo>
                  <a:lnTo>
                    <a:pt x="770" y="348"/>
                  </a:lnTo>
                  <a:lnTo>
                    <a:pt x="773" y="346"/>
                  </a:lnTo>
                  <a:lnTo>
                    <a:pt x="782" y="342"/>
                  </a:lnTo>
                  <a:lnTo>
                    <a:pt x="792" y="336"/>
                  </a:lnTo>
                  <a:lnTo>
                    <a:pt x="795" y="333"/>
                  </a:lnTo>
                  <a:lnTo>
                    <a:pt x="799" y="333"/>
                  </a:lnTo>
                  <a:lnTo>
                    <a:pt x="799" y="333"/>
                  </a:lnTo>
                  <a:lnTo>
                    <a:pt x="808" y="332"/>
                  </a:lnTo>
                  <a:lnTo>
                    <a:pt x="808" y="332"/>
                  </a:lnTo>
                  <a:lnTo>
                    <a:pt x="812" y="323"/>
                  </a:lnTo>
                  <a:lnTo>
                    <a:pt x="817" y="317"/>
                  </a:lnTo>
                  <a:lnTo>
                    <a:pt x="817" y="317"/>
                  </a:lnTo>
                  <a:lnTo>
                    <a:pt x="822" y="313"/>
                  </a:lnTo>
                  <a:lnTo>
                    <a:pt x="830" y="310"/>
                  </a:lnTo>
                  <a:lnTo>
                    <a:pt x="830" y="310"/>
                  </a:lnTo>
                  <a:lnTo>
                    <a:pt x="841" y="304"/>
                  </a:lnTo>
                  <a:lnTo>
                    <a:pt x="847" y="300"/>
                  </a:lnTo>
                  <a:lnTo>
                    <a:pt x="850" y="296"/>
                  </a:lnTo>
                  <a:lnTo>
                    <a:pt x="850" y="296"/>
                  </a:lnTo>
                  <a:lnTo>
                    <a:pt x="853" y="291"/>
                  </a:lnTo>
                  <a:lnTo>
                    <a:pt x="854" y="290"/>
                  </a:lnTo>
                  <a:lnTo>
                    <a:pt x="857" y="290"/>
                  </a:lnTo>
                  <a:lnTo>
                    <a:pt x="857" y="290"/>
                  </a:lnTo>
                  <a:lnTo>
                    <a:pt x="860" y="291"/>
                  </a:lnTo>
                  <a:lnTo>
                    <a:pt x="863" y="293"/>
                  </a:lnTo>
                  <a:lnTo>
                    <a:pt x="867" y="293"/>
                  </a:lnTo>
                  <a:lnTo>
                    <a:pt x="872" y="291"/>
                  </a:lnTo>
                  <a:lnTo>
                    <a:pt x="872" y="291"/>
                  </a:lnTo>
                  <a:lnTo>
                    <a:pt x="873" y="290"/>
                  </a:lnTo>
                  <a:lnTo>
                    <a:pt x="874" y="287"/>
                  </a:lnTo>
                  <a:lnTo>
                    <a:pt x="874" y="283"/>
                  </a:lnTo>
                  <a:lnTo>
                    <a:pt x="874" y="280"/>
                  </a:lnTo>
                  <a:lnTo>
                    <a:pt x="874" y="278"/>
                  </a:lnTo>
                  <a:lnTo>
                    <a:pt x="876" y="278"/>
                  </a:lnTo>
                  <a:lnTo>
                    <a:pt x="876" y="278"/>
                  </a:lnTo>
                  <a:lnTo>
                    <a:pt x="882" y="280"/>
                  </a:lnTo>
                  <a:lnTo>
                    <a:pt x="885" y="278"/>
                  </a:lnTo>
                  <a:lnTo>
                    <a:pt x="886" y="277"/>
                  </a:lnTo>
                  <a:lnTo>
                    <a:pt x="886" y="277"/>
                  </a:lnTo>
                  <a:lnTo>
                    <a:pt x="893" y="270"/>
                  </a:lnTo>
                  <a:lnTo>
                    <a:pt x="898" y="265"/>
                  </a:lnTo>
                  <a:lnTo>
                    <a:pt x="902" y="262"/>
                  </a:lnTo>
                  <a:lnTo>
                    <a:pt x="902" y="262"/>
                  </a:lnTo>
                  <a:lnTo>
                    <a:pt x="912" y="262"/>
                  </a:lnTo>
                  <a:lnTo>
                    <a:pt x="916" y="261"/>
                  </a:lnTo>
                  <a:lnTo>
                    <a:pt x="919" y="258"/>
                  </a:lnTo>
                  <a:lnTo>
                    <a:pt x="919" y="258"/>
                  </a:lnTo>
                  <a:lnTo>
                    <a:pt x="924" y="246"/>
                  </a:lnTo>
                  <a:lnTo>
                    <a:pt x="927" y="239"/>
                  </a:lnTo>
                  <a:lnTo>
                    <a:pt x="925" y="235"/>
                  </a:lnTo>
                  <a:lnTo>
                    <a:pt x="925" y="235"/>
                  </a:lnTo>
                  <a:lnTo>
                    <a:pt x="922" y="226"/>
                  </a:lnTo>
                  <a:lnTo>
                    <a:pt x="922" y="223"/>
                  </a:lnTo>
                  <a:lnTo>
                    <a:pt x="922" y="220"/>
                  </a:lnTo>
                  <a:lnTo>
                    <a:pt x="922" y="220"/>
                  </a:lnTo>
                  <a:lnTo>
                    <a:pt x="924" y="219"/>
                  </a:lnTo>
                  <a:lnTo>
                    <a:pt x="927" y="217"/>
                  </a:lnTo>
                  <a:lnTo>
                    <a:pt x="934" y="213"/>
                  </a:lnTo>
                  <a:lnTo>
                    <a:pt x="934" y="213"/>
                  </a:lnTo>
                  <a:lnTo>
                    <a:pt x="937" y="213"/>
                  </a:lnTo>
                  <a:lnTo>
                    <a:pt x="941" y="214"/>
                  </a:lnTo>
                  <a:lnTo>
                    <a:pt x="945" y="216"/>
                  </a:lnTo>
                  <a:lnTo>
                    <a:pt x="948" y="214"/>
                  </a:lnTo>
                  <a:lnTo>
                    <a:pt x="948" y="214"/>
                  </a:lnTo>
                  <a:lnTo>
                    <a:pt x="953" y="210"/>
                  </a:lnTo>
                  <a:lnTo>
                    <a:pt x="958" y="204"/>
                  </a:lnTo>
                  <a:lnTo>
                    <a:pt x="963" y="196"/>
                  </a:lnTo>
                  <a:lnTo>
                    <a:pt x="967" y="188"/>
                  </a:lnTo>
                  <a:lnTo>
                    <a:pt x="967" y="188"/>
                  </a:lnTo>
                  <a:lnTo>
                    <a:pt x="970" y="180"/>
                  </a:lnTo>
                  <a:lnTo>
                    <a:pt x="972" y="171"/>
                  </a:lnTo>
                  <a:lnTo>
                    <a:pt x="973" y="158"/>
                  </a:lnTo>
                  <a:lnTo>
                    <a:pt x="973" y="158"/>
                  </a:lnTo>
                  <a:lnTo>
                    <a:pt x="977" y="144"/>
                  </a:lnTo>
                  <a:lnTo>
                    <a:pt x="979" y="138"/>
                  </a:lnTo>
                  <a:lnTo>
                    <a:pt x="979" y="136"/>
                  </a:lnTo>
                  <a:lnTo>
                    <a:pt x="97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86" name="Freeform 1580"/>
            <p:cNvSpPr>
              <a:spLocks/>
            </p:cNvSpPr>
            <p:nvPr/>
          </p:nvSpPr>
          <p:spPr bwMode="auto">
            <a:xfrm>
              <a:off x="6853238" y="3695701"/>
              <a:ext cx="33338" cy="22225"/>
            </a:xfrm>
            <a:custGeom>
              <a:avLst/>
              <a:gdLst>
                <a:gd name="T0" fmla="*/ 21 w 21"/>
                <a:gd name="T1" fmla="*/ 10 h 14"/>
                <a:gd name="T2" fmla="*/ 21 w 21"/>
                <a:gd name="T3" fmla="*/ 10 h 14"/>
                <a:gd name="T4" fmla="*/ 18 w 21"/>
                <a:gd name="T5" fmla="*/ 13 h 14"/>
                <a:gd name="T6" fmla="*/ 12 w 21"/>
                <a:gd name="T7" fmla="*/ 14 h 14"/>
                <a:gd name="T8" fmla="*/ 8 w 21"/>
                <a:gd name="T9" fmla="*/ 14 h 14"/>
                <a:gd name="T10" fmla="*/ 3 w 21"/>
                <a:gd name="T11" fmla="*/ 13 h 14"/>
                <a:gd name="T12" fmla="*/ 3 w 21"/>
                <a:gd name="T13" fmla="*/ 13 h 14"/>
                <a:gd name="T14" fmla="*/ 2 w 21"/>
                <a:gd name="T15" fmla="*/ 10 h 14"/>
                <a:gd name="T16" fmla="*/ 0 w 21"/>
                <a:gd name="T17" fmla="*/ 8 h 14"/>
                <a:gd name="T18" fmla="*/ 2 w 21"/>
                <a:gd name="T19" fmla="*/ 4 h 14"/>
                <a:gd name="T20" fmla="*/ 6 w 21"/>
                <a:gd name="T21" fmla="*/ 0 h 14"/>
                <a:gd name="T22" fmla="*/ 9 w 21"/>
                <a:gd name="T23" fmla="*/ 0 h 14"/>
                <a:gd name="T24" fmla="*/ 9 w 21"/>
                <a:gd name="T25" fmla="*/ 0 h 14"/>
                <a:gd name="T26" fmla="*/ 14 w 21"/>
                <a:gd name="T27" fmla="*/ 1 h 14"/>
                <a:gd name="T28" fmla="*/ 18 w 21"/>
                <a:gd name="T29" fmla="*/ 4 h 14"/>
                <a:gd name="T30" fmla="*/ 21 w 21"/>
                <a:gd name="T31" fmla="*/ 8 h 14"/>
                <a:gd name="T32" fmla="*/ 21 w 21"/>
                <a:gd name="T33" fmla="*/ 10 h 14"/>
                <a:gd name="T34" fmla="*/ 21 w 21"/>
                <a:gd name="T35"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 h="14">
                  <a:moveTo>
                    <a:pt x="21" y="10"/>
                  </a:moveTo>
                  <a:lnTo>
                    <a:pt x="21" y="10"/>
                  </a:lnTo>
                  <a:lnTo>
                    <a:pt x="18" y="13"/>
                  </a:lnTo>
                  <a:lnTo>
                    <a:pt x="12" y="14"/>
                  </a:lnTo>
                  <a:lnTo>
                    <a:pt x="8" y="14"/>
                  </a:lnTo>
                  <a:lnTo>
                    <a:pt x="3" y="13"/>
                  </a:lnTo>
                  <a:lnTo>
                    <a:pt x="3" y="13"/>
                  </a:lnTo>
                  <a:lnTo>
                    <a:pt x="2" y="10"/>
                  </a:lnTo>
                  <a:lnTo>
                    <a:pt x="0" y="8"/>
                  </a:lnTo>
                  <a:lnTo>
                    <a:pt x="2" y="4"/>
                  </a:lnTo>
                  <a:lnTo>
                    <a:pt x="6" y="0"/>
                  </a:lnTo>
                  <a:lnTo>
                    <a:pt x="9" y="0"/>
                  </a:lnTo>
                  <a:lnTo>
                    <a:pt x="9" y="0"/>
                  </a:lnTo>
                  <a:lnTo>
                    <a:pt x="14" y="1"/>
                  </a:lnTo>
                  <a:lnTo>
                    <a:pt x="18" y="4"/>
                  </a:lnTo>
                  <a:lnTo>
                    <a:pt x="21" y="8"/>
                  </a:lnTo>
                  <a:lnTo>
                    <a:pt x="21" y="10"/>
                  </a:lnTo>
                  <a:lnTo>
                    <a:pt x="21"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87" name="Freeform 1581"/>
            <p:cNvSpPr>
              <a:spLocks/>
            </p:cNvSpPr>
            <p:nvPr/>
          </p:nvSpPr>
          <p:spPr bwMode="auto">
            <a:xfrm>
              <a:off x="6302375" y="4062414"/>
              <a:ext cx="168275" cy="163513"/>
            </a:xfrm>
            <a:custGeom>
              <a:avLst/>
              <a:gdLst>
                <a:gd name="T0" fmla="*/ 16 w 106"/>
                <a:gd name="T1" fmla="*/ 86 h 103"/>
                <a:gd name="T2" fmla="*/ 11 w 106"/>
                <a:gd name="T3" fmla="*/ 83 h 103"/>
                <a:gd name="T4" fmla="*/ 14 w 106"/>
                <a:gd name="T5" fmla="*/ 79 h 103"/>
                <a:gd name="T6" fmla="*/ 11 w 106"/>
                <a:gd name="T7" fmla="*/ 74 h 103"/>
                <a:gd name="T8" fmla="*/ 23 w 106"/>
                <a:gd name="T9" fmla="*/ 66 h 103"/>
                <a:gd name="T10" fmla="*/ 14 w 106"/>
                <a:gd name="T11" fmla="*/ 61 h 103"/>
                <a:gd name="T12" fmla="*/ 13 w 106"/>
                <a:gd name="T13" fmla="*/ 57 h 103"/>
                <a:gd name="T14" fmla="*/ 3 w 106"/>
                <a:gd name="T15" fmla="*/ 50 h 103"/>
                <a:gd name="T16" fmla="*/ 7 w 106"/>
                <a:gd name="T17" fmla="*/ 44 h 103"/>
                <a:gd name="T18" fmla="*/ 4 w 106"/>
                <a:gd name="T19" fmla="*/ 38 h 103"/>
                <a:gd name="T20" fmla="*/ 3 w 106"/>
                <a:gd name="T21" fmla="*/ 34 h 103"/>
                <a:gd name="T22" fmla="*/ 3 w 106"/>
                <a:gd name="T23" fmla="*/ 31 h 103"/>
                <a:gd name="T24" fmla="*/ 0 w 106"/>
                <a:gd name="T25" fmla="*/ 28 h 103"/>
                <a:gd name="T26" fmla="*/ 3 w 106"/>
                <a:gd name="T27" fmla="*/ 21 h 103"/>
                <a:gd name="T28" fmla="*/ 27 w 106"/>
                <a:gd name="T29" fmla="*/ 25 h 103"/>
                <a:gd name="T30" fmla="*/ 43 w 106"/>
                <a:gd name="T31" fmla="*/ 22 h 103"/>
                <a:gd name="T32" fmla="*/ 55 w 106"/>
                <a:gd name="T33" fmla="*/ 11 h 103"/>
                <a:gd name="T34" fmla="*/ 80 w 106"/>
                <a:gd name="T35" fmla="*/ 0 h 103"/>
                <a:gd name="T36" fmla="*/ 90 w 106"/>
                <a:gd name="T37" fmla="*/ 8 h 103"/>
                <a:gd name="T38" fmla="*/ 91 w 106"/>
                <a:gd name="T39" fmla="*/ 11 h 103"/>
                <a:gd name="T40" fmla="*/ 95 w 106"/>
                <a:gd name="T41" fmla="*/ 9 h 103"/>
                <a:gd name="T42" fmla="*/ 95 w 106"/>
                <a:gd name="T43" fmla="*/ 11 h 103"/>
                <a:gd name="T44" fmla="*/ 85 w 106"/>
                <a:gd name="T45" fmla="*/ 29 h 103"/>
                <a:gd name="T46" fmla="*/ 84 w 106"/>
                <a:gd name="T47" fmla="*/ 35 h 103"/>
                <a:gd name="T48" fmla="*/ 77 w 106"/>
                <a:gd name="T49" fmla="*/ 45 h 103"/>
                <a:gd name="T50" fmla="*/ 82 w 106"/>
                <a:gd name="T51" fmla="*/ 50 h 103"/>
                <a:gd name="T52" fmla="*/ 84 w 106"/>
                <a:gd name="T53" fmla="*/ 58 h 103"/>
                <a:gd name="T54" fmla="*/ 75 w 106"/>
                <a:gd name="T55" fmla="*/ 64 h 103"/>
                <a:gd name="T56" fmla="*/ 75 w 106"/>
                <a:gd name="T57" fmla="*/ 64 h 103"/>
                <a:gd name="T58" fmla="*/ 69 w 106"/>
                <a:gd name="T59" fmla="*/ 61 h 103"/>
                <a:gd name="T60" fmla="*/ 72 w 106"/>
                <a:gd name="T61" fmla="*/ 79 h 103"/>
                <a:gd name="T62" fmla="*/ 82 w 106"/>
                <a:gd name="T63" fmla="*/ 84 h 103"/>
                <a:gd name="T64" fmla="*/ 106 w 106"/>
                <a:gd name="T65" fmla="*/ 99 h 103"/>
                <a:gd name="T66" fmla="*/ 72 w 106"/>
                <a:gd name="T67"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103">
                  <a:moveTo>
                    <a:pt x="51" y="84"/>
                  </a:moveTo>
                  <a:lnTo>
                    <a:pt x="16" y="86"/>
                  </a:lnTo>
                  <a:lnTo>
                    <a:pt x="11" y="83"/>
                  </a:lnTo>
                  <a:lnTo>
                    <a:pt x="11" y="83"/>
                  </a:lnTo>
                  <a:lnTo>
                    <a:pt x="11" y="81"/>
                  </a:lnTo>
                  <a:lnTo>
                    <a:pt x="14" y="79"/>
                  </a:lnTo>
                  <a:lnTo>
                    <a:pt x="11" y="76"/>
                  </a:lnTo>
                  <a:lnTo>
                    <a:pt x="11" y="74"/>
                  </a:lnTo>
                  <a:lnTo>
                    <a:pt x="13" y="70"/>
                  </a:lnTo>
                  <a:lnTo>
                    <a:pt x="23" y="66"/>
                  </a:lnTo>
                  <a:lnTo>
                    <a:pt x="22" y="63"/>
                  </a:lnTo>
                  <a:lnTo>
                    <a:pt x="14" y="61"/>
                  </a:lnTo>
                  <a:lnTo>
                    <a:pt x="14" y="61"/>
                  </a:lnTo>
                  <a:lnTo>
                    <a:pt x="13" y="57"/>
                  </a:lnTo>
                  <a:lnTo>
                    <a:pt x="9" y="55"/>
                  </a:lnTo>
                  <a:lnTo>
                    <a:pt x="3" y="50"/>
                  </a:lnTo>
                  <a:lnTo>
                    <a:pt x="3" y="48"/>
                  </a:lnTo>
                  <a:lnTo>
                    <a:pt x="7" y="44"/>
                  </a:lnTo>
                  <a:lnTo>
                    <a:pt x="4" y="39"/>
                  </a:lnTo>
                  <a:lnTo>
                    <a:pt x="4" y="38"/>
                  </a:lnTo>
                  <a:lnTo>
                    <a:pt x="7" y="35"/>
                  </a:lnTo>
                  <a:lnTo>
                    <a:pt x="3" y="34"/>
                  </a:lnTo>
                  <a:lnTo>
                    <a:pt x="1" y="32"/>
                  </a:lnTo>
                  <a:lnTo>
                    <a:pt x="3" y="31"/>
                  </a:lnTo>
                  <a:lnTo>
                    <a:pt x="1" y="29"/>
                  </a:lnTo>
                  <a:lnTo>
                    <a:pt x="0" y="28"/>
                  </a:lnTo>
                  <a:lnTo>
                    <a:pt x="3" y="22"/>
                  </a:lnTo>
                  <a:lnTo>
                    <a:pt x="3" y="21"/>
                  </a:lnTo>
                  <a:lnTo>
                    <a:pt x="9" y="19"/>
                  </a:lnTo>
                  <a:lnTo>
                    <a:pt x="27" y="25"/>
                  </a:lnTo>
                  <a:lnTo>
                    <a:pt x="39" y="21"/>
                  </a:lnTo>
                  <a:lnTo>
                    <a:pt x="43" y="22"/>
                  </a:lnTo>
                  <a:lnTo>
                    <a:pt x="46" y="16"/>
                  </a:lnTo>
                  <a:lnTo>
                    <a:pt x="55" y="11"/>
                  </a:lnTo>
                  <a:lnTo>
                    <a:pt x="80" y="0"/>
                  </a:lnTo>
                  <a:lnTo>
                    <a:pt x="80" y="0"/>
                  </a:lnTo>
                  <a:lnTo>
                    <a:pt x="80" y="0"/>
                  </a:lnTo>
                  <a:lnTo>
                    <a:pt x="90" y="8"/>
                  </a:lnTo>
                  <a:lnTo>
                    <a:pt x="91" y="8"/>
                  </a:lnTo>
                  <a:lnTo>
                    <a:pt x="91" y="11"/>
                  </a:lnTo>
                  <a:lnTo>
                    <a:pt x="94" y="9"/>
                  </a:lnTo>
                  <a:lnTo>
                    <a:pt x="95" y="9"/>
                  </a:lnTo>
                  <a:lnTo>
                    <a:pt x="95" y="9"/>
                  </a:lnTo>
                  <a:lnTo>
                    <a:pt x="95" y="11"/>
                  </a:lnTo>
                  <a:lnTo>
                    <a:pt x="91" y="24"/>
                  </a:lnTo>
                  <a:lnTo>
                    <a:pt x="85" y="29"/>
                  </a:lnTo>
                  <a:lnTo>
                    <a:pt x="84" y="34"/>
                  </a:lnTo>
                  <a:lnTo>
                    <a:pt x="84" y="35"/>
                  </a:lnTo>
                  <a:lnTo>
                    <a:pt x="75" y="37"/>
                  </a:lnTo>
                  <a:lnTo>
                    <a:pt x="77" y="45"/>
                  </a:lnTo>
                  <a:lnTo>
                    <a:pt x="82" y="50"/>
                  </a:lnTo>
                  <a:lnTo>
                    <a:pt x="82" y="50"/>
                  </a:lnTo>
                  <a:lnTo>
                    <a:pt x="85" y="57"/>
                  </a:lnTo>
                  <a:lnTo>
                    <a:pt x="84" y="58"/>
                  </a:lnTo>
                  <a:lnTo>
                    <a:pt x="77" y="64"/>
                  </a:lnTo>
                  <a:lnTo>
                    <a:pt x="75" y="64"/>
                  </a:lnTo>
                  <a:lnTo>
                    <a:pt x="75" y="64"/>
                  </a:lnTo>
                  <a:lnTo>
                    <a:pt x="75" y="64"/>
                  </a:lnTo>
                  <a:lnTo>
                    <a:pt x="72" y="60"/>
                  </a:lnTo>
                  <a:lnTo>
                    <a:pt x="69" y="61"/>
                  </a:lnTo>
                  <a:lnTo>
                    <a:pt x="74" y="70"/>
                  </a:lnTo>
                  <a:lnTo>
                    <a:pt x="72" y="79"/>
                  </a:lnTo>
                  <a:lnTo>
                    <a:pt x="77" y="86"/>
                  </a:lnTo>
                  <a:lnTo>
                    <a:pt x="82" y="84"/>
                  </a:lnTo>
                  <a:lnTo>
                    <a:pt x="106" y="99"/>
                  </a:lnTo>
                  <a:lnTo>
                    <a:pt x="106" y="99"/>
                  </a:lnTo>
                  <a:lnTo>
                    <a:pt x="106" y="100"/>
                  </a:lnTo>
                  <a:lnTo>
                    <a:pt x="72" y="103"/>
                  </a:lnTo>
                  <a:lnTo>
                    <a:pt x="51" y="84"/>
                  </a:lnTo>
                  <a:close/>
                </a:path>
              </a:pathLst>
            </a:custGeom>
            <a:solidFill>
              <a:srgbClr val="17A2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88" name="Freeform 1582"/>
            <p:cNvSpPr>
              <a:spLocks/>
            </p:cNvSpPr>
            <p:nvPr/>
          </p:nvSpPr>
          <p:spPr bwMode="auto">
            <a:xfrm>
              <a:off x="6302375" y="4062414"/>
              <a:ext cx="169863" cy="163513"/>
            </a:xfrm>
            <a:custGeom>
              <a:avLst/>
              <a:gdLst>
                <a:gd name="T0" fmla="*/ 16 w 107"/>
                <a:gd name="T1" fmla="*/ 84 h 103"/>
                <a:gd name="T2" fmla="*/ 11 w 107"/>
                <a:gd name="T3" fmla="*/ 83 h 103"/>
                <a:gd name="T4" fmla="*/ 11 w 107"/>
                <a:gd name="T5" fmla="*/ 76 h 103"/>
                <a:gd name="T6" fmla="*/ 24 w 107"/>
                <a:gd name="T7" fmla="*/ 66 h 103"/>
                <a:gd name="T8" fmla="*/ 16 w 107"/>
                <a:gd name="T9" fmla="*/ 61 h 103"/>
                <a:gd name="T10" fmla="*/ 14 w 107"/>
                <a:gd name="T11" fmla="*/ 55 h 103"/>
                <a:gd name="T12" fmla="*/ 3 w 107"/>
                <a:gd name="T13" fmla="*/ 48 h 103"/>
                <a:gd name="T14" fmla="*/ 4 w 107"/>
                <a:gd name="T15" fmla="*/ 39 h 103"/>
                <a:gd name="T16" fmla="*/ 3 w 107"/>
                <a:gd name="T17" fmla="*/ 34 h 103"/>
                <a:gd name="T18" fmla="*/ 4 w 107"/>
                <a:gd name="T19" fmla="*/ 29 h 103"/>
                <a:gd name="T20" fmla="*/ 3 w 107"/>
                <a:gd name="T21" fmla="*/ 22 h 103"/>
                <a:gd name="T22" fmla="*/ 27 w 107"/>
                <a:gd name="T23" fmla="*/ 25 h 103"/>
                <a:gd name="T24" fmla="*/ 45 w 107"/>
                <a:gd name="T25" fmla="*/ 22 h 103"/>
                <a:gd name="T26" fmla="*/ 80 w 107"/>
                <a:gd name="T27" fmla="*/ 0 h 103"/>
                <a:gd name="T28" fmla="*/ 90 w 107"/>
                <a:gd name="T29" fmla="*/ 8 h 103"/>
                <a:gd name="T30" fmla="*/ 91 w 107"/>
                <a:gd name="T31" fmla="*/ 11 h 103"/>
                <a:gd name="T32" fmla="*/ 95 w 107"/>
                <a:gd name="T33" fmla="*/ 9 h 103"/>
                <a:gd name="T34" fmla="*/ 84 w 107"/>
                <a:gd name="T35" fmla="*/ 28 h 103"/>
                <a:gd name="T36" fmla="*/ 75 w 107"/>
                <a:gd name="T37" fmla="*/ 35 h 103"/>
                <a:gd name="T38" fmla="*/ 82 w 107"/>
                <a:gd name="T39" fmla="*/ 50 h 103"/>
                <a:gd name="T40" fmla="*/ 75 w 107"/>
                <a:gd name="T41" fmla="*/ 64 h 103"/>
                <a:gd name="T42" fmla="*/ 75 w 107"/>
                <a:gd name="T43" fmla="*/ 64 h 103"/>
                <a:gd name="T44" fmla="*/ 72 w 107"/>
                <a:gd name="T45" fmla="*/ 58 h 103"/>
                <a:gd name="T46" fmla="*/ 72 w 107"/>
                <a:gd name="T47" fmla="*/ 70 h 103"/>
                <a:gd name="T48" fmla="*/ 82 w 107"/>
                <a:gd name="T49" fmla="*/ 86 h 103"/>
                <a:gd name="T50" fmla="*/ 106 w 107"/>
                <a:gd name="T51" fmla="*/ 99 h 103"/>
                <a:gd name="T52" fmla="*/ 51 w 107"/>
                <a:gd name="T53" fmla="*/ 83 h 103"/>
                <a:gd name="T54" fmla="*/ 71 w 107"/>
                <a:gd name="T55" fmla="*/ 103 h 103"/>
                <a:gd name="T56" fmla="*/ 107 w 107"/>
                <a:gd name="T57" fmla="*/ 99 h 103"/>
                <a:gd name="T58" fmla="*/ 82 w 107"/>
                <a:gd name="T59" fmla="*/ 84 h 103"/>
                <a:gd name="T60" fmla="*/ 74 w 107"/>
                <a:gd name="T61" fmla="*/ 70 h 103"/>
                <a:gd name="T62" fmla="*/ 74 w 107"/>
                <a:gd name="T63" fmla="*/ 64 h 103"/>
                <a:gd name="T64" fmla="*/ 75 w 107"/>
                <a:gd name="T65" fmla="*/ 66 h 103"/>
                <a:gd name="T66" fmla="*/ 77 w 107"/>
                <a:gd name="T67" fmla="*/ 66 h 103"/>
                <a:gd name="T68" fmla="*/ 85 w 107"/>
                <a:gd name="T69" fmla="*/ 57 h 103"/>
                <a:gd name="T70" fmla="*/ 82 w 107"/>
                <a:gd name="T71" fmla="*/ 48 h 103"/>
                <a:gd name="T72" fmla="*/ 84 w 107"/>
                <a:gd name="T73" fmla="*/ 35 h 103"/>
                <a:gd name="T74" fmla="*/ 85 w 107"/>
                <a:gd name="T75" fmla="*/ 29 h 103"/>
                <a:gd name="T76" fmla="*/ 95 w 107"/>
                <a:gd name="T77" fmla="*/ 9 h 103"/>
                <a:gd name="T78" fmla="*/ 95 w 107"/>
                <a:gd name="T79" fmla="*/ 8 h 103"/>
                <a:gd name="T80" fmla="*/ 91 w 107"/>
                <a:gd name="T81" fmla="*/ 9 h 103"/>
                <a:gd name="T82" fmla="*/ 91 w 107"/>
                <a:gd name="T83" fmla="*/ 6 h 103"/>
                <a:gd name="T84" fmla="*/ 80 w 107"/>
                <a:gd name="T85" fmla="*/ 0 h 103"/>
                <a:gd name="T86" fmla="*/ 80 w 107"/>
                <a:gd name="T87" fmla="*/ 0 h 103"/>
                <a:gd name="T88" fmla="*/ 43 w 107"/>
                <a:gd name="T89" fmla="*/ 21 h 103"/>
                <a:gd name="T90" fmla="*/ 27 w 107"/>
                <a:gd name="T91" fmla="*/ 24 h 103"/>
                <a:gd name="T92" fmla="*/ 3 w 107"/>
                <a:gd name="T93" fmla="*/ 21 h 103"/>
                <a:gd name="T94" fmla="*/ 0 w 107"/>
                <a:gd name="T95" fmla="*/ 28 h 103"/>
                <a:gd name="T96" fmla="*/ 3 w 107"/>
                <a:gd name="T97" fmla="*/ 31 h 103"/>
                <a:gd name="T98" fmla="*/ 1 w 107"/>
                <a:gd name="T99" fmla="*/ 34 h 103"/>
                <a:gd name="T100" fmla="*/ 3 w 107"/>
                <a:gd name="T101" fmla="*/ 38 h 103"/>
                <a:gd name="T102" fmla="*/ 3 w 107"/>
                <a:gd name="T103" fmla="*/ 39 h 103"/>
                <a:gd name="T104" fmla="*/ 3 w 107"/>
                <a:gd name="T105" fmla="*/ 50 h 103"/>
                <a:gd name="T106" fmla="*/ 13 w 107"/>
                <a:gd name="T107" fmla="*/ 57 h 103"/>
                <a:gd name="T108" fmla="*/ 14 w 107"/>
                <a:gd name="T109" fmla="*/ 63 h 103"/>
                <a:gd name="T110" fmla="*/ 23 w 107"/>
                <a:gd name="T111" fmla="*/ 66 h 103"/>
                <a:gd name="T112" fmla="*/ 11 w 107"/>
                <a:gd name="T113" fmla="*/ 76 h 103"/>
                <a:gd name="T114" fmla="*/ 11 w 107"/>
                <a:gd name="T115" fmla="*/ 81 h 103"/>
                <a:gd name="T116" fmla="*/ 10 w 107"/>
                <a:gd name="T117" fmla="*/ 83 h 103"/>
                <a:gd name="T118" fmla="*/ 14 w 107"/>
                <a:gd name="T119" fmla="*/ 86 h 103"/>
                <a:gd name="T120" fmla="*/ 51 w 107"/>
                <a:gd name="T121" fmla="*/ 8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7" h="103">
                  <a:moveTo>
                    <a:pt x="51" y="84"/>
                  </a:moveTo>
                  <a:lnTo>
                    <a:pt x="51" y="83"/>
                  </a:lnTo>
                  <a:lnTo>
                    <a:pt x="16" y="84"/>
                  </a:lnTo>
                  <a:lnTo>
                    <a:pt x="11" y="83"/>
                  </a:lnTo>
                  <a:lnTo>
                    <a:pt x="11" y="83"/>
                  </a:lnTo>
                  <a:lnTo>
                    <a:pt x="11" y="83"/>
                  </a:lnTo>
                  <a:lnTo>
                    <a:pt x="14" y="79"/>
                  </a:lnTo>
                  <a:lnTo>
                    <a:pt x="14" y="79"/>
                  </a:lnTo>
                  <a:lnTo>
                    <a:pt x="11" y="76"/>
                  </a:lnTo>
                  <a:lnTo>
                    <a:pt x="11" y="76"/>
                  </a:lnTo>
                  <a:lnTo>
                    <a:pt x="14" y="71"/>
                  </a:lnTo>
                  <a:lnTo>
                    <a:pt x="24" y="66"/>
                  </a:lnTo>
                  <a:lnTo>
                    <a:pt x="22" y="63"/>
                  </a:lnTo>
                  <a:lnTo>
                    <a:pt x="22" y="61"/>
                  </a:lnTo>
                  <a:lnTo>
                    <a:pt x="16" y="61"/>
                  </a:lnTo>
                  <a:lnTo>
                    <a:pt x="14" y="61"/>
                  </a:lnTo>
                  <a:lnTo>
                    <a:pt x="14" y="57"/>
                  </a:lnTo>
                  <a:lnTo>
                    <a:pt x="14" y="55"/>
                  </a:lnTo>
                  <a:lnTo>
                    <a:pt x="9" y="54"/>
                  </a:lnTo>
                  <a:lnTo>
                    <a:pt x="4" y="50"/>
                  </a:lnTo>
                  <a:lnTo>
                    <a:pt x="3" y="48"/>
                  </a:lnTo>
                  <a:lnTo>
                    <a:pt x="7" y="44"/>
                  </a:lnTo>
                  <a:lnTo>
                    <a:pt x="4" y="39"/>
                  </a:lnTo>
                  <a:lnTo>
                    <a:pt x="4" y="39"/>
                  </a:lnTo>
                  <a:lnTo>
                    <a:pt x="7" y="37"/>
                  </a:lnTo>
                  <a:lnTo>
                    <a:pt x="7" y="35"/>
                  </a:lnTo>
                  <a:lnTo>
                    <a:pt x="3" y="34"/>
                  </a:lnTo>
                  <a:lnTo>
                    <a:pt x="3" y="32"/>
                  </a:lnTo>
                  <a:lnTo>
                    <a:pt x="4" y="31"/>
                  </a:lnTo>
                  <a:lnTo>
                    <a:pt x="4" y="29"/>
                  </a:lnTo>
                  <a:lnTo>
                    <a:pt x="1" y="29"/>
                  </a:lnTo>
                  <a:lnTo>
                    <a:pt x="1" y="28"/>
                  </a:lnTo>
                  <a:lnTo>
                    <a:pt x="3" y="22"/>
                  </a:lnTo>
                  <a:lnTo>
                    <a:pt x="4" y="22"/>
                  </a:lnTo>
                  <a:lnTo>
                    <a:pt x="9" y="21"/>
                  </a:lnTo>
                  <a:lnTo>
                    <a:pt x="27" y="25"/>
                  </a:lnTo>
                  <a:lnTo>
                    <a:pt x="39" y="22"/>
                  </a:lnTo>
                  <a:lnTo>
                    <a:pt x="43" y="22"/>
                  </a:lnTo>
                  <a:lnTo>
                    <a:pt x="45" y="22"/>
                  </a:lnTo>
                  <a:lnTo>
                    <a:pt x="48" y="16"/>
                  </a:lnTo>
                  <a:lnTo>
                    <a:pt x="56" y="11"/>
                  </a:lnTo>
                  <a:lnTo>
                    <a:pt x="80" y="0"/>
                  </a:lnTo>
                  <a:lnTo>
                    <a:pt x="80" y="0"/>
                  </a:lnTo>
                  <a:lnTo>
                    <a:pt x="80" y="0"/>
                  </a:lnTo>
                  <a:lnTo>
                    <a:pt x="90" y="8"/>
                  </a:lnTo>
                  <a:lnTo>
                    <a:pt x="90" y="8"/>
                  </a:lnTo>
                  <a:lnTo>
                    <a:pt x="91" y="11"/>
                  </a:lnTo>
                  <a:lnTo>
                    <a:pt x="91" y="11"/>
                  </a:lnTo>
                  <a:lnTo>
                    <a:pt x="95" y="9"/>
                  </a:lnTo>
                  <a:lnTo>
                    <a:pt x="95" y="9"/>
                  </a:lnTo>
                  <a:lnTo>
                    <a:pt x="95" y="9"/>
                  </a:lnTo>
                  <a:lnTo>
                    <a:pt x="95" y="11"/>
                  </a:lnTo>
                  <a:lnTo>
                    <a:pt x="91" y="22"/>
                  </a:lnTo>
                  <a:lnTo>
                    <a:pt x="84" y="28"/>
                  </a:lnTo>
                  <a:lnTo>
                    <a:pt x="84" y="34"/>
                  </a:lnTo>
                  <a:lnTo>
                    <a:pt x="84" y="35"/>
                  </a:lnTo>
                  <a:lnTo>
                    <a:pt x="75" y="35"/>
                  </a:lnTo>
                  <a:lnTo>
                    <a:pt x="75" y="47"/>
                  </a:lnTo>
                  <a:lnTo>
                    <a:pt x="82" y="50"/>
                  </a:lnTo>
                  <a:lnTo>
                    <a:pt x="82" y="50"/>
                  </a:lnTo>
                  <a:lnTo>
                    <a:pt x="84" y="57"/>
                  </a:lnTo>
                  <a:lnTo>
                    <a:pt x="84" y="57"/>
                  </a:lnTo>
                  <a:lnTo>
                    <a:pt x="75" y="64"/>
                  </a:lnTo>
                  <a:lnTo>
                    <a:pt x="75" y="64"/>
                  </a:lnTo>
                  <a:lnTo>
                    <a:pt x="75" y="64"/>
                  </a:lnTo>
                  <a:lnTo>
                    <a:pt x="75" y="64"/>
                  </a:lnTo>
                  <a:lnTo>
                    <a:pt x="75" y="64"/>
                  </a:lnTo>
                  <a:lnTo>
                    <a:pt x="75" y="64"/>
                  </a:lnTo>
                  <a:lnTo>
                    <a:pt x="72" y="58"/>
                  </a:lnTo>
                  <a:lnTo>
                    <a:pt x="69" y="61"/>
                  </a:lnTo>
                  <a:lnTo>
                    <a:pt x="68" y="61"/>
                  </a:lnTo>
                  <a:lnTo>
                    <a:pt x="72" y="70"/>
                  </a:lnTo>
                  <a:lnTo>
                    <a:pt x="72" y="79"/>
                  </a:lnTo>
                  <a:lnTo>
                    <a:pt x="75" y="86"/>
                  </a:lnTo>
                  <a:lnTo>
                    <a:pt x="82" y="86"/>
                  </a:lnTo>
                  <a:lnTo>
                    <a:pt x="106" y="99"/>
                  </a:lnTo>
                  <a:lnTo>
                    <a:pt x="106" y="99"/>
                  </a:lnTo>
                  <a:lnTo>
                    <a:pt x="106" y="99"/>
                  </a:lnTo>
                  <a:lnTo>
                    <a:pt x="72" y="102"/>
                  </a:lnTo>
                  <a:lnTo>
                    <a:pt x="51" y="83"/>
                  </a:lnTo>
                  <a:lnTo>
                    <a:pt x="51" y="83"/>
                  </a:lnTo>
                  <a:lnTo>
                    <a:pt x="51" y="84"/>
                  </a:lnTo>
                  <a:lnTo>
                    <a:pt x="51" y="84"/>
                  </a:lnTo>
                  <a:lnTo>
                    <a:pt x="71" y="103"/>
                  </a:lnTo>
                  <a:lnTo>
                    <a:pt x="106" y="100"/>
                  </a:lnTo>
                  <a:lnTo>
                    <a:pt x="107" y="99"/>
                  </a:lnTo>
                  <a:lnTo>
                    <a:pt x="107" y="99"/>
                  </a:lnTo>
                  <a:lnTo>
                    <a:pt x="106" y="97"/>
                  </a:lnTo>
                  <a:lnTo>
                    <a:pt x="106" y="97"/>
                  </a:lnTo>
                  <a:lnTo>
                    <a:pt x="82" y="84"/>
                  </a:lnTo>
                  <a:lnTo>
                    <a:pt x="77" y="84"/>
                  </a:lnTo>
                  <a:lnTo>
                    <a:pt x="74" y="79"/>
                  </a:lnTo>
                  <a:lnTo>
                    <a:pt x="74" y="70"/>
                  </a:lnTo>
                  <a:lnTo>
                    <a:pt x="69" y="61"/>
                  </a:lnTo>
                  <a:lnTo>
                    <a:pt x="71" y="60"/>
                  </a:lnTo>
                  <a:lnTo>
                    <a:pt x="74" y="64"/>
                  </a:lnTo>
                  <a:lnTo>
                    <a:pt x="75" y="66"/>
                  </a:lnTo>
                  <a:lnTo>
                    <a:pt x="75" y="66"/>
                  </a:lnTo>
                  <a:lnTo>
                    <a:pt x="75" y="66"/>
                  </a:lnTo>
                  <a:lnTo>
                    <a:pt x="75" y="66"/>
                  </a:lnTo>
                  <a:lnTo>
                    <a:pt x="77" y="66"/>
                  </a:lnTo>
                  <a:lnTo>
                    <a:pt x="77" y="66"/>
                  </a:lnTo>
                  <a:lnTo>
                    <a:pt x="85" y="58"/>
                  </a:lnTo>
                  <a:lnTo>
                    <a:pt x="85" y="57"/>
                  </a:lnTo>
                  <a:lnTo>
                    <a:pt x="85" y="57"/>
                  </a:lnTo>
                  <a:lnTo>
                    <a:pt x="84" y="50"/>
                  </a:lnTo>
                  <a:lnTo>
                    <a:pt x="82" y="50"/>
                  </a:lnTo>
                  <a:lnTo>
                    <a:pt x="82" y="48"/>
                  </a:lnTo>
                  <a:lnTo>
                    <a:pt x="77" y="45"/>
                  </a:lnTo>
                  <a:lnTo>
                    <a:pt x="77" y="37"/>
                  </a:lnTo>
                  <a:lnTo>
                    <a:pt x="84" y="35"/>
                  </a:lnTo>
                  <a:lnTo>
                    <a:pt x="85" y="35"/>
                  </a:lnTo>
                  <a:lnTo>
                    <a:pt x="85" y="35"/>
                  </a:lnTo>
                  <a:lnTo>
                    <a:pt x="85" y="29"/>
                  </a:lnTo>
                  <a:lnTo>
                    <a:pt x="93" y="24"/>
                  </a:lnTo>
                  <a:lnTo>
                    <a:pt x="97" y="11"/>
                  </a:lnTo>
                  <a:lnTo>
                    <a:pt x="95" y="9"/>
                  </a:lnTo>
                  <a:lnTo>
                    <a:pt x="95" y="9"/>
                  </a:lnTo>
                  <a:lnTo>
                    <a:pt x="95" y="9"/>
                  </a:lnTo>
                  <a:lnTo>
                    <a:pt x="95" y="8"/>
                  </a:lnTo>
                  <a:lnTo>
                    <a:pt x="94" y="9"/>
                  </a:lnTo>
                  <a:lnTo>
                    <a:pt x="94" y="9"/>
                  </a:lnTo>
                  <a:lnTo>
                    <a:pt x="91" y="9"/>
                  </a:lnTo>
                  <a:lnTo>
                    <a:pt x="91" y="8"/>
                  </a:lnTo>
                  <a:lnTo>
                    <a:pt x="91" y="8"/>
                  </a:lnTo>
                  <a:lnTo>
                    <a:pt x="91" y="6"/>
                  </a:lnTo>
                  <a:lnTo>
                    <a:pt x="91" y="6"/>
                  </a:lnTo>
                  <a:lnTo>
                    <a:pt x="81" y="0"/>
                  </a:lnTo>
                  <a:lnTo>
                    <a:pt x="80" y="0"/>
                  </a:lnTo>
                  <a:lnTo>
                    <a:pt x="80" y="0"/>
                  </a:lnTo>
                  <a:lnTo>
                    <a:pt x="80" y="0"/>
                  </a:lnTo>
                  <a:lnTo>
                    <a:pt x="80" y="0"/>
                  </a:lnTo>
                  <a:lnTo>
                    <a:pt x="55" y="9"/>
                  </a:lnTo>
                  <a:lnTo>
                    <a:pt x="46" y="16"/>
                  </a:lnTo>
                  <a:lnTo>
                    <a:pt x="43" y="21"/>
                  </a:lnTo>
                  <a:lnTo>
                    <a:pt x="39" y="21"/>
                  </a:lnTo>
                  <a:lnTo>
                    <a:pt x="39" y="21"/>
                  </a:lnTo>
                  <a:lnTo>
                    <a:pt x="27" y="24"/>
                  </a:lnTo>
                  <a:lnTo>
                    <a:pt x="9" y="19"/>
                  </a:lnTo>
                  <a:lnTo>
                    <a:pt x="3" y="21"/>
                  </a:lnTo>
                  <a:lnTo>
                    <a:pt x="3" y="21"/>
                  </a:lnTo>
                  <a:lnTo>
                    <a:pt x="3" y="21"/>
                  </a:lnTo>
                  <a:lnTo>
                    <a:pt x="3" y="22"/>
                  </a:lnTo>
                  <a:lnTo>
                    <a:pt x="0" y="28"/>
                  </a:lnTo>
                  <a:lnTo>
                    <a:pt x="0" y="29"/>
                  </a:lnTo>
                  <a:lnTo>
                    <a:pt x="0" y="29"/>
                  </a:lnTo>
                  <a:lnTo>
                    <a:pt x="3" y="31"/>
                  </a:lnTo>
                  <a:lnTo>
                    <a:pt x="1" y="32"/>
                  </a:lnTo>
                  <a:lnTo>
                    <a:pt x="1" y="32"/>
                  </a:lnTo>
                  <a:lnTo>
                    <a:pt x="1" y="34"/>
                  </a:lnTo>
                  <a:lnTo>
                    <a:pt x="1" y="34"/>
                  </a:lnTo>
                  <a:lnTo>
                    <a:pt x="6" y="37"/>
                  </a:lnTo>
                  <a:lnTo>
                    <a:pt x="3" y="38"/>
                  </a:lnTo>
                  <a:lnTo>
                    <a:pt x="3" y="38"/>
                  </a:lnTo>
                  <a:lnTo>
                    <a:pt x="3" y="39"/>
                  </a:lnTo>
                  <a:lnTo>
                    <a:pt x="3" y="39"/>
                  </a:lnTo>
                  <a:lnTo>
                    <a:pt x="6" y="44"/>
                  </a:lnTo>
                  <a:lnTo>
                    <a:pt x="3" y="48"/>
                  </a:lnTo>
                  <a:lnTo>
                    <a:pt x="3" y="50"/>
                  </a:lnTo>
                  <a:lnTo>
                    <a:pt x="3" y="50"/>
                  </a:lnTo>
                  <a:lnTo>
                    <a:pt x="9" y="55"/>
                  </a:lnTo>
                  <a:lnTo>
                    <a:pt x="13" y="57"/>
                  </a:lnTo>
                  <a:lnTo>
                    <a:pt x="13" y="61"/>
                  </a:lnTo>
                  <a:lnTo>
                    <a:pt x="13" y="61"/>
                  </a:lnTo>
                  <a:lnTo>
                    <a:pt x="14" y="63"/>
                  </a:lnTo>
                  <a:lnTo>
                    <a:pt x="14" y="63"/>
                  </a:lnTo>
                  <a:lnTo>
                    <a:pt x="22" y="63"/>
                  </a:lnTo>
                  <a:lnTo>
                    <a:pt x="23" y="66"/>
                  </a:lnTo>
                  <a:lnTo>
                    <a:pt x="13" y="70"/>
                  </a:lnTo>
                  <a:lnTo>
                    <a:pt x="11" y="74"/>
                  </a:lnTo>
                  <a:lnTo>
                    <a:pt x="11" y="76"/>
                  </a:lnTo>
                  <a:lnTo>
                    <a:pt x="11" y="76"/>
                  </a:lnTo>
                  <a:lnTo>
                    <a:pt x="13" y="79"/>
                  </a:lnTo>
                  <a:lnTo>
                    <a:pt x="11" y="81"/>
                  </a:lnTo>
                  <a:lnTo>
                    <a:pt x="11" y="81"/>
                  </a:lnTo>
                  <a:lnTo>
                    <a:pt x="10" y="83"/>
                  </a:lnTo>
                  <a:lnTo>
                    <a:pt x="10" y="83"/>
                  </a:lnTo>
                  <a:lnTo>
                    <a:pt x="11" y="83"/>
                  </a:lnTo>
                  <a:lnTo>
                    <a:pt x="11" y="83"/>
                  </a:lnTo>
                  <a:lnTo>
                    <a:pt x="14" y="86"/>
                  </a:lnTo>
                  <a:lnTo>
                    <a:pt x="16" y="86"/>
                  </a:lnTo>
                  <a:lnTo>
                    <a:pt x="51" y="84"/>
                  </a:lnTo>
                  <a:lnTo>
                    <a:pt x="51" y="84"/>
                  </a:lnTo>
                  <a:lnTo>
                    <a:pt x="51" y="84"/>
                  </a:lnTo>
                  <a:lnTo>
                    <a:pt x="51" y="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89" name="Freeform 1661"/>
            <p:cNvSpPr>
              <a:spLocks noEditPoints="1"/>
            </p:cNvSpPr>
            <p:nvPr/>
          </p:nvSpPr>
          <p:spPr bwMode="auto">
            <a:xfrm>
              <a:off x="6954838" y="4665663"/>
              <a:ext cx="20638" cy="14288"/>
            </a:xfrm>
            <a:custGeom>
              <a:avLst/>
              <a:gdLst>
                <a:gd name="T0" fmla="*/ 2 w 13"/>
                <a:gd name="T1" fmla="*/ 6 h 9"/>
                <a:gd name="T2" fmla="*/ 2 w 13"/>
                <a:gd name="T3" fmla="*/ 6 h 9"/>
                <a:gd name="T4" fmla="*/ 0 w 13"/>
                <a:gd name="T5" fmla="*/ 9 h 9"/>
                <a:gd name="T6" fmla="*/ 3 w 13"/>
                <a:gd name="T7" fmla="*/ 9 h 9"/>
                <a:gd name="T8" fmla="*/ 3 w 13"/>
                <a:gd name="T9" fmla="*/ 9 h 9"/>
                <a:gd name="T10" fmla="*/ 3 w 13"/>
                <a:gd name="T11" fmla="*/ 7 h 9"/>
                <a:gd name="T12" fmla="*/ 2 w 13"/>
                <a:gd name="T13" fmla="*/ 6 h 9"/>
                <a:gd name="T14" fmla="*/ 5 w 13"/>
                <a:gd name="T15" fmla="*/ 3 h 9"/>
                <a:gd name="T16" fmla="*/ 5 w 13"/>
                <a:gd name="T17" fmla="*/ 3 h 9"/>
                <a:gd name="T18" fmla="*/ 3 w 13"/>
                <a:gd name="T19" fmla="*/ 4 h 9"/>
                <a:gd name="T20" fmla="*/ 5 w 13"/>
                <a:gd name="T21" fmla="*/ 7 h 9"/>
                <a:gd name="T22" fmla="*/ 5 w 13"/>
                <a:gd name="T23" fmla="*/ 7 h 9"/>
                <a:gd name="T24" fmla="*/ 6 w 13"/>
                <a:gd name="T25" fmla="*/ 6 h 9"/>
                <a:gd name="T26" fmla="*/ 5 w 13"/>
                <a:gd name="T27" fmla="*/ 3 h 9"/>
                <a:gd name="T28" fmla="*/ 9 w 13"/>
                <a:gd name="T29" fmla="*/ 1 h 9"/>
                <a:gd name="T30" fmla="*/ 9 w 13"/>
                <a:gd name="T31" fmla="*/ 1 h 9"/>
                <a:gd name="T32" fmla="*/ 6 w 13"/>
                <a:gd name="T33" fmla="*/ 3 h 9"/>
                <a:gd name="T34" fmla="*/ 7 w 13"/>
                <a:gd name="T35" fmla="*/ 4 h 9"/>
                <a:gd name="T36" fmla="*/ 7 w 13"/>
                <a:gd name="T37" fmla="*/ 4 h 9"/>
                <a:gd name="T38" fmla="*/ 10 w 13"/>
                <a:gd name="T39" fmla="*/ 3 h 9"/>
                <a:gd name="T40" fmla="*/ 9 w 13"/>
                <a:gd name="T41" fmla="*/ 1 h 9"/>
                <a:gd name="T42" fmla="*/ 12 w 13"/>
                <a:gd name="T43" fmla="*/ 0 h 9"/>
                <a:gd name="T44" fmla="*/ 12 w 13"/>
                <a:gd name="T45" fmla="*/ 0 h 9"/>
                <a:gd name="T46" fmla="*/ 10 w 13"/>
                <a:gd name="T47" fmla="*/ 0 h 9"/>
                <a:gd name="T48" fmla="*/ 10 w 13"/>
                <a:gd name="T49" fmla="*/ 3 h 9"/>
                <a:gd name="T50" fmla="*/ 10 w 13"/>
                <a:gd name="T51" fmla="*/ 3 h 9"/>
                <a:gd name="T52" fmla="*/ 13 w 13"/>
                <a:gd name="T53" fmla="*/ 1 h 9"/>
                <a:gd name="T54" fmla="*/ 12 w 13"/>
                <a:gd name="T5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 h="9">
                  <a:moveTo>
                    <a:pt x="2" y="6"/>
                  </a:moveTo>
                  <a:lnTo>
                    <a:pt x="2" y="6"/>
                  </a:lnTo>
                  <a:lnTo>
                    <a:pt x="0" y="9"/>
                  </a:lnTo>
                  <a:lnTo>
                    <a:pt x="3" y="9"/>
                  </a:lnTo>
                  <a:lnTo>
                    <a:pt x="3" y="9"/>
                  </a:lnTo>
                  <a:lnTo>
                    <a:pt x="3" y="7"/>
                  </a:lnTo>
                  <a:lnTo>
                    <a:pt x="2" y="6"/>
                  </a:lnTo>
                  <a:close/>
                  <a:moveTo>
                    <a:pt x="5" y="3"/>
                  </a:moveTo>
                  <a:lnTo>
                    <a:pt x="5" y="3"/>
                  </a:lnTo>
                  <a:lnTo>
                    <a:pt x="3" y="4"/>
                  </a:lnTo>
                  <a:lnTo>
                    <a:pt x="5" y="7"/>
                  </a:lnTo>
                  <a:lnTo>
                    <a:pt x="5" y="7"/>
                  </a:lnTo>
                  <a:lnTo>
                    <a:pt x="6" y="6"/>
                  </a:lnTo>
                  <a:lnTo>
                    <a:pt x="5" y="3"/>
                  </a:lnTo>
                  <a:close/>
                  <a:moveTo>
                    <a:pt x="9" y="1"/>
                  </a:moveTo>
                  <a:lnTo>
                    <a:pt x="9" y="1"/>
                  </a:lnTo>
                  <a:lnTo>
                    <a:pt x="6" y="3"/>
                  </a:lnTo>
                  <a:lnTo>
                    <a:pt x="7" y="4"/>
                  </a:lnTo>
                  <a:lnTo>
                    <a:pt x="7" y="4"/>
                  </a:lnTo>
                  <a:lnTo>
                    <a:pt x="10" y="3"/>
                  </a:lnTo>
                  <a:lnTo>
                    <a:pt x="9" y="1"/>
                  </a:lnTo>
                  <a:close/>
                  <a:moveTo>
                    <a:pt x="12" y="0"/>
                  </a:moveTo>
                  <a:lnTo>
                    <a:pt x="12" y="0"/>
                  </a:lnTo>
                  <a:lnTo>
                    <a:pt x="10" y="0"/>
                  </a:lnTo>
                  <a:lnTo>
                    <a:pt x="10" y="3"/>
                  </a:lnTo>
                  <a:lnTo>
                    <a:pt x="10" y="3"/>
                  </a:lnTo>
                  <a:lnTo>
                    <a:pt x="13" y="1"/>
                  </a:lnTo>
                  <a:lnTo>
                    <a:pt x="1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90" name="Freeform 1662"/>
            <p:cNvSpPr>
              <a:spLocks noEditPoints="1"/>
            </p:cNvSpPr>
            <p:nvPr/>
          </p:nvSpPr>
          <p:spPr bwMode="auto">
            <a:xfrm>
              <a:off x="7129463" y="4613276"/>
              <a:ext cx="188913" cy="84138"/>
            </a:xfrm>
            <a:custGeom>
              <a:avLst/>
              <a:gdLst>
                <a:gd name="T0" fmla="*/ 10 w 119"/>
                <a:gd name="T1" fmla="*/ 50 h 53"/>
                <a:gd name="T2" fmla="*/ 0 w 119"/>
                <a:gd name="T3" fmla="*/ 46 h 53"/>
                <a:gd name="T4" fmla="*/ 5 w 119"/>
                <a:gd name="T5" fmla="*/ 49 h 53"/>
                <a:gd name="T6" fmla="*/ 10 w 119"/>
                <a:gd name="T7" fmla="*/ 50 h 53"/>
                <a:gd name="T8" fmla="*/ 23 w 119"/>
                <a:gd name="T9" fmla="*/ 50 h 53"/>
                <a:gd name="T10" fmla="*/ 15 w 119"/>
                <a:gd name="T11" fmla="*/ 50 h 53"/>
                <a:gd name="T12" fmla="*/ 15 w 119"/>
                <a:gd name="T13" fmla="*/ 53 h 53"/>
                <a:gd name="T14" fmla="*/ 16 w 119"/>
                <a:gd name="T15" fmla="*/ 53 h 53"/>
                <a:gd name="T16" fmla="*/ 25 w 119"/>
                <a:gd name="T17" fmla="*/ 52 h 53"/>
                <a:gd name="T18" fmla="*/ 36 w 119"/>
                <a:gd name="T19" fmla="*/ 42 h 53"/>
                <a:gd name="T20" fmla="*/ 28 w 119"/>
                <a:gd name="T21" fmla="*/ 49 h 53"/>
                <a:gd name="T22" fmla="*/ 29 w 119"/>
                <a:gd name="T23" fmla="*/ 50 h 53"/>
                <a:gd name="T24" fmla="*/ 36 w 119"/>
                <a:gd name="T25" fmla="*/ 42 h 53"/>
                <a:gd name="T26" fmla="*/ 52 w 119"/>
                <a:gd name="T27" fmla="*/ 44 h 53"/>
                <a:gd name="T28" fmla="*/ 42 w 119"/>
                <a:gd name="T29" fmla="*/ 40 h 53"/>
                <a:gd name="T30" fmla="*/ 42 w 119"/>
                <a:gd name="T31" fmla="*/ 43 h 53"/>
                <a:gd name="T32" fmla="*/ 51 w 119"/>
                <a:gd name="T33" fmla="*/ 47 h 53"/>
                <a:gd name="T34" fmla="*/ 64 w 119"/>
                <a:gd name="T35" fmla="*/ 43 h 53"/>
                <a:gd name="T36" fmla="*/ 61 w 119"/>
                <a:gd name="T37" fmla="*/ 46 h 53"/>
                <a:gd name="T38" fmla="*/ 58 w 119"/>
                <a:gd name="T39" fmla="*/ 47 h 53"/>
                <a:gd name="T40" fmla="*/ 58 w 119"/>
                <a:gd name="T41" fmla="*/ 47 h 53"/>
                <a:gd name="T42" fmla="*/ 55 w 119"/>
                <a:gd name="T43" fmla="*/ 49 h 53"/>
                <a:gd name="T44" fmla="*/ 58 w 119"/>
                <a:gd name="T45" fmla="*/ 49 h 53"/>
                <a:gd name="T46" fmla="*/ 58 w 119"/>
                <a:gd name="T47" fmla="*/ 49 h 53"/>
                <a:gd name="T48" fmla="*/ 63 w 119"/>
                <a:gd name="T49" fmla="*/ 49 h 53"/>
                <a:gd name="T50" fmla="*/ 64 w 119"/>
                <a:gd name="T51" fmla="*/ 43 h 53"/>
                <a:gd name="T52" fmla="*/ 74 w 119"/>
                <a:gd name="T53" fmla="*/ 33 h 53"/>
                <a:gd name="T54" fmla="*/ 70 w 119"/>
                <a:gd name="T55" fmla="*/ 42 h 53"/>
                <a:gd name="T56" fmla="*/ 76 w 119"/>
                <a:gd name="T57" fmla="*/ 34 h 53"/>
                <a:gd name="T58" fmla="*/ 81 w 119"/>
                <a:gd name="T59" fmla="*/ 20 h 53"/>
                <a:gd name="T60" fmla="*/ 77 w 119"/>
                <a:gd name="T61" fmla="*/ 29 h 53"/>
                <a:gd name="T62" fmla="*/ 80 w 119"/>
                <a:gd name="T63" fmla="*/ 30 h 53"/>
                <a:gd name="T64" fmla="*/ 81 w 119"/>
                <a:gd name="T65" fmla="*/ 20 h 53"/>
                <a:gd name="T66" fmla="*/ 90 w 119"/>
                <a:gd name="T67" fmla="*/ 5 h 53"/>
                <a:gd name="T68" fmla="*/ 84 w 119"/>
                <a:gd name="T69" fmla="*/ 15 h 53"/>
                <a:gd name="T70" fmla="*/ 86 w 119"/>
                <a:gd name="T71" fmla="*/ 15 h 53"/>
                <a:gd name="T72" fmla="*/ 92 w 119"/>
                <a:gd name="T73" fmla="*/ 8 h 53"/>
                <a:gd name="T74" fmla="*/ 105 w 119"/>
                <a:gd name="T75" fmla="*/ 0 h 53"/>
                <a:gd name="T76" fmla="*/ 103 w 119"/>
                <a:gd name="T77" fmla="*/ 0 h 53"/>
                <a:gd name="T78" fmla="*/ 100 w 119"/>
                <a:gd name="T79" fmla="*/ 0 h 53"/>
                <a:gd name="T80" fmla="*/ 94 w 119"/>
                <a:gd name="T81" fmla="*/ 5 h 53"/>
                <a:gd name="T82" fmla="*/ 102 w 119"/>
                <a:gd name="T83" fmla="*/ 2 h 53"/>
                <a:gd name="T84" fmla="*/ 103 w 119"/>
                <a:gd name="T85" fmla="*/ 2 h 53"/>
                <a:gd name="T86" fmla="*/ 105 w 119"/>
                <a:gd name="T87" fmla="*/ 0 h 53"/>
                <a:gd name="T88" fmla="*/ 119 w 119"/>
                <a:gd name="T89" fmla="*/ 1 h 53"/>
                <a:gd name="T90" fmla="*/ 109 w 119"/>
                <a:gd name="T91" fmla="*/ 2 h 53"/>
                <a:gd name="T92" fmla="*/ 119 w 119"/>
                <a:gd name="T93" fmla="*/ 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9" h="53">
                  <a:moveTo>
                    <a:pt x="10" y="50"/>
                  </a:moveTo>
                  <a:lnTo>
                    <a:pt x="10" y="50"/>
                  </a:lnTo>
                  <a:lnTo>
                    <a:pt x="3" y="43"/>
                  </a:lnTo>
                  <a:lnTo>
                    <a:pt x="0" y="46"/>
                  </a:lnTo>
                  <a:lnTo>
                    <a:pt x="0" y="46"/>
                  </a:lnTo>
                  <a:lnTo>
                    <a:pt x="5" y="49"/>
                  </a:lnTo>
                  <a:lnTo>
                    <a:pt x="9" y="52"/>
                  </a:lnTo>
                  <a:lnTo>
                    <a:pt x="10" y="50"/>
                  </a:lnTo>
                  <a:close/>
                  <a:moveTo>
                    <a:pt x="23" y="50"/>
                  </a:moveTo>
                  <a:lnTo>
                    <a:pt x="23" y="50"/>
                  </a:lnTo>
                  <a:lnTo>
                    <a:pt x="16" y="52"/>
                  </a:lnTo>
                  <a:lnTo>
                    <a:pt x="15" y="50"/>
                  </a:lnTo>
                  <a:lnTo>
                    <a:pt x="15" y="50"/>
                  </a:lnTo>
                  <a:lnTo>
                    <a:pt x="15" y="53"/>
                  </a:lnTo>
                  <a:lnTo>
                    <a:pt x="15" y="53"/>
                  </a:lnTo>
                  <a:lnTo>
                    <a:pt x="16" y="53"/>
                  </a:lnTo>
                  <a:lnTo>
                    <a:pt x="16" y="53"/>
                  </a:lnTo>
                  <a:lnTo>
                    <a:pt x="25" y="52"/>
                  </a:lnTo>
                  <a:lnTo>
                    <a:pt x="23" y="50"/>
                  </a:lnTo>
                  <a:close/>
                  <a:moveTo>
                    <a:pt x="36" y="42"/>
                  </a:moveTo>
                  <a:lnTo>
                    <a:pt x="36" y="42"/>
                  </a:lnTo>
                  <a:lnTo>
                    <a:pt x="28" y="49"/>
                  </a:lnTo>
                  <a:lnTo>
                    <a:pt x="29" y="50"/>
                  </a:lnTo>
                  <a:lnTo>
                    <a:pt x="29" y="50"/>
                  </a:lnTo>
                  <a:lnTo>
                    <a:pt x="38" y="44"/>
                  </a:lnTo>
                  <a:lnTo>
                    <a:pt x="36" y="42"/>
                  </a:lnTo>
                  <a:close/>
                  <a:moveTo>
                    <a:pt x="52" y="44"/>
                  </a:moveTo>
                  <a:lnTo>
                    <a:pt x="52" y="44"/>
                  </a:lnTo>
                  <a:lnTo>
                    <a:pt x="47" y="42"/>
                  </a:lnTo>
                  <a:lnTo>
                    <a:pt x="42" y="40"/>
                  </a:lnTo>
                  <a:lnTo>
                    <a:pt x="42" y="43"/>
                  </a:lnTo>
                  <a:lnTo>
                    <a:pt x="42" y="43"/>
                  </a:lnTo>
                  <a:lnTo>
                    <a:pt x="47" y="44"/>
                  </a:lnTo>
                  <a:lnTo>
                    <a:pt x="51" y="47"/>
                  </a:lnTo>
                  <a:lnTo>
                    <a:pt x="52" y="44"/>
                  </a:lnTo>
                  <a:close/>
                  <a:moveTo>
                    <a:pt x="64" y="43"/>
                  </a:moveTo>
                  <a:lnTo>
                    <a:pt x="64" y="43"/>
                  </a:lnTo>
                  <a:lnTo>
                    <a:pt x="61" y="46"/>
                  </a:lnTo>
                  <a:lnTo>
                    <a:pt x="61" y="46"/>
                  </a:lnTo>
                  <a:lnTo>
                    <a:pt x="58" y="47"/>
                  </a:lnTo>
                  <a:lnTo>
                    <a:pt x="58" y="47"/>
                  </a:lnTo>
                  <a:lnTo>
                    <a:pt x="58" y="47"/>
                  </a:lnTo>
                  <a:lnTo>
                    <a:pt x="57" y="46"/>
                  </a:lnTo>
                  <a:lnTo>
                    <a:pt x="55" y="49"/>
                  </a:lnTo>
                  <a:lnTo>
                    <a:pt x="55" y="49"/>
                  </a:lnTo>
                  <a:lnTo>
                    <a:pt x="58" y="49"/>
                  </a:lnTo>
                  <a:lnTo>
                    <a:pt x="58" y="49"/>
                  </a:lnTo>
                  <a:lnTo>
                    <a:pt x="58" y="49"/>
                  </a:lnTo>
                  <a:lnTo>
                    <a:pt x="63" y="49"/>
                  </a:lnTo>
                  <a:lnTo>
                    <a:pt x="63" y="49"/>
                  </a:lnTo>
                  <a:lnTo>
                    <a:pt x="65" y="46"/>
                  </a:lnTo>
                  <a:lnTo>
                    <a:pt x="64" y="43"/>
                  </a:lnTo>
                  <a:close/>
                  <a:moveTo>
                    <a:pt x="74" y="33"/>
                  </a:moveTo>
                  <a:lnTo>
                    <a:pt x="74" y="33"/>
                  </a:lnTo>
                  <a:lnTo>
                    <a:pt x="68" y="40"/>
                  </a:lnTo>
                  <a:lnTo>
                    <a:pt x="70" y="42"/>
                  </a:lnTo>
                  <a:lnTo>
                    <a:pt x="70" y="42"/>
                  </a:lnTo>
                  <a:lnTo>
                    <a:pt x="76" y="34"/>
                  </a:lnTo>
                  <a:lnTo>
                    <a:pt x="74" y="33"/>
                  </a:lnTo>
                  <a:close/>
                  <a:moveTo>
                    <a:pt x="81" y="20"/>
                  </a:moveTo>
                  <a:lnTo>
                    <a:pt x="81" y="20"/>
                  </a:lnTo>
                  <a:lnTo>
                    <a:pt x="77" y="29"/>
                  </a:lnTo>
                  <a:lnTo>
                    <a:pt x="80" y="30"/>
                  </a:lnTo>
                  <a:lnTo>
                    <a:pt x="80" y="30"/>
                  </a:lnTo>
                  <a:lnTo>
                    <a:pt x="84" y="21"/>
                  </a:lnTo>
                  <a:lnTo>
                    <a:pt x="81" y="20"/>
                  </a:lnTo>
                  <a:close/>
                  <a:moveTo>
                    <a:pt x="90" y="5"/>
                  </a:moveTo>
                  <a:lnTo>
                    <a:pt x="90" y="5"/>
                  </a:lnTo>
                  <a:lnTo>
                    <a:pt x="86" y="10"/>
                  </a:lnTo>
                  <a:lnTo>
                    <a:pt x="84" y="15"/>
                  </a:lnTo>
                  <a:lnTo>
                    <a:pt x="86" y="15"/>
                  </a:lnTo>
                  <a:lnTo>
                    <a:pt x="86" y="15"/>
                  </a:lnTo>
                  <a:lnTo>
                    <a:pt x="89" y="11"/>
                  </a:lnTo>
                  <a:lnTo>
                    <a:pt x="92" y="8"/>
                  </a:lnTo>
                  <a:lnTo>
                    <a:pt x="90" y="5"/>
                  </a:lnTo>
                  <a:close/>
                  <a:moveTo>
                    <a:pt x="105" y="0"/>
                  </a:moveTo>
                  <a:lnTo>
                    <a:pt x="103" y="0"/>
                  </a:lnTo>
                  <a:lnTo>
                    <a:pt x="103" y="0"/>
                  </a:lnTo>
                  <a:lnTo>
                    <a:pt x="100" y="0"/>
                  </a:lnTo>
                  <a:lnTo>
                    <a:pt x="100" y="0"/>
                  </a:lnTo>
                  <a:lnTo>
                    <a:pt x="93" y="2"/>
                  </a:lnTo>
                  <a:lnTo>
                    <a:pt x="94" y="5"/>
                  </a:lnTo>
                  <a:lnTo>
                    <a:pt x="94" y="5"/>
                  </a:lnTo>
                  <a:lnTo>
                    <a:pt x="102" y="2"/>
                  </a:lnTo>
                  <a:lnTo>
                    <a:pt x="102" y="2"/>
                  </a:lnTo>
                  <a:lnTo>
                    <a:pt x="103" y="2"/>
                  </a:lnTo>
                  <a:lnTo>
                    <a:pt x="103" y="2"/>
                  </a:lnTo>
                  <a:lnTo>
                    <a:pt x="105" y="0"/>
                  </a:lnTo>
                  <a:close/>
                  <a:moveTo>
                    <a:pt x="119" y="1"/>
                  </a:moveTo>
                  <a:lnTo>
                    <a:pt x="119" y="1"/>
                  </a:lnTo>
                  <a:lnTo>
                    <a:pt x="109" y="0"/>
                  </a:lnTo>
                  <a:lnTo>
                    <a:pt x="109" y="2"/>
                  </a:lnTo>
                  <a:lnTo>
                    <a:pt x="109" y="2"/>
                  </a:lnTo>
                  <a:lnTo>
                    <a:pt x="119" y="4"/>
                  </a:lnTo>
                  <a:lnTo>
                    <a:pt x="119"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91" name="Freeform 1663"/>
            <p:cNvSpPr>
              <a:spLocks noEditPoints="1"/>
            </p:cNvSpPr>
            <p:nvPr/>
          </p:nvSpPr>
          <p:spPr bwMode="auto">
            <a:xfrm>
              <a:off x="6877050" y="4552951"/>
              <a:ext cx="41275" cy="14288"/>
            </a:xfrm>
            <a:custGeom>
              <a:avLst/>
              <a:gdLst>
                <a:gd name="T0" fmla="*/ 4 w 26"/>
                <a:gd name="T1" fmla="*/ 3 h 9"/>
                <a:gd name="T2" fmla="*/ 4 w 26"/>
                <a:gd name="T3" fmla="*/ 3 h 9"/>
                <a:gd name="T4" fmla="*/ 0 w 26"/>
                <a:gd name="T5" fmla="*/ 3 h 9"/>
                <a:gd name="T6" fmla="*/ 0 w 26"/>
                <a:gd name="T7" fmla="*/ 4 h 9"/>
                <a:gd name="T8" fmla="*/ 0 w 26"/>
                <a:gd name="T9" fmla="*/ 4 h 9"/>
                <a:gd name="T10" fmla="*/ 3 w 26"/>
                <a:gd name="T11" fmla="*/ 6 h 9"/>
                <a:gd name="T12" fmla="*/ 4 w 26"/>
                <a:gd name="T13" fmla="*/ 3 h 9"/>
                <a:gd name="T14" fmla="*/ 12 w 26"/>
                <a:gd name="T15" fmla="*/ 6 h 9"/>
                <a:gd name="T16" fmla="*/ 12 w 26"/>
                <a:gd name="T17" fmla="*/ 6 h 9"/>
                <a:gd name="T18" fmla="*/ 6 w 26"/>
                <a:gd name="T19" fmla="*/ 3 h 9"/>
                <a:gd name="T20" fmla="*/ 6 w 26"/>
                <a:gd name="T21" fmla="*/ 6 h 9"/>
                <a:gd name="T22" fmla="*/ 6 w 26"/>
                <a:gd name="T23" fmla="*/ 6 h 9"/>
                <a:gd name="T24" fmla="*/ 10 w 26"/>
                <a:gd name="T25" fmla="*/ 7 h 9"/>
                <a:gd name="T26" fmla="*/ 12 w 26"/>
                <a:gd name="T27" fmla="*/ 6 h 9"/>
                <a:gd name="T28" fmla="*/ 17 w 26"/>
                <a:gd name="T29" fmla="*/ 4 h 9"/>
                <a:gd name="T30" fmla="*/ 17 w 26"/>
                <a:gd name="T31" fmla="*/ 4 h 9"/>
                <a:gd name="T32" fmla="*/ 13 w 26"/>
                <a:gd name="T33" fmla="*/ 6 h 9"/>
                <a:gd name="T34" fmla="*/ 13 w 26"/>
                <a:gd name="T35" fmla="*/ 9 h 9"/>
                <a:gd name="T36" fmla="*/ 13 w 26"/>
                <a:gd name="T37" fmla="*/ 9 h 9"/>
                <a:gd name="T38" fmla="*/ 19 w 26"/>
                <a:gd name="T39" fmla="*/ 6 h 9"/>
                <a:gd name="T40" fmla="*/ 17 w 26"/>
                <a:gd name="T41" fmla="*/ 4 h 9"/>
                <a:gd name="T42" fmla="*/ 25 w 26"/>
                <a:gd name="T43" fmla="*/ 0 h 9"/>
                <a:gd name="T44" fmla="*/ 25 w 26"/>
                <a:gd name="T45" fmla="*/ 0 h 9"/>
                <a:gd name="T46" fmla="*/ 20 w 26"/>
                <a:gd name="T47" fmla="*/ 3 h 9"/>
                <a:gd name="T48" fmla="*/ 20 w 26"/>
                <a:gd name="T49" fmla="*/ 6 h 9"/>
                <a:gd name="T50" fmla="*/ 20 w 26"/>
                <a:gd name="T51" fmla="*/ 6 h 9"/>
                <a:gd name="T52" fmla="*/ 26 w 26"/>
                <a:gd name="T53" fmla="*/ 3 h 9"/>
                <a:gd name="T54" fmla="*/ 25 w 26"/>
                <a:gd name="T5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 h="9">
                  <a:moveTo>
                    <a:pt x="4" y="3"/>
                  </a:moveTo>
                  <a:lnTo>
                    <a:pt x="4" y="3"/>
                  </a:lnTo>
                  <a:lnTo>
                    <a:pt x="0" y="3"/>
                  </a:lnTo>
                  <a:lnTo>
                    <a:pt x="0" y="4"/>
                  </a:lnTo>
                  <a:lnTo>
                    <a:pt x="0" y="4"/>
                  </a:lnTo>
                  <a:lnTo>
                    <a:pt x="3" y="6"/>
                  </a:lnTo>
                  <a:lnTo>
                    <a:pt x="4" y="3"/>
                  </a:lnTo>
                  <a:close/>
                  <a:moveTo>
                    <a:pt x="12" y="6"/>
                  </a:moveTo>
                  <a:lnTo>
                    <a:pt x="12" y="6"/>
                  </a:lnTo>
                  <a:lnTo>
                    <a:pt x="6" y="3"/>
                  </a:lnTo>
                  <a:lnTo>
                    <a:pt x="6" y="6"/>
                  </a:lnTo>
                  <a:lnTo>
                    <a:pt x="6" y="6"/>
                  </a:lnTo>
                  <a:lnTo>
                    <a:pt x="10" y="7"/>
                  </a:lnTo>
                  <a:lnTo>
                    <a:pt x="12" y="6"/>
                  </a:lnTo>
                  <a:close/>
                  <a:moveTo>
                    <a:pt x="17" y="4"/>
                  </a:moveTo>
                  <a:lnTo>
                    <a:pt x="17" y="4"/>
                  </a:lnTo>
                  <a:lnTo>
                    <a:pt x="13" y="6"/>
                  </a:lnTo>
                  <a:lnTo>
                    <a:pt x="13" y="9"/>
                  </a:lnTo>
                  <a:lnTo>
                    <a:pt x="13" y="9"/>
                  </a:lnTo>
                  <a:lnTo>
                    <a:pt x="19" y="6"/>
                  </a:lnTo>
                  <a:lnTo>
                    <a:pt x="17" y="4"/>
                  </a:lnTo>
                  <a:close/>
                  <a:moveTo>
                    <a:pt x="25" y="0"/>
                  </a:moveTo>
                  <a:lnTo>
                    <a:pt x="25" y="0"/>
                  </a:lnTo>
                  <a:lnTo>
                    <a:pt x="20" y="3"/>
                  </a:lnTo>
                  <a:lnTo>
                    <a:pt x="20" y="6"/>
                  </a:lnTo>
                  <a:lnTo>
                    <a:pt x="20" y="6"/>
                  </a:lnTo>
                  <a:lnTo>
                    <a:pt x="26" y="3"/>
                  </a:lnTo>
                  <a:lnTo>
                    <a:pt x="2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92" name="Freeform 1664"/>
            <p:cNvSpPr>
              <a:spLocks noEditPoints="1"/>
            </p:cNvSpPr>
            <p:nvPr/>
          </p:nvSpPr>
          <p:spPr bwMode="auto">
            <a:xfrm>
              <a:off x="5508625" y="3028951"/>
              <a:ext cx="2246313" cy="590550"/>
            </a:xfrm>
            <a:custGeom>
              <a:avLst/>
              <a:gdLst>
                <a:gd name="T0" fmla="*/ 20 w 1415"/>
                <a:gd name="T1" fmla="*/ 191 h 372"/>
                <a:gd name="T2" fmla="*/ 0 w 1415"/>
                <a:gd name="T3" fmla="*/ 165 h 372"/>
                <a:gd name="T4" fmla="*/ 22 w 1415"/>
                <a:gd name="T5" fmla="*/ 124 h 372"/>
                <a:gd name="T6" fmla="*/ 54 w 1415"/>
                <a:gd name="T7" fmla="*/ 107 h 372"/>
                <a:gd name="T8" fmla="*/ 91 w 1415"/>
                <a:gd name="T9" fmla="*/ 82 h 372"/>
                <a:gd name="T10" fmla="*/ 102 w 1415"/>
                <a:gd name="T11" fmla="*/ 79 h 372"/>
                <a:gd name="T12" fmla="*/ 131 w 1415"/>
                <a:gd name="T13" fmla="*/ 105 h 372"/>
                <a:gd name="T14" fmla="*/ 160 w 1415"/>
                <a:gd name="T15" fmla="*/ 94 h 372"/>
                <a:gd name="T16" fmla="*/ 180 w 1415"/>
                <a:gd name="T17" fmla="*/ 105 h 372"/>
                <a:gd name="T18" fmla="*/ 204 w 1415"/>
                <a:gd name="T19" fmla="*/ 102 h 372"/>
                <a:gd name="T20" fmla="*/ 213 w 1415"/>
                <a:gd name="T21" fmla="*/ 85 h 372"/>
                <a:gd name="T22" fmla="*/ 239 w 1415"/>
                <a:gd name="T23" fmla="*/ 52 h 372"/>
                <a:gd name="T24" fmla="*/ 271 w 1415"/>
                <a:gd name="T25" fmla="*/ 23 h 372"/>
                <a:gd name="T26" fmla="*/ 310 w 1415"/>
                <a:gd name="T27" fmla="*/ 14 h 372"/>
                <a:gd name="T28" fmla="*/ 352 w 1415"/>
                <a:gd name="T29" fmla="*/ 0 h 372"/>
                <a:gd name="T30" fmla="*/ 387 w 1415"/>
                <a:gd name="T31" fmla="*/ 14 h 372"/>
                <a:gd name="T32" fmla="*/ 387 w 1415"/>
                <a:gd name="T33" fmla="*/ 26 h 372"/>
                <a:gd name="T34" fmla="*/ 426 w 1415"/>
                <a:gd name="T35" fmla="*/ 36 h 372"/>
                <a:gd name="T36" fmla="*/ 446 w 1415"/>
                <a:gd name="T37" fmla="*/ 60 h 372"/>
                <a:gd name="T38" fmla="*/ 493 w 1415"/>
                <a:gd name="T39" fmla="*/ 52 h 372"/>
                <a:gd name="T40" fmla="*/ 517 w 1415"/>
                <a:gd name="T41" fmla="*/ 91 h 372"/>
                <a:gd name="T42" fmla="*/ 548 w 1415"/>
                <a:gd name="T43" fmla="*/ 108 h 372"/>
                <a:gd name="T44" fmla="*/ 577 w 1415"/>
                <a:gd name="T45" fmla="*/ 126 h 372"/>
                <a:gd name="T46" fmla="*/ 614 w 1415"/>
                <a:gd name="T47" fmla="*/ 133 h 372"/>
                <a:gd name="T48" fmla="*/ 655 w 1415"/>
                <a:gd name="T49" fmla="*/ 153 h 372"/>
                <a:gd name="T50" fmla="*/ 688 w 1415"/>
                <a:gd name="T51" fmla="*/ 139 h 372"/>
                <a:gd name="T52" fmla="*/ 703 w 1415"/>
                <a:gd name="T53" fmla="*/ 118 h 372"/>
                <a:gd name="T54" fmla="*/ 748 w 1415"/>
                <a:gd name="T55" fmla="*/ 110 h 372"/>
                <a:gd name="T56" fmla="*/ 791 w 1415"/>
                <a:gd name="T57" fmla="*/ 126 h 372"/>
                <a:gd name="T58" fmla="*/ 808 w 1415"/>
                <a:gd name="T59" fmla="*/ 140 h 372"/>
                <a:gd name="T60" fmla="*/ 827 w 1415"/>
                <a:gd name="T61" fmla="*/ 121 h 372"/>
                <a:gd name="T62" fmla="*/ 834 w 1415"/>
                <a:gd name="T63" fmla="*/ 100 h 372"/>
                <a:gd name="T64" fmla="*/ 855 w 1415"/>
                <a:gd name="T65" fmla="*/ 89 h 372"/>
                <a:gd name="T66" fmla="*/ 884 w 1415"/>
                <a:gd name="T67" fmla="*/ 100 h 372"/>
                <a:gd name="T68" fmla="*/ 904 w 1415"/>
                <a:gd name="T69" fmla="*/ 128 h 372"/>
                <a:gd name="T70" fmla="*/ 956 w 1415"/>
                <a:gd name="T71" fmla="*/ 124 h 372"/>
                <a:gd name="T72" fmla="*/ 985 w 1415"/>
                <a:gd name="T73" fmla="*/ 143 h 372"/>
                <a:gd name="T74" fmla="*/ 1030 w 1415"/>
                <a:gd name="T75" fmla="*/ 156 h 372"/>
                <a:gd name="T76" fmla="*/ 1084 w 1415"/>
                <a:gd name="T77" fmla="*/ 128 h 372"/>
                <a:gd name="T78" fmla="*/ 1102 w 1415"/>
                <a:gd name="T79" fmla="*/ 139 h 372"/>
                <a:gd name="T80" fmla="*/ 1155 w 1415"/>
                <a:gd name="T81" fmla="*/ 133 h 372"/>
                <a:gd name="T82" fmla="*/ 1165 w 1415"/>
                <a:gd name="T83" fmla="*/ 114 h 372"/>
                <a:gd name="T84" fmla="*/ 1179 w 1415"/>
                <a:gd name="T85" fmla="*/ 88 h 372"/>
                <a:gd name="T86" fmla="*/ 1169 w 1415"/>
                <a:gd name="T87" fmla="*/ 56 h 372"/>
                <a:gd name="T88" fmla="*/ 1197 w 1415"/>
                <a:gd name="T89" fmla="*/ 44 h 372"/>
                <a:gd name="T90" fmla="*/ 1254 w 1415"/>
                <a:gd name="T91" fmla="*/ 43 h 372"/>
                <a:gd name="T92" fmla="*/ 1276 w 1415"/>
                <a:gd name="T93" fmla="*/ 68 h 372"/>
                <a:gd name="T94" fmla="*/ 1292 w 1415"/>
                <a:gd name="T95" fmla="*/ 100 h 372"/>
                <a:gd name="T96" fmla="*/ 1301 w 1415"/>
                <a:gd name="T97" fmla="*/ 128 h 372"/>
                <a:gd name="T98" fmla="*/ 1323 w 1415"/>
                <a:gd name="T99" fmla="*/ 143 h 372"/>
                <a:gd name="T100" fmla="*/ 1353 w 1415"/>
                <a:gd name="T101" fmla="*/ 170 h 372"/>
                <a:gd name="T102" fmla="*/ 1382 w 1415"/>
                <a:gd name="T103" fmla="*/ 182 h 372"/>
                <a:gd name="T104" fmla="*/ 1412 w 1415"/>
                <a:gd name="T105" fmla="*/ 189 h 372"/>
                <a:gd name="T106" fmla="*/ 1401 w 1415"/>
                <a:gd name="T107" fmla="*/ 234 h 372"/>
                <a:gd name="T108" fmla="*/ 1388 w 1415"/>
                <a:gd name="T109" fmla="*/ 249 h 372"/>
                <a:gd name="T110" fmla="*/ 1359 w 1415"/>
                <a:gd name="T111" fmla="*/ 262 h 372"/>
                <a:gd name="T112" fmla="*/ 1360 w 1415"/>
                <a:gd name="T113" fmla="*/ 279 h 372"/>
                <a:gd name="T114" fmla="*/ 1338 w 1415"/>
                <a:gd name="T115" fmla="*/ 304 h 372"/>
                <a:gd name="T116" fmla="*/ 1311 w 1415"/>
                <a:gd name="T117" fmla="*/ 320 h 372"/>
                <a:gd name="T118" fmla="*/ 1308 w 1415"/>
                <a:gd name="T119" fmla="*/ 327 h 372"/>
                <a:gd name="T120" fmla="*/ 1283 w 1415"/>
                <a:gd name="T121" fmla="*/ 336 h 372"/>
                <a:gd name="T122" fmla="*/ 1244 w 1415"/>
                <a:gd name="T123" fmla="*/ 37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15" h="372">
                  <a:moveTo>
                    <a:pt x="28" y="214"/>
                  </a:moveTo>
                  <a:lnTo>
                    <a:pt x="28" y="214"/>
                  </a:lnTo>
                  <a:lnTo>
                    <a:pt x="34" y="221"/>
                  </a:lnTo>
                  <a:lnTo>
                    <a:pt x="35" y="220"/>
                  </a:lnTo>
                  <a:lnTo>
                    <a:pt x="35" y="220"/>
                  </a:lnTo>
                  <a:lnTo>
                    <a:pt x="31" y="212"/>
                  </a:lnTo>
                  <a:lnTo>
                    <a:pt x="28" y="214"/>
                  </a:lnTo>
                  <a:close/>
                  <a:moveTo>
                    <a:pt x="29" y="199"/>
                  </a:moveTo>
                  <a:lnTo>
                    <a:pt x="29" y="199"/>
                  </a:lnTo>
                  <a:lnTo>
                    <a:pt x="28" y="208"/>
                  </a:lnTo>
                  <a:lnTo>
                    <a:pt x="29" y="210"/>
                  </a:lnTo>
                  <a:lnTo>
                    <a:pt x="29" y="210"/>
                  </a:lnTo>
                  <a:lnTo>
                    <a:pt x="32" y="199"/>
                  </a:lnTo>
                  <a:lnTo>
                    <a:pt x="29" y="199"/>
                  </a:lnTo>
                  <a:close/>
                  <a:moveTo>
                    <a:pt x="20" y="192"/>
                  </a:moveTo>
                  <a:lnTo>
                    <a:pt x="20" y="192"/>
                  </a:lnTo>
                  <a:lnTo>
                    <a:pt x="26" y="194"/>
                  </a:lnTo>
                  <a:lnTo>
                    <a:pt x="26" y="194"/>
                  </a:lnTo>
                  <a:lnTo>
                    <a:pt x="29" y="195"/>
                  </a:lnTo>
                  <a:lnTo>
                    <a:pt x="31" y="194"/>
                  </a:lnTo>
                  <a:lnTo>
                    <a:pt x="31" y="194"/>
                  </a:lnTo>
                  <a:lnTo>
                    <a:pt x="29" y="192"/>
                  </a:lnTo>
                  <a:lnTo>
                    <a:pt x="28" y="191"/>
                  </a:lnTo>
                  <a:lnTo>
                    <a:pt x="28" y="191"/>
                  </a:lnTo>
                  <a:lnTo>
                    <a:pt x="20" y="191"/>
                  </a:lnTo>
                  <a:lnTo>
                    <a:pt x="20" y="192"/>
                  </a:lnTo>
                  <a:close/>
                  <a:moveTo>
                    <a:pt x="7" y="184"/>
                  </a:moveTo>
                  <a:lnTo>
                    <a:pt x="7" y="184"/>
                  </a:lnTo>
                  <a:lnTo>
                    <a:pt x="10" y="188"/>
                  </a:lnTo>
                  <a:lnTo>
                    <a:pt x="15" y="191"/>
                  </a:lnTo>
                  <a:lnTo>
                    <a:pt x="16" y="188"/>
                  </a:lnTo>
                  <a:lnTo>
                    <a:pt x="16" y="188"/>
                  </a:lnTo>
                  <a:lnTo>
                    <a:pt x="13" y="185"/>
                  </a:lnTo>
                  <a:lnTo>
                    <a:pt x="10" y="182"/>
                  </a:lnTo>
                  <a:lnTo>
                    <a:pt x="7" y="184"/>
                  </a:lnTo>
                  <a:close/>
                  <a:moveTo>
                    <a:pt x="0" y="169"/>
                  </a:moveTo>
                  <a:lnTo>
                    <a:pt x="0" y="169"/>
                  </a:lnTo>
                  <a:lnTo>
                    <a:pt x="0" y="173"/>
                  </a:lnTo>
                  <a:lnTo>
                    <a:pt x="3" y="176"/>
                  </a:lnTo>
                  <a:lnTo>
                    <a:pt x="3" y="176"/>
                  </a:lnTo>
                  <a:lnTo>
                    <a:pt x="5" y="179"/>
                  </a:lnTo>
                  <a:lnTo>
                    <a:pt x="7" y="178"/>
                  </a:lnTo>
                  <a:lnTo>
                    <a:pt x="7" y="178"/>
                  </a:lnTo>
                  <a:lnTo>
                    <a:pt x="5" y="173"/>
                  </a:lnTo>
                  <a:lnTo>
                    <a:pt x="5" y="173"/>
                  </a:lnTo>
                  <a:lnTo>
                    <a:pt x="3" y="169"/>
                  </a:lnTo>
                  <a:lnTo>
                    <a:pt x="0" y="169"/>
                  </a:lnTo>
                  <a:close/>
                  <a:moveTo>
                    <a:pt x="2" y="155"/>
                  </a:moveTo>
                  <a:lnTo>
                    <a:pt x="2" y="155"/>
                  </a:lnTo>
                  <a:lnTo>
                    <a:pt x="0" y="165"/>
                  </a:lnTo>
                  <a:lnTo>
                    <a:pt x="2" y="165"/>
                  </a:lnTo>
                  <a:lnTo>
                    <a:pt x="2" y="165"/>
                  </a:lnTo>
                  <a:lnTo>
                    <a:pt x="5" y="155"/>
                  </a:lnTo>
                  <a:lnTo>
                    <a:pt x="2" y="155"/>
                  </a:lnTo>
                  <a:close/>
                  <a:moveTo>
                    <a:pt x="9" y="140"/>
                  </a:moveTo>
                  <a:lnTo>
                    <a:pt x="9" y="140"/>
                  </a:lnTo>
                  <a:lnTo>
                    <a:pt x="3" y="149"/>
                  </a:lnTo>
                  <a:lnTo>
                    <a:pt x="3" y="149"/>
                  </a:lnTo>
                  <a:lnTo>
                    <a:pt x="6" y="150"/>
                  </a:lnTo>
                  <a:lnTo>
                    <a:pt x="6" y="149"/>
                  </a:lnTo>
                  <a:lnTo>
                    <a:pt x="6" y="149"/>
                  </a:lnTo>
                  <a:lnTo>
                    <a:pt x="10" y="142"/>
                  </a:lnTo>
                  <a:lnTo>
                    <a:pt x="9" y="140"/>
                  </a:lnTo>
                  <a:close/>
                  <a:moveTo>
                    <a:pt x="18" y="127"/>
                  </a:moveTo>
                  <a:lnTo>
                    <a:pt x="18" y="127"/>
                  </a:lnTo>
                  <a:lnTo>
                    <a:pt x="12" y="136"/>
                  </a:lnTo>
                  <a:lnTo>
                    <a:pt x="13" y="137"/>
                  </a:lnTo>
                  <a:lnTo>
                    <a:pt x="13" y="137"/>
                  </a:lnTo>
                  <a:lnTo>
                    <a:pt x="19" y="128"/>
                  </a:lnTo>
                  <a:lnTo>
                    <a:pt x="18" y="127"/>
                  </a:lnTo>
                  <a:close/>
                  <a:moveTo>
                    <a:pt x="20" y="114"/>
                  </a:moveTo>
                  <a:lnTo>
                    <a:pt x="20" y="114"/>
                  </a:lnTo>
                  <a:lnTo>
                    <a:pt x="19" y="124"/>
                  </a:lnTo>
                  <a:lnTo>
                    <a:pt x="22" y="124"/>
                  </a:lnTo>
                  <a:lnTo>
                    <a:pt x="22" y="124"/>
                  </a:lnTo>
                  <a:lnTo>
                    <a:pt x="23" y="114"/>
                  </a:lnTo>
                  <a:lnTo>
                    <a:pt x="20" y="114"/>
                  </a:lnTo>
                  <a:close/>
                  <a:moveTo>
                    <a:pt x="34" y="105"/>
                  </a:moveTo>
                  <a:lnTo>
                    <a:pt x="34" y="105"/>
                  </a:lnTo>
                  <a:lnTo>
                    <a:pt x="28" y="105"/>
                  </a:lnTo>
                  <a:lnTo>
                    <a:pt x="23" y="108"/>
                  </a:lnTo>
                  <a:lnTo>
                    <a:pt x="23" y="108"/>
                  </a:lnTo>
                  <a:lnTo>
                    <a:pt x="25" y="110"/>
                  </a:lnTo>
                  <a:lnTo>
                    <a:pt x="26" y="110"/>
                  </a:lnTo>
                  <a:lnTo>
                    <a:pt x="26" y="110"/>
                  </a:lnTo>
                  <a:lnTo>
                    <a:pt x="29" y="108"/>
                  </a:lnTo>
                  <a:lnTo>
                    <a:pt x="34" y="108"/>
                  </a:lnTo>
                  <a:lnTo>
                    <a:pt x="34" y="105"/>
                  </a:lnTo>
                  <a:close/>
                  <a:moveTo>
                    <a:pt x="49" y="105"/>
                  </a:moveTo>
                  <a:lnTo>
                    <a:pt x="49" y="105"/>
                  </a:lnTo>
                  <a:lnTo>
                    <a:pt x="39" y="105"/>
                  </a:lnTo>
                  <a:lnTo>
                    <a:pt x="39" y="107"/>
                  </a:lnTo>
                  <a:lnTo>
                    <a:pt x="39" y="107"/>
                  </a:lnTo>
                  <a:lnTo>
                    <a:pt x="49" y="107"/>
                  </a:lnTo>
                  <a:lnTo>
                    <a:pt x="49" y="105"/>
                  </a:lnTo>
                  <a:close/>
                  <a:moveTo>
                    <a:pt x="60" y="98"/>
                  </a:moveTo>
                  <a:lnTo>
                    <a:pt x="60" y="98"/>
                  </a:lnTo>
                  <a:lnTo>
                    <a:pt x="57" y="102"/>
                  </a:lnTo>
                  <a:lnTo>
                    <a:pt x="54" y="104"/>
                  </a:lnTo>
                  <a:lnTo>
                    <a:pt x="54" y="107"/>
                  </a:lnTo>
                  <a:lnTo>
                    <a:pt x="54" y="107"/>
                  </a:lnTo>
                  <a:lnTo>
                    <a:pt x="57" y="105"/>
                  </a:lnTo>
                  <a:lnTo>
                    <a:pt x="58" y="104"/>
                  </a:lnTo>
                  <a:lnTo>
                    <a:pt x="62" y="100"/>
                  </a:lnTo>
                  <a:lnTo>
                    <a:pt x="60" y="98"/>
                  </a:lnTo>
                  <a:close/>
                  <a:moveTo>
                    <a:pt x="65" y="84"/>
                  </a:moveTo>
                  <a:lnTo>
                    <a:pt x="65" y="84"/>
                  </a:lnTo>
                  <a:lnTo>
                    <a:pt x="61" y="94"/>
                  </a:lnTo>
                  <a:lnTo>
                    <a:pt x="64" y="94"/>
                  </a:lnTo>
                  <a:lnTo>
                    <a:pt x="64" y="94"/>
                  </a:lnTo>
                  <a:lnTo>
                    <a:pt x="67" y="85"/>
                  </a:lnTo>
                  <a:lnTo>
                    <a:pt x="65" y="84"/>
                  </a:lnTo>
                  <a:close/>
                  <a:moveTo>
                    <a:pt x="81" y="82"/>
                  </a:moveTo>
                  <a:lnTo>
                    <a:pt x="81" y="82"/>
                  </a:lnTo>
                  <a:lnTo>
                    <a:pt x="73" y="81"/>
                  </a:lnTo>
                  <a:lnTo>
                    <a:pt x="73" y="81"/>
                  </a:lnTo>
                  <a:lnTo>
                    <a:pt x="71" y="81"/>
                  </a:lnTo>
                  <a:lnTo>
                    <a:pt x="71" y="84"/>
                  </a:lnTo>
                  <a:lnTo>
                    <a:pt x="73" y="84"/>
                  </a:lnTo>
                  <a:lnTo>
                    <a:pt x="73" y="84"/>
                  </a:lnTo>
                  <a:lnTo>
                    <a:pt x="81" y="84"/>
                  </a:lnTo>
                  <a:lnTo>
                    <a:pt x="81" y="82"/>
                  </a:lnTo>
                  <a:close/>
                  <a:moveTo>
                    <a:pt x="94" y="81"/>
                  </a:moveTo>
                  <a:lnTo>
                    <a:pt x="94" y="81"/>
                  </a:lnTo>
                  <a:lnTo>
                    <a:pt x="91" y="82"/>
                  </a:lnTo>
                  <a:lnTo>
                    <a:pt x="89" y="82"/>
                  </a:lnTo>
                  <a:lnTo>
                    <a:pt x="89" y="82"/>
                  </a:lnTo>
                  <a:lnTo>
                    <a:pt x="89" y="82"/>
                  </a:lnTo>
                  <a:lnTo>
                    <a:pt x="86" y="82"/>
                  </a:lnTo>
                  <a:lnTo>
                    <a:pt x="86" y="85"/>
                  </a:lnTo>
                  <a:lnTo>
                    <a:pt x="86" y="85"/>
                  </a:lnTo>
                  <a:lnTo>
                    <a:pt x="89" y="85"/>
                  </a:lnTo>
                  <a:lnTo>
                    <a:pt x="89" y="85"/>
                  </a:lnTo>
                  <a:lnTo>
                    <a:pt x="89" y="85"/>
                  </a:lnTo>
                  <a:lnTo>
                    <a:pt x="93" y="84"/>
                  </a:lnTo>
                  <a:lnTo>
                    <a:pt x="96" y="82"/>
                  </a:lnTo>
                  <a:lnTo>
                    <a:pt x="94" y="81"/>
                  </a:lnTo>
                  <a:close/>
                  <a:moveTo>
                    <a:pt x="107" y="84"/>
                  </a:moveTo>
                  <a:lnTo>
                    <a:pt x="107" y="84"/>
                  </a:lnTo>
                  <a:lnTo>
                    <a:pt x="104" y="79"/>
                  </a:lnTo>
                  <a:lnTo>
                    <a:pt x="104" y="79"/>
                  </a:lnTo>
                  <a:lnTo>
                    <a:pt x="103" y="78"/>
                  </a:lnTo>
                  <a:lnTo>
                    <a:pt x="103" y="78"/>
                  </a:lnTo>
                  <a:lnTo>
                    <a:pt x="102" y="76"/>
                  </a:lnTo>
                  <a:lnTo>
                    <a:pt x="102" y="76"/>
                  </a:lnTo>
                  <a:lnTo>
                    <a:pt x="99" y="78"/>
                  </a:lnTo>
                  <a:lnTo>
                    <a:pt x="100" y="79"/>
                  </a:lnTo>
                  <a:lnTo>
                    <a:pt x="102" y="79"/>
                  </a:lnTo>
                  <a:lnTo>
                    <a:pt x="102" y="79"/>
                  </a:lnTo>
                  <a:lnTo>
                    <a:pt x="102" y="79"/>
                  </a:lnTo>
                  <a:lnTo>
                    <a:pt x="103" y="81"/>
                  </a:lnTo>
                  <a:lnTo>
                    <a:pt x="103" y="81"/>
                  </a:lnTo>
                  <a:lnTo>
                    <a:pt x="106" y="85"/>
                  </a:lnTo>
                  <a:lnTo>
                    <a:pt x="107" y="84"/>
                  </a:lnTo>
                  <a:close/>
                  <a:moveTo>
                    <a:pt x="116" y="97"/>
                  </a:moveTo>
                  <a:lnTo>
                    <a:pt x="116" y="97"/>
                  </a:lnTo>
                  <a:lnTo>
                    <a:pt x="110" y="88"/>
                  </a:lnTo>
                  <a:lnTo>
                    <a:pt x="109" y="89"/>
                  </a:lnTo>
                  <a:lnTo>
                    <a:pt x="109" y="89"/>
                  </a:lnTo>
                  <a:lnTo>
                    <a:pt x="115" y="98"/>
                  </a:lnTo>
                  <a:lnTo>
                    <a:pt x="116" y="97"/>
                  </a:lnTo>
                  <a:close/>
                  <a:moveTo>
                    <a:pt x="128" y="105"/>
                  </a:moveTo>
                  <a:lnTo>
                    <a:pt x="128" y="105"/>
                  </a:lnTo>
                  <a:lnTo>
                    <a:pt x="123" y="104"/>
                  </a:lnTo>
                  <a:lnTo>
                    <a:pt x="119" y="100"/>
                  </a:lnTo>
                  <a:lnTo>
                    <a:pt x="118" y="102"/>
                  </a:lnTo>
                  <a:lnTo>
                    <a:pt x="118" y="102"/>
                  </a:lnTo>
                  <a:lnTo>
                    <a:pt x="122" y="105"/>
                  </a:lnTo>
                  <a:lnTo>
                    <a:pt x="126" y="108"/>
                  </a:lnTo>
                  <a:lnTo>
                    <a:pt x="128" y="105"/>
                  </a:lnTo>
                  <a:close/>
                  <a:moveTo>
                    <a:pt x="136" y="100"/>
                  </a:moveTo>
                  <a:lnTo>
                    <a:pt x="136" y="100"/>
                  </a:lnTo>
                  <a:lnTo>
                    <a:pt x="135" y="102"/>
                  </a:lnTo>
                  <a:lnTo>
                    <a:pt x="135" y="102"/>
                  </a:lnTo>
                  <a:lnTo>
                    <a:pt x="131" y="105"/>
                  </a:lnTo>
                  <a:lnTo>
                    <a:pt x="132" y="108"/>
                  </a:lnTo>
                  <a:lnTo>
                    <a:pt x="132" y="108"/>
                  </a:lnTo>
                  <a:lnTo>
                    <a:pt x="135" y="107"/>
                  </a:lnTo>
                  <a:lnTo>
                    <a:pt x="136" y="104"/>
                  </a:lnTo>
                  <a:lnTo>
                    <a:pt x="136" y="104"/>
                  </a:lnTo>
                  <a:lnTo>
                    <a:pt x="139" y="100"/>
                  </a:lnTo>
                  <a:lnTo>
                    <a:pt x="136" y="100"/>
                  </a:lnTo>
                  <a:close/>
                  <a:moveTo>
                    <a:pt x="145" y="86"/>
                  </a:moveTo>
                  <a:lnTo>
                    <a:pt x="144" y="86"/>
                  </a:lnTo>
                  <a:lnTo>
                    <a:pt x="144" y="86"/>
                  </a:lnTo>
                  <a:lnTo>
                    <a:pt x="141" y="88"/>
                  </a:lnTo>
                  <a:lnTo>
                    <a:pt x="139" y="89"/>
                  </a:lnTo>
                  <a:lnTo>
                    <a:pt x="139" y="89"/>
                  </a:lnTo>
                  <a:lnTo>
                    <a:pt x="138" y="91"/>
                  </a:lnTo>
                  <a:lnTo>
                    <a:pt x="136" y="94"/>
                  </a:lnTo>
                  <a:lnTo>
                    <a:pt x="136" y="94"/>
                  </a:lnTo>
                  <a:lnTo>
                    <a:pt x="139" y="94"/>
                  </a:lnTo>
                  <a:lnTo>
                    <a:pt x="139" y="94"/>
                  </a:lnTo>
                  <a:lnTo>
                    <a:pt x="139" y="94"/>
                  </a:lnTo>
                  <a:lnTo>
                    <a:pt x="141" y="91"/>
                  </a:lnTo>
                  <a:lnTo>
                    <a:pt x="141" y="91"/>
                  </a:lnTo>
                  <a:lnTo>
                    <a:pt x="144" y="89"/>
                  </a:lnTo>
                  <a:lnTo>
                    <a:pt x="145" y="89"/>
                  </a:lnTo>
                  <a:lnTo>
                    <a:pt x="145" y="86"/>
                  </a:lnTo>
                  <a:close/>
                  <a:moveTo>
                    <a:pt x="160" y="94"/>
                  </a:moveTo>
                  <a:lnTo>
                    <a:pt x="160" y="94"/>
                  </a:lnTo>
                  <a:lnTo>
                    <a:pt x="151" y="89"/>
                  </a:lnTo>
                  <a:lnTo>
                    <a:pt x="149" y="88"/>
                  </a:lnTo>
                  <a:lnTo>
                    <a:pt x="149" y="91"/>
                  </a:lnTo>
                  <a:lnTo>
                    <a:pt x="149" y="91"/>
                  </a:lnTo>
                  <a:lnTo>
                    <a:pt x="149" y="91"/>
                  </a:lnTo>
                  <a:lnTo>
                    <a:pt x="158" y="95"/>
                  </a:lnTo>
                  <a:lnTo>
                    <a:pt x="160" y="94"/>
                  </a:lnTo>
                  <a:close/>
                  <a:moveTo>
                    <a:pt x="173" y="100"/>
                  </a:moveTo>
                  <a:lnTo>
                    <a:pt x="173" y="100"/>
                  </a:lnTo>
                  <a:lnTo>
                    <a:pt x="164" y="95"/>
                  </a:lnTo>
                  <a:lnTo>
                    <a:pt x="162" y="98"/>
                  </a:lnTo>
                  <a:lnTo>
                    <a:pt x="162" y="98"/>
                  </a:lnTo>
                  <a:lnTo>
                    <a:pt x="171" y="102"/>
                  </a:lnTo>
                  <a:lnTo>
                    <a:pt x="173" y="100"/>
                  </a:lnTo>
                  <a:close/>
                  <a:moveTo>
                    <a:pt x="186" y="101"/>
                  </a:moveTo>
                  <a:lnTo>
                    <a:pt x="186" y="101"/>
                  </a:lnTo>
                  <a:lnTo>
                    <a:pt x="181" y="104"/>
                  </a:lnTo>
                  <a:lnTo>
                    <a:pt x="180" y="102"/>
                  </a:lnTo>
                  <a:lnTo>
                    <a:pt x="180" y="102"/>
                  </a:lnTo>
                  <a:lnTo>
                    <a:pt x="177" y="102"/>
                  </a:lnTo>
                  <a:lnTo>
                    <a:pt x="175" y="104"/>
                  </a:lnTo>
                  <a:lnTo>
                    <a:pt x="175" y="104"/>
                  </a:lnTo>
                  <a:lnTo>
                    <a:pt x="180" y="105"/>
                  </a:lnTo>
                  <a:lnTo>
                    <a:pt x="180" y="105"/>
                  </a:lnTo>
                  <a:lnTo>
                    <a:pt x="181" y="105"/>
                  </a:lnTo>
                  <a:lnTo>
                    <a:pt x="181" y="105"/>
                  </a:lnTo>
                  <a:lnTo>
                    <a:pt x="184" y="105"/>
                  </a:lnTo>
                  <a:lnTo>
                    <a:pt x="187" y="104"/>
                  </a:lnTo>
                  <a:lnTo>
                    <a:pt x="186" y="101"/>
                  </a:lnTo>
                  <a:close/>
                  <a:moveTo>
                    <a:pt x="200" y="100"/>
                  </a:moveTo>
                  <a:lnTo>
                    <a:pt x="200" y="100"/>
                  </a:lnTo>
                  <a:lnTo>
                    <a:pt x="193" y="98"/>
                  </a:lnTo>
                  <a:lnTo>
                    <a:pt x="193" y="98"/>
                  </a:lnTo>
                  <a:lnTo>
                    <a:pt x="193" y="98"/>
                  </a:lnTo>
                  <a:lnTo>
                    <a:pt x="190" y="100"/>
                  </a:lnTo>
                  <a:lnTo>
                    <a:pt x="191" y="101"/>
                  </a:lnTo>
                  <a:lnTo>
                    <a:pt x="191" y="101"/>
                  </a:lnTo>
                  <a:lnTo>
                    <a:pt x="193" y="100"/>
                  </a:lnTo>
                  <a:lnTo>
                    <a:pt x="193" y="100"/>
                  </a:lnTo>
                  <a:lnTo>
                    <a:pt x="193" y="100"/>
                  </a:lnTo>
                  <a:lnTo>
                    <a:pt x="200" y="101"/>
                  </a:lnTo>
                  <a:lnTo>
                    <a:pt x="200" y="100"/>
                  </a:lnTo>
                  <a:close/>
                  <a:moveTo>
                    <a:pt x="215" y="101"/>
                  </a:moveTo>
                  <a:lnTo>
                    <a:pt x="215" y="101"/>
                  </a:lnTo>
                  <a:lnTo>
                    <a:pt x="213" y="101"/>
                  </a:lnTo>
                  <a:lnTo>
                    <a:pt x="213" y="101"/>
                  </a:lnTo>
                  <a:lnTo>
                    <a:pt x="206" y="100"/>
                  </a:lnTo>
                  <a:lnTo>
                    <a:pt x="204" y="102"/>
                  </a:lnTo>
                  <a:lnTo>
                    <a:pt x="204" y="102"/>
                  </a:lnTo>
                  <a:lnTo>
                    <a:pt x="213" y="104"/>
                  </a:lnTo>
                  <a:lnTo>
                    <a:pt x="213" y="104"/>
                  </a:lnTo>
                  <a:lnTo>
                    <a:pt x="215" y="104"/>
                  </a:lnTo>
                  <a:lnTo>
                    <a:pt x="216" y="104"/>
                  </a:lnTo>
                  <a:lnTo>
                    <a:pt x="215" y="101"/>
                  </a:lnTo>
                  <a:close/>
                  <a:moveTo>
                    <a:pt x="212" y="91"/>
                  </a:moveTo>
                  <a:lnTo>
                    <a:pt x="213" y="91"/>
                  </a:lnTo>
                  <a:lnTo>
                    <a:pt x="213" y="91"/>
                  </a:lnTo>
                  <a:lnTo>
                    <a:pt x="215" y="94"/>
                  </a:lnTo>
                  <a:lnTo>
                    <a:pt x="216" y="98"/>
                  </a:lnTo>
                  <a:lnTo>
                    <a:pt x="216" y="98"/>
                  </a:lnTo>
                  <a:lnTo>
                    <a:pt x="219" y="98"/>
                  </a:lnTo>
                  <a:lnTo>
                    <a:pt x="219" y="98"/>
                  </a:lnTo>
                  <a:lnTo>
                    <a:pt x="219" y="98"/>
                  </a:lnTo>
                  <a:lnTo>
                    <a:pt x="217" y="94"/>
                  </a:lnTo>
                  <a:lnTo>
                    <a:pt x="215" y="89"/>
                  </a:lnTo>
                  <a:lnTo>
                    <a:pt x="213" y="88"/>
                  </a:lnTo>
                  <a:lnTo>
                    <a:pt x="212" y="91"/>
                  </a:lnTo>
                  <a:close/>
                  <a:moveTo>
                    <a:pt x="217" y="76"/>
                  </a:moveTo>
                  <a:lnTo>
                    <a:pt x="217" y="76"/>
                  </a:lnTo>
                  <a:lnTo>
                    <a:pt x="217" y="76"/>
                  </a:lnTo>
                  <a:lnTo>
                    <a:pt x="213" y="81"/>
                  </a:lnTo>
                  <a:lnTo>
                    <a:pt x="210" y="85"/>
                  </a:lnTo>
                  <a:lnTo>
                    <a:pt x="213" y="85"/>
                  </a:lnTo>
                  <a:lnTo>
                    <a:pt x="213" y="85"/>
                  </a:lnTo>
                  <a:lnTo>
                    <a:pt x="215" y="82"/>
                  </a:lnTo>
                  <a:lnTo>
                    <a:pt x="219" y="79"/>
                  </a:lnTo>
                  <a:lnTo>
                    <a:pt x="219" y="79"/>
                  </a:lnTo>
                  <a:lnTo>
                    <a:pt x="217" y="76"/>
                  </a:lnTo>
                  <a:close/>
                  <a:moveTo>
                    <a:pt x="229" y="68"/>
                  </a:moveTo>
                  <a:lnTo>
                    <a:pt x="229" y="68"/>
                  </a:lnTo>
                  <a:lnTo>
                    <a:pt x="222" y="75"/>
                  </a:lnTo>
                  <a:lnTo>
                    <a:pt x="223" y="76"/>
                  </a:lnTo>
                  <a:lnTo>
                    <a:pt x="223" y="76"/>
                  </a:lnTo>
                  <a:lnTo>
                    <a:pt x="232" y="71"/>
                  </a:lnTo>
                  <a:lnTo>
                    <a:pt x="229" y="68"/>
                  </a:lnTo>
                  <a:close/>
                  <a:moveTo>
                    <a:pt x="238" y="56"/>
                  </a:moveTo>
                  <a:lnTo>
                    <a:pt x="238" y="56"/>
                  </a:lnTo>
                  <a:lnTo>
                    <a:pt x="236" y="60"/>
                  </a:lnTo>
                  <a:lnTo>
                    <a:pt x="236" y="60"/>
                  </a:lnTo>
                  <a:lnTo>
                    <a:pt x="233" y="65"/>
                  </a:lnTo>
                  <a:lnTo>
                    <a:pt x="235" y="66"/>
                  </a:lnTo>
                  <a:lnTo>
                    <a:pt x="235" y="66"/>
                  </a:lnTo>
                  <a:lnTo>
                    <a:pt x="238" y="62"/>
                  </a:lnTo>
                  <a:lnTo>
                    <a:pt x="238" y="62"/>
                  </a:lnTo>
                  <a:lnTo>
                    <a:pt x="241" y="57"/>
                  </a:lnTo>
                  <a:lnTo>
                    <a:pt x="238" y="56"/>
                  </a:lnTo>
                  <a:close/>
                  <a:moveTo>
                    <a:pt x="244" y="42"/>
                  </a:moveTo>
                  <a:lnTo>
                    <a:pt x="244" y="42"/>
                  </a:lnTo>
                  <a:lnTo>
                    <a:pt x="239" y="52"/>
                  </a:lnTo>
                  <a:lnTo>
                    <a:pt x="242" y="52"/>
                  </a:lnTo>
                  <a:lnTo>
                    <a:pt x="242" y="52"/>
                  </a:lnTo>
                  <a:lnTo>
                    <a:pt x="245" y="43"/>
                  </a:lnTo>
                  <a:lnTo>
                    <a:pt x="244" y="42"/>
                  </a:lnTo>
                  <a:close/>
                  <a:moveTo>
                    <a:pt x="252" y="29"/>
                  </a:moveTo>
                  <a:lnTo>
                    <a:pt x="252" y="29"/>
                  </a:lnTo>
                  <a:lnTo>
                    <a:pt x="248" y="33"/>
                  </a:lnTo>
                  <a:lnTo>
                    <a:pt x="248" y="33"/>
                  </a:lnTo>
                  <a:lnTo>
                    <a:pt x="245" y="37"/>
                  </a:lnTo>
                  <a:lnTo>
                    <a:pt x="246" y="39"/>
                  </a:lnTo>
                  <a:lnTo>
                    <a:pt x="246" y="39"/>
                  </a:lnTo>
                  <a:lnTo>
                    <a:pt x="249" y="34"/>
                  </a:lnTo>
                  <a:lnTo>
                    <a:pt x="249" y="34"/>
                  </a:lnTo>
                  <a:lnTo>
                    <a:pt x="254" y="31"/>
                  </a:lnTo>
                  <a:lnTo>
                    <a:pt x="252" y="29"/>
                  </a:lnTo>
                  <a:close/>
                  <a:moveTo>
                    <a:pt x="267" y="23"/>
                  </a:moveTo>
                  <a:lnTo>
                    <a:pt x="267" y="23"/>
                  </a:lnTo>
                  <a:lnTo>
                    <a:pt x="257" y="27"/>
                  </a:lnTo>
                  <a:lnTo>
                    <a:pt x="258" y="29"/>
                  </a:lnTo>
                  <a:lnTo>
                    <a:pt x="258" y="29"/>
                  </a:lnTo>
                  <a:lnTo>
                    <a:pt x="267" y="26"/>
                  </a:lnTo>
                  <a:lnTo>
                    <a:pt x="267" y="23"/>
                  </a:lnTo>
                  <a:close/>
                  <a:moveTo>
                    <a:pt x="281" y="20"/>
                  </a:moveTo>
                  <a:lnTo>
                    <a:pt x="281" y="20"/>
                  </a:lnTo>
                  <a:lnTo>
                    <a:pt x="271" y="23"/>
                  </a:lnTo>
                  <a:lnTo>
                    <a:pt x="272" y="24"/>
                  </a:lnTo>
                  <a:lnTo>
                    <a:pt x="272" y="24"/>
                  </a:lnTo>
                  <a:lnTo>
                    <a:pt x="283" y="23"/>
                  </a:lnTo>
                  <a:lnTo>
                    <a:pt x="281" y="20"/>
                  </a:lnTo>
                  <a:close/>
                  <a:moveTo>
                    <a:pt x="294" y="14"/>
                  </a:moveTo>
                  <a:lnTo>
                    <a:pt x="294" y="14"/>
                  </a:lnTo>
                  <a:lnTo>
                    <a:pt x="291" y="15"/>
                  </a:lnTo>
                  <a:lnTo>
                    <a:pt x="291" y="15"/>
                  </a:lnTo>
                  <a:lnTo>
                    <a:pt x="288" y="17"/>
                  </a:lnTo>
                  <a:lnTo>
                    <a:pt x="288" y="17"/>
                  </a:lnTo>
                  <a:lnTo>
                    <a:pt x="287" y="18"/>
                  </a:lnTo>
                  <a:lnTo>
                    <a:pt x="287" y="18"/>
                  </a:lnTo>
                  <a:lnTo>
                    <a:pt x="287" y="20"/>
                  </a:lnTo>
                  <a:lnTo>
                    <a:pt x="287" y="21"/>
                  </a:lnTo>
                  <a:lnTo>
                    <a:pt x="287" y="21"/>
                  </a:lnTo>
                  <a:lnTo>
                    <a:pt x="288" y="20"/>
                  </a:lnTo>
                  <a:lnTo>
                    <a:pt x="288" y="20"/>
                  </a:lnTo>
                  <a:lnTo>
                    <a:pt x="290" y="18"/>
                  </a:lnTo>
                  <a:lnTo>
                    <a:pt x="290" y="18"/>
                  </a:lnTo>
                  <a:lnTo>
                    <a:pt x="291" y="17"/>
                  </a:lnTo>
                  <a:lnTo>
                    <a:pt x="291" y="17"/>
                  </a:lnTo>
                  <a:lnTo>
                    <a:pt x="294" y="17"/>
                  </a:lnTo>
                  <a:lnTo>
                    <a:pt x="294" y="14"/>
                  </a:lnTo>
                  <a:close/>
                  <a:moveTo>
                    <a:pt x="310" y="14"/>
                  </a:moveTo>
                  <a:lnTo>
                    <a:pt x="310" y="14"/>
                  </a:lnTo>
                  <a:lnTo>
                    <a:pt x="306" y="14"/>
                  </a:lnTo>
                  <a:lnTo>
                    <a:pt x="306" y="14"/>
                  </a:lnTo>
                  <a:lnTo>
                    <a:pt x="300" y="14"/>
                  </a:lnTo>
                  <a:lnTo>
                    <a:pt x="300" y="17"/>
                  </a:lnTo>
                  <a:lnTo>
                    <a:pt x="300" y="17"/>
                  </a:lnTo>
                  <a:lnTo>
                    <a:pt x="306" y="17"/>
                  </a:lnTo>
                  <a:lnTo>
                    <a:pt x="306" y="17"/>
                  </a:lnTo>
                  <a:lnTo>
                    <a:pt x="310" y="17"/>
                  </a:lnTo>
                  <a:lnTo>
                    <a:pt x="310" y="14"/>
                  </a:lnTo>
                  <a:close/>
                  <a:moveTo>
                    <a:pt x="325" y="10"/>
                  </a:moveTo>
                  <a:lnTo>
                    <a:pt x="325" y="10"/>
                  </a:lnTo>
                  <a:lnTo>
                    <a:pt x="314" y="13"/>
                  </a:lnTo>
                  <a:lnTo>
                    <a:pt x="314" y="15"/>
                  </a:lnTo>
                  <a:lnTo>
                    <a:pt x="314" y="15"/>
                  </a:lnTo>
                  <a:lnTo>
                    <a:pt x="325" y="13"/>
                  </a:lnTo>
                  <a:lnTo>
                    <a:pt x="325" y="10"/>
                  </a:lnTo>
                  <a:close/>
                  <a:moveTo>
                    <a:pt x="338" y="5"/>
                  </a:moveTo>
                  <a:lnTo>
                    <a:pt x="338" y="5"/>
                  </a:lnTo>
                  <a:lnTo>
                    <a:pt x="329" y="8"/>
                  </a:lnTo>
                  <a:lnTo>
                    <a:pt x="329" y="11"/>
                  </a:lnTo>
                  <a:lnTo>
                    <a:pt x="329" y="11"/>
                  </a:lnTo>
                  <a:lnTo>
                    <a:pt x="339" y="7"/>
                  </a:lnTo>
                  <a:lnTo>
                    <a:pt x="338" y="5"/>
                  </a:lnTo>
                  <a:close/>
                  <a:moveTo>
                    <a:pt x="352" y="0"/>
                  </a:moveTo>
                  <a:lnTo>
                    <a:pt x="352" y="0"/>
                  </a:lnTo>
                  <a:lnTo>
                    <a:pt x="343" y="2"/>
                  </a:lnTo>
                  <a:lnTo>
                    <a:pt x="343" y="5"/>
                  </a:lnTo>
                  <a:lnTo>
                    <a:pt x="343" y="5"/>
                  </a:lnTo>
                  <a:lnTo>
                    <a:pt x="354" y="1"/>
                  </a:lnTo>
                  <a:lnTo>
                    <a:pt x="352" y="0"/>
                  </a:lnTo>
                  <a:close/>
                  <a:moveTo>
                    <a:pt x="368" y="2"/>
                  </a:moveTo>
                  <a:lnTo>
                    <a:pt x="368" y="2"/>
                  </a:lnTo>
                  <a:lnTo>
                    <a:pt x="358" y="0"/>
                  </a:lnTo>
                  <a:lnTo>
                    <a:pt x="358" y="2"/>
                  </a:lnTo>
                  <a:lnTo>
                    <a:pt x="358" y="2"/>
                  </a:lnTo>
                  <a:lnTo>
                    <a:pt x="367" y="5"/>
                  </a:lnTo>
                  <a:lnTo>
                    <a:pt x="368" y="2"/>
                  </a:lnTo>
                  <a:close/>
                  <a:moveTo>
                    <a:pt x="383" y="1"/>
                  </a:moveTo>
                  <a:lnTo>
                    <a:pt x="383" y="1"/>
                  </a:lnTo>
                  <a:lnTo>
                    <a:pt x="378" y="2"/>
                  </a:lnTo>
                  <a:lnTo>
                    <a:pt x="374" y="2"/>
                  </a:lnTo>
                  <a:lnTo>
                    <a:pt x="372" y="2"/>
                  </a:lnTo>
                  <a:lnTo>
                    <a:pt x="372" y="5"/>
                  </a:lnTo>
                  <a:lnTo>
                    <a:pt x="374" y="5"/>
                  </a:lnTo>
                  <a:lnTo>
                    <a:pt x="374" y="5"/>
                  </a:lnTo>
                  <a:lnTo>
                    <a:pt x="378" y="5"/>
                  </a:lnTo>
                  <a:lnTo>
                    <a:pt x="383" y="4"/>
                  </a:lnTo>
                  <a:lnTo>
                    <a:pt x="383" y="1"/>
                  </a:lnTo>
                  <a:close/>
                  <a:moveTo>
                    <a:pt x="387" y="14"/>
                  </a:moveTo>
                  <a:lnTo>
                    <a:pt x="387" y="14"/>
                  </a:lnTo>
                  <a:lnTo>
                    <a:pt x="388" y="5"/>
                  </a:lnTo>
                  <a:lnTo>
                    <a:pt x="388" y="5"/>
                  </a:lnTo>
                  <a:lnTo>
                    <a:pt x="388" y="4"/>
                  </a:lnTo>
                  <a:lnTo>
                    <a:pt x="385" y="4"/>
                  </a:lnTo>
                  <a:lnTo>
                    <a:pt x="385" y="4"/>
                  </a:lnTo>
                  <a:lnTo>
                    <a:pt x="385" y="5"/>
                  </a:lnTo>
                  <a:lnTo>
                    <a:pt x="385" y="5"/>
                  </a:lnTo>
                  <a:lnTo>
                    <a:pt x="384" y="14"/>
                  </a:lnTo>
                  <a:lnTo>
                    <a:pt x="387" y="14"/>
                  </a:lnTo>
                  <a:close/>
                  <a:moveTo>
                    <a:pt x="391" y="24"/>
                  </a:moveTo>
                  <a:lnTo>
                    <a:pt x="391" y="24"/>
                  </a:lnTo>
                  <a:lnTo>
                    <a:pt x="388" y="24"/>
                  </a:lnTo>
                  <a:lnTo>
                    <a:pt x="388" y="24"/>
                  </a:lnTo>
                  <a:lnTo>
                    <a:pt x="387" y="23"/>
                  </a:lnTo>
                  <a:lnTo>
                    <a:pt x="387" y="23"/>
                  </a:lnTo>
                  <a:lnTo>
                    <a:pt x="387" y="20"/>
                  </a:lnTo>
                  <a:lnTo>
                    <a:pt x="387" y="18"/>
                  </a:lnTo>
                  <a:lnTo>
                    <a:pt x="384" y="18"/>
                  </a:lnTo>
                  <a:lnTo>
                    <a:pt x="384" y="18"/>
                  </a:lnTo>
                  <a:lnTo>
                    <a:pt x="384" y="20"/>
                  </a:lnTo>
                  <a:lnTo>
                    <a:pt x="384" y="20"/>
                  </a:lnTo>
                  <a:lnTo>
                    <a:pt x="384" y="24"/>
                  </a:lnTo>
                  <a:lnTo>
                    <a:pt x="384" y="24"/>
                  </a:lnTo>
                  <a:lnTo>
                    <a:pt x="387" y="26"/>
                  </a:lnTo>
                  <a:lnTo>
                    <a:pt x="387" y="26"/>
                  </a:lnTo>
                  <a:lnTo>
                    <a:pt x="390" y="27"/>
                  </a:lnTo>
                  <a:lnTo>
                    <a:pt x="391" y="24"/>
                  </a:lnTo>
                  <a:close/>
                  <a:moveTo>
                    <a:pt x="406" y="26"/>
                  </a:moveTo>
                  <a:lnTo>
                    <a:pt x="406" y="26"/>
                  </a:lnTo>
                  <a:lnTo>
                    <a:pt x="396" y="26"/>
                  </a:lnTo>
                  <a:lnTo>
                    <a:pt x="396" y="27"/>
                  </a:lnTo>
                  <a:lnTo>
                    <a:pt x="396" y="27"/>
                  </a:lnTo>
                  <a:lnTo>
                    <a:pt x="406" y="29"/>
                  </a:lnTo>
                  <a:lnTo>
                    <a:pt x="406" y="26"/>
                  </a:lnTo>
                  <a:close/>
                  <a:moveTo>
                    <a:pt x="422" y="27"/>
                  </a:moveTo>
                  <a:lnTo>
                    <a:pt x="422" y="27"/>
                  </a:lnTo>
                  <a:lnTo>
                    <a:pt x="412" y="26"/>
                  </a:lnTo>
                  <a:lnTo>
                    <a:pt x="410" y="29"/>
                  </a:lnTo>
                  <a:lnTo>
                    <a:pt x="410" y="29"/>
                  </a:lnTo>
                  <a:lnTo>
                    <a:pt x="420" y="29"/>
                  </a:lnTo>
                  <a:lnTo>
                    <a:pt x="422" y="27"/>
                  </a:lnTo>
                  <a:close/>
                  <a:moveTo>
                    <a:pt x="427" y="40"/>
                  </a:moveTo>
                  <a:lnTo>
                    <a:pt x="427" y="40"/>
                  </a:lnTo>
                  <a:lnTo>
                    <a:pt x="427" y="36"/>
                  </a:lnTo>
                  <a:lnTo>
                    <a:pt x="427" y="36"/>
                  </a:lnTo>
                  <a:lnTo>
                    <a:pt x="427" y="33"/>
                  </a:lnTo>
                  <a:lnTo>
                    <a:pt x="426" y="30"/>
                  </a:lnTo>
                  <a:lnTo>
                    <a:pt x="425" y="31"/>
                  </a:lnTo>
                  <a:lnTo>
                    <a:pt x="425" y="31"/>
                  </a:lnTo>
                  <a:lnTo>
                    <a:pt x="426" y="36"/>
                  </a:lnTo>
                  <a:lnTo>
                    <a:pt x="426" y="36"/>
                  </a:lnTo>
                  <a:lnTo>
                    <a:pt x="425" y="40"/>
                  </a:lnTo>
                  <a:lnTo>
                    <a:pt x="427" y="40"/>
                  </a:lnTo>
                  <a:close/>
                  <a:moveTo>
                    <a:pt x="430" y="53"/>
                  </a:moveTo>
                  <a:lnTo>
                    <a:pt x="430" y="53"/>
                  </a:lnTo>
                  <a:lnTo>
                    <a:pt x="427" y="49"/>
                  </a:lnTo>
                  <a:lnTo>
                    <a:pt x="426" y="44"/>
                  </a:lnTo>
                  <a:lnTo>
                    <a:pt x="423" y="46"/>
                  </a:lnTo>
                  <a:lnTo>
                    <a:pt x="423" y="46"/>
                  </a:lnTo>
                  <a:lnTo>
                    <a:pt x="425" y="50"/>
                  </a:lnTo>
                  <a:lnTo>
                    <a:pt x="429" y="55"/>
                  </a:lnTo>
                  <a:lnTo>
                    <a:pt x="430" y="53"/>
                  </a:lnTo>
                  <a:close/>
                  <a:moveTo>
                    <a:pt x="442" y="62"/>
                  </a:moveTo>
                  <a:lnTo>
                    <a:pt x="442" y="62"/>
                  </a:lnTo>
                  <a:lnTo>
                    <a:pt x="442" y="62"/>
                  </a:lnTo>
                  <a:lnTo>
                    <a:pt x="435" y="56"/>
                  </a:lnTo>
                  <a:lnTo>
                    <a:pt x="432" y="59"/>
                  </a:lnTo>
                  <a:lnTo>
                    <a:pt x="432" y="59"/>
                  </a:lnTo>
                  <a:lnTo>
                    <a:pt x="436" y="62"/>
                  </a:lnTo>
                  <a:lnTo>
                    <a:pt x="440" y="63"/>
                  </a:lnTo>
                  <a:lnTo>
                    <a:pt x="442" y="63"/>
                  </a:lnTo>
                  <a:lnTo>
                    <a:pt x="442" y="62"/>
                  </a:lnTo>
                  <a:close/>
                  <a:moveTo>
                    <a:pt x="455" y="55"/>
                  </a:moveTo>
                  <a:lnTo>
                    <a:pt x="455" y="55"/>
                  </a:lnTo>
                  <a:lnTo>
                    <a:pt x="446" y="60"/>
                  </a:lnTo>
                  <a:lnTo>
                    <a:pt x="448" y="63"/>
                  </a:lnTo>
                  <a:lnTo>
                    <a:pt x="448" y="63"/>
                  </a:lnTo>
                  <a:lnTo>
                    <a:pt x="456" y="56"/>
                  </a:lnTo>
                  <a:lnTo>
                    <a:pt x="455" y="55"/>
                  </a:lnTo>
                  <a:close/>
                  <a:moveTo>
                    <a:pt x="467" y="44"/>
                  </a:moveTo>
                  <a:lnTo>
                    <a:pt x="467" y="44"/>
                  </a:lnTo>
                  <a:lnTo>
                    <a:pt x="458" y="52"/>
                  </a:lnTo>
                  <a:lnTo>
                    <a:pt x="459" y="53"/>
                  </a:lnTo>
                  <a:lnTo>
                    <a:pt x="459" y="53"/>
                  </a:lnTo>
                  <a:lnTo>
                    <a:pt x="468" y="47"/>
                  </a:lnTo>
                  <a:lnTo>
                    <a:pt x="467" y="44"/>
                  </a:lnTo>
                  <a:close/>
                  <a:moveTo>
                    <a:pt x="481" y="42"/>
                  </a:moveTo>
                  <a:lnTo>
                    <a:pt x="481" y="42"/>
                  </a:lnTo>
                  <a:lnTo>
                    <a:pt x="478" y="40"/>
                  </a:lnTo>
                  <a:lnTo>
                    <a:pt x="478" y="40"/>
                  </a:lnTo>
                  <a:lnTo>
                    <a:pt x="474" y="40"/>
                  </a:lnTo>
                  <a:lnTo>
                    <a:pt x="471" y="42"/>
                  </a:lnTo>
                  <a:lnTo>
                    <a:pt x="472" y="44"/>
                  </a:lnTo>
                  <a:lnTo>
                    <a:pt x="472" y="44"/>
                  </a:lnTo>
                  <a:lnTo>
                    <a:pt x="478" y="43"/>
                  </a:lnTo>
                  <a:lnTo>
                    <a:pt x="478" y="43"/>
                  </a:lnTo>
                  <a:lnTo>
                    <a:pt x="480" y="43"/>
                  </a:lnTo>
                  <a:lnTo>
                    <a:pt x="481" y="42"/>
                  </a:lnTo>
                  <a:close/>
                  <a:moveTo>
                    <a:pt x="493" y="52"/>
                  </a:moveTo>
                  <a:lnTo>
                    <a:pt x="493" y="52"/>
                  </a:lnTo>
                  <a:lnTo>
                    <a:pt x="485" y="44"/>
                  </a:lnTo>
                  <a:lnTo>
                    <a:pt x="484" y="46"/>
                  </a:lnTo>
                  <a:lnTo>
                    <a:pt x="484" y="46"/>
                  </a:lnTo>
                  <a:lnTo>
                    <a:pt x="491" y="53"/>
                  </a:lnTo>
                  <a:lnTo>
                    <a:pt x="493" y="52"/>
                  </a:lnTo>
                  <a:close/>
                  <a:moveTo>
                    <a:pt x="503" y="63"/>
                  </a:moveTo>
                  <a:lnTo>
                    <a:pt x="503" y="63"/>
                  </a:lnTo>
                  <a:lnTo>
                    <a:pt x="496" y="56"/>
                  </a:lnTo>
                  <a:lnTo>
                    <a:pt x="494" y="57"/>
                  </a:lnTo>
                  <a:lnTo>
                    <a:pt x="494" y="57"/>
                  </a:lnTo>
                  <a:lnTo>
                    <a:pt x="500" y="65"/>
                  </a:lnTo>
                  <a:lnTo>
                    <a:pt x="503" y="63"/>
                  </a:lnTo>
                  <a:close/>
                  <a:moveTo>
                    <a:pt x="511" y="76"/>
                  </a:moveTo>
                  <a:lnTo>
                    <a:pt x="511" y="76"/>
                  </a:lnTo>
                  <a:lnTo>
                    <a:pt x="506" y="68"/>
                  </a:lnTo>
                  <a:lnTo>
                    <a:pt x="503" y="69"/>
                  </a:lnTo>
                  <a:lnTo>
                    <a:pt x="503" y="69"/>
                  </a:lnTo>
                  <a:lnTo>
                    <a:pt x="509" y="78"/>
                  </a:lnTo>
                  <a:lnTo>
                    <a:pt x="511" y="76"/>
                  </a:lnTo>
                  <a:close/>
                  <a:moveTo>
                    <a:pt x="519" y="89"/>
                  </a:moveTo>
                  <a:lnTo>
                    <a:pt x="519" y="89"/>
                  </a:lnTo>
                  <a:lnTo>
                    <a:pt x="514" y="81"/>
                  </a:lnTo>
                  <a:lnTo>
                    <a:pt x="511" y="82"/>
                  </a:lnTo>
                  <a:lnTo>
                    <a:pt x="511" y="82"/>
                  </a:lnTo>
                  <a:lnTo>
                    <a:pt x="517" y="91"/>
                  </a:lnTo>
                  <a:lnTo>
                    <a:pt x="519" y="89"/>
                  </a:lnTo>
                  <a:close/>
                  <a:moveTo>
                    <a:pt x="526" y="102"/>
                  </a:moveTo>
                  <a:lnTo>
                    <a:pt x="526" y="102"/>
                  </a:lnTo>
                  <a:lnTo>
                    <a:pt x="523" y="98"/>
                  </a:lnTo>
                  <a:lnTo>
                    <a:pt x="523" y="98"/>
                  </a:lnTo>
                  <a:lnTo>
                    <a:pt x="522" y="94"/>
                  </a:lnTo>
                  <a:lnTo>
                    <a:pt x="519" y="95"/>
                  </a:lnTo>
                  <a:lnTo>
                    <a:pt x="519" y="95"/>
                  </a:lnTo>
                  <a:lnTo>
                    <a:pt x="522" y="100"/>
                  </a:lnTo>
                  <a:lnTo>
                    <a:pt x="522" y="100"/>
                  </a:lnTo>
                  <a:lnTo>
                    <a:pt x="524" y="104"/>
                  </a:lnTo>
                  <a:lnTo>
                    <a:pt x="526" y="102"/>
                  </a:lnTo>
                  <a:close/>
                  <a:moveTo>
                    <a:pt x="539" y="108"/>
                  </a:moveTo>
                  <a:lnTo>
                    <a:pt x="539" y="108"/>
                  </a:lnTo>
                  <a:lnTo>
                    <a:pt x="535" y="107"/>
                  </a:lnTo>
                  <a:lnTo>
                    <a:pt x="530" y="105"/>
                  </a:lnTo>
                  <a:lnTo>
                    <a:pt x="529" y="107"/>
                  </a:lnTo>
                  <a:lnTo>
                    <a:pt x="529" y="107"/>
                  </a:lnTo>
                  <a:lnTo>
                    <a:pt x="535" y="110"/>
                  </a:lnTo>
                  <a:lnTo>
                    <a:pt x="539" y="111"/>
                  </a:lnTo>
                  <a:lnTo>
                    <a:pt x="539" y="108"/>
                  </a:lnTo>
                  <a:close/>
                  <a:moveTo>
                    <a:pt x="555" y="111"/>
                  </a:moveTo>
                  <a:lnTo>
                    <a:pt x="555" y="111"/>
                  </a:lnTo>
                  <a:lnTo>
                    <a:pt x="551" y="110"/>
                  </a:lnTo>
                  <a:lnTo>
                    <a:pt x="548" y="108"/>
                  </a:lnTo>
                  <a:lnTo>
                    <a:pt x="548" y="108"/>
                  </a:lnTo>
                  <a:lnTo>
                    <a:pt x="545" y="108"/>
                  </a:lnTo>
                  <a:lnTo>
                    <a:pt x="545" y="111"/>
                  </a:lnTo>
                  <a:lnTo>
                    <a:pt x="545" y="111"/>
                  </a:lnTo>
                  <a:lnTo>
                    <a:pt x="548" y="111"/>
                  </a:lnTo>
                  <a:lnTo>
                    <a:pt x="548" y="111"/>
                  </a:lnTo>
                  <a:lnTo>
                    <a:pt x="553" y="113"/>
                  </a:lnTo>
                  <a:lnTo>
                    <a:pt x="555" y="111"/>
                  </a:lnTo>
                  <a:close/>
                  <a:moveTo>
                    <a:pt x="568" y="120"/>
                  </a:moveTo>
                  <a:lnTo>
                    <a:pt x="566" y="120"/>
                  </a:lnTo>
                  <a:lnTo>
                    <a:pt x="566" y="120"/>
                  </a:lnTo>
                  <a:lnTo>
                    <a:pt x="559" y="114"/>
                  </a:lnTo>
                  <a:lnTo>
                    <a:pt x="558" y="115"/>
                  </a:lnTo>
                  <a:lnTo>
                    <a:pt x="558" y="115"/>
                  </a:lnTo>
                  <a:lnTo>
                    <a:pt x="565" y="121"/>
                  </a:lnTo>
                  <a:lnTo>
                    <a:pt x="565" y="121"/>
                  </a:lnTo>
                  <a:lnTo>
                    <a:pt x="568" y="120"/>
                  </a:lnTo>
                  <a:close/>
                  <a:moveTo>
                    <a:pt x="581" y="123"/>
                  </a:moveTo>
                  <a:lnTo>
                    <a:pt x="581" y="123"/>
                  </a:lnTo>
                  <a:lnTo>
                    <a:pt x="577" y="123"/>
                  </a:lnTo>
                  <a:lnTo>
                    <a:pt x="577" y="123"/>
                  </a:lnTo>
                  <a:lnTo>
                    <a:pt x="571" y="123"/>
                  </a:lnTo>
                  <a:lnTo>
                    <a:pt x="571" y="124"/>
                  </a:lnTo>
                  <a:lnTo>
                    <a:pt x="571" y="124"/>
                  </a:lnTo>
                  <a:lnTo>
                    <a:pt x="577" y="126"/>
                  </a:lnTo>
                  <a:lnTo>
                    <a:pt x="577" y="126"/>
                  </a:lnTo>
                  <a:lnTo>
                    <a:pt x="581" y="126"/>
                  </a:lnTo>
                  <a:lnTo>
                    <a:pt x="581" y="123"/>
                  </a:lnTo>
                  <a:close/>
                  <a:moveTo>
                    <a:pt x="597" y="124"/>
                  </a:moveTo>
                  <a:lnTo>
                    <a:pt x="597" y="124"/>
                  </a:lnTo>
                  <a:lnTo>
                    <a:pt x="590" y="123"/>
                  </a:lnTo>
                  <a:lnTo>
                    <a:pt x="590" y="123"/>
                  </a:lnTo>
                  <a:lnTo>
                    <a:pt x="585" y="123"/>
                  </a:lnTo>
                  <a:lnTo>
                    <a:pt x="587" y="124"/>
                  </a:lnTo>
                  <a:lnTo>
                    <a:pt x="587" y="124"/>
                  </a:lnTo>
                  <a:lnTo>
                    <a:pt x="590" y="124"/>
                  </a:lnTo>
                  <a:lnTo>
                    <a:pt x="590" y="124"/>
                  </a:lnTo>
                  <a:lnTo>
                    <a:pt x="595" y="126"/>
                  </a:lnTo>
                  <a:lnTo>
                    <a:pt x="597" y="124"/>
                  </a:lnTo>
                  <a:close/>
                  <a:moveTo>
                    <a:pt x="611" y="128"/>
                  </a:moveTo>
                  <a:lnTo>
                    <a:pt x="611" y="128"/>
                  </a:lnTo>
                  <a:lnTo>
                    <a:pt x="601" y="126"/>
                  </a:lnTo>
                  <a:lnTo>
                    <a:pt x="600" y="127"/>
                  </a:lnTo>
                  <a:lnTo>
                    <a:pt x="600" y="127"/>
                  </a:lnTo>
                  <a:lnTo>
                    <a:pt x="610" y="131"/>
                  </a:lnTo>
                  <a:lnTo>
                    <a:pt x="611" y="128"/>
                  </a:lnTo>
                  <a:close/>
                  <a:moveTo>
                    <a:pt x="624" y="136"/>
                  </a:moveTo>
                  <a:lnTo>
                    <a:pt x="624" y="136"/>
                  </a:lnTo>
                  <a:lnTo>
                    <a:pt x="616" y="131"/>
                  </a:lnTo>
                  <a:lnTo>
                    <a:pt x="614" y="133"/>
                  </a:lnTo>
                  <a:lnTo>
                    <a:pt x="614" y="133"/>
                  </a:lnTo>
                  <a:lnTo>
                    <a:pt x="624" y="137"/>
                  </a:lnTo>
                  <a:lnTo>
                    <a:pt x="624" y="136"/>
                  </a:lnTo>
                  <a:close/>
                  <a:moveTo>
                    <a:pt x="639" y="142"/>
                  </a:moveTo>
                  <a:lnTo>
                    <a:pt x="639" y="142"/>
                  </a:lnTo>
                  <a:lnTo>
                    <a:pt x="629" y="137"/>
                  </a:lnTo>
                  <a:lnTo>
                    <a:pt x="629" y="140"/>
                  </a:lnTo>
                  <a:lnTo>
                    <a:pt x="629" y="140"/>
                  </a:lnTo>
                  <a:lnTo>
                    <a:pt x="637" y="144"/>
                  </a:lnTo>
                  <a:lnTo>
                    <a:pt x="639" y="142"/>
                  </a:lnTo>
                  <a:close/>
                  <a:moveTo>
                    <a:pt x="652" y="149"/>
                  </a:moveTo>
                  <a:lnTo>
                    <a:pt x="652" y="149"/>
                  </a:lnTo>
                  <a:lnTo>
                    <a:pt x="643" y="144"/>
                  </a:lnTo>
                  <a:lnTo>
                    <a:pt x="642" y="146"/>
                  </a:lnTo>
                  <a:lnTo>
                    <a:pt x="642" y="146"/>
                  </a:lnTo>
                  <a:lnTo>
                    <a:pt x="650" y="150"/>
                  </a:lnTo>
                  <a:lnTo>
                    <a:pt x="652" y="149"/>
                  </a:lnTo>
                  <a:close/>
                  <a:moveTo>
                    <a:pt x="665" y="152"/>
                  </a:moveTo>
                  <a:lnTo>
                    <a:pt x="665" y="152"/>
                  </a:lnTo>
                  <a:lnTo>
                    <a:pt x="661" y="153"/>
                  </a:lnTo>
                  <a:lnTo>
                    <a:pt x="661" y="153"/>
                  </a:lnTo>
                  <a:lnTo>
                    <a:pt x="658" y="152"/>
                  </a:lnTo>
                  <a:lnTo>
                    <a:pt x="658" y="152"/>
                  </a:lnTo>
                  <a:lnTo>
                    <a:pt x="656" y="152"/>
                  </a:lnTo>
                  <a:lnTo>
                    <a:pt x="655" y="153"/>
                  </a:lnTo>
                  <a:lnTo>
                    <a:pt x="656" y="155"/>
                  </a:lnTo>
                  <a:lnTo>
                    <a:pt x="656" y="155"/>
                  </a:lnTo>
                  <a:lnTo>
                    <a:pt x="661" y="156"/>
                  </a:lnTo>
                  <a:lnTo>
                    <a:pt x="661" y="156"/>
                  </a:lnTo>
                  <a:lnTo>
                    <a:pt x="664" y="155"/>
                  </a:lnTo>
                  <a:lnTo>
                    <a:pt x="666" y="153"/>
                  </a:lnTo>
                  <a:lnTo>
                    <a:pt x="665" y="152"/>
                  </a:lnTo>
                  <a:close/>
                  <a:moveTo>
                    <a:pt x="679" y="149"/>
                  </a:moveTo>
                  <a:lnTo>
                    <a:pt x="679" y="149"/>
                  </a:lnTo>
                  <a:lnTo>
                    <a:pt x="675" y="149"/>
                  </a:lnTo>
                  <a:lnTo>
                    <a:pt x="675" y="149"/>
                  </a:lnTo>
                  <a:lnTo>
                    <a:pt x="672" y="149"/>
                  </a:lnTo>
                  <a:lnTo>
                    <a:pt x="671" y="149"/>
                  </a:lnTo>
                  <a:lnTo>
                    <a:pt x="671" y="149"/>
                  </a:lnTo>
                  <a:lnTo>
                    <a:pt x="669" y="149"/>
                  </a:lnTo>
                  <a:lnTo>
                    <a:pt x="669" y="150"/>
                  </a:lnTo>
                  <a:lnTo>
                    <a:pt x="671" y="150"/>
                  </a:lnTo>
                  <a:lnTo>
                    <a:pt x="672" y="150"/>
                  </a:lnTo>
                  <a:lnTo>
                    <a:pt x="672" y="150"/>
                  </a:lnTo>
                  <a:lnTo>
                    <a:pt x="675" y="152"/>
                  </a:lnTo>
                  <a:lnTo>
                    <a:pt x="675" y="152"/>
                  </a:lnTo>
                  <a:lnTo>
                    <a:pt x="679" y="150"/>
                  </a:lnTo>
                  <a:lnTo>
                    <a:pt x="679" y="149"/>
                  </a:lnTo>
                  <a:close/>
                  <a:moveTo>
                    <a:pt x="688" y="139"/>
                  </a:moveTo>
                  <a:lnTo>
                    <a:pt x="688" y="139"/>
                  </a:lnTo>
                  <a:lnTo>
                    <a:pt x="687" y="143"/>
                  </a:lnTo>
                  <a:lnTo>
                    <a:pt x="687" y="143"/>
                  </a:lnTo>
                  <a:lnTo>
                    <a:pt x="687" y="144"/>
                  </a:lnTo>
                  <a:lnTo>
                    <a:pt x="687" y="144"/>
                  </a:lnTo>
                  <a:lnTo>
                    <a:pt x="684" y="146"/>
                  </a:lnTo>
                  <a:lnTo>
                    <a:pt x="685" y="149"/>
                  </a:lnTo>
                  <a:lnTo>
                    <a:pt x="685" y="149"/>
                  </a:lnTo>
                  <a:lnTo>
                    <a:pt x="688" y="147"/>
                  </a:lnTo>
                  <a:lnTo>
                    <a:pt x="688" y="147"/>
                  </a:lnTo>
                  <a:lnTo>
                    <a:pt x="690" y="143"/>
                  </a:lnTo>
                  <a:lnTo>
                    <a:pt x="690" y="143"/>
                  </a:lnTo>
                  <a:lnTo>
                    <a:pt x="690" y="140"/>
                  </a:lnTo>
                  <a:lnTo>
                    <a:pt x="688" y="139"/>
                  </a:lnTo>
                  <a:close/>
                  <a:moveTo>
                    <a:pt x="688" y="124"/>
                  </a:moveTo>
                  <a:lnTo>
                    <a:pt x="688" y="124"/>
                  </a:lnTo>
                  <a:lnTo>
                    <a:pt x="688" y="128"/>
                  </a:lnTo>
                  <a:lnTo>
                    <a:pt x="688" y="128"/>
                  </a:lnTo>
                  <a:lnTo>
                    <a:pt x="688" y="134"/>
                  </a:lnTo>
                  <a:lnTo>
                    <a:pt x="690" y="134"/>
                  </a:lnTo>
                  <a:lnTo>
                    <a:pt x="690" y="134"/>
                  </a:lnTo>
                  <a:lnTo>
                    <a:pt x="690" y="128"/>
                  </a:lnTo>
                  <a:lnTo>
                    <a:pt x="690" y="128"/>
                  </a:lnTo>
                  <a:lnTo>
                    <a:pt x="691" y="124"/>
                  </a:lnTo>
                  <a:lnTo>
                    <a:pt x="688" y="124"/>
                  </a:lnTo>
                  <a:close/>
                  <a:moveTo>
                    <a:pt x="703" y="118"/>
                  </a:moveTo>
                  <a:lnTo>
                    <a:pt x="703" y="118"/>
                  </a:lnTo>
                  <a:lnTo>
                    <a:pt x="692" y="120"/>
                  </a:lnTo>
                  <a:lnTo>
                    <a:pt x="694" y="123"/>
                  </a:lnTo>
                  <a:lnTo>
                    <a:pt x="694" y="123"/>
                  </a:lnTo>
                  <a:lnTo>
                    <a:pt x="704" y="121"/>
                  </a:lnTo>
                  <a:lnTo>
                    <a:pt x="703" y="118"/>
                  </a:lnTo>
                  <a:close/>
                  <a:moveTo>
                    <a:pt x="719" y="117"/>
                  </a:moveTo>
                  <a:lnTo>
                    <a:pt x="717" y="117"/>
                  </a:lnTo>
                  <a:lnTo>
                    <a:pt x="717" y="117"/>
                  </a:lnTo>
                  <a:lnTo>
                    <a:pt x="708" y="118"/>
                  </a:lnTo>
                  <a:lnTo>
                    <a:pt x="708" y="121"/>
                  </a:lnTo>
                  <a:lnTo>
                    <a:pt x="708" y="121"/>
                  </a:lnTo>
                  <a:lnTo>
                    <a:pt x="717" y="120"/>
                  </a:lnTo>
                  <a:lnTo>
                    <a:pt x="717" y="120"/>
                  </a:lnTo>
                  <a:lnTo>
                    <a:pt x="719" y="120"/>
                  </a:lnTo>
                  <a:lnTo>
                    <a:pt x="719" y="117"/>
                  </a:lnTo>
                  <a:close/>
                  <a:moveTo>
                    <a:pt x="733" y="114"/>
                  </a:moveTo>
                  <a:lnTo>
                    <a:pt x="733" y="114"/>
                  </a:lnTo>
                  <a:lnTo>
                    <a:pt x="723" y="117"/>
                  </a:lnTo>
                  <a:lnTo>
                    <a:pt x="724" y="118"/>
                  </a:lnTo>
                  <a:lnTo>
                    <a:pt x="724" y="118"/>
                  </a:lnTo>
                  <a:lnTo>
                    <a:pt x="733" y="115"/>
                  </a:lnTo>
                  <a:lnTo>
                    <a:pt x="733" y="114"/>
                  </a:lnTo>
                  <a:close/>
                  <a:moveTo>
                    <a:pt x="748" y="110"/>
                  </a:moveTo>
                  <a:lnTo>
                    <a:pt x="748" y="110"/>
                  </a:lnTo>
                  <a:lnTo>
                    <a:pt x="748" y="110"/>
                  </a:lnTo>
                  <a:lnTo>
                    <a:pt x="737" y="113"/>
                  </a:lnTo>
                  <a:lnTo>
                    <a:pt x="739" y="115"/>
                  </a:lnTo>
                  <a:lnTo>
                    <a:pt x="739" y="115"/>
                  </a:lnTo>
                  <a:lnTo>
                    <a:pt x="748" y="113"/>
                  </a:lnTo>
                  <a:lnTo>
                    <a:pt x="749" y="113"/>
                  </a:lnTo>
                  <a:lnTo>
                    <a:pt x="748" y="110"/>
                  </a:lnTo>
                  <a:close/>
                  <a:moveTo>
                    <a:pt x="763" y="113"/>
                  </a:moveTo>
                  <a:lnTo>
                    <a:pt x="763" y="113"/>
                  </a:lnTo>
                  <a:lnTo>
                    <a:pt x="758" y="110"/>
                  </a:lnTo>
                  <a:lnTo>
                    <a:pt x="753" y="110"/>
                  </a:lnTo>
                  <a:lnTo>
                    <a:pt x="753" y="111"/>
                  </a:lnTo>
                  <a:lnTo>
                    <a:pt x="753" y="111"/>
                  </a:lnTo>
                  <a:lnTo>
                    <a:pt x="758" y="113"/>
                  </a:lnTo>
                  <a:lnTo>
                    <a:pt x="762" y="115"/>
                  </a:lnTo>
                  <a:lnTo>
                    <a:pt x="763" y="113"/>
                  </a:lnTo>
                  <a:close/>
                  <a:moveTo>
                    <a:pt x="776" y="117"/>
                  </a:moveTo>
                  <a:lnTo>
                    <a:pt x="776" y="117"/>
                  </a:lnTo>
                  <a:lnTo>
                    <a:pt x="768" y="115"/>
                  </a:lnTo>
                  <a:lnTo>
                    <a:pt x="766" y="117"/>
                  </a:lnTo>
                  <a:lnTo>
                    <a:pt x="766" y="117"/>
                  </a:lnTo>
                  <a:lnTo>
                    <a:pt x="772" y="118"/>
                  </a:lnTo>
                  <a:lnTo>
                    <a:pt x="776" y="120"/>
                  </a:lnTo>
                  <a:lnTo>
                    <a:pt x="776" y="117"/>
                  </a:lnTo>
                  <a:close/>
                  <a:moveTo>
                    <a:pt x="791" y="126"/>
                  </a:moveTo>
                  <a:lnTo>
                    <a:pt x="791" y="126"/>
                  </a:lnTo>
                  <a:lnTo>
                    <a:pt x="782" y="120"/>
                  </a:lnTo>
                  <a:lnTo>
                    <a:pt x="782" y="120"/>
                  </a:lnTo>
                  <a:lnTo>
                    <a:pt x="781" y="121"/>
                  </a:lnTo>
                  <a:lnTo>
                    <a:pt x="782" y="123"/>
                  </a:lnTo>
                  <a:lnTo>
                    <a:pt x="782" y="123"/>
                  </a:lnTo>
                  <a:lnTo>
                    <a:pt x="788" y="128"/>
                  </a:lnTo>
                  <a:lnTo>
                    <a:pt x="791" y="126"/>
                  </a:lnTo>
                  <a:close/>
                  <a:moveTo>
                    <a:pt x="803" y="134"/>
                  </a:moveTo>
                  <a:lnTo>
                    <a:pt x="803" y="134"/>
                  </a:lnTo>
                  <a:lnTo>
                    <a:pt x="794" y="128"/>
                  </a:lnTo>
                  <a:lnTo>
                    <a:pt x="792" y="131"/>
                  </a:lnTo>
                  <a:lnTo>
                    <a:pt x="792" y="131"/>
                  </a:lnTo>
                  <a:lnTo>
                    <a:pt x="801" y="137"/>
                  </a:lnTo>
                  <a:lnTo>
                    <a:pt x="803" y="134"/>
                  </a:lnTo>
                  <a:close/>
                  <a:moveTo>
                    <a:pt x="816" y="136"/>
                  </a:moveTo>
                  <a:lnTo>
                    <a:pt x="816" y="136"/>
                  </a:lnTo>
                  <a:lnTo>
                    <a:pt x="811" y="137"/>
                  </a:lnTo>
                  <a:lnTo>
                    <a:pt x="811" y="137"/>
                  </a:lnTo>
                  <a:lnTo>
                    <a:pt x="808" y="137"/>
                  </a:lnTo>
                  <a:lnTo>
                    <a:pt x="808" y="137"/>
                  </a:lnTo>
                  <a:lnTo>
                    <a:pt x="807" y="137"/>
                  </a:lnTo>
                  <a:lnTo>
                    <a:pt x="805" y="139"/>
                  </a:lnTo>
                  <a:lnTo>
                    <a:pt x="805" y="139"/>
                  </a:lnTo>
                  <a:lnTo>
                    <a:pt x="808" y="140"/>
                  </a:lnTo>
                  <a:lnTo>
                    <a:pt x="808" y="140"/>
                  </a:lnTo>
                  <a:lnTo>
                    <a:pt x="811" y="140"/>
                  </a:lnTo>
                  <a:lnTo>
                    <a:pt x="811" y="140"/>
                  </a:lnTo>
                  <a:lnTo>
                    <a:pt x="817" y="139"/>
                  </a:lnTo>
                  <a:lnTo>
                    <a:pt x="816" y="136"/>
                  </a:lnTo>
                  <a:close/>
                  <a:moveTo>
                    <a:pt x="826" y="127"/>
                  </a:moveTo>
                  <a:lnTo>
                    <a:pt x="826" y="127"/>
                  </a:lnTo>
                  <a:lnTo>
                    <a:pt x="823" y="130"/>
                  </a:lnTo>
                  <a:lnTo>
                    <a:pt x="820" y="134"/>
                  </a:lnTo>
                  <a:lnTo>
                    <a:pt x="821" y="136"/>
                  </a:lnTo>
                  <a:lnTo>
                    <a:pt x="821" y="136"/>
                  </a:lnTo>
                  <a:lnTo>
                    <a:pt x="826" y="131"/>
                  </a:lnTo>
                  <a:lnTo>
                    <a:pt x="827" y="127"/>
                  </a:lnTo>
                  <a:lnTo>
                    <a:pt x="826" y="127"/>
                  </a:lnTo>
                  <a:close/>
                  <a:moveTo>
                    <a:pt x="827" y="113"/>
                  </a:moveTo>
                  <a:lnTo>
                    <a:pt x="827" y="113"/>
                  </a:lnTo>
                  <a:lnTo>
                    <a:pt x="826" y="117"/>
                  </a:lnTo>
                  <a:lnTo>
                    <a:pt x="826" y="117"/>
                  </a:lnTo>
                  <a:lnTo>
                    <a:pt x="826" y="118"/>
                  </a:lnTo>
                  <a:lnTo>
                    <a:pt x="826" y="118"/>
                  </a:lnTo>
                  <a:lnTo>
                    <a:pt x="827" y="120"/>
                  </a:lnTo>
                  <a:lnTo>
                    <a:pt x="827" y="120"/>
                  </a:lnTo>
                  <a:lnTo>
                    <a:pt x="827" y="121"/>
                  </a:lnTo>
                  <a:lnTo>
                    <a:pt x="827" y="121"/>
                  </a:lnTo>
                  <a:lnTo>
                    <a:pt x="827" y="121"/>
                  </a:lnTo>
                  <a:lnTo>
                    <a:pt x="830" y="123"/>
                  </a:lnTo>
                  <a:lnTo>
                    <a:pt x="830" y="123"/>
                  </a:lnTo>
                  <a:lnTo>
                    <a:pt x="830" y="121"/>
                  </a:lnTo>
                  <a:lnTo>
                    <a:pt x="830" y="121"/>
                  </a:lnTo>
                  <a:lnTo>
                    <a:pt x="829" y="118"/>
                  </a:lnTo>
                  <a:lnTo>
                    <a:pt x="829" y="118"/>
                  </a:lnTo>
                  <a:lnTo>
                    <a:pt x="827" y="117"/>
                  </a:lnTo>
                  <a:lnTo>
                    <a:pt x="827" y="117"/>
                  </a:lnTo>
                  <a:lnTo>
                    <a:pt x="827" y="117"/>
                  </a:lnTo>
                  <a:lnTo>
                    <a:pt x="827" y="117"/>
                  </a:lnTo>
                  <a:lnTo>
                    <a:pt x="827" y="117"/>
                  </a:lnTo>
                  <a:lnTo>
                    <a:pt x="827" y="117"/>
                  </a:lnTo>
                  <a:lnTo>
                    <a:pt x="827" y="117"/>
                  </a:lnTo>
                  <a:lnTo>
                    <a:pt x="827" y="117"/>
                  </a:lnTo>
                  <a:lnTo>
                    <a:pt x="827" y="117"/>
                  </a:lnTo>
                  <a:lnTo>
                    <a:pt x="827" y="117"/>
                  </a:lnTo>
                  <a:lnTo>
                    <a:pt x="827" y="117"/>
                  </a:lnTo>
                  <a:lnTo>
                    <a:pt x="827" y="117"/>
                  </a:lnTo>
                  <a:lnTo>
                    <a:pt x="827" y="117"/>
                  </a:lnTo>
                  <a:lnTo>
                    <a:pt x="827" y="117"/>
                  </a:lnTo>
                  <a:lnTo>
                    <a:pt x="827" y="117"/>
                  </a:lnTo>
                  <a:lnTo>
                    <a:pt x="829" y="114"/>
                  </a:lnTo>
                  <a:lnTo>
                    <a:pt x="827" y="113"/>
                  </a:lnTo>
                  <a:close/>
                  <a:moveTo>
                    <a:pt x="834" y="100"/>
                  </a:moveTo>
                  <a:lnTo>
                    <a:pt x="834" y="100"/>
                  </a:lnTo>
                  <a:lnTo>
                    <a:pt x="829" y="108"/>
                  </a:lnTo>
                  <a:lnTo>
                    <a:pt x="832" y="110"/>
                  </a:lnTo>
                  <a:lnTo>
                    <a:pt x="832" y="110"/>
                  </a:lnTo>
                  <a:lnTo>
                    <a:pt x="836" y="101"/>
                  </a:lnTo>
                  <a:lnTo>
                    <a:pt x="834" y="100"/>
                  </a:lnTo>
                  <a:close/>
                  <a:moveTo>
                    <a:pt x="840" y="86"/>
                  </a:moveTo>
                  <a:lnTo>
                    <a:pt x="840" y="88"/>
                  </a:lnTo>
                  <a:lnTo>
                    <a:pt x="840" y="88"/>
                  </a:lnTo>
                  <a:lnTo>
                    <a:pt x="840" y="88"/>
                  </a:lnTo>
                  <a:lnTo>
                    <a:pt x="840" y="89"/>
                  </a:lnTo>
                  <a:lnTo>
                    <a:pt x="840" y="89"/>
                  </a:lnTo>
                  <a:lnTo>
                    <a:pt x="840" y="92"/>
                  </a:lnTo>
                  <a:lnTo>
                    <a:pt x="840" y="92"/>
                  </a:lnTo>
                  <a:lnTo>
                    <a:pt x="837" y="95"/>
                  </a:lnTo>
                  <a:lnTo>
                    <a:pt x="839" y="97"/>
                  </a:lnTo>
                  <a:lnTo>
                    <a:pt x="839" y="97"/>
                  </a:lnTo>
                  <a:lnTo>
                    <a:pt x="843" y="92"/>
                  </a:lnTo>
                  <a:lnTo>
                    <a:pt x="843" y="92"/>
                  </a:lnTo>
                  <a:lnTo>
                    <a:pt x="843" y="89"/>
                  </a:lnTo>
                  <a:lnTo>
                    <a:pt x="843" y="89"/>
                  </a:lnTo>
                  <a:lnTo>
                    <a:pt x="843" y="88"/>
                  </a:lnTo>
                  <a:lnTo>
                    <a:pt x="843" y="86"/>
                  </a:lnTo>
                  <a:lnTo>
                    <a:pt x="840" y="86"/>
                  </a:lnTo>
                  <a:close/>
                  <a:moveTo>
                    <a:pt x="855" y="89"/>
                  </a:moveTo>
                  <a:lnTo>
                    <a:pt x="855" y="89"/>
                  </a:lnTo>
                  <a:lnTo>
                    <a:pt x="849" y="86"/>
                  </a:lnTo>
                  <a:lnTo>
                    <a:pt x="849" y="86"/>
                  </a:lnTo>
                  <a:lnTo>
                    <a:pt x="846" y="85"/>
                  </a:lnTo>
                  <a:lnTo>
                    <a:pt x="845" y="88"/>
                  </a:lnTo>
                  <a:lnTo>
                    <a:pt x="845" y="88"/>
                  </a:lnTo>
                  <a:lnTo>
                    <a:pt x="847" y="89"/>
                  </a:lnTo>
                  <a:lnTo>
                    <a:pt x="847" y="89"/>
                  </a:lnTo>
                  <a:lnTo>
                    <a:pt x="855" y="92"/>
                  </a:lnTo>
                  <a:lnTo>
                    <a:pt x="855" y="89"/>
                  </a:lnTo>
                  <a:close/>
                  <a:moveTo>
                    <a:pt x="869" y="95"/>
                  </a:moveTo>
                  <a:lnTo>
                    <a:pt x="869" y="95"/>
                  </a:lnTo>
                  <a:lnTo>
                    <a:pt x="861" y="91"/>
                  </a:lnTo>
                  <a:lnTo>
                    <a:pt x="859" y="94"/>
                  </a:lnTo>
                  <a:lnTo>
                    <a:pt x="859" y="94"/>
                  </a:lnTo>
                  <a:lnTo>
                    <a:pt x="869" y="97"/>
                  </a:lnTo>
                  <a:lnTo>
                    <a:pt x="869" y="95"/>
                  </a:lnTo>
                  <a:close/>
                  <a:moveTo>
                    <a:pt x="884" y="100"/>
                  </a:moveTo>
                  <a:lnTo>
                    <a:pt x="884" y="100"/>
                  </a:lnTo>
                  <a:lnTo>
                    <a:pt x="879" y="98"/>
                  </a:lnTo>
                  <a:lnTo>
                    <a:pt x="875" y="97"/>
                  </a:lnTo>
                  <a:lnTo>
                    <a:pt x="874" y="98"/>
                  </a:lnTo>
                  <a:lnTo>
                    <a:pt x="874" y="98"/>
                  </a:lnTo>
                  <a:lnTo>
                    <a:pt x="878" y="100"/>
                  </a:lnTo>
                  <a:lnTo>
                    <a:pt x="882" y="102"/>
                  </a:lnTo>
                  <a:lnTo>
                    <a:pt x="884" y="100"/>
                  </a:lnTo>
                  <a:close/>
                  <a:moveTo>
                    <a:pt x="891" y="114"/>
                  </a:moveTo>
                  <a:lnTo>
                    <a:pt x="891" y="114"/>
                  </a:lnTo>
                  <a:lnTo>
                    <a:pt x="889" y="108"/>
                  </a:lnTo>
                  <a:lnTo>
                    <a:pt x="889" y="108"/>
                  </a:lnTo>
                  <a:lnTo>
                    <a:pt x="888" y="104"/>
                  </a:lnTo>
                  <a:lnTo>
                    <a:pt x="887" y="105"/>
                  </a:lnTo>
                  <a:lnTo>
                    <a:pt x="887" y="105"/>
                  </a:lnTo>
                  <a:lnTo>
                    <a:pt x="888" y="110"/>
                  </a:lnTo>
                  <a:lnTo>
                    <a:pt x="888" y="110"/>
                  </a:lnTo>
                  <a:lnTo>
                    <a:pt x="889" y="115"/>
                  </a:lnTo>
                  <a:lnTo>
                    <a:pt x="891" y="114"/>
                  </a:lnTo>
                  <a:close/>
                  <a:moveTo>
                    <a:pt x="901" y="124"/>
                  </a:moveTo>
                  <a:lnTo>
                    <a:pt x="901" y="124"/>
                  </a:lnTo>
                  <a:lnTo>
                    <a:pt x="894" y="118"/>
                  </a:lnTo>
                  <a:lnTo>
                    <a:pt x="892" y="120"/>
                  </a:lnTo>
                  <a:lnTo>
                    <a:pt x="892" y="120"/>
                  </a:lnTo>
                  <a:lnTo>
                    <a:pt x="900" y="126"/>
                  </a:lnTo>
                  <a:lnTo>
                    <a:pt x="901" y="124"/>
                  </a:lnTo>
                  <a:close/>
                  <a:moveTo>
                    <a:pt x="916" y="128"/>
                  </a:moveTo>
                  <a:lnTo>
                    <a:pt x="916" y="128"/>
                  </a:lnTo>
                  <a:lnTo>
                    <a:pt x="913" y="128"/>
                  </a:lnTo>
                  <a:lnTo>
                    <a:pt x="913" y="128"/>
                  </a:lnTo>
                  <a:lnTo>
                    <a:pt x="905" y="127"/>
                  </a:lnTo>
                  <a:lnTo>
                    <a:pt x="904" y="128"/>
                  </a:lnTo>
                  <a:lnTo>
                    <a:pt x="904" y="128"/>
                  </a:lnTo>
                  <a:lnTo>
                    <a:pt x="911" y="131"/>
                  </a:lnTo>
                  <a:lnTo>
                    <a:pt x="911" y="131"/>
                  </a:lnTo>
                  <a:lnTo>
                    <a:pt x="914" y="131"/>
                  </a:lnTo>
                  <a:lnTo>
                    <a:pt x="916" y="128"/>
                  </a:lnTo>
                  <a:close/>
                  <a:moveTo>
                    <a:pt x="930" y="128"/>
                  </a:moveTo>
                  <a:lnTo>
                    <a:pt x="930" y="128"/>
                  </a:lnTo>
                  <a:lnTo>
                    <a:pt x="921" y="128"/>
                  </a:lnTo>
                  <a:lnTo>
                    <a:pt x="920" y="128"/>
                  </a:lnTo>
                  <a:lnTo>
                    <a:pt x="920" y="131"/>
                  </a:lnTo>
                  <a:lnTo>
                    <a:pt x="921" y="131"/>
                  </a:lnTo>
                  <a:lnTo>
                    <a:pt x="921" y="131"/>
                  </a:lnTo>
                  <a:lnTo>
                    <a:pt x="930" y="131"/>
                  </a:lnTo>
                  <a:lnTo>
                    <a:pt x="930" y="128"/>
                  </a:lnTo>
                  <a:close/>
                  <a:moveTo>
                    <a:pt x="945" y="126"/>
                  </a:moveTo>
                  <a:lnTo>
                    <a:pt x="945" y="126"/>
                  </a:lnTo>
                  <a:lnTo>
                    <a:pt x="945" y="126"/>
                  </a:lnTo>
                  <a:lnTo>
                    <a:pt x="934" y="127"/>
                  </a:lnTo>
                  <a:lnTo>
                    <a:pt x="936" y="130"/>
                  </a:lnTo>
                  <a:lnTo>
                    <a:pt x="936" y="130"/>
                  </a:lnTo>
                  <a:lnTo>
                    <a:pt x="945" y="127"/>
                  </a:lnTo>
                  <a:lnTo>
                    <a:pt x="946" y="127"/>
                  </a:lnTo>
                  <a:lnTo>
                    <a:pt x="945" y="126"/>
                  </a:lnTo>
                  <a:close/>
                  <a:moveTo>
                    <a:pt x="960" y="127"/>
                  </a:moveTo>
                  <a:lnTo>
                    <a:pt x="960" y="127"/>
                  </a:lnTo>
                  <a:lnTo>
                    <a:pt x="956" y="124"/>
                  </a:lnTo>
                  <a:lnTo>
                    <a:pt x="950" y="124"/>
                  </a:lnTo>
                  <a:lnTo>
                    <a:pt x="950" y="124"/>
                  </a:lnTo>
                  <a:lnTo>
                    <a:pt x="950" y="127"/>
                  </a:lnTo>
                  <a:lnTo>
                    <a:pt x="950" y="127"/>
                  </a:lnTo>
                  <a:lnTo>
                    <a:pt x="950" y="127"/>
                  </a:lnTo>
                  <a:lnTo>
                    <a:pt x="955" y="127"/>
                  </a:lnTo>
                  <a:lnTo>
                    <a:pt x="959" y="128"/>
                  </a:lnTo>
                  <a:lnTo>
                    <a:pt x="960" y="127"/>
                  </a:lnTo>
                  <a:close/>
                  <a:moveTo>
                    <a:pt x="972" y="136"/>
                  </a:moveTo>
                  <a:lnTo>
                    <a:pt x="972" y="136"/>
                  </a:lnTo>
                  <a:lnTo>
                    <a:pt x="968" y="133"/>
                  </a:lnTo>
                  <a:lnTo>
                    <a:pt x="963" y="130"/>
                  </a:lnTo>
                  <a:lnTo>
                    <a:pt x="962" y="133"/>
                  </a:lnTo>
                  <a:lnTo>
                    <a:pt x="962" y="133"/>
                  </a:lnTo>
                  <a:lnTo>
                    <a:pt x="966" y="136"/>
                  </a:lnTo>
                  <a:lnTo>
                    <a:pt x="971" y="139"/>
                  </a:lnTo>
                  <a:lnTo>
                    <a:pt x="972" y="136"/>
                  </a:lnTo>
                  <a:close/>
                  <a:moveTo>
                    <a:pt x="987" y="142"/>
                  </a:moveTo>
                  <a:lnTo>
                    <a:pt x="987" y="142"/>
                  </a:lnTo>
                  <a:lnTo>
                    <a:pt x="976" y="137"/>
                  </a:lnTo>
                  <a:lnTo>
                    <a:pt x="976" y="137"/>
                  </a:lnTo>
                  <a:lnTo>
                    <a:pt x="976" y="140"/>
                  </a:lnTo>
                  <a:lnTo>
                    <a:pt x="976" y="140"/>
                  </a:lnTo>
                  <a:lnTo>
                    <a:pt x="976" y="140"/>
                  </a:lnTo>
                  <a:lnTo>
                    <a:pt x="985" y="143"/>
                  </a:lnTo>
                  <a:lnTo>
                    <a:pt x="987" y="142"/>
                  </a:lnTo>
                  <a:close/>
                  <a:moveTo>
                    <a:pt x="1000" y="147"/>
                  </a:moveTo>
                  <a:lnTo>
                    <a:pt x="1000" y="147"/>
                  </a:lnTo>
                  <a:lnTo>
                    <a:pt x="991" y="143"/>
                  </a:lnTo>
                  <a:lnTo>
                    <a:pt x="989" y="146"/>
                  </a:lnTo>
                  <a:lnTo>
                    <a:pt x="989" y="146"/>
                  </a:lnTo>
                  <a:lnTo>
                    <a:pt x="1000" y="150"/>
                  </a:lnTo>
                  <a:lnTo>
                    <a:pt x="1000" y="147"/>
                  </a:lnTo>
                  <a:close/>
                  <a:moveTo>
                    <a:pt x="1014" y="152"/>
                  </a:moveTo>
                  <a:lnTo>
                    <a:pt x="1014" y="152"/>
                  </a:lnTo>
                  <a:lnTo>
                    <a:pt x="1005" y="149"/>
                  </a:lnTo>
                  <a:lnTo>
                    <a:pt x="1004" y="152"/>
                  </a:lnTo>
                  <a:lnTo>
                    <a:pt x="1004" y="152"/>
                  </a:lnTo>
                  <a:lnTo>
                    <a:pt x="1014" y="155"/>
                  </a:lnTo>
                  <a:lnTo>
                    <a:pt x="1014" y="152"/>
                  </a:lnTo>
                  <a:close/>
                  <a:moveTo>
                    <a:pt x="1029" y="155"/>
                  </a:moveTo>
                  <a:lnTo>
                    <a:pt x="1029" y="155"/>
                  </a:lnTo>
                  <a:lnTo>
                    <a:pt x="1027" y="155"/>
                  </a:lnTo>
                  <a:lnTo>
                    <a:pt x="1027" y="155"/>
                  </a:lnTo>
                  <a:lnTo>
                    <a:pt x="1020" y="153"/>
                  </a:lnTo>
                  <a:lnTo>
                    <a:pt x="1018" y="156"/>
                  </a:lnTo>
                  <a:lnTo>
                    <a:pt x="1018" y="156"/>
                  </a:lnTo>
                  <a:lnTo>
                    <a:pt x="1027" y="157"/>
                  </a:lnTo>
                  <a:lnTo>
                    <a:pt x="1027" y="157"/>
                  </a:lnTo>
                  <a:lnTo>
                    <a:pt x="1030" y="156"/>
                  </a:lnTo>
                  <a:lnTo>
                    <a:pt x="1029" y="155"/>
                  </a:lnTo>
                  <a:close/>
                  <a:moveTo>
                    <a:pt x="1043" y="149"/>
                  </a:moveTo>
                  <a:lnTo>
                    <a:pt x="1042" y="149"/>
                  </a:lnTo>
                  <a:lnTo>
                    <a:pt x="1042" y="149"/>
                  </a:lnTo>
                  <a:lnTo>
                    <a:pt x="1033" y="152"/>
                  </a:lnTo>
                  <a:lnTo>
                    <a:pt x="1034" y="155"/>
                  </a:lnTo>
                  <a:lnTo>
                    <a:pt x="1034" y="155"/>
                  </a:lnTo>
                  <a:lnTo>
                    <a:pt x="1043" y="150"/>
                  </a:lnTo>
                  <a:lnTo>
                    <a:pt x="1043" y="150"/>
                  </a:lnTo>
                  <a:lnTo>
                    <a:pt x="1043" y="149"/>
                  </a:lnTo>
                  <a:close/>
                  <a:moveTo>
                    <a:pt x="1056" y="143"/>
                  </a:moveTo>
                  <a:lnTo>
                    <a:pt x="1056" y="143"/>
                  </a:lnTo>
                  <a:lnTo>
                    <a:pt x="1047" y="146"/>
                  </a:lnTo>
                  <a:lnTo>
                    <a:pt x="1049" y="149"/>
                  </a:lnTo>
                  <a:lnTo>
                    <a:pt x="1049" y="149"/>
                  </a:lnTo>
                  <a:lnTo>
                    <a:pt x="1057" y="144"/>
                  </a:lnTo>
                  <a:lnTo>
                    <a:pt x="1056" y="143"/>
                  </a:lnTo>
                  <a:close/>
                  <a:moveTo>
                    <a:pt x="1071" y="136"/>
                  </a:moveTo>
                  <a:lnTo>
                    <a:pt x="1071" y="136"/>
                  </a:lnTo>
                  <a:lnTo>
                    <a:pt x="1062" y="140"/>
                  </a:lnTo>
                  <a:lnTo>
                    <a:pt x="1062" y="143"/>
                  </a:lnTo>
                  <a:lnTo>
                    <a:pt x="1062" y="143"/>
                  </a:lnTo>
                  <a:lnTo>
                    <a:pt x="1072" y="139"/>
                  </a:lnTo>
                  <a:lnTo>
                    <a:pt x="1071" y="136"/>
                  </a:lnTo>
                  <a:close/>
                  <a:moveTo>
                    <a:pt x="1084" y="128"/>
                  </a:moveTo>
                  <a:lnTo>
                    <a:pt x="1084" y="128"/>
                  </a:lnTo>
                  <a:lnTo>
                    <a:pt x="1078" y="133"/>
                  </a:lnTo>
                  <a:lnTo>
                    <a:pt x="1078" y="133"/>
                  </a:lnTo>
                  <a:lnTo>
                    <a:pt x="1075" y="134"/>
                  </a:lnTo>
                  <a:lnTo>
                    <a:pt x="1076" y="136"/>
                  </a:lnTo>
                  <a:lnTo>
                    <a:pt x="1076" y="136"/>
                  </a:lnTo>
                  <a:lnTo>
                    <a:pt x="1079" y="134"/>
                  </a:lnTo>
                  <a:lnTo>
                    <a:pt x="1079" y="134"/>
                  </a:lnTo>
                  <a:lnTo>
                    <a:pt x="1085" y="131"/>
                  </a:lnTo>
                  <a:lnTo>
                    <a:pt x="1084" y="128"/>
                  </a:lnTo>
                  <a:close/>
                  <a:moveTo>
                    <a:pt x="1098" y="134"/>
                  </a:moveTo>
                  <a:lnTo>
                    <a:pt x="1098" y="134"/>
                  </a:lnTo>
                  <a:lnTo>
                    <a:pt x="1092" y="133"/>
                  </a:lnTo>
                  <a:lnTo>
                    <a:pt x="1092" y="133"/>
                  </a:lnTo>
                  <a:lnTo>
                    <a:pt x="1089" y="131"/>
                  </a:lnTo>
                  <a:lnTo>
                    <a:pt x="1088" y="133"/>
                  </a:lnTo>
                  <a:lnTo>
                    <a:pt x="1088" y="133"/>
                  </a:lnTo>
                  <a:lnTo>
                    <a:pt x="1091" y="134"/>
                  </a:lnTo>
                  <a:lnTo>
                    <a:pt x="1091" y="134"/>
                  </a:lnTo>
                  <a:lnTo>
                    <a:pt x="1098" y="137"/>
                  </a:lnTo>
                  <a:lnTo>
                    <a:pt x="1098" y="134"/>
                  </a:lnTo>
                  <a:close/>
                  <a:moveTo>
                    <a:pt x="1114" y="139"/>
                  </a:moveTo>
                  <a:lnTo>
                    <a:pt x="1114" y="139"/>
                  </a:lnTo>
                  <a:lnTo>
                    <a:pt x="1104" y="136"/>
                  </a:lnTo>
                  <a:lnTo>
                    <a:pt x="1102" y="139"/>
                  </a:lnTo>
                  <a:lnTo>
                    <a:pt x="1102" y="139"/>
                  </a:lnTo>
                  <a:lnTo>
                    <a:pt x="1113" y="140"/>
                  </a:lnTo>
                  <a:lnTo>
                    <a:pt x="1114" y="139"/>
                  </a:lnTo>
                  <a:close/>
                  <a:moveTo>
                    <a:pt x="1128" y="142"/>
                  </a:moveTo>
                  <a:lnTo>
                    <a:pt x="1128" y="142"/>
                  </a:lnTo>
                  <a:lnTo>
                    <a:pt x="1118" y="139"/>
                  </a:lnTo>
                  <a:lnTo>
                    <a:pt x="1118" y="142"/>
                  </a:lnTo>
                  <a:lnTo>
                    <a:pt x="1118" y="142"/>
                  </a:lnTo>
                  <a:lnTo>
                    <a:pt x="1128" y="143"/>
                  </a:lnTo>
                  <a:lnTo>
                    <a:pt x="1128" y="142"/>
                  </a:lnTo>
                  <a:close/>
                  <a:moveTo>
                    <a:pt x="1143" y="142"/>
                  </a:moveTo>
                  <a:lnTo>
                    <a:pt x="1141" y="142"/>
                  </a:lnTo>
                  <a:lnTo>
                    <a:pt x="1141" y="142"/>
                  </a:lnTo>
                  <a:lnTo>
                    <a:pt x="1140" y="142"/>
                  </a:lnTo>
                  <a:lnTo>
                    <a:pt x="1140" y="142"/>
                  </a:lnTo>
                  <a:lnTo>
                    <a:pt x="1133" y="142"/>
                  </a:lnTo>
                  <a:lnTo>
                    <a:pt x="1133" y="144"/>
                  </a:lnTo>
                  <a:lnTo>
                    <a:pt x="1133" y="144"/>
                  </a:lnTo>
                  <a:lnTo>
                    <a:pt x="1140" y="144"/>
                  </a:lnTo>
                  <a:lnTo>
                    <a:pt x="1140" y="144"/>
                  </a:lnTo>
                  <a:lnTo>
                    <a:pt x="1143" y="144"/>
                  </a:lnTo>
                  <a:lnTo>
                    <a:pt x="1144" y="144"/>
                  </a:lnTo>
                  <a:lnTo>
                    <a:pt x="1143" y="142"/>
                  </a:lnTo>
                  <a:close/>
                  <a:moveTo>
                    <a:pt x="1155" y="133"/>
                  </a:moveTo>
                  <a:lnTo>
                    <a:pt x="1155" y="133"/>
                  </a:lnTo>
                  <a:lnTo>
                    <a:pt x="1147" y="139"/>
                  </a:lnTo>
                  <a:lnTo>
                    <a:pt x="1149" y="142"/>
                  </a:lnTo>
                  <a:lnTo>
                    <a:pt x="1149" y="142"/>
                  </a:lnTo>
                  <a:lnTo>
                    <a:pt x="1156" y="134"/>
                  </a:lnTo>
                  <a:lnTo>
                    <a:pt x="1155" y="133"/>
                  </a:lnTo>
                  <a:close/>
                  <a:moveTo>
                    <a:pt x="1160" y="120"/>
                  </a:moveTo>
                  <a:lnTo>
                    <a:pt x="1160" y="120"/>
                  </a:lnTo>
                  <a:lnTo>
                    <a:pt x="1159" y="126"/>
                  </a:lnTo>
                  <a:lnTo>
                    <a:pt x="1159" y="126"/>
                  </a:lnTo>
                  <a:lnTo>
                    <a:pt x="1157" y="130"/>
                  </a:lnTo>
                  <a:lnTo>
                    <a:pt x="1160" y="131"/>
                  </a:lnTo>
                  <a:lnTo>
                    <a:pt x="1160" y="131"/>
                  </a:lnTo>
                  <a:lnTo>
                    <a:pt x="1162" y="127"/>
                  </a:lnTo>
                  <a:lnTo>
                    <a:pt x="1162" y="127"/>
                  </a:lnTo>
                  <a:lnTo>
                    <a:pt x="1163" y="121"/>
                  </a:lnTo>
                  <a:lnTo>
                    <a:pt x="1160" y="120"/>
                  </a:lnTo>
                  <a:close/>
                  <a:moveTo>
                    <a:pt x="1166" y="105"/>
                  </a:moveTo>
                  <a:lnTo>
                    <a:pt x="1166" y="105"/>
                  </a:lnTo>
                  <a:lnTo>
                    <a:pt x="1162" y="113"/>
                  </a:lnTo>
                  <a:lnTo>
                    <a:pt x="1162" y="113"/>
                  </a:lnTo>
                  <a:lnTo>
                    <a:pt x="1162" y="115"/>
                  </a:lnTo>
                  <a:lnTo>
                    <a:pt x="1165" y="115"/>
                  </a:lnTo>
                  <a:lnTo>
                    <a:pt x="1165" y="115"/>
                  </a:lnTo>
                  <a:lnTo>
                    <a:pt x="1165" y="114"/>
                  </a:lnTo>
                  <a:lnTo>
                    <a:pt x="1165" y="114"/>
                  </a:lnTo>
                  <a:lnTo>
                    <a:pt x="1168" y="107"/>
                  </a:lnTo>
                  <a:lnTo>
                    <a:pt x="1166" y="105"/>
                  </a:lnTo>
                  <a:close/>
                  <a:moveTo>
                    <a:pt x="1175" y="92"/>
                  </a:moveTo>
                  <a:lnTo>
                    <a:pt x="1175" y="92"/>
                  </a:lnTo>
                  <a:lnTo>
                    <a:pt x="1169" y="101"/>
                  </a:lnTo>
                  <a:lnTo>
                    <a:pt x="1170" y="102"/>
                  </a:lnTo>
                  <a:lnTo>
                    <a:pt x="1170" y="102"/>
                  </a:lnTo>
                  <a:lnTo>
                    <a:pt x="1176" y="94"/>
                  </a:lnTo>
                  <a:lnTo>
                    <a:pt x="1175" y="92"/>
                  </a:lnTo>
                  <a:close/>
                  <a:moveTo>
                    <a:pt x="1173" y="81"/>
                  </a:moveTo>
                  <a:lnTo>
                    <a:pt x="1173" y="81"/>
                  </a:lnTo>
                  <a:lnTo>
                    <a:pt x="1172" y="85"/>
                  </a:lnTo>
                  <a:lnTo>
                    <a:pt x="1172" y="85"/>
                  </a:lnTo>
                  <a:lnTo>
                    <a:pt x="1173" y="86"/>
                  </a:lnTo>
                  <a:lnTo>
                    <a:pt x="1173" y="88"/>
                  </a:lnTo>
                  <a:lnTo>
                    <a:pt x="1173" y="88"/>
                  </a:lnTo>
                  <a:lnTo>
                    <a:pt x="1176" y="89"/>
                  </a:lnTo>
                  <a:lnTo>
                    <a:pt x="1176" y="89"/>
                  </a:lnTo>
                  <a:lnTo>
                    <a:pt x="1176" y="89"/>
                  </a:lnTo>
                  <a:lnTo>
                    <a:pt x="1176" y="89"/>
                  </a:lnTo>
                  <a:lnTo>
                    <a:pt x="1176" y="89"/>
                  </a:lnTo>
                  <a:lnTo>
                    <a:pt x="1176" y="89"/>
                  </a:lnTo>
                  <a:lnTo>
                    <a:pt x="1176" y="89"/>
                  </a:lnTo>
                  <a:lnTo>
                    <a:pt x="1176" y="89"/>
                  </a:lnTo>
                  <a:lnTo>
                    <a:pt x="1179" y="88"/>
                  </a:lnTo>
                  <a:lnTo>
                    <a:pt x="1179" y="88"/>
                  </a:lnTo>
                  <a:lnTo>
                    <a:pt x="1178" y="88"/>
                  </a:lnTo>
                  <a:lnTo>
                    <a:pt x="1178" y="88"/>
                  </a:lnTo>
                  <a:lnTo>
                    <a:pt x="1175" y="86"/>
                  </a:lnTo>
                  <a:lnTo>
                    <a:pt x="1175" y="86"/>
                  </a:lnTo>
                  <a:lnTo>
                    <a:pt x="1175" y="85"/>
                  </a:lnTo>
                  <a:lnTo>
                    <a:pt x="1175" y="85"/>
                  </a:lnTo>
                  <a:lnTo>
                    <a:pt x="1176" y="81"/>
                  </a:lnTo>
                  <a:lnTo>
                    <a:pt x="1173" y="81"/>
                  </a:lnTo>
                  <a:close/>
                  <a:moveTo>
                    <a:pt x="1173" y="69"/>
                  </a:moveTo>
                  <a:lnTo>
                    <a:pt x="1173" y="69"/>
                  </a:lnTo>
                  <a:lnTo>
                    <a:pt x="1175" y="69"/>
                  </a:lnTo>
                  <a:lnTo>
                    <a:pt x="1175" y="69"/>
                  </a:lnTo>
                  <a:lnTo>
                    <a:pt x="1175" y="72"/>
                  </a:lnTo>
                  <a:lnTo>
                    <a:pt x="1175" y="72"/>
                  </a:lnTo>
                  <a:lnTo>
                    <a:pt x="1175" y="75"/>
                  </a:lnTo>
                  <a:lnTo>
                    <a:pt x="1178" y="76"/>
                  </a:lnTo>
                  <a:lnTo>
                    <a:pt x="1178" y="76"/>
                  </a:lnTo>
                  <a:lnTo>
                    <a:pt x="1178" y="72"/>
                  </a:lnTo>
                  <a:lnTo>
                    <a:pt x="1178" y="72"/>
                  </a:lnTo>
                  <a:lnTo>
                    <a:pt x="1176" y="68"/>
                  </a:lnTo>
                  <a:lnTo>
                    <a:pt x="1176" y="68"/>
                  </a:lnTo>
                  <a:lnTo>
                    <a:pt x="1175" y="66"/>
                  </a:lnTo>
                  <a:lnTo>
                    <a:pt x="1173" y="69"/>
                  </a:lnTo>
                  <a:close/>
                  <a:moveTo>
                    <a:pt x="1169" y="56"/>
                  </a:moveTo>
                  <a:lnTo>
                    <a:pt x="1169" y="56"/>
                  </a:lnTo>
                  <a:lnTo>
                    <a:pt x="1168" y="59"/>
                  </a:lnTo>
                  <a:lnTo>
                    <a:pt x="1166" y="63"/>
                  </a:lnTo>
                  <a:lnTo>
                    <a:pt x="1166" y="63"/>
                  </a:lnTo>
                  <a:lnTo>
                    <a:pt x="1168" y="66"/>
                  </a:lnTo>
                  <a:lnTo>
                    <a:pt x="1169" y="66"/>
                  </a:lnTo>
                  <a:lnTo>
                    <a:pt x="1169" y="63"/>
                  </a:lnTo>
                  <a:lnTo>
                    <a:pt x="1169" y="63"/>
                  </a:lnTo>
                  <a:lnTo>
                    <a:pt x="1169" y="63"/>
                  </a:lnTo>
                  <a:lnTo>
                    <a:pt x="1169" y="63"/>
                  </a:lnTo>
                  <a:lnTo>
                    <a:pt x="1172" y="57"/>
                  </a:lnTo>
                  <a:lnTo>
                    <a:pt x="1169" y="56"/>
                  </a:lnTo>
                  <a:close/>
                  <a:moveTo>
                    <a:pt x="1181" y="44"/>
                  </a:moveTo>
                  <a:lnTo>
                    <a:pt x="1181" y="44"/>
                  </a:lnTo>
                  <a:lnTo>
                    <a:pt x="1173" y="52"/>
                  </a:lnTo>
                  <a:lnTo>
                    <a:pt x="1175" y="53"/>
                  </a:lnTo>
                  <a:lnTo>
                    <a:pt x="1175" y="53"/>
                  </a:lnTo>
                  <a:lnTo>
                    <a:pt x="1182" y="47"/>
                  </a:lnTo>
                  <a:lnTo>
                    <a:pt x="1181" y="44"/>
                  </a:lnTo>
                  <a:close/>
                  <a:moveTo>
                    <a:pt x="1197" y="42"/>
                  </a:moveTo>
                  <a:lnTo>
                    <a:pt x="1197" y="42"/>
                  </a:lnTo>
                  <a:lnTo>
                    <a:pt x="1186" y="43"/>
                  </a:lnTo>
                  <a:lnTo>
                    <a:pt x="1186" y="46"/>
                  </a:lnTo>
                  <a:lnTo>
                    <a:pt x="1186" y="46"/>
                  </a:lnTo>
                  <a:lnTo>
                    <a:pt x="1197" y="44"/>
                  </a:lnTo>
                  <a:lnTo>
                    <a:pt x="1197" y="42"/>
                  </a:lnTo>
                  <a:close/>
                  <a:moveTo>
                    <a:pt x="1211" y="40"/>
                  </a:moveTo>
                  <a:lnTo>
                    <a:pt x="1211" y="40"/>
                  </a:lnTo>
                  <a:lnTo>
                    <a:pt x="1201" y="42"/>
                  </a:lnTo>
                  <a:lnTo>
                    <a:pt x="1201" y="43"/>
                  </a:lnTo>
                  <a:lnTo>
                    <a:pt x="1201" y="43"/>
                  </a:lnTo>
                  <a:lnTo>
                    <a:pt x="1211" y="43"/>
                  </a:lnTo>
                  <a:lnTo>
                    <a:pt x="1211" y="40"/>
                  </a:lnTo>
                  <a:close/>
                  <a:moveTo>
                    <a:pt x="1227" y="39"/>
                  </a:moveTo>
                  <a:lnTo>
                    <a:pt x="1227" y="39"/>
                  </a:lnTo>
                  <a:lnTo>
                    <a:pt x="1217" y="39"/>
                  </a:lnTo>
                  <a:lnTo>
                    <a:pt x="1217" y="42"/>
                  </a:lnTo>
                  <a:lnTo>
                    <a:pt x="1217" y="42"/>
                  </a:lnTo>
                  <a:lnTo>
                    <a:pt x="1227" y="42"/>
                  </a:lnTo>
                  <a:lnTo>
                    <a:pt x="1227" y="39"/>
                  </a:lnTo>
                  <a:close/>
                  <a:moveTo>
                    <a:pt x="1241" y="43"/>
                  </a:moveTo>
                  <a:lnTo>
                    <a:pt x="1241" y="43"/>
                  </a:lnTo>
                  <a:lnTo>
                    <a:pt x="1233" y="39"/>
                  </a:lnTo>
                  <a:lnTo>
                    <a:pt x="1231" y="42"/>
                  </a:lnTo>
                  <a:lnTo>
                    <a:pt x="1231" y="42"/>
                  </a:lnTo>
                  <a:lnTo>
                    <a:pt x="1241" y="44"/>
                  </a:lnTo>
                  <a:lnTo>
                    <a:pt x="1241" y="43"/>
                  </a:lnTo>
                  <a:close/>
                  <a:moveTo>
                    <a:pt x="1256" y="44"/>
                  </a:moveTo>
                  <a:lnTo>
                    <a:pt x="1256" y="44"/>
                  </a:lnTo>
                  <a:lnTo>
                    <a:pt x="1254" y="43"/>
                  </a:lnTo>
                  <a:lnTo>
                    <a:pt x="1254" y="43"/>
                  </a:lnTo>
                  <a:lnTo>
                    <a:pt x="1247" y="44"/>
                  </a:lnTo>
                  <a:lnTo>
                    <a:pt x="1246" y="44"/>
                  </a:lnTo>
                  <a:lnTo>
                    <a:pt x="1246" y="47"/>
                  </a:lnTo>
                  <a:lnTo>
                    <a:pt x="1246" y="47"/>
                  </a:lnTo>
                  <a:lnTo>
                    <a:pt x="1247" y="47"/>
                  </a:lnTo>
                  <a:lnTo>
                    <a:pt x="1247" y="47"/>
                  </a:lnTo>
                  <a:lnTo>
                    <a:pt x="1254" y="46"/>
                  </a:lnTo>
                  <a:lnTo>
                    <a:pt x="1254" y="46"/>
                  </a:lnTo>
                  <a:lnTo>
                    <a:pt x="1256" y="46"/>
                  </a:lnTo>
                  <a:lnTo>
                    <a:pt x="1256" y="44"/>
                  </a:lnTo>
                  <a:close/>
                  <a:moveTo>
                    <a:pt x="1267" y="55"/>
                  </a:moveTo>
                  <a:lnTo>
                    <a:pt x="1267" y="55"/>
                  </a:lnTo>
                  <a:lnTo>
                    <a:pt x="1262" y="46"/>
                  </a:lnTo>
                  <a:lnTo>
                    <a:pt x="1260" y="47"/>
                  </a:lnTo>
                  <a:lnTo>
                    <a:pt x="1260" y="47"/>
                  </a:lnTo>
                  <a:lnTo>
                    <a:pt x="1266" y="56"/>
                  </a:lnTo>
                  <a:lnTo>
                    <a:pt x="1267" y="55"/>
                  </a:lnTo>
                  <a:close/>
                  <a:moveTo>
                    <a:pt x="1276" y="68"/>
                  </a:moveTo>
                  <a:lnTo>
                    <a:pt x="1276" y="68"/>
                  </a:lnTo>
                  <a:lnTo>
                    <a:pt x="1270" y="59"/>
                  </a:lnTo>
                  <a:lnTo>
                    <a:pt x="1269" y="60"/>
                  </a:lnTo>
                  <a:lnTo>
                    <a:pt x="1269" y="60"/>
                  </a:lnTo>
                  <a:lnTo>
                    <a:pt x="1273" y="69"/>
                  </a:lnTo>
                  <a:lnTo>
                    <a:pt x="1276" y="68"/>
                  </a:lnTo>
                  <a:close/>
                  <a:moveTo>
                    <a:pt x="1283" y="81"/>
                  </a:moveTo>
                  <a:lnTo>
                    <a:pt x="1283" y="81"/>
                  </a:lnTo>
                  <a:lnTo>
                    <a:pt x="1279" y="72"/>
                  </a:lnTo>
                  <a:lnTo>
                    <a:pt x="1276" y="73"/>
                  </a:lnTo>
                  <a:lnTo>
                    <a:pt x="1276" y="73"/>
                  </a:lnTo>
                  <a:lnTo>
                    <a:pt x="1282" y="82"/>
                  </a:lnTo>
                  <a:lnTo>
                    <a:pt x="1283" y="81"/>
                  </a:lnTo>
                  <a:close/>
                  <a:moveTo>
                    <a:pt x="1292" y="94"/>
                  </a:moveTo>
                  <a:lnTo>
                    <a:pt x="1292" y="94"/>
                  </a:lnTo>
                  <a:lnTo>
                    <a:pt x="1289" y="91"/>
                  </a:lnTo>
                  <a:lnTo>
                    <a:pt x="1289" y="91"/>
                  </a:lnTo>
                  <a:lnTo>
                    <a:pt x="1286" y="85"/>
                  </a:lnTo>
                  <a:lnTo>
                    <a:pt x="1283" y="86"/>
                  </a:lnTo>
                  <a:lnTo>
                    <a:pt x="1283" y="86"/>
                  </a:lnTo>
                  <a:lnTo>
                    <a:pt x="1288" y="92"/>
                  </a:lnTo>
                  <a:lnTo>
                    <a:pt x="1288" y="92"/>
                  </a:lnTo>
                  <a:lnTo>
                    <a:pt x="1289" y="95"/>
                  </a:lnTo>
                  <a:lnTo>
                    <a:pt x="1292" y="94"/>
                  </a:lnTo>
                  <a:close/>
                  <a:moveTo>
                    <a:pt x="1294" y="108"/>
                  </a:moveTo>
                  <a:lnTo>
                    <a:pt x="1294" y="108"/>
                  </a:lnTo>
                  <a:lnTo>
                    <a:pt x="1292" y="104"/>
                  </a:lnTo>
                  <a:lnTo>
                    <a:pt x="1292" y="104"/>
                  </a:lnTo>
                  <a:lnTo>
                    <a:pt x="1292" y="104"/>
                  </a:lnTo>
                  <a:lnTo>
                    <a:pt x="1292" y="104"/>
                  </a:lnTo>
                  <a:lnTo>
                    <a:pt x="1292" y="100"/>
                  </a:lnTo>
                  <a:lnTo>
                    <a:pt x="1289" y="100"/>
                  </a:lnTo>
                  <a:lnTo>
                    <a:pt x="1289" y="100"/>
                  </a:lnTo>
                  <a:lnTo>
                    <a:pt x="1289" y="104"/>
                  </a:lnTo>
                  <a:lnTo>
                    <a:pt x="1289" y="104"/>
                  </a:lnTo>
                  <a:lnTo>
                    <a:pt x="1289" y="104"/>
                  </a:lnTo>
                  <a:lnTo>
                    <a:pt x="1289" y="104"/>
                  </a:lnTo>
                  <a:lnTo>
                    <a:pt x="1291" y="110"/>
                  </a:lnTo>
                  <a:lnTo>
                    <a:pt x="1294" y="108"/>
                  </a:lnTo>
                  <a:close/>
                  <a:moveTo>
                    <a:pt x="1299" y="123"/>
                  </a:moveTo>
                  <a:lnTo>
                    <a:pt x="1299" y="123"/>
                  </a:lnTo>
                  <a:lnTo>
                    <a:pt x="1295" y="113"/>
                  </a:lnTo>
                  <a:lnTo>
                    <a:pt x="1294" y="114"/>
                  </a:lnTo>
                  <a:lnTo>
                    <a:pt x="1294" y="114"/>
                  </a:lnTo>
                  <a:lnTo>
                    <a:pt x="1296" y="123"/>
                  </a:lnTo>
                  <a:lnTo>
                    <a:pt x="1299" y="123"/>
                  </a:lnTo>
                  <a:close/>
                  <a:moveTo>
                    <a:pt x="1304" y="134"/>
                  </a:moveTo>
                  <a:lnTo>
                    <a:pt x="1304" y="134"/>
                  </a:lnTo>
                  <a:lnTo>
                    <a:pt x="1301" y="133"/>
                  </a:lnTo>
                  <a:lnTo>
                    <a:pt x="1301" y="133"/>
                  </a:lnTo>
                  <a:lnTo>
                    <a:pt x="1301" y="130"/>
                  </a:lnTo>
                  <a:lnTo>
                    <a:pt x="1301" y="130"/>
                  </a:lnTo>
                  <a:lnTo>
                    <a:pt x="1301" y="128"/>
                  </a:lnTo>
                  <a:lnTo>
                    <a:pt x="1301" y="128"/>
                  </a:lnTo>
                  <a:lnTo>
                    <a:pt x="1301" y="128"/>
                  </a:lnTo>
                  <a:lnTo>
                    <a:pt x="1301" y="128"/>
                  </a:lnTo>
                  <a:lnTo>
                    <a:pt x="1301" y="127"/>
                  </a:lnTo>
                  <a:lnTo>
                    <a:pt x="1298" y="127"/>
                  </a:lnTo>
                  <a:lnTo>
                    <a:pt x="1298" y="128"/>
                  </a:lnTo>
                  <a:lnTo>
                    <a:pt x="1298" y="128"/>
                  </a:lnTo>
                  <a:lnTo>
                    <a:pt x="1298" y="128"/>
                  </a:lnTo>
                  <a:lnTo>
                    <a:pt x="1298" y="130"/>
                  </a:lnTo>
                  <a:lnTo>
                    <a:pt x="1298" y="130"/>
                  </a:lnTo>
                  <a:lnTo>
                    <a:pt x="1299" y="134"/>
                  </a:lnTo>
                  <a:lnTo>
                    <a:pt x="1299" y="134"/>
                  </a:lnTo>
                  <a:lnTo>
                    <a:pt x="1302" y="137"/>
                  </a:lnTo>
                  <a:lnTo>
                    <a:pt x="1304" y="134"/>
                  </a:lnTo>
                  <a:close/>
                  <a:moveTo>
                    <a:pt x="1318" y="140"/>
                  </a:moveTo>
                  <a:lnTo>
                    <a:pt x="1318" y="140"/>
                  </a:lnTo>
                  <a:lnTo>
                    <a:pt x="1309" y="137"/>
                  </a:lnTo>
                  <a:lnTo>
                    <a:pt x="1309" y="137"/>
                  </a:lnTo>
                  <a:lnTo>
                    <a:pt x="1308" y="136"/>
                  </a:lnTo>
                  <a:lnTo>
                    <a:pt x="1308" y="139"/>
                  </a:lnTo>
                  <a:lnTo>
                    <a:pt x="1309" y="139"/>
                  </a:lnTo>
                  <a:lnTo>
                    <a:pt x="1309" y="139"/>
                  </a:lnTo>
                  <a:lnTo>
                    <a:pt x="1317" y="143"/>
                  </a:lnTo>
                  <a:lnTo>
                    <a:pt x="1318" y="140"/>
                  </a:lnTo>
                  <a:close/>
                  <a:moveTo>
                    <a:pt x="1331" y="149"/>
                  </a:moveTo>
                  <a:lnTo>
                    <a:pt x="1331" y="149"/>
                  </a:lnTo>
                  <a:lnTo>
                    <a:pt x="1331" y="149"/>
                  </a:lnTo>
                  <a:lnTo>
                    <a:pt x="1323" y="143"/>
                  </a:lnTo>
                  <a:lnTo>
                    <a:pt x="1321" y="146"/>
                  </a:lnTo>
                  <a:lnTo>
                    <a:pt x="1321" y="146"/>
                  </a:lnTo>
                  <a:lnTo>
                    <a:pt x="1330" y="150"/>
                  </a:lnTo>
                  <a:lnTo>
                    <a:pt x="1330" y="150"/>
                  </a:lnTo>
                  <a:lnTo>
                    <a:pt x="1331" y="149"/>
                  </a:lnTo>
                  <a:close/>
                  <a:moveTo>
                    <a:pt x="1343" y="159"/>
                  </a:moveTo>
                  <a:lnTo>
                    <a:pt x="1343" y="159"/>
                  </a:lnTo>
                  <a:lnTo>
                    <a:pt x="1336" y="152"/>
                  </a:lnTo>
                  <a:lnTo>
                    <a:pt x="1333" y="155"/>
                  </a:lnTo>
                  <a:lnTo>
                    <a:pt x="1333" y="155"/>
                  </a:lnTo>
                  <a:lnTo>
                    <a:pt x="1341" y="160"/>
                  </a:lnTo>
                  <a:lnTo>
                    <a:pt x="1343" y="159"/>
                  </a:lnTo>
                  <a:close/>
                  <a:moveTo>
                    <a:pt x="1353" y="170"/>
                  </a:moveTo>
                  <a:lnTo>
                    <a:pt x="1353" y="170"/>
                  </a:lnTo>
                  <a:lnTo>
                    <a:pt x="1351" y="166"/>
                  </a:lnTo>
                  <a:lnTo>
                    <a:pt x="1350" y="163"/>
                  </a:lnTo>
                  <a:lnTo>
                    <a:pt x="1350" y="163"/>
                  </a:lnTo>
                  <a:lnTo>
                    <a:pt x="1347" y="162"/>
                  </a:lnTo>
                  <a:lnTo>
                    <a:pt x="1346" y="163"/>
                  </a:lnTo>
                  <a:lnTo>
                    <a:pt x="1346" y="163"/>
                  </a:lnTo>
                  <a:lnTo>
                    <a:pt x="1349" y="165"/>
                  </a:lnTo>
                  <a:lnTo>
                    <a:pt x="1349" y="165"/>
                  </a:lnTo>
                  <a:lnTo>
                    <a:pt x="1349" y="168"/>
                  </a:lnTo>
                  <a:lnTo>
                    <a:pt x="1350" y="170"/>
                  </a:lnTo>
                  <a:lnTo>
                    <a:pt x="1353" y="170"/>
                  </a:lnTo>
                  <a:close/>
                  <a:moveTo>
                    <a:pt x="1356" y="184"/>
                  </a:moveTo>
                  <a:lnTo>
                    <a:pt x="1356" y="184"/>
                  </a:lnTo>
                  <a:lnTo>
                    <a:pt x="1353" y="181"/>
                  </a:lnTo>
                  <a:lnTo>
                    <a:pt x="1353" y="181"/>
                  </a:lnTo>
                  <a:lnTo>
                    <a:pt x="1353" y="176"/>
                  </a:lnTo>
                  <a:lnTo>
                    <a:pt x="1350" y="176"/>
                  </a:lnTo>
                  <a:lnTo>
                    <a:pt x="1350" y="176"/>
                  </a:lnTo>
                  <a:lnTo>
                    <a:pt x="1350" y="181"/>
                  </a:lnTo>
                  <a:lnTo>
                    <a:pt x="1350" y="181"/>
                  </a:lnTo>
                  <a:lnTo>
                    <a:pt x="1351" y="184"/>
                  </a:lnTo>
                  <a:lnTo>
                    <a:pt x="1354" y="185"/>
                  </a:lnTo>
                  <a:lnTo>
                    <a:pt x="1356" y="184"/>
                  </a:lnTo>
                  <a:close/>
                  <a:moveTo>
                    <a:pt x="1369" y="188"/>
                  </a:moveTo>
                  <a:lnTo>
                    <a:pt x="1369" y="188"/>
                  </a:lnTo>
                  <a:lnTo>
                    <a:pt x="1367" y="188"/>
                  </a:lnTo>
                  <a:lnTo>
                    <a:pt x="1367" y="188"/>
                  </a:lnTo>
                  <a:lnTo>
                    <a:pt x="1360" y="186"/>
                  </a:lnTo>
                  <a:lnTo>
                    <a:pt x="1359" y="188"/>
                  </a:lnTo>
                  <a:lnTo>
                    <a:pt x="1359" y="188"/>
                  </a:lnTo>
                  <a:lnTo>
                    <a:pt x="1363" y="191"/>
                  </a:lnTo>
                  <a:lnTo>
                    <a:pt x="1367" y="191"/>
                  </a:lnTo>
                  <a:lnTo>
                    <a:pt x="1367" y="191"/>
                  </a:lnTo>
                  <a:lnTo>
                    <a:pt x="1369" y="191"/>
                  </a:lnTo>
                  <a:lnTo>
                    <a:pt x="1369" y="188"/>
                  </a:lnTo>
                  <a:close/>
                  <a:moveTo>
                    <a:pt x="1382" y="182"/>
                  </a:moveTo>
                  <a:lnTo>
                    <a:pt x="1382" y="182"/>
                  </a:lnTo>
                  <a:lnTo>
                    <a:pt x="1373" y="186"/>
                  </a:lnTo>
                  <a:lnTo>
                    <a:pt x="1375" y="189"/>
                  </a:lnTo>
                  <a:lnTo>
                    <a:pt x="1375" y="189"/>
                  </a:lnTo>
                  <a:lnTo>
                    <a:pt x="1383" y="185"/>
                  </a:lnTo>
                  <a:lnTo>
                    <a:pt x="1382" y="182"/>
                  </a:lnTo>
                  <a:close/>
                  <a:moveTo>
                    <a:pt x="1398" y="178"/>
                  </a:moveTo>
                  <a:lnTo>
                    <a:pt x="1398" y="178"/>
                  </a:lnTo>
                  <a:lnTo>
                    <a:pt x="1393" y="179"/>
                  </a:lnTo>
                  <a:lnTo>
                    <a:pt x="1393" y="179"/>
                  </a:lnTo>
                  <a:lnTo>
                    <a:pt x="1388" y="181"/>
                  </a:lnTo>
                  <a:lnTo>
                    <a:pt x="1388" y="184"/>
                  </a:lnTo>
                  <a:lnTo>
                    <a:pt x="1388" y="184"/>
                  </a:lnTo>
                  <a:lnTo>
                    <a:pt x="1393" y="181"/>
                  </a:lnTo>
                  <a:lnTo>
                    <a:pt x="1393" y="181"/>
                  </a:lnTo>
                  <a:lnTo>
                    <a:pt x="1398" y="181"/>
                  </a:lnTo>
                  <a:lnTo>
                    <a:pt x="1398" y="178"/>
                  </a:lnTo>
                  <a:close/>
                  <a:moveTo>
                    <a:pt x="1411" y="175"/>
                  </a:moveTo>
                  <a:lnTo>
                    <a:pt x="1411" y="175"/>
                  </a:lnTo>
                  <a:lnTo>
                    <a:pt x="1402" y="178"/>
                  </a:lnTo>
                  <a:lnTo>
                    <a:pt x="1402" y="181"/>
                  </a:lnTo>
                  <a:lnTo>
                    <a:pt x="1402" y="181"/>
                  </a:lnTo>
                  <a:lnTo>
                    <a:pt x="1412" y="178"/>
                  </a:lnTo>
                  <a:lnTo>
                    <a:pt x="1411" y="175"/>
                  </a:lnTo>
                  <a:close/>
                  <a:moveTo>
                    <a:pt x="1412" y="189"/>
                  </a:moveTo>
                  <a:lnTo>
                    <a:pt x="1412" y="189"/>
                  </a:lnTo>
                  <a:lnTo>
                    <a:pt x="1415" y="179"/>
                  </a:lnTo>
                  <a:lnTo>
                    <a:pt x="1412" y="179"/>
                  </a:lnTo>
                  <a:lnTo>
                    <a:pt x="1412" y="179"/>
                  </a:lnTo>
                  <a:lnTo>
                    <a:pt x="1409" y="189"/>
                  </a:lnTo>
                  <a:lnTo>
                    <a:pt x="1412" y="189"/>
                  </a:lnTo>
                  <a:close/>
                  <a:moveTo>
                    <a:pt x="1408" y="204"/>
                  </a:moveTo>
                  <a:lnTo>
                    <a:pt x="1408" y="204"/>
                  </a:lnTo>
                  <a:lnTo>
                    <a:pt x="1409" y="198"/>
                  </a:lnTo>
                  <a:lnTo>
                    <a:pt x="1409" y="198"/>
                  </a:lnTo>
                  <a:lnTo>
                    <a:pt x="1411" y="194"/>
                  </a:lnTo>
                  <a:lnTo>
                    <a:pt x="1408" y="194"/>
                  </a:lnTo>
                  <a:lnTo>
                    <a:pt x="1408" y="194"/>
                  </a:lnTo>
                  <a:lnTo>
                    <a:pt x="1407" y="198"/>
                  </a:lnTo>
                  <a:lnTo>
                    <a:pt x="1407" y="198"/>
                  </a:lnTo>
                  <a:lnTo>
                    <a:pt x="1407" y="204"/>
                  </a:lnTo>
                  <a:lnTo>
                    <a:pt x="1408" y="204"/>
                  </a:lnTo>
                  <a:close/>
                  <a:moveTo>
                    <a:pt x="1407" y="220"/>
                  </a:moveTo>
                  <a:lnTo>
                    <a:pt x="1407" y="220"/>
                  </a:lnTo>
                  <a:lnTo>
                    <a:pt x="1408" y="210"/>
                  </a:lnTo>
                  <a:lnTo>
                    <a:pt x="1405" y="208"/>
                  </a:lnTo>
                  <a:lnTo>
                    <a:pt x="1405" y="208"/>
                  </a:lnTo>
                  <a:lnTo>
                    <a:pt x="1404" y="218"/>
                  </a:lnTo>
                  <a:lnTo>
                    <a:pt x="1407" y="220"/>
                  </a:lnTo>
                  <a:close/>
                  <a:moveTo>
                    <a:pt x="1401" y="234"/>
                  </a:moveTo>
                  <a:lnTo>
                    <a:pt x="1401" y="234"/>
                  </a:lnTo>
                  <a:lnTo>
                    <a:pt x="1404" y="228"/>
                  </a:lnTo>
                  <a:lnTo>
                    <a:pt x="1404" y="228"/>
                  </a:lnTo>
                  <a:lnTo>
                    <a:pt x="1405" y="224"/>
                  </a:lnTo>
                  <a:lnTo>
                    <a:pt x="1402" y="224"/>
                  </a:lnTo>
                  <a:lnTo>
                    <a:pt x="1402" y="224"/>
                  </a:lnTo>
                  <a:lnTo>
                    <a:pt x="1401" y="227"/>
                  </a:lnTo>
                  <a:lnTo>
                    <a:pt x="1401" y="227"/>
                  </a:lnTo>
                  <a:lnTo>
                    <a:pt x="1399" y="233"/>
                  </a:lnTo>
                  <a:lnTo>
                    <a:pt x="1401" y="234"/>
                  </a:lnTo>
                  <a:close/>
                  <a:moveTo>
                    <a:pt x="1393" y="247"/>
                  </a:moveTo>
                  <a:lnTo>
                    <a:pt x="1393" y="247"/>
                  </a:lnTo>
                  <a:lnTo>
                    <a:pt x="1398" y="239"/>
                  </a:lnTo>
                  <a:lnTo>
                    <a:pt x="1396" y="237"/>
                  </a:lnTo>
                  <a:lnTo>
                    <a:pt x="1396" y="237"/>
                  </a:lnTo>
                  <a:lnTo>
                    <a:pt x="1391" y="246"/>
                  </a:lnTo>
                  <a:lnTo>
                    <a:pt x="1393" y="247"/>
                  </a:lnTo>
                  <a:close/>
                  <a:moveTo>
                    <a:pt x="1380" y="256"/>
                  </a:moveTo>
                  <a:lnTo>
                    <a:pt x="1382" y="257"/>
                  </a:lnTo>
                  <a:lnTo>
                    <a:pt x="1382" y="257"/>
                  </a:lnTo>
                  <a:lnTo>
                    <a:pt x="1385" y="256"/>
                  </a:lnTo>
                  <a:lnTo>
                    <a:pt x="1385" y="256"/>
                  </a:lnTo>
                  <a:lnTo>
                    <a:pt x="1389" y="250"/>
                  </a:lnTo>
                  <a:lnTo>
                    <a:pt x="1388" y="249"/>
                  </a:lnTo>
                  <a:lnTo>
                    <a:pt x="1388" y="249"/>
                  </a:lnTo>
                  <a:lnTo>
                    <a:pt x="1383" y="253"/>
                  </a:lnTo>
                  <a:lnTo>
                    <a:pt x="1383" y="253"/>
                  </a:lnTo>
                  <a:lnTo>
                    <a:pt x="1382" y="254"/>
                  </a:lnTo>
                  <a:lnTo>
                    <a:pt x="1380" y="254"/>
                  </a:lnTo>
                  <a:lnTo>
                    <a:pt x="1380" y="256"/>
                  </a:lnTo>
                  <a:close/>
                  <a:moveTo>
                    <a:pt x="1366" y="256"/>
                  </a:moveTo>
                  <a:lnTo>
                    <a:pt x="1366" y="256"/>
                  </a:lnTo>
                  <a:lnTo>
                    <a:pt x="1369" y="254"/>
                  </a:lnTo>
                  <a:lnTo>
                    <a:pt x="1369" y="254"/>
                  </a:lnTo>
                  <a:lnTo>
                    <a:pt x="1370" y="254"/>
                  </a:lnTo>
                  <a:lnTo>
                    <a:pt x="1370" y="254"/>
                  </a:lnTo>
                  <a:lnTo>
                    <a:pt x="1375" y="256"/>
                  </a:lnTo>
                  <a:lnTo>
                    <a:pt x="1376" y="253"/>
                  </a:lnTo>
                  <a:lnTo>
                    <a:pt x="1376" y="253"/>
                  </a:lnTo>
                  <a:lnTo>
                    <a:pt x="1370" y="252"/>
                  </a:lnTo>
                  <a:lnTo>
                    <a:pt x="1370" y="252"/>
                  </a:lnTo>
                  <a:lnTo>
                    <a:pt x="1367" y="253"/>
                  </a:lnTo>
                  <a:lnTo>
                    <a:pt x="1367" y="253"/>
                  </a:lnTo>
                  <a:lnTo>
                    <a:pt x="1366" y="253"/>
                  </a:lnTo>
                  <a:lnTo>
                    <a:pt x="1366" y="256"/>
                  </a:lnTo>
                  <a:close/>
                  <a:moveTo>
                    <a:pt x="1359" y="265"/>
                  </a:moveTo>
                  <a:lnTo>
                    <a:pt x="1359" y="265"/>
                  </a:lnTo>
                  <a:lnTo>
                    <a:pt x="1359" y="263"/>
                  </a:lnTo>
                  <a:lnTo>
                    <a:pt x="1359" y="263"/>
                  </a:lnTo>
                  <a:lnTo>
                    <a:pt x="1359" y="262"/>
                  </a:lnTo>
                  <a:lnTo>
                    <a:pt x="1359" y="262"/>
                  </a:lnTo>
                  <a:lnTo>
                    <a:pt x="1362" y="259"/>
                  </a:lnTo>
                  <a:lnTo>
                    <a:pt x="1360" y="256"/>
                  </a:lnTo>
                  <a:lnTo>
                    <a:pt x="1360" y="256"/>
                  </a:lnTo>
                  <a:lnTo>
                    <a:pt x="1359" y="257"/>
                  </a:lnTo>
                  <a:lnTo>
                    <a:pt x="1356" y="260"/>
                  </a:lnTo>
                  <a:lnTo>
                    <a:pt x="1356" y="260"/>
                  </a:lnTo>
                  <a:lnTo>
                    <a:pt x="1356" y="263"/>
                  </a:lnTo>
                  <a:lnTo>
                    <a:pt x="1356" y="263"/>
                  </a:lnTo>
                  <a:lnTo>
                    <a:pt x="1356" y="266"/>
                  </a:lnTo>
                  <a:lnTo>
                    <a:pt x="1359" y="265"/>
                  </a:lnTo>
                  <a:close/>
                  <a:moveTo>
                    <a:pt x="1362" y="281"/>
                  </a:moveTo>
                  <a:lnTo>
                    <a:pt x="1362" y="281"/>
                  </a:lnTo>
                  <a:lnTo>
                    <a:pt x="1363" y="278"/>
                  </a:lnTo>
                  <a:lnTo>
                    <a:pt x="1363" y="278"/>
                  </a:lnTo>
                  <a:lnTo>
                    <a:pt x="1362" y="273"/>
                  </a:lnTo>
                  <a:lnTo>
                    <a:pt x="1362" y="273"/>
                  </a:lnTo>
                  <a:lnTo>
                    <a:pt x="1360" y="270"/>
                  </a:lnTo>
                  <a:lnTo>
                    <a:pt x="1357" y="270"/>
                  </a:lnTo>
                  <a:lnTo>
                    <a:pt x="1357" y="270"/>
                  </a:lnTo>
                  <a:lnTo>
                    <a:pt x="1359" y="275"/>
                  </a:lnTo>
                  <a:lnTo>
                    <a:pt x="1359" y="275"/>
                  </a:lnTo>
                  <a:lnTo>
                    <a:pt x="1360" y="278"/>
                  </a:lnTo>
                  <a:lnTo>
                    <a:pt x="1360" y="278"/>
                  </a:lnTo>
                  <a:lnTo>
                    <a:pt x="1360" y="279"/>
                  </a:lnTo>
                  <a:lnTo>
                    <a:pt x="1362" y="281"/>
                  </a:lnTo>
                  <a:close/>
                  <a:moveTo>
                    <a:pt x="1357" y="295"/>
                  </a:moveTo>
                  <a:lnTo>
                    <a:pt x="1357" y="295"/>
                  </a:lnTo>
                  <a:lnTo>
                    <a:pt x="1362" y="285"/>
                  </a:lnTo>
                  <a:lnTo>
                    <a:pt x="1359" y="285"/>
                  </a:lnTo>
                  <a:lnTo>
                    <a:pt x="1359" y="285"/>
                  </a:lnTo>
                  <a:lnTo>
                    <a:pt x="1354" y="294"/>
                  </a:lnTo>
                  <a:lnTo>
                    <a:pt x="1357" y="295"/>
                  </a:lnTo>
                  <a:close/>
                  <a:moveTo>
                    <a:pt x="1344" y="304"/>
                  </a:moveTo>
                  <a:lnTo>
                    <a:pt x="1344" y="304"/>
                  </a:lnTo>
                  <a:lnTo>
                    <a:pt x="1350" y="302"/>
                  </a:lnTo>
                  <a:lnTo>
                    <a:pt x="1350" y="302"/>
                  </a:lnTo>
                  <a:lnTo>
                    <a:pt x="1353" y="301"/>
                  </a:lnTo>
                  <a:lnTo>
                    <a:pt x="1354" y="299"/>
                  </a:lnTo>
                  <a:lnTo>
                    <a:pt x="1353" y="298"/>
                  </a:lnTo>
                  <a:lnTo>
                    <a:pt x="1353" y="298"/>
                  </a:lnTo>
                  <a:lnTo>
                    <a:pt x="1350" y="301"/>
                  </a:lnTo>
                  <a:lnTo>
                    <a:pt x="1350" y="301"/>
                  </a:lnTo>
                  <a:lnTo>
                    <a:pt x="1344" y="301"/>
                  </a:lnTo>
                  <a:lnTo>
                    <a:pt x="1344" y="304"/>
                  </a:lnTo>
                  <a:close/>
                  <a:moveTo>
                    <a:pt x="1331" y="308"/>
                  </a:moveTo>
                  <a:lnTo>
                    <a:pt x="1331" y="308"/>
                  </a:lnTo>
                  <a:lnTo>
                    <a:pt x="1336" y="305"/>
                  </a:lnTo>
                  <a:lnTo>
                    <a:pt x="1338" y="304"/>
                  </a:lnTo>
                  <a:lnTo>
                    <a:pt x="1338" y="304"/>
                  </a:lnTo>
                  <a:lnTo>
                    <a:pt x="1340" y="304"/>
                  </a:lnTo>
                  <a:lnTo>
                    <a:pt x="1340" y="301"/>
                  </a:lnTo>
                  <a:lnTo>
                    <a:pt x="1340" y="301"/>
                  </a:lnTo>
                  <a:lnTo>
                    <a:pt x="1337" y="302"/>
                  </a:lnTo>
                  <a:lnTo>
                    <a:pt x="1337" y="302"/>
                  </a:lnTo>
                  <a:lnTo>
                    <a:pt x="1334" y="304"/>
                  </a:lnTo>
                  <a:lnTo>
                    <a:pt x="1330" y="307"/>
                  </a:lnTo>
                  <a:lnTo>
                    <a:pt x="1331" y="308"/>
                  </a:lnTo>
                  <a:close/>
                  <a:moveTo>
                    <a:pt x="1321" y="320"/>
                  </a:moveTo>
                  <a:lnTo>
                    <a:pt x="1321" y="320"/>
                  </a:lnTo>
                  <a:lnTo>
                    <a:pt x="1323" y="318"/>
                  </a:lnTo>
                  <a:lnTo>
                    <a:pt x="1323" y="318"/>
                  </a:lnTo>
                  <a:lnTo>
                    <a:pt x="1328" y="311"/>
                  </a:lnTo>
                  <a:lnTo>
                    <a:pt x="1327" y="310"/>
                  </a:lnTo>
                  <a:lnTo>
                    <a:pt x="1327" y="310"/>
                  </a:lnTo>
                  <a:lnTo>
                    <a:pt x="1321" y="315"/>
                  </a:lnTo>
                  <a:lnTo>
                    <a:pt x="1320" y="317"/>
                  </a:lnTo>
                  <a:lnTo>
                    <a:pt x="1321" y="320"/>
                  </a:lnTo>
                  <a:close/>
                  <a:moveTo>
                    <a:pt x="1311" y="323"/>
                  </a:moveTo>
                  <a:lnTo>
                    <a:pt x="1311" y="323"/>
                  </a:lnTo>
                  <a:lnTo>
                    <a:pt x="1311" y="320"/>
                  </a:lnTo>
                  <a:lnTo>
                    <a:pt x="1311" y="320"/>
                  </a:lnTo>
                  <a:lnTo>
                    <a:pt x="1311" y="320"/>
                  </a:lnTo>
                  <a:lnTo>
                    <a:pt x="1311" y="320"/>
                  </a:lnTo>
                  <a:lnTo>
                    <a:pt x="1311" y="320"/>
                  </a:lnTo>
                  <a:lnTo>
                    <a:pt x="1311" y="320"/>
                  </a:lnTo>
                  <a:lnTo>
                    <a:pt x="1311" y="320"/>
                  </a:lnTo>
                  <a:lnTo>
                    <a:pt x="1311" y="320"/>
                  </a:lnTo>
                  <a:lnTo>
                    <a:pt x="1311" y="320"/>
                  </a:lnTo>
                  <a:lnTo>
                    <a:pt x="1315" y="320"/>
                  </a:lnTo>
                  <a:lnTo>
                    <a:pt x="1315" y="318"/>
                  </a:lnTo>
                  <a:lnTo>
                    <a:pt x="1315" y="318"/>
                  </a:lnTo>
                  <a:lnTo>
                    <a:pt x="1311" y="317"/>
                  </a:lnTo>
                  <a:lnTo>
                    <a:pt x="1311" y="317"/>
                  </a:lnTo>
                  <a:lnTo>
                    <a:pt x="1309" y="318"/>
                  </a:lnTo>
                  <a:lnTo>
                    <a:pt x="1309" y="318"/>
                  </a:lnTo>
                  <a:lnTo>
                    <a:pt x="1308" y="320"/>
                  </a:lnTo>
                  <a:lnTo>
                    <a:pt x="1308" y="320"/>
                  </a:lnTo>
                  <a:lnTo>
                    <a:pt x="1308" y="323"/>
                  </a:lnTo>
                  <a:lnTo>
                    <a:pt x="1311" y="323"/>
                  </a:lnTo>
                  <a:close/>
                  <a:moveTo>
                    <a:pt x="1301" y="334"/>
                  </a:moveTo>
                  <a:lnTo>
                    <a:pt x="1301" y="334"/>
                  </a:lnTo>
                  <a:lnTo>
                    <a:pt x="1302" y="334"/>
                  </a:lnTo>
                  <a:lnTo>
                    <a:pt x="1302" y="334"/>
                  </a:lnTo>
                  <a:lnTo>
                    <a:pt x="1304" y="334"/>
                  </a:lnTo>
                  <a:lnTo>
                    <a:pt x="1307" y="333"/>
                  </a:lnTo>
                  <a:lnTo>
                    <a:pt x="1307" y="333"/>
                  </a:lnTo>
                  <a:lnTo>
                    <a:pt x="1309" y="328"/>
                  </a:lnTo>
                  <a:lnTo>
                    <a:pt x="1308" y="327"/>
                  </a:lnTo>
                  <a:lnTo>
                    <a:pt x="1308" y="327"/>
                  </a:lnTo>
                  <a:lnTo>
                    <a:pt x="1305" y="330"/>
                  </a:lnTo>
                  <a:lnTo>
                    <a:pt x="1305" y="330"/>
                  </a:lnTo>
                  <a:lnTo>
                    <a:pt x="1302" y="331"/>
                  </a:lnTo>
                  <a:lnTo>
                    <a:pt x="1301" y="331"/>
                  </a:lnTo>
                  <a:lnTo>
                    <a:pt x="1301" y="334"/>
                  </a:lnTo>
                  <a:close/>
                  <a:moveTo>
                    <a:pt x="1288" y="333"/>
                  </a:moveTo>
                  <a:lnTo>
                    <a:pt x="1288" y="333"/>
                  </a:lnTo>
                  <a:lnTo>
                    <a:pt x="1289" y="331"/>
                  </a:lnTo>
                  <a:lnTo>
                    <a:pt x="1291" y="331"/>
                  </a:lnTo>
                  <a:lnTo>
                    <a:pt x="1292" y="331"/>
                  </a:lnTo>
                  <a:lnTo>
                    <a:pt x="1292" y="331"/>
                  </a:lnTo>
                  <a:lnTo>
                    <a:pt x="1295" y="331"/>
                  </a:lnTo>
                  <a:lnTo>
                    <a:pt x="1296" y="330"/>
                  </a:lnTo>
                  <a:lnTo>
                    <a:pt x="1296" y="330"/>
                  </a:lnTo>
                  <a:lnTo>
                    <a:pt x="1292" y="328"/>
                  </a:lnTo>
                  <a:lnTo>
                    <a:pt x="1291" y="328"/>
                  </a:lnTo>
                  <a:lnTo>
                    <a:pt x="1291" y="328"/>
                  </a:lnTo>
                  <a:lnTo>
                    <a:pt x="1288" y="330"/>
                  </a:lnTo>
                  <a:lnTo>
                    <a:pt x="1286" y="331"/>
                  </a:lnTo>
                  <a:lnTo>
                    <a:pt x="1288" y="333"/>
                  </a:lnTo>
                  <a:close/>
                  <a:moveTo>
                    <a:pt x="1278" y="344"/>
                  </a:moveTo>
                  <a:lnTo>
                    <a:pt x="1278" y="344"/>
                  </a:lnTo>
                  <a:lnTo>
                    <a:pt x="1282" y="340"/>
                  </a:lnTo>
                  <a:lnTo>
                    <a:pt x="1285" y="337"/>
                  </a:lnTo>
                  <a:lnTo>
                    <a:pt x="1283" y="336"/>
                  </a:lnTo>
                  <a:lnTo>
                    <a:pt x="1283" y="336"/>
                  </a:lnTo>
                  <a:lnTo>
                    <a:pt x="1276" y="343"/>
                  </a:lnTo>
                  <a:lnTo>
                    <a:pt x="1278" y="344"/>
                  </a:lnTo>
                  <a:close/>
                  <a:moveTo>
                    <a:pt x="1265" y="352"/>
                  </a:moveTo>
                  <a:lnTo>
                    <a:pt x="1266" y="352"/>
                  </a:lnTo>
                  <a:lnTo>
                    <a:pt x="1266" y="352"/>
                  </a:lnTo>
                  <a:lnTo>
                    <a:pt x="1273" y="347"/>
                  </a:lnTo>
                  <a:lnTo>
                    <a:pt x="1272" y="346"/>
                  </a:lnTo>
                  <a:lnTo>
                    <a:pt x="1272" y="346"/>
                  </a:lnTo>
                  <a:lnTo>
                    <a:pt x="1265" y="349"/>
                  </a:lnTo>
                  <a:lnTo>
                    <a:pt x="1263" y="350"/>
                  </a:lnTo>
                  <a:lnTo>
                    <a:pt x="1265" y="352"/>
                  </a:lnTo>
                  <a:close/>
                  <a:moveTo>
                    <a:pt x="1252" y="359"/>
                  </a:moveTo>
                  <a:lnTo>
                    <a:pt x="1252" y="359"/>
                  </a:lnTo>
                  <a:lnTo>
                    <a:pt x="1252" y="359"/>
                  </a:lnTo>
                  <a:lnTo>
                    <a:pt x="1256" y="356"/>
                  </a:lnTo>
                  <a:lnTo>
                    <a:pt x="1260" y="354"/>
                  </a:lnTo>
                  <a:lnTo>
                    <a:pt x="1259" y="352"/>
                  </a:lnTo>
                  <a:lnTo>
                    <a:pt x="1259" y="352"/>
                  </a:lnTo>
                  <a:lnTo>
                    <a:pt x="1254" y="353"/>
                  </a:lnTo>
                  <a:lnTo>
                    <a:pt x="1250" y="356"/>
                  </a:lnTo>
                  <a:lnTo>
                    <a:pt x="1250" y="357"/>
                  </a:lnTo>
                  <a:lnTo>
                    <a:pt x="1252" y="359"/>
                  </a:lnTo>
                  <a:close/>
                  <a:moveTo>
                    <a:pt x="1244" y="372"/>
                  </a:moveTo>
                  <a:lnTo>
                    <a:pt x="1244" y="372"/>
                  </a:lnTo>
                  <a:lnTo>
                    <a:pt x="1249" y="363"/>
                  </a:lnTo>
                  <a:lnTo>
                    <a:pt x="1247" y="362"/>
                  </a:lnTo>
                  <a:lnTo>
                    <a:pt x="1247" y="362"/>
                  </a:lnTo>
                  <a:lnTo>
                    <a:pt x="1241" y="370"/>
                  </a:lnTo>
                  <a:lnTo>
                    <a:pt x="1244" y="3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93" name="Freeform 1665"/>
            <p:cNvSpPr>
              <a:spLocks noEditPoints="1"/>
            </p:cNvSpPr>
            <p:nvPr/>
          </p:nvSpPr>
          <p:spPr bwMode="auto">
            <a:xfrm>
              <a:off x="6584950" y="3251201"/>
              <a:ext cx="784225" cy="292100"/>
            </a:xfrm>
            <a:custGeom>
              <a:avLst/>
              <a:gdLst>
                <a:gd name="T0" fmla="*/ 1 w 494"/>
                <a:gd name="T1" fmla="*/ 16 h 184"/>
                <a:gd name="T2" fmla="*/ 16 w 494"/>
                <a:gd name="T3" fmla="*/ 26 h 184"/>
                <a:gd name="T4" fmla="*/ 23 w 494"/>
                <a:gd name="T5" fmla="*/ 30 h 184"/>
                <a:gd name="T6" fmla="*/ 22 w 494"/>
                <a:gd name="T7" fmla="*/ 33 h 184"/>
                <a:gd name="T8" fmla="*/ 17 w 494"/>
                <a:gd name="T9" fmla="*/ 45 h 184"/>
                <a:gd name="T10" fmla="*/ 16 w 494"/>
                <a:gd name="T11" fmla="*/ 45 h 184"/>
                <a:gd name="T12" fmla="*/ 23 w 494"/>
                <a:gd name="T13" fmla="*/ 55 h 184"/>
                <a:gd name="T14" fmla="*/ 36 w 494"/>
                <a:gd name="T15" fmla="*/ 62 h 184"/>
                <a:gd name="T16" fmla="*/ 49 w 494"/>
                <a:gd name="T17" fmla="*/ 68 h 184"/>
                <a:gd name="T18" fmla="*/ 58 w 494"/>
                <a:gd name="T19" fmla="*/ 93 h 184"/>
                <a:gd name="T20" fmla="*/ 58 w 494"/>
                <a:gd name="T21" fmla="*/ 99 h 184"/>
                <a:gd name="T22" fmla="*/ 61 w 494"/>
                <a:gd name="T23" fmla="*/ 116 h 184"/>
                <a:gd name="T24" fmla="*/ 58 w 494"/>
                <a:gd name="T25" fmla="*/ 117 h 184"/>
                <a:gd name="T26" fmla="*/ 70 w 494"/>
                <a:gd name="T27" fmla="*/ 122 h 184"/>
                <a:gd name="T28" fmla="*/ 84 w 494"/>
                <a:gd name="T29" fmla="*/ 125 h 184"/>
                <a:gd name="T30" fmla="*/ 100 w 494"/>
                <a:gd name="T31" fmla="*/ 132 h 184"/>
                <a:gd name="T32" fmla="*/ 97 w 494"/>
                <a:gd name="T33" fmla="*/ 132 h 184"/>
                <a:gd name="T34" fmla="*/ 93 w 494"/>
                <a:gd name="T35" fmla="*/ 148 h 184"/>
                <a:gd name="T36" fmla="*/ 94 w 494"/>
                <a:gd name="T37" fmla="*/ 154 h 184"/>
                <a:gd name="T38" fmla="*/ 107 w 494"/>
                <a:gd name="T39" fmla="*/ 162 h 184"/>
                <a:gd name="T40" fmla="*/ 116 w 494"/>
                <a:gd name="T41" fmla="*/ 167 h 184"/>
                <a:gd name="T42" fmla="*/ 126 w 494"/>
                <a:gd name="T43" fmla="*/ 167 h 184"/>
                <a:gd name="T44" fmla="*/ 151 w 494"/>
                <a:gd name="T45" fmla="*/ 162 h 184"/>
                <a:gd name="T46" fmla="*/ 156 w 494"/>
                <a:gd name="T47" fmla="*/ 161 h 184"/>
                <a:gd name="T48" fmla="*/ 175 w 494"/>
                <a:gd name="T49" fmla="*/ 162 h 184"/>
                <a:gd name="T50" fmla="*/ 181 w 494"/>
                <a:gd name="T51" fmla="*/ 164 h 184"/>
                <a:gd name="T52" fmla="*/ 210 w 494"/>
                <a:gd name="T53" fmla="*/ 170 h 184"/>
                <a:gd name="T54" fmla="*/ 210 w 494"/>
                <a:gd name="T55" fmla="*/ 170 h 184"/>
                <a:gd name="T56" fmla="*/ 236 w 494"/>
                <a:gd name="T57" fmla="*/ 181 h 184"/>
                <a:gd name="T58" fmla="*/ 226 w 494"/>
                <a:gd name="T59" fmla="*/ 184 h 184"/>
                <a:gd name="T60" fmla="*/ 242 w 494"/>
                <a:gd name="T61" fmla="*/ 183 h 184"/>
                <a:gd name="T62" fmla="*/ 256 w 494"/>
                <a:gd name="T63" fmla="*/ 180 h 184"/>
                <a:gd name="T64" fmla="*/ 281 w 494"/>
                <a:gd name="T65" fmla="*/ 172 h 184"/>
                <a:gd name="T66" fmla="*/ 294 w 494"/>
                <a:gd name="T67" fmla="*/ 165 h 184"/>
                <a:gd name="T68" fmla="*/ 301 w 494"/>
                <a:gd name="T69" fmla="*/ 165 h 184"/>
                <a:gd name="T70" fmla="*/ 314 w 494"/>
                <a:gd name="T71" fmla="*/ 161 h 184"/>
                <a:gd name="T72" fmla="*/ 329 w 494"/>
                <a:gd name="T73" fmla="*/ 158 h 184"/>
                <a:gd name="T74" fmla="*/ 349 w 494"/>
                <a:gd name="T75" fmla="*/ 142 h 184"/>
                <a:gd name="T76" fmla="*/ 352 w 494"/>
                <a:gd name="T77" fmla="*/ 139 h 184"/>
                <a:gd name="T78" fmla="*/ 364 w 494"/>
                <a:gd name="T79" fmla="*/ 129 h 184"/>
                <a:gd name="T80" fmla="*/ 374 w 494"/>
                <a:gd name="T81" fmla="*/ 117 h 184"/>
                <a:gd name="T82" fmla="*/ 382 w 494"/>
                <a:gd name="T83" fmla="*/ 104 h 184"/>
                <a:gd name="T84" fmla="*/ 398 w 494"/>
                <a:gd name="T85" fmla="*/ 87 h 184"/>
                <a:gd name="T86" fmla="*/ 395 w 494"/>
                <a:gd name="T87" fmla="*/ 88 h 184"/>
                <a:gd name="T88" fmla="*/ 400 w 494"/>
                <a:gd name="T89" fmla="*/ 91 h 184"/>
                <a:gd name="T90" fmla="*/ 416 w 494"/>
                <a:gd name="T91" fmla="*/ 109 h 184"/>
                <a:gd name="T92" fmla="*/ 417 w 494"/>
                <a:gd name="T93" fmla="*/ 110 h 184"/>
                <a:gd name="T94" fmla="*/ 432 w 494"/>
                <a:gd name="T95" fmla="*/ 104 h 184"/>
                <a:gd name="T96" fmla="*/ 443 w 494"/>
                <a:gd name="T97" fmla="*/ 94 h 184"/>
                <a:gd name="T98" fmla="*/ 469 w 494"/>
                <a:gd name="T99" fmla="*/ 78 h 184"/>
                <a:gd name="T100" fmla="*/ 465 w 494"/>
                <a:gd name="T101" fmla="*/ 83 h 184"/>
                <a:gd name="T102" fmla="*/ 475 w 494"/>
                <a:gd name="T103" fmla="*/ 81 h 184"/>
                <a:gd name="T104" fmla="*/ 491 w 494"/>
                <a:gd name="T105" fmla="*/ 78 h 184"/>
                <a:gd name="T106" fmla="*/ 491 w 494"/>
                <a:gd name="T107" fmla="*/ 58 h 184"/>
                <a:gd name="T108" fmla="*/ 492 w 494"/>
                <a:gd name="T109" fmla="*/ 54 h 184"/>
                <a:gd name="T110" fmla="*/ 478 w 494"/>
                <a:gd name="T111" fmla="*/ 46 h 184"/>
                <a:gd name="T112" fmla="*/ 472 w 494"/>
                <a:gd name="T113" fmla="*/ 45 h 184"/>
                <a:gd name="T114" fmla="*/ 449 w 494"/>
                <a:gd name="T115" fmla="*/ 55 h 184"/>
                <a:gd name="T116" fmla="*/ 437 w 494"/>
                <a:gd name="T117" fmla="*/ 45 h 184"/>
                <a:gd name="T118" fmla="*/ 433 w 494"/>
                <a:gd name="T119" fmla="*/ 30 h 184"/>
                <a:gd name="T120" fmla="*/ 433 w 494"/>
                <a:gd name="T121" fmla="*/ 30 h 184"/>
                <a:gd name="T122" fmla="*/ 442 w 494"/>
                <a:gd name="T1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94" h="184">
                  <a:moveTo>
                    <a:pt x="4" y="16"/>
                  </a:moveTo>
                  <a:lnTo>
                    <a:pt x="4" y="16"/>
                  </a:lnTo>
                  <a:lnTo>
                    <a:pt x="4" y="16"/>
                  </a:lnTo>
                  <a:lnTo>
                    <a:pt x="3" y="9"/>
                  </a:lnTo>
                  <a:lnTo>
                    <a:pt x="0" y="9"/>
                  </a:lnTo>
                  <a:lnTo>
                    <a:pt x="0" y="9"/>
                  </a:lnTo>
                  <a:lnTo>
                    <a:pt x="1" y="16"/>
                  </a:lnTo>
                  <a:lnTo>
                    <a:pt x="1" y="16"/>
                  </a:lnTo>
                  <a:lnTo>
                    <a:pt x="3" y="17"/>
                  </a:lnTo>
                  <a:lnTo>
                    <a:pt x="4" y="16"/>
                  </a:lnTo>
                  <a:close/>
                  <a:moveTo>
                    <a:pt x="17" y="25"/>
                  </a:moveTo>
                  <a:lnTo>
                    <a:pt x="17" y="25"/>
                  </a:lnTo>
                  <a:lnTo>
                    <a:pt x="9" y="19"/>
                  </a:lnTo>
                  <a:lnTo>
                    <a:pt x="7" y="22"/>
                  </a:lnTo>
                  <a:lnTo>
                    <a:pt x="7" y="22"/>
                  </a:lnTo>
                  <a:lnTo>
                    <a:pt x="16" y="26"/>
                  </a:lnTo>
                  <a:lnTo>
                    <a:pt x="17" y="25"/>
                  </a:lnTo>
                  <a:close/>
                  <a:moveTo>
                    <a:pt x="22" y="38"/>
                  </a:moveTo>
                  <a:lnTo>
                    <a:pt x="22" y="38"/>
                  </a:lnTo>
                  <a:lnTo>
                    <a:pt x="23" y="35"/>
                  </a:lnTo>
                  <a:lnTo>
                    <a:pt x="23" y="35"/>
                  </a:lnTo>
                  <a:lnTo>
                    <a:pt x="25" y="33"/>
                  </a:lnTo>
                  <a:lnTo>
                    <a:pt x="25" y="33"/>
                  </a:lnTo>
                  <a:lnTo>
                    <a:pt x="23" y="30"/>
                  </a:lnTo>
                  <a:lnTo>
                    <a:pt x="22" y="29"/>
                  </a:lnTo>
                  <a:lnTo>
                    <a:pt x="22" y="28"/>
                  </a:lnTo>
                  <a:lnTo>
                    <a:pt x="20" y="29"/>
                  </a:lnTo>
                  <a:lnTo>
                    <a:pt x="20" y="30"/>
                  </a:lnTo>
                  <a:lnTo>
                    <a:pt x="20" y="30"/>
                  </a:lnTo>
                  <a:lnTo>
                    <a:pt x="22" y="33"/>
                  </a:lnTo>
                  <a:lnTo>
                    <a:pt x="22" y="33"/>
                  </a:lnTo>
                  <a:lnTo>
                    <a:pt x="22" y="33"/>
                  </a:lnTo>
                  <a:lnTo>
                    <a:pt x="22" y="33"/>
                  </a:lnTo>
                  <a:lnTo>
                    <a:pt x="20" y="36"/>
                  </a:lnTo>
                  <a:lnTo>
                    <a:pt x="22" y="38"/>
                  </a:lnTo>
                  <a:close/>
                  <a:moveTo>
                    <a:pt x="20" y="49"/>
                  </a:moveTo>
                  <a:lnTo>
                    <a:pt x="20" y="49"/>
                  </a:lnTo>
                  <a:lnTo>
                    <a:pt x="19" y="46"/>
                  </a:lnTo>
                  <a:lnTo>
                    <a:pt x="17" y="45"/>
                  </a:lnTo>
                  <a:lnTo>
                    <a:pt x="17" y="45"/>
                  </a:lnTo>
                  <a:lnTo>
                    <a:pt x="19" y="44"/>
                  </a:lnTo>
                  <a:lnTo>
                    <a:pt x="19" y="44"/>
                  </a:lnTo>
                  <a:lnTo>
                    <a:pt x="19" y="42"/>
                  </a:lnTo>
                  <a:lnTo>
                    <a:pt x="17" y="41"/>
                  </a:lnTo>
                  <a:lnTo>
                    <a:pt x="17" y="41"/>
                  </a:lnTo>
                  <a:lnTo>
                    <a:pt x="16" y="42"/>
                  </a:lnTo>
                  <a:lnTo>
                    <a:pt x="16" y="42"/>
                  </a:lnTo>
                  <a:lnTo>
                    <a:pt x="16" y="45"/>
                  </a:lnTo>
                  <a:lnTo>
                    <a:pt x="16" y="45"/>
                  </a:lnTo>
                  <a:lnTo>
                    <a:pt x="16" y="48"/>
                  </a:lnTo>
                  <a:lnTo>
                    <a:pt x="19" y="51"/>
                  </a:lnTo>
                  <a:lnTo>
                    <a:pt x="20" y="49"/>
                  </a:lnTo>
                  <a:close/>
                  <a:moveTo>
                    <a:pt x="32" y="58"/>
                  </a:moveTo>
                  <a:lnTo>
                    <a:pt x="32" y="58"/>
                  </a:lnTo>
                  <a:lnTo>
                    <a:pt x="25" y="52"/>
                  </a:lnTo>
                  <a:lnTo>
                    <a:pt x="23" y="55"/>
                  </a:lnTo>
                  <a:lnTo>
                    <a:pt x="23" y="55"/>
                  </a:lnTo>
                  <a:lnTo>
                    <a:pt x="30" y="61"/>
                  </a:lnTo>
                  <a:lnTo>
                    <a:pt x="32" y="58"/>
                  </a:lnTo>
                  <a:close/>
                  <a:moveTo>
                    <a:pt x="45" y="65"/>
                  </a:moveTo>
                  <a:lnTo>
                    <a:pt x="45" y="65"/>
                  </a:lnTo>
                  <a:lnTo>
                    <a:pt x="36" y="61"/>
                  </a:lnTo>
                  <a:lnTo>
                    <a:pt x="36" y="62"/>
                  </a:lnTo>
                  <a:lnTo>
                    <a:pt x="36" y="62"/>
                  </a:lnTo>
                  <a:lnTo>
                    <a:pt x="45" y="68"/>
                  </a:lnTo>
                  <a:lnTo>
                    <a:pt x="45" y="65"/>
                  </a:lnTo>
                  <a:close/>
                  <a:moveTo>
                    <a:pt x="55" y="78"/>
                  </a:moveTo>
                  <a:lnTo>
                    <a:pt x="55" y="78"/>
                  </a:lnTo>
                  <a:lnTo>
                    <a:pt x="54" y="74"/>
                  </a:lnTo>
                  <a:lnTo>
                    <a:pt x="52" y="71"/>
                  </a:lnTo>
                  <a:lnTo>
                    <a:pt x="52" y="71"/>
                  </a:lnTo>
                  <a:lnTo>
                    <a:pt x="49" y="68"/>
                  </a:lnTo>
                  <a:lnTo>
                    <a:pt x="48" y="71"/>
                  </a:lnTo>
                  <a:lnTo>
                    <a:pt x="48" y="71"/>
                  </a:lnTo>
                  <a:lnTo>
                    <a:pt x="49" y="72"/>
                  </a:lnTo>
                  <a:lnTo>
                    <a:pt x="49" y="72"/>
                  </a:lnTo>
                  <a:lnTo>
                    <a:pt x="54" y="78"/>
                  </a:lnTo>
                  <a:lnTo>
                    <a:pt x="55" y="78"/>
                  </a:lnTo>
                  <a:close/>
                  <a:moveTo>
                    <a:pt x="58" y="93"/>
                  </a:moveTo>
                  <a:lnTo>
                    <a:pt x="58" y="93"/>
                  </a:lnTo>
                  <a:lnTo>
                    <a:pt x="56" y="83"/>
                  </a:lnTo>
                  <a:lnTo>
                    <a:pt x="54" y="84"/>
                  </a:lnTo>
                  <a:lnTo>
                    <a:pt x="54" y="84"/>
                  </a:lnTo>
                  <a:lnTo>
                    <a:pt x="55" y="94"/>
                  </a:lnTo>
                  <a:lnTo>
                    <a:pt x="58" y="93"/>
                  </a:lnTo>
                  <a:close/>
                  <a:moveTo>
                    <a:pt x="59" y="109"/>
                  </a:moveTo>
                  <a:lnTo>
                    <a:pt x="59" y="109"/>
                  </a:lnTo>
                  <a:lnTo>
                    <a:pt x="58" y="99"/>
                  </a:lnTo>
                  <a:lnTo>
                    <a:pt x="56" y="99"/>
                  </a:lnTo>
                  <a:lnTo>
                    <a:pt x="56" y="99"/>
                  </a:lnTo>
                  <a:lnTo>
                    <a:pt x="56" y="109"/>
                  </a:lnTo>
                  <a:lnTo>
                    <a:pt x="59" y="109"/>
                  </a:lnTo>
                  <a:close/>
                  <a:moveTo>
                    <a:pt x="65" y="117"/>
                  </a:moveTo>
                  <a:lnTo>
                    <a:pt x="65" y="117"/>
                  </a:lnTo>
                  <a:lnTo>
                    <a:pt x="61" y="116"/>
                  </a:lnTo>
                  <a:lnTo>
                    <a:pt x="61" y="116"/>
                  </a:lnTo>
                  <a:lnTo>
                    <a:pt x="59" y="116"/>
                  </a:lnTo>
                  <a:lnTo>
                    <a:pt x="59" y="114"/>
                  </a:lnTo>
                  <a:lnTo>
                    <a:pt x="59" y="113"/>
                  </a:lnTo>
                  <a:lnTo>
                    <a:pt x="56" y="113"/>
                  </a:lnTo>
                  <a:lnTo>
                    <a:pt x="56" y="114"/>
                  </a:lnTo>
                  <a:lnTo>
                    <a:pt x="56" y="114"/>
                  </a:lnTo>
                  <a:lnTo>
                    <a:pt x="58" y="117"/>
                  </a:lnTo>
                  <a:lnTo>
                    <a:pt x="58" y="117"/>
                  </a:lnTo>
                  <a:lnTo>
                    <a:pt x="61" y="119"/>
                  </a:lnTo>
                  <a:lnTo>
                    <a:pt x="65" y="120"/>
                  </a:lnTo>
                  <a:lnTo>
                    <a:pt x="65" y="117"/>
                  </a:lnTo>
                  <a:close/>
                  <a:moveTo>
                    <a:pt x="80" y="120"/>
                  </a:moveTo>
                  <a:lnTo>
                    <a:pt x="80" y="120"/>
                  </a:lnTo>
                  <a:lnTo>
                    <a:pt x="71" y="119"/>
                  </a:lnTo>
                  <a:lnTo>
                    <a:pt x="70" y="122"/>
                  </a:lnTo>
                  <a:lnTo>
                    <a:pt x="70" y="122"/>
                  </a:lnTo>
                  <a:lnTo>
                    <a:pt x="80" y="123"/>
                  </a:lnTo>
                  <a:lnTo>
                    <a:pt x="80" y="120"/>
                  </a:lnTo>
                  <a:close/>
                  <a:moveTo>
                    <a:pt x="94" y="128"/>
                  </a:moveTo>
                  <a:lnTo>
                    <a:pt x="94" y="128"/>
                  </a:lnTo>
                  <a:lnTo>
                    <a:pt x="85" y="122"/>
                  </a:lnTo>
                  <a:lnTo>
                    <a:pt x="85" y="122"/>
                  </a:lnTo>
                  <a:lnTo>
                    <a:pt x="84" y="125"/>
                  </a:lnTo>
                  <a:lnTo>
                    <a:pt x="84" y="125"/>
                  </a:lnTo>
                  <a:lnTo>
                    <a:pt x="84" y="125"/>
                  </a:lnTo>
                  <a:lnTo>
                    <a:pt x="93" y="129"/>
                  </a:lnTo>
                  <a:lnTo>
                    <a:pt x="94" y="128"/>
                  </a:lnTo>
                  <a:close/>
                  <a:moveTo>
                    <a:pt x="94" y="141"/>
                  </a:moveTo>
                  <a:lnTo>
                    <a:pt x="94" y="141"/>
                  </a:lnTo>
                  <a:lnTo>
                    <a:pt x="98" y="136"/>
                  </a:lnTo>
                  <a:lnTo>
                    <a:pt x="98" y="136"/>
                  </a:lnTo>
                  <a:lnTo>
                    <a:pt x="100" y="132"/>
                  </a:lnTo>
                  <a:lnTo>
                    <a:pt x="100" y="132"/>
                  </a:lnTo>
                  <a:lnTo>
                    <a:pt x="98" y="130"/>
                  </a:lnTo>
                  <a:lnTo>
                    <a:pt x="98" y="130"/>
                  </a:lnTo>
                  <a:lnTo>
                    <a:pt x="97" y="132"/>
                  </a:lnTo>
                  <a:lnTo>
                    <a:pt x="97" y="132"/>
                  </a:lnTo>
                  <a:lnTo>
                    <a:pt x="97" y="132"/>
                  </a:lnTo>
                  <a:lnTo>
                    <a:pt x="97" y="132"/>
                  </a:lnTo>
                  <a:lnTo>
                    <a:pt x="97" y="132"/>
                  </a:lnTo>
                  <a:lnTo>
                    <a:pt x="96" y="135"/>
                  </a:lnTo>
                  <a:lnTo>
                    <a:pt x="96" y="135"/>
                  </a:lnTo>
                  <a:lnTo>
                    <a:pt x="93" y="139"/>
                  </a:lnTo>
                  <a:lnTo>
                    <a:pt x="94" y="141"/>
                  </a:lnTo>
                  <a:close/>
                  <a:moveTo>
                    <a:pt x="97" y="152"/>
                  </a:moveTo>
                  <a:lnTo>
                    <a:pt x="97" y="152"/>
                  </a:lnTo>
                  <a:lnTo>
                    <a:pt x="93" y="148"/>
                  </a:lnTo>
                  <a:lnTo>
                    <a:pt x="93" y="148"/>
                  </a:lnTo>
                  <a:lnTo>
                    <a:pt x="93" y="145"/>
                  </a:lnTo>
                  <a:lnTo>
                    <a:pt x="93" y="145"/>
                  </a:lnTo>
                  <a:lnTo>
                    <a:pt x="90" y="143"/>
                  </a:lnTo>
                  <a:lnTo>
                    <a:pt x="90" y="145"/>
                  </a:lnTo>
                  <a:lnTo>
                    <a:pt x="90" y="145"/>
                  </a:lnTo>
                  <a:lnTo>
                    <a:pt x="91" y="149"/>
                  </a:lnTo>
                  <a:lnTo>
                    <a:pt x="91" y="149"/>
                  </a:lnTo>
                  <a:lnTo>
                    <a:pt x="94" y="154"/>
                  </a:lnTo>
                  <a:lnTo>
                    <a:pt x="97" y="152"/>
                  </a:lnTo>
                  <a:close/>
                  <a:moveTo>
                    <a:pt x="107" y="162"/>
                  </a:moveTo>
                  <a:lnTo>
                    <a:pt x="107" y="162"/>
                  </a:lnTo>
                  <a:lnTo>
                    <a:pt x="100" y="155"/>
                  </a:lnTo>
                  <a:lnTo>
                    <a:pt x="98" y="158"/>
                  </a:lnTo>
                  <a:lnTo>
                    <a:pt x="98" y="158"/>
                  </a:lnTo>
                  <a:lnTo>
                    <a:pt x="106" y="164"/>
                  </a:lnTo>
                  <a:lnTo>
                    <a:pt x="107" y="162"/>
                  </a:lnTo>
                  <a:close/>
                  <a:moveTo>
                    <a:pt x="120" y="165"/>
                  </a:moveTo>
                  <a:lnTo>
                    <a:pt x="120" y="165"/>
                  </a:lnTo>
                  <a:lnTo>
                    <a:pt x="116" y="165"/>
                  </a:lnTo>
                  <a:lnTo>
                    <a:pt x="116" y="165"/>
                  </a:lnTo>
                  <a:lnTo>
                    <a:pt x="112" y="164"/>
                  </a:lnTo>
                  <a:lnTo>
                    <a:pt x="110" y="167"/>
                  </a:lnTo>
                  <a:lnTo>
                    <a:pt x="110" y="167"/>
                  </a:lnTo>
                  <a:lnTo>
                    <a:pt x="116" y="167"/>
                  </a:lnTo>
                  <a:lnTo>
                    <a:pt x="116" y="167"/>
                  </a:lnTo>
                  <a:lnTo>
                    <a:pt x="120" y="167"/>
                  </a:lnTo>
                  <a:lnTo>
                    <a:pt x="120" y="165"/>
                  </a:lnTo>
                  <a:close/>
                  <a:moveTo>
                    <a:pt x="136" y="162"/>
                  </a:moveTo>
                  <a:lnTo>
                    <a:pt x="136" y="162"/>
                  </a:lnTo>
                  <a:lnTo>
                    <a:pt x="126" y="164"/>
                  </a:lnTo>
                  <a:lnTo>
                    <a:pt x="126" y="167"/>
                  </a:lnTo>
                  <a:lnTo>
                    <a:pt x="126" y="167"/>
                  </a:lnTo>
                  <a:lnTo>
                    <a:pt x="136" y="165"/>
                  </a:lnTo>
                  <a:lnTo>
                    <a:pt x="136" y="162"/>
                  </a:lnTo>
                  <a:close/>
                  <a:moveTo>
                    <a:pt x="151" y="159"/>
                  </a:moveTo>
                  <a:lnTo>
                    <a:pt x="151" y="159"/>
                  </a:lnTo>
                  <a:lnTo>
                    <a:pt x="140" y="162"/>
                  </a:lnTo>
                  <a:lnTo>
                    <a:pt x="142" y="164"/>
                  </a:lnTo>
                  <a:lnTo>
                    <a:pt x="142" y="164"/>
                  </a:lnTo>
                  <a:lnTo>
                    <a:pt x="151" y="162"/>
                  </a:lnTo>
                  <a:lnTo>
                    <a:pt x="151" y="159"/>
                  </a:lnTo>
                  <a:close/>
                  <a:moveTo>
                    <a:pt x="167" y="158"/>
                  </a:moveTo>
                  <a:lnTo>
                    <a:pt x="167" y="158"/>
                  </a:lnTo>
                  <a:lnTo>
                    <a:pt x="158" y="158"/>
                  </a:lnTo>
                  <a:lnTo>
                    <a:pt x="158" y="158"/>
                  </a:lnTo>
                  <a:lnTo>
                    <a:pt x="155" y="158"/>
                  </a:lnTo>
                  <a:lnTo>
                    <a:pt x="156" y="161"/>
                  </a:lnTo>
                  <a:lnTo>
                    <a:pt x="156" y="161"/>
                  </a:lnTo>
                  <a:lnTo>
                    <a:pt x="158" y="161"/>
                  </a:lnTo>
                  <a:lnTo>
                    <a:pt x="158" y="161"/>
                  </a:lnTo>
                  <a:lnTo>
                    <a:pt x="165" y="161"/>
                  </a:lnTo>
                  <a:lnTo>
                    <a:pt x="167" y="159"/>
                  </a:lnTo>
                  <a:lnTo>
                    <a:pt x="167" y="158"/>
                  </a:lnTo>
                  <a:close/>
                  <a:moveTo>
                    <a:pt x="181" y="164"/>
                  </a:moveTo>
                  <a:lnTo>
                    <a:pt x="181" y="164"/>
                  </a:lnTo>
                  <a:lnTo>
                    <a:pt x="175" y="162"/>
                  </a:lnTo>
                  <a:lnTo>
                    <a:pt x="175" y="162"/>
                  </a:lnTo>
                  <a:lnTo>
                    <a:pt x="171" y="159"/>
                  </a:lnTo>
                  <a:lnTo>
                    <a:pt x="171" y="162"/>
                  </a:lnTo>
                  <a:lnTo>
                    <a:pt x="171" y="162"/>
                  </a:lnTo>
                  <a:lnTo>
                    <a:pt x="174" y="164"/>
                  </a:lnTo>
                  <a:lnTo>
                    <a:pt x="174" y="164"/>
                  </a:lnTo>
                  <a:lnTo>
                    <a:pt x="180" y="167"/>
                  </a:lnTo>
                  <a:lnTo>
                    <a:pt x="181" y="164"/>
                  </a:lnTo>
                  <a:close/>
                  <a:moveTo>
                    <a:pt x="196" y="165"/>
                  </a:moveTo>
                  <a:lnTo>
                    <a:pt x="196" y="165"/>
                  </a:lnTo>
                  <a:lnTo>
                    <a:pt x="185" y="165"/>
                  </a:lnTo>
                  <a:lnTo>
                    <a:pt x="184" y="168"/>
                  </a:lnTo>
                  <a:lnTo>
                    <a:pt x="184" y="168"/>
                  </a:lnTo>
                  <a:lnTo>
                    <a:pt x="196" y="168"/>
                  </a:lnTo>
                  <a:lnTo>
                    <a:pt x="196" y="165"/>
                  </a:lnTo>
                  <a:close/>
                  <a:moveTo>
                    <a:pt x="210" y="170"/>
                  </a:moveTo>
                  <a:lnTo>
                    <a:pt x="210" y="170"/>
                  </a:lnTo>
                  <a:lnTo>
                    <a:pt x="206" y="168"/>
                  </a:lnTo>
                  <a:lnTo>
                    <a:pt x="200" y="167"/>
                  </a:lnTo>
                  <a:lnTo>
                    <a:pt x="200" y="168"/>
                  </a:lnTo>
                  <a:lnTo>
                    <a:pt x="200" y="168"/>
                  </a:lnTo>
                  <a:lnTo>
                    <a:pt x="204" y="170"/>
                  </a:lnTo>
                  <a:lnTo>
                    <a:pt x="209" y="172"/>
                  </a:lnTo>
                  <a:lnTo>
                    <a:pt x="210" y="170"/>
                  </a:lnTo>
                  <a:close/>
                  <a:moveTo>
                    <a:pt x="222" y="180"/>
                  </a:moveTo>
                  <a:lnTo>
                    <a:pt x="222" y="180"/>
                  </a:lnTo>
                  <a:lnTo>
                    <a:pt x="214" y="172"/>
                  </a:lnTo>
                  <a:lnTo>
                    <a:pt x="213" y="175"/>
                  </a:lnTo>
                  <a:lnTo>
                    <a:pt x="213" y="175"/>
                  </a:lnTo>
                  <a:lnTo>
                    <a:pt x="220" y="181"/>
                  </a:lnTo>
                  <a:lnTo>
                    <a:pt x="222" y="180"/>
                  </a:lnTo>
                  <a:close/>
                  <a:moveTo>
                    <a:pt x="236" y="181"/>
                  </a:moveTo>
                  <a:lnTo>
                    <a:pt x="236" y="181"/>
                  </a:lnTo>
                  <a:lnTo>
                    <a:pt x="230" y="181"/>
                  </a:lnTo>
                  <a:lnTo>
                    <a:pt x="230" y="181"/>
                  </a:lnTo>
                  <a:lnTo>
                    <a:pt x="227" y="181"/>
                  </a:lnTo>
                  <a:lnTo>
                    <a:pt x="226" y="181"/>
                  </a:lnTo>
                  <a:lnTo>
                    <a:pt x="226" y="184"/>
                  </a:lnTo>
                  <a:lnTo>
                    <a:pt x="226" y="184"/>
                  </a:lnTo>
                  <a:lnTo>
                    <a:pt x="226" y="184"/>
                  </a:lnTo>
                  <a:lnTo>
                    <a:pt x="230" y="184"/>
                  </a:lnTo>
                  <a:lnTo>
                    <a:pt x="230" y="184"/>
                  </a:lnTo>
                  <a:lnTo>
                    <a:pt x="236" y="184"/>
                  </a:lnTo>
                  <a:lnTo>
                    <a:pt x="236" y="181"/>
                  </a:lnTo>
                  <a:close/>
                  <a:moveTo>
                    <a:pt x="251" y="178"/>
                  </a:moveTo>
                  <a:lnTo>
                    <a:pt x="251" y="178"/>
                  </a:lnTo>
                  <a:lnTo>
                    <a:pt x="240" y="180"/>
                  </a:lnTo>
                  <a:lnTo>
                    <a:pt x="242" y="183"/>
                  </a:lnTo>
                  <a:lnTo>
                    <a:pt x="242" y="183"/>
                  </a:lnTo>
                  <a:lnTo>
                    <a:pt x="252" y="181"/>
                  </a:lnTo>
                  <a:lnTo>
                    <a:pt x="251" y="178"/>
                  </a:lnTo>
                  <a:close/>
                  <a:moveTo>
                    <a:pt x="265" y="174"/>
                  </a:moveTo>
                  <a:lnTo>
                    <a:pt x="265" y="174"/>
                  </a:lnTo>
                  <a:lnTo>
                    <a:pt x="256" y="177"/>
                  </a:lnTo>
                  <a:lnTo>
                    <a:pt x="256" y="180"/>
                  </a:lnTo>
                  <a:lnTo>
                    <a:pt x="256" y="180"/>
                  </a:lnTo>
                  <a:lnTo>
                    <a:pt x="267" y="177"/>
                  </a:lnTo>
                  <a:lnTo>
                    <a:pt x="265" y="174"/>
                  </a:lnTo>
                  <a:close/>
                  <a:moveTo>
                    <a:pt x="280" y="170"/>
                  </a:moveTo>
                  <a:lnTo>
                    <a:pt x="280" y="170"/>
                  </a:lnTo>
                  <a:lnTo>
                    <a:pt x="271" y="172"/>
                  </a:lnTo>
                  <a:lnTo>
                    <a:pt x="271" y="175"/>
                  </a:lnTo>
                  <a:lnTo>
                    <a:pt x="271" y="175"/>
                  </a:lnTo>
                  <a:lnTo>
                    <a:pt x="281" y="172"/>
                  </a:lnTo>
                  <a:lnTo>
                    <a:pt x="280" y="170"/>
                  </a:lnTo>
                  <a:close/>
                  <a:moveTo>
                    <a:pt x="294" y="165"/>
                  </a:moveTo>
                  <a:lnTo>
                    <a:pt x="294" y="165"/>
                  </a:lnTo>
                  <a:lnTo>
                    <a:pt x="285" y="168"/>
                  </a:lnTo>
                  <a:lnTo>
                    <a:pt x="285" y="171"/>
                  </a:lnTo>
                  <a:lnTo>
                    <a:pt x="285" y="171"/>
                  </a:lnTo>
                  <a:lnTo>
                    <a:pt x="295" y="168"/>
                  </a:lnTo>
                  <a:lnTo>
                    <a:pt x="294" y="165"/>
                  </a:lnTo>
                  <a:close/>
                  <a:moveTo>
                    <a:pt x="309" y="159"/>
                  </a:moveTo>
                  <a:lnTo>
                    <a:pt x="309" y="159"/>
                  </a:lnTo>
                  <a:lnTo>
                    <a:pt x="300" y="162"/>
                  </a:lnTo>
                  <a:lnTo>
                    <a:pt x="300" y="162"/>
                  </a:lnTo>
                  <a:lnTo>
                    <a:pt x="298" y="162"/>
                  </a:lnTo>
                  <a:lnTo>
                    <a:pt x="300" y="165"/>
                  </a:lnTo>
                  <a:lnTo>
                    <a:pt x="300" y="165"/>
                  </a:lnTo>
                  <a:lnTo>
                    <a:pt x="301" y="165"/>
                  </a:lnTo>
                  <a:lnTo>
                    <a:pt x="301" y="165"/>
                  </a:lnTo>
                  <a:lnTo>
                    <a:pt x="309" y="161"/>
                  </a:lnTo>
                  <a:lnTo>
                    <a:pt x="309" y="159"/>
                  </a:lnTo>
                  <a:close/>
                  <a:moveTo>
                    <a:pt x="323" y="156"/>
                  </a:moveTo>
                  <a:lnTo>
                    <a:pt x="323" y="156"/>
                  </a:lnTo>
                  <a:lnTo>
                    <a:pt x="313" y="158"/>
                  </a:lnTo>
                  <a:lnTo>
                    <a:pt x="314" y="161"/>
                  </a:lnTo>
                  <a:lnTo>
                    <a:pt x="314" y="161"/>
                  </a:lnTo>
                  <a:lnTo>
                    <a:pt x="324" y="159"/>
                  </a:lnTo>
                  <a:lnTo>
                    <a:pt x="323" y="156"/>
                  </a:lnTo>
                  <a:close/>
                  <a:moveTo>
                    <a:pt x="337" y="152"/>
                  </a:moveTo>
                  <a:lnTo>
                    <a:pt x="337" y="152"/>
                  </a:lnTo>
                  <a:lnTo>
                    <a:pt x="332" y="156"/>
                  </a:lnTo>
                  <a:lnTo>
                    <a:pt x="332" y="156"/>
                  </a:lnTo>
                  <a:lnTo>
                    <a:pt x="329" y="156"/>
                  </a:lnTo>
                  <a:lnTo>
                    <a:pt x="329" y="158"/>
                  </a:lnTo>
                  <a:lnTo>
                    <a:pt x="329" y="158"/>
                  </a:lnTo>
                  <a:lnTo>
                    <a:pt x="332" y="158"/>
                  </a:lnTo>
                  <a:lnTo>
                    <a:pt x="332" y="158"/>
                  </a:lnTo>
                  <a:lnTo>
                    <a:pt x="335" y="156"/>
                  </a:lnTo>
                  <a:lnTo>
                    <a:pt x="339" y="155"/>
                  </a:lnTo>
                  <a:lnTo>
                    <a:pt x="337" y="152"/>
                  </a:lnTo>
                  <a:close/>
                  <a:moveTo>
                    <a:pt x="349" y="142"/>
                  </a:moveTo>
                  <a:lnTo>
                    <a:pt x="349" y="142"/>
                  </a:lnTo>
                  <a:lnTo>
                    <a:pt x="342" y="149"/>
                  </a:lnTo>
                  <a:lnTo>
                    <a:pt x="343" y="152"/>
                  </a:lnTo>
                  <a:lnTo>
                    <a:pt x="343" y="152"/>
                  </a:lnTo>
                  <a:lnTo>
                    <a:pt x="351" y="145"/>
                  </a:lnTo>
                  <a:lnTo>
                    <a:pt x="349" y="142"/>
                  </a:lnTo>
                  <a:close/>
                  <a:moveTo>
                    <a:pt x="358" y="132"/>
                  </a:moveTo>
                  <a:lnTo>
                    <a:pt x="358" y="132"/>
                  </a:lnTo>
                  <a:lnTo>
                    <a:pt x="352" y="139"/>
                  </a:lnTo>
                  <a:lnTo>
                    <a:pt x="353" y="141"/>
                  </a:lnTo>
                  <a:lnTo>
                    <a:pt x="353" y="141"/>
                  </a:lnTo>
                  <a:lnTo>
                    <a:pt x="361" y="133"/>
                  </a:lnTo>
                  <a:lnTo>
                    <a:pt x="358" y="132"/>
                  </a:lnTo>
                  <a:close/>
                  <a:moveTo>
                    <a:pt x="368" y="119"/>
                  </a:moveTo>
                  <a:lnTo>
                    <a:pt x="368" y="119"/>
                  </a:lnTo>
                  <a:lnTo>
                    <a:pt x="362" y="128"/>
                  </a:lnTo>
                  <a:lnTo>
                    <a:pt x="364" y="129"/>
                  </a:lnTo>
                  <a:lnTo>
                    <a:pt x="364" y="129"/>
                  </a:lnTo>
                  <a:lnTo>
                    <a:pt x="369" y="122"/>
                  </a:lnTo>
                  <a:lnTo>
                    <a:pt x="368" y="119"/>
                  </a:lnTo>
                  <a:close/>
                  <a:moveTo>
                    <a:pt x="377" y="107"/>
                  </a:moveTo>
                  <a:lnTo>
                    <a:pt x="377" y="107"/>
                  </a:lnTo>
                  <a:lnTo>
                    <a:pt x="371" y="116"/>
                  </a:lnTo>
                  <a:lnTo>
                    <a:pt x="374" y="117"/>
                  </a:lnTo>
                  <a:lnTo>
                    <a:pt x="374" y="117"/>
                  </a:lnTo>
                  <a:lnTo>
                    <a:pt x="379" y="109"/>
                  </a:lnTo>
                  <a:lnTo>
                    <a:pt x="377" y="107"/>
                  </a:lnTo>
                  <a:close/>
                  <a:moveTo>
                    <a:pt x="385" y="94"/>
                  </a:moveTo>
                  <a:lnTo>
                    <a:pt x="385" y="94"/>
                  </a:lnTo>
                  <a:lnTo>
                    <a:pt x="384" y="97"/>
                  </a:lnTo>
                  <a:lnTo>
                    <a:pt x="384" y="97"/>
                  </a:lnTo>
                  <a:lnTo>
                    <a:pt x="379" y="103"/>
                  </a:lnTo>
                  <a:lnTo>
                    <a:pt x="382" y="104"/>
                  </a:lnTo>
                  <a:lnTo>
                    <a:pt x="382" y="104"/>
                  </a:lnTo>
                  <a:lnTo>
                    <a:pt x="387" y="99"/>
                  </a:lnTo>
                  <a:lnTo>
                    <a:pt x="387" y="99"/>
                  </a:lnTo>
                  <a:lnTo>
                    <a:pt x="387" y="96"/>
                  </a:lnTo>
                  <a:lnTo>
                    <a:pt x="385" y="94"/>
                  </a:lnTo>
                  <a:close/>
                  <a:moveTo>
                    <a:pt x="398" y="87"/>
                  </a:moveTo>
                  <a:lnTo>
                    <a:pt x="398" y="87"/>
                  </a:lnTo>
                  <a:lnTo>
                    <a:pt x="398" y="87"/>
                  </a:lnTo>
                  <a:lnTo>
                    <a:pt x="395" y="86"/>
                  </a:lnTo>
                  <a:lnTo>
                    <a:pt x="395" y="86"/>
                  </a:lnTo>
                  <a:lnTo>
                    <a:pt x="391" y="87"/>
                  </a:lnTo>
                  <a:lnTo>
                    <a:pt x="388" y="90"/>
                  </a:lnTo>
                  <a:lnTo>
                    <a:pt x="390" y="91"/>
                  </a:lnTo>
                  <a:lnTo>
                    <a:pt x="390" y="91"/>
                  </a:lnTo>
                  <a:lnTo>
                    <a:pt x="393" y="90"/>
                  </a:lnTo>
                  <a:lnTo>
                    <a:pt x="395" y="88"/>
                  </a:lnTo>
                  <a:lnTo>
                    <a:pt x="395" y="88"/>
                  </a:lnTo>
                  <a:lnTo>
                    <a:pt x="397" y="88"/>
                  </a:lnTo>
                  <a:lnTo>
                    <a:pt x="397" y="88"/>
                  </a:lnTo>
                  <a:lnTo>
                    <a:pt x="398" y="87"/>
                  </a:lnTo>
                  <a:close/>
                  <a:moveTo>
                    <a:pt x="407" y="100"/>
                  </a:moveTo>
                  <a:lnTo>
                    <a:pt x="407" y="100"/>
                  </a:lnTo>
                  <a:lnTo>
                    <a:pt x="403" y="90"/>
                  </a:lnTo>
                  <a:lnTo>
                    <a:pt x="400" y="91"/>
                  </a:lnTo>
                  <a:lnTo>
                    <a:pt x="400" y="91"/>
                  </a:lnTo>
                  <a:lnTo>
                    <a:pt x="406" y="101"/>
                  </a:lnTo>
                  <a:lnTo>
                    <a:pt x="407" y="100"/>
                  </a:lnTo>
                  <a:close/>
                  <a:moveTo>
                    <a:pt x="417" y="109"/>
                  </a:moveTo>
                  <a:lnTo>
                    <a:pt x="417" y="109"/>
                  </a:lnTo>
                  <a:lnTo>
                    <a:pt x="417" y="109"/>
                  </a:lnTo>
                  <a:lnTo>
                    <a:pt x="416" y="109"/>
                  </a:lnTo>
                  <a:lnTo>
                    <a:pt x="416" y="109"/>
                  </a:lnTo>
                  <a:lnTo>
                    <a:pt x="413" y="106"/>
                  </a:lnTo>
                  <a:lnTo>
                    <a:pt x="410" y="103"/>
                  </a:lnTo>
                  <a:lnTo>
                    <a:pt x="408" y="106"/>
                  </a:lnTo>
                  <a:lnTo>
                    <a:pt x="408" y="106"/>
                  </a:lnTo>
                  <a:lnTo>
                    <a:pt x="411" y="109"/>
                  </a:lnTo>
                  <a:lnTo>
                    <a:pt x="414" y="110"/>
                  </a:lnTo>
                  <a:lnTo>
                    <a:pt x="414" y="110"/>
                  </a:lnTo>
                  <a:lnTo>
                    <a:pt x="417" y="110"/>
                  </a:lnTo>
                  <a:lnTo>
                    <a:pt x="417" y="110"/>
                  </a:lnTo>
                  <a:lnTo>
                    <a:pt x="417" y="109"/>
                  </a:lnTo>
                  <a:close/>
                  <a:moveTo>
                    <a:pt x="430" y="103"/>
                  </a:moveTo>
                  <a:lnTo>
                    <a:pt x="430" y="103"/>
                  </a:lnTo>
                  <a:lnTo>
                    <a:pt x="421" y="107"/>
                  </a:lnTo>
                  <a:lnTo>
                    <a:pt x="423" y="109"/>
                  </a:lnTo>
                  <a:lnTo>
                    <a:pt x="423" y="109"/>
                  </a:lnTo>
                  <a:lnTo>
                    <a:pt x="432" y="104"/>
                  </a:lnTo>
                  <a:lnTo>
                    <a:pt x="430" y="103"/>
                  </a:lnTo>
                  <a:close/>
                  <a:moveTo>
                    <a:pt x="443" y="94"/>
                  </a:moveTo>
                  <a:lnTo>
                    <a:pt x="443" y="94"/>
                  </a:lnTo>
                  <a:lnTo>
                    <a:pt x="435" y="100"/>
                  </a:lnTo>
                  <a:lnTo>
                    <a:pt x="436" y="101"/>
                  </a:lnTo>
                  <a:lnTo>
                    <a:pt x="436" y="101"/>
                  </a:lnTo>
                  <a:lnTo>
                    <a:pt x="445" y="96"/>
                  </a:lnTo>
                  <a:lnTo>
                    <a:pt x="443" y="94"/>
                  </a:lnTo>
                  <a:close/>
                  <a:moveTo>
                    <a:pt x="455" y="84"/>
                  </a:moveTo>
                  <a:lnTo>
                    <a:pt x="455" y="84"/>
                  </a:lnTo>
                  <a:lnTo>
                    <a:pt x="448" y="91"/>
                  </a:lnTo>
                  <a:lnTo>
                    <a:pt x="449" y="93"/>
                  </a:lnTo>
                  <a:lnTo>
                    <a:pt x="449" y="93"/>
                  </a:lnTo>
                  <a:lnTo>
                    <a:pt x="456" y="87"/>
                  </a:lnTo>
                  <a:lnTo>
                    <a:pt x="455" y="84"/>
                  </a:lnTo>
                  <a:close/>
                  <a:moveTo>
                    <a:pt x="469" y="78"/>
                  </a:moveTo>
                  <a:lnTo>
                    <a:pt x="469" y="78"/>
                  </a:lnTo>
                  <a:lnTo>
                    <a:pt x="465" y="80"/>
                  </a:lnTo>
                  <a:lnTo>
                    <a:pt x="461" y="81"/>
                  </a:lnTo>
                  <a:lnTo>
                    <a:pt x="459" y="81"/>
                  </a:lnTo>
                  <a:lnTo>
                    <a:pt x="461" y="84"/>
                  </a:lnTo>
                  <a:lnTo>
                    <a:pt x="461" y="83"/>
                  </a:lnTo>
                  <a:lnTo>
                    <a:pt x="461" y="83"/>
                  </a:lnTo>
                  <a:lnTo>
                    <a:pt x="465" y="83"/>
                  </a:lnTo>
                  <a:lnTo>
                    <a:pt x="469" y="81"/>
                  </a:lnTo>
                  <a:lnTo>
                    <a:pt x="469" y="78"/>
                  </a:lnTo>
                  <a:close/>
                  <a:moveTo>
                    <a:pt x="485" y="78"/>
                  </a:moveTo>
                  <a:lnTo>
                    <a:pt x="485" y="78"/>
                  </a:lnTo>
                  <a:lnTo>
                    <a:pt x="475" y="78"/>
                  </a:lnTo>
                  <a:lnTo>
                    <a:pt x="475" y="78"/>
                  </a:lnTo>
                  <a:lnTo>
                    <a:pt x="475" y="81"/>
                  </a:lnTo>
                  <a:lnTo>
                    <a:pt x="475" y="81"/>
                  </a:lnTo>
                  <a:lnTo>
                    <a:pt x="475" y="81"/>
                  </a:lnTo>
                  <a:lnTo>
                    <a:pt x="485" y="81"/>
                  </a:lnTo>
                  <a:lnTo>
                    <a:pt x="485" y="78"/>
                  </a:lnTo>
                  <a:close/>
                  <a:moveTo>
                    <a:pt x="491" y="68"/>
                  </a:moveTo>
                  <a:lnTo>
                    <a:pt x="491" y="68"/>
                  </a:lnTo>
                  <a:lnTo>
                    <a:pt x="491" y="72"/>
                  </a:lnTo>
                  <a:lnTo>
                    <a:pt x="488" y="77"/>
                  </a:lnTo>
                  <a:lnTo>
                    <a:pt x="491" y="78"/>
                  </a:lnTo>
                  <a:lnTo>
                    <a:pt x="491" y="78"/>
                  </a:lnTo>
                  <a:lnTo>
                    <a:pt x="492" y="74"/>
                  </a:lnTo>
                  <a:lnTo>
                    <a:pt x="494" y="68"/>
                  </a:lnTo>
                  <a:lnTo>
                    <a:pt x="491" y="68"/>
                  </a:lnTo>
                  <a:close/>
                  <a:moveTo>
                    <a:pt x="490" y="54"/>
                  </a:moveTo>
                  <a:lnTo>
                    <a:pt x="491" y="55"/>
                  </a:lnTo>
                  <a:lnTo>
                    <a:pt x="491" y="55"/>
                  </a:lnTo>
                  <a:lnTo>
                    <a:pt x="491" y="58"/>
                  </a:lnTo>
                  <a:lnTo>
                    <a:pt x="491" y="58"/>
                  </a:lnTo>
                  <a:lnTo>
                    <a:pt x="491" y="62"/>
                  </a:lnTo>
                  <a:lnTo>
                    <a:pt x="494" y="62"/>
                  </a:lnTo>
                  <a:lnTo>
                    <a:pt x="494" y="62"/>
                  </a:lnTo>
                  <a:lnTo>
                    <a:pt x="494" y="58"/>
                  </a:lnTo>
                  <a:lnTo>
                    <a:pt x="494" y="58"/>
                  </a:lnTo>
                  <a:lnTo>
                    <a:pt x="492" y="54"/>
                  </a:lnTo>
                  <a:lnTo>
                    <a:pt x="492" y="54"/>
                  </a:lnTo>
                  <a:lnTo>
                    <a:pt x="491" y="52"/>
                  </a:lnTo>
                  <a:lnTo>
                    <a:pt x="490" y="54"/>
                  </a:lnTo>
                  <a:close/>
                  <a:moveTo>
                    <a:pt x="477" y="48"/>
                  </a:moveTo>
                  <a:lnTo>
                    <a:pt x="477" y="48"/>
                  </a:lnTo>
                  <a:lnTo>
                    <a:pt x="487" y="52"/>
                  </a:lnTo>
                  <a:lnTo>
                    <a:pt x="487" y="49"/>
                  </a:lnTo>
                  <a:lnTo>
                    <a:pt x="487" y="49"/>
                  </a:lnTo>
                  <a:lnTo>
                    <a:pt x="478" y="46"/>
                  </a:lnTo>
                  <a:lnTo>
                    <a:pt x="477" y="48"/>
                  </a:lnTo>
                  <a:close/>
                  <a:moveTo>
                    <a:pt x="462" y="48"/>
                  </a:moveTo>
                  <a:lnTo>
                    <a:pt x="462" y="48"/>
                  </a:lnTo>
                  <a:lnTo>
                    <a:pt x="468" y="46"/>
                  </a:lnTo>
                  <a:lnTo>
                    <a:pt x="468" y="46"/>
                  </a:lnTo>
                  <a:lnTo>
                    <a:pt x="468" y="46"/>
                  </a:lnTo>
                  <a:lnTo>
                    <a:pt x="472" y="48"/>
                  </a:lnTo>
                  <a:lnTo>
                    <a:pt x="472" y="45"/>
                  </a:lnTo>
                  <a:lnTo>
                    <a:pt x="472" y="45"/>
                  </a:lnTo>
                  <a:lnTo>
                    <a:pt x="469" y="44"/>
                  </a:lnTo>
                  <a:lnTo>
                    <a:pt x="469" y="44"/>
                  </a:lnTo>
                  <a:lnTo>
                    <a:pt x="468" y="44"/>
                  </a:lnTo>
                  <a:lnTo>
                    <a:pt x="468" y="44"/>
                  </a:lnTo>
                  <a:lnTo>
                    <a:pt x="462" y="45"/>
                  </a:lnTo>
                  <a:lnTo>
                    <a:pt x="462" y="48"/>
                  </a:lnTo>
                  <a:close/>
                  <a:moveTo>
                    <a:pt x="449" y="55"/>
                  </a:moveTo>
                  <a:lnTo>
                    <a:pt x="449" y="55"/>
                  </a:lnTo>
                  <a:lnTo>
                    <a:pt x="458" y="49"/>
                  </a:lnTo>
                  <a:lnTo>
                    <a:pt x="456" y="48"/>
                  </a:lnTo>
                  <a:lnTo>
                    <a:pt x="456" y="48"/>
                  </a:lnTo>
                  <a:lnTo>
                    <a:pt x="449" y="52"/>
                  </a:lnTo>
                  <a:lnTo>
                    <a:pt x="449" y="55"/>
                  </a:lnTo>
                  <a:close/>
                  <a:moveTo>
                    <a:pt x="437" y="45"/>
                  </a:moveTo>
                  <a:lnTo>
                    <a:pt x="437" y="45"/>
                  </a:lnTo>
                  <a:lnTo>
                    <a:pt x="440" y="51"/>
                  </a:lnTo>
                  <a:lnTo>
                    <a:pt x="443" y="54"/>
                  </a:lnTo>
                  <a:lnTo>
                    <a:pt x="445" y="52"/>
                  </a:lnTo>
                  <a:lnTo>
                    <a:pt x="445" y="52"/>
                  </a:lnTo>
                  <a:lnTo>
                    <a:pt x="442" y="49"/>
                  </a:lnTo>
                  <a:lnTo>
                    <a:pt x="440" y="44"/>
                  </a:lnTo>
                  <a:lnTo>
                    <a:pt x="437" y="45"/>
                  </a:lnTo>
                  <a:close/>
                  <a:moveTo>
                    <a:pt x="433" y="30"/>
                  </a:moveTo>
                  <a:lnTo>
                    <a:pt x="433" y="30"/>
                  </a:lnTo>
                  <a:lnTo>
                    <a:pt x="433" y="30"/>
                  </a:lnTo>
                  <a:lnTo>
                    <a:pt x="436" y="41"/>
                  </a:lnTo>
                  <a:lnTo>
                    <a:pt x="439" y="39"/>
                  </a:lnTo>
                  <a:lnTo>
                    <a:pt x="439" y="39"/>
                  </a:lnTo>
                  <a:lnTo>
                    <a:pt x="436" y="30"/>
                  </a:lnTo>
                  <a:lnTo>
                    <a:pt x="436" y="29"/>
                  </a:lnTo>
                  <a:lnTo>
                    <a:pt x="433" y="30"/>
                  </a:lnTo>
                  <a:close/>
                  <a:moveTo>
                    <a:pt x="436" y="15"/>
                  </a:moveTo>
                  <a:lnTo>
                    <a:pt x="436" y="15"/>
                  </a:lnTo>
                  <a:lnTo>
                    <a:pt x="433" y="25"/>
                  </a:lnTo>
                  <a:lnTo>
                    <a:pt x="436" y="25"/>
                  </a:lnTo>
                  <a:lnTo>
                    <a:pt x="436" y="25"/>
                  </a:lnTo>
                  <a:lnTo>
                    <a:pt x="439" y="16"/>
                  </a:lnTo>
                  <a:lnTo>
                    <a:pt x="436" y="15"/>
                  </a:lnTo>
                  <a:close/>
                  <a:moveTo>
                    <a:pt x="442" y="0"/>
                  </a:moveTo>
                  <a:lnTo>
                    <a:pt x="442" y="0"/>
                  </a:lnTo>
                  <a:lnTo>
                    <a:pt x="437" y="10"/>
                  </a:lnTo>
                  <a:lnTo>
                    <a:pt x="440" y="10"/>
                  </a:lnTo>
                  <a:lnTo>
                    <a:pt x="440" y="10"/>
                  </a:lnTo>
                  <a:lnTo>
                    <a:pt x="443" y="2"/>
                  </a:lnTo>
                  <a:lnTo>
                    <a:pt x="44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94" name="Freeform 1696"/>
            <p:cNvSpPr>
              <a:spLocks/>
            </p:cNvSpPr>
            <p:nvPr/>
          </p:nvSpPr>
          <p:spPr bwMode="auto">
            <a:xfrm>
              <a:off x="7226300" y="4594226"/>
              <a:ext cx="31750" cy="26988"/>
            </a:xfrm>
            <a:custGeom>
              <a:avLst/>
              <a:gdLst>
                <a:gd name="T0" fmla="*/ 0 w 20"/>
                <a:gd name="T1" fmla="*/ 14 h 17"/>
                <a:gd name="T2" fmla="*/ 0 w 20"/>
                <a:gd name="T3" fmla="*/ 14 h 17"/>
                <a:gd name="T4" fmla="*/ 4 w 20"/>
                <a:gd name="T5" fmla="*/ 17 h 17"/>
                <a:gd name="T6" fmla="*/ 7 w 20"/>
                <a:gd name="T7" fmla="*/ 17 h 17"/>
                <a:gd name="T8" fmla="*/ 7 w 20"/>
                <a:gd name="T9" fmla="*/ 17 h 17"/>
                <a:gd name="T10" fmla="*/ 10 w 20"/>
                <a:gd name="T11" fmla="*/ 13 h 17"/>
                <a:gd name="T12" fmla="*/ 12 w 20"/>
                <a:gd name="T13" fmla="*/ 10 h 17"/>
                <a:gd name="T14" fmla="*/ 13 w 20"/>
                <a:gd name="T15" fmla="*/ 10 h 17"/>
                <a:gd name="T16" fmla="*/ 13 w 20"/>
                <a:gd name="T17" fmla="*/ 10 h 17"/>
                <a:gd name="T18" fmla="*/ 15 w 20"/>
                <a:gd name="T19" fmla="*/ 12 h 17"/>
                <a:gd name="T20" fmla="*/ 16 w 20"/>
                <a:gd name="T21" fmla="*/ 14 h 17"/>
                <a:gd name="T22" fmla="*/ 19 w 20"/>
                <a:gd name="T23" fmla="*/ 16 h 17"/>
                <a:gd name="T24" fmla="*/ 19 w 20"/>
                <a:gd name="T25" fmla="*/ 16 h 17"/>
                <a:gd name="T26" fmla="*/ 20 w 20"/>
                <a:gd name="T27" fmla="*/ 14 h 17"/>
                <a:gd name="T28" fmla="*/ 20 w 20"/>
                <a:gd name="T29" fmla="*/ 14 h 17"/>
                <a:gd name="T30" fmla="*/ 20 w 20"/>
                <a:gd name="T31" fmla="*/ 9 h 17"/>
                <a:gd name="T32" fmla="*/ 17 w 20"/>
                <a:gd name="T33" fmla="*/ 0 h 17"/>
                <a:gd name="T34" fmla="*/ 0 w 20"/>
                <a:gd name="T35"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17">
                  <a:moveTo>
                    <a:pt x="0" y="14"/>
                  </a:moveTo>
                  <a:lnTo>
                    <a:pt x="0" y="14"/>
                  </a:lnTo>
                  <a:lnTo>
                    <a:pt x="4" y="17"/>
                  </a:lnTo>
                  <a:lnTo>
                    <a:pt x="7" y="17"/>
                  </a:lnTo>
                  <a:lnTo>
                    <a:pt x="7" y="17"/>
                  </a:lnTo>
                  <a:lnTo>
                    <a:pt x="10" y="13"/>
                  </a:lnTo>
                  <a:lnTo>
                    <a:pt x="12" y="10"/>
                  </a:lnTo>
                  <a:lnTo>
                    <a:pt x="13" y="10"/>
                  </a:lnTo>
                  <a:lnTo>
                    <a:pt x="13" y="10"/>
                  </a:lnTo>
                  <a:lnTo>
                    <a:pt x="15" y="12"/>
                  </a:lnTo>
                  <a:lnTo>
                    <a:pt x="16" y="14"/>
                  </a:lnTo>
                  <a:lnTo>
                    <a:pt x="19" y="16"/>
                  </a:lnTo>
                  <a:lnTo>
                    <a:pt x="19" y="16"/>
                  </a:lnTo>
                  <a:lnTo>
                    <a:pt x="20" y="14"/>
                  </a:lnTo>
                  <a:lnTo>
                    <a:pt x="20" y="14"/>
                  </a:lnTo>
                  <a:lnTo>
                    <a:pt x="20" y="9"/>
                  </a:lnTo>
                  <a:lnTo>
                    <a:pt x="17" y="0"/>
                  </a:lnTo>
                  <a:lnTo>
                    <a:pt x="0" y="14"/>
                  </a:lnTo>
                  <a:close/>
                </a:path>
              </a:pathLst>
            </a:custGeom>
            <a:solidFill>
              <a:srgbClr val="52D0FF"/>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95" name="Freeform 1719"/>
            <p:cNvSpPr>
              <a:spLocks noEditPoints="1"/>
            </p:cNvSpPr>
            <p:nvPr/>
          </p:nvSpPr>
          <p:spPr bwMode="auto">
            <a:xfrm>
              <a:off x="6196013" y="3271838"/>
              <a:ext cx="882650" cy="901700"/>
            </a:xfrm>
            <a:custGeom>
              <a:avLst/>
              <a:gdLst>
                <a:gd name="T0" fmla="*/ 527 w 556"/>
                <a:gd name="T1" fmla="*/ 545 h 568"/>
                <a:gd name="T2" fmla="*/ 527 w 556"/>
                <a:gd name="T3" fmla="*/ 539 h 568"/>
                <a:gd name="T4" fmla="*/ 506 w 556"/>
                <a:gd name="T5" fmla="*/ 530 h 568"/>
                <a:gd name="T6" fmla="*/ 491 w 556"/>
                <a:gd name="T7" fmla="*/ 545 h 568"/>
                <a:gd name="T8" fmla="*/ 475 w 556"/>
                <a:gd name="T9" fmla="*/ 540 h 568"/>
                <a:gd name="T10" fmla="*/ 459 w 556"/>
                <a:gd name="T11" fmla="*/ 545 h 568"/>
                <a:gd name="T12" fmla="*/ 462 w 556"/>
                <a:gd name="T13" fmla="*/ 543 h 568"/>
                <a:gd name="T14" fmla="*/ 455 w 556"/>
                <a:gd name="T15" fmla="*/ 546 h 568"/>
                <a:gd name="T16" fmla="*/ 455 w 556"/>
                <a:gd name="T17" fmla="*/ 540 h 568"/>
                <a:gd name="T18" fmla="*/ 455 w 556"/>
                <a:gd name="T19" fmla="*/ 546 h 568"/>
                <a:gd name="T20" fmla="*/ 452 w 556"/>
                <a:gd name="T21" fmla="*/ 565 h 568"/>
                <a:gd name="T22" fmla="*/ 439 w 556"/>
                <a:gd name="T23" fmla="*/ 553 h 568"/>
                <a:gd name="T24" fmla="*/ 430 w 556"/>
                <a:gd name="T25" fmla="*/ 555 h 568"/>
                <a:gd name="T26" fmla="*/ 419 w 556"/>
                <a:gd name="T27" fmla="*/ 552 h 568"/>
                <a:gd name="T28" fmla="*/ 412 w 556"/>
                <a:gd name="T29" fmla="*/ 545 h 568"/>
                <a:gd name="T30" fmla="*/ 397 w 556"/>
                <a:gd name="T31" fmla="*/ 511 h 568"/>
                <a:gd name="T32" fmla="*/ 390 w 556"/>
                <a:gd name="T33" fmla="*/ 506 h 568"/>
                <a:gd name="T34" fmla="*/ 400 w 556"/>
                <a:gd name="T35" fmla="*/ 474 h 568"/>
                <a:gd name="T36" fmla="*/ 404 w 556"/>
                <a:gd name="T37" fmla="*/ 464 h 568"/>
                <a:gd name="T38" fmla="*/ 396 w 556"/>
                <a:gd name="T39" fmla="*/ 440 h 568"/>
                <a:gd name="T40" fmla="*/ 390 w 556"/>
                <a:gd name="T41" fmla="*/ 424 h 568"/>
                <a:gd name="T42" fmla="*/ 359 w 556"/>
                <a:gd name="T43" fmla="*/ 438 h 568"/>
                <a:gd name="T44" fmla="*/ 362 w 556"/>
                <a:gd name="T45" fmla="*/ 436 h 568"/>
                <a:gd name="T46" fmla="*/ 352 w 556"/>
                <a:gd name="T47" fmla="*/ 436 h 568"/>
                <a:gd name="T48" fmla="*/ 319 w 556"/>
                <a:gd name="T49" fmla="*/ 439 h 568"/>
                <a:gd name="T50" fmla="*/ 315 w 556"/>
                <a:gd name="T51" fmla="*/ 426 h 568"/>
                <a:gd name="T52" fmla="*/ 290 w 556"/>
                <a:gd name="T53" fmla="*/ 435 h 568"/>
                <a:gd name="T54" fmla="*/ 264 w 556"/>
                <a:gd name="T55" fmla="*/ 439 h 568"/>
                <a:gd name="T56" fmla="*/ 246 w 556"/>
                <a:gd name="T57" fmla="*/ 440 h 568"/>
                <a:gd name="T58" fmla="*/ 228 w 556"/>
                <a:gd name="T59" fmla="*/ 445 h 568"/>
                <a:gd name="T60" fmla="*/ 191 w 556"/>
                <a:gd name="T61" fmla="*/ 439 h 568"/>
                <a:gd name="T62" fmla="*/ 165 w 556"/>
                <a:gd name="T63" fmla="*/ 417 h 568"/>
                <a:gd name="T64" fmla="*/ 162 w 556"/>
                <a:gd name="T65" fmla="*/ 414 h 568"/>
                <a:gd name="T66" fmla="*/ 132 w 556"/>
                <a:gd name="T67" fmla="*/ 406 h 568"/>
                <a:gd name="T68" fmla="*/ 105 w 556"/>
                <a:gd name="T69" fmla="*/ 394 h 568"/>
                <a:gd name="T70" fmla="*/ 80 w 556"/>
                <a:gd name="T71" fmla="*/ 377 h 568"/>
                <a:gd name="T72" fmla="*/ 74 w 556"/>
                <a:gd name="T73" fmla="*/ 365 h 568"/>
                <a:gd name="T74" fmla="*/ 77 w 556"/>
                <a:gd name="T75" fmla="*/ 352 h 568"/>
                <a:gd name="T76" fmla="*/ 51 w 556"/>
                <a:gd name="T77" fmla="*/ 325 h 568"/>
                <a:gd name="T78" fmla="*/ 54 w 556"/>
                <a:gd name="T79" fmla="*/ 312 h 568"/>
                <a:gd name="T80" fmla="*/ 9 w 556"/>
                <a:gd name="T81" fmla="*/ 271 h 568"/>
                <a:gd name="T82" fmla="*/ 18 w 556"/>
                <a:gd name="T83" fmla="*/ 261 h 568"/>
                <a:gd name="T84" fmla="*/ 22 w 556"/>
                <a:gd name="T85" fmla="*/ 242 h 568"/>
                <a:gd name="T86" fmla="*/ 2 w 556"/>
                <a:gd name="T87" fmla="*/ 220 h 568"/>
                <a:gd name="T88" fmla="*/ 15 w 556"/>
                <a:gd name="T89" fmla="*/ 209 h 568"/>
                <a:gd name="T90" fmla="*/ 21 w 556"/>
                <a:gd name="T91" fmla="*/ 207 h 568"/>
                <a:gd name="T92" fmla="*/ 51 w 556"/>
                <a:gd name="T93" fmla="*/ 199 h 568"/>
                <a:gd name="T94" fmla="*/ 55 w 556"/>
                <a:gd name="T95" fmla="*/ 194 h 568"/>
                <a:gd name="T96" fmla="*/ 80 w 556"/>
                <a:gd name="T97" fmla="*/ 185 h 568"/>
                <a:gd name="T98" fmla="*/ 102 w 556"/>
                <a:gd name="T99" fmla="*/ 171 h 568"/>
                <a:gd name="T100" fmla="*/ 109 w 556"/>
                <a:gd name="T101" fmla="*/ 146 h 568"/>
                <a:gd name="T102" fmla="*/ 110 w 556"/>
                <a:gd name="T103" fmla="*/ 148 h 568"/>
                <a:gd name="T104" fmla="*/ 109 w 556"/>
                <a:gd name="T105" fmla="*/ 115 h 568"/>
                <a:gd name="T106" fmla="*/ 110 w 556"/>
                <a:gd name="T107" fmla="*/ 104 h 568"/>
                <a:gd name="T108" fmla="*/ 131 w 556"/>
                <a:gd name="T109" fmla="*/ 94 h 568"/>
                <a:gd name="T110" fmla="*/ 139 w 556"/>
                <a:gd name="T111" fmla="*/ 80 h 568"/>
                <a:gd name="T112" fmla="*/ 147 w 556"/>
                <a:gd name="T113" fmla="*/ 74 h 568"/>
                <a:gd name="T114" fmla="*/ 151 w 556"/>
                <a:gd name="T115" fmla="*/ 58 h 568"/>
                <a:gd name="T116" fmla="*/ 171 w 556"/>
                <a:gd name="T117" fmla="*/ 58 h 568"/>
                <a:gd name="T118" fmla="*/ 193 w 556"/>
                <a:gd name="T119" fmla="*/ 48 h 568"/>
                <a:gd name="T120" fmla="*/ 191 w 556"/>
                <a:gd name="T121" fmla="*/ 32 h 568"/>
                <a:gd name="T122" fmla="*/ 204 w 556"/>
                <a:gd name="T123" fmla="*/ 20 h 568"/>
                <a:gd name="T124" fmla="*/ 222 w 556"/>
                <a:gd name="T125" fmla="*/ 6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56" h="568">
                  <a:moveTo>
                    <a:pt x="554" y="561"/>
                  </a:moveTo>
                  <a:lnTo>
                    <a:pt x="554" y="561"/>
                  </a:lnTo>
                  <a:lnTo>
                    <a:pt x="555" y="562"/>
                  </a:lnTo>
                  <a:lnTo>
                    <a:pt x="556" y="559"/>
                  </a:lnTo>
                  <a:lnTo>
                    <a:pt x="556" y="559"/>
                  </a:lnTo>
                  <a:lnTo>
                    <a:pt x="555" y="559"/>
                  </a:lnTo>
                  <a:lnTo>
                    <a:pt x="554" y="561"/>
                  </a:lnTo>
                  <a:close/>
                  <a:moveTo>
                    <a:pt x="540" y="555"/>
                  </a:moveTo>
                  <a:lnTo>
                    <a:pt x="540" y="555"/>
                  </a:lnTo>
                  <a:lnTo>
                    <a:pt x="549" y="558"/>
                  </a:lnTo>
                  <a:lnTo>
                    <a:pt x="551" y="556"/>
                  </a:lnTo>
                  <a:lnTo>
                    <a:pt x="551" y="556"/>
                  </a:lnTo>
                  <a:lnTo>
                    <a:pt x="540" y="552"/>
                  </a:lnTo>
                  <a:lnTo>
                    <a:pt x="540" y="555"/>
                  </a:lnTo>
                  <a:close/>
                  <a:moveTo>
                    <a:pt x="527" y="545"/>
                  </a:moveTo>
                  <a:lnTo>
                    <a:pt x="527" y="545"/>
                  </a:lnTo>
                  <a:lnTo>
                    <a:pt x="529" y="549"/>
                  </a:lnTo>
                  <a:lnTo>
                    <a:pt x="533" y="552"/>
                  </a:lnTo>
                  <a:lnTo>
                    <a:pt x="533" y="552"/>
                  </a:lnTo>
                  <a:lnTo>
                    <a:pt x="535" y="553"/>
                  </a:lnTo>
                  <a:lnTo>
                    <a:pt x="536" y="551"/>
                  </a:lnTo>
                  <a:lnTo>
                    <a:pt x="536" y="551"/>
                  </a:lnTo>
                  <a:lnTo>
                    <a:pt x="535" y="549"/>
                  </a:lnTo>
                  <a:lnTo>
                    <a:pt x="535" y="549"/>
                  </a:lnTo>
                  <a:lnTo>
                    <a:pt x="530" y="546"/>
                  </a:lnTo>
                  <a:lnTo>
                    <a:pt x="529" y="545"/>
                  </a:lnTo>
                  <a:lnTo>
                    <a:pt x="527" y="545"/>
                  </a:lnTo>
                  <a:close/>
                  <a:moveTo>
                    <a:pt x="520" y="535"/>
                  </a:moveTo>
                  <a:lnTo>
                    <a:pt x="520" y="535"/>
                  </a:lnTo>
                  <a:lnTo>
                    <a:pt x="525" y="537"/>
                  </a:lnTo>
                  <a:lnTo>
                    <a:pt x="525" y="537"/>
                  </a:lnTo>
                  <a:lnTo>
                    <a:pt x="527" y="539"/>
                  </a:lnTo>
                  <a:lnTo>
                    <a:pt x="527" y="540"/>
                  </a:lnTo>
                  <a:lnTo>
                    <a:pt x="529" y="540"/>
                  </a:lnTo>
                  <a:lnTo>
                    <a:pt x="529" y="539"/>
                  </a:lnTo>
                  <a:lnTo>
                    <a:pt x="529" y="539"/>
                  </a:lnTo>
                  <a:lnTo>
                    <a:pt x="529" y="537"/>
                  </a:lnTo>
                  <a:lnTo>
                    <a:pt x="526" y="535"/>
                  </a:lnTo>
                  <a:lnTo>
                    <a:pt x="526" y="535"/>
                  </a:lnTo>
                  <a:lnTo>
                    <a:pt x="522" y="532"/>
                  </a:lnTo>
                  <a:lnTo>
                    <a:pt x="520" y="535"/>
                  </a:lnTo>
                  <a:close/>
                  <a:moveTo>
                    <a:pt x="506" y="530"/>
                  </a:moveTo>
                  <a:lnTo>
                    <a:pt x="506" y="530"/>
                  </a:lnTo>
                  <a:lnTo>
                    <a:pt x="516" y="533"/>
                  </a:lnTo>
                  <a:lnTo>
                    <a:pt x="517" y="530"/>
                  </a:lnTo>
                  <a:lnTo>
                    <a:pt x="517" y="530"/>
                  </a:lnTo>
                  <a:lnTo>
                    <a:pt x="507" y="527"/>
                  </a:lnTo>
                  <a:lnTo>
                    <a:pt x="506" y="530"/>
                  </a:lnTo>
                  <a:close/>
                  <a:moveTo>
                    <a:pt x="500" y="539"/>
                  </a:moveTo>
                  <a:lnTo>
                    <a:pt x="500" y="539"/>
                  </a:lnTo>
                  <a:lnTo>
                    <a:pt x="501" y="533"/>
                  </a:lnTo>
                  <a:lnTo>
                    <a:pt x="501" y="533"/>
                  </a:lnTo>
                  <a:lnTo>
                    <a:pt x="503" y="530"/>
                  </a:lnTo>
                  <a:lnTo>
                    <a:pt x="501" y="527"/>
                  </a:lnTo>
                  <a:lnTo>
                    <a:pt x="501" y="527"/>
                  </a:lnTo>
                  <a:lnTo>
                    <a:pt x="500" y="530"/>
                  </a:lnTo>
                  <a:lnTo>
                    <a:pt x="498" y="533"/>
                  </a:lnTo>
                  <a:lnTo>
                    <a:pt x="498" y="533"/>
                  </a:lnTo>
                  <a:lnTo>
                    <a:pt x="497" y="537"/>
                  </a:lnTo>
                  <a:lnTo>
                    <a:pt x="500" y="539"/>
                  </a:lnTo>
                  <a:close/>
                  <a:moveTo>
                    <a:pt x="485" y="542"/>
                  </a:moveTo>
                  <a:lnTo>
                    <a:pt x="485" y="542"/>
                  </a:lnTo>
                  <a:lnTo>
                    <a:pt x="487" y="543"/>
                  </a:lnTo>
                  <a:lnTo>
                    <a:pt x="491" y="545"/>
                  </a:lnTo>
                  <a:lnTo>
                    <a:pt x="491" y="545"/>
                  </a:lnTo>
                  <a:lnTo>
                    <a:pt x="494" y="543"/>
                  </a:lnTo>
                  <a:lnTo>
                    <a:pt x="494" y="543"/>
                  </a:lnTo>
                  <a:lnTo>
                    <a:pt x="496" y="543"/>
                  </a:lnTo>
                  <a:lnTo>
                    <a:pt x="494" y="540"/>
                  </a:lnTo>
                  <a:lnTo>
                    <a:pt x="494" y="542"/>
                  </a:lnTo>
                  <a:lnTo>
                    <a:pt x="494" y="542"/>
                  </a:lnTo>
                  <a:lnTo>
                    <a:pt x="491" y="542"/>
                  </a:lnTo>
                  <a:lnTo>
                    <a:pt x="491" y="542"/>
                  </a:lnTo>
                  <a:lnTo>
                    <a:pt x="488" y="540"/>
                  </a:lnTo>
                  <a:lnTo>
                    <a:pt x="487" y="539"/>
                  </a:lnTo>
                  <a:lnTo>
                    <a:pt x="485" y="542"/>
                  </a:lnTo>
                  <a:close/>
                  <a:moveTo>
                    <a:pt x="471" y="539"/>
                  </a:moveTo>
                  <a:lnTo>
                    <a:pt x="471" y="539"/>
                  </a:lnTo>
                  <a:lnTo>
                    <a:pt x="475" y="540"/>
                  </a:lnTo>
                  <a:lnTo>
                    <a:pt x="475" y="540"/>
                  </a:lnTo>
                  <a:lnTo>
                    <a:pt x="477" y="540"/>
                  </a:lnTo>
                  <a:lnTo>
                    <a:pt x="477" y="540"/>
                  </a:lnTo>
                  <a:lnTo>
                    <a:pt x="480" y="540"/>
                  </a:lnTo>
                  <a:lnTo>
                    <a:pt x="480" y="540"/>
                  </a:lnTo>
                  <a:lnTo>
                    <a:pt x="481" y="540"/>
                  </a:lnTo>
                  <a:lnTo>
                    <a:pt x="481" y="537"/>
                  </a:lnTo>
                  <a:lnTo>
                    <a:pt x="481" y="537"/>
                  </a:lnTo>
                  <a:lnTo>
                    <a:pt x="480" y="537"/>
                  </a:lnTo>
                  <a:lnTo>
                    <a:pt x="480" y="537"/>
                  </a:lnTo>
                  <a:lnTo>
                    <a:pt x="477" y="537"/>
                  </a:lnTo>
                  <a:lnTo>
                    <a:pt x="477" y="537"/>
                  </a:lnTo>
                  <a:lnTo>
                    <a:pt x="475" y="537"/>
                  </a:lnTo>
                  <a:lnTo>
                    <a:pt x="475" y="537"/>
                  </a:lnTo>
                  <a:lnTo>
                    <a:pt x="471" y="537"/>
                  </a:lnTo>
                  <a:lnTo>
                    <a:pt x="471" y="539"/>
                  </a:lnTo>
                  <a:close/>
                  <a:moveTo>
                    <a:pt x="459" y="545"/>
                  </a:moveTo>
                  <a:lnTo>
                    <a:pt x="459" y="545"/>
                  </a:lnTo>
                  <a:lnTo>
                    <a:pt x="461" y="546"/>
                  </a:lnTo>
                  <a:lnTo>
                    <a:pt x="461" y="546"/>
                  </a:lnTo>
                  <a:lnTo>
                    <a:pt x="462" y="546"/>
                  </a:lnTo>
                  <a:lnTo>
                    <a:pt x="462" y="546"/>
                  </a:lnTo>
                  <a:lnTo>
                    <a:pt x="464" y="546"/>
                  </a:lnTo>
                  <a:lnTo>
                    <a:pt x="464" y="546"/>
                  </a:lnTo>
                  <a:lnTo>
                    <a:pt x="465" y="545"/>
                  </a:lnTo>
                  <a:lnTo>
                    <a:pt x="465" y="545"/>
                  </a:lnTo>
                  <a:lnTo>
                    <a:pt x="467" y="542"/>
                  </a:lnTo>
                  <a:lnTo>
                    <a:pt x="468" y="539"/>
                  </a:lnTo>
                  <a:lnTo>
                    <a:pt x="465" y="539"/>
                  </a:lnTo>
                  <a:lnTo>
                    <a:pt x="465" y="539"/>
                  </a:lnTo>
                  <a:lnTo>
                    <a:pt x="464" y="543"/>
                  </a:lnTo>
                  <a:lnTo>
                    <a:pt x="464" y="543"/>
                  </a:lnTo>
                  <a:lnTo>
                    <a:pt x="462" y="543"/>
                  </a:lnTo>
                  <a:lnTo>
                    <a:pt x="462" y="543"/>
                  </a:lnTo>
                  <a:lnTo>
                    <a:pt x="462" y="545"/>
                  </a:lnTo>
                  <a:lnTo>
                    <a:pt x="462" y="543"/>
                  </a:lnTo>
                  <a:lnTo>
                    <a:pt x="462" y="543"/>
                  </a:lnTo>
                  <a:lnTo>
                    <a:pt x="462" y="545"/>
                  </a:lnTo>
                  <a:lnTo>
                    <a:pt x="462" y="543"/>
                  </a:lnTo>
                  <a:lnTo>
                    <a:pt x="462" y="545"/>
                  </a:lnTo>
                  <a:lnTo>
                    <a:pt x="462" y="543"/>
                  </a:lnTo>
                  <a:lnTo>
                    <a:pt x="462" y="543"/>
                  </a:lnTo>
                  <a:lnTo>
                    <a:pt x="462" y="545"/>
                  </a:lnTo>
                  <a:lnTo>
                    <a:pt x="462" y="543"/>
                  </a:lnTo>
                  <a:lnTo>
                    <a:pt x="462" y="543"/>
                  </a:lnTo>
                  <a:lnTo>
                    <a:pt x="462" y="542"/>
                  </a:lnTo>
                  <a:lnTo>
                    <a:pt x="459" y="545"/>
                  </a:lnTo>
                  <a:close/>
                  <a:moveTo>
                    <a:pt x="455" y="546"/>
                  </a:moveTo>
                  <a:lnTo>
                    <a:pt x="455" y="546"/>
                  </a:lnTo>
                  <a:lnTo>
                    <a:pt x="455" y="542"/>
                  </a:lnTo>
                  <a:lnTo>
                    <a:pt x="455" y="542"/>
                  </a:lnTo>
                  <a:lnTo>
                    <a:pt x="455" y="540"/>
                  </a:lnTo>
                  <a:lnTo>
                    <a:pt x="455" y="540"/>
                  </a:lnTo>
                  <a:lnTo>
                    <a:pt x="455" y="540"/>
                  </a:lnTo>
                  <a:lnTo>
                    <a:pt x="455" y="540"/>
                  </a:lnTo>
                  <a:lnTo>
                    <a:pt x="455" y="540"/>
                  </a:lnTo>
                  <a:lnTo>
                    <a:pt x="455" y="540"/>
                  </a:lnTo>
                  <a:lnTo>
                    <a:pt x="455" y="540"/>
                  </a:lnTo>
                  <a:lnTo>
                    <a:pt x="455" y="540"/>
                  </a:lnTo>
                  <a:lnTo>
                    <a:pt x="455" y="540"/>
                  </a:lnTo>
                  <a:lnTo>
                    <a:pt x="455" y="540"/>
                  </a:lnTo>
                  <a:lnTo>
                    <a:pt x="455" y="540"/>
                  </a:lnTo>
                  <a:lnTo>
                    <a:pt x="455" y="540"/>
                  </a:lnTo>
                  <a:lnTo>
                    <a:pt x="455" y="540"/>
                  </a:lnTo>
                  <a:lnTo>
                    <a:pt x="455" y="540"/>
                  </a:lnTo>
                  <a:lnTo>
                    <a:pt x="455" y="540"/>
                  </a:lnTo>
                  <a:lnTo>
                    <a:pt x="455" y="540"/>
                  </a:lnTo>
                  <a:lnTo>
                    <a:pt x="455" y="540"/>
                  </a:lnTo>
                  <a:lnTo>
                    <a:pt x="456" y="540"/>
                  </a:lnTo>
                  <a:lnTo>
                    <a:pt x="456" y="540"/>
                  </a:lnTo>
                  <a:lnTo>
                    <a:pt x="458" y="539"/>
                  </a:lnTo>
                  <a:lnTo>
                    <a:pt x="458" y="539"/>
                  </a:lnTo>
                  <a:lnTo>
                    <a:pt x="458" y="539"/>
                  </a:lnTo>
                  <a:lnTo>
                    <a:pt x="455" y="537"/>
                  </a:lnTo>
                  <a:lnTo>
                    <a:pt x="455" y="537"/>
                  </a:lnTo>
                  <a:lnTo>
                    <a:pt x="454" y="539"/>
                  </a:lnTo>
                  <a:lnTo>
                    <a:pt x="454" y="539"/>
                  </a:lnTo>
                  <a:lnTo>
                    <a:pt x="452" y="542"/>
                  </a:lnTo>
                  <a:lnTo>
                    <a:pt x="452" y="542"/>
                  </a:lnTo>
                  <a:lnTo>
                    <a:pt x="452" y="546"/>
                  </a:lnTo>
                  <a:lnTo>
                    <a:pt x="455" y="546"/>
                  </a:lnTo>
                  <a:close/>
                  <a:moveTo>
                    <a:pt x="455" y="561"/>
                  </a:moveTo>
                  <a:lnTo>
                    <a:pt x="455" y="561"/>
                  </a:lnTo>
                  <a:lnTo>
                    <a:pt x="455" y="551"/>
                  </a:lnTo>
                  <a:lnTo>
                    <a:pt x="452" y="551"/>
                  </a:lnTo>
                  <a:lnTo>
                    <a:pt x="452" y="551"/>
                  </a:lnTo>
                  <a:lnTo>
                    <a:pt x="452" y="561"/>
                  </a:lnTo>
                  <a:lnTo>
                    <a:pt x="455" y="561"/>
                  </a:lnTo>
                  <a:close/>
                  <a:moveTo>
                    <a:pt x="445" y="562"/>
                  </a:moveTo>
                  <a:lnTo>
                    <a:pt x="445" y="562"/>
                  </a:lnTo>
                  <a:lnTo>
                    <a:pt x="448" y="566"/>
                  </a:lnTo>
                  <a:lnTo>
                    <a:pt x="448" y="566"/>
                  </a:lnTo>
                  <a:lnTo>
                    <a:pt x="452" y="568"/>
                  </a:lnTo>
                  <a:lnTo>
                    <a:pt x="452" y="568"/>
                  </a:lnTo>
                  <a:lnTo>
                    <a:pt x="455" y="566"/>
                  </a:lnTo>
                  <a:lnTo>
                    <a:pt x="452" y="565"/>
                  </a:lnTo>
                  <a:lnTo>
                    <a:pt x="452" y="565"/>
                  </a:lnTo>
                  <a:lnTo>
                    <a:pt x="452" y="565"/>
                  </a:lnTo>
                  <a:lnTo>
                    <a:pt x="452" y="565"/>
                  </a:lnTo>
                  <a:lnTo>
                    <a:pt x="452" y="565"/>
                  </a:lnTo>
                  <a:lnTo>
                    <a:pt x="452" y="565"/>
                  </a:lnTo>
                  <a:lnTo>
                    <a:pt x="452" y="565"/>
                  </a:lnTo>
                  <a:lnTo>
                    <a:pt x="452" y="565"/>
                  </a:lnTo>
                  <a:lnTo>
                    <a:pt x="452" y="565"/>
                  </a:lnTo>
                  <a:lnTo>
                    <a:pt x="449" y="565"/>
                  </a:lnTo>
                  <a:lnTo>
                    <a:pt x="449" y="565"/>
                  </a:lnTo>
                  <a:lnTo>
                    <a:pt x="446" y="561"/>
                  </a:lnTo>
                  <a:lnTo>
                    <a:pt x="445" y="562"/>
                  </a:lnTo>
                  <a:close/>
                  <a:moveTo>
                    <a:pt x="438" y="552"/>
                  </a:moveTo>
                  <a:lnTo>
                    <a:pt x="438" y="552"/>
                  </a:lnTo>
                  <a:lnTo>
                    <a:pt x="438" y="552"/>
                  </a:lnTo>
                  <a:lnTo>
                    <a:pt x="438" y="552"/>
                  </a:lnTo>
                  <a:lnTo>
                    <a:pt x="439" y="553"/>
                  </a:lnTo>
                  <a:lnTo>
                    <a:pt x="439" y="553"/>
                  </a:lnTo>
                  <a:lnTo>
                    <a:pt x="442" y="558"/>
                  </a:lnTo>
                  <a:lnTo>
                    <a:pt x="443" y="556"/>
                  </a:lnTo>
                  <a:lnTo>
                    <a:pt x="443" y="556"/>
                  </a:lnTo>
                  <a:lnTo>
                    <a:pt x="442" y="553"/>
                  </a:lnTo>
                  <a:lnTo>
                    <a:pt x="442" y="553"/>
                  </a:lnTo>
                  <a:lnTo>
                    <a:pt x="441" y="551"/>
                  </a:lnTo>
                  <a:lnTo>
                    <a:pt x="441" y="551"/>
                  </a:lnTo>
                  <a:lnTo>
                    <a:pt x="438" y="549"/>
                  </a:lnTo>
                  <a:lnTo>
                    <a:pt x="436" y="549"/>
                  </a:lnTo>
                  <a:lnTo>
                    <a:pt x="438" y="552"/>
                  </a:lnTo>
                  <a:close/>
                  <a:moveTo>
                    <a:pt x="422" y="556"/>
                  </a:moveTo>
                  <a:lnTo>
                    <a:pt x="422" y="556"/>
                  </a:lnTo>
                  <a:lnTo>
                    <a:pt x="426" y="556"/>
                  </a:lnTo>
                  <a:lnTo>
                    <a:pt x="426" y="556"/>
                  </a:lnTo>
                  <a:lnTo>
                    <a:pt x="430" y="555"/>
                  </a:lnTo>
                  <a:lnTo>
                    <a:pt x="430" y="555"/>
                  </a:lnTo>
                  <a:lnTo>
                    <a:pt x="433" y="553"/>
                  </a:lnTo>
                  <a:lnTo>
                    <a:pt x="432" y="552"/>
                  </a:lnTo>
                  <a:lnTo>
                    <a:pt x="432" y="552"/>
                  </a:lnTo>
                  <a:lnTo>
                    <a:pt x="429" y="553"/>
                  </a:lnTo>
                  <a:lnTo>
                    <a:pt x="429" y="553"/>
                  </a:lnTo>
                  <a:lnTo>
                    <a:pt x="426" y="553"/>
                  </a:lnTo>
                  <a:lnTo>
                    <a:pt x="426" y="553"/>
                  </a:lnTo>
                  <a:lnTo>
                    <a:pt x="423" y="553"/>
                  </a:lnTo>
                  <a:lnTo>
                    <a:pt x="422" y="556"/>
                  </a:lnTo>
                  <a:close/>
                  <a:moveTo>
                    <a:pt x="409" y="549"/>
                  </a:moveTo>
                  <a:lnTo>
                    <a:pt x="409" y="549"/>
                  </a:lnTo>
                  <a:lnTo>
                    <a:pt x="410" y="551"/>
                  </a:lnTo>
                  <a:lnTo>
                    <a:pt x="410" y="551"/>
                  </a:lnTo>
                  <a:lnTo>
                    <a:pt x="417" y="555"/>
                  </a:lnTo>
                  <a:lnTo>
                    <a:pt x="419" y="552"/>
                  </a:lnTo>
                  <a:lnTo>
                    <a:pt x="419" y="552"/>
                  </a:lnTo>
                  <a:lnTo>
                    <a:pt x="412" y="549"/>
                  </a:lnTo>
                  <a:lnTo>
                    <a:pt x="412" y="549"/>
                  </a:lnTo>
                  <a:lnTo>
                    <a:pt x="410" y="548"/>
                  </a:lnTo>
                  <a:lnTo>
                    <a:pt x="409" y="549"/>
                  </a:lnTo>
                  <a:close/>
                  <a:moveTo>
                    <a:pt x="413" y="535"/>
                  </a:moveTo>
                  <a:lnTo>
                    <a:pt x="413" y="536"/>
                  </a:lnTo>
                  <a:lnTo>
                    <a:pt x="413" y="536"/>
                  </a:lnTo>
                  <a:lnTo>
                    <a:pt x="413" y="536"/>
                  </a:lnTo>
                  <a:lnTo>
                    <a:pt x="413" y="536"/>
                  </a:lnTo>
                  <a:lnTo>
                    <a:pt x="413" y="536"/>
                  </a:lnTo>
                  <a:lnTo>
                    <a:pt x="412" y="539"/>
                  </a:lnTo>
                  <a:lnTo>
                    <a:pt x="412" y="539"/>
                  </a:lnTo>
                  <a:lnTo>
                    <a:pt x="410" y="543"/>
                  </a:lnTo>
                  <a:lnTo>
                    <a:pt x="412" y="545"/>
                  </a:lnTo>
                  <a:lnTo>
                    <a:pt x="412" y="545"/>
                  </a:lnTo>
                  <a:lnTo>
                    <a:pt x="414" y="540"/>
                  </a:lnTo>
                  <a:lnTo>
                    <a:pt x="414" y="540"/>
                  </a:lnTo>
                  <a:lnTo>
                    <a:pt x="416" y="537"/>
                  </a:lnTo>
                  <a:lnTo>
                    <a:pt x="416" y="536"/>
                  </a:lnTo>
                  <a:lnTo>
                    <a:pt x="416" y="536"/>
                  </a:lnTo>
                  <a:lnTo>
                    <a:pt x="416" y="535"/>
                  </a:lnTo>
                  <a:lnTo>
                    <a:pt x="413" y="535"/>
                  </a:lnTo>
                  <a:close/>
                  <a:moveTo>
                    <a:pt x="406" y="523"/>
                  </a:moveTo>
                  <a:lnTo>
                    <a:pt x="406" y="523"/>
                  </a:lnTo>
                  <a:lnTo>
                    <a:pt x="412" y="530"/>
                  </a:lnTo>
                  <a:lnTo>
                    <a:pt x="413" y="529"/>
                  </a:lnTo>
                  <a:lnTo>
                    <a:pt x="413" y="529"/>
                  </a:lnTo>
                  <a:lnTo>
                    <a:pt x="407" y="522"/>
                  </a:lnTo>
                  <a:lnTo>
                    <a:pt x="406" y="523"/>
                  </a:lnTo>
                  <a:close/>
                  <a:moveTo>
                    <a:pt x="397" y="511"/>
                  </a:moveTo>
                  <a:lnTo>
                    <a:pt x="397" y="511"/>
                  </a:lnTo>
                  <a:lnTo>
                    <a:pt x="400" y="514"/>
                  </a:lnTo>
                  <a:lnTo>
                    <a:pt x="403" y="517"/>
                  </a:lnTo>
                  <a:lnTo>
                    <a:pt x="406" y="517"/>
                  </a:lnTo>
                  <a:lnTo>
                    <a:pt x="406" y="517"/>
                  </a:lnTo>
                  <a:lnTo>
                    <a:pt x="401" y="513"/>
                  </a:lnTo>
                  <a:lnTo>
                    <a:pt x="397" y="509"/>
                  </a:lnTo>
                  <a:lnTo>
                    <a:pt x="397" y="511"/>
                  </a:lnTo>
                  <a:close/>
                  <a:moveTo>
                    <a:pt x="387" y="500"/>
                  </a:moveTo>
                  <a:lnTo>
                    <a:pt x="387" y="500"/>
                  </a:lnTo>
                  <a:lnTo>
                    <a:pt x="387" y="504"/>
                  </a:lnTo>
                  <a:lnTo>
                    <a:pt x="388" y="507"/>
                  </a:lnTo>
                  <a:lnTo>
                    <a:pt x="388" y="507"/>
                  </a:lnTo>
                  <a:lnTo>
                    <a:pt x="393" y="509"/>
                  </a:lnTo>
                  <a:lnTo>
                    <a:pt x="393" y="507"/>
                  </a:lnTo>
                  <a:lnTo>
                    <a:pt x="393" y="507"/>
                  </a:lnTo>
                  <a:lnTo>
                    <a:pt x="390" y="506"/>
                  </a:lnTo>
                  <a:lnTo>
                    <a:pt x="390" y="506"/>
                  </a:lnTo>
                  <a:lnTo>
                    <a:pt x="388" y="500"/>
                  </a:lnTo>
                  <a:lnTo>
                    <a:pt x="387" y="500"/>
                  </a:lnTo>
                  <a:close/>
                  <a:moveTo>
                    <a:pt x="391" y="485"/>
                  </a:moveTo>
                  <a:lnTo>
                    <a:pt x="391" y="485"/>
                  </a:lnTo>
                  <a:lnTo>
                    <a:pt x="388" y="488"/>
                  </a:lnTo>
                  <a:lnTo>
                    <a:pt x="387" y="493"/>
                  </a:lnTo>
                  <a:lnTo>
                    <a:pt x="387" y="493"/>
                  </a:lnTo>
                  <a:lnTo>
                    <a:pt x="387" y="494"/>
                  </a:lnTo>
                  <a:lnTo>
                    <a:pt x="388" y="495"/>
                  </a:lnTo>
                  <a:lnTo>
                    <a:pt x="388" y="495"/>
                  </a:lnTo>
                  <a:lnTo>
                    <a:pt x="388" y="493"/>
                  </a:lnTo>
                  <a:lnTo>
                    <a:pt x="388" y="493"/>
                  </a:lnTo>
                  <a:lnTo>
                    <a:pt x="393" y="487"/>
                  </a:lnTo>
                  <a:lnTo>
                    <a:pt x="391" y="485"/>
                  </a:lnTo>
                  <a:close/>
                  <a:moveTo>
                    <a:pt x="400" y="474"/>
                  </a:moveTo>
                  <a:lnTo>
                    <a:pt x="400" y="474"/>
                  </a:lnTo>
                  <a:lnTo>
                    <a:pt x="394" y="481"/>
                  </a:lnTo>
                  <a:lnTo>
                    <a:pt x="396" y="482"/>
                  </a:lnTo>
                  <a:lnTo>
                    <a:pt x="396" y="482"/>
                  </a:lnTo>
                  <a:lnTo>
                    <a:pt x="403" y="475"/>
                  </a:lnTo>
                  <a:lnTo>
                    <a:pt x="400" y="474"/>
                  </a:lnTo>
                  <a:close/>
                  <a:moveTo>
                    <a:pt x="400" y="459"/>
                  </a:moveTo>
                  <a:lnTo>
                    <a:pt x="400" y="459"/>
                  </a:lnTo>
                  <a:lnTo>
                    <a:pt x="403" y="468"/>
                  </a:lnTo>
                  <a:lnTo>
                    <a:pt x="403" y="468"/>
                  </a:lnTo>
                  <a:lnTo>
                    <a:pt x="403" y="469"/>
                  </a:lnTo>
                  <a:lnTo>
                    <a:pt x="404" y="469"/>
                  </a:lnTo>
                  <a:lnTo>
                    <a:pt x="404" y="469"/>
                  </a:lnTo>
                  <a:lnTo>
                    <a:pt x="404" y="468"/>
                  </a:lnTo>
                  <a:lnTo>
                    <a:pt x="404" y="468"/>
                  </a:lnTo>
                  <a:lnTo>
                    <a:pt x="404" y="464"/>
                  </a:lnTo>
                  <a:lnTo>
                    <a:pt x="403" y="459"/>
                  </a:lnTo>
                  <a:lnTo>
                    <a:pt x="400" y="459"/>
                  </a:lnTo>
                  <a:close/>
                  <a:moveTo>
                    <a:pt x="397" y="445"/>
                  </a:moveTo>
                  <a:lnTo>
                    <a:pt x="397" y="445"/>
                  </a:lnTo>
                  <a:lnTo>
                    <a:pt x="397" y="452"/>
                  </a:lnTo>
                  <a:lnTo>
                    <a:pt x="397" y="452"/>
                  </a:lnTo>
                  <a:lnTo>
                    <a:pt x="399" y="455"/>
                  </a:lnTo>
                  <a:lnTo>
                    <a:pt x="400" y="455"/>
                  </a:lnTo>
                  <a:lnTo>
                    <a:pt x="400" y="455"/>
                  </a:lnTo>
                  <a:lnTo>
                    <a:pt x="400" y="451"/>
                  </a:lnTo>
                  <a:lnTo>
                    <a:pt x="400" y="451"/>
                  </a:lnTo>
                  <a:lnTo>
                    <a:pt x="399" y="445"/>
                  </a:lnTo>
                  <a:lnTo>
                    <a:pt x="397" y="445"/>
                  </a:lnTo>
                  <a:close/>
                  <a:moveTo>
                    <a:pt x="394" y="430"/>
                  </a:moveTo>
                  <a:lnTo>
                    <a:pt x="394" y="430"/>
                  </a:lnTo>
                  <a:lnTo>
                    <a:pt x="396" y="440"/>
                  </a:lnTo>
                  <a:lnTo>
                    <a:pt x="399" y="440"/>
                  </a:lnTo>
                  <a:lnTo>
                    <a:pt x="399" y="440"/>
                  </a:lnTo>
                  <a:lnTo>
                    <a:pt x="397" y="430"/>
                  </a:lnTo>
                  <a:lnTo>
                    <a:pt x="394" y="430"/>
                  </a:lnTo>
                  <a:close/>
                  <a:moveTo>
                    <a:pt x="387" y="429"/>
                  </a:moveTo>
                  <a:lnTo>
                    <a:pt x="387" y="429"/>
                  </a:lnTo>
                  <a:lnTo>
                    <a:pt x="390" y="426"/>
                  </a:lnTo>
                  <a:lnTo>
                    <a:pt x="390" y="426"/>
                  </a:lnTo>
                  <a:lnTo>
                    <a:pt x="393" y="426"/>
                  </a:lnTo>
                  <a:lnTo>
                    <a:pt x="394" y="426"/>
                  </a:lnTo>
                  <a:lnTo>
                    <a:pt x="396" y="424"/>
                  </a:lnTo>
                  <a:lnTo>
                    <a:pt x="396" y="424"/>
                  </a:lnTo>
                  <a:lnTo>
                    <a:pt x="393" y="423"/>
                  </a:lnTo>
                  <a:lnTo>
                    <a:pt x="393" y="423"/>
                  </a:lnTo>
                  <a:lnTo>
                    <a:pt x="390" y="424"/>
                  </a:lnTo>
                  <a:lnTo>
                    <a:pt x="390" y="424"/>
                  </a:lnTo>
                  <a:lnTo>
                    <a:pt x="385" y="427"/>
                  </a:lnTo>
                  <a:lnTo>
                    <a:pt x="387" y="429"/>
                  </a:lnTo>
                  <a:close/>
                  <a:moveTo>
                    <a:pt x="372" y="438"/>
                  </a:moveTo>
                  <a:lnTo>
                    <a:pt x="372" y="438"/>
                  </a:lnTo>
                  <a:lnTo>
                    <a:pt x="380" y="433"/>
                  </a:lnTo>
                  <a:lnTo>
                    <a:pt x="380" y="433"/>
                  </a:lnTo>
                  <a:lnTo>
                    <a:pt x="383" y="432"/>
                  </a:lnTo>
                  <a:lnTo>
                    <a:pt x="381" y="430"/>
                  </a:lnTo>
                  <a:lnTo>
                    <a:pt x="381" y="430"/>
                  </a:lnTo>
                  <a:lnTo>
                    <a:pt x="378" y="432"/>
                  </a:lnTo>
                  <a:lnTo>
                    <a:pt x="378" y="432"/>
                  </a:lnTo>
                  <a:lnTo>
                    <a:pt x="372" y="435"/>
                  </a:lnTo>
                  <a:lnTo>
                    <a:pt x="372" y="438"/>
                  </a:lnTo>
                  <a:close/>
                  <a:moveTo>
                    <a:pt x="358" y="438"/>
                  </a:moveTo>
                  <a:lnTo>
                    <a:pt x="358" y="438"/>
                  </a:lnTo>
                  <a:lnTo>
                    <a:pt x="359" y="438"/>
                  </a:lnTo>
                  <a:lnTo>
                    <a:pt x="359" y="438"/>
                  </a:lnTo>
                  <a:lnTo>
                    <a:pt x="359" y="438"/>
                  </a:lnTo>
                  <a:lnTo>
                    <a:pt x="359" y="438"/>
                  </a:lnTo>
                  <a:lnTo>
                    <a:pt x="359" y="438"/>
                  </a:lnTo>
                  <a:lnTo>
                    <a:pt x="359" y="438"/>
                  </a:lnTo>
                  <a:lnTo>
                    <a:pt x="359" y="438"/>
                  </a:lnTo>
                  <a:lnTo>
                    <a:pt x="359" y="438"/>
                  </a:lnTo>
                  <a:lnTo>
                    <a:pt x="359" y="438"/>
                  </a:lnTo>
                  <a:lnTo>
                    <a:pt x="364" y="439"/>
                  </a:lnTo>
                  <a:lnTo>
                    <a:pt x="364" y="439"/>
                  </a:lnTo>
                  <a:lnTo>
                    <a:pt x="368" y="439"/>
                  </a:lnTo>
                  <a:lnTo>
                    <a:pt x="367" y="436"/>
                  </a:lnTo>
                  <a:lnTo>
                    <a:pt x="367" y="436"/>
                  </a:lnTo>
                  <a:lnTo>
                    <a:pt x="364" y="436"/>
                  </a:lnTo>
                  <a:lnTo>
                    <a:pt x="364" y="436"/>
                  </a:lnTo>
                  <a:lnTo>
                    <a:pt x="362" y="436"/>
                  </a:lnTo>
                  <a:lnTo>
                    <a:pt x="362" y="436"/>
                  </a:lnTo>
                  <a:lnTo>
                    <a:pt x="361" y="436"/>
                  </a:lnTo>
                  <a:lnTo>
                    <a:pt x="361" y="436"/>
                  </a:lnTo>
                  <a:lnTo>
                    <a:pt x="361" y="436"/>
                  </a:lnTo>
                  <a:lnTo>
                    <a:pt x="361" y="436"/>
                  </a:lnTo>
                  <a:lnTo>
                    <a:pt x="361" y="436"/>
                  </a:lnTo>
                  <a:lnTo>
                    <a:pt x="361" y="436"/>
                  </a:lnTo>
                  <a:lnTo>
                    <a:pt x="361" y="436"/>
                  </a:lnTo>
                  <a:lnTo>
                    <a:pt x="358" y="435"/>
                  </a:lnTo>
                  <a:lnTo>
                    <a:pt x="358" y="435"/>
                  </a:lnTo>
                  <a:lnTo>
                    <a:pt x="358" y="438"/>
                  </a:lnTo>
                  <a:close/>
                  <a:moveTo>
                    <a:pt x="342" y="440"/>
                  </a:moveTo>
                  <a:lnTo>
                    <a:pt x="342" y="440"/>
                  </a:lnTo>
                  <a:lnTo>
                    <a:pt x="352" y="439"/>
                  </a:lnTo>
                  <a:lnTo>
                    <a:pt x="352" y="436"/>
                  </a:lnTo>
                  <a:lnTo>
                    <a:pt x="352" y="436"/>
                  </a:lnTo>
                  <a:lnTo>
                    <a:pt x="342" y="438"/>
                  </a:lnTo>
                  <a:lnTo>
                    <a:pt x="342" y="440"/>
                  </a:lnTo>
                  <a:close/>
                  <a:moveTo>
                    <a:pt x="328" y="440"/>
                  </a:moveTo>
                  <a:lnTo>
                    <a:pt x="328" y="440"/>
                  </a:lnTo>
                  <a:lnTo>
                    <a:pt x="328" y="440"/>
                  </a:lnTo>
                  <a:lnTo>
                    <a:pt x="338" y="440"/>
                  </a:lnTo>
                  <a:lnTo>
                    <a:pt x="338" y="438"/>
                  </a:lnTo>
                  <a:lnTo>
                    <a:pt x="338" y="438"/>
                  </a:lnTo>
                  <a:lnTo>
                    <a:pt x="328" y="438"/>
                  </a:lnTo>
                  <a:lnTo>
                    <a:pt x="328" y="438"/>
                  </a:lnTo>
                  <a:lnTo>
                    <a:pt x="328" y="440"/>
                  </a:lnTo>
                  <a:close/>
                  <a:moveTo>
                    <a:pt x="315" y="433"/>
                  </a:moveTo>
                  <a:lnTo>
                    <a:pt x="315" y="433"/>
                  </a:lnTo>
                  <a:lnTo>
                    <a:pt x="316" y="436"/>
                  </a:lnTo>
                  <a:lnTo>
                    <a:pt x="319" y="439"/>
                  </a:lnTo>
                  <a:lnTo>
                    <a:pt x="319" y="439"/>
                  </a:lnTo>
                  <a:lnTo>
                    <a:pt x="322" y="440"/>
                  </a:lnTo>
                  <a:lnTo>
                    <a:pt x="323" y="438"/>
                  </a:lnTo>
                  <a:lnTo>
                    <a:pt x="323" y="438"/>
                  </a:lnTo>
                  <a:lnTo>
                    <a:pt x="319" y="436"/>
                  </a:lnTo>
                  <a:lnTo>
                    <a:pt x="319" y="436"/>
                  </a:lnTo>
                  <a:lnTo>
                    <a:pt x="317" y="435"/>
                  </a:lnTo>
                  <a:lnTo>
                    <a:pt x="316" y="432"/>
                  </a:lnTo>
                  <a:lnTo>
                    <a:pt x="315" y="433"/>
                  </a:lnTo>
                  <a:close/>
                  <a:moveTo>
                    <a:pt x="304" y="429"/>
                  </a:moveTo>
                  <a:lnTo>
                    <a:pt x="304" y="429"/>
                  </a:lnTo>
                  <a:lnTo>
                    <a:pt x="312" y="427"/>
                  </a:lnTo>
                  <a:lnTo>
                    <a:pt x="312" y="427"/>
                  </a:lnTo>
                  <a:lnTo>
                    <a:pt x="312" y="427"/>
                  </a:lnTo>
                  <a:lnTo>
                    <a:pt x="313" y="429"/>
                  </a:lnTo>
                  <a:lnTo>
                    <a:pt x="315" y="427"/>
                  </a:lnTo>
                  <a:lnTo>
                    <a:pt x="315" y="426"/>
                  </a:lnTo>
                  <a:lnTo>
                    <a:pt x="315" y="426"/>
                  </a:lnTo>
                  <a:lnTo>
                    <a:pt x="312" y="424"/>
                  </a:lnTo>
                  <a:lnTo>
                    <a:pt x="312" y="424"/>
                  </a:lnTo>
                  <a:lnTo>
                    <a:pt x="307" y="426"/>
                  </a:lnTo>
                  <a:lnTo>
                    <a:pt x="303" y="427"/>
                  </a:lnTo>
                  <a:lnTo>
                    <a:pt x="304" y="429"/>
                  </a:lnTo>
                  <a:close/>
                  <a:moveTo>
                    <a:pt x="291" y="438"/>
                  </a:moveTo>
                  <a:lnTo>
                    <a:pt x="291" y="438"/>
                  </a:lnTo>
                  <a:lnTo>
                    <a:pt x="294" y="436"/>
                  </a:lnTo>
                  <a:lnTo>
                    <a:pt x="294" y="436"/>
                  </a:lnTo>
                  <a:lnTo>
                    <a:pt x="300" y="432"/>
                  </a:lnTo>
                  <a:lnTo>
                    <a:pt x="299" y="429"/>
                  </a:lnTo>
                  <a:lnTo>
                    <a:pt x="299" y="429"/>
                  </a:lnTo>
                  <a:lnTo>
                    <a:pt x="293" y="433"/>
                  </a:lnTo>
                  <a:lnTo>
                    <a:pt x="293" y="433"/>
                  </a:lnTo>
                  <a:lnTo>
                    <a:pt x="290" y="435"/>
                  </a:lnTo>
                  <a:lnTo>
                    <a:pt x="291" y="438"/>
                  </a:lnTo>
                  <a:close/>
                  <a:moveTo>
                    <a:pt x="277" y="440"/>
                  </a:moveTo>
                  <a:lnTo>
                    <a:pt x="277" y="440"/>
                  </a:lnTo>
                  <a:lnTo>
                    <a:pt x="281" y="440"/>
                  </a:lnTo>
                  <a:lnTo>
                    <a:pt x="281" y="440"/>
                  </a:lnTo>
                  <a:lnTo>
                    <a:pt x="287" y="439"/>
                  </a:lnTo>
                  <a:lnTo>
                    <a:pt x="286" y="438"/>
                  </a:lnTo>
                  <a:lnTo>
                    <a:pt x="286" y="438"/>
                  </a:lnTo>
                  <a:lnTo>
                    <a:pt x="281" y="438"/>
                  </a:lnTo>
                  <a:lnTo>
                    <a:pt x="281" y="438"/>
                  </a:lnTo>
                  <a:lnTo>
                    <a:pt x="277" y="438"/>
                  </a:lnTo>
                  <a:lnTo>
                    <a:pt x="277" y="440"/>
                  </a:lnTo>
                  <a:close/>
                  <a:moveTo>
                    <a:pt x="261" y="439"/>
                  </a:moveTo>
                  <a:lnTo>
                    <a:pt x="261" y="439"/>
                  </a:lnTo>
                  <a:lnTo>
                    <a:pt x="264" y="439"/>
                  </a:lnTo>
                  <a:lnTo>
                    <a:pt x="264" y="439"/>
                  </a:lnTo>
                  <a:lnTo>
                    <a:pt x="271" y="439"/>
                  </a:lnTo>
                  <a:lnTo>
                    <a:pt x="271" y="436"/>
                  </a:lnTo>
                  <a:lnTo>
                    <a:pt x="271" y="436"/>
                  </a:lnTo>
                  <a:lnTo>
                    <a:pt x="264" y="436"/>
                  </a:lnTo>
                  <a:lnTo>
                    <a:pt x="264" y="436"/>
                  </a:lnTo>
                  <a:lnTo>
                    <a:pt x="261" y="436"/>
                  </a:lnTo>
                  <a:lnTo>
                    <a:pt x="261" y="439"/>
                  </a:lnTo>
                  <a:close/>
                  <a:moveTo>
                    <a:pt x="246" y="440"/>
                  </a:moveTo>
                  <a:lnTo>
                    <a:pt x="248" y="440"/>
                  </a:lnTo>
                  <a:lnTo>
                    <a:pt x="248" y="440"/>
                  </a:lnTo>
                  <a:lnTo>
                    <a:pt x="257" y="439"/>
                  </a:lnTo>
                  <a:lnTo>
                    <a:pt x="257" y="436"/>
                  </a:lnTo>
                  <a:lnTo>
                    <a:pt x="257" y="436"/>
                  </a:lnTo>
                  <a:lnTo>
                    <a:pt x="246" y="438"/>
                  </a:lnTo>
                  <a:lnTo>
                    <a:pt x="246" y="439"/>
                  </a:lnTo>
                  <a:lnTo>
                    <a:pt x="246" y="440"/>
                  </a:lnTo>
                  <a:close/>
                  <a:moveTo>
                    <a:pt x="233" y="446"/>
                  </a:moveTo>
                  <a:lnTo>
                    <a:pt x="233" y="446"/>
                  </a:lnTo>
                  <a:lnTo>
                    <a:pt x="242" y="443"/>
                  </a:lnTo>
                  <a:lnTo>
                    <a:pt x="241" y="440"/>
                  </a:lnTo>
                  <a:lnTo>
                    <a:pt x="241" y="440"/>
                  </a:lnTo>
                  <a:lnTo>
                    <a:pt x="232" y="443"/>
                  </a:lnTo>
                  <a:lnTo>
                    <a:pt x="233" y="446"/>
                  </a:lnTo>
                  <a:close/>
                  <a:moveTo>
                    <a:pt x="217" y="448"/>
                  </a:moveTo>
                  <a:lnTo>
                    <a:pt x="217" y="448"/>
                  </a:lnTo>
                  <a:lnTo>
                    <a:pt x="222" y="449"/>
                  </a:lnTo>
                  <a:lnTo>
                    <a:pt x="222" y="449"/>
                  </a:lnTo>
                  <a:lnTo>
                    <a:pt x="223" y="449"/>
                  </a:lnTo>
                  <a:lnTo>
                    <a:pt x="223" y="449"/>
                  </a:lnTo>
                  <a:lnTo>
                    <a:pt x="228" y="448"/>
                  </a:lnTo>
                  <a:lnTo>
                    <a:pt x="228" y="445"/>
                  </a:lnTo>
                  <a:lnTo>
                    <a:pt x="228" y="445"/>
                  </a:lnTo>
                  <a:lnTo>
                    <a:pt x="223" y="446"/>
                  </a:lnTo>
                  <a:lnTo>
                    <a:pt x="222" y="446"/>
                  </a:lnTo>
                  <a:lnTo>
                    <a:pt x="222" y="446"/>
                  </a:lnTo>
                  <a:lnTo>
                    <a:pt x="217" y="446"/>
                  </a:lnTo>
                  <a:lnTo>
                    <a:pt x="217" y="448"/>
                  </a:lnTo>
                  <a:close/>
                  <a:moveTo>
                    <a:pt x="203" y="443"/>
                  </a:moveTo>
                  <a:lnTo>
                    <a:pt x="203" y="443"/>
                  </a:lnTo>
                  <a:lnTo>
                    <a:pt x="212" y="446"/>
                  </a:lnTo>
                  <a:lnTo>
                    <a:pt x="213" y="445"/>
                  </a:lnTo>
                  <a:lnTo>
                    <a:pt x="213" y="445"/>
                  </a:lnTo>
                  <a:lnTo>
                    <a:pt x="203" y="440"/>
                  </a:lnTo>
                  <a:lnTo>
                    <a:pt x="203" y="443"/>
                  </a:lnTo>
                  <a:close/>
                  <a:moveTo>
                    <a:pt x="189" y="438"/>
                  </a:moveTo>
                  <a:lnTo>
                    <a:pt x="189" y="438"/>
                  </a:lnTo>
                  <a:lnTo>
                    <a:pt x="191" y="439"/>
                  </a:lnTo>
                  <a:lnTo>
                    <a:pt x="191" y="439"/>
                  </a:lnTo>
                  <a:lnTo>
                    <a:pt x="197" y="442"/>
                  </a:lnTo>
                  <a:lnTo>
                    <a:pt x="199" y="439"/>
                  </a:lnTo>
                  <a:lnTo>
                    <a:pt x="199" y="439"/>
                  </a:lnTo>
                  <a:lnTo>
                    <a:pt x="191" y="438"/>
                  </a:lnTo>
                  <a:lnTo>
                    <a:pt x="191" y="438"/>
                  </a:lnTo>
                  <a:lnTo>
                    <a:pt x="190" y="436"/>
                  </a:lnTo>
                  <a:lnTo>
                    <a:pt x="189" y="438"/>
                  </a:lnTo>
                  <a:close/>
                  <a:moveTo>
                    <a:pt x="175" y="429"/>
                  </a:moveTo>
                  <a:lnTo>
                    <a:pt x="175" y="429"/>
                  </a:lnTo>
                  <a:lnTo>
                    <a:pt x="184" y="435"/>
                  </a:lnTo>
                  <a:lnTo>
                    <a:pt x="186" y="433"/>
                  </a:lnTo>
                  <a:lnTo>
                    <a:pt x="186" y="433"/>
                  </a:lnTo>
                  <a:lnTo>
                    <a:pt x="178" y="426"/>
                  </a:lnTo>
                  <a:lnTo>
                    <a:pt x="175" y="429"/>
                  </a:lnTo>
                  <a:close/>
                  <a:moveTo>
                    <a:pt x="165" y="417"/>
                  </a:moveTo>
                  <a:lnTo>
                    <a:pt x="165" y="417"/>
                  </a:lnTo>
                  <a:lnTo>
                    <a:pt x="170" y="422"/>
                  </a:lnTo>
                  <a:lnTo>
                    <a:pt x="170" y="422"/>
                  </a:lnTo>
                  <a:lnTo>
                    <a:pt x="173" y="424"/>
                  </a:lnTo>
                  <a:lnTo>
                    <a:pt x="174" y="423"/>
                  </a:lnTo>
                  <a:lnTo>
                    <a:pt x="174" y="423"/>
                  </a:lnTo>
                  <a:lnTo>
                    <a:pt x="171" y="420"/>
                  </a:lnTo>
                  <a:lnTo>
                    <a:pt x="171" y="420"/>
                  </a:lnTo>
                  <a:lnTo>
                    <a:pt x="167" y="416"/>
                  </a:lnTo>
                  <a:lnTo>
                    <a:pt x="165" y="417"/>
                  </a:lnTo>
                  <a:close/>
                  <a:moveTo>
                    <a:pt x="151" y="413"/>
                  </a:moveTo>
                  <a:lnTo>
                    <a:pt x="151" y="413"/>
                  </a:lnTo>
                  <a:lnTo>
                    <a:pt x="155" y="414"/>
                  </a:lnTo>
                  <a:lnTo>
                    <a:pt x="155" y="414"/>
                  </a:lnTo>
                  <a:lnTo>
                    <a:pt x="161" y="416"/>
                  </a:lnTo>
                  <a:lnTo>
                    <a:pt x="162" y="414"/>
                  </a:lnTo>
                  <a:lnTo>
                    <a:pt x="162" y="414"/>
                  </a:lnTo>
                  <a:lnTo>
                    <a:pt x="155" y="413"/>
                  </a:lnTo>
                  <a:lnTo>
                    <a:pt x="155" y="413"/>
                  </a:lnTo>
                  <a:lnTo>
                    <a:pt x="152" y="411"/>
                  </a:lnTo>
                  <a:lnTo>
                    <a:pt x="151" y="413"/>
                  </a:lnTo>
                  <a:close/>
                  <a:moveTo>
                    <a:pt x="138" y="407"/>
                  </a:moveTo>
                  <a:lnTo>
                    <a:pt x="138" y="407"/>
                  </a:lnTo>
                  <a:lnTo>
                    <a:pt x="147" y="411"/>
                  </a:lnTo>
                  <a:lnTo>
                    <a:pt x="148" y="409"/>
                  </a:lnTo>
                  <a:lnTo>
                    <a:pt x="148" y="409"/>
                  </a:lnTo>
                  <a:lnTo>
                    <a:pt x="138" y="404"/>
                  </a:lnTo>
                  <a:lnTo>
                    <a:pt x="138" y="407"/>
                  </a:lnTo>
                  <a:close/>
                  <a:moveTo>
                    <a:pt x="123" y="403"/>
                  </a:moveTo>
                  <a:lnTo>
                    <a:pt x="123" y="403"/>
                  </a:lnTo>
                  <a:lnTo>
                    <a:pt x="126" y="403"/>
                  </a:lnTo>
                  <a:lnTo>
                    <a:pt x="126" y="403"/>
                  </a:lnTo>
                  <a:lnTo>
                    <a:pt x="132" y="406"/>
                  </a:lnTo>
                  <a:lnTo>
                    <a:pt x="133" y="403"/>
                  </a:lnTo>
                  <a:lnTo>
                    <a:pt x="133" y="403"/>
                  </a:lnTo>
                  <a:lnTo>
                    <a:pt x="126" y="401"/>
                  </a:lnTo>
                  <a:lnTo>
                    <a:pt x="126" y="401"/>
                  </a:lnTo>
                  <a:lnTo>
                    <a:pt x="123" y="400"/>
                  </a:lnTo>
                  <a:lnTo>
                    <a:pt x="123" y="403"/>
                  </a:lnTo>
                  <a:close/>
                  <a:moveTo>
                    <a:pt x="109" y="397"/>
                  </a:moveTo>
                  <a:lnTo>
                    <a:pt x="109" y="397"/>
                  </a:lnTo>
                  <a:lnTo>
                    <a:pt x="118" y="401"/>
                  </a:lnTo>
                  <a:lnTo>
                    <a:pt x="119" y="398"/>
                  </a:lnTo>
                  <a:lnTo>
                    <a:pt x="119" y="398"/>
                  </a:lnTo>
                  <a:lnTo>
                    <a:pt x="110" y="394"/>
                  </a:lnTo>
                  <a:lnTo>
                    <a:pt x="109" y="397"/>
                  </a:lnTo>
                  <a:close/>
                  <a:moveTo>
                    <a:pt x="96" y="390"/>
                  </a:moveTo>
                  <a:lnTo>
                    <a:pt x="96" y="390"/>
                  </a:lnTo>
                  <a:lnTo>
                    <a:pt x="105" y="394"/>
                  </a:lnTo>
                  <a:lnTo>
                    <a:pt x="106" y="393"/>
                  </a:lnTo>
                  <a:lnTo>
                    <a:pt x="106" y="393"/>
                  </a:lnTo>
                  <a:lnTo>
                    <a:pt x="96" y="387"/>
                  </a:lnTo>
                  <a:lnTo>
                    <a:pt x="96" y="390"/>
                  </a:lnTo>
                  <a:close/>
                  <a:moveTo>
                    <a:pt x="81" y="381"/>
                  </a:moveTo>
                  <a:lnTo>
                    <a:pt x="81" y="381"/>
                  </a:lnTo>
                  <a:lnTo>
                    <a:pt x="90" y="387"/>
                  </a:lnTo>
                  <a:lnTo>
                    <a:pt x="91" y="385"/>
                  </a:lnTo>
                  <a:lnTo>
                    <a:pt x="91" y="385"/>
                  </a:lnTo>
                  <a:lnTo>
                    <a:pt x="83" y="380"/>
                  </a:lnTo>
                  <a:lnTo>
                    <a:pt x="81" y="381"/>
                  </a:lnTo>
                  <a:close/>
                  <a:moveTo>
                    <a:pt x="70" y="371"/>
                  </a:moveTo>
                  <a:lnTo>
                    <a:pt x="70" y="371"/>
                  </a:lnTo>
                  <a:lnTo>
                    <a:pt x="73" y="375"/>
                  </a:lnTo>
                  <a:lnTo>
                    <a:pt x="78" y="378"/>
                  </a:lnTo>
                  <a:lnTo>
                    <a:pt x="80" y="377"/>
                  </a:lnTo>
                  <a:lnTo>
                    <a:pt x="80" y="377"/>
                  </a:lnTo>
                  <a:lnTo>
                    <a:pt x="76" y="372"/>
                  </a:lnTo>
                  <a:lnTo>
                    <a:pt x="73" y="369"/>
                  </a:lnTo>
                  <a:lnTo>
                    <a:pt x="70" y="371"/>
                  </a:lnTo>
                  <a:close/>
                  <a:moveTo>
                    <a:pt x="74" y="358"/>
                  </a:moveTo>
                  <a:lnTo>
                    <a:pt x="74" y="358"/>
                  </a:lnTo>
                  <a:lnTo>
                    <a:pt x="74" y="361"/>
                  </a:lnTo>
                  <a:lnTo>
                    <a:pt x="74" y="361"/>
                  </a:lnTo>
                  <a:lnTo>
                    <a:pt x="74" y="365"/>
                  </a:lnTo>
                  <a:lnTo>
                    <a:pt x="74" y="365"/>
                  </a:lnTo>
                  <a:lnTo>
                    <a:pt x="74" y="365"/>
                  </a:lnTo>
                  <a:lnTo>
                    <a:pt x="74" y="365"/>
                  </a:lnTo>
                  <a:lnTo>
                    <a:pt x="74" y="365"/>
                  </a:lnTo>
                  <a:lnTo>
                    <a:pt x="74" y="365"/>
                  </a:lnTo>
                  <a:lnTo>
                    <a:pt x="74" y="365"/>
                  </a:lnTo>
                  <a:lnTo>
                    <a:pt x="74" y="365"/>
                  </a:lnTo>
                  <a:lnTo>
                    <a:pt x="73" y="365"/>
                  </a:lnTo>
                  <a:lnTo>
                    <a:pt x="74" y="368"/>
                  </a:lnTo>
                  <a:lnTo>
                    <a:pt x="74" y="368"/>
                  </a:lnTo>
                  <a:lnTo>
                    <a:pt x="74" y="368"/>
                  </a:lnTo>
                  <a:lnTo>
                    <a:pt x="76" y="367"/>
                  </a:lnTo>
                  <a:lnTo>
                    <a:pt x="76" y="367"/>
                  </a:lnTo>
                  <a:lnTo>
                    <a:pt x="77" y="364"/>
                  </a:lnTo>
                  <a:lnTo>
                    <a:pt x="77" y="361"/>
                  </a:lnTo>
                  <a:lnTo>
                    <a:pt x="77" y="361"/>
                  </a:lnTo>
                  <a:lnTo>
                    <a:pt x="77" y="358"/>
                  </a:lnTo>
                  <a:lnTo>
                    <a:pt x="74" y="358"/>
                  </a:lnTo>
                  <a:close/>
                  <a:moveTo>
                    <a:pt x="73" y="343"/>
                  </a:moveTo>
                  <a:lnTo>
                    <a:pt x="73" y="343"/>
                  </a:lnTo>
                  <a:lnTo>
                    <a:pt x="74" y="352"/>
                  </a:lnTo>
                  <a:lnTo>
                    <a:pt x="77" y="352"/>
                  </a:lnTo>
                  <a:lnTo>
                    <a:pt x="77" y="352"/>
                  </a:lnTo>
                  <a:lnTo>
                    <a:pt x="74" y="342"/>
                  </a:lnTo>
                  <a:lnTo>
                    <a:pt x="73" y="343"/>
                  </a:lnTo>
                  <a:close/>
                  <a:moveTo>
                    <a:pt x="65" y="330"/>
                  </a:moveTo>
                  <a:lnTo>
                    <a:pt x="65" y="330"/>
                  </a:lnTo>
                  <a:lnTo>
                    <a:pt x="68" y="333"/>
                  </a:lnTo>
                  <a:lnTo>
                    <a:pt x="70" y="336"/>
                  </a:lnTo>
                  <a:lnTo>
                    <a:pt x="70" y="336"/>
                  </a:lnTo>
                  <a:lnTo>
                    <a:pt x="71" y="338"/>
                  </a:lnTo>
                  <a:lnTo>
                    <a:pt x="73" y="338"/>
                  </a:lnTo>
                  <a:lnTo>
                    <a:pt x="73" y="338"/>
                  </a:lnTo>
                  <a:lnTo>
                    <a:pt x="71" y="335"/>
                  </a:lnTo>
                  <a:lnTo>
                    <a:pt x="71" y="335"/>
                  </a:lnTo>
                  <a:lnTo>
                    <a:pt x="70" y="330"/>
                  </a:lnTo>
                  <a:lnTo>
                    <a:pt x="67" y="329"/>
                  </a:lnTo>
                  <a:lnTo>
                    <a:pt x="65" y="330"/>
                  </a:lnTo>
                  <a:close/>
                  <a:moveTo>
                    <a:pt x="51" y="325"/>
                  </a:moveTo>
                  <a:lnTo>
                    <a:pt x="51" y="325"/>
                  </a:lnTo>
                  <a:lnTo>
                    <a:pt x="61" y="329"/>
                  </a:lnTo>
                  <a:lnTo>
                    <a:pt x="63" y="326"/>
                  </a:lnTo>
                  <a:lnTo>
                    <a:pt x="63" y="326"/>
                  </a:lnTo>
                  <a:lnTo>
                    <a:pt x="52" y="323"/>
                  </a:lnTo>
                  <a:lnTo>
                    <a:pt x="51" y="325"/>
                  </a:lnTo>
                  <a:close/>
                  <a:moveTo>
                    <a:pt x="51" y="312"/>
                  </a:moveTo>
                  <a:lnTo>
                    <a:pt x="51" y="312"/>
                  </a:lnTo>
                  <a:lnTo>
                    <a:pt x="49" y="316"/>
                  </a:lnTo>
                  <a:lnTo>
                    <a:pt x="49" y="316"/>
                  </a:lnTo>
                  <a:lnTo>
                    <a:pt x="48" y="320"/>
                  </a:lnTo>
                  <a:lnTo>
                    <a:pt x="51" y="320"/>
                  </a:lnTo>
                  <a:lnTo>
                    <a:pt x="51" y="320"/>
                  </a:lnTo>
                  <a:lnTo>
                    <a:pt x="52" y="317"/>
                  </a:lnTo>
                  <a:lnTo>
                    <a:pt x="52" y="317"/>
                  </a:lnTo>
                  <a:lnTo>
                    <a:pt x="54" y="312"/>
                  </a:lnTo>
                  <a:lnTo>
                    <a:pt x="51" y="312"/>
                  </a:lnTo>
                  <a:close/>
                  <a:moveTo>
                    <a:pt x="15" y="278"/>
                  </a:moveTo>
                  <a:lnTo>
                    <a:pt x="15" y="278"/>
                  </a:lnTo>
                  <a:lnTo>
                    <a:pt x="21" y="285"/>
                  </a:lnTo>
                  <a:lnTo>
                    <a:pt x="22" y="284"/>
                  </a:lnTo>
                  <a:lnTo>
                    <a:pt x="22" y="284"/>
                  </a:lnTo>
                  <a:lnTo>
                    <a:pt x="19" y="280"/>
                  </a:lnTo>
                  <a:lnTo>
                    <a:pt x="16" y="275"/>
                  </a:lnTo>
                  <a:lnTo>
                    <a:pt x="15" y="278"/>
                  </a:lnTo>
                  <a:close/>
                  <a:moveTo>
                    <a:pt x="12" y="264"/>
                  </a:moveTo>
                  <a:lnTo>
                    <a:pt x="12" y="265"/>
                  </a:lnTo>
                  <a:lnTo>
                    <a:pt x="12" y="265"/>
                  </a:lnTo>
                  <a:lnTo>
                    <a:pt x="10" y="268"/>
                  </a:lnTo>
                  <a:lnTo>
                    <a:pt x="10" y="268"/>
                  </a:lnTo>
                  <a:lnTo>
                    <a:pt x="9" y="271"/>
                  </a:lnTo>
                  <a:lnTo>
                    <a:pt x="9" y="271"/>
                  </a:lnTo>
                  <a:lnTo>
                    <a:pt x="9" y="272"/>
                  </a:lnTo>
                  <a:lnTo>
                    <a:pt x="10" y="274"/>
                  </a:lnTo>
                  <a:lnTo>
                    <a:pt x="12" y="272"/>
                  </a:lnTo>
                  <a:lnTo>
                    <a:pt x="12" y="272"/>
                  </a:lnTo>
                  <a:lnTo>
                    <a:pt x="12" y="271"/>
                  </a:lnTo>
                  <a:lnTo>
                    <a:pt x="12" y="271"/>
                  </a:lnTo>
                  <a:lnTo>
                    <a:pt x="12" y="270"/>
                  </a:lnTo>
                  <a:lnTo>
                    <a:pt x="12" y="270"/>
                  </a:lnTo>
                  <a:lnTo>
                    <a:pt x="15" y="265"/>
                  </a:lnTo>
                  <a:lnTo>
                    <a:pt x="15" y="265"/>
                  </a:lnTo>
                  <a:lnTo>
                    <a:pt x="12" y="264"/>
                  </a:lnTo>
                  <a:close/>
                  <a:moveTo>
                    <a:pt x="22" y="255"/>
                  </a:moveTo>
                  <a:lnTo>
                    <a:pt x="22" y="255"/>
                  </a:lnTo>
                  <a:lnTo>
                    <a:pt x="21" y="259"/>
                  </a:lnTo>
                  <a:lnTo>
                    <a:pt x="21" y="259"/>
                  </a:lnTo>
                  <a:lnTo>
                    <a:pt x="18" y="261"/>
                  </a:lnTo>
                  <a:lnTo>
                    <a:pt x="18" y="264"/>
                  </a:lnTo>
                  <a:lnTo>
                    <a:pt x="18" y="264"/>
                  </a:lnTo>
                  <a:lnTo>
                    <a:pt x="21" y="262"/>
                  </a:lnTo>
                  <a:lnTo>
                    <a:pt x="22" y="261"/>
                  </a:lnTo>
                  <a:lnTo>
                    <a:pt x="22" y="261"/>
                  </a:lnTo>
                  <a:lnTo>
                    <a:pt x="23" y="258"/>
                  </a:lnTo>
                  <a:lnTo>
                    <a:pt x="23" y="255"/>
                  </a:lnTo>
                  <a:lnTo>
                    <a:pt x="22" y="255"/>
                  </a:lnTo>
                  <a:close/>
                  <a:moveTo>
                    <a:pt x="19" y="241"/>
                  </a:moveTo>
                  <a:lnTo>
                    <a:pt x="19" y="241"/>
                  </a:lnTo>
                  <a:lnTo>
                    <a:pt x="21" y="243"/>
                  </a:lnTo>
                  <a:lnTo>
                    <a:pt x="21" y="243"/>
                  </a:lnTo>
                  <a:lnTo>
                    <a:pt x="22" y="249"/>
                  </a:lnTo>
                  <a:lnTo>
                    <a:pt x="23" y="249"/>
                  </a:lnTo>
                  <a:lnTo>
                    <a:pt x="23" y="249"/>
                  </a:lnTo>
                  <a:lnTo>
                    <a:pt x="22" y="242"/>
                  </a:lnTo>
                  <a:lnTo>
                    <a:pt x="22" y="242"/>
                  </a:lnTo>
                  <a:lnTo>
                    <a:pt x="21" y="239"/>
                  </a:lnTo>
                  <a:lnTo>
                    <a:pt x="19" y="241"/>
                  </a:lnTo>
                  <a:close/>
                  <a:moveTo>
                    <a:pt x="7" y="230"/>
                  </a:moveTo>
                  <a:lnTo>
                    <a:pt x="7" y="230"/>
                  </a:lnTo>
                  <a:lnTo>
                    <a:pt x="12" y="233"/>
                  </a:lnTo>
                  <a:lnTo>
                    <a:pt x="16" y="236"/>
                  </a:lnTo>
                  <a:lnTo>
                    <a:pt x="18" y="235"/>
                  </a:lnTo>
                  <a:lnTo>
                    <a:pt x="18" y="235"/>
                  </a:lnTo>
                  <a:lnTo>
                    <a:pt x="13" y="232"/>
                  </a:lnTo>
                  <a:lnTo>
                    <a:pt x="9" y="229"/>
                  </a:lnTo>
                  <a:lnTo>
                    <a:pt x="7" y="230"/>
                  </a:lnTo>
                  <a:close/>
                  <a:moveTo>
                    <a:pt x="5" y="219"/>
                  </a:moveTo>
                  <a:lnTo>
                    <a:pt x="5" y="219"/>
                  </a:lnTo>
                  <a:lnTo>
                    <a:pt x="5" y="219"/>
                  </a:lnTo>
                  <a:lnTo>
                    <a:pt x="2" y="220"/>
                  </a:lnTo>
                  <a:lnTo>
                    <a:pt x="0" y="223"/>
                  </a:lnTo>
                  <a:lnTo>
                    <a:pt x="0" y="223"/>
                  </a:lnTo>
                  <a:lnTo>
                    <a:pt x="2" y="226"/>
                  </a:lnTo>
                  <a:lnTo>
                    <a:pt x="3" y="229"/>
                  </a:lnTo>
                  <a:lnTo>
                    <a:pt x="5" y="226"/>
                  </a:lnTo>
                  <a:lnTo>
                    <a:pt x="5" y="226"/>
                  </a:lnTo>
                  <a:lnTo>
                    <a:pt x="3" y="225"/>
                  </a:lnTo>
                  <a:lnTo>
                    <a:pt x="3" y="223"/>
                  </a:lnTo>
                  <a:lnTo>
                    <a:pt x="3" y="223"/>
                  </a:lnTo>
                  <a:lnTo>
                    <a:pt x="3" y="222"/>
                  </a:lnTo>
                  <a:lnTo>
                    <a:pt x="5" y="222"/>
                  </a:lnTo>
                  <a:lnTo>
                    <a:pt x="6" y="220"/>
                  </a:lnTo>
                  <a:lnTo>
                    <a:pt x="5" y="219"/>
                  </a:lnTo>
                  <a:close/>
                  <a:moveTo>
                    <a:pt x="15" y="209"/>
                  </a:moveTo>
                  <a:lnTo>
                    <a:pt x="15" y="209"/>
                  </a:lnTo>
                  <a:lnTo>
                    <a:pt x="15" y="209"/>
                  </a:lnTo>
                  <a:lnTo>
                    <a:pt x="12" y="209"/>
                  </a:lnTo>
                  <a:lnTo>
                    <a:pt x="10" y="210"/>
                  </a:lnTo>
                  <a:lnTo>
                    <a:pt x="10" y="210"/>
                  </a:lnTo>
                  <a:lnTo>
                    <a:pt x="7" y="214"/>
                  </a:lnTo>
                  <a:lnTo>
                    <a:pt x="9" y="216"/>
                  </a:lnTo>
                  <a:lnTo>
                    <a:pt x="9" y="216"/>
                  </a:lnTo>
                  <a:lnTo>
                    <a:pt x="12" y="213"/>
                  </a:lnTo>
                  <a:lnTo>
                    <a:pt x="12" y="213"/>
                  </a:lnTo>
                  <a:lnTo>
                    <a:pt x="15" y="212"/>
                  </a:lnTo>
                  <a:lnTo>
                    <a:pt x="16" y="210"/>
                  </a:lnTo>
                  <a:lnTo>
                    <a:pt x="15" y="209"/>
                  </a:lnTo>
                  <a:close/>
                  <a:moveTo>
                    <a:pt x="26" y="200"/>
                  </a:moveTo>
                  <a:lnTo>
                    <a:pt x="26" y="200"/>
                  </a:lnTo>
                  <a:lnTo>
                    <a:pt x="23" y="204"/>
                  </a:lnTo>
                  <a:lnTo>
                    <a:pt x="23" y="204"/>
                  </a:lnTo>
                  <a:lnTo>
                    <a:pt x="21" y="207"/>
                  </a:lnTo>
                  <a:lnTo>
                    <a:pt x="21" y="210"/>
                  </a:lnTo>
                  <a:lnTo>
                    <a:pt x="21" y="210"/>
                  </a:lnTo>
                  <a:lnTo>
                    <a:pt x="25" y="206"/>
                  </a:lnTo>
                  <a:lnTo>
                    <a:pt x="25" y="206"/>
                  </a:lnTo>
                  <a:lnTo>
                    <a:pt x="28" y="203"/>
                  </a:lnTo>
                  <a:lnTo>
                    <a:pt x="26" y="200"/>
                  </a:lnTo>
                  <a:close/>
                  <a:moveTo>
                    <a:pt x="42" y="206"/>
                  </a:moveTo>
                  <a:lnTo>
                    <a:pt x="42" y="206"/>
                  </a:lnTo>
                  <a:lnTo>
                    <a:pt x="36" y="204"/>
                  </a:lnTo>
                  <a:lnTo>
                    <a:pt x="34" y="201"/>
                  </a:lnTo>
                  <a:lnTo>
                    <a:pt x="31" y="204"/>
                  </a:lnTo>
                  <a:lnTo>
                    <a:pt x="31" y="204"/>
                  </a:lnTo>
                  <a:lnTo>
                    <a:pt x="35" y="206"/>
                  </a:lnTo>
                  <a:lnTo>
                    <a:pt x="41" y="207"/>
                  </a:lnTo>
                  <a:lnTo>
                    <a:pt x="42" y="206"/>
                  </a:lnTo>
                  <a:close/>
                  <a:moveTo>
                    <a:pt x="51" y="199"/>
                  </a:moveTo>
                  <a:lnTo>
                    <a:pt x="51" y="199"/>
                  </a:lnTo>
                  <a:lnTo>
                    <a:pt x="49" y="203"/>
                  </a:lnTo>
                  <a:lnTo>
                    <a:pt x="49" y="203"/>
                  </a:lnTo>
                  <a:lnTo>
                    <a:pt x="47" y="206"/>
                  </a:lnTo>
                  <a:lnTo>
                    <a:pt x="47" y="207"/>
                  </a:lnTo>
                  <a:lnTo>
                    <a:pt x="47" y="207"/>
                  </a:lnTo>
                  <a:lnTo>
                    <a:pt x="49" y="206"/>
                  </a:lnTo>
                  <a:lnTo>
                    <a:pt x="51" y="204"/>
                  </a:lnTo>
                  <a:lnTo>
                    <a:pt x="51" y="204"/>
                  </a:lnTo>
                  <a:lnTo>
                    <a:pt x="54" y="199"/>
                  </a:lnTo>
                  <a:lnTo>
                    <a:pt x="51" y="199"/>
                  </a:lnTo>
                  <a:close/>
                  <a:moveTo>
                    <a:pt x="64" y="188"/>
                  </a:moveTo>
                  <a:lnTo>
                    <a:pt x="64" y="188"/>
                  </a:lnTo>
                  <a:lnTo>
                    <a:pt x="58" y="190"/>
                  </a:lnTo>
                  <a:lnTo>
                    <a:pt x="55" y="193"/>
                  </a:lnTo>
                  <a:lnTo>
                    <a:pt x="55" y="194"/>
                  </a:lnTo>
                  <a:lnTo>
                    <a:pt x="57" y="196"/>
                  </a:lnTo>
                  <a:lnTo>
                    <a:pt x="57" y="196"/>
                  </a:lnTo>
                  <a:lnTo>
                    <a:pt x="57" y="196"/>
                  </a:lnTo>
                  <a:lnTo>
                    <a:pt x="60" y="193"/>
                  </a:lnTo>
                  <a:lnTo>
                    <a:pt x="65" y="191"/>
                  </a:lnTo>
                  <a:lnTo>
                    <a:pt x="64" y="188"/>
                  </a:lnTo>
                  <a:close/>
                  <a:moveTo>
                    <a:pt x="78" y="183"/>
                  </a:moveTo>
                  <a:lnTo>
                    <a:pt x="78" y="183"/>
                  </a:lnTo>
                  <a:lnTo>
                    <a:pt x="74" y="185"/>
                  </a:lnTo>
                  <a:lnTo>
                    <a:pt x="74" y="185"/>
                  </a:lnTo>
                  <a:lnTo>
                    <a:pt x="68" y="187"/>
                  </a:lnTo>
                  <a:lnTo>
                    <a:pt x="70" y="188"/>
                  </a:lnTo>
                  <a:lnTo>
                    <a:pt x="70" y="188"/>
                  </a:lnTo>
                  <a:lnTo>
                    <a:pt x="76" y="187"/>
                  </a:lnTo>
                  <a:lnTo>
                    <a:pt x="76" y="187"/>
                  </a:lnTo>
                  <a:lnTo>
                    <a:pt x="80" y="185"/>
                  </a:lnTo>
                  <a:lnTo>
                    <a:pt x="78" y="183"/>
                  </a:lnTo>
                  <a:close/>
                  <a:moveTo>
                    <a:pt x="90" y="174"/>
                  </a:moveTo>
                  <a:lnTo>
                    <a:pt x="90" y="174"/>
                  </a:lnTo>
                  <a:lnTo>
                    <a:pt x="81" y="180"/>
                  </a:lnTo>
                  <a:lnTo>
                    <a:pt x="83" y="181"/>
                  </a:lnTo>
                  <a:lnTo>
                    <a:pt x="83" y="181"/>
                  </a:lnTo>
                  <a:lnTo>
                    <a:pt x="91" y="175"/>
                  </a:lnTo>
                  <a:lnTo>
                    <a:pt x="90" y="174"/>
                  </a:lnTo>
                  <a:close/>
                  <a:moveTo>
                    <a:pt x="103" y="168"/>
                  </a:moveTo>
                  <a:lnTo>
                    <a:pt x="103" y="168"/>
                  </a:lnTo>
                  <a:lnTo>
                    <a:pt x="100" y="170"/>
                  </a:lnTo>
                  <a:lnTo>
                    <a:pt x="100" y="170"/>
                  </a:lnTo>
                  <a:lnTo>
                    <a:pt x="94" y="171"/>
                  </a:lnTo>
                  <a:lnTo>
                    <a:pt x="96" y="174"/>
                  </a:lnTo>
                  <a:lnTo>
                    <a:pt x="96" y="174"/>
                  </a:lnTo>
                  <a:lnTo>
                    <a:pt x="102" y="171"/>
                  </a:lnTo>
                  <a:lnTo>
                    <a:pt x="102" y="171"/>
                  </a:lnTo>
                  <a:lnTo>
                    <a:pt x="105" y="170"/>
                  </a:lnTo>
                  <a:lnTo>
                    <a:pt x="103" y="168"/>
                  </a:lnTo>
                  <a:close/>
                  <a:moveTo>
                    <a:pt x="105" y="154"/>
                  </a:moveTo>
                  <a:lnTo>
                    <a:pt x="105" y="154"/>
                  </a:lnTo>
                  <a:lnTo>
                    <a:pt x="105" y="164"/>
                  </a:lnTo>
                  <a:lnTo>
                    <a:pt x="106" y="164"/>
                  </a:lnTo>
                  <a:lnTo>
                    <a:pt x="106" y="164"/>
                  </a:lnTo>
                  <a:lnTo>
                    <a:pt x="107" y="154"/>
                  </a:lnTo>
                  <a:lnTo>
                    <a:pt x="105" y="154"/>
                  </a:lnTo>
                  <a:close/>
                  <a:moveTo>
                    <a:pt x="110" y="139"/>
                  </a:moveTo>
                  <a:lnTo>
                    <a:pt x="110" y="139"/>
                  </a:lnTo>
                  <a:lnTo>
                    <a:pt x="110" y="145"/>
                  </a:lnTo>
                  <a:lnTo>
                    <a:pt x="110" y="145"/>
                  </a:lnTo>
                  <a:lnTo>
                    <a:pt x="109" y="146"/>
                  </a:lnTo>
                  <a:lnTo>
                    <a:pt x="109" y="146"/>
                  </a:lnTo>
                  <a:lnTo>
                    <a:pt x="109" y="146"/>
                  </a:lnTo>
                  <a:lnTo>
                    <a:pt x="109" y="146"/>
                  </a:lnTo>
                  <a:lnTo>
                    <a:pt x="109" y="146"/>
                  </a:lnTo>
                  <a:lnTo>
                    <a:pt x="109" y="146"/>
                  </a:lnTo>
                  <a:lnTo>
                    <a:pt x="109" y="146"/>
                  </a:lnTo>
                  <a:lnTo>
                    <a:pt x="109" y="146"/>
                  </a:lnTo>
                  <a:lnTo>
                    <a:pt x="109" y="146"/>
                  </a:lnTo>
                  <a:lnTo>
                    <a:pt x="109" y="146"/>
                  </a:lnTo>
                  <a:lnTo>
                    <a:pt x="109" y="146"/>
                  </a:lnTo>
                  <a:lnTo>
                    <a:pt x="109" y="146"/>
                  </a:lnTo>
                  <a:lnTo>
                    <a:pt x="109" y="146"/>
                  </a:lnTo>
                  <a:lnTo>
                    <a:pt x="107" y="148"/>
                  </a:lnTo>
                  <a:lnTo>
                    <a:pt x="109" y="149"/>
                  </a:lnTo>
                  <a:lnTo>
                    <a:pt x="109" y="149"/>
                  </a:lnTo>
                  <a:lnTo>
                    <a:pt x="110" y="148"/>
                  </a:lnTo>
                  <a:lnTo>
                    <a:pt x="110" y="148"/>
                  </a:lnTo>
                  <a:lnTo>
                    <a:pt x="112" y="146"/>
                  </a:lnTo>
                  <a:lnTo>
                    <a:pt x="112" y="146"/>
                  </a:lnTo>
                  <a:lnTo>
                    <a:pt x="113" y="143"/>
                  </a:lnTo>
                  <a:lnTo>
                    <a:pt x="113" y="139"/>
                  </a:lnTo>
                  <a:lnTo>
                    <a:pt x="110" y="139"/>
                  </a:lnTo>
                  <a:close/>
                  <a:moveTo>
                    <a:pt x="109" y="125"/>
                  </a:moveTo>
                  <a:lnTo>
                    <a:pt x="109" y="125"/>
                  </a:lnTo>
                  <a:lnTo>
                    <a:pt x="110" y="135"/>
                  </a:lnTo>
                  <a:lnTo>
                    <a:pt x="113" y="135"/>
                  </a:lnTo>
                  <a:lnTo>
                    <a:pt x="113" y="135"/>
                  </a:lnTo>
                  <a:lnTo>
                    <a:pt x="112" y="125"/>
                  </a:lnTo>
                  <a:lnTo>
                    <a:pt x="109" y="125"/>
                  </a:lnTo>
                  <a:close/>
                  <a:moveTo>
                    <a:pt x="107" y="110"/>
                  </a:moveTo>
                  <a:lnTo>
                    <a:pt x="107" y="110"/>
                  </a:lnTo>
                  <a:lnTo>
                    <a:pt x="109" y="115"/>
                  </a:lnTo>
                  <a:lnTo>
                    <a:pt x="109" y="115"/>
                  </a:lnTo>
                  <a:lnTo>
                    <a:pt x="109" y="119"/>
                  </a:lnTo>
                  <a:lnTo>
                    <a:pt x="109" y="119"/>
                  </a:lnTo>
                  <a:lnTo>
                    <a:pt x="112" y="119"/>
                  </a:lnTo>
                  <a:lnTo>
                    <a:pt x="112" y="119"/>
                  </a:lnTo>
                  <a:lnTo>
                    <a:pt x="112" y="119"/>
                  </a:lnTo>
                  <a:lnTo>
                    <a:pt x="110" y="115"/>
                  </a:lnTo>
                  <a:lnTo>
                    <a:pt x="110" y="115"/>
                  </a:lnTo>
                  <a:lnTo>
                    <a:pt x="110" y="109"/>
                  </a:lnTo>
                  <a:lnTo>
                    <a:pt x="107" y="110"/>
                  </a:lnTo>
                  <a:close/>
                  <a:moveTo>
                    <a:pt x="116" y="97"/>
                  </a:moveTo>
                  <a:lnTo>
                    <a:pt x="116" y="97"/>
                  </a:lnTo>
                  <a:lnTo>
                    <a:pt x="112" y="100"/>
                  </a:lnTo>
                  <a:lnTo>
                    <a:pt x="107" y="103"/>
                  </a:lnTo>
                  <a:lnTo>
                    <a:pt x="107" y="104"/>
                  </a:lnTo>
                  <a:lnTo>
                    <a:pt x="110" y="104"/>
                  </a:lnTo>
                  <a:lnTo>
                    <a:pt x="110" y="104"/>
                  </a:lnTo>
                  <a:lnTo>
                    <a:pt x="110" y="104"/>
                  </a:lnTo>
                  <a:lnTo>
                    <a:pt x="113" y="101"/>
                  </a:lnTo>
                  <a:lnTo>
                    <a:pt x="118" y="99"/>
                  </a:lnTo>
                  <a:lnTo>
                    <a:pt x="116" y="97"/>
                  </a:lnTo>
                  <a:close/>
                  <a:moveTo>
                    <a:pt x="131" y="93"/>
                  </a:moveTo>
                  <a:lnTo>
                    <a:pt x="131" y="93"/>
                  </a:lnTo>
                  <a:lnTo>
                    <a:pt x="131" y="93"/>
                  </a:lnTo>
                  <a:lnTo>
                    <a:pt x="125" y="93"/>
                  </a:lnTo>
                  <a:lnTo>
                    <a:pt x="125" y="93"/>
                  </a:lnTo>
                  <a:lnTo>
                    <a:pt x="120" y="94"/>
                  </a:lnTo>
                  <a:lnTo>
                    <a:pt x="122" y="96"/>
                  </a:lnTo>
                  <a:lnTo>
                    <a:pt x="122" y="96"/>
                  </a:lnTo>
                  <a:lnTo>
                    <a:pt x="125" y="94"/>
                  </a:lnTo>
                  <a:lnTo>
                    <a:pt x="125" y="94"/>
                  </a:lnTo>
                  <a:lnTo>
                    <a:pt x="131" y="94"/>
                  </a:lnTo>
                  <a:lnTo>
                    <a:pt x="131" y="94"/>
                  </a:lnTo>
                  <a:lnTo>
                    <a:pt x="131" y="93"/>
                  </a:lnTo>
                  <a:close/>
                  <a:moveTo>
                    <a:pt x="144" y="90"/>
                  </a:moveTo>
                  <a:lnTo>
                    <a:pt x="144" y="90"/>
                  </a:lnTo>
                  <a:lnTo>
                    <a:pt x="142" y="91"/>
                  </a:lnTo>
                  <a:lnTo>
                    <a:pt x="142" y="91"/>
                  </a:lnTo>
                  <a:lnTo>
                    <a:pt x="135" y="93"/>
                  </a:lnTo>
                  <a:lnTo>
                    <a:pt x="136" y="94"/>
                  </a:lnTo>
                  <a:lnTo>
                    <a:pt x="136" y="94"/>
                  </a:lnTo>
                  <a:lnTo>
                    <a:pt x="142" y="94"/>
                  </a:lnTo>
                  <a:lnTo>
                    <a:pt x="142" y="94"/>
                  </a:lnTo>
                  <a:lnTo>
                    <a:pt x="147" y="91"/>
                  </a:lnTo>
                  <a:lnTo>
                    <a:pt x="144" y="90"/>
                  </a:lnTo>
                  <a:close/>
                  <a:moveTo>
                    <a:pt x="141" y="75"/>
                  </a:moveTo>
                  <a:lnTo>
                    <a:pt x="141" y="75"/>
                  </a:lnTo>
                  <a:lnTo>
                    <a:pt x="139" y="80"/>
                  </a:lnTo>
                  <a:lnTo>
                    <a:pt x="139" y="80"/>
                  </a:lnTo>
                  <a:lnTo>
                    <a:pt x="141" y="83"/>
                  </a:lnTo>
                  <a:lnTo>
                    <a:pt x="141" y="83"/>
                  </a:lnTo>
                  <a:lnTo>
                    <a:pt x="144" y="87"/>
                  </a:lnTo>
                  <a:lnTo>
                    <a:pt x="145" y="86"/>
                  </a:lnTo>
                  <a:lnTo>
                    <a:pt x="145" y="86"/>
                  </a:lnTo>
                  <a:lnTo>
                    <a:pt x="144" y="81"/>
                  </a:lnTo>
                  <a:lnTo>
                    <a:pt x="144" y="81"/>
                  </a:lnTo>
                  <a:lnTo>
                    <a:pt x="142" y="80"/>
                  </a:lnTo>
                  <a:lnTo>
                    <a:pt x="142" y="80"/>
                  </a:lnTo>
                  <a:lnTo>
                    <a:pt x="144" y="77"/>
                  </a:lnTo>
                  <a:lnTo>
                    <a:pt x="141" y="75"/>
                  </a:lnTo>
                  <a:close/>
                  <a:moveTo>
                    <a:pt x="147" y="62"/>
                  </a:moveTo>
                  <a:lnTo>
                    <a:pt x="147" y="62"/>
                  </a:lnTo>
                  <a:lnTo>
                    <a:pt x="145" y="68"/>
                  </a:lnTo>
                  <a:lnTo>
                    <a:pt x="144" y="73"/>
                  </a:lnTo>
                  <a:lnTo>
                    <a:pt x="147" y="74"/>
                  </a:lnTo>
                  <a:lnTo>
                    <a:pt x="147" y="74"/>
                  </a:lnTo>
                  <a:lnTo>
                    <a:pt x="148" y="68"/>
                  </a:lnTo>
                  <a:lnTo>
                    <a:pt x="148" y="62"/>
                  </a:lnTo>
                  <a:lnTo>
                    <a:pt x="147" y="62"/>
                  </a:lnTo>
                  <a:close/>
                  <a:moveTo>
                    <a:pt x="157" y="54"/>
                  </a:moveTo>
                  <a:lnTo>
                    <a:pt x="157" y="54"/>
                  </a:lnTo>
                  <a:lnTo>
                    <a:pt x="155" y="52"/>
                  </a:lnTo>
                  <a:lnTo>
                    <a:pt x="154" y="52"/>
                  </a:lnTo>
                  <a:lnTo>
                    <a:pt x="154" y="52"/>
                  </a:lnTo>
                  <a:lnTo>
                    <a:pt x="151" y="54"/>
                  </a:lnTo>
                  <a:lnTo>
                    <a:pt x="151" y="54"/>
                  </a:lnTo>
                  <a:lnTo>
                    <a:pt x="148" y="57"/>
                  </a:lnTo>
                  <a:lnTo>
                    <a:pt x="148" y="58"/>
                  </a:lnTo>
                  <a:lnTo>
                    <a:pt x="149" y="58"/>
                  </a:lnTo>
                  <a:lnTo>
                    <a:pt x="151" y="58"/>
                  </a:lnTo>
                  <a:lnTo>
                    <a:pt x="151" y="58"/>
                  </a:lnTo>
                  <a:lnTo>
                    <a:pt x="152" y="55"/>
                  </a:lnTo>
                  <a:lnTo>
                    <a:pt x="152" y="55"/>
                  </a:lnTo>
                  <a:lnTo>
                    <a:pt x="154" y="55"/>
                  </a:lnTo>
                  <a:lnTo>
                    <a:pt x="154" y="55"/>
                  </a:lnTo>
                  <a:lnTo>
                    <a:pt x="155" y="55"/>
                  </a:lnTo>
                  <a:lnTo>
                    <a:pt x="157" y="54"/>
                  </a:lnTo>
                  <a:close/>
                  <a:moveTo>
                    <a:pt x="170" y="55"/>
                  </a:moveTo>
                  <a:lnTo>
                    <a:pt x="170" y="55"/>
                  </a:lnTo>
                  <a:lnTo>
                    <a:pt x="162" y="57"/>
                  </a:lnTo>
                  <a:lnTo>
                    <a:pt x="162" y="57"/>
                  </a:lnTo>
                  <a:lnTo>
                    <a:pt x="161" y="57"/>
                  </a:lnTo>
                  <a:lnTo>
                    <a:pt x="160" y="58"/>
                  </a:lnTo>
                  <a:lnTo>
                    <a:pt x="160" y="58"/>
                  </a:lnTo>
                  <a:lnTo>
                    <a:pt x="162" y="59"/>
                  </a:lnTo>
                  <a:lnTo>
                    <a:pt x="162" y="59"/>
                  </a:lnTo>
                  <a:lnTo>
                    <a:pt x="171" y="58"/>
                  </a:lnTo>
                  <a:lnTo>
                    <a:pt x="170" y="55"/>
                  </a:lnTo>
                  <a:close/>
                  <a:moveTo>
                    <a:pt x="186" y="54"/>
                  </a:moveTo>
                  <a:lnTo>
                    <a:pt x="186" y="54"/>
                  </a:lnTo>
                  <a:lnTo>
                    <a:pt x="181" y="54"/>
                  </a:lnTo>
                  <a:lnTo>
                    <a:pt x="181" y="54"/>
                  </a:lnTo>
                  <a:lnTo>
                    <a:pt x="175" y="55"/>
                  </a:lnTo>
                  <a:lnTo>
                    <a:pt x="175" y="57"/>
                  </a:lnTo>
                  <a:lnTo>
                    <a:pt x="175" y="57"/>
                  </a:lnTo>
                  <a:lnTo>
                    <a:pt x="181" y="57"/>
                  </a:lnTo>
                  <a:lnTo>
                    <a:pt x="181" y="57"/>
                  </a:lnTo>
                  <a:lnTo>
                    <a:pt x="186" y="57"/>
                  </a:lnTo>
                  <a:lnTo>
                    <a:pt x="186" y="54"/>
                  </a:lnTo>
                  <a:close/>
                  <a:moveTo>
                    <a:pt x="193" y="45"/>
                  </a:moveTo>
                  <a:lnTo>
                    <a:pt x="193" y="45"/>
                  </a:lnTo>
                  <a:lnTo>
                    <a:pt x="193" y="48"/>
                  </a:lnTo>
                  <a:lnTo>
                    <a:pt x="193" y="48"/>
                  </a:lnTo>
                  <a:lnTo>
                    <a:pt x="193" y="51"/>
                  </a:lnTo>
                  <a:lnTo>
                    <a:pt x="193" y="51"/>
                  </a:lnTo>
                  <a:lnTo>
                    <a:pt x="190" y="52"/>
                  </a:lnTo>
                  <a:lnTo>
                    <a:pt x="191" y="55"/>
                  </a:lnTo>
                  <a:lnTo>
                    <a:pt x="191" y="55"/>
                  </a:lnTo>
                  <a:lnTo>
                    <a:pt x="193" y="54"/>
                  </a:lnTo>
                  <a:lnTo>
                    <a:pt x="194" y="52"/>
                  </a:lnTo>
                  <a:lnTo>
                    <a:pt x="194" y="52"/>
                  </a:lnTo>
                  <a:lnTo>
                    <a:pt x="194" y="48"/>
                  </a:lnTo>
                  <a:lnTo>
                    <a:pt x="194" y="48"/>
                  </a:lnTo>
                  <a:lnTo>
                    <a:pt x="194" y="45"/>
                  </a:lnTo>
                  <a:lnTo>
                    <a:pt x="193" y="45"/>
                  </a:lnTo>
                  <a:close/>
                  <a:moveTo>
                    <a:pt x="191" y="29"/>
                  </a:moveTo>
                  <a:lnTo>
                    <a:pt x="191" y="29"/>
                  </a:lnTo>
                  <a:lnTo>
                    <a:pt x="191" y="29"/>
                  </a:lnTo>
                  <a:lnTo>
                    <a:pt x="191" y="32"/>
                  </a:lnTo>
                  <a:lnTo>
                    <a:pt x="191" y="32"/>
                  </a:lnTo>
                  <a:lnTo>
                    <a:pt x="191" y="41"/>
                  </a:lnTo>
                  <a:lnTo>
                    <a:pt x="194" y="39"/>
                  </a:lnTo>
                  <a:lnTo>
                    <a:pt x="194" y="39"/>
                  </a:lnTo>
                  <a:lnTo>
                    <a:pt x="194" y="32"/>
                  </a:lnTo>
                  <a:lnTo>
                    <a:pt x="194" y="32"/>
                  </a:lnTo>
                  <a:lnTo>
                    <a:pt x="194" y="31"/>
                  </a:lnTo>
                  <a:lnTo>
                    <a:pt x="194" y="31"/>
                  </a:lnTo>
                  <a:lnTo>
                    <a:pt x="194" y="31"/>
                  </a:lnTo>
                  <a:lnTo>
                    <a:pt x="191" y="29"/>
                  </a:lnTo>
                  <a:close/>
                  <a:moveTo>
                    <a:pt x="203" y="17"/>
                  </a:moveTo>
                  <a:lnTo>
                    <a:pt x="203" y="17"/>
                  </a:lnTo>
                  <a:lnTo>
                    <a:pt x="194" y="25"/>
                  </a:lnTo>
                  <a:lnTo>
                    <a:pt x="197" y="26"/>
                  </a:lnTo>
                  <a:lnTo>
                    <a:pt x="197" y="26"/>
                  </a:lnTo>
                  <a:lnTo>
                    <a:pt x="204" y="20"/>
                  </a:lnTo>
                  <a:lnTo>
                    <a:pt x="203" y="17"/>
                  </a:lnTo>
                  <a:close/>
                  <a:moveTo>
                    <a:pt x="215" y="9"/>
                  </a:moveTo>
                  <a:lnTo>
                    <a:pt x="215" y="9"/>
                  </a:lnTo>
                  <a:lnTo>
                    <a:pt x="210" y="12"/>
                  </a:lnTo>
                  <a:lnTo>
                    <a:pt x="206" y="15"/>
                  </a:lnTo>
                  <a:lnTo>
                    <a:pt x="207" y="16"/>
                  </a:lnTo>
                  <a:lnTo>
                    <a:pt x="207" y="16"/>
                  </a:lnTo>
                  <a:lnTo>
                    <a:pt x="212" y="13"/>
                  </a:lnTo>
                  <a:lnTo>
                    <a:pt x="216" y="10"/>
                  </a:lnTo>
                  <a:lnTo>
                    <a:pt x="215" y="9"/>
                  </a:lnTo>
                  <a:close/>
                  <a:moveTo>
                    <a:pt x="225" y="0"/>
                  </a:moveTo>
                  <a:lnTo>
                    <a:pt x="225" y="0"/>
                  </a:lnTo>
                  <a:lnTo>
                    <a:pt x="223" y="4"/>
                  </a:lnTo>
                  <a:lnTo>
                    <a:pt x="223" y="4"/>
                  </a:lnTo>
                  <a:lnTo>
                    <a:pt x="222" y="6"/>
                  </a:lnTo>
                  <a:lnTo>
                    <a:pt x="222" y="6"/>
                  </a:lnTo>
                  <a:lnTo>
                    <a:pt x="222" y="6"/>
                  </a:lnTo>
                  <a:lnTo>
                    <a:pt x="219" y="7"/>
                  </a:lnTo>
                  <a:lnTo>
                    <a:pt x="220" y="9"/>
                  </a:lnTo>
                  <a:lnTo>
                    <a:pt x="220" y="9"/>
                  </a:lnTo>
                  <a:lnTo>
                    <a:pt x="222" y="9"/>
                  </a:lnTo>
                  <a:lnTo>
                    <a:pt x="222" y="9"/>
                  </a:lnTo>
                  <a:lnTo>
                    <a:pt x="223" y="7"/>
                  </a:lnTo>
                  <a:lnTo>
                    <a:pt x="223" y="7"/>
                  </a:lnTo>
                  <a:lnTo>
                    <a:pt x="226" y="6"/>
                  </a:lnTo>
                  <a:lnTo>
                    <a:pt x="228" y="2"/>
                  </a:lnTo>
                  <a:lnTo>
                    <a:pt x="22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96" name="Freeform 1720"/>
            <p:cNvSpPr>
              <a:spLocks noEditPoints="1"/>
            </p:cNvSpPr>
            <p:nvPr/>
          </p:nvSpPr>
          <p:spPr bwMode="auto">
            <a:xfrm>
              <a:off x="6929438" y="4343401"/>
              <a:ext cx="138113" cy="111125"/>
            </a:xfrm>
            <a:custGeom>
              <a:avLst/>
              <a:gdLst>
                <a:gd name="T0" fmla="*/ 35 w 87"/>
                <a:gd name="T1" fmla="*/ 68 h 70"/>
                <a:gd name="T2" fmla="*/ 45 w 87"/>
                <a:gd name="T3" fmla="*/ 65 h 70"/>
                <a:gd name="T4" fmla="*/ 55 w 87"/>
                <a:gd name="T5" fmla="*/ 55 h 70"/>
                <a:gd name="T6" fmla="*/ 48 w 87"/>
                <a:gd name="T7" fmla="*/ 61 h 70"/>
                <a:gd name="T8" fmla="*/ 55 w 87"/>
                <a:gd name="T9" fmla="*/ 59 h 70"/>
                <a:gd name="T10" fmla="*/ 58 w 87"/>
                <a:gd name="T11" fmla="*/ 55 h 70"/>
                <a:gd name="T12" fmla="*/ 65 w 87"/>
                <a:gd name="T13" fmla="*/ 45 h 70"/>
                <a:gd name="T14" fmla="*/ 57 w 87"/>
                <a:gd name="T15" fmla="*/ 49 h 70"/>
                <a:gd name="T16" fmla="*/ 60 w 87"/>
                <a:gd name="T17" fmla="*/ 49 h 70"/>
                <a:gd name="T18" fmla="*/ 65 w 87"/>
                <a:gd name="T19" fmla="*/ 45 h 70"/>
                <a:gd name="T20" fmla="*/ 71 w 87"/>
                <a:gd name="T21" fmla="*/ 44 h 70"/>
                <a:gd name="T22" fmla="*/ 81 w 87"/>
                <a:gd name="T23" fmla="*/ 42 h 70"/>
                <a:gd name="T24" fmla="*/ 83 w 87"/>
                <a:gd name="T25" fmla="*/ 29 h 70"/>
                <a:gd name="T26" fmla="*/ 84 w 87"/>
                <a:gd name="T27" fmla="*/ 38 h 70"/>
                <a:gd name="T28" fmla="*/ 87 w 87"/>
                <a:gd name="T29" fmla="*/ 35 h 70"/>
                <a:gd name="T30" fmla="*/ 83 w 87"/>
                <a:gd name="T31" fmla="*/ 29 h 70"/>
                <a:gd name="T32" fmla="*/ 78 w 87"/>
                <a:gd name="T33" fmla="*/ 17 h 70"/>
                <a:gd name="T34" fmla="*/ 84 w 87"/>
                <a:gd name="T35" fmla="*/ 23 h 70"/>
                <a:gd name="T36" fmla="*/ 81 w 87"/>
                <a:gd name="T37" fmla="*/ 17 h 70"/>
                <a:gd name="T38" fmla="*/ 70 w 87"/>
                <a:gd name="T39" fmla="*/ 3 h 70"/>
                <a:gd name="T40" fmla="*/ 76 w 87"/>
                <a:gd name="T41" fmla="*/ 10 h 70"/>
                <a:gd name="T42" fmla="*/ 76 w 87"/>
                <a:gd name="T43" fmla="*/ 4 h 70"/>
                <a:gd name="T44" fmla="*/ 61 w 87"/>
                <a:gd name="T45" fmla="*/ 9 h 70"/>
                <a:gd name="T46" fmla="*/ 63 w 87"/>
                <a:gd name="T47" fmla="*/ 3 h 70"/>
                <a:gd name="T48" fmla="*/ 64 w 87"/>
                <a:gd name="T49" fmla="*/ 2 h 70"/>
                <a:gd name="T50" fmla="*/ 65 w 87"/>
                <a:gd name="T51" fmla="*/ 0 h 70"/>
                <a:gd name="T52" fmla="*/ 61 w 87"/>
                <a:gd name="T53" fmla="*/ 0 h 70"/>
                <a:gd name="T54" fmla="*/ 60 w 87"/>
                <a:gd name="T55" fmla="*/ 4 h 70"/>
                <a:gd name="T56" fmla="*/ 47 w 87"/>
                <a:gd name="T57" fmla="*/ 9 h 70"/>
                <a:gd name="T58" fmla="*/ 57 w 87"/>
                <a:gd name="T59" fmla="*/ 12 h 70"/>
                <a:gd name="T60" fmla="*/ 47 w 87"/>
                <a:gd name="T61" fmla="*/ 6 h 70"/>
                <a:gd name="T62" fmla="*/ 32 w 87"/>
                <a:gd name="T63" fmla="*/ 9 h 70"/>
                <a:gd name="T64" fmla="*/ 38 w 87"/>
                <a:gd name="T65" fmla="*/ 7 h 70"/>
                <a:gd name="T66" fmla="*/ 42 w 87"/>
                <a:gd name="T67" fmla="*/ 4 h 70"/>
                <a:gd name="T68" fmla="*/ 38 w 87"/>
                <a:gd name="T69" fmla="*/ 4 h 70"/>
                <a:gd name="T70" fmla="*/ 32 w 87"/>
                <a:gd name="T71" fmla="*/ 6 h 70"/>
                <a:gd name="T72" fmla="*/ 18 w 87"/>
                <a:gd name="T73" fmla="*/ 7 h 70"/>
                <a:gd name="T74" fmla="*/ 26 w 87"/>
                <a:gd name="T75" fmla="*/ 6 h 70"/>
                <a:gd name="T76" fmla="*/ 16 w 87"/>
                <a:gd name="T77" fmla="*/ 6 h 70"/>
                <a:gd name="T78" fmla="*/ 6 w 87"/>
                <a:gd name="T79" fmla="*/ 15 h 70"/>
                <a:gd name="T80" fmla="*/ 12 w 87"/>
                <a:gd name="T81" fmla="*/ 9 h 70"/>
                <a:gd name="T82" fmla="*/ 9 w 87"/>
                <a:gd name="T83" fmla="*/ 7 h 70"/>
                <a:gd name="T84" fmla="*/ 6 w 87"/>
                <a:gd name="T85" fmla="*/ 15 h 70"/>
                <a:gd name="T86" fmla="*/ 3 w 87"/>
                <a:gd name="T87" fmla="*/ 25 h 70"/>
                <a:gd name="T88" fmla="*/ 2 w 87"/>
                <a:gd name="T89" fmla="*/ 19 h 70"/>
                <a:gd name="T90" fmla="*/ 0 w 87"/>
                <a:gd name="T91" fmla="*/ 25 h 70"/>
                <a:gd name="T92" fmla="*/ 6 w 87"/>
                <a:gd name="T93" fmla="*/ 44 h 70"/>
                <a:gd name="T94" fmla="*/ 6 w 87"/>
                <a:gd name="T95" fmla="*/ 41 h 70"/>
                <a:gd name="T96" fmla="*/ 3 w 87"/>
                <a:gd name="T97" fmla="*/ 33 h 70"/>
                <a:gd name="T98" fmla="*/ 3 w 87"/>
                <a:gd name="T99" fmla="*/ 4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7" h="70">
                  <a:moveTo>
                    <a:pt x="44" y="62"/>
                  </a:moveTo>
                  <a:lnTo>
                    <a:pt x="44" y="62"/>
                  </a:lnTo>
                  <a:lnTo>
                    <a:pt x="35" y="68"/>
                  </a:lnTo>
                  <a:lnTo>
                    <a:pt x="36" y="70"/>
                  </a:lnTo>
                  <a:lnTo>
                    <a:pt x="36" y="70"/>
                  </a:lnTo>
                  <a:lnTo>
                    <a:pt x="45" y="65"/>
                  </a:lnTo>
                  <a:lnTo>
                    <a:pt x="44" y="62"/>
                  </a:lnTo>
                  <a:close/>
                  <a:moveTo>
                    <a:pt x="55" y="55"/>
                  </a:moveTo>
                  <a:lnTo>
                    <a:pt x="55" y="55"/>
                  </a:lnTo>
                  <a:lnTo>
                    <a:pt x="54" y="57"/>
                  </a:lnTo>
                  <a:lnTo>
                    <a:pt x="54" y="57"/>
                  </a:lnTo>
                  <a:lnTo>
                    <a:pt x="48" y="61"/>
                  </a:lnTo>
                  <a:lnTo>
                    <a:pt x="50" y="62"/>
                  </a:lnTo>
                  <a:lnTo>
                    <a:pt x="50" y="62"/>
                  </a:lnTo>
                  <a:lnTo>
                    <a:pt x="55" y="59"/>
                  </a:lnTo>
                  <a:lnTo>
                    <a:pt x="55" y="59"/>
                  </a:lnTo>
                  <a:lnTo>
                    <a:pt x="57" y="58"/>
                  </a:lnTo>
                  <a:lnTo>
                    <a:pt x="58" y="55"/>
                  </a:lnTo>
                  <a:lnTo>
                    <a:pt x="55" y="55"/>
                  </a:lnTo>
                  <a:close/>
                  <a:moveTo>
                    <a:pt x="65" y="45"/>
                  </a:moveTo>
                  <a:lnTo>
                    <a:pt x="65" y="45"/>
                  </a:lnTo>
                  <a:lnTo>
                    <a:pt x="58" y="46"/>
                  </a:lnTo>
                  <a:lnTo>
                    <a:pt x="58" y="46"/>
                  </a:lnTo>
                  <a:lnTo>
                    <a:pt x="57" y="49"/>
                  </a:lnTo>
                  <a:lnTo>
                    <a:pt x="58" y="51"/>
                  </a:lnTo>
                  <a:lnTo>
                    <a:pt x="58" y="51"/>
                  </a:lnTo>
                  <a:lnTo>
                    <a:pt x="60" y="49"/>
                  </a:lnTo>
                  <a:lnTo>
                    <a:pt x="60" y="49"/>
                  </a:lnTo>
                  <a:lnTo>
                    <a:pt x="67" y="46"/>
                  </a:lnTo>
                  <a:lnTo>
                    <a:pt x="65" y="45"/>
                  </a:lnTo>
                  <a:close/>
                  <a:moveTo>
                    <a:pt x="80" y="41"/>
                  </a:moveTo>
                  <a:lnTo>
                    <a:pt x="80" y="41"/>
                  </a:lnTo>
                  <a:lnTo>
                    <a:pt x="71" y="44"/>
                  </a:lnTo>
                  <a:lnTo>
                    <a:pt x="71" y="45"/>
                  </a:lnTo>
                  <a:lnTo>
                    <a:pt x="71" y="45"/>
                  </a:lnTo>
                  <a:lnTo>
                    <a:pt x="81" y="42"/>
                  </a:lnTo>
                  <a:lnTo>
                    <a:pt x="80" y="41"/>
                  </a:lnTo>
                  <a:close/>
                  <a:moveTo>
                    <a:pt x="83" y="29"/>
                  </a:moveTo>
                  <a:lnTo>
                    <a:pt x="83" y="29"/>
                  </a:lnTo>
                  <a:lnTo>
                    <a:pt x="84" y="35"/>
                  </a:lnTo>
                  <a:lnTo>
                    <a:pt x="84" y="35"/>
                  </a:lnTo>
                  <a:lnTo>
                    <a:pt x="84" y="38"/>
                  </a:lnTo>
                  <a:lnTo>
                    <a:pt x="86" y="39"/>
                  </a:lnTo>
                  <a:lnTo>
                    <a:pt x="86" y="39"/>
                  </a:lnTo>
                  <a:lnTo>
                    <a:pt x="87" y="35"/>
                  </a:lnTo>
                  <a:lnTo>
                    <a:pt x="87" y="35"/>
                  </a:lnTo>
                  <a:lnTo>
                    <a:pt x="86" y="28"/>
                  </a:lnTo>
                  <a:lnTo>
                    <a:pt x="83" y="29"/>
                  </a:lnTo>
                  <a:close/>
                  <a:moveTo>
                    <a:pt x="77" y="15"/>
                  </a:moveTo>
                  <a:lnTo>
                    <a:pt x="77" y="15"/>
                  </a:lnTo>
                  <a:lnTo>
                    <a:pt x="78" y="17"/>
                  </a:lnTo>
                  <a:lnTo>
                    <a:pt x="78" y="17"/>
                  </a:lnTo>
                  <a:lnTo>
                    <a:pt x="81" y="25"/>
                  </a:lnTo>
                  <a:lnTo>
                    <a:pt x="84" y="23"/>
                  </a:lnTo>
                  <a:lnTo>
                    <a:pt x="84" y="23"/>
                  </a:lnTo>
                  <a:lnTo>
                    <a:pt x="81" y="17"/>
                  </a:lnTo>
                  <a:lnTo>
                    <a:pt x="81" y="17"/>
                  </a:lnTo>
                  <a:lnTo>
                    <a:pt x="80" y="15"/>
                  </a:lnTo>
                  <a:lnTo>
                    <a:pt x="77" y="15"/>
                  </a:lnTo>
                  <a:close/>
                  <a:moveTo>
                    <a:pt x="70" y="3"/>
                  </a:moveTo>
                  <a:lnTo>
                    <a:pt x="70" y="3"/>
                  </a:lnTo>
                  <a:lnTo>
                    <a:pt x="73" y="6"/>
                  </a:lnTo>
                  <a:lnTo>
                    <a:pt x="76" y="10"/>
                  </a:lnTo>
                  <a:lnTo>
                    <a:pt x="78" y="9"/>
                  </a:lnTo>
                  <a:lnTo>
                    <a:pt x="78" y="9"/>
                  </a:lnTo>
                  <a:lnTo>
                    <a:pt x="76" y="4"/>
                  </a:lnTo>
                  <a:lnTo>
                    <a:pt x="71" y="2"/>
                  </a:lnTo>
                  <a:lnTo>
                    <a:pt x="70" y="3"/>
                  </a:lnTo>
                  <a:close/>
                  <a:moveTo>
                    <a:pt x="61" y="9"/>
                  </a:moveTo>
                  <a:lnTo>
                    <a:pt x="61" y="9"/>
                  </a:lnTo>
                  <a:lnTo>
                    <a:pt x="63" y="3"/>
                  </a:lnTo>
                  <a:lnTo>
                    <a:pt x="63" y="3"/>
                  </a:lnTo>
                  <a:lnTo>
                    <a:pt x="63" y="3"/>
                  </a:lnTo>
                  <a:lnTo>
                    <a:pt x="63" y="3"/>
                  </a:lnTo>
                  <a:lnTo>
                    <a:pt x="64" y="2"/>
                  </a:lnTo>
                  <a:lnTo>
                    <a:pt x="65" y="2"/>
                  </a:lnTo>
                  <a:lnTo>
                    <a:pt x="65" y="0"/>
                  </a:lnTo>
                  <a:lnTo>
                    <a:pt x="65" y="0"/>
                  </a:lnTo>
                  <a:lnTo>
                    <a:pt x="64" y="0"/>
                  </a:lnTo>
                  <a:lnTo>
                    <a:pt x="64" y="0"/>
                  </a:lnTo>
                  <a:lnTo>
                    <a:pt x="61" y="0"/>
                  </a:lnTo>
                  <a:lnTo>
                    <a:pt x="61" y="0"/>
                  </a:lnTo>
                  <a:lnTo>
                    <a:pt x="60" y="4"/>
                  </a:lnTo>
                  <a:lnTo>
                    <a:pt x="60" y="4"/>
                  </a:lnTo>
                  <a:lnTo>
                    <a:pt x="60" y="7"/>
                  </a:lnTo>
                  <a:lnTo>
                    <a:pt x="61" y="9"/>
                  </a:lnTo>
                  <a:close/>
                  <a:moveTo>
                    <a:pt x="47" y="9"/>
                  </a:moveTo>
                  <a:lnTo>
                    <a:pt x="47" y="9"/>
                  </a:lnTo>
                  <a:lnTo>
                    <a:pt x="51" y="10"/>
                  </a:lnTo>
                  <a:lnTo>
                    <a:pt x="57" y="12"/>
                  </a:lnTo>
                  <a:lnTo>
                    <a:pt x="57" y="9"/>
                  </a:lnTo>
                  <a:lnTo>
                    <a:pt x="57" y="9"/>
                  </a:lnTo>
                  <a:lnTo>
                    <a:pt x="47" y="6"/>
                  </a:lnTo>
                  <a:lnTo>
                    <a:pt x="47" y="9"/>
                  </a:lnTo>
                  <a:close/>
                  <a:moveTo>
                    <a:pt x="32" y="9"/>
                  </a:moveTo>
                  <a:lnTo>
                    <a:pt x="32" y="9"/>
                  </a:lnTo>
                  <a:lnTo>
                    <a:pt x="35" y="7"/>
                  </a:lnTo>
                  <a:lnTo>
                    <a:pt x="35" y="7"/>
                  </a:lnTo>
                  <a:lnTo>
                    <a:pt x="38" y="7"/>
                  </a:lnTo>
                  <a:lnTo>
                    <a:pt x="38" y="7"/>
                  </a:lnTo>
                  <a:lnTo>
                    <a:pt x="42" y="7"/>
                  </a:lnTo>
                  <a:lnTo>
                    <a:pt x="42" y="4"/>
                  </a:lnTo>
                  <a:lnTo>
                    <a:pt x="42" y="4"/>
                  </a:lnTo>
                  <a:lnTo>
                    <a:pt x="38" y="4"/>
                  </a:lnTo>
                  <a:lnTo>
                    <a:pt x="38" y="4"/>
                  </a:lnTo>
                  <a:lnTo>
                    <a:pt x="35" y="6"/>
                  </a:lnTo>
                  <a:lnTo>
                    <a:pt x="35" y="6"/>
                  </a:lnTo>
                  <a:lnTo>
                    <a:pt x="32" y="6"/>
                  </a:lnTo>
                  <a:lnTo>
                    <a:pt x="32" y="9"/>
                  </a:lnTo>
                  <a:close/>
                  <a:moveTo>
                    <a:pt x="16" y="7"/>
                  </a:moveTo>
                  <a:lnTo>
                    <a:pt x="18" y="7"/>
                  </a:lnTo>
                  <a:lnTo>
                    <a:pt x="18" y="7"/>
                  </a:lnTo>
                  <a:lnTo>
                    <a:pt x="26" y="9"/>
                  </a:lnTo>
                  <a:lnTo>
                    <a:pt x="26" y="6"/>
                  </a:lnTo>
                  <a:lnTo>
                    <a:pt x="26" y="6"/>
                  </a:lnTo>
                  <a:lnTo>
                    <a:pt x="18" y="6"/>
                  </a:lnTo>
                  <a:lnTo>
                    <a:pt x="16" y="6"/>
                  </a:lnTo>
                  <a:lnTo>
                    <a:pt x="16" y="7"/>
                  </a:lnTo>
                  <a:close/>
                  <a:moveTo>
                    <a:pt x="6" y="15"/>
                  </a:moveTo>
                  <a:lnTo>
                    <a:pt x="6" y="15"/>
                  </a:lnTo>
                  <a:lnTo>
                    <a:pt x="10" y="10"/>
                  </a:lnTo>
                  <a:lnTo>
                    <a:pt x="10" y="10"/>
                  </a:lnTo>
                  <a:lnTo>
                    <a:pt x="12" y="9"/>
                  </a:lnTo>
                  <a:lnTo>
                    <a:pt x="12" y="6"/>
                  </a:lnTo>
                  <a:lnTo>
                    <a:pt x="12" y="6"/>
                  </a:lnTo>
                  <a:lnTo>
                    <a:pt x="9" y="7"/>
                  </a:lnTo>
                  <a:lnTo>
                    <a:pt x="9" y="7"/>
                  </a:lnTo>
                  <a:lnTo>
                    <a:pt x="3" y="15"/>
                  </a:lnTo>
                  <a:lnTo>
                    <a:pt x="6" y="15"/>
                  </a:lnTo>
                  <a:close/>
                  <a:moveTo>
                    <a:pt x="3" y="29"/>
                  </a:moveTo>
                  <a:lnTo>
                    <a:pt x="3" y="29"/>
                  </a:lnTo>
                  <a:lnTo>
                    <a:pt x="3" y="25"/>
                  </a:lnTo>
                  <a:lnTo>
                    <a:pt x="3" y="25"/>
                  </a:lnTo>
                  <a:lnTo>
                    <a:pt x="3" y="19"/>
                  </a:lnTo>
                  <a:lnTo>
                    <a:pt x="2" y="19"/>
                  </a:lnTo>
                  <a:lnTo>
                    <a:pt x="2" y="19"/>
                  </a:lnTo>
                  <a:lnTo>
                    <a:pt x="0" y="25"/>
                  </a:lnTo>
                  <a:lnTo>
                    <a:pt x="0" y="25"/>
                  </a:lnTo>
                  <a:lnTo>
                    <a:pt x="0" y="29"/>
                  </a:lnTo>
                  <a:lnTo>
                    <a:pt x="3" y="29"/>
                  </a:lnTo>
                  <a:close/>
                  <a:moveTo>
                    <a:pt x="6" y="44"/>
                  </a:moveTo>
                  <a:lnTo>
                    <a:pt x="6" y="44"/>
                  </a:lnTo>
                  <a:lnTo>
                    <a:pt x="6" y="41"/>
                  </a:lnTo>
                  <a:lnTo>
                    <a:pt x="6" y="41"/>
                  </a:lnTo>
                  <a:lnTo>
                    <a:pt x="5" y="33"/>
                  </a:lnTo>
                  <a:lnTo>
                    <a:pt x="3" y="33"/>
                  </a:lnTo>
                  <a:lnTo>
                    <a:pt x="3" y="33"/>
                  </a:lnTo>
                  <a:lnTo>
                    <a:pt x="3" y="41"/>
                  </a:lnTo>
                  <a:lnTo>
                    <a:pt x="3" y="41"/>
                  </a:lnTo>
                  <a:lnTo>
                    <a:pt x="3" y="44"/>
                  </a:lnTo>
                  <a:lnTo>
                    <a:pt x="6"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97" name="Freeform 1721"/>
            <p:cNvSpPr>
              <a:spLocks noEditPoints="1"/>
            </p:cNvSpPr>
            <p:nvPr/>
          </p:nvSpPr>
          <p:spPr bwMode="auto">
            <a:xfrm>
              <a:off x="6932613" y="4141788"/>
              <a:ext cx="125413" cy="211138"/>
            </a:xfrm>
            <a:custGeom>
              <a:avLst/>
              <a:gdLst>
                <a:gd name="T0" fmla="*/ 6 w 79"/>
                <a:gd name="T1" fmla="*/ 8 h 133"/>
                <a:gd name="T2" fmla="*/ 0 w 79"/>
                <a:gd name="T3" fmla="*/ 1 h 133"/>
                <a:gd name="T4" fmla="*/ 4 w 79"/>
                <a:gd name="T5" fmla="*/ 10 h 133"/>
                <a:gd name="T6" fmla="*/ 6 w 79"/>
                <a:gd name="T7" fmla="*/ 8 h 133"/>
                <a:gd name="T8" fmla="*/ 19 w 79"/>
                <a:gd name="T9" fmla="*/ 16 h 133"/>
                <a:gd name="T10" fmla="*/ 8 w 79"/>
                <a:gd name="T11" fmla="*/ 13 h 133"/>
                <a:gd name="T12" fmla="*/ 19 w 79"/>
                <a:gd name="T13" fmla="*/ 17 h 133"/>
                <a:gd name="T14" fmla="*/ 30 w 79"/>
                <a:gd name="T15" fmla="*/ 26 h 133"/>
                <a:gd name="T16" fmla="*/ 27 w 79"/>
                <a:gd name="T17" fmla="*/ 18 h 133"/>
                <a:gd name="T18" fmla="*/ 26 w 79"/>
                <a:gd name="T19" fmla="*/ 18 h 133"/>
                <a:gd name="T20" fmla="*/ 23 w 79"/>
                <a:gd name="T21" fmla="*/ 17 h 133"/>
                <a:gd name="T22" fmla="*/ 23 w 79"/>
                <a:gd name="T23" fmla="*/ 20 h 133"/>
                <a:gd name="T24" fmla="*/ 26 w 79"/>
                <a:gd name="T25" fmla="*/ 18 h 133"/>
                <a:gd name="T26" fmla="*/ 24 w 79"/>
                <a:gd name="T27" fmla="*/ 20 h 133"/>
                <a:gd name="T28" fmla="*/ 30 w 79"/>
                <a:gd name="T29" fmla="*/ 26 h 133"/>
                <a:gd name="T30" fmla="*/ 37 w 79"/>
                <a:gd name="T31" fmla="*/ 39 h 133"/>
                <a:gd name="T32" fmla="*/ 30 w 79"/>
                <a:gd name="T33" fmla="*/ 31 h 133"/>
                <a:gd name="T34" fmla="*/ 34 w 79"/>
                <a:gd name="T35" fmla="*/ 40 h 133"/>
                <a:gd name="T36" fmla="*/ 45 w 79"/>
                <a:gd name="T37" fmla="*/ 52 h 133"/>
                <a:gd name="T38" fmla="*/ 39 w 79"/>
                <a:gd name="T39" fmla="*/ 43 h 133"/>
                <a:gd name="T40" fmla="*/ 37 w 79"/>
                <a:gd name="T41" fmla="*/ 45 h 133"/>
                <a:gd name="T42" fmla="*/ 45 w 79"/>
                <a:gd name="T43" fmla="*/ 52 h 133"/>
                <a:gd name="T44" fmla="*/ 50 w 79"/>
                <a:gd name="T45" fmla="*/ 66 h 133"/>
                <a:gd name="T46" fmla="*/ 45 w 79"/>
                <a:gd name="T47" fmla="*/ 58 h 133"/>
                <a:gd name="T48" fmla="*/ 49 w 79"/>
                <a:gd name="T49" fmla="*/ 68 h 133"/>
                <a:gd name="T50" fmla="*/ 58 w 79"/>
                <a:gd name="T51" fmla="*/ 79 h 133"/>
                <a:gd name="T52" fmla="*/ 55 w 79"/>
                <a:gd name="T53" fmla="*/ 73 h 133"/>
                <a:gd name="T54" fmla="*/ 53 w 79"/>
                <a:gd name="T55" fmla="*/ 71 h 133"/>
                <a:gd name="T56" fmla="*/ 50 w 79"/>
                <a:gd name="T57" fmla="*/ 72 h 133"/>
                <a:gd name="T58" fmla="*/ 52 w 79"/>
                <a:gd name="T59" fmla="*/ 75 h 133"/>
                <a:gd name="T60" fmla="*/ 58 w 79"/>
                <a:gd name="T61" fmla="*/ 79 h 133"/>
                <a:gd name="T62" fmla="*/ 68 w 79"/>
                <a:gd name="T63" fmla="*/ 91 h 133"/>
                <a:gd name="T64" fmla="*/ 59 w 79"/>
                <a:gd name="T65" fmla="*/ 85 h 133"/>
                <a:gd name="T66" fmla="*/ 66 w 79"/>
                <a:gd name="T67" fmla="*/ 92 h 133"/>
                <a:gd name="T68" fmla="*/ 78 w 79"/>
                <a:gd name="T69" fmla="*/ 102 h 133"/>
                <a:gd name="T70" fmla="*/ 71 w 79"/>
                <a:gd name="T71" fmla="*/ 94 h 133"/>
                <a:gd name="T72" fmla="*/ 69 w 79"/>
                <a:gd name="T73" fmla="*/ 97 h 133"/>
                <a:gd name="T74" fmla="*/ 78 w 79"/>
                <a:gd name="T75" fmla="*/ 102 h 133"/>
                <a:gd name="T76" fmla="*/ 78 w 79"/>
                <a:gd name="T77" fmla="*/ 118 h 133"/>
                <a:gd name="T78" fmla="*/ 79 w 79"/>
                <a:gd name="T79" fmla="*/ 110 h 133"/>
                <a:gd name="T80" fmla="*/ 76 w 79"/>
                <a:gd name="T81" fmla="*/ 108 h 133"/>
                <a:gd name="T82" fmla="*/ 78 w 79"/>
                <a:gd name="T83" fmla="*/ 110 h 133"/>
                <a:gd name="T84" fmla="*/ 76 w 79"/>
                <a:gd name="T85" fmla="*/ 117 h 133"/>
                <a:gd name="T86" fmla="*/ 72 w 79"/>
                <a:gd name="T87" fmla="*/ 133 h 133"/>
                <a:gd name="T88" fmla="*/ 76 w 79"/>
                <a:gd name="T89" fmla="*/ 123 h 133"/>
                <a:gd name="T90" fmla="*/ 75 w 79"/>
                <a:gd name="T91" fmla="*/ 123 h 133"/>
                <a:gd name="T92" fmla="*/ 72 w 79"/>
                <a:gd name="T93"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9" h="133">
                  <a:moveTo>
                    <a:pt x="6" y="8"/>
                  </a:moveTo>
                  <a:lnTo>
                    <a:pt x="6" y="8"/>
                  </a:lnTo>
                  <a:lnTo>
                    <a:pt x="1" y="0"/>
                  </a:lnTo>
                  <a:lnTo>
                    <a:pt x="0" y="1"/>
                  </a:lnTo>
                  <a:lnTo>
                    <a:pt x="0" y="1"/>
                  </a:lnTo>
                  <a:lnTo>
                    <a:pt x="4" y="10"/>
                  </a:lnTo>
                  <a:lnTo>
                    <a:pt x="6" y="8"/>
                  </a:lnTo>
                  <a:lnTo>
                    <a:pt x="6" y="8"/>
                  </a:lnTo>
                  <a:close/>
                  <a:moveTo>
                    <a:pt x="19" y="16"/>
                  </a:moveTo>
                  <a:lnTo>
                    <a:pt x="19" y="16"/>
                  </a:lnTo>
                  <a:lnTo>
                    <a:pt x="10" y="11"/>
                  </a:lnTo>
                  <a:lnTo>
                    <a:pt x="8" y="13"/>
                  </a:lnTo>
                  <a:lnTo>
                    <a:pt x="8" y="13"/>
                  </a:lnTo>
                  <a:lnTo>
                    <a:pt x="19" y="17"/>
                  </a:lnTo>
                  <a:lnTo>
                    <a:pt x="19" y="16"/>
                  </a:lnTo>
                  <a:close/>
                  <a:moveTo>
                    <a:pt x="30" y="26"/>
                  </a:moveTo>
                  <a:lnTo>
                    <a:pt x="30" y="26"/>
                  </a:lnTo>
                  <a:lnTo>
                    <a:pt x="27" y="18"/>
                  </a:lnTo>
                  <a:lnTo>
                    <a:pt x="27" y="18"/>
                  </a:lnTo>
                  <a:lnTo>
                    <a:pt x="26" y="18"/>
                  </a:lnTo>
                  <a:lnTo>
                    <a:pt x="26" y="18"/>
                  </a:lnTo>
                  <a:lnTo>
                    <a:pt x="23" y="17"/>
                  </a:lnTo>
                  <a:lnTo>
                    <a:pt x="23" y="20"/>
                  </a:lnTo>
                  <a:lnTo>
                    <a:pt x="23" y="20"/>
                  </a:lnTo>
                  <a:lnTo>
                    <a:pt x="26" y="20"/>
                  </a:lnTo>
                  <a:lnTo>
                    <a:pt x="26" y="18"/>
                  </a:lnTo>
                  <a:lnTo>
                    <a:pt x="24" y="20"/>
                  </a:lnTo>
                  <a:lnTo>
                    <a:pt x="24" y="20"/>
                  </a:lnTo>
                  <a:lnTo>
                    <a:pt x="29" y="26"/>
                  </a:lnTo>
                  <a:lnTo>
                    <a:pt x="30" y="26"/>
                  </a:lnTo>
                  <a:close/>
                  <a:moveTo>
                    <a:pt x="37" y="39"/>
                  </a:moveTo>
                  <a:lnTo>
                    <a:pt x="37" y="39"/>
                  </a:lnTo>
                  <a:lnTo>
                    <a:pt x="33" y="30"/>
                  </a:lnTo>
                  <a:lnTo>
                    <a:pt x="30" y="31"/>
                  </a:lnTo>
                  <a:lnTo>
                    <a:pt x="30" y="31"/>
                  </a:lnTo>
                  <a:lnTo>
                    <a:pt x="34" y="40"/>
                  </a:lnTo>
                  <a:lnTo>
                    <a:pt x="37" y="39"/>
                  </a:lnTo>
                  <a:close/>
                  <a:moveTo>
                    <a:pt x="45" y="52"/>
                  </a:moveTo>
                  <a:lnTo>
                    <a:pt x="45" y="52"/>
                  </a:lnTo>
                  <a:lnTo>
                    <a:pt x="39" y="43"/>
                  </a:lnTo>
                  <a:lnTo>
                    <a:pt x="37" y="45"/>
                  </a:lnTo>
                  <a:lnTo>
                    <a:pt x="37" y="45"/>
                  </a:lnTo>
                  <a:lnTo>
                    <a:pt x="42" y="53"/>
                  </a:lnTo>
                  <a:lnTo>
                    <a:pt x="45" y="52"/>
                  </a:lnTo>
                  <a:close/>
                  <a:moveTo>
                    <a:pt x="50" y="66"/>
                  </a:moveTo>
                  <a:lnTo>
                    <a:pt x="50" y="66"/>
                  </a:lnTo>
                  <a:lnTo>
                    <a:pt x="46" y="58"/>
                  </a:lnTo>
                  <a:lnTo>
                    <a:pt x="45" y="58"/>
                  </a:lnTo>
                  <a:lnTo>
                    <a:pt x="45" y="58"/>
                  </a:lnTo>
                  <a:lnTo>
                    <a:pt x="49" y="68"/>
                  </a:lnTo>
                  <a:lnTo>
                    <a:pt x="50" y="66"/>
                  </a:lnTo>
                  <a:close/>
                  <a:moveTo>
                    <a:pt x="58" y="79"/>
                  </a:moveTo>
                  <a:lnTo>
                    <a:pt x="58" y="79"/>
                  </a:lnTo>
                  <a:lnTo>
                    <a:pt x="55" y="73"/>
                  </a:lnTo>
                  <a:lnTo>
                    <a:pt x="55" y="73"/>
                  </a:lnTo>
                  <a:lnTo>
                    <a:pt x="53" y="71"/>
                  </a:lnTo>
                  <a:lnTo>
                    <a:pt x="50" y="72"/>
                  </a:lnTo>
                  <a:lnTo>
                    <a:pt x="50" y="72"/>
                  </a:lnTo>
                  <a:lnTo>
                    <a:pt x="52" y="75"/>
                  </a:lnTo>
                  <a:lnTo>
                    <a:pt x="52" y="75"/>
                  </a:lnTo>
                  <a:lnTo>
                    <a:pt x="56" y="81"/>
                  </a:lnTo>
                  <a:lnTo>
                    <a:pt x="58" y="79"/>
                  </a:lnTo>
                  <a:close/>
                  <a:moveTo>
                    <a:pt x="68" y="91"/>
                  </a:moveTo>
                  <a:lnTo>
                    <a:pt x="68" y="91"/>
                  </a:lnTo>
                  <a:lnTo>
                    <a:pt x="61" y="84"/>
                  </a:lnTo>
                  <a:lnTo>
                    <a:pt x="59" y="85"/>
                  </a:lnTo>
                  <a:lnTo>
                    <a:pt x="59" y="85"/>
                  </a:lnTo>
                  <a:lnTo>
                    <a:pt x="66" y="92"/>
                  </a:lnTo>
                  <a:lnTo>
                    <a:pt x="68" y="91"/>
                  </a:lnTo>
                  <a:close/>
                  <a:moveTo>
                    <a:pt x="78" y="102"/>
                  </a:moveTo>
                  <a:lnTo>
                    <a:pt x="78" y="102"/>
                  </a:lnTo>
                  <a:lnTo>
                    <a:pt x="71" y="94"/>
                  </a:lnTo>
                  <a:lnTo>
                    <a:pt x="69" y="97"/>
                  </a:lnTo>
                  <a:lnTo>
                    <a:pt x="69" y="97"/>
                  </a:lnTo>
                  <a:lnTo>
                    <a:pt x="75" y="104"/>
                  </a:lnTo>
                  <a:lnTo>
                    <a:pt x="78" y="102"/>
                  </a:lnTo>
                  <a:close/>
                  <a:moveTo>
                    <a:pt x="78" y="118"/>
                  </a:moveTo>
                  <a:lnTo>
                    <a:pt x="78" y="118"/>
                  </a:lnTo>
                  <a:lnTo>
                    <a:pt x="79" y="110"/>
                  </a:lnTo>
                  <a:lnTo>
                    <a:pt x="79" y="110"/>
                  </a:lnTo>
                  <a:lnTo>
                    <a:pt x="79" y="108"/>
                  </a:lnTo>
                  <a:lnTo>
                    <a:pt x="76" y="108"/>
                  </a:lnTo>
                  <a:lnTo>
                    <a:pt x="76" y="108"/>
                  </a:lnTo>
                  <a:lnTo>
                    <a:pt x="78" y="110"/>
                  </a:lnTo>
                  <a:lnTo>
                    <a:pt x="78" y="110"/>
                  </a:lnTo>
                  <a:lnTo>
                    <a:pt x="76" y="117"/>
                  </a:lnTo>
                  <a:lnTo>
                    <a:pt x="78" y="118"/>
                  </a:lnTo>
                  <a:close/>
                  <a:moveTo>
                    <a:pt x="72" y="133"/>
                  </a:moveTo>
                  <a:lnTo>
                    <a:pt x="72" y="133"/>
                  </a:lnTo>
                  <a:lnTo>
                    <a:pt x="76" y="123"/>
                  </a:lnTo>
                  <a:lnTo>
                    <a:pt x="75" y="123"/>
                  </a:lnTo>
                  <a:lnTo>
                    <a:pt x="75" y="123"/>
                  </a:lnTo>
                  <a:lnTo>
                    <a:pt x="71" y="131"/>
                  </a:lnTo>
                  <a:lnTo>
                    <a:pt x="72" y="133"/>
                  </a:lnTo>
                  <a:lnTo>
                    <a:pt x="72"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98" name="Freeform 1722"/>
            <p:cNvSpPr>
              <a:spLocks noEditPoints="1"/>
            </p:cNvSpPr>
            <p:nvPr/>
          </p:nvSpPr>
          <p:spPr bwMode="auto">
            <a:xfrm>
              <a:off x="6807200" y="4179888"/>
              <a:ext cx="203200" cy="282575"/>
            </a:xfrm>
            <a:custGeom>
              <a:avLst/>
              <a:gdLst>
                <a:gd name="T0" fmla="*/ 6 w 128"/>
                <a:gd name="T1" fmla="*/ 178 h 178"/>
                <a:gd name="T2" fmla="*/ 16 w 128"/>
                <a:gd name="T3" fmla="*/ 171 h 178"/>
                <a:gd name="T4" fmla="*/ 24 w 128"/>
                <a:gd name="T5" fmla="*/ 148 h 178"/>
                <a:gd name="T6" fmla="*/ 27 w 128"/>
                <a:gd name="T7" fmla="*/ 149 h 178"/>
                <a:gd name="T8" fmla="*/ 27 w 128"/>
                <a:gd name="T9" fmla="*/ 139 h 178"/>
                <a:gd name="T10" fmla="*/ 29 w 128"/>
                <a:gd name="T11" fmla="*/ 139 h 178"/>
                <a:gd name="T12" fmla="*/ 24 w 128"/>
                <a:gd name="T13" fmla="*/ 119 h 178"/>
                <a:gd name="T14" fmla="*/ 27 w 128"/>
                <a:gd name="T15" fmla="*/ 118 h 178"/>
                <a:gd name="T16" fmla="*/ 21 w 128"/>
                <a:gd name="T17" fmla="*/ 109 h 178"/>
                <a:gd name="T18" fmla="*/ 22 w 128"/>
                <a:gd name="T19" fmla="*/ 107 h 178"/>
                <a:gd name="T20" fmla="*/ 14 w 128"/>
                <a:gd name="T21" fmla="*/ 91 h 178"/>
                <a:gd name="T22" fmla="*/ 19 w 128"/>
                <a:gd name="T23" fmla="*/ 99 h 178"/>
                <a:gd name="T24" fmla="*/ 16 w 128"/>
                <a:gd name="T25" fmla="*/ 76 h 178"/>
                <a:gd name="T26" fmla="*/ 19 w 128"/>
                <a:gd name="T27" fmla="*/ 86 h 178"/>
                <a:gd name="T28" fmla="*/ 11 w 128"/>
                <a:gd name="T29" fmla="*/ 63 h 178"/>
                <a:gd name="T30" fmla="*/ 19 w 128"/>
                <a:gd name="T31" fmla="*/ 70 h 178"/>
                <a:gd name="T32" fmla="*/ 2 w 128"/>
                <a:gd name="T33" fmla="*/ 51 h 178"/>
                <a:gd name="T34" fmla="*/ 5 w 128"/>
                <a:gd name="T35" fmla="*/ 57 h 178"/>
                <a:gd name="T36" fmla="*/ 8 w 128"/>
                <a:gd name="T37" fmla="*/ 55 h 178"/>
                <a:gd name="T38" fmla="*/ 6 w 128"/>
                <a:gd name="T39" fmla="*/ 52 h 178"/>
                <a:gd name="T40" fmla="*/ 0 w 128"/>
                <a:gd name="T41" fmla="*/ 36 h 178"/>
                <a:gd name="T42" fmla="*/ 3 w 128"/>
                <a:gd name="T43" fmla="*/ 35 h 178"/>
                <a:gd name="T44" fmla="*/ 2 w 128"/>
                <a:gd name="T45" fmla="*/ 29 h 178"/>
                <a:gd name="T46" fmla="*/ 6 w 128"/>
                <a:gd name="T47" fmla="*/ 21 h 178"/>
                <a:gd name="T48" fmla="*/ 12 w 128"/>
                <a:gd name="T49" fmla="*/ 18 h 178"/>
                <a:gd name="T50" fmla="*/ 15 w 128"/>
                <a:gd name="T51" fmla="*/ 19 h 178"/>
                <a:gd name="T52" fmla="*/ 29 w 128"/>
                <a:gd name="T53" fmla="*/ 0 h 178"/>
                <a:gd name="T54" fmla="*/ 24 w 128"/>
                <a:gd name="T55" fmla="*/ 9 h 178"/>
                <a:gd name="T56" fmla="*/ 29 w 128"/>
                <a:gd name="T57" fmla="*/ 0 h 178"/>
                <a:gd name="T58" fmla="*/ 35 w 128"/>
                <a:gd name="T59" fmla="*/ 3 h 178"/>
                <a:gd name="T60" fmla="*/ 53 w 128"/>
                <a:gd name="T61" fmla="*/ 19 h 178"/>
                <a:gd name="T62" fmla="*/ 51 w 128"/>
                <a:gd name="T63" fmla="*/ 22 h 178"/>
                <a:gd name="T64" fmla="*/ 57 w 128"/>
                <a:gd name="T65" fmla="*/ 29 h 178"/>
                <a:gd name="T66" fmla="*/ 54 w 128"/>
                <a:gd name="T67" fmla="*/ 26 h 178"/>
                <a:gd name="T68" fmla="*/ 51 w 128"/>
                <a:gd name="T69" fmla="*/ 49 h 178"/>
                <a:gd name="T70" fmla="*/ 50 w 128"/>
                <a:gd name="T71" fmla="*/ 44 h 178"/>
                <a:gd name="T72" fmla="*/ 60 w 128"/>
                <a:gd name="T73" fmla="*/ 47 h 178"/>
                <a:gd name="T74" fmla="*/ 53 w 128"/>
                <a:gd name="T75" fmla="*/ 54 h 178"/>
                <a:gd name="T76" fmla="*/ 57 w 128"/>
                <a:gd name="T77" fmla="*/ 52 h 178"/>
                <a:gd name="T78" fmla="*/ 73 w 128"/>
                <a:gd name="T79" fmla="*/ 38 h 178"/>
                <a:gd name="T80" fmla="*/ 73 w 128"/>
                <a:gd name="T81" fmla="*/ 38 h 178"/>
                <a:gd name="T82" fmla="*/ 82 w 128"/>
                <a:gd name="T83" fmla="*/ 39 h 178"/>
                <a:gd name="T84" fmla="*/ 80 w 128"/>
                <a:gd name="T85" fmla="*/ 42 h 178"/>
                <a:gd name="T86" fmla="*/ 99 w 128"/>
                <a:gd name="T87" fmla="*/ 42 h 178"/>
                <a:gd name="T88" fmla="*/ 95 w 128"/>
                <a:gd name="T89" fmla="*/ 38 h 178"/>
                <a:gd name="T90" fmla="*/ 92 w 128"/>
                <a:gd name="T91" fmla="*/ 44 h 178"/>
                <a:gd name="T92" fmla="*/ 95 w 128"/>
                <a:gd name="T93" fmla="*/ 41 h 178"/>
                <a:gd name="T94" fmla="*/ 106 w 128"/>
                <a:gd name="T95" fmla="*/ 57 h 178"/>
                <a:gd name="T96" fmla="*/ 106 w 128"/>
                <a:gd name="T97" fmla="*/ 57 h 178"/>
                <a:gd name="T98" fmla="*/ 108 w 128"/>
                <a:gd name="T99" fmla="*/ 61 h 178"/>
                <a:gd name="T100" fmla="*/ 109 w 128"/>
                <a:gd name="T101" fmla="*/ 71 h 178"/>
                <a:gd name="T102" fmla="*/ 112 w 128"/>
                <a:gd name="T103" fmla="*/ 76 h 178"/>
                <a:gd name="T104" fmla="*/ 128 w 128"/>
                <a:gd name="T105" fmla="*/ 96 h 178"/>
                <a:gd name="T106" fmla="*/ 125 w 128"/>
                <a:gd name="T107" fmla="*/ 86 h 178"/>
                <a:gd name="T108" fmla="*/ 125 w 128"/>
                <a:gd name="T109" fmla="*/ 93 h 178"/>
                <a:gd name="T110" fmla="*/ 124 w 128"/>
                <a:gd name="T111" fmla="*/ 110 h 178"/>
                <a:gd name="T112" fmla="*/ 124 w 128"/>
                <a:gd name="T113" fmla="*/ 11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 h="178">
                  <a:moveTo>
                    <a:pt x="12" y="174"/>
                  </a:moveTo>
                  <a:lnTo>
                    <a:pt x="12" y="174"/>
                  </a:lnTo>
                  <a:lnTo>
                    <a:pt x="5" y="177"/>
                  </a:lnTo>
                  <a:lnTo>
                    <a:pt x="6" y="178"/>
                  </a:lnTo>
                  <a:lnTo>
                    <a:pt x="6" y="178"/>
                  </a:lnTo>
                  <a:lnTo>
                    <a:pt x="14" y="176"/>
                  </a:lnTo>
                  <a:lnTo>
                    <a:pt x="12" y="174"/>
                  </a:lnTo>
                  <a:close/>
                  <a:moveTo>
                    <a:pt x="21" y="162"/>
                  </a:moveTo>
                  <a:lnTo>
                    <a:pt x="21" y="162"/>
                  </a:lnTo>
                  <a:lnTo>
                    <a:pt x="16" y="171"/>
                  </a:lnTo>
                  <a:lnTo>
                    <a:pt x="18" y="173"/>
                  </a:lnTo>
                  <a:lnTo>
                    <a:pt x="18" y="173"/>
                  </a:lnTo>
                  <a:lnTo>
                    <a:pt x="22" y="164"/>
                  </a:lnTo>
                  <a:lnTo>
                    <a:pt x="21" y="162"/>
                  </a:lnTo>
                  <a:close/>
                  <a:moveTo>
                    <a:pt x="24" y="148"/>
                  </a:moveTo>
                  <a:lnTo>
                    <a:pt x="24" y="148"/>
                  </a:lnTo>
                  <a:lnTo>
                    <a:pt x="22" y="158"/>
                  </a:lnTo>
                  <a:lnTo>
                    <a:pt x="24" y="158"/>
                  </a:lnTo>
                  <a:lnTo>
                    <a:pt x="24" y="158"/>
                  </a:lnTo>
                  <a:lnTo>
                    <a:pt x="27" y="149"/>
                  </a:lnTo>
                  <a:lnTo>
                    <a:pt x="24" y="148"/>
                  </a:lnTo>
                  <a:close/>
                  <a:moveTo>
                    <a:pt x="27" y="133"/>
                  </a:moveTo>
                  <a:lnTo>
                    <a:pt x="27" y="135"/>
                  </a:lnTo>
                  <a:lnTo>
                    <a:pt x="27" y="135"/>
                  </a:lnTo>
                  <a:lnTo>
                    <a:pt x="27" y="139"/>
                  </a:lnTo>
                  <a:lnTo>
                    <a:pt x="27" y="139"/>
                  </a:lnTo>
                  <a:lnTo>
                    <a:pt x="25" y="144"/>
                  </a:lnTo>
                  <a:lnTo>
                    <a:pt x="28" y="144"/>
                  </a:lnTo>
                  <a:lnTo>
                    <a:pt x="28" y="144"/>
                  </a:lnTo>
                  <a:lnTo>
                    <a:pt x="29" y="139"/>
                  </a:lnTo>
                  <a:lnTo>
                    <a:pt x="29" y="139"/>
                  </a:lnTo>
                  <a:lnTo>
                    <a:pt x="29" y="135"/>
                  </a:lnTo>
                  <a:lnTo>
                    <a:pt x="29" y="133"/>
                  </a:lnTo>
                  <a:lnTo>
                    <a:pt x="27" y="133"/>
                  </a:lnTo>
                  <a:close/>
                  <a:moveTo>
                    <a:pt x="24" y="119"/>
                  </a:moveTo>
                  <a:lnTo>
                    <a:pt x="24" y="119"/>
                  </a:lnTo>
                  <a:lnTo>
                    <a:pt x="27" y="129"/>
                  </a:lnTo>
                  <a:lnTo>
                    <a:pt x="28" y="128"/>
                  </a:lnTo>
                  <a:lnTo>
                    <a:pt x="28" y="128"/>
                  </a:lnTo>
                  <a:lnTo>
                    <a:pt x="27" y="118"/>
                  </a:lnTo>
                  <a:lnTo>
                    <a:pt x="24" y="119"/>
                  </a:lnTo>
                  <a:close/>
                  <a:moveTo>
                    <a:pt x="19" y="105"/>
                  </a:moveTo>
                  <a:lnTo>
                    <a:pt x="19" y="105"/>
                  </a:lnTo>
                  <a:lnTo>
                    <a:pt x="21" y="109"/>
                  </a:lnTo>
                  <a:lnTo>
                    <a:pt x="21" y="109"/>
                  </a:lnTo>
                  <a:lnTo>
                    <a:pt x="22" y="115"/>
                  </a:lnTo>
                  <a:lnTo>
                    <a:pt x="25" y="113"/>
                  </a:lnTo>
                  <a:lnTo>
                    <a:pt x="25" y="113"/>
                  </a:lnTo>
                  <a:lnTo>
                    <a:pt x="22" y="107"/>
                  </a:lnTo>
                  <a:lnTo>
                    <a:pt x="22" y="107"/>
                  </a:lnTo>
                  <a:lnTo>
                    <a:pt x="21" y="105"/>
                  </a:lnTo>
                  <a:lnTo>
                    <a:pt x="19" y="105"/>
                  </a:lnTo>
                  <a:close/>
                  <a:moveTo>
                    <a:pt x="14" y="90"/>
                  </a:moveTo>
                  <a:lnTo>
                    <a:pt x="14" y="90"/>
                  </a:lnTo>
                  <a:lnTo>
                    <a:pt x="14" y="91"/>
                  </a:lnTo>
                  <a:lnTo>
                    <a:pt x="14" y="91"/>
                  </a:lnTo>
                  <a:lnTo>
                    <a:pt x="15" y="96"/>
                  </a:lnTo>
                  <a:lnTo>
                    <a:pt x="16" y="100"/>
                  </a:lnTo>
                  <a:lnTo>
                    <a:pt x="19" y="99"/>
                  </a:lnTo>
                  <a:lnTo>
                    <a:pt x="19" y="99"/>
                  </a:lnTo>
                  <a:lnTo>
                    <a:pt x="16" y="91"/>
                  </a:lnTo>
                  <a:lnTo>
                    <a:pt x="16" y="90"/>
                  </a:lnTo>
                  <a:lnTo>
                    <a:pt x="14" y="90"/>
                  </a:lnTo>
                  <a:close/>
                  <a:moveTo>
                    <a:pt x="16" y="76"/>
                  </a:moveTo>
                  <a:lnTo>
                    <a:pt x="16" y="76"/>
                  </a:lnTo>
                  <a:lnTo>
                    <a:pt x="16" y="80"/>
                  </a:lnTo>
                  <a:lnTo>
                    <a:pt x="16" y="80"/>
                  </a:lnTo>
                  <a:lnTo>
                    <a:pt x="16" y="86"/>
                  </a:lnTo>
                  <a:lnTo>
                    <a:pt x="19" y="86"/>
                  </a:lnTo>
                  <a:lnTo>
                    <a:pt x="19" y="86"/>
                  </a:lnTo>
                  <a:lnTo>
                    <a:pt x="19" y="80"/>
                  </a:lnTo>
                  <a:lnTo>
                    <a:pt x="19" y="80"/>
                  </a:lnTo>
                  <a:lnTo>
                    <a:pt x="19" y="76"/>
                  </a:lnTo>
                  <a:lnTo>
                    <a:pt x="16" y="76"/>
                  </a:lnTo>
                  <a:close/>
                  <a:moveTo>
                    <a:pt x="11" y="63"/>
                  </a:moveTo>
                  <a:lnTo>
                    <a:pt x="11" y="63"/>
                  </a:lnTo>
                  <a:lnTo>
                    <a:pt x="14" y="67"/>
                  </a:lnTo>
                  <a:lnTo>
                    <a:pt x="16" y="71"/>
                  </a:lnTo>
                  <a:lnTo>
                    <a:pt x="19" y="70"/>
                  </a:lnTo>
                  <a:lnTo>
                    <a:pt x="19" y="70"/>
                  </a:lnTo>
                  <a:lnTo>
                    <a:pt x="16" y="65"/>
                  </a:lnTo>
                  <a:lnTo>
                    <a:pt x="14" y="61"/>
                  </a:lnTo>
                  <a:lnTo>
                    <a:pt x="11" y="63"/>
                  </a:lnTo>
                  <a:close/>
                  <a:moveTo>
                    <a:pt x="2" y="51"/>
                  </a:moveTo>
                  <a:lnTo>
                    <a:pt x="2" y="51"/>
                  </a:lnTo>
                  <a:lnTo>
                    <a:pt x="3" y="54"/>
                  </a:lnTo>
                  <a:lnTo>
                    <a:pt x="3" y="54"/>
                  </a:lnTo>
                  <a:lnTo>
                    <a:pt x="3" y="55"/>
                  </a:lnTo>
                  <a:lnTo>
                    <a:pt x="3" y="55"/>
                  </a:lnTo>
                  <a:lnTo>
                    <a:pt x="5" y="57"/>
                  </a:lnTo>
                  <a:lnTo>
                    <a:pt x="5" y="57"/>
                  </a:lnTo>
                  <a:lnTo>
                    <a:pt x="8" y="60"/>
                  </a:lnTo>
                  <a:lnTo>
                    <a:pt x="9" y="58"/>
                  </a:lnTo>
                  <a:lnTo>
                    <a:pt x="9" y="58"/>
                  </a:lnTo>
                  <a:lnTo>
                    <a:pt x="8" y="55"/>
                  </a:lnTo>
                  <a:lnTo>
                    <a:pt x="8" y="55"/>
                  </a:lnTo>
                  <a:lnTo>
                    <a:pt x="6" y="54"/>
                  </a:lnTo>
                  <a:lnTo>
                    <a:pt x="6" y="54"/>
                  </a:lnTo>
                  <a:lnTo>
                    <a:pt x="6" y="52"/>
                  </a:lnTo>
                  <a:lnTo>
                    <a:pt x="6" y="52"/>
                  </a:lnTo>
                  <a:lnTo>
                    <a:pt x="5" y="49"/>
                  </a:lnTo>
                  <a:lnTo>
                    <a:pt x="2" y="51"/>
                  </a:lnTo>
                  <a:close/>
                  <a:moveTo>
                    <a:pt x="0" y="35"/>
                  </a:moveTo>
                  <a:lnTo>
                    <a:pt x="0" y="36"/>
                  </a:lnTo>
                  <a:lnTo>
                    <a:pt x="0" y="36"/>
                  </a:lnTo>
                  <a:lnTo>
                    <a:pt x="2" y="45"/>
                  </a:lnTo>
                  <a:lnTo>
                    <a:pt x="3" y="45"/>
                  </a:lnTo>
                  <a:lnTo>
                    <a:pt x="3" y="45"/>
                  </a:lnTo>
                  <a:lnTo>
                    <a:pt x="3" y="36"/>
                  </a:lnTo>
                  <a:lnTo>
                    <a:pt x="3" y="35"/>
                  </a:lnTo>
                  <a:lnTo>
                    <a:pt x="0" y="35"/>
                  </a:lnTo>
                  <a:close/>
                  <a:moveTo>
                    <a:pt x="6" y="21"/>
                  </a:moveTo>
                  <a:lnTo>
                    <a:pt x="6" y="21"/>
                  </a:lnTo>
                  <a:lnTo>
                    <a:pt x="3" y="25"/>
                  </a:lnTo>
                  <a:lnTo>
                    <a:pt x="2" y="29"/>
                  </a:lnTo>
                  <a:lnTo>
                    <a:pt x="3" y="31"/>
                  </a:lnTo>
                  <a:lnTo>
                    <a:pt x="3" y="31"/>
                  </a:lnTo>
                  <a:lnTo>
                    <a:pt x="6" y="26"/>
                  </a:lnTo>
                  <a:lnTo>
                    <a:pt x="9" y="22"/>
                  </a:lnTo>
                  <a:lnTo>
                    <a:pt x="6" y="21"/>
                  </a:lnTo>
                  <a:close/>
                  <a:moveTo>
                    <a:pt x="18" y="12"/>
                  </a:moveTo>
                  <a:lnTo>
                    <a:pt x="18" y="12"/>
                  </a:lnTo>
                  <a:lnTo>
                    <a:pt x="15" y="16"/>
                  </a:lnTo>
                  <a:lnTo>
                    <a:pt x="15" y="16"/>
                  </a:lnTo>
                  <a:lnTo>
                    <a:pt x="12" y="18"/>
                  </a:lnTo>
                  <a:lnTo>
                    <a:pt x="12" y="18"/>
                  </a:lnTo>
                  <a:lnTo>
                    <a:pt x="12" y="21"/>
                  </a:lnTo>
                  <a:lnTo>
                    <a:pt x="14" y="21"/>
                  </a:lnTo>
                  <a:lnTo>
                    <a:pt x="14" y="21"/>
                  </a:lnTo>
                  <a:lnTo>
                    <a:pt x="15" y="19"/>
                  </a:lnTo>
                  <a:lnTo>
                    <a:pt x="18" y="18"/>
                  </a:lnTo>
                  <a:lnTo>
                    <a:pt x="18" y="18"/>
                  </a:lnTo>
                  <a:lnTo>
                    <a:pt x="21" y="13"/>
                  </a:lnTo>
                  <a:lnTo>
                    <a:pt x="18" y="12"/>
                  </a:lnTo>
                  <a:close/>
                  <a:moveTo>
                    <a:pt x="29" y="0"/>
                  </a:moveTo>
                  <a:lnTo>
                    <a:pt x="29" y="0"/>
                  </a:lnTo>
                  <a:lnTo>
                    <a:pt x="25" y="3"/>
                  </a:lnTo>
                  <a:lnTo>
                    <a:pt x="25" y="3"/>
                  </a:lnTo>
                  <a:lnTo>
                    <a:pt x="21" y="7"/>
                  </a:lnTo>
                  <a:lnTo>
                    <a:pt x="24" y="9"/>
                  </a:lnTo>
                  <a:lnTo>
                    <a:pt x="24" y="9"/>
                  </a:lnTo>
                  <a:lnTo>
                    <a:pt x="27" y="5"/>
                  </a:lnTo>
                  <a:lnTo>
                    <a:pt x="27" y="5"/>
                  </a:lnTo>
                  <a:lnTo>
                    <a:pt x="31" y="3"/>
                  </a:lnTo>
                  <a:lnTo>
                    <a:pt x="29" y="0"/>
                  </a:lnTo>
                  <a:close/>
                  <a:moveTo>
                    <a:pt x="44" y="7"/>
                  </a:moveTo>
                  <a:lnTo>
                    <a:pt x="44" y="7"/>
                  </a:lnTo>
                  <a:lnTo>
                    <a:pt x="41" y="5"/>
                  </a:lnTo>
                  <a:lnTo>
                    <a:pt x="35" y="2"/>
                  </a:lnTo>
                  <a:lnTo>
                    <a:pt x="35" y="3"/>
                  </a:lnTo>
                  <a:lnTo>
                    <a:pt x="35" y="3"/>
                  </a:lnTo>
                  <a:lnTo>
                    <a:pt x="40" y="6"/>
                  </a:lnTo>
                  <a:lnTo>
                    <a:pt x="43" y="9"/>
                  </a:lnTo>
                  <a:lnTo>
                    <a:pt x="44" y="7"/>
                  </a:lnTo>
                  <a:close/>
                  <a:moveTo>
                    <a:pt x="53" y="19"/>
                  </a:moveTo>
                  <a:lnTo>
                    <a:pt x="53" y="19"/>
                  </a:lnTo>
                  <a:lnTo>
                    <a:pt x="47" y="12"/>
                  </a:lnTo>
                  <a:lnTo>
                    <a:pt x="44" y="13"/>
                  </a:lnTo>
                  <a:lnTo>
                    <a:pt x="44" y="13"/>
                  </a:lnTo>
                  <a:lnTo>
                    <a:pt x="51" y="22"/>
                  </a:lnTo>
                  <a:lnTo>
                    <a:pt x="53" y="19"/>
                  </a:lnTo>
                  <a:close/>
                  <a:moveTo>
                    <a:pt x="57" y="35"/>
                  </a:moveTo>
                  <a:lnTo>
                    <a:pt x="57" y="35"/>
                  </a:lnTo>
                  <a:lnTo>
                    <a:pt x="57" y="29"/>
                  </a:lnTo>
                  <a:lnTo>
                    <a:pt x="57" y="29"/>
                  </a:lnTo>
                  <a:lnTo>
                    <a:pt x="57" y="25"/>
                  </a:lnTo>
                  <a:lnTo>
                    <a:pt x="56" y="23"/>
                  </a:lnTo>
                  <a:lnTo>
                    <a:pt x="54" y="25"/>
                  </a:lnTo>
                  <a:lnTo>
                    <a:pt x="54" y="26"/>
                  </a:lnTo>
                  <a:lnTo>
                    <a:pt x="54" y="26"/>
                  </a:lnTo>
                  <a:lnTo>
                    <a:pt x="56" y="29"/>
                  </a:lnTo>
                  <a:lnTo>
                    <a:pt x="56" y="29"/>
                  </a:lnTo>
                  <a:lnTo>
                    <a:pt x="54" y="34"/>
                  </a:lnTo>
                  <a:lnTo>
                    <a:pt x="57" y="35"/>
                  </a:lnTo>
                  <a:close/>
                  <a:moveTo>
                    <a:pt x="51" y="49"/>
                  </a:moveTo>
                  <a:lnTo>
                    <a:pt x="51" y="49"/>
                  </a:lnTo>
                  <a:lnTo>
                    <a:pt x="54" y="39"/>
                  </a:lnTo>
                  <a:lnTo>
                    <a:pt x="53" y="39"/>
                  </a:lnTo>
                  <a:lnTo>
                    <a:pt x="53" y="39"/>
                  </a:lnTo>
                  <a:lnTo>
                    <a:pt x="50" y="44"/>
                  </a:lnTo>
                  <a:lnTo>
                    <a:pt x="48" y="48"/>
                  </a:lnTo>
                  <a:lnTo>
                    <a:pt x="51" y="49"/>
                  </a:lnTo>
                  <a:close/>
                  <a:moveTo>
                    <a:pt x="60" y="47"/>
                  </a:moveTo>
                  <a:lnTo>
                    <a:pt x="60" y="47"/>
                  </a:lnTo>
                  <a:lnTo>
                    <a:pt x="60" y="47"/>
                  </a:lnTo>
                  <a:lnTo>
                    <a:pt x="56" y="51"/>
                  </a:lnTo>
                  <a:lnTo>
                    <a:pt x="56" y="51"/>
                  </a:lnTo>
                  <a:lnTo>
                    <a:pt x="53" y="51"/>
                  </a:lnTo>
                  <a:lnTo>
                    <a:pt x="53" y="51"/>
                  </a:lnTo>
                  <a:lnTo>
                    <a:pt x="53" y="54"/>
                  </a:lnTo>
                  <a:lnTo>
                    <a:pt x="53" y="54"/>
                  </a:lnTo>
                  <a:lnTo>
                    <a:pt x="53" y="54"/>
                  </a:lnTo>
                  <a:lnTo>
                    <a:pt x="56" y="54"/>
                  </a:lnTo>
                  <a:lnTo>
                    <a:pt x="57" y="52"/>
                  </a:lnTo>
                  <a:lnTo>
                    <a:pt x="57" y="52"/>
                  </a:lnTo>
                  <a:lnTo>
                    <a:pt x="61" y="49"/>
                  </a:lnTo>
                  <a:lnTo>
                    <a:pt x="61" y="48"/>
                  </a:lnTo>
                  <a:lnTo>
                    <a:pt x="60" y="47"/>
                  </a:lnTo>
                  <a:close/>
                  <a:moveTo>
                    <a:pt x="73" y="38"/>
                  </a:moveTo>
                  <a:lnTo>
                    <a:pt x="73" y="38"/>
                  </a:lnTo>
                  <a:lnTo>
                    <a:pt x="64" y="44"/>
                  </a:lnTo>
                  <a:lnTo>
                    <a:pt x="66" y="45"/>
                  </a:lnTo>
                  <a:lnTo>
                    <a:pt x="66" y="45"/>
                  </a:lnTo>
                  <a:lnTo>
                    <a:pt x="74" y="39"/>
                  </a:lnTo>
                  <a:lnTo>
                    <a:pt x="73" y="38"/>
                  </a:lnTo>
                  <a:close/>
                  <a:moveTo>
                    <a:pt x="86" y="44"/>
                  </a:moveTo>
                  <a:lnTo>
                    <a:pt x="86" y="42"/>
                  </a:lnTo>
                  <a:lnTo>
                    <a:pt x="86" y="42"/>
                  </a:lnTo>
                  <a:lnTo>
                    <a:pt x="82" y="39"/>
                  </a:lnTo>
                  <a:lnTo>
                    <a:pt x="82" y="39"/>
                  </a:lnTo>
                  <a:lnTo>
                    <a:pt x="79" y="36"/>
                  </a:lnTo>
                  <a:lnTo>
                    <a:pt x="77" y="39"/>
                  </a:lnTo>
                  <a:lnTo>
                    <a:pt x="77" y="39"/>
                  </a:lnTo>
                  <a:lnTo>
                    <a:pt x="80" y="42"/>
                  </a:lnTo>
                  <a:lnTo>
                    <a:pt x="80" y="42"/>
                  </a:lnTo>
                  <a:lnTo>
                    <a:pt x="85" y="45"/>
                  </a:lnTo>
                  <a:lnTo>
                    <a:pt x="86" y="45"/>
                  </a:lnTo>
                  <a:lnTo>
                    <a:pt x="86" y="44"/>
                  </a:lnTo>
                  <a:close/>
                  <a:moveTo>
                    <a:pt x="99" y="42"/>
                  </a:moveTo>
                  <a:lnTo>
                    <a:pt x="99" y="42"/>
                  </a:lnTo>
                  <a:lnTo>
                    <a:pt x="98" y="39"/>
                  </a:lnTo>
                  <a:lnTo>
                    <a:pt x="98" y="39"/>
                  </a:lnTo>
                  <a:lnTo>
                    <a:pt x="95" y="39"/>
                  </a:lnTo>
                  <a:lnTo>
                    <a:pt x="95" y="38"/>
                  </a:lnTo>
                  <a:lnTo>
                    <a:pt x="95" y="38"/>
                  </a:lnTo>
                  <a:lnTo>
                    <a:pt x="92" y="39"/>
                  </a:lnTo>
                  <a:lnTo>
                    <a:pt x="92" y="39"/>
                  </a:lnTo>
                  <a:lnTo>
                    <a:pt x="89" y="42"/>
                  </a:lnTo>
                  <a:lnTo>
                    <a:pt x="92" y="44"/>
                  </a:lnTo>
                  <a:lnTo>
                    <a:pt x="92" y="44"/>
                  </a:lnTo>
                  <a:lnTo>
                    <a:pt x="93" y="42"/>
                  </a:lnTo>
                  <a:lnTo>
                    <a:pt x="93" y="42"/>
                  </a:lnTo>
                  <a:lnTo>
                    <a:pt x="95" y="41"/>
                  </a:lnTo>
                  <a:lnTo>
                    <a:pt x="95" y="41"/>
                  </a:lnTo>
                  <a:lnTo>
                    <a:pt x="95" y="41"/>
                  </a:lnTo>
                  <a:lnTo>
                    <a:pt x="95" y="41"/>
                  </a:lnTo>
                  <a:lnTo>
                    <a:pt x="98" y="44"/>
                  </a:lnTo>
                  <a:lnTo>
                    <a:pt x="99" y="42"/>
                  </a:lnTo>
                  <a:close/>
                  <a:moveTo>
                    <a:pt x="106" y="57"/>
                  </a:moveTo>
                  <a:lnTo>
                    <a:pt x="106" y="57"/>
                  </a:lnTo>
                  <a:lnTo>
                    <a:pt x="102" y="47"/>
                  </a:lnTo>
                  <a:lnTo>
                    <a:pt x="99" y="48"/>
                  </a:lnTo>
                  <a:lnTo>
                    <a:pt x="99" y="48"/>
                  </a:lnTo>
                  <a:lnTo>
                    <a:pt x="103" y="57"/>
                  </a:lnTo>
                  <a:lnTo>
                    <a:pt x="106" y="57"/>
                  </a:lnTo>
                  <a:close/>
                  <a:moveTo>
                    <a:pt x="112" y="70"/>
                  </a:moveTo>
                  <a:lnTo>
                    <a:pt x="112" y="70"/>
                  </a:lnTo>
                  <a:lnTo>
                    <a:pt x="111" y="68"/>
                  </a:lnTo>
                  <a:lnTo>
                    <a:pt x="111" y="68"/>
                  </a:lnTo>
                  <a:lnTo>
                    <a:pt x="108" y="61"/>
                  </a:lnTo>
                  <a:lnTo>
                    <a:pt x="106" y="61"/>
                  </a:lnTo>
                  <a:lnTo>
                    <a:pt x="106" y="61"/>
                  </a:lnTo>
                  <a:lnTo>
                    <a:pt x="109" y="70"/>
                  </a:lnTo>
                  <a:lnTo>
                    <a:pt x="109" y="70"/>
                  </a:lnTo>
                  <a:lnTo>
                    <a:pt x="109" y="71"/>
                  </a:lnTo>
                  <a:lnTo>
                    <a:pt x="112" y="70"/>
                  </a:lnTo>
                  <a:close/>
                  <a:moveTo>
                    <a:pt x="121" y="81"/>
                  </a:moveTo>
                  <a:lnTo>
                    <a:pt x="121" y="81"/>
                  </a:lnTo>
                  <a:lnTo>
                    <a:pt x="115" y="74"/>
                  </a:lnTo>
                  <a:lnTo>
                    <a:pt x="112" y="76"/>
                  </a:lnTo>
                  <a:lnTo>
                    <a:pt x="112" y="76"/>
                  </a:lnTo>
                  <a:lnTo>
                    <a:pt x="119" y="84"/>
                  </a:lnTo>
                  <a:lnTo>
                    <a:pt x="121" y="81"/>
                  </a:lnTo>
                  <a:close/>
                  <a:moveTo>
                    <a:pt x="128" y="96"/>
                  </a:moveTo>
                  <a:lnTo>
                    <a:pt x="128" y="96"/>
                  </a:lnTo>
                  <a:lnTo>
                    <a:pt x="128" y="93"/>
                  </a:lnTo>
                  <a:lnTo>
                    <a:pt x="128" y="93"/>
                  </a:lnTo>
                  <a:lnTo>
                    <a:pt x="127" y="89"/>
                  </a:lnTo>
                  <a:lnTo>
                    <a:pt x="127" y="89"/>
                  </a:lnTo>
                  <a:lnTo>
                    <a:pt x="125" y="86"/>
                  </a:lnTo>
                  <a:lnTo>
                    <a:pt x="122" y="87"/>
                  </a:lnTo>
                  <a:lnTo>
                    <a:pt x="122" y="87"/>
                  </a:lnTo>
                  <a:lnTo>
                    <a:pt x="125" y="90"/>
                  </a:lnTo>
                  <a:lnTo>
                    <a:pt x="125" y="90"/>
                  </a:lnTo>
                  <a:lnTo>
                    <a:pt x="125" y="93"/>
                  </a:lnTo>
                  <a:lnTo>
                    <a:pt x="125" y="93"/>
                  </a:lnTo>
                  <a:lnTo>
                    <a:pt x="125" y="96"/>
                  </a:lnTo>
                  <a:lnTo>
                    <a:pt x="128" y="96"/>
                  </a:lnTo>
                  <a:close/>
                  <a:moveTo>
                    <a:pt x="124" y="110"/>
                  </a:moveTo>
                  <a:lnTo>
                    <a:pt x="124" y="110"/>
                  </a:lnTo>
                  <a:lnTo>
                    <a:pt x="127" y="100"/>
                  </a:lnTo>
                  <a:lnTo>
                    <a:pt x="125" y="100"/>
                  </a:lnTo>
                  <a:lnTo>
                    <a:pt x="125" y="100"/>
                  </a:lnTo>
                  <a:lnTo>
                    <a:pt x="122" y="110"/>
                  </a:lnTo>
                  <a:lnTo>
                    <a:pt x="124" y="1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799" name="Freeform 1723"/>
            <p:cNvSpPr>
              <a:spLocks noEditPoints="1"/>
            </p:cNvSpPr>
            <p:nvPr/>
          </p:nvSpPr>
          <p:spPr bwMode="auto">
            <a:xfrm>
              <a:off x="6861175" y="4152901"/>
              <a:ext cx="30163" cy="31750"/>
            </a:xfrm>
            <a:custGeom>
              <a:avLst/>
              <a:gdLst>
                <a:gd name="T0" fmla="*/ 13 w 19"/>
                <a:gd name="T1" fmla="*/ 10 h 20"/>
                <a:gd name="T2" fmla="*/ 13 w 19"/>
                <a:gd name="T3" fmla="*/ 9 h 20"/>
                <a:gd name="T4" fmla="*/ 13 w 19"/>
                <a:gd name="T5" fmla="*/ 9 h 20"/>
                <a:gd name="T6" fmla="*/ 19 w 19"/>
                <a:gd name="T7" fmla="*/ 1 h 20"/>
                <a:gd name="T8" fmla="*/ 17 w 19"/>
                <a:gd name="T9" fmla="*/ 0 h 20"/>
                <a:gd name="T10" fmla="*/ 17 w 19"/>
                <a:gd name="T11" fmla="*/ 0 h 20"/>
                <a:gd name="T12" fmla="*/ 11 w 19"/>
                <a:gd name="T13" fmla="*/ 7 h 20"/>
                <a:gd name="T14" fmla="*/ 11 w 19"/>
                <a:gd name="T15" fmla="*/ 7 h 20"/>
                <a:gd name="T16" fmla="*/ 13 w 19"/>
                <a:gd name="T17" fmla="*/ 10 h 20"/>
                <a:gd name="T18" fmla="*/ 1 w 19"/>
                <a:gd name="T19" fmla="*/ 20 h 20"/>
                <a:gd name="T20" fmla="*/ 1 w 19"/>
                <a:gd name="T21" fmla="*/ 20 h 20"/>
                <a:gd name="T22" fmla="*/ 9 w 19"/>
                <a:gd name="T23" fmla="*/ 13 h 20"/>
                <a:gd name="T24" fmla="*/ 7 w 19"/>
                <a:gd name="T25" fmla="*/ 11 h 20"/>
                <a:gd name="T26" fmla="*/ 7 w 19"/>
                <a:gd name="T27" fmla="*/ 11 h 20"/>
                <a:gd name="T28" fmla="*/ 0 w 19"/>
                <a:gd name="T29" fmla="*/ 19 h 20"/>
                <a:gd name="T30" fmla="*/ 1 w 19"/>
                <a:gd name="T3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 h="20">
                  <a:moveTo>
                    <a:pt x="13" y="10"/>
                  </a:moveTo>
                  <a:lnTo>
                    <a:pt x="13" y="9"/>
                  </a:lnTo>
                  <a:lnTo>
                    <a:pt x="13" y="9"/>
                  </a:lnTo>
                  <a:lnTo>
                    <a:pt x="19" y="1"/>
                  </a:lnTo>
                  <a:lnTo>
                    <a:pt x="17" y="0"/>
                  </a:lnTo>
                  <a:lnTo>
                    <a:pt x="17" y="0"/>
                  </a:lnTo>
                  <a:lnTo>
                    <a:pt x="11" y="7"/>
                  </a:lnTo>
                  <a:lnTo>
                    <a:pt x="11" y="7"/>
                  </a:lnTo>
                  <a:lnTo>
                    <a:pt x="13" y="10"/>
                  </a:lnTo>
                  <a:close/>
                  <a:moveTo>
                    <a:pt x="1" y="20"/>
                  </a:moveTo>
                  <a:lnTo>
                    <a:pt x="1" y="20"/>
                  </a:lnTo>
                  <a:lnTo>
                    <a:pt x="9" y="13"/>
                  </a:lnTo>
                  <a:lnTo>
                    <a:pt x="7" y="11"/>
                  </a:lnTo>
                  <a:lnTo>
                    <a:pt x="7" y="11"/>
                  </a:lnTo>
                  <a:lnTo>
                    <a:pt x="0" y="19"/>
                  </a:lnTo>
                  <a:lnTo>
                    <a:pt x="1"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00" name="Freeform 1724"/>
            <p:cNvSpPr>
              <a:spLocks noEditPoints="1"/>
            </p:cNvSpPr>
            <p:nvPr/>
          </p:nvSpPr>
          <p:spPr bwMode="auto">
            <a:xfrm>
              <a:off x="6586538" y="3967163"/>
              <a:ext cx="76200" cy="47625"/>
            </a:xfrm>
            <a:custGeom>
              <a:avLst/>
              <a:gdLst>
                <a:gd name="T0" fmla="*/ 9 w 48"/>
                <a:gd name="T1" fmla="*/ 26 h 30"/>
                <a:gd name="T2" fmla="*/ 9 w 48"/>
                <a:gd name="T3" fmla="*/ 26 h 30"/>
                <a:gd name="T4" fmla="*/ 5 w 48"/>
                <a:gd name="T5" fmla="*/ 24 h 30"/>
                <a:gd name="T6" fmla="*/ 2 w 48"/>
                <a:gd name="T7" fmla="*/ 21 h 30"/>
                <a:gd name="T8" fmla="*/ 0 w 48"/>
                <a:gd name="T9" fmla="*/ 23 h 30"/>
                <a:gd name="T10" fmla="*/ 0 w 48"/>
                <a:gd name="T11" fmla="*/ 23 h 30"/>
                <a:gd name="T12" fmla="*/ 3 w 48"/>
                <a:gd name="T13" fmla="*/ 26 h 30"/>
                <a:gd name="T14" fmla="*/ 9 w 48"/>
                <a:gd name="T15" fmla="*/ 29 h 30"/>
                <a:gd name="T16" fmla="*/ 9 w 48"/>
                <a:gd name="T17" fmla="*/ 26 h 30"/>
                <a:gd name="T18" fmla="*/ 24 w 48"/>
                <a:gd name="T19" fmla="*/ 27 h 30"/>
                <a:gd name="T20" fmla="*/ 24 w 48"/>
                <a:gd name="T21" fmla="*/ 27 h 30"/>
                <a:gd name="T22" fmla="*/ 15 w 48"/>
                <a:gd name="T23" fmla="*/ 27 h 30"/>
                <a:gd name="T24" fmla="*/ 15 w 48"/>
                <a:gd name="T25" fmla="*/ 27 h 30"/>
                <a:gd name="T26" fmla="*/ 13 w 48"/>
                <a:gd name="T27" fmla="*/ 30 h 30"/>
                <a:gd name="T28" fmla="*/ 15 w 48"/>
                <a:gd name="T29" fmla="*/ 30 h 30"/>
                <a:gd name="T30" fmla="*/ 15 w 48"/>
                <a:gd name="T31" fmla="*/ 30 h 30"/>
                <a:gd name="T32" fmla="*/ 25 w 48"/>
                <a:gd name="T33" fmla="*/ 29 h 30"/>
                <a:gd name="T34" fmla="*/ 24 w 48"/>
                <a:gd name="T35" fmla="*/ 27 h 30"/>
                <a:gd name="T36" fmla="*/ 40 w 48"/>
                <a:gd name="T37" fmla="*/ 24 h 30"/>
                <a:gd name="T38" fmla="*/ 40 w 48"/>
                <a:gd name="T39" fmla="*/ 24 h 30"/>
                <a:gd name="T40" fmla="*/ 29 w 48"/>
                <a:gd name="T41" fmla="*/ 26 h 30"/>
                <a:gd name="T42" fmla="*/ 29 w 48"/>
                <a:gd name="T43" fmla="*/ 29 h 30"/>
                <a:gd name="T44" fmla="*/ 29 w 48"/>
                <a:gd name="T45" fmla="*/ 29 h 30"/>
                <a:gd name="T46" fmla="*/ 40 w 48"/>
                <a:gd name="T47" fmla="*/ 27 h 30"/>
                <a:gd name="T48" fmla="*/ 40 w 48"/>
                <a:gd name="T49" fmla="*/ 24 h 30"/>
                <a:gd name="T50" fmla="*/ 45 w 48"/>
                <a:gd name="T51" fmla="*/ 14 h 30"/>
                <a:gd name="T52" fmla="*/ 45 w 48"/>
                <a:gd name="T53" fmla="*/ 14 h 30"/>
                <a:gd name="T54" fmla="*/ 45 w 48"/>
                <a:gd name="T55" fmla="*/ 14 h 30"/>
                <a:gd name="T56" fmla="*/ 45 w 48"/>
                <a:gd name="T57" fmla="*/ 14 h 30"/>
                <a:gd name="T58" fmla="*/ 45 w 48"/>
                <a:gd name="T59" fmla="*/ 14 h 30"/>
                <a:gd name="T60" fmla="*/ 45 w 48"/>
                <a:gd name="T61" fmla="*/ 14 h 30"/>
                <a:gd name="T62" fmla="*/ 45 w 48"/>
                <a:gd name="T63" fmla="*/ 14 h 30"/>
                <a:gd name="T64" fmla="*/ 45 w 48"/>
                <a:gd name="T65" fmla="*/ 18 h 30"/>
                <a:gd name="T66" fmla="*/ 42 w 48"/>
                <a:gd name="T67" fmla="*/ 23 h 30"/>
                <a:gd name="T68" fmla="*/ 45 w 48"/>
                <a:gd name="T69" fmla="*/ 24 h 30"/>
                <a:gd name="T70" fmla="*/ 45 w 48"/>
                <a:gd name="T71" fmla="*/ 24 h 30"/>
                <a:gd name="T72" fmla="*/ 47 w 48"/>
                <a:gd name="T73" fmla="*/ 18 h 30"/>
                <a:gd name="T74" fmla="*/ 48 w 48"/>
                <a:gd name="T75" fmla="*/ 14 h 30"/>
                <a:gd name="T76" fmla="*/ 48 w 48"/>
                <a:gd name="T77" fmla="*/ 14 h 30"/>
                <a:gd name="T78" fmla="*/ 45 w 48"/>
                <a:gd name="T79" fmla="*/ 14 h 30"/>
                <a:gd name="T80" fmla="*/ 40 w 48"/>
                <a:gd name="T81" fmla="*/ 1 h 30"/>
                <a:gd name="T82" fmla="*/ 40 w 48"/>
                <a:gd name="T83" fmla="*/ 1 h 30"/>
                <a:gd name="T84" fmla="*/ 44 w 48"/>
                <a:gd name="T85" fmla="*/ 10 h 30"/>
                <a:gd name="T86" fmla="*/ 47 w 48"/>
                <a:gd name="T87" fmla="*/ 8 h 30"/>
                <a:gd name="T88" fmla="*/ 47 w 48"/>
                <a:gd name="T89" fmla="*/ 8 h 30"/>
                <a:gd name="T90" fmla="*/ 41 w 48"/>
                <a:gd name="T91" fmla="*/ 0 h 30"/>
                <a:gd name="T92" fmla="*/ 40 w 48"/>
                <a:gd name="T9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 h="30">
                  <a:moveTo>
                    <a:pt x="9" y="26"/>
                  </a:moveTo>
                  <a:lnTo>
                    <a:pt x="9" y="26"/>
                  </a:lnTo>
                  <a:lnTo>
                    <a:pt x="5" y="24"/>
                  </a:lnTo>
                  <a:lnTo>
                    <a:pt x="2" y="21"/>
                  </a:lnTo>
                  <a:lnTo>
                    <a:pt x="0" y="23"/>
                  </a:lnTo>
                  <a:lnTo>
                    <a:pt x="0" y="23"/>
                  </a:lnTo>
                  <a:lnTo>
                    <a:pt x="3" y="26"/>
                  </a:lnTo>
                  <a:lnTo>
                    <a:pt x="9" y="29"/>
                  </a:lnTo>
                  <a:lnTo>
                    <a:pt x="9" y="26"/>
                  </a:lnTo>
                  <a:close/>
                  <a:moveTo>
                    <a:pt x="24" y="27"/>
                  </a:moveTo>
                  <a:lnTo>
                    <a:pt x="24" y="27"/>
                  </a:lnTo>
                  <a:lnTo>
                    <a:pt x="15" y="27"/>
                  </a:lnTo>
                  <a:lnTo>
                    <a:pt x="15" y="27"/>
                  </a:lnTo>
                  <a:lnTo>
                    <a:pt x="13" y="30"/>
                  </a:lnTo>
                  <a:lnTo>
                    <a:pt x="15" y="30"/>
                  </a:lnTo>
                  <a:lnTo>
                    <a:pt x="15" y="30"/>
                  </a:lnTo>
                  <a:lnTo>
                    <a:pt x="25" y="29"/>
                  </a:lnTo>
                  <a:lnTo>
                    <a:pt x="24" y="27"/>
                  </a:lnTo>
                  <a:close/>
                  <a:moveTo>
                    <a:pt x="40" y="24"/>
                  </a:moveTo>
                  <a:lnTo>
                    <a:pt x="40" y="24"/>
                  </a:lnTo>
                  <a:lnTo>
                    <a:pt x="29" y="26"/>
                  </a:lnTo>
                  <a:lnTo>
                    <a:pt x="29" y="29"/>
                  </a:lnTo>
                  <a:lnTo>
                    <a:pt x="29" y="29"/>
                  </a:lnTo>
                  <a:lnTo>
                    <a:pt x="40" y="27"/>
                  </a:lnTo>
                  <a:lnTo>
                    <a:pt x="40" y="24"/>
                  </a:lnTo>
                  <a:close/>
                  <a:moveTo>
                    <a:pt x="45" y="14"/>
                  </a:moveTo>
                  <a:lnTo>
                    <a:pt x="45" y="14"/>
                  </a:lnTo>
                  <a:lnTo>
                    <a:pt x="45" y="14"/>
                  </a:lnTo>
                  <a:lnTo>
                    <a:pt x="45" y="14"/>
                  </a:lnTo>
                  <a:lnTo>
                    <a:pt x="45" y="14"/>
                  </a:lnTo>
                  <a:lnTo>
                    <a:pt x="45" y="14"/>
                  </a:lnTo>
                  <a:lnTo>
                    <a:pt x="45" y="14"/>
                  </a:lnTo>
                  <a:lnTo>
                    <a:pt x="45" y="18"/>
                  </a:lnTo>
                  <a:lnTo>
                    <a:pt x="42" y="23"/>
                  </a:lnTo>
                  <a:lnTo>
                    <a:pt x="45" y="24"/>
                  </a:lnTo>
                  <a:lnTo>
                    <a:pt x="45" y="24"/>
                  </a:lnTo>
                  <a:lnTo>
                    <a:pt x="47" y="18"/>
                  </a:lnTo>
                  <a:lnTo>
                    <a:pt x="48" y="14"/>
                  </a:lnTo>
                  <a:lnTo>
                    <a:pt x="48" y="14"/>
                  </a:lnTo>
                  <a:lnTo>
                    <a:pt x="45" y="14"/>
                  </a:lnTo>
                  <a:close/>
                  <a:moveTo>
                    <a:pt x="40" y="1"/>
                  </a:moveTo>
                  <a:lnTo>
                    <a:pt x="40" y="1"/>
                  </a:lnTo>
                  <a:lnTo>
                    <a:pt x="44" y="10"/>
                  </a:lnTo>
                  <a:lnTo>
                    <a:pt x="47" y="8"/>
                  </a:lnTo>
                  <a:lnTo>
                    <a:pt x="47" y="8"/>
                  </a:lnTo>
                  <a:lnTo>
                    <a:pt x="41" y="0"/>
                  </a:lnTo>
                  <a:lnTo>
                    <a:pt x="4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01" name="Freeform 1725"/>
            <p:cNvSpPr>
              <a:spLocks noEditPoints="1"/>
            </p:cNvSpPr>
            <p:nvPr/>
          </p:nvSpPr>
          <p:spPr bwMode="auto">
            <a:xfrm>
              <a:off x="6353175" y="3911601"/>
              <a:ext cx="222250" cy="103188"/>
            </a:xfrm>
            <a:custGeom>
              <a:avLst/>
              <a:gdLst>
                <a:gd name="T0" fmla="*/ 6 w 140"/>
                <a:gd name="T1" fmla="*/ 4 h 65"/>
                <a:gd name="T2" fmla="*/ 4 w 140"/>
                <a:gd name="T3" fmla="*/ 0 h 65"/>
                <a:gd name="T4" fmla="*/ 3 w 140"/>
                <a:gd name="T5" fmla="*/ 4 h 65"/>
                <a:gd name="T6" fmla="*/ 3 w 140"/>
                <a:gd name="T7" fmla="*/ 19 h 65"/>
                <a:gd name="T8" fmla="*/ 4 w 140"/>
                <a:gd name="T9" fmla="*/ 10 h 65"/>
                <a:gd name="T10" fmla="*/ 1 w 140"/>
                <a:gd name="T11" fmla="*/ 8 h 65"/>
                <a:gd name="T12" fmla="*/ 3 w 140"/>
                <a:gd name="T13" fmla="*/ 19 h 65"/>
                <a:gd name="T14" fmla="*/ 11 w 140"/>
                <a:gd name="T15" fmla="*/ 27 h 65"/>
                <a:gd name="T16" fmla="*/ 1 w 140"/>
                <a:gd name="T17" fmla="*/ 24 h 65"/>
                <a:gd name="T18" fmla="*/ 11 w 140"/>
                <a:gd name="T19" fmla="*/ 30 h 65"/>
                <a:gd name="T20" fmla="*/ 26 w 140"/>
                <a:gd name="T21" fmla="*/ 35 h 65"/>
                <a:gd name="T22" fmla="*/ 16 w 140"/>
                <a:gd name="T23" fmla="*/ 30 h 65"/>
                <a:gd name="T24" fmla="*/ 16 w 140"/>
                <a:gd name="T25" fmla="*/ 32 h 65"/>
                <a:gd name="T26" fmla="*/ 26 w 140"/>
                <a:gd name="T27" fmla="*/ 35 h 65"/>
                <a:gd name="T28" fmla="*/ 39 w 140"/>
                <a:gd name="T29" fmla="*/ 40 h 65"/>
                <a:gd name="T30" fmla="*/ 29 w 140"/>
                <a:gd name="T31" fmla="*/ 39 h 65"/>
                <a:gd name="T32" fmla="*/ 39 w 140"/>
                <a:gd name="T33" fmla="*/ 43 h 65"/>
                <a:gd name="T34" fmla="*/ 53 w 140"/>
                <a:gd name="T35" fmla="*/ 45 h 65"/>
                <a:gd name="T36" fmla="*/ 43 w 140"/>
                <a:gd name="T37" fmla="*/ 42 h 65"/>
                <a:gd name="T38" fmla="*/ 43 w 140"/>
                <a:gd name="T39" fmla="*/ 45 h 65"/>
                <a:gd name="T40" fmla="*/ 53 w 140"/>
                <a:gd name="T41" fmla="*/ 45 h 65"/>
                <a:gd name="T42" fmla="*/ 68 w 140"/>
                <a:gd name="T43" fmla="*/ 46 h 65"/>
                <a:gd name="T44" fmla="*/ 61 w 140"/>
                <a:gd name="T45" fmla="*/ 46 h 65"/>
                <a:gd name="T46" fmla="*/ 59 w 140"/>
                <a:gd name="T47" fmla="*/ 46 h 65"/>
                <a:gd name="T48" fmla="*/ 58 w 140"/>
                <a:gd name="T49" fmla="*/ 49 h 65"/>
                <a:gd name="T50" fmla="*/ 61 w 140"/>
                <a:gd name="T51" fmla="*/ 49 h 65"/>
                <a:gd name="T52" fmla="*/ 68 w 140"/>
                <a:gd name="T53" fmla="*/ 49 h 65"/>
                <a:gd name="T54" fmla="*/ 82 w 140"/>
                <a:gd name="T55" fmla="*/ 53 h 65"/>
                <a:gd name="T56" fmla="*/ 82 w 140"/>
                <a:gd name="T57" fmla="*/ 53 h 65"/>
                <a:gd name="T58" fmla="*/ 72 w 140"/>
                <a:gd name="T59" fmla="*/ 50 h 65"/>
                <a:gd name="T60" fmla="*/ 81 w 140"/>
                <a:gd name="T61" fmla="*/ 56 h 65"/>
                <a:gd name="T62" fmla="*/ 82 w 140"/>
                <a:gd name="T63" fmla="*/ 53 h 65"/>
                <a:gd name="T64" fmla="*/ 95 w 140"/>
                <a:gd name="T65" fmla="*/ 59 h 65"/>
                <a:gd name="T66" fmla="*/ 85 w 140"/>
                <a:gd name="T67" fmla="*/ 59 h 65"/>
                <a:gd name="T68" fmla="*/ 95 w 140"/>
                <a:gd name="T69" fmla="*/ 62 h 65"/>
                <a:gd name="T70" fmla="*/ 110 w 140"/>
                <a:gd name="T71" fmla="*/ 61 h 65"/>
                <a:gd name="T72" fmla="*/ 103 w 140"/>
                <a:gd name="T73" fmla="*/ 61 h 65"/>
                <a:gd name="T74" fmla="*/ 100 w 140"/>
                <a:gd name="T75" fmla="*/ 61 h 65"/>
                <a:gd name="T76" fmla="*/ 100 w 140"/>
                <a:gd name="T77" fmla="*/ 64 h 65"/>
                <a:gd name="T78" fmla="*/ 103 w 140"/>
                <a:gd name="T79" fmla="*/ 64 h 65"/>
                <a:gd name="T80" fmla="*/ 110 w 140"/>
                <a:gd name="T81" fmla="*/ 61 h 65"/>
                <a:gd name="T82" fmla="*/ 126 w 140"/>
                <a:gd name="T83" fmla="*/ 62 h 65"/>
                <a:gd name="T84" fmla="*/ 116 w 140"/>
                <a:gd name="T85" fmla="*/ 64 h 65"/>
                <a:gd name="T86" fmla="*/ 126 w 140"/>
                <a:gd name="T87" fmla="*/ 65 h 65"/>
                <a:gd name="T88" fmla="*/ 134 w 140"/>
                <a:gd name="T89" fmla="*/ 55 h 65"/>
                <a:gd name="T90" fmla="*/ 132 w 140"/>
                <a:gd name="T91" fmla="*/ 61 h 65"/>
                <a:gd name="T92" fmla="*/ 132 w 140"/>
                <a:gd name="T93" fmla="*/ 62 h 65"/>
                <a:gd name="T94" fmla="*/ 132 w 140"/>
                <a:gd name="T95" fmla="*/ 62 h 65"/>
                <a:gd name="T96" fmla="*/ 130 w 140"/>
                <a:gd name="T97" fmla="*/ 62 h 65"/>
                <a:gd name="T98" fmla="*/ 132 w 140"/>
                <a:gd name="T99" fmla="*/ 62 h 65"/>
                <a:gd name="T100" fmla="*/ 130 w 140"/>
                <a:gd name="T101" fmla="*/ 65 h 65"/>
                <a:gd name="T102" fmla="*/ 132 w 140"/>
                <a:gd name="T103" fmla="*/ 65 h 65"/>
                <a:gd name="T104" fmla="*/ 133 w 140"/>
                <a:gd name="T105" fmla="*/ 64 h 65"/>
                <a:gd name="T106" fmla="*/ 134 w 140"/>
                <a:gd name="T107" fmla="*/ 55 h 65"/>
                <a:gd name="T108" fmla="*/ 137 w 140"/>
                <a:gd name="T109" fmla="*/ 40 h 65"/>
                <a:gd name="T110" fmla="*/ 137 w 140"/>
                <a:gd name="T111" fmla="*/ 50 h 65"/>
                <a:gd name="T112" fmla="*/ 140 w 140"/>
                <a:gd name="T113" fmla="*/ 4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0" h="65">
                  <a:moveTo>
                    <a:pt x="6" y="4"/>
                  </a:moveTo>
                  <a:lnTo>
                    <a:pt x="6" y="4"/>
                  </a:lnTo>
                  <a:lnTo>
                    <a:pt x="7" y="1"/>
                  </a:lnTo>
                  <a:lnTo>
                    <a:pt x="4" y="0"/>
                  </a:lnTo>
                  <a:lnTo>
                    <a:pt x="4" y="0"/>
                  </a:lnTo>
                  <a:lnTo>
                    <a:pt x="3" y="4"/>
                  </a:lnTo>
                  <a:lnTo>
                    <a:pt x="6" y="4"/>
                  </a:lnTo>
                  <a:close/>
                  <a:moveTo>
                    <a:pt x="3" y="19"/>
                  </a:moveTo>
                  <a:lnTo>
                    <a:pt x="3" y="19"/>
                  </a:lnTo>
                  <a:lnTo>
                    <a:pt x="4" y="10"/>
                  </a:lnTo>
                  <a:lnTo>
                    <a:pt x="1" y="8"/>
                  </a:lnTo>
                  <a:lnTo>
                    <a:pt x="1" y="8"/>
                  </a:lnTo>
                  <a:lnTo>
                    <a:pt x="0" y="19"/>
                  </a:lnTo>
                  <a:lnTo>
                    <a:pt x="3" y="19"/>
                  </a:lnTo>
                  <a:close/>
                  <a:moveTo>
                    <a:pt x="11" y="27"/>
                  </a:moveTo>
                  <a:lnTo>
                    <a:pt x="11" y="27"/>
                  </a:lnTo>
                  <a:lnTo>
                    <a:pt x="4" y="23"/>
                  </a:lnTo>
                  <a:lnTo>
                    <a:pt x="1" y="24"/>
                  </a:lnTo>
                  <a:lnTo>
                    <a:pt x="1" y="24"/>
                  </a:lnTo>
                  <a:lnTo>
                    <a:pt x="11" y="30"/>
                  </a:lnTo>
                  <a:lnTo>
                    <a:pt x="11" y="27"/>
                  </a:lnTo>
                  <a:close/>
                  <a:moveTo>
                    <a:pt x="26" y="35"/>
                  </a:moveTo>
                  <a:lnTo>
                    <a:pt x="26" y="35"/>
                  </a:lnTo>
                  <a:lnTo>
                    <a:pt x="16" y="30"/>
                  </a:lnTo>
                  <a:lnTo>
                    <a:pt x="16" y="32"/>
                  </a:lnTo>
                  <a:lnTo>
                    <a:pt x="16" y="32"/>
                  </a:lnTo>
                  <a:lnTo>
                    <a:pt x="24" y="37"/>
                  </a:lnTo>
                  <a:lnTo>
                    <a:pt x="26" y="35"/>
                  </a:lnTo>
                  <a:close/>
                  <a:moveTo>
                    <a:pt x="39" y="40"/>
                  </a:moveTo>
                  <a:lnTo>
                    <a:pt x="39" y="40"/>
                  </a:lnTo>
                  <a:lnTo>
                    <a:pt x="30" y="37"/>
                  </a:lnTo>
                  <a:lnTo>
                    <a:pt x="29" y="39"/>
                  </a:lnTo>
                  <a:lnTo>
                    <a:pt x="29" y="39"/>
                  </a:lnTo>
                  <a:lnTo>
                    <a:pt x="39" y="43"/>
                  </a:lnTo>
                  <a:lnTo>
                    <a:pt x="39" y="40"/>
                  </a:lnTo>
                  <a:close/>
                  <a:moveTo>
                    <a:pt x="53" y="45"/>
                  </a:moveTo>
                  <a:lnTo>
                    <a:pt x="53" y="45"/>
                  </a:lnTo>
                  <a:lnTo>
                    <a:pt x="43" y="42"/>
                  </a:lnTo>
                  <a:lnTo>
                    <a:pt x="43" y="45"/>
                  </a:lnTo>
                  <a:lnTo>
                    <a:pt x="43" y="45"/>
                  </a:lnTo>
                  <a:lnTo>
                    <a:pt x="53" y="48"/>
                  </a:lnTo>
                  <a:lnTo>
                    <a:pt x="53" y="45"/>
                  </a:lnTo>
                  <a:close/>
                  <a:moveTo>
                    <a:pt x="68" y="46"/>
                  </a:moveTo>
                  <a:lnTo>
                    <a:pt x="68" y="46"/>
                  </a:lnTo>
                  <a:lnTo>
                    <a:pt x="68" y="46"/>
                  </a:lnTo>
                  <a:lnTo>
                    <a:pt x="61" y="46"/>
                  </a:lnTo>
                  <a:lnTo>
                    <a:pt x="61" y="46"/>
                  </a:lnTo>
                  <a:lnTo>
                    <a:pt x="59" y="46"/>
                  </a:lnTo>
                  <a:lnTo>
                    <a:pt x="58" y="49"/>
                  </a:lnTo>
                  <a:lnTo>
                    <a:pt x="58" y="49"/>
                  </a:lnTo>
                  <a:lnTo>
                    <a:pt x="61" y="49"/>
                  </a:lnTo>
                  <a:lnTo>
                    <a:pt x="61" y="49"/>
                  </a:lnTo>
                  <a:lnTo>
                    <a:pt x="68" y="49"/>
                  </a:lnTo>
                  <a:lnTo>
                    <a:pt x="68" y="49"/>
                  </a:lnTo>
                  <a:lnTo>
                    <a:pt x="68" y="46"/>
                  </a:lnTo>
                  <a:close/>
                  <a:moveTo>
                    <a:pt x="82" y="53"/>
                  </a:moveTo>
                  <a:lnTo>
                    <a:pt x="82" y="53"/>
                  </a:lnTo>
                  <a:lnTo>
                    <a:pt x="82" y="53"/>
                  </a:lnTo>
                  <a:lnTo>
                    <a:pt x="74" y="48"/>
                  </a:lnTo>
                  <a:lnTo>
                    <a:pt x="72" y="50"/>
                  </a:lnTo>
                  <a:lnTo>
                    <a:pt x="72" y="50"/>
                  </a:lnTo>
                  <a:lnTo>
                    <a:pt x="81" y="56"/>
                  </a:lnTo>
                  <a:lnTo>
                    <a:pt x="81" y="56"/>
                  </a:lnTo>
                  <a:lnTo>
                    <a:pt x="82" y="53"/>
                  </a:lnTo>
                  <a:close/>
                  <a:moveTo>
                    <a:pt x="95" y="59"/>
                  </a:moveTo>
                  <a:lnTo>
                    <a:pt x="95" y="59"/>
                  </a:lnTo>
                  <a:lnTo>
                    <a:pt x="87" y="56"/>
                  </a:lnTo>
                  <a:lnTo>
                    <a:pt x="85" y="59"/>
                  </a:lnTo>
                  <a:lnTo>
                    <a:pt x="85" y="59"/>
                  </a:lnTo>
                  <a:lnTo>
                    <a:pt x="95" y="62"/>
                  </a:lnTo>
                  <a:lnTo>
                    <a:pt x="95" y="59"/>
                  </a:lnTo>
                  <a:close/>
                  <a:moveTo>
                    <a:pt x="110" y="61"/>
                  </a:moveTo>
                  <a:lnTo>
                    <a:pt x="110" y="61"/>
                  </a:lnTo>
                  <a:lnTo>
                    <a:pt x="103" y="61"/>
                  </a:lnTo>
                  <a:lnTo>
                    <a:pt x="103" y="61"/>
                  </a:lnTo>
                  <a:lnTo>
                    <a:pt x="100" y="61"/>
                  </a:lnTo>
                  <a:lnTo>
                    <a:pt x="100" y="64"/>
                  </a:lnTo>
                  <a:lnTo>
                    <a:pt x="100" y="64"/>
                  </a:lnTo>
                  <a:lnTo>
                    <a:pt x="103" y="64"/>
                  </a:lnTo>
                  <a:lnTo>
                    <a:pt x="103" y="64"/>
                  </a:lnTo>
                  <a:lnTo>
                    <a:pt x="110" y="64"/>
                  </a:lnTo>
                  <a:lnTo>
                    <a:pt x="110" y="61"/>
                  </a:lnTo>
                  <a:close/>
                  <a:moveTo>
                    <a:pt x="126" y="62"/>
                  </a:moveTo>
                  <a:lnTo>
                    <a:pt x="126" y="62"/>
                  </a:lnTo>
                  <a:lnTo>
                    <a:pt x="116" y="61"/>
                  </a:lnTo>
                  <a:lnTo>
                    <a:pt x="116" y="64"/>
                  </a:lnTo>
                  <a:lnTo>
                    <a:pt x="116" y="64"/>
                  </a:lnTo>
                  <a:lnTo>
                    <a:pt x="126" y="65"/>
                  </a:lnTo>
                  <a:lnTo>
                    <a:pt x="126" y="62"/>
                  </a:lnTo>
                  <a:close/>
                  <a:moveTo>
                    <a:pt x="134" y="55"/>
                  </a:moveTo>
                  <a:lnTo>
                    <a:pt x="134" y="55"/>
                  </a:lnTo>
                  <a:lnTo>
                    <a:pt x="132" y="61"/>
                  </a:lnTo>
                  <a:lnTo>
                    <a:pt x="132" y="61"/>
                  </a:lnTo>
                  <a:lnTo>
                    <a:pt x="132" y="62"/>
                  </a:lnTo>
                  <a:lnTo>
                    <a:pt x="130" y="62"/>
                  </a:lnTo>
                  <a:lnTo>
                    <a:pt x="132" y="62"/>
                  </a:lnTo>
                  <a:lnTo>
                    <a:pt x="132" y="62"/>
                  </a:lnTo>
                  <a:lnTo>
                    <a:pt x="130" y="62"/>
                  </a:lnTo>
                  <a:lnTo>
                    <a:pt x="132" y="62"/>
                  </a:lnTo>
                  <a:lnTo>
                    <a:pt x="132" y="62"/>
                  </a:lnTo>
                  <a:lnTo>
                    <a:pt x="130" y="62"/>
                  </a:lnTo>
                  <a:lnTo>
                    <a:pt x="130" y="65"/>
                  </a:lnTo>
                  <a:lnTo>
                    <a:pt x="132" y="65"/>
                  </a:lnTo>
                  <a:lnTo>
                    <a:pt x="132" y="65"/>
                  </a:lnTo>
                  <a:lnTo>
                    <a:pt x="133" y="64"/>
                  </a:lnTo>
                  <a:lnTo>
                    <a:pt x="133" y="64"/>
                  </a:lnTo>
                  <a:lnTo>
                    <a:pt x="136" y="55"/>
                  </a:lnTo>
                  <a:lnTo>
                    <a:pt x="134" y="55"/>
                  </a:lnTo>
                  <a:close/>
                  <a:moveTo>
                    <a:pt x="137" y="40"/>
                  </a:moveTo>
                  <a:lnTo>
                    <a:pt x="137" y="40"/>
                  </a:lnTo>
                  <a:lnTo>
                    <a:pt x="136" y="49"/>
                  </a:lnTo>
                  <a:lnTo>
                    <a:pt x="137" y="50"/>
                  </a:lnTo>
                  <a:lnTo>
                    <a:pt x="137" y="50"/>
                  </a:lnTo>
                  <a:lnTo>
                    <a:pt x="140" y="40"/>
                  </a:lnTo>
                  <a:lnTo>
                    <a:pt x="137"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02" name="Freeform 1727"/>
            <p:cNvSpPr>
              <a:spLocks noEditPoints="1"/>
            </p:cNvSpPr>
            <p:nvPr/>
          </p:nvSpPr>
          <p:spPr bwMode="auto">
            <a:xfrm>
              <a:off x="6005513" y="3656013"/>
              <a:ext cx="211138" cy="47625"/>
            </a:xfrm>
            <a:custGeom>
              <a:avLst/>
              <a:gdLst>
                <a:gd name="T0" fmla="*/ 3 w 133"/>
                <a:gd name="T1" fmla="*/ 19 h 30"/>
                <a:gd name="T2" fmla="*/ 0 w 133"/>
                <a:gd name="T3" fmla="*/ 22 h 30"/>
                <a:gd name="T4" fmla="*/ 3 w 133"/>
                <a:gd name="T5" fmla="*/ 22 h 30"/>
                <a:gd name="T6" fmla="*/ 17 w 133"/>
                <a:gd name="T7" fmla="*/ 17 h 30"/>
                <a:gd name="T8" fmla="*/ 16 w 133"/>
                <a:gd name="T9" fmla="*/ 17 h 30"/>
                <a:gd name="T10" fmla="*/ 7 w 133"/>
                <a:gd name="T11" fmla="*/ 22 h 30"/>
                <a:gd name="T12" fmla="*/ 16 w 133"/>
                <a:gd name="T13" fmla="*/ 20 h 30"/>
                <a:gd name="T14" fmla="*/ 17 w 133"/>
                <a:gd name="T15" fmla="*/ 17 h 30"/>
                <a:gd name="T16" fmla="*/ 30 w 133"/>
                <a:gd name="T17" fmla="*/ 23 h 30"/>
                <a:gd name="T18" fmla="*/ 26 w 133"/>
                <a:gd name="T19" fmla="*/ 22 h 30"/>
                <a:gd name="T20" fmla="*/ 22 w 133"/>
                <a:gd name="T21" fmla="*/ 22 h 30"/>
                <a:gd name="T22" fmla="*/ 26 w 133"/>
                <a:gd name="T23" fmla="*/ 25 h 30"/>
                <a:gd name="T24" fmla="*/ 32 w 133"/>
                <a:gd name="T25" fmla="*/ 26 h 30"/>
                <a:gd name="T26" fmla="*/ 45 w 133"/>
                <a:gd name="T27" fmla="*/ 20 h 30"/>
                <a:gd name="T28" fmla="*/ 42 w 133"/>
                <a:gd name="T29" fmla="*/ 20 h 30"/>
                <a:gd name="T30" fmla="*/ 38 w 133"/>
                <a:gd name="T31" fmla="*/ 22 h 30"/>
                <a:gd name="T32" fmla="*/ 38 w 133"/>
                <a:gd name="T33" fmla="*/ 26 h 30"/>
                <a:gd name="T34" fmla="*/ 39 w 133"/>
                <a:gd name="T35" fmla="*/ 25 h 30"/>
                <a:gd name="T36" fmla="*/ 42 w 133"/>
                <a:gd name="T37" fmla="*/ 23 h 30"/>
                <a:gd name="T38" fmla="*/ 45 w 133"/>
                <a:gd name="T39" fmla="*/ 20 h 30"/>
                <a:gd name="T40" fmla="*/ 59 w 133"/>
                <a:gd name="T41" fmla="*/ 19 h 30"/>
                <a:gd name="T42" fmla="*/ 51 w 133"/>
                <a:gd name="T43" fmla="*/ 19 h 30"/>
                <a:gd name="T44" fmla="*/ 51 w 133"/>
                <a:gd name="T45" fmla="*/ 22 h 30"/>
                <a:gd name="T46" fmla="*/ 61 w 133"/>
                <a:gd name="T47" fmla="*/ 20 h 30"/>
                <a:gd name="T48" fmla="*/ 68 w 133"/>
                <a:gd name="T49" fmla="*/ 6 h 30"/>
                <a:gd name="T50" fmla="*/ 64 w 133"/>
                <a:gd name="T51" fmla="*/ 9 h 30"/>
                <a:gd name="T52" fmla="*/ 62 w 133"/>
                <a:gd name="T53" fmla="*/ 14 h 30"/>
                <a:gd name="T54" fmla="*/ 65 w 133"/>
                <a:gd name="T55" fmla="*/ 16 h 30"/>
                <a:gd name="T56" fmla="*/ 67 w 133"/>
                <a:gd name="T57" fmla="*/ 10 h 30"/>
                <a:gd name="T58" fmla="*/ 68 w 133"/>
                <a:gd name="T59" fmla="*/ 6 h 30"/>
                <a:gd name="T60" fmla="*/ 83 w 133"/>
                <a:gd name="T61" fmla="*/ 0 h 30"/>
                <a:gd name="T62" fmla="*/ 78 w 133"/>
                <a:gd name="T63" fmla="*/ 1 h 30"/>
                <a:gd name="T64" fmla="*/ 74 w 133"/>
                <a:gd name="T65" fmla="*/ 6 h 30"/>
                <a:gd name="T66" fmla="*/ 78 w 133"/>
                <a:gd name="T67" fmla="*/ 4 h 30"/>
                <a:gd name="T68" fmla="*/ 83 w 133"/>
                <a:gd name="T69" fmla="*/ 3 h 30"/>
                <a:gd name="T70" fmla="*/ 87 w 133"/>
                <a:gd name="T71" fmla="*/ 16 h 30"/>
                <a:gd name="T72" fmla="*/ 87 w 133"/>
                <a:gd name="T73" fmla="*/ 12 h 30"/>
                <a:gd name="T74" fmla="*/ 87 w 133"/>
                <a:gd name="T75" fmla="*/ 6 h 30"/>
                <a:gd name="T76" fmla="*/ 84 w 133"/>
                <a:gd name="T77" fmla="*/ 6 h 30"/>
                <a:gd name="T78" fmla="*/ 84 w 133"/>
                <a:gd name="T79" fmla="*/ 12 h 30"/>
                <a:gd name="T80" fmla="*/ 87 w 133"/>
                <a:gd name="T81" fmla="*/ 16 h 30"/>
                <a:gd name="T82" fmla="*/ 88 w 133"/>
                <a:gd name="T83" fmla="*/ 28 h 30"/>
                <a:gd name="T84" fmla="*/ 87 w 133"/>
                <a:gd name="T85" fmla="*/ 28 h 30"/>
                <a:gd name="T86" fmla="*/ 85 w 133"/>
                <a:gd name="T87" fmla="*/ 26 h 30"/>
                <a:gd name="T88" fmla="*/ 84 w 133"/>
                <a:gd name="T89" fmla="*/ 20 h 30"/>
                <a:gd name="T90" fmla="*/ 84 w 133"/>
                <a:gd name="T91" fmla="*/ 26 h 30"/>
                <a:gd name="T92" fmla="*/ 85 w 133"/>
                <a:gd name="T93" fmla="*/ 29 h 30"/>
                <a:gd name="T94" fmla="*/ 88 w 133"/>
                <a:gd name="T95" fmla="*/ 30 h 30"/>
                <a:gd name="T96" fmla="*/ 103 w 133"/>
                <a:gd name="T97" fmla="*/ 26 h 30"/>
                <a:gd name="T98" fmla="*/ 97 w 133"/>
                <a:gd name="T99" fmla="*/ 28 h 30"/>
                <a:gd name="T100" fmla="*/ 93 w 133"/>
                <a:gd name="T101" fmla="*/ 28 h 30"/>
                <a:gd name="T102" fmla="*/ 93 w 133"/>
                <a:gd name="T103" fmla="*/ 30 h 30"/>
                <a:gd name="T104" fmla="*/ 97 w 133"/>
                <a:gd name="T105" fmla="*/ 29 h 30"/>
                <a:gd name="T106" fmla="*/ 103 w 133"/>
                <a:gd name="T107" fmla="*/ 26 h 30"/>
                <a:gd name="T108" fmla="*/ 117 w 133"/>
                <a:gd name="T109" fmla="*/ 23 h 30"/>
                <a:gd name="T110" fmla="*/ 116 w 133"/>
                <a:gd name="T111" fmla="*/ 23 h 30"/>
                <a:gd name="T112" fmla="*/ 109 w 133"/>
                <a:gd name="T113" fmla="*/ 28 h 30"/>
                <a:gd name="T114" fmla="*/ 116 w 133"/>
                <a:gd name="T115" fmla="*/ 26 h 30"/>
                <a:gd name="T116" fmla="*/ 117 w 133"/>
                <a:gd name="T117" fmla="*/ 25 h 30"/>
                <a:gd name="T118" fmla="*/ 133 w 133"/>
                <a:gd name="T119" fmla="*/ 22 h 30"/>
                <a:gd name="T120" fmla="*/ 123 w 133"/>
                <a:gd name="T121" fmla="*/ 23 h 30"/>
                <a:gd name="T122" fmla="*/ 123 w 133"/>
                <a:gd name="T123" fmla="*/ 25 h 30"/>
                <a:gd name="T124" fmla="*/ 133 w 133"/>
                <a:gd name="T125" fmla="*/ 2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3" h="30">
                  <a:moveTo>
                    <a:pt x="3" y="19"/>
                  </a:moveTo>
                  <a:lnTo>
                    <a:pt x="3" y="19"/>
                  </a:lnTo>
                  <a:lnTo>
                    <a:pt x="0" y="19"/>
                  </a:lnTo>
                  <a:lnTo>
                    <a:pt x="0" y="22"/>
                  </a:lnTo>
                  <a:lnTo>
                    <a:pt x="0" y="22"/>
                  </a:lnTo>
                  <a:lnTo>
                    <a:pt x="3" y="22"/>
                  </a:lnTo>
                  <a:lnTo>
                    <a:pt x="3" y="19"/>
                  </a:lnTo>
                  <a:close/>
                  <a:moveTo>
                    <a:pt x="17" y="17"/>
                  </a:moveTo>
                  <a:lnTo>
                    <a:pt x="16" y="17"/>
                  </a:lnTo>
                  <a:lnTo>
                    <a:pt x="16" y="17"/>
                  </a:lnTo>
                  <a:lnTo>
                    <a:pt x="7" y="19"/>
                  </a:lnTo>
                  <a:lnTo>
                    <a:pt x="7" y="22"/>
                  </a:lnTo>
                  <a:lnTo>
                    <a:pt x="7" y="22"/>
                  </a:lnTo>
                  <a:lnTo>
                    <a:pt x="16" y="20"/>
                  </a:lnTo>
                  <a:lnTo>
                    <a:pt x="17" y="20"/>
                  </a:lnTo>
                  <a:lnTo>
                    <a:pt x="17" y="17"/>
                  </a:lnTo>
                  <a:close/>
                  <a:moveTo>
                    <a:pt x="32" y="23"/>
                  </a:moveTo>
                  <a:lnTo>
                    <a:pt x="30" y="23"/>
                  </a:lnTo>
                  <a:lnTo>
                    <a:pt x="30" y="23"/>
                  </a:lnTo>
                  <a:lnTo>
                    <a:pt x="26" y="22"/>
                  </a:lnTo>
                  <a:lnTo>
                    <a:pt x="23" y="20"/>
                  </a:lnTo>
                  <a:lnTo>
                    <a:pt x="22" y="22"/>
                  </a:lnTo>
                  <a:lnTo>
                    <a:pt x="22" y="22"/>
                  </a:lnTo>
                  <a:lnTo>
                    <a:pt x="26" y="25"/>
                  </a:lnTo>
                  <a:lnTo>
                    <a:pt x="30" y="26"/>
                  </a:lnTo>
                  <a:lnTo>
                    <a:pt x="32" y="26"/>
                  </a:lnTo>
                  <a:lnTo>
                    <a:pt x="32" y="23"/>
                  </a:lnTo>
                  <a:close/>
                  <a:moveTo>
                    <a:pt x="45" y="20"/>
                  </a:moveTo>
                  <a:lnTo>
                    <a:pt x="45" y="20"/>
                  </a:lnTo>
                  <a:lnTo>
                    <a:pt x="42" y="20"/>
                  </a:lnTo>
                  <a:lnTo>
                    <a:pt x="42" y="20"/>
                  </a:lnTo>
                  <a:lnTo>
                    <a:pt x="38" y="22"/>
                  </a:lnTo>
                  <a:lnTo>
                    <a:pt x="36" y="23"/>
                  </a:lnTo>
                  <a:lnTo>
                    <a:pt x="38" y="26"/>
                  </a:lnTo>
                  <a:lnTo>
                    <a:pt x="38" y="26"/>
                  </a:lnTo>
                  <a:lnTo>
                    <a:pt x="39" y="25"/>
                  </a:lnTo>
                  <a:lnTo>
                    <a:pt x="42" y="23"/>
                  </a:lnTo>
                  <a:lnTo>
                    <a:pt x="42" y="23"/>
                  </a:lnTo>
                  <a:lnTo>
                    <a:pt x="46" y="22"/>
                  </a:lnTo>
                  <a:lnTo>
                    <a:pt x="45" y="20"/>
                  </a:lnTo>
                  <a:close/>
                  <a:moveTo>
                    <a:pt x="61" y="17"/>
                  </a:moveTo>
                  <a:lnTo>
                    <a:pt x="59" y="19"/>
                  </a:lnTo>
                  <a:lnTo>
                    <a:pt x="59" y="19"/>
                  </a:lnTo>
                  <a:lnTo>
                    <a:pt x="51" y="19"/>
                  </a:lnTo>
                  <a:lnTo>
                    <a:pt x="51" y="22"/>
                  </a:lnTo>
                  <a:lnTo>
                    <a:pt x="51" y="22"/>
                  </a:lnTo>
                  <a:lnTo>
                    <a:pt x="61" y="20"/>
                  </a:lnTo>
                  <a:lnTo>
                    <a:pt x="61" y="20"/>
                  </a:lnTo>
                  <a:lnTo>
                    <a:pt x="61" y="17"/>
                  </a:lnTo>
                  <a:close/>
                  <a:moveTo>
                    <a:pt x="68" y="6"/>
                  </a:moveTo>
                  <a:lnTo>
                    <a:pt x="68" y="6"/>
                  </a:lnTo>
                  <a:lnTo>
                    <a:pt x="64" y="9"/>
                  </a:lnTo>
                  <a:lnTo>
                    <a:pt x="64" y="9"/>
                  </a:lnTo>
                  <a:lnTo>
                    <a:pt x="62" y="14"/>
                  </a:lnTo>
                  <a:lnTo>
                    <a:pt x="65" y="16"/>
                  </a:lnTo>
                  <a:lnTo>
                    <a:pt x="65" y="16"/>
                  </a:lnTo>
                  <a:lnTo>
                    <a:pt x="67" y="10"/>
                  </a:lnTo>
                  <a:lnTo>
                    <a:pt x="67" y="10"/>
                  </a:lnTo>
                  <a:lnTo>
                    <a:pt x="70" y="7"/>
                  </a:lnTo>
                  <a:lnTo>
                    <a:pt x="68" y="6"/>
                  </a:lnTo>
                  <a:close/>
                  <a:moveTo>
                    <a:pt x="83" y="0"/>
                  </a:moveTo>
                  <a:lnTo>
                    <a:pt x="83" y="0"/>
                  </a:lnTo>
                  <a:lnTo>
                    <a:pt x="83" y="0"/>
                  </a:lnTo>
                  <a:lnTo>
                    <a:pt x="78" y="1"/>
                  </a:lnTo>
                  <a:lnTo>
                    <a:pt x="72" y="3"/>
                  </a:lnTo>
                  <a:lnTo>
                    <a:pt x="74" y="6"/>
                  </a:lnTo>
                  <a:lnTo>
                    <a:pt x="74" y="6"/>
                  </a:lnTo>
                  <a:lnTo>
                    <a:pt x="78" y="4"/>
                  </a:lnTo>
                  <a:lnTo>
                    <a:pt x="83" y="3"/>
                  </a:lnTo>
                  <a:lnTo>
                    <a:pt x="83" y="3"/>
                  </a:lnTo>
                  <a:lnTo>
                    <a:pt x="83" y="0"/>
                  </a:lnTo>
                  <a:close/>
                  <a:moveTo>
                    <a:pt x="87" y="16"/>
                  </a:moveTo>
                  <a:lnTo>
                    <a:pt x="87" y="16"/>
                  </a:lnTo>
                  <a:lnTo>
                    <a:pt x="87" y="12"/>
                  </a:lnTo>
                  <a:lnTo>
                    <a:pt x="87" y="12"/>
                  </a:lnTo>
                  <a:lnTo>
                    <a:pt x="87" y="6"/>
                  </a:lnTo>
                  <a:lnTo>
                    <a:pt x="84" y="6"/>
                  </a:lnTo>
                  <a:lnTo>
                    <a:pt x="84" y="6"/>
                  </a:lnTo>
                  <a:lnTo>
                    <a:pt x="84" y="12"/>
                  </a:lnTo>
                  <a:lnTo>
                    <a:pt x="84" y="12"/>
                  </a:lnTo>
                  <a:lnTo>
                    <a:pt x="84" y="16"/>
                  </a:lnTo>
                  <a:lnTo>
                    <a:pt x="87" y="16"/>
                  </a:lnTo>
                  <a:close/>
                  <a:moveTo>
                    <a:pt x="88" y="28"/>
                  </a:moveTo>
                  <a:lnTo>
                    <a:pt x="88" y="28"/>
                  </a:lnTo>
                  <a:lnTo>
                    <a:pt x="87" y="28"/>
                  </a:lnTo>
                  <a:lnTo>
                    <a:pt x="87" y="28"/>
                  </a:lnTo>
                  <a:lnTo>
                    <a:pt x="85" y="26"/>
                  </a:lnTo>
                  <a:lnTo>
                    <a:pt x="85" y="26"/>
                  </a:lnTo>
                  <a:lnTo>
                    <a:pt x="87" y="22"/>
                  </a:lnTo>
                  <a:lnTo>
                    <a:pt x="84" y="20"/>
                  </a:lnTo>
                  <a:lnTo>
                    <a:pt x="84" y="20"/>
                  </a:lnTo>
                  <a:lnTo>
                    <a:pt x="84" y="26"/>
                  </a:lnTo>
                  <a:lnTo>
                    <a:pt x="84" y="26"/>
                  </a:lnTo>
                  <a:lnTo>
                    <a:pt x="85" y="29"/>
                  </a:lnTo>
                  <a:lnTo>
                    <a:pt x="85" y="29"/>
                  </a:lnTo>
                  <a:lnTo>
                    <a:pt x="88" y="30"/>
                  </a:lnTo>
                  <a:lnTo>
                    <a:pt x="88" y="28"/>
                  </a:lnTo>
                  <a:close/>
                  <a:moveTo>
                    <a:pt x="103" y="26"/>
                  </a:moveTo>
                  <a:lnTo>
                    <a:pt x="103" y="26"/>
                  </a:lnTo>
                  <a:lnTo>
                    <a:pt x="97" y="28"/>
                  </a:lnTo>
                  <a:lnTo>
                    <a:pt x="97" y="28"/>
                  </a:lnTo>
                  <a:lnTo>
                    <a:pt x="93" y="28"/>
                  </a:lnTo>
                  <a:lnTo>
                    <a:pt x="93" y="30"/>
                  </a:lnTo>
                  <a:lnTo>
                    <a:pt x="93" y="30"/>
                  </a:lnTo>
                  <a:lnTo>
                    <a:pt x="97" y="29"/>
                  </a:lnTo>
                  <a:lnTo>
                    <a:pt x="97" y="29"/>
                  </a:lnTo>
                  <a:lnTo>
                    <a:pt x="103" y="29"/>
                  </a:lnTo>
                  <a:lnTo>
                    <a:pt x="103" y="26"/>
                  </a:lnTo>
                  <a:close/>
                  <a:moveTo>
                    <a:pt x="117" y="23"/>
                  </a:moveTo>
                  <a:lnTo>
                    <a:pt x="117" y="23"/>
                  </a:lnTo>
                  <a:lnTo>
                    <a:pt x="116" y="23"/>
                  </a:lnTo>
                  <a:lnTo>
                    <a:pt x="116" y="23"/>
                  </a:lnTo>
                  <a:lnTo>
                    <a:pt x="107" y="25"/>
                  </a:lnTo>
                  <a:lnTo>
                    <a:pt x="109" y="28"/>
                  </a:lnTo>
                  <a:lnTo>
                    <a:pt x="109" y="28"/>
                  </a:lnTo>
                  <a:lnTo>
                    <a:pt x="116" y="26"/>
                  </a:lnTo>
                  <a:lnTo>
                    <a:pt x="116" y="26"/>
                  </a:lnTo>
                  <a:lnTo>
                    <a:pt x="117" y="25"/>
                  </a:lnTo>
                  <a:lnTo>
                    <a:pt x="117" y="23"/>
                  </a:lnTo>
                  <a:close/>
                  <a:moveTo>
                    <a:pt x="133" y="22"/>
                  </a:moveTo>
                  <a:lnTo>
                    <a:pt x="133" y="22"/>
                  </a:lnTo>
                  <a:lnTo>
                    <a:pt x="123" y="23"/>
                  </a:lnTo>
                  <a:lnTo>
                    <a:pt x="123" y="25"/>
                  </a:lnTo>
                  <a:lnTo>
                    <a:pt x="123" y="25"/>
                  </a:lnTo>
                  <a:lnTo>
                    <a:pt x="133" y="25"/>
                  </a:lnTo>
                  <a:lnTo>
                    <a:pt x="133"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03" name="Freeform 1730"/>
            <p:cNvSpPr>
              <a:spLocks noEditPoints="1"/>
            </p:cNvSpPr>
            <p:nvPr/>
          </p:nvSpPr>
          <p:spPr bwMode="auto">
            <a:xfrm>
              <a:off x="6145213" y="3603626"/>
              <a:ext cx="53975" cy="31750"/>
            </a:xfrm>
            <a:custGeom>
              <a:avLst/>
              <a:gdLst>
                <a:gd name="T0" fmla="*/ 6 w 34"/>
                <a:gd name="T1" fmla="*/ 4 h 20"/>
                <a:gd name="T2" fmla="*/ 6 w 34"/>
                <a:gd name="T3" fmla="*/ 4 h 20"/>
                <a:gd name="T4" fmla="*/ 8 w 34"/>
                <a:gd name="T5" fmla="*/ 1 h 20"/>
                <a:gd name="T6" fmla="*/ 5 w 34"/>
                <a:gd name="T7" fmla="*/ 0 h 20"/>
                <a:gd name="T8" fmla="*/ 5 w 34"/>
                <a:gd name="T9" fmla="*/ 0 h 20"/>
                <a:gd name="T10" fmla="*/ 3 w 34"/>
                <a:gd name="T11" fmla="*/ 3 h 20"/>
                <a:gd name="T12" fmla="*/ 6 w 34"/>
                <a:gd name="T13" fmla="*/ 4 h 20"/>
                <a:gd name="T14" fmla="*/ 5 w 34"/>
                <a:gd name="T15" fmla="*/ 16 h 20"/>
                <a:gd name="T16" fmla="*/ 5 w 34"/>
                <a:gd name="T17" fmla="*/ 16 h 20"/>
                <a:gd name="T18" fmla="*/ 3 w 34"/>
                <a:gd name="T19" fmla="*/ 16 h 20"/>
                <a:gd name="T20" fmla="*/ 3 w 34"/>
                <a:gd name="T21" fmla="*/ 14 h 20"/>
                <a:gd name="T22" fmla="*/ 3 w 34"/>
                <a:gd name="T23" fmla="*/ 14 h 20"/>
                <a:gd name="T24" fmla="*/ 5 w 34"/>
                <a:gd name="T25" fmla="*/ 8 h 20"/>
                <a:gd name="T26" fmla="*/ 2 w 34"/>
                <a:gd name="T27" fmla="*/ 8 h 20"/>
                <a:gd name="T28" fmla="*/ 2 w 34"/>
                <a:gd name="T29" fmla="*/ 8 h 20"/>
                <a:gd name="T30" fmla="*/ 0 w 34"/>
                <a:gd name="T31" fmla="*/ 14 h 20"/>
                <a:gd name="T32" fmla="*/ 0 w 34"/>
                <a:gd name="T33" fmla="*/ 16 h 20"/>
                <a:gd name="T34" fmla="*/ 0 w 34"/>
                <a:gd name="T35" fmla="*/ 16 h 20"/>
                <a:gd name="T36" fmla="*/ 2 w 34"/>
                <a:gd name="T37" fmla="*/ 17 h 20"/>
                <a:gd name="T38" fmla="*/ 3 w 34"/>
                <a:gd name="T39" fmla="*/ 19 h 20"/>
                <a:gd name="T40" fmla="*/ 5 w 34"/>
                <a:gd name="T41" fmla="*/ 16 h 20"/>
                <a:gd name="T42" fmla="*/ 19 w 34"/>
                <a:gd name="T43" fmla="*/ 16 h 20"/>
                <a:gd name="T44" fmla="*/ 19 w 34"/>
                <a:gd name="T45" fmla="*/ 16 h 20"/>
                <a:gd name="T46" fmla="*/ 9 w 34"/>
                <a:gd name="T47" fmla="*/ 17 h 20"/>
                <a:gd name="T48" fmla="*/ 9 w 34"/>
                <a:gd name="T49" fmla="*/ 17 h 20"/>
                <a:gd name="T50" fmla="*/ 9 w 34"/>
                <a:gd name="T51" fmla="*/ 20 h 20"/>
                <a:gd name="T52" fmla="*/ 9 w 34"/>
                <a:gd name="T53" fmla="*/ 20 h 20"/>
                <a:gd name="T54" fmla="*/ 9 w 34"/>
                <a:gd name="T55" fmla="*/ 20 h 20"/>
                <a:gd name="T56" fmla="*/ 19 w 34"/>
                <a:gd name="T57" fmla="*/ 19 h 20"/>
                <a:gd name="T58" fmla="*/ 19 w 34"/>
                <a:gd name="T59" fmla="*/ 16 h 20"/>
                <a:gd name="T60" fmla="*/ 34 w 34"/>
                <a:gd name="T61" fmla="*/ 13 h 20"/>
                <a:gd name="T62" fmla="*/ 34 w 34"/>
                <a:gd name="T63" fmla="*/ 13 h 20"/>
                <a:gd name="T64" fmla="*/ 24 w 34"/>
                <a:gd name="T65" fmla="*/ 16 h 20"/>
                <a:gd name="T66" fmla="*/ 24 w 34"/>
                <a:gd name="T67" fmla="*/ 17 h 20"/>
                <a:gd name="T68" fmla="*/ 24 w 34"/>
                <a:gd name="T69" fmla="*/ 17 h 20"/>
                <a:gd name="T70" fmla="*/ 34 w 34"/>
                <a:gd name="T71" fmla="*/ 16 h 20"/>
                <a:gd name="T72" fmla="*/ 34 w 34"/>
                <a:gd name="T73"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 h="20">
                  <a:moveTo>
                    <a:pt x="6" y="4"/>
                  </a:moveTo>
                  <a:lnTo>
                    <a:pt x="6" y="4"/>
                  </a:lnTo>
                  <a:lnTo>
                    <a:pt x="8" y="1"/>
                  </a:lnTo>
                  <a:lnTo>
                    <a:pt x="5" y="0"/>
                  </a:lnTo>
                  <a:lnTo>
                    <a:pt x="5" y="0"/>
                  </a:lnTo>
                  <a:lnTo>
                    <a:pt x="3" y="3"/>
                  </a:lnTo>
                  <a:lnTo>
                    <a:pt x="6" y="4"/>
                  </a:lnTo>
                  <a:close/>
                  <a:moveTo>
                    <a:pt x="5" y="16"/>
                  </a:moveTo>
                  <a:lnTo>
                    <a:pt x="5" y="16"/>
                  </a:lnTo>
                  <a:lnTo>
                    <a:pt x="3" y="16"/>
                  </a:lnTo>
                  <a:lnTo>
                    <a:pt x="3" y="14"/>
                  </a:lnTo>
                  <a:lnTo>
                    <a:pt x="3" y="14"/>
                  </a:lnTo>
                  <a:lnTo>
                    <a:pt x="5" y="8"/>
                  </a:lnTo>
                  <a:lnTo>
                    <a:pt x="2" y="8"/>
                  </a:lnTo>
                  <a:lnTo>
                    <a:pt x="2" y="8"/>
                  </a:lnTo>
                  <a:lnTo>
                    <a:pt x="0" y="14"/>
                  </a:lnTo>
                  <a:lnTo>
                    <a:pt x="0" y="16"/>
                  </a:lnTo>
                  <a:lnTo>
                    <a:pt x="0" y="16"/>
                  </a:lnTo>
                  <a:lnTo>
                    <a:pt x="2" y="17"/>
                  </a:lnTo>
                  <a:lnTo>
                    <a:pt x="3" y="19"/>
                  </a:lnTo>
                  <a:lnTo>
                    <a:pt x="5" y="16"/>
                  </a:lnTo>
                  <a:close/>
                  <a:moveTo>
                    <a:pt x="19" y="16"/>
                  </a:moveTo>
                  <a:lnTo>
                    <a:pt x="19" y="16"/>
                  </a:lnTo>
                  <a:lnTo>
                    <a:pt x="9" y="17"/>
                  </a:lnTo>
                  <a:lnTo>
                    <a:pt x="9" y="17"/>
                  </a:lnTo>
                  <a:lnTo>
                    <a:pt x="9" y="20"/>
                  </a:lnTo>
                  <a:lnTo>
                    <a:pt x="9" y="20"/>
                  </a:lnTo>
                  <a:lnTo>
                    <a:pt x="9" y="20"/>
                  </a:lnTo>
                  <a:lnTo>
                    <a:pt x="19" y="19"/>
                  </a:lnTo>
                  <a:lnTo>
                    <a:pt x="19" y="16"/>
                  </a:lnTo>
                  <a:close/>
                  <a:moveTo>
                    <a:pt x="34" y="13"/>
                  </a:moveTo>
                  <a:lnTo>
                    <a:pt x="34" y="13"/>
                  </a:lnTo>
                  <a:lnTo>
                    <a:pt x="24" y="16"/>
                  </a:lnTo>
                  <a:lnTo>
                    <a:pt x="24" y="17"/>
                  </a:lnTo>
                  <a:lnTo>
                    <a:pt x="24" y="17"/>
                  </a:lnTo>
                  <a:lnTo>
                    <a:pt x="34" y="16"/>
                  </a:lnTo>
                  <a:lnTo>
                    <a:pt x="34"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04" name="Freeform 1731"/>
            <p:cNvSpPr>
              <a:spLocks noEditPoints="1"/>
            </p:cNvSpPr>
            <p:nvPr/>
          </p:nvSpPr>
          <p:spPr bwMode="auto">
            <a:xfrm>
              <a:off x="7539038" y="3649663"/>
              <a:ext cx="55563" cy="36513"/>
            </a:xfrm>
            <a:custGeom>
              <a:avLst/>
              <a:gdLst>
                <a:gd name="T0" fmla="*/ 7 w 35"/>
                <a:gd name="T1" fmla="*/ 14 h 23"/>
                <a:gd name="T2" fmla="*/ 7 w 35"/>
                <a:gd name="T3" fmla="*/ 14 h 23"/>
                <a:gd name="T4" fmla="*/ 0 w 35"/>
                <a:gd name="T5" fmla="*/ 21 h 23"/>
                <a:gd name="T6" fmla="*/ 2 w 35"/>
                <a:gd name="T7" fmla="*/ 23 h 23"/>
                <a:gd name="T8" fmla="*/ 2 w 35"/>
                <a:gd name="T9" fmla="*/ 23 h 23"/>
                <a:gd name="T10" fmla="*/ 9 w 35"/>
                <a:gd name="T11" fmla="*/ 17 h 23"/>
                <a:gd name="T12" fmla="*/ 7 w 35"/>
                <a:gd name="T13" fmla="*/ 14 h 23"/>
                <a:gd name="T14" fmla="*/ 22 w 35"/>
                <a:gd name="T15" fmla="*/ 7 h 23"/>
                <a:gd name="T16" fmla="*/ 22 w 35"/>
                <a:gd name="T17" fmla="*/ 7 h 23"/>
                <a:gd name="T18" fmla="*/ 17 w 35"/>
                <a:gd name="T19" fmla="*/ 8 h 23"/>
                <a:gd name="T20" fmla="*/ 12 w 35"/>
                <a:gd name="T21" fmla="*/ 11 h 23"/>
                <a:gd name="T22" fmla="*/ 13 w 35"/>
                <a:gd name="T23" fmla="*/ 14 h 23"/>
                <a:gd name="T24" fmla="*/ 13 w 35"/>
                <a:gd name="T25" fmla="*/ 14 h 23"/>
                <a:gd name="T26" fmla="*/ 22 w 35"/>
                <a:gd name="T27" fmla="*/ 10 h 23"/>
                <a:gd name="T28" fmla="*/ 22 w 35"/>
                <a:gd name="T29" fmla="*/ 7 h 23"/>
                <a:gd name="T30" fmla="*/ 33 w 35"/>
                <a:gd name="T31" fmla="*/ 0 h 23"/>
                <a:gd name="T32" fmla="*/ 33 w 35"/>
                <a:gd name="T33" fmla="*/ 0 h 23"/>
                <a:gd name="T34" fmla="*/ 26 w 35"/>
                <a:gd name="T35" fmla="*/ 5 h 23"/>
                <a:gd name="T36" fmla="*/ 28 w 35"/>
                <a:gd name="T37" fmla="*/ 8 h 23"/>
                <a:gd name="T38" fmla="*/ 28 w 35"/>
                <a:gd name="T39" fmla="*/ 8 h 23"/>
                <a:gd name="T40" fmla="*/ 35 w 35"/>
                <a:gd name="T41" fmla="*/ 3 h 23"/>
                <a:gd name="T42" fmla="*/ 33 w 35"/>
                <a:gd name="T4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23">
                  <a:moveTo>
                    <a:pt x="7" y="14"/>
                  </a:moveTo>
                  <a:lnTo>
                    <a:pt x="7" y="14"/>
                  </a:lnTo>
                  <a:lnTo>
                    <a:pt x="0" y="21"/>
                  </a:lnTo>
                  <a:lnTo>
                    <a:pt x="2" y="23"/>
                  </a:lnTo>
                  <a:lnTo>
                    <a:pt x="2" y="23"/>
                  </a:lnTo>
                  <a:lnTo>
                    <a:pt x="9" y="17"/>
                  </a:lnTo>
                  <a:lnTo>
                    <a:pt x="7" y="14"/>
                  </a:lnTo>
                  <a:close/>
                  <a:moveTo>
                    <a:pt x="22" y="7"/>
                  </a:moveTo>
                  <a:lnTo>
                    <a:pt x="22" y="7"/>
                  </a:lnTo>
                  <a:lnTo>
                    <a:pt x="17" y="8"/>
                  </a:lnTo>
                  <a:lnTo>
                    <a:pt x="12" y="11"/>
                  </a:lnTo>
                  <a:lnTo>
                    <a:pt x="13" y="14"/>
                  </a:lnTo>
                  <a:lnTo>
                    <a:pt x="13" y="14"/>
                  </a:lnTo>
                  <a:lnTo>
                    <a:pt x="22" y="10"/>
                  </a:lnTo>
                  <a:lnTo>
                    <a:pt x="22" y="7"/>
                  </a:lnTo>
                  <a:close/>
                  <a:moveTo>
                    <a:pt x="33" y="0"/>
                  </a:moveTo>
                  <a:lnTo>
                    <a:pt x="33" y="0"/>
                  </a:lnTo>
                  <a:lnTo>
                    <a:pt x="26" y="5"/>
                  </a:lnTo>
                  <a:lnTo>
                    <a:pt x="28" y="8"/>
                  </a:lnTo>
                  <a:lnTo>
                    <a:pt x="28" y="8"/>
                  </a:lnTo>
                  <a:lnTo>
                    <a:pt x="35" y="3"/>
                  </a:lnTo>
                  <a:lnTo>
                    <a:pt x="3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05" name="Freeform 1732"/>
            <p:cNvSpPr>
              <a:spLocks/>
            </p:cNvSpPr>
            <p:nvPr/>
          </p:nvSpPr>
          <p:spPr bwMode="auto">
            <a:xfrm>
              <a:off x="7640638" y="3508376"/>
              <a:ext cx="6350" cy="15875"/>
            </a:xfrm>
            <a:custGeom>
              <a:avLst/>
              <a:gdLst>
                <a:gd name="T0" fmla="*/ 4 w 4"/>
                <a:gd name="T1" fmla="*/ 10 h 10"/>
                <a:gd name="T2" fmla="*/ 3 w 4"/>
                <a:gd name="T3" fmla="*/ 0 h 10"/>
                <a:gd name="T4" fmla="*/ 0 w 4"/>
                <a:gd name="T5" fmla="*/ 0 h 10"/>
                <a:gd name="T6" fmla="*/ 3 w 4"/>
                <a:gd name="T7" fmla="*/ 10 h 10"/>
                <a:gd name="T8" fmla="*/ 4 w 4"/>
                <a:gd name="T9" fmla="*/ 10 h 10"/>
              </a:gdLst>
              <a:ahLst/>
              <a:cxnLst>
                <a:cxn ang="0">
                  <a:pos x="T0" y="T1"/>
                </a:cxn>
                <a:cxn ang="0">
                  <a:pos x="T2" y="T3"/>
                </a:cxn>
                <a:cxn ang="0">
                  <a:pos x="T4" y="T5"/>
                </a:cxn>
                <a:cxn ang="0">
                  <a:pos x="T6" y="T7"/>
                </a:cxn>
                <a:cxn ang="0">
                  <a:pos x="T8" y="T9"/>
                </a:cxn>
              </a:cxnLst>
              <a:rect l="0" t="0" r="r" b="b"/>
              <a:pathLst>
                <a:path w="4" h="10">
                  <a:moveTo>
                    <a:pt x="4" y="10"/>
                  </a:moveTo>
                  <a:lnTo>
                    <a:pt x="3" y="0"/>
                  </a:lnTo>
                  <a:lnTo>
                    <a:pt x="0" y="0"/>
                  </a:lnTo>
                  <a:lnTo>
                    <a:pt x="3" y="10"/>
                  </a:lnTo>
                  <a:lnTo>
                    <a:pt x="4"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06" name="Freeform 1740"/>
            <p:cNvSpPr>
              <a:spLocks/>
            </p:cNvSpPr>
            <p:nvPr/>
          </p:nvSpPr>
          <p:spPr bwMode="auto">
            <a:xfrm>
              <a:off x="7497763" y="4941888"/>
              <a:ext cx="11113" cy="15875"/>
            </a:xfrm>
            <a:custGeom>
              <a:avLst/>
              <a:gdLst>
                <a:gd name="T0" fmla="*/ 7 w 7"/>
                <a:gd name="T1" fmla="*/ 8 h 10"/>
                <a:gd name="T2" fmla="*/ 7 w 7"/>
                <a:gd name="T3" fmla="*/ 8 h 10"/>
                <a:gd name="T4" fmla="*/ 3 w 7"/>
                <a:gd name="T5" fmla="*/ 0 h 10"/>
                <a:gd name="T6" fmla="*/ 0 w 7"/>
                <a:gd name="T7" fmla="*/ 1 h 10"/>
                <a:gd name="T8" fmla="*/ 0 w 7"/>
                <a:gd name="T9" fmla="*/ 1 h 10"/>
                <a:gd name="T10" fmla="*/ 6 w 7"/>
                <a:gd name="T11" fmla="*/ 10 h 10"/>
                <a:gd name="T12" fmla="*/ 7 w 7"/>
                <a:gd name="T13" fmla="*/ 8 h 10"/>
              </a:gdLst>
              <a:ahLst/>
              <a:cxnLst>
                <a:cxn ang="0">
                  <a:pos x="T0" y="T1"/>
                </a:cxn>
                <a:cxn ang="0">
                  <a:pos x="T2" y="T3"/>
                </a:cxn>
                <a:cxn ang="0">
                  <a:pos x="T4" y="T5"/>
                </a:cxn>
                <a:cxn ang="0">
                  <a:pos x="T6" y="T7"/>
                </a:cxn>
                <a:cxn ang="0">
                  <a:pos x="T8" y="T9"/>
                </a:cxn>
                <a:cxn ang="0">
                  <a:pos x="T10" y="T11"/>
                </a:cxn>
                <a:cxn ang="0">
                  <a:pos x="T12" y="T13"/>
                </a:cxn>
              </a:cxnLst>
              <a:rect l="0" t="0" r="r" b="b"/>
              <a:pathLst>
                <a:path w="7" h="10">
                  <a:moveTo>
                    <a:pt x="7" y="8"/>
                  </a:moveTo>
                  <a:lnTo>
                    <a:pt x="7" y="8"/>
                  </a:lnTo>
                  <a:lnTo>
                    <a:pt x="3" y="0"/>
                  </a:lnTo>
                  <a:lnTo>
                    <a:pt x="0" y="1"/>
                  </a:lnTo>
                  <a:lnTo>
                    <a:pt x="0" y="1"/>
                  </a:lnTo>
                  <a:lnTo>
                    <a:pt x="6" y="10"/>
                  </a:lnTo>
                  <a:lnTo>
                    <a:pt x="7"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07" name="Freeform 1760"/>
            <p:cNvSpPr>
              <a:spLocks/>
            </p:cNvSpPr>
            <p:nvPr/>
          </p:nvSpPr>
          <p:spPr bwMode="auto">
            <a:xfrm>
              <a:off x="6049963" y="3732213"/>
              <a:ext cx="746125" cy="763588"/>
            </a:xfrm>
            <a:custGeom>
              <a:avLst/>
              <a:gdLst>
                <a:gd name="T0" fmla="*/ 113 w 470"/>
                <a:gd name="T1" fmla="*/ 413 h 481"/>
                <a:gd name="T2" fmla="*/ 91 w 470"/>
                <a:gd name="T3" fmla="*/ 362 h 481"/>
                <a:gd name="T4" fmla="*/ 75 w 470"/>
                <a:gd name="T5" fmla="*/ 311 h 481"/>
                <a:gd name="T6" fmla="*/ 75 w 470"/>
                <a:gd name="T7" fmla="*/ 276 h 481"/>
                <a:gd name="T8" fmla="*/ 62 w 470"/>
                <a:gd name="T9" fmla="*/ 265 h 481"/>
                <a:gd name="T10" fmla="*/ 14 w 470"/>
                <a:gd name="T11" fmla="*/ 249 h 481"/>
                <a:gd name="T12" fmla="*/ 34 w 470"/>
                <a:gd name="T13" fmla="*/ 237 h 481"/>
                <a:gd name="T14" fmla="*/ 0 w 470"/>
                <a:gd name="T15" fmla="*/ 220 h 481"/>
                <a:gd name="T16" fmla="*/ 13 w 470"/>
                <a:gd name="T17" fmla="*/ 208 h 481"/>
                <a:gd name="T18" fmla="*/ 39 w 470"/>
                <a:gd name="T19" fmla="*/ 207 h 481"/>
                <a:gd name="T20" fmla="*/ 42 w 470"/>
                <a:gd name="T21" fmla="*/ 188 h 481"/>
                <a:gd name="T22" fmla="*/ 24 w 470"/>
                <a:gd name="T23" fmla="*/ 171 h 481"/>
                <a:gd name="T24" fmla="*/ 40 w 470"/>
                <a:gd name="T25" fmla="*/ 143 h 481"/>
                <a:gd name="T26" fmla="*/ 78 w 470"/>
                <a:gd name="T27" fmla="*/ 126 h 481"/>
                <a:gd name="T28" fmla="*/ 113 w 470"/>
                <a:gd name="T29" fmla="*/ 95 h 481"/>
                <a:gd name="T30" fmla="*/ 126 w 470"/>
                <a:gd name="T31" fmla="*/ 75 h 481"/>
                <a:gd name="T32" fmla="*/ 115 w 470"/>
                <a:gd name="T33" fmla="*/ 64 h 481"/>
                <a:gd name="T34" fmla="*/ 123 w 470"/>
                <a:gd name="T35" fmla="*/ 45 h 481"/>
                <a:gd name="T36" fmla="*/ 105 w 470"/>
                <a:gd name="T37" fmla="*/ 22 h 481"/>
                <a:gd name="T38" fmla="*/ 131 w 470"/>
                <a:gd name="T39" fmla="*/ 3 h 481"/>
                <a:gd name="T40" fmla="*/ 185 w 470"/>
                <a:gd name="T41" fmla="*/ 19 h 481"/>
                <a:gd name="T42" fmla="*/ 185 w 470"/>
                <a:gd name="T43" fmla="*/ 33 h 481"/>
                <a:gd name="T44" fmla="*/ 183 w 470"/>
                <a:gd name="T45" fmla="*/ 50 h 481"/>
                <a:gd name="T46" fmla="*/ 175 w 470"/>
                <a:gd name="T47" fmla="*/ 66 h 481"/>
                <a:gd name="T48" fmla="*/ 172 w 470"/>
                <a:gd name="T49" fmla="*/ 82 h 481"/>
                <a:gd name="T50" fmla="*/ 210 w 470"/>
                <a:gd name="T51" fmla="*/ 106 h 481"/>
                <a:gd name="T52" fmla="*/ 262 w 470"/>
                <a:gd name="T53" fmla="*/ 156 h 481"/>
                <a:gd name="T54" fmla="*/ 317 w 470"/>
                <a:gd name="T55" fmla="*/ 165 h 481"/>
                <a:gd name="T56" fmla="*/ 331 w 470"/>
                <a:gd name="T57" fmla="*/ 143 h 481"/>
                <a:gd name="T58" fmla="*/ 334 w 470"/>
                <a:gd name="T59" fmla="*/ 156 h 481"/>
                <a:gd name="T60" fmla="*/ 346 w 470"/>
                <a:gd name="T61" fmla="*/ 168 h 481"/>
                <a:gd name="T62" fmla="*/ 378 w 470"/>
                <a:gd name="T63" fmla="*/ 149 h 481"/>
                <a:gd name="T64" fmla="*/ 435 w 470"/>
                <a:gd name="T65" fmla="*/ 123 h 481"/>
                <a:gd name="T66" fmla="*/ 451 w 470"/>
                <a:gd name="T67" fmla="*/ 126 h 481"/>
                <a:gd name="T68" fmla="*/ 469 w 470"/>
                <a:gd name="T69" fmla="*/ 142 h 481"/>
                <a:gd name="T70" fmla="*/ 464 w 470"/>
                <a:gd name="T71" fmla="*/ 159 h 481"/>
                <a:gd name="T72" fmla="*/ 427 w 470"/>
                <a:gd name="T73" fmla="*/ 195 h 481"/>
                <a:gd name="T74" fmla="*/ 404 w 470"/>
                <a:gd name="T75" fmla="*/ 236 h 481"/>
                <a:gd name="T76" fmla="*/ 393 w 470"/>
                <a:gd name="T77" fmla="*/ 253 h 481"/>
                <a:gd name="T78" fmla="*/ 378 w 470"/>
                <a:gd name="T79" fmla="*/ 233 h 481"/>
                <a:gd name="T80" fmla="*/ 366 w 470"/>
                <a:gd name="T81" fmla="*/ 217 h 481"/>
                <a:gd name="T82" fmla="*/ 343 w 470"/>
                <a:gd name="T83" fmla="*/ 179 h 481"/>
                <a:gd name="T84" fmla="*/ 334 w 470"/>
                <a:gd name="T85" fmla="*/ 175 h 481"/>
                <a:gd name="T86" fmla="*/ 327 w 470"/>
                <a:gd name="T87" fmla="*/ 174 h 481"/>
                <a:gd name="T88" fmla="*/ 330 w 470"/>
                <a:gd name="T89" fmla="*/ 194 h 481"/>
                <a:gd name="T90" fmla="*/ 328 w 470"/>
                <a:gd name="T91" fmla="*/ 210 h 481"/>
                <a:gd name="T92" fmla="*/ 331 w 470"/>
                <a:gd name="T93" fmla="*/ 259 h 481"/>
                <a:gd name="T94" fmla="*/ 324 w 470"/>
                <a:gd name="T95" fmla="*/ 261 h 481"/>
                <a:gd name="T96" fmla="*/ 318 w 470"/>
                <a:gd name="T97" fmla="*/ 255 h 481"/>
                <a:gd name="T98" fmla="*/ 270 w 470"/>
                <a:gd name="T99" fmla="*/ 297 h 481"/>
                <a:gd name="T100" fmla="*/ 211 w 470"/>
                <a:gd name="T101" fmla="*/ 347 h 481"/>
                <a:gd name="T102" fmla="*/ 194 w 470"/>
                <a:gd name="T103" fmla="*/ 391 h 481"/>
                <a:gd name="T104" fmla="*/ 189 w 470"/>
                <a:gd name="T105" fmla="*/ 444 h 481"/>
                <a:gd name="T106" fmla="*/ 175 w 470"/>
                <a:gd name="T107" fmla="*/ 460 h 481"/>
                <a:gd name="T108" fmla="*/ 149 w 470"/>
                <a:gd name="T109" fmla="*/ 481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0" h="481">
                  <a:moveTo>
                    <a:pt x="149" y="481"/>
                  </a:moveTo>
                  <a:lnTo>
                    <a:pt x="149" y="479"/>
                  </a:lnTo>
                  <a:lnTo>
                    <a:pt x="137" y="466"/>
                  </a:lnTo>
                  <a:lnTo>
                    <a:pt x="123" y="426"/>
                  </a:lnTo>
                  <a:lnTo>
                    <a:pt x="113" y="413"/>
                  </a:lnTo>
                  <a:lnTo>
                    <a:pt x="107" y="391"/>
                  </a:lnTo>
                  <a:lnTo>
                    <a:pt x="95" y="369"/>
                  </a:lnTo>
                  <a:lnTo>
                    <a:pt x="94" y="360"/>
                  </a:lnTo>
                  <a:lnTo>
                    <a:pt x="92" y="360"/>
                  </a:lnTo>
                  <a:lnTo>
                    <a:pt x="91" y="362"/>
                  </a:lnTo>
                  <a:lnTo>
                    <a:pt x="91" y="362"/>
                  </a:lnTo>
                  <a:lnTo>
                    <a:pt x="91" y="360"/>
                  </a:lnTo>
                  <a:lnTo>
                    <a:pt x="88" y="355"/>
                  </a:lnTo>
                  <a:lnTo>
                    <a:pt x="82" y="343"/>
                  </a:lnTo>
                  <a:lnTo>
                    <a:pt x="75" y="311"/>
                  </a:lnTo>
                  <a:lnTo>
                    <a:pt x="76" y="301"/>
                  </a:lnTo>
                  <a:lnTo>
                    <a:pt x="75" y="301"/>
                  </a:lnTo>
                  <a:lnTo>
                    <a:pt x="75" y="301"/>
                  </a:lnTo>
                  <a:lnTo>
                    <a:pt x="72" y="289"/>
                  </a:lnTo>
                  <a:lnTo>
                    <a:pt x="75" y="276"/>
                  </a:lnTo>
                  <a:lnTo>
                    <a:pt x="69" y="252"/>
                  </a:lnTo>
                  <a:lnTo>
                    <a:pt x="69" y="252"/>
                  </a:lnTo>
                  <a:lnTo>
                    <a:pt x="75" y="246"/>
                  </a:lnTo>
                  <a:lnTo>
                    <a:pt x="68" y="245"/>
                  </a:lnTo>
                  <a:lnTo>
                    <a:pt x="62" y="265"/>
                  </a:lnTo>
                  <a:lnTo>
                    <a:pt x="62" y="266"/>
                  </a:lnTo>
                  <a:lnTo>
                    <a:pt x="50" y="271"/>
                  </a:lnTo>
                  <a:lnTo>
                    <a:pt x="39" y="271"/>
                  </a:lnTo>
                  <a:lnTo>
                    <a:pt x="37" y="271"/>
                  </a:lnTo>
                  <a:lnTo>
                    <a:pt x="14" y="249"/>
                  </a:lnTo>
                  <a:lnTo>
                    <a:pt x="14" y="245"/>
                  </a:lnTo>
                  <a:lnTo>
                    <a:pt x="14" y="245"/>
                  </a:lnTo>
                  <a:lnTo>
                    <a:pt x="14" y="243"/>
                  </a:lnTo>
                  <a:lnTo>
                    <a:pt x="30" y="242"/>
                  </a:lnTo>
                  <a:lnTo>
                    <a:pt x="34" y="237"/>
                  </a:lnTo>
                  <a:lnTo>
                    <a:pt x="36" y="232"/>
                  </a:lnTo>
                  <a:lnTo>
                    <a:pt x="27" y="236"/>
                  </a:lnTo>
                  <a:lnTo>
                    <a:pt x="14" y="236"/>
                  </a:lnTo>
                  <a:lnTo>
                    <a:pt x="14" y="236"/>
                  </a:lnTo>
                  <a:lnTo>
                    <a:pt x="0" y="220"/>
                  </a:lnTo>
                  <a:lnTo>
                    <a:pt x="0" y="220"/>
                  </a:lnTo>
                  <a:lnTo>
                    <a:pt x="0" y="219"/>
                  </a:lnTo>
                  <a:lnTo>
                    <a:pt x="4" y="216"/>
                  </a:lnTo>
                  <a:lnTo>
                    <a:pt x="13" y="216"/>
                  </a:lnTo>
                  <a:lnTo>
                    <a:pt x="13" y="208"/>
                  </a:lnTo>
                  <a:lnTo>
                    <a:pt x="13" y="208"/>
                  </a:lnTo>
                  <a:lnTo>
                    <a:pt x="14" y="208"/>
                  </a:lnTo>
                  <a:lnTo>
                    <a:pt x="14" y="208"/>
                  </a:lnTo>
                  <a:lnTo>
                    <a:pt x="33" y="213"/>
                  </a:lnTo>
                  <a:lnTo>
                    <a:pt x="39" y="207"/>
                  </a:lnTo>
                  <a:lnTo>
                    <a:pt x="40" y="207"/>
                  </a:lnTo>
                  <a:lnTo>
                    <a:pt x="40" y="207"/>
                  </a:lnTo>
                  <a:lnTo>
                    <a:pt x="44" y="211"/>
                  </a:lnTo>
                  <a:lnTo>
                    <a:pt x="49" y="208"/>
                  </a:lnTo>
                  <a:lnTo>
                    <a:pt x="42" y="188"/>
                  </a:lnTo>
                  <a:lnTo>
                    <a:pt x="33" y="184"/>
                  </a:lnTo>
                  <a:lnTo>
                    <a:pt x="33" y="182"/>
                  </a:lnTo>
                  <a:lnTo>
                    <a:pt x="34" y="174"/>
                  </a:lnTo>
                  <a:lnTo>
                    <a:pt x="24" y="171"/>
                  </a:lnTo>
                  <a:lnTo>
                    <a:pt x="24" y="171"/>
                  </a:lnTo>
                  <a:lnTo>
                    <a:pt x="23" y="169"/>
                  </a:lnTo>
                  <a:lnTo>
                    <a:pt x="26" y="162"/>
                  </a:lnTo>
                  <a:lnTo>
                    <a:pt x="39" y="143"/>
                  </a:lnTo>
                  <a:lnTo>
                    <a:pt x="40" y="143"/>
                  </a:lnTo>
                  <a:lnTo>
                    <a:pt x="40" y="143"/>
                  </a:lnTo>
                  <a:lnTo>
                    <a:pt x="40" y="143"/>
                  </a:lnTo>
                  <a:lnTo>
                    <a:pt x="46" y="149"/>
                  </a:lnTo>
                  <a:lnTo>
                    <a:pt x="60" y="146"/>
                  </a:lnTo>
                  <a:lnTo>
                    <a:pt x="69" y="133"/>
                  </a:lnTo>
                  <a:lnTo>
                    <a:pt x="78" y="126"/>
                  </a:lnTo>
                  <a:lnTo>
                    <a:pt x="86" y="110"/>
                  </a:lnTo>
                  <a:lnTo>
                    <a:pt x="92" y="108"/>
                  </a:lnTo>
                  <a:lnTo>
                    <a:pt x="94" y="106"/>
                  </a:lnTo>
                  <a:lnTo>
                    <a:pt x="102" y="100"/>
                  </a:lnTo>
                  <a:lnTo>
                    <a:pt x="113" y="95"/>
                  </a:lnTo>
                  <a:lnTo>
                    <a:pt x="118" y="94"/>
                  </a:lnTo>
                  <a:lnTo>
                    <a:pt x="118" y="91"/>
                  </a:lnTo>
                  <a:lnTo>
                    <a:pt x="121" y="91"/>
                  </a:lnTo>
                  <a:lnTo>
                    <a:pt x="124" y="87"/>
                  </a:lnTo>
                  <a:lnTo>
                    <a:pt x="126" y="75"/>
                  </a:lnTo>
                  <a:lnTo>
                    <a:pt x="127" y="66"/>
                  </a:lnTo>
                  <a:lnTo>
                    <a:pt x="121" y="69"/>
                  </a:lnTo>
                  <a:lnTo>
                    <a:pt x="117" y="68"/>
                  </a:lnTo>
                  <a:lnTo>
                    <a:pt x="115" y="64"/>
                  </a:lnTo>
                  <a:lnTo>
                    <a:pt x="115" y="64"/>
                  </a:lnTo>
                  <a:lnTo>
                    <a:pt x="114" y="61"/>
                  </a:lnTo>
                  <a:lnTo>
                    <a:pt x="113" y="58"/>
                  </a:lnTo>
                  <a:lnTo>
                    <a:pt x="114" y="53"/>
                  </a:lnTo>
                  <a:lnTo>
                    <a:pt x="118" y="49"/>
                  </a:lnTo>
                  <a:lnTo>
                    <a:pt x="123" y="45"/>
                  </a:lnTo>
                  <a:lnTo>
                    <a:pt x="120" y="39"/>
                  </a:lnTo>
                  <a:lnTo>
                    <a:pt x="114" y="39"/>
                  </a:lnTo>
                  <a:lnTo>
                    <a:pt x="114" y="33"/>
                  </a:lnTo>
                  <a:lnTo>
                    <a:pt x="108" y="27"/>
                  </a:lnTo>
                  <a:lnTo>
                    <a:pt x="105" y="22"/>
                  </a:lnTo>
                  <a:lnTo>
                    <a:pt x="101" y="13"/>
                  </a:lnTo>
                  <a:lnTo>
                    <a:pt x="101" y="8"/>
                  </a:lnTo>
                  <a:lnTo>
                    <a:pt x="107" y="4"/>
                  </a:lnTo>
                  <a:lnTo>
                    <a:pt x="120" y="0"/>
                  </a:lnTo>
                  <a:lnTo>
                    <a:pt x="131" y="3"/>
                  </a:lnTo>
                  <a:lnTo>
                    <a:pt x="136" y="7"/>
                  </a:lnTo>
                  <a:lnTo>
                    <a:pt x="143" y="8"/>
                  </a:lnTo>
                  <a:lnTo>
                    <a:pt x="168" y="24"/>
                  </a:lnTo>
                  <a:lnTo>
                    <a:pt x="176" y="22"/>
                  </a:lnTo>
                  <a:lnTo>
                    <a:pt x="185" y="19"/>
                  </a:lnTo>
                  <a:lnTo>
                    <a:pt x="194" y="17"/>
                  </a:lnTo>
                  <a:lnTo>
                    <a:pt x="194" y="17"/>
                  </a:lnTo>
                  <a:lnTo>
                    <a:pt x="194" y="20"/>
                  </a:lnTo>
                  <a:lnTo>
                    <a:pt x="186" y="26"/>
                  </a:lnTo>
                  <a:lnTo>
                    <a:pt x="185" y="33"/>
                  </a:lnTo>
                  <a:lnTo>
                    <a:pt x="185" y="33"/>
                  </a:lnTo>
                  <a:lnTo>
                    <a:pt x="176" y="35"/>
                  </a:lnTo>
                  <a:lnTo>
                    <a:pt x="176" y="46"/>
                  </a:lnTo>
                  <a:lnTo>
                    <a:pt x="183" y="49"/>
                  </a:lnTo>
                  <a:lnTo>
                    <a:pt x="183" y="50"/>
                  </a:lnTo>
                  <a:lnTo>
                    <a:pt x="186" y="58"/>
                  </a:lnTo>
                  <a:lnTo>
                    <a:pt x="186" y="59"/>
                  </a:lnTo>
                  <a:lnTo>
                    <a:pt x="176" y="66"/>
                  </a:lnTo>
                  <a:lnTo>
                    <a:pt x="176" y="66"/>
                  </a:lnTo>
                  <a:lnTo>
                    <a:pt x="175" y="66"/>
                  </a:lnTo>
                  <a:lnTo>
                    <a:pt x="175" y="66"/>
                  </a:lnTo>
                  <a:lnTo>
                    <a:pt x="172" y="61"/>
                  </a:lnTo>
                  <a:lnTo>
                    <a:pt x="169" y="62"/>
                  </a:lnTo>
                  <a:lnTo>
                    <a:pt x="173" y="72"/>
                  </a:lnTo>
                  <a:lnTo>
                    <a:pt x="172" y="82"/>
                  </a:lnTo>
                  <a:lnTo>
                    <a:pt x="176" y="90"/>
                  </a:lnTo>
                  <a:lnTo>
                    <a:pt x="183" y="90"/>
                  </a:lnTo>
                  <a:lnTo>
                    <a:pt x="210" y="104"/>
                  </a:lnTo>
                  <a:lnTo>
                    <a:pt x="210" y="106"/>
                  </a:lnTo>
                  <a:lnTo>
                    <a:pt x="210" y="106"/>
                  </a:lnTo>
                  <a:lnTo>
                    <a:pt x="198" y="114"/>
                  </a:lnTo>
                  <a:lnTo>
                    <a:pt x="194" y="130"/>
                  </a:lnTo>
                  <a:lnTo>
                    <a:pt x="237" y="156"/>
                  </a:lnTo>
                  <a:lnTo>
                    <a:pt x="260" y="156"/>
                  </a:lnTo>
                  <a:lnTo>
                    <a:pt x="262" y="156"/>
                  </a:lnTo>
                  <a:lnTo>
                    <a:pt x="270" y="166"/>
                  </a:lnTo>
                  <a:lnTo>
                    <a:pt x="307" y="174"/>
                  </a:lnTo>
                  <a:lnTo>
                    <a:pt x="318" y="172"/>
                  </a:lnTo>
                  <a:lnTo>
                    <a:pt x="320" y="168"/>
                  </a:lnTo>
                  <a:lnTo>
                    <a:pt x="317" y="165"/>
                  </a:lnTo>
                  <a:lnTo>
                    <a:pt x="317" y="163"/>
                  </a:lnTo>
                  <a:lnTo>
                    <a:pt x="318" y="161"/>
                  </a:lnTo>
                  <a:lnTo>
                    <a:pt x="321" y="148"/>
                  </a:lnTo>
                  <a:lnTo>
                    <a:pt x="321" y="146"/>
                  </a:lnTo>
                  <a:lnTo>
                    <a:pt x="331" y="143"/>
                  </a:lnTo>
                  <a:lnTo>
                    <a:pt x="331" y="143"/>
                  </a:lnTo>
                  <a:lnTo>
                    <a:pt x="331" y="143"/>
                  </a:lnTo>
                  <a:lnTo>
                    <a:pt x="333" y="145"/>
                  </a:lnTo>
                  <a:lnTo>
                    <a:pt x="333" y="155"/>
                  </a:lnTo>
                  <a:lnTo>
                    <a:pt x="334" y="156"/>
                  </a:lnTo>
                  <a:lnTo>
                    <a:pt x="336" y="158"/>
                  </a:lnTo>
                  <a:lnTo>
                    <a:pt x="336" y="158"/>
                  </a:lnTo>
                  <a:lnTo>
                    <a:pt x="333" y="161"/>
                  </a:lnTo>
                  <a:lnTo>
                    <a:pt x="334" y="165"/>
                  </a:lnTo>
                  <a:lnTo>
                    <a:pt x="346" y="168"/>
                  </a:lnTo>
                  <a:lnTo>
                    <a:pt x="382" y="163"/>
                  </a:lnTo>
                  <a:lnTo>
                    <a:pt x="385" y="158"/>
                  </a:lnTo>
                  <a:lnTo>
                    <a:pt x="379" y="155"/>
                  </a:lnTo>
                  <a:lnTo>
                    <a:pt x="378" y="153"/>
                  </a:lnTo>
                  <a:lnTo>
                    <a:pt x="378" y="149"/>
                  </a:lnTo>
                  <a:lnTo>
                    <a:pt x="379" y="148"/>
                  </a:lnTo>
                  <a:lnTo>
                    <a:pt x="399" y="140"/>
                  </a:lnTo>
                  <a:lnTo>
                    <a:pt x="424" y="121"/>
                  </a:lnTo>
                  <a:lnTo>
                    <a:pt x="424" y="121"/>
                  </a:lnTo>
                  <a:lnTo>
                    <a:pt x="435" y="123"/>
                  </a:lnTo>
                  <a:lnTo>
                    <a:pt x="447" y="117"/>
                  </a:lnTo>
                  <a:lnTo>
                    <a:pt x="447" y="117"/>
                  </a:lnTo>
                  <a:lnTo>
                    <a:pt x="449" y="117"/>
                  </a:lnTo>
                  <a:lnTo>
                    <a:pt x="449" y="119"/>
                  </a:lnTo>
                  <a:lnTo>
                    <a:pt x="451" y="126"/>
                  </a:lnTo>
                  <a:lnTo>
                    <a:pt x="454" y="127"/>
                  </a:lnTo>
                  <a:lnTo>
                    <a:pt x="454" y="129"/>
                  </a:lnTo>
                  <a:lnTo>
                    <a:pt x="453" y="136"/>
                  </a:lnTo>
                  <a:lnTo>
                    <a:pt x="464" y="137"/>
                  </a:lnTo>
                  <a:lnTo>
                    <a:pt x="469" y="142"/>
                  </a:lnTo>
                  <a:lnTo>
                    <a:pt x="470" y="143"/>
                  </a:lnTo>
                  <a:lnTo>
                    <a:pt x="470" y="146"/>
                  </a:lnTo>
                  <a:lnTo>
                    <a:pt x="469" y="148"/>
                  </a:lnTo>
                  <a:lnTo>
                    <a:pt x="466" y="149"/>
                  </a:lnTo>
                  <a:lnTo>
                    <a:pt x="464" y="159"/>
                  </a:lnTo>
                  <a:lnTo>
                    <a:pt x="463" y="161"/>
                  </a:lnTo>
                  <a:lnTo>
                    <a:pt x="450" y="161"/>
                  </a:lnTo>
                  <a:lnTo>
                    <a:pt x="437" y="174"/>
                  </a:lnTo>
                  <a:lnTo>
                    <a:pt x="435" y="185"/>
                  </a:lnTo>
                  <a:lnTo>
                    <a:pt x="427" y="195"/>
                  </a:lnTo>
                  <a:lnTo>
                    <a:pt x="420" y="217"/>
                  </a:lnTo>
                  <a:lnTo>
                    <a:pt x="418" y="217"/>
                  </a:lnTo>
                  <a:lnTo>
                    <a:pt x="405" y="221"/>
                  </a:lnTo>
                  <a:lnTo>
                    <a:pt x="405" y="234"/>
                  </a:lnTo>
                  <a:lnTo>
                    <a:pt x="404" y="236"/>
                  </a:lnTo>
                  <a:lnTo>
                    <a:pt x="401" y="236"/>
                  </a:lnTo>
                  <a:lnTo>
                    <a:pt x="399" y="239"/>
                  </a:lnTo>
                  <a:lnTo>
                    <a:pt x="402" y="247"/>
                  </a:lnTo>
                  <a:lnTo>
                    <a:pt x="402" y="249"/>
                  </a:lnTo>
                  <a:lnTo>
                    <a:pt x="393" y="253"/>
                  </a:lnTo>
                  <a:lnTo>
                    <a:pt x="393" y="253"/>
                  </a:lnTo>
                  <a:lnTo>
                    <a:pt x="393" y="253"/>
                  </a:lnTo>
                  <a:lnTo>
                    <a:pt x="392" y="252"/>
                  </a:lnTo>
                  <a:lnTo>
                    <a:pt x="385" y="223"/>
                  </a:lnTo>
                  <a:lnTo>
                    <a:pt x="378" y="233"/>
                  </a:lnTo>
                  <a:lnTo>
                    <a:pt x="378" y="233"/>
                  </a:lnTo>
                  <a:lnTo>
                    <a:pt x="378" y="233"/>
                  </a:lnTo>
                  <a:lnTo>
                    <a:pt x="376" y="233"/>
                  </a:lnTo>
                  <a:lnTo>
                    <a:pt x="370" y="229"/>
                  </a:lnTo>
                  <a:lnTo>
                    <a:pt x="366" y="217"/>
                  </a:lnTo>
                  <a:lnTo>
                    <a:pt x="367" y="217"/>
                  </a:lnTo>
                  <a:lnTo>
                    <a:pt x="385" y="197"/>
                  </a:lnTo>
                  <a:lnTo>
                    <a:pt x="351" y="194"/>
                  </a:lnTo>
                  <a:lnTo>
                    <a:pt x="346" y="190"/>
                  </a:lnTo>
                  <a:lnTo>
                    <a:pt x="343" y="179"/>
                  </a:lnTo>
                  <a:lnTo>
                    <a:pt x="343" y="181"/>
                  </a:lnTo>
                  <a:lnTo>
                    <a:pt x="341" y="181"/>
                  </a:lnTo>
                  <a:lnTo>
                    <a:pt x="337" y="181"/>
                  </a:lnTo>
                  <a:lnTo>
                    <a:pt x="337" y="181"/>
                  </a:lnTo>
                  <a:lnTo>
                    <a:pt x="334" y="175"/>
                  </a:lnTo>
                  <a:lnTo>
                    <a:pt x="331" y="179"/>
                  </a:lnTo>
                  <a:lnTo>
                    <a:pt x="331" y="179"/>
                  </a:lnTo>
                  <a:lnTo>
                    <a:pt x="331" y="179"/>
                  </a:lnTo>
                  <a:lnTo>
                    <a:pt x="330" y="179"/>
                  </a:lnTo>
                  <a:lnTo>
                    <a:pt x="327" y="174"/>
                  </a:lnTo>
                  <a:lnTo>
                    <a:pt x="321" y="184"/>
                  </a:lnTo>
                  <a:lnTo>
                    <a:pt x="323" y="187"/>
                  </a:lnTo>
                  <a:lnTo>
                    <a:pt x="328" y="188"/>
                  </a:lnTo>
                  <a:lnTo>
                    <a:pt x="330" y="188"/>
                  </a:lnTo>
                  <a:lnTo>
                    <a:pt x="330" y="194"/>
                  </a:lnTo>
                  <a:lnTo>
                    <a:pt x="330" y="195"/>
                  </a:lnTo>
                  <a:lnTo>
                    <a:pt x="330" y="195"/>
                  </a:lnTo>
                  <a:lnTo>
                    <a:pt x="324" y="195"/>
                  </a:lnTo>
                  <a:lnTo>
                    <a:pt x="318" y="203"/>
                  </a:lnTo>
                  <a:lnTo>
                    <a:pt x="328" y="210"/>
                  </a:lnTo>
                  <a:lnTo>
                    <a:pt x="328" y="211"/>
                  </a:lnTo>
                  <a:lnTo>
                    <a:pt x="327" y="221"/>
                  </a:lnTo>
                  <a:lnTo>
                    <a:pt x="334" y="256"/>
                  </a:lnTo>
                  <a:lnTo>
                    <a:pt x="334" y="258"/>
                  </a:lnTo>
                  <a:lnTo>
                    <a:pt x="331" y="259"/>
                  </a:lnTo>
                  <a:lnTo>
                    <a:pt x="331" y="259"/>
                  </a:lnTo>
                  <a:lnTo>
                    <a:pt x="330" y="258"/>
                  </a:lnTo>
                  <a:lnTo>
                    <a:pt x="330" y="258"/>
                  </a:lnTo>
                  <a:lnTo>
                    <a:pt x="330" y="258"/>
                  </a:lnTo>
                  <a:lnTo>
                    <a:pt x="324" y="261"/>
                  </a:lnTo>
                  <a:lnTo>
                    <a:pt x="323" y="261"/>
                  </a:lnTo>
                  <a:lnTo>
                    <a:pt x="323" y="261"/>
                  </a:lnTo>
                  <a:lnTo>
                    <a:pt x="323" y="259"/>
                  </a:lnTo>
                  <a:lnTo>
                    <a:pt x="320" y="250"/>
                  </a:lnTo>
                  <a:lnTo>
                    <a:pt x="318" y="255"/>
                  </a:lnTo>
                  <a:lnTo>
                    <a:pt x="304" y="262"/>
                  </a:lnTo>
                  <a:lnTo>
                    <a:pt x="304" y="274"/>
                  </a:lnTo>
                  <a:lnTo>
                    <a:pt x="304" y="274"/>
                  </a:lnTo>
                  <a:lnTo>
                    <a:pt x="292" y="285"/>
                  </a:lnTo>
                  <a:lnTo>
                    <a:pt x="270" y="297"/>
                  </a:lnTo>
                  <a:lnTo>
                    <a:pt x="259" y="313"/>
                  </a:lnTo>
                  <a:lnTo>
                    <a:pt x="230" y="336"/>
                  </a:lnTo>
                  <a:lnTo>
                    <a:pt x="225" y="343"/>
                  </a:lnTo>
                  <a:lnTo>
                    <a:pt x="225" y="343"/>
                  </a:lnTo>
                  <a:lnTo>
                    <a:pt x="211" y="347"/>
                  </a:lnTo>
                  <a:lnTo>
                    <a:pt x="205" y="356"/>
                  </a:lnTo>
                  <a:lnTo>
                    <a:pt x="205" y="358"/>
                  </a:lnTo>
                  <a:lnTo>
                    <a:pt x="197" y="358"/>
                  </a:lnTo>
                  <a:lnTo>
                    <a:pt x="192" y="363"/>
                  </a:lnTo>
                  <a:lnTo>
                    <a:pt x="194" y="391"/>
                  </a:lnTo>
                  <a:lnTo>
                    <a:pt x="197" y="397"/>
                  </a:lnTo>
                  <a:lnTo>
                    <a:pt x="197" y="398"/>
                  </a:lnTo>
                  <a:lnTo>
                    <a:pt x="189" y="423"/>
                  </a:lnTo>
                  <a:lnTo>
                    <a:pt x="189" y="443"/>
                  </a:lnTo>
                  <a:lnTo>
                    <a:pt x="189" y="444"/>
                  </a:lnTo>
                  <a:lnTo>
                    <a:pt x="189" y="444"/>
                  </a:lnTo>
                  <a:lnTo>
                    <a:pt x="181" y="444"/>
                  </a:lnTo>
                  <a:lnTo>
                    <a:pt x="176" y="456"/>
                  </a:lnTo>
                  <a:lnTo>
                    <a:pt x="176" y="460"/>
                  </a:lnTo>
                  <a:lnTo>
                    <a:pt x="175" y="460"/>
                  </a:lnTo>
                  <a:lnTo>
                    <a:pt x="163" y="465"/>
                  </a:lnTo>
                  <a:lnTo>
                    <a:pt x="162" y="473"/>
                  </a:lnTo>
                  <a:lnTo>
                    <a:pt x="155" y="481"/>
                  </a:lnTo>
                  <a:lnTo>
                    <a:pt x="153" y="481"/>
                  </a:lnTo>
                  <a:lnTo>
                    <a:pt x="149" y="481"/>
                  </a:lnTo>
                  <a:close/>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08" name="Freeform 1761"/>
            <p:cNvSpPr>
              <a:spLocks/>
            </p:cNvSpPr>
            <p:nvPr/>
          </p:nvSpPr>
          <p:spPr bwMode="auto">
            <a:xfrm>
              <a:off x="6049963" y="3903663"/>
              <a:ext cx="146050" cy="177800"/>
            </a:xfrm>
            <a:custGeom>
              <a:avLst/>
              <a:gdLst>
                <a:gd name="T0" fmla="*/ 0 w 92"/>
                <a:gd name="T1" fmla="*/ 112 h 112"/>
                <a:gd name="T2" fmla="*/ 0 w 92"/>
                <a:gd name="T3" fmla="*/ 111 h 112"/>
                <a:gd name="T4" fmla="*/ 4 w 92"/>
                <a:gd name="T5" fmla="*/ 108 h 112"/>
                <a:gd name="T6" fmla="*/ 13 w 92"/>
                <a:gd name="T7" fmla="*/ 108 h 112"/>
                <a:gd name="T8" fmla="*/ 13 w 92"/>
                <a:gd name="T9" fmla="*/ 100 h 112"/>
                <a:gd name="T10" fmla="*/ 13 w 92"/>
                <a:gd name="T11" fmla="*/ 100 h 112"/>
                <a:gd name="T12" fmla="*/ 14 w 92"/>
                <a:gd name="T13" fmla="*/ 100 h 112"/>
                <a:gd name="T14" fmla="*/ 14 w 92"/>
                <a:gd name="T15" fmla="*/ 100 h 112"/>
                <a:gd name="T16" fmla="*/ 33 w 92"/>
                <a:gd name="T17" fmla="*/ 105 h 112"/>
                <a:gd name="T18" fmla="*/ 39 w 92"/>
                <a:gd name="T19" fmla="*/ 99 h 112"/>
                <a:gd name="T20" fmla="*/ 40 w 92"/>
                <a:gd name="T21" fmla="*/ 99 h 112"/>
                <a:gd name="T22" fmla="*/ 40 w 92"/>
                <a:gd name="T23" fmla="*/ 99 h 112"/>
                <a:gd name="T24" fmla="*/ 44 w 92"/>
                <a:gd name="T25" fmla="*/ 103 h 112"/>
                <a:gd name="T26" fmla="*/ 49 w 92"/>
                <a:gd name="T27" fmla="*/ 100 h 112"/>
                <a:gd name="T28" fmla="*/ 42 w 92"/>
                <a:gd name="T29" fmla="*/ 80 h 112"/>
                <a:gd name="T30" fmla="*/ 33 w 92"/>
                <a:gd name="T31" fmla="*/ 76 h 112"/>
                <a:gd name="T32" fmla="*/ 33 w 92"/>
                <a:gd name="T33" fmla="*/ 74 h 112"/>
                <a:gd name="T34" fmla="*/ 34 w 92"/>
                <a:gd name="T35" fmla="*/ 66 h 112"/>
                <a:gd name="T36" fmla="*/ 24 w 92"/>
                <a:gd name="T37" fmla="*/ 63 h 112"/>
                <a:gd name="T38" fmla="*/ 24 w 92"/>
                <a:gd name="T39" fmla="*/ 63 h 112"/>
                <a:gd name="T40" fmla="*/ 23 w 92"/>
                <a:gd name="T41" fmla="*/ 61 h 112"/>
                <a:gd name="T42" fmla="*/ 26 w 92"/>
                <a:gd name="T43" fmla="*/ 54 h 112"/>
                <a:gd name="T44" fmla="*/ 39 w 92"/>
                <a:gd name="T45" fmla="*/ 35 h 112"/>
                <a:gd name="T46" fmla="*/ 40 w 92"/>
                <a:gd name="T47" fmla="*/ 35 h 112"/>
                <a:gd name="T48" fmla="*/ 40 w 92"/>
                <a:gd name="T49" fmla="*/ 35 h 112"/>
                <a:gd name="T50" fmla="*/ 40 w 92"/>
                <a:gd name="T51" fmla="*/ 35 h 112"/>
                <a:gd name="T52" fmla="*/ 46 w 92"/>
                <a:gd name="T53" fmla="*/ 41 h 112"/>
                <a:gd name="T54" fmla="*/ 60 w 92"/>
                <a:gd name="T55" fmla="*/ 38 h 112"/>
                <a:gd name="T56" fmla="*/ 69 w 92"/>
                <a:gd name="T57" fmla="*/ 25 h 112"/>
                <a:gd name="T58" fmla="*/ 78 w 92"/>
                <a:gd name="T59" fmla="*/ 18 h 112"/>
                <a:gd name="T60" fmla="*/ 86 w 92"/>
                <a:gd name="T61" fmla="*/ 2 h 112"/>
                <a:gd name="T62" fmla="*/ 92 w 92"/>
                <a:gd name="T63" fmla="*/ 0 h 112"/>
                <a:gd name="T64" fmla="*/ 0 w 92"/>
                <a:gd name="T6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112">
                  <a:moveTo>
                    <a:pt x="0" y="112"/>
                  </a:moveTo>
                  <a:lnTo>
                    <a:pt x="0" y="111"/>
                  </a:lnTo>
                  <a:lnTo>
                    <a:pt x="4" y="108"/>
                  </a:lnTo>
                  <a:lnTo>
                    <a:pt x="13" y="108"/>
                  </a:lnTo>
                  <a:lnTo>
                    <a:pt x="13" y="100"/>
                  </a:lnTo>
                  <a:lnTo>
                    <a:pt x="13" y="100"/>
                  </a:lnTo>
                  <a:lnTo>
                    <a:pt x="14" y="100"/>
                  </a:lnTo>
                  <a:lnTo>
                    <a:pt x="14" y="100"/>
                  </a:lnTo>
                  <a:lnTo>
                    <a:pt x="33" y="105"/>
                  </a:lnTo>
                  <a:lnTo>
                    <a:pt x="39" y="99"/>
                  </a:lnTo>
                  <a:lnTo>
                    <a:pt x="40" y="99"/>
                  </a:lnTo>
                  <a:lnTo>
                    <a:pt x="40" y="99"/>
                  </a:lnTo>
                  <a:lnTo>
                    <a:pt x="44" y="103"/>
                  </a:lnTo>
                  <a:lnTo>
                    <a:pt x="49" y="100"/>
                  </a:lnTo>
                  <a:lnTo>
                    <a:pt x="42" y="80"/>
                  </a:lnTo>
                  <a:lnTo>
                    <a:pt x="33" y="76"/>
                  </a:lnTo>
                  <a:lnTo>
                    <a:pt x="33" y="74"/>
                  </a:lnTo>
                  <a:lnTo>
                    <a:pt x="34" y="66"/>
                  </a:lnTo>
                  <a:lnTo>
                    <a:pt x="24" y="63"/>
                  </a:lnTo>
                  <a:lnTo>
                    <a:pt x="24" y="63"/>
                  </a:lnTo>
                  <a:lnTo>
                    <a:pt x="23" y="61"/>
                  </a:lnTo>
                  <a:lnTo>
                    <a:pt x="26" y="54"/>
                  </a:lnTo>
                  <a:lnTo>
                    <a:pt x="39" y="35"/>
                  </a:lnTo>
                  <a:lnTo>
                    <a:pt x="40" y="35"/>
                  </a:lnTo>
                  <a:lnTo>
                    <a:pt x="40" y="35"/>
                  </a:lnTo>
                  <a:lnTo>
                    <a:pt x="40" y="35"/>
                  </a:lnTo>
                  <a:lnTo>
                    <a:pt x="46" y="41"/>
                  </a:lnTo>
                  <a:lnTo>
                    <a:pt x="60" y="38"/>
                  </a:lnTo>
                  <a:lnTo>
                    <a:pt x="69" y="25"/>
                  </a:lnTo>
                  <a:lnTo>
                    <a:pt x="78" y="18"/>
                  </a:lnTo>
                  <a:lnTo>
                    <a:pt x="86" y="2"/>
                  </a:lnTo>
                  <a:lnTo>
                    <a:pt x="92" y="0"/>
                  </a:lnTo>
                  <a:lnTo>
                    <a:pt x="0" y="112"/>
                  </a:lnTo>
                  <a:close/>
                </a:path>
              </a:pathLst>
            </a:custGeom>
            <a:solidFill>
              <a:srgbClr val="52D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09" name="Freeform 1762"/>
            <p:cNvSpPr>
              <a:spLocks/>
            </p:cNvSpPr>
            <p:nvPr/>
          </p:nvSpPr>
          <p:spPr bwMode="auto">
            <a:xfrm>
              <a:off x="6049963" y="3903663"/>
              <a:ext cx="146050" cy="177800"/>
            </a:xfrm>
            <a:custGeom>
              <a:avLst/>
              <a:gdLst>
                <a:gd name="T0" fmla="*/ 0 w 92"/>
                <a:gd name="T1" fmla="*/ 112 h 112"/>
                <a:gd name="T2" fmla="*/ 0 w 92"/>
                <a:gd name="T3" fmla="*/ 111 h 112"/>
                <a:gd name="T4" fmla="*/ 4 w 92"/>
                <a:gd name="T5" fmla="*/ 108 h 112"/>
                <a:gd name="T6" fmla="*/ 13 w 92"/>
                <a:gd name="T7" fmla="*/ 108 h 112"/>
                <a:gd name="T8" fmla="*/ 13 w 92"/>
                <a:gd name="T9" fmla="*/ 100 h 112"/>
                <a:gd name="T10" fmla="*/ 13 w 92"/>
                <a:gd name="T11" fmla="*/ 100 h 112"/>
                <a:gd name="T12" fmla="*/ 14 w 92"/>
                <a:gd name="T13" fmla="*/ 100 h 112"/>
                <a:gd name="T14" fmla="*/ 14 w 92"/>
                <a:gd name="T15" fmla="*/ 100 h 112"/>
                <a:gd name="T16" fmla="*/ 33 w 92"/>
                <a:gd name="T17" fmla="*/ 105 h 112"/>
                <a:gd name="T18" fmla="*/ 39 w 92"/>
                <a:gd name="T19" fmla="*/ 99 h 112"/>
                <a:gd name="T20" fmla="*/ 40 w 92"/>
                <a:gd name="T21" fmla="*/ 99 h 112"/>
                <a:gd name="T22" fmla="*/ 40 w 92"/>
                <a:gd name="T23" fmla="*/ 99 h 112"/>
                <a:gd name="T24" fmla="*/ 44 w 92"/>
                <a:gd name="T25" fmla="*/ 103 h 112"/>
                <a:gd name="T26" fmla="*/ 49 w 92"/>
                <a:gd name="T27" fmla="*/ 100 h 112"/>
                <a:gd name="T28" fmla="*/ 42 w 92"/>
                <a:gd name="T29" fmla="*/ 80 h 112"/>
                <a:gd name="T30" fmla="*/ 33 w 92"/>
                <a:gd name="T31" fmla="*/ 76 h 112"/>
                <a:gd name="T32" fmla="*/ 33 w 92"/>
                <a:gd name="T33" fmla="*/ 74 h 112"/>
                <a:gd name="T34" fmla="*/ 34 w 92"/>
                <a:gd name="T35" fmla="*/ 66 h 112"/>
                <a:gd name="T36" fmla="*/ 24 w 92"/>
                <a:gd name="T37" fmla="*/ 63 h 112"/>
                <a:gd name="T38" fmla="*/ 24 w 92"/>
                <a:gd name="T39" fmla="*/ 63 h 112"/>
                <a:gd name="T40" fmla="*/ 23 w 92"/>
                <a:gd name="T41" fmla="*/ 61 h 112"/>
                <a:gd name="T42" fmla="*/ 26 w 92"/>
                <a:gd name="T43" fmla="*/ 54 h 112"/>
                <a:gd name="T44" fmla="*/ 39 w 92"/>
                <a:gd name="T45" fmla="*/ 35 h 112"/>
                <a:gd name="T46" fmla="*/ 40 w 92"/>
                <a:gd name="T47" fmla="*/ 35 h 112"/>
                <a:gd name="T48" fmla="*/ 40 w 92"/>
                <a:gd name="T49" fmla="*/ 35 h 112"/>
                <a:gd name="T50" fmla="*/ 40 w 92"/>
                <a:gd name="T51" fmla="*/ 35 h 112"/>
                <a:gd name="T52" fmla="*/ 46 w 92"/>
                <a:gd name="T53" fmla="*/ 41 h 112"/>
                <a:gd name="T54" fmla="*/ 60 w 92"/>
                <a:gd name="T55" fmla="*/ 38 h 112"/>
                <a:gd name="T56" fmla="*/ 69 w 92"/>
                <a:gd name="T57" fmla="*/ 25 h 112"/>
                <a:gd name="T58" fmla="*/ 78 w 92"/>
                <a:gd name="T59" fmla="*/ 18 h 112"/>
                <a:gd name="T60" fmla="*/ 86 w 92"/>
                <a:gd name="T61" fmla="*/ 2 h 112"/>
                <a:gd name="T62" fmla="*/ 92 w 92"/>
                <a:gd name="T6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 h="112">
                  <a:moveTo>
                    <a:pt x="0" y="112"/>
                  </a:moveTo>
                  <a:lnTo>
                    <a:pt x="0" y="111"/>
                  </a:lnTo>
                  <a:lnTo>
                    <a:pt x="4" y="108"/>
                  </a:lnTo>
                  <a:lnTo>
                    <a:pt x="13" y="108"/>
                  </a:lnTo>
                  <a:lnTo>
                    <a:pt x="13" y="100"/>
                  </a:lnTo>
                  <a:lnTo>
                    <a:pt x="13" y="100"/>
                  </a:lnTo>
                  <a:lnTo>
                    <a:pt x="14" y="100"/>
                  </a:lnTo>
                  <a:lnTo>
                    <a:pt x="14" y="100"/>
                  </a:lnTo>
                  <a:lnTo>
                    <a:pt x="33" y="105"/>
                  </a:lnTo>
                  <a:lnTo>
                    <a:pt x="39" y="99"/>
                  </a:lnTo>
                  <a:lnTo>
                    <a:pt x="40" y="99"/>
                  </a:lnTo>
                  <a:lnTo>
                    <a:pt x="40" y="99"/>
                  </a:lnTo>
                  <a:lnTo>
                    <a:pt x="44" y="103"/>
                  </a:lnTo>
                  <a:lnTo>
                    <a:pt x="49" y="100"/>
                  </a:lnTo>
                  <a:lnTo>
                    <a:pt x="42" y="80"/>
                  </a:lnTo>
                  <a:lnTo>
                    <a:pt x="33" y="76"/>
                  </a:lnTo>
                  <a:lnTo>
                    <a:pt x="33" y="74"/>
                  </a:lnTo>
                  <a:lnTo>
                    <a:pt x="34" y="66"/>
                  </a:lnTo>
                  <a:lnTo>
                    <a:pt x="24" y="63"/>
                  </a:lnTo>
                  <a:lnTo>
                    <a:pt x="24" y="63"/>
                  </a:lnTo>
                  <a:lnTo>
                    <a:pt x="23" y="61"/>
                  </a:lnTo>
                  <a:lnTo>
                    <a:pt x="26" y="54"/>
                  </a:lnTo>
                  <a:lnTo>
                    <a:pt x="39" y="35"/>
                  </a:lnTo>
                  <a:lnTo>
                    <a:pt x="40" y="35"/>
                  </a:lnTo>
                  <a:lnTo>
                    <a:pt x="40" y="35"/>
                  </a:lnTo>
                  <a:lnTo>
                    <a:pt x="40" y="35"/>
                  </a:lnTo>
                  <a:lnTo>
                    <a:pt x="46" y="41"/>
                  </a:lnTo>
                  <a:lnTo>
                    <a:pt x="60" y="38"/>
                  </a:lnTo>
                  <a:lnTo>
                    <a:pt x="69" y="25"/>
                  </a:lnTo>
                  <a:lnTo>
                    <a:pt x="78" y="18"/>
                  </a:lnTo>
                  <a:lnTo>
                    <a:pt x="86" y="2"/>
                  </a:lnTo>
                  <a:lnTo>
                    <a:pt x="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10" name="Freeform 1763"/>
            <p:cNvSpPr>
              <a:spLocks noEditPoints="1"/>
            </p:cNvSpPr>
            <p:nvPr/>
          </p:nvSpPr>
          <p:spPr bwMode="auto">
            <a:xfrm>
              <a:off x="6046788" y="3757613"/>
              <a:ext cx="749300" cy="384175"/>
            </a:xfrm>
            <a:custGeom>
              <a:avLst/>
              <a:gdLst>
                <a:gd name="T0" fmla="*/ 329 w 472"/>
                <a:gd name="T1" fmla="*/ 201 h 242"/>
                <a:gd name="T2" fmla="*/ 329 w 472"/>
                <a:gd name="T3" fmla="*/ 197 h 242"/>
                <a:gd name="T4" fmla="*/ 320 w 472"/>
                <a:gd name="T5" fmla="*/ 185 h 242"/>
                <a:gd name="T6" fmla="*/ 332 w 472"/>
                <a:gd name="T7" fmla="*/ 178 h 242"/>
                <a:gd name="T8" fmla="*/ 323 w 472"/>
                <a:gd name="T9" fmla="*/ 169 h 242"/>
                <a:gd name="T10" fmla="*/ 333 w 472"/>
                <a:gd name="T11" fmla="*/ 163 h 242"/>
                <a:gd name="T12" fmla="*/ 335 w 472"/>
                <a:gd name="T13" fmla="*/ 165 h 242"/>
                <a:gd name="T14" fmla="*/ 339 w 472"/>
                <a:gd name="T15" fmla="*/ 162 h 242"/>
                <a:gd name="T16" fmla="*/ 345 w 472"/>
                <a:gd name="T17" fmla="*/ 163 h 242"/>
                <a:gd name="T18" fmla="*/ 352 w 472"/>
                <a:gd name="T19" fmla="*/ 175 h 242"/>
                <a:gd name="T20" fmla="*/ 381 w 472"/>
                <a:gd name="T21" fmla="*/ 189 h 242"/>
                <a:gd name="T22" fmla="*/ 375 w 472"/>
                <a:gd name="T23" fmla="*/ 191 h 242"/>
                <a:gd name="T24" fmla="*/ 380 w 472"/>
                <a:gd name="T25" fmla="*/ 216 h 242"/>
                <a:gd name="T26" fmla="*/ 378 w 472"/>
                <a:gd name="T27" fmla="*/ 218 h 242"/>
                <a:gd name="T28" fmla="*/ 385 w 472"/>
                <a:gd name="T29" fmla="*/ 205 h 242"/>
                <a:gd name="T30" fmla="*/ 394 w 472"/>
                <a:gd name="T31" fmla="*/ 230 h 242"/>
                <a:gd name="T32" fmla="*/ 394 w 472"/>
                <a:gd name="T33" fmla="*/ 237 h 242"/>
                <a:gd name="T34" fmla="*/ 401 w 472"/>
                <a:gd name="T35" fmla="*/ 220 h 242"/>
                <a:gd name="T36" fmla="*/ 409 w 472"/>
                <a:gd name="T37" fmla="*/ 217 h 242"/>
                <a:gd name="T38" fmla="*/ 427 w 472"/>
                <a:gd name="T39" fmla="*/ 188 h 242"/>
                <a:gd name="T40" fmla="*/ 436 w 472"/>
                <a:gd name="T41" fmla="*/ 169 h 242"/>
                <a:gd name="T42" fmla="*/ 461 w 472"/>
                <a:gd name="T43" fmla="*/ 143 h 242"/>
                <a:gd name="T44" fmla="*/ 469 w 472"/>
                <a:gd name="T45" fmla="*/ 134 h 242"/>
                <a:gd name="T46" fmla="*/ 472 w 472"/>
                <a:gd name="T47" fmla="*/ 132 h 242"/>
                <a:gd name="T48" fmla="*/ 464 w 472"/>
                <a:gd name="T49" fmla="*/ 120 h 242"/>
                <a:gd name="T50" fmla="*/ 455 w 472"/>
                <a:gd name="T51" fmla="*/ 110 h 242"/>
                <a:gd name="T52" fmla="*/ 433 w 472"/>
                <a:gd name="T53" fmla="*/ 107 h 242"/>
                <a:gd name="T54" fmla="*/ 411 w 472"/>
                <a:gd name="T55" fmla="*/ 116 h 242"/>
                <a:gd name="T56" fmla="*/ 395 w 472"/>
                <a:gd name="T57" fmla="*/ 129 h 242"/>
                <a:gd name="T58" fmla="*/ 378 w 472"/>
                <a:gd name="T59" fmla="*/ 133 h 242"/>
                <a:gd name="T60" fmla="*/ 385 w 472"/>
                <a:gd name="T61" fmla="*/ 143 h 242"/>
                <a:gd name="T62" fmla="*/ 359 w 472"/>
                <a:gd name="T63" fmla="*/ 149 h 242"/>
                <a:gd name="T64" fmla="*/ 333 w 472"/>
                <a:gd name="T65" fmla="*/ 134 h 242"/>
                <a:gd name="T66" fmla="*/ 338 w 472"/>
                <a:gd name="T67" fmla="*/ 143 h 242"/>
                <a:gd name="T68" fmla="*/ 333 w 472"/>
                <a:gd name="T69" fmla="*/ 127 h 242"/>
                <a:gd name="T70" fmla="*/ 335 w 472"/>
                <a:gd name="T71" fmla="*/ 126 h 242"/>
                <a:gd name="T72" fmla="*/ 322 w 472"/>
                <a:gd name="T73" fmla="*/ 143 h 242"/>
                <a:gd name="T74" fmla="*/ 317 w 472"/>
                <a:gd name="T75" fmla="*/ 147 h 242"/>
                <a:gd name="T76" fmla="*/ 309 w 472"/>
                <a:gd name="T77" fmla="*/ 156 h 242"/>
                <a:gd name="T78" fmla="*/ 277 w 472"/>
                <a:gd name="T79" fmla="*/ 150 h 242"/>
                <a:gd name="T80" fmla="*/ 251 w 472"/>
                <a:gd name="T81" fmla="*/ 142 h 242"/>
                <a:gd name="T82" fmla="*/ 232 w 472"/>
                <a:gd name="T83" fmla="*/ 134 h 242"/>
                <a:gd name="T84" fmla="*/ 197 w 472"/>
                <a:gd name="T85" fmla="*/ 114 h 242"/>
                <a:gd name="T86" fmla="*/ 210 w 472"/>
                <a:gd name="T87" fmla="*/ 90 h 242"/>
                <a:gd name="T88" fmla="*/ 196 w 472"/>
                <a:gd name="T89" fmla="*/ 0 h 242"/>
                <a:gd name="T90" fmla="*/ 93 w 472"/>
                <a:gd name="T91" fmla="*/ 91 h 242"/>
                <a:gd name="T92" fmla="*/ 70 w 472"/>
                <a:gd name="T93" fmla="*/ 121 h 242"/>
                <a:gd name="T94" fmla="*/ 65 w 472"/>
                <a:gd name="T95" fmla="*/ 124 h 242"/>
                <a:gd name="T96" fmla="*/ 45 w 472"/>
                <a:gd name="T97" fmla="*/ 132 h 242"/>
                <a:gd name="T98" fmla="*/ 33 w 472"/>
                <a:gd name="T99" fmla="*/ 140 h 242"/>
                <a:gd name="T100" fmla="*/ 26 w 472"/>
                <a:gd name="T101" fmla="*/ 155 h 242"/>
                <a:gd name="T102" fmla="*/ 25 w 472"/>
                <a:gd name="T103" fmla="*/ 155 h 242"/>
                <a:gd name="T104" fmla="*/ 35 w 472"/>
                <a:gd name="T105" fmla="*/ 169 h 242"/>
                <a:gd name="T106" fmla="*/ 52 w 472"/>
                <a:gd name="T107" fmla="*/ 194 h 242"/>
                <a:gd name="T108" fmla="*/ 42 w 472"/>
                <a:gd name="T109" fmla="*/ 192 h 242"/>
                <a:gd name="T110" fmla="*/ 42 w 472"/>
                <a:gd name="T111" fmla="*/ 189 h 242"/>
                <a:gd name="T112" fmla="*/ 16 w 472"/>
                <a:gd name="T113" fmla="*/ 198 h 242"/>
                <a:gd name="T114" fmla="*/ 16 w 472"/>
                <a:gd name="T115" fmla="*/ 191 h 242"/>
                <a:gd name="T116" fmla="*/ 3 w 472"/>
                <a:gd name="T117" fmla="*/ 204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242">
                  <a:moveTo>
                    <a:pt x="333" y="231"/>
                  </a:moveTo>
                  <a:lnTo>
                    <a:pt x="335" y="242"/>
                  </a:lnTo>
                  <a:lnTo>
                    <a:pt x="338" y="242"/>
                  </a:lnTo>
                  <a:lnTo>
                    <a:pt x="335" y="231"/>
                  </a:lnTo>
                  <a:lnTo>
                    <a:pt x="333" y="231"/>
                  </a:lnTo>
                  <a:close/>
                  <a:moveTo>
                    <a:pt x="330" y="217"/>
                  </a:moveTo>
                  <a:lnTo>
                    <a:pt x="332" y="227"/>
                  </a:lnTo>
                  <a:lnTo>
                    <a:pt x="335" y="227"/>
                  </a:lnTo>
                  <a:lnTo>
                    <a:pt x="332" y="217"/>
                  </a:lnTo>
                  <a:lnTo>
                    <a:pt x="330" y="217"/>
                  </a:lnTo>
                  <a:close/>
                  <a:moveTo>
                    <a:pt x="329" y="201"/>
                  </a:moveTo>
                  <a:lnTo>
                    <a:pt x="327" y="205"/>
                  </a:lnTo>
                  <a:lnTo>
                    <a:pt x="327" y="205"/>
                  </a:lnTo>
                  <a:lnTo>
                    <a:pt x="329" y="211"/>
                  </a:lnTo>
                  <a:lnTo>
                    <a:pt x="332" y="211"/>
                  </a:lnTo>
                  <a:lnTo>
                    <a:pt x="330" y="205"/>
                  </a:lnTo>
                  <a:lnTo>
                    <a:pt x="330" y="201"/>
                  </a:lnTo>
                  <a:lnTo>
                    <a:pt x="329" y="201"/>
                  </a:lnTo>
                  <a:close/>
                  <a:moveTo>
                    <a:pt x="323" y="189"/>
                  </a:moveTo>
                  <a:lnTo>
                    <a:pt x="329" y="195"/>
                  </a:lnTo>
                  <a:lnTo>
                    <a:pt x="329" y="195"/>
                  </a:lnTo>
                  <a:lnTo>
                    <a:pt x="329" y="197"/>
                  </a:lnTo>
                  <a:lnTo>
                    <a:pt x="332" y="197"/>
                  </a:lnTo>
                  <a:lnTo>
                    <a:pt x="332" y="195"/>
                  </a:lnTo>
                  <a:lnTo>
                    <a:pt x="332" y="194"/>
                  </a:lnTo>
                  <a:lnTo>
                    <a:pt x="330" y="194"/>
                  </a:lnTo>
                  <a:lnTo>
                    <a:pt x="330" y="192"/>
                  </a:lnTo>
                  <a:lnTo>
                    <a:pt x="325" y="188"/>
                  </a:lnTo>
                  <a:lnTo>
                    <a:pt x="323" y="189"/>
                  </a:lnTo>
                  <a:close/>
                  <a:moveTo>
                    <a:pt x="327" y="178"/>
                  </a:moveTo>
                  <a:lnTo>
                    <a:pt x="326" y="178"/>
                  </a:lnTo>
                  <a:lnTo>
                    <a:pt x="325" y="178"/>
                  </a:lnTo>
                  <a:lnTo>
                    <a:pt x="320" y="185"/>
                  </a:lnTo>
                  <a:lnTo>
                    <a:pt x="322" y="187"/>
                  </a:lnTo>
                  <a:lnTo>
                    <a:pt x="326" y="181"/>
                  </a:lnTo>
                  <a:lnTo>
                    <a:pt x="327" y="181"/>
                  </a:lnTo>
                  <a:lnTo>
                    <a:pt x="327" y="178"/>
                  </a:lnTo>
                  <a:close/>
                  <a:moveTo>
                    <a:pt x="327" y="172"/>
                  </a:moveTo>
                  <a:lnTo>
                    <a:pt x="330" y="174"/>
                  </a:lnTo>
                  <a:lnTo>
                    <a:pt x="330" y="174"/>
                  </a:lnTo>
                  <a:lnTo>
                    <a:pt x="332" y="178"/>
                  </a:lnTo>
                  <a:lnTo>
                    <a:pt x="332" y="178"/>
                  </a:lnTo>
                  <a:lnTo>
                    <a:pt x="332" y="178"/>
                  </a:lnTo>
                  <a:lnTo>
                    <a:pt x="332" y="178"/>
                  </a:lnTo>
                  <a:lnTo>
                    <a:pt x="333" y="179"/>
                  </a:lnTo>
                  <a:lnTo>
                    <a:pt x="333" y="178"/>
                  </a:lnTo>
                  <a:lnTo>
                    <a:pt x="333" y="178"/>
                  </a:lnTo>
                  <a:lnTo>
                    <a:pt x="333" y="172"/>
                  </a:lnTo>
                  <a:lnTo>
                    <a:pt x="332" y="171"/>
                  </a:lnTo>
                  <a:lnTo>
                    <a:pt x="332" y="171"/>
                  </a:lnTo>
                  <a:lnTo>
                    <a:pt x="327" y="171"/>
                  </a:lnTo>
                  <a:lnTo>
                    <a:pt x="327" y="172"/>
                  </a:lnTo>
                  <a:close/>
                  <a:moveTo>
                    <a:pt x="326" y="159"/>
                  </a:moveTo>
                  <a:lnTo>
                    <a:pt x="322" y="166"/>
                  </a:lnTo>
                  <a:lnTo>
                    <a:pt x="323" y="169"/>
                  </a:lnTo>
                  <a:lnTo>
                    <a:pt x="326" y="169"/>
                  </a:lnTo>
                  <a:lnTo>
                    <a:pt x="325" y="168"/>
                  </a:lnTo>
                  <a:lnTo>
                    <a:pt x="329" y="161"/>
                  </a:lnTo>
                  <a:lnTo>
                    <a:pt x="326" y="159"/>
                  </a:lnTo>
                  <a:close/>
                  <a:moveTo>
                    <a:pt x="335" y="159"/>
                  </a:moveTo>
                  <a:lnTo>
                    <a:pt x="333" y="162"/>
                  </a:lnTo>
                  <a:lnTo>
                    <a:pt x="332" y="163"/>
                  </a:lnTo>
                  <a:lnTo>
                    <a:pt x="333" y="163"/>
                  </a:lnTo>
                  <a:lnTo>
                    <a:pt x="333" y="162"/>
                  </a:lnTo>
                  <a:lnTo>
                    <a:pt x="333" y="162"/>
                  </a:lnTo>
                  <a:lnTo>
                    <a:pt x="333" y="163"/>
                  </a:lnTo>
                  <a:lnTo>
                    <a:pt x="333" y="163"/>
                  </a:lnTo>
                  <a:lnTo>
                    <a:pt x="333" y="162"/>
                  </a:lnTo>
                  <a:lnTo>
                    <a:pt x="330" y="159"/>
                  </a:lnTo>
                  <a:lnTo>
                    <a:pt x="329" y="161"/>
                  </a:lnTo>
                  <a:lnTo>
                    <a:pt x="332" y="165"/>
                  </a:lnTo>
                  <a:lnTo>
                    <a:pt x="332" y="165"/>
                  </a:lnTo>
                  <a:lnTo>
                    <a:pt x="333" y="165"/>
                  </a:lnTo>
                  <a:lnTo>
                    <a:pt x="333" y="165"/>
                  </a:lnTo>
                  <a:lnTo>
                    <a:pt x="333" y="165"/>
                  </a:lnTo>
                  <a:lnTo>
                    <a:pt x="333" y="165"/>
                  </a:lnTo>
                  <a:lnTo>
                    <a:pt x="335" y="165"/>
                  </a:lnTo>
                  <a:lnTo>
                    <a:pt x="335" y="165"/>
                  </a:lnTo>
                  <a:lnTo>
                    <a:pt x="336" y="161"/>
                  </a:lnTo>
                  <a:lnTo>
                    <a:pt x="335" y="159"/>
                  </a:lnTo>
                  <a:close/>
                  <a:moveTo>
                    <a:pt x="346" y="163"/>
                  </a:moveTo>
                  <a:lnTo>
                    <a:pt x="346" y="163"/>
                  </a:lnTo>
                  <a:lnTo>
                    <a:pt x="345" y="159"/>
                  </a:lnTo>
                  <a:lnTo>
                    <a:pt x="343" y="163"/>
                  </a:lnTo>
                  <a:lnTo>
                    <a:pt x="343" y="165"/>
                  </a:lnTo>
                  <a:lnTo>
                    <a:pt x="340" y="165"/>
                  </a:lnTo>
                  <a:lnTo>
                    <a:pt x="340" y="163"/>
                  </a:lnTo>
                  <a:lnTo>
                    <a:pt x="339" y="162"/>
                  </a:lnTo>
                  <a:lnTo>
                    <a:pt x="336" y="163"/>
                  </a:lnTo>
                  <a:lnTo>
                    <a:pt x="338" y="165"/>
                  </a:lnTo>
                  <a:lnTo>
                    <a:pt x="338" y="166"/>
                  </a:lnTo>
                  <a:lnTo>
                    <a:pt x="339" y="166"/>
                  </a:lnTo>
                  <a:lnTo>
                    <a:pt x="339" y="166"/>
                  </a:lnTo>
                  <a:lnTo>
                    <a:pt x="343" y="166"/>
                  </a:lnTo>
                  <a:lnTo>
                    <a:pt x="343" y="166"/>
                  </a:lnTo>
                  <a:lnTo>
                    <a:pt x="345" y="166"/>
                  </a:lnTo>
                  <a:lnTo>
                    <a:pt x="345" y="166"/>
                  </a:lnTo>
                  <a:lnTo>
                    <a:pt x="346" y="163"/>
                  </a:lnTo>
                  <a:lnTo>
                    <a:pt x="345" y="163"/>
                  </a:lnTo>
                  <a:lnTo>
                    <a:pt x="343" y="163"/>
                  </a:lnTo>
                  <a:lnTo>
                    <a:pt x="343" y="163"/>
                  </a:lnTo>
                  <a:lnTo>
                    <a:pt x="346" y="163"/>
                  </a:lnTo>
                  <a:close/>
                  <a:moveTo>
                    <a:pt x="352" y="175"/>
                  </a:moveTo>
                  <a:lnTo>
                    <a:pt x="349" y="172"/>
                  </a:lnTo>
                  <a:lnTo>
                    <a:pt x="348" y="168"/>
                  </a:lnTo>
                  <a:lnTo>
                    <a:pt x="345" y="169"/>
                  </a:lnTo>
                  <a:lnTo>
                    <a:pt x="346" y="174"/>
                  </a:lnTo>
                  <a:lnTo>
                    <a:pt x="346" y="174"/>
                  </a:lnTo>
                  <a:lnTo>
                    <a:pt x="351" y="178"/>
                  </a:lnTo>
                  <a:lnTo>
                    <a:pt x="352" y="175"/>
                  </a:lnTo>
                  <a:close/>
                  <a:moveTo>
                    <a:pt x="367" y="178"/>
                  </a:moveTo>
                  <a:lnTo>
                    <a:pt x="356" y="176"/>
                  </a:lnTo>
                  <a:lnTo>
                    <a:pt x="356" y="179"/>
                  </a:lnTo>
                  <a:lnTo>
                    <a:pt x="367" y="181"/>
                  </a:lnTo>
                  <a:lnTo>
                    <a:pt x="367" y="178"/>
                  </a:lnTo>
                  <a:close/>
                  <a:moveTo>
                    <a:pt x="382" y="179"/>
                  </a:moveTo>
                  <a:lnTo>
                    <a:pt x="372" y="178"/>
                  </a:lnTo>
                  <a:lnTo>
                    <a:pt x="371" y="181"/>
                  </a:lnTo>
                  <a:lnTo>
                    <a:pt x="381" y="182"/>
                  </a:lnTo>
                  <a:lnTo>
                    <a:pt x="382" y="179"/>
                  </a:lnTo>
                  <a:close/>
                  <a:moveTo>
                    <a:pt x="381" y="189"/>
                  </a:moveTo>
                  <a:lnTo>
                    <a:pt x="390" y="181"/>
                  </a:lnTo>
                  <a:lnTo>
                    <a:pt x="387" y="181"/>
                  </a:lnTo>
                  <a:lnTo>
                    <a:pt x="387" y="182"/>
                  </a:lnTo>
                  <a:lnTo>
                    <a:pt x="387" y="182"/>
                  </a:lnTo>
                  <a:lnTo>
                    <a:pt x="387" y="181"/>
                  </a:lnTo>
                  <a:lnTo>
                    <a:pt x="387" y="181"/>
                  </a:lnTo>
                  <a:lnTo>
                    <a:pt x="380" y="188"/>
                  </a:lnTo>
                  <a:lnTo>
                    <a:pt x="381" y="189"/>
                  </a:lnTo>
                  <a:close/>
                  <a:moveTo>
                    <a:pt x="371" y="201"/>
                  </a:moveTo>
                  <a:lnTo>
                    <a:pt x="378" y="192"/>
                  </a:lnTo>
                  <a:lnTo>
                    <a:pt x="375" y="191"/>
                  </a:lnTo>
                  <a:lnTo>
                    <a:pt x="369" y="198"/>
                  </a:lnTo>
                  <a:lnTo>
                    <a:pt x="371" y="201"/>
                  </a:lnTo>
                  <a:close/>
                  <a:moveTo>
                    <a:pt x="374" y="213"/>
                  </a:moveTo>
                  <a:lnTo>
                    <a:pt x="374" y="211"/>
                  </a:lnTo>
                  <a:lnTo>
                    <a:pt x="371" y="204"/>
                  </a:lnTo>
                  <a:lnTo>
                    <a:pt x="368" y="204"/>
                  </a:lnTo>
                  <a:lnTo>
                    <a:pt x="371" y="213"/>
                  </a:lnTo>
                  <a:lnTo>
                    <a:pt x="372" y="214"/>
                  </a:lnTo>
                  <a:lnTo>
                    <a:pt x="374" y="213"/>
                  </a:lnTo>
                  <a:close/>
                  <a:moveTo>
                    <a:pt x="382" y="210"/>
                  </a:moveTo>
                  <a:lnTo>
                    <a:pt x="380" y="216"/>
                  </a:lnTo>
                  <a:lnTo>
                    <a:pt x="378" y="216"/>
                  </a:lnTo>
                  <a:lnTo>
                    <a:pt x="380" y="217"/>
                  </a:lnTo>
                  <a:lnTo>
                    <a:pt x="380" y="216"/>
                  </a:lnTo>
                  <a:lnTo>
                    <a:pt x="380" y="216"/>
                  </a:lnTo>
                  <a:lnTo>
                    <a:pt x="380" y="217"/>
                  </a:lnTo>
                  <a:lnTo>
                    <a:pt x="380" y="216"/>
                  </a:lnTo>
                  <a:lnTo>
                    <a:pt x="380" y="216"/>
                  </a:lnTo>
                  <a:lnTo>
                    <a:pt x="378" y="216"/>
                  </a:lnTo>
                  <a:lnTo>
                    <a:pt x="377" y="217"/>
                  </a:lnTo>
                  <a:lnTo>
                    <a:pt x="378" y="218"/>
                  </a:lnTo>
                  <a:lnTo>
                    <a:pt x="378" y="218"/>
                  </a:lnTo>
                  <a:lnTo>
                    <a:pt x="380" y="218"/>
                  </a:lnTo>
                  <a:lnTo>
                    <a:pt x="380" y="218"/>
                  </a:lnTo>
                  <a:lnTo>
                    <a:pt x="380" y="218"/>
                  </a:lnTo>
                  <a:lnTo>
                    <a:pt x="380" y="218"/>
                  </a:lnTo>
                  <a:lnTo>
                    <a:pt x="381" y="218"/>
                  </a:lnTo>
                  <a:lnTo>
                    <a:pt x="381" y="218"/>
                  </a:lnTo>
                  <a:lnTo>
                    <a:pt x="385" y="211"/>
                  </a:lnTo>
                  <a:lnTo>
                    <a:pt x="382" y="210"/>
                  </a:lnTo>
                  <a:close/>
                  <a:moveTo>
                    <a:pt x="391" y="216"/>
                  </a:moveTo>
                  <a:lnTo>
                    <a:pt x="387" y="204"/>
                  </a:lnTo>
                  <a:lnTo>
                    <a:pt x="385" y="205"/>
                  </a:lnTo>
                  <a:lnTo>
                    <a:pt x="388" y="207"/>
                  </a:lnTo>
                  <a:lnTo>
                    <a:pt x="388" y="207"/>
                  </a:lnTo>
                  <a:lnTo>
                    <a:pt x="387" y="207"/>
                  </a:lnTo>
                  <a:lnTo>
                    <a:pt x="385" y="207"/>
                  </a:lnTo>
                  <a:lnTo>
                    <a:pt x="388" y="217"/>
                  </a:lnTo>
                  <a:lnTo>
                    <a:pt x="391" y="216"/>
                  </a:lnTo>
                  <a:close/>
                  <a:moveTo>
                    <a:pt x="394" y="230"/>
                  </a:moveTo>
                  <a:lnTo>
                    <a:pt x="393" y="221"/>
                  </a:lnTo>
                  <a:lnTo>
                    <a:pt x="390" y="221"/>
                  </a:lnTo>
                  <a:lnTo>
                    <a:pt x="393" y="231"/>
                  </a:lnTo>
                  <a:lnTo>
                    <a:pt x="394" y="230"/>
                  </a:lnTo>
                  <a:close/>
                  <a:moveTo>
                    <a:pt x="403" y="231"/>
                  </a:moveTo>
                  <a:lnTo>
                    <a:pt x="395" y="236"/>
                  </a:lnTo>
                  <a:lnTo>
                    <a:pt x="395" y="236"/>
                  </a:lnTo>
                  <a:lnTo>
                    <a:pt x="395" y="236"/>
                  </a:lnTo>
                  <a:lnTo>
                    <a:pt x="395" y="237"/>
                  </a:lnTo>
                  <a:lnTo>
                    <a:pt x="395" y="236"/>
                  </a:lnTo>
                  <a:lnTo>
                    <a:pt x="395" y="236"/>
                  </a:lnTo>
                  <a:lnTo>
                    <a:pt x="395" y="236"/>
                  </a:lnTo>
                  <a:lnTo>
                    <a:pt x="393" y="236"/>
                  </a:lnTo>
                  <a:lnTo>
                    <a:pt x="394" y="236"/>
                  </a:lnTo>
                  <a:lnTo>
                    <a:pt x="394" y="237"/>
                  </a:lnTo>
                  <a:lnTo>
                    <a:pt x="394" y="237"/>
                  </a:lnTo>
                  <a:lnTo>
                    <a:pt x="394" y="237"/>
                  </a:lnTo>
                  <a:lnTo>
                    <a:pt x="395" y="239"/>
                  </a:lnTo>
                  <a:lnTo>
                    <a:pt x="395" y="239"/>
                  </a:lnTo>
                  <a:lnTo>
                    <a:pt x="395" y="237"/>
                  </a:lnTo>
                  <a:lnTo>
                    <a:pt x="397" y="237"/>
                  </a:lnTo>
                  <a:lnTo>
                    <a:pt x="404" y="234"/>
                  </a:lnTo>
                  <a:lnTo>
                    <a:pt x="403" y="231"/>
                  </a:lnTo>
                  <a:close/>
                  <a:moveTo>
                    <a:pt x="404" y="218"/>
                  </a:moveTo>
                  <a:lnTo>
                    <a:pt x="403" y="220"/>
                  </a:lnTo>
                  <a:lnTo>
                    <a:pt x="401" y="220"/>
                  </a:lnTo>
                  <a:lnTo>
                    <a:pt x="401" y="221"/>
                  </a:lnTo>
                  <a:lnTo>
                    <a:pt x="401" y="223"/>
                  </a:lnTo>
                  <a:lnTo>
                    <a:pt x="403" y="229"/>
                  </a:lnTo>
                  <a:lnTo>
                    <a:pt x="404" y="229"/>
                  </a:lnTo>
                  <a:lnTo>
                    <a:pt x="403" y="223"/>
                  </a:lnTo>
                  <a:lnTo>
                    <a:pt x="404" y="221"/>
                  </a:lnTo>
                  <a:lnTo>
                    <a:pt x="404" y="221"/>
                  </a:lnTo>
                  <a:lnTo>
                    <a:pt x="404" y="218"/>
                  </a:lnTo>
                  <a:close/>
                  <a:moveTo>
                    <a:pt x="406" y="207"/>
                  </a:moveTo>
                  <a:lnTo>
                    <a:pt x="406" y="217"/>
                  </a:lnTo>
                  <a:lnTo>
                    <a:pt x="409" y="217"/>
                  </a:lnTo>
                  <a:lnTo>
                    <a:pt x="409" y="207"/>
                  </a:lnTo>
                  <a:lnTo>
                    <a:pt x="406" y="207"/>
                  </a:lnTo>
                  <a:close/>
                  <a:moveTo>
                    <a:pt x="420" y="200"/>
                  </a:moveTo>
                  <a:lnTo>
                    <a:pt x="410" y="203"/>
                  </a:lnTo>
                  <a:lnTo>
                    <a:pt x="411" y="205"/>
                  </a:lnTo>
                  <a:lnTo>
                    <a:pt x="422" y="203"/>
                  </a:lnTo>
                  <a:lnTo>
                    <a:pt x="420" y="200"/>
                  </a:lnTo>
                  <a:close/>
                  <a:moveTo>
                    <a:pt x="426" y="187"/>
                  </a:moveTo>
                  <a:lnTo>
                    <a:pt x="422" y="197"/>
                  </a:lnTo>
                  <a:lnTo>
                    <a:pt x="424" y="197"/>
                  </a:lnTo>
                  <a:lnTo>
                    <a:pt x="427" y="188"/>
                  </a:lnTo>
                  <a:lnTo>
                    <a:pt x="426" y="187"/>
                  </a:lnTo>
                  <a:close/>
                  <a:moveTo>
                    <a:pt x="433" y="174"/>
                  </a:moveTo>
                  <a:lnTo>
                    <a:pt x="429" y="179"/>
                  </a:lnTo>
                  <a:lnTo>
                    <a:pt x="427" y="182"/>
                  </a:lnTo>
                  <a:lnTo>
                    <a:pt x="429" y="184"/>
                  </a:lnTo>
                  <a:lnTo>
                    <a:pt x="430" y="181"/>
                  </a:lnTo>
                  <a:lnTo>
                    <a:pt x="435" y="175"/>
                  </a:lnTo>
                  <a:lnTo>
                    <a:pt x="433" y="174"/>
                  </a:lnTo>
                  <a:close/>
                  <a:moveTo>
                    <a:pt x="437" y="161"/>
                  </a:moveTo>
                  <a:lnTo>
                    <a:pt x="436" y="168"/>
                  </a:lnTo>
                  <a:lnTo>
                    <a:pt x="436" y="169"/>
                  </a:lnTo>
                  <a:lnTo>
                    <a:pt x="437" y="171"/>
                  </a:lnTo>
                  <a:lnTo>
                    <a:pt x="439" y="169"/>
                  </a:lnTo>
                  <a:lnTo>
                    <a:pt x="439" y="169"/>
                  </a:lnTo>
                  <a:lnTo>
                    <a:pt x="439" y="161"/>
                  </a:lnTo>
                  <a:lnTo>
                    <a:pt x="437" y="161"/>
                  </a:lnTo>
                  <a:close/>
                  <a:moveTo>
                    <a:pt x="446" y="149"/>
                  </a:moveTo>
                  <a:lnTo>
                    <a:pt x="439" y="155"/>
                  </a:lnTo>
                  <a:lnTo>
                    <a:pt x="440" y="156"/>
                  </a:lnTo>
                  <a:lnTo>
                    <a:pt x="448" y="150"/>
                  </a:lnTo>
                  <a:lnTo>
                    <a:pt x="446" y="149"/>
                  </a:lnTo>
                  <a:close/>
                  <a:moveTo>
                    <a:pt x="461" y="143"/>
                  </a:moveTo>
                  <a:lnTo>
                    <a:pt x="452" y="145"/>
                  </a:lnTo>
                  <a:lnTo>
                    <a:pt x="451" y="145"/>
                  </a:lnTo>
                  <a:lnTo>
                    <a:pt x="452" y="147"/>
                  </a:lnTo>
                  <a:lnTo>
                    <a:pt x="452" y="146"/>
                  </a:lnTo>
                  <a:lnTo>
                    <a:pt x="461" y="146"/>
                  </a:lnTo>
                  <a:lnTo>
                    <a:pt x="461" y="143"/>
                  </a:lnTo>
                  <a:lnTo>
                    <a:pt x="461" y="143"/>
                  </a:lnTo>
                  <a:close/>
                  <a:moveTo>
                    <a:pt x="466" y="133"/>
                  </a:moveTo>
                  <a:lnTo>
                    <a:pt x="465" y="143"/>
                  </a:lnTo>
                  <a:lnTo>
                    <a:pt x="468" y="145"/>
                  </a:lnTo>
                  <a:lnTo>
                    <a:pt x="469" y="134"/>
                  </a:lnTo>
                  <a:lnTo>
                    <a:pt x="466" y="133"/>
                  </a:lnTo>
                  <a:close/>
                  <a:moveTo>
                    <a:pt x="466" y="123"/>
                  </a:moveTo>
                  <a:lnTo>
                    <a:pt x="471" y="127"/>
                  </a:lnTo>
                  <a:lnTo>
                    <a:pt x="471" y="127"/>
                  </a:lnTo>
                  <a:lnTo>
                    <a:pt x="471" y="130"/>
                  </a:lnTo>
                  <a:lnTo>
                    <a:pt x="472" y="130"/>
                  </a:lnTo>
                  <a:lnTo>
                    <a:pt x="471" y="130"/>
                  </a:lnTo>
                  <a:lnTo>
                    <a:pt x="471" y="130"/>
                  </a:lnTo>
                  <a:lnTo>
                    <a:pt x="472" y="132"/>
                  </a:lnTo>
                  <a:lnTo>
                    <a:pt x="472" y="132"/>
                  </a:lnTo>
                  <a:lnTo>
                    <a:pt x="472" y="132"/>
                  </a:lnTo>
                  <a:lnTo>
                    <a:pt x="472" y="127"/>
                  </a:lnTo>
                  <a:lnTo>
                    <a:pt x="472" y="126"/>
                  </a:lnTo>
                  <a:lnTo>
                    <a:pt x="472" y="126"/>
                  </a:lnTo>
                  <a:lnTo>
                    <a:pt x="472" y="126"/>
                  </a:lnTo>
                  <a:lnTo>
                    <a:pt x="468" y="121"/>
                  </a:lnTo>
                  <a:lnTo>
                    <a:pt x="466" y="123"/>
                  </a:lnTo>
                  <a:close/>
                  <a:moveTo>
                    <a:pt x="455" y="117"/>
                  </a:moveTo>
                  <a:lnTo>
                    <a:pt x="455" y="120"/>
                  </a:lnTo>
                  <a:lnTo>
                    <a:pt x="453" y="120"/>
                  </a:lnTo>
                  <a:lnTo>
                    <a:pt x="462" y="121"/>
                  </a:lnTo>
                  <a:lnTo>
                    <a:pt x="464" y="120"/>
                  </a:lnTo>
                  <a:lnTo>
                    <a:pt x="456" y="118"/>
                  </a:lnTo>
                  <a:lnTo>
                    <a:pt x="456" y="117"/>
                  </a:lnTo>
                  <a:lnTo>
                    <a:pt x="455" y="117"/>
                  </a:lnTo>
                  <a:close/>
                  <a:moveTo>
                    <a:pt x="451" y="104"/>
                  </a:moveTo>
                  <a:lnTo>
                    <a:pt x="452" y="111"/>
                  </a:lnTo>
                  <a:lnTo>
                    <a:pt x="455" y="113"/>
                  </a:lnTo>
                  <a:lnTo>
                    <a:pt x="455" y="113"/>
                  </a:lnTo>
                  <a:lnTo>
                    <a:pt x="458" y="111"/>
                  </a:lnTo>
                  <a:lnTo>
                    <a:pt x="456" y="110"/>
                  </a:lnTo>
                  <a:lnTo>
                    <a:pt x="456" y="110"/>
                  </a:lnTo>
                  <a:lnTo>
                    <a:pt x="455" y="110"/>
                  </a:lnTo>
                  <a:lnTo>
                    <a:pt x="452" y="103"/>
                  </a:lnTo>
                  <a:lnTo>
                    <a:pt x="451" y="104"/>
                  </a:lnTo>
                  <a:close/>
                  <a:moveTo>
                    <a:pt x="439" y="107"/>
                  </a:moveTo>
                  <a:lnTo>
                    <a:pt x="448" y="104"/>
                  </a:lnTo>
                  <a:lnTo>
                    <a:pt x="448" y="101"/>
                  </a:lnTo>
                  <a:lnTo>
                    <a:pt x="437" y="105"/>
                  </a:lnTo>
                  <a:lnTo>
                    <a:pt x="439" y="107"/>
                  </a:lnTo>
                  <a:close/>
                  <a:moveTo>
                    <a:pt x="424" y="108"/>
                  </a:moveTo>
                  <a:lnTo>
                    <a:pt x="426" y="107"/>
                  </a:lnTo>
                  <a:lnTo>
                    <a:pt x="426" y="107"/>
                  </a:lnTo>
                  <a:lnTo>
                    <a:pt x="433" y="107"/>
                  </a:lnTo>
                  <a:lnTo>
                    <a:pt x="433" y="104"/>
                  </a:lnTo>
                  <a:lnTo>
                    <a:pt x="426" y="104"/>
                  </a:lnTo>
                  <a:lnTo>
                    <a:pt x="426" y="104"/>
                  </a:lnTo>
                  <a:lnTo>
                    <a:pt x="424" y="104"/>
                  </a:lnTo>
                  <a:lnTo>
                    <a:pt x="423" y="105"/>
                  </a:lnTo>
                  <a:lnTo>
                    <a:pt x="424" y="108"/>
                  </a:lnTo>
                  <a:lnTo>
                    <a:pt x="424" y="108"/>
                  </a:lnTo>
                  <a:close/>
                  <a:moveTo>
                    <a:pt x="413" y="117"/>
                  </a:moveTo>
                  <a:lnTo>
                    <a:pt x="420" y="111"/>
                  </a:lnTo>
                  <a:lnTo>
                    <a:pt x="419" y="110"/>
                  </a:lnTo>
                  <a:lnTo>
                    <a:pt x="411" y="116"/>
                  </a:lnTo>
                  <a:lnTo>
                    <a:pt x="413" y="117"/>
                  </a:lnTo>
                  <a:close/>
                  <a:moveTo>
                    <a:pt x="400" y="126"/>
                  </a:moveTo>
                  <a:lnTo>
                    <a:pt x="403" y="126"/>
                  </a:lnTo>
                  <a:lnTo>
                    <a:pt x="403" y="126"/>
                  </a:lnTo>
                  <a:lnTo>
                    <a:pt x="409" y="120"/>
                  </a:lnTo>
                  <a:lnTo>
                    <a:pt x="407" y="118"/>
                  </a:lnTo>
                  <a:lnTo>
                    <a:pt x="401" y="123"/>
                  </a:lnTo>
                  <a:lnTo>
                    <a:pt x="398" y="124"/>
                  </a:lnTo>
                  <a:lnTo>
                    <a:pt x="400" y="126"/>
                  </a:lnTo>
                  <a:close/>
                  <a:moveTo>
                    <a:pt x="385" y="132"/>
                  </a:moveTo>
                  <a:lnTo>
                    <a:pt x="395" y="129"/>
                  </a:lnTo>
                  <a:lnTo>
                    <a:pt x="394" y="126"/>
                  </a:lnTo>
                  <a:lnTo>
                    <a:pt x="384" y="129"/>
                  </a:lnTo>
                  <a:lnTo>
                    <a:pt x="385" y="132"/>
                  </a:lnTo>
                  <a:close/>
                  <a:moveTo>
                    <a:pt x="384" y="139"/>
                  </a:moveTo>
                  <a:lnTo>
                    <a:pt x="381" y="137"/>
                  </a:lnTo>
                  <a:lnTo>
                    <a:pt x="381" y="137"/>
                  </a:lnTo>
                  <a:lnTo>
                    <a:pt x="381" y="133"/>
                  </a:lnTo>
                  <a:lnTo>
                    <a:pt x="381" y="133"/>
                  </a:lnTo>
                  <a:lnTo>
                    <a:pt x="380" y="132"/>
                  </a:lnTo>
                  <a:lnTo>
                    <a:pt x="380" y="133"/>
                  </a:lnTo>
                  <a:lnTo>
                    <a:pt x="378" y="133"/>
                  </a:lnTo>
                  <a:lnTo>
                    <a:pt x="378" y="137"/>
                  </a:lnTo>
                  <a:lnTo>
                    <a:pt x="378" y="139"/>
                  </a:lnTo>
                  <a:lnTo>
                    <a:pt x="380" y="139"/>
                  </a:lnTo>
                  <a:lnTo>
                    <a:pt x="380" y="140"/>
                  </a:lnTo>
                  <a:lnTo>
                    <a:pt x="384" y="142"/>
                  </a:lnTo>
                  <a:lnTo>
                    <a:pt x="384" y="139"/>
                  </a:lnTo>
                  <a:close/>
                  <a:moveTo>
                    <a:pt x="380" y="149"/>
                  </a:moveTo>
                  <a:lnTo>
                    <a:pt x="384" y="149"/>
                  </a:lnTo>
                  <a:lnTo>
                    <a:pt x="385" y="149"/>
                  </a:lnTo>
                  <a:lnTo>
                    <a:pt x="387" y="143"/>
                  </a:lnTo>
                  <a:lnTo>
                    <a:pt x="385" y="143"/>
                  </a:lnTo>
                  <a:lnTo>
                    <a:pt x="384" y="146"/>
                  </a:lnTo>
                  <a:lnTo>
                    <a:pt x="380" y="147"/>
                  </a:lnTo>
                  <a:lnTo>
                    <a:pt x="380" y="149"/>
                  </a:lnTo>
                  <a:close/>
                  <a:moveTo>
                    <a:pt x="364" y="152"/>
                  </a:moveTo>
                  <a:lnTo>
                    <a:pt x="374" y="150"/>
                  </a:lnTo>
                  <a:lnTo>
                    <a:pt x="374" y="147"/>
                  </a:lnTo>
                  <a:lnTo>
                    <a:pt x="364" y="149"/>
                  </a:lnTo>
                  <a:lnTo>
                    <a:pt x="364" y="152"/>
                  </a:lnTo>
                  <a:close/>
                  <a:moveTo>
                    <a:pt x="349" y="153"/>
                  </a:moveTo>
                  <a:lnTo>
                    <a:pt x="359" y="152"/>
                  </a:lnTo>
                  <a:lnTo>
                    <a:pt x="359" y="149"/>
                  </a:lnTo>
                  <a:lnTo>
                    <a:pt x="349" y="150"/>
                  </a:lnTo>
                  <a:lnTo>
                    <a:pt x="349" y="153"/>
                  </a:lnTo>
                  <a:close/>
                  <a:moveTo>
                    <a:pt x="335" y="147"/>
                  </a:moveTo>
                  <a:lnTo>
                    <a:pt x="335" y="149"/>
                  </a:lnTo>
                  <a:lnTo>
                    <a:pt x="335" y="149"/>
                  </a:lnTo>
                  <a:lnTo>
                    <a:pt x="343" y="152"/>
                  </a:lnTo>
                  <a:lnTo>
                    <a:pt x="345" y="149"/>
                  </a:lnTo>
                  <a:lnTo>
                    <a:pt x="338" y="147"/>
                  </a:lnTo>
                  <a:lnTo>
                    <a:pt x="336" y="146"/>
                  </a:lnTo>
                  <a:lnTo>
                    <a:pt x="335" y="147"/>
                  </a:lnTo>
                  <a:close/>
                  <a:moveTo>
                    <a:pt x="333" y="134"/>
                  </a:moveTo>
                  <a:lnTo>
                    <a:pt x="333" y="139"/>
                  </a:lnTo>
                  <a:lnTo>
                    <a:pt x="333" y="140"/>
                  </a:lnTo>
                  <a:lnTo>
                    <a:pt x="336" y="142"/>
                  </a:lnTo>
                  <a:lnTo>
                    <a:pt x="336" y="142"/>
                  </a:lnTo>
                  <a:lnTo>
                    <a:pt x="338" y="142"/>
                  </a:lnTo>
                  <a:lnTo>
                    <a:pt x="336" y="140"/>
                  </a:lnTo>
                  <a:lnTo>
                    <a:pt x="336" y="142"/>
                  </a:lnTo>
                  <a:lnTo>
                    <a:pt x="335" y="142"/>
                  </a:lnTo>
                  <a:lnTo>
                    <a:pt x="338" y="143"/>
                  </a:lnTo>
                  <a:lnTo>
                    <a:pt x="338" y="143"/>
                  </a:lnTo>
                  <a:lnTo>
                    <a:pt x="338" y="143"/>
                  </a:lnTo>
                  <a:lnTo>
                    <a:pt x="339" y="142"/>
                  </a:lnTo>
                  <a:lnTo>
                    <a:pt x="339" y="140"/>
                  </a:lnTo>
                  <a:lnTo>
                    <a:pt x="338" y="140"/>
                  </a:lnTo>
                  <a:lnTo>
                    <a:pt x="338" y="139"/>
                  </a:lnTo>
                  <a:lnTo>
                    <a:pt x="335" y="139"/>
                  </a:lnTo>
                  <a:lnTo>
                    <a:pt x="335" y="134"/>
                  </a:lnTo>
                  <a:lnTo>
                    <a:pt x="333" y="134"/>
                  </a:lnTo>
                  <a:close/>
                  <a:moveTo>
                    <a:pt x="326" y="130"/>
                  </a:moveTo>
                  <a:lnTo>
                    <a:pt x="333" y="129"/>
                  </a:lnTo>
                  <a:lnTo>
                    <a:pt x="333" y="129"/>
                  </a:lnTo>
                  <a:lnTo>
                    <a:pt x="333" y="127"/>
                  </a:lnTo>
                  <a:lnTo>
                    <a:pt x="333" y="129"/>
                  </a:lnTo>
                  <a:lnTo>
                    <a:pt x="333" y="129"/>
                  </a:lnTo>
                  <a:lnTo>
                    <a:pt x="333" y="129"/>
                  </a:lnTo>
                  <a:lnTo>
                    <a:pt x="335" y="129"/>
                  </a:lnTo>
                  <a:lnTo>
                    <a:pt x="333" y="129"/>
                  </a:lnTo>
                  <a:lnTo>
                    <a:pt x="333" y="130"/>
                  </a:lnTo>
                  <a:lnTo>
                    <a:pt x="335" y="130"/>
                  </a:lnTo>
                  <a:lnTo>
                    <a:pt x="335" y="129"/>
                  </a:lnTo>
                  <a:lnTo>
                    <a:pt x="335" y="127"/>
                  </a:lnTo>
                  <a:lnTo>
                    <a:pt x="335" y="127"/>
                  </a:lnTo>
                  <a:lnTo>
                    <a:pt x="335" y="126"/>
                  </a:lnTo>
                  <a:lnTo>
                    <a:pt x="333" y="126"/>
                  </a:lnTo>
                  <a:lnTo>
                    <a:pt x="333" y="126"/>
                  </a:lnTo>
                  <a:lnTo>
                    <a:pt x="333" y="126"/>
                  </a:lnTo>
                  <a:lnTo>
                    <a:pt x="333" y="126"/>
                  </a:lnTo>
                  <a:lnTo>
                    <a:pt x="326" y="129"/>
                  </a:lnTo>
                  <a:lnTo>
                    <a:pt x="326" y="130"/>
                  </a:lnTo>
                  <a:close/>
                  <a:moveTo>
                    <a:pt x="322" y="143"/>
                  </a:moveTo>
                  <a:lnTo>
                    <a:pt x="323" y="133"/>
                  </a:lnTo>
                  <a:lnTo>
                    <a:pt x="322" y="132"/>
                  </a:lnTo>
                  <a:lnTo>
                    <a:pt x="319" y="142"/>
                  </a:lnTo>
                  <a:lnTo>
                    <a:pt x="322" y="143"/>
                  </a:lnTo>
                  <a:close/>
                  <a:moveTo>
                    <a:pt x="322" y="156"/>
                  </a:moveTo>
                  <a:lnTo>
                    <a:pt x="323" y="152"/>
                  </a:lnTo>
                  <a:lnTo>
                    <a:pt x="323" y="152"/>
                  </a:lnTo>
                  <a:lnTo>
                    <a:pt x="320" y="147"/>
                  </a:lnTo>
                  <a:lnTo>
                    <a:pt x="320" y="147"/>
                  </a:lnTo>
                  <a:lnTo>
                    <a:pt x="319" y="147"/>
                  </a:lnTo>
                  <a:lnTo>
                    <a:pt x="320" y="147"/>
                  </a:lnTo>
                  <a:lnTo>
                    <a:pt x="320" y="147"/>
                  </a:lnTo>
                  <a:lnTo>
                    <a:pt x="317" y="146"/>
                  </a:lnTo>
                  <a:lnTo>
                    <a:pt x="317" y="146"/>
                  </a:lnTo>
                  <a:lnTo>
                    <a:pt x="317" y="147"/>
                  </a:lnTo>
                  <a:lnTo>
                    <a:pt x="317" y="149"/>
                  </a:lnTo>
                  <a:lnTo>
                    <a:pt x="317" y="149"/>
                  </a:lnTo>
                  <a:lnTo>
                    <a:pt x="320" y="152"/>
                  </a:lnTo>
                  <a:lnTo>
                    <a:pt x="320" y="155"/>
                  </a:lnTo>
                  <a:lnTo>
                    <a:pt x="322" y="156"/>
                  </a:lnTo>
                  <a:close/>
                  <a:moveTo>
                    <a:pt x="306" y="159"/>
                  </a:moveTo>
                  <a:lnTo>
                    <a:pt x="309" y="159"/>
                  </a:lnTo>
                  <a:lnTo>
                    <a:pt x="309" y="159"/>
                  </a:lnTo>
                  <a:lnTo>
                    <a:pt x="317" y="158"/>
                  </a:lnTo>
                  <a:lnTo>
                    <a:pt x="316" y="156"/>
                  </a:lnTo>
                  <a:lnTo>
                    <a:pt x="309" y="156"/>
                  </a:lnTo>
                  <a:lnTo>
                    <a:pt x="307" y="156"/>
                  </a:lnTo>
                  <a:lnTo>
                    <a:pt x="306" y="159"/>
                  </a:lnTo>
                  <a:close/>
                  <a:moveTo>
                    <a:pt x="291" y="156"/>
                  </a:moveTo>
                  <a:lnTo>
                    <a:pt x="301" y="158"/>
                  </a:lnTo>
                  <a:lnTo>
                    <a:pt x="301" y="155"/>
                  </a:lnTo>
                  <a:lnTo>
                    <a:pt x="293" y="153"/>
                  </a:lnTo>
                  <a:lnTo>
                    <a:pt x="291" y="156"/>
                  </a:lnTo>
                  <a:close/>
                  <a:moveTo>
                    <a:pt x="277" y="152"/>
                  </a:moveTo>
                  <a:lnTo>
                    <a:pt x="287" y="155"/>
                  </a:lnTo>
                  <a:lnTo>
                    <a:pt x="287" y="152"/>
                  </a:lnTo>
                  <a:lnTo>
                    <a:pt x="277" y="150"/>
                  </a:lnTo>
                  <a:lnTo>
                    <a:pt x="277" y="152"/>
                  </a:lnTo>
                  <a:close/>
                  <a:moveTo>
                    <a:pt x="264" y="143"/>
                  </a:moveTo>
                  <a:lnTo>
                    <a:pt x="271" y="150"/>
                  </a:lnTo>
                  <a:lnTo>
                    <a:pt x="274" y="149"/>
                  </a:lnTo>
                  <a:lnTo>
                    <a:pt x="267" y="142"/>
                  </a:lnTo>
                  <a:lnTo>
                    <a:pt x="264" y="143"/>
                  </a:lnTo>
                  <a:close/>
                  <a:moveTo>
                    <a:pt x="251" y="142"/>
                  </a:moveTo>
                  <a:lnTo>
                    <a:pt x="261" y="142"/>
                  </a:lnTo>
                  <a:lnTo>
                    <a:pt x="261" y="139"/>
                  </a:lnTo>
                  <a:lnTo>
                    <a:pt x="251" y="139"/>
                  </a:lnTo>
                  <a:lnTo>
                    <a:pt x="251" y="142"/>
                  </a:lnTo>
                  <a:close/>
                  <a:moveTo>
                    <a:pt x="235" y="139"/>
                  </a:moveTo>
                  <a:lnTo>
                    <a:pt x="238" y="140"/>
                  </a:lnTo>
                  <a:lnTo>
                    <a:pt x="239" y="140"/>
                  </a:lnTo>
                  <a:lnTo>
                    <a:pt x="245" y="142"/>
                  </a:lnTo>
                  <a:lnTo>
                    <a:pt x="246" y="139"/>
                  </a:lnTo>
                  <a:lnTo>
                    <a:pt x="239" y="139"/>
                  </a:lnTo>
                  <a:lnTo>
                    <a:pt x="236" y="137"/>
                  </a:lnTo>
                  <a:lnTo>
                    <a:pt x="235" y="139"/>
                  </a:lnTo>
                  <a:close/>
                  <a:moveTo>
                    <a:pt x="222" y="132"/>
                  </a:moveTo>
                  <a:lnTo>
                    <a:pt x="230" y="136"/>
                  </a:lnTo>
                  <a:lnTo>
                    <a:pt x="232" y="134"/>
                  </a:lnTo>
                  <a:lnTo>
                    <a:pt x="223" y="129"/>
                  </a:lnTo>
                  <a:lnTo>
                    <a:pt x="222" y="132"/>
                  </a:lnTo>
                  <a:close/>
                  <a:moveTo>
                    <a:pt x="209" y="124"/>
                  </a:moveTo>
                  <a:lnTo>
                    <a:pt x="217" y="129"/>
                  </a:lnTo>
                  <a:lnTo>
                    <a:pt x="219" y="127"/>
                  </a:lnTo>
                  <a:lnTo>
                    <a:pt x="210" y="121"/>
                  </a:lnTo>
                  <a:lnTo>
                    <a:pt x="209" y="124"/>
                  </a:lnTo>
                  <a:close/>
                  <a:moveTo>
                    <a:pt x="196" y="116"/>
                  </a:moveTo>
                  <a:lnTo>
                    <a:pt x="204" y="121"/>
                  </a:lnTo>
                  <a:lnTo>
                    <a:pt x="206" y="118"/>
                  </a:lnTo>
                  <a:lnTo>
                    <a:pt x="197" y="114"/>
                  </a:lnTo>
                  <a:lnTo>
                    <a:pt x="196" y="116"/>
                  </a:lnTo>
                  <a:close/>
                  <a:moveTo>
                    <a:pt x="199" y="101"/>
                  </a:moveTo>
                  <a:lnTo>
                    <a:pt x="196" y="110"/>
                  </a:lnTo>
                  <a:lnTo>
                    <a:pt x="199" y="111"/>
                  </a:lnTo>
                  <a:lnTo>
                    <a:pt x="200" y="101"/>
                  </a:lnTo>
                  <a:lnTo>
                    <a:pt x="199" y="101"/>
                  </a:lnTo>
                  <a:close/>
                  <a:moveTo>
                    <a:pt x="210" y="90"/>
                  </a:moveTo>
                  <a:lnTo>
                    <a:pt x="201" y="95"/>
                  </a:lnTo>
                  <a:lnTo>
                    <a:pt x="203" y="98"/>
                  </a:lnTo>
                  <a:lnTo>
                    <a:pt x="212" y="92"/>
                  </a:lnTo>
                  <a:lnTo>
                    <a:pt x="210" y="90"/>
                  </a:lnTo>
                  <a:close/>
                  <a:moveTo>
                    <a:pt x="200" y="84"/>
                  </a:moveTo>
                  <a:lnTo>
                    <a:pt x="209" y="88"/>
                  </a:lnTo>
                  <a:lnTo>
                    <a:pt x="210" y="87"/>
                  </a:lnTo>
                  <a:lnTo>
                    <a:pt x="201" y="81"/>
                  </a:lnTo>
                  <a:lnTo>
                    <a:pt x="200" y="84"/>
                  </a:lnTo>
                  <a:close/>
                  <a:moveTo>
                    <a:pt x="187" y="75"/>
                  </a:moveTo>
                  <a:lnTo>
                    <a:pt x="196" y="81"/>
                  </a:lnTo>
                  <a:lnTo>
                    <a:pt x="197" y="78"/>
                  </a:lnTo>
                  <a:lnTo>
                    <a:pt x="188" y="74"/>
                  </a:lnTo>
                  <a:lnTo>
                    <a:pt x="187" y="75"/>
                  </a:lnTo>
                  <a:close/>
                  <a:moveTo>
                    <a:pt x="196" y="0"/>
                  </a:moveTo>
                  <a:lnTo>
                    <a:pt x="194" y="3"/>
                  </a:lnTo>
                  <a:lnTo>
                    <a:pt x="190" y="7"/>
                  </a:lnTo>
                  <a:lnTo>
                    <a:pt x="191" y="8"/>
                  </a:lnTo>
                  <a:lnTo>
                    <a:pt x="197" y="4"/>
                  </a:lnTo>
                  <a:lnTo>
                    <a:pt x="199" y="1"/>
                  </a:lnTo>
                  <a:lnTo>
                    <a:pt x="196" y="0"/>
                  </a:lnTo>
                  <a:lnTo>
                    <a:pt x="196" y="0"/>
                  </a:lnTo>
                  <a:close/>
                  <a:moveTo>
                    <a:pt x="88" y="95"/>
                  </a:moveTo>
                  <a:lnTo>
                    <a:pt x="94" y="92"/>
                  </a:lnTo>
                  <a:lnTo>
                    <a:pt x="96" y="91"/>
                  </a:lnTo>
                  <a:lnTo>
                    <a:pt x="93" y="91"/>
                  </a:lnTo>
                  <a:lnTo>
                    <a:pt x="93" y="91"/>
                  </a:lnTo>
                  <a:lnTo>
                    <a:pt x="87" y="94"/>
                  </a:lnTo>
                  <a:lnTo>
                    <a:pt x="86" y="97"/>
                  </a:lnTo>
                  <a:lnTo>
                    <a:pt x="87" y="97"/>
                  </a:lnTo>
                  <a:lnTo>
                    <a:pt x="88" y="95"/>
                  </a:lnTo>
                  <a:close/>
                  <a:moveTo>
                    <a:pt x="80" y="111"/>
                  </a:moveTo>
                  <a:lnTo>
                    <a:pt x="86" y="101"/>
                  </a:lnTo>
                  <a:lnTo>
                    <a:pt x="83" y="101"/>
                  </a:lnTo>
                  <a:lnTo>
                    <a:pt x="78" y="110"/>
                  </a:lnTo>
                  <a:lnTo>
                    <a:pt x="80" y="111"/>
                  </a:lnTo>
                  <a:close/>
                  <a:moveTo>
                    <a:pt x="70" y="121"/>
                  </a:moveTo>
                  <a:lnTo>
                    <a:pt x="71" y="117"/>
                  </a:lnTo>
                  <a:lnTo>
                    <a:pt x="75" y="114"/>
                  </a:lnTo>
                  <a:lnTo>
                    <a:pt x="74" y="113"/>
                  </a:lnTo>
                  <a:lnTo>
                    <a:pt x="70" y="116"/>
                  </a:lnTo>
                  <a:lnTo>
                    <a:pt x="67" y="120"/>
                  </a:lnTo>
                  <a:lnTo>
                    <a:pt x="70" y="121"/>
                  </a:lnTo>
                  <a:close/>
                  <a:moveTo>
                    <a:pt x="59" y="132"/>
                  </a:moveTo>
                  <a:lnTo>
                    <a:pt x="64" y="132"/>
                  </a:lnTo>
                  <a:lnTo>
                    <a:pt x="64" y="132"/>
                  </a:lnTo>
                  <a:lnTo>
                    <a:pt x="67" y="126"/>
                  </a:lnTo>
                  <a:lnTo>
                    <a:pt x="65" y="124"/>
                  </a:lnTo>
                  <a:lnTo>
                    <a:pt x="62" y="129"/>
                  </a:lnTo>
                  <a:lnTo>
                    <a:pt x="58" y="130"/>
                  </a:lnTo>
                  <a:lnTo>
                    <a:pt x="59" y="132"/>
                  </a:lnTo>
                  <a:close/>
                  <a:moveTo>
                    <a:pt x="45" y="132"/>
                  </a:moveTo>
                  <a:lnTo>
                    <a:pt x="48" y="134"/>
                  </a:lnTo>
                  <a:lnTo>
                    <a:pt x="48" y="134"/>
                  </a:lnTo>
                  <a:lnTo>
                    <a:pt x="54" y="133"/>
                  </a:lnTo>
                  <a:lnTo>
                    <a:pt x="54" y="132"/>
                  </a:lnTo>
                  <a:lnTo>
                    <a:pt x="49" y="132"/>
                  </a:lnTo>
                  <a:lnTo>
                    <a:pt x="46" y="130"/>
                  </a:lnTo>
                  <a:lnTo>
                    <a:pt x="45" y="132"/>
                  </a:lnTo>
                  <a:close/>
                  <a:moveTo>
                    <a:pt x="36" y="136"/>
                  </a:moveTo>
                  <a:lnTo>
                    <a:pt x="42" y="129"/>
                  </a:lnTo>
                  <a:lnTo>
                    <a:pt x="42" y="129"/>
                  </a:lnTo>
                  <a:lnTo>
                    <a:pt x="41" y="126"/>
                  </a:lnTo>
                  <a:lnTo>
                    <a:pt x="41" y="127"/>
                  </a:lnTo>
                  <a:lnTo>
                    <a:pt x="41" y="127"/>
                  </a:lnTo>
                  <a:lnTo>
                    <a:pt x="33" y="134"/>
                  </a:lnTo>
                  <a:lnTo>
                    <a:pt x="36" y="136"/>
                  </a:lnTo>
                  <a:close/>
                  <a:moveTo>
                    <a:pt x="28" y="147"/>
                  </a:moveTo>
                  <a:lnTo>
                    <a:pt x="28" y="146"/>
                  </a:lnTo>
                  <a:lnTo>
                    <a:pt x="33" y="140"/>
                  </a:lnTo>
                  <a:lnTo>
                    <a:pt x="31" y="139"/>
                  </a:lnTo>
                  <a:lnTo>
                    <a:pt x="26" y="145"/>
                  </a:lnTo>
                  <a:lnTo>
                    <a:pt x="25" y="147"/>
                  </a:lnTo>
                  <a:lnTo>
                    <a:pt x="28" y="147"/>
                  </a:lnTo>
                  <a:close/>
                  <a:moveTo>
                    <a:pt x="33" y="155"/>
                  </a:moveTo>
                  <a:lnTo>
                    <a:pt x="26" y="153"/>
                  </a:lnTo>
                  <a:lnTo>
                    <a:pt x="26" y="155"/>
                  </a:lnTo>
                  <a:lnTo>
                    <a:pt x="26" y="155"/>
                  </a:lnTo>
                  <a:lnTo>
                    <a:pt x="26" y="153"/>
                  </a:lnTo>
                  <a:lnTo>
                    <a:pt x="26" y="155"/>
                  </a:lnTo>
                  <a:lnTo>
                    <a:pt x="26" y="155"/>
                  </a:lnTo>
                  <a:lnTo>
                    <a:pt x="26" y="155"/>
                  </a:lnTo>
                  <a:lnTo>
                    <a:pt x="26" y="155"/>
                  </a:lnTo>
                  <a:lnTo>
                    <a:pt x="26" y="155"/>
                  </a:lnTo>
                  <a:lnTo>
                    <a:pt x="26" y="155"/>
                  </a:lnTo>
                  <a:lnTo>
                    <a:pt x="26" y="155"/>
                  </a:lnTo>
                  <a:lnTo>
                    <a:pt x="26" y="153"/>
                  </a:lnTo>
                  <a:lnTo>
                    <a:pt x="25" y="152"/>
                  </a:lnTo>
                  <a:lnTo>
                    <a:pt x="25" y="153"/>
                  </a:lnTo>
                  <a:lnTo>
                    <a:pt x="25" y="155"/>
                  </a:lnTo>
                  <a:lnTo>
                    <a:pt x="25" y="155"/>
                  </a:lnTo>
                  <a:lnTo>
                    <a:pt x="25" y="155"/>
                  </a:lnTo>
                  <a:lnTo>
                    <a:pt x="26" y="156"/>
                  </a:lnTo>
                  <a:lnTo>
                    <a:pt x="33" y="158"/>
                  </a:lnTo>
                  <a:lnTo>
                    <a:pt x="33" y="155"/>
                  </a:lnTo>
                  <a:close/>
                  <a:moveTo>
                    <a:pt x="38" y="168"/>
                  </a:moveTo>
                  <a:lnTo>
                    <a:pt x="36" y="166"/>
                  </a:lnTo>
                  <a:lnTo>
                    <a:pt x="36" y="166"/>
                  </a:lnTo>
                  <a:lnTo>
                    <a:pt x="38" y="159"/>
                  </a:lnTo>
                  <a:lnTo>
                    <a:pt x="35" y="159"/>
                  </a:lnTo>
                  <a:lnTo>
                    <a:pt x="33" y="168"/>
                  </a:lnTo>
                  <a:lnTo>
                    <a:pt x="35" y="168"/>
                  </a:lnTo>
                  <a:lnTo>
                    <a:pt x="35" y="169"/>
                  </a:lnTo>
                  <a:lnTo>
                    <a:pt x="36" y="169"/>
                  </a:lnTo>
                  <a:lnTo>
                    <a:pt x="38" y="168"/>
                  </a:lnTo>
                  <a:close/>
                  <a:moveTo>
                    <a:pt x="46" y="178"/>
                  </a:moveTo>
                  <a:lnTo>
                    <a:pt x="45" y="171"/>
                  </a:lnTo>
                  <a:lnTo>
                    <a:pt x="42" y="169"/>
                  </a:lnTo>
                  <a:lnTo>
                    <a:pt x="41" y="172"/>
                  </a:lnTo>
                  <a:lnTo>
                    <a:pt x="42" y="172"/>
                  </a:lnTo>
                  <a:lnTo>
                    <a:pt x="45" y="179"/>
                  </a:lnTo>
                  <a:lnTo>
                    <a:pt x="46" y="178"/>
                  </a:lnTo>
                  <a:close/>
                  <a:moveTo>
                    <a:pt x="51" y="194"/>
                  </a:moveTo>
                  <a:lnTo>
                    <a:pt x="52" y="194"/>
                  </a:lnTo>
                  <a:lnTo>
                    <a:pt x="52" y="194"/>
                  </a:lnTo>
                  <a:lnTo>
                    <a:pt x="49" y="184"/>
                  </a:lnTo>
                  <a:lnTo>
                    <a:pt x="46" y="184"/>
                  </a:lnTo>
                  <a:lnTo>
                    <a:pt x="49" y="192"/>
                  </a:lnTo>
                  <a:lnTo>
                    <a:pt x="51" y="192"/>
                  </a:lnTo>
                  <a:lnTo>
                    <a:pt x="51" y="191"/>
                  </a:lnTo>
                  <a:lnTo>
                    <a:pt x="49" y="191"/>
                  </a:lnTo>
                  <a:lnTo>
                    <a:pt x="51" y="194"/>
                  </a:lnTo>
                  <a:close/>
                  <a:moveTo>
                    <a:pt x="39" y="194"/>
                  </a:moveTo>
                  <a:lnTo>
                    <a:pt x="42" y="192"/>
                  </a:lnTo>
                  <a:lnTo>
                    <a:pt x="42" y="192"/>
                  </a:lnTo>
                  <a:lnTo>
                    <a:pt x="42" y="191"/>
                  </a:lnTo>
                  <a:lnTo>
                    <a:pt x="41" y="192"/>
                  </a:lnTo>
                  <a:lnTo>
                    <a:pt x="42" y="192"/>
                  </a:lnTo>
                  <a:lnTo>
                    <a:pt x="45" y="197"/>
                  </a:lnTo>
                  <a:lnTo>
                    <a:pt x="46" y="197"/>
                  </a:lnTo>
                  <a:lnTo>
                    <a:pt x="45" y="194"/>
                  </a:lnTo>
                  <a:lnTo>
                    <a:pt x="45" y="194"/>
                  </a:lnTo>
                  <a:lnTo>
                    <a:pt x="46" y="195"/>
                  </a:lnTo>
                  <a:lnTo>
                    <a:pt x="46" y="194"/>
                  </a:lnTo>
                  <a:lnTo>
                    <a:pt x="44" y="191"/>
                  </a:lnTo>
                  <a:lnTo>
                    <a:pt x="42" y="189"/>
                  </a:lnTo>
                  <a:lnTo>
                    <a:pt x="42" y="189"/>
                  </a:lnTo>
                  <a:lnTo>
                    <a:pt x="41" y="189"/>
                  </a:lnTo>
                  <a:lnTo>
                    <a:pt x="41" y="191"/>
                  </a:lnTo>
                  <a:lnTo>
                    <a:pt x="38" y="192"/>
                  </a:lnTo>
                  <a:lnTo>
                    <a:pt x="39" y="194"/>
                  </a:lnTo>
                  <a:close/>
                  <a:moveTo>
                    <a:pt x="23" y="195"/>
                  </a:moveTo>
                  <a:lnTo>
                    <a:pt x="33" y="197"/>
                  </a:lnTo>
                  <a:lnTo>
                    <a:pt x="33" y="195"/>
                  </a:lnTo>
                  <a:lnTo>
                    <a:pt x="25" y="192"/>
                  </a:lnTo>
                  <a:lnTo>
                    <a:pt x="23" y="195"/>
                  </a:lnTo>
                  <a:close/>
                  <a:moveTo>
                    <a:pt x="16" y="198"/>
                  </a:moveTo>
                  <a:lnTo>
                    <a:pt x="16" y="194"/>
                  </a:lnTo>
                  <a:lnTo>
                    <a:pt x="16" y="192"/>
                  </a:lnTo>
                  <a:lnTo>
                    <a:pt x="15" y="192"/>
                  </a:lnTo>
                  <a:lnTo>
                    <a:pt x="16" y="194"/>
                  </a:lnTo>
                  <a:lnTo>
                    <a:pt x="16" y="194"/>
                  </a:lnTo>
                  <a:lnTo>
                    <a:pt x="16" y="192"/>
                  </a:lnTo>
                  <a:lnTo>
                    <a:pt x="16" y="194"/>
                  </a:lnTo>
                  <a:lnTo>
                    <a:pt x="16" y="194"/>
                  </a:lnTo>
                  <a:lnTo>
                    <a:pt x="19" y="194"/>
                  </a:lnTo>
                  <a:lnTo>
                    <a:pt x="19" y="191"/>
                  </a:lnTo>
                  <a:lnTo>
                    <a:pt x="16" y="191"/>
                  </a:lnTo>
                  <a:lnTo>
                    <a:pt x="16" y="191"/>
                  </a:lnTo>
                  <a:lnTo>
                    <a:pt x="16" y="191"/>
                  </a:lnTo>
                  <a:lnTo>
                    <a:pt x="16" y="191"/>
                  </a:lnTo>
                  <a:lnTo>
                    <a:pt x="15" y="191"/>
                  </a:lnTo>
                  <a:lnTo>
                    <a:pt x="15" y="191"/>
                  </a:lnTo>
                  <a:lnTo>
                    <a:pt x="13" y="192"/>
                  </a:lnTo>
                  <a:lnTo>
                    <a:pt x="13" y="192"/>
                  </a:lnTo>
                  <a:lnTo>
                    <a:pt x="13" y="198"/>
                  </a:lnTo>
                  <a:lnTo>
                    <a:pt x="16" y="198"/>
                  </a:lnTo>
                  <a:close/>
                  <a:moveTo>
                    <a:pt x="2" y="204"/>
                  </a:moveTo>
                  <a:lnTo>
                    <a:pt x="3" y="204"/>
                  </a:lnTo>
                  <a:lnTo>
                    <a:pt x="7" y="201"/>
                  </a:lnTo>
                  <a:lnTo>
                    <a:pt x="10" y="201"/>
                  </a:lnTo>
                  <a:lnTo>
                    <a:pt x="10" y="198"/>
                  </a:lnTo>
                  <a:lnTo>
                    <a:pt x="6" y="198"/>
                  </a:lnTo>
                  <a:lnTo>
                    <a:pt x="6" y="198"/>
                  </a:lnTo>
                  <a:lnTo>
                    <a:pt x="0" y="203"/>
                  </a:lnTo>
                  <a:lnTo>
                    <a:pt x="0" y="203"/>
                  </a:lnTo>
                  <a:lnTo>
                    <a:pt x="2" y="2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11" name="Freeform 1764"/>
            <p:cNvSpPr>
              <a:spLocks/>
            </p:cNvSpPr>
            <p:nvPr/>
          </p:nvSpPr>
          <p:spPr bwMode="auto">
            <a:xfrm>
              <a:off x="6575425" y="4124326"/>
              <a:ext cx="7938" cy="17463"/>
            </a:xfrm>
            <a:custGeom>
              <a:avLst/>
              <a:gdLst>
                <a:gd name="T0" fmla="*/ 0 w 5"/>
                <a:gd name="T1" fmla="*/ 0 h 11"/>
                <a:gd name="T2" fmla="*/ 2 w 5"/>
                <a:gd name="T3" fmla="*/ 11 h 11"/>
                <a:gd name="T4" fmla="*/ 5 w 5"/>
                <a:gd name="T5" fmla="*/ 11 h 11"/>
                <a:gd name="T6" fmla="*/ 2 w 5"/>
                <a:gd name="T7" fmla="*/ 0 h 11"/>
                <a:gd name="T8" fmla="*/ 0 w 5"/>
                <a:gd name="T9" fmla="*/ 0 h 11"/>
              </a:gdLst>
              <a:ahLst/>
              <a:cxnLst>
                <a:cxn ang="0">
                  <a:pos x="T0" y="T1"/>
                </a:cxn>
                <a:cxn ang="0">
                  <a:pos x="T2" y="T3"/>
                </a:cxn>
                <a:cxn ang="0">
                  <a:pos x="T4" y="T5"/>
                </a:cxn>
                <a:cxn ang="0">
                  <a:pos x="T6" y="T7"/>
                </a:cxn>
                <a:cxn ang="0">
                  <a:pos x="T8" y="T9"/>
                </a:cxn>
              </a:cxnLst>
              <a:rect l="0" t="0" r="r" b="b"/>
              <a:pathLst>
                <a:path w="5" h="11">
                  <a:moveTo>
                    <a:pt x="0" y="0"/>
                  </a:moveTo>
                  <a:lnTo>
                    <a:pt x="2" y="11"/>
                  </a:lnTo>
                  <a:lnTo>
                    <a:pt x="5" y="11"/>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12" name="Freeform 1765"/>
            <p:cNvSpPr>
              <a:spLocks/>
            </p:cNvSpPr>
            <p:nvPr/>
          </p:nvSpPr>
          <p:spPr bwMode="auto">
            <a:xfrm>
              <a:off x="6570663" y="4102101"/>
              <a:ext cx="7938" cy="15875"/>
            </a:xfrm>
            <a:custGeom>
              <a:avLst/>
              <a:gdLst>
                <a:gd name="T0" fmla="*/ 0 w 5"/>
                <a:gd name="T1" fmla="*/ 0 h 10"/>
                <a:gd name="T2" fmla="*/ 2 w 5"/>
                <a:gd name="T3" fmla="*/ 10 h 10"/>
                <a:gd name="T4" fmla="*/ 5 w 5"/>
                <a:gd name="T5" fmla="*/ 10 h 10"/>
                <a:gd name="T6" fmla="*/ 2 w 5"/>
                <a:gd name="T7" fmla="*/ 0 h 10"/>
                <a:gd name="T8" fmla="*/ 0 w 5"/>
                <a:gd name="T9" fmla="*/ 0 h 10"/>
              </a:gdLst>
              <a:ahLst/>
              <a:cxnLst>
                <a:cxn ang="0">
                  <a:pos x="T0" y="T1"/>
                </a:cxn>
                <a:cxn ang="0">
                  <a:pos x="T2" y="T3"/>
                </a:cxn>
                <a:cxn ang="0">
                  <a:pos x="T4" y="T5"/>
                </a:cxn>
                <a:cxn ang="0">
                  <a:pos x="T6" y="T7"/>
                </a:cxn>
                <a:cxn ang="0">
                  <a:pos x="T8" y="T9"/>
                </a:cxn>
              </a:cxnLst>
              <a:rect l="0" t="0" r="r" b="b"/>
              <a:pathLst>
                <a:path w="5" h="10">
                  <a:moveTo>
                    <a:pt x="0" y="0"/>
                  </a:moveTo>
                  <a:lnTo>
                    <a:pt x="2" y="10"/>
                  </a:lnTo>
                  <a:lnTo>
                    <a:pt x="5" y="1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13" name="Freeform 1766"/>
            <p:cNvSpPr>
              <a:spLocks/>
            </p:cNvSpPr>
            <p:nvPr/>
          </p:nvSpPr>
          <p:spPr bwMode="auto">
            <a:xfrm>
              <a:off x="6565900" y="4076701"/>
              <a:ext cx="7938" cy="15875"/>
            </a:xfrm>
            <a:custGeom>
              <a:avLst/>
              <a:gdLst>
                <a:gd name="T0" fmla="*/ 2 w 5"/>
                <a:gd name="T1" fmla="*/ 0 h 10"/>
                <a:gd name="T2" fmla="*/ 0 w 5"/>
                <a:gd name="T3" fmla="*/ 4 h 10"/>
                <a:gd name="T4" fmla="*/ 0 w 5"/>
                <a:gd name="T5" fmla="*/ 4 h 10"/>
                <a:gd name="T6" fmla="*/ 2 w 5"/>
                <a:gd name="T7" fmla="*/ 10 h 10"/>
                <a:gd name="T8" fmla="*/ 5 w 5"/>
                <a:gd name="T9" fmla="*/ 10 h 10"/>
                <a:gd name="T10" fmla="*/ 3 w 5"/>
                <a:gd name="T11" fmla="*/ 4 h 10"/>
                <a:gd name="T12" fmla="*/ 3 w 5"/>
                <a:gd name="T13" fmla="*/ 0 h 10"/>
                <a:gd name="T14" fmla="*/ 2 w 5"/>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0">
                  <a:moveTo>
                    <a:pt x="2" y="0"/>
                  </a:moveTo>
                  <a:lnTo>
                    <a:pt x="0" y="4"/>
                  </a:lnTo>
                  <a:lnTo>
                    <a:pt x="0" y="4"/>
                  </a:lnTo>
                  <a:lnTo>
                    <a:pt x="2" y="10"/>
                  </a:lnTo>
                  <a:lnTo>
                    <a:pt x="5" y="10"/>
                  </a:lnTo>
                  <a:lnTo>
                    <a:pt x="3" y="4"/>
                  </a:lnTo>
                  <a:lnTo>
                    <a:pt x="3"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14" name="Freeform 1767"/>
            <p:cNvSpPr>
              <a:spLocks/>
            </p:cNvSpPr>
            <p:nvPr/>
          </p:nvSpPr>
          <p:spPr bwMode="auto">
            <a:xfrm>
              <a:off x="6559550" y="4056063"/>
              <a:ext cx="14288" cy="14288"/>
            </a:xfrm>
            <a:custGeom>
              <a:avLst/>
              <a:gdLst>
                <a:gd name="T0" fmla="*/ 0 w 9"/>
                <a:gd name="T1" fmla="*/ 1 h 9"/>
                <a:gd name="T2" fmla="*/ 6 w 9"/>
                <a:gd name="T3" fmla="*/ 7 h 9"/>
                <a:gd name="T4" fmla="*/ 6 w 9"/>
                <a:gd name="T5" fmla="*/ 7 h 9"/>
                <a:gd name="T6" fmla="*/ 6 w 9"/>
                <a:gd name="T7" fmla="*/ 9 h 9"/>
                <a:gd name="T8" fmla="*/ 9 w 9"/>
                <a:gd name="T9" fmla="*/ 9 h 9"/>
                <a:gd name="T10" fmla="*/ 9 w 9"/>
                <a:gd name="T11" fmla="*/ 7 h 9"/>
                <a:gd name="T12" fmla="*/ 9 w 9"/>
                <a:gd name="T13" fmla="*/ 6 h 9"/>
                <a:gd name="T14" fmla="*/ 7 w 9"/>
                <a:gd name="T15" fmla="*/ 6 h 9"/>
                <a:gd name="T16" fmla="*/ 7 w 9"/>
                <a:gd name="T17" fmla="*/ 4 h 9"/>
                <a:gd name="T18" fmla="*/ 2 w 9"/>
                <a:gd name="T19" fmla="*/ 0 h 9"/>
                <a:gd name="T20" fmla="*/ 0 w 9"/>
                <a:gd name="T21"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9">
                  <a:moveTo>
                    <a:pt x="0" y="1"/>
                  </a:moveTo>
                  <a:lnTo>
                    <a:pt x="6" y="7"/>
                  </a:lnTo>
                  <a:lnTo>
                    <a:pt x="6" y="7"/>
                  </a:lnTo>
                  <a:lnTo>
                    <a:pt x="6" y="9"/>
                  </a:lnTo>
                  <a:lnTo>
                    <a:pt x="9" y="9"/>
                  </a:lnTo>
                  <a:lnTo>
                    <a:pt x="9" y="7"/>
                  </a:lnTo>
                  <a:lnTo>
                    <a:pt x="9" y="6"/>
                  </a:lnTo>
                  <a:lnTo>
                    <a:pt x="7" y="6"/>
                  </a:lnTo>
                  <a:lnTo>
                    <a:pt x="7" y="4"/>
                  </a:lnTo>
                  <a:lnTo>
                    <a:pt x="2" y="0"/>
                  </a:lnTo>
                  <a:lnTo>
                    <a:pt x="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15" name="Freeform 1768"/>
            <p:cNvSpPr>
              <a:spLocks/>
            </p:cNvSpPr>
            <p:nvPr/>
          </p:nvSpPr>
          <p:spPr bwMode="auto">
            <a:xfrm>
              <a:off x="6554788" y="4040188"/>
              <a:ext cx="11113" cy="14288"/>
            </a:xfrm>
            <a:custGeom>
              <a:avLst/>
              <a:gdLst>
                <a:gd name="T0" fmla="*/ 7 w 7"/>
                <a:gd name="T1" fmla="*/ 0 h 9"/>
                <a:gd name="T2" fmla="*/ 6 w 7"/>
                <a:gd name="T3" fmla="*/ 0 h 9"/>
                <a:gd name="T4" fmla="*/ 5 w 7"/>
                <a:gd name="T5" fmla="*/ 0 h 9"/>
                <a:gd name="T6" fmla="*/ 0 w 7"/>
                <a:gd name="T7" fmla="*/ 7 h 9"/>
                <a:gd name="T8" fmla="*/ 2 w 7"/>
                <a:gd name="T9" fmla="*/ 9 h 9"/>
                <a:gd name="T10" fmla="*/ 6 w 7"/>
                <a:gd name="T11" fmla="*/ 3 h 9"/>
                <a:gd name="T12" fmla="*/ 7 w 7"/>
                <a:gd name="T13" fmla="*/ 3 h 9"/>
                <a:gd name="T14" fmla="*/ 7 w 7"/>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7" y="0"/>
                  </a:moveTo>
                  <a:lnTo>
                    <a:pt x="6" y="0"/>
                  </a:lnTo>
                  <a:lnTo>
                    <a:pt x="5" y="0"/>
                  </a:lnTo>
                  <a:lnTo>
                    <a:pt x="0" y="7"/>
                  </a:lnTo>
                  <a:lnTo>
                    <a:pt x="2" y="9"/>
                  </a:lnTo>
                  <a:lnTo>
                    <a:pt x="6" y="3"/>
                  </a:lnTo>
                  <a:lnTo>
                    <a:pt x="7" y="3"/>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16" name="Freeform 1769"/>
            <p:cNvSpPr>
              <a:spLocks/>
            </p:cNvSpPr>
            <p:nvPr/>
          </p:nvSpPr>
          <p:spPr bwMode="auto">
            <a:xfrm>
              <a:off x="6565900" y="4029076"/>
              <a:ext cx="9525" cy="12700"/>
            </a:xfrm>
            <a:custGeom>
              <a:avLst/>
              <a:gdLst>
                <a:gd name="T0" fmla="*/ 0 w 6"/>
                <a:gd name="T1" fmla="*/ 1 h 8"/>
                <a:gd name="T2" fmla="*/ 3 w 6"/>
                <a:gd name="T3" fmla="*/ 3 h 8"/>
                <a:gd name="T4" fmla="*/ 3 w 6"/>
                <a:gd name="T5" fmla="*/ 3 h 8"/>
                <a:gd name="T6" fmla="*/ 5 w 6"/>
                <a:gd name="T7" fmla="*/ 7 h 8"/>
                <a:gd name="T8" fmla="*/ 5 w 6"/>
                <a:gd name="T9" fmla="*/ 7 h 8"/>
                <a:gd name="T10" fmla="*/ 5 w 6"/>
                <a:gd name="T11" fmla="*/ 7 h 8"/>
                <a:gd name="T12" fmla="*/ 5 w 6"/>
                <a:gd name="T13" fmla="*/ 7 h 8"/>
                <a:gd name="T14" fmla="*/ 6 w 6"/>
                <a:gd name="T15" fmla="*/ 8 h 8"/>
                <a:gd name="T16" fmla="*/ 6 w 6"/>
                <a:gd name="T17" fmla="*/ 7 h 8"/>
                <a:gd name="T18" fmla="*/ 6 w 6"/>
                <a:gd name="T19" fmla="*/ 7 h 8"/>
                <a:gd name="T20" fmla="*/ 6 w 6"/>
                <a:gd name="T21" fmla="*/ 1 h 8"/>
                <a:gd name="T22" fmla="*/ 5 w 6"/>
                <a:gd name="T23" fmla="*/ 0 h 8"/>
                <a:gd name="T24" fmla="*/ 5 w 6"/>
                <a:gd name="T25" fmla="*/ 0 h 8"/>
                <a:gd name="T26" fmla="*/ 0 w 6"/>
                <a:gd name="T27" fmla="*/ 0 h 8"/>
                <a:gd name="T28" fmla="*/ 0 w 6"/>
                <a:gd name="T2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8">
                  <a:moveTo>
                    <a:pt x="0" y="1"/>
                  </a:moveTo>
                  <a:lnTo>
                    <a:pt x="3" y="3"/>
                  </a:lnTo>
                  <a:lnTo>
                    <a:pt x="3" y="3"/>
                  </a:lnTo>
                  <a:lnTo>
                    <a:pt x="5" y="7"/>
                  </a:lnTo>
                  <a:lnTo>
                    <a:pt x="5" y="7"/>
                  </a:lnTo>
                  <a:lnTo>
                    <a:pt x="5" y="7"/>
                  </a:lnTo>
                  <a:lnTo>
                    <a:pt x="5" y="7"/>
                  </a:lnTo>
                  <a:lnTo>
                    <a:pt x="6" y="8"/>
                  </a:lnTo>
                  <a:lnTo>
                    <a:pt x="6" y="7"/>
                  </a:lnTo>
                  <a:lnTo>
                    <a:pt x="6" y="7"/>
                  </a:lnTo>
                  <a:lnTo>
                    <a:pt x="6" y="1"/>
                  </a:lnTo>
                  <a:lnTo>
                    <a:pt x="5" y="0"/>
                  </a:lnTo>
                  <a:lnTo>
                    <a:pt x="5" y="0"/>
                  </a:lnTo>
                  <a:lnTo>
                    <a:pt x="0" y="0"/>
                  </a:lnTo>
                  <a:lnTo>
                    <a:pt x="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17" name="Freeform 1770"/>
            <p:cNvSpPr>
              <a:spLocks/>
            </p:cNvSpPr>
            <p:nvPr/>
          </p:nvSpPr>
          <p:spPr bwMode="auto">
            <a:xfrm>
              <a:off x="6557963" y="4010026"/>
              <a:ext cx="11113" cy="15875"/>
            </a:xfrm>
            <a:custGeom>
              <a:avLst/>
              <a:gdLst>
                <a:gd name="T0" fmla="*/ 4 w 7"/>
                <a:gd name="T1" fmla="*/ 0 h 10"/>
                <a:gd name="T2" fmla="*/ 0 w 7"/>
                <a:gd name="T3" fmla="*/ 7 h 10"/>
                <a:gd name="T4" fmla="*/ 1 w 7"/>
                <a:gd name="T5" fmla="*/ 10 h 10"/>
                <a:gd name="T6" fmla="*/ 4 w 7"/>
                <a:gd name="T7" fmla="*/ 10 h 10"/>
                <a:gd name="T8" fmla="*/ 3 w 7"/>
                <a:gd name="T9" fmla="*/ 9 h 10"/>
                <a:gd name="T10" fmla="*/ 7 w 7"/>
                <a:gd name="T11" fmla="*/ 2 h 10"/>
                <a:gd name="T12" fmla="*/ 4 w 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7" h="10">
                  <a:moveTo>
                    <a:pt x="4" y="0"/>
                  </a:moveTo>
                  <a:lnTo>
                    <a:pt x="0" y="7"/>
                  </a:lnTo>
                  <a:lnTo>
                    <a:pt x="1" y="10"/>
                  </a:lnTo>
                  <a:lnTo>
                    <a:pt x="4" y="10"/>
                  </a:lnTo>
                  <a:lnTo>
                    <a:pt x="3" y="9"/>
                  </a:lnTo>
                  <a:lnTo>
                    <a:pt x="7"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18" name="Freeform 1771"/>
            <p:cNvSpPr>
              <a:spLocks/>
            </p:cNvSpPr>
            <p:nvPr/>
          </p:nvSpPr>
          <p:spPr bwMode="auto">
            <a:xfrm>
              <a:off x="6569075" y="4010026"/>
              <a:ext cx="11113" cy="9525"/>
            </a:xfrm>
            <a:custGeom>
              <a:avLst/>
              <a:gdLst>
                <a:gd name="T0" fmla="*/ 6 w 7"/>
                <a:gd name="T1" fmla="*/ 0 h 6"/>
                <a:gd name="T2" fmla="*/ 4 w 7"/>
                <a:gd name="T3" fmla="*/ 3 h 6"/>
                <a:gd name="T4" fmla="*/ 3 w 7"/>
                <a:gd name="T5" fmla="*/ 4 h 6"/>
                <a:gd name="T6" fmla="*/ 4 w 7"/>
                <a:gd name="T7" fmla="*/ 4 h 6"/>
                <a:gd name="T8" fmla="*/ 4 w 7"/>
                <a:gd name="T9" fmla="*/ 3 h 6"/>
                <a:gd name="T10" fmla="*/ 4 w 7"/>
                <a:gd name="T11" fmla="*/ 3 h 6"/>
                <a:gd name="T12" fmla="*/ 4 w 7"/>
                <a:gd name="T13" fmla="*/ 4 h 6"/>
                <a:gd name="T14" fmla="*/ 4 w 7"/>
                <a:gd name="T15" fmla="*/ 4 h 6"/>
                <a:gd name="T16" fmla="*/ 4 w 7"/>
                <a:gd name="T17" fmla="*/ 3 h 6"/>
                <a:gd name="T18" fmla="*/ 1 w 7"/>
                <a:gd name="T19" fmla="*/ 0 h 6"/>
                <a:gd name="T20" fmla="*/ 0 w 7"/>
                <a:gd name="T21" fmla="*/ 2 h 6"/>
                <a:gd name="T22" fmla="*/ 3 w 7"/>
                <a:gd name="T23" fmla="*/ 6 h 6"/>
                <a:gd name="T24" fmla="*/ 3 w 7"/>
                <a:gd name="T25" fmla="*/ 6 h 6"/>
                <a:gd name="T26" fmla="*/ 4 w 7"/>
                <a:gd name="T27" fmla="*/ 6 h 6"/>
                <a:gd name="T28" fmla="*/ 4 w 7"/>
                <a:gd name="T29" fmla="*/ 6 h 6"/>
                <a:gd name="T30" fmla="*/ 4 w 7"/>
                <a:gd name="T31" fmla="*/ 6 h 6"/>
                <a:gd name="T32" fmla="*/ 4 w 7"/>
                <a:gd name="T33" fmla="*/ 6 h 6"/>
                <a:gd name="T34" fmla="*/ 6 w 7"/>
                <a:gd name="T35" fmla="*/ 6 h 6"/>
                <a:gd name="T36" fmla="*/ 6 w 7"/>
                <a:gd name="T37" fmla="*/ 6 h 6"/>
                <a:gd name="T38" fmla="*/ 7 w 7"/>
                <a:gd name="T39" fmla="*/ 2 h 6"/>
                <a:gd name="T40" fmla="*/ 6 w 7"/>
                <a:gd name="T4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6">
                  <a:moveTo>
                    <a:pt x="6" y="0"/>
                  </a:moveTo>
                  <a:lnTo>
                    <a:pt x="4" y="3"/>
                  </a:lnTo>
                  <a:lnTo>
                    <a:pt x="3" y="4"/>
                  </a:lnTo>
                  <a:lnTo>
                    <a:pt x="4" y="4"/>
                  </a:lnTo>
                  <a:lnTo>
                    <a:pt x="4" y="3"/>
                  </a:lnTo>
                  <a:lnTo>
                    <a:pt x="4" y="3"/>
                  </a:lnTo>
                  <a:lnTo>
                    <a:pt x="4" y="4"/>
                  </a:lnTo>
                  <a:lnTo>
                    <a:pt x="4" y="4"/>
                  </a:lnTo>
                  <a:lnTo>
                    <a:pt x="4" y="3"/>
                  </a:lnTo>
                  <a:lnTo>
                    <a:pt x="1" y="0"/>
                  </a:lnTo>
                  <a:lnTo>
                    <a:pt x="0" y="2"/>
                  </a:lnTo>
                  <a:lnTo>
                    <a:pt x="3" y="6"/>
                  </a:lnTo>
                  <a:lnTo>
                    <a:pt x="3" y="6"/>
                  </a:lnTo>
                  <a:lnTo>
                    <a:pt x="4" y="6"/>
                  </a:lnTo>
                  <a:lnTo>
                    <a:pt x="4" y="6"/>
                  </a:lnTo>
                  <a:lnTo>
                    <a:pt x="4" y="6"/>
                  </a:lnTo>
                  <a:lnTo>
                    <a:pt x="4" y="6"/>
                  </a:lnTo>
                  <a:lnTo>
                    <a:pt x="6" y="6"/>
                  </a:lnTo>
                  <a:lnTo>
                    <a:pt x="6" y="6"/>
                  </a:lnTo>
                  <a:lnTo>
                    <a:pt x="7"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19" name="Freeform 1772"/>
            <p:cNvSpPr>
              <a:spLocks/>
            </p:cNvSpPr>
            <p:nvPr/>
          </p:nvSpPr>
          <p:spPr bwMode="auto">
            <a:xfrm>
              <a:off x="6580188" y="4010026"/>
              <a:ext cx="15875" cy="11113"/>
            </a:xfrm>
            <a:custGeom>
              <a:avLst/>
              <a:gdLst>
                <a:gd name="T0" fmla="*/ 10 w 10"/>
                <a:gd name="T1" fmla="*/ 4 h 7"/>
                <a:gd name="T2" fmla="*/ 10 w 10"/>
                <a:gd name="T3" fmla="*/ 4 h 7"/>
                <a:gd name="T4" fmla="*/ 9 w 10"/>
                <a:gd name="T5" fmla="*/ 0 h 7"/>
                <a:gd name="T6" fmla="*/ 7 w 10"/>
                <a:gd name="T7" fmla="*/ 4 h 7"/>
                <a:gd name="T8" fmla="*/ 7 w 10"/>
                <a:gd name="T9" fmla="*/ 6 h 7"/>
                <a:gd name="T10" fmla="*/ 4 w 10"/>
                <a:gd name="T11" fmla="*/ 6 h 7"/>
                <a:gd name="T12" fmla="*/ 4 w 10"/>
                <a:gd name="T13" fmla="*/ 4 h 7"/>
                <a:gd name="T14" fmla="*/ 3 w 10"/>
                <a:gd name="T15" fmla="*/ 3 h 7"/>
                <a:gd name="T16" fmla="*/ 0 w 10"/>
                <a:gd name="T17" fmla="*/ 4 h 7"/>
                <a:gd name="T18" fmla="*/ 2 w 10"/>
                <a:gd name="T19" fmla="*/ 6 h 7"/>
                <a:gd name="T20" fmla="*/ 2 w 10"/>
                <a:gd name="T21" fmla="*/ 7 h 7"/>
                <a:gd name="T22" fmla="*/ 3 w 10"/>
                <a:gd name="T23" fmla="*/ 7 h 7"/>
                <a:gd name="T24" fmla="*/ 3 w 10"/>
                <a:gd name="T25" fmla="*/ 7 h 7"/>
                <a:gd name="T26" fmla="*/ 7 w 10"/>
                <a:gd name="T27" fmla="*/ 7 h 7"/>
                <a:gd name="T28" fmla="*/ 7 w 10"/>
                <a:gd name="T29" fmla="*/ 7 h 7"/>
                <a:gd name="T30" fmla="*/ 9 w 10"/>
                <a:gd name="T31" fmla="*/ 7 h 7"/>
                <a:gd name="T32" fmla="*/ 9 w 10"/>
                <a:gd name="T33" fmla="*/ 7 h 7"/>
                <a:gd name="T34" fmla="*/ 10 w 10"/>
                <a:gd name="T35" fmla="*/ 4 h 7"/>
                <a:gd name="T36" fmla="*/ 9 w 10"/>
                <a:gd name="T37" fmla="*/ 4 h 7"/>
                <a:gd name="T38" fmla="*/ 7 w 10"/>
                <a:gd name="T39" fmla="*/ 4 h 7"/>
                <a:gd name="T40" fmla="*/ 7 w 10"/>
                <a:gd name="T41" fmla="*/ 4 h 7"/>
                <a:gd name="T42" fmla="*/ 10 w 10"/>
                <a:gd name="T4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7">
                  <a:moveTo>
                    <a:pt x="10" y="4"/>
                  </a:moveTo>
                  <a:lnTo>
                    <a:pt x="10" y="4"/>
                  </a:lnTo>
                  <a:lnTo>
                    <a:pt x="9" y="0"/>
                  </a:lnTo>
                  <a:lnTo>
                    <a:pt x="7" y="4"/>
                  </a:lnTo>
                  <a:lnTo>
                    <a:pt x="7" y="6"/>
                  </a:lnTo>
                  <a:lnTo>
                    <a:pt x="4" y="6"/>
                  </a:lnTo>
                  <a:lnTo>
                    <a:pt x="4" y="4"/>
                  </a:lnTo>
                  <a:lnTo>
                    <a:pt x="3" y="3"/>
                  </a:lnTo>
                  <a:lnTo>
                    <a:pt x="0" y="4"/>
                  </a:lnTo>
                  <a:lnTo>
                    <a:pt x="2" y="6"/>
                  </a:lnTo>
                  <a:lnTo>
                    <a:pt x="2" y="7"/>
                  </a:lnTo>
                  <a:lnTo>
                    <a:pt x="3" y="7"/>
                  </a:lnTo>
                  <a:lnTo>
                    <a:pt x="3" y="7"/>
                  </a:lnTo>
                  <a:lnTo>
                    <a:pt x="7" y="7"/>
                  </a:lnTo>
                  <a:lnTo>
                    <a:pt x="7" y="7"/>
                  </a:lnTo>
                  <a:lnTo>
                    <a:pt x="9" y="7"/>
                  </a:lnTo>
                  <a:lnTo>
                    <a:pt x="9" y="7"/>
                  </a:lnTo>
                  <a:lnTo>
                    <a:pt x="10" y="4"/>
                  </a:lnTo>
                  <a:lnTo>
                    <a:pt x="9" y="4"/>
                  </a:lnTo>
                  <a:lnTo>
                    <a:pt x="7" y="4"/>
                  </a:lnTo>
                  <a:lnTo>
                    <a:pt x="7" y="4"/>
                  </a:lnTo>
                  <a:lnTo>
                    <a:pt x="1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20" name="Freeform 1773"/>
            <p:cNvSpPr>
              <a:spLocks/>
            </p:cNvSpPr>
            <p:nvPr/>
          </p:nvSpPr>
          <p:spPr bwMode="auto">
            <a:xfrm>
              <a:off x="6594475" y="4024313"/>
              <a:ext cx="11113" cy="15875"/>
            </a:xfrm>
            <a:custGeom>
              <a:avLst/>
              <a:gdLst>
                <a:gd name="T0" fmla="*/ 7 w 7"/>
                <a:gd name="T1" fmla="*/ 7 h 10"/>
                <a:gd name="T2" fmla="*/ 4 w 7"/>
                <a:gd name="T3" fmla="*/ 4 h 10"/>
                <a:gd name="T4" fmla="*/ 3 w 7"/>
                <a:gd name="T5" fmla="*/ 0 h 10"/>
                <a:gd name="T6" fmla="*/ 0 w 7"/>
                <a:gd name="T7" fmla="*/ 1 h 10"/>
                <a:gd name="T8" fmla="*/ 1 w 7"/>
                <a:gd name="T9" fmla="*/ 6 h 10"/>
                <a:gd name="T10" fmla="*/ 1 w 7"/>
                <a:gd name="T11" fmla="*/ 6 h 10"/>
                <a:gd name="T12" fmla="*/ 6 w 7"/>
                <a:gd name="T13" fmla="*/ 10 h 10"/>
                <a:gd name="T14" fmla="*/ 7 w 7"/>
                <a:gd name="T15" fmla="*/ 7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0">
                  <a:moveTo>
                    <a:pt x="7" y="7"/>
                  </a:moveTo>
                  <a:lnTo>
                    <a:pt x="4" y="4"/>
                  </a:lnTo>
                  <a:lnTo>
                    <a:pt x="3" y="0"/>
                  </a:lnTo>
                  <a:lnTo>
                    <a:pt x="0" y="1"/>
                  </a:lnTo>
                  <a:lnTo>
                    <a:pt x="1" y="6"/>
                  </a:lnTo>
                  <a:lnTo>
                    <a:pt x="1" y="6"/>
                  </a:lnTo>
                  <a:lnTo>
                    <a:pt x="6" y="10"/>
                  </a:lnTo>
                  <a:lnTo>
                    <a:pt x="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21" name="Freeform 1774"/>
            <p:cNvSpPr>
              <a:spLocks/>
            </p:cNvSpPr>
            <p:nvPr/>
          </p:nvSpPr>
          <p:spPr bwMode="auto">
            <a:xfrm>
              <a:off x="6611938" y="4037013"/>
              <a:ext cx="17463" cy="7938"/>
            </a:xfrm>
            <a:custGeom>
              <a:avLst/>
              <a:gdLst>
                <a:gd name="T0" fmla="*/ 11 w 11"/>
                <a:gd name="T1" fmla="*/ 2 h 5"/>
                <a:gd name="T2" fmla="*/ 0 w 11"/>
                <a:gd name="T3" fmla="*/ 0 h 5"/>
                <a:gd name="T4" fmla="*/ 0 w 11"/>
                <a:gd name="T5" fmla="*/ 3 h 5"/>
                <a:gd name="T6" fmla="*/ 11 w 11"/>
                <a:gd name="T7" fmla="*/ 5 h 5"/>
                <a:gd name="T8" fmla="*/ 11 w 11"/>
                <a:gd name="T9" fmla="*/ 2 h 5"/>
              </a:gdLst>
              <a:ahLst/>
              <a:cxnLst>
                <a:cxn ang="0">
                  <a:pos x="T0" y="T1"/>
                </a:cxn>
                <a:cxn ang="0">
                  <a:pos x="T2" y="T3"/>
                </a:cxn>
                <a:cxn ang="0">
                  <a:pos x="T4" y="T5"/>
                </a:cxn>
                <a:cxn ang="0">
                  <a:pos x="T6" y="T7"/>
                </a:cxn>
                <a:cxn ang="0">
                  <a:pos x="T8" y="T9"/>
                </a:cxn>
              </a:cxnLst>
              <a:rect l="0" t="0" r="r" b="b"/>
              <a:pathLst>
                <a:path w="11" h="5">
                  <a:moveTo>
                    <a:pt x="11" y="2"/>
                  </a:moveTo>
                  <a:lnTo>
                    <a:pt x="0" y="0"/>
                  </a:lnTo>
                  <a:lnTo>
                    <a:pt x="0" y="3"/>
                  </a:lnTo>
                  <a:lnTo>
                    <a:pt x="11" y="5"/>
                  </a:lnTo>
                  <a:lnTo>
                    <a:pt x="11"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22" name="Freeform 1775"/>
            <p:cNvSpPr>
              <a:spLocks/>
            </p:cNvSpPr>
            <p:nvPr/>
          </p:nvSpPr>
          <p:spPr bwMode="auto">
            <a:xfrm>
              <a:off x="6635750" y="4040188"/>
              <a:ext cx="17463" cy="6350"/>
            </a:xfrm>
            <a:custGeom>
              <a:avLst/>
              <a:gdLst>
                <a:gd name="T0" fmla="*/ 11 w 11"/>
                <a:gd name="T1" fmla="*/ 1 h 4"/>
                <a:gd name="T2" fmla="*/ 1 w 11"/>
                <a:gd name="T3" fmla="*/ 0 h 4"/>
                <a:gd name="T4" fmla="*/ 0 w 11"/>
                <a:gd name="T5" fmla="*/ 3 h 4"/>
                <a:gd name="T6" fmla="*/ 10 w 11"/>
                <a:gd name="T7" fmla="*/ 4 h 4"/>
                <a:gd name="T8" fmla="*/ 11 w 11"/>
                <a:gd name="T9" fmla="*/ 1 h 4"/>
              </a:gdLst>
              <a:ahLst/>
              <a:cxnLst>
                <a:cxn ang="0">
                  <a:pos x="T0" y="T1"/>
                </a:cxn>
                <a:cxn ang="0">
                  <a:pos x="T2" y="T3"/>
                </a:cxn>
                <a:cxn ang="0">
                  <a:pos x="T4" y="T5"/>
                </a:cxn>
                <a:cxn ang="0">
                  <a:pos x="T6" y="T7"/>
                </a:cxn>
                <a:cxn ang="0">
                  <a:pos x="T8" y="T9"/>
                </a:cxn>
              </a:cxnLst>
              <a:rect l="0" t="0" r="r" b="b"/>
              <a:pathLst>
                <a:path w="11" h="4">
                  <a:moveTo>
                    <a:pt x="11" y="1"/>
                  </a:moveTo>
                  <a:lnTo>
                    <a:pt x="1" y="0"/>
                  </a:lnTo>
                  <a:lnTo>
                    <a:pt x="0" y="3"/>
                  </a:lnTo>
                  <a:lnTo>
                    <a:pt x="10" y="4"/>
                  </a:lnTo>
                  <a:lnTo>
                    <a:pt x="11"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23" name="Freeform 1776"/>
            <p:cNvSpPr>
              <a:spLocks/>
            </p:cNvSpPr>
            <p:nvPr/>
          </p:nvSpPr>
          <p:spPr bwMode="auto">
            <a:xfrm>
              <a:off x="6650038" y="4044951"/>
              <a:ext cx="15875" cy="12700"/>
            </a:xfrm>
            <a:custGeom>
              <a:avLst/>
              <a:gdLst>
                <a:gd name="T0" fmla="*/ 1 w 10"/>
                <a:gd name="T1" fmla="*/ 8 h 8"/>
                <a:gd name="T2" fmla="*/ 10 w 10"/>
                <a:gd name="T3" fmla="*/ 0 h 8"/>
                <a:gd name="T4" fmla="*/ 7 w 10"/>
                <a:gd name="T5" fmla="*/ 0 h 8"/>
                <a:gd name="T6" fmla="*/ 7 w 10"/>
                <a:gd name="T7" fmla="*/ 1 h 8"/>
                <a:gd name="T8" fmla="*/ 7 w 10"/>
                <a:gd name="T9" fmla="*/ 1 h 8"/>
                <a:gd name="T10" fmla="*/ 7 w 10"/>
                <a:gd name="T11" fmla="*/ 0 h 8"/>
                <a:gd name="T12" fmla="*/ 7 w 10"/>
                <a:gd name="T13" fmla="*/ 0 h 8"/>
                <a:gd name="T14" fmla="*/ 0 w 10"/>
                <a:gd name="T15" fmla="*/ 7 h 8"/>
                <a:gd name="T16" fmla="*/ 1 w 10"/>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8">
                  <a:moveTo>
                    <a:pt x="1" y="8"/>
                  </a:moveTo>
                  <a:lnTo>
                    <a:pt x="10" y="0"/>
                  </a:lnTo>
                  <a:lnTo>
                    <a:pt x="7" y="0"/>
                  </a:lnTo>
                  <a:lnTo>
                    <a:pt x="7" y="1"/>
                  </a:lnTo>
                  <a:lnTo>
                    <a:pt x="7" y="1"/>
                  </a:lnTo>
                  <a:lnTo>
                    <a:pt x="7" y="0"/>
                  </a:lnTo>
                  <a:lnTo>
                    <a:pt x="7" y="0"/>
                  </a:lnTo>
                  <a:lnTo>
                    <a:pt x="0" y="7"/>
                  </a:lnTo>
                  <a:lnTo>
                    <a:pt x="1"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24" name="Freeform 1777"/>
            <p:cNvSpPr>
              <a:spLocks/>
            </p:cNvSpPr>
            <p:nvPr/>
          </p:nvSpPr>
          <p:spPr bwMode="auto">
            <a:xfrm>
              <a:off x="6632575" y="4060826"/>
              <a:ext cx="14288" cy="15875"/>
            </a:xfrm>
            <a:custGeom>
              <a:avLst/>
              <a:gdLst>
                <a:gd name="T0" fmla="*/ 2 w 9"/>
                <a:gd name="T1" fmla="*/ 10 h 10"/>
                <a:gd name="T2" fmla="*/ 9 w 9"/>
                <a:gd name="T3" fmla="*/ 1 h 10"/>
                <a:gd name="T4" fmla="*/ 6 w 9"/>
                <a:gd name="T5" fmla="*/ 0 h 10"/>
                <a:gd name="T6" fmla="*/ 0 w 9"/>
                <a:gd name="T7" fmla="*/ 7 h 10"/>
                <a:gd name="T8" fmla="*/ 2 w 9"/>
                <a:gd name="T9" fmla="*/ 10 h 10"/>
              </a:gdLst>
              <a:ahLst/>
              <a:cxnLst>
                <a:cxn ang="0">
                  <a:pos x="T0" y="T1"/>
                </a:cxn>
                <a:cxn ang="0">
                  <a:pos x="T2" y="T3"/>
                </a:cxn>
                <a:cxn ang="0">
                  <a:pos x="T4" y="T5"/>
                </a:cxn>
                <a:cxn ang="0">
                  <a:pos x="T6" y="T7"/>
                </a:cxn>
                <a:cxn ang="0">
                  <a:pos x="T8" y="T9"/>
                </a:cxn>
              </a:cxnLst>
              <a:rect l="0" t="0" r="r" b="b"/>
              <a:pathLst>
                <a:path w="9" h="10">
                  <a:moveTo>
                    <a:pt x="2" y="10"/>
                  </a:moveTo>
                  <a:lnTo>
                    <a:pt x="9" y="1"/>
                  </a:lnTo>
                  <a:lnTo>
                    <a:pt x="6" y="0"/>
                  </a:lnTo>
                  <a:lnTo>
                    <a:pt x="0" y="7"/>
                  </a:lnTo>
                  <a:lnTo>
                    <a:pt x="2"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25" name="Freeform 1778"/>
            <p:cNvSpPr>
              <a:spLocks/>
            </p:cNvSpPr>
            <p:nvPr/>
          </p:nvSpPr>
          <p:spPr bwMode="auto">
            <a:xfrm>
              <a:off x="6630988" y="4081463"/>
              <a:ext cx="9525" cy="15875"/>
            </a:xfrm>
            <a:custGeom>
              <a:avLst/>
              <a:gdLst>
                <a:gd name="T0" fmla="*/ 6 w 6"/>
                <a:gd name="T1" fmla="*/ 9 h 10"/>
                <a:gd name="T2" fmla="*/ 6 w 6"/>
                <a:gd name="T3" fmla="*/ 7 h 10"/>
                <a:gd name="T4" fmla="*/ 3 w 6"/>
                <a:gd name="T5" fmla="*/ 0 h 10"/>
                <a:gd name="T6" fmla="*/ 0 w 6"/>
                <a:gd name="T7" fmla="*/ 0 h 10"/>
                <a:gd name="T8" fmla="*/ 3 w 6"/>
                <a:gd name="T9" fmla="*/ 9 h 10"/>
                <a:gd name="T10" fmla="*/ 4 w 6"/>
                <a:gd name="T11" fmla="*/ 10 h 10"/>
                <a:gd name="T12" fmla="*/ 6 w 6"/>
                <a:gd name="T13" fmla="*/ 9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6" y="9"/>
                  </a:moveTo>
                  <a:lnTo>
                    <a:pt x="6" y="7"/>
                  </a:lnTo>
                  <a:lnTo>
                    <a:pt x="3" y="0"/>
                  </a:lnTo>
                  <a:lnTo>
                    <a:pt x="0" y="0"/>
                  </a:lnTo>
                  <a:lnTo>
                    <a:pt x="3" y="9"/>
                  </a:lnTo>
                  <a:lnTo>
                    <a:pt x="4" y="10"/>
                  </a:lnTo>
                  <a:lnTo>
                    <a:pt x="6"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26" name="Freeform 1779"/>
            <p:cNvSpPr>
              <a:spLocks/>
            </p:cNvSpPr>
            <p:nvPr/>
          </p:nvSpPr>
          <p:spPr bwMode="auto">
            <a:xfrm>
              <a:off x="6645275" y="4090988"/>
              <a:ext cx="12700" cy="12700"/>
            </a:xfrm>
            <a:custGeom>
              <a:avLst/>
              <a:gdLst>
                <a:gd name="T0" fmla="*/ 5 w 8"/>
                <a:gd name="T1" fmla="*/ 0 h 8"/>
                <a:gd name="T2" fmla="*/ 3 w 8"/>
                <a:gd name="T3" fmla="*/ 6 h 8"/>
                <a:gd name="T4" fmla="*/ 1 w 8"/>
                <a:gd name="T5" fmla="*/ 6 h 8"/>
                <a:gd name="T6" fmla="*/ 3 w 8"/>
                <a:gd name="T7" fmla="*/ 7 h 8"/>
                <a:gd name="T8" fmla="*/ 3 w 8"/>
                <a:gd name="T9" fmla="*/ 6 h 8"/>
                <a:gd name="T10" fmla="*/ 3 w 8"/>
                <a:gd name="T11" fmla="*/ 6 h 8"/>
                <a:gd name="T12" fmla="*/ 3 w 8"/>
                <a:gd name="T13" fmla="*/ 7 h 8"/>
                <a:gd name="T14" fmla="*/ 3 w 8"/>
                <a:gd name="T15" fmla="*/ 6 h 8"/>
                <a:gd name="T16" fmla="*/ 3 w 8"/>
                <a:gd name="T17" fmla="*/ 6 h 8"/>
                <a:gd name="T18" fmla="*/ 1 w 8"/>
                <a:gd name="T19" fmla="*/ 6 h 8"/>
                <a:gd name="T20" fmla="*/ 0 w 8"/>
                <a:gd name="T21" fmla="*/ 7 h 8"/>
                <a:gd name="T22" fmla="*/ 1 w 8"/>
                <a:gd name="T23" fmla="*/ 8 h 8"/>
                <a:gd name="T24" fmla="*/ 1 w 8"/>
                <a:gd name="T25" fmla="*/ 8 h 8"/>
                <a:gd name="T26" fmla="*/ 3 w 8"/>
                <a:gd name="T27" fmla="*/ 8 h 8"/>
                <a:gd name="T28" fmla="*/ 3 w 8"/>
                <a:gd name="T29" fmla="*/ 8 h 8"/>
                <a:gd name="T30" fmla="*/ 3 w 8"/>
                <a:gd name="T31" fmla="*/ 8 h 8"/>
                <a:gd name="T32" fmla="*/ 3 w 8"/>
                <a:gd name="T33" fmla="*/ 8 h 8"/>
                <a:gd name="T34" fmla="*/ 4 w 8"/>
                <a:gd name="T35" fmla="*/ 8 h 8"/>
                <a:gd name="T36" fmla="*/ 4 w 8"/>
                <a:gd name="T37" fmla="*/ 8 h 8"/>
                <a:gd name="T38" fmla="*/ 8 w 8"/>
                <a:gd name="T39" fmla="*/ 1 h 8"/>
                <a:gd name="T40" fmla="*/ 5 w 8"/>
                <a:gd name="T4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8">
                  <a:moveTo>
                    <a:pt x="5" y="0"/>
                  </a:moveTo>
                  <a:lnTo>
                    <a:pt x="3" y="6"/>
                  </a:lnTo>
                  <a:lnTo>
                    <a:pt x="1" y="6"/>
                  </a:lnTo>
                  <a:lnTo>
                    <a:pt x="3" y="7"/>
                  </a:lnTo>
                  <a:lnTo>
                    <a:pt x="3" y="6"/>
                  </a:lnTo>
                  <a:lnTo>
                    <a:pt x="3" y="6"/>
                  </a:lnTo>
                  <a:lnTo>
                    <a:pt x="3" y="7"/>
                  </a:lnTo>
                  <a:lnTo>
                    <a:pt x="3" y="6"/>
                  </a:lnTo>
                  <a:lnTo>
                    <a:pt x="3" y="6"/>
                  </a:lnTo>
                  <a:lnTo>
                    <a:pt x="1" y="6"/>
                  </a:lnTo>
                  <a:lnTo>
                    <a:pt x="0" y="7"/>
                  </a:lnTo>
                  <a:lnTo>
                    <a:pt x="1" y="8"/>
                  </a:lnTo>
                  <a:lnTo>
                    <a:pt x="1" y="8"/>
                  </a:lnTo>
                  <a:lnTo>
                    <a:pt x="3" y="8"/>
                  </a:lnTo>
                  <a:lnTo>
                    <a:pt x="3" y="8"/>
                  </a:lnTo>
                  <a:lnTo>
                    <a:pt x="3" y="8"/>
                  </a:lnTo>
                  <a:lnTo>
                    <a:pt x="3" y="8"/>
                  </a:lnTo>
                  <a:lnTo>
                    <a:pt x="4" y="8"/>
                  </a:lnTo>
                  <a:lnTo>
                    <a:pt x="4" y="8"/>
                  </a:lnTo>
                  <a:lnTo>
                    <a:pt x="8" y="1"/>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27" name="Freeform 1780"/>
            <p:cNvSpPr>
              <a:spLocks/>
            </p:cNvSpPr>
            <p:nvPr/>
          </p:nvSpPr>
          <p:spPr bwMode="auto">
            <a:xfrm>
              <a:off x="6657975" y="4081463"/>
              <a:ext cx="9525" cy="20638"/>
            </a:xfrm>
            <a:custGeom>
              <a:avLst/>
              <a:gdLst>
                <a:gd name="T0" fmla="*/ 6 w 6"/>
                <a:gd name="T1" fmla="*/ 12 h 13"/>
                <a:gd name="T2" fmla="*/ 2 w 6"/>
                <a:gd name="T3" fmla="*/ 0 h 13"/>
                <a:gd name="T4" fmla="*/ 0 w 6"/>
                <a:gd name="T5" fmla="*/ 1 h 13"/>
                <a:gd name="T6" fmla="*/ 3 w 6"/>
                <a:gd name="T7" fmla="*/ 3 h 13"/>
                <a:gd name="T8" fmla="*/ 3 w 6"/>
                <a:gd name="T9" fmla="*/ 3 h 13"/>
                <a:gd name="T10" fmla="*/ 2 w 6"/>
                <a:gd name="T11" fmla="*/ 3 h 13"/>
                <a:gd name="T12" fmla="*/ 0 w 6"/>
                <a:gd name="T13" fmla="*/ 3 h 13"/>
                <a:gd name="T14" fmla="*/ 3 w 6"/>
                <a:gd name="T15" fmla="*/ 13 h 13"/>
                <a:gd name="T16" fmla="*/ 6 w 6"/>
                <a:gd name="T17"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3">
                  <a:moveTo>
                    <a:pt x="6" y="12"/>
                  </a:moveTo>
                  <a:lnTo>
                    <a:pt x="2" y="0"/>
                  </a:lnTo>
                  <a:lnTo>
                    <a:pt x="0" y="1"/>
                  </a:lnTo>
                  <a:lnTo>
                    <a:pt x="3" y="3"/>
                  </a:lnTo>
                  <a:lnTo>
                    <a:pt x="3" y="3"/>
                  </a:lnTo>
                  <a:lnTo>
                    <a:pt x="2" y="3"/>
                  </a:lnTo>
                  <a:lnTo>
                    <a:pt x="0" y="3"/>
                  </a:lnTo>
                  <a:lnTo>
                    <a:pt x="3" y="13"/>
                  </a:lnTo>
                  <a:lnTo>
                    <a:pt x="6"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28" name="Freeform 1781"/>
            <p:cNvSpPr>
              <a:spLocks/>
            </p:cNvSpPr>
            <p:nvPr/>
          </p:nvSpPr>
          <p:spPr bwMode="auto">
            <a:xfrm>
              <a:off x="6665913" y="4108451"/>
              <a:ext cx="6350" cy="15875"/>
            </a:xfrm>
            <a:custGeom>
              <a:avLst/>
              <a:gdLst>
                <a:gd name="T0" fmla="*/ 4 w 4"/>
                <a:gd name="T1" fmla="*/ 9 h 10"/>
                <a:gd name="T2" fmla="*/ 3 w 4"/>
                <a:gd name="T3" fmla="*/ 0 h 10"/>
                <a:gd name="T4" fmla="*/ 0 w 4"/>
                <a:gd name="T5" fmla="*/ 0 h 10"/>
                <a:gd name="T6" fmla="*/ 3 w 4"/>
                <a:gd name="T7" fmla="*/ 10 h 10"/>
                <a:gd name="T8" fmla="*/ 4 w 4"/>
                <a:gd name="T9" fmla="*/ 9 h 10"/>
              </a:gdLst>
              <a:ahLst/>
              <a:cxnLst>
                <a:cxn ang="0">
                  <a:pos x="T0" y="T1"/>
                </a:cxn>
                <a:cxn ang="0">
                  <a:pos x="T2" y="T3"/>
                </a:cxn>
                <a:cxn ang="0">
                  <a:pos x="T4" y="T5"/>
                </a:cxn>
                <a:cxn ang="0">
                  <a:pos x="T6" y="T7"/>
                </a:cxn>
                <a:cxn ang="0">
                  <a:pos x="T8" y="T9"/>
                </a:cxn>
              </a:cxnLst>
              <a:rect l="0" t="0" r="r" b="b"/>
              <a:pathLst>
                <a:path w="4" h="10">
                  <a:moveTo>
                    <a:pt x="4" y="9"/>
                  </a:moveTo>
                  <a:lnTo>
                    <a:pt x="3" y="0"/>
                  </a:lnTo>
                  <a:lnTo>
                    <a:pt x="0" y="0"/>
                  </a:lnTo>
                  <a:lnTo>
                    <a:pt x="3" y="10"/>
                  </a:lnTo>
                  <a:lnTo>
                    <a:pt x="4"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29" name="Freeform 1782"/>
            <p:cNvSpPr>
              <a:spLocks/>
            </p:cNvSpPr>
            <p:nvPr/>
          </p:nvSpPr>
          <p:spPr bwMode="auto">
            <a:xfrm>
              <a:off x="6670675" y="4124326"/>
              <a:ext cx="17463" cy="12700"/>
            </a:xfrm>
            <a:custGeom>
              <a:avLst/>
              <a:gdLst>
                <a:gd name="T0" fmla="*/ 10 w 11"/>
                <a:gd name="T1" fmla="*/ 0 h 8"/>
                <a:gd name="T2" fmla="*/ 2 w 11"/>
                <a:gd name="T3" fmla="*/ 5 h 8"/>
                <a:gd name="T4" fmla="*/ 2 w 11"/>
                <a:gd name="T5" fmla="*/ 5 h 8"/>
                <a:gd name="T6" fmla="*/ 2 w 11"/>
                <a:gd name="T7" fmla="*/ 5 h 8"/>
                <a:gd name="T8" fmla="*/ 2 w 11"/>
                <a:gd name="T9" fmla="*/ 6 h 8"/>
                <a:gd name="T10" fmla="*/ 2 w 11"/>
                <a:gd name="T11" fmla="*/ 5 h 8"/>
                <a:gd name="T12" fmla="*/ 2 w 11"/>
                <a:gd name="T13" fmla="*/ 5 h 8"/>
                <a:gd name="T14" fmla="*/ 2 w 11"/>
                <a:gd name="T15" fmla="*/ 5 h 8"/>
                <a:gd name="T16" fmla="*/ 0 w 11"/>
                <a:gd name="T17" fmla="*/ 5 h 8"/>
                <a:gd name="T18" fmla="*/ 1 w 11"/>
                <a:gd name="T19" fmla="*/ 5 h 8"/>
                <a:gd name="T20" fmla="*/ 1 w 11"/>
                <a:gd name="T21" fmla="*/ 6 h 8"/>
                <a:gd name="T22" fmla="*/ 1 w 11"/>
                <a:gd name="T23" fmla="*/ 6 h 8"/>
                <a:gd name="T24" fmla="*/ 1 w 11"/>
                <a:gd name="T25" fmla="*/ 6 h 8"/>
                <a:gd name="T26" fmla="*/ 2 w 11"/>
                <a:gd name="T27" fmla="*/ 8 h 8"/>
                <a:gd name="T28" fmla="*/ 2 w 11"/>
                <a:gd name="T29" fmla="*/ 8 h 8"/>
                <a:gd name="T30" fmla="*/ 2 w 11"/>
                <a:gd name="T31" fmla="*/ 6 h 8"/>
                <a:gd name="T32" fmla="*/ 4 w 11"/>
                <a:gd name="T33" fmla="*/ 6 h 8"/>
                <a:gd name="T34" fmla="*/ 11 w 11"/>
                <a:gd name="T35" fmla="*/ 3 h 8"/>
                <a:gd name="T36" fmla="*/ 10 w 11"/>
                <a:gd name="T3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8">
                  <a:moveTo>
                    <a:pt x="10" y="0"/>
                  </a:moveTo>
                  <a:lnTo>
                    <a:pt x="2" y="5"/>
                  </a:lnTo>
                  <a:lnTo>
                    <a:pt x="2" y="5"/>
                  </a:lnTo>
                  <a:lnTo>
                    <a:pt x="2" y="5"/>
                  </a:lnTo>
                  <a:lnTo>
                    <a:pt x="2" y="6"/>
                  </a:lnTo>
                  <a:lnTo>
                    <a:pt x="2" y="5"/>
                  </a:lnTo>
                  <a:lnTo>
                    <a:pt x="2" y="5"/>
                  </a:lnTo>
                  <a:lnTo>
                    <a:pt x="2" y="5"/>
                  </a:lnTo>
                  <a:lnTo>
                    <a:pt x="0" y="5"/>
                  </a:lnTo>
                  <a:lnTo>
                    <a:pt x="1" y="5"/>
                  </a:lnTo>
                  <a:lnTo>
                    <a:pt x="1" y="6"/>
                  </a:lnTo>
                  <a:lnTo>
                    <a:pt x="1" y="6"/>
                  </a:lnTo>
                  <a:lnTo>
                    <a:pt x="1" y="6"/>
                  </a:lnTo>
                  <a:lnTo>
                    <a:pt x="2" y="8"/>
                  </a:lnTo>
                  <a:lnTo>
                    <a:pt x="2" y="8"/>
                  </a:lnTo>
                  <a:lnTo>
                    <a:pt x="2" y="6"/>
                  </a:lnTo>
                  <a:lnTo>
                    <a:pt x="4" y="6"/>
                  </a:lnTo>
                  <a:lnTo>
                    <a:pt x="11" y="3"/>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30" name="Freeform 1783"/>
            <p:cNvSpPr>
              <a:spLocks/>
            </p:cNvSpPr>
            <p:nvPr/>
          </p:nvSpPr>
          <p:spPr bwMode="auto">
            <a:xfrm>
              <a:off x="6683375" y="4103688"/>
              <a:ext cx="4763" cy="17463"/>
            </a:xfrm>
            <a:custGeom>
              <a:avLst/>
              <a:gdLst>
                <a:gd name="T0" fmla="*/ 3 w 3"/>
                <a:gd name="T1" fmla="*/ 0 h 11"/>
                <a:gd name="T2" fmla="*/ 2 w 3"/>
                <a:gd name="T3" fmla="*/ 2 h 11"/>
                <a:gd name="T4" fmla="*/ 0 w 3"/>
                <a:gd name="T5" fmla="*/ 2 h 11"/>
                <a:gd name="T6" fmla="*/ 0 w 3"/>
                <a:gd name="T7" fmla="*/ 3 h 11"/>
                <a:gd name="T8" fmla="*/ 0 w 3"/>
                <a:gd name="T9" fmla="*/ 5 h 11"/>
                <a:gd name="T10" fmla="*/ 2 w 3"/>
                <a:gd name="T11" fmla="*/ 11 h 11"/>
                <a:gd name="T12" fmla="*/ 3 w 3"/>
                <a:gd name="T13" fmla="*/ 11 h 11"/>
                <a:gd name="T14" fmla="*/ 2 w 3"/>
                <a:gd name="T15" fmla="*/ 5 h 11"/>
                <a:gd name="T16" fmla="*/ 3 w 3"/>
                <a:gd name="T17" fmla="*/ 3 h 11"/>
                <a:gd name="T18" fmla="*/ 3 w 3"/>
                <a:gd name="T19" fmla="*/ 3 h 11"/>
                <a:gd name="T20" fmla="*/ 3 w 3"/>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11">
                  <a:moveTo>
                    <a:pt x="3" y="0"/>
                  </a:moveTo>
                  <a:lnTo>
                    <a:pt x="2" y="2"/>
                  </a:lnTo>
                  <a:lnTo>
                    <a:pt x="0" y="2"/>
                  </a:lnTo>
                  <a:lnTo>
                    <a:pt x="0" y="3"/>
                  </a:lnTo>
                  <a:lnTo>
                    <a:pt x="0" y="5"/>
                  </a:lnTo>
                  <a:lnTo>
                    <a:pt x="2" y="11"/>
                  </a:lnTo>
                  <a:lnTo>
                    <a:pt x="3" y="11"/>
                  </a:lnTo>
                  <a:lnTo>
                    <a:pt x="2" y="5"/>
                  </a:lnTo>
                  <a:lnTo>
                    <a:pt x="3" y="3"/>
                  </a:lnTo>
                  <a:lnTo>
                    <a:pt x="3" y="3"/>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31" name="Rectangle 1784"/>
            <p:cNvSpPr>
              <a:spLocks noChangeArrowheads="1"/>
            </p:cNvSpPr>
            <p:nvPr/>
          </p:nvSpPr>
          <p:spPr bwMode="auto">
            <a:xfrm>
              <a:off x="6691313" y="4086226"/>
              <a:ext cx="4763" cy="1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32" name="Freeform 1785"/>
            <p:cNvSpPr>
              <a:spLocks/>
            </p:cNvSpPr>
            <p:nvPr/>
          </p:nvSpPr>
          <p:spPr bwMode="auto">
            <a:xfrm>
              <a:off x="6697663" y="4075113"/>
              <a:ext cx="19050" cy="7938"/>
            </a:xfrm>
            <a:custGeom>
              <a:avLst/>
              <a:gdLst>
                <a:gd name="T0" fmla="*/ 10 w 12"/>
                <a:gd name="T1" fmla="*/ 0 h 5"/>
                <a:gd name="T2" fmla="*/ 0 w 12"/>
                <a:gd name="T3" fmla="*/ 3 h 5"/>
                <a:gd name="T4" fmla="*/ 1 w 12"/>
                <a:gd name="T5" fmla="*/ 5 h 5"/>
                <a:gd name="T6" fmla="*/ 12 w 12"/>
                <a:gd name="T7" fmla="*/ 3 h 5"/>
                <a:gd name="T8" fmla="*/ 10 w 12"/>
                <a:gd name="T9" fmla="*/ 0 h 5"/>
              </a:gdLst>
              <a:ahLst/>
              <a:cxnLst>
                <a:cxn ang="0">
                  <a:pos x="T0" y="T1"/>
                </a:cxn>
                <a:cxn ang="0">
                  <a:pos x="T2" y="T3"/>
                </a:cxn>
                <a:cxn ang="0">
                  <a:pos x="T4" y="T5"/>
                </a:cxn>
                <a:cxn ang="0">
                  <a:pos x="T6" y="T7"/>
                </a:cxn>
                <a:cxn ang="0">
                  <a:pos x="T8" y="T9"/>
                </a:cxn>
              </a:cxnLst>
              <a:rect l="0" t="0" r="r" b="b"/>
              <a:pathLst>
                <a:path w="12" h="5">
                  <a:moveTo>
                    <a:pt x="10" y="0"/>
                  </a:moveTo>
                  <a:lnTo>
                    <a:pt x="0" y="3"/>
                  </a:lnTo>
                  <a:lnTo>
                    <a:pt x="1" y="5"/>
                  </a:lnTo>
                  <a:lnTo>
                    <a:pt x="12" y="3"/>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33" name="Freeform 1786"/>
            <p:cNvSpPr>
              <a:spLocks/>
            </p:cNvSpPr>
            <p:nvPr/>
          </p:nvSpPr>
          <p:spPr bwMode="auto">
            <a:xfrm>
              <a:off x="6716713" y="4054476"/>
              <a:ext cx="7938" cy="15875"/>
            </a:xfrm>
            <a:custGeom>
              <a:avLst/>
              <a:gdLst>
                <a:gd name="T0" fmla="*/ 4 w 5"/>
                <a:gd name="T1" fmla="*/ 0 h 10"/>
                <a:gd name="T2" fmla="*/ 0 w 5"/>
                <a:gd name="T3" fmla="*/ 10 h 10"/>
                <a:gd name="T4" fmla="*/ 2 w 5"/>
                <a:gd name="T5" fmla="*/ 10 h 10"/>
                <a:gd name="T6" fmla="*/ 5 w 5"/>
                <a:gd name="T7" fmla="*/ 1 h 10"/>
                <a:gd name="T8" fmla="*/ 4 w 5"/>
                <a:gd name="T9" fmla="*/ 0 h 10"/>
              </a:gdLst>
              <a:ahLst/>
              <a:cxnLst>
                <a:cxn ang="0">
                  <a:pos x="T0" y="T1"/>
                </a:cxn>
                <a:cxn ang="0">
                  <a:pos x="T2" y="T3"/>
                </a:cxn>
                <a:cxn ang="0">
                  <a:pos x="T4" y="T5"/>
                </a:cxn>
                <a:cxn ang="0">
                  <a:pos x="T6" y="T7"/>
                </a:cxn>
                <a:cxn ang="0">
                  <a:pos x="T8" y="T9"/>
                </a:cxn>
              </a:cxnLst>
              <a:rect l="0" t="0" r="r" b="b"/>
              <a:pathLst>
                <a:path w="5" h="10">
                  <a:moveTo>
                    <a:pt x="4" y="0"/>
                  </a:moveTo>
                  <a:lnTo>
                    <a:pt x="0" y="10"/>
                  </a:lnTo>
                  <a:lnTo>
                    <a:pt x="2" y="10"/>
                  </a:lnTo>
                  <a:lnTo>
                    <a:pt x="5" y="1"/>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34" name="Freeform 1787"/>
            <p:cNvSpPr>
              <a:spLocks/>
            </p:cNvSpPr>
            <p:nvPr/>
          </p:nvSpPr>
          <p:spPr bwMode="auto">
            <a:xfrm>
              <a:off x="6724650" y="4033838"/>
              <a:ext cx="12700" cy="15875"/>
            </a:xfrm>
            <a:custGeom>
              <a:avLst/>
              <a:gdLst>
                <a:gd name="T0" fmla="*/ 6 w 8"/>
                <a:gd name="T1" fmla="*/ 0 h 10"/>
                <a:gd name="T2" fmla="*/ 2 w 8"/>
                <a:gd name="T3" fmla="*/ 5 h 10"/>
                <a:gd name="T4" fmla="*/ 0 w 8"/>
                <a:gd name="T5" fmla="*/ 8 h 10"/>
                <a:gd name="T6" fmla="*/ 2 w 8"/>
                <a:gd name="T7" fmla="*/ 10 h 10"/>
                <a:gd name="T8" fmla="*/ 3 w 8"/>
                <a:gd name="T9" fmla="*/ 7 h 10"/>
                <a:gd name="T10" fmla="*/ 8 w 8"/>
                <a:gd name="T11" fmla="*/ 1 h 10"/>
                <a:gd name="T12" fmla="*/ 6 w 8"/>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8" h="10">
                  <a:moveTo>
                    <a:pt x="6" y="0"/>
                  </a:moveTo>
                  <a:lnTo>
                    <a:pt x="2" y="5"/>
                  </a:lnTo>
                  <a:lnTo>
                    <a:pt x="0" y="8"/>
                  </a:lnTo>
                  <a:lnTo>
                    <a:pt x="2" y="10"/>
                  </a:lnTo>
                  <a:lnTo>
                    <a:pt x="3" y="7"/>
                  </a:lnTo>
                  <a:lnTo>
                    <a:pt x="8" y="1"/>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35" name="Freeform 1788"/>
            <p:cNvSpPr>
              <a:spLocks/>
            </p:cNvSpPr>
            <p:nvPr/>
          </p:nvSpPr>
          <p:spPr bwMode="auto">
            <a:xfrm>
              <a:off x="6738938" y="4013201"/>
              <a:ext cx="4763" cy="15875"/>
            </a:xfrm>
            <a:custGeom>
              <a:avLst/>
              <a:gdLst>
                <a:gd name="T0" fmla="*/ 1 w 3"/>
                <a:gd name="T1" fmla="*/ 0 h 10"/>
                <a:gd name="T2" fmla="*/ 0 w 3"/>
                <a:gd name="T3" fmla="*/ 7 h 10"/>
                <a:gd name="T4" fmla="*/ 0 w 3"/>
                <a:gd name="T5" fmla="*/ 8 h 10"/>
                <a:gd name="T6" fmla="*/ 1 w 3"/>
                <a:gd name="T7" fmla="*/ 10 h 10"/>
                <a:gd name="T8" fmla="*/ 3 w 3"/>
                <a:gd name="T9" fmla="*/ 8 h 10"/>
                <a:gd name="T10" fmla="*/ 3 w 3"/>
                <a:gd name="T11" fmla="*/ 8 h 10"/>
                <a:gd name="T12" fmla="*/ 3 w 3"/>
                <a:gd name="T13" fmla="*/ 0 h 10"/>
                <a:gd name="T14" fmla="*/ 1 w 3"/>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10">
                  <a:moveTo>
                    <a:pt x="1" y="0"/>
                  </a:moveTo>
                  <a:lnTo>
                    <a:pt x="0" y="7"/>
                  </a:lnTo>
                  <a:lnTo>
                    <a:pt x="0" y="8"/>
                  </a:lnTo>
                  <a:lnTo>
                    <a:pt x="1" y="10"/>
                  </a:lnTo>
                  <a:lnTo>
                    <a:pt x="3" y="8"/>
                  </a:lnTo>
                  <a:lnTo>
                    <a:pt x="3" y="8"/>
                  </a:lnTo>
                  <a:lnTo>
                    <a:pt x="3"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36" name="Freeform 1789"/>
            <p:cNvSpPr>
              <a:spLocks/>
            </p:cNvSpPr>
            <p:nvPr/>
          </p:nvSpPr>
          <p:spPr bwMode="auto">
            <a:xfrm>
              <a:off x="6743700" y="3994151"/>
              <a:ext cx="14288" cy="11113"/>
            </a:xfrm>
            <a:custGeom>
              <a:avLst/>
              <a:gdLst>
                <a:gd name="T0" fmla="*/ 7 w 9"/>
                <a:gd name="T1" fmla="*/ 0 h 7"/>
                <a:gd name="T2" fmla="*/ 0 w 9"/>
                <a:gd name="T3" fmla="*/ 6 h 7"/>
                <a:gd name="T4" fmla="*/ 1 w 9"/>
                <a:gd name="T5" fmla="*/ 7 h 7"/>
                <a:gd name="T6" fmla="*/ 9 w 9"/>
                <a:gd name="T7" fmla="*/ 1 h 7"/>
                <a:gd name="T8" fmla="*/ 7 w 9"/>
                <a:gd name="T9" fmla="*/ 0 h 7"/>
              </a:gdLst>
              <a:ahLst/>
              <a:cxnLst>
                <a:cxn ang="0">
                  <a:pos x="T0" y="T1"/>
                </a:cxn>
                <a:cxn ang="0">
                  <a:pos x="T2" y="T3"/>
                </a:cxn>
                <a:cxn ang="0">
                  <a:pos x="T4" y="T5"/>
                </a:cxn>
                <a:cxn ang="0">
                  <a:pos x="T6" y="T7"/>
                </a:cxn>
                <a:cxn ang="0">
                  <a:pos x="T8" y="T9"/>
                </a:cxn>
              </a:cxnLst>
              <a:rect l="0" t="0" r="r" b="b"/>
              <a:pathLst>
                <a:path w="9" h="7">
                  <a:moveTo>
                    <a:pt x="7" y="0"/>
                  </a:moveTo>
                  <a:lnTo>
                    <a:pt x="0" y="6"/>
                  </a:lnTo>
                  <a:lnTo>
                    <a:pt x="1" y="7"/>
                  </a:lnTo>
                  <a:lnTo>
                    <a:pt x="9" y="1"/>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37" name="Freeform 1790"/>
            <p:cNvSpPr>
              <a:spLocks/>
            </p:cNvSpPr>
            <p:nvPr/>
          </p:nvSpPr>
          <p:spPr bwMode="auto">
            <a:xfrm>
              <a:off x="6762750" y="3984626"/>
              <a:ext cx="15875" cy="6350"/>
            </a:xfrm>
            <a:custGeom>
              <a:avLst/>
              <a:gdLst>
                <a:gd name="T0" fmla="*/ 10 w 10"/>
                <a:gd name="T1" fmla="*/ 0 h 4"/>
                <a:gd name="T2" fmla="*/ 1 w 10"/>
                <a:gd name="T3" fmla="*/ 2 h 4"/>
                <a:gd name="T4" fmla="*/ 0 w 10"/>
                <a:gd name="T5" fmla="*/ 2 h 4"/>
                <a:gd name="T6" fmla="*/ 1 w 10"/>
                <a:gd name="T7" fmla="*/ 4 h 4"/>
                <a:gd name="T8" fmla="*/ 1 w 10"/>
                <a:gd name="T9" fmla="*/ 3 h 4"/>
                <a:gd name="T10" fmla="*/ 10 w 10"/>
                <a:gd name="T11" fmla="*/ 3 h 4"/>
                <a:gd name="T12" fmla="*/ 10 w 10"/>
                <a:gd name="T13" fmla="*/ 0 h 4"/>
                <a:gd name="T14" fmla="*/ 10 w 10"/>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
                  <a:moveTo>
                    <a:pt x="10" y="0"/>
                  </a:moveTo>
                  <a:lnTo>
                    <a:pt x="1" y="2"/>
                  </a:lnTo>
                  <a:lnTo>
                    <a:pt x="0" y="2"/>
                  </a:lnTo>
                  <a:lnTo>
                    <a:pt x="1" y="4"/>
                  </a:lnTo>
                  <a:lnTo>
                    <a:pt x="1" y="3"/>
                  </a:lnTo>
                  <a:lnTo>
                    <a:pt x="10" y="3"/>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38" name="Freeform 1791"/>
            <p:cNvSpPr>
              <a:spLocks/>
            </p:cNvSpPr>
            <p:nvPr/>
          </p:nvSpPr>
          <p:spPr bwMode="auto">
            <a:xfrm>
              <a:off x="6784975" y="3968751"/>
              <a:ext cx="6350" cy="19050"/>
            </a:xfrm>
            <a:custGeom>
              <a:avLst/>
              <a:gdLst>
                <a:gd name="T0" fmla="*/ 1 w 4"/>
                <a:gd name="T1" fmla="*/ 0 h 12"/>
                <a:gd name="T2" fmla="*/ 0 w 4"/>
                <a:gd name="T3" fmla="*/ 10 h 12"/>
                <a:gd name="T4" fmla="*/ 3 w 4"/>
                <a:gd name="T5" fmla="*/ 12 h 12"/>
                <a:gd name="T6" fmla="*/ 4 w 4"/>
                <a:gd name="T7" fmla="*/ 1 h 12"/>
                <a:gd name="T8" fmla="*/ 1 w 4"/>
                <a:gd name="T9" fmla="*/ 0 h 12"/>
              </a:gdLst>
              <a:ahLst/>
              <a:cxnLst>
                <a:cxn ang="0">
                  <a:pos x="T0" y="T1"/>
                </a:cxn>
                <a:cxn ang="0">
                  <a:pos x="T2" y="T3"/>
                </a:cxn>
                <a:cxn ang="0">
                  <a:pos x="T4" y="T5"/>
                </a:cxn>
                <a:cxn ang="0">
                  <a:pos x="T6" y="T7"/>
                </a:cxn>
                <a:cxn ang="0">
                  <a:pos x="T8" y="T9"/>
                </a:cxn>
              </a:cxnLst>
              <a:rect l="0" t="0" r="r" b="b"/>
              <a:pathLst>
                <a:path w="4" h="12">
                  <a:moveTo>
                    <a:pt x="1" y="0"/>
                  </a:moveTo>
                  <a:lnTo>
                    <a:pt x="0" y="10"/>
                  </a:lnTo>
                  <a:lnTo>
                    <a:pt x="3" y="12"/>
                  </a:lnTo>
                  <a:lnTo>
                    <a:pt x="4" y="1"/>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39" name="Freeform 1792"/>
            <p:cNvSpPr>
              <a:spLocks/>
            </p:cNvSpPr>
            <p:nvPr/>
          </p:nvSpPr>
          <p:spPr bwMode="auto">
            <a:xfrm>
              <a:off x="6786563" y="3949701"/>
              <a:ext cx="9525" cy="17463"/>
            </a:xfrm>
            <a:custGeom>
              <a:avLst/>
              <a:gdLst>
                <a:gd name="T0" fmla="*/ 0 w 6"/>
                <a:gd name="T1" fmla="*/ 2 h 11"/>
                <a:gd name="T2" fmla="*/ 5 w 6"/>
                <a:gd name="T3" fmla="*/ 6 h 11"/>
                <a:gd name="T4" fmla="*/ 5 w 6"/>
                <a:gd name="T5" fmla="*/ 6 h 11"/>
                <a:gd name="T6" fmla="*/ 5 w 6"/>
                <a:gd name="T7" fmla="*/ 9 h 11"/>
                <a:gd name="T8" fmla="*/ 6 w 6"/>
                <a:gd name="T9" fmla="*/ 9 h 11"/>
                <a:gd name="T10" fmla="*/ 5 w 6"/>
                <a:gd name="T11" fmla="*/ 9 h 11"/>
                <a:gd name="T12" fmla="*/ 5 w 6"/>
                <a:gd name="T13" fmla="*/ 9 h 11"/>
                <a:gd name="T14" fmla="*/ 6 w 6"/>
                <a:gd name="T15" fmla="*/ 11 h 11"/>
                <a:gd name="T16" fmla="*/ 6 w 6"/>
                <a:gd name="T17" fmla="*/ 11 h 11"/>
                <a:gd name="T18" fmla="*/ 6 w 6"/>
                <a:gd name="T19" fmla="*/ 11 h 11"/>
                <a:gd name="T20" fmla="*/ 6 w 6"/>
                <a:gd name="T21" fmla="*/ 6 h 11"/>
                <a:gd name="T22" fmla="*/ 6 w 6"/>
                <a:gd name="T23" fmla="*/ 5 h 11"/>
                <a:gd name="T24" fmla="*/ 6 w 6"/>
                <a:gd name="T25" fmla="*/ 5 h 11"/>
                <a:gd name="T26" fmla="*/ 6 w 6"/>
                <a:gd name="T27" fmla="*/ 5 h 11"/>
                <a:gd name="T28" fmla="*/ 2 w 6"/>
                <a:gd name="T29" fmla="*/ 0 h 11"/>
                <a:gd name="T30" fmla="*/ 0 w 6"/>
                <a:gd name="T31"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11">
                  <a:moveTo>
                    <a:pt x="0" y="2"/>
                  </a:moveTo>
                  <a:lnTo>
                    <a:pt x="5" y="6"/>
                  </a:lnTo>
                  <a:lnTo>
                    <a:pt x="5" y="6"/>
                  </a:lnTo>
                  <a:lnTo>
                    <a:pt x="5" y="9"/>
                  </a:lnTo>
                  <a:lnTo>
                    <a:pt x="6" y="9"/>
                  </a:lnTo>
                  <a:lnTo>
                    <a:pt x="5" y="9"/>
                  </a:lnTo>
                  <a:lnTo>
                    <a:pt x="5" y="9"/>
                  </a:lnTo>
                  <a:lnTo>
                    <a:pt x="6" y="11"/>
                  </a:lnTo>
                  <a:lnTo>
                    <a:pt x="6" y="11"/>
                  </a:lnTo>
                  <a:lnTo>
                    <a:pt x="6" y="11"/>
                  </a:lnTo>
                  <a:lnTo>
                    <a:pt x="6" y="6"/>
                  </a:lnTo>
                  <a:lnTo>
                    <a:pt x="6" y="5"/>
                  </a:lnTo>
                  <a:lnTo>
                    <a:pt x="6" y="5"/>
                  </a:lnTo>
                  <a:lnTo>
                    <a:pt x="6" y="5"/>
                  </a:lnTo>
                  <a:lnTo>
                    <a:pt x="2"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40" name="Freeform 1793"/>
            <p:cNvSpPr>
              <a:spLocks/>
            </p:cNvSpPr>
            <p:nvPr/>
          </p:nvSpPr>
          <p:spPr bwMode="auto">
            <a:xfrm>
              <a:off x="6765925" y="3943351"/>
              <a:ext cx="17463" cy="6350"/>
            </a:xfrm>
            <a:custGeom>
              <a:avLst/>
              <a:gdLst>
                <a:gd name="T0" fmla="*/ 2 w 11"/>
                <a:gd name="T1" fmla="*/ 0 h 4"/>
                <a:gd name="T2" fmla="*/ 2 w 11"/>
                <a:gd name="T3" fmla="*/ 3 h 4"/>
                <a:gd name="T4" fmla="*/ 0 w 11"/>
                <a:gd name="T5" fmla="*/ 3 h 4"/>
                <a:gd name="T6" fmla="*/ 9 w 11"/>
                <a:gd name="T7" fmla="*/ 4 h 4"/>
                <a:gd name="T8" fmla="*/ 11 w 11"/>
                <a:gd name="T9" fmla="*/ 3 h 4"/>
                <a:gd name="T10" fmla="*/ 3 w 11"/>
                <a:gd name="T11" fmla="*/ 1 h 4"/>
                <a:gd name="T12" fmla="*/ 3 w 11"/>
                <a:gd name="T13" fmla="*/ 0 h 4"/>
                <a:gd name="T14" fmla="*/ 2 w 11"/>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2" y="0"/>
                  </a:moveTo>
                  <a:lnTo>
                    <a:pt x="2" y="3"/>
                  </a:lnTo>
                  <a:lnTo>
                    <a:pt x="0" y="3"/>
                  </a:lnTo>
                  <a:lnTo>
                    <a:pt x="9" y="4"/>
                  </a:lnTo>
                  <a:lnTo>
                    <a:pt x="11" y="3"/>
                  </a:lnTo>
                  <a:lnTo>
                    <a:pt x="3" y="1"/>
                  </a:lnTo>
                  <a:lnTo>
                    <a:pt x="3"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41" name="Freeform 1794"/>
            <p:cNvSpPr>
              <a:spLocks/>
            </p:cNvSpPr>
            <p:nvPr/>
          </p:nvSpPr>
          <p:spPr bwMode="auto">
            <a:xfrm>
              <a:off x="6762750" y="3921126"/>
              <a:ext cx="11113" cy="15875"/>
            </a:xfrm>
            <a:custGeom>
              <a:avLst/>
              <a:gdLst>
                <a:gd name="T0" fmla="*/ 0 w 7"/>
                <a:gd name="T1" fmla="*/ 1 h 10"/>
                <a:gd name="T2" fmla="*/ 1 w 7"/>
                <a:gd name="T3" fmla="*/ 8 h 10"/>
                <a:gd name="T4" fmla="*/ 4 w 7"/>
                <a:gd name="T5" fmla="*/ 10 h 10"/>
                <a:gd name="T6" fmla="*/ 4 w 7"/>
                <a:gd name="T7" fmla="*/ 10 h 10"/>
                <a:gd name="T8" fmla="*/ 7 w 7"/>
                <a:gd name="T9" fmla="*/ 8 h 10"/>
                <a:gd name="T10" fmla="*/ 5 w 7"/>
                <a:gd name="T11" fmla="*/ 7 h 10"/>
                <a:gd name="T12" fmla="*/ 5 w 7"/>
                <a:gd name="T13" fmla="*/ 7 h 10"/>
                <a:gd name="T14" fmla="*/ 4 w 7"/>
                <a:gd name="T15" fmla="*/ 7 h 10"/>
                <a:gd name="T16" fmla="*/ 1 w 7"/>
                <a:gd name="T17" fmla="*/ 0 h 10"/>
                <a:gd name="T18" fmla="*/ 0 w 7"/>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0">
                  <a:moveTo>
                    <a:pt x="0" y="1"/>
                  </a:moveTo>
                  <a:lnTo>
                    <a:pt x="1" y="8"/>
                  </a:lnTo>
                  <a:lnTo>
                    <a:pt x="4" y="10"/>
                  </a:lnTo>
                  <a:lnTo>
                    <a:pt x="4" y="10"/>
                  </a:lnTo>
                  <a:lnTo>
                    <a:pt x="7" y="8"/>
                  </a:lnTo>
                  <a:lnTo>
                    <a:pt x="5" y="7"/>
                  </a:lnTo>
                  <a:lnTo>
                    <a:pt x="5" y="7"/>
                  </a:lnTo>
                  <a:lnTo>
                    <a:pt x="4" y="7"/>
                  </a:lnTo>
                  <a:lnTo>
                    <a:pt x="1" y="0"/>
                  </a:lnTo>
                  <a:lnTo>
                    <a:pt x="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42" name="Freeform 1795"/>
            <p:cNvSpPr>
              <a:spLocks/>
            </p:cNvSpPr>
            <p:nvPr/>
          </p:nvSpPr>
          <p:spPr bwMode="auto">
            <a:xfrm>
              <a:off x="6740525" y="3917951"/>
              <a:ext cx="17463" cy="9525"/>
            </a:xfrm>
            <a:custGeom>
              <a:avLst/>
              <a:gdLst>
                <a:gd name="T0" fmla="*/ 2 w 11"/>
                <a:gd name="T1" fmla="*/ 6 h 6"/>
                <a:gd name="T2" fmla="*/ 11 w 11"/>
                <a:gd name="T3" fmla="*/ 3 h 6"/>
                <a:gd name="T4" fmla="*/ 11 w 11"/>
                <a:gd name="T5" fmla="*/ 0 h 6"/>
                <a:gd name="T6" fmla="*/ 0 w 11"/>
                <a:gd name="T7" fmla="*/ 4 h 6"/>
                <a:gd name="T8" fmla="*/ 2 w 11"/>
                <a:gd name="T9" fmla="*/ 6 h 6"/>
              </a:gdLst>
              <a:ahLst/>
              <a:cxnLst>
                <a:cxn ang="0">
                  <a:pos x="T0" y="T1"/>
                </a:cxn>
                <a:cxn ang="0">
                  <a:pos x="T2" y="T3"/>
                </a:cxn>
                <a:cxn ang="0">
                  <a:pos x="T4" y="T5"/>
                </a:cxn>
                <a:cxn ang="0">
                  <a:pos x="T6" y="T7"/>
                </a:cxn>
                <a:cxn ang="0">
                  <a:pos x="T8" y="T9"/>
                </a:cxn>
              </a:cxnLst>
              <a:rect l="0" t="0" r="r" b="b"/>
              <a:pathLst>
                <a:path w="11" h="6">
                  <a:moveTo>
                    <a:pt x="2" y="6"/>
                  </a:moveTo>
                  <a:lnTo>
                    <a:pt x="11" y="3"/>
                  </a:lnTo>
                  <a:lnTo>
                    <a:pt x="11" y="0"/>
                  </a:lnTo>
                  <a:lnTo>
                    <a:pt x="0" y="4"/>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43" name="Freeform 1796"/>
            <p:cNvSpPr>
              <a:spLocks/>
            </p:cNvSpPr>
            <p:nvPr/>
          </p:nvSpPr>
          <p:spPr bwMode="auto">
            <a:xfrm>
              <a:off x="6718300" y="3922713"/>
              <a:ext cx="15875" cy="6350"/>
            </a:xfrm>
            <a:custGeom>
              <a:avLst/>
              <a:gdLst>
                <a:gd name="T0" fmla="*/ 1 w 10"/>
                <a:gd name="T1" fmla="*/ 4 h 4"/>
                <a:gd name="T2" fmla="*/ 3 w 10"/>
                <a:gd name="T3" fmla="*/ 3 h 4"/>
                <a:gd name="T4" fmla="*/ 3 w 10"/>
                <a:gd name="T5" fmla="*/ 3 h 4"/>
                <a:gd name="T6" fmla="*/ 10 w 10"/>
                <a:gd name="T7" fmla="*/ 3 h 4"/>
                <a:gd name="T8" fmla="*/ 10 w 10"/>
                <a:gd name="T9" fmla="*/ 0 h 4"/>
                <a:gd name="T10" fmla="*/ 3 w 10"/>
                <a:gd name="T11" fmla="*/ 0 h 4"/>
                <a:gd name="T12" fmla="*/ 3 w 10"/>
                <a:gd name="T13" fmla="*/ 0 h 4"/>
                <a:gd name="T14" fmla="*/ 1 w 10"/>
                <a:gd name="T15" fmla="*/ 0 h 4"/>
                <a:gd name="T16" fmla="*/ 0 w 10"/>
                <a:gd name="T17" fmla="*/ 1 h 4"/>
                <a:gd name="T18" fmla="*/ 1 w 10"/>
                <a:gd name="T19" fmla="*/ 4 h 4"/>
                <a:gd name="T20" fmla="*/ 1 w 10"/>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4">
                  <a:moveTo>
                    <a:pt x="1" y="4"/>
                  </a:moveTo>
                  <a:lnTo>
                    <a:pt x="3" y="3"/>
                  </a:lnTo>
                  <a:lnTo>
                    <a:pt x="3" y="3"/>
                  </a:lnTo>
                  <a:lnTo>
                    <a:pt x="10" y="3"/>
                  </a:lnTo>
                  <a:lnTo>
                    <a:pt x="10" y="0"/>
                  </a:lnTo>
                  <a:lnTo>
                    <a:pt x="3" y="0"/>
                  </a:lnTo>
                  <a:lnTo>
                    <a:pt x="3" y="0"/>
                  </a:lnTo>
                  <a:lnTo>
                    <a:pt x="1" y="0"/>
                  </a:lnTo>
                  <a:lnTo>
                    <a:pt x="0" y="1"/>
                  </a:lnTo>
                  <a:lnTo>
                    <a:pt x="1" y="4"/>
                  </a:lnTo>
                  <a:lnTo>
                    <a:pt x="1"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44" name="Freeform 1797"/>
            <p:cNvSpPr>
              <a:spLocks/>
            </p:cNvSpPr>
            <p:nvPr/>
          </p:nvSpPr>
          <p:spPr bwMode="auto">
            <a:xfrm>
              <a:off x="6699250" y="3932238"/>
              <a:ext cx="14288" cy="11113"/>
            </a:xfrm>
            <a:custGeom>
              <a:avLst/>
              <a:gdLst>
                <a:gd name="T0" fmla="*/ 2 w 9"/>
                <a:gd name="T1" fmla="*/ 7 h 7"/>
                <a:gd name="T2" fmla="*/ 9 w 9"/>
                <a:gd name="T3" fmla="*/ 1 h 7"/>
                <a:gd name="T4" fmla="*/ 8 w 9"/>
                <a:gd name="T5" fmla="*/ 0 h 7"/>
                <a:gd name="T6" fmla="*/ 0 w 9"/>
                <a:gd name="T7" fmla="*/ 6 h 7"/>
                <a:gd name="T8" fmla="*/ 2 w 9"/>
                <a:gd name="T9" fmla="*/ 7 h 7"/>
              </a:gdLst>
              <a:ahLst/>
              <a:cxnLst>
                <a:cxn ang="0">
                  <a:pos x="T0" y="T1"/>
                </a:cxn>
                <a:cxn ang="0">
                  <a:pos x="T2" y="T3"/>
                </a:cxn>
                <a:cxn ang="0">
                  <a:pos x="T4" y="T5"/>
                </a:cxn>
                <a:cxn ang="0">
                  <a:pos x="T6" y="T7"/>
                </a:cxn>
                <a:cxn ang="0">
                  <a:pos x="T8" y="T9"/>
                </a:cxn>
              </a:cxnLst>
              <a:rect l="0" t="0" r="r" b="b"/>
              <a:pathLst>
                <a:path w="9" h="7">
                  <a:moveTo>
                    <a:pt x="2" y="7"/>
                  </a:moveTo>
                  <a:lnTo>
                    <a:pt x="9" y="1"/>
                  </a:lnTo>
                  <a:lnTo>
                    <a:pt x="8" y="0"/>
                  </a:lnTo>
                  <a:lnTo>
                    <a:pt x="0" y="6"/>
                  </a:lnTo>
                  <a:lnTo>
                    <a:pt x="2"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45" name="Freeform 1798"/>
            <p:cNvSpPr>
              <a:spLocks/>
            </p:cNvSpPr>
            <p:nvPr/>
          </p:nvSpPr>
          <p:spPr bwMode="auto">
            <a:xfrm>
              <a:off x="6678613" y="3944938"/>
              <a:ext cx="17463" cy="12700"/>
            </a:xfrm>
            <a:custGeom>
              <a:avLst/>
              <a:gdLst>
                <a:gd name="T0" fmla="*/ 2 w 11"/>
                <a:gd name="T1" fmla="*/ 8 h 8"/>
                <a:gd name="T2" fmla="*/ 5 w 11"/>
                <a:gd name="T3" fmla="*/ 8 h 8"/>
                <a:gd name="T4" fmla="*/ 5 w 11"/>
                <a:gd name="T5" fmla="*/ 8 h 8"/>
                <a:gd name="T6" fmla="*/ 11 w 11"/>
                <a:gd name="T7" fmla="*/ 2 h 8"/>
                <a:gd name="T8" fmla="*/ 9 w 11"/>
                <a:gd name="T9" fmla="*/ 0 h 8"/>
                <a:gd name="T10" fmla="*/ 3 w 11"/>
                <a:gd name="T11" fmla="*/ 5 h 8"/>
                <a:gd name="T12" fmla="*/ 0 w 11"/>
                <a:gd name="T13" fmla="*/ 6 h 8"/>
                <a:gd name="T14" fmla="*/ 2 w 11"/>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8">
                  <a:moveTo>
                    <a:pt x="2" y="8"/>
                  </a:moveTo>
                  <a:lnTo>
                    <a:pt x="5" y="8"/>
                  </a:lnTo>
                  <a:lnTo>
                    <a:pt x="5" y="8"/>
                  </a:lnTo>
                  <a:lnTo>
                    <a:pt x="11" y="2"/>
                  </a:lnTo>
                  <a:lnTo>
                    <a:pt x="9" y="0"/>
                  </a:lnTo>
                  <a:lnTo>
                    <a:pt x="3" y="5"/>
                  </a:lnTo>
                  <a:lnTo>
                    <a:pt x="0" y="6"/>
                  </a:lnTo>
                  <a:lnTo>
                    <a:pt x="2"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46" name="Freeform 1799"/>
            <p:cNvSpPr>
              <a:spLocks/>
            </p:cNvSpPr>
            <p:nvPr/>
          </p:nvSpPr>
          <p:spPr bwMode="auto">
            <a:xfrm>
              <a:off x="6656388" y="3957638"/>
              <a:ext cx="17463" cy="9525"/>
            </a:xfrm>
            <a:custGeom>
              <a:avLst/>
              <a:gdLst>
                <a:gd name="T0" fmla="*/ 1 w 11"/>
                <a:gd name="T1" fmla="*/ 6 h 6"/>
                <a:gd name="T2" fmla="*/ 11 w 11"/>
                <a:gd name="T3" fmla="*/ 3 h 6"/>
                <a:gd name="T4" fmla="*/ 10 w 11"/>
                <a:gd name="T5" fmla="*/ 0 h 6"/>
                <a:gd name="T6" fmla="*/ 0 w 11"/>
                <a:gd name="T7" fmla="*/ 3 h 6"/>
                <a:gd name="T8" fmla="*/ 1 w 11"/>
                <a:gd name="T9" fmla="*/ 6 h 6"/>
              </a:gdLst>
              <a:ahLst/>
              <a:cxnLst>
                <a:cxn ang="0">
                  <a:pos x="T0" y="T1"/>
                </a:cxn>
                <a:cxn ang="0">
                  <a:pos x="T2" y="T3"/>
                </a:cxn>
                <a:cxn ang="0">
                  <a:pos x="T4" y="T5"/>
                </a:cxn>
                <a:cxn ang="0">
                  <a:pos x="T6" y="T7"/>
                </a:cxn>
                <a:cxn ang="0">
                  <a:pos x="T8" y="T9"/>
                </a:cxn>
              </a:cxnLst>
              <a:rect l="0" t="0" r="r" b="b"/>
              <a:pathLst>
                <a:path w="11" h="6">
                  <a:moveTo>
                    <a:pt x="1" y="6"/>
                  </a:moveTo>
                  <a:lnTo>
                    <a:pt x="11" y="3"/>
                  </a:lnTo>
                  <a:lnTo>
                    <a:pt x="10" y="0"/>
                  </a:lnTo>
                  <a:lnTo>
                    <a:pt x="0" y="3"/>
                  </a:lnTo>
                  <a:lnTo>
                    <a:pt x="1"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47" name="Freeform 1800"/>
            <p:cNvSpPr>
              <a:spLocks/>
            </p:cNvSpPr>
            <p:nvPr/>
          </p:nvSpPr>
          <p:spPr bwMode="auto">
            <a:xfrm>
              <a:off x="6646863" y="3967163"/>
              <a:ext cx="9525" cy="15875"/>
            </a:xfrm>
            <a:custGeom>
              <a:avLst/>
              <a:gdLst>
                <a:gd name="T0" fmla="*/ 6 w 6"/>
                <a:gd name="T1" fmla="*/ 7 h 10"/>
                <a:gd name="T2" fmla="*/ 3 w 6"/>
                <a:gd name="T3" fmla="*/ 5 h 10"/>
                <a:gd name="T4" fmla="*/ 3 w 6"/>
                <a:gd name="T5" fmla="*/ 5 h 10"/>
                <a:gd name="T6" fmla="*/ 3 w 6"/>
                <a:gd name="T7" fmla="*/ 1 h 10"/>
                <a:gd name="T8" fmla="*/ 3 w 6"/>
                <a:gd name="T9" fmla="*/ 1 h 10"/>
                <a:gd name="T10" fmla="*/ 2 w 6"/>
                <a:gd name="T11" fmla="*/ 0 h 10"/>
                <a:gd name="T12" fmla="*/ 2 w 6"/>
                <a:gd name="T13" fmla="*/ 1 h 10"/>
                <a:gd name="T14" fmla="*/ 0 w 6"/>
                <a:gd name="T15" fmla="*/ 1 h 10"/>
                <a:gd name="T16" fmla="*/ 0 w 6"/>
                <a:gd name="T17" fmla="*/ 5 h 10"/>
                <a:gd name="T18" fmla="*/ 0 w 6"/>
                <a:gd name="T19" fmla="*/ 7 h 10"/>
                <a:gd name="T20" fmla="*/ 2 w 6"/>
                <a:gd name="T21" fmla="*/ 7 h 10"/>
                <a:gd name="T22" fmla="*/ 2 w 6"/>
                <a:gd name="T23" fmla="*/ 8 h 10"/>
                <a:gd name="T24" fmla="*/ 6 w 6"/>
                <a:gd name="T25" fmla="*/ 10 h 10"/>
                <a:gd name="T26" fmla="*/ 6 w 6"/>
                <a:gd name="T27"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0">
                  <a:moveTo>
                    <a:pt x="6" y="7"/>
                  </a:moveTo>
                  <a:lnTo>
                    <a:pt x="3" y="5"/>
                  </a:lnTo>
                  <a:lnTo>
                    <a:pt x="3" y="5"/>
                  </a:lnTo>
                  <a:lnTo>
                    <a:pt x="3" y="1"/>
                  </a:lnTo>
                  <a:lnTo>
                    <a:pt x="3" y="1"/>
                  </a:lnTo>
                  <a:lnTo>
                    <a:pt x="2" y="0"/>
                  </a:lnTo>
                  <a:lnTo>
                    <a:pt x="2" y="1"/>
                  </a:lnTo>
                  <a:lnTo>
                    <a:pt x="0" y="1"/>
                  </a:lnTo>
                  <a:lnTo>
                    <a:pt x="0" y="5"/>
                  </a:lnTo>
                  <a:lnTo>
                    <a:pt x="0" y="7"/>
                  </a:lnTo>
                  <a:lnTo>
                    <a:pt x="2" y="7"/>
                  </a:lnTo>
                  <a:lnTo>
                    <a:pt x="2" y="8"/>
                  </a:lnTo>
                  <a:lnTo>
                    <a:pt x="6" y="10"/>
                  </a:lnTo>
                  <a:lnTo>
                    <a:pt x="6"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48" name="Freeform 1801"/>
            <p:cNvSpPr>
              <a:spLocks/>
            </p:cNvSpPr>
            <p:nvPr/>
          </p:nvSpPr>
          <p:spPr bwMode="auto">
            <a:xfrm>
              <a:off x="6650038" y="3984626"/>
              <a:ext cx="11113" cy="9525"/>
            </a:xfrm>
            <a:custGeom>
              <a:avLst/>
              <a:gdLst>
                <a:gd name="T0" fmla="*/ 0 w 7"/>
                <a:gd name="T1" fmla="*/ 6 h 6"/>
                <a:gd name="T2" fmla="*/ 4 w 7"/>
                <a:gd name="T3" fmla="*/ 6 h 6"/>
                <a:gd name="T4" fmla="*/ 5 w 7"/>
                <a:gd name="T5" fmla="*/ 6 h 6"/>
                <a:gd name="T6" fmla="*/ 7 w 7"/>
                <a:gd name="T7" fmla="*/ 0 h 6"/>
                <a:gd name="T8" fmla="*/ 5 w 7"/>
                <a:gd name="T9" fmla="*/ 0 h 6"/>
                <a:gd name="T10" fmla="*/ 4 w 7"/>
                <a:gd name="T11" fmla="*/ 3 h 6"/>
                <a:gd name="T12" fmla="*/ 0 w 7"/>
                <a:gd name="T13" fmla="*/ 4 h 6"/>
                <a:gd name="T14" fmla="*/ 0 w 7"/>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0" y="6"/>
                  </a:moveTo>
                  <a:lnTo>
                    <a:pt x="4" y="6"/>
                  </a:lnTo>
                  <a:lnTo>
                    <a:pt x="5" y="6"/>
                  </a:lnTo>
                  <a:lnTo>
                    <a:pt x="7" y="0"/>
                  </a:lnTo>
                  <a:lnTo>
                    <a:pt x="5" y="0"/>
                  </a:lnTo>
                  <a:lnTo>
                    <a:pt x="4" y="3"/>
                  </a:lnTo>
                  <a:lnTo>
                    <a:pt x="0" y="4"/>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49" name="Freeform 1802"/>
            <p:cNvSpPr>
              <a:spLocks/>
            </p:cNvSpPr>
            <p:nvPr/>
          </p:nvSpPr>
          <p:spPr bwMode="auto">
            <a:xfrm>
              <a:off x="6624638" y="3990976"/>
              <a:ext cx="15875" cy="7938"/>
            </a:xfrm>
            <a:custGeom>
              <a:avLst/>
              <a:gdLst>
                <a:gd name="T0" fmla="*/ 0 w 10"/>
                <a:gd name="T1" fmla="*/ 5 h 5"/>
                <a:gd name="T2" fmla="*/ 10 w 10"/>
                <a:gd name="T3" fmla="*/ 3 h 5"/>
                <a:gd name="T4" fmla="*/ 10 w 10"/>
                <a:gd name="T5" fmla="*/ 0 h 5"/>
                <a:gd name="T6" fmla="*/ 0 w 10"/>
                <a:gd name="T7" fmla="*/ 2 h 5"/>
                <a:gd name="T8" fmla="*/ 0 w 10"/>
                <a:gd name="T9" fmla="*/ 5 h 5"/>
              </a:gdLst>
              <a:ahLst/>
              <a:cxnLst>
                <a:cxn ang="0">
                  <a:pos x="T0" y="T1"/>
                </a:cxn>
                <a:cxn ang="0">
                  <a:pos x="T2" y="T3"/>
                </a:cxn>
                <a:cxn ang="0">
                  <a:pos x="T4" y="T5"/>
                </a:cxn>
                <a:cxn ang="0">
                  <a:pos x="T6" y="T7"/>
                </a:cxn>
                <a:cxn ang="0">
                  <a:pos x="T8" y="T9"/>
                </a:cxn>
              </a:cxnLst>
              <a:rect l="0" t="0" r="r" b="b"/>
              <a:pathLst>
                <a:path w="10" h="5">
                  <a:moveTo>
                    <a:pt x="0" y="5"/>
                  </a:moveTo>
                  <a:lnTo>
                    <a:pt x="10" y="3"/>
                  </a:lnTo>
                  <a:lnTo>
                    <a:pt x="10" y="0"/>
                  </a:lnTo>
                  <a:lnTo>
                    <a:pt x="0" y="2"/>
                  </a:lnTo>
                  <a:lnTo>
                    <a:pt x="0"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50" name="Freeform 1803"/>
            <p:cNvSpPr>
              <a:spLocks/>
            </p:cNvSpPr>
            <p:nvPr/>
          </p:nvSpPr>
          <p:spPr bwMode="auto">
            <a:xfrm>
              <a:off x="6600825" y="3994151"/>
              <a:ext cx="15875" cy="6350"/>
            </a:xfrm>
            <a:custGeom>
              <a:avLst/>
              <a:gdLst>
                <a:gd name="T0" fmla="*/ 0 w 10"/>
                <a:gd name="T1" fmla="*/ 4 h 4"/>
                <a:gd name="T2" fmla="*/ 10 w 10"/>
                <a:gd name="T3" fmla="*/ 3 h 4"/>
                <a:gd name="T4" fmla="*/ 10 w 10"/>
                <a:gd name="T5" fmla="*/ 0 h 4"/>
                <a:gd name="T6" fmla="*/ 0 w 10"/>
                <a:gd name="T7" fmla="*/ 1 h 4"/>
                <a:gd name="T8" fmla="*/ 0 w 10"/>
                <a:gd name="T9" fmla="*/ 4 h 4"/>
              </a:gdLst>
              <a:ahLst/>
              <a:cxnLst>
                <a:cxn ang="0">
                  <a:pos x="T0" y="T1"/>
                </a:cxn>
                <a:cxn ang="0">
                  <a:pos x="T2" y="T3"/>
                </a:cxn>
                <a:cxn ang="0">
                  <a:pos x="T4" y="T5"/>
                </a:cxn>
                <a:cxn ang="0">
                  <a:pos x="T6" y="T7"/>
                </a:cxn>
                <a:cxn ang="0">
                  <a:pos x="T8" y="T9"/>
                </a:cxn>
              </a:cxnLst>
              <a:rect l="0" t="0" r="r" b="b"/>
              <a:pathLst>
                <a:path w="10" h="4">
                  <a:moveTo>
                    <a:pt x="0" y="4"/>
                  </a:moveTo>
                  <a:lnTo>
                    <a:pt x="10" y="3"/>
                  </a:lnTo>
                  <a:lnTo>
                    <a:pt x="10" y="0"/>
                  </a:lnTo>
                  <a:lnTo>
                    <a:pt x="0" y="1"/>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51" name="Freeform 1804"/>
            <p:cNvSpPr>
              <a:spLocks/>
            </p:cNvSpPr>
            <p:nvPr/>
          </p:nvSpPr>
          <p:spPr bwMode="auto">
            <a:xfrm>
              <a:off x="6578600" y="3989388"/>
              <a:ext cx="15875" cy="9525"/>
            </a:xfrm>
            <a:custGeom>
              <a:avLst/>
              <a:gdLst>
                <a:gd name="T0" fmla="*/ 0 w 10"/>
                <a:gd name="T1" fmla="*/ 1 h 6"/>
                <a:gd name="T2" fmla="*/ 0 w 10"/>
                <a:gd name="T3" fmla="*/ 3 h 6"/>
                <a:gd name="T4" fmla="*/ 0 w 10"/>
                <a:gd name="T5" fmla="*/ 3 h 6"/>
                <a:gd name="T6" fmla="*/ 8 w 10"/>
                <a:gd name="T7" fmla="*/ 6 h 6"/>
                <a:gd name="T8" fmla="*/ 10 w 10"/>
                <a:gd name="T9" fmla="*/ 3 h 6"/>
                <a:gd name="T10" fmla="*/ 3 w 10"/>
                <a:gd name="T11" fmla="*/ 1 h 6"/>
                <a:gd name="T12" fmla="*/ 1 w 10"/>
                <a:gd name="T13" fmla="*/ 0 h 6"/>
                <a:gd name="T14" fmla="*/ 0 w 10"/>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6">
                  <a:moveTo>
                    <a:pt x="0" y="1"/>
                  </a:moveTo>
                  <a:lnTo>
                    <a:pt x="0" y="3"/>
                  </a:lnTo>
                  <a:lnTo>
                    <a:pt x="0" y="3"/>
                  </a:lnTo>
                  <a:lnTo>
                    <a:pt x="8" y="6"/>
                  </a:lnTo>
                  <a:lnTo>
                    <a:pt x="10" y="3"/>
                  </a:lnTo>
                  <a:lnTo>
                    <a:pt x="3" y="1"/>
                  </a:lnTo>
                  <a:lnTo>
                    <a:pt x="1" y="0"/>
                  </a:lnTo>
                  <a:lnTo>
                    <a:pt x="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52" name="Freeform 1805"/>
            <p:cNvSpPr>
              <a:spLocks/>
            </p:cNvSpPr>
            <p:nvPr/>
          </p:nvSpPr>
          <p:spPr bwMode="auto">
            <a:xfrm>
              <a:off x="6575425" y="3970338"/>
              <a:ext cx="9525" cy="14288"/>
            </a:xfrm>
            <a:custGeom>
              <a:avLst/>
              <a:gdLst>
                <a:gd name="T0" fmla="*/ 0 w 6"/>
                <a:gd name="T1" fmla="*/ 0 h 9"/>
                <a:gd name="T2" fmla="*/ 0 w 6"/>
                <a:gd name="T3" fmla="*/ 5 h 9"/>
                <a:gd name="T4" fmla="*/ 0 w 6"/>
                <a:gd name="T5" fmla="*/ 6 h 9"/>
                <a:gd name="T6" fmla="*/ 3 w 6"/>
                <a:gd name="T7" fmla="*/ 8 h 9"/>
                <a:gd name="T8" fmla="*/ 3 w 6"/>
                <a:gd name="T9" fmla="*/ 8 h 9"/>
                <a:gd name="T10" fmla="*/ 5 w 6"/>
                <a:gd name="T11" fmla="*/ 8 h 9"/>
                <a:gd name="T12" fmla="*/ 3 w 6"/>
                <a:gd name="T13" fmla="*/ 6 h 9"/>
                <a:gd name="T14" fmla="*/ 3 w 6"/>
                <a:gd name="T15" fmla="*/ 8 h 9"/>
                <a:gd name="T16" fmla="*/ 2 w 6"/>
                <a:gd name="T17" fmla="*/ 8 h 9"/>
                <a:gd name="T18" fmla="*/ 5 w 6"/>
                <a:gd name="T19" fmla="*/ 9 h 9"/>
                <a:gd name="T20" fmla="*/ 5 w 6"/>
                <a:gd name="T21" fmla="*/ 9 h 9"/>
                <a:gd name="T22" fmla="*/ 5 w 6"/>
                <a:gd name="T23" fmla="*/ 9 h 9"/>
                <a:gd name="T24" fmla="*/ 6 w 6"/>
                <a:gd name="T25" fmla="*/ 8 h 9"/>
                <a:gd name="T26" fmla="*/ 6 w 6"/>
                <a:gd name="T27" fmla="*/ 6 h 9"/>
                <a:gd name="T28" fmla="*/ 5 w 6"/>
                <a:gd name="T29" fmla="*/ 6 h 9"/>
                <a:gd name="T30" fmla="*/ 5 w 6"/>
                <a:gd name="T31" fmla="*/ 5 h 9"/>
                <a:gd name="T32" fmla="*/ 2 w 6"/>
                <a:gd name="T33" fmla="*/ 5 h 9"/>
                <a:gd name="T34" fmla="*/ 2 w 6"/>
                <a:gd name="T35" fmla="*/ 0 h 9"/>
                <a:gd name="T36" fmla="*/ 0 w 6"/>
                <a:gd name="T3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9">
                  <a:moveTo>
                    <a:pt x="0" y="0"/>
                  </a:moveTo>
                  <a:lnTo>
                    <a:pt x="0" y="5"/>
                  </a:lnTo>
                  <a:lnTo>
                    <a:pt x="0" y="6"/>
                  </a:lnTo>
                  <a:lnTo>
                    <a:pt x="3" y="8"/>
                  </a:lnTo>
                  <a:lnTo>
                    <a:pt x="3" y="8"/>
                  </a:lnTo>
                  <a:lnTo>
                    <a:pt x="5" y="8"/>
                  </a:lnTo>
                  <a:lnTo>
                    <a:pt x="3" y="6"/>
                  </a:lnTo>
                  <a:lnTo>
                    <a:pt x="3" y="8"/>
                  </a:lnTo>
                  <a:lnTo>
                    <a:pt x="2" y="8"/>
                  </a:lnTo>
                  <a:lnTo>
                    <a:pt x="5" y="9"/>
                  </a:lnTo>
                  <a:lnTo>
                    <a:pt x="5" y="9"/>
                  </a:lnTo>
                  <a:lnTo>
                    <a:pt x="5" y="9"/>
                  </a:lnTo>
                  <a:lnTo>
                    <a:pt x="6" y="8"/>
                  </a:lnTo>
                  <a:lnTo>
                    <a:pt x="6" y="6"/>
                  </a:lnTo>
                  <a:lnTo>
                    <a:pt x="5" y="6"/>
                  </a:lnTo>
                  <a:lnTo>
                    <a:pt x="5" y="5"/>
                  </a:lnTo>
                  <a:lnTo>
                    <a:pt x="2" y="5"/>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53" name="Freeform 1806"/>
            <p:cNvSpPr>
              <a:spLocks/>
            </p:cNvSpPr>
            <p:nvPr/>
          </p:nvSpPr>
          <p:spPr bwMode="auto">
            <a:xfrm>
              <a:off x="6564313" y="3957638"/>
              <a:ext cx="14288" cy="6350"/>
            </a:xfrm>
            <a:custGeom>
              <a:avLst/>
              <a:gdLst>
                <a:gd name="T0" fmla="*/ 0 w 9"/>
                <a:gd name="T1" fmla="*/ 4 h 4"/>
                <a:gd name="T2" fmla="*/ 7 w 9"/>
                <a:gd name="T3" fmla="*/ 3 h 4"/>
                <a:gd name="T4" fmla="*/ 7 w 9"/>
                <a:gd name="T5" fmla="*/ 3 h 4"/>
                <a:gd name="T6" fmla="*/ 7 w 9"/>
                <a:gd name="T7" fmla="*/ 1 h 4"/>
                <a:gd name="T8" fmla="*/ 7 w 9"/>
                <a:gd name="T9" fmla="*/ 3 h 4"/>
                <a:gd name="T10" fmla="*/ 7 w 9"/>
                <a:gd name="T11" fmla="*/ 3 h 4"/>
                <a:gd name="T12" fmla="*/ 7 w 9"/>
                <a:gd name="T13" fmla="*/ 3 h 4"/>
                <a:gd name="T14" fmla="*/ 9 w 9"/>
                <a:gd name="T15" fmla="*/ 3 h 4"/>
                <a:gd name="T16" fmla="*/ 7 w 9"/>
                <a:gd name="T17" fmla="*/ 3 h 4"/>
                <a:gd name="T18" fmla="*/ 7 w 9"/>
                <a:gd name="T19" fmla="*/ 4 h 4"/>
                <a:gd name="T20" fmla="*/ 9 w 9"/>
                <a:gd name="T21" fmla="*/ 4 h 4"/>
                <a:gd name="T22" fmla="*/ 9 w 9"/>
                <a:gd name="T23" fmla="*/ 3 h 4"/>
                <a:gd name="T24" fmla="*/ 9 w 9"/>
                <a:gd name="T25" fmla="*/ 1 h 4"/>
                <a:gd name="T26" fmla="*/ 9 w 9"/>
                <a:gd name="T27" fmla="*/ 1 h 4"/>
                <a:gd name="T28" fmla="*/ 9 w 9"/>
                <a:gd name="T29" fmla="*/ 0 h 4"/>
                <a:gd name="T30" fmla="*/ 7 w 9"/>
                <a:gd name="T31" fmla="*/ 0 h 4"/>
                <a:gd name="T32" fmla="*/ 7 w 9"/>
                <a:gd name="T33" fmla="*/ 0 h 4"/>
                <a:gd name="T34" fmla="*/ 7 w 9"/>
                <a:gd name="T35" fmla="*/ 0 h 4"/>
                <a:gd name="T36" fmla="*/ 7 w 9"/>
                <a:gd name="T37" fmla="*/ 0 h 4"/>
                <a:gd name="T38" fmla="*/ 0 w 9"/>
                <a:gd name="T39" fmla="*/ 3 h 4"/>
                <a:gd name="T40" fmla="*/ 0 w 9"/>
                <a:gd name="T4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 h="4">
                  <a:moveTo>
                    <a:pt x="0" y="4"/>
                  </a:moveTo>
                  <a:lnTo>
                    <a:pt x="7" y="3"/>
                  </a:lnTo>
                  <a:lnTo>
                    <a:pt x="7" y="3"/>
                  </a:lnTo>
                  <a:lnTo>
                    <a:pt x="7" y="1"/>
                  </a:lnTo>
                  <a:lnTo>
                    <a:pt x="7" y="3"/>
                  </a:lnTo>
                  <a:lnTo>
                    <a:pt x="7" y="3"/>
                  </a:lnTo>
                  <a:lnTo>
                    <a:pt x="7" y="3"/>
                  </a:lnTo>
                  <a:lnTo>
                    <a:pt x="9" y="3"/>
                  </a:lnTo>
                  <a:lnTo>
                    <a:pt x="7" y="3"/>
                  </a:lnTo>
                  <a:lnTo>
                    <a:pt x="7" y="4"/>
                  </a:lnTo>
                  <a:lnTo>
                    <a:pt x="9" y="4"/>
                  </a:lnTo>
                  <a:lnTo>
                    <a:pt x="9" y="3"/>
                  </a:lnTo>
                  <a:lnTo>
                    <a:pt x="9" y="1"/>
                  </a:lnTo>
                  <a:lnTo>
                    <a:pt x="9" y="1"/>
                  </a:lnTo>
                  <a:lnTo>
                    <a:pt x="9" y="0"/>
                  </a:lnTo>
                  <a:lnTo>
                    <a:pt x="7" y="0"/>
                  </a:lnTo>
                  <a:lnTo>
                    <a:pt x="7" y="0"/>
                  </a:lnTo>
                  <a:lnTo>
                    <a:pt x="7" y="0"/>
                  </a:lnTo>
                  <a:lnTo>
                    <a:pt x="7" y="0"/>
                  </a:lnTo>
                  <a:lnTo>
                    <a:pt x="0" y="3"/>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54" name="Freeform 1807"/>
            <p:cNvSpPr>
              <a:spLocks/>
            </p:cNvSpPr>
            <p:nvPr/>
          </p:nvSpPr>
          <p:spPr bwMode="auto">
            <a:xfrm>
              <a:off x="6553200" y="3967163"/>
              <a:ext cx="6350" cy="17463"/>
            </a:xfrm>
            <a:custGeom>
              <a:avLst/>
              <a:gdLst>
                <a:gd name="T0" fmla="*/ 3 w 4"/>
                <a:gd name="T1" fmla="*/ 11 h 11"/>
                <a:gd name="T2" fmla="*/ 4 w 4"/>
                <a:gd name="T3" fmla="*/ 1 h 11"/>
                <a:gd name="T4" fmla="*/ 3 w 4"/>
                <a:gd name="T5" fmla="*/ 0 h 11"/>
                <a:gd name="T6" fmla="*/ 0 w 4"/>
                <a:gd name="T7" fmla="*/ 10 h 11"/>
                <a:gd name="T8" fmla="*/ 3 w 4"/>
                <a:gd name="T9" fmla="*/ 11 h 11"/>
              </a:gdLst>
              <a:ahLst/>
              <a:cxnLst>
                <a:cxn ang="0">
                  <a:pos x="T0" y="T1"/>
                </a:cxn>
                <a:cxn ang="0">
                  <a:pos x="T2" y="T3"/>
                </a:cxn>
                <a:cxn ang="0">
                  <a:pos x="T4" y="T5"/>
                </a:cxn>
                <a:cxn ang="0">
                  <a:pos x="T6" y="T7"/>
                </a:cxn>
                <a:cxn ang="0">
                  <a:pos x="T8" y="T9"/>
                </a:cxn>
              </a:cxnLst>
              <a:rect l="0" t="0" r="r" b="b"/>
              <a:pathLst>
                <a:path w="4" h="11">
                  <a:moveTo>
                    <a:pt x="3" y="11"/>
                  </a:moveTo>
                  <a:lnTo>
                    <a:pt x="4" y="1"/>
                  </a:lnTo>
                  <a:lnTo>
                    <a:pt x="3" y="0"/>
                  </a:lnTo>
                  <a:lnTo>
                    <a:pt x="0" y="10"/>
                  </a:lnTo>
                  <a:lnTo>
                    <a:pt x="3"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55" name="Freeform 1808"/>
            <p:cNvSpPr>
              <a:spLocks/>
            </p:cNvSpPr>
            <p:nvPr/>
          </p:nvSpPr>
          <p:spPr bwMode="auto">
            <a:xfrm>
              <a:off x="6550025" y="3989388"/>
              <a:ext cx="9525" cy="15875"/>
            </a:xfrm>
            <a:custGeom>
              <a:avLst/>
              <a:gdLst>
                <a:gd name="T0" fmla="*/ 5 w 6"/>
                <a:gd name="T1" fmla="*/ 10 h 10"/>
                <a:gd name="T2" fmla="*/ 6 w 6"/>
                <a:gd name="T3" fmla="*/ 6 h 10"/>
                <a:gd name="T4" fmla="*/ 6 w 6"/>
                <a:gd name="T5" fmla="*/ 6 h 10"/>
                <a:gd name="T6" fmla="*/ 3 w 6"/>
                <a:gd name="T7" fmla="*/ 1 h 10"/>
                <a:gd name="T8" fmla="*/ 3 w 6"/>
                <a:gd name="T9" fmla="*/ 1 h 10"/>
                <a:gd name="T10" fmla="*/ 2 w 6"/>
                <a:gd name="T11" fmla="*/ 1 h 10"/>
                <a:gd name="T12" fmla="*/ 3 w 6"/>
                <a:gd name="T13" fmla="*/ 1 h 10"/>
                <a:gd name="T14" fmla="*/ 3 w 6"/>
                <a:gd name="T15" fmla="*/ 1 h 10"/>
                <a:gd name="T16" fmla="*/ 0 w 6"/>
                <a:gd name="T17" fmla="*/ 0 h 10"/>
                <a:gd name="T18" fmla="*/ 0 w 6"/>
                <a:gd name="T19" fmla="*/ 0 h 10"/>
                <a:gd name="T20" fmla="*/ 0 w 6"/>
                <a:gd name="T21" fmla="*/ 1 h 10"/>
                <a:gd name="T22" fmla="*/ 0 w 6"/>
                <a:gd name="T23" fmla="*/ 3 h 10"/>
                <a:gd name="T24" fmla="*/ 0 w 6"/>
                <a:gd name="T25" fmla="*/ 3 h 10"/>
                <a:gd name="T26" fmla="*/ 3 w 6"/>
                <a:gd name="T27" fmla="*/ 6 h 10"/>
                <a:gd name="T28" fmla="*/ 3 w 6"/>
                <a:gd name="T29" fmla="*/ 9 h 10"/>
                <a:gd name="T30" fmla="*/ 5 w 6"/>
                <a:gd name="T3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10">
                  <a:moveTo>
                    <a:pt x="5" y="10"/>
                  </a:moveTo>
                  <a:lnTo>
                    <a:pt x="6" y="6"/>
                  </a:lnTo>
                  <a:lnTo>
                    <a:pt x="6" y="6"/>
                  </a:lnTo>
                  <a:lnTo>
                    <a:pt x="3" y="1"/>
                  </a:lnTo>
                  <a:lnTo>
                    <a:pt x="3" y="1"/>
                  </a:lnTo>
                  <a:lnTo>
                    <a:pt x="2" y="1"/>
                  </a:lnTo>
                  <a:lnTo>
                    <a:pt x="3" y="1"/>
                  </a:lnTo>
                  <a:lnTo>
                    <a:pt x="3" y="1"/>
                  </a:lnTo>
                  <a:lnTo>
                    <a:pt x="0" y="0"/>
                  </a:lnTo>
                  <a:lnTo>
                    <a:pt x="0" y="0"/>
                  </a:lnTo>
                  <a:lnTo>
                    <a:pt x="0" y="1"/>
                  </a:lnTo>
                  <a:lnTo>
                    <a:pt x="0" y="3"/>
                  </a:lnTo>
                  <a:lnTo>
                    <a:pt x="0" y="3"/>
                  </a:lnTo>
                  <a:lnTo>
                    <a:pt x="3" y="6"/>
                  </a:lnTo>
                  <a:lnTo>
                    <a:pt x="3" y="9"/>
                  </a:lnTo>
                  <a:lnTo>
                    <a:pt x="5"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56" name="Freeform 1809"/>
            <p:cNvSpPr>
              <a:spLocks/>
            </p:cNvSpPr>
            <p:nvPr/>
          </p:nvSpPr>
          <p:spPr bwMode="auto">
            <a:xfrm>
              <a:off x="6532563" y="4005263"/>
              <a:ext cx="17463" cy="4763"/>
            </a:xfrm>
            <a:custGeom>
              <a:avLst/>
              <a:gdLst>
                <a:gd name="T0" fmla="*/ 0 w 11"/>
                <a:gd name="T1" fmla="*/ 3 h 3"/>
                <a:gd name="T2" fmla="*/ 3 w 11"/>
                <a:gd name="T3" fmla="*/ 3 h 3"/>
                <a:gd name="T4" fmla="*/ 3 w 11"/>
                <a:gd name="T5" fmla="*/ 3 h 3"/>
                <a:gd name="T6" fmla="*/ 11 w 11"/>
                <a:gd name="T7" fmla="*/ 2 h 3"/>
                <a:gd name="T8" fmla="*/ 10 w 11"/>
                <a:gd name="T9" fmla="*/ 0 h 3"/>
                <a:gd name="T10" fmla="*/ 3 w 11"/>
                <a:gd name="T11" fmla="*/ 0 h 3"/>
                <a:gd name="T12" fmla="*/ 1 w 11"/>
                <a:gd name="T13" fmla="*/ 0 h 3"/>
                <a:gd name="T14" fmla="*/ 0 w 11"/>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3">
                  <a:moveTo>
                    <a:pt x="0" y="3"/>
                  </a:moveTo>
                  <a:lnTo>
                    <a:pt x="3" y="3"/>
                  </a:lnTo>
                  <a:lnTo>
                    <a:pt x="3" y="3"/>
                  </a:lnTo>
                  <a:lnTo>
                    <a:pt x="11" y="2"/>
                  </a:lnTo>
                  <a:lnTo>
                    <a:pt x="10" y="0"/>
                  </a:lnTo>
                  <a:lnTo>
                    <a:pt x="3" y="0"/>
                  </a:lnTo>
                  <a:lnTo>
                    <a:pt x="1"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57" name="Freeform 1810"/>
            <p:cNvSpPr>
              <a:spLocks/>
            </p:cNvSpPr>
            <p:nvPr/>
          </p:nvSpPr>
          <p:spPr bwMode="auto">
            <a:xfrm>
              <a:off x="6508750" y="4000501"/>
              <a:ext cx="15875" cy="7938"/>
            </a:xfrm>
            <a:custGeom>
              <a:avLst/>
              <a:gdLst>
                <a:gd name="T0" fmla="*/ 0 w 10"/>
                <a:gd name="T1" fmla="*/ 3 h 5"/>
                <a:gd name="T2" fmla="*/ 10 w 10"/>
                <a:gd name="T3" fmla="*/ 5 h 5"/>
                <a:gd name="T4" fmla="*/ 10 w 10"/>
                <a:gd name="T5" fmla="*/ 2 h 5"/>
                <a:gd name="T6" fmla="*/ 2 w 10"/>
                <a:gd name="T7" fmla="*/ 0 h 5"/>
                <a:gd name="T8" fmla="*/ 0 w 10"/>
                <a:gd name="T9" fmla="*/ 3 h 5"/>
              </a:gdLst>
              <a:ahLst/>
              <a:cxnLst>
                <a:cxn ang="0">
                  <a:pos x="T0" y="T1"/>
                </a:cxn>
                <a:cxn ang="0">
                  <a:pos x="T2" y="T3"/>
                </a:cxn>
                <a:cxn ang="0">
                  <a:pos x="T4" y="T5"/>
                </a:cxn>
                <a:cxn ang="0">
                  <a:pos x="T6" y="T7"/>
                </a:cxn>
                <a:cxn ang="0">
                  <a:pos x="T8" y="T9"/>
                </a:cxn>
              </a:cxnLst>
              <a:rect l="0" t="0" r="r" b="b"/>
              <a:pathLst>
                <a:path w="10" h="5">
                  <a:moveTo>
                    <a:pt x="0" y="3"/>
                  </a:moveTo>
                  <a:lnTo>
                    <a:pt x="10" y="5"/>
                  </a:lnTo>
                  <a:lnTo>
                    <a:pt x="10" y="2"/>
                  </a:lnTo>
                  <a:lnTo>
                    <a:pt x="2"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58" name="Freeform 1811"/>
            <p:cNvSpPr>
              <a:spLocks/>
            </p:cNvSpPr>
            <p:nvPr/>
          </p:nvSpPr>
          <p:spPr bwMode="auto">
            <a:xfrm>
              <a:off x="6486525" y="3995738"/>
              <a:ext cx="15875" cy="7938"/>
            </a:xfrm>
            <a:custGeom>
              <a:avLst/>
              <a:gdLst>
                <a:gd name="T0" fmla="*/ 0 w 10"/>
                <a:gd name="T1" fmla="*/ 2 h 5"/>
                <a:gd name="T2" fmla="*/ 10 w 10"/>
                <a:gd name="T3" fmla="*/ 5 h 5"/>
                <a:gd name="T4" fmla="*/ 10 w 10"/>
                <a:gd name="T5" fmla="*/ 2 h 5"/>
                <a:gd name="T6" fmla="*/ 0 w 10"/>
                <a:gd name="T7" fmla="*/ 0 h 5"/>
                <a:gd name="T8" fmla="*/ 0 w 10"/>
                <a:gd name="T9" fmla="*/ 2 h 5"/>
              </a:gdLst>
              <a:ahLst/>
              <a:cxnLst>
                <a:cxn ang="0">
                  <a:pos x="T0" y="T1"/>
                </a:cxn>
                <a:cxn ang="0">
                  <a:pos x="T2" y="T3"/>
                </a:cxn>
                <a:cxn ang="0">
                  <a:pos x="T4" y="T5"/>
                </a:cxn>
                <a:cxn ang="0">
                  <a:pos x="T6" y="T7"/>
                </a:cxn>
                <a:cxn ang="0">
                  <a:pos x="T8" y="T9"/>
                </a:cxn>
              </a:cxnLst>
              <a:rect l="0" t="0" r="r" b="b"/>
              <a:pathLst>
                <a:path w="10" h="5">
                  <a:moveTo>
                    <a:pt x="0" y="2"/>
                  </a:moveTo>
                  <a:lnTo>
                    <a:pt x="10" y="5"/>
                  </a:lnTo>
                  <a:lnTo>
                    <a:pt x="1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59" name="Freeform 1812"/>
            <p:cNvSpPr>
              <a:spLocks/>
            </p:cNvSpPr>
            <p:nvPr/>
          </p:nvSpPr>
          <p:spPr bwMode="auto">
            <a:xfrm>
              <a:off x="6465888" y="3983038"/>
              <a:ext cx="15875" cy="12700"/>
            </a:xfrm>
            <a:custGeom>
              <a:avLst/>
              <a:gdLst>
                <a:gd name="T0" fmla="*/ 0 w 10"/>
                <a:gd name="T1" fmla="*/ 1 h 8"/>
                <a:gd name="T2" fmla="*/ 7 w 10"/>
                <a:gd name="T3" fmla="*/ 8 h 8"/>
                <a:gd name="T4" fmla="*/ 10 w 10"/>
                <a:gd name="T5" fmla="*/ 7 h 8"/>
                <a:gd name="T6" fmla="*/ 3 w 10"/>
                <a:gd name="T7" fmla="*/ 0 h 8"/>
                <a:gd name="T8" fmla="*/ 0 w 10"/>
                <a:gd name="T9" fmla="*/ 1 h 8"/>
              </a:gdLst>
              <a:ahLst/>
              <a:cxnLst>
                <a:cxn ang="0">
                  <a:pos x="T0" y="T1"/>
                </a:cxn>
                <a:cxn ang="0">
                  <a:pos x="T2" y="T3"/>
                </a:cxn>
                <a:cxn ang="0">
                  <a:pos x="T4" y="T5"/>
                </a:cxn>
                <a:cxn ang="0">
                  <a:pos x="T6" y="T7"/>
                </a:cxn>
                <a:cxn ang="0">
                  <a:pos x="T8" y="T9"/>
                </a:cxn>
              </a:cxnLst>
              <a:rect l="0" t="0" r="r" b="b"/>
              <a:pathLst>
                <a:path w="10" h="8">
                  <a:moveTo>
                    <a:pt x="0" y="1"/>
                  </a:moveTo>
                  <a:lnTo>
                    <a:pt x="7" y="8"/>
                  </a:lnTo>
                  <a:lnTo>
                    <a:pt x="10" y="7"/>
                  </a:lnTo>
                  <a:lnTo>
                    <a:pt x="3" y="0"/>
                  </a:lnTo>
                  <a:lnTo>
                    <a:pt x="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60" name="Rectangle 1814"/>
            <p:cNvSpPr>
              <a:spLocks noChangeArrowheads="1"/>
            </p:cNvSpPr>
            <p:nvPr/>
          </p:nvSpPr>
          <p:spPr bwMode="auto">
            <a:xfrm>
              <a:off x="6445250" y="3978276"/>
              <a:ext cx="15875"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61" name="Freeform 1815"/>
            <p:cNvSpPr>
              <a:spLocks/>
            </p:cNvSpPr>
            <p:nvPr/>
          </p:nvSpPr>
          <p:spPr bwMode="auto">
            <a:xfrm>
              <a:off x="6419850" y="3975101"/>
              <a:ext cx="17463" cy="7938"/>
            </a:xfrm>
            <a:custGeom>
              <a:avLst/>
              <a:gdLst>
                <a:gd name="T0" fmla="*/ 0 w 11"/>
                <a:gd name="T1" fmla="*/ 2 h 5"/>
                <a:gd name="T2" fmla="*/ 3 w 11"/>
                <a:gd name="T3" fmla="*/ 3 h 5"/>
                <a:gd name="T4" fmla="*/ 4 w 11"/>
                <a:gd name="T5" fmla="*/ 3 h 5"/>
                <a:gd name="T6" fmla="*/ 10 w 11"/>
                <a:gd name="T7" fmla="*/ 5 h 5"/>
                <a:gd name="T8" fmla="*/ 11 w 11"/>
                <a:gd name="T9" fmla="*/ 2 h 5"/>
                <a:gd name="T10" fmla="*/ 4 w 11"/>
                <a:gd name="T11" fmla="*/ 2 h 5"/>
                <a:gd name="T12" fmla="*/ 1 w 11"/>
                <a:gd name="T13" fmla="*/ 0 h 5"/>
                <a:gd name="T14" fmla="*/ 0 w 11"/>
                <a:gd name="T15" fmla="*/ 2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5">
                  <a:moveTo>
                    <a:pt x="0" y="2"/>
                  </a:moveTo>
                  <a:lnTo>
                    <a:pt x="3" y="3"/>
                  </a:lnTo>
                  <a:lnTo>
                    <a:pt x="4" y="3"/>
                  </a:lnTo>
                  <a:lnTo>
                    <a:pt x="10" y="5"/>
                  </a:lnTo>
                  <a:lnTo>
                    <a:pt x="11" y="2"/>
                  </a:lnTo>
                  <a:lnTo>
                    <a:pt x="4" y="2"/>
                  </a:lnTo>
                  <a:lnTo>
                    <a:pt x="1"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62" name="Freeform 1816"/>
            <p:cNvSpPr>
              <a:spLocks/>
            </p:cNvSpPr>
            <p:nvPr/>
          </p:nvSpPr>
          <p:spPr bwMode="auto">
            <a:xfrm>
              <a:off x="6399213" y="3962401"/>
              <a:ext cx="15875" cy="11113"/>
            </a:xfrm>
            <a:custGeom>
              <a:avLst/>
              <a:gdLst>
                <a:gd name="T0" fmla="*/ 0 w 10"/>
                <a:gd name="T1" fmla="*/ 3 h 7"/>
                <a:gd name="T2" fmla="*/ 8 w 10"/>
                <a:gd name="T3" fmla="*/ 7 h 7"/>
                <a:gd name="T4" fmla="*/ 10 w 10"/>
                <a:gd name="T5" fmla="*/ 5 h 7"/>
                <a:gd name="T6" fmla="*/ 1 w 10"/>
                <a:gd name="T7" fmla="*/ 0 h 7"/>
                <a:gd name="T8" fmla="*/ 0 w 10"/>
                <a:gd name="T9" fmla="*/ 3 h 7"/>
              </a:gdLst>
              <a:ahLst/>
              <a:cxnLst>
                <a:cxn ang="0">
                  <a:pos x="T0" y="T1"/>
                </a:cxn>
                <a:cxn ang="0">
                  <a:pos x="T2" y="T3"/>
                </a:cxn>
                <a:cxn ang="0">
                  <a:pos x="T4" y="T5"/>
                </a:cxn>
                <a:cxn ang="0">
                  <a:pos x="T6" y="T7"/>
                </a:cxn>
                <a:cxn ang="0">
                  <a:pos x="T8" y="T9"/>
                </a:cxn>
              </a:cxnLst>
              <a:rect l="0" t="0" r="r" b="b"/>
              <a:pathLst>
                <a:path w="10" h="7">
                  <a:moveTo>
                    <a:pt x="0" y="3"/>
                  </a:moveTo>
                  <a:lnTo>
                    <a:pt x="8" y="7"/>
                  </a:lnTo>
                  <a:lnTo>
                    <a:pt x="10" y="5"/>
                  </a:lnTo>
                  <a:lnTo>
                    <a:pt x="1"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63" name="Freeform 1817"/>
            <p:cNvSpPr>
              <a:spLocks/>
            </p:cNvSpPr>
            <p:nvPr/>
          </p:nvSpPr>
          <p:spPr bwMode="auto">
            <a:xfrm>
              <a:off x="6378575" y="3949701"/>
              <a:ext cx="15875" cy="12700"/>
            </a:xfrm>
            <a:custGeom>
              <a:avLst/>
              <a:gdLst>
                <a:gd name="T0" fmla="*/ 0 w 10"/>
                <a:gd name="T1" fmla="*/ 3 h 8"/>
                <a:gd name="T2" fmla="*/ 8 w 10"/>
                <a:gd name="T3" fmla="*/ 8 h 8"/>
                <a:gd name="T4" fmla="*/ 10 w 10"/>
                <a:gd name="T5" fmla="*/ 6 h 8"/>
                <a:gd name="T6" fmla="*/ 1 w 10"/>
                <a:gd name="T7" fmla="*/ 0 h 8"/>
                <a:gd name="T8" fmla="*/ 0 w 10"/>
                <a:gd name="T9" fmla="*/ 3 h 8"/>
              </a:gdLst>
              <a:ahLst/>
              <a:cxnLst>
                <a:cxn ang="0">
                  <a:pos x="T0" y="T1"/>
                </a:cxn>
                <a:cxn ang="0">
                  <a:pos x="T2" y="T3"/>
                </a:cxn>
                <a:cxn ang="0">
                  <a:pos x="T4" y="T5"/>
                </a:cxn>
                <a:cxn ang="0">
                  <a:pos x="T6" y="T7"/>
                </a:cxn>
                <a:cxn ang="0">
                  <a:pos x="T8" y="T9"/>
                </a:cxn>
              </a:cxnLst>
              <a:rect l="0" t="0" r="r" b="b"/>
              <a:pathLst>
                <a:path w="10" h="8">
                  <a:moveTo>
                    <a:pt x="0" y="3"/>
                  </a:moveTo>
                  <a:lnTo>
                    <a:pt x="8" y="8"/>
                  </a:lnTo>
                  <a:lnTo>
                    <a:pt x="10" y="6"/>
                  </a:lnTo>
                  <a:lnTo>
                    <a:pt x="1"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64" name="Freeform 1818"/>
            <p:cNvSpPr>
              <a:spLocks/>
            </p:cNvSpPr>
            <p:nvPr/>
          </p:nvSpPr>
          <p:spPr bwMode="auto">
            <a:xfrm>
              <a:off x="6357938" y="3938588"/>
              <a:ext cx="15875" cy="11113"/>
            </a:xfrm>
            <a:custGeom>
              <a:avLst/>
              <a:gdLst>
                <a:gd name="T0" fmla="*/ 0 w 10"/>
                <a:gd name="T1" fmla="*/ 2 h 7"/>
                <a:gd name="T2" fmla="*/ 8 w 10"/>
                <a:gd name="T3" fmla="*/ 7 h 7"/>
                <a:gd name="T4" fmla="*/ 10 w 10"/>
                <a:gd name="T5" fmla="*/ 4 h 7"/>
                <a:gd name="T6" fmla="*/ 1 w 10"/>
                <a:gd name="T7" fmla="*/ 0 h 7"/>
                <a:gd name="T8" fmla="*/ 0 w 10"/>
                <a:gd name="T9" fmla="*/ 2 h 7"/>
              </a:gdLst>
              <a:ahLst/>
              <a:cxnLst>
                <a:cxn ang="0">
                  <a:pos x="T0" y="T1"/>
                </a:cxn>
                <a:cxn ang="0">
                  <a:pos x="T2" y="T3"/>
                </a:cxn>
                <a:cxn ang="0">
                  <a:pos x="T4" y="T5"/>
                </a:cxn>
                <a:cxn ang="0">
                  <a:pos x="T6" y="T7"/>
                </a:cxn>
                <a:cxn ang="0">
                  <a:pos x="T8" y="T9"/>
                </a:cxn>
              </a:cxnLst>
              <a:rect l="0" t="0" r="r" b="b"/>
              <a:pathLst>
                <a:path w="10" h="7">
                  <a:moveTo>
                    <a:pt x="0" y="2"/>
                  </a:moveTo>
                  <a:lnTo>
                    <a:pt x="8" y="7"/>
                  </a:lnTo>
                  <a:lnTo>
                    <a:pt x="10" y="4"/>
                  </a:lnTo>
                  <a:lnTo>
                    <a:pt x="1"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65" name="Freeform 1819"/>
            <p:cNvSpPr>
              <a:spLocks/>
            </p:cNvSpPr>
            <p:nvPr/>
          </p:nvSpPr>
          <p:spPr bwMode="auto">
            <a:xfrm>
              <a:off x="6357938" y="3917951"/>
              <a:ext cx="6350" cy="15875"/>
            </a:xfrm>
            <a:custGeom>
              <a:avLst/>
              <a:gdLst>
                <a:gd name="T0" fmla="*/ 3 w 4"/>
                <a:gd name="T1" fmla="*/ 0 h 10"/>
                <a:gd name="T2" fmla="*/ 0 w 4"/>
                <a:gd name="T3" fmla="*/ 9 h 10"/>
                <a:gd name="T4" fmla="*/ 3 w 4"/>
                <a:gd name="T5" fmla="*/ 10 h 10"/>
                <a:gd name="T6" fmla="*/ 4 w 4"/>
                <a:gd name="T7" fmla="*/ 0 h 10"/>
                <a:gd name="T8" fmla="*/ 3 w 4"/>
                <a:gd name="T9" fmla="*/ 0 h 10"/>
              </a:gdLst>
              <a:ahLst/>
              <a:cxnLst>
                <a:cxn ang="0">
                  <a:pos x="T0" y="T1"/>
                </a:cxn>
                <a:cxn ang="0">
                  <a:pos x="T2" y="T3"/>
                </a:cxn>
                <a:cxn ang="0">
                  <a:pos x="T4" y="T5"/>
                </a:cxn>
                <a:cxn ang="0">
                  <a:pos x="T6" y="T7"/>
                </a:cxn>
                <a:cxn ang="0">
                  <a:pos x="T8" y="T9"/>
                </a:cxn>
              </a:cxnLst>
              <a:rect l="0" t="0" r="r" b="b"/>
              <a:pathLst>
                <a:path w="4" h="10">
                  <a:moveTo>
                    <a:pt x="3" y="0"/>
                  </a:moveTo>
                  <a:lnTo>
                    <a:pt x="0" y="9"/>
                  </a:lnTo>
                  <a:lnTo>
                    <a:pt x="3" y="10"/>
                  </a:lnTo>
                  <a:lnTo>
                    <a:pt x="4"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66" name="Freeform 1820"/>
            <p:cNvSpPr>
              <a:spLocks/>
            </p:cNvSpPr>
            <p:nvPr/>
          </p:nvSpPr>
          <p:spPr bwMode="auto">
            <a:xfrm>
              <a:off x="6365875" y="3900488"/>
              <a:ext cx="17463" cy="12700"/>
            </a:xfrm>
            <a:custGeom>
              <a:avLst/>
              <a:gdLst>
                <a:gd name="T0" fmla="*/ 9 w 11"/>
                <a:gd name="T1" fmla="*/ 0 h 8"/>
                <a:gd name="T2" fmla="*/ 0 w 11"/>
                <a:gd name="T3" fmla="*/ 5 h 8"/>
                <a:gd name="T4" fmla="*/ 2 w 11"/>
                <a:gd name="T5" fmla="*/ 8 h 8"/>
                <a:gd name="T6" fmla="*/ 11 w 11"/>
                <a:gd name="T7" fmla="*/ 2 h 8"/>
                <a:gd name="T8" fmla="*/ 9 w 11"/>
                <a:gd name="T9" fmla="*/ 0 h 8"/>
              </a:gdLst>
              <a:ahLst/>
              <a:cxnLst>
                <a:cxn ang="0">
                  <a:pos x="T0" y="T1"/>
                </a:cxn>
                <a:cxn ang="0">
                  <a:pos x="T2" y="T3"/>
                </a:cxn>
                <a:cxn ang="0">
                  <a:pos x="T4" y="T5"/>
                </a:cxn>
                <a:cxn ang="0">
                  <a:pos x="T6" y="T7"/>
                </a:cxn>
                <a:cxn ang="0">
                  <a:pos x="T8" y="T9"/>
                </a:cxn>
              </a:cxnLst>
              <a:rect l="0" t="0" r="r" b="b"/>
              <a:pathLst>
                <a:path w="11" h="8">
                  <a:moveTo>
                    <a:pt x="9" y="0"/>
                  </a:moveTo>
                  <a:lnTo>
                    <a:pt x="0" y="5"/>
                  </a:lnTo>
                  <a:lnTo>
                    <a:pt x="2" y="8"/>
                  </a:lnTo>
                  <a:lnTo>
                    <a:pt x="11" y="2"/>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67" name="Freeform 1821"/>
            <p:cNvSpPr>
              <a:spLocks/>
            </p:cNvSpPr>
            <p:nvPr/>
          </p:nvSpPr>
          <p:spPr bwMode="auto">
            <a:xfrm>
              <a:off x="6364288" y="3886201"/>
              <a:ext cx="15875" cy="11113"/>
            </a:xfrm>
            <a:custGeom>
              <a:avLst/>
              <a:gdLst>
                <a:gd name="T0" fmla="*/ 0 w 10"/>
                <a:gd name="T1" fmla="*/ 3 h 7"/>
                <a:gd name="T2" fmla="*/ 9 w 10"/>
                <a:gd name="T3" fmla="*/ 7 h 7"/>
                <a:gd name="T4" fmla="*/ 10 w 10"/>
                <a:gd name="T5" fmla="*/ 6 h 7"/>
                <a:gd name="T6" fmla="*/ 1 w 10"/>
                <a:gd name="T7" fmla="*/ 0 h 7"/>
                <a:gd name="T8" fmla="*/ 0 w 10"/>
                <a:gd name="T9" fmla="*/ 3 h 7"/>
              </a:gdLst>
              <a:ahLst/>
              <a:cxnLst>
                <a:cxn ang="0">
                  <a:pos x="T0" y="T1"/>
                </a:cxn>
                <a:cxn ang="0">
                  <a:pos x="T2" y="T3"/>
                </a:cxn>
                <a:cxn ang="0">
                  <a:pos x="T4" y="T5"/>
                </a:cxn>
                <a:cxn ang="0">
                  <a:pos x="T6" y="T7"/>
                </a:cxn>
                <a:cxn ang="0">
                  <a:pos x="T8" y="T9"/>
                </a:cxn>
              </a:cxnLst>
              <a:rect l="0" t="0" r="r" b="b"/>
              <a:pathLst>
                <a:path w="10" h="7">
                  <a:moveTo>
                    <a:pt x="0" y="3"/>
                  </a:moveTo>
                  <a:lnTo>
                    <a:pt x="9" y="7"/>
                  </a:lnTo>
                  <a:lnTo>
                    <a:pt x="10" y="6"/>
                  </a:lnTo>
                  <a:lnTo>
                    <a:pt x="1"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68" name="Freeform 1822"/>
            <p:cNvSpPr>
              <a:spLocks/>
            </p:cNvSpPr>
            <p:nvPr/>
          </p:nvSpPr>
          <p:spPr bwMode="auto">
            <a:xfrm>
              <a:off x="6343650" y="3875088"/>
              <a:ext cx="15875" cy="11113"/>
            </a:xfrm>
            <a:custGeom>
              <a:avLst/>
              <a:gdLst>
                <a:gd name="T0" fmla="*/ 0 w 10"/>
                <a:gd name="T1" fmla="*/ 1 h 7"/>
                <a:gd name="T2" fmla="*/ 9 w 10"/>
                <a:gd name="T3" fmla="*/ 7 h 7"/>
                <a:gd name="T4" fmla="*/ 10 w 10"/>
                <a:gd name="T5" fmla="*/ 4 h 7"/>
                <a:gd name="T6" fmla="*/ 1 w 10"/>
                <a:gd name="T7" fmla="*/ 0 h 7"/>
                <a:gd name="T8" fmla="*/ 0 w 10"/>
                <a:gd name="T9" fmla="*/ 1 h 7"/>
              </a:gdLst>
              <a:ahLst/>
              <a:cxnLst>
                <a:cxn ang="0">
                  <a:pos x="T0" y="T1"/>
                </a:cxn>
                <a:cxn ang="0">
                  <a:pos x="T2" y="T3"/>
                </a:cxn>
                <a:cxn ang="0">
                  <a:pos x="T4" y="T5"/>
                </a:cxn>
                <a:cxn ang="0">
                  <a:pos x="T6" y="T7"/>
                </a:cxn>
                <a:cxn ang="0">
                  <a:pos x="T8" y="T9"/>
                </a:cxn>
              </a:cxnLst>
              <a:rect l="0" t="0" r="r" b="b"/>
              <a:pathLst>
                <a:path w="10" h="7">
                  <a:moveTo>
                    <a:pt x="0" y="1"/>
                  </a:moveTo>
                  <a:lnTo>
                    <a:pt x="9" y="7"/>
                  </a:lnTo>
                  <a:lnTo>
                    <a:pt x="10" y="4"/>
                  </a:lnTo>
                  <a:lnTo>
                    <a:pt x="1" y="0"/>
                  </a:lnTo>
                  <a:lnTo>
                    <a:pt x="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69" name="Freeform 1823"/>
            <p:cNvSpPr>
              <a:spLocks/>
            </p:cNvSpPr>
            <p:nvPr/>
          </p:nvSpPr>
          <p:spPr bwMode="auto">
            <a:xfrm>
              <a:off x="6348413" y="3757613"/>
              <a:ext cx="14288" cy="12700"/>
            </a:xfrm>
            <a:custGeom>
              <a:avLst/>
              <a:gdLst>
                <a:gd name="T0" fmla="*/ 6 w 9"/>
                <a:gd name="T1" fmla="*/ 0 h 8"/>
                <a:gd name="T2" fmla="*/ 4 w 9"/>
                <a:gd name="T3" fmla="*/ 3 h 8"/>
                <a:gd name="T4" fmla="*/ 0 w 9"/>
                <a:gd name="T5" fmla="*/ 7 h 8"/>
                <a:gd name="T6" fmla="*/ 1 w 9"/>
                <a:gd name="T7" fmla="*/ 8 h 8"/>
                <a:gd name="T8" fmla="*/ 7 w 9"/>
                <a:gd name="T9" fmla="*/ 4 h 8"/>
                <a:gd name="T10" fmla="*/ 9 w 9"/>
                <a:gd name="T11" fmla="*/ 1 h 8"/>
                <a:gd name="T12" fmla="*/ 6 w 9"/>
                <a:gd name="T13" fmla="*/ 0 h 8"/>
                <a:gd name="T14" fmla="*/ 6 w 9"/>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8">
                  <a:moveTo>
                    <a:pt x="6" y="0"/>
                  </a:moveTo>
                  <a:lnTo>
                    <a:pt x="4" y="3"/>
                  </a:lnTo>
                  <a:lnTo>
                    <a:pt x="0" y="7"/>
                  </a:lnTo>
                  <a:lnTo>
                    <a:pt x="1" y="8"/>
                  </a:lnTo>
                  <a:lnTo>
                    <a:pt x="7" y="4"/>
                  </a:lnTo>
                  <a:lnTo>
                    <a:pt x="9" y="1"/>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70" name="Freeform 1824"/>
            <p:cNvSpPr>
              <a:spLocks/>
            </p:cNvSpPr>
            <p:nvPr/>
          </p:nvSpPr>
          <p:spPr bwMode="auto">
            <a:xfrm>
              <a:off x="6183313" y="3902076"/>
              <a:ext cx="15875" cy="9525"/>
            </a:xfrm>
            <a:custGeom>
              <a:avLst/>
              <a:gdLst>
                <a:gd name="T0" fmla="*/ 2 w 10"/>
                <a:gd name="T1" fmla="*/ 4 h 6"/>
                <a:gd name="T2" fmla="*/ 8 w 10"/>
                <a:gd name="T3" fmla="*/ 1 h 6"/>
                <a:gd name="T4" fmla="*/ 10 w 10"/>
                <a:gd name="T5" fmla="*/ 0 h 6"/>
                <a:gd name="T6" fmla="*/ 7 w 10"/>
                <a:gd name="T7" fmla="*/ 0 h 6"/>
                <a:gd name="T8" fmla="*/ 7 w 10"/>
                <a:gd name="T9" fmla="*/ 0 h 6"/>
                <a:gd name="T10" fmla="*/ 1 w 10"/>
                <a:gd name="T11" fmla="*/ 3 h 6"/>
                <a:gd name="T12" fmla="*/ 0 w 10"/>
                <a:gd name="T13" fmla="*/ 6 h 6"/>
                <a:gd name="T14" fmla="*/ 1 w 10"/>
                <a:gd name="T15" fmla="*/ 6 h 6"/>
                <a:gd name="T16" fmla="*/ 2 w 10"/>
                <a:gd name="T1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6">
                  <a:moveTo>
                    <a:pt x="2" y="4"/>
                  </a:moveTo>
                  <a:lnTo>
                    <a:pt x="8" y="1"/>
                  </a:lnTo>
                  <a:lnTo>
                    <a:pt x="10" y="0"/>
                  </a:lnTo>
                  <a:lnTo>
                    <a:pt x="7" y="0"/>
                  </a:lnTo>
                  <a:lnTo>
                    <a:pt x="7" y="0"/>
                  </a:lnTo>
                  <a:lnTo>
                    <a:pt x="1" y="3"/>
                  </a:lnTo>
                  <a:lnTo>
                    <a:pt x="0" y="6"/>
                  </a:lnTo>
                  <a:lnTo>
                    <a:pt x="1"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71" name="Freeform 1825"/>
            <p:cNvSpPr>
              <a:spLocks/>
            </p:cNvSpPr>
            <p:nvPr/>
          </p:nvSpPr>
          <p:spPr bwMode="auto">
            <a:xfrm>
              <a:off x="6170613" y="3917951"/>
              <a:ext cx="12700" cy="15875"/>
            </a:xfrm>
            <a:custGeom>
              <a:avLst/>
              <a:gdLst>
                <a:gd name="T0" fmla="*/ 2 w 8"/>
                <a:gd name="T1" fmla="*/ 10 h 10"/>
                <a:gd name="T2" fmla="*/ 8 w 8"/>
                <a:gd name="T3" fmla="*/ 0 h 10"/>
                <a:gd name="T4" fmla="*/ 5 w 8"/>
                <a:gd name="T5" fmla="*/ 0 h 10"/>
                <a:gd name="T6" fmla="*/ 0 w 8"/>
                <a:gd name="T7" fmla="*/ 9 h 10"/>
                <a:gd name="T8" fmla="*/ 2 w 8"/>
                <a:gd name="T9" fmla="*/ 10 h 10"/>
              </a:gdLst>
              <a:ahLst/>
              <a:cxnLst>
                <a:cxn ang="0">
                  <a:pos x="T0" y="T1"/>
                </a:cxn>
                <a:cxn ang="0">
                  <a:pos x="T2" y="T3"/>
                </a:cxn>
                <a:cxn ang="0">
                  <a:pos x="T4" y="T5"/>
                </a:cxn>
                <a:cxn ang="0">
                  <a:pos x="T6" y="T7"/>
                </a:cxn>
                <a:cxn ang="0">
                  <a:pos x="T8" y="T9"/>
                </a:cxn>
              </a:cxnLst>
              <a:rect l="0" t="0" r="r" b="b"/>
              <a:pathLst>
                <a:path w="8" h="10">
                  <a:moveTo>
                    <a:pt x="2" y="10"/>
                  </a:moveTo>
                  <a:lnTo>
                    <a:pt x="8" y="0"/>
                  </a:lnTo>
                  <a:lnTo>
                    <a:pt x="5" y="0"/>
                  </a:lnTo>
                  <a:lnTo>
                    <a:pt x="0" y="9"/>
                  </a:lnTo>
                  <a:lnTo>
                    <a:pt x="2"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72" name="Freeform 1826"/>
            <p:cNvSpPr>
              <a:spLocks/>
            </p:cNvSpPr>
            <p:nvPr/>
          </p:nvSpPr>
          <p:spPr bwMode="auto">
            <a:xfrm>
              <a:off x="6153150" y="3937001"/>
              <a:ext cx="12700" cy="12700"/>
            </a:xfrm>
            <a:custGeom>
              <a:avLst/>
              <a:gdLst>
                <a:gd name="T0" fmla="*/ 3 w 8"/>
                <a:gd name="T1" fmla="*/ 8 h 8"/>
                <a:gd name="T2" fmla="*/ 4 w 8"/>
                <a:gd name="T3" fmla="*/ 4 h 8"/>
                <a:gd name="T4" fmla="*/ 8 w 8"/>
                <a:gd name="T5" fmla="*/ 1 h 8"/>
                <a:gd name="T6" fmla="*/ 7 w 8"/>
                <a:gd name="T7" fmla="*/ 0 h 8"/>
                <a:gd name="T8" fmla="*/ 3 w 8"/>
                <a:gd name="T9" fmla="*/ 3 h 8"/>
                <a:gd name="T10" fmla="*/ 0 w 8"/>
                <a:gd name="T11" fmla="*/ 7 h 8"/>
                <a:gd name="T12" fmla="*/ 3 w 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3" y="8"/>
                  </a:moveTo>
                  <a:lnTo>
                    <a:pt x="4" y="4"/>
                  </a:lnTo>
                  <a:lnTo>
                    <a:pt x="8" y="1"/>
                  </a:lnTo>
                  <a:lnTo>
                    <a:pt x="7" y="0"/>
                  </a:lnTo>
                  <a:lnTo>
                    <a:pt x="3" y="3"/>
                  </a:lnTo>
                  <a:lnTo>
                    <a:pt x="0" y="7"/>
                  </a:lnTo>
                  <a:lnTo>
                    <a:pt x="3"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73" name="Freeform 1827"/>
            <p:cNvSpPr>
              <a:spLocks/>
            </p:cNvSpPr>
            <p:nvPr/>
          </p:nvSpPr>
          <p:spPr bwMode="auto">
            <a:xfrm>
              <a:off x="6138863" y="3954463"/>
              <a:ext cx="14288" cy="12700"/>
            </a:xfrm>
            <a:custGeom>
              <a:avLst/>
              <a:gdLst>
                <a:gd name="T0" fmla="*/ 1 w 9"/>
                <a:gd name="T1" fmla="*/ 8 h 8"/>
                <a:gd name="T2" fmla="*/ 6 w 9"/>
                <a:gd name="T3" fmla="*/ 8 h 8"/>
                <a:gd name="T4" fmla="*/ 6 w 9"/>
                <a:gd name="T5" fmla="*/ 8 h 8"/>
                <a:gd name="T6" fmla="*/ 9 w 9"/>
                <a:gd name="T7" fmla="*/ 2 h 8"/>
                <a:gd name="T8" fmla="*/ 7 w 9"/>
                <a:gd name="T9" fmla="*/ 0 h 8"/>
                <a:gd name="T10" fmla="*/ 4 w 9"/>
                <a:gd name="T11" fmla="*/ 5 h 8"/>
                <a:gd name="T12" fmla="*/ 0 w 9"/>
                <a:gd name="T13" fmla="*/ 6 h 8"/>
                <a:gd name="T14" fmla="*/ 1 w 9"/>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8">
                  <a:moveTo>
                    <a:pt x="1" y="8"/>
                  </a:moveTo>
                  <a:lnTo>
                    <a:pt x="6" y="8"/>
                  </a:lnTo>
                  <a:lnTo>
                    <a:pt x="6" y="8"/>
                  </a:lnTo>
                  <a:lnTo>
                    <a:pt x="9" y="2"/>
                  </a:lnTo>
                  <a:lnTo>
                    <a:pt x="7" y="0"/>
                  </a:lnTo>
                  <a:lnTo>
                    <a:pt x="4" y="5"/>
                  </a:lnTo>
                  <a:lnTo>
                    <a:pt x="0" y="6"/>
                  </a:lnTo>
                  <a:lnTo>
                    <a:pt x="1"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74" name="Freeform 1828"/>
            <p:cNvSpPr>
              <a:spLocks/>
            </p:cNvSpPr>
            <p:nvPr/>
          </p:nvSpPr>
          <p:spPr bwMode="auto">
            <a:xfrm>
              <a:off x="6118225" y="3963988"/>
              <a:ext cx="14288" cy="6350"/>
            </a:xfrm>
            <a:custGeom>
              <a:avLst/>
              <a:gdLst>
                <a:gd name="T0" fmla="*/ 0 w 9"/>
                <a:gd name="T1" fmla="*/ 2 h 4"/>
                <a:gd name="T2" fmla="*/ 3 w 9"/>
                <a:gd name="T3" fmla="*/ 4 h 4"/>
                <a:gd name="T4" fmla="*/ 3 w 9"/>
                <a:gd name="T5" fmla="*/ 4 h 4"/>
                <a:gd name="T6" fmla="*/ 9 w 9"/>
                <a:gd name="T7" fmla="*/ 3 h 4"/>
                <a:gd name="T8" fmla="*/ 9 w 9"/>
                <a:gd name="T9" fmla="*/ 2 h 4"/>
                <a:gd name="T10" fmla="*/ 4 w 9"/>
                <a:gd name="T11" fmla="*/ 2 h 4"/>
                <a:gd name="T12" fmla="*/ 1 w 9"/>
                <a:gd name="T13" fmla="*/ 0 h 4"/>
                <a:gd name="T14" fmla="*/ 0 w 9"/>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4">
                  <a:moveTo>
                    <a:pt x="0" y="2"/>
                  </a:moveTo>
                  <a:lnTo>
                    <a:pt x="3" y="4"/>
                  </a:lnTo>
                  <a:lnTo>
                    <a:pt x="3" y="4"/>
                  </a:lnTo>
                  <a:lnTo>
                    <a:pt x="9" y="3"/>
                  </a:lnTo>
                  <a:lnTo>
                    <a:pt x="9" y="2"/>
                  </a:lnTo>
                  <a:lnTo>
                    <a:pt x="4" y="2"/>
                  </a:lnTo>
                  <a:lnTo>
                    <a:pt x="1"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75" name="Freeform 1829"/>
            <p:cNvSpPr>
              <a:spLocks/>
            </p:cNvSpPr>
            <p:nvPr/>
          </p:nvSpPr>
          <p:spPr bwMode="auto">
            <a:xfrm>
              <a:off x="6099175" y="3957638"/>
              <a:ext cx="14288" cy="15875"/>
            </a:xfrm>
            <a:custGeom>
              <a:avLst/>
              <a:gdLst>
                <a:gd name="T0" fmla="*/ 3 w 9"/>
                <a:gd name="T1" fmla="*/ 10 h 10"/>
                <a:gd name="T2" fmla="*/ 9 w 9"/>
                <a:gd name="T3" fmla="*/ 3 h 10"/>
                <a:gd name="T4" fmla="*/ 9 w 9"/>
                <a:gd name="T5" fmla="*/ 3 h 10"/>
                <a:gd name="T6" fmla="*/ 8 w 9"/>
                <a:gd name="T7" fmla="*/ 0 h 10"/>
                <a:gd name="T8" fmla="*/ 8 w 9"/>
                <a:gd name="T9" fmla="*/ 1 h 10"/>
                <a:gd name="T10" fmla="*/ 8 w 9"/>
                <a:gd name="T11" fmla="*/ 1 h 10"/>
                <a:gd name="T12" fmla="*/ 0 w 9"/>
                <a:gd name="T13" fmla="*/ 8 h 10"/>
                <a:gd name="T14" fmla="*/ 3 w 9"/>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10"/>
                  </a:moveTo>
                  <a:lnTo>
                    <a:pt x="9" y="3"/>
                  </a:lnTo>
                  <a:lnTo>
                    <a:pt x="9" y="3"/>
                  </a:lnTo>
                  <a:lnTo>
                    <a:pt x="8" y="0"/>
                  </a:lnTo>
                  <a:lnTo>
                    <a:pt x="8" y="1"/>
                  </a:lnTo>
                  <a:lnTo>
                    <a:pt x="8" y="1"/>
                  </a:lnTo>
                  <a:lnTo>
                    <a:pt x="0" y="8"/>
                  </a:lnTo>
                  <a:lnTo>
                    <a:pt x="3"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76" name="Freeform 1830"/>
            <p:cNvSpPr>
              <a:spLocks/>
            </p:cNvSpPr>
            <p:nvPr/>
          </p:nvSpPr>
          <p:spPr bwMode="auto">
            <a:xfrm>
              <a:off x="6086475" y="3978276"/>
              <a:ext cx="12700" cy="12700"/>
            </a:xfrm>
            <a:custGeom>
              <a:avLst/>
              <a:gdLst>
                <a:gd name="T0" fmla="*/ 3 w 8"/>
                <a:gd name="T1" fmla="*/ 8 h 8"/>
                <a:gd name="T2" fmla="*/ 3 w 8"/>
                <a:gd name="T3" fmla="*/ 7 h 8"/>
                <a:gd name="T4" fmla="*/ 8 w 8"/>
                <a:gd name="T5" fmla="*/ 1 h 8"/>
                <a:gd name="T6" fmla="*/ 6 w 8"/>
                <a:gd name="T7" fmla="*/ 0 h 8"/>
                <a:gd name="T8" fmla="*/ 1 w 8"/>
                <a:gd name="T9" fmla="*/ 6 h 8"/>
                <a:gd name="T10" fmla="*/ 0 w 8"/>
                <a:gd name="T11" fmla="*/ 8 h 8"/>
                <a:gd name="T12" fmla="*/ 3 w 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3" y="8"/>
                  </a:moveTo>
                  <a:lnTo>
                    <a:pt x="3" y="7"/>
                  </a:lnTo>
                  <a:lnTo>
                    <a:pt x="8" y="1"/>
                  </a:lnTo>
                  <a:lnTo>
                    <a:pt x="6" y="0"/>
                  </a:lnTo>
                  <a:lnTo>
                    <a:pt x="1" y="6"/>
                  </a:lnTo>
                  <a:lnTo>
                    <a:pt x="0" y="8"/>
                  </a:lnTo>
                  <a:lnTo>
                    <a:pt x="3"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77" name="Freeform 1831"/>
            <p:cNvSpPr>
              <a:spLocks/>
            </p:cNvSpPr>
            <p:nvPr/>
          </p:nvSpPr>
          <p:spPr bwMode="auto">
            <a:xfrm>
              <a:off x="6086475" y="3998913"/>
              <a:ext cx="12700" cy="9525"/>
            </a:xfrm>
            <a:custGeom>
              <a:avLst/>
              <a:gdLst>
                <a:gd name="T0" fmla="*/ 8 w 8"/>
                <a:gd name="T1" fmla="*/ 3 h 6"/>
                <a:gd name="T2" fmla="*/ 1 w 8"/>
                <a:gd name="T3" fmla="*/ 1 h 6"/>
                <a:gd name="T4" fmla="*/ 1 w 8"/>
                <a:gd name="T5" fmla="*/ 3 h 6"/>
                <a:gd name="T6" fmla="*/ 1 w 8"/>
                <a:gd name="T7" fmla="*/ 3 h 6"/>
                <a:gd name="T8" fmla="*/ 1 w 8"/>
                <a:gd name="T9" fmla="*/ 1 h 6"/>
                <a:gd name="T10" fmla="*/ 1 w 8"/>
                <a:gd name="T11" fmla="*/ 3 h 6"/>
                <a:gd name="T12" fmla="*/ 1 w 8"/>
                <a:gd name="T13" fmla="*/ 3 h 6"/>
                <a:gd name="T14" fmla="*/ 1 w 8"/>
                <a:gd name="T15" fmla="*/ 3 h 6"/>
                <a:gd name="T16" fmla="*/ 1 w 8"/>
                <a:gd name="T17" fmla="*/ 3 h 6"/>
                <a:gd name="T18" fmla="*/ 1 w 8"/>
                <a:gd name="T19" fmla="*/ 3 h 6"/>
                <a:gd name="T20" fmla="*/ 1 w 8"/>
                <a:gd name="T21" fmla="*/ 3 h 6"/>
                <a:gd name="T22" fmla="*/ 1 w 8"/>
                <a:gd name="T23" fmla="*/ 3 h 6"/>
                <a:gd name="T24" fmla="*/ 1 w 8"/>
                <a:gd name="T25" fmla="*/ 1 h 6"/>
                <a:gd name="T26" fmla="*/ 0 w 8"/>
                <a:gd name="T27" fmla="*/ 0 h 6"/>
                <a:gd name="T28" fmla="*/ 0 w 8"/>
                <a:gd name="T29" fmla="*/ 1 h 6"/>
                <a:gd name="T30" fmla="*/ 0 w 8"/>
                <a:gd name="T31" fmla="*/ 3 h 6"/>
                <a:gd name="T32" fmla="*/ 0 w 8"/>
                <a:gd name="T33" fmla="*/ 3 h 6"/>
                <a:gd name="T34" fmla="*/ 0 w 8"/>
                <a:gd name="T35" fmla="*/ 3 h 6"/>
                <a:gd name="T36" fmla="*/ 1 w 8"/>
                <a:gd name="T37" fmla="*/ 4 h 6"/>
                <a:gd name="T38" fmla="*/ 8 w 8"/>
                <a:gd name="T39" fmla="*/ 6 h 6"/>
                <a:gd name="T40" fmla="*/ 8 w 8"/>
                <a:gd name="T4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6">
                  <a:moveTo>
                    <a:pt x="8" y="3"/>
                  </a:moveTo>
                  <a:lnTo>
                    <a:pt x="1" y="1"/>
                  </a:lnTo>
                  <a:lnTo>
                    <a:pt x="1" y="3"/>
                  </a:lnTo>
                  <a:lnTo>
                    <a:pt x="1" y="3"/>
                  </a:lnTo>
                  <a:lnTo>
                    <a:pt x="1" y="1"/>
                  </a:lnTo>
                  <a:lnTo>
                    <a:pt x="1" y="3"/>
                  </a:lnTo>
                  <a:lnTo>
                    <a:pt x="1" y="3"/>
                  </a:lnTo>
                  <a:lnTo>
                    <a:pt x="1" y="3"/>
                  </a:lnTo>
                  <a:lnTo>
                    <a:pt x="1" y="3"/>
                  </a:lnTo>
                  <a:lnTo>
                    <a:pt x="1" y="3"/>
                  </a:lnTo>
                  <a:lnTo>
                    <a:pt x="1" y="3"/>
                  </a:lnTo>
                  <a:lnTo>
                    <a:pt x="1" y="3"/>
                  </a:lnTo>
                  <a:lnTo>
                    <a:pt x="1" y="1"/>
                  </a:lnTo>
                  <a:lnTo>
                    <a:pt x="0" y="0"/>
                  </a:lnTo>
                  <a:lnTo>
                    <a:pt x="0" y="1"/>
                  </a:lnTo>
                  <a:lnTo>
                    <a:pt x="0" y="3"/>
                  </a:lnTo>
                  <a:lnTo>
                    <a:pt x="0" y="3"/>
                  </a:lnTo>
                  <a:lnTo>
                    <a:pt x="0" y="3"/>
                  </a:lnTo>
                  <a:lnTo>
                    <a:pt x="1" y="4"/>
                  </a:lnTo>
                  <a:lnTo>
                    <a:pt x="8" y="6"/>
                  </a:lnTo>
                  <a:lnTo>
                    <a:pt x="8"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78" name="Freeform 1832"/>
            <p:cNvSpPr>
              <a:spLocks/>
            </p:cNvSpPr>
            <p:nvPr/>
          </p:nvSpPr>
          <p:spPr bwMode="auto">
            <a:xfrm>
              <a:off x="6099175" y="4010026"/>
              <a:ext cx="7938" cy="15875"/>
            </a:xfrm>
            <a:custGeom>
              <a:avLst/>
              <a:gdLst>
                <a:gd name="T0" fmla="*/ 5 w 5"/>
                <a:gd name="T1" fmla="*/ 9 h 10"/>
                <a:gd name="T2" fmla="*/ 3 w 5"/>
                <a:gd name="T3" fmla="*/ 7 h 10"/>
                <a:gd name="T4" fmla="*/ 3 w 5"/>
                <a:gd name="T5" fmla="*/ 7 h 10"/>
                <a:gd name="T6" fmla="*/ 5 w 5"/>
                <a:gd name="T7" fmla="*/ 0 h 10"/>
                <a:gd name="T8" fmla="*/ 2 w 5"/>
                <a:gd name="T9" fmla="*/ 0 h 10"/>
                <a:gd name="T10" fmla="*/ 0 w 5"/>
                <a:gd name="T11" fmla="*/ 9 h 10"/>
                <a:gd name="T12" fmla="*/ 2 w 5"/>
                <a:gd name="T13" fmla="*/ 9 h 10"/>
                <a:gd name="T14" fmla="*/ 2 w 5"/>
                <a:gd name="T15" fmla="*/ 10 h 10"/>
                <a:gd name="T16" fmla="*/ 3 w 5"/>
                <a:gd name="T17" fmla="*/ 10 h 10"/>
                <a:gd name="T18" fmla="*/ 5 w 5"/>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0">
                  <a:moveTo>
                    <a:pt x="5" y="9"/>
                  </a:moveTo>
                  <a:lnTo>
                    <a:pt x="3" y="7"/>
                  </a:lnTo>
                  <a:lnTo>
                    <a:pt x="3" y="7"/>
                  </a:lnTo>
                  <a:lnTo>
                    <a:pt x="5" y="0"/>
                  </a:lnTo>
                  <a:lnTo>
                    <a:pt x="2" y="0"/>
                  </a:lnTo>
                  <a:lnTo>
                    <a:pt x="0" y="9"/>
                  </a:lnTo>
                  <a:lnTo>
                    <a:pt x="2" y="9"/>
                  </a:lnTo>
                  <a:lnTo>
                    <a:pt x="2" y="10"/>
                  </a:lnTo>
                  <a:lnTo>
                    <a:pt x="3" y="10"/>
                  </a:lnTo>
                  <a:lnTo>
                    <a:pt x="5"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79" name="Freeform 1833"/>
            <p:cNvSpPr>
              <a:spLocks/>
            </p:cNvSpPr>
            <p:nvPr/>
          </p:nvSpPr>
          <p:spPr bwMode="auto">
            <a:xfrm>
              <a:off x="6111875" y="4025901"/>
              <a:ext cx="7938" cy="15875"/>
            </a:xfrm>
            <a:custGeom>
              <a:avLst/>
              <a:gdLst>
                <a:gd name="T0" fmla="*/ 5 w 5"/>
                <a:gd name="T1" fmla="*/ 9 h 10"/>
                <a:gd name="T2" fmla="*/ 4 w 5"/>
                <a:gd name="T3" fmla="*/ 2 h 10"/>
                <a:gd name="T4" fmla="*/ 1 w 5"/>
                <a:gd name="T5" fmla="*/ 0 h 10"/>
                <a:gd name="T6" fmla="*/ 0 w 5"/>
                <a:gd name="T7" fmla="*/ 3 h 10"/>
                <a:gd name="T8" fmla="*/ 1 w 5"/>
                <a:gd name="T9" fmla="*/ 3 h 10"/>
                <a:gd name="T10" fmla="*/ 4 w 5"/>
                <a:gd name="T11" fmla="*/ 10 h 10"/>
                <a:gd name="T12" fmla="*/ 5 w 5"/>
                <a:gd name="T13" fmla="*/ 9 h 10"/>
              </a:gdLst>
              <a:ahLst/>
              <a:cxnLst>
                <a:cxn ang="0">
                  <a:pos x="T0" y="T1"/>
                </a:cxn>
                <a:cxn ang="0">
                  <a:pos x="T2" y="T3"/>
                </a:cxn>
                <a:cxn ang="0">
                  <a:pos x="T4" y="T5"/>
                </a:cxn>
                <a:cxn ang="0">
                  <a:pos x="T6" y="T7"/>
                </a:cxn>
                <a:cxn ang="0">
                  <a:pos x="T8" y="T9"/>
                </a:cxn>
                <a:cxn ang="0">
                  <a:pos x="T10" y="T11"/>
                </a:cxn>
                <a:cxn ang="0">
                  <a:pos x="T12" y="T13"/>
                </a:cxn>
              </a:cxnLst>
              <a:rect l="0" t="0" r="r" b="b"/>
              <a:pathLst>
                <a:path w="5" h="10">
                  <a:moveTo>
                    <a:pt x="5" y="9"/>
                  </a:moveTo>
                  <a:lnTo>
                    <a:pt x="4" y="2"/>
                  </a:lnTo>
                  <a:lnTo>
                    <a:pt x="1" y="0"/>
                  </a:lnTo>
                  <a:lnTo>
                    <a:pt x="0" y="3"/>
                  </a:lnTo>
                  <a:lnTo>
                    <a:pt x="1" y="3"/>
                  </a:lnTo>
                  <a:lnTo>
                    <a:pt x="4" y="10"/>
                  </a:lnTo>
                  <a:lnTo>
                    <a:pt x="5"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80" name="Freeform 1834"/>
            <p:cNvSpPr>
              <a:spLocks/>
            </p:cNvSpPr>
            <p:nvPr/>
          </p:nvSpPr>
          <p:spPr bwMode="auto">
            <a:xfrm>
              <a:off x="6119813" y="4049713"/>
              <a:ext cx="9525" cy="15875"/>
            </a:xfrm>
            <a:custGeom>
              <a:avLst/>
              <a:gdLst>
                <a:gd name="T0" fmla="*/ 5 w 6"/>
                <a:gd name="T1" fmla="*/ 10 h 10"/>
                <a:gd name="T2" fmla="*/ 6 w 6"/>
                <a:gd name="T3" fmla="*/ 10 h 10"/>
                <a:gd name="T4" fmla="*/ 6 w 6"/>
                <a:gd name="T5" fmla="*/ 10 h 10"/>
                <a:gd name="T6" fmla="*/ 3 w 6"/>
                <a:gd name="T7" fmla="*/ 0 h 10"/>
                <a:gd name="T8" fmla="*/ 0 w 6"/>
                <a:gd name="T9" fmla="*/ 0 h 10"/>
                <a:gd name="T10" fmla="*/ 3 w 6"/>
                <a:gd name="T11" fmla="*/ 8 h 10"/>
                <a:gd name="T12" fmla="*/ 5 w 6"/>
                <a:gd name="T13" fmla="*/ 8 h 10"/>
                <a:gd name="T14" fmla="*/ 5 w 6"/>
                <a:gd name="T15" fmla="*/ 7 h 10"/>
                <a:gd name="T16" fmla="*/ 3 w 6"/>
                <a:gd name="T17" fmla="*/ 7 h 10"/>
                <a:gd name="T18" fmla="*/ 5 w 6"/>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0">
                  <a:moveTo>
                    <a:pt x="5" y="10"/>
                  </a:moveTo>
                  <a:lnTo>
                    <a:pt x="6" y="10"/>
                  </a:lnTo>
                  <a:lnTo>
                    <a:pt x="6" y="10"/>
                  </a:lnTo>
                  <a:lnTo>
                    <a:pt x="3" y="0"/>
                  </a:lnTo>
                  <a:lnTo>
                    <a:pt x="0" y="0"/>
                  </a:lnTo>
                  <a:lnTo>
                    <a:pt x="3" y="8"/>
                  </a:lnTo>
                  <a:lnTo>
                    <a:pt x="5" y="8"/>
                  </a:lnTo>
                  <a:lnTo>
                    <a:pt x="5" y="7"/>
                  </a:lnTo>
                  <a:lnTo>
                    <a:pt x="3" y="7"/>
                  </a:lnTo>
                  <a:lnTo>
                    <a:pt x="5"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81" name="Freeform 1835"/>
            <p:cNvSpPr>
              <a:spLocks/>
            </p:cNvSpPr>
            <p:nvPr/>
          </p:nvSpPr>
          <p:spPr bwMode="auto">
            <a:xfrm>
              <a:off x="6107113" y="4057651"/>
              <a:ext cx="12700" cy="12700"/>
            </a:xfrm>
            <a:custGeom>
              <a:avLst/>
              <a:gdLst>
                <a:gd name="T0" fmla="*/ 1 w 8"/>
                <a:gd name="T1" fmla="*/ 5 h 8"/>
                <a:gd name="T2" fmla="*/ 4 w 8"/>
                <a:gd name="T3" fmla="*/ 3 h 8"/>
                <a:gd name="T4" fmla="*/ 4 w 8"/>
                <a:gd name="T5" fmla="*/ 3 h 8"/>
                <a:gd name="T6" fmla="*/ 4 w 8"/>
                <a:gd name="T7" fmla="*/ 2 h 8"/>
                <a:gd name="T8" fmla="*/ 3 w 8"/>
                <a:gd name="T9" fmla="*/ 3 h 8"/>
                <a:gd name="T10" fmla="*/ 4 w 8"/>
                <a:gd name="T11" fmla="*/ 3 h 8"/>
                <a:gd name="T12" fmla="*/ 7 w 8"/>
                <a:gd name="T13" fmla="*/ 8 h 8"/>
                <a:gd name="T14" fmla="*/ 8 w 8"/>
                <a:gd name="T15" fmla="*/ 8 h 8"/>
                <a:gd name="T16" fmla="*/ 7 w 8"/>
                <a:gd name="T17" fmla="*/ 5 h 8"/>
                <a:gd name="T18" fmla="*/ 7 w 8"/>
                <a:gd name="T19" fmla="*/ 5 h 8"/>
                <a:gd name="T20" fmla="*/ 8 w 8"/>
                <a:gd name="T21" fmla="*/ 6 h 8"/>
                <a:gd name="T22" fmla="*/ 8 w 8"/>
                <a:gd name="T23" fmla="*/ 5 h 8"/>
                <a:gd name="T24" fmla="*/ 6 w 8"/>
                <a:gd name="T25" fmla="*/ 2 h 8"/>
                <a:gd name="T26" fmla="*/ 4 w 8"/>
                <a:gd name="T27" fmla="*/ 0 h 8"/>
                <a:gd name="T28" fmla="*/ 4 w 8"/>
                <a:gd name="T29" fmla="*/ 0 h 8"/>
                <a:gd name="T30" fmla="*/ 3 w 8"/>
                <a:gd name="T31" fmla="*/ 0 h 8"/>
                <a:gd name="T32" fmla="*/ 3 w 8"/>
                <a:gd name="T33" fmla="*/ 2 h 8"/>
                <a:gd name="T34" fmla="*/ 0 w 8"/>
                <a:gd name="T35" fmla="*/ 3 h 8"/>
                <a:gd name="T36" fmla="*/ 1 w 8"/>
                <a:gd name="T3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8">
                  <a:moveTo>
                    <a:pt x="1" y="5"/>
                  </a:moveTo>
                  <a:lnTo>
                    <a:pt x="4" y="3"/>
                  </a:lnTo>
                  <a:lnTo>
                    <a:pt x="4" y="3"/>
                  </a:lnTo>
                  <a:lnTo>
                    <a:pt x="4" y="2"/>
                  </a:lnTo>
                  <a:lnTo>
                    <a:pt x="3" y="3"/>
                  </a:lnTo>
                  <a:lnTo>
                    <a:pt x="4" y="3"/>
                  </a:lnTo>
                  <a:lnTo>
                    <a:pt x="7" y="8"/>
                  </a:lnTo>
                  <a:lnTo>
                    <a:pt x="8" y="8"/>
                  </a:lnTo>
                  <a:lnTo>
                    <a:pt x="7" y="5"/>
                  </a:lnTo>
                  <a:lnTo>
                    <a:pt x="7" y="5"/>
                  </a:lnTo>
                  <a:lnTo>
                    <a:pt x="8" y="6"/>
                  </a:lnTo>
                  <a:lnTo>
                    <a:pt x="8" y="5"/>
                  </a:lnTo>
                  <a:lnTo>
                    <a:pt x="6" y="2"/>
                  </a:lnTo>
                  <a:lnTo>
                    <a:pt x="4" y="0"/>
                  </a:lnTo>
                  <a:lnTo>
                    <a:pt x="4" y="0"/>
                  </a:lnTo>
                  <a:lnTo>
                    <a:pt x="3" y="0"/>
                  </a:lnTo>
                  <a:lnTo>
                    <a:pt x="3" y="2"/>
                  </a:lnTo>
                  <a:lnTo>
                    <a:pt x="0" y="3"/>
                  </a:lnTo>
                  <a:lnTo>
                    <a:pt x="1"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82" name="Freeform 1836"/>
            <p:cNvSpPr>
              <a:spLocks/>
            </p:cNvSpPr>
            <p:nvPr/>
          </p:nvSpPr>
          <p:spPr bwMode="auto">
            <a:xfrm>
              <a:off x="6083300" y="4062413"/>
              <a:ext cx="15875" cy="7938"/>
            </a:xfrm>
            <a:custGeom>
              <a:avLst/>
              <a:gdLst>
                <a:gd name="T0" fmla="*/ 0 w 10"/>
                <a:gd name="T1" fmla="*/ 3 h 5"/>
                <a:gd name="T2" fmla="*/ 10 w 10"/>
                <a:gd name="T3" fmla="*/ 5 h 5"/>
                <a:gd name="T4" fmla="*/ 10 w 10"/>
                <a:gd name="T5" fmla="*/ 3 h 5"/>
                <a:gd name="T6" fmla="*/ 2 w 10"/>
                <a:gd name="T7" fmla="*/ 0 h 5"/>
                <a:gd name="T8" fmla="*/ 0 w 10"/>
                <a:gd name="T9" fmla="*/ 3 h 5"/>
              </a:gdLst>
              <a:ahLst/>
              <a:cxnLst>
                <a:cxn ang="0">
                  <a:pos x="T0" y="T1"/>
                </a:cxn>
                <a:cxn ang="0">
                  <a:pos x="T2" y="T3"/>
                </a:cxn>
                <a:cxn ang="0">
                  <a:pos x="T4" y="T5"/>
                </a:cxn>
                <a:cxn ang="0">
                  <a:pos x="T6" y="T7"/>
                </a:cxn>
                <a:cxn ang="0">
                  <a:pos x="T8" y="T9"/>
                </a:cxn>
              </a:cxnLst>
              <a:rect l="0" t="0" r="r" b="b"/>
              <a:pathLst>
                <a:path w="10" h="5">
                  <a:moveTo>
                    <a:pt x="0" y="3"/>
                  </a:moveTo>
                  <a:lnTo>
                    <a:pt x="10" y="5"/>
                  </a:lnTo>
                  <a:lnTo>
                    <a:pt x="10" y="3"/>
                  </a:lnTo>
                  <a:lnTo>
                    <a:pt x="2"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83" name="Freeform 1837"/>
            <p:cNvSpPr>
              <a:spLocks/>
            </p:cNvSpPr>
            <p:nvPr/>
          </p:nvSpPr>
          <p:spPr bwMode="auto">
            <a:xfrm>
              <a:off x="6067425" y="4060826"/>
              <a:ext cx="9525" cy="11113"/>
            </a:xfrm>
            <a:custGeom>
              <a:avLst/>
              <a:gdLst>
                <a:gd name="T0" fmla="*/ 3 w 6"/>
                <a:gd name="T1" fmla="*/ 7 h 7"/>
                <a:gd name="T2" fmla="*/ 3 w 6"/>
                <a:gd name="T3" fmla="*/ 3 h 7"/>
                <a:gd name="T4" fmla="*/ 3 w 6"/>
                <a:gd name="T5" fmla="*/ 1 h 7"/>
                <a:gd name="T6" fmla="*/ 2 w 6"/>
                <a:gd name="T7" fmla="*/ 1 h 7"/>
                <a:gd name="T8" fmla="*/ 3 w 6"/>
                <a:gd name="T9" fmla="*/ 3 h 7"/>
                <a:gd name="T10" fmla="*/ 3 w 6"/>
                <a:gd name="T11" fmla="*/ 3 h 7"/>
                <a:gd name="T12" fmla="*/ 3 w 6"/>
                <a:gd name="T13" fmla="*/ 1 h 7"/>
                <a:gd name="T14" fmla="*/ 3 w 6"/>
                <a:gd name="T15" fmla="*/ 3 h 7"/>
                <a:gd name="T16" fmla="*/ 3 w 6"/>
                <a:gd name="T17" fmla="*/ 3 h 7"/>
                <a:gd name="T18" fmla="*/ 6 w 6"/>
                <a:gd name="T19" fmla="*/ 3 h 7"/>
                <a:gd name="T20" fmla="*/ 6 w 6"/>
                <a:gd name="T21" fmla="*/ 0 h 7"/>
                <a:gd name="T22" fmla="*/ 3 w 6"/>
                <a:gd name="T23" fmla="*/ 0 h 7"/>
                <a:gd name="T24" fmla="*/ 3 w 6"/>
                <a:gd name="T25" fmla="*/ 0 h 7"/>
                <a:gd name="T26" fmla="*/ 3 w 6"/>
                <a:gd name="T27" fmla="*/ 0 h 7"/>
                <a:gd name="T28" fmla="*/ 3 w 6"/>
                <a:gd name="T29" fmla="*/ 0 h 7"/>
                <a:gd name="T30" fmla="*/ 2 w 6"/>
                <a:gd name="T31" fmla="*/ 0 h 7"/>
                <a:gd name="T32" fmla="*/ 2 w 6"/>
                <a:gd name="T33" fmla="*/ 0 h 7"/>
                <a:gd name="T34" fmla="*/ 0 w 6"/>
                <a:gd name="T35" fmla="*/ 1 h 7"/>
                <a:gd name="T36" fmla="*/ 0 w 6"/>
                <a:gd name="T37" fmla="*/ 1 h 7"/>
                <a:gd name="T38" fmla="*/ 0 w 6"/>
                <a:gd name="T39" fmla="*/ 7 h 7"/>
                <a:gd name="T40" fmla="*/ 3 w 6"/>
                <a:gd name="T4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7">
                  <a:moveTo>
                    <a:pt x="3" y="7"/>
                  </a:moveTo>
                  <a:lnTo>
                    <a:pt x="3" y="3"/>
                  </a:lnTo>
                  <a:lnTo>
                    <a:pt x="3" y="1"/>
                  </a:lnTo>
                  <a:lnTo>
                    <a:pt x="2" y="1"/>
                  </a:lnTo>
                  <a:lnTo>
                    <a:pt x="3" y="3"/>
                  </a:lnTo>
                  <a:lnTo>
                    <a:pt x="3" y="3"/>
                  </a:lnTo>
                  <a:lnTo>
                    <a:pt x="3" y="1"/>
                  </a:lnTo>
                  <a:lnTo>
                    <a:pt x="3" y="3"/>
                  </a:lnTo>
                  <a:lnTo>
                    <a:pt x="3" y="3"/>
                  </a:lnTo>
                  <a:lnTo>
                    <a:pt x="6" y="3"/>
                  </a:lnTo>
                  <a:lnTo>
                    <a:pt x="6" y="0"/>
                  </a:lnTo>
                  <a:lnTo>
                    <a:pt x="3" y="0"/>
                  </a:lnTo>
                  <a:lnTo>
                    <a:pt x="3" y="0"/>
                  </a:lnTo>
                  <a:lnTo>
                    <a:pt x="3" y="0"/>
                  </a:lnTo>
                  <a:lnTo>
                    <a:pt x="3" y="0"/>
                  </a:lnTo>
                  <a:lnTo>
                    <a:pt x="2" y="0"/>
                  </a:lnTo>
                  <a:lnTo>
                    <a:pt x="2" y="0"/>
                  </a:lnTo>
                  <a:lnTo>
                    <a:pt x="0" y="1"/>
                  </a:lnTo>
                  <a:lnTo>
                    <a:pt x="0" y="1"/>
                  </a:lnTo>
                  <a:lnTo>
                    <a:pt x="0" y="7"/>
                  </a:lnTo>
                  <a:lnTo>
                    <a:pt x="3"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84" name="Freeform 1838"/>
            <p:cNvSpPr>
              <a:spLocks/>
            </p:cNvSpPr>
            <p:nvPr/>
          </p:nvSpPr>
          <p:spPr bwMode="auto">
            <a:xfrm>
              <a:off x="6046788" y="4071938"/>
              <a:ext cx="15875" cy="9525"/>
            </a:xfrm>
            <a:custGeom>
              <a:avLst/>
              <a:gdLst>
                <a:gd name="T0" fmla="*/ 2 w 10"/>
                <a:gd name="T1" fmla="*/ 6 h 6"/>
                <a:gd name="T2" fmla="*/ 3 w 10"/>
                <a:gd name="T3" fmla="*/ 6 h 6"/>
                <a:gd name="T4" fmla="*/ 7 w 10"/>
                <a:gd name="T5" fmla="*/ 3 h 6"/>
                <a:gd name="T6" fmla="*/ 10 w 10"/>
                <a:gd name="T7" fmla="*/ 3 h 6"/>
                <a:gd name="T8" fmla="*/ 10 w 10"/>
                <a:gd name="T9" fmla="*/ 0 h 6"/>
                <a:gd name="T10" fmla="*/ 6 w 10"/>
                <a:gd name="T11" fmla="*/ 0 h 6"/>
                <a:gd name="T12" fmla="*/ 6 w 10"/>
                <a:gd name="T13" fmla="*/ 0 h 6"/>
                <a:gd name="T14" fmla="*/ 0 w 10"/>
                <a:gd name="T15" fmla="*/ 5 h 6"/>
                <a:gd name="T16" fmla="*/ 0 w 10"/>
                <a:gd name="T17" fmla="*/ 5 h 6"/>
                <a:gd name="T18" fmla="*/ 2 w 10"/>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6">
                  <a:moveTo>
                    <a:pt x="2" y="6"/>
                  </a:moveTo>
                  <a:lnTo>
                    <a:pt x="3" y="6"/>
                  </a:lnTo>
                  <a:lnTo>
                    <a:pt x="7" y="3"/>
                  </a:lnTo>
                  <a:lnTo>
                    <a:pt x="10" y="3"/>
                  </a:lnTo>
                  <a:lnTo>
                    <a:pt x="10" y="0"/>
                  </a:lnTo>
                  <a:lnTo>
                    <a:pt x="6" y="0"/>
                  </a:lnTo>
                  <a:lnTo>
                    <a:pt x="6" y="0"/>
                  </a:lnTo>
                  <a:lnTo>
                    <a:pt x="0" y="5"/>
                  </a:lnTo>
                  <a:lnTo>
                    <a:pt x="0" y="5"/>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sp>
          <p:nvSpPr>
            <p:cNvPr id="885" name="Freeform 1839"/>
            <p:cNvSpPr>
              <a:spLocks noEditPoints="1"/>
            </p:cNvSpPr>
            <p:nvPr/>
          </p:nvSpPr>
          <p:spPr bwMode="auto">
            <a:xfrm>
              <a:off x="6196013" y="3729038"/>
              <a:ext cx="169863" cy="182563"/>
            </a:xfrm>
            <a:custGeom>
              <a:avLst/>
              <a:gdLst>
                <a:gd name="T0" fmla="*/ 55 w 107"/>
                <a:gd name="T1" fmla="*/ 94 h 115"/>
                <a:gd name="T2" fmla="*/ 48 w 107"/>
                <a:gd name="T3" fmla="*/ 103 h 115"/>
                <a:gd name="T4" fmla="*/ 35 w 107"/>
                <a:gd name="T5" fmla="*/ 110 h 115"/>
                <a:gd name="T6" fmla="*/ 28 w 107"/>
                <a:gd name="T7" fmla="*/ 112 h 115"/>
                <a:gd name="T8" fmla="*/ 15 w 107"/>
                <a:gd name="T9" fmla="*/ 110 h 115"/>
                <a:gd name="T10" fmla="*/ 0 w 107"/>
                <a:gd name="T11" fmla="*/ 110 h 115"/>
                <a:gd name="T12" fmla="*/ 10 w 107"/>
                <a:gd name="T13" fmla="*/ 103 h 115"/>
                <a:gd name="T14" fmla="*/ 23 w 107"/>
                <a:gd name="T15" fmla="*/ 96 h 115"/>
                <a:gd name="T16" fmla="*/ 29 w 107"/>
                <a:gd name="T17" fmla="*/ 93 h 115"/>
                <a:gd name="T18" fmla="*/ 34 w 107"/>
                <a:gd name="T19" fmla="*/ 84 h 115"/>
                <a:gd name="T20" fmla="*/ 31 w 107"/>
                <a:gd name="T21" fmla="*/ 68 h 115"/>
                <a:gd name="T22" fmla="*/ 35 w 107"/>
                <a:gd name="T23" fmla="*/ 68 h 115"/>
                <a:gd name="T24" fmla="*/ 22 w 107"/>
                <a:gd name="T25" fmla="*/ 63 h 115"/>
                <a:gd name="T26" fmla="*/ 28 w 107"/>
                <a:gd name="T27" fmla="*/ 54 h 115"/>
                <a:gd name="T28" fmla="*/ 22 w 107"/>
                <a:gd name="T29" fmla="*/ 55 h 115"/>
                <a:gd name="T30" fmla="*/ 28 w 107"/>
                <a:gd name="T31" fmla="*/ 54 h 115"/>
                <a:gd name="T32" fmla="*/ 28 w 107"/>
                <a:gd name="T33" fmla="*/ 48 h 115"/>
                <a:gd name="T34" fmla="*/ 21 w 107"/>
                <a:gd name="T35" fmla="*/ 31 h 115"/>
                <a:gd name="T36" fmla="*/ 23 w 107"/>
                <a:gd name="T37" fmla="*/ 41 h 115"/>
                <a:gd name="T38" fmla="*/ 19 w 107"/>
                <a:gd name="T39" fmla="*/ 32 h 115"/>
                <a:gd name="T40" fmla="*/ 18 w 107"/>
                <a:gd name="T41" fmla="*/ 26 h 115"/>
                <a:gd name="T42" fmla="*/ 13 w 107"/>
                <a:gd name="T43" fmla="*/ 19 h 115"/>
                <a:gd name="T44" fmla="*/ 10 w 107"/>
                <a:gd name="T45" fmla="*/ 10 h 115"/>
                <a:gd name="T46" fmla="*/ 9 w 107"/>
                <a:gd name="T47" fmla="*/ 10 h 115"/>
                <a:gd name="T48" fmla="*/ 7 w 107"/>
                <a:gd name="T49" fmla="*/ 10 h 115"/>
                <a:gd name="T50" fmla="*/ 10 w 107"/>
                <a:gd name="T51" fmla="*/ 9 h 115"/>
                <a:gd name="T52" fmla="*/ 13 w 107"/>
                <a:gd name="T53" fmla="*/ 10 h 115"/>
                <a:gd name="T54" fmla="*/ 23 w 107"/>
                <a:gd name="T55" fmla="*/ 0 h 115"/>
                <a:gd name="T56" fmla="*/ 36 w 107"/>
                <a:gd name="T57" fmla="*/ 3 h 115"/>
                <a:gd name="T58" fmla="*/ 49 w 107"/>
                <a:gd name="T59" fmla="*/ 9 h 115"/>
                <a:gd name="T60" fmla="*/ 54 w 107"/>
                <a:gd name="T61" fmla="*/ 12 h 115"/>
                <a:gd name="T62" fmla="*/ 67 w 107"/>
                <a:gd name="T63" fmla="*/ 24 h 115"/>
                <a:gd name="T64" fmla="*/ 71 w 107"/>
                <a:gd name="T65" fmla="*/ 24 h 115"/>
                <a:gd name="T66" fmla="*/ 76 w 107"/>
                <a:gd name="T67" fmla="*/ 25 h 115"/>
                <a:gd name="T68" fmla="*/ 97 w 107"/>
                <a:gd name="T69" fmla="*/ 22 h 115"/>
                <a:gd name="T70" fmla="*/ 97 w 107"/>
                <a:gd name="T71" fmla="*/ 19 h 115"/>
                <a:gd name="T72" fmla="*/ 103 w 107"/>
                <a:gd name="T73" fmla="*/ 24 h 115"/>
                <a:gd name="T74" fmla="*/ 103 w 107"/>
                <a:gd name="T75" fmla="*/ 21 h 115"/>
                <a:gd name="T76" fmla="*/ 105 w 107"/>
                <a:gd name="T77" fmla="*/ 31 h 115"/>
                <a:gd name="T78" fmla="*/ 103 w 107"/>
                <a:gd name="T79" fmla="*/ 35 h 115"/>
                <a:gd name="T80" fmla="*/ 105 w 107"/>
                <a:gd name="T81" fmla="*/ 37 h 115"/>
                <a:gd name="T82" fmla="*/ 103 w 107"/>
                <a:gd name="T83" fmla="*/ 52 h 115"/>
                <a:gd name="T84" fmla="*/ 100 w 107"/>
                <a:gd name="T85" fmla="*/ 44 h 115"/>
                <a:gd name="T86" fmla="*/ 103 w 107"/>
                <a:gd name="T87" fmla="*/ 52 h 115"/>
                <a:gd name="T88" fmla="*/ 99 w 107"/>
                <a:gd name="T89" fmla="*/ 61 h 115"/>
                <a:gd name="T90" fmla="*/ 84 w 107"/>
                <a:gd name="T91" fmla="*/ 68 h 115"/>
                <a:gd name="T92" fmla="*/ 93 w 107"/>
                <a:gd name="T93" fmla="*/ 67 h 115"/>
                <a:gd name="T94" fmla="*/ 86 w 107"/>
                <a:gd name="T95" fmla="*/ 70 h 115"/>
                <a:gd name="T96" fmla="*/ 86 w 107"/>
                <a:gd name="T97" fmla="*/ 71 h 115"/>
                <a:gd name="T98" fmla="*/ 91 w 107"/>
                <a:gd name="T99" fmla="*/ 87 h 115"/>
                <a:gd name="T100" fmla="*/ 96 w 107"/>
                <a:gd name="T101" fmla="*/ 81 h 115"/>
                <a:gd name="T102" fmla="*/ 96 w 107"/>
                <a:gd name="T103" fmla="*/ 90 h 115"/>
                <a:gd name="T104" fmla="*/ 93 w 107"/>
                <a:gd name="T105" fmla="*/ 94 h 115"/>
                <a:gd name="T106" fmla="*/ 70 w 107"/>
                <a:gd name="T107" fmla="*/ 9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7" h="115">
                  <a:moveTo>
                    <a:pt x="49" y="97"/>
                  </a:moveTo>
                  <a:lnTo>
                    <a:pt x="55" y="92"/>
                  </a:lnTo>
                  <a:lnTo>
                    <a:pt x="65" y="92"/>
                  </a:lnTo>
                  <a:lnTo>
                    <a:pt x="64" y="94"/>
                  </a:lnTo>
                  <a:lnTo>
                    <a:pt x="55" y="94"/>
                  </a:lnTo>
                  <a:lnTo>
                    <a:pt x="51" y="99"/>
                  </a:lnTo>
                  <a:lnTo>
                    <a:pt x="49" y="97"/>
                  </a:lnTo>
                  <a:close/>
                  <a:moveTo>
                    <a:pt x="39" y="108"/>
                  </a:moveTo>
                  <a:lnTo>
                    <a:pt x="47" y="100"/>
                  </a:lnTo>
                  <a:lnTo>
                    <a:pt x="48" y="103"/>
                  </a:lnTo>
                  <a:lnTo>
                    <a:pt x="41" y="109"/>
                  </a:lnTo>
                  <a:lnTo>
                    <a:pt x="39" y="108"/>
                  </a:lnTo>
                  <a:close/>
                  <a:moveTo>
                    <a:pt x="28" y="112"/>
                  </a:moveTo>
                  <a:lnTo>
                    <a:pt x="34" y="113"/>
                  </a:lnTo>
                  <a:lnTo>
                    <a:pt x="35" y="110"/>
                  </a:lnTo>
                  <a:lnTo>
                    <a:pt x="36" y="113"/>
                  </a:lnTo>
                  <a:lnTo>
                    <a:pt x="35" y="115"/>
                  </a:lnTo>
                  <a:lnTo>
                    <a:pt x="35" y="115"/>
                  </a:lnTo>
                  <a:lnTo>
                    <a:pt x="28" y="115"/>
                  </a:lnTo>
                  <a:lnTo>
                    <a:pt x="28" y="112"/>
                  </a:lnTo>
                  <a:close/>
                  <a:moveTo>
                    <a:pt x="15" y="110"/>
                  </a:moveTo>
                  <a:lnTo>
                    <a:pt x="23" y="112"/>
                  </a:lnTo>
                  <a:lnTo>
                    <a:pt x="23" y="115"/>
                  </a:lnTo>
                  <a:lnTo>
                    <a:pt x="13" y="113"/>
                  </a:lnTo>
                  <a:lnTo>
                    <a:pt x="15" y="110"/>
                  </a:lnTo>
                  <a:close/>
                  <a:moveTo>
                    <a:pt x="0" y="110"/>
                  </a:moveTo>
                  <a:lnTo>
                    <a:pt x="9" y="110"/>
                  </a:lnTo>
                  <a:lnTo>
                    <a:pt x="9" y="113"/>
                  </a:lnTo>
                  <a:lnTo>
                    <a:pt x="0" y="112"/>
                  </a:lnTo>
                  <a:lnTo>
                    <a:pt x="0" y="110"/>
                  </a:lnTo>
                  <a:close/>
                  <a:moveTo>
                    <a:pt x="10" y="103"/>
                  </a:moveTo>
                  <a:lnTo>
                    <a:pt x="3" y="109"/>
                  </a:lnTo>
                  <a:lnTo>
                    <a:pt x="2" y="108"/>
                  </a:lnTo>
                  <a:lnTo>
                    <a:pt x="10" y="102"/>
                  </a:lnTo>
                  <a:lnTo>
                    <a:pt x="10" y="103"/>
                  </a:lnTo>
                  <a:close/>
                  <a:moveTo>
                    <a:pt x="23" y="96"/>
                  </a:moveTo>
                  <a:lnTo>
                    <a:pt x="15" y="102"/>
                  </a:lnTo>
                  <a:lnTo>
                    <a:pt x="13" y="99"/>
                  </a:lnTo>
                  <a:lnTo>
                    <a:pt x="22" y="93"/>
                  </a:lnTo>
                  <a:lnTo>
                    <a:pt x="23" y="96"/>
                  </a:lnTo>
                  <a:close/>
                  <a:moveTo>
                    <a:pt x="34" y="89"/>
                  </a:moveTo>
                  <a:lnTo>
                    <a:pt x="31" y="96"/>
                  </a:lnTo>
                  <a:lnTo>
                    <a:pt x="26" y="96"/>
                  </a:lnTo>
                  <a:lnTo>
                    <a:pt x="26" y="93"/>
                  </a:lnTo>
                  <a:lnTo>
                    <a:pt x="29" y="93"/>
                  </a:lnTo>
                  <a:lnTo>
                    <a:pt x="32" y="89"/>
                  </a:lnTo>
                  <a:lnTo>
                    <a:pt x="34" y="89"/>
                  </a:lnTo>
                  <a:close/>
                  <a:moveTo>
                    <a:pt x="35" y="74"/>
                  </a:moveTo>
                  <a:lnTo>
                    <a:pt x="34" y="77"/>
                  </a:lnTo>
                  <a:lnTo>
                    <a:pt x="34" y="84"/>
                  </a:lnTo>
                  <a:lnTo>
                    <a:pt x="32" y="84"/>
                  </a:lnTo>
                  <a:lnTo>
                    <a:pt x="31" y="77"/>
                  </a:lnTo>
                  <a:lnTo>
                    <a:pt x="32" y="74"/>
                  </a:lnTo>
                  <a:lnTo>
                    <a:pt x="35" y="74"/>
                  </a:lnTo>
                  <a:close/>
                  <a:moveTo>
                    <a:pt x="31" y="68"/>
                  </a:moveTo>
                  <a:lnTo>
                    <a:pt x="34" y="66"/>
                  </a:lnTo>
                  <a:lnTo>
                    <a:pt x="34" y="64"/>
                  </a:lnTo>
                  <a:lnTo>
                    <a:pt x="38" y="67"/>
                  </a:lnTo>
                  <a:lnTo>
                    <a:pt x="36" y="70"/>
                  </a:lnTo>
                  <a:lnTo>
                    <a:pt x="35" y="68"/>
                  </a:lnTo>
                  <a:lnTo>
                    <a:pt x="35" y="68"/>
                  </a:lnTo>
                  <a:lnTo>
                    <a:pt x="34" y="67"/>
                  </a:lnTo>
                  <a:lnTo>
                    <a:pt x="32" y="70"/>
                  </a:lnTo>
                  <a:lnTo>
                    <a:pt x="31" y="68"/>
                  </a:lnTo>
                  <a:close/>
                  <a:moveTo>
                    <a:pt x="22" y="63"/>
                  </a:moveTo>
                  <a:lnTo>
                    <a:pt x="29" y="70"/>
                  </a:lnTo>
                  <a:lnTo>
                    <a:pt x="28" y="71"/>
                  </a:lnTo>
                  <a:lnTo>
                    <a:pt x="21" y="66"/>
                  </a:lnTo>
                  <a:lnTo>
                    <a:pt x="22" y="63"/>
                  </a:lnTo>
                  <a:close/>
                  <a:moveTo>
                    <a:pt x="28" y="54"/>
                  </a:moveTo>
                  <a:lnTo>
                    <a:pt x="23" y="55"/>
                  </a:lnTo>
                  <a:lnTo>
                    <a:pt x="23" y="55"/>
                  </a:lnTo>
                  <a:lnTo>
                    <a:pt x="22" y="60"/>
                  </a:lnTo>
                  <a:lnTo>
                    <a:pt x="21" y="60"/>
                  </a:lnTo>
                  <a:lnTo>
                    <a:pt x="22" y="55"/>
                  </a:lnTo>
                  <a:lnTo>
                    <a:pt x="28" y="48"/>
                  </a:lnTo>
                  <a:lnTo>
                    <a:pt x="22" y="54"/>
                  </a:lnTo>
                  <a:lnTo>
                    <a:pt x="22" y="54"/>
                  </a:lnTo>
                  <a:lnTo>
                    <a:pt x="26" y="51"/>
                  </a:lnTo>
                  <a:lnTo>
                    <a:pt x="28" y="54"/>
                  </a:lnTo>
                  <a:close/>
                  <a:moveTo>
                    <a:pt x="28" y="38"/>
                  </a:moveTo>
                  <a:lnTo>
                    <a:pt x="31" y="39"/>
                  </a:lnTo>
                  <a:lnTo>
                    <a:pt x="31" y="39"/>
                  </a:lnTo>
                  <a:lnTo>
                    <a:pt x="31" y="48"/>
                  </a:lnTo>
                  <a:lnTo>
                    <a:pt x="28" y="48"/>
                  </a:lnTo>
                  <a:lnTo>
                    <a:pt x="29" y="41"/>
                  </a:lnTo>
                  <a:lnTo>
                    <a:pt x="28" y="41"/>
                  </a:lnTo>
                  <a:lnTo>
                    <a:pt x="28" y="38"/>
                  </a:lnTo>
                  <a:close/>
                  <a:moveTo>
                    <a:pt x="21" y="31"/>
                  </a:moveTo>
                  <a:lnTo>
                    <a:pt x="21" y="31"/>
                  </a:lnTo>
                  <a:lnTo>
                    <a:pt x="22" y="31"/>
                  </a:lnTo>
                  <a:lnTo>
                    <a:pt x="22" y="38"/>
                  </a:lnTo>
                  <a:lnTo>
                    <a:pt x="22" y="38"/>
                  </a:lnTo>
                  <a:lnTo>
                    <a:pt x="23" y="38"/>
                  </a:lnTo>
                  <a:lnTo>
                    <a:pt x="23" y="41"/>
                  </a:lnTo>
                  <a:lnTo>
                    <a:pt x="22" y="39"/>
                  </a:lnTo>
                  <a:lnTo>
                    <a:pt x="21" y="39"/>
                  </a:lnTo>
                  <a:lnTo>
                    <a:pt x="21" y="39"/>
                  </a:lnTo>
                  <a:lnTo>
                    <a:pt x="21" y="38"/>
                  </a:lnTo>
                  <a:lnTo>
                    <a:pt x="19" y="32"/>
                  </a:lnTo>
                  <a:lnTo>
                    <a:pt x="19" y="32"/>
                  </a:lnTo>
                  <a:lnTo>
                    <a:pt x="21" y="31"/>
                  </a:lnTo>
                  <a:close/>
                  <a:moveTo>
                    <a:pt x="13" y="19"/>
                  </a:moveTo>
                  <a:lnTo>
                    <a:pt x="15" y="25"/>
                  </a:lnTo>
                  <a:lnTo>
                    <a:pt x="18" y="26"/>
                  </a:lnTo>
                  <a:lnTo>
                    <a:pt x="16" y="29"/>
                  </a:lnTo>
                  <a:lnTo>
                    <a:pt x="13" y="26"/>
                  </a:lnTo>
                  <a:lnTo>
                    <a:pt x="13" y="26"/>
                  </a:lnTo>
                  <a:lnTo>
                    <a:pt x="10" y="19"/>
                  </a:lnTo>
                  <a:lnTo>
                    <a:pt x="13" y="19"/>
                  </a:lnTo>
                  <a:close/>
                  <a:moveTo>
                    <a:pt x="15" y="10"/>
                  </a:moveTo>
                  <a:lnTo>
                    <a:pt x="15" y="12"/>
                  </a:lnTo>
                  <a:lnTo>
                    <a:pt x="15" y="13"/>
                  </a:lnTo>
                  <a:lnTo>
                    <a:pt x="10" y="10"/>
                  </a:lnTo>
                  <a:lnTo>
                    <a:pt x="10" y="10"/>
                  </a:lnTo>
                  <a:lnTo>
                    <a:pt x="10" y="10"/>
                  </a:lnTo>
                  <a:lnTo>
                    <a:pt x="10" y="10"/>
                  </a:lnTo>
                  <a:lnTo>
                    <a:pt x="10" y="10"/>
                  </a:lnTo>
                  <a:lnTo>
                    <a:pt x="10" y="12"/>
                  </a:lnTo>
                  <a:lnTo>
                    <a:pt x="9" y="10"/>
                  </a:lnTo>
                  <a:lnTo>
                    <a:pt x="10" y="10"/>
                  </a:lnTo>
                  <a:lnTo>
                    <a:pt x="12" y="15"/>
                  </a:lnTo>
                  <a:lnTo>
                    <a:pt x="9" y="15"/>
                  </a:lnTo>
                  <a:lnTo>
                    <a:pt x="7" y="12"/>
                  </a:lnTo>
                  <a:lnTo>
                    <a:pt x="7" y="10"/>
                  </a:lnTo>
                  <a:lnTo>
                    <a:pt x="9" y="10"/>
                  </a:lnTo>
                  <a:lnTo>
                    <a:pt x="9" y="9"/>
                  </a:lnTo>
                  <a:lnTo>
                    <a:pt x="9" y="9"/>
                  </a:lnTo>
                  <a:lnTo>
                    <a:pt x="10" y="9"/>
                  </a:lnTo>
                  <a:lnTo>
                    <a:pt x="10" y="9"/>
                  </a:lnTo>
                  <a:lnTo>
                    <a:pt x="10" y="9"/>
                  </a:lnTo>
                  <a:lnTo>
                    <a:pt x="15" y="10"/>
                  </a:lnTo>
                  <a:lnTo>
                    <a:pt x="13" y="10"/>
                  </a:lnTo>
                  <a:lnTo>
                    <a:pt x="13" y="10"/>
                  </a:lnTo>
                  <a:lnTo>
                    <a:pt x="13" y="10"/>
                  </a:lnTo>
                  <a:lnTo>
                    <a:pt x="15" y="10"/>
                  </a:lnTo>
                  <a:close/>
                  <a:moveTo>
                    <a:pt x="25" y="2"/>
                  </a:moveTo>
                  <a:lnTo>
                    <a:pt x="16" y="8"/>
                  </a:lnTo>
                  <a:lnTo>
                    <a:pt x="15" y="6"/>
                  </a:lnTo>
                  <a:lnTo>
                    <a:pt x="23" y="0"/>
                  </a:lnTo>
                  <a:lnTo>
                    <a:pt x="25" y="2"/>
                  </a:lnTo>
                  <a:close/>
                  <a:moveTo>
                    <a:pt x="36" y="6"/>
                  </a:moveTo>
                  <a:lnTo>
                    <a:pt x="28" y="2"/>
                  </a:lnTo>
                  <a:lnTo>
                    <a:pt x="28" y="0"/>
                  </a:lnTo>
                  <a:lnTo>
                    <a:pt x="36" y="3"/>
                  </a:lnTo>
                  <a:lnTo>
                    <a:pt x="36" y="6"/>
                  </a:lnTo>
                  <a:close/>
                  <a:moveTo>
                    <a:pt x="49" y="12"/>
                  </a:moveTo>
                  <a:lnTo>
                    <a:pt x="41" y="8"/>
                  </a:lnTo>
                  <a:lnTo>
                    <a:pt x="41" y="5"/>
                  </a:lnTo>
                  <a:lnTo>
                    <a:pt x="49" y="9"/>
                  </a:lnTo>
                  <a:lnTo>
                    <a:pt x="49" y="12"/>
                  </a:lnTo>
                  <a:close/>
                  <a:moveTo>
                    <a:pt x="58" y="21"/>
                  </a:moveTo>
                  <a:lnTo>
                    <a:pt x="58" y="19"/>
                  </a:lnTo>
                  <a:lnTo>
                    <a:pt x="52" y="13"/>
                  </a:lnTo>
                  <a:lnTo>
                    <a:pt x="54" y="12"/>
                  </a:lnTo>
                  <a:lnTo>
                    <a:pt x="60" y="16"/>
                  </a:lnTo>
                  <a:lnTo>
                    <a:pt x="61" y="19"/>
                  </a:lnTo>
                  <a:lnTo>
                    <a:pt x="58" y="21"/>
                  </a:lnTo>
                  <a:close/>
                  <a:moveTo>
                    <a:pt x="71" y="25"/>
                  </a:moveTo>
                  <a:lnTo>
                    <a:pt x="67" y="24"/>
                  </a:lnTo>
                  <a:lnTo>
                    <a:pt x="63" y="25"/>
                  </a:lnTo>
                  <a:lnTo>
                    <a:pt x="63" y="22"/>
                  </a:lnTo>
                  <a:lnTo>
                    <a:pt x="67" y="22"/>
                  </a:lnTo>
                  <a:lnTo>
                    <a:pt x="67" y="22"/>
                  </a:lnTo>
                  <a:lnTo>
                    <a:pt x="71" y="24"/>
                  </a:lnTo>
                  <a:lnTo>
                    <a:pt x="71" y="25"/>
                  </a:lnTo>
                  <a:close/>
                  <a:moveTo>
                    <a:pt x="84" y="26"/>
                  </a:moveTo>
                  <a:lnTo>
                    <a:pt x="80" y="28"/>
                  </a:lnTo>
                  <a:lnTo>
                    <a:pt x="76" y="26"/>
                  </a:lnTo>
                  <a:lnTo>
                    <a:pt x="76" y="25"/>
                  </a:lnTo>
                  <a:lnTo>
                    <a:pt x="80" y="25"/>
                  </a:lnTo>
                  <a:lnTo>
                    <a:pt x="84" y="24"/>
                  </a:lnTo>
                  <a:lnTo>
                    <a:pt x="84" y="26"/>
                  </a:lnTo>
                  <a:close/>
                  <a:moveTo>
                    <a:pt x="97" y="22"/>
                  </a:moveTo>
                  <a:lnTo>
                    <a:pt x="97" y="22"/>
                  </a:lnTo>
                  <a:lnTo>
                    <a:pt x="97" y="21"/>
                  </a:lnTo>
                  <a:lnTo>
                    <a:pt x="99" y="22"/>
                  </a:lnTo>
                  <a:lnTo>
                    <a:pt x="90" y="25"/>
                  </a:lnTo>
                  <a:lnTo>
                    <a:pt x="89" y="22"/>
                  </a:lnTo>
                  <a:lnTo>
                    <a:pt x="97" y="19"/>
                  </a:lnTo>
                  <a:lnTo>
                    <a:pt x="99" y="19"/>
                  </a:lnTo>
                  <a:lnTo>
                    <a:pt x="97" y="22"/>
                  </a:lnTo>
                  <a:close/>
                  <a:moveTo>
                    <a:pt x="105" y="31"/>
                  </a:moveTo>
                  <a:lnTo>
                    <a:pt x="105" y="31"/>
                  </a:lnTo>
                  <a:lnTo>
                    <a:pt x="103" y="24"/>
                  </a:lnTo>
                  <a:lnTo>
                    <a:pt x="103" y="24"/>
                  </a:lnTo>
                  <a:lnTo>
                    <a:pt x="102" y="24"/>
                  </a:lnTo>
                  <a:lnTo>
                    <a:pt x="103" y="21"/>
                  </a:lnTo>
                  <a:lnTo>
                    <a:pt x="103" y="21"/>
                  </a:lnTo>
                  <a:lnTo>
                    <a:pt x="103" y="21"/>
                  </a:lnTo>
                  <a:lnTo>
                    <a:pt x="105" y="22"/>
                  </a:lnTo>
                  <a:lnTo>
                    <a:pt x="105" y="22"/>
                  </a:lnTo>
                  <a:lnTo>
                    <a:pt x="107" y="31"/>
                  </a:lnTo>
                  <a:lnTo>
                    <a:pt x="106" y="32"/>
                  </a:lnTo>
                  <a:lnTo>
                    <a:pt x="105" y="31"/>
                  </a:lnTo>
                  <a:close/>
                  <a:moveTo>
                    <a:pt x="102" y="42"/>
                  </a:moveTo>
                  <a:lnTo>
                    <a:pt x="99" y="39"/>
                  </a:lnTo>
                  <a:lnTo>
                    <a:pt x="97" y="38"/>
                  </a:lnTo>
                  <a:lnTo>
                    <a:pt x="103" y="35"/>
                  </a:lnTo>
                  <a:lnTo>
                    <a:pt x="103" y="35"/>
                  </a:lnTo>
                  <a:lnTo>
                    <a:pt x="103" y="35"/>
                  </a:lnTo>
                  <a:lnTo>
                    <a:pt x="105" y="34"/>
                  </a:lnTo>
                  <a:lnTo>
                    <a:pt x="106" y="34"/>
                  </a:lnTo>
                  <a:lnTo>
                    <a:pt x="106" y="35"/>
                  </a:lnTo>
                  <a:lnTo>
                    <a:pt x="105" y="37"/>
                  </a:lnTo>
                  <a:lnTo>
                    <a:pt x="105" y="37"/>
                  </a:lnTo>
                  <a:lnTo>
                    <a:pt x="102" y="39"/>
                  </a:lnTo>
                  <a:lnTo>
                    <a:pt x="103" y="39"/>
                  </a:lnTo>
                  <a:lnTo>
                    <a:pt x="102" y="42"/>
                  </a:lnTo>
                  <a:close/>
                  <a:moveTo>
                    <a:pt x="103" y="52"/>
                  </a:moveTo>
                  <a:lnTo>
                    <a:pt x="103" y="52"/>
                  </a:lnTo>
                  <a:lnTo>
                    <a:pt x="103" y="52"/>
                  </a:lnTo>
                  <a:lnTo>
                    <a:pt x="103" y="54"/>
                  </a:lnTo>
                  <a:lnTo>
                    <a:pt x="99" y="48"/>
                  </a:lnTo>
                  <a:lnTo>
                    <a:pt x="100" y="44"/>
                  </a:lnTo>
                  <a:lnTo>
                    <a:pt x="102" y="45"/>
                  </a:lnTo>
                  <a:lnTo>
                    <a:pt x="102" y="47"/>
                  </a:lnTo>
                  <a:lnTo>
                    <a:pt x="105" y="52"/>
                  </a:lnTo>
                  <a:lnTo>
                    <a:pt x="105" y="52"/>
                  </a:lnTo>
                  <a:lnTo>
                    <a:pt x="103" y="52"/>
                  </a:lnTo>
                  <a:close/>
                  <a:moveTo>
                    <a:pt x="93" y="61"/>
                  </a:moveTo>
                  <a:lnTo>
                    <a:pt x="97" y="60"/>
                  </a:lnTo>
                  <a:lnTo>
                    <a:pt x="100" y="55"/>
                  </a:lnTo>
                  <a:lnTo>
                    <a:pt x="102" y="58"/>
                  </a:lnTo>
                  <a:lnTo>
                    <a:pt x="99" y="61"/>
                  </a:lnTo>
                  <a:lnTo>
                    <a:pt x="99" y="61"/>
                  </a:lnTo>
                  <a:lnTo>
                    <a:pt x="94" y="63"/>
                  </a:lnTo>
                  <a:lnTo>
                    <a:pt x="93" y="61"/>
                  </a:lnTo>
                  <a:close/>
                  <a:moveTo>
                    <a:pt x="83" y="68"/>
                  </a:moveTo>
                  <a:lnTo>
                    <a:pt x="84" y="68"/>
                  </a:lnTo>
                  <a:lnTo>
                    <a:pt x="84" y="67"/>
                  </a:lnTo>
                  <a:lnTo>
                    <a:pt x="91" y="67"/>
                  </a:lnTo>
                  <a:lnTo>
                    <a:pt x="91" y="67"/>
                  </a:lnTo>
                  <a:lnTo>
                    <a:pt x="91" y="66"/>
                  </a:lnTo>
                  <a:lnTo>
                    <a:pt x="93" y="67"/>
                  </a:lnTo>
                  <a:lnTo>
                    <a:pt x="93" y="67"/>
                  </a:lnTo>
                  <a:lnTo>
                    <a:pt x="93" y="67"/>
                  </a:lnTo>
                  <a:lnTo>
                    <a:pt x="93" y="68"/>
                  </a:lnTo>
                  <a:lnTo>
                    <a:pt x="91" y="68"/>
                  </a:lnTo>
                  <a:lnTo>
                    <a:pt x="86" y="70"/>
                  </a:lnTo>
                  <a:lnTo>
                    <a:pt x="86" y="70"/>
                  </a:lnTo>
                  <a:lnTo>
                    <a:pt x="83" y="68"/>
                  </a:lnTo>
                  <a:close/>
                  <a:moveTo>
                    <a:pt x="93" y="79"/>
                  </a:moveTo>
                  <a:lnTo>
                    <a:pt x="84" y="74"/>
                  </a:lnTo>
                  <a:lnTo>
                    <a:pt x="86" y="71"/>
                  </a:lnTo>
                  <a:lnTo>
                    <a:pt x="93" y="77"/>
                  </a:lnTo>
                  <a:lnTo>
                    <a:pt x="93" y="79"/>
                  </a:lnTo>
                  <a:close/>
                  <a:moveTo>
                    <a:pt x="94" y="92"/>
                  </a:moveTo>
                  <a:lnTo>
                    <a:pt x="91" y="87"/>
                  </a:lnTo>
                  <a:lnTo>
                    <a:pt x="91" y="87"/>
                  </a:lnTo>
                  <a:lnTo>
                    <a:pt x="94" y="83"/>
                  </a:lnTo>
                  <a:lnTo>
                    <a:pt x="94" y="83"/>
                  </a:lnTo>
                  <a:lnTo>
                    <a:pt x="94" y="83"/>
                  </a:lnTo>
                  <a:lnTo>
                    <a:pt x="96" y="81"/>
                  </a:lnTo>
                  <a:lnTo>
                    <a:pt x="96" y="81"/>
                  </a:lnTo>
                  <a:lnTo>
                    <a:pt x="96" y="81"/>
                  </a:lnTo>
                  <a:lnTo>
                    <a:pt x="96" y="83"/>
                  </a:lnTo>
                  <a:lnTo>
                    <a:pt x="96" y="84"/>
                  </a:lnTo>
                  <a:lnTo>
                    <a:pt x="94" y="87"/>
                  </a:lnTo>
                  <a:lnTo>
                    <a:pt x="96" y="90"/>
                  </a:lnTo>
                  <a:lnTo>
                    <a:pt x="94" y="92"/>
                  </a:lnTo>
                  <a:close/>
                  <a:moveTo>
                    <a:pt x="83" y="93"/>
                  </a:moveTo>
                  <a:lnTo>
                    <a:pt x="91" y="93"/>
                  </a:lnTo>
                  <a:lnTo>
                    <a:pt x="91" y="92"/>
                  </a:lnTo>
                  <a:lnTo>
                    <a:pt x="93" y="94"/>
                  </a:lnTo>
                  <a:lnTo>
                    <a:pt x="91" y="94"/>
                  </a:lnTo>
                  <a:lnTo>
                    <a:pt x="91" y="96"/>
                  </a:lnTo>
                  <a:lnTo>
                    <a:pt x="83" y="94"/>
                  </a:lnTo>
                  <a:lnTo>
                    <a:pt x="83" y="93"/>
                  </a:lnTo>
                  <a:close/>
                  <a:moveTo>
                    <a:pt x="70" y="92"/>
                  </a:moveTo>
                  <a:lnTo>
                    <a:pt x="78" y="93"/>
                  </a:lnTo>
                  <a:lnTo>
                    <a:pt x="78" y="94"/>
                  </a:lnTo>
                  <a:lnTo>
                    <a:pt x="70" y="94"/>
                  </a:lnTo>
                  <a:lnTo>
                    <a:pt x="70" y="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solidFill>
                  <a:prstClr val="black"/>
                </a:solidFill>
                <a:ea typeface="+mn-ea"/>
                <a:cs typeface="+mn-cs"/>
              </a:endParaRPr>
            </a:p>
          </p:txBody>
        </p:sp>
      </p:grpSp>
    </p:spTree>
    <p:extLst>
      <p:ext uri="{BB962C8B-B14F-4D97-AF65-F5344CB8AC3E}">
        <p14:creationId xmlns:p14="http://schemas.microsoft.com/office/powerpoint/2010/main" val="2775233838"/>
      </p:ext>
    </p:extLst>
  </p:cSld>
  <p:clrMapOvr>
    <a:masterClrMapping/>
  </p:clrMapOvr>
  <p:transition>
    <p:fade/>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7585" name="Title 1"/>
          <p:cNvSpPr>
            <a:spLocks noGrp="1"/>
          </p:cNvSpPr>
          <p:nvPr>
            <p:ph type="title"/>
          </p:nvPr>
        </p:nvSpPr>
        <p:spPr/>
        <p:txBody>
          <a:bodyPr/>
          <a:lstStyle/>
          <a:p>
            <a:r>
              <a:rPr lang="en-US" altLang="ja-JP" dirty="0">
                <a:solidFill>
                  <a:srgbClr val="81BC00"/>
                </a:solidFill>
              </a:rPr>
              <a:t>Maps  </a:t>
            </a:r>
            <a:br>
              <a:rPr lang="en-US" altLang="ja-JP" dirty="0">
                <a:solidFill>
                  <a:srgbClr val="81BC00"/>
                </a:solidFill>
              </a:rPr>
            </a:br>
            <a:r>
              <a:rPr lang="en-US" altLang="ja-JP" dirty="0">
                <a:solidFill>
                  <a:srgbClr val="575757"/>
                </a:solidFill>
              </a:rPr>
              <a:t>United States</a:t>
            </a:r>
            <a:endParaRPr lang="en-US" dirty="0">
              <a:solidFill>
                <a:srgbClr val="575757"/>
              </a:solidFill>
            </a:endParaRPr>
          </a:p>
        </p:txBody>
      </p:sp>
      <p:sp>
        <p:nvSpPr>
          <p:cNvPr id="61" name="Rectangle 3"/>
          <p:cNvSpPr>
            <a:spLocks noChangeArrowheads="1"/>
          </p:cNvSpPr>
          <p:nvPr/>
        </p:nvSpPr>
        <p:spPr bwMode="auto">
          <a:xfrm>
            <a:off x="5337545" y="1"/>
            <a:ext cx="2663456" cy="600164"/>
          </a:xfrm>
          <a:prstGeom prst="rect">
            <a:avLst/>
          </a:prstGeom>
          <a:solidFill>
            <a:schemeClr val="accent6"/>
          </a:solidFill>
          <a:ln w="6350" algn="ctr">
            <a:solidFill>
              <a:schemeClr val="bg1"/>
            </a:solidFill>
            <a:miter lim="800000"/>
            <a:headEnd/>
            <a:tailEnd/>
          </a:ln>
        </p:spPr>
        <p:txBody>
          <a:bodyPr wrap="square" tIns="68580" bIns="68580">
            <a:spAutoFit/>
          </a:bodyPr>
          <a:lstStyle/>
          <a:p>
            <a:pPr defTabSz="685800">
              <a:buClrTx/>
              <a:defRPr/>
            </a:pPr>
            <a:r>
              <a:rPr lang="en-US" altLang="ja-JP" sz="750" kern="1200" dirty="0">
                <a:solidFill>
                  <a:srgbClr val="313131"/>
                </a:solidFill>
                <a:ea typeface="ＭＳ Ｐゴシック" pitchFamily="50" charset="-128"/>
                <a:cs typeface="+mn-cs"/>
              </a:rPr>
              <a:t>Tip! Click once to select the entire map, and again to select one or more states within it</a:t>
            </a:r>
            <a:br>
              <a:rPr lang="en-US" altLang="ja-JP" sz="750" kern="1200" dirty="0">
                <a:solidFill>
                  <a:srgbClr val="313131"/>
                </a:solidFill>
                <a:ea typeface="ＭＳ Ｐゴシック" pitchFamily="50" charset="-128"/>
                <a:cs typeface="+mn-cs"/>
              </a:rPr>
            </a:br>
            <a:r>
              <a:rPr lang="en-US" altLang="ja-JP" sz="750" kern="1200" dirty="0">
                <a:solidFill>
                  <a:srgbClr val="313131"/>
                </a:solidFill>
                <a:ea typeface="ＭＳ Ｐゴシック" pitchFamily="50" charset="-128"/>
                <a:cs typeface="+mn-cs"/>
              </a:rPr>
              <a:t>Country/regional maps are a representative sample – more will be added</a:t>
            </a:r>
            <a:endParaRPr lang="en-US" sz="750" kern="1200" dirty="0">
              <a:solidFill>
                <a:srgbClr val="313131"/>
              </a:solidFill>
              <a:ea typeface="ＭＳ Ｐゴシック" pitchFamily="50" charset="-128"/>
              <a:cs typeface="+mn-cs"/>
            </a:endParaRPr>
          </a:p>
        </p:txBody>
      </p:sp>
      <p:grpSp>
        <p:nvGrpSpPr>
          <p:cNvPr id="116" name="Group 56"/>
          <p:cNvGrpSpPr>
            <a:grpSpLocks/>
          </p:cNvGrpSpPr>
          <p:nvPr/>
        </p:nvGrpSpPr>
        <p:grpSpPr bwMode="gray">
          <a:xfrm>
            <a:off x="1423988" y="1393023"/>
            <a:ext cx="3685718" cy="2411033"/>
            <a:chOff x="1757363" y="1860550"/>
            <a:chExt cx="6414459" cy="3873500"/>
          </a:xfrm>
          <a:solidFill>
            <a:srgbClr val="00A1DE"/>
          </a:solidFill>
        </p:grpSpPr>
        <p:sp>
          <p:nvSpPr>
            <p:cNvPr id="117" name="Freeform 116"/>
            <p:cNvSpPr>
              <a:spLocks/>
            </p:cNvSpPr>
            <p:nvPr/>
          </p:nvSpPr>
          <p:spPr bwMode="gray">
            <a:xfrm>
              <a:off x="7697186" y="1860550"/>
              <a:ext cx="474636" cy="717550"/>
            </a:xfrm>
            <a:custGeom>
              <a:avLst/>
              <a:gdLst>
                <a:gd name="T0" fmla="*/ 74 w 230"/>
                <a:gd name="T1" fmla="*/ 12 h 377"/>
                <a:gd name="T2" fmla="*/ 28 w 230"/>
                <a:gd name="T3" fmla="*/ 81 h 377"/>
                <a:gd name="T4" fmla="*/ 49 w 230"/>
                <a:gd name="T5" fmla="*/ 107 h 377"/>
                <a:gd name="T6" fmla="*/ 28 w 230"/>
                <a:gd name="T7" fmla="*/ 139 h 377"/>
                <a:gd name="T8" fmla="*/ 41 w 230"/>
                <a:gd name="T9" fmla="*/ 149 h 377"/>
                <a:gd name="T10" fmla="*/ 31 w 230"/>
                <a:gd name="T11" fmla="*/ 171 h 377"/>
                <a:gd name="T12" fmla="*/ 31 w 230"/>
                <a:gd name="T13" fmla="*/ 206 h 377"/>
                <a:gd name="T14" fmla="*/ 0 w 230"/>
                <a:gd name="T15" fmla="*/ 219 h 377"/>
                <a:gd name="T16" fmla="*/ 13 w 230"/>
                <a:gd name="T17" fmla="*/ 229 h 377"/>
                <a:gd name="T18" fmla="*/ 79 w 230"/>
                <a:gd name="T19" fmla="*/ 361 h 377"/>
                <a:gd name="T20" fmla="*/ 131 w 230"/>
                <a:gd name="T21" fmla="*/ 377 h 377"/>
                <a:gd name="T22" fmla="*/ 128 w 230"/>
                <a:gd name="T23" fmla="*/ 350 h 377"/>
                <a:gd name="T24" fmla="*/ 154 w 230"/>
                <a:gd name="T25" fmla="*/ 329 h 377"/>
                <a:gd name="T26" fmla="*/ 144 w 230"/>
                <a:gd name="T27" fmla="*/ 307 h 377"/>
                <a:gd name="T28" fmla="*/ 210 w 230"/>
                <a:gd name="T29" fmla="*/ 280 h 377"/>
                <a:gd name="T30" fmla="*/ 212 w 230"/>
                <a:gd name="T31" fmla="*/ 243 h 377"/>
                <a:gd name="T32" fmla="*/ 250 w 230"/>
                <a:gd name="T33" fmla="*/ 241 h 377"/>
                <a:gd name="T34" fmla="*/ 280 w 230"/>
                <a:gd name="T35" fmla="*/ 213 h 377"/>
                <a:gd name="T36" fmla="*/ 316 w 230"/>
                <a:gd name="T37" fmla="*/ 194 h 377"/>
                <a:gd name="T38" fmla="*/ 316 w 230"/>
                <a:gd name="T39" fmla="*/ 171 h 377"/>
                <a:gd name="T40" fmla="*/ 266 w 230"/>
                <a:gd name="T41" fmla="*/ 163 h 377"/>
                <a:gd name="T42" fmla="*/ 257 w 230"/>
                <a:gd name="T43" fmla="*/ 138 h 377"/>
                <a:gd name="T44" fmla="*/ 207 w 230"/>
                <a:gd name="T45" fmla="*/ 134 h 377"/>
                <a:gd name="T46" fmla="*/ 168 w 230"/>
                <a:gd name="T47" fmla="*/ 22 h 377"/>
                <a:gd name="T48" fmla="*/ 148 w 230"/>
                <a:gd name="T49" fmla="*/ 0 h 377"/>
                <a:gd name="T50" fmla="*/ 99 w 230"/>
                <a:gd name="T51" fmla="*/ 9 h 377"/>
                <a:gd name="T52" fmla="*/ 90 w 230"/>
                <a:gd name="T53" fmla="*/ 20 h 377"/>
                <a:gd name="T54" fmla="*/ 74 w 230"/>
                <a:gd name="T55" fmla="*/ 12 h 37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30"/>
                <a:gd name="T85" fmla="*/ 0 h 377"/>
                <a:gd name="T86" fmla="*/ 230 w 230"/>
                <a:gd name="T87" fmla="*/ 377 h 37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30" h="377">
                  <a:moveTo>
                    <a:pt x="54" y="12"/>
                  </a:moveTo>
                  <a:lnTo>
                    <a:pt x="20" y="81"/>
                  </a:lnTo>
                  <a:lnTo>
                    <a:pt x="36" y="107"/>
                  </a:lnTo>
                  <a:lnTo>
                    <a:pt x="20" y="139"/>
                  </a:lnTo>
                  <a:lnTo>
                    <a:pt x="30" y="149"/>
                  </a:lnTo>
                  <a:lnTo>
                    <a:pt x="23" y="171"/>
                  </a:lnTo>
                  <a:lnTo>
                    <a:pt x="23" y="206"/>
                  </a:lnTo>
                  <a:lnTo>
                    <a:pt x="0" y="219"/>
                  </a:lnTo>
                  <a:lnTo>
                    <a:pt x="9" y="229"/>
                  </a:lnTo>
                  <a:lnTo>
                    <a:pt x="57" y="361"/>
                  </a:lnTo>
                  <a:lnTo>
                    <a:pt x="95" y="377"/>
                  </a:lnTo>
                  <a:lnTo>
                    <a:pt x="93" y="350"/>
                  </a:lnTo>
                  <a:lnTo>
                    <a:pt x="112" y="329"/>
                  </a:lnTo>
                  <a:lnTo>
                    <a:pt x="105" y="307"/>
                  </a:lnTo>
                  <a:lnTo>
                    <a:pt x="152" y="280"/>
                  </a:lnTo>
                  <a:lnTo>
                    <a:pt x="154" y="243"/>
                  </a:lnTo>
                  <a:lnTo>
                    <a:pt x="182" y="241"/>
                  </a:lnTo>
                  <a:lnTo>
                    <a:pt x="204" y="213"/>
                  </a:lnTo>
                  <a:lnTo>
                    <a:pt x="230" y="194"/>
                  </a:lnTo>
                  <a:lnTo>
                    <a:pt x="230" y="171"/>
                  </a:lnTo>
                  <a:lnTo>
                    <a:pt x="194" y="163"/>
                  </a:lnTo>
                  <a:lnTo>
                    <a:pt x="187" y="138"/>
                  </a:lnTo>
                  <a:lnTo>
                    <a:pt x="151" y="134"/>
                  </a:lnTo>
                  <a:lnTo>
                    <a:pt x="122" y="22"/>
                  </a:lnTo>
                  <a:lnTo>
                    <a:pt x="108" y="0"/>
                  </a:lnTo>
                  <a:lnTo>
                    <a:pt x="72" y="9"/>
                  </a:lnTo>
                  <a:lnTo>
                    <a:pt x="66" y="20"/>
                  </a:lnTo>
                  <a:lnTo>
                    <a:pt x="54" y="12"/>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18" name="Freeform 117"/>
            <p:cNvSpPr>
              <a:spLocks/>
            </p:cNvSpPr>
            <p:nvPr/>
          </p:nvSpPr>
          <p:spPr bwMode="gray">
            <a:xfrm>
              <a:off x="3712656" y="4129088"/>
              <a:ext cx="1745489" cy="1604962"/>
            </a:xfrm>
            <a:custGeom>
              <a:avLst/>
              <a:gdLst>
                <a:gd name="T0" fmla="*/ 337 w 846"/>
                <a:gd name="T1" fmla="*/ 0 h 842"/>
                <a:gd name="T2" fmla="*/ 594 w 846"/>
                <a:gd name="T3" fmla="*/ 7 h 842"/>
                <a:gd name="T4" fmla="*/ 594 w 846"/>
                <a:gd name="T5" fmla="*/ 160 h 842"/>
                <a:gd name="T6" fmla="*/ 724 w 846"/>
                <a:gd name="T7" fmla="*/ 202 h 842"/>
                <a:gd name="T8" fmla="*/ 761 w 846"/>
                <a:gd name="T9" fmla="*/ 188 h 842"/>
                <a:gd name="T10" fmla="*/ 847 w 846"/>
                <a:gd name="T11" fmla="*/ 221 h 842"/>
                <a:gd name="T12" fmla="*/ 897 w 846"/>
                <a:gd name="T13" fmla="*/ 219 h 842"/>
                <a:gd name="T14" fmla="*/ 996 w 846"/>
                <a:gd name="T15" fmla="*/ 186 h 842"/>
                <a:gd name="T16" fmla="*/ 1054 w 846"/>
                <a:gd name="T17" fmla="*/ 218 h 842"/>
                <a:gd name="T18" fmla="*/ 1103 w 846"/>
                <a:gd name="T19" fmla="*/ 226 h 842"/>
                <a:gd name="T20" fmla="*/ 1103 w 846"/>
                <a:gd name="T21" fmla="*/ 350 h 842"/>
                <a:gd name="T22" fmla="*/ 1163 w 846"/>
                <a:gd name="T23" fmla="*/ 428 h 842"/>
                <a:gd name="T24" fmla="*/ 1149 w 846"/>
                <a:gd name="T25" fmla="*/ 534 h 842"/>
                <a:gd name="T26" fmla="*/ 1086 w 846"/>
                <a:gd name="T27" fmla="*/ 576 h 842"/>
                <a:gd name="T28" fmla="*/ 1073 w 846"/>
                <a:gd name="T29" fmla="*/ 537 h 842"/>
                <a:gd name="T30" fmla="*/ 1054 w 846"/>
                <a:gd name="T31" fmla="*/ 555 h 842"/>
                <a:gd name="T32" fmla="*/ 1068 w 846"/>
                <a:gd name="T33" fmla="*/ 580 h 842"/>
                <a:gd name="T34" fmla="*/ 955 w 846"/>
                <a:gd name="T35" fmla="*/ 643 h 842"/>
                <a:gd name="T36" fmla="*/ 927 w 846"/>
                <a:gd name="T37" fmla="*/ 647 h 842"/>
                <a:gd name="T38" fmla="*/ 868 w 846"/>
                <a:gd name="T39" fmla="*/ 678 h 842"/>
                <a:gd name="T40" fmla="*/ 868 w 846"/>
                <a:gd name="T41" fmla="*/ 696 h 842"/>
                <a:gd name="T42" fmla="*/ 850 w 846"/>
                <a:gd name="T43" fmla="*/ 700 h 842"/>
                <a:gd name="T44" fmla="*/ 864 w 846"/>
                <a:gd name="T45" fmla="*/ 721 h 842"/>
                <a:gd name="T46" fmla="*/ 833 w 846"/>
                <a:gd name="T47" fmla="*/ 752 h 842"/>
                <a:gd name="T48" fmla="*/ 850 w 846"/>
                <a:gd name="T49" fmla="*/ 798 h 842"/>
                <a:gd name="T50" fmla="*/ 868 w 846"/>
                <a:gd name="T51" fmla="*/ 814 h 842"/>
                <a:gd name="T52" fmla="*/ 864 w 846"/>
                <a:gd name="T53" fmla="*/ 842 h 842"/>
                <a:gd name="T54" fmla="*/ 819 w 846"/>
                <a:gd name="T55" fmla="*/ 842 h 842"/>
                <a:gd name="T56" fmla="*/ 780 w 846"/>
                <a:gd name="T57" fmla="*/ 828 h 842"/>
                <a:gd name="T58" fmla="*/ 751 w 846"/>
                <a:gd name="T59" fmla="*/ 831 h 842"/>
                <a:gd name="T60" fmla="*/ 662 w 846"/>
                <a:gd name="T61" fmla="*/ 807 h 842"/>
                <a:gd name="T62" fmla="*/ 620 w 846"/>
                <a:gd name="T63" fmla="*/ 710 h 842"/>
                <a:gd name="T64" fmla="*/ 558 w 846"/>
                <a:gd name="T65" fmla="*/ 664 h 842"/>
                <a:gd name="T66" fmla="*/ 501 w 846"/>
                <a:gd name="T67" fmla="*/ 580 h 842"/>
                <a:gd name="T68" fmla="*/ 477 w 846"/>
                <a:gd name="T69" fmla="*/ 571 h 842"/>
                <a:gd name="T70" fmla="*/ 447 w 846"/>
                <a:gd name="T71" fmla="*/ 550 h 842"/>
                <a:gd name="T72" fmla="*/ 417 w 846"/>
                <a:gd name="T73" fmla="*/ 550 h 842"/>
                <a:gd name="T74" fmla="*/ 374 w 846"/>
                <a:gd name="T75" fmla="*/ 543 h 842"/>
                <a:gd name="T76" fmla="*/ 341 w 846"/>
                <a:gd name="T77" fmla="*/ 550 h 842"/>
                <a:gd name="T78" fmla="*/ 319 w 846"/>
                <a:gd name="T79" fmla="*/ 593 h 842"/>
                <a:gd name="T80" fmla="*/ 285 w 846"/>
                <a:gd name="T81" fmla="*/ 600 h 842"/>
                <a:gd name="T82" fmla="*/ 211 w 846"/>
                <a:gd name="T83" fmla="*/ 567 h 842"/>
                <a:gd name="T84" fmla="*/ 167 w 846"/>
                <a:gd name="T85" fmla="*/ 527 h 842"/>
                <a:gd name="T86" fmla="*/ 159 w 846"/>
                <a:gd name="T87" fmla="*/ 479 h 842"/>
                <a:gd name="T88" fmla="*/ 128 w 846"/>
                <a:gd name="T89" fmla="*/ 446 h 842"/>
                <a:gd name="T90" fmla="*/ 53 w 846"/>
                <a:gd name="T91" fmla="*/ 400 h 842"/>
                <a:gd name="T92" fmla="*/ 0 w 846"/>
                <a:gd name="T93" fmla="*/ 352 h 842"/>
                <a:gd name="T94" fmla="*/ 0 w 846"/>
                <a:gd name="T95" fmla="*/ 332 h 842"/>
                <a:gd name="T96" fmla="*/ 176 w 846"/>
                <a:gd name="T97" fmla="*/ 333 h 842"/>
                <a:gd name="T98" fmla="*/ 319 w 846"/>
                <a:gd name="T99" fmla="*/ 342 h 842"/>
                <a:gd name="T100" fmla="*/ 337 w 846"/>
                <a:gd name="T101" fmla="*/ 0 h 8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46"/>
                <a:gd name="T154" fmla="*/ 0 h 842"/>
                <a:gd name="T155" fmla="*/ 846 w 846"/>
                <a:gd name="T156" fmla="*/ 842 h 8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46" h="842">
                  <a:moveTo>
                    <a:pt x="245" y="0"/>
                  </a:moveTo>
                  <a:lnTo>
                    <a:pt x="432" y="7"/>
                  </a:lnTo>
                  <a:lnTo>
                    <a:pt x="432" y="160"/>
                  </a:lnTo>
                  <a:lnTo>
                    <a:pt x="527" y="202"/>
                  </a:lnTo>
                  <a:lnTo>
                    <a:pt x="553" y="188"/>
                  </a:lnTo>
                  <a:lnTo>
                    <a:pt x="616" y="221"/>
                  </a:lnTo>
                  <a:lnTo>
                    <a:pt x="653" y="219"/>
                  </a:lnTo>
                  <a:lnTo>
                    <a:pt x="725" y="186"/>
                  </a:lnTo>
                  <a:lnTo>
                    <a:pt x="767" y="218"/>
                  </a:lnTo>
                  <a:lnTo>
                    <a:pt x="803" y="226"/>
                  </a:lnTo>
                  <a:lnTo>
                    <a:pt x="803" y="350"/>
                  </a:lnTo>
                  <a:lnTo>
                    <a:pt x="846" y="428"/>
                  </a:lnTo>
                  <a:lnTo>
                    <a:pt x="836" y="534"/>
                  </a:lnTo>
                  <a:lnTo>
                    <a:pt x="790" y="576"/>
                  </a:lnTo>
                  <a:lnTo>
                    <a:pt x="780" y="537"/>
                  </a:lnTo>
                  <a:lnTo>
                    <a:pt x="767" y="555"/>
                  </a:lnTo>
                  <a:lnTo>
                    <a:pt x="777" y="580"/>
                  </a:lnTo>
                  <a:lnTo>
                    <a:pt x="695" y="643"/>
                  </a:lnTo>
                  <a:lnTo>
                    <a:pt x="675" y="647"/>
                  </a:lnTo>
                  <a:lnTo>
                    <a:pt x="632" y="678"/>
                  </a:lnTo>
                  <a:lnTo>
                    <a:pt x="632" y="696"/>
                  </a:lnTo>
                  <a:lnTo>
                    <a:pt x="619" y="700"/>
                  </a:lnTo>
                  <a:lnTo>
                    <a:pt x="629" y="721"/>
                  </a:lnTo>
                  <a:lnTo>
                    <a:pt x="606" y="752"/>
                  </a:lnTo>
                  <a:lnTo>
                    <a:pt x="619" y="798"/>
                  </a:lnTo>
                  <a:lnTo>
                    <a:pt x="632" y="814"/>
                  </a:lnTo>
                  <a:lnTo>
                    <a:pt x="629" y="842"/>
                  </a:lnTo>
                  <a:lnTo>
                    <a:pt x="596" y="842"/>
                  </a:lnTo>
                  <a:lnTo>
                    <a:pt x="567" y="828"/>
                  </a:lnTo>
                  <a:lnTo>
                    <a:pt x="547" y="831"/>
                  </a:lnTo>
                  <a:lnTo>
                    <a:pt x="481" y="807"/>
                  </a:lnTo>
                  <a:lnTo>
                    <a:pt x="452" y="710"/>
                  </a:lnTo>
                  <a:lnTo>
                    <a:pt x="406" y="664"/>
                  </a:lnTo>
                  <a:lnTo>
                    <a:pt x="365" y="580"/>
                  </a:lnTo>
                  <a:lnTo>
                    <a:pt x="347" y="571"/>
                  </a:lnTo>
                  <a:lnTo>
                    <a:pt x="325" y="550"/>
                  </a:lnTo>
                  <a:lnTo>
                    <a:pt x="304" y="550"/>
                  </a:lnTo>
                  <a:lnTo>
                    <a:pt x="272" y="543"/>
                  </a:lnTo>
                  <a:lnTo>
                    <a:pt x="248" y="550"/>
                  </a:lnTo>
                  <a:lnTo>
                    <a:pt x="232" y="593"/>
                  </a:lnTo>
                  <a:lnTo>
                    <a:pt x="207" y="600"/>
                  </a:lnTo>
                  <a:lnTo>
                    <a:pt x="153" y="567"/>
                  </a:lnTo>
                  <a:lnTo>
                    <a:pt x="121" y="527"/>
                  </a:lnTo>
                  <a:lnTo>
                    <a:pt x="116" y="479"/>
                  </a:lnTo>
                  <a:lnTo>
                    <a:pt x="93" y="446"/>
                  </a:lnTo>
                  <a:lnTo>
                    <a:pt x="39" y="400"/>
                  </a:lnTo>
                  <a:lnTo>
                    <a:pt x="0" y="352"/>
                  </a:lnTo>
                  <a:lnTo>
                    <a:pt x="0" y="332"/>
                  </a:lnTo>
                  <a:lnTo>
                    <a:pt x="128" y="333"/>
                  </a:lnTo>
                  <a:lnTo>
                    <a:pt x="232" y="342"/>
                  </a:lnTo>
                  <a:lnTo>
                    <a:pt x="245" y="0"/>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19" name="Freeform 118"/>
            <p:cNvSpPr>
              <a:spLocks/>
            </p:cNvSpPr>
            <p:nvPr/>
          </p:nvSpPr>
          <p:spPr bwMode="gray">
            <a:xfrm>
              <a:off x="5275857" y="4062413"/>
              <a:ext cx="607053" cy="561975"/>
            </a:xfrm>
            <a:custGeom>
              <a:avLst/>
              <a:gdLst>
                <a:gd name="T0" fmla="*/ 0 w 294"/>
                <a:gd name="T1" fmla="*/ 27 h 295"/>
                <a:gd name="T2" fmla="*/ 162 w 294"/>
                <a:gd name="T3" fmla="*/ 12 h 295"/>
                <a:gd name="T4" fmla="*/ 359 w 294"/>
                <a:gd name="T5" fmla="*/ 0 h 295"/>
                <a:gd name="T6" fmla="*/ 348 w 294"/>
                <a:gd name="T7" fmla="*/ 39 h 295"/>
                <a:gd name="T8" fmla="*/ 392 w 294"/>
                <a:gd name="T9" fmla="*/ 30 h 295"/>
                <a:gd name="T10" fmla="*/ 407 w 294"/>
                <a:gd name="T11" fmla="*/ 56 h 295"/>
                <a:gd name="T12" fmla="*/ 362 w 294"/>
                <a:gd name="T13" fmla="*/ 80 h 295"/>
                <a:gd name="T14" fmla="*/ 373 w 294"/>
                <a:gd name="T15" fmla="*/ 121 h 295"/>
                <a:gd name="T16" fmla="*/ 327 w 294"/>
                <a:gd name="T17" fmla="*/ 189 h 295"/>
                <a:gd name="T18" fmla="*/ 291 w 294"/>
                <a:gd name="T19" fmla="*/ 231 h 295"/>
                <a:gd name="T20" fmla="*/ 310 w 294"/>
                <a:gd name="T21" fmla="*/ 285 h 295"/>
                <a:gd name="T22" fmla="*/ 60 w 294"/>
                <a:gd name="T23" fmla="*/ 295 h 295"/>
                <a:gd name="T24" fmla="*/ 59 w 294"/>
                <a:gd name="T25" fmla="*/ 262 h 295"/>
                <a:gd name="T26" fmla="*/ 10 w 294"/>
                <a:gd name="T27" fmla="*/ 255 h 295"/>
                <a:gd name="T28" fmla="*/ 10 w 294"/>
                <a:gd name="T29" fmla="*/ 80 h 295"/>
                <a:gd name="T30" fmla="*/ 0 w 294"/>
                <a:gd name="T31" fmla="*/ 27 h 29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94"/>
                <a:gd name="T49" fmla="*/ 0 h 295"/>
                <a:gd name="T50" fmla="*/ 294 w 294"/>
                <a:gd name="T51" fmla="*/ 295 h 29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94" h="295">
                  <a:moveTo>
                    <a:pt x="0" y="27"/>
                  </a:moveTo>
                  <a:lnTo>
                    <a:pt x="116" y="12"/>
                  </a:lnTo>
                  <a:lnTo>
                    <a:pt x="259" y="0"/>
                  </a:lnTo>
                  <a:lnTo>
                    <a:pt x="252" y="39"/>
                  </a:lnTo>
                  <a:lnTo>
                    <a:pt x="283" y="30"/>
                  </a:lnTo>
                  <a:lnTo>
                    <a:pt x="294" y="56"/>
                  </a:lnTo>
                  <a:lnTo>
                    <a:pt x="262" y="80"/>
                  </a:lnTo>
                  <a:lnTo>
                    <a:pt x="269" y="121"/>
                  </a:lnTo>
                  <a:lnTo>
                    <a:pt x="235" y="189"/>
                  </a:lnTo>
                  <a:lnTo>
                    <a:pt x="210" y="231"/>
                  </a:lnTo>
                  <a:lnTo>
                    <a:pt x="224" y="285"/>
                  </a:lnTo>
                  <a:lnTo>
                    <a:pt x="43" y="295"/>
                  </a:lnTo>
                  <a:lnTo>
                    <a:pt x="42" y="262"/>
                  </a:lnTo>
                  <a:lnTo>
                    <a:pt x="6" y="255"/>
                  </a:lnTo>
                  <a:lnTo>
                    <a:pt x="6" y="80"/>
                  </a:lnTo>
                  <a:lnTo>
                    <a:pt x="0" y="27"/>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20" name="Freeform 119"/>
            <p:cNvSpPr>
              <a:spLocks/>
            </p:cNvSpPr>
            <p:nvPr/>
          </p:nvSpPr>
          <p:spPr bwMode="gray">
            <a:xfrm>
              <a:off x="5354963" y="4603750"/>
              <a:ext cx="741189" cy="588963"/>
            </a:xfrm>
            <a:custGeom>
              <a:avLst/>
              <a:gdLst>
                <a:gd name="T0" fmla="*/ 0 w 359"/>
                <a:gd name="T1" fmla="*/ 7 h 309"/>
                <a:gd name="T2" fmla="*/ 247 w 359"/>
                <a:gd name="T3" fmla="*/ 0 h 309"/>
                <a:gd name="T4" fmla="*/ 291 w 359"/>
                <a:gd name="T5" fmla="*/ 64 h 309"/>
                <a:gd name="T6" fmla="*/ 254 w 359"/>
                <a:gd name="T7" fmla="*/ 139 h 309"/>
                <a:gd name="T8" fmla="*/ 242 w 359"/>
                <a:gd name="T9" fmla="*/ 173 h 309"/>
                <a:gd name="T10" fmla="*/ 407 w 359"/>
                <a:gd name="T11" fmla="*/ 159 h 309"/>
                <a:gd name="T12" fmla="*/ 417 w 359"/>
                <a:gd name="T13" fmla="*/ 208 h 309"/>
                <a:gd name="T14" fmla="*/ 367 w 359"/>
                <a:gd name="T15" fmla="*/ 204 h 309"/>
                <a:gd name="T16" fmla="*/ 346 w 359"/>
                <a:gd name="T17" fmla="*/ 225 h 309"/>
                <a:gd name="T18" fmla="*/ 369 w 359"/>
                <a:gd name="T19" fmla="*/ 239 h 309"/>
                <a:gd name="T20" fmla="*/ 416 w 359"/>
                <a:gd name="T21" fmla="*/ 222 h 309"/>
                <a:gd name="T22" fmla="*/ 417 w 359"/>
                <a:gd name="T23" fmla="*/ 246 h 309"/>
                <a:gd name="T24" fmla="*/ 444 w 359"/>
                <a:gd name="T25" fmla="*/ 226 h 309"/>
                <a:gd name="T26" fmla="*/ 463 w 359"/>
                <a:gd name="T27" fmla="*/ 226 h 309"/>
                <a:gd name="T28" fmla="*/ 441 w 359"/>
                <a:gd name="T29" fmla="*/ 267 h 309"/>
                <a:gd name="T30" fmla="*/ 482 w 359"/>
                <a:gd name="T31" fmla="*/ 274 h 309"/>
                <a:gd name="T32" fmla="*/ 495 w 359"/>
                <a:gd name="T33" fmla="*/ 297 h 309"/>
                <a:gd name="T34" fmla="*/ 476 w 359"/>
                <a:gd name="T35" fmla="*/ 304 h 309"/>
                <a:gd name="T36" fmla="*/ 451 w 359"/>
                <a:gd name="T37" fmla="*/ 289 h 309"/>
                <a:gd name="T38" fmla="*/ 402 w 359"/>
                <a:gd name="T39" fmla="*/ 279 h 309"/>
                <a:gd name="T40" fmla="*/ 412 w 359"/>
                <a:gd name="T41" fmla="*/ 306 h 309"/>
                <a:gd name="T42" fmla="*/ 390 w 359"/>
                <a:gd name="T43" fmla="*/ 309 h 309"/>
                <a:gd name="T44" fmla="*/ 368 w 359"/>
                <a:gd name="T45" fmla="*/ 285 h 309"/>
                <a:gd name="T46" fmla="*/ 356 w 359"/>
                <a:gd name="T47" fmla="*/ 300 h 309"/>
                <a:gd name="T48" fmla="*/ 284 w 359"/>
                <a:gd name="T49" fmla="*/ 300 h 309"/>
                <a:gd name="T50" fmla="*/ 284 w 359"/>
                <a:gd name="T51" fmla="*/ 285 h 309"/>
                <a:gd name="T52" fmla="*/ 258 w 359"/>
                <a:gd name="T53" fmla="*/ 267 h 309"/>
                <a:gd name="T54" fmla="*/ 202 w 359"/>
                <a:gd name="T55" fmla="*/ 265 h 309"/>
                <a:gd name="T56" fmla="*/ 248 w 359"/>
                <a:gd name="T57" fmla="*/ 285 h 309"/>
                <a:gd name="T58" fmla="*/ 184 w 359"/>
                <a:gd name="T59" fmla="*/ 295 h 309"/>
                <a:gd name="T60" fmla="*/ 86 w 359"/>
                <a:gd name="T61" fmla="*/ 281 h 309"/>
                <a:gd name="T62" fmla="*/ 48 w 359"/>
                <a:gd name="T63" fmla="*/ 285 h 309"/>
                <a:gd name="T64" fmla="*/ 62 w 359"/>
                <a:gd name="T65" fmla="*/ 181 h 309"/>
                <a:gd name="T66" fmla="*/ 1 w 359"/>
                <a:gd name="T67" fmla="*/ 99 h 309"/>
                <a:gd name="T68" fmla="*/ 0 w 359"/>
                <a:gd name="T69" fmla="*/ 7 h 30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9"/>
                <a:gd name="T106" fmla="*/ 0 h 309"/>
                <a:gd name="T107" fmla="*/ 359 w 359"/>
                <a:gd name="T108" fmla="*/ 309 h 30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9" h="309">
                  <a:moveTo>
                    <a:pt x="0" y="7"/>
                  </a:moveTo>
                  <a:lnTo>
                    <a:pt x="179" y="0"/>
                  </a:lnTo>
                  <a:lnTo>
                    <a:pt x="211" y="64"/>
                  </a:lnTo>
                  <a:lnTo>
                    <a:pt x="184" y="139"/>
                  </a:lnTo>
                  <a:lnTo>
                    <a:pt x="175" y="173"/>
                  </a:lnTo>
                  <a:lnTo>
                    <a:pt x="295" y="159"/>
                  </a:lnTo>
                  <a:lnTo>
                    <a:pt x="303" y="208"/>
                  </a:lnTo>
                  <a:lnTo>
                    <a:pt x="267" y="204"/>
                  </a:lnTo>
                  <a:lnTo>
                    <a:pt x="250" y="225"/>
                  </a:lnTo>
                  <a:lnTo>
                    <a:pt x="269" y="239"/>
                  </a:lnTo>
                  <a:lnTo>
                    <a:pt x="302" y="222"/>
                  </a:lnTo>
                  <a:lnTo>
                    <a:pt x="303" y="246"/>
                  </a:lnTo>
                  <a:lnTo>
                    <a:pt x="322" y="226"/>
                  </a:lnTo>
                  <a:lnTo>
                    <a:pt x="336" y="226"/>
                  </a:lnTo>
                  <a:lnTo>
                    <a:pt x="320" y="267"/>
                  </a:lnTo>
                  <a:lnTo>
                    <a:pt x="350" y="274"/>
                  </a:lnTo>
                  <a:lnTo>
                    <a:pt x="359" y="297"/>
                  </a:lnTo>
                  <a:lnTo>
                    <a:pt x="345" y="304"/>
                  </a:lnTo>
                  <a:lnTo>
                    <a:pt x="327" y="289"/>
                  </a:lnTo>
                  <a:lnTo>
                    <a:pt x="292" y="279"/>
                  </a:lnTo>
                  <a:lnTo>
                    <a:pt x="299" y="306"/>
                  </a:lnTo>
                  <a:lnTo>
                    <a:pt x="282" y="309"/>
                  </a:lnTo>
                  <a:lnTo>
                    <a:pt x="268" y="285"/>
                  </a:lnTo>
                  <a:lnTo>
                    <a:pt x="259" y="300"/>
                  </a:lnTo>
                  <a:lnTo>
                    <a:pt x="206" y="300"/>
                  </a:lnTo>
                  <a:lnTo>
                    <a:pt x="206" y="285"/>
                  </a:lnTo>
                  <a:lnTo>
                    <a:pt x="187" y="267"/>
                  </a:lnTo>
                  <a:lnTo>
                    <a:pt x="147" y="265"/>
                  </a:lnTo>
                  <a:lnTo>
                    <a:pt x="180" y="285"/>
                  </a:lnTo>
                  <a:lnTo>
                    <a:pt x="134" y="295"/>
                  </a:lnTo>
                  <a:lnTo>
                    <a:pt x="62" y="281"/>
                  </a:lnTo>
                  <a:lnTo>
                    <a:pt x="35" y="285"/>
                  </a:lnTo>
                  <a:lnTo>
                    <a:pt x="45" y="181"/>
                  </a:lnTo>
                  <a:lnTo>
                    <a:pt x="1" y="99"/>
                  </a:lnTo>
                  <a:lnTo>
                    <a:pt x="0" y="7"/>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21" name="Freeform 120"/>
            <p:cNvSpPr>
              <a:spLocks/>
            </p:cNvSpPr>
            <p:nvPr/>
          </p:nvSpPr>
          <p:spPr bwMode="gray">
            <a:xfrm>
              <a:off x="4857972" y="2117725"/>
              <a:ext cx="825453" cy="923925"/>
            </a:xfrm>
            <a:custGeom>
              <a:avLst/>
              <a:gdLst>
                <a:gd name="T0" fmla="*/ 0 w 400"/>
                <a:gd name="T1" fmla="*/ 38 h 485"/>
                <a:gd name="T2" fmla="*/ 144 w 400"/>
                <a:gd name="T3" fmla="*/ 38 h 485"/>
                <a:gd name="T4" fmla="*/ 143 w 400"/>
                <a:gd name="T5" fmla="*/ 0 h 485"/>
                <a:gd name="T6" fmla="*/ 172 w 400"/>
                <a:gd name="T7" fmla="*/ 11 h 485"/>
                <a:gd name="T8" fmla="*/ 181 w 400"/>
                <a:gd name="T9" fmla="*/ 40 h 485"/>
                <a:gd name="T10" fmla="*/ 248 w 400"/>
                <a:gd name="T11" fmla="*/ 72 h 485"/>
                <a:gd name="T12" fmla="*/ 268 w 400"/>
                <a:gd name="T13" fmla="*/ 58 h 485"/>
                <a:gd name="T14" fmla="*/ 311 w 400"/>
                <a:gd name="T15" fmla="*/ 58 h 485"/>
                <a:gd name="T16" fmla="*/ 342 w 400"/>
                <a:gd name="T17" fmla="*/ 86 h 485"/>
                <a:gd name="T18" fmla="*/ 364 w 400"/>
                <a:gd name="T19" fmla="*/ 76 h 485"/>
                <a:gd name="T20" fmla="*/ 422 w 400"/>
                <a:gd name="T21" fmla="*/ 87 h 485"/>
                <a:gd name="T22" fmla="*/ 444 w 400"/>
                <a:gd name="T23" fmla="*/ 66 h 485"/>
                <a:gd name="T24" fmla="*/ 482 w 400"/>
                <a:gd name="T25" fmla="*/ 83 h 485"/>
                <a:gd name="T26" fmla="*/ 550 w 400"/>
                <a:gd name="T27" fmla="*/ 80 h 485"/>
                <a:gd name="T28" fmla="*/ 439 w 400"/>
                <a:gd name="T29" fmla="*/ 140 h 485"/>
                <a:gd name="T30" fmla="*/ 385 w 400"/>
                <a:gd name="T31" fmla="*/ 193 h 485"/>
                <a:gd name="T32" fmla="*/ 396 w 400"/>
                <a:gd name="T33" fmla="*/ 269 h 485"/>
                <a:gd name="T34" fmla="*/ 358 w 400"/>
                <a:gd name="T35" fmla="*/ 301 h 485"/>
                <a:gd name="T36" fmla="*/ 372 w 400"/>
                <a:gd name="T37" fmla="*/ 324 h 485"/>
                <a:gd name="T38" fmla="*/ 372 w 400"/>
                <a:gd name="T39" fmla="*/ 380 h 485"/>
                <a:gd name="T40" fmla="*/ 411 w 400"/>
                <a:gd name="T41" fmla="*/ 380 h 485"/>
                <a:gd name="T42" fmla="*/ 467 w 400"/>
                <a:gd name="T43" fmla="*/ 421 h 485"/>
                <a:gd name="T44" fmla="*/ 488 w 400"/>
                <a:gd name="T45" fmla="*/ 471 h 485"/>
                <a:gd name="T46" fmla="*/ 101 w 400"/>
                <a:gd name="T47" fmla="*/ 485 h 485"/>
                <a:gd name="T48" fmla="*/ 102 w 400"/>
                <a:gd name="T49" fmla="*/ 351 h 485"/>
                <a:gd name="T50" fmla="*/ 67 w 400"/>
                <a:gd name="T51" fmla="*/ 321 h 485"/>
                <a:gd name="T52" fmla="*/ 80 w 400"/>
                <a:gd name="T53" fmla="*/ 286 h 485"/>
                <a:gd name="T54" fmla="*/ 90 w 400"/>
                <a:gd name="T55" fmla="*/ 266 h 485"/>
                <a:gd name="T56" fmla="*/ 67 w 400"/>
                <a:gd name="T57" fmla="*/ 173 h 485"/>
                <a:gd name="T58" fmla="*/ 34 w 400"/>
                <a:gd name="T59" fmla="*/ 112 h 485"/>
                <a:gd name="T60" fmla="*/ 0 w 400"/>
                <a:gd name="T61" fmla="*/ 38 h 48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00"/>
                <a:gd name="T94" fmla="*/ 0 h 485"/>
                <a:gd name="T95" fmla="*/ 400 w 400"/>
                <a:gd name="T96" fmla="*/ 485 h 48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00" h="485">
                  <a:moveTo>
                    <a:pt x="0" y="38"/>
                  </a:moveTo>
                  <a:lnTo>
                    <a:pt x="105" y="38"/>
                  </a:lnTo>
                  <a:lnTo>
                    <a:pt x="104" y="0"/>
                  </a:lnTo>
                  <a:lnTo>
                    <a:pt x="126" y="11"/>
                  </a:lnTo>
                  <a:lnTo>
                    <a:pt x="131" y="40"/>
                  </a:lnTo>
                  <a:lnTo>
                    <a:pt x="181" y="72"/>
                  </a:lnTo>
                  <a:lnTo>
                    <a:pt x="196" y="58"/>
                  </a:lnTo>
                  <a:lnTo>
                    <a:pt x="226" y="58"/>
                  </a:lnTo>
                  <a:lnTo>
                    <a:pt x="249" y="86"/>
                  </a:lnTo>
                  <a:lnTo>
                    <a:pt x="264" y="76"/>
                  </a:lnTo>
                  <a:lnTo>
                    <a:pt x="308" y="87"/>
                  </a:lnTo>
                  <a:lnTo>
                    <a:pt x="323" y="66"/>
                  </a:lnTo>
                  <a:lnTo>
                    <a:pt x="351" y="83"/>
                  </a:lnTo>
                  <a:lnTo>
                    <a:pt x="400" y="80"/>
                  </a:lnTo>
                  <a:lnTo>
                    <a:pt x="320" y="140"/>
                  </a:lnTo>
                  <a:lnTo>
                    <a:pt x="281" y="193"/>
                  </a:lnTo>
                  <a:lnTo>
                    <a:pt x="288" y="269"/>
                  </a:lnTo>
                  <a:lnTo>
                    <a:pt x="261" y="301"/>
                  </a:lnTo>
                  <a:lnTo>
                    <a:pt x="272" y="324"/>
                  </a:lnTo>
                  <a:lnTo>
                    <a:pt x="272" y="380"/>
                  </a:lnTo>
                  <a:lnTo>
                    <a:pt x="299" y="380"/>
                  </a:lnTo>
                  <a:lnTo>
                    <a:pt x="340" y="421"/>
                  </a:lnTo>
                  <a:lnTo>
                    <a:pt x="356" y="471"/>
                  </a:lnTo>
                  <a:lnTo>
                    <a:pt x="73" y="485"/>
                  </a:lnTo>
                  <a:lnTo>
                    <a:pt x="74" y="351"/>
                  </a:lnTo>
                  <a:lnTo>
                    <a:pt x="49" y="321"/>
                  </a:lnTo>
                  <a:lnTo>
                    <a:pt x="58" y="286"/>
                  </a:lnTo>
                  <a:lnTo>
                    <a:pt x="66" y="266"/>
                  </a:lnTo>
                  <a:lnTo>
                    <a:pt x="49" y="173"/>
                  </a:lnTo>
                  <a:lnTo>
                    <a:pt x="25" y="112"/>
                  </a:lnTo>
                  <a:lnTo>
                    <a:pt x="0" y="38"/>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22" name="Freeform 121"/>
            <p:cNvSpPr>
              <a:spLocks/>
            </p:cNvSpPr>
            <p:nvPr/>
          </p:nvSpPr>
          <p:spPr bwMode="gray">
            <a:xfrm>
              <a:off x="5401395" y="2435225"/>
              <a:ext cx="627688" cy="728663"/>
            </a:xfrm>
            <a:custGeom>
              <a:avLst/>
              <a:gdLst>
                <a:gd name="T0" fmla="*/ 30 w 304"/>
                <a:gd name="T1" fmla="*/ 26 h 382"/>
                <a:gd name="T2" fmla="*/ 62 w 304"/>
                <a:gd name="T3" fmla="*/ 23 h 382"/>
                <a:gd name="T4" fmla="*/ 89 w 304"/>
                <a:gd name="T5" fmla="*/ 23 h 382"/>
                <a:gd name="T6" fmla="*/ 108 w 304"/>
                <a:gd name="T7" fmla="*/ 0 h 382"/>
                <a:gd name="T8" fmla="*/ 120 w 304"/>
                <a:gd name="T9" fmla="*/ 28 h 382"/>
                <a:gd name="T10" fmla="*/ 167 w 304"/>
                <a:gd name="T11" fmla="*/ 28 h 382"/>
                <a:gd name="T12" fmla="*/ 189 w 304"/>
                <a:gd name="T13" fmla="*/ 54 h 382"/>
                <a:gd name="T14" fmla="*/ 237 w 304"/>
                <a:gd name="T15" fmla="*/ 47 h 382"/>
                <a:gd name="T16" fmla="*/ 268 w 304"/>
                <a:gd name="T17" fmla="*/ 64 h 382"/>
                <a:gd name="T18" fmla="*/ 327 w 304"/>
                <a:gd name="T19" fmla="*/ 75 h 382"/>
                <a:gd name="T20" fmla="*/ 338 w 304"/>
                <a:gd name="T21" fmla="*/ 95 h 382"/>
                <a:gd name="T22" fmla="*/ 368 w 304"/>
                <a:gd name="T23" fmla="*/ 97 h 382"/>
                <a:gd name="T24" fmla="*/ 357 w 304"/>
                <a:gd name="T25" fmla="*/ 117 h 382"/>
                <a:gd name="T26" fmla="*/ 369 w 304"/>
                <a:gd name="T27" fmla="*/ 139 h 382"/>
                <a:gd name="T28" fmla="*/ 351 w 304"/>
                <a:gd name="T29" fmla="*/ 167 h 382"/>
                <a:gd name="T30" fmla="*/ 365 w 304"/>
                <a:gd name="T31" fmla="*/ 173 h 382"/>
                <a:gd name="T32" fmla="*/ 397 w 304"/>
                <a:gd name="T33" fmla="*/ 142 h 382"/>
                <a:gd name="T34" fmla="*/ 396 w 304"/>
                <a:gd name="T35" fmla="*/ 132 h 382"/>
                <a:gd name="T36" fmla="*/ 407 w 304"/>
                <a:gd name="T37" fmla="*/ 127 h 382"/>
                <a:gd name="T38" fmla="*/ 417 w 304"/>
                <a:gd name="T39" fmla="*/ 142 h 382"/>
                <a:gd name="T40" fmla="*/ 390 w 304"/>
                <a:gd name="T41" fmla="*/ 164 h 382"/>
                <a:gd name="T42" fmla="*/ 382 w 304"/>
                <a:gd name="T43" fmla="*/ 212 h 382"/>
                <a:gd name="T44" fmla="*/ 382 w 304"/>
                <a:gd name="T45" fmla="*/ 293 h 382"/>
                <a:gd name="T46" fmla="*/ 397 w 304"/>
                <a:gd name="T47" fmla="*/ 307 h 382"/>
                <a:gd name="T48" fmla="*/ 389 w 304"/>
                <a:gd name="T49" fmla="*/ 358 h 382"/>
                <a:gd name="T50" fmla="*/ 194 w 304"/>
                <a:gd name="T51" fmla="*/ 382 h 382"/>
                <a:gd name="T52" fmla="*/ 143 w 304"/>
                <a:gd name="T53" fmla="*/ 359 h 382"/>
                <a:gd name="T54" fmla="*/ 153 w 304"/>
                <a:gd name="T55" fmla="*/ 328 h 382"/>
                <a:gd name="T56" fmla="*/ 129 w 304"/>
                <a:gd name="T57" fmla="*/ 295 h 382"/>
                <a:gd name="T58" fmla="*/ 108 w 304"/>
                <a:gd name="T59" fmla="*/ 254 h 382"/>
                <a:gd name="T60" fmla="*/ 52 w 304"/>
                <a:gd name="T61" fmla="*/ 213 h 382"/>
                <a:gd name="T62" fmla="*/ 17 w 304"/>
                <a:gd name="T63" fmla="*/ 213 h 382"/>
                <a:gd name="T64" fmla="*/ 17 w 304"/>
                <a:gd name="T65" fmla="*/ 157 h 382"/>
                <a:gd name="T66" fmla="*/ 0 w 304"/>
                <a:gd name="T67" fmla="*/ 135 h 382"/>
                <a:gd name="T68" fmla="*/ 38 w 304"/>
                <a:gd name="T69" fmla="*/ 102 h 382"/>
                <a:gd name="T70" fmla="*/ 30 w 304"/>
                <a:gd name="T71" fmla="*/ 26 h 3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04"/>
                <a:gd name="T109" fmla="*/ 0 h 382"/>
                <a:gd name="T110" fmla="*/ 304 w 304"/>
                <a:gd name="T111" fmla="*/ 382 h 3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04" h="382">
                  <a:moveTo>
                    <a:pt x="22" y="26"/>
                  </a:moveTo>
                  <a:lnTo>
                    <a:pt x="45" y="23"/>
                  </a:lnTo>
                  <a:lnTo>
                    <a:pt x="65" y="23"/>
                  </a:lnTo>
                  <a:lnTo>
                    <a:pt x="79" y="0"/>
                  </a:lnTo>
                  <a:lnTo>
                    <a:pt x="88" y="28"/>
                  </a:lnTo>
                  <a:lnTo>
                    <a:pt x="121" y="28"/>
                  </a:lnTo>
                  <a:lnTo>
                    <a:pt x="139" y="54"/>
                  </a:lnTo>
                  <a:lnTo>
                    <a:pt x="173" y="47"/>
                  </a:lnTo>
                  <a:lnTo>
                    <a:pt x="196" y="64"/>
                  </a:lnTo>
                  <a:lnTo>
                    <a:pt x="238" y="75"/>
                  </a:lnTo>
                  <a:lnTo>
                    <a:pt x="246" y="95"/>
                  </a:lnTo>
                  <a:lnTo>
                    <a:pt x="268" y="97"/>
                  </a:lnTo>
                  <a:lnTo>
                    <a:pt x="261" y="117"/>
                  </a:lnTo>
                  <a:lnTo>
                    <a:pt x="269" y="139"/>
                  </a:lnTo>
                  <a:lnTo>
                    <a:pt x="255" y="167"/>
                  </a:lnTo>
                  <a:lnTo>
                    <a:pt x="265" y="173"/>
                  </a:lnTo>
                  <a:lnTo>
                    <a:pt x="289" y="142"/>
                  </a:lnTo>
                  <a:lnTo>
                    <a:pt x="288" y="132"/>
                  </a:lnTo>
                  <a:lnTo>
                    <a:pt x="297" y="127"/>
                  </a:lnTo>
                  <a:lnTo>
                    <a:pt x="304" y="142"/>
                  </a:lnTo>
                  <a:lnTo>
                    <a:pt x="285" y="164"/>
                  </a:lnTo>
                  <a:lnTo>
                    <a:pt x="278" y="212"/>
                  </a:lnTo>
                  <a:lnTo>
                    <a:pt x="278" y="293"/>
                  </a:lnTo>
                  <a:lnTo>
                    <a:pt x="289" y="307"/>
                  </a:lnTo>
                  <a:lnTo>
                    <a:pt x="284" y="358"/>
                  </a:lnTo>
                  <a:lnTo>
                    <a:pt x="140" y="382"/>
                  </a:lnTo>
                  <a:lnTo>
                    <a:pt x="104" y="359"/>
                  </a:lnTo>
                  <a:lnTo>
                    <a:pt x="111" y="328"/>
                  </a:lnTo>
                  <a:lnTo>
                    <a:pt x="94" y="295"/>
                  </a:lnTo>
                  <a:lnTo>
                    <a:pt x="79" y="254"/>
                  </a:lnTo>
                  <a:lnTo>
                    <a:pt x="38" y="213"/>
                  </a:lnTo>
                  <a:lnTo>
                    <a:pt x="13" y="213"/>
                  </a:lnTo>
                  <a:lnTo>
                    <a:pt x="13" y="157"/>
                  </a:lnTo>
                  <a:lnTo>
                    <a:pt x="0" y="135"/>
                  </a:lnTo>
                  <a:lnTo>
                    <a:pt x="28" y="102"/>
                  </a:lnTo>
                  <a:lnTo>
                    <a:pt x="22" y="26"/>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23" name="Freeform 122"/>
            <p:cNvSpPr>
              <a:spLocks/>
            </p:cNvSpPr>
            <p:nvPr/>
          </p:nvSpPr>
          <p:spPr bwMode="gray">
            <a:xfrm>
              <a:off x="5647311" y="2333625"/>
              <a:ext cx="677559" cy="288925"/>
            </a:xfrm>
            <a:custGeom>
              <a:avLst/>
              <a:gdLst>
                <a:gd name="T0" fmla="*/ 0 w 327"/>
                <a:gd name="T1" fmla="*/ 84 h 152"/>
                <a:gd name="T2" fmla="*/ 101 w 327"/>
                <a:gd name="T3" fmla="*/ 0 h 152"/>
                <a:gd name="T4" fmla="*/ 84 w 327"/>
                <a:gd name="T5" fmla="*/ 34 h 152"/>
                <a:gd name="T6" fmla="*/ 98 w 327"/>
                <a:gd name="T7" fmla="*/ 45 h 152"/>
                <a:gd name="T8" fmla="*/ 129 w 327"/>
                <a:gd name="T9" fmla="*/ 31 h 152"/>
                <a:gd name="T10" fmla="*/ 198 w 327"/>
                <a:gd name="T11" fmla="*/ 52 h 152"/>
                <a:gd name="T12" fmla="*/ 229 w 327"/>
                <a:gd name="T13" fmla="*/ 34 h 152"/>
                <a:gd name="T14" fmla="*/ 325 w 327"/>
                <a:gd name="T15" fmla="*/ 25 h 152"/>
                <a:gd name="T16" fmla="*/ 342 w 327"/>
                <a:gd name="T17" fmla="*/ 46 h 152"/>
                <a:gd name="T18" fmla="*/ 377 w 327"/>
                <a:gd name="T19" fmla="*/ 41 h 152"/>
                <a:gd name="T20" fmla="*/ 451 w 327"/>
                <a:gd name="T21" fmla="*/ 64 h 152"/>
                <a:gd name="T22" fmla="*/ 454 w 327"/>
                <a:gd name="T23" fmla="*/ 80 h 152"/>
                <a:gd name="T24" fmla="*/ 376 w 327"/>
                <a:gd name="T25" fmla="*/ 94 h 152"/>
                <a:gd name="T26" fmla="*/ 355 w 327"/>
                <a:gd name="T27" fmla="*/ 84 h 152"/>
                <a:gd name="T28" fmla="*/ 315 w 327"/>
                <a:gd name="T29" fmla="*/ 87 h 152"/>
                <a:gd name="T30" fmla="*/ 270 w 327"/>
                <a:gd name="T31" fmla="*/ 108 h 152"/>
                <a:gd name="T32" fmla="*/ 248 w 327"/>
                <a:gd name="T33" fmla="*/ 109 h 152"/>
                <a:gd name="T34" fmla="*/ 230 w 327"/>
                <a:gd name="T35" fmla="*/ 94 h 152"/>
                <a:gd name="T36" fmla="*/ 206 w 327"/>
                <a:gd name="T37" fmla="*/ 151 h 152"/>
                <a:gd name="T38" fmla="*/ 177 w 327"/>
                <a:gd name="T39" fmla="*/ 152 h 152"/>
                <a:gd name="T40" fmla="*/ 164 w 327"/>
                <a:gd name="T41" fmla="*/ 129 h 152"/>
                <a:gd name="T42" fmla="*/ 102 w 327"/>
                <a:gd name="T43" fmla="*/ 119 h 152"/>
                <a:gd name="T44" fmla="*/ 75 w 327"/>
                <a:gd name="T45" fmla="*/ 102 h 152"/>
                <a:gd name="T46" fmla="*/ 26 w 327"/>
                <a:gd name="T47" fmla="*/ 108 h 152"/>
                <a:gd name="T48" fmla="*/ 0 w 327"/>
                <a:gd name="T49" fmla="*/ 84 h 1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27"/>
                <a:gd name="T76" fmla="*/ 0 h 152"/>
                <a:gd name="T77" fmla="*/ 327 w 327"/>
                <a:gd name="T78" fmla="*/ 152 h 1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27" h="152">
                  <a:moveTo>
                    <a:pt x="0" y="84"/>
                  </a:moveTo>
                  <a:lnTo>
                    <a:pt x="73" y="0"/>
                  </a:lnTo>
                  <a:lnTo>
                    <a:pt x="60" y="34"/>
                  </a:lnTo>
                  <a:lnTo>
                    <a:pt x="70" y="45"/>
                  </a:lnTo>
                  <a:lnTo>
                    <a:pt x="93" y="31"/>
                  </a:lnTo>
                  <a:lnTo>
                    <a:pt x="143" y="52"/>
                  </a:lnTo>
                  <a:lnTo>
                    <a:pt x="165" y="34"/>
                  </a:lnTo>
                  <a:lnTo>
                    <a:pt x="233" y="25"/>
                  </a:lnTo>
                  <a:lnTo>
                    <a:pt x="246" y="46"/>
                  </a:lnTo>
                  <a:lnTo>
                    <a:pt x="272" y="41"/>
                  </a:lnTo>
                  <a:lnTo>
                    <a:pt x="324" y="64"/>
                  </a:lnTo>
                  <a:lnTo>
                    <a:pt x="327" y="80"/>
                  </a:lnTo>
                  <a:lnTo>
                    <a:pt x="271" y="94"/>
                  </a:lnTo>
                  <a:lnTo>
                    <a:pt x="255" y="84"/>
                  </a:lnTo>
                  <a:lnTo>
                    <a:pt x="227" y="87"/>
                  </a:lnTo>
                  <a:lnTo>
                    <a:pt x="194" y="108"/>
                  </a:lnTo>
                  <a:lnTo>
                    <a:pt x="178" y="109"/>
                  </a:lnTo>
                  <a:lnTo>
                    <a:pt x="166" y="94"/>
                  </a:lnTo>
                  <a:lnTo>
                    <a:pt x="148" y="151"/>
                  </a:lnTo>
                  <a:lnTo>
                    <a:pt x="127" y="152"/>
                  </a:lnTo>
                  <a:lnTo>
                    <a:pt x="118" y="129"/>
                  </a:lnTo>
                  <a:lnTo>
                    <a:pt x="74" y="119"/>
                  </a:lnTo>
                  <a:lnTo>
                    <a:pt x="54" y="102"/>
                  </a:lnTo>
                  <a:lnTo>
                    <a:pt x="18" y="108"/>
                  </a:lnTo>
                  <a:lnTo>
                    <a:pt x="0" y="84"/>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24" name="Freeform 123"/>
            <p:cNvSpPr>
              <a:spLocks/>
            </p:cNvSpPr>
            <p:nvPr/>
          </p:nvSpPr>
          <p:spPr bwMode="gray">
            <a:xfrm>
              <a:off x="6096152" y="2536825"/>
              <a:ext cx="481514" cy="649288"/>
            </a:xfrm>
            <a:custGeom>
              <a:avLst/>
              <a:gdLst>
                <a:gd name="T0" fmla="*/ 81 w 234"/>
                <a:gd name="T1" fmla="*/ 14 h 341"/>
                <a:gd name="T2" fmla="*/ 91 w 234"/>
                <a:gd name="T3" fmla="*/ 35 h 341"/>
                <a:gd name="T4" fmla="*/ 69 w 234"/>
                <a:gd name="T5" fmla="*/ 48 h 341"/>
                <a:gd name="T6" fmla="*/ 68 w 234"/>
                <a:gd name="T7" fmla="*/ 102 h 341"/>
                <a:gd name="T8" fmla="*/ 56 w 234"/>
                <a:gd name="T9" fmla="*/ 67 h 341"/>
                <a:gd name="T10" fmla="*/ 11 w 234"/>
                <a:gd name="T11" fmla="*/ 101 h 341"/>
                <a:gd name="T12" fmla="*/ 0 w 234"/>
                <a:gd name="T13" fmla="*/ 199 h 341"/>
                <a:gd name="T14" fmla="*/ 29 w 234"/>
                <a:gd name="T15" fmla="*/ 247 h 341"/>
                <a:gd name="T16" fmla="*/ 32 w 234"/>
                <a:gd name="T17" fmla="*/ 272 h 341"/>
                <a:gd name="T18" fmla="*/ 34 w 234"/>
                <a:gd name="T19" fmla="*/ 292 h 341"/>
                <a:gd name="T20" fmla="*/ 32 w 234"/>
                <a:gd name="T21" fmla="*/ 309 h 341"/>
                <a:gd name="T22" fmla="*/ 27 w 234"/>
                <a:gd name="T23" fmla="*/ 341 h 341"/>
                <a:gd name="T24" fmla="*/ 152 w 234"/>
                <a:gd name="T25" fmla="*/ 335 h 341"/>
                <a:gd name="T26" fmla="*/ 318 w 234"/>
                <a:gd name="T27" fmla="*/ 323 h 341"/>
                <a:gd name="T28" fmla="*/ 289 w 234"/>
                <a:gd name="T29" fmla="*/ 316 h 341"/>
                <a:gd name="T30" fmla="*/ 271 w 234"/>
                <a:gd name="T31" fmla="*/ 299 h 341"/>
                <a:gd name="T32" fmla="*/ 297 w 234"/>
                <a:gd name="T33" fmla="*/ 283 h 341"/>
                <a:gd name="T34" fmla="*/ 297 w 234"/>
                <a:gd name="T35" fmla="*/ 265 h 341"/>
                <a:gd name="T36" fmla="*/ 284 w 234"/>
                <a:gd name="T37" fmla="*/ 248 h 341"/>
                <a:gd name="T38" fmla="*/ 297 w 234"/>
                <a:gd name="T39" fmla="*/ 236 h 341"/>
                <a:gd name="T40" fmla="*/ 320 w 234"/>
                <a:gd name="T41" fmla="*/ 238 h 341"/>
                <a:gd name="T42" fmla="*/ 315 w 234"/>
                <a:gd name="T43" fmla="*/ 191 h 341"/>
                <a:gd name="T44" fmla="*/ 308 w 234"/>
                <a:gd name="T45" fmla="*/ 162 h 341"/>
                <a:gd name="T46" fmla="*/ 296 w 234"/>
                <a:gd name="T47" fmla="*/ 145 h 341"/>
                <a:gd name="T48" fmla="*/ 282 w 234"/>
                <a:gd name="T49" fmla="*/ 134 h 341"/>
                <a:gd name="T50" fmla="*/ 262 w 234"/>
                <a:gd name="T51" fmla="*/ 131 h 341"/>
                <a:gd name="T52" fmla="*/ 242 w 234"/>
                <a:gd name="T53" fmla="*/ 131 h 341"/>
                <a:gd name="T54" fmla="*/ 219 w 234"/>
                <a:gd name="T55" fmla="*/ 153 h 341"/>
                <a:gd name="T56" fmla="*/ 207 w 234"/>
                <a:gd name="T57" fmla="*/ 160 h 341"/>
                <a:gd name="T58" fmla="*/ 199 w 234"/>
                <a:gd name="T59" fmla="*/ 162 h 341"/>
                <a:gd name="T60" fmla="*/ 187 w 234"/>
                <a:gd name="T61" fmla="*/ 159 h 341"/>
                <a:gd name="T62" fmla="*/ 185 w 234"/>
                <a:gd name="T63" fmla="*/ 148 h 341"/>
                <a:gd name="T64" fmla="*/ 187 w 234"/>
                <a:gd name="T65" fmla="*/ 141 h 341"/>
                <a:gd name="T66" fmla="*/ 198 w 234"/>
                <a:gd name="T67" fmla="*/ 134 h 341"/>
                <a:gd name="T68" fmla="*/ 205 w 234"/>
                <a:gd name="T69" fmla="*/ 131 h 341"/>
                <a:gd name="T70" fmla="*/ 215 w 234"/>
                <a:gd name="T71" fmla="*/ 129 h 341"/>
                <a:gd name="T72" fmla="*/ 215 w 234"/>
                <a:gd name="T73" fmla="*/ 117 h 341"/>
                <a:gd name="T74" fmla="*/ 239 w 234"/>
                <a:gd name="T75" fmla="*/ 102 h 341"/>
                <a:gd name="T76" fmla="*/ 215 w 234"/>
                <a:gd name="T77" fmla="*/ 58 h 341"/>
                <a:gd name="T78" fmla="*/ 215 w 234"/>
                <a:gd name="T79" fmla="*/ 37 h 341"/>
                <a:gd name="T80" fmla="*/ 174 w 234"/>
                <a:gd name="T81" fmla="*/ 28 h 341"/>
                <a:gd name="T82" fmla="*/ 116 w 234"/>
                <a:gd name="T83" fmla="*/ 0 h 341"/>
                <a:gd name="T84" fmla="*/ 81 w 234"/>
                <a:gd name="T85" fmla="*/ 14 h 34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34"/>
                <a:gd name="T130" fmla="*/ 0 h 341"/>
                <a:gd name="T131" fmla="*/ 234 w 234"/>
                <a:gd name="T132" fmla="*/ 341 h 34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34" h="341">
                  <a:moveTo>
                    <a:pt x="59" y="14"/>
                  </a:moveTo>
                  <a:lnTo>
                    <a:pt x="67" y="35"/>
                  </a:lnTo>
                  <a:lnTo>
                    <a:pt x="51" y="48"/>
                  </a:lnTo>
                  <a:lnTo>
                    <a:pt x="50" y="102"/>
                  </a:lnTo>
                  <a:lnTo>
                    <a:pt x="41" y="67"/>
                  </a:lnTo>
                  <a:lnTo>
                    <a:pt x="7" y="101"/>
                  </a:lnTo>
                  <a:lnTo>
                    <a:pt x="0" y="199"/>
                  </a:lnTo>
                  <a:lnTo>
                    <a:pt x="21" y="247"/>
                  </a:lnTo>
                  <a:lnTo>
                    <a:pt x="24" y="272"/>
                  </a:lnTo>
                  <a:lnTo>
                    <a:pt x="25" y="292"/>
                  </a:lnTo>
                  <a:lnTo>
                    <a:pt x="24" y="309"/>
                  </a:lnTo>
                  <a:lnTo>
                    <a:pt x="19" y="341"/>
                  </a:lnTo>
                  <a:lnTo>
                    <a:pt x="111" y="335"/>
                  </a:lnTo>
                  <a:lnTo>
                    <a:pt x="233" y="323"/>
                  </a:lnTo>
                  <a:lnTo>
                    <a:pt x="211" y="316"/>
                  </a:lnTo>
                  <a:lnTo>
                    <a:pt x="199" y="299"/>
                  </a:lnTo>
                  <a:lnTo>
                    <a:pt x="217" y="283"/>
                  </a:lnTo>
                  <a:lnTo>
                    <a:pt x="217" y="265"/>
                  </a:lnTo>
                  <a:lnTo>
                    <a:pt x="208" y="248"/>
                  </a:lnTo>
                  <a:lnTo>
                    <a:pt x="217" y="236"/>
                  </a:lnTo>
                  <a:lnTo>
                    <a:pt x="234" y="238"/>
                  </a:lnTo>
                  <a:lnTo>
                    <a:pt x="230" y="191"/>
                  </a:lnTo>
                  <a:lnTo>
                    <a:pt x="226" y="162"/>
                  </a:lnTo>
                  <a:lnTo>
                    <a:pt x="216" y="145"/>
                  </a:lnTo>
                  <a:lnTo>
                    <a:pt x="206" y="134"/>
                  </a:lnTo>
                  <a:lnTo>
                    <a:pt x="191" y="131"/>
                  </a:lnTo>
                  <a:lnTo>
                    <a:pt x="177" y="131"/>
                  </a:lnTo>
                  <a:lnTo>
                    <a:pt x="161" y="153"/>
                  </a:lnTo>
                  <a:lnTo>
                    <a:pt x="152" y="160"/>
                  </a:lnTo>
                  <a:lnTo>
                    <a:pt x="145" y="162"/>
                  </a:lnTo>
                  <a:lnTo>
                    <a:pt x="137" y="159"/>
                  </a:lnTo>
                  <a:lnTo>
                    <a:pt x="135" y="148"/>
                  </a:lnTo>
                  <a:lnTo>
                    <a:pt x="137" y="141"/>
                  </a:lnTo>
                  <a:lnTo>
                    <a:pt x="144" y="134"/>
                  </a:lnTo>
                  <a:lnTo>
                    <a:pt x="151" y="131"/>
                  </a:lnTo>
                  <a:lnTo>
                    <a:pt x="157" y="129"/>
                  </a:lnTo>
                  <a:lnTo>
                    <a:pt x="157" y="117"/>
                  </a:lnTo>
                  <a:lnTo>
                    <a:pt x="175" y="102"/>
                  </a:lnTo>
                  <a:lnTo>
                    <a:pt x="157" y="58"/>
                  </a:lnTo>
                  <a:lnTo>
                    <a:pt x="157" y="37"/>
                  </a:lnTo>
                  <a:lnTo>
                    <a:pt x="128" y="28"/>
                  </a:lnTo>
                  <a:lnTo>
                    <a:pt x="85" y="0"/>
                  </a:lnTo>
                  <a:lnTo>
                    <a:pt x="59" y="14"/>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25" name="Freeform 124"/>
            <p:cNvSpPr>
              <a:spLocks/>
            </p:cNvSpPr>
            <p:nvPr/>
          </p:nvSpPr>
          <p:spPr bwMode="gray">
            <a:xfrm>
              <a:off x="6710082" y="4090988"/>
              <a:ext cx="619090" cy="485775"/>
            </a:xfrm>
            <a:custGeom>
              <a:avLst/>
              <a:gdLst>
                <a:gd name="T0" fmla="*/ 15 w 300"/>
                <a:gd name="T1" fmla="*/ 46 h 255"/>
                <a:gd name="T2" fmla="*/ 48 w 300"/>
                <a:gd name="T3" fmla="*/ 21 h 255"/>
                <a:gd name="T4" fmla="*/ 171 w 300"/>
                <a:gd name="T5" fmla="*/ 0 h 255"/>
                <a:gd name="T6" fmla="*/ 210 w 300"/>
                <a:gd name="T7" fmla="*/ 14 h 255"/>
                <a:gd name="T8" fmla="*/ 288 w 300"/>
                <a:gd name="T9" fmla="*/ 4 h 255"/>
                <a:gd name="T10" fmla="*/ 353 w 300"/>
                <a:gd name="T11" fmla="*/ 40 h 255"/>
                <a:gd name="T12" fmla="*/ 413 w 300"/>
                <a:gd name="T13" fmla="*/ 68 h 255"/>
                <a:gd name="T14" fmla="*/ 380 w 300"/>
                <a:gd name="T15" fmla="*/ 145 h 255"/>
                <a:gd name="T16" fmla="*/ 331 w 300"/>
                <a:gd name="T17" fmla="*/ 183 h 255"/>
                <a:gd name="T18" fmla="*/ 276 w 300"/>
                <a:gd name="T19" fmla="*/ 195 h 255"/>
                <a:gd name="T20" fmla="*/ 286 w 300"/>
                <a:gd name="T21" fmla="*/ 226 h 255"/>
                <a:gd name="T22" fmla="*/ 253 w 300"/>
                <a:gd name="T23" fmla="*/ 255 h 255"/>
                <a:gd name="T24" fmla="*/ 192 w 300"/>
                <a:gd name="T25" fmla="*/ 183 h 255"/>
                <a:gd name="T26" fmla="*/ 28 w 300"/>
                <a:gd name="T27" fmla="*/ 68 h 255"/>
                <a:gd name="T28" fmla="*/ 0 w 300"/>
                <a:gd name="T29" fmla="*/ 68 h 255"/>
                <a:gd name="T30" fmla="*/ 15 w 300"/>
                <a:gd name="T31" fmla="*/ 46 h 2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0"/>
                <a:gd name="T49" fmla="*/ 0 h 255"/>
                <a:gd name="T50" fmla="*/ 300 w 300"/>
                <a:gd name="T51" fmla="*/ 255 h 2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0" h="255">
                  <a:moveTo>
                    <a:pt x="11" y="46"/>
                  </a:moveTo>
                  <a:lnTo>
                    <a:pt x="35" y="21"/>
                  </a:lnTo>
                  <a:lnTo>
                    <a:pt x="125" y="0"/>
                  </a:lnTo>
                  <a:lnTo>
                    <a:pt x="152" y="14"/>
                  </a:lnTo>
                  <a:lnTo>
                    <a:pt x="210" y="4"/>
                  </a:lnTo>
                  <a:lnTo>
                    <a:pt x="257" y="40"/>
                  </a:lnTo>
                  <a:lnTo>
                    <a:pt x="300" y="68"/>
                  </a:lnTo>
                  <a:lnTo>
                    <a:pt x="276" y="145"/>
                  </a:lnTo>
                  <a:lnTo>
                    <a:pt x="240" y="183"/>
                  </a:lnTo>
                  <a:lnTo>
                    <a:pt x="200" y="195"/>
                  </a:lnTo>
                  <a:lnTo>
                    <a:pt x="208" y="226"/>
                  </a:lnTo>
                  <a:lnTo>
                    <a:pt x="184" y="255"/>
                  </a:lnTo>
                  <a:lnTo>
                    <a:pt x="138" y="183"/>
                  </a:lnTo>
                  <a:lnTo>
                    <a:pt x="20" y="68"/>
                  </a:lnTo>
                  <a:lnTo>
                    <a:pt x="0" y="68"/>
                  </a:lnTo>
                  <a:lnTo>
                    <a:pt x="11" y="46"/>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26" name="Freeform 125"/>
            <p:cNvSpPr>
              <a:spLocks/>
            </p:cNvSpPr>
            <p:nvPr/>
          </p:nvSpPr>
          <p:spPr bwMode="gray">
            <a:xfrm>
              <a:off x="6630976" y="3375025"/>
              <a:ext cx="932074" cy="576263"/>
            </a:xfrm>
            <a:custGeom>
              <a:avLst/>
              <a:gdLst>
                <a:gd name="T0" fmla="*/ 102 w 452"/>
                <a:gd name="T1" fmla="*/ 211 h 302"/>
                <a:gd name="T2" fmla="*/ 83 w 452"/>
                <a:gd name="T3" fmla="*/ 242 h 302"/>
                <a:gd name="T4" fmla="*/ 57 w 452"/>
                <a:gd name="T5" fmla="*/ 250 h 302"/>
                <a:gd name="T6" fmla="*/ 56 w 452"/>
                <a:gd name="T7" fmla="*/ 270 h 302"/>
                <a:gd name="T8" fmla="*/ 2 w 452"/>
                <a:gd name="T9" fmla="*/ 286 h 302"/>
                <a:gd name="T10" fmla="*/ 0 w 452"/>
                <a:gd name="T11" fmla="*/ 302 h 302"/>
                <a:gd name="T12" fmla="*/ 146 w 452"/>
                <a:gd name="T13" fmla="*/ 282 h 302"/>
                <a:gd name="T14" fmla="*/ 414 w 452"/>
                <a:gd name="T15" fmla="*/ 238 h 302"/>
                <a:gd name="T16" fmla="*/ 619 w 452"/>
                <a:gd name="T17" fmla="*/ 200 h 302"/>
                <a:gd name="T18" fmla="*/ 619 w 452"/>
                <a:gd name="T19" fmla="*/ 169 h 302"/>
                <a:gd name="T20" fmla="*/ 597 w 452"/>
                <a:gd name="T21" fmla="*/ 160 h 302"/>
                <a:gd name="T22" fmla="*/ 578 w 452"/>
                <a:gd name="T23" fmla="*/ 175 h 302"/>
                <a:gd name="T24" fmla="*/ 568 w 452"/>
                <a:gd name="T25" fmla="*/ 134 h 302"/>
                <a:gd name="T26" fmla="*/ 578 w 452"/>
                <a:gd name="T27" fmla="*/ 97 h 302"/>
                <a:gd name="T28" fmla="*/ 501 w 452"/>
                <a:gd name="T29" fmla="*/ 70 h 302"/>
                <a:gd name="T30" fmla="*/ 449 w 452"/>
                <a:gd name="T31" fmla="*/ 77 h 302"/>
                <a:gd name="T32" fmla="*/ 448 w 452"/>
                <a:gd name="T33" fmla="*/ 21 h 302"/>
                <a:gd name="T34" fmla="*/ 396 w 452"/>
                <a:gd name="T35" fmla="*/ 0 h 302"/>
                <a:gd name="T36" fmla="*/ 354 w 452"/>
                <a:gd name="T37" fmla="*/ 13 h 302"/>
                <a:gd name="T38" fmla="*/ 326 w 452"/>
                <a:gd name="T39" fmla="*/ 66 h 302"/>
                <a:gd name="T40" fmla="*/ 278 w 452"/>
                <a:gd name="T41" fmla="*/ 87 h 302"/>
                <a:gd name="T42" fmla="*/ 259 w 452"/>
                <a:gd name="T43" fmla="*/ 170 h 302"/>
                <a:gd name="T44" fmla="*/ 182 w 452"/>
                <a:gd name="T45" fmla="*/ 211 h 302"/>
                <a:gd name="T46" fmla="*/ 118 w 452"/>
                <a:gd name="T47" fmla="*/ 228 h 302"/>
                <a:gd name="T48" fmla="*/ 102 w 452"/>
                <a:gd name="T49" fmla="*/ 211 h 30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52"/>
                <a:gd name="T76" fmla="*/ 0 h 302"/>
                <a:gd name="T77" fmla="*/ 452 w 452"/>
                <a:gd name="T78" fmla="*/ 302 h 30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52" h="302">
                  <a:moveTo>
                    <a:pt x="74" y="211"/>
                  </a:moveTo>
                  <a:lnTo>
                    <a:pt x="61" y="242"/>
                  </a:lnTo>
                  <a:lnTo>
                    <a:pt x="42" y="250"/>
                  </a:lnTo>
                  <a:lnTo>
                    <a:pt x="41" y="270"/>
                  </a:lnTo>
                  <a:lnTo>
                    <a:pt x="2" y="286"/>
                  </a:lnTo>
                  <a:lnTo>
                    <a:pt x="0" y="302"/>
                  </a:lnTo>
                  <a:lnTo>
                    <a:pt x="107" y="282"/>
                  </a:lnTo>
                  <a:lnTo>
                    <a:pt x="302" y="238"/>
                  </a:lnTo>
                  <a:lnTo>
                    <a:pt x="452" y="200"/>
                  </a:lnTo>
                  <a:lnTo>
                    <a:pt x="452" y="169"/>
                  </a:lnTo>
                  <a:lnTo>
                    <a:pt x="435" y="160"/>
                  </a:lnTo>
                  <a:lnTo>
                    <a:pt x="422" y="175"/>
                  </a:lnTo>
                  <a:lnTo>
                    <a:pt x="414" y="134"/>
                  </a:lnTo>
                  <a:lnTo>
                    <a:pt x="422" y="97"/>
                  </a:lnTo>
                  <a:lnTo>
                    <a:pt x="366" y="70"/>
                  </a:lnTo>
                  <a:lnTo>
                    <a:pt x="328" y="77"/>
                  </a:lnTo>
                  <a:lnTo>
                    <a:pt x="327" y="21"/>
                  </a:lnTo>
                  <a:lnTo>
                    <a:pt x="288" y="0"/>
                  </a:lnTo>
                  <a:lnTo>
                    <a:pt x="258" y="13"/>
                  </a:lnTo>
                  <a:lnTo>
                    <a:pt x="238" y="66"/>
                  </a:lnTo>
                  <a:lnTo>
                    <a:pt x="203" y="87"/>
                  </a:lnTo>
                  <a:lnTo>
                    <a:pt x="189" y="170"/>
                  </a:lnTo>
                  <a:lnTo>
                    <a:pt x="132" y="211"/>
                  </a:lnTo>
                  <a:lnTo>
                    <a:pt x="86" y="228"/>
                  </a:lnTo>
                  <a:lnTo>
                    <a:pt x="74" y="211"/>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27" name="Freeform 126"/>
            <p:cNvSpPr>
              <a:spLocks/>
            </p:cNvSpPr>
            <p:nvPr/>
          </p:nvSpPr>
          <p:spPr bwMode="gray">
            <a:xfrm>
              <a:off x="6813264" y="2908300"/>
              <a:ext cx="715393" cy="466725"/>
            </a:xfrm>
            <a:custGeom>
              <a:avLst/>
              <a:gdLst>
                <a:gd name="T0" fmla="*/ 44 w 347"/>
                <a:gd name="T1" fmla="*/ 36 h 245"/>
                <a:gd name="T2" fmla="*/ 0 w 347"/>
                <a:gd name="T3" fmla="*/ 68 h 245"/>
                <a:gd name="T4" fmla="*/ 26 w 347"/>
                <a:gd name="T5" fmla="*/ 187 h 245"/>
                <a:gd name="T6" fmla="*/ 44 w 347"/>
                <a:gd name="T7" fmla="*/ 245 h 245"/>
                <a:gd name="T8" fmla="*/ 126 w 347"/>
                <a:gd name="T9" fmla="*/ 240 h 245"/>
                <a:gd name="T10" fmla="*/ 427 w 347"/>
                <a:gd name="T11" fmla="*/ 195 h 245"/>
                <a:gd name="T12" fmla="*/ 448 w 347"/>
                <a:gd name="T13" fmla="*/ 188 h 245"/>
                <a:gd name="T14" fmla="*/ 478 w 347"/>
                <a:gd name="T15" fmla="*/ 133 h 245"/>
                <a:gd name="T16" fmla="*/ 432 w 347"/>
                <a:gd name="T17" fmla="*/ 103 h 245"/>
                <a:gd name="T18" fmla="*/ 458 w 347"/>
                <a:gd name="T19" fmla="*/ 32 h 245"/>
                <a:gd name="T20" fmla="*/ 424 w 347"/>
                <a:gd name="T21" fmla="*/ 25 h 245"/>
                <a:gd name="T22" fmla="*/ 424 w 347"/>
                <a:gd name="T23" fmla="*/ 7 h 245"/>
                <a:gd name="T24" fmla="*/ 409 w 347"/>
                <a:gd name="T25" fmla="*/ 0 h 245"/>
                <a:gd name="T26" fmla="*/ 59 w 347"/>
                <a:gd name="T27" fmla="*/ 51 h 245"/>
                <a:gd name="T28" fmla="*/ 44 w 347"/>
                <a:gd name="T29" fmla="*/ 36 h 24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7"/>
                <a:gd name="T46" fmla="*/ 0 h 245"/>
                <a:gd name="T47" fmla="*/ 347 w 347"/>
                <a:gd name="T48" fmla="*/ 245 h 24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7" h="245">
                  <a:moveTo>
                    <a:pt x="32" y="36"/>
                  </a:moveTo>
                  <a:lnTo>
                    <a:pt x="0" y="68"/>
                  </a:lnTo>
                  <a:lnTo>
                    <a:pt x="18" y="187"/>
                  </a:lnTo>
                  <a:lnTo>
                    <a:pt x="32" y="245"/>
                  </a:lnTo>
                  <a:lnTo>
                    <a:pt x="91" y="240"/>
                  </a:lnTo>
                  <a:lnTo>
                    <a:pt x="310" y="195"/>
                  </a:lnTo>
                  <a:lnTo>
                    <a:pt x="325" y="188"/>
                  </a:lnTo>
                  <a:lnTo>
                    <a:pt x="347" y="133"/>
                  </a:lnTo>
                  <a:lnTo>
                    <a:pt x="314" y="103"/>
                  </a:lnTo>
                  <a:lnTo>
                    <a:pt x="332" y="32"/>
                  </a:lnTo>
                  <a:lnTo>
                    <a:pt x="307" y="25"/>
                  </a:lnTo>
                  <a:lnTo>
                    <a:pt x="307" y="7"/>
                  </a:lnTo>
                  <a:lnTo>
                    <a:pt x="296" y="0"/>
                  </a:lnTo>
                  <a:lnTo>
                    <a:pt x="42" y="51"/>
                  </a:lnTo>
                  <a:lnTo>
                    <a:pt x="32" y="36"/>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28" name="Freeform 127"/>
            <p:cNvSpPr>
              <a:spLocks/>
            </p:cNvSpPr>
            <p:nvPr/>
          </p:nvSpPr>
          <p:spPr bwMode="gray">
            <a:xfrm>
              <a:off x="6990393" y="3279775"/>
              <a:ext cx="608772" cy="249238"/>
            </a:xfrm>
            <a:custGeom>
              <a:avLst/>
              <a:gdLst>
                <a:gd name="T0" fmla="*/ 0 w 295"/>
                <a:gd name="T1" fmla="*/ 45 h 131"/>
                <a:gd name="T2" fmla="*/ 305 w 295"/>
                <a:gd name="T3" fmla="*/ 0 h 131"/>
                <a:gd name="T4" fmla="*/ 356 w 295"/>
                <a:gd name="T5" fmla="*/ 90 h 131"/>
                <a:gd name="T6" fmla="*/ 407 w 295"/>
                <a:gd name="T7" fmla="*/ 80 h 131"/>
                <a:gd name="T8" fmla="*/ 408 w 295"/>
                <a:gd name="T9" fmla="*/ 125 h 131"/>
                <a:gd name="T10" fmla="*/ 364 w 295"/>
                <a:gd name="T11" fmla="*/ 131 h 131"/>
                <a:gd name="T12" fmla="*/ 329 w 295"/>
                <a:gd name="T13" fmla="*/ 102 h 131"/>
                <a:gd name="T14" fmla="*/ 305 w 295"/>
                <a:gd name="T15" fmla="*/ 66 h 131"/>
                <a:gd name="T16" fmla="*/ 299 w 295"/>
                <a:gd name="T17" fmla="*/ 17 h 131"/>
                <a:gd name="T18" fmla="*/ 281 w 295"/>
                <a:gd name="T19" fmla="*/ 42 h 131"/>
                <a:gd name="T20" fmla="*/ 304 w 295"/>
                <a:gd name="T21" fmla="*/ 116 h 131"/>
                <a:gd name="T22" fmla="*/ 213 w 295"/>
                <a:gd name="T23" fmla="*/ 126 h 131"/>
                <a:gd name="T24" fmla="*/ 210 w 295"/>
                <a:gd name="T25" fmla="*/ 72 h 131"/>
                <a:gd name="T26" fmla="*/ 154 w 295"/>
                <a:gd name="T27" fmla="*/ 49 h 131"/>
                <a:gd name="T28" fmla="*/ 110 w 295"/>
                <a:gd name="T29" fmla="*/ 43 h 131"/>
                <a:gd name="T30" fmla="*/ 12 w 295"/>
                <a:gd name="T31" fmla="*/ 80 h 131"/>
                <a:gd name="T32" fmla="*/ 0 w 295"/>
                <a:gd name="T33" fmla="*/ 45 h 13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95"/>
                <a:gd name="T52" fmla="*/ 0 h 131"/>
                <a:gd name="T53" fmla="*/ 295 w 295"/>
                <a:gd name="T54" fmla="*/ 131 h 13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95" h="131">
                  <a:moveTo>
                    <a:pt x="0" y="45"/>
                  </a:moveTo>
                  <a:lnTo>
                    <a:pt x="220" y="0"/>
                  </a:lnTo>
                  <a:lnTo>
                    <a:pt x="256" y="90"/>
                  </a:lnTo>
                  <a:lnTo>
                    <a:pt x="294" y="80"/>
                  </a:lnTo>
                  <a:lnTo>
                    <a:pt x="295" y="125"/>
                  </a:lnTo>
                  <a:lnTo>
                    <a:pt x="264" y="131"/>
                  </a:lnTo>
                  <a:lnTo>
                    <a:pt x="237" y="102"/>
                  </a:lnTo>
                  <a:lnTo>
                    <a:pt x="220" y="66"/>
                  </a:lnTo>
                  <a:lnTo>
                    <a:pt x="216" y="17"/>
                  </a:lnTo>
                  <a:lnTo>
                    <a:pt x="203" y="42"/>
                  </a:lnTo>
                  <a:lnTo>
                    <a:pt x="219" y="116"/>
                  </a:lnTo>
                  <a:lnTo>
                    <a:pt x="154" y="126"/>
                  </a:lnTo>
                  <a:lnTo>
                    <a:pt x="152" y="72"/>
                  </a:lnTo>
                  <a:lnTo>
                    <a:pt x="112" y="49"/>
                  </a:lnTo>
                  <a:lnTo>
                    <a:pt x="79" y="43"/>
                  </a:lnTo>
                  <a:lnTo>
                    <a:pt x="8" y="80"/>
                  </a:lnTo>
                  <a:lnTo>
                    <a:pt x="0" y="45"/>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29" name="Freeform 128"/>
            <p:cNvSpPr>
              <a:spLocks/>
            </p:cNvSpPr>
            <p:nvPr/>
          </p:nvSpPr>
          <p:spPr bwMode="gray">
            <a:xfrm>
              <a:off x="2912997" y="2052638"/>
              <a:ext cx="1251937" cy="776287"/>
            </a:xfrm>
            <a:custGeom>
              <a:avLst/>
              <a:gdLst>
                <a:gd name="T0" fmla="*/ 14 w 607"/>
                <a:gd name="T1" fmla="*/ 0 h 407"/>
                <a:gd name="T2" fmla="*/ 179 w 607"/>
                <a:gd name="T3" fmla="*/ 17 h 407"/>
                <a:gd name="T4" fmla="*/ 278 w 607"/>
                <a:gd name="T5" fmla="*/ 27 h 407"/>
                <a:gd name="T6" fmla="*/ 407 w 607"/>
                <a:gd name="T7" fmla="*/ 38 h 407"/>
                <a:gd name="T8" fmla="*/ 527 w 607"/>
                <a:gd name="T9" fmla="*/ 47 h 407"/>
                <a:gd name="T10" fmla="*/ 736 w 607"/>
                <a:gd name="T11" fmla="*/ 59 h 407"/>
                <a:gd name="T12" fmla="*/ 833 w 607"/>
                <a:gd name="T13" fmla="*/ 65 h 407"/>
                <a:gd name="T14" fmla="*/ 830 w 607"/>
                <a:gd name="T15" fmla="*/ 396 h 407"/>
                <a:gd name="T16" fmla="*/ 319 w 607"/>
                <a:gd name="T17" fmla="*/ 362 h 407"/>
                <a:gd name="T18" fmla="*/ 311 w 607"/>
                <a:gd name="T19" fmla="*/ 407 h 407"/>
                <a:gd name="T20" fmla="*/ 289 w 607"/>
                <a:gd name="T21" fmla="*/ 386 h 407"/>
                <a:gd name="T22" fmla="*/ 245 w 607"/>
                <a:gd name="T23" fmla="*/ 389 h 407"/>
                <a:gd name="T24" fmla="*/ 175 w 607"/>
                <a:gd name="T25" fmla="*/ 398 h 407"/>
                <a:gd name="T26" fmla="*/ 166 w 607"/>
                <a:gd name="T27" fmla="*/ 340 h 407"/>
                <a:gd name="T28" fmla="*/ 86 w 607"/>
                <a:gd name="T29" fmla="*/ 294 h 407"/>
                <a:gd name="T30" fmla="*/ 96 w 607"/>
                <a:gd name="T31" fmla="*/ 251 h 407"/>
                <a:gd name="T32" fmla="*/ 104 w 607"/>
                <a:gd name="T33" fmla="*/ 215 h 407"/>
                <a:gd name="T34" fmla="*/ 0 w 607"/>
                <a:gd name="T35" fmla="*/ 101 h 407"/>
                <a:gd name="T36" fmla="*/ 14 w 607"/>
                <a:gd name="T37" fmla="*/ 0 h 40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7"/>
                <a:gd name="T58" fmla="*/ 0 h 407"/>
                <a:gd name="T59" fmla="*/ 607 w 607"/>
                <a:gd name="T60" fmla="*/ 407 h 40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7" h="407">
                  <a:moveTo>
                    <a:pt x="10" y="0"/>
                  </a:moveTo>
                  <a:lnTo>
                    <a:pt x="129" y="17"/>
                  </a:lnTo>
                  <a:lnTo>
                    <a:pt x="202" y="27"/>
                  </a:lnTo>
                  <a:lnTo>
                    <a:pt x="297" y="38"/>
                  </a:lnTo>
                  <a:lnTo>
                    <a:pt x="384" y="47"/>
                  </a:lnTo>
                  <a:lnTo>
                    <a:pt x="536" y="59"/>
                  </a:lnTo>
                  <a:lnTo>
                    <a:pt x="607" y="65"/>
                  </a:lnTo>
                  <a:lnTo>
                    <a:pt x="605" y="396"/>
                  </a:lnTo>
                  <a:lnTo>
                    <a:pt x="233" y="362"/>
                  </a:lnTo>
                  <a:lnTo>
                    <a:pt x="226" y="407"/>
                  </a:lnTo>
                  <a:lnTo>
                    <a:pt x="211" y="386"/>
                  </a:lnTo>
                  <a:lnTo>
                    <a:pt x="178" y="389"/>
                  </a:lnTo>
                  <a:lnTo>
                    <a:pt x="128" y="398"/>
                  </a:lnTo>
                  <a:lnTo>
                    <a:pt x="120" y="340"/>
                  </a:lnTo>
                  <a:lnTo>
                    <a:pt x="62" y="294"/>
                  </a:lnTo>
                  <a:lnTo>
                    <a:pt x="70" y="251"/>
                  </a:lnTo>
                  <a:lnTo>
                    <a:pt x="76" y="215"/>
                  </a:lnTo>
                  <a:lnTo>
                    <a:pt x="0" y="101"/>
                  </a:lnTo>
                  <a:lnTo>
                    <a:pt x="10" y="0"/>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30" name="Freeform 129"/>
            <p:cNvSpPr>
              <a:spLocks/>
            </p:cNvSpPr>
            <p:nvPr/>
          </p:nvSpPr>
          <p:spPr bwMode="gray">
            <a:xfrm>
              <a:off x="5102169" y="3459163"/>
              <a:ext cx="832332" cy="679450"/>
            </a:xfrm>
            <a:custGeom>
              <a:avLst/>
              <a:gdLst>
                <a:gd name="T0" fmla="*/ 0 w 403"/>
                <a:gd name="T1" fmla="*/ 12 h 357"/>
                <a:gd name="T2" fmla="*/ 241 w 403"/>
                <a:gd name="T3" fmla="*/ 0 h 357"/>
                <a:gd name="T4" fmla="*/ 294 w 403"/>
                <a:gd name="T5" fmla="*/ 0 h 357"/>
                <a:gd name="T6" fmla="*/ 331 w 403"/>
                <a:gd name="T7" fmla="*/ 11 h 357"/>
                <a:gd name="T8" fmla="*/ 312 w 403"/>
                <a:gd name="T9" fmla="*/ 42 h 357"/>
                <a:gd name="T10" fmla="*/ 382 w 403"/>
                <a:gd name="T11" fmla="*/ 92 h 357"/>
                <a:gd name="T12" fmla="*/ 404 w 403"/>
                <a:gd name="T13" fmla="*/ 135 h 357"/>
                <a:gd name="T14" fmla="*/ 446 w 403"/>
                <a:gd name="T15" fmla="*/ 124 h 357"/>
                <a:gd name="T16" fmla="*/ 445 w 403"/>
                <a:gd name="T17" fmla="*/ 184 h 357"/>
                <a:gd name="T18" fmla="*/ 486 w 403"/>
                <a:gd name="T19" fmla="*/ 202 h 357"/>
                <a:gd name="T20" fmla="*/ 505 w 403"/>
                <a:gd name="T21" fmla="*/ 254 h 357"/>
                <a:gd name="T22" fmla="*/ 537 w 403"/>
                <a:gd name="T23" fmla="*/ 259 h 357"/>
                <a:gd name="T24" fmla="*/ 553 w 403"/>
                <a:gd name="T25" fmla="*/ 281 h 357"/>
                <a:gd name="T26" fmla="*/ 515 w 403"/>
                <a:gd name="T27" fmla="*/ 312 h 357"/>
                <a:gd name="T28" fmla="*/ 503 w 403"/>
                <a:gd name="T29" fmla="*/ 347 h 357"/>
                <a:gd name="T30" fmla="*/ 449 w 403"/>
                <a:gd name="T31" fmla="*/ 357 h 357"/>
                <a:gd name="T32" fmla="*/ 463 w 403"/>
                <a:gd name="T33" fmla="*/ 318 h 357"/>
                <a:gd name="T34" fmla="*/ 256 w 403"/>
                <a:gd name="T35" fmla="*/ 332 h 357"/>
                <a:gd name="T36" fmla="*/ 108 w 403"/>
                <a:gd name="T37" fmla="*/ 346 h 357"/>
                <a:gd name="T38" fmla="*/ 98 w 403"/>
                <a:gd name="T39" fmla="*/ 309 h 357"/>
                <a:gd name="T40" fmla="*/ 89 w 403"/>
                <a:gd name="T41" fmla="*/ 194 h 357"/>
                <a:gd name="T42" fmla="*/ 88 w 403"/>
                <a:gd name="T43" fmla="*/ 132 h 357"/>
                <a:gd name="T44" fmla="*/ 38 w 403"/>
                <a:gd name="T45" fmla="*/ 104 h 357"/>
                <a:gd name="T46" fmla="*/ 56 w 403"/>
                <a:gd name="T47" fmla="*/ 78 h 357"/>
                <a:gd name="T48" fmla="*/ 31 w 403"/>
                <a:gd name="T49" fmla="*/ 64 h 357"/>
                <a:gd name="T50" fmla="*/ 0 w 403"/>
                <a:gd name="T51" fmla="*/ 12 h 35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03"/>
                <a:gd name="T79" fmla="*/ 0 h 357"/>
                <a:gd name="T80" fmla="*/ 403 w 403"/>
                <a:gd name="T81" fmla="*/ 357 h 35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03" h="357">
                  <a:moveTo>
                    <a:pt x="0" y="12"/>
                  </a:moveTo>
                  <a:lnTo>
                    <a:pt x="176" y="0"/>
                  </a:lnTo>
                  <a:lnTo>
                    <a:pt x="214" y="0"/>
                  </a:lnTo>
                  <a:lnTo>
                    <a:pt x="242" y="11"/>
                  </a:lnTo>
                  <a:lnTo>
                    <a:pt x="227" y="42"/>
                  </a:lnTo>
                  <a:lnTo>
                    <a:pt x="278" y="92"/>
                  </a:lnTo>
                  <a:lnTo>
                    <a:pt x="295" y="135"/>
                  </a:lnTo>
                  <a:lnTo>
                    <a:pt x="325" y="124"/>
                  </a:lnTo>
                  <a:lnTo>
                    <a:pt x="324" y="184"/>
                  </a:lnTo>
                  <a:lnTo>
                    <a:pt x="355" y="202"/>
                  </a:lnTo>
                  <a:lnTo>
                    <a:pt x="369" y="254"/>
                  </a:lnTo>
                  <a:lnTo>
                    <a:pt x="391" y="259"/>
                  </a:lnTo>
                  <a:lnTo>
                    <a:pt x="403" y="281"/>
                  </a:lnTo>
                  <a:lnTo>
                    <a:pt x="376" y="312"/>
                  </a:lnTo>
                  <a:lnTo>
                    <a:pt x="367" y="347"/>
                  </a:lnTo>
                  <a:lnTo>
                    <a:pt x="328" y="357"/>
                  </a:lnTo>
                  <a:lnTo>
                    <a:pt x="338" y="318"/>
                  </a:lnTo>
                  <a:lnTo>
                    <a:pt x="187" y="332"/>
                  </a:lnTo>
                  <a:lnTo>
                    <a:pt x="79" y="346"/>
                  </a:lnTo>
                  <a:lnTo>
                    <a:pt x="72" y="309"/>
                  </a:lnTo>
                  <a:lnTo>
                    <a:pt x="65" y="194"/>
                  </a:lnTo>
                  <a:lnTo>
                    <a:pt x="64" y="132"/>
                  </a:lnTo>
                  <a:lnTo>
                    <a:pt x="28" y="104"/>
                  </a:lnTo>
                  <a:lnTo>
                    <a:pt x="41" y="78"/>
                  </a:lnTo>
                  <a:lnTo>
                    <a:pt x="23" y="64"/>
                  </a:lnTo>
                  <a:lnTo>
                    <a:pt x="0" y="12"/>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31" name="Freeform 130"/>
            <p:cNvSpPr>
              <a:spLocks/>
            </p:cNvSpPr>
            <p:nvPr/>
          </p:nvSpPr>
          <p:spPr bwMode="gray">
            <a:xfrm>
              <a:off x="6013606" y="3173413"/>
              <a:ext cx="405848" cy="663575"/>
            </a:xfrm>
            <a:custGeom>
              <a:avLst/>
              <a:gdLst>
                <a:gd name="T0" fmla="*/ 0 w 197"/>
                <a:gd name="T1" fmla="*/ 25 h 348"/>
                <a:gd name="T2" fmla="*/ 31 w 197"/>
                <a:gd name="T3" fmla="*/ 38 h 348"/>
                <a:gd name="T4" fmla="*/ 62 w 197"/>
                <a:gd name="T5" fmla="*/ 35 h 348"/>
                <a:gd name="T6" fmla="*/ 72 w 197"/>
                <a:gd name="T7" fmla="*/ 28 h 348"/>
                <a:gd name="T8" fmla="*/ 80 w 197"/>
                <a:gd name="T9" fmla="*/ 7 h 348"/>
                <a:gd name="T10" fmla="*/ 208 w 197"/>
                <a:gd name="T11" fmla="*/ 0 h 348"/>
                <a:gd name="T12" fmla="*/ 269 w 197"/>
                <a:gd name="T13" fmla="*/ 246 h 348"/>
                <a:gd name="T14" fmla="*/ 265 w 197"/>
                <a:gd name="T15" fmla="*/ 243 h 348"/>
                <a:gd name="T16" fmla="*/ 219 w 197"/>
                <a:gd name="T17" fmla="*/ 257 h 348"/>
                <a:gd name="T18" fmla="*/ 188 w 197"/>
                <a:gd name="T19" fmla="*/ 323 h 348"/>
                <a:gd name="T20" fmla="*/ 142 w 197"/>
                <a:gd name="T21" fmla="*/ 314 h 348"/>
                <a:gd name="T22" fmla="*/ 89 w 197"/>
                <a:gd name="T23" fmla="*/ 339 h 348"/>
                <a:gd name="T24" fmla="*/ 17 w 197"/>
                <a:gd name="T25" fmla="*/ 348 h 348"/>
                <a:gd name="T26" fmla="*/ 49 w 197"/>
                <a:gd name="T27" fmla="*/ 283 h 348"/>
                <a:gd name="T28" fmla="*/ 35 w 197"/>
                <a:gd name="T29" fmla="*/ 247 h 348"/>
                <a:gd name="T30" fmla="*/ 0 w 197"/>
                <a:gd name="T31" fmla="*/ 25 h 3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7"/>
                <a:gd name="T49" fmla="*/ 0 h 348"/>
                <a:gd name="T50" fmla="*/ 197 w 197"/>
                <a:gd name="T51" fmla="*/ 348 h 3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7" h="348">
                  <a:moveTo>
                    <a:pt x="0" y="25"/>
                  </a:moveTo>
                  <a:lnTo>
                    <a:pt x="23" y="38"/>
                  </a:lnTo>
                  <a:lnTo>
                    <a:pt x="45" y="35"/>
                  </a:lnTo>
                  <a:lnTo>
                    <a:pt x="53" y="28"/>
                  </a:lnTo>
                  <a:lnTo>
                    <a:pt x="58" y="7"/>
                  </a:lnTo>
                  <a:lnTo>
                    <a:pt x="153" y="0"/>
                  </a:lnTo>
                  <a:lnTo>
                    <a:pt x="197" y="246"/>
                  </a:lnTo>
                  <a:lnTo>
                    <a:pt x="194" y="243"/>
                  </a:lnTo>
                  <a:lnTo>
                    <a:pt x="161" y="257"/>
                  </a:lnTo>
                  <a:lnTo>
                    <a:pt x="138" y="323"/>
                  </a:lnTo>
                  <a:lnTo>
                    <a:pt x="104" y="314"/>
                  </a:lnTo>
                  <a:lnTo>
                    <a:pt x="65" y="339"/>
                  </a:lnTo>
                  <a:lnTo>
                    <a:pt x="13" y="348"/>
                  </a:lnTo>
                  <a:lnTo>
                    <a:pt x="36" y="283"/>
                  </a:lnTo>
                  <a:lnTo>
                    <a:pt x="26" y="247"/>
                  </a:lnTo>
                  <a:lnTo>
                    <a:pt x="0" y="25"/>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32" name="Freeform 131"/>
            <p:cNvSpPr>
              <a:spLocks/>
            </p:cNvSpPr>
            <p:nvPr/>
          </p:nvSpPr>
          <p:spPr bwMode="gray">
            <a:xfrm>
              <a:off x="6328310" y="3038475"/>
              <a:ext cx="522787" cy="598488"/>
            </a:xfrm>
            <a:custGeom>
              <a:avLst/>
              <a:gdLst>
                <a:gd name="T0" fmla="*/ 0 w 253"/>
                <a:gd name="T1" fmla="*/ 71 h 314"/>
                <a:gd name="T2" fmla="*/ 156 w 253"/>
                <a:gd name="T3" fmla="*/ 59 h 314"/>
                <a:gd name="T4" fmla="*/ 188 w 253"/>
                <a:gd name="T5" fmla="*/ 64 h 314"/>
                <a:gd name="T6" fmla="*/ 264 w 253"/>
                <a:gd name="T7" fmla="*/ 37 h 314"/>
                <a:gd name="T8" fmla="*/ 280 w 253"/>
                <a:gd name="T9" fmla="*/ 12 h 314"/>
                <a:gd name="T10" fmla="*/ 325 w 253"/>
                <a:gd name="T11" fmla="*/ 0 h 314"/>
                <a:gd name="T12" fmla="*/ 349 w 253"/>
                <a:gd name="T13" fmla="*/ 119 h 314"/>
                <a:gd name="T14" fmla="*/ 330 w 253"/>
                <a:gd name="T15" fmla="*/ 132 h 314"/>
                <a:gd name="T16" fmla="*/ 335 w 253"/>
                <a:gd name="T17" fmla="*/ 214 h 314"/>
                <a:gd name="T18" fmla="*/ 300 w 253"/>
                <a:gd name="T19" fmla="*/ 221 h 314"/>
                <a:gd name="T20" fmla="*/ 280 w 253"/>
                <a:gd name="T21" fmla="*/ 267 h 314"/>
                <a:gd name="T22" fmla="*/ 253 w 253"/>
                <a:gd name="T23" fmla="*/ 261 h 314"/>
                <a:gd name="T24" fmla="*/ 245 w 253"/>
                <a:gd name="T25" fmla="*/ 314 h 314"/>
                <a:gd name="T26" fmla="*/ 204 w 253"/>
                <a:gd name="T27" fmla="*/ 292 h 314"/>
                <a:gd name="T28" fmla="*/ 128 w 253"/>
                <a:gd name="T29" fmla="*/ 306 h 314"/>
                <a:gd name="T30" fmla="*/ 95 w 253"/>
                <a:gd name="T31" fmla="*/ 286 h 314"/>
                <a:gd name="T32" fmla="*/ 52 w 253"/>
                <a:gd name="T33" fmla="*/ 285 h 314"/>
                <a:gd name="T34" fmla="*/ 29 w 253"/>
                <a:gd name="T35" fmla="*/ 197 h 314"/>
                <a:gd name="T36" fmla="*/ 0 w 253"/>
                <a:gd name="T37" fmla="*/ 71 h 3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3"/>
                <a:gd name="T58" fmla="*/ 0 h 314"/>
                <a:gd name="T59" fmla="*/ 253 w 253"/>
                <a:gd name="T60" fmla="*/ 314 h 3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3" h="314">
                  <a:moveTo>
                    <a:pt x="0" y="71"/>
                  </a:moveTo>
                  <a:lnTo>
                    <a:pt x="114" y="59"/>
                  </a:lnTo>
                  <a:lnTo>
                    <a:pt x="138" y="64"/>
                  </a:lnTo>
                  <a:lnTo>
                    <a:pt x="192" y="37"/>
                  </a:lnTo>
                  <a:lnTo>
                    <a:pt x="204" y="12"/>
                  </a:lnTo>
                  <a:lnTo>
                    <a:pt x="236" y="0"/>
                  </a:lnTo>
                  <a:lnTo>
                    <a:pt x="253" y="119"/>
                  </a:lnTo>
                  <a:lnTo>
                    <a:pt x="240" y="132"/>
                  </a:lnTo>
                  <a:lnTo>
                    <a:pt x="243" y="214"/>
                  </a:lnTo>
                  <a:lnTo>
                    <a:pt x="218" y="221"/>
                  </a:lnTo>
                  <a:lnTo>
                    <a:pt x="204" y="267"/>
                  </a:lnTo>
                  <a:lnTo>
                    <a:pt x="184" y="261"/>
                  </a:lnTo>
                  <a:lnTo>
                    <a:pt x="178" y="314"/>
                  </a:lnTo>
                  <a:lnTo>
                    <a:pt x="149" y="292"/>
                  </a:lnTo>
                  <a:lnTo>
                    <a:pt x="93" y="306"/>
                  </a:lnTo>
                  <a:lnTo>
                    <a:pt x="69" y="286"/>
                  </a:lnTo>
                  <a:lnTo>
                    <a:pt x="38" y="285"/>
                  </a:lnTo>
                  <a:lnTo>
                    <a:pt x="21" y="197"/>
                  </a:lnTo>
                  <a:lnTo>
                    <a:pt x="0" y="71"/>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33" name="Freeform 132"/>
            <p:cNvSpPr>
              <a:spLocks/>
            </p:cNvSpPr>
            <p:nvPr/>
          </p:nvSpPr>
          <p:spPr bwMode="gray">
            <a:xfrm>
              <a:off x="5865713" y="3579813"/>
              <a:ext cx="918317" cy="506412"/>
            </a:xfrm>
            <a:custGeom>
              <a:avLst/>
              <a:gdLst>
                <a:gd name="T0" fmla="*/ 0 w 445"/>
                <a:gd name="T1" fmla="*/ 266 h 266"/>
                <a:gd name="T2" fmla="*/ 149 w 445"/>
                <a:gd name="T3" fmla="*/ 249 h 266"/>
                <a:gd name="T4" fmla="*/ 149 w 445"/>
                <a:gd name="T5" fmla="*/ 237 h 266"/>
                <a:gd name="T6" fmla="*/ 509 w 445"/>
                <a:gd name="T7" fmla="*/ 199 h 266"/>
                <a:gd name="T8" fmla="*/ 516 w 445"/>
                <a:gd name="T9" fmla="*/ 179 h 266"/>
                <a:gd name="T10" fmla="*/ 566 w 445"/>
                <a:gd name="T11" fmla="*/ 163 h 266"/>
                <a:gd name="T12" fmla="*/ 575 w 445"/>
                <a:gd name="T13" fmla="*/ 142 h 266"/>
                <a:gd name="T14" fmla="*/ 596 w 445"/>
                <a:gd name="T15" fmla="*/ 135 h 266"/>
                <a:gd name="T16" fmla="*/ 612 w 445"/>
                <a:gd name="T17" fmla="*/ 103 h 266"/>
                <a:gd name="T18" fmla="*/ 563 w 445"/>
                <a:gd name="T19" fmla="*/ 72 h 266"/>
                <a:gd name="T20" fmla="*/ 555 w 445"/>
                <a:gd name="T21" fmla="*/ 29 h 266"/>
                <a:gd name="T22" fmla="*/ 516 w 445"/>
                <a:gd name="T23" fmla="*/ 8 h 266"/>
                <a:gd name="T24" fmla="*/ 434 w 445"/>
                <a:gd name="T25" fmla="*/ 20 h 266"/>
                <a:gd name="T26" fmla="*/ 398 w 445"/>
                <a:gd name="T27" fmla="*/ 1 h 266"/>
                <a:gd name="T28" fmla="*/ 363 w 445"/>
                <a:gd name="T29" fmla="*/ 0 h 266"/>
                <a:gd name="T30" fmla="*/ 368 w 445"/>
                <a:gd name="T31" fmla="*/ 29 h 266"/>
                <a:gd name="T32" fmla="*/ 320 w 445"/>
                <a:gd name="T33" fmla="*/ 44 h 266"/>
                <a:gd name="T34" fmla="*/ 286 w 445"/>
                <a:gd name="T35" fmla="*/ 110 h 266"/>
                <a:gd name="T36" fmla="*/ 242 w 445"/>
                <a:gd name="T37" fmla="*/ 100 h 266"/>
                <a:gd name="T38" fmla="*/ 186 w 445"/>
                <a:gd name="T39" fmla="*/ 124 h 266"/>
                <a:gd name="T40" fmla="*/ 117 w 445"/>
                <a:gd name="T41" fmla="*/ 134 h 266"/>
                <a:gd name="T42" fmla="*/ 117 w 445"/>
                <a:gd name="T43" fmla="*/ 171 h 266"/>
                <a:gd name="T44" fmla="*/ 82 w 445"/>
                <a:gd name="T45" fmla="*/ 170 h 266"/>
                <a:gd name="T46" fmla="*/ 83 w 445"/>
                <a:gd name="T47" fmla="*/ 203 h 266"/>
                <a:gd name="T48" fmla="*/ 48 w 445"/>
                <a:gd name="T49" fmla="*/ 190 h 266"/>
                <a:gd name="T50" fmla="*/ 28 w 445"/>
                <a:gd name="T51" fmla="*/ 196 h 266"/>
                <a:gd name="T52" fmla="*/ 45 w 445"/>
                <a:gd name="T53" fmla="*/ 218 h 266"/>
                <a:gd name="T54" fmla="*/ 5 w 445"/>
                <a:gd name="T55" fmla="*/ 248 h 266"/>
                <a:gd name="T56" fmla="*/ 0 w 445"/>
                <a:gd name="T57" fmla="*/ 266 h 2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45"/>
                <a:gd name="T88" fmla="*/ 0 h 266"/>
                <a:gd name="T89" fmla="*/ 445 w 445"/>
                <a:gd name="T90" fmla="*/ 266 h 26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45" h="266">
                  <a:moveTo>
                    <a:pt x="0" y="266"/>
                  </a:moveTo>
                  <a:lnTo>
                    <a:pt x="108" y="249"/>
                  </a:lnTo>
                  <a:lnTo>
                    <a:pt x="108" y="237"/>
                  </a:lnTo>
                  <a:lnTo>
                    <a:pt x="370" y="199"/>
                  </a:lnTo>
                  <a:lnTo>
                    <a:pt x="374" y="179"/>
                  </a:lnTo>
                  <a:lnTo>
                    <a:pt x="412" y="163"/>
                  </a:lnTo>
                  <a:lnTo>
                    <a:pt x="417" y="142"/>
                  </a:lnTo>
                  <a:lnTo>
                    <a:pt x="433" y="135"/>
                  </a:lnTo>
                  <a:lnTo>
                    <a:pt x="445" y="103"/>
                  </a:lnTo>
                  <a:lnTo>
                    <a:pt x="409" y="72"/>
                  </a:lnTo>
                  <a:lnTo>
                    <a:pt x="403" y="29"/>
                  </a:lnTo>
                  <a:lnTo>
                    <a:pt x="374" y="8"/>
                  </a:lnTo>
                  <a:lnTo>
                    <a:pt x="316" y="20"/>
                  </a:lnTo>
                  <a:lnTo>
                    <a:pt x="289" y="1"/>
                  </a:lnTo>
                  <a:lnTo>
                    <a:pt x="263" y="0"/>
                  </a:lnTo>
                  <a:lnTo>
                    <a:pt x="268" y="29"/>
                  </a:lnTo>
                  <a:lnTo>
                    <a:pt x="232" y="44"/>
                  </a:lnTo>
                  <a:lnTo>
                    <a:pt x="208" y="110"/>
                  </a:lnTo>
                  <a:lnTo>
                    <a:pt x="175" y="100"/>
                  </a:lnTo>
                  <a:lnTo>
                    <a:pt x="136" y="124"/>
                  </a:lnTo>
                  <a:lnTo>
                    <a:pt x="85" y="134"/>
                  </a:lnTo>
                  <a:lnTo>
                    <a:pt x="85" y="171"/>
                  </a:lnTo>
                  <a:lnTo>
                    <a:pt x="60" y="170"/>
                  </a:lnTo>
                  <a:lnTo>
                    <a:pt x="61" y="203"/>
                  </a:lnTo>
                  <a:lnTo>
                    <a:pt x="35" y="190"/>
                  </a:lnTo>
                  <a:lnTo>
                    <a:pt x="20" y="196"/>
                  </a:lnTo>
                  <a:lnTo>
                    <a:pt x="33" y="218"/>
                  </a:lnTo>
                  <a:lnTo>
                    <a:pt x="5" y="248"/>
                  </a:lnTo>
                  <a:lnTo>
                    <a:pt x="0" y="266"/>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34" name="Freeform 133"/>
            <p:cNvSpPr>
              <a:spLocks/>
            </p:cNvSpPr>
            <p:nvPr/>
          </p:nvSpPr>
          <p:spPr bwMode="gray">
            <a:xfrm>
              <a:off x="5802084" y="3905250"/>
              <a:ext cx="1059332" cy="384175"/>
            </a:xfrm>
            <a:custGeom>
              <a:avLst/>
              <a:gdLst>
                <a:gd name="T0" fmla="*/ 43 w 513"/>
                <a:gd name="T1" fmla="*/ 92 h 202"/>
                <a:gd name="T2" fmla="*/ 43 w 513"/>
                <a:gd name="T3" fmla="*/ 96 h 202"/>
                <a:gd name="T4" fmla="*/ 30 w 513"/>
                <a:gd name="T5" fmla="*/ 115 h 202"/>
                <a:gd name="T6" fmla="*/ 44 w 513"/>
                <a:gd name="T7" fmla="*/ 140 h 202"/>
                <a:gd name="T8" fmla="*/ 0 w 513"/>
                <a:gd name="T9" fmla="*/ 163 h 202"/>
                <a:gd name="T10" fmla="*/ 11 w 513"/>
                <a:gd name="T11" fmla="*/ 202 h 202"/>
                <a:gd name="T12" fmla="*/ 196 w 513"/>
                <a:gd name="T13" fmla="*/ 190 h 202"/>
                <a:gd name="T14" fmla="*/ 415 w 513"/>
                <a:gd name="T15" fmla="*/ 170 h 202"/>
                <a:gd name="T16" fmla="*/ 527 w 513"/>
                <a:gd name="T17" fmla="*/ 154 h 202"/>
                <a:gd name="T18" fmla="*/ 548 w 513"/>
                <a:gd name="T19" fmla="*/ 103 h 202"/>
                <a:gd name="T20" fmla="*/ 589 w 513"/>
                <a:gd name="T21" fmla="*/ 100 h 202"/>
                <a:gd name="T22" fmla="*/ 709 w 513"/>
                <a:gd name="T23" fmla="*/ 0 h 202"/>
                <a:gd name="T24" fmla="*/ 552 w 513"/>
                <a:gd name="T25" fmla="*/ 25 h 202"/>
                <a:gd name="T26" fmla="*/ 185 w 513"/>
                <a:gd name="T27" fmla="*/ 66 h 202"/>
                <a:gd name="T28" fmla="*/ 188 w 513"/>
                <a:gd name="T29" fmla="*/ 78 h 202"/>
                <a:gd name="T30" fmla="*/ 43 w 513"/>
                <a:gd name="T31" fmla="*/ 92 h 20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13"/>
                <a:gd name="T49" fmla="*/ 0 h 202"/>
                <a:gd name="T50" fmla="*/ 513 w 513"/>
                <a:gd name="T51" fmla="*/ 202 h 20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13" h="202">
                  <a:moveTo>
                    <a:pt x="31" y="92"/>
                  </a:moveTo>
                  <a:lnTo>
                    <a:pt x="31" y="96"/>
                  </a:lnTo>
                  <a:lnTo>
                    <a:pt x="22" y="115"/>
                  </a:lnTo>
                  <a:lnTo>
                    <a:pt x="32" y="140"/>
                  </a:lnTo>
                  <a:lnTo>
                    <a:pt x="0" y="163"/>
                  </a:lnTo>
                  <a:lnTo>
                    <a:pt x="7" y="202"/>
                  </a:lnTo>
                  <a:lnTo>
                    <a:pt x="142" y="190"/>
                  </a:lnTo>
                  <a:lnTo>
                    <a:pt x="301" y="170"/>
                  </a:lnTo>
                  <a:lnTo>
                    <a:pt x="381" y="154"/>
                  </a:lnTo>
                  <a:lnTo>
                    <a:pt x="398" y="103"/>
                  </a:lnTo>
                  <a:lnTo>
                    <a:pt x="426" y="100"/>
                  </a:lnTo>
                  <a:lnTo>
                    <a:pt x="513" y="0"/>
                  </a:lnTo>
                  <a:lnTo>
                    <a:pt x="400" y="25"/>
                  </a:lnTo>
                  <a:lnTo>
                    <a:pt x="135" y="66"/>
                  </a:lnTo>
                  <a:lnTo>
                    <a:pt x="137" y="78"/>
                  </a:lnTo>
                  <a:lnTo>
                    <a:pt x="31" y="92"/>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35" name="Freeform 134"/>
            <p:cNvSpPr>
              <a:spLocks/>
            </p:cNvSpPr>
            <p:nvPr/>
          </p:nvSpPr>
          <p:spPr bwMode="gray">
            <a:xfrm>
              <a:off x="6269840" y="4787900"/>
              <a:ext cx="1159074" cy="777875"/>
            </a:xfrm>
            <a:custGeom>
              <a:avLst/>
              <a:gdLst>
                <a:gd name="T0" fmla="*/ 0 w 561"/>
                <a:gd name="T1" fmla="*/ 39 h 409"/>
                <a:gd name="T2" fmla="*/ 212 w 561"/>
                <a:gd name="T3" fmla="*/ 23 h 409"/>
                <a:gd name="T4" fmla="*/ 234 w 561"/>
                <a:gd name="T5" fmla="*/ 50 h 409"/>
                <a:gd name="T6" fmla="*/ 463 w 561"/>
                <a:gd name="T7" fmla="*/ 23 h 409"/>
                <a:gd name="T8" fmla="*/ 502 w 561"/>
                <a:gd name="T9" fmla="*/ 45 h 409"/>
                <a:gd name="T10" fmla="*/ 502 w 561"/>
                <a:gd name="T11" fmla="*/ 3 h 409"/>
                <a:gd name="T12" fmla="*/ 500 w 561"/>
                <a:gd name="T13" fmla="*/ 0 h 409"/>
                <a:gd name="T14" fmla="*/ 545 w 561"/>
                <a:gd name="T15" fmla="*/ 2 h 409"/>
                <a:gd name="T16" fmla="*/ 593 w 561"/>
                <a:gd name="T17" fmla="*/ 65 h 409"/>
                <a:gd name="T18" fmla="*/ 670 w 561"/>
                <a:gd name="T19" fmla="*/ 151 h 409"/>
                <a:gd name="T20" fmla="*/ 709 w 561"/>
                <a:gd name="T21" fmla="*/ 225 h 409"/>
                <a:gd name="T22" fmla="*/ 763 w 561"/>
                <a:gd name="T23" fmla="*/ 277 h 409"/>
                <a:gd name="T24" fmla="*/ 774 w 561"/>
                <a:gd name="T25" fmla="*/ 352 h 409"/>
                <a:gd name="T26" fmla="*/ 756 w 561"/>
                <a:gd name="T27" fmla="*/ 397 h 409"/>
                <a:gd name="T28" fmla="*/ 674 w 561"/>
                <a:gd name="T29" fmla="*/ 409 h 409"/>
                <a:gd name="T30" fmla="*/ 660 w 561"/>
                <a:gd name="T31" fmla="*/ 390 h 409"/>
                <a:gd name="T32" fmla="*/ 604 w 561"/>
                <a:gd name="T33" fmla="*/ 363 h 409"/>
                <a:gd name="T34" fmla="*/ 586 w 561"/>
                <a:gd name="T35" fmla="*/ 335 h 409"/>
                <a:gd name="T36" fmla="*/ 571 w 561"/>
                <a:gd name="T37" fmla="*/ 324 h 409"/>
                <a:gd name="T38" fmla="*/ 561 w 561"/>
                <a:gd name="T39" fmla="*/ 298 h 409"/>
                <a:gd name="T40" fmla="*/ 547 w 561"/>
                <a:gd name="T41" fmla="*/ 305 h 409"/>
                <a:gd name="T42" fmla="*/ 502 w 561"/>
                <a:gd name="T43" fmla="*/ 271 h 409"/>
                <a:gd name="T44" fmla="*/ 514 w 561"/>
                <a:gd name="T45" fmla="*/ 239 h 409"/>
                <a:gd name="T46" fmla="*/ 502 w 561"/>
                <a:gd name="T47" fmla="*/ 222 h 409"/>
                <a:gd name="T48" fmla="*/ 489 w 561"/>
                <a:gd name="T49" fmla="*/ 228 h 409"/>
                <a:gd name="T50" fmla="*/ 490 w 561"/>
                <a:gd name="T51" fmla="*/ 246 h 409"/>
                <a:gd name="T52" fmla="*/ 475 w 561"/>
                <a:gd name="T53" fmla="*/ 222 h 409"/>
                <a:gd name="T54" fmla="*/ 476 w 561"/>
                <a:gd name="T55" fmla="*/ 164 h 409"/>
                <a:gd name="T56" fmla="*/ 448 w 561"/>
                <a:gd name="T57" fmla="*/ 130 h 409"/>
                <a:gd name="T58" fmla="*/ 376 w 561"/>
                <a:gd name="T59" fmla="*/ 102 h 409"/>
                <a:gd name="T60" fmla="*/ 339 w 561"/>
                <a:gd name="T61" fmla="*/ 70 h 409"/>
                <a:gd name="T62" fmla="*/ 298 w 561"/>
                <a:gd name="T63" fmla="*/ 67 h 409"/>
                <a:gd name="T64" fmla="*/ 282 w 561"/>
                <a:gd name="T65" fmla="*/ 87 h 409"/>
                <a:gd name="T66" fmla="*/ 222 w 561"/>
                <a:gd name="T67" fmla="*/ 101 h 409"/>
                <a:gd name="T68" fmla="*/ 185 w 561"/>
                <a:gd name="T69" fmla="*/ 87 h 409"/>
                <a:gd name="T70" fmla="*/ 168 w 561"/>
                <a:gd name="T71" fmla="*/ 65 h 409"/>
                <a:gd name="T72" fmla="*/ 55 w 561"/>
                <a:gd name="T73" fmla="*/ 84 h 409"/>
                <a:gd name="T74" fmla="*/ 31 w 561"/>
                <a:gd name="T75" fmla="*/ 69 h 409"/>
                <a:gd name="T76" fmla="*/ 4 w 561"/>
                <a:gd name="T77" fmla="*/ 85 h 409"/>
                <a:gd name="T78" fmla="*/ 0 w 561"/>
                <a:gd name="T79" fmla="*/ 39 h 40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61"/>
                <a:gd name="T121" fmla="*/ 0 h 409"/>
                <a:gd name="T122" fmla="*/ 561 w 561"/>
                <a:gd name="T123" fmla="*/ 409 h 40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61" h="409">
                  <a:moveTo>
                    <a:pt x="0" y="39"/>
                  </a:moveTo>
                  <a:lnTo>
                    <a:pt x="154" y="23"/>
                  </a:lnTo>
                  <a:lnTo>
                    <a:pt x="170" y="50"/>
                  </a:lnTo>
                  <a:lnTo>
                    <a:pt x="336" y="23"/>
                  </a:lnTo>
                  <a:lnTo>
                    <a:pt x="364" y="45"/>
                  </a:lnTo>
                  <a:lnTo>
                    <a:pt x="364" y="3"/>
                  </a:lnTo>
                  <a:lnTo>
                    <a:pt x="362" y="0"/>
                  </a:lnTo>
                  <a:lnTo>
                    <a:pt x="395" y="2"/>
                  </a:lnTo>
                  <a:lnTo>
                    <a:pt x="430" y="65"/>
                  </a:lnTo>
                  <a:lnTo>
                    <a:pt x="485" y="151"/>
                  </a:lnTo>
                  <a:lnTo>
                    <a:pt x="513" y="225"/>
                  </a:lnTo>
                  <a:lnTo>
                    <a:pt x="554" y="277"/>
                  </a:lnTo>
                  <a:lnTo>
                    <a:pt x="561" y="352"/>
                  </a:lnTo>
                  <a:lnTo>
                    <a:pt x="548" y="397"/>
                  </a:lnTo>
                  <a:lnTo>
                    <a:pt x="489" y="409"/>
                  </a:lnTo>
                  <a:lnTo>
                    <a:pt x="479" y="390"/>
                  </a:lnTo>
                  <a:lnTo>
                    <a:pt x="437" y="363"/>
                  </a:lnTo>
                  <a:lnTo>
                    <a:pt x="424" y="335"/>
                  </a:lnTo>
                  <a:lnTo>
                    <a:pt x="413" y="324"/>
                  </a:lnTo>
                  <a:lnTo>
                    <a:pt x="407" y="298"/>
                  </a:lnTo>
                  <a:lnTo>
                    <a:pt x="397" y="305"/>
                  </a:lnTo>
                  <a:lnTo>
                    <a:pt x="364" y="271"/>
                  </a:lnTo>
                  <a:lnTo>
                    <a:pt x="372" y="239"/>
                  </a:lnTo>
                  <a:lnTo>
                    <a:pt x="364" y="222"/>
                  </a:lnTo>
                  <a:lnTo>
                    <a:pt x="354" y="228"/>
                  </a:lnTo>
                  <a:lnTo>
                    <a:pt x="355" y="246"/>
                  </a:lnTo>
                  <a:lnTo>
                    <a:pt x="344" y="222"/>
                  </a:lnTo>
                  <a:lnTo>
                    <a:pt x="345" y="164"/>
                  </a:lnTo>
                  <a:lnTo>
                    <a:pt x="325" y="130"/>
                  </a:lnTo>
                  <a:lnTo>
                    <a:pt x="272" y="102"/>
                  </a:lnTo>
                  <a:lnTo>
                    <a:pt x="246" y="70"/>
                  </a:lnTo>
                  <a:lnTo>
                    <a:pt x="216" y="67"/>
                  </a:lnTo>
                  <a:lnTo>
                    <a:pt x="204" y="87"/>
                  </a:lnTo>
                  <a:lnTo>
                    <a:pt x="161" y="101"/>
                  </a:lnTo>
                  <a:lnTo>
                    <a:pt x="135" y="87"/>
                  </a:lnTo>
                  <a:lnTo>
                    <a:pt x="122" y="65"/>
                  </a:lnTo>
                  <a:lnTo>
                    <a:pt x="40" y="84"/>
                  </a:lnTo>
                  <a:lnTo>
                    <a:pt x="23" y="69"/>
                  </a:lnTo>
                  <a:lnTo>
                    <a:pt x="4" y="85"/>
                  </a:lnTo>
                  <a:lnTo>
                    <a:pt x="0" y="39"/>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36" name="Freeform 135"/>
            <p:cNvSpPr>
              <a:spLocks/>
            </p:cNvSpPr>
            <p:nvPr/>
          </p:nvSpPr>
          <p:spPr bwMode="gray">
            <a:xfrm>
              <a:off x="6696324" y="3260725"/>
              <a:ext cx="529666" cy="549275"/>
            </a:xfrm>
            <a:custGeom>
              <a:avLst/>
              <a:gdLst>
                <a:gd name="T0" fmla="*/ 36 w 256"/>
                <a:gd name="T1" fmla="*/ 150 h 288"/>
                <a:gd name="T2" fmla="*/ 10 w 256"/>
                <a:gd name="T3" fmla="*/ 144 h 288"/>
                <a:gd name="T4" fmla="*/ 0 w 256"/>
                <a:gd name="T5" fmla="*/ 190 h 288"/>
                <a:gd name="T6" fmla="*/ 10 w 256"/>
                <a:gd name="T7" fmla="*/ 239 h 288"/>
                <a:gd name="T8" fmla="*/ 60 w 256"/>
                <a:gd name="T9" fmla="*/ 271 h 288"/>
                <a:gd name="T10" fmla="*/ 72 w 256"/>
                <a:gd name="T11" fmla="*/ 288 h 288"/>
                <a:gd name="T12" fmla="*/ 138 w 256"/>
                <a:gd name="T13" fmla="*/ 271 h 288"/>
                <a:gd name="T14" fmla="*/ 215 w 256"/>
                <a:gd name="T15" fmla="*/ 233 h 288"/>
                <a:gd name="T16" fmla="*/ 238 w 256"/>
                <a:gd name="T17" fmla="*/ 148 h 288"/>
                <a:gd name="T18" fmla="*/ 288 w 256"/>
                <a:gd name="T19" fmla="*/ 126 h 288"/>
                <a:gd name="T20" fmla="*/ 316 w 256"/>
                <a:gd name="T21" fmla="*/ 74 h 288"/>
                <a:gd name="T22" fmla="*/ 356 w 256"/>
                <a:gd name="T23" fmla="*/ 60 h 288"/>
                <a:gd name="T24" fmla="*/ 303 w 256"/>
                <a:gd name="T25" fmla="*/ 53 h 288"/>
                <a:gd name="T26" fmla="*/ 214 w 256"/>
                <a:gd name="T27" fmla="*/ 90 h 288"/>
                <a:gd name="T28" fmla="*/ 200 w 256"/>
                <a:gd name="T29" fmla="*/ 54 h 288"/>
                <a:gd name="T30" fmla="*/ 123 w 256"/>
                <a:gd name="T31" fmla="*/ 57 h 288"/>
                <a:gd name="T32" fmla="*/ 104 w 256"/>
                <a:gd name="T33" fmla="*/ 0 h 288"/>
                <a:gd name="T34" fmla="*/ 85 w 256"/>
                <a:gd name="T35" fmla="*/ 15 h 288"/>
                <a:gd name="T36" fmla="*/ 91 w 256"/>
                <a:gd name="T37" fmla="*/ 97 h 288"/>
                <a:gd name="T38" fmla="*/ 55 w 256"/>
                <a:gd name="T39" fmla="*/ 104 h 288"/>
                <a:gd name="T40" fmla="*/ 36 w 256"/>
                <a:gd name="T41" fmla="*/ 150 h 2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6"/>
                <a:gd name="T64" fmla="*/ 0 h 288"/>
                <a:gd name="T65" fmla="*/ 256 w 256"/>
                <a:gd name="T66" fmla="*/ 288 h 2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6" h="288">
                  <a:moveTo>
                    <a:pt x="26" y="150"/>
                  </a:moveTo>
                  <a:lnTo>
                    <a:pt x="6" y="144"/>
                  </a:lnTo>
                  <a:lnTo>
                    <a:pt x="0" y="190"/>
                  </a:lnTo>
                  <a:lnTo>
                    <a:pt x="6" y="239"/>
                  </a:lnTo>
                  <a:lnTo>
                    <a:pt x="43" y="271"/>
                  </a:lnTo>
                  <a:lnTo>
                    <a:pt x="52" y="288"/>
                  </a:lnTo>
                  <a:lnTo>
                    <a:pt x="99" y="271"/>
                  </a:lnTo>
                  <a:lnTo>
                    <a:pt x="155" y="233"/>
                  </a:lnTo>
                  <a:lnTo>
                    <a:pt x="171" y="148"/>
                  </a:lnTo>
                  <a:lnTo>
                    <a:pt x="207" y="126"/>
                  </a:lnTo>
                  <a:lnTo>
                    <a:pt x="227" y="74"/>
                  </a:lnTo>
                  <a:lnTo>
                    <a:pt x="256" y="60"/>
                  </a:lnTo>
                  <a:lnTo>
                    <a:pt x="218" y="53"/>
                  </a:lnTo>
                  <a:lnTo>
                    <a:pt x="154" y="90"/>
                  </a:lnTo>
                  <a:lnTo>
                    <a:pt x="144" y="54"/>
                  </a:lnTo>
                  <a:lnTo>
                    <a:pt x="88" y="57"/>
                  </a:lnTo>
                  <a:lnTo>
                    <a:pt x="75" y="0"/>
                  </a:lnTo>
                  <a:lnTo>
                    <a:pt x="61" y="15"/>
                  </a:lnTo>
                  <a:lnTo>
                    <a:pt x="65" y="97"/>
                  </a:lnTo>
                  <a:lnTo>
                    <a:pt x="40" y="104"/>
                  </a:lnTo>
                  <a:lnTo>
                    <a:pt x="26" y="150"/>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37" name="Freeform 136"/>
            <p:cNvSpPr>
              <a:spLocks/>
            </p:cNvSpPr>
            <p:nvPr/>
          </p:nvSpPr>
          <p:spPr bwMode="gray">
            <a:xfrm>
              <a:off x="7492543" y="2346325"/>
              <a:ext cx="208082" cy="384175"/>
            </a:xfrm>
            <a:custGeom>
              <a:avLst/>
              <a:gdLst>
                <a:gd name="T0" fmla="*/ 0 w 101"/>
                <a:gd name="T1" fmla="*/ 21 h 202"/>
                <a:gd name="T2" fmla="*/ 100 w 101"/>
                <a:gd name="T3" fmla="*/ 0 h 202"/>
                <a:gd name="T4" fmla="*/ 137 w 101"/>
                <a:gd name="T5" fmla="*/ 55 h 202"/>
                <a:gd name="T6" fmla="*/ 118 w 101"/>
                <a:gd name="T7" fmla="*/ 70 h 202"/>
                <a:gd name="T8" fmla="*/ 126 w 101"/>
                <a:gd name="T9" fmla="*/ 192 h 202"/>
                <a:gd name="T10" fmla="*/ 68 w 101"/>
                <a:gd name="T11" fmla="*/ 202 h 202"/>
                <a:gd name="T12" fmla="*/ 39 w 101"/>
                <a:gd name="T13" fmla="*/ 152 h 202"/>
                <a:gd name="T14" fmla="*/ 38 w 101"/>
                <a:gd name="T15" fmla="*/ 92 h 202"/>
                <a:gd name="T16" fmla="*/ 13 w 101"/>
                <a:gd name="T17" fmla="*/ 74 h 202"/>
                <a:gd name="T18" fmla="*/ 0 w 101"/>
                <a:gd name="T19" fmla="*/ 21 h 2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1"/>
                <a:gd name="T31" fmla="*/ 0 h 202"/>
                <a:gd name="T32" fmla="*/ 101 w 101"/>
                <a:gd name="T33" fmla="*/ 202 h 2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1" h="202">
                  <a:moveTo>
                    <a:pt x="0" y="21"/>
                  </a:moveTo>
                  <a:lnTo>
                    <a:pt x="74" y="0"/>
                  </a:lnTo>
                  <a:lnTo>
                    <a:pt x="101" y="55"/>
                  </a:lnTo>
                  <a:lnTo>
                    <a:pt x="87" y="70"/>
                  </a:lnTo>
                  <a:lnTo>
                    <a:pt x="93" y="192"/>
                  </a:lnTo>
                  <a:lnTo>
                    <a:pt x="50" y="202"/>
                  </a:lnTo>
                  <a:lnTo>
                    <a:pt x="29" y="152"/>
                  </a:lnTo>
                  <a:lnTo>
                    <a:pt x="28" y="92"/>
                  </a:lnTo>
                  <a:lnTo>
                    <a:pt x="9" y="74"/>
                  </a:lnTo>
                  <a:lnTo>
                    <a:pt x="0" y="21"/>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38" name="Freeform 137"/>
            <p:cNvSpPr>
              <a:spLocks/>
            </p:cNvSpPr>
            <p:nvPr/>
          </p:nvSpPr>
          <p:spPr bwMode="gray">
            <a:xfrm>
              <a:off x="7592286" y="2647950"/>
              <a:ext cx="445400" cy="201613"/>
            </a:xfrm>
            <a:custGeom>
              <a:avLst/>
              <a:gdLst>
                <a:gd name="T0" fmla="*/ 0 w 216"/>
                <a:gd name="T1" fmla="*/ 42 h 106"/>
                <a:gd name="T2" fmla="*/ 152 w 216"/>
                <a:gd name="T3" fmla="*/ 13 h 106"/>
                <a:gd name="T4" fmla="*/ 169 w 216"/>
                <a:gd name="T5" fmla="*/ 14 h 106"/>
                <a:gd name="T6" fmla="*/ 187 w 216"/>
                <a:gd name="T7" fmla="*/ 0 h 106"/>
                <a:gd name="T8" fmla="*/ 203 w 216"/>
                <a:gd name="T9" fmla="*/ 7 h 106"/>
                <a:gd name="T10" fmla="*/ 184 w 216"/>
                <a:gd name="T11" fmla="*/ 37 h 106"/>
                <a:gd name="T12" fmla="*/ 216 w 216"/>
                <a:gd name="T13" fmla="*/ 35 h 106"/>
                <a:gd name="T14" fmla="*/ 234 w 216"/>
                <a:gd name="T15" fmla="*/ 59 h 106"/>
                <a:gd name="T16" fmla="*/ 257 w 216"/>
                <a:gd name="T17" fmla="*/ 61 h 106"/>
                <a:gd name="T18" fmla="*/ 271 w 216"/>
                <a:gd name="T19" fmla="*/ 57 h 106"/>
                <a:gd name="T20" fmla="*/ 271 w 216"/>
                <a:gd name="T21" fmla="*/ 44 h 106"/>
                <a:gd name="T22" fmla="*/ 245 w 216"/>
                <a:gd name="T23" fmla="*/ 28 h 106"/>
                <a:gd name="T24" fmla="*/ 264 w 216"/>
                <a:gd name="T25" fmla="*/ 27 h 106"/>
                <a:gd name="T26" fmla="*/ 297 w 216"/>
                <a:gd name="T27" fmla="*/ 62 h 106"/>
                <a:gd name="T28" fmla="*/ 265 w 216"/>
                <a:gd name="T29" fmla="*/ 83 h 106"/>
                <a:gd name="T30" fmla="*/ 230 w 216"/>
                <a:gd name="T31" fmla="*/ 73 h 106"/>
                <a:gd name="T32" fmla="*/ 209 w 216"/>
                <a:gd name="T33" fmla="*/ 98 h 106"/>
                <a:gd name="T34" fmla="*/ 164 w 216"/>
                <a:gd name="T35" fmla="*/ 73 h 106"/>
                <a:gd name="T36" fmla="*/ 13 w 216"/>
                <a:gd name="T37" fmla="*/ 106 h 106"/>
                <a:gd name="T38" fmla="*/ 0 w 216"/>
                <a:gd name="T39" fmla="*/ 42 h 10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6"/>
                <a:gd name="T61" fmla="*/ 0 h 106"/>
                <a:gd name="T62" fmla="*/ 216 w 216"/>
                <a:gd name="T63" fmla="*/ 106 h 10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6" h="106">
                  <a:moveTo>
                    <a:pt x="0" y="42"/>
                  </a:moveTo>
                  <a:lnTo>
                    <a:pt x="110" y="13"/>
                  </a:lnTo>
                  <a:lnTo>
                    <a:pt x="123" y="14"/>
                  </a:lnTo>
                  <a:lnTo>
                    <a:pt x="137" y="0"/>
                  </a:lnTo>
                  <a:lnTo>
                    <a:pt x="148" y="7"/>
                  </a:lnTo>
                  <a:lnTo>
                    <a:pt x="134" y="37"/>
                  </a:lnTo>
                  <a:lnTo>
                    <a:pt x="157" y="35"/>
                  </a:lnTo>
                  <a:lnTo>
                    <a:pt x="170" y="59"/>
                  </a:lnTo>
                  <a:lnTo>
                    <a:pt x="186" y="61"/>
                  </a:lnTo>
                  <a:lnTo>
                    <a:pt x="197" y="57"/>
                  </a:lnTo>
                  <a:lnTo>
                    <a:pt x="197" y="44"/>
                  </a:lnTo>
                  <a:lnTo>
                    <a:pt x="178" y="28"/>
                  </a:lnTo>
                  <a:lnTo>
                    <a:pt x="192" y="27"/>
                  </a:lnTo>
                  <a:lnTo>
                    <a:pt x="216" y="62"/>
                  </a:lnTo>
                  <a:lnTo>
                    <a:pt x="193" y="83"/>
                  </a:lnTo>
                  <a:lnTo>
                    <a:pt x="167" y="73"/>
                  </a:lnTo>
                  <a:lnTo>
                    <a:pt x="151" y="98"/>
                  </a:lnTo>
                  <a:lnTo>
                    <a:pt x="118" y="73"/>
                  </a:lnTo>
                  <a:lnTo>
                    <a:pt x="9" y="106"/>
                  </a:lnTo>
                  <a:lnTo>
                    <a:pt x="0" y="42"/>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39" name="Freeform 138"/>
            <p:cNvSpPr>
              <a:spLocks/>
            </p:cNvSpPr>
            <p:nvPr/>
          </p:nvSpPr>
          <p:spPr bwMode="gray">
            <a:xfrm>
              <a:off x="7643876" y="2271713"/>
              <a:ext cx="245916" cy="434975"/>
            </a:xfrm>
            <a:custGeom>
              <a:avLst/>
              <a:gdLst>
                <a:gd name="T0" fmla="*/ 34 w 119"/>
                <a:gd name="T1" fmla="*/ 0 h 228"/>
                <a:gd name="T2" fmla="*/ 0 w 119"/>
                <a:gd name="T3" fmla="*/ 40 h 228"/>
                <a:gd name="T4" fmla="*/ 37 w 119"/>
                <a:gd name="T5" fmla="*/ 93 h 228"/>
                <a:gd name="T6" fmla="*/ 15 w 119"/>
                <a:gd name="T7" fmla="*/ 107 h 228"/>
                <a:gd name="T8" fmla="*/ 24 w 119"/>
                <a:gd name="T9" fmla="*/ 228 h 228"/>
                <a:gd name="T10" fmla="*/ 116 w 119"/>
                <a:gd name="T11" fmla="*/ 211 h 228"/>
                <a:gd name="T12" fmla="*/ 141 w 119"/>
                <a:gd name="T13" fmla="*/ 211 h 228"/>
                <a:gd name="T14" fmla="*/ 154 w 119"/>
                <a:gd name="T15" fmla="*/ 198 h 228"/>
                <a:gd name="T16" fmla="*/ 154 w 119"/>
                <a:gd name="T17" fmla="*/ 176 h 228"/>
                <a:gd name="T18" fmla="*/ 165 w 119"/>
                <a:gd name="T19" fmla="*/ 161 h 228"/>
                <a:gd name="T20" fmla="*/ 113 w 119"/>
                <a:gd name="T21" fmla="*/ 144 h 228"/>
                <a:gd name="T22" fmla="*/ 47 w 119"/>
                <a:gd name="T23" fmla="*/ 11 h 228"/>
                <a:gd name="T24" fmla="*/ 34 w 119"/>
                <a:gd name="T25" fmla="*/ 0 h 2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9"/>
                <a:gd name="T40" fmla="*/ 0 h 228"/>
                <a:gd name="T41" fmla="*/ 119 w 119"/>
                <a:gd name="T42" fmla="*/ 228 h 2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9" h="228">
                  <a:moveTo>
                    <a:pt x="25" y="0"/>
                  </a:moveTo>
                  <a:lnTo>
                    <a:pt x="0" y="40"/>
                  </a:lnTo>
                  <a:lnTo>
                    <a:pt x="27" y="93"/>
                  </a:lnTo>
                  <a:lnTo>
                    <a:pt x="11" y="107"/>
                  </a:lnTo>
                  <a:lnTo>
                    <a:pt x="17" y="228"/>
                  </a:lnTo>
                  <a:lnTo>
                    <a:pt x="84" y="211"/>
                  </a:lnTo>
                  <a:lnTo>
                    <a:pt x="102" y="211"/>
                  </a:lnTo>
                  <a:lnTo>
                    <a:pt x="112" y="198"/>
                  </a:lnTo>
                  <a:lnTo>
                    <a:pt x="112" y="176"/>
                  </a:lnTo>
                  <a:lnTo>
                    <a:pt x="119" y="161"/>
                  </a:lnTo>
                  <a:lnTo>
                    <a:pt x="82" y="144"/>
                  </a:lnTo>
                  <a:lnTo>
                    <a:pt x="34" y="11"/>
                  </a:lnTo>
                  <a:lnTo>
                    <a:pt x="25" y="0"/>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grpSp>
          <p:nvGrpSpPr>
            <p:cNvPr id="140" name="Group 139"/>
            <p:cNvGrpSpPr>
              <a:grpSpLocks/>
            </p:cNvGrpSpPr>
            <p:nvPr/>
          </p:nvGrpSpPr>
          <p:grpSpPr bwMode="gray">
            <a:xfrm>
              <a:off x="2199623" y="2176830"/>
              <a:ext cx="5701788" cy="2675059"/>
              <a:chOff x="1657" y="1277"/>
              <a:chExt cx="2764" cy="1404"/>
            </a:xfrm>
            <a:grpFill/>
          </p:grpSpPr>
          <p:sp>
            <p:nvSpPr>
              <p:cNvPr id="153" name="Freeform 28"/>
              <p:cNvSpPr>
                <a:spLocks/>
              </p:cNvSpPr>
              <p:nvPr/>
            </p:nvSpPr>
            <p:spPr bwMode="gray">
              <a:xfrm>
                <a:off x="1657" y="1722"/>
                <a:ext cx="388" cy="629"/>
              </a:xfrm>
              <a:custGeom>
                <a:avLst/>
                <a:gdLst>
                  <a:gd name="T0" fmla="*/ 50 w 388"/>
                  <a:gd name="T1" fmla="*/ 0 h 629"/>
                  <a:gd name="T2" fmla="*/ 0 w 388"/>
                  <a:gd name="T3" fmla="*/ 250 h 629"/>
                  <a:gd name="T4" fmla="*/ 264 w 388"/>
                  <a:gd name="T5" fmla="*/ 629 h 629"/>
                  <a:gd name="T6" fmla="*/ 281 w 388"/>
                  <a:gd name="T7" fmla="*/ 613 h 629"/>
                  <a:gd name="T8" fmla="*/ 279 w 388"/>
                  <a:gd name="T9" fmla="*/ 538 h 629"/>
                  <a:gd name="T10" fmla="*/ 312 w 388"/>
                  <a:gd name="T11" fmla="*/ 544 h 629"/>
                  <a:gd name="T12" fmla="*/ 346 w 388"/>
                  <a:gd name="T13" fmla="*/ 313 h 629"/>
                  <a:gd name="T14" fmla="*/ 369 w 388"/>
                  <a:gd name="T15" fmla="*/ 157 h 629"/>
                  <a:gd name="T16" fmla="*/ 376 w 388"/>
                  <a:gd name="T17" fmla="*/ 110 h 629"/>
                  <a:gd name="T18" fmla="*/ 388 w 388"/>
                  <a:gd name="T19" fmla="*/ 67 h 629"/>
                  <a:gd name="T20" fmla="*/ 214 w 388"/>
                  <a:gd name="T21" fmla="*/ 38 h 629"/>
                  <a:gd name="T22" fmla="*/ 50 w 388"/>
                  <a:gd name="T23" fmla="*/ 0 h 6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8"/>
                  <a:gd name="T37" fmla="*/ 0 h 629"/>
                  <a:gd name="T38" fmla="*/ 388 w 388"/>
                  <a:gd name="T39" fmla="*/ 629 h 6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8" h="629">
                    <a:moveTo>
                      <a:pt x="50" y="0"/>
                    </a:moveTo>
                    <a:lnTo>
                      <a:pt x="0" y="250"/>
                    </a:lnTo>
                    <a:lnTo>
                      <a:pt x="264" y="629"/>
                    </a:lnTo>
                    <a:lnTo>
                      <a:pt x="281" y="613"/>
                    </a:lnTo>
                    <a:lnTo>
                      <a:pt x="279" y="538"/>
                    </a:lnTo>
                    <a:lnTo>
                      <a:pt x="312" y="544"/>
                    </a:lnTo>
                    <a:lnTo>
                      <a:pt x="346" y="313"/>
                    </a:lnTo>
                    <a:lnTo>
                      <a:pt x="369" y="157"/>
                    </a:lnTo>
                    <a:lnTo>
                      <a:pt x="376" y="110"/>
                    </a:lnTo>
                    <a:lnTo>
                      <a:pt x="388" y="67"/>
                    </a:lnTo>
                    <a:lnTo>
                      <a:pt x="214" y="38"/>
                    </a:lnTo>
                    <a:lnTo>
                      <a:pt x="50" y="0"/>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54" name="Freeform 29"/>
              <p:cNvSpPr>
                <a:spLocks/>
              </p:cNvSpPr>
              <p:nvPr/>
            </p:nvSpPr>
            <p:spPr bwMode="gray">
              <a:xfrm>
                <a:off x="1978" y="1791"/>
                <a:ext cx="324" cy="449"/>
              </a:xfrm>
              <a:custGeom>
                <a:avLst/>
                <a:gdLst>
                  <a:gd name="T0" fmla="*/ 60 w 324"/>
                  <a:gd name="T1" fmla="*/ 0 h 449"/>
                  <a:gd name="T2" fmla="*/ 219 w 324"/>
                  <a:gd name="T3" fmla="*/ 23 h 449"/>
                  <a:gd name="T4" fmla="*/ 208 w 324"/>
                  <a:gd name="T5" fmla="*/ 109 h 449"/>
                  <a:gd name="T6" fmla="*/ 324 w 324"/>
                  <a:gd name="T7" fmla="*/ 121 h 449"/>
                  <a:gd name="T8" fmla="*/ 292 w 324"/>
                  <a:gd name="T9" fmla="*/ 449 h 449"/>
                  <a:gd name="T10" fmla="*/ 0 w 324"/>
                  <a:gd name="T11" fmla="*/ 415 h 449"/>
                  <a:gd name="T12" fmla="*/ 30 w 324"/>
                  <a:gd name="T13" fmla="*/ 205 h 449"/>
                  <a:gd name="T14" fmla="*/ 60 w 324"/>
                  <a:gd name="T15" fmla="*/ 0 h 449"/>
                  <a:gd name="T16" fmla="*/ 0 60000 65536"/>
                  <a:gd name="T17" fmla="*/ 0 60000 65536"/>
                  <a:gd name="T18" fmla="*/ 0 60000 65536"/>
                  <a:gd name="T19" fmla="*/ 0 60000 65536"/>
                  <a:gd name="T20" fmla="*/ 0 60000 65536"/>
                  <a:gd name="T21" fmla="*/ 0 60000 65536"/>
                  <a:gd name="T22" fmla="*/ 0 60000 65536"/>
                  <a:gd name="T23" fmla="*/ 0 60000 65536"/>
                  <a:gd name="T24" fmla="*/ 0 w 324"/>
                  <a:gd name="T25" fmla="*/ 0 h 449"/>
                  <a:gd name="T26" fmla="*/ 324 w 324"/>
                  <a:gd name="T27" fmla="*/ 449 h 4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4" h="449">
                    <a:moveTo>
                      <a:pt x="60" y="0"/>
                    </a:moveTo>
                    <a:lnTo>
                      <a:pt x="219" y="23"/>
                    </a:lnTo>
                    <a:lnTo>
                      <a:pt x="208" y="109"/>
                    </a:lnTo>
                    <a:lnTo>
                      <a:pt x="324" y="121"/>
                    </a:lnTo>
                    <a:lnTo>
                      <a:pt x="292" y="449"/>
                    </a:lnTo>
                    <a:lnTo>
                      <a:pt x="0" y="415"/>
                    </a:lnTo>
                    <a:lnTo>
                      <a:pt x="30" y="205"/>
                    </a:lnTo>
                    <a:lnTo>
                      <a:pt x="60" y="0"/>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55" name="Freeform 30"/>
              <p:cNvSpPr>
                <a:spLocks/>
              </p:cNvSpPr>
              <p:nvPr/>
            </p:nvSpPr>
            <p:spPr bwMode="gray">
              <a:xfrm>
                <a:off x="2183" y="1571"/>
                <a:ext cx="415" cy="365"/>
              </a:xfrm>
              <a:custGeom>
                <a:avLst/>
                <a:gdLst>
                  <a:gd name="T0" fmla="*/ 40 w 415"/>
                  <a:gd name="T1" fmla="*/ 0 h 365"/>
                  <a:gd name="T2" fmla="*/ 25 w 415"/>
                  <a:gd name="T3" fmla="*/ 136 h 365"/>
                  <a:gd name="T4" fmla="*/ 0 w 415"/>
                  <a:gd name="T5" fmla="*/ 331 h 365"/>
                  <a:gd name="T6" fmla="*/ 120 w 415"/>
                  <a:gd name="T7" fmla="*/ 342 h 365"/>
                  <a:gd name="T8" fmla="*/ 401 w 415"/>
                  <a:gd name="T9" fmla="*/ 365 h 365"/>
                  <a:gd name="T10" fmla="*/ 415 w 415"/>
                  <a:gd name="T11" fmla="*/ 37 h 365"/>
                  <a:gd name="T12" fmla="*/ 40 w 415"/>
                  <a:gd name="T13" fmla="*/ 0 h 365"/>
                  <a:gd name="T14" fmla="*/ 0 60000 65536"/>
                  <a:gd name="T15" fmla="*/ 0 60000 65536"/>
                  <a:gd name="T16" fmla="*/ 0 60000 65536"/>
                  <a:gd name="T17" fmla="*/ 0 60000 65536"/>
                  <a:gd name="T18" fmla="*/ 0 60000 65536"/>
                  <a:gd name="T19" fmla="*/ 0 60000 65536"/>
                  <a:gd name="T20" fmla="*/ 0 60000 65536"/>
                  <a:gd name="T21" fmla="*/ 0 w 415"/>
                  <a:gd name="T22" fmla="*/ 0 h 365"/>
                  <a:gd name="T23" fmla="*/ 415 w 415"/>
                  <a:gd name="T24" fmla="*/ 365 h 3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5" h="365">
                    <a:moveTo>
                      <a:pt x="40" y="0"/>
                    </a:moveTo>
                    <a:lnTo>
                      <a:pt x="25" y="136"/>
                    </a:lnTo>
                    <a:lnTo>
                      <a:pt x="0" y="331"/>
                    </a:lnTo>
                    <a:lnTo>
                      <a:pt x="120" y="342"/>
                    </a:lnTo>
                    <a:lnTo>
                      <a:pt x="401" y="365"/>
                    </a:lnTo>
                    <a:lnTo>
                      <a:pt x="415" y="37"/>
                    </a:lnTo>
                    <a:lnTo>
                      <a:pt x="40" y="0"/>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56" name="Freeform 31"/>
              <p:cNvSpPr>
                <a:spLocks/>
              </p:cNvSpPr>
              <p:nvPr/>
            </p:nvSpPr>
            <p:spPr bwMode="gray">
              <a:xfrm>
                <a:off x="2267" y="1912"/>
                <a:ext cx="433" cy="347"/>
              </a:xfrm>
              <a:custGeom>
                <a:avLst/>
                <a:gdLst>
                  <a:gd name="T0" fmla="*/ 36 w 433"/>
                  <a:gd name="T1" fmla="*/ 0 h 347"/>
                  <a:gd name="T2" fmla="*/ 14 w 433"/>
                  <a:gd name="T3" fmla="*/ 208 h 347"/>
                  <a:gd name="T4" fmla="*/ 0 w 433"/>
                  <a:gd name="T5" fmla="*/ 328 h 347"/>
                  <a:gd name="T6" fmla="*/ 216 w 433"/>
                  <a:gd name="T7" fmla="*/ 339 h 347"/>
                  <a:gd name="T8" fmla="*/ 423 w 433"/>
                  <a:gd name="T9" fmla="*/ 347 h 347"/>
                  <a:gd name="T10" fmla="*/ 430 w 433"/>
                  <a:gd name="T11" fmla="*/ 184 h 347"/>
                  <a:gd name="T12" fmla="*/ 433 w 433"/>
                  <a:gd name="T13" fmla="*/ 26 h 347"/>
                  <a:gd name="T14" fmla="*/ 315 w 433"/>
                  <a:gd name="T15" fmla="*/ 23 h 347"/>
                  <a:gd name="T16" fmla="*/ 36 w 433"/>
                  <a:gd name="T17" fmla="*/ 0 h 3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3"/>
                  <a:gd name="T28" fmla="*/ 0 h 347"/>
                  <a:gd name="T29" fmla="*/ 433 w 433"/>
                  <a:gd name="T30" fmla="*/ 347 h 3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3" h="347">
                    <a:moveTo>
                      <a:pt x="36" y="0"/>
                    </a:moveTo>
                    <a:lnTo>
                      <a:pt x="14" y="208"/>
                    </a:lnTo>
                    <a:lnTo>
                      <a:pt x="0" y="328"/>
                    </a:lnTo>
                    <a:lnTo>
                      <a:pt x="216" y="339"/>
                    </a:lnTo>
                    <a:lnTo>
                      <a:pt x="423" y="347"/>
                    </a:lnTo>
                    <a:lnTo>
                      <a:pt x="430" y="184"/>
                    </a:lnTo>
                    <a:lnTo>
                      <a:pt x="433" y="26"/>
                    </a:lnTo>
                    <a:lnTo>
                      <a:pt x="315" y="23"/>
                    </a:lnTo>
                    <a:lnTo>
                      <a:pt x="36" y="0"/>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57" name="Freeform 32"/>
              <p:cNvSpPr>
                <a:spLocks/>
              </p:cNvSpPr>
              <p:nvPr/>
            </p:nvSpPr>
            <p:spPr bwMode="gray">
              <a:xfrm>
                <a:off x="1877" y="2203"/>
                <a:ext cx="393" cy="469"/>
              </a:xfrm>
              <a:custGeom>
                <a:avLst/>
                <a:gdLst>
                  <a:gd name="T0" fmla="*/ 100 w 393"/>
                  <a:gd name="T1" fmla="*/ 0 h 469"/>
                  <a:gd name="T2" fmla="*/ 92 w 393"/>
                  <a:gd name="T3" fmla="*/ 61 h 469"/>
                  <a:gd name="T4" fmla="*/ 58 w 393"/>
                  <a:gd name="T5" fmla="*/ 54 h 469"/>
                  <a:gd name="T6" fmla="*/ 61 w 393"/>
                  <a:gd name="T7" fmla="*/ 133 h 469"/>
                  <a:gd name="T8" fmla="*/ 44 w 393"/>
                  <a:gd name="T9" fmla="*/ 148 h 469"/>
                  <a:gd name="T10" fmla="*/ 68 w 393"/>
                  <a:gd name="T11" fmla="*/ 197 h 469"/>
                  <a:gd name="T12" fmla="*/ 44 w 393"/>
                  <a:gd name="T13" fmla="*/ 218 h 469"/>
                  <a:gd name="T14" fmla="*/ 31 w 393"/>
                  <a:gd name="T15" fmla="*/ 253 h 469"/>
                  <a:gd name="T16" fmla="*/ 12 w 393"/>
                  <a:gd name="T17" fmla="*/ 287 h 469"/>
                  <a:gd name="T18" fmla="*/ 26 w 393"/>
                  <a:gd name="T19" fmla="*/ 307 h 469"/>
                  <a:gd name="T20" fmla="*/ 3 w 393"/>
                  <a:gd name="T21" fmla="*/ 315 h 469"/>
                  <a:gd name="T22" fmla="*/ 0 w 393"/>
                  <a:gd name="T23" fmla="*/ 347 h 469"/>
                  <a:gd name="T24" fmla="*/ 221 w 393"/>
                  <a:gd name="T25" fmla="*/ 467 h 469"/>
                  <a:gd name="T26" fmla="*/ 346 w 393"/>
                  <a:gd name="T27" fmla="*/ 469 h 469"/>
                  <a:gd name="T28" fmla="*/ 393 w 393"/>
                  <a:gd name="T29" fmla="*/ 37 h 469"/>
                  <a:gd name="T30" fmla="*/ 100 w 393"/>
                  <a:gd name="T31" fmla="*/ 0 h 46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3"/>
                  <a:gd name="T49" fmla="*/ 0 h 469"/>
                  <a:gd name="T50" fmla="*/ 393 w 393"/>
                  <a:gd name="T51" fmla="*/ 469 h 46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3" h="469">
                    <a:moveTo>
                      <a:pt x="100" y="0"/>
                    </a:moveTo>
                    <a:lnTo>
                      <a:pt x="92" y="61"/>
                    </a:lnTo>
                    <a:lnTo>
                      <a:pt x="58" y="54"/>
                    </a:lnTo>
                    <a:lnTo>
                      <a:pt x="61" y="133"/>
                    </a:lnTo>
                    <a:lnTo>
                      <a:pt x="44" y="148"/>
                    </a:lnTo>
                    <a:lnTo>
                      <a:pt x="68" y="197"/>
                    </a:lnTo>
                    <a:lnTo>
                      <a:pt x="44" y="218"/>
                    </a:lnTo>
                    <a:lnTo>
                      <a:pt x="31" y="253"/>
                    </a:lnTo>
                    <a:lnTo>
                      <a:pt x="12" y="287"/>
                    </a:lnTo>
                    <a:lnTo>
                      <a:pt x="26" y="307"/>
                    </a:lnTo>
                    <a:lnTo>
                      <a:pt x="3" y="315"/>
                    </a:lnTo>
                    <a:lnTo>
                      <a:pt x="0" y="347"/>
                    </a:lnTo>
                    <a:lnTo>
                      <a:pt x="221" y="467"/>
                    </a:lnTo>
                    <a:lnTo>
                      <a:pt x="346" y="469"/>
                    </a:lnTo>
                    <a:lnTo>
                      <a:pt x="393" y="37"/>
                    </a:lnTo>
                    <a:lnTo>
                      <a:pt x="100" y="0"/>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58" name="Freeform 33"/>
              <p:cNvSpPr>
                <a:spLocks/>
              </p:cNvSpPr>
              <p:nvPr/>
            </p:nvSpPr>
            <p:spPr bwMode="gray">
              <a:xfrm>
                <a:off x="2220" y="2236"/>
                <a:ext cx="417" cy="445"/>
              </a:xfrm>
              <a:custGeom>
                <a:avLst/>
                <a:gdLst>
                  <a:gd name="T0" fmla="*/ 50 w 417"/>
                  <a:gd name="T1" fmla="*/ 0 h 445"/>
                  <a:gd name="T2" fmla="*/ 417 w 417"/>
                  <a:gd name="T3" fmla="*/ 18 h 445"/>
                  <a:gd name="T4" fmla="*/ 399 w 417"/>
                  <a:gd name="T5" fmla="*/ 411 h 445"/>
                  <a:gd name="T6" fmla="*/ 280 w 417"/>
                  <a:gd name="T7" fmla="*/ 403 h 445"/>
                  <a:gd name="T8" fmla="*/ 168 w 417"/>
                  <a:gd name="T9" fmla="*/ 400 h 445"/>
                  <a:gd name="T10" fmla="*/ 168 w 417"/>
                  <a:gd name="T11" fmla="*/ 415 h 445"/>
                  <a:gd name="T12" fmla="*/ 75 w 417"/>
                  <a:gd name="T13" fmla="*/ 415 h 445"/>
                  <a:gd name="T14" fmla="*/ 70 w 417"/>
                  <a:gd name="T15" fmla="*/ 445 h 445"/>
                  <a:gd name="T16" fmla="*/ 0 w 417"/>
                  <a:gd name="T17" fmla="*/ 435 h 445"/>
                  <a:gd name="T18" fmla="*/ 39 w 417"/>
                  <a:gd name="T19" fmla="*/ 102 h 445"/>
                  <a:gd name="T20" fmla="*/ 50 w 417"/>
                  <a:gd name="T21" fmla="*/ 0 h 4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7"/>
                  <a:gd name="T34" fmla="*/ 0 h 445"/>
                  <a:gd name="T35" fmla="*/ 417 w 417"/>
                  <a:gd name="T36" fmla="*/ 445 h 44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7" h="445">
                    <a:moveTo>
                      <a:pt x="50" y="0"/>
                    </a:moveTo>
                    <a:lnTo>
                      <a:pt x="417" y="18"/>
                    </a:lnTo>
                    <a:lnTo>
                      <a:pt x="399" y="411"/>
                    </a:lnTo>
                    <a:lnTo>
                      <a:pt x="280" y="403"/>
                    </a:lnTo>
                    <a:lnTo>
                      <a:pt x="168" y="400"/>
                    </a:lnTo>
                    <a:lnTo>
                      <a:pt x="168" y="415"/>
                    </a:lnTo>
                    <a:lnTo>
                      <a:pt x="75" y="415"/>
                    </a:lnTo>
                    <a:lnTo>
                      <a:pt x="70" y="445"/>
                    </a:lnTo>
                    <a:lnTo>
                      <a:pt x="0" y="435"/>
                    </a:lnTo>
                    <a:lnTo>
                      <a:pt x="39" y="102"/>
                    </a:lnTo>
                    <a:lnTo>
                      <a:pt x="50" y="0"/>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59" name="Freeform 34"/>
              <p:cNvSpPr>
                <a:spLocks/>
              </p:cNvSpPr>
              <p:nvPr/>
            </p:nvSpPr>
            <p:spPr bwMode="gray">
              <a:xfrm>
                <a:off x="2599" y="1277"/>
                <a:ext cx="407" cy="256"/>
              </a:xfrm>
              <a:custGeom>
                <a:avLst/>
                <a:gdLst>
                  <a:gd name="T0" fmla="*/ 1 w 407"/>
                  <a:gd name="T1" fmla="*/ 0 h 256"/>
                  <a:gd name="T2" fmla="*/ 342 w 407"/>
                  <a:gd name="T3" fmla="*/ 8 h 256"/>
                  <a:gd name="T4" fmla="*/ 367 w 407"/>
                  <a:gd name="T5" fmla="*/ 83 h 256"/>
                  <a:gd name="T6" fmla="*/ 391 w 407"/>
                  <a:gd name="T7" fmla="*/ 141 h 256"/>
                  <a:gd name="T8" fmla="*/ 407 w 407"/>
                  <a:gd name="T9" fmla="*/ 235 h 256"/>
                  <a:gd name="T10" fmla="*/ 397 w 407"/>
                  <a:gd name="T11" fmla="*/ 256 h 256"/>
                  <a:gd name="T12" fmla="*/ 272 w 407"/>
                  <a:gd name="T13" fmla="*/ 253 h 256"/>
                  <a:gd name="T14" fmla="*/ 0 w 407"/>
                  <a:gd name="T15" fmla="*/ 248 h 256"/>
                  <a:gd name="T16" fmla="*/ 1 w 407"/>
                  <a:gd name="T17" fmla="*/ 0 h 2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7"/>
                  <a:gd name="T28" fmla="*/ 0 h 256"/>
                  <a:gd name="T29" fmla="*/ 407 w 407"/>
                  <a:gd name="T30" fmla="*/ 256 h 2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7" h="256">
                    <a:moveTo>
                      <a:pt x="1" y="0"/>
                    </a:moveTo>
                    <a:lnTo>
                      <a:pt x="342" y="8"/>
                    </a:lnTo>
                    <a:lnTo>
                      <a:pt x="367" y="83"/>
                    </a:lnTo>
                    <a:lnTo>
                      <a:pt x="391" y="141"/>
                    </a:lnTo>
                    <a:lnTo>
                      <a:pt x="407" y="235"/>
                    </a:lnTo>
                    <a:lnTo>
                      <a:pt x="397" y="256"/>
                    </a:lnTo>
                    <a:lnTo>
                      <a:pt x="272" y="253"/>
                    </a:lnTo>
                    <a:lnTo>
                      <a:pt x="0" y="248"/>
                    </a:lnTo>
                    <a:lnTo>
                      <a:pt x="1" y="0"/>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60" name="Freeform 35"/>
              <p:cNvSpPr>
                <a:spLocks/>
              </p:cNvSpPr>
              <p:nvPr/>
            </p:nvSpPr>
            <p:spPr bwMode="gray">
              <a:xfrm>
                <a:off x="2588" y="1524"/>
                <a:ext cx="428" cy="300"/>
              </a:xfrm>
              <a:custGeom>
                <a:avLst/>
                <a:gdLst>
                  <a:gd name="T0" fmla="*/ 8 w 428"/>
                  <a:gd name="T1" fmla="*/ 0 h 300"/>
                  <a:gd name="T2" fmla="*/ 7 w 428"/>
                  <a:gd name="T3" fmla="*/ 116 h 300"/>
                  <a:gd name="T4" fmla="*/ 0 w 428"/>
                  <a:gd name="T5" fmla="*/ 252 h 300"/>
                  <a:gd name="T6" fmla="*/ 311 w 428"/>
                  <a:gd name="T7" fmla="*/ 257 h 300"/>
                  <a:gd name="T8" fmla="*/ 344 w 428"/>
                  <a:gd name="T9" fmla="*/ 276 h 300"/>
                  <a:gd name="T10" fmla="*/ 367 w 428"/>
                  <a:gd name="T11" fmla="*/ 250 h 300"/>
                  <a:gd name="T12" fmla="*/ 428 w 428"/>
                  <a:gd name="T13" fmla="*/ 300 h 300"/>
                  <a:gd name="T14" fmla="*/ 419 w 428"/>
                  <a:gd name="T15" fmla="*/ 248 h 300"/>
                  <a:gd name="T16" fmla="*/ 425 w 428"/>
                  <a:gd name="T17" fmla="*/ 208 h 300"/>
                  <a:gd name="T18" fmla="*/ 428 w 428"/>
                  <a:gd name="T19" fmla="*/ 71 h 300"/>
                  <a:gd name="T20" fmla="*/ 401 w 428"/>
                  <a:gd name="T21" fmla="*/ 42 h 300"/>
                  <a:gd name="T22" fmla="*/ 412 w 428"/>
                  <a:gd name="T23" fmla="*/ 4 h 300"/>
                  <a:gd name="T24" fmla="*/ 208 w 428"/>
                  <a:gd name="T25" fmla="*/ 3 h 300"/>
                  <a:gd name="T26" fmla="*/ 8 w 428"/>
                  <a:gd name="T27" fmla="*/ 0 h 3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28"/>
                  <a:gd name="T43" fmla="*/ 0 h 300"/>
                  <a:gd name="T44" fmla="*/ 428 w 428"/>
                  <a:gd name="T45" fmla="*/ 300 h 3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28" h="300">
                    <a:moveTo>
                      <a:pt x="8" y="0"/>
                    </a:moveTo>
                    <a:lnTo>
                      <a:pt x="7" y="116"/>
                    </a:lnTo>
                    <a:lnTo>
                      <a:pt x="0" y="252"/>
                    </a:lnTo>
                    <a:lnTo>
                      <a:pt x="311" y="257"/>
                    </a:lnTo>
                    <a:lnTo>
                      <a:pt x="344" y="276"/>
                    </a:lnTo>
                    <a:lnTo>
                      <a:pt x="367" y="250"/>
                    </a:lnTo>
                    <a:lnTo>
                      <a:pt x="428" y="300"/>
                    </a:lnTo>
                    <a:lnTo>
                      <a:pt x="419" y="248"/>
                    </a:lnTo>
                    <a:lnTo>
                      <a:pt x="425" y="208"/>
                    </a:lnTo>
                    <a:lnTo>
                      <a:pt x="428" y="71"/>
                    </a:lnTo>
                    <a:lnTo>
                      <a:pt x="401" y="42"/>
                    </a:lnTo>
                    <a:lnTo>
                      <a:pt x="412" y="4"/>
                    </a:lnTo>
                    <a:lnTo>
                      <a:pt x="208" y="3"/>
                    </a:lnTo>
                    <a:lnTo>
                      <a:pt x="8" y="0"/>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61" name="Freeform 36"/>
              <p:cNvSpPr>
                <a:spLocks/>
              </p:cNvSpPr>
              <p:nvPr/>
            </p:nvSpPr>
            <p:spPr bwMode="gray">
              <a:xfrm>
                <a:off x="2582" y="1773"/>
                <a:ext cx="510" cy="247"/>
              </a:xfrm>
              <a:custGeom>
                <a:avLst/>
                <a:gdLst>
                  <a:gd name="T0" fmla="*/ 5 w 510"/>
                  <a:gd name="T1" fmla="*/ 0 h 247"/>
                  <a:gd name="T2" fmla="*/ 0 w 510"/>
                  <a:gd name="T3" fmla="*/ 163 h 247"/>
                  <a:gd name="T4" fmla="*/ 115 w 510"/>
                  <a:gd name="T5" fmla="*/ 167 h 247"/>
                  <a:gd name="T6" fmla="*/ 114 w 510"/>
                  <a:gd name="T7" fmla="*/ 247 h 247"/>
                  <a:gd name="T8" fmla="*/ 269 w 510"/>
                  <a:gd name="T9" fmla="*/ 245 h 247"/>
                  <a:gd name="T10" fmla="*/ 408 w 510"/>
                  <a:gd name="T11" fmla="*/ 242 h 247"/>
                  <a:gd name="T12" fmla="*/ 510 w 510"/>
                  <a:gd name="T13" fmla="*/ 245 h 247"/>
                  <a:gd name="T14" fmla="*/ 478 w 510"/>
                  <a:gd name="T15" fmla="*/ 175 h 247"/>
                  <a:gd name="T16" fmla="*/ 456 w 510"/>
                  <a:gd name="T17" fmla="*/ 110 h 247"/>
                  <a:gd name="T18" fmla="*/ 432 w 510"/>
                  <a:gd name="T19" fmla="*/ 43 h 247"/>
                  <a:gd name="T20" fmla="*/ 374 w 510"/>
                  <a:gd name="T21" fmla="*/ 1 h 247"/>
                  <a:gd name="T22" fmla="*/ 348 w 510"/>
                  <a:gd name="T23" fmla="*/ 26 h 247"/>
                  <a:gd name="T24" fmla="*/ 316 w 510"/>
                  <a:gd name="T25" fmla="*/ 8 h 247"/>
                  <a:gd name="T26" fmla="*/ 177 w 510"/>
                  <a:gd name="T27" fmla="*/ 3 h 247"/>
                  <a:gd name="T28" fmla="*/ 5 w 510"/>
                  <a:gd name="T29" fmla="*/ 0 h 2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10"/>
                  <a:gd name="T46" fmla="*/ 0 h 247"/>
                  <a:gd name="T47" fmla="*/ 510 w 510"/>
                  <a:gd name="T48" fmla="*/ 247 h 2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10" h="247">
                    <a:moveTo>
                      <a:pt x="5" y="0"/>
                    </a:moveTo>
                    <a:lnTo>
                      <a:pt x="0" y="163"/>
                    </a:lnTo>
                    <a:lnTo>
                      <a:pt x="115" y="167"/>
                    </a:lnTo>
                    <a:lnTo>
                      <a:pt x="114" y="247"/>
                    </a:lnTo>
                    <a:lnTo>
                      <a:pt x="269" y="245"/>
                    </a:lnTo>
                    <a:lnTo>
                      <a:pt x="408" y="242"/>
                    </a:lnTo>
                    <a:lnTo>
                      <a:pt x="510" y="245"/>
                    </a:lnTo>
                    <a:lnTo>
                      <a:pt x="478" y="175"/>
                    </a:lnTo>
                    <a:lnTo>
                      <a:pt x="456" y="110"/>
                    </a:lnTo>
                    <a:lnTo>
                      <a:pt x="432" y="43"/>
                    </a:lnTo>
                    <a:lnTo>
                      <a:pt x="374" y="1"/>
                    </a:lnTo>
                    <a:lnTo>
                      <a:pt x="348" y="26"/>
                    </a:lnTo>
                    <a:lnTo>
                      <a:pt x="316" y="8"/>
                    </a:lnTo>
                    <a:lnTo>
                      <a:pt x="177" y="3"/>
                    </a:lnTo>
                    <a:lnTo>
                      <a:pt x="5" y="0"/>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62" name="Freeform 37"/>
              <p:cNvSpPr>
                <a:spLocks/>
              </p:cNvSpPr>
              <p:nvPr/>
            </p:nvSpPr>
            <p:spPr bwMode="gray">
              <a:xfrm>
                <a:off x="2690" y="2014"/>
                <a:ext cx="449" cy="246"/>
              </a:xfrm>
              <a:custGeom>
                <a:avLst/>
                <a:gdLst>
                  <a:gd name="T0" fmla="*/ 5 w 449"/>
                  <a:gd name="T1" fmla="*/ 2 h 246"/>
                  <a:gd name="T2" fmla="*/ 3 w 449"/>
                  <a:gd name="T3" fmla="*/ 143 h 246"/>
                  <a:gd name="T4" fmla="*/ 0 w 449"/>
                  <a:gd name="T5" fmla="*/ 243 h 246"/>
                  <a:gd name="T6" fmla="*/ 449 w 449"/>
                  <a:gd name="T7" fmla="*/ 246 h 246"/>
                  <a:gd name="T8" fmla="*/ 440 w 449"/>
                  <a:gd name="T9" fmla="*/ 118 h 246"/>
                  <a:gd name="T10" fmla="*/ 440 w 449"/>
                  <a:gd name="T11" fmla="*/ 69 h 246"/>
                  <a:gd name="T12" fmla="*/ 404 w 449"/>
                  <a:gd name="T13" fmla="*/ 40 h 246"/>
                  <a:gd name="T14" fmla="*/ 415 w 449"/>
                  <a:gd name="T15" fmla="*/ 14 h 246"/>
                  <a:gd name="T16" fmla="*/ 399 w 449"/>
                  <a:gd name="T17" fmla="*/ 0 h 246"/>
                  <a:gd name="T18" fmla="*/ 196 w 449"/>
                  <a:gd name="T19" fmla="*/ 2 h 246"/>
                  <a:gd name="T20" fmla="*/ 5 w 449"/>
                  <a:gd name="T21" fmla="*/ 2 h 2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49"/>
                  <a:gd name="T34" fmla="*/ 0 h 246"/>
                  <a:gd name="T35" fmla="*/ 449 w 449"/>
                  <a:gd name="T36" fmla="*/ 246 h 2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49" h="246">
                    <a:moveTo>
                      <a:pt x="5" y="2"/>
                    </a:moveTo>
                    <a:lnTo>
                      <a:pt x="3" y="143"/>
                    </a:lnTo>
                    <a:lnTo>
                      <a:pt x="0" y="243"/>
                    </a:lnTo>
                    <a:lnTo>
                      <a:pt x="449" y="246"/>
                    </a:lnTo>
                    <a:lnTo>
                      <a:pt x="440" y="118"/>
                    </a:lnTo>
                    <a:lnTo>
                      <a:pt x="440" y="69"/>
                    </a:lnTo>
                    <a:lnTo>
                      <a:pt x="404" y="40"/>
                    </a:lnTo>
                    <a:lnTo>
                      <a:pt x="415" y="14"/>
                    </a:lnTo>
                    <a:lnTo>
                      <a:pt x="399" y="0"/>
                    </a:lnTo>
                    <a:lnTo>
                      <a:pt x="196" y="2"/>
                    </a:lnTo>
                    <a:lnTo>
                      <a:pt x="5" y="2"/>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63" name="Freeform 38"/>
              <p:cNvSpPr>
                <a:spLocks/>
              </p:cNvSpPr>
              <p:nvPr/>
            </p:nvSpPr>
            <p:spPr bwMode="gray">
              <a:xfrm>
                <a:off x="2630" y="2254"/>
                <a:ext cx="523" cy="270"/>
              </a:xfrm>
              <a:custGeom>
                <a:avLst/>
                <a:gdLst>
                  <a:gd name="T0" fmla="*/ 3 w 523"/>
                  <a:gd name="T1" fmla="*/ 0 h 270"/>
                  <a:gd name="T2" fmla="*/ 0 w 523"/>
                  <a:gd name="T3" fmla="*/ 48 h 270"/>
                  <a:gd name="T4" fmla="*/ 186 w 523"/>
                  <a:gd name="T5" fmla="*/ 55 h 270"/>
                  <a:gd name="T6" fmla="*/ 187 w 523"/>
                  <a:gd name="T7" fmla="*/ 209 h 270"/>
                  <a:gd name="T8" fmla="*/ 282 w 523"/>
                  <a:gd name="T9" fmla="*/ 251 h 270"/>
                  <a:gd name="T10" fmla="*/ 308 w 523"/>
                  <a:gd name="T11" fmla="*/ 236 h 270"/>
                  <a:gd name="T12" fmla="*/ 369 w 523"/>
                  <a:gd name="T13" fmla="*/ 270 h 270"/>
                  <a:gd name="T14" fmla="*/ 408 w 523"/>
                  <a:gd name="T15" fmla="*/ 269 h 270"/>
                  <a:gd name="T16" fmla="*/ 480 w 523"/>
                  <a:gd name="T17" fmla="*/ 236 h 270"/>
                  <a:gd name="T18" fmla="*/ 523 w 523"/>
                  <a:gd name="T19" fmla="*/ 268 h 270"/>
                  <a:gd name="T20" fmla="*/ 523 w 523"/>
                  <a:gd name="T21" fmla="*/ 101 h 270"/>
                  <a:gd name="T22" fmla="*/ 510 w 523"/>
                  <a:gd name="T23" fmla="*/ 3 h 270"/>
                  <a:gd name="T24" fmla="*/ 3 w 523"/>
                  <a:gd name="T25" fmla="*/ 0 h 27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23"/>
                  <a:gd name="T40" fmla="*/ 0 h 270"/>
                  <a:gd name="T41" fmla="*/ 523 w 523"/>
                  <a:gd name="T42" fmla="*/ 270 h 27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23" h="270">
                    <a:moveTo>
                      <a:pt x="3" y="0"/>
                    </a:moveTo>
                    <a:lnTo>
                      <a:pt x="0" y="48"/>
                    </a:lnTo>
                    <a:lnTo>
                      <a:pt x="186" y="55"/>
                    </a:lnTo>
                    <a:lnTo>
                      <a:pt x="187" y="209"/>
                    </a:lnTo>
                    <a:lnTo>
                      <a:pt x="282" y="251"/>
                    </a:lnTo>
                    <a:lnTo>
                      <a:pt x="308" y="236"/>
                    </a:lnTo>
                    <a:lnTo>
                      <a:pt x="369" y="270"/>
                    </a:lnTo>
                    <a:lnTo>
                      <a:pt x="408" y="269"/>
                    </a:lnTo>
                    <a:lnTo>
                      <a:pt x="480" y="236"/>
                    </a:lnTo>
                    <a:lnTo>
                      <a:pt x="523" y="268"/>
                    </a:lnTo>
                    <a:lnTo>
                      <a:pt x="523" y="101"/>
                    </a:lnTo>
                    <a:lnTo>
                      <a:pt x="510" y="3"/>
                    </a:lnTo>
                    <a:lnTo>
                      <a:pt x="3" y="0"/>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64" name="Freeform 39"/>
              <p:cNvSpPr>
                <a:spLocks/>
              </p:cNvSpPr>
              <p:nvPr/>
            </p:nvSpPr>
            <p:spPr bwMode="gray">
              <a:xfrm>
                <a:off x="3006" y="1715"/>
                <a:ext cx="354" cy="247"/>
              </a:xfrm>
              <a:custGeom>
                <a:avLst/>
                <a:gdLst>
                  <a:gd name="T0" fmla="*/ 6 w 354"/>
                  <a:gd name="T1" fmla="*/ 13 h 247"/>
                  <a:gd name="T2" fmla="*/ 0 w 354"/>
                  <a:gd name="T3" fmla="*/ 57 h 247"/>
                  <a:gd name="T4" fmla="*/ 8 w 354"/>
                  <a:gd name="T5" fmla="*/ 103 h 247"/>
                  <a:gd name="T6" fmla="*/ 41 w 354"/>
                  <a:gd name="T7" fmla="*/ 197 h 247"/>
                  <a:gd name="T8" fmla="*/ 59 w 354"/>
                  <a:gd name="T9" fmla="*/ 247 h 247"/>
                  <a:gd name="T10" fmla="*/ 267 w 354"/>
                  <a:gd name="T11" fmla="*/ 235 h 247"/>
                  <a:gd name="T12" fmla="*/ 301 w 354"/>
                  <a:gd name="T13" fmla="*/ 247 h 247"/>
                  <a:gd name="T14" fmla="*/ 322 w 354"/>
                  <a:gd name="T15" fmla="*/ 199 h 247"/>
                  <a:gd name="T16" fmla="*/ 314 w 354"/>
                  <a:gd name="T17" fmla="*/ 165 h 247"/>
                  <a:gd name="T18" fmla="*/ 349 w 354"/>
                  <a:gd name="T19" fmla="*/ 158 h 247"/>
                  <a:gd name="T20" fmla="*/ 354 w 354"/>
                  <a:gd name="T21" fmla="*/ 104 h 247"/>
                  <a:gd name="T22" fmla="*/ 333 w 354"/>
                  <a:gd name="T23" fmla="*/ 80 h 247"/>
                  <a:gd name="T24" fmla="*/ 297 w 354"/>
                  <a:gd name="T25" fmla="*/ 57 h 247"/>
                  <a:gd name="T26" fmla="*/ 304 w 354"/>
                  <a:gd name="T27" fmla="*/ 24 h 247"/>
                  <a:gd name="T28" fmla="*/ 289 w 354"/>
                  <a:gd name="T29" fmla="*/ 0 h 247"/>
                  <a:gd name="T30" fmla="*/ 211 w 354"/>
                  <a:gd name="T31" fmla="*/ 4 h 247"/>
                  <a:gd name="T32" fmla="*/ 133 w 354"/>
                  <a:gd name="T33" fmla="*/ 7 h 247"/>
                  <a:gd name="T34" fmla="*/ 6 w 354"/>
                  <a:gd name="T35" fmla="*/ 13 h 24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4"/>
                  <a:gd name="T55" fmla="*/ 0 h 247"/>
                  <a:gd name="T56" fmla="*/ 354 w 354"/>
                  <a:gd name="T57" fmla="*/ 247 h 24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4" h="247">
                    <a:moveTo>
                      <a:pt x="6" y="13"/>
                    </a:moveTo>
                    <a:lnTo>
                      <a:pt x="0" y="57"/>
                    </a:lnTo>
                    <a:lnTo>
                      <a:pt x="8" y="103"/>
                    </a:lnTo>
                    <a:lnTo>
                      <a:pt x="41" y="197"/>
                    </a:lnTo>
                    <a:lnTo>
                      <a:pt x="59" y="247"/>
                    </a:lnTo>
                    <a:lnTo>
                      <a:pt x="267" y="235"/>
                    </a:lnTo>
                    <a:lnTo>
                      <a:pt x="301" y="247"/>
                    </a:lnTo>
                    <a:lnTo>
                      <a:pt x="322" y="199"/>
                    </a:lnTo>
                    <a:lnTo>
                      <a:pt x="314" y="165"/>
                    </a:lnTo>
                    <a:lnTo>
                      <a:pt x="349" y="158"/>
                    </a:lnTo>
                    <a:lnTo>
                      <a:pt x="354" y="104"/>
                    </a:lnTo>
                    <a:lnTo>
                      <a:pt x="333" y="80"/>
                    </a:lnTo>
                    <a:lnTo>
                      <a:pt x="297" y="57"/>
                    </a:lnTo>
                    <a:lnTo>
                      <a:pt x="304" y="24"/>
                    </a:lnTo>
                    <a:lnTo>
                      <a:pt x="289" y="0"/>
                    </a:lnTo>
                    <a:lnTo>
                      <a:pt x="211" y="4"/>
                    </a:lnTo>
                    <a:lnTo>
                      <a:pt x="133" y="7"/>
                    </a:lnTo>
                    <a:lnTo>
                      <a:pt x="6" y="13"/>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65" name="Freeform 40"/>
              <p:cNvSpPr>
                <a:spLocks/>
              </p:cNvSpPr>
              <p:nvPr/>
            </p:nvSpPr>
            <p:spPr bwMode="gray">
              <a:xfrm>
                <a:off x="3290" y="1768"/>
                <a:ext cx="253" cy="451"/>
              </a:xfrm>
              <a:custGeom>
                <a:avLst/>
                <a:gdLst>
                  <a:gd name="T0" fmla="*/ 47 w 253"/>
                  <a:gd name="T1" fmla="*/ 26 h 451"/>
                  <a:gd name="T2" fmla="*/ 192 w 253"/>
                  <a:gd name="T3" fmla="*/ 0 h 451"/>
                  <a:gd name="T4" fmla="*/ 215 w 253"/>
                  <a:gd name="T5" fmla="*/ 56 h 451"/>
                  <a:gd name="T6" fmla="*/ 245 w 253"/>
                  <a:gd name="T7" fmla="*/ 286 h 451"/>
                  <a:gd name="T8" fmla="*/ 253 w 253"/>
                  <a:gd name="T9" fmla="*/ 317 h 451"/>
                  <a:gd name="T10" fmla="*/ 230 w 253"/>
                  <a:gd name="T11" fmla="*/ 378 h 451"/>
                  <a:gd name="T12" fmla="*/ 230 w 253"/>
                  <a:gd name="T13" fmla="*/ 420 h 451"/>
                  <a:gd name="T14" fmla="*/ 204 w 253"/>
                  <a:gd name="T15" fmla="*/ 415 h 451"/>
                  <a:gd name="T16" fmla="*/ 205 w 253"/>
                  <a:gd name="T17" fmla="*/ 451 h 451"/>
                  <a:gd name="T18" fmla="*/ 178 w 253"/>
                  <a:gd name="T19" fmla="*/ 436 h 451"/>
                  <a:gd name="T20" fmla="*/ 164 w 253"/>
                  <a:gd name="T21" fmla="*/ 441 h 451"/>
                  <a:gd name="T22" fmla="*/ 143 w 253"/>
                  <a:gd name="T23" fmla="*/ 438 h 451"/>
                  <a:gd name="T24" fmla="*/ 128 w 253"/>
                  <a:gd name="T25" fmla="*/ 384 h 451"/>
                  <a:gd name="T26" fmla="*/ 98 w 253"/>
                  <a:gd name="T27" fmla="*/ 367 h 451"/>
                  <a:gd name="T28" fmla="*/ 98 w 253"/>
                  <a:gd name="T29" fmla="*/ 309 h 451"/>
                  <a:gd name="T30" fmla="*/ 69 w 253"/>
                  <a:gd name="T31" fmla="*/ 317 h 451"/>
                  <a:gd name="T32" fmla="*/ 52 w 253"/>
                  <a:gd name="T33" fmla="*/ 274 h 451"/>
                  <a:gd name="T34" fmla="*/ 0 w 253"/>
                  <a:gd name="T35" fmla="*/ 225 h 451"/>
                  <a:gd name="T36" fmla="*/ 38 w 253"/>
                  <a:gd name="T37" fmla="*/ 147 h 451"/>
                  <a:gd name="T38" fmla="*/ 27 w 253"/>
                  <a:gd name="T39" fmla="*/ 111 h 451"/>
                  <a:gd name="T40" fmla="*/ 65 w 253"/>
                  <a:gd name="T41" fmla="*/ 104 h 451"/>
                  <a:gd name="T42" fmla="*/ 69 w 253"/>
                  <a:gd name="T43" fmla="*/ 53 h 451"/>
                  <a:gd name="T44" fmla="*/ 47 w 253"/>
                  <a:gd name="T45" fmla="*/ 26 h 4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53"/>
                  <a:gd name="T70" fmla="*/ 0 h 451"/>
                  <a:gd name="T71" fmla="*/ 253 w 253"/>
                  <a:gd name="T72" fmla="*/ 451 h 4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53" h="451">
                    <a:moveTo>
                      <a:pt x="47" y="26"/>
                    </a:moveTo>
                    <a:lnTo>
                      <a:pt x="192" y="0"/>
                    </a:lnTo>
                    <a:lnTo>
                      <a:pt x="215" y="56"/>
                    </a:lnTo>
                    <a:lnTo>
                      <a:pt x="245" y="286"/>
                    </a:lnTo>
                    <a:lnTo>
                      <a:pt x="253" y="317"/>
                    </a:lnTo>
                    <a:lnTo>
                      <a:pt x="230" y="378"/>
                    </a:lnTo>
                    <a:lnTo>
                      <a:pt x="230" y="420"/>
                    </a:lnTo>
                    <a:lnTo>
                      <a:pt x="204" y="415"/>
                    </a:lnTo>
                    <a:lnTo>
                      <a:pt x="205" y="451"/>
                    </a:lnTo>
                    <a:lnTo>
                      <a:pt x="178" y="436"/>
                    </a:lnTo>
                    <a:lnTo>
                      <a:pt x="164" y="441"/>
                    </a:lnTo>
                    <a:lnTo>
                      <a:pt x="143" y="438"/>
                    </a:lnTo>
                    <a:lnTo>
                      <a:pt x="128" y="384"/>
                    </a:lnTo>
                    <a:lnTo>
                      <a:pt x="98" y="367"/>
                    </a:lnTo>
                    <a:lnTo>
                      <a:pt x="98" y="309"/>
                    </a:lnTo>
                    <a:lnTo>
                      <a:pt x="69" y="317"/>
                    </a:lnTo>
                    <a:lnTo>
                      <a:pt x="52" y="274"/>
                    </a:lnTo>
                    <a:lnTo>
                      <a:pt x="0" y="225"/>
                    </a:lnTo>
                    <a:lnTo>
                      <a:pt x="38" y="147"/>
                    </a:lnTo>
                    <a:lnTo>
                      <a:pt x="27" y="111"/>
                    </a:lnTo>
                    <a:lnTo>
                      <a:pt x="65" y="104"/>
                    </a:lnTo>
                    <a:lnTo>
                      <a:pt x="69" y="53"/>
                    </a:lnTo>
                    <a:lnTo>
                      <a:pt x="47" y="26"/>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66" name="Freeform 41"/>
              <p:cNvSpPr>
                <a:spLocks/>
              </p:cNvSpPr>
              <p:nvPr/>
            </p:nvSpPr>
            <p:spPr bwMode="gray">
              <a:xfrm>
                <a:off x="4206" y="1689"/>
                <a:ext cx="92" cy="196"/>
              </a:xfrm>
              <a:custGeom>
                <a:avLst/>
                <a:gdLst>
                  <a:gd name="T0" fmla="*/ 17 w 92"/>
                  <a:gd name="T1" fmla="*/ 2 h 196"/>
                  <a:gd name="T2" fmla="*/ 39 w 92"/>
                  <a:gd name="T3" fmla="*/ 0 h 196"/>
                  <a:gd name="T4" fmla="*/ 82 w 92"/>
                  <a:gd name="T5" fmla="*/ 30 h 196"/>
                  <a:gd name="T6" fmla="*/ 76 w 92"/>
                  <a:gd name="T7" fmla="*/ 53 h 196"/>
                  <a:gd name="T8" fmla="*/ 91 w 92"/>
                  <a:gd name="T9" fmla="*/ 69 h 196"/>
                  <a:gd name="T10" fmla="*/ 92 w 92"/>
                  <a:gd name="T11" fmla="*/ 160 h 196"/>
                  <a:gd name="T12" fmla="*/ 77 w 92"/>
                  <a:gd name="T13" fmla="*/ 196 h 196"/>
                  <a:gd name="T14" fmla="*/ 59 w 92"/>
                  <a:gd name="T15" fmla="*/ 183 h 196"/>
                  <a:gd name="T16" fmla="*/ 41 w 92"/>
                  <a:gd name="T17" fmla="*/ 182 h 196"/>
                  <a:gd name="T18" fmla="*/ 9 w 92"/>
                  <a:gd name="T19" fmla="*/ 163 h 196"/>
                  <a:gd name="T20" fmla="*/ 33 w 92"/>
                  <a:gd name="T21" fmla="*/ 105 h 196"/>
                  <a:gd name="T22" fmla="*/ 0 w 92"/>
                  <a:gd name="T23" fmla="*/ 75 h 196"/>
                  <a:gd name="T24" fmla="*/ 17 w 92"/>
                  <a:gd name="T25" fmla="*/ 2 h 19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196"/>
                  <a:gd name="T41" fmla="*/ 92 w 92"/>
                  <a:gd name="T42" fmla="*/ 196 h 19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196">
                    <a:moveTo>
                      <a:pt x="17" y="2"/>
                    </a:moveTo>
                    <a:lnTo>
                      <a:pt x="39" y="0"/>
                    </a:lnTo>
                    <a:lnTo>
                      <a:pt x="82" y="30"/>
                    </a:lnTo>
                    <a:lnTo>
                      <a:pt x="76" y="53"/>
                    </a:lnTo>
                    <a:lnTo>
                      <a:pt x="91" y="69"/>
                    </a:lnTo>
                    <a:lnTo>
                      <a:pt x="92" y="160"/>
                    </a:lnTo>
                    <a:lnTo>
                      <a:pt x="77" y="196"/>
                    </a:lnTo>
                    <a:lnTo>
                      <a:pt x="59" y="183"/>
                    </a:lnTo>
                    <a:lnTo>
                      <a:pt x="41" y="182"/>
                    </a:lnTo>
                    <a:lnTo>
                      <a:pt x="9" y="163"/>
                    </a:lnTo>
                    <a:lnTo>
                      <a:pt x="33" y="105"/>
                    </a:lnTo>
                    <a:lnTo>
                      <a:pt x="0" y="75"/>
                    </a:lnTo>
                    <a:lnTo>
                      <a:pt x="17" y="2"/>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67" name="Freeform 42"/>
              <p:cNvSpPr>
                <a:spLocks/>
              </p:cNvSpPr>
              <p:nvPr/>
            </p:nvSpPr>
            <p:spPr bwMode="gray">
              <a:xfrm>
                <a:off x="4277" y="1604"/>
                <a:ext cx="113" cy="93"/>
              </a:xfrm>
              <a:custGeom>
                <a:avLst/>
                <a:gdLst>
                  <a:gd name="T0" fmla="*/ 0 w 113"/>
                  <a:gd name="T1" fmla="*/ 23 h 93"/>
                  <a:gd name="T2" fmla="*/ 87 w 113"/>
                  <a:gd name="T3" fmla="*/ 0 h 93"/>
                  <a:gd name="T4" fmla="*/ 113 w 113"/>
                  <a:gd name="T5" fmla="*/ 42 h 93"/>
                  <a:gd name="T6" fmla="*/ 98 w 113"/>
                  <a:gd name="T7" fmla="*/ 61 h 93"/>
                  <a:gd name="T8" fmla="*/ 70 w 113"/>
                  <a:gd name="T9" fmla="*/ 54 h 93"/>
                  <a:gd name="T10" fmla="*/ 28 w 113"/>
                  <a:gd name="T11" fmla="*/ 93 h 93"/>
                  <a:gd name="T12" fmla="*/ 5 w 113"/>
                  <a:gd name="T13" fmla="*/ 73 h 93"/>
                  <a:gd name="T14" fmla="*/ 0 w 113"/>
                  <a:gd name="T15" fmla="*/ 23 h 93"/>
                  <a:gd name="T16" fmla="*/ 0 60000 65536"/>
                  <a:gd name="T17" fmla="*/ 0 60000 65536"/>
                  <a:gd name="T18" fmla="*/ 0 60000 65536"/>
                  <a:gd name="T19" fmla="*/ 0 60000 65536"/>
                  <a:gd name="T20" fmla="*/ 0 60000 65536"/>
                  <a:gd name="T21" fmla="*/ 0 60000 65536"/>
                  <a:gd name="T22" fmla="*/ 0 60000 65536"/>
                  <a:gd name="T23" fmla="*/ 0 60000 65536"/>
                  <a:gd name="T24" fmla="*/ 0 w 113"/>
                  <a:gd name="T25" fmla="*/ 0 h 93"/>
                  <a:gd name="T26" fmla="*/ 113 w 113"/>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3" h="93">
                    <a:moveTo>
                      <a:pt x="0" y="23"/>
                    </a:moveTo>
                    <a:lnTo>
                      <a:pt x="87" y="0"/>
                    </a:lnTo>
                    <a:lnTo>
                      <a:pt x="113" y="42"/>
                    </a:lnTo>
                    <a:lnTo>
                      <a:pt x="98" y="61"/>
                    </a:lnTo>
                    <a:lnTo>
                      <a:pt x="70" y="54"/>
                    </a:lnTo>
                    <a:lnTo>
                      <a:pt x="28" y="93"/>
                    </a:lnTo>
                    <a:lnTo>
                      <a:pt x="5" y="73"/>
                    </a:lnTo>
                    <a:lnTo>
                      <a:pt x="0" y="23"/>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68" name="Freeform 43"/>
              <p:cNvSpPr>
                <a:spLocks/>
              </p:cNvSpPr>
              <p:nvPr/>
            </p:nvSpPr>
            <p:spPr bwMode="gray">
              <a:xfrm>
                <a:off x="4364" y="1595"/>
                <a:ext cx="57" cy="51"/>
              </a:xfrm>
              <a:custGeom>
                <a:avLst/>
                <a:gdLst>
                  <a:gd name="T0" fmla="*/ 0 w 57"/>
                  <a:gd name="T1" fmla="*/ 9 h 51"/>
                  <a:gd name="T2" fmla="*/ 24 w 57"/>
                  <a:gd name="T3" fmla="*/ 0 h 51"/>
                  <a:gd name="T4" fmla="*/ 57 w 57"/>
                  <a:gd name="T5" fmla="*/ 26 h 51"/>
                  <a:gd name="T6" fmla="*/ 50 w 57"/>
                  <a:gd name="T7" fmla="*/ 33 h 51"/>
                  <a:gd name="T8" fmla="*/ 34 w 57"/>
                  <a:gd name="T9" fmla="*/ 33 h 51"/>
                  <a:gd name="T10" fmla="*/ 26 w 57"/>
                  <a:gd name="T11" fmla="*/ 51 h 51"/>
                  <a:gd name="T12" fmla="*/ 0 w 57"/>
                  <a:gd name="T13" fmla="*/ 9 h 51"/>
                  <a:gd name="T14" fmla="*/ 0 60000 65536"/>
                  <a:gd name="T15" fmla="*/ 0 60000 65536"/>
                  <a:gd name="T16" fmla="*/ 0 60000 65536"/>
                  <a:gd name="T17" fmla="*/ 0 60000 65536"/>
                  <a:gd name="T18" fmla="*/ 0 60000 65536"/>
                  <a:gd name="T19" fmla="*/ 0 60000 65536"/>
                  <a:gd name="T20" fmla="*/ 0 60000 65536"/>
                  <a:gd name="T21" fmla="*/ 0 w 57"/>
                  <a:gd name="T22" fmla="*/ 0 h 51"/>
                  <a:gd name="T23" fmla="*/ 57 w 57"/>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 h="51">
                    <a:moveTo>
                      <a:pt x="0" y="9"/>
                    </a:moveTo>
                    <a:lnTo>
                      <a:pt x="24" y="0"/>
                    </a:lnTo>
                    <a:lnTo>
                      <a:pt x="57" y="26"/>
                    </a:lnTo>
                    <a:lnTo>
                      <a:pt x="50" y="33"/>
                    </a:lnTo>
                    <a:lnTo>
                      <a:pt x="34" y="33"/>
                    </a:lnTo>
                    <a:lnTo>
                      <a:pt x="26" y="51"/>
                    </a:lnTo>
                    <a:lnTo>
                      <a:pt x="0" y="9"/>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grpSp>
        <p:sp>
          <p:nvSpPr>
            <p:cNvPr id="141" name="Freeform 44"/>
            <p:cNvSpPr>
              <a:spLocks/>
            </p:cNvSpPr>
            <p:nvPr/>
          </p:nvSpPr>
          <p:spPr bwMode="gray">
            <a:xfrm>
              <a:off x="2030795" y="1914525"/>
              <a:ext cx="801377" cy="584200"/>
            </a:xfrm>
            <a:custGeom>
              <a:avLst/>
              <a:gdLst>
                <a:gd name="T0" fmla="*/ 134 w 389"/>
                <a:gd name="T1" fmla="*/ 0 h 307"/>
                <a:gd name="T2" fmla="*/ 245 w 389"/>
                <a:gd name="T3" fmla="*/ 24 h 307"/>
                <a:gd name="T4" fmla="*/ 328 w 389"/>
                <a:gd name="T5" fmla="*/ 39 h 307"/>
                <a:gd name="T6" fmla="*/ 369 w 389"/>
                <a:gd name="T7" fmla="*/ 46 h 307"/>
                <a:gd name="T8" fmla="*/ 411 w 389"/>
                <a:gd name="T9" fmla="*/ 51 h 307"/>
                <a:gd name="T10" fmla="*/ 466 w 389"/>
                <a:gd name="T11" fmla="*/ 59 h 307"/>
                <a:gd name="T12" fmla="*/ 535 w 389"/>
                <a:gd name="T13" fmla="*/ 68 h 307"/>
                <a:gd name="T14" fmla="*/ 489 w 389"/>
                <a:gd name="T15" fmla="*/ 307 h 307"/>
                <a:gd name="T16" fmla="*/ 282 w 389"/>
                <a:gd name="T17" fmla="*/ 273 h 307"/>
                <a:gd name="T18" fmla="*/ 255 w 389"/>
                <a:gd name="T19" fmla="*/ 288 h 307"/>
                <a:gd name="T20" fmla="*/ 216 w 389"/>
                <a:gd name="T21" fmla="*/ 265 h 307"/>
                <a:gd name="T22" fmla="*/ 184 w 389"/>
                <a:gd name="T23" fmla="*/ 288 h 307"/>
                <a:gd name="T24" fmla="*/ 154 w 389"/>
                <a:gd name="T25" fmla="*/ 268 h 307"/>
                <a:gd name="T26" fmla="*/ 68 w 389"/>
                <a:gd name="T27" fmla="*/ 265 h 307"/>
                <a:gd name="T28" fmla="*/ 81 w 389"/>
                <a:gd name="T29" fmla="*/ 226 h 307"/>
                <a:gd name="T30" fmla="*/ 18 w 389"/>
                <a:gd name="T31" fmla="*/ 222 h 307"/>
                <a:gd name="T32" fmla="*/ 13 w 389"/>
                <a:gd name="T33" fmla="*/ 200 h 307"/>
                <a:gd name="T34" fmla="*/ 25 w 389"/>
                <a:gd name="T35" fmla="*/ 177 h 307"/>
                <a:gd name="T36" fmla="*/ 11 w 389"/>
                <a:gd name="T37" fmla="*/ 155 h 307"/>
                <a:gd name="T38" fmla="*/ 12 w 389"/>
                <a:gd name="T39" fmla="*/ 96 h 307"/>
                <a:gd name="T40" fmla="*/ 0 w 389"/>
                <a:gd name="T41" fmla="*/ 50 h 307"/>
                <a:gd name="T42" fmla="*/ 5 w 389"/>
                <a:gd name="T43" fmla="*/ 32 h 307"/>
                <a:gd name="T44" fmla="*/ 34 w 389"/>
                <a:gd name="T45" fmla="*/ 39 h 307"/>
                <a:gd name="T46" fmla="*/ 63 w 389"/>
                <a:gd name="T47" fmla="*/ 66 h 307"/>
                <a:gd name="T48" fmla="*/ 115 w 389"/>
                <a:gd name="T49" fmla="*/ 72 h 307"/>
                <a:gd name="T50" fmla="*/ 129 w 389"/>
                <a:gd name="T51" fmla="*/ 94 h 307"/>
                <a:gd name="T52" fmla="*/ 103 w 389"/>
                <a:gd name="T53" fmla="*/ 94 h 307"/>
                <a:gd name="T54" fmla="*/ 100 w 389"/>
                <a:gd name="T55" fmla="*/ 113 h 307"/>
                <a:gd name="T56" fmla="*/ 115 w 389"/>
                <a:gd name="T57" fmla="*/ 115 h 307"/>
                <a:gd name="T58" fmla="*/ 120 w 389"/>
                <a:gd name="T59" fmla="*/ 134 h 307"/>
                <a:gd name="T60" fmla="*/ 89 w 389"/>
                <a:gd name="T61" fmla="*/ 148 h 307"/>
                <a:gd name="T62" fmla="*/ 89 w 389"/>
                <a:gd name="T63" fmla="*/ 161 h 307"/>
                <a:gd name="T64" fmla="*/ 124 w 389"/>
                <a:gd name="T65" fmla="*/ 161 h 307"/>
                <a:gd name="T66" fmla="*/ 134 w 389"/>
                <a:gd name="T67" fmla="*/ 128 h 307"/>
                <a:gd name="T68" fmla="*/ 162 w 389"/>
                <a:gd name="T69" fmla="*/ 108 h 307"/>
                <a:gd name="T70" fmla="*/ 129 w 389"/>
                <a:gd name="T71" fmla="*/ 57 h 307"/>
                <a:gd name="T72" fmla="*/ 150 w 389"/>
                <a:gd name="T73" fmla="*/ 40 h 307"/>
                <a:gd name="T74" fmla="*/ 134 w 389"/>
                <a:gd name="T75" fmla="*/ 0 h 30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89"/>
                <a:gd name="T115" fmla="*/ 0 h 307"/>
                <a:gd name="T116" fmla="*/ 389 w 389"/>
                <a:gd name="T117" fmla="*/ 307 h 30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89" h="307">
                  <a:moveTo>
                    <a:pt x="98" y="0"/>
                  </a:moveTo>
                  <a:lnTo>
                    <a:pt x="178" y="24"/>
                  </a:lnTo>
                  <a:lnTo>
                    <a:pt x="239" y="39"/>
                  </a:lnTo>
                  <a:lnTo>
                    <a:pt x="269" y="46"/>
                  </a:lnTo>
                  <a:lnTo>
                    <a:pt x="299" y="51"/>
                  </a:lnTo>
                  <a:lnTo>
                    <a:pt x="340" y="59"/>
                  </a:lnTo>
                  <a:lnTo>
                    <a:pt x="389" y="68"/>
                  </a:lnTo>
                  <a:lnTo>
                    <a:pt x="357" y="307"/>
                  </a:lnTo>
                  <a:lnTo>
                    <a:pt x="206" y="273"/>
                  </a:lnTo>
                  <a:lnTo>
                    <a:pt x="186" y="288"/>
                  </a:lnTo>
                  <a:lnTo>
                    <a:pt x="158" y="265"/>
                  </a:lnTo>
                  <a:lnTo>
                    <a:pt x="134" y="288"/>
                  </a:lnTo>
                  <a:lnTo>
                    <a:pt x="112" y="268"/>
                  </a:lnTo>
                  <a:lnTo>
                    <a:pt x="50" y="265"/>
                  </a:lnTo>
                  <a:lnTo>
                    <a:pt x="59" y="226"/>
                  </a:lnTo>
                  <a:lnTo>
                    <a:pt x="14" y="222"/>
                  </a:lnTo>
                  <a:lnTo>
                    <a:pt x="9" y="200"/>
                  </a:lnTo>
                  <a:lnTo>
                    <a:pt x="18" y="177"/>
                  </a:lnTo>
                  <a:lnTo>
                    <a:pt x="7" y="155"/>
                  </a:lnTo>
                  <a:lnTo>
                    <a:pt x="8" y="96"/>
                  </a:lnTo>
                  <a:lnTo>
                    <a:pt x="0" y="50"/>
                  </a:lnTo>
                  <a:lnTo>
                    <a:pt x="5" y="32"/>
                  </a:lnTo>
                  <a:lnTo>
                    <a:pt x="25" y="39"/>
                  </a:lnTo>
                  <a:lnTo>
                    <a:pt x="46" y="66"/>
                  </a:lnTo>
                  <a:lnTo>
                    <a:pt x="84" y="72"/>
                  </a:lnTo>
                  <a:lnTo>
                    <a:pt x="94" y="94"/>
                  </a:lnTo>
                  <a:lnTo>
                    <a:pt x="75" y="94"/>
                  </a:lnTo>
                  <a:lnTo>
                    <a:pt x="73" y="113"/>
                  </a:lnTo>
                  <a:lnTo>
                    <a:pt x="84" y="115"/>
                  </a:lnTo>
                  <a:lnTo>
                    <a:pt x="88" y="134"/>
                  </a:lnTo>
                  <a:lnTo>
                    <a:pt x="65" y="148"/>
                  </a:lnTo>
                  <a:lnTo>
                    <a:pt x="65" y="161"/>
                  </a:lnTo>
                  <a:lnTo>
                    <a:pt x="91" y="161"/>
                  </a:lnTo>
                  <a:lnTo>
                    <a:pt x="98" y="128"/>
                  </a:lnTo>
                  <a:lnTo>
                    <a:pt x="118" y="108"/>
                  </a:lnTo>
                  <a:lnTo>
                    <a:pt x="94" y="57"/>
                  </a:lnTo>
                  <a:lnTo>
                    <a:pt x="109" y="40"/>
                  </a:lnTo>
                  <a:lnTo>
                    <a:pt x="98" y="0"/>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42" name="Freeform 45"/>
            <p:cNvSpPr>
              <a:spLocks/>
            </p:cNvSpPr>
            <p:nvPr/>
          </p:nvSpPr>
          <p:spPr bwMode="gray">
            <a:xfrm>
              <a:off x="1839908" y="2336800"/>
              <a:ext cx="1002582" cy="760413"/>
            </a:xfrm>
            <a:custGeom>
              <a:avLst/>
              <a:gdLst>
                <a:gd name="T0" fmla="*/ 147 w 485"/>
                <a:gd name="T1" fmla="*/ 0 h 399"/>
                <a:gd name="T2" fmla="*/ 127 w 485"/>
                <a:gd name="T3" fmla="*/ 9 h 399"/>
                <a:gd name="T4" fmla="*/ 115 w 485"/>
                <a:gd name="T5" fmla="*/ 44 h 399"/>
                <a:gd name="T6" fmla="*/ 102 w 485"/>
                <a:gd name="T7" fmla="*/ 73 h 399"/>
                <a:gd name="T8" fmla="*/ 94 w 485"/>
                <a:gd name="T9" fmla="*/ 97 h 399"/>
                <a:gd name="T10" fmla="*/ 81 w 485"/>
                <a:gd name="T11" fmla="*/ 123 h 399"/>
                <a:gd name="T12" fmla="*/ 67 w 485"/>
                <a:gd name="T13" fmla="*/ 149 h 399"/>
                <a:gd name="T14" fmla="*/ 50 w 485"/>
                <a:gd name="T15" fmla="*/ 177 h 399"/>
                <a:gd name="T16" fmla="*/ 26 w 485"/>
                <a:gd name="T17" fmla="*/ 210 h 399"/>
                <a:gd name="T18" fmla="*/ 0 w 485"/>
                <a:gd name="T19" fmla="*/ 241 h 399"/>
                <a:gd name="T20" fmla="*/ 0 w 485"/>
                <a:gd name="T21" fmla="*/ 311 h 399"/>
                <a:gd name="T22" fmla="*/ 376 w 485"/>
                <a:gd name="T23" fmla="*/ 371 h 399"/>
                <a:gd name="T24" fmla="*/ 552 w 485"/>
                <a:gd name="T25" fmla="*/ 399 h 399"/>
                <a:gd name="T26" fmla="*/ 587 w 485"/>
                <a:gd name="T27" fmla="*/ 260 h 399"/>
                <a:gd name="T28" fmla="*/ 610 w 485"/>
                <a:gd name="T29" fmla="*/ 249 h 399"/>
                <a:gd name="T30" fmla="*/ 588 w 485"/>
                <a:gd name="T31" fmla="*/ 218 h 399"/>
                <a:gd name="T32" fmla="*/ 600 w 485"/>
                <a:gd name="T33" fmla="*/ 186 h 399"/>
                <a:gd name="T34" fmla="*/ 670 w 485"/>
                <a:gd name="T35" fmla="*/ 133 h 399"/>
                <a:gd name="T36" fmla="*/ 621 w 485"/>
                <a:gd name="T37" fmla="*/ 85 h 399"/>
                <a:gd name="T38" fmla="*/ 412 w 485"/>
                <a:gd name="T39" fmla="*/ 51 h 399"/>
                <a:gd name="T40" fmla="*/ 386 w 485"/>
                <a:gd name="T41" fmla="*/ 65 h 399"/>
                <a:gd name="T42" fmla="*/ 346 w 485"/>
                <a:gd name="T43" fmla="*/ 42 h 399"/>
                <a:gd name="T44" fmla="*/ 312 w 485"/>
                <a:gd name="T45" fmla="*/ 66 h 399"/>
                <a:gd name="T46" fmla="*/ 281 w 485"/>
                <a:gd name="T47" fmla="*/ 42 h 399"/>
                <a:gd name="T48" fmla="*/ 197 w 485"/>
                <a:gd name="T49" fmla="*/ 43 h 399"/>
                <a:gd name="T50" fmla="*/ 209 w 485"/>
                <a:gd name="T51" fmla="*/ 4 h 399"/>
                <a:gd name="T52" fmla="*/ 147 w 485"/>
                <a:gd name="T53" fmla="*/ 0 h 39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85"/>
                <a:gd name="T82" fmla="*/ 0 h 399"/>
                <a:gd name="T83" fmla="*/ 485 w 485"/>
                <a:gd name="T84" fmla="*/ 399 h 39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85" h="399">
                  <a:moveTo>
                    <a:pt x="106" y="0"/>
                  </a:moveTo>
                  <a:lnTo>
                    <a:pt x="92" y="9"/>
                  </a:lnTo>
                  <a:lnTo>
                    <a:pt x="83" y="44"/>
                  </a:lnTo>
                  <a:lnTo>
                    <a:pt x="74" y="73"/>
                  </a:lnTo>
                  <a:lnTo>
                    <a:pt x="68" y="97"/>
                  </a:lnTo>
                  <a:lnTo>
                    <a:pt x="59" y="123"/>
                  </a:lnTo>
                  <a:lnTo>
                    <a:pt x="49" y="149"/>
                  </a:lnTo>
                  <a:lnTo>
                    <a:pt x="36" y="177"/>
                  </a:lnTo>
                  <a:lnTo>
                    <a:pt x="18" y="210"/>
                  </a:lnTo>
                  <a:lnTo>
                    <a:pt x="0" y="241"/>
                  </a:lnTo>
                  <a:lnTo>
                    <a:pt x="0" y="311"/>
                  </a:lnTo>
                  <a:lnTo>
                    <a:pt x="272" y="371"/>
                  </a:lnTo>
                  <a:lnTo>
                    <a:pt x="398" y="399"/>
                  </a:lnTo>
                  <a:lnTo>
                    <a:pt x="424" y="260"/>
                  </a:lnTo>
                  <a:lnTo>
                    <a:pt x="441" y="249"/>
                  </a:lnTo>
                  <a:lnTo>
                    <a:pt x="425" y="218"/>
                  </a:lnTo>
                  <a:lnTo>
                    <a:pt x="433" y="186"/>
                  </a:lnTo>
                  <a:lnTo>
                    <a:pt x="485" y="133"/>
                  </a:lnTo>
                  <a:lnTo>
                    <a:pt x="449" y="85"/>
                  </a:lnTo>
                  <a:lnTo>
                    <a:pt x="298" y="51"/>
                  </a:lnTo>
                  <a:lnTo>
                    <a:pt x="278" y="65"/>
                  </a:lnTo>
                  <a:lnTo>
                    <a:pt x="250" y="42"/>
                  </a:lnTo>
                  <a:lnTo>
                    <a:pt x="226" y="66"/>
                  </a:lnTo>
                  <a:lnTo>
                    <a:pt x="203" y="42"/>
                  </a:lnTo>
                  <a:lnTo>
                    <a:pt x="143" y="43"/>
                  </a:lnTo>
                  <a:lnTo>
                    <a:pt x="151" y="4"/>
                  </a:lnTo>
                  <a:lnTo>
                    <a:pt x="106" y="0"/>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43" name="Freeform 46"/>
            <p:cNvSpPr>
              <a:spLocks/>
            </p:cNvSpPr>
            <p:nvPr/>
          </p:nvSpPr>
          <p:spPr bwMode="gray">
            <a:xfrm>
              <a:off x="1757363" y="2925763"/>
              <a:ext cx="1057612" cy="1619250"/>
            </a:xfrm>
            <a:custGeom>
              <a:avLst/>
              <a:gdLst>
                <a:gd name="T0" fmla="*/ 55 w 512"/>
                <a:gd name="T1" fmla="*/ 0 h 850"/>
                <a:gd name="T2" fmla="*/ 379 w 512"/>
                <a:gd name="T3" fmla="*/ 50 h 850"/>
                <a:gd name="T4" fmla="*/ 308 w 512"/>
                <a:gd name="T5" fmla="*/ 300 h 850"/>
                <a:gd name="T6" fmla="*/ 673 w 512"/>
                <a:gd name="T7" fmla="*/ 681 h 850"/>
                <a:gd name="T8" fmla="*/ 708 w 512"/>
                <a:gd name="T9" fmla="*/ 730 h 850"/>
                <a:gd name="T10" fmla="*/ 672 w 512"/>
                <a:gd name="T11" fmla="*/ 753 h 850"/>
                <a:gd name="T12" fmla="*/ 651 w 512"/>
                <a:gd name="T13" fmla="*/ 795 h 850"/>
                <a:gd name="T14" fmla="*/ 628 w 512"/>
                <a:gd name="T15" fmla="*/ 820 h 850"/>
                <a:gd name="T16" fmla="*/ 653 w 512"/>
                <a:gd name="T17" fmla="*/ 842 h 850"/>
                <a:gd name="T18" fmla="*/ 612 w 512"/>
                <a:gd name="T19" fmla="*/ 850 h 850"/>
                <a:gd name="T20" fmla="*/ 398 w 512"/>
                <a:gd name="T21" fmla="*/ 844 h 850"/>
                <a:gd name="T22" fmla="*/ 384 w 512"/>
                <a:gd name="T23" fmla="*/ 794 h 850"/>
                <a:gd name="T24" fmla="*/ 348 w 512"/>
                <a:gd name="T25" fmla="*/ 758 h 850"/>
                <a:gd name="T26" fmla="*/ 320 w 512"/>
                <a:gd name="T27" fmla="*/ 745 h 850"/>
                <a:gd name="T28" fmla="*/ 313 w 512"/>
                <a:gd name="T29" fmla="*/ 719 h 850"/>
                <a:gd name="T30" fmla="*/ 291 w 512"/>
                <a:gd name="T31" fmla="*/ 705 h 850"/>
                <a:gd name="T32" fmla="*/ 268 w 512"/>
                <a:gd name="T33" fmla="*/ 687 h 850"/>
                <a:gd name="T34" fmla="*/ 260 w 512"/>
                <a:gd name="T35" fmla="*/ 667 h 850"/>
                <a:gd name="T36" fmla="*/ 240 w 512"/>
                <a:gd name="T37" fmla="*/ 654 h 850"/>
                <a:gd name="T38" fmla="*/ 207 w 512"/>
                <a:gd name="T39" fmla="*/ 661 h 850"/>
                <a:gd name="T40" fmla="*/ 168 w 512"/>
                <a:gd name="T41" fmla="*/ 651 h 850"/>
                <a:gd name="T42" fmla="*/ 168 w 512"/>
                <a:gd name="T43" fmla="*/ 640 h 850"/>
                <a:gd name="T44" fmla="*/ 167 w 512"/>
                <a:gd name="T45" fmla="*/ 617 h 850"/>
                <a:gd name="T46" fmla="*/ 152 w 512"/>
                <a:gd name="T47" fmla="*/ 591 h 850"/>
                <a:gd name="T48" fmla="*/ 151 w 512"/>
                <a:gd name="T49" fmla="*/ 570 h 850"/>
                <a:gd name="T50" fmla="*/ 134 w 512"/>
                <a:gd name="T51" fmla="*/ 551 h 850"/>
                <a:gd name="T52" fmla="*/ 138 w 512"/>
                <a:gd name="T53" fmla="*/ 533 h 850"/>
                <a:gd name="T54" fmla="*/ 92 w 512"/>
                <a:gd name="T55" fmla="*/ 490 h 850"/>
                <a:gd name="T56" fmla="*/ 92 w 512"/>
                <a:gd name="T57" fmla="*/ 465 h 850"/>
                <a:gd name="T58" fmla="*/ 115 w 512"/>
                <a:gd name="T59" fmla="*/ 456 h 850"/>
                <a:gd name="T60" fmla="*/ 115 w 512"/>
                <a:gd name="T61" fmla="*/ 440 h 850"/>
                <a:gd name="T62" fmla="*/ 92 w 512"/>
                <a:gd name="T63" fmla="*/ 436 h 850"/>
                <a:gd name="T64" fmla="*/ 80 w 512"/>
                <a:gd name="T65" fmla="*/ 412 h 850"/>
                <a:gd name="T66" fmla="*/ 69 w 512"/>
                <a:gd name="T67" fmla="*/ 371 h 850"/>
                <a:gd name="T68" fmla="*/ 103 w 512"/>
                <a:gd name="T69" fmla="*/ 393 h 850"/>
                <a:gd name="T70" fmla="*/ 89 w 512"/>
                <a:gd name="T71" fmla="*/ 364 h 850"/>
                <a:gd name="T72" fmla="*/ 115 w 512"/>
                <a:gd name="T73" fmla="*/ 364 h 850"/>
                <a:gd name="T74" fmla="*/ 115 w 512"/>
                <a:gd name="T75" fmla="*/ 343 h 850"/>
                <a:gd name="T76" fmla="*/ 89 w 512"/>
                <a:gd name="T77" fmla="*/ 329 h 850"/>
                <a:gd name="T78" fmla="*/ 78 w 512"/>
                <a:gd name="T79" fmla="*/ 349 h 850"/>
                <a:gd name="T80" fmla="*/ 55 w 512"/>
                <a:gd name="T81" fmla="*/ 342 h 850"/>
                <a:gd name="T82" fmla="*/ 11 w 512"/>
                <a:gd name="T83" fmla="*/ 246 h 850"/>
                <a:gd name="T84" fmla="*/ 22 w 512"/>
                <a:gd name="T85" fmla="*/ 178 h 850"/>
                <a:gd name="T86" fmla="*/ 0 w 512"/>
                <a:gd name="T87" fmla="*/ 139 h 850"/>
                <a:gd name="T88" fmla="*/ 12 w 512"/>
                <a:gd name="T89" fmla="*/ 110 h 850"/>
                <a:gd name="T90" fmla="*/ 33 w 512"/>
                <a:gd name="T91" fmla="*/ 104 h 850"/>
                <a:gd name="T92" fmla="*/ 55 w 512"/>
                <a:gd name="T93" fmla="*/ 57 h 850"/>
                <a:gd name="T94" fmla="*/ 55 w 512"/>
                <a:gd name="T95" fmla="*/ 0 h 85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12"/>
                <a:gd name="T145" fmla="*/ 0 h 850"/>
                <a:gd name="T146" fmla="*/ 512 w 512"/>
                <a:gd name="T147" fmla="*/ 850 h 85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12" h="850">
                  <a:moveTo>
                    <a:pt x="40" y="0"/>
                  </a:moveTo>
                  <a:lnTo>
                    <a:pt x="275" y="50"/>
                  </a:lnTo>
                  <a:lnTo>
                    <a:pt x="223" y="300"/>
                  </a:lnTo>
                  <a:lnTo>
                    <a:pt x="488" y="681"/>
                  </a:lnTo>
                  <a:lnTo>
                    <a:pt x="512" y="730"/>
                  </a:lnTo>
                  <a:lnTo>
                    <a:pt x="487" y="753"/>
                  </a:lnTo>
                  <a:lnTo>
                    <a:pt x="471" y="795"/>
                  </a:lnTo>
                  <a:lnTo>
                    <a:pt x="455" y="820"/>
                  </a:lnTo>
                  <a:lnTo>
                    <a:pt x="472" y="842"/>
                  </a:lnTo>
                  <a:lnTo>
                    <a:pt x="444" y="850"/>
                  </a:lnTo>
                  <a:lnTo>
                    <a:pt x="289" y="844"/>
                  </a:lnTo>
                  <a:lnTo>
                    <a:pt x="279" y="794"/>
                  </a:lnTo>
                  <a:lnTo>
                    <a:pt x="252" y="758"/>
                  </a:lnTo>
                  <a:lnTo>
                    <a:pt x="232" y="745"/>
                  </a:lnTo>
                  <a:lnTo>
                    <a:pt x="227" y="719"/>
                  </a:lnTo>
                  <a:lnTo>
                    <a:pt x="210" y="705"/>
                  </a:lnTo>
                  <a:lnTo>
                    <a:pt x="194" y="687"/>
                  </a:lnTo>
                  <a:lnTo>
                    <a:pt x="188" y="667"/>
                  </a:lnTo>
                  <a:lnTo>
                    <a:pt x="173" y="654"/>
                  </a:lnTo>
                  <a:lnTo>
                    <a:pt x="149" y="661"/>
                  </a:lnTo>
                  <a:lnTo>
                    <a:pt x="122" y="651"/>
                  </a:lnTo>
                  <a:lnTo>
                    <a:pt x="122" y="640"/>
                  </a:lnTo>
                  <a:lnTo>
                    <a:pt x="121" y="617"/>
                  </a:lnTo>
                  <a:lnTo>
                    <a:pt x="110" y="591"/>
                  </a:lnTo>
                  <a:lnTo>
                    <a:pt x="109" y="570"/>
                  </a:lnTo>
                  <a:lnTo>
                    <a:pt x="97" y="551"/>
                  </a:lnTo>
                  <a:lnTo>
                    <a:pt x="100" y="533"/>
                  </a:lnTo>
                  <a:lnTo>
                    <a:pt x="66" y="490"/>
                  </a:lnTo>
                  <a:lnTo>
                    <a:pt x="66" y="465"/>
                  </a:lnTo>
                  <a:lnTo>
                    <a:pt x="83" y="456"/>
                  </a:lnTo>
                  <a:lnTo>
                    <a:pt x="83" y="440"/>
                  </a:lnTo>
                  <a:lnTo>
                    <a:pt x="66" y="436"/>
                  </a:lnTo>
                  <a:lnTo>
                    <a:pt x="58" y="412"/>
                  </a:lnTo>
                  <a:lnTo>
                    <a:pt x="50" y="371"/>
                  </a:lnTo>
                  <a:lnTo>
                    <a:pt x="75" y="393"/>
                  </a:lnTo>
                  <a:lnTo>
                    <a:pt x="65" y="364"/>
                  </a:lnTo>
                  <a:lnTo>
                    <a:pt x="83" y="364"/>
                  </a:lnTo>
                  <a:lnTo>
                    <a:pt x="83" y="343"/>
                  </a:lnTo>
                  <a:lnTo>
                    <a:pt x="65" y="329"/>
                  </a:lnTo>
                  <a:lnTo>
                    <a:pt x="56" y="349"/>
                  </a:lnTo>
                  <a:lnTo>
                    <a:pt x="40" y="342"/>
                  </a:lnTo>
                  <a:lnTo>
                    <a:pt x="7" y="246"/>
                  </a:lnTo>
                  <a:lnTo>
                    <a:pt x="16" y="178"/>
                  </a:lnTo>
                  <a:lnTo>
                    <a:pt x="0" y="139"/>
                  </a:lnTo>
                  <a:lnTo>
                    <a:pt x="8" y="110"/>
                  </a:lnTo>
                  <a:lnTo>
                    <a:pt x="24" y="104"/>
                  </a:lnTo>
                  <a:lnTo>
                    <a:pt x="40" y="57"/>
                  </a:lnTo>
                  <a:lnTo>
                    <a:pt x="40" y="0"/>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44" name="Freeform 47"/>
            <p:cNvSpPr>
              <a:spLocks/>
            </p:cNvSpPr>
            <p:nvPr/>
          </p:nvSpPr>
          <p:spPr bwMode="gray">
            <a:xfrm>
              <a:off x="2658483" y="2041525"/>
              <a:ext cx="722272" cy="1158875"/>
            </a:xfrm>
            <a:custGeom>
              <a:avLst/>
              <a:gdLst>
                <a:gd name="T0" fmla="*/ 117 w 349"/>
                <a:gd name="T1" fmla="*/ 0 h 608"/>
                <a:gd name="T2" fmla="*/ 72 w 349"/>
                <a:gd name="T3" fmla="*/ 238 h 608"/>
                <a:gd name="T4" fmla="*/ 118 w 349"/>
                <a:gd name="T5" fmla="*/ 288 h 608"/>
                <a:gd name="T6" fmla="*/ 47 w 349"/>
                <a:gd name="T7" fmla="*/ 341 h 608"/>
                <a:gd name="T8" fmla="*/ 37 w 349"/>
                <a:gd name="T9" fmla="*/ 378 h 608"/>
                <a:gd name="T10" fmla="*/ 58 w 349"/>
                <a:gd name="T11" fmla="*/ 404 h 608"/>
                <a:gd name="T12" fmla="*/ 37 w 349"/>
                <a:gd name="T13" fmla="*/ 416 h 608"/>
                <a:gd name="T14" fmla="*/ 0 w 349"/>
                <a:gd name="T15" fmla="*/ 554 h 608"/>
                <a:gd name="T16" fmla="*/ 230 w 349"/>
                <a:gd name="T17" fmla="*/ 586 h 608"/>
                <a:gd name="T18" fmla="*/ 451 w 349"/>
                <a:gd name="T19" fmla="*/ 608 h 608"/>
                <a:gd name="T20" fmla="*/ 472 w 349"/>
                <a:gd name="T21" fmla="*/ 482 h 608"/>
                <a:gd name="T22" fmla="*/ 485 w 349"/>
                <a:gd name="T23" fmla="*/ 413 h 608"/>
                <a:gd name="T24" fmla="*/ 464 w 349"/>
                <a:gd name="T25" fmla="*/ 388 h 608"/>
                <a:gd name="T26" fmla="*/ 414 w 349"/>
                <a:gd name="T27" fmla="*/ 395 h 608"/>
                <a:gd name="T28" fmla="*/ 346 w 349"/>
                <a:gd name="T29" fmla="*/ 401 h 608"/>
                <a:gd name="T30" fmla="*/ 338 w 349"/>
                <a:gd name="T31" fmla="*/ 345 h 608"/>
                <a:gd name="T32" fmla="*/ 257 w 349"/>
                <a:gd name="T33" fmla="*/ 299 h 608"/>
                <a:gd name="T34" fmla="*/ 268 w 349"/>
                <a:gd name="T35" fmla="*/ 270 h 608"/>
                <a:gd name="T36" fmla="*/ 275 w 349"/>
                <a:gd name="T37" fmla="*/ 218 h 608"/>
                <a:gd name="T38" fmla="*/ 175 w 349"/>
                <a:gd name="T39" fmla="*/ 106 h 608"/>
                <a:gd name="T40" fmla="*/ 188 w 349"/>
                <a:gd name="T41" fmla="*/ 7 h 608"/>
                <a:gd name="T42" fmla="*/ 117 w 349"/>
                <a:gd name="T43" fmla="*/ 0 h 60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49"/>
                <a:gd name="T67" fmla="*/ 0 h 608"/>
                <a:gd name="T68" fmla="*/ 349 w 349"/>
                <a:gd name="T69" fmla="*/ 608 h 60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49" h="608">
                  <a:moveTo>
                    <a:pt x="84" y="0"/>
                  </a:moveTo>
                  <a:lnTo>
                    <a:pt x="52" y="238"/>
                  </a:lnTo>
                  <a:lnTo>
                    <a:pt x="85" y="288"/>
                  </a:lnTo>
                  <a:lnTo>
                    <a:pt x="34" y="341"/>
                  </a:lnTo>
                  <a:lnTo>
                    <a:pt x="27" y="378"/>
                  </a:lnTo>
                  <a:lnTo>
                    <a:pt x="41" y="404"/>
                  </a:lnTo>
                  <a:lnTo>
                    <a:pt x="27" y="416"/>
                  </a:lnTo>
                  <a:lnTo>
                    <a:pt x="0" y="554"/>
                  </a:lnTo>
                  <a:lnTo>
                    <a:pt x="166" y="586"/>
                  </a:lnTo>
                  <a:lnTo>
                    <a:pt x="324" y="608"/>
                  </a:lnTo>
                  <a:lnTo>
                    <a:pt x="340" y="482"/>
                  </a:lnTo>
                  <a:lnTo>
                    <a:pt x="349" y="413"/>
                  </a:lnTo>
                  <a:lnTo>
                    <a:pt x="333" y="388"/>
                  </a:lnTo>
                  <a:lnTo>
                    <a:pt x="297" y="395"/>
                  </a:lnTo>
                  <a:lnTo>
                    <a:pt x="250" y="401"/>
                  </a:lnTo>
                  <a:lnTo>
                    <a:pt x="242" y="345"/>
                  </a:lnTo>
                  <a:lnTo>
                    <a:pt x="185" y="299"/>
                  </a:lnTo>
                  <a:lnTo>
                    <a:pt x="192" y="270"/>
                  </a:lnTo>
                  <a:lnTo>
                    <a:pt x="198" y="218"/>
                  </a:lnTo>
                  <a:lnTo>
                    <a:pt x="125" y="106"/>
                  </a:lnTo>
                  <a:lnTo>
                    <a:pt x="134" y="7"/>
                  </a:lnTo>
                  <a:lnTo>
                    <a:pt x="84" y="0"/>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45" name="Freeform 48"/>
            <p:cNvSpPr>
              <a:spLocks/>
            </p:cNvSpPr>
            <p:nvPr/>
          </p:nvSpPr>
          <p:spPr bwMode="gray">
            <a:xfrm>
              <a:off x="5698902" y="4259263"/>
              <a:ext cx="433363" cy="750887"/>
            </a:xfrm>
            <a:custGeom>
              <a:avLst/>
              <a:gdLst>
                <a:gd name="T0" fmla="*/ 81 w 210"/>
                <a:gd name="T1" fmla="*/ 13 h 394"/>
                <a:gd name="T2" fmla="*/ 37 w 210"/>
                <a:gd name="T3" fmla="*/ 80 h 394"/>
                <a:gd name="T4" fmla="*/ 0 w 210"/>
                <a:gd name="T5" fmla="*/ 124 h 394"/>
                <a:gd name="T6" fmla="*/ 13 w 210"/>
                <a:gd name="T7" fmla="*/ 175 h 394"/>
                <a:gd name="T8" fmla="*/ 57 w 210"/>
                <a:gd name="T9" fmla="*/ 246 h 394"/>
                <a:gd name="T10" fmla="*/ 23 w 210"/>
                <a:gd name="T11" fmla="*/ 318 h 394"/>
                <a:gd name="T12" fmla="*/ 6 w 210"/>
                <a:gd name="T13" fmla="*/ 355 h 394"/>
                <a:gd name="T14" fmla="*/ 174 w 210"/>
                <a:gd name="T15" fmla="*/ 340 h 394"/>
                <a:gd name="T16" fmla="*/ 184 w 210"/>
                <a:gd name="T17" fmla="*/ 388 h 394"/>
                <a:gd name="T18" fmla="*/ 217 w 210"/>
                <a:gd name="T19" fmla="*/ 394 h 394"/>
                <a:gd name="T20" fmla="*/ 225 w 210"/>
                <a:gd name="T21" fmla="*/ 369 h 394"/>
                <a:gd name="T22" fmla="*/ 286 w 210"/>
                <a:gd name="T23" fmla="*/ 362 h 394"/>
                <a:gd name="T24" fmla="*/ 272 w 210"/>
                <a:gd name="T25" fmla="*/ 282 h 394"/>
                <a:gd name="T26" fmla="*/ 270 w 210"/>
                <a:gd name="T27" fmla="*/ 0 h 394"/>
                <a:gd name="T28" fmla="*/ 81 w 210"/>
                <a:gd name="T29" fmla="*/ 13 h 39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0"/>
                <a:gd name="T46" fmla="*/ 0 h 394"/>
                <a:gd name="T47" fmla="*/ 210 w 210"/>
                <a:gd name="T48" fmla="*/ 394 h 39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0" h="394">
                  <a:moveTo>
                    <a:pt x="59" y="13"/>
                  </a:moveTo>
                  <a:lnTo>
                    <a:pt x="27" y="80"/>
                  </a:lnTo>
                  <a:lnTo>
                    <a:pt x="0" y="124"/>
                  </a:lnTo>
                  <a:lnTo>
                    <a:pt x="9" y="175"/>
                  </a:lnTo>
                  <a:lnTo>
                    <a:pt x="42" y="246"/>
                  </a:lnTo>
                  <a:lnTo>
                    <a:pt x="17" y="318"/>
                  </a:lnTo>
                  <a:lnTo>
                    <a:pt x="6" y="355"/>
                  </a:lnTo>
                  <a:lnTo>
                    <a:pt x="128" y="340"/>
                  </a:lnTo>
                  <a:lnTo>
                    <a:pt x="134" y="388"/>
                  </a:lnTo>
                  <a:lnTo>
                    <a:pt x="159" y="394"/>
                  </a:lnTo>
                  <a:lnTo>
                    <a:pt x="165" y="369"/>
                  </a:lnTo>
                  <a:lnTo>
                    <a:pt x="210" y="362"/>
                  </a:lnTo>
                  <a:lnTo>
                    <a:pt x="200" y="282"/>
                  </a:lnTo>
                  <a:lnTo>
                    <a:pt x="198" y="0"/>
                  </a:lnTo>
                  <a:lnTo>
                    <a:pt x="59" y="13"/>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46" name="Freeform 49"/>
            <p:cNvSpPr>
              <a:spLocks/>
            </p:cNvSpPr>
            <p:nvPr/>
          </p:nvSpPr>
          <p:spPr bwMode="gray">
            <a:xfrm>
              <a:off x="6104750" y="4222750"/>
              <a:ext cx="490113" cy="758825"/>
            </a:xfrm>
            <a:custGeom>
              <a:avLst/>
              <a:gdLst>
                <a:gd name="T0" fmla="*/ 0 w 237"/>
                <a:gd name="T1" fmla="*/ 20 h 398"/>
                <a:gd name="T2" fmla="*/ 213 w 237"/>
                <a:gd name="T3" fmla="*/ 0 h 398"/>
                <a:gd name="T4" fmla="*/ 281 w 237"/>
                <a:gd name="T5" fmla="*/ 184 h 398"/>
                <a:gd name="T6" fmla="*/ 329 w 237"/>
                <a:gd name="T7" fmla="*/ 213 h 398"/>
                <a:gd name="T8" fmla="*/ 291 w 237"/>
                <a:gd name="T9" fmla="*/ 267 h 398"/>
                <a:gd name="T10" fmla="*/ 326 w 237"/>
                <a:gd name="T11" fmla="*/ 319 h 398"/>
                <a:gd name="T12" fmla="*/ 110 w 237"/>
                <a:gd name="T13" fmla="*/ 338 h 398"/>
                <a:gd name="T14" fmla="*/ 117 w 237"/>
                <a:gd name="T15" fmla="*/ 383 h 398"/>
                <a:gd name="T16" fmla="*/ 86 w 237"/>
                <a:gd name="T17" fmla="*/ 398 h 398"/>
                <a:gd name="T18" fmla="*/ 61 w 237"/>
                <a:gd name="T19" fmla="*/ 341 h 398"/>
                <a:gd name="T20" fmla="*/ 46 w 237"/>
                <a:gd name="T21" fmla="*/ 387 h 398"/>
                <a:gd name="T22" fmla="*/ 17 w 237"/>
                <a:gd name="T23" fmla="*/ 383 h 398"/>
                <a:gd name="T24" fmla="*/ 11 w 237"/>
                <a:gd name="T25" fmla="*/ 337 h 398"/>
                <a:gd name="T26" fmla="*/ 1 w 237"/>
                <a:gd name="T27" fmla="*/ 297 h 398"/>
                <a:gd name="T28" fmla="*/ 0 w 237"/>
                <a:gd name="T29" fmla="*/ 20 h 39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7"/>
                <a:gd name="T46" fmla="*/ 0 h 398"/>
                <a:gd name="T47" fmla="*/ 237 w 237"/>
                <a:gd name="T48" fmla="*/ 398 h 39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7" h="398">
                  <a:moveTo>
                    <a:pt x="0" y="20"/>
                  </a:moveTo>
                  <a:lnTo>
                    <a:pt x="154" y="0"/>
                  </a:lnTo>
                  <a:lnTo>
                    <a:pt x="203" y="184"/>
                  </a:lnTo>
                  <a:lnTo>
                    <a:pt x="237" y="213"/>
                  </a:lnTo>
                  <a:lnTo>
                    <a:pt x="210" y="267"/>
                  </a:lnTo>
                  <a:lnTo>
                    <a:pt x="236" y="319"/>
                  </a:lnTo>
                  <a:lnTo>
                    <a:pt x="79" y="338"/>
                  </a:lnTo>
                  <a:lnTo>
                    <a:pt x="85" y="383"/>
                  </a:lnTo>
                  <a:lnTo>
                    <a:pt x="62" y="398"/>
                  </a:lnTo>
                  <a:lnTo>
                    <a:pt x="44" y="341"/>
                  </a:lnTo>
                  <a:lnTo>
                    <a:pt x="33" y="387"/>
                  </a:lnTo>
                  <a:lnTo>
                    <a:pt x="13" y="383"/>
                  </a:lnTo>
                  <a:lnTo>
                    <a:pt x="7" y="337"/>
                  </a:lnTo>
                  <a:lnTo>
                    <a:pt x="1" y="297"/>
                  </a:lnTo>
                  <a:lnTo>
                    <a:pt x="0" y="20"/>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47" name="Freeform 50"/>
            <p:cNvSpPr>
              <a:spLocks/>
            </p:cNvSpPr>
            <p:nvPr/>
          </p:nvSpPr>
          <p:spPr bwMode="gray">
            <a:xfrm>
              <a:off x="6422894" y="4184650"/>
              <a:ext cx="679279" cy="698500"/>
            </a:xfrm>
            <a:custGeom>
              <a:avLst/>
              <a:gdLst>
                <a:gd name="T0" fmla="*/ 0 w 328"/>
                <a:gd name="T1" fmla="*/ 23 h 366"/>
                <a:gd name="T2" fmla="*/ 4 w 328"/>
                <a:gd name="T3" fmla="*/ 23 h 366"/>
                <a:gd name="T4" fmla="*/ 111 w 328"/>
                <a:gd name="T5" fmla="*/ 7 h 366"/>
                <a:gd name="T6" fmla="*/ 206 w 328"/>
                <a:gd name="T7" fmla="*/ 0 h 366"/>
                <a:gd name="T8" fmla="*/ 192 w 328"/>
                <a:gd name="T9" fmla="*/ 19 h 366"/>
                <a:gd name="T10" fmla="*/ 221 w 328"/>
                <a:gd name="T11" fmla="*/ 19 h 366"/>
                <a:gd name="T12" fmla="*/ 384 w 328"/>
                <a:gd name="T13" fmla="*/ 132 h 366"/>
                <a:gd name="T14" fmla="*/ 446 w 328"/>
                <a:gd name="T15" fmla="*/ 205 h 366"/>
                <a:gd name="T16" fmla="*/ 455 w 328"/>
                <a:gd name="T17" fmla="*/ 254 h 366"/>
                <a:gd name="T18" fmla="*/ 434 w 328"/>
                <a:gd name="T19" fmla="*/ 266 h 366"/>
                <a:gd name="T20" fmla="*/ 446 w 328"/>
                <a:gd name="T21" fmla="*/ 316 h 366"/>
                <a:gd name="T22" fmla="*/ 402 w 328"/>
                <a:gd name="T23" fmla="*/ 318 h 366"/>
                <a:gd name="T24" fmla="*/ 402 w 328"/>
                <a:gd name="T25" fmla="*/ 360 h 366"/>
                <a:gd name="T26" fmla="*/ 364 w 328"/>
                <a:gd name="T27" fmla="*/ 339 h 366"/>
                <a:gd name="T28" fmla="*/ 130 w 328"/>
                <a:gd name="T29" fmla="*/ 366 h 366"/>
                <a:gd name="T30" fmla="*/ 78 w 328"/>
                <a:gd name="T31" fmla="*/ 287 h 366"/>
                <a:gd name="T32" fmla="*/ 115 w 328"/>
                <a:gd name="T33" fmla="*/ 233 h 366"/>
                <a:gd name="T34" fmla="*/ 65 w 328"/>
                <a:gd name="T35" fmla="*/ 206 h 366"/>
                <a:gd name="T36" fmla="*/ 0 w 328"/>
                <a:gd name="T37" fmla="*/ 23 h 36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28"/>
                <a:gd name="T58" fmla="*/ 0 h 366"/>
                <a:gd name="T59" fmla="*/ 328 w 328"/>
                <a:gd name="T60" fmla="*/ 366 h 36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28" h="366">
                  <a:moveTo>
                    <a:pt x="0" y="23"/>
                  </a:moveTo>
                  <a:lnTo>
                    <a:pt x="4" y="23"/>
                  </a:lnTo>
                  <a:lnTo>
                    <a:pt x="80" y="7"/>
                  </a:lnTo>
                  <a:lnTo>
                    <a:pt x="148" y="0"/>
                  </a:lnTo>
                  <a:lnTo>
                    <a:pt x="138" y="19"/>
                  </a:lnTo>
                  <a:lnTo>
                    <a:pt x="159" y="19"/>
                  </a:lnTo>
                  <a:lnTo>
                    <a:pt x="276" y="132"/>
                  </a:lnTo>
                  <a:lnTo>
                    <a:pt x="322" y="205"/>
                  </a:lnTo>
                  <a:lnTo>
                    <a:pt x="328" y="254"/>
                  </a:lnTo>
                  <a:lnTo>
                    <a:pt x="313" y="266"/>
                  </a:lnTo>
                  <a:lnTo>
                    <a:pt x="322" y="316"/>
                  </a:lnTo>
                  <a:lnTo>
                    <a:pt x="289" y="318"/>
                  </a:lnTo>
                  <a:lnTo>
                    <a:pt x="289" y="360"/>
                  </a:lnTo>
                  <a:lnTo>
                    <a:pt x="263" y="339"/>
                  </a:lnTo>
                  <a:lnTo>
                    <a:pt x="94" y="366"/>
                  </a:lnTo>
                  <a:lnTo>
                    <a:pt x="56" y="287"/>
                  </a:lnTo>
                  <a:lnTo>
                    <a:pt x="83" y="233"/>
                  </a:lnTo>
                  <a:lnTo>
                    <a:pt x="47" y="206"/>
                  </a:lnTo>
                  <a:lnTo>
                    <a:pt x="0" y="23"/>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48" name="Freeform 51"/>
            <p:cNvSpPr>
              <a:spLocks/>
            </p:cNvSpPr>
            <p:nvPr/>
          </p:nvSpPr>
          <p:spPr bwMode="gray">
            <a:xfrm>
              <a:off x="6587984" y="3757613"/>
              <a:ext cx="1064490" cy="463550"/>
            </a:xfrm>
            <a:custGeom>
              <a:avLst/>
              <a:gdLst>
                <a:gd name="T0" fmla="*/ 25 w 516"/>
                <a:gd name="T1" fmla="*/ 180 h 243"/>
                <a:gd name="T2" fmla="*/ 0 w 516"/>
                <a:gd name="T3" fmla="*/ 231 h 243"/>
                <a:gd name="T4" fmla="*/ 93 w 516"/>
                <a:gd name="T5" fmla="*/ 224 h 243"/>
                <a:gd name="T6" fmla="*/ 128 w 516"/>
                <a:gd name="T7" fmla="*/ 201 h 243"/>
                <a:gd name="T8" fmla="*/ 253 w 516"/>
                <a:gd name="T9" fmla="*/ 175 h 243"/>
                <a:gd name="T10" fmla="*/ 287 w 516"/>
                <a:gd name="T11" fmla="*/ 189 h 243"/>
                <a:gd name="T12" fmla="*/ 369 w 516"/>
                <a:gd name="T13" fmla="*/ 180 h 243"/>
                <a:gd name="T14" fmla="*/ 369 w 516"/>
                <a:gd name="T15" fmla="*/ 183 h 243"/>
                <a:gd name="T16" fmla="*/ 494 w 516"/>
                <a:gd name="T17" fmla="*/ 243 h 243"/>
                <a:gd name="T18" fmla="*/ 565 w 516"/>
                <a:gd name="T19" fmla="*/ 226 h 243"/>
                <a:gd name="T20" fmla="*/ 608 w 516"/>
                <a:gd name="T21" fmla="*/ 159 h 243"/>
                <a:gd name="T22" fmla="*/ 677 w 516"/>
                <a:gd name="T23" fmla="*/ 140 h 243"/>
                <a:gd name="T24" fmla="*/ 711 w 516"/>
                <a:gd name="T25" fmla="*/ 90 h 243"/>
                <a:gd name="T26" fmla="*/ 708 w 516"/>
                <a:gd name="T27" fmla="*/ 30 h 243"/>
                <a:gd name="T28" fmla="*/ 701 w 516"/>
                <a:gd name="T29" fmla="*/ 80 h 243"/>
                <a:gd name="T30" fmla="*/ 661 w 516"/>
                <a:gd name="T31" fmla="*/ 122 h 243"/>
                <a:gd name="T32" fmla="*/ 646 w 516"/>
                <a:gd name="T33" fmla="*/ 119 h 243"/>
                <a:gd name="T34" fmla="*/ 594 w 516"/>
                <a:gd name="T35" fmla="*/ 130 h 243"/>
                <a:gd name="T36" fmla="*/ 594 w 516"/>
                <a:gd name="T37" fmla="*/ 116 h 243"/>
                <a:gd name="T38" fmla="*/ 646 w 516"/>
                <a:gd name="T39" fmla="*/ 102 h 243"/>
                <a:gd name="T40" fmla="*/ 597 w 516"/>
                <a:gd name="T41" fmla="*/ 97 h 243"/>
                <a:gd name="T42" fmla="*/ 652 w 516"/>
                <a:gd name="T43" fmla="*/ 85 h 243"/>
                <a:gd name="T44" fmla="*/ 674 w 516"/>
                <a:gd name="T45" fmla="*/ 92 h 243"/>
                <a:gd name="T46" fmla="*/ 685 w 516"/>
                <a:gd name="T47" fmla="*/ 45 h 243"/>
                <a:gd name="T48" fmla="*/ 672 w 516"/>
                <a:gd name="T49" fmla="*/ 34 h 243"/>
                <a:gd name="T50" fmla="*/ 607 w 516"/>
                <a:gd name="T51" fmla="*/ 53 h 243"/>
                <a:gd name="T52" fmla="*/ 608 w 516"/>
                <a:gd name="T53" fmla="*/ 25 h 243"/>
                <a:gd name="T54" fmla="*/ 635 w 516"/>
                <a:gd name="T55" fmla="*/ 32 h 243"/>
                <a:gd name="T56" fmla="*/ 672 w 516"/>
                <a:gd name="T57" fmla="*/ 10 h 243"/>
                <a:gd name="T58" fmla="*/ 651 w 516"/>
                <a:gd name="T59" fmla="*/ 0 h 243"/>
                <a:gd name="T60" fmla="*/ 438 w 516"/>
                <a:gd name="T61" fmla="*/ 37 h 243"/>
                <a:gd name="T62" fmla="*/ 179 w 516"/>
                <a:gd name="T63" fmla="*/ 79 h 243"/>
                <a:gd name="T64" fmla="*/ 60 w 516"/>
                <a:gd name="T65" fmla="*/ 179 h 243"/>
                <a:gd name="T66" fmla="*/ 25 w 516"/>
                <a:gd name="T67" fmla="*/ 180 h 24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6"/>
                <a:gd name="T103" fmla="*/ 0 h 243"/>
                <a:gd name="T104" fmla="*/ 516 w 516"/>
                <a:gd name="T105" fmla="*/ 243 h 24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6" h="243">
                  <a:moveTo>
                    <a:pt x="18" y="180"/>
                  </a:moveTo>
                  <a:lnTo>
                    <a:pt x="0" y="231"/>
                  </a:lnTo>
                  <a:lnTo>
                    <a:pt x="67" y="224"/>
                  </a:lnTo>
                  <a:lnTo>
                    <a:pt x="93" y="201"/>
                  </a:lnTo>
                  <a:lnTo>
                    <a:pt x="184" y="175"/>
                  </a:lnTo>
                  <a:lnTo>
                    <a:pt x="209" y="189"/>
                  </a:lnTo>
                  <a:lnTo>
                    <a:pt x="269" y="180"/>
                  </a:lnTo>
                  <a:lnTo>
                    <a:pt x="269" y="183"/>
                  </a:lnTo>
                  <a:lnTo>
                    <a:pt x="359" y="243"/>
                  </a:lnTo>
                  <a:lnTo>
                    <a:pt x="411" y="226"/>
                  </a:lnTo>
                  <a:lnTo>
                    <a:pt x="441" y="159"/>
                  </a:lnTo>
                  <a:lnTo>
                    <a:pt x="492" y="140"/>
                  </a:lnTo>
                  <a:lnTo>
                    <a:pt x="516" y="90"/>
                  </a:lnTo>
                  <a:lnTo>
                    <a:pt x="515" y="30"/>
                  </a:lnTo>
                  <a:lnTo>
                    <a:pt x="509" y="80"/>
                  </a:lnTo>
                  <a:lnTo>
                    <a:pt x="480" y="122"/>
                  </a:lnTo>
                  <a:lnTo>
                    <a:pt x="469" y="119"/>
                  </a:lnTo>
                  <a:lnTo>
                    <a:pt x="431" y="130"/>
                  </a:lnTo>
                  <a:lnTo>
                    <a:pt x="431" y="116"/>
                  </a:lnTo>
                  <a:lnTo>
                    <a:pt x="469" y="102"/>
                  </a:lnTo>
                  <a:lnTo>
                    <a:pt x="434" y="97"/>
                  </a:lnTo>
                  <a:lnTo>
                    <a:pt x="474" y="85"/>
                  </a:lnTo>
                  <a:lnTo>
                    <a:pt x="489" y="92"/>
                  </a:lnTo>
                  <a:lnTo>
                    <a:pt x="497" y="45"/>
                  </a:lnTo>
                  <a:lnTo>
                    <a:pt x="487" y="34"/>
                  </a:lnTo>
                  <a:lnTo>
                    <a:pt x="440" y="53"/>
                  </a:lnTo>
                  <a:lnTo>
                    <a:pt x="441" y="25"/>
                  </a:lnTo>
                  <a:lnTo>
                    <a:pt x="461" y="32"/>
                  </a:lnTo>
                  <a:lnTo>
                    <a:pt x="487" y="10"/>
                  </a:lnTo>
                  <a:lnTo>
                    <a:pt x="473" y="0"/>
                  </a:lnTo>
                  <a:lnTo>
                    <a:pt x="318" y="37"/>
                  </a:lnTo>
                  <a:lnTo>
                    <a:pt x="129" y="79"/>
                  </a:lnTo>
                  <a:lnTo>
                    <a:pt x="43" y="179"/>
                  </a:lnTo>
                  <a:lnTo>
                    <a:pt x="18" y="180"/>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49" name="Freeform 52"/>
            <p:cNvSpPr>
              <a:spLocks/>
            </p:cNvSpPr>
            <p:nvPr/>
          </p:nvSpPr>
          <p:spPr bwMode="gray">
            <a:xfrm>
              <a:off x="7449550" y="3270250"/>
              <a:ext cx="147894" cy="182563"/>
            </a:xfrm>
            <a:custGeom>
              <a:avLst/>
              <a:gdLst>
                <a:gd name="T0" fmla="*/ 0 w 72"/>
                <a:gd name="T1" fmla="*/ 5 h 96"/>
                <a:gd name="T2" fmla="*/ 20 w 72"/>
                <a:gd name="T3" fmla="*/ 0 h 96"/>
                <a:gd name="T4" fmla="*/ 66 w 72"/>
                <a:gd name="T5" fmla="*/ 21 h 96"/>
                <a:gd name="T6" fmla="*/ 66 w 72"/>
                <a:gd name="T7" fmla="*/ 42 h 96"/>
                <a:gd name="T8" fmla="*/ 97 w 72"/>
                <a:gd name="T9" fmla="*/ 57 h 96"/>
                <a:gd name="T10" fmla="*/ 99 w 72"/>
                <a:gd name="T11" fmla="*/ 85 h 96"/>
                <a:gd name="T12" fmla="*/ 48 w 72"/>
                <a:gd name="T13" fmla="*/ 96 h 96"/>
                <a:gd name="T14" fmla="*/ 0 w 72"/>
                <a:gd name="T15" fmla="*/ 5 h 96"/>
                <a:gd name="T16" fmla="*/ 0 60000 65536"/>
                <a:gd name="T17" fmla="*/ 0 60000 65536"/>
                <a:gd name="T18" fmla="*/ 0 60000 65536"/>
                <a:gd name="T19" fmla="*/ 0 60000 65536"/>
                <a:gd name="T20" fmla="*/ 0 60000 65536"/>
                <a:gd name="T21" fmla="*/ 0 60000 65536"/>
                <a:gd name="T22" fmla="*/ 0 60000 65536"/>
                <a:gd name="T23" fmla="*/ 0 60000 65536"/>
                <a:gd name="T24" fmla="*/ 0 w 72"/>
                <a:gd name="T25" fmla="*/ 0 h 96"/>
                <a:gd name="T26" fmla="*/ 72 w 72"/>
                <a:gd name="T27" fmla="*/ 96 h 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2" h="96">
                  <a:moveTo>
                    <a:pt x="0" y="5"/>
                  </a:moveTo>
                  <a:lnTo>
                    <a:pt x="15" y="0"/>
                  </a:lnTo>
                  <a:lnTo>
                    <a:pt x="48" y="21"/>
                  </a:lnTo>
                  <a:lnTo>
                    <a:pt x="48" y="42"/>
                  </a:lnTo>
                  <a:lnTo>
                    <a:pt x="71" y="57"/>
                  </a:lnTo>
                  <a:lnTo>
                    <a:pt x="72" y="85"/>
                  </a:lnTo>
                  <a:lnTo>
                    <a:pt x="35" y="96"/>
                  </a:lnTo>
                  <a:lnTo>
                    <a:pt x="0" y="5"/>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50" name="Freeform 53"/>
            <p:cNvSpPr>
              <a:spLocks/>
            </p:cNvSpPr>
            <p:nvPr/>
          </p:nvSpPr>
          <p:spPr bwMode="gray">
            <a:xfrm>
              <a:off x="6873453" y="2382838"/>
              <a:ext cx="792778" cy="639762"/>
            </a:xfrm>
            <a:custGeom>
              <a:avLst/>
              <a:gdLst>
                <a:gd name="T0" fmla="*/ 40 w 384"/>
                <a:gd name="T1" fmla="*/ 226 h 336"/>
                <a:gd name="T2" fmla="*/ 92 w 384"/>
                <a:gd name="T3" fmla="*/ 206 h 336"/>
                <a:gd name="T4" fmla="*/ 158 w 384"/>
                <a:gd name="T5" fmla="*/ 201 h 336"/>
                <a:gd name="T6" fmla="*/ 177 w 384"/>
                <a:gd name="T7" fmla="*/ 183 h 336"/>
                <a:gd name="T8" fmla="*/ 198 w 384"/>
                <a:gd name="T9" fmla="*/ 181 h 336"/>
                <a:gd name="T10" fmla="*/ 212 w 384"/>
                <a:gd name="T11" fmla="*/ 162 h 336"/>
                <a:gd name="T12" fmla="*/ 235 w 384"/>
                <a:gd name="T13" fmla="*/ 155 h 336"/>
                <a:gd name="T14" fmla="*/ 225 w 384"/>
                <a:gd name="T15" fmla="*/ 120 h 336"/>
                <a:gd name="T16" fmla="*/ 211 w 384"/>
                <a:gd name="T17" fmla="*/ 111 h 336"/>
                <a:gd name="T18" fmla="*/ 240 w 384"/>
                <a:gd name="T19" fmla="*/ 82 h 336"/>
                <a:gd name="T20" fmla="*/ 258 w 384"/>
                <a:gd name="T21" fmla="*/ 82 h 336"/>
                <a:gd name="T22" fmla="*/ 320 w 384"/>
                <a:gd name="T23" fmla="*/ 22 h 336"/>
                <a:gd name="T24" fmla="*/ 414 w 384"/>
                <a:gd name="T25" fmla="*/ 0 h 336"/>
                <a:gd name="T26" fmla="*/ 425 w 384"/>
                <a:gd name="T27" fmla="*/ 56 h 336"/>
                <a:gd name="T28" fmla="*/ 430 w 384"/>
                <a:gd name="T29" fmla="*/ 54 h 336"/>
                <a:gd name="T30" fmla="*/ 452 w 384"/>
                <a:gd name="T31" fmla="*/ 74 h 336"/>
                <a:gd name="T32" fmla="*/ 453 w 384"/>
                <a:gd name="T33" fmla="*/ 132 h 336"/>
                <a:gd name="T34" fmla="*/ 482 w 384"/>
                <a:gd name="T35" fmla="*/ 179 h 336"/>
                <a:gd name="T36" fmla="*/ 493 w 384"/>
                <a:gd name="T37" fmla="*/ 240 h 336"/>
                <a:gd name="T38" fmla="*/ 495 w 384"/>
                <a:gd name="T39" fmla="*/ 293 h 336"/>
                <a:gd name="T40" fmla="*/ 530 w 384"/>
                <a:gd name="T41" fmla="*/ 310 h 336"/>
                <a:gd name="T42" fmla="*/ 505 w 384"/>
                <a:gd name="T43" fmla="*/ 336 h 336"/>
                <a:gd name="T44" fmla="*/ 444 w 384"/>
                <a:gd name="T45" fmla="*/ 306 h 336"/>
                <a:gd name="T46" fmla="*/ 412 w 384"/>
                <a:gd name="T47" fmla="*/ 308 h 336"/>
                <a:gd name="T48" fmla="*/ 380 w 384"/>
                <a:gd name="T49" fmla="*/ 301 h 336"/>
                <a:gd name="T50" fmla="*/ 381 w 384"/>
                <a:gd name="T51" fmla="*/ 283 h 336"/>
                <a:gd name="T52" fmla="*/ 362 w 384"/>
                <a:gd name="T53" fmla="*/ 277 h 336"/>
                <a:gd name="T54" fmla="*/ 15 w 384"/>
                <a:gd name="T55" fmla="*/ 329 h 336"/>
                <a:gd name="T56" fmla="*/ 0 w 384"/>
                <a:gd name="T57" fmla="*/ 314 h 336"/>
                <a:gd name="T58" fmla="*/ 52 w 384"/>
                <a:gd name="T59" fmla="*/ 254 h 336"/>
                <a:gd name="T60" fmla="*/ 40 w 384"/>
                <a:gd name="T61" fmla="*/ 226 h 3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84"/>
                <a:gd name="T94" fmla="*/ 0 h 336"/>
                <a:gd name="T95" fmla="*/ 384 w 384"/>
                <a:gd name="T96" fmla="*/ 336 h 3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84" h="336">
                  <a:moveTo>
                    <a:pt x="29" y="226"/>
                  </a:moveTo>
                  <a:lnTo>
                    <a:pt x="66" y="206"/>
                  </a:lnTo>
                  <a:lnTo>
                    <a:pt x="115" y="201"/>
                  </a:lnTo>
                  <a:lnTo>
                    <a:pt x="127" y="183"/>
                  </a:lnTo>
                  <a:lnTo>
                    <a:pt x="144" y="181"/>
                  </a:lnTo>
                  <a:lnTo>
                    <a:pt x="154" y="162"/>
                  </a:lnTo>
                  <a:lnTo>
                    <a:pt x="171" y="155"/>
                  </a:lnTo>
                  <a:lnTo>
                    <a:pt x="163" y="120"/>
                  </a:lnTo>
                  <a:lnTo>
                    <a:pt x="153" y="111"/>
                  </a:lnTo>
                  <a:lnTo>
                    <a:pt x="174" y="82"/>
                  </a:lnTo>
                  <a:lnTo>
                    <a:pt x="187" y="82"/>
                  </a:lnTo>
                  <a:lnTo>
                    <a:pt x="232" y="22"/>
                  </a:lnTo>
                  <a:lnTo>
                    <a:pt x="301" y="0"/>
                  </a:lnTo>
                  <a:lnTo>
                    <a:pt x="308" y="56"/>
                  </a:lnTo>
                  <a:lnTo>
                    <a:pt x="312" y="54"/>
                  </a:lnTo>
                  <a:lnTo>
                    <a:pt x="328" y="74"/>
                  </a:lnTo>
                  <a:lnTo>
                    <a:pt x="329" y="132"/>
                  </a:lnTo>
                  <a:lnTo>
                    <a:pt x="350" y="179"/>
                  </a:lnTo>
                  <a:lnTo>
                    <a:pt x="358" y="240"/>
                  </a:lnTo>
                  <a:lnTo>
                    <a:pt x="360" y="293"/>
                  </a:lnTo>
                  <a:lnTo>
                    <a:pt x="384" y="310"/>
                  </a:lnTo>
                  <a:lnTo>
                    <a:pt x="366" y="336"/>
                  </a:lnTo>
                  <a:lnTo>
                    <a:pt x="322" y="306"/>
                  </a:lnTo>
                  <a:lnTo>
                    <a:pt x="299" y="308"/>
                  </a:lnTo>
                  <a:lnTo>
                    <a:pt x="276" y="301"/>
                  </a:lnTo>
                  <a:lnTo>
                    <a:pt x="277" y="283"/>
                  </a:lnTo>
                  <a:lnTo>
                    <a:pt x="262" y="277"/>
                  </a:lnTo>
                  <a:lnTo>
                    <a:pt x="11" y="329"/>
                  </a:lnTo>
                  <a:lnTo>
                    <a:pt x="0" y="314"/>
                  </a:lnTo>
                  <a:lnTo>
                    <a:pt x="38" y="254"/>
                  </a:lnTo>
                  <a:lnTo>
                    <a:pt x="29" y="226"/>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51" name="Freeform 54"/>
            <p:cNvSpPr>
              <a:spLocks/>
            </p:cNvSpPr>
            <p:nvPr/>
          </p:nvSpPr>
          <p:spPr bwMode="gray">
            <a:xfrm>
              <a:off x="7647316" y="2919413"/>
              <a:ext cx="230439" cy="138112"/>
            </a:xfrm>
            <a:custGeom>
              <a:avLst/>
              <a:gdLst>
                <a:gd name="T0" fmla="*/ 0 w 112"/>
                <a:gd name="T1" fmla="*/ 53 h 72"/>
                <a:gd name="T2" fmla="*/ 63 w 112"/>
                <a:gd name="T3" fmla="*/ 30 h 72"/>
                <a:gd name="T4" fmla="*/ 124 w 112"/>
                <a:gd name="T5" fmla="*/ 0 h 72"/>
                <a:gd name="T6" fmla="*/ 135 w 112"/>
                <a:gd name="T7" fmla="*/ 1 h 72"/>
                <a:gd name="T8" fmla="*/ 153 w 112"/>
                <a:gd name="T9" fmla="*/ 3 h 72"/>
                <a:gd name="T10" fmla="*/ 92 w 112"/>
                <a:gd name="T11" fmla="*/ 40 h 72"/>
                <a:gd name="T12" fmla="*/ 17 w 112"/>
                <a:gd name="T13" fmla="*/ 72 h 72"/>
                <a:gd name="T14" fmla="*/ 0 w 112"/>
                <a:gd name="T15" fmla="*/ 53 h 72"/>
                <a:gd name="T16" fmla="*/ 0 60000 65536"/>
                <a:gd name="T17" fmla="*/ 0 60000 65536"/>
                <a:gd name="T18" fmla="*/ 0 60000 65536"/>
                <a:gd name="T19" fmla="*/ 0 60000 65536"/>
                <a:gd name="T20" fmla="*/ 0 60000 65536"/>
                <a:gd name="T21" fmla="*/ 0 60000 65536"/>
                <a:gd name="T22" fmla="*/ 0 60000 65536"/>
                <a:gd name="T23" fmla="*/ 0 60000 65536"/>
                <a:gd name="T24" fmla="*/ 0 w 112"/>
                <a:gd name="T25" fmla="*/ 0 h 72"/>
                <a:gd name="T26" fmla="*/ 112 w 112"/>
                <a:gd name="T27" fmla="*/ 72 h 7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2" h="72">
                  <a:moveTo>
                    <a:pt x="0" y="53"/>
                  </a:moveTo>
                  <a:lnTo>
                    <a:pt x="46" y="30"/>
                  </a:lnTo>
                  <a:lnTo>
                    <a:pt x="91" y="0"/>
                  </a:lnTo>
                  <a:lnTo>
                    <a:pt x="99" y="1"/>
                  </a:lnTo>
                  <a:lnTo>
                    <a:pt x="112" y="3"/>
                  </a:lnTo>
                  <a:lnTo>
                    <a:pt x="68" y="40"/>
                  </a:lnTo>
                  <a:lnTo>
                    <a:pt x="13" y="72"/>
                  </a:lnTo>
                  <a:lnTo>
                    <a:pt x="0" y="53"/>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52" name="Freeform 55"/>
            <p:cNvSpPr>
              <a:spLocks/>
            </p:cNvSpPr>
            <p:nvPr/>
          </p:nvSpPr>
          <p:spPr bwMode="gray">
            <a:xfrm>
              <a:off x="7535535" y="3517900"/>
              <a:ext cx="63629" cy="109538"/>
            </a:xfrm>
            <a:custGeom>
              <a:avLst/>
              <a:gdLst>
                <a:gd name="T0" fmla="*/ 0 w 31"/>
                <a:gd name="T1" fmla="*/ 5 h 57"/>
                <a:gd name="T2" fmla="*/ 45 w 31"/>
                <a:gd name="T3" fmla="*/ 0 h 57"/>
                <a:gd name="T4" fmla="*/ 20 w 31"/>
                <a:gd name="T5" fmla="*/ 57 h 57"/>
                <a:gd name="T6" fmla="*/ 2 w 31"/>
                <a:gd name="T7" fmla="*/ 55 h 57"/>
                <a:gd name="T8" fmla="*/ 0 w 31"/>
                <a:gd name="T9" fmla="*/ 5 h 57"/>
                <a:gd name="T10" fmla="*/ 0 60000 65536"/>
                <a:gd name="T11" fmla="*/ 0 60000 65536"/>
                <a:gd name="T12" fmla="*/ 0 60000 65536"/>
                <a:gd name="T13" fmla="*/ 0 60000 65536"/>
                <a:gd name="T14" fmla="*/ 0 60000 65536"/>
                <a:gd name="T15" fmla="*/ 0 w 31"/>
                <a:gd name="T16" fmla="*/ 0 h 57"/>
                <a:gd name="T17" fmla="*/ 31 w 31"/>
                <a:gd name="T18" fmla="*/ 57 h 57"/>
              </a:gdLst>
              <a:ahLst/>
              <a:cxnLst>
                <a:cxn ang="T10">
                  <a:pos x="T0" y="T1"/>
                </a:cxn>
                <a:cxn ang="T11">
                  <a:pos x="T2" y="T3"/>
                </a:cxn>
                <a:cxn ang="T12">
                  <a:pos x="T4" y="T5"/>
                </a:cxn>
                <a:cxn ang="T13">
                  <a:pos x="T6" y="T7"/>
                </a:cxn>
                <a:cxn ang="T14">
                  <a:pos x="T8" y="T9"/>
                </a:cxn>
              </a:cxnLst>
              <a:rect l="T15" t="T16" r="T17" b="T18"/>
              <a:pathLst>
                <a:path w="31" h="57">
                  <a:moveTo>
                    <a:pt x="0" y="5"/>
                  </a:moveTo>
                  <a:lnTo>
                    <a:pt x="31" y="0"/>
                  </a:lnTo>
                  <a:lnTo>
                    <a:pt x="14" y="57"/>
                  </a:lnTo>
                  <a:lnTo>
                    <a:pt x="2" y="55"/>
                  </a:lnTo>
                  <a:lnTo>
                    <a:pt x="0" y="5"/>
                  </a:lnTo>
                  <a:close/>
                </a:path>
              </a:pathLst>
            </a:custGeom>
            <a:grpFill/>
            <a:ln w="12700">
              <a:solidFill>
                <a:sysClr val="window" lastClr="FFFFFF"/>
              </a:solidFill>
              <a:round/>
              <a:headEnd/>
              <a:tailEnd/>
            </a:ln>
          </p:spPr>
          <p:txBody>
            <a:bodyPr/>
            <a:lstStyle/>
            <a:p>
              <a:pPr defTabSz="685800">
                <a:buClrTx/>
                <a:defRPr/>
              </a:pPr>
              <a:endParaRPr lang="en-US" sz="1350" dirty="0">
                <a:solidFill>
                  <a:sysClr val="windowText" lastClr="000000"/>
                </a:solidFill>
                <a:ea typeface="+mn-ea"/>
                <a:cs typeface="+mn-cs"/>
              </a:endParaRPr>
            </a:p>
          </p:txBody>
        </p:sp>
      </p:grpSp>
      <p:sp>
        <p:nvSpPr>
          <p:cNvPr id="169" name="Text Placeholder 3"/>
          <p:cNvSpPr txBox="1">
            <a:spLocks/>
          </p:cNvSpPr>
          <p:nvPr/>
        </p:nvSpPr>
        <p:spPr>
          <a:xfrm>
            <a:off x="5482835" y="1358100"/>
            <a:ext cx="2227437" cy="34020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5979" indent="-205979" defTabSz="685800">
              <a:spcBef>
                <a:spcPts val="900"/>
              </a:spcBef>
              <a:buClrTx/>
              <a:defRPr/>
            </a:pPr>
            <a:r>
              <a:rPr lang="en-GB" sz="1350" dirty="0">
                <a:solidFill>
                  <a:srgbClr val="313131"/>
                </a:solidFill>
                <a:latin typeface="Arial"/>
              </a:rPr>
              <a:t>This is a level one bullet this is dummy text</a:t>
            </a:r>
          </a:p>
          <a:p>
            <a:pPr marL="205979" indent="-205979" defTabSz="685800">
              <a:spcBef>
                <a:spcPts val="900"/>
              </a:spcBef>
              <a:buClrTx/>
              <a:defRPr/>
            </a:pPr>
            <a:r>
              <a:rPr lang="en-GB" sz="1350" dirty="0">
                <a:solidFill>
                  <a:srgbClr val="313131"/>
                </a:solidFill>
                <a:latin typeface="Arial"/>
              </a:rPr>
              <a:t>This is a level one bullet this is dummy text</a:t>
            </a:r>
          </a:p>
          <a:p>
            <a:pPr marL="205979" indent="-205979" defTabSz="685800">
              <a:spcBef>
                <a:spcPts val="900"/>
              </a:spcBef>
              <a:buClrTx/>
              <a:defRPr/>
            </a:pPr>
            <a:r>
              <a:rPr lang="en-GB" sz="1350" dirty="0">
                <a:solidFill>
                  <a:srgbClr val="313131"/>
                </a:solidFill>
                <a:latin typeface="Arial"/>
              </a:rPr>
              <a:t>This is a level one bullet this is dummy text</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205979" indent="-205979" defTabSz="685800">
              <a:spcBef>
                <a:spcPts val="900"/>
              </a:spcBef>
              <a:buClrTx/>
              <a:defRPr/>
            </a:pPr>
            <a:endParaRPr lang="en-GB" sz="1350" dirty="0">
              <a:solidFill>
                <a:srgbClr val="313131"/>
              </a:solidFill>
              <a:latin typeface="Arial"/>
            </a:endParaRPr>
          </a:p>
          <a:p>
            <a:pPr marL="205979" indent="-205979" defTabSz="685800">
              <a:spcBef>
                <a:spcPts val="900"/>
              </a:spcBef>
              <a:buClrTx/>
              <a:defRPr/>
            </a:pPr>
            <a:endParaRPr lang="en-GB" sz="1350" dirty="0">
              <a:solidFill>
                <a:srgbClr val="313131"/>
              </a:solidFill>
              <a:latin typeface="Arial"/>
            </a:endParaRPr>
          </a:p>
        </p:txBody>
      </p:sp>
      <p:sp>
        <p:nvSpPr>
          <p:cNvPr id="2" name="TextBox 1"/>
          <p:cNvSpPr txBox="1"/>
          <p:nvPr/>
        </p:nvSpPr>
        <p:spPr>
          <a:xfrm>
            <a:off x="5340096" y="733806"/>
            <a:ext cx="2663455" cy="1107996"/>
          </a:xfrm>
          <a:prstGeom prst="rect">
            <a:avLst/>
          </a:prstGeom>
          <a:solidFill>
            <a:srgbClr val="ED1B2F"/>
          </a:solidFill>
        </p:spPr>
        <p:txBody>
          <a:bodyPr wrap="square" lIns="68580" tIns="68580" rIns="68580" bIns="68580" rtlCol="0">
            <a:spAutoFit/>
          </a:bodyPr>
          <a:lstStyle/>
          <a:p>
            <a:pPr defTabSz="685800">
              <a:buClrTx/>
            </a:pPr>
            <a:r>
              <a:rPr lang="en-US" sz="1050" kern="1200" dirty="0">
                <a:solidFill>
                  <a:prstClr val="white"/>
                </a:solidFill>
                <a:ea typeface="+mn-ea"/>
                <a:cs typeface="+mn-cs"/>
              </a:rPr>
              <a:t>Maps are for directional purposes only and are not intended to be exact renditions of country borders. For specific information about country borders and maps, please contact the local member firm.</a:t>
            </a:r>
          </a:p>
        </p:txBody>
      </p:sp>
      <p:grpSp>
        <p:nvGrpSpPr>
          <p:cNvPr id="62" name="Group 61"/>
          <p:cNvGrpSpPr/>
          <p:nvPr/>
        </p:nvGrpSpPr>
        <p:grpSpPr>
          <a:xfrm>
            <a:off x="2791148" y="3978428"/>
            <a:ext cx="690563" cy="483394"/>
            <a:chOff x="2627313" y="5527675"/>
            <a:chExt cx="920751" cy="644525"/>
          </a:xfrm>
          <a:solidFill>
            <a:srgbClr val="00A1DE"/>
          </a:solidFill>
        </p:grpSpPr>
        <p:sp>
          <p:nvSpPr>
            <p:cNvPr id="63" name="Freeform 62"/>
            <p:cNvSpPr>
              <a:spLocks/>
            </p:cNvSpPr>
            <p:nvPr/>
          </p:nvSpPr>
          <p:spPr bwMode="gray">
            <a:xfrm>
              <a:off x="2627313" y="5527675"/>
              <a:ext cx="93663" cy="74613"/>
            </a:xfrm>
            <a:custGeom>
              <a:avLst/>
              <a:gdLst>
                <a:gd name="T0" fmla="*/ 0 w 117"/>
                <a:gd name="T1" fmla="*/ 55 h 95"/>
                <a:gd name="T2" fmla="*/ 43 w 117"/>
                <a:gd name="T3" fmla="*/ 95 h 95"/>
                <a:gd name="T4" fmla="*/ 67 w 117"/>
                <a:gd name="T5" fmla="*/ 94 h 95"/>
                <a:gd name="T6" fmla="*/ 105 w 117"/>
                <a:gd name="T7" fmla="*/ 71 h 95"/>
                <a:gd name="T8" fmla="*/ 117 w 117"/>
                <a:gd name="T9" fmla="*/ 20 h 95"/>
                <a:gd name="T10" fmla="*/ 91 w 117"/>
                <a:gd name="T11" fmla="*/ 0 h 95"/>
                <a:gd name="T12" fmla="*/ 56 w 117"/>
                <a:gd name="T13" fmla="*/ 6 h 95"/>
                <a:gd name="T14" fmla="*/ 0 w 117"/>
                <a:gd name="T15" fmla="*/ 55 h 95"/>
                <a:gd name="T16" fmla="*/ 0 60000 65536"/>
                <a:gd name="T17" fmla="*/ 0 60000 65536"/>
                <a:gd name="T18" fmla="*/ 0 60000 65536"/>
                <a:gd name="T19" fmla="*/ 0 60000 65536"/>
                <a:gd name="T20" fmla="*/ 0 60000 65536"/>
                <a:gd name="T21" fmla="*/ 0 60000 65536"/>
                <a:gd name="T22" fmla="*/ 0 60000 65536"/>
                <a:gd name="T23" fmla="*/ 0 60000 65536"/>
                <a:gd name="T24" fmla="*/ 0 w 117"/>
                <a:gd name="T25" fmla="*/ 0 h 95"/>
                <a:gd name="T26" fmla="*/ 117 w 117"/>
                <a:gd name="T27" fmla="*/ 95 h 9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7" h="95">
                  <a:moveTo>
                    <a:pt x="0" y="55"/>
                  </a:moveTo>
                  <a:lnTo>
                    <a:pt x="43" y="95"/>
                  </a:lnTo>
                  <a:lnTo>
                    <a:pt x="67" y="94"/>
                  </a:lnTo>
                  <a:lnTo>
                    <a:pt x="105" y="71"/>
                  </a:lnTo>
                  <a:lnTo>
                    <a:pt x="117" y="20"/>
                  </a:lnTo>
                  <a:lnTo>
                    <a:pt x="91" y="0"/>
                  </a:lnTo>
                  <a:lnTo>
                    <a:pt x="56" y="6"/>
                  </a:lnTo>
                  <a:lnTo>
                    <a:pt x="0" y="55"/>
                  </a:lnTo>
                  <a:close/>
                </a:path>
              </a:pathLst>
            </a:custGeom>
            <a:grpFill/>
            <a:ln w="12700">
              <a:solidFill>
                <a:schemeClr val="bg1"/>
              </a:solidFill>
              <a:round/>
              <a:headEnd/>
              <a:tailEnd/>
            </a:ln>
          </p:spPr>
          <p:txBody>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685800" eaLnBrk="0" hangingPunct="0">
                <a:lnSpc>
                  <a:spcPct val="106000"/>
                </a:lnSpc>
                <a:spcBef>
                  <a:spcPct val="30000"/>
                </a:spcBef>
                <a:buClrTx/>
              </a:pPr>
              <a:endParaRPr lang="en-US" sz="675" b="0" dirty="0">
                <a:solidFill>
                  <a:srgbClr val="000066"/>
                </a:solidFill>
              </a:endParaRPr>
            </a:p>
          </p:txBody>
        </p:sp>
        <p:sp>
          <p:nvSpPr>
            <p:cNvPr id="64" name="Freeform 63"/>
            <p:cNvSpPr>
              <a:spLocks/>
            </p:cNvSpPr>
            <p:nvPr/>
          </p:nvSpPr>
          <p:spPr bwMode="gray">
            <a:xfrm>
              <a:off x="2911476" y="5635625"/>
              <a:ext cx="106363" cy="90488"/>
            </a:xfrm>
            <a:custGeom>
              <a:avLst/>
              <a:gdLst>
                <a:gd name="T0" fmla="*/ 0 w 134"/>
                <a:gd name="T1" fmla="*/ 30 h 115"/>
                <a:gd name="T2" fmla="*/ 29 w 134"/>
                <a:gd name="T3" fmla="*/ 96 h 115"/>
                <a:gd name="T4" fmla="*/ 59 w 134"/>
                <a:gd name="T5" fmla="*/ 95 h 115"/>
                <a:gd name="T6" fmla="*/ 62 w 134"/>
                <a:gd name="T7" fmla="*/ 76 h 115"/>
                <a:gd name="T8" fmla="*/ 102 w 134"/>
                <a:gd name="T9" fmla="*/ 115 h 115"/>
                <a:gd name="T10" fmla="*/ 134 w 134"/>
                <a:gd name="T11" fmla="*/ 109 h 115"/>
                <a:gd name="T12" fmla="*/ 127 w 134"/>
                <a:gd name="T13" fmla="*/ 71 h 115"/>
                <a:gd name="T14" fmla="*/ 97 w 134"/>
                <a:gd name="T15" fmla="*/ 62 h 115"/>
                <a:gd name="T16" fmla="*/ 71 w 134"/>
                <a:gd name="T17" fmla="*/ 0 h 115"/>
                <a:gd name="T18" fmla="*/ 0 w 134"/>
                <a:gd name="T19" fmla="*/ 30 h 1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4"/>
                <a:gd name="T31" fmla="*/ 0 h 115"/>
                <a:gd name="T32" fmla="*/ 134 w 134"/>
                <a:gd name="T33" fmla="*/ 115 h 11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4" h="115">
                  <a:moveTo>
                    <a:pt x="0" y="30"/>
                  </a:moveTo>
                  <a:lnTo>
                    <a:pt x="29" y="96"/>
                  </a:lnTo>
                  <a:lnTo>
                    <a:pt x="59" y="95"/>
                  </a:lnTo>
                  <a:lnTo>
                    <a:pt x="62" y="76"/>
                  </a:lnTo>
                  <a:lnTo>
                    <a:pt x="102" y="115"/>
                  </a:lnTo>
                  <a:lnTo>
                    <a:pt x="134" y="109"/>
                  </a:lnTo>
                  <a:lnTo>
                    <a:pt x="127" y="71"/>
                  </a:lnTo>
                  <a:lnTo>
                    <a:pt x="97" y="62"/>
                  </a:lnTo>
                  <a:lnTo>
                    <a:pt x="71" y="0"/>
                  </a:lnTo>
                  <a:lnTo>
                    <a:pt x="0" y="30"/>
                  </a:lnTo>
                  <a:close/>
                </a:path>
              </a:pathLst>
            </a:custGeom>
            <a:grpFill/>
            <a:ln w="12700">
              <a:solidFill>
                <a:schemeClr val="bg1"/>
              </a:solidFill>
              <a:round/>
              <a:headEnd/>
              <a:tailEnd/>
            </a:ln>
          </p:spPr>
          <p:txBody>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685800" eaLnBrk="0" hangingPunct="0">
                <a:lnSpc>
                  <a:spcPct val="106000"/>
                </a:lnSpc>
                <a:spcBef>
                  <a:spcPct val="30000"/>
                </a:spcBef>
                <a:buClrTx/>
              </a:pPr>
              <a:endParaRPr lang="en-US" sz="675" b="0" dirty="0">
                <a:solidFill>
                  <a:srgbClr val="000066"/>
                </a:solidFill>
              </a:endParaRPr>
            </a:p>
          </p:txBody>
        </p:sp>
        <p:sp>
          <p:nvSpPr>
            <p:cNvPr id="65" name="Freeform 64"/>
            <p:cNvSpPr>
              <a:spLocks/>
            </p:cNvSpPr>
            <p:nvPr/>
          </p:nvSpPr>
          <p:spPr bwMode="gray">
            <a:xfrm>
              <a:off x="3082926" y="5730875"/>
              <a:ext cx="107950" cy="30163"/>
            </a:xfrm>
            <a:custGeom>
              <a:avLst/>
              <a:gdLst>
                <a:gd name="T0" fmla="*/ 0 w 138"/>
                <a:gd name="T1" fmla="*/ 31 h 37"/>
                <a:gd name="T2" fmla="*/ 15 w 138"/>
                <a:gd name="T3" fmla="*/ 0 h 37"/>
                <a:gd name="T4" fmla="*/ 138 w 138"/>
                <a:gd name="T5" fmla="*/ 13 h 37"/>
                <a:gd name="T6" fmla="*/ 112 w 138"/>
                <a:gd name="T7" fmla="*/ 37 h 37"/>
                <a:gd name="T8" fmla="*/ 0 w 138"/>
                <a:gd name="T9" fmla="*/ 31 h 37"/>
                <a:gd name="T10" fmla="*/ 0 60000 65536"/>
                <a:gd name="T11" fmla="*/ 0 60000 65536"/>
                <a:gd name="T12" fmla="*/ 0 60000 65536"/>
                <a:gd name="T13" fmla="*/ 0 60000 65536"/>
                <a:gd name="T14" fmla="*/ 0 60000 65536"/>
                <a:gd name="T15" fmla="*/ 0 w 138"/>
                <a:gd name="T16" fmla="*/ 0 h 37"/>
                <a:gd name="T17" fmla="*/ 138 w 138"/>
                <a:gd name="T18" fmla="*/ 37 h 37"/>
              </a:gdLst>
              <a:ahLst/>
              <a:cxnLst>
                <a:cxn ang="T10">
                  <a:pos x="T0" y="T1"/>
                </a:cxn>
                <a:cxn ang="T11">
                  <a:pos x="T2" y="T3"/>
                </a:cxn>
                <a:cxn ang="T12">
                  <a:pos x="T4" y="T5"/>
                </a:cxn>
                <a:cxn ang="T13">
                  <a:pos x="T6" y="T7"/>
                </a:cxn>
                <a:cxn ang="T14">
                  <a:pos x="T8" y="T9"/>
                </a:cxn>
              </a:cxnLst>
              <a:rect l="T15" t="T16" r="T17" b="T18"/>
              <a:pathLst>
                <a:path w="138" h="37">
                  <a:moveTo>
                    <a:pt x="0" y="31"/>
                  </a:moveTo>
                  <a:lnTo>
                    <a:pt x="15" y="0"/>
                  </a:lnTo>
                  <a:lnTo>
                    <a:pt x="138" y="13"/>
                  </a:lnTo>
                  <a:lnTo>
                    <a:pt x="112" y="37"/>
                  </a:lnTo>
                  <a:lnTo>
                    <a:pt x="0" y="31"/>
                  </a:lnTo>
                  <a:close/>
                </a:path>
              </a:pathLst>
            </a:custGeom>
            <a:grpFill/>
            <a:ln w="12700">
              <a:solidFill>
                <a:schemeClr val="bg1"/>
              </a:solidFill>
              <a:round/>
              <a:headEnd/>
              <a:tailEnd/>
            </a:ln>
          </p:spPr>
          <p:txBody>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685800" eaLnBrk="0" hangingPunct="0">
                <a:lnSpc>
                  <a:spcPct val="106000"/>
                </a:lnSpc>
                <a:spcBef>
                  <a:spcPct val="30000"/>
                </a:spcBef>
                <a:buClrTx/>
              </a:pPr>
              <a:endParaRPr lang="en-US" sz="675" b="0" dirty="0">
                <a:solidFill>
                  <a:srgbClr val="000066"/>
                </a:solidFill>
              </a:endParaRPr>
            </a:p>
          </p:txBody>
        </p:sp>
        <p:sp>
          <p:nvSpPr>
            <p:cNvPr id="66" name="Freeform 65"/>
            <p:cNvSpPr>
              <a:spLocks/>
            </p:cNvSpPr>
            <p:nvPr/>
          </p:nvSpPr>
          <p:spPr bwMode="gray">
            <a:xfrm>
              <a:off x="3132138" y="5791200"/>
              <a:ext cx="41275" cy="30163"/>
            </a:xfrm>
            <a:custGeom>
              <a:avLst/>
              <a:gdLst>
                <a:gd name="T0" fmla="*/ 0 w 56"/>
                <a:gd name="T1" fmla="*/ 0 h 40"/>
                <a:gd name="T2" fmla="*/ 20 w 56"/>
                <a:gd name="T3" fmla="*/ 40 h 40"/>
                <a:gd name="T4" fmla="*/ 56 w 56"/>
                <a:gd name="T5" fmla="*/ 23 h 40"/>
                <a:gd name="T6" fmla="*/ 38 w 56"/>
                <a:gd name="T7" fmla="*/ 0 h 40"/>
                <a:gd name="T8" fmla="*/ 0 w 56"/>
                <a:gd name="T9" fmla="*/ 0 h 40"/>
                <a:gd name="T10" fmla="*/ 0 60000 65536"/>
                <a:gd name="T11" fmla="*/ 0 60000 65536"/>
                <a:gd name="T12" fmla="*/ 0 60000 65536"/>
                <a:gd name="T13" fmla="*/ 0 60000 65536"/>
                <a:gd name="T14" fmla="*/ 0 60000 65536"/>
                <a:gd name="T15" fmla="*/ 0 w 56"/>
                <a:gd name="T16" fmla="*/ 0 h 40"/>
                <a:gd name="T17" fmla="*/ 56 w 56"/>
                <a:gd name="T18" fmla="*/ 40 h 40"/>
              </a:gdLst>
              <a:ahLst/>
              <a:cxnLst>
                <a:cxn ang="T10">
                  <a:pos x="T0" y="T1"/>
                </a:cxn>
                <a:cxn ang="T11">
                  <a:pos x="T2" y="T3"/>
                </a:cxn>
                <a:cxn ang="T12">
                  <a:pos x="T4" y="T5"/>
                </a:cxn>
                <a:cxn ang="T13">
                  <a:pos x="T6" y="T7"/>
                </a:cxn>
                <a:cxn ang="T14">
                  <a:pos x="T8" y="T9"/>
                </a:cxn>
              </a:cxnLst>
              <a:rect l="T15" t="T16" r="T17" b="T18"/>
              <a:pathLst>
                <a:path w="56" h="40">
                  <a:moveTo>
                    <a:pt x="0" y="0"/>
                  </a:moveTo>
                  <a:lnTo>
                    <a:pt x="20" y="40"/>
                  </a:lnTo>
                  <a:lnTo>
                    <a:pt x="56" y="23"/>
                  </a:lnTo>
                  <a:lnTo>
                    <a:pt x="38" y="0"/>
                  </a:lnTo>
                  <a:lnTo>
                    <a:pt x="0" y="0"/>
                  </a:lnTo>
                  <a:close/>
                </a:path>
              </a:pathLst>
            </a:custGeom>
            <a:grpFill/>
            <a:ln w="12700">
              <a:solidFill>
                <a:schemeClr val="bg1"/>
              </a:solidFill>
              <a:round/>
              <a:headEnd/>
              <a:tailEnd/>
            </a:ln>
          </p:spPr>
          <p:txBody>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685800" eaLnBrk="0" hangingPunct="0">
                <a:lnSpc>
                  <a:spcPct val="106000"/>
                </a:lnSpc>
                <a:spcBef>
                  <a:spcPct val="30000"/>
                </a:spcBef>
                <a:buClrTx/>
              </a:pPr>
              <a:endParaRPr lang="en-US" sz="675" b="0" dirty="0">
                <a:solidFill>
                  <a:srgbClr val="000066"/>
                </a:solidFill>
              </a:endParaRPr>
            </a:p>
          </p:txBody>
        </p:sp>
        <p:sp>
          <p:nvSpPr>
            <p:cNvPr id="67" name="Freeform 66"/>
            <p:cNvSpPr>
              <a:spLocks/>
            </p:cNvSpPr>
            <p:nvPr/>
          </p:nvSpPr>
          <p:spPr bwMode="gray">
            <a:xfrm>
              <a:off x="3194051" y="5764213"/>
              <a:ext cx="138113" cy="80963"/>
            </a:xfrm>
            <a:custGeom>
              <a:avLst/>
              <a:gdLst>
                <a:gd name="T0" fmla="*/ 0 w 172"/>
                <a:gd name="T1" fmla="*/ 27 h 104"/>
                <a:gd name="T2" fmla="*/ 22 w 172"/>
                <a:gd name="T3" fmla="*/ 0 h 104"/>
                <a:gd name="T4" fmla="*/ 47 w 172"/>
                <a:gd name="T5" fmla="*/ 27 h 104"/>
                <a:gd name="T6" fmla="*/ 106 w 172"/>
                <a:gd name="T7" fmla="*/ 22 h 104"/>
                <a:gd name="T8" fmla="*/ 172 w 172"/>
                <a:gd name="T9" fmla="*/ 68 h 104"/>
                <a:gd name="T10" fmla="*/ 148 w 172"/>
                <a:gd name="T11" fmla="*/ 90 h 104"/>
                <a:gd name="T12" fmla="*/ 68 w 172"/>
                <a:gd name="T13" fmla="*/ 104 h 104"/>
                <a:gd name="T14" fmla="*/ 54 w 172"/>
                <a:gd name="T15" fmla="*/ 58 h 104"/>
                <a:gd name="T16" fmla="*/ 23 w 172"/>
                <a:gd name="T17" fmla="*/ 58 h 104"/>
                <a:gd name="T18" fmla="*/ 0 w 172"/>
                <a:gd name="T19" fmla="*/ 27 h 10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2"/>
                <a:gd name="T31" fmla="*/ 0 h 104"/>
                <a:gd name="T32" fmla="*/ 172 w 172"/>
                <a:gd name="T33" fmla="*/ 104 h 10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2" h="104">
                  <a:moveTo>
                    <a:pt x="0" y="27"/>
                  </a:moveTo>
                  <a:lnTo>
                    <a:pt x="22" y="0"/>
                  </a:lnTo>
                  <a:lnTo>
                    <a:pt x="47" y="27"/>
                  </a:lnTo>
                  <a:lnTo>
                    <a:pt x="106" y="22"/>
                  </a:lnTo>
                  <a:lnTo>
                    <a:pt x="172" y="68"/>
                  </a:lnTo>
                  <a:lnTo>
                    <a:pt x="148" y="90"/>
                  </a:lnTo>
                  <a:lnTo>
                    <a:pt x="68" y="104"/>
                  </a:lnTo>
                  <a:lnTo>
                    <a:pt x="54" y="58"/>
                  </a:lnTo>
                  <a:lnTo>
                    <a:pt x="23" y="58"/>
                  </a:lnTo>
                  <a:lnTo>
                    <a:pt x="0" y="27"/>
                  </a:lnTo>
                  <a:close/>
                </a:path>
              </a:pathLst>
            </a:custGeom>
            <a:grpFill/>
            <a:ln w="12700">
              <a:solidFill>
                <a:schemeClr val="bg1"/>
              </a:solidFill>
              <a:round/>
              <a:headEnd/>
              <a:tailEnd/>
            </a:ln>
          </p:spPr>
          <p:txBody>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685800" eaLnBrk="0" hangingPunct="0">
                <a:lnSpc>
                  <a:spcPct val="106000"/>
                </a:lnSpc>
                <a:spcBef>
                  <a:spcPct val="30000"/>
                </a:spcBef>
                <a:buClrTx/>
              </a:pPr>
              <a:endParaRPr lang="en-US" sz="675" b="0" dirty="0">
                <a:solidFill>
                  <a:srgbClr val="000066"/>
                </a:solidFill>
              </a:endParaRPr>
            </a:p>
          </p:txBody>
        </p:sp>
        <p:sp>
          <p:nvSpPr>
            <p:cNvPr id="68" name="Freeform 67"/>
            <p:cNvSpPr>
              <a:spLocks/>
            </p:cNvSpPr>
            <p:nvPr/>
          </p:nvSpPr>
          <p:spPr bwMode="gray">
            <a:xfrm>
              <a:off x="3317876" y="5911850"/>
              <a:ext cx="230188" cy="260350"/>
            </a:xfrm>
            <a:custGeom>
              <a:avLst/>
              <a:gdLst>
                <a:gd name="T0" fmla="*/ 0 w 289"/>
                <a:gd name="T1" fmla="*/ 129 h 329"/>
                <a:gd name="T2" fmla="*/ 39 w 289"/>
                <a:gd name="T3" fmla="*/ 220 h 329"/>
                <a:gd name="T4" fmla="*/ 33 w 289"/>
                <a:gd name="T5" fmla="*/ 292 h 329"/>
                <a:gd name="T6" fmla="*/ 93 w 289"/>
                <a:gd name="T7" fmla="*/ 329 h 329"/>
                <a:gd name="T8" fmla="*/ 127 w 289"/>
                <a:gd name="T9" fmla="*/ 273 h 329"/>
                <a:gd name="T10" fmla="*/ 250 w 289"/>
                <a:gd name="T11" fmla="*/ 222 h 329"/>
                <a:gd name="T12" fmla="*/ 289 w 289"/>
                <a:gd name="T13" fmla="*/ 182 h 329"/>
                <a:gd name="T14" fmla="*/ 189 w 289"/>
                <a:gd name="T15" fmla="*/ 66 h 329"/>
                <a:gd name="T16" fmla="*/ 47 w 289"/>
                <a:gd name="T17" fmla="*/ 0 h 329"/>
                <a:gd name="T18" fmla="*/ 34 w 289"/>
                <a:gd name="T19" fmla="*/ 20 h 329"/>
                <a:gd name="T20" fmla="*/ 50 w 289"/>
                <a:gd name="T21" fmla="*/ 69 h 329"/>
                <a:gd name="T22" fmla="*/ 0 w 289"/>
                <a:gd name="T23" fmla="*/ 129 h 3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9"/>
                <a:gd name="T37" fmla="*/ 0 h 329"/>
                <a:gd name="T38" fmla="*/ 289 w 289"/>
                <a:gd name="T39" fmla="*/ 329 h 3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9" h="329">
                  <a:moveTo>
                    <a:pt x="0" y="129"/>
                  </a:moveTo>
                  <a:lnTo>
                    <a:pt x="39" y="220"/>
                  </a:lnTo>
                  <a:lnTo>
                    <a:pt x="33" y="292"/>
                  </a:lnTo>
                  <a:lnTo>
                    <a:pt x="93" y="329"/>
                  </a:lnTo>
                  <a:lnTo>
                    <a:pt x="127" y="273"/>
                  </a:lnTo>
                  <a:lnTo>
                    <a:pt x="250" y="222"/>
                  </a:lnTo>
                  <a:lnTo>
                    <a:pt x="289" y="182"/>
                  </a:lnTo>
                  <a:lnTo>
                    <a:pt x="189" y="66"/>
                  </a:lnTo>
                  <a:lnTo>
                    <a:pt x="47" y="0"/>
                  </a:lnTo>
                  <a:lnTo>
                    <a:pt x="34" y="20"/>
                  </a:lnTo>
                  <a:lnTo>
                    <a:pt x="50" y="69"/>
                  </a:lnTo>
                  <a:lnTo>
                    <a:pt x="0" y="129"/>
                  </a:lnTo>
                  <a:close/>
                </a:path>
              </a:pathLst>
            </a:custGeom>
            <a:grpFill/>
            <a:ln w="12700">
              <a:solidFill>
                <a:schemeClr val="bg1"/>
              </a:solidFill>
              <a:round/>
              <a:headEnd/>
              <a:tailEnd/>
            </a:ln>
          </p:spPr>
          <p:txBody>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685800" eaLnBrk="0" hangingPunct="0">
                <a:lnSpc>
                  <a:spcPct val="106000"/>
                </a:lnSpc>
                <a:spcBef>
                  <a:spcPct val="30000"/>
                </a:spcBef>
                <a:buClrTx/>
              </a:pPr>
              <a:endParaRPr lang="en-US" sz="675" b="0" dirty="0">
                <a:solidFill>
                  <a:srgbClr val="000066"/>
                </a:solidFill>
              </a:endParaRPr>
            </a:p>
          </p:txBody>
        </p:sp>
      </p:grpSp>
      <p:grpSp>
        <p:nvGrpSpPr>
          <p:cNvPr id="69" name="Group 68"/>
          <p:cNvGrpSpPr/>
          <p:nvPr/>
        </p:nvGrpSpPr>
        <p:grpSpPr>
          <a:xfrm>
            <a:off x="1387900" y="3531944"/>
            <a:ext cx="1357313" cy="978694"/>
            <a:chOff x="890588" y="4932363"/>
            <a:chExt cx="1809750" cy="1304925"/>
          </a:xfrm>
          <a:solidFill>
            <a:srgbClr val="00A1DE"/>
          </a:solidFill>
        </p:grpSpPr>
        <p:sp>
          <p:nvSpPr>
            <p:cNvPr id="70" name="Freeform 69"/>
            <p:cNvSpPr>
              <a:spLocks/>
            </p:cNvSpPr>
            <p:nvPr/>
          </p:nvSpPr>
          <p:spPr bwMode="gray">
            <a:xfrm>
              <a:off x="890588" y="6199188"/>
              <a:ext cx="77788" cy="38100"/>
            </a:xfrm>
            <a:custGeom>
              <a:avLst/>
              <a:gdLst>
                <a:gd name="T0" fmla="*/ 0 w 98"/>
                <a:gd name="T1" fmla="*/ 48 h 48"/>
                <a:gd name="T2" fmla="*/ 25 w 98"/>
                <a:gd name="T3" fmla="*/ 22 h 48"/>
                <a:gd name="T4" fmla="*/ 92 w 98"/>
                <a:gd name="T5" fmla="*/ 0 h 48"/>
                <a:gd name="T6" fmla="*/ 98 w 98"/>
                <a:gd name="T7" fmla="*/ 9 h 48"/>
                <a:gd name="T8" fmla="*/ 0 w 98"/>
                <a:gd name="T9" fmla="*/ 48 h 48"/>
                <a:gd name="T10" fmla="*/ 0 60000 65536"/>
                <a:gd name="T11" fmla="*/ 0 60000 65536"/>
                <a:gd name="T12" fmla="*/ 0 60000 65536"/>
                <a:gd name="T13" fmla="*/ 0 60000 65536"/>
                <a:gd name="T14" fmla="*/ 0 60000 65536"/>
                <a:gd name="T15" fmla="*/ 0 w 98"/>
                <a:gd name="T16" fmla="*/ 0 h 48"/>
                <a:gd name="T17" fmla="*/ 98 w 98"/>
                <a:gd name="T18" fmla="*/ 48 h 48"/>
              </a:gdLst>
              <a:ahLst/>
              <a:cxnLst>
                <a:cxn ang="T10">
                  <a:pos x="T0" y="T1"/>
                </a:cxn>
                <a:cxn ang="T11">
                  <a:pos x="T2" y="T3"/>
                </a:cxn>
                <a:cxn ang="T12">
                  <a:pos x="T4" y="T5"/>
                </a:cxn>
                <a:cxn ang="T13">
                  <a:pos x="T6" y="T7"/>
                </a:cxn>
                <a:cxn ang="T14">
                  <a:pos x="T8" y="T9"/>
                </a:cxn>
              </a:cxnLst>
              <a:rect l="T15" t="T16" r="T17" b="T18"/>
              <a:pathLst>
                <a:path w="98" h="48">
                  <a:moveTo>
                    <a:pt x="0" y="48"/>
                  </a:moveTo>
                  <a:lnTo>
                    <a:pt x="25" y="22"/>
                  </a:lnTo>
                  <a:lnTo>
                    <a:pt x="92" y="0"/>
                  </a:lnTo>
                  <a:lnTo>
                    <a:pt x="98" y="9"/>
                  </a:lnTo>
                  <a:lnTo>
                    <a:pt x="0" y="48"/>
                  </a:lnTo>
                  <a:close/>
                </a:path>
              </a:pathLst>
            </a:custGeom>
            <a:grpFill/>
            <a:ln w="12700">
              <a:solidFill>
                <a:schemeClr val="bg1"/>
              </a:solidFill>
              <a:round/>
              <a:headEnd/>
              <a:tailEnd/>
            </a:ln>
          </p:spPr>
          <p:txBody>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685800" eaLnBrk="0" hangingPunct="0">
                <a:lnSpc>
                  <a:spcPct val="106000"/>
                </a:lnSpc>
                <a:spcBef>
                  <a:spcPct val="30000"/>
                </a:spcBef>
                <a:buClrTx/>
              </a:pPr>
              <a:endParaRPr lang="en-US" sz="675" b="0" dirty="0">
                <a:solidFill>
                  <a:srgbClr val="000066"/>
                </a:solidFill>
              </a:endParaRPr>
            </a:p>
          </p:txBody>
        </p:sp>
        <p:sp>
          <p:nvSpPr>
            <p:cNvPr id="71" name="Freeform 70"/>
            <p:cNvSpPr>
              <a:spLocks/>
            </p:cNvSpPr>
            <p:nvPr/>
          </p:nvSpPr>
          <p:spPr bwMode="gray">
            <a:xfrm>
              <a:off x="1003301" y="6181725"/>
              <a:ext cx="46038" cy="31750"/>
            </a:xfrm>
            <a:custGeom>
              <a:avLst/>
              <a:gdLst>
                <a:gd name="T0" fmla="*/ 0 w 59"/>
                <a:gd name="T1" fmla="*/ 39 h 39"/>
                <a:gd name="T2" fmla="*/ 13 w 59"/>
                <a:gd name="T3" fmla="*/ 0 h 39"/>
                <a:gd name="T4" fmla="*/ 59 w 59"/>
                <a:gd name="T5" fmla="*/ 7 h 39"/>
                <a:gd name="T6" fmla="*/ 52 w 59"/>
                <a:gd name="T7" fmla="*/ 31 h 39"/>
                <a:gd name="T8" fmla="*/ 0 w 59"/>
                <a:gd name="T9" fmla="*/ 39 h 39"/>
                <a:gd name="T10" fmla="*/ 0 60000 65536"/>
                <a:gd name="T11" fmla="*/ 0 60000 65536"/>
                <a:gd name="T12" fmla="*/ 0 60000 65536"/>
                <a:gd name="T13" fmla="*/ 0 60000 65536"/>
                <a:gd name="T14" fmla="*/ 0 60000 65536"/>
                <a:gd name="T15" fmla="*/ 0 w 59"/>
                <a:gd name="T16" fmla="*/ 0 h 39"/>
                <a:gd name="T17" fmla="*/ 59 w 59"/>
                <a:gd name="T18" fmla="*/ 39 h 39"/>
              </a:gdLst>
              <a:ahLst/>
              <a:cxnLst>
                <a:cxn ang="T10">
                  <a:pos x="T0" y="T1"/>
                </a:cxn>
                <a:cxn ang="T11">
                  <a:pos x="T2" y="T3"/>
                </a:cxn>
                <a:cxn ang="T12">
                  <a:pos x="T4" y="T5"/>
                </a:cxn>
                <a:cxn ang="T13">
                  <a:pos x="T6" y="T7"/>
                </a:cxn>
                <a:cxn ang="T14">
                  <a:pos x="T8" y="T9"/>
                </a:cxn>
              </a:cxnLst>
              <a:rect l="T15" t="T16" r="T17" b="T18"/>
              <a:pathLst>
                <a:path w="59" h="39">
                  <a:moveTo>
                    <a:pt x="0" y="39"/>
                  </a:moveTo>
                  <a:lnTo>
                    <a:pt x="13" y="0"/>
                  </a:lnTo>
                  <a:lnTo>
                    <a:pt x="59" y="7"/>
                  </a:lnTo>
                  <a:lnTo>
                    <a:pt x="52" y="31"/>
                  </a:lnTo>
                  <a:lnTo>
                    <a:pt x="0" y="39"/>
                  </a:lnTo>
                  <a:close/>
                </a:path>
              </a:pathLst>
            </a:custGeom>
            <a:grpFill/>
            <a:ln w="12700">
              <a:solidFill>
                <a:schemeClr val="bg1"/>
              </a:solidFill>
              <a:round/>
              <a:headEnd/>
              <a:tailEnd/>
            </a:ln>
          </p:spPr>
          <p:txBody>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685800" eaLnBrk="0" hangingPunct="0">
                <a:lnSpc>
                  <a:spcPct val="106000"/>
                </a:lnSpc>
                <a:spcBef>
                  <a:spcPct val="30000"/>
                </a:spcBef>
                <a:buClrTx/>
              </a:pPr>
              <a:endParaRPr lang="en-US" sz="675" b="0" dirty="0">
                <a:solidFill>
                  <a:srgbClr val="000066"/>
                </a:solidFill>
              </a:endParaRPr>
            </a:p>
          </p:txBody>
        </p:sp>
        <p:sp>
          <p:nvSpPr>
            <p:cNvPr id="72" name="Freeform 71"/>
            <p:cNvSpPr>
              <a:spLocks/>
            </p:cNvSpPr>
            <p:nvPr/>
          </p:nvSpPr>
          <p:spPr bwMode="gray">
            <a:xfrm>
              <a:off x="1104901" y="6145213"/>
              <a:ext cx="82550" cy="34925"/>
            </a:xfrm>
            <a:custGeom>
              <a:avLst/>
              <a:gdLst>
                <a:gd name="T0" fmla="*/ 0 w 107"/>
                <a:gd name="T1" fmla="*/ 44 h 44"/>
                <a:gd name="T2" fmla="*/ 25 w 107"/>
                <a:gd name="T3" fmla="*/ 0 h 44"/>
                <a:gd name="T4" fmla="*/ 90 w 107"/>
                <a:gd name="T5" fmla="*/ 0 h 44"/>
                <a:gd name="T6" fmla="*/ 107 w 107"/>
                <a:gd name="T7" fmla="*/ 40 h 44"/>
                <a:gd name="T8" fmla="*/ 36 w 107"/>
                <a:gd name="T9" fmla="*/ 31 h 44"/>
                <a:gd name="T10" fmla="*/ 0 w 107"/>
                <a:gd name="T11" fmla="*/ 44 h 44"/>
                <a:gd name="T12" fmla="*/ 0 60000 65536"/>
                <a:gd name="T13" fmla="*/ 0 60000 65536"/>
                <a:gd name="T14" fmla="*/ 0 60000 65536"/>
                <a:gd name="T15" fmla="*/ 0 60000 65536"/>
                <a:gd name="T16" fmla="*/ 0 60000 65536"/>
                <a:gd name="T17" fmla="*/ 0 60000 65536"/>
                <a:gd name="T18" fmla="*/ 0 w 107"/>
                <a:gd name="T19" fmla="*/ 0 h 44"/>
                <a:gd name="T20" fmla="*/ 107 w 107"/>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107" h="44">
                  <a:moveTo>
                    <a:pt x="0" y="44"/>
                  </a:moveTo>
                  <a:lnTo>
                    <a:pt x="25" y="0"/>
                  </a:lnTo>
                  <a:lnTo>
                    <a:pt x="90" y="0"/>
                  </a:lnTo>
                  <a:lnTo>
                    <a:pt x="107" y="40"/>
                  </a:lnTo>
                  <a:lnTo>
                    <a:pt x="36" y="31"/>
                  </a:lnTo>
                  <a:lnTo>
                    <a:pt x="0" y="44"/>
                  </a:lnTo>
                  <a:close/>
                </a:path>
              </a:pathLst>
            </a:custGeom>
            <a:grpFill/>
            <a:ln w="12700">
              <a:solidFill>
                <a:schemeClr val="bg1"/>
              </a:solidFill>
              <a:round/>
              <a:headEnd/>
              <a:tailEnd/>
            </a:ln>
          </p:spPr>
          <p:txBody>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685800" eaLnBrk="0" hangingPunct="0">
                <a:lnSpc>
                  <a:spcPct val="106000"/>
                </a:lnSpc>
                <a:spcBef>
                  <a:spcPct val="30000"/>
                </a:spcBef>
                <a:buClrTx/>
              </a:pPr>
              <a:endParaRPr lang="en-US" sz="675" b="0" dirty="0">
                <a:solidFill>
                  <a:srgbClr val="000066"/>
                </a:solidFill>
              </a:endParaRPr>
            </a:p>
          </p:txBody>
        </p:sp>
        <p:sp>
          <p:nvSpPr>
            <p:cNvPr id="73" name="Freeform 72"/>
            <p:cNvSpPr>
              <a:spLocks/>
            </p:cNvSpPr>
            <p:nvPr/>
          </p:nvSpPr>
          <p:spPr bwMode="gray">
            <a:xfrm>
              <a:off x="1182688" y="4932363"/>
              <a:ext cx="1517650" cy="1281113"/>
            </a:xfrm>
            <a:custGeom>
              <a:avLst/>
              <a:gdLst>
                <a:gd name="T0" fmla="*/ 157 w 1915"/>
                <a:gd name="T1" fmla="*/ 1476 h 1617"/>
                <a:gd name="T2" fmla="*/ 364 w 1915"/>
                <a:gd name="T3" fmla="*/ 1358 h 1617"/>
                <a:gd name="T4" fmla="*/ 371 w 1915"/>
                <a:gd name="T5" fmla="*/ 1215 h 1617"/>
                <a:gd name="T6" fmla="*/ 295 w 1915"/>
                <a:gd name="T7" fmla="*/ 1205 h 1617"/>
                <a:gd name="T8" fmla="*/ 150 w 1915"/>
                <a:gd name="T9" fmla="*/ 1198 h 1617"/>
                <a:gd name="T10" fmla="*/ 213 w 1915"/>
                <a:gd name="T11" fmla="*/ 1008 h 1617"/>
                <a:gd name="T12" fmla="*/ 83 w 1915"/>
                <a:gd name="T13" fmla="*/ 1006 h 1617"/>
                <a:gd name="T14" fmla="*/ 95 w 1915"/>
                <a:gd name="T15" fmla="*/ 941 h 1617"/>
                <a:gd name="T16" fmla="*/ 43 w 1915"/>
                <a:gd name="T17" fmla="*/ 870 h 1617"/>
                <a:gd name="T18" fmla="*/ 229 w 1915"/>
                <a:gd name="T19" fmla="*/ 755 h 1617"/>
                <a:gd name="T20" fmla="*/ 335 w 1915"/>
                <a:gd name="T21" fmla="*/ 645 h 1617"/>
                <a:gd name="T22" fmla="*/ 182 w 1915"/>
                <a:gd name="T23" fmla="*/ 604 h 1617"/>
                <a:gd name="T24" fmla="*/ 271 w 1915"/>
                <a:gd name="T25" fmla="*/ 408 h 1617"/>
                <a:gd name="T26" fmla="*/ 400 w 1915"/>
                <a:gd name="T27" fmla="*/ 462 h 1617"/>
                <a:gd name="T28" fmla="*/ 424 w 1915"/>
                <a:gd name="T29" fmla="*/ 468 h 1617"/>
                <a:gd name="T30" fmla="*/ 322 w 1915"/>
                <a:gd name="T31" fmla="*/ 365 h 1617"/>
                <a:gd name="T32" fmla="*/ 289 w 1915"/>
                <a:gd name="T33" fmla="*/ 157 h 1617"/>
                <a:gd name="T34" fmla="*/ 544 w 1915"/>
                <a:gd name="T35" fmla="*/ 51 h 1617"/>
                <a:gd name="T36" fmla="*/ 675 w 1915"/>
                <a:gd name="T37" fmla="*/ 0 h 1617"/>
                <a:gd name="T38" fmla="*/ 759 w 1915"/>
                <a:gd name="T39" fmla="*/ 79 h 1617"/>
                <a:gd name="T40" fmla="*/ 945 w 1915"/>
                <a:gd name="T41" fmla="*/ 137 h 1617"/>
                <a:gd name="T42" fmla="*/ 1117 w 1915"/>
                <a:gd name="T43" fmla="*/ 170 h 1617"/>
                <a:gd name="T44" fmla="*/ 1368 w 1915"/>
                <a:gd name="T45" fmla="*/ 1164 h 1617"/>
                <a:gd name="T46" fmla="*/ 1525 w 1915"/>
                <a:gd name="T47" fmla="*/ 1192 h 1617"/>
                <a:gd name="T48" fmla="*/ 1605 w 1915"/>
                <a:gd name="T49" fmla="*/ 1218 h 1617"/>
                <a:gd name="T50" fmla="*/ 1838 w 1915"/>
                <a:gd name="T51" fmla="*/ 1465 h 1617"/>
                <a:gd name="T52" fmla="*/ 1890 w 1915"/>
                <a:gd name="T53" fmla="*/ 1617 h 1617"/>
                <a:gd name="T54" fmla="*/ 1859 w 1915"/>
                <a:gd name="T55" fmla="*/ 1561 h 1617"/>
                <a:gd name="T56" fmla="*/ 1798 w 1915"/>
                <a:gd name="T57" fmla="*/ 1542 h 1617"/>
                <a:gd name="T58" fmla="*/ 1780 w 1915"/>
                <a:gd name="T59" fmla="*/ 1501 h 1617"/>
                <a:gd name="T60" fmla="*/ 1758 w 1915"/>
                <a:gd name="T61" fmla="*/ 1461 h 1617"/>
                <a:gd name="T62" fmla="*/ 1689 w 1915"/>
                <a:gd name="T63" fmla="*/ 1412 h 1617"/>
                <a:gd name="T64" fmla="*/ 1654 w 1915"/>
                <a:gd name="T65" fmla="*/ 1331 h 1617"/>
                <a:gd name="T66" fmla="*/ 1627 w 1915"/>
                <a:gd name="T67" fmla="*/ 1309 h 1617"/>
                <a:gd name="T68" fmla="*/ 1570 w 1915"/>
                <a:gd name="T69" fmla="*/ 1218 h 1617"/>
                <a:gd name="T70" fmla="*/ 1666 w 1915"/>
                <a:gd name="T71" fmla="*/ 1354 h 1617"/>
                <a:gd name="T72" fmla="*/ 1668 w 1915"/>
                <a:gd name="T73" fmla="*/ 1409 h 1617"/>
                <a:gd name="T74" fmla="*/ 1642 w 1915"/>
                <a:gd name="T75" fmla="*/ 1437 h 1617"/>
                <a:gd name="T76" fmla="*/ 1582 w 1915"/>
                <a:gd name="T77" fmla="*/ 1314 h 1617"/>
                <a:gd name="T78" fmla="*/ 1532 w 1915"/>
                <a:gd name="T79" fmla="*/ 1268 h 1617"/>
                <a:gd name="T80" fmla="*/ 1516 w 1915"/>
                <a:gd name="T81" fmla="*/ 1319 h 1617"/>
                <a:gd name="T82" fmla="*/ 1349 w 1915"/>
                <a:gd name="T83" fmla="*/ 1182 h 1617"/>
                <a:gd name="T84" fmla="*/ 1282 w 1915"/>
                <a:gd name="T85" fmla="*/ 1198 h 1617"/>
                <a:gd name="T86" fmla="*/ 1048 w 1915"/>
                <a:gd name="T87" fmla="*/ 1150 h 1617"/>
                <a:gd name="T88" fmla="*/ 997 w 1915"/>
                <a:gd name="T89" fmla="*/ 1106 h 1617"/>
                <a:gd name="T90" fmla="*/ 920 w 1915"/>
                <a:gd name="T91" fmla="*/ 1081 h 1617"/>
                <a:gd name="T92" fmla="*/ 913 w 1915"/>
                <a:gd name="T93" fmla="*/ 1097 h 1617"/>
                <a:gd name="T94" fmla="*/ 972 w 1915"/>
                <a:gd name="T95" fmla="*/ 1195 h 1617"/>
                <a:gd name="T96" fmla="*/ 863 w 1915"/>
                <a:gd name="T97" fmla="*/ 1169 h 1617"/>
                <a:gd name="T98" fmla="*/ 835 w 1915"/>
                <a:gd name="T99" fmla="*/ 1202 h 1617"/>
                <a:gd name="T100" fmla="*/ 742 w 1915"/>
                <a:gd name="T101" fmla="*/ 1237 h 1617"/>
                <a:gd name="T102" fmla="*/ 756 w 1915"/>
                <a:gd name="T103" fmla="*/ 1198 h 1617"/>
                <a:gd name="T104" fmla="*/ 862 w 1915"/>
                <a:gd name="T105" fmla="*/ 1021 h 1617"/>
                <a:gd name="T106" fmla="*/ 686 w 1915"/>
                <a:gd name="T107" fmla="*/ 1131 h 1617"/>
                <a:gd name="T108" fmla="*/ 614 w 1915"/>
                <a:gd name="T109" fmla="*/ 1279 h 1617"/>
                <a:gd name="T110" fmla="*/ 218 w 1915"/>
                <a:gd name="T111" fmla="*/ 1505 h 1617"/>
                <a:gd name="T112" fmla="*/ 50 w 1915"/>
                <a:gd name="T113" fmla="*/ 1552 h 161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15"/>
                <a:gd name="T172" fmla="*/ 0 h 1617"/>
                <a:gd name="T173" fmla="*/ 1915 w 1915"/>
                <a:gd name="T174" fmla="*/ 1617 h 161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15" h="1617">
                  <a:moveTo>
                    <a:pt x="0" y="1544"/>
                  </a:moveTo>
                  <a:lnTo>
                    <a:pt x="16" y="1521"/>
                  </a:lnTo>
                  <a:lnTo>
                    <a:pt x="30" y="1523"/>
                  </a:lnTo>
                  <a:lnTo>
                    <a:pt x="109" y="1466"/>
                  </a:lnTo>
                  <a:lnTo>
                    <a:pt x="157" y="1476"/>
                  </a:lnTo>
                  <a:lnTo>
                    <a:pt x="170" y="1498"/>
                  </a:lnTo>
                  <a:lnTo>
                    <a:pt x="173" y="1475"/>
                  </a:lnTo>
                  <a:lnTo>
                    <a:pt x="221" y="1442"/>
                  </a:lnTo>
                  <a:lnTo>
                    <a:pt x="296" y="1413"/>
                  </a:lnTo>
                  <a:lnTo>
                    <a:pt x="364" y="1358"/>
                  </a:lnTo>
                  <a:lnTo>
                    <a:pt x="380" y="1364"/>
                  </a:lnTo>
                  <a:lnTo>
                    <a:pt x="392" y="1293"/>
                  </a:lnTo>
                  <a:lnTo>
                    <a:pt x="431" y="1237"/>
                  </a:lnTo>
                  <a:lnTo>
                    <a:pt x="362" y="1243"/>
                  </a:lnTo>
                  <a:lnTo>
                    <a:pt x="371" y="1215"/>
                  </a:lnTo>
                  <a:lnTo>
                    <a:pt x="394" y="1217"/>
                  </a:lnTo>
                  <a:lnTo>
                    <a:pt x="372" y="1203"/>
                  </a:lnTo>
                  <a:lnTo>
                    <a:pt x="338" y="1236"/>
                  </a:lnTo>
                  <a:lnTo>
                    <a:pt x="335" y="1260"/>
                  </a:lnTo>
                  <a:lnTo>
                    <a:pt x="295" y="1205"/>
                  </a:lnTo>
                  <a:lnTo>
                    <a:pt x="282" y="1215"/>
                  </a:lnTo>
                  <a:lnTo>
                    <a:pt x="260" y="1188"/>
                  </a:lnTo>
                  <a:lnTo>
                    <a:pt x="208" y="1208"/>
                  </a:lnTo>
                  <a:lnTo>
                    <a:pt x="195" y="1212"/>
                  </a:lnTo>
                  <a:lnTo>
                    <a:pt x="150" y="1198"/>
                  </a:lnTo>
                  <a:lnTo>
                    <a:pt x="196" y="1160"/>
                  </a:lnTo>
                  <a:lnTo>
                    <a:pt x="183" y="1152"/>
                  </a:lnTo>
                  <a:lnTo>
                    <a:pt x="198" y="1125"/>
                  </a:lnTo>
                  <a:lnTo>
                    <a:pt x="190" y="1046"/>
                  </a:lnTo>
                  <a:lnTo>
                    <a:pt x="213" y="1008"/>
                  </a:lnTo>
                  <a:lnTo>
                    <a:pt x="174" y="1036"/>
                  </a:lnTo>
                  <a:lnTo>
                    <a:pt x="177" y="1060"/>
                  </a:lnTo>
                  <a:lnTo>
                    <a:pt x="143" y="1081"/>
                  </a:lnTo>
                  <a:lnTo>
                    <a:pt x="98" y="1066"/>
                  </a:lnTo>
                  <a:lnTo>
                    <a:pt x="83" y="1006"/>
                  </a:lnTo>
                  <a:lnTo>
                    <a:pt x="53" y="976"/>
                  </a:lnTo>
                  <a:lnTo>
                    <a:pt x="54" y="961"/>
                  </a:lnTo>
                  <a:lnTo>
                    <a:pt x="72" y="961"/>
                  </a:lnTo>
                  <a:lnTo>
                    <a:pt x="81" y="947"/>
                  </a:lnTo>
                  <a:lnTo>
                    <a:pt x="95" y="941"/>
                  </a:lnTo>
                  <a:lnTo>
                    <a:pt x="81" y="938"/>
                  </a:lnTo>
                  <a:lnTo>
                    <a:pt x="93" y="928"/>
                  </a:lnTo>
                  <a:lnTo>
                    <a:pt x="75" y="908"/>
                  </a:lnTo>
                  <a:lnTo>
                    <a:pt x="68" y="918"/>
                  </a:lnTo>
                  <a:lnTo>
                    <a:pt x="43" y="870"/>
                  </a:lnTo>
                  <a:lnTo>
                    <a:pt x="59" y="836"/>
                  </a:lnTo>
                  <a:lnTo>
                    <a:pt x="146" y="777"/>
                  </a:lnTo>
                  <a:lnTo>
                    <a:pt x="169" y="735"/>
                  </a:lnTo>
                  <a:lnTo>
                    <a:pt x="187" y="728"/>
                  </a:lnTo>
                  <a:lnTo>
                    <a:pt x="229" y="755"/>
                  </a:lnTo>
                  <a:lnTo>
                    <a:pt x="261" y="746"/>
                  </a:lnTo>
                  <a:lnTo>
                    <a:pt x="275" y="726"/>
                  </a:lnTo>
                  <a:lnTo>
                    <a:pt x="339" y="735"/>
                  </a:lnTo>
                  <a:lnTo>
                    <a:pt x="353" y="670"/>
                  </a:lnTo>
                  <a:lnTo>
                    <a:pt x="335" y="645"/>
                  </a:lnTo>
                  <a:lnTo>
                    <a:pt x="377" y="622"/>
                  </a:lnTo>
                  <a:lnTo>
                    <a:pt x="338" y="608"/>
                  </a:lnTo>
                  <a:lnTo>
                    <a:pt x="283" y="643"/>
                  </a:lnTo>
                  <a:lnTo>
                    <a:pt x="278" y="609"/>
                  </a:lnTo>
                  <a:lnTo>
                    <a:pt x="182" y="604"/>
                  </a:lnTo>
                  <a:lnTo>
                    <a:pt x="139" y="566"/>
                  </a:lnTo>
                  <a:lnTo>
                    <a:pt x="132" y="501"/>
                  </a:lnTo>
                  <a:lnTo>
                    <a:pt x="164" y="513"/>
                  </a:lnTo>
                  <a:lnTo>
                    <a:pt x="96" y="446"/>
                  </a:lnTo>
                  <a:lnTo>
                    <a:pt x="271" y="408"/>
                  </a:lnTo>
                  <a:lnTo>
                    <a:pt x="297" y="416"/>
                  </a:lnTo>
                  <a:lnTo>
                    <a:pt x="275" y="447"/>
                  </a:lnTo>
                  <a:lnTo>
                    <a:pt x="365" y="489"/>
                  </a:lnTo>
                  <a:lnTo>
                    <a:pt x="406" y="476"/>
                  </a:lnTo>
                  <a:lnTo>
                    <a:pt x="400" y="462"/>
                  </a:lnTo>
                  <a:lnTo>
                    <a:pt x="369" y="454"/>
                  </a:lnTo>
                  <a:lnTo>
                    <a:pt x="351" y="393"/>
                  </a:lnTo>
                  <a:lnTo>
                    <a:pt x="375" y="414"/>
                  </a:lnTo>
                  <a:lnTo>
                    <a:pt x="384" y="447"/>
                  </a:lnTo>
                  <a:lnTo>
                    <a:pt x="424" y="468"/>
                  </a:lnTo>
                  <a:lnTo>
                    <a:pt x="463" y="466"/>
                  </a:lnTo>
                  <a:lnTo>
                    <a:pt x="453" y="445"/>
                  </a:lnTo>
                  <a:lnTo>
                    <a:pt x="387" y="428"/>
                  </a:lnTo>
                  <a:lnTo>
                    <a:pt x="399" y="393"/>
                  </a:lnTo>
                  <a:lnTo>
                    <a:pt x="322" y="365"/>
                  </a:lnTo>
                  <a:lnTo>
                    <a:pt x="320" y="313"/>
                  </a:lnTo>
                  <a:lnTo>
                    <a:pt x="297" y="277"/>
                  </a:lnTo>
                  <a:lnTo>
                    <a:pt x="242" y="211"/>
                  </a:lnTo>
                  <a:lnTo>
                    <a:pt x="262" y="208"/>
                  </a:lnTo>
                  <a:lnTo>
                    <a:pt x="289" y="157"/>
                  </a:lnTo>
                  <a:lnTo>
                    <a:pt x="354" y="181"/>
                  </a:lnTo>
                  <a:lnTo>
                    <a:pt x="403" y="156"/>
                  </a:lnTo>
                  <a:lnTo>
                    <a:pt x="477" y="69"/>
                  </a:lnTo>
                  <a:lnTo>
                    <a:pt x="498" y="82"/>
                  </a:lnTo>
                  <a:lnTo>
                    <a:pt x="544" y="51"/>
                  </a:lnTo>
                  <a:lnTo>
                    <a:pt x="545" y="77"/>
                  </a:lnTo>
                  <a:lnTo>
                    <a:pt x="570" y="71"/>
                  </a:lnTo>
                  <a:lnTo>
                    <a:pt x="557" y="56"/>
                  </a:lnTo>
                  <a:lnTo>
                    <a:pt x="626" y="46"/>
                  </a:lnTo>
                  <a:lnTo>
                    <a:pt x="675" y="0"/>
                  </a:lnTo>
                  <a:lnTo>
                    <a:pt x="707" y="32"/>
                  </a:lnTo>
                  <a:lnTo>
                    <a:pt x="696" y="69"/>
                  </a:lnTo>
                  <a:lnTo>
                    <a:pt x="718" y="71"/>
                  </a:lnTo>
                  <a:lnTo>
                    <a:pt x="727" y="37"/>
                  </a:lnTo>
                  <a:lnTo>
                    <a:pt x="759" y="79"/>
                  </a:lnTo>
                  <a:lnTo>
                    <a:pt x="813" y="79"/>
                  </a:lnTo>
                  <a:lnTo>
                    <a:pt x="821" y="118"/>
                  </a:lnTo>
                  <a:lnTo>
                    <a:pt x="921" y="129"/>
                  </a:lnTo>
                  <a:lnTo>
                    <a:pt x="920" y="149"/>
                  </a:lnTo>
                  <a:lnTo>
                    <a:pt x="945" y="137"/>
                  </a:lnTo>
                  <a:lnTo>
                    <a:pt x="970" y="167"/>
                  </a:lnTo>
                  <a:lnTo>
                    <a:pt x="1022" y="157"/>
                  </a:lnTo>
                  <a:lnTo>
                    <a:pt x="1070" y="181"/>
                  </a:lnTo>
                  <a:lnTo>
                    <a:pt x="1117" y="159"/>
                  </a:lnTo>
                  <a:lnTo>
                    <a:pt x="1117" y="170"/>
                  </a:lnTo>
                  <a:lnTo>
                    <a:pt x="1135" y="166"/>
                  </a:lnTo>
                  <a:lnTo>
                    <a:pt x="1217" y="206"/>
                  </a:lnTo>
                  <a:lnTo>
                    <a:pt x="1278" y="1143"/>
                  </a:lnTo>
                  <a:lnTo>
                    <a:pt x="1370" y="1140"/>
                  </a:lnTo>
                  <a:lnTo>
                    <a:pt x="1368" y="1164"/>
                  </a:lnTo>
                  <a:lnTo>
                    <a:pt x="1399" y="1188"/>
                  </a:lnTo>
                  <a:lnTo>
                    <a:pt x="1455" y="1233"/>
                  </a:lnTo>
                  <a:lnTo>
                    <a:pt x="1465" y="1259"/>
                  </a:lnTo>
                  <a:lnTo>
                    <a:pt x="1512" y="1230"/>
                  </a:lnTo>
                  <a:lnTo>
                    <a:pt x="1525" y="1192"/>
                  </a:lnTo>
                  <a:lnTo>
                    <a:pt x="1551" y="1177"/>
                  </a:lnTo>
                  <a:lnTo>
                    <a:pt x="1557" y="1170"/>
                  </a:lnTo>
                  <a:lnTo>
                    <a:pt x="1588" y="1192"/>
                  </a:lnTo>
                  <a:lnTo>
                    <a:pt x="1585" y="1217"/>
                  </a:lnTo>
                  <a:lnTo>
                    <a:pt x="1605" y="1218"/>
                  </a:lnTo>
                  <a:lnTo>
                    <a:pt x="1617" y="1228"/>
                  </a:lnTo>
                  <a:lnTo>
                    <a:pt x="1627" y="1246"/>
                  </a:lnTo>
                  <a:lnTo>
                    <a:pt x="1657" y="1262"/>
                  </a:lnTo>
                  <a:lnTo>
                    <a:pt x="1796" y="1455"/>
                  </a:lnTo>
                  <a:lnTo>
                    <a:pt x="1838" y="1465"/>
                  </a:lnTo>
                  <a:lnTo>
                    <a:pt x="1908" y="1491"/>
                  </a:lnTo>
                  <a:lnTo>
                    <a:pt x="1915" y="1507"/>
                  </a:lnTo>
                  <a:lnTo>
                    <a:pt x="1900" y="1521"/>
                  </a:lnTo>
                  <a:lnTo>
                    <a:pt x="1903" y="1553"/>
                  </a:lnTo>
                  <a:lnTo>
                    <a:pt x="1890" y="1617"/>
                  </a:lnTo>
                  <a:lnTo>
                    <a:pt x="1882" y="1605"/>
                  </a:lnTo>
                  <a:lnTo>
                    <a:pt x="1869" y="1615"/>
                  </a:lnTo>
                  <a:lnTo>
                    <a:pt x="1854" y="1602"/>
                  </a:lnTo>
                  <a:lnTo>
                    <a:pt x="1876" y="1583"/>
                  </a:lnTo>
                  <a:lnTo>
                    <a:pt x="1859" y="1561"/>
                  </a:lnTo>
                  <a:lnTo>
                    <a:pt x="1859" y="1547"/>
                  </a:lnTo>
                  <a:lnTo>
                    <a:pt x="1838" y="1503"/>
                  </a:lnTo>
                  <a:lnTo>
                    <a:pt x="1825" y="1503"/>
                  </a:lnTo>
                  <a:lnTo>
                    <a:pt x="1802" y="1520"/>
                  </a:lnTo>
                  <a:lnTo>
                    <a:pt x="1798" y="1542"/>
                  </a:lnTo>
                  <a:lnTo>
                    <a:pt x="1777" y="1548"/>
                  </a:lnTo>
                  <a:lnTo>
                    <a:pt x="1774" y="1542"/>
                  </a:lnTo>
                  <a:lnTo>
                    <a:pt x="1790" y="1516"/>
                  </a:lnTo>
                  <a:lnTo>
                    <a:pt x="1794" y="1491"/>
                  </a:lnTo>
                  <a:lnTo>
                    <a:pt x="1780" y="1501"/>
                  </a:lnTo>
                  <a:lnTo>
                    <a:pt x="1776" y="1521"/>
                  </a:lnTo>
                  <a:lnTo>
                    <a:pt x="1727" y="1489"/>
                  </a:lnTo>
                  <a:lnTo>
                    <a:pt x="1729" y="1478"/>
                  </a:lnTo>
                  <a:lnTo>
                    <a:pt x="1754" y="1479"/>
                  </a:lnTo>
                  <a:lnTo>
                    <a:pt x="1758" y="1461"/>
                  </a:lnTo>
                  <a:lnTo>
                    <a:pt x="1774" y="1453"/>
                  </a:lnTo>
                  <a:lnTo>
                    <a:pt x="1772" y="1444"/>
                  </a:lnTo>
                  <a:lnTo>
                    <a:pt x="1747" y="1448"/>
                  </a:lnTo>
                  <a:lnTo>
                    <a:pt x="1739" y="1413"/>
                  </a:lnTo>
                  <a:lnTo>
                    <a:pt x="1689" y="1412"/>
                  </a:lnTo>
                  <a:lnTo>
                    <a:pt x="1676" y="1373"/>
                  </a:lnTo>
                  <a:lnTo>
                    <a:pt x="1689" y="1340"/>
                  </a:lnTo>
                  <a:lnTo>
                    <a:pt x="1672" y="1345"/>
                  </a:lnTo>
                  <a:lnTo>
                    <a:pt x="1664" y="1321"/>
                  </a:lnTo>
                  <a:lnTo>
                    <a:pt x="1654" y="1331"/>
                  </a:lnTo>
                  <a:lnTo>
                    <a:pt x="1646" y="1320"/>
                  </a:lnTo>
                  <a:lnTo>
                    <a:pt x="1657" y="1290"/>
                  </a:lnTo>
                  <a:lnTo>
                    <a:pt x="1647" y="1287"/>
                  </a:lnTo>
                  <a:lnTo>
                    <a:pt x="1643" y="1303"/>
                  </a:lnTo>
                  <a:lnTo>
                    <a:pt x="1627" y="1309"/>
                  </a:lnTo>
                  <a:lnTo>
                    <a:pt x="1607" y="1299"/>
                  </a:lnTo>
                  <a:lnTo>
                    <a:pt x="1604" y="1274"/>
                  </a:lnTo>
                  <a:lnTo>
                    <a:pt x="1579" y="1242"/>
                  </a:lnTo>
                  <a:lnTo>
                    <a:pt x="1581" y="1222"/>
                  </a:lnTo>
                  <a:lnTo>
                    <a:pt x="1570" y="1218"/>
                  </a:lnTo>
                  <a:lnTo>
                    <a:pt x="1568" y="1195"/>
                  </a:lnTo>
                  <a:lnTo>
                    <a:pt x="1564" y="1203"/>
                  </a:lnTo>
                  <a:lnTo>
                    <a:pt x="1575" y="1260"/>
                  </a:lnTo>
                  <a:lnTo>
                    <a:pt x="1596" y="1300"/>
                  </a:lnTo>
                  <a:lnTo>
                    <a:pt x="1666" y="1354"/>
                  </a:lnTo>
                  <a:lnTo>
                    <a:pt x="1667" y="1365"/>
                  </a:lnTo>
                  <a:lnTo>
                    <a:pt x="1649" y="1361"/>
                  </a:lnTo>
                  <a:lnTo>
                    <a:pt x="1648" y="1373"/>
                  </a:lnTo>
                  <a:lnTo>
                    <a:pt x="1657" y="1371"/>
                  </a:lnTo>
                  <a:lnTo>
                    <a:pt x="1668" y="1409"/>
                  </a:lnTo>
                  <a:lnTo>
                    <a:pt x="1712" y="1429"/>
                  </a:lnTo>
                  <a:lnTo>
                    <a:pt x="1734" y="1466"/>
                  </a:lnTo>
                  <a:lnTo>
                    <a:pt x="1682" y="1477"/>
                  </a:lnTo>
                  <a:lnTo>
                    <a:pt x="1657" y="1546"/>
                  </a:lnTo>
                  <a:lnTo>
                    <a:pt x="1642" y="1437"/>
                  </a:lnTo>
                  <a:lnTo>
                    <a:pt x="1633" y="1427"/>
                  </a:lnTo>
                  <a:lnTo>
                    <a:pt x="1631" y="1406"/>
                  </a:lnTo>
                  <a:lnTo>
                    <a:pt x="1640" y="1398"/>
                  </a:lnTo>
                  <a:lnTo>
                    <a:pt x="1597" y="1316"/>
                  </a:lnTo>
                  <a:lnTo>
                    <a:pt x="1582" y="1314"/>
                  </a:lnTo>
                  <a:lnTo>
                    <a:pt x="1572" y="1299"/>
                  </a:lnTo>
                  <a:lnTo>
                    <a:pt x="1558" y="1302"/>
                  </a:lnTo>
                  <a:lnTo>
                    <a:pt x="1549" y="1295"/>
                  </a:lnTo>
                  <a:lnTo>
                    <a:pt x="1539" y="1249"/>
                  </a:lnTo>
                  <a:lnTo>
                    <a:pt x="1532" y="1268"/>
                  </a:lnTo>
                  <a:lnTo>
                    <a:pt x="1497" y="1255"/>
                  </a:lnTo>
                  <a:lnTo>
                    <a:pt x="1490" y="1264"/>
                  </a:lnTo>
                  <a:lnTo>
                    <a:pt x="1534" y="1290"/>
                  </a:lnTo>
                  <a:lnTo>
                    <a:pt x="1513" y="1298"/>
                  </a:lnTo>
                  <a:lnTo>
                    <a:pt x="1516" y="1319"/>
                  </a:lnTo>
                  <a:lnTo>
                    <a:pt x="1479" y="1305"/>
                  </a:lnTo>
                  <a:lnTo>
                    <a:pt x="1433" y="1260"/>
                  </a:lnTo>
                  <a:lnTo>
                    <a:pt x="1364" y="1228"/>
                  </a:lnTo>
                  <a:lnTo>
                    <a:pt x="1316" y="1227"/>
                  </a:lnTo>
                  <a:lnTo>
                    <a:pt x="1349" y="1182"/>
                  </a:lnTo>
                  <a:lnTo>
                    <a:pt x="1366" y="1203"/>
                  </a:lnTo>
                  <a:lnTo>
                    <a:pt x="1368" y="1182"/>
                  </a:lnTo>
                  <a:lnTo>
                    <a:pt x="1340" y="1160"/>
                  </a:lnTo>
                  <a:lnTo>
                    <a:pt x="1322" y="1197"/>
                  </a:lnTo>
                  <a:lnTo>
                    <a:pt x="1282" y="1198"/>
                  </a:lnTo>
                  <a:lnTo>
                    <a:pt x="1107" y="1183"/>
                  </a:lnTo>
                  <a:lnTo>
                    <a:pt x="1113" y="1153"/>
                  </a:lnTo>
                  <a:lnTo>
                    <a:pt x="1096" y="1162"/>
                  </a:lnTo>
                  <a:lnTo>
                    <a:pt x="1074" y="1136"/>
                  </a:lnTo>
                  <a:lnTo>
                    <a:pt x="1048" y="1150"/>
                  </a:lnTo>
                  <a:lnTo>
                    <a:pt x="1037" y="1132"/>
                  </a:lnTo>
                  <a:lnTo>
                    <a:pt x="992" y="1152"/>
                  </a:lnTo>
                  <a:lnTo>
                    <a:pt x="990" y="1138"/>
                  </a:lnTo>
                  <a:lnTo>
                    <a:pt x="1011" y="1106"/>
                  </a:lnTo>
                  <a:lnTo>
                    <a:pt x="997" y="1106"/>
                  </a:lnTo>
                  <a:lnTo>
                    <a:pt x="1013" y="1096"/>
                  </a:lnTo>
                  <a:lnTo>
                    <a:pt x="961" y="1103"/>
                  </a:lnTo>
                  <a:lnTo>
                    <a:pt x="943" y="1084"/>
                  </a:lnTo>
                  <a:lnTo>
                    <a:pt x="925" y="1096"/>
                  </a:lnTo>
                  <a:lnTo>
                    <a:pt x="920" y="1081"/>
                  </a:lnTo>
                  <a:lnTo>
                    <a:pt x="932" y="1066"/>
                  </a:lnTo>
                  <a:lnTo>
                    <a:pt x="904" y="1075"/>
                  </a:lnTo>
                  <a:lnTo>
                    <a:pt x="908" y="1084"/>
                  </a:lnTo>
                  <a:lnTo>
                    <a:pt x="894" y="1099"/>
                  </a:lnTo>
                  <a:lnTo>
                    <a:pt x="913" y="1097"/>
                  </a:lnTo>
                  <a:lnTo>
                    <a:pt x="904" y="1124"/>
                  </a:lnTo>
                  <a:lnTo>
                    <a:pt x="925" y="1134"/>
                  </a:lnTo>
                  <a:lnTo>
                    <a:pt x="948" y="1147"/>
                  </a:lnTo>
                  <a:lnTo>
                    <a:pt x="978" y="1134"/>
                  </a:lnTo>
                  <a:lnTo>
                    <a:pt x="972" y="1195"/>
                  </a:lnTo>
                  <a:lnTo>
                    <a:pt x="922" y="1197"/>
                  </a:lnTo>
                  <a:lnTo>
                    <a:pt x="922" y="1181"/>
                  </a:lnTo>
                  <a:lnTo>
                    <a:pt x="904" y="1169"/>
                  </a:lnTo>
                  <a:lnTo>
                    <a:pt x="866" y="1185"/>
                  </a:lnTo>
                  <a:lnTo>
                    <a:pt x="863" y="1169"/>
                  </a:lnTo>
                  <a:lnTo>
                    <a:pt x="849" y="1183"/>
                  </a:lnTo>
                  <a:lnTo>
                    <a:pt x="847" y="1164"/>
                  </a:lnTo>
                  <a:lnTo>
                    <a:pt x="816" y="1160"/>
                  </a:lnTo>
                  <a:lnTo>
                    <a:pt x="839" y="1195"/>
                  </a:lnTo>
                  <a:lnTo>
                    <a:pt x="835" y="1202"/>
                  </a:lnTo>
                  <a:lnTo>
                    <a:pt x="822" y="1197"/>
                  </a:lnTo>
                  <a:lnTo>
                    <a:pt x="788" y="1217"/>
                  </a:lnTo>
                  <a:lnTo>
                    <a:pt x="781" y="1210"/>
                  </a:lnTo>
                  <a:lnTo>
                    <a:pt x="756" y="1255"/>
                  </a:lnTo>
                  <a:lnTo>
                    <a:pt x="742" y="1237"/>
                  </a:lnTo>
                  <a:lnTo>
                    <a:pt x="731" y="1248"/>
                  </a:lnTo>
                  <a:lnTo>
                    <a:pt x="707" y="1244"/>
                  </a:lnTo>
                  <a:lnTo>
                    <a:pt x="704" y="1221"/>
                  </a:lnTo>
                  <a:lnTo>
                    <a:pt x="736" y="1221"/>
                  </a:lnTo>
                  <a:lnTo>
                    <a:pt x="756" y="1198"/>
                  </a:lnTo>
                  <a:lnTo>
                    <a:pt x="703" y="1197"/>
                  </a:lnTo>
                  <a:lnTo>
                    <a:pt x="748" y="1091"/>
                  </a:lnTo>
                  <a:lnTo>
                    <a:pt x="823" y="1073"/>
                  </a:lnTo>
                  <a:lnTo>
                    <a:pt x="815" y="1049"/>
                  </a:lnTo>
                  <a:lnTo>
                    <a:pt x="862" y="1021"/>
                  </a:lnTo>
                  <a:lnTo>
                    <a:pt x="798" y="1039"/>
                  </a:lnTo>
                  <a:lnTo>
                    <a:pt x="809" y="984"/>
                  </a:lnTo>
                  <a:lnTo>
                    <a:pt x="777" y="1048"/>
                  </a:lnTo>
                  <a:lnTo>
                    <a:pt x="736" y="1067"/>
                  </a:lnTo>
                  <a:lnTo>
                    <a:pt x="686" y="1131"/>
                  </a:lnTo>
                  <a:lnTo>
                    <a:pt x="652" y="1131"/>
                  </a:lnTo>
                  <a:lnTo>
                    <a:pt x="671" y="1164"/>
                  </a:lnTo>
                  <a:lnTo>
                    <a:pt x="583" y="1234"/>
                  </a:lnTo>
                  <a:lnTo>
                    <a:pt x="622" y="1248"/>
                  </a:lnTo>
                  <a:lnTo>
                    <a:pt x="614" y="1279"/>
                  </a:lnTo>
                  <a:lnTo>
                    <a:pt x="419" y="1426"/>
                  </a:lnTo>
                  <a:lnTo>
                    <a:pt x="280" y="1465"/>
                  </a:lnTo>
                  <a:lnTo>
                    <a:pt x="320" y="1481"/>
                  </a:lnTo>
                  <a:lnTo>
                    <a:pt x="236" y="1527"/>
                  </a:lnTo>
                  <a:lnTo>
                    <a:pt x="218" y="1505"/>
                  </a:lnTo>
                  <a:lnTo>
                    <a:pt x="163" y="1527"/>
                  </a:lnTo>
                  <a:lnTo>
                    <a:pt x="118" y="1528"/>
                  </a:lnTo>
                  <a:lnTo>
                    <a:pt x="119" y="1502"/>
                  </a:lnTo>
                  <a:lnTo>
                    <a:pt x="65" y="1555"/>
                  </a:lnTo>
                  <a:lnTo>
                    <a:pt x="50" y="1552"/>
                  </a:lnTo>
                  <a:lnTo>
                    <a:pt x="49" y="1526"/>
                  </a:lnTo>
                  <a:lnTo>
                    <a:pt x="39" y="1552"/>
                  </a:lnTo>
                  <a:lnTo>
                    <a:pt x="0" y="1544"/>
                  </a:lnTo>
                  <a:close/>
                </a:path>
              </a:pathLst>
            </a:custGeom>
            <a:grpFill/>
            <a:ln w="12700">
              <a:solidFill>
                <a:schemeClr val="bg1"/>
              </a:solidFill>
              <a:round/>
              <a:headEnd/>
              <a:tailEnd/>
            </a:ln>
          </p:spPr>
          <p:txBody>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685800" eaLnBrk="0" hangingPunct="0">
                <a:lnSpc>
                  <a:spcPct val="106000"/>
                </a:lnSpc>
                <a:spcBef>
                  <a:spcPct val="30000"/>
                </a:spcBef>
                <a:buClrTx/>
              </a:pPr>
              <a:endParaRPr lang="en-US" sz="675" b="0" dirty="0">
                <a:solidFill>
                  <a:srgbClr val="000066"/>
                </a:solidFill>
              </a:endParaRPr>
            </a:p>
          </p:txBody>
        </p:sp>
        <p:sp>
          <p:nvSpPr>
            <p:cNvPr id="74" name="Freeform 73"/>
            <p:cNvSpPr>
              <a:spLocks/>
            </p:cNvSpPr>
            <p:nvPr/>
          </p:nvSpPr>
          <p:spPr bwMode="gray">
            <a:xfrm>
              <a:off x="1587501" y="5972175"/>
              <a:ext cx="150813" cy="152400"/>
            </a:xfrm>
            <a:custGeom>
              <a:avLst/>
              <a:gdLst>
                <a:gd name="T0" fmla="*/ 0 w 190"/>
                <a:gd name="T1" fmla="*/ 190 h 190"/>
                <a:gd name="T2" fmla="*/ 54 w 190"/>
                <a:gd name="T3" fmla="*/ 139 h 190"/>
                <a:gd name="T4" fmla="*/ 19 w 190"/>
                <a:gd name="T5" fmla="*/ 74 h 190"/>
                <a:gd name="T6" fmla="*/ 69 w 190"/>
                <a:gd name="T7" fmla="*/ 96 h 190"/>
                <a:gd name="T8" fmla="*/ 145 w 190"/>
                <a:gd name="T9" fmla="*/ 0 h 190"/>
                <a:gd name="T10" fmla="*/ 190 w 190"/>
                <a:gd name="T11" fmla="*/ 11 h 190"/>
                <a:gd name="T12" fmla="*/ 150 w 190"/>
                <a:gd name="T13" fmla="*/ 104 h 190"/>
                <a:gd name="T14" fmla="*/ 0 w 190"/>
                <a:gd name="T15" fmla="*/ 190 h 190"/>
                <a:gd name="T16" fmla="*/ 0 60000 65536"/>
                <a:gd name="T17" fmla="*/ 0 60000 65536"/>
                <a:gd name="T18" fmla="*/ 0 60000 65536"/>
                <a:gd name="T19" fmla="*/ 0 60000 65536"/>
                <a:gd name="T20" fmla="*/ 0 60000 65536"/>
                <a:gd name="T21" fmla="*/ 0 60000 65536"/>
                <a:gd name="T22" fmla="*/ 0 60000 65536"/>
                <a:gd name="T23" fmla="*/ 0 60000 65536"/>
                <a:gd name="T24" fmla="*/ 0 w 190"/>
                <a:gd name="T25" fmla="*/ 0 h 190"/>
                <a:gd name="T26" fmla="*/ 190 w 190"/>
                <a:gd name="T27" fmla="*/ 190 h 19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0" h="190">
                  <a:moveTo>
                    <a:pt x="0" y="190"/>
                  </a:moveTo>
                  <a:lnTo>
                    <a:pt x="54" y="139"/>
                  </a:lnTo>
                  <a:lnTo>
                    <a:pt x="19" y="74"/>
                  </a:lnTo>
                  <a:lnTo>
                    <a:pt x="69" y="96"/>
                  </a:lnTo>
                  <a:lnTo>
                    <a:pt x="145" y="0"/>
                  </a:lnTo>
                  <a:lnTo>
                    <a:pt x="190" y="11"/>
                  </a:lnTo>
                  <a:lnTo>
                    <a:pt x="150" y="104"/>
                  </a:lnTo>
                  <a:lnTo>
                    <a:pt x="0" y="190"/>
                  </a:lnTo>
                  <a:close/>
                </a:path>
              </a:pathLst>
            </a:custGeom>
            <a:grpFill/>
            <a:ln w="12700">
              <a:solidFill>
                <a:schemeClr val="bg1"/>
              </a:solidFill>
              <a:round/>
              <a:headEnd/>
              <a:tailEnd/>
            </a:ln>
          </p:spPr>
          <p:txBody>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685800" eaLnBrk="0" hangingPunct="0">
                <a:lnSpc>
                  <a:spcPct val="106000"/>
                </a:lnSpc>
                <a:spcBef>
                  <a:spcPct val="30000"/>
                </a:spcBef>
                <a:buClrTx/>
              </a:pPr>
              <a:endParaRPr lang="en-US" sz="675" b="0" dirty="0">
                <a:solidFill>
                  <a:srgbClr val="000066"/>
                </a:solidFill>
              </a:endParaRPr>
            </a:p>
          </p:txBody>
        </p:sp>
        <p:sp>
          <p:nvSpPr>
            <p:cNvPr id="75" name="Freeform 74"/>
            <p:cNvSpPr>
              <a:spLocks/>
            </p:cNvSpPr>
            <p:nvPr/>
          </p:nvSpPr>
          <p:spPr bwMode="gray">
            <a:xfrm>
              <a:off x="2387601" y="5965825"/>
              <a:ext cx="88900" cy="171450"/>
            </a:xfrm>
            <a:custGeom>
              <a:avLst/>
              <a:gdLst>
                <a:gd name="T0" fmla="*/ 0 w 114"/>
                <a:gd name="T1" fmla="*/ 58 h 217"/>
                <a:gd name="T2" fmla="*/ 25 w 114"/>
                <a:gd name="T3" fmla="*/ 0 h 217"/>
                <a:gd name="T4" fmla="*/ 82 w 114"/>
                <a:gd name="T5" fmla="*/ 56 h 217"/>
                <a:gd name="T6" fmla="*/ 114 w 114"/>
                <a:gd name="T7" fmla="*/ 217 h 217"/>
                <a:gd name="T8" fmla="*/ 0 w 114"/>
                <a:gd name="T9" fmla="*/ 58 h 217"/>
                <a:gd name="T10" fmla="*/ 0 60000 65536"/>
                <a:gd name="T11" fmla="*/ 0 60000 65536"/>
                <a:gd name="T12" fmla="*/ 0 60000 65536"/>
                <a:gd name="T13" fmla="*/ 0 60000 65536"/>
                <a:gd name="T14" fmla="*/ 0 60000 65536"/>
                <a:gd name="T15" fmla="*/ 0 w 114"/>
                <a:gd name="T16" fmla="*/ 0 h 217"/>
                <a:gd name="T17" fmla="*/ 114 w 114"/>
                <a:gd name="T18" fmla="*/ 217 h 217"/>
              </a:gdLst>
              <a:ahLst/>
              <a:cxnLst>
                <a:cxn ang="T10">
                  <a:pos x="T0" y="T1"/>
                </a:cxn>
                <a:cxn ang="T11">
                  <a:pos x="T2" y="T3"/>
                </a:cxn>
                <a:cxn ang="T12">
                  <a:pos x="T4" y="T5"/>
                </a:cxn>
                <a:cxn ang="T13">
                  <a:pos x="T6" y="T7"/>
                </a:cxn>
                <a:cxn ang="T14">
                  <a:pos x="T8" y="T9"/>
                </a:cxn>
              </a:cxnLst>
              <a:rect l="T15" t="T16" r="T17" b="T18"/>
              <a:pathLst>
                <a:path w="114" h="217">
                  <a:moveTo>
                    <a:pt x="0" y="58"/>
                  </a:moveTo>
                  <a:lnTo>
                    <a:pt x="25" y="0"/>
                  </a:lnTo>
                  <a:lnTo>
                    <a:pt x="82" y="56"/>
                  </a:lnTo>
                  <a:lnTo>
                    <a:pt x="114" y="217"/>
                  </a:lnTo>
                  <a:lnTo>
                    <a:pt x="0" y="58"/>
                  </a:lnTo>
                  <a:close/>
                </a:path>
              </a:pathLst>
            </a:custGeom>
            <a:grpFill/>
            <a:ln w="12700">
              <a:solidFill>
                <a:schemeClr val="bg1"/>
              </a:solidFill>
              <a:round/>
              <a:headEnd/>
              <a:tailEnd/>
            </a:ln>
          </p:spPr>
          <p:txBody>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685800" eaLnBrk="0" hangingPunct="0">
                <a:lnSpc>
                  <a:spcPct val="106000"/>
                </a:lnSpc>
                <a:spcBef>
                  <a:spcPct val="30000"/>
                </a:spcBef>
                <a:buClrTx/>
              </a:pPr>
              <a:endParaRPr lang="en-US" sz="675" b="0" dirty="0">
                <a:solidFill>
                  <a:srgbClr val="000066"/>
                </a:solidFill>
              </a:endParaRPr>
            </a:p>
          </p:txBody>
        </p:sp>
        <p:sp>
          <p:nvSpPr>
            <p:cNvPr id="76" name="Freeform 75"/>
            <p:cNvSpPr>
              <a:spLocks/>
            </p:cNvSpPr>
            <p:nvPr/>
          </p:nvSpPr>
          <p:spPr bwMode="gray">
            <a:xfrm>
              <a:off x="2522538" y="6137275"/>
              <a:ext cx="85725" cy="93663"/>
            </a:xfrm>
            <a:custGeom>
              <a:avLst/>
              <a:gdLst>
                <a:gd name="T0" fmla="*/ 0 w 108"/>
                <a:gd name="T1" fmla="*/ 0 h 117"/>
                <a:gd name="T2" fmla="*/ 13 w 108"/>
                <a:gd name="T3" fmla="*/ 79 h 117"/>
                <a:gd name="T4" fmla="*/ 108 w 108"/>
                <a:gd name="T5" fmla="*/ 117 h 117"/>
                <a:gd name="T6" fmla="*/ 55 w 108"/>
                <a:gd name="T7" fmla="*/ 1 h 117"/>
                <a:gd name="T8" fmla="*/ 0 w 108"/>
                <a:gd name="T9" fmla="*/ 0 h 117"/>
                <a:gd name="T10" fmla="*/ 0 60000 65536"/>
                <a:gd name="T11" fmla="*/ 0 60000 65536"/>
                <a:gd name="T12" fmla="*/ 0 60000 65536"/>
                <a:gd name="T13" fmla="*/ 0 60000 65536"/>
                <a:gd name="T14" fmla="*/ 0 60000 65536"/>
                <a:gd name="T15" fmla="*/ 0 w 108"/>
                <a:gd name="T16" fmla="*/ 0 h 117"/>
                <a:gd name="T17" fmla="*/ 108 w 108"/>
                <a:gd name="T18" fmla="*/ 117 h 117"/>
              </a:gdLst>
              <a:ahLst/>
              <a:cxnLst>
                <a:cxn ang="T10">
                  <a:pos x="T0" y="T1"/>
                </a:cxn>
                <a:cxn ang="T11">
                  <a:pos x="T2" y="T3"/>
                </a:cxn>
                <a:cxn ang="T12">
                  <a:pos x="T4" y="T5"/>
                </a:cxn>
                <a:cxn ang="T13">
                  <a:pos x="T6" y="T7"/>
                </a:cxn>
                <a:cxn ang="T14">
                  <a:pos x="T8" y="T9"/>
                </a:cxn>
              </a:cxnLst>
              <a:rect l="T15" t="T16" r="T17" b="T18"/>
              <a:pathLst>
                <a:path w="108" h="117">
                  <a:moveTo>
                    <a:pt x="0" y="0"/>
                  </a:moveTo>
                  <a:lnTo>
                    <a:pt x="13" y="79"/>
                  </a:lnTo>
                  <a:lnTo>
                    <a:pt x="108" y="117"/>
                  </a:lnTo>
                  <a:lnTo>
                    <a:pt x="55" y="1"/>
                  </a:lnTo>
                  <a:lnTo>
                    <a:pt x="0" y="0"/>
                  </a:lnTo>
                  <a:close/>
                </a:path>
              </a:pathLst>
            </a:custGeom>
            <a:grpFill/>
            <a:ln w="12700">
              <a:solidFill>
                <a:schemeClr val="bg1"/>
              </a:solidFill>
              <a:round/>
              <a:headEnd/>
              <a:tailEnd/>
            </a:ln>
          </p:spPr>
          <p:txBody>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685800" eaLnBrk="0" hangingPunct="0">
                <a:lnSpc>
                  <a:spcPct val="106000"/>
                </a:lnSpc>
                <a:spcBef>
                  <a:spcPct val="30000"/>
                </a:spcBef>
                <a:buClrTx/>
              </a:pPr>
              <a:endParaRPr lang="en-US" sz="675" b="0" dirty="0">
                <a:solidFill>
                  <a:srgbClr val="000066"/>
                </a:solidFill>
              </a:endParaRPr>
            </a:p>
          </p:txBody>
        </p:sp>
        <p:sp>
          <p:nvSpPr>
            <p:cNvPr id="77" name="Freeform 76"/>
            <p:cNvSpPr>
              <a:spLocks/>
            </p:cNvSpPr>
            <p:nvPr/>
          </p:nvSpPr>
          <p:spPr bwMode="gray">
            <a:xfrm>
              <a:off x="2619376" y="6137275"/>
              <a:ext cx="26988" cy="50800"/>
            </a:xfrm>
            <a:custGeom>
              <a:avLst/>
              <a:gdLst>
                <a:gd name="T0" fmla="*/ 0 w 34"/>
                <a:gd name="T1" fmla="*/ 62 h 62"/>
                <a:gd name="T2" fmla="*/ 7 w 34"/>
                <a:gd name="T3" fmla="*/ 0 h 62"/>
                <a:gd name="T4" fmla="*/ 34 w 34"/>
                <a:gd name="T5" fmla="*/ 53 h 62"/>
                <a:gd name="T6" fmla="*/ 0 w 34"/>
                <a:gd name="T7" fmla="*/ 62 h 62"/>
                <a:gd name="T8" fmla="*/ 0 60000 65536"/>
                <a:gd name="T9" fmla="*/ 0 60000 65536"/>
                <a:gd name="T10" fmla="*/ 0 60000 65536"/>
                <a:gd name="T11" fmla="*/ 0 60000 65536"/>
                <a:gd name="T12" fmla="*/ 0 w 34"/>
                <a:gd name="T13" fmla="*/ 0 h 62"/>
                <a:gd name="T14" fmla="*/ 34 w 34"/>
                <a:gd name="T15" fmla="*/ 62 h 62"/>
              </a:gdLst>
              <a:ahLst/>
              <a:cxnLst>
                <a:cxn ang="T8">
                  <a:pos x="T0" y="T1"/>
                </a:cxn>
                <a:cxn ang="T9">
                  <a:pos x="T2" y="T3"/>
                </a:cxn>
                <a:cxn ang="T10">
                  <a:pos x="T4" y="T5"/>
                </a:cxn>
                <a:cxn ang="T11">
                  <a:pos x="T6" y="T7"/>
                </a:cxn>
              </a:cxnLst>
              <a:rect l="T12" t="T13" r="T14" b="T15"/>
              <a:pathLst>
                <a:path w="34" h="62">
                  <a:moveTo>
                    <a:pt x="0" y="62"/>
                  </a:moveTo>
                  <a:lnTo>
                    <a:pt x="7" y="0"/>
                  </a:lnTo>
                  <a:lnTo>
                    <a:pt x="34" y="53"/>
                  </a:lnTo>
                  <a:lnTo>
                    <a:pt x="0" y="62"/>
                  </a:lnTo>
                  <a:close/>
                </a:path>
              </a:pathLst>
            </a:custGeom>
            <a:grpFill/>
            <a:ln w="12700">
              <a:solidFill>
                <a:schemeClr val="bg1"/>
              </a:solidFill>
              <a:round/>
              <a:headEnd/>
              <a:tailEnd/>
            </a:ln>
          </p:spPr>
          <p:txBody>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685800" eaLnBrk="0" hangingPunct="0">
                <a:lnSpc>
                  <a:spcPct val="106000"/>
                </a:lnSpc>
                <a:spcBef>
                  <a:spcPct val="30000"/>
                </a:spcBef>
                <a:buClrTx/>
              </a:pPr>
              <a:endParaRPr lang="en-US" sz="675" b="0" dirty="0">
                <a:solidFill>
                  <a:srgbClr val="000066"/>
                </a:solidFill>
              </a:endParaRPr>
            </a:p>
          </p:txBody>
        </p:sp>
      </p:grpSp>
    </p:spTree>
    <p:extLst>
      <p:ext uri="{BB962C8B-B14F-4D97-AF65-F5344CB8AC3E}">
        <p14:creationId xmlns:p14="http://schemas.microsoft.com/office/powerpoint/2010/main" val="2505003644"/>
      </p:ext>
    </p:extLst>
  </p:cSld>
  <p:clrMapOvr>
    <a:masterClrMapping/>
  </p:clrMapOvr>
  <p:transition>
    <p:fade/>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Object 45" hidden="1"/>
          <p:cNvGraphicFramePr>
            <a:graphicFrameLocks/>
          </p:cNvGraphicFramePr>
          <p:nvPr>
            <p:custDataLst>
              <p:tags r:id="rId1"/>
            </p:custDataLst>
          </p:nvPr>
        </p:nvGraphicFramePr>
        <p:xfrm>
          <a:off x="1143000" y="0"/>
          <a:ext cx="119063"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46" name="Object 4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19063"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05537" name="Title 1"/>
          <p:cNvSpPr>
            <a:spLocks noGrp="1"/>
          </p:cNvSpPr>
          <p:nvPr>
            <p:ph type="title"/>
            <p:custDataLst>
              <p:tags r:id="rId2"/>
            </p:custDataLst>
          </p:nvPr>
        </p:nvSpPr>
        <p:spPr/>
        <p:txBody>
          <a:bodyPr/>
          <a:lstStyle/>
          <a:p>
            <a:r>
              <a:rPr lang="en-US" altLang="ja-JP" dirty="0">
                <a:solidFill>
                  <a:srgbClr val="81BC00"/>
                </a:solidFill>
              </a:rPr>
              <a:t>Maps </a:t>
            </a:r>
            <a:br>
              <a:rPr lang="en-US" altLang="ja-JP" dirty="0">
                <a:solidFill>
                  <a:srgbClr val="575757"/>
                </a:solidFill>
              </a:rPr>
            </a:br>
            <a:r>
              <a:rPr lang="en-US" altLang="ja-JP" dirty="0">
                <a:solidFill>
                  <a:srgbClr val="575757"/>
                </a:solidFill>
              </a:rPr>
              <a:t>Netherlands</a:t>
            </a:r>
            <a:endParaRPr lang="en-US" dirty="0">
              <a:solidFill>
                <a:srgbClr val="575757"/>
              </a:solidFill>
            </a:endParaRPr>
          </a:p>
        </p:txBody>
      </p:sp>
      <p:sp>
        <p:nvSpPr>
          <p:cNvPr id="135" name="Freeform 11"/>
          <p:cNvSpPr>
            <a:spLocks/>
          </p:cNvSpPr>
          <p:nvPr/>
        </p:nvSpPr>
        <p:spPr bwMode="auto">
          <a:xfrm>
            <a:off x="4073979" y="946191"/>
            <a:ext cx="65" cy="207749"/>
          </a:xfrm>
          <a:custGeom>
            <a:avLst/>
            <a:gdLst>
              <a:gd name="T0" fmla="*/ 5 w 66"/>
              <a:gd name="T1" fmla="*/ 0 h 21"/>
              <a:gd name="T2" fmla="*/ 0 w 66"/>
              <a:gd name="T3" fmla="*/ 2 h 21"/>
              <a:gd name="T4" fmla="*/ 5 w 66"/>
              <a:gd name="T5" fmla="*/ 2 h 21"/>
              <a:gd name="T6" fmla="*/ 8 w 66"/>
              <a:gd name="T7" fmla="*/ 1 h 21"/>
              <a:gd name="T8" fmla="*/ 5 w 66"/>
              <a:gd name="T9" fmla="*/ 0 h 21"/>
              <a:gd name="T10" fmla="*/ 0 60000 65536"/>
              <a:gd name="T11" fmla="*/ 0 60000 65536"/>
              <a:gd name="T12" fmla="*/ 0 60000 65536"/>
              <a:gd name="T13" fmla="*/ 0 60000 65536"/>
              <a:gd name="T14" fmla="*/ 0 60000 65536"/>
              <a:gd name="T15" fmla="*/ 0 w 66"/>
              <a:gd name="T16" fmla="*/ 0 h 21"/>
              <a:gd name="T17" fmla="*/ 66 w 66"/>
              <a:gd name="T18" fmla="*/ 21 h 21"/>
            </a:gdLst>
            <a:ahLst/>
            <a:cxnLst>
              <a:cxn ang="T10">
                <a:pos x="T0" y="T1"/>
              </a:cxn>
              <a:cxn ang="T11">
                <a:pos x="T2" y="T3"/>
              </a:cxn>
              <a:cxn ang="T12">
                <a:pos x="T4" y="T5"/>
              </a:cxn>
              <a:cxn ang="T13">
                <a:pos x="T6" y="T7"/>
              </a:cxn>
              <a:cxn ang="T14">
                <a:pos x="T8" y="T9"/>
              </a:cxn>
            </a:cxnLst>
            <a:rect l="T15" t="T16" r="T17" b="T18"/>
            <a:pathLst>
              <a:path w="66" h="21">
                <a:moveTo>
                  <a:pt x="42" y="0"/>
                </a:moveTo>
                <a:lnTo>
                  <a:pt x="0" y="15"/>
                </a:lnTo>
                <a:lnTo>
                  <a:pt x="45" y="21"/>
                </a:lnTo>
                <a:lnTo>
                  <a:pt x="66" y="6"/>
                </a:lnTo>
                <a:lnTo>
                  <a:pt x="42" y="0"/>
                </a:lnTo>
                <a:close/>
              </a:path>
            </a:pathLst>
          </a:custGeom>
          <a:solidFill>
            <a:srgbClr val="00A1DE"/>
          </a:solidFill>
          <a:ln w="12700">
            <a:solidFill>
              <a:schemeClr val="bg1"/>
            </a:solidFill>
            <a:round/>
            <a:headEnd/>
            <a:tailEnd/>
          </a:ln>
        </p:spPr>
        <p:txBody>
          <a:bodyPr wrap="none" lIns="0" tIns="0" rIns="0" bIns="0" anchor="ctr">
            <a:spAutoFit/>
          </a:bodyPr>
          <a:lstStyle/>
          <a:p>
            <a:pPr defTabSz="685800">
              <a:buClrTx/>
              <a:defRPr/>
            </a:pPr>
            <a:endParaRPr lang="en-GB" sz="1350" kern="1200">
              <a:solidFill>
                <a:prstClr val="black"/>
              </a:solidFill>
              <a:latin typeface="Arial" charset="0"/>
              <a:ea typeface="+mn-ea"/>
              <a:cs typeface="Arial" charset="0"/>
            </a:endParaRPr>
          </a:p>
        </p:txBody>
      </p:sp>
      <p:grpSp>
        <p:nvGrpSpPr>
          <p:cNvPr id="7" name="Group 6"/>
          <p:cNvGrpSpPr/>
          <p:nvPr/>
        </p:nvGrpSpPr>
        <p:grpSpPr>
          <a:xfrm>
            <a:off x="1651304" y="1195661"/>
            <a:ext cx="2862041" cy="2980168"/>
            <a:chOff x="677738" y="1362403"/>
            <a:chExt cx="3816055" cy="3973556"/>
          </a:xfrm>
        </p:grpSpPr>
        <p:sp>
          <p:nvSpPr>
            <p:cNvPr id="128" name="Freeform 4"/>
            <p:cNvSpPr>
              <a:spLocks/>
            </p:cNvSpPr>
            <p:nvPr/>
          </p:nvSpPr>
          <p:spPr bwMode="auto">
            <a:xfrm>
              <a:off x="1867631" y="2900768"/>
              <a:ext cx="87" cy="276999"/>
            </a:xfrm>
            <a:custGeom>
              <a:avLst/>
              <a:gdLst>
                <a:gd name="T0" fmla="*/ 27 w 720"/>
                <a:gd name="T1" fmla="*/ 18 h 1208"/>
                <a:gd name="T2" fmla="*/ 21 w 720"/>
                <a:gd name="T3" fmla="*/ 39 h 1208"/>
                <a:gd name="T4" fmla="*/ 15 w 720"/>
                <a:gd name="T5" fmla="*/ 71 h 1208"/>
                <a:gd name="T6" fmla="*/ 6 w 720"/>
                <a:gd name="T7" fmla="*/ 98 h 1208"/>
                <a:gd name="T8" fmla="*/ 0 w 720"/>
                <a:gd name="T9" fmla="*/ 114 h 1208"/>
                <a:gd name="T10" fmla="*/ 8 w 720"/>
                <a:gd name="T11" fmla="*/ 114 h 1208"/>
                <a:gd name="T12" fmla="*/ 13 w 720"/>
                <a:gd name="T13" fmla="*/ 118 h 1208"/>
                <a:gd name="T14" fmla="*/ 7 w 720"/>
                <a:gd name="T15" fmla="*/ 131 h 1208"/>
                <a:gd name="T16" fmla="*/ 16 w 720"/>
                <a:gd name="T17" fmla="*/ 132 h 1208"/>
                <a:gd name="T18" fmla="*/ 27 w 720"/>
                <a:gd name="T19" fmla="*/ 129 h 1208"/>
                <a:gd name="T20" fmla="*/ 37 w 720"/>
                <a:gd name="T21" fmla="*/ 131 h 1208"/>
                <a:gd name="T22" fmla="*/ 45 w 720"/>
                <a:gd name="T23" fmla="*/ 126 h 1208"/>
                <a:gd name="T24" fmla="*/ 52 w 720"/>
                <a:gd name="T25" fmla="*/ 121 h 1208"/>
                <a:gd name="T26" fmla="*/ 62 w 720"/>
                <a:gd name="T27" fmla="*/ 118 h 1208"/>
                <a:gd name="T28" fmla="*/ 69 w 720"/>
                <a:gd name="T29" fmla="*/ 131 h 1208"/>
                <a:gd name="T30" fmla="*/ 82 w 720"/>
                <a:gd name="T31" fmla="*/ 135 h 1208"/>
                <a:gd name="T32" fmla="*/ 82 w 720"/>
                <a:gd name="T33" fmla="*/ 139 h 1208"/>
                <a:gd name="T34" fmla="*/ 88 w 720"/>
                <a:gd name="T35" fmla="*/ 131 h 1208"/>
                <a:gd name="T36" fmla="*/ 96 w 720"/>
                <a:gd name="T37" fmla="*/ 118 h 1208"/>
                <a:gd name="T38" fmla="*/ 88 w 720"/>
                <a:gd name="T39" fmla="*/ 115 h 1208"/>
                <a:gd name="T40" fmla="*/ 81 w 720"/>
                <a:gd name="T41" fmla="*/ 117 h 1208"/>
                <a:gd name="T42" fmla="*/ 74 w 720"/>
                <a:gd name="T43" fmla="*/ 110 h 1208"/>
                <a:gd name="T44" fmla="*/ 57 w 720"/>
                <a:gd name="T45" fmla="*/ 105 h 1208"/>
                <a:gd name="T46" fmla="*/ 69 w 720"/>
                <a:gd name="T47" fmla="*/ 91 h 1208"/>
                <a:gd name="T48" fmla="*/ 71 w 720"/>
                <a:gd name="T49" fmla="*/ 80 h 1208"/>
                <a:gd name="T50" fmla="*/ 68 w 720"/>
                <a:gd name="T51" fmla="*/ 57 h 1208"/>
                <a:gd name="T52" fmla="*/ 78 w 720"/>
                <a:gd name="T53" fmla="*/ 59 h 1208"/>
                <a:gd name="T54" fmla="*/ 91 w 720"/>
                <a:gd name="T55" fmla="*/ 53 h 1208"/>
                <a:gd name="T56" fmla="*/ 94 w 720"/>
                <a:gd name="T57" fmla="*/ 38 h 1208"/>
                <a:gd name="T58" fmla="*/ 82 w 720"/>
                <a:gd name="T59" fmla="*/ 40 h 1208"/>
                <a:gd name="T60" fmla="*/ 76 w 720"/>
                <a:gd name="T61" fmla="*/ 27 h 1208"/>
                <a:gd name="T62" fmla="*/ 68 w 720"/>
                <a:gd name="T63" fmla="*/ 5 h 1208"/>
                <a:gd name="T64" fmla="*/ 56 w 720"/>
                <a:gd name="T65" fmla="*/ 8 h 1208"/>
                <a:gd name="T66" fmla="*/ 47 w 720"/>
                <a:gd name="T67" fmla="*/ 13 h 1208"/>
                <a:gd name="T68" fmla="*/ 36 w 720"/>
                <a:gd name="T69" fmla="*/ 1 h 120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20"/>
                <a:gd name="T106" fmla="*/ 0 h 1208"/>
                <a:gd name="T107" fmla="*/ 720 w 720"/>
                <a:gd name="T108" fmla="*/ 1208 h 120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20" h="1208">
                  <a:moveTo>
                    <a:pt x="212" y="0"/>
                  </a:moveTo>
                  <a:lnTo>
                    <a:pt x="200" y="156"/>
                  </a:lnTo>
                  <a:lnTo>
                    <a:pt x="168" y="248"/>
                  </a:lnTo>
                  <a:lnTo>
                    <a:pt x="156" y="340"/>
                  </a:lnTo>
                  <a:lnTo>
                    <a:pt x="128" y="460"/>
                  </a:lnTo>
                  <a:lnTo>
                    <a:pt x="112" y="612"/>
                  </a:lnTo>
                  <a:lnTo>
                    <a:pt x="84" y="720"/>
                  </a:lnTo>
                  <a:lnTo>
                    <a:pt x="44" y="852"/>
                  </a:lnTo>
                  <a:lnTo>
                    <a:pt x="4" y="948"/>
                  </a:lnTo>
                  <a:lnTo>
                    <a:pt x="0" y="984"/>
                  </a:lnTo>
                  <a:lnTo>
                    <a:pt x="28" y="988"/>
                  </a:lnTo>
                  <a:lnTo>
                    <a:pt x="64" y="992"/>
                  </a:lnTo>
                  <a:lnTo>
                    <a:pt x="96" y="988"/>
                  </a:lnTo>
                  <a:lnTo>
                    <a:pt x="92" y="1028"/>
                  </a:lnTo>
                  <a:lnTo>
                    <a:pt x="64" y="1096"/>
                  </a:lnTo>
                  <a:lnTo>
                    <a:pt x="52" y="1132"/>
                  </a:lnTo>
                  <a:lnTo>
                    <a:pt x="88" y="1136"/>
                  </a:lnTo>
                  <a:lnTo>
                    <a:pt x="120" y="1148"/>
                  </a:lnTo>
                  <a:lnTo>
                    <a:pt x="152" y="1124"/>
                  </a:lnTo>
                  <a:lnTo>
                    <a:pt x="200" y="1120"/>
                  </a:lnTo>
                  <a:lnTo>
                    <a:pt x="224" y="1156"/>
                  </a:lnTo>
                  <a:lnTo>
                    <a:pt x="276" y="1136"/>
                  </a:lnTo>
                  <a:lnTo>
                    <a:pt x="300" y="1120"/>
                  </a:lnTo>
                  <a:lnTo>
                    <a:pt x="336" y="1096"/>
                  </a:lnTo>
                  <a:lnTo>
                    <a:pt x="372" y="1088"/>
                  </a:lnTo>
                  <a:lnTo>
                    <a:pt x="392" y="1048"/>
                  </a:lnTo>
                  <a:lnTo>
                    <a:pt x="436" y="1044"/>
                  </a:lnTo>
                  <a:lnTo>
                    <a:pt x="468" y="1028"/>
                  </a:lnTo>
                  <a:lnTo>
                    <a:pt x="512" y="1104"/>
                  </a:lnTo>
                  <a:lnTo>
                    <a:pt x="520" y="1132"/>
                  </a:lnTo>
                  <a:lnTo>
                    <a:pt x="592" y="1140"/>
                  </a:lnTo>
                  <a:lnTo>
                    <a:pt x="612" y="1168"/>
                  </a:lnTo>
                  <a:lnTo>
                    <a:pt x="592" y="1200"/>
                  </a:lnTo>
                  <a:lnTo>
                    <a:pt x="616" y="1208"/>
                  </a:lnTo>
                  <a:lnTo>
                    <a:pt x="644" y="1184"/>
                  </a:lnTo>
                  <a:lnTo>
                    <a:pt x="664" y="1136"/>
                  </a:lnTo>
                  <a:lnTo>
                    <a:pt x="708" y="1048"/>
                  </a:lnTo>
                  <a:lnTo>
                    <a:pt x="720" y="1020"/>
                  </a:lnTo>
                  <a:lnTo>
                    <a:pt x="684" y="1016"/>
                  </a:lnTo>
                  <a:lnTo>
                    <a:pt x="664" y="1000"/>
                  </a:lnTo>
                  <a:lnTo>
                    <a:pt x="636" y="1016"/>
                  </a:lnTo>
                  <a:lnTo>
                    <a:pt x="608" y="1012"/>
                  </a:lnTo>
                  <a:lnTo>
                    <a:pt x="584" y="996"/>
                  </a:lnTo>
                  <a:lnTo>
                    <a:pt x="552" y="952"/>
                  </a:lnTo>
                  <a:lnTo>
                    <a:pt x="472" y="960"/>
                  </a:lnTo>
                  <a:lnTo>
                    <a:pt x="432" y="916"/>
                  </a:lnTo>
                  <a:lnTo>
                    <a:pt x="548" y="804"/>
                  </a:lnTo>
                  <a:lnTo>
                    <a:pt x="516" y="792"/>
                  </a:lnTo>
                  <a:lnTo>
                    <a:pt x="516" y="740"/>
                  </a:lnTo>
                  <a:lnTo>
                    <a:pt x="528" y="696"/>
                  </a:lnTo>
                  <a:lnTo>
                    <a:pt x="476" y="520"/>
                  </a:lnTo>
                  <a:lnTo>
                    <a:pt x="512" y="492"/>
                  </a:lnTo>
                  <a:lnTo>
                    <a:pt x="552" y="484"/>
                  </a:lnTo>
                  <a:lnTo>
                    <a:pt x="588" y="512"/>
                  </a:lnTo>
                  <a:lnTo>
                    <a:pt x="632" y="512"/>
                  </a:lnTo>
                  <a:lnTo>
                    <a:pt x="680" y="460"/>
                  </a:lnTo>
                  <a:lnTo>
                    <a:pt x="716" y="396"/>
                  </a:lnTo>
                  <a:lnTo>
                    <a:pt x="704" y="332"/>
                  </a:lnTo>
                  <a:lnTo>
                    <a:pt x="644" y="324"/>
                  </a:lnTo>
                  <a:lnTo>
                    <a:pt x="612" y="352"/>
                  </a:lnTo>
                  <a:lnTo>
                    <a:pt x="564" y="292"/>
                  </a:lnTo>
                  <a:lnTo>
                    <a:pt x="568" y="236"/>
                  </a:lnTo>
                  <a:lnTo>
                    <a:pt x="572" y="176"/>
                  </a:lnTo>
                  <a:lnTo>
                    <a:pt x="508" y="48"/>
                  </a:lnTo>
                  <a:lnTo>
                    <a:pt x="456" y="48"/>
                  </a:lnTo>
                  <a:lnTo>
                    <a:pt x="420" y="72"/>
                  </a:lnTo>
                  <a:lnTo>
                    <a:pt x="404" y="104"/>
                  </a:lnTo>
                  <a:lnTo>
                    <a:pt x="348" y="112"/>
                  </a:lnTo>
                  <a:lnTo>
                    <a:pt x="268" y="60"/>
                  </a:lnTo>
                  <a:lnTo>
                    <a:pt x="264" y="4"/>
                  </a:lnTo>
                  <a:lnTo>
                    <a:pt x="212" y="0"/>
                  </a:lnTo>
                  <a:close/>
                </a:path>
              </a:pathLst>
            </a:custGeom>
            <a:solidFill>
              <a:srgbClr val="00A1DE"/>
            </a:solidFill>
            <a:ln w="12700">
              <a:solidFill>
                <a:schemeClr val="bg1"/>
              </a:solidFill>
              <a:round/>
              <a:headEnd/>
              <a:tailEnd/>
            </a:ln>
          </p:spPr>
          <p:txBody>
            <a:bodyPr wrap="none" lIns="0" tIns="0" rIns="0" bIns="0" anchor="ctr">
              <a:spAutoFit/>
            </a:bodyPr>
            <a:lstStyle/>
            <a:p>
              <a:pPr defTabSz="685800">
                <a:buClrTx/>
                <a:defRPr/>
              </a:pPr>
              <a:endParaRPr lang="en-GB" sz="1350" kern="1200">
                <a:solidFill>
                  <a:prstClr val="black"/>
                </a:solidFill>
                <a:latin typeface="Arial" charset="0"/>
                <a:ea typeface="+mn-ea"/>
                <a:cs typeface="Arial" charset="0"/>
              </a:endParaRPr>
            </a:p>
          </p:txBody>
        </p:sp>
        <p:sp>
          <p:nvSpPr>
            <p:cNvPr id="129" name="Freeform 5"/>
            <p:cNvSpPr>
              <a:spLocks/>
            </p:cNvSpPr>
            <p:nvPr/>
          </p:nvSpPr>
          <p:spPr bwMode="auto">
            <a:xfrm>
              <a:off x="2097581" y="2032636"/>
              <a:ext cx="87" cy="276999"/>
            </a:xfrm>
            <a:custGeom>
              <a:avLst/>
              <a:gdLst>
                <a:gd name="T0" fmla="*/ 10 w 168"/>
                <a:gd name="T1" fmla="*/ 7 h 268"/>
                <a:gd name="T2" fmla="*/ 3 w 168"/>
                <a:gd name="T3" fmla="*/ 16 h 268"/>
                <a:gd name="T4" fmla="*/ 1 w 168"/>
                <a:gd name="T5" fmla="*/ 21 h 268"/>
                <a:gd name="T6" fmla="*/ 0 w 168"/>
                <a:gd name="T7" fmla="*/ 31 h 268"/>
                <a:gd name="T8" fmla="*/ 7 w 168"/>
                <a:gd name="T9" fmla="*/ 29 h 268"/>
                <a:gd name="T10" fmla="*/ 13 w 168"/>
                <a:gd name="T11" fmla="*/ 29 h 268"/>
                <a:gd name="T12" fmla="*/ 13 w 168"/>
                <a:gd name="T13" fmla="*/ 24 h 268"/>
                <a:gd name="T14" fmla="*/ 20 w 168"/>
                <a:gd name="T15" fmla="*/ 21 h 268"/>
                <a:gd name="T16" fmla="*/ 21 w 168"/>
                <a:gd name="T17" fmla="*/ 10 h 268"/>
                <a:gd name="T18" fmla="*/ 23 w 168"/>
                <a:gd name="T19" fmla="*/ 7 h 268"/>
                <a:gd name="T20" fmla="*/ 18 w 168"/>
                <a:gd name="T21" fmla="*/ 0 h 268"/>
                <a:gd name="T22" fmla="*/ 13 w 168"/>
                <a:gd name="T23" fmla="*/ 2 h 268"/>
                <a:gd name="T24" fmla="*/ 14 w 168"/>
                <a:gd name="T25" fmla="*/ 6 h 268"/>
                <a:gd name="T26" fmla="*/ 10 w 168"/>
                <a:gd name="T27" fmla="*/ 7 h 26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8"/>
                <a:gd name="T43" fmla="*/ 0 h 268"/>
                <a:gd name="T44" fmla="*/ 168 w 168"/>
                <a:gd name="T45" fmla="*/ 268 h 26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8" h="268">
                  <a:moveTo>
                    <a:pt x="76" y="60"/>
                  </a:moveTo>
                  <a:lnTo>
                    <a:pt x="24" y="136"/>
                  </a:lnTo>
                  <a:lnTo>
                    <a:pt x="8" y="180"/>
                  </a:lnTo>
                  <a:lnTo>
                    <a:pt x="0" y="268"/>
                  </a:lnTo>
                  <a:lnTo>
                    <a:pt x="52" y="252"/>
                  </a:lnTo>
                  <a:lnTo>
                    <a:pt x="92" y="248"/>
                  </a:lnTo>
                  <a:lnTo>
                    <a:pt x="96" y="216"/>
                  </a:lnTo>
                  <a:lnTo>
                    <a:pt x="148" y="180"/>
                  </a:lnTo>
                  <a:lnTo>
                    <a:pt x="156" y="88"/>
                  </a:lnTo>
                  <a:lnTo>
                    <a:pt x="168" y="60"/>
                  </a:lnTo>
                  <a:lnTo>
                    <a:pt x="132" y="0"/>
                  </a:lnTo>
                  <a:lnTo>
                    <a:pt x="100" y="16"/>
                  </a:lnTo>
                  <a:lnTo>
                    <a:pt x="104" y="52"/>
                  </a:lnTo>
                  <a:lnTo>
                    <a:pt x="76" y="60"/>
                  </a:lnTo>
                  <a:close/>
                </a:path>
              </a:pathLst>
            </a:custGeom>
            <a:solidFill>
              <a:srgbClr val="00A1DE"/>
            </a:solidFill>
            <a:ln w="12700">
              <a:solidFill>
                <a:schemeClr val="bg1"/>
              </a:solidFill>
              <a:round/>
              <a:headEnd/>
              <a:tailEnd/>
            </a:ln>
          </p:spPr>
          <p:txBody>
            <a:bodyPr wrap="none" lIns="0" tIns="0" rIns="0" bIns="0" anchor="ctr">
              <a:spAutoFit/>
            </a:bodyPr>
            <a:lstStyle/>
            <a:p>
              <a:pPr defTabSz="685800">
                <a:buClrTx/>
                <a:defRPr/>
              </a:pPr>
              <a:endParaRPr lang="en-GB" sz="1350" kern="1200">
                <a:solidFill>
                  <a:prstClr val="black"/>
                </a:solidFill>
                <a:latin typeface="Arial" charset="0"/>
                <a:ea typeface="+mn-ea"/>
                <a:cs typeface="Arial" charset="0"/>
              </a:endParaRPr>
            </a:p>
          </p:txBody>
        </p:sp>
        <p:sp>
          <p:nvSpPr>
            <p:cNvPr id="130" name="Freeform 6"/>
            <p:cNvSpPr>
              <a:spLocks/>
            </p:cNvSpPr>
            <p:nvPr/>
          </p:nvSpPr>
          <p:spPr bwMode="auto">
            <a:xfrm>
              <a:off x="2261830" y="1756328"/>
              <a:ext cx="87" cy="276999"/>
            </a:xfrm>
            <a:custGeom>
              <a:avLst/>
              <a:gdLst>
                <a:gd name="T0" fmla="*/ 13 w 102"/>
                <a:gd name="T1" fmla="*/ 0 h 99"/>
                <a:gd name="T2" fmla="*/ 10 w 102"/>
                <a:gd name="T3" fmla="*/ 3 h 99"/>
                <a:gd name="T4" fmla="*/ 10 w 102"/>
                <a:gd name="T5" fmla="*/ 5 h 99"/>
                <a:gd name="T6" fmla="*/ 7 w 102"/>
                <a:gd name="T7" fmla="*/ 5 h 99"/>
                <a:gd name="T8" fmla="*/ 4 w 102"/>
                <a:gd name="T9" fmla="*/ 6 h 99"/>
                <a:gd name="T10" fmla="*/ 0 w 102"/>
                <a:gd name="T11" fmla="*/ 11 h 99"/>
                <a:gd name="T12" fmla="*/ 4 w 102"/>
                <a:gd name="T13" fmla="*/ 12 h 99"/>
                <a:gd name="T14" fmla="*/ 7 w 102"/>
                <a:gd name="T15" fmla="*/ 9 h 99"/>
                <a:gd name="T16" fmla="*/ 10 w 102"/>
                <a:gd name="T17" fmla="*/ 8 h 99"/>
                <a:gd name="T18" fmla="*/ 11 w 102"/>
                <a:gd name="T19" fmla="*/ 5 h 99"/>
                <a:gd name="T20" fmla="*/ 13 w 102"/>
                <a:gd name="T21" fmla="*/ 2 h 99"/>
                <a:gd name="T22" fmla="*/ 13 w 102"/>
                <a:gd name="T23" fmla="*/ 0 h 9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2"/>
                <a:gd name="T37" fmla="*/ 0 h 99"/>
                <a:gd name="T38" fmla="*/ 102 w 102"/>
                <a:gd name="T39" fmla="*/ 99 h 9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2" h="99">
                  <a:moveTo>
                    <a:pt x="99" y="0"/>
                  </a:moveTo>
                  <a:lnTo>
                    <a:pt x="78" y="24"/>
                  </a:lnTo>
                  <a:lnTo>
                    <a:pt x="75" y="42"/>
                  </a:lnTo>
                  <a:lnTo>
                    <a:pt x="57" y="45"/>
                  </a:lnTo>
                  <a:lnTo>
                    <a:pt x="33" y="57"/>
                  </a:lnTo>
                  <a:lnTo>
                    <a:pt x="0" y="90"/>
                  </a:lnTo>
                  <a:lnTo>
                    <a:pt x="33" y="99"/>
                  </a:lnTo>
                  <a:lnTo>
                    <a:pt x="54" y="78"/>
                  </a:lnTo>
                  <a:lnTo>
                    <a:pt x="81" y="69"/>
                  </a:lnTo>
                  <a:lnTo>
                    <a:pt x="84" y="42"/>
                  </a:lnTo>
                  <a:lnTo>
                    <a:pt x="102" y="21"/>
                  </a:lnTo>
                  <a:lnTo>
                    <a:pt x="99" y="0"/>
                  </a:lnTo>
                  <a:close/>
                </a:path>
              </a:pathLst>
            </a:custGeom>
            <a:solidFill>
              <a:srgbClr val="00A1DE"/>
            </a:solidFill>
            <a:ln w="12700">
              <a:solidFill>
                <a:schemeClr val="bg1"/>
              </a:solidFill>
              <a:round/>
              <a:headEnd/>
              <a:tailEnd/>
            </a:ln>
          </p:spPr>
          <p:txBody>
            <a:bodyPr wrap="none" lIns="0" tIns="0" rIns="0" bIns="0" anchor="ctr">
              <a:spAutoFit/>
            </a:bodyPr>
            <a:lstStyle/>
            <a:p>
              <a:pPr defTabSz="685800">
                <a:buClrTx/>
                <a:defRPr/>
              </a:pPr>
              <a:endParaRPr lang="en-GB" sz="1350" kern="1200">
                <a:solidFill>
                  <a:prstClr val="black"/>
                </a:solidFill>
                <a:latin typeface="Arial" charset="0"/>
                <a:ea typeface="+mn-ea"/>
                <a:cs typeface="Arial" charset="0"/>
              </a:endParaRPr>
            </a:p>
          </p:txBody>
        </p:sp>
        <p:sp>
          <p:nvSpPr>
            <p:cNvPr id="131" name="Freeform 7"/>
            <p:cNvSpPr>
              <a:spLocks/>
            </p:cNvSpPr>
            <p:nvPr/>
          </p:nvSpPr>
          <p:spPr bwMode="auto">
            <a:xfrm>
              <a:off x="2385929" y="1687251"/>
              <a:ext cx="87" cy="276999"/>
            </a:xfrm>
            <a:custGeom>
              <a:avLst/>
              <a:gdLst>
                <a:gd name="T0" fmla="*/ 7 w 69"/>
                <a:gd name="T1" fmla="*/ 0 h 39"/>
                <a:gd name="T2" fmla="*/ 10 w 69"/>
                <a:gd name="T3" fmla="*/ 1 h 39"/>
                <a:gd name="T4" fmla="*/ 6 w 69"/>
                <a:gd name="T5" fmla="*/ 3 h 39"/>
                <a:gd name="T6" fmla="*/ 4 w 69"/>
                <a:gd name="T7" fmla="*/ 3 h 39"/>
                <a:gd name="T8" fmla="*/ 0 w 69"/>
                <a:gd name="T9" fmla="*/ 4 h 39"/>
                <a:gd name="T10" fmla="*/ 2 w 69"/>
                <a:gd name="T11" fmla="*/ 1 h 39"/>
                <a:gd name="T12" fmla="*/ 7 w 69"/>
                <a:gd name="T13" fmla="*/ 0 h 39"/>
                <a:gd name="T14" fmla="*/ 0 60000 65536"/>
                <a:gd name="T15" fmla="*/ 0 60000 65536"/>
                <a:gd name="T16" fmla="*/ 0 60000 65536"/>
                <a:gd name="T17" fmla="*/ 0 60000 65536"/>
                <a:gd name="T18" fmla="*/ 0 60000 65536"/>
                <a:gd name="T19" fmla="*/ 0 60000 65536"/>
                <a:gd name="T20" fmla="*/ 0 60000 65536"/>
                <a:gd name="T21" fmla="*/ 0 w 69"/>
                <a:gd name="T22" fmla="*/ 0 h 39"/>
                <a:gd name="T23" fmla="*/ 69 w 69"/>
                <a:gd name="T24" fmla="*/ 39 h 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9" h="39">
                  <a:moveTo>
                    <a:pt x="48" y="0"/>
                  </a:moveTo>
                  <a:lnTo>
                    <a:pt x="69" y="6"/>
                  </a:lnTo>
                  <a:lnTo>
                    <a:pt x="45" y="24"/>
                  </a:lnTo>
                  <a:lnTo>
                    <a:pt x="27" y="27"/>
                  </a:lnTo>
                  <a:lnTo>
                    <a:pt x="0" y="39"/>
                  </a:lnTo>
                  <a:lnTo>
                    <a:pt x="18" y="9"/>
                  </a:lnTo>
                  <a:lnTo>
                    <a:pt x="48" y="0"/>
                  </a:lnTo>
                  <a:close/>
                </a:path>
              </a:pathLst>
            </a:custGeom>
            <a:solidFill>
              <a:srgbClr val="00A1DE"/>
            </a:solidFill>
            <a:ln w="12700">
              <a:solidFill>
                <a:schemeClr val="bg1"/>
              </a:solidFill>
              <a:round/>
              <a:headEnd/>
              <a:tailEnd/>
            </a:ln>
          </p:spPr>
          <p:txBody>
            <a:bodyPr wrap="none" lIns="0" tIns="0" rIns="0" bIns="0" anchor="ctr">
              <a:spAutoFit/>
            </a:bodyPr>
            <a:lstStyle/>
            <a:p>
              <a:pPr defTabSz="685800">
                <a:buClrTx/>
                <a:defRPr/>
              </a:pPr>
              <a:endParaRPr lang="en-GB" sz="1350" kern="1200">
                <a:solidFill>
                  <a:prstClr val="black"/>
                </a:solidFill>
                <a:latin typeface="Arial" charset="0"/>
                <a:ea typeface="+mn-ea"/>
                <a:cs typeface="Arial" charset="0"/>
              </a:endParaRPr>
            </a:p>
          </p:txBody>
        </p:sp>
        <p:sp>
          <p:nvSpPr>
            <p:cNvPr id="132" name="Freeform 8"/>
            <p:cNvSpPr>
              <a:spLocks/>
            </p:cNvSpPr>
            <p:nvPr/>
          </p:nvSpPr>
          <p:spPr bwMode="auto">
            <a:xfrm>
              <a:off x="2537403" y="1508958"/>
              <a:ext cx="87" cy="276999"/>
            </a:xfrm>
            <a:custGeom>
              <a:avLst/>
              <a:gdLst>
                <a:gd name="T0" fmla="*/ 0 w 357"/>
                <a:gd name="T1" fmla="*/ 20 h 165"/>
                <a:gd name="T2" fmla="*/ 7 w 357"/>
                <a:gd name="T3" fmla="*/ 18 h 165"/>
                <a:gd name="T4" fmla="*/ 8 w 357"/>
                <a:gd name="T5" fmla="*/ 15 h 165"/>
                <a:gd name="T6" fmla="*/ 13 w 357"/>
                <a:gd name="T7" fmla="*/ 15 h 165"/>
                <a:gd name="T8" fmla="*/ 21 w 357"/>
                <a:gd name="T9" fmla="*/ 13 h 165"/>
                <a:gd name="T10" fmla="*/ 26 w 357"/>
                <a:gd name="T11" fmla="*/ 9 h 165"/>
                <a:gd name="T12" fmla="*/ 36 w 357"/>
                <a:gd name="T13" fmla="*/ 8 h 165"/>
                <a:gd name="T14" fmla="*/ 42 w 357"/>
                <a:gd name="T15" fmla="*/ 4 h 165"/>
                <a:gd name="T16" fmla="*/ 45 w 357"/>
                <a:gd name="T17" fmla="*/ 3 h 165"/>
                <a:gd name="T18" fmla="*/ 48 w 357"/>
                <a:gd name="T19" fmla="*/ 3 h 165"/>
                <a:gd name="T20" fmla="*/ 46 w 357"/>
                <a:gd name="T21" fmla="*/ 0 h 165"/>
                <a:gd name="T22" fmla="*/ 36 w 357"/>
                <a:gd name="T23" fmla="*/ 4 h 165"/>
                <a:gd name="T24" fmla="*/ 29 w 357"/>
                <a:gd name="T25" fmla="*/ 5 h 165"/>
                <a:gd name="T26" fmla="*/ 27 w 357"/>
                <a:gd name="T27" fmla="*/ 7 h 165"/>
                <a:gd name="T28" fmla="*/ 21 w 357"/>
                <a:gd name="T29" fmla="*/ 7 h 165"/>
                <a:gd name="T30" fmla="*/ 15 w 357"/>
                <a:gd name="T31" fmla="*/ 9 h 165"/>
                <a:gd name="T32" fmla="*/ 5 w 357"/>
                <a:gd name="T33" fmla="*/ 12 h 165"/>
                <a:gd name="T34" fmla="*/ 4 w 357"/>
                <a:gd name="T35" fmla="*/ 15 h 165"/>
                <a:gd name="T36" fmla="*/ 1 w 357"/>
                <a:gd name="T37" fmla="*/ 16 h 165"/>
                <a:gd name="T38" fmla="*/ 0 w 357"/>
                <a:gd name="T39" fmla="*/ 20 h 16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57"/>
                <a:gd name="T61" fmla="*/ 0 h 165"/>
                <a:gd name="T62" fmla="*/ 357 w 357"/>
                <a:gd name="T63" fmla="*/ 165 h 16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57" h="165">
                  <a:moveTo>
                    <a:pt x="0" y="165"/>
                  </a:moveTo>
                  <a:lnTo>
                    <a:pt x="51" y="147"/>
                  </a:lnTo>
                  <a:lnTo>
                    <a:pt x="63" y="120"/>
                  </a:lnTo>
                  <a:lnTo>
                    <a:pt x="96" y="123"/>
                  </a:lnTo>
                  <a:lnTo>
                    <a:pt x="156" y="111"/>
                  </a:lnTo>
                  <a:lnTo>
                    <a:pt x="195" y="81"/>
                  </a:lnTo>
                  <a:lnTo>
                    <a:pt x="264" y="69"/>
                  </a:lnTo>
                  <a:lnTo>
                    <a:pt x="315" y="33"/>
                  </a:lnTo>
                  <a:lnTo>
                    <a:pt x="339" y="24"/>
                  </a:lnTo>
                  <a:lnTo>
                    <a:pt x="357" y="24"/>
                  </a:lnTo>
                  <a:lnTo>
                    <a:pt x="345" y="0"/>
                  </a:lnTo>
                  <a:lnTo>
                    <a:pt x="267" y="33"/>
                  </a:lnTo>
                  <a:lnTo>
                    <a:pt x="219" y="42"/>
                  </a:lnTo>
                  <a:lnTo>
                    <a:pt x="201" y="57"/>
                  </a:lnTo>
                  <a:lnTo>
                    <a:pt x="153" y="60"/>
                  </a:lnTo>
                  <a:lnTo>
                    <a:pt x="108" y="78"/>
                  </a:lnTo>
                  <a:lnTo>
                    <a:pt x="36" y="105"/>
                  </a:lnTo>
                  <a:lnTo>
                    <a:pt x="30" y="126"/>
                  </a:lnTo>
                  <a:lnTo>
                    <a:pt x="9" y="132"/>
                  </a:lnTo>
                  <a:lnTo>
                    <a:pt x="0" y="165"/>
                  </a:lnTo>
                  <a:close/>
                </a:path>
              </a:pathLst>
            </a:custGeom>
            <a:solidFill>
              <a:srgbClr val="00A1DE"/>
            </a:solidFill>
            <a:ln w="12700">
              <a:solidFill>
                <a:schemeClr val="bg1"/>
              </a:solidFill>
              <a:round/>
              <a:headEnd/>
              <a:tailEnd/>
            </a:ln>
          </p:spPr>
          <p:txBody>
            <a:bodyPr wrap="none" lIns="0" tIns="0" rIns="0" bIns="0" anchor="ctr">
              <a:spAutoFit/>
            </a:bodyPr>
            <a:lstStyle/>
            <a:p>
              <a:pPr defTabSz="685800">
                <a:buClrTx/>
                <a:defRPr/>
              </a:pPr>
              <a:endParaRPr lang="en-GB" sz="1350" kern="1200">
                <a:solidFill>
                  <a:prstClr val="black"/>
                </a:solidFill>
                <a:latin typeface="Arial" charset="0"/>
                <a:ea typeface="+mn-ea"/>
                <a:cs typeface="Arial" charset="0"/>
              </a:endParaRPr>
            </a:p>
          </p:txBody>
        </p:sp>
        <p:sp>
          <p:nvSpPr>
            <p:cNvPr id="133" name="Freeform 9"/>
            <p:cNvSpPr>
              <a:spLocks/>
            </p:cNvSpPr>
            <p:nvPr/>
          </p:nvSpPr>
          <p:spPr bwMode="auto">
            <a:xfrm>
              <a:off x="3006426" y="1424946"/>
              <a:ext cx="87" cy="276999"/>
            </a:xfrm>
            <a:custGeom>
              <a:avLst/>
              <a:gdLst>
                <a:gd name="T0" fmla="*/ 40 w 303"/>
                <a:gd name="T1" fmla="*/ 0 h 57"/>
                <a:gd name="T2" fmla="*/ 30 w 303"/>
                <a:gd name="T3" fmla="*/ 0 h 57"/>
                <a:gd name="T4" fmla="*/ 24 w 303"/>
                <a:gd name="T5" fmla="*/ 1 h 57"/>
                <a:gd name="T6" fmla="*/ 21 w 303"/>
                <a:gd name="T7" fmla="*/ 1 h 57"/>
                <a:gd name="T8" fmla="*/ 16 w 303"/>
                <a:gd name="T9" fmla="*/ 2 h 57"/>
                <a:gd name="T10" fmla="*/ 6 w 303"/>
                <a:gd name="T11" fmla="*/ 2 h 57"/>
                <a:gd name="T12" fmla="*/ 4 w 303"/>
                <a:gd name="T13" fmla="*/ 1 h 57"/>
                <a:gd name="T14" fmla="*/ 0 w 303"/>
                <a:gd name="T15" fmla="*/ 3 h 57"/>
                <a:gd name="T16" fmla="*/ 1 w 303"/>
                <a:gd name="T17" fmla="*/ 5 h 57"/>
                <a:gd name="T18" fmla="*/ 6 w 303"/>
                <a:gd name="T19" fmla="*/ 6 h 57"/>
                <a:gd name="T20" fmla="*/ 9 w 303"/>
                <a:gd name="T21" fmla="*/ 6 h 57"/>
                <a:gd name="T22" fmla="*/ 12 w 303"/>
                <a:gd name="T23" fmla="*/ 5 h 57"/>
                <a:gd name="T24" fmla="*/ 13 w 303"/>
                <a:gd name="T25" fmla="*/ 3 h 57"/>
                <a:gd name="T26" fmla="*/ 20 w 303"/>
                <a:gd name="T27" fmla="*/ 3 h 57"/>
                <a:gd name="T28" fmla="*/ 31 w 303"/>
                <a:gd name="T29" fmla="*/ 2 h 57"/>
                <a:gd name="T30" fmla="*/ 36 w 303"/>
                <a:gd name="T31" fmla="*/ 1 h 57"/>
                <a:gd name="T32" fmla="*/ 40 w 303"/>
                <a:gd name="T33" fmla="*/ 0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3"/>
                <a:gd name="T52" fmla="*/ 0 h 57"/>
                <a:gd name="T53" fmla="*/ 303 w 303"/>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3" h="57">
                  <a:moveTo>
                    <a:pt x="303" y="0"/>
                  </a:moveTo>
                  <a:lnTo>
                    <a:pt x="225" y="0"/>
                  </a:lnTo>
                  <a:lnTo>
                    <a:pt x="177" y="9"/>
                  </a:lnTo>
                  <a:lnTo>
                    <a:pt x="156" y="9"/>
                  </a:lnTo>
                  <a:lnTo>
                    <a:pt x="120" y="18"/>
                  </a:lnTo>
                  <a:lnTo>
                    <a:pt x="45" y="15"/>
                  </a:lnTo>
                  <a:lnTo>
                    <a:pt x="27" y="6"/>
                  </a:lnTo>
                  <a:lnTo>
                    <a:pt x="0" y="24"/>
                  </a:lnTo>
                  <a:lnTo>
                    <a:pt x="6" y="48"/>
                  </a:lnTo>
                  <a:lnTo>
                    <a:pt x="45" y="54"/>
                  </a:lnTo>
                  <a:lnTo>
                    <a:pt x="69" y="57"/>
                  </a:lnTo>
                  <a:lnTo>
                    <a:pt x="90" y="48"/>
                  </a:lnTo>
                  <a:lnTo>
                    <a:pt x="96" y="30"/>
                  </a:lnTo>
                  <a:lnTo>
                    <a:pt x="147" y="30"/>
                  </a:lnTo>
                  <a:lnTo>
                    <a:pt x="237" y="18"/>
                  </a:lnTo>
                  <a:lnTo>
                    <a:pt x="270" y="9"/>
                  </a:lnTo>
                  <a:lnTo>
                    <a:pt x="303" y="0"/>
                  </a:lnTo>
                  <a:close/>
                </a:path>
              </a:pathLst>
            </a:custGeom>
            <a:solidFill>
              <a:srgbClr val="00A1DE"/>
            </a:solidFill>
            <a:ln w="12700">
              <a:solidFill>
                <a:schemeClr val="bg1"/>
              </a:solidFill>
              <a:round/>
              <a:headEnd/>
              <a:tailEnd/>
            </a:ln>
          </p:spPr>
          <p:txBody>
            <a:bodyPr wrap="none" lIns="0" tIns="0" rIns="0" bIns="0" anchor="ctr">
              <a:spAutoFit/>
            </a:bodyPr>
            <a:lstStyle/>
            <a:p>
              <a:pPr defTabSz="685800">
                <a:buClrTx/>
                <a:defRPr/>
              </a:pPr>
              <a:endParaRPr lang="en-GB" sz="1350" kern="1200">
                <a:solidFill>
                  <a:prstClr val="black"/>
                </a:solidFill>
                <a:latin typeface="Arial" charset="0"/>
                <a:ea typeface="+mn-ea"/>
                <a:cs typeface="Arial" charset="0"/>
              </a:endParaRPr>
            </a:p>
          </p:txBody>
        </p:sp>
        <p:sp>
          <p:nvSpPr>
            <p:cNvPr id="134" name="Freeform 10"/>
            <p:cNvSpPr>
              <a:spLocks/>
            </p:cNvSpPr>
            <p:nvPr/>
          </p:nvSpPr>
          <p:spPr bwMode="auto">
            <a:xfrm>
              <a:off x="3511949" y="1362403"/>
              <a:ext cx="87" cy="276999"/>
            </a:xfrm>
            <a:custGeom>
              <a:avLst/>
              <a:gdLst>
                <a:gd name="T0" fmla="*/ 23 w 177"/>
                <a:gd name="T1" fmla="*/ 0 h 75"/>
                <a:gd name="T2" fmla="*/ 13 w 177"/>
                <a:gd name="T3" fmla="*/ 1 h 75"/>
                <a:gd name="T4" fmla="*/ 9 w 177"/>
                <a:gd name="T5" fmla="*/ 1 h 75"/>
                <a:gd name="T6" fmla="*/ 7 w 177"/>
                <a:gd name="T7" fmla="*/ 3 h 75"/>
                <a:gd name="T8" fmla="*/ 1 w 177"/>
                <a:gd name="T9" fmla="*/ 4 h 75"/>
                <a:gd name="T10" fmla="*/ 0 w 177"/>
                <a:gd name="T11" fmla="*/ 6 h 75"/>
                <a:gd name="T12" fmla="*/ 2 w 177"/>
                <a:gd name="T13" fmla="*/ 9 h 75"/>
                <a:gd name="T14" fmla="*/ 3 w 177"/>
                <a:gd name="T15" fmla="*/ 6 h 75"/>
                <a:gd name="T16" fmla="*/ 11 w 177"/>
                <a:gd name="T17" fmla="*/ 6 h 75"/>
                <a:gd name="T18" fmla="*/ 16 w 177"/>
                <a:gd name="T19" fmla="*/ 3 h 75"/>
                <a:gd name="T20" fmla="*/ 22 w 177"/>
                <a:gd name="T21" fmla="*/ 2 h 75"/>
                <a:gd name="T22" fmla="*/ 23 w 177"/>
                <a:gd name="T23" fmla="*/ 0 h 7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7"/>
                <a:gd name="T37" fmla="*/ 0 h 75"/>
                <a:gd name="T38" fmla="*/ 177 w 177"/>
                <a:gd name="T39" fmla="*/ 75 h 7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7" h="75">
                  <a:moveTo>
                    <a:pt x="177" y="0"/>
                  </a:moveTo>
                  <a:lnTo>
                    <a:pt x="102" y="9"/>
                  </a:lnTo>
                  <a:lnTo>
                    <a:pt x="69" y="12"/>
                  </a:lnTo>
                  <a:lnTo>
                    <a:pt x="51" y="24"/>
                  </a:lnTo>
                  <a:lnTo>
                    <a:pt x="6" y="33"/>
                  </a:lnTo>
                  <a:lnTo>
                    <a:pt x="0" y="57"/>
                  </a:lnTo>
                  <a:lnTo>
                    <a:pt x="15" y="75"/>
                  </a:lnTo>
                  <a:lnTo>
                    <a:pt x="24" y="51"/>
                  </a:lnTo>
                  <a:lnTo>
                    <a:pt x="90" y="54"/>
                  </a:lnTo>
                  <a:lnTo>
                    <a:pt x="123" y="27"/>
                  </a:lnTo>
                  <a:lnTo>
                    <a:pt x="168" y="21"/>
                  </a:lnTo>
                  <a:lnTo>
                    <a:pt x="177" y="0"/>
                  </a:lnTo>
                  <a:close/>
                </a:path>
              </a:pathLst>
            </a:custGeom>
            <a:solidFill>
              <a:srgbClr val="00A1DE"/>
            </a:solidFill>
            <a:ln w="12700">
              <a:solidFill>
                <a:schemeClr val="bg1"/>
              </a:solidFill>
              <a:round/>
              <a:headEnd/>
              <a:tailEnd/>
            </a:ln>
          </p:spPr>
          <p:txBody>
            <a:bodyPr wrap="none" lIns="0" tIns="0" rIns="0" bIns="0" anchor="ctr">
              <a:spAutoFit/>
            </a:bodyPr>
            <a:lstStyle/>
            <a:p>
              <a:pPr defTabSz="685800">
                <a:buClrTx/>
                <a:defRPr/>
              </a:pPr>
              <a:endParaRPr lang="en-GB" sz="1350" kern="1200">
                <a:solidFill>
                  <a:prstClr val="black"/>
                </a:solidFill>
                <a:latin typeface="Arial" charset="0"/>
                <a:ea typeface="+mn-ea"/>
                <a:cs typeface="Arial" charset="0"/>
              </a:endParaRPr>
            </a:p>
          </p:txBody>
        </p:sp>
        <p:sp>
          <p:nvSpPr>
            <p:cNvPr id="136" name="Freeform 12"/>
            <p:cNvSpPr>
              <a:spLocks/>
            </p:cNvSpPr>
            <p:nvPr/>
          </p:nvSpPr>
          <p:spPr bwMode="auto">
            <a:xfrm>
              <a:off x="2743628" y="1991564"/>
              <a:ext cx="87" cy="276999"/>
            </a:xfrm>
            <a:custGeom>
              <a:avLst/>
              <a:gdLst>
                <a:gd name="T0" fmla="*/ 90 w 969"/>
                <a:gd name="T1" fmla="*/ 0 h 912"/>
                <a:gd name="T2" fmla="*/ 74 w 969"/>
                <a:gd name="T3" fmla="*/ 1 h 912"/>
                <a:gd name="T4" fmla="*/ 62 w 969"/>
                <a:gd name="T5" fmla="*/ 5 h 912"/>
                <a:gd name="T6" fmla="*/ 40 w 969"/>
                <a:gd name="T7" fmla="*/ 14 h 912"/>
                <a:gd name="T8" fmla="*/ 26 w 969"/>
                <a:gd name="T9" fmla="*/ 20 h 912"/>
                <a:gd name="T10" fmla="*/ 18 w 969"/>
                <a:gd name="T11" fmla="*/ 28 h 912"/>
                <a:gd name="T12" fmla="*/ 8 w 969"/>
                <a:gd name="T13" fmla="*/ 41 h 912"/>
                <a:gd name="T14" fmla="*/ 2 w 969"/>
                <a:gd name="T15" fmla="*/ 54 h 912"/>
                <a:gd name="T16" fmla="*/ 4 w 969"/>
                <a:gd name="T17" fmla="*/ 66 h 912"/>
                <a:gd name="T18" fmla="*/ 7 w 969"/>
                <a:gd name="T19" fmla="*/ 82 h 912"/>
                <a:gd name="T20" fmla="*/ 5 w 969"/>
                <a:gd name="T21" fmla="*/ 86 h 912"/>
                <a:gd name="T22" fmla="*/ 0 w 969"/>
                <a:gd name="T23" fmla="*/ 92 h 912"/>
                <a:gd name="T24" fmla="*/ 4 w 969"/>
                <a:gd name="T25" fmla="*/ 96 h 912"/>
                <a:gd name="T26" fmla="*/ 11 w 969"/>
                <a:gd name="T27" fmla="*/ 97 h 912"/>
                <a:gd name="T28" fmla="*/ 28 w 969"/>
                <a:gd name="T29" fmla="*/ 100 h 912"/>
                <a:gd name="T30" fmla="*/ 32 w 969"/>
                <a:gd name="T31" fmla="*/ 98 h 912"/>
                <a:gd name="T32" fmla="*/ 36 w 969"/>
                <a:gd name="T33" fmla="*/ 99 h 912"/>
                <a:gd name="T34" fmla="*/ 52 w 969"/>
                <a:gd name="T35" fmla="*/ 103 h 912"/>
                <a:gd name="T36" fmla="*/ 61 w 969"/>
                <a:gd name="T37" fmla="*/ 106 h 912"/>
                <a:gd name="T38" fmla="*/ 69 w 969"/>
                <a:gd name="T39" fmla="*/ 100 h 912"/>
                <a:gd name="T40" fmla="*/ 80 w 969"/>
                <a:gd name="T41" fmla="*/ 103 h 912"/>
                <a:gd name="T42" fmla="*/ 86 w 969"/>
                <a:gd name="T43" fmla="*/ 99 h 912"/>
                <a:gd name="T44" fmla="*/ 96 w 969"/>
                <a:gd name="T45" fmla="*/ 93 h 912"/>
                <a:gd name="T46" fmla="*/ 107 w 969"/>
                <a:gd name="T47" fmla="*/ 82 h 912"/>
                <a:gd name="T48" fmla="*/ 119 w 969"/>
                <a:gd name="T49" fmla="*/ 86 h 912"/>
                <a:gd name="T50" fmla="*/ 128 w 969"/>
                <a:gd name="T51" fmla="*/ 76 h 912"/>
                <a:gd name="T52" fmla="*/ 121 w 969"/>
                <a:gd name="T53" fmla="*/ 68 h 912"/>
                <a:gd name="T54" fmla="*/ 116 w 969"/>
                <a:gd name="T55" fmla="*/ 58 h 912"/>
                <a:gd name="T56" fmla="*/ 114 w 969"/>
                <a:gd name="T57" fmla="*/ 53 h 912"/>
                <a:gd name="T58" fmla="*/ 105 w 969"/>
                <a:gd name="T59" fmla="*/ 52 h 912"/>
                <a:gd name="T60" fmla="*/ 98 w 969"/>
                <a:gd name="T61" fmla="*/ 47 h 912"/>
                <a:gd name="T62" fmla="*/ 102 w 969"/>
                <a:gd name="T63" fmla="*/ 34 h 912"/>
                <a:gd name="T64" fmla="*/ 102 w 969"/>
                <a:gd name="T65" fmla="*/ 29 h 912"/>
                <a:gd name="T66" fmla="*/ 105 w 969"/>
                <a:gd name="T67" fmla="*/ 23 h 912"/>
                <a:gd name="T68" fmla="*/ 110 w 969"/>
                <a:gd name="T69" fmla="*/ 13 h 912"/>
                <a:gd name="T70" fmla="*/ 105 w 969"/>
                <a:gd name="T71" fmla="*/ 11 h 912"/>
                <a:gd name="T72" fmla="*/ 102 w 969"/>
                <a:gd name="T73" fmla="*/ 12 h 912"/>
                <a:gd name="T74" fmla="*/ 93 w 969"/>
                <a:gd name="T75" fmla="*/ 11 h 912"/>
                <a:gd name="T76" fmla="*/ 94 w 969"/>
                <a:gd name="T77" fmla="*/ 2 h 91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69"/>
                <a:gd name="T118" fmla="*/ 0 h 912"/>
                <a:gd name="T119" fmla="*/ 969 w 969"/>
                <a:gd name="T120" fmla="*/ 912 h 91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69" h="912">
                  <a:moveTo>
                    <a:pt x="714" y="18"/>
                  </a:moveTo>
                  <a:lnTo>
                    <a:pt x="684" y="0"/>
                  </a:lnTo>
                  <a:lnTo>
                    <a:pt x="657" y="15"/>
                  </a:lnTo>
                  <a:lnTo>
                    <a:pt x="558" y="12"/>
                  </a:lnTo>
                  <a:lnTo>
                    <a:pt x="519" y="33"/>
                  </a:lnTo>
                  <a:lnTo>
                    <a:pt x="471" y="42"/>
                  </a:lnTo>
                  <a:lnTo>
                    <a:pt x="405" y="78"/>
                  </a:lnTo>
                  <a:lnTo>
                    <a:pt x="300" y="120"/>
                  </a:lnTo>
                  <a:lnTo>
                    <a:pt x="243" y="159"/>
                  </a:lnTo>
                  <a:lnTo>
                    <a:pt x="198" y="177"/>
                  </a:lnTo>
                  <a:lnTo>
                    <a:pt x="171" y="222"/>
                  </a:lnTo>
                  <a:lnTo>
                    <a:pt x="138" y="240"/>
                  </a:lnTo>
                  <a:lnTo>
                    <a:pt x="93" y="276"/>
                  </a:lnTo>
                  <a:lnTo>
                    <a:pt x="60" y="351"/>
                  </a:lnTo>
                  <a:lnTo>
                    <a:pt x="42" y="438"/>
                  </a:lnTo>
                  <a:lnTo>
                    <a:pt x="18" y="462"/>
                  </a:lnTo>
                  <a:lnTo>
                    <a:pt x="33" y="492"/>
                  </a:lnTo>
                  <a:lnTo>
                    <a:pt x="33" y="570"/>
                  </a:lnTo>
                  <a:lnTo>
                    <a:pt x="57" y="594"/>
                  </a:lnTo>
                  <a:lnTo>
                    <a:pt x="51" y="705"/>
                  </a:lnTo>
                  <a:lnTo>
                    <a:pt x="39" y="723"/>
                  </a:lnTo>
                  <a:lnTo>
                    <a:pt x="39" y="747"/>
                  </a:lnTo>
                  <a:lnTo>
                    <a:pt x="54" y="759"/>
                  </a:lnTo>
                  <a:lnTo>
                    <a:pt x="0" y="795"/>
                  </a:lnTo>
                  <a:lnTo>
                    <a:pt x="12" y="828"/>
                  </a:lnTo>
                  <a:lnTo>
                    <a:pt x="33" y="828"/>
                  </a:lnTo>
                  <a:lnTo>
                    <a:pt x="66" y="864"/>
                  </a:lnTo>
                  <a:lnTo>
                    <a:pt x="84" y="837"/>
                  </a:lnTo>
                  <a:lnTo>
                    <a:pt x="180" y="876"/>
                  </a:lnTo>
                  <a:lnTo>
                    <a:pt x="216" y="864"/>
                  </a:lnTo>
                  <a:lnTo>
                    <a:pt x="216" y="843"/>
                  </a:lnTo>
                  <a:lnTo>
                    <a:pt x="243" y="846"/>
                  </a:lnTo>
                  <a:lnTo>
                    <a:pt x="261" y="834"/>
                  </a:lnTo>
                  <a:lnTo>
                    <a:pt x="273" y="852"/>
                  </a:lnTo>
                  <a:lnTo>
                    <a:pt x="372" y="855"/>
                  </a:lnTo>
                  <a:lnTo>
                    <a:pt x="396" y="891"/>
                  </a:lnTo>
                  <a:lnTo>
                    <a:pt x="426" y="900"/>
                  </a:lnTo>
                  <a:lnTo>
                    <a:pt x="468" y="912"/>
                  </a:lnTo>
                  <a:lnTo>
                    <a:pt x="495" y="900"/>
                  </a:lnTo>
                  <a:lnTo>
                    <a:pt x="525" y="867"/>
                  </a:lnTo>
                  <a:lnTo>
                    <a:pt x="558" y="861"/>
                  </a:lnTo>
                  <a:lnTo>
                    <a:pt x="606" y="891"/>
                  </a:lnTo>
                  <a:lnTo>
                    <a:pt x="639" y="879"/>
                  </a:lnTo>
                  <a:lnTo>
                    <a:pt x="648" y="852"/>
                  </a:lnTo>
                  <a:lnTo>
                    <a:pt x="702" y="834"/>
                  </a:lnTo>
                  <a:lnTo>
                    <a:pt x="732" y="804"/>
                  </a:lnTo>
                  <a:lnTo>
                    <a:pt x="810" y="732"/>
                  </a:lnTo>
                  <a:lnTo>
                    <a:pt x="813" y="711"/>
                  </a:lnTo>
                  <a:lnTo>
                    <a:pt x="861" y="717"/>
                  </a:lnTo>
                  <a:lnTo>
                    <a:pt x="903" y="744"/>
                  </a:lnTo>
                  <a:lnTo>
                    <a:pt x="948" y="711"/>
                  </a:lnTo>
                  <a:lnTo>
                    <a:pt x="969" y="654"/>
                  </a:lnTo>
                  <a:lnTo>
                    <a:pt x="933" y="609"/>
                  </a:lnTo>
                  <a:lnTo>
                    <a:pt x="918" y="582"/>
                  </a:lnTo>
                  <a:lnTo>
                    <a:pt x="918" y="528"/>
                  </a:lnTo>
                  <a:lnTo>
                    <a:pt x="885" y="504"/>
                  </a:lnTo>
                  <a:lnTo>
                    <a:pt x="861" y="492"/>
                  </a:lnTo>
                  <a:lnTo>
                    <a:pt x="864" y="459"/>
                  </a:lnTo>
                  <a:lnTo>
                    <a:pt x="840" y="447"/>
                  </a:lnTo>
                  <a:lnTo>
                    <a:pt x="801" y="447"/>
                  </a:lnTo>
                  <a:lnTo>
                    <a:pt x="756" y="435"/>
                  </a:lnTo>
                  <a:lnTo>
                    <a:pt x="747" y="402"/>
                  </a:lnTo>
                  <a:lnTo>
                    <a:pt x="750" y="348"/>
                  </a:lnTo>
                  <a:lnTo>
                    <a:pt x="774" y="294"/>
                  </a:lnTo>
                  <a:lnTo>
                    <a:pt x="789" y="282"/>
                  </a:lnTo>
                  <a:lnTo>
                    <a:pt x="777" y="252"/>
                  </a:lnTo>
                  <a:lnTo>
                    <a:pt x="792" y="228"/>
                  </a:lnTo>
                  <a:lnTo>
                    <a:pt x="801" y="195"/>
                  </a:lnTo>
                  <a:lnTo>
                    <a:pt x="849" y="150"/>
                  </a:lnTo>
                  <a:lnTo>
                    <a:pt x="834" y="117"/>
                  </a:lnTo>
                  <a:lnTo>
                    <a:pt x="828" y="96"/>
                  </a:lnTo>
                  <a:lnTo>
                    <a:pt x="795" y="93"/>
                  </a:lnTo>
                  <a:lnTo>
                    <a:pt x="789" y="123"/>
                  </a:lnTo>
                  <a:lnTo>
                    <a:pt x="774" y="105"/>
                  </a:lnTo>
                  <a:lnTo>
                    <a:pt x="729" y="111"/>
                  </a:lnTo>
                  <a:lnTo>
                    <a:pt x="705" y="90"/>
                  </a:lnTo>
                  <a:lnTo>
                    <a:pt x="717" y="54"/>
                  </a:lnTo>
                  <a:lnTo>
                    <a:pt x="714" y="18"/>
                  </a:lnTo>
                  <a:close/>
                </a:path>
              </a:pathLst>
            </a:custGeom>
            <a:solidFill>
              <a:srgbClr val="00A1DE"/>
            </a:solidFill>
            <a:ln w="12700">
              <a:solidFill>
                <a:schemeClr val="bg1"/>
              </a:solidFill>
              <a:round/>
              <a:headEnd/>
              <a:tailEnd/>
            </a:ln>
          </p:spPr>
          <p:txBody>
            <a:bodyPr wrap="none" lIns="0" tIns="0" rIns="0" bIns="0" anchor="ctr">
              <a:spAutoFit/>
            </a:bodyPr>
            <a:lstStyle/>
            <a:p>
              <a:pPr defTabSz="685800">
                <a:buClrTx/>
                <a:defRPr/>
              </a:pPr>
              <a:endParaRPr lang="en-GB" sz="1350" kern="1200">
                <a:solidFill>
                  <a:prstClr val="black"/>
                </a:solidFill>
                <a:latin typeface="Arial" charset="0"/>
                <a:ea typeface="+mn-ea"/>
                <a:cs typeface="Arial" charset="0"/>
              </a:endParaRPr>
            </a:p>
          </p:txBody>
        </p:sp>
        <p:sp>
          <p:nvSpPr>
            <p:cNvPr id="137" name="Line 13"/>
            <p:cNvSpPr>
              <a:spLocks noChangeShapeType="1"/>
            </p:cNvSpPr>
            <p:nvPr/>
          </p:nvSpPr>
          <p:spPr bwMode="auto">
            <a:xfrm flipV="1">
              <a:off x="2435204" y="2167401"/>
              <a:ext cx="317548" cy="259506"/>
            </a:xfrm>
            <a:prstGeom prst="line">
              <a:avLst/>
            </a:prstGeom>
            <a:solidFill>
              <a:schemeClr val="accent1"/>
            </a:solidFill>
            <a:ln w="12700">
              <a:solidFill>
                <a:schemeClr val="bg1"/>
              </a:solidFill>
              <a:round/>
              <a:headEnd/>
              <a:tailEnd/>
            </a:ln>
          </p:spPr>
          <p:txBody>
            <a:bodyPr wrap="none" lIns="0" tIns="0" rIns="0" bIns="0" anchor="ctr">
              <a:spAutoFit/>
            </a:bodyPr>
            <a:lstStyle/>
            <a:p>
              <a:pPr defTabSz="685800">
                <a:buClrTx/>
                <a:defRPr/>
              </a:pPr>
              <a:endParaRPr lang="en-GB" sz="1350" kern="1200">
                <a:solidFill>
                  <a:prstClr val="black"/>
                </a:solidFill>
                <a:latin typeface="Arial" charset="0"/>
                <a:ea typeface="+mn-ea"/>
                <a:cs typeface="Arial" charset="0"/>
              </a:endParaRPr>
            </a:p>
          </p:txBody>
        </p:sp>
        <p:sp>
          <p:nvSpPr>
            <p:cNvPr id="138" name="Freeform 14"/>
            <p:cNvSpPr>
              <a:spLocks/>
            </p:cNvSpPr>
            <p:nvPr/>
          </p:nvSpPr>
          <p:spPr bwMode="auto">
            <a:xfrm>
              <a:off x="2462579" y="3087463"/>
              <a:ext cx="87" cy="276999"/>
            </a:xfrm>
            <a:custGeom>
              <a:avLst/>
              <a:gdLst>
                <a:gd name="T0" fmla="*/ 4 w 30"/>
                <a:gd name="T1" fmla="*/ 0 h 30"/>
                <a:gd name="T2" fmla="*/ 4 w 30"/>
                <a:gd name="T3" fmla="*/ 4 h 30"/>
                <a:gd name="T4" fmla="*/ 0 w 30"/>
                <a:gd name="T5" fmla="*/ 2 h 30"/>
                <a:gd name="T6" fmla="*/ 4 w 30"/>
                <a:gd name="T7" fmla="*/ 0 h 30"/>
                <a:gd name="T8" fmla="*/ 0 60000 65536"/>
                <a:gd name="T9" fmla="*/ 0 60000 65536"/>
                <a:gd name="T10" fmla="*/ 0 60000 65536"/>
                <a:gd name="T11" fmla="*/ 0 60000 65536"/>
                <a:gd name="T12" fmla="*/ 0 w 30"/>
                <a:gd name="T13" fmla="*/ 0 h 30"/>
                <a:gd name="T14" fmla="*/ 30 w 30"/>
                <a:gd name="T15" fmla="*/ 30 h 30"/>
              </a:gdLst>
              <a:ahLst/>
              <a:cxnLst>
                <a:cxn ang="T8">
                  <a:pos x="T0" y="T1"/>
                </a:cxn>
                <a:cxn ang="T9">
                  <a:pos x="T2" y="T3"/>
                </a:cxn>
                <a:cxn ang="T10">
                  <a:pos x="T4" y="T5"/>
                </a:cxn>
                <a:cxn ang="T11">
                  <a:pos x="T6" y="T7"/>
                </a:cxn>
              </a:cxnLst>
              <a:rect l="T12" t="T13" r="T14" b="T15"/>
              <a:pathLst>
                <a:path w="30" h="30">
                  <a:moveTo>
                    <a:pt x="27" y="0"/>
                  </a:moveTo>
                  <a:lnTo>
                    <a:pt x="30" y="30"/>
                  </a:lnTo>
                  <a:lnTo>
                    <a:pt x="0" y="18"/>
                  </a:lnTo>
                  <a:lnTo>
                    <a:pt x="27" y="0"/>
                  </a:lnTo>
                  <a:close/>
                </a:path>
              </a:pathLst>
            </a:custGeom>
            <a:solidFill>
              <a:srgbClr val="00A1DE"/>
            </a:solidFill>
            <a:ln w="12700">
              <a:solidFill>
                <a:schemeClr val="bg1"/>
              </a:solidFill>
              <a:round/>
              <a:headEnd/>
              <a:tailEnd/>
            </a:ln>
          </p:spPr>
          <p:txBody>
            <a:bodyPr wrap="none" lIns="0" tIns="0" rIns="0" bIns="0" anchor="ctr">
              <a:spAutoFit/>
            </a:bodyPr>
            <a:lstStyle/>
            <a:p>
              <a:pPr defTabSz="685800">
                <a:buClrTx/>
                <a:defRPr/>
              </a:pPr>
              <a:endParaRPr lang="en-GB" sz="1350" kern="1200">
                <a:solidFill>
                  <a:prstClr val="black"/>
                </a:solidFill>
                <a:latin typeface="Arial" charset="0"/>
                <a:ea typeface="+mn-ea"/>
                <a:cs typeface="Arial" charset="0"/>
              </a:endParaRPr>
            </a:p>
          </p:txBody>
        </p:sp>
        <p:sp>
          <p:nvSpPr>
            <p:cNvPr id="139" name="Freeform 15"/>
            <p:cNvSpPr>
              <a:spLocks/>
            </p:cNvSpPr>
            <p:nvPr/>
          </p:nvSpPr>
          <p:spPr bwMode="auto">
            <a:xfrm>
              <a:off x="2526454" y="3158407"/>
              <a:ext cx="87" cy="276999"/>
            </a:xfrm>
            <a:custGeom>
              <a:avLst/>
              <a:gdLst>
                <a:gd name="T0" fmla="*/ 0 w 657"/>
                <a:gd name="T1" fmla="*/ 39 h 507"/>
                <a:gd name="T2" fmla="*/ 3 w 657"/>
                <a:gd name="T3" fmla="*/ 47 h 507"/>
                <a:gd name="T4" fmla="*/ 6 w 657"/>
                <a:gd name="T5" fmla="*/ 46 h 507"/>
                <a:gd name="T6" fmla="*/ 11 w 657"/>
                <a:gd name="T7" fmla="*/ 44 h 507"/>
                <a:gd name="T8" fmla="*/ 13 w 657"/>
                <a:gd name="T9" fmla="*/ 46 h 507"/>
                <a:gd name="T10" fmla="*/ 22 w 657"/>
                <a:gd name="T11" fmla="*/ 50 h 507"/>
                <a:gd name="T12" fmla="*/ 24 w 657"/>
                <a:gd name="T13" fmla="*/ 53 h 507"/>
                <a:gd name="T14" fmla="*/ 28 w 657"/>
                <a:gd name="T15" fmla="*/ 55 h 507"/>
                <a:gd name="T16" fmla="*/ 35 w 657"/>
                <a:gd name="T17" fmla="*/ 59 h 507"/>
                <a:gd name="T18" fmla="*/ 37 w 657"/>
                <a:gd name="T19" fmla="*/ 58 h 507"/>
                <a:gd name="T20" fmla="*/ 45 w 657"/>
                <a:gd name="T21" fmla="*/ 58 h 507"/>
                <a:gd name="T22" fmla="*/ 47 w 657"/>
                <a:gd name="T23" fmla="*/ 56 h 507"/>
                <a:gd name="T24" fmla="*/ 51 w 657"/>
                <a:gd name="T25" fmla="*/ 51 h 507"/>
                <a:gd name="T26" fmla="*/ 51 w 657"/>
                <a:gd name="T27" fmla="*/ 48 h 507"/>
                <a:gd name="T28" fmla="*/ 49 w 657"/>
                <a:gd name="T29" fmla="*/ 44 h 507"/>
                <a:gd name="T30" fmla="*/ 52 w 657"/>
                <a:gd name="T31" fmla="*/ 42 h 507"/>
                <a:gd name="T32" fmla="*/ 54 w 657"/>
                <a:gd name="T33" fmla="*/ 40 h 507"/>
                <a:gd name="T34" fmla="*/ 58 w 657"/>
                <a:gd name="T35" fmla="*/ 40 h 507"/>
                <a:gd name="T36" fmla="*/ 64 w 657"/>
                <a:gd name="T37" fmla="*/ 34 h 507"/>
                <a:gd name="T38" fmla="*/ 64 w 657"/>
                <a:gd name="T39" fmla="*/ 32 h 507"/>
                <a:gd name="T40" fmla="*/ 78 w 657"/>
                <a:gd name="T41" fmla="*/ 27 h 507"/>
                <a:gd name="T42" fmla="*/ 85 w 657"/>
                <a:gd name="T43" fmla="*/ 13 h 507"/>
                <a:gd name="T44" fmla="*/ 85 w 657"/>
                <a:gd name="T45" fmla="*/ 8 h 507"/>
                <a:gd name="T46" fmla="*/ 83 w 657"/>
                <a:gd name="T47" fmla="*/ 5 h 507"/>
                <a:gd name="T48" fmla="*/ 70 w 657"/>
                <a:gd name="T49" fmla="*/ 3 h 507"/>
                <a:gd name="T50" fmla="*/ 67 w 657"/>
                <a:gd name="T51" fmla="*/ 1 h 507"/>
                <a:gd name="T52" fmla="*/ 60 w 657"/>
                <a:gd name="T53" fmla="*/ 0 h 507"/>
                <a:gd name="T54" fmla="*/ 56 w 657"/>
                <a:gd name="T55" fmla="*/ 2 h 507"/>
                <a:gd name="T56" fmla="*/ 51 w 657"/>
                <a:gd name="T57" fmla="*/ 3 h 507"/>
                <a:gd name="T58" fmla="*/ 46 w 657"/>
                <a:gd name="T59" fmla="*/ 9 h 507"/>
                <a:gd name="T60" fmla="*/ 42 w 657"/>
                <a:gd name="T61" fmla="*/ 9 h 507"/>
                <a:gd name="T62" fmla="*/ 40 w 657"/>
                <a:gd name="T63" fmla="*/ 13 h 507"/>
                <a:gd name="T64" fmla="*/ 39 w 657"/>
                <a:gd name="T65" fmla="*/ 15 h 507"/>
                <a:gd name="T66" fmla="*/ 35 w 657"/>
                <a:gd name="T67" fmla="*/ 19 h 507"/>
                <a:gd name="T68" fmla="*/ 29 w 657"/>
                <a:gd name="T69" fmla="*/ 22 h 507"/>
                <a:gd name="T70" fmla="*/ 12 w 657"/>
                <a:gd name="T71" fmla="*/ 30 h 507"/>
                <a:gd name="T72" fmla="*/ 4 w 657"/>
                <a:gd name="T73" fmla="*/ 36 h 507"/>
                <a:gd name="T74" fmla="*/ 0 w 657"/>
                <a:gd name="T75" fmla="*/ 39 h 50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57"/>
                <a:gd name="T115" fmla="*/ 0 h 507"/>
                <a:gd name="T116" fmla="*/ 657 w 657"/>
                <a:gd name="T117" fmla="*/ 507 h 50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57" h="507">
                  <a:moveTo>
                    <a:pt x="0" y="333"/>
                  </a:moveTo>
                  <a:lnTo>
                    <a:pt x="24" y="405"/>
                  </a:lnTo>
                  <a:lnTo>
                    <a:pt x="48" y="396"/>
                  </a:lnTo>
                  <a:lnTo>
                    <a:pt x="84" y="381"/>
                  </a:lnTo>
                  <a:lnTo>
                    <a:pt x="102" y="396"/>
                  </a:lnTo>
                  <a:lnTo>
                    <a:pt x="171" y="432"/>
                  </a:lnTo>
                  <a:lnTo>
                    <a:pt x="186" y="453"/>
                  </a:lnTo>
                  <a:lnTo>
                    <a:pt x="213" y="480"/>
                  </a:lnTo>
                  <a:lnTo>
                    <a:pt x="264" y="507"/>
                  </a:lnTo>
                  <a:lnTo>
                    <a:pt x="285" y="501"/>
                  </a:lnTo>
                  <a:lnTo>
                    <a:pt x="342" y="495"/>
                  </a:lnTo>
                  <a:lnTo>
                    <a:pt x="360" y="483"/>
                  </a:lnTo>
                  <a:lnTo>
                    <a:pt x="384" y="444"/>
                  </a:lnTo>
                  <a:lnTo>
                    <a:pt x="390" y="414"/>
                  </a:lnTo>
                  <a:lnTo>
                    <a:pt x="375" y="381"/>
                  </a:lnTo>
                  <a:lnTo>
                    <a:pt x="399" y="360"/>
                  </a:lnTo>
                  <a:lnTo>
                    <a:pt x="411" y="342"/>
                  </a:lnTo>
                  <a:lnTo>
                    <a:pt x="447" y="339"/>
                  </a:lnTo>
                  <a:lnTo>
                    <a:pt x="486" y="294"/>
                  </a:lnTo>
                  <a:lnTo>
                    <a:pt x="492" y="276"/>
                  </a:lnTo>
                  <a:lnTo>
                    <a:pt x="600" y="237"/>
                  </a:lnTo>
                  <a:lnTo>
                    <a:pt x="657" y="108"/>
                  </a:lnTo>
                  <a:lnTo>
                    <a:pt x="657" y="63"/>
                  </a:lnTo>
                  <a:lnTo>
                    <a:pt x="636" y="42"/>
                  </a:lnTo>
                  <a:lnTo>
                    <a:pt x="540" y="24"/>
                  </a:lnTo>
                  <a:lnTo>
                    <a:pt x="510" y="9"/>
                  </a:lnTo>
                  <a:lnTo>
                    <a:pt x="459" y="0"/>
                  </a:lnTo>
                  <a:lnTo>
                    <a:pt x="429" y="21"/>
                  </a:lnTo>
                  <a:lnTo>
                    <a:pt x="390" y="24"/>
                  </a:lnTo>
                  <a:lnTo>
                    <a:pt x="348" y="75"/>
                  </a:lnTo>
                  <a:lnTo>
                    <a:pt x="324" y="81"/>
                  </a:lnTo>
                  <a:lnTo>
                    <a:pt x="306" y="111"/>
                  </a:lnTo>
                  <a:lnTo>
                    <a:pt x="300" y="132"/>
                  </a:lnTo>
                  <a:lnTo>
                    <a:pt x="267" y="168"/>
                  </a:lnTo>
                  <a:lnTo>
                    <a:pt x="225" y="186"/>
                  </a:lnTo>
                  <a:lnTo>
                    <a:pt x="93" y="261"/>
                  </a:lnTo>
                  <a:lnTo>
                    <a:pt x="30" y="306"/>
                  </a:lnTo>
                  <a:lnTo>
                    <a:pt x="0" y="333"/>
                  </a:lnTo>
                  <a:close/>
                </a:path>
              </a:pathLst>
            </a:custGeom>
            <a:solidFill>
              <a:srgbClr val="00A1DE"/>
            </a:solidFill>
            <a:ln w="12700">
              <a:solidFill>
                <a:schemeClr val="bg1"/>
              </a:solidFill>
              <a:round/>
              <a:headEnd/>
              <a:tailEnd/>
            </a:ln>
          </p:spPr>
          <p:txBody>
            <a:bodyPr wrap="none" lIns="0" tIns="0" rIns="0" bIns="0" anchor="ctr">
              <a:spAutoFit/>
            </a:bodyPr>
            <a:lstStyle/>
            <a:p>
              <a:pPr defTabSz="685800">
                <a:buClrTx/>
                <a:defRPr/>
              </a:pPr>
              <a:endParaRPr lang="en-GB" sz="1350" kern="1200">
                <a:solidFill>
                  <a:prstClr val="black"/>
                </a:solidFill>
                <a:latin typeface="Arial" charset="0"/>
                <a:ea typeface="+mn-ea"/>
                <a:cs typeface="Arial" charset="0"/>
              </a:endParaRPr>
            </a:p>
          </p:txBody>
        </p:sp>
        <p:sp>
          <p:nvSpPr>
            <p:cNvPr id="140" name="Freeform 16"/>
            <p:cNvSpPr>
              <a:spLocks/>
            </p:cNvSpPr>
            <p:nvPr/>
          </p:nvSpPr>
          <p:spPr bwMode="auto">
            <a:xfrm>
              <a:off x="2980876" y="2630993"/>
              <a:ext cx="87" cy="276999"/>
            </a:xfrm>
            <a:custGeom>
              <a:avLst/>
              <a:gdLst>
                <a:gd name="T0" fmla="*/ 13 w 360"/>
                <a:gd name="T1" fmla="*/ 2 h 348"/>
                <a:gd name="T2" fmla="*/ 7 w 360"/>
                <a:gd name="T3" fmla="*/ 2 h 348"/>
                <a:gd name="T4" fmla="*/ 6 w 360"/>
                <a:gd name="T5" fmla="*/ 6 h 348"/>
                <a:gd name="T6" fmla="*/ 3 w 360"/>
                <a:gd name="T7" fmla="*/ 10 h 348"/>
                <a:gd name="T8" fmla="*/ 1 w 360"/>
                <a:gd name="T9" fmla="*/ 13 h 348"/>
                <a:gd name="T10" fmla="*/ 0 w 360"/>
                <a:gd name="T11" fmla="*/ 30 h 348"/>
                <a:gd name="T12" fmla="*/ 6 w 360"/>
                <a:gd name="T13" fmla="*/ 39 h 348"/>
                <a:gd name="T14" fmla="*/ 10 w 360"/>
                <a:gd name="T15" fmla="*/ 40 h 348"/>
                <a:gd name="T16" fmla="*/ 14 w 360"/>
                <a:gd name="T17" fmla="*/ 40 h 348"/>
                <a:gd name="T18" fmla="*/ 34 w 360"/>
                <a:gd name="T19" fmla="*/ 39 h 348"/>
                <a:gd name="T20" fmla="*/ 43 w 360"/>
                <a:gd name="T21" fmla="*/ 36 h 348"/>
                <a:gd name="T22" fmla="*/ 47 w 360"/>
                <a:gd name="T23" fmla="*/ 34 h 348"/>
                <a:gd name="T24" fmla="*/ 45 w 360"/>
                <a:gd name="T25" fmla="*/ 30 h 348"/>
                <a:gd name="T26" fmla="*/ 42 w 360"/>
                <a:gd name="T27" fmla="*/ 28 h 348"/>
                <a:gd name="T28" fmla="*/ 44 w 360"/>
                <a:gd name="T29" fmla="*/ 26 h 348"/>
                <a:gd name="T30" fmla="*/ 43 w 360"/>
                <a:gd name="T31" fmla="*/ 20 h 348"/>
                <a:gd name="T32" fmla="*/ 40 w 360"/>
                <a:gd name="T33" fmla="*/ 17 h 348"/>
                <a:gd name="T34" fmla="*/ 31 w 360"/>
                <a:gd name="T35" fmla="*/ 11 h 348"/>
                <a:gd name="T36" fmla="*/ 25 w 360"/>
                <a:gd name="T37" fmla="*/ 9 h 348"/>
                <a:gd name="T38" fmla="*/ 22 w 360"/>
                <a:gd name="T39" fmla="*/ 3 h 348"/>
                <a:gd name="T40" fmla="*/ 19 w 360"/>
                <a:gd name="T41" fmla="*/ 0 h 348"/>
                <a:gd name="T42" fmla="*/ 13 w 360"/>
                <a:gd name="T43" fmla="*/ 2 h 34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60"/>
                <a:gd name="T67" fmla="*/ 0 h 348"/>
                <a:gd name="T68" fmla="*/ 360 w 360"/>
                <a:gd name="T69" fmla="*/ 348 h 34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60" h="348">
                  <a:moveTo>
                    <a:pt x="102" y="15"/>
                  </a:moveTo>
                  <a:lnTo>
                    <a:pt x="54" y="18"/>
                  </a:lnTo>
                  <a:lnTo>
                    <a:pt x="45" y="57"/>
                  </a:lnTo>
                  <a:lnTo>
                    <a:pt x="21" y="84"/>
                  </a:lnTo>
                  <a:lnTo>
                    <a:pt x="9" y="114"/>
                  </a:lnTo>
                  <a:lnTo>
                    <a:pt x="0" y="261"/>
                  </a:lnTo>
                  <a:lnTo>
                    <a:pt x="48" y="336"/>
                  </a:lnTo>
                  <a:lnTo>
                    <a:pt x="72" y="348"/>
                  </a:lnTo>
                  <a:lnTo>
                    <a:pt x="111" y="345"/>
                  </a:lnTo>
                  <a:lnTo>
                    <a:pt x="264" y="330"/>
                  </a:lnTo>
                  <a:lnTo>
                    <a:pt x="327" y="309"/>
                  </a:lnTo>
                  <a:lnTo>
                    <a:pt x="360" y="291"/>
                  </a:lnTo>
                  <a:lnTo>
                    <a:pt x="348" y="255"/>
                  </a:lnTo>
                  <a:lnTo>
                    <a:pt x="321" y="243"/>
                  </a:lnTo>
                  <a:lnTo>
                    <a:pt x="336" y="225"/>
                  </a:lnTo>
                  <a:lnTo>
                    <a:pt x="327" y="171"/>
                  </a:lnTo>
                  <a:lnTo>
                    <a:pt x="312" y="147"/>
                  </a:lnTo>
                  <a:lnTo>
                    <a:pt x="237" y="96"/>
                  </a:lnTo>
                  <a:lnTo>
                    <a:pt x="189" y="72"/>
                  </a:lnTo>
                  <a:lnTo>
                    <a:pt x="168" y="24"/>
                  </a:lnTo>
                  <a:lnTo>
                    <a:pt x="144" y="0"/>
                  </a:lnTo>
                  <a:lnTo>
                    <a:pt x="102" y="15"/>
                  </a:lnTo>
                  <a:close/>
                </a:path>
              </a:pathLst>
            </a:custGeom>
            <a:solidFill>
              <a:srgbClr val="00A1DE"/>
            </a:solidFill>
            <a:ln w="12700">
              <a:solidFill>
                <a:schemeClr val="bg1"/>
              </a:solidFill>
              <a:round/>
              <a:headEnd/>
              <a:tailEnd/>
            </a:ln>
          </p:spPr>
          <p:txBody>
            <a:bodyPr wrap="none" lIns="0" tIns="0" rIns="0" bIns="0" anchor="ctr">
              <a:spAutoFit/>
            </a:bodyPr>
            <a:lstStyle/>
            <a:p>
              <a:pPr defTabSz="685800">
                <a:buClrTx/>
                <a:defRPr/>
              </a:pPr>
              <a:endParaRPr lang="en-GB" sz="1350" kern="1200">
                <a:solidFill>
                  <a:prstClr val="black"/>
                </a:solidFill>
                <a:latin typeface="Arial" charset="0"/>
                <a:ea typeface="+mn-ea"/>
                <a:cs typeface="Arial" charset="0"/>
              </a:endParaRPr>
            </a:p>
          </p:txBody>
        </p:sp>
        <p:sp>
          <p:nvSpPr>
            <p:cNvPr id="141" name="Freeform 17"/>
            <p:cNvSpPr>
              <a:spLocks/>
            </p:cNvSpPr>
            <p:nvPr/>
          </p:nvSpPr>
          <p:spPr bwMode="auto">
            <a:xfrm>
              <a:off x="3010076" y="5058960"/>
              <a:ext cx="87" cy="276999"/>
            </a:xfrm>
            <a:custGeom>
              <a:avLst/>
              <a:gdLst>
                <a:gd name="T0" fmla="*/ 45 w 582"/>
                <a:gd name="T1" fmla="*/ 5 h 1563"/>
                <a:gd name="T2" fmla="*/ 34 w 582"/>
                <a:gd name="T3" fmla="*/ 0 h 1563"/>
                <a:gd name="T4" fmla="*/ 37 w 582"/>
                <a:gd name="T5" fmla="*/ 8 h 1563"/>
                <a:gd name="T6" fmla="*/ 45 w 582"/>
                <a:gd name="T7" fmla="*/ 12 h 1563"/>
                <a:gd name="T8" fmla="*/ 52 w 582"/>
                <a:gd name="T9" fmla="*/ 26 h 1563"/>
                <a:gd name="T10" fmla="*/ 53 w 582"/>
                <a:gd name="T11" fmla="*/ 39 h 1563"/>
                <a:gd name="T12" fmla="*/ 41 w 582"/>
                <a:gd name="T13" fmla="*/ 40 h 1563"/>
                <a:gd name="T14" fmla="*/ 31 w 582"/>
                <a:gd name="T15" fmla="*/ 40 h 1563"/>
                <a:gd name="T16" fmla="*/ 34 w 582"/>
                <a:gd name="T17" fmla="*/ 54 h 1563"/>
                <a:gd name="T18" fmla="*/ 40 w 582"/>
                <a:gd name="T19" fmla="*/ 66 h 1563"/>
                <a:gd name="T20" fmla="*/ 33 w 582"/>
                <a:gd name="T21" fmla="*/ 76 h 1563"/>
                <a:gd name="T22" fmla="*/ 13 w 582"/>
                <a:gd name="T23" fmla="*/ 81 h 1563"/>
                <a:gd name="T24" fmla="*/ 3 w 582"/>
                <a:gd name="T25" fmla="*/ 93 h 1563"/>
                <a:gd name="T26" fmla="*/ 0 w 582"/>
                <a:gd name="T27" fmla="*/ 100 h 1563"/>
                <a:gd name="T28" fmla="*/ 8 w 582"/>
                <a:gd name="T29" fmla="*/ 102 h 1563"/>
                <a:gd name="T30" fmla="*/ 22 w 582"/>
                <a:gd name="T31" fmla="*/ 103 h 1563"/>
                <a:gd name="T32" fmla="*/ 27 w 582"/>
                <a:gd name="T33" fmla="*/ 107 h 1563"/>
                <a:gd name="T34" fmla="*/ 31 w 582"/>
                <a:gd name="T35" fmla="*/ 113 h 1563"/>
                <a:gd name="T36" fmla="*/ 30 w 582"/>
                <a:gd name="T37" fmla="*/ 121 h 1563"/>
                <a:gd name="T38" fmla="*/ 28 w 582"/>
                <a:gd name="T39" fmla="*/ 128 h 1563"/>
                <a:gd name="T40" fmla="*/ 22 w 582"/>
                <a:gd name="T41" fmla="*/ 132 h 1563"/>
                <a:gd name="T42" fmla="*/ 18 w 582"/>
                <a:gd name="T43" fmla="*/ 142 h 1563"/>
                <a:gd name="T44" fmla="*/ 21 w 582"/>
                <a:gd name="T45" fmla="*/ 146 h 1563"/>
                <a:gd name="T46" fmla="*/ 7 w 582"/>
                <a:gd name="T47" fmla="*/ 162 h 1563"/>
                <a:gd name="T48" fmla="*/ 14 w 582"/>
                <a:gd name="T49" fmla="*/ 170 h 1563"/>
                <a:gd name="T50" fmla="*/ 17 w 582"/>
                <a:gd name="T51" fmla="*/ 179 h 1563"/>
                <a:gd name="T52" fmla="*/ 25 w 582"/>
                <a:gd name="T53" fmla="*/ 177 h 1563"/>
                <a:gd name="T54" fmla="*/ 34 w 582"/>
                <a:gd name="T55" fmla="*/ 179 h 1563"/>
                <a:gd name="T56" fmla="*/ 39 w 582"/>
                <a:gd name="T57" fmla="*/ 180 h 1563"/>
                <a:gd name="T58" fmla="*/ 49 w 582"/>
                <a:gd name="T59" fmla="*/ 179 h 1563"/>
                <a:gd name="T60" fmla="*/ 54 w 582"/>
                <a:gd name="T61" fmla="*/ 178 h 1563"/>
                <a:gd name="T62" fmla="*/ 48 w 582"/>
                <a:gd name="T63" fmla="*/ 170 h 1563"/>
                <a:gd name="T64" fmla="*/ 52 w 582"/>
                <a:gd name="T65" fmla="*/ 162 h 1563"/>
                <a:gd name="T66" fmla="*/ 62 w 582"/>
                <a:gd name="T67" fmla="*/ 160 h 1563"/>
                <a:gd name="T68" fmla="*/ 59 w 582"/>
                <a:gd name="T69" fmla="*/ 155 h 1563"/>
                <a:gd name="T70" fmla="*/ 57 w 582"/>
                <a:gd name="T71" fmla="*/ 151 h 1563"/>
                <a:gd name="T72" fmla="*/ 52 w 582"/>
                <a:gd name="T73" fmla="*/ 143 h 1563"/>
                <a:gd name="T74" fmla="*/ 46 w 582"/>
                <a:gd name="T75" fmla="*/ 141 h 1563"/>
                <a:gd name="T76" fmla="*/ 41 w 582"/>
                <a:gd name="T77" fmla="*/ 142 h 1563"/>
                <a:gd name="T78" fmla="*/ 36 w 582"/>
                <a:gd name="T79" fmla="*/ 137 h 1563"/>
                <a:gd name="T80" fmla="*/ 33 w 582"/>
                <a:gd name="T81" fmla="*/ 127 h 1563"/>
                <a:gd name="T82" fmla="*/ 37 w 582"/>
                <a:gd name="T83" fmla="*/ 125 h 1563"/>
                <a:gd name="T84" fmla="*/ 42 w 582"/>
                <a:gd name="T85" fmla="*/ 128 h 1563"/>
                <a:gd name="T86" fmla="*/ 47 w 582"/>
                <a:gd name="T87" fmla="*/ 127 h 1563"/>
                <a:gd name="T88" fmla="*/ 53 w 582"/>
                <a:gd name="T89" fmla="*/ 122 h 1563"/>
                <a:gd name="T90" fmla="*/ 57 w 582"/>
                <a:gd name="T91" fmla="*/ 114 h 1563"/>
                <a:gd name="T92" fmla="*/ 61 w 582"/>
                <a:gd name="T93" fmla="*/ 113 h 1563"/>
                <a:gd name="T94" fmla="*/ 71 w 582"/>
                <a:gd name="T95" fmla="*/ 108 h 1563"/>
                <a:gd name="T96" fmla="*/ 66 w 582"/>
                <a:gd name="T97" fmla="*/ 104 h 1563"/>
                <a:gd name="T98" fmla="*/ 60 w 582"/>
                <a:gd name="T99" fmla="*/ 105 h 1563"/>
                <a:gd name="T100" fmla="*/ 59 w 582"/>
                <a:gd name="T101" fmla="*/ 96 h 1563"/>
                <a:gd name="T102" fmla="*/ 71 w 582"/>
                <a:gd name="T103" fmla="*/ 78 h 1563"/>
                <a:gd name="T104" fmla="*/ 77 w 582"/>
                <a:gd name="T105" fmla="*/ 66 h 1563"/>
                <a:gd name="T106" fmla="*/ 77 w 582"/>
                <a:gd name="T107" fmla="*/ 58 h 1563"/>
                <a:gd name="T108" fmla="*/ 74 w 582"/>
                <a:gd name="T109" fmla="*/ 48 h 1563"/>
                <a:gd name="T110" fmla="*/ 68 w 582"/>
                <a:gd name="T111" fmla="*/ 37 h 1563"/>
                <a:gd name="T112" fmla="*/ 59 w 582"/>
                <a:gd name="T113" fmla="*/ 29 h 1563"/>
                <a:gd name="T114" fmla="*/ 63 w 582"/>
                <a:gd name="T115" fmla="*/ 20 h 1563"/>
                <a:gd name="T116" fmla="*/ 52 w 582"/>
                <a:gd name="T117" fmla="*/ 11 h 156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82"/>
                <a:gd name="T178" fmla="*/ 0 h 1563"/>
                <a:gd name="T179" fmla="*/ 582 w 582"/>
                <a:gd name="T180" fmla="*/ 1563 h 156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82" h="1563">
                  <a:moveTo>
                    <a:pt x="390" y="87"/>
                  </a:moveTo>
                  <a:lnTo>
                    <a:pt x="345" y="48"/>
                  </a:lnTo>
                  <a:lnTo>
                    <a:pt x="294" y="42"/>
                  </a:lnTo>
                  <a:lnTo>
                    <a:pt x="261" y="0"/>
                  </a:lnTo>
                  <a:lnTo>
                    <a:pt x="240" y="15"/>
                  </a:lnTo>
                  <a:lnTo>
                    <a:pt x="279" y="69"/>
                  </a:lnTo>
                  <a:lnTo>
                    <a:pt x="303" y="84"/>
                  </a:lnTo>
                  <a:lnTo>
                    <a:pt x="342" y="105"/>
                  </a:lnTo>
                  <a:lnTo>
                    <a:pt x="339" y="156"/>
                  </a:lnTo>
                  <a:lnTo>
                    <a:pt x="393" y="219"/>
                  </a:lnTo>
                  <a:lnTo>
                    <a:pt x="420" y="315"/>
                  </a:lnTo>
                  <a:lnTo>
                    <a:pt x="402" y="336"/>
                  </a:lnTo>
                  <a:lnTo>
                    <a:pt x="375" y="318"/>
                  </a:lnTo>
                  <a:lnTo>
                    <a:pt x="309" y="339"/>
                  </a:lnTo>
                  <a:lnTo>
                    <a:pt x="258" y="342"/>
                  </a:lnTo>
                  <a:lnTo>
                    <a:pt x="234" y="339"/>
                  </a:lnTo>
                  <a:lnTo>
                    <a:pt x="240" y="411"/>
                  </a:lnTo>
                  <a:lnTo>
                    <a:pt x="261" y="471"/>
                  </a:lnTo>
                  <a:lnTo>
                    <a:pt x="267" y="513"/>
                  </a:lnTo>
                  <a:lnTo>
                    <a:pt x="303" y="570"/>
                  </a:lnTo>
                  <a:lnTo>
                    <a:pt x="309" y="600"/>
                  </a:lnTo>
                  <a:lnTo>
                    <a:pt x="243" y="660"/>
                  </a:lnTo>
                  <a:lnTo>
                    <a:pt x="180" y="681"/>
                  </a:lnTo>
                  <a:lnTo>
                    <a:pt x="96" y="702"/>
                  </a:lnTo>
                  <a:lnTo>
                    <a:pt x="54" y="744"/>
                  </a:lnTo>
                  <a:lnTo>
                    <a:pt x="21" y="807"/>
                  </a:lnTo>
                  <a:lnTo>
                    <a:pt x="21" y="846"/>
                  </a:lnTo>
                  <a:lnTo>
                    <a:pt x="0" y="861"/>
                  </a:lnTo>
                  <a:lnTo>
                    <a:pt x="39" y="879"/>
                  </a:lnTo>
                  <a:lnTo>
                    <a:pt x="57" y="882"/>
                  </a:lnTo>
                  <a:lnTo>
                    <a:pt x="75" y="897"/>
                  </a:lnTo>
                  <a:lnTo>
                    <a:pt x="171" y="891"/>
                  </a:lnTo>
                  <a:lnTo>
                    <a:pt x="180" y="936"/>
                  </a:lnTo>
                  <a:lnTo>
                    <a:pt x="204" y="927"/>
                  </a:lnTo>
                  <a:lnTo>
                    <a:pt x="225" y="933"/>
                  </a:lnTo>
                  <a:lnTo>
                    <a:pt x="240" y="975"/>
                  </a:lnTo>
                  <a:lnTo>
                    <a:pt x="225" y="1008"/>
                  </a:lnTo>
                  <a:lnTo>
                    <a:pt x="225" y="1041"/>
                  </a:lnTo>
                  <a:lnTo>
                    <a:pt x="207" y="1044"/>
                  </a:lnTo>
                  <a:lnTo>
                    <a:pt x="210" y="1101"/>
                  </a:lnTo>
                  <a:lnTo>
                    <a:pt x="168" y="1092"/>
                  </a:lnTo>
                  <a:lnTo>
                    <a:pt x="165" y="1137"/>
                  </a:lnTo>
                  <a:lnTo>
                    <a:pt x="186" y="1161"/>
                  </a:lnTo>
                  <a:lnTo>
                    <a:pt x="138" y="1230"/>
                  </a:lnTo>
                  <a:lnTo>
                    <a:pt x="135" y="1254"/>
                  </a:lnTo>
                  <a:lnTo>
                    <a:pt x="159" y="1266"/>
                  </a:lnTo>
                  <a:lnTo>
                    <a:pt x="78" y="1359"/>
                  </a:lnTo>
                  <a:lnTo>
                    <a:pt x="51" y="1398"/>
                  </a:lnTo>
                  <a:lnTo>
                    <a:pt x="72" y="1470"/>
                  </a:lnTo>
                  <a:lnTo>
                    <a:pt x="105" y="1473"/>
                  </a:lnTo>
                  <a:lnTo>
                    <a:pt x="108" y="1530"/>
                  </a:lnTo>
                  <a:lnTo>
                    <a:pt x="132" y="1545"/>
                  </a:lnTo>
                  <a:lnTo>
                    <a:pt x="156" y="1518"/>
                  </a:lnTo>
                  <a:lnTo>
                    <a:pt x="192" y="1530"/>
                  </a:lnTo>
                  <a:lnTo>
                    <a:pt x="216" y="1548"/>
                  </a:lnTo>
                  <a:lnTo>
                    <a:pt x="258" y="1542"/>
                  </a:lnTo>
                  <a:lnTo>
                    <a:pt x="279" y="1527"/>
                  </a:lnTo>
                  <a:lnTo>
                    <a:pt x="297" y="1557"/>
                  </a:lnTo>
                  <a:lnTo>
                    <a:pt x="321" y="1539"/>
                  </a:lnTo>
                  <a:lnTo>
                    <a:pt x="372" y="1545"/>
                  </a:lnTo>
                  <a:lnTo>
                    <a:pt x="393" y="1563"/>
                  </a:lnTo>
                  <a:lnTo>
                    <a:pt x="408" y="1533"/>
                  </a:lnTo>
                  <a:lnTo>
                    <a:pt x="393" y="1500"/>
                  </a:lnTo>
                  <a:lnTo>
                    <a:pt x="360" y="1467"/>
                  </a:lnTo>
                  <a:lnTo>
                    <a:pt x="399" y="1461"/>
                  </a:lnTo>
                  <a:lnTo>
                    <a:pt x="399" y="1401"/>
                  </a:lnTo>
                  <a:lnTo>
                    <a:pt x="420" y="1392"/>
                  </a:lnTo>
                  <a:lnTo>
                    <a:pt x="465" y="1386"/>
                  </a:lnTo>
                  <a:lnTo>
                    <a:pt x="468" y="1350"/>
                  </a:lnTo>
                  <a:lnTo>
                    <a:pt x="444" y="1335"/>
                  </a:lnTo>
                  <a:lnTo>
                    <a:pt x="468" y="1296"/>
                  </a:lnTo>
                  <a:lnTo>
                    <a:pt x="435" y="1299"/>
                  </a:lnTo>
                  <a:lnTo>
                    <a:pt x="393" y="1281"/>
                  </a:lnTo>
                  <a:lnTo>
                    <a:pt x="393" y="1233"/>
                  </a:lnTo>
                  <a:lnTo>
                    <a:pt x="390" y="1212"/>
                  </a:lnTo>
                  <a:lnTo>
                    <a:pt x="354" y="1215"/>
                  </a:lnTo>
                  <a:lnTo>
                    <a:pt x="309" y="1209"/>
                  </a:lnTo>
                  <a:lnTo>
                    <a:pt x="309" y="1230"/>
                  </a:lnTo>
                  <a:lnTo>
                    <a:pt x="279" y="1221"/>
                  </a:lnTo>
                  <a:lnTo>
                    <a:pt x="273" y="1182"/>
                  </a:lnTo>
                  <a:lnTo>
                    <a:pt x="288" y="1170"/>
                  </a:lnTo>
                  <a:lnTo>
                    <a:pt x="243" y="1095"/>
                  </a:lnTo>
                  <a:lnTo>
                    <a:pt x="282" y="1092"/>
                  </a:lnTo>
                  <a:lnTo>
                    <a:pt x="282" y="1074"/>
                  </a:lnTo>
                  <a:lnTo>
                    <a:pt x="309" y="1074"/>
                  </a:lnTo>
                  <a:lnTo>
                    <a:pt x="318" y="1107"/>
                  </a:lnTo>
                  <a:lnTo>
                    <a:pt x="339" y="1110"/>
                  </a:lnTo>
                  <a:lnTo>
                    <a:pt x="357" y="1092"/>
                  </a:lnTo>
                  <a:lnTo>
                    <a:pt x="357" y="1065"/>
                  </a:lnTo>
                  <a:lnTo>
                    <a:pt x="402" y="1050"/>
                  </a:lnTo>
                  <a:lnTo>
                    <a:pt x="441" y="1005"/>
                  </a:lnTo>
                  <a:lnTo>
                    <a:pt x="435" y="987"/>
                  </a:lnTo>
                  <a:lnTo>
                    <a:pt x="456" y="993"/>
                  </a:lnTo>
                  <a:lnTo>
                    <a:pt x="462" y="972"/>
                  </a:lnTo>
                  <a:lnTo>
                    <a:pt x="486" y="975"/>
                  </a:lnTo>
                  <a:lnTo>
                    <a:pt x="534" y="933"/>
                  </a:lnTo>
                  <a:lnTo>
                    <a:pt x="513" y="921"/>
                  </a:lnTo>
                  <a:lnTo>
                    <a:pt x="501" y="900"/>
                  </a:lnTo>
                  <a:lnTo>
                    <a:pt x="480" y="930"/>
                  </a:lnTo>
                  <a:lnTo>
                    <a:pt x="456" y="903"/>
                  </a:lnTo>
                  <a:lnTo>
                    <a:pt x="438" y="900"/>
                  </a:lnTo>
                  <a:lnTo>
                    <a:pt x="444" y="831"/>
                  </a:lnTo>
                  <a:lnTo>
                    <a:pt x="495" y="753"/>
                  </a:lnTo>
                  <a:lnTo>
                    <a:pt x="537" y="675"/>
                  </a:lnTo>
                  <a:lnTo>
                    <a:pt x="582" y="633"/>
                  </a:lnTo>
                  <a:lnTo>
                    <a:pt x="579" y="570"/>
                  </a:lnTo>
                  <a:lnTo>
                    <a:pt x="567" y="531"/>
                  </a:lnTo>
                  <a:lnTo>
                    <a:pt x="582" y="498"/>
                  </a:lnTo>
                  <a:lnTo>
                    <a:pt x="570" y="429"/>
                  </a:lnTo>
                  <a:lnTo>
                    <a:pt x="558" y="411"/>
                  </a:lnTo>
                  <a:lnTo>
                    <a:pt x="564" y="366"/>
                  </a:lnTo>
                  <a:lnTo>
                    <a:pt x="516" y="318"/>
                  </a:lnTo>
                  <a:lnTo>
                    <a:pt x="489" y="279"/>
                  </a:lnTo>
                  <a:lnTo>
                    <a:pt x="447" y="249"/>
                  </a:lnTo>
                  <a:lnTo>
                    <a:pt x="471" y="213"/>
                  </a:lnTo>
                  <a:lnTo>
                    <a:pt x="474" y="177"/>
                  </a:lnTo>
                  <a:lnTo>
                    <a:pt x="387" y="144"/>
                  </a:lnTo>
                  <a:lnTo>
                    <a:pt x="390" y="87"/>
                  </a:lnTo>
                  <a:close/>
                </a:path>
              </a:pathLst>
            </a:custGeom>
            <a:solidFill>
              <a:srgbClr val="00A1DE"/>
            </a:solidFill>
            <a:ln w="12700">
              <a:solidFill>
                <a:schemeClr val="bg1"/>
              </a:solidFill>
              <a:round/>
              <a:headEnd/>
              <a:tailEnd/>
            </a:ln>
          </p:spPr>
          <p:txBody>
            <a:bodyPr wrap="none" lIns="0" tIns="0" rIns="0" bIns="0" anchor="ctr">
              <a:spAutoFit/>
            </a:bodyPr>
            <a:lstStyle/>
            <a:p>
              <a:pPr defTabSz="685800">
                <a:buClrTx/>
                <a:defRPr/>
              </a:pPr>
              <a:endParaRPr lang="en-GB" sz="1350" kern="1200">
                <a:solidFill>
                  <a:prstClr val="black"/>
                </a:solidFill>
                <a:latin typeface="Arial" charset="0"/>
                <a:ea typeface="+mn-ea"/>
                <a:cs typeface="Arial" charset="0"/>
              </a:endParaRPr>
            </a:p>
          </p:txBody>
        </p:sp>
        <p:sp>
          <p:nvSpPr>
            <p:cNvPr id="142" name="Freeform 18"/>
            <p:cNvSpPr>
              <a:spLocks/>
            </p:cNvSpPr>
            <p:nvPr/>
          </p:nvSpPr>
          <p:spPr bwMode="auto">
            <a:xfrm>
              <a:off x="3553924" y="1904751"/>
              <a:ext cx="87" cy="276999"/>
            </a:xfrm>
            <a:custGeom>
              <a:avLst/>
              <a:gdLst>
                <a:gd name="T0" fmla="*/ 112 w 942"/>
                <a:gd name="T1" fmla="*/ 105 h 942"/>
                <a:gd name="T2" fmla="*/ 123 w 942"/>
                <a:gd name="T3" fmla="*/ 81 h 942"/>
                <a:gd name="T4" fmla="*/ 123 w 942"/>
                <a:gd name="T5" fmla="*/ 72 h 942"/>
                <a:gd name="T6" fmla="*/ 119 w 942"/>
                <a:gd name="T7" fmla="*/ 55 h 942"/>
                <a:gd name="T8" fmla="*/ 124 w 942"/>
                <a:gd name="T9" fmla="*/ 45 h 942"/>
                <a:gd name="T10" fmla="*/ 122 w 942"/>
                <a:gd name="T11" fmla="*/ 38 h 942"/>
                <a:gd name="T12" fmla="*/ 110 w 942"/>
                <a:gd name="T13" fmla="*/ 36 h 942"/>
                <a:gd name="T14" fmla="*/ 106 w 942"/>
                <a:gd name="T15" fmla="*/ 33 h 942"/>
                <a:gd name="T16" fmla="*/ 106 w 942"/>
                <a:gd name="T17" fmla="*/ 28 h 942"/>
                <a:gd name="T18" fmla="*/ 88 w 942"/>
                <a:gd name="T19" fmla="*/ 22 h 942"/>
                <a:gd name="T20" fmla="*/ 82 w 942"/>
                <a:gd name="T21" fmla="*/ 7 h 942"/>
                <a:gd name="T22" fmla="*/ 70 w 942"/>
                <a:gd name="T23" fmla="*/ 1 h 942"/>
                <a:gd name="T24" fmla="*/ 55 w 942"/>
                <a:gd name="T25" fmla="*/ 3 h 942"/>
                <a:gd name="T26" fmla="*/ 34 w 942"/>
                <a:gd name="T27" fmla="*/ 8 h 942"/>
                <a:gd name="T28" fmla="*/ 17 w 942"/>
                <a:gd name="T29" fmla="*/ 13 h 942"/>
                <a:gd name="T30" fmla="*/ 12 w 942"/>
                <a:gd name="T31" fmla="*/ 14 h 942"/>
                <a:gd name="T32" fmla="*/ 5 w 942"/>
                <a:gd name="T33" fmla="*/ 12 h 942"/>
                <a:gd name="T34" fmla="*/ 4 w 942"/>
                <a:gd name="T35" fmla="*/ 13 h 942"/>
                <a:gd name="T36" fmla="*/ 2 w 942"/>
                <a:gd name="T37" fmla="*/ 16 h 942"/>
                <a:gd name="T38" fmla="*/ 6 w 942"/>
                <a:gd name="T39" fmla="*/ 20 h 942"/>
                <a:gd name="T40" fmla="*/ 10 w 942"/>
                <a:gd name="T41" fmla="*/ 23 h 942"/>
                <a:gd name="T42" fmla="*/ 7 w 942"/>
                <a:gd name="T43" fmla="*/ 33 h 942"/>
                <a:gd name="T44" fmla="*/ 4 w 942"/>
                <a:gd name="T45" fmla="*/ 40 h 942"/>
                <a:gd name="T46" fmla="*/ 4 w 942"/>
                <a:gd name="T47" fmla="*/ 44 h 942"/>
                <a:gd name="T48" fmla="*/ 1 w 942"/>
                <a:gd name="T49" fmla="*/ 58 h 942"/>
                <a:gd name="T50" fmla="*/ 6 w 942"/>
                <a:gd name="T51" fmla="*/ 62 h 942"/>
                <a:gd name="T52" fmla="*/ 15 w 942"/>
                <a:gd name="T53" fmla="*/ 64 h 942"/>
                <a:gd name="T54" fmla="*/ 22 w 942"/>
                <a:gd name="T55" fmla="*/ 64 h 942"/>
                <a:gd name="T56" fmla="*/ 25 w 942"/>
                <a:gd name="T57" fmla="*/ 53 h 942"/>
                <a:gd name="T58" fmla="*/ 33 w 942"/>
                <a:gd name="T59" fmla="*/ 46 h 942"/>
                <a:gd name="T60" fmla="*/ 41 w 942"/>
                <a:gd name="T61" fmla="*/ 48 h 942"/>
                <a:gd name="T62" fmla="*/ 47 w 942"/>
                <a:gd name="T63" fmla="*/ 52 h 942"/>
                <a:gd name="T64" fmla="*/ 54 w 942"/>
                <a:gd name="T65" fmla="*/ 57 h 942"/>
                <a:gd name="T66" fmla="*/ 55 w 942"/>
                <a:gd name="T67" fmla="*/ 61 h 942"/>
                <a:gd name="T68" fmla="*/ 66 w 942"/>
                <a:gd name="T69" fmla="*/ 62 h 942"/>
                <a:gd name="T70" fmla="*/ 71 w 942"/>
                <a:gd name="T71" fmla="*/ 61 h 942"/>
                <a:gd name="T72" fmla="*/ 96 w 942"/>
                <a:gd name="T73" fmla="*/ 84 h 942"/>
                <a:gd name="T74" fmla="*/ 104 w 942"/>
                <a:gd name="T75" fmla="*/ 92 h 942"/>
                <a:gd name="T76" fmla="*/ 106 w 942"/>
                <a:gd name="T77" fmla="*/ 95 h 942"/>
                <a:gd name="T78" fmla="*/ 104 w 942"/>
                <a:gd name="T79" fmla="*/ 100 h 942"/>
                <a:gd name="T80" fmla="*/ 109 w 942"/>
                <a:gd name="T81" fmla="*/ 102 h 942"/>
                <a:gd name="T82" fmla="*/ 111 w 942"/>
                <a:gd name="T83" fmla="*/ 108 h 94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42"/>
                <a:gd name="T127" fmla="*/ 0 h 942"/>
                <a:gd name="T128" fmla="*/ 942 w 942"/>
                <a:gd name="T129" fmla="*/ 942 h 94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42" h="942">
                  <a:moveTo>
                    <a:pt x="838" y="942"/>
                  </a:moveTo>
                  <a:lnTo>
                    <a:pt x="848" y="908"/>
                  </a:lnTo>
                  <a:lnTo>
                    <a:pt x="926" y="746"/>
                  </a:lnTo>
                  <a:lnTo>
                    <a:pt x="932" y="704"/>
                  </a:lnTo>
                  <a:lnTo>
                    <a:pt x="938" y="630"/>
                  </a:lnTo>
                  <a:lnTo>
                    <a:pt x="928" y="622"/>
                  </a:lnTo>
                  <a:lnTo>
                    <a:pt x="930" y="504"/>
                  </a:lnTo>
                  <a:lnTo>
                    <a:pt x="902" y="474"/>
                  </a:lnTo>
                  <a:lnTo>
                    <a:pt x="930" y="408"/>
                  </a:lnTo>
                  <a:lnTo>
                    <a:pt x="942" y="388"/>
                  </a:lnTo>
                  <a:lnTo>
                    <a:pt x="928" y="350"/>
                  </a:lnTo>
                  <a:lnTo>
                    <a:pt x="922" y="332"/>
                  </a:lnTo>
                  <a:lnTo>
                    <a:pt x="876" y="316"/>
                  </a:lnTo>
                  <a:lnTo>
                    <a:pt x="836" y="312"/>
                  </a:lnTo>
                  <a:lnTo>
                    <a:pt x="816" y="290"/>
                  </a:lnTo>
                  <a:lnTo>
                    <a:pt x="802" y="282"/>
                  </a:lnTo>
                  <a:lnTo>
                    <a:pt x="820" y="258"/>
                  </a:lnTo>
                  <a:lnTo>
                    <a:pt x="800" y="242"/>
                  </a:lnTo>
                  <a:lnTo>
                    <a:pt x="714" y="204"/>
                  </a:lnTo>
                  <a:lnTo>
                    <a:pt x="666" y="188"/>
                  </a:lnTo>
                  <a:lnTo>
                    <a:pt x="642" y="142"/>
                  </a:lnTo>
                  <a:lnTo>
                    <a:pt x="618" y="62"/>
                  </a:lnTo>
                  <a:lnTo>
                    <a:pt x="594" y="28"/>
                  </a:lnTo>
                  <a:lnTo>
                    <a:pt x="530" y="12"/>
                  </a:lnTo>
                  <a:lnTo>
                    <a:pt x="482" y="0"/>
                  </a:lnTo>
                  <a:lnTo>
                    <a:pt x="422" y="24"/>
                  </a:lnTo>
                  <a:lnTo>
                    <a:pt x="336" y="50"/>
                  </a:lnTo>
                  <a:lnTo>
                    <a:pt x="262" y="66"/>
                  </a:lnTo>
                  <a:lnTo>
                    <a:pt x="192" y="84"/>
                  </a:lnTo>
                  <a:lnTo>
                    <a:pt x="128" y="112"/>
                  </a:lnTo>
                  <a:lnTo>
                    <a:pt x="116" y="126"/>
                  </a:lnTo>
                  <a:lnTo>
                    <a:pt x="92" y="122"/>
                  </a:lnTo>
                  <a:lnTo>
                    <a:pt x="92" y="96"/>
                  </a:lnTo>
                  <a:lnTo>
                    <a:pt x="42" y="102"/>
                  </a:lnTo>
                  <a:lnTo>
                    <a:pt x="32" y="92"/>
                  </a:lnTo>
                  <a:lnTo>
                    <a:pt x="32" y="118"/>
                  </a:lnTo>
                  <a:lnTo>
                    <a:pt x="42" y="140"/>
                  </a:lnTo>
                  <a:lnTo>
                    <a:pt x="16" y="136"/>
                  </a:lnTo>
                  <a:lnTo>
                    <a:pt x="14" y="150"/>
                  </a:lnTo>
                  <a:lnTo>
                    <a:pt x="46" y="176"/>
                  </a:lnTo>
                  <a:lnTo>
                    <a:pt x="92" y="180"/>
                  </a:lnTo>
                  <a:lnTo>
                    <a:pt x="80" y="200"/>
                  </a:lnTo>
                  <a:lnTo>
                    <a:pt x="102" y="242"/>
                  </a:lnTo>
                  <a:lnTo>
                    <a:pt x="54" y="288"/>
                  </a:lnTo>
                  <a:lnTo>
                    <a:pt x="44" y="326"/>
                  </a:lnTo>
                  <a:lnTo>
                    <a:pt x="30" y="344"/>
                  </a:lnTo>
                  <a:lnTo>
                    <a:pt x="42" y="378"/>
                  </a:lnTo>
                  <a:lnTo>
                    <a:pt x="28" y="386"/>
                  </a:lnTo>
                  <a:lnTo>
                    <a:pt x="0" y="442"/>
                  </a:lnTo>
                  <a:lnTo>
                    <a:pt x="2" y="502"/>
                  </a:lnTo>
                  <a:lnTo>
                    <a:pt x="6" y="530"/>
                  </a:lnTo>
                  <a:lnTo>
                    <a:pt x="48" y="540"/>
                  </a:lnTo>
                  <a:lnTo>
                    <a:pt x="90" y="542"/>
                  </a:lnTo>
                  <a:lnTo>
                    <a:pt x="116" y="554"/>
                  </a:lnTo>
                  <a:lnTo>
                    <a:pt x="156" y="560"/>
                  </a:lnTo>
                  <a:lnTo>
                    <a:pt x="166" y="554"/>
                  </a:lnTo>
                  <a:lnTo>
                    <a:pt x="168" y="510"/>
                  </a:lnTo>
                  <a:lnTo>
                    <a:pt x="188" y="460"/>
                  </a:lnTo>
                  <a:lnTo>
                    <a:pt x="214" y="424"/>
                  </a:lnTo>
                  <a:lnTo>
                    <a:pt x="252" y="398"/>
                  </a:lnTo>
                  <a:lnTo>
                    <a:pt x="302" y="404"/>
                  </a:lnTo>
                  <a:lnTo>
                    <a:pt x="308" y="416"/>
                  </a:lnTo>
                  <a:lnTo>
                    <a:pt x="342" y="416"/>
                  </a:lnTo>
                  <a:lnTo>
                    <a:pt x="356" y="452"/>
                  </a:lnTo>
                  <a:lnTo>
                    <a:pt x="390" y="480"/>
                  </a:lnTo>
                  <a:lnTo>
                    <a:pt x="408" y="488"/>
                  </a:lnTo>
                  <a:lnTo>
                    <a:pt x="416" y="508"/>
                  </a:lnTo>
                  <a:lnTo>
                    <a:pt x="420" y="526"/>
                  </a:lnTo>
                  <a:lnTo>
                    <a:pt x="474" y="528"/>
                  </a:lnTo>
                  <a:lnTo>
                    <a:pt x="502" y="538"/>
                  </a:lnTo>
                  <a:lnTo>
                    <a:pt x="510" y="522"/>
                  </a:lnTo>
                  <a:lnTo>
                    <a:pt x="532" y="526"/>
                  </a:lnTo>
                  <a:lnTo>
                    <a:pt x="718" y="712"/>
                  </a:lnTo>
                  <a:lnTo>
                    <a:pt x="724" y="728"/>
                  </a:lnTo>
                  <a:lnTo>
                    <a:pt x="756" y="762"/>
                  </a:lnTo>
                  <a:lnTo>
                    <a:pt x="786" y="792"/>
                  </a:lnTo>
                  <a:lnTo>
                    <a:pt x="790" y="810"/>
                  </a:lnTo>
                  <a:lnTo>
                    <a:pt x="802" y="824"/>
                  </a:lnTo>
                  <a:lnTo>
                    <a:pt x="802" y="854"/>
                  </a:lnTo>
                  <a:lnTo>
                    <a:pt x="790" y="862"/>
                  </a:lnTo>
                  <a:lnTo>
                    <a:pt x="796" y="880"/>
                  </a:lnTo>
                  <a:lnTo>
                    <a:pt x="822" y="886"/>
                  </a:lnTo>
                  <a:lnTo>
                    <a:pt x="836" y="898"/>
                  </a:lnTo>
                  <a:lnTo>
                    <a:pt x="838" y="942"/>
                  </a:lnTo>
                  <a:close/>
                </a:path>
              </a:pathLst>
            </a:custGeom>
            <a:solidFill>
              <a:srgbClr val="00A1DE"/>
            </a:solidFill>
            <a:ln w="12700">
              <a:solidFill>
                <a:schemeClr val="bg1"/>
              </a:solidFill>
              <a:round/>
              <a:headEnd/>
              <a:tailEnd/>
            </a:ln>
          </p:spPr>
          <p:txBody>
            <a:bodyPr wrap="none" lIns="0" tIns="0" rIns="0" bIns="0" anchor="ctr">
              <a:spAutoFit/>
            </a:bodyPr>
            <a:lstStyle/>
            <a:p>
              <a:pPr defTabSz="685800">
                <a:buClrTx/>
                <a:defRPr/>
              </a:pPr>
              <a:endParaRPr lang="en-GB" sz="1350" kern="1200">
                <a:solidFill>
                  <a:prstClr val="black"/>
                </a:solidFill>
                <a:latin typeface="Arial" charset="0"/>
                <a:ea typeface="+mn-ea"/>
                <a:cs typeface="Arial" charset="0"/>
              </a:endParaRPr>
            </a:p>
          </p:txBody>
        </p:sp>
        <p:sp>
          <p:nvSpPr>
            <p:cNvPr id="143" name="Freeform 19"/>
            <p:cNvSpPr>
              <a:spLocks/>
            </p:cNvSpPr>
            <p:nvPr/>
          </p:nvSpPr>
          <p:spPr bwMode="auto">
            <a:xfrm>
              <a:off x="1462484" y="3453729"/>
              <a:ext cx="844971" cy="690771"/>
            </a:xfrm>
            <a:custGeom>
              <a:avLst/>
              <a:gdLst>
                <a:gd name="T0" fmla="*/ 4 w 771"/>
                <a:gd name="T1" fmla="*/ 61 h 635"/>
                <a:gd name="T2" fmla="*/ 8 w 771"/>
                <a:gd name="T3" fmla="*/ 64 h 635"/>
                <a:gd name="T4" fmla="*/ 25 w 771"/>
                <a:gd name="T5" fmla="*/ 73 h 635"/>
                <a:gd name="T6" fmla="*/ 32 w 771"/>
                <a:gd name="T7" fmla="*/ 71 h 635"/>
                <a:gd name="T8" fmla="*/ 41 w 771"/>
                <a:gd name="T9" fmla="*/ 68 h 635"/>
                <a:gd name="T10" fmla="*/ 48 w 771"/>
                <a:gd name="T11" fmla="*/ 66 h 635"/>
                <a:gd name="T12" fmla="*/ 56 w 771"/>
                <a:gd name="T13" fmla="*/ 65 h 635"/>
                <a:gd name="T14" fmla="*/ 61 w 771"/>
                <a:gd name="T15" fmla="*/ 67 h 635"/>
                <a:gd name="T16" fmla="*/ 83 w 771"/>
                <a:gd name="T17" fmla="*/ 65 h 635"/>
                <a:gd name="T18" fmla="*/ 89 w 771"/>
                <a:gd name="T19" fmla="*/ 64 h 635"/>
                <a:gd name="T20" fmla="*/ 91 w 771"/>
                <a:gd name="T21" fmla="*/ 59 h 635"/>
                <a:gd name="T22" fmla="*/ 89 w 771"/>
                <a:gd name="T23" fmla="*/ 55 h 635"/>
                <a:gd name="T24" fmla="*/ 92 w 771"/>
                <a:gd name="T25" fmla="*/ 53 h 635"/>
                <a:gd name="T26" fmla="*/ 94 w 771"/>
                <a:gd name="T27" fmla="*/ 45 h 635"/>
                <a:gd name="T28" fmla="*/ 94 w 771"/>
                <a:gd name="T29" fmla="*/ 44 h 635"/>
                <a:gd name="T30" fmla="*/ 100 w 771"/>
                <a:gd name="T31" fmla="*/ 40 h 635"/>
                <a:gd name="T32" fmla="*/ 96 w 771"/>
                <a:gd name="T33" fmla="*/ 38 h 635"/>
                <a:gd name="T34" fmla="*/ 90 w 771"/>
                <a:gd name="T35" fmla="*/ 40 h 635"/>
                <a:gd name="T36" fmla="*/ 83 w 771"/>
                <a:gd name="T37" fmla="*/ 37 h 635"/>
                <a:gd name="T38" fmla="*/ 86 w 771"/>
                <a:gd name="T39" fmla="*/ 35 h 635"/>
                <a:gd name="T40" fmla="*/ 87 w 771"/>
                <a:gd name="T41" fmla="*/ 30 h 635"/>
                <a:gd name="T42" fmla="*/ 93 w 771"/>
                <a:gd name="T43" fmla="*/ 31 h 635"/>
                <a:gd name="T44" fmla="*/ 91 w 771"/>
                <a:gd name="T45" fmla="*/ 28 h 635"/>
                <a:gd name="T46" fmla="*/ 87 w 771"/>
                <a:gd name="T47" fmla="*/ 22 h 635"/>
                <a:gd name="T48" fmla="*/ 85 w 771"/>
                <a:gd name="T49" fmla="*/ 17 h 635"/>
                <a:gd name="T50" fmla="*/ 74 w 771"/>
                <a:gd name="T51" fmla="*/ 16 h 635"/>
                <a:gd name="T52" fmla="*/ 64 w 771"/>
                <a:gd name="T53" fmla="*/ 19 h 635"/>
                <a:gd name="T54" fmla="*/ 55 w 771"/>
                <a:gd name="T55" fmla="*/ 17 h 635"/>
                <a:gd name="T56" fmla="*/ 61 w 771"/>
                <a:gd name="T57" fmla="*/ 1 h 635"/>
                <a:gd name="T58" fmla="*/ 48 w 771"/>
                <a:gd name="T59" fmla="*/ 0 h 635"/>
                <a:gd name="T60" fmla="*/ 42 w 771"/>
                <a:gd name="T61" fmla="*/ 10 h 635"/>
                <a:gd name="T62" fmla="*/ 35 w 771"/>
                <a:gd name="T63" fmla="*/ 20 h 635"/>
                <a:gd name="T64" fmla="*/ 26 w 771"/>
                <a:gd name="T65" fmla="*/ 31 h 635"/>
                <a:gd name="T66" fmla="*/ 20 w 771"/>
                <a:gd name="T67" fmla="*/ 40 h 635"/>
                <a:gd name="T68" fmla="*/ 13 w 771"/>
                <a:gd name="T69" fmla="*/ 45 h 635"/>
                <a:gd name="T70" fmla="*/ 8 w 771"/>
                <a:gd name="T71" fmla="*/ 51 h 635"/>
                <a:gd name="T72" fmla="*/ 0 w 771"/>
                <a:gd name="T73" fmla="*/ 57 h 63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71"/>
                <a:gd name="T112" fmla="*/ 0 h 635"/>
                <a:gd name="T113" fmla="*/ 771 w 771"/>
                <a:gd name="T114" fmla="*/ 635 h 63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71" h="635">
                  <a:moveTo>
                    <a:pt x="0" y="492"/>
                  </a:moveTo>
                  <a:lnTo>
                    <a:pt x="27" y="528"/>
                  </a:lnTo>
                  <a:lnTo>
                    <a:pt x="61" y="530"/>
                  </a:lnTo>
                  <a:lnTo>
                    <a:pt x="60" y="552"/>
                  </a:lnTo>
                  <a:lnTo>
                    <a:pt x="130" y="606"/>
                  </a:lnTo>
                  <a:lnTo>
                    <a:pt x="195" y="632"/>
                  </a:lnTo>
                  <a:lnTo>
                    <a:pt x="231" y="635"/>
                  </a:lnTo>
                  <a:lnTo>
                    <a:pt x="249" y="620"/>
                  </a:lnTo>
                  <a:lnTo>
                    <a:pt x="274" y="612"/>
                  </a:lnTo>
                  <a:lnTo>
                    <a:pt x="318" y="588"/>
                  </a:lnTo>
                  <a:lnTo>
                    <a:pt x="360" y="588"/>
                  </a:lnTo>
                  <a:lnTo>
                    <a:pt x="372" y="575"/>
                  </a:lnTo>
                  <a:lnTo>
                    <a:pt x="409" y="573"/>
                  </a:lnTo>
                  <a:lnTo>
                    <a:pt x="433" y="564"/>
                  </a:lnTo>
                  <a:lnTo>
                    <a:pt x="457" y="570"/>
                  </a:lnTo>
                  <a:lnTo>
                    <a:pt x="466" y="581"/>
                  </a:lnTo>
                  <a:lnTo>
                    <a:pt x="636" y="579"/>
                  </a:lnTo>
                  <a:lnTo>
                    <a:pt x="642" y="566"/>
                  </a:lnTo>
                  <a:lnTo>
                    <a:pt x="700" y="569"/>
                  </a:lnTo>
                  <a:lnTo>
                    <a:pt x="688" y="557"/>
                  </a:lnTo>
                  <a:lnTo>
                    <a:pt x="693" y="545"/>
                  </a:lnTo>
                  <a:lnTo>
                    <a:pt x="697" y="515"/>
                  </a:lnTo>
                  <a:lnTo>
                    <a:pt x="664" y="489"/>
                  </a:lnTo>
                  <a:lnTo>
                    <a:pt x="681" y="477"/>
                  </a:lnTo>
                  <a:lnTo>
                    <a:pt x="694" y="465"/>
                  </a:lnTo>
                  <a:lnTo>
                    <a:pt x="711" y="459"/>
                  </a:lnTo>
                  <a:lnTo>
                    <a:pt x="720" y="434"/>
                  </a:lnTo>
                  <a:lnTo>
                    <a:pt x="718" y="395"/>
                  </a:lnTo>
                  <a:lnTo>
                    <a:pt x="706" y="375"/>
                  </a:lnTo>
                  <a:lnTo>
                    <a:pt x="727" y="378"/>
                  </a:lnTo>
                  <a:lnTo>
                    <a:pt x="736" y="359"/>
                  </a:lnTo>
                  <a:lnTo>
                    <a:pt x="765" y="351"/>
                  </a:lnTo>
                  <a:lnTo>
                    <a:pt x="771" y="336"/>
                  </a:lnTo>
                  <a:lnTo>
                    <a:pt x="741" y="333"/>
                  </a:lnTo>
                  <a:lnTo>
                    <a:pt x="727" y="345"/>
                  </a:lnTo>
                  <a:lnTo>
                    <a:pt x="694" y="344"/>
                  </a:lnTo>
                  <a:lnTo>
                    <a:pt x="669" y="315"/>
                  </a:lnTo>
                  <a:lnTo>
                    <a:pt x="643" y="318"/>
                  </a:lnTo>
                  <a:lnTo>
                    <a:pt x="645" y="306"/>
                  </a:lnTo>
                  <a:lnTo>
                    <a:pt x="660" y="302"/>
                  </a:lnTo>
                  <a:lnTo>
                    <a:pt x="661" y="270"/>
                  </a:lnTo>
                  <a:lnTo>
                    <a:pt x="670" y="260"/>
                  </a:lnTo>
                  <a:lnTo>
                    <a:pt x="685" y="275"/>
                  </a:lnTo>
                  <a:lnTo>
                    <a:pt x="714" y="273"/>
                  </a:lnTo>
                  <a:lnTo>
                    <a:pt x="712" y="252"/>
                  </a:lnTo>
                  <a:lnTo>
                    <a:pt x="700" y="242"/>
                  </a:lnTo>
                  <a:lnTo>
                    <a:pt x="697" y="213"/>
                  </a:lnTo>
                  <a:lnTo>
                    <a:pt x="669" y="185"/>
                  </a:lnTo>
                  <a:lnTo>
                    <a:pt x="663" y="140"/>
                  </a:lnTo>
                  <a:lnTo>
                    <a:pt x="648" y="152"/>
                  </a:lnTo>
                  <a:lnTo>
                    <a:pt x="598" y="170"/>
                  </a:lnTo>
                  <a:lnTo>
                    <a:pt x="573" y="137"/>
                  </a:lnTo>
                  <a:lnTo>
                    <a:pt x="525" y="138"/>
                  </a:lnTo>
                  <a:lnTo>
                    <a:pt x="493" y="161"/>
                  </a:lnTo>
                  <a:lnTo>
                    <a:pt x="460" y="150"/>
                  </a:lnTo>
                  <a:lnTo>
                    <a:pt x="424" y="146"/>
                  </a:lnTo>
                  <a:lnTo>
                    <a:pt x="465" y="36"/>
                  </a:lnTo>
                  <a:lnTo>
                    <a:pt x="468" y="2"/>
                  </a:lnTo>
                  <a:lnTo>
                    <a:pt x="433" y="5"/>
                  </a:lnTo>
                  <a:lnTo>
                    <a:pt x="369" y="0"/>
                  </a:lnTo>
                  <a:lnTo>
                    <a:pt x="345" y="45"/>
                  </a:lnTo>
                  <a:lnTo>
                    <a:pt x="325" y="84"/>
                  </a:lnTo>
                  <a:lnTo>
                    <a:pt x="297" y="128"/>
                  </a:lnTo>
                  <a:lnTo>
                    <a:pt x="273" y="176"/>
                  </a:lnTo>
                  <a:lnTo>
                    <a:pt x="243" y="213"/>
                  </a:lnTo>
                  <a:lnTo>
                    <a:pt x="204" y="275"/>
                  </a:lnTo>
                  <a:lnTo>
                    <a:pt x="159" y="317"/>
                  </a:lnTo>
                  <a:lnTo>
                    <a:pt x="151" y="341"/>
                  </a:lnTo>
                  <a:lnTo>
                    <a:pt x="124" y="360"/>
                  </a:lnTo>
                  <a:lnTo>
                    <a:pt x="102" y="390"/>
                  </a:lnTo>
                  <a:lnTo>
                    <a:pt x="67" y="423"/>
                  </a:lnTo>
                  <a:lnTo>
                    <a:pt x="58" y="444"/>
                  </a:lnTo>
                  <a:lnTo>
                    <a:pt x="21" y="477"/>
                  </a:lnTo>
                  <a:lnTo>
                    <a:pt x="0" y="492"/>
                  </a:lnTo>
                  <a:close/>
                </a:path>
              </a:pathLst>
            </a:custGeom>
            <a:solidFill>
              <a:srgbClr val="00A1DE"/>
            </a:solidFill>
            <a:ln w="12700">
              <a:solidFill>
                <a:schemeClr val="bg1"/>
              </a:solidFill>
              <a:round/>
              <a:headEnd type="none" w="sm" len="sm"/>
              <a:tailEnd type="none" w="sm" len="sm"/>
            </a:ln>
          </p:spPr>
          <p:txBody>
            <a:bodyPr wrap="none" anchor="ctr"/>
            <a:lstStyle/>
            <a:p>
              <a:pPr defTabSz="685800">
                <a:buClrTx/>
                <a:defRPr/>
              </a:pPr>
              <a:endParaRPr lang="en-GB" sz="1350" kern="1200">
                <a:solidFill>
                  <a:prstClr val="black"/>
                </a:solidFill>
                <a:latin typeface="Arial" charset="0"/>
                <a:ea typeface="+mn-ea"/>
                <a:cs typeface="Arial" charset="0"/>
              </a:endParaRPr>
            </a:p>
          </p:txBody>
        </p:sp>
        <p:sp>
          <p:nvSpPr>
            <p:cNvPr id="144" name="Freeform 20"/>
            <p:cNvSpPr>
              <a:spLocks/>
            </p:cNvSpPr>
            <p:nvPr/>
          </p:nvSpPr>
          <p:spPr bwMode="auto">
            <a:xfrm>
              <a:off x="2165105" y="3494802"/>
              <a:ext cx="844971" cy="586222"/>
            </a:xfrm>
            <a:custGeom>
              <a:avLst/>
              <a:gdLst>
                <a:gd name="T0" fmla="*/ 64 w 768"/>
                <a:gd name="T1" fmla="*/ 5 h 540"/>
                <a:gd name="T2" fmla="*/ 74 w 768"/>
                <a:gd name="T3" fmla="*/ 9 h 540"/>
                <a:gd name="T4" fmla="*/ 78 w 768"/>
                <a:gd name="T5" fmla="*/ 20 h 540"/>
                <a:gd name="T6" fmla="*/ 82 w 768"/>
                <a:gd name="T7" fmla="*/ 24 h 540"/>
                <a:gd name="T8" fmla="*/ 85 w 768"/>
                <a:gd name="T9" fmla="*/ 24 h 540"/>
                <a:gd name="T10" fmla="*/ 84 w 768"/>
                <a:gd name="T11" fmla="*/ 31 h 540"/>
                <a:gd name="T12" fmla="*/ 86 w 768"/>
                <a:gd name="T13" fmla="*/ 40 h 540"/>
                <a:gd name="T14" fmla="*/ 92 w 768"/>
                <a:gd name="T15" fmla="*/ 36 h 540"/>
                <a:gd name="T16" fmla="*/ 94 w 768"/>
                <a:gd name="T17" fmla="*/ 45 h 540"/>
                <a:gd name="T18" fmla="*/ 101 w 768"/>
                <a:gd name="T19" fmla="*/ 53 h 540"/>
                <a:gd name="T20" fmla="*/ 94 w 768"/>
                <a:gd name="T21" fmla="*/ 56 h 540"/>
                <a:gd name="T22" fmla="*/ 82 w 768"/>
                <a:gd name="T23" fmla="*/ 53 h 540"/>
                <a:gd name="T24" fmla="*/ 75 w 768"/>
                <a:gd name="T25" fmla="*/ 56 h 540"/>
                <a:gd name="T26" fmla="*/ 66 w 768"/>
                <a:gd name="T27" fmla="*/ 58 h 540"/>
                <a:gd name="T28" fmla="*/ 59 w 768"/>
                <a:gd name="T29" fmla="*/ 56 h 540"/>
                <a:gd name="T30" fmla="*/ 55 w 768"/>
                <a:gd name="T31" fmla="*/ 53 h 540"/>
                <a:gd name="T32" fmla="*/ 46 w 768"/>
                <a:gd name="T33" fmla="*/ 56 h 540"/>
                <a:gd name="T34" fmla="*/ 37 w 768"/>
                <a:gd name="T35" fmla="*/ 51 h 540"/>
                <a:gd name="T36" fmla="*/ 28 w 768"/>
                <a:gd name="T37" fmla="*/ 55 h 540"/>
                <a:gd name="T38" fmla="*/ 17 w 768"/>
                <a:gd name="T39" fmla="*/ 57 h 540"/>
                <a:gd name="T40" fmla="*/ 10 w 768"/>
                <a:gd name="T41" fmla="*/ 60 h 540"/>
                <a:gd name="T42" fmla="*/ 7 w 768"/>
                <a:gd name="T43" fmla="*/ 61 h 540"/>
                <a:gd name="T44" fmla="*/ 7 w 768"/>
                <a:gd name="T45" fmla="*/ 54 h 540"/>
                <a:gd name="T46" fmla="*/ 5 w 768"/>
                <a:gd name="T47" fmla="*/ 49 h 540"/>
                <a:gd name="T48" fmla="*/ 9 w 768"/>
                <a:gd name="T49" fmla="*/ 48 h 540"/>
                <a:gd name="T50" fmla="*/ 10 w 768"/>
                <a:gd name="T51" fmla="*/ 42 h 540"/>
                <a:gd name="T52" fmla="*/ 11 w 768"/>
                <a:gd name="T53" fmla="*/ 39 h 540"/>
                <a:gd name="T54" fmla="*/ 16 w 768"/>
                <a:gd name="T55" fmla="*/ 35 h 540"/>
                <a:gd name="T56" fmla="*/ 13 w 768"/>
                <a:gd name="T57" fmla="*/ 34 h 540"/>
                <a:gd name="T58" fmla="*/ 6 w 768"/>
                <a:gd name="T59" fmla="*/ 35 h 540"/>
                <a:gd name="T60" fmla="*/ 0 w 768"/>
                <a:gd name="T61" fmla="*/ 32 h 540"/>
                <a:gd name="T62" fmla="*/ 2 w 768"/>
                <a:gd name="T63" fmla="*/ 30 h 540"/>
                <a:gd name="T64" fmla="*/ 3 w 768"/>
                <a:gd name="T65" fmla="*/ 26 h 540"/>
                <a:gd name="T66" fmla="*/ 9 w 768"/>
                <a:gd name="T67" fmla="*/ 27 h 540"/>
                <a:gd name="T68" fmla="*/ 8 w 768"/>
                <a:gd name="T69" fmla="*/ 24 h 540"/>
                <a:gd name="T70" fmla="*/ 3 w 768"/>
                <a:gd name="T71" fmla="*/ 16 h 540"/>
                <a:gd name="T72" fmla="*/ 8 w 768"/>
                <a:gd name="T73" fmla="*/ 9 h 540"/>
                <a:gd name="T74" fmla="*/ 16 w 768"/>
                <a:gd name="T75" fmla="*/ 3 h 540"/>
                <a:gd name="T76" fmla="*/ 26 w 768"/>
                <a:gd name="T77" fmla="*/ 1 h 540"/>
                <a:gd name="T78" fmla="*/ 33 w 768"/>
                <a:gd name="T79" fmla="*/ 13 h 540"/>
                <a:gd name="T80" fmla="*/ 43 w 768"/>
                <a:gd name="T81" fmla="*/ 14 h 540"/>
                <a:gd name="T82" fmla="*/ 43 w 768"/>
                <a:gd name="T83" fmla="*/ 20 h 540"/>
                <a:gd name="T84" fmla="*/ 48 w 768"/>
                <a:gd name="T85" fmla="*/ 20 h 540"/>
                <a:gd name="T86" fmla="*/ 59 w 768"/>
                <a:gd name="T87" fmla="*/ 0 h 54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68"/>
                <a:gd name="T133" fmla="*/ 0 h 540"/>
                <a:gd name="T134" fmla="*/ 768 w 768"/>
                <a:gd name="T135" fmla="*/ 540 h 54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68" h="540">
                  <a:moveTo>
                    <a:pt x="447" y="0"/>
                  </a:moveTo>
                  <a:lnTo>
                    <a:pt x="483" y="38"/>
                  </a:lnTo>
                  <a:lnTo>
                    <a:pt x="525" y="48"/>
                  </a:lnTo>
                  <a:lnTo>
                    <a:pt x="556" y="74"/>
                  </a:lnTo>
                  <a:lnTo>
                    <a:pt x="556" y="132"/>
                  </a:lnTo>
                  <a:lnTo>
                    <a:pt x="595" y="173"/>
                  </a:lnTo>
                  <a:lnTo>
                    <a:pt x="594" y="198"/>
                  </a:lnTo>
                  <a:lnTo>
                    <a:pt x="619" y="206"/>
                  </a:lnTo>
                  <a:lnTo>
                    <a:pt x="634" y="216"/>
                  </a:lnTo>
                  <a:lnTo>
                    <a:pt x="643" y="209"/>
                  </a:lnTo>
                  <a:lnTo>
                    <a:pt x="649" y="248"/>
                  </a:lnTo>
                  <a:lnTo>
                    <a:pt x="639" y="276"/>
                  </a:lnTo>
                  <a:lnTo>
                    <a:pt x="628" y="320"/>
                  </a:lnTo>
                  <a:lnTo>
                    <a:pt x="648" y="351"/>
                  </a:lnTo>
                  <a:lnTo>
                    <a:pt x="685" y="341"/>
                  </a:lnTo>
                  <a:lnTo>
                    <a:pt x="700" y="315"/>
                  </a:lnTo>
                  <a:lnTo>
                    <a:pt x="715" y="321"/>
                  </a:lnTo>
                  <a:lnTo>
                    <a:pt x="714" y="398"/>
                  </a:lnTo>
                  <a:lnTo>
                    <a:pt x="753" y="461"/>
                  </a:lnTo>
                  <a:lnTo>
                    <a:pt x="768" y="470"/>
                  </a:lnTo>
                  <a:lnTo>
                    <a:pt x="768" y="519"/>
                  </a:lnTo>
                  <a:lnTo>
                    <a:pt x="711" y="494"/>
                  </a:lnTo>
                  <a:lnTo>
                    <a:pt x="669" y="477"/>
                  </a:lnTo>
                  <a:lnTo>
                    <a:pt x="622" y="468"/>
                  </a:lnTo>
                  <a:lnTo>
                    <a:pt x="612" y="459"/>
                  </a:lnTo>
                  <a:lnTo>
                    <a:pt x="570" y="489"/>
                  </a:lnTo>
                  <a:lnTo>
                    <a:pt x="541" y="483"/>
                  </a:lnTo>
                  <a:lnTo>
                    <a:pt x="498" y="506"/>
                  </a:lnTo>
                  <a:lnTo>
                    <a:pt x="462" y="497"/>
                  </a:lnTo>
                  <a:lnTo>
                    <a:pt x="447" y="491"/>
                  </a:lnTo>
                  <a:lnTo>
                    <a:pt x="433" y="491"/>
                  </a:lnTo>
                  <a:lnTo>
                    <a:pt x="415" y="471"/>
                  </a:lnTo>
                  <a:lnTo>
                    <a:pt x="381" y="497"/>
                  </a:lnTo>
                  <a:lnTo>
                    <a:pt x="348" y="494"/>
                  </a:lnTo>
                  <a:lnTo>
                    <a:pt x="315" y="453"/>
                  </a:lnTo>
                  <a:lnTo>
                    <a:pt x="277" y="441"/>
                  </a:lnTo>
                  <a:lnTo>
                    <a:pt x="243" y="461"/>
                  </a:lnTo>
                  <a:lnTo>
                    <a:pt x="210" y="482"/>
                  </a:lnTo>
                  <a:lnTo>
                    <a:pt x="190" y="480"/>
                  </a:lnTo>
                  <a:lnTo>
                    <a:pt x="127" y="498"/>
                  </a:lnTo>
                  <a:lnTo>
                    <a:pt x="117" y="521"/>
                  </a:lnTo>
                  <a:lnTo>
                    <a:pt x="76" y="522"/>
                  </a:lnTo>
                  <a:lnTo>
                    <a:pt x="73" y="540"/>
                  </a:lnTo>
                  <a:lnTo>
                    <a:pt x="55" y="531"/>
                  </a:lnTo>
                  <a:lnTo>
                    <a:pt x="45" y="519"/>
                  </a:lnTo>
                  <a:lnTo>
                    <a:pt x="51" y="474"/>
                  </a:lnTo>
                  <a:lnTo>
                    <a:pt x="21" y="450"/>
                  </a:lnTo>
                  <a:lnTo>
                    <a:pt x="42" y="434"/>
                  </a:lnTo>
                  <a:lnTo>
                    <a:pt x="52" y="426"/>
                  </a:lnTo>
                  <a:lnTo>
                    <a:pt x="70" y="417"/>
                  </a:lnTo>
                  <a:lnTo>
                    <a:pt x="79" y="393"/>
                  </a:lnTo>
                  <a:lnTo>
                    <a:pt x="75" y="363"/>
                  </a:lnTo>
                  <a:lnTo>
                    <a:pt x="61" y="338"/>
                  </a:lnTo>
                  <a:lnTo>
                    <a:pt x="85" y="339"/>
                  </a:lnTo>
                  <a:lnTo>
                    <a:pt x="96" y="320"/>
                  </a:lnTo>
                  <a:lnTo>
                    <a:pt x="124" y="311"/>
                  </a:lnTo>
                  <a:lnTo>
                    <a:pt x="126" y="297"/>
                  </a:lnTo>
                  <a:lnTo>
                    <a:pt x="99" y="296"/>
                  </a:lnTo>
                  <a:lnTo>
                    <a:pt x="87" y="306"/>
                  </a:lnTo>
                  <a:lnTo>
                    <a:pt x="48" y="308"/>
                  </a:lnTo>
                  <a:lnTo>
                    <a:pt x="27" y="279"/>
                  </a:lnTo>
                  <a:lnTo>
                    <a:pt x="0" y="281"/>
                  </a:lnTo>
                  <a:lnTo>
                    <a:pt x="3" y="267"/>
                  </a:lnTo>
                  <a:lnTo>
                    <a:pt x="18" y="263"/>
                  </a:lnTo>
                  <a:lnTo>
                    <a:pt x="16" y="230"/>
                  </a:lnTo>
                  <a:lnTo>
                    <a:pt x="25" y="222"/>
                  </a:lnTo>
                  <a:lnTo>
                    <a:pt x="43" y="240"/>
                  </a:lnTo>
                  <a:lnTo>
                    <a:pt x="70" y="236"/>
                  </a:lnTo>
                  <a:lnTo>
                    <a:pt x="69" y="215"/>
                  </a:lnTo>
                  <a:lnTo>
                    <a:pt x="58" y="206"/>
                  </a:lnTo>
                  <a:lnTo>
                    <a:pt x="52" y="176"/>
                  </a:lnTo>
                  <a:lnTo>
                    <a:pt x="24" y="144"/>
                  </a:lnTo>
                  <a:lnTo>
                    <a:pt x="25" y="101"/>
                  </a:lnTo>
                  <a:lnTo>
                    <a:pt x="67" y="75"/>
                  </a:lnTo>
                  <a:lnTo>
                    <a:pt x="100" y="66"/>
                  </a:lnTo>
                  <a:lnTo>
                    <a:pt x="123" y="29"/>
                  </a:lnTo>
                  <a:lnTo>
                    <a:pt x="160" y="24"/>
                  </a:lnTo>
                  <a:lnTo>
                    <a:pt x="195" y="8"/>
                  </a:lnTo>
                  <a:lnTo>
                    <a:pt x="228" y="60"/>
                  </a:lnTo>
                  <a:lnTo>
                    <a:pt x="250" y="110"/>
                  </a:lnTo>
                  <a:lnTo>
                    <a:pt x="288" y="117"/>
                  </a:lnTo>
                  <a:lnTo>
                    <a:pt x="322" y="120"/>
                  </a:lnTo>
                  <a:lnTo>
                    <a:pt x="340" y="149"/>
                  </a:lnTo>
                  <a:lnTo>
                    <a:pt x="325" y="179"/>
                  </a:lnTo>
                  <a:lnTo>
                    <a:pt x="342" y="188"/>
                  </a:lnTo>
                  <a:lnTo>
                    <a:pt x="366" y="170"/>
                  </a:lnTo>
                  <a:lnTo>
                    <a:pt x="376" y="159"/>
                  </a:lnTo>
                  <a:lnTo>
                    <a:pt x="447" y="0"/>
                  </a:lnTo>
                  <a:close/>
                </a:path>
              </a:pathLst>
            </a:custGeom>
            <a:solidFill>
              <a:srgbClr val="00A1DE"/>
            </a:solidFill>
            <a:ln w="12700">
              <a:solidFill>
                <a:schemeClr val="bg1"/>
              </a:solidFill>
              <a:round/>
              <a:headEnd type="none" w="sm" len="sm"/>
              <a:tailEnd type="none" w="sm" len="sm"/>
            </a:ln>
          </p:spPr>
          <p:txBody>
            <a:bodyPr wrap="none" anchor="ctr"/>
            <a:lstStyle/>
            <a:p>
              <a:pPr defTabSz="685800">
                <a:buClrTx/>
                <a:defRPr/>
              </a:pPr>
              <a:endParaRPr lang="en-GB" sz="1350" kern="1200">
                <a:solidFill>
                  <a:prstClr val="black"/>
                </a:solidFill>
                <a:latin typeface="Arial" charset="0"/>
                <a:ea typeface="+mn-ea"/>
                <a:cs typeface="Arial" charset="0"/>
              </a:endParaRPr>
            </a:p>
          </p:txBody>
        </p:sp>
        <p:sp>
          <p:nvSpPr>
            <p:cNvPr id="145" name="Freeform 21"/>
            <p:cNvSpPr>
              <a:spLocks/>
            </p:cNvSpPr>
            <p:nvPr/>
          </p:nvSpPr>
          <p:spPr bwMode="auto">
            <a:xfrm>
              <a:off x="3510124" y="1962037"/>
              <a:ext cx="967245" cy="982015"/>
            </a:xfrm>
            <a:custGeom>
              <a:avLst/>
              <a:gdLst>
                <a:gd name="T0" fmla="*/ 111 w 880"/>
                <a:gd name="T1" fmla="*/ 99 h 902"/>
                <a:gd name="T2" fmla="*/ 107 w 880"/>
                <a:gd name="T3" fmla="*/ 97 h 902"/>
                <a:gd name="T4" fmla="*/ 100 w 880"/>
                <a:gd name="T5" fmla="*/ 99 h 902"/>
                <a:gd name="T6" fmla="*/ 96 w 880"/>
                <a:gd name="T7" fmla="*/ 96 h 902"/>
                <a:gd name="T8" fmla="*/ 78 w 880"/>
                <a:gd name="T9" fmla="*/ 99 h 902"/>
                <a:gd name="T10" fmla="*/ 69 w 880"/>
                <a:gd name="T11" fmla="*/ 96 h 902"/>
                <a:gd name="T12" fmla="*/ 51 w 880"/>
                <a:gd name="T13" fmla="*/ 95 h 902"/>
                <a:gd name="T14" fmla="*/ 49 w 880"/>
                <a:gd name="T15" fmla="*/ 104 h 902"/>
                <a:gd name="T16" fmla="*/ 43 w 880"/>
                <a:gd name="T17" fmla="*/ 101 h 902"/>
                <a:gd name="T18" fmla="*/ 39 w 880"/>
                <a:gd name="T19" fmla="*/ 102 h 902"/>
                <a:gd name="T20" fmla="*/ 34 w 880"/>
                <a:gd name="T21" fmla="*/ 104 h 902"/>
                <a:gd name="T22" fmla="*/ 30 w 880"/>
                <a:gd name="T23" fmla="*/ 99 h 902"/>
                <a:gd name="T24" fmla="*/ 20 w 880"/>
                <a:gd name="T25" fmla="*/ 95 h 902"/>
                <a:gd name="T26" fmla="*/ 14 w 880"/>
                <a:gd name="T27" fmla="*/ 93 h 902"/>
                <a:gd name="T28" fmla="*/ 5 w 880"/>
                <a:gd name="T29" fmla="*/ 87 h 902"/>
                <a:gd name="T30" fmla="*/ 4 w 880"/>
                <a:gd name="T31" fmla="*/ 82 h 902"/>
                <a:gd name="T32" fmla="*/ 5 w 880"/>
                <a:gd name="T33" fmla="*/ 80 h 902"/>
                <a:gd name="T34" fmla="*/ 11 w 880"/>
                <a:gd name="T35" fmla="*/ 72 h 902"/>
                <a:gd name="T36" fmla="*/ 6 w 880"/>
                <a:gd name="T37" fmla="*/ 68 h 902"/>
                <a:gd name="T38" fmla="*/ 0 w 880"/>
                <a:gd name="T39" fmla="*/ 62 h 902"/>
                <a:gd name="T40" fmla="*/ 16 w 880"/>
                <a:gd name="T41" fmla="*/ 47 h 902"/>
                <a:gd name="T42" fmla="*/ 27 w 880"/>
                <a:gd name="T43" fmla="*/ 51 h 902"/>
                <a:gd name="T44" fmla="*/ 36 w 880"/>
                <a:gd name="T45" fmla="*/ 41 h 902"/>
                <a:gd name="T46" fmla="*/ 29 w 880"/>
                <a:gd name="T47" fmla="*/ 33 h 902"/>
                <a:gd name="T48" fmla="*/ 24 w 880"/>
                <a:gd name="T49" fmla="*/ 23 h 902"/>
                <a:gd name="T50" fmla="*/ 22 w 880"/>
                <a:gd name="T51" fmla="*/ 18 h 902"/>
                <a:gd name="T52" fmla="*/ 27 w 880"/>
                <a:gd name="T53" fmla="*/ 18 h 902"/>
                <a:gd name="T54" fmla="*/ 30 w 880"/>
                <a:gd name="T55" fmla="*/ 8 h 902"/>
                <a:gd name="T56" fmla="*/ 39 w 880"/>
                <a:gd name="T57" fmla="*/ 0 h 902"/>
                <a:gd name="T58" fmla="*/ 46 w 880"/>
                <a:gd name="T59" fmla="*/ 2 h 902"/>
                <a:gd name="T60" fmla="*/ 52 w 880"/>
                <a:gd name="T61" fmla="*/ 6 h 902"/>
                <a:gd name="T62" fmla="*/ 60 w 880"/>
                <a:gd name="T63" fmla="*/ 10 h 902"/>
                <a:gd name="T64" fmla="*/ 64 w 880"/>
                <a:gd name="T65" fmla="*/ 15 h 902"/>
                <a:gd name="T66" fmla="*/ 72 w 880"/>
                <a:gd name="T67" fmla="*/ 16 h 902"/>
                <a:gd name="T68" fmla="*/ 76 w 880"/>
                <a:gd name="T69" fmla="*/ 15 h 902"/>
                <a:gd name="T70" fmla="*/ 101 w 880"/>
                <a:gd name="T71" fmla="*/ 38 h 902"/>
                <a:gd name="T72" fmla="*/ 110 w 880"/>
                <a:gd name="T73" fmla="*/ 48 h 902"/>
                <a:gd name="T74" fmla="*/ 111 w 880"/>
                <a:gd name="T75" fmla="*/ 52 h 902"/>
                <a:gd name="T76" fmla="*/ 111 w 880"/>
                <a:gd name="T77" fmla="*/ 56 h 902"/>
                <a:gd name="T78" fmla="*/ 116 w 880"/>
                <a:gd name="T79" fmla="*/ 58 h 902"/>
                <a:gd name="T80" fmla="*/ 115 w 880"/>
                <a:gd name="T81" fmla="*/ 68 h 902"/>
                <a:gd name="T82" fmla="*/ 113 w 880"/>
                <a:gd name="T83" fmla="*/ 87 h 90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880"/>
                <a:gd name="T127" fmla="*/ 0 h 902"/>
                <a:gd name="T128" fmla="*/ 880 w 880"/>
                <a:gd name="T129" fmla="*/ 902 h 90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880" h="902">
                  <a:moveTo>
                    <a:pt x="862" y="837"/>
                  </a:moveTo>
                  <a:lnTo>
                    <a:pt x="845" y="857"/>
                  </a:lnTo>
                  <a:lnTo>
                    <a:pt x="820" y="853"/>
                  </a:lnTo>
                  <a:lnTo>
                    <a:pt x="814" y="842"/>
                  </a:lnTo>
                  <a:lnTo>
                    <a:pt x="772" y="845"/>
                  </a:lnTo>
                  <a:lnTo>
                    <a:pt x="762" y="855"/>
                  </a:lnTo>
                  <a:lnTo>
                    <a:pt x="742" y="853"/>
                  </a:lnTo>
                  <a:lnTo>
                    <a:pt x="729" y="830"/>
                  </a:lnTo>
                  <a:lnTo>
                    <a:pt x="605" y="835"/>
                  </a:lnTo>
                  <a:lnTo>
                    <a:pt x="594" y="850"/>
                  </a:lnTo>
                  <a:lnTo>
                    <a:pt x="560" y="842"/>
                  </a:lnTo>
                  <a:lnTo>
                    <a:pt x="525" y="830"/>
                  </a:lnTo>
                  <a:lnTo>
                    <a:pt x="505" y="820"/>
                  </a:lnTo>
                  <a:lnTo>
                    <a:pt x="389" y="822"/>
                  </a:lnTo>
                  <a:lnTo>
                    <a:pt x="369" y="842"/>
                  </a:lnTo>
                  <a:lnTo>
                    <a:pt x="369" y="902"/>
                  </a:lnTo>
                  <a:lnTo>
                    <a:pt x="344" y="897"/>
                  </a:lnTo>
                  <a:lnTo>
                    <a:pt x="329" y="880"/>
                  </a:lnTo>
                  <a:lnTo>
                    <a:pt x="315" y="898"/>
                  </a:lnTo>
                  <a:lnTo>
                    <a:pt x="294" y="882"/>
                  </a:lnTo>
                  <a:lnTo>
                    <a:pt x="279" y="898"/>
                  </a:lnTo>
                  <a:lnTo>
                    <a:pt x="255" y="900"/>
                  </a:lnTo>
                  <a:lnTo>
                    <a:pt x="247" y="875"/>
                  </a:lnTo>
                  <a:lnTo>
                    <a:pt x="225" y="850"/>
                  </a:lnTo>
                  <a:lnTo>
                    <a:pt x="212" y="822"/>
                  </a:lnTo>
                  <a:lnTo>
                    <a:pt x="150" y="822"/>
                  </a:lnTo>
                  <a:lnTo>
                    <a:pt x="132" y="812"/>
                  </a:lnTo>
                  <a:lnTo>
                    <a:pt x="105" y="800"/>
                  </a:lnTo>
                  <a:lnTo>
                    <a:pt x="62" y="802"/>
                  </a:lnTo>
                  <a:lnTo>
                    <a:pt x="35" y="757"/>
                  </a:lnTo>
                  <a:lnTo>
                    <a:pt x="27" y="730"/>
                  </a:lnTo>
                  <a:lnTo>
                    <a:pt x="29" y="708"/>
                  </a:lnTo>
                  <a:lnTo>
                    <a:pt x="19" y="698"/>
                  </a:lnTo>
                  <a:lnTo>
                    <a:pt x="35" y="693"/>
                  </a:lnTo>
                  <a:lnTo>
                    <a:pt x="79" y="653"/>
                  </a:lnTo>
                  <a:lnTo>
                    <a:pt x="84" y="627"/>
                  </a:lnTo>
                  <a:lnTo>
                    <a:pt x="64" y="603"/>
                  </a:lnTo>
                  <a:lnTo>
                    <a:pt x="47" y="585"/>
                  </a:lnTo>
                  <a:lnTo>
                    <a:pt x="19" y="547"/>
                  </a:lnTo>
                  <a:lnTo>
                    <a:pt x="0" y="534"/>
                  </a:lnTo>
                  <a:lnTo>
                    <a:pt x="114" y="432"/>
                  </a:lnTo>
                  <a:lnTo>
                    <a:pt x="119" y="407"/>
                  </a:lnTo>
                  <a:lnTo>
                    <a:pt x="162" y="415"/>
                  </a:lnTo>
                  <a:lnTo>
                    <a:pt x="205" y="443"/>
                  </a:lnTo>
                  <a:lnTo>
                    <a:pt x="250" y="408"/>
                  </a:lnTo>
                  <a:lnTo>
                    <a:pt x="272" y="357"/>
                  </a:lnTo>
                  <a:lnTo>
                    <a:pt x="235" y="307"/>
                  </a:lnTo>
                  <a:lnTo>
                    <a:pt x="220" y="283"/>
                  </a:lnTo>
                  <a:lnTo>
                    <a:pt x="220" y="225"/>
                  </a:lnTo>
                  <a:lnTo>
                    <a:pt x="182" y="198"/>
                  </a:lnTo>
                  <a:lnTo>
                    <a:pt x="159" y="192"/>
                  </a:lnTo>
                  <a:lnTo>
                    <a:pt x="165" y="158"/>
                  </a:lnTo>
                  <a:lnTo>
                    <a:pt x="195" y="163"/>
                  </a:lnTo>
                  <a:lnTo>
                    <a:pt x="207" y="158"/>
                  </a:lnTo>
                  <a:lnTo>
                    <a:pt x="210" y="125"/>
                  </a:lnTo>
                  <a:lnTo>
                    <a:pt x="229" y="68"/>
                  </a:lnTo>
                  <a:lnTo>
                    <a:pt x="252" y="33"/>
                  </a:lnTo>
                  <a:lnTo>
                    <a:pt x="295" y="0"/>
                  </a:lnTo>
                  <a:lnTo>
                    <a:pt x="344" y="8"/>
                  </a:lnTo>
                  <a:lnTo>
                    <a:pt x="350" y="20"/>
                  </a:lnTo>
                  <a:lnTo>
                    <a:pt x="384" y="18"/>
                  </a:lnTo>
                  <a:lnTo>
                    <a:pt x="400" y="57"/>
                  </a:lnTo>
                  <a:lnTo>
                    <a:pt x="424" y="77"/>
                  </a:lnTo>
                  <a:lnTo>
                    <a:pt x="452" y="92"/>
                  </a:lnTo>
                  <a:lnTo>
                    <a:pt x="464" y="127"/>
                  </a:lnTo>
                  <a:lnTo>
                    <a:pt x="485" y="132"/>
                  </a:lnTo>
                  <a:lnTo>
                    <a:pt x="514" y="130"/>
                  </a:lnTo>
                  <a:lnTo>
                    <a:pt x="545" y="143"/>
                  </a:lnTo>
                  <a:lnTo>
                    <a:pt x="554" y="127"/>
                  </a:lnTo>
                  <a:lnTo>
                    <a:pt x="579" y="129"/>
                  </a:lnTo>
                  <a:lnTo>
                    <a:pt x="763" y="318"/>
                  </a:lnTo>
                  <a:lnTo>
                    <a:pt x="767" y="335"/>
                  </a:lnTo>
                  <a:lnTo>
                    <a:pt x="829" y="397"/>
                  </a:lnTo>
                  <a:lnTo>
                    <a:pt x="832" y="412"/>
                  </a:lnTo>
                  <a:lnTo>
                    <a:pt x="845" y="428"/>
                  </a:lnTo>
                  <a:lnTo>
                    <a:pt x="844" y="457"/>
                  </a:lnTo>
                  <a:lnTo>
                    <a:pt x="832" y="467"/>
                  </a:lnTo>
                  <a:lnTo>
                    <a:pt x="840" y="483"/>
                  </a:lnTo>
                  <a:lnTo>
                    <a:pt x="864" y="492"/>
                  </a:lnTo>
                  <a:lnTo>
                    <a:pt x="877" y="503"/>
                  </a:lnTo>
                  <a:lnTo>
                    <a:pt x="880" y="555"/>
                  </a:lnTo>
                  <a:lnTo>
                    <a:pt x="875" y="590"/>
                  </a:lnTo>
                  <a:lnTo>
                    <a:pt x="872" y="753"/>
                  </a:lnTo>
                  <a:lnTo>
                    <a:pt x="860" y="758"/>
                  </a:lnTo>
                  <a:lnTo>
                    <a:pt x="862" y="837"/>
                  </a:lnTo>
                  <a:close/>
                </a:path>
              </a:pathLst>
            </a:custGeom>
            <a:solidFill>
              <a:srgbClr val="00A1DE"/>
            </a:solidFill>
            <a:ln w="12700">
              <a:solidFill>
                <a:schemeClr val="bg1"/>
              </a:solidFill>
              <a:round/>
              <a:headEnd type="none" w="sm" len="sm"/>
              <a:tailEnd type="none" w="sm" len="sm"/>
            </a:ln>
          </p:spPr>
          <p:txBody>
            <a:bodyPr wrap="none" anchor="ctr"/>
            <a:lstStyle/>
            <a:p>
              <a:pPr defTabSz="685800">
                <a:buClrTx/>
                <a:defRPr/>
              </a:pPr>
              <a:endParaRPr lang="en-GB" sz="1350" kern="1200">
                <a:solidFill>
                  <a:prstClr val="black"/>
                </a:solidFill>
                <a:latin typeface="Arial" charset="0"/>
                <a:ea typeface="+mn-ea"/>
                <a:cs typeface="Arial" charset="0"/>
              </a:endParaRPr>
            </a:p>
          </p:txBody>
        </p:sp>
        <p:sp>
          <p:nvSpPr>
            <p:cNvPr id="146" name="Freeform 22"/>
            <p:cNvSpPr>
              <a:spLocks/>
            </p:cNvSpPr>
            <p:nvPr/>
          </p:nvSpPr>
          <p:spPr bwMode="auto">
            <a:xfrm>
              <a:off x="677738" y="4952888"/>
              <a:ext cx="892420" cy="337918"/>
            </a:xfrm>
            <a:custGeom>
              <a:avLst/>
              <a:gdLst>
                <a:gd name="T0" fmla="*/ 47 w 813"/>
                <a:gd name="T1" fmla="*/ 10 h 312"/>
                <a:gd name="T2" fmla="*/ 44 w 813"/>
                <a:gd name="T3" fmla="*/ 8 h 312"/>
                <a:gd name="T4" fmla="*/ 35 w 813"/>
                <a:gd name="T5" fmla="*/ 5 h 312"/>
                <a:gd name="T6" fmla="*/ 29 w 813"/>
                <a:gd name="T7" fmla="*/ 3 h 312"/>
                <a:gd name="T8" fmla="*/ 24 w 813"/>
                <a:gd name="T9" fmla="*/ 1 h 312"/>
                <a:gd name="T10" fmla="*/ 15 w 813"/>
                <a:gd name="T11" fmla="*/ 0 h 312"/>
                <a:gd name="T12" fmla="*/ 11 w 813"/>
                <a:gd name="T13" fmla="*/ 1 h 312"/>
                <a:gd name="T14" fmla="*/ 5 w 813"/>
                <a:gd name="T15" fmla="*/ 3 h 312"/>
                <a:gd name="T16" fmla="*/ 1 w 813"/>
                <a:gd name="T17" fmla="*/ 8 h 312"/>
                <a:gd name="T18" fmla="*/ 4 w 813"/>
                <a:gd name="T19" fmla="*/ 12 h 312"/>
                <a:gd name="T20" fmla="*/ 1 w 813"/>
                <a:gd name="T21" fmla="*/ 17 h 312"/>
                <a:gd name="T22" fmla="*/ 5 w 813"/>
                <a:gd name="T23" fmla="*/ 24 h 312"/>
                <a:gd name="T24" fmla="*/ 8 w 813"/>
                <a:gd name="T25" fmla="*/ 27 h 312"/>
                <a:gd name="T26" fmla="*/ 14 w 813"/>
                <a:gd name="T27" fmla="*/ 26 h 312"/>
                <a:gd name="T28" fmla="*/ 19 w 813"/>
                <a:gd name="T29" fmla="*/ 20 h 312"/>
                <a:gd name="T30" fmla="*/ 26 w 813"/>
                <a:gd name="T31" fmla="*/ 19 h 312"/>
                <a:gd name="T32" fmla="*/ 32 w 813"/>
                <a:gd name="T33" fmla="*/ 18 h 312"/>
                <a:gd name="T34" fmla="*/ 42 w 813"/>
                <a:gd name="T35" fmla="*/ 21 h 312"/>
                <a:gd name="T36" fmla="*/ 50 w 813"/>
                <a:gd name="T37" fmla="*/ 26 h 312"/>
                <a:gd name="T38" fmla="*/ 54 w 813"/>
                <a:gd name="T39" fmla="*/ 28 h 312"/>
                <a:gd name="T40" fmla="*/ 52 w 813"/>
                <a:gd name="T41" fmla="*/ 31 h 312"/>
                <a:gd name="T42" fmla="*/ 57 w 813"/>
                <a:gd name="T43" fmla="*/ 34 h 312"/>
                <a:gd name="T44" fmla="*/ 67 w 813"/>
                <a:gd name="T45" fmla="*/ 35 h 312"/>
                <a:gd name="T46" fmla="*/ 73 w 813"/>
                <a:gd name="T47" fmla="*/ 32 h 312"/>
                <a:gd name="T48" fmla="*/ 81 w 813"/>
                <a:gd name="T49" fmla="*/ 28 h 312"/>
                <a:gd name="T50" fmla="*/ 94 w 813"/>
                <a:gd name="T51" fmla="*/ 23 h 312"/>
                <a:gd name="T52" fmla="*/ 99 w 813"/>
                <a:gd name="T53" fmla="*/ 19 h 312"/>
                <a:gd name="T54" fmla="*/ 106 w 813"/>
                <a:gd name="T55" fmla="*/ 12 h 312"/>
                <a:gd name="T56" fmla="*/ 103 w 813"/>
                <a:gd name="T57" fmla="*/ 8 h 312"/>
                <a:gd name="T58" fmla="*/ 98 w 813"/>
                <a:gd name="T59" fmla="*/ 12 h 312"/>
                <a:gd name="T60" fmla="*/ 94 w 813"/>
                <a:gd name="T61" fmla="*/ 9 h 312"/>
                <a:gd name="T62" fmla="*/ 91 w 813"/>
                <a:gd name="T63" fmla="*/ 11 h 312"/>
                <a:gd name="T64" fmla="*/ 88 w 813"/>
                <a:gd name="T65" fmla="*/ 9 h 312"/>
                <a:gd name="T66" fmla="*/ 84 w 813"/>
                <a:gd name="T67" fmla="*/ 8 h 312"/>
                <a:gd name="T68" fmla="*/ 81 w 813"/>
                <a:gd name="T69" fmla="*/ 5 h 312"/>
                <a:gd name="T70" fmla="*/ 76 w 813"/>
                <a:gd name="T71" fmla="*/ 3 h 312"/>
                <a:gd name="T72" fmla="*/ 75 w 813"/>
                <a:gd name="T73" fmla="*/ 6 h 312"/>
                <a:gd name="T74" fmla="*/ 72 w 813"/>
                <a:gd name="T75" fmla="*/ 9 h 312"/>
                <a:gd name="T76" fmla="*/ 69 w 813"/>
                <a:gd name="T77" fmla="*/ 11 h 312"/>
                <a:gd name="T78" fmla="*/ 60 w 813"/>
                <a:gd name="T79" fmla="*/ 13 h 312"/>
                <a:gd name="T80" fmla="*/ 56 w 813"/>
                <a:gd name="T81" fmla="*/ 12 h 312"/>
                <a:gd name="T82" fmla="*/ 52 w 813"/>
                <a:gd name="T83" fmla="*/ 13 h 31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813"/>
                <a:gd name="T127" fmla="*/ 0 h 312"/>
                <a:gd name="T128" fmla="*/ 813 w 813"/>
                <a:gd name="T129" fmla="*/ 312 h 31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813" h="312">
                  <a:moveTo>
                    <a:pt x="368" y="115"/>
                  </a:moveTo>
                  <a:lnTo>
                    <a:pt x="356" y="92"/>
                  </a:lnTo>
                  <a:lnTo>
                    <a:pt x="343" y="78"/>
                  </a:lnTo>
                  <a:lnTo>
                    <a:pt x="336" y="68"/>
                  </a:lnTo>
                  <a:lnTo>
                    <a:pt x="298" y="53"/>
                  </a:lnTo>
                  <a:lnTo>
                    <a:pt x="268" y="38"/>
                  </a:lnTo>
                  <a:lnTo>
                    <a:pt x="238" y="28"/>
                  </a:lnTo>
                  <a:lnTo>
                    <a:pt x="221" y="30"/>
                  </a:lnTo>
                  <a:lnTo>
                    <a:pt x="201" y="10"/>
                  </a:lnTo>
                  <a:lnTo>
                    <a:pt x="186" y="7"/>
                  </a:lnTo>
                  <a:lnTo>
                    <a:pt x="176" y="0"/>
                  </a:lnTo>
                  <a:lnTo>
                    <a:pt x="113" y="0"/>
                  </a:lnTo>
                  <a:lnTo>
                    <a:pt x="110" y="10"/>
                  </a:lnTo>
                  <a:lnTo>
                    <a:pt x="83" y="8"/>
                  </a:lnTo>
                  <a:lnTo>
                    <a:pt x="66" y="32"/>
                  </a:lnTo>
                  <a:lnTo>
                    <a:pt x="36" y="32"/>
                  </a:lnTo>
                  <a:lnTo>
                    <a:pt x="25" y="45"/>
                  </a:lnTo>
                  <a:lnTo>
                    <a:pt x="8" y="68"/>
                  </a:lnTo>
                  <a:lnTo>
                    <a:pt x="15" y="102"/>
                  </a:lnTo>
                  <a:lnTo>
                    <a:pt x="26" y="108"/>
                  </a:lnTo>
                  <a:lnTo>
                    <a:pt x="0" y="120"/>
                  </a:lnTo>
                  <a:lnTo>
                    <a:pt x="5" y="153"/>
                  </a:lnTo>
                  <a:lnTo>
                    <a:pt x="15" y="167"/>
                  </a:lnTo>
                  <a:lnTo>
                    <a:pt x="36" y="207"/>
                  </a:lnTo>
                  <a:lnTo>
                    <a:pt x="41" y="220"/>
                  </a:lnTo>
                  <a:lnTo>
                    <a:pt x="63" y="237"/>
                  </a:lnTo>
                  <a:lnTo>
                    <a:pt x="91" y="242"/>
                  </a:lnTo>
                  <a:lnTo>
                    <a:pt x="111" y="232"/>
                  </a:lnTo>
                  <a:lnTo>
                    <a:pt x="141" y="232"/>
                  </a:lnTo>
                  <a:lnTo>
                    <a:pt x="140" y="178"/>
                  </a:lnTo>
                  <a:lnTo>
                    <a:pt x="163" y="165"/>
                  </a:lnTo>
                  <a:lnTo>
                    <a:pt x="203" y="170"/>
                  </a:lnTo>
                  <a:lnTo>
                    <a:pt x="223" y="155"/>
                  </a:lnTo>
                  <a:lnTo>
                    <a:pt x="246" y="157"/>
                  </a:lnTo>
                  <a:lnTo>
                    <a:pt x="253" y="170"/>
                  </a:lnTo>
                  <a:lnTo>
                    <a:pt x="315" y="190"/>
                  </a:lnTo>
                  <a:lnTo>
                    <a:pt x="373" y="207"/>
                  </a:lnTo>
                  <a:lnTo>
                    <a:pt x="381" y="222"/>
                  </a:lnTo>
                  <a:lnTo>
                    <a:pt x="408" y="227"/>
                  </a:lnTo>
                  <a:lnTo>
                    <a:pt x="410" y="252"/>
                  </a:lnTo>
                  <a:lnTo>
                    <a:pt x="396" y="263"/>
                  </a:lnTo>
                  <a:lnTo>
                    <a:pt x="401" y="278"/>
                  </a:lnTo>
                  <a:lnTo>
                    <a:pt x="410" y="287"/>
                  </a:lnTo>
                  <a:lnTo>
                    <a:pt x="435" y="298"/>
                  </a:lnTo>
                  <a:lnTo>
                    <a:pt x="490" y="298"/>
                  </a:lnTo>
                  <a:lnTo>
                    <a:pt x="511" y="312"/>
                  </a:lnTo>
                  <a:lnTo>
                    <a:pt x="533" y="292"/>
                  </a:lnTo>
                  <a:lnTo>
                    <a:pt x="561" y="282"/>
                  </a:lnTo>
                  <a:lnTo>
                    <a:pt x="590" y="272"/>
                  </a:lnTo>
                  <a:lnTo>
                    <a:pt x="616" y="247"/>
                  </a:lnTo>
                  <a:lnTo>
                    <a:pt x="675" y="243"/>
                  </a:lnTo>
                  <a:lnTo>
                    <a:pt x="715" y="205"/>
                  </a:lnTo>
                  <a:lnTo>
                    <a:pt x="748" y="188"/>
                  </a:lnTo>
                  <a:lnTo>
                    <a:pt x="753" y="165"/>
                  </a:lnTo>
                  <a:lnTo>
                    <a:pt x="770" y="160"/>
                  </a:lnTo>
                  <a:lnTo>
                    <a:pt x="811" y="110"/>
                  </a:lnTo>
                  <a:lnTo>
                    <a:pt x="813" y="82"/>
                  </a:lnTo>
                  <a:lnTo>
                    <a:pt x="791" y="72"/>
                  </a:lnTo>
                  <a:lnTo>
                    <a:pt x="791" y="105"/>
                  </a:lnTo>
                  <a:lnTo>
                    <a:pt x="750" y="107"/>
                  </a:lnTo>
                  <a:lnTo>
                    <a:pt x="743" y="80"/>
                  </a:lnTo>
                  <a:lnTo>
                    <a:pt x="721" y="82"/>
                  </a:lnTo>
                  <a:lnTo>
                    <a:pt x="715" y="102"/>
                  </a:lnTo>
                  <a:lnTo>
                    <a:pt x="696" y="95"/>
                  </a:lnTo>
                  <a:lnTo>
                    <a:pt x="678" y="82"/>
                  </a:lnTo>
                  <a:lnTo>
                    <a:pt x="668" y="83"/>
                  </a:lnTo>
                  <a:lnTo>
                    <a:pt x="650" y="75"/>
                  </a:lnTo>
                  <a:lnTo>
                    <a:pt x="638" y="70"/>
                  </a:lnTo>
                  <a:lnTo>
                    <a:pt x="640" y="55"/>
                  </a:lnTo>
                  <a:lnTo>
                    <a:pt x="620" y="38"/>
                  </a:lnTo>
                  <a:lnTo>
                    <a:pt x="611" y="18"/>
                  </a:lnTo>
                  <a:lnTo>
                    <a:pt x="581" y="22"/>
                  </a:lnTo>
                  <a:lnTo>
                    <a:pt x="580" y="43"/>
                  </a:lnTo>
                  <a:lnTo>
                    <a:pt x="571" y="53"/>
                  </a:lnTo>
                  <a:lnTo>
                    <a:pt x="573" y="72"/>
                  </a:lnTo>
                  <a:lnTo>
                    <a:pt x="553" y="80"/>
                  </a:lnTo>
                  <a:lnTo>
                    <a:pt x="535" y="82"/>
                  </a:lnTo>
                  <a:lnTo>
                    <a:pt x="528" y="98"/>
                  </a:lnTo>
                  <a:lnTo>
                    <a:pt x="473" y="100"/>
                  </a:lnTo>
                  <a:lnTo>
                    <a:pt x="460" y="113"/>
                  </a:lnTo>
                  <a:lnTo>
                    <a:pt x="438" y="117"/>
                  </a:lnTo>
                  <a:lnTo>
                    <a:pt x="426" y="102"/>
                  </a:lnTo>
                  <a:lnTo>
                    <a:pt x="413" y="92"/>
                  </a:lnTo>
                  <a:lnTo>
                    <a:pt x="398" y="115"/>
                  </a:lnTo>
                  <a:lnTo>
                    <a:pt x="368" y="115"/>
                  </a:lnTo>
                  <a:close/>
                </a:path>
              </a:pathLst>
            </a:custGeom>
            <a:solidFill>
              <a:srgbClr val="00A1DE"/>
            </a:solidFill>
            <a:ln w="12700">
              <a:solidFill>
                <a:schemeClr val="bg1"/>
              </a:solidFill>
              <a:round/>
              <a:headEnd type="none" w="sm" len="sm"/>
              <a:tailEnd type="none" w="sm" len="sm"/>
            </a:ln>
          </p:spPr>
          <p:txBody>
            <a:bodyPr wrap="none" anchor="ctr"/>
            <a:lstStyle/>
            <a:p>
              <a:pPr defTabSz="685800">
                <a:buClrTx/>
                <a:defRPr/>
              </a:pPr>
              <a:endParaRPr lang="en-GB" sz="1350" kern="1200">
                <a:solidFill>
                  <a:prstClr val="black"/>
                </a:solidFill>
                <a:latin typeface="Arial" charset="0"/>
                <a:ea typeface="+mn-ea"/>
                <a:cs typeface="Arial" charset="0"/>
              </a:endParaRPr>
            </a:p>
          </p:txBody>
        </p:sp>
        <p:sp>
          <p:nvSpPr>
            <p:cNvPr id="147" name="Freeform 23"/>
            <p:cNvSpPr>
              <a:spLocks/>
            </p:cNvSpPr>
            <p:nvPr/>
          </p:nvSpPr>
          <p:spPr bwMode="auto">
            <a:xfrm>
              <a:off x="763513" y="4624305"/>
              <a:ext cx="863221" cy="388325"/>
            </a:xfrm>
            <a:custGeom>
              <a:avLst/>
              <a:gdLst>
                <a:gd name="T0" fmla="*/ 96 w 785"/>
                <a:gd name="T1" fmla="*/ 30 h 355"/>
                <a:gd name="T2" fmla="*/ 81 w 785"/>
                <a:gd name="T3" fmla="*/ 25 h 355"/>
                <a:gd name="T4" fmla="*/ 75 w 785"/>
                <a:gd name="T5" fmla="*/ 19 h 355"/>
                <a:gd name="T6" fmla="*/ 67 w 785"/>
                <a:gd name="T7" fmla="*/ 15 h 355"/>
                <a:gd name="T8" fmla="*/ 61 w 785"/>
                <a:gd name="T9" fmla="*/ 13 h 355"/>
                <a:gd name="T10" fmla="*/ 42 w 785"/>
                <a:gd name="T11" fmla="*/ 13 h 355"/>
                <a:gd name="T12" fmla="*/ 31 w 785"/>
                <a:gd name="T13" fmla="*/ 13 h 355"/>
                <a:gd name="T14" fmla="*/ 28 w 785"/>
                <a:gd name="T15" fmla="*/ 9 h 355"/>
                <a:gd name="T16" fmla="*/ 27 w 785"/>
                <a:gd name="T17" fmla="*/ 5 h 355"/>
                <a:gd name="T18" fmla="*/ 34 w 785"/>
                <a:gd name="T19" fmla="*/ 8 h 355"/>
                <a:gd name="T20" fmla="*/ 43 w 785"/>
                <a:gd name="T21" fmla="*/ 9 h 355"/>
                <a:gd name="T22" fmla="*/ 52 w 785"/>
                <a:gd name="T23" fmla="*/ 8 h 355"/>
                <a:gd name="T24" fmla="*/ 56 w 785"/>
                <a:gd name="T25" fmla="*/ 7 h 355"/>
                <a:gd name="T26" fmla="*/ 49 w 785"/>
                <a:gd name="T27" fmla="*/ 0 h 355"/>
                <a:gd name="T28" fmla="*/ 43 w 785"/>
                <a:gd name="T29" fmla="*/ 1 h 355"/>
                <a:gd name="T30" fmla="*/ 38 w 785"/>
                <a:gd name="T31" fmla="*/ 5 h 355"/>
                <a:gd name="T32" fmla="*/ 22 w 785"/>
                <a:gd name="T33" fmla="*/ 3 h 355"/>
                <a:gd name="T34" fmla="*/ 17 w 785"/>
                <a:gd name="T35" fmla="*/ 2 h 355"/>
                <a:gd name="T36" fmla="*/ 12 w 785"/>
                <a:gd name="T37" fmla="*/ 5 h 355"/>
                <a:gd name="T38" fmla="*/ 0 w 785"/>
                <a:gd name="T39" fmla="*/ 12 h 355"/>
                <a:gd name="T40" fmla="*/ 6 w 785"/>
                <a:gd name="T41" fmla="*/ 19 h 355"/>
                <a:gd name="T42" fmla="*/ 11 w 785"/>
                <a:gd name="T43" fmla="*/ 24 h 355"/>
                <a:gd name="T44" fmla="*/ 14 w 785"/>
                <a:gd name="T45" fmla="*/ 28 h 355"/>
                <a:gd name="T46" fmla="*/ 20 w 785"/>
                <a:gd name="T47" fmla="*/ 29 h 355"/>
                <a:gd name="T48" fmla="*/ 30 w 785"/>
                <a:gd name="T49" fmla="*/ 25 h 355"/>
                <a:gd name="T50" fmla="*/ 33 w 785"/>
                <a:gd name="T51" fmla="*/ 32 h 355"/>
                <a:gd name="T52" fmla="*/ 39 w 785"/>
                <a:gd name="T53" fmla="*/ 33 h 355"/>
                <a:gd name="T54" fmla="*/ 40 w 785"/>
                <a:gd name="T55" fmla="*/ 36 h 355"/>
                <a:gd name="T56" fmla="*/ 46 w 785"/>
                <a:gd name="T57" fmla="*/ 38 h 355"/>
                <a:gd name="T58" fmla="*/ 52 w 785"/>
                <a:gd name="T59" fmla="*/ 39 h 355"/>
                <a:gd name="T60" fmla="*/ 57 w 785"/>
                <a:gd name="T61" fmla="*/ 37 h 355"/>
                <a:gd name="T62" fmla="*/ 58 w 785"/>
                <a:gd name="T63" fmla="*/ 33 h 355"/>
                <a:gd name="T64" fmla="*/ 62 w 785"/>
                <a:gd name="T65" fmla="*/ 27 h 355"/>
                <a:gd name="T66" fmla="*/ 67 w 785"/>
                <a:gd name="T67" fmla="*/ 28 h 355"/>
                <a:gd name="T68" fmla="*/ 78 w 785"/>
                <a:gd name="T69" fmla="*/ 35 h 355"/>
                <a:gd name="T70" fmla="*/ 86 w 785"/>
                <a:gd name="T71" fmla="*/ 37 h 355"/>
                <a:gd name="T72" fmla="*/ 92 w 785"/>
                <a:gd name="T73" fmla="*/ 36 h 355"/>
                <a:gd name="T74" fmla="*/ 98 w 785"/>
                <a:gd name="T75" fmla="*/ 35 h 355"/>
                <a:gd name="T76" fmla="*/ 100 w 785"/>
                <a:gd name="T77" fmla="*/ 39 h 355"/>
                <a:gd name="T78" fmla="*/ 102 w 785"/>
                <a:gd name="T79" fmla="*/ 42 h 355"/>
                <a:gd name="T80" fmla="*/ 102 w 785"/>
                <a:gd name="T81" fmla="*/ 35 h 355"/>
                <a:gd name="T82" fmla="*/ 101 w 785"/>
                <a:gd name="T83" fmla="*/ 31 h 35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85"/>
                <a:gd name="T127" fmla="*/ 0 h 355"/>
                <a:gd name="T128" fmla="*/ 785 w 785"/>
                <a:gd name="T129" fmla="*/ 355 h 35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85" h="355">
                  <a:moveTo>
                    <a:pt x="740" y="258"/>
                  </a:moveTo>
                  <a:cubicBezTo>
                    <a:pt x="737" y="258"/>
                    <a:pt x="733" y="258"/>
                    <a:pt x="730" y="258"/>
                  </a:cubicBezTo>
                  <a:lnTo>
                    <a:pt x="635" y="252"/>
                  </a:lnTo>
                  <a:lnTo>
                    <a:pt x="615" y="207"/>
                  </a:lnTo>
                  <a:lnTo>
                    <a:pt x="580" y="180"/>
                  </a:lnTo>
                  <a:lnTo>
                    <a:pt x="568" y="163"/>
                  </a:lnTo>
                  <a:lnTo>
                    <a:pt x="527" y="138"/>
                  </a:lnTo>
                  <a:lnTo>
                    <a:pt x="507" y="130"/>
                  </a:lnTo>
                  <a:lnTo>
                    <a:pt x="492" y="118"/>
                  </a:lnTo>
                  <a:lnTo>
                    <a:pt x="462" y="117"/>
                  </a:lnTo>
                  <a:lnTo>
                    <a:pt x="440" y="97"/>
                  </a:lnTo>
                  <a:lnTo>
                    <a:pt x="323" y="112"/>
                  </a:lnTo>
                  <a:lnTo>
                    <a:pt x="272" y="133"/>
                  </a:lnTo>
                  <a:lnTo>
                    <a:pt x="237" y="112"/>
                  </a:lnTo>
                  <a:lnTo>
                    <a:pt x="225" y="102"/>
                  </a:lnTo>
                  <a:lnTo>
                    <a:pt x="210" y="80"/>
                  </a:lnTo>
                  <a:lnTo>
                    <a:pt x="193" y="72"/>
                  </a:lnTo>
                  <a:lnTo>
                    <a:pt x="203" y="43"/>
                  </a:lnTo>
                  <a:lnTo>
                    <a:pt x="233" y="43"/>
                  </a:lnTo>
                  <a:lnTo>
                    <a:pt x="263" y="68"/>
                  </a:lnTo>
                  <a:lnTo>
                    <a:pt x="273" y="85"/>
                  </a:lnTo>
                  <a:lnTo>
                    <a:pt x="327" y="80"/>
                  </a:lnTo>
                  <a:lnTo>
                    <a:pt x="343" y="72"/>
                  </a:lnTo>
                  <a:lnTo>
                    <a:pt x="393" y="70"/>
                  </a:lnTo>
                  <a:lnTo>
                    <a:pt x="398" y="60"/>
                  </a:lnTo>
                  <a:lnTo>
                    <a:pt x="423" y="60"/>
                  </a:lnTo>
                  <a:lnTo>
                    <a:pt x="415" y="2"/>
                  </a:lnTo>
                  <a:lnTo>
                    <a:pt x="373" y="0"/>
                  </a:lnTo>
                  <a:lnTo>
                    <a:pt x="353" y="13"/>
                  </a:lnTo>
                  <a:lnTo>
                    <a:pt x="328" y="12"/>
                  </a:lnTo>
                  <a:lnTo>
                    <a:pt x="302" y="33"/>
                  </a:lnTo>
                  <a:lnTo>
                    <a:pt x="290" y="37"/>
                  </a:lnTo>
                  <a:lnTo>
                    <a:pt x="277" y="22"/>
                  </a:lnTo>
                  <a:lnTo>
                    <a:pt x="170" y="25"/>
                  </a:lnTo>
                  <a:lnTo>
                    <a:pt x="137" y="30"/>
                  </a:lnTo>
                  <a:lnTo>
                    <a:pt x="127" y="20"/>
                  </a:lnTo>
                  <a:lnTo>
                    <a:pt x="98" y="23"/>
                  </a:lnTo>
                  <a:lnTo>
                    <a:pt x="92" y="42"/>
                  </a:lnTo>
                  <a:lnTo>
                    <a:pt x="60" y="47"/>
                  </a:lnTo>
                  <a:lnTo>
                    <a:pt x="0" y="102"/>
                  </a:lnTo>
                  <a:lnTo>
                    <a:pt x="17" y="147"/>
                  </a:lnTo>
                  <a:lnTo>
                    <a:pt x="47" y="162"/>
                  </a:lnTo>
                  <a:lnTo>
                    <a:pt x="57" y="180"/>
                  </a:lnTo>
                  <a:lnTo>
                    <a:pt x="83" y="203"/>
                  </a:lnTo>
                  <a:lnTo>
                    <a:pt x="87" y="225"/>
                  </a:lnTo>
                  <a:lnTo>
                    <a:pt x="110" y="233"/>
                  </a:lnTo>
                  <a:lnTo>
                    <a:pt x="135" y="232"/>
                  </a:lnTo>
                  <a:lnTo>
                    <a:pt x="148" y="243"/>
                  </a:lnTo>
                  <a:lnTo>
                    <a:pt x="193" y="235"/>
                  </a:lnTo>
                  <a:lnTo>
                    <a:pt x="222" y="212"/>
                  </a:lnTo>
                  <a:lnTo>
                    <a:pt x="238" y="225"/>
                  </a:lnTo>
                  <a:lnTo>
                    <a:pt x="248" y="275"/>
                  </a:lnTo>
                  <a:lnTo>
                    <a:pt x="287" y="302"/>
                  </a:lnTo>
                  <a:lnTo>
                    <a:pt x="298" y="283"/>
                  </a:lnTo>
                  <a:lnTo>
                    <a:pt x="307" y="288"/>
                  </a:lnTo>
                  <a:lnTo>
                    <a:pt x="305" y="307"/>
                  </a:lnTo>
                  <a:lnTo>
                    <a:pt x="320" y="318"/>
                  </a:lnTo>
                  <a:lnTo>
                    <a:pt x="350" y="323"/>
                  </a:lnTo>
                  <a:lnTo>
                    <a:pt x="357" y="332"/>
                  </a:lnTo>
                  <a:lnTo>
                    <a:pt x="395" y="328"/>
                  </a:lnTo>
                  <a:lnTo>
                    <a:pt x="392" y="318"/>
                  </a:lnTo>
                  <a:lnTo>
                    <a:pt x="432" y="317"/>
                  </a:lnTo>
                  <a:lnTo>
                    <a:pt x="438" y="295"/>
                  </a:lnTo>
                  <a:lnTo>
                    <a:pt x="445" y="283"/>
                  </a:lnTo>
                  <a:lnTo>
                    <a:pt x="450" y="233"/>
                  </a:lnTo>
                  <a:lnTo>
                    <a:pt x="472" y="228"/>
                  </a:lnTo>
                  <a:lnTo>
                    <a:pt x="485" y="218"/>
                  </a:lnTo>
                  <a:lnTo>
                    <a:pt x="513" y="232"/>
                  </a:lnTo>
                  <a:lnTo>
                    <a:pt x="570" y="268"/>
                  </a:lnTo>
                  <a:lnTo>
                    <a:pt x="592" y="300"/>
                  </a:lnTo>
                  <a:lnTo>
                    <a:pt x="627" y="297"/>
                  </a:lnTo>
                  <a:lnTo>
                    <a:pt x="652" y="320"/>
                  </a:lnTo>
                  <a:lnTo>
                    <a:pt x="682" y="318"/>
                  </a:lnTo>
                  <a:lnTo>
                    <a:pt x="697" y="307"/>
                  </a:lnTo>
                  <a:lnTo>
                    <a:pt x="723" y="307"/>
                  </a:lnTo>
                  <a:lnTo>
                    <a:pt x="740" y="297"/>
                  </a:lnTo>
                  <a:lnTo>
                    <a:pt x="752" y="300"/>
                  </a:lnTo>
                  <a:lnTo>
                    <a:pt x="760" y="332"/>
                  </a:lnTo>
                  <a:lnTo>
                    <a:pt x="768" y="342"/>
                  </a:lnTo>
                  <a:lnTo>
                    <a:pt x="772" y="355"/>
                  </a:lnTo>
                  <a:lnTo>
                    <a:pt x="778" y="332"/>
                  </a:lnTo>
                  <a:lnTo>
                    <a:pt x="777" y="297"/>
                  </a:lnTo>
                  <a:lnTo>
                    <a:pt x="785" y="285"/>
                  </a:lnTo>
                  <a:lnTo>
                    <a:pt x="768" y="263"/>
                  </a:lnTo>
                  <a:lnTo>
                    <a:pt x="740" y="258"/>
                  </a:lnTo>
                  <a:close/>
                </a:path>
              </a:pathLst>
            </a:custGeom>
            <a:solidFill>
              <a:srgbClr val="00A1DE"/>
            </a:solidFill>
            <a:ln w="12700">
              <a:solidFill>
                <a:schemeClr val="bg1"/>
              </a:solidFill>
              <a:round/>
              <a:headEnd type="none" w="sm" len="sm"/>
              <a:tailEnd type="none" w="sm" len="sm"/>
            </a:ln>
          </p:spPr>
          <p:txBody>
            <a:bodyPr wrap="none" anchor="ctr"/>
            <a:lstStyle/>
            <a:p>
              <a:pPr defTabSz="685800">
                <a:buClrTx/>
                <a:defRPr/>
              </a:pPr>
              <a:endParaRPr lang="en-GB" sz="1350" kern="1200">
                <a:solidFill>
                  <a:prstClr val="black"/>
                </a:solidFill>
                <a:latin typeface="Arial" charset="0"/>
                <a:ea typeface="+mn-ea"/>
                <a:cs typeface="Arial" charset="0"/>
              </a:endParaRPr>
            </a:p>
          </p:txBody>
        </p:sp>
        <p:sp>
          <p:nvSpPr>
            <p:cNvPr id="148" name="Freeform 24"/>
            <p:cNvSpPr>
              <a:spLocks/>
            </p:cNvSpPr>
            <p:nvPr/>
          </p:nvSpPr>
          <p:spPr bwMode="auto">
            <a:xfrm>
              <a:off x="1040911" y="4417074"/>
              <a:ext cx="423398" cy="199763"/>
            </a:xfrm>
            <a:custGeom>
              <a:avLst/>
              <a:gdLst>
                <a:gd name="T0" fmla="*/ 33 w 385"/>
                <a:gd name="T1" fmla="*/ 2 h 185"/>
                <a:gd name="T2" fmla="*/ 24 w 385"/>
                <a:gd name="T3" fmla="*/ 1 h 185"/>
                <a:gd name="T4" fmla="*/ 21 w 385"/>
                <a:gd name="T5" fmla="*/ 0 h 185"/>
                <a:gd name="T6" fmla="*/ 10 w 385"/>
                <a:gd name="T7" fmla="*/ 1 h 185"/>
                <a:gd name="T8" fmla="*/ 6 w 385"/>
                <a:gd name="T9" fmla="*/ 2 h 185"/>
                <a:gd name="T10" fmla="*/ 2 w 385"/>
                <a:gd name="T11" fmla="*/ 3 h 185"/>
                <a:gd name="T12" fmla="*/ 0 w 385"/>
                <a:gd name="T13" fmla="*/ 4 h 185"/>
                <a:gd name="T14" fmla="*/ 0 w 385"/>
                <a:gd name="T15" fmla="*/ 6 h 185"/>
                <a:gd name="T16" fmla="*/ 1 w 385"/>
                <a:gd name="T17" fmla="*/ 8 h 185"/>
                <a:gd name="T18" fmla="*/ 4 w 385"/>
                <a:gd name="T19" fmla="*/ 9 h 185"/>
                <a:gd name="T20" fmla="*/ 6 w 385"/>
                <a:gd name="T21" fmla="*/ 10 h 185"/>
                <a:gd name="T22" fmla="*/ 8 w 385"/>
                <a:gd name="T23" fmla="*/ 8 h 185"/>
                <a:gd name="T24" fmla="*/ 21 w 385"/>
                <a:gd name="T25" fmla="*/ 8 h 185"/>
                <a:gd name="T26" fmla="*/ 22 w 385"/>
                <a:gd name="T27" fmla="*/ 10 h 185"/>
                <a:gd name="T28" fmla="*/ 24 w 385"/>
                <a:gd name="T29" fmla="*/ 10 h 185"/>
                <a:gd name="T30" fmla="*/ 25 w 385"/>
                <a:gd name="T31" fmla="*/ 13 h 185"/>
                <a:gd name="T32" fmla="*/ 27 w 385"/>
                <a:gd name="T33" fmla="*/ 15 h 185"/>
                <a:gd name="T34" fmla="*/ 27 w 385"/>
                <a:gd name="T35" fmla="*/ 16 h 185"/>
                <a:gd name="T36" fmla="*/ 32 w 385"/>
                <a:gd name="T37" fmla="*/ 16 h 185"/>
                <a:gd name="T38" fmla="*/ 35 w 385"/>
                <a:gd name="T39" fmla="*/ 18 h 185"/>
                <a:gd name="T40" fmla="*/ 37 w 385"/>
                <a:gd name="T41" fmla="*/ 21 h 185"/>
                <a:gd name="T42" fmla="*/ 40 w 385"/>
                <a:gd name="T43" fmla="*/ 20 h 185"/>
                <a:gd name="T44" fmla="*/ 40 w 385"/>
                <a:gd name="T45" fmla="*/ 18 h 185"/>
                <a:gd name="T46" fmla="*/ 47 w 385"/>
                <a:gd name="T47" fmla="*/ 18 h 185"/>
                <a:gd name="T48" fmla="*/ 49 w 385"/>
                <a:gd name="T49" fmla="*/ 16 h 185"/>
                <a:gd name="T50" fmla="*/ 49 w 385"/>
                <a:gd name="T51" fmla="*/ 14 h 185"/>
                <a:gd name="T52" fmla="*/ 51 w 385"/>
                <a:gd name="T53" fmla="*/ 14 h 185"/>
                <a:gd name="T54" fmla="*/ 48 w 385"/>
                <a:gd name="T55" fmla="*/ 12 h 185"/>
                <a:gd name="T56" fmla="*/ 48 w 385"/>
                <a:gd name="T57" fmla="*/ 10 h 185"/>
                <a:gd name="T58" fmla="*/ 41 w 385"/>
                <a:gd name="T59" fmla="*/ 10 h 185"/>
                <a:gd name="T60" fmla="*/ 40 w 385"/>
                <a:gd name="T61" fmla="*/ 7 h 185"/>
                <a:gd name="T62" fmla="*/ 37 w 385"/>
                <a:gd name="T63" fmla="*/ 5 h 185"/>
                <a:gd name="T64" fmla="*/ 34 w 385"/>
                <a:gd name="T65" fmla="*/ 5 h 185"/>
                <a:gd name="T66" fmla="*/ 34 w 385"/>
                <a:gd name="T67" fmla="*/ 3 h 185"/>
                <a:gd name="T68" fmla="*/ 33 w 385"/>
                <a:gd name="T69" fmla="*/ 2 h 18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5"/>
                <a:gd name="T106" fmla="*/ 0 h 185"/>
                <a:gd name="T107" fmla="*/ 385 w 385"/>
                <a:gd name="T108" fmla="*/ 185 h 18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5" h="185">
                  <a:moveTo>
                    <a:pt x="245" y="14"/>
                  </a:moveTo>
                  <a:lnTo>
                    <a:pt x="184" y="9"/>
                  </a:lnTo>
                  <a:lnTo>
                    <a:pt x="159" y="0"/>
                  </a:lnTo>
                  <a:lnTo>
                    <a:pt x="74" y="2"/>
                  </a:lnTo>
                  <a:lnTo>
                    <a:pt x="45" y="15"/>
                  </a:lnTo>
                  <a:lnTo>
                    <a:pt x="20" y="25"/>
                  </a:lnTo>
                  <a:lnTo>
                    <a:pt x="0" y="34"/>
                  </a:lnTo>
                  <a:lnTo>
                    <a:pt x="0" y="50"/>
                  </a:lnTo>
                  <a:lnTo>
                    <a:pt x="5" y="72"/>
                  </a:lnTo>
                  <a:lnTo>
                    <a:pt x="29" y="79"/>
                  </a:lnTo>
                  <a:lnTo>
                    <a:pt x="45" y="89"/>
                  </a:lnTo>
                  <a:lnTo>
                    <a:pt x="64" y="74"/>
                  </a:lnTo>
                  <a:lnTo>
                    <a:pt x="160" y="75"/>
                  </a:lnTo>
                  <a:lnTo>
                    <a:pt x="170" y="89"/>
                  </a:lnTo>
                  <a:lnTo>
                    <a:pt x="185" y="92"/>
                  </a:lnTo>
                  <a:lnTo>
                    <a:pt x="187" y="117"/>
                  </a:lnTo>
                  <a:lnTo>
                    <a:pt x="204" y="134"/>
                  </a:lnTo>
                  <a:lnTo>
                    <a:pt x="200" y="145"/>
                  </a:lnTo>
                  <a:lnTo>
                    <a:pt x="242" y="147"/>
                  </a:lnTo>
                  <a:lnTo>
                    <a:pt x="264" y="162"/>
                  </a:lnTo>
                  <a:lnTo>
                    <a:pt x="282" y="185"/>
                  </a:lnTo>
                  <a:lnTo>
                    <a:pt x="300" y="175"/>
                  </a:lnTo>
                  <a:lnTo>
                    <a:pt x="304" y="157"/>
                  </a:lnTo>
                  <a:lnTo>
                    <a:pt x="355" y="159"/>
                  </a:lnTo>
                  <a:lnTo>
                    <a:pt x="374" y="140"/>
                  </a:lnTo>
                  <a:lnTo>
                    <a:pt x="374" y="127"/>
                  </a:lnTo>
                  <a:lnTo>
                    <a:pt x="385" y="124"/>
                  </a:lnTo>
                  <a:lnTo>
                    <a:pt x="365" y="107"/>
                  </a:lnTo>
                  <a:lnTo>
                    <a:pt x="362" y="87"/>
                  </a:lnTo>
                  <a:lnTo>
                    <a:pt x="310" y="87"/>
                  </a:lnTo>
                  <a:lnTo>
                    <a:pt x="304" y="62"/>
                  </a:lnTo>
                  <a:lnTo>
                    <a:pt x="277" y="44"/>
                  </a:lnTo>
                  <a:lnTo>
                    <a:pt x="260" y="44"/>
                  </a:lnTo>
                  <a:lnTo>
                    <a:pt x="260" y="24"/>
                  </a:lnTo>
                  <a:lnTo>
                    <a:pt x="245" y="14"/>
                  </a:lnTo>
                  <a:close/>
                </a:path>
              </a:pathLst>
            </a:custGeom>
            <a:solidFill>
              <a:srgbClr val="00A1DE"/>
            </a:solidFill>
            <a:ln w="12700">
              <a:solidFill>
                <a:schemeClr val="bg1"/>
              </a:solidFill>
              <a:round/>
              <a:headEnd type="none" w="sm" len="sm"/>
              <a:tailEnd type="none" w="sm" len="sm"/>
            </a:ln>
          </p:spPr>
          <p:txBody>
            <a:bodyPr wrap="none" anchor="ctr"/>
            <a:lstStyle/>
            <a:p>
              <a:pPr defTabSz="685800">
                <a:buClrTx/>
                <a:defRPr/>
              </a:pPr>
              <a:endParaRPr lang="en-GB" sz="1350" kern="1200">
                <a:solidFill>
                  <a:prstClr val="black"/>
                </a:solidFill>
                <a:latin typeface="Arial" charset="0"/>
                <a:ea typeface="+mn-ea"/>
                <a:cs typeface="Arial" charset="0"/>
              </a:endParaRPr>
            </a:p>
          </p:txBody>
        </p:sp>
        <p:sp>
          <p:nvSpPr>
            <p:cNvPr id="149" name="Freeform 25"/>
            <p:cNvSpPr>
              <a:spLocks/>
            </p:cNvSpPr>
            <p:nvPr/>
          </p:nvSpPr>
          <p:spPr bwMode="auto">
            <a:xfrm>
              <a:off x="1216110" y="4252783"/>
              <a:ext cx="483623" cy="278175"/>
            </a:xfrm>
            <a:custGeom>
              <a:avLst/>
              <a:gdLst>
                <a:gd name="T0" fmla="*/ 0 w 441"/>
                <a:gd name="T1" fmla="*/ 7 h 256"/>
                <a:gd name="T2" fmla="*/ 8 w 441"/>
                <a:gd name="T3" fmla="*/ 8 h 256"/>
                <a:gd name="T4" fmla="*/ 10 w 441"/>
                <a:gd name="T5" fmla="*/ 5 h 256"/>
                <a:gd name="T6" fmla="*/ 17 w 441"/>
                <a:gd name="T7" fmla="*/ 5 h 256"/>
                <a:gd name="T8" fmla="*/ 17 w 441"/>
                <a:gd name="T9" fmla="*/ 8 h 256"/>
                <a:gd name="T10" fmla="*/ 20 w 441"/>
                <a:gd name="T11" fmla="*/ 10 h 256"/>
                <a:gd name="T12" fmla="*/ 20 w 441"/>
                <a:gd name="T13" fmla="*/ 14 h 256"/>
                <a:gd name="T14" fmla="*/ 22 w 441"/>
                <a:gd name="T15" fmla="*/ 16 h 256"/>
                <a:gd name="T16" fmla="*/ 22 w 441"/>
                <a:gd name="T17" fmla="*/ 17 h 256"/>
                <a:gd name="T18" fmla="*/ 23 w 441"/>
                <a:gd name="T19" fmla="*/ 17 h 256"/>
                <a:gd name="T20" fmla="*/ 24 w 441"/>
                <a:gd name="T21" fmla="*/ 20 h 256"/>
                <a:gd name="T22" fmla="*/ 28 w 441"/>
                <a:gd name="T23" fmla="*/ 20 h 256"/>
                <a:gd name="T24" fmla="*/ 31 w 441"/>
                <a:gd name="T25" fmla="*/ 21 h 256"/>
                <a:gd name="T26" fmla="*/ 35 w 441"/>
                <a:gd name="T27" fmla="*/ 21 h 256"/>
                <a:gd name="T28" fmla="*/ 40 w 441"/>
                <a:gd name="T29" fmla="*/ 23 h 256"/>
                <a:gd name="T30" fmla="*/ 47 w 441"/>
                <a:gd name="T31" fmla="*/ 28 h 256"/>
                <a:gd name="T32" fmla="*/ 51 w 441"/>
                <a:gd name="T33" fmla="*/ 29 h 256"/>
                <a:gd name="T34" fmla="*/ 53 w 441"/>
                <a:gd name="T35" fmla="*/ 30 h 256"/>
                <a:gd name="T36" fmla="*/ 55 w 441"/>
                <a:gd name="T37" fmla="*/ 27 h 256"/>
                <a:gd name="T38" fmla="*/ 58 w 441"/>
                <a:gd name="T39" fmla="*/ 26 h 256"/>
                <a:gd name="T40" fmla="*/ 58 w 441"/>
                <a:gd name="T41" fmla="*/ 23 h 256"/>
                <a:gd name="T42" fmla="*/ 52 w 441"/>
                <a:gd name="T43" fmla="*/ 19 h 256"/>
                <a:gd name="T44" fmla="*/ 50 w 441"/>
                <a:gd name="T45" fmla="*/ 17 h 256"/>
                <a:gd name="T46" fmla="*/ 48 w 441"/>
                <a:gd name="T47" fmla="*/ 17 h 256"/>
                <a:gd name="T48" fmla="*/ 41 w 441"/>
                <a:gd name="T49" fmla="*/ 12 h 256"/>
                <a:gd name="T50" fmla="*/ 37 w 441"/>
                <a:gd name="T51" fmla="*/ 10 h 256"/>
                <a:gd name="T52" fmla="*/ 34 w 441"/>
                <a:gd name="T53" fmla="*/ 8 h 256"/>
                <a:gd name="T54" fmla="*/ 29 w 441"/>
                <a:gd name="T55" fmla="*/ 8 h 256"/>
                <a:gd name="T56" fmla="*/ 26 w 441"/>
                <a:gd name="T57" fmla="*/ 4 h 256"/>
                <a:gd name="T58" fmla="*/ 19 w 441"/>
                <a:gd name="T59" fmla="*/ 3 h 256"/>
                <a:gd name="T60" fmla="*/ 19 w 441"/>
                <a:gd name="T61" fmla="*/ 0 h 256"/>
                <a:gd name="T62" fmla="*/ 7 w 441"/>
                <a:gd name="T63" fmla="*/ 1 h 256"/>
                <a:gd name="T64" fmla="*/ 4 w 441"/>
                <a:gd name="T65" fmla="*/ 3 h 256"/>
                <a:gd name="T66" fmla="*/ 0 w 441"/>
                <a:gd name="T67" fmla="*/ 5 h 256"/>
                <a:gd name="T68" fmla="*/ 0 w 441"/>
                <a:gd name="T69" fmla="*/ 7 h 2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41"/>
                <a:gd name="T106" fmla="*/ 0 h 256"/>
                <a:gd name="T107" fmla="*/ 441 w 441"/>
                <a:gd name="T108" fmla="*/ 256 h 2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41" h="256">
                  <a:moveTo>
                    <a:pt x="0" y="58"/>
                  </a:moveTo>
                  <a:lnTo>
                    <a:pt x="66" y="63"/>
                  </a:lnTo>
                  <a:lnTo>
                    <a:pt x="76" y="43"/>
                  </a:lnTo>
                  <a:lnTo>
                    <a:pt x="136" y="46"/>
                  </a:lnTo>
                  <a:lnTo>
                    <a:pt x="126" y="63"/>
                  </a:lnTo>
                  <a:lnTo>
                    <a:pt x="153" y="93"/>
                  </a:lnTo>
                  <a:lnTo>
                    <a:pt x="155" y="120"/>
                  </a:lnTo>
                  <a:lnTo>
                    <a:pt x="168" y="135"/>
                  </a:lnTo>
                  <a:lnTo>
                    <a:pt x="170" y="145"/>
                  </a:lnTo>
                  <a:lnTo>
                    <a:pt x="180" y="151"/>
                  </a:lnTo>
                  <a:lnTo>
                    <a:pt x="185" y="170"/>
                  </a:lnTo>
                  <a:lnTo>
                    <a:pt x="218" y="171"/>
                  </a:lnTo>
                  <a:lnTo>
                    <a:pt x="238" y="183"/>
                  </a:lnTo>
                  <a:lnTo>
                    <a:pt x="270" y="180"/>
                  </a:lnTo>
                  <a:lnTo>
                    <a:pt x="311" y="205"/>
                  </a:lnTo>
                  <a:lnTo>
                    <a:pt x="358" y="243"/>
                  </a:lnTo>
                  <a:lnTo>
                    <a:pt x="390" y="250"/>
                  </a:lnTo>
                  <a:lnTo>
                    <a:pt x="406" y="256"/>
                  </a:lnTo>
                  <a:lnTo>
                    <a:pt x="423" y="238"/>
                  </a:lnTo>
                  <a:lnTo>
                    <a:pt x="440" y="231"/>
                  </a:lnTo>
                  <a:lnTo>
                    <a:pt x="441" y="198"/>
                  </a:lnTo>
                  <a:lnTo>
                    <a:pt x="396" y="168"/>
                  </a:lnTo>
                  <a:lnTo>
                    <a:pt x="386" y="153"/>
                  </a:lnTo>
                  <a:lnTo>
                    <a:pt x="368" y="145"/>
                  </a:lnTo>
                  <a:lnTo>
                    <a:pt x="315" y="101"/>
                  </a:lnTo>
                  <a:lnTo>
                    <a:pt x="283" y="90"/>
                  </a:lnTo>
                  <a:lnTo>
                    <a:pt x="258" y="65"/>
                  </a:lnTo>
                  <a:lnTo>
                    <a:pt x="223" y="71"/>
                  </a:lnTo>
                  <a:lnTo>
                    <a:pt x="201" y="35"/>
                  </a:lnTo>
                  <a:lnTo>
                    <a:pt x="148" y="25"/>
                  </a:lnTo>
                  <a:lnTo>
                    <a:pt x="145" y="0"/>
                  </a:lnTo>
                  <a:lnTo>
                    <a:pt x="53" y="3"/>
                  </a:lnTo>
                  <a:lnTo>
                    <a:pt x="28" y="26"/>
                  </a:lnTo>
                  <a:lnTo>
                    <a:pt x="0" y="40"/>
                  </a:lnTo>
                  <a:lnTo>
                    <a:pt x="0" y="58"/>
                  </a:lnTo>
                  <a:close/>
                </a:path>
              </a:pathLst>
            </a:custGeom>
            <a:solidFill>
              <a:srgbClr val="00A1DE"/>
            </a:solidFill>
            <a:ln w="12700">
              <a:solidFill>
                <a:schemeClr val="bg1"/>
              </a:solidFill>
              <a:round/>
              <a:headEnd type="none" w="sm" len="sm"/>
              <a:tailEnd type="none" w="sm" len="sm"/>
            </a:ln>
          </p:spPr>
          <p:txBody>
            <a:bodyPr wrap="none" anchor="ctr"/>
            <a:lstStyle/>
            <a:p>
              <a:pPr defTabSz="685800">
                <a:buClrTx/>
                <a:defRPr/>
              </a:pPr>
              <a:endParaRPr lang="en-GB" sz="1350" kern="1200">
                <a:solidFill>
                  <a:prstClr val="black"/>
                </a:solidFill>
                <a:latin typeface="Arial" charset="0"/>
                <a:ea typeface="+mn-ea"/>
                <a:cs typeface="Arial" charset="0"/>
              </a:endParaRPr>
            </a:p>
          </p:txBody>
        </p:sp>
        <p:sp>
          <p:nvSpPr>
            <p:cNvPr id="150" name="Line 26"/>
            <p:cNvSpPr>
              <a:spLocks noChangeShapeType="1"/>
            </p:cNvSpPr>
            <p:nvPr/>
          </p:nvSpPr>
          <p:spPr bwMode="auto">
            <a:xfrm flipV="1">
              <a:off x="1008061" y="4521623"/>
              <a:ext cx="49275" cy="106416"/>
            </a:xfrm>
            <a:prstGeom prst="line">
              <a:avLst/>
            </a:prstGeom>
            <a:solidFill>
              <a:schemeClr val="accent1"/>
            </a:solidFill>
            <a:ln w="12700">
              <a:solidFill>
                <a:schemeClr val="bg1"/>
              </a:solidFill>
              <a:round/>
              <a:headEnd type="none" w="sm" len="sm"/>
              <a:tailEnd type="none" w="sm" len="sm"/>
            </a:ln>
          </p:spPr>
          <p:txBody>
            <a:bodyPr wrap="none" anchor="ctr"/>
            <a:lstStyle/>
            <a:p>
              <a:pPr defTabSz="685800">
                <a:buClrTx/>
                <a:defRPr/>
              </a:pPr>
              <a:endParaRPr lang="en-GB" sz="1350" kern="1200">
                <a:solidFill>
                  <a:prstClr val="black"/>
                </a:solidFill>
                <a:latin typeface="Arial" charset="0"/>
                <a:ea typeface="+mn-ea"/>
                <a:cs typeface="Arial" charset="0"/>
              </a:endParaRPr>
            </a:p>
          </p:txBody>
        </p:sp>
        <p:sp>
          <p:nvSpPr>
            <p:cNvPr id="151" name="Line 27"/>
            <p:cNvSpPr>
              <a:spLocks noChangeShapeType="1"/>
            </p:cNvSpPr>
            <p:nvPr/>
          </p:nvSpPr>
          <p:spPr bwMode="auto">
            <a:xfrm flipV="1">
              <a:off x="1155886" y="4329328"/>
              <a:ext cx="63875" cy="72811"/>
            </a:xfrm>
            <a:prstGeom prst="line">
              <a:avLst/>
            </a:prstGeom>
            <a:solidFill>
              <a:schemeClr val="accent1"/>
            </a:solidFill>
            <a:ln w="12700">
              <a:solidFill>
                <a:schemeClr val="bg1"/>
              </a:solidFill>
              <a:round/>
              <a:headEnd type="none" w="sm" len="sm"/>
              <a:tailEnd type="none" w="sm" len="sm"/>
            </a:ln>
          </p:spPr>
          <p:txBody>
            <a:bodyPr wrap="none" anchor="ctr"/>
            <a:lstStyle/>
            <a:p>
              <a:pPr defTabSz="685800">
                <a:buClrTx/>
                <a:defRPr/>
              </a:pPr>
              <a:endParaRPr lang="en-GB" sz="1350" kern="1200">
                <a:solidFill>
                  <a:prstClr val="black"/>
                </a:solidFill>
                <a:latin typeface="Arial" charset="0"/>
                <a:ea typeface="+mn-ea"/>
                <a:cs typeface="Arial" charset="0"/>
              </a:endParaRPr>
            </a:p>
          </p:txBody>
        </p:sp>
        <p:sp>
          <p:nvSpPr>
            <p:cNvPr id="152" name="Line 28"/>
            <p:cNvSpPr>
              <a:spLocks noChangeShapeType="1"/>
            </p:cNvSpPr>
            <p:nvPr/>
          </p:nvSpPr>
          <p:spPr bwMode="auto">
            <a:xfrm flipV="1">
              <a:off x="1234360" y="4590700"/>
              <a:ext cx="43800" cy="35472"/>
            </a:xfrm>
            <a:prstGeom prst="line">
              <a:avLst/>
            </a:prstGeom>
            <a:solidFill>
              <a:schemeClr val="accent1"/>
            </a:solidFill>
            <a:ln w="12700">
              <a:solidFill>
                <a:schemeClr val="bg1"/>
              </a:solidFill>
              <a:round/>
              <a:headEnd type="none" w="sm" len="sm"/>
              <a:tailEnd type="none" w="sm" len="sm"/>
            </a:ln>
          </p:spPr>
          <p:txBody>
            <a:bodyPr wrap="none" anchor="ctr"/>
            <a:lstStyle/>
            <a:p>
              <a:pPr defTabSz="685800">
                <a:buClrTx/>
                <a:defRPr/>
              </a:pPr>
              <a:endParaRPr lang="en-GB" sz="1350" kern="1200">
                <a:solidFill>
                  <a:prstClr val="black"/>
                </a:solidFill>
                <a:latin typeface="Arial" charset="0"/>
                <a:ea typeface="+mn-ea"/>
                <a:cs typeface="Arial" charset="0"/>
              </a:endParaRPr>
            </a:p>
          </p:txBody>
        </p:sp>
        <p:sp>
          <p:nvSpPr>
            <p:cNvPr id="153" name="Freeform 29"/>
            <p:cNvSpPr>
              <a:spLocks/>
            </p:cNvSpPr>
            <p:nvPr/>
          </p:nvSpPr>
          <p:spPr bwMode="auto">
            <a:xfrm>
              <a:off x="1343860" y="4392804"/>
              <a:ext cx="36500" cy="56008"/>
            </a:xfrm>
            <a:custGeom>
              <a:avLst/>
              <a:gdLst>
                <a:gd name="T0" fmla="*/ 0 w 36"/>
                <a:gd name="T1" fmla="*/ 0 h 49"/>
                <a:gd name="T2" fmla="*/ 1 w 36"/>
                <a:gd name="T3" fmla="*/ 5 h 49"/>
                <a:gd name="T4" fmla="*/ 2 w 36"/>
                <a:gd name="T5" fmla="*/ 6 h 49"/>
                <a:gd name="T6" fmla="*/ 3 w 36"/>
                <a:gd name="T7" fmla="*/ 7 h 49"/>
                <a:gd name="T8" fmla="*/ 3 w 36"/>
                <a:gd name="T9" fmla="*/ 5 h 49"/>
                <a:gd name="T10" fmla="*/ 2 w 36"/>
                <a:gd name="T11" fmla="*/ 2 h 49"/>
                <a:gd name="T12" fmla="*/ 2 w 36"/>
                <a:gd name="T13" fmla="*/ 1 h 49"/>
                <a:gd name="T14" fmla="*/ 0 w 36"/>
                <a:gd name="T15" fmla="*/ 0 h 49"/>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49"/>
                <a:gd name="T26" fmla="*/ 36 w 36"/>
                <a:gd name="T27" fmla="*/ 49 h 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49">
                  <a:moveTo>
                    <a:pt x="0" y="0"/>
                  </a:moveTo>
                  <a:lnTo>
                    <a:pt x="3" y="34"/>
                  </a:lnTo>
                  <a:lnTo>
                    <a:pt x="23" y="37"/>
                  </a:lnTo>
                  <a:lnTo>
                    <a:pt x="31" y="49"/>
                  </a:lnTo>
                  <a:lnTo>
                    <a:pt x="36" y="35"/>
                  </a:lnTo>
                  <a:lnTo>
                    <a:pt x="23" y="17"/>
                  </a:lnTo>
                  <a:lnTo>
                    <a:pt x="18" y="2"/>
                  </a:lnTo>
                  <a:lnTo>
                    <a:pt x="0" y="0"/>
                  </a:lnTo>
                  <a:close/>
                </a:path>
              </a:pathLst>
            </a:custGeom>
            <a:solidFill>
              <a:srgbClr val="00A1DE"/>
            </a:solidFill>
            <a:ln w="12700">
              <a:solidFill>
                <a:schemeClr val="bg1"/>
              </a:solidFill>
              <a:round/>
              <a:headEnd type="none" w="sm" len="sm"/>
              <a:tailEnd type="none" w="sm" len="sm"/>
            </a:ln>
          </p:spPr>
          <p:txBody>
            <a:bodyPr wrap="none" anchor="ctr"/>
            <a:lstStyle/>
            <a:p>
              <a:pPr defTabSz="685800">
                <a:buClrTx/>
                <a:defRPr/>
              </a:pPr>
              <a:endParaRPr lang="en-GB" sz="1350" kern="1200">
                <a:solidFill>
                  <a:prstClr val="black"/>
                </a:solidFill>
                <a:latin typeface="Arial" charset="0"/>
                <a:ea typeface="+mn-ea"/>
                <a:cs typeface="Arial" charset="0"/>
              </a:endParaRPr>
            </a:p>
          </p:txBody>
        </p:sp>
        <p:sp>
          <p:nvSpPr>
            <p:cNvPr id="154" name="Freeform 30"/>
            <p:cNvSpPr>
              <a:spLocks/>
            </p:cNvSpPr>
            <p:nvPr/>
          </p:nvSpPr>
          <p:spPr bwMode="auto">
            <a:xfrm>
              <a:off x="1484384" y="4557095"/>
              <a:ext cx="52925" cy="46674"/>
            </a:xfrm>
            <a:custGeom>
              <a:avLst/>
              <a:gdLst>
                <a:gd name="T0" fmla="*/ 0 w 50"/>
                <a:gd name="T1" fmla="*/ 1 h 42"/>
                <a:gd name="T2" fmla="*/ 2 w 50"/>
                <a:gd name="T3" fmla="*/ 5 h 42"/>
                <a:gd name="T4" fmla="*/ 6 w 50"/>
                <a:gd name="T5" fmla="*/ 5 h 42"/>
                <a:gd name="T6" fmla="*/ 6 w 50"/>
                <a:gd name="T7" fmla="*/ 3 h 42"/>
                <a:gd name="T8" fmla="*/ 3 w 50"/>
                <a:gd name="T9" fmla="*/ 2 h 42"/>
                <a:gd name="T10" fmla="*/ 3 w 50"/>
                <a:gd name="T11" fmla="*/ 0 h 42"/>
                <a:gd name="T12" fmla="*/ 0 w 50"/>
                <a:gd name="T13" fmla="*/ 1 h 42"/>
                <a:gd name="T14" fmla="*/ 0 60000 65536"/>
                <a:gd name="T15" fmla="*/ 0 60000 65536"/>
                <a:gd name="T16" fmla="*/ 0 60000 65536"/>
                <a:gd name="T17" fmla="*/ 0 60000 65536"/>
                <a:gd name="T18" fmla="*/ 0 60000 65536"/>
                <a:gd name="T19" fmla="*/ 0 60000 65536"/>
                <a:gd name="T20" fmla="*/ 0 60000 65536"/>
                <a:gd name="T21" fmla="*/ 0 w 50"/>
                <a:gd name="T22" fmla="*/ 0 h 42"/>
                <a:gd name="T23" fmla="*/ 50 w 50"/>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 h="42">
                  <a:moveTo>
                    <a:pt x="0" y="10"/>
                  </a:moveTo>
                  <a:lnTo>
                    <a:pt x="13" y="42"/>
                  </a:lnTo>
                  <a:lnTo>
                    <a:pt x="50" y="40"/>
                  </a:lnTo>
                  <a:lnTo>
                    <a:pt x="50" y="25"/>
                  </a:lnTo>
                  <a:lnTo>
                    <a:pt x="27" y="17"/>
                  </a:lnTo>
                  <a:lnTo>
                    <a:pt x="23" y="0"/>
                  </a:lnTo>
                  <a:lnTo>
                    <a:pt x="0" y="10"/>
                  </a:lnTo>
                  <a:close/>
                </a:path>
              </a:pathLst>
            </a:custGeom>
            <a:solidFill>
              <a:srgbClr val="00A1DE"/>
            </a:solidFill>
            <a:ln w="12700">
              <a:solidFill>
                <a:schemeClr val="bg1"/>
              </a:solidFill>
              <a:round/>
              <a:headEnd type="none" w="sm" len="sm"/>
              <a:tailEnd type="none" w="sm" len="sm"/>
            </a:ln>
          </p:spPr>
          <p:txBody>
            <a:bodyPr wrap="none" anchor="ctr"/>
            <a:lstStyle/>
            <a:p>
              <a:pPr defTabSz="685800">
                <a:buClrTx/>
                <a:defRPr/>
              </a:pPr>
              <a:endParaRPr lang="en-GB" sz="1350" kern="1200">
                <a:solidFill>
                  <a:prstClr val="black"/>
                </a:solidFill>
                <a:latin typeface="Arial" charset="0"/>
                <a:ea typeface="+mn-ea"/>
                <a:cs typeface="Arial" charset="0"/>
              </a:endParaRPr>
            </a:p>
          </p:txBody>
        </p:sp>
        <p:sp>
          <p:nvSpPr>
            <p:cNvPr id="155" name="Freeform 31"/>
            <p:cNvSpPr>
              <a:spLocks/>
            </p:cNvSpPr>
            <p:nvPr/>
          </p:nvSpPr>
          <p:spPr bwMode="auto">
            <a:xfrm>
              <a:off x="1676008" y="4396538"/>
              <a:ext cx="47450" cy="37339"/>
            </a:xfrm>
            <a:custGeom>
              <a:avLst/>
              <a:gdLst>
                <a:gd name="T0" fmla="*/ 0 w 43"/>
                <a:gd name="T1" fmla="*/ 0 h 35"/>
                <a:gd name="T2" fmla="*/ 1 w 43"/>
                <a:gd name="T3" fmla="*/ 3 h 35"/>
                <a:gd name="T4" fmla="*/ 2 w 43"/>
                <a:gd name="T5" fmla="*/ 3 h 35"/>
                <a:gd name="T6" fmla="*/ 5 w 43"/>
                <a:gd name="T7" fmla="*/ 3 h 35"/>
                <a:gd name="T8" fmla="*/ 6 w 43"/>
                <a:gd name="T9" fmla="*/ 1 h 35"/>
                <a:gd name="T10" fmla="*/ 3 w 43"/>
                <a:gd name="T11" fmla="*/ 1 h 35"/>
                <a:gd name="T12" fmla="*/ 0 w 43"/>
                <a:gd name="T13" fmla="*/ 0 h 35"/>
                <a:gd name="T14" fmla="*/ 0 60000 65536"/>
                <a:gd name="T15" fmla="*/ 0 60000 65536"/>
                <a:gd name="T16" fmla="*/ 0 60000 65536"/>
                <a:gd name="T17" fmla="*/ 0 60000 65536"/>
                <a:gd name="T18" fmla="*/ 0 60000 65536"/>
                <a:gd name="T19" fmla="*/ 0 60000 65536"/>
                <a:gd name="T20" fmla="*/ 0 60000 65536"/>
                <a:gd name="T21" fmla="*/ 0 w 43"/>
                <a:gd name="T22" fmla="*/ 0 h 35"/>
                <a:gd name="T23" fmla="*/ 43 w 43"/>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35">
                  <a:moveTo>
                    <a:pt x="0" y="0"/>
                  </a:moveTo>
                  <a:lnTo>
                    <a:pt x="12" y="27"/>
                  </a:lnTo>
                  <a:lnTo>
                    <a:pt x="18" y="35"/>
                  </a:lnTo>
                  <a:lnTo>
                    <a:pt x="42" y="25"/>
                  </a:lnTo>
                  <a:lnTo>
                    <a:pt x="43" y="12"/>
                  </a:lnTo>
                  <a:lnTo>
                    <a:pt x="22" y="8"/>
                  </a:lnTo>
                  <a:lnTo>
                    <a:pt x="0" y="0"/>
                  </a:lnTo>
                  <a:close/>
                </a:path>
              </a:pathLst>
            </a:custGeom>
            <a:solidFill>
              <a:srgbClr val="00A1DE"/>
            </a:solidFill>
            <a:ln w="12700">
              <a:solidFill>
                <a:schemeClr val="bg1"/>
              </a:solidFill>
              <a:round/>
              <a:headEnd type="none" w="sm" len="sm"/>
              <a:tailEnd type="none" w="sm" len="sm"/>
            </a:ln>
          </p:spPr>
          <p:txBody>
            <a:bodyPr wrap="none" anchor="ctr"/>
            <a:lstStyle/>
            <a:p>
              <a:pPr defTabSz="685800">
                <a:buClrTx/>
                <a:defRPr/>
              </a:pPr>
              <a:endParaRPr lang="en-GB" sz="1350" kern="1200">
                <a:solidFill>
                  <a:prstClr val="black"/>
                </a:solidFill>
                <a:latin typeface="Arial" charset="0"/>
                <a:ea typeface="+mn-ea"/>
                <a:cs typeface="Arial" charset="0"/>
              </a:endParaRPr>
            </a:p>
          </p:txBody>
        </p:sp>
        <p:sp>
          <p:nvSpPr>
            <p:cNvPr id="156" name="Freeform 32"/>
            <p:cNvSpPr>
              <a:spLocks/>
            </p:cNvSpPr>
            <p:nvPr/>
          </p:nvSpPr>
          <p:spPr bwMode="auto">
            <a:xfrm>
              <a:off x="1367584" y="4013813"/>
              <a:ext cx="344923" cy="291244"/>
            </a:xfrm>
            <a:custGeom>
              <a:avLst/>
              <a:gdLst>
                <a:gd name="T0" fmla="*/ 1 w 312"/>
                <a:gd name="T1" fmla="*/ 1 h 265"/>
                <a:gd name="T2" fmla="*/ 0 w 312"/>
                <a:gd name="T3" fmla="*/ 5 h 265"/>
                <a:gd name="T4" fmla="*/ 1 w 312"/>
                <a:gd name="T5" fmla="*/ 6 h 265"/>
                <a:gd name="T6" fmla="*/ 2 w 312"/>
                <a:gd name="T7" fmla="*/ 11 h 265"/>
                <a:gd name="T8" fmla="*/ 5 w 312"/>
                <a:gd name="T9" fmla="*/ 14 h 265"/>
                <a:gd name="T10" fmla="*/ 5 w 312"/>
                <a:gd name="T11" fmla="*/ 19 h 265"/>
                <a:gd name="T12" fmla="*/ 7 w 312"/>
                <a:gd name="T13" fmla="*/ 22 h 265"/>
                <a:gd name="T14" fmla="*/ 8 w 312"/>
                <a:gd name="T15" fmla="*/ 24 h 265"/>
                <a:gd name="T16" fmla="*/ 9 w 312"/>
                <a:gd name="T17" fmla="*/ 24 h 265"/>
                <a:gd name="T18" fmla="*/ 13 w 312"/>
                <a:gd name="T19" fmla="*/ 26 h 265"/>
                <a:gd name="T20" fmla="*/ 16 w 312"/>
                <a:gd name="T21" fmla="*/ 26 h 265"/>
                <a:gd name="T22" fmla="*/ 19 w 312"/>
                <a:gd name="T23" fmla="*/ 28 h 265"/>
                <a:gd name="T24" fmla="*/ 22 w 312"/>
                <a:gd name="T25" fmla="*/ 28 h 265"/>
                <a:gd name="T26" fmla="*/ 24 w 312"/>
                <a:gd name="T27" fmla="*/ 30 h 265"/>
                <a:gd name="T28" fmla="*/ 27 w 312"/>
                <a:gd name="T29" fmla="*/ 30 h 265"/>
                <a:gd name="T30" fmla="*/ 30 w 312"/>
                <a:gd name="T31" fmla="*/ 32 h 265"/>
                <a:gd name="T32" fmla="*/ 31 w 312"/>
                <a:gd name="T33" fmla="*/ 31 h 265"/>
                <a:gd name="T34" fmla="*/ 32 w 312"/>
                <a:gd name="T35" fmla="*/ 29 h 265"/>
                <a:gd name="T36" fmla="*/ 35 w 312"/>
                <a:gd name="T37" fmla="*/ 28 h 265"/>
                <a:gd name="T38" fmla="*/ 39 w 312"/>
                <a:gd name="T39" fmla="*/ 26 h 265"/>
                <a:gd name="T40" fmla="*/ 41 w 312"/>
                <a:gd name="T41" fmla="*/ 26 h 265"/>
                <a:gd name="T42" fmla="*/ 41 w 312"/>
                <a:gd name="T43" fmla="*/ 24 h 265"/>
                <a:gd name="T44" fmla="*/ 42 w 312"/>
                <a:gd name="T45" fmla="*/ 22 h 265"/>
                <a:gd name="T46" fmla="*/ 37 w 312"/>
                <a:gd name="T47" fmla="*/ 22 h 265"/>
                <a:gd name="T48" fmla="*/ 33 w 312"/>
                <a:gd name="T49" fmla="*/ 21 h 265"/>
                <a:gd name="T50" fmla="*/ 32 w 312"/>
                <a:gd name="T51" fmla="*/ 19 h 265"/>
                <a:gd name="T52" fmla="*/ 28 w 312"/>
                <a:gd name="T53" fmla="*/ 19 h 265"/>
                <a:gd name="T54" fmla="*/ 28 w 312"/>
                <a:gd name="T55" fmla="*/ 17 h 265"/>
                <a:gd name="T56" fmla="*/ 23 w 312"/>
                <a:gd name="T57" fmla="*/ 14 h 265"/>
                <a:gd name="T58" fmla="*/ 19 w 312"/>
                <a:gd name="T59" fmla="*/ 12 h 265"/>
                <a:gd name="T60" fmla="*/ 18 w 312"/>
                <a:gd name="T61" fmla="*/ 11 h 265"/>
                <a:gd name="T62" fmla="*/ 13 w 312"/>
                <a:gd name="T63" fmla="*/ 11 h 265"/>
                <a:gd name="T64" fmla="*/ 11 w 312"/>
                <a:gd name="T65" fmla="*/ 9 h 265"/>
                <a:gd name="T66" fmla="*/ 11 w 312"/>
                <a:gd name="T67" fmla="*/ 5 h 265"/>
                <a:gd name="T68" fmla="*/ 9 w 312"/>
                <a:gd name="T69" fmla="*/ 5 h 265"/>
                <a:gd name="T70" fmla="*/ 8 w 312"/>
                <a:gd name="T71" fmla="*/ 4 h 265"/>
                <a:gd name="T72" fmla="*/ 7 w 312"/>
                <a:gd name="T73" fmla="*/ 5 h 265"/>
                <a:gd name="T74" fmla="*/ 5 w 312"/>
                <a:gd name="T75" fmla="*/ 5 h 265"/>
                <a:gd name="T76" fmla="*/ 4 w 312"/>
                <a:gd name="T77" fmla="*/ 0 h 265"/>
                <a:gd name="T78" fmla="*/ 1 w 312"/>
                <a:gd name="T79" fmla="*/ 1 h 26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12"/>
                <a:gd name="T121" fmla="*/ 0 h 265"/>
                <a:gd name="T122" fmla="*/ 312 w 312"/>
                <a:gd name="T123" fmla="*/ 265 h 26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12" h="265">
                  <a:moveTo>
                    <a:pt x="3" y="3"/>
                  </a:moveTo>
                  <a:lnTo>
                    <a:pt x="0" y="48"/>
                  </a:lnTo>
                  <a:lnTo>
                    <a:pt x="10" y="55"/>
                  </a:lnTo>
                  <a:lnTo>
                    <a:pt x="15" y="87"/>
                  </a:lnTo>
                  <a:lnTo>
                    <a:pt x="37" y="112"/>
                  </a:lnTo>
                  <a:lnTo>
                    <a:pt x="38" y="162"/>
                  </a:lnTo>
                  <a:lnTo>
                    <a:pt x="53" y="183"/>
                  </a:lnTo>
                  <a:lnTo>
                    <a:pt x="60" y="195"/>
                  </a:lnTo>
                  <a:lnTo>
                    <a:pt x="70" y="195"/>
                  </a:lnTo>
                  <a:lnTo>
                    <a:pt x="95" y="222"/>
                  </a:lnTo>
                  <a:lnTo>
                    <a:pt x="120" y="223"/>
                  </a:lnTo>
                  <a:lnTo>
                    <a:pt x="140" y="233"/>
                  </a:lnTo>
                  <a:lnTo>
                    <a:pt x="163" y="232"/>
                  </a:lnTo>
                  <a:lnTo>
                    <a:pt x="177" y="248"/>
                  </a:lnTo>
                  <a:lnTo>
                    <a:pt x="197" y="248"/>
                  </a:lnTo>
                  <a:lnTo>
                    <a:pt x="220" y="265"/>
                  </a:lnTo>
                  <a:lnTo>
                    <a:pt x="233" y="255"/>
                  </a:lnTo>
                  <a:lnTo>
                    <a:pt x="240" y="245"/>
                  </a:lnTo>
                  <a:lnTo>
                    <a:pt x="262" y="238"/>
                  </a:lnTo>
                  <a:lnTo>
                    <a:pt x="285" y="218"/>
                  </a:lnTo>
                  <a:lnTo>
                    <a:pt x="302" y="215"/>
                  </a:lnTo>
                  <a:lnTo>
                    <a:pt x="307" y="200"/>
                  </a:lnTo>
                  <a:lnTo>
                    <a:pt x="312" y="185"/>
                  </a:lnTo>
                  <a:lnTo>
                    <a:pt x="273" y="182"/>
                  </a:lnTo>
                  <a:lnTo>
                    <a:pt x="247" y="170"/>
                  </a:lnTo>
                  <a:lnTo>
                    <a:pt x="237" y="160"/>
                  </a:lnTo>
                  <a:lnTo>
                    <a:pt x="213" y="155"/>
                  </a:lnTo>
                  <a:lnTo>
                    <a:pt x="213" y="145"/>
                  </a:lnTo>
                  <a:lnTo>
                    <a:pt x="170" y="113"/>
                  </a:lnTo>
                  <a:lnTo>
                    <a:pt x="145" y="103"/>
                  </a:lnTo>
                  <a:lnTo>
                    <a:pt x="135" y="88"/>
                  </a:lnTo>
                  <a:lnTo>
                    <a:pt x="98" y="88"/>
                  </a:lnTo>
                  <a:lnTo>
                    <a:pt x="82" y="72"/>
                  </a:lnTo>
                  <a:lnTo>
                    <a:pt x="82" y="47"/>
                  </a:lnTo>
                  <a:lnTo>
                    <a:pt x="65" y="42"/>
                  </a:lnTo>
                  <a:lnTo>
                    <a:pt x="60" y="33"/>
                  </a:lnTo>
                  <a:lnTo>
                    <a:pt x="50" y="48"/>
                  </a:lnTo>
                  <a:lnTo>
                    <a:pt x="37" y="38"/>
                  </a:lnTo>
                  <a:lnTo>
                    <a:pt x="27" y="0"/>
                  </a:lnTo>
                  <a:lnTo>
                    <a:pt x="3" y="3"/>
                  </a:lnTo>
                  <a:close/>
                </a:path>
              </a:pathLst>
            </a:custGeom>
            <a:solidFill>
              <a:srgbClr val="00A1DE"/>
            </a:solidFill>
            <a:ln w="12700">
              <a:solidFill>
                <a:schemeClr val="bg1"/>
              </a:solidFill>
              <a:round/>
              <a:headEnd type="none" w="sm" len="sm"/>
              <a:tailEnd type="none" w="sm" len="sm"/>
            </a:ln>
          </p:spPr>
          <p:txBody>
            <a:bodyPr wrap="none" anchor="ctr"/>
            <a:lstStyle/>
            <a:p>
              <a:pPr defTabSz="685800">
                <a:buClrTx/>
                <a:defRPr/>
              </a:pPr>
              <a:endParaRPr lang="en-GB" sz="1350" kern="1200">
                <a:solidFill>
                  <a:prstClr val="black"/>
                </a:solidFill>
                <a:latin typeface="Arial" charset="0"/>
                <a:ea typeface="+mn-ea"/>
                <a:cs typeface="Arial" charset="0"/>
              </a:endParaRPr>
            </a:p>
          </p:txBody>
        </p:sp>
        <p:sp>
          <p:nvSpPr>
            <p:cNvPr id="157" name="Freeform 33"/>
            <p:cNvSpPr>
              <a:spLocks/>
            </p:cNvSpPr>
            <p:nvPr/>
          </p:nvSpPr>
          <p:spPr bwMode="auto">
            <a:xfrm>
              <a:off x="1685133" y="4116495"/>
              <a:ext cx="302948" cy="153090"/>
            </a:xfrm>
            <a:custGeom>
              <a:avLst/>
              <a:gdLst>
                <a:gd name="T0" fmla="*/ 0 w 277"/>
                <a:gd name="T1" fmla="*/ 8 h 142"/>
                <a:gd name="T2" fmla="*/ 6 w 277"/>
                <a:gd name="T3" fmla="*/ 8 h 142"/>
                <a:gd name="T4" fmla="*/ 6 w 277"/>
                <a:gd name="T5" fmla="*/ 10 h 142"/>
                <a:gd name="T6" fmla="*/ 8 w 277"/>
                <a:gd name="T7" fmla="*/ 12 h 142"/>
                <a:gd name="T8" fmla="*/ 15 w 277"/>
                <a:gd name="T9" fmla="*/ 11 h 142"/>
                <a:gd name="T10" fmla="*/ 20 w 277"/>
                <a:gd name="T11" fmla="*/ 13 h 142"/>
                <a:gd name="T12" fmla="*/ 31 w 277"/>
                <a:gd name="T13" fmla="*/ 13 h 142"/>
                <a:gd name="T14" fmla="*/ 35 w 277"/>
                <a:gd name="T15" fmla="*/ 16 h 142"/>
                <a:gd name="T16" fmla="*/ 35 w 277"/>
                <a:gd name="T17" fmla="*/ 12 h 142"/>
                <a:gd name="T18" fmla="*/ 34 w 277"/>
                <a:gd name="T19" fmla="*/ 9 h 142"/>
                <a:gd name="T20" fmla="*/ 30 w 277"/>
                <a:gd name="T21" fmla="*/ 6 h 142"/>
                <a:gd name="T22" fmla="*/ 29 w 277"/>
                <a:gd name="T23" fmla="*/ 5 h 142"/>
                <a:gd name="T24" fmla="*/ 24 w 277"/>
                <a:gd name="T25" fmla="*/ 0 h 142"/>
                <a:gd name="T26" fmla="*/ 22 w 277"/>
                <a:gd name="T27" fmla="*/ 0 h 142"/>
                <a:gd name="T28" fmla="*/ 22 w 277"/>
                <a:gd name="T29" fmla="*/ 1 h 142"/>
                <a:gd name="T30" fmla="*/ 19 w 277"/>
                <a:gd name="T31" fmla="*/ 2 h 142"/>
                <a:gd name="T32" fmla="*/ 18 w 277"/>
                <a:gd name="T33" fmla="*/ 3 h 142"/>
                <a:gd name="T34" fmla="*/ 13 w 277"/>
                <a:gd name="T35" fmla="*/ 3 h 142"/>
                <a:gd name="T36" fmla="*/ 10 w 277"/>
                <a:gd name="T37" fmla="*/ 5 h 142"/>
                <a:gd name="T38" fmla="*/ 5 w 277"/>
                <a:gd name="T39" fmla="*/ 5 h 142"/>
                <a:gd name="T40" fmla="*/ 4 w 277"/>
                <a:gd name="T41" fmla="*/ 6 h 142"/>
                <a:gd name="T42" fmla="*/ 2 w 277"/>
                <a:gd name="T43" fmla="*/ 6 h 142"/>
                <a:gd name="T44" fmla="*/ 1 w 277"/>
                <a:gd name="T45" fmla="*/ 7 h 142"/>
                <a:gd name="T46" fmla="*/ 0 w 277"/>
                <a:gd name="T47" fmla="*/ 8 h 14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7"/>
                <a:gd name="T73" fmla="*/ 0 h 142"/>
                <a:gd name="T74" fmla="*/ 277 w 277"/>
                <a:gd name="T75" fmla="*/ 142 h 14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7" h="142">
                  <a:moveTo>
                    <a:pt x="0" y="69"/>
                  </a:moveTo>
                  <a:lnTo>
                    <a:pt x="44" y="70"/>
                  </a:lnTo>
                  <a:lnTo>
                    <a:pt x="47" y="89"/>
                  </a:lnTo>
                  <a:lnTo>
                    <a:pt x="67" y="104"/>
                  </a:lnTo>
                  <a:lnTo>
                    <a:pt x="115" y="100"/>
                  </a:lnTo>
                  <a:lnTo>
                    <a:pt x="155" y="119"/>
                  </a:lnTo>
                  <a:lnTo>
                    <a:pt x="244" y="122"/>
                  </a:lnTo>
                  <a:lnTo>
                    <a:pt x="277" y="142"/>
                  </a:lnTo>
                  <a:lnTo>
                    <a:pt x="274" y="102"/>
                  </a:lnTo>
                  <a:lnTo>
                    <a:pt x="262" y="85"/>
                  </a:lnTo>
                  <a:lnTo>
                    <a:pt x="234" y="54"/>
                  </a:lnTo>
                  <a:lnTo>
                    <a:pt x="227" y="40"/>
                  </a:lnTo>
                  <a:lnTo>
                    <a:pt x="185" y="0"/>
                  </a:lnTo>
                  <a:lnTo>
                    <a:pt x="172" y="0"/>
                  </a:lnTo>
                  <a:lnTo>
                    <a:pt x="167" y="9"/>
                  </a:lnTo>
                  <a:lnTo>
                    <a:pt x="147" y="15"/>
                  </a:lnTo>
                  <a:lnTo>
                    <a:pt x="139" y="22"/>
                  </a:lnTo>
                  <a:lnTo>
                    <a:pt x="100" y="27"/>
                  </a:lnTo>
                  <a:lnTo>
                    <a:pt x="82" y="47"/>
                  </a:lnTo>
                  <a:lnTo>
                    <a:pt x="37" y="44"/>
                  </a:lnTo>
                  <a:lnTo>
                    <a:pt x="27" y="54"/>
                  </a:lnTo>
                  <a:lnTo>
                    <a:pt x="15" y="52"/>
                  </a:lnTo>
                  <a:lnTo>
                    <a:pt x="7" y="60"/>
                  </a:lnTo>
                  <a:lnTo>
                    <a:pt x="0" y="69"/>
                  </a:lnTo>
                  <a:close/>
                </a:path>
              </a:pathLst>
            </a:custGeom>
            <a:solidFill>
              <a:srgbClr val="00A1DE"/>
            </a:solidFill>
            <a:ln w="12700">
              <a:solidFill>
                <a:schemeClr val="bg1"/>
              </a:solidFill>
              <a:round/>
              <a:headEnd type="none" w="sm" len="sm"/>
              <a:tailEnd type="none" w="sm" len="sm"/>
            </a:ln>
          </p:spPr>
          <p:txBody>
            <a:bodyPr wrap="none" anchor="ctr"/>
            <a:lstStyle/>
            <a:p>
              <a:pPr defTabSz="685800">
                <a:buClrTx/>
                <a:defRPr/>
              </a:pPr>
              <a:endParaRPr lang="en-GB" sz="1350" kern="1200">
                <a:solidFill>
                  <a:prstClr val="black"/>
                </a:solidFill>
                <a:latin typeface="Arial" charset="0"/>
                <a:ea typeface="+mn-ea"/>
                <a:cs typeface="Arial" charset="0"/>
              </a:endParaRPr>
            </a:p>
          </p:txBody>
        </p:sp>
        <p:sp>
          <p:nvSpPr>
            <p:cNvPr id="158" name="Freeform 34"/>
            <p:cNvSpPr>
              <a:spLocks/>
            </p:cNvSpPr>
            <p:nvPr/>
          </p:nvSpPr>
          <p:spPr bwMode="auto">
            <a:xfrm>
              <a:off x="1639508" y="4256517"/>
              <a:ext cx="348573" cy="197897"/>
            </a:xfrm>
            <a:custGeom>
              <a:avLst/>
              <a:gdLst>
                <a:gd name="T0" fmla="*/ 0 w 318"/>
                <a:gd name="T1" fmla="*/ 6 h 183"/>
                <a:gd name="T2" fmla="*/ 10 w 318"/>
                <a:gd name="T3" fmla="*/ 1 h 183"/>
                <a:gd name="T4" fmla="*/ 22 w 318"/>
                <a:gd name="T5" fmla="*/ 0 h 183"/>
                <a:gd name="T6" fmla="*/ 23 w 318"/>
                <a:gd name="T7" fmla="*/ 2 h 183"/>
                <a:gd name="T8" fmla="*/ 34 w 318"/>
                <a:gd name="T9" fmla="*/ 2 h 183"/>
                <a:gd name="T10" fmla="*/ 40 w 318"/>
                <a:gd name="T11" fmla="*/ 5 h 183"/>
                <a:gd name="T12" fmla="*/ 41 w 318"/>
                <a:gd name="T13" fmla="*/ 10 h 183"/>
                <a:gd name="T14" fmla="*/ 40 w 318"/>
                <a:gd name="T15" fmla="*/ 16 h 183"/>
                <a:gd name="T16" fmla="*/ 37 w 318"/>
                <a:gd name="T17" fmla="*/ 17 h 183"/>
                <a:gd name="T18" fmla="*/ 36 w 318"/>
                <a:gd name="T19" fmla="*/ 19 h 183"/>
                <a:gd name="T20" fmla="*/ 33 w 318"/>
                <a:gd name="T21" fmla="*/ 20 h 183"/>
                <a:gd name="T22" fmla="*/ 30 w 318"/>
                <a:gd name="T23" fmla="*/ 20 h 183"/>
                <a:gd name="T24" fmla="*/ 26 w 318"/>
                <a:gd name="T25" fmla="*/ 19 h 183"/>
                <a:gd name="T26" fmla="*/ 18 w 318"/>
                <a:gd name="T27" fmla="*/ 19 h 183"/>
                <a:gd name="T28" fmla="*/ 13 w 318"/>
                <a:gd name="T29" fmla="*/ 15 h 183"/>
                <a:gd name="T30" fmla="*/ 11 w 318"/>
                <a:gd name="T31" fmla="*/ 13 h 183"/>
                <a:gd name="T32" fmla="*/ 9 w 318"/>
                <a:gd name="T33" fmla="*/ 12 h 183"/>
                <a:gd name="T34" fmla="*/ 4 w 318"/>
                <a:gd name="T35" fmla="*/ 9 h 183"/>
                <a:gd name="T36" fmla="*/ 1 w 318"/>
                <a:gd name="T37" fmla="*/ 9 h 183"/>
                <a:gd name="T38" fmla="*/ 0 w 318"/>
                <a:gd name="T39" fmla="*/ 6 h 18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8"/>
                <a:gd name="T61" fmla="*/ 0 h 183"/>
                <a:gd name="T62" fmla="*/ 318 w 318"/>
                <a:gd name="T63" fmla="*/ 183 h 18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8" h="183">
                  <a:moveTo>
                    <a:pt x="0" y="56"/>
                  </a:moveTo>
                  <a:lnTo>
                    <a:pt x="76" y="5"/>
                  </a:lnTo>
                  <a:lnTo>
                    <a:pt x="168" y="0"/>
                  </a:lnTo>
                  <a:lnTo>
                    <a:pt x="181" y="16"/>
                  </a:lnTo>
                  <a:lnTo>
                    <a:pt x="263" y="13"/>
                  </a:lnTo>
                  <a:lnTo>
                    <a:pt x="305" y="43"/>
                  </a:lnTo>
                  <a:lnTo>
                    <a:pt x="318" y="93"/>
                  </a:lnTo>
                  <a:lnTo>
                    <a:pt x="311" y="140"/>
                  </a:lnTo>
                  <a:lnTo>
                    <a:pt x="283" y="155"/>
                  </a:lnTo>
                  <a:lnTo>
                    <a:pt x="276" y="168"/>
                  </a:lnTo>
                  <a:lnTo>
                    <a:pt x="253" y="173"/>
                  </a:lnTo>
                  <a:lnTo>
                    <a:pt x="233" y="183"/>
                  </a:lnTo>
                  <a:lnTo>
                    <a:pt x="203" y="165"/>
                  </a:lnTo>
                  <a:lnTo>
                    <a:pt x="138" y="165"/>
                  </a:lnTo>
                  <a:lnTo>
                    <a:pt x="101" y="135"/>
                  </a:lnTo>
                  <a:lnTo>
                    <a:pt x="90" y="115"/>
                  </a:lnTo>
                  <a:lnTo>
                    <a:pt x="68" y="111"/>
                  </a:lnTo>
                  <a:lnTo>
                    <a:pt x="26" y="83"/>
                  </a:lnTo>
                  <a:lnTo>
                    <a:pt x="8" y="83"/>
                  </a:lnTo>
                  <a:lnTo>
                    <a:pt x="0" y="56"/>
                  </a:lnTo>
                  <a:close/>
                </a:path>
              </a:pathLst>
            </a:custGeom>
            <a:solidFill>
              <a:srgbClr val="00A1DE"/>
            </a:solidFill>
            <a:ln w="12700">
              <a:solidFill>
                <a:schemeClr val="bg1"/>
              </a:solidFill>
              <a:round/>
              <a:headEnd type="none" w="sm" len="sm"/>
              <a:tailEnd type="none" w="sm" len="sm"/>
            </a:ln>
          </p:spPr>
          <p:txBody>
            <a:bodyPr wrap="none" anchor="ctr"/>
            <a:lstStyle/>
            <a:p>
              <a:pPr defTabSz="685800">
                <a:buClrTx/>
                <a:defRPr/>
              </a:pPr>
              <a:endParaRPr lang="en-GB" sz="1350" kern="1200">
                <a:solidFill>
                  <a:prstClr val="black"/>
                </a:solidFill>
                <a:latin typeface="Arial" charset="0"/>
                <a:ea typeface="+mn-ea"/>
                <a:cs typeface="Arial" charset="0"/>
              </a:endParaRPr>
            </a:p>
          </p:txBody>
        </p:sp>
        <p:sp>
          <p:nvSpPr>
            <p:cNvPr id="159" name="Freeform 35"/>
            <p:cNvSpPr>
              <a:spLocks/>
            </p:cNvSpPr>
            <p:nvPr/>
          </p:nvSpPr>
          <p:spPr bwMode="auto">
            <a:xfrm>
              <a:off x="1365759" y="4635507"/>
              <a:ext cx="213524" cy="166158"/>
            </a:xfrm>
            <a:custGeom>
              <a:avLst/>
              <a:gdLst>
                <a:gd name="T0" fmla="*/ 13 w 195"/>
                <a:gd name="T1" fmla="*/ 1 h 152"/>
                <a:gd name="T2" fmla="*/ 12 w 195"/>
                <a:gd name="T3" fmla="*/ 0 h 152"/>
                <a:gd name="T4" fmla="*/ 7 w 195"/>
                <a:gd name="T5" fmla="*/ 1 h 152"/>
                <a:gd name="T6" fmla="*/ 4 w 195"/>
                <a:gd name="T7" fmla="*/ 1 h 152"/>
                <a:gd name="T8" fmla="*/ 2 w 195"/>
                <a:gd name="T9" fmla="*/ 1 h 152"/>
                <a:gd name="T10" fmla="*/ 0 w 195"/>
                <a:gd name="T11" fmla="*/ 4 h 152"/>
                <a:gd name="T12" fmla="*/ 3 w 195"/>
                <a:gd name="T13" fmla="*/ 6 h 152"/>
                <a:gd name="T14" fmla="*/ 6 w 195"/>
                <a:gd name="T15" fmla="*/ 6 h 152"/>
                <a:gd name="T16" fmla="*/ 5 w 195"/>
                <a:gd name="T17" fmla="*/ 9 h 152"/>
                <a:gd name="T18" fmla="*/ 8 w 195"/>
                <a:gd name="T19" fmla="*/ 11 h 152"/>
                <a:gd name="T20" fmla="*/ 8 w 195"/>
                <a:gd name="T21" fmla="*/ 13 h 152"/>
                <a:gd name="T22" fmla="*/ 17 w 195"/>
                <a:gd name="T23" fmla="*/ 14 h 152"/>
                <a:gd name="T24" fmla="*/ 19 w 195"/>
                <a:gd name="T25" fmla="*/ 16 h 152"/>
                <a:gd name="T26" fmla="*/ 21 w 195"/>
                <a:gd name="T27" fmla="*/ 15 h 152"/>
                <a:gd name="T28" fmla="*/ 22 w 195"/>
                <a:gd name="T29" fmla="*/ 18 h 152"/>
                <a:gd name="T30" fmla="*/ 25 w 195"/>
                <a:gd name="T31" fmla="*/ 17 h 152"/>
                <a:gd name="T32" fmla="*/ 25 w 195"/>
                <a:gd name="T33" fmla="*/ 9 h 152"/>
                <a:gd name="T34" fmla="*/ 21 w 195"/>
                <a:gd name="T35" fmla="*/ 4 h 152"/>
                <a:gd name="T36" fmla="*/ 19 w 195"/>
                <a:gd name="T37" fmla="*/ 2 h 152"/>
                <a:gd name="T38" fmla="*/ 13 w 195"/>
                <a:gd name="T39" fmla="*/ 1 h 1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5"/>
                <a:gd name="T61" fmla="*/ 0 h 152"/>
                <a:gd name="T62" fmla="*/ 195 w 195"/>
                <a:gd name="T63" fmla="*/ 152 h 15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5" h="152">
                  <a:moveTo>
                    <a:pt x="103" y="12"/>
                  </a:moveTo>
                  <a:lnTo>
                    <a:pt x="93" y="0"/>
                  </a:lnTo>
                  <a:lnTo>
                    <a:pt x="50" y="2"/>
                  </a:lnTo>
                  <a:lnTo>
                    <a:pt x="31" y="12"/>
                  </a:lnTo>
                  <a:lnTo>
                    <a:pt x="15" y="7"/>
                  </a:lnTo>
                  <a:lnTo>
                    <a:pt x="0" y="30"/>
                  </a:lnTo>
                  <a:lnTo>
                    <a:pt x="23" y="52"/>
                  </a:lnTo>
                  <a:lnTo>
                    <a:pt x="43" y="50"/>
                  </a:lnTo>
                  <a:lnTo>
                    <a:pt x="40" y="73"/>
                  </a:lnTo>
                  <a:lnTo>
                    <a:pt x="65" y="97"/>
                  </a:lnTo>
                  <a:lnTo>
                    <a:pt x="65" y="117"/>
                  </a:lnTo>
                  <a:lnTo>
                    <a:pt x="131" y="120"/>
                  </a:lnTo>
                  <a:lnTo>
                    <a:pt x="148" y="135"/>
                  </a:lnTo>
                  <a:lnTo>
                    <a:pt x="165" y="132"/>
                  </a:lnTo>
                  <a:lnTo>
                    <a:pt x="171" y="152"/>
                  </a:lnTo>
                  <a:lnTo>
                    <a:pt x="195" y="143"/>
                  </a:lnTo>
                  <a:lnTo>
                    <a:pt x="190" y="73"/>
                  </a:lnTo>
                  <a:lnTo>
                    <a:pt x="160" y="33"/>
                  </a:lnTo>
                  <a:lnTo>
                    <a:pt x="150" y="15"/>
                  </a:lnTo>
                  <a:lnTo>
                    <a:pt x="103" y="12"/>
                  </a:lnTo>
                  <a:close/>
                </a:path>
              </a:pathLst>
            </a:custGeom>
            <a:solidFill>
              <a:srgbClr val="00A1DE"/>
            </a:solidFill>
            <a:ln w="12700">
              <a:solidFill>
                <a:schemeClr val="bg1"/>
              </a:solidFill>
              <a:round/>
              <a:headEnd type="none" w="sm" len="sm"/>
              <a:tailEnd type="none" w="sm" len="sm"/>
            </a:ln>
          </p:spPr>
          <p:txBody>
            <a:bodyPr wrap="none" anchor="ctr"/>
            <a:lstStyle/>
            <a:p>
              <a:pPr defTabSz="685800">
                <a:buClrTx/>
                <a:defRPr/>
              </a:pPr>
              <a:endParaRPr lang="en-GB" sz="1350" kern="1200">
                <a:solidFill>
                  <a:prstClr val="black"/>
                </a:solidFill>
                <a:latin typeface="Arial" charset="0"/>
                <a:ea typeface="+mn-ea"/>
                <a:cs typeface="Arial" charset="0"/>
              </a:endParaRPr>
            </a:p>
          </p:txBody>
        </p:sp>
        <p:sp>
          <p:nvSpPr>
            <p:cNvPr id="160" name="Freeform 36"/>
            <p:cNvSpPr>
              <a:spLocks/>
            </p:cNvSpPr>
            <p:nvPr/>
          </p:nvSpPr>
          <p:spPr bwMode="auto">
            <a:xfrm>
              <a:off x="1991731" y="4222912"/>
              <a:ext cx="262799" cy="209098"/>
            </a:xfrm>
            <a:custGeom>
              <a:avLst/>
              <a:gdLst>
                <a:gd name="T0" fmla="*/ 2 w 240"/>
                <a:gd name="T1" fmla="*/ 6 h 192"/>
                <a:gd name="T2" fmla="*/ 3 w 240"/>
                <a:gd name="T3" fmla="*/ 13 h 192"/>
                <a:gd name="T4" fmla="*/ 5 w 240"/>
                <a:gd name="T5" fmla="*/ 16 h 192"/>
                <a:gd name="T6" fmla="*/ 2 w 240"/>
                <a:gd name="T7" fmla="*/ 19 h 192"/>
                <a:gd name="T8" fmla="*/ 0 w 240"/>
                <a:gd name="T9" fmla="*/ 21 h 192"/>
                <a:gd name="T10" fmla="*/ 1 w 240"/>
                <a:gd name="T11" fmla="*/ 22 h 192"/>
                <a:gd name="T12" fmla="*/ 5 w 240"/>
                <a:gd name="T13" fmla="*/ 19 h 192"/>
                <a:gd name="T14" fmla="*/ 5 w 240"/>
                <a:gd name="T15" fmla="*/ 18 h 192"/>
                <a:gd name="T16" fmla="*/ 7 w 240"/>
                <a:gd name="T17" fmla="*/ 17 h 192"/>
                <a:gd name="T18" fmla="*/ 8 w 240"/>
                <a:gd name="T19" fmla="*/ 21 h 192"/>
                <a:gd name="T20" fmla="*/ 11 w 240"/>
                <a:gd name="T21" fmla="*/ 18 h 192"/>
                <a:gd name="T22" fmla="*/ 13 w 240"/>
                <a:gd name="T23" fmla="*/ 17 h 192"/>
                <a:gd name="T24" fmla="*/ 15 w 240"/>
                <a:gd name="T25" fmla="*/ 14 h 192"/>
                <a:gd name="T26" fmla="*/ 17 w 240"/>
                <a:gd name="T27" fmla="*/ 13 h 192"/>
                <a:gd name="T28" fmla="*/ 19 w 240"/>
                <a:gd name="T29" fmla="*/ 9 h 192"/>
                <a:gd name="T30" fmla="*/ 21 w 240"/>
                <a:gd name="T31" fmla="*/ 9 h 192"/>
                <a:gd name="T32" fmla="*/ 24 w 240"/>
                <a:gd name="T33" fmla="*/ 9 h 192"/>
                <a:gd name="T34" fmla="*/ 26 w 240"/>
                <a:gd name="T35" fmla="*/ 8 h 192"/>
                <a:gd name="T36" fmla="*/ 29 w 240"/>
                <a:gd name="T37" fmla="*/ 6 h 192"/>
                <a:gd name="T38" fmla="*/ 31 w 240"/>
                <a:gd name="T39" fmla="*/ 6 h 192"/>
                <a:gd name="T40" fmla="*/ 31 w 240"/>
                <a:gd name="T41" fmla="*/ 5 h 192"/>
                <a:gd name="T42" fmla="*/ 26 w 240"/>
                <a:gd name="T43" fmla="*/ 3 h 192"/>
                <a:gd name="T44" fmla="*/ 23 w 240"/>
                <a:gd name="T45" fmla="*/ 2 h 192"/>
                <a:gd name="T46" fmla="*/ 21 w 240"/>
                <a:gd name="T47" fmla="*/ 3 h 192"/>
                <a:gd name="T48" fmla="*/ 18 w 240"/>
                <a:gd name="T49" fmla="*/ 0 h 192"/>
                <a:gd name="T50" fmla="*/ 15 w 240"/>
                <a:gd name="T51" fmla="*/ 1 h 192"/>
                <a:gd name="T52" fmla="*/ 8 w 240"/>
                <a:gd name="T53" fmla="*/ 1 h 192"/>
                <a:gd name="T54" fmla="*/ 4 w 240"/>
                <a:gd name="T55" fmla="*/ 3 h 192"/>
                <a:gd name="T56" fmla="*/ 2 w 240"/>
                <a:gd name="T57" fmla="*/ 6 h 19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40"/>
                <a:gd name="T88" fmla="*/ 0 h 192"/>
                <a:gd name="T89" fmla="*/ 240 w 240"/>
                <a:gd name="T90" fmla="*/ 192 h 19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40" h="192">
                  <a:moveTo>
                    <a:pt x="15" y="53"/>
                  </a:moveTo>
                  <a:lnTo>
                    <a:pt x="23" y="118"/>
                  </a:lnTo>
                  <a:lnTo>
                    <a:pt x="36" y="137"/>
                  </a:lnTo>
                  <a:lnTo>
                    <a:pt x="20" y="168"/>
                  </a:lnTo>
                  <a:lnTo>
                    <a:pt x="0" y="182"/>
                  </a:lnTo>
                  <a:lnTo>
                    <a:pt x="10" y="192"/>
                  </a:lnTo>
                  <a:lnTo>
                    <a:pt x="35" y="165"/>
                  </a:lnTo>
                  <a:lnTo>
                    <a:pt x="38" y="155"/>
                  </a:lnTo>
                  <a:lnTo>
                    <a:pt x="53" y="147"/>
                  </a:lnTo>
                  <a:lnTo>
                    <a:pt x="60" y="183"/>
                  </a:lnTo>
                  <a:lnTo>
                    <a:pt x="83" y="157"/>
                  </a:lnTo>
                  <a:lnTo>
                    <a:pt x="98" y="153"/>
                  </a:lnTo>
                  <a:lnTo>
                    <a:pt x="116" y="122"/>
                  </a:lnTo>
                  <a:lnTo>
                    <a:pt x="131" y="113"/>
                  </a:lnTo>
                  <a:lnTo>
                    <a:pt x="141" y="83"/>
                  </a:lnTo>
                  <a:lnTo>
                    <a:pt x="161" y="83"/>
                  </a:lnTo>
                  <a:lnTo>
                    <a:pt x="186" y="72"/>
                  </a:lnTo>
                  <a:lnTo>
                    <a:pt x="203" y="68"/>
                  </a:lnTo>
                  <a:lnTo>
                    <a:pt x="226" y="57"/>
                  </a:lnTo>
                  <a:lnTo>
                    <a:pt x="240" y="55"/>
                  </a:lnTo>
                  <a:lnTo>
                    <a:pt x="238" y="37"/>
                  </a:lnTo>
                  <a:lnTo>
                    <a:pt x="206" y="27"/>
                  </a:lnTo>
                  <a:lnTo>
                    <a:pt x="176" y="13"/>
                  </a:lnTo>
                  <a:lnTo>
                    <a:pt x="165" y="23"/>
                  </a:lnTo>
                  <a:lnTo>
                    <a:pt x="138" y="0"/>
                  </a:lnTo>
                  <a:lnTo>
                    <a:pt x="115" y="5"/>
                  </a:lnTo>
                  <a:lnTo>
                    <a:pt x="61" y="10"/>
                  </a:lnTo>
                  <a:lnTo>
                    <a:pt x="26" y="28"/>
                  </a:lnTo>
                  <a:lnTo>
                    <a:pt x="15" y="53"/>
                  </a:lnTo>
                  <a:close/>
                </a:path>
              </a:pathLst>
            </a:custGeom>
            <a:solidFill>
              <a:srgbClr val="00A1DE"/>
            </a:solidFill>
            <a:ln w="12700">
              <a:solidFill>
                <a:schemeClr val="bg1"/>
              </a:solidFill>
              <a:round/>
              <a:headEnd type="none" w="sm" len="sm"/>
              <a:tailEnd type="none" w="sm" len="sm"/>
            </a:ln>
          </p:spPr>
          <p:txBody>
            <a:bodyPr wrap="none" anchor="ctr"/>
            <a:lstStyle/>
            <a:p>
              <a:pPr defTabSz="685800">
                <a:buClrTx/>
                <a:defRPr/>
              </a:pPr>
              <a:endParaRPr lang="en-GB" sz="1350" kern="1200">
                <a:solidFill>
                  <a:prstClr val="black"/>
                </a:solidFill>
                <a:latin typeface="Arial" charset="0"/>
                <a:ea typeface="+mn-ea"/>
                <a:cs typeface="Arial" charset="0"/>
              </a:endParaRPr>
            </a:p>
          </p:txBody>
        </p:sp>
        <p:sp>
          <p:nvSpPr>
            <p:cNvPr id="161" name="Line 37"/>
            <p:cNvSpPr>
              <a:spLocks noChangeShapeType="1"/>
            </p:cNvSpPr>
            <p:nvPr/>
          </p:nvSpPr>
          <p:spPr bwMode="auto">
            <a:xfrm>
              <a:off x="2663328" y="2843237"/>
              <a:ext cx="178849" cy="222167"/>
            </a:xfrm>
            <a:prstGeom prst="line">
              <a:avLst/>
            </a:prstGeom>
            <a:solidFill>
              <a:schemeClr val="accent1"/>
            </a:solidFill>
            <a:ln w="12700">
              <a:solidFill>
                <a:schemeClr val="bg1"/>
              </a:solidFill>
              <a:round/>
              <a:headEnd type="none" w="sm" len="sm"/>
              <a:tailEnd type="none" w="sm" len="sm"/>
            </a:ln>
          </p:spPr>
          <p:txBody>
            <a:bodyPr wrap="none" anchor="ctr"/>
            <a:lstStyle/>
            <a:p>
              <a:pPr defTabSz="685800">
                <a:buClrTx/>
                <a:defRPr/>
              </a:pPr>
              <a:endParaRPr lang="en-GB" sz="1350" kern="1200">
                <a:solidFill>
                  <a:prstClr val="black"/>
                </a:solidFill>
                <a:latin typeface="Arial" charset="0"/>
                <a:ea typeface="+mn-ea"/>
                <a:cs typeface="Arial" charset="0"/>
              </a:endParaRPr>
            </a:p>
          </p:txBody>
        </p:sp>
        <p:sp>
          <p:nvSpPr>
            <p:cNvPr id="162" name="Freeform 38"/>
            <p:cNvSpPr>
              <a:spLocks/>
            </p:cNvSpPr>
            <p:nvPr/>
          </p:nvSpPr>
          <p:spPr bwMode="auto">
            <a:xfrm>
              <a:off x="3170675" y="2546392"/>
              <a:ext cx="1323118" cy="1220984"/>
            </a:xfrm>
            <a:custGeom>
              <a:avLst/>
              <a:gdLst>
                <a:gd name="T0" fmla="*/ 151 w 1205"/>
                <a:gd name="T1" fmla="*/ 75 h 1123"/>
                <a:gd name="T2" fmla="*/ 156 w 1205"/>
                <a:gd name="T3" fmla="*/ 89 h 1123"/>
                <a:gd name="T4" fmla="*/ 154 w 1205"/>
                <a:gd name="T5" fmla="*/ 101 h 1123"/>
                <a:gd name="T6" fmla="*/ 154 w 1205"/>
                <a:gd name="T7" fmla="*/ 109 h 1123"/>
                <a:gd name="T8" fmla="*/ 142 w 1205"/>
                <a:gd name="T9" fmla="*/ 118 h 1123"/>
                <a:gd name="T10" fmla="*/ 132 w 1205"/>
                <a:gd name="T11" fmla="*/ 128 h 1123"/>
                <a:gd name="T12" fmla="*/ 116 w 1205"/>
                <a:gd name="T13" fmla="*/ 129 h 1123"/>
                <a:gd name="T14" fmla="*/ 108 w 1205"/>
                <a:gd name="T15" fmla="*/ 119 h 1123"/>
                <a:gd name="T16" fmla="*/ 101 w 1205"/>
                <a:gd name="T17" fmla="*/ 118 h 1123"/>
                <a:gd name="T18" fmla="*/ 81 w 1205"/>
                <a:gd name="T19" fmla="*/ 108 h 1123"/>
                <a:gd name="T20" fmla="*/ 49 w 1205"/>
                <a:gd name="T21" fmla="*/ 110 h 1123"/>
                <a:gd name="T22" fmla="*/ 42 w 1205"/>
                <a:gd name="T23" fmla="*/ 102 h 1123"/>
                <a:gd name="T24" fmla="*/ 38 w 1205"/>
                <a:gd name="T25" fmla="*/ 97 h 1123"/>
                <a:gd name="T26" fmla="*/ 44 w 1205"/>
                <a:gd name="T27" fmla="*/ 76 h 1123"/>
                <a:gd name="T28" fmla="*/ 38 w 1205"/>
                <a:gd name="T29" fmla="*/ 68 h 1123"/>
                <a:gd name="T30" fmla="*/ 29 w 1205"/>
                <a:gd name="T31" fmla="*/ 63 h 1123"/>
                <a:gd name="T32" fmla="*/ 18 w 1205"/>
                <a:gd name="T33" fmla="*/ 66 h 1123"/>
                <a:gd name="T34" fmla="*/ 8 w 1205"/>
                <a:gd name="T35" fmla="*/ 46 h 1123"/>
                <a:gd name="T36" fmla="*/ 25 w 1205"/>
                <a:gd name="T37" fmla="*/ 43 h 1123"/>
                <a:gd name="T38" fmla="*/ 27 w 1205"/>
                <a:gd name="T39" fmla="*/ 38 h 1123"/>
                <a:gd name="T40" fmla="*/ 22 w 1205"/>
                <a:gd name="T41" fmla="*/ 33 h 1123"/>
                <a:gd name="T42" fmla="*/ 20 w 1205"/>
                <a:gd name="T43" fmla="*/ 25 h 1123"/>
                <a:gd name="T44" fmla="*/ 7 w 1205"/>
                <a:gd name="T45" fmla="*/ 14 h 1123"/>
                <a:gd name="T46" fmla="*/ 1 w 1205"/>
                <a:gd name="T47" fmla="*/ 6 h 1123"/>
                <a:gd name="T48" fmla="*/ 14 w 1205"/>
                <a:gd name="T49" fmla="*/ 8 h 1123"/>
                <a:gd name="T50" fmla="*/ 28 w 1205"/>
                <a:gd name="T51" fmla="*/ 6 h 1123"/>
                <a:gd name="T52" fmla="*/ 40 w 1205"/>
                <a:gd name="T53" fmla="*/ 0 h 1123"/>
                <a:gd name="T54" fmla="*/ 51 w 1205"/>
                <a:gd name="T55" fmla="*/ 10 h 1123"/>
                <a:gd name="T56" fmla="*/ 45 w 1205"/>
                <a:gd name="T57" fmla="*/ 18 h 1123"/>
                <a:gd name="T58" fmla="*/ 45 w 1205"/>
                <a:gd name="T59" fmla="*/ 24 h 1123"/>
                <a:gd name="T60" fmla="*/ 60 w 1205"/>
                <a:gd name="T61" fmla="*/ 33 h 1123"/>
                <a:gd name="T62" fmla="*/ 73 w 1205"/>
                <a:gd name="T63" fmla="*/ 38 h 1123"/>
                <a:gd name="T64" fmla="*/ 79 w 1205"/>
                <a:gd name="T65" fmla="*/ 40 h 1123"/>
                <a:gd name="T66" fmla="*/ 86 w 1205"/>
                <a:gd name="T67" fmla="*/ 42 h 1123"/>
                <a:gd name="T68" fmla="*/ 91 w 1205"/>
                <a:gd name="T69" fmla="*/ 33 h 1123"/>
                <a:gd name="T70" fmla="*/ 113 w 1205"/>
                <a:gd name="T71" fmla="*/ 38 h 1123"/>
                <a:gd name="T72" fmla="*/ 117 w 1205"/>
                <a:gd name="T73" fmla="*/ 48 h 1123"/>
                <a:gd name="T74" fmla="*/ 114 w 1205"/>
                <a:gd name="T75" fmla="*/ 52 h 1123"/>
                <a:gd name="T76" fmla="*/ 113 w 1205"/>
                <a:gd name="T77" fmla="*/ 59 h 1123"/>
                <a:gd name="T78" fmla="*/ 113 w 1205"/>
                <a:gd name="T79" fmla="*/ 66 h 1123"/>
                <a:gd name="T80" fmla="*/ 120 w 1205"/>
                <a:gd name="T81" fmla="*/ 70 h 1123"/>
                <a:gd name="T82" fmla="*/ 135 w 1205"/>
                <a:gd name="T83" fmla="*/ 72 h 1123"/>
                <a:gd name="T84" fmla="*/ 147 w 1205"/>
                <a:gd name="T85" fmla="*/ 68 h 11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205"/>
                <a:gd name="T130" fmla="*/ 0 h 1123"/>
                <a:gd name="T131" fmla="*/ 1205 w 1205"/>
                <a:gd name="T132" fmla="*/ 1123 h 11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205" h="1123">
                  <a:moveTo>
                    <a:pt x="1123" y="585"/>
                  </a:moveTo>
                  <a:lnTo>
                    <a:pt x="1151" y="618"/>
                  </a:lnTo>
                  <a:lnTo>
                    <a:pt x="1151" y="650"/>
                  </a:lnTo>
                  <a:lnTo>
                    <a:pt x="1203" y="712"/>
                  </a:lnTo>
                  <a:lnTo>
                    <a:pt x="1205" y="761"/>
                  </a:lnTo>
                  <a:lnTo>
                    <a:pt x="1190" y="772"/>
                  </a:lnTo>
                  <a:lnTo>
                    <a:pt x="1181" y="817"/>
                  </a:lnTo>
                  <a:lnTo>
                    <a:pt x="1173" y="840"/>
                  </a:lnTo>
                  <a:lnTo>
                    <a:pt x="1177" y="875"/>
                  </a:lnTo>
                  <a:lnTo>
                    <a:pt x="1194" y="918"/>
                  </a:lnTo>
                  <a:lnTo>
                    <a:pt x="1188" y="937"/>
                  </a:lnTo>
                  <a:lnTo>
                    <a:pt x="1175" y="948"/>
                  </a:lnTo>
                  <a:lnTo>
                    <a:pt x="1138" y="943"/>
                  </a:lnTo>
                  <a:lnTo>
                    <a:pt x="1102" y="1008"/>
                  </a:lnTo>
                  <a:lnTo>
                    <a:pt x="1087" y="1029"/>
                  </a:lnTo>
                  <a:lnTo>
                    <a:pt x="1048" y="1038"/>
                  </a:lnTo>
                  <a:lnTo>
                    <a:pt x="1042" y="1076"/>
                  </a:lnTo>
                  <a:lnTo>
                    <a:pt x="1005" y="1108"/>
                  </a:lnTo>
                  <a:lnTo>
                    <a:pt x="963" y="1111"/>
                  </a:lnTo>
                  <a:lnTo>
                    <a:pt x="948" y="1123"/>
                  </a:lnTo>
                  <a:lnTo>
                    <a:pt x="881" y="1117"/>
                  </a:lnTo>
                  <a:lnTo>
                    <a:pt x="847" y="1093"/>
                  </a:lnTo>
                  <a:lnTo>
                    <a:pt x="840" y="1033"/>
                  </a:lnTo>
                  <a:lnTo>
                    <a:pt x="823" y="1033"/>
                  </a:lnTo>
                  <a:lnTo>
                    <a:pt x="808" y="1048"/>
                  </a:lnTo>
                  <a:lnTo>
                    <a:pt x="789" y="1042"/>
                  </a:lnTo>
                  <a:lnTo>
                    <a:pt x="774" y="1025"/>
                  </a:lnTo>
                  <a:lnTo>
                    <a:pt x="667" y="1021"/>
                  </a:lnTo>
                  <a:lnTo>
                    <a:pt x="615" y="956"/>
                  </a:lnTo>
                  <a:lnTo>
                    <a:pt x="615" y="935"/>
                  </a:lnTo>
                  <a:lnTo>
                    <a:pt x="536" y="937"/>
                  </a:lnTo>
                  <a:lnTo>
                    <a:pt x="515" y="956"/>
                  </a:lnTo>
                  <a:lnTo>
                    <a:pt x="371" y="958"/>
                  </a:lnTo>
                  <a:lnTo>
                    <a:pt x="350" y="920"/>
                  </a:lnTo>
                  <a:lnTo>
                    <a:pt x="348" y="896"/>
                  </a:lnTo>
                  <a:lnTo>
                    <a:pt x="322" y="890"/>
                  </a:lnTo>
                  <a:lnTo>
                    <a:pt x="326" y="866"/>
                  </a:lnTo>
                  <a:lnTo>
                    <a:pt x="305" y="849"/>
                  </a:lnTo>
                  <a:lnTo>
                    <a:pt x="288" y="843"/>
                  </a:lnTo>
                  <a:lnTo>
                    <a:pt x="285" y="800"/>
                  </a:lnTo>
                  <a:lnTo>
                    <a:pt x="335" y="733"/>
                  </a:lnTo>
                  <a:lnTo>
                    <a:pt x="337" y="665"/>
                  </a:lnTo>
                  <a:lnTo>
                    <a:pt x="318" y="624"/>
                  </a:lnTo>
                  <a:lnTo>
                    <a:pt x="309" y="596"/>
                  </a:lnTo>
                  <a:lnTo>
                    <a:pt x="288" y="588"/>
                  </a:lnTo>
                  <a:lnTo>
                    <a:pt x="279" y="562"/>
                  </a:lnTo>
                  <a:lnTo>
                    <a:pt x="258" y="547"/>
                  </a:lnTo>
                  <a:lnTo>
                    <a:pt x="221" y="553"/>
                  </a:lnTo>
                  <a:lnTo>
                    <a:pt x="193" y="568"/>
                  </a:lnTo>
                  <a:lnTo>
                    <a:pt x="161" y="579"/>
                  </a:lnTo>
                  <a:lnTo>
                    <a:pt x="138" y="573"/>
                  </a:lnTo>
                  <a:lnTo>
                    <a:pt x="92" y="493"/>
                  </a:lnTo>
                  <a:lnTo>
                    <a:pt x="58" y="448"/>
                  </a:lnTo>
                  <a:lnTo>
                    <a:pt x="65" y="401"/>
                  </a:lnTo>
                  <a:lnTo>
                    <a:pt x="110" y="380"/>
                  </a:lnTo>
                  <a:lnTo>
                    <a:pt x="125" y="390"/>
                  </a:lnTo>
                  <a:lnTo>
                    <a:pt x="191" y="369"/>
                  </a:lnTo>
                  <a:lnTo>
                    <a:pt x="232" y="343"/>
                  </a:lnTo>
                  <a:lnTo>
                    <a:pt x="223" y="328"/>
                  </a:lnTo>
                  <a:lnTo>
                    <a:pt x="208" y="328"/>
                  </a:lnTo>
                  <a:lnTo>
                    <a:pt x="204" y="307"/>
                  </a:lnTo>
                  <a:lnTo>
                    <a:pt x="178" y="298"/>
                  </a:lnTo>
                  <a:lnTo>
                    <a:pt x="172" y="283"/>
                  </a:lnTo>
                  <a:lnTo>
                    <a:pt x="148" y="275"/>
                  </a:lnTo>
                  <a:lnTo>
                    <a:pt x="161" y="258"/>
                  </a:lnTo>
                  <a:lnTo>
                    <a:pt x="157" y="215"/>
                  </a:lnTo>
                  <a:lnTo>
                    <a:pt x="150" y="193"/>
                  </a:lnTo>
                  <a:lnTo>
                    <a:pt x="123" y="168"/>
                  </a:lnTo>
                  <a:lnTo>
                    <a:pt x="50" y="120"/>
                  </a:lnTo>
                  <a:lnTo>
                    <a:pt x="17" y="103"/>
                  </a:lnTo>
                  <a:lnTo>
                    <a:pt x="0" y="63"/>
                  </a:lnTo>
                  <a:lnTo>
                    <a:pt x="9" y="52"/>
                  </a:lnTo>
                  <a:lnTo>
                    <a:pt x="56" y="67"/>
                  </a:lnTo>
                  <a:lnTo>
                    <a:pt x="77" y="73"/>
                  </a:lnTo>
                  <a:lnTo>
                    <a:pt x="108" y="63"/>
                  </a:lnTo>
                  <a:lnTo>
                    <a:pt x="140" y="28"/>
                  </a:lnTo>
                  <a:lnTo>
                    <a:pt x="174" y="24"/>
                  </a:lnTo>
                  <a:lnTo>
                    <a:pt x="215" y="52"/>
                  </a:lnTo>
                  <a:lnTo>
                    <a:pt x="251" y="41"/>
                  </a:lnTo>
                  <a:lnTo>
                    <a:pt x="264" y="15"/>
                  </a:lnTo>
                  <a:lnTo>
                    <a:pt x="307" y="0"/>
                  </a:lnTo>
                  <a:lnTo>
                    <a:pt x="335" y="20"/>
                  </a:lnTo>
                  <a:lnTo>
                    <a:pt x="360" y="52"/>
                  </a:lnTo>
                  <a:lnTo>
                    <a:pt x="390" y="86"/>
                  </a:lnTo>
                  <a:lnTo>
                    <a:pt x="386" y="114"/>
                  </a:lnTo>
                  <a:lnTo>
                    <a:pt x="352" y="144"/>
                  </a:lnTo>
                  <a:lnTo>
                    <a:pt x="339" y="157"/>
                  </a:lnTo>
                  <a:lnTo>
                    <a:pt x="324" y="161"/>
                  </a:lnTo>
                  <a:lnTo>
                    <a:pt x="341" y="178"/>
                  </a:lnTo>
                  <a:lnTo>
                    <a:pt x="341" y="210"/>
                  </a:lnTo>
                  <a:lnTo>
                    <a:pt x="373" y="268"/>
                  </a:lnTo>
                  <a:lnTo>
                    <a:pt x="414" y="264"/>
                  </a:lnTo>
                  <a:lnTo>
                    <a:pt x="459" y="288"/>
                  </a:lnTo>
                  <a:lnTo>
                    <a:pt x="521" y="288"/>
                  </a:lnTo>
                  <a:lnTo>
                    <a:pt x="540" y="324"/>
                  </a:lnTo>
                  <a:lnTo>
                    <a:pt x="555" y="337"/>
                  </a:lnTo>
                  <a:lnTo>
                    <a:pt x="566" y="365"/>
                  </a:lnTo>
                  <a:lnTo>
                    <a:pt x="590" y="365"/>
                  </a:lnTo>
                  <a:lnTo>
                    <a:pt x="605" y="348"/>
                  </a:lnTo>
                  <a:lnTo>
                    <a:pt x="620" y="360"/>
                  </a:lnTo>
                  <a:lnTo>
                    <a:pt x="639" y="348"/>
                  </a:lnTo>
                  <a:lnTo>
                    <a:pt x="658" y="363"/>
                  </a:lnTo>
                  <a:lnTo>
                    <a:pt x="675" y="365"/>
                  </a:lnTo>
                  <a:lnTo>
                    <a:pt x="675" y="307"/>
                  </a:lnTo>
                  <a:lnTo>
                    <a:pt x="699" y="285"/>
                  </a:lnTo>
                  <a:lnTo>
                    <a:pt x="817" y="283"/>
                  </a:lnTo>
                  <a:lnTo>
                    <a:pt x="866" y="307"/>
                  </a:lnTo>
                  <a:lnTo>
                    <a:pt x="864" y="330"/>
                  </a:lnTo>
                  <a:lnTo>
                    <a:pt x="873" y="373"/>
                  </a:lnTo>
                  <a:lnTo>
                    <a:pt x="870" y="403"/>
                  </a:lnTo>
                  <a:lnTo>
                    <a:pt x="892" y="412"/>
                  </a:lnTo>
                  <a:lnTo>
                    <a:pt x="905" y="435"/>
                  </a:lnTo>
                  <a:lnTo>
                    <a:pt x="877" y="444"/>
                  </a:lnTo>
                  <a:lnTo>
                    <a:pt x="868" y="457"/>
                  </a:lnTo>
                  <a:lnTo>
                    <a:pt x="838" y="457"/>
                  </a:lnTo>
                  <a:lnTo>
                    <a:pt x="838" y="491"/>
                  </a:lnTo>
                  <a:lnTo>
                    <a:pt x="862" y="515"/>
                  </a:lnTo>
                  <a:lnTo>
                    <a:pt x="862" y="538"/>
                  </a:lnTo>
                  <a:lnTo>
                    <a:pt x="851" y="551"/>
                  </a:lnTo>
                  <a:lnTo>
                    <a:pt x="866" y="577"/>
                  </a:lnTo>
                  <a:lnTo>
                    <a:pt x="894" y="573"/>
                  </a:lnTo>
                  <a:lnTo>
                    <a:pt x="900" y="590"/>
                  </a:lnTo>
                  <a:lnTo>
                    <a:pt x="913" y="607"/>
                  </a:lnTo>
                  <a:lnTo>
                    <a:pt x="963" y="609"/>
                  </a:lnTo>
                  <a:lnTo>
                    <a:pt x="1005" y="613"/>
                  </a:lnTo>
                  <a:lnTo>
                    <a:pt x="1033" y="626"/>
                  </a:lnTo>
                  <a:lnTo>
                    <a:pt x="1093" y="630"/>
                  </a:lnTo>
                  <a:lnTo>
                    <a:pt x="1113" y="607"/>
                  </a:lnTo>
                  <a:lnTo>
                    <a:pt x="1123" y="585"/>
                  </a:lnTo>
                  <a:close/>
                </a:path>
              </a:pathLst>
            </a:custGeom>
            <a:solidFill>
              <a:srgbClr val="00A1DE"/>
            </a:solidFill>
            <a:ln w="12700">
              <a:solidFill>
                <a:schemeClr val="bg1"/>
              </a:solidFill>
              <a:round/>
              <a:headEnd type="none" w="sm" len="sm"/>
              <a:tailEnd type="none" w="sm" len="sm"/>
            </a:ln>
          </p:spPr>
          <p:txBody>
            <a:bodyPr wrap="none" anchor="ctr"/>
            <a:lstStyle/>
            <a:p>
              <a:pPr defTabSz="685800">
                <a:buClrTx/>
                <a:defRPr/>
              </a:pPr>
              <a:endParaRPr lang="en-GB" sz="1350" kern="1200">
                <a:solidFill>
                  <a:prstClr val="black"/>
                </a:solidFill>
                <a:latin typeface="Arial" charset="0"/>
                <a:ea typeface="+mn-ea"/>
                <a:cs typeface="Arial" charset="0"/>
              </a:endParaRPr>
            </a:p>
          </p:txBody>
        </p:sp>
        <p:sp>
          <p:nvSpPr>
            <p:cNvPr id="163" name="Freeform 39"/>
            <p:cNvSpPr>
              <a:spLocks/>
            </p:cNvSpPr>
            <p:nvPr/>
          </p:nvSpPr>
          <p:spPr bwMode="auto">
            <a:xfrm>
              <a:off x="2400529" y="3067271"/>
              <a:ext cx="1872440" cy="1336735"/>
            </a:xfrm>
            <a:custGeom>
              <a:avLst/>
              <a:gdLst>
                <a:gd name="T0" fmla="*/ 92 w 1706"/>
                <a:gd name="T1" fmla="*/ 22 h 1229"/>
                <a:gd name="T2" fmla="*/ 81 w 1706"/>
                <a:gd name="T3" fmla="*/ 26 h 1229"/>
                <a:gd name="T4" fmla="*/ 66 w 1706"/>
                <a:gd name="T5" fmla="*/ 46 h 1229"/>
                <a:gd name="T6" fmla="*/ 45 w 1706"/>
                <a:gd name="T7" fmla="*/ 55 h 1229"/>
                <a:gd name="T8" fmla="*/ 50 w 1706"/>
                <a:gd name="T9" fmla="*/ 65 h 1229"/>
                <a:gd name="T10" fmla="*/ 57 w 1706"/>
                <a:gd name="T11" fmla="*/ 73 h 1229"/>
                <a:gd name="T12" fmla="*/ 61 w 1706"/>
                <a:gd name="T13" fmla="*/ 84 h 1229"/>
                <a:gd name="T14" fmla="*/ 66 w 1706"/>
                <a:gd name="T15" fmla="*/ 91 h 1229"/>
                <a:gd name="T16" fmla="*/ 72 w 1706"/>
                <a:gd name="T17" fmla="*/ 105 h 1229"/>
                <a:gd name="T18" fmla="*/ 54 w 1706"/>
                <a:gd name="T19" fmla="*/ 100 h 1229"/>
                <a:gd name="T20" fmla="*/ 43 w 1706"/>
                <a:gd name="T21" fmla="*/ 101 h 1229"/>
                <a:gd name="T22" fmla="*/ 29 w 1706"/>
                <a:gd name="T23" fmla="*/ 101 h 1229"/>
                <a:gd name="T24" fmla="*/ 20 w 1706"/>
                <a:gd name="T25" fmla="*/ 105 h 1229"/>
                <a:gd name="T26" fmla="*/ 13 w 1706"/>
                <a:gd name="T27" fmla="*/ 119 h 1229"/>
                <a:gd name="T28" fmla="*/ 2 w 1706"/>
                <a:gd name="T29" fmla="*/ 124 h 1229"/>
                <a:gd name="T30" fmla="*/ 5 w 1706"/>
                <a:gd name="T31" fmla="*/ 133 h 1229"/>
                <a:gd name="T32" fmla="*/ 12 w 1706"/>
                <a:gd name="T33" fmla="*/ 135 h 1229"/>
                <a:gd name="T34" fmla="*/ 33 w 1706"/>
                <a:gd name="T35" fmla="*/ 142 h 1229"/>
                <a:gd name="T36" fmla="*/ 47 w 1706"/>
                <a:gd name="T37" fmla="*/ 129 h 1229"/>
                <a:gd name="T38" fmla="*/ 58 w 1706"/>
                <a:gd name="T39" fmla="*/ 125 h 1229"/>
                <a:gd name="T40" fmla="*/ 66 w 1706"/>
                <a:gd name="T41" fmla="*/ 126 h 1229"/>
                <a:gd name="T42" fmla="*/ 78 w 1706"/>
                <a:gd name="T43" fmla="*/ 129 h 1229"/>
                <a:gd name="T44" fmla="*/ 95 w 1706"/>
                <a:gd name="T45" fmla="*/ 139 h 1229"/>
                <a:gd name="T46" fmla="*/ 106 w 1706"/>
                <a:gd name="T47" fmla="*/ 136 h 1229"/>
                <a:gd name="T48" fmla="*/ 117 w 1706"/>
                <a:gd name="T49" fmla="*/ 131 h 1229"/>
                <a:gd name="T50" fmla="*/ 124 w 1706"/>
                <a:gd name="T51" fmla="*/ 122 h 1229"/>
                <a:gd name="T52" fmla="*/ 131 w 1706"/>
                <a:gd name="T53" fmla="*/ 119 h 1229"/>
                <a:gd name="T54" fmla="*/ 138 w 1706"/>
                <a:gd name="T55" fmla="*/ 117 h 1229"/>
                <a:gd name="T56" fmla="*/ 138 w 1706"/>
                <a:gd name="T57" fmla="*/ 111 h 1229"/>
                <a:gd name="T58" fmla="*/ 158 w 1706"/>
                <a:gd name="T59" fmla="*/ 118 h 1229"/>
                <a:gd name="T60" fmla="*/ 168 w 1706"/>
                <a:gd name="T61" fmla="*/ 124 h 1229"/>
                <a:gd name="T62" fmla="*/ 167 w 1706"/>
                <a:gd name="T63" fmla="*/ 119 h 1229"/>
                <a:gd name="T64" fmla="*/ 178 w 1706"/>
                <a:gd name="T65" fmla="*/ 118 h 1229"/>
                <a:gd name="T66" fmla="*/ 186 w 1706"/>
                <a:gd name="T67" fmla="*/ 117 h 1229"/>
                <a:gd name="T68" fmla="*/ 197 w 1706"/>
                <a:gd name="T69" fmla="*/ 112 h 1229"/>
                <a:gd name="T70" fmla="*/ 207 w 1706"/>
                <a:gd name="T71" fmla="*/ 111 h 1229"/>
                <a:gd name="T72" fmla="*/ 218 w 1706"/>
                <a:gd name="T73" fmla="*/ 101 h 1229"/>
                <a:gd name="T74" fmla="*/ 221 w 1706"/>
                <a:gd name="T75" fmla="*/ 97 h 1229"/>
                <a:gd name="T76" fmla="*/ 220 w 1706"/>
                <a:gd name="T77" fmla="*/ 94 h 1229"/>
                <a:gd name="T78" fmla="*/ 207 w 1706"/>
                <a:gd name="T79" fmla="*/ 88 h 1229"/>
                <a:gd name="T80" fmla="*/ 211 w 1706"/>
                <a:gd name="T81" fmla="*/ 80 h 1229"/>
                <a:gd name="T82" fmla="*/ 209 w 1706"/>
                <a:gd name="T83" fmla="*/ 73 h 1229"/>
                <a:gd name="T84" fmla="*/ 200 w 1706"/>
                <a:gd name="T85" fmla="*/ 64 h 1229"/>
                <a:gd name="T86" fmla="*/ 192 w 1706"/>
                <a:gd name="T87" fmla="*/ 63 h 1229"/>
                <a:gd name="T88" fmla="*/ 171 w 1706"/>
                <a:gd name="T89" fmla="*/ 52 h 1229"/>
                <a:gd name="T90" fmla="*/ 140 w 1706"/>
                <a:gd name="T91" fmla="*/ 55 h 1229"/>
                <a:gd name="T92" fmla="*/ 134 w 1706"/>
                <a:gd name="T93" fmla="*/ 47 h 1229"/>
                <a:gd name="T94" fmla="*/ 129 w 1706"/>
                <a:gd name="T95" fmla="*/ 41 h 1229"/>
                <a:gd name="T96" fmla="*/ 136 w 1706"/>
                <a:gd name="T97" fmla="*/ 21 h 1229"/>
                <a:gd name="T98" fmla="*/ 130 w 1706"/>
                <a:gd name="T99" fmla="*/ 13 h 1229"/>
                <a:gd name="T100" fmla="*/ 120 w 1706"/>
                <a:gd name="T101" fmla="*/ 9 h 1229"/>
                <a:gd name="T102" fmla="*/ 110 w 1706"/>
                <a:gd name="T103" fmla="*/ 11 h 122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06"/>
                <a:gd name="T157" fmla="*/ 0 h 1229"/>
                <a:gd name="T158" fmla="*/ 1706 w 1706"/>
                <a:gd name="T159" fmla="*/ 1229 h 122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06" h="1229">
                  <a:moveTo>
                    <a:pt x="780" y="0"/>
                  </a:moveTo>
                  <a:lnTo>
                    <a:pt x="733" y="165"/>
                  </a:lnTo>
                  <a:lnTo>
                    <a:pt x="704" y="191"/>
                  </a:lnTo>
                  <a:lnTo>
                    <a:pt x="693" y="203"/>
                  </a:lnTo>
                  <a:lnTo>
                    <a:pt x="657" y="223"/>
                  </a:lnTo>
                  <a:lnTo>
                    <a:pt x="620" y="229"/>
                  </a:lnTo>
                  <a:lnTo>
                    <a:pt x="562" y="298"/>
                  </a:lnTo>
                  <a:lnTo>
                    <a:pt x="517" y="343"/>
                  </a:lnTo>
                  <a:lnTo>
                    <a:pt x="500" y="400"/>
                  </a:lnTo>
                  <a:lnTo>
                    <a:pt x="480" y="443"/>
                  </a:lnTo>
                  <a:lnTo>
                    <a:pt x="369" y="474"/>
                  </a:lnTo>
                  <a:lnTo>
                    <a:pt x="342" y="474"/>
                  </a:lnTo>
                  <a:lnTo>
                    <a:pt x="342" y="518"/>
                  </a:lnTo>
                  <a:lnTo>
                    <a:pt x="373" y="554"/>
                  </a:lnTo>
                  <a:lnTo>
                    <a:pt x="382" y="567"/>
                  </a:lnTo>
                  <a:lnTo>
                    <a:pt x="382" y="589"/>
                  </a:lnTo>
                  <a:lnTo>
                    <a:pt x="422" y="605"/>
                  </a:lnTo>
                  <a:lnTo>
                    <a:pt x="437" y="634"/>
                  </a:lnTo>
                  <a:lnTo>
                    <a:pt x="415" y="709"/>
                  </a:lnTo>
                  <a:lnTo>
                    <a:pt x="433" y="738"/>
                  </a:lnTo>
                  <a:lnTo>
                    <a:pt x="471" y="734"/>
                  </a:lnTo>
                  <a:lnTo>
                    <a:pt x="491" y="709"/>
                  </a:lnTo>
                  <a:lnTo>
                    <a:pt x="499" y="713"/>
                  </a:lnTo>
                  <a:lnTo>
                    <a:pt x="502" y="791"/>
                  </a:lnTo>
                  <a:lnTo>
                    <a:pt x="537" y="845"/>
                  </a:lnTo>
                  <a:lnTo>
                    <a:pt x="553" y="860"/>
                  </a:lnTo>
                  <a:lnTo>
                    <a:pt x="553" y="909"/>
                  </a:lnTo>
                  <a:lnTo>
                    <a:pt x="484" y="880"/>
                  </a:lnTo>
                  <a:lnTo>
                    <a:pt x="444" y="867"/>
                  </a:lnTo>
                  <a:lnTo>
                    <a:pt x="409" y="863"/>
                  </a:lnTo>
                  <a:lnTo>
                    <a:pt x="400" y="851"/>
                  </a:lnTo>
                  <a:lnTo>
                    <a:pt x="360" y="878"/>
                  </a:lnTo>
                  <a:lnTo>
                    <a:pt x="329" y="876"/>
                  </a:lnTo>
                  <a:lnTo>
                    <a:pt x="286" y="898"/>
                  </a:lnTo>
                  <a:lnTo>
                    <a:pt x="231" y="883"/>
                  </a:lnTo>
                  <a:lnTo>
                    <a:pt x="217" y="880"/>
                  </a:lnTo>
                  <a:lnTo>
                    <a:pt x="202" y="863"/>
                  </a:lnTo>
                  <a:lnTo>
                    <a:pt x="175" y="885"/>
                  </a:lnTo>
                  <a:lnTo>
                    <a:pt x="155" y="909"/>
                  </a:lnTo>
                  <a:lnTo>
                    <a:pt x="131" y="949"/>
                  </a:lnTo>
                  <a:lnTo>
                    <a:pt x="97" y="996"/>
                  </a:lnTo>
                  <a:lnTo>
                    <a:pt x="100" y="1031"/>
                  </a:lnTo>
                  <a:lnTo>
                    <a:pt x="80" y="1038"/>
                  </a:lnTo>
                  <a:lnTo>
                    <a:pt x="60" y="1058"/>
                  </a:lnTo>
                  <a:lnTo>
                    <a:pt x="13" y="1071"/>
                  </a:lnTo>
                  <a:lnTo>
                    <a:pt x="0" y="1076"/>
                  </a:lnTo>
                  <a:lnTo>
                    <a:pt x="2" y="1131"/>
                  </a:lnTo>
                  <a:lnTo>
                    <a:pt x="37" y="1154"/>
                  </a:lnTo>
                  <a:lnTo>
                    <a:pt x="51" y="1174"/>
                  </a:lnTo>
                  <a:lnTo>
                    <a:pt x="71" y="1174"/>
                  </a:lnTo>
                  <a:lnTo>
                    <a:pt x="94" y="1166"/>
                  </a:lnTo>
                  <a:lnTo>
                    <a:pt x="120" y="1187"/>
                  </a:lnTo>
                  <a:lnTo>
                    <a:pt x="122" y="1227"/>
                  </a:lnTo>
                  <a:lnTo>
                    <a:pt x="253" y="1229"/>
                  </a:lnTo>
                  <a:lnTo>
                    <a:pt x="271" y="1216"/>
                  </a:lnTo>
                  <a:lnTo>
                    <a:pt x="309" y="1216"/>
                  </a:lnTo>
                  <a:lnTo>
                    <a:pt x="357" y="1116"/>
                  </a:lnTo>
                  <a:lnTo>
                    <a:pt x="397" y="1114"/>
                  </a:lnTo>
                  <a:lnTo>
                    <a:pt x="426" y="1103"/>
                  </a:lnTo>
                  <a:lnTo>
                    <a:pt x="446" y="1087"/>
                  </a:lnTo>
                  <a:lnTo>
                    <a:pt x="477" y="1096"/>
                  </a:lnTo>
                  <a:lnTo>
                    <a:pt x="489" y="1109"/>
                  </a:lnTo>
                  <a:lnTo>
                    <a:pt x="506" y="1091"/>
                  </a:lnTo>
                  <a:lnTo>
                    <a:pt x="533" y="1087"/>
                  </a:lnTo>
                  <a:lnTo>
                    <a:pt x="562" y="1105"/>
                  </a:lnTo>
                  <a:lnTo>
                    <a:pt x="597" y="1123"/>
                  </a:lnTo>
                  <a:lnTo>
                    <a:pt x="624" y="1140"/>
                  </a:lnTo>
                  <a:lnTo>
                    <a:pt x="706" y="1196"/>
                  </a:lnTo>
                  <a:lnTo>
                    <a:pt x="729" y="1205"/>
                  </a:lnTo>
                  <a:lnTo>
                    <a:pt x="746" y="1196"/>
                  </a:lnTo>
                  <a:lnTo>
                    <a:pt x="795" y="1191"/>
                  </a:lnTo>
                  <a:lnTo>
                    <a:pt x="813" y="1178"/>
                  </a:lnTo>
                  <a:lnTo>
                    <a:pt x="855" y="1218"/>
                  </a:lnTo>
                  <a:lnTo>
                    <a:pt x="897" y="1220"/>
                  </a:lnTo>
                  <a:lnTo>
                    <a:pt x="895" y="1138"/>
                  </a:lnTo>
                  <a:lnTo>
                    <a:pt x="862" y="1089"/>
                  </a:lnTo>
                  <a:lnTo>
                    <a:pt x="937" y="1074"/>
                  </a:lnTo>
                  <a:lnTo>
                    <a:pt x="951" y="1056"/>
                  </a:lnTo>
                  <a:lnTo>
                    <a:pt x="973" y="1058"/>
                  </a:lnTo>
                  <a:lnTo>
                    <a:pt x="977" y="1034"/>
                  </a:lnTo>
                  <a:lnTo>
                    <a:pt x="995" y="1036"/>
                  </a:lnTo>
                  <a:lnTo>
                    <a:pt x="1055" y="1069"/>
                  </a:lnTo>
                  <a:lnTo>
                    <a:pt x="1075" y="1045"/>
                  </a:lnTo>
                  <a:lnTo>
                    <a:pt x="1053" y="1018"/>
                  </a:lnTo>
                  <a:lnTo>
                    <a:pt x="1020" y="1000"/>
                  </a:lnTo>
                  <a:lnTo>
                    <a:pt x="1026" y="978"/>
                  </a:lnTo>
                  <a:lnTo>
                    <a:pt x="1057" y="967"/>
                  </a:lnTo>
                  <a:lnTo>
                    <a:pt x="1093" y="976"/>
                  </a:lnTo>
                  <a:lnTo>
                    <a:pt x="1120" y="1011"/>
                  </a:lnTo>
                  <a:lnTo>
                    <a:pt x="1209" y="1020"/>
                  </a:lnTo>
                  <a:lnTo>
                    <a:pt x="1220" y="1054"/>
                  </a:lnTo>
                  <a:lnTo>
                    <a:pt x="1271" y="1065"/>
                  </a:lnTo>
                  <a:lnTo>
                    <a:pt x="1286" y="1076"/>
                  </a:lnTo>
                  <a:lnTo>
                    <a:pt x="1302" y="1060"/>
                  </a:lnTo>
                  <a:lnTo>
                    <a:pt x="1293" y="1045"/>
                  </a:lnTo>
                  <a:lnTo>
                    <a:pt x="1277" y="1036"/>
                  </a:lnTo>
                  <a:lnTo>
                    <a:pt x="1286" y="1016"/>
                  </a:lnTo>
                  <a:lnTo>
                    <a:pt x="1329" y="1018"/>
                  </a:lnTo>
                  <a:lnTo>
                    <a:pt x="1364" y="1029"/>
                  </a:lnTo>
                  <a:lnTo>
                    <a:pt x="1373" y="1045"/>
                  </a:lnTo>
                  <a:lnTo>
                    <a:pt x="1404" y="1014"/>
                  </a:lnTo>
                  <a:lnTo>
                    <a:pt x="1420" y="1014"/>
                  </a:lnTo>
                  <a:lnTo>
                    <a:pt x="1422" y="994"/>
                  </a:lnTo>
                  <a:lnTo>
                    <a:pt x="1460" y="989"/>
                  </a:lnTo>
                  <a:lnTo>
                    <a:pt x="1504" y="969"/>
                  </a:lnTo>
                  <a:lnTo>
                    <a:pt x="1549" y="938"/>
                  </a:lnTo>
                  <a:lnTo>
                    <a:pt x="1586" y="943"/>
                  </a:lnTo>
                  <a:lnTo>
                    <a:pt x="1584" y="963"/>
                  </a:lnTo>
                  <a:lnTo>
                    <a:pt x="1617" y="965"/>
                  </a:lnTo>
                  <a:lnTo>
                    <a:pt x="1657" y="918"/>
                  </a:lnTo>
                  <a:lnTo>
                    <a:pt x="1669" y="883"/>
                  </a:lnTo>
                  <a:lnTo>
                    <a:pt x="1669" y="865"/>
                  </a:lnTo>
                  <a:lnTo>
                    <a:pt x="1684" y="867"/>
                  </a:lnTo>
                  <a:lnTo>
                    <a:pt x="1689" y="840"/>
                  </a:lnTo>
                  <a:lnTo>
                    <a:pt x="1706" y="834"/>
                  </a:lnTo>
                  <a:lnTo>
                    <a:pt x="1697" y="818"/>
                  </a:lnTo>
                  <a:lnTo>
                    <a:pt x="1677" y="818"/>
                  </a:lnTo>
                  <a:lnTo>
                    <a:pt x="1655" y="789"/>
                  </a:lnTo>
                  <a:lnTo>
                    <a:pt x="1609" y="765"/>
                  </a:lnTo>
                  <a:lnTo>
                    <a:pt x="1584" y="767"/>
                  </a:lnTo>
                  <a:lnTo>
                    <a:pt x="1557" y="763"/>
                  </a:lnTo>
                  <a:lnTo>
                    <a:pt x="1564" y="711"/>
                  </a:lnTo>
                  <a:lnTo>
                    <a:pt x="1611" y="694"/>
                  </a:lnTo>
                  <a:lnTo>
                    <a:pt x="1626" y="669"/>
                  </a:lnTo>
                  <a:lnTo>
                    <a:pt x="1631" y="640"/>
                  </a:lnTo>
                  <a:lnTo>
                    <a:pt x="1597" y="638"/>
                  </a:lnTo>
                  <a:lnTo>
                    <a:pt x="1549" y="614"/>
                  </a:lnTo>
                  <a:lnTo>
                    <a:pt x="1542" y="558"/>
                  </a:lnTo>
                  <a:lnTo>
                    <a:pt x="1526" y="556"/>
                  </a:lnTo>
                  <a:lnTo>
                    <a:pt x="1511" y="569"/>
                  </a:lnTo>
                  <a:lnTo>
                    <a:pt x="1493" y="567"/>
                  </a:lnTo>
                  <a:lnTo>
                    <a:pt x="1466" y="545"/>
                  </a:lnTo>
                  <a:lnTo>
                    <a:pt x="1373" y="543"/>
                  </a:lnTo>
                  <a:lnTo>
                    <a:pt x="1311" y="476"/>
                  </a:lnTo>
                  <a:lnTo>
                    <a:pt x="1309" y="456"/>
                  </a:lnTo>
                  <a:lnTo>
                    <a:pt x="1231" y="456"/>
                  </a:lnTo>
                  <a:lnTo>
                    <a:pt x="1206" y="478"/>
                  </a:lnTo>
                  <a:lnTo>
                    <a:pt x="1073" y="476"/>
                  </a:lnTo>
                  <a:lnTo>
                    <a:pt x="1046" y="440"/>
                  </a:lnTo>
                  <a:lnTo>
                    <a:pt x="1049" y="416"/>
                  </a:lnTo>
                  <a:lnTo>
                    <a:pt x="1024" y="407"/>
                  </a:lnTo>
                  <a:lnTo>
                    <a:pt x="1026" y="387"/>
                  </a:lnTo>
                  <a:lnTo>
                    <a:pt x="1009" y="369"/>
                  </a:lnTo>
                  <a:lnTo>
                    <a:pt x="989" y="358"/>
                  </a:lnTo>
                  <a:lnTo>
                    <a:pt x="989" y="316"/>
                  </a:lnTo>
                  <a:lnTo>
                    <a:pt x="1035" y="251"/>
                  </a:lnTo>
                  <a:lnTo>
                    <a:pt x="1040" y="183"/>
                  </a:lnTo>
                  <a:lnTo>
                    <a:pt x="1015" y="131"/>
                  </a:lnTo>
                  <a:lnTo>
                    <a:pt x="1015" y="116"/>
                  </a:lnTo>
                  <a:lnTo>
                    <a:pt x="993" y="109"/>
                  </a:lnTo>
                  <a:lnTo>
                    <a:pt x="973" y="78"/>
                  </a:lnTo>
                  <a:lnTo>
                    <a:pt x="957" y="71"/>
                  </a:lnTo>
                  <a:lnTo>
                    <a:pt x="917" y="76"/>
                  </a:lnTo>
                  <a:lnTo>
                    <a:pt x="882" y="94"/>
                  </a:lnTo>
                  <a:lnTo>
                    <a:pt x="855" y="98"/>
                  </a:lnTo>
                  <a:lnTo>
                    <a:pt x="840" y="94"/>
                  </a:lnTo>
                  <a:lnTo>
                    <a:pt x="780" y="0"/>
                  </a:lnTo>
                  <a:close/>
                </a:path>
              </a:pathLst>
            </a:custGeom>
            <a:solidFill>
              <a:srgbClr val="00A1DE"/>
            </a:solidFill>
            <a:ln w="12700">
              <a:solidFill>
                <a:schemeClr val="bg1"/>
              </a:solidFill>
              <a:round/>
              <a:headEnd type="none" w="sm" len="sm"/>
              <a:tailEnd type="none" w="sm" len="sm"/>
            </a:ln>
          </p:spPr>
          <p:txBody>
            <a:bodyPr wrap="none" anchor="ctr"/>
            <a:lstStyle/>
            <a:p>
              <a:pPr defTabSz="685800">
                <a:buClrTx/>
                <a:defRPr/>
              </a:pPr>
              <a:endParaRPr lang="en-GB" sz="1350" kern="1200">
                <a:solidFill>
                  <a:prstClr val="black"/>
                </a:solidFill>
                <a:latin typeface="Arial" charset="0"/>
                <a:ea typeface="+mn-ea"/>
                <a:cs typeface="Arial" charset="0"/>
              </a:endParaRPr>
            </a:p>
          </p:txBody>
        </p:sp>
        <p:sp>
          <p:nvSpPr>
            <p:cNvPr id="164" name="Freeform 40"/>
            <p:cNvSpPr>
              <a:spLocks/>
            </p:cNvSpPr>
            <p:nvPr/>
          </p:nvSpPr>
          <p:spPr bwMode="auto">
            <a:xfrm>
              <a:off x="1557384" y="4249049"/>
              <a:ext cx="1912590" cy="1034289"/>
            </a:xfrm>
            <a:custGeom>
              <a:avLst/>
              <a:gdLst>
                <a:gd name="T0" fmla="*/ 0 w 1738"/>
                <a:gd name="T1" fmla="*/ 36 h 949"/>
                <a:gd name="T2" fmla="*/ 5 w 1738"/>
                <a:gd name="T3" fmla="*/ 60 h 949"/>
                <a:gd name="T4" fmla="*/ 8 w 1738"/>
                <a:gd name="T5" fmla="*/ 70 h 949"/>
                <a:gd name="T6" fmla="*/ 15 w 1738"/>
                <a:gd name="T7" fmla="*/ 82 h 949"/>
                <a:gd name="T8" fmla="*/ 27 w 1738"/>
                <a:gd name="T9" fmla="*/ 81 h 949"/>
                <a:gd name="T10" fmla="*/ 24 w 1738"/>
                <a:gd name="T11" fmla="*/ 68 h 949"/>
                <a:gd name="T12" fmla="*/ 42 w 1738"/>
                <a:gd name="T13" fmla="*/ 64 h 949"/>
                <a:gd name="T14" fmla="*/ 41 w 1738"/>
                <a:gd name="T15" fmla="*/ 71 h 949"/>
                <a:gd name="T16" fmla="*/ 57 w 1738"/>
                <a:gd name="T17" fmla="*/ 72 h 949"/>
                <a:gd name="T18" fmla="*/ 70 w 1738"/>
                <a:gd name="T19" fmla="*/ 58 h 949"/>
                <a:gd name="T20" fmla="*/ 79 w 1738"/>
                <a:gd name="T21" fmla="*/ 66 h 949"/>
                <a:gd name="T22" fmla="*/ 86 w 1738"/>
                <a:gd name="T23" fmla="*/ 75 h 949"/>
                <a:gd name="T24" fmla="*/ 100 w 1738"/>
                <a:gd name="T25" fmla="*/ 67 h 949"/>
                <a:gd name="T26" fmla="*/ 110 w 1738"/>
                <a:gd name="T27" fmla="*/ 65 h 949"/>
                <a:gd name="T28" fmla="*/ 110 w 1738"/>
                <a:gd name="T29" fmla="*/ 78 h 949"/>
                <a:gd name="T30" fmla="*/ 121 w 1738"/>
                <a:gd name="T31" fmla="*/ 92 h 949"/>
                <a:gd name="T32" fmla="*/ 131 w 1738"/>
                <a:gd name="T33" fmla="*/ 93 h 949"/>
                <a:gd name="T34" fmla="*/ 128 w 1738"/>
                <a:gd name="T35" fmla="*/ 103 h 949"/>
                <a:gd name="T36" fmla="*/ 143 w 1738"/>
                <a:gd name="T37" fmla="*/ 99 h 949"/>
                <a:gd name="T38" fmla="*/ 160 w 1738"/>
                <a:gd name="T39" fmla="*/ 97 h 949"/>
                <a:gd name="T40" fmla="*/ 166 w 1738"/>
                <a:gd name="T41" fmla="*/ 98 h 949"/>
                <a:gd name="T42" fmla="*/ 169 w 1738"/>
                <a:gd name="T43" fmla="*/ 106 h 949"/>
                <a:gd name="T44" fmla="*/ 177 w 1738"/>
                <a:gd name="T45" fmla="*/ 109 h 949"/>
                <a:gd name="T46" fmla="*/ 188 w 1738"/>
                <a:gd name="T47" fmla="*/ 92 h 949"/>
                <a:gd name="T48" fmla="*/ 215 w 1738"/>
                <a:gd name="T49" fmla="*/ 79 h 949"/>
                <a:gd name="T50" fmla="*/ 209 w 1738"/>
                <a:gd name="T51" fmla="*/ 65 h 949"/>
                <a:gd name="T52" fmla="*/ 216 w 1738"/>
                <a:gd name="T53" fmla="*/ 50 h 949"/>
                <a:gd name="T54" fmla="*/ 230 w 1738"/>
                <a:gd name="T55" fmla="*/ 48 h 949"/>
                <a:gd name="T56" fmla="*/ 227 w 1738"/>
                <a:gd name="T57" fmla="*/ 36 h 949"/>
                <a:gd name="T58" fmla="*/ 211 w 1738"/>
                <a:gd name="T59" fmla="*/ 18 h 949"/>
                <a:gd name="T60" fmla="*/ 199 w 1738"/>
                <a:gd name="T61" fmla="*/ 12 h 949"/>
                <a:gd name="T62" fmla="*/ 172 w 1738"/>
                <a:gd name="T63" fmla="*/ 0 h 949"/>
                <a:gd name="T64" fmla="*/ 163 w 1738"/>
                <a:gd name="T65" fmla="*/ 1 h 949"/>
                <a:gd name="T66" fmla="*/ 153 w 1738"/>
                <a:gd name="T67" fmla="*/ 3 h 949"/>
                <a:gd name="T68" fmla="*/ 137 w 1738"/>
                <a:gd name="T69" fmla="*/ 15 h 949"/>
                <a:gd name="T70" fmla="*/ 118 w 1738"/>
                <a:gd name="T71" fmla="*/ 12 h 949"/>
                <a:gd name="T72" fmla="*/ 105 w 1738"/>
                <a:gd name="T73" fmla="*/ 7 h 949"/>
                <a:gd name="T74" fmla="*/ 98 w 1738"/>
                <a:gd name="T75" fmla="*/ 1 h 949"/>
                <a:gd name="T76" fmla="*/ 84 w 1738"/>
                <a:gd name="T77" fmla="*/ 6 h 949"/>
                <a:gd name="T78" fmla="*/ 73 w 1738"/>
                <a:gd name="T79" fmla="*/ 8 h 949"/>
                <a:gd name="T80" fmla="*/ 71 w 1738"/>
                <a:gd name="T81" fmla="*/ 19 h 949"/>
                <a:gd name="T82" fmla="*/ 80 w 1738"/>
                <a:gd name="T83" fmla="*/ 20 h 949"/>
                <a:gd name="T84" fmla="*/ 71 w 1738"/>
                <a:gd name="T85" fmla="*/ 23 h 949"/>
                <a:gd name="T86" fmla="*/ 60 w 1738"/>
                <a:gd name="T87" fmla="*/ 23 h 949"/>
                <a:gd name="T88" fmla="*/ 46 w 1738"/>
                <a:gd name="T89" fmla="*/ 26 h 949"/>
                <a:gd name="T90" fmla="*/ 31 w 1738"/>
                <a:gd name="T91" fmla="*/ 26 h 94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738"/>
                <a:gd name="T139" fmla="*/ 0 h 949"/>
                <a:gd name="T140" fmla="*/ 1738 w 1738"/>
                <a:gd name="T141" fmla="*/ 949 h 94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738" h="949">
                  <a:moveTo>
                    <a:pt x="189" y="220"/>
                  </a:moveTo>
                  <a:lnTo>
                    <a:pt x="43" y="293"/>
                  </a:lnTo>
                  <a:lnTo>
                    <a:pt x="0" y="313"/>
                  </a:lnTo>
                  <a:lnTo>
                    <a:pt x="3" y="396"/>
                  </a:lnTo>
                  <a:lnTo>
                    <a:pt x="34" y="424"/>
                  </a:lnTo>
                  <a:lnTo>
                    <a:pt x="38" y="516"/>
                  </a:lnTo>
                  <a:lnTo>
                    <a:pt x="74" y="516"/>
                  </a:lnTo>
                  <a:lnTo>
                    <a:pt x="78" y="587"/>
                  </a:lnTo>
                  <a:lnTo>
                    <a:pt x="65" y="604"/>
                  </a:lnTo>
                  <a:lnTo>
                    <a:pt x="74" y="640"/>
                  </a:lnTo>
                  <a:lnTo>
                    <a:pt x="60" y="676"/>
                  </a:lnTo>
                  <a:lnTo>
                    <a:pt x="114" y="702"/>
                  </a:lnTo>
                  <a:lnTo>
                    <a:pt x="143" y="711"/>
                  </a:lnTo>
                  <a:lnTo>
                    <a:pt x="191" y="718"/>
                  </a:lnTo>
                  <a:lnTo>
                    <a:pt x="203" y="693"/>
                  </a:lnTo>
                  <a:lnTo>
                    <a:pt x="167" y="624"/>
                  </a:lnTo>
                  <a:lnTo>
                    <a:pt x="180" y="613"/>
                  </a:lnTo>
                  <a:lnTo>
                    <a:pt x="178" y="591"/>
                  </a:lnTo>
                  <a:lnTo>
                    <a:pt x="167" y="582"/>
                  </a:lnTo>
                  <a:lnTo>
                    <a:pt x="287" y="536"/>
                  </a:lnTo>
                  <a:lnTo>
                    <a:pt x="318" y="551"/>
                  </a:lnTo>
                  <a:lnTo>
                    <a:pt x="323" y="573"/>
                  </a:lnTo>
                  <a:lnTo>
                    <a:pt x="307" y="576"/>
                  </a:lnTo>
                  <a:lnTo>
                    <a:pt x="309" y="607"/>
                  </a:lnTo>
                  <a:lnTo>
                    <a:pt x="358" y="609"/>
                  </a:lnTo>
                  <a:lnTo>
                    <a:pt x="383" y="627"/>
                  </a:lnTo>
                  <a:lnTo>
                    <a:pt x="429" y="620"/>
                  </a:lnTo>
                  <a:lnTo>
                    <a:pt x="436" y="600"/>
                  </a:lnTo>
                  <a:lnTo>
                    <a:pt x="454" y="582"/>
                  </a:lnTo>
                  <a:lnTo>
                    <a:pt x="529" y="496"/>
                  </a:lnTo>
                  <a:lnTo>
                    <a:pt x="571" y="511"/>
                  </a:lnTo>
                  <a:lnTo>
                    <a:pt x="611" y="540"/>
                  </a:lnTo>
                  <a:lnTo>
                    <a:pt x="600" y="567"/>
                  </a:lnTo>
                  <a:lnTo>
                    <a:pt x="587" y="604"/>
                  </a:lnTo>
                  <a:lnTo>
                    <a:pt x="603" y="638"/>
                  </a:lnTo>
                  <a:lnTo>
                    <a:pt x="645" y="642"/>
                  </a:lnTo>
                  <a:lnTo>
                    <a:pt x="685" y="656"/>
                  </a:lnTo>
                  <a:lnTo>
                    <a:pt x="711" y="636"/>
                  </a:lnTo>
                  <a:lnTo>
                    <a:pt x="760" y="578"/>
                  </a:lnTo>
                  <a:lnTo>
                    <a:pt x="763" y="542"/>
                  </a:lnTo>
                  <a:lnTo>
                    <a:pt x="791" y="531"/>
                  </a:lnTo>
                  <a:lnTo>
                    <a:pt x="834" y="560"/>
                  </a:lnTo>
                  <a:lnTo>
                    <a:pt x="854" y="602"/>
                  </a:lnTo>
                  <a:lnTo>
                    <a:pt x="836" y="642"/>
                  </a:lnTo>
                  <a:lnTo>
                    <a:pt x="827" y="671"/>
                  </a:lnTo>
                  <a:lnTo>
                    <a:pt x="865" y="738"/>
                  </a:lnTo>
                  <a:lnTo>
                    <a:pt x="896" y="787"/>
                  </a:lnTo>
                  <a:lnTo>
                    <a:pt x="911" y="791"/>
                  </a:lnTo>
                  <a:lnTo>
                    <a:pt x="934" y="776"/>
                  </a:lnTo>
                  <a:lnTo>
                    <a:pt x="978" y="782"/>
                  </a:lnTo>
                  <a:lnTo>
                    <a:pt x="996" y="804"/>
                  </a:lnTo>
                  <a:lnTo>
                    <a:pt x="985" y="818"/>
                  </a:lnTo>
                  <a:lnTo>
                    <a:pt x="976" y="856"/>
                  </a:lnTo>
                  <a:lnTo>
                    <a:pt x="971" y="882"/>
                  </a:lnTo>
                  <a:lnTo>
                    <a:pt x="989" y="867"/>
                  </a:lnTo>
                  <a:lnTo>
                    <a:pt x="1067" y="867"/>
                  </a:lnTo>
                  <a:lnTo>
                    <a:pt x="1082" y="853"/>
                  </a:lnTo>
                  <a:lnTo>
                    <a:pt x="1151" y="860"/>
                  </a:lnTo>
                  <a:lnTo>
                    <a:pt x="1194" y="831"/>
                  </a:lnTo>
                  <a:lnTo>
                    <a:pt x="1211" y="836"/>
                  </a:lnTo>
                  <a:lnTo>
                    <a:pt x="1211" y="811"/>
                  </a:lnTo>
                  <a:lnTo>
                    <a:pt x="1245" y="816"/>
                  </a:lnTo>
                  <a:lnTo>
                    <a:pt x="1254" y="842"/>
                  </a:lnTo>
                  <a:lnTo>
                    <a:pt x="1280" y="869"/>
                  </a:lnTo>
                  <a:lnTo>
                    <a:pt x="1294" y="876"/>
                  </a:lnTo>
                  <a:lnTo>
                    <a:pt x="1282" y="916"/>
                  </a:lnTo>
                  <a:lnTo>
                    <a:pt x="1305" y="942"/>
                  </a:lnTo>
                  <a:lnTo>
                    <a:pt x="1325" y="949"/>
                  </a:lnTo>
                  <a:lnTo>
                    <a:pt x="1342" y="936"/>
                  </a:lnTo>
                  <a:lnTo>
                    <a:pt x="1340" y="893"/>
                  </a:lnTo>
                  <a:lnTo>
                    <a:pt x="1369" y="840"/>
                  </a:lnTo>
                  <a:lnTo>
                    <a:pt x="1422" y="791"/>
                  </a:lnTo>
                  <a:lnTo>
                    <a:pt x="1565" y="751"/>
                  </a:lnTo>
                  <a:lnTo>
                    <a:pt x="1625" y="693"/>
                  </a:lnTo>
                  <a:lnTo>
                    <a:pt x="1629" y="676"/>
                  </a:lnTo>
                  <a:lnTo>
                    <a:pt x="1627" y="658"/>
                  </a:lnTo>
                  <a:lnTo>
                    <a:pt x="1587" y="598"/>
                  </a:lnTo>
                  <a:lnTo>
                    <a:pt x="1585" y="562"/>
                  </a:lnTo>
                  <a:lnTo>
                    <a:pt x="1561" y="499"/>
                  </a:lnTo>
                  <a:lnTo>
                    <a:pt x="1558" y="433"/>
                  </a:lnTo>
                  <a:lnTo>
                    <a:pt x="1638" y="429"/>
                  </a:lnTo>
                  <a:lnTo>
                    <a:pt x="1691" y="407"/>
                  </a:lnTo>
                  <a:lnTo>
                    <a:pt x="1722" y="422"/>
                  </a:lnTo>
                  <a:lnTo>
                    <a:pt x="1738" y="409"/>
                  </a:lnTo>
                  <a:lnTo>
                    <a:pt x="1731" y="367"/>
                  </a:lnTo>
                  <a:lnTo>
                    <a:pt x="1720" y="320"/>
                  </a:lnTo>
                  <a:lnTo>
                    <a:pt x="1714" y="307"/>
                  </a:lnTo>
                  <a:lnTo>
                    <a:pt x="1662" y="249"/>
                  </a:lnTo>
                  <a:lnTo>
                    <a:pt x="1662" y="193"/>
                  </a:lnTo>
                  <a:lnTo>
                    <a:pt x="1598" y="151"/>
                  </a:lnTo>
                  <a:lnTo>
                    <a:pt x="1560" y="100"/>
                  </a:lnTo>
                  <a:lnTo>
                    <a:pt x="1525" y="107"/>
                  </a:lnTo>
                  <a:lnTo>
                    <a:pt x="1505" y="107"/>
                  </a:lnTo>
                  <a:lnTo>
                    <a:pt x="1483" y="115"/>
                  </a:lnTo>
                  <a:lnTo>
                    <a:pt x="1360" y="33"/>
                  </a:lnTo>
                  <a:lnTo>
                    <a:pt x="1300" y="0"/>
                  </a:lnTo>
                  <a:lnTo>
                    <a:pt x="1267" y="7"/>
                  </a:lnTo>
                  <a:lnTo>
                    <a:pt x="1254" y="18"/>
                  </a:lnTo>
                  <a:lnTo>
                    <a:pt x="1236" y="9"/>
                  </a:lnTo>
                  <a:lnTo>
                    <a:pt x="1209" y="0"/>
                  </a:lnTo>
                  <a:lnTo>
                    <a:pt x="1189" y="16"/>
                  </a:lnTo>
                  <a:lnTo>
                    <a:pt x="1160" y="27"/>
                  </a:lnTo>
                  <a:lnTo>
                    <a:pt x="1118" y="29"/>
                  </a:lnTo>
                  <a:lnTo>
                    <a:pt x="1071" y="129"/>
                  </a:lnTo>
                  <a:lnTo>
                    <a:pt x="1040" y="127"/>
                  </a:lnTo>
                  <a:lnTo>
                    <a:pt x="1020" y="142"/>
                  </a:lnTo>
                  <a:lnTo>
                    <a:pt x="889" y="133"/>
                  </a:lnTo>
                  <a:lnTo>
                    <a:pt x="887" y="102"/>
                  </a:lnTo>
                  <a:lnTo>
                    <a:pt x="862" y="80"/>
                  </a:lnTo>
                  <a:lnTo>
                    <a:pt x="816" y="89"/>
                  </a:lnTo>
                  <a:lnTo>
                    <a:pt x="796" y="60"/>
                  </a:lnTo>
                  <a:lnTo>
                    <a:pt x="767" y="44"/>
                  </a:lnTo>
                  <a:lnTo>
                    <a:pt x="765" y="13"/>
                  </a:lnTo>
                  <a:lnTo>
                    <a:pt x="743" y="9"/>
                  </a:lnTo>
                  <a:lnTo>
                    <a:pt x="738" y="27"/>
                  </a:lnTo>
                  <a:lnTo>
                    <a:pt x="656" y="31"/>
                  </a:lnTo>
                  <a:lnTo>
                    <a:pt x="638" y="49"/>
                  </a:lnTo>
                  <a:lnTo>
                    <a:pt x="600" y="51"/>
                  </a:lnTo>
                  <a:lnTo>
                    <a:pt x="589" y="64"/>
                  </a:lnTo>
                  <a:lnTo>
                    <a:pt x="551" y="69"/>
                  </a:lnTo>
                  <a:lnTo>
                    <a:pt x="527" y="98"/>
                  </a:lnTo>
                  <a:lnTo>
                    <a:pt x="520" y="144"/>
                  </a:lnTo>
                  <a:lnTo>
                    <a:pt x="536" y="164"/>
                  </a:lnTo>
                  <a:lnTo>
                    <a:pt x="558" y="184"/>
                  </a:lnTo>
                  <a:lnTo>
                    <a:pt x="585" y="173"/>
                  </a:lnTo>
                  <a:lnTo>
                    <a:pt x="609" y="173"/>
                  </a:lnTo>
                  <a:lnTo>
                    <a:pt x="600" y="202"/>
                  </a:lnTo>
                  <a:lnTo>
                    <a:pt x="560" y="204"/>
                  </a:lnTo>
                  <a:lnTo>
                    <a:pt x="536" y="193"/>
                  </a:lnTo>
                  <a:lnTo>
                    <a:pt x="500" y="200"/>
                  </a:lnTo>
                  <a:lnTo>
                    <a:pt x="478" y="187"/>
                  </a:lnTo>
                  <a:lnTo>
                    <a:pt x="456" y="193"/>
                  </a:lnTo>
                  <a:lnTo>
                    <a:pt x="418" y="196"/>
                  </a:lnTo>
                  <a:lnTo>
                    <a:pt x="387" y="224"/>
                  </a:lnTo>
                  <a:lnTo>
                    <a:pt x="347" y="224"/>
                  </a:lnTo>
                  <a:lnTo>
                    <a:pt x="327" y="240"/>
                  </a:lnTo>
                  <a:lnTo>
                    <a:pt x="260" y="240"/>
                  </a:lnTo>
                  <a:lnTo>
                    <a:pt x="236" y="224"/>
                  </a:lnTo>
                  <a:lnTo>
                    <a:pt x="214" y="227"/>
                  </a:lnTo>
                  <a:lnTo>
                    <a:pt x="189" y="220"/>
                  </a:lnTo>
                  <a:close/>
                </a:path>
              </a:pathLst>
            </a:custGeom>
            <a:solidFill>
              <a:srgbClr val="00A1DE"/>
            </a:solidFill>
            <a:ln w="12700">
              <a:solidFill>
                <a:schemeClr val="bg1"/>
              </a:solidFill>
              <a:round/>
              <a:headEnd type="none" w="sm" len="sm"/>
              <a:tailEnd type="none" w="sm" len="sm"/>
            </a:ln>
          </p:spPr>
          <p:txBody>
            <a:bodyPr wrap="none" anchor="ctr"/>
            <a:lstStyle/>
            <a:p>
              <a:pPr defTabSz="685800">
                <a:buClrTx/>
                <a:defRPr/>
              </a:pPr>
              <a:endParaRPr lang="en-GB" sz="1350" kern="1200">
                <a:solidFill>
                  <a:prstClr val="black"/>
                </a:solidFill>
                <a:latin typeface="Arial" charset="0"/>
                <a:ea typeface="+mn-ea"/>
                <a:cs typeface="Arial" charset="0"/>
              </a:endParaRPr>
            </a:p>
          </p:txBody>
        </p:sp>
        <p:sp>
          <p:nvSpPr>
            <p:cNvPr id="165" name="Freeform 41"/>
            <p:cNvSpPr>
              <a:spLocks/>
            </p:cNvSpPr>
            <p:nvPr/>
          </p:nvSpPr>
          <p:spPr bwMode="auto">
            <a:xfrm>
              <a:off x="1922382" y="3972740"/>
              <a:ext cx="664297" cy="291244"/>
            </a:xfrm>
            <a:custGeom>
              <a:avLst/>
              <a:gdLst>
                <a:gd name="T0" fmla="*/ 0 w 606"/>
                <a:gd name="T1" fmla="*/ 16 h 266"/>
                <a:gd name="T2" fmla="*/ 7 w 606"/>
                <a:gd name="T3" fmla="*/ 15 h 266"/>
                <a:gd name="T4" fmla="*/ 10 w 606"/>
                <a:gd name="T5" fmla="*/ 14 h 266"/>
                <a:gd name="T6" fmla="*/ 14 w 606"/>
                <a:gd name="T7" fmla="*/ 15 h 266"/>
                <a:gd name="T8" fmla="*/ 17 w 606"/>
                <a:gd name="T9" fmla="*/ 16 h 266"/>
                <a:gd name="T10" fmla="*/ 26 w 606"/>
                <a:gd name="T11" fmla="*/ 15 h 266"/>
                <a:gd name="T12" fmla="*/ 31 w 606"/>
                <a:gd name="T13" fmla="*/ 13 h 266"/>
                <a:gd name="T14" fmla="*/ 35 w 606"/>
                <a:gd name="T15" fmla="*/ 13 h 266"/>
                <a:gd name="T16" fmla="*/ 38 w 606"/>
                <a:gd name="T17" fmla="*/ 13 h 266"/>
                <a:gd name="T18" fmla="*/ 38 w 606"/>
                <a:gd name="T19" fmla="*/ 11 h 266"/>
                <a:gd name="T20" fmla="*/ 39 w 606"/>
                <a:gd name="T21" fmla="*/ 9 h 266"/>
                <a:gd name="T22" fmla="*/ 44 w 606"/>
                <a:gd name="T23" fmla="*/ 9 h 266"/>
                <a:gd name="T24" fmla="*/ 46 w 606"/>
                <a:gd name="T25" fmla="*/ 6 h 266"/>
                <a:gd name="T26" fmla="*/ 53 w 606"/>
                <a:gd name="T27" fmla="*/ 5 h 266"/>
                <a:gd name="T28" fmla="*/ 56 w 606"/>
                <a:gd name="T29" fmla="*/ 5 h 266"/>
                <a:gd name="T30" fmla="*/ 65 w 606"/>
                <a:gd name="T31" fmla="*/ 0 h 266"/>
                <a:gd name="T32" fmla="*/ 71 w 606"/>
                <a:gd name="T33" fmla="*/ 2 h 266"/>
                <a:gd name="T34" fmla="*/ 74 w 606"/>
                <a:gd name="T35" fmla="*/ 6 h 266"/>
                <a:gd name="T36" fmla="*/ 79 w 606"/>
                <a:gd name="T37" fmla="*/ 7 h 266"/>
                <a:gd name="T38" fmla="*/ 71 w 606"/>
                <a:gd name="T39" fmla="*/ 18 h 266"/>
                <a:gd name="T40" fmla="*/ 69 w 606"/>
                <a:gd name="T41" fmla="*/ 19 h 266"/>
                <a:gd name="T42" fmla="*/ 70 w 606"/>
                <a:gd name="T43" fmla="*/ 23 h 266"/>
                <a:gd name="T44" fmla="*/ 67 w 606"/>
                <a:gd name="T45" fmla="*/ 25 h 266"/>
                <a:gd name="T46" fmla="*/ 63 w 606"/>
                <a:gd name="T47" fmla="*/ 27 h 266"/>
                <a:gd name="T48" fmla="*/ 56 w 606"/>
                <a:gd name="T49" fmla="*/ 29 h 266"/>
                <a:gd name="T50" fmla="*/ 56 w 606"/>
                <a:gd name="T51" fmla="*/ 31 h 266"/>
                <a:gd name="T52" fmla="*/ 54 w 606"/>
                <a:gd name="T53" fmla="*/ 31 h 266"/>
                <a:gd name="T54" fmla="*/ 51 w 606"/>
                <a:gd name="T55" fmla="*/ 30 h 266"/>
                <a:gd name="T56" fmla="*/ 40 w 606"/>
                <a:gd name="T57" fmla="*/ 30 h 266"/>
                <a:gd name="T58" fmla="*/ 38 w 606"/>
                <a:gd name="T59" fmla="*/ 29 h 266"/>
                <a:gd name="T60" fmla="*/ 36 w 606"/>
                <a:gd name="T61" fmla="*/ 28 h 266"/>
                <a:gd name="T62" fmla="*/ 34 w 606"/>
                <a:gd name="T63" fmla="*/ 28 h 266"/>
                <a:gd name="T64" fmla="*/ 31 w 606"/>
                <a:gd name="T65" fmla="*/ 25 h 266"/>
                <a:gd name="T66" fmla="*/ 25 w 606"/>
                <a:gd name="T67" fmla="*/ 25 h 266"/>
                <a:gd name="T68" fmla="*/ 19 w 606"/>
                <a:gd name="T69" fmla="*/ 25 h 266"/>
                <a:gd name="T70" fmla="*/ 16 w 606"/>
                <a:gd name="T71" fmla="*/ 27 h 266"/>
                <a:gd name="T72" fmla="*/ 13 w 606"/>
                <a:gd name="T73" fmla="*/ 27 h 266"/>
                <a:gd name="T74" fmla="*/ 11 w 606"/>
                <a:gd name="T75" fmla="*/ 28 h 266"/>
                <a:gd name="T76" fmla="*/ 7 w 606"/>
                <a:gd name="T77" fmla="*/ 22 h 266"/>
                <a:gd name="T78" fmla="*/ 0 w 606"/>
                <a:gd name="T79" fmla="*/ 16 h 26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06"/>
                <a:gd name="T121" fmla="*/ 0 h 266"/>
                <a:gd name="T122" fmla="*/ 606 w 606"/>
                <a:gd name="T123" fmla="*/ 266 h 26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06" h="266">
                  <a:moveTo>
                    <a:pt x="0" y="134"/>
                  </a:moveTo>
                  <a:lnTo>
                    <a:pt x="54" y="131"/>
                  </a:lnTo>
                  <a:lnTo>
                    <a:pt x="71" y="120"/>
                  </a:lnTo>
                  <a:lnTo>
                    <a:pt x="105" y="122"/>
                  </a:lnTo>
                  <a:lnTo>
                    <a:pt x="137" y="134"/>
                  </a:lnTo>
                  <a:lnTo>
                    <a:pt x="200" y="128"/>
                  </a:lnTo>
                  <a:lnTo>
                    <a:pt x="236" y="114"/>
                  </a:lnTo>
                  <a:lnTo>
                    <a:pt x="266" y="110"/>
                  </a:lnTo>
                  <a:lnTo>
                    <a:pt x="293" y="110"/>
                  </a:lnTo>
                  <a:lnTo>
                    <a:pt x="294" y="95"/>
                  </a:lnTo>
                  <a:lnTo>
                    <a:pt x="303" y="81"/>
                  </a:lnTo>
                  <a:lnTo>
                    <a:pt x="341" y="78"/>
                  </a:lnTo>
                  <a:lnTo>
                    <a:pt x="353" y="56"/>
                  </a:lnTo>
                  <a:lnTo>
                    <a:pt x="413" y="39"/>
                  </a:lnTo>
                  <a:lnTo>
                    <a:pt x="432" y="41"/>
                  </a:lnTo>
                  <a:lnTo>
                    <a:pt x="501" y="0"/>
                  </a:lnTo>
                  <a:lnTo>
                    <a:pt x="542" y="14"/>
                  </a:lnTo>
                  <a:lnTo>
                    <a:pt x="570" y="51"/>
                  </a:lnTo>
                  <a:lnTo>
                    <a:pt x="606" y="59"/>
                  </a:lnTo>
                  <a:lnTo>
                    <a:pt x="542" y="150"/>
                  </a:lnTo>
                  <a:lnTo>
                    <a:pt x="531" y="164"/>
                  </a:lnTo>
                  <a:lnTo>
                    <a:pt x="534" y="197"/>
                  </a:lnTo>
                  <a:lnTo>
                    <a:pt x="515" y="206"/>
                  </a:lnTo>
                  <a:lnTo>
                    <a:pt x="486" y="231"/>
                  </a:lnTo>
                  <a:lnTo>
                    <a:pt x="434" y="242"/>
                  </a:lnTo>
                  <a:lnTo>
                    <a:pt x="435" y="266"/>
                  </a:lnTo>
                  <a:lnTo>
                    <a:pt x="414" y="261"/>
                  </a:lnTo>
                  <a:lnTo>
                    <a:pt x="395" y="254"/>
                  </a:lnTo>
                  <a:lnTo>
                    <a:pt x="312" y="258"/>
                  </a:lnTo>
                  <a:lnTo>
                    <a:pt x="294" y="245"/>
                  </a:lnTo>
                  <a:lnTo>
                    <a:pt x="278" y="234"/>
                  </a:lnTo>
                  <a:lnTo>
                    <a:pt x="260" y="236"/>
                  </a:lnTo>
                  <a:lnTo>
                    <a:pt x="237" y="216"/>
                  </a:lnTo>
                  <a:lnTo>
                    <a:pt x="195" y="212"/>
                  </a:lnTo>
                  <a:lnTo>
                    <a:pt x="141" y="210"/>
                  </a:lnTo>
                  <a:lnTo>
                    <a:pt x="125" y="227"/>
                  </a:lnTo>
                  <a:lnTo>
                    <a:pt x="99" y="227"/>
                  </a:lnTo>
                  <a:lnTo>
                    <a:pt x="84" y="236"/>
                  </a:lnTo>
                  <a:lnTo>
                    <a:pt x="51" y="186"/>
                  </a:lnTo>
                  <a:lnTo>
                    <a:pt x="0" y="134"/>
                  </a:lnTo>
                  <a:close/>
                </a:path>
              </a:pathLst>
            </a:custGeom>
            <a:solidFill>
              <a:srgbClr val="00A1DE"/>
            </a:solidFill>
            <a:ln w="12700">
              <a:solidFill>
                <a:schemeClr val="bg1"/>
              </a:solidFill>
              <a:round/>
              <a:headEnd type="none" w="sm" len="sm"/>
              <a:tailEnd type="none" w="sm" len="sm"/>
            </a:ln>
          </p:spPr>
          <p:txBody>
            <a:bodyPr wrap="none" anchor="ctr"/>
            <a:lstStyle/>
            <a:p>
              <a:pPr defTabSz="685800">
                <a:buClrTx/>
                <a:defRPr/>
              </a:pPr>
              <a:endParaRPr lang="en-GB" sz="1350" kern="1200">
                <a:solidFill>
                  <a:prstClr val="black"/>
                </a:solidFill>
                <a:latin typeface="Arial" charset="0"/>
                <a:ea typeface="+mn-ea"/>
                <a:cs typeface="Arial" charset="0"/>
              </a:endParaRPr>
            </a:p>
          </p:txBody>
        </p:sp>
      </p:grpSp>
      <p:sp>
        <p:nvSpPr>
          <p:cNvPr id="49" name="Rectangle 3"/>
          <p:cNvSpPr>
            <a:spLocks noChangeArrowheads="1"/>
          </p:cNvSpPr>
          <p:nvPr/>
        </p:nvSpPr>
        <p:spPr bwMode="auto">
          <a:xfrm>
            <a:off x="5337545" y="1"/>
            <a:ext cx="2663456" cy="600164"/>
          </a:xfrm>
          <a:prstGeom prst="rect">
            <a:avLst/>
          </a:prstGeom>
          <a:solidFill>
            <a:schemeClr val="accent6"/>
          </a:solidFill>
          <a:ln w="6350" algn="ctr">
            <a:solidFill>
              <a:schemeClr val="bg1"/>
            </a:solidFill>
            <a:miter lim="800000"/>
            <a:headEnd/>
            <a:tailEnd/>
          </a:ln>
        </p:spPr>
        <p:txBody>
          <a:bodyPr wrap="square" tIns="68580" bIns="68580">
            <a:spAutoFit/>
          </a:bodyPr>
          <a:lstStyle/>
          <a:p>
            <a:pPr defTabSz="685800">
              <a:buClrTx/>
              <a:defRPr/>
            </a:pPr>
            <a:r>
              <a:rPr lang="en-US" altLang="ja-JP" sz="750" kern="1200" dirty="0">
                <a:solidFill>
                  <a:srgbClr val="313131"/>
                </a:solidFill>
                <a:ea typeface="ＭＳ Ｐゴシック" pitchFamily="50" charset="-128"/>
                <a:cs typeface="+mn-cs"/>
              </a:rPr>
              <a:t>Tip! Click once to select the entire map, and again to select one or more regions within it</a:t>
            </a:r>
            <a:br>
              <a:rPr lang="en-US" altLang="ja-JP" sz="750" kern="1200" dirty="0">
                <a:solidFill>
                  <a:srgbClr val="313131"/>
                </a:solidFill>
                <a:ea typeface="ＭＳ Ｐゴシック" pitchFamily="50" charset="-128"/>
                <a:cs typeface="+mn-cs"/>
              </a:rPr>
            </a:br>
            <a:r>
              <a:rPr lang="en-US" altLang="ja-JP" sz="750" kern="1200" dirty="0">
                <a:solidFill>
                  <a:srgbClr val="313131"/>
                </a:solidFill>
                <a:ea typeface="ＭＳ Ｐゴシック" pitchFamily="50" charset="-128"/>
                <a:cs typeface="+mn-cs"/>
              </a:rPr>
              <a:t>Country/regional maps are a representative sample – more will be added</a:t>
            </a:r>
            <a:endParaRPr lang="en-US" sz="750" kern="1200" dirty="0">
              <a:solidFill>
                <a:srgbClr val="313131"/>
              </a:solidFill>
              <a:ea typeface="ＭＳ Ｐゴシック" pitchFamily="50" charset="-128"/>
              <a:cs typeface="+mn-cs"/>
            </a:endParaRPr>
          </a:p>
        </p:txBody>
      </p:sp>
      <p:sp>
        <p:nvSpPr>
          <p:cNvPr id="51" name="Text Placeholder 3"/>
          <p:cNvSpPr txBox="1">
            <a:spLocks/>
          </p:cNvSpPr>
          <p:nvPr/>
        </p:nvSpPr>
        <p:spPr>
          <a:xfrm>
            <a:off x="5482835" y="1358100"/>
            <a:ext cx="2227437" cy="34020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5979" indent="-205979" defTabSz="685800">
              <a:spcBef>
                <a:spcPts val="900"/>
              </a:spcBef>
              <a:buClrTx/>
              <a:defRPr/>
            </a:pPr>
            <a:r>
              <a:rPr lang="en-GB" sz="1350" dirty="0">
                <a:solidFill>
                  <a:srgbClr val="313131"/>
                </a:solidFill>
                <a:latin typeface="Arial"/>
              </a:rPr>
              <a:t>This is a level one bullet this is dummy text</a:t>
            </a:r>
          </a:p>
          <a:p>
            <a:pPr marL="205979" indent="-205979" defTabSz="685800">
              <a:spcBef>
                <a:spcPts val="900"/>
              </a:spcBef>
              <a:buClrTx/>
              <a:defRPr/>
            </a:pPr>
            <a:r>
              <a:rPr lang="en-GB" sz="1350" dirty="0">
                <a:solidFill>
                  <a:srgbClr val="313131"/>
                </a:solidFill>
                <a:latin typeface="Arial"/>
              </a:rPr>
              <a:t>This is a level one bullet this is dummy text</a:t>
            </a:r>
          </a:p>
          <a:p>
            <a:pPr marL="205979" indent="-205979" defTabSz="685800">
              <a:spcBef>
                <a:spcPts val="900"/>
              </a:spcBef>
              <a:buClrTx/>
              <a:defRPr/>
            </a:pPr>
            <a:r>
              <a:rPr lang="en-GB" sz="1350" dirty="0">
                <a:solidFill>
                  <a:srgbClr val="313131"/>
                </a:solidFill>
                <a:latin typeface="Arial"/>
              </a:rPr>
              <a:t>This is a level one bullet this is dummy text</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205979" indent="-205979" defTabSz="685800">
              <a:spcBef>
                <a:spcPts val="900"/>
              </a:spcBef>
              <a:buClrTx/>
              <a:defRPr/>
            </a:pPr>
            <a:endParaRPr lang="en-GB" sz="1350" dirty="0">
              <a:solidFill>
                <a:srgbClr val="313131"/>
              </a:solidFill>
              <a:latin typeface="Arial"/>
            </a:endParaRPr>
          </a:p>
          <a:p>
            <a:pPr marL="205979" indent="-205979" defTabSz="685800">
              <a:spcBef>
                <a:spcPts val="900"/>
              </a:spcBef>
              <a:buClrTx/>
              <a:defRPr/>
            </a:pPr>
            <a:endParaRPr lang="en-GB" sz="1350" dirty="0">
              <a:solidFill>
                <a:srgbClr val="313131"/>
              </a:solidFill>
              <a:latin typeface="Arial"/>
            </a:endParaRPr>
          </a:p>
        </p:txBody>
      </p:sp>
      <p:sp>
        <p:nvSpPr>
          <p:cNvPr id="50" name="TextBox 49"/>
          <p:cNvSpPr txBox="1"/>
          <p:nvPr/>
        </p:nvSpPr>
        <p:spPr>
          <a:xfrm>
            <a:off x="5340096" y="733806"/>
            <a:ext cx="2663455" cy="1107996"/>
          </a:xfrm>
          <a:prstGeom prst="rect">
            <a:avLst/>
          </a:prstGeom>
          <a:solidFill>
            <a:srgbClr val="ED1B2F"/>
          </a:solidFill>
        </p:spPr>
        <p:txBody>
          <a:bodyPr wrap="square" lIns="68580" tIns="68580" rIns="68580" bIns="68580" rtlCol="0">
            <a:spAutoFit/>
          </a:bodyPr>
          <a:lstStyle/>
          <a:p>
            <a:pPr defTabSz="685800">
              <a:buClrTx/>
            </a:pPr>
            <a:r>
              <a:rPr lang="en-US" sz="1050" kern="1200" dirty="0">
                <a:solidFill>
                  <a:prstClr val="white"/>
                </a:solidFill>
                <a:ea typeface="+mn-ea"/>
                <a:cs typeface="+mn-cs"/>
              </a:rPr>
              <a:t>Maps are for directional purposes only and are not intended to be exact renditions of country borders. For specific information about country borders and maps, please contact the local member firm.</a:t>
            </a:r>
          </a:p>
        </p:txBody>
      </p:sp>
    </p:spTree>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61" name="Title 1"/>
          <p:cNvSpPr>
            <a:spLocks noGrp="1"/>
          </p:cNvSpPr>
          <p:nvPr>
            <p:ph type="title"/>
          </p:nvPr>
        </p:nvSpPr>
        <p:spPr/>
        <p:txBody>
          <a:bodyPr/>
          <a:lstStyle/>
          <a:p>
            <a:r>
              <a:rPr lang="en-US" dirty="0">
                <a:solidFill>
                  <a:srgbClr val="81BC00"/>
                </a:solidFill>
              </a:rPr>
              <a:t>Maps </a:t>
            </a:r>
            <a:br>
              <a:rPr lang="en-US" dirty="0">
                <a:solidFill>
                  <a:srgbClr val="575757"/>
                </a:solidFill>
              </a:rPr>
            </a:br>
            <a:r>
              <a:rPr lang="en-US" dirty="0">
                <a:solidFill>
                  <a:srgbClr val="575757"/>
                </a:solidFill>
              </a:rPr>
              <a:t>Benelux</a:t>
            </a:r>
          </a:p>
        </p:txBody>
      </p:sp>
      <p:grpSp>
        <p:nvGrpSpPr>
          <p:cNvPr id="2" name="Group 1"/>
          <p:cNvGrpSpPr/>
          <p:nvPr/>
        </p:nvGrpSpPr>
        <p:grpSpPr>
          <a:xfrm>
            <a:off x="1781073" y="1028700"/>
            <a:ext cx="2421541" cy="3673057"/>
            <a:chOff x="850764" y="1355663"/>
            <a:chExt cx="3228721" cy="4897409"/>
          </a:xfrm>
        </p:grpSpPr>
        <p:sp>
          <p:nvSpPr>
            <p:cNvPr id="6" name="Freeform 30"/>
            <p:cNvSpPr>
              <a:spLocks/>
            </p:cNvSpPr>
            <p:nvPr/>
          </p:nvSpPr>
          <p:spPr bwMode="gray">
            <a:xfrm>
              <a:off x="1977409" y="3805526"/>
              <a:ext cx="766714" cy="607251"/>
            </a:xfrm>
            <a:custGeom>
              <a:avLst/>
              <a:gdLst>
                <a:gd name="T0" fmla="*/ 245 w 720"/>
                <a:gd name="T1" fmla="*/ 13 h 525"/>
                <a:gd name="T2" fmla="*/ 133 w 720"/>
                <a:gd name="T3" fmla="*/ 70 h 525"/>
                <a:gd name="T4" fmla="*/ 171 w 720"/>
                <a:gd name="T5" fmla="*/ 152 h 525"/>
                <a:gd name="T6" fmla="*/ 49 w 720"/>
                <a:gd name="T7" fmla="*/ 131 h 525"/>
                <a:gd name="T8" fmla="*/ 133 w 720"/>
                <a:gd name="T9" fmla="*/ 304 h 525"/>
                <a:gd name="T10" fmla="*/ 106 w 720"/>
                <a:gd name="T11" fmla="*/ 384 h 525"/>
                <a:gd name="T12" fmla="*/ 68 w 720"/>
                <a:gd name="T13" fmla="*/ 382 h 525"/>
                <a:gd name="T14" fmla="*/ 0 w 720"/>
                <a:gd name="T15" fmla="*/ 403 h 525"/>
                <a:gd name="T16" fmla="*/ 17 w 720"/>
                <a:gd name="T17" fmla="*/ 479 h 525"/>
                <a:gd name="T18" fmla="*/ 119 w 720"/>
                <a:gd name="T19" fmla="*/ 490 h 525"/>
                <a:gd name="T20" fmla="*/ 150 w 720"/>
                <a:gd name="T21" fmla="*/ 525 h 525"/>
                <a:gd name="T22" fmla="*/ 192 w 720"/>
                <a:gd name="T23" fmla="*/ 525 h 525"/>
                <a:gd name="T24" fmla="*/ 203 w 720"/>
                <a:gd name="T25" fmla="*/ 504 h 525"/>
                <a:gd name="T26" fmla="*/ 264 w 720"/>
                <a:gd name="T27" fmla="*/ 517 h 525"/>
                <a:gd name="T28" fmla="*/ 372 w 720"/>
                <a:gd name="T29" fmla="*/ 517 h 525"/>
                <a:gd name="T30" fmla="*/ 391 w 720"/>
                <a:gd name="T31" fmla="*/ 502 h 525"/>
                <a:gd name="T32" fmla="*/ 444 w 720"/>
                <a:gd name="T33" fmla="*/ 513 h 525"/>
                <a:gd name="T34" fmla="*/ 553 w 720"/>
                <a:gd name="T35" fmla="*/ 485 h 525"/>
                <a:gd name="T36" fmla="*/ 545 w 720"/>
                <a:gd name="T37" fmla="*/ 477 h 525"/>
                <a:gd name="T38" fmla="*/ 638 w 720"/>
                <a:gd name="T39" fmla="*/ 401 h 525"/>
                <a:gd name="T40" fmla="*/ 720 w 720"/>
                <a:gd name="T41" fmla="*/ 382 h 525"/>
                <a:gd name="T42" fmla="*/ 705 w 720"/>
                <a:gd name="T43" fmla="*/ 308 h 525"/>
                <a:gd name="T44" fmla="*/ 720 w 720"/>
                <a:gd name="T45" fmla="*/ 171 h 525"/>
                <a:gd name="T46" fmla="*/ 638 w 720"/>
                <a:gd name="T47" fmla="*/ 194 h 525"/>
                <a:gd name="T48" fmla="*/ 593 w 720"/>
                <a:gd name="T49" fmla="*/ 13 h 525"/>
                <a:gd name="T50" fmla="*/ 492 w 720"/>
                <a:gd name="T51" fmla="*/ 108 h 525"/>
                <a:gd name="T52" fmla="*/ 414 w 720"/>
                <a:gd name="T53" fmla="*/ 105 h 525"/>
                <a:gd name="T54" fmla="*/ 437 w 720"/>
                <a:gd name="T55" fmla="*/ 36 h 525"/>
                <a:gd name="T56" fmla="*/ 382 w 720"/>
                <a:gd name="T57" fmla="*/ 0 h 525"/>
                <a:gd name="T58" fmla="*/ 330 w 720"/>
                <a:gd name="T59" fmla="*/ 78 h 525"/>
                <a:gd name="T60" fmla="*/ 232 w 720"/>
                <a:gd name="T61" fmla="*/ 108 h 525"/>
                <a:gd name="T62" fmla="*/ 245 w 720"/>
                <a:gd name="T63" fmla="*/ 13 h 525"/>
                <a:gd name="T64" fmla="*/ 133 w 720"/>
                <a:gd name="T65" fmla="*/ 70 h 525"/>
                <a:gd name="T66" fmla="*/ 245 w 720"/>
                <a:gd name="T67" fmla="*/ 13 h 525"/>
                <a:gd name="T68" fmla="*/ 245 w 720"/>
                <a:gd name="T69" fmla="*/ 13 h 525"/>
                <a:gd name="T70" fmla="*/ 245 w 720"/>
                <a:gd name="T71" fmla="*/ 13 h 52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20"/>
                <a:gd name="T109" fmla="*/ 0 h 525"/>
                <a:gd name="T110" fmla="*/ 720 w 720"/>
                <a:gd name="T111" fmla="*/ 525 h 52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20" h="525">
                  <a:moveTo>
                    <a:pt x="245" y="13"/>
                  </a:moveTo>
                  <a:lnTo>
                    <a:pt x="133" y="70"/>
                  </a:lnTo>
                  <a:lnTo>
                    <a:pt x="171" y="152"/>
                  </a:lnTo>
                  <a:lnTo>
                    <a:pt x="49" y="131"/>
                  </a:lnTo>
                  <a:lnTo>
                    <a:pt x="133" y="304"/>
                  </a:lnTo>
                  <a:lnTo>
                    <a:pt x="106" y="384"/>
                  </a:lnTo>
                  <a:lnTo>
                    <a:pt x="68" y="382"/>
                  </a:lnTo>
                  <a:lnTo>
                    <a:pt x="0" y="403"/>
                  </a:lnTo>
                  <a:lnTo>
                    <a:pt x="17" y="479"/>
                  </a:lnTo>
                  <a:lnTo>
                    <a:pt x="119" y="490"/>
                  </a:lnTo>
                  <a:lnTo>
                    <a:pt x="150" y="525"/>
                  </a:lnTo>
                  <a:lnTo>
                    <a:pt x="192" y="525"/>
                  </a:lnTo>
                  <a:lnTo>
                    <a:pt x="203" y="504"/>
                  </a:lnTo>
                  <a:lnTo>
                    <a:pt x="264" y="517"/>
                  </a:lnTo>
                  <a:lnTo>
                    <a:pt x="372" y="517"/>
                  </a:lnTo>
                  <a:lnTo>
                    <a:pt x="391" y="502"/>
                  </a:lnTo>
                  <a:lnTo>
                    <a:pt x="444" y="513"/>
                  </a:lnTo>
                  <a:lnTo>
                    <a:pt x="553" y="485"/>
                  </a:lnTo>
                  <a:lnTo>
                    <a:pt x="545" y="477"/>
                  </a:lnTo>
                  <a:lnTo>
                    <a:pt x="638" y="401"/>
                  </a:lnTo>
                  <a:lnTo>
                    <a:pt x="720" y="382"/>
                  </a:lnTo>
                  <a:lnTo>
                    <a:pt x="705" y="308"/>
                  </a:lnTo>
                  <a:lnTo>
                    <a:pt x="720" y="171"/>
                  </a:lnTo>
                  <a:lnTo>
                    <a:pt x="638" y="194"/>
                  </a:lnTo>
                  <a:lnTo>
                    <a:pt x="593" y="13"/>
                  </a:lnTo>
                  <a:lnTo>
                    <a:pt x="492" y="108"/>
                  </a:lnTo>
                  <a:lnTo>
                    <a:pt x="414" y="105"/>
                  </a:lnTo>
                  <a:lnTo>
                    <a:pt x="437" y="36"/>
                  </a:lnTo>
                  <a:lnTo>
                    <a:pt x="382" y="0"/>
                  </a:lnTo>
                  <a:lnTo>
                    <a:pt x="330" y="78"/>
                  </a:lnTo>
                  <a:lnTo>
                    <a:pt x="232" y="108"/>
                  </a:lnTo>
                  <a:lnTo>
                    <a:pt x="245" y="13"/>
                  </a:lnTo>
                  <a:lnTo>
                    <a:pt x="133" y="70"/>
                  </a:lnTo>
                  <a:lnTo>
                    <a:pt x="245" y="13"/>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7" name="Freeform 32"/>
            <p:cNvSpPr>
              <a:spLocks/>
            </p:cNvSpPr>
            <p:nvPr/>
          </p:nvSpPr>
          <p:spPr bwMode="gray">
            <a:xfrm>
              <a:off x="1775081" y="2818164"/>
              <a:ext cx="924317" cy="799624"/>
            </a:xfrm>
            <a:custGeom>
              <a:avLst/>
              <a:gdLst>
                <a:gd name="T0" fmla="*/ 444 w 866"/>
                <a:gd name="T1" fmla="*/ 0 h 690"/>
                <a:gd name="T2" fmla="*/ 195 w 866"/>
                <a:gd name="T3" fmla="*/ 318 h 690"/>
                <a:gd name="T4" fmla="*/ 108 w 866"/>
                <a:gd name="T5" fmla="*/ 348 h 690"/>
                <a:gd name="T6" fmla="*/ 117 w 866"/>
                <a:gd name="T7" fmla="*/ 384 h 690"/>
                <a:gd name="T8" fmla="*/ 256 w 866"/>
                <a:gd name="T9" fmla="*/ 411 h 690"/>
                <a:gd name="T10" fmla="*/ 195 w 866"/>
                <a:gd name="T11" fmla="*/ 479 h 690"/>
                <a:gd name="T12" fmla="*/ 0 w 866"/>
                <a:gd name="T13" fmla="*/ 497 h 690"/>
                <a:gd name="T14" fmla="*/ 9 w 866"/>
                <a:gd name="T15" fmla="*/ 554 h 690"/>
                <a:gd name="T16" fmla="*/ 117 w 866"/>
                <a:gd name="T17" fmla="*/ 567 h 690"/>
                <a:gd name="T18" fmla="*/ 112 w 866"/>
                <a:gd name="T19" fmla="*/ 618 h 690"/>
                <a:gd name="T20" fmla="*/ 237 w 866"/>
                <a:gd name="T21" fmla="*/ 690 h 690"/>
                <a:gd name="T22" fmla="*/ 319 w 866"/>
                <a:gd name="T23" fmla="*/ 690 h 690"/>
                <a:gd name="T24" fmla="*/ 355 w 866"/>
                <a:gd name="T25" fmla="*/ 637 h 690"/>
                <a:gd name="T26" fmla="*/ 429 w 866"/>
                <a:gd name="T27" fmla="*/ 649 h 690"/>
                <a:gd name="T28" fmla="*/ 496 w 866"/>
                <a:gd name="T29" fmla="*/ 620 h 690"/>
                <a:gd name="T30" fmla="*/ 560 w 866"/>
                <a:gd name="T31" fmla="*/ 622 h 690"/>
                <a:gd name="T32" fmla="*/ 693 w 866"/>
                <a:gd name="T33" fmla="*/ 536 h 690"/>
                <a:gd name="T34" fmla="*/ 741 w 866"/>
                <a:gd name="T35" fmla="*/ 536 h 690"/>
                <a:gd name="T36" fmla="*/ 745 w 866"/>
                <a:gd name="T37" fmla="*/ 500 h 690"/>
                <a:gd name="T38" fmla="*/ 815 w 866"/>
                <a:gd name="T39" fmla="*/ 491 h 690"/>
                <a:gd name="T40" fmla="*/ 866 w 866"/>
                <a:gd name="T41" fmla="*/ 417 h 690"/>
                <a:gd name="T42" fmla="*/ 866 w 866"/>
                <a:gd name="T43" fmla="*/ 369 h 690"/>
                <a:gd name="T44" fmla="*/ 823 w 866"/>
                <a:gd name="T45" fmla="*/ 333 h 690"/>
                <a:gd name="T46" fmla="*/ 804 w 866"/>
                <a:gd name="T47" fmla="*/ 358 h 690"/>
                <a:gd name="T48" fmla="*/ 750 w 866"/>
                <a:gd name="T49" fmla="*/ 346 h 690"/>
                <a:gd name="T50" fmla="*/ 682 w 866"/>
                <a:gd name="T51" fmla="*/ 403 h 690"/>
                <a:gd name="T52" fmla="*/ 634 w 866"/>
                <a:gd name="T53" fmla="*/ 358 h 690"/>
                <a:gd name="T54" fmla="*/ 693 w 866"/>
                <a:gd name="T55" fmla="*/ 320 h 690"/>
                <a:gd name="T56" fmla="*/ 678 w 866"/>
                <a:gd name="T57" fmla="*/ 299 h 690"/>
                <a:gd name="T58" fmla="*/ 712 w 866"/>
                <a:gd name="T59" fmla="*/ 267 h 690"/>
                <a:gd name="T60" fmla="*/ 701 w 866"/>
                <a:gd name="T61" fmla="*/ 234 h 690"/>
                <a:gd name="T62" fmla="*/ 667 w 866"/>
                <a:gd name="T63" fmla="*/ 240 h 690"/>
                <a:gd name="T64" fmla="*/ 627 w 866"/>
                <a:gd name="T65" fmla="*/ 211 h 690"/>
                <a:gd name="T66" fmla="*/ 678 w 866"/>
                <a:gd name="T67" fmla="*/ 198 h 690"/>
                <a:gd name="T68" fmla="*/ 672 w 866"/>
                <a:gd name="T69" fmla="*/ 158 h 690"/>
                <a:gd name="T70" fmla="*/ 602 w 866"/>
                <a:gd name="T71" fmla="*/ 116 h 690"/>
                <a:gd name="T72" fmla="*/ 594 w 866"/>
                <a:gd name="T73" fmla="*/ 109 h 690"/>
                <a:gd name="T74" fmla="*/ 490 w 866"/>
                <a:gd name="T75" fmla="*/ 128 h 690"/>
                <a:gd name="T76" fmla="*/ 469 w 866"/>
                <a:gd name="T77" fmla="*/ 107 h 690"/>
                <a:gd name="T78" fmla="*/ 486 w 866"/>
                <a:gd name="T79" fmla="*/ 27 h 690"/>
                <a:gd name="T80" fmla="*/ 444 w 866"/>
                <a:gd name="T81" fmla="*/ 0 h 690"/>
                <a:gd name="T82" fmla="*/ 444 w 866"/>
                <a:gd name="T83" fmla="*/ 0 h 690"/>
                <a:gd name="T84" fmla="*/ 444 w 866"/>
                <a:gd name="T85" fmla="*/ 0 h 6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66"/>
                <a:gd name="T130" fmla="*/ 0 h 690"/>
                <a:gd name="T131" fmla="*/ 866 w 866"/>
                <a:gd name="T132" fmla="*/ 690 h 69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66" h="690">
                  <a:moveTo>
                    <a:pt x="444" y="0"/>
                  </a:moveTo>
                  <a:lnTo>
                    <a:pt x="195" y="318"/>
                  </a:lnTo>
                  <a:lnTo>
                    <a:pt x="108" y="348"/>
                  </a:lnTo>
                  <a:lnTo>
                    <a:pt x="117" y="384"/>
                  </a:lnTo>
                  <a:lnTo>
                    <a:pt x="256" y="411"/>
                  </a:lnTo>
                  <a:lnTo>
                    <a:pt x="195" y="479"/>
                  </a:lnTo>
                  <a:lnTo>
                    <a:pt x="0" y="497"/>
                  </a:lnTo>
                  <a:lnTo>
                    <a:pt x="9" y="554"/>
                  </a:lnTo>
                  <a:lnTo>
                    <a:pt x="117" y="567"/>
                  </a:lnTo>
                  <a:lnTo>
                    <a:pt x="112" y="618"/>
                  </a:lnTo>
                  <a:lnTo>
                    <a:pt x="237" y="690"/>
                  </a:lnTo>
                  <a:lnTo>
                    <a:pt x="319" y="690"/>
                  </a:lnTo>
                  <a:lnTo>
                    <a:pt x="355" y="637"/>
                  </a:lnTo>
                  <a:lnTo>
                    <a:pt x="429" y="649"/>
                  </a:lnTo>
                  <a:lnTo>
                    <a:pt x="496" y="620"/>
                  </a:lnTo>
                  <a:lnTo>
                    <a:pt x="560" y="622"/>
                  </a:lnTo>
                  <a:lnTo>
                    <a:pt x="693" y="536"/>
                  </a:lnTo>
                  <a:lnTo>
                    <a:pt x="741" y="536"/>
                  </a:lnTo>
                  <a:lnTo>
                    <a:pt x="745" y="500"/>
                  </a:lnTo>
                  <a:lnTo>
                    <a:pt x="815" y="491"/>
                  </a:lnTo>
                  <a:lnTo>
                    <a:pt x="866" y="417"/>
                  </a:lnTo>
                  <a:lnTo>
                    <a:pt x="866" y="369"/>
                  </a:lnTo>
                  <a:lnTo>
                    <a:pt x="823" y="333"/>
                  </a:lnTo>
                  <a:lnTo>
                    <a:pt x="804" y="358"/>
                  </a:lnTo>
                  <a:lnTo>
                    <a:pt x="750" y="346"/>
                  </a:lnTo>
                  <a:lnTo>
                    <a:pt x="682" y="403"/>
                  </a:lnTo>
                  <a:lnTo>
                    <a:pt x="634" y="358"/>
                  </a:lnTo>
                  <a:lnTo>
                    <a:pt x="693" y="320"/>
                  </a:lnTo>
                  <a:lnTo>
                    <a:pt x="678" y="299"/>
                  </a:lnTo>
                  <a:lnTo>
                    <a:pt x="712" y="267"/>
                  </a:lnTo>
                  <a:lnTo>
                    <a:pt x="701" y="234"/>
                  </a:lnTo>
                  <a:lnTo>
                    <a:pt x="667" y="240"/>
                  </a:lnTo>
                  <a:lnTo>
                    <a:pt x="627" y="211"/>
                  </a:lnTo>
                  <a:lnTo>
                    <a:pt x="678" y="198"/>
                  </a:lnTo>
                  <a:lnTo>
                    <a:pt x="672" y="158"/>
                  </a:lnTo>
                  <a:lnTo>
                    <a:pt x="602" y="116"/>
                  </a:lnTo>
                  <a:lnTo>
                    <a:pt x="594" y="109"/>
                  </a:lnTo>
                  <a:lnTo>
                    <a:pt x="490" y="128"/>
                  </a:lnTo>
                  <a:lnTo>
                    <a:pt x="469" y="107"/>
                  </a:lnTo>
                  <a:lnTo>
                    <a:pt x="486" y="27"/>
                  </a:lnTo>
                  <a:lnTo>
                    <a:pt x="444" y="0"/>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8" name="Freeform 33"/>
            <p:cNvSpPr>
              <a:spLocks/>
            </p:cNvSpPr>
            <p:nvPr/>
          </p:nvSpPr>
          <p:spPr bwMode="gray">
            <a:xfrm>
              <a:off x="1674983" y="3738312"/>
              <a:ext cx="170381" cy="81121"/>
            </a:xfrm>
            <a:custGeom>
              <a:avLst/>
              <a:gdLst>
                <a:gd name="T0" fmla="*/ 0 w 159"/>
                <a:gd name="T1" fmla="*/ 0 h 70"/>
                <a:gd name="T2" fmla="*/ 36 w 159"/>
                <a:gd name="T3" fmla="*/ 21 h 70"/>
                <a:gd name="T4" fmla="*/ 125 w 159"/>
                <a:gd name="T5" fmla="*/ 15 h 70"/>
                <a:gd name="T6" fmla="*/ 159 w 159"/>
                <a:gd name="T7" fmla="*/ 46 h 70"/>
                <a:gd name="T8" fmla="*/ 123 w 159"/>
                <a:gd name="T9" fmla="*/ 61 h 70"/>
                <a:gd name="T10" fmla="*/ 60 w 159"/>
                <a:gd name="T11" fmla="*/ 51 h 70"/>
                <a:gd name="T12" fmla="*/ 22 w 159"/>
                <a:gd name="T13" fmla="*/ 70 h 70"/>
                <a:gd name="T14" fmla="*/ 0 w 159"/>
                <a:gd name="T15" fmla="*/ 0 h 70"/>
                <a:gd name="T16" fmla="*/ 0 w 159"/>
                <a:gd name="T17" fmla="*/ 0 h 70"/>
                <a:gd name="T18" fmla="*/ 0 w 159"/>
                <a:gd name="T19" fmla="*/ 0 h 7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9"/>
                <a:gd name="T31" fmla="*/ 0 h 70"/>
                <a:gd name="T32" fmla="*/ 159 w 159"/>
                <a:gd name="T33" fmla="*/ 70 h 7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9" h="70">
                  <a:moveTo>
                    <a:pt x="0" y="0"/>
                  </a:moveTo>
                  <a:lnTo>
                    <a:pt x="36" y="21"/>
                  </a:lnTo>
                  <a:lnTo>
                    <a:pt x="125" y="15"/>
                  </a:lnTo>
                  <a:lnTo>
                    <a:pt x="159" y="46"/>
                  </a:lnTo>
                  <a:lnTo>
                    <a:pt x="123" y="61"/>
                  </a:lnTo>
                  <a:lnTo>
                    <a:pt x="60" y="51"/>
                  </a:lnTo>
                  <a:lnTo>
                    <a:pt x="22" y="70"/>
                  </a:lnTo>
                  <a:lnTo>
                    <a:pt x="0" y="0"/>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9" name="Freeform 34"/>
            <p:cNvSpPr>
              <a:spLocks/>
            </p:cNvSpPr>
            <p:nvPr/>
          </p:nvSpPr>
          <p:spPr bwMode="gray">
            <a:xfrm>
              <a:off x="1440709" y="3981675"/>
              <a:ext cx="615502" cy="245682"/>
            </a:xfrm>
            <a:custGeom>
              <a:avLst/>
              <a:gdLst>
                <a:gd name="T0" fmla="*/ 578 w 578"/>
                <a:gd name="T1" fmla="*/ 57 h 213"/>
                <a:gd name="T2" fmla="*/ 511 w 578"/>
                <a:gd name="T3" fmla="*/ 152 h 213"/>
                <a:gd name="T4" fmla="*/ 428 w 578"/>
                <a:gd name="T5" fmla="*/ 179 h 213"/>
                <a:gd name="T6" fmla="*/ 399 w 578"/>
                <a:gd name="T7" fmla="*/ 213 h 213"/>
                <a:gd name="T8" fmla="*/ 262 w 578"/>
                <a:gd name="T9" fmla="*/ 184 h 213"/>
                <a:gd name="T10" fmla="*/ 279 w 578"/>
                <a:gd name="T11" fmla="*/ 158 h 213"/>
                <a:gd name="T12" fmla="*/ 181 w 578"/>
                <a:gd name="T13" fmla="*/ 114 h 213"/>
                <a:gd name="T14" fmla="*/ 110 w 578"/>
                <a:gd name="T15" fmla="*/ 114 h 213"/>
                <a:gd name="T16" fmla="*/ 91 w 578"/>
                <a:gd name="T17" fmla="*/ 158 h 213"/>
                <a:gd name="T18" fmla="*/ 4 w 578"/>
                <a:gd name="T19" fmla="*/ 152 h 213"/>
                <a:gd name="T20" fmla="*/ 23 w 578"/>
                <a:gd name="T21" fmla="*/ 82 h 213"/>
                <a:gd name="T22" fmla="*/ 0 w 578"/>
                <a:gd name="T23" fmla="*/ 38 h 213"/>
                <a:gd name="T24" fmla="*/ 99 w 578"/>
                <a:gd name="T25" fmla="*/ 0 h 213"/>
                <a:gd name="T26" fmla="*/ 181 w 578"/>
                <a:gd name="T27" fmla="*/ 15 h 213"/>
                <a:gd name="T28" fmla="*/ 298 w 578"/>
                <a:gd name="T29" fmla="*/ 72 h 213"/>
                <a:gd name="T30" fmla="*/ 416 w 578"/>
                <a:gd name="T31" fmla="*/ 48 h 213"/>
                <a:gd name="T32" fmla="*/ 424 w 578"/>
                <a:gd name="T33" fmla="*/ 29 h 213"/>
                <a:gd name="T34" fmla="*/ 540 w 578"/>
                <a:gd name="T35" fmla="*/ 67 h 213"/>
                <a:gd name="T36" fmla="*/ 578 w 578"/>
                <a:gd name="T37" fmla="*/ 57 h 213"/>
                <a:gd name="T38" fmla="*/ 578 w 578"/>
                <a:gd name="T39" fmla="*/ 57 h 213"/>
                <a:gd name="T40" fmla="*/ 578 w 578"/>
                <a:gd name="T41" fmla="*/ 57 h 2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78"/>
                <a:gd name="T64" fmla="*/ 0 h 213"/>
                <a:gd name="T65" fmla="*/ 578 w 578"/>
                <a:gd name="T66" fmla="*/ 213 h 2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78" h="213">
                  <a:moveTo>
                    <a:pt x="578" y="57"/>
                  </a:moveTo>
                  <a:lnTo>
                    <a:pt x="511" y="152"/>
                  </a:lnTo>
                  <a:lnTo>
                    <a:pt x="428" y="179"/>
                  </a:lnTo>
                  <a:lnTo>
                    <a:pt x="399" y="213"/>
                  </a:lnTo>
                  <a:lnTo>
                    <a:pt x="262" y="184"/>
                  </a:lnTo>
                  <a:lnTo>
                    <a:pt x="279" y="158"/>
                  </a:lnTo>
                  <a:lnTo>
                    <a:pt x="181" y="114"/>
                  </a:lnTo>
                  <a:lnTo>
                    <a:pt x="110" y="114"/>
                  </a:lnTo>
                  <a:lnTo>
                    <a:pt x="91" y="158"/>
                  </a:lnTo>
                  <a:lnTo>
                    <a:pt x="4" y="152"/>
                  </a:lnTo>
                  <a:lnTo>
                    <a:pt x="23" y="82"/>
                  </a:lnTo>
                  <a:lnTo>
                    <a:pt x="0" y="38"/>
                  </a:lnTo>
                  <a:lnTo>
                    <a:pt x="99" y="0"/>
                  </a:lnTo>
                  <a:lnTo>
                    <a:pt x="181" y="15"/>
                  </a:lnTo>
                  <a:lnTo>
                    <a:pt x="298" y="72"/>
                  </a:lnTo>
                  <a:lnTo>
                    <a:pt x="416" y="48"/>
                  </a:lnTo>
                  <a:lnTo>
                    <a:pt x="424" y="29"/>
                  </a:lnTo>
                  <a:lnTo>
                    <a:pt x="540" y="67"/>
                  </a:lnTo>
                  <a:lnTo>
                    <a:pt x="578" y="57"/>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1" name="Freeform 35"/>
            <p:cNvSpPr>
              <a:spLocks/>
            </p:cNvSpPr>
            <p:nvPr/>
          </p:nvSpPr>
          <p:spPr bwMode="gray">
            <a:xfrm>
              <a:off x="2654673" y="2303623"/>
              <a:ext cx="658097" cy="686055"/>
            </a:xfrm>
            <a:custGeom>
              <a:avLst/>
              <a:gdLst>
                <a:gd name="T0" fmla="*/ 405 w 618"/>
                <a:gd name="T1" fmla="*/ 0 h 593"/>
                <a:gd name="T2" fmla="*/ 320 w 618"/>
                <a:gd name="T3" fmla="*/ 66 h 593"/>
                <a:gd name="T4" fmla="*/ 329 w 618"/>
                <a:gd name="T5" fmla="*/ 176 h 593"/>
                <a:gd name="T6" fmla="*/ 365 w 618"/>
                <a:gd name="T7" fmla="*/ 220 h 593"/>
                <a:gd name="T8" fmla="*/ 291 w 618"/>
                <a:gd name="T9" fmla="*/ 224 h 593"/>
                <a:gd name="T10" fmla="*/ 229 w 618"/>
                <a:gd name="T11" fmla="*/ 283 h 593"/>
                <a:gd name="T12" fmla="*/ 164 w 618"/>
                <a:gd name="T13" fmla="*/ 169 h 593"/>
                <a:gd name="T14" fmla="*/ 67 w 618"/>
                <a:gd name="T15" fmla="*/ 232 h 593"/>
                <a:gd name="T16" fmla="*/ 0 w 618"/>
                <a:gd name="T17" fmla="*/ 228 h 593"/>
                <a:gd name="T18" fmla="*/ 0 w 618"/>
                <a:gd name="T19" fmla="*/ 296 h 593"/>
                <a:gd name="T20" fmla="*/ 40 w 618"/>
                <a:gd name="T21" fmla="*/ 336 h 593"/>
                <a:gd name="T22" fmla="*/ 0 w 618"/>
                <a:gd name="T23" fmla="*/ 380 h 593"/>
                <a:gd name="T24" fmla="*/ 0 w 618"/>
                <a:gd name="T25" fmla="*/ 460 h 593"/>
                <a:gd name="T26" fmla="*/ 65 w 618"/>
                <a:gd name="T27" fmla="*/ 551 h 593"/>
                <a:gd name="T28" fmla="*/ 143 w 618"/>
                <a:gd name="T29" fmla="*/ 545 h 593"/>
                <a:gd name="T30" fmla="*/ 170 w 618"/>
                <a:gd name="T31" fmla="*/ 583 h 593"/>
                <a:gd name="T32" fmla="*/ 232 w 618"/>
                <a:gd name="T33" fmla="*/ 593 h 593"/>
                <a:gd name="T34" fmla="*/ 312 w 618"/>
                <a:gd name="T35" fmla="*/ 570 h 593"/>
                <a:gd name="T36" fmla="*/ 312 w 618"/>
                <a:gd name="T37" fmla="*/ 513 h 593"/>
                <a:gd name="T38" fmla="*/ 457 w 618"/>
                <a:gd name="T39" fmla="*/ 416 h 593"/>
                <a:gd name="T40" fmla="*/ 498 w 618"/>
                <a:gd name="T41" fmla="*/ 344 h 593"/>
                <a:gd name="T42" fmla="*/ 495 w 618"/>
                <a:gd name="T43" fmla="*/ 294 h 593"/>
                <a:gd name="T44" fmla="*/ 432 w 618"/>
                <a:gd name="T45" fmla="*/ 237 h 593"/>
                <a:gd name="T46" fmla="*/ 567 w 618"/>
                <a:gd name="T47" fmla="*/ 239 h 593"/>
                <a:gd name="T48" fmla="*/ 618 w 618"/>
                <a:gd name="T49" fmla="*/ 226 h 593"/>
                <a:gd name="T50" fmla="*/ 569 w 618"/>
                <a:gd name="T51" fmla="*/ 176 h 593"/>
                <a:gd name="T52" fmla="*/ 567 w 618"/>
                <a:gd name="T53" fmla="*/ 140 h 593"/>
                <a:gd name="T54" fmla="*/ 607 w 618"/>
                <a:gd name="T55" fmla="*/ 135 h 593"/>
                <a:gd name="T56" fmla="*/ 607 w 618"/>
                <a:gd name="T57" fmla="*/ 93 h 593"/>
                <a:gd name="T58" fmla="*/ 460 w 618"/>
                <a:gd name="T59" fmla="*/ 34 h 593"/>
                <a:gd name="T60" fmla="*/ 405 w 618"/>
                <a:gd name="T61" fmla="*/ 0 h 593"/>
                <a:gd name="T62" fmla="*/ 405 w 618"/>
                <a:gd name="T63" fmla="*/ 0 h 593"/>
                <a:gd name="T64" fmla="*/ 405 w 618"/>
                <a:gd name="T65" fmla="*/ 0 h 5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18"/>
                <a:gd name="T100" fmla="*/ 0 h 593"/>
                <a:gd name="T101" fmla="*/ 618 w 618"/>
                <a:gd name="T102" fmla="*/ 593 h 59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18" h="593">
                  <a:moveTo>
                    <a:pt x="405" y="0"/>
                  </a:moveTo>
                  <a:lnTo>
                    <a:pt x="320" y="66"/>
                  </a:lnTo>
                  <a:lnTo>
                    <a:pt x="329" y="176"/>
                  </a:lnTo>
                  <a:lnTo>
                    <a:pt x="365" y="220"/>
                  </a:lnTo>
                  <a:lnTo>
                    <a:pt x="291" y="224"/>
                  </a:lnTo>
                  <a:lnTo>
                    <a:pt x="229" y="283"/>
                  </a:lnTo>
                  <a:lnTo>
                    <a:pt x="164" y="169"/>
                  </a:lnTo>
                  <a:lnTo>
                    <a:pt x="67" y="232"/>
                  </a:lnTo>
                  <a:lnTo>
                    <a:pt x="0" y="228"/>
                  </a:lnTo>
                  <a:lnTo>
                    <a:pt x="0" y="296"/>
                  </a:lnTo>
                  <a:lnTo>
                    <a:pt x="40" y="336"/>
                  </a:lnTo>
                  <a:lnTo>
                    <a:pt x="0" y="380"/>
                  </a:lnTo>
                  <a:lnTo>
                    <a:pt x="0" y="460"/>
                  </a:lnTo>
                  <a:lnTo>
                    <a:pt x="65" y="551"/>
                  </a:lnTo>
                  <a:lnTo>
                    <a:pt x="143" y="545"/>
                  </a:lnTo>
                  <a:lnTo>
                    <a:pt x="170" y="583"/>
                  </a:lnTo>
                  <a:lnTo>
                    <a:pt x="232" y="593"/>
                  </a:lnTo>
                  <a:lnTo>
                    <a:pt x="312" y="570"/>
                  </a:lnTo>
                  <a:lnTo>
                    <a:pt x="312" y="513"/>
                  </a:lnTo>
                  <a:lnTo>
                    <a:pt x="457" y="416"/>
                  </a:lnTo>
                  <a:lnTo>
                    <a:pt x="498" y="344"/>
                  </a:lnTo>
                  <a:lnTo>
                    <a:pt x="495" y="294"/>
                  </a:lnTo>
                  <a:lnTo>
                    <a:pt x="432" y="237"/>
                  </a:lnTo>
                  <a:lnTo>
                    <a:pt x="567" y="239"/>
                  </a:lnTo>
                  <a:lnTo>
                    <a:pt x="618" y="226"/>
                  </a:lnTo>
                  <a:lnTo>
                    <a:pt x="569" y="176"/>
                  </a:lnTo>
                  <a:lnTo>
                    <a:pt x="567" y="140"/>
                  </a:lnTo>
                  <a:lnTo>
                    <a:pt x="607" y="135"/>
                  </a:lnTo>
                  <a:lnTo>
                    <a:pt x="607" y="93"/>
                  </a:lnTo>
                  <a:lnTo>
                    <a:pt x="460" y="34"/>
                  </a:lnTo>
                  <a:lnTo>
                    <a:pt x="405" y="0"/>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2" name="Freeform 36"/>
            <p:cNvSpPr>
              <a:spLocks/>
            </p:cNvSpPr>
            <p:nvPr/>
          </p:nvSpPr>
          <p:spPr bwMode="gray">
            <a:xfrm>
              <a:off x="1985928" y="3696592"/>
              <a:ext cx="102229" cy="129794"/>
            </a:xfrm>
            <a:custGeom>
              <a:avLst/>
              <a:gdLst>
                <a:gd name="T0" fmla="*/ 65 w 95"/>
                <a:gd name="T1" fmla="*/ 6 h 110"/>
                <a:gd name="T2" fmla="*/ 48 w 95"/>
                <a:gd name="T3" fmla="*/ 13 h 110"/>
                <a:gd name="T4" fmla="*/ 0 w 95"/>
                <a:gd name="T5" fmla="*/ 0 h 110"/>
                <a:gd name="T6" fmla="*/ 8 w 95"/>
                <a:gd name="T7" fmla="*/ 40 h 110"/>
                <a:gd name="T8" fmla="*/ 95 w 95"/>
                <a:gd name="T9" fmla="*/ 110 h 110"/>
                <a:gd name="T10" fmla="*/ 65 w 95"/>
                <a:gd name="T11" fmla="*/ 6 h 110"/>
                <a:gd name="T12" fmla="*/ 65 w 95"/>
                <a:gd name="T13" fmla="*/ 6 h 110"/>
                <a:gd name="T14" fmla="*/ 65 w 95"/>
                <a:gd name="T15" fmla="*/ 6 h 110"/>
                <a:gd name="T16" fmla="*/ 0 60000 65536"/>
                <a:gd name="T17" fmla="*/ 0 60000 65536"/>
                <a:gd name="T18" fmla="*/ 0 60000 65536"/>
                <a:gd name="T19" fmla="*/ 0 60000 65536"/>
                <a:gd name="T20" fmla="*/ 0 60000 65536"/>
                <a:gd name="T21" fmla="*/ 0 60000 65536"/>
                <a:gd name="T22" fmla="*/ 0 60000 65536"/>
                <a:gd name="T23" fmla="*/ 0 60000 65536"/>
                <a:gd name="T24" fmla="*/ 0 w 95"/>
                <a:gd name="T25" fmla="*/ 0 h 110"/>
                <a:gd name="T26" fmla="*/ 95 w 95"/>
                <a:gd name="T27" fmla="*/ 110 h 1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5" h="110">
                  <a:moveTo>
                    <a:pt x="65" y="6"/>
                  </a:moveTo>
                  <a:lnTo>
                    <a:pt x="48" y="13"/>
                  </a:lnTo>
                  <a:lnTo>
                    <a:pt x="0" y="0"/>
                  </a:lnTo>
                  <a:lnTo>
                    <a:pt x="8" y="40"/>
                  </a:lnTo>
                  <a:lnTo>
                    <a:pt x="95" y="110"/>
                  </a:lnTo>
                  <a:lnTo>
                    <a:pt x="65" y="6"/>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3" name="Freeform 37"/>
            <p:cNvSpPr>
              <a:spLocks/>
            </p:cNvSpPr>
            <p:nvPr/>
          </p:nvSpPr>
          <p:spPr bwMode="gray">
            <a:xfrm>
              <a:off x="1834714" y="4449861"/>
              <a:ext cx="900890" cy="623475"/>
            </a:xfrm>
            <a:custGeom>
              <a:avLst/>
              <a:gdLst>
                <a:gd name="T0" fmla="*/ 608 w 845"/>
                <a:gd name="T1" fmla="*/ 30 h 538"/>
                <a:gd name="T2" fmla="*/ 555 w 845"/>
                <a:gd name="T3" fmla="*/ 15 h 538"/>
                <a:gd name="T4" fmla="*/ 538 w 845"/>
                <a:gd name="T5" fmla="*/ 32 h 538"/>
                <a:gd name="T6" fmla="*/ 429 w 845"/>
                <a:gd name="T7" fmla="*/ 32 h 538"/>
                <a:gd name="T8" fmla="*/ 367 w 845"/>
                <a:gd name="T9" fmla="*/ 21 h 538"/>
                <a:gd name="T10" fmla="*/ 355 w 845"/>
                <a:gd name="T11" fmla="*/ 40 h 538"/>
                <a:gd name="T12" fmla="*/ 315 w 845"/>
                <a:gd name="T13" fmla="*/ 40 h 538"/>
                <a:gd name="T14" fmla="*/ 281 w 845"/>
                <a:gd name="T15" fmla="*/ 4 h 538"/>
                <a:gd name="T16" fmla="*/ 222 w 845"/>
                <a:gd name="T17" fmla="*/ 0 h 538"/>
                <a:gd name="T18" fmla="*/ 142 w 845"/>
                <a:gd name="T19" fmla="*/ 55 h 538"/>
                <a:gd name="T20" fmla="*/ 159 w 845"/>
                <a:gd name="T21" fmla="*/ 114 h 538"/>
                <a:gd name="T22" fmla="*/ 127 w 845"/>
                <a:gd name="T23" fmla="*/ 114 h 538"/>
                <a:gd name="T24" fmla="*/ 72 w 845"/>
                <a:gd name="T25" fmla="*/ 165 h 538"/>
                <a:gd name="T26" fmla="*/ 83 w 845"/>
                <a:gd name="T27" fmla="*/ 247 h 538"/>
                <a:gd name="T28" fmla="*/ 0 w 845"/>
                <a:gd name="T29" fmla="*/ 285 h 538"/>
                <a:gd name="T30" fmla="*/ 36 w 845"/>
                <a:gd name="T31" fmla="*/ 325 h 538"/>
                <a:gd name="T32" fmla="*/ 36 w 845"/>
                <a:gd name="T33" fmla="*/ 352 h 538"/>
                <a:gd name="T34" fmla="*/ 76 w 845"/>
                <a:gd name="T35" fmla="*/ 336 h 538"/>
                <a:gd name="T36" fmla="*/ 110 w 845"/>
                <a:gd name="T37" fmla="*/ 352 h 538"/>
                <a:gd name="T38" fmla="*/ 110 w 845"/>
                <a:gd name="T39" fmla="*/ 399 h 538"/>
                <a:gd name="T40" fmla="*/ 142 w 845"/>
                <a:gd name="T41" fmla="*/ 420 h 538"/>
                <a:gd name="T42" fmla="*/ 178 w 845"/>
                <a:gd name="T43" fmla="*/ 409 h 538"/>
                <a:gd name="T44" fmla="*/ 214 w 845"/>
                <a:gd name="T45" fmla="*/ 426 h 538"/>
                <a:gd name="T46" fmla="*/ 201 w 845"/>
                <a:gd name="T47" fmla="*/ 449 h 538"/>
                <a:gd name="T48" fmla="*/ 287 w 845"/>
                <a:gd name="T49" fmla="*/ 479 h 538"/>
                <a:gd name="T50" fmla="*/ 365 w 845"/>
                <a:gd name="T51" fmla="*/ 498 h 538"/>
                <a:gd name="T52" fmla="*/ 382 w 845"/>
                <a:gd name="T53" fmla="*/ 538 h 538"/>
                <a:gd name="T54" fmla="*/ 425 w 845"/>
                <a:gd name="T55" fmla="*/ 525 h 538"/>
                <a:gd name="T56" fmla="*/ 429 w 845"/>
                <a:gd name="T57" fmla="*/ 487 h 538"/>
                <a:gd name="T58" fmla="*/ 492 w 845"/>
                <a:gd name="T59" fmla="*/ 496 h 538"/>
                <a:gd name="T60" fmla="*/ 507 w 845"/>
                <a:gd name="T61" fmla="*/ 464 h 538"/>
                <a:gd name="T62" fmla="*/ 551 w 845"/>
                <a:gd name="T63" fmla="*/ 449 h 538"/>
                <a:gd name="T64" fmla="*/ 581 w 845"/>
                <a:gd name="T65" fmla="*/ 469 h 538"/>
                <a:gd name="T66" fmla="*/ 688 w 845"/>
                <a:gd name="T67" fmla="*/ 426 h 538"/>
                <a:gd name="T68" fmla="*/ 699 w 845"/>
                <a:gd name="T69" fmla="*/ 449 h 538"/>
                <a:gd name="T70" fmla="*/ 728 w 845"/>
                <a:gd name="T71" fmla="*/ 416 h 538"/>
                <a:gd name="T72" fmla="*/ 705 w 845"/>
                <a:gd name="T73" fmla="*/ 378 h 538"/>
                <a:gd name="T74" fmla="*/ 720 w 845"/>
                <a:gd name="T75" fmla="*/ 327 h 538"/>
                <a:gd name="T76" fmla="*/ 771 w 845"/>
                <a:gd name="T77" fmla="*/ 336 h 538"/>
                <a:gd name="T78" fmla="*/ 771 w 845"/>
                <a:gd name="T79" fmla="*/ 268 h 538"/>
                <a:gd name="T80" fmla="*/ 800 w 845"/>
                <a:gd name="T81" fmla="*/ 268 h 538"/>
                <a:gd name="T82" fmla="*/ 802 w 845"/>
                <a:gd name="T83" fmla="*/ 245 h 538"/>
                <a:gd name="T84" fmla="*/ 785 w 845"/>
                <a:gd name="T85" fmla="*/ 228 h 538"/>
                <a:gd name="T86" fmla="*/ 845 w 845"/>
                <a:gd name="T87" fmla="*/ 154 h 538"/>
                <a:gd name="T88" fmla="*/ 826 w 845"/>
                <a:gd name="T89" fmla="*/ 131 h 538"/>
                <a:gd name="T90" fmla="*/ 749 w 845"/>
                <a:gd name="T91" fmla="*/ 114 h 538"/>
                <a:gd name="T92" fmla="*/ 749 w 845"/>
                <a:gd name="T93" fmla="*/ 86 h 538"/>
                <a:gd name="T94" fmla="*/ 800 w 845"/>
                <a:gd name="T95" fmla="*/ 23 h 538"/>
                <a:gd name="T96" fmla="*/ 794 w 845"/>
                <a:gd name="T97" fmla="*/ 0 h 538"/>
                <a:gd name="T98" fmla="*/ 756 w 845"/>
                <a:gd name="T99" fmla="*/ 0 h 538"/>
                <a:gd name="T100" fmla="*/ 745 w 845"/>
                <a:gd name="T101" fmla="*/ 19 h 538"/>
                <a:gd name="T102" fmla="*/ 718 w 845"/>
                <a:gd name="T103" fmla="*/ 0 h 538"/>
                <a:gd name="T104" fmla="*/ 608 w 845"/>
                <a:gd name="T105" fmla="*/ 30 h 538"/>
                <a:gd name="T106" fmla="*/ 608 w 845"/>
                <a:gd name="T107" fmla="*/ 30 h 538"/>
                <a:gd name="T108" fmla="*/ 608 w 845"/>
                <a:gd name="T109" fmla="*/ 30 h 5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45"/>
                <a:gd name="T166" fmla="*/ 0 h 538"/>
                <a:gd name="T167" fmla="*/ 845 w 845"/>
                <a:gd name="T168" fmla="*/ 538 h 5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45" h="538">
                  <a:moveTo>
                    <a:pt x="608" y="30"/>
                  </a:moveTo>
                  <a:lnTo>
                    <a:pt x="555" y="15"/>
                  </a:lnTo>
                  <a:lnTo>
                    <a:pt x="538" y="32"/>
                  </a:lnTo>
                  <a:lnTo>
                    <a:pt x="429" y="32"/>
                  </a:lnTo>
                  <a:lnTo>
                    <a:pt x="367" y="21"/>
                  </a:lnTo>
                  <a:lnTo>
                    <a:pt x="355" y="40"/>
                  </a:lnTo>
                  <a:lnTo>
                    <a:pt x="315" y="40"/>
                  </a:lnTo>
                  <a:lnTo>
                    <a:pt x="281" y="4"/>
                  </a:lnTo>
                  <a:lnTo>
                    <a:pt x="222" y="0"/>
                  </a:lnTo>
                  <a:lnTo>
                    <a:pt x="142" y="55"/>
                  </a:lnTo>
                  <a:lnTo>
                    <a:pt x="159" y="114"/>
                  </a:lnTo>
                  <a:lnTo>
                    <a:pt x="127" y="114"/>
                  </a:lnTo>
                  <a:lnTo>
                    <a:pt x="72" y="165"/>
                  </a:lnTo>
                  <a:lnTo>
                    <a:pt x="83" y="247"/>
                  </a:lnTo>
                  <a:lnTo>
                    <a:pt x="0" y="285"/>
                  </a:lnTo>
                  <a:lnTo>
                    <a:pt x="36" y="325"/>
                  </a:lnTo>
                  <a:lnTo>
                    <a:pt x="36" y="352"/>
                  </a:lnTo>
                  <a:lnTo>
                    <a:pt x="76" y="336"/>
                  </a:lnTo>
                  <a:lnTo>
                    <a:pt x="110" y="352"/>
                  </a:lnTo>
                  <a:lnTo>
                    <a:pt x="110" y="399"/>
                  </a:lnTo>
                  <a:lnTo>
                    <a:pt x="142" y="420"/>
                  </a:lnTo>
                  <a:lnTo>
                    <a:pt x="178" y="409"/>
                  </a:lnTo>
                  <a:lnTo>
                    <a:pt x="214" y="426"/>
                  </a:lnTo>
                  <a:lnTo>
                    <a:pt x="201" y="449"/>
                  </a:lnTo>
                  <a:lnTo>
                    <a:pt x="287" y="479"/>
                  </a:lnTo>
                  <a:lnTo>
                    <a:pt x="365" y="498"/>
                  </a:lnTo>
                  <a:lnTo>
                    <a:pt x="382" y="538"/>
                  </a:lnTo>
                  <a:lnTo>
                    <a:pt x="425" y="525"/>
                  </a:lnTo>
                  <a:lnTo>
                    <a:pt x="429" y="487"/>
                  </a:lnTo>
                  <a:lnTo>
                    <a:pt x="492" y="496"/>
                  </a:lnTo>
                  <a:lnTo>
                    <a:pt x="507" y="464"/>
                  </a:lnTo>
                  <a:lnTo>
                    <a:pt x="551" y="449"/>
                  </a:lnTo>
                  <a:lnTo>
                    <a:pt x="581" y="469"/>
                  </a:lnTo>
                  <a:lnTo>
                    <a:pt x="688" y="426"/>
                  </a:lnTo>
                  <a:lnTo>
                    <a:pt x="699" y="449"/>
                  </a:lnTo>
                  <a:lnTo>
                    <a:pt x="728" y="416"/>
                  </a:lnTo>
                  <a:lnTo>
                    <a:pt x="705" y="378"/>
                  </a:lnTo>
                  <a:lnTo>
                    <a:pt x="720" y="327"/>
                  </a:lnTo>
                  <a:lnTo>
                    <a:pt x="771" y="336"/>
                  </a:lnTo>
                  <a:lnTo>
                    <a:pt x="771" y="268"/>
                  </a:lnTo>
                  <a:lnTo>
                    <a:pt x="800" y="268"/>
                  </a:lnTo>
                  <a:lnTo>
                    <a:pt x="802" y="245"/>
                  </a:lnTo>
                  <a:lnTo>
                    <a:pt x="785" y="228"/>
                  </a:lnTo>
                  <a:lnTo>
                    <a:pt x="845" y="154"/>
                  </a:lnTo>
                  <a:lnTo>
                    <a:pt x="826" y="131"/>
                  </a:lnTo>
                  <a:lnTo>
                    <a:pt x="749" y="114"/>
                  </a:lnTo>
                  <a:lnTo>
                    <a:pt x="749" y="86"/>
                  </a:lnTo>
                  <a:lnTo>
                    <a:pt x="800" y="23"/>
                  </a:lnTo>
                  <a:lnTo>
                    <a:pt x="794" y="0"/>
                  </a:lnTo>
                  <a:lnTo>
                    <a:pt x="756" y="0"/>
                  </a:lnTo>
                  <a:lnTo>
                    <a:pt x="745" y="19"/>
                  </a:lnTo>
                  <a:lnTo>
                    <a:pt x="718" y="0"/>
                  </a:lnTo>
                  <a:lnTo>
                    <a:pt x="608" y="30"/>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4" name="Freeform 38"/>
            <p:cNvSpPr>
              <a:spLocks/>
            </p:cNvSpPr>
            <p:nvPr/>
          </p:nvSpPr>
          <p:spPr bwMode="gray">
            <a:xfrm>
              <a:off x="2588650" y="4143918"/>
              <a:ext cx="600593" cy="748633"/>
            </a:xfrm>
            <a:custGeom>
              <a:avLst/>
              <a:gdLst>
                <a:gd name="T0" fmla="*/ 342 w 562"/>
                <a:gd name="T1" fmla="*/ 0 h 644"/>
                <a:gd name="T2" fmla="*/ 300 w 562"/>
                <a:gd name="T3" fmla="*/ 28 h 644"/>
                <a:gd name="T4" fmla="*/ 167 w 562"/>
                <a:gd name="T5" fmla="*/ 17 h 644"/>
                <a:gd name="T6" fmla="*/ 159 w 562"/>
                <a:gd name="T7" fmla="*/ 87 h 644"/>
                <a:gd name="T8" fmla="*/ 174 w 562"/>
                <a:gd name="T9" fmla="*/ 163 h 644"/>
                <a:gd name="T10" fmla="*/ 95 w 562"/>
                <a:gd name="T11" fmla="*/ 178 h 644"/>
                <a:gd name="T12" fmla="*/ 0 w 562"/>
                <a:gd name="T13" fmla="*/ 256 h 644"/>
                <a:gd name="T14" fmla="*/ 11 w 562"/>
                <a:gd name="T15" fmla="*/ 268 h 644"/>
                <a:gd name="T16" fmla="*/ 36 w 562"/>
                <a:gd name="T17" fmla="*/ 283 h 644"/>
                <a:gd name="T18" fmla="*/ 45 w 562"/>
                <a:gd name="T19" fmla="*/ 266 h 644"/>
                <a:gd name="T20" fmla="*/ 85 w 562"/>
                <a:gd name="T21" fmla="*/ 266 h 644"/>
                <a:gd name="T22" fmla="*/ 87 w 562"/>
                <a:gd name="T23" fmla="*/ 289 h 644"/>
                <a:gd name="T24" fmla="*/ 40 w 562"/>
                <a:gd name="T25" fmla="*/ 350 h 644"/>
                <a:gd name="T26" fmla="*/ 40 w 562"/>
                <a:gd name="T27" fmla="*/ 376 h 644"/>
                <a:gd name="T28" fmla="*/ 117 w 562"/>
                <a:gd name="T29" fmla="*/ 397 h 644"/>
                <a:gd name="T30" fmla="*/ 135 w 562"/>
                <a:gd name="T31" fmla="*/ 420 h 644"/>
                <a:gd name="T32" fmla="*/ 76 w 562"/>
                <a:gd name="T33" fmla="*/ 492 h 644"/>
                <a:gd name="T34" fmla="*/ 91 w 562"/>
                <a:gd name="T35" fmla="*/ 509 h 644"/>
                <a:gd name="T36" fmla="*/ 93 w 562"/>
                <a:gd name="T37" fmla="*/ 532 h 644"/>
                <a:gd name="T38" fmla="*/ 62 w 562"/>
                <a:gd name="T39" fmla="*/ 532 h 644"/>
                <a:gd name="T40" fmla="*/ 62 w 562"/>
                <a:gd name="T41" fmla="*/ 602 h 644"/>
                <a:gd name="T42" fmla="*/ 93 w 562"/>
                <a:gd name="T43" fmla="*/ 633 h 644"/>
                <a:gd name="T44" fmla="*/ 131 w 562"/>
                <a:gd name="T45" fmla="*/ 644 h 644"/>
                <a:gd name="T46" fmla="*/ 114 w 562"/>
                <a:gd name="T47" fmla="*/ 599 h 644"/>
                <a:gd name="T48" fmla="*/ 211 w 562"/>
                <a:gd name="T49" fmla="*/ 597 h 644"/>
                <a:gd name="T50" fmla="*/ 228 w 562"/>
                <a:gd name="T51" fmla="*/ 561 h 644"/>
                <a:gd name="T52" fmla="*/ 285 w 562"/>
                <a:gd name="T53" fmla="*/ 576 h 644"/>
                <a:gd name="T54" fmla="*/ 325 w 562"/>
                <a:gd name="T55" fmla="*/ 547 h 644"/>
                <a:gd name="T56" fmla="*/ 437 w 562"/>
                <a:gd name="T57" fmla="*/ 532 h 644"/>
                <a:gd name="T58" fmla="*/ 412 w 562"/>
                <a:gd name="T59" fmla="*/ 452 h 644"/>
                <a:gd name="T60" fmla="*/ 513 w 562"/>
                <a:gd name="T61" fmla="*/ 348 h 644"/>
                <a:gd name="T62" fmla="*/ 477 w 562"/>
                <a:gd name="T63" fmla="*/ 321 h 644"/>
                <a:gd name="T64" fmla="*/ 562 w 562"/>
                <a:gd name="T65" fmla="*/ 125 h 644"/>
                <a:gd name="T66" fmla="*/ 391 w 562"/>
                <a:gd name="T67" fmla="*/ 74 h 644"/>
                <a:gd name="T68" fmla="*/ 342 w 562"/>
                <a:gd name="T69" fmla="*/ 0 h 644"/>
                <a:gd name="T70" fmla="*/ 342 w 562"/>
                <a:gd name="T71" fmla="*/ 0 h 644"/>
                <a:gd name="T72" fmla="*/ 342 w 562"/>
                <a:gd name="T73" fmla="*/ 0 h 6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62"/>
                <a:gd name="T112" fmla="*/ 0 h 644"/>
                <a:gd name="T113" fmla="*/ 562 w 562"/>
                <a:gd name="T114" fmla="*/ 644 h 6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62" h="644">
                  <a:moveTo>
                    <a:pt x="342" y="0"/>
                  </a:moveTo>
                  <a:lnTo>
                    <a:pt x="300" y="28"/>
                  </a:lnTo>
                  <a:lnTo>
                    <a:pt x="167" y="17"/>
                  </a:lnTo>
                  <a:lnTo>
                    <a:pt x="159" y="87"/>
                  </a:lnTo>
                  <a:lnTo>
                    <a:pt x="174" y="163"/>
                  </a:lnTo>
                  <a:lnTo>
                    <a:pt x="95" y="178"/>
                  </a:lnTo>
                  <a:lnTo>
                    <a:pt x="0" y="256"/>
                  </a:lnTo>
                  <a:lnTo>
                    <a:pt x="11" y="268"/>
                  </a:lnTo>
                  <a:lnTo>
                    <a:pt x="36" y="283"/>
                  </a:lnTo>
                  <a:lnTo>
                    <a:pt x="45" y="266"/>
                  </a:lnTo>
                  <a:lnTo>
                    <a:pt x="85" y="266"/>
                  </a:lnTo>
                  <a:lnTo>
                    <a:pt x="87" y="289"/>
                  </a:lnTo>
                  <a:lnTo>
                    <a:pt x="40" y="350"/>
                  </a:lnTo>
                  <a:lnTo>
                    <a:pt x="40" y="376"/>
                  </a:lnTo>
                  <a:lnTo>
                    <a:pt x="117" y="397"/>
                  </a:lnTo>
                  <a:lnTo>
                    <a:pt x="135" y="420"/>
                  </a:lnTo>
                  <a:lnTo>
                    <a:pt x="76" y="492"/>
                  </a:lnTo>
                  <a:lnTo>
                    <a:pt x="91" y="509"/>
                  </a:lnTo>
                  <a:lnTo>
                    <a:pt x="93" y="532"/>
                  </a:lnTo>
                  <a:lnTo>
                    <a:pt x="62" y="532"/>
                  </a:lnTo>
                  <a:lnTo>
                    <a:pt x="62" y="602"/>
                  </a:lnTo>
                  <a:lnTo>
                    <a:pt x="93" y="633"/>
                  </a:lnTo>
                  <a:lnTo>
                    <a:pt x="131" y="644"/>
                  </a:lnTo>
                  <a:lnTo>
                    <a:pt x="114" y="599"/>
                  </a:lnTo>
                  <a:lnTo>
                    <a:pt x="211" y="597"/>
                  </a:lnTo>
                  <a:lnTo>
                    <a:pt x="228" y="561"/>
                  </a:lnTo>
                  <a:lnTo>
                    <a:pt x="285" y="576"/>
                  </a:lnTo>
                  <a:lnTo>
                    <a:pt x="325" y="547"/>
                  </a:lnTo>
                  <a:lnTo>
                    <a:pt x="437" y="532"/>
                  </a:lnTo>
                  <a:lnTo>
                    <a:pt x="412" y="452"/>
                  </a:lnTo>
                  <a:lnTo>
                    <a:pt x="513" y="348"/>
                  </a:lnTo>
                  <a:lnTo>
                    <a:pt x="477" y="321"/>
                  </a:lnTo>
                  <a:lnTo>
                    <a:pt x="562" y="125"/>
                  </a:lnTo>
                  <a:lnTo>
                    <a:pt x="391" y="74"/>
                  </a:lnTo>
                  <a:lnTo>
                    <a:pt x="342" y="0"/>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5" name="Freeform 39"/>
            <p:cNvSpPr>
              <a:spLocks/>
            </p:cNvSpPr>
            <p:nvPr/>
          </p:nvSpPr>
          <p:spPr bwMode="gray">
            <a:xfrm>
              <a:off x="3065717" y="5376962"/>
              <a:ext cx="566517" cy="876110"/>
            </a:xfrm>
            <a:custGeom>
              <a:avLst/>
              <a:gdLst>
                <a:gd name="T0" fmla="*/ 274 w 532"/>
                <a:gd name="T1" fmla="*/ 12 h 757"/>
                <a:gd name="T2" fmla="*/ 238 w 532"/>
                <a:gd name="T3" fmla="*/ 31 h 757"/>
                <a:gd name="T4" fmla="*/ 183 w 532"/>
                <a:gd name="T5" fmla="*/ 0 h 757"/>
                <a:gd name="T6" fmla="*/ 112 w 532"/>
                <a:gd name="T7" fmla="*/ 82 h 757"/>
                <a:gd name="T8" fmla="*/ 61 w 532"/>
                <a:gd name="T9" fmla="*/ 169 h 757"/>
                <a:gd name="T10" fmla="*/ 69 w 532"/>
                <a:gd name="T11" fmla="*/ 211 h 757"/>
                <a:gd name="T12" fmla="*/ 6 w 532"/>
                <a:gd name="T13" fmla="*/ 278 h 757"/>
                <a:gd name="T14" fmla="*/ 0 w 532"/>
                <a:gd name="T15" fmla="*/ 356 h 757"/>
                <a:gd name="T16" fmla="*/ 93 w 532"/>
                <a:gd name="T17" fmla="*/ 470 h 757"/>
                <a:gd name="T18" fmla="*/ 76 w 532"/>
                <a:gd name="T19" fmla="*/ 498 h 757"/>
                <a:gd name="T20" fmla="*/ 120 w 532"/>
                <a:gd name="T21" fmla="*/ 533 h 757"/>
                <a:gd name="T22" fmla="*/ 76 w 532"/>
                <a:gd name="T23" fmla="*/ 669 h 757"/>
                <a:gd name="T24" fmla="*/ 93 w 532"/>
                <a:gd name="T25" fmla="*/ 715 h 757"/>
                <a:gd name="T26" fmla="*/ 173 w 532"/>
                <a:gd name="T27" fmla="*/ 717 h 757"/>
                <a:gd name="T28" fmla="*/ 183 w 532"/>
                <a:gd name="T29" fmla="*/ 757 h 757"/>
                <a:gd name="T30" fmla="*/ 242 w 532"/>
                <a:gd name="T31" fmla="*/ 747 h 757"/>
                <a:gd name="T32" fmla="*/ 291 w 532"/>
                <a:gd name="T33" fmla="*/ 692 h 757"/>
                <a:gd name="T34" fmla="*/ 340 w 532"/>
                <a:gd name="T35" fmla="*/ 673 h 757"/>
                <a:gd name="T36" fmla="*/ 424 w 532"/>
                <a:gd name="T37" fmla="*/ 700 h 757"/>
                <a:gd name="T38" fmla="*/ 420 w 532"/>
                <a:gd name="T39" fmla="*/ 637 h 757"/>
                <a:gd name="T40" fmla="*/ 434 w 532"/>
                <a:gd name="T41" fmla="*/ 580 h 757"/>
                <a:gd name="T42" fmla="*/ 525 w 532"/>
                <a:gd name="T43" fmla="*/ 434 h 757"/>
                <a:gd name="T44" fmla="*/ 532 w 532"/>
                <a:gd name="T45" fmla="*/ 358 h 757"/>
                <a:gd name="T46" fmla="*/ 502 w 532"/>
                <a:gd name="T47" fmla="*/ 369 h 757"/>
                <a:gd name="T48" fmla="*/ 447 w 532"/>
                <a:gd name="T49" fmla="*/ 369 h 757"/>
                <a:gd name="T50" fmla="*/ 403 w 532"/>
                <a:gd name="T51" fmla="*/ 310 h 757"/>
                <a:gd name="T52" fmla="*/ 367 w 532"/>
                <a:gd name="T53" fmla="*/ 310 h 757"/>
                <a:gd name="T54" fmla="*/ 306 w 532"/>
                <a:gd name="T55" fmla="*/ 270 h 757"/>
                <a:gd name="T56" fmla="*/ 301 w 532"/>
                <a:gd name="T57" fmla="*/ 225 h 757"/>
                <a:gd name="T58" fmla="*/ 266 w 532"/>
                <a:gd name="T59" fmla="*/ 185 h 757"/>
                <a:gd name="T60" fmla="*/ 261 w 532"/>
                <a:gd name="T61" fmla="*/ 118 h 757"/>
                <a:gd name="T62" fmla="*/ 276 w 532"/>
                <a:gd name="T63" fmla="*/ 46 h 757"/>
                <a:gd name="T64" fmla="*/ 274 w 532"/>
                <a:gd name="T65" fmla="*/ 12 h 757"/>
                <a:gd name="T66" fmla="*/ 274 w 532"/>
                <a:gd name="T67" fmla="*/ 12 h 757"/>
                <a:gd name="T68" fmla="*/ 274 w 532"/>
                <a:gd name="T69" fmla="*/ 12 h 75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32"/>
                <a:gd name="T106" fmla="*/ 0 h 757"/>
                <a:gd name="T107" fmla="*/ 532 w 532"/>
                <a:gd name="T108" fmla="*/ 757 h 75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32" h="757">
                  <a:moveTo>
                    <a:pt x="274" y="12"/>
                  </a:moveTo>
                  <a:lnTo>
                    <a:pt x="238" y="31"/>
                  </a:lnTo>
                  <a:lnTo>
                    <a:pt x="183" y="0"/>
                  </a:lnTo>
                  <a:lnTo>
                    <a:pt x="112" y="82"/>
                  </a:lnTo>
                  <a:lnTo>
                    <a:pt x="61" y="169"/>
                  </a:lnTo>
                  <a:lnTo>
                    <a:pt x="69" y="211"/>
                  </a:lnTo>
                  <a:lnTo>
                    <a:pt x="6" y="278"/>
                  </a:lnTo>
                  <a:lnTo>
                    <a:pt x="0" y="356"/>
                  </a:lnTo>
                  <a:lnTo>
                    <a:pt x="93" y="470"/>
                  </a:lnTo>
                  <a:lnTo>
                    <a:pt x="76" y="498"/>
                  </a:lnTo>
                  <a:lnTo>
                    <a:pt x="120" y="533"/>
                  </a:lnTo>
                  <a:lnTo>
                    <a:pt x="76" y="669"/>
                  </a:lnTo>
                  <a:lnTo>
                    <a:pt x="93" y="715"/>
                  </a:lnTo>
                  <a:lnTo>
                    <a:pt x="173" y="717"/>
                  </a:lnTo>
                  <a:lnTo>
                    <a:pt x="183" y="757"/>
                  </a:lnTo>
                  <a:lnTo>
                    <a:pt x="242" y="747"/>
                  </a:lnTo>
                  <a:lnTo>
                    <a:pt x="291" y="692"/>
                  </a:lnTo>
                  <a:lnTo>
                    <a:pt x="340" y="673"/>
                  </a:lnTo>
                  <a:lnTo>
                    <a:pt x="424" y="700"/>
                  </a:lnTo>
                  <a:lnTo>
                    <a:pt x="420" y="637"/>
                  </a:lnTo>
                  <a:lnTo>
                    <a:pt x="434" y="580"/>
                  </a:lnTo>
                  <a:lnTo>
                    <a:pt x="525" y="434"/>
                  </a:lnTo>
                  <a:lnTo>
                    <a:pt x="532" y="358"/>
                  </a:lnTo>
                  <a:lnTo>
                    <a:pt x="502" y="369"/>
                  </a:lnTo>
                  <a:lnTo>
                    <a:pt x="447" y="369"/>
                  </a:lnTo>
                  <a:lnTo>
                    <a:pt x="403" y="310"/>
                  </a:lnTo>
                  <a:lnTo>
                    <a:pt x="367" y="310"/>
                  </a:lnTo>
                  <a:lnTo>
                    <a:pt x="306" y="270"/>
                  </a:lnTo>
                  <a:lnTo>
                    <a:pt x="301" y="225"/>
                  </a:lnTo>
                  <a:lnTo>
                    <a:pt x="266" y="185"/>
                  </a:lnTo>
                  <a:lnTo>
                    <a:pt x="261" y="118"/>
                  </a:lnTo>
                  <a:lnTo>
                    <a:pt x="276" y="46"/>
                  </a:lnTo>
                  <a:lnTo>
                    <a:pt x="274" y="12"/>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6" name="Freeform 40"/>
            <p:cNvSpPr>
              <a:spLocks/>
            </p:cNvSpPr>
            <p:nvPr/>
          </p:nvSpPr>
          <p:spPr bwMode="gray">
            <a:xfrm>
              <a:off x="1640906" y="3494947"/>
              <a:ext cx="296038" cy="155289"/>
            </a:xfrm>
            <a:custGeom>
              <a:avLst/>
              <a:gdLst>
                <a:gd name="T0" fmla="*/ 0 w 280"/>
                <a:gd name="T1" fmla="*/ 29 h 133"/>
                <a:gd name="T2" fmla="*/ 139 w 280"/>
                <a:gd name="T3" fmla="*/ 0 h 133"/>
                <a:gd name="T4" fmla="*/ 198 w 280"/>
                <a:gd name="T5" fmla="*/ 25 h 133"/>
                <a:gd name="T6" fmla="*/ 228 w 280"/>
                <a:gd name="T7" fmla="*/ 76 h 133"/>
                <a:gd name="T8" fmla="*/ 280 w 280"/>
                <a:gd name="T9" fmla="*/ 82 h 133"/>
                <a:gd name="T10" fmla="*/ 221 w 280"/>
                <a:gd name="T11" fmla="*/ 133 h 133"/>
                <a:gd name="T12" fmla="*/ 147 w 280"/>
                <a:gd name="T13" fmla="*/ 125 h 133"/>
                <a:gd name="T14" fmla="*/ 120 w 280"/>
                <a:gd name="T15" fmla="*/ 72 h 133"/>
                <a:gd name="T16" fmla="*/ 88 w 280"/>
                <a:gd name="T17" fmla="*/ 63 h 133"/>
                <a:gd name="T18" fmla="*/ 36 w 280"/>
                <a:gd name="T19" fmla="*/ 82 h 133"/>
                <a:gd name="T20" fmla="*/ 0 w 280"/>
                <a:gd name="T21" fmla="*/ 29 h 133"/>
                <a:gd name="T22" fmla="*/ 0 w 280"/>
                <a:gd name="T23" fmla="*/ 29 h 133"/>
                <a:gd name="T24" fmla="*/ 0 w 280"/>
                <a:gd name="T25" fmla="*/ 29 h 13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0"/>
                <a:gd name="T40" fmla="*/ 0 h 133"/>
                <a:gd name="T41" fmla="*/ 280 w 280"/>
                <a:gd name="T42" fmla="*/ 133 h 13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0" h="133">
                  <a:moveTo>
                    <a:pt x="0" y="29"/>
                  </a:moveTo>
                  <a:lnTo>
                    <a:pt x="139" y="0"/>
                  </a:lnTo>
                  <a:lnTo>
                    <a:pt x="198" y="25"/>
                  </a:lnTo>
                  <a:lnTo>
                    <a:pt x="228" y="76"/>
                  </a:lnTo>
                  <a:lnTo>
                    <a:pt x="280" y="82"/>
                  </a:lnTo>
                  <a:lnTo>
                    <a:pt x="221" y="133"/>
                  </a:lnTo>
                  <a:lnTo>
                    <a:pt x="147" y="125"/>
                  </a:lnTo>
                  <a:lnTo>
                    <a:pt x="120" y="72"/>
                  </a:lnTo>
                  <a:lnTo>
                    <a:pt x="88" y="63"/>
                  </a:lnTo>
                  <a:lnTo>
                    <a:pt x="36" y="82"/>
                  </a:lnTo>
                  <a:lnTo>
                    <a:pt x="0" y="29"/>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7" name="Freeform 41"/>
            <p:cNvSpPr>
              <a:spLocks/>
            </p:cNvSpPr>
            <p:nvPr/>
          </p:nvSpPr>
          <p:spPr bwMode="gray">
            <a:xfrm>
              <a:off x="1645166" y="3650237"/>
              <a:ext cx="166121" cy="85756"/>
            </a:xfrm>
            <a:custGeom>
              <a:avLst/>
              <a:gdLst>
                <a:gd name="T0" fmla="*/ 0 w 158"/>
                <a:gd name="T1" fmla="*/ 0 h 72"/>
                <a:gd name="T2" fmla="*/ 34 w 158"/>
                <a:gd name="T3" fmla="*/ 21 h 72"/>
                <a:gd name="T4" fmla="*/ 124 w 158"/>
                <a:gd name="T5" fmla="*/ 15 h 72"/>
                <a:gd name="T6" fmla="*/ 158 w 158"/>
                <a:gd name="T7" fmla="*/ 46 h 72"/>
                <a:gd name="T8" fmla="*/ 124 w 158"/>
                <a:gd name="T9" fmla="*/ 63 h 72"/>
                <a:gd name="T10" fmla="*/ 59 w 158"/>
                <a:gd name="T11" fmla="*/ 53 h 72"/>
                <a:gd name="T12" fmla="*/ 23 w 158"/>
                <a:gd name="T13" fmla="*/ 72 h 72"/>
                <a:gd name="T14" fmla="*/ 0 w 158"/>
                <a:gd name="T15" fmla="*/ 0 h 72"/>
                <a:gd name="T16" fmla="*/ 0 w 158"/>
                <a:gd name="T17" fmla="*/ 0 h 72"/>
                <a:gd name="T18" fmla="*/ 0 w 158"/>
                <a:gd name="T19" fmla="*/ 0 h 7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8"/>
                <a:gd name="T31" fmla="*/ 0 h 72"/>
                <a:gd name="T32" fmla="*/ 158 w 158"/>
                <a:gd name="T33" fmla="*/ 72 h 7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8" h="72">
                  <a:moveTo>
                    <a:pt x="0" y="0"/>
                  </a:moveTo>
                  <a:lnTo>
                    <a:pt x="34" y="21"/>
                  </a:lnTo>
                  <a:lnTo>
                    <a:pt x="124" y="15"/>
                  </a:lnTo>
                  <a:lnTo>
                    <a:pt x="158" y="46"/>
                  </a:lnTo>
                  <a:lnTo>
                    <a:pt x="124" y="63"/>
                  </a:lnTo>
                  <a:lnTo>
                    <a:pt x="59" y="53"/>
                  </a:lnTo>
                  <a:lnTo>
                    <a:pt x="23" y="72"/>
                  </a:lnTo>
                  <a:lnTo>
                    <a:pt x="0" y="0"/>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8" name="Freeform 42"/>
            <p:cNvSpPr>
              <a:spLocks/>
            </p:cNvSpPr>
            <p:nvPr/>
          </p:nvSpPr>
          <p:spPr bwMode="gray">
            <a:xfrm>
              <a:off x="2379933" y="1800671"/>
              <a:ext cx="157602" cy="236411"/>
            </a:xfrm>
            <a:custGeom>
              <a:avLst/>
              <a:gdLst>
                <a:gd name="T0" fmla="*/ 116 w 146"/>
                <a:gd name="T1" fmla="*/ 0 h 204"/>
                <a:gd name="T2" fmla="*/ 0 w 146"/>
                <a:gd name="T3" fmla="*/ 141 h 204"/>
                <a:gd name="T4" fmla="*/ 13 w 146"/>
                <a:gd name="T5" fmla="*/ 194 h 204"/>
                <a:gd name="T6" fmla="*/ 61 w 146"/>
                <a:gd name="T7" fmla="*/ 204 h 204"/>
                <a:gd name="T8" fmla="*/ 78 w 146"/>
                <a:gd name="T9" fmla="*/ 171 h 204"/>
                <a:gd name="T10" fmla="*/ 146 w 146"/>
                <a:gd name="T11" fmla="*/ 126 h 204"/>
                <a:gd name="T12" fmla="*/ 116 w 146"/>
                <a:gd name="T13" fmla="*/ 0 h 204"/>
                <a:gd name="T14" fmla="*/ 116 w 146"/>
                <a:gd name="T15" fmla="*/ 0 h 204"/>
                <a:gd name="T16" fmla="*/ 116 w 146"/>
                <a:gd name="T17" fmla="*/ 0 h 20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6"/>
                <a:gd name="T28" fmla="*/ 0 h 204"/>
                <a:gd name="T29" fmla="*/ 146 w 146"/>
                <a:gd name="T30" fmla="*/ 204 h 20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6" h="204">
                  <a:moveTo>
                    <a:pt x="116" y="0"/>
                  </a:moveTo>
                  <a:lnTo>
                    <a:pt x="0" y="141"/>
                  </a:lnTo>
                  <a:lnTo>
                    <a:pt x="13" y="194"/>
                  </a:lnTo>
                  <a:lnTo>
                    <a:pt x="61" y="204"/>
                  </a:lnTo>
                  <a:lnTo>
                    <a:pt x="78" y="171"/>
                  </a:lnTo>
                  <a:lnTo>
                    <a:pt x="146" y="126"/>
                  </a:lnTo>
                  <a:lnTo>
                    <a:pt x="116" y="0"/>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9" name="Freeform 43"/>
            <p:cNvSpPr>
              <a:spLocks/>
            </p:cNvSpPr>
            <p:nvPr/>
          </p:nvSpPr>
          <p:spPr bwMode="gray">
            <a:xfrm>
              <a:off x="2518369" y="1650017"/>
              <a:ext cx="117138" cy="155289"/>
            </a:xfrm>
            <a:custGeom>
              <a:avLst/>
              <a:gdLst>
                <a:gd name="T0" fmla="*/ 110 w 110"/>
                <a:gd name="T1" fmla="*/ 0 h 135"/>
                <a:gd name="T2" fmla="*/ 29 w 110"/>
                <a:gd name="T3" fmla="*/ 29 h 135"/>
                <a:gd name="T4" fmla="*/ 0 w 110"/>
                <a:gd name="T5" fmla="*/ 118 h 135"/>
                <a:gd name="T6" fmla="*/ 27 w 110"/>
                <a:gd name="T7" fmla="*/ 135 h 135"/>
                <a:gd name="T8" fmla="*/ 55 w 110"/>
                <a:gd name="T9" fmla="*/ 55 h 135"/>
                <a:gd name="T10" fmla="*/ 110 w 110"/>
                <a:gd name="T11" fmla="*/ 0 h 135"/>
                <a:gd name="T12" fmla="*/ 110 w 110"/>
                <a:gd name="T13" fmla="*/ 0 h 135"/>
                <a:gd name="T14" fmla="*/ 110 w 110"/>
                <a:gd name="T15" fmla="*/ 0 h 135"/>
                <a:gd name="T16" fmla="*/ 0 60000 65536"/>
                <a:gd name="T17" fmla="*/ 0 60000 65536"/>
                <a:gd name="T18" fmla="*/ 0 60000 65536"/>
                <a:gd name="T19" fmla="*/ 0 60000 65536"/>
                <a:gd name="T20" fmla="*/ 0 60000 65536"/>
                <a:gd name="T21" fmla="*/ 0 60000 65536"/>
                <a:gd name="T22" fmla="*/ 0 60000 65536"/>
                <a:gd name="T23" fmla="*/ 0 60000 65536"/>
                <a:gd name="T24" fmla="*/ 0 w 110"/>
                <a:gd name="T25" fmla="*/ 0 h 135"/>
                <a:gd name="T26" fmla="*/ 110 w 110"/>
                <a:gd name="T27" fmla="*/ 135 h 13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0" h="135">
                  <a:moveTo>
                    <a:pt x="110" y="0"/>
                  </a:moveTo>
                  <a:lnTo>
                    <a:pt x="29" y="29"/>
                  </a:lnTo>
                  <a:lnTo>
                    <a:pt x="0" y="118"/>
                  </a:lnTo>
                  <a:lnTo>
                    <a:pt x="27" y="135"/>
                  </a:lnTo>
                  <a:lnTo>
                    <a:pt x="55" y="55"/>
                  </a:lnTo>
                  <a:lnTo>
                    <a:pt x="110" y="0"/>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0" name="Freeform 44"/>
            <p:cNvSpPr>
              <a:spLocks/>
            </p:cNvSpPr>
            <p:nvPr/>
          </p:nvSpPr>
          <p:spPr bwMode="gray">
            <a:xfrm>
              <a:off x="2663192" y="1476186"/>
              <a:ext cx="306686" cy="141382"/>
            </a:xfrm>
            <a:custGeom>
              <a:avLst/>
              <a:gdLst>
                <a:gd name="T0" fmla="*/ 0 w 289"/>
                <a:gd name="T1" fmla="*/ 104 h 122"/>
                <a:gd name="T2" fmla="*/ 8 w 289"/>
                <a:gd name="T3" fmla="*/ 63 h 122"/>
                <a:gd name="T4" fmla="*/ 106 w 289"/>
                <a:gd name="T5" fmla="*/ 59 h 122"/>
                <a:gd name="T6" fmla="*/ 232 w 289"/>
                <a:gd name="T7" fmla="*/ 0 h 122"/>
                <a:gd name="T8" fmla="*/ 289 w 289"/>
                <a:gd name="T9" fmla="*/ 38 h 122"/>
                <a:gd name="T10" fmla="*/ 222 w 289"/>
                <a:gd name="T11" fmla="*/ 38 h 122"/>
                <a:gd name="T12" fmla="*/ 143 w 289"/>
                <a:gd name="T13" fmla="*/ 87 h 122"/>
                <a:gd name="T14" fmla="*/ 38 w 289"/>
                <a:gd name="T15" fmla="*/ 87 h 122"/>
                <a:gd name="T16" fmla="*/ 32 w 289"/>
                <a:gd name="T17" fmla="*/ 122 h 122"/>
                <a:gd name="T18" fmla="*/ 0 w 289"/>
                <a:gd name="T19" fmla="*/ 104 h 122"/>
                <a:gd name="T20" fmla="*/ 0 w 289"/>
                <a:gd name="T21" fmla="*/ 104 h 122"/>
                <a:gd name="T22" fmla="*/ 0 w 289"/>
                <a:gd name="T23" fmla="*/ 104 h 1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9"/>
                <a:gd name="T37" fmla="*/ 0 h 122"/>
                <a:gd name="T38" fmla="*/ 289 w 289"/>
                <a:gd name="T39" fmla="*/ 122 h 1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9" h="122">
                  <a:moveTo>
                    <a:pt x="0" y="104"/>
                  </a:moveTo>
                  <a:lnTo>
                    <a:pt x="8" y="63"/>
                  </a:lnTo>
                  <a:lnTo>
                    <a:pt x="106" y="59"/>
                  </a:lnTo>
                  <a:lnTo>
                    <a:pt x="232" y="0"/>
                  </a:lnTo>
                  <a:lnTo>
                    <a:pt x="289" y="38"/>
                  </a:lnTo>
                  <a:lnTo>
                    <a:pt x="222" y="38"/>
                  </a:lnTo>
                  <a:lnTo>
                    <a:pt x="143" y="87"/>
                  </a:lnTo>
                  <a:lnTo>
                    <a:pt x="38" y="87"/>
                  </a:lnTo>
                  <a:lnTo>
                    <a:pt x="32" y="122"/>
                  </a:lnTo>
                  <a:lnTo>
                    <a:pt x="0" y="104"/>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1" name="Freeform 45"/>
            <p:cNvSpPr>
              <a:spLocks/>
            </p:cNvSpPr>
            <p:nvPr/>
          </p:nvSpPr>
          <p:spPr bwMode="gray">
            <a:xfrm>
              <a:off x="2982657" y="1455326"/>
              <a:ext cx="251312" cy="71850"/>
            </a:xfrm>
            <a:custGeom>
              <a:avLst/>
              <a:gdLst>
                <a:gd name="T0" fmla="*/ 0 w 236"/>
                <a:gd name="T1" fmla="*/ 34 h 63"/>
                <a:gd name="T2" fmla="*/ 33 w 236"/>
                <a:gd name="T3" fmla="*/ 63 h 63"/>
                <a:gd name="T4" fmla="*/ 92 w 236"/>
                <a:gd name="T5" fmla="*/ 36 h 63"/>
                <a:gd name="T6" fmla="*/ 236 w 236"/>
                <a:gd name="T7" fmla="*/ 34 h 63"/>
                <a:gd name="T8" fmla="*/ 190 w 236"/>
                <a:gd name="T9" fmla="*/ 0 h 63"/>
                <a:gd name="T10" fmla="*/ 95 w 236"/>
                <a:gd name="T11" fmla="*/ 13 h 63"/>
                <a:gd name="T12" fmla="*/ 29 w 236"/>
                <a:gd name="T13" fmla="*/ 25 h 63"/>
                <a:gd name="T14" fmla="*/ 0 w 236"/>
                <a:gd name="T15" fmla="*/ 34 h 63"/>
                <a:gd name="T16" fmla="*/ 0 w 236"/>
                <a:gd name="T17" fmla="*/ 34 h 63"/>
                <a:gd name="T18" fmla="*/ 0 w 236"/>
                <a:gd name="T19" fmla="*/ 34 h 6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6"/>
                <a:gd name="T31" fmla="*/ 0 h 63"/>
                <a:gd name="T32" fmla="*/ 236 w 236"/>
                <a:gd name="T33" fmla="*/ 63 h 6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6" h="63">
                  <a:moveTo>
                    <a:pt x="0" y="34"/>
                  </a:moveTo>
                  <a:lnTo>
                    <a:pt x="33" y="63"/>
                  </a:lnTo>
                  <a:lnTo>
                    <a:pt x="92" y="36"/>
                  </a:lnTo>
                  <a:lnTo>
                    <a:pt x="236" y="34"/>
                  </a:lnTo>
                  <a:lnTo>
                    <a:pt x="190" y="0"/>
                  </a:lnTo>
                  <a:lnTo>
                    <a:pt x="95" y="13"/>
                  </a:lnTo>
                  <a:lnTo>
                    <a:pt x="29" y="25"/>
                  </a:lnTo>
                  <a:lnTo>
                    <a:pt x="0" y="34"/>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2" name="Freeform 46"/>
            <p:cNvSpPr>
              <a:spLocks/>
            </p:cNvSpPr>
            <p:nvPr/>
          </p:nvSpPr>
          <p:spPr bwMode="gray">
            <a:xfrm>
              <a:off x="3317029" y="1402018"/>
              <a:ext cx="138435" cy="64897"/>
            </a:xfrm>
            <a:custGeom>
              <a:avLst/>
              <a:gdLst>
                <a:gd name="T0" fmla="*/ 110 w 129"/>
                <a:gd name="T1" fmla="*/ 0 h 55"/>
                <a:gd name="T2" fmla="*/ 4 w 129"/>
                <a:gd name="T3" fmla="*/ 23 h 55"/>
                <a:gd name="T4" fmla="*/ 0 w 129"/>
                <a:gd name="T5" fmla="*/ 55 h 55"/>
                <a:gd name="T6" fmla="*/ 74 w 129"/>
                <a:gd name="T7" fmla="*/ 27 h 55"/>
                <a:gd name="T8" fmla="*/ 129 w 129"/>
                <a:gd name="T9" fmla="*/ 38 h 55"/>
                <a:gd name="T10" fmla="*/ 110 w 129"/>
                <a:gd name="T11" fmla="*/ 0 h 55"/>
                <a:gd name="T12" fmla="*/ 110 w 129"/>
                <a:gd name="T13" fmla="*/ 0 h 55"/>
                <a:gd name="T14" fmla="*/ 110 w 129"/>
                <a:gd name="T15" fmla="*/ 0 h 55"/>
                <a:gd name="T16" fmla="*/ 0 60000 65536"/>
                <a:gd name="T17" fmla="*/ 0 60000 65536"/>
                <a:gd name="T18" fmla="*/ 0 60000 65536"/>
                <a:gd name="T19" fmla="*/ 0 60000 65536"/>
                <a:gd name="T20" fmla="*/ 0 60000 65536"/>
                <a:gd name="T21" fmla="*/ 0 60000 65536"/>
                <a:gd name="T22" fmla="*/ 0 60000 65536"/>
                <a:gd name="T23" fmla="*/ 0 60000 65536"/>
                <a:gd name="T24" fmla="*/ 0 w 129"/>
                <a:gd name="T25" fmla="*/ 0 h 55"/>
                <a:gd name="T26" fmla="*/ 129 w 129"/>
                <a:gd name="T27" fmla="*/ 55 h 5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9" h="55">
                  <a:moveTo>
                    <a:pt x="110" y="0"/>
                  </a:moveTo>
                  <a:lnTo>
                    <a:pt x="4" y="23"/>
                  </a:lnTo>
                  <a:lnTo>
                    <a:pt x="0" y="55"/>
                  </a:lnTo>
                  <a:lnTo>
                    <a:pt x="74" y="27"/>
                  </a:lnTo>
                  <a:lnTo>
                    <a:pt x="129" y="38"/>
                  </a:lnTo>
                  <a:lnTo>
                    <a:pt x="110" y="0"/>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3" name="Freeform 47"/>
            <p:cNvSpPr>
              <a:spLocks/>
            </p:cNvSpPr>
            <p:nvPr/>
          </p:nvSpPr>
          <p:spPr bwMode="gray">
            <a:xfrm>
              <a:off x="3512967" y="1355663"/>
              <a:ext cx="66023" cy="37084"/>
            </a:xfrm>
            <a:custGeom>
              <a:avLst/>
              <a:gdLst>
                <a:gd name="T0" fmla="*/ 63 w 63"/>
                <a:gd name="T1" fmla="*/ 0 h 33"/>
                <a:gd name="T2" fmla="*/ 0 w 63"/>
                <a:gd name="T3" fmla="*/ 33 h 33"/>
                <a:gd name="T4" fmla="*/ 44 w 63"/>
                <a:gd name="T5" fmla="*/ 29 h 33"/>
                <a:gd name="T6" fmla="*/ 63 w 63"/>
                <a:gd name="T7" fmla="*/ 0 h 33"/>
                <a:gd name="T8" fmla="*/ 63 w 63"/>
                <a:gd name="T9" fmla="*/ 0 h 33"/>
                <a:gd name="T10" fmla="*/ 63 w 63"/>
                <a:gd name="T11" fmla="*/ 0 h 33"/>
                <a:gd name="T12" fmla="*/ 0 60000 65536"/>
                <a:gd name="T13" fmla="*/ 0 60000 65536"/>
                <a:gd name="T14" fmla="*/ 0 60000 65536"/>
                <a:gd name="T15" fmla="*/ 0 60000 65536"/>
                <a:gd name="T16" fmla="*/ 0 60000 65536"/>
                <a:gd name="T17" fmla="*/ 0 60000 65536"/>
                <a:gd name="T18" fmla="*/ 0 w 63"/>
                <a:gd name="T19" fmla="*/ 0 h 33"/>
                <a:gd name="T20" fmla="*/ 63 w 63"/>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63" h="33">
                  <a:moveTo>
                    <a:pt x="63" y="0"/>
                  </a:moveTo>
                  <a:lnTo>
                    <a:pt x="0" y="33"/>
                  </a:lnTo>
                  <a:lnTo>
                    <a:pt x="44" y="29"/>
                  </a:lnTo>
                  <a:lnTo>
                    <a:pt x="63" y="0"/>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4" name="Freeform 48"/>
            <p:cNvSpPr>
              <a:spLocks/>
            </p:cNvSpPr>
            <p:nvPr/>
          </p:nvSpPr>
          <p:spPr bwMode="gray">
            <a:xfrm>
              <a:off x="3600288" y="1367251"/>
              <a:ext cx="57504" cy="20859"/>
            </a:xfrm>
            <a:custGeom>
              <a:avLst/>
              <a:gdLst>
                <a:gd name="T0" fmla="*/ 0 w 55"/>
                <a:gd name="T1" fmla="*/ 0 h 19"/>
                <a:gd name="T2" fmla="*/ 55 w 55"/>
                <a:gd name="T3" fmla="*/ 6 h 19"/>
                <a:gd name="T4" fmla="*/ 23 w 55"/>
                <a:gd name="T5" fmla="*/ 19 h 19"/>
                <a:gd name="T6" fmla="*/ 0 w 55"/>
                <a:gd name="T7" fmla="*/ 0 h 19"/>
                <a:gd name="T8" fmla="*/ 0 w 55"/>
                <a:gd name="T9" fmla="*/ 0 h 19"/>
                <a:gd name="T10" fmla="*/ 0 w 55"/>
                <a:gd name="T11" fmla="*/ 0 h 19"/>
                <a:gd name="T12" fmla="*/ 0 60000 65536"/>
                <a:gd name="T13" fmla="*/ 0 60000 65536"/>
                <a:gd name="T14" fmla="*/ 0 60000 65536"/>
                <a:gd name="T15" fmla="*/ 0 60000 65536"/>
                <a:gd name="T16" fmla="*/ 0 60000 65536"/>
                <a:gd name="T17" fmla="*/ 0 60000 65536"/>
                <a:gd name="T18" fmla="*/ 0 w 55"/>
                <a:gd name="T19" fmla="*/ 0 h 19"/>
                <a:gd name="T20" fmla="*/ 55 w 55"/>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55" h="19">
                  <a:moveTo>
                    <a:pt x="0" y="0"/>
                  </a:moveTo>
                  <a:lnTo>
                    <a:pt x="55" y="6"/>
                  </a:lnTo>
                  <a:lnTo>
                    <a:pt x="23" y="19"/>
                  </a:lnTo>
                  <a:lnTo>
                    <a:pt x="0" y="0"/>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5" name="Freeform 49"/>
            <p:cNvSpPr>
              <a:spLocks/>
            </p:cNvSpPr>
            <p:nvPr/>
          </p:nvSpPr>
          <p:spPr bwMode="gray">
            <a:xfrm>
              <a:off x="3672700" y="1355663"/>
              <a:ext cx="29817" cy="18542"/>
            </a:xfrm>
            <a:custGeom>
              <a:avLst/>
              <a:gdLst>
                <a:gd name="T0" fmla="*/ 0 w 29"/>
                <a:gd name="T1" fmla="*/ 0 h 16"/>
                <a:gd name="T2" fmla="*/ 29 w 29"/>
                <a:gd name="T3" fmla="*/ 4 h 16"/>
                <a:gd name="T4" fmla="*/ 14 w 29"/>
                <a:gd name="T5" fmla="*/ 16 h 16"/>
                <a:gd name="T6" fmla="*/ 0 w 29"/>
                <a:gd name="T7" fmla="*/ 0 h 16"/>
                <a:gd name="T8" fmla="*/ 0 w 29"/>
                <a:gd name="T9" fmla="*/ 0 h 16"/>
                <a:gd name="T10" fmla="*/ 0 w 29"/>
                <a:gd name="T11" fmla="*/ 0 h 16"/>
                <a:gd name="T12" fmla="*/ 0 60000 65536"/>
                <a:gd name="T13" fmla="*/ 0 60000 65536"/>
                <a:gd name="T14" fmla="*/ 0 60000 65536"/>
                <a:gd name="T15" fmla="*/ 0 60000 65536"/>
                <a:gd name="T16" fmla="*/ 0 60000 65536"/>
                <a:gd name="T17" fmla="*/ 0 60000 65536"/>
                <a:gd name="T18" fmla="*/ 0 w 29"/>
                <a:gd name="T19" fmla="*/ 0 h 16"/>
                <a:gd name="T20" fmla="*/ 29 w 29"/>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9" h="16">
                  <a:moveTo>
                    <a:pt x="0" y="0"/>
                  </a:moveTo>
                  <a:lnTo>
                    <a:pt x="29" y="4"/>
                  </a:lnTo>
                  <a:lnTo>
                    <a:pt x="14" y="16"/>
                  </a:lnTo>
                  <a:lnTo>
                    <a:pt x="0" y="0"/>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6" name="Freeform 50"/>
            <p:cNvSpPr>
              <a:spLocks/>
            </p:cNvSpPr>
            <p:nvPr/>
          </p:nvSpPr>
          <p:spPr bwMode="gray">
            <a:xfrm>
              <a:off x="1410892" y="3898236"/>
              <a:ext cx="615502" cy="243363"/>
            </a:xfrm>
            <a:custGeom>
              <a:avLst/>
              <a:gdLst>
                <a:gd name="T0" fmla="*/ 578 w 578"/>
                <a:gd name="T1" fmla="*/ 57 h 211"/>
                <a:gd name="T2" fmla="*/ 508 w 578"/>
                <a:gd name="T3" fmla="*/ 152 h 211"/>
                <a:gd name="T4" fmla="*/ 428 w 578"/>
                <a:gd name="T5" fmla="*/ 179 h 211"/>
                <a:gd name="T6" fmla="*/ 398 w 578"/>
                <a:gd name="T7" fmla="*/ 211 h 211"/>
                <a:gd name="T8" fmla="*/ 261 w 578"/>
                <a:gd name="T9" fmla="*/ 184 h 211"/>
                <a:gd name="T10" fmla="*/ 280 w 578"/>
                <a:gd name="T11" fmla="*/ 156 h 211"/>
                <a:gd name="T12" fmla="*/ 181 w 578"/>
                <a:gd name="T13" fmla="*/ 112 h 211"/>
                <a:gd name="T14" fmla="*/ 109 w 578"/>
                <a:gd name="T15" fmla="*/ 112 h 211"/>
                <a:gd name="T16" fmla="*/ 92 w 578"/>
                <a:gd name="T17" fmla="*/ 156 h 211"/>
                <a:gd name="T18" fmla="*/ 4 w 578"/>
                <a:gd name="T19" fmla="*/ 152 h 211"/>
                <a:gd name="T20" fmla="*/ 23 w 578"/>
                <a:gd name="T21" fmla="*/ 80 h 211"/>
                <a:gd name="T22" fmla="*/ 0 w 578"/>
                <a:gd name="T23" fmla="*/ 38 h 211"/>
                <a:gd name="T24" fmla="*/ 99 w 578"/>
                <a:gd name="T25" fmla="*/ 0 h 211"/>
                <a:gd name="T26" fmla="*/ 181 w 578"/>
                <a:gd name="T27" fmla="*/ 15 h 211"/>
                <a:gd name="T28" fmla="*/ 299 w 578"/>
                <a:gd name="T29" fmla="*/ 72 h 211"/>
                <a:gd name="T30" fmla="*/ 415 w 578"/>
                <a:gd name="T31" fmla="*/ 47 h 211"/>
                <a:gd name="T32" fmla="*/ 424 w 578"/>
                <a:gd name="T33" fmla="*/ 28 h 211"/>
                <a:gd name="T34" fmla="*/ 540 w 578"/>
                <a:gd name="T35" fmla="*/ 66 h 211"/>
                <a:gd name="T36" fmla="*/ 578 w 578"/>
                <a:gd name="T37" fmla="*/ 57 h 211"/>
                <a:gd name="T38" fmla="*/ 578 w 578"/>
                <a:gd name="T39" fmla="*/ 57 h 211"/>
                <a:gd name="T40" fmla="*/ 578 w 578"/>
                <a:gd name="T41" fmla="*/ 57 h 2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78"/>
                <a:gd name="T64" fmla="*/ 0 h 211"/>
                <a:gd name="T65" fmla="*/ 578 w 578"/>
                <a:gd name="T66" fmla="*/ 211 h 21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78" h="211">
                  <a:moveTo>
                    <a:pt x="578" y="57"/>
                  </a:moveTo>
                  <a:lnTo>
                    <a:pt x="508" y="152"/>
                  </a:lnTo>
                  <a:lnTo>
                    <a:pt x="428" y="179"/>
                  </a:lnTo>
                  <a:lnTo>
                    <a:pt x="398" y="211"/>
                  </a:lnTo>
                  <a:lnTo>
                    <a:pt x="261" y="184"/>
                  </a:lnTo>
                  <a:lnTo>
                    <a:pt x="280" y="156"/>
                  </a:lnTo>
                  <a:lnTo>
                    <a:pt x="181" y="112"/>
                  </a:lnTo>
                  <a:lnTo>
                    <a:pt x="109" y="112"/>
                  </a:lnTo>
                  <a:lnTo>
                    <a:pt x="92" y="156"/>
                  </a:lnTo>
                  <a:lnTo>
                    <a:pt x="4" y="152"/>
                  </a:lnTo>
                  <a:lnTo>
                    <a:pt x="23" y="80"/>
                  </a:lnTo>
                  <a:lnTo>
                    <a:pt x="0" y="38"/>
                  </a:lnTo>
                  <a:lnTo>
                    <a:pt x="99" y="0"/>
                  </a:lnTo>
                  <a:lnTo>
                    <a:pt x="181" y="15"/>
                  </a:lnTo>
                  <a:lnTo>
                    <a:pt x="299" y="72"/>
                  </a:lnTo>
                  <a:lnTo>
                    <a:pt x="415" y="47"/>
                  </a:lnTo>
                  <a:lnTo>
                    <a:pt x="424" y="28"/>
                  </a:lnTo>
                  <a:lnTo>
                    <a:pt x="540" y="66"/>
                  </a:lnTo>
                  <a:lnTo>
                    <a:pt x="578" y="57"/>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7" name="Freeform 51"/>
            <p:cNvSpPr>
              <a:spLocks/>
            </p:cNvSpPr>
            <p:nvPr/>
          </p:nvSpPr>
          <p:spPr bwMode="gray">
            <a:xfrm>
              <a:off x="2810145" y="1536448"/>
              <a:ext cx="743288" cy="725456"/>
            </a:xfrm>
            <a:custGeom>
              <a:avLst/>
              <a:gdLst>
                <a:gd name="T0" fmla="*/ 602 w 697"/>
                <a:gd name="T1" fmla="*/ 86 h 626"/>
                <a:gd name="T2" fmla="*/ 513 w 697"/>
                <a:gd name="T3" fmla="*/ 99 h 626"/>
                <a:gd name="T4" fmla="*/ 519 w 697"/>
                <a:gd name="T5" fmla="*/ 25 h 626"/>
                <a:gd name="T6" fmla="*/ 473 w 697"/>
                <a:gd name="T7" fmla="*/ 0 h 626"/>
                <a:gd name="T8" fmla="*/ 384 w 697"/>
                <a:gd name="T9" fmla="*/ 13 h 626"/>
                <a:gd name="T10" fmla="*/ 243 w 697"/>
                <a:gd name="T11" fmla="*/ 95 h 626"/>
                <a:gd name="T12" fmla="*/ 148 w 697"/>
                <a:gd name="T13" fmla="*/ 103 h 626"/>
                <a:gd name="T14" fmla="*/ 129 w 697"/>
                <a:gd name="T15" fmla="*/ 148 h 626"/>
                <a:gd name="T16" fmla="*/ 30 w 697"/>
                <a:gd name="T17" fmla="*/ 209 h 626"/>
                <a:gd name="T18" fmla="*/ 0 w 697"/>
                <a:gd name="T19" fmla="*/ 339 h 626"/>
                <a:gd name="T20" fmla="*/ 38 w 697"/>
                <a:gd name="T21" fmla="*/ 512 h 626"/>
                <a:gd name="T22" fmla="*/ 11 w 697"/>
                <a:gd name="T23" fmla="*/ 578 h 626"/>
                <a:gd name="T24" fmla="*/ 95 w 697"/>
                <a:gd name="T25" fmla="*/ 578 h 626"/>
                <a:gd name="T26" fmla="*/ 127 w 697"/>
                <a:gd name="T27" fmla="*/ 607 h 626"/>
                <a:gd name="T28" fmla="*/ 178 w 697"/>
                <a:gd name="T29" fmla="*/ 559 h 626"/>
                <a:gd name="T30" fmla="*/ 230 w 697"/>
                <a:gd name="T31" fmla="*/ 589 h 626"/>
                <a:gd name="T32" fmla="*/ 283 w 697"/>
                <a:gd name="T33" fmla="*/ 626 h 626"/>
                <a:gd name="T34" fmla="*/ 369 w 697"/>
                <a:gd name="T35" fmla="*/ 612 h 626"/>
                <a:gd name="T36" fmla="*/ 397 w 697"/>
                <a:gd name="T37" fmla="*/ 588 h 626"/>
                <a:gd name="T38" fmla="*/ 450 w 697"/>
                <a:gd name="T39" fmla="*/ 610 h 626"/>
                <a:gd name="T40" fmla="*/ 543 w 697"/>
                <a:gd name="T41" fmla="*/ 580 h 626"/>
                <a:gd name="T42" fmla="*/ 576 w 697"/>
                <a:gd name="T43" fmla="*/ 502 h 626"/>
                <a:gd name="T44" fmla="*/ 610 w 697"/>
                <a:gd name="T45" fmla="*/ 502 h 626"/>
                <a:gd name="T46" fmla="*/ 644 w 697"/>
                <a:gd name="T47" fmla="*/ 523 h 626"/>
                <a:gd name="T48" fmla="*/ 697 w 697"/>
                <a:gd name="T49" fmla="*/ 460 h 626"/>
                <a:gd name="T50" fmla="*/ 610 w 697"/>
                <a:gd name="T51" fmla="*/ 337 h 626"/>
                <a:gd name="T52" fmla="*/ 585 w 697"/>
                <a:gd name="T53" fmla="*/ 308 h 626"/>
                <a:gd name="T54" fmla="*/ 524 w 697"/>
                <a:gd name="T55" fmla="*/ 304 h 626"/>
                <a:gd name="T56" fmla="*/ 521 w 697"/>
                <a:gd name="T57" fmla="*/ 245 h 626"/>
                <a:gd name="T58" fmla="*/ 587 w 697"/>
                <a:gd name="T59" fmla="*/ 152 h 626"/>
                <a:gd name="T60" fmla="*/ 602 w 697"/>
                <a:gd name="T61" fmla="*/ 86 h 626"/>
                <a:gd name="T62" fmla="*/ 602 w 697"/>
                <a:gd name="T63" fmla="*/ 86 h 626"/>
                <a:gd name="T64" fmla="*/ 602 w 697"/>
                <a:gd name="T65" fmla="*/ 86 h 6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97"/>
                <a:gd name="T100" fmla="*/ 0 h 626"/>
                <a:gd name="T101" fmla="*/ 697 w 697"/>
                <a:gd name="T102" fmla="*/ 626 h 6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97" h="626">
                  <a:moveTo>
                    <a:pt x="602" y="86"/>
                  </a:moveTo>
                  <a:lnTo>
                    <a:pt x="513" y="99"/>
                  </a:lnTo>
                  <a:lnTo>
                    <a:pt x="519" y="25"/>
                  </a:lnTo>
                  <a:lnTo>
                    <a:pt x="473" y="0"/>
                  </a:lnTo>
                  <a:lnTo>
                    <a:pt x="384" y="13"/>
                  </a:lnTo>
                  <a:lnTo>
                    <a:pt x="243" y="95"/>
                  </a:lnTo>
                  <a:lnTo>
                    <a:pt x="148" y="103"/>
                  </a:lnTo>
                  <a:lnTo>
                    <a:pt x="129" y="148"/>
                  </a:lnTo>
                  <a:lnTo>
                    <a:pt x="30" y="209"/>
                  </a:lnTo>
                  <a:lnTo>
                    <a:pt x="0" y="339"/>
                  </a:lnTo>
                  <a:lnTo>
                    <a:pt x="38" y="512"/>
                  </a:lnTo>
                  <a:lnTo>
                    <a:pt x="11" y="578"/>
                  </a:lnTo>
                  <a:lnTo>
                    <a:pt x="95" y="578"/>
                  </a:lnTo>
                  <a:lnTo>
                    <a:pt x="127" y="607"/>
                  </a:lnTo>
                  <a:lnTo>
                    <a:pt x="178" y="559"/>
                  </a:lnTo>
                  <a:lnTo>
                    <a:pt x="230" y="589"/>
                  </a:lnTo>
                  <a:lnTo>
                    <a:pt x="283" y="626"/>
                  </a:lnTo>
                  <a:lnTo>
                    <a:pt x="369" y="612"/>
                  </a:lnTo>
                  <a:lnTo>
                    <a:pt x="397" y="588"/>
                  </a:lnTo>
                  <a:lnTo>
                    <a:pt x="450" y="610"/>
                  </a:lnTo>
                  <a:lnTo>
                    <a:pt x="543" y="580"/>
                  </a:lnTo>
                  <a:lnTo>
                    <a:pt x="576" y="502"/>
                  </a:lnTo>
                  <a:lnTo>
                    <a:pt x="610" y="502"/>
                  </a:lnTo>
                  <a:lnTo>
                    <a:pt x="644" y="523"/>
                  </a:lnTo>
                  <a:lnTo>
                    <a:pt x="697" y="460"/>
                  </a:lnTo>
                  <a:lnTo>
                    <a:pt x="610" y="337"/>
                  </a:lnTo>
                  <a:lnTo>
                    <a:pt x="585" y="308"/>
                  </a:lnTo>
                  <a:lnTo>
                    <a:pt x="524" y="304"/>
                  </a:lnTo>
                  <a:lnTo>
                    <a:pt x="521" y="245"/>
                  </a:lnTo>
                  <a:lnTo>
                    <a:pt x="587" y="152"/>
                  </a:lnTo>
                  <a:lnTo>
                    <a:pt x="602" y="86"/>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8" name="Freeform 52"/>
            <p:cNvSpPr>
              <a:spLocks/>
            </p:cNvSpPr>
            <p:nvPr/>
          </p:nvSpPr>
          <p:spPr bwMode="gray">
            <a:xfrm>
              <a:off x="3361754" y="1466915"/>
              <a:ext cx="717731" cy="778765"/>
            </a:xfrm>
            <a:custGeom>
              <a:avLst/>
              <a:gdLst>
                <a:gd name="T0" fmla="*/ 79 w 672"/>
                <a:gd name="T1" fmla="*/ 59 h 673"/>
                <a:gd name="T2" fmla="*/ 81 w 672"/>
                <a:gd name="T3" fmla="*/ 147 h 673"/>
                <a:gd name="T4" fmla="*/ 68 w 672"/>
                <a:gd name="T5" fmla="*/ 213 h 673"/>
                <a:gd name="T6" fmla="*/ 0 w 672"/>
                <a:gd name="T7" fmla="*/ 310 h 673"/>
                <a:gd name="T8" fmla="*/ 5 w 672"/>
                <a:gd name="T9" fmla="*/ 365 h 673"/>
                <a:gd name="T10" fmla="*/ 66 w 672"/>
                <a:gd name="T11" fmla="*/ 371 h 673"/>
                <a:gd name="T12" fmla="*/ 91 w 672"/>
                <a:gd name="T13" fmla="*/ 398 h 673"/>
                <a:gd name="T14" fmla="*/ 131 w 672"/>
                <a:gd name="T15" fmla="*/ 394 h 673"/>
                <a:gd name="T16" fmla="*/ 144 w 672"/>
                <a:gd name="T17" fmla="*/ 320 h 673"/>
                <a:gd name="T18" fmla="*/ 186 w 672"/>
                <a:gd name="T19" fmla="*/ 299 h 673"/>
                <a:gd name="T20" fmla="*/ 211 w 672"/>
                <a:gd name="T21" fmla="*/ 299 h 673"/>
                <a:gd name="T22" fmla="*/ 317 w 672"/>
                <a:gd name="T23" fmla="*/ 382 h 673"/>
                <a:gd name="T24" fmla="*/ 363 w 672"/>
                <a:gd name="T25" fmla="*/ 362 h 673"/>
                <a:gd name="T26" fmla="*/ 557 w 672"/>
                <a:gd name="T27" fmla="*/ 569 h 673"/>
                <a:gd name="T28" fmla="*/ 557 w 672"/>
                <a:gd name="T29" fmla="*/ 618 h 673"/>
                <a:gd name="T30" fmla="*/ 577 w 672"/>
                <a:gd name="T31" fmla="*/ 620 h 673"/>
                <a:gd name="T32" fmla="*/ 581 w 672"/>
                <a:gd name="T33" fmla="*/ 673 h 673"/>
                <a:gd name="T34" fmla="*/ 671 w 672"/>
                <a:gd name="T35" fmla="*/ 510 h 673"/>
                <a:gd name="T36" fmla="*/ 672 w 672"/>
                <a:gd name="T37" fmla="*/ 377 h 673"/>
                <a:gd name="T38" fmla="*/ 655 w 672"/>
                <a:gd name="T39" fmla="*/ 335 h 673"/>
                <a:gd name="T40" fmla="*/ 669 w 672"/>
                <a:gd name="T41" fmla="*/ 242 h 673"/>
                <a:gd name="T42" fmla="*/ 572 w 672"/>
                <a:gd name="T43" fmla="*/ 219 h 673"/>
                <a:gd name="T44" fmla="*/ 583 w 672"/>
                <a:gd name="T45" fmla="*/ 168 h 673"/>
                <a:gd name="T46" fmla="*/ 467 w 672"/>
                <a:gd name="T47" fmla="*/ 141 h 673"/>
                <a:gd name="T48" fmla="*/ 465 w 672"/>
                <a:gd name="T49" fmla="*/ 46 h 673"/>
                <a:gd name="T50" fmla="*/ 349 w 672"/>
                <a:gd name="T51" fmla="*/ 0 h 673"/>
                <a:gd name="T52" fmla="*/ 178 w 672"/>
                <a:gd name="T53" fmla="*/ 54 h 673"/>
                <a:gd name="T54" fmla="*/ 79 w 672"/>
                <a:gd name="T55" fmla="*/ 59 h 673"/>
                <a:gd name="T56" fmla="*/ 79 w 672"/>
                <a:gd name="T57" fmla="*/ 59 h 673"/>
                <a:gd name="T58" fmla="*/ 79 w 672"/>
                <a:gd name="T59" fmla="*/ 59 h 67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72"/>
                <a:gd name="T91" fmla="*/ 0 h 673"/>
                <a:gd name="T92" fmla="*/ 672 w 672"/>
                <a:gd name="T93" fmla="*/ 673 h 67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72" h="673">
                  <a:moveTo>
                    <a:pt x="79" y="59"/>
                  </a:moveTo>
                  <a:lnTo>
                    <a:pt x="81" y="147"/>
                  </a:lnTo>
                  <a:lnTo>
                    <a:pt x="68" y="213"/>
                  </a:lnTo>
                  <a:lnTo>
                    <a:pt x="0" y="310"/>
                  </a:lnTo>
                  <a:lnTo>
                    <a:pt x="5" y="365"/>
                  </a:lnTo>
                  <a:lnTo>
                    <a:pt x="66" y="371"/>
                  </a:lnTo>
                  <a:lnTo>
                    <a:pt x="91" y="398"/>
                  </a:lnTo>
                  <a:lnTo>
                    <a:pt x="131" y="394"/>
                  </a:lnTo>
                  <a:lnTo>
                    <a:pt x="144" y="320"/>
                  </a:lnTo>
                  <a:lnTo>
                    <a:pt x="186" y="299"/>
                  </a:lnTo>
                  <a:lnTo>
                    <a:pt x="211" y="299"/>
                  </a:lnTo>
                  <a:lnTo>
                    <a:pt x="317" y="382"/>
                  </a:lnTo>
                  <a:lnTo>
                    <a:pt x="363" y="362"/>
                  </a:lnTo>
                  <a:lnTo>
                    <a:pt x="557" y="569"/>
                  </a:lnTo>
                  <a:lnTo>
                    <a:pt x="557" y="618"/>
                  </a:lnTo>
                  <a:lnTo>
                    <a:pt x="577" y="620"/>
                  </a:lnTo>
                  <a:lnTo>
                    <a:pt x="581" y="673"/>
                  </a:lnTo>
                  <a:lnTo>
                    <a:pt x="671" y="510"/>
                  </a:lnTo>
                  <a:lnTo>
                    <a:pt x="672" y="377"/>
                  </a:lnTo>
                  <a:lnTo>
                    <a:pt x="655" y="335"/>
                  </a:lnTo>
                  <a:lnTo>
                    <a:pt x="669" y="242"/>
                  </a:lnTo>
                  <a:lnTo>
                    <a:pt x="572" y="219"/>
                  </a:lnTo>
                  <a:lnTo>
                    <a:pt x="583" y="168"/>
                  </a:lnTo>
                  <a:lnTo>
                    <a:pt x="467" y="141"/>
                  </a:lnTo>
                  <a:lnTo>
                    <a:pt x="465" y="46"/>
                  </a:lnTo>
                  <a:lnTo>
                    <a:pt x="349" y="0"/>
                  </a:lnTo>
                  <a:lnTo>
                    <a:pt x="178" y="54"/>
                  </a:lnTo>
                  <a:lnTo>
                    <a:pt x="79" y="59"/>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9" name="Freeform 53"/>
            <p:cNvSpPr>
              <a:spLocks/>
            </p:cNvSpPr>
            <p:nvPr/>
          </p:nvSpPr>
          <p:spPr bwMode="gray">
            <a:xfrm>
              <a:off x="3348976" y="1809942"/>
              <a:ext cx="630410" cy="686055"/>
            </a:xfrm>
            <a:custGeom>
              <a:avLst/>
              <a:gdLst>
                <a:gd name="T0" fmla="*/ 225 w 593"/>
                <a:gd name="T1" fmla="*/ 0 h 593"/>
                <a:gd name="T2" fmla="*/ 200 w 593"/>
                <a:gd name="T3" fmla="*/ 0 h 593"/>
                <a:gd name="T4" fmla="*/ 156 w 593"/>
                <a:gd name="T5" fmla="*/ 21 h 593"/>
                <a:gd name="T6" fmla="*/ 147 w 593"/>
                <a:gd name="T7" fmla="*/ 97 h 593"/>
                <a:gd name="T8" fmla="*/ 103 w 593"/>
                <a:gd name="T9" fmla="*/ 101 h 593"/>
                <a:gd name="T10" fmla="*/ 192 w 593"/>
                <a:gd name="T11" fmla="*/ 224 h 593"/>
                <a:gd name="T12" fmla="*/ 139 w 593"/>
                <a:gd name="T13" fmla="*/ 287 h 593"/>
                <a:gd name="T14" fmla="*/ 107 w 593"/>
                <a:gd name="T15" fmla="*/ 264 h 593"/>
                <a:gd name="T16" fmla="*/ 71 w 593"/>
                <a:gd name="T17" fmla="*/ 264 h 593"/>
                <a:gd name="T18" fmla="*/ 38 w 593"/>
                <a:gd name="T19" fmla="*/ 344 h 593"/>
                <a:gd name="T20" fmla="*/ 0 w 593"/>
                <a:gd name="T21" fmla="*/ 357 h 593"/>
                <a:gd name="T22" fmla="*/ 52 w 593"/>
                <a:gd name="T23" fmla="*/ 393 h 593"/>
                <a:gd name="T24" fmla="*/ 0 w 593"/>
                <a:gd name="T25" fmla="*/ 462 h 593"/>
                <a:gd name="T26" fmla="*/ 17 w 593"/>
                <a:gd name="T27" fmla="*/ 519 h 593"/>
                <a:gd name="T28" fmla="*/ 131 w 593"/>
                <a:gd name="T29" fmla="*/ 549 h 593"/>
                <a:gd name="T30" fmla="*/ 149 w 593"/>
                <a:gd name="T31" fmla="*/ 578 h 593"/>
                <a:gd name="T32" fmla="*/ 249 w 593"/>
                <a:gd name="T33" fmla="*/ 593 h 593"/>
                <a:gd name="T34" fmla="*/ 280 w 593"/>
                <a:gd name="T35" fmla="*/ 544 h 593"/>
                <a:gd name="T36" fmla="*/ 325 w 593"/>
                <a:gd name="T37" fmla="*/ 538 h 593"/>
                <a:gd name="T38" fmla="*/ 388 w 593"/>
                <a:gd name="T39" fmla="*/ 561 h 593"/>
                <a:gd name="T40" fmla="*/ 417 w 593"/>
                <a:gd name="T41" fmla="*/ 542 h 593"/>
                <a:gd name="T42" fmla="*/ 538 w 593"/>
                <a:gd name="T43" fmla="*/ 536 h 593"/>
                <a:gd name="T44" fmla="*/ 582 w 593"/>
                <a:gd name="T45" fmla="*/ 568 h 593"/>
                <a:gd name="T46" fmla="*/ 593 w 593"/>
                <a:gd name="T47" fmla="*/ 371 h 593"/>
                <a:gd name="T48" fmla="*/ 593 w 593"/>
                <a:gd name="T49" fmla="*/ 323 h 593"/>
                <a:gd name="T50" fmla="*/ 571 w 593"/>
                <a:gd name="T51" fmla="*/ 319 h 593"/>
                <a:gd name="T52" fmla="*/ 571 w 593"/>
                <a:gd name="T53" fmla="*/ 270 h 593"/>
                <a:gd name="T54" fmla="*/ 379 w 593"/>
                <a:gd name="T55" fmla="*/ 65 h 593"/>
                <a:gd name="T56" fmla="*/ 329 w 593"/>
                <a:gd name="T57" fmla="*/ 85 h 593"/>
                <a:gd name="T58" fmla="*/ 225 w 593"/>
                <a:gd name="T59" fmla="*/ 0 h 593"/>
                <a:gd name="T60" fmla="*/ 225 w 593"/>
                <a:gd name="T61" fmla="*/ 0 h 593"/>
                <a:gd name="T62" fmla="*/ 225 w 593"/>
                <a:gd name="T63" fmla="*/ 0 h 59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93"/>
                <a:gd name="T97" fmla="*/ 0 h 593"/>
                <a:gd name="T98" fmla="*/ 593 w 593"/>
                <a:gd name="T99" fmla="*/ 593 h 59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93" h="593">
                  <a:moveTo>
                    <a:pt x="225" y="0"/>
                  </a:moveTo>
                  <a:lnTo>
                    <a:pt x="200" y="0"/>
                  </a:lnTo>
                  <a:lnTo>
                    <a:pt x="156" y="21"/>
                  </a:lnTo>
                  <a:lnTo>
                    <a:pt x="147" y="97"/>
                  </a:lnTo>
                  <a:lnTo>
                    <a:pt x="103" y="101"/>
                  </a:lnTo>
                  <a:lnTo>
                    <a:pt x="192" y="224"/>
                  </a:lnTo>
                  <a:lnTo>
                    <a:pt x="139" y="287"/>
                  </a:lnTo>
                  <a:lnTo>
                    <a:pt x="107" y="264"/>
                  </a:lnTo>
                  <a:lnTo>
                    <a:pt x="71" y="264"/>
                  </a:lnTo>
                  <a:lnTo>
                    <a:pt x="38" y="344"/>
                  </a:lnTo>
                  <a:lnTo>
                    <a:pt x="0" y="357"/>
                  </a:lnTo>
                  <a:lnTo>
                    <a:pt x="52" y="393"/>
                  </a:lnTo>
                  <a:lnTo>
                    <a:pt x="0" y="462"/>
                  </a:lnTo>
                  <a:lnTo>
                    <a:pt x="17" y="519"/>
                  </a:lnTo>
                  <a:lnTo>
                    <a:pt x="131" y="549"/>
                  </a:lnTo>
                  <a:lnTo>
                    <a:pt x="149" y="578"/>
                  </a:lnTo>
                  <a:lnTo>
                    <a:pt x="249" y="593"/>
                  </a:lnTo>
                  <a:lnTo>
                    <a:pt x="280" y="544"/>
                  </a:lnTo>
                  <a:lnTo>
                    <a:pt x="325" y="538"/>
                  </a:lnTo>
                  <a:lnTo>
                    <a:pt x="388" y="561"/>
                  </a:lnTo>
                  <a:lnTo>
                    <a:pt x="417" y="542"/>
                  </a:lnTo>
                  <a:lnTo>
                    <a:pt x="538" y="536"/>
                  </a:lnTo>
                  <a:lnTo>
                    <a:pt x="582" y="568"/>
                  </a:lnTo>
                  <a:lnTo>
                    <a:pt x="593" y="371"/>
                  </a:lnTo>
                  <a:lnTo>
                    <a:pt x="593" y="323"/>
                  </a:lnTo>
                  <a:lnTo>
                    <a:pt x="571" y="319"/>
                  </a:lnTo>
                  <a:lnTo>
                    <a:pt x="571" y="270"/>
                  </a:lnTo>
                  <a:lnTo>
                    <a:pt x="379" y="65"/>
                  </a:lnTo>
                  <a:lnTo>
                    <a:pt x="329" y="85"/>
                  </a:lnTo>
                  <a:lnTo>
                    <a:pt x="225" y="0"/>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30" name="Freeform 54"/>
            <p:cNvSpPr>
              <a:spLocks/>
            </p:cNvSpPr>
            <p:nvPr/>
          </p:nvSpPr>
          <p:spPr bwMode="gray">
            <a:xfrm>
              <a:off x="2250019" y="2071848"/>
              <a:ext cx="528181" cy="931736"/>
            </a:xfrm>
            <a:custGeom>
              <a:avLst/>
              <a:gdLst>
                <a:gd name="T0" fmla="*/ 181 w 496"/>
                <a:gd name="T1" fmla="*/ 0 h 804"/>
                <a:gd name="T2" fmla="*/ 145 w 496"/>
                <a:gd name="T3" fmla="*/ 6 h 804"/>
                <a:gd name="T4" fmla="*/ 137 w 496"/>
                <a:gd name="T5" fmla="*/ 101 h 804"/>
                <a:gd name="T6" fmla="*/ 0 w 496"/>
                <a:gd name="T7" fmla="*/ 644 h 804"/>
                <a:gd name="T8" fmla="*/ 40 w 496"/>
                <a:gd name="T9" fmla="*/ 671 h 804"/>
                <a:gd name="T10" fmla="*/ 21 w 496"/>
                <a:gd name="T11" fmla="*/ 747 h 804"/>
                <a:gd name="T12" fmla="*/ 48 w 496"/>
                <a:gd name="T13" fmla="*/ 772 h 804"/>
                <a:gd name="T14" fmla="*/ 150 w 496"/>
                <a:gd name="T15" fmla="*/ 753 h 804"/>
                <a:gd name="T16" fmla="*/ 156 w 496"/>
                <a:gd name="T17" fmla="*/ 762 h 804"/>
                <a:gd name="T18" fmla="*/ 278 w 496"/>
                <a:gd name="T19" fmla="*/ 703 h 804"/>
                <a:gd name="T20" fmla="*/ 371 w 496"/>
                <a:gd name="T21" fmla="*/ 720 h 804"/>
                <a:gd name="T22" fmla="*/ 337 w 496"/>
                <a:gd name="T23" fmla="*/ 768 h 804"/>
                <a:gd name="T24" fmla="*/ 390 w 496"/>
                <a:gd name="T25" fmla="*/ 772 h 804"/>
                <a:gd name="T26" fmla="*/ 409 w 496"/>
                <a:gd name="T27" fmla="*/ 804 h 804"/>
                <a:gd name="T28" fmla="*/ 458 w 496"/>
                <a:gd name="T29" fmla="*/ 795 h 804"/>
                <a:gd name="T30" fmla="*/ 496 w 496"/>
                <a:gd name="T31" fmla="*/ 671 h 804"/>
                <a:gd name="T32" fmla="*/ 415 w 496"/>
                <a:gd name="T33" fmla="*/ 679 h 804"/>
                <a:gd name="T34" fmla="*/ 352 w 496"/>
                <a:gd name="T35" fmla="*/ 584 h 804"/>
                <a:gd name="T36" fmla="*/ 352 w 496"/>
                <a:gd name="T37" fmla="*/ 508 h 804"/>
                <a:gd name="T38" fmla="*/ 390 w 496"/>
                <a:gd name="T39" fmla="*/ 464 h 804"/>
                <a:gd name="T40" fmla="*/ 352 w 496"/>
                <a:gd name="T41" fmla="*/ 424 h 804"/>
                <a:gd name="T42" fmla="*/ 352 w 496"/>
                <a:gd name="T43" fmla="*/ 356 h 804"/>
                <a:gd name="T44" fmla="*/ 418 w 496"/>
                <a:gd name="T45" fmla="*/ 359 h 804"/>
                <a:gd name="T46" fmla="*/ 466 w 496"/>
                <a:gd name="T47" fmla="*/ 325 h 804"/>
                <a:gd name="T48" fmla="*/ 494 w 496"/>
                <a:gd name="T49" fmla="*/ 222 h 804"/>
                <a:gd name="T50" fmla="*/ 399 w 496"/>
                <a:gd name="T51" fmla="*/ 251 h 804"/>
                <a:gd name="T52" fmla="*/ 396 w 496"/>
                <a:gd name="T53" fmla="*/ 126 h 804"/>
                <a:gd name="T54" fmla="*/ 363 w 496"/>
                <a:gd name="T55" fmla="*/ 36 h 804"/>
                <a:gd name="T56" fmla="*/ 312 w 496"/>
                <a:gd name="T57" fmla="*/ 27 h 804"/>
                <a:gd name="T58" fmla="*/ 223 w 496"/>
                <a:gd name="T59" fmla="*/ 82 h 804"/>
                <a:gd name="T60" fmla="*/ 181 w 496"/>
                <a:gd name="T61" fmla="*/ 0 h 804"/>
                <a:gd name="T62" fmla="*/ 181 w 496"/>
                <a:gd name="T63" fmla="*/ 0 h 804"/>
                <a:gd name="T64" fmla="*/ 181 w 496"/>
                <a:gd name="T65" fmla="*/ 0 h 8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6"/>
                <a:gd name="T100" fmla="*/ 0 h 804"/>
                <a:gd name="T101" fmla="*/ 496 w 496"/>
                <a:gd name="T102" fmla="*/ 804 h 8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6" h="804">
                  <a:moveTo>
                    <a:pt x="181" y="0"/>
                  </a:moveTo>
                  <a:lnTo>
                    <a:pt x="145" y="6"/>
                  </a:lnTo>
                  <a:lnTo>
                    <a:pt x="137" y="101"/>
                  </a:lnTo>
                  <a:lnTo>
                    <a:pt x="0" y="644"/>
                  </a:lnTo>
                  <a:lnTo>
                    <a:pt x="40" y="671"/>
                  </a:lnTo>
                  <a:lnTo>
                    <a:pt x="21" y="747"/>
                  </a:lnTo>
                  <a:lnTo>
                    <a:pt x="48" y="772"/>
                  </a:lnTo>
                  <a:lnTo>
                    <a:pt x="150" y="753"/>
                  </a:lnTo>
                  <a:lnTo>
                    <a:pt x="156" y="762"/>
                  </a:lnTo>
                  <a:lnTo>
                    <a:pt x="278" y="703"/>
                  </a:lnTo>
                  <a:lnTo>
                    <a:pt x="371" y="720"/>
                  </a:lnTo>
                  <a:lnTo>
                    <a:pt x="337" y="768"/>
                  </a:lnTo>
                  <a:lnTo>
                    <a:pt x="390" y="772"/>
                  </a:lnTo>
                  <a:lnTo>
                    <a:pt x="409" y="804"/>
                  </a:lnTo>
                  <a:lnTo>
                    <a:pt x="458" y="795"/>
                  </a:lnTo>
                  <a:lnTo>
                    <a:pt x="496" y="671"/>
                  </a:lnTo>
                  <a:lnTo>
                    <a:pt x="415" y="679"/>
                  </a:lnTo>
                  <a:lnTo>
                    <a:pt x="352" y="584"/>
                  </a:lnTo>
                  <a:lnTo>
                    <a:pt x="352" y="508"/>
                  </a:lnTo>
                  <a:lnTo>
                    <a:pt x="390" y="464"/>
                  </a:lnTo>
                  <a:lnTo>
                    <a:pt x="352" y="424"/>
                  </a:lnTo>
                  <a:lnTo>
                    <a:pt x="352" y="356"/>
                  </a:lnTo>
                  <a:lnTo>
                    <a:pt x="418" y="359"/>
                  </a:lnTo>
                  <a:lnTo>
                    <a:pt x="466" y="325"/>
                  </a:lnTo>
                  <a:lnTo>
                    <a:pt x="494" y="222"/>
                  </a:lnTo>
                  <a:lnTo>
                    <a:pt x="399" y="251"/>
                  </a:lnTo>
                  <a:lnTo>
                    <a:pt x="396" y="126"/>
                  </a:lnTo>
                  <a:lnTo>
                    <a:pt x="363" y="36"/>
                  </a:lnTo>
                  <a:lnTo>
                    <a:pt x="312" y="27"/>
                  </a:lnTo>
                  <a:lnTo>
                    <a:pt x="223" y="82"/>
                  </a:lnTo>
                  <a:lnTo>
                    <a:pt x="181" y="0"/>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31" name="Freeform 55"/>
            <p:cNvSpPr>
              <a:spLocks/>
            </p:cNvSpPr>
            <p:nvPr/>
          </p:nvSpPr>
          <p:spPr bwMode="gray">
            <a:xfrm>
              <a:off x="2622726" y="2220184"/>
              <a:ext cx="658097" cy="686055"/>
            </a:xfrm>
            <a:custGeom>
              <a:avLst/>
              <a:gdLst>
                <a:gd name="T0" fmla="*/ 405 w 618"/>
                <a:gd name="T1" fmla="*/ 0 h 593"/>
                <a:gd name="T2" fmla="*/ 317 w 618"/>
                <a:gd name="T3" fmla="*/ 65 h 593"/>
                <a:gd name="T4" fmla="*/ 329 w 618"/>
                <a:gd name="T5" fmla="*/ 175 h 593"/>
                <a:gd name="T6" fmla="*/ 365 w 618"/>
                <a:gd name="T7" fmla="*/ 221 h 593"/>
                <a:gd name="T8" fmla="*/ 291 w 618"/>
                <a:gd name="T9" fmla="*/ 223 h 593"/>
                <a:gd name="T10" fmla="*/ 226 w 618"/>
                <a:gd name="T11" fmla="*/ 282 h 593"/>
                <a:gd name="T12" fmla="*/ 161 w 618"/>
                <a:gd name="T13" fmla="*/ 170 h 593"/>
                <a:gd name="T14" fmla="*/ 66 w 618"/>
                <a:gd name="T15" fmla="*/ 232 h 593"/>
                <a:gd name="T16" fmla="*/ 0 w 618"/>
                <a:gd name="T17" fmla="*/ 227 h 593"/>
                <a:gd name="T18" fmla="*/ 0 w 618"/>
                <a:gd name="T19" fmla="*/ 297 h 593"/>
                <a:gd name="T20" fmla="*/ 38 w 618"/>
                <a:gd name="T21" fmla="*/ 337 h 593"/>
                <a:gd name="T22" fmla="*/ 0 w 618"/>
                <a:gd name="T23" fmla="*/ 381 h 593"/>
                <a:gd name="T24" fmla="*/ 0 w 618"/>
                <a:gd name="T25" fmla="*/ 460 h 593"/>
                <a:gd name="T26" fmla="*/ 63 w 618"/>
                <a:gd name="T27" fmla="*/ 552 h 593"/>
                <a:gd name="T28" fmla="*/ 142 w 618"/>
                <a:gd name="T29" fmla="*/ 546 h 593"/>
                <a:gd name="T30" fmla="*/ 169 w 618"/>
                <a:gd name="T31" fmla="*/ 582 h 593"/>
                <a:gd name="T32" fmla="*/ 232 w 618"/>
                <a:gd name="T33" fmla="*/ 593 h 593"/>
                <a:gd name="T34" fmla="*/ 310 w 618"/>
                <a:gd name="T35" fmla="*/ 571 h 593"/>
                <a:gd name="T36" fmla="*/ 310 w 618"/>
                <a:gd name="T37" fmla="*/ 514 h 593"/>
                <a:gd name="T38" fmla="*/ 454 w 618"/>
                <a:gd name="T39" fmla="*/ 415 h 593"/>
                <a:gd name="T40" fmla="*/ 496 w 618"/>
                <a:gd name="T41" fmla="*/ 344 h 593"/>
                <a:gd name="T42" fmla="*/ 494 w 618"/>
                <a:gd name="T43" fmla="*/ 295 h 593"/>
                <a:gd name="T44" fmla="*/ 429 w 618"/>
                <a:gd name="T45" fmla="*/ 238 h 593"/>
                <a:gd name="T46" fmla="*/ 566 w 618"/>
                <a:gd name="T47" fmla="*/ 238 h 593"/>
                <a:gd name="T48" fmla="*/ 618 w 618"/>
                <a:gd name="T49" fmla="*/ 225 h 593"/>
                <a:gd name="T50" fmla="*/ 568 w 618"/>
                <a:gd name="T51" fmla="*/ 175 h 593"/>
                <a:gd name="T52" fmla="*/ 566 w 618"/>
                <a:gd name="T53" fmla="*/ 141 h 593"/>
                <a:gd name="T54" fmla="*/ 604 w 618"/>
                <a:gd name="T55" fmla="*/ 135 h 593"/>
                <a:gd name="T56" fmla="*/ 604 w 618"/>
                <a:gd name="T57" fmla="*/ 94 h 593"/>
                <a:gd name="T58" fmla="*/ 458 w 618"/>
                <a:gd name="T59" fmla="*/ 35 h 593"/>
                <a:gd name="T60" fmla="*/ 405 w 618"/>
                <a:gd name="T61" fmla="*/ 0 h 593"/>
                <a:gd name="T62" fmla="*/ 405 w 618"/>
                <a:gd name="T63" fmla="*/ 0 h 593"/>
                <a:gd name="T64" fmla="*/ 405 w 618"/>
                <a:gd name="T65" fmla="*/ 0 h 5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18"/>
                <a:gd name="T100" fmla="*/ 0 h 593"/>
                <a:gd name="T101" fmla="*/ 618 w 618"/>
                <a:gd name="T102" fmla="*/ 593 h 59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18" h="593">
                  <a:moveTo>
                    <a:pt x="405" y="0"/>
                  </a:moveTo>
                  <a:lnTo>
                    <a:pt x="317" y="65"/>
                  </a:lnTo>
                  <a:lnTo>
                    <a:pt x="329" y="175"/>
                  </a:lnTo>
                  <a:lnTo>
                    <a:pt x="365" y="221"/>
                  </a:lnTo>
                  <a:lnTo>
                    <a:pt x="291" y="223"/>
                  </a:lnTo>
                  <a:lnTo>
                    <a:pt x="226" y="282"/>
                  </a:lnTo>
                  <a:lnTo>
                    <a:pt x="161" y="170"/>
                  </a:lnTo>
                  <a:lnTo>
                    <a:pt x="66" y="232"/>
                  </a:lnTo>
                  <a:lnTo>
                    <a:pt x="0" y="227"/>
                  </a:lnTo>
                  <a:lnTo>
                    <a:pt x="0" y="297"/>
                  </a:lnTo>
                  <a:lnTo>
                    <a:pt x="38" y="337"/>
                  </a:lnTo>
                  <a:lnTo>
                    <a:pt x="0" y="381"/>
                  </a:lnTo>
                  <a:lnTo>
                    <a:pt x="0" y="460"/>
                  </a:lnTo>
                  <a:lnTo>
                    <a:pt x="63" y="552"/>
                  </a:lnTo>
                  <a:lnTo>
                    <a:pt x="142" y="546"/>
                  </a:lnTo>
                  <a:lnTo>
                    <a:pt x="169" y="582"/>
                  </a:lnTo>
                  <a:lnTo>
                    <a:pt x="232" y="593"/>
                  </a:lnTo>
                  <a:lnTo>
                    <a:pt x="310" y="571"/>
                  </a:lnTo>
                  <a:lnTo>
                    <a:pt x="310" y="514"/>
                  </a:lnTo>
                  <a:lnTo>
                    <a:pt x="454" y="415"/>
                  </a:lnTo>
                  <a:lnTo>
                    <a:pt x="496" y="344"/>
                  </a:lnTo>
                  <a:lnTo>
                    <a:pt x="494" y="295"/>
                  </a:lnTo>
                  <a:lnTo>
                    <a:pt x="429" y="238"/>
                  </a:lnTo>
                  <a:lnTo>
                    <a:pt x="566" y="238"/>
                  </a:lnTo>
                  <a:lnTo>
                    <a:pt x="618" y="225"/>
                  </a:lnTo>
                  <a:lnTo>
                    <a:pt x="568" y="175"/>
                  </a:lnTo>
                  <a:lnTo>
                    <a:pt x="566" y="141"/>
                  </a:lnTo>
                  <a:lnTo>
                    <a:pt x="604" y="135"/>
                  </a:lnTo>
                  <a:lnTo>
                    <a:pt x="604" y="94"/>
                  </a:lnTo>
                  <a:lnTo>
                    <a:pt x="458" y="35"/>
                  </a:lnTo>
                  <a:lnTo>
                    <a:pt x="405" y="0"/>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32" name="Freeform 56"/>
            <p:cNvSpPr>
              <a:spLocks/>
            </p:cNvSpPr>
            <p:nvPr/>
          </p:nvSpPr>
          <p:spPr bwMode="gray">
            <a:xfrm>
              <a:off x="3080626" y="2217867"/>
              <a:ext cx="898760" cy="862204"/>
            </a:xfrm>
            <a:custGeom>
              <a:avLst/>
              <a:gdLst>
                <a:gd name="T0" fmla="*/ 31 w 844"/>
                <a:gd name="T1" fmla="*/ 38 h 745"/>
                <a:gd name="T2" fmla="*/ 116 w 844"/>
                <a:gd name="T3" fmla="*/ 24 h 745"/>
                <a:gd name="T4" fmla="*/ 139 w 844"/>
                <a:gd name="T5" fmla="*/ 0 h 745"/>
                <a:gd name="T6" fmla="*/ 198 w 844"/>
                <a:gd name="T7" fmla="*/ 19 h 745"/>
                <a:gd name="T8" fmla="*/ 255 w 844"/>
                <a:gd name="T9" fmla="*/ 5 h 745"/>
                <a:gd name="T10" fmla="*/ 303 w 844"/>
                <a:gd name="T11" fmla="*/ 41 h 745"/>
                <a:gd name="T12" fmla="*/ 251 w 844"/>
                <a:gd name="T13" fmla="*/ 108 h 745"/>
                <a:gd name="T14" fmla="*/ 270 w 844"/>
                <a:gd name="T15" fmla="*/ 171 h 745"/>
                <a:gd name="T16" fmla="*/ 384 w 844"/>
                <a:gd name="T17" fmla="*/ 199 h 745"/>
                <a:gd name="T18" fmla="*/ 400 w 844"/>
                <a:gd name="T19" fmla="*/ 228 h 745"/>
                <a:gd name="T20" fmla="*/ 500 w 844"/>
                <a:gd name="T21" fmla="*/ 239 h 745"/>
                <a:gd name="T22" fmla="*/ 531 w 844"/>
                <a:gd name="T23" fmla="*/ 190 h 745"/>
                <a:gd name="T24" fmla="*/ 576 w 844"/>
                <a:gd name="T25" fmla="*/ 186 h 745"/>
                <a:gd name="T26" fmla="*/ 641 w 844"/>
                <a:gd name="T27" fmla="*/ 209 h 745"/>
                <a:gd name="T28" fmla="*/ 618 w 844"/>
                <a:gd name="T29" fmla="*/ 230 h 745"/>
                <a:gd name="T30" fmla="*/ 662 w 844"/>
                <a:gd name="T31" fmla="*/ 273 h 745"/>
                <a:gd name="T32" fmla="*/ 588 w 844"/>
                <a:gd name="T33" fmla="*/ 279 h 745"/>
                <a:gd name="T34" fmla="*/ 630 w 844"/>
                <a:gd name="T35" fmla="*/ 326 h 745"/>
                <a:gd name="T36" fmla="*/ 603 w 844"/>
                <a:gd name="T37" fmla="*/ 351 h 745"/>
                <a:gd name="T38" fmla="*/ 708 w 844"/>
                <a:gd name="T39" fmla="*/ 368 h 745"/>
                <a:gd name="T40" fmla="*/ 753 w 844"/>
                <a:gd name="T41" fmla="*/ 408 h 745"/>
                <a:gd name="T42" fmla="*/ 814 w 844"/>
                <a:gd name="T43" fmla="*/ 368 h 745"/>
                <a:gd name="T44" fmla="*/ 844 w 844"/>
                <a:gd name="T45" fmla="*/ 471 h 745"/>
                <a:gd name="T46" fmla="*/ 808 w 844"/>
                <a:gd name="T47" fmla="*/ 577 h 745"/>
                <a:gd name="T48" fmla="*/ 839 w 844"/>
                <a:gd name="T49" fmla="*/ 619 h 745"/>
                <a:gd name="T50" fmla="*/ 789 w 844"/>
                <a:gd name="T51" fmla="*/ 627 h 745"/>
                <a:gd name="T52" fmla="*/ 780 w 844"/>
                <a:gd name="T53" fmla="*/ 667 h 745"/>
                <a:gd name="T54" fmla="*/ 717 w 844"/>
                <a:gd name="T55" fmla="*/ 731 h 745"/>
                <a:gd name="T56" fmla="*/ 671 w 844"/>
                <a:gd name="T57" fmla="*/ 722 h 745"/>
                <a:gd name="T58" fmla="*/ 658 w 844"/>
                <a:gd name="T59" fmla="*/ 745 h 745"/>
                <a:gd name="T60" fmla="*/ 633 w 844"/>
                <a:gd name="T61" fmla="*/ 737 h 745"/>
                <a:gd name="T62" fmla="*/ 611 w 844"/>
                <a:gd name="T63" fmla="*/ 686 h 745"/>
                <a:gd name="T64" fmla="*/ 514 w 844"/>
                <a:gd name="T65" fmla="*/ 688 h 745"/>
                <a:gd name="T66" fmla="*/ 472 w 844"/>
                <a:gd name="T67" fmla="*/ 653 h 745"/>
                <a:gd name="T68" fmla="*/ 487 w 844"/>
                <a:gd name="T69" fmla="*/ 615 h 745"/>
                <a:gd name="T70" fmla="*/ 449 w 844"/>
                <a:gd name="T71" fmla="*/ 615 h 745"/>
                <a:gd name="T72" fmla="*/ 396 w 844"/>
                <a:gd name="T73" fmla="*/ 634 h 745"/>
                <a:gd name="T74" fmla="*/ 320 w 844"/>
                <a:gd name="T75" fmla="*/ 615 h 745"/>
                <a:gd name="T76" fmla="*/ 259 w 844"/>
                <a:gd name="T77" fmla="*/ 625 h 745"/>
                <a:gd name="T78" fmla="*/ 259 w 844"/>
                <a:gd name="T79" fmla="*/ 587 h 745"/>
                <a:gd name="T80" fmla="*/ 213 w 844"/>
                <a:gd name="T81" fmla="*/ 541 h 745"/>
                <a:gd name="T82" fmla="*/ 213 w 844"/>
                <a:gd name="T83" fmla="*/ 498 h 745"/>
                <a:gd name="T84" fmla="*/ 249 w 844"/>
                <a:gd name="T85" fmla="*/ 446 h 745"/>
                <a:gd name="T86" fmla="*/ 238 w 844"/>
                <a:gd name="T87" fmla="*/ 408 h 745"/>
                <a:gd name="T88" fmla="*/ 156 w 844"/>
                <a:gd name="T89" fmla="*/ 353 h 745"/>
                <a:gd name="T90" fmla="*/ 115 w 844"/>
                <a:gd name="T91" fmla="*/ 363 h 745"/>
                <a:gd name="T92" fmla="*/ 65 w 844"/>
                <a:gd name="T93" fmla="*/ 340 h 745"/>
                <a:gd name="T94" fmla="*/ 65 w 844"/>
                <a:gd name="T95" fmla="*/ 296 h 745"/>
                <a:gd name="T96" fmla="*/ 0 w 844"/>
                <a:gd name="T97" fmla="*/ 239 h 745"/>
                <a:gd name="T98" fmla="*/ 139 w 844"/>
                <a:gd name="T99" fmla="*/ 237 h 745"/>
                <a:gd name="T100" fmla="*/ 185 w 844"/>
                <a:gd name="T101" fmla="*/ 228 h 745"/>
                <a:gd name="T102" fmla="*/ 139 w 844"/>
                <a:gd name="T103" fmla="*/ 176 h 745"/>
                <a:gd name="T104" fmla="*/ 137 w 844"/>
                <a:gd name="T105" fmla="*/ 140 h 745"/>
                <a:gd name="T106" fmla="*/ 175 w 844"/>
                <a:gd name="T107" fmla="*/ 138 h 745"/>
                <a:gd name="T108" fmla="*/ 175 w 844"/>
                <a:gd name="T109" fmla="*/ 96 h 745"/>
                <a:gd name="T110" fmla="*/ 31 w 844"/>
                <a:gd name="T111" fmla="*/ 38 h 745"/>
                <a:gd name="T112" fmla="*/ 31 w 844"/>
                <a:gd name="T113" fmla="*/ 38 h 745"/>
                <a:gd name="T114" fmla="*/ 31 w 844"/>
                <a:gd name="T115" fmla="*/ 38 h 74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44"/>
                <a:gd name="T175" fmla="*/ 0 h 745"/>
                <a:gd name="T176" fmla="*/ 844 w 844"/>
                <a:gd name="T177" fmla="*/ 745 h 74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44" h="745">
                  <a:moveTo>
                    <a:pt x="31" y="38"/>
                  </a:moveTo>
                  <a:lnTo>
                    <a:pt x="116" y="24"/>
                  </a:lnTo>
                  <a:lnTo>
                    <a:pt x="139" y="0"/>
                  </a:lnTo>
                  <a:lnTo>
                    <a:pt x="198" y="19"/>
                  </a:lnTo>
                  <a:lnTo>
                    <a:pt x="255" y="5"/>
                  </a:lnTo>
                  <a:lnTo>
                    <a:pt x="303" y="41"/>
                  </a:lnTo>
                  <a:lnTo>
                    <a:pt x="251" y="108"/>
                  </a:lnTo>
                  <a:lnTo>
                    <a:pt x="270" y="171"/>
                  </a:lnTo>
                  <a:lnTo>
                    <a:pt x="384" y="199"/>
                  </a:lnTo>
                  <a:lnTo>
                    <a:pt x="400" y="228"/>
                  </a:lnTo>
                  <a:lnTo>
                    <a:pt x="500" y="239"/>
                  </a:lnTo>
                  <a:lnTo>
                    <a:pt x="531" y="190"/>
                  </a:lnTo>
                  <a:lnTo>
                    <a:pt x="576" y="186"/>
                  </a:lnTo>
                  <a:lnTo>
                    <a:pt x="641" y="209"/>
                  </a:lnTo>
                  <a:lnTo>
                    <a:pt x="618" y="230"/>
                  </a:lnTo>
                  <a:lnTo>
                    <a:pt x="662" y="273"/>
                  </a:lnTo>
                  <a:lnTo>
                    <a:pt x="588" y="279"/>
                  </a:lnTo>
                  <a:lnTo>
                    <a:pt x="630" y="326"/>
                  </a:lnTo>
                  <a:lnTo>
                    <a:pt x="603" y="351"/>
                  </a:lnTo>
                  <a:lnTo>
                    <a:pt x="708" y="368"/>
                  </a:lnTo>
                  <a:lnTo>
                    <a:pt x="753" y="408"/>
                  </a:lnTo>
                  <a:lnTo>
                    <a:pt x="814" y="368"/>
                  </a:lnTo>
                  <a:lnTo>
                    <a:pt x="844" y="471"/>
                  </a:lnTo>
                  <a:lnTo>
                    <a:pt x="808" y="577"/>
                  </a:lnTo>
                  <a:lnTo>
                    <a:pt x="839" y="619"/>
                  </a:lnTo>
                  <a:lnTo>
                    <a:pt x="789" y="627"/>
                  </a:lnTo>
                  <a:lnTo>
                    <a:pt x="780" y="667"/>
                  </a:lnTo>
                  <a:lnTo>
                    <a:pt x="717" y="731"/>
                  </a:lnTo>
                  <a:lnTo>
                    <a:pt x="671" y="722"/>
                  </a:lnTo>
                  <a:lnTo>
                    <a:pt x="658" y="745"/>
                  </a:lnTo>
                  <a:lnTo>
                    <a:pt x="633" y="737"/>
                  </a:lnTo>
                  <a:lnTo>
                    <a:pt x="611" y="686"/>
                  </a:lnTo>
                  <a:lnTo>
                    <a:pt x="514" y="688"/>
                  </a:lnTo>
                  <a:lnTo>
                    <a:pt x="472" y="653"/>
                  </a:lnTo>
                  <a:lnTo>
                    <a:pt x="487" y="615"/>
                  </a:lnTo>
                  <a:lnTo>
                    <a:pt x="449" y="615"/>
                  </a:lnTo>
                  <a:lnTo>
                    <a:pt x="396" y="634"/>
                  </a:lnTo>
                  <a:lnTo>
                    <a:pt x="320" y="615"/>
                  </a:lnTo>
                  <a:lnTo>
                    <a:pt x="259" y="625"/>
                  </a:lnTo>
                  <a:lnTo>
                    <a:pt x="259" y="587"/>
                  </a:lnTo>
                  <a:lnTo>
                    <a:pt x="213" y="541"/>
                  </a:lnTo>
                  <a:lnTo>
                    <a:pt x="213" y="498"/>
                  </a:lnTo>
                  <a:lnTo>
                    <a:pt x="249" y="446"/>
                  </a:lnTo>
                  <a:lnTo>
                    <a:pt x="238" y="408"/>
                  </a:lnTo>
                  <a:lnTo>
                    <a:pt x="156" y="353"/>
                  </a:lnTo>
                  <a:lnTo>
                    <a:pt x="115" y="363"/>
                  </a:lnTo>
                  <a:lnTo>
                    <a:pt x="65" y="340"/>
                  </a:lnTo>
                  <a:lnTo>
                    <a:pt x="65" y="296"/>
                  </a:lnTo>
                  <a:lnTo>
                    <a:pt x="0" y="239"/>
                  </a:lnTo>
                  <a:lnTo>
                    <a:pt x="139" y="237"/>
                  </a:lnTo>
                  <a:lnTo>
                    <a:pt x="185" y="228"/>
                  </a:lnTo>
                  <a:lnTo>
                    <a:pt x="139" y="176"/>
                  </a:lnTo>
                  <a:lnTo>
                    <a:pt x="137" y="140"/>
                  </a:lnTo>
                  <a:lnTo>
                    <a:pt x="175" y="138"/>
                  </a:lnTo>
                  <a:lnTo>
                    <a:pt x="175" y="96"/>
                  </a:lnTo>
                  <a:lnTo>
                    <a:pt x="31" y="38"/>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33" name="Freeform 57"/>
            <p:cNvSpPr>
              <a:spLocks/>
            </p:cNvSpPr>
            <p:nvPr/>
          </p:nvSpPr>
          <p:spPr bwMode="gray">
            <a:xfrm>
              <a:off x="2416140" y="2850612"/>
              <a:ext cx="611242" cy="435737"/>
            </a:xfrm>
            <a:custGeom>
              <a:avLst/>
              <a:gdLst>
                <a:gd name="T0" fmla="*/ 338 w 574"/>
                <a:gd name="T1" fmla="*/ 0 h 376"/>
                <a:gd name="T2" fmla="*/ 302 w 574"/>
                <a:gd name="T3" fmla="*/ 124 h 376"/>
                <a:gd name="T4" fmla="*/ 253 w 574"/>
                <a:gd name="T5" fmla="*/ 133 h 376"/>
                <a:gd name="T6" fmla="*/ 236 w 574"/>
                <a:gd name="T7" fmla="*/ 99 h 376"/>
                <a:gd name="T8" fmla="*/ 185 w 574"/>
                <a:gd name="T9" fmla="*/ 95 h 376"/>
                <a:gd name="T10" fmla="*/ 215 w 574"/>
                <a:gd name="T11" fmla="*/ 49 h 376"/>
                <a:gd name="T12" fmla="*/ 120 w 574"/>
                <a:gd name="T13" fmla="*/ 32 h 376"/>
                <a:gd name="T14" fmla="*/ 0 w 574"/>
                <a:gd name="T15" fmla="*/ 91 h 376"/>
                <a:gd name="T16" fmla="*/ 72 w 574"/>
                <a:gd name="T17" fmla="*/ 131 h 376"/>
                <a:gd name="T18" fmla="*/ 78 w 574"/>
                <a:gd name="T19" fmla="*/ 169 h 376"/>
                <a:gd name="T20" fmla="*/ 29 w 574"/>
                <a:gd name="T21" fmla="*/ 184 h 376"/>
                <a:gd name="T22" fmla="*/ 67 w 574"/>
                <a:gd name="T23" fmla="*/ 213 h 376"/>
                <a:gd name="T24" fmla="*/ 101 w 574"/>
                <a:gd name="T25" fmla="*/ 207 h 376"/>
                <a:gd name="T26" fmla="*/ 109 w 574"/>
                <a:gd name="T27" fmla="*/ 240 h 376"/>
                <a:gd name="T28" fmla="*/ 78 w 574"/>
                <a:gd name="T29" fmla="*/ 274 h 376"/>
                <a:gd name="T30" fmla="*/ 93 w 574"/>
                <a:gd name="T31" fmla="*/ 293 h 376"/>
                <a:gd name="T32" fmla="*/ 34 w 574"/>
                <a:gd name="T33" fmla="*/ 331 h 376"/>
                <a:gd name="T34" fmla="*/ 82 w 574"/>
                <a:gd name="T35" fmla="*/ 376 h 376"/>
                <a:gd name="T36" fmla="*/ 148 w 574"/>
                <a:gd name="T37" fmla="*/ 319 h 376"/>
                <a:gd name="T38" fmla="*/ 204 w 574"/>
                <a:gd name="T39" fmla="*/ 333 h 376"/>
                <a:gd name="T40" fmla="*/ 221 w 574"/>
                <a:gd name="T41" fmla="*/ 308 h 376"/>
                <a:gd name="T42" fmla="*/ 266 w 574"/>
                <a:gd name="T43" fmla="*/ 342 h 376"/>
                <a:gd name="T44" fmla="*/ 268 w 574"/>
                <a:gd name="T45" fmla="*/ 352 h 376"/>
                <a:gd name="T46" fmla="*/ 321 w 574"/>
                <a:gd name="T47" fmla="*/ 354 h 376"/>
                <a:gd name="T48" fmla="*/ 352 w 574"/>
                <a:gd name="T49" fmla="*/ 367 h 376"/>
                <a:gd name="T50" fmla="*/ 422 w 574"/>
                <a:gd name="T51" fmla="*/ 338 h 376"/>
                <a:gd name="T52" fmla="*/ 491 w 574"/>
                <a:gd name="T53" fmla="*/ 338 h 376"/>
                <a:gd name="T54" fmla="*/ 574 w 574"/>
                <a:gd name="T55" fmla="*/ 371 h 376"/>
                <a:gd name="T56" fmla="*/ 574 w 574"/>
                <a:gd name="T57" fmla="*/ 356 h 376"/>
                <a:gd name="T58" fmla="*/ 523 w 574"/>
                <a:gd name="T59" fmla="*/ 234 h 376"/>
                <a:gd name="T60" fmla="*/ 487 w 574"/>
                <a:gd name="T61" fmla="*/ 226 h 376"/>
                <a:gd name="T62" fmla="*/ 485 w 574"/>
                <a:gd name="T63" fmla="*/ 211 h 376"/>
                <a:gd name="T64" fmla="*/ 502 w 574"/>
                <a:gd name="T65" fmla="*/ 175 h 376"/>
                <a:gd name="T66" fmla="*/ 460 w 574"/>
                <a:gd name="T67" fmla="*/ 152 h 376"/>
                <a:gd name="T68" fmla="*/ 424 w 574"/>
                <a:gd name="T69" fmla="*/ 80 h 376"/>
                <a:gd name="T70" fmla="*/ 430 w 574"/>
                <a:gd name="T71" fmla="*/ 48 h 376"/>
                <a:gd name="T72" fmla="*/ 365 w 574"/>
                <a:gd name="T73" fmla="*/ 36 h 376"/>
                <a:gd name="T74" fmla="*/ 338 w 574"/>
                <a:gd name="T75" fmla="*/ 0 h 376"/>
                <a:gd name="T76" fmla="*/ 338 w 574"/>
                <a:gd name="T77" fmla="*/ 0 h 376"/>
                <a:gd name="T78" fmla="*/ 338 w 574"/>
                <a:gd name="T79" fmla="*/ 0 h 37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74"/>
                <a:gd name="T121" fmla="*/ 0 h 376"/>
                <a:gd name="T122" fmla="*/ 574 w 574"/>
                <a:gd name="T123" fmla="*/ 376 h 37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74" h="376">
                  <a:moveTo>
                    <a:pt x="338" y="0"/>
                  </a:moveTo>
                  <a:lnTo>
                    <a:pt x="302" y="124"/>
                  </a:lnTo>
                  <a:lnTo>
                    <a:pt x="253" y="133"/>
                  </a:lnTo>
                  <a:lnTo>
                    <a:pt x="236" y="99"/>
                  </a:lnTo>
                  <a:lnTo>
                    <a:pt x="185" y="95"/>
                  </a:lnTo>
                  <a:lnTo>
                    <a:pt x="215" y="49"/>
                  </a:lnTo>
                  <a:lnTo>
                    <a:pt x="120" y="32"/>
                  </a:lnTo>
                  <a:lnTo>
                    <a:pt x="0" y="91"/>
                  </a:lnTo>
                  <a:lnTo>
                    <a:pt x="72" y="131"/>
                  </a:lnTo>
                  <a:lnTo>
                    <a:pt x="78" y="169"/>
                  </a:lnTo>
                  <a:lnTo>
                    <a:pt x="29" y="184"/>
                  </a:lnTo>
                  <a:lnTo>
                    <a:pt x="67" y="213"/>
                  </a:lnTo>
                  <a:lnTo>
                    <a:pt x="101" y="207"/>
                  </a:lnTo>
                  <a:lnTo>
                    <a:pt x="109" y="240"/>
                  </a:lnTo>
                  <a:lnTo>
                    <a:pt x="78" y="274"/>
                  </a:lnTo>
                  <a:lnTo>
                    <a:pt x="93" y="293"/>
                  </a:lnTo>
                  <a:lnTo>
                    <a:pt x="34" y="331"/>
                  </a:lnTo>
                  <a:lnTo>
                    <a:pt x="82" y="376"/>
                  </a:lnTo>
                  <a:lnTo>
                    <a:pt x="148" y="319"/>
                  </a:lnTo>
                  <a:lnTo>
                    <a:pt x="204" y="333"/>
                  </a:lnTo>
                  <a:lnTo>
                    <a:pt x="221" y="308"/>
                  </a:lnTo>
                  <a:lnTo>
                    <a:pt x="266" y="342"/>
                  </a:lnTo>
                  <a:lnTo>
                    <a:pt x="268" y="352"/>
                  </a:lnTo>
                  <a:lnTo>
                    <a:pt x="321" y="354"/>
                  </a:lnTo>
                  <a:lnTo>
                    <a:pt x="352" y="367"/>
                  </a:lnTo>
                  <a:lnTo>
                    <a:pt x="422" y="338"/>
                  </a:lnTo>
                  <a:lnTo>
                    <a:pt x="491" y="338"/>
                  </a:lnTo>
                  <a:lnTo>
                    <a:pt x="574" y="371"/>
                  </a:lnTo>
                  <a:lnTo>
                    <a:pt x="574" y="356"/>
                  </a:lnTo>
                  <a:lnTo>
                    <a:pt x="523" y="234"/>
                  </a:lnTo>
                  <a:lnTo>
                    <a:pt x="487" y="226"/>
                  </a:lnTo>
                  <a:lnTo>
                    <a:pt x="485" y="211"/>
                  </a:lnTo>
                  <a:lnTo>
                    <a:pt x="502" y="175"/>
                  </a:lnTo>
                  <a:lnTo>
                    <a:pt x="460" y="152"/>
                  </a:lnTo>
                  <a:lnTo>
                    <a:pt x="424" y="80"/>
                  </a:lnTo>
                  <a:lnTo>
                    <a:pt x="430" y="48"/>
                  </a:lnTo>
                  <a:lnTo>
                    <a:pt x="365" y="36"/>
                  </a:lnTo>
                  <a:lnTo>
                    <a:pt x="338" y="0"/>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34" name="Freeform 58"/>
            <p:cNvSpPr>
              <a:spLocks/>
            </p:cNvSpPr>
            <p:nvPr/>
          </p:nvSpPr>
          <p:spPr bwMode="gray">
            <a:xfrm>
              <a:off x="2563093" y="2614202"/>
              <a:ext cx="1277857" cy="927101"/>
            </a:xfrm>
            <a:custGeom>
              <a:avLst/>
              <a:gdLst>
                <a:gd name="T0" fmla="*/ 513 w 1199"/>
                <a:gd name="T1" fmla="*/ 72 h 800"/>
                <a:gd name="T2" fmla="*/ 369 w 1199"/>
                <a:gd name="T3" fmla="*/ 228 h 800"/>
                <a:gd name="T4" fmla="*/ 285 w 1199"/>
                <a:gd name="T5" fmla="*/ 287 h 800"/>
                <a:gd name="T6" fmla="*/ 363 w 1199"/>
                <a:gd name="T7" fmla="*/ 376 h 800"/>
                <a:gd name="T8" fmla="*/ 350 w 1199"/>
                <a:gd name="T9" fmla="*/ 427 h 800"/>
                <a:gd name="T10" fmla="*/ 435 w 1199"/>
                <a:gd name="T11" fmla="*/ 564 h 800"/>
                <a:gd name="T12" fmla="*/ 353 w 1199"/>
                <a:gd name="T13" fmla="*/ 541 h 800"/>
                <a:gd name="T14" fmla="*/ 209 w 1199"/>
                <a:gd name="T15" fmla="*/ 570 h 800"/>
                <a:gd name="T16" fmla="*/ 129 w 1199"/>
                <a:gd name="T17" fmla="*/ 553 h 800"/>
                <a:gd name="T18" fmla="*/ 76 w 1199"/>
                <a:gd name="T19" fmla="*/ 667 h 800"/>
                <a:gd name="T20" fmla="*/ 0 w 1199"/>
                <a:gd name="T21" fmla="*/ 711 h 800"/>
                <a:gd name="T22" fmla="*/ 116 w 1199"/>
                <a:gd name="T23" fmla="*/ 775 h 800"/>
                <a:gd name="T24" fmla="*/ 224 w 1199"/>
                <a:gd name="T25" fmla="*/ 766 h 800"/>
                <a:gd name="T26" fmla="*/ 312 w 1199"/>
                <a:gd name="T27" fmla="*/ 718 h 800"/>
                <a:gd name="T28" fmla="*/ 399 w 1199"/>
                <a:gd name="T29" fmla="*/ 703 h 800"/>
                <a:gd name="T30" fmla="*/ 456 w 1199"/>
                <a:gd name="T31" fmla="*/ 751 h 800"/>
                <a:gd name="T32" fmla="*/ 583 w 1199"/>
                <a:gd name="T33" fmla="*/ 800 h 800"/>
                <a:gd name="T34" fmla="*/ 623 w 1199"/>
                <a:gd name="T35" fmla="*/ 684 h 800"/>
                <a:gd name="T36" fmla="*/ 728 w 1199"/>
                <a:gd name="T37" fmla="*/ 598 h 800"/>
                <a:gd name="T38" fmla="*/ 1083 w 1199"/>
                <a:gd name="T39" fmla="*/ 602 h 800"/>
                <a:gd name="T40" fmla="*/ 1199 w 1199"/>
                <a:gd name="T41" fmla="*/ 547 h 800"/>
                <a:gd name="T42" fmla="*/ 1176 w 1199"/>
                <a:gd name="T43" fmla="*/ 482 h 800"/>
                <a:gd name="T44" fmla="*/ 1148 w 1199"/>
                <a:gd name="T45" fmla="*/ 403 h 800"/>
                <a:gd name="T46" fmla="*/ 1098 w 1199"/>
                <a:gd name="T47" fmla="*/ 344 h 800"/>
                <a:gd name="T48" fmla="*/ 958 w 1199"/>
                <a:gd name="T49" fmla="*/ 311 h 800"/>
                <a:gd name="T50" fmla="*/ 929 w 1199"/>
                <a:gd name="T51" fmla="*/ 273 h 800"/>
                <a:gd name="T52" fmla="*/ 806 w 1199"/>
                <a:gd name="T53" fmla="*/ 273 h 800"/>
                <a:gd name="T54" fmla="*/ 745 w 1199"/>
                <a:gd name="T55" fmla="*/ 247 h 800"/>
                <a:gd name="T56" fmla="*/ 699 w 1199"/>
                <a:gd name="T57" fmla="*/ 156 h 800"/>
                <a:gd name="T58" fmla="*/ 722 w 1199"/>
                <a:gd name="T59" fmla="*/ 64 h 800"/>
                <a:gd name="T60" fmla="*/ 601 w 1199"/>
                <a:gd name="T61" fmla="*/ 21 h 800"/>
                <a:gd name="T62" fmla="*/ 553 w 1199"/>
                <a:gd name="T63" fmla="*/ 0 h 80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99"/>
                <a:gd name="T97" fmla="*/ 0 h 800"/>
                <a:gd name="T98" fmla="*/ 1199 w 1199"/>
                <a:gd name="T99" fmla="*/ 800 h 80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99" h="800">
                  <a:moveTo>
                    <a:pt x="553" y="0"/>
                  </a:moveTo>
                  <a:lnTo>
                    <a:pt x="513" y="72"/>
                  </a:lnTo>
                  <a:lnTo>
                    <a:pt x="369" y="171"/>
                  </a:lnTo>
                  <a:lnTo>
                    <a:pt x="369" y="228"/>
                  </a:lnTo>
                  <a:lnTo>
                    <a:pt x="287" y="252"/>
                  </a:lnTo>
                  <a:lnTo>
                    <a:pt x="285" y="287"/>
                  </a:lnTo>
                  <a:lnTo>
                    <a:pt x="321" y="355"/>
                  </a:lnTo>
                  <a:lnTo>
                    <a:pt x="363" y="376"/>
                  </a:lnTo>
                  <a:lnTo>
                    <a:pt x="346" y="414"/>
                  </a:lnTo>
                  <a:lnTo>
                    <a:pt x="350" y="427"/>
                  </a:lnTo>
                  <a:lnTo>
                    <a:pt x="382" y="437"/>
                  </a:lnTo>
                  <a:lnTo>
                    <a:pt x="435" y="564"/>
                  </a:lnTo>
                  <a:lnTo>
                    <a:pt x="435" y="574"/>
                  </a:lnTo>
                  <a:lnTo>
                    <a:pt x="353" y="541"/>
                  </a:lnTo>
                  <a:lnTo>
                    <a:pt x="285" y="541"/>
                  </a:lnTo>
                  <a:lnTo>
                    <a:pt x="209" y="570"/>
                  </a:lnTo>
                  <a:lnTo>
                    <a:pt x="182" y="557"/>
                  </a:lnTo>
                  <a:lnTo>
                    <a:pt x="129" y="553"/>
                  </a:lnTo>
                  <a:lnTo>
                    <a:pt x="129" y="593"/>
                  </a:lnTo>
                  <a:lnTo>
                    <a:pt x="76" y="667"/>
                  </a:lnTo>
                  <a:lnTo>
                    <a:pt x="6" y="674"/>
                  </a:lnTo>
                  <a:lnTo>
                    <a:pt x="0" y="711"/>
                  </a:lnTo>
                  <a:lnTo>
                    <a:pt x="80" y="718"/>
                  </a:lnTo>
                  <a:lnTo>
                    <a:pt x="116" y="775"/>
                  </a:lnTo>
                  <a:lnTo>
                    <a:pt x="160" y="796"/>
                  </a:lnTo>
                  <a:lnTo>
                    <a:pt x="224" y="766"/>
                  </a:lnTo>
                  <a:lnTo>
                    <a:pt x="228" y="724"/>
                  </a:lnTo>
                  <a:lnTo>
                    <a:pt x="312" y="718"/>
                  </a:lnTo>
                  <a:lnTo>
                    <a:pt x="376" y="686"/>
                  </a:lnTo>
                  <a:lnTo>
                    <a:pt x="399" y="703"/>
                  </a:lnTo>
                  <a:lnTo>
                    <a:pt x="458" y="705"/>
                  </a:lnTo>
                  <a:lnTo>
                    <a:pt x="456" y="751"/>
                  </a:lnTo>
                  <a:lnTo>
                    <a:pt x="561" y="766"/>
                  </a:lnTo>
                  <a:lnTo>
                    <a:pt x="583" y="800"/>
                  </a:lnTo>
                  <a:lnTo>
                    <a:pt x="637" y="770"/>
                  </a:lnTo>
                  <a:lnTo>
                    <a:pt x="623" y="684"/>
                  </a:lnTo>
                  <a:lnTo>
                    <a:pt x="779" y="684"/>
                  </a:lnTo>
                  <a:lnTo>
                    <a:pt x="728" y="598"/>
                  </a:lnTo>
                  <a:lnTo>
                    <a:pt x="924" y="699"/>
                  </a:lnTo>
                  <a:lnTo>
                    <a:pt x="1083" y="602"/>
                  </a:lnTo>
                  <a:lnTo>
                    <a:pt x="1114" y="604"/>
                  </a:lnTo>
                  <a:lnTo>
                    <a:pt x="1199" y="547"/>
                  </a:lnTo>
                  <a:lnTo>
                    <a:pt x="1178" y="521"/>
                  </a:lnTo>
                  <a:lnTo>
                    <a:pt x="1176" y="482"/>
                  </a:lnTo>
                  <a:lnTo>
                    <a:pt x="1074" y="452"/>
                  </a:lnTo>
                  <a:lnTo>
                    <a:pt x="1148" y="403"/>
                  </a:lnTo>
                  <a:lnTo>
                    <a:pt x="1119" y="395"/>
                  </a:lnTo>
                  <a:lnTo>
                    <a:pt x="1098" y="344"/>
                  </a:lnTo>
                  <a:lnTo>
                    <a:pt x="1002" y="346"/>
                  </a:lnTo>
                  <a:lnTo>
                    <a:pt x="958" y="311"/>
                  </a:lnTo>
                  <a:lnTo>
                    <a:pt x="973" y="273"/>
                  </a:lnTo>
                  <a:lnTo>
                    <a:pt x="929" y="273"/>
                  </a:lnTo>
                  <a:lnTo>
                    <a:pt x="882" y="291"/>
                  </a:lnTo>
                  <a:lnTo>
                    <a:pt x="806" y="273"/>
                  </a:lnTo>
                  <a:lnTo>
                    <a:pt x="745" y="283"/>
                  </a:lnTo>
                  <a:lnTo>
                    <a:pt x="745" y="247"/>
                  </a:lnTo>
                  <a:lnTo>
                    <a:pt x="699" y="199"/>
                  </a:lnTo>
                  <a:lnTo>
                    <a:pt x="699" y="156"/>
                  </a:lnTo>
                  <a:lnTo>
                    <a:pt x="735" y="102"/>
                  </a:lnTo>
                  <a:lnTo>
                    <a:pt x="722" y="64"/>
                  </a:lnTo>
                  <a:lnTo>
                    <a:pt x="639" y="9"/>
                  </a:lnTo>
                  <a:lnTo>
                    <a:pt x="601" y="21"/>
                  </a:lnTo>
                  <a:lnTo>
                    <a:pt x="553" y="0"/>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35" name="Freeform 59"/>
            <p:cNvSpPr>
              <a:spLocks/>
            </p:cNvSpPr>
            <p:nvPr/>
          </p:nvSpPr>
          <p:spPr bwMode="gray">
            <a:xfrm>
              <a:off x="2024264" y="3409191"/>
              <a:ext cx="1360919" cy="739362"/>
            </a:xfrm>
            <a:custGeom>
              <a:avLst/>
              <a:gdLst>
                <a:gd name="T0" fmla="*/ 1141 w 1278"/>
                <a:gd name="T1" fmla="*/ 85 h 639"/>
                <a:gd name="T2" fmla="*/ 1089 w 1278"/>
                <a:gd name="T3" fmla="*/ 112 h 639"/>
                <a:gd name="T4" fmla="*/ 1072 w 1278"/>
                <a:gd name="T5" fmla="*/ 78 h 639"/>
                <a:gd name="T6" fmla="*/ 962 w 1278"/>
                <a:gd name="T7" fmla="*/ 65 h 639"/>
                <a:gd name="T8" fmla="*/ 964 w 1278"/>
                <a:gd name="T9" fmla="*/ 19 h 639"/>
                <a:gd name="T10" fmla="*/ 907 w 1278"/>
                <a:gd name="T11" fmla="*/ 15 h 639"/>
                <a:gd name="T12" fmla="*/ 880 w 1278"/>
                <a:gd name="T13" fmla="*/ 0 h 639"/>
                <a:gd name="T14" fmla="*/ 812 w 1278"/>
                <a:gd name="T15" fmla="*/ 28 h 639"/>
                <a:gd name="T16" fmla="*/ 734 w 1278"/>
                <a:gd name="T17" fmla="*/ 36 h 639"/>
                <a:gd name="T18" fmla="*/ 728 w 1278"/>
                <a:gd name="T19" fmla="*/ 78 h 639"/>
                <a:gd name="T20" fmla="*/ 666 w 1278"/>
                <a:gd name="T21" fmla="*/ 112 h 639"/>
                <a:gd name="T22" fmla="*/ 622 w 1278"/>
                <a:gd name="T23" fmla="*/ 89 h 639"/>
                <a:gd name="T24" fmla="*/ 586 w 1278"/>
                <a:gd name="T25" fmla="*/ 28 h 639"/>
                <a:gd name="T26" fmla="*/ 510 w 1278"/>
                <a:gd name="T27" fmla="*/ 26 h 639"/>
                <a:gd name="T28" fmla="*/ 460 w 1278"/>
                <a:gd name="T29" fmla="*/ 26 h 639"/>
                <a:gd name="T30" fmla="*/ 325 w 1278"/>
                <a:gd name="T31" fmla="*/ 112 h 639"/>
                <a:gd name="T32" fmla="*/ 255 w 1278"/>
                <a:gd name="T33" fmla="*/ 112 h 639"/>
                <a:gd name="T34" fmla="*/ 192 w 1278"/>
                <a:gd name="T35" fmla="*/ 139 h 639"/>
                <a:gd name="T36" fmla="*/ 122 w 1278"/>
                <a:gd name="T37" fmla="*/ 127 h 639"/>
                <a:gd name="T38" fmla="*/ 86 w 1278"/>
                <a:gd name="T39" fmla="*/ 180 h 639"/>
                <a:gd name="T40" fmla="*/ 0 w 1278"/>
                <a:gd name="T41" fmla="*/ 180 h 639"/>
                <a:gd name="T42" fmla="*/ 31 w 1278"/>
                <a:gd name="T43" fmla="*/ 285 h 639"/>
                <a:gd name="T44" fmla="*/ 0 w 1278"/>
                <a:gd name="T45" fmla="*/ 331 h 639"/>
                <a:gd name="T46" fmla="*/ 33 w 1278"/>
                <a:gd name="T47" fmla="*/ 388 h 639"/>
                <a:gd name="T48" fmla="*/ 33 w 1278"/>
                <a:gd name="T49" fmla="*/ 479 h 639"/>
                <a:gd name="T50" fmla="*/ 128 w 1278"/>
                <a:gd name="T51" fmla="*/ 494 h 639"/>
                <a:gd name="T52" fmla="*/ 93 w 1278"/>
                <a:gd name="T53" fmla="*/ 412 h 639"/>
                <a:gd name="T54" fmla="*/ 200 w 1278"/>
                <a:gd name="T55" fmla="*/ 355 h 639"/>
                <a:gd name="T56" fmla="*/ 189 w 1278"/>
                <a:gd name="T57" fmla="*/ 450 h 639"/>
                <a:gd name="T58" fmla="*/ 289 w 1278"/>
                <a:gd name="T59" fmla="*/ 420 h 639"/>
                <a:gd name="T60" fmla="*/ 339 w 1278"/>
                <a:gd name="T61" fmla="*/ 346 h 639"/>
                <a:gd name="T62" fmla="*/ 394 w 1278"/>
                <a:gd name="T63" fmla="*/ 378 h 639"/>
                <a:gd name="T64" fmla="*/ 371 w 1278"/>
                <a:gd name="T65" fmla="*/ 447 h 639"/>
                <a:gd name="T66" fmla="*/ 455 w 1278"/>
                <a:gd name="T67" fmla="*/ 450 h 639"/>
                <a:gd name="T68" fmla="*/ 552 w 1278"/>
                <a:gd name="T69" fmla="*/ 355 h 639"/>
                <a:gd name="T70" fmla="*/ 595 w 1278"/>
                <a:gd name="T71" fmla="*/ 536 h 639"/>
                <a:gd name="T72" fmla="*/ 675 w 1278"/>
                <a:gd name="T73" fmla="*/ 515 h 639"/>
                <a:gd name="T74" fmla="*/ 671 w 1278"/>
                <a:gd name="T75" fmla="*/ 580 h 639"/>
                <a:gd name="T76" fmla="*/ 802 w 1278"/>
                <a:gd name="T77" fmla="*/ 589 h 639"/>
                <a:gd name="T78" fmla="*/ 844 w 1278"/>
                <a:gd name="T79" fmla="*/ 563 h 639"/>
                <a:gd name="T80" fmla="*/ 896 w 1278"/>
                <a:gd name="T81" fmla="*/ 639 h 639"/>
                <a:gd name="T82" fmla="*/ 951 w 1278"/>
                <a:gd name="T83" fmla="*/ 606 h 639"/>
                <a:gd name="T84" fmla="*/ 947 w 1278"/>
                <a:gd name="T85" fmla="*/ 563 h 639"/>
                <a:gd name="T86" fmla="*/ 1122 w 1278"/>
                <a:gd name="T87" fmla="*/ 477 h 639"/>
                <a:gd name="T88" fmla="*/ 1051 w 1278"/>
                <a:gd name="T89" fmla="*/ 255 h 639"/>
                <a:gd name="T90" fmla="*/ 1120 w 1278"/>
                <a:gd name="T91" fmla="*/ 293 h 639"/>
                <a:gd name="T92" fmla="*/ 1278 w 1278"/>
                <a:gd name="T93" fmla="*/ 270 h 639"/>
                <a:gd name="T94" fmla="*/ 1181 w 1278"/>
                <a:gd name="T95" fmla="*/ 97 h 639"/>
                <a:gd name="T96" fmla="*/ 1143 w 1278"/>
                <a:gd name="T97" fmla="*/ 85 h 639"/>
                <a:gd name="T98" fmla="*/ 1141 w 1278"/>
                <a:gd name="T99" fmla="*/ 85 h 639"/>
                <a:gd name="T100" fmla="*/ 1141 w 1278"/>
                <a:gd name="T101" fmla="*/ 85 h 639"/>
                <a:gd name="T102" fmla="*/ 1141 w 1278"/>
                <a:gd name="T103" fmla="*/ 85 h 63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278"/>
                <a:gd name="T157" fmla="*/ 0 h 639"/>
                <a:gd name="T158" fmla="*/ 1278 w 1278"/>
                <a:gd name="T159" fmla="*/ 639 h 63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278" h="639">
                  <a:moveTo>
                    <a:pt x="1141" y="85"/>
                  </a:moveTo>
                  <a:lnTo>
                    <a:pt x="1089" y="112"/>
                  </a:lnTo>
                  <a:lnTo>
                    <a:pt x="1072" y="78"/>
                  </a:lnTo>
                  <a:lnTo>
                    <a:pt x="962" y="65"/>
                  </a:lnTo>
                  <a:lnTo>
                    <a:pt x="964" y="19"/>
                  </a:lnTo>
                  <a:lnTo>
                    <a:pt x="907" y="15"/>
                  </a:lnTo>
                  <a:lnTo>
                    <a:pt x="880" y="0"/>
                  </a:lnTo>
                  <a:lnTo>
                    <a:pt x="812" y="28"/>
                  </a:lnTo>
                  <a:lnTo>
                    <a:pt x="734" y="36"/>
                  </a:lnTo>
                  <a:lnTo>
                    <a:pt x="728" y="78"/>
                  </a:lnTo>
                  <a:lnTo>
                    <a:pt x="666" y="112"/>
                  </a:lnTo>
                  <a:lnTo>
                    <a:pt x="622" y="89"/>
                  </a:lnTo>
                  <a:lnTo>
                    <a:pt x="586" y="28"/>
                  </a:lnTo>
                  <a:lnTo>
                    <a:pt x="510" y="26"/>
                  </a:lnTo>
                  <a:lnTo>
                    <a:pt x="460" y="26"/>
                  </a:lnTo>
                  <a:lnTo>
                    <a:pt x="325" y="112"/>
                  </a:lnTo>
                  <a:lnTo>
                    <a:pt x="255" y="112"/>
                  </a:lnTo>
                  <a:lnTo>
                    <a:pt x="192" y="139"/>
                  </a:lnTo>
                  <a:lnTo>
                    <a:pt x="122" y="127"/>
                  </a:lnTo>
                  <a:lnTo>
                    <a:pt x="86" y="180"/>
                  </a:lnTo>
                  <a:lnTo>
                    <a:pt x="0" y="180"/>
                  </a:lnTo>
                  <a:lnTo>
                    <a:pt x="31" y="285"/>
                  </a:lnTo>
                  <a:lnTo>
                    <a:pt x="0" y="331"/>
                  </a:lnTo>
                  <a:lnTo>
                    <a:pt x="33" y="388"/>
                  </a:lnTo>
                  <a:lnTo>
                    <a:pt x="33" y="479"/>
                  </a:lnTo>
                  <a:lnTo>
                    <a:pt x="128" y="494"/>
                  </a:lnTo>
                  <a:lnTo>
                    <a:pt x="93" y="412"/>
                  </a:lnTo>
                  <a:lnTo>
                    <a:pt x="200" y="355"/>
                  </a:lnTo>
                  <a:lnTo>
                    <a:pt x="189" y="450"/>
                  </a:lnTo>
                  <a:lnTo>
                    <a:pt x="289" y="420"/>
                  </a:lnTo>
                  <a:lnTo>
                    <a:pt x="339" y="346"/>
                  </a:lnTo>
                  <a:lnTo>
                    <a:pt x="394" y="378"/>
                  </a:lnTo>
                  <a:lnTo>
                    <a:pt x="371" y="447"/>
                  </a:lnTo>
                  <a:lnTo>
                    <a:pt x="455" y="450"/>
                  </a:lnTo>
                  <a:lnTo>
                    <a:pt x="552" y="355"/>
                  </a:lnTo>
                  <a:lnTo>
                    <a:pt x="595" y="536"/>
                  </a:lnTo>
                  <a:lnTo>
                    <a:pt x="675" y="515"/>
                  </a:lnTo>
                  <a:lnTo>
                    <a:pt x="671" y="580"/>
                  </a:lnTo>
                  <a:lnTo>
                    <a:pt x="802" y="589"/>
                  </a:lnTo>
                  <a:lnTo>
                    <a:pt x="844" y="563"/>
                  </a:lnTo>
                  <a:lnTo>
                    <a:pt x="896" y="639"/>
                  </a:lnTo>
                  <a:lnTo>
                    <a:pt x="951" y="606"/>
                  </a:lnTo>
                  <a:lnTo>
                    <a:pt x="947" y="563"/>
                  </a:lnTo>
                  <a:lnTo>
                    <a:pt x="1122" y="477"/>
                  </a:lnTo>
                  <a:lnTo>
                    <a:pt x="1051" y="255"/>
                  </a:lnTo>
                  <a:lnTo>
                    <a:pt x="1120" y="293"/>
                  </a:lnTo>
                  <a:lnTo>
                    <a:pt x="1278" y="270"/>
                  </a:lnTo>
                  <a:lnTo>
                    <a:pt x="1181" y="97"/>
                  </a:lnTo>
                  <a:lnTo>
                    <a:pt x="1143" y="85"/>
                  </a:lnTo>
                  <a:lnTo>
                    <a:pt x="1141" y="85"/>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36" name="Freeform 60"/>
            <p:cNvSpPr>
              <a:spLocks/>
            </p:cNvSpPr>
            <p:nvPr/>
          </p:nvSpPr>
          <p:spPr bwMode="gray">
            <a:xfrm>
              <a:off x="2974138" y="3703545"/>
              <a:ext cx="449381" cy="1012857"/>
            </a:xfrm>
            <a:custGeom>
              <a:avLst/>
              <a:gdLst>
                <a:gd name="T0" fmla="*/ 386 w 422"/>
                <a:gd name="T1" fmla="*/ 15 h 872"/>
                <a:gd name="T2" fmla="*/ 228 w 422"/>
                <a:gd name="T3" fmla="*/ 38 h 872"/>
                <a:gd name="T4" fmla="*/ 159 w 422"/>
                <a:gd name="T5" fmla="*/ 0 h 872"/>
                <a:gd name="T6" fmla="*/ 230 w 422"/>
                <a:gd name="T7" fmla="*/ 222 h 872"/>
                <a:gd name="T8" fmla="*/ 55 w 422"/>
                <a:gd name="T9" fmla="*/ 308 h 872"/>
                <a:gd name="T10" fmla="*/ 59 w 422"/>
                <a:gd name="T11" fmla="*/ 351 h 872"/>
                <a:gd name="T12" fmla="*/ 0 w 422"/>
                <a:gd name="T13" fmla="*/ 384 h 872"/>
                <a:gd name="T14" fmla="*/ 173 w 422"/>
                <a:gd name="T15" fmla="*/ 433 h 872"/>
                <a:gd name="T16" fmla="*/ 85 w 422"/>
                <a:gd name="T17" fmla="*/ 627 h 872"/>
                <a:gd name="T18" fmla="*/ 121 w 422"/>
                <a:gd name="T19" fmla="*/ 653 h 872"/>
                <a:gd name="T20" fmla="*/ 23 w 422"/>
                <a:gd name="T21" fmla="*/ 760 h 872"/>
                <a:gd name="T22" fmla="*/ 59 w 422"/>
                <a:gd name="T23" fmla="*/ 872 h 872"/>
                <a:gd name="T24" fmla="*/ 119 w 422"/>
                <a:gd name="T25" fmla="*/ 830 h 872"/>
                <a:gd name="T26" fmla="*/ 291 w 422"/>
                <a:gd name="T27" fmla="*/ 868 h 872"/>
                <a:gd name="T28" fmla="*/ 330 w 422"/>
                <a:gd name="T29" fmla="*/ 739 h 872"/>
                <a:gd name="T30" fmla="*/ 218 w 422"/>
                <a:gd name="T31" fmla="*/ 583 h 872"/>
                <a:gd name="T32" fmla="*/ 268 w 422"/>
                <a:gd name="T33" fmla="*/ 574 h 872"/>
                <a:gd name="T34" fmla="*/ 306 w 422"/>
                <a:gd name="T35" fmla="*/ 482 h 872"/>
                <a:gd name="T36" fmla="*/ 397 w 422"/>
                <a:gd name="T37" fmla="*/ 448 h 872"/>
                <a:gd name="T38" fmla="*/ 372 w 422"/>
                <a:gd name="T39" fmla="*/ 420 h 872"/>
                <a:gd name="T40" fmla="*/ 319 w 422"/>
                <a:gd name="T41" fmla="*/ 420 h 872"/>
                <a:gd name="T42" fmla="*/ 306 w 422"/>
                <a:gd name="T43" fmla="*/ 330 h 872"/>
                <a:gd name="T44" fmla="*/ 422 w 422"/>
                <a:gd name="T45" fmla="*/ 218 h 872"/>
                <a:gd name="T46" fmla="*/ 386 w 422"/>
                <a:gd name="T47" fmla="*/ 15 h 872"/>
                <a:gd name="T48" fmla="*/ 386 w 422"/>
                <a:gd name="T49" fmla="*/ 15 h 872"/>
                <a:gd name="T50" fmla="*/ 386 w 422"/>
                <a:gd name="T51" fmla="*/ 15 h 87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22"/>
                <a:gd name="T79" fmla="*/ 0 h 872"/>
                <a:gd name="T80" fmla="*/ 422 w 422"/>
                <a:gd name="T81" fmla="*/ 872 h 87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22" h="872">
                  <a:moveTo>
                    <a:pt x="386" y="15"/>
                  </a:moveTo>
                  <a:lnTo>
                    <a:pt x="228" y="38"/>
                  </a:lnTo>
                  <a:lnTo>
                    <a:pt x="159" y="0"/>
                  </a:lnTo>
                  <a:lnTo>
                    <a:pt x="230" y="222"/>
                  </a:lnTo>
                  <a:lnTo>
                    <a:pt x="55" y="308"/>
                  </a:lnTo>
                  <a:lnTo>
                    <a:pt x="59" y="351"/>
                  </a:lnTo>
                  <a:lnTo>
                    <a:pt x="0" y="384"/>
                  </a:lnTo>
                  <a:lnTo>
                    <a:pt x="173" y="433"/>
                  </a:lnTo>
                  <a:lnTo>
                    <a:pt x="85" y="627"/>
                  </a:lnTo>
                  <a:lnTo>
                    <a:pt x="121" y="653"/>
                  </a:lnTo>
                  <a:lnTo>
                    <a:pt x="23" y="760"/>
                  </a:lnTo>
                  <a:lnTo>
                    <a:pt x="59" y="872"/>
                  </a:lnTo>
                  <a:lnTo>
                    <a:pt x="119" y="830"/>
                  </a:lnTo>
                  <a:lnTo>
                    <a:pt x="291" y="868"/>
                  </a:lnTo>
                  <a:lnTo>
                    <a:pt x="330" y="739"/>
                  </a:lnTo>
                  <a:lnTo>
                    <a:pt x="218" y="583"/>
                  </a:lnTo>
                  <a:lnTo>
                    <a:pt x="268" y="574"/>
                  </a:lnTo>
                  <a:lnTo>
                    <a:pt x="306" y="482"/>
                  </a:lnTo>
                  <a:lnTo>
                    <a:pt x="397" y="448"/>
                  </a:lnTo>
                  <a:lnTo>
                    <a:pt x="372" y="420"/>
                  </a:lnTo>
                  <a:lnTo>
                    <a:pt x="319" y="420"/>
                  </a:lnTo>
                  <a:lnTo>
                    <a:pt x="306" y="330"/>
                  </a:lnTo>
                  <a:lnTo>
                    <a:pt x="422" y="218"/>
                  </a:lnTo>
                  <a:lnTo>
                    <a:pt x="386" y="15"/>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37" name="Freeform 61"/>
            <p:cNvSpPr>
              <a:spLocks/>
            </p:cNvSpPr>
            <p:nvPr/>
          </p:nvSpPr>
          <p:spPr bwMode="gray">
            <a:xfrm>
              <a:off x="1875180" y="3668779"/>
              <a:ext cx="181030" cy="122840"/>
            </a:xfrm>
            <a:custGeom>
              <a:avLst/>
              <a:gdLst>
                <a:gd name="T0" fmla="*/ 171 w 171"/>
                <a:gd name="T1" fmla="*/ 61 h 107"/>
                <a:gd name="T2" fmla="*/ 30 w 171"/>
                <a:gd name="T3" fmla="*/ 0 h 107"/>
                <a:gd name="T4" fmla="*/ 0 w 171"/>
                <a:gd name="T5" fmla="*/ 15 h 107"/>
                <a:gd name="T6" fmla="*/ 38 w 171"/>
                <a:gd name="T7" fmla="*/ 72 h 107"/>
                <a:gd name="T8" fmla="*/ 144 w 171"/>
                <a:gd name="T9" fmla="*/ 107 h 107"/>
                <a:gd name="T10" fmla="*/ 171 w 171"/>
                <a:gd name="T11" fmla="*/ 61 h 107"/>
                <a:gd name="T12" fmla="*/ 171 w 171"/>
                <a:gd name="T13" fmla="*/ 61 h 107"/>
                <a:gd name="T14" fmla="*/ 171 w 171"/>
                <a:gd name="T15" fmla="*/ 61 h 107"/>
                <a:gd name="T16" fmla="*/ 0 60000 65536"/>
                <a:gd name="T17" fmla="*/ 0 60000 65536"/>
                <a:gd name="T18" fmla="*/ 0 60000 65536"/>
                <a:gd name="T19" fmla="*/ 0 60000 65536"/>
                <a:gd name="T20" fmla="*/ 0 60000 65536"/>
                <a:gd name="T21" fmla="*/ 0 60000 65536"/>
                <a:gd name="T22" fmla="*/ 0 60000 65536"/>
                <a:gd name="T23" fmla="*/ 0 60000 65536"/>
                <a:gd name="T24" fmla="*/ 0 w 171"/>
                <a:gd name="T25" fmla="*/ 0 h 107"/>
                <a:gd name="T26" fmla="*/ 171 w 171"/>
                <a:gd name="T27" fmla="*/ 107 h 10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1" h="107">
                  <a:moveTo>
                    <a:pt x="171" y="61"/>
                  </a:moveTo>
                  <a:lnTo>
                    <a:pt x="30" y="0"/>
                  </a:lnTo>
                  <a:lnTo>
                    <a:pt x="0" y="15"/>
                  </a:lnTo>
                  <a:lnTo>
                    <a:pt x="38" y="72"/>
                  </a:lnTo>
                  <a:lnTo>
                    <a:pt x="144" y="107"/>
                  </a:lnTo>
                  <a:lnTo>
                    <a:pt x="171" y="61"/>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38" name="Freeform 62"/>
            <p:cNvSpPr>
              <a:spLocks/>
            </p:cNvSpPr>
            <p:nvPr/>
          </p:nvSpPr>
          <p:spPr bwMode="gray">
            <a:xfrm>
              <a:off x="1489693" y="3668779"/>
              <a:ext cx="568647" cy="296672"/>
            </a:xfrm>
            <a:custGeom>
              <a:avLst/>
              <a:gdLst>
                <a:gd name="T0" fmla="*/ 534 w 534"/>
                <a:gd name="T1" fmla="*/ 164 h 257"/>
                <a:gd name="T2" fmla="*/ 448 w 534"/>
                <a:gd name="T3" fmla="*/ 169 h 257"/>
                <a:gd name="T4" fmla="*/ 306 w 534"/>
                <a:gd name="T5" fmla="*/ 65 h 257"/>
                <a:gd name="T6" fmla="*/ 205 w 534"/>
                <a:gd name="T7" fmla="*/ 65 h 257"/>
                <a:gd name="T8" fmla="*/ 174 w 534"/>
                <a:gd name="T9" fmla="*/ 107 h 257"/>
                <a:gd name="T10" fmla="*/ 114 w 534"/>
                <a:gd name="T11" fmla="*/ 46 h 257"/>
                <a:gd name="T12" fmla="*/ 119 w 534"/>
                <a:gd name="T13" fmla="*/ 0 h 257"/>
                <a:gd name="T14" fmla="*/ 43 w 534"/>
                <a:gd name="T15" fmla="*/ 0 h 257"/>
                <a:gd name="T16" fmla="*/ 0 w 534"/>
                <a:gd name="T17" fmla="*/ 65 h 257"/>
                <a:gd name="T18" fmla="*/ 51 w 534"/>
                <a:gd name="T19" fmla="*/ 147 h 257"/>
                <a:gd name="T20" fmla="*/ 161 w 534"/>
                <a:gd name="T21" fmla="*/ 137 h 257"/>
                <a:gd name="T22" fmla="*/ 148 w 534"/>
                <a:gd name="T23" fmla="*/ 181 h 257"/>
                <a:gd name="T24" fmla="*/ 247 w 534"/>
                <a:gd name="T25" fmla="*/ 226 h 257"/>
                <a:gd name="T26" fmla="*/ 334 w 534"/>
                <a:gd name="T27" fmla="*/ 164 h 257"/>
                <a:gd name="T28" fmla="*/ 408 w 534"/>
                <a:gd name="T29" fmla="*/ 221 h 257"/>
                <a:gd name="T30" fmla="*/ 507 w 534"/>
                <a:gd name="T31" fmla="*/ 215 h 257"/>
                <a:gd name="T32" fmla="*/ 505 w 534"/>
                <a:gd name="T33" fmla="*/ 249 h 257"/>
                <a:gd name="T34" fmla="*/ 534 w 534"/>
                <a:gd name="T35" fmla="*/ 257 h 257"/>
                <a:gd name="T36" fmla="*/ 534 w 534"/>
                <a:gd name="T37" fmla="*/ 164 h 257"/>
                <a:gd name="T38" fmla="*/ 534 w 534"/>
                <a:gd name="T39" fmla="*/ 164 h 257"/>
                <a:gd name="T40" fmla="*/ 534 w 534"/>
                <a:gd name="T41" fmla="*/ 164 h 25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34"/>
                <a:gd name="T64" fmla="*/ 0 h 257"/>
                <a:gd name="T65" fmla="*/ 534 w 534"/>
                <a:gd name="T66" fmla="*/ 257 h 25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34" h="257">
                  <a:moveTo>
                    <a:pt x="534" y="164"/>
                  </a:moveTo>
                  <a:lnTo>
                    <a:pt x="448" y="169"/>
                  </a:lnTo>
                  <a:lnTo>
                    <a:pt x="306" y="65"/>
                  </a:lnTo>
                  <a:lnTo>
                    <a:pt x="205" y="65"/>
                  </a:lnTo>
                  <a:lnTo>
                    <a:pt x="174" y="107"/>
                  </a:lnTo>
                  <a:lnTo>
                    <a:pt x="114" y="46"/>
                  </a:lnTo>
                  <a:lnTo>
                    <a:pt x="119" y="0"/>
                  </a:lnTo>
                  <a:lnTo>
                    <a:pt x="43" y="0"/>
                  </a:lnTo>
                  <a:lnTo>
                    <a:pt x="0" y="65"/>
                  </a:lnTo>
                  <a:lnTo>
                    <a:pt x="51" y="147"/>
                  </a:lnTo>
                  <a:lnTo>
                    <a:pt x="161" y="137"/>
                  </a:lnTo>
                  <a:lnTo>
                    <a:pt x="148" y="181"/>
                  </a:lnTo>
                  <a:lnTo>
                    <a:pt x="247" y="226"/>
                  </a:lnTo>
                  <a:lnTo>
                    <a:pt x="334" y="164"/>
                  </a:lnTo>
                  <a:lnTo>
                    <a:pt x="408" y="221"/>
                  </a:lnTo>
                  <a:lnTo>
                    <a:pt x="507" y="215"/>
                  </a:lnTo>
                  <a:lnTo>
                    <a:pt x="505" y="249"/>
                  </a:lnTo>
                  <a:lnTo>
                    <a:pt x="534" y="257"/>
                  </a:lnTo>
                  <a:lnTo>
                    <a:pt x="534" y="164"/>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39" name="Freeform 63"/>
            <p:cNvSpPr>
              <a:spLocks/>
            </p:cNvSpPr>
            <p:nvPr/>
          </p:nvSpPr>
          <p:spPr bwMode="gray">
            <a:xfrm>
              <a:off x="850764" y="3942274"/>
              <a:ext cx="645319" cy="806578"/>
            </a:xfrm>
            <a:custGeom>
              <a:avLst/>
              <a:gdLst>
                <a:gd name="T0" fmla="*/ 530 w 606"/>
                <a:gd name="T1" fmla="*/ 0 h 696"/>
                <a:gd name="T2" fmla="*/ 359 w 606"/>
                <a:gd name="T3" fmla="*/ 38 h 696"/>
                <a:gd name="T4" fmla="*/ 310 w 606"/>
                <a:gd name="T5" fmla="*/ 114 h 696"/>
                <a:gd name="T6" fmla="*/ 247 w 606"/>
                <a:gd name="T7" fmla="*/ 108 h 696"/>
                <a:gd name="T8" fmla="*/ 0 w 606"/>
                <a:gd name="T9" fmla="*/ 274 h 696"/>
                <a:gd name="T10" fmla="*/ 38 w 606"/>
                <a:gd name="T11" fmla="*/ 353 h 696"/>
                <a:gd name="T12" fmla="*/ 10 w 606"/>
                <a:gd name="T13" fmla="*/ 458 h 696"/>
                <a:gd name="T14" fmla="*/ 27 w 606"/>
                <a:gd name="T15" fmla="*/ 545 h 696"/>
                <a:gd name="T16" fmla="*/ 95 w 606"/>
                <a:gd name="T17" fmla="*/ 564 h 696"/>
                <a:gd name="T18" fmla="*/ 122 w 606"/>
                <a:gd name="T19" fmla="*/ 661 h 696"/>
                <a:gd name="T20" fmla="*/ 222 w 606"/>
                <a:gd name="T21" fmla="*/ 696 h 696"/>
                <a:gd name="T22" fmla="*/ 300 w 606"/>
                <a:gd name="T23" fmla="*/ 618 h 696"/>
                <a:gd name="T24" fmla="*/ 386 w 606"/>
                <a:gd name="T25" fmla="*/ 644 h 696"/>
                <a:gd name="T26" fmla="*/ 414 w 606"/>
                <a:gd name="T27" fmla="*/ 633 h 696"/>
                <a:gd name="T28" fmla="*/ 488 w 606"/>
                <a:gd name="T29" fmla="*/ 648 h 696"/>
                <a:gd name="T30" fmla="*/ 481 w 606"/>
                <a:gd name="T31" fmla="*/ 673 h 696"/>
                <a:gd name="T32" fmla="*/ 530 w 606"/>
                <a:gd name="T33" fmla="*/ 678 h 696"/>
                <a:gd name="T34" fmla="*/ 606 w 606"/>
                <a:gd name="T35" fmla="*/ 621 h 696"/>
                <a:gd name="T36" fmla="*/ 601 w 606"/>
                <a:gd name="T37" fmla="*/ 555 h 696"/>
                <a:gd name="T38" fmla="*/ 578 w 606"/>
                <a:gd name="T39" fmla="*/ 500 h 696"/>
                <a:gd name="T40" fmla="*/ 585 w 606"/>
                <a:gd name="T41" fmla="*/ 352 h 696"/>
                <a:gd name="T42" fmla="*/ 507 w 606"/>
                <a:gd name="T43" fmla="*/ 279 h 696"/>
                <a:gd name="T44" fmla="*/ 540 w 606"/>
                <a:gd name="T45" fmla="*/ 215 h 696"/>
                <a:gd name="T46" fmla="*/ 517 w 606"/>
                <a:gd name="T47" fmla="*/ 123 h 696"/>
                <a:gd name="T48" fmla="*/ 530 w 606"/>
                <a:gd name="T49" fmla="*/ 114 h 696"/>
                <a:gd name="T50" fmla="*/ 549 w 606"/>
                <a:gd name="T51" fmla="*/ 47 h 696"/>
                <a:gd name="T52" fmla="*/ 530 w 606"/>
                <a:gd name="T53" fmla="*/ 0 h 696"/>
                <a:gd name="T54" fmla="*/ 530 w 606"/>
                <a:gd name="T55" fmla="*/ 0 h 696"/>
                <a:gd name="T56" fmla="*/ 530 w 606"/>
                <a:gd name="T57" fmla="*/ 0 h 69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06"/>
                <a:gd name="T88" fmla="*/ 0 h 696"/>
                <a:gd name="T89" fmla="*/ 606 w 606"/>
                <a:gd name="T90" fmla="*/ 696 h 69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06" h="696">
                  <a:moveTo>
                    <a:pt x="530" y="0"/>
                  </a:moveTo>
                  <a:lnTo>
                    <a:pt x="359" y="38"/>
                  </a:lnTo>
                  <a:lnTo>
                    <a:pt x="310" y="114"/>
                  </a:lnTo>
                  <a:lnTo>
                    <a:pt x="247" y="108"/>
                  </a:lnTo>
                  <a:lnTo>
                    <a:pt x="0" y="274"/>
                  </a:lnTo>
                  <a:lnTo>
                    <a:pt x="38" y="353"/>
                  </a:lnTo>
                  <a:lnTo>
                    <a:pt x="10" y="458"/>
                  </a:lnTo>
                  <a:lnTo>
                    <a:pt x="27" y="545"/>
                  </a:lnTo>
                  <a:lnTo>
                    <a:pt x="95" y="564"/>
                  </a:lnTo>
                  <a:lnTo>
                    <a:pt x="122" y="661"/>
                  </a:lnTo>
                  <a:lnTo>
                    <a:pt x="222" y="696"/>
                  </a:lnTo>
                  <a:lnTo>
                    <a:pt x="300" y="618"/>
                  </a:lnTo>
                  <a:lnTo>
                    <a:pt x="386" y="644"/>
                  </a:lnTo>
                  <a:lnTo>
                    <a:pt x="414" y="633"/>
                  </a:lnTo>
                  <a:lnTo>
                    <a:pt x="488" y="648"/>
                  </a:lnTo>
                  <a:lnTo>
                    <a:pt x="481" y="673"/>
                  </a:lnTo>
                  <a:lnTo>
                    <a:pt x="530" y="678"/>
                  </a:lnTo>
                  <a:lnTo>
                    <a:pt x="606" y="621"/>
                  </a:lnTo>
                  <a:lnTo>
                    <a:pt x="601" y="555"/>
                  </a:lnTo>
                  <a:lnTo>
                    <a:pt x="578" y="500"/>
                  </a:lnTo>
                  <a:lnTo>
                    <a:pt x="585" y="352"/>
                  </a:lnTo>
                  <a:lnTo>
                    <a:pt x="507" y="279"/>
                  </a:lnTo>
                  <a:lnTo>
                    <a:pt x="540" y="215"/>
                  </a:lnTo>
                  <a:lnTo>
                    <a:pt x="517" y="123"/>
                  </a:lnTo>
                  <a:lnTo>
                    <a:pt x="530" y="114"/>
                  </a:lnTo>
                  <a:lnTo>
                    <a:pt x="549" y="47"/>
                  </a:lnTo>
                  <a:lnTo>
                    <a:pt x="530" y="0"/>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40" name="Freeform 64"/>
            <p:cNvSpPr>
              <a:spLocks/>
            </p:cNvSpPr>
            <p:nvPr/>
          </p:nvSpPr>
          <p:spPr bwMode="gray">
            <a:xfrm>
              <a:off x="1393854" y="3960816"/>
              <a:ext cx="726250" cy="783400"/>
            </a:xfrm>
            <a:custGeom>
              <a:avLst/>
              <a:gdLst>
                <a:gd name="T0" fmla="*/ 23 w 683"/>
                <a:gd name="T1" fmla="*/ 99 h 677"/>
                <a:gd name="T2" fmla="*/ 10 w 683"/>
                <a:gd name="T3" fmla="*/ 107 h 677"/>
                <a:gd name="T4" fmla="*/ 31 w 683"/>
                <a:gd name="T5" fmla="*/ 200 h 677"/>
                <a:gd name="T6" fmla="*/ 0 w 683"/>
                <a:gd name="T7" fmla="*/ 264 h 677"/>
                <a:gd name="T8" fmla="*/ 76 w 683"/>
                <a:gd name="T9" fmla="*/ 335 h 677"/>
                <a:gd name="T10" fmla="*/ 71 w 683"/>
                <a:gd name="T11" fmla="*/ 466 h 677"/>
                <a:gd name="T12" fmla="*/ 69 w 683"/>
                <a:gd name="T13" fmla="*/ 487 h 677"/>
                <a:gd name="T14" fmla="*/ 95 w 683"/>
                <a:gd name="T15" fmla="*/ 542 h 677"/>
                <a:gd name="T16" fmla="*/ 97 w 683"/>
                <a:gd name="T17" fmla="*/ 608 h 677"/>
                <a:gd name="T18" fmla="*/ 128 w 683"/>
                <a:gd name="T19" fmla="*/ 629 h 677"/>
                <a:gd name="T20" fmla="*/ 145 w 683"/>
                <a:gd name="T21" fmla="*/ 663 h 677"/>
                <a:gd name="T22" fmla="*/ 196 w 683"/>
                <a:gd name="T23" fmla="*/ 663 h 677"/>
                <a:gd name="T24" fmla="*/ 206 w 683"/>
                <a:gd name="T25" fmla="*/ 610 h 677"/>
                <a:gd name="T26" fmla="*/ 249 w 683"/>
                <a:gd name="T27" fmla="*/ 593 h 677"/>
                <a:gd name="T28" fmla="*/ 287 w 683"/>
                <a:gd name="T29" fmla="*/ 622 h 677"/>
                <a:gd name="T30" fmla="*/ 320 w 683"/>
                <a:gd name="T31" fmla="*/ 663 h 677"/>
                <a:gd name="T32" fmla="*/ 418 w 683"/>
                <a:gd name="T33" fmla="*/ 677 h 677"/>
                <a:gd name="T34" fmla="*/ 384 w 683"/>
                <a:gd name="T35" fmla="*/ 635 h 677"/>
                <a:gd name="T36" fmla="*/ 470 w 683"/>
                <a:gd name="T37" fmla="*/ 597 h 677"/>
                <a:gd name="T38" fmla="*/ 460 w 683"/>
                <a:gd name="T39" fmla="*/ 517 h 677"/>
                <a:gd name="T40" fmla="*/ 515 w 683"/>
                <a:gd name="T41" fmla="*/ 464 h 677"/>
                <a:gd name="T42" fmla="*/ 546 w 683"/>
                <a:gd name="T43" fmla="*/ 464 h 677"/>
                <a:gd name="T44" fmla="*/ 531 w 683"/>
                <a:gd name="T45" fmla="*/ 407 h 677"/>
                <a:gd name="T46" fmla="*/ 609 w 683"/>
                <a:gd name="T47" fmla="*/ 350 h 677"/>
                <a:gd name="T48" fmla="*/ 567 w 683"/>
                <a:gd name="T49" fmla="*/ 346 h 677"/>
                <a:gd name="T50" fmla="*/ 550 w 683"/>
                <a:gd name="T51" fmla="*/ 270 h 677"/>
                <a:gd name="T52" fmla="*/ 618 w 683"/>
                <a:gd name="T53" fmla="*/ 249 h 677"/>
                <a:gd name="T54" fmla="*/ 656 w 683"/>
                <a:gd name="T55" fmla="*/ 251 h 677"/>
                <a:gd name="T56" fmla="*/ 683 w 683"/>
                <a:gd name="T57" fmla="*/ 169 h 677"/>
                <a:gd name="T58" fmla="*/ 603 w 683"/>
                <a:gd name="T59" fmla="*/ 0 h 677"/>
                <a:gd name="T60" fmla="*/ 593 w 683"/>
                <a:gd name="T61" fmla="*/ 4 h 677"/>
                <a:gd name="T62" fmla="*/ 531 w 683"/>
                <a:gd name="T63" fmla="*/ 99 h 677"/>
                <a:gd name="T64" fmla="*/ 447 w 683"/>
                <a:gd name="T65" fmla="*/ 126 h 677"/>
                <a:gd name="T66" fmla="*/ 415 w 683"/>
                <a:gd name="T67" fmla="*/ 158 h 677"/>
                <a:gd name="T68" fmla="*/ 280 w 683"/>
                <a:gd name="T69" fmla="*/ 133 h 677"/>
                <a:gd name="T70" fmla="*/ 297 w 683"/>
                <a:gd name="T71" fmla="*/ 105 h 677"/>
                <a:gd name="T72" fmla="*/ 204 w 683"/>
                <a:gd name="T73" fmla="*/ 59 h 677"/>
                <a:gd name="T74" fmla="*/ 126 w 683"/>
                <a:gd name="T75" fmla="*/ 59 h 677"/>
                <a:gd name="T76" fmla="*/ 109 w 683"/>
                <a:gd name="T77" fmla="*/ 103 h 677"/>
                <a:gd name="T78" fmla="*/ 23 w 683"/>
                <a:gd name="T79" fmla="*/ 99 h 677"/>
                <a:gd name="T80" fmla="*/ 23 w 683"/>
                <a:gd name="T81" fmla="*/ 99 h 677"/>
                <a:gd name="T82" fmla="*/ 23 w 683"/>
                <a:gd name="T83" fmla="*/ 99 h 67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83"/>
                <a:gd name="T127" fmla="*/ 0 h 677"/>
                <a:gd name="T128" fmla="*/ 683 w 683"/>
                <a:gd name="T129" fmla="*/ 677 h 67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83" h="677">
                  <a:moveTo>
                    <a:pt x="23" y="99"/>
                  </a:moveTo>
                  <a:lnTo>
                    <a:pt x="10" y="107"/>
                  </a:lnTo>
                  <a:lnTo>
                    <a:pt x="31" y="200"/>
                  </a:lnTo>
                  <a:lnTo>
                    <a:pt x="0" y="264"/>
                  </a:lnTo>
                  <a:lnTo>
                    <a:pt x="76" y="335"/>
                  </a:lnTo>
                  <a:lnTo>
                    <a:pt x="71" y="466"/>
                  </a:lnTo>
                  <a:lnTo>
                    <a:pt x="69" y="487"/>
                  </a:lnTo>
                  <a:lnTo>
                    <a:pt x="95" y="542"/>
                  </a:lnTo>
                  <a:lnTo>
                    <a:pt x="97" y="608"/>
                  </a:lnTo>
                  <a:lnTo>
                    <a:pt x="128" y="629"/>
                  </a:lnTo>
                  <a:lnTo>
                    <a:pt x="145" y="663"/>
                  </a:lnTo>
                  <a:lnTo>
                    <a:pt x="196" y="663"/>
                  </a:lnTo>
                  <a:lnTo>
                    <a:pt x="206" y="610"/>
                  </a:lnTo>
                  <a:lnTo>
                    <a:pt x="249" y="593"/>
                  </a:lnTo>
                  <a:lnTo>
                    <a:pt x="287" y="622"/>
                  </a:lnTo>
                  <a:lnTo>
                    <a:pt x="320" y="663"/>
                  </a:lnTo>
                  <a:lnTo>
                    <a:pt x="418" y="677"/>
                  </a:lnTo>
                  <a:lnTo>
                    <a:pt x="384" y="635"/>
                  </a:lnTo>
                  <a:lnTo>
                    <a:pt x="470" y="597"/>
                  </a:lnTo>
                  <a:lnTo>
                    <a:pt x="460" y="517"/>
                  </a:lnTo>
                  <a:lnTo>
                    <a:pt x="515" y="464"/>
                  </a:lnTo>
                  <a:lnTo>
                    <a:pt x="546" y="464"/>
                  </a:lnTo>
                  <a:lnTo>
                    <a:pt x="531" y="407"/>
                  </a:lnTo>
                  <a:lnTo>
                    <a:pt x="609" y="350"/>
                  </a:lnTo>
                  <a:lnTo>
                    <a:pt x="567" y="346"/>
                  </a:lnTo>
                  <a:lnTo>
                    <a:pt x="550" y="270"/>
                  </a:lnTo>
                  <a:lnTo>
                    <a:pt x="618" y="249"/>
                  </a:lnTo>
                  <a:lnTo>
                    <a:pt x="656" y="251"/>
                  </a:lnTo>
                  <a:lnTo>
                    <a:pt x="683" y="169"/>
                  </a:lnTo>
                  <a:lnTo>
                    <a:pt x="603" y="0"/>
                  </a:lnTo>
                  <a:lnTo>
                    <a:pt x="593" y="4"/>
                  </a:lnTo>
                  <a:lnTo>
                    <a:pt x="531" y="99"/>
                  </a:lnTo>
                  <a:lnTo>
                    <a:pt x="447" y="126"/>
                  </a:lnTo>
                  <a:lnTo>
                    <a:pt x="415" y="158"/>
                  </a:lnTo>
                  <a:lnTo>
                    <a:pt x="280" y="133"/>
                  </a:lnTo>
                  <a:lnTo>
                    <a:pt x="297" y="105"/>
                  </a:lnTo>
                  <a:lnTo>
                    <a:pt x="204" y="59"/>
                  </a:lnTo>
                  <a:lnTo>
                    <a:pt x="126" y="59"/>
                  </a:lnTo>
                  <a:lnTo>
                    <a:pt x="109" y="103"/>
                  </a:lnTo>
                  <a:lnTo>
                    <a:pt x="23" y="99"/>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41" name="Freeform 65"/>
            <p:cNvSpPr>
              <a:spLocks/>
            </p:cNvSpPr>
            <p:nvPr/>
          </p:nvSpPr>
          <p:spPr bwMode="gray">
            <a:xfrm>
              <a:off x="1266068" y="4644552"/>
              <a:ext cx="1005248" cy="1012857"/>
            </a:xfrm>
            <a:custGeom>
              <a:avLst/>
              <a:gdLst>
                <a:gd name="T0" fmla="*/ 0 w 944"/>
                <a:gd name="T1" fmla="*/ 38 h 875"/>
                <a:gd name="T2" fmla="*/ 41 w 944"/>
                <a:gd name="T3" fmla="*/ 93 h 875"/>
                <a:gd name="T4" fmla="*/ 55 w 944"/>
                <a:gd name="T5" fmla="*/ 264 h 875"/>
                <a:gd name="T6" fmla="*/ 104 w 944"/>
                <a:gd name="T7" fmla="*/ 306 h 875"/>
                <a:gd name="T8" fmla="*/ 212 w 944"/>
                <a:gd name="T9" fmla="*/ 306 h 875"/>
                <a:gd name="T10" fmla="*/ 334 w 944"/>
                <a:gd name="T11" fmla="*/ 350 h 875"/>
                <a:gd name="T12" fmla="*/ 315 w 944"/>
                <a:gd name="T13" fmla="*/ 470 h 875"/>
                <a:gd name="T14" fmla="*/ 475 w 944"/>
                <a:gd name="T15" fmla="*/ 481 h 875"/>
                <a:gd name="T16" fmla="*/ 566 w 944"/>
                <a:gd name="T17" fmla="*/ 458 h 875"/>
                <a:gd name="T18" fmla="*/ 619 w 944"/>
                <a:gd name="T19" fmla="*/ 557 h 875"/>
                <a:gd name="T20" fmla="*/ 669 w 944"/>
                <a:gd name="T21" fmla="*/ 572 h 875"/>
                <a:gd name="T22" fmla="*/ 627 w 944"/>
                <a:gd name="T23" fmla="*/ 679 h 875"/>
                <a:gd name="T24" fmla="*/ 676 w 944"/>
                <a:gd name="T25" fmla="*/ 734 h 875"/>
                <a:gd name="T26" fmla="*/ 631 w 944"/>
                <a:gd name="T27" fmla="*/ 783 h 875"/>
                <a:gd name="T28" fmla="*/ 652 w 944"/>
                <a:gd name="T29" fmla="*/ 846 h 875"/>
                <a:gd name="T30" fmla="*/ 743 w 944"/>
                <a:gd name="T31" fmla="*/ 846 h 875"/>
                <a:gd name="T32" fmla="*/ 796 w 944"/>
                <a:gd name="T33" fmla="*/ 875 h 875"/>
                <a:gd name="T34" fmla="*/ 826 w 944"/>
                <a:gd name="T35" fmla="*/ 867 h 875"/>
                <a:gd name="T36" fmla="*/ 769 w 944"/>
                <a:gd name="T37" fmla="*/ 745 h 875"/>
                <a:gd name="T38" fmla="*/ 790 w 944"/>
                <a:gd name="T39" fmla="*/ 597 h 875"/>
                <a:gd name="T40" fmla="*/ 743 w 944"/>
                <a:gd name="T41" fmla="*/ 582 h 875"/>
                <a:gd name="T42" fmla="*/ 743 w 944"/>
                <a:gd name="T43" fmla="*/ 563 h 875"/>
                <a:gd name="T44" fmla="*/ 767 w 944"/>
                <a:gd name="T45" fmla="*/ 569 h 875"/>
                <a:gd name="T46" fmla="*/ 767 w 944"/>
                <a:gd name="T47" fmla="*/ 542 h 875"/>
                <a:gd name="T48" fmla="*/ 868 w 944"/>
                <a:gd name="T49" fmla="*/ 481 h 875"/>
                <a:gd name="T50" fmla="*/ 910 w 944"/>
                <a:gd name="T51" fmla="*/ 500 h 875"/>
                <a:gd name="T52" fmla="*/ 944 w 944"/>
                <a:gd name="T53" fmla="*/ 483 h 875"/>
                <a:gd name="T54" fmla="*/ 944 w 944"/>
                <a:gd name="T55" fmla="*/ 333 h 875"/>
                <a:gd name="T56" fmla="*/ 908 w 944"/>
                <a:gd name="T57" fmla="*/ 295 h 875"/>
                <a:gd name="T58" fmla="*/ 889 w 944"/>
                <a:gd name="T59" fmla="*/ 299 h 875"/>
                <a:gd name="T60" fmla="*/ 868 w 944"/>
                <a:gd name="T61" fmla="*/ 255 h 875"/>
                <a:gd name="T62" fmla="*/ 796 w 944"/>
                <a:gd name="T63" fmla="*/ 240 h 875"/>
                <a:gd name="T64" fmla="*/ 709 w 944"/>
                <a:gd name="T65" fmla="*/ 209 h 875"/>
                <a:gd name="T66" fmla="*/ 718 w 944"/>
                <a:gd name="T67" fmla="*/ 185 h 875"/>
                <a:gd name="T68" fmla="*/ 682 w 944"/>
                <a:gd name="T69" fmla="*/ 168 h 875"/>
                <a:gd name="T70" fmla="*/ 648 w 944"/>
                <a:gd name="T71" fmla="*/ 175 h 875"/>
                <a:gd name="T72" fmla="*/ 617 w 944"/>
                <a:gd name="T73" fmla="*/ 160 h 875"/>
                <a:gd name="T74" fmla="*/ 617 w 944"/>
                <a:gd name="T75" fmla="*/ 109 h 875"/>
                <a:gd name="T76" fmla="*/ 576 w 944"/>
                <a:gd name="T77" fmla="*/ 95 h 875"/>
                <a:gd name="T78" fmla="*/ 541 w 944"/>
                <a:gd name="T79" fmla="*/ 110 h 875"/>
                <a:gd name="T80" fmla="*/ 541 w 944"/>
                <a:gd name="T81" fmla="*/ 80 h 875"/>
                <a:gd name="T82" fmla="*/ 439 w 944"/>
                <a:gd name="T83" fmla="*/ 71 h 875"/>
                <a:gd name="T84" fmla="*/ 403 w 944"/>
                <a:gd name="T85" fmla="*/ 29 h 875"/>
                <a:gd name="T86" fmla="*/ 368 w 944"/>
                <a:gd name="T87" fmla="*/ 0 h 875"/>
                <a:gd name="T88" fmla="*/ 325 w 944"/>
                <a:gd name="T89" fmla="*/ 17 h 875"/>
                <a:gd name="T90" fmla="*/ 315 w 944"/>
                <a:gd name="T91" fmla="*/ 71 h 875"/>
                <a:gd name="T92" fmla="*/ 264 w 944"/>
                <a:gd name="T93" fmla="*/ 71 h 875"/>
                <a:gd name="T94" fmla="*/ 247 w 944"/>
                <a:gd name="T95" fmla="*/ 34 h 875"/>
                <a:gd name="T96" fmla="*/ 214 w 944"/>
                <a:gd name="T97" fmla="*/ 17 h 875"/>
                <a:gd name="T98" fmla="*/ 140 w 944"/>
                <a:gd name="T99" fmla="*/ 71 h 875"/>
                <a:gd name="T100" fmla="*/ 93 w 944"/>
                <a:gd name="T101" fmla="*/ 67 h 875"/>
                <a:gd name="T102" fmla="*/ 100 w 944"/>
                <a:gd name="T103" fmla="*/ 42 h 875"/>
                <a:gd name="T104" fmla="*/ 26 w 944"/>
                <a:gd name="T105" fmla="*/ 27 h 875"/>
                <a:gd name="T106" fmla="*/ 0 w 944"/>
                <a:gd name="T107" fmla="*/ 38 h 875"/>
                <a:gd name="T108" fmla="*/ 0 w 944"/>
                <a:gd name="T109" fmla="*/ 38 h 875"/>
                <a:gd name="T110" fmla="*/ 0 w 944"/>
                <a:gd name="T111" fmla="*/ 38 h 87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44"/>
                <a:gd name="T169" fmla="*/ 0 h 875"/>
                <a:gd name="T170" fmla="*/ 944 w 944"/>
                <a:gd name="T171" fmla="*/ 875 h 87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44" h="875">
                  <a:moveTo>
                    <a:pt x="0" y="38"/>
                  </a:moveTo>
                  <a:lnTo>
                    <a:pt x="41" y="93"/>
                  </a:lnTo>
                  <a:lnTo>
                    <a:pt x="55" y="264"/>
                  </a:lnTo>
                  <a:lnTo>
                    <a:pt x="104" y="306"/>
                  </a:lnTo>
                  <a:lnTo>
                    <a:pt x="212" y="306"/>
                  </a:lnTo>
                  <a:lnTo>
                    <a:pt x="334" y="350"/>
                  </a:lnTo>
                  <a:lnTo>
                    <a:pt x="315" y="470"/>
                  </a:lnTo>
                  <a:lnTo>
                    <a:pt x="475" y="481"/>
                  </a:lnTo>
                  <a:lnTo>
                    <a:pt x="566" y="458"/>
                  </a:lnTo>
                  <a:lnTo>
                    <a:pt x="619" y="557"/>
                  </a:lnTo>
                  <a:lnTo>
                    <a:pt x="669" y="572"/>
                  </a:lnTo>
                  <a:lnTo>
                    <a:pt x="627" y="679"/>
                  </a:lnTo>
                  <a:lnTo>
                    <a:pt x="676" y="734"/>
                  </a:lnTo>
                  <a:lnTo>
                    <a:pt x="631" y="783"/>
                  </a:lnTo>
                  <a:lnTo>
                    <a:pt x="652" y="846"/>
                  </a:lnTo>
                  <a:lnTo>
                    <a:pt x="743" y="846"/>
                  </a:lnTo>
                  <a:lnTo>
                    <a:pt x="796" y="875"/>
                  </a:lnTo>
                  <a:lnTo>
                    <a:pt x="826" y="867"/>
                  </a:lnTo>
                  <a:lnTo>
                    <a:pt x="769" y="745"/>
                  </a:lnTo>
                  <a:lnTo>
                    <a:pt x="790" y="597"/>
                  </a:lnTo>
                  <a:lnTo>
                    <a:pt x="743" y="582"/>
                  </a:lnTo>
                  <a:lnTo>
                    <a:pt x="743" y="563"/>
                  </a:lnTo>
                  <a:lnTo>
                    <a:pt x="767" y="569"/>
                  </a:lnTo>
                  <a:lnTo>
                    <a:pt x="767" y="542"/>
                  </a:lnTo>
                  <a:lnTo>
                    <a:pt x="868" y="481"/>
                  </a:lnTo>
                  <a:lnTo>
                    <a:pt x="910" y="500"/>
                  </a:lnTo>
                  <a:lnTo>
                    <a:pt x="944" y="483"/>
                  </a:lnTo>
                  <a:lnTo>
                    <a:pt x="944" y="333"/>
                  </a:lnTo>
                  <a:lnTo>
                    <a:pt x="908" y="295"/>
                  </a:lnTo>
                  <a:lnTo>
                    <a:pt x="889" y="299"/>
                  </a:lnTo>
                  <a:lnTo>
                    <a:pt x="868" y="255"/>
                  </a:lnTo>
                  <a:lnTo>
                    <a:pt x="796" y="240"/>
                  </a:lnTo>
                  <a:lnTo>
                    <a:pt x="709" y="209"/>
                  </a:lnTo>
                  <a:lnTo>
                    <a:pt x="718" y="185"/>
                  </a:lnTo>
                  <a:lnTo>
                    <a:pt x="682" y="168"/>
                  </a:lnTo>
                  <a:lnTo>
                    <a:pt x="648" y="175"/>
                  </a:lnTo>
                  <a:lnTo>
                    <a:pt x="617" y="160"/>
                  </a:lnTo>
                  <a:lnTo>
                    <a:pt x="617" y="109"/>
                  </a:lnTo>
                  <a:lnTo>
                    <a:pt x="576" y="95"/>
                  </a:lnTo>
                  <a:lnTo>
                    <a:pt x="541" y="110"/>
                  </a:lnTo>
                  <a:lnTo>
                    <a:pt x="541" y="80"/>
                  </a:lnTo>
                  <a:lnTo>
                    <a:pt x="439" y="71"/>
                  </a:lnTo>
                  <a:lnTo>
                    <a:pt x="403" y="29"/>
                  </a:lnTo>
                  <a:lnTo>
                    <a:pt x="368" y="0"/>
                  </a:lnTo>
                  <a:lnTo>
                    <a:pt x="325" y="17"/>
                  </a:lnTo>
                  <a:lnTo>
                    <a:pt x="315" y="71"/>
                  </a:lnTo>
                  <a:lnTo>
                    <a:pt x="264" y="71"/>
                  </a:lnTo>
                  <a:lnTo>
                    <a:pt x="247" y="34"/>
                  </a:lnTo>
                  <a:lnTo>
                    <a:pt x="214" y="17"/>
                  </a:lnTo>
                  <a:lnTo>
                    <a:pt x="140" y="71"/>
                  </a:lnTo>
                  <a:lnTo>
                    <a:pt x="93" y="67"/>
                  </a:lnTo>
                  <a:lnTo>
                    <a:pt x="100" y="42"/>
                  </a:lnTo>
                  <a:lnTo>
                    <a:pt x="26" y="27"/>
                  </a:lnTo>
                  <a:lnTo>
                    <a:pt x="0" y="38"/>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42" name="Freeform 66"/>
            <p:cNvSpPr>
              <a:spLocks/>
            </p:cNvSpPr>
            <p:nvPr/>
          </p:nvSpPr>
          <p:spPr bwMode="gray">
            <a:xfrm>
              <a:off x="1802768" y="4366422"/>
              <a:ext cx="900890" cy="623475"/>
            </a:xfrm>
            <a:custGeom>
              <a:avLst/>
              <a:gdLst>
                <a:gd name="T0" fmla="*/ 608 w 848"/>
                <a:gd name="T1" fmla="*/ 28 h 538"/>
                <a:gd name="T2" fmla="*/ 557 w 848"/>
                <a:gd name="T3" fmla="*/ 15 h 538"/>
                <a:gd name="T4" fmla="*/ 538 w 848"/>
                <a:gd name="T5" fmla="*/ 32 h 538"/>
                <a:gd name="T6" fmla="*/ 432 w 848"/>
                <a:gd name="T7" fmla="*/ 32 h 538"/>
                <a:gd name="T8" fmla="*/ 369 w 848"/>
                <a:gd name="T9" fmla="*/ 19 h 538"/>
                <a:gd name="T10" fmla="*/ 358 w 848"/>
                <a:gd name="T11" fmla="*/ 40 h 538"/>
                <a:gd name="T12" fmla="*/ 316 w 848"/>
                <a:gd name="T13" fmla="*/ 40 h 538"/>
                <a:gd name="T14" fmla="*/ 283 w 848"/>
                <a:gd name="T15" fmla="*/ 4 h 538"/>
                <a:gd name="T16" fmla="*/ 225 w 848"/>
                <a:gd name="T17" fmla="*/ 0 h 538"/>
                <a:gd name="T18" fmla="*/ 147 w 848"/>
                <a:gd name="T19" fmla="*/ 55 h 538"/>
                <a:gd name="T20" fmla="*/ 162 w 848"/>
                <a:gd name="T21" fmla="*/ 112 h 538"/>
                <a:gd name="T22" fmla="*/ 128 w 848"/>
                <a:gd name="T23" fmla="*/ 112 h 538"/>
                <a:gd name="T24" fmla="*/ 76 w 848"/>
                <a:gd name="T25" fmla="*/ 165 h 538"/>
                <a:gd name="T26" fmla="*/ 86 w 848"/>
                <a:gd name="T27" fmla="*/ 245 h 538"/>
                <a:gd name="T28" fmla="*/ 0 w 848"/>
                <a:gd name="T29" fmla="*/ 285 h 538"/>
                <a:gd name="T30" fmla="*/ 36 w 848"/>
                <a:gd name="T31" fmla="*/ 325 h 538"/>
                <a:gd name="T32" fmla="*/ 36 w 848"/>
                <a:gd name="T33" fmla="*/ 351 h 538"/>
                <a:gd name="T34" fmla="*/ 78 w 848"/>
                <a:gd name="T35" fmla="*/ 336 h 538"/>
                <a:gd name="T36" fmla="*/ 114 w 848"/>
                <a:gd name="T37" fmla="*/ 351 h 538"/>
                <a:gd name="T38" fmla="*/ 114 w 848"/>
                <a:gd name="T39" fmla="*/ 399 h 538"/>
                <a:gd name="T40" fmla="*/ 147 w 848"/>
                <a:gd name="T41" fmla="*/ 418 h 538"/>
                <a:gd name="T42" fmla="*/ 179 w 848"/>
                <a:gd name="T43" fmla="*/ 407 h 538"/>
                <a:gd name="T44" fmla="*/ 215 w 848"/>
                <a:gd name="T45" fmla="*/ 426 h 538"/>
                <a:gd name="T46" fmla="*/ 204 w 848"/>
                <a:gd name="T47" fmla="*/ 448 h 538"/>
                <a:gd name="T48" fmla="*/ 289 w 848"/>
                <a:gd name="T49" fmla="*/ 479 h 538"/>
                <a:gd name="T50" fmla="*/ 367 w 848"/>
                <a:gd name="T51" fmla="*/ 496 h 538"/>
                <a:gd name="T52" fmla="*/ 384 w 848"/>
                <a:gd name="T53" fmla="*/ 538 h 538"/>
                <a:gd name="T54" fmla="*/ 428 w 848"/>
                <a:gd name="T55" fmla="*/ 524 h 538"/>
                <a:gd name="T56" fmla="*/ 432 w 848"/>
                <a:gd name="T57" fmla="*/ 486 h 538"/>
                <a:gd name="T58" fmla="*/ 494 w 848"/>
                <a:gd name="T59" fmla="*/ 494 h 538"/>
                <a:gd name="T60" fmla="*/ 508 w 848"/>
                <a:gd name="T61" fmla="*/ 462 h 538"/>
                <a:gd name="T62" fmla="*/ 551 w 848"/>
                <a:gd name="T63" fmla="*/ 448 h 538"/>
                <a:gd name="T64" fmla="*/ 584 w 848"/>
                <a:gd name="T65" fmla="*/ 469 h 538"/>
                <a:gd name="T66" fmla="*/ 688 w 848"/>
                <a:gd name="T67" fmla="*/ 426 h 538"/>
                <a:gd name="T68" fmla="*/ 702 w 848"/>
                <a:gd name="T69" fmla="*/ 448 h 538"/>
                <a:gd name="T70" fmla="*/ 728 w 848"/>
                <a:gd name="T71" fmla="*/ 416 h 538"/>
                <a:gd name="T72" fmla="*/ 707 w 848"/>
                <a:gd name="T73" fmla="*/ 376 h 538"/>
                <a:gd name="T74" fmla="*/ 723 w 848"/>
                <a:gd name="T75" fmla="*/ 327 h 538"/>
                <a:gd name="T76" fmla="*/ 774 w 848"/>
                <a:gd name="T77" fmla="*/ 336 h 538"/>
                <a:gd name="T78" fmla="*/ 774 w 848"/>
                <a:gd name="T79" fmla="*/ 266 h 538"/>
                <a:gd name="T80" fmla="*/ 802 w 848"/>
                <a:gd name="T81" fmla="*/ 268 h 538"/>
                <a:gd name="T82" fmla="*/ 804 w 848"/>
                <a:gd name="T83" fmla="*/ 243 h 538"/>
                <a:gd name="T84" fmla="*/ 785 w 848"/>
                <a:gd name="T85" fmla="*/ 228 h 538"/>
                <a:gd name="T86" fmla="*/ 848 w 848"/>
                <a:gd name="T87" fmla="*/ 154 h 538"/>
                <a:gd name="T88" fmla="*/ 829 w 848"/>
                <a:gd name="T89" fmla="*/ 131 h 538"/>
                <a:gd name="T90" fmla="*/ 751 w 848"/>
                <a:gd name="T91" fmla="*/ 112 h 538"/>
                <a:gd name="T92" fmla="*/ 751 w 848"/>
                <a:gd name="T93" fmla="*/ 83 h 538"/>
                <a:gd name="T94" fmla="*/ 802 w 848"/>
                <a:gd name="T95" fmla="*/ 23 h 538"/>
                <a:gd name="T96" fmla="*/ 797 w 848"/>
                <a:gd name="T97" fmla="*/ 0 h 538"/>
                <a:gd name="T98" fmla="*/ 757 w 848"/>
                <a:gd name="T99" fmla="*/ 0 h 538"/>
                <a:gd name="T100" fmla="*/ 745 w 848"/>
                <a:gd name="T101" fmla="*/ 19 h 538"/>
                <a:gd name="T102" fmla="*/ 719 w 848"/>
                <a:gd name="T103" fmla="*/ 0 h 538"/>
                <a:gd name="T104" fmla="*/ 608 w 848"/>
                <a:gd name="T105" fmla="*/ 28 h 538"/>
                <a:gd name="T106" fmla="*/ 608 w 848"/>
                <a:gd name="T107" fmla="*/ 28 h 538"/>
                <a:gd name="T108" fmla="*/ 608 w 848"/>
                <a:gd name="T109" fmla="*/ 28 h 5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48"/>
                <a:gd name="T166" fmla="*/ 0 h 538"/>
                <a:gd name="T167" fmla="*/ 848 w 848"/>
                <a:gd name="T168" fmla="*/ 538 h 5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48" h="538">
                  <a:moveTo>
                    <a:pt x="608" y="28"/>
                  </a:moveTo>
                  <a:lnTo>
                    <a:pt x="557" y="15"/>
                  </a:lnTo>
                  <a:lnTo>
                    <a:pt x="538" y="32"/>
                  </a:lnTo>
                  <a:lnTo>
                    <a:pt x="432" y="32"/>
                  </a:lnTo>
                  <a:lnTo>
                    <a:pt x="369" y="19"/>
                  </a:lnTo>
                  <a:lnTo>
                    <a:pt x="358" y="40"/>
                  </a:lnTo>
                  <a:lnTo>
                    <a:pt x="316" y="40"/>
                  </a:lnTo>
                  <a:lnTo>
                    <a:pt x="283" y="4"/>
                  </a:lnTo>
                  <a:lnTo>
                    <a:pt x="225" y="0"/>
                  </a:lnTo>
                  <a:lnTo>
                    <a:pt x="147" y="55"/>
                  </a:lnTo>
                  <a:lnTo>
                    <a:pt x="162" y="112"/>
                  </a:lnTo>
                  <a:lnTo>
                    <a:pt x="128" y="112"/>
                  </a:lnTo>
                  <a:lnTo>
                    <a:pt x="76" y="165"/>
                  </a:lnTo>
                  <a:lnTo>
                    <a:pt x="86" y="245"/>
                  </a:lnTo>
                  <a:lnTo>
                    <a:pt x="0" y="285"/>
                  </a:lnTo>
                  <a:lnTo>
                    <a:pt x="36" y="325"/>
                  </a:lnTo>
                  <a:lnTo>
                    <a:pt x="36" y="351"/>
                  </a:lnTo>
                  <a:lnTo>
                    <a:pt x="78" y="336"/>
                  </a:lnTo>
                  <a:lnTo>
                    <a:pt x="114" y="351"/>
                  </a:lnTo>
                  <a:lnTo>
                    <a:pt x="114" y="399"/>
                  </a:lnTo>
                  <a:lnTo>
                    <a:pt x="147" y="418"/>
                  </a:lnTo>
                  <a:lnTo>
                    <a:pt x="179" y="407"/>
                  </a:lnTo>
                  <a:lnTo>
                    <a:pt x="215" y="426"/>
                  </a:lnTo>
                  <a:lnTo>
                    <a:pt x="204" y="448"/>
                  </a:lnTo>
                  <a:lnTo>
                    <a:pt x="289" y="479"/>
                  </a:lnTo>
                  <a:lnTo>
                    <a:pt x="367" y="496"/>
                  </a:lnTo>
                  <a:lnTo>
                    <a:pt x="384" y="538"/>
                  </a:lnTo>
                  <a:lnTo>
                    <a:pt x="428" y="524"/>
                  </a:lnTo>
                  <a:lnTo>
                    <a:pt x="432" y="486"/>
                  </a:lnTo>
                  <a:lnTo>
                    <a:pt x="494" y="494"/>
                  </a:lnTo>
                  <a:lnTo>
                    <a:pt x="508" y="462"/>
                  </a:lnTo>
                  <a:lnTo>
                    <a:pt x="551" y="448"/>
                  </a:lnTo>
                  <a:lnTo>
                    <a:pt x="584" y="469"/>
                  </a:lnTo>
                  <a:lnTo>
                    <a:pt x="688" y="426"/>
                  </a:lnTo>
                  <a:lnTo>
                    <a:pt x="702" y="448"/>
                  </a:lnTo>
                  <a:lnTo>
                    <a:pt x="728" y="416"/>
                  </a:lnTo>
                  <a:lnTo>
                    <a:pt x="707" y="376"/>
                  </a:lnTo>
                  <a:lnTo>
                    <a:pt x="723" y="327"/>
                  </a:lnTo>
                  <a:lnTo>
                    <a:pt x="774" y="336"/>
                  </a:lnTo>
                  <a:lnTo>
                    <a:pt x="774" y="266"/>
                  </a:lnTo>
                  <a:lnTo>
                    <a:pt x="802" y="268"/>
                  </a:lnTo>
                  <a:lnTo>
                    <a:pt x="804" y="243"/>
                  </a:lnTo>
                  <a:lnTo>
                    <a:pt x="785" y="228"/>
                  </a:lnTo>
                  <a:lnTo>
                    <a:pt x="848" y="154"/>
                  </a:lnTo>
                  <a:lnTo>
                    <a:pt x="829" y="131"/>
                  </a:lnTo>
                  <a:lnTo>
                    <a:pt x="751" y="112"/>
                  </a:lnTo>
                  <a:lnTo>
                    <a:pt x="751" y="83"/>
                  </a:lnTo>
                  <a:lnTo>
                    <a:pt x="802" y="23"/>
                  </a:lnTo>
                  <a:lnTo>
                    <a:pt x="797" y="0"/>
                  </a:lnTo>
                  <a:lnTo>
                    <a:pt x="757" y="0"/>
                  </a:lnTo>
                  <a:lnTo>
                    <a:pt x="745" y="19"/>
                  </a:lnTo>
                  <a:lnTo>
                    <a:pt x="719" y="0"/>
                  </a:lnTo>
                  <a:lnTo>
                    <a:pt x="608" y="28"/>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43" name="Freeform 67"/>
            <p:cNvSpPr>
              <a:spLocks/>
            </p:cNvSpPr>
            <p:nvPr/>
          </p:nvSpPr>
          <p:spPr bwMode="gray">
            <a:xfrm>
              <a:off x="2056209" y="4862421"/>
              <a:ext cx="800791" cy="913194"/>
            </a:xfrm>
            <a:custGeom>
              <a:avLst/>
              <a:gdLst>
                <a:gd name="T0" fmla="*/ 726 w 751"/>
                <a:gd name="T1" fmla="*/ 265 h 787"/>
                <a:gd name="T2" fmla="*/ 671 w 751"/>
                <a:gd name="T3" fmla="*/ 276 h 787"/>
                <a:gd name="T4" fmla="*/ 612 w 751"/>
                <a:gd name="T5" fmla="*/ 166 h 787"/>
                <a:gd name="T6" fmla="*/ 549 w 751"/>
                <a:gd name="T7" fmla="*/ 132 h 787"/>
                <a:gd name="T8" fmla="*/ 496 w 751"/>
                <a:gd name="T9" fmla="*/ 154 h 787"/>
                <a:gd name="T10" fmla="*/ 467 w 751"/>
                <a:gd name="T11" fmla="*/ 132 h 787"/>
                <a:gd name="T12" fmla="*/ 467 w 751"/>
                <a:gd name="T13" fmla="*/ 111 h 787"/>
                <a:gd name="T14" fmla="*/ 502 w 751"/>
                <a:gd name="T15" fmla="*/ 76 h 787"/>
                <a:gd name="T16" fmla="*/ 448 w 751"/>
                <a:gd name="T17" fmla="*/ 0 h 787"/>
                <a:gd name="T18" fmla="*/ 344 w 751"/>
                <a:gd name="T19" fmla="*/ 44 h 787"/>
                <a:gd name="T20" fmla="*/ 311 w 751"/>
                <a:gd name="T21" fmla="*/ 19 h 787"/>
                <a:gd name="T22" fmla="*/ 268 w 751"/>
                <a:gd name="T23" fmla="*/ 35 h 787"/>
                <a:gd name="T24" fmla="*/ 254 w 751"/>
                <a:gd name="T25" fmla="*/ 67 h 787"/>
                <a:gd name="T26" fmla="*/ 192 w 751"/>
                <a:gd name="T27" fmla="*/ 57 h 787"/>
                <a:gd name="T28" fmla="*/ 190 w 751"/>
                <a:gd name="T29" fmla="*/ 97 h 787"/>
                <a:gd name="T30" fmla="*/ 165 w 751"/>
                <a:gd name="T31" fmla="*/ 107 h 787"/>
                <a:gd name="T32" fmla="*/ 201 w 751"/>
                <a:gd name="T33" fmla="*/ 145 h 787"/>
                <a:gd name="T34" fmla="*/ 201 w 751"/>
                <a:gd name="T35" fmla="*/ 293 h 787"/>
                <a:gd name="T36" fmla="*/ 167 w 751"/>
                <a:gd name="T37" fmla="*/ 312 h 787"/>
                <a:gd name="T38" fmla="*/ 125 w 751"/>
                <a:gd name="T39" fmla="*/ 291 h 787"/>
                <a:gd name="T40" fmla="*/ 24 w 751"/>
                <a:gd name="T41" fmla="*/ 356 h 787"/>
                <a:gd name="T42" fmla="*/ 24 w 751"/>
                <a:gd name="T43" fmla="*/ 381 h 787"/>
                <a:gd name="T44" fmla="*/ 0 w 751"/>
                <a:gd name="T45" fmla="*/ 375 h 787"/>
                <a:gd name="T46" fmla="*/ 0 w 751"/>
                <a:gd name="T47" fmla="*/ 394 h 787"/>
                <a:gd name="T48" fmla="*/ 47 w 751"/>
                <a:gd name="T49" fmla="*/ 411 h 787"/>
                <a:gd name="T50" fmla="*/ 24 w 751"/>
                <a:gd name="T51" fmla="*/ 557 h 787"/>
                <a:gd name="T52" fmla="*/ 81 w 751"/>
                <a:gd name="T53" fmla="*/ 679 h 787"/>
                <a:gd name="T54" fmla="*/ 230 w 751"/>
                <a:gd name="T55" fmla="*/ 639 h 787"/>
                <a:gd name="T56" fmla="*/ 262 w 751"/>
                <a:gd name="T57" fmla="*/ 533 h 787"/>
                <a:gd name="T58" fmla="*/ 342 w 751"/>
                <a:gd name="T59" fmla="*/ 468 h 787"/>
                <a:gd name="T60" fmla="*/ 395 w 751"/>
                <a:gd name="T61" fmla="*/ 483 h 787"/>
                <a:gd name="T62" fmla="*/ 387 w 751"/>
                <a:gd name="T63" fmla="*/ 554 h 787"/>
                <a:gd name="T64" fmla="*/ 298 w 751"/>
                <a:gd name="T65" fmla="*/ 664 h 787"/>
                <a:gd name="T66" fmla="*/ 368 w 751"/>
                <a:gd name="T67" fmla="*/ 675 h 787"/>
                <a:gd name="T68" fmla="*/ 378 w 751"/>
                <a:gd name="T69" fmla="*/ 757 h 787"/>
                <a:gd name="T70" fmla="*/ 441 w 751"/>
                <a:gd name="T71" fmla="*/ 787 h 787"/>
                <a:gd name="T72" fmla="*/ 505 w 751"/>
                <a:gd name="T73" fmla="*/ 766 h 787"/>
                <a:gd name="T74" fmla="*/ 553 w 751"/>
                <a:gd name="T75" fmla="*/ 732 h 787"/>
                <a:gd name="T76" fmla="*/ 538 w 751"/>
                <a:gd name="T77" fmla="*/ 662 h 787"/>
                <a:gd name="T78" fmla="*/ 483 w 751"/>
                <a:gd name="T79" fmla="*/ 666 h 787"/>
                <a:gd name="T80" fmla="*/ 454 w 751"/>
                <a:gd name="T81" fmla="*/ 609 h 787"/>
                <a:gd name="T82" fmla="*/ 509 w 751"/>
                <a:gd name="T83" fmla="*/ 592 h 787"/>
                <a:gd name="T84" fmla="*/ 513 w 751"/>
                <a:gd name="T85" fmla="*/ 512 h 787"/>
                <a:gd name="T86" fmla="*/ 559 w 751"/>
                <a:gd name="T87" fmla="*/ 544 h 787"/>
                <a:gd name="T88" fmla="*/ 591 w 751"/>
                <a:gd name="T89" fmla="*/ 540 h 787"/>
                <a:gd name="T90" fmla="*/ 621 w 751"/>
                <a:gd name="T91" fmla="*/ 618 h 787"/>
                <a:gd name="T92" fmla="*/ 627 w 751"/>
                <a:gd name="T93" fmla="*/ 536 h 787"/>
                <a:gd name="T94" fmla="*/ 678 w 751"/>
                <a:gd name="T95" fmla="*/ 536 h 787"/>
                <a:gd name="T96" fmla="*/ 678 w 751"/>
                <a:gd name="T97" fmla="*/ 504 h 787"/>
                <a:gd name="T98" fmla="*/ 595 w 751"/>
                <a:gd name="T99" fmla="*/ 428 h 787"/>
                <a:gd name="T100" fmla="*/ 682 w 751"/>
                <a:gd name="T101" fmla="*/ 384 h 787"/>
                <a:gd name="T102" fmla="*/ 707 w 751"/>
                <a:gd name="T103" fmla="*/ 402 h 787"/>
                <a:gd name="T104" fmla="*/ 751 w 751"/>
                <a:gd name="T105" fmla="*/ 375 h 787"/>
                <a:gd name="T106" fmla="*/ 751 w 751"/>
                <a:gd name="T107" fmla="*/ 335 h 787"/>
                <a:gd name="T108" fmla="*/ 678 w 751"/>
                <a:gd name="T109" fmla="*/ 335 h 787"/>
                <a:gd name="T110" fmla="*/ 676 w 751"/>
                <a:gd name="T111" fmla="*/ 303 h 787"/>
                <a:gd name="T112" fmla="*/ 733 w 751"/>
                <a:gd name="T113" fmla="*/ 295 h 787"/>
                <a:gd name="T114" fmla="*/ 726 w 751"/>
                <a:gd name="T115" fmla="*/ 265 h 787"/>
                <a:gd name="T116" fmla="*/ 726 w 751"/>
                <a:gd name="T117" fmla="*/ 265 h 787"/>
                <a:gd name="T118" fmla="*/ 726 w 751"/>
                <a:gd name="T119" fmla="*/ 265 h 78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1"/>
                <a:gd name="T181" fmla="*/ 0 h 787"/>
                <a:gd name="T182" fmla="*/ 751 w 751"/>
                <a:gd name="T183" fmla="*/ 787 h 78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1" h="787">
                  <a:moveTo>
                    <a:pt x="726" y="265"/>
                  </a:moveTo>
                  <a:lnTo>
                    <a:pt x="671" y="276"/>
                  </a:lnTo>
                  <a:lnTo>
                    <a:pt x="612" y="166"/>
                  </a:lnTo>
                  <a:lnTo>
                    <a:pt x="549" y="132"/>
                  </a:lnTo>
                  <a:lnTo>
                    <a:pt x="496" y="154"/>
                  </a:lnTo>
                  <a:lnTo>
                    <a:pt x="467" y="132"/>
                  </a:lnTo>
                  <a:lnTo>
                    <a:pt x="467" y="111"/>
                  </a:lnTo>
                  <a:lnTo>
                    <a:pt x="502" y="76"/>
                  </a:lnTo>
                  <a:lnTo>
                    <a:pt x="448" y="0"/>
                  </a:lnTo>
                  <a:lnTo>
                    <a:pt x="344" y="44"/>
                  </a:lnTo>
                  <a:lnTo>
                    <a:pt x="311" y="19"/>
                  </a:lnTo>
                  <a:lnTo>
                    <a:pt x="268" y="35"/>
                  </a:lnTo>
                  <a:lnTo>
                    <a:pt x="254" y="67"/>
                  </a:lnTo>
                  <a:lnTo>
                    <a:pt x="192" y="57"/>
                  </a:lnTo>
                  <a:lnTo>
                    <a:pt x="190" y="97"/>
                  </a:lnTo>
                  <a:lnTo>
                    <a:pt x="165" y="107"/>
                  </a:lnTo>
                  <a:lnTo>
                    <a:pt x="201" y="145"/>
                  </a:lnTo>
                  <a:lnTo>
                    <a:pt x="201" y="293"/>
                  </a:lnTo>
                  <a:lnTo>
                    <a:pt x="167" y="312"/>
                  </a:lnTo>
                  <a:lnTo>
                    <a:pt x="125" y="291"/>
                  </a:lnTo>
                  <a:lnTo>
                    <a:pt x="24" y="356"/>
                  </a:lnTo>
                  <a:lnTo>
                    <a:pt x="24" y="381"/>
                  </a:lnTo>
                  <a:lnTo>
                    <a:pt x="0" y="375"/>
                  </a:lnTo>
                  <a:lnTo>
                    <a:pt x="0" y="394"/>
                  </a:lnTo>
                  <a:lnTo>
                    <a:pt x="47" y="411"/>
                  </a:lnTo>
                  <a:lnTo>
                    <a:pt x="24" y="557"/>
                  </a:lnTo>
                  <a:lnTo>
                    <a:pt x="81" y="679"/>
                  </a:lnTo>
                  <a:lnTo>
                    <a:pt x="230" y="639"/>
                  </a:lnTo>
                  <a:lnTo>
                    <a:pt x="262" y="533"/>
                  </a:lnTo>
                  <a:lnTo>
                    <a:pt x="342" y="468"/>
                  </a:lnTo>
                  <a:lnTo>
                    <a:pt x="395" y="483"/>
                  </a:lnTo>
                  <a:lnTo>
                    <a:pt x="387" y="554"/>
                  </a:lnTo>
                  <a:lnTo>
                    <a:pt x="298" y="664"/>
                  </a:lnTo>
                  <a:lnTo>
                    <a:pt x="368" y="675"/>
                  </a:lnTo>
                  <a:lnTo>
                    <a:pt x="378" y="757"/>
                  </a:lnTo>
                  <a:lnTo>
                    <a:pt x="441" y="787"/>
                  </a:lnTo>
                  <a:lnTo>
                    <a:pt x="505" y="766"/>
                  </a:lnTo>
                  <a:lnTo>
                    <a:pt x="553" y="732"/>
                  </a:lnTo>
                  <a:lnTo>
                    <a:pt x="538" y="662"/>
                  </a:lnTo>
                  <a:lnTo>
                    <a:pt x="483" y="666"/>
                  </a:lnTo>
                  <a:lnTo>
                    <a:pt x="454" y="609"/>
                  </a:lnTo>
                  <a:lnTo>
                    <a:pt x="509" y="592"/>
                  </a:lnTo>
                  <a:lnTo>
                    <a:pt x="513" y="512"/>
                  </a:lnTo>
                  <a:lnTo>
                    <a:pt x="559" y="544"/>
                  </a:lnTo>
                  <a:lnTo>
                    <a:pt x="591" y="540"/>
                  </a:lnTo>
                  <a:lnTo>
                    <a:pt x="621" y="618"/>
                  </a:lnTo>
                  <a:lnTo>
                    <a:pt x="627" y="536"/>
                  </a:lnTo>
                  <a:lnTo>
                    <a:pt x="678" y="536"/>
                  </a:lnTo>
                  <a:lnTo>
                    <a:pt x="678" y="504"/>
                  </a:lnTo>
                  <a:lnTo>
                    <a:pt x="595" y="428"/>
                  </a:lnTo>
                  <a:lnTo>
                    <a:pt x="682" y="384"/>
                  </a:lnTo>
                  <a:lnTo>
                    <a:pt x="707" y="402"/>
                  </a:lnTo>
                  <a:lnTo>
                    <a:pt x="751" y="375"/>
                  </a:lnTo>
                  <a:lnTo>
                    <a:pt x="751" y="335"/>
                  </a:lnTo>
                  <a:lnTo>
                    <a:pt x="678" y="335"/>
                  </a:lnTo>
                  <a:lnTo>
                    <a:pt x="676" y="303"/>
                  </a:lnTo>
                  <a:lnTo>
                    <a:pt x="733" y="295"/>
                  </a:lnTo>
                  <a:lnTo>
                    <a:pt x="726" y="265"/>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44" name="Freeform 68"/>
            <p:cNvSpPr>
              <a:spLocks/>
            </p:cNvSpPr>
            <p:nvPr/>
          </p:nvSpPr>
          <p:spPr bwMode="gray">
            <a:xfrm>
              <a:off x="2558833" y="4060479"/>
              <a:ext cx="598464" cy="746316"/>
            </a:xfrm>
            <a:custGeom>
              <a:avLst/>
              <a:gdLst>
                <a:gd name="T0" fmla="*/ 342 w 563"/>
                <a:gd name="T1" fmla="*/ 0 h 642"/>
                <a:gd name="T2" fmla="*/ 300 w 563"/>
                <a:gd name="T3" fmla="*/ 26 h 642"/>
                <a:gd name="T4" fmla="*/ 165 w 563"/>
                <a:gd name="T5" fmla="*/ 15 h 642"/>
                <a:gd name="T6" fmla="*/ 158 w 563"/>
                <a:gd name="T7" fmla="*/ 87 h 642"/>
                <a:gd name="T8" fmla="*/ 175 w 563"/>
                <a:gd name="T9" fmla="*/ 161 h 642"/>
                <a:gd name="T10" fmla="*/ 93 w 563"/>
                <a:gd name="T11" fmla="*/ 178 h 642"/>
                <a:gd name="T12" fmla="*/ 0 w 563"/>
                <a:gd name="T13" fmla="*/ 256 h 642"/>
                <a:gd name="T14" fmla="*/ 10 w 563"/>
                <a:gd name="T15" fmla="*/ 268 h 642"/>
                <a:gd name="T16" fmla="*/ 34 w 563"/>
                <a:gd name="T17" fmla="*/ 283 h 642"/>
                <a:gd name="T18" fmla="*/ 46 w 563"/>
                <a:gd name="T19" fmla="*/ 264 h 642"/>
                <a:gd name="T20" fmla="*/ 86 w 563"/>
                <a:gd name="T21" fmla="*/ 264 h 642"/>
                <a:gd name="T22" fmla="*/ 88 w 563"/>
                <a:gd name="T23" fmla="*/ 287 h 642"/>
                <a:gd name="T24" fmla="*/ 38 w 563"/>
                <a:gd name="T25" fmla="*/ 349 h 642"/>
                <a:gd name="T26" fmla="*/ 38 w 563"/>
                <a:gd name="T27" fmla="*/ 376 h 642"/>
                <a:gd name="T28" fmla="*/ 118 w 563"/>
                <a:gd name="T29" fmla="*/ 397 h 642"/>
                <a:gd name="T30" fmla="*/ 135 w 563"/>
                <a:gd name="T31" fmla="*/ 420 h 642"/>
                <a:gd name="T32" fmla="*/ 74 w 563"/>
                <a:gd name="T33" fmla="*/ 492 h 642"/>
                <a:gd name="T34" fmla="*/ 91 w 563"/>
                <a:gd name="T35" fmla="*/ 507 h 642"/>
                <a:gd name="T36" fmla="*/ 93 w 563"/>
                <a:gd name="T37" fmla="*/ 532 h 642"/>
                <a:gd name="T38" fmla="*/ 63 w 563"/>
                <a:gd name="T39" fmla="*/ 530 h 642"/>
                <a:gd name="T40" fmla="*/ 63 w 563"/>
                <a:gd name="T41" fmla="*/ 602 h 642"/>
                <a:gd name="T42" fmla="*/ 93 w 563"/>
                <a:gd name="T43" fmla="*/ 633 h 642"/>
                <a:gd name="T44" fmla="*/ 131 w 563"/>
                <a:gd name="T45" fmla="*/ 642 h 642"/>
                <a:gd name="T46" fmla="*/ 112 w 563"/>
                <a:gd name="T47" fmla="*/ 598 h 642"/>
                <a:gd name="T48" fmla="*/ 211 w 563"/>
                <a:gd name="T49" fmla="*/ 596 h 642"/>
                <a:gd name="T50" fmla="*/ 226 w 563"/>
                <a:gd name="T51" fmla="*/ 558 h 642"/>
                <a:gd name="T52" fmla="*/ 283 w 563"/>
                <a:gd name="T53" fmla="*/ 574 h 642"/>
                <a:gd name="T54" fmla="*/ 325 w 563"/>
                <a:gd name="T55" fmla="*/ 547 h 642"/>
                <a:gd name="T56" fmla="*/ 437 w 563"/>
                <a:gd name="T57" fmla="*/ 530 h 642"/>
                <a:gd name="T58" fmla="*/ 413 w 563"/>
                <a:gd name="T59" fmla="*/ 450 h 642"/>
                <a:gd name="T60" fmla="*/ 513 w 563"/>
                <a:gd name="T61" fmla="*/ 345 h 642"/>
                <a:gd name="T62" fmla="*/ 477 w 563"/>
                <a:gd name="T63" fmla="*/ 319 h 642"/>
                <a:gd name="T64" fmla="*/ 563 w 563"/>
                <a:gd name="T65" fmla="*/ 125 h 642"/>
                <a:gd name="T66" fmla="*/ 392 w 563"/>
                <a:gd name="T67" fmla="*/ 74 h 642"/>
                <a:gd name="T68" fmla="*/ 342 w 563"/>
                <a:gd name="T69" fmla="*/ 0 h 642"/>
                <a:gd name="T70" fmla="*/ 342 w 563"/>
                <a:gd name="T71" fmla="*/ 0 h 642"/>
                <a:gd name="T72" fmla="*/ 342 w 563"/>
                <a:gd name="T73" fmla="*/ 0 h 6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63"/>
                <a:gd name="T112" fmla="*/ 0 h 642"/>
                <a:gd name="T113" fmla="*/ 563 w 563"/>
                <a:gd name="T114" fmla="*/ 642 h 6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63" h="642">
                  <a:moveTo>
                    <a:pt x="342" y="0"/>
                  </a:moveTo>
                  <a:lnTo>
                    <a:pt x="300" y="26"/>
                  </a:lnTo>
                  <a:lnTo>
                    <a:pt x="165" y="15"/>
                  </a:lnTo>
                  <a:lnTo>
                    <a:pt x="158" y="87"/>
                  </a:lnTo>
                  <a:lnTo>
                    <a:pt x="175" y="161"/>
                  </a:lnTo>
                  <a:lnTo>
                    <a:pt x="93" y="178"/>
                  </a:lnTo>
                  <a:lnTo>
                    <a:pt x="0" y="256"/>
                  </a:lnTo>
                  <a:lnTo>
                    <a:pt x="10" y="268"/>
                  </a:lnTo>
                  <a:lnTo>
                    <a:pt x="34" y="283"/>
                  </a:lnTo>
                  <a:lnTo>
                    <a:pt x="46" y="264"/>
                  </a:lnTo>
                  <a:lnTo>
                    <a:pt x="86" y="264"/>
                  </a:lnTo>
                  <a:lnTo>
                    <a:pt x="88" y="287"/>
                  </a:lnTo>
                  <a:lnTo>
                    <a:pt x="38" y="349"/>
                  </a:lnTo>
                  <a:lnTo>
                    <a:pt x="38" y="376"/>
                  </a:lnTo>
                  <a:lnTo>
                    <a:pt x="118" y="397"/>
                  </a:lnTo>
                  <a:lnTo>
                    <a:pt x="135" y="420"/>
                  </a:lnTo>
                  <a:lnTo>
                    <a:pt x="74" y="492"/>
                  </a:lnTo>
                  <a:lnTo>
                    <a:pt x="91" y="507"/>
                  </a:lnTo>
                  <a:lnTo>
                    <a:pt x="93" y="532"/>
                  </a:lnTo>
                  <a:lnTo>
                    <a:pt x="63" y="530"/>
                  </a:lnTo>
                  <a:lnTo>
                    <a:pt x="63" y="602"/>
                  </a:lnTo>
                  <a:lnTo>
                    <a:pt x="93" y="633"/>
                  </a:lnTo>
                  <a:lnTo>
                    <a:pt x="131" y="642"/>
                  </a:lnTo>
                  <a:lnTo>
                    <a:pt x="112" y="598"/>
                  </a:lnTo>
                  <a:lnTo>
                    <a:pt x="211" y="596"/>
                  </a:lnTo>
                  <a:lnTo>
                    <a:pt x="226" y="558"/>
                  </a:lnTo>
                  <a:lnTo>
                    <a:pt x="283" y="574"/>
                  </a:lnTo>
                  <a:lnTo>
                    <a:pt x="325" y="547"/>
                  </a:lnTo>
                  <a:lnTo>
                    <a:pt x="437" y="530"/>
                  </a:lnTo>
                  <a:lnTo>
                    <a:pt x="413" y="450"/>
                  </a:lnTo>
                  <a:lnTo>
                    <a:pt x="513" y="345"/>
                  </a:lnTo>
                  <a:lnTo>
                    <a:pt x="477" y="319"/>
                  </a:lnTo>
                  <a:lnTo>
                    <a:pt x="563" y="125"/>
                  </a:lnTo>
                  <a:lnTo>
                    <a:pt x="392" y="74"/>
                  </a:lnTo>
                  <a:lnTo>
                    <a:pt x="342" y="0"/>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45" name="Freeform 69"/>
            <p:cNvSpPr>
              <a:spLocks/>
            </p:cNvSpPr>
            <p:nvPr/>
          </p:nvSpPr>
          <p:spPr bwMode="gray">
            <a:xfrm>
              <a:off x="2550314" y="4667730"/>
              <a:ext cx="986081" cy="743998"/>
            </a:xfrm>
            <a:custGeom>
              <a:avLst/>
              <a:gdLst>
                <a:gd name="T0" fmla="*/ 688 w 925"/>
                <a:gd name="T1" fmla="*/ 38 h 643"/>
                <a:gd name="T2" fmla="*/ 515 w 925"/>
                <a:gd name="T3" fmla="*/ 0 h 643"/>
                <a:gd name="T4" fmla="*/ 456 w 925"/>
                <a:gd name="T5" fmla="*/ 40 h 643"/>
                <a:gd name="T6" fmla="*/ 444 w 925"/>
                <a:gd name="T7" fmla="*/ 8 h 643"/>
                <a:gd name="T8" fmla="*/ 332 w 925"/>
                <a:gd name="T9" fmla="*/ 23 h 643"/>
                <a:gd name="T10" fmla="*/ 290 w 925"/>
                <a:gd name="T11" fmla="*/ 52 h 643"/>
                <a:gd name="T12" fmla="*/ 231 w 925"/>
                <a:gd name="T13" fmla="*/ 36 h 643"/>
                <a:gd name="T14" fmla="*/ 218 w 925"/>
                <a:gd name="T15" fmla="*/ 76 h 643"/>
                <a:gd name="T16" fmla="*/ 121 w 925"/>
                <a:gd name="T17" fmla="*/ 72 h 643"/>
                <a:gd name="T18" fmla="*/ 136 w 925"/>
                <a:gd name="T19" fmla="*/ 122 h 643"/>
                <a:gd name="T20" fmla="*/ 100 w 925"/>
                <a:gd name="T21" fmla="*/ 109 h 643"/>
                <a:gd name="T22" fmla="*/ 72 w 925"/>
                <a:gd name="T23" fmla="*/ 78 h 643"/>
                <a:gd name="T24" fmla="*/ 17 w 925"/>
                <a:gd name="T25" fmla="*/ 67 h 643"/>
                <a:gd name="T26" fmla="*/ 3 w 925"/>
                <a:gd name="T27" fmla="*/ 120 h 643"/>
                <a:gd name="T28" fmla="*/ 22 w 925"/>
                <a:gd name="T29" fmla="*/ 160 h 643"/>
                <a:gd name="T30" fmla="*/ 0 w 925"/>
                <a:gd name="T31" fmla="*/ 190 h 643"/>
                <a:gd name="T32" fmla="*/ 38 w 925"/>
                <a:gd name="T33" fmla="*/ 244 h 643"/>
                <a:gd name="T34" fmla="*/ 1 w 925"/>
                <a:gd name="T35" fmla="*/ 282 h 643"/>
                <a:gd name="T36" fmla="*/ 3 w 925"/>
                <a:gd name="T37" fmla="*/ 301 h 643"/>
                <a:gd name="T38" fmla="*/ 32 w 925"/>
                <a:gd name="T39" fmla="*/ 321 h 643"/>
                <a:gd name="T40" fmla="*/ 85 w 925"/>
                <a:gd name="T41" fmla="*/ 301 h 643"/>
                <a:gd name="T42" fmla="*/ 148 w 925"/>
                <a:gd name="T43" fmla="*/ 335 h 643"/>
                <a:gd name="T44" fmla="*/ 207 w 925"/>
                <a:gd name="T45" fmla="*/ 447 h 643"/>
                <a:gd name="T46" fmla="*/ 262 w 925"/>
                <a:gd name="T47" fmla="*/ 434 h 643"/>
                <a:gd name="T48" fmla="*/ 288 w 925"/>
                <a:gd name="T49" fmla="*/ 398 h 643"/>
                <a:gd name="T50" fmla="*/ 271 w 925"/>
                <a:gd name="T51" fmla="*/ 354 h 643"/>
                <a:gd name="T52" fmla="*/ 340 w 925"/>
                <a:gd name="T53" fmla="*/ 354 h 643"/>
                <a:gd name="T54" fmla="*/ 347 w 925"/>
                <a:gd name="T55" fmla="*/ 405 h 643"/>
                <a:gd name="T56" fmla="*/ 433 w 925"/>
                <a:gd name="T57" fmla="*/ 358 h 643"/>
                <a:gd name="T58" fmla="*/ 414 w 925"/>
                <a:gd name="T59" fmla="*/ 415 h 643"/>
                <a:gd name="T60" fmla="*/ 486 w 925"/>
                <a:gd name="T61" fmla="*/ 451 h 643"/>
                <a:gd name="T62" fmla="*/ 467 w 925"/>
                <a:gd name="T63" fmla="*/ 468 h 643"/>
                <a:gd name="T64" fmla="*/ 501 w 925"/>
                <a:gd name="T65" fmla="*/ 502 h 643"/>
                <a:gd name="T66" fmla="*/ 494 w 925"/>
                <a:gd name="T67" fmla="*/ 534 h 643"/>
                <a:gd name="T68" fmla="*/ 535 w 925"/>
                <a:gd name="T69" fmla="*/ 559 h 643"/>
                <a:gd name="T70" fmla="*/ 551 w 925"/>
                <a:gd name="T71" fmla="*/ 548 h 643"/>
                <a:gd name="T72" fmla="*/ 627 w 925"/>
                <a:gd name="T73" fmla="*/ 574 h 643"/>
                <a:gd name="T74" fmla="*/ 547 w 925"/>
                <a:gd name="T75" fmla="*/ 500 h 643"/>
                <a:gd name="T76" fmla="*/ 564 w 925"/>
                <a:gd name="T77" fmla="*/ 462 h 643"/>
                <a:gd name="T78" fmla="*/ 613 w 925"/>
                <a:gd name="T79" fmla="*/ 470 h 643"/>
                <a:gd name="T80" fmla="*/ 678 w 925"/>
                <a:gd name="T81" fmla="*/ 468 h 643"/>
                <a:gd name="T82" fmla="*/ 667 w 925"/>
                <a:gd name="T83" fmla="*/ 612 h 643"/>
                <a:gd name="T84" fmla="*/ 720 w 925"/>
                <a:gd name="T85" fmla="*/ 643 h 643"/>
                <a:gd name="T86" fmla="*/ 794 w 925"/>
                <a:gd name="T87" fmla="*/ 601 h 643"/>
                <a:gd name="T88" fmla="*/ 794 w 925"/>
                <a:gd name="T89" fmla="*/ 548 h 643"/>
                <a:gd name="T90" fmla="*/ 925 w 925"/>
                <a:gd name="T91" fmla="*/ 455 h 643"/>
                <a:gd name="T92" fmla="*/ 891 w 925"/>
                <a:gd name="T93" fmla="*/ 301 h 643"/>
                <a:gd name="T94" fmla="*/ 828 w 925"/>
                <a:gd name="T95" fmla="*/ 289 h 643"/>
                <a:gd name="T96" fmla="*/ 781 w 925"/>
                <a:gd name="T97" fmla="*/ 244 h 643"/>
                <a:gd name="T98" fmla="*/ 870 w 925"/>
                <a:gd name="T99" fmla="*/ 160 h 643"/>
                <a:gd name="T100" fmla="*/ 853 w 925"/>
                <a:gd name="T101" fmla="*/ 150 h 643"/>
                <a:gd name="T102" fmla="*/ 796 w 925"/>
                <a:gd name="T103" fmla="*/ 143 h 643"/>
                <a:gd name="T104" fmla="*/ 771 w 925"/>
                <a:gd name="T105" fmla="*/ 72 h 643"/>
                <a:gd name="T106" fmla="*/ 688 w 925"/>
                <a:gd name="T107" fmla="*/ 38 h 643"/>
                <a:gd name="T108" fmla="*/ 688 w 925"/>
                <a:gd name="T109" fmla="*/ 38 h 643"/>
                <a:gd name="T110" fmla="*/ 688 w 925"/>
                <a:gd name="T111" fmla="*/ 38 h 64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25"/>
                <a:gd name="T169" fmla="*/ 0 h 643"/>
                <a:gd name="T170" fmla="*/ 925 w 925"/>
                <a:gd name="T171" fmla="*/ 643 h 64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25" h="643">
                  <a:moveTo>
                    <a:pt x="688" y="38"/>
                  </a:moveTo>
                  <a:lnTo>
                    <a:pt x="515" y="0"/>
                  </a:lnTo>
                  <a:lnTo>
                    <a:pt x="456" y="40"/>
                  </a:lnTo>
                  <a:lnTo>
                    <a:pt x="444" y="8"/>
                  </a:lnTo>
                  <a:lnTo>
                    <a:pt x="332" y="23"/>
                  </a:lnTo>
                  <a:lnTo>
                    <a:pt x="290" y="52"/>
                  </a:lnTo>
                  <a:lnTo>
                    <a:pt x="231" y="36"/>
                  </a:lnTo>
                  <a:lnTo>
                    <a:pt x="218" y="76"/>
                  </a:lnTo>
                  <a:lnTo>
                    <a:pt x="121" y="72"/>
                  </a:lnTo>
                  <a:lnTo>
                    <a:pt x="136" y="122"/>
                  </a:lnTo>
                  <a:lnTo>
                    <a:pt x="100" y="109"/>
                  </a:lnTo>
                  <a:lnTo>
                    <a:pt x="72" y="78"/>
                  </a:lnTo>
                  <a:lnTo>
                    <a:pt x="17" y="67"/>
                  </a:lnTo>
                  <a:lnTo>
                    <a:pt x="3" y="120"/>
                  </a:lnTo>
                  <a:lnTo>
                    <a:pt x="22" y="160"/>
                  </a:lnTo>
                  <a:lnTo>
                    <a:pt x="0" y="190"/>
                  </a:lnTo>
                  <a:lnTo>
                    <a:pt x="38" y="244"/>
                  </a:lnTo>
                  <a:lnTo>
                    <a:pt x="1" y="282"/>
                  </a:lnTo>
                  <a:lnTo>
                    <a:pt x="3" y="301"/>
                  </a:lnTo>
                  <a:lnTo>
                    <a:pt x="32" y="321"/>
                  </a:lnTo>
                  <a:lnTo>
                    <a:pt x="85" y="301"/>
                  </a:lnTo>
                  <a:lnTo>
                    <a:pt x="148" y="335"/>
                  </a:lnTo>
                  <a:lnTo>
                    <a:pt x="207" y="447"/>
                  </a:lnTo>
                  <a:lnTo>
                    <a:pt x="262" y="434"/>
                  </a:lnTo>
                  <a:lnTo>
                    <a:pt x="288" y="398"/>
                  </a:lnTo>
                  <a:lnTo>
                    <a:pt x="271" y="354"/>
                  </a:lnTo>
                  <a:lnTo>
                    <a:pt x="340" y="354"/>
                  </a:lnTo>
                  <a:lnTo>
                    <a:pt x="347" y="405"/>
                  </a:lnTo>
                  <a:lnTo>
                    <a:pt x="433" y="358"/>
                  </a:lnTo>
                  <a:lnTo>
                    <a:pt x="414" y="415"/>
                  </a:lnTo>
                  <a:lnTo>
                    <a:pt x="486" y="451"/>
                  </a:lnTo>
                  <a:lnTo>
                    <a:pt x="467" y="468"/>
                  </a:lnTo>
                  <a:lnTo>
                    <a:pt x="501" y="502"/>
                  </a:lnTo>
                  <a:lnTo>
                    <a:pt x="494" y="534"/>
                  </a:lnTo>
                  <a:lnTo>
                    <a:pt x="535" y="559"/>
                  </a:lnTo>
                  <a:lnTo>
                    <a:pt x="551" y="548"/>
                  </a:lnTo>
                  <a:lnTo>
                    <a:pt x="627" y="574"/>
                  </a:lnTo>
                  <a:lnTo>
                    <a:pt x="547" y="500"/>
                  </a:lnTo>
                  <a:lnTo>
                    <a:pt x="564" y="462"/>
                  </a:lnTo>
                  <a:lnTo>
                    <a:pt x="613" y="470"/>
                  </a:lnTo>
                  <a:lnTo>
                    <a:pt x="678" y="468"/>
                  </a:lnTo>
                  <a:lnTo>
                    <a:pt x="667" y="612"/>
                  </a:lnTo>
                  <a:lnTo>
                    <a:pt x="720" y="643"/>
                  </a:lnTo>
                  <a:lnTo>
                    <a:pt x="794" y="601"/>
                  </a:lnTo>
                  <a:lnTo>
                    <a:pt x="794" y="548"/>
                  </a:lnTo>
                  <a:lnTo>
                    <a:pt x="925" y="455"/>
                  </a:lnTo>
                  <a:lnTo>
                    <a:pt x="891" y="301"/>
                  </a:lnTo>
                  <a:lnTo>
                    <a:pt x="828" y="289"/>
                  </a:lnTo>
                  <a:lnTo>
                    <a:pt x="781" y="244"/>
                  </a:lnTo>
                  <a:lnTo>
                    <a:pt x="870" y="160"/>
                  </a:lnTo>
                  <a:lnTo>
                    <a:pt x="853" y="150"/>
                  </a:lnTo>
                  <a:lnTo>
                    <a:pt x="796" y="143"/>
                  </a:lnTo>
                  <a:lnTo>
                    <a:pt x="771" y="72"/>
                  </a:lnTo>
                  <a:lnTo>
                    <a:pt x="688" y="38"/>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46" name="Freeform 70"/>
            <p:cNvSpPr>
              <a:spLocks/>
            </p:cNvSpPr>
            <p:nvPr/>
          </p:nvSpPr>
          <p:spPr bwMode="gray">
            <a:xfrm>
              <a:off x="2458735" y="5075654"/>
              <a:ext cx="815700" cy="1093979"/>
            </a:xfrm>
            <a:custGeom>
              <a:avLst/>
              <a:gdLst>
                <a:gd name="T0" fmla="*/ 766 w 766"/>
                <a:gd name="T1" fmla="*/ 112 h 943"/>
                <a:gd name="T2" fmla="*/ 652 w 766"/>
                <a:gd name="T3" fmla="*/ 106 h 943"/>
                <a:gd name="T4" fmla="*/ 713 w 766"/>
                <a:gd name="T5" fmla="*/ 220 h 943"/>
                <a:gd name="T6" fmla="*/ 622 w 766"/>
                <a:gd name="T7" fmla="*/ 203 h 943"/>
                <a:gd name="T8" fmla="*/ 591 w 766"/>
                <a:gd name="T9" fmla="*/ 142 h 943"/>
                <a:gd name="T10" fmla="*/ 574 w 766"/>
                <a:gd name="T11" fmla="*/ 97 h 943"/>
                <a:gd name="T12" fmla="*/ 523 w 766"/>
                <a:gd name="T13" fmla="*/ 2 h 943"/>
                <a:gd name="T14" fmla="*/ 426 w 766"/>
                <a:gd name="T15" fmla="*/ 0 h 943"/>
                <a:gd name="T16" fmla="*/ 375 w 766"/>
                <a:gd name="T17" fmla="*/ 45 h 943"/>
                <a:gd name="T18" fmla="*/ 356 w 766"/>
                <a:gd name="T19" fmla="*/ 110 h 943"/>
                <a:gd name="T20" fmla="*/ 302 w 766"/>
                <a:gd name="T21" fmla="*/ 150 h 943"/>
                <a:gd name="T22" fmla="*/ 375 w 766"/>
                <a:gd name="T23" fmla="*/ 190 h 943"/>
                <a:gd name="T24" fmla="*/ 304 w 766"/>
                <a:gd name="T25" fmla="*/ 199 h 943"/>
                <a:gd name="T26" fmla="*/ 302 w 766"/>
                <a:gd name="T27" fmla="*/ 321 h 943"/>
                <a:gd name="T28" fmla="*/ 251 w 766"/>
                <a:gd name="T29" fmla="*/ 351 h 943"/>
                <a:gd name="T30" fmla="*/ 213 w 766"/>
                <a:gd name="T31" fmla="*/ 353 h 943"/>
                <a:gd name="T32" fmla="*/ 135 w 766"/>
                <a:gd name="T33" fmla="*/ 321 h 943"/>
                <a:gd name="T34" fmla="*/ 78 w 766"/>
                <a:gd name="T35" fmla="*/ 422 h 943"/>
                <a:gd name="T36" fmla="*/ 162 w 766"/>
                <a:gd name="T37" fmla="*/ 481 h 943"/>
                <a:gd name="T38" fmla="*/ 118 w 766"/>
                <a:gd name="T39" fmla="*/ 583 h 943"/>
                <a:gd name="T40" fmla="*/ 0 w 766"/>
                <a:gd name="T41" fmla="*/ 570 h 943"/>
                <a:gd name="T42" fmla="*/ 59 w 766"/>
                <a:gd name="T43" fmla="*/ 669 h 943"/>
                <a:gd name="T44" fmla="*/ 194 w 766"/>
                <a:gd name="T45" fmla="*/ 779 h 943"/>
                <a:gd name="T46" fmla="*/ 298 w 766"/>
                <a:gd name="T47" fmla="*/ 832 h 943"/>
                <a:gd name="T48" fmla="*/ 395 w 766"/>
                <a:gd name="T49" fmla="*/ 943 h 943"/>
                <a:gd name="T50" fmla="*/ 473 w 766"/>
                <a:gd name="T51" fmla="*/ 912 h 943"/>
                <a:gd name="T52" fmla="*/ 660 w 766"/>
                <a:gd name="T53" fmla="*/ 889 h 943"/>
                <a:gd name="T54" fmla="*/ 644 w 766"/>
                <a:gd name="T55" fmla="*/ 760 h 943"/>
                <a:gd name="T56" fmla="*/ 568 w 766"/>
                <a:gd name="T57" fmla="*/ 610 h 943"/>
                <a:gd name="T58" fmla="*/ 639 w 766"/>
                <a:gd name="T59" fmla="*/ 466 h 943"/>
                <a:gd name="T60" fmla="*/ 686 w 766"/>
                <a:gd name="T61" fmla="*/ 332 h 943"/>
                <a:gd name="T62" fmla="*/ 758 w 766"/>
                <a:gd name="T63" fmla="*/ 258 h 943"/>
                <a:gd name="T64" fmla="*/ 758 w 766"/>
                <a:gd name="T65" fmla="*/ 258 h 94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66"/>
                <a:gd name="T100" fmla="*/ 0 h 943"/>
                <a:gd name="T101" fmla="*/ 766 w 766"/>
                <a:gd name="T102" fmla="*/ 943 h 94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66" h="943">
                  <a:moveTo>
                    <a:pt x="758" y="258"/>
                  </a:moveTo>
                  <a:lnTo>
                    <a:pt x="766" y="112"/>
                  </a:lnTo>
                  <a:lnTo>
                    <a:pt x="694" y="112"/>
                  </a:lnTo>
                  <a:lnTo>
                    <a:pt x="652" y="106"/>
                  </a:lnTo>
                  <a:lnTo>
                    <a:pt x="633" y="150"/>
                  </a:lnTo>
                  <a:lnTo>
                    <a:pt x="713" y="220"/>
                  </a:lnTo>
                  <a:lnTo>
                    <a:pt x="641" y="194"/>
                  </a:lnTo>
                  <a:lnTo>
                    <a:pt x="622" y="203"/>
                  </a:lnTo>
                  <a:lnTo>
                    <a:pt x="582" y="178"/>
                  </a:lnTo>
                  <a:lnTo>
                    <a:pt x="591" y="142"/>
                  </a:lnTo>
                  <a:lnTo>
                    <a:pt x="555" y="112"/>
                  </a:lnTo>
                  <a:lnTo>
                    <a:pt x="574" y="97"/>
                  </a:lnTo>
                  <a:lnTo>
                    <a:pt x="504" y="59"/>
                  </a:lnTo>
                  <a:lnTo>
                    <a:pt x="523" y="2"/>
                  </a:lnTo>
                  <a:lnTo>
                    <a:pt x="437" y="49"/>
                  </a:lnTo>
                  <a:lnTo>
                    <a:pt x="426" y="0"/>
                  </a:lnTo>
                  <a:lnTo>
                    <a:pt x="359" y="0"/>
                  </a:lnTo>
                  <a:lnTo>
                    <a:pt x="375" y="45"/>
                  </a:lnTo>
                  <a:lnTo>
                    <a:pt x="348" y="80"/>
                  </a:lnTo>
                  <a:lnTo>
                    <a:pt x="356" y="110"/>
                  </a:lnTo>
                  <a:lnTo>
                    <a:pt x="300" y="116"/>
                  </a:lnTo>
                  <a:lnTo>
                    <a:pt x="302" y="150"/>
                  </a:lnTo>
                  <a:lnTo>
                    <a:pt x="375" y="150"/>
                  </a:lnTo>
                  <a:lnTo>
                    <a:pt x="375" y="190"/>
                  </a:lnTo>
                  <a:lnTo>
                    <a:pt x="333" y="217"/>
                  </a:lnTo>
                  <a:lnTo>
                    <a:pt x="304" y="199"/>
                  </a:lnTo>
                  <a:lnTo>
                    <a:pt x="219" y="243"/>
                  </a:lnTo>
                  <a:lnTo>
                    <a:pt x="302" y="321"/>
                  </a:lnTo>
                  <a:lnTo>
                    <a:pt x="302" y="351"/>
                  </a:lnTo>
                  <a:lnTo>
                    <a:pt x="251" y="351"/>
                  </a:lnTo>
                  <a:lnTo>
                    <a:pt x="245" y="433"/>
                  </a:lnTo>
                  <a:lnTo>
                    <a:pt x="213" y="353"/>
                  </a:lnTo>
                  <a:lnTo>
                    <a:pt x="183" y="359"/>
                  </a:lnTo>
                  <a:lnTo>
                    <a:pt x="135" y="321"/>
                  </a:lnTo>
                  <a:lnTo>
                    <a:pt x="131" y="403"/>
                  </a:lnTo>
                  <a:lnTo>
                    <a:pt x="78" y="422"/>
                  </a:lnTo>
                  <a:lnTo>
                    <a:pt x="103" y="481"/>
                  </a:lnTo>
                  <a:lnTo>
                    <a:pt x="162" y="481"/>
                  </a:lnTo>
                  <a:lnTo>
                    <a:pt x="179" y="547"/>
                  </a:lnTo>
                  <a:lnTo>
                    <a:pt x="118" y="583"/>
                  </a:lnTo>
                  <a:lnTo>
                    <a:pt x="63" y="602"/>
                  </a:lnTo>
                  <a:lnTo>
                    <a:pt x="0" y="570"/>
                  </a:lnTo>
                  <a:lnTo>
                    <a:pt x="8" y="616"/>
                  </a:lnTo>
                  <a:lnTo>
                    <a:pt x="59" y="669"/>
                  </a:lnTo>
                  <a:lnTo>
                    <a:pt x="167" y="699"/>
                  </a:lnTo>
                  <a:lnTo>
                    <a:pt x="194" y="779"/>
                  </a:lnTo>
                  <a:lnTo>
                    <a:pt x="293" y="789"/>
                  </a:lnTo>
                  <a:lnTo>
                    <a:pt x="298" y="832"/>
                  </a:lnTo>
                  <a:lnTo>
                    <a:pt x="386" y="855"/>
                  </a:lnTo>
                  <a:lnTo>
                    <a:pt x="395" y="943"/>
                  </a:lnTo>
                  <a:lnTo>
                    <a:pt x="422" y="943"/>
                  </a:lnTo>
                  <a:lnTo>
                    <a:pt x="473" y="912"/>
                  </a:lnTo>
                  <a:lnTo>
                    <a:pt x="517" y="939"/>
                  </a:lnTo>
                  <a:lnTo>
                    <a:pt x="660" y="889"/>
                  </a:lnTo>
                  <a:lnTo>
                    <a:pt x="694" y="792"/>
                  </a:lnTo>
                  <a:lnTo>
                    <a:pt x="644" y="760"/>
                  </a:lnTo>
                  <a:lnTo>
                    <a:pt x="665" y="726"/>
                  </a:lnTo>
                  <a:lnTo>
                    <a:pt x="568" y="610"/>
                  </a:lnTo>
                  <a:lnTo>
                    <a:pt x="574" y="536"/>
                  </a:lnTo>
                  <a:lnTo>
                    <a:pt x="639" y="466"/>
                  </a:lnTo>
                  <a:lnTo>
                    <a:pt x="635" y="422"/>
                  </a:lnTo>
                  <a:lnTo>
                    <a:pt x="686" y="332"/>
                  </a:lnTo>
                  <a:lnTo>
                    <a:pt x="732" y="287"/>
                  </a:lnTo>
                  <a:lnTo>
                    <a:pt x="758" y="258"/>
                  </a:lnTo>
                  <a:close/>
                </a:path>
              </a:pathLst>
            </a:custGeom>
            <a:solidFill>
              <a:srgbClr val="81BC00"/>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grpSp>
      <p:sp>
        <p:nvSpPr>
          <p:cNvPr id="50" name="Rectangle 3"/>
          <p:cNvSpPr>
            <a:spLocks noChangeArrowheads="1"/>
          </p:cNvSpPr>
          <p:nvPr/>
        </p:nvSpPr>
        <p:spPr bwMode="auto">
          <a:xfrm>
            <a:off x="5337545" y="1"/>
            <a:ext cx="2663456" cy="600164"/>
          </a:xfrm>
          <a:prstGeom prst="rect">
            <a:avLst/>
          </a:prstGeom>
          <a:solidFill>
            <a:schemeClr val="accent6"/>
          </a:solidFill>
          <a:ln w="6350" algn="ctr">
            <a:solidFill>
              <a:schemeClr val="bg1"/>
            </a:solidFill>
            <a:miter lim="800000"/>
            <a:headEnd/>
            <a:tailEnd/>
          </a:ln>
        </p:spPr>
        <p:txBody>
          <a:bodyPr wrap="square" tIns="68580" bIns="68580">
            <a:spAutoFit/>
          </a:bodyPr>
          <a:lstStyle/>
          <a:p>
            <a:pPr defTabSz="685800">
              <a:buClrTx/>
              <a:defRPr/>
            </a:pPr>
            <a:r>
              <a:rPr lang="en-US" altLang="ja-JP" sz="750" kern="1200" dirty="0">
                <a:solidFill>
                  <a:srgbClr val="313131"/>
                </a:solidFill>
                <a:ea typeface="ＭＳ Ｐゴシック" pitchFamily="50" charset="-128"/>
                <a:cs typeface="+mn-cs"/>
              </a:rPr>
              <a:t>Tip! Click once to select the entire map, and again to select one or more regions within it</a:t>
            </a:r>
            <a:br>
              <a:rPr lang="en-US" altLang="ja-JP" sz="750" kern="1200" dirty="0">
                <a:solidFill>
                  <a:srgbClr val="313131"/>
                </a:solidFill>
                <a:ea typeface="ＭＳ Ｐゴシック" pitchFamily="50" charset="-128"/>
                <a:cs typeface="+mn-cs"/>
              </a:rPr>
            </a:br>
            <a:r>
              <a:rPr lang="en-US" altLang="ja-JP" sz="750" kern="1200" dirty="0">
                <a:solidFill>
                  <a:srgbClr val="313131"/>
                </a:solidFill>
                <a:ea typeface="ＭＳ Ｐゴシック" pitchFamily="50" charset="-128"/>
                <a:cs typeface="+mn-cs"/>
              </a:rPr>
              <a:t>Country/regional maps are a representative sample – more will be added</a:t>
            </a:r>
            <a:endParaRPr lang="en-US" sz="750" kern="1200" dirty="0">
              <a:solidFill>
                <a:srgbClr val="313131"/>
              </a:solidFill>
              <a:ea typeface="ＭＳ Ｐゴシック" pitchFamily="50" charset="-128"/>
              <a:cs typeface="+mn-cs"/>
            </a:endParaRPr>
          </a:p>
        </p:txBody>
      </p:sp>
      <p:sp>
        <p:nvSpPr>
          <p:cNvPr id="52" name="Text Placeholder 3"/>
          <p:cNvSpPr txBox="1">
            <a:spLocks/>
          </p:cNvSpPr>
          <p:nvPr/>
        </p:nvSpPr>
        <p:spPr>
          <a:xfrm>
            <a:off x="5482835" y="1358100"/>
            <a:ext cx="2227437" cy="34020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5979" indent="-205979" defTabSz="685800">
              <a:spcBef>
                <a:spcPts val="900"/>
              </a:spcBef>
              <a:buClrTx/>
              <a:defRPr/>
            </a:pPr>
            <a:r>
              <a:rPr lang="en-GB" sz="1350" dirty="0">
                <a:solidFill>
                  <a:srgbClr val="313131"/>
                </a:solidFill>
                <a:latin typeface="Arial"/>
              </a:rPr>
              <a:t>This is a level one bullet this is dummy text</a:t>
            </a:r>
          </a:p>
          <a:p>
            <a:pPr marL="205979" indent="-205979" defTabSz="685800">
              <a:spcBef>
                <a:spcPts val="900"/>
              </a:spcBef>
              <a:buClrTx/>
              <a:defRPr/>
            </a:pPr>
            <a:r>
              <a:rPr lang="en-GB" sz="1350" dirty="0">
                <a:solidFill>
                  <a:srgbClr val="313131"/>
                </a:solidFill>
                <a:latin typeface="Arial"/>
              </a:rPr>
              <a:t>This is a level one bullet this is dummy text</a:t>
            </a:r>
          </a:p>
          <a:p>
            <a:pPr marL="205979" indent="-205979" defTabSz="685800">
              <a:spcBef>
                <a:spcPts val="900"/>
              </a:spcBef>
              <a:buClrTx/>
              <a:defRPr/>
            </a:pPr>
            <a:r>
              <a:rPr lang="en-GB" sz="1350" dirty="0">
                <a:solidFill>
                  <a:srgbClr val="313131"/>
                </a:solidFill>
                <a:latin typeface="Arial"/>
              </a:rPr>
              <a:t>This is a level one bullet this is dummy text</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205979" indent="-205979" defTabSz="685800">
              <a:spcBef>
                <a:spcPts val="900"/>
              </a:spcBef>
              <a:buClrTx/>
              <a:defRPr/>
            </a:pPr>
            <a:endParaRPr lang="en-GB" sz="1350" dirty="0">
              <a:solidFill>
                <a:srgbClr val="313131"/>
              </a:solidFill>
              <a:latin typeface="Arial"/>
            </a:endParaRPr>
          </a:p>
          <a:p>
            <a:pPr marL="205979" indent="-205979" defTabSz="685800">
              <a:spcBef>
                <a:spcPts val="900"/>
              </a:spcBef>
              <a:buClrTx/>
              <a:defRPr/>
            </a:pPr>
            <a:endParaRPr lang="en-GB" sz="1350" dirty="0">
              <a:solidFill>
                <a:srgbClr val="313131"/>
              </a:solidFill>
              <a:latin typeface="Arial"/>
            </a:endParaRPr>
          </a:p>
        </p:txBody>
      </p:sp>
      <p:sp>
        <p:nvSpPr>
          <p:cNvPr id="51" name="TextBox 50"/>
          <p:cNvSpPr txBox="1"/>
          <p:nvPr/>
        </p:nvSpPr>
        <p:spPr>
          <a:xfrm>
            <a:off x="5340096" y="733806"/>
            <a:ext cx="2663455" cy="1107996"/>
          </a:xfrm>
          <a:prstGeom prst="rect">
            <a:avLst/>
          </a:prstGeom>
          <a:solidFill>
            <a:srgbClr val="ED1B2F"/>
          </a:solidFill>
        </p:spPr>
        <p:txBody>
          <a:bodyPr wrap="square" lIns="68580" tIns="68580" rIns="68580" bIns="68580" rtlCol="0">
            <a:spAutoFit/>
          </a:bodyPr>
          <a:lstStyle/>
          <a:p>
            <a:pPr defTabSz="685800">
              <a:buClrTx/>
            </a:pPr>
            <a:r>
              <a:rPr lang="en-US" sz="1050" kern="1200" dirty="0">
                <a:solidFill>
                  <a:prstClr val="white"/>
                </a:solidFill>
                <a:ea typeface="+mn-ea"/>
                <a:cs typeface="+mn-cs"/>
              </a:rPr>
              <a:t>Maps are for directional purposes only and are not intended to be exact renditions of country borders. For specific information about country borders and maps, please contact the local member firm.</a:t>
            </a:r>
          </a:p>
        </p:txBody>
      </p:sp>
    </p:spTree>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9633" name="Title 1"/>
          <p:cNvSpPr>
            <a:spLocks noGrp="1"/>
          </p:cNvSpPr>
          <p:nvPr>
            <p:ph type="title"/>
          </p:nvPr>
        </p:nvSpPr>
        <p:spPr/>
        <p:txBody>
          <a:bodyPr/>
          <a:lstStyle/>
          <a:p>
            <a:r>
              <a:rPr lang="en-US" dirty="0">
                <a:solidFill>
                  <a:srgbClr val="81BC00"/>
                </a:solidFill>
              </a:rPr>
              <a:t>Maps </a:t>
            </a:r>
            <a:r>
              <a:rPr lang="en-US" dirty="0"/>
              <a:t> </a:t>
            </a:r>
            <a:br>
              <a:rPr lang="en-US" dirty="0"/>
            </a:br>
            <a:r>
              <a:rPr lang="en-US" dirty="0">
                <a:solidFill>
                  <a:srgbClr val="575757"/>
                </a:solidFill>
              </a:rPr>
              <a:t>UK</a:t>
            </a:r>
          </a:p>
        </p:txBody>
      </p:sp>
      <p:grpSp>
        <p:nvGrpSpPr>
          <p:cNvPr id="2" name="Group 1"/>
          <p:cNvGrpSpPr/>
          <p:nvPr/>
        </p:nvGrpSpPr>
        <p:grpSpPr>
          <a:xfrm>
            <a:off x="1997274" y="1268730"/>
            <a:ext cx="2555081" cy="3349228"/>
            <a:chOff x="1139031" y="1383506"/>
            <a:chExt cx="3406775" cy="4465637"/>
          </a:xfrm>
        </p:grpSpPr>
        <p:sp>
          <p:nvSpPr>
            <p:cNvPr id="209" name="Freeform 8"/>
            <p:cNvSpPr>
              <a:spLocks/>
            </p:cNvSpPr>
            <p:nvPr/>
          </p:nvSpPr>
          <p:spPr bwMode="auto">
            <a:xfrm>
              <a:off x="2164556" y="1786731"/>
              <a:ext cx="263525" cy="361950"/>
            </a:xfrm>
            <a:custGeom>
              <a:avLst/>
              <a:gdLst>
                <a:gd name="T0" fmla="*/ 138 w 170"/>
                <a:gd name="T1" fmla="*/ 0 h 227"/>
                <a:gd name="T2" fmla="*/ 170 w 170"/>
                <a:gd name="T3" fmla="*/ 77 h 227"/>
                <a:gd name="T4" fmla="*/ 113 w 170"/>
                <a:gd name="T5" fmla="*/ 132 h 227"/>
                <a:gd name="T6" fmla="*/ 162 w 170"/>
                <a:gd name="T7" fmla="*/ 149 h 227"/>
                <a:gd name="T8" fmla="*/ 116 w 170"/>
                <a:gd name="T9" fmla="*/ 183 h 227"/>
                <a:gd name="T10" fmla="*/ 81 w 170"/>
                <a:gd name="T11" fmla="*/ 146 h 227"/>
                <a:gd name="T12" fmla="*/ 76 w 170"/>
                <a:gd name="T13" fmla="*/ 217 h 227"/>
                <a:gd name="T14" fmla="*/ 38 w 170"/>
                <a:gd name="T15" fmla="*/ 227 h 227"/>
                <a:gd name="T16" fmla="*/ 0 w 170"/>
                <a:gd name="T17" fmla="*/ 186 h 227"/>
                <a:gd name="T18" fmla="*/ 49 w 170"/>
                <a:gd name="T19" fmla="*/ 180 h 227"/>
                <a:gd name="T20" fmla="*/ 34 w 170"/>
                <a:gd name="T21" fmla="*/ 142 h 227"/>
                <a:gd name="T22" fmla="*/ 10 w 170"/>
                <a:gd name="T23" fmla="*/ 130 h 227"/>
                <a:gd name="T24" fmla="*/ 49 w 170"/>
                <a:gd name="T25" fmla="*/ 77 h 227"/>
                <a:gd name="T26" fmla="*/ 71 w 170"/>
                <a:gd name="T27" fmla="*/ 120 h 227"/>
                <a:gd name="T28" fmla="*/ 127 w 170"/>
                <a:gd name="T29" fmla="*/ 42 h 227"/>
                <a:gd name="T30" fmla="*/ 138 w 170"/>
                <a:gd name="T31" fmla="*/ 0 h 227"/>
                <a:gd name="T32" fmla="*/ 138 w 170"/>
                <a:gd name="T33" fmla="*/ 0 h 227"/>
                <a:gd name="T34" fmla="*/ 138 w 170"/>
                <a:gd name="T35" fmla="*/ 0 h 22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0"/>
                <a:gd name="T55" fmla="*/ 0 h 227"/>
                <a:gd name="T56" fmla="*/ 170 w 170"/>
                <a:gd name="T57" fmla="*/ 227 h 22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0" h="227">
                  <a:moveTo>
                    <a:pt x="138" y="0"/>
                  </a:moveTo>
                  <a:lnTo>
                    <a:pt x="170" y="77"/>
                  </a:lnTo>
                  <a:lnTo>
                    <a:pt x="113" y="132"/>
                  </a:lnTo>
                  <a:lnTo>
                    <a:pt x="162" y="149"/>
                  </a:lnTo>
                  <a:lnTo>
                    <a:pt x="116" y="183"/>
                  </a:lnTo>
                  <a:lnTo>
                    <a:pt x="81" y="146"/>
                  </a:lnTo>
                  <a:lnTo>
                    <a:pt x="76" y="217"/>
                  </a:lnTo>
                  <a:lnTo>
                    <a:pt x="38" y="227"/>
                  </a:lnTo>
                  <a:lnTo>
                    <a:pt x="0" y="186"/>
                  </a:lnTo>
                  <a:lnTo>
                    <a:pt x="49" y="180"/>
                  </a:lnTo>
                  <a:lnTo>
                    <a:pt x="34" y="142"/>
                  </a:lnTo>
                  <a:lnTo>
                    <a:pt x="10" y="130"/>
                  </a:lnTo>
                  <a:lnTo>
                    <a:pt x="49" y="77"/>
                  </a:lnTo>
                  <a:lnTo>
                    <a:pt x="71" y="120"/>
                  </a:lnTo>
                  <a:lnTo>
                    <a:pt x="127" y="42"/>
                  </a:lnTo>
                  <a:lnTo>
                    <a:pt x="138"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10" name="Freeform 9"/>
            <p:cNvSpPr>
              <a:spLocks/>
            </p:cNvSpPr>
            <p:nvPr/>
          </p:nvSpPr>
          <p:spPr bwMode="auto">
            <a:xfrm>
              <a:off x="2113756" y="2169318"/>
              <a:ext cx="98425" cy="263525"/>
            </a:xfrm>
            <a:custGeom>
              <a:avLst/>
              <a:gdLst>
                <a:gd name="T0" fmla="*/ 18 w 64"/>
                <a:gd name="T1" fmla="*/ 0 h 165"/>
                <a:gd name="T2" fmla="*/ 64 w 64"/>
                <a:gd name="T3" fmla="*/ 24 h 165"/>
                <a:gd name="T4" fmla="*/ 23 w 64"/>
                <a:gd name="T5" fmla="*/ 72 h 165"/>
                <a:gd name="T6" fmla="*/ 41 w 64"/>
                <a:gd name="T7" fmla="*/ 165 h 165"/>
                <a:gd name="T8" fmla="*/ 6 w 64"/>
                <a:gd name="T9" fmla="*/ 154 h 165"/>
                <a:gd name="T10" fmla="*/ 0 w 64"/>
                <a:gd name="T11" fmla="*/ 62 h 165"/>
                <a:gd name="T12" fmla="*/ 28 w 64"/>
                <a:gd name="T13" fmla="*/ 31 h 165"/>
                <a:gd name="T14" fmla="*/ 18 w 64"/>
                <a:gd name="T15" fmla="*/ 0 h 165"/>
                <a:gd name="T16" fmla="*/ 18 w 64"/>
                <a:gd name="T17" fmla="*/ 0 h 165"/>
                <a:gd name="T18" fmla="*/ 18 w 64"/>
                <a:gd name="T19" fmla="*/ 0 h 16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4"/>
                <a:gd name="T31" fmla="*/ 0 h 165"/>
                <a:gd name="T32" fmla="*/ 64 w 64"/>
                <a:gd name="T33" fmla="*/ 165 h 16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4" h="165">
                  <a:moveTo>
                    <a:pt x="18" y="0"/>
                  </a:moveTo>
                  <a:lnTo>
                    <a:pt x="64" y="24"/>
                  </a:lnTo>
                  <a:lnTo>
                    <a:pt x="23" y="72"/>
                  </a:lnTo>
                  <a:lnTo>
                    <a:pt x="41" y="165"/>
                  </a:lnTo>
                  <a:lnTo>
                    <a:pt x="6" y="154"/>
                  </a:lnTo>
                  <a:lnTo>
                    <a:pt x="0" y="62"/>
                  </a:lnTo>
                  <a:lnTo>
                    <a:pt x="28" y="31"/>
                  </a:lnTo>
                  <a:lnTo>
                    <a:pt x="18"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11" name="Freeform 10"/>
            <p:cNvSpPr>
              <a:spLocks/>
            </p:cNvSpPr>
            <p:nvPr/>
          </p:nvSpPr>
          <p:spPr bwMode="auto">
            <a:xfrm>
              <a:off x="2259806" y="2177256"/>
              <a:ext cx="249237" cy="320675"/>
            </a:xfrm>
            <a:custGeom>
              <a:avLst/>
              <a:gdLst>
                <a:gd name="T0" fmla="*/ 77 w 161"/>
                <a:gd name="T1" fmla="*/ 0 h 201"/>
                <a:gd name="T2" fmla="*/ 68 w 161"/>
                <a:gd name="T3" fmla="*/ 61 h 201"/>
                <a:gd name="T4" fmla="*/ 29 w 161"/>
                <a:gd name="T5" fmla="*/ 30 h 201"/>
                <a:gd name="T6" fmla="*/ 0 w 161"/>
                <a:gd name="T7" fmla="*/ 82 h 201"/>
                <a:gd name="T8" fmla="*/ 60 w 161"/>
                <a:gd name="T9" fmla="*/ 95 h 201"/>
                <a:gd name="T10" fmla="*/ 39 w 161"/>
                <a:gd name="T11" fmla="*/ 135 h 201"/>
                <a:gd name="T12" fmla="*/ 128 w 161"/>
                <a:gd name="T13" fmla="*/ 152 h 201"/>
                <a:gd name="T14" fmla="*/ 97 w 161"/>
                <a:gd name="T15" fmla="*/ 201 h 201"/>
                <a:gd name="T16" fmla="*/ 161 w 161"/>
                <a:gd name="T17" fmla="*/ 152 h 201"/>
                <a:gd name="T18" fmla="*/ 161 w 161"/>
                <a:gd name="T19" fmla="*/ 127 h 201"/>
                <a:gd name="T20" fmla="*/ 101 w 161"/>
                <a:gd name="T21" fmla="*/ 102 h 201"/>
                <a:gd name="T22" fmla="*/ 107 w 161"/>
                <a:gd name="T23" fmla="*/ 42 h 201"/>
                <a:gd name="T24" fmla="*/ 77 w 161"/>
                <a:gd name="T25" fmla="*/ 0 h 201"/>
                <a:gd name="T26" fmla="*/ 77 w 161"/>
                <a:gd name="T27" fmla="*/ 0 h 201"/>
                <a:gd name="T28" fmla="*/ 77 w 161"/>
                <a:gd name="T29" fmla="*/ 0 h 2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1"/>
                <a:gd name="T46" fmla="*/ 0 h 201"/>
                <a:gd name="T47" fmla="*/ 161 w 161"/>
                <a:gd name="T48" fmla="*/ 201 h 20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1" h="201">
                  <a:moveTo>
                    <a:pt x="77" y="0"/>
                  </a:moveTo>
                  <a:lnTo>
                    <a:pt x="68" y="61"/>
                  </a:lnTo>
                  <a:lnTo>
                    <a:pt x="29" y="30"/>
                  </a:lnTo>
                  <a:lnTo>
                    <a:pt x="0" y="82"/>
                  </a:lnTo>
                  <a:lnTo>
                    <a:pt x="60" y="95"/>
                  </a:lnTo>
                  <a:lnTo>
                    <a:pt x="39" y="135"/>
                  </a:lnTo>
                  <a:lnTo>
                    <a:pt x="128" y="152"/>
                  </a:lnTo>
                  <a:lnTo>
                    <a:pt x="97" y="201"/>
                  </a:lnTo>
                  <a:lnTo>
                    <a:pt x="161" y="152"/>
                  </a:lnTo>
                  <a:lnTo>
                    <a:pt x="161" y="127"/>
                  </a:lnTo>
                  <a:lnTo>
                    <a:pt x="101" y="102"/>
                  </a:lnTo>
                  <a:lnTo>
                    <a:pt x="107" y="42"/>
                  </a:lnTo>
                  <a:lnTo>
                    <a:pt x="77"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12" name="Freeform 11"/>
            <p:cNvSpPr>
              <a:spLocks/>
            </p:cNvSpPr>
            <p:nvPr/>
          </p:nvSpPr>
          <p:spPr bwMode="auto">
            <a:xfrm>
              <a:off x="2289968" y="2678906"/>
              <a:ext cx="225425" cy="203200"/>
            </a:xfrm>
            <a:custGeom>
              <a:avLst/>
              <a:gdLst>
                <a:gd name="T0" fmla="*/ 76 w 145"/>
                <a:gd name="T1" fmla="*/ 0 h 127"/>
                <a:gd name="T2" fmla="*/ 74 w 145"/>
                <a:gd name="T3" fmla="*/ 29 h 127"/>
                <a:gd name="T4" fmla="*/ 145 w 145"/>
                <a:gd name="T5" fmla="*/ 53 h 127"/>
                <a:gd name="T6" fmla="*/ 84 w 145"/>
                <a:gd name="T7" fmla="*/ 127 h 127"/>
                <a:gd name="T8" fmla="*/ 0 w 145"/>
                <a:gd name="T9" fmla="*/ 76 h 127"/>
                <a:gd name="T10" fmla="*/ 76 w 145"/>
                <a:gd name="T11" fmla="*/ 92 h 127"/>
                <a:gd name="T12" fmla="*/ 92 w 145"/>
                <a:gd name="T13" fmla="*/ 63 h 127"/>
                <a:gd name="T14" fmla="*/ 48 w 145"/>
                <a:gd name="T15" fmla="*/ 35 h 127"/>
                <a:gd name="T16" fmla="*/ 76 w 145"/>
                <a:gd name="T17" fmla="*/ 0 h 127"/>
                <a:gd name="T18" fmla="*/ 76 w 145"/>
                <a:gd name="T19" fmla="*/ 0 h 127"/>
                <a:gd name="T20" fmla="*/ 76 w 145"/>
                <a:gd name="T21" fmla="*/ 0 h 1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5"/>
                <a:gd name="T34" fmla="*/ 0 h 127"/>
                <a:gd name="T35" fmla="*/ 145 w 145"/>
                <a:gd name="T36" fmla="*/ 127 h 1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5" h="127">
                  <a:moveTo>
                    <a:pt x="76" y="0"/>
                  </a:moveTo>
                  <a:lnTo>
                    <a:pt x="74" y="29"/>
                  </a:lnTo>
                  <a:lnTo>
                    <a:pt x="145" y="53"/>
                  </a:lnTo>
                  <a:lnTo>
                    <a:pt x="84" y="127"/>
                  </a:lnTo>
                  <a:lnTo>
                    <a:pt x="0" y="76"/>
                  </a:lnTo>
                  <a:lnTo>
                    <a:pt x="76" y="92"/>
                  </a:lnTo>
                  <a:lnTo>
                    <a:pt x="92" y="63"/>
                  </a:lnTo>
                  <a:lnTo>
                    <a:pt x="48" y="35"/>
                  </a:lnTo>
                  <a:lnTo>
                    <a:pt x="76"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13" name="Freeform 12"/>
            <p:cNvSpPr>
              <a:spLocks/>
            </p:cNvSpPr>
            <p:nvPr/>
          </p:nvSpPr>
          <p:spPr bwMode="auto">
            <a:xfrm>
              <a:off x="2266156" y="2926556"/>
              <a:ext cx="214312" cy="236537"/>
            </a:xfrm>
            <a:custGeom>
              <a:avLst/>
              <a:gdLst>
                <a:gd name="T0" fmla="*/ 130 w 138"/>
                <a:gd name="T1" fmla="*/ 0 h 148"/>
                <a:gd name="T2" fmla="*/ 138 w 138"/>
                <a:gd name="T3" fmla="*/ 69 h 148"/>
                <a:gd name="T4" fmla="*/ 91 w 138"/>
                <a:gd name="T5" fmla="*/ 81 h 148"/>
                <a:gd name="T6" fmla="*/ 104 w 138"/>
                <a:gd name="T7" fmla="*/ 131 h 148"/>
                <a:gd name="T8" fmla="*/ 41 w 138"/>
                <a:gd name="T9" fmla="*/ 148 h 148"/>
                <a:gd name="T10" fmla="*/ 61 w 138"/>
                <a:gd name="T11" fmla="*/ 100 h 148"/>
                <a:gd name="T12" fmla="*/ 0 w 138"/>
                <a:gd name="T13" fmla="*/ 100 h 148"/>
                <a:gd name="T14" fmla="*/ 107 w 138"/>
                <a:gd name="T15" fmla="*/ 47 h 148"/>
                <a:gd name="T16" fmla="*/ 130 w 138"/>
                <a:gd name="T17" fmla="*/ 0 h 148"/>
                <a:gd name="T18" fmla="*/ 130 w 138"/>
                <a:gd name="T19" fmla="*/ 0 h 148"/>
                <a:gd name="T20" fmla="*/ 130 w 138"/>
                <a:gd name="T21" fmla="*/ 0 h 1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8"/>
                <a:gd name="T34" fmla="*/ 0 h 148"/>
                <a:gd name="T35" fmla="*/ 138 w 138"/>
                <a:gd name="T36" fmla="*/ 148 h 1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8" h="148">
                  <a:moveTo>
                    <a:pt x="130" y="0"/>
                  </a:moveTo>
                  <a:lnTo>
                    <a:pt x="138" y="69"/>
                  </a:lnTo>
                  <a:lnTo>
                    <a:pt x="91" y="81"/>
                  </a:lnTo>
                  <a:lnTo>
                    <a:pt x="104" y="131"/>
                  </a:lnTo>
                  <a:lnTo>
                    <a:pt x="41" y="148"/>
                  </a:lnTo>
                  <a:lnTo>
                    <a:pt x="61" y="100"/>
                  </a:lnTo>
                  <a:lnTo>
                    <a:pt x="0" y="100"/>
                  </a:lnTo>
                  <a:lnTo>
                    <a:pt x="107" y="47"/>
                  </a:lnTo>
                  <a:lnTo>
                    <a:pt x="130"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14" name="Freeform 13"/>
            <p:cNvSpPr>
              <a:spLocks/>
            </p:cNvSpPr>
            <p:nvPr/>
          </p:nvSpPr>
          <p:spPr bwMode="auto">
            <a:xfrm>
              <a:off x="2609056" y="3131343"/>
              <a:ext cx="88900" cy="127000"/>
            </a:xfrm>
            <a:custGeom>
              <a:avLst/>
              <a:gdLst>
                <a:gd name="T0" fmla="*/ 10 w 57"/>
                <a:gd name="T1" fmla="*/ 0 h 79"/>
                <a:gd name="T2" fmla="*/ 0 w 57"/>
                <a:gd name="T3" fmla="*/ 79 h 79"/>
                <a:gd name="T4" fmla="*/ 57 w 57"/>
                <a:gd name="T5" fmla="*/ 75 h 79"/>
                <a:gd name="T6" fmla="*/ 10 w 57"/>
                <a:gd name="T7" fmla="*/ 0 h 79"/>
                <a:gd name="T8" fmla="*/ 10 w 57"/>
                <a:gd name="T9" fmla="*/ 0 h 79"/>
                <a:gd name="T10" fmla="*/ 10 w 57"/>
                <a:gd name="T11" fmla="*/ 0 h 79"/>
                <a:gd name="T12" fmla="*/ 0 60000 65536"/>
                <a:gd name="T13" fmla="*/ 0 60000 65536"/>
                <a:gd name="T14" fmla="*/ 0 60000 65536"/>
                <a:gd name="T15" fmla="*/ 0 60000 65536"/>
                <a:gd name="T16" fmla="*/ 0 60000 65536"/>
                <a:gd name="T17" fmla="*/ 0 60000 65536"/>
                <a:gd name="T18" fmla="*/ 0 w 57"/>
                <a:gd name="T19" fmla="*/ 0 h 79"/>
                <a:gd name="T20" fmla="*/ 57 w 57"/>
                <a:gd name="T21" fmla="*/ 79 h 79"/>
              </a:gdLst>
              <a:ahLst/>
              <a:cxnLst>
                <a:cxn ang="T12">
                  <a:pos x="T0" y="T1"/>
                </a:cxn>
                <a:cxn ang="T13">
                  <a:pos x="T2" y="T3"/>
                </a:cxn>
                <a:cxn ang="T14">
                  <a:pos x="T4" y="T5"/>
                </a:cxn>
                <a:cxn ang="T15">
                  <a:pos x="T6" y="T7"/>
                </a:cxn>
                <a:cxn ang="T16">
                  <a:pos x="T8" y="T9"/>
                </a:cxn>
                <a:cxn ang="T17">
                  <a:pos x="T10" y="T11"/>
                </a:cxn>
              </a:cxnLst>
              <a:rect l="T18" t="T19" r="T20" b="T21"/>
              <a:pathLst>
                <a:path w="57" h="79">
                  <a:moveTo>
                    <a:pt x="10" y="0"/>
                  </a:moveTo>
                  <a:lnTo>
                    <a:pt x="0" y="79"/>
                  </a:lnTo>
                  <a:lnTo>
                    <a:pt x="57" y="75"/>
                  </a:lnTo>
                  <a:lnTo>
                    <a:pt x="10"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15" name="Freeform 14"/>
            <p:cNvSpPr>
              <a:spLocks/>
            </p:cNvSpPr>
            <p:nvPr/>
          </p:nvSpPr>
          <p:spPr bwMode="auto">
            <a:xfrm>
              <a:off x="3123406" y="1600993"/>
              <a:ext cx="53975" cy="69850"/>
            </a:xfrm>
            <a:custGeom>
              <a:avLst/>
              <a:gdLst>
                <a:gd name="T0" fmla="*/ 0 w 35"/>
                <a:gd name="T1" fmla="*/ 0 h 44"/>
                <a:gd name="T2" fmla="*/ 34 w 35"/>
                <a:gd name="T3" fmla="*/ 44 h 44"/>
                <a:gd name="T4" fmla="*/ 35 w 35"/>
                <a:gd name="T5" fmla="*/ 17 h 44"/>
                <a:gd name="T6" fmla="*/ 0 w 35"/>
                <a:gd name="T7" fmla="*/ 0 h 44"/>
                <a:gd name="T8" fmla="*/ 0 w 35"/>
                <a:gd name="T9" fmla="*/ 0 h 44"/>
                <a:gd name="T10" fmla="*/ 0 w 35"/>
                <a:gd name="T11" fmla="*/ 0 h 44"/>
                <a:gd name="T12" fmla="*/ 0 60000 65536"/>
                <a:gd name="T13" fmla="*/ 0 60000 65536"/>
                <a:gd name="T14" fmla="*/ 0 60000 65536"/>
                <a:gd name="T15" fmla="*/ 0 60000 65536"/>
                <a:gd name="T16" fmla="*/ 0 60000 65536"/>
                <a:gd name="T17" fmla="*/ 0 60000 65536"/>
                <a:gd name="T18" fmla="*/ 0 w 35"/>
                <a:gd name="T19" fmla="*/ 0 h 44"/>
                <a:gd name="T20" fmla="*/ 35 w 35"/>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35" h="44">
                  <a:moveTo>
                    <a:pt x="0" y="0"/>
                  </a:moveTo>
                  <a:lnTo>
                    <a:pt x="34" y="44"/>
                  </a:lnTo>
                  <a:lnTo>
                    <a:pt x="35" y="17"/>
                  </a:lnTo>
                  <a:lnTo>
                    <a:pt x="0"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16" name="Freeform 15"/>
            <p:cNvSpPr>
              <a:spLocks/>
            </p:cNvSpPr>
            <p:nvPr/>
          </p:nvSpPr>
          <p:spPr bwMode="auto">
            <a:xfrm>
              <a:off x="3123406" y="1499393"/>
              <a:ext cx="176212" cy="117475"/>
            </a:xfrm>
            <a:custGeom>
              <a:avLst/>
              <a:gdLst>
                <a:gd name="T0" fmla="*/ 20 w 114"/>
                <a:gd name="T1" fmla="*/ 0 h 73"/>
                <a:gd name="T2" fmla="*/ 0 w 114"/>
                <a:gd name="T3" fmla="*/ 51 h 73"/>
                <a:gd name="T4" fmla="*/ 35 w 114"/>
                <a:gd name="T5" fmla="*/ 36 h 73"/>
                <a:gd name="T6" fmla="*/ 31 w 114"/>
                <a:gd name="T7" fmla="*/ 66 h 73"/>
                <a:gd name="T8" fmla="*/ 65 w 114"/>
                <a:gd name="T9" fmla="*/ 50 h 73"/>
                <a:gd name="T10" fmla="*/ 104 w 114"/>
                <a:gd name="T11" fmla="*/ 73 h 73"/>
                <a:gd name="T12" fmla="*/ 114 w 114"/>
                <a:gd name="T13" fmla="*/ 41 h 73"/>
                <a:gd name="T14" fmla="*/ 57 w 114"/>
                <a:gd name="T15" fmla="*/ 36 h 73"/>
                <a:gd name="T16" fmla="*/ 60 w 114"/>
                <a:gd name="T17" fmla="*/ 5 h 73"/>
                <a:gd name="T18" fmla="*/ 20 w 114"/>
                <a:gd name="T19" fmla="*/ 0 h 73"/>
                <a:gd name="T20" fmla="*/ 20 w 114"/>
                <a:gd name="T21" fmla="*/ 0 h 73"/>
                <a:gd name="T22" fmla="*/ 20 w 114"/>
                <a:gd name="T23" fmla="*/ 0 h 7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4"/>
                <a:gd name="T37" fmla="*/ 0 h 73"/>
                <a:gd name="T38" fmla="*/ 114 w 114"/>
                <a:gd name="T39" fmla="*/ 73 h 7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4" h="73">
                  <a:moveTo>
                    <a:pt x="20" y="0"/>
                  </a:moveTo>
                  <a:lnTo>
                    <a:pt x="0" y="51"/>
                  </a:lnTo>
                  <a:lnTo>
                    <a:pt x="35" y="36"/>
                  </a:lnTo>
                  <a:lnTo>
                    <a:pt x="31" y="66"/>
                  </a:lnTo>
                  <a:lnTo>
                    <a:pt x="65" y="50"/>
                  </a:lnTo>
                  <a:lnTo>
                    <a:pt x="104" y="73"/>
                  </a:lnTo>
                  <a:lnTo>
                    <a:pt x="114" y="41"/>
                  </a:lnTo>
                  <a:lnTo>
                    <a:pt x="57" y="36"/>
                  </a:lnTo>
                  <a:lnTo>
                    <a:pt x="60" y="5"/>
                  </a:lnTo>
                  <a:lnTo>
                    <a:pt x="20"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17" name="Freeform 16"/>
            <p:cNvSpPr>
              <a:spLocks/>
            </p:cNvSpPr>
            <p:nvPr/>
          </p:nvSpPr>
          <p:spPr bwMode="auto">
            <a:xfrm>
              <a:off x="3212306" y="1450181"/>
              <a:ext cx="31750" cy="33337"/>
            </a:xfrm>
            <a:custGeom>
              <a:avLst/>
              <a:gdLst>
                <a:gd name="T0" fmla="*/ 3 w 21"/>
                <a:gd name="T1" fmla="*/ 0 h 21"/>
                <a:gd name="T2" fmla="*/ 0 w 21"/>
                <a:gd name="T3" fmla="*/ 21 h 21"/>
                <a:gd name="T4" fmla="*/ 21 w 21"/>
                <a:gd name="T5" fmla="*/ 16 h 21"/>
                <a:gd name="T6" fmla="*/ 3 w 21"/>
                <a:gd name="T7" fmla="*/ 0 h 21"/>
                <a:gd name="T8" fmla="*/ 3 w 21"/>
                <a:gd name="T9" fmla="*/ 0 h 21"/>
                <a:gd name="T10" fmla="*/ 3 w 21"/>
                <a:gd name="T11" fmla="*/ 0 h 21"/>
                <a:gd name="T12" fmla="*/ 0 60000 65536"/>
                <a:gd name="T13" fmla="*/ 0 60000 65536"/>
                <a:gd name="T14" fmla="*/ 0 60000 65536"/>
                <a:gd name="T15" fmla="*/ 0 60000 65536"/>
                <a:gd name="T16" fmla="*/ 0 60000 65536"/>
                <a:gd name="T17" fmla="*/ 0 60000 65536"/>
                <a:gd name="T18" fmla="*/ 0 w 21"/>
                <a:gd name="T19" fmla="*/ 0 h 21"/>
                <a:gd name="T20" fmla="*/ 21 w 21"/>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21" h="21">
                  <a:moveTo>
                    <a:pt x="3" y="0"/>
                  </a:moveTo>
                  <a:lnTo>
                    <a:pt x="0" y="21"/>
                  </a:lnTo>
                  <a:lnTo>
                    <a:pt x="21" y="16"/>
                  </a:lnTo>
                  <a:lnTo>
                    <a:pt x="3"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18" name="Freeform 17"/>
            <p:cNvSpPr>
              <a:spLocks/>
            </p:cNvSpPr>
            <p:nvPr/>
          </p:nvSpPr>
          <p:spPr bwMode="auto">
            <a:xfrm>
              <a:off x="3236118" y="1510506"/>
              <a:ext cx="47625" cy="33337"/>
            </a:xfrm>
            <a:custGeom>
              <a:avLst/>
              <a:gdLst>
                <a:gd name="T0" fmla="*/ 13 w 30"/>
                <a:gd name="T1" fmla="*/ 0 h 21"/>
                <a:gd name="T2" fmla="*/ 0 w 30"/>
                <a:gd name="T3" fmla="*/ 21 h 21"/>
                <a:gd name="T4" fmla="*/ 30 w 30"/>
                <a:gd name="T5" fmla="*/ 20 h 21"/>
                <a:gd name="T6" fmla="*/ 13 w 30"/>
                <a:gd name="T7" fmla="*/ 0 h 21"/>
                <a:gd name="T8" fmla="*/ 13 w 30"/>
                <a:gd name="T9" fmla="*/ 0 h 21"/>
                <a:gd name="T10" fmla="*/ 13 w 30"/>
                <a:gd name="T11" fmla="*/ 0 h 21"/>
                <a:gd name="T12" fmla="*/ 0 60000 65536"/>
                <a:gd name="T13" fmla="*/ 0 60000 65536"/>
                <a:gd name="T14" fmla="*/ 0 60000 65536"/>
                <a:gd name="T15" fmla="*/ 0 60000 65536"/>
                <a:gd name="T16" fmla="*/ 0 60000 65536"/>
                <a:gd name="T17" fmla="*/ 0 60000 65536"/>
                <a:gd name="T18" fmla="*/ 0 w 30"/>
                <a:gd name="T19" fmla="*/ 0 h 21"/>
                <a:gd name="T20" fmla="*/ 30 w 30"/>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30" h="21">
                  <a:moveTo>
                    <a:pt x="13" y="0"/>
                  </a:moveTo>
                  <a:lnTo>
                    <a:pt x="0" y="21"/>
                  </a:lnTo>
                  <a:lnTo>
                    <a:pt x="30" y="20"/>
                  </a:lnTo>
                  <a:lnTo>
                    <a:pt x="13"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19" name="Freeform 18"/>
            <p:cNvSpPr>
              <a:spLocks/>
            </p:cNvSpPr>
            <p:nvPr/>
          </p:nvSpPr>
          <p:spPr bwMode="auto">
            <a:xfrm>
              <a:off x="3225006" y="1383506"/>
              <a:ext cx="26987" cy="79375"/>
            </a:xfrm>
            <a:custGeom>
              <a:avLst/>
              <a:gdLst>
                <a:gd name="T0" fmla="*/ 8 w 18"/>
                <a:gd name="T1" fmla="*/ 0 h 50"/>
                <a:gd name="T2" fmla="*/ 0 w 18"/>
                <a:gd name="T3" fmla="*/ 17 h 50"/>
                <a:gd name="T4" fmla="*/ 18 w 18"/>
                <a:gd name="T5" fmla="*/ 50 h 50"/>
                <a:gd name="T6" fmla="*/ 8 w 18"/>
                <a:gd name="T7" fmla="*/ 0 h 50"/>
                <a:gd name="T8" fmla="*/ 8 w 18"/>
                <a:gd name="T9" fmla="*/ 0 h 50"/>
                <a:gd name="T10" fmla="*/ 8 w 18"/>
                <a:gd name="T11" fmla="*/ 0 h 50"/>
                <a:gd name="T12" fmla="*/ 0 60000 65536"/>
                <a:gd name="T13" fmla="*/ 0 60000 65536"/>
                <a:gd name="T14" fmla="*/ 0 60000 65536"/>
                <a:gd name="T15" fmla="*/ 0 60000 65536"/>
                <a:gd name="T16" fmla="*/ 0 60000 65536"/>
                <a:gd name="T17" fmla="*/ 0 60000 65536"/>
                <a:gd name="T18" fmla="*/ 0 w 18"/>
                <a:gd name="T19" fmla="*/ 0 h 50"/>
                <a:gd name="T20" fmla="*/ 18 w 18"/>
                <a:gd name="T21" fmla="*/ 50 h 50"/>
              </a:gdLst>
              <a:ahLst/>
              <a:cxnLst>
                <a:cxn ang="T12">
                  <a:pos x="T0" y="T1"/>
                </a:cxn>
                <a:cxn ang="T13">
                  <a:pos x="T2" y="T3"/>
                </a:cxn>
                <a:cxn ang="T14">
                  <a:pos x="T4" y="T5"/>
                </a:cxn>
                <a:cxn ang="T15">
                  <a:pos x="T6" y="T7"/>
                </a:cxn>
                <a:cxn ang="T16">
                  <a:pos x="T8" y="T9"/>
                </a:cxn>
                <a:cxn ang="T17">
                  <a:pos x="T10" y="T11"/>
                </a:cxn>
              </a:cxnLst>
              <a:rect l="T18" t="T19" r="T20" b="T21"/>
              <a:pathLst>
                <a:path w="18" h="50">
                  <a:moveTo>
                    <a:pt x="8" y="0"/>
                  </a:moveTo>
                  <a:lnTo>
                    <a:pt x="0" y="17"/>
                  </a:lnTo>
                  <a:lnTo>
                    <a:pt x="18" y="50"/>
                  </a:lnTo>
                  <a:lnTo>
                    <a:pt x="8"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20" name="Freeform 19"/>
            <p:cNvSpPr>
              <a:spLocks/>
            </p:cNvSpPr>
            <p:nvPr/>
          </p:nvSpPr>
          <p:spPr bwMode="auto">
            <a:xfrm>
              <a:off x="3266281" y="1424781"/>
              <a:ext cx="23812" cy="74612"/>
            </a:xfrm>
            <a:custGeom>
              <a:avLst/>
              <a:gdLst>
                <a:gd name="T0" fmla="*/ 15 w 15"/>
                <a:gd name="T1" fmla="*/ 0 h 47"/>
                <a:gd name="T2" fmla="*/ 0 w 15"/>
                <a:gd name="T3" fmla="*/ 32 h 47"/>
                <a:gd name="T4" fmla="*/ 11 w 15"/>
                <a:gd name="T5" fmla="*/ 47 h 47"/>
                <a:gd name="T6" fmla="*/ 15 w 15"/>
                <a:gd name="T7" fmla="*/ 0 h 47"/>
                <a:gd name="T8" fmla="*/ 15 w 15"/>
                <a:gd name="T9" fmla="*/ 0 h 47"/>
                <a:gd name="T10" fmla="*/ 15 w 15"/>
                <a:gd name="T11" fmla="*/ 0 h 47"/>
                <a:gd name="T12" fmla="*/ 0 60000 65536"/>
                <a:gd name="T13" fmla="*/ 0 60000 65536"/>
                <a:gd name="T14" fmla="*/ 0 60000 65536"/>
                <a:gd name="T15" fmla="*/ 0 60000 65536"/>
                <a:gd name="T16" fmla="*/ 0 60000 65536"/>
                <a:gd name="T17" fmla="*/ 0 60000 65536"/>
                <a:gd name="T18" fmla="*/ 0 w 15"/>
                <a:gd name="T19" fmla="*/ 0 h 47"/>
                <a:gd name="T20" fmla="*/ 15 w 15"/>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15" h="47">
                  <a:moveTo>
                    <a:pt x="15" y="0"/>
                  </a:moveTo>
                  <a:lnTo>
                    <a:pt x="0" y="32"/>
                  </a:lnTo>
                  <a:lnTo>
                    <a:pt x="11" y="47"/>
                  </a:lnTo>
                  <a:lnTo>
                    <a:pt x="15"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21" name="Freeform 20"/>
            <p:cNvSpPr>
              <a:spLocks/>
            </p:cNvSpPr>
            <p:nvPr/>
          </p:nvSpPr>
          <p:spPr bwMode="auto">
            <a:xfrm>
              <a:off x="3299618" y="1480343"/>
              <a:ext cx="38100" cy="61913"/>
            </a:xfrm>
            <a:custGeom>
              <a:avLst/>
              <a:gdLst>
                <a:gd name="T0" fmla="*/ 24 w 24"/>
                <a:gd name="T1" fmla="*/ 0 h 38"/>
                <a:gd name="T2" fmla="*/ 0 w 24"/>
                <a:gd name="T3" fmla="*/ 18 h 38"/>
                <a:gd name="T4" fmla="*/ 7 w 24"/>
                <a:gd name="T5" fmla="*/ 38 h 38"/>
                <a:gd name="T6" fmla="*/ 18 w 24"/>
                <a:gd name="T7" fmla="*/ 20 h 38"/>
                <a:gd name="T8" fmla="*/ 24 w 24"/>
                <a:gd name="T9" fmla="*/ 0 h 38"/>
                <a:gd name="T10" fmla="*/ 24 w 24"/>
                <a:gd name="T11" fmla="*/ 0 h 38"/>
                <a:gd name="T12" fmla="*/ 24 w 24"/>
                <a:gd name="T13" fmla="*/ 0 h 38"/>
                <a:gd name="T14" fmla="*/ 0 60000 65536"/>
                <a:gd name="T15" fmla="*/ 0 60000 65536"/>
                <a:gd name="T16" fmla="*/ 0 60000 65536"/>
                <a:gd name="T17" fmla="*/ 0 60000 65536"/>
                <a:gd name="T18" fmla="*/ 0 60000 65536"/>
                <a:gd name="T19" fmla="*/ 0 60000 65536"/>
                <a:gd name="T20" fmla="*/ 0 60000 65536"/>
                <a:gd name="T21" fmla="*/ 0 w 24"/>
                <a:gd name="T22" fmla="*/ 0 h 38"/>
                <a:gd name="T23" fmla="*/ 24 w 24"/>
                <a:gd name="T24" fmla="*/ 38 h 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8">
                  <a:moveTo>
                    <a:pt x="24" y="0"/>
                  </a:moveTo>
                  <a:lnTo>
                    <a:pt x="0" y="18"/>
                  </a:lnTo>
                  <a:lnTo>
                    <a:pt x="7" y="38"/>
                  </a:lnTo>
                  <a:lnTo>
                    <a:pt x="18" y="20"/>
                  </a:lnTo>
                  <a:lnTo>
                    <a:pt x="24"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22" name="Freeform 21"/>
            <p:cNvSpPr>
              <a:spLocks/>
            </p:cNvSpPr>
            <p:nvPr/>
          </p:nvSpPr>
          <p:spPr bwMode="auto">
            <a:xfrm>
              <a:off x="3302793" y="1407318"/>
              <a:ext cx="49213" cy="58738"/>
            </a:xfrm>
            <a:custGeom>
              <a:avLst/>
              <a:gdLst>
                <a:gd name="T0" fmla="*/ 0 w 31"/>
                <a:gd name="T1" fmla="*/ 0 h 37"/>
                <a:gd name="T2" fmla="*/ 3 w 31"/>
                <a:gd name="T3" fmla="*/ 37 h 37"/>
                <a:gd name="T4" fmla="*/ 31 w 31"/>
                <a:gd name="T5" fmla="*/ 32 h 37"/>
                <a:gd name="T6" fmla="*/ 0 w 31"/>
                <a:gd name="T7" fmla="*/ 0 h 37"/>
                <a:gd name="T8" fmla="*/ 0 w 31"/>
                <a:gd name="T9" fmla="*/ 0 h 37"/>
                <a:gd name="T10" fmla="*/ 0 w 31"/>
                <a:gd name="T11" fmla="*/ 0 h 37"/>
                <a:gd name="T12" fmla="*/ 0 60000 65536"/>
                <a:gd name="T13" fmla="*/ 0 60000 65536"/>
                <a:gd name="T14" fmla="*/ 0 60000 65536"/>
                <a:gd name="T15" fmla="*/ 0 60000 65536"/>
                <a:gd name="T16" fmla="*/ 0 60000 65536"/>
                <a:gd name="T17" fmla="*/ 0 60000 65536"/>
                <a:gd name="T18" fmla="*/ 0 w 31"/>
                <a:gd name="T19" fmla="*/ 0 h 37"/>
                <a:gd name="T20" fmla="*/ 31 w 31"/>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31" h="37">
                  <a:moveTo>
                    <a:pt x="0" y="0"/>
                  </a:moveTo>
                  <a:lnTo>
                    <a:pt x="3" y="37"/>
                  </a:lnTo>
                  <a:lnTo>
                    <a:pt x="31" y="32"/>
                  </a:lnTo>
                  <a:lnTo>
                    <a:pt x="0"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23" name="Freeform 22"/>
            <p:cNvSpPr>
              <a:spLocks/>
            </p:cNvSpPr>
            <p:nvPr/>
          </p:nvSpPr>
          <p:spPr bwMode="auto">
            <a:xfrm>
              <a:off x="3328193" y="1391443"/>
              <a:ext cx="23813" cy="31750"/>
            </a:xfrm>
            <a:custGeom>
              <a:avLst/>
              <a:gdLst>
                <a:gd name="T0" fmla="*/ 0 w 15"/>
                <a:gd name="T1" fmla="*/ 0 h 20"/>
                <a:gd name="T2" fmla="*/ 3 w 15"/>
                <a:gd name="T3" fmla="*/ 20 h 20"/>
                <a:gd name="T4" fmla="*/ 15 w 15"/>
                <a:gd name="T5" fmla="*/ 17 h 20"/>
                <a:gd name="T6" fmla="*/ 0 w 15"/>
                <a:gd name="T7" fmla="*/ 0 h 20"/>
                <a:gd name="T8" fmla="*/ 0 w 15"/>
                <a:gd name="T9" fmla="*/ 0 h 20"/>
                <a:gd name="T10" fmla="*/ 0 w 15"/>
                <a:gd name="T11" fmla="*/ 0 h 20"/>
                <a:gd name="T12" fmla="*/ 0 60000 65536"/>
                <a:gd name="T13" fmla="*/ 0 60000 65536"/>
                <a:gd name="T14" fmla="*/ 0 60000 65536"/>
                <a:gd name="T15" fmla="*/ 0 60000 65536"/>
                <a:gd name="T16" fmla="*/ 0 60000 65536"/>
                <a:gd name="T17" fmla="*/ 0 60000 65536"/>
                <a:gd name="T18" fmla="*/ 0 w 15"/>
                <a:gd name="T19" fmla="*/ 0 h 20"/>
                <a:gd name="T20" fmla="*/ 15 w 15"/>
                <a:gd name="T21" fmla="*/ 20 h 20"/>
              </a:gdLst>
              <a:ahLst/>
              <a:cxnLst>
                <a:cxn ang="T12">
                  <a:pos x="T0" y="T1"/>
                </a:cxn>
                <a:cxn ang="T13">
                  <a:pos x="T2" y="T3"/>
                </a:cxn>
                <a:cxn ang="T14">
                  <a:pos x="T4" y="T5"/>
                </a:cxn>
                <a:cxn ang="T15">
                  <a:pos x="T6" y="T7"/>
                </a:cxn>
                <a:cxn ang="T16">
                  <a:pos x="T8" y="T9"/>
                </a:cxn>
                <a:cxn ang="T17">
                  <a:pos x="T10" y="T11"/>
                </a:cxn>
              </a:cxnLst>
              <a:rect l="T18" t="T19" r="T20" b="T21"/>
              <a:pathLst>
                <a:path w="15" h="20">
                  <a:moveTo>
                    <a:pt x="0" y="0"/>
                  </a:moveTo>
                  <a:lnTo>
                    <a:pt x="3" y="20"/>
                  </a:lnTo>
                  <a:lnTo>
                    <a:pt x="15" y="17"/>
                  </a:lnTo>
                  <a:lnTo>
                    <a:pt x="0"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24" name="Freeform 23"/>
            <p:cNvSpPr>
              <a:spLocks/>
            </p:cNvSpPr>
            <p:nvPr/>
          </p:nvSpPr>
          <p:spPr bwMode="auto">
            <a:xfrm>
              <a:off x="3196431" y="1607343"/>
              <a:ext cx="30162" cy="88900"/>
            </a:xfrm>
            <a:custGeom>
              <a:avLst/>
              <a:gdLst>
                <a:gd name="T0" fmla="*/ 19 w 19"/>
                <a:gd name="T1" fmla="*/ 0 h 56"/>
                <a:gd name="T2" fmla="*/ 0 w 19"/>
                <a:gd name="T3" fmla="*/ 30 h 56"/>
                <a:gd name="T4" fmla="*/ 17 w 19"/>
                <a:gd name="T5" fmla="*/ 56 h 56"/>
                <a:gd name="T6" fmla="*/ 19 w 19"/>
                <a:gd name="T7" fmla="*/ 0 h 56"/>
                <a:gd name="T8" fmla="*/ 19 w 19"/>
                <a:gd name="T9" fmla="*/ 0 h 56"/>
                <a:gd name="T10" fmla="*/ 19 w 19"/>
                <a:gd name="T11" fmla="*/ 0 h 56"/>
                <a:gd name="T12" fmla="*/ 0 60000 65536"/>
                <a:gd name="T13" fmla="*/ 0 60000 65536"/>
                <a:gd name="T14" fmla="*/ 0 60000 65536"/>
                <a:gd name="T15" fmla="*/ 0 60000 65536"/>
                <a:gd name="T16" fmla="*/ 0 60000 65536"/>
                <a:gd name="T17" fmla="*/ 0 60000 65536"/>
                <a:gd name="T18" fmla="*/ 0 w 19"/>
                <a:gd name="T19" fmla="*/ 0 h 56"/>
                <a:gd name="T20" fmla="*/ 19 w 19"/>
                <a:gd name="T21" fmla="*/ 56 h 56"/>
              </a:gdLst>
              <a:ahLst/>
              <a:cxnLst>
                <a:cxn ang="T12">
                  <a:pos x="T0" y="T1"/>
                </a:cxn>
                <a:cxn ang="T13">
                  <a:pos x="T2" y="T3"/>
                </a:cxn>
                <a:cxn ang="T14">
                  <a:pos x="T4" y="T5"/>
                </a:cxn>
                <a:cxn ang="T15">
                  <a:pos x="T6" y="T7"/>
                </a:cxn>
                <a:cxn ang="T16">
                  <a:pos x="T8" y="T9"/>
                </a:cxn>
                <a:cxn ang="T17">
                  <a:pos x="T10" y="T11"/>
                </a:cxn>
              </a:cxnLst>
              <a:rect l="T18" t="T19" r="T20" b="T21"/>
              <a:pathLst>
                <a:path w="19" h="56">
                  <a:moveTo>
                    <a:pt x="19" y="0"/>
                  </a:moveTo>
                  <a:lnTo>
                    <a:pt x="0" y="30"/>
                  </a:lnTo>
                  <a:lnTo>
                    <a:pt x="17" y="56"/>
                  </a:lnTo>
                  <a:lnTo>
                    <a:pt x="19"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25" name="Freeform 24"/>
            <p:cNvSpPr>
              <a:spLocks/>
            </p:cNvSpPr>
            <p:nvPr/>
          </p:nvSpPr>
          <p:spPr bwMode="auto">
            <a:xfrm>
              <a:off x="2389981" y="1718468"/>
              <a:ext cx="796925" cy="1020763"/>
            </a:xfrm>
            <a:custGeom>
              <a:avLst/>
              <a:gdLst>
                <a:gd name="T0" fmla="*/ 421 w 515"/>
                <a:gd name="T1" fmla="*/ 338 h 639"/>
                <a:gd name="T2" fmla="*/ 451 w 515"/>
                <a:gd name="T3" fmla="*/ 375 h 639"/>
                <a:gd name="T4" fmla="*/ 402 w 515"/>
                <a:gd name="T5" fmla="*/ 524 h 639"/>
                <a:gd name="T6" fmla="*/ 164 w 515"/>
                <a:gd name="T7" fmla="*/ 615 h 639"/>
                <a:gd name="T8" fmla="*/ 190 w 515"/>
                <a:gd name="T9" fmla="*/ 554 h 639"/>
                <a:gd name="T10" fmla="*/ 38 w 515"/>
                <a:gd name="T11" fmla="*/ 604 h 639"/>
                <a:gd name="T12" fmla="*/ 129 w 515"/>
                <a:gd name="T13" fmla="*/ 584 h 639"/>
                <a:gd name="T14" fmla="*/ 62 w 515"/>
                <a:gd name="T15" fmla="*/ 586 h 639"/>
                <a:gd name="T16" fmla="*/ 48 w 515"/>
                <a:gd name="T17" fmla="*/ 561 h 639"/>
                <a:gd name="T18" fmla="*/ 98 w 515"/>
                <a:gd name="T19" fmla="*/ 532 h 639"/>
                <a:gd name="T20" fmla="*/ 66 w 515"/>
                <a:gd name="T21" fmla="*/ 491 h 639"/>
                <a:gd name="T22" fmla="*/ 77 w 515"/>
                <a:gd name="T23" fmla="*/ 471 h 639"/>
                <a:gd name="T24" fmla="*/ 102 w 515"/>
                <a:gd name="T25" fmla="*/ 446 h 639"/>
                <a:gd name="T26" fmla="*/ 95 w 515"/>
                <a:gd name="T27" fmla="*/ 403 h 639"/>
                <a:gd name="T28" fmla="*/ 75 w 515"/>
                <a:gd name="T29" fmla="*/ 385 h 639"/>
                <a:gd name="T30" fmla="*/ 115 w 515"/>
                <a:gd name="T31" fmla="*/ 351 h 639"/>
                <a:gd name="T32" fmla="*/ 80 w 515"/>
                <a:gd name="T33" fmla="*/ 301 h 639"/>
                <a:gd name="T34" fmla="*/ 74 w 515"/>
                <a:gd name="T35" fmla="*/ 246 h 639"/>
                <a:gd name="T36" fmla="*/ 136 w 515"/>
                <a:gd name="T37" fmla="*/ 229 h 639"/>
                <a:gd name="T38" fmla="*/ 195 w 515"/>
                <a:gd name="T39" fmla="*/ 229 h 639"/>
                <a:gd name="T40" fmla="*/ 151 w 515"/>
                <a:gd name="T41" fmla="*/ 122 h 639"/>
                <a:gd name="T42" fmla="*/ 179 w 515"/>
                <a:gd name="T43" fmla="*/ 90 h 639"/>
                <a:gd name="T44" fmla="*/ 236 w 515"/>
                <a:gd name="T45" fmla="*/ 39 h 639"/>
                <a:gd name="T46" fmla="*/ 257 w 515"/>
                <a:gd name="T47" fmla="*/ 36 h 639"/>
                <a:gd name="T48" fmla="*/ 272 w 515"/>
                <a:gd name="T49" fmla="*/ 38 h 639"/>
                <a:gd name="T50" fmla="*/ 293 w 515"/>
                <a:gd name="T51" fmla="*/ 60 h 639"/>
                <a:gd name="T52" fmla="*/ 458 w 515"/>
                <a:gd name="T53" fmla="*/ 22 h 639"/>
                <a:gd name="T54" fmla="*/ 492 w 515"/>
                <a:gd name="T55" fmla="*/ 0 h 639"/>
                <a:gd name="T56" fmla="*/ 515 w 515"/>
                <a:gd name="T57" fmla="*/ 65 h 639"/>
                <a:gd name="T58" fmla="*/ 363 w 515"/>
                <a:gd name="T59" fmla="*/ 238 h 639"/>
                <a:gd name="T60" fmla="*/ 356 w 515"/>
                <a:gd name="T61" fmla="*/ 258 h 639"/>
                <a:gd name="T62" fmla="*/ 376 w 515"/>
                <a:gd name="T63" fmla="*/ 285 h 639"/>
                <a:gd name="T64" fmla="*/ 297 w 515"/>
                <a:gd name="T65" fmla="*/ 322 h 639"/>
                <a:gd name="T66" fmla="*/ 302 w 515"/>
                <a:gd name="T67" fmla="*/ 352 h 639"/>
                <a:gd name="T68" fmla="*/ 361 w 515"/>
                <a:gd name="T69" fmla="*/ 321 h 639"/>
                <a:gd name="T70" fmla="*/ 397 w 515"/>
                <a:gd name="T71" fmla="*/ 308 h 6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15"/>
                <a:gd name="T109" fmla="*/ 0 h 639"/>
                <a:gd name="T110" fmla="*/ 515 w 515"/>
                <a:gd name="T111" fmla="*/ 639 h 6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15" h="639">
                  <a:moveTo>
                    <a:pt x="397" y="308"/>
                  </a:moveTo>
                  <a:lnTo>
                    <a:pt x="421" y="338"/>
                  </a:lnTo>
                  <a:lnTo>
                    <a:pt x="421" y="389"/>
                  </a:lnTo>
                  <a:lnTo>
                    <a:pt x="451" y="375"/>
                  </a:lnTo>
                  <a:lnTo>
                    <a:pt x="472" y="406"/>
                  </a:lnTo>
                  <a:lnTo>
                    <a:pt x="402" y="524"/>
                  </a:lnTo>
                  <a:lnTo>
                    <a:pt x="250" y="615"/>
                  </a:lnTo>
                  <a:lnTo>
                    <a:pt x="164" y="615"/>
                  </a:lnTo>
                  <a:lnTo>
                    <a:pt x="182" y="604"/>
                  </a:lnTo>
                  <a:lnTo>
                    <a:pt x="190" y="554"/>
                  </a:lnTo>
                  <a:lnTo>
                    <a:pt x="90" y="639"/>
                  </a:lnTo>
                  <a:lnTo>
                    <a:pt x="38" y="604"/>
                  </a:lnTo>
                  <a:lnTo>
                    <a:pt x="66" y="604"/>
                  </a:lnTo>
                  <a:lnTo>
                    <a:pt x="129" y="584"/>
                  </a:lnTo>
                  <a:lnTo>
                    <a:pt x="95" y="576"/>
                  </a:lnTo>
                  <a:lnTo>
                    <a:pt x="62" y="586"/>
                  </a:lnTo>
                  <a:lnTo>
                    <a:pt x="0" y="576"/>
                  </a:lnTo>
                  <a:lnTo>
                    <a:pt x="48" y="561"/>
                  </a:lnTo>
                  <a:lnTo>
                    <a:pt x="69" y="561"/>
                  </a:lnTo>
                  <a:lnTo>
                    <a:pt x="98" y="532"/>
                  </a:lnTo>
                  <a:lnTo>
                    <a:pt x="58" y="532"/>
                  </a:lnTo>
                  <a:lnTo>
                    <a:pt x="66" y="491"/>
                  </a:lnTo>
                  <a:lnTo>
                    <a:pt x="92" y="496"/>
                  </a:lnTo>
                  <a:lnTo>
                    <a:pt x="77" y="471"/>
                  </a:lnTo>
                  <a:lnTo>
                    <a:pt x="136" y="461"/>
                  </a:lnTo>
                  <a:lnTo>
                    <a:pt x="102" y="446"/>
                  </a:lnTo>
                  <a:lnTo>
                    <a:pt x="136" y="424"/>
                  </a:lnTo>
                  <a:lnTo>
                    <a:pt x="95" y="403"/>
                  </a:lnTo>
                  <a:lnTo>
                    <a:pt x="128" y="380"/>
                  </a:lnTo>
                  <a:lnTo>
                    <a:pt x="75" y="385"/>
                  </a:lnTo>
                  <a:lnTo>
                    <a:pt x="65" y="316"/>
                  </a:lnTo>
                  <a:lnTo>
                    <a:pt x="115" y="351"/>
                  </a:lnTo>
                  <a:lnTo>
                    <a:pt x="128" y="336"/>
                  </a:lnTo>
                  <a:lnTo>
                    <a:pt x="80" y="301"/>
                  </a:lnTo>
                  <a:lnTo>
                    <a:pt x="102" y="285"/>
                  </a:lnTo>
                  <a:lnTo>
                    <a:pt x="74" y="246"/>
                  </a:lnTo>
                  <a:lnTo>
                    <a:pt x="115" y="229"/>
                  </a:lnTo>
                  <a:lnTo>
                    <a:pt x="136" y="229"/>
                  </a:lnTo>
                  <a:lnTo>
                    <a:pt x="148" y="215"/>
                  </a:lnTo>
                  <a:lnTo>
                    <a:pt x="195" y="229"/>
                  </a:lnTo>
                  <a:lnTo>
                    <a:pt x="141" y="172"/>
                  </a:lnTo>
                  <a:lnTo>
                    <a:pt x="151" y="122"/>
                  </a:lnTo>
                  <a:lnTo>
                    <a:pt x="201" y="132"/>
                  </a:lnTo>
                  <a:lnTo>
                    <a:pt x="179" y="90"/>
                  </a:lnTo>
                  <a:lnTo>
                    <a:pt x="205" y="12"/>
                  </a:lnTo>
                  <a:lnTo>
                    <a:pt x="236" y="39"/>
                  </a:lnTo>
                  <a:lnTo>
                    <a:pt x="242" y="22"/>
                  </a:lnTo>
                  <a:lnTo>
                    <a:pt x="257" y="36"/>
                  </a:lnTo>
                  <a:lnTo>
                    <a:pt x="252" y="65"/>
                  </a:lnTo>
                  <a:lnTo>
                    <a:pt x="272" y="38"/>
                  </a:lnTo>
                  <a:lnTo>
                    <a:pt x="293" y="39"/>
                  </a:lnTo>
                  <a:lnTo>
                    <a:pt x="293" y="60"/>
                  </a:lnTo>
                  <a:lnTo>
                    <a:pt x="355" y="24"/>
                  </a:lnTo>
                  <a:lnTo>
                    <a:pt x="458" y="22"/>
                  </a:lnTo>
                  <a:lnTo>
                    <a:pt x="458" y="5"/>
                  </a:lnTo>
                  <a:lnTo>
                    <a:pt x="492" y="0"/>
                  </a:lnTo>
                  <a:lnTo>
                    <a:pt x="514" y="10"/>
                  </a:lnTo>
                  <a:lnTo>
                    <a:pt x="515" y="65"/>
                  </a:lnTo>
                  <a:lnTo>
                    <a:pt x="395" y="181"/>
                  </a:lnTo>
                  <a:lnTo>
                    <a:pt x="363" y="238"/>
                  </a:lnTo>
                  <a:lnTo>
                    <a:pt x="308" y="236"/>
                  </a:lnTo>
                  <a:lnTo>
                    <a:pt x="356" y="258"/>
                  </a:lnTo>
                  <a:lnTo>
                    <a:pt x="405" y="243"/>
                  </a:lnTo>
                  <a:lnTo>
                    <a:pt x="376" y="285"/>
                  </a:lnTo>
                  <a:lnTo>
                    <a:pt x="332" y="290"/>
                  </a:lnTo>
                  <a:lnTo>
                    <a:pt x="297" y="322"/>
                  </a:lnTo>
                  <a:lnTo>
                    <a:pt x="365" y="301"/>
                  </a:lnTo>
                  <a:lnTo>
                    <a:pt x="302" y="352"/>
                  </a:lnTo>
                  <a:lnTo>
                    <a:pt x="344" y="348"/>
                  </a:lnTo>
                  <a:lnTo>
                    <a:pt x="361" y="321"/>
                  </a:lnTo>
                  <a:lnTo>
                    <a:pt x="397" y="308"/>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26" name="Freeform 25"/>
            <p:cNvSpPr>
              <a:spLocks/>
            </p:cNvSpPr>
            <p:nvPr/>
          </p:nvSpPr>
          <p:spPr bwMode="auto">
            <a:xfrm>
              <a:off x="3004343" y="2166143"/>
              <a:ext cx="511175" cy="473075"/>
            </a:xfrm>
            <a:custGeom>
              <a:avLst/>
              <a:gdLst>
                <a:gd name="T0" fmla="*/ 0 w 330"/>
                <a:gd name="T1" fmla="*/ 28 h 296"/>
                <a:gd name="T2" fmla="*/ 24 w 330"/>
                <a:gd name="T3" fmla="*/ 58 h 296"/>
                <a:gd name="T4" fmla="*/ 24 w 330"/>
                <a:gd name="T5" fmla="*/ 109 h 296"/>
                <a:gd name="T6" fmla="*/ 54 w 330"/>
                <a:gd name="T7" fmla="*/ 95 h 296"/>
                <a:gd name="T8" fmla="*/ 75 w 330"/>
                <a:gd name="T9" fmla="*/ 126 h 296"/>
                <a:gd name="T10" fmla="*/ 5 w 330"/>
                <a:gd name="T11" fmla="*/ 244 h 296"/>
                <a:gd name="T12" fmla="*/ 82 w 330"/>
                <a:gd name="T13" fmla="*/ 260 h 296"/>
                <a:gd name="T14" fmla="*/ 148 w 330"/>
                <a:gd name="T15" fmla="*/ 237 h 296"/>
                <a:gd name="T16" fmla="*/ 203 w 330"/>
                <a:gd name="T17" fmla="*/ 296 h 296"/>
                <a:gd name="T18" fmla="*/ 247 w 330"/>
                <a:gd name="T19" fmla="*/ 276 h 296"/>
                <a:gd name="T20" fmla="*/ 282 w 330"/>
                <a:gd name="T21" fmla="*/ 159 h 296"/>
                <a:gd name="T22" fmla="*/ 330 w 330"/>
                <a:gd name="T23" fmla="*/ 72 h 296"/>
                <a:gd name="T24" fmla="*/ 287 w 330"/>
                <a:gd name="T25" fmla="*/ 0 h 296"/>
                <a:gd name="T26" fmla="*/ 224 w 330"/>
                <a:gd name="T27" fmla="*/ 16 h 296"/>
                <a:gd name="T28" fmla="*/ 74 w 330"/>
                <a:gd name="T29" fmla="*/ 4 h 296"/>
                <a:gd name="T30" fmla="*/ 0 w 330"/>
                <a:gd name="T31" fmla="*/ 28 h 296"/>
                <a:gd name="T32" fmla="*/ 0 w 330"/>
                <a:gd name="T33" fmla="*/ 28 h 296"/>
                <a:gd name="T34" fmla="*/ 0 w 330"/>
                <a:gd name="T35" fmla="*/ 28 h 29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0"/>
                <a:gd name="T55" fmla="*/ 0 h 296"/>
                <a:gd name="T56" fmla="*/ 330 w 330"/>
                <a:gd name="T57" fmla="*/ 296 h 29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0" h="296">
                  <a:moveTo>
                    <a:pt x="0" y="28"/>
                  </a:moveTo>
                  <a:lnTo>
                    <a:pt x="24" y="58"/>
                  </a:lnTo>
                  <a:lnTo>
                    <a:pt x="24" y="109"/>
                  </a:lnTo>
                  <a:lnTo>
                    <a:pt x="54" y="95"/>
                  </a:lnTo>
                  <a:lnTo>
                    <a:pt x="75" y="126"/>
                  </a:lnTo>
                  <a:lnTo>
                    <a:pt x="5" y="244"/>
                  </a:lnTo>
                  <a:lnTo>
                    <a:pt x="82" y="260"/>
                  </a:lnTo>
                  <a:lnTo>
                    <a:pt x="148" y="237"/>
                  </a:lnTo>
                  <a:lnTo>
                    <a:pt x="203" y="296"/>
                  </a:lnTo>
                  <a:lnTo>
                    <a:pt x="247" y="276"/>
                  </a:lnTo>
                  <a:lnTo>
                    <a:pt x="282" y="159"/>
                  </a:lnTo>
                  <a:lnTo>
                    <a:pt x="330" y="72"/>
                  </a:lnTo>
                  <a:lnTo>
                    <a:pt x="287" y="0"/>
                  </a:lnTo>
                  <a:lnTo>
                    <a:pt x="224" y="16"/>
                  </a:lnTo>
                  <a:lnTo>
                    <a:pt x="74" y="4"/>
                  </a:lnTo>
                  <a:lnTo>
                    <a:pt x="0" y="28"/>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27" name="Freeform 26"/>
            <p:cNvSpPr>
              <a:spLocks/>
            </p:cNvSpPr>
            <p:nvPr/>
          </p:nvSpPr>
          <p:spPr bwMode="auto">
            <a:xfrm>
              <a:off x="2480468" y="2701131"/>
              <a:ext cx="635000" cy="763587"/>
            </a:xfrm>
            <a:custGeom>
              <a:avLst/>
              <a:gdLst>
                <a:gd name="T0" fmla="*/ 106 w 410"/>
                <a:gd name="T1" fmla="*/ 0 h 478"/>
                <a:gd name="T2" fmla="*/ 74 w 410"/>
                <a:gd name="T3" fmla="*/ 11 h 478"/>
                <a:gd name="T4" fmla="*/ 93 w 410"/>
                <a:gd name="T5" fmla="*/ 23 h 478"/>
                <a:gd name="T6" fmla="*/ 69 w 410"/>
                <a:gd name="T7" fmla="*/ 32 h 478"/>
                <a:gd name="T8" fmla="*/ 125 w 410"/>
                <a:gd name="T9" fmla="*/ 41 h 478"/>
                <a:gd name="T10" fmla="*/ 108 w 410"/>
                <a:gd name="T11" fmla="*/ 53 h 478"/>
                <a:gd name="T12" fmla="*/ 46 w 410"/>
                <a:gd name="T13" fmla="*/ 63 h 478"/>
                <a:gd name="T14" fmla="*/ 52 w 410"/>
                <a:gd name="T15" fmla="*/ 145 h 478"/>
                <a:gd name="T16" fmla="*/ 23 w 410"/>
                <a:gd name="T17" fmla="*/ 198 h 478"/>
                <a:gd name="T18" fmla="*/ 41 w 410"/>
                <a:gd name="T19" fmla="*/ 198 h 478"/>
                <a:gd name="T20" fmla="*/ 44 w 410"/>
                <a:gd name="T21" fmla="*/ 250 h 478"/>
                <a:gd name="T22" fmla="*/ 0 w 410"/>
                <a:gd name="T23" fmla="*/ 372 h 478"/>
                <a:gd name="T24" fmla="*/ 44 w 410"/>
                <a:gd name="T25" fmla="*/ 377 h 478"/>
                <a:gd name="T26" fmla="*/ 63 w 410"/>
                <a:gd name="T27" fmla="*/ 256 h 478"/>
                <a:gd name="T28" fmla="*/ 87 w 410"/>
                <a:gd name="T29" fmla="*/ 245 h 478"/>
                <a:gd name="T30" fmla="*/ 69 w 410"/>
                <a:gd name="T31" fmla="*/ 182 h 478"/>
                <a:gd name="T32" fmla="*/ 134 w 410"/>
                <a:gd name="T33" fmla="*/ 108 h 478"/>
                <a:gd name="T34" fmla="*/ 94 w 410"/>
                <a:gd name="T35" fmla="*/ 176 h 478"/>
                <a:gd name="T36" fmla="*/ 94 w 410"/>
                <a:gd name="T37" fmla="*/ 219 h 478"/>
                <a:gd name="T38" fmla="*/ 118 w 410"/>
                <a:gd name="T39" fmla="*/ 183 h 478"/>
                <a:gd name="T40" fmla="*/ 136 w 410"/>
                <a:gd name="T41" fmla="*/ 210 h 478"/>
                <a:gd name="T42" fmla="*/ 162 w 410"/>
                <a:gd name="T43" fmla="*/ 140 h 478"/>
                <a:gd name="T44" fmla="*/ 216 w 410"/>
                <a:gd name="T45" fmla="*/ 201 h 478"/>
                <a:gd name="T46" fmla="*/ 162 w 410"/>
                <a:gd name="T47" fmla="*/ 198 h 478"/>
                <a:gd name="T48" fmla="*/ 162 w 410"/>
                <a:gd name="T49" fmla="*/ 266 h 478"/>
                <a:gd name="T50" fmla="*/ 203 w 410"/>
                <a:gd name="T51" fmla="*/ 331 h 478"/>
                <a:gd name="T52" fmla="*/ 157 w 410"/>
                <a:gd name="T53" fmla="*/ 383 h 478"/>
                <a:gd name="T54" fmla="*/ 145 w 410"/>
                <a:gd name="T55" fmla="*/ 414 h 478"/>
                <a:gd name="T56" fmla="*/ 129 w 410"/>
                <a:gd name="T57" fmla="*/ 470 h 478"/>
                <a:gd name="T58" fmla="*/ 132 w 410"/>
                <a:gd name="T59" fmla="*/ 478 h 478"/>
                <a:gd name="T60" fmla="*/ 201 w 410"/>
                <a:gd name="T61" fmla="*/ 463 h 478"/>
                <a:gd name="T62" fmla="*/ 239 w 410"/>
                <a:gd name="T63" fmla="*/ 432 h 478"/>
                <a:gd name="T64" fmla="*/ 254 w 410"/>
                <a:gd name="T65" fmla="*/ 398 h 478"/>
                <a:gd name="T66" fmla="*/ 291 w 410"/>
                <a:gd name="T67" fmla="*/ 398 h 478"/>
                <a:gd name="T68" fmla="*/ 314 w 410"/>
                <a:gd name="T69" fmla="*/ 353 h 478"/>
                <a:gd name="T70" fmla="*/ 367 w 410"/>
                <a:gd name="T71" fmla="*/ 398 h 478"/>
                <a:gd name="T72" fmla="*/ 386 w 410"/>
                <a:gd name="T73" fmla="*/ 305 h 478"/>
                <a:gd name="T74" fmla="*/ 410 w 410"/>
                <a:gd name="T75" fmla="*/ 269 h 478"/>
                <a:gd name="T76" fmla="*/ 356 w 410"/>
                <a:gd name="T77" fmla="*/ 249 h 478"/>
                <a:gd name="T78" fmla="*/ 348 w 410"/>
                <a:gd name="T79" fmla="*/ 210 h 478"/>
                <a:gd name="T80" fmla="*/ 266 w 410"/>
                <a:gd name="T81" fmla="*/ 177 h 478"/>
                <a:gd name="T82" fmla="*/ 266 w 410"/>
                <a:gd name="T83" fmla="*/ 201 h 478"/>
                <a:gd name="T84" fmla="*/ 229 w 410"/>
                <a:gd name="T85" fmla="*/ 168 h 478"/>
                <a:gd name="T86" fmla="*/ 206 w 410"/>
                <a:gd name="T87" fmla="*/ 151 h 478"/>
                <a:gd name="T88" fmla="*/ 206 w 410"/>
                <a:gd name="T89" fmla="*/ 95 h 478"/>
                <a:gd name="T90" fmla="*/ 175 w 410"/>
                <a:gd name="T91" fmla="*/ 78 h 478"/>
                <a:gd name="T92" fmla="*/ 214 w 410"/>
                <a:gd name="T93" fmla="*/ 13 h 478"/>
                <a:gd name="T94" fmla="*/ 192 w 410"/>
                <a:gd name="T95" fmla="*/ 0 h 478"/>
                <a:gd name="T96" fmla="*/ 106 w 410"/>
                <a:gd name="T97" fmla="*/ 0 h 478"/>
                <a:gd name="T98" fmla="*/ 106 w 410"/>
                <a:gd name="T99" fmla="*/ 0 h 478"/>
                <a:gd name="T100" fmla="*/ 106 w 410"/>
                <a:gd name="T101" fmla="*/ 0 h 47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478"/>
                <a:gd name="T155" fmla="*/ 410 w 410"/>
                <a:gd name="T156" fmla="*/ 478 h 47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478">
                  <a:moveTo>
                    <a:pt x="106" y="0"/>
                  </a:moveTo>
                  <a:lnTo>
                    <a:pt x="74" y="11"/>
                  </a:lnTo>
                  <a:lnTo>
                    <a:pt x="93" y="23"/>
                  </a:lnTo>
                  <a:lnTo>
                    <a:pt x="69" y="32"/>
                  </a:lnTo>
                  <a:lnTo>
                    <a:pt x="125" y="41"/>
                  </a:lnTo>
                  <a:lnTo>
                    <a:pt x="108" y="53"/>
                  </a:lnTo>
                  <a:lnTo>
                    <a:pt x="46" y="63"/>
                  </a:lnTo>
                  <a:lnTo>
                    <a:pt x="52" y="145"/>
                  </a:lnTo>
                  <a:lnTo>
                    <a:pt x="23" y="198"/>
                  </a:lnTo>
                  <a:lnTo>
                    <a:pt x="41" y="198"/>
                  </a:lnTo>
                  <a:lnTo>
                    <a:pt x="44" y="250"/>
                  </a:lnTo>
                  <a:lnTo>
                    <a:pt x="0" y="372"/>
                  </a:lnTo>
                  <a:lnTo>
                    <a:pt x="44" y="377"/>
                  </a:lnTo>
                  <a:lnTo>
                    <a:pt x="63" y="256"/>
                  </a:lnTo>
                  <a:lnTo>
                    <a:pt x="87" y="245"/>
                  </a:lnTo>
                  <a:lnTo>
                    <a:pt x="69" y="182"/>
                  </a:lnTo>
                  <a:lnTo>
                    <a:pt x="134" y="108"/>
                  </a:lnTo>
                  <a:lnTo>
                    <a:pt x="94" y="176"/>
                  </a:lnTo>
                  <a:lnTo>
                    <a:pt x="94" y="219"/>
                  </a:lnTo>
                  <a:lnTo>
                    <a:pt x="118" y="183"/>
                  </a:lnTo>
                  <a:lnTo>
                    <a:pt x="136" y="210"/>
                  </a:lnTo>
                  <a:lnTo>
                    <a:pt x="162" y="140"/>
                  </a:lnTo>
                  <a:lnTo>
                    <a:pt x="216" y="201"/>
                  </a:lnTo>
                  <a:lnTo>
                    <a:pt x="162" y="198"/>
                  </a:lnTo>
                  <a:lnTo>
                    <a:pt x="162" y="266"/>
                  </a:lnTo>
                  <a:lnTo>
                    <a:pt x="203" y="331"/>
                  </a:lnTo>
                  <a:lnTo>
                    <a:pt x="157" y="383"/>
                  </a:lnTo>
                  <a:lnTo>
                    <a:pt x="145" y="414"/>
                  </a:lnTo>
                  <a:lnTo>
                    <a:pt x="129" y="470"/>
                  </a:lnTo>
                  <a:lnTo>
                    <a:pt x="132" y="478"/>
                  </a:lnTo>
                  <a:lnTo>
                    <a:pt x="201" y="463"/>
                  </a:lnTo>
                  <a:lnTo>
                    <a:pt x="239" y="432"/>
                  </a:lnTo>
                  <a:lnTo>
                    <a:pt x="254" y="398"/>
                  </a:lnTo>
                  <a:lnTo>
                    <a:pt x="291" y="398"/>
                  </a:lnTo>
                  <a:lnTo>
                    <a:pt x="314" y="353"/>
                  </a:lnTo>
                  <a:lnTo>
                    <a:pt x="367" y="398"/>
                  </a:lnTo>
                  <a:lnTo>
                    <a:pt x="386" y="305"/>
                  </a:lnTo>
                  <a:lnTo>
                    <a:pt x="410" y="269"/>
                  </a:lnTo>
                  <a:lnTo>
                    <a:pt x="356" y="249"/>
                  </a:lnTo>
                  <a:lnTo>
                    <a:pt x="348" y="210"/>
                  </a:lnTo>
                  <a:lnTo>
                    <a:pt x="266" y="177"/>
                  </a:lnTo>
                  <a:lnTo>
                    <a:pt x="266" y="201"/>
                  </a:lnTo>
                  <a:lnTo>
                    <a:pt x="229" y="168"/>
                  </a:lnTo>
                  <a:lnTo>
                    <a:pt x="206" y="151"/>
                  </a:lnTo>
                  <a:lnTo>
                    <a:pt x="206" y="95"/>
                  </a:lnTo>
                  <a:lnTo>
                    <a:pt x="175" y="78"/>
                  </a:lnTo>
                  <a:lnTo>
                    <a:pt x="214" y="13"/>
                  </a:lnTo>
                  <a:lnTo>
                    <a:pt x="192" y="0"/>
                  </a:lnTo>
                  <a:lnTo>
                    <a:pt x="106"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28" name="Freeform 27"/>
            <p:cNvSpPr>
              <a:spLocks/>
            </p:cNvSpPr>
            <p:nvPr/>
          </p:nvSpPr>
          <p:spPr bwMode="auto">
            <a:xfrm>
              <a:off x="2753518" y="2737643"/>
              <a:ext cx="328613" cy="300038"/>
            </a:xfrm>
            <a:custGeom>
              <a:avLst/>
              <a:gdLst>
                <a:gd name="T0" fmla="*/ 25 w 212"/>
                <a:gd name="T1" fmla="*/ 15 h 187"/>
                <a:gd name="T2" fmla="*/ 73 w 212"/>
                <a:gd name="T3" fmla="*/ 0 h 187"/>
                <a:gd name="T4" fmla="*/ 115 w 212"/>
                <a:gd name="T5" fmla="*/ 19 h 187"/>
                <a:gd name="T6" fmla="*/ 98 w 212"/>
                <a:gd name="T7" fmla="*/ 70 h 187"/>
                <a:gd name="T8" fmla="*/ 201 w 212"/>
                <a:gd name="T9" fmla="*/ 96 h 187"/>
                <a:gd name="T10" fmla="*/ 182 w 212"/>
                <a:gd name="T11" fmla="*/ 137 h 187"/>
                <a:gd name="T12" fmla="*/ 212 w 212"/>
                <a:gd name="T13" fmla="*/ 159 h 187"/>
                <a:gd name="T14" fmla="*/ 171 w 212"/>
                <a:gd name="T15" fmla="*/ 187 h 187"/>
                <a:gd name="T16" fmla="*/ 90 w 212"/>
                <a:gd name="T17" fmla="*/ 155 h 187"/>
                <a:gd name="T18" fmla="*/ 90 w 212"/>
                <a:gd name="T19" fmla="*/ 178 h 187"/>
                <a:gd name="T20" fmla="*/ 58 w 212"/>
                <a:gd name="T21" fmla="*/ 149 h 187"/>
                <a:gd name="T22" fmla="*/ 28 w 212"/>
                <a:gd name="T23" fmla="*/ 128 h 187"/>
                <a:gd name="T24" fmla="*/ 28 w 212"/>
                <a:gd name="T25" fmla="*/ 72 h 187"/>
                <a:gd name="T26" fmla="*/ 0 w 212"/>
                <a:gd name="T27" fmla="*/ 55 h 187"/>
                <a:gd name="T28" fmla="*/ 25 w 212"/>
                <a:gd name="T29" fmla="*/ 15 h 187"/>
                <a:gd name="T30" fmla="*/ 25 w 212"/>
                <a:gd name="T31" fmla="*/ 15 h 187"/>
                <a:gd name="T32" fmla="*/ 25 w 212"/>
                <a:gd name="T33" fmla="*/ 15 h 18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2"/>
                <a:gd name="T52" fmla="*/ 0 h 187"/>
                <a:gd name="T53" fmla="*/ 212 w 212"/>
                <a:gd name="T54" fmla="*/ 187 h 18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2" h="187">
                  <a:moveTo>
                    <a:pt x="25" y="15"/>
                  </a:moveTo>
                  <a:lnTo>
                    <a:pt x="73" y="0"/>
                  </a:lnTo>
                  <a:lnTo>
                    <a:pt x="115" y="19"/>
                  </a:lnTo>
                  <a:lnTo>
                    <a:pt x="98" y="70"/>
                  </a:lnTo>
                  <a:lnTo>
                    <a:pt x="201" y="96"/>
                  </a:lnTo>
                  <a:lnTo>
                    <a:pt x="182" y="137"/>
                  </a:lnTo>
                  <a:lnTo>
                    <a:pt x="212" y="159"/>
                  </a:lnTo>
                  <a:lnTo>
                    <a:pt x="171" y="187"/>
                  </a:lnTo>
                  <a:lnTo>
                    <a:pt x="90" y="155"/>
                  </a:lnTo>
                  <a:lnTo>
                    <a:pt x="90" y="178"/>
                  </a:lnTo>
                  <a:lnTo>
                    <a:pt x="58" y="149"/>
                  </a:lnTo>
                  <a:lnTo>
                    <a:pt x="28" y="128"/>
                  </a:lnTo>
                  <a:lnTo>
                    <a:pt x="28" y="72"/>
                  </a:lnTo>
                  <a:lnTo>
                    <a:pt x="0" y="55"/>
                  </a:lnTo>
                  <a:lnTo>
                    <a:pt x="25" y="15"/>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29" name="Freeform 28"/>
            <p:cNvSpPr>
              <a:spLocks/>
            </p:cNvSpPr>
            <p:nvPr/>
          </p:nvSpPr>
          <p:spPr bwMode="auto">
            <a:xfrm>
              <a:off x="3034506" y="2775743"/>
              <a:ext cx="319087" cy="180975"/>
            </a:xfrm>
            <a:custGeom>
              <a:avLst/>
              <a:gdLst>
                <a:gd name="T0" fmla="*/ 144 w 205"/>
                <a:gd name="T1" fmla="*/ 0 h 114"/>
                <a:gd name="T2" fmla="*/ 73 w 205"/>
                <a:gd name="T3" fmla="*/ 32 h 114"/>
                <a:gd name="T4" fmla="*/ 0 w 205"/>
                <a:gd name="T5" fmla="*/ 114 h 114"/>
                <a:gd name="T6" fmla="*/ 88 w 205"/>
                <a:gd name="T7" fmla="*/ 111 h 114"/>
                <a:gd name="T8" fmla="*/ 116 w 205"/>
                <a:gd name="T9" fmla="*/ 69 h 114"/>
                <a:gd name="T10" fmla="*/ 205 w 205"/>
                <a:gd name="T11" fmla="*/ 49 h 114"/>
                <a:gd name="T12" fmla="*/ 142 w 205"/>
                <a:gd name="T13" fmla="*/ 29 h 114"/>
                <a:gd name="T14" fmla="*/ 144 w 205"/>
                <a:gd name="T15" fmla="*/ 0 h 114"/>
                <a:gd name="T16" fmla="*/ 144 w 205"/>
                <a:gd name="T17" fmla="*/ 0 h 114"/>
                <a:gd name="T18" fmla="*/ 144 w 205"/>
                <a:gd name="T19" fmla="*/ 0 h 114"/>
                <a:gd name="T20" fmla="*/ 144 w 205"/>
                <a:gd name="T21" fmla="*/ 0 h 1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5"/>
                <a:gd name="T34" fmla="*/ 0 h 114"/>
                <a:gd name="T35" fmla="*/ 205 w 205"/>
                <a:gd name="T36" fmla="*/ 114 h 1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5" h="114">
                  <a:moveTo>
                    <a:pt x="144" y="0"/>
                  </a:moveTo>
                  <a:lnTo>
                    <a:pt x="73" y="32"/>
                  </a:lnTo>
                  <a:lnTo>
                    <a:pt x="0" y="114"/>
                  </a:lnTo>
                  <a:lnTo>
                    <a:pt x="88" y="111"/>
                  </a:lnTo>
                  <a:lnTo>
                    <a:pt x="116" y="69"/>
                  </a:lnTo>
                  <a:lnTo>
                    <a:pt x="205" y="49"/>
                  </a:lnTo>
                  <a:lnTo>
                    <a:pt x="142" y="29"/>
                  </a:lnTo>
                  <a:lnTo>
                    <a:pt x="144"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30" name="Freeform 29"/>
            <p:cNvSpPr>
              <a:spLocks/>
            </p:cNvSpPr>
            <p:nvPr/>
          </p:nvSpPr>
          <p:spPr bwMode="auto">
            <a:xfrm>
              <a:off x="3018631" y="2937668"/>
              <a:ext cx="422275" cy="195263"/>
            </a:xfrm>
            <a:custGeom>
              <a:avLst/>
              <a:gdLst>
                <a:gd name="T0" fmla="*/ 14 w 273"/>
                <a:gd name="T1" fmla="*/ 13 h 122"/>
                <a:gd name="T2" fmla="*/ 41 w 273"/>
                <a:gd name="T3" fmla="*/ 34 h 122"/>
                <a:gd name="T4" fmla="*/ 0 w 273"/>
                <a:gd name="T5" fmla="*/ 62 h 122"/>
                <a:gd name="T6" fmla="*/ 9 w 273"/>
                <a:gd name="T7" fmla="*/ 102 h 122"/>
                <a:gd name="T8" fmla="*/ 92 w 273"/>
                <a:gd name="T9" fmla="*/ 90 h 122"/>
                <a:gd name="T10" fmla="*/ 115 w 273"/>
                <a:gd name="T11" fmla="*/ 122 h 122"/>
                <a:gd name="T12" fmla="*/ 158 w 273"/>
                <a:gd name="T13" fmla="*/ 81 h 122"/>
                <a:gd name="T14" fmla="*/ 235 w 273"/>
                <a:gd name="T15" fmla="*/ 75 h 122"/>
                <a:gd name="T16" fmla="*/ 273 w 273"/>
                <a:gd name="T17" fmla="*/ 53 h 122"/>
                <a:gd name="T18" fmla="*/ 172 w 273"/>
                <a:gd name="T19" fmla="*/ 0 h 122"/>
                <a:gd name="T20" fmla="*/ 130 w 273"/>
                <a:gd name="T21" fmla="*/ 28 h 122"/>
                <a:gd name="T22" fmla="*/ 14 w 273"/>
                <a:gd name="T23" fmla="*/ 13 h 122"/>
                <a:gd name="T24" fmla="*/ 14 w 273"/>
                <a:gd name="T25" fmla="*/ 13 h 122"/>
                <a:gd name="T26" fmla="*/ 14 w 273"/>
                <a:gd name="T27" fmla="*/ 13 h 1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3"/>
                <a:gd name="T43" fmla="*/ 0 h 122"/>
                <a:gd name="T44" fmla="*/ 273 w 273"/>
                <a:gd name="T45" fmla="*/ 122 h 1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3" h="122">
                  <a:moveTo>
                    <a:pt x="14" y="13"/>
                  </a:moveTo>
                  <a:lnTo>
                    <a:pt x="41" y="34"/>
                  </a:lnTo>
                  <a:lnTo>
                    <a:pt x="0" y="62"/>
                  </a:lnTo>
                  <a:lnTo>
                    <a:pt x="9" y="102"/>
                  </a:lnTo>
                  <a:lnTo>
                    <a:pt x="92" y="90"/>
                  </a:lnTo>
                  <a:lnTo>
                    <a:pt x="115" y="122"/>
                  </a:lnTo>
                  <a:lnTo>
                    <a:pt x="158" y="81"/>
                  </a:lnTo>
                  <a:lnTo>
                    <a:pt x="235" y="75"/>
                  </a:lnTo>
                  <a:lnTo>
                    <a:pt x="273" y="53"/>
                  </a:lnTo>
                  <a:lnTo>
                    <a:pt x="172" y="0"/>
                  </a:lnTo>
                  <a:lnTo>
                    <a:pt x="130" y="28"/>
                  </a:lnTo>
                  <a:lnTo>
                    <a:pt x="14" y="13"/>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31" name="Freeform 30"/>
            <p:cNvSpPr>
              <a:spLocks/>
            </p:cNvSpPr>
            <p:nvPr/>
          </p:nvSpPr>
          <p:spPr bwMode="auto">
            <a:xfrm>
              <a:off x="3034506" y="3023393"/>
              <a:ext cx="438150" cy="400050"/>
            </a:xfrm>
            <a:custGeom>
              <a:avLst/>
              <a:gdLst>
                <a:gd name="T0" fmla="*/ 263 w 282"/>
                <a:gd name="T1" fmla="*/ 0 h 251"/>
                <a:gd name="T2" fmla="*/ 282 w 282"/>
                <a:gd name="T3" fmla="*/ 29 h 251"/>
                <a:gd name="T4" fmla="*/ 271 w 282"/>
                <a:gd name="T5" fmla="*/ 59 h 251"/>
                <a:gd name="T6" fmla="*/ 231 w 282"/>
                <a:gd name="T7" fmla="*/ 85 h 251"/>
                <a:gd name="T8" fmla="*/ 255 w 282"/>
                <a:gd name="T9" fmla="*/ 143 h 251"/>
                <a:gd name="T10" fmla="*/ 144 w 282"/>
                <a:gd name="T11" fmla="*/ 251 h 251"/>
                <a:gd name="T12" fmla="*/ 128 w 282"/>
                <a:gd name="T13" fmla="*/ 194 h 251"/>
                <a:gd name="T14" fmla="*/ 68 w 282"/>
                <a:gd name="T15" fmla="*/ 176 h 251"/>
                <a:gd name="T16" fmla="*/ 77 w 282"/>
                <a:gd name="T17" fmla="*/ 152 h 251"/>
                <a:gd name="T18" fmla="*/ 9 w 282"/>
                <a:gd name="T19" fmla="*/ 197 h 251"/>
                <a:gd name="T20" fmla="*/ 26 w 282"/>
                <a:gd name="T21" fmla="*/ 107 h 251"/>
                <a:gd name="T22" fmla="*/ 52 w 282"/>
                <a:gd name="T23" fmla="*/ 68 h 251"/>
                <a:gd name="T24" fmla="*/ 0 w 282"/>
                <a:gd name="T25" fmla="*/ 49 h 251"/>
                <a:gd name="T26" fmla="*/ 81 w 282"/>
                <a:gd name="T27" fmla="*/ 37 h 251"/>
                <a:gd name="T28" fmla="*/ 104 w 282"/>
                <a:gd name="T29" fmla="*/ 70 h 251"/>
                <a:gd name="T30" fmla="*/ 148 w 282"/>
                <a:gd name="T31" fmla="*/ 28 h 251"/>
                <a:gd name="T32" fmla="*/ 225 w 282"/>
                <a:gd name="T33" fmla="*/ 21 h 251"/>
                <a:gd name="T34" fmla="*/ 263 w 282"/>
                <a:gd name="T35" fmla="*/ 0 h 251"/>
                <a:gd name="T36" fmla="*/ 263 w 282"/>
                <a:gd name="T37" fmla="*/ 0 h 251"/>
                <a:gd name="T38" fmla="*/ 263 w 282"/>
                <a:gd name="T39" fmla="*/ 0 h 25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82"/>
                <a:gd name="T61" fmla="*/ 0 h 251"/>
                <a:gd name="T62" fmla="*/ 282 w 282"/>
                <a:gd name="T63" fmla="*/ 251 h 25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82" h="251">
                  <a:moveTo>
                    <a:pt x="263" y="0"/>
                  </a:moveTo>
                  <a:lnTo>
                    <a:pt x="282" y="29"/>
                  </a:lnTo>
                  <a:lnTo>
                    <a:pt x="271" y="59"/>
                  </a:lnTo>
                  <a:lnTo>
                    <a:pt x="231" y="85"/>
                  </a:lnTo>
                  <a:lnTo>
                    <a:pt x="255" y="143"/>
                  </a:lnTo>
                  <a:lnTo>
                    <a:pt x="144" y="251"/>
                  </a:lnTo>
                  <a:lnTo>
                    <a:pt x="128" y="194"/>
                  </a:lnTo>
                  <a:lnTo>
                    <a:pt x="68" y="176"/>
                  </a:lnTo>
                  <a:lnTo>
                    <a:pt x="77" y="152"/>
                  </a:lnTo>
                  <a:lnTo>
                    <a:pt x="9" y="197"/>
                  </a:lnTo>
                  <a:lnTo>
                    <a:pt x="26" y="107"/>
                  </a:lnTo>
                  <a:lnTo>
                    <a:pt x="52" y="68"/>
                  </a:lnTo>
                  <a:lnTo>
                    <a:pt x="0" y="49"/>
                  </a:lnTo>
                  <a:lnTo>
                    <a:pt x="81" y="37"/>
                  </a:lnTo>
                  <a:lnTo>
                    <a:pt x="104" y="70"/>
                  </a:lnTo>
                  <a:lnTo>
                    <a:pt x="148" y="28"/>
                  </a:lnTo>
                  <a:lnTo>
                    <a:pt x="225" y="21"/>
                  </a:lnTo>
                  <a:lnTo>
                    <a:pt x="263"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32" name="Freeform 31"/>
            <p:cNvSpPr>
              <a:spLocks/>
            </p:cNvSpPr>
            <p:nvPr/>
          </p:nvSpPr>
          <p:spPr bwMode="auto">
            <a:xfrm>
              <a:off x="2642393" y="3266281"/>
              <a:ext cx="615950" cy="385762"/>
            </a:xfrm>
            <a:custGeom>
              <a:avLst/>
              <a:gdLst>
                <a:gd name="T0" fmla="*/ 28 w 398"/>
                <a:gd name="T1" fmla="*/ 124 h 242"/>
                <a:gd name="T2" fmla="*/ 35 w 398"/>
                <a:gd name="T3" fmla="*/ 159 h 242"/>
                <a:gd name="T4" fmla="*/ 7 w 398"/>
                <a:gd name="T5" fmla="*/ 123 h 242"/>
                <a:gd name="T6" fmla="*/ 0 w 398"/>
                <a:gd name="T7" fmla="*/ 145 h 242"/>
                <a:gd name="T8" fmla="*/ 57 w 398"/>
                <a:gd name="T9" fmla="*/ 242 h 242"/>
                <a:gd name="T10" fmla="*/ 63 w 398"/>
                <a:gd name="T11" fmla="*/ 171 h 242"/>
                <a:gd name="T12" fmla="*/ 138 w 398"/>
                <a:gd name="T13" fmla="*/ 217 h 242"/>
                <a:gd name="T14" fmla="*/ 144 w 398"/>
                <a:gd name="T15" fmla="*/ 141 h 242"/>
                <a:gd name="T16" fmla="*/ 210 w 398"/>
                <a:gd name="T17" fmla="*/ 192 h 242"/>
                <a:gd name="T18" fmla="*/ 286 w 398"/>
                <a:gd name="T19" fmla="*/ 128 h 242"/>
                <a:gd name="T20" fmla="*/ 361 w 398"/>
                <a:gd name="T21" fmla="*/ 137 h 242"/>
                <a:gd name="T22" fmla="*/ 398 w 398"/>
                <a:gd name="T23" fmla="*/ 99 h 242"/>
                <a:gd name="T24" fmla="*/ 382 w 398"/>
                <a:gd name="T25" fmla="*/ 41 h 242"/>
                <a:gd name="T26" fmla="*/ 322 w 398"/>
                <a:gd name="T27" fmla="*/ 24 h 242"/>
                <a:gd name="T28" fmla="*/ 331 w 398"/>
                <a:gd name="T29" fmla="*/ 0 h 242"/>
                <a:gd name="T30" fmla="*/ 265 w 398"/>
                <a:gd name="T31" fmla="*/ 44 h 242"/>
                <a:gd name="T32" fmla="*/ 263 w 398"/>
                <a:gd name="T33" fmla="*/ 44 h 242"/>
                <a:gd name="T34" fmla="*/ 210 w 398"/>
                <a:gd name="T35" fmla="*/ 0 h 242"/>
                <a:gd name="T36" fmla="*/ 187 w 398"/>
                <a:gd name="T37" fmla="*/ 44 h 242"/>
                <a:gd name="T38" fmla="*/ 150 w 398"/>
                <a:gd name="T39" fmla="*/ 44 h 242"/>
                <a:gd name="T40" fmla="*/ 135 w 398"/>
                <a:gd name="T41" fmla="*/ 79 h 242"/>
                <a:gd name="T42" fmla="*/ 98 w 398"/>
                <a:gd name="T43" fmla="*/ 109 h 242"/>
                <a:gd name="T44" fmla="*/ 28 w 398"/>
                <a:gd name="T45" fmla="*/ 124 h 242"/>
                <a:gd name="T46" fmla="*/ 28 w 398"/>
                <a:gd name="T47" fmla="*/ 124 h 242"/>
                <a:gd name="T48" fmla="*/ 28 w 398"/>
                <a:gd name="T49" fmla="*/ 124 h 2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98"/>
                <a:gd name="T76" fmla="*/ 0 h 242"/>
                <a:gd name="T77" fmla="*/ 398 w 398"/>
                <a:gd name="T78" fmla="*/ 242 h 2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98" h="242">
                  <a:moveTo>
                    <a:pt x="28" y="124"/>
                  </a:moveTo>
                  <a:lnTo>
                    <a:pt x="35" y="159"/>
                  </a:lnTo>
                  <a:lnTo>
                    <a:pt x="7" y="123"/>
                  </a:lnTo>
                  <a:lnTo>
                    <a:pt x="0" y="145"/>
                  </a:lnTo>
                  <a:lnTo>
                    <a:pt x="57" y="242"/>
                  </a:lnTo>
                  <a:lnTo>
                    <a:pt x="63" y="171"/>
                  </a:lnTo>
                  <a:lnTo>
                    <a:pt x="138" y="217"/>
                  </a:lnTo>
                  <a:lnTo>
                    <a:pt x="144" y="141"/>
                  </a:lnTo>
                  <a:lnTo>
                    <a:pt x="210" y="192"/>
                  </a:lnTo>
                  <a:lnTo>
                    <a:pt x="286" y="128"/>
                  </a:lnTo>
                  <a:lnTo>
                    <a:pt x="361" y="137"/>
                  </a:lnTo>
                  <a:lnTo>
                    <a:pt x="398" y="99"/>
                  </a:lnTo>
                  <a:lnTo>
                    <a:pt x="382" y="41"/>
                  </a:lnTo>
                  <a:lnTo>
                    <a:pt x="322" y="24"/>
                  </a:lnTo>
                  <a:lnTo>
                    <a:pt x="331" y="0"/>
                  </a:lnTo>
                  <a:lnTo>
                    <a:pt x="265" y="44"/>
                  </a:lnTo>
                  <a:lnTo>
                    <a:pt x="263" y="44"/>
                  </a:lnTo>
                  <a:lnTo>
                    <a:pt x="210" y="0"/>
                  </a:lnTo>
                  <a:lnTo>
                    <a:pt x="187" y="44"/>
                  </a:lnTo>
                  <a:lnTo>
                    <a:pt x="150" y="44"/>
                  </a:lnTo>
                  <a:lnTo>
                    <a:pt x="135" y="79"/>
                  </a:lnTo>
                  <a:lnTo>
                    <a:pt x="98" y="109"/>
                  </a:lnTo>
                  <a:lnTo>
                    <a:pt x="28" y="124"/>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33" name="Freeform 32"/>
            <p:cNvSpPr>
              <a:spLocks/>
            </p:cNvSpPr>
            <p:nvPr/>
          </p:nvSpPr>
          <p:spPr bwMode="auto">
            <a:xfrm>
              <a:off x="2777331" y="2545556"/>
              <a:ext cx="542925" cy="411162"/>
            </a:xfrm>
            <a:custGeom>
              <a:avLst/>
              <a:gdLst>
                <a:gd name="T0" fmla="*/ 351 w 351"/>
                <a:gd name="T1" fmla="*/ 59 h 258"/>
                <a:gd name="T2" fmla="*/ 294 w 351"/>
                <a:gd name="T3" fmla="*/ 0 h 258"/>
                <a:gd name="T4" fmla="*/ 229 w 351"/>
                <a:gd name="T5" fmla="*/ 23 h 258"/>
                <a:gd name="T6" fmla="*/ 152 w 351"/>
                <a:gd name="T7" fmla="*/ 7 h 258"/>
                <a:gd name="T8" fmla="*/ 0 w 351"/>
                <a:gd name="T9" fmla="*/ 98 h 258"/>
                <a:gd name="T10" fmla="*/ 23 w 351"/>
                <a:gd name="T11" fmla="*/ 111 h 258"/>
                <a:gd name="T12" fmla="*/ 8 w 351"/>
                <a:gd name="T13" fmla="*/ 136 h 258"/>
                <a:gd name="T14" fmla="*/ 58 w 351"/>
                <a:gd name="T15" fmla="*/ 121 h 258"/>
                <a:gd name="T16" fmla="*/ 100 w 351"/>
                <a:gd name="T17" fmla="*/ 140 h 258"/>
                <a:gd name="T18" fmla="*/ 83 w 351"/>
                <a:gd name="T19" fmla="*/ 191 h 258"/>
                <a:gd name="T20" fmla="*/ 187 w 351"/>
                <a:gd name="T21" fmla="*/ 217 h 258"/>
                <a:gd name="T22" fmla="*/ 167 w 351"/>
                <a:gd name="T23" fmla="*/ 258 h 258"/>
                <a:gd name="T24" fmla="*/ 239 w 351"/>
                <a:gd name="T25" fmla="*/ 176 h 258"/>
                <a:gd name="T26" fmla="*/ 311 w 351"/>
                <a:gd name="T27" fmla="*/ 144 h 258"/>
                <a:gd name="T28" fmla="*/ 351 w 351"/>
                <a:gd name="T29" fmla="*/ 59 h 258"/>
                <a:gd name="T30" fmla="*/ 351 w 351"/>
                <a:gd name="T31" fmla="*/ 59 h 258"/>
                <a:gd name="T32" fmla="*/ 351 w 351"/>
                <a:gd name="T33" fmla="*/ 59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1"/>
                <a:gd name="T52" fmla="*/ 0 h 258"/>
                <a:gd name="T53" fmla="*/ 351 w 351"/>
                <a:gd name="T54" fmla="*/ 258 h 25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1" h="258">
                  <a:moveTo>
                    <a:pt x="351" y="59"/>
                  </a:moveTo>
                  <a:lnTo>
                    <a:pt x="294" y="0"/>
                  </a:lnTo>
                  <a:lnTo>
                    <a:pt x="229" y="23"/>
                  </a:lnTo>
                  <a:lnTo>
                    <a:pt x="152" y="7"/>
                  </a:lnTo>
                  <a:lnTo>
                    <a:pt x="0" y="98"/>
                  </a:lnTo>
                  <a:lnTo>
                    <a:pt x="23" y="111"/>
                  </a:lnTo>
                  <a:lnTo>
                    <a:pt x="8" y="136"/>
                  </a:lnTo>
                  <a:lnTo>
                    <a:pt x="58" y="121"/>
                  </a:lnTo>
                  <a:lnTo>
                    <a:pt x="100" y="140"/>
                  </a:lnTo>
                  <a:lnTo>
                    <a:pt x="83" y="191"/>
                  </a:lnTo>
                  <a:lnTo>
                    <a:pt x="187" y="217"/>
                  </a:lnTo>
                  <a:lnTo>
                    <a:pt x="167" y="258"/>
                  </a:lnTo>
                  <a:lnTo>
                    <a:pt x="239" y="176"/>
                  </a:lnTo>
                  <a:lnTo>
                    <a:pt x="311" y="144"/>
                  </a:lnTo>
                  <a:lnTo>
                    <a:pt x="351" y="59"/>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34" name="Freeform 33"/>
            <p:cNvSpPr>
              <a:spLocks/>
            </p:cNvSpPr>
            <p:nvPr/>
          </p:nvSpPr>
          <p:spPr bwMode="auto">
            <a:xfrm>
              <a:off x="2804318" y="4188618"/>
              <a:ext cx="128588" cy="147638"/>
            </a:xfrm>
            <a:custGeom>
              <a:avLst/>
              <a:gdLst>
                <a:gd name="T0" fmla="*/ 34 w 83"/>
                <a:gd name="T1" fmla="*/ 0 h 92"/>
                <a:gd name="T2" fmla="*/ 57 w 83"/>
                <a:gd name="T3" fmla="*/ 46 h 92"/>
                <a:gd name="T4" fmla="*/ 83 w 83"/>
                <a:gd name="T5" fmla="*/ 41 h 92"/>
                <a:gd name="T6" fmla="*/ 72 w 83"/>
                <a:gd name="T7" fmla="*/ 66 h 92"/>
                <a:gd name="T8" fmla="*/ 24 w 83"/>
                <a:gd name="T9" fmla="*/ 92 h 92"/>
                <a:gd name="T10" fmla="*/ 0 w 83"/>
                <a:gd name="T11" fmla="*/ 52 h 92"/>
                <a:gd name="T12" fmla="*/ 34 w 83"/>
                <a:gd name="T13" fmla="*/ 0 h 92"/>
                <a:gd name="T14" fmla="*/ 34 w 83"/>
                <a:gd name="T15" fmla="*/ 0 h 92"/>
                <a:gd name="T16" fmla="*/ 34 w 83"/>
                <a:gd name="T17" fmla="*/ 0 h 9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3"/>
                <a:gd name="T28" fmla="*/ 0 h 92"/>
                <a:gd name="T29" fmla="*/ 83 w 83"/>
                <a:gd name="T30" fmla="*/ 92 h 9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3" h="92">
                  <a:moveTo>
                    <a:pt x="34" y="0"/>
                  </a:moveTo>
                  <a:lnTo>
                    <a:pt x="57" y="46"/>
                  </a:lnTo>
                  <a:lnTo>
                    <a:pt x="83" y="41"/>
                  </a:lnTo>
                  <a:lnTo>
                    <a:pt x="72" y="66"/>
                  </a:lnTo>
                  <a:lnTo>
                    <a:pt x="24" y="92"/>
                  </a:lnTo>
                  <a:lnTo>
                    <a:pt x="0" y="52"/>
                  </a:lnTo>
                  <a:lnTo>
                    <a:pt x="34"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35" name="Freeform 34"/>
            <p:cNvSpPr>
              <a:spLocks/>
            </p:cNvSpPr>
            <p:nvPr/>
          </p:nvSpPr>
          <p:spPr bwMode="auto">
            <a:xfrm>
              <a:off x="3028156" y="4234656"/>
              <a:ext cx="282575" cy="279400"/>
            </a:xfrm>
            <a:custGeom>
              <a:avLst/>
              <a:gdLst>
                <a:gd name="T0" fmla="*/ 137 w 183"/>
                <a:gd name="T1" fmla="*/ 48 h 174"/>
                <a:gd name="T2" fmla="*/ 149 w 183"/>
                <a:gd name="T3" fmla="*/ 107 h 174"/>
                <a:gd name="T4" fmla="*/ 183 w 183"/>
                <a:gd name="T5" fmla="*/ 126 h 174"/>
                <a:gd name="T6" fmla="*/ 147 w 183"/>
                <a:gd name="T7" fmla="*/ 159 h 174"/>
                <a:gd name="T8" fmla="*/ 124 w 183"/>
                <a:gd name="T9" fmla="*/ 133 h 174"/>
                <a:gd name="T10" fmla="*/ 103 w 183"/>
                <a:gd name="T11" fmla="*/ 174 h 174"/>
                <a:gd name="T12" fmla="*/ 82 w 183"/>
                <a:gd name="T13" fmla="*/ 174 h 174"/>
                <a:gd name="T14" fmla="*/ 65 w 183"/>
                <a:gd name="T15" fmla="*/ 156 h 174"/>
                <a:gd name="T16" fmla="*/ 40 w 183"/>
                <a:gd name="T17" fmla="*/ 156 h 174"/>
                <a:gd name="T18" fmla="*/ 49 w 183"/>
                <a:gd name="T19" fmla="*/ 112 h 174"/>
                <a:gd name="T20" fmla="*/ 10 w 183"/>
                <a:gd name="T21" fmla="*/ 112 h 174"/>
                <a:gd name="T22" fmla="*/ 0 w 183"/>
                <a:gd name="T23" fmla="*/ 13 h 174"/>
                <a:gd name="T24" fmla="*/ 66 w 183"/>
                <a:gd name="T25" fmla="*/ 0 h 174"/>
                <a:gd name="T26" fmla="*/ 137 w 183"/>
                <a:gd name="T27" fmla="*/ 48 h 174"/>
                <a:gd name="T28" fmla="*/ 137 w 183"/>
                <a:gd name="T29" fmla="*/ 48 h 174"/>
                <a:gd name="T30" fmla="*/ 137 w 183"/>
                <a:gd name="T31" fmla="*/ 48 h 17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3"/>
                <a:gd name="T49" fmla="*/ 0 h 174"/>
                <a:gd name="T50" fmla="*/ 183 w 183"/>
                <a:gd name="T51" fmla="*/ 174 h 17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3" h="174">
                  <a:moveTo>
                    <a:pt x="137" y="48"/>
                  </a:moveTo>
                  <a:lnTo>
                    <a:pt x="149" y="107"/>
                  </a:lnTo>
                  <a:lnTo>
                    <a:pt x="183" y="126"/>
                  </a:lnTo>
                  <a:lnTo>
                    <a:pt x="147" y="159"/>
                  </a:lnTo>
                  <a:lnTo>
                    <a:pt x="124" y="133"/>
                  </a:lnTo>
                  <a:lnTo>
                    <a:pt x="103" y="174"/>
                  </a:lnTo>
                  <a:lnTo>
                    <a:pt x="82" y="174"/>
                  </a:lnTo>
                  <a:lnTo>
                    <a:pt x="65" y="156"/>
                  </a:lnTo>
                  <a:lnTo>
                    <a:pt x="40" y="156"/>
                  </a:lnTo>
                  <a:lnTo>
                    <a:pt x="49" y="112"/>
                  </a:lnTo>
                  <a:lnTo>
                    <a:pt x="10" y="112"/>
                  </a:lnTo>
                  <a:lnTo>
                    <a:pt x="0" y="13"/>
                  </a:lnTo>
                  <a:lnTo>
                    <a:pt x="66" y="0"/>
                  </a:lnTo>
                  <a:lnTo>
                    <a:pt x="137" y="48"/>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36" name="Freeform 35"/>
            <p:cNvSpPr>
              <a:spLocks/>
            </p:cNvSpPr>
            <p:nvPr/>
          </p:nvSpPr>
          <p:spPr bwMode="auto">
            <a:xfrm>
              <a:off x="2737643" y="4242593"/>
              <a:ext cx="365125" cy="381000"/>
            </a:xfrm>
            <a:custGeom>
              <a:avLst/>
              <a:gdLst>
                <a:gd name="T0" fmla="*/ 187 w 236"/>
                <a:gd name="T1" fmla="*/ 9 h 239"/>
                <a:gd name="T2" fmla="*/ 197 w 236"/>
                <a:gd name="T3" fmla="*/ 108 h 239"/>
                <a:gd name="T4" fmla="*/ 236 w 236"/>
                <a:gd name="T5" fmla="*/ 108 h 239"/>
                <a:gd name="T6" fmla="*/ 227 w 236"/>
                <a:gd name="T7" fmla="*/ 152 h 239"/>
                <a:gd name="T8" fmla="*/ 201 w 236"/>
                <a:gd name="T9" fmla="*/ 201 h 239"/>
                <a:gd name="T10" fmla="*/ 150 w 236"/>
                <a:gd name="T11" fmla="*/ 239 h 239"/>
                <a:gd name="T12" fmla="*/ 125 w 236"/>
                <a:gd name="T13" fmla="*/ 220 h 239"/>
                <a:gd name="T14" fmla="*/ 150 w 236"/>
                <a:gd name="T15" fmla="*/ 188 h 239"/>
                <a:gd name="T16" fmla="*/ 123 w 236"/>
                <a:gd name="T17" fmla="*/ 170 h 239"/>
                <a:gd name="T18" fmla="*/ 123 w 236"/>
                <a:gd name="T19" fmla="*/ 124 h 239"/>
                <a:gd name="T20" fmla="*/ 84 w 236"/>
                <a:gd name="T21" fmla="*/ 122 h 239"/>
                <a:gd name="T22" fmla="*/ 45 w 236"/>
                <a:gd name="T23" fmla="*/ 162 h 239"/>
                <a:gd name="T24" fmla="*/ 0 w 236"/>
                <a:gd name="T25" fmla="*/ 159 h 239"/>
                <a:gd name="T26" fmla="*/ 72 w 236"/>
                <a:gd name="T27" fmla="*/ 105 h 239"/>
                <a:gd name="T28" fmla="*/ 81 w 236"/>
                <a:gd name="T29" fmla="*/ 67 h 239"/>
                <a:gd name="T30" fmla="*/ 159 w 236"/>
                <a:gd name="T31" fmla="*/ 28 h 239"/>
                <a:gd name="T32" fmla="*/ 159 w 236"/>
                <a:gd name="T33" fmla="*/ 0 h 239"/>
                <a:gd name="T34" fmla="*/ 187 w 236"/>
                <a:gd name="T35" fmla="*/ 9 h 239"/>
                <a:gd name="T36" fmla="*/ 187 w 236"/>
                <a:gd name="T37" fmla="*/ 9 h 239"/>
                <a:gd name="T38" fmla="*/ 187 w 236"/>
                <a:gd name="T39" fmla="*/ 9 h 2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36"/>
                <a:gd name="T61" fmla="*/ 0 h 239"/>
                <a:gd name="T62" fmla="*/ 236 w 236"/>
                <a:gd name="T63" fmla="*/ 239 h 2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36" h="239">
                  <a:moveTo>
                    <a:pt x="187" y="9"/>
                  </a:moveTo>
                  <a:lnTo>
                    <a:pt x="197" y="108"/>
                  </a:lnTo>
                  <a:lnTo>
                    <a:pt x="236" y="108"/>
                  </a:lnTo>
                  <a:lnTo>
                    <a:pt x="227" y="152"/>
                  </a:lnTo>
                  <a:lnTo>
                    <a:pt x="201" y="201"/>
                  </a:lnTo>
                  <a:lnTo>
                    <a:pt x="150" y="239"/>
                  </a:lnTo>
                  <a:lnTo>
                    <a:pt x="125" y="220"/>
                  </a:lnTo>
                  <a:lnTo>
                    <a:pt x="150" y="188"/>
                  </a:lnTo>
                  <a:lnTo>
                    <a:pt x="123" y="170"/>
                  </a:lnTo>
                  <a:lnTo>
                    <a:pt x="123" y="124"/>
                  </a:lnTo>
                  <a:lnTo>
                    <a:pt x="84" y="122"/>
                  </a:lnTo>
                  <a:lnTo>
                    <a:pt x="45" y="162"/>
                  </a:lnTo>
                  <a:lnTo>
                    <a:pt x="0" y="159"/>
                  </a:lnTo>
                  <a:lnTo>
                    <a:pt x="72" y="105"/>
                  </a:lnTo>
                  <a:lnTo>
                    <a:pt x="81" y="67"/>
                  </a:lnTo>
                  <a:lnTo>
                    <a:pt x="159" y="28"/>
                  </a:lnTo>
                  <a:lnTo>
                    <a:pt x="159" y="0"/>
                  </a:lnTo>
                  <a:lnTo>
                    <a:pt x="187" y="9"/>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37" name="Freeform 36"/>
            <p:cNvSpPr>
              <a:spLocks/>
            </p:cNvSpPr>
            <p:nvPr/>
          </p:nvSpPr>
          <p:spPr bwMode="auto">
            <a:xfrm>
              <a:off x="2583656" y="4620418"/>
              <a:ext cx="465137" cy="441325"/>
            </a:xfrm>
            <a:custGeom>
              <a:avLst/>
              <a:gdLst>
                <a:gd name="T0" fmla="*/ 251 w 301"/>
                <a:gd name="T1" fmla="*/ 0 h 276"/>
                <a:gd name="T2" fmla="*/ 219 w 301"/>
                <a:gd name="T3" fmla="*/ 34 h 276"/>
                <a:gd name="T4" fmla="*/ 204 w 301"/>
                <a:gd name="T5" fmla="*/ 87 h 276"/>
                <a:gd name="T6" fmla="*/ 112 w 301"/>
                <a:gd name="T7" fmla="*/ 129 h 276"/>
                <a:gd name="T8" fmla="*/ 91 w 301"/>
                <a:gd name="T9" fmla="*/ 154 h 276"/>
                <a:gd name="T10" fmla="*/ 48 w 301"/>
                <a:gd name="T11" fmla="*/ 152 h 276"/>
                <a:gd name="T12" fmla="*/ 34 w 301"/>
                <a:gd name="T13" fmla="*/ 176 h 276"/>
                <a:gd name="T14" fmla="*/ 0 w 301"/>
                <a:gd name="T15" fmla="*/ 199 h 276"/>
                <a:gd name="T16" fmla="*/ 42 w 301"/>
                <a:gd name="T17" fmla="*/ 207 h 276"/>
                <a:gd name="T18" fmla="*/ 16 w 301"/>
                <a:gd name="T19" fmla="*/ 243 h 276"/>
                <a:gd name="T20" fmla="*/ 27 w 301"/>
                <a:gd name="T21" fmla="*/ 256 h 276"/>
                <a:gd name="T22" fmla="*/ 75 w 301"/>
                <a:gd name="T23" fmla="*/ 232 h 276"/>
                <a:gd name="T24" fmla="*/ 71 w 301"/>
                <a:gd name="T25" fmla="*/ 248 h 276"/>
                <a:gd name="T26" fmla="*/ 40 w 301"/>
                <a:gd name="T27" fmla="*/ 268 h 276"/>
                <a:gd name="T28" fmla="*/ 54 w 301"/>
                <a:gd name="T29" fmla="*/ 276 h 276"/>
                <a:gd name="T30" fmla="*/ 105 w 301"/>
                <a:gd name="T31" fmla="*/ 267 h 276"/>
                <a:gd name="T32" fmla="*/ 126 w 301"/>
                <a:gd name="T33" fmla="*/ 241 h 276"/>
                <a:gd name="T34" fmla="*/ 226 w 301"/>
                <a:gd name="T35" fmla="*/ 262 h 276"/>
                <a:gd name="T36" fmla="*/ 246 w 301"/>
                <a:gd name="T37" fmla="*/ 231 h 276"/>
                <a:gd name="T38" fmla="*/ 277 w 301"/>
                <a:gd name="T39" fmla="*/ 221 h 276"/>
                <a:gd name="T40" fmla="*/ 297 w 301"/>
                <a:gd name="T41" fmla="*/ 189 h 276"/>
                <a:gd name="T42" fmla="*/ 297 w 301"/>
                <a:gd name="T43" fmla="*/ 154 h 276"/>
                <a:gd name="T44" fmla="*/ 284 w 301"/>
                <a:gd name="T45" fmla="*/ 131 h 276"/>
                <a:gd name="T46" fmla="*/ 301 w 301"/>
                <a:gd name="T47" fmla="*/ 55 h 276"/>
                <a:gd name="T48" fmla="*/ 251 w 301"/>
                <a:gd name="T49" fmla="*/ 0 h 276"/>
                <a:gd name="T50" fmla="*/ 251 w 301"/>
                <a:gd name="T51" fmla="*/ 0 h 276"/>
                <a:gd name="T52" fmla="*/ 251 w 301"/>
                <a:gd name="T53" fmla="*/ 0 h 27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01"/>
                <a:gd name="T82" fmla="*/ 0 h 276"/>
                <a:gd name="T83" fmla="*/ 301 w 301"/>
                <a:gd name="T84" fmla="*/ 276 h 27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01" h="276">
                  <a:moveTo>
                    <a:pt x="251" y="0"/>
                  </a:moveTo>
                  <a:lnTo>
                    <a:pt x="219" y="34"/>
                  </a:lnTo>
                  <a:lnTo>
                    <a:pt x="204" y="87"/>
                  </a:lnTo>
                  <a:lnTo>
                    <a:pt x="112" y="129"/>
                  </a:lnTo>
                  <a:lnTo>
                    <a:pt x="91" y="154"/>
                  </a:lnTo>
                  <a:lnTo>
                    <a:pt x="48" y="152"/>
                  </a:lnTo>
                  <a:lnTo>
                    <a:pt x="34" y="176"/>
                  </a:lnTo>
                  <a:lnTo>
                    <a:pt x="0" y="199"/>
                  </a:lnTo>
                  <a:lnTo>
                    <a:pt x="42" y="207"/>
                  </a:lnTo>
                  <a:lnTo>
                    <a:pt x="16" y="243"/>
                  </a:lnTo>
                  <a:lnTo>
                    <a:pt x="27" y="256"/>
                  </a:lnTo>
                  <a:lnTo>
                    <a:pt x="75" y="232"/>
                  </a:lnTo>
                  <a:lnTo>
                    <a:pt x="71" y="248"/>
                  </a:lnTo>
                  <a:lnTo>
                    <a:pt x="40" y="268"/>
                  </a:lnTo>
                  <a:lnTo>
                    <a:pt x="54" y="276"/>
                  </a:lnTo>
                  <a:lnTo>
                    <a:pt x="105" y="267"/>
                  </a:lnTo>
                  <a:lnTo>
                    <a:pt x="126" y="241"/>
                  </a:lnTo>
                  <a:lnTo>
                    <a:pt x="226" y="262"/>
                  </a:lnTo>
                  <a:lnTo>
                    <a:pt x="246" y="231"/>
                  </a:lnTo>
                  <a:lnTo>
                    <a:pt x="277" y="221"/>
                  </a:lnTo>
                  <a:lnTo>
                    <a:pt x="297" y="189"/>
                  </a:lnTo>
                  <a:lnTo>
                    <a:pt x="297" y="154"/>
                  </a:lnTo>
                  <a:lnTo>
                    <a:pt x="284" y="131"/>
                  </a:lnTo>
                  <a:lnTo>
                    <a:pt x="301" y="55"/>
                  </a:lnTo>
                  <a:lnTo>
                    <a:pt x="251"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38" name="Freeform 37"/>
            <p:cNvSpPr>
              <a:spLocks/>
            </p:cNvSpPr>
            <p:nvPr/>
          </p:nvSpPr>
          <p:spPr bwMode="auto">
            <a:xfrm>
              <a:off x="2874168" y="4972843"/>
              <a:ext cx="206375" cy="130175"/>
            </a:xfrm>
            <a:custGeom>
              <a:avLst/>
              <a:gdLst>
                <a:gd name="T0" fmla="*/ 89 w 133"/>
                <a:gd name="T1" fmla="*/ 0 h 81"/>
                <a:gd name="T2" fmla="*/ 57 w 133"/>
                <a:gd name="T3" fmla="*/ 10 h 81"/>
                <a:gd name="T4" fmla="*/ 38 w 133"/>
                <a:gd name="T5" fmla="*/ 41 h 81"/>
                <a:gd name="T6" fmla="*/ 0 w 133"/>
                <a:gd name="T7" fmla="*/ 65 h 81"/>
                <a:gd name="T8" fmla="*/ 20 w 133"/>
                <a:gd name="T9" fmla="*/ 76 h 81"/>
                <a:gd name="T10" fmla="*/ 87 w 133"/>
                <a:gd name="T11" fmla="*/ 51 h 81"/>
                <a:gd name="T12" fmla="*/ 105 w 133"/>
                <a:gd name="T13" fmla="*/ 81 h 81"/>
                <a:gd name="T14" fmla="*/ 120 w 133"/>
                <a:gd name="T15" fmla="*/ 76 h 81"/>
                <a:gd name="T16" fmla="*/ 120 w 133"/>
                <a:gd name="T17" fmla="*/ 55 h 81"/>
                <a:gd name="T18" fmla="*/ 133 w 133"/>
                <a:gd name="T19" fmla="*/ 41 h 81"/>
                <a:gd name="T20" fmla="*/ 130 w 133"/>
                <a:gd name="T21" fmla="*/ 12 h 81"/>
                <a:gd name="T22" fmla="*/ 89 w 133"/>
                <a:gd name="T23" fmla="*/ 0 h 81"/>
                <a:gd name="T24" fmla="*/ 89 w 133"/>
                <a:gd name="T25" fmla="*/ 0 h 81"/>
                <a:gd name="T26" fmla="*/ 89 w 133"/>
                <a:gd name="T27" fmla="*/ 0 h 8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3"/>
                <a:gd name="T43" fmla="*/ 0 h 81"/>
                <a:gd name="T44" fmla="*/ 133 w 133"/>
                <a:gd name="T45" fmla="*/ 81 h 8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3" h="81">
                  <a:moveTo>
                    <a:pt x="89" y="0"/>
                  </a:moveTo>
                  <a:lnTo>
                    <a:pt x="57" y="10"/>
                  </a:lnTo>
                  <a:lnTo>
                    <a:pt x="38" y="41"/>
                  </a:lnTo>
                  <a:lnTo>
                    <a:pt x="0" y="65"/>
                  </a:lnTo>
                  <a:lnTo>
                    <a:pt x="20" y="76"/>
                  </a:lnTo>
                  <a:lnTo>
                    <a:pt x="87" y="51"/>
                  </a:lnTo>
                  <a:lnTo>
                    <a:pt x="105" y="81"/>
                  </a:lnTo>
                  <a:lnTo>
                    <a:pt x="120" y="76"/>
                  </a:lnTo>
                  <a:lnTo>
                    <a:pt x="120" y="55"/>
                  </a:lnTo>
                  <a:lnTo>
                    <a:pt x="133" y="41"/>
                  </a:lnTo>
                  <a:lnTo>
                    <a:pt x="130" y="12"/>
                  </a:lnTo>
                  <a:lnTo>
                    <a:pt x="89"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39" name="Freeform 38"/>
            <p:cNvSpPr>
              <a:spLocks/>
            </p:cNvSpPr>
            <p:nvPr/>
          </p:nvSpPr>
          <p:spPr bwMode="auto">
            <a:xfrm>
              <a:off x="2971006" y="4485481"/>
              <a:ext cx="261937" cy="511175"/>
            </a:xfrm>
            <a:custGeom>
              <a:avLst/>
              <a:gdLst>
                <a:gd name="T0" fmla="*/ 140 w 170"/>
                <a:gd name="T1" fmla="*/ 17 h 320"/>
                <a:gd name="T2" fmla="*/ 119 w 170"/>
                <a:gd name="T3" fmla="*/ 17 h 320"/>
                <a:gd name="T4" fmla="*/ 102 w 170"/>
                <a:gd name="T5" fmla="*/ 0 h 320"/>
                <a:gd name="T6" fmla="*/ 77 w 170"/>
                <a:gd name="T7" fmla="*/ 0 h 320"/>
                <a:gd name="T8" fmla="*/ 53 w 170"/>
                <a:gd name="T9" fmla="*/ 49 h 320"/>
                <a:gd name="T10" fmla="*/ 0 w 170"/>
                <a:gd name="T11" fmla="*/ 85 h 320"/>
                <a:gd name="T12" fmla="*/ 51 w 170"/>
                <a:gd name="T13" fmla="*/ 139 h 320"/>
                <a:gd name="T14" fmla="*/ 32 w 170"/>
                <a:gd name="T15" fmla="*/ 216 h 320"/>
                <a:gd name="T16" fmla="*/ 47 w 170"/>
                <a:gd name="T17" fmla="*/ 239 h 320"/>
                <a:gd name="T18" fmla="*/ 47 w 170"/>
                <a:gd name="T19" fmla="*/ 274 h 320"/>
                <a:gd name="T20" fmla="*/ 27 w 170"/>
                <a:gd name="T21" fmla="*/ 306 h 320"/>
                <a:gd name="T22" fmla="*/ 70 w 170"/>
                <a:gd name="T23" fmla="*/ 320 h 320"/>
                <a:gd name="T24" fmla="*/ 87 w 170"/>
                <a:gd name="T25" fmla="*/ 306 h 320"/>
                <a:gd name="T26" fmla="*/ 110 w 170"/>
                <a:gd name="T27" fmla="*/ 314 h 320"/>
                <a:gd name="T28" fmla="*/ 145 w 170"/>
                <a:gd name="T29" fmla="*/ 299 h 320"/>
                <a:gd name="T30" fmla="*/ 145 w 170"/>
                <a:gd name="T31" fmla="*/ 222 h 320"/>
                <a:gd name="T32" fmla="*/ 170 w 170"/>
                <a:gd name="T33" fmla="*/ 151 h 320"/>
                <a:gd name="T34" fmla="*/ 129 w 170"/>
                <a:gd name="T35" fmla="*/ 119 h 320"/>
                <a:gd name="T36" fmla="*/ 170 w 170"/>
                <a:gd name="T37" fmla="*/ 85 h 320"/>
                <a:gd name="T38" fmla="*/ 139 w 170"/>
                <a:gd name="T39" fmla="*/ 20 h 320"/>
                <a:gd name="T40" fmla="*/ 140 w 170"/>
                <a:gd name="T41" fmla="*/ 17 h 320"/>
                <a:gd name="T42" fmla="*/ 140 w 170"/>
                <a:gd name="T43" fmla="*/ 17 h 320"/>
                <a:gd name="T44" fmla="*/ 140 w 170"/>
                <a:gd name="T45" fmla="*/ 17 h 32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0"/>
                <a:gd name="T70" fmla="*/ 0 h 320"/>
                <a:gd name="T71" fmla="*/ 170 w 170"/>
                <a:gd name="T72" fmla="*/ 320 h 32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0" h="320">
                  <a:moveTo>
                    <a:pt x="140" y="17"/>
                  </a:moveTo>
                  <a:lnTo>
                    <a:pt x="119" y="17"/>
                  </a:lnTo>
                  <a:lnTo>
                    <a:pt x="102" y="0"/>
                  </a:lnTo>
                  <a:lnTo>
                    <a:pt x="77" y="0"/>
                  </a:lnTo>
                  <a:lnTo>
                    <a:pt x="53" y="49"/>
                  </a:lnTo>
                  <a:lnTo>
                    <a:pt x="0" y="85"/>
                  </a:lnTo>
                  <a:lnTo>
                    <a:pt x="51" y="139"/>
                  </a:lnTo>
                  <a:lnTo>
                    <a:pt x="32" y="216"/>
                  </a:lnTo>
                  <a:lnTo>
                    <a:pt x="47" y="239"/>
                  </a:lnTo>
                  <a:lnTo>
                    <a:pt x="47" y="274"/>
                  </a:lnTo>
                  <a:lnTo>
                    <a:pt x="27" y="306"/>
                  </a:lnTo>
                  <a:lnTo>
                    <a:pt x="70" y="320"/>
                  </a:lnTo>
                  <a:lnTo>
                    <a:pt x="87" y="306"/>
                  </a:lnTo>
                  <a:lnTo>
                    <a:pt x="110" y="314"/>
                  </a:lnTo>
                  <a:lnTo>
                    <a:pt x="145" y="299"/>
                  </a:lnTo>
                  <a:lnTo>
                    <a:pt x="145" y="222"/>
                  </a:lnTo>
                  <a:lnTo>
                    <a:pt x="170" y="151"/>
                  </a:lnTo>
                  <a:lnTo>
                    <a:pt x="129" y="119"/>
                  </a:lnTo>
                  <a:lnTo>
                    <a:pt x="170" y="85"/>
                  </a:lnTo>
                  <a:lnTo>
                    <a:pt x="139" y="20"/>
                  </a:lnTo>
                  <a:lnTo>
                    <a:pt x="140" y="17"/>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40" name="Freeform 39"/>
            <p:cNvSpPr>
              <a:spLocks/>
            </p:cNvSpPr>
            <p:nvPr/>
          </p:nvSpPr>
          <p:spPr bwMode="auto">
            <a:xfrm>
              <a:off x="3140868" y="4841081"/>
              <a:ext cx="188913" cy="263525"/>
            </a:xfrm>
            <a:custGeom>
              <a:avLst/>
              <a:gdLst>
                <a:gd name="T0" fmla="*/ 35 w 122"/>
                <a:gd name="T1" fmla="*/ 0 h 165"/>
                <a:gd name="T2" fmla="*/ 35 w 122"/>
                <a:gd name="T3" fmla="*/ 76 h 165"/>
                <a:gd name="T4" fmla="*/ 0 w 122"/>
                <a:gd name="T5" fmla="*/ 89 h 165"/>
                <a:gd name="T6" fmla="*/ 14 w 122"/>
                <a:gd name="T7" fmla="*/ 149 h 165"/>
                <a:gd name="T8" fmla="*/ 23 w 122"/>
                <a:gd name="T9" fmla="*/ 162 h 165"/>
                <a:gd name="T10" fmla="*/ 81 w 122"/>
                <a:gd name="T11" fmla="*/ 165 h 165"/>
                <a:gd name="T12" fmla="*/ 122 w 122"/>
                <a:gd name="T13" fmla="*/ 134 h 165"/>
                <a:gd name="T14" fmla="*/ 122 w 122"/>
                <a:gd name="T15" fmla="*/ 79 h 165"/>
                <a:gd name="T16" fmla="*/ 87 w 122"/>
                <a:gd name="T17" fmla="*/ 56 h 165"/>
                <a:gd name="T18" fmla="*/ 35 w 122"/>
                <a:gd name="T19" fmla="*/ 0 h 165"/>
                <a:gd name="T20" fmla="*/ 35 w 122"/>
                <a:gd name="T21" fmla="*/ 0 h 165"/>
                <a:gd name="T22" fmla="*/ 35 w 122"/>
                <a:gd name="T23" fmla="*/ 0 h 1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2"/>
                <a:gd name="T37" fmla="*/ 0 h 165"/>
                <a:gd name="T38" fmla="*/ 122 w 122"/>
                <a:gd name="T39" fmla="*/ 165 h 1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2" h="165">
                  <a:moveTo>
                    <a:pt x="35" y="0"/>
                  </a:moveTo>
                  <a:lnTo>
                    <a:pt x="35" y="76"/>
                  </a:lnTo>
                  <a:lnTo>
                    <a:pt x="0" y="89"/>
                  </a:lnTo>
                  <a:lnTo>
                    <a:pt x="14" y="149"/>
                  </a:lnTo>
                  <a:lnTo>
                    <a:pt x="23" y="162"/>
                  </a:lnTo>
                  <a:lnTo>
                    <a:pt x="81" y="165"/>
                  </a:lnTo>
                  <a:lnTo>
                    <a:pt x="122" y="134"/>
                  </a:lnTo>
                  <a:lnTo>
                    <a:pt x="122" y="79"/>
                  </a:lnTo>
                  <a:lnTo>
                    <a:pt x="87" y="56"/>
                  </a:lnTo>
                  <a:lnTo>
                    <a:pt x="35"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41" name="Freeform 40"/>
            <p:cNvSpPr>
              <a:spLocks/>
            </p:cNvSpPr>
            <p:nvPr/>
          </p:nvSpPr>
          <p:spPr bwMode="auto">
            <a:xfrm>
              <a:off x="3039268" y="4972843"/>
              <a:ext cx="136525" cy="174625"/>
            </a:xfrm>
            <a:custGeom>
              <a:avLst/>
              <a:gdLst>
                <a:gd name="T0" fmla="*/ 65 w 88"/>
                <a:gd name="T1" fmla="*/ 6 h 109"/>
                <a:gd name="T2" fmla="*/ 43 w 88"/>
                <a:gd name="T3" fmla="*/ 0 h 109"/>
                <a:gd name="T4" fmla="*/ 23 w 88"/>
                <a:gd name="T5" fmla="*/ 14 h 109"/>
                <a:gd name="T6" fmla="*/ 27 w 88"/>
                <a:gd name="T7" fmla="*/ 41 h 109"/>
                <a:gd name="T8" fmla="*/ 13 w 88"/>
                <a:gd name="T9" fmla="*/ 55 h 109"/>
                <a:gd name="T10" fmla="*/ 13 w 88"/>
                <a:gd name="T11" fmla="*/ 76 h 109"/>
                <a:gd name="T12" fmla="*/ 0 w 88"/>
                <a:gd name="T13" fmla="*/ 81 h 109"/>
                <a:gd name="T14" fmla="*/ 16 w 88"/>
                <a:gd name="T15" fmla="*/ 109 h 109"/>
                <a:gd name="T16" fmla="*/ 48 w 88"/>
                <a:gd name="T17" fmla="*/ 84 h 109"/>
                <a:gd name="T18" fmla="*/ 88 w 88"/>
                <a:gd name="T19" fmla="*/ 88 h 109"/>
                <a:gd name="T20" fmla="*/ 88 w 88"/>
                <a:gd name="T21" fmla="*/ 79 h 109"/>
                <a:gd name="T22" fmla="*/ 79 w 88"/>
                <a:gd name="T23" fmla="*/ 66 h 109"/>
                <a:gd name="T24" fmla="*/ 65 w 88"/>
                <a:gd name="T25" fmla="*/ 6 h 109"/>
                <a:gd name="T26" fmla="*/ 65 w 88"/>
                <a:gd name="T27" fmla="*/ 6 h 109"/>
                <a:gd name="T28" fmla="*/ 65 w 88"/>
                <a:gd name="T29" fmla="*/ 6 h 10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8"/>
                <a:gd name="T46" fmla="*/ 0 h 109"/>
                <a:gd name="T47" fmla="*/ 88 w 88"/>
                <a:gd name="T48" fmla="*/ 109 h 10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8" h="109">
                  <a:moveTo>
                    <a:pt x="65" y="6"/>
                  </a:moveTo>
                  <a:lnTo>
                    <a:pt x="43" y="0"/>
                  </a:lnTo>
                  <a:lnTo>
                    <a:pt x="23" y="14"/>
                  </a:lnTo>
                  <a:lnTo>
                    <a:pt x="27" y="41"/>
                  </a:lnTo>
                  <a:lnTo>
                    <a:pt x="13" y="55"/>
                  </a:lnTo>
                  <a:lnTo>
                    <a:pt x="13" y="76"/>
                  </a:lnTo>
                  <a:lnTo>
                    <a:pt x="0" y="81"/>
                  </a:lnTo>
                  <a:lnTo>
                    <a:pt x="16" y="109"/>
                  </a:lnTo>
                  <a:lnTo>
                    <a:pt x="48" y="84"/>
                  </a:lnTo>
                  <a:lnTo>
                    <a:pt x="88" y="88"/>
                  </a:lnTo>
                  <a:lnTo>
                    <a:pt x="88" y="79"/>
                  </a:lnTo>
                  <a:lnTo>
                    <a:pt x="79" y="66"/>
                  </a:lnTo>
                  <a:lnTo>
                    <a:pt x="65" y="6"/>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42" name="Freeform 41"/>
            <p:cNvSpPr>
              <a:spLocks/>
            </p:cNvSpPr>
            <p:nvPr/>
          </p:nvSpPr>
          <p:spPr bwMode="auto">
            <a:xfrm>
              <a:off x="3064668" y="5107781"/>
              <a:ext cx="122238" cy="68262"/>
            </a:xfrm>
            <a:custGeom>
              <a:avLst/>
              <a:gdLst>
                <a:gd name="T0" fmla="*/ 0 w 79"/>
                <a:gd name="T1" fmla="*/ 25 h 43"/>
                <a:gd name="T2" fmla="*/ 7 w 79"/>
                <a:gd name="T3" fmla="*/ 35 h 43"/>
                <a:gd name="T4" fmla="*/ 79 w 79"/>
                <a:gd name="T5" fmla="*/ 43 h 43"/>
                <a:gd name="T6" fmla="*/ 72 w 79"/>
                <a:gd name="T7" fmla="*/ 4 h 43"/>
                <a:gd name="T8" fmla="*/ 32 w 79"/>
                <a:gd name="T9" fmla="*/ 0 h 43"/>
                <a:gd name="T10" fmla="*/ 0 w 79"/>
                <a:gd name="T11" fmla="*/ 25 h 43"/>
                <a:gd name="T12" fmla="*/ 0 w 79"/>
                <a:gd name="T13" fmla="*/ 25 h 43"/>
                <a:gd name="T14" fmla="*/ 0 w 79"/>
                <a:gd name="T15" fmla="*/ 25 h 43"/>
                <a:gd name="T16" fmla="*/ 0 60000 65536"/>
                <a:gd name="T17" fmla="*/ 0 60000 65536"/>
                <a:gd name="T18" fmla="*/ 0 60000 65536"/>
                <a:gd name="T19" fmla="*/ 0 60000 65536"/>
                <a:gd name="T20" fmla="*/ 0 60000 65536"/>
                <a:gd name="T21" fmla="*/ 0 60000 65536"/>
                <a:gd name="T22" fmla="*/ 0 60000 65536"/>
                <a:gd name="T23" fmla="*/ 0 60000 65536"/>
                <a:gd name="T24" fmla="*/ 0 w 79"/>
                <a:gd name="T25" fmla="*/ 0 h 43"/>
                <a:gd name="T26" fmla="*/ 79 w 79"/>
                <a:gd name="T27" fmla="*/ 43 h 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9" h="43">
                  <a:moveTo>
                    <a:pt x="0" y="25"/>
                  </a:moveTo>
                  <a:lnTo>
                    <a:pt x="7" y="35"/>
                  </a:lnTo>
                  <a:lnTo>
                    <a:pt x="79" y="43"/>
                  </a:lnTo>
                  <a:lnTo>
                    <a:pt x="72" y="4"/>
                  </a:lnTo>
                  <a:lnTo>
                    <a:pt x="32" y="0"/>
                  </a:lnTo>
                  <a:lnTo>
                    <a:pt x="0" y="25"/>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43" name="Freeform 42"/>
            <p:cNvSpPr>
              <a:spLocks/>
            </p:cNvSpPr>
            <p:nvPr/>
          </p:nvSpPr>
          <p:spPr bwMode="auto">
            <a:xfrm>
              <a:off x="3650456" y="5460206"/>
              <a:ext cx="141287" cy="90487"/>
            </a:xfrm>
            <a:custGeom>
              <a:avLst/>
              <a:gdLst>
                <a:gd name="T0" fmla="*/ 0 w 91"/>
                <a:gd name="T1" fmla="*/ 30 h 56"/>
                <a:gd name="T2" fmla="*/ 19 w 91"/>
                <a:gd name="T3" fmla="*/ 30 h 56"/>
                <a:gd name="T4" fmla="*/ 26 w 91"/>
                <a:gd name="T5" fmla="*/ 56 h 56"/>
                <a:gd name="T6" fmla="*/ 58 w 91"/>
                <a:gd name="T7" fmla="*/ 49 h 56"/>
                <a:gd name="T8" fmla="*/ 75 w 91"/>
                <a:gd name="T9" fmla="*/ 36 h 56"/>
                <a:gd name="T10" fmla="*/ 91 w 91"/>
                <a:gd name="T11" fmla="*/ 25 h 56"/>
                <a:gd name="T12" fmla="*/ 51 w 91"/>
                <a:gd name="T13" fmla="*/ 0 h 56"/>
                <a:gd name="T14" fmla="*/ 0 w 91"/>
                <a:gd name="T15" fmla="*/ 30 h 56"/>
                <a:gd name="T16" fmla="*/ 0 w 91"/>
                <a:gd name="T17" fmla="*/ 30 h 56"/>
                <a:gd name="T18" fmla="*/ 0 w 91"/>
                <a:gd name="T19" fmla="*/ 30 h 56"/>
                <a:gd name="T20" fmla="*/ 0 w 91"/>
                <a:gd name="T21" fmla="*/ 30 h 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1"/>
                <a:gd name="T34" fmla="*/ 0 h 56"/>
                <a:gd name="T35" fmla="*/ 91 w 91"/>
                <a:gd name="T36" fmla="*/ 56 h 5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1" h="56">
                  <a:moveTo>
                    <a:pt x="0" y="30"/>
                  </a:moveTo>
                  <a:lnTo>
                    <a:pt x="19" y="30"/>
                  </a:lnTo>
                  <a:lnTo>
                    <a:pt x="26" y="56"/>
                  </a:lnTo>
                  <a:lnTo>
                    <a:pt x="58" y="49"/>
                  </a:lnTo>
                  <a:lnTo>
                    <a:pt x="75" y="36"/>
                  </a:lnTo>
                  <a:lnTo>
                    <a:pt x="91" y="25"/>
                  </a:lnTo>
                  <a:lnTo>
                    <a:pt x="51" y="0"/>
                  </a:lnTo>
                  <a:lnTo>
                    <a:pt x="0" y="3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44" name="Freeform 43"/>
            <p:cNvSpPr>
              <a:spLocks/>
            </p:cNvSpPr>
            <p:nvPr/>
          </p:nvSpPr>
          <p:spPr bwMode="auto">
            <a:xfrm>
              <a:off x="2743993" y="3744118"/>
              <a:ext cx="104775" cy="171450"/>
            </a:xfrm>
            <a:custGeom>
              <a:avLst/>
              <a:gdLst>
                <a:gd name="T0" fmla="*/ 68 w 68"/>
                <a:gd name="T1" fmla="*/ 0 h 108"/>
                <a:gd name="T2" fmla="*/ 17 w 68"/>
                <a:gd name="T3" fmla="*/ 38 h 108"/>
                <a:gd name="T4" fmla="*/ 0 w 68"/>
                <a:gd name="T5" fmla="*/ 108 h 108"/>
                <a:gd name="T6" fmla="*/ 67 w 68"/>
                <a:gd name="T7" fmla="*/ 67 h 108"/>
                <a:gd name="T8" fmla="*/ 68 w 68"/>
                <a:gd name="T9" fmla="*/ 0 h 108"/>
                <a:gd name="T10" fmla="*/ 68 w 68"/>
                <a:gd name="T11" fmla="*/ 0 h 108"/>
                <a:gd name="T12" fmla="*/ 68 w 68"/>
                <a:gd name="T13" fmla="*/ 0 h 108"/>
                <a:gd name="T14" fmla="*/ 0 60000 65536"/>
                <a:gd name="T15" fmla="*/ 0 60000 65536"/>
                <a:gd name="T16" fmla="*/ 0 60000 65536"/>
                <a:gd name="T17" fmla="*/ 0 60000 65536"/>
                <a:gd name="T18" fmla="*/ 0 60000 65536"/>
                <a:gd name="T19" fmla="*/ 0 60000 65536"/>
                <a:gd name="T20" fmla="*/ 0 60000 65536"/>
                <a:gd name="T21" fmla="*/ 0 w 68"/>
                <a:gd name="T22" fmla="*/ 0 h 108"/>
                <a:gd name="T23" fmla="*/ 68 w 68"/>
                <a:gd name="T24" fmla="*/ 108 h 10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8" h="108">
                  <a:moveTo>
                    <a:pt x="68" y="0"/>
                  </a:moveTo>
                  <a:lnTo>
                    <a:pt x="17" y="38"/>
                  </a:lnTo>
                  <a:lnTo>
                    <a:pt x="0" y="108"/>
                  </a:lnTo>
                  <a:lnTo>
                    <a:pt x="67" y="67"/>
                  </a:lnTo>
                  <a:lnTo>
                    <a:pt x="68"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45" name="Freeform 44"/>
            <p:cNvSpPr>
              <a:spLocks/>
            </p:cNvSpPr>
            <p:nvPr/>
          </p:nvSpPr>
          <p:spPr bwMode="auto">
            <a:xfrm>
              <a:off x="3298031" y="3069431"/>
              <a:ext cx="317500" cy="501650"/>
            </a:xfrm>
            <a:custGeom>
              <a:avLst/>
              <a:gdLst>
                <a:gd name="T0" fmla="*/ 111 w 205"/>
                <a:gd name="T1" fmla="*/ 0 h 314"/>
                <a:gd name="T2" fmla="*/ 101 w 205"/>
                <a:gd name="T3" fmla="*/ 30 h 314"/>
                <a:gd name="T4" fmla="*/ 61 w 205"/>
                <a:gd name="T5" fmla="*/ 56 h 314"/>
                <a:gd name="T6" fmla="*/ 85 w 205"/>
                <a:gd name="T7" fmla="*/ 117 h 314"/>
                <a:gd name="T8" fmla="*/ 0 w 205"/>
                <a:gd name="T9" fmla="*/ 199 h 314"/>
                <a:gd name="T10" fmla="*/ 31 w 205"/>
                <a:gd name="T11" fmla="*/ 220 h 314"/>
                <a:gd name="T12" fmla="*/ 31 w 205"/>
                <a:gd name="T13" fmla="*/ 302 h 314"/>
                <a:gd name="T14" fmla="*/ 71 w 205"/>
                <a:gd name="T15" fmla="*/ 302 h 314"/>
                <a:gd name="T16" fmla="*/ 92 w 205"/>
                <a:gd name="T17" fmla="*/ 314 h 314"/>
                <a:gd name="T18" fmla="*/ 97 w 205"/>
                <a:gd name="T19" fmla="*/ 293 h 314"/>
                <a:gd name="T20" fmla="*/ 150 w 205"/>
                <a:gd name="T21" fmla="*/ 277 h 314"/>
                <a:gd name="T22" fmla="*/ 174 w 205"/>
                <a:gd name="T23" fmla="*/ 216 h 314"/>
                <a:gd name="T24" fmla="*/ 205 w 205"/>
                <a:gd name="T25" fmla="*/ 210 h 314"/>
                <a:gd name="T26" fmla="*/ 171 w 205"/>
                <a:gd name="T27" fmla="*/ 59 h 314"/>
                <a:gd name="T28" fmla="*/ 111 w 205"/>
                <a:gd name="T29" fmla="*/ 0 h 314"/>
                <a:gd name="T30" fmla="*/ 111 w 205"/>
                <a:gd name="T31" fmla="*/ 0 h 314"/>
                <a:gd name="T32" fmla="*/ 111 w 205"/>
                <a:gd name="T33" fmla="*/ 0 h 3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5"/>
                <a:gd name="T52" fmla="*/ 0 h 314"/>
                <a:gd name="T53" fmla="*/ 205 w 205"/>
                <a:gd name="T54" fmla="*/ 314 h 31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5" h="314">
                  <a:moveTo>
                    <a:pt x="111" y="0"/>
                  </a:moveTo>
                  <a:lnTo>
                    <a:pt x="101" y="30"/>
                  </a:lnTo>
                  <a:lnTo>
                    <a:pt x="61" y="56"/>
                  </a:lnTo>
                  <a:lnTo>
                    <a:pt x="85" y="117"/>
                  </a:lnTo>
                  <a:lnTo>
                    <a:pt x="0" y="199"/>
                  </a:lnTo>
                  <a:lnTo>
                    <a:pt x="31" y="220"/>
                  </a:lnTo>
                  <a:lnTo>
                    <a:pt x="31" y="302"/>
                  </a:lnTo>
                  <a:lnTo>
                    <a:pt x="71" y="302"/>
                  </a:lnTo>
                  <a:lnTo>
                    <a:pt x="92" y="314"/>
                  </a:lnTo>
                  <a:lnTo>
                    <a:pt x="97" y="293"/>
                  </a:lnTo>
                  <a:lnTo>
                    <a:pt x="150" y="277"/>
                  </a:lnTo>
                  <a:lnTo>
                    <a:pt x="174" y="216"/>
                  </a:lnTo>
                  <a:lnTo>
                    <a:pt x="205" y="210"/>
                  </a:lnTo>
                  <a:lnTo>
                    <a:pt x="171" y="59"/>
                  </a:lnTo>
                  <a:lnTo>
                    <a:pt x="111"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46" name="Freeform 45"/>
            <p:cNvSpPr>
              <a:spLocks/>
            </p:cNvSpPr>
            <p:nvPr/>
          </p:nvSpPr>
          <p:spPr bwMode="auto">
            <a:xfrm>
              <a:off x="3537743" y="3404393"/>
              <a:ext cx="130175" cy="133350"/>
            </a:xfrm>
            <a:custGeom>
              <a:avLst/>
              <a:gdLst>
                <a:gd name="T0" fmla="*/ 52 w 84"/>
                <a:gd name="T1" fmla="*/ 0 h 83"/>
                <a:gd name="T2" fmla="*/ 20 w 84"/>
                <a:gd name="T3" fmla="*/ 6 h 83"/>
                <a:gd name="T4" fmla="*/ 0 w 84"/>
                <a:gd name="T5" fmla="*/ 54 h 83"/>
                <a:gd name="T6" fmla="*/ 56 w 84"/>
                <a:gd name="T7" fmla="*/ 83 h 83"/>
                <a:gd name="T8" fmla="*/ 84 w 84"/>
                <a:gd name="T9" fmla="*/ 59 h 83"/>
                <a:gd name="T10" fmla="*/ 52 w 84"/>
                <a:gd name="T11" fmla="*/ 0 h 83"/>
                <a:gd name="T12" fmla="*/ 52 w 84"/>
                <a:gd name="T13" fmla="*/ 0 h 83"/>
                <a:gd name="T14" fmla="*/ 52 w 84"/>
                <a:gd name="T15" fmla="*/ 0 h 83"/>
                <a:gd name="T16" fmla="*/ 0 60000 65536"/>
                <a:gd name="T17" fmla="*/ 0 60000 65536"/>
                <a:gd name="T18" fmla="*/ 0 60000 65536"/>
                <a:gd name="T19" fmla="*/ 0 60000 65536"/>
                <a:gd name="T20" fmla="*/ 0 60000 65536"/>
                <a:gd name="T21" fmla="*/ 0 60000 65536"/>
                <a:gd name="T22" fmla="*/ 0 60000 65536"/>
                <a:gd name="T23" fmla="*/ 0 60000 65536"/>
                <a:gd name="T24" fmla="*/ 0 w 84"/>
                <a:gd name="T25" fmla="*/ 0 h 83"/>
                <a:gd name="T26" fmla="*/ 84 w 84"/>
                <a:gd name="T27" fmla="*/ 83 h 8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 h="83">
                  <a:moveTo>
                    <a:pt x="52" y="0"/>
                  </a:moveTo>
                  <a:lnTo>
                    <a:pt x="20" y="6"/>
                  </a:lnTo>
                  <a:lnTo>
                    <a:pt x="0" y="54"/>
                  </a:lnTo>
                  <a:lnTo>
                    <a:pt x="56" y="83"/>
                  </a:lnTo>
                  <a:lnTo>
                    <a:pt x="84" y="59"/>
                  </a:lnTo>
                  <a:lnTo>
                    <a:pt x="52"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47" name="Freeform 46"/>
            <p:cNvSpPr>
              <a:spLocks/>
            </p:cNvSpPr>
            <p:nvPr/>
          </p:nvSpPr>
          <p:spPr bwMode="auto">
            <a:xfrm>
              <a:off x="3623468" y="3499643"/>
              <a:ext cx="73025" cy="47625"/>
            </a:xfrm>
            <a:custGeom>
              <a:avLst/>
              <a:gdLst>
                <a:gd name="T0" fmla="*/ 28 w 47"/>
                <a:gd name="T1" fmla="*/ 0 h 30"/>
                <a:gd name="T2" fmla="*/ 0 w 47"/>
                <a:gd name="T3" fmla="*/ 24 h 30"/>
                <a:gd name="T4" fmla="*/ 47 w 47"/>
                <a:gd name="T5" fmla="*/ 30 h 30"/>
                <a:gd name="T6" fmla="*/ 28 w 47"/>
                <a:gd name="T7" fmla="*/ 0 h 30"/>
                <a:gd name="T8" fmla="*/ 28 w 47"/>
                <a:gd name="T9" fmla="*/ 0 h 30"/>
                <a:gd name="T10" fmla="*/ 28 w 47"/>
                <a:gd name="T11" fmla="*/ 0 h 30"/>
                <a:gd name="T12" fmla="*/ 0 60000 65536"/>
                <a:gd name="T13" fmla="*/ 0 60000 65536"/>
                <a:gd name="T14" fmla="*/ 0 60000 65536"/>
                <a:gd name="T15" fmla="*/ 0 60000 65536"/>
                <a:gd name="T16" fmla="*/ 0 60000 65536"/>
                <a:gd name="T17" fmla="*/ 0 60000 65536"/>
                <a:gd name="T18" fmla="*/ 0 w 47"/>
                <a:gd name="T19" fmla="*/ 0 h 30"/>
                <a:gd name="T20" fmla="*/ 47 w 47"/>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47" h="30">
                  <a:moveTo>
                    <a:pt x="28" y="0"/>
                  </a:moveTo>
                  <a:lnTo>
                    <a:pt x="0" y="24"/>
                  </a:lnTo>
                  <a:lnTo>
                    <a:pt x="47" y="30"/>
                  </a:lnTo>
                  <a:lnTo>
                    <a:pt x="28"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48" name="Freeform 47"/>
            <p:cNvSpPr>
              <a:spLocks/>
            </p:cNvSpPr>
            <p:nvPr/>
          </p:nvSpPr>
          <p:spPr bwMode="auto">
            <a:xfrm>
              <a:off x="3412331" y="3490118"/>
              <a:ext cx="295275" cy="234950"/>
            </a:xfrm>
            <a:custGeom>
              <a:avLst/>
              <a:gdLst>
                <a:gd name="T0" fmla="*/ 183 w 191"/>
                <a:gd name="T1" fmla="*/ 35 h 147"/>
                <a:gd name="T2" fmla="*/ 137 w 191"/>
                <a:gd name="T3" fmla="*/ 29 h 147"/>
                <a:gd name="T4" fmla="*/ 81 w 191"/>
                <a:gd name="T5" fmla="*/ 0 h 147"/>
                <a:gd name="T6" fmla="*/ 77 w 191"/>
                <a:gd name="T7" fmla="*/ 13 h 147"/>
                <a:gd name="T8" fmla="*/ 24 w 191"/>
                <a:gd name="T9" fmla="*/ 29 h 147"/>
                <a:gd name="T10" fmla="*/ 19 w 191"/>
                <a:gd name="T11" fmla="*/ 50 h 147"/>
                <a:gd name="T12" fmla="*/ 0 w 191"/>
                <a:gd name="T13" fmla="*/ 38 h 147"/>
                <a:gd name="T14" fmla="*/ 0 w 191"/>
                <a:gd name="T15" fmla="*/ 120 h 147"/>
                <a:gd name="T16" fmla="*/ 12 w 191"/>
                <a:gd name="T17" fmla="*/ 147 h 147"/>
                <a:gd name="T18" fmla="*/ 147 w 191"/>
                <a:gd name="T19" fmla="*/ 116 h 147"/>
                <a:gd name="T20" fmla="*/ 155 w 191"/>
                <a:gd name="T21" fmla="*/ 66 h 147"/>
                <a:gd name="T22" fmla="*/ 191 w 191"/>
                <a:gd name="T23" fmla="*/ 49 h 147"/>
                <a:gd name="T24" fmla="*/ 183 w 191"/>
                <a:gd name="T25" fmla="*/ 35 h 147"/>
                <a:gd name="T26" fmla="*/ 183 w 191"/>
                <a:gd name="T27" fmla="*/ 35 h 147"/>
                <a:gd name="T28" fmla="*/ 183 w 191"/>
                <a:gd name="T29" fmla="*/ 35 h 1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1"/>
                <a:gd name="T46" fmla="*/ 0 h 147"/>
                <a:gd name="T47" fmla="*/ 191 w 191"/>
                <a:gd name="T48" fmla="*/ 147 h 1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1" h="147">
                  <a:moveTo>
                    <a:pt x="183" y="35"/>
                  </a:moveTo>
                  <a:lnTo>
                    <a:pt x="137" y="29"/>
                  </a:lnTo>
                  <a:lnTo>
                    <a:pt x="81" y="0"/>
                  </a:lnTo>
                  <a:lnTo>
                    <a:pt x="77" y="13"/>
                  </a:lnTo>
                  <a:lnTo>
                    <a:pt x="24" y="29"/>
                  </a:lnTo>
                  <a:lnTo>
                    <a:pt x="19" y="50"/>
                  </a:lnTo>
                  <a:lnTo>
                    <a:pt x="0" y="38"/>
                  </a:lnTo>
                  <a:lnTo>
                    <a:pt x="0" y="120"/>
                  </a:lnTo>
                  <a:lnTo>
                    <a:pt x="12" y="147"/>
                  </a:lnTo>
                  <a:lnTo>
                    <a:pt x="147" y="116"/>
                  </a:lnTo>
                  <a:lnTo>
                    <a:pt x="155" y="66"/>
                  </a:lnTo>
                  <a:lnTo>
                    <a:pt x="191" y="49"/>
                  </a:lnTo>
                  <a:lnTo>
                    <a:pt x="183" y="35"/>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49" name="Freeform 48"/>
            <p:cNvSpPr>
              <a:spLocks/>
            </p:cNvSpPr>
            <p:nvPr/>
          </p:nvSpPr>
          <p:spPr bwMode="auto">
            <a:xfrm>
              <a:off x="3047206" y="3386931"/>
              <a:ext cx="382587" cy="493712"/>
            </a:xfrm>
            <a:custGeom>
              <a:avLst/>
              <a:gdLst>
                <a:gd name="T0" fmla="*/ 162 w 247"/>
                <a:gd name="T1" fmla="*/ 0 h 309"/>
                <a:gd name="T2" fmla="*/ 193 w 247"/>
                <a:gd name="T3" fmla="*/ 21 h 309"/>
                <a:gd name="T4" fmla="*/ 193 w 247"/>
                <a:gd name="T5" fmla="*/ 103 h 309"/>
                <a:gd name="T6" fmla="*/ 235 w 247"/>
                <a:gd name="T7" fmla="*/ 103 h 309"/>
                <a:gd name="T8" fmla="*/ 235 w 247"/>
                <a:gd name="T9" fmla="*/ 187 h 309"/>
                <a:gd name="T10" fmla="*/ 247 w 247"/>
                <a:gd name="T11" fmla="*/ 212 h 309"/>
                <a:gd name="T12" fmla="*/ 227 w 247"/>
                <a:gd name="T13" fmla="*/ 270 h 309"/>
                <a:gd name="T14" fmla="*/ 153 w 247"/>
                <a:gd name="T15" fmla="*/ 270 h 309"/>
                <a:gd name="T16" fmla="*/ 85 w 247"/>
                <a:gd name="T17" fmla="*/ 309 h 309"/>
                <a:gd name="T18" fmla="*/ 52 w 247"/>
                <a:gd name="T19" fmla="*/ 279 h 309"/>
                <a:gd name="T20" fmla="*/ 0 w 247"/>
                <a:gd name="T21" fmla="*/ 199 h 309"/>
                <a:gd name="T22" fmla="*/ 44 w 247"/>
                <a:gd name="T23" fmla="*/ 78 h 309"/>
                <a:gd name="T24" fmla="*/ 100 w 247"/>
                <a:gd name="T25" fmla="*/ 61 h 309"/>
                <a:gd name="T26" fmla="*/ 162 w 247"/>
                <a:gd name="T27" fmla="*/ 0 h 309"/>
                <a:gd name="T28" fmla="*/ 162 w 247"/>
                <a:gd name="T29" fmla="*/ 0 h 309"/>
                <a:gd name="T30" fmla="*/ 162 w 247"/>
                <a:gd name="T31" fmla="*/ 0 h 30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7"/>
                <a:gd name="T49" fmla="*/ 0 h 309"/>
                <a:gd name="T50" fmla="*/ 247 w 247"/>
                <a:gd name="T51" fmla="*/ 309 h 30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7" h="309">
                  <a:moveTo>
                    <a:pt x="162" y="0"/>
                  </a:moveTo>
                  <a:lnTo>
                    <a:pt x="193" y="21"/>
                  </a:lnTo>
                  <a:lnTo>
                    <a:pt x="193" y="103"/>
                  </a:lnTo>
                  <a:lnTo>
                    <a:pt x="235" y="103"/>
                  </a:lnTo>
                  <a:lnTo>
                    <a:pt x="235" y="187"/>
                  </a:lnTo>
                  <a:lnTo>
                    <a:pt x="247" y="212"/>
                  </a:lnTo>
                  <a:lnTo>
                    <a:pt x="227" y="270"/>
                  </a:lnTo>
                  <a:lnTo>
                    <a:pt x="153" y="270"/>
                  </a:lnTo>
                  <a:lnTo>
                    <a:pt x="85" y="309"/>
                  </a:lnTo>
                  <a:lnTo>
                    <a:pt x="52" y="279"/>
                  </a:lnTo>
                  <a:lnTo>
                    <a:pt x="0" y="199"/>
                  </a:lnTo>
                  <a:lnTo>
                    <a:pt x="44" y="78"/>
                  </a:lnTo>
                  <a:lnTo>
                    <a:pt x="100" y="61"/>
                  </a:lnTo>
                  <a:lnTo>
                    <a:pt x="162"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50" name="Freeform 49"/>
            <p:cNvSpPr>
              <a:spLocks/>
            </p:cNvSpPr>
            <p:nvPr/>
          </p:nvSpPr>
          <p:spPr bwMode="auto">
            <a:xfrm>
              <a:off x="3639343" y="3571081"/>
              <a:ext cx="171450" cy="146050"/>
            </a:xfrm>
            <a:custGeom>
              <a:avLst/>
              <a:gdLst>
                <a:gd name="T0" fmla="*/ 42 w 111"/>
                <a:gd name="T1" fmla="*/ 0 h 92"/>
                <a:gd name="T2" fmla="*/ 8 w 111"/>
                <a:gd name="T3" fmla="*/ 16 h 92"/>
                <a:gd name="T4" fmla="*/ 0 w 111"/>
                <a:gd name="T5" fmla="*/ 66 h 92"/>
                <a:gd name="T6" fmla="*/ 32 w 111"/>
                <a:gd name="T7" fmla="*/ 92 h 92"/>
                <a:gd name="T8" fmla="*/ 111 w 111"/>
                <a:gd name="T9" fmla="*/ 48 h 92"/>
                <a:gd name="T10" fmla="*/ 68 w 111"/>
                <a:gd name="T11" fmla="*/ 27 h 92"/>
                <a:gd name="T12" fmla="*/ 23 w 111"/>
                <a:gd name="T13" fmla="*/ 42 h 92"/>
                <a:gd name="T14" fmla="*/ 42 w 111"/>
                <a:gd name="T15" fmla="*/ 0 h 92"/>
                <a:gd name="T16" fmla="*/ 42 w 111"/>
                <a:gd name="T17" fmla="*/ 0 h 92"/>
                <a:gd name="T18" fmla="*/ 42 w 111"/>
                <a:gd name="T19" fmla="*/ 0 h 9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1"/>
                <a:gd name="T31" fmla="*/ 0 h 92"/>
                <a:gd name="T32" fmla="*/ 111 w 111"/>
                <a:gd name="T33" fmla="*/ 92 h 9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1" h="92">
                  <a:moveTo>
                    <a:pt x="42" y="0"/>
                  </a:moveTo>
                  <a:lnTo>
                    <a:pt x="8" y="16"/>
                  </a:lnTo>
                  <a:lnTo>
                    <a:pt x="0" y="66"/>
                  </a:lnTo>
                  <a:lnTo>
                    <a:pt x="32" y="92"/>
                  </a:lnTo>
                  <a:lnTo>
                    <a:pt x="111" y="48"/>
                  </a:lnTo>
                  <a:lnTo>
                    <a:pt x="68" y="27"/>
                  </a:lnTo>
                  <a:lnTo>
                    <a:pt x="23" y="42"/>
                  </a:lnTo>
                  <a:lnTo>
                    <a:pt x="42"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51" name="Freeform 50"/>
            <p:cNvSpPr>
              <a:spLocks/>
            </p:cNvSpPr>
            <p:nvPr/>
          </p:nvSpPr>
          <p:spPr bwMode="auto">
            <a:xfrm>
              <a:off x="3210718" y="3818731"/>
              <a:ext cx="274638" cy="319087"/>
            </a:xfrm>
            <a:custGeom>
              <a:avLst/>
              <a:gdLst>
                <a:gd name="T0" fmla="*/ 47 w 177"/>
                <a:gd name="T1" fmla="*/ 0 h 200"/>
                <a:gd name="T2" fmla="*/ 29 w 177"/>
                <a:gd name="T3" fmla="*/ 87 h 200"/>
                <a:gd name="T4" fmla="*/ 0 w 177"/>
                <a:gd name="T5" fmla="*/ 93 h 200"/>
                <a:gd name="T6" fmla="*/ 9 w 177"/>
                <a:gd name="T7" fmla="*/ 141 h 200"/>
                <a:gd name="T8" fmla="*/ 51 w 177"/>
                <a:gd name="T9" fmla="*/ 143 h 200"/>
                <a:gd name="T10" fmla="*/ 15 w 177"/>
                <a:gd name="T11" fmla="*/ 170 h 200"/>
                <a:gd name="T12" fmla="*/ 15 w 177"/>
                <a:gd name="T13" fmla="*/ 200 h 200"/>
                <a:gd name="T14" fmla="*/ 112 w 177"/>
                <a:gd name="T15" fmla="*/ 200 h 200"/>
                <a:gd name="T16" fmla="*/ 169 w 177"/>
                <a:gd name="T17" fmla="*/ 160 h 200"/>
                <a:gd name="T18" fmla="*/ 156 w 177"/>
                <a:gd name="T19" fmla="*/ 132 h 200"/>
                <a:gd name="T20" fmla="*/ 177 w 177"/>
                <a:gd name="T21" fmla="*/ 108 h 200"/>
                <a:gd name="T22" fmla="*/ 119 w 177"/>
                <a:gd name="T23" fmla="*/ 60 h 200"/>
                <a:gd name="T24" fmla="*/ 94 w 177"/>
                <a:gd name="T25" fmla="*/ 60 h 200"/>
                <a:gd name="T26" fmla="*/ 111 w 177"/>
                <a:gd name="T27" fmla="*/ 0 h 200"/>
                <a:gd name="T28" fmla="*/ 47 w 177"/>
                <a:gd name="T29" fmla="*/ 0 h 200"/>
                <a:gd name="T30" fmla="*/ 47 w 177"/>
                <a:gd name="T31" fmla="*/ 0 h 200"/>
                <a:gd name="T32" fmla="*/ 47 w 177"/>
                <a:gd name="T33" fmla="*/ 0 h 2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7"/>
                <a:gd name="T52" fmla="*/ 0 h 200"/>
                <a:gd name="T53" fmla="*/ 177 w 177"/>
                <a:gd name="T54" fmla="*/ 200 h 2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7" h="200">
                  <a:moveTo>
                    <a:pt x="47" y="0"/>
                  </a:moveTo>
                  <a:lnTo>
                    <a:pt x="29" y="87"/>
                  </a:lnTo>
                  <a:lnTo>
                    <a:pt x="0" y="93"/>
                  </a:lnTo>
                  <a:lnTo>
                    <a:pt x="9" y="141"/>
                  </a:lnTo>
                  <a:lnTo>
                    <a:pt x="51" y="143"/>
                  </a:lnTo>
                  <a:lnTo>
                    <a:pt x="15" y="170"/>
                  </a:lnTo>
                  <a:lnTo>
                    <a:pt x="15" y="200"/>
                  </a:lnTo>
                  <a:lnTo>
                    <a:pt x="112" y="200"/>
                  </a:lnTo>
                  <a:lnTo>
                    <a:pt x="169" y="160"/>
                  </a:lnTo>
                  <a:lnTo>
                    <a:pt x="156" y="132"/>
                  </a:lnTo>
                  <a:lnTo>
                    <a:pt x="177" y="108"/>
                  </a:lnTo>
                  <a:lnTo>
                    <a:pt x="119" y="60"/>
                  </a:lnTo>
                  <a:lnTo>
                    <a:pt x="94" y="60"/>
                  </a:lnTo>
                  <a:lnTo>
                    <a:pt x="111" y="0"/>
                  </a:lnTo>
                  <a:lnTo>
                    <a:pt x="47"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52" name="Freeform 51"/>
            <p:cNvSpPr>
              <a:spLocks/>
            </p:cNvSpPr>
            <p:nvPr/>
          </p:nvSpPr>
          <p:spPr bwMode="auto">
            <a:xfrm>
              <a:off x="3210718" y="4090193"/>
              <a:ext cx="117475" cy="160338"/>
            </a:xfrm>
            <a:custGeom>
              <a:avLst/>
              <a:gdLst>
                <a:gd name="T0" fmla="*/ 15 w 76"/>
                <a:gd name="T1" fmla="*/ 0 h 100"/>
                <a:gd name="T2" fmla="*/ 0 w 76"/>
                <a:gd name="T3" fmla="*/ 10 h 100"/>
                <a:gd name="T4" fmla="*/ 22 w 76"/>
                <a:gd name="T5" fmla="*/ 87 h 100"/>
                <a:gd name="T6" fmla="*/ 45 w 76"/>
                <a:gd name="T7" fmla="*/ 100 h 100"/>
                <a:gd name="T8" fmla="*/ 50 w 76"/>
                <a:gd name="T9" fmla="*/ 79 h 100"/>
                <a:gd name="T10" fmla="*/ 76 w 76"/>
                <a:gd name="T11" fmla="*/ 79 h 100"/>
                <a:gd name="T12" fmla="*/ 76 w 76"/>
                <a:gd name="T13" fmla="*/ 57 h 100"/>
                <a:gd name="T14" fmla="*/ 61 w 76"/>
                <a:gd name="T15" fmla="*/ 47 h 100"/>
                <a:gd name="T16" fmla="*/ 15 w 76"/>
                <a:gd name="T17" fmla="*/ 30 h 100"/>
                <a:gd name="T18" fmla="*/ 15 w 76"/>
                <a:gd name="T19" fmla="*/ 0 h 100"/>
                <a:gd name="T20" fmla="*/ 15 w 76"/>
                <a:gd name="T21" fmla="*/ 0 h 100"/>
                <a:gd name="T22" fmla="*/ 15 w 76"/>
                <a:gd name="T23" fmla="*/ 0 h 1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6"/>
                <a:gd name="T37" fmla="*/ 0 h 100"/>
                <a:gd name="T38" fmla="*/ 76 w 76"/>
                <a:gd name="T39" fmla="*/ 100 h 10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6" h="100">
                  <a:moveTo>
                    <a:pt x="15" y="0"/>
                  </a:moveTo>
                  <a:lnTo>
                    <a:pt x="0" y="10"/>
                  </a:lnTo>
                  <a:lnTo>
                    <a:pt x="22" y="87"/>
                  </a:lnTo>
                  <a:lnTo>
                    <a:pt x="45" y="100"/>
                  </a:lnTo>
                  <a:lnTo>
                    <a:pt x="50" y="79"/>
                  </a:lnTo>
                  <a:lnTo>
                    <a:pt x="76" y="79"/>
                  </a:lnTo>
                  <a:lnTo>
                    <a:pt x="76" y="57"/>
                  </a:lnTo>
                  <a:lnTo>
                    <a:pt x="61" y="47"/>
                  </a:lnTo>
                  <a:lnTo>
                    <a:pt x="15" y="30"/>
                  </a:lnTo>
                  <a:lnTo>
                    <a:pt x="15"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53" name="Freeform 52"/>
            <p:cNvSpPr>
              <a:spLocks/>
            </p:cNvSpPr>
            <p:nvPr/>
          </p:nvSpPr>
          <p:spPr bwMode="auto">
            <a:xfrm>
              <a:off x="3232943" y="4137818"/>
              <a:ext cx="106363" cy="31750"/>
            </a:xfrm>
            <a:custGeom>
              <a:avLst/>
              <a:gdLst>
                <a:gd name="T0" fmla="*/ 0 w 68"/>
                <a:gd name="T1" fmla="*/ 0 h 20"/>
                <a:gd name="T2" fmla="*/ 68 w 68"/>
                <a:gd name="T3" fmla="*/ 0 h 20"/>
                <a:gd name="T4" fmla="*/ 48 w 68"/>
                <a:gd name="T5" fmla="*/ 20 h 20"/>
                <a:gd name="T6" fmla="*/ 0 w 68"/>
                <a:gd name="T7" fmla="*/ 0 h 20"/>
                <a:gd name="T8" fmla="*/ 0 w 68"/>
                <a:gd name="T9" fmla="*/ 0 h 20"/>
                <a:gd name="T10" fmla="*/ 0 w 68"/>
                <a:gd name="T11" fmla="*/ 0 h 20"/>
                <a:gd name="T12" fmla="*/ 0 60000 65536"/>
                <a:gd name="T13" fmla="*/ 0 60000 65536"/>
                <a:gd name="T14" fmla="*/ 0 60000 65536"/>
                <a:gd name="T15" fmla="*/ 0 60000 65536"/>
                <a:gd name="T16" fmla="*/ 0 60000 65536"/>
                <a:gd name="T17" fmla="*/ 0 60000 65536"/>
                <a:gd name="T18" fmla="*/ 0 w 68"/>
                <a:gd name="T19" fmla="*/ 0 h 20"/>
                <a:gd name="T20" fmla="*/ 68 w 68"/>
                <a:gd name="T21" fmla="*/ 20 h 20"/>
              </a:gdLst>
              <a:ahLst/>
              <a:cxnLst>
                <a:cxn ang="T12">
                  <a:pos x="T0" y="T1"/>
                </a:cxn>
                <a:cxn ang="T13">
                  <a:pos x="T2" y="T3"/>
                </a:cxn>
                <a:cxn ang="T14">
                  <a:pos x="T4" y="T5"/>
                </a:cxn>
                <a:cxn ang="T15">
                  <a:pos x="T6" y="T7"/>
                </a:cxn>
                <a:cxn ang="T16">
                  <a:pos x="T8" y="T9"/>
                </a:cxn>
                <a:cxn ang="T17">
                  <a:pos x="T10" y="T11"/>
                </a:cxn>
              </a:cxnLst>
              <a:rect l="T18" t="T19" r="T20" b="T21"/>
              <a:pathLst>
                <a:path w="68" h="20">
                  <a:moveTo>
                    <a:pt x="0" y="0"/>
                  </a:moveTo>
                  <a:lnTo>
                    <a:pt x="68" y="0"/>
                  </a:lnTo>
                  <a:lnTo>
                    <a:pt x="48" y="20"/>
                  </a:lnTo>
                  <a:lnTo>
                    <a:pt x="0"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54" name="Freeform 53"/>
            <p:cNvSpPr>
              <a:spLocks/>
            </p:cNvSpPr>
            <p:nvPr/>
          </p:nvSpPr>
          <p:spPr bwMode="auto">
            <a:xfrm>
              <a:off x="3307556" y="4074318"/>
              <a:ext cx="203200" cy="153988"/>
            </a:xfrm>
            <a:custGeom>
              <a:avLst/>
              <a:gdLst>
                <a:gd name="T0" fmla="*/ 0 w 131"/>
                <a:gd name="T1" fmla="*/ 60 h 97"/>
                <a:gd name="T2" fmla="*/ 13 w 131"/>
                <a:gd name="T3" fmla="*/ 67 h 97"/>
                <a:gd name="T4" fmla="*/ 82 w 131"/>
                <a:gd name="T5" fmla="*/ 97 h 97"/>
                <a:gd name="T6" fmla="*/ 123 w 131"/>
                <a:gd name="T7" fmla="*/ 83 h 97"/>
                <a:gd name="T8" fmla="*/ 110 w 131"/>
                <a:gd name="T9" fmla="*/ 63 h 97"/>
                <a:gd name="T10" fmla="*/ 131 w 131"/>
                <a:gd name="T11" fmla="*/ 46 h 97"/>
                <a:gd name="T12" fmla="*/ 106 w 131"/>
                <a:gd name="T13" fmla="*/ 0 h 97"/>
                <a:gd name="T14" fmla="*/ 49 w 131"/>
                <a:gd name="T15" fmla="*/ 40 h 97"/>
                <a:gd name="T16" fmla="*/ 20 w 131"/>
                <a:gd name="T17" fmla="*/ 40 h 97"/>
                <a:gd name="T18" fmla="*/ 0 w 131"/>
                <a:gd name="T19" fmla="*/ 60 h 97"/>
                <a:gd name="T20" fmla="*/ 0 w 131"/>
                <a:gd name="T21" fmla="*/ 60 h 97"/>
                <a:gd name="T22" fmla="*/ 0 w 131"/>
                <a:gd name="T23" fmla="*/ 60 h 9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1"/>
                <a:gd name="T37" fmla="*/ 0 h 97"/>
                <a:gd name="T38" fmla="*/ 131 w 131"/>
                <a:gd name="T39" fmla="*/ 97 h 9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1" h="97">
                  <a:moveTo>
                    <a:pt x="0" y="60"/>
                  </a:moveTo>
                  <a:lnTo>
                    <a:pt x="13" y="67"/>
                  </a:lnTo>
                  <a:lnTo>
                    <a:pt x="82" y="97"/>
                  </a:lnTo>
                  <a:lnTo>
                    <a:pt x="123" y="83"/>
                  </a:lnTo>
                  <a:lnTo>
                    <a:pt x="110" y="63"/>
                  </a:lnTo>
                  <a:lnTo>
                    <a:pt x="131" y="46"/>
                  </a:lnTo>
                  <a:lnTo>
                    <a:pt x="106" y="0"/>
                  </a:lnTo>
                  <a:lnTo>
                    <a:pt x="49" y="40"/>
                  </a:lnTo>
                  <a:lnTo>
                    <a:pt x="20" y="40"/>
                  </a:lnTo>
                  <a:lnTo>
                    <a:pt x="0" y="6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55" name="Freeform 54"/>
            <p:cNvSpPr>
              <a:spLocks/>
            </p:cNvSpPr>
            <p:nvPr/>
          </p:nvSpPr>
          <p:spPr bwMode="auto">
            <a:xfrm>
              <a:off x="3209131" y="4202906"/>
              <a:ext cx="109537" cy="77787"/>
            </a:xfrm>
            <a:custGeom>
              <a:avLst/>
              <a:gdLst>
                <a:gd name="T0" fmla="*/ 0 w 71"/>
                <a:gd name="T1" fmla="*/ 0 h 48"/>
                <a:gd name="T2" fmla="*/ 46 w 71"/>
                <a:gd name="T3" fmla="*/ 31 h 48"/>
                <a:gd name="T4" fmla="*/ 71 w 71"/>
                <a:gd name="T5" fmla="*/ 22 h 48"/>
                <a:gd name="T6" fmla="*/ 52 w 71"/>
                <a:gd name="T7" fmla="*/ 48 h 48"/>
                <a:gd name="T8" fmla="*/ 20 w 71"/>
                <a:gd name="T9" fmla="*/ 36 h 48"/>
                <a:gd name="T10" fmla="*/ 0 w 71"/>
                <a:gd name="T11" fmla="*/ 0 h 48"/>
                <a:gd name="T12" fmla="*/ 0 w 71"/>
                <a:gd name="T13" fmla="*/ 0 h 48"/>
                <a:gd name="T14" fmla="*/ 0 w 71"/>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48"/>
                <a:gd name="T26" fmla="*/ 71 w 71"/>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48">
                  <a:moveTo>
                    <a:pt x="0" y="0"/>
                  </a:moveTo>
                  <a:lnTo>
                    <a:pt x="46" y="31"/>
                  </a:lnTo>
                  <a:lnTo>
                    <a:pt x="71" y="22"/>
                  </a:lnTo>
                  <a:lnTo>
                    <a:pt x="52" y="48"/>
                  </a:lnTo>
                  <a:lnTo>
                    <a:pt x="20" y="36"/>
                  </a:lnTo>
                  <a:lnTo>
                    <a:pt x="0"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56" name="Freeform 55"/>
            <p:cNvSpPr>
              <a:spLocks/>
            </p:cNvSpPr>
            <p:nvPr/>
          </p:nvSpPr>
          <p:spPr bwMode="auto">
            <a:xfrm>
              <a:off x="3178968" y="4202906"/>
              <a:ext cx="60325" cy="66675"/>
            </a:xfrm>
            <a:custGeom>
              <a:avLst/>
              <a:gdLst>
                <a:gd name="T0" fmla="*/ 39 w 39"/>
                <a:gd name="T1" fmla="*/ 36 h 41"/>
                <a:gd name="T2" fmla="*/ 19 w 39"/>
                <a:gd name="T3" fmla="*/ 0 h 41"/>
                <a:gd name="T4" fmla="*/ 0 w 39"/>
                <a:gd name="T5" fmla="*/ 16 h 41"/>
                <a:gd name="T6" fmla="*/ 20 w 39"/>
                <a:gd name="T7" fmla="*/ 41 h 41"/>
                <a:gd name="T8" fmla="*/ 39 w 39"/>
                <a:gd name="T9" fmla="*/ 36 h 41"/>
                <a:gd name="T10" fmla="*/ 39 w 39"/>
                <a:gd name="T11" fmla="*/ 36 h 41"/>
                <a:gd name="T12" fmla="*/ 39 w 39"/>
                <a:gd name="T13" fmla="*/ 36 h 41"/>
                <a:gd name="T14" fmla="*/ 0 60000 65536"/>
                <a:gd name="T15" fmla="*/ 0 60000 65536"/>
                <a:gd name="T16" fmla="*/ 0 60000 65536"/>
                <a:gd name="T17" fmla="*/ 0 60000 65536"/>
                <a:gd name="T18" fmla="*/ 0 60000 65536"/>
                <a:gd name="T19" fmla="*/ 0 60000 65536"/>
                <a:gd name="T20" fmla="*/ 0 60000 65536"/>
                <a:gd name="T21" fmla="*/ 0 w 39"/>
                <a:gd name="T22" fmla="*/ 0 h 41"/>
                <a:gd name="T23" fmla="*/ 39 w 39"/>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41">
                  <a:moveTo>
                    <a:pt x="39" y="36"/>
                  </a:moveTo>
                  <a:lnTo>
                    <a:pt x="19" y="0"/>
                  </a:lnTo>
                  <a:lnTo>
                    <a:pt x="0" y="16"/>
                  </a:lnTo>
                  <a:lnTo>
                    <a:pt x="20" y="41"/>
                  </a:lnTo>
                  <a:lnTo>
                    <a:pt x="39" y="36"/>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57" name="Freeform 56"/>
            <p:cNvSpPr>
              <a:spLocks/>
            </p:cNvSpPr>
            <p:nvPr/>
          </p:nvSpPr>
          <p:spPr bwMode="auto">
            <a:xfrm>
              <a:off x="3452018" y="3942556"/>
              <a:ext cx="255588" cy="207962"/>
            </a:xfrm>
            <a:custGeom>
              <a:avLst/>
              <a:gdLst>
                <a:gd name="T0" fmla="*/ 21 w 165"/>
                <a:gd name="T1" fmla="*/ 31 h 130"/>
                <a:gd name="T2" fmla="*/ 54 w 165"/>
                <a:gd name="T3" fmla="*/ 0 h 130"/>
                <a:gd name="T4" fmla="*/ 133 w 165"/>
                <a:gd name="T5" fmla="*/ 0 h 130"/>
                <a:gd name="T6" fmla="*/ 133 w 165"/>
                <a:gd name="T7" fmla="*/ 50 h 130"/>
                <a:gd name="T8" fmla="*/ 165 w 165"/>
                <a:gd name="T9" fmla="*/ 85 h 130"/>
                <a:gd name="T10" fmla="*/ 158 w 165"/>
                <a:gd name="T11" fmla="*/ 108 h 130"/>
                <a:gd name="T12" fmla="*/ 128 w 165"/>
                <a:gd name="T13" fmla="*/ 108 h 130"/>
                <a:gd name="T14" fmla="*/ 55 w 165"/>
                <a:gd name="T15" fmla="*/ 130 h 130"/>
                <a:gd name="T16" fmla="*/ 38 w 165"/>
                <a:gd name="T17" fmla="*/ 130 h 130"/>
                <a:gd name="T18" fmla="*/ 13 w 165"/>
                <a:gd name="T19" fmla="*/ 82 h 130"/>
                <a:gd name="T20" fmla="*/ 0 w 165"/>
                <a:gd name="T21" fmla="*/ 51 h 130"/>
                <a:gd name="T22" fmla="*/ 21 w 165"/>
                <a:gd name="T23" fmla="*/ 31 h 130"/>
                <a:gd name="T24" fmla="*/ 21 w 165"/>
                <a:gd name="T25" fmla="*/ 31 h 130"/>
                <a:gd name="T26" fmla="*/ 21 w 165"/>
                <a:gd name="T27" fmla="*/ 31 h 1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5"/>
                <a:gd name="T43" fmla="*/ 0 h 130"/>
                <a:gd name="T44" fmla="*/ 165 w 165"/>
                <a:gd name="T45" fmla="*/ 130 h 1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5" h="130">
                  <a:moveTo>
                    <a:pt x="21" y="31"/>
                  </a:moveTo>
                  <a:lnTo>
                    <a:pt x="54" y="0"/>
                  </a:lnTo>
                  <a:lnTo>
                    <a:pt x="133" y="0"/>
                  </a:lnTo>
                  <a:lnTo>
                    <a:pt x="133" y="50"/>
                  </a:lnTo>
                  <a:lnTo>
                    <a:pt x="165" y="85"/>
                  </a:lnTo>
                  <a:lnTo>
                    <a:pt x="158" y="108"/>
                  </a:lnTo>
                  <a:lnTo>
                    <a:pt x="128" y="108"/>
                  </a:lnTo>
                  <a:lnTo>
                    <a:pt x="55" y="130"/>
                  </a:lnTo>
                  <a:lnTo>
                    <a:pt x="38" y="130"/>
                  </a:lnTo>
                  <a:lnTo>
                    <a:pt x="13" y="82"/>
                  </a:lnTo>
                  <a:lnTo>
                    <a:pt x="0" y="51"/>
                  </a:lnTo>
                  <a:lnTo>
                    <a:pt x="21" y="31"/>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58" name="Freeform 57"/>
            <p:cNvSpPr>
              <a:spLocks/>
            </p:cNvSpPr>
            <p:nvPr/>
          </p:nvSpPr>
          <p:spPr bwMode="auto">
            <a:xfrm>
              <a:off x="3537743" y="4072731"/>
              <a:ext cx="269875" cy="180975"/>
            </a:xfrm>
            <a:custGeom>
              <a:avLst/>
              <a:gdLst>
                <a:gd name="T0" fmla="*/ 0 w 175"/>
                <a:gd name="T1" fmla="*/ 49 h 113"/>
                <a:gd name="T2" fmla="*/ 58 w 175"/>
                <a:gd name="T3" fmla="*/ 113 h 113"/>
                <a:gd name="T4" fmla="*/ 124 w 175"/>
                <a:gd name="T5" fmla="*/ 111 h 113"/>
                <a:gd name="T6" fmla="*/ 175 w 175"/>
                <a:gd name="T7" fmla="*/ 13 h 113"/>
                <a:gd name="T8" fmla="*/ 138 w 175"/>
                <a:gd name="T9" fmla="*/ 0 h 113"/>
                <a:gd name="T10" fmla="*/ 108 w 175"/>
                <a:gd name="T11" fmla="*/ 5 h 113"/>
                <a:gd name="T12" fmla="*/ 103 w 175"/>
                <a:gd name="T13" fmla="*/ 27 h 113"/>
                <a:gd name="T14" fmla="*/ 73 w 175"/>
                <a:gd name="T15" fmla="*/ 27 h 113"/>
                <a:gd name="T16" fmla="*/ 0 w 175"/>
                <a:gd name="T17" fmla="*/ 49 h 113"/>
                <a:gd name="T18" fmla="*/ 0 w 175"/>
                <a:gd name="T19" fmla="*/ 49 h 113"/>
                <a:gd name="T20" fmla="*/ 0 w 175"/>
                <a:gd name="T21" fmla="*/ 49 h 1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5"/>
                <a:gd name="T34" fmla="*/ 0 h 113"/>
                <a:gd name="T35" fmla="*/ 175 w 175"/>
                <a:gd name="T36" fmla="*/ 113 h 1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5" h="113">
                  <a:moveTo>
                    <a:pt x="0" y="49"/>
                  </a:moveTo>
                  <a:lnTo>
                    <a:pt x="58" y="113"/>
                  </a:lnTo>
                  <a:lnTo>
                    <a:pt x="124" y="111"/>
                  </a:lnTo>
                  <a:lnTo>
                    <a:pt x="175" y="13"/>
                  </a:lnTo>
                  <a:lnTo>
                    <a:pt x="138" y="0"/>
                  </a:lnTo>
                  <a:lnTo>
                    <a:pt x="108" y="5"/>
                  </a:lnTo>
                  <a:lnTo>
                    <a:pt x="103" y="27"/>
                  </a:lnTo>
                  <a:lnTo>
                    <a:pt x="73" y="27"/>
                  </a:lnTo>
                  <a:lnTo>
                    <a:pt x="0" y="49"/>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59" name="Freeform 58"/>
            <p:cNvSpPr>
              <a:spLocks/>
            </p:cNvSpPr>
            <p:nvPr/>
          </p:nvSpPr>
          <p:spPr bwMode="auto">
            <a:xfrm>
              <a:off x="3358356" y="3647281"/>
              <a:ext cx="641350" cy="431800"/>
            </a:xfrm>
            <a:custGeom>
              <a:avLst/>
              <a:gdLst>
                <a:gd name="T0" fmla="*/ 292 w 413"/>
                <a:gd name="T1" fmla="*/ 0 h 270"/>
                <a:gd name="T2" fmla="*/ 213 w 413"/>
                <a:gd name="T3" fmla="*/ 44 h 270"/>
                <a:gd name="T4" fmla="*/ 181 w 413"/>
                <a:gd name="T5" fmla="*/ 18 h 270"/>
                <a:gd name="T6" fmla="*/ 46 w 413"/>
                <a:gd name="T7" fmla="*/ 49 h 270"/>
                <a:gd name="T8" fmla="*/ 27 w 413"/>
                <a:gd name="T9" fmla="*/ 107 h 270"/>
                <a:gd name="T10" fmla="*/ 16 w 413"/>
                <a:gd name="T11" fmla="*/ 107 h 270"/>
                <a:gd name="T12" fmla="*/ 0 w 413"/>
                <a:gd name="T13" fmla="*/ 167 h 270"/>
                <a:gd name="T14" fmla="*/ 22 w 413"/>
                <a:gd name="T15" fmla="*/ 167 h 270"/>
                <a:gd name="T16" fmla="*/ 81 w 413"/>
                <a:gd name="T17" fmla="*/ 215 h 270"/>
                <a:gd name="T18" fmla="*/ 114 w 413"/>
                <a:gd name="T19" fmla="*/ 185 h 270"/>
                <a:gd name="T20" fmla="*/ 193 w 413"/>
                <a:gd name="T21" fmla="*/ 185 h 270"/>
                <a:gd name="T22" fmla="*/ 193 w 413"/>
                <a:gd name="T23" fmla="*/ 235 h 270"/>
                <a:gd name="T24" fmla="*/ 225 w 413"/>
                <a:gd name="T25" fmla="*/ 270 h 270"/>
                <a:gd name="T26" fmla="*/ 250 w 413"/>
                <a:gd name="T27" fmla="*/ 266 h 270"/>
                <a:gd name="T28" fmla="*/ 250 w 413"/>
                <a:gd name="T29" fmla="*/ 251 h 270"/>
                <a:gd name="T30" fmla="*/ 285 w 413"/>
                <a:gd name="T31" fmla="*/ 245 h 270"/>
                <a:gd name="T32" fmla="*/ 275 w 413"/>
                <a:gd name="T33" fmla="*/ 169 h 270"/>
                <a:gd name="T34" fmla="*/ 413 w 413"/>
                <a:gd name="T35" fmla="*/ 108 h 270"/>
                <a:gd name="T36" fmla="*/ 332 w 413"/>
                <a:gd name="T37" fmla="*/ 23 h 270"/>
                <a:gd name="T38" fmla="*/ 292 w 413"/>
                <a:gd name="T39" fmla="*/ 0 h 270"/>
                <a:gd name="T40" fmla="*/ 292 w 413"/>
                <a:gd name="T41" fmla="*/ 0 h 270"/>
                <a:gd name="T42" fmla="*/ 292 w 413"/>
                <a:gd name="T43" fmla="*/ 0 h 27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13"/>
                <a:gd name="T67" fmla="*/ 0 h 270"/>
                <a:gd name="T68" fmla="*/ 413 w 413"/>
                <a:gd name="T69" fmla="*/ 270 h 27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13" h="270">
                  <a:moveTo>
                    <a:pt x="292" y="0"/>
                  </a:moveTo>
                  <a:lnTo>
                    <a:pt x="213" y="44"/>
                  </a:lnTo>
                  <a:lnTo>
                    <a:pt x="181" y="18"/>
                  </a:lnTo>
                  <a:lnTo>
                    <a:pt x="46" y="49"/>
                  </a:lnTo>
                  <a:lnTo>
                    <a:pt x="27" y="107"/>
                  </a:lnTo>
                  <a:lnTo>
                    <a:pt x="16" y="107"/>
                  </a:lnTo>
                  <a:lnTo>
                    <a:pt x="0" y="167"/>
                  </a:lnTo>
                  <a:lnTo>
                    <a:pt x="22" y="167"/>
                  </a:lnTo>
                  <a:lnTo>
                    <a:pt x="81" y="215"/>
                  </a:lnTo>
                  <a:lnTo>
                    <a:pt x="114" y="185"/>
                  </a:lnTo>
                  <a:lnTo>
                    <a:pt x="193" y="185"/>
                  </a:lnTo>
                  <a:lnTo>
                    <a:pt x="193" y="235"/>
                  </a:lnTo>
                  <a:lnTo>
                    <a:pt x="225" y="270"/>
                  </a:lnTo>
                  <a:lnTo>
                    <a:pt x="250" y="266"/>
                  </a:lnTo>
                  <a:lnTo>
                    <a:pt x="250" y="251"/>
                  </a:lnTo>
                  <a:lnTo>
                    <a:pt x="285" y="245"/>
                  </a:lnTo>
                  <a:lnTo>
                    <a:pt x="275" y="169"/>
                  </a:lnTo>
                  <a:lnTo>
                    <a:pt x="413" y="108"/>
                  </a:lnTo>
                  <a:lnTo>
                    <a:pt x="332" y="23"/>
                  </a:lnTo>
                  <a:lnTo>
                    <a:pt x="292"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60" name="Freeform 59"/>
            <p:cNvSpPr>
              <a:spLocks/>
            </p:cNvSpPr>
            <p:nvPr/>
          </p:nvSpPr>
          <p:spPr bwMode="auto">
            <a:xfrm>
              <a:off x="3750468" y="3820318"/>
              <a:ext cx="344488" cy="342900"/>
            </a:xfrm>
            <a:custGeom>
              <a:avLst/>
              <a:gdLst>
                <a:gd name="T0" fmla="*/ 160 w 222"/>
                <a:gd name="T1" fmla="*/ 0 h 215"/>
                <a:gd name="T2" fmla="*/ 23 w 222"/>
                <a:gd name="T3" fmla="*/ 61 h 215"/>
                <a:gd name="T4" fmla="*/ 32 w 222"/>
                <a:gd name="T5" fmla="*/ 137 h 215"/>
                <a:gd name="T6" fmla="*/ 0 w 222"/>
                <a:gd name="T7" fmla="*/ 143 h 215"/>
                <a:gd name="T8" fmla="*/ 0 w 222"/>
                <a:gd name="T9" fmla="*/ 158 h 215"/>
                <a:gd name="T10" fmla="*/ 39 w 222"/>
                <a:gd name="T11" fmla="*/ 171 h 215"/>
                <a:gd name="T12" fmla="*/ 21 w 222"/>
                <a:gd name="T13" fmla="*/ 206 h 215"/>
                <a:gd name="T14" fmla="*/ 55 w 222"/>
                <a:gd name="T15" fmla="*/ 215 h 215"/>
                <a:gd name="T16" fmla="*/ 103 w 222"/>
                <a:gd name="T17" fmla="*/ 204 h 215"/>
                <a:gd name="T18" fmla="*/ 145 w 222"/>
                <a:gd name="T19" fmla="*/ 171 h 215"/>
                <a:gd name="T20" fmla="*/ 167 w 222"/>
                <a:gd name="T21" fmla="*/ 212 h 215"/>
                <a:gd name="T22" fmla="*/ 196 w 222"/>
                <a:gd name="T23" fmla="*/ 189 h 215"/>
                <a:gd name="T24" fmla="*/ 137 w 222"/>
                <a:gd name="T25" fmla="*/ 147 h 215"/>
                <a:gd name="T26" fmla="*/ 70 w 222"/>
                <a:gd name="T27" fmla="*/ 150 h 215"/>
                <a:gd name="T28" fmla="*/ 48 w 222"/>
                <a:gd name="T29" fmla="*/ 131 h 215"/>
                <a:gd name="T30" fmla="*/ 140 w 222"/>
                <a:gd name="T31" fmla="*/ 126 h 215"/>
                <a:gd name="T32" fmla="*/ 222 w 222"/>
                <a:gd name="T33" fmla="*/ 181 h 215"/>
                <a:gd name="T34" fmla="*/ 141 w 222"/>
                <a:gd name="T35" fmla="*/ 49 h 215"/>
                <a:gd name="T36" fmla="*/ 171 w 222"/>
                <a:gd name="T37" fmla="*/ 11 h 215"/>
                <a:gd name="T38" fmla="*/ 160 w 222"/>
                <a:gd name="T39" fmla="*/ 0 h 215"/>
                <a:gd name="T40" fmla="*/ 160 w 222"/>
                <a:gd name="T41" fmla="*/ 0 h 215"/>
                <a:gd name="T42" fmla="*/ 160 w 222"/>
                <a:gd name="T43" fmla="*/ 0 h 21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2"/>
                <a:gd name="T67" fmla="*/ 0 h 215"/>
                <a:gd name="T68" fmla="*/ 222 w 222"/>
                <a:gd name="T69" fmla="*/ 215 h 21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2" h="215">
                  <a:moveTo>
                    <a:pt x="160" y="0"/>
                  </a:moveTo>
                  <a:lnTo>
                    <a:pt x="23" y="61"/>
                  </a:lnTo>
                  <a:lnTo>
                    <a:pt x="32" y="137"/>
                  </a:lnTo>
                  <a:lnTo>
                    <a:pt x="0" y="143"/>
                  </a:lnTo>
                  <a:lnTo>
                    <a:pt x="0" y="158"/>
                  </a:lnTo>
                  <a:lnTo>
                    <a:pt x="39" y="171"/>
                  </a:lnTo>
                  <a:lnTo>
                    <a:pt x="21" y="206"/>
                  </a:lnTo>
                  <a:lnTo>
                    <a:pt x="55" y="215"/>
                  </a:lnTo>
                  <a:lnTo>
                    <a:pt x="103" y="204"/>
                  </a:lnTo>
                  <a:lnTo>
                    <a:pt x="145" y="171"/>
                  </a:lnTo>
                  <a:lnTo>
                    <a:pt x="167" y="212"/>
                  </a:lnTo>
                  <a:lnTo>
                    <a:pt x="196" y="189"/>
                  </a:lnTo>
                  <a:lnTo>
                    <a:pt x="137" y="147"/>
                  </a:lnTo>
                  <a:lnTo>
                    <a:pt x="70" y="150"/>
                  </a:lnTo>
                  <a:lnTo>
                    <a:pt x="48" y="131"/>
                  </a:lnTo>
                  <a:lnTo>
                    <a:pt x="140" y="126"/>
                  </a:lnTo>
                  <a:lnTo>
                    <a:pt x="222" y="181"/>
                  </a:lnTo>
                  <a:lnTo>
                    <a:pt x="141" y="49"/>
                  </a:lnTo>
                  <a:lnTo>
                    <a:pt x="171" y="11"/>
                  </a:lnTo>
                  <a:lnTo>
                    <a:pt x="160"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61" name="Freeform 60"/>
            <p:cNvSpPr>
              <a:spLocks/>
            </p:cNvSpPr>
            <p:nvPr/>
          </p:nvSpPr>
          <p:spPr bwMode="auto">
            <a:xfrm>
              <a:off x="3212306" y="4180681"/>
              <a:ext cx="300037" cy="255587"/>
            </a:xfrm>
            <a:custGeom>
              <a:avLst/>
              <a:gdLst>
                <a:gd name="T0" fmla="*/ 0 w 194"/>
                <a:gd name="T1" fmla="*/ 55 h 160"/>
                <a:gd name="T2" fmla="*/ 16 w 194"/>
                <a:gd name="T3" fmla="*/ 76 h 160"/>
                <a:gd name="T4" fmla="*/ 31 w 194"/>
                <a:gd name="T5" fmla="*/ 141 h 160"/>
                <a:gd name="T6" fmla="*/ 65 w 194"/>
                <a:gd name="T7" fmla="*/ 160 h 160"/>
                <a:gd name="T8" fmla="*/ 118 w 194"/>
                <a:gd name="T9" fmla="*/ 148 h 160"/>
                <a:gd name="T10" fmla="*/ 118 w 194"/>
                <a:gd name="T11" fmla="*/ 125 h 160"/>
                <a:gd name="T12" fmla="*/ 194 w 194"/>
                <a:gd name="T13" fmla="*/ 68 h 160"/>
                <a:gd name="T14" fmla="*/ 185 w 194"/>
                <a:gd name="T15" fmla="*/ 16 h 160"/>
                <a:gd name="T16" fmla="*/ 142 w 194"/>
                <a:gd name="T17" fmla="*/ 30 h 160"/>
                <a:gd name="T18" fmla="*/ 75 w 194"/>
                <a:gd name="T19" fmla="*/ 0 h 160"/>
                <a:gd name="T20" fmla="*/ 75 w 194"/>
                <a:gd name="T21" fmla="*/ 22 h 160"/>
                <a:gd name="T22" fmla="*/ 49 w 194"/>
                <a:gd name="T23" fmla="*/ 22 h 160"/>
                <a:gd name="T24" fmla="*/ 45 w 194"/>
                <a:gd name="T25" fmla="*/ 46 h 160"/>
                <a:gd name="T26" fmla="*/ 69 w 194"/>
                <a:gd name="T27" fmla="*/ 36 h 160"/>
                <a:gd name="T28" fmla="*/ 50 w 194"/>
                <a:gd name="T29" fmla="*/ 62 h 160"/>
                <a:gd name="T30" fmla="*/ 18 w 194"/>
                <a:gd name="T31" fmla="*/ 50 h 160"/>
                <a:gd name="T32" fmla="*/ 0 w 194"/>
                <a:gd name="T33" fmla="*/ 55 h 160"/>
                <a:gd name="T34" fmla="*/ 0 w 194"/>
                <a:gd name="T35" fmla="*/ 55 h 160"/>
                <a:gd name="T36" fmla="*/ 0 w 194"/>
                <a:gd name="T37" fmla="*/ 55 h 16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94"/>
                <a:gd name="T58" fmla="*/ 0 h 160"/>
                <a:gd name="T59" fmla="*/ 194 w 194"/>
                <a:gd name="T60" fmla="*/ 160 h 16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94" h="160">
                  <a:moveTo>
                    <a:pt x="0" y="55"/>
                  </a:moveTo>
                  <a:lnTo>
                    <a:pt x="16" y="76"/>
                  </a:lnTo>
                  <a:lnTo>
                    <a:pt x="31" y="141"/>
                  </a:lnTo>
                  <a:lnTo>
                    <a:pt x="65" y="160"/>
                  </a:lnTo>
                  <a:lnTo>
                    <a:pt x="118" y="148"/>
                  </a:lnTo>
                  <a:lnTo>
                    <a:pt x="118" y="125"/>
                  </a:lnTo>
                  <a:lnTo>
                    <a:pt x="194" y="68"/>
                  </a:lnTo>
                  <a:lnTo>
                    <a:pt x="185" y="16"/>
                  </a:lnTo>
                  <a:lnTo>
                    <a:pt x="142" y="30"/>
                  </a:lnTo>
                  <a:lnTo>
                    <a:pt x="75" y="0"/>
                  </a:lnTo>
                  <a:lnTo>
                    <a:pt x="75" y="22"/>
                  </a:lnTo>
                  <a:lnTo>
                    <a:pt x="49" y="22"/>
                  </a:lnTo>
                  <a:lnTo>
                    <a:pt x="45" y="46"/>
                  </a:lnTo>
                  <a:lnTo>
                    <a:pt x="69" y="36"/>
                  </a:lnTo>
                  <a:lnTo>
                    <a:pt x="50" y="62"/>
                  </a:lnTo>
                  <a:lnTo>
                    <a:pt x="18" y="50"/>
                  </a:lnTo>
                  <a:lnTo>
                    <a:pt x="0" y="55"/>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62" name="Freeform 61"/>
            <p:cNvSpPr>
              <a:spLocks/>
            </p:cNvSpPr>
            <p:nvPr/>
          </p:nvSpPr>
          <p:spPr bwMode="auto">
            <a:xfrm>
              <a:off x="3479006" y="4148931"/>
              <a:ext cx="250825" cy="401637"/>
            </a:xfrm>
            <a:custGeom>
              <a:avLst/>
              <a:gdLst>
                <a:gd name="T0" fmla="*/ 19 w 162"/>
                <a:gd name="T1" fmla="*/ 0 h 251"/>
                <a:gd name="T2" fmla="*/ 0 w 162"/>
                <a:gd name="T3" fmla="*/ 14 h 251"/>
                <a:gd name="T4" fmla="*/ 13 w 162"/>
                <a:gd name="T5" fmla="*/ 36 h 251"/>
                <a:gd name="T6" fmla="*/ 22 w 162"/>
                <a:gd name="T7" fmla="*/ 89 h 251"/>
                <a:gd name="T8" fmla="*/ 44 w 162"/>
                <a:gd name="T9" fmla="*/ 98 h 251"/>
                <a:gd name="T10" fmla="*/ 62 w 162"/>
                <a:gd name="T11" fmla="*/ 147 h 251"/>
                <a:gd name="T12" fmla="*/ 47 w 162"/>
                <a:gd name="T13" fmla="*/ 180 h 251"/>
                <a:gd name="T14" fmla="*/ 91 w 162"/>
                <a:gd name="T15" fmla="*/ 201 h 251"/>
                <a:gd name="T16" fmla="*/ 79 w 162"/>
                <a:gd name="T17" fmla="*/ 238 h 251"/>
                <a:gd name="T18" fmla="*/ 96 w 162"/>
                <a:gd name="T19" fmla="*/ 251 h 251"/>
                <a:gd name="T20" fmla="*/ 111 w 162"/>
                <a:gd name="T21" fmla="*/ 212 h 251"/>
                <a:gd name="T22" fmla="*/ 157 w 162"/>
                <a:gd name="T23" fmla="*/ 184 h 251"/>
                <a:gd name="T24" fmla="*/ 142 w 162"/>
                <a:gd name="T25" fmla="*/ 171 h 251"/>
                <a:gd name="T26" fmla="*/ 136 w 162"/>
                <a:gd name="T27" fmla="*/ 134 h 251"/>
                <a:gd name="T28" fmla="*/ 162 w 162"/>
                <a:gd name="T29" fmla="*/ 63 h 251"/>
                <a:gd name="T30" fmla="*/ 95 w 162"/>
                <a:gd name="T31" fmla="*/ 66 h 251"/>
                <a:gd name="T32" fmla="*/ 38 w 162"/>
                <a:gd name="T33" fmla="*/ 0 h 251"/>
                <a:gd name="T34" fmla="*/ 21 w 162"/>
                <a:gd name="T35" fmla="*/ 0 h 251"/>
                <a:gd name="T36" fmla="*/ 19 w 162"/>
                <a:gd name="T37" fmla="*/ 0 h 251"/>
                <a:gd name="T38" fmla="*/ 19 w 162"/>
                <a:gd name="T39" fmla="*/ 0 h 251"/>
                <a:gd name="T40" fmla="*/ 19 w 162"/>
                <a:gd name="T41" fmla="*/ 0 h 25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2"/>
                <a:gd name="T64" fmla="*/ 0 h 251"/>
                <a:gd name="T65" fmla="*/ 162 w 162"/>
                <a:gd name="T66" fmla="*/ 251 h 25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2" h="251">
                  <a:moveTo>
                    <a:pt x="19" y="0"/>
                  </a:moveTo>
                  <a:lnTo>
                    <a:pt x="0" y="14"/>
                  </a:lnTo>
                  <a:lnTo>
                    <a:pt x="13" y="36"/>
                  </a:lnTo>
                  <a:lnTo>
                    <a:pt x="22" y="89"/>
                  </a:lnTo>
                  <a:lnTo>
                    <a:pt x="44" y="98"/>
                  </a:lnTo>
                  <a:lnTo>
                    <a:pt x="62" y="147"/>
                  </a:lnTo>
                  <a:lnTo>
                    <a:pt x="47" y="180"/>
                  </a:lnTo>
                  <a:lnTo>
                    <a:pt x="91" y="201"/>
                  </a:lnTo>
                  <a:lnTo>
                    <a:pt x="79" y="238"/>
                  </a:lnTo>
                  <a:lnTo>
                    <a:pt x="96" y="251"/>
                  </a:lnTo>
                  <a:lnTo>
                    <a:pt x="111" y="212"/>
                  </a:lnTo>
                  <a:lnTo>
                    <a:pt x="157" y="184"/>
                  </a:lnTo>
                  <a:lnTo>
                    <a:pt x="142" y="171"/>
                  </a:lnTo>
                  <a:lnTo>
                    <a:pt x="136" y="134"/>
                  </a:lnTo>
                  <a:lnTo>
                    <a:pt x="162" y="63"/>
                  </a:lnTo>
                  <a:lnTo>
                    <a:pt x="95" y="66"/>
                  </a:lnTo>
                  <a:lnTo>
                    <a:pt x="38" y="0"/>
                  </a:lnTo>
                  <a:lnTo>
                    <a:pt x="21" y="0"/>
                  </a:lnTo>
                  <a:lnTo>
                    <a:pt x="19"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63" name="Freeform 62"/>
            <p:cNvSpPr>
              <a:spLocks/>
            </p:cNvSpPr>
            <p:nvPr/>
          </p:nvSpPr>
          <p:spPr bwMode="auto">
            <a:xfrm>
              <a:off x="3169443" y="4417218"/>
              <a:ext cx="266700" cy="307975"/>
            </a:xfrm>
            <a:custGeom>
              <a:avLst/>
              <a:gdLst>
                <a:gd name="T0" fmla="*/ 89 w 172"/>
                <a:gd name="T1" fmla="*/ 12 h 193"/>
                <a:gd name="T2" fmla="*/ 55 w 172"/>
                <a:gd name="T3" fmla="*/ 45 h 193"/>
                <a:gd name="T4" fmla="*/ 32 w 172"/>
                <a:gd name="T5" fmla="*/ 19 h 193"/>
                <a:gd name="T6" fmla="*/ 10 w 172"/>
                <a:gd name="T7" fmla="*/ 62 h 193"/>
                <a:gd name="T8" fmla="*/ 41 w 172"/>
                <a:gd name="T9" fmla="*/ 127 h 193"/>
                <a:gd name="T10" fmla="*/ 0 w 172"/>
                <a:gd name="T11" fmla="*/ 161 h 193"/>
                <a:gd name="T12" fmla="*/ 41 w 172"/>
                <a:gd name="T13" fmla="*/ 193 h 193"/>
                <a:gd name="T14" fmla="*/ 74 w 172"/>
                <a:gd name="T15" fmla="*/ 171 h 193"/>
                <a:gd name="T16" fmla="*/ 94 w 172"/>
                <a:gd name="T17" fmla="*/ 193 h 193"/>
                <a:gd name="T18" fmla="*/ 129 w 172"/>
                <a:gd name="T19" fmla="*/ 193 h 193"/>
                <a:gd name="T20" fmla="*/ 163 w 172"/>
                <a:gd name="T21" fmla="*/ 166 h 193"/>
                <a:gd name="T22" fmla="*/ 163 w 172"/>
                <a:gd name="T23" fmla="*/ 103 h 193"/>
                <a:gd name="T24" fmla="*/ 172 w 172"/>
                <a:gd name="T25" fmla="*/ 91 h 193"/>
                <a:gd name="T26" fmla="*/ 149 w 172"/>
                <a:gd name="T27" fmla="*/ 23 h 193"/>
                <a:gd name="T28" fmla="*/ 137 w 172"/>
                <a:gd name="T29" fmla="*/ 22 h 193"/>
                <a:gd name="T30" fmla="*/ 145 w 172"/>
                <a:gd name="T31" fmla="*/ 0 h 193"/>
                <a:gd name="T32" fmla="*/ 89 w 172"/>
                <a:gd name="T33" fmla="*/ 12 h 193"/>
                <a:gd name="T34" fmla="*/ 89 w 172"/>
                <a:gd name="T35" fmla="*/ 12 h 193"/>
                <a:gd name="T36" fmla="*/ 89 w 172"/>
                <a:gd name="T37" fmla="*/ 12 h 19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2"/>
                <a:gd name="T58" fmla="*/ 0 h 193"/>
                <a:gd name="T59" fmla="*/ 172 w 172"/>
                <a:gd name="T60" fmla="*/ 193 h 19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2" h="193">
                  <a:moveTo>
                    <a:pt x="89" y="12"/>
                  </a:moveTo>
                  <a:lnTo>
                    <a:pt x="55" y="45"/>
                  </a:lnTo>
                  <a:lnTo>
                    <a:pt x="32" y="19"/>
                  </a:lnTo>
                  <a:lnTo>
                    <a:pt x="10" y="62"/>
                  </a:lnTo>
                  <a:lnTo>
                    <a:pt x="41" y="127"/>
                  </a:lnTo>
                  <a:lnTo>
                    <a:pt x="0" y="161"/>
                  </a:lnTo>
                  <a:lnTo>
                    <a:pt x="41" y="193"/>
                  </a:lnTo>
                  <a:lnTo>
                    <a:pt x="74" y="171"/>
                  </a:lnTo>
                  <a:lnTo>
                    <a:pt x="94" y="193"/>
                  </a:lnTo>
                  <a:lnTo>
                    <a:pt x="129" y="193"/>
                  </a:lnTo>
                  <a:lnTo>
                    <a:pt x="163" y="166"/>
                  </a:lnTo>
                  <a:lnTo>
                    <a:pt x="163" y="103"/>
                  </a:lnTo>
                  <a:lnTo>
                    <a:pt x="172" y="91"/>
                  </a:lnTo>
                  <a:lnTo>
                    <a:pt x="149" y="23"/>
                  </a:lnTo>
                  <a:lnTo>
                    <a:pt x="137" y="22"/>
                  </a:lnTo>
                  <a:lnTo>
                    <a:pt x="145" y="0"/>
                  </a:lnTo>
                  <a:lnTo>
                    <a:pt x="89" y="12"/>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64" name="Freeform 63"/>
            <p:cNvSpPr>
              <a:spLocks/>
            </p:cNvSpPr>
            <p:nvPr/>
          </p:nvSpPr>
          <p:spPr bwMode="auto">
            <a:xfrm>
              <a:off x="3382168" y="4291806"/>
              <a:ext cx="244475" cy="390525"/>
            </a:xfrm>
            <a:custGeom>
              <a:avLst/>
              <a:gdLst>
                <a:gd name="T0" fmla="*/ 8 w 158"/>
                <a:gd name="T1" fmla="*/ 79 h 245"/>
                <a:gd name="T2" fmla="*/ 8 w 158"/>
                <a:gd name="T3" fmla="*/ 56 h 245"/>
                <a:gd name="T4" fmla="*/ 83 w 158"/>
                <a:gd name="T5" fmla="*/ 0 h 245"/>
                <a:gd name="T6" fmla="*/ 107 w 158"/>
                <a:gd name="T7" fmla="*/ 9 h 245"/>
                <a:gd name="T8" fmla="*/ 124 w 158"/>
                <a:gd name="T9" fmla="*/ 60 h 245"/>
                <a:gd name="T10" fmla="*/ 109 w 158"/>
                <a:gd name="T11" fmla="*/ 91 h 245"/>
                <a:gd name="T12" fmla="*/ 153 w 158"/>
                <a:gd name="T13" fmla="*/ 112 h 245"/>
                <a:gd name="T14" fmla="*/ 142 w 158"/>
                <a:gd name="T15" fmla="*/ 148 h 245"/>
                <a:gd name="T16" fmla="*/ 158 w 158"/>
                <a:gd name="T17" fmla="*/ 160 h 245"/>
                <a:gd name="T18" fmla="*/ 152 w 158"/>
                <a:gd name="T19" fmla="*/ 182 h 245"/>
                <a:gd name="T20" fmla="*/ 133 w 158"/>
                <a:gd name="T21" fmla="*/ 182 h 245"/>
                <a:gd name="T22" fmla="*/ 94 w 158"/>
                <a:gd name="T23" fmla="*/ 169 h 245"/>
                <a:gd name="T24" fmla="*/ 60 w 158"/>
                <a:gd name="T25" fmla="*/ 180 h 245"/>
                <a:gd name="T26" fmla="*/ 52 w 158"/>
                <a:gd name="T27" fmla="*/ 232 h 245"/>
                <a:gd name="T28" fmla="*/ 26 w 158"/>
                <a:gd name="T29" fmla="*/ 245 h 245"/>
                <a:gd name="T30" fmla="*/ 26 w 158"/>
                <a:gd name="T31" fmla="*/ 182 h 245"/>
                <a:gd name="T32" fmla="*/ 35 w 158"/>
                <a:gd name="T33" fmla="*/ 170 h 245"/>
                <a:gd name="T34" fmla="*/ 12 w 158"/>
                <a:gd name="T35" fmla="*/ 102 h 245"/>
                <a:gd name="T36" fmla="*/ 0 w 158"/>
                <a:gd name="T37" fmla="*/ 101 h 245"/>
                <a:gd name="T38" fmla="*/ 8 w 158"/>
                <a:gd name="T39" fmla="*/ 79 h 245"/>
                <a:gd name="T40" fmla="*/ 8 w 158"/>
                <a:gd name="T41" fmla="*/ 79 h 245"/>
                <a:gd name="T42" fmla="*/ 8 w 158"/>
                <a:gd name="T43" fmla="*/ 79 h 24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8"/>
                <a:gd name="T67" fmla="*/ 0 h 245"/>
                <a:gd name="T68" fmla="*/ 158 w 158"/>
                <a:gd name="T69" fmla="*/ 245 h 24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8" h="245">
                  <a:moveTo>
                    <a:pt x="8" y="79"/>
                  </a:moveTo>
                  <a:lnTo>
                    <a:pt x="8" y="56"/>
                  </a:lnTo>
                  <a:lnTo>
                    <a:pt x="83" y="0"/>
                  </a:lnTo>
                  <a:lnTo>
                    <a:pt x="107" y="9"/>
                  </a:lnTo>
                  <a:lnTo>
                    <a:pt x="124" y="60"/>
                  </a:lnTo>
                  <a:lnTo>
                    <a:pt x="109" y="91"/>
                  </a:lnTo>
                  <a:lnTo>
                    <a:pt x="153" y="112"/>
                  </a:lnTo>
                  <a:lnTo>
                    <a:pt x="142" y="148"/>
                  </a:lnTo>
                  <a:lnTo>
                    <a:pt x="158" y="160"/>
                  </a:lnTo>
                  <a:lnTo>
                    <a:pt x="152" y="182"/>
                  </a:lnTo>
                  <a:lnTo>
                    <a:pt x="133" y="182"/>
                  </a:lnTo>
                  <a:lnTo>
                    <a:pt x="94" y="169"/>
                  </a:lnTo>
                  <a:lnTo>
                    <a:pt x="60" y="180"/>
                  </a:lnTo>
                  <a:lnTo>
                    <a:pt x="52" y="232"/>
                  </a:lnTo>
                  <a:lnTo>
                    <a:pt x="26" y="245"/>
                  </a:lnTo>
                  <a:lnTo>
                    <a:pt x="26" y="182"/>
                  </a:lnTo>
                  <a:lnTo>
                    <a:pt x="35" y="170"/>
                  </a:lnTo>
                  <a:lnTo>
                    <a:pt x="12" y="102"/>
                  </a:lnTo>
                  <a:lnTo>
                    <a:pt x="0" y="101"/>
                  </a:lnTo>
                  <a:lnTo>
                    <a:pt x="8" y="79"/>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65" name="Freeform 64"/>
            <p:cNvSpPr>
              <a:spLocks/>
            </p:cNvSpPr>
            <p:nvPr/>
          </p:nvSpPr>
          <p:spPr bwMode="auto">
            <a:xfrm>
              <a:off x="3463131" y="4561681"/>
              <a:ext cx="211137" cy="130175"/>
            </a:xfrm>
            <a:custGeom>
              <a:avLst/>
              <a:gdLst>
                <a:gd name="T0" fmla="*/ 8 w 136"/>
                <a:gd name="T1" fmla="*/ 11 h 82"/>
                <a:gd name="T2" fmla="*/ 0 w 136"/>
                <a:gd name="T3" fmla="*/ 63 h 82"/>
                <a:gd name="T4" fmla="*/ 125 w 136"/>
                <a:gd name="T5" fmla="*/ 82 h 82"/>
                <a:gd name="T6" fmla="*/ 136 w 136"/>
                <a:gd name="T7" fmla="*/ 66 h 82"/>
                <a:gd name="T8" fmla="*/ 96 w 136"/>
                <a:gd name="T9" fmla="*/ 46 h 82"/>
                <a:gd name="T10" fmla="*/ 81 w 136"/>
                <a:gd name="T11" fmla="*/ 13 h 82"/>
                <a:gd name="T12" fmla="*/ 42 w 136"/>
                <a:gd name="T13" fmla="*/ 0 h 82"/>
                <a:gd name="T14" fmla="*/ 8 w 136"/>
                <a:gd name="T15" fmla="*/ 11 h 82"/>
                <a:gd name="T16" fmla="*/ 8 w 136"/>
                <a:gd name="T17" fmla="*/ 11 h 82"/>
                <a:gd name="T18" fmla="*/ 8 w 136"/>
                <a:gd name="T19" fmla="*/ 11 h 8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6"/>
                <a:gd name="T31" fmla="*/ 0 h 82"/>
                <a:gd name="T32" fmla="*/ 136 w 136"/>
                <a:gd name="T33" fmla="*/ 82 h 8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6" h="82">
                  <a:moveTo>
                    <a:pt x="8" y="11"/>
                  </a:moveTo>
                  <a:lnTo>
                    <a:pt x="0" y="63"/>
                  </a:lnTo>
                  <a:lnTo>
                    <a:pt x="125" y="82"/>
                  </a:lnTo>
                  <a:lnTo>
                    <a:pt x="136" y="66"/>
                  </a:lnTo>
                  <a:lnTo>
                    <a:pt x="96" y="46"/>
                  </a:lnTo>
                  <a:lnTo>
                    <a:pt x="81" y="13"/>
                  </a:lnTo>
                  <a:lnTo>
                    <a:pt x="42" y="0"/>
                  </a:lnTo>
                  <a:lnTo>
                    <a:pt x="8" y="11"/>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66" name="Freeform 65"/>
            <p:cNvSpPr>
              <a:spLocks/>
            </p:cNvSpPr>
            <p:nvPr/>
          </p:nvSpPr>
          <p:spPr bwMode="auto">
            <a:xfrm>
              <a:off x="3688556" y="4147343"/>
              <a:ext cx="185737" cy="347663"/>
            </a:xfrm>
            <a:custGeom>
              <a:avLst/>
              <a:gdLst>
                <a:gd name="T0" fmla="*/ 61 w 120"/>
                <a:gd name="T1" fmla="*/ 0 h 217"/>
                <a:gd name="T2" fmla="*/ 26 w 120"/>
                <a:gd name="T3" fmla="*/ 64 h 217"/>
                <a:gd name="T4" fmla="*/ 0 w 120"/>
                <a:gd name="T5" fmla="*/ 136 h 217"/>
                <a:gd name="T6" fmla="*/ 6 w 120"/>
                <a:gd name="T7" fmla="*/ 174 h 217"/>
                <a:gd name="T8" fmla="*/ 21 w 120"/>
                <a:gd name="T9" fmla="*/ 185 h 217"/>
                <a:gd name="T10" fmla="*/ 14 w 120"/>
                <a:gd name="T11" fmla="*/ 191 h 217"/>
                <a:gd name="T12" fmla="*/ 25 w 120"/>
                <a:gd name="T13" fmla="*/ 217 h 217"/>
                <a:gd name="T14" fmla="*/ 53 w 120"/>
                <a:gd name="T15" fmla="*/ 216 h 217"/>
                <a:gd name="T16" fmla="*/ 97 w 120"/>
                <a:gd name="T17" fmla="*/ 159 h 217"/>
                <a:gd name="T18" fmla="*/ 91 w 120"/>
                <a:gd name="T19" fmla="*/ 144 h 217"/>
                <a:gd name="T20" fmla="*/ 110 w 120"/>
                <a:gd name="T21" fmla="*/ 113 h 217"/>
                <a:gd name="T22" fmla="*/ 120 w 120"/>
                <a:gd name="T23" fmla="*/ 73 h 217"/>
                <a:gd name="T24" fmla="*/ 100 w 120"/>
                <a:gd name="T25" fmla="*/ 84 h 217"/>
                <a:gd name="T26" fmla="*/ 95 w 120"/>
                <a:gd name="T27" fmla="*/ 10 h 217"/>
                <a:gd name="T28" fmla="*/ 61 w 120"/>
                <a:gd name="T29" fmla="*/ 0 h 217"/>
                <a:gd name="T30" fmla="*/ 61 w 120"/>
                <a:gd name="T31" fmla="*/ 0 h 217"/>
                <a:gd name="T32" fmla="*/ 61 w 120"/>
                <a:gd name="T33" fmla="*/ 0 h 21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0"/>
                <a:gd name="T52" fmla="*/ 0 h 217"/>
                <a:gd name="T53" fmla="*/ 120 w 120"/>
                <a:gd name="T54" fmla="*/ 217 h 21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0" h="217">
                  <a:moveTo>
                    <a:pt x="61" y="0"/>
                  </a:moveTo>
                  <a:lnTo>
                    <a:pt x="26" y="64"/>
                  </a:lnTo>
                  <a:lnTo>
                    <a:pt x="0" y="136"/>
                  </a:lnTo>
                  <a:lnTo>
                    <a:pt x="6" y="174"/>
                  </a:lnTo>
                  <a:lnTo>
                    <a:pt x="21" y="185"/>
                  </a:lnTo>
                  <a:lnTo>
                    <a:pt x="14" y="191"/>
                  </a:lnTo>
                  <a:lnTo>
                    <a:pt x="25" y="217"/>
                  </a:lnTo>
                  <a:lnTo>
                    <a:pt x="53" y="216"/>
                  </a:lnTo>
                  <a:lnTo>
                    <a:pt x="97" y="159"/>
                  </a:lnTo>
                  <a:lnTo>
                    <a:pt x="91" y="144"/>
                  </a:lnTo>
                  <a:lnTo>
                    <a:pt x="110" y="113"/>
                  </a:lnTo>
                  <a:lnTo>
                    <a:pt x="120" y="73"/>
                  </a:lnTo>
                  <a:lnTo>
                    <a:pt x="100" y="84"/>
                  </a:lnTo>
                  <a:lnTo>
                    <a:pt x="95" y="10"/>
                  </a:lnTo>
                  <a:lnTo>
                    <a:pt x="61"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67" name="Freeform 66"/>
            <p:cNvSpPr>
              <a:spLocks/>
            </p:cNvSpPr>
            <p:nvPr/>
          </p:nvSpPr>
          <p:spPr bwMode="auto">
            <a:xfrm>
              <a:off x="3829843" y="4091781"/>
              <a:ext cx="325438" cy="461962"/>
            </a:xfrm>
            <a:custGeom>
              <a:avLst/>
              <a:gdLst>
                <a:gd name="T0" fmla="*/ 145 w 210"/>
                <a:gd name="T1" fmla="*/ 19 h 289"/>
                <a:gd name="T2" fmla="*/ 116 w 210"/>
                <a:gd name="T3" fmla="*/ 42 h 289"/>
                <a:gd name="T4" fmla="*/ 94 w 210"/>
                <a:gd name="T5" fmla="*/ 0 h 289"/>
                <a:gd name="T6" fmla="*/ 53 w 210"/>
                <a:gd name="T7" fmla="*/ 34 h 289"/>
                <a:gd name="T8" fmla="*/ 6 w 210"/>
                <a:gd name="T9" fmla="*/ 45 h 289"/>
                <a:gd name="T10" fmla="*/ 11 w 210"/>
                <a:gd name="T11" fmla="*/ 118 h 289"/>
                <a:gd name="T12" fmla="*/ 29 w 210"/>
                <a:gd name="T13" fmla="*/ 107 h 289"/>
                <a:gd name="T14" fmla="*/ 19 w 210"/>
                <a:gd name="T15" fmla="*/ 147 h 289"/>
                <a:gd name="T16" fmla="*/ 0 w 210"/>
                <a:gd name="T17" fmla="*/ 179 h 289"/>
                <a:gd name="T18" fmla="*/ 6 w 210"/>
                <a:gd name="T19" fmla="*/ 195 h 289"/>
                <a:gd name="T20" fmla="*/ 29 w 210"/>
                <a:gd name="T21" fmla="*/ 251 h 289"/>
                <a:gd name="T22" fmla="*/ 69 w 210"/>
                <a:gd name="T23" fmla="*/ 267 h 289"/>
                <a:gd name="T24" fmla="*/ 64 w 210"/>
                <a:gd name="T25" fmla="*/ 289 h 289"/>
                <a:gd name="T26" fmla="*/ 153 w 210"/>
                <a:gd name="T27" fmla="*/ 279 h 289"/>
                <a:gd name="T28" fmla="*/ 164 w 210"/>
                <a:gd name="T29" fmla="*/ 257 h 289"/>
                <a:gd name="T30" fmla="*/ 210 w 210"/>
                <a:gd name="T31" fmla="*/ 233 h 289"/>
                <a:gd name="T32" fmla="*/ 156 w 210"/>
                <a:gd name="T33" fmla="*/ 204 h 289"/>
                <a:gd name="T34" fmla="*/ 208 w 210"/>
                <a:gd name="T35" fmla="*/ 137 h 289"/>
                <a:gd name="T36" fmla="*/ 167 w 210"/>
                <a:gd name="T37" fmla="*/ 39 h 289"/>
                <a:gd name="T38" fmla="*/ 145 w 210"/>
                <a:gd name="T39" fmla="*/ 19 h 289"/>
                <a:gd name="T40" fmla="*/ 145 w 210"/>
                <a:gd name="T41" fmla="*/ 19 h 289"/>
                <a:gd name="T42" fmla="*/ 145 w 210"/>
                <a:gd name="T43" fmla="*/ 19 h 28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0"/>
                <a:gd name="T67" fmla="*/ 0 h 289"/>
                <a:gd name="T68" fmla="*/ 210 w 210"/>
                <a:gd name="T69" fmla="*/ 289 h 28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0" h="289">
                  <a:moveTo>
                    <a:pt x="145" y="19"/>
                  </a:moveTo>
                  <a:lnTo>
                    <a:pt x="116" y="42"/>
                  </a:lnTo>
                  <a:lnTo>
                    <a:pt x="94" y="0"/>
                  </a:lnTo>
                  <a:lnTo>
                    <a:pt x="53" y="34"/>
                  </a:lnTo>
                  <a:lnTo>
                    <a:pt x="6" y="45"/>
                  </a:lnTo>
                  <a:lnTo>
                    <a:pt x="11" y="118"/>
                  </a:lnTo>
                  <a:lnTo>
                    <a:pt x="29" y="107"/>
                  </a:lnTo>
                  <a:lnTo>
                    <a:pt x="19" y="147"/>
                  </a:lnTo>
                  <a:lnTo>
                    <a:pt x="0" y="179"/>
                  </a:lnTo>
                  <a:lnTo>
                    <a:pt x="6" y="195"/>
                  </a:lnTo>
                  <a:lnTo>
                    <a:pt x="29" y="251"/>
                  </a:lnTo>
                  <a:lnTo>
                    <a:pt x="69" y="267"/>
                  </a:lnTo>
                  <a:lnTo>
                    <a:pt x="64" y="289"/>
                  </a:lnTo>
                  <a:lnTo>
                    <a:pt x="153" y="279"/>
                  </a:lnTo>
                  <a:lnTo>
                    <a:pt x="164" y="257"/>
                  </a:lnTo>
                  <a:lnTo>
                    <a:pt x="210" y="233"/>
                  </a:lnTo>
                  <a:lnTo>
                    <a:pt x="156" y="204"/>
                  </a:lnTo>
                  <a:lnTo>
                    <a:pt x="208" y="137"/>
                  </a:lnTo>
                  <a:lnTo>
                    <a:pt x="167" y="39"/>
                  </a:lnTo>
                  <a:lnTo>
                    <a:pt x="145" y="19"/>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68" name="Freeform 67"/>
            <p:cNvSpPr>
              <a:spLocks/>
            </p:cNvSpPr>
            <p:nvPr/>
          </p:nvSpPr>
          <p:spPr bwMode="auto">
            <a:xfrm>
              <a:off x="3626643" y="4402931"/>
              <a:ext cx="309563" cy="282575"/>
            </a:xfrm>
            <a:custGeom>
              <a:avLst/>
              <a:gdLst>
                <a:gd name="T0" fmla="*/ 137 w 200"/>
                <a:gd name="T1" fmla="*/ 0 h 177"/>
                <a:gd name="T2" fmla="*/ 93 w 200"/>
                <a:gd name="T3" fmla="*/ 56 h 177"/>
                <a:gd name="T4" fmla="*/ 65 w 200"/>
                <a:gd name="T5" fmla="*/ 57 h 177"/>
                <a:gd name="T6" fmla="*/ 54 w 200"/>
                <a:gd name="T7" fmla="*/ 31 h 177"/>
                <a:gd name="T8" fmla="*/ 15 w 200"/>
                <a:gd name="T9" fmla="*/ 53 h 177"/>
                <a:gd name="T10" fmla="*/ 0 w 200"/>
                <a:gd name="T11" fmla="*/ 92 h 177"/>
                <a:gd name="T12" fmla="*/ 76 w 200"/>
                <a:gd name="T13" fmla="*/ 177 h 177"/>
                <a:gd name="T14" fmla="*/ 169 w 200"/>
                <a:gd name="T15" fmla="*/ 131 h 177"/>
                <a:gd name="T16" fmla="*/ 196 w 200"/>
                <a:gd name="T17" fmla="*/ 93 h 177"/>
                <a:gd name="T18" fmla="*/ 200 w 200"/>
                <a:gd name="T19" fmla="*/ 72 h 177"/>
                <a:gd name="T20" fmla="*/ 160 w 200"/>
                <a:gd name="T21" fmla="*/ 56 h 177"/>
                <a:gd name="T22" fmla="*/ 137 w 200"/>
                <a:gd name="T23" fmla="*/ 0 h 177"/>
                <a:gd name="T24" fmla="*/ 137 w 200"/>
                <a:gd name="T25" fmla="*/ 0 h 177"/>
                <a:gd name="T26" fmla="*/ 137 w 200"/>
                <a:gd name="T27" fmla="*/ 0 h 17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0"/>
                <a:gd name="T43" fmla="*/ 0 h 177"/>
                <a:gd name="T44" fmla="*/ 200 w 200"/>
                <a:gd name="T45" fmla="*/ 177 h 17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0" h="177">
                  <a:moveTo>
                    <a:pt x="137" y="0"/>
                  </a:moveTo>
                  <a:lnTo>
                    <a:pt x="93" y="56"/>
                  </a:lnTo>
                  <a:lnTo>
                    <a:pt x="65" y="57"/>
                  </a:lnTo>
                  <a:lnTo>
                    <a:pt x="54" y="31"/>
                  </a:lnTo>
                  <a:lnTo>
                    <a:pt x="15" y="53"/>
                  </a:lnTo>
                  <a:lnTo>
                    <a:pt x="0" y="92"/>
                  </a:lnTo>
                  <a:lnTo>
                    <a:pt x="76" y="177"/>
                  </a:lnTo>
                  <a:lnTo>
                    <a:pt x="169" y="131"/>
                  </a:lnTo>
                  <a:lnTo>
                    <a:pt x="196" y="93"/>
                  </a:lnTo>
                  <a:lnTo>
                    <a:pt x="200" y="72"/>
                  </a:lnTo>
                  <a:lnTo>
                    <a:pt x="160" y="56"/>
                  </a:lnTo>
                  <a:lnTo>
                    <a:pt x="137"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69" name="Freeform 68"/>
            <p:cNvSpPr>
              <a:spLocks/>
            </p:cNvSpPr>
            <p:nvPr/>
          </p:nvSpPr>
          <p:spPr bwMode="auto">
            <a:xfrm>
              <a:off x="3194843" y="4661693"/>
              <a:ext cx="404813" cy="304800"/>
            </a:xfrm>
            <a:custGeom>
              <a:avLst/>
              <a:gdLst>
                <a:gd name="T0" fmla="*/ 25 w 261"/>
                <a:gd name="T1" fmla="*/ 39 h 191"/>
                <a:gd name="T2" fmla="*/ 0 w 261"/>
                <a:gd name="T3" fmla="*/ 111 h 191"/>
                <a:gd name="T4" fmla="*/ 54 w 261"/>
                <a:gd name="T5" fmla="*/ 168 h 191"/>
                <a:gd name="T6" fmla="*/ 87 w 261"/>
                <a:gd name="T7" fmla="*/ 191 h 191"/>
                <a:gd name="T8" fmla="*/ 124 w 261"/>
                <a:gd name="T9" fmla="*/ 178 h 191"/>
                <a:gd name="T10" fmla="*/ 124 w 261"/>
                <a:gd name="T11" fmla="*/ 137 h 191"/>
                <a:gd name="T12" fmla="*/ 143 w 261"/>
                <a:gd name="T13" fmla="*/ 137 h 191"/>
                <a:gd name="T14" fmla="*/ 178 w 261"/>
                <a:gd name="T15" fmla="*/ 149 h 191"/>
                <a:gd name="T16" fmla="*/ 189 w 261"/>
                <a:gd name="T17" fmla="*/ 119 h 191"/>
                <a:gd name="T18" fmla="*/ 209 w 261"/>
                <a:gd name="T19" fmla="*/ 131 h 191"/>
                <a:gd name="T20" fmla="*/ 245 w 261"/>
                <a:gd name="T21" fmla="*/ 131 h 191"/>
                <a:gd name="T22" fmla="*/ 261 w 261"/>
                <a:gd name="T23" fmla="*/ 101 h 191"/>
                <a:gd name="T24" fmla="*/ 223 w 261"/>
                <a:gd name="T25" fmla="*/ 75 h 191"/>
                <a:gd name="T26" fmla="*/ 237 w 261"/>
                <a:gd name="T27" fmla="*/ 9 h 191"/>
                <a:gd name="T28" fmla="*/ 175 w 261"/>
                <a:gd name="T29" fmla="*/ 0 h 191"/>
                <a:gd name="T30" fmla="*/ 147 w 261"/>
                <a:gd name="T31" fmla="*/ 13 h 191"/>
                <a:gd name="T32" fmla="*/ 114 w 261"/>
                <a:gd name="T33" fmla="*/ 39 h 191"/>
                <a:gd name="T34" fmla="*/ 78 w 261"/>
                <a:gd name="T35" fmla="*/ 39 h 191"/>
                <a:gd name="T36" fmla="*/ 58 w 261"/>
                <a:gd name="T37" fmla="*/ 18 h 191"/>
                <a:gd name="T38" fmla="*/ 25 w 261"/>
                <a:gd name="T39" fmla="*/ 39 h 191"/>
                <a:gd name="T40" fmla="*/ 25 w 261"/>
                <a:gd name="T41" fmla="*/ 39 h 191"/>
                <a:gd name="T42" fmla="*/ 25 w 261"/>
                <a:gd name="T43" fmla="*/ 39 h 19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61"/>
                <a:gd name="T67" fmla="*/ 0 h 191"/>
                <a:gd name="T68" fmla="*/ 261 w 261"/>
                <a:gd name="T69" fmla="*/ 191 h 19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61" h="191">
                  <a:moveTo>
                    <a:pt x="25" y="39"/>
                  </a:moveTo>
                  <a:lnTo>
                    <a:pt x="0" y="111"/>
                  </a:lnTo>
                  <a:lnTo>
                    <a:pt x="54" y="168"/>
                  </a:lnTo>
                  <a:lnTo>
                    <a:pt x="87" y="191"/>
                  </a:lnTo>
                  <a:lnTo>
                    <a:pt x="124" y="178"/>
                  </a:lnTo>
                  <a:lnTo>
                    <a:pt x="124" y="137"/>
                  </a:lnTo>
                  <a:lnTo>
                    <a:pt x="143" y="137"/>
                  </a:lnTo>
                  <a:lnTo>
                    <a:pt x="178" y="149"/>
                  </a:lnTo>
                  <a:lnTo>
                    <a:pt x="189" y="119"/>
                  </a:lnTo>
                  <a:lnTo>
                    <a:pt x="209" y="131"/>
                  </a:lnTo>
                  <a:lnTo>
                    <a:pt x="245" y="131"/>
                  </a:lnTo>
                  <a:lnTo>
                    <a:pt x="261" y="101"/>
                  </a:lnTo>
                  <a:lnTo>
                    <a:pt x="223" y="75"/>
                  </a:lnTo>
                  <a:lnTo>
                    <a:pt x="237" y="9"/>
                  </a:lnTo>
                  <a:lnTo>
                    <a:pt x="175" y="0"/>
                  </a:lnTo>
                  <a:lnTo>
                    <a:pt x="147" y="13"/>
                  </a:lnTo>
                  <a:lnTo>
                    <a:pt x="114" y="39"/>
                  </a:lnTo>
                  <a:lnTo>
                    <a:pt x="78" y="39"/>
                  </a:lnTo>
                  <a:lnTo>
                    <a:pt x="58" y="18"/>
                  </a:lnTo>
                  <a:lnTo>
                    <a:pt x="25" y="39"/>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70" name="Freeform 69"/>
            <p:cNvSpPr>
              <a:spLocks/>
            </p:cNvSpPr>
            <p:nvPr/>
          </p:nvSpPr>
          <p:spPr bwMode="auto">
            <a:xfrm>
              <a:off x="3329781" y="4823618"/>
              <a:ext cx="311150" cy="247650"/>
            </a:xfrm>
            <a:custGeom>
              <a:avLst/>
              <a:gdLst>
                <a:gd name="T0" fmla="*/ 0 w 201"/>
                <a:gd name="T1" fmla="*/ 90 h 155"/>
                <a:gd name="T2" fmla="*/ 37 w 201"/>
                <a:gd name="T3" fmla="*/ 77 h 155"/>
                <a:gd name="T4" fmla="*/ 37 w 201"/>
                <a:gd name="T5" fmla="*/ 36 h 155"/>
                <a:gd name="T6" fmla="*/ 57 w 201"/>
                <a:gd name="T7" fmla="*/ 36 h 155"/>
                <a:gd name="T8" fmla="*/ 91 w 201"/>
                <a:gd name="T9" fmla="*/ 48 h 155"/>
                <a:gd name="T10" fmla="*/ 103 w 201"/>
                <a:gd name="T11" fmla="*/ 18 h 155"/>
                <a:gd name="T12" fmla="*/ 122 w 201"/>
                <a:gd name="T13" fmla="*/ 30 h 155"/>
                <a:gd name="T14" fmla="*/ 158 w 201"/>
                <a:gd name="T15" fmla="*/ 30 h 155"/>
                <a:gd name="T16" fmla="*/ 174 w 201"/>
                <a:gd name="T17" fmla="*/ 0 h 155"/>
                <a:gd name="T18" fmla="*/ 201 w 201"/>
                <a:gd name="T19" fmla="*/ 46 h 155"/>
                <a:gd name="T20" fmla="*/ 185 w 201"/>
                <a:gd name="T21" fmla="*/ 121 h 155"/>
                <a:gd name="T22" fmla="*/ 74 w 201"/>
                <a:gd name="T23" fmla="*/ 155 h 155"/>
                <a:gd name="T24" fmla="*/ 32 w 201"/>
                <a:gd name="T25" fmla="*/ 136 h 155"/>
                <a:gd name="T26" fmla="*/ 58 w 201"/>
                <a:gd name="T27" fmla="*/ 103 h 155"/>
                <a:gd name="T28" fmla="*/ 50 w 201"/>
                <a:gd name="T29" fmla="*/ 90 h 155"/>
                <a:gd name="T30" fmla="*/ 0 w 201"/>
                <a:gd name="T31" fmla="*/ 142 h 155"/>
                <a:gd name="T32" fmla="*/ 0 w 201"/>
                <a:gd name="T33" fmla="*/ 90 h 155"/>
                <a:gd name="T34" fmla="*/ 0 w 201"/>
                <a:gd name="T35" fmla="*/ 90 h 155"/>
                <a:gd name="T36" fmla="*/ 0 w 201"/>
                <a:gd name="T37" fmla="*/ 90 h 1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1"/>
                <a:gd name="T58" fmla="*/ 0 h 155"/>
                <a:gd name="T59" fmla="*/ 201 w 201"/>
                <a:gd name="T60" fmla="*/ 155 h 15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1" h="155">
                  <a:moveTo>
                    <a:pt x="0" y="90"/>
                  </a:moveTo>
                  <a:lnTo>
                    <a:pt x="37" y="77"/>
                  </a:lnTo>
                  <a:lnTo>
                    <a:pt x="37" y="36"/>
                  </a:lnTo>
                  <a:lnTo>
                    <a:pt x="57" y="36"/>
                  </a:lnTo>
                  <a:lnTo>
                    <a:pt x="91" y="48"/>
                  </a:lnTo>
                  <a:lnTo>
                    <a:pt x="103" y="18"/>
                  </a:lnTo>
                  <a:lnTo>
                    <a:pt x="122" y="30"/>
                  </a:lnTo>
                  <a:lnTo>
                    <a:pt x="158" y="30"/>
                  </a:lnTo>
                  <a:lnTo>
                    <a:pt x="174" y="0"/>
                  </a:lnTo>
                  <a:lnTo>
                    <a:pt x="201" y="46"/>
                  </a:lnTo>
                  <a:lnTo>
                    <a:pt x="185" y="121"/>
                  </a:lnTo>
                  <a:lnTo>
                    <a:pt x="74" y="155"/>
                  </a:lnTo>
                  <a:lnTo>
                    <a:pt x="32" y="136"/>
                  </a:lnTo>
                  <a:lnTo>
                    <a:pt x="58" y="103"/>
                  </a:lnTo>
                  <a:lnTo>
                    <a:pt x="50" y="90"/>
                  </a:lnTo>
                  <a:lnTo>
                    <a:pt x="0" y="142"/>
                  </a:lnTo>
                  <a:lnTo>
                    <a:pt x="0" y="9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71" name="Freeform 70"/>
            <p:cNvSpPr>
              <a:spLocks/>
            </p:cNvSpPr>
            <p:nvPr/>
          </p:nvSpPr>
          <p:spPr bwMode="auto">
            <a:xfrm>
              <a:off x="3615531" y="4799806"/>
              <a:ext cx="234950" cy="320675"/>
            </a:xfrm>
            <a:custGeom>
              <a:avLst/>
              <a:gdLst>
                <a:gd name="T0" fmla="*/ 63 w 151"/>
                <a:gd name="T1" fmla="*/ 0 h 201"/>
                <a:gd name="T2" fmla="*/ 26 w 151"/>
                <a:gd name="T3" fmla="*/ 52 h 201"/>
                <a:gd name="T4" fmla="*/ 11 w 151"/>
                <a:gd name="T5" fmla="*/ 52 h 201"/>
                <a:gd name="T6" fmla="*/ 16 w 151"/>
                <a:gd name="T7" fmla="*/ 61 h 201"/>
                <a:gd name="T8" fmla="*/ 1 w 151"/>
                <a:gd name="T9" fmla="*/ 135 h 201"/>
                <a:gd name="T10" fmla="*/ 0 w 151"/>
                <a:gd name="T11" fmla="*/ 169 h 201"/>
                <a:gd name="T12" fmla="*/ 26 w 151"/>
                <a:gd name="T13" fmla="*/ 193 h 201"/>
                <a:gd name="T14" fmla="*/ 80 w 151"/>
                <a:gd name="T15" fmla="*/ 181 h 201"/>
                <a:gd name="T16" fmla="*/ 128 w 151"/>
                <a:gd name="T17" fmla="*/ 201 h 201"/>
                <a:gd name="T18" fmla="*/ 151 w 151"/>
                <a:gd name="T19" fmla="*/ 188 h 201"/>
                <a:gd name="T20" fmla="*/ 140 w 151"/>
                <a:gd name="T21" fmla="*/ 151 h 201"/>
                <a:gd name="T22" fmla="*/ 146 w 151"/>
                <a:gd name="T23" fmla="*/ 141 h 201"/>
                <a:gd name="T24" fmla="*/ 131 w 151"/>
                <a:gd name="T25" fmla="*/ 112 h 201"/>
                <a:gd name="T26" fmla="*/ 92 w 151"/>
                <a:gd name="T27" fmla="*/ 100 h 201"/>
                <a:gd name="T28" fmla="*/ 110 w 151"/>
                <a:gd name="T29" fmla="*/ 77 h 201"/>
                <a:gd name="T30" fmla="*/ 103 w 151"/>
                <a:gd name="T31" fmla="*/ 36 h 201"/>
                <a:gd name="T32" fmla="*/ 73 w 151"/>
                <a:gd name="T33" fmla="*/ 45 h 201"/>
                <a:gd name="T34" fmla="*/ 63 w 151"/>
                <a:gd name="T35" fmla="*/ 0 h 201"/>
                <a:gd name="T36" fmla="*/ 63 w 151"/>
                <a:gd name="T37" fmla="*/ 0 h 201"/>
                <a:gd name="T38" fmla="*/ 63 w 151"/>
                <a:gd name="T39" fmla="*/ 0 h 20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1"/>
                <a:gd name="T61" fmla="*/ 0 h 201"/>
                <a:gd name="T62" fmla="*/ 151 w 151"/>
                <a:gd name="T63" fmla="*/ 201 h 20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1" h="201">
                  <a:moveTo>
                    <a:pt x="63" y="0"/>
                  </a:moveTo>
                  <a:lnTo>
                    <a:pt x="26" y="52"/>
                  </a:lnTo>
                  <a:lnTo>
                    <a:pt x="11" y="52"/>
                  </a:lnTo>
                  <a:lnTo>
                    <a:pt x="16" y="61"/>
                  </a:lnTo>
                  <a:lnTo>
                    <a:pt x="1" y="135"/>
                  </a:lnTo>
                  <a:lnTo>
                    <a:pt x="0" y="169"/>
                  </a:lnTo>
                  <a:lnTo>
                    <a:pt x="26" y="193"/>
                  </a:lnTo>
                  <a:lnTo>
                    <a:pt x="80" y="181"/>
                  </a:lnTo>
                  <a:lnTo>
                    <a:pt x="128" y="201"/>
                  </a:lnTo>
                  <a:lnTo>
                    <a:pt x="151" y="188"/>
                  </a:lnTo>
                  <a:lnTo>
                    <a:pt x="140" y="151"/>
                  </a:lnTo>
                  <a:lnTo>
                    <a:pt x="146" y="141"/>
                  </a:lnTo>
                  <a:lnTo>
                    <a:pt x="131" y="112"/>
                  </a:lnTo>
                  <a:lnTo>
                    <a:pt x="92" y="100"/>
                  </a:lnTo>
                  <a:lnTo>
                    <a:pt x="110" y="77"/>
                  </a:lnTo>
                  <a:lnTo>
                    <a:pt x="103" y="36"/>
                  </a:lnTo>
                  <a:lnTo>
                    <a:pt x="73" y="45"/>
                  </a:lnTo>
                  <a:lnTo>
                    <a:pt x="63"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72" name="Freeform 71"/>
            <p:cNvSpPr>
              <a:spLocks/>
            </p:cNvSpPr>
            <p:nvPr/>
          </p:nvSpPr>
          <p:spPr bwMode="auto">
            <a:xfrm>
              <a:off x="3229768" y="5041106"/>
              <a:ext cx="214313" cy="180975"/>
            </a:xfrm>
            <a:custGeom>
              <a:avLst/>
              <a:gdLst>
                <a:gd name="T0" fmla="*/ 96 w 138"/>
                <a:gd name="T1" fmla="*/ 0 h 114"/>
                <a:gd name="T2" fmla="*/ 59 w 138"/>
                <a:gd name="T3" fmla="*/ 54 h 114"/>
                <a:gd name="T4" fmla="*/ 0 w 138"/>
                <a:gd name="T5" fmla="*/ 97 h 114"/>
                <a:gd name="T6" fmla="*/ 98 w 138"/>
                <a:gd name="T7" fmla="*/ 114 h 114"/>
                <a:gd name="T8" fmla="*/ 130 w 138"/>
                <a:gd name="T9" fmla="*/ 103 h 114"/>
                <a:gd name="T10" fmla="*/ 138 w 138"/>
                <a:gd name="T11" fmla="*/ 19 h 114"/>
                <a:gd name="T12" fmla="*/ 96 w 138"/>
                <a:gd name="T13" fmla="*/ 0 h 114"/>
                <a:gd name="T14" fmla="*/ 96 w 138"/>
                <a:gd name="T15" fmla="*/ 0 h 114"/>
                <a:gd name="T16" fmla="*/ 96 w 138"/>
                <a:gd name="T17" fmla="*/ 0 h 1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8"/>
                <a:gd name="T28" fmla="*/ 0 h 114"/>
                <a:gd name="T29" fmla="*/ 138 w 138"/>
                <a:gd name="T30" fmla="*/ 114 h 1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8" h="114">
                  <a:moveTo>
                    <a:pt x="96" y="0"/>
                  </a:moveTo>
                  <a:lnTo>
                    <a:pt x="59" y="54"/>
                  </a:lnTo>
                  <a:lnTo>
                    <a:pt x="0" y="97"/>
                  </a:lnTo>
                  <a:lnTo>
                    <a:pt x="98" y="114"/>
                  </a:lnTo>
                  <a:lnTo>
                    <a:pt x="130" y="103"/>
                  </a:lnTo>
                  <a:lnTo>
                    <a:pt x="138" y="19"/>
                  </a:lnTo>
                  <a:lnTo>
                    <a:pt x="96"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73" name="Freeform 72"/>
            <p:cNvSpPr>
              <a:spLocks/>
            </p:cNvSpPr>
            <p:nvPr/>
          </p:nvSpPr>
          <p:spPr bwMode="auto">
            <a:xfrm>
              <a:off x="3540918" y="4547393"/>
              <a:ext cx="203200" cy="334963"/>
            </a:xfrm>
            <a:custGeom>
              <a:avLst/>
              <a:gdLst>
                <a:gd name="T0" fmla="*/ 56 w 132"/>
                <a:gd name="T1" fmla="*/ 0 h 210"/>
                <a:gd name="T2" fmla="*/ 50 w 132"/>
                <a:gd name="T3" fmla="*/ 22 h 210"/>
                <a:gd name="T4" fmla="*/ 31 w 132"/>
                <a:gd name="T5" fmla="*/ 22 h 210"/>
                <a:gd name="T6" fmla="*/ 46 w 132"/>
                <a:gd name="T7" fmla="*/ 55 h 210"/>
                <a:gd name="T8" fmla="*/ 86 w 132"/>
                <a:gd name="T9" fmla="*/ 75 h 210"/>
                <a:gd name="T10" fmla="*/ 75 w 132"/>
                <a:gd name="T11" fmla="*/ 92 h 210"/>
                <a:gd name="T12" fmla="*/ 14 w 132"/>
                <a:gd name="T13" fmla="*/ 81 h 210"/>
                <a:gd name="T14" fmla="*/ 0 w 132"/>
                <a:gd name="T15" fmla="*/ 146 h 210"/>
                <a:gd name="T16" fmla="*/ 35 w 132"/>
                <a:gd name="T17" fmla="*/ 173 h 210"/>
                <a:gd name="T18" fmla="*/ 61 w 132"/>
                <a:gd name="T19" fmla="*/ 210 h 210"/>
                <a:gd name="T20" fmla="*/ 76 w 132"/>
                <a:gd name="T21" fmla="*/ 210 h 210"/>
                <a:gd name="T22" fmla="*/ 112 w 132"/>
                <a:gd name="T23" fmla="*/ 157 h 210"/>
                <a:gd name="T24" fmla="*/ 132 w 132"/>
                <a:gd name="T25" fmla="*/ 86 h 210"/>
                <a:gd name="T26" fmla="*/ 56 w 132"/>
                <a:gd name="T27" fmla="*/ 0 h 210"/>
                <a:gd name="T28" fmla="*/ 56 w 132"/>
                <a:gd name="T29" fmla="*/ 0 h 210"/>
                <a:gd name="T30" fmla="*/ 56 w 132"/>
                <a:gd name="T31" fmla="*/ 0 h 2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2"/>
                <a:gd name="T49" fmla="*/ 0 h 210"/>
                <a:gd name="T50" fmla="*/ 132 w 132"/>
                <a:gd name="T51" fmla="*/ 210 h 21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2" h="210">
                  <a:moveTo>
                    <a:pt x="56" y="0"/>
                  </a:moveTo>
                  <a:lnTo>
                    <a:pt x="50" y="22"/>
                  </a:lnTo>
                  <a:lnTo>
                    <a:pt x="31" y="22"/>
                  </a:lnTo>
                  <a:lnTo>
                    <a:pt x="46" y="55"/>
                  </a:lnTo>
                  <a:lnTo>
                    <a:pt x="86" y="75"/>
                  </a:lnTo>
                  <a:lnTo>
                    <a:pt x="75" y="92"/>
                  </a:lnTo>
                  <a:lnTo>
                    <a:pt x="14" y="81"/>
                  </a:lnTo>
                  <a:lnTo>
                    <a:pt x="0" y="146"/>
                  </a:lnTo>
                  <a:lnTo>
                    <a:pt x="35" y="173"/>
                  </a:lnTo>
                  <a:lnTo>
                    <a:pt x="61" y="210"/>
                  </a:lnTo>
                  <a:lnTo>
                    <a:pt x="76" y="210"/>
                  </a:lnTo>
                  <a:lnTo>
                    <a:pt x="112" y="157"/>
                  </a:lnTo>
                  <a:lnTo>
                    <a:pt x="132" y="86"/>
                  </a:lnTo>
                  <a:lnTo>
                    <a:pt x="56"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74" name="Freeform 73"/>
            <p:cNvSpPr>
              <a:spLocks/>
            </p:cNvSpPr>
            <p:nvPr/>
          </p:nvSpPr>
          <p:spPr bwMode="auto">
            <a:xfrm>
              <a:off x="3713956" y="4553743"/>
              <a:ext cx="263525" cy="314325"/>
            </a:xfrm>
            <a:custGeom>
              <a:avLst/>
              <a:gdLst>
                <a:gd name="T0" fmla="*/ 20 w 170"/>
                <a:gd name="T1" fmla="*/ 82 h 197"/>
                <a:gd name="T2" fmla="*/ 3 w 170"/>
                <a:gd name="T3" fmla="*/ 150 h 197"/>
                <a:gd name="T4" fmla="*/ 0 w 170"/>
                <a:gd name="T5" fmla="*/ 156 h 197"/>
                <a:gd name="T6" fmla="*/ 10 w 170"/>
                <a:gd name="T7" fmla="*/ 197 h 197"/>
                <a:gd name="T8" fmla="*/ 40 w 170"/>
                <a:gd name="T9" fmla="*/ 190 h 197"/>
                <a:gd name="T10" fmla="*/ 55 w 170"/>
                <a:gd name="T11" fmla="*/ 169 h 197"/>
                <a:gd name="T12" fmla="*/ 70 w 170"/>
                <a:gd name="T13" fmla="*/ 181 h 197"/>
                <a:gd name="T14" fmla="*/ 170 w 170"/>
                <a:gd name="T15" fmla="*/ 65 h 197"/>
                <a:gd name="T16" fmla="*/ 139 w 170"/>
                <a:gd name="T17" fmla="*/ 0 h 197"/>
                <a:gd name="T18" fmla="*/ 114 w 170"/>
                <a:gd name="T19" fmla="*/ 36 h 197"/>
                <a:gd name="T20" fmla="*/ 20 w 170"/>
                <a:gd name="T21" fmla="*/ 82 h 197"/>
                <a:gd name="T22" fmla="*/ 20 w 170"/>
                <a:gd name="T23" fmla="*/ 82 h 197"/>
                <a:gd name="T24" fmla="*/ 20 w 170"/>
                <a:gd name="T25" fmla="*/ 82 h 19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0"/>
                <a:gd name="T40" fmla="*/ 0 h 197"/>
                <a:gd name="T41" fmla="*/ 170 w 170"/>
                <a:gd name="T42" fmla="*/ 197 h 19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0" h="197">
                  <a:moveTo>
                    <a:pt x="20" y="82"/>
                  </a:moveTo>
                  <a:lnTo>
                    <a:pt x="3" y="150"/>
                  </a:lnTo>
                  <a:lnTo>
                    <a:pt x="0" y="156"/>
                  </a:lnTo>
                  <a:lnTo>
                    <a:pt x="10" y="197"/>
                  </a:lnTo>
                  <a:lnTo>
                    <a:pt x="40" y="190"/>
                  </a:lnTo>
                  <a:lnTo>
                    <a:pt x="55" y="169"/>
                  </a:lnTo>
                  <a:lnTo>
                    <a:pt x="70" y="181"/>
                  </a:lnTo>
                  <a:lnTo>
                    <a:pt x="170" y="65"/>
                  </a:lnTo>
                  <a:lnTo>
                    <a:pt x="139" y="0"/>
                  </a:lnTo>
                  <a:lnTo>
                    <a:pt x="114" y="36"/>
                  </a:lnTo>
                  <a:lnTo>
                    <a:pt x="20" y="82"/>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75" name="Freeform 74"/>
            <p:cNvSpPr>
              <a:spLocks/>
            </p:cNvSpPr>
            <p:nvPr/>
          </p:nvSpPr>
          <p:spPr bwMode="auto">
            <a:xfrm>
              <a:off x="3929856" y="4487068"/>
              <a:ext cx="280987" cy="347663"/>
            </a:xfrm>
            <a:custGeom>
              <a:avLst/>
              <a:gdLst>
                <a:gd name="T0" fmla="*/ 0 w 182"/>
                <a:gd name="T1" fmla="*/ 42 h 218"/>
                <a:gd name="T2" fmla="*/ 31 w 182"/>
                <a:gd name="T3" fmla="*/ 107 h 218"/>
                <a:gd name="T4" fmla="*/ 3 w 182"/>
                <a:gd name="T5" fmla="*/ 139 h 218"/>
                <a:gd name="T6" fmla="*/ 29 w 182"/>
                <a:gd name="T7" fmla="*/ 139 h 218"/>
                <a:gd name="T8" fmla="*/ 29 w 182"/>
                <a:gd name="T9" fmla="*/ 164 h 218"/>
                <a:gd name="T10" fmla="*/ 73 w 182"/>
                <a:gd name="T11" fmla="*/ 197 h 218"/>
                <a:gd name="T12" fmla="*/ 67 w 182"/>
                <a:gd name="T13" fmla="*/ 213 h 218"/>
                <a:gd name="T14" fmla="*/ 96 w 182"/>
                <a:gd name="T15" fmla="*/ 218 h 218"/>
                <a:gd name="T16" fmla="*/ 143 w 182"/>
                <a:gd name="T17" fmla="*/ 198 h 218"/>
                <a:gd name="T18" fmla="*/ 170 w 182"/>
                <a:gd name="T19" fmla="*/ 203 h 218"/>
                <a:gd name="T20" fmla="*/ 182 w 182"/>
                <a:gd name="T21" fmla="*/ 169 h 218"/>
                <a:gd name="T22" fmla="*/ 171 w 182"/>
                <a:gd name="T23" fmla="*/ 89 h 218"/>
                <a:gd name="T24" fmla="*/ 133 w 182"/>
                <a:gd name="T25" fmla="*/ 73 h 218"/>
                <a:gd name="T26" fmla="*/ 122 w 182"/>
                <a:gd name="T27" fmla="*/ 0 h 218"/>
                <a:gd name="T28" fmla="*/ 100 w 182"/>
                <a:gd name="T29" fmla="*/ 10 h 218"/>
                <a:gd name="T30" fmla="*/ 89 w 182"/>
                <a:gd name="T31" fmla="*/ 31 h 218"/>
                <a:gd name="T32" fmla="*/ 0 w 182"/>
                <a:gd name="T33" fmla="*/ 42 h 218"/>
                <a:gd name="T34" fmla="*/ 0 w 182"/>
                <a:gd name="T35" fmla="*/ 42 h 218"/>
                <a:gd name="T36" fmla="*/ 0 w 182"/>
                <a:gd name="T37" fmla="*/ 42 h 2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2"/>
                <a:gd name="T58" fmla="*/ 0 h 218"/>
                <a:gd name="T59" fmla="*/ 182 w 182"/>
                <a:gd name="T60" fmla="*/ 218 h 21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2" h="218">
                  <a:moveTo>
                    <a:pt x="0" y="42"/>
                  </a:moveTo>
                  <a:lnTo>
                    <a:pt x="31" y="107"/>
                  </a:lnTo>
                  <a:lnTo>
                    <a:pt x="3" y="139"/>
                  </a:lnTo>
                  <a:lnTo>
                    <a:pt x="29" y="139"/>
                  </a:lnTo>
                  <a:lnTo>
                    <a:pt x="29" y="164"/>
                  </a:lnTo>
                  <a:lnTo>
                    <a:pt x="73" y="197"/>
                  </a:lnTo>
                  <a:lnTo>
                    <a:pt x="67" y="213"/>
                  </a:lnTo>
                  <a:lnTo>
                    <a:pt x="96" y="218"/>
                  </a:lnTo>
                  <a:lnTo>
                    <a:pt x="143" y="198"/>
                  </a:lnTo>
                  <a:lnTo>
                    <a:pt x="170" y="203"/>
                  </a:lnTo>
                  <a:lnTo>
                    <a:pt x="182" y="169"/>
                  </a:lnTo>
                  <a:lnTo>
                    <a:pt x="171" y="89"/>
                  </a:lnTo>
                  <a:lnTo>
                    <a:pt x="133" y="73"/>
                  </a:lnTo>
                  <a:lnTo>
                    <a:pt x="122" y="0"/>
                  </a:lnTo>
                  <a:lnTo>
                    <a:pt x="100" y="10"/>
                  </a:lnTo>
                  <a:lnTo>
                    <a:pt x="89" y="31"/>
                  </a:lnTo>
                  <a:lnTo>
                    <a:pt x="0" y="42"/>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76" name="Freeform 75"/>
            <p:cNvSpPr>
              <a:spLocks/>
            </p:cNvSpPr>
            <p:nvPr/>
          </p:nvSpPr>
          <p:spPr bwMode="auto">
            <a:xfrm>
              <a:off x="3888581" y="4707731"/>
              <a:ext cx="153987" cy="233362"/>
            </a:xfrm>
            <a:custGeom>
              <a:avLst/>
              <a:gdLst>
                <a:gd name="T0" fmla="*/ 29 w 99"/>
                <a:gd name="T1" fmla="*/ 0 h 146"/>
                <a:gd name="T2" fmla="*/ 0 w 99"/>
                <a:gd name="T3" fmla="*/ 35 h 146"/>
                <a:gd name="T4" fmla="*/ 17 w 99"/>
                <a:gd name="T5" fmla="*/ 58 h 146"/>
                <a:gd name="T6" fmla="*/ 9 w 99"/>
                <a:gd name="T7" fmla="*/ 89 h 146"/>
                <a:gd name="T8" fmla="*/ 29 w 99"/>
                <a:gd name="T9" fmla="*/ 146 h 146"/>
                <a:gd name="T10" fmla="*/ 68 w 99"/>
                <a:gd name="T11" fmla="*/ 139 h 146"/>
                <a:gd name="T12" fmla="*/ 61 w 99"/>
                <a:gd name="T13" fmla="*/ 112 h 146"/>
                <a:gd name="T14" fmla="*/ 84 w 99"/>
                <a:gd name="T15" fmla="*/ 97 h 146"/>
                <a:gd name="T16" fmla="*/ 99 w 99"/>
                <a:gd name="T17" fmla="*/ 58 h 146"/>
                <a:gd name="T18" fmla="*/ 55 w 99"/>
                <a:gd name="T19" fmla="*/ 25 h 146"/>
                <a:gd name="T20" fmla="*/ 55 w 99"/>
                <a:gd name="T21" fmla="*/ 0 h 146"/>
                <a:gd name="T22" fmla="*/ 29 w 99"/>
                <a:gd name="T23" fmla="*/ 0 h 146"/>
                <a:gd name="T24" fmla="*/ 29 w 99"/>
                <a:gd name="T25" fmla="*/ 0 h 146"/>
                <a:gd name="T26" fmla="*/ 29 w 99"/>
                <a:gd name="T27" fmla="*/ 0 h 14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9"/>
                <a:gd name="T43" fmla="*/ 0 h 146"/>
                <a:gd name="T44" fmla="*/ 99 w 99"/>
                <a:gd name="T45" fmla="*/ 146 h 14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9" h="146">
                  <a:moveTo>
                    <a:pt x="29" y="0"/>
                  </a:moveTo>
                  <a:lnTo>
                    <a:pt x="0" y="35"/>
                  </a:lnTo>
                  <a:lnTo>
                    <a:pt x="17" y="58"/>
                  </a:lnTo>
                  <a:lnTo>
                    <a:pt x="9" y="89"/>
                  </a:lnTo>
                  <a:lnTo>
                    <a:pt x="29" y="146"/>
                  </a:lnTo>
                  <a:lnTo>
                    <a:pt x="68" y="139"/>
                  </a:lnTo>
                  <a:lnTo>
                    <a:pt x="61" y="112"/>
                  </a:lnTo>
                  <a:lnTo>
                    <a:pt x="84" y="97"/>
                  </a:lnTo>
                  <a:lnTo>
                    <a:pt x="99" y="58"/>
                  </a:lnTo>
                  <a:lnTo>
                    <a:pt x="55" y="25"/>
                  </a:lnTo>
                  <a:lnTo>
                    <a:pt x="55" y="0"/>
                  </a:lnTo>
                  <a:lnTo>
                    <a:pt x="29"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77" name="Freeform 76"/>
            <p:cNvSpPr>
              <a:spLocks/>
            </p:cNvSpPr>
            <p:nvPr/>
          </p:nvSpPr>
          <p:spPr bwMode="auto">
            <a:xfrm>
              <a:off x="3874293" y="4825206"/>
              <a:ext cx="271463" cy="206375"/>
            </a:xfrm>
            <a:custGeom>
              <a:avLst/>
              <a:gdLst>
                <a:gd name="T0" fmla="*/ 145 w 175"/>
                <a:gd name="T1" fmla="*/ 0 h 129"/>
                <a:gd name="T2" fmla="*/ 175 w 175"/>
                <a:gd name="T3" fmla="*/ 52 h 129"/>
                <a:gd name="T4" fmla="*/ 139 w 175"/>
                <a:gd name="T5" fmla="*/ 72 h 129"/>
                <a:gd name="T6" fmla="*/ 139 w 175"/>
                <a:gd name="T7" fmla="*/ 107 h 129"/>
                <a:gd name="T8" fmla="*/ 64 w 175"/>
                <a:gd name="T9" fmla="*/ 129 h 129"/>
                <a:gd name="T10" fmla="*/ 44 w 175"/>
                <a:gd name="T11" fmla="*/ 123 h 129"/>
                <a:gd name="T12" fmla="*/ 35 w 175"/>
                <a:gd name="T13" fmla="*/ 96 h 129"/>
                <a:gd name="T14" fmla="*/ 19 w 175"/>
                <a:gd name="T15" fmla="*/ 96 h 129"/>
                <a:gd name="T16" fmla="*/ 0 w 175"/>
                <a:gd name="T17" fmla="*/ 70 h 129"/>
                <a:gd name="T18" fmla="*/ 38 w 175"/>
                <a:gd name="T19" fmla="*/ 73 h 129"/>
                <a:gd name="T20" fmla="*/ 77 w 175"/>
                <a:gd name="T21" fmla="*/ 66 h 129"/>
                <a:gd name="T22" fmla="*/ 70 w 175"/>
                <a:gd name="T23" fmla="*/ 39 h 129"/>
                <a:gd name="T24" fmla="*/ 93 w 175"/>
                <a:gd name="T25" fmla="*/ 24 h 129"/>
                <a:gd name="T26" fmla="*/ 102 w 175"/>
                <a:gd name="T27" fmla="*/ 1 h 129"/>
                <a:gd name="T28" fmla="*/ 131 w 175"/>
                <a:gd name="T29" fmla="*/ 6 h 129"/>
                <a:gd name="T30" fmla="*/ 145 w 175"/>
                <a:gd name="T31" fmla="*/ 0 h 129"/>
                <a:gd name="T32" fmla="*/ 145 w 175"/>
                <a:gd name="T33" fmla="*/ 0 h 129"/>
                <a:gd name="T34" fmla="*/ 145 w 175"/>
                <a:gd name="T35" fmla="*/ 0 h 1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5"/>
                <a:gd name="T55" fmla="*/ 0 h 129"/>
                <a:gd name="T56" fmla="*/ 175 w 175"/>
                <a:gd name="T57" fmla="*/ 129 h 1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5" h="129">
                  <a:moveTo>
                    <a:pt x="145" y="0"/>
                  </a:moveTo>
                  <a:lnTo>
                    <a:pt x="175" y="52"/>
                  </a:lnTo>
                  <a:lnTo>
                    <a:pt x="139" y="72"/>
                  </a:lnTo>
                  <a:lnTo>
                    <a:pt x="139" y="107"/>
                  </a:lnTo>
                  <a:lnTo>
                    <a:pt x="64" y="129"/>
                  </a:lnTo>
                  <a:lnTo>
                    <a:pt x="44" y="123"/>
                  </a:lnTo>
                  <a:lnTo>
                    <a:pt x="35" y="96"/>
                  </a:lnTo>
                  <a:lnTo>
                    <a:pt x="19" y="96"/>
                  </a:lnTo>
                  <a:lnTo>
                    <a:pt x="0" y="70"/>
                  </a:lnTo>
                  <a:lnTo>
                    <a:pt x="38" y="73"/>
                  </a:lnTo>
                  <a:lnTo>
                    <a:pt x="77" y="66"/>
                  </a:lnTo>
                  <a:lnTo>
                    <a:pt x="70" y="39"/>
                  </a:lnTo>
                  <a:lnTo>
                    <a:pt x="93" y="24"/>
                  </a:lnTo>
                  <a:lnTo>
                    <a:pt x="102" y="1"/>
                  </a:lnTo>
                  <a:lnTo>
                    <a:pt x="131" y="6"/>
                  </a:lnTo>
                  <a:lnTo>
                    <a:pt x="145"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78" name="Freeform 77"/>
            <p:cNvSpPr>
              <a:spLocks/>
            </p:cNvSpPr>
            <p:nvPr/>
          </p:nvSpPr>
          <p:spPr bwMode="auto">
            <a:xfrm>
              <a:off x="4118768" y="4371181"/>
              <a:ext cx="425450" cy="282575"/>
            </a:xfrm>
            <a:custGeom>
              <a:avLst/>
              <a:gdLst>
                <a:gd name="T0" fmla="*/ 33 w 275"/>
                <a:gd name="T1" fmla="*/ 62 h 177"/>
                <a:gd name="T2" fmla="*/ 26 w 275"/>
                <a:gd name="T3" fmla="*/ 58 h 177"/>
                <a:gd name="T4" fmla="*/ 0 w 275"/>
                <a:gd name="T5" fmla="*/ 71 h 177"/>
                <a:gd name="T6" fmla="*/ 11 w 275"/>
                <a:gd name="T7" fmla="*/ 145 h 177"/>
                <a:gd name="T8" fmla="*/ 49 w 275"/>
                <a:gd name="T9" fmla="*/ 161 h 177"/>
                <a:gd name="T10" fmla="*/ 98 w 275"/>
                <a:gd name="T11" fmla="*/ 158 h 177"/>
                <a:gd name="T12" fmla="*/ 90 w 275"/>
                <a:gd name="T13" fmla="*/ 177 h 177"/>
                <a:gd name="T14" fmla="*/ 181 w 275"/>
                <a:gd name="T15" fmla="*/ 177 h 177"/>
                <a:gd name="T16" fmla="*/ 246 w 275"/>
                <a:gd name="T17" fmla="*/ 145 h 177"/>
                <a:gd name="T18" fmla="*/ 275 w 275"/>
                <a:gd name="T19" fmla="*/ 83 h 177"/>
                <a:gd name="T20" fmla="*/ 201 w 275"/>
                <a:gd name="T21" fmla="*/ 8 h 177"/>
                <a:gd name="T22" fmla="*/ 55 w 275"/>
                <a:gd name="T23" fmla="*/ 0 h 177"/>
                <a:gd name="T24" fmla="*/ 33 w 275"/>
                <a:gd name="T25" fmla="*/ 62 h 177"/>
                <a:gd name="T26" fmla="*/ 33 w 275"/>
                <a:gd name="T27" fmla="*/ 62 h 177"/>
                <a:gd name="T28" fmla="*/ 33 w 275"/>
                <a:gd name="T29" fmla="*/ 62 h 17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5"/>
                <a:gd name="T46" fmla="*/ 0 h 177"/>
                <a:gd name="T47" fmla="*/ 275 w 275"/>
                <a:gd name="T48" fmla="*/ 177 h 17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5" h="177">
                  <a:moveTo>
                    <a:pt x="33" y="62"/>
                  </a:moveTo>
                  <a:lnTo>
                    <a:pt x="26" y="58"/>
                  </a:lnTo>
                  <a:lnTo>
                    <a:pt x="0" y="71"/>
                  </a:lnTo>
                  <a:lnTo>
                    <a:pt x="11" y="145"/>
                  </a:lnTo>
                  <a:lnTo>
                    <a:pt x="49" y="161"/>
                  </a:lnTo>
                  <a:lnTo>
                    <a:pt x="98" y="158"/>
                  </a:lnTo>
                  <a:lnTo>
                    <a:pt x="90" y="177"/>
                  </a:lnTo>
                  <a:lnTo>
                    <a:pt x="181" y="177"/>
                  </a:lnTo>
                  <a:lnTo>
                    <a:pt x="246" y="145"/>
                  </a:lnTo>
                  <a:lnTo>
                    <a:pt x="275" y="83"/>
                  </a:lnTo>
                  <a:lnTo>
                    <a:pt x="201" y="8"/>
                  </a:lnTo>
                  <a:lnTo>
                    <a:pt x="55" y="0"/>
                  </a:lnTo>
                  <a:lnTo>
                    <a:pt x="33" y="62"/>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79" name="Freeform 78"/>
            <p:cNvSpPr>
              <a:spLocks/>
            </p:cNvSpPr>
            <p:nvPr/>
          </p:nvSpPr>
          <p:spPr bwMode="auto">
            <a:xfrm>
              <a:off x="4188618" y="4504531"/>
              <a:ext cx="357188" cy="350837"/>
            </a:xfrm>
            <a:custGeom>
              <a:avLst/>
              <a:gdLst>
                <a:gd name="T0" fmla="*/ 230 w 231"/>
                <a:gd name="T1" fmla="*/ 0 h 220"/>
                <a:gd name="T2" fmla="*/ 201 w 231"/>
                <a:gd name="T3" fmla="*/ 62 h 220"/>
                <a:gd name="T4" fmla="*/ 136 w 231"/>
                <a:gd name="T5" fmla="*/ 94 h 220"/>
                <a:gd name="T6" fmla="*/ 45 w 231"/>
                <a:gd name="T7" fmla="*/ 94 h 220"/>
                <a:gd name="T8" fmla="*/ 53 w 231"/>
                <a:gd name="T9" fmla="*/ 75 h 220"/>
                <a:gd name="T10" fmla="*/ 4 w 231"/>
                <a:gd name="T11" fmla="*/ 78 h 220"/>
                <a:gd name="T12" fmla="*/ 15 w 231"/>
                <a:gd name="T13" fmla="*/ 159 h 220"/>
                <a:gd name="T14" fmla="*/ 0 w 231"/>
                <a:gd name="T15" fmla="*/ 192 h 220"/>
                <a:gd name="T16" fmla="*/ 55 w 231"/>
                <a:gd name="T17" fmla="*/ 184 h 220"/>
                <a:gd name="T18" fmla="*/ 115 w 231"/>
                <a:gd name="T19" fmla="*/ 212 h 220"/>
                <a:gd name="T20" fmla="*/ 152 w 231"/>
                <a:gd name="T21" fmla="*/ 210 h 220"/>
                <a:gd name="T22" fmla="*/ 178 w 231"/>
                <a:gd name="T23" fmla="*/ 220 h 220"/>
                <a:gd name="T24" fmla="*/ 211 w 231"/>
                <a:gd name="T25" fmla="*/ 174 h 220"/>
                <a:gd name="T26" fmla="*/ 231 w 231"/>
                <a:gd name="T27" fmla="*/ 58 h 220"/>
                <a:gd name="T28" fmla="*/ 230 w 231"/>
                <a:gd name="T29" fmla="*/ 0 h 220"/>
                <a:gd name="T30" fmla="*/ 230 w 231"/>
                <a:gd name="T31" fmla="*/ 0 h 220"/>
                <a:gd name="T32" fmla="*/ 230 w 231"/>
                <a:gd name="T33" fmla="*/ 0 h 2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31"/>
                <a:gd name="T52" fmla="*/ 0 h 220"/>
                <a:gd name="T53" fmla="*/ 231 w 231"/>
                <a:gd name="T54" fmla="*/ 220 h 2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31" h="220">
                  <a:moveTo>
                    <a:pt x="230" y="0"/>
                  </a:moveTo>
                  <a:lnTo>
                    <a:pt x="201" y="62"/>
                  </a:lnTo>
                  <a:lnTo>
                    <a:pt x="136" y="94"/>
                  </a:lnTo>
                  <a:lnTo>
                    <a:pt x="45" y="94"/>
                  </a:lnTo>
                  <a:lnTo>
                    <a:pt x="53" y="75"/>
                  </a:lnTo>
                  <a:lnTo>
                    <a:pt x="4" y="78"/>
                  </a:lnTo>
                  <a:lnTo>
                    <a:pt x="15" y="159"/>
                  </a:lnTo>
                  <a:lnTo>
                    <a:pt x="0" y="192"/>
                  </a:lnTo>
                  <a:lnTo>
                    <a:pt x="55" y="184"/>
                  </a:lnTo>
                  <a:lnTo>
                    <a:pt x="115" y="212"/>
                  </a:lnTo>
                  <a:lnTo>
                    <a:pt x="152" y="210"/>
                  </a:lnTo>
                  <a:lnTo>
                    <a:pt x="178" y="220"/>
                  </a:lnTo>
                  <a:lnTo>
                    <a:pt x="211" y="174"/>
                  </a:lnTo>
                  <a:lnTo>
                    <a:pt x="231" y="58"/>
                  </a:lnTo>
                  <a:lnTo>
                    <a:pt x="230"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80" name="Freeform 79"/>
            <p:cNvSpPr>
              <a:spLocks/>
            </p:cNvSpPr>
            <p:nvPr/>
          </p:nvSpPr>
          <p:spPr bwMode="auto">
            <a:xfrm>
              <a:off x="3758406" y="4761706"/>
              <a:ext cx="193675" cy="344487"/>
            </a:xfrm>
            <a:custGeom>
              <a:avLst/>
              <a:gdLst>
                <a:gd name="T0" fmla="*/ 85 w 125"/>
                <a:gd name="T1" fmla="*/ 0 h 216"/>
                <a:gd name="T2" fmla="*/ 41 w 125"/>
                <a:gd name="T3" fmla="*/ 51 h 216"/>
                <a:gd name="T4" fmla="*/ 26 w 125"/>
                <a:gd name="T5" fmla="*/ 39 h 216"/>
                <a:gd name="T6" fmla="*/ 11 w 125"/>
                <a:gd name="T7" fmla="*/ 60 h 216"/>
                <a:gd name="T8" fmla="*/ 18 w 125"/>
                <a:gd name="T9" fmla="*/ 100 h 216"/>
                <a:gd name="T10" fmla="*/ 0 w 125"/>
                <a:gd name="T11" fmla="*/ 124 h 216"/>
                <a:gd name="T12" fmla="*/ 41 w 125"/>
                <a:gd name="T13" fmla="*/ 136 h 216"/>
                <a:gd name="T14" fmla="*/ 54 w 125"/>
                <a:gd name="T15" fmla="*/ 165 h 216"/>
                <a:gd name="T16" fmla="*/ 47 w 125"/>
                <a:gd name="T17" fmla="*/ 175 h 216"/>
                <a:gd name="T18" fmla="*/ 54 w 125"/>
                <a:gd name="T19" fmla="*/ 199 h 216"/>
                <a:gd name="T20" fmla="*/ 85 w 125"/>
                <a:gd name="T21" fmla="*/ 194 h 216"/>
                <a:gd name="T22" fmla="*/ 125 w 125"/>
                <a:gd name="T23" fmla="*/ 216 h 216"/>
                <a:gd name="T24" fmla="*/ 117 w 125"/>
                <a:gd name="T25" fmla="*/ 160 h 216"/>
                <a:gd name="T26" fmla="*/ 110 w 125"/>
                <a:gd name="T27" fmla="*/ 136 h 216"/>
                <a:gd name="T28" fmla="*/ 94 w 125"/>
                <a:gd name="T29" fmla="*/ 136 h 216"/>
                <a:gd name="T30" fmla="*/ 75 w 125"/>
                <a:gd name="T31" fmla="*/ 110 h 216"/>
                <a:gd name="T32" fmla="*/ 113 w 125"/>
                <a:gd name="T33" fmla="*/ 113 h 216"/>
                <a:gd name="T34" fmla="*/ 93 w 125"/>
                <a:gd name="T35" fmla="*/ 56 h 216"/>
                <a:gd name="T36" fmla="*/ 101 w 125"/>
                <a:gd name="T37" fmla="*/ 26 h 216"/>
                <a:gd name="T38" fmla="*/ 85 w 125"/>
                <a:gd name="T39" fmla="*/ 0 h 216"/>
                <a:gd name="T40" fmla="*/ 85 w 125"/>
                <a:gd name="T41" fmla="*/ 0 h 216"/>
                <a:gd name="T42" fmla="*/ 85 w 125"/>
                <a:gd name="T43" fmla="*/ 0 h 21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5"/>
                <a:gd name="T67" fmla="*/ 0 h 216"/>
                <a:gd name="T68" fmla="*/ 125 w 125"/>
                <a:gd name="T69" fmla="*/ 216 h 21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5" h="216">
                  <a:moveTo>
                    <a:pt x="85" y="0"/>
                  </a:moveTo>
                  <a:lnTo>
                    <a:pt x="41" y="51"/>
                  </a:lnTo>
                  <a:lnTo>
                    <a:pt x="26" y="39"/>
                  </a:lnTo>
                  <a:lnTo>
                    <a:pt x="11" y="60"/>
                  </a:lnTo>
                  <a:lnTo>
                    <a:pt x="18" y="100"/>
                  </a:lnTo>
                  <a:lnTo>
                    <a:pt x="0" y="124"/>
                  </a:lnTo>
                  <a:lnTo>
                    <a:pt x="41" y="136"/>
                  </a:lnTo>
                  <a:lnTo>
                    <a:pt x="54" y="165"/>
                  </a:lnTo>
                  <a:lnTo>
                    <a:pt x="47" y="175"/>
                  </a:lnTo>
                  <a:lnTo>
                    <a:pt x="54" y="199"/>
                  </a:lnTo>
                  <a:lnTo>
                    <a:pt x="85" y="194"/>
                  </a:lnTo>
                  <a:lnTo>
                    <a:pt x="125" y="216"/>
                  </a:lnTo>
                  <a:lnTo>
                    <a:pt x="117" y="160"/>
                  </a:lnTo>
                  <a:lnTo>
                    <a:pt x="110" y="136"/>
                  </a:lnTo>
                  <a:lnTo>
                    <a:pt x="94" y="136"/>
                  </a:lnTo>
                  <a:lnTo>
                    <a:pt x="75" y="110"/>
                  </a:lnTo>
                  <a:lnTo>
                    <a:pt x="113" y="113"/>
                  </a:lnTo>
                  <a:lnTo>
                    <a:pt x="93" y="56"/>
                  </a:lnTo>
                  <a:lnTo>
                    <a:pt x="101" y="26"/>
                  </a:lnTo>
                  <a:lnTo>
                    <a:pt x="85"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81" name="Freeform 80"/>
            <p:cNvSpPr>
              <a:spLocks/>
            </p:cNvSpPr>
            <p:nvPr/>
          </p:nvSpPr>
          <p:spPr bwMode="auto">
            <a:xfrm>
              <a:off x="3939381" y="4996656"/>
              <a:ext cx="263525" cy="206375"/>
            </a:xfrm>
            <a:custGeom>
              <a:avLst/>
              <a:gdLst>
                <a:gd name="T0" fmla="*/ 8 w 170"/>
                <a:gd name="T1" fmla="*/ 70 h 130"/>
                <a:gd name="T2" fmla="*/ 51 w 170"/>
                <a:gd name="T3" fmla="*/ 110 h 130"/>
                <a:gd name="T4" fmla="*/ 79 w 170"/>
                <a:gd name="T5" fmla="*/ 106 h 130"/>
                <a:gd name="T6" fmla="*/ 80 w 170"/>
                <a:gd name="T7" fmla="*/ 130 h 130"/>
                <a:gd name="T8" fmla="*/ 102 w 170"/>
                <a:gd name="T9" fmla="*/ 118 h 130"/>
                <a:gd name="T10" fmla="*/ 120 w 170"/>
                <a:gd name="T11" fmla="*/ 122 h 130"/>
                <a:gd name="T12" fmla="*/ 132 w 170"/>
                <a:gd name="T13" fmla="*/ 118 h 130"/>
                <a:gd name="T14" fmla="*/ 151 w 170"/>
                <a:gd name="T15" fmla="*/ 67 h 130"/>
                <a:gd name="T16" fmla="*/ 170 w 170"/>
                <a:gd name="T17" fmla="*/ 33 h 130"/>
                <a:gd name="T18" fmla="*/ 151 w 170"/>
                <a:gd name="T19" fmla="*/ 13 h 130"/>
                <a:gd name="T20" fmla="*/ 117 w 170"/>
                <a:gd name="T21" fmla="*/ 23 h 130"/>
                <a:gd name="T22" fmla="*/ 97 w 170"/>
                <a:gd name="T23" fmla="*/ 0 h 130"/>
                <a:gd name="T24" fmla="*/ 22 w 170"/>
                <a:gd name="T25" fmla="*/ 22 h 130"/>
                <a:gd name="T26" fmla="*/ 0 w 170"/>
                <a:gd name="T27" fmla="*/ 16 h 130"/>
                <a:gd name="T28" fmla="*/ 8 w 170"/>
                <a:gd name="T29" fmla="*/ 70 h 130"/>
                <a:gd name="T30" fmla="*/ 8 w 170"/>
                <a:gd name="T31" fmla="*/ 70 h 130"/>
                <a:gd name="T32" fmla="*/ 8 w 170"/>
                <a:gd name="T33" fmla="*/ 70 h 1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0"/>
                <a:gd name="T52" fmla="*/ 0 h 130"/>
                <a:gd name="T53" fmla="*/ 170 w 170"/>
                <a:gd name="T54" fmla="*/ 130 h 1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0" h="130">
                  <a:moveTo>
                    <a:pt x="8" y="70"/>
                  </a:moveTo>
                  <a:lnTo>
                    <a:pt x="51" y="110"/>
                  </a:lnTo>
                  <a:lnTo>
                    <a:pt x="79" y="106"/>
                  </a:lnTo>
                  <a:lnTo>
                    <a:pt x="80" y="130"/>
                  </a:lnTo>
                  <a:lnTo>
                    <a:pt x="102" y="118"/>
                  </a:lnTo>
                  <a:lnTo>
                    <a:pt x="120" y="122"/>
                  </a:lnTo>
                  <a:lnTo>
                    <a:pt x="132" y="118"/>
                  </a:lnTo>
                  <a:lnTo>
                    <a:pt x="151" y="67"/>
                  </a:lnTo>
                  <a:lnTo>
                    <a:pt x="170" y="33"/>
                  </a:lnTo>
                  <a:lnTo>
                    <a:pt x="151" y="13"/>
                  </a:lnTo>
                  <a:lnTo>
                    <a:pt x="117" y="23"/>
                  </a:lnTo>
                  <a:lnTo>
                    <a:pt x="97" y="0"/>
                  </a:lnTo>
                  <a:lnTo>
                    <a:pt x="22" y="22"/>
                  </a:lnTo>
                  <a:lnTo>
                    <a:pt x="0" y="16"/>
                  </a:lnTo>
                  <a:lnTo>
                    <a:pt x="8" y="7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82" name="Freeform 81"/>
            <p:cNvSpPr>
              <a:spLocks/>
            </p:cNvSpPr>
            <p:nvPr/>
          </p:nvSpPr>
          <p:spPr bwMode="auto">
            <a:xfrm>
              <a:off x="4121943" y="5085556"/>
              <a:ext cx="396875" cy="277812"/>
            </a:xfrm>
            <a:custGeom>
              <a:avLst/>
              <a:gdLst>
                <a:gd name="T0" fmla="*/ 257 w 257"/>
                <a:gd name="T1" fmla="*/ 18 h 174"/>
                <a:gd name="T2" fmla="*/ 145 w 257"/>
                <a:gd name="T3" fmla="*/ 32 h 174"/>
                <a:gd name="T4" fmla="*/ 84 w 257"/>
                <a:gd name="T5" fmla="*/ 18 h 174"/>
                <a:gd name="T6" fmla="*/ 114 w 257"/>
                <a:gd name="T7" fmla="*/ 2 h 174"/>
                <a:gd name="T8" fmla="*/ 57 w 257"/>
                <a:gd name="T9" fmla="*/ 0 h 174"/>
                <a:gd name="T10" fmla="*/ 34 w 257"/>
                <a:gd name="T11" fmla="*/ 9 h 174"/>
                <a:gd name="T12" fmla="*/ 15 w 257"/>
                <a:gd name="T13" fmla="*/ 62 h 174"/>
                <a:gd name="T14" fmla="*/ 0 w 257"/>
                <a:gd name="T15" fmla="*/ 68 h 174"/>
                <a:gd name="T16" fmla="*/ 4 w 257"/>
                <a:gd name="T17" fmla="*/ 104 h 174"/>
                <a:gd name="T18" fmla="*/ 48 w 257"/>
                <a:gd name="T19" fmla="*/ 111 h 174"/>
                <a:gd name="T20" fmla="*/ 101 w 257"/>
                <a:gd name="T21" fmla="*/ 142 h 174"/>
                <a:gd name="T22" fmla="*/ 139 w 257"/>
                <a:gd name="T23" fmla="*/ 141 h 174"/>
                <a:gd name="T24" fmla="*/ 139 w 257"/>
                <a:gd name="T25" fmla="*/ 161 h 174"/>
                <a:gd name="T26" fmla="*/ 176 w 257"/>
                <a:gd name="T27" fmla="*/ 174 h 174"/>
                <a:gd name="T28" fmla="*/ 176 w 257"/>
                <a:gd name="T29" fmla="*/ 126 h 174"/>
                <a:gd name="T30" fmla="*/ 242 w 257"/>
                <a:gd name="T31" fmla="*/ 89 h 174"/>
                <a:gd name="T32" fmla="*/ 257 w 257"/>
                <a:gd name="T33" fmla="*/ 18 h 174"/>
                <a:gd name="T34" fmla="*/ 257 w 257"/>
                <a:gd name="T35" fmla="*/ 18 h 174"/>
                <a:gd name="T36" fmla="*/ 257 w 257"/>
                <a:gd name="T37" fmla="*/ 18 h 17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7"/>
                <a:gd name="T58" fmla="*/ 0 h 174"/>
                <a:gd name="T59" fmla="*/ 257 w 257"/>
                <a:gd name="T60" fmla="*/ 174 h 17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7" h="174">
                  <a:moveTo>
                    <a:pt x="257" y="18"/>
                  </a:moveTo>
                  <a:lnTo>
                    <a:pt x="145" y="32"/>
                  </a:lnTo>
                  <a:lnTo>
                    <a:pt x="84" y="18"/>
                  </a:lnTo>
                  <a:lnTo>
                    <a:pt x="114" y="2"/>
                  </a:lnTo>
                  <a:lnTo>
                    <a:pt x="57" y="0"/>
                  </a:lnTo>
                  <a:lnTo>
                    <a:pt x="34" y="9"/>
                  </a:lnTo>
                  <a:lnTo>
                    <a:pt x="15" y="62"/>
                  </a:lnTo>
                  <a:lnTo>
                    <a:pt x="0" y="68"/>
                  </a:lnTo>
                  <a:lnTo>
                    <a:pt x="4" y="104"/>
                  </a:lnTo>
                  <a:lnTo>
                    <a:pt x="48" y="111"/>
                  </a:lnTo>
                  <a:lnTo>
                    <a:pt x="101" y="142"/>
                  </a:lnTo>
                  <a:lnTo>
                    <a:pt x="139" y="141"/>
                  </a:lnTo>
                  <a:lnTo>
                    <a:pt x="139" y="161"/>
                  </a:lnTo>
                  <a:lnTo>
                    <a:pt x="176" y="174"/>
                  </a:lnTo>
                  <a:lnTo>
                    <a:pt x="176" y="126"/>
                  </a:lnTo>
                  <a:lnTo>
                    <a:pt x="242" y="89"/>
                  </a:lnTo>
                  <a:lnTo>
                    <a:pt x="257" y="18"/>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83" name="Freeform 82"/>
            <p:cNvSpPr>
              <a:spLocks/>
            </p:cNvSpPr>
            <p:nvPr/>
          </p:nvSpPr>
          <p:spPr bwMode="auto">
            <a:xfrm>
              <a:off x="4039393" y="5252243"/>
              <a:ext cx="296863" cy="200025"/>
            </a:xfrm>
            <a:custGeom>
              <a:avLst/>
              <a:gdLst>
                <a:gd name="T0" fmla="*/ 57 w 192"/>
                <a:gd name="T1" fmla="*/ 0 h 126"/>
                <a:gd name="T2" fmla="*/ 34 w 192"/>
                <a:gd name="T3" fmla="*/ 16 h 126"/>
                <a:gd name="T4" fmla="*/ 31 w 192"/>
                <a:gd name="T5" fmla="*/ 59 h 126"/>
                <a:gd name="T6" fmla="*/ 5 w 192"/>
                <a:gd name="T7" fmla="*/ 89 h 126"/>
                <a:gd name="T8" fmla="*/ 0 w 192"/>
                <a:gd name="T9" fmla="*/ 124 h 126"/>
                <a:gd name="T10" fmla="*/ 90 w 192"/>
                <a:gd name="T11" fmla="*/ 126 h 126"/>
                <a:gd name="T12" fmla="*/ 190 w 192"/>
                <a:gd name="T13" fmla="*/ 55 h 126"/>
                <a:gd name="T14" fmla="*/ 192 w 192"/>
                <a:gd name="T15" fmla="*/ 57 h 126"/>
                <a:gd name="T16" fmla="*/ 192 w 192"/>
                <a:gd name="T17" fmla="*/ 37 h 126"/>
                <a:gd name="T18" fmla="*/ 154 w 192"/>
                <a:gd name="T19" fmla="*/ 38 h 126"/>
                <a:gd name="T20" fmla="*/ 104 w 192"/>
                <a:gd name="T21" fmla="*/ 7 h 126"/>
                <a:gd name="T22" fmla="*/ 57 w 192"/>
                <a:gd name="T23" fmla="*/ 0 h 126"/>
                <a:gd name="T24" fmla="*/ 57 w 192"/>
                <a:gd name="T25" fmla="*/ 0 h 126"/>
                <a:gd name="T26" fmla="*/ 57 w 192"/>
                <a:gd name="T27" fmla="*/ 0 h 1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2"/>
                <a:gd name="T43" fmla="*/ 0 h 126"/>
                <a:gd name="T44" fmla="*/ 192 w 192"/>
                <a:gd name="T45" fmla="*/ 126 h 1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2" h="126">
                  <a:moveTo>
                    <a:pt x="57" y="0"/>
                  </a:moveTo>
                  <a:lnTo>
                    <a:pt x="34" y="16"/>
                  </a:lnTo>
                  <a:lnTo>
                    <a:pt x="31" y="59"/>
                  </a:lnTo>
                  <a:lnTo>
                    <a:pt x="5" y="89"/>
                  </a:lnTo>
                  <a:lnTo>
                    <a:pt x="0" y="124"/>
                  </a:lnTo>
                  <a:lnTo>
                    <a:pt x="90" y="126"/>
                  </a:lnTo>
                  <a:lnTo>
                    <a:pt x="190" y="55"/>
                  </a:lnTo>
                  <a:lnTo>
                    <a:pt x="192" y="57"/>
                  </a:lnTo>
                  <a:lnTo>
                    <a:pt x="192" y="37"/>
                  </a:lnTo>
                  <a:lnTo>
                    <a:pt x="154" y="38"/>
                  </a:lnTo>
                  <a:lnTo>
                    <a:pt x="104" y="7"/>
                  </a:lnTo>
                  <a:lnTo>
                    <a:pt x="57"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84" name="Freeform 83"/>
            <p:cNvSpPr>
              <a:spLocks/>
            </p:cNvSpPr>
            <p:nvPr/>
          </p:nvSpPr>
          <p:spPr bwMode="auto">
            <a:xfrm>
              <a:off x="3871118" y="5106193"/>
              <a:ext cx="257175" cy="190500"/>
            </a:xfrm>
            <a:custGeom>
              <a:avLst/>
              <a:gdLst>
                <a:gd name="T0" fmla="*/ 52 w 165"/>
                <a:gd name="T1" fmla="*/ 0 h 119"/>
                <a:gd name="T2" fmla="*/ 10 w 165"/>
                <a:gd name="T3" fmla="*/ 44 h 119"/>
                <a:gd name="T4" fmla="*/ 12 w 165"/>
                <a:gd name="T5" fmla="*/ 68 h 119"/>
                <a:gd name="T6" fmla="*/ 1 w 165"/>
                <a:gd name="T7" fmla="*/ 68 h 119"/>
                <a:gd name="T8" fmla="*/ 0 w 165"/>
                <a:gd name="T9" fmla="*/ 92 h 119"/>
                <a:gd name="T10" fmla="*/ 15 w 165"/>
                <a:gd name="T11" fmla="*/ 119 h 119"/>
                <a:gd name="T12" fmla="*/ 61 w 165"/>
                <a:gd name="T13" fmla="*/ 119 h 119"/>
                <a:gd name="T14" fmla="*/ 103 w 165"/>
                <a:gd name="T15" fmla="*/ 84 h 119"/>
                <a:gd name="T16" fmla="*/ 144 w 165"/>
                <a:gd name="T17" fmla="*/ 104 h 119"/>
                <a:gd name="T18" fmla="*/ 165 w 165"/>
                <a:gd name="T19" fmla="*/ 92 h 119"/>
                <a:gd name="T20" fmla="*/ 161 w 165"/>
                <a:gd name="T21" fmla="*/ 53 h 119"/>
                <a:gd name="T22" fmla="*/ 146 w 165"/>
                <a:gd name="T23" fmla="*/ 49 h 119"/>
                <a:gd name="T24" fmla="*/ 124 w 165"/>
                <a:gd name="T25" fmla="*/ 60 h 119"/>
                <a:gd name="T26" fmla="*/ 124 w 165"/>
                <a:gd name="T27" fmla="*/ 37 h 119"/>
                <a:gd name="T28" fmla="*/ 95 w 165"/>
                <a:gd name="T29" fmla="*/ 41 h 119"/>
                <a:gd name="T30" fmla="*/ 52 w 165"/>
                <a:gd name="T31" fmla="*/ 0 h 119"/>
                <a:gd name="T32" fmla="*/ 52 w 165"/>
                <a:gd name="T33" fmla="*/ 0 h 119"/>
                <a:gd name="T34" fmla="*/ 52 w 165"/>
                <a:gd name="T35" fmla="*/ 0 h 1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5"/>
                <a:gd name="T55" fmla="*/ 0 h 119"/>
                <a:gd name="T56" fmla="*/ 165 w 165"/>
                <a:gd name="T57" fmla="*/ 119 h 1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5" h="119">
                  <a:moveTo>
                    <a:pt x="52" y="0"/>
                  </a:moveTo>
                  <a:lnTo>
                    <a:pt x="10" y="44"/>
                  </a:lnTo>
                  <a:lnTo>
                    <a:pt x="12" y="68"/>
                  </a:lnTo>
                  <a:lnTo>
                    <a:pt x="1" y="68"/>
                  </a:lnTo>
                  <a:lnTo>
                    <a:pt x="0" y="92"/>
                  </a:lnTo>
                  <a:lnTo>
                    <a:pt x="15" y="119"/>
                  </a:lnTo>
                  <a:lnTo>
                    <a:pt x="61" y="119"/>
                  </a:lnTo>
                  <a:lnTo>
                    <a:pt x="103" y="84"/>
                  </a:lnTo>
                  <a:lnTo>
                    <a:pt x="144" y="104"/>
                  </a:lnTo>
                  <a:lnTo>
                    <a:pt x="165" y="92"/>
                  </a:lnTo>
                  <a:lnTo>
                    <a:pt x="161" y="53"/>
                  </a:lnTo>
                  <a:lnTo>
                    <a:pt x="146" y="49"/>
                  </a:lnTo>
                  <a:lnTo>
                    <a:pt x="124" y="60"/>
                  </a:lnTo>
                  <a:lnTo>
                    <a:pt x="124" y="37"/>
                  </a:lnTo>
                  <a:lnTo>
                    <a:pt x="95" y="41"/>
                  </a:lnTo>
                  <a:lnTo>
                    <a:pt x="52"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85" name="Freeform 84"/>
            <p:cNvSpPr>
              <a:spLocks/>
            </p:cNvSpPr>
            <p:nvPr/>
          </p:nvSpPr>
          <p:spPr bwMode="auto">
            <a:xfrm>
              <a:off x="3856831" y="5241131"/>
              <a:ext cx="238125" cy="207962"/>
            </a:xfrm>
            <a:custGeom>
              <a:avLst/>
              <a:gdLst>
                <a:gd name="T0" fmla="*/ 25 w 154"/>
                <a:gd name="T1" fmla="*/ 35 h 131"/>
                <a:gd name="T2" fmla="*/ 5 w 154"/>
                <a:gd name="T3" fmla="*/ 55 h 131"/>
                <a:gd name="T4" fmla="*/ 0 w 154"/>
                <a:gd name="T5" fmla="*/ 124 h 131"/>
                <a:gd name="T6" fmla="*/ 12 w 154"/>
                <a:gd name="T7" fmla="*/ 116 h 131"/>
                <a:gd name="T8" fmla="*/ 41 w 154"/>
                <a:gd name="T9" fmla="*/ 131 h 131"/>
                <a:gd name="T10" fmla="*/ 118 w 154"/>
                <a:gd name="T11" fmla="*/ 131 h 131"/>
                <a:gd name="T12" fmla="*/ 124 w 154"/>
                <a:gd name="T13" fmla="*/ 96 h 131"/>
                <a:gd name="T14" fmla="*/ 150 w 154"/>
                <a:gd name="T15" fmla="*/ 66 h 131"/>
                <a:gd name="T16" fmla="*/ 154 w 154"/>
                <a:gd name="T17" fmla="*/ 19 h 131"/>
                <a:gd name="T18" fmla="*/ 113 w 154"/>
                <a:gd name="T19" fmla="*/ 0 h 131"/>
                <a:gd name="T20" fmla="*/ 71 w 154"/>
                <a:gd name="T21" fmla="*/ 35 h 131"/>
                <a:gd name="T22" fmla="*/ 25 w 154"/>
                <a:gd name="T23" fmla="*/ 35 h 131"/>
                <a:gd name="T24" fmla="*/ 25 w 154"/>
                <a:gd name="T25" fmla="*/ 35 h 131"/>
                <a:gd name="T26" fmla="*/ 25 w 154"/>
                <a:gd name="T27" fmla="*/ 35 h 13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4"/>
                <a:gd name="T43" fmla="*/ 0 h 131"/>
                <a:gd name="T44" fmla="*/ 154 w 154"/>
                <a:gd name="T45" fmla="*/ 131 h 13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4" h="131">
                  <a:moveTo>
                    <a:pt x="25" y="35"/>
                  </a:moveTo>
                  <a:lnTo>
                    <a:pt x="5" y="55"/>
                  </a:lnTo>
                  <a:lnTo>
                    <a:pt x="0" y="124"/>
                  </a:lnTo>
                  <a:lnTo>
                    <a:pt x="12" y="116"/>
                  </a:lnTo>
                  <a:lnTo>
                    <a:pt x="41" y="131"/>
                  </a:lnTo>
                  <a:lnTo>
                    <a:pt x="118" y="131"/>
                  </a:lnTo>
                  <a:lnTo>
                    <a:pt x="124" y="96"/>
                  </a:lnTo>
                  <a:lnTo>
                    <a:pt x="150" y="66"/>
                  </a:lnTo>
                  <a:lnTo>
                    <a:pt x="154" y="19"/>
                  </a:lnTo>
                  <a:lnTo>
                    <a:pt x="113" y="0"/>
                  </a:lnTo>
                  <a:lnTo>
                    <a:pt x="71" y="35"/>
                  </a:lnTo>
                  <a:lnTo>
                    <a:pt x="25" y="35"/>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86" name="Freeform 85"/>
            <p:cNvSpPr>
              <a:spLocks/>
            </p:cNvSpPr>
            <p:nvPr/>
          </p:nvSpPr>
          <p:spPr bwMode="auto">
            <a:xfrm>
              <a:off x="3658393" y="5069681"/>
              <a:ext cx="293688" cy="103187"/>
            </a:xfrm>
            <a:custGeom>
              <a:avLst/>
              <a:gdLst>
                <a:gd name="T0" fmla="*/ 0 w 190"/>
                <a:gd name="T1" fmla="*/ 24 h 65"/>
                <a:gd name="T2" fmla="*/ 16 w 190"/>
                <a:gd name="T3" fmla="*/ 65 h 65"/>
                <a:gd name="T4" fmla="*/ 148 w 190"/>
                <a:gd name="T5" fmla="*/ 65 h 65"/>
                <a:gd name="T6" fmla="*/ 190 w 190"/>
                <a:gd name="T7" fmla="*/ 23 h 65"/>
                <a:gd name="T8" fmla="*/ 150 w 190"/>
                <a:gd name="T9" fmla="*/ 0 h 65"/>
                <a:gd name="T10" fmla="*/ 120 w 190"/>
                <a:gd name="T11" fmla="*/ 6 h 65"/>
                <a:gd name="T12" fmla="*/ 124 w 190"/>
                <a:gd name="T13" fmla="*/ 19 h 65"/>
                <a:gd name="T14" fmla="*/ 101 w 190"/>
                <a:gd name="T15" fmla="*/ 31 h 65"/>
                <a:gd name="T16" fmla="*/ 53 w 190"/>
                <a:gd name="T17" fmla="*/ 12 h 65"/>
                <a:gd name="T18" fmla="*/ 0 w 190"/>
                <a:gd name="T19" fmla="*/ 24 h 65"/>
                <a:gd name="T20" fmla="*/ 16 w 190"/>
                <a:gd name="T21" fmla="*/ 65 h 65"/>
                <a:gd name="T22" fmla="*/ 0 w 190"/>
                <a:gd name="T23" fmla="*/ 24 h 65"/>
                <a:gd name="T24" fmla="*/ 0 w 190"/>
                <a:gd name="T25" fmla="*/ 24 h 65"/>
                <a:gd name="T26" fmla="*/ 0 w 190"/>
                <a:gd name="T27" fmla="*/ 24 h 6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0"/>
                <a:gd name="T43" fmla="*/ 0 h 65"/>
                <a:gd name="T44" fmla="*/ 190 w 190"/>
                <a:gd name="T45" fmla="*/ 65 h 6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0" h="65">
                  <a:moveTo>
                    <a:pt x="0" y="24"/>
                  </a:moveTo>
                  <a:lnTo>
                    <a:pt x="16" y="65"/>
                  </a:lnTo>
                  <a:lnTo>
                    <a:pt x="148" y="65"/>
                  </a:lnTo>
                  <a:lnTo>
                    <a:pt x="190" y="23"/>
                  </a:lnTo>
                  <a:lnTo>
                    <a:pt x="150" y="0"/>
                  </a:lnTo>
                  <a:lnTo>
                    <a:pt x="120" y="6"/>
                  </a:lnTo>
                  <a:lnTo>
                    <a:pt x="124" y="19"/>
                  </a:lnTo>
                  <a:lnTo>
                    <a:pt x="101" y="31"/>
                  </a:lnTo>
                  <a:lnTo>
                    <a:pt x="53" y="12"/>
                  </a:lnTo>
                  <a:lnTo>
                    <a:pt x="0" y="24"/>
                  </a:lnTo>
                  <a:lnTo>
                    <a:pt x="16" y="65"/>
                  </a:lnTo>
                  <a:lnTo>
                    <a:pt x="0" y="24"/>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87" name="Freeform 86"/>
            <p:cNvSpPr>
              <a:spLocks/>
            </p:cNvSpPr>
            <p:nvPr/>
          </p:nvSpPr>
          <p:spPr bwMode="auto">
            <a:xfrm>
              <a:off x="3555206" y="5172868"/>
              <a:ext cx="341312" cy="311150"/>
            </a:xfrm>
            <a:custGeom>
              <a:avLst/>
              <a:gdLst>
                <a:gd name="T0" fmla="*/ 82 w 220"/>
                <a:gd name="T1" fmla="*/ 0 h 194"/>
                <a:gd name="T2" fmla="*/ 75 w 220"/>
                <a:gd name="T3" fmla="*/ 35 h 194"/>
                <a:gd name="T4" fmla="*/ 45 w 220"/>
                <a:gd name="T5" fmla="*/ 35 h 194"/>
                <a:gd name="T6" fmla="*/ 66 w 220"/>
                <a:gd name="T7" fmla="*/ 108 h 194"/>
                <a:gd name="T8" fmla="*/ 59 w 220"/>
                <a:gd name="T9" fmla="*/ 124 h 194"/>
                <a:gd name="T10" fmla="*/ 20 w 220"/>
                <a:gd name="T11" fmla="*/ 113 h 194"/>
                <a:gd name="T12" fmla="*/ 0 w 220"/>
                <a:gd name="T13" fmla="*/ 122 h 194"/>
                <a:gd name="T14" fmla="*/ 33 w 220"/>
                <a:gd name="T15" fmla="*/ 194 h 194"/>
                <a:gd name="T16" fmla="*/ 62 w 220"/>
                <a:gd name="T17" fmla="*/ 191 h 194"/>
                <a:gd name="T18" fmla="*/ 105 w 220"/>
                <a:gd name="T19" fmla="*/ 169 h 194"/>
                <a:gd name="T20" fmla="*/ 77 w 220"/>
                <a:gd name="T21" fmla="*/ 134 h 194"/>
                <a:gd name="T22" fmla="*/ 177 w 220"/>
                <a:gd name="T23" fmla="*/ 184 h 194"/>
                <a:gd name="T24" fmla="*/ 194 w 220"/>
                <a:gd name="T25" fmla="*/ 166 h 194"/>
                <a:gd name="T26" fmla="*/ 200 w 220"/>
                <a:gd name="T27" fmla="*/ 97 h 194"/>
                <a:gd name="T28" fmla="*/ 220 w 220"/>
                <a:gd name="T29" fmla="*/ 77 h 194"/>
                <a:gd name="T30" fmla="*/ 204 w 220"/>
                <a:gd name="T31" fmla="*/ 50 h 194"/>
                <a:gd name="T32" fmla="*/ 205 w 220"/>
                <a:gd name="T33" fmla="*/ 26 h 194"/>
                <a:gd name="T34" fmla="*/ 216 w 220"/>
                <a:gd name="T35" fmla="*/ 26 h 194"/>
                <a:gd name="T36" fmla="*/ 214 w 220"/>
                <a:gd name="T37" fmla="*/ 0 h 194"/>
                <a:gd name="T38" fmla="*/ 82 w 220"/>
                <a:gd name="T39" fmla="*/ 0 h 194"/>
                <a:gd name="T40" fmla="*/ 82 w 220"/>
                <a:gd name="T41" fmla="*/ 0 h 194"/>
                <a:gd name="T42" fmla="*/ 82 w 220"/>
                <a:gd name="T43" fmla="*/ 0 h 19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0"/>
                <a:gd name="T67" fmla="*/ 0 h 194"/>
                <a:gd name="T68" fmla="*/ 220 w 220"/>
                <a:gd name="T69" fmla="*/ 194 h 19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0" h="194">
                  <a:moveTo>
                    <a:pt x="82" y="0"/>
                  </a:moveTo>
                  <a:lnTo>
                    <a:pt x="75" y="35"/>
                  </a:lnTo>
                  <a:lnTo>
                    <a:pt x="45" y="35"/>
                  </a:lnTo>
                  <a:lnTo>
                    <a:pt x="66" y="108"/>
                  </a:lnTo>
                  <a:lnTo>
                    <a:pt x="59" y="124"/>
                  </a:lnTo>
                  <a:lnTo>
                    <a:pt x="20" y="113"/>
                  </a:lnTo>
                  <a:lnTo>
                    <a:pt x="0" y="122"/>
                  </a:lnTo>
                  <a:lnTo>
                    <a:pt x="33" y="194"/>
                  </a:lnTo>
                  <a:lnTo>
                    <a:pt x="62" y="191"/>
                  </a:lnTo>
                  <a:lnTo>
                    <a:pt x="105" y="169"/>
                  </a:lnTo>
                  <a:lnTo>
                    <a:pt x="77" y="134"/>
                  </a:lnTo>
                  <a:lnTo>
                    <a:pt x="177" y="184"/>
                  </a:lnTo>
                  <a:lnTo>
                    <a:pt x="194" y="166"/>
                  </a:lnTo>
                  <a:lnTo>
                    <a:pt x="200" y="97"/>
                  </a:lnTo>
                  <a:lnTo>
                    <a:pt x="220" y="77"/>
                  </a:lnTo>
                  <a:lnTo>
                    <a:pt x="204" y="50"/>
                  </a:lnTo>
                  <a:lnTo>
                    <a:pt x="205" y="26"/>
                  </a:lnTo>
                  <a:lnTo>
                    <a:pt x="216" y="26"/>
                  </a:lnTo>
                  <a:lnTo>
                    <a:pt x="214" y="0"/>
                  </a:lnTo>
                  <a:lnTo>
                    <a:pt x="82"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88" name="Freeform 87"/>
            <p:cNvSpPr>
              <a:spLocks/>
            </p:cNvSpPr>
            <p:nvPr/>
          </p:nvSpPr>
          <p:spPr bwMode="auto">
            <a:xfrm>
              <a:off x="3431381" y="5015706"/>
              <a:ext cx="250825" cy="355600"/>
            </a:xfrm>
            <a:custGeom>
              <a:avLst/>
              <a:gdLst>
                <a:gd name="T0" fmla="*/ 120 w 162"/>
                <a:gd name="T1" fmla="*/ 0 h 223"/>
                <a:gd name="T2" fmla="*/ 119 w 162"/>
                <a:gd name="T3" fmla="*/ 32 h 223"/>
                <a:gd name="T4" fmla="*/ 146 w 162"/>
                <a:gd name="T5" fmla="*/ 60 h 223"/>
                <a:gd name="T6" fmla="*/ 162 w 162"/>
                <a:gd name="T7" fmla="*/ 99 h 223"/>
                <a:gd name="T8" fmla="*/ 155 w 162"/>
                <a:gd name="T9" fmla="*/ 134 h 223"/>
                <a:gd name="T10" fmla="*/ 125 w 162"/>
                <a:gd name="T11" fmla="*/ 134 h 223"/>
                <a:gd name="T12" fmla="*/ 146 w 162"/>
                <a:gd name="T13" fmla="*/ 207 h 223"/>
                <a:gd name="T14" fmla="*/ 139 w 162"/>
                <a:gd name="T15" fmla="*/ 223 h 223"/>
                <a:gd name="T16" fmla="*/ 100 w 162"/>
                <a:gd name="T17" fmla="*/ 212 h 223"/>
                <a:gd name="T18" fmla="*/ 80 w 162"/>
                <a:gd name="T19" fmla="*/ 221 h 223"/>
                <a:gd name="T20" fmla="*/ 37 w 162"/>
                <a:gd name="T21" fmla="*/ 220 h 223"/>
                <a:gd name="T22" fmla="*/ 5 w 162"/>
                <a:gd name="T23" fmla="*/ 189 h 223"/>
                <a:gd name="T24" fmla="*/ 11 w 162"/>
                <a:gd name="T25" fmla="*/ 143 h 223"/>
                <a:gd name="T26" fmla="*/ 0 w 162"/>
                <a:gd name="T27" fmla="*/ 119 h 223"/>
                <a:gd name="T28" fmla="*/ 8 w 162"/>
                <a:gd name="T29" fmla="*/ 32 h 223"/>
                <a:gd name="T30" fmla="*/ 120 w 162"/>
                <a:gd name="T31" fmla="*/ 0 h 223"/>
                <a:gd name="T32" fmla="*/ 120 w 162"/>
                <a:gd name="T33" fmla="*/ 0 h 223"/>
                <a:gd name="T34" fmla="*/ 120 w 162"/>
                <a:gd name="T35" fmla="*/ 0 h 2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2"/>
                <a:gd name="T55" fmla="*/ 0 h 223"/>
                <a:gd name="T56" fmla="*/ 162 w 162"/>
                <a:gd name="T57" fmla="*/ 223 h 22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2" h="223">
                  <a:moveTo>
                    <a:pt x="120" y="0"/>
                  </a:moveTo>
                  <a:lnTo>
                    <a:pt x="119" y="32"/>
                  </a:lnTo>
                  <a:lnTo>
                    <a:pt x="146" y="60"/>
                  </a:lnTo>
                  <a:lnTo>
                    <a:pt x="162" y="99"/>
                  </a:lnTo>
                  <a:lnTo>
                    <a:pt x="155" y="134"/>
                  </a:lnTo>
                  <a:lnTo>
                    <a:pt x="125" y="134"/>
                  </a:lnTo>
                  <a:lnTo>
                    <a:pt x="146" y="207"/>
                  </a:lnTo>
                  <a:lnTo>
                    <a:pt x="139" y="223"/>
                  </a:lnTo>
                  <a:lnTo>
                    <a:pt x="100" y="212"/>
                  </a:lnTo>
                  <a:lnTo>
                    <a:pt x="80" y="221"/>
                  </a:lnTo>
                  <a:lnTo>
                    <a:pt x="37" y="220"/>
                  </a:lnTo>
                  <a:lnTo>
                    <a:pt x="5" y="189"/>
                  </a:lnTo>
                  <a:lnTo>
                    <a:pt x="11" y="143"/>
                  </a:lnTo>
                  <a:lnTo>
                    <a:pt x="0" y="119"/>
                  </a:lnTo>
                  <a:lnTo>
                    <a:pt x="8" y="32"/>
                  </a:lnTo>
                  <a:lnTo>
                    <a:pt x="120"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89" name="Freeform 88"/>
            <p:cNvSpPr>
              <a:spLocks/>
            </p:cNvSpPr>
            <p:nvPr/>
          </p:nvSpPr>
          <p:spPr bwMode="auto">
            <a:xfrm>
              <a:off x="3264693" y="5317331"/>
              <a:ext cx="342900" cy="265112"/>
            </a:xfrm>
            <a:custGeom>
              <a:avLst/>
              <a:gdLst>
                <a:gd name="T0" fmla="*/ 113 w 221"/>
                <a:gd name="T1" fmla="*/ 0 h 166"/>
                <a:gd name="T2" fmla="*/ 108 w 221"/>
                <a:gd name="T3" fmla="*/ 29 h 166"/>
                <a:gd name="T4" fmla="*/ 92 w 221"/>
                <a:gd name="T5" fmla="*/ 50 h 166"/>
                <a:gd name="T6" fmla="*/ 72 w 221"/>
                <a:gd name="T7" fmla="*/ 42 h 166"/>
                <a:gd name="T8" fmla="*/ 59 w 221"/>
                <a:gd name="T9" fmla="*/ 65 h 166"/>
                <a:gd name="T10" fmla="*/ 0 w 221"/>
                <a:gd name="T11" fmla="*/ 65 h 166"/>
                <a:gd name="T12" fmla="*/ 18 w 221"/>
                <a:gd name="T13" fmla="*/ 105 h 166"/>
                <a:gd name="T14" fmla="*/ 64 w 221"/>
                <a:gd name="T15" fmla="*/ 166 h 166"/>
                <a:gd name="T16" fmla="*/ 102 w 221"/>
                <a:gd name="T17" fmla="*/ 139 h 166"/>
                <a:gd name="T18" fmla="*/ 181 w 221"/>
                <a:gd name="T19" fmla="*/ 146 h 166"/>
                <a:gd name="T20" fmla="*/ 174 w 221"/>
                <a:gd name="T21" fmla="*/ 107 h 166"/>
                <a:gd name="T22" fmla="*/ 221 w 221"/>
                <a:gd name="T23" fmla="*/ 104 h 166"/>
                <a:gd name="T24" fmla="*/ 190 w 221"/>
                <a:gd name="T25" fmla="*/ 32 h 166"/>
                <a:gd name="T26" fmla="*/ 145 w 221"/>
                <a:gd name="T27" fmla="*/ 29 h 166"/>
                <a:gd name="T28" fmla="*/ 113 w 221"/>
                <a:gd name="T29" fmla="*/ 0 h 166"/>
                <a:gd name="T30" fmla="*/ 113 w 221"/>
                <a:gd name="T31" fmla="*/ 0 h 166"/>
                <a:gd name="T32" fmla="*/ 113 w 221"/>
                <a:gd name="T33" fmla="*/ 0 h 16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1"/>
                <a:gd name="T52" fmla="*/ 0 h 166"/>
                <a:gd name="T53" fmla="*/ 221 w 221"/>
                <a:gd name="T54" fmla="*/ 166 h 16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1" h="166">
                  <a:moveTo>
                    <a:pt x="113" y="0"/>
                  </a:moveTo>
                  <a:lnTo>
                    <a:pt x="108" y="29"/>
                  </a:lnTo>
                  <a:lnTo>
                    <a:pt x="92" y="50"/>
                  </a:lnTo>
                  <a:lnTo>
                    <a:pt x="72" y="42"/>
                  </a:lnTo>
                  <a:lnTo>
                    <a:pt x="59" y="65"/>
                  </a:lnTo>
                  <a:lnTo>
                    <a:pt x="0" y="65"/>
                  </a:lnTo>
                  <a:lnTo>
                    <a:pt x="18" y="105"/>
                  </a:lnTo>
                  <a:lnTo>
                    <a:pt x="64" y="166"/>
                  </a:lnTo>
                  <a:lnTo>
                    <a:pt x="102" y="139"/>
                  </a:lnTo>
                  <a:lnTo>
                    <a:pt x="181" y="146"/>
                  </a:lnTo>
                  <a:lnTo>
                    <a:pt x="174" y="107"/>
                  </a:lnTo>
                  <a:lnTo>
                    <a:pt x="221" y="104"/>
                  </a:lnTo>
                  <a:lnTo>
                    <a:pt x="190" y="32"/>
                  </a:lnTo>
                  <a:lnTo>
                    <a:pt x="145" y="29"/>
                  </a:lnTo>
                  <a:lnTo>
                    <a:pt x="113"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90" name="Freeform 89"/>
            <p:cNvSpPr>
              <a:spLocks/>
            </p:cNvSpPr>
            <p:nvPr/>
          </p:nvSpPr>
          <p:spPr bwMode="auto">
            <a:xfrm>
              <a:off x="3002756" y="5195093"/>
              <a:ext cx="446087" cy="225425"/>
            </a:xfrm>
            <a:custGeom>
              <a:avLst/>
              <a:gdLst>
                <a:gd name="T0" fmla="*/ 147 w 288"/>
                <a:gd name="T1" fmla="*/ 0 h 141"/>
                <a:gd name="T2" fmla="*/ 147 w 288"/>
                <a:gd name="T3" fmla="*/ 45 h 141"/>
                <a:gd name="T4" fmla="*/ 24 w 288"/>
                <a:gd name="T5" fmla="*/ 27 h 141"/>
                <a:gd name="T6" fmla="*/ 15 w 288"/>
                <a:gd name="T7" fmla="*/ 55 h 141"/>
                <a:gd name="T8" fmla="*/ 0 w 288"/>
                <a:gd name="T9" fmla="*/ 55 h 141"/>
                <a:gd name="T10" fmla="*/ 50 w 288"/>
                <a:gd name="T11" fmla="*/ 102 h 141"/>
                <a:gd name="T12" fmla="*/ 72 w 288"/>
                <a:gd name="T13" fmla="*/ 90 h 141"/>
                <a:gd name="T14" fmla="*/ 170 w 288"/>
                <a:gd name="T15" fmla="*/ 141 h 141"/>
                <a:gd name="T16" fmla="*/ 227 w 288"/>
                <a:gd name="T17" fmla="*/ 141 h 141"/>
                <a:gd name="T18" fmla="*/ 241 w 288"/>
                <a:gd name="T19" fmla="*/ 119 h 141"/>
                <a:gd name="T20" fmla="*/ 262 w 288"/>
                <a:gd name="T21" fmla="*/ 126 h 141"/>
                <a:gd name="T22" fmla="*/ 277 w 288"/>
                <a:gd name="T23" fmla="*/ 105 h 141"/>
                <a:gd name="T24" fmla="*/ 282 w 288"/>
                <a:gd name="T25" fmla="*/ 76 h 141"/>
                <a:gd name="T26" fmla="*/ 288 w 288"/>
                <a:gd name="T27" fmla="*/ 28 h 141"/>
                <a:gd name="T28" fmla="*/ 279 w 288"/>
                <a:gd name="T29" fmla="*/ 6 h 141"/>
                <a:gd name="T30" fmla="*/ 245 w 288"/>
                <a:gd name="T31" fmla="*/ 17 h 141"/>
                <a:gd name="T32" fmla="*/ 147 w 288"/>
                <a:gd name="T33" fmla="*/ 0 h 141"/>
                <a:gd name="T34" fmla="*/ 147 w 288"/>
                <a:gd name="T35" fmla="*/ 0 h 141"/>
                <a:gd name="T36" fmla="*/ 147 w 288"/>
                <a:gd name="T37" fmla="*/ 0 h 14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88"/>
                <a:gd name="T58" fmla="*/ 0 h 141"/>
                <a:gd name="T59" fmla="*/ 288 w 288"/>
                <a:gd name="T60" fmla="*/ 141 h 14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88" h="141">
                  <a:moveTo>
                    <a:pt x="147" y="0"/>
                  </a:moveTo>
                  <a:lnTo>
                    <a:pt x="147" y="45"/>
                  </a:lnTo>
                  <a:lnTo>
                    <a:pt x="24" y="27"/>
                  </a:lnTo>
                  <a:lnTo>
                    <a:pt x="15" y="55"/>
                  </a:lnTo>
                  <a:lnTo>
                    <a:pt x="0" y="55"/>
                  </a:lnTo>
                  <a:lnTo>
                    <a:pt x="50" y="102"/>
                  </a:lnTo>
                  <a:lnTo>
                    <a:pt x="72" y="90"/>
                  </a:lnTo>
                  <a:lnTo>
                    <a:pt x="170" y="141"/>
                  </a:lnTo>
                  <a:lnTo>
                    <a:pt x="227" y="141"/>
                  </a:lnTo>
                  <a:lnTo>
                    <a:pt x="241" y="119"/>
                  </a:lnTo>
                  <a:lnTo>
                    <a:pt x="262" y="126"/>
                  </a:lnTo>
                  <a:lnTo>
                    <a:pt x="277" y="105"/>
                  </a:lnTo>
                  <a:lnTo>
                    <a:pt x="282" y="76"/>
                  </a:lnTo>
                  <a:lnTo>
                    <a:pt x="288" y="28"/>
                  </a:lnTo>
                  <a:lnTo>
                    <a:pt x="279" y="6"/>
                  </a:lnTo>
                  <a:lnTo>
                    <a:pt x="245" y="17"/>
                  </a:lnTo>
                  <a:lnTo>
                    <a:pt x="147"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91" name="Freeform 90"/>
            <p:cNvSpPr>
              <a:spLocks/>
            </p:cNvSpPr>
            <p:nvPr/>
          </p:nvSpPr>
          <p:spPr bwMode="auto">
            <a:xfrm>
              <a:off x="2791618" y="5237956"/>
              <a:ext cx="500063" cy="492125"/>
            </a:xfrm>
            <a:custGeom>
              <a:avLst/>
              <a:gdLst>
                <a:gd name="T0" fmla="*/ 161 w 323"/>
                <a:gd name="T1" fmla="*/ 0 h 308"/>
                <a:gd name="T2" fmla="*/ 42 w 323"/>
                <a:gd name="T3" fmla="*/ 24 h 308"/>
                <a:gd name="T4" fmla="*/ 91 w 323"/>
                <a:gd name="T5" fmla="*/ 57 h 308"/>
                <a:gd name="T6" fmla="*/ 44 w 323"/>
                <a:gd name="T7" fmla="*/ 76 h 308"/>
                <a:gd name="T8" fmla="*/ 5 w 323"/>
                <a:gd name="T9" fmla="*/ 55 h 308"/>
                <a:gd name="T10" fmla="*/ 0 w 323"/>
                <a:gd name="T11" fmla="*/ 94 h 308"/>
                <a:gd name="T12" fmla="*/ 22 w 323"/>
                <a:gd name="T13" fmla="*/ 112 h 308"/>
                <a:gd name="T14" fmla="*/ 22 w 323"/>
                <a:gd name="T15" fmla="*/ 134 h 308"/>
                <a:gd name="T16" fmla="*/ 38 w 323"/>
                <a:gd name="T17" fmla="*/ 134 h 308"/>
                <a:gd name="T18" fmla="*/ 62 w 323"/>
                <a:gd name="T19" fmla="*/ 243 h 308"/>
                <a:gd name="T20" fmla="*/ 137 w 323"/>
                <a:gd name="T21" fmla="*/ 308 h 308"/>
                <a:gd name="T22" fmla="*/ 170 w 323"/>
                <a:gd name="T23" fmla="*/ 298 h 308"/>
                <a:gd name="T24" fmla="*/ 170 w 323"/>
                <a:gd name="T25" fmla="*/ 264 h 308"/>
                <a:gd name="T26" fmla="*/ 199 w 323"/>
                <a:gd name="T27" fmla="*/ 270 h 308"/>
                <a:gd name="T28" fmla="*/ 208 w 323"/>
                <a:gd name="T29" fmla="*/ 255 h 308"/>
                <a:gd name="T30" fmla="*/ 187 w 323"/>
                <a:gd name="T31" fmla="*/ 233 h 308"/>
                <a:gd name="T32" fmla="*/ 208 w 323"/>
                <a:gd name="T33" fmla="*/ 166 h 308"/>
                <a:gd name="T34" fmla="*/ 228 w 323"/>
                <a:gd name="T35" fmla="*/ 192 h 308"/>
                <a:gd name="T36" fmla="*/ 323 w 323"/>
                <a:gd name="T37" fmla="*/ 155 h 308"/>
                <a:gd name="T38" fmla="*/ 305 w 323"/>
                <a:gd name="T39" fmla="*/ 115 h 308"/>
                <a:gd name="T40" fmla="*/ 208 w 323"/>
                <a:gd name="T41" fmla="*/ 63 h 308"/>
                <a:gd name="T42" fmla="*/ 187 w 323"/>
                <a:gd name="T43" fmla="*/ 76 h 308"/>
                <a:gd name="T44" fmla="*/ 136 w 323"/>
                <a:gd name="T45" fmla="*/ 29 h 308"/>
                <a:gd name="T46" fmla="*/ 151 w 323"/>
                <a:gd name="T47" fmla="*/ 29 h 308"/>
                <a:gd name="T48" fmla="*/ 161 w 323"/>
                <a:gd name="T49" fmla="*/ 0 h 308"/>
                <a:gd name="T50" fmla="*/ 161 w 323"/>
                <a:gd name="T51" fmla="*/ 0 h 308"/>
                <a:gd name="T52" fmla="*/ 161 w 323"/>
                <a:gd name="T53" fmla="*/ 0 h 30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23"/>
                <a:gd name="T82" fmla="*/ 0 h 308"/>
                <a:gd name="T83" fmla="*/ 323 w 323"/>
                <a:gd name="T84" fmla="*/ 308 h 30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23" h="308">
                  <a:moveTo>
                    <a:pt x="161" y="0"/>
                  </a:moveTo>
                  <a:lnTo>
                    <a:pt x="42" y="24"/>
                  </a:lnTo>
                  <a:lnTo>
                    <a:pt x="91" y="57"/>
                  </a:lnTo>
                  <a:lnTo>
                    <a:pt x="44" y="76"/>
                  </a:lnTo>
                  <a:lnTo>
                    <a:pt x="5" y="55"/>
                  </a:lnTo>
                  <a:lnTo>
                    <a:pt x="0" y="94"/>
                  </a:lnTo>
                  <a:lnTo>
                    <a:pt x="22" y="112"/>
                  </a:lnTo>
                  <a:lnTo>
                    <a:pt x="22" y="134"/>
                  </a:lnTo>
                  <a:lnTo>
                    <a:pt x="38" y="134"/>
                  </a:lnTo>
                  <a:lnTo>
                    <a:pt x="62" y="243"/>
                  </a:lnTo>
                  <a:lnTo>
                    <a:pt x="137" y="308"/>
                  </a:lnTo>
                  <a:lnTo>
                    <a:pt x="170" y="298"/>
                  </a:lnTo>
                  <a:lnTo>
                    <a:pt x="170" y="264"/>
                  </a:lnTo>
                  <a:lnTo>
                    <a:pt x="199" y="270"/>
                  </a:lnTo>
                  <a:lnTo>
                    <a:pt x="208" y="255"/>
                  </a:lnTo>
                  <a:lnTo>
                    <a:pt x="187" y="233"/>
                  </a:lnTo>
                  <a:lnTo>
                    <a:pt x="208" y="166"/>
                  </a:lnTo>
                  <a:lnTo>
                    <a:pt x="228" y="192"/>
                  </a:lnTo>
                  <a:lnTo>
                    <a:pt x="323" y="155"/>
                  </a:lnTo>
                  <a:lnTo>
                    <a:pt x="305" y="115"/>
                  </a:lnTo>
                  <a:lnTo>
                    <a:pt x="208" y="63"/>
                  </a:lnTo>
                  <a:lnTo>
                    <a:pt x="187" y="76"/>
                  </a:lnTo>
                  <a:lnTo>
                    <a:pt x="136" y="29"/>
                  </a:lnTo>
                  <a:lnTo>
                    <a:pt x="151" y="29"/>
                  </a:lnTo>
                  <a:lnTo>
                    <a:pt x="161"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92" name="Freeform 91"/>
            <p:cNvSpPr>
              <a:spLocks/>
            </p:cNvSpPr>
            <p:nvPr/>
          </p:nvSpPr>
          <p:spPr bwMode="auto">
            <a:xfrm>
              <a:off x="2453481" y="5387181"/>
              <a:ext cx="439737" cy="461962"/>
            </a:xfrm>
            <a:custGeom>
              <a:avLst/>
              <a:gdLst>
                <a:gd name="T0" fmla="*/ 219 w 284"/>
                <a:gd name="T1" fmla="*/ 0 h 289"/>
                <a:gd name="T2" fmla="*/ 210 w 284"/>
                <a:gd name="T3" fmla="*/ 44 h 289"/>
                <a:gd name="T4" fmla="*/ 165 w 284"/>
                <a:gd name="T5" fmla="*/ 72 h 289"/>
                <a:gd name="T6" fmla="*/ 153 w 284"/>
                <a:gd name="T7" fmla="*/ 113 h 289"/>
                <a:gd name="T8" fmla="*/ 123 w 284"/>
                <a:gd name="T9" fmla="*/ 113 h 289"/>
                <a:gd name="T10" fmla="*/ 95 w 284"/>
                <a:gd name="T11" fmla="*/ 183 h 289"/>
                <a:gd name="T12" fmla="*/ 38 w 284"/>
                <a:gd name="T13" fmla="*/ 219 h 289"/>
                <a:gd name="T14" fmla="*/ 5 w 284"/>
                <a:gd name="T15" fmla="*/ 219 h 289"/>
                <a:gd name="T16" fmla="*/ 0 w 284"/>
                <a:gd name="T17" fmla="*/ 262 h 289"/>
                <a:gd name="T18" fmla="*/ 39 w 284"/>
                <a:gd name="T19" fmla="*/ 242 h 289"/>
                <a:gd name="T20" fmla="*/ 93 w 284"/>
                <a:gd name="T21" fmla="*/ 289 h 289"/>
                <a:gd name="T22" fmla="*/ 115 w 284"/>
                <a:gd name="T23" fmla="*/ 262 h 289"/>
                <a:gd name="T24" fmla="*/ 100 w 284"/>
                <a:gd name="T25" fmla="*/ 245 h 289"/>
                <a:gd name="T26" fmla="*/ 133 w 284"/>
                <a:gd name="T27" fmla="*/ 200 h 289"/>
                <a:gd name="T28" fmla="*/ 153 w 284"/>
                <a:gd name="T29" fmla="*/ 219 h 289"/>
                <a:gd name="T30" fmla="*/ 221 w 284"/>
                <a:gd name="T31" fmla="*/ 173 h 289"/>
                <a:gd name="T32" fmla="*/ 284 w 284"/>
                <a:gd name="T33" fmla="*/ 185 h 289"/>
                <a:gd name="T34" fmla="*/ 282 w 284"/>
                <a:gd name="T35" fmla="*/ 149 h 289"/>
                <a:gd name="T36" fmla="*/ 257 w 284"/>
                <a:gd name="T37" fmla="*/ 40 h 289"/>
                <a:gd name="T38" fmla="*/ 241 w 284"/>
                <a:gd name="T39" fmla="*/ 40 h 289"/>
                <a:gd name="T40" fmla="*/ 241 w 284"/>
                <a:gd name="T41" fmla="*/ 18 h 289"/>
                <a:gd name="T42" fmla="*/ 219 w 284"/>
                <a:gd name="T43" fmla="*/ 0 h 289"/>
                <a:gd name="T44" fmla="*/ 219 w 284"/>
                <a:gd name="T45" fmla="*/ 0 h 289"/>
                <a:gd name="T46" fmla="*/ 219 w 284"/>
                <a:gd name="T47" fmla="*/ 0 h 28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84"/>
                <a:gd name="T73" fmla="*/ 0 h 289"/>
                <a:gd name="T74" fmla="*/ 284 w 284"/>
                <a:gd name="T75" fmla="*/ 289 h 28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84" h="289">
                  <a:moveTo>
                    <a:pt x="219" y="0"/>
                  </a:moveTo>
                  <a:lnTo>
                    <a:pt x="210" y="44"/>
                  </a:lnTo>
                  <a:lnTo>
                    <a:pt x="165" y="72"/>
                  </a:lnTo>
                  <a:lnTo>
                    <a:pt x="153" y="113"/>
                  </a:lnTo>
                  <a:lnTo>
                    <a:pt x="123" y="113"/>
                  </a:lnTo>
                  <a:lnTo>
                    <a:pt x="95" y="183"/>
                  </a:lnTo>
                  <a:lnTo>
                    <a:pt x="38" y="219"/>
                  </a:lnTo>
                  <a:lnTo>
                    <a:pt x="5" y="219"/>
                  </a:lnTo>
                  <a:lnTo>
                    <a:pt x="0" y="262"/>
                  </a:lnTo>
                  <a:lnTo>
                    <a:pt x="39" y="242"/>
                  </a:lnTo>
                  <a:lnTo>
                    <a:pt x="93" y="289"/>
                  </a:lnTo>
                  <a:lnTo>
                    <a:pt x="115" y="262"/>
                  </a:lnTo>
                  <a:lnTo>
                    <a:pt x="100" y="245"/>
                  </a:lnTo>
                  <a:lnTo>
                    <a:pt x="133" y="200"/>
                  </a:lnTo>
                  <a:lnTo>
                    <a:pt x="153" y="219"/>
                  </a:lnTo>
                  <a:lnTo>
                    <a:pt x="221" y="173"/>
                  </a:lnTo>
                  <a:lnTo>
                    <a:pt x="284" y="185"/>
                  </a:lnTo>
                  <a:lnTo>
                    <a:pt x="282" y="149"/>
                  </a:lnTo>
                  <a:lnTo>
                    <a:pt x="257" y="40"/>
                  </a:lnTo>
                  <a:lnTo>
                    <a:pt x="241" y="40"/>
                  </a:lnTo>
                  <a:lnTo>
                    <a:pt x="241" y="18"/>
                  </a:lnTo>
                  <a:lnTo>
                    <a:pt x="219"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93" name="Freeform 92"/>
            <p:cNvSpPr>
              <a:spLocks/>
            </p:cNvSpPr>
            <p:nvPr/>
          </p:nvSpPr>
          <p:spPr bwMode="auto">
            <a:xfrm>
              <a:off x="4090193" y="4798218"/>
              <a:ext cx="357188" cy="301625"/>
            </a:xfrm>
            <a:custGeom>
              <a:avLst/>
              <a:gdLst>
                <a:gd name="T0" fmla="*/ 230 w 230"/>
                <a:gd name="T1" fmla="*/ 52 h 189"/>
                <a:gd name="T2" fmla="*/ 178 w 230"/>
                <a:gd name="T3" fmla="*/ 28 h 189"/>
                <a:gd name="T4" fmla="*/ 119 w 230"/>
                <a:gd name="T5" fmla="*/ 0 h 189"/>
                <a:gd name="T6" fmla="*/ 63 w 230"/>
                <a:gd name="T7" fmla="*/ 8 h 189"/>
                <a:gd name="T8" fmla="*/ 37 w 230"/>
                <a:gd name="T9" fmla="*/ 3 h 189"/>
                <a:gd name="T10" fmla="*/ 5 w 230"/>
                <a:gd name="T11" fmla="*/ 18 h 189"/>
                <a:gd name="T12" fmla="*/ 36 w 230"/>
                <a:gd name="T13" fmla="*/ 69 h 189"/>
                <a:gd name="T14" fmla="*/ 0 w 230"/>
                <a:gd name="T15" fmla="*/ 90 h 189"/>
                <a:gd name="T16" fmla="*/ 0 w 230"/>
                <a:gd name="T17" fmla="*/ 124 h 189"/>
                <a:gd name="T18" fmla="*/ 20 w 230"/>
                <a:gd name="T19" fmla="*/ 147 h 189"/>
                <a:gd name="T20" fmla="*/ 54 w 230"/>
                <a:gd name="T21" fmla="*/ 137 h 189"/>
                <a:gd name="T22" fmla="*/ 75 w 230"/>
                <a:gd name="T23" fmla="*/ 157 h 189"/>
                <a:gd name="T24" fmla="*/ 54 w 230"/>
                <a:gd name="T25" fmla="*/ 189 h 189"/>
                <a:gd name="T26" fmla="*/ 71 w 230"/>
                <a:gd name="T27" fmla="*/ 172 h 189"/>
                <a:gd name="T28" fmla="*/ 117 w 230"/>
                <a:gd name="T29" fmla="*/ 165 h 189"/>
                <a:gd name="T30" fmla="*/ 158 w 230"/>
                <a:gd name="T31" fmla="*/ 163 h 189"/>
                <a:gd name="T32" fmla="*/ 133 w 230"/>
                <a:gd name="T33" fmla="*/ 125 h 189"/>
                <a:gd name="T34" fmla="*/ 184 w 230"/>
                <a:gd name="T35" fmla="*/ 134 h 189"/>
                <a:gd name="T36" fmla="*/ 175 w 230"/>
                <a:gd name="T37" fmla="*/ 100 h 189"/>
                <a:gd name="T38" fmla="*/ 142 w 230"/>
                <a:gd name="T39" fmla="*/ 89 h 189"/>
                <a:gd name="T40" fmla="*/ 165 w 230"/>
                <a:gd name="T41" fmla="*/ 74 h 189"/>
                <a:gd name="T42" fmla="*/ 206 w 230"/>
                <a:gd name="T43" fmla="*/ 88 h 189"/>
                <a:gd name="T44" fmla="*/ 230 w 230"/>
                <a:gd name="T45" fmla="*/ 52 h 189"/>
                <a:gd name="T46" fmla="*/ 230 w 230"/>
                <a:gd name="T47" fmla="*/ 52 h 189"/>
                <a:gd name="T48" fmla="*/ 230 w 230"/>
                <a:gd name="T49" fmla="*/ 52 h 18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30"/>
                <a:gd name="T76" fmla="*/ 0 h 189"/>
                <a:gd name="T77" fmla="*/ 230 w 230"/>
                <a:gd name="T78" fmla="*/ 189 h 18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30" h="189">
                  <a:moveTo>
                    <a:pt x="230" y="52"/>
                  </a:moveTo>
                  <a:lnTo>
                    <a:pt x="178" y="28"/>
                  </a:lnTo>
                  <a:lnTo>
                    <a:pt x="119" y="0"/>
                  </a:lnTo>
                  <a:lnTo>
                    <a:pt x="63" y="8"/>
                  </a:lnTo>
                  <a:lnTo>
                    <a:pt x="37" y="3"/>
                  </a:lnTo>
                  <a:lnTo>
                    <a:pt x="5" y="18"/>
                  </a:lnTo>
                  <a:lnTo>
                    <a:pt x="36" y="69"/>
                  </a:lnTo>
                  <a:lnTo>
                    <a:pt x="0" y="90"/>
                  </a:lnTo>
                  <a:lnTo>
                    <a:pt x="0" y="124"/>
                  </a:lnTo>
                  <a:lnTo>
                    <a:pt x="20" y="147"/>
                  </a:lnTo>
                  <a:lnTo>
                    <a:pt x="54" y="137"/>
                  </a:lnTo>
                  <a:lnTo>
                    <a:pt x="75" y="157"/>
                  </a:lnTo>
                  <a:lnTo>
                    <a:pt x="54" y="189"/>
                  </a:lnTo>
                  <a:lnTo>
                    <a:pt x="71" y="172"/>
                  </a:lnTo>
                  <a:lnTo>
                    <a:pt x="117" y="165"/>
                  </a:lnTo>
                  <a:lnTo>
                    <a:pt x="158" y="163"/>
                  </a:lnTo>
                  <a:lnTo>
                    <a:pt x="133" y="125"/>
                  </a:lnTo>
                  <a:lnTo>
                    <a:pt x="184" y="134"/>
                  </a:lnTo>
                  <a:lnTo>
                    <a:pt x="175" y="100"/>
                  </a:lnTo>
                  <a:lnTo>
                    <a:pt x="142" y="89"/>
                  </a:lnTo>
                  <a:lnTo>
                    <a:pt x="165" y="74"/>
                  </a:lnTo>
                  <a:lnTo>
                    <a:pt x="206" y="88"/>
                  </a:lnTo>
                  <a:lnTo>
                    <a:pt x="230" y="52"/>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94" name="Freeform 93"/>
            <p:cNvSpPr>
              <a:spLocks/>
            </p:cNvSpPr>
            <p:nvPr/>
          </p:nvSpPr>
          <p:spPr bwMode="auto">
            <a:xfrm>
              <a:off x="1685131" y="3267868"/>
              <a:ext cx="493712" cy="420688"/>
            </a:xfrm>
            <a:custGeom>
              <a:avLst/>
              <a:gdLst>
                <a:gd name="T0" fmla="*/ 319 w 319"/>
                <a:gd name="T1" fmla="*/ 38 h 264"/>
                <a:gd name="T2" fmla="*/ 259 w 319"/>
                <a:gd name="T3" fmla="*/ 0 h 264"/>
                <a:gd name="T4" fmla="*/ 228 w 319"/>
                <a:gd name="T5" fmla="*/ 34 h 264"/>
                <a:gd name="T6" fmla="*/ 233 w 319"/>
                <a:gd name="T7" fmla="*/ 87 h 264"/>
                <a:gd name="T8" fmla="*/ 197 w 319"/>
                <a:gd name="T9" fmla="*/ 121 h 264"/>
                <a:gd name="T10" fmla="*/ 210 w 319"/>
                <a:gd name="T11" fmla="*/ 34 h 264"/>
                <a:gd name="T12" fmla="*/ 174 w 319"/>
                <a:gd name="T13" fmla="*/ 38 h 264"/>
                <a:gd name="T14" fmla="*/ 175 w 319"/>
                <a:gd name="T15" fmla="*/ 85 h 264"/>
                <a:gd name="T16" fmla="*/ 140 w 319"/>
                <a:gd name="T17" fmla="*/ 45 h 264"/>
                <a:gd name="T18" fmla="*/ 112 w 319"/>
                <a:gd name="T19" fmla="*/ 72 h 264"/>
                <a:gd name="T20" fmla="*/ 85 w 319"/>
                <a:gd name="T21" fmla="*/ 61 h 264"/>
                <a:gd name="T22" fmla="*/ 70 w 319"/>
                <a:gd name="T23" fmla="*/ 145 h 264"/>
                <a:gd name="T24" fmla="*/ 40 w 319"/>
                <a:gd name="T25" fmla="*/ 155 h 264"/>
                <a:gd name="T26" fmla="*/ 61 w 319"/>
                <a:gd name="T27" fmla="*/ 174 h 264"/>
                <a:gd name="T28" fmla="*/ 0 w 319"/>
                <a:gd name="T29" fmla="*/ 196 h 264"/>
                <a:gd name="T30" fmla="*/ 108 w 319"/>
                <a:gd name="T31" fmla="*/ 216 h 264"/>
                <a:gd name="T32" fmla="*/ 77 w 319"/>
                <a:gd name="T33" fmla="*/ 260 h 264"/>
                <a:gd name="T34" fmla="*/ 114 w 319"/>
                <a:gd name="T35" fmla="*/ 264 h 264"/>
                <a:gd name="T36" fmla="*/ 128 w 319"/>
                <a:gd name="T37" fmla="*/ 245 h 264"/>
                <a:gd name="T38" fmla="*/ 189 w 319"/>
                <a:gd name="T39" fmla="*/ 215 h 264"/>
                <a:gd name="T40" fmla="*/ 145 w 319"/>
                <a:gd name="T41" fmla="*/ 215 h 264"/>
                <a:gd name="T42" fmla="*/ 159 w 319"/>
                <a:gd name="T43" fmla="*/ 184 h 264"/>
                <a:gd name="T44" fmla="*/ 217 w 319"/>
                <a:gd name="T45" fmla="*/ 184 h 264"/>
                <a:gd name="T46" fmla="*/ 226 w 319"/>
                <a:gd name="T47" fmla="*/ 134 h 264"/>
                <a:gd name="T48" fmla="*/ 261 w 319"/>
                <a:gd name="T49" fmla="*/ 100 h 264"/>
                <a:gd name="T50" fmla="*/ 319 w 319"/>
                <a:gd name="T51" fmla="*/ 38 h 264"/>
                <a:gd name="T52" fmla="*/ 319 w 319"/>
                <a:gd name="T53" fmla="*/ 38 h 264"/>
                <a:gd name="T54" fmla="*/ 319 w 319"/>
                <a:gd name="T55" fmla="*/ 38 h 26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19"/>
                <a:gd name="T85" fmla="*/ 0 h 264"/>
                <a:gd name="T86" fmla="*/ 319 w 319"/>
                <a:gd name="T87" fmla="*/ 264 h 26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19" h="264">
                  <a:moveTo>
                    <a:pt x="319" y="38"/>
                  </a:moveTo>
                  <a:lnTo>
                    <a:pt x="259" y="0"/>
                  </a:lnTo>
                  <a:lnTo>
                    <a:pt x="228" y="34"/>
                  </a:lnTo>
                  <a:lnTo>
                    <a:pt x="233" y="87"/>
                  </a:lnTo>
                  <a:lnTo>
                    <a:pt x="197" y="121"/>
                  </a:lnTo>
                  <a:lnTo>
                    <a:pt x="210" y="34"/>
                  </a:lnTo>
                  <a:lnTo>
                    <a:pt x="174" y="38"/>
                  </a:lnTo>
                  <a:lnTo>
                    <a:pt x="175" y="85"/>
                  </a:lnTo>
                  <a:lnTo>
                    <a:pt x="140" y="45"/>
                  </a:lnTo>
                  <a:lnTo>
                    <a:pt x="112" y="72"/>
                  </a:lnTo>
                  <a:lnTo>
                    <a:pt x="85" y="61"/>
                  </a:lnTo>
                  <a:lnTo>
                    <a:pt x="70" y="145"/>
                  </a:lnTo>
                  <a:lnTo>
                    <a:pt x="40" y="155"/>
                  </a:lnTo>
                  <a:lnTo>
                    <a:pt x="61" y="174"/>
                  </a:lnTo>
                  <a:lnTo>
                    <a:pt x="0" y="196"/>
                  </a:lnTo>
                  <a:lnTo>
                    <a:pt x="108" y="216"/>
                  </a:lnTo>
                  <a:lnTo>
                    <a:pt x="77" y="260"/>
                  </a:lnTo>
                  <a:lnTo>
                    <a:pt x="114" y="264"/>
                  </a:lnTo>
                  <a:lnTo>
                    <a:pt x="128" y="245"/>
                  </a:lnTo>
                  <a:lnTo>
                    <a:pt x="189" y="215"/>
                  </a:lnTo>
                  <a:lnTo>
                    <a:pt x="145" y="215"/>
                  </a:lnTo>
                  <a:lnTo>
                    <a:pt x="159" y="184"/>
                  </a:lnTo>
                  <a:lnTo>
                    <a:pt x="217" y="184"/>
                  </a:lnTo>
                  <a:lnTo>
                    <a:pt x="226" y="134"/>
                  </a:lnTo>
                  <a:lnTo>
                    <a:pt x="261" y="100"/>
                  </a:lnTo>
                  <a:lnTo>
                    <a:pt x="319" y="38"/>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95" name="Freeform 94"/>
            <p:cNvSpPr>
              <a:spLocks/>
            </p:cNvSpPr>
            <p:nvPr/>
          </p:nvSpPr>
          <p:spPr bwMode="auto">
            <a:xfrm>
              <a:off x="1572418" y="3699668"/>
              <a:ext cx="269875" cy="247650"/>
            </a:xfrm>
            <a:custGeom>
              <a:avLst/>
              <a:gdLst>
                <a:gd name="T0" fmla="*/ 127 w 174"/>
                <a:gd name="T1" fmla="*/ 0 h 155"/>
                <a:gd name="T2" fmla="*/ 87 w 174"/>
                <a:gd name="T3" fmla="*/ 15 h 155"/>
                <a:gd name="T4" fmla="*/ 103 w 174"/>
                <a:gd name="T5" fmla="*/ 59 h 155"/>
                <a:gd name="T6" fmla="*/ 25 w 174"/>
                <a:gd name="T7" fmla="*/ 26 h 155"/>
                <a:gd name="T8" fmla="*/ 0 w 174"/>
                <a:gd name="T9" fmla="*/ 48 h 155"/>
                <a:gd name="T10" fmla="*/ 0 w 174"/>
                <a:gd name="T11" fmla="*/ 74 h 155"/>
                <a:gd name="T12" fmla="*/ 36 w 174"/>
                <a:gd name="T13" fmla="*/ 82 h 155"/>
                <a:gd name="T14" fmla="*/ 25 w 174"/>
                <a:gd name="T15" fmla="*/ 115 h 155"/>
                <a:gd name="T16" fmla="*/ 62 w 174"/>
                <a:gd name="T17" fmla="*/ 134 h 155"/>
                <a:gd name="T18" fmla="*/ 75 w 174"/>
                <a:gd name="T19" fmla="*/ 117 h 155"/>
                <a:gd name="T20" fmla="*/ 85 w 174"/>
                <a:gd name="T21" fmla="*/ 141 h 155"/>
                <a:gd name="T22" fmla="*/ 129 w 174"/>
                <a:gd name="T23" fmla="*/ 155 h 155"/>
                <a:gd name="T24" fmla="*/ 133 w 174"/>
                <a:gd name="T25" fmla="*/ 126 h 155"/>
                <a:gd name="T26" fmla="*/ 174 w 174"/>
                <a:gd name="T27" fmla="*/ 98 h 155"/>
                <a:gd name="T28" fmla="*/ 129 w 174"/>
                <a:gd name="T29" fmla="*/ 42 h 155"/>
                <a:gd name="T30" fmla="*/ 135 w 174"/>
                <a:gd name="T31" fmla="*/ 8 h 155"/>
                <a:gd name="T32" fmla="*/ 127 w 174"/>
                <a:gd name="T33" fmla="*/ 0 h 155"/>
                <a:gd name="T34" fmla="*/ 127 w 174"/>
                <a:gd name="T35" fmla="*/ 0 h 155"/>
                <a:gd name="T36" fmla="*/ 127 w 174"/>
                <a:gd name="T37" fmla="*/ 0 h 1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4"/>
                <a:gd name="T58" fmla="*/ 0 h 155"/>
                <a:gd name="T59" fmla="*/ 174 w 174"/>
                <a:gd name="T60" fmla="*/ 155 h 15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4" h="155">
                  <a:moveTo>
                    <a:pt x="127" y="0"/>
                  </a:moveTo>
                  <a:lnTo>
                    <a:pt x="87" y="15"/>
                  </a:lnTo>
                  <a:lnTo>
                    <a:pt x="103" y="59"/>
                  </a:lnTo>
                  <a:lnTo>
                    <a:pt x="25" y="26"/>
                  </a:lnTo>
                  <a:lnTo>
                    <a:pt x="0" y="48"/>
                  </a:lnTo>
                  <a:lnTo>
                    <a:pt x="0" y="74"/>
                  </a:lnTo>
                  <a:lnTo>
                    <a:pt x="36" y="82"/>
                  </a:lnTo>
                  <a:lnTo>
                    <a:pt x="25" y="115"/>
                  </a:lnTo>
                  <a:lnTo>
                    <a:pt x="62" y="134"/>
                  </a:lnTo>
                  <a:lnTo>
                    <a:pt x="75" y="117"/>
                  </a:lnTo>
                  <a:lnTo>
                    <a:pt x="85" y="141"/>
                  </a:lnTo>
                  <a:lnTo>
                    <a:pt x="129" y="155"/>
                  </a:lnTo>
                  <a:lnTo>
                    <a:pt x="133" y="126"/>
                  </a:lnTo>
                  <a:lnTo>
                    <a:pt x="174" y="98"/>
                  </a:lnTo>
                  <a:lnTo>
                    <a:pt x="129" y="42"/>
                  </a:lnTo>
                  <a:lnTo>
                    <a:pt x="135" y="8"/>
                  </a:lnTo>
                  <a:lnTo>
                    <a:pt x="127"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96" name="Freeform 95"/>
            <p:cNvSpPr>
              <a:spLocks/>
            </p:cNvSpPr>
            <p:nvPr/>
          </p:nvSpPr>
          <p:spPr bwMode="auto">
            <a:xfrm>
              <a:off x="1304131" y="3694906"/>
              <a:ext cx="400050" cy="441325"/>
            </a:xfrm>
            <a:custGeom>
              <a:avLst/>
              <a:gdLst>
                <a:gd name="T0" fmla="*/ 173 w 258"/>
                <a:gd name="T1" fmla="*/ 50 h 276"/>
                <a:gd name="T2" fmla="*/ 146 w 258"/>
                <a:gd name="T3" fmla="*/ 14 h 276"/>
                <a:gd name="T4" fmla="*/ 64 w 258"/>
                <a:gd name="T5" fmla="*/ 0 h 276"/>
                <a:gd name="T6" fmla="*/ 52 w 258"/>
                <a:gd name="T7" fmla="*/ 35 h 276"/>
                <a:gd name="T8" fmla="*/ 27 w 258"/>
                <a:gd name="T9" fmla="*/ 25 h 276"/>
                <a:gd name="T10" fmla="*/ 0 w 258"/>
                <a:gd name="T11" fmla="*/ 54 h 276"/>
                <a:gd name="T12" fmla="*/ 37 w 258"/>
                <a:gd name="T13" fmla="*/ 56 h 276"/>
                <a:gd name="T14" fmla="*/ 33 w 258"/>
                <a:gd name="T15" fmla="*/ 85 h 276"/>
                <a:gd name="T16" fmla="*/ 60 w 258"/>
                <a:gd name="T17" fmla="*/ 81 h 276"/>
                <a:gd name="T18" fmla="*/ 31 w 258"/>
                <a:gd name="T19" fmla="*/ 154 h 276"/>
                <a:gd name="T20" fmla="*/ 90 w 258"/>
                <a:gd name="T21" fmla="*/ 143 h 276"/>
                <a:gd name="T22" fmla="*/ 96 w 258"/>
                <a:gd name="T23" fmla="*/ 186 h 276"/>
                <a:gd name="T24" fmla="*/ 32 w 258"/>
                <a:gd name="T25" fmla="*/ 173 h 276"/>
                <a:gd name="T26" fmla="*/ 41 w 258"/>
                <a:gd name="T27" fmla="*/ 212 h 276"/>
                <a:gd name="T28" fmla="*/ 42 w 258"/>
                <a:gd name="T29" fmla="*/ 230 h 276"/>
                <a:gd name="T30" fmla="*/ 101 w 258"/>
                <a:gd name="T31" fmla="*/ 245 h 276"/>
                <a:gd name="T32" fmla="*/ 134 w 258"/>
                <a:gd name="T33" fmla="*/ 209 h 276"/>
                <a:gd name="T34" fmla="*/ 163 w 258"/>
                <a:gd name="T35" fmla="*/ 276 h 276"/>
                <a:gd name="T36" fmla="*/ 248 w 258"/>
                <a:gd name="T37" fmla="*/ 201 h 276"/>
                <a:gd name="T38" fmla="*/ 258 w 258"/>
                <a:gd name="T39" fmla="*/ 144 h 276"/>
                <a:gd name="T40" fmla="*/ 249 w 258"/>
                <a:gd name="T41" fmla="*/ 120 h 276"/>
                <a:gd name="T42" fmla="*/ 235 w 258"/>
                <a:gd name="T43" fmla="*/ 134 h 276"/>
                <a:gd name="T44" fmla="*/ 198 w 258"/>
                <a:gd name="T45" fmla="*/ 118 h 276"/>
                <a:gd name="T46" fmla="*/ 209 w 258"/>
                <a:gd name="T47" fmla="*/ 85 h 276"/>
                <a:gd name="T48" fmla="*/ 173 w 258"/>
                <a:gd name="T49" fmla="*/ 77 h 276"/>
                <a:gd name="T50" fmla="*/ 173 w 258"/>
                <a:gd name="T51" fmla="*/ 50 h 276"/>
                <a:gd name="T52" fmla="*/ 173 w 258"/>
                <a:gd name="T53" fmla="*/ 50 h 276"/>
                <a:gd name="T54" fmla="*/ 173 w 258"/>
                <a:gd name="T55" fmla="*/ 50 h 27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58"/>
                <a:gd name="T85" fmla="*/ 0 h 276"/>
                <a:gd name="T86" fmla="*/ 258 w 258"/>
                <a:gd name="T87" fmla="*/ 276 h 27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58" h="276">
                  <a:moveTo>
                    <a:pt x="173" y="50"/>
                  </a:moveTo>
                  <a:lnTo>
                    <a:pt x="146" y="14"/>
                  </a:lnTo>
                  <a:lnTo>
                    <a:pt x="64" y="0"/>
                  </a:lnTo>
                  <a:lnTo>
                    <a:pt x="52" y="35"/>
                  </a:lnTo>
                  <a:lnTo>
                    <a:pt x="27" y="25"/>
                  </a:lnTo>
                  <a:lnTo>
                    <a:pt x="0" y="54"/>
                  </a:lnTo>
                  <a:lnTo>
                    <a:pt x="37" y="56"/>
                  </a:lnTo>
                  <a:lnTo>
                    <a:pt x="33" y="85"/>
                  </a:lnTo>
                  <a:lnTo>
                    <a:pt x="60" y="81"/>
                  </a:lnTo>
                  <a:lnTo>
                    <a:pt x="31" y="154"/>
                  </a:lnTo>
                  <a:lnTo>
                    <a:pt x="90" y="143"/>
                  </a:lnTo>
                  <a:lnTo>
                    <a:pt x="96" y="186"/>
                  </a:lnTo>
                  <a:lnTo>
                    <a:pt x="32" y="173"/>
                  </a:lnTo>
                  <a:lnTo>
                    <a:pt x="41" y="212"/>
                  </a:lnTo>
                  <a:lnTo>
                    <a:pt x="42" y="230"/>
                  </a:lnTo>
                  <a:lnTo>
                    <a:pt x="101" y="245"/>
                  </a:lnTo>
                  <a:lnTo>
                    <a:pt x="134" y="209"/>
                  </a:lnTo>
                  <a:lnTo>
                    <a:pt x="163" y="276"/>
                  </a:lnTo>
                  <a:lnTo>
                    <a:pt x="248" y="201"/>
                  </a:lnTo>
                  <a:lnTo>
                    <a:pt x="258" y="144"/>
                  </a:lnTo>
                  <a:lnTo>
                    <a:pt x="249" y="120"/>
                  </a:lnTo>
                  <a:lnTo>
                    <a:pt x="235" y="134"/>
                  </a:lnTo>
                  <a:lnTo>
                    <a:pt x="198" y="118"/>
                  </a:lnTo>
                  <a:lnTo>
                    <a:pt x="209" y="85"/>
                  </a:lnTo>
                  <a:lnTo>
                    <a:pt x="173" y="77"/>
                  </a:lnTo>
                  <a:lnTo>
                    <a:pt x="173" y="5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97" name="Freeform 96"/>
            <p:cNvSpPr>
              <a:spLocks/>
            </p:cNvSpPr>
            <p:nvPr/>
          </p:nvSpPr>
          <p:spPr bwMode="auto">
            <a:xfrm>
              <a:off x="1283493" y="4039393"/>
              <a:ext cx="265113" cy="192088"/>
            </a:xfrm>
            <a:custGeom>
              <a:avLst/>
              <a:gdLst>
                <a:gd name="T0" fmla="*/ 55 w 171"/>
                <a:gd name="T1" fmla="*/ 0 h 121"/>
                <a:gd name="T2" fmla="*/ 10 w 171"/>
                <a:gd name="T3" fmla="*/ 18 h 121"/>
                <a:gd name="T4" fmla="*/ 22 w 171"/>
                <a:gd name="T5" fmla="*/ 56 h 121"/>
                <a:gd name="T6" fmla="*/ 0 w 171"/>
                <a:gd name="T7" fmla="*/ 62 h 121"/>
                <a:gd name="T8" fmla="*/ 31 w 171"/>
                <a:gd name="T9" fmla="*/ 75 h 121"/>
                <a:gd name="T10" fmla="*/ 61 w 171"/>
                <a:gd name="T11" fmla="*/ 59 h 121"/>
                <a:gd name="T12" fmla="*/ 51 w 171"/>
                <a:gd name="T13" fmla="*/ 92 h 121"/>
                <a:gd name="T14" fmla="*/ 66 w 171"/>
                <a:gd name="T15" fmla="*/ 104 h 121"/>
                <a:gd name="T16" fmla="*/ 86 w 171"/>
                <a:gd name="T17" fmla="*/ 79 h 121"/>
                <a:gd name="T18" fmla="*/ 94 w 171"/>
                <a:gd name="T19" fmla="*/ 121 h 121"/>
                <a:gd name="T20" fmla="*/ 171 w 171"/>
                <a:gd name="T21" fmla="*/ 113 h 121"/>
                <a:gd name="T22" fmla="*/ 130 w 171"/>
                <a:gd name="T23" fmla="*/ 58 h 121"/>
                <a:gd name="T24" fmla="*/ 144 w 171"/>
                <a:gd name="T25" fmla="*/ 38 h 121"/>
                <a:gd name="T26" fmla="*/ 114 w 171"/>
                <a:gd name="T27" fmla="*/ 30 h 121"/>
                <a:gd name="T28" fmla="*/ 77 w 171"/>
                <a:gd name="T29" fmla="*/ 18 h 121"/>
                <a:gd name="T30" fmla="*/ 56 w 171"/>
                <a:gd name="T31" fmla="*/ 15 h 121"/>
                <a:gd name="T32" fmla="*/ 55 w 171"/>
                <a:gd name="T33" fmla="*/ 0 h 121"/>
                <a:gd name="T34" fmla="*/ 55 w 171"/>
                <a:gd name="T35" fmla="*/ 0 h 121"/>
                <a:gd name="T36" fmla="*/ 55 w 171"/>
                <a:gd name="T37" fmla="*/ 0 h 1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1"/>
                <a:gd name="T58" fmla="*/ 0 h 121"/>
                <a:gd name="T59" fmla="*/ 171 w 171"/>
                <a:gd name="T60" fmla="*/ 121 h 1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1" h="121">
                  <a:moveTo>
                    <a:pt x="55" y="0"/>
                  </a:moveTo>
                  <a:lnTo>
                    <a:pt x="10" y="18"/>
                  </a:lnTo>
                  <a:lnTo>
                    <a:pt x="22" y="56"/>
                  </a:lnTo>
                  <a:lnTo>
                    <a:pt x="0" y="62"/>
                  </a:lnTo>
                  <a:lnTo>
                    <a:pt x="31" y="75"/>
                  </a:lnTo>
                  <a:lnTo>
                    <a:pt x="61" y="59"/>
                  </a:lnTo>
                  <a:lnTo>
                    <a:pt x="51" y="92"/>
                  </a:lnTo>
                  <a:lnTo>
                    <a:pt x="66" y="104"/>
                  </a:lnTo>
                  <a:lnTo>
                    <a:pt x="86" y="79"/>
                  </a:lnTo>
                  <a:lnTo>
                    <a:pt x="94" y="121"/>
                  </a:lnTo>
                  <a:lnTo>
                    <a:pt x="171" y="113"/>
                  </a:lnTo>
                  <a:lnTo>
                    <a:pt x="130" y="58"/>
                  </a:lnTo>
                  <a:lnTo>
                    <a:pt x="144" y="38"/>
                  </a:lnTo>
                  <a:lnTo>
                    <a:pt x="114" y="30"/>
                  </a:lnTo>
                  <a:lnTo>
                    <a:pt x="77" y="18"/>
                  </a:lnTo>
                  <a:lnTo>
                    <a:pt x="56" y="15"/>
                  </a:lnTo>
                  <a:lnTo>
                    <a:pt x="55"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98" name="Freeform 97"/>
            <p:cNvSpPr>
              <a:spLocks/>
            </p:cNvSpPr>
            <p:nvPr/>
          </p:nvSpPr>
          <p:spPr bwMode="auto">
            <a:xfrm>
              <a:off x="1632743" y="3856831"/>
              <a:ext cx="266700" cy="398462"/>
            </a:xfrm>
            <a:custGeom>
              <a:avLst/>
              <a:gdLst>
                <a:gd name="T0" fmla="*/ 0 w 172"/>
                <a:gd name="T1" fmla="*/ 132 h 249"/>
                <a:gd name="T2" fmla="*/ 72 w 172"/>
                <a:gd name="T3" fmla="*/ 121 h 249"/>
                <a:gd name="T4" fmla="*/ 92 w 172"/>
                <a:gd name="T5" fmla="*/ 163 h 249"/>
                <a:gd name="T6" fmla="*/ 103 w 172"/>
                <a:gd name="T7" fmla="*/ 233 h 249"/>
                <a:gd name="T8" fmla="*/ 144 w 172"/>
                <a:gd name="T9" fmla="*/ 249 h 249"/>
                <a:gd name="T10" fmla="*/ 162 w 172"/>
                <a:gd name="T11" fmla="*/ 219 h 249"/>
                <a:gd name="T12" fmla="*/ 139 w 172"/>
                <a:gd name="T13" fmla="*/ 135 h 249"/>
                <a:gd name="T14" fmla="*/ 172 w 172"/>
                <a:gd name="T15" fmla="*/ 104 h 249"/>
                <a:gd name="T16" fmla="*/ 167 w 172"/>
                <a:gd name="T17" fmla="*/ 79 h 249"/>
                <a:gd name="T18" fmla="*/ 132 w 172"/>
                <a:gd name="T19" fmla="*/ 43 h 249"/>
                <a:gd name="T20" fmla="*/ 146 w 172"/>
                <a:gd name="T21" fmla="*/ 7 h 249"/>
                <a:gd name="T22" fmla="*/ 135 w 172"/>
                <a:gd name="T23" fmla="*/ 0 h 249"/>
                <a:gd name="T24" fmla="*/ 94 w 172"/>
                <a:gd name="T25" fmla="*/ 28 h 249"/>
                <a:gd name="T26" fmla="*/ 90 w 172"/>
                <a:gd name="T27" fmla="*/ 57 h 249"/>
                <a:gd name="T28" fmla="*/ 46 w 172"/>
                <a:gd name="T29" fmla="*/ 43 h 249"/>
                <a:gd name="T30" fmla="*/ 36 w 172"/>
                <a:gd name="T31" fmla="*/ 100 h 249"/>
                <a:gd name="T32" fmla="*/ 0 w 172"/>
                <a:gd name="T33" fmla="*/ 132 h 249"/>
                <a:gd name="T34" fmla="*/ 0 w 172"/>
                <a:gd name="T35" fmla="*/ 132 h 249"/>
                <a:gd name="T36" fmla="*/ 0 w 172"/>
                <a:gd name="T37" fmla="*/ 132 h 2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2"/>
                <a:gd name="T58" fmla="*/ 0 h 249"/>
                <a:gd name="T59" fmla="*/ 172 w 172"/>
                <a:gd name="T60" fmla="*/ 249 h 2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2" h="249">
                  <a:moveTo>
                    <a:pt x="0" y="132"/>
                  </a:moveTo>
                  <a:lnTo>
                    <a:pt x="72" y="121"/>
                  </a:lnTo>
                  <a:lnTo>
                    <a:pt x="92" y="163"/>
                  </a:lnTo>
                  <a:lnTo>
                    <a:pt x="103" y="233"/>
                  </a:lnTo>
                  <a:lnTo>
                    <a:pt x="144" y="249"/>
                  </a:lnTo>
                  <a:lnTo>
                    <a:pt x="162" y="219"/>
                  </a:lnTo>
                  <a:lnTo>
                    <a:pt x="139" y="135"/>
                  </a:lnTo>
                  <a:lnTo>
                    <a:pt x="172" y="104"/>
                  </a:lnTo>
                  <a:lnTo>
                    <a:pt x="167" y="79"/>
                  </a:lnTo>
                  <a:lnTo>
                    <a:pt x="132" y="43"/>
                  </a:lnTo>
                  <a:lnTo>
                    <a:pt x="146" y="7"/>
                  </a:lnTo>
                  <a:lnTo>
                    <a:pt x="135" y="0"/>
                  </a:lnTo>
                  <a:lnTo>
                    <a:pt x="94" y="28"/>
                  </a:lnTo>
                  <a:lnTo>
                    <a:pt x="90" y="57"/>
                  </a:lnTo>
                  <a:lnTo>
                    <a:pt x="46" y="43"/>
                  </a:lnTo>
                  <a:lnTo>
                    <a:pt x="36" y="100"/>
                  </a:lnTo>
                  <a:lnTo>
                    <a:pt x="0" y="132"/>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299" name="Freeform 98"/>
            <p:cNvSpPr>
              <a:spLocks/>
            </p:cNvSpPr>
            <p:nvPr/>
          </p:nvSpPr>
          <p:spPr bwMode="auto">
            <a:xfrm>
              <a:off x="1769268" y="3677443"/>
              <a:ext cx="211138" cy="317500"/>
            </a:xfrm>
            <a:custGeom>
              <a:avLst/>
              <a:gdLst>
                <a:gd name="T0" fmla="*/ 22 w 136"/>
                <a:gd name="T1" fmla="*/ 0 h 198"/>
                <a:gd name="T2" fmla="*/ 17 w 136"/>
                <a:gd name="T3" fmla="*/ 7 h 198"/>
                <a:gd name="T4" fmla="*/ 0 w 136"/>
                <a:gd name="T5" fmla="*/ 14 h 198"/>
                <a:gd name="T6" fmla="*/ 7 w 136"/>
                <a:gd name="T7" fmla="*/ 22 h 198"/>
                <a:gd name="T8" fmla="*/ 2 w 136"/>
                <a:gd name="T9" fmla="*/ 56 h 198"/>
                <a:gd name="T10" fmla="*/ 47 w 136"/>
                <a:gd name="T11" fmla="*/ 112 h 198"/>
                <a:gd name="T12" fmla="*/ 58 w 136"/>
                <a:gd name="T13" fmla="*/ 119 h 198"/>
                <a:gd name="T14" fmla="*/ 43 w 136"/>
                <a:gd name="T15" fmla="*/ 156 h 198"/>
                <a:gd name="T16" fmla="*/ 82 w 136"/>
                <a:gd name="T17" fmla="*/ 192 h 198"/>
                <a:gd name="T18" fmla="*/ 106 w 136"/>
                <a:gd name="T19" fmla="*/ 198 h 198"/>
                <a:gd name="T20" fmla="*/ 136 w 136"/>
                <a:gd name="T21" fmla="*/ 175 h 198"/>
                <a:gd name="T22" fmla="*/ 129 w 136"/>
                <a:gd name="T23" fmla="*/ 123 h 198"/>
                <a:gd name="T24" fmla="*/ 62 w 136"/>
                <a:gd name="T25" fmla="*/ 89 h 198"/>
                <a:gd name="T26" fmla="*/ 88 w 136"/>
                <a:gd name="T27" fmla="*/ 48 h 198"/>
                <a:gd name="T28" fmla="*/ 54 w 136"/>
                <a:gd name="T29" fmla="*/ 12 h 198"/>
                <a:gd name="T30" fmla="*/ 59 w 136"/>
                <a:gd name="T31" fmla="*/ 6 h 198"/>
                <a:gd name="T32" fmla="*/ 22 w 136"/>
                <a:gd name="T33" fmla="*/ 3 h 198"/>
                <a:gd name="T34" fmla="*/ 22 w 136"/>
                <a:gd name="T35" fmla="*/ 0 h 198"/>
                <a:gd name="T36" fmla="*/ 22 w 136"/>
                <a:gd name="T37" fmla="*/ 0 h 198"/>
                <a:gd name="T38" fmla="*/ 22 w 136"/>
                <a:gd name="T39" fmla="*/ 0 h 19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6"/>
                <a:gd name="T61" fmla="*/ 0 h 198"/>
                <a:gd name="T62" fmla="*/ 136 w 136"/>
                <a:gd name="T63" fmla="*/ 198 h 19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6" h="198">
                  <a:moveTo>
                    <a:pt x="22" y="0"/>
                  </a:moveTo>
                  <a:lnTo>
                    <a:pt x="17" y="7"/>
                  </a:lnTo>
                  <a:lnTo>
                    <a:pt x="0" y="14"/>
                  </a:lnTo>
                  <a:lnTo>
                    <a:pt x="7" y="22"/>
                  </a:lnTo>
                  <a:lnTo>
                    <a:pt x="2" y="56"/>
                  </a:lnTo>
                  <a:lnTo>
                    <a:pt x="47" y="112"/>
                  </a:lnTo>
                  <a:lnTo>
                    <a:pt x="58" y="119"/>
                  </a:lnTo>
                  <a:lnTo>
                    <a:pt x="43" y="156"/>
                  </a:lnTo>
                  <a:lnTo>
                    <a:pt x="82" y="192"/>
                  </a:lnTo>
                  <a:lnTo>
                    <a:pt x="106" y="198"/>
                  </a:lnTo>
                  <a:lnTo>
                    <a:pt x="136" y="175"/>
                  </a:lnTo>
                  <a:lnTo>
                    <a:pt x="129" y="123"/>
                  </a:lnTo>
                  <a:lnTo>
                    <a:pt x="62" y="89"/>
                  </a:lnTo>
                  <a:lnTo>
                    <a:pt x="88" y="48"/>
                  </a:lnTo>
                  <a:lnTo>
                    <a:pt x="54" y="12"/>
                  </a:lnTo>
                  <a:lnTo>
                    <a:pt x="59" y="6"/>
                  </a:lnTo>
                  <a:lnTo>
                    <a:pt x="22" y="3"/>
                  </a:lnTo>
                  <a:lnTo>
                    <a:pt x="22"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300" name="Freeform 99"/>
            <p:cNvSpPr>
              <a:spLocks/>
            </p:cNvSpPr>
            <p:nvPr/>
          </p:nvSpPr>
          <p:spPr bwMode="auto">
            <a:xfrm>
              <a:off x="1866106" y="3755231"/>
              <a:ext cx="331787" cy="274637"/>
            </a:xfrm>
            <a:custGeom>
              <a:avLst/>
              <a:gdLst>
                <a:gd name="T0" fmla="*/ 26 w 214"/>
                <a:gd name="T1" fmla="*/ 0 h 172"/>
                <a:gd name="T2" fmla="*/ 0 w 214"/>
                <a:gd name="T3" fmla="*/ 41 h 172"/>
                <a:gd name="T4" fmla="*/ 67 w 214"/>
                <a:gd name="T5" fmla="*/ 75 h 172"/>
                <a:gd name="T6" fmla="*/ 74 w 214"/>
                <a:gd name="T7" fmla="*/ 127 h 172"/>
                <a:gd name="T8" fmla="*/ 104 w 214"/>
                <a:gd name="T9" fmla="*/ 172 h 172"/>
                <a:gd name="T10" fmla="*/ 183 w 214"/>
                <a:gd name="T11" fmla="*/ 172 h 172"/>
                <a:gd name="T12" fmla="*/ 181 w 214"/>
                <a:gd name="T13" fmla="*/ 147 h 172"/>
                <a:gd name="T14" fmla="*/ 214 w 214"/>
                <a:gd name="T15" fmla="*/ 136 h 172"/>
                <a:gd name="T16" fmla="*/ 180 w 214"/>
                <a:gd name="T17" fmla="*/ 85 h 172"/>
                <a:gd name="T18" fmla="*/ 126 w 214"/>
                <a:gd name="T19" fmla="*/ 81 h 172"/>
                <a:gd name="T20" fmla="*/ 126 w 214"/>
                <a:gd name="T21" fmla="*/ 61 h 172"/>
                <a:gd name="T22" fmla="*/ 93 w 214"/>
                <a:gd name="T23" fmla="*/ 65 h 172"/>
                <a:gd name="T24" fmla="*/ 26 w 214"/>
                <a:gd name="T25" fmla="*/ 0 h 172"/>
                <a:gd name="T26" fmla="*/ 26 w 214"/>
                <a:gd name="T27" fmla="*/ 0 h 172"/>
                <a:gd name="T28" fmla="*/ 26 w 214"/>
                <a:gd name="T29" fmla="*/ 0 h 1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4"/>
                <a:gd name="T46" fmla="*/ 0 h 172"/>
                <a:gd name="T47" fmla="*/ 214 w 214"/>
                <a:gd name="T48" fmla="*/ 172 h 17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4" h="172">
                  <a:moveTo>
                    <a:pt x="26" y="0"/>
                  </a:moveTo>
                  <a:lnTo>
                    <a:pt x="0" y="41"/>
                  </a:lnTo>
                  <a:lnTo>
                    <a:pt x="67" y="75"/>
                  </a:lnTo>
                  <a:lnTo>
                    <a:pt x="74" y="127"/>
                  </a:lnTo>
                  <a:lnTo>
                    <a:pt x="104" y="172"/>
                  </a:lnTo>
                  <a:lnTo>
                    <a:pt x="183" y="172"/>
                  </a:lnTo>
                  <a:lnTo>
                    <a:pt x="181" y="147"/>
                  </a:lnTo>
                  <a:lnTo>
                    <a:pt x="214" y="136"/>
                  </a:lnTo>
                  <a:lnTo>
                    <a:pt x="180" y="85"/>
                  </a:lnTo>
                  <a:lnTo>
                    <a:pt x="126" y="81"/>
                  </a:lnTo>
                  <a:lnTo>
                    <a:pt x="126" y="61"/>
                  </a:lnTo>
                  <a:lnTo>
                    <a:pt x="93" y="65"/>
                  </a:lnTo>
                  <a:lnTo>
                    <a:pt x="26"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301" name="Freeform 100"/>
            <p:cNvSpPr>
              <a:spLocks/>
            </p:cNvSpPr>
            <p:nvPr/>
          </p:nvSpPr>
          <p:spPr bwMode="auto">
            <a:xfrm>
              <a:off x="2061368" y="3734593"/>
              <a:ext cx="195263" cy="238125"/>
            </a:xfrm>
            <a:custGeom>
              <a:avLst/>
              <a:gdLst>
                <a:gd name="T0" fmla="*/ 51 w 126"/>
                <a:gd name="T1" fmla="*/ 0 h 149"/>
                <a:gd name="T2" fmla="*/ 0 w 126"/>
                <a:gd name="T3" fmla="*/ 74 h 149"/>
                <a:gd name="T4" fmla="*/ 0 w 126"/>
                <a:gd name="T5" fmla="*/ 93 h 149"/>
                <a:gd name="T6" fmla="*/ 55 w 126"/>
                <a:gd name="T7" fmla="*/ 98 h 149"/>
                <a:gd name="T8" fmla="*/ 88 w 126"/>
                <a:gd name="T9" fmla="*/ 149 h 149"/>
                <a:gd name="T10" fmla="*/ 108 w 126"/>
                <a:gd name="T11" fmla="*/ 149 h 149"/>
                <a:gd name="T12" fmla="*/ 126 w 126"/>
                <a:gd name="T13" fmla="*/ 125 h 149"/>
                <a:gd name="T14" fmla="*/ 122 w 126"/>
                <a:gd name="T15" fmla="*/ 104 h 149"/>
                <a:gd name="T16" fmla="*/ 95 w 126"/>
                <a:gd name="T17" fmla="*/ 60 h 149"/>
                <a:gd name="T18" fmla="*/ 81 w 126"/>
                <a:gd name="T19" fmla="*/ 20 h 149"/>
                <a:gd name="T20" fmla="*/ 51 w 126"/>
                <a:gd name="T21" fmla="*/ 0 h 149"/>
                <a:gd name="T22" fmla="*/ 51 w 126"/>
                <a:gd name="T23" fmla="*/ 0 h 149"/>
                <a:gd name="T24" fmla="*/ 51 w 126"/>
                <a:gd name="T25" fmla="*/ 0 h 1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6"/>
                <a:gd name="T40" fmla="*/ 0 h 149"/>
                <a:gd name="T41" fmla="*/ 126 w 126"/>
                <a:gd name="T42" fmla="*/ 149 h 1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6" h="149">
                  <a:moveTo>
                    <a:pt x="51" y="0"/>
                  </a:moveTo>
                  <a:lnTo>
                    <a:pt x="0" y="74"/>
                  </a:lnTo>
                  <a:lnTo>
                    <a:pt x="0" y="93"/>
                  </a:lnTo>
                  <a:lnTo>
                    <a:pt x="55" y="98"/>
                  </a:lnTo>
                  <a:lnTo>
                    <a:pt x="88" y="149"/>
                  </a:lnTo>
                  <a:lnTo>
                    <a:pt x="108" y="149"/>
                  </a:lnTo>
                  <a:lnTo>
                    <a:pt x="126" y="125"/>
                  </a:lnTo>
                  <a:lnTo>
                    <a:pt x="122" y="104"/>
                  </a:lnTo>
                  <a:lnTo>
                    <a:pt x="95" y="60"/>
                  </a:lnTo>
                  <a:lnTo>
                    <a:pt x="81" y="20"/>
                  </a:lnTo>
                  <a:lnTo>
                    <a:pt x="51"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302" name="Freeform 101"/>
            <p:cNvSpPr>
              <a:spLocks/>
            </p:cNvSpPr>
            <p:nvPr/>
          </p:nvSpPr>
          <p:spPr bwMode="auto">
            <a:xfrm>
              <a:off x="1848643" y="3955256"/>
              <a:ext cx="177800" cy="223837"/>
            </a:xfrm>
            <a:custGeom>
              <a:avLst/>
              <a:gdLst>
                <a:gd name="T0" fmla="*/ 85 w 115"/>
                <a:gd name="T1" fmla="*/ 0 h 140"/>
                <a:gd name="T2" fmla="*/ 55 w 115"/>
                <a:gd name="T3" fmla="*/ 24 h 140"/>
                <a:gd name="T4" fmla="*/ 29 w 115"/>
                <a:gd name="T5" fmla="*/ 17 h 140"/>
                <a:gd name="T6" fmla="*/ 34 w 115"/>
                <a:gd name="T7" fmla="*/ 42 h 140"/>
                <a:gd name="T8" fmla="*/ 0 w 115"/>
                <a:gd name="T9" fmla="*/ 73 h 140"/>
                <a:gd name="T10" fmla="*/ 18 w 115"/>
                <a:gd name="T11" fmla="*/ 140 h 140"/>
                <a:gd name="T12" fmla="*/ 53 w 115"/>
                <a:gd name="T13" fmla="*/ 113 h 140"/>
                <a:gd name="T14" fmla="*/ 73 w 115"/>
                <a:gd name="T15" fmla="*/ 116 h 140"/>
                <a:gd name="T16" fmla="*/ 85 w 115"/>
                <a:gd name="T17" fmla="*/ 80 h 140"/>
                <a:gd name="T18" fmla="*/ 115 w 115"/>
                <a:gd name="T19" fmla="*/ 46 h 140"/>
                <a:gd name="T20" fmla="*/ 85 w 115"/>
                <a:gd name="T21" fmla="*/ 0 h 140"/>
                <a:gd name="T22" fmla="*/ 85 w 115"/>
                <a:gd name="T23" fmla="*/ 0 h 140"/>
                <a:gd name="T24" fmla="*/ 85 w 115"/>
                <a:gd name="T25" fmla="*/ 0 h 1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5"/>
                <a:gd name="T40" fmla="*/ 0 h 140"/>
                <a:gd name="T41" fmla="*/ 115 w 115"/>
                <a:gd name="T42" fmla="*/ 140 h 1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5" h="140">
                  <a:moveTo>
                    <a:pt x="85" y="0"/>
                  </a:moveTo>
                  <a:lnTo>
                    <a:pt x="55" y="24"/>
                  </a:lnTo>
                  <a:lnTo>
                    <a:pt x="29" y="17"/>
                  </a:lnTo>
                  <a:lnTo>
                    <a:pt x="34" y="42"/>
                  </a:lnTo>
                  <a:lnTo>
                    <a:pt x="0" y="73"/>
                  </a:lnTo>
                  <a:lnTo>
                    <a:pt x="18" y="140"/>
                  </a:lnTo>
                  <a:lnTo>
                    <a:pt x="53" y="113"/>
                  </a:lnTo>
                  <a:lnTo>
                    <a:pt x="73" y="116"/>
                  </a:lnTo>
                  <a:lnTo>
                    <a:pt x="85" y="80"/>
                  </a:lnTo>
                  <a:lnTo>
                    <a:pt x="115" y="46"/>
                  </a:lnTo>
                  <a:lnTo>
                    <a:pt x="85"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303" name="Freeform 102"/>
            <p:cNvSpPr>
              <a:spLocks/>
            </p:cNvSpPr>
            <p:nvPr/>
          </p:nvSpPr>
          <p:spPr bwMode="auto">
            <a:xfrm>
              <a:off x="1877218" y="4029868"/>
              <a:ext cx="258763" cy="188913"/>
            </a:xfrm>
            <a:custGeom>
              <a:avLst/>
              <a:gdLst>
                <a:gd name="T0" fmla="*/ 97 w 168"/>
                <a:gd name="T1" fmla="*/ 0 h 119"/>
                <a:gd name="T2" fmla="*/ 68 w 168"/>
                <a:gd name="T3" fmla="*/ 32 h 119"/>
                <a:gd name="T4" fmla="*/ 55 w 168"/>
                <a:gd name="T5" fmla="*/ 70 h 119"/>
                <a:gd name="T6" fmla="*/ 35 w 168"/>
                <a:gd name="T7" fmla="*/ 67 h 119"/>
                <a:gd name="T8" fmla="*/ 0 w 168"/>
                <a:gd name="T9" fmla="*/ 94 h 119"/>
                <a:gd name="T10" fmla="*/ 6 w 168"/>
                <a:gd name="T11" fmla="*/ 116 h 119"/>
                <a:gd name="T12" fmla="*/ 33 w 168"/>
                <a:gd name="T13" fmla="*/ 119 h 119"/>
                <a:gd name="T14" fmla="*/ 55 w 168"/>
                <a:gd name="T15" fmla="*/ 107 h 119"/>
                <a:gd name="T16" fmla="*/ 67 w 168"/>
                <a:gd name="T17" fmla="*/ 119 h 119"/>
                <a:gd name="T18" fmla="*/ 114 w 168"/>
                <a:gd name="T19" fmla="*/ 119 h 119"/>
                <a:gd name="T20" fmla="*/ 132 w 168"/>
                <a:gd name="T21" fmla="*/ 107 h 119"/>
                <a:gd name="T22" fmla="*/ 163 w 168"/>
                <a:gd name="T23" fmla="*/ 74 h 119"/>
                <a:gd name="T24" fmla="*/ 168 w 168"/>
                <a:gd name="T25" fmla="*/ 34 h 119"/>
                <a:gd name="T26" fmla="*/ 134 w 168"/>
                <a:gd name="T27" fmla="*/ 31 h 119"/>
                <a:gd name="T28" fmla="*/ 114 w 168"/>
                <a:gd name="T29" fmla="*/ 0 h 119"/>
                <a:gd name="T30" fmla="*/ 97 w 168"/>
                <a:gd name="T31" fmla="*/ 0 h 119"/>
                <a:gd name="T32" fmla="*/ 97 w 168"/>
                <a:gd name="T33" fmla="*/ 0 h 119"/>
                <a:gd name="T34" fmla="*/ 97 w 168"/>
                <a:gd name="T35" fmla="*/ 0 h 1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8"/>
                <a:gd name="T55" fmla="*/ 0 h 119"/>
                <a:gd name="T56" fmla="*/ 168 w 168"/>
                <a:gd name="T57" fmla="*/ 119 h 1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8" h="119">
                  <a:moveTo>
                    <a:pt x="97" y="0"/>
                  </a:moveTo>
                  <a:lnTo>
                    <a:pt x="68" y="32"/>
                  </a:lnTo>
                  <a:lnTo>
                    <a:pt x="55" y="70"/>
                  </a:lnTo>
                  <a:lnTo>
                    <a:pt x="35" y="67"/>
                  </a:lnTo>
                  <a:lnTo>
                    <a:pt x="0" y="94"/>
                  </a:lnTo>
                  <a:lnTo>
                    <a:pt x="6" y="116"/>
                  </a:lnTo>
                  <a:lnTo>
                    <a:pt x="33" y="119"/>
                  </a:lnTo>
                  <a:lnTo>
                    <a:pt x="55" y="107"/>
                  </a:lnTo>
                  <a:lnTo>
                    <a:pt x="67" y="119"/>
                  </a:lnTo>
                  <a:lnTo>
                    <a:pt x="114" y="119"/>
                  </a:lnTo>
                  <a:lnTo>
                    <a:pt x="132" y="107"/>
                  </a:lnTo>
                  <a:lnTo>
                    <a:pt x="163" y="74"/>
                  </a:lnTo>
                  <a:lnTo>
                    <a:pt x="168" y="34"/>
                  </a:lnTo>
                  <a:lnTo>
                    <a:pt x="134" y="31"/>
                  </a:lnTo>
                  <a:lnTo>
                    <a:pt x="114" y="0"/>
                  </a:lnTo>
                  <a:lnTo>
                    <a:pt x="97"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304" name="Freeform 103"/>
            <p:cNvSpPr>
              <a:spLocks/>
            </p:cNvSpPr>
            <p:nvPr/>
          </p:nvSpPr>
          <p:spPr bwMode="auto">
            <a:xfrm>
              <a:off x="2228056" y="3880643"/>
              <a:ext cx="161925" cy="177800"/>
            </a:xfrm>
            <a:custGeom>
              <a:avLst/>
              <a:gdLst>
                <a:gd name="T0" fmla="*/ 75 w 104"/>
                <a:gd name="T1" fmla="*/ 0 h 111"/>
                <a:gd name="T2" fmla="*/ 14 w 104"/>
                <a:gd name="T3" fmla="*/ 12 h 111"/>
                <a:gd name="T4" fmla="*/ 18 w 104"/>
                <a:gd name="T5" fmla="*/ 34 h 111"/>
                <a:gd name="T6" fmla="*/ 0 w 104"/>
                <a:gd name="T7" fmla="*/ 57 h 111"/>
                <a:gd name="T8" fmla="*/ 40 w 104"/>
                <a:gd name="T9" fmla="*/ 111 h 111"/>
                <a:gd name="T10" fmla="*/ 77 w 104"/>
                <a:gd name="T11" fmla="*/ 105 h 111"/>
                <a:gd name="T12" fmla="*/ 77 w 104"/>
                <a:gd name="T13" fmla="*/ 78 h 111"/>
                <a:gd name="T14" fmla="*/ 59 w 104"/>
                <a:gd name="T15" fmla="*/ 37 h 111"/>
                <a:gd name="T16" fmla="*/ 65 w 104"/>
                <a:gd name="T17" fmla="*/ 22 h 111"/>
                <a:gd name="T18" fmla="*/ 104 w 104"/>
                <a:gd name="T19" fmla="*/ 22 h 111"/>
                <a:gd name="T20" fmla="*/ 75 w 104"/>
                <a:gd name="T21" fmla="*/ 0 h 111"/>
                <a:gd name="T22" fmla="*/ 75 w 104"/>
                <a:gd name="T23" fmla="*/ 0 h 111"/>
                <a:gd name="T24" fmla="*/ 75 w 104"/>
                <a:gd name="T25" fmla="*/ 0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11"/>
                <a:gd name="T41" fmla="*/ 104 w 104"/>
                <a:gd name="T42" fmla="*/ 111 h 1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11">
                  <a:moveTo>
                    <a:pt x="75" y="0"/>
                  </a:moveTo>
                  <a:lnTo>
                    <a:pt x="14" y="12"/>
                  </a:lnTo>
                  <a:lnTo>
                    <a:pt x="18" y="34"/>
                  </a:lnTo>
                  <a:lnTo>
                    <a:pt x="0" y="57"/>
                  </a:lnTo>
                  <a:lnTo>
                    <a:pt x="40" y="111"/>
                  </a:lnTo>
                  <a:lnTo>
                    <a:pt x="77" y="105"/>
                  </a:lnTo>
                  <a:lnTo>
                    <a:pt x="77" y="78"/>
                  </a:lnTo>
                  <a:lnTo>
                    <a:pt x="59" y="37"/>
                  </a:lnTo>
                  <a:lnTo>
                    <a:pt x="65" y="22"/>
                  </a:lnTo>
                  <a:lnTo>
                    <a:pt x="104" y="22"/>
                  </a:lnTo>
                  <a:lnTo>
                    <a:pt x="75"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305" name="Freeform 104"/>
            <p:cNvSpPr>
              <a:spLocks/>
            </p:cNvSpPr>
            <p:nvPr/>
          </p:nvSpPr>
          <p:spPr bwMode="auto">
            <a:xfrm>
              <a:off x="2251868" y="4093368"/>
              <a:ext cx="123825" cy="214313"/>
            </a:xfrm>
            <a:custGeom>
              <a:avLst/>
              <a:gdLst>
                <a:gd name="T0" fmla="*/ 65 w 80"/>
                <a:gd name="T1" fmla="*/ 0 h 134"/>
                <a:gd name="T2" fmla="*/ 29 w 80"/>
                <a:gd name="T3" fmla="*/ 28 h 134"/>
                <a:gd name="T4" fmla="*/ 41 w 80"/>
                <a:gd name="T5" fmla="*/ 54 h 134"/>
                <a:gd name="T6" fmla="*/ 0 w 80"/>
                <a:gd name="T7" fmla="*/ 103 h 134"/>
                <a:gd name="T8" fmla="*/ 15 w 80"/>
                <a:gd name="T9" fmla="*/ 128 h 134"/>
                <a:gd name="T10" fmla="*/ 80 w 80"/>
                <a:gd name="T11" fmla="*/ 134 h 134"/>
                <a:gd name="T12" fmla="*/ 67 w 80"/>
                <a:gd name="T13" fmla="*/ 87 h 134"/>
                <a:gd name="T14" fmla="*/ 80 w 80"/>
                <a:gd name="T15" fmla="*/ 60 h 134"/>
                <a:gd name="T16" fmla="*/ 65 w 80"/>
                <a:gd name="T17" fmla="*/ 0 h 134"/>
                <a:gd name="T18" fmla="*/ 65 w 80"/>
                <a:gd name="T19" fmla="*/ 0 h 134"/>
                <a:gd name="T20" fmla="*/ 65 w 80"/>
                <a:gd name="T21" fmla="*/ 0 h 1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0"/>
                <a:gd name="T34" fmla="*/ 0 h 134"/>
                <a:gd name="T35" fmla="*/ 80 w 80"/>
                <a:gd name="T36" fmla="*/ 134 h 1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0" h="134">
                  <a:moveTo>
                    <a:pt x="65" y="0"/>
                  </a:moveTo>
                  <a:lnTo>
                    <a:pt x="29" y="28"/>
                  </a:lnTo>
                  <a:lnTo>
                    <a:pt x="41" y="54"/>
                  </a:lnTo>
                  <a:lnTo>
                    <a:pt x="0" y="103"/>
                  </a:lnTo>
                  <a:lnTo>
                    <a:pt x="15" y="128"/>
                  </a:lnTo>
                  <a:lnTo>
                    <a:pt x="80" y="134"/>
                  </a:lnTo>
                  <a:lnTo>
                    <a:pt x="67" y="87"/>
                  </a:lnTo>
                  <a:lnTo>
                    <a:pt x="80" y="60"/>
                  </a:lnTo>
                  <a:lnTo>
                    <a:pt x="65"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306" name="Freeform 105"/>
            <p:cNvSpPr>
              <a:spLocks/>
            </p:cNvSpPr>
            <p:nvPr/>
          </p:nvSpPr>
          <p:spPr bwMode="auto">
            <a:xfrm>
              <a:off x="2053431" y="3972718"/>
              <a:ext cx="298450" cy="254000"/>
            </a:xfrm>
            <a:custGeom>
              <a:avLst/>
              <a:gdLst>
                <a:gd name="T0" fmla="*/ 190 w 193"/>
                <a:gd name="T1" fmla="*/ 47 h 159"/>
                <a:gd name="T2" fmla="*/ 153 w 193"/>
                <a:gd name="T3" fmla="*/ 53 h 159"/>
                <a:gd name="T4" fmla="*/ 115 w 193"/>
                <a:gd name="T5" fmla="*/ 0 h 159"/>
                <a:gd name="T6" fmla="*/ 91 w 193"/>
                <a:gd name="T7" fmla="*/ 0 h 159"/>
                <a:gd name="T8" fmla="*/ 60 w 193"/>
                <a:gd name="T9" fmla="*/ 10 h 159"/>
                <a:gd name="T10" fmla="*/ 61 w 193"/>
                <a:gd name="T11" fmla="*/ 35 h 159"/>
                <a:gd name="T12" fmla="*/ 0 w 193"/>
                <a:gd name="T13" fmla="*/ 35 h 159"/>
                <a:gd name="T14" fmla="*/ 20 w 193"/>
                <a:gd name="T15" fmla="*/ 66 h 159"/>
                <a:gd name="T16" fmla="*/ 54 w 193"/>
                <a:gd name="T17" fmla="*/ 69 h 159"/>
                <a:gd name="T18" fmla="*/ 49 w 193"/>
                <a:gd name="T19" fmla="*/ 110 h 159"/>
                <a:gd name="T20" fmla="*/ 19 w 193"/>
                <a:gd name="T21" fmla="*/ 141 h 159"/>
                <a:gd name="T22" fmla="*/ 38 w 193"/>
                <a:gd name="T23" fmla="*/ 151 h 159"/>
                <a:gd name="T24" fmla="*/ 67 w 193"/>
                <a:gd name="T25" fmla="*/ 135 h 159"/>
                <a:gd name="T26" fmla="*/ 79 w 193"/>
                <a:gd name="T27" fmla="*/ 147 h 159"/>
                <a:gd name="T28" fmla="*/ 144 w 193"/>
                <a:gd name="T29" fmla="*/ 159 h 159"/>
                <a:gd name="T30" fmla="*/ 169 w 193"/>
                <a:gd name="T31" fmla="*/ 129 h 159"/>
                <a:gd name="T32" fmla="*/ 158 w 193"/>
                <a:gd name="T33" fmla="*/ 103 h 159"/>
                <a:gd name="T34" fmla="*/ 193 w 193"/>
                <a:gd name="T35" fmla="*/ 75 h 159"/>
                <a:gd name="T36" fmla="*/ 189 w 193"/>
                <a:gd name="T37" fmla="*/ 59 h 159"/>
                <a:gd name="T38" fmla="*/ 190 w 193"/>
                <a:gd name="T39" fmla="*/ 47 h 159"/>
                <a:gd name="T40" fmla="*/ 190 w 193"/>
                <a:gd name="T41" fmla="*/ 47 h 159"/>
                <a:gd name="T42" fmla="*/ 190 w 193"/>
                <a:gd name="T43" fmla="*/ 47 h 15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93"/>
                <a:gd name="T67" fmla="*/ 0 h 159"/>
                <a:gd name="T68" fmla="*/ 193 w 193"/>
                <a:gd name="T69" fmla="*/ 159 h 15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93" h="159">
                  <a:moveTo>
                    <a:pt x="190" y="47"/>
                  </a:moveTo>
                  <a:lnTo>
                    <a:pt x="153" y="53"/>
                  </a:lnTo>
                  <a:lnTo>
                    <a:pt x="115" y="0"/>
                  </a:lnTo>
                  <a:lnTo>
                    <a:pt x="91" y="0"/>
                  </a:lnTo>
                  <a:lnTo>
                    <a:pt x="60" y="10"/>
                  </a:lnTo>
                  <a:lnTo>
                    <a:pt x="61" y="35"/>
                  </a:lnTo>
                  <a:lnTo>
                    <a:pt x="0" y="35"/>
                  </a:lnTo>
                  <a:lnTo>
                    <a:pt x="20" y="66"/>
                  </a:lnTo>
                  <a:lnTo>
                    <a:pt x="54" y="69"/>
                  </a:lnTo>
                  <a:lnTo>
                    <a:pt x="49" y="110"/>
                  </a:lnTo>
                  <a:lnTo>
                    <a:pt x="19" y="141"/>
                  </a:lnTo>
                  <a:lnTo>
                    <a:pt x="38" y="151"/>
                  </a:lnTo>
                  <a:lnTo>
                    <a:pt x="67" y="135"/>
                  </a:lnTo>
                  <a:lnTo>
                    <a:pt x="79" y="147"/>
                  </a:lnTo>
                  <a:lnTo>
                    <a:pt x="144" y="159"/>
                  </a:lnTo>
                  <a:lnTo>
                    <a:pt x="169" y="129"/>
                  </a:lnTo>
                  <a:lnTo>
                    <a:pt x="158" y="103"/>
                  </a:lnTo>
                  <a:lnTo>
                    <a:pt x="193" y="75"/>
                  </a:lnTo>
                  <a:lnTo>
                    <a:pt x="189" y="59"/>
                  </a:lnTo>
                  <a:lnTo>
                    <a:pt x="190" y="47"/>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307" name="Freeform 106"/>
            <p:cNvSpPr>
              <a:spLocks/>
            </p:cNvSpPr>
            <p:nvPr/>
          </p:nvSpPr>
          <p:spPr bwMode="auto">
            <a:xfrm>
              <a:off x="1556543" y="4050506"/>
              <a:ext cx="303213" cy="339725"/>
            </a:xfrm>
            <a:custGeom>
              <a:avLst/>
              <a:gdLst>
                <a:gd name="T0" fmla="*/ 0 w 195"/>
                <a:gd name="T1" fmla="*/ 54 h 213"/>
                <a:gd name="T2" fmla="*/ 34 w 195"/>
                <a:gd name="T3" fmla="*/ 135 h 213"/>
                <a:gd name="T4" fmla="*/ 8 w 195"/>
                <a:gd name="T5" fmla="*/ 150 h 213"/>
                <a:gd name="T6" fmla="*/ 39 w 195"/>
                <a:gd name="T7" fmla="*/ 202 h 213"/>
                <a:gd name="T8" fmla="*/ 93 w 195"/>
                <a:gd name="T9" fmla="*/ 191 h 213"/>
                <a:gd name="T10" fmla="*/ 137 w 195"/>
                <a:gd name="T11" fmla="*/ 213 h 213"/>
                <a:gd name="T12" fmla="*/ 195 w 195"/>
                <a:gd name="T13" fmla="*/ 145 h 213"/>
                <a:gd name="T14" fmla="*/ 193 w 195"/>
                <a:gd name="T15" fmla="*/ 128 h 213"/>
                <a:gd name="T16" fmla="*/ 152 w 195"/>
                <a:gd name="T17" fmla="*/ 112 h 213"/>
                <a:gd name="T18" fmla="*/ 142 w 195"/>
                <a:gd name="T19" fmla="*/ 45 h 213"/>
                <a:gd name="T20" fmla="*/ 122 w 195"/>
                <a:gd name="T21" fmla="*/ 0 h 213"/>
                <a:gd name="T22" fmla="*/ 49 w 195"/>
                <a:gd name="T23" fmla="*/ 11 h 213"/>
                <a:gd name="T24" fmla="*/ 0 w 195"/>
                <a:gd name="T25" fmla="*/ 54 h 213"/>
                <a:gd name="T26" fmla="*/ 0 w 195"/>
                <a:gd name="T27" fmla="*/ 54 h 213"/>
                <a:gd name="T28" fmla="*/ 0 w 195"/>
                <a:gd name="T29" fmla="*/ 54 h 2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5"/>
                <a:gd name="T46" fmla="*/ 0 h 213"/>
                <a:gd name="T47" fmla="*/ 195 w 195"/>
                <a:gd name="T48" fmla="*/ 213 h 2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5" h="213">
                  <a:moveTo>
                    <a:pt x="0" y="54"/>
                  </a:moveTo>
                  <a:lnTo>
                    <a:pt x="34" y="135"/>
                  </a:lnTo>
                  <a:lnTo>
                    <a:pt x="8" y="150"/>
                  </a:lnTo>
                  <a:lnTo>
                    <a:pt x="39" y="202"/>
                  </a:lnTo>
                  <a:lnTo>
                    <a:pt x="93" y="191"/>
                  </a:lnTo>
                  <a:lnTo>
                    <a:pt x="137" y="213"/>
                  </a:lnTo>
                  <a:lnTo>
                    <a:pt x="195" y="145"/>
                  </a:lnTo>
                  <a:lnTo>
                    <a:pt x="193" y="128"/>
                  </a:lnTo>
                  <a:lnTo>
                    <a:pt x="152" y="112"/>
                  </a:lnTo>
                  <a:lnTo>
                    <a:pt x="142" y="45"/>
                  </a:lnTo>
                  <a:lnTo>
                    <a:pt x="122" y="0"/>
                  </a:lnTo>
                  <a:lnTo>
                    <a:pt x="49" y="11"/>
                  </a:lnTo>
                  <a:lnTo>
                    <a:pt x="0" y="54"/>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308" name="Freeform 107"/>
            <p:cNvSpPr>
              <a:spLocks/>
            </p:cNvSpPr>
            <p:nvPr/>
          </p:nvSpPr>
          <p:spPr bwMode="auto">
            <a:xfrm>
              <a:off x="1316831" y="4279106"/>
              <a:ext cx="452437" cy="268287"/>
            </a:xfrm>
            <a:custGeom>
              <a:avLst/>
              <a:gdLst>
                <a:gd name="T0" fmla="*/ 163 w 292"/>
                <a:gd name="T1" fmla="*/ 7 h 168"/>
                <a:gd name="T2" fmla="*/ 114 w 292"/>
                <a:gd name="T3" fmla="*/ 0 h 168"/>
                <a:gd name="T4" fmla="*/ 82 w 292"/>
                <a:gd name="T5" fmla="*/ 64 h 168"/>
                <a:gd name="T6" fmla="*/ 111 w 292"/>
                <a:gd name="T7" fmla="*/ 68 h 168"/>
                <a:gd name="T8" fmla="*/ 78 w 292"/>
                <a:gd name="T9" fmla="*/ 113 h 168"/>
                <a:gd name="T10" fmla="*/ 50 w 292"/>
                <a:gd name="T11" fmla="*/ 113 h 168"/>
                <a:gd name="T12" fmla="*/ 0 w 292"/>
                <a:gd name="T13" fmla="*/ 168 h 168"/>
                <a:gd name="T14" fmla="*/ 90 w 292"/>
                <a:gd name="T15" fmla="*/ 140 h 168"/>
                <a:gd name="T16" fmla="*/ 124 w 292"/>
                <a:gd name="T17" fmla="*/ 154 h 168"/>
                <a:gd name="T18" fmla="*/ 173 w 292"/>
                <a:gd name="T19" fmla="*/ 111 h 168"/>
                <a:gd name="T20" fmla="*/ 214 w 292"/>
                <a:gd name="T21" fmla="*/ 156 h 168"/>
                <a:gd name="T22" fmla="*/ 250 w 292"/>
                <a:gd name="T23" fmla="*/ 156 h 168"/>
                <a:gd name="T24" fmla="*/ 292 w 292"/>
                <a:gd name="T25" fmla="*/ 70 h 168"/>
                <a:gd name="T26" fmla="*/ 248 w 292"/>
                <a:gd name="T27" fmla="*/ 48 h 168"/>
                <a:gd name="T28" fmla="*/ 193 w 292"/>
                <a:gd name="T29" fmla="*/ 59 h 168"/>
                <a:gd name="T30" fmla="*/ 163 w 292"/>
                <a:gd name="T31" fmla="*/ 7 h 168"/>
                <a:gd name="T32" fmla="*/ 163 w 292"/>
                <a:gd name="T33" fmla="*/ 7 h 168"/>
                <a:gd name="T34" fmla="*/ 163 w 292"/>
                <a:gd name="T35" fmla="*/ 7 h 16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92"/>
                <a:gd name="T55" fmla="*/ 0 h 168"/>
                <a:gd name="T56" fmla="*/ 292 w 292"/>
                <a:gd name="T57" fmla="*/ 168 h 16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92" h="168">
                  <a:moveTo>
                    <a:pt x="163" y="7"/>
                  </a:moveTo>
                  <a:lnTo>
                    <a:pt x="114" y="0"/>
                  </a:lnTo>
                  <a:lnTo>
                    <a:pt x="82" y="64"/>
                  </a:lnTo>
                  <a:lnTo>
                    <a:pt x="111" y="68"/>
                  </a:lnTo>
                  <a:lnTo>
                    <a:pt x="78" y="113"/>
                  </a:lnTo>
                  <a:lnTo>
                    <a:pt x="50" y="113"/>
                  </a:lnTo>
                  <a:lnTo>
                    <a:pt x="0" y="168"/>
                  </a:lnTo>
                  <a:lnTo>
                    <a:pt x="90" y="140"/>
                  </a:lnTo>
                  <a:lnTo>
                    <a:pt x="124" y="154"/>
                  </a:lnTo>
                  <a:lnTo>
                    <a:pt x="173" y="111"/>
                  </a:lnTo>
                  <a:lnTo>
                    <a:pt x="214" y="156"/>
                  </a:lnTo>
                  <a:lnTo>
                    <a:pt x="250" y="156"/>
                  </a:lnTo>
                  <a:lnTo>
                    <a:pt x="292" y="70"/>
                  </a:lnTo>
                  <a:lnTo>
                    <a:pt x="248" y="48"/>
                  </a:lnTo>
                  <a:lnTo>
                    <a:pt x="193" y="59"/>
                  </a:lnTo>
                  <a:lnTo>
                    <a:pt x="163" y="7"/>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309" name="Freeform 108"/>
            <p:cNvSpPr>
              <a:spLocks/>
            </p:cNvSpPr>
            <p:nvPr/>
          </p:nvSpPr>
          <p:spPr bwMode="auto">
            <a:xfrm>
              <a:off x="1837531" y="4198143"/>
              <a:ext cx="290512" cy="239713"/>
            </a:xfrm>
            <a:custGeom>
              <a:avLst/>
              <a:gdLst>
                <a:gd name="T0" fmla="*/ 29 w 187"/>
                <a:gd name="T1" fmla="*/ 5 h 150"/>
                <a:gd name="T2" fmla="*/ 12 w 187"/>
                <a:gd name="T3" fmla="*/ 35 h 150"/>
                <a:gd name="T4" fmla="*/ 14 w 187"/>
                <a:gd name="T5" fmla="*/ 52 h 150"/>
                <a:gd name="T6" fmla="*/ 0 w 187"/>
                <a:gd name="T7" fmla="*/ 68 h 150"/>
                <a:gd name="T8" fmla="*/ 22 w 187"/>
                <a:gd name="T9" fmla="*/ 81 h 150"/>
                <a:gd name="T10" fmla="*/ 12 w 187"/>
                <a:gd name="T11" fmla="*/ 150 h 150"/>
                <a:gd name="T12" fmla="*/ 59 w 187"/>
                <a:gd name="T13" fmla="*/ 129 h 150"/>
                <a:gd name="T14" fmla="*/ 85 w 187"/>
                <a:gd name="T15" fmla="*/ 92 h 150"/>
                <a:gd name="T16" fmla="*/ 85 w 187"/>
                <a:gd name="T17" fmla="*/ 71 h 150"/>
                <a:gd name="T18" fmla="*/ 122 w 187"/>
                <a:gd name="T19" fmla="*/ 60 h 150"/>
                <a:gd name="T20" fmla="*/ 138 w 187"/>
                <a:gd name="T21" fmla="*/ 83 h 150"/>
                <a:gd name="T22" fmla="*/ 168 w 187"/>
                <a:gd name="T23" fmla="*/ 78 h 150"/>
                <a:gd name="T24" fmla="*/ 159 w 187"/>
                <a:gd name="T25" fmla="*/ 62 h 150"/>
                <a:gd name="T26" fmla="*/ 187 w 187"/>
                <a:gd name="T27" fmla="*/ 62 h 150"/>
                <a:gd name="T28" fmla="*/ 187 w 187"/>
                <a:gd name="T29" fmla="*/ 23 h 150"/>
                <a:gd name="T30" fmla="*/ 178 w 187"/>
                <a:gd name="T31" fmla="*/ 10 h 150"/>
                <a:gd name="T32" fmla="*/ 159 w 187"/>
                <a:gd name="T33" fmla="*/ 0 h 150"/>
                <a:gd name="T34" fmla="*/ 141 w 187"/>
                <a:gd name="T35" fmla="*/ 13 h 150"/>
                <a:gd name="T36" fmla="*/ 92 w 187"/>
                <a:gd name="T37" fmla="*/ 13 h 150"/>
                <a:gd name="T38" fmla="*/ 80 w 187"/>
                <a:gd name="T39" fmla="*/ 1 h 150"/>
                <a:gd name="T40" fmla="*/ 59 w 187"/>
                <a:gd name="T41" fmla="*/ 13 h 150"/>
                <a:gd name="T42" fmla="*/ 31 w 187"/>
                <a:gd name="T43" fmla="*/ 10 h 150"/>
                <a:gd name="T44" fmla="*/ 29 w 187"/>
                <a:gd name="T45" fmla="*/ 5 h 150"/>
                <a:gd name="T46" fmla="*/ 29 w 187"/>
                <a:gd name="T47" fmla="*/ 5 h 150"/>
                <a:gd name="T48" fmla="*/ 29 w 187"/>
                <a:gd name="T49" fmla="*/ 5 h 15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87"/>
                <a:gd name="T76" fmla="*/ 0 h 150"/>
                <a:gd name="T77" fmla="*/ 187 w 187"/>
                <a:gd name="T78" fmla="*/ 150 h 15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87" h="150">
                  <a:moveTo>
                    <a:pt x="29" y="5"/>
                  </a:moveTo>
                  <a:lnTo>
                    <a:pt x="12" y="35"/>
                  </a:lnTo>
                  <a:lnTo>
                    <a:pt x="14" y="52"/>
                  </a:lnTo>
                  <a:lnTo>
                    <a:pt x="0" y="68"/>
                  </a:lnTo>
                  <a:lnTo>
                    <a:pt x="22" y="81"/>
                  </a:lnTo>
                  <a:lnTo>
                    <a:pt x="12" y="150"/>
                  </a:lnTo>
                  <a:lnTo>
                    <a:pt x="59" y="129"/>
                  </a:lnTo>
                  <a:lnTo>
                    <a:pt x="85" y="92"/>
                  </a:lnTo>
                  <a:lnTo>
                    <a:pt x="85" y="71"/>
                  </a:lnTo>
                  <a:lnTo>
                    <a:pt x="122" y="60"/>
                  </a:lnTo>
                  <a:lnTo>
                    <a:pt x="138" y="83"/>
                  </a:lnTo>
                  <a:lnTo>
                    <a:pt x="168" y="78"/>
                  </a:lnTo>
                  <a:lnTo>
                    <a:pt x="159" y="62"/>
                  </a:lnTo>
                  <a:lnTo>
                    <a:pt x="187" y="62"/>
                  </a:lnTo>
                  <a:lnTo>
                    <a:pt x="187" y="23"/>
                  </a:lnTo>
                  <a:lnTo>
                    <a:pt x="178" y="10"/>
                  </a:lnTo>
                  <a:lnTo>
                    <a:pt x="159" y="0"/>
                  </a:lnTo>
                  <a:lnTo>
                    <a:pt x="141" y="13"/>
                  </a:lnTo>
                  <a:lnTo>
                    <a:pt x="92" y="13"/>
                  </a:lnTo>
                  <a:lnTo>
                    <a:pt x="80" y="1"/>
                  </a:lnTo>
                  <a:lnTo>
                    <a:pt x="59" y="13"/>
                  </a:lnTo>
                  <a:lnTo>
                    <a:pt x="31" y="10"/>
                  </a:lnTo>
                  <a:lnTo>
                    <a:pt x="29" y="5"/>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310" name="Freeform 109"/>
            <p:cNvSpPr>
              <a:spLocks/>
            </p:cNvSpPr>
            <p:nvPr/>
          </p:nvSpPr>
          <p:spPr bwMode="auto">
            <a:xfrm>
              <a:off x="1923256" y="4296568"/>
              <a:ext cx="225425" cy="185738"/>
            </a:xfrm>
            <a:custGeom>
              <a:avLst/>
              <a:gdLst>
                <a:gd name="T0" fmla="*/ 4 w 146"/>
                <a:gd name="T1" fmla="*/ 69 h 117"/>
                <a:gd name="T2" fmla="*/ 9 w 146"/>
                <a:gd name="T3" fmla="*/ 72 h 117"/>
                <a:gd name="T4" fmla="*/ 0 w 146"/>
                <a:gd name="T5" fmla="*/ 94 h 117"/>
                <a:gd name="T6" fmla="*/ 11 w 146"/>
                <a:gd name="T7" fmla="*/ 114 h 117"/>
                <a:gd name="T8" fmla="*/ 71 w 146"/>
                <a:gd name="T9" fmla="*/ 114 h 117"/>
                <a:gd name="T10" fmla="*/ 93 w 146"/>
                <a:gd name="T11" fmla="*/ 93 h 117"/>
                <a:gd name="T12" fmla="*/ 115 w 146"/>
                <a:gd name="T13" fmla="*/ 117 h 117"/>
                <a:gd name="T14" fmla="*/ 140 w 146"/>
                <a:gd name="T15" fmla="*/ 117 h 117"/>
                <a:gd name="T16" fmla="*/ 146 w 146"/>
                <a:gd name="T17" fmla="*/ 93 h 117"/>
                <a:gd name="T18" fmla="*/ 113 w 146"/>
                <a:gd name="T19" fmla="*/ 17 h 117"/>
                <a:gd name="T20" fmla="*/ 82 w 146"/>
                <a:gd name="T21" fmla="*/ 22 h 117"/>
                <a:gd name="T22" fmla="*/ 68 w 146"/>
                <a:gd name="T23" fmla="*/ 0 h 117"/>
                <a:gd name="T24" fmla="*/ 30 w 146"/>
                <a:gd name="T25" fmla="*/ 10 h 117"/>
                <a:gd name="T26" fmla="*/ 30 w 146"/>
                <a:gd name="T27" fmla="*/ 32 h 117"/>
                <a:gd name="T28" fmla="*/ 4 w 146"/>
                <a:gd name="T29" fmla="*/ 69 h 117"/>
                <a:gd name="T30" fmla="*/ 4 w 146"/>
                <a:gd name="T31" fmla="*/ 69 h 117"/>
                <a:gd name="T32" fmla="*/ 4 w 146"/>
                <a:gd name="T33" fmla="*/ 69 h 11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6"/>
                <a:gd name="T52" fmla="*/ 0 h 117"/>
                <a:gd name="T53" fmla="*/ 146 w 146"/>
                <a:gd name="T54" fmla="*/ 117 h 11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6" h="117">
                  <a:moveTo>
                    <a:pt x="4" y="69"/>
                  </a:moveTo>
                  <a:lnTo>
                    <a:pt x="9" y="72"/>
                  </a:lnTo>
                  <a:lnTo>
                    <a:pt x="0" y="94"/>
                  </a:lnTo>
                  <a:lnTo>
                    <a:pt x="11" y="114"/>
                  </a:lnTo>
                  <a:lnTo>
                    <a:pt x="71" y="114"/>
                  </a:lnTo>
                  <a:lnTo>
                    <a:pt x="93" y="93"/>
                  </a:lnTo>
                  <a:lnTo>
                    <a:pt x="115" y="117"/>
                  </a:lnTo>
                  <a:lnTo>
                    <a:pt x="140" y="117"/>
                  </a:lnTo>
                  <a:lnTo>
                    <a:pt x="146" y="93"/>
                  </a:lnTo>
                  <a:lnTo>
                    <a:pt x="113" y="17"/>
                  </a:lnTo>
                  <a:lnTo>
                    <a:pt x="82" y="22"/>
                  </a:lnTo>
                  <a:lnTo>
                    <a:pt x="68" y="0"/>
                  </a:lnTo>
                  <a:lnTo>
                    <a:pt x="30" y="10"/>
                  </a:lnTo>
                  <a:lnTo>
                    <a:pt x="30" y="32"/>
                  </a:lnTo>
                  <a:lnTo>
                    <a:pt x="4" y="69"/>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311" name="Freeform 110"/>
            <p:cNvSpPr>
              <a:spLocks/>
            </p:cNvSpPr>
            <p:nvPr/>
          </p:nvSpPr>
          <p:spPr bwMode="auto">
            <a:xfrm>
              <a:off x="2083593" y="4188618"/>
              <a:ext cx="192088" cy="263525"/>
            </a:xfrm>
            <a:custGeom>
              <a:avLst/>
              <a:gdLst>
                <a:gd name="T0" fmla="*/ 19 w 124"/>
                <a:gd name="T1" fmla="*/ 16 h 165"/>
                <a:gd name="T2" fmla="*/ 28 w 124"/>
                <a:gd name="T3" fmla="*/ 29 h 165"/>
                <a:gd name="T4" fmla="*/ 28 w 124"/>
                <a:gd name="T5" fmla="*/ 68 h 165"/>
                <a:gd name="T6" fmla="*/ 0 w 124"/>
                <a:gd name="T7" fmla="*/ 68 h 165"/>
                <a:gd name="T8" fmla="*/ 9 w 124"/>
                <a:gd name="T9" fmla="*/ 84 h 165"/>
                <a:gd name="T10" fmla="*/ 42 w 124"/>
                <a:gd name="T11" fmla="*/ 160 h 165"/>
                <a:gd name="T12" fmla="*/ 42 w 124"/>
                <a:gd name="T13" fmla="*/ 165 h 165"/>
                <a:gd name="T14" fmla="*/ 75 w 124"/>
                <a:gd name="T15" fmla="*/ 161 h 165"/>
                <a:gd name="T16" fmla="*/ 66 w 124"/>
                <a:gd name="T17" fmla="*/ 120 h 165"/>
                <a:gd name="T18" fmla="*/ 123 w 124"/>
                <a:gd name="T19" fmla="*/ 68 h 165"/>
                <a:gd name="T20" fmla="*/ 108 w 124"/>
                <a:gd name="T21" fmla="*/ 43 h 165"/>
                <a:gd name="T22" fmla="*/ 124 w 124"/>
                <a:gd name="T23" fmla="*/ 21 h 165"/>
                <a:gd name="T24" fmla="*/ 59 w 124"/>
                <a:gd name="T25" fmla="*/ 11 h 165"/>
                <a:gd name="T26" fmla="*/ 47 w 124"/>
                <a:gd name="T27" fmla="*/ 0 h 165"/>
                <a:gd name="T28" fmla="*/ 19 w 124"/>
                <a:gd name="T29" fmla="*/ 16 h 165"/>
                <a:gd name="T30" fmla="*/ 19 w 124"/>
                <a:gd name="T31" fmla="*/ 16 h 165"/>
                <a:gd name="T32" fmla="*/ 19 w 124"/>
                <a:gd name="T33" fmla="*/ 16 h 16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4"/>
                <a:gd name="T52" fmla="*/ 0 h 165"/>
                <a:gd name="T53" fmla="*/ 124 w 124"/>
                <a:gd name="T54" fmla="*/ 165 h 16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4" h="165">
                  <a:moveTo>
                    <a:pt x="19" y="16"/>
                  </a:moveTo>
                  <a:lnTo>
                    <a:pt x="28" y="29"/>
                  </a:lnTo>
                  <a:lnTo>
                    <a:pt x="28" y="68"/>
                  </a:lnTo>
                  <a:lnTo>
                    <a:pt x="0" y="68"/>
                  </a:lnTo>
                  <a:lnTo>
                    <a:pt x="9" y="84"/>
                  </a:lnTo>
                  <a:lnTo>
                    <a:pt x="42" y="160"/>
                  </a:lnTo>
                  <a:lnTo>
                    <a:pt x="42" y="165"/>
                  </a:lnTo>
                  <a:lnTo>
                    <a:pt x="75" y="161"/>
                  </a:lnTo>
                  <a:lnTo>
                    <a:pt x="66" y="120"/>
                  </a:lnTo>
                  <a:lnTo>
                    <a:pt x="123" y="68"/>
                  </a:lnTo>
                  <a:lnTo>
                    <a:pt x="108" y="43"/>
                  </a:lnTo>
                  <a:lnTo>
                    <a:pt x="124" y="21"/>
                  </a:lnTo>
                  <a:lnTo>
                    <a:pt x="59" y="11"/>
                  </a:lnTo>
                  <a:lnTo>
                    <a:pt x="47" y="0"/>
                  </a:lnTo>
                  <a:lnTo>
                    <a:pt x="19" y="16"/>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312" name="Freeform 111"/>
            <p:cNvSpPr>
              <a:spLocks/>
            </p:cNvSpPr>
            <p:nvPr/>
          </p:nvSpPr>
          <p:spPr bwMode="auto">
            <a:xfrm>
              <a:off x="1139031" y="4544218"/>
              <a:ext cx="381000" cy="444500"/>
            </a:xfrm>
            <a:custGeom>
              <a:avLst/>
              <a:gdLst>
                <a:gd name="T0" fmla="*/ 157 w 246"/>
                <a:gd name="T1" fmla="*/ 5 h 278"/>
                <a:gd name="T2" fmla="*/ 153 w 246"/>
                <a:gd name="T3" fmla="*/ 24 h 278"/>
                <a:gd name="T4" fmla="*/ 109 w 246"/>
                <a:gd name="T5" fmla="*/ 51 h 278"/>
                <a:gd name="T6" fmla="*/ 133 w 246"/>
                <a:gd name="T7" fmla="*/ 103 h 278"/>
                <a:gd name="T8" fmla="*/ 100 w 246"/>
                <a:gd name="T9" fmla="*/ 103 h 278"/>
                <a:gd name="T10" fmla="*/ 53 w 246"/>
                <a:gd name="T11" fmla="*/ 81 h 278"/>
                <a:gd name="T12" fmla="*/ 0 w 246"/>
                <a:gd name="T13" fmla="*/ 114 h 278"/>
                <a:gd name="T14" fmla="*/ 2 w 246"/>
                <a:gd name="T15" fmla="*/ 135 h 278"/>
                <a:gd name="T16" fmla="*/ 112 w 246"/>
                <a:gd name="T17" fmla="*/ 139 h 278"/>
                <a:gd name="T18" fmla="*/ 14 w 246"/>
                <a:gd name="T19" fmla="*/ 201 h 278"/>
                <a:gd name="T20" fmla="*/ 28 w 246"/>
                <a:gd name="T21" fmla="*/ 233 h 278"/>
                <a:gd name="T22" fmla="*/ 156 w 246"/>
                <a:gd name="T23" fmla="*/ 208 h 278"/>
                <a:gd name="T24" fmla="*/ 50 w 246"/>
                <a:gd name="T25" fmla="*/ 278 h 278"/>
                <a:gd name="T26" fmla="*/ 171 w 246"/>
                <a:gd name="T27" fmla="*/ 255 h 278"/>
                <a:gd name="T28" fmla="*/ 206 w 246"/>
                <a:gd name="T29" fmla="*/ 215 h 278"/>
                <a:gd name="T30" fmla="*/ 216 w 246"/>
                <a:gd name="T31" fmla="*/ 192 h 278"/>
                <a:gd name="T32" fmla="*/ 246 w 246"/>
                <a:gd name="T33" fmla="*/ 179 h 278"/>
                <a:gd name="T34" fmla="*/ 221 w 246"/>
                <a:gd name="T35" fmla="*/ 136 h 278"/>
                <a:gd name="T36" fmla="*/ 228 w 246"/>
                <a:gd name="T37" fmla="*/ 87 h 278"/>
                <a:gd name="T38" fmla="*/ 211 w 246"/>
                <a:gd name="T39" fmla="*/ 74 h 278"/>
                <a:gd name="T40" fmla="*/ 221 w 246"/>
                <a:gd name="T41" fmla="*/ 28 h 278"/>
                <a:gd name="T42" fmla="*/ 206 w 246"/>
                <a:gd name="T43" fmla="*/ 0 h 278"/>
                <a:gd name="T44" fmla="*/ 157 w 246"/>
                <a:gd name="T45" fmla="*/ 5 h 278"/>
                <a:gd name="T46" fmla="*/ 157 w 246"/>
                <a:gd name="T47" fmla="*/ 5 h 278"/>
                <a:gd name="T48" fmla="*/ 157 w 246"/>
                <a:gd name="T49" fmla="*/ 5 h 2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6"/>
                <a:gd name="T76" fmla="*/ 0 h 278"/>
                <a:gd name="T77" fmla="*/ 246 w 246"/>
                <a:gd name="T78" fmla="*/ 278 h 27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6" h="278">
                  <a:moveTo>
                    <a:pt x="157" y="5"/>
                  </a:moveTo>
                  <a:lnTo>
                    <a:pt x="153" y="24"/>
                  </a:lnTo>
                  <a:lnTo>
                    <a:pt x="109" y="51"/>
                  </a:lnTo>
                  <a:lnTo>
                    <a:pt x="133" y="103"/>
                  </a:lnTo>
                  <a:lnTo>
                    <a:pt x="100" y="103"/>
                  </a:lnTo>
                  <a:lnTo>
                    <a:pt x="53" y="81"/>
                  </a:lnTo>
                  <a:lnTo>
                    <a:pt x="0" y="114"/>
                  </a:lnTo>
                  <a:lnTo>
                    <a:pt x="2" y="135"/>
                  </a:lnTo>
                  <a:lnTo>
                    <a:pt x="112" y="139"/>
                  </a:lnTo>
                  <a:lnTo>
                    <a:pt x="14" y="201"/>
                  </a:lnTo>
                  <a:lnTo>
                    <a:pt x="28" y="233"/>
                  </a:lnTo>
                  <a:lnTo>
                    <a:pt x="156" y="208"/>
                  </a:lnTo>
                  <a:lnTo>
                    <a:pt x="50" y="278"/>
                  </a:lnTo>
                  <a:lnTo>
                    <a:pt x="171" y="255"/>
                  </a:lnTo>
                  <a:lnTo>
                    <a:pt x="206" y="215"/>
                  </a:lnTo>
                  <a:lnTo>
                    <a:pt x="216" y="192"/>
                  </a:lnTo>
                  <a:lnTo>
                    <a:pt x="246" y="179"/>
                  </a:lnTo>
                  <a:lnTo>
                    <a:pt x="221" y="136"/>
                  </a:lnTo>
                  <a:lnTo>
                    <a:pt x="228" y="87"/>
                  </a:lnTo>
                  <a:lnTo>
                    <a:pt x="211" y="74"/>
                  </a:lnTo>
                  <a:lnTo>
                    <a:pt x="221" y="28"/>
                  </a:lnTo>
                  <a:lnTo>
                    <a:pt x="206" y="0"/>
                  </a:lnTo>
                  <a:lnTo>
                    <a:pt x="157" y="5"/>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313" name="Freeform 112"/>
            <p:cNvSpPr>
              <a:spLocks/>
            </p:cNvSpPr>
            <p:nvPr/>
          </p:nvSpPr>
          <p:spPr bwMode="auto">
            <a:xfrm>
              <a:off x="1459706" y="4501356"/>
              <a:ext cx="336550" cy="217487"/>
            </a:xfrm>
            <a:custGeom>
              <a:avLst/>
              <a:gdLst>
                <a:gd name="T0" fmla="*/ 122 w 217"/>
                <a:gd name="T1" fmla="*/ 17 h 137"/>
                <a:gd name="T2" fmla="*/ 0 w 217"/>
                <a:gd name="T3" fmla="*/ 27 h 137"/>
                <a:gd name="T4" fmla="*/ 14 w 217"/>
                <a:gd name="T5" fmla="*/ 57 h 137"/>
                <a:gd name="T6" fmla="*/ 4 w 217"/>
                <a:gd name="T7" fmla="*/ 101 h 137"/>
                <a:gd name="T8" fmla="*/ 21 w 217"/>
                <a:gd name="T9" fmla="*/ 114 h 137"/>
                <a:gd name="T10" fmla="*/ 118 w 217"/>
                <a:gd name="T11" fmla="*/ 111 h 137"/>
                <a:gd name="T12" fmla="*/ 155 w 217"/>
                <a:gd name="T13" fmla="*/ 134 h 137"/>
                <a:gd name="T14" fmla="*/ 174 w 217"/>
                <a:gd name="T15" fmla="*/ 125 h 137"/>
                <a:gd name="T16" fmla="*/ 212 w 217"/>
                <a:gd name="T17" fmla="*/ 137 h 137"/>
                <a:gd name="T18" fmla="*/ 210 w 217"/>
                <a:gd name="T19" fmla="*/ 100 h 137"/>
                <a:gd name="T20" fmla="*/ 182 w 217"/>
                <a:gd name="T21" fmla="*/ 84 h 137"/>
                <a:gd name="T22" fmla="*/ 186 w 217"/>
                <a:gd name="T23" fmla="*/ 64 h 137"/>
                <a:gd name="T24" fmla="*/ 202 w 217"/>
                <a:gd name="T25" fmla="*/ 67 h 137"/>
                <a:gd name="T26" fmla="*/ 217 w 217"/>
                <a:gd name="T27" fmla="*/ 23 h 137"/>
                <a:gd name="T28" fmla="*/ 181 w 217"/>
                <a:gd name="T29" fmla="*/ 15 h 137"/>
                <a:gd name="T30" fmla="*/ 166 w 217"/>
                <a:gd name="T31" fmla="*/ 0 h 137"/>
                <a:gd name="T32" fmla="*/ 156 w 217"/>
                <a:gd name="T33" fmla="*/ 17 h 137"/>
                <a:gd name="T34" fmla="*/ 122 w 217"/>
                <a:gd name="T35" fmla="*/ 17 h 137"/>
                <a:gd name="T36" fmla="*/ 122 w 217"/>
                <a:gd name="T37" fmla="*/ 17 h 137"/>
                <a:gd name="T38" fmla="*/ 122 w 217"/>
                <a:gd name="T39" fmla="*/ 17 h 13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7"/>
                <a:gd name="T61" fmla="*/ 0 h 137"/>
                <a:gd name="T62" fmla="*/ 217 w 217"/>
                <a:gd name="T63" fmla="*/ 137 h 13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7" h="137">
                  <a:moveTo>
                    <a:pt x="122" y="17"/>
                  </a:moveTo>
                  <a:lnTo>
                    <a:pt x="0" y="27"/>
                  </a:lnTo>
                  <a:lnTo>
                    <a:pt x="14" y="57"/>
                  </a:lnTo>
                  <a:lnTo>
                    <a:pt x="4" y="101"/>
                  </a:lnTo>
                  <a:lnTo>
                    <a:pt x="21" y="114"/>
                  </a:lnTo>
                  <a:lnTo>
                    <a:pt x="118" y="111"/>
                  </a:lnTo>
                  <a:lnTo>
                    <a:pt x="155" y="134"/>
                  </a:lnTo>
                  <a:lnTo>
                    <a:pt x="174" y="125"/>
                  </a:lnTo>
                  <a:lnTo>
                    <a:pt x="212" y="137"/>
                  </a:lnTo>
                  <a:lnTo>
                    <a:pt x="210" y="100"/>
                  </a:lnTo>
                  <a:lnTo>
                    <a:pt x="182" y="84"/>
                  </a:lnTo>
                  <a:lnTo>
                    <a:pt x="186" y="64"/>
                  </a:lnTo>
                  <a:lnTo>
                    <a:pt x="202" y="67"/>
                  </a:lnTo>
                  <a:lnTo>
                    <a:pt x="217" y="23"/>
                  </a:lnTo>
                  <a:lnTo>
                    <a:pt x="181" y="15"/>
                  </a:lnTo>
                  <a:lnTo>
                    <a:pt x="166" y="0"/>
                  </a:lnTo>
                  <a:lnTo>
                    <a:pt x="156" y="17"/>
                  </a:lnTo>
                  <a:lnTo>
                    <a:pt x="122" y="17"/>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314" name="Freeform 113"/>
            <p:cNvSpPr>
              <a:spLocks/>
            </p:cNvSpPr>
            <p:nvPr/>
          </p:nvSpPr>
          <p:spPr bwMode="auto">
            <a:xfrm>
              <a:off x="1289843" y="4677568"/>
              <a:ext cx="585788" cy="404813"/>
            </a:xfrm>
            <a:custGeom>
              <a:avLst/>
              <a:gdLst>
                <a:gd name="T0" fmla="*/ 131 w 378"/>
                <a:gd name="T1" fmla="*/ 3 h 253"/>
                <a:gd name="T2" fmla="*/ 124 w 378"/>
                <a:gd name="T3" fmla="*/ 52 h 253"/>
                <a:gd name="T4" fmla="*/ 149 w 378"/>
                <a:gd name="T5" fmla="*/ 95 h 253"/>
                <a:gd name="T6" fmla="*/ 119 w 378"/>
                <a:gd name="T7" fmla="*/ 108 h 253"/>
                <a:gd name="T8" fmla="*/ 110 w 378"/>
                <a:gd name="T9" fmla="*/ 131 h 253"/>
                <a:gd name="T10" fmla="*/ 75 w 378"/>
                <a:gd name="T11" fmla="*/ 170 h 253"/>
                <a:gd name="T12" fmla="*/ 11 w 378"/>
                <a:gd name="T13" fmla="*/ 215 h 253"/>
                <a:gd name="T14" fmla="*/ 47 w 378"/>
                <a:gd name="T15" fmla="*/ 211 h 253"/>
                <a:gd name="T16" fmla="*/ 0 w 378"/>
                <a:gd name="T17" fmla="*/ 253 h 253"/>
                <a:gd name="T18" fmla="*/ 93 w 378"/>
                <a:gd name="T19" fmla="*/ 219 h 253"/>
                <a:gd name="T20" fmla="*/ 161 w 378"/>
                <a:gd name="T21" fmla="*/ 236 h 253"/>
                <a:gd name="T22" fmla="*/ 219 w 378"/>
                <a:gd name="T23" fmla="*/ 202 h 253"/>
                <a:gd name="T24" fmla="*/ 264 w 378"/>
                <a:gd name="T25" fmla="*/ 209 h 253"/>
                <a:gd name="T26" fmla="*/ 279 w 378"/>
                <a:gd name="T27" fmla="*/ 131 h 253"/>
                <a:gd name="T28" fmla="*/ 304 w 378"/>
                <a:gd name="T29" fmla="*/ 169 h 253"/>
                <a:gd name="T30" fmla="*/ 369 w 378"/>
                <a:gd name="T31" fmla="*/ 147 h 253"/>
                <a:gd name="T32" fmla="*/ 378 w 378"/>
                <a:gd name="T33" fmla="*/ 118 h 253"/>
                <a:gd name="T34" fmla="*/ 327 w 378"/>
                <a:gd name="T35" fmla="*/ 57 h 253"/>
                <a:gd name="T36" fmla="*/ 338 w 378"/>
                <a:gd name="T37" fmla="*/ 45 h 253"/>
                <a:gd name="T38" fmla="*/ 323 w 378"/>
                <a:gd name="T39" fmla="*/ 26 h 253"/>
                <a:gd name="T40" fmla="*/ 284 w 378"/>
                <a:gd name="T41" fmla="*/ 14 h 253"/>
                <a:gd name="T42" fmla="*/ 265 w 378"/>
                <a:gd name="T43" fmla="*/ 23 h 253"/>
                <a:gd name="T44" fmla="*/ 229 w 378"/>
                <a:gd name="T45" fmla="*/ 0 h 253"/>
                <a:gd name="T46" fmla="*/ 131 w 378"/>
                <a:gd name="T47" fmla="*/ 3 h 253"/>
                <a:gd name="T48" fmla="*/ 131 w 378"/>
                <a:gd name="T49" fmla="*/ 3 h 253"/>
                <a:gd name="T50" fmla="*/ 131 w 378"/>
                <a:gd name="T51" fmla="*/ 3 h 25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78"/>
                <a:gd name="T79" fmla="*/ 0 h 253"/>
                <a:gd name="T80" fmla="*/ 378 w 378"/>
                <a:gd name="T81" fmla="*/ 253 h 25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78" h="253">
                  <a:moveTo>
                    <a:pt x="131" y="3"/>
                  </a:moveTo>
                  <a:lnTo>
                    <a:pt x="124" y="52"/>
                  </a:lnTo>
                  <a:lnTo>
                    <a:pt x="149" y="95"/>
                  </a:lnTo>
                  <a:lnTo>
                    <a:pt x="119" y="108"/>
                  </a:lnTo>
                  <a:lnTo>
                    <a:pt x="110" y="131"/>
                  </a:lnTo>
                  <a:lnTo>
                    <a:pt x="75" y="170"/>
                  </a:lnTo>
                  <a:lnTo>
                    <a:pt x="11" y="215"/>
                  </a:lnTo>
                  <a:lnTo>
                    <a:pt x="47" y="211"/>
                  </a:lnTo>
                  <a:lnTo>
                    <a:pt x="0" y="253"/>
                  </a:lnTo>
                  <a:lnTo>
                    <a:pt x="93" y="219"/>
                  </a:lnTo>
                  <a:lnTo>
                    <a:pt x="161" y="236"/>
                  </a:lnTo>
                  <a:lnTo>
                    <a:pt x="219" y="202"/>
                  </a:lnTo>
                  <a:lnTo>
                    <a:pt x="264" y="209"/>
                  </a:lnTo>
                  <a:lnTo>
                    <a:pt x="279" y="131"/>
                  </a:lnTo>
                  <a:lnTo>
                    <a:pt x="304" y="169"/>
                  </a:lnTo>
                  <a:lnTo>
                    <a:pt x="369" y="147"/>
                  </a:lnTo>
                  <a:lnTo>
                    <a:pt x="378" y="118"/>
                  </a:lnTo>
                  <a:lnTo>
                    <a:pt x="327" y="57"/>
                  </a:lnTo>
                  <a:lnTo>
                    <a:pt x="338" y="45"/>
                  </a:lnTo>
                  <a:lnTo>
                    <a:pt x="323" y="26"/>
                  </a:lnTo>
                  <a:lnTo>
                    <a:pt x="284" y="14"/>
                  </a:lnTo>
                  <a:lnTo>
                    <a:pt x="265" y="23"/>
                  </a:lnTo>
                  <a:lnTo>
                    <a:pt x="229" y="0"/>
                  </a:lnTo>
                  <a:lnTo>
                    <a:pt x="131" y="3"/>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315" name="Freeform 114"/>
            <p:cNvSpPr>
              <a:spLocks/>
            </p:cNvSpPr>
            <p:nvPr/>
          </p:nvSpPr>
          <p:spPr bwMode="auto">
            <a:xfrm>
              <a:off x="2186781" y="4298156"/>
              <a:ext cx="209550" cy="239712"/>
            </a:xfrm>
            <a:custGeom>
              <a:avLst/>
              <a:gdLst>
                <a:gd name="T0" fmla="*/ 122 w 136"/>
                <a:gd name="T1" fmla="*/ 6 h 150"/>
                <a:gd name="T2" fmla="*/ 57 w 136"/>
                <a:gd name="T3" fmla="*/ 0 h 150"/>
                <a:gd name="T4" fmla="*/ 0 w 136"/>
                <a:gd name="T5" fmla="*/ 52 h 150"/>
                <a:gd name="T6" fmla="*/ 9 w 136"/>
                <a:gd name="T7" fmla="*/ 93 h 150"/>
                <a:gd name="T8" fmla="*/ 41 w 136"/>
                <a:gd name="T9" fmla="*/ 97 h 150"/>
                <a:gd name="T10" fmla="*/ 36 w 136"/>
                <a:gd name="T11" fmla="*/ 109 h 150"/>
                <a:gd name="T12" fmla="*/ 14 w 136"/>
                <a:gd name="T13" fmla="*/ 109 h 150"/>
                <a:gd name="T14" fmla="*/ 25 w 136"/>
                <a:gd name="T15" fmla="*/ 148 h 150"/>
                <a:gd name="T16" fmla="*/ 45 w 136"/>
                <a:gd name="T17" fmla="*/ 150 h 150"/>
                <a:gd name="T18" fmla="*/ 83 w 136"/>
                <a:gd name="T19" fmla="*/ 120 h 150"/>
                <a:gd name="T20" fmla="*/ 118 w 136"/>
                <a:gd name="T21" fmla="*/ 137 h 150"/>
                <a:gd name="T22" fmla="*/ 136 w 136"/>
                <a:gd name="T23" fmla="*/ 68 h 150"/>
                <a:gd name="T24" fmla="*/ 122 w 136"/>
                <a:gd name="T25" fmla="*/ 6 h 150"/>
                <a:gd name="T26" fmla="*/ 122 w 136"/>
                <a:gd name="T27" fmla="*/ 6 h 150"/>
                <a:gd name="T28" fmla="*/ 122 w 136"/>
                <a:gd name="T29" fmla="*/ 6 h 1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6"/>
                <a:gd name="T46" fmla="*/ 0 h 150"/>
                <a:gd name="T47" fmla="*/ 136 w 136"/>
                <a:gd name="T48" fmla="*/ 150 h 1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6" h="150">
                  <a:moveTo>
                    <a:pt x="122" y="6"/>
                  </a:moveTo>
                  <a:lnTo>
                    <a:pt x="57" y="0"/>
                  </a:lnTo>
                  <a:lnTo>
                    <a:pt x="0" y="52"/>
                  </a:lnTo>
                  <a:lnTo>
                    <a:pt x="9" y="93"/>
                  </a:lnTo>
                  <a:lnTo>
                    <a:pt x="41" y="97"/>
                  </a:lnTo>
                  <a:lnTo>
                    <a:pt x="36" y="109"/>
                  </a:lnTo>
                  <a:lnTo>
                    <a:pt x="14" y="109"/>
                  </a:lnTo>
                  <a:lnTo>
                    <a:pt x="25" y="148"/>
                  </a:lnTo>
                  <a:lnTo>
                    <a:pt x="45" y="150"/>
                  </a:lnTo>
                  <a:lnTo>
                    <a:pt x="83" y="120"/>
                  </a:lnTo>
                  <a:lnTo>
                    <a:pt x="118" y="137"/>
                  </a:lnTo>
                  <a:lnTo>
                    <a:pt x="136" y="68"/>
                  </a:lnTo>
                  <a:lnTo>
                    <a:pt x="122" y="6"/>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316" name="Freeform 115"/>
            <p:cNvSpPr>
              <a:spLocks/>
            </p:cNvSpPr>
            <p:nvPr/>
          </p:nvSpPr>
          <p:spPr bwMode="auto">
            <a:xfrm>
              <a:off x="1716881" y="4307681"/>
              <a:ext cx="298450" cy="442912"/>
            </a:xfrm>
            <a:custGeom>
              <a:avLst/>
              <a:gdLst>
                <a:gd name="T0" fmla="*/ 80 w 193"/>
                <a:gd name="T1" fmla="*/ 0 h 277"/>
                <a:gd name="T2" fmla="*/ 33 w 193"/>
                <a:gd name="T3" fmla="*/ 51 h 277"/>
                <a:gd name="T4" fmla="*/ 0 w 193"/>
                <a:gd name="T5" fmla="*/ 121 h 277"/>
                <a:gd name="T6" fmla="*/ 15 w 193"/>
                <a:gd name="T7" fmla="*/ 136 h 277"/>
                <a:gd name="T8" fmla="*/ 51 w 193"/>
                <a:gd name="T9" fmla="*/ 144 h 277"/>
                <a:gd name="T10" fmla="*/ 36 w 193"/>
                <a:gd name="T11" fmla="*/ 188 h 277"/>
                <a:gd name="T12" fmla="*/ 20 w 193"/>
                <a:gd name="T13" fmla="*/ 185 h 277"/>
                <a:gd name="T14" fmla="*/ 16 w 193"/>
                <a:gd name="T15" fmla="*/ 205 h 277"/>
                <a:gd name="T16" fmla="*/ 44 w 193"/>
                <a:gd name="T17" fmla="*/ 221 h 277"/>
                <a:gd name="T18" fmla="*/ 45 w 193"/>
                <a:gd name="T19" fmla="*/ 258 h 277"/>
                <a:gd name="T20" fmla="*/ 62 w 193"/>
                <a:gd name="T21" fmla="*/ 277 h 277"/>
                <a:gd name="T22" fmla="*/ 118 w 193"/>
                <a:gd name="T23" fmla="*/ 277 h 277"/>
                <a:gd name="T24" fmla="*/ 118 w 193"/>
                <a:gd name="T25" fmla="*/ 245 h 277"/>
                <a:gd name="T26" fmla="*/ 132 w 193"/>
                <a:gd name="T27" fmla="*/ 238 h 277"/>
                <a:gd name="T28" fmla="*/ 193 w 193"/>
                <a:gd name="T29" fmla="*/ 238 h 277"/>
                <a:gd name="T30" fmla="*/ 174 w 193"/>
                <a:gd name="T31" fmla="*/ 143 h 277"/>
                <a:gd name="T32" fmla="*/ 144 w 193"/>
                <a:gd name="T33" fmla="*/ 107 h 277"/>
                <a:gd name="T34" fmla="*/ 134 w 193"/>
                <a:gd name="T35" fmla="*/ 88 h 277"/>
                <a:gd name="T36" fmla="*/ 142 w 193"/>
                <a:gd name="T37" fmla="*/ 66 h 277"/>
                <a:gd name="T38" fmla="*/ 138 w 193"/>
                <a:gd name="T39" fmla="*/ 61 h 277"/>
                <a:gd name="T40" fmla="*/ 90 w 193"/>
                <a:gd name="T41" fmla="*/ 81 h 277"/>
                <a:gd name="T42" fmla="*/ 100 w 193"/>
                <a:gd name="T43" fmla="*/ 13 h 277"/>
                <a:gd name="T44" fmla="*/ 80 w 193"/>
                <a:gd name="T45" fmla="*/ 0 h 277"/>
                <a:gd name="T46" fmla="*/ 80 w 193"/>
                <a:gd name="T47" fmla="*/ 0 h 277"/>
                <a:gd name="T48" fmla="*/ 80 w 193"/>
                <a:gd name="T49" fmla="*/ 0 h 27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93"/>
                <a:gd name="T76" fmla="*/ 0 h 277"/>
                <a:gd name="T77" fmla="*/ 193 w 193"/>
                <a:gd name="T78" fmla="*/ 277 h 27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93" h="277">
                  <a:moveTo>
                    <a:pt x="80" y="0"/>
                  </a:moveTo>
                  <a:lnTo>
                    <a:pt x="33" y="51"/>
                  </a:lnTo>
                  <a:lnTo>
                    <a:pt x="0" y="121"/>
                  </a:lnTo>
                  <a:lnTo>
                    <a:pt x="15" y="136"/>
                  </a:lnTo>
                  <a:lnTo>
                    <a:pt x="51" y="144"/>
                  </a:lnTo>
                  <a:lnTo>
                    <a:pt x="36" y="188"/>
                  </a:lnTo>
                  <a:lnTo>
                    <a:pt x="20" y="185"/>
                  </a:lnTo>
                  <a:lnTo>
                    <a:pt x="16" y="205"/>
                  </a:lnTo>
                  <a:lnTo>
                    <a:pt x="44" y="221"/>
                  </a:lnTo>
                  <a:lnTo>
                    <a:pt x="45" y="258"/>
                  </a:lnTo>
                  <a:lnTo>
                    <a:pt x="62" y="277"/>
                  </a:lnTo>
                  <a:lnTo>
                    <a:pt x="118" y="277"/>
                  </a:lnTo>
                  <a:lnTo>
                    <a:pt x="118" y="245"/>
                  </a:lnTo>
                  <a:lnTo>
                    <a:pt x="132" y="238"/>
                  </a:lnTo>
                  <a:lnTo>
                    <a:pt x="193" y="238"/>
                  </a:lnTo>
                  <a:lnTo>
                    <a:pt x="174" y="143"/>
                  </a:lnTo>
                  <a:lnTo>
                    <a:pt x="144" y="107"/>
                  </a:lnTo>
                  <a:lnTo>
                    <a:pt x="134" y="88"/>
                  </a:lnTo>
                  <a:lnTo>
                    <a:pt x="142" y="66"/>
                  </a:lnTo>
                  <a:lnTo>
                    <a:pt x="138" y="61"/>
                  </a:lnTo>
                  <a:lnTo>
                    <a:pt x="90" y="81"/>
                  </a:lnTo>
                  <a:lnTo>
                    <a:pt x="100" y="13"/>
                  </a:lnTo>
                  <a:lnTo>
                    <a:pt x="80"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317" name="Freeform 116"/>
            <p:cNvSpPr>
              <a:spLocks/>
            </p:cNvSpPr>
            <p:nvPr/>
          </p:nvSpPr>
          <p:spPr bwMode="auto">
            <a:xfrm>
              <a:off x="1940718" y="4444206"/>
              <a:ext cx="198438" cy="306387"/>
            </a:xfrm>
            <a:custGeom>
              <a:avLst/>
              <a:gdLst>
                <a:gd name="T0" fmla="*/ 0 w 129"/>
                <a:gd name="T1" fmla="*/ 21 h 191"/>
                <a:gd name="T2" fmla="*/ 30 w 129"/>
                <a:gd name="T3" fmla="*/ 57 h 191"/>
                <a:gd name="T4" fmla="*/ 49 w 129"/>
                <a:gd name="T5" fmla="*/ 152 h 191"/>
                <a:gd name="T6" fmla="*/ 70 w 129"/>
                <a:gd name="T7" fmla="*/ 183 h 191"/>
                <a:gd name="T8" fmla="*/ 117 w 129"/>
                <a:gd name="T9" fmla="*/ 191 h 191"/>
                <a:gd name="T10" fmla="*/ 129 w 129"/>
                <a:gd name="T11" fmla="*/ 99 h 191"/>
                <a:gd name="T12" fmla="*/ 102 w 129"/>
                <a:gd name="T13" fmla="*/ 48 h 191"/>
                <a:gd name="T14" fmla="*/ 102 w 129"/>
                <a:gd name="T15" fmla="*/ 24 h 191"/>
                <a:gd name="T16" fmla="*/ 82 w 129"/>
                <a:gd name="T17" fmla="*/ 0 h 191"/>
                <a:gd name="T18" fmla="*/ 60 w 129"/>
                <a:gd name="T19" fmla="*/ 21 h 191"/>
                <a:gd name="T20" fmla="*/ 0 w 129"/>
                <a:gd name="T21" fmla="*/ 21 h 191"/>
                <a:gd name="T22" fmla="*/ 0 w 129"/>
                <a:gd name="T23" fmla="*/ 21 h 191"/>
                <a:gd name="T24" fmla="*/ 0 w 129"/>
                <a:gd name="T25" fmla="*/ 21 h 1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9"/>
                <a:gd name="T40" fmla="*/ 0 h 191"/>
                <a:gd name="T41" fmla="*/ 129 w 129"/>
                <a:gd name="T42" fmla="*/ 191 h 1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9" h="191">
                  <a:moveTo>
                    <a:pt x="0" y="21"/>
                  </a:moveTo>
                  <a:lnTo>
                    <a:pt x="30" y="57"/>
                  </a:lnTo>
                  <a:lnTo>
                    <a:pt x="49" y="152"/>
                  </a:lnTo>
                  <a:lnTo>
                    <a:pt x="70" y="183"/>
                  </a:lnTo>
                  <a:lnTo>
                    <a:pt x="117" y="191"/>
                  </a:lnTo>
                  <a:lnTo>
                    <a:pt x="129" y="99"/>
                  </a:lnTo>
                  <a:lnTo>
                    <a:pt x="102" y="48"/>
                  </a:lnTo>
                  <a:lnTo>
                    <a:pt x="102" y="24"/>
                  </a:lnTo>
                  <a:lnTo>
                    <a:pt x="82" y="0"/>
                  </a:lnTo>
                  <a:lnTo>
                    <a:pt x="60" y="21"/>
                  </a:lnTo>
                  <a:lnTo>
                    <a:pt x="0" y="21"/>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318" name="Freeform 117"/>
            <p:cNvSpPr>
              <a:spLocks/>
            </p:cNvSpPr>
            <p:nvPr/>
          </p:nvSpPr>
          <p:spPr bwMode="auto">
            <a:xfrm>
              <a:off x="2097881" y="4445793"/>
              <a:ext cx="152400" cy="157163"/>
            </a:xfrm>
            <a:custGeom>
              <a:avLst/>
              <a:gdLst>
                <a:gd name="T0" fmla="*/ 0 w 98"/>
                <a:gd name="T1" fmla="*/ 23 h 98"/>
                <a:gd name="T2" fmla="*/ 0 w 98"/>
                <a:gd name="T3" fmla="*/ 47 h 98"/>
                <a:gd name="T4" fmla="*/ 27 w 98"/>
                <a:gd name="T5" fmla="*/ 98 h 98"/>
                <a:gd name="T6" fmla="*/ 81 w 98"/>
                <a:gd name="T7" fmla="*/ 55 h 98"/>
                <a:gd name="T8" fmla="*/ 71 w 98"/>
                <a:gd name="T9" fmla="*/ 16 h 98"/>
                <a:gd name="T10" fmla="*/ 93 w 98"/>
                <a:gd name="T11" fmla="*/ 16 h 98"/>
                <a:gd name="T12" fmla="*/ 98 w 98"/>
                <a:gd name="T13" fmla="*/ 4 h 98"/>
                <a:gd name="T14" fmla="*/ 66 w 98"/>
                <a:gd name="T15" fmla="*/ 0 h 98"/>
                <a:gd name="T16" fmla="*/ 32 w 98"/>
                <a:gd name="T17" fmla="*/ 4 h 98"/>
                <a:gd name="T18" fmla="*/ 27 w 98"/>
                <a:gd name="T19" fmla="*/ 23 h 98"/>
                <a:gd name="T20" fmla="*/ 0 w 98"/>
                <a:gd name="T21" fmla="*/ 23 h 98"/>
                <a:gd name="T22" fmla="*/ 0 w 98"/>
                <a:gd name="T23" fmla="*/ 23 h 98"/>
                <a:gd name="T24" fmla="*/ 0 w 98"/>
                <a:gd name="T25" fmla="*/ 23 h 9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8"/>
                <a:gd name="T40" fmla="*/ 0 h 98"/>
                <a:gd name="T41" fmla="*/ 98 w 98"/>
                <a:gd name="T42" fmla="*/ 98 h 9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8" h="98">
                  <a:moveTo>
                    <a:pt x="0" y="23"/>
                  </a:moveTo>
                  <a:lnTo>
                    <a:pt x="0" y="47"/>
                  </a:lnTo>
                  <a:lnTo>
                    <a:pt x="27" y="98"/>
                  </a:lnTo>
                  <a:lnTo>
                    <a:pt x="81" y="55"/>
                  </a:lnTo>
                  <a:lnTo>
                    <a:pt x="71" y="16"/>
                  </a:lnTo>
                  <a:lnTo>
                    <a:pt x="93" y="16"/>
                  </a:lnTo>
                  <a:lnTo>
                    <a:pt x="98" y="4"/>
                  </a:lnTo>
                  <a:lnTo>
                    <a:pt x="66" y="0"/>
                  </a:lnTo>
                  <a:lnTo>
                    <a:pt x="32" y="4"/>
                  </a:lnTo>
                  <a:lnTo>
                    <a:pt x="27" y="23"/>
                  </a:lnTo>
                  <a:lnTo>
                    <a:pt x="0" y="23"/>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319" name="Freeform 118"/>
            <p:cNvSpPr>
              <a:spLocks/>
            </p:cNvSpPr>
            <p:nvPr/>
          </p:nvSpPr>
          <p:spPr bwMode="auto">
            <a:xfrm>
              <a:off x="1796256" y="4687093"/>
              <a:ext cx="325437" cy="179388"/>
            </a:xfrm>
            <a:custGeom>
              <a:avLst/>
              <a:gdLst>
                <a:gd name="T0" fmla="*/ 11 w 210"/>
                <a:gd name="T1" fmla="*/ 39 h 112"/>
                <a:gd name="T2" fmla="*/ 0 w 210"/>
                <a:gd name="T3" fmla="*/ 53 h 112"/>
                <a:gd name="T4" fmla="*/ 52 w 210"/>
                <a:gd name="T5" fmla="*/ 112 h 112"/>
                <a:gd name="T6" fmla="*/ 56 w 210"/>
                <a:gd name="T7" fmla="*/ 106 h 112"/>
                <a:gd name="T8" fmla="*/ 91 w 210"/>
                <a:gd name="T9" fmla="*/ 105 h 112"/>
                <a:gd name="T10" fmla="*/ 112 w 210"/>
                <a:gd name="T11" fmla="*/ 91 h 112"/>
                <a:gd name="T12" fmla="*/ 111 w 210"/>
                <a:gd name="T13" fmla="*/ 71 h 112"/>
                <a:gd name="T14" fmla="*/ 210 w 210"/>
                <a:gd name="T15" fmla="*/ 65 h 112"/>
                <a:gd name="T16" fmla="*/ 210 w 210"/>
                <a:gd name="T17" fmla="*/ 39 h 112"/>
                <a:gd name="T18" fmla="*/ 163 w 210"/>
                <a:gd name="T19" fmla="*/ 31 h 112"/>
                <a:gd name="T20" fmla="*/ 142 w 210"/>
                <a:gd name="T21" fmla="*/ 0 h 112"/>
                <a:gd name="T22" fmla="*/ 80 w 210"/>
                <a:gd name="T23" fmla="*/ 0 h 112"/>
                <a:gd name="T24" fmla="*/ 67 w 210"/>
                <a:gd name="T25" fmla="*/ 7 h 112"/>
                <a:gd name="T26" fmla="*/ 67 w 210"/>
                <a:gd name="T27" fmla="*/ 39 h 112"/>
                <a:gd name="T28" fmla="*/ 11 w 210"/>
                <a:gd name="T29" fmla="*/ 39 h 112"/>
                <a:gd name="T30" fmla="*/ 11 w 210"/>
                <a:gd name="T31" fmla="*/ 39 h 112"/>
                <a:gd name="T32" fmla="*/ 11 w 210"/>
                <a:gd name="T33" fmla="*/ 39 h 1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0"/>
                <a:gd name="T52" fmla="*/ 0 h 112"/>
                <a:gd name="T53" fmla="*/ 210 w 210"/>
                <a:gd name="T54" fmla="*/ 112 h 1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0" h="112">
                  <a:moveTo>
                    <a:pt x="11" y="39"/>
                  </a:moveTo>
                  <a:lnTo>
                    <a:pt x="0" y="53"/>
                  </a:lnTo>
                  <a:lnTo>
                    <a:pt x="52" y="112"/>
                  </a:lnTo>
                  <a:lnTo>
                    <a:pt x="56" y="106"/>
                  </a:lnTo>
                  <a:lnTo>
                    <a:pt x="91" y="105"/>
                  </a:lnTo>
                  <a:lnTo>
                    <a:pt x="112" y="91"/>
                  </a:lnTo>
                  <a:lnTo>
                    <a:pt x="111" y="71"/>
                  </a:lnTo>
                  <a:lnTo>
                    <a:pt x="210" y="65"/>
                  </a:lnTo>
                  <a:lnTo>
                    <a:pt x="210" y="39"/>
                  </a:lnTo>
                  <a:lnTo>
                    <a:pt x="163" y="31"/>
                  </a:lnTo>
                  <a:lnTo>
                    <a:pt x="142" y="0"/>
                  </a:lnTo>
                  <a:lnTo>
                    <a:pt x="80" y="0"/>
                  </a:lnTo>
                  <a:lnTo>
                    <a:pt x="67" y="7"/>
                  </a:lnTo>
                  <a:lnTo>
                    <a:pt x="67" y="39"/>
                  </a:lnTo>
                  <a:lnTo>
                    <a:pt x="11" y="39"/>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320" name="Freeform 119"/>
            <p:cNvSpPr>
              <a:spLocks/>
            </p:cNvSpPr>
            <p:nvPr/>
          </p:nvSpPr>
          <p:spPr bwMode="auto">
            <a:xfrm>
              <a:off x="2121693" y="4490243"/>
              <a:ext cx="249238" cy="303213"/>
            </a:xfrm>
            <a:custGeom>
              <a:avLst/>
              <a:gdLst>
                <a:gd name="T0" fmla="*/ 161 w 161"/>
                <a:gd name="T1" fmla="*/ 17 h 190"/>
                <a:gd name="T2" fmla="*/ 125 w 161"/>
                <a:gd name="T3" fmla="*/ 0 h 190"/>
                <a:gd name="T4" fmla="*/ 87 w 161"/>
                <a:gd name="T5" fmla="*/ 29 h 190"/>
                <a:gd name="T6" fmla="*/ 67 w 161"/>
                <a:gd name="T7" fmla="*/ 28 h 190"/>
                <a:gd name="T8" fmla="*/ 12 w 161"/>
                <a:gd name="T9" fmla="*/ 71 h 190"/>
                <a:gd name="T10" fmla="*/ 0 w 161"/>
                <a:gd name="T11" fmla="*/ 163 h 190"/>
                <a:gd name="T12" fmla="*/ 23 w 161"/>
                <a:gd name="T13" fmla="*/ 190 h 190"/>
                <a:gd name="T14" fmla="*/ 49 w 161"/>
                <a:gd name="T15" fmla="*/ 168 h 190"/>
                <a:gd name="T16" fmla="*/ 116 w 161"/>
                <a:gd name="T17" fmla="*/ 187 h 190"/>
                <a:gd name="T18" fmla="*/ 95 w 161"/>
                <a:gd name="T19" fmla="*/ 134 h 190"/>
                <a:gd name="T20" fmla="*/ 144 w 161"/>
                <a:gd name="T21" fmla="*/ 81 h 190"/>
                <a:gd name="T22" fmla="*/ 161 w 161"/>
                <a:gd name="T23" fmla="*/ 17 h 190"/>
                <a:gd name="T24" fmla="*/ 161 w 161"/>
                <a:gd name="T25" fmla="*/ 17 h 190"/>
                <a:gd name="T26" fmla="*/ 161 w 161"/>
                <a:gd name="T27" fmla="*/ 17 h 1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1"/>
                <a:gd name="T43" fmla="*/ 0 h 190"/>
                <a:gd name="T44" fmla="*/ 161 w 161"/>
                <a:gd name="T45" fmla="*/ 190 h 1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1" h="190">
                  <a:moveTo>
                    <a:pt x="161" y="17"/>
                  </a:moveTo>
                  <a:lnTo>
                    <a:pt x="125" y="0"/>
                  </a:lnTo>
                  <a:lnTo>
                    <a:pt x="87" y="29"/>
                  </a:lnTo>
                  <a:lnTo>
                    <a:pt x="67" y="28"/>
                  </a:lnTo>
                  <a:lnTo>
                    <a:pt x="12" y="71"/>
                  </a:lnTo>
                  <a:lnTo>
                    <a:pt x="0" y="163"/>
                  </a:lnTo>
                  <a:lnTo>
                    <a:pt x="23" y="190"/>
                  </a:lnTo>
                  <a:lnTo>
                    <a:pt x="49" y="168"/>
                  </a:lnTo>
                  <a:lnTo>
                    <a:pt x="116" y="187"/>
                  </a:lnTo>
                  <a:lnTo>
                    <a:pt x="95" y="134"/>
                  </a:lnTo>
                  <a:lnTo>
                    <a:pt x="144" y="81"/>
                  </a:lnTo>
                  <a:lnTo>
                    <a:pt x="161" y="17"/>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321" name="Freeform 120"/>
            <p:cNvSpPr>
              <a:spLocks/>
            </p:cNvSpPr>
            <p:nvPr/>
          </p:nvSpPr>
          <p:spPr bwMode="auto">
            <a:xfrm>
              <a:off x="2272506" y="3323431"/>
              <a:ext cx="234950" cy="369887"/>
            </a:xfrm>
            <a:custGeom>
              <a:avLst/>
              <a:gdLst>
                <a:gd name="T0" fmla="*/ 21 w 151"/>
                <a:gd name="T1" fmla="*/ 0 h 232"/>
                <a:gd name="T2" fmla="*/ 93 w 151"/>
                <a:gd name="T3" fmla="*/ 24 h 232"/>
                <a:gd name="T4" fmla="*/ 97 w 151"/>
                <a:gd name="T5" fmla="*/ 61 h 232"/>
                <a:gd name="T6" fmla="*/ 121 w 151"/>
                <a:gd name="T7" fmla="*/ 115 h 232"/>
                <a:gd name="T8" fmla="*/ 141 w 151"/>
                <a:gd name="T9" fmla="*/ 118 h 232"/>
                <a:gd name="T10" fmla="*/ 151 w 151"/>
                <a:gd name="T11" fmla="*/ 150 h 232"/>
                <a:gd name="T12" fmla="*/ 116 w 151"/>
                <a:gd name="T13" fmla="*/ 176 h 232"/>
                <a:gd name="T14" fmla="*/ 111 w 151"/>
                <a:gd name="T15" fmla="*/ 195 h 232"/>
                <a:gd name="T16" fmla="*/ 111 w 151"/>
                <a:gd name="T17" fmla="*/ 211 h 232"/>
                <a:gd name="T18" fmla="*/ 63 w 151"/>
                <a:gd name="T19" fmla="*/ 232 h 232"/>
                <a:gd name="T20" fmla="*/ 46 w 151"/>
                <a:gd name="T21" fmla="*/ 220 h 232"/>
                <a:gd name="T22" fmla="*/ 53 w 151"/>
                <a:gd name="T23" fmla="*/ 186 h 232"/>
                <a:gd name="T24" fmla="*/ 46 w 151"/>
                <a:gd name="T25" fmla="*/ 171 h 232"/>
                <a:gd name="T26" fmla="*/ 57 w 151"/>
                <a:gd name="T27" fmla="*/ 153 h 232"/>
                <a:gd name="T28" fmla="*/ 30 w 151"/>
                <a:gd name="T29" fmla="*/ 156 h 232"/>
                <a:gd name="T30" fmla="*/ 16 w 151"/>
                <a:gd name="T31" fmla="*/ 146 h 232"/>
                <a:gd name="T32" fmla="*/ 10 w 151"/>
                <a:gd name="T33" fmla="*/ 103 h 232"/>
                <a:gd name="T34" fmla="*/ 0 w 151"/>
                <a:gd name="T35" fmla="*/ 60 h 232"/>
                <a:gd name="T36" fmla="*/ 13 w 151"/>
                <a:gd name="T37" fmla="*/ 31 h 232"/>
                <a:gd name="T38" fmla="*/ 7 w 151"/>
                <a:gd name="T39" fmla="*/ 6 h 232"/>
                <a:gd name="T40" fmla="*/ 18 w 151"/>
                <a:gd name="T41" fmla="*/ 3 h 232"/>
                <a:gd name="T42" fmla="*/ 21 w 151"/>
                <a:gd name="T43" fmla="*/ 0 h 232"/>
                <a:gd name="T44" fmla="*/ 21 w 151"/>
                <a:gd name="T45" fmla="*/ 0 h 232"/>
                <a:gd name="T46" fmla="*/ 21 w 151"/>
                <a:gd name="T47" fmla="*/ 0 h 23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1"/>
                <a:gd name="T73" fmla="*/ 0 h 232"/>
                <a:gd name="T74" fmla="*/ 151 w 151"/>
                <a:gd name="T75" fmla="*/ 232 h 23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1" h="232">
                  <a:moveTo>
                    <a:pt x="21" y="0"/>
                  </a:moveTo>
                  <a:lnTo>
                    <a:pt x="93" y="24"/>
                  </a:lnTo>
                  <a:lnTo>
                    <a:pt x="97" y="61"/>
                  </a:lnTo>
                  <a:lnTo>
                    <a:pt x="121" y="115"/>
                  </a:lnTo>
                  <a:lnTo>
                    <a:pt x="141" y="118"/>
                  </a:lnTo>
                  <a:lnTo>
                    <a:pt x="151" y="150"/>
                  </a:lnTo>
                  <a:lnTo>
                    <a:pt x="116" y="176"/>
                  </a:lnTo>
                  <a:lnTo>
                    <a:pt x="111" y="195"/>
                  </a:lnTo>
                  <a:lnTo>
                    <a:pt x="111" y="211"/>
                  </a:lnTo>
                  <a:lnTo>
                    <a:pt x="63" y="232"/>
                  </a:lnTo>
                  <a:lnTo>
                    <a:pt x="46" y="220"/>
                  </a:lnTo>
                  <a:lnTo>
                    <a:pt x="53" y="186"/>
                  </a:lnTo>
                  <a:lnTo>
                    <a:pt x="46" y="171"/>
                  </a:lnTo>
                  <a:lnTo>
                    <a:pt x="57" y="153"/>
                  </a:lnTo>
                  <a:lnTo>
                    <a:pt x="30" y="156"/>
                  </a:lnTo>
                  <a:lnTo>
                    <a:pt x="16" y="146"/>
                  </a:lnTo>
                  <a:lnTo>
                    <a:pt x="10" y="103"/>
                  </a:lnTo>
                  <a:lnTo>
                    <a:pt x="0" y="60"/>
                  </a:lnTo>
                  <a:lnTo>
                    <a:pt x="13" y="31"/>
                  </a:lnTo>
                  <a:lnTo>
                    <a:pt x="7" y="6"/>
                  </a:lnTo>
                  <a:lnTo>
                    <a:pt x="18" y="3"/>
                  </a:lnTo>
                  <a:lnTo>
                    <a:pt x="21"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322" name="Freeform 121"/>
            <p:cNvSpPr>
              <a:spLocks/>
            </p:cNvSpPr>
            <p:nvPr/>
          </p:nvSpPr>
          <p:spPr bwMode="auto">
            <a:xfrm>
              <a:off x="2058193" y="3332956"/>
              <a:ext cx="239713" cy="279400"/>
            </a:xfrm>
            <a:custGeom>
              <a:avLst/>
              <a:gdLst>
                <a:gd name="T0" fmla="*/ 146 w 155"/>
                <a:gd name="T1" fmla="*/ 0 h 175"/>
                <a:gd name="T2" fmla="*/ 80 w 155"/>
                <a:gd name="T3" fmla="*/ 21 h 175"/>
                <a:gd name="T4" fmla="*/ 62 w 155"/>
                <a:gd name="T5" fmla="*/ 60 h 175"/>
                <a:gd name="T6" fmla="*/ 20 w 155"/>
                <a:gd name="T7" fmla="*/ 60 h 175"/>
                <a:gd name="T8" fmla="*/ 0 w 155"/>
                <a:gd name="T9" fmla="*/ 78 h 175"/>
                <a:gd name="T10" fmla="*/ 6 w 155"/>
                <a:gd name="T11" fmla="*/ 98 h 175"/>
                <a:gd name="T12" fmla="*/ 26 w 155"/>
                <a:gd name="T13" fmla="*/ 97 h 175"/>
                <a:gd name="T14" fmla="*/ 26 w 155"/>
                <a:gd name="T15" fmla="*/ 109 h 175"/>
                <a:gd name="T16" fmla="*/ 76 w 155"/>
                <a:gd name="T17" fmla="*/ 127 h 175"/>
                <a:gd name="T18" fmla="*/ 72 w 155"/>
                <a:gd name="T19" fmla="*/ 152 h 175"/>
                <a:gd name="T20" fmla="*/ 103 w 155"/>
                <a:gd name="T21" fmla="*/ 152 h 175"/>
                <a:gd name="T22" fmla="*/ 124 w 155"/>
                <a:gd name="T23" fmla="*/ 175 h 175"/>
                <a:gd name="T24" fmla="*/ 149 w 155"/>
                <a:gd name="T25" fmla="*/ 157 h 175"/>
                <a:gd name="T26" fmla="*/ 155 w 155"/>
                <a:gd name="T27" fmla="*/ 140 h 175"/>
                <a:gd name="T28" fmla="*/ 150 w 155"/>
                <a:gd name="T29" fmla="*/ 99 h 175"/>
                <a:gd name="T30" fmla="*/ 139 w 155"/>
                <a:gd name="T31" fmla="*/ 54 h 175"/>
                <a:gd name="T32" fmla="*/ 150 w 155"/>
                <a:gd name="T33" fmla="*/ 25 h 175"/>
                <a:gd name="T34" fmla="*/ 146 w 155"/>
                <a:gd name="T35" fmla="*/ 0 h 175"/>
                <a:gd name="T36" fmla="*/ 146 w 155"/>
                <a:gd name="T37" fmla="*/ 0 h 175"/>
                <a:gd name="T38" fmla="*/ 146 w 155"/>
                <a:gd name="T39" fmla="*/ 0 h 17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5"/>
                <a:gd name="T61" fmla="*/ 0 h 175"/>
                <a:gd name="T62" fmla="*/ 155 w 155"/>
                <a:gd name="T63" fmla="*/ 175 h 17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5" h="175">
                  <a:moveTo>
                    <a:pt x="146" y="0"/>
                  </a:moveTo>
                  <a:lnTo>
                    <a:pt x="80" y="21"/>
                  </a:lnTo>
                  <a:lnTo>
                    <a:pt x="62" y="60"/>
                  </a:lnTo>
                  <a:lnTo>
                    <a:pt x="20" y="60"/>
                  </a:lnTo>
                  <a:lnTo>
                    <a:pt x="0" y="78"/>
                  </a:lnTo>
                  <a:lnTo>
                    <a:pt x="6" y="98"/>
                  </a:lnTo>
                  <a:lnTo>
                    <a:pt x="26" y="97"/>
                  </a:lnTo>
                  <a:lnTo>
                    <a:pt x="26" y="109"/>
                  </a:lnTo>
                  <a:lnTo>
                    <a:pt x="76" y="127"/>
                  </a:lnTo>
                  <a:lnTo>
                    <a:pt x="72" y="152"/>
                  </a:lnTo>
                  <a:lnTo>
                    <a:pt x="103" y="152"/>
                  </a:lnTo>
                  <a:lnTo>
                    <a:pt x="124" y="175"/>
                  </a:lnTo>
                  <a:lnTo>
                    <a:pt x="149" y="157"/>
                  </a:lnTo>
                  <a:lnTo>
                    <a:pt x="155" y="140"/>
                  </a:lnTo>
                  <a:lnTo>
                    <a:pt x="150" y="99"/>
                  </a:lnTo>
                  <a:lnTo>
                    <a:pt x="139" y="54"/>
                  </a:lnTo>
                  <a:lnTo>
                    <a:pt x="150" y="25"/>
                  </a:lnTo>
                  <a:lnTo>
                    <a:pt x="146"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323" name="Freeform 122"/>
            <p:cNvSpPr>
              <a:spLocks/>
            </p:cNvSpPr>
            <p:nvPr/>
          </p:nvSpPr>
          <p:spPr bwMode="auto">
            <a:xfrm>
              <a:off x="1908968" y="3456781"/>
              <a:ext cx="396875" cy="311150"/>
            </a:xfrm>
            <a:custGeom>
              <a:avLst/>
              <a:gdLst>
                <a:gd name="T0" fmla="*/ 96 w 256"/>
                <a:gd name="T1" fmla="*/ 0 h 194"/>
                <a:gd name="T2" fmla="*/ 81 w 256"/>
                <a:gd name="T3" fmla="*/ 15 h 194"/>
                <a:gd name="T4" fmla="*/ 72 w 256"/>
                <a:gd name="T5" fmla="*/ 65 h 194"/>
                <a:gd name="T6" fmla="*/ 14 w 256"/>
                <a:gd name="T7" fmla="*/ 65 h 194"/>
                <a:gd name="T8" fmla="*/ 0 w 256"/>
                <a:gd name="T9" fmla="*/ 96 h 194"/>
                <a:gd name="T10" fmla="*/ 44 w 256"/>
                <a:gd name="T11" fmla="*/ 96 h 194"/>
                <a:gd name="T12" fmla="*/ 44 w 256"/>
                <a:gd name="T13" fmla="*/ 111 h 194"/>
                <a:gd name="T14" fmla="*/ 62 w 256"/>
                <a:gd name="T15" fmla="*/ 127 h 194"/>
                <a:gd name="T16" fmla="*/ 62 w 256"/>
                <a:gd name="T17" fmla="*/ 155 h 194"/>
                <a:gd name="T18" fmla="*/ 91 w 256"/>
                <a:gd name="T19" fmla="*/ 165 h 194"/>
                <a:gd name="T20" fmla="*/ 107 w 256"/>
                <a:gd name="T21" fmla="*/ 194 h 194"/>
                <a:gd name="T22" fmla="*/ 150 w 256"/>
                <a:gd name="T23" fmla="*/ 175 h 194"/>
                <a:gd name="T24" fmla="*/ 179 w 256"/>
                <a:gd name="T25" fmla="*/ 194 h 194"/>
                <a:gd name="T26" fmla="*/ 191 w 256"/>
                <a:gd name="T27" fmla="*/ 168 h 194"/>
                <a:gd name="T28" fmla="*/ 220 w 256"/>
                <a:gd name="T29" fmla="*/ 164 h 194"/>
                <a:gd name="T30" fmla="*/ 248 w 256"/>
                <a:gd name="T31" fmla="*/ 136 h 194"/>
                <a:gd name="T32" fmla="*/ 237 w 256"/>
                <a:gd name="T33" fmla="*/ 117 h 194"/>
                <a:gd name="T34" fmla="*/ 256 w 256"/>
                <a:gd name="T35" fmla="*/ 108 h 194"/>
                <a:gd name="T36" fmla="*/ 250 w 256"/>
                <a:gd name="T37" fmla="*/ 83 h 194"/>
                <a:gd name="T38" fmla="*/ 245 w 256"/>
                <a:gd name="T39" fmla="*/ 77 h 194"/>
                <a:gd name="T40" fmla="*/ 220 w 256"/>
                <a:gd name="T41" fmla="*/ 97 h 194"/>
                <a:gd name="T42" fmla="*/ 200 w 256"/>
                <a:gd name="T43" fmla="*/ 74 h 194"/>
                <a:gd name="T44" fmla="*/ 168 w 256"/>
                <a:gd name="T45" fmla="*/ 74 h 194"/>
                <a:gd name="T46" fmla="*/ 172 w 256"/>
                <a:gd name="T47" fmla="*/ 49 h 194"/>
                <a:gd name="T48" fmla="*/ 122 w 256"/>
                <a:gd name="T49" fmla="*/ 31 h 194"/>
                <a:gd name="T50" fmla="*/ 122 w 256"/>
                <a:gd name="T51" fmla="*/ 19 h 194"/>
                <a:gd name="T52" fmla="*/ 102 w 256"/>
                <a:gd name="T53" fmla="*/ 20 h 194"/>
                <a:gd name="T54" fmla="*/ 96 w 256"/>
                <a:gd name="T55" fmla="*/ 0 h 194"/>
                <a:gd name="T56" fmla="*/ 96 w 256"/>
                <a:gd name="T57" fmla="*/ 0 h 194"/>
                <a:gd name="T58" fmla="*/ 96 w 256"/>
                <a:gd name="T59" fmla="*/ 0 h 1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56"/>
                <a:gd name="T91" fmla="*/ 0 h 194"/>
                <a:gd name="T92" fmla="*/ 256 w 256"/>
                <a:gd name="T93" fmla="*/ 194 h 1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56" h="194">
                  <a:moveTo>
                    <a:pt x="96" y="0"/>
                  </a:moveTo>
                  <a:lnTo>
                    <a:pt x="81" y="15"/>
                  </a:lnTo>
                  <a:lnTo>
                    <a:pt x="72" y="65"/>
                  </a:lnTo>
                  <a:lnTo>
                    <a:pt x="14" y="65"/>
                  </a:lnTo>
                  <a:lnTo>
                    <a:pt x="0" y="96"/>
                  </a:lnTo>
                  <a:lnTo>
                    <a:pt x="44" y="96"/>
                  </a:lnTo>
                  <a:lnTo>
                    <a:pt x="44" y="111"/>
                  </a:lnTo>
                  <a:lnTo>
                    <a:pt x="62" y="127"/>
                  </a:lnTo>
                  <a:lnTo>
                    <a:pt x="62" y="155"/>
                  </a:lnTo>
                  <a:lnTo>
                    <a:pt x="91" y="165"/>
                  </a:lnTo>
                  <a:lnTo>
                    <a:pt x="107" y="194"/>
                  </a:lnTo>
                  <a:lnTo>
                    <a:pt x="150" y="175"/>
                  </a:lnTo>
                  <a:lnTo>
                    <a:pt x="179" y="194"/>
                  </a:lnTo>
                  <a:lnTo>
                    <a:pt x="191" y="168"/>
                  </a:lnTo>
                  <a:lnTo>
                    <a:pt x="220" y="164"/>
                  </a:lnTo>
                  <a:lnTo>
                    <a:pt x="248" y="136"/>
                  </a:lnTo>
                  <a:lnTo>
                    <a:pt x="237" y="117"/>
                  </a:lnTo>
                  <a:lnTo>
                    <a:pt x="256" y="108"/>
                  </a:lnTo>
                  <a:lnTo>
                    <a:pt x="250" y="83"/>
                  </a:lnTo>
                  <a:lnTo>
                    <a:pt x="245" y="77"/>
                  </a:lnTo>
                  <a:lnTo>
                    <a:pt x="220" y="97"/>
                  </a:lnTo>
                  <a:lnTo>
                    <a:pt x="200" y="74"/>
                  </a:lnTo>
                  <a:lnTo>
                    <a:pt x="168" y="74"/>
                  </a:lnTo>
                  <a:lnTo>
                    <a:pt x="172" y="49"/>
                  </a:lnTo>
                  <a:lnTo>
                    <a:pt x="122" y="31"/>
                  </a:lnTo>
                  <a:lnTo>
                    <a:pt x="122" y="19"/>
                  </a:lnTo>
                  <a:lnTo>
                    <a:pt x="102" y="20"/>
                  </a:lnTo>
                  <a:lnTo>
                    <a:pt x="96"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324" name="Freeform 123"/>
            <p:cNvSpPr>
              <a:spLocks/>
            </p:cNvSpPr>
            <p:nvPr/>
          </p:nvSpPr>
          <p:spPr bwMode="auto">
            <a:xfrm>
              <a:off x="1853406" y="3609181"/>
              <a:ext cx="285750" cy="250825"/>
            </a:xfrm>
            <a:custGeom>
              <a:avLst/>
              <a:gdLst>
                <a:gd name="T0" fmla="*/ 80 w 185"/>
                <a:gd name="T1" fmla="*/ 0 h 157"/>
                <a:gd name="T2" fmla="*/ 21 w 185"/>
                <a:gd name="T3" fmla="*/ 28 h 157"/>
                <a:gd name="T4" fmla="*/ 0 w 185"/>
                <a:gd name="T5" fmla="*/ 57 h 157"/>
                <a:gd name="T6" fmla="*/ 101 w 185"/>
                <a:gd name="T7" fmla="*/ 157 h 157"/>
                <a:gd name="T8" fmla="*/ 136 w 185"/>
                <a:gd name="T9" fmla="*/ 152 h 157"/>
                <a:gd name="T10" fmla="*/ 185 w 185"/>
                <a:gd name="T11" fmla="*/ 80 h 157"/>
                <a:gd name="T12" fmla="*/ 143 w 185"/>
                <a:gd name="T13" fmla="*/ 99 h 157"/>
                <a:gd name="T14" fmla="*/ 127 w 185"/>
                <a:gd name="T15" fmla="*/ 70 h 157"/>
                <a:gd name="T16" fmla="*/ 98 w 185"/>
                <a:gd name="T17" fmla="*/ 60 h 157"/>
                <a:gd name="T18" fmla="*/ 98 w 185"/>
                <a:gd name="T19" fmla="*/ 32 h 157"/>
                <a:gd name="T20" fmla="*/ 80 w 185"/>
                <a:gd name="T21" fmla="*/ 16 h 157"/>
                <a:gd name="T22" fmla="*/ 80 w 185"/>
                <a:gd name="T23" fmla="*/ 0 h 157"/>
                <a:gd name="T24" fmla="*/ 80 w 185"/>
                <a:gd name="T25" fmla="*/ 0 h 157"/>
                <a:gd name="T26" fmla="*/ 80 w 185"/>
                <a:gd name="T27" fmla="*/ 0 h 15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85"/>
                <a:gd name="T43" fmla="*/ 0 h 157"/>
                <a:gd name="T44" fmla="*/ 185 w 185"/>
                <a:gd name="T45" fmla="*/ 157 h 15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85" h="157">
                  <a:moveTo>
                    <a:pt x="80" y="0"/>
                  </a:moveTo>
                  <a:lnTo>
                    <a:pt x="21" y="28"/>
                  </a:lnTo>
                  <a:lnTo>
                    <a:pt x="0" y="57"/>
                  </a:lnTo>
                  <a:lnTo>
                    <a:pt x="101" y="157"/>
                  </a:lnTo>
                  <a:lnTo>
                    <a:pt x="136" y="152"/>
                  </a:lnTo>
                  <a:lnTo>
                    <a:pt x="185" y="80"/>
                  </a:lnTo>
                  <a:lnTo>
                    <a:pt x="143" y="99"/>
                  </a:lnTo>
                  <a:lnTo>
                    <a:pt x="127" y="70"/>
                  </a:lnTo>
                  <a:lnTo>
                    <a:pt x="98" y="60"/>
                  </a:lnTo>
                  <a:lnTo>
                    <a:pt x="98" y="32"/>
                  </a:lnTo>
                  <a:lnTo>
                    <a:pt x="80" y="16"/>
                  </a:lnTo>
                  <a:lnTo>
                    <a:pt x="80"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325" name="Freeform 124"/>
            <p:cNvSpPr>
              <a:spLocks/>
            </p:cNvSpPr>
            <p:nvPr/>
          </p:nvSpPr>
          <p:spPr bwMode="auto">
            <a:xfrm>
              <a:off x="2186781" y="3666331"/>
              <a:ext cx="157162" cy="234950"/>
            </a:xfrm>
            <a:custGeom>
              <a:avLst/>
              <a:gdLst>
                <a:gd name="T0" fmla="*/ 69 w 102"/>
                <a:gd name="T1" fmla="*/ 5 h 147"/>
                <a:gd name="T2" fmla="*/ 41 w 102"/>
                <a:gd name="T3" fmla="*/ 32 h 147"/>
                <a:gd name="T4" fmla="*/ 11 w 102"/>
                <a:gd name="T5" fmla="*/ 37 h 147"/>
                <a:gd name="T6" fmla="*/ 0 w 102"/>
                <a:gd name="T7" fmla="*/ 64 h 147"/>
                <a:gd name="T8" fmla="*/ 14 w 102"/>
                <a:gd name="T9" fmla="*/ 101 h 147"/>
                <a:gd name="T10" fmla="*/ 41 w 102"/>
                <a:gd name="T11" fmla="*/ 147 h 147"/>
                <a:gd name="T12" fmla="*/ 102 w 102"/>
                <a:gd name="T13" fmla="*/ 131 h 147"/>
                <a:gd name="T14" fmla="*/ 86 w 102"/>
                <a:gd name="T15" fmla="*/ 78 h 147"/>
                <a:gd name="T16" fmla="*/ 93 w 102"/>
                <a:gd name="T17" fmla="*/ 52 h 147"/>
                <a:gd name="T18" fmla="*/ 83 w 102"/>
                <a:gd name="T19" fmla="*/ 37 h 147"/>
                <a:gd name="T20" fmla="*/ 102 w 102"/>
                <a:gd name="T21" fmla="*/ 3 h 147"/>
                <a:gd name="T22" fmla="*/ 83 w 102"/>
                <a:gd name="T23" fmla="*/ 0 h 147"/>
                <a:gd name="T24" fmla="*/ 69 w 102"/>
                <a:gd name="T25" fmla="*/ 5 h 147"/>
                <a:gd name="T26" fmla="*/ 69 w 102"/>
                <a:gd name="T27" fmla="*/ 5 h 147"/>
                <a:gd name="T28" fmla="*/ 69 w 102"/>
                <a:gd name="T29" fmla="*/ 5 h 1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2"/>
                <a:gd name="T46" fmla="*/ 0 h 147"/>
                <a:gd name="T47" fmla="*/ 102 w 102"/>
                <a:gd name="T48" fmla="*/ 147 h 1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2" h="147">
                  <a:moveTo>
                    <a:pt x="69" y="5"/>
                  </a:moveTo>
                  <a:lnTo>
                    <a:pt x="41" y="32"/>
                  </a:lnTo>
                  <a:lnTo>
                    <a:pt x="11" y="37"/>
                  </a:lnTo>
                  <a:lnTo>
                    <a:pt x="0" y="64"/>
                  </a:lnTo>
                  <a:lnTo>
                    <a:pt x="14" y="101"/>
                  </a:lnTo>
                  <a:lnTo>
                    <a:pt x="41" y="147"/>
                  </a:lnTo>
                  <a:lnTo>
                    <a:pt x="102" y="131"/>
                  </a:lnTo>
                  <a:lnTo>
                    <a:pt x="86" y="78"/>
                  </a:lnTo>
                  <a:lnTo>
                    <a:pt x="93" y="52"/>
                  </a:lnTo>
                  <a:lnTo>
                    <a:pt x="83" y="37"/>
                  </a:lnTo>
                  <a:lnTo>
                    <a:pt x="102" y="3"/>
                  </a:lnTo>
                  <a:lnTo>
                    <a:pt x="83" y="0"/>
                  </a:lnTo>
                  <a:lnTo>
                    <a:pt x="69" y="5"/>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326" name="Freeform 125"/>
            <p:cNvSpPr>
              <a:spLocks/>
            </p:cNvSpPr>
            <p:nvPr/>
          </p:nvSpPr>
          <p:spPr bwMode="auto">
            <a:xfrm>
              <a:off x="2315368" y="3610768"/>
              <a:ext cx="263525" cy="290513"/>
            </a:xfrm>
            <a:custGeom>
              <a:avLst/>
              <a:gdLst>
                <a:gd name="T0" fmla="*/ 19 w 170"/>
                <a:gd name="T1" fmla="*/ 38 h 182"/>
                <a:gd name="T2" fmla="*/ 0 w 170"/>
                <a:gd name="T3" fmla="*/ 72 h 182"/>
                <a:gd name="T4" fmla="*/ 10 w 170"/>
                <a:gd name="T5" fmla="*/ 87 h 182"/>
                <a:gd name="T6" fmla="*/ 3 w 170"/>
                <a:gd name="T7" fmla="*/ 113 h 182"/>
                <a:gd name="T8" fmla="*/ 19 w 170"/>
                <a:gd name="T9" fmla="*/ 169 h 182"/>
                <a:gd name="T10" fmla="*/ 73 w 170"/>
                <a:gd name="T11" fmla="*/ 182 h 182"/>
                <a:gd name="T12" fmla="*/ 94 w 170"/>
                <a:gd name="T13" fmla="*/ 129 h 182"/>
                <a:gd name="T14" fmla="*/ 135 w 170"/>
                <a:gd name="T15" fmla="*/ 136 h 182"/>
                <a:gd name="T16" fmla="*/ 145 w 170"/>
                <a:gd name="T17" fmla="*/ 103 h 182"/>
                <a:gd name="T18" fmla="*/ 119 w 170"/>
                <a:gd name="T19" fmla="*/ 87 h 182"/>
                <a:gd name="T20" fmla="*/ 117 w 170"/>
                <a:gd name="T21" fmla="*/ 37 h 182"/>
                <a:gd name="T22" fmla="*/ 125 w 170"/>
                <a:gd name="T23" fmla="*/ 23 h 182"/>
                <a:gd name="T24" fmla="*/ 154 w 170"/>
                <a:gd name="T25" fmla="*/ 94 h 182"/>
                <a:gd name="T26" fmla="*/ 170 w 170"/>
                <a:gd name="T27" fmla="*/ 71 h 182"/>
                <a:gd name="T28" fmla="*/ 140 w 170"/>
                <a:gd name="T29" fmla="*/ 2 h 182"/>
                <a:gd name="T30" fmla="*/ 110 w 170"/>
                <a:gd name="T31" fmla="*/ 0 h 182"/>
                <a:gd name="T32" fmla="*/ 84 w 170"/>
                <a:gd name="T33" fmla="*/ 14 h 182"/>
                <a:gd name="T34" fmla="*/ 83 w 170"/>
                <a:gd name="T35" fmla="*/ 31 h 182"/>
                <a:gd name="T36" fmla="*/ 36 w 170"/>
                <a:gd name="T37" fmla="*/ 52 h 182"/>
                <a:gd name="T38" fmla="*/ 19 w 170"/>
                <a:gd name="T39" fmla="*/ 38 h 182"/>
                <a:gd name="T40" fmla="*/ 19 w 170"/>
                <a:gd name="T41" fmla="*/ 38 h 182"/>
                <a:gd name="T42" fmla="*/ 19 w 170"/>
                <a:gd name="T43" fmla="*/ 38 h 1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0"/>
                <a:gd name="T67" fmla="*/ 0 h 182"/>
                <a:gd name="T68" fmla="*/ 170 w 170"/>
                <a:gd name="T69" fmla="*/ 182 h 18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0" h="182">
                  <a:moveTo>
                    <a:pt x="19" y="38"/>
                  </a:moveTo>
                  <a:lnTo>
                    <a:pt x="0" y="72"/>
                  </a:lnTo>
                  <a:lnTo>
                    <a:pt x="10" y="87"/>
                  </a:lnTo>
                  <a:lnTo>
                    <a:pt x="3" y="113"/>
                  </a:lnTo>
                  <a:lnTo>
                    <a:pt x="19" y="169"/>
                  </a:lnTo>
                  <a:lnTo>
                    <a:pt x="73" y="182"/>
                  </a:lnTo>
                  <a:lnTo>
                    <a:pt x="94" y="129"/>
                  </a:lnTo>
                  <a:lnTo>
                    <a:pt x="135" y="136"/>
                  </a:lnTo>
                  <a:lnTo>
                    <a:pt x="145" y="103"/>
                  </a:lnTo>
                  <a:lnTo>
                    <a:pt x="119" y="87"/>
                  </a:lnTo>
                  <a:lnTo>
                    <a:pt x="117" y="37"/>
                  </a:lnTo>
                  <a:lnTo>
                    <a:pt x="125" y="23"/>
                  </a:lnTo>
                  <a:lnTo>
                    <a:pt x="154" y="94"/>
                  </a:lnTo>
                  <a:lnTo>
                    <a:pt x="170" y="71"/>
                  </a:lnTo>
                  <a:lnTo>
                    <a:pt x="140" y="2"/>
                  </a:lnTo>
                  <a:lnTo>
                    <a:pt x="110" y="0"/>
                  </a:lnTo>
                  <a:lnTo>
                    <a:pt x="84" y="14"/>
                  </a:lnTo>
                  <a:lnTo>
                    <a:pt x="83" y="31"/>
                  </a:lnTo>
                  <a:lnTo>
                    <a:pt x="36" y="52"/>
                  </a:lnTo>
                  <a:lnTo>
                    <a:pt x="19" y="38"/>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sp>
          <p:nvSpPr>
            <p:cNvPr id="327" name="Freeform 126"/>
            <p:cNvSpPr>
              <a:spLocks/>
            </p:cNvSpPr>
            <p:nvPr/>
          </p:nvSpPr>
          <p:spPr bwMode="auto">
            <a:xfrm>
              <a:off x="2275681" y="3556793"/>
              <a:ext cx="85725" cy="117475"/>
            </a:xfrm>
            <a:custGeom>
              <a:avLst/>
              <a:gdLst>
                <a:gd name="T0" fmla="*/ 14 w 55"/>
                <a:gd name="T1" fmla="*/ 0 h 74"/>
                <a:gd name="T2" fmla="*/ 25 w 55"/>
                <a:gd name="T3" fmla="*/ 10 h 74"/>
                <a:gd name="T4" fmla="*/ 55 w 55"/>
                <a:gd name="T5" fmla="*/ 7 h 74"/>
                <a:gd name="T6" fmla="*/ 44 w 55"/>
                <a:gd name="T7" fmla="*/ 25 h 74"/>
                <a:gd name="T8" fmla="*/ 51 w 55"/>
                <a:gd name="T9" fmla="*/ 40 h 74"/>
                <a:gd name="T10" fmla="*/ 44 w 55"/>
                <a:gd name="T11" fmla="*/ 72 h 74"/>
                <a:gd name="T12" fmla="*/ 25 w 55"/>
                <a:gd name="T13" fmla="*/ 69 h 74"/>
                <a:gd name="T14" fmla="*/ 11 w 55"/>
                <a:gd name="T15" fmla="*/ 74 h 74"/>
                <a:gd name="T16" fmla="*/ 0 w 55"/>
                <a:gd name="T17" fmla="*/ 55 h 74"/>
                <a:gd name="T18" fmla="*/ 19 w 55"/>
                <a:gd name="T19" fmla="*/ 45 h 74"/>
                <a:gd name="T20" fmla="*/ 13 w 55"/>
                <a:gd name="T21" fmla="*/ 21 h 74"/>
                <a:gd name="T22" fmla="*/ 8 w 55"/>
                <a:gd name="T23" fmla="*/ 17 h 74"/>
                <a:gd name="T24" fmla="*/ 14 w 55"/>
                <a:gd name="T25" fmla="*/ 0 h 74"/>
                <a:gd name="T26" fmla="*/ 14 w 55"/>
                <a:gd name="T27" fmla="*/ 0 h 74"/>
                <a:gd name="T28" fmla="*/ 14 w 55"/>
                <a:gd name="T29" fmla="*/ 0 h 7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5"/>
                <a:gd name="T46" fmla="*/ 0 h 74"/>
                <a:gd name="T47" fmla="*/ 55 w 55"/>
                <a:gd name="T48" fmla="*/ 74 h 7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5" h="74">
                  <a:moveTo>
                    <a:pt x="14" y="0"/>
                  </a:moveTo>
                  <a:lnTo>
                    <a:pt x="25" y="10"/>
                  </a:lnTo>
                  <a:lnTo>
                    <a:pt x="55" y="7"/>
                  </a:lnTo>
                  <a:lnTo>
                    <a:pt x="44" y="25"/>
                  </a:lnTo>
                  <a:lnTo>
                    <a:pt x="51" y="40"/>
                  </a:lnTo>
                  <a:lnTo>
                    <a:pt x="44" y="72"/>
                  </a:lnTo>
                  <a:lnTo>
                    <a:pt x="25" y="69"/>
                  </a:lnTo>
                  <a:lnTo>
                    <a:pt x="11" y="74"/>
                  </a:lnTo>
                  <a:lnTo>
                    <a:pt x="0" y="55"/>
                  </a:lnTo>
                  <a:lnTo>
                    <a:pt x="19" y="45"/>
                  </a:lnTo>
                  <a:lnTo>
                    <a:pt x="13" y="21"/>
                  </a:lnTo>
                  <a:lnTo>
                    <a:pt x="8" y="17"/>
                  </a:lnTo>
                  <a:lnTo>
                    <a:pt x="14"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latin typeface="Arial" charset="0"/>
                <a:ea typeface="+mn-ea"/>
                <a:cs typeface="Arial" charset="0"/>
              </a:endParaRPr>
            </a:p>
          </p:txBody>
        </p:sp>
      </p:grpSp>
      <p:sp>
        <p:nvSpPr>
          <p:cNvPr id="128" name="Rectangle 3"/>
          <p:cNvSpPr>
            <a:spLocks noChangeArrowheads="1"/>
          </p:cNvSpPr>
          <p:nvPr/>
        </p:nvSpPr>
        <p:spPr bwMode="auto">
          <a:xfrm>
            <a:off x="5337545" y="1"/>
            <a:ext cx="2663456" cy="600164"/>
          </a:xfrm>
          <a:prstGeom prst="rect">
            <a:avLst/>
          </a:prstGeom>
          <a:solidFill>
            <a:schemeClr val="accent6"/>
          </a:solidFill>
          <a:ln w="6350" algn="ctr">
            <a:solidFill>
              <a:schemeClr val="bg1"/>
            </a:solidFill>
            <a:miter lim="800000"/>
            <a:headEnd/>
            <a:tailEnd/>
          </a:ln>
        </p:spPr>
        <p:txBody>
          <a:bodyPr wrap="square" tIns="68580" bIns="68580">
            <a:spAutoFit/>
          </a:bodyPr>
          <a:lstStyle/>
          <a:p>
            <a:pPr defTabSz="685800">
              <a:buClrTx/>
              <a:defRPr/>
            </a:pPr>
            <a:r>
              <a:rPr lang="en-US" altLang="ja-JP" sz="750" kern="1200" dirty="0">
                <a:solidFill>
                  <a:srgbClr val="313131"/>
                </a:solidFill>
                <a:ea typeface="ＭＳ Ｐゴシック" pitchFamily="50" charset="-128"/>
                <a:cs typeface="+mn-cs"/>
              </a:rPr>
              <a:t>Tip! Click once to select the entire map, and again to select one or more regions within it</a:t>
            </a:r>
            <a:br>
              <a:rPr lang="en-US" altLang="ja-JP" sz="750" kern="1200" dirty="0">
                <a:solidFill>
                  <a:srgbClr val="313131"/>
                </a:solidFill>
                <a:ea typeface="ＭＳ Ｐゴシック" pitchFamily="50" charset="-128"/>
                <a:cs typeface="+mn-cs"/>
              </a:rPr>
            </a:br>
            <a:r>
              <a:rPr lang="en-US" altLang="ja-JP" sz="750" kern="1200" dirty="0">
                <a:solidFill>
                  <a:srgbClr val="313131"/>
                </a:solidFill>
                <a:ea typeface="ＭＳ Ｐゴシック" pitchFamily="50" charset="-128"/>
                <a:cs typeface="+mn-cs"/>
              </a:rPr>
              <a:t>Country/regional maps are a representative sample – more will be added</a:t>
            </a:r>
            <a:endParaRPr lang="en-US" sz="750" kern="1200" dirty="0">
              <a:solidFill>
                <a:srgbClr val="313131"/>
              </a:solidFill>
              <a:ea typeface="ＭＳ Ｐゴシック" pitchFamily="50" charset="-128"/>
              <a:cs typeface="+mn-cs"/>
            </a:endParaRPr>
          </a:p>
        </p:txBody>
      </p:sp>
      <p:sp>
        <p:nvSpPr>
          <p:cNvPr id="131" name="Text Placeholder 3"/>
          <p:cNvSpPr txBox="1">
            <a:spLocks/>
          </p:cNvSpPr>
          <p:nvPr/>
        </p:nvSpPr>
        <p:spPr>
          <a:xfrm>
            <a:off x="5482835" y="1358100"/>
            <a:ext cx="2227437" cy="34020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5979" indent="-205979" defTabSz="685800">
              <a:spcBef>
                <a:spcPts val="900"/>
              </a:spcBef>
              <a:buClrTx/>
              <a:defRPr/>
            </a:pPr>
            <a:r>
              <a:rPr lang="en-GB" sz="1350" dirty="0">
                <a:solidFill>
                  <a:srgbClr val="313131"/>
                </a:solidFill>
                <a:latin typeface="Arial"/>
              </a:rPr>
              <a:t>This is a level one bullet this is dummy text</a:t>
            </a:r>
          </a:p>
          <a:p>
            <a:pPr marL="205979" indent="-205979" defTabSz="685800">
              <a:spcBef>
                <a:spcPts val="900"/>
              </a:spcBef>
              <a:buClrTx/>
              <a:defRPr/>
            </a:pPr>
            <a:r>
              <a:rPr lang="en-GB" sz="1350" dirty="0">
                <a:solidFill>
                  <a:srgbClr val="313131"/>
                </a:solidFill>
                <a:latin typeface="Arial"/>
              </a:rPr>
              <a:t>This is a level one bullet this is dummy text</a:t>
            </a:r>
          </a:p>
          <a:p>
            <a:pPr marL="205979" indent="-205979" defTabSz="685800">
              <a:spcBef>
                <a:spcPts val="900"/>
              </a:spcBef>
              <a:buClrTx/>
              <a:defRPr/>
            </a:pPr>
            <a:r>
              <a:rPr lang="en-GB" sz="1350" dirty="0">
                <a:solidFill>
                  <a:srgbClr val="313131"/>
                </a:solidFill>
                <a:latin typeface="Arial"/>
              </a:rPr>
              <a:t>This is a level one bullet this is dummy text</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205979" indent="-205979" defTabSz="685800">
              <a:spcBef>
                <a:spcPts val="900"/>
              </a:spcBef>
              <a:buClrTx/>
              <a:defRPr/>
            </a:pPr>
            <a:endParaRPr lang="en-GB" sz="1350" dirty="0">
              <a:solidFill>
                <a:srgbClr val="313131"/>
              </a:solidFill>
              <a:latin typeface="Arial"/>
            </a:endParaRPr>
          </a:p>
          <a:p>
            <a:pPr marL="205979" indent="-205979" defTabSz="685800">
              <a:spcBef>
                <a:spcPts val="900"/>
              </a:spcBef>
              <a:buClrTx/>
              <a:defRPr/>
            </a:pPr>
            <a:endParaRPr lang="en-GB" sz="1350" dirty="0">
              <a:solidFill>
                <a:srgbClr val="313131"/>
              </a:solidFill>
              <a:latin typeface="Arial"/>
            </a:endParaRPr>
          </a:p>
        </p:txBody>
      </p:sp>
      <p:sp>
        <p:nvSpPr>
          <p:cNvPr id="130" name="TextBox 129"/>
          <p:cNvSpPr txBox="1"/>
          <p:nvPr/>
        </p:nvSpPr>
        <p:spPr>
          <a:xfrm>
            <a:off x="5340096" y="733806"/>
            <a:ext cx="2663455" cy="1107996"/>
          </a:xfrm>
          <a:prstGeom prst="rect">
            <a:avLst/>
          </a:prstGeom>
          <a:solidFill>
            <a:srgbClr val="ED1B2F"/>
          </a:solidFill>
        </p:spPr>
        <p:txBody>
          <a:bodyPr wrap="square" lIns="68580" tIns="68580" rIns="68580" bIns="68580" rtlCol="0">
            <a:spAutoFit/>
          </a:bodyPr>
          <a:lstStyle/>
          <a:p>
            <a:pPr defTabSz="685800">
              <a:buClrTx/>
            </a:pPr>
            <a:r>
              <a:rPr lang="en-US" sz="1050" kern="1200" dirty="0">
                <a:solidFill>
                  <a:prstClr val="white"/>
                </a:solidFill>
                <a:ea typeface="+mn-ea"/>
                <a:cs typeface="+mn-cs"/>
              </a:rPr>
              <a:t>Maps are for directional purposes only and are not intended to be exact renditions of country borders. For specific information about country borders and maps, please contact the local member firm.</a:t>
            </a:r>
          </a:p>
        </p:txBody>
      </p:sp>
    </p:spTree>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0657" name="Title 1"/>
          <p:cNvSpPr>
            <a:spLocks noGrp="1"/>
          </p:cNvSpPr>
          <p:nvPr>
            <p:ph type="title"/>
          </p:nvPr>
        </p:nvSpPr>
        <p:spPr/>
        <p:txBody>
          <a:bodyPr/>
          <a:lstStyle/>
          <a:p>
            <a:r>
              <a:rPr lang="en-US" dirty="0">
                <a:solidFill>
                  <a:srgbClr val="81BC00"/>
                </a:solidFill>
              </a:rPr>
              <a:t>Maps</a:t>
            </a:r>
            <a:r>
              <a:rPr lang="en-US" dirty="0">
                <a:solidFill>
                  <a:srgbClr val="575757"/>
                </a:solidFill>
              </a:rPr>
              <a:t>  </a:t>
            </a:r>
            <a:br>
              <a:rPr lang="en-US" dirty="0">
                <a:solidFill>
                  <a:srgbClr val="575757"/>
                </a:solidFill>
              </a:rPr>
            </a:br>
            <a:r>
              <a:rPr lang="en-US" dirty="0">
                <a:solidFill>
                  <a:srgbClr val="575757"/>
                </a:solidFill>
              </a:rPr>
              <a:t>Italy</a:t>
            </a:r>
          </a:p>
        </p:txBody>
      </p:sp>
      <p:grpSp>
        <p:nvGrpSpPr>
          <p:cNvPr id="2" name="Group 1"/>
          <p:cNvGrpSpPr/>
          <p:nvPr/>
        </p:nvGrpSpPr>
        <p:grpSpPr>
          <a:xfrm>
            <a:off x="2096847" y="1268730"/>
            <a:ext cx="2632622" cy="3332562"/>
            <a:chOff x="1271795" y="1726564"/>
            <a:chExt cx="3510163" cy="4443416"/>
          </a:xfrm>
        </p:grpSpPr>
        <p:sp>
          <p:nvSpPr>
            <p:cNvPr id="6" name="Freeform 6"/>
            <p:cNvSpPr>
              <a:spLocks noChangeAspect="1"/>
            </p:cNvSpPr>
            <p:nvPr/>
          </p:nvSpPr>
          <p:spPr bwMode="gray">
            <a:xfrm>
              <a:off x="1422611" y="2188056"/>
              <a:ext cx="297196" cy="207359"/>
            </a:xfrm>
            <a:custGeom>
              <a:avLst/>
              <a:gdLst>
                <a:gd name="T0" fmla="*/ 180 w 190"/>
                <a:gd name="T1" fmla="*/ 21 h 126"/>
                <a:gd name="T2" fmla="*/ 95 w 190"/>
                <a:gd name="T3" fmla="*/ 0 h 126"/>
                <a:gd name="T4" fmla="*/ 0 w 190"/>
                <a:gd name="T5" fmla="*/ 21 h 126"/>
                <a:gd name="T6" fmla="*/ 32 w 190"/>
                <a:gd name="T7" fmla="*/ 124 h 126"/>
                <a:gd name="T8" fmla="*/ 63 w 190"/>
                <a:gd name="T9" fmla="*/ 126 h 126"/>
                <a:gd name="T10" fmla="*/ 77 w 190"/>
                <a:gd name="T11" fmla="*/ 110 h 126"/>
                <a:gd name="T12" fmla="*/ 158 w 190"/>
                <a:gd name="T13" fmla="*/ 110 h 126"/>
                <a:gd name="T14" fmla="*/ 190 w 190"/>
                <a:gd name="T15" fmla="*/ 85 h 126"/>
                <a:gd name="T16" fmla="*/ 180 w 190"/>
                <a:gd name="T17" fmla="*/ 21 h 126"/>
                <a:gd name="T18" fmla="*/ 180 w 190"/>
                <a:gd name="T19" fmla="*/ 21 h 126"/>
                <a:gd name="T20" fmla="*/ 180 w 190"/>
                <a:gd name="T21" fmla="*/ 21 h 126"/>
                <a:gd name="T22" fmla="*/ 180 w 190"/>
                <a:gd name="T23" fmla="*/ 21 h 1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0"/>
                <a:gd name="T37" fmla="*/ 0 h 126"/>
                <a:gd name="T38" fmla="*/ 190 w 190"/>
                <a:gd name="T39" fmla="*/ 126 h 12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0" h="126">
                  <a:moveTo>
                    <a:pt x="180" y="21"/>
                  </a:moveTo>
                  <a:lnTo>
                    <a:pt x="95" y="0"/>
                  </a:lnTo>
                  <a:lnTo>
                    <a:pt x="0" y="21"/>
                  </a:lnTo>
                  <a:lnTo>
                    <a:pt x="32" y="124"/>
                  </a:lnTo>
                  <a:lnTo>
                    <a:pt x="63" y="126"/>
                  </a:lnTo>
                  <a:lnTo>
                    <a:pt x="77" y="110"/>
                  </a:lnTo>
                  <a:lnTo>
                    <a:pt x="158" y="110"/>
                  </a:lnTo>
                  <a:lnTo>
                    <a:pt x="190" y="85"/>
                  </a:lnTo>
                  <a:lnTo>
                    <a:pt x="180" y="21"/>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7" name="Freeform 7"/>
            <p:cNvSpPr>
              <a:spLocks noChangeAspect="1"/>
            </p:cNvSpPr>
            <p:nvPr/>
          </p:nvSpPr>
          <p:spPr bwMode="gray">
            <a:xfrm>
              <a:off x="2803610" y="3270066"/>
              <a:ext cx="411047" cy="514501"/>
            </a:xfrm>
            <a:custGeom>
              <a:avLst/>
              <a:gdLst>
                <a:gd name="T0" fmla="*/ 70 w 262"/>
                <a:gd name="T1" fmla="*/ 0 h 312"/>
                <a:gd name="T2" fmla="*/ 43 w 262"/>
                <a:gd name="T3" fmla="*/ 12 h 312"/>
                <a:gd name="T4" fmla="*/ 38 w 262"/>
                <a:gd name="T5" fmla="*/ 43 h 312"/>
                <a:gd name="T6" fmla="*/ 70 w 262"/>
                <a:gd name="T7" fmla="*/ 77 h 312"/>
                <a:gd name="T8" fmla="*/ 37 w 262"/>
                <a:gd name="T9" fmla="*/ 88 h 312"/>
                <a:gd name="T10" fmla="*/ 13 w 262"/>
                <a:gd name="T11" fmla="*/ 118 h 312"/>
                <a:gd name="T12" fmla="*/ 17 w 262"/>
                <a:gd name="T13" fmla="*/ 150 h 312"/>
                <a:gd name="T14" fmla="*/ 0 w 262"/>
                <a:gd name="T15" fmla="*/ 195 h 312"/>
                <a:gd name="T16" fmla="*/ 14 w 262"/>
                <a:gd name="T17" fmla="*/ 199 h 312"/>
                <a:gd name="T18" fmla="*/ 20 w 262"/>
                <a:gd name="T19" fmla="*/ 221 h 312"/>
                <a:gd name="T20" fmla="*/ 14 w 262"/>
                <a:gd name="T21" fmla="*/ 232 h 312"/>
                <a:gd name="T22" fmla="*/ 34 w 262"/>
                <a:gd name="T23" fmla="*/ 253 h 312"/>
                <a:gd name="T24" fmla="*/ 58 w 262"/>
                <a:gd name="T25" fmla="*/ 249 h 312"/>
                <a:gd name="T26" fmla="*/ 94 w 262"/>
                <a:gd name="T27" fmla="*/ 295 h 312"/>
                <a:gd name="T28" fmla="*/ 107 w 262"/>
                <a:gd name="T29" fmla="*/ 293 h 312"/>
                <a:gd name="T30" fmla="*/ 121 w 262"/>
                <a:gd name="T31" fmla="*/ 312 h 312"/>
                <a:gd name="T32" fmla="*/ 136 w 262"/>
                <a:gd name="T33" fmla="*/ 312 h 312"/>
                <a:gd name="T34" fmla="*/ 144 w 262"/>
                <a:gd name="T35" fmla="*/ 295 h 312"/>
                <a:gd name="T36" fmla="*/ 164 w 262"/>
                <a:gd name="T37" fmla="*/ 295 h 312"/>
                <a:gd name="T38" fmla="*/ 197 w 262"/>
                <a:gd name="T39" fmla="*/ 261 h 312"/>
                <a:gd name="T40" fmla="*/ 244 w 262"/>
                <a:gd name="T41" fmla="*/ 249 h 312"/>
                <a:gd name="T42" fmla="*/ 255 w 262"/>
                <a:gd name="T43" fmla="*/ 227 h 312"/>
                <a:gd name="T44" fmla="*/ 247 w 262"/>
                <a:gd name="T45" fmla="*/ 218 h 312"/>
                <a:gd name="T46" fmla="*/ 262 w 262"/>
                <a:gd name="T47" fmla="*/ 199 h 312"/>
                <a:gd name="T48" fmla="*/ 218 w 262"/>
                <a:gd name="T49" fmla="*/ 176 h 312"/>
                <a:gd name="T50" fmla="*/ 208 w 262"/>
                <a:gd name="T51" fmla="*/ 186 h 312"/>
                <a:gd name="T52" fmla="*/ 197 w 262"/>
                <a:gd name="T53" fmla="*/ 133 h 312"/>
                <a:gd name="T54" fmla="*/ 178 w 262"/>
                <a:gd name="T55" fmla="*/ 65 h 312"/>
                <a:gd name="T56" fmla="*/ 178 w 262"/>
                <a:gd name="T57" fmla="*/ 42 h 312"/>
                <a:gd name="T58" fmla="*/ 146 w 262"/>
                <a:gd name="T59" fmla="*/ 42 h 312"/>
                <a:gd name="T60" fmla="*/ 112 w 262"/>
                <a:gd name="T61" fmla="*/ 14 h 312"/>
                <a:gd name="T62" fmla="*/ 94 w 262"/>
                <a:gd name="T63" fmla="*/ 15 h 312"/>
                <a:gd name="T64" fmla="*/ 101 w 262"/>
                <a:gd name="T65" fmla="*/ 0 h 312"/>
                <a:gd name="T66" fmla="*/ 70 w 262"/>
                <a:gd name="T67" fmla="*/ 0 h 312"/>
                <a:gd name="T68" fmla="*/ 70 w 262"/>
                <a:gd name="T69" fmla="*/ 0 h 312"/>
                <a:gd name="T70" fmla="*/ 70 w 262"/>
                <a:gd name="T71" fmla="*/ 0 h 31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62"/>
                <a:gd name="T109" fmla="*/ 0 h 312"/>
                <a:gd name="T110" fmla="*/ 262 w 262"/>
                <a:gd name="T111" fmla="*/ 312 h 31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62" h="312">
                  <a:moveTo>
                    <a:pt x="70" y="0"/>
                  </a:moveTo>
                  <a:lnTo>
                    <a:pt x="43" y="12"/>
                  </a:lnTo>
                  <a:lnTo>
                    <a:pt x="38" y="43"/>
                  </a:lnTo>
                  <a:lnTo>
                    <a:pt x="70" y="77"/>
                  </a:lnTo>
                  <a:lnTo>
                    <a:pt x="37" y="88"/>
                  </a:lnTo>
                  <a:lnTo>
                    <a:pt x="13" y="118"/>
                  </a:lnTo>
                  <a:lnTo>
                    <a:pt x="17" y="150"/>
                  </a:lnTo>
                  <a:lnTo>
                    <a:pt x="0" y="195"/>
                  </a:lnTo>
                  <a:lnTo>
                    <a:pt x="14" y="199"/>
                  </a:lnTo>
                  <a:lnTo>
                    <a:pt x="20" y="221"/>
                  </a:lnTo>
                  <a:lnTo>
                    <a:pt x="14" y="232"/>
                  </a:lnTo>
                  <a:lnTo>
                    <a:pt x="34" y="253"/>
                  </a:lnTo>
                  <a:lnTo>
                    <a:pt x="58" y="249"/>
                  </a:lnTo>
                  <a:lnTo>
                    <a:pt x="94" y="295"/>
                  </a:lnTo>
                  <a:lnTo>
                    <a:pt x="107" y="293"/>
                  </a:lnTo>
                  <a:lnTo>
                    <a:pt x="121" y="312"/>
                  </a:lnTo>
                  <a:lnTo>
                    <a:pt x="136" y="312"/>
                  </a:lnTo>
                  <a:lnTo>
                    <a:pt x="144" y="295"/>
                  </a:lnTo>
                  <a:lnTo>
                    <a:pt x="164" y="295"/>
                  </a:lnTo>
                  <a:lnTo>
                    <a:pt x="197" y="261"/>
                  </a:lnTo>
                  <a:lnTo>
                    <a:pt x="244" y="249"/>
                  </a:lnTo>
                  <a:lnTo>
                    <a:pt x="255" y="227"/>
                  </a:lnTo>
                  <a:lnTo>
                    <a:pt x="247" y="218"/>
                  </a:lnTo>
                  <a:lnTo>
                    <a:pt x="262" y="199"/>
                  </a:lnTo>
                  <a:lnTo>
                    <a:pt x="218" y="176"/>
                  </a:lnTo>
                  <a:lnTo>
                    <a:pt x="208" y="186"/>
                  </a:lnTo>
                  <a:lnTo>
                    <a:pt x="197" y="133"/>
                  </a:lnTo>
                  <a:lnTo>
                    <a:pt x="178" y="65"/>
                  </a:lnTo>
                  <a:lnTo>
                    <a:pt x="178" y="42"/>
                  </a:lnTo>
                  <a:lnTo>
                    <a:pt x="146" y="42"/>
                  </a:lnTo>
                  <a:lnTo>
                    <a:pt x="112" y="14"/>
                  </a:lnTo>
                  <a:lnTo>
                    <a:pt x="94" y="15"/>
                  </a:lnTo>
                  <a:lnTo>
                    <a:pt x="101" y="0"/>
                  </a:lnTo>
                  <a:lnTo>
                    <a:pt x="70"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8" name="Freeform 8"/>
            <p:cNvSpPr>
              <a:spLocks noChangeAspect="1"/>
            </p:cNvSpPr>
            <p:nvPr/>
          </p:nvSpPr>
          <p:spPr bwMode="gray">
            <a:xfrm>
              <a:off x="3436445" y="3896822"/>
              <a:ext cx="362254" cy="332087"/>
            </a:xfrm>
            <a:custGeom>
              <a:avLst/>
              <a:gdLst>
                <a:gd name="T0" fmla="*/ 167 w 231"/>
                <a:gd name="T1" fmla="*/ 0 h 201"/>
                <a:gd name="T2" fmla="*/ 110 w 231"/>
                <a:gd name="T3" fmla="*/ 84 h 201"/>
                <a:gd name="T4" fmla="*/ 98 w 231"/>
                <a:gd name="T5" fmla="*/ 93 h 201"/>
                <a:gd name="T6" fmla="*/ 87 w 231"/>
                <a:gd name="T7" fmla="*/ 66 h 201"/>
                <a:gd name="T8" fmla="*/ 60 w 231"/>
                <a:gd name="T9" fmla="*/ 66 h 201"/>
                <a:gd name="T10" fmla="*/ 37 w 231"/>
                <a:gd name="T11" fmla="*/ 88 h 201"/>
                <a:gd name="T12" fmla="*/ 42 w 231"/>
                <a:gd name="T13" fmla="*/ 94 h 201"/>
                <a:gd name="T14" fmla="*/ 13 w 231"/>
                <a:gd name="T15" fmla="*/ 117 h 201"/>
                <a:gd name="T16" fmla="*/ 0 w 231"/>
                <a:gd name="T17" fmla="*/ 117 h 201"/>
                <a:gd name="T18" fmla="*/ 12 w 231"/>
                <a:gd name="T19" fmla="*/ 149 h 201"/>
                <a:gd name="T20" fmla="*/ 6 w 231"/>
                <a:gd name="T21" fmla="*/ 176 h 201"/>
                <a:gd name="T22" fmla="*/ 19 w 231"/>
                <a:gd name="T23" fmla="*/ 192 h 201"/>
                <a:gd name="T24" fmla="*/ 27 w 231"/>
                <a:gd name="T25" fmla="*/ 192 h 201"/>
                <a:gd name="T26" fmla="*/ 27 w 231"/>
                <a:gd name="T27" fmla="*/ 176 h 201"/>
                <a:gd name="T28" fmla="*/ 34 w 231"/>
                <a:gd name="T29" fmla="*/ 169 h 201"/>
                <a:gd name="T30" fmla="*/ 129 w 231"/>
                <a:gd name="T31" fmla="*/ 201 h 201"/>
                <a:gd name="T32" fmla="*/ 163 w 231"/>
                <a:gd name="T33" fmla="*/ 180 h 201"/>
                <a:gd name="T34" fmla="*/ 171 w 231"/>
                <a:gd name="T35" fmla="*/ 182 h 201"/>
                <a:gd name="T36" fmla="*/ 201 w 231"/>
                <a:gd name="T37" fmla="*/ 169 h 201"/>
                <a:gd name="T38" fmla="*/ 183 w 231"/>
                <a:gd name="T39" fmla="*/ 130 h 201"/>
                <a:gd name="T40" fmla="*/ 202 w 231"/>
                <a:gd name="T41" fmla="*/ 130 h 201"/>
                <a:gd name="T42" fmla="*/ 225 w 231"/>
                <a:gd name="T43" fmla="*/ 115 h 201"/>
                <a:gd name="T44" fmla="*/ 227 w 231"/>
                <a:gd name="T45" fmla="*/ 106 h 201"/>
                <a:gd name="T46" fmla="*/ 216 w 231"/>
                <a:gd name="T47" fmla="*/ 92 h 201"/>
                <a:gd name="T48" fmla="*/ 231 w 231"/>
                <a:gd name="T49" fmla="*/ 49 h 201"/>
                <a:gd name="T50" fmla="*/ 167 w 231"/>
                <a:gd name="T51" fmla="*/ 0 h 201"/>
                <a:gd name="T52" fmla="*/ 167 w 231"/>
                <a:gd name="T53" fmla="*/ 0 h 201"/>
                <a:gd name="T54" fmla="*/ 167 w 231"/>
                <a:gd name="T55" fmla="*/ 0 h 20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31"/>
                <a:gd name="T85" fmla="*/ 0 h 201"/>
                <a:gd name="T86" fmla="*/ 231 w 231"/>
                <a:gd name="T87" fmla="*/ 201 h 20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31" h="201">
                  <a:moveTo>
                    <a:pt x="167" y="0"/>
                  </a:moveTo>
                  <a:lnTo>
                    <a:pt x="110" y="84"/>
                  </a:lnTo>
                  <a:lnTo>
                    <a:pt x="98" y="93"/>
                  </a:lnTo>
                  <a:lnTo>
                    <a:pt x="87" y="66"/>
                  </a:lnTo>
                  <a:lnTo>
                    <a:pt x="60" y="66"/>
                  </a:lnTo>
                  <a:lnTo>
                    <a:pt x="37" y="88"/>
                  </a:lnTo>
                  <a:lnTo>
                    <a:pt x="42" y="94"/>
                  </a:lnTo>
                  <a:lnTo>
                    <a:pt x="13" y="117"/>
                  </a:lnTo>
                  <a:lnTo>
                    <a:pt x="0" y="117"/>
                  </a:lnTo>
                  <a:lnTo>
                    <a:pt x="12" y="149"/>
                  </a:lnTo>
                  <a:lnTo>
                    <a:pt x="6" y="176"/>
                  </a:lnTo>
                  <a:lnTo>
                    <a:pt x="19" y="192"/>
                  </a:lnTo>
                  <a:lnTo>
                    <a:pt x="27" y="192"/>
                  </a:lnTo>
                  <a:lnTo>
                    <a:pt x="27" y="176"/>
                  </a:lnTo>
                  <a:lnTo>
                    <a:pt x="34" y="169"/>
                  </a:lnTo>
                  <a:lnTo>
                    <a:pt x="129" y="201"/>
                  </a:lnTo>
                  <a:lnTo>
                    <a:pt x="163" y="180"/>
                  </a:lnTo>
                  <a:lnTo>
                    <a:pt x="171" y="182"/>
                  </a:lnTo>
                  <a:lnTo>
                    <a:pt x="201" y="169"/>
                  </a:lnTo>
                  <a:lnTo>
                    <a:pt x="183" y="130"/>
                  </a:lnTo>
                  <a:lnTo>
                    <a:pt x="202" y="130"/>
                  </a:lnTo>
                  <a:lnTo>
                    <a:pt x="225" y="115"/>
                  </a:lnTo>
                  <a:lnTo>
                    <a:pt x="227" y="106"/>
                  </a:lnTo>
                  <a:lnTo>
                    <a:pt x="216" y="92"/>
                  </a:lnTo>
                  <a:lnTo>
                    <a:pt x="231" y="49"/>
                  </a:lnTo>
                  <a:lnTo>
                    <a:pt x="167"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9" name="Freeform 9"/>
            <p:cNvSpPr>
              <a:spLocks noChangeAspect="1"/>
            </p:cNvSpPr>
            <p:nvPr/>
          </p:nvSpPr>
          <p:spPr bwMode="gray">
            <a:xfrm>
              <a:off x="2862753" y="5471506"/>
              <a:ext cx="1051275" cy="698474"/>
            </a:xfrm>
            <a:custGeom>
              <a:avLst/>
              <a:gdLst>
                <a:gd name="T0" fmla="*/ 671 w 671"/>
                <a:gd name="T1" fmla="*/ 0 h 423"/>
                <a:gd name="T2" fmla="*/ 570 w 671"/>
                <a:gd name="T3" fmla="*/ 222 h 423"/>
                <a:gd name="T4" fmla="*/ 624 w 671"/>
                <a:gd name="T5" fmla="*/ 322 h 423"/>
                <a:gd name="T6" fmla="*/ 576 w 671"/>
                <a:gd name="T7" fmla="*/ 423 h 423"/>
                <a:gd name="T8" fmla="*/ 453 w 671"/>
                <a:gd name="T9" fmla="*/ 383 h 423"/>
                <a:gd name="T10" fmla="*/ 383 w 671"/>
                <a:gd name="T11" fmla="*/ 303 h 423"/>
                <a:gd name="T12" fmla="*/ 313 w 671"/>
                <a:gd name="T13" fmla="*/ 303 h 423"/>
                <a:gd name="T14" fmla="*/ 126 w 671"/>
                <a:gd name="T15" fmla="*/ 182 h 423"/>
                <a:gd name="T16" fmla="*/ 55 w 671"/>
                <a:gd name="T17" fmla="*/ 182 h 423"/>
                <a:gd name="T18" fmla="*/ 0 w 671"/>
                <a:gd name="T19" fmla="*/ 131 h 423"/>
                <a:gd name="T20" fmla="*/ 71 w 671"/>
                <a:gd name="T21" fmla="*/ 9 h 423"/>
                <a:gd name="T22" fmla="*/ 109 w 671"/>
                <a:gd name="T23" fmla="*/ 70 h 423"/>
                <a:gd name="T24" fmla="*/ 204 w 671"/>
                <a:gd name="T25" fmla="*/ 20 h 423"/>
                <a:gd name="T26" fmla="*/ 290 w 671"/>
                <a:gd name="T27" fmla="*/ 80 h 423"/>
                <a:gd name="T28" fmla="*/ 468 w 671"/>
                <a:gd name="T29" fmla="*/ 50 h 423"/>
                <a:gd name="T30" fmla="*/ 624 w 671"/>
                <a:gd name="T31" fmla="*/ 0 h 423"/>
                <a:gd name="T32" fmla="*/ 671 w 671"/>
                <a:gd name="T33" fmla="*/ 0 h 423"/>
                <a:gd name="T34" fmla="*/ 671 w 671"/>
                <a:gd name="T35" fmla="*/ 0 h 423"/>
                <a:gd name="T36" fmla="*/ 671 w 671"/>
                <a:gd name="T37" fmla="*/ 0 h 4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1"/>
                <a:gd name="T58" fmla="*/ 0 h 423"/>
                <a:gd name="T59" fmla="*/ 671 w 671"/>
                <a:gd name="T60" fmla="*/ 423 h 42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1" h="423">
                  <a:moveTo>
                    <a:pt x="671" y="0"/>
                  </a:moveTo>
                  <a:lnTo>
                    <a:pt x="570" y="222"/>
                  </a:lnTo>
                  <a:lnTo>
                    <a:pt x="624" y="322"/>
                  </a:lnTo>
                  <a:lnTo>
                    <a:pt x="576" y="423"/>
                  </a:lnTo>
                  <a:lnTo>
                    <a:pt x="453" y="383"/>
                  </a:lnTo>
                  <a:lnTo>
                    <a:pt x="383" y="303"/>
                  </a:lnTo>
                  <a:lnTo>
                    <a:pt x="313" y="303"/>
                  </a:lnTo>
                  <a:lnTo>
                    <a:pt x="126" y="182"/>
                  </a:lnTo>
                  <a:lnTo>
                    <a:pt x="55" y="182"/>
                  </a:lnTo>
                  <a:lnTo>
                    <a:pt x="0" y="131"/>
                  </a:lnTo>
                  <a:lnTo>
                    <a:pt x="71" y="9"/>
                  </a:lnTo>
                  <a:lnTo>
                    <a:pt x="109" y="70"/>
                  </a:lnTo>
                  <a:lnTo>
                    <a:pt x="204" y="20"/>
                  </a:lnTo>
                  <a:lnTo>
                    <a:pt x="290" y="80"/>
                  </a:lnTo>
                  <a:lnTo>
                    <a:pt x="468" y="50"/>
                  </a:lnTo>
                  <a:lnTo>
                    <a:pt x="624" y="0"/>
                  </a:lnTo>
                  <a:lnTo>
                    <a:pt x="671"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1" name="Freeform 10"/>
            <p:cNvSpPr>
              <a:spLocks noChangeAspect="1"/>
            </p:cNvSpPr>
            <p:nvPr/>
          </p:nvSpPr>
          <p:spPr bwMode="gray">
            <a:xfrm>
              <a:off x="1570469" y="4188372"/>
              <a:ext cx="524898" cy="983788"/>
            </a:xfrm>
            <a:custGeom>
              <a:avLst/>
              <a:gdLst>
                <a:gd name="T0" fmla="*/ 218 w 335"/>
                <a:gd name="T1" fmla="*/ 0 h 596"/>
                <a:gd name="T2" fmla="*/ 304 w 335"/>
                <a:gd name="T3" fmla="*/ 62 h 596"/>
                <a:gd name="T4" fmla="*/ 335 w 335"/>
                <a:gd name="T5" fmla="*/ 213 h 596"/>
                <a:gd name="T6" fmla="*/ 288 w 335"/>
                <a:gd name="T7" fmla="*/ 284 h 596"/>
                <a:gd name="T8" fmla="*/ 265 w 335"/>
                <a:gd name="T9" fmla="*/ 555 h 596"/>
                <a:gd name="T10" fmla="*/ 188 w 335"/>
                <a:gd name="T11" fmla="*/ 515 h 596"/>
                <a:gd name="T12" fmla="*/ 101 w 335"/>
                <a:gd name="T13" fmla="*/ 596 h 596"/>
                <a:gd name="T14" fmla="*/ 15 w 335"/>
                <a:gd name="T15" fmla="*/ 535 h 596"/>
                <a:gd name="T16" fmla="*/ 55 w 335"/>
                <a:gd name="T17" fmla="*/ 233 h 596"/>
                <a:gd name="T18" fmla="*/ 0 w 335"/>
                <a:gd name="T19" fmla="*/ 142 h 596"/>
                <a:gd name="T20" fmla="*/ 7 w 335"/>
                <a:gd name="T21" fmla="*/ 42 h 596"/>
                <a:gd name="T22" fmla="*/ 125 w 335"/>
                <a:gd name="T23" fmla="*/ 72 h 596"/>
                <a:gd name="T24" fmla="*/ 218 w 335"/>
                <a:gd name="T25" fmla="*/ 0 h 596"/>
                <a:gd name="T26" fmla="*/ 218 w 335"/>
                <a:gd name="T27" fmla="*/ 0 h 596"/>
                <a:gd name="T28" fmla="*/ 218 w 335"/>
                <a:gd name="T29" fmla="*/ 0 h 59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5"/>
                <a:gd name="T46" fmla="*/ 0 h 596"/>
                <a:gd name="T47" fmla="*/ 335 w 335"/>
                <a:gd name="T48" fmla="*/ 596 h 59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5" h="596">
                  <a:moveTo>
                    <a:pt x="218" y="0"/>
                  </a:moveTo>
                  <a:lnTo>
                    <a:pt x="304" y="62"/>
                  </a:lnTo>
                  <a:lnTo>
                    <a:pt x="335" y="213"/>
                  </a:lnTo>
                  <a:lnTo>
                    <a:pt x="288" y="284"/>
                  </a:lnTo>
                  <a:lnTo>
                    <a:pt x="265" y="555"/>
                  </a:lnTo>
                  <a:lnTo>
                    <a:pt x="188" y="515"/>
                  </a:lnTo>
                  <a:lnTo>
                    <a:pt x="101" y="596"/>
                  </a:lnTo>
                  <a:lnTo>
                    <a:pt x="15" y="535"/>
                  </a:lnTo>
                  <a:lnTo>
                    <a:pt x="55" y="233"/>
                  </a:lnTo>
                  <a:lnTo>
                    <a:pt x="0" y="142"/>
                  </a:lnTo>
                  <a:lnTo>
                    <a:pt x="7" y="42"/>
                  </a:lnTo>
                  <a:lnTo>
                    <a:pt x="125" y="72"/>
                  </a:lnTo>
                  <a:lnTo>
                    <a:pt x="218"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2" name="Freeform 11"/>
            <p:cNvSpPr>
              <a:spLocks noChangeAspect="1"/>
            </p:cNvSpPr>
            <p:nvPr/>
          </p:nvSpPr>
          <p:spPr bwMode="gray">
            <a:xfrm>
              <a:off x="1350160" y="2111660"/>
              <a:ext cx="294239" cy="208919"/>
            </a:xfrm>
            <a:custGeom>
              <a:avLst/>
              <a:gdLst>
                <a:gd name="T0" fmla="*/ 179 w 188"/>
                <a:gd name="T1" fmla="*/ 21 h 126"/>
                <a:gd name="T2" fmla="*/ 94 w 188"/>
                <a:gd name="T3" fmla="*/ 0 h 126"/>
                <a:gd name="T4" fmla="*/ 0 w 188"/>
                <a:gd name="T5" fmla="*/ 21 h 126"/>
                <a:gd name="T6" fmla="*/ 32 w 188"/>
                <a:gd name="T7" fmla="*/ 124 h 126"/>
                <a:gd name="T8" fmla="*/ 61 w 188"/>
                <a:gd name="T9" fmla="*/ 126 h 126"/>
                <a:gd name="T10" fmla="*/ 76 w 188"/>
                <a:gd name="T11" fmla="*/ 109 h 126"/>
                <a:gd name="T12" fmla="*/ 158 w 188"/>
                <a:gd name="T13" fmla="*/ 109 h 126"/>
                <a:gd name="T14" fmla="*/ 188 w 188"/>
                <a:gd name="T15" fmla="*/ 85 h 126"/>
                <a:gd name="T16" fmla="*/ 179 w 188"/>
                <a:gd name="T17" fmla="*/ 21 h 126"/>
                <a:gd name="T18" fmla="*/ 179 w 188"/>
                <a:gd name="T19" fmla="*/ 21 h 126"/>
                <a:gd name="T20" fmla="*/ 179 w 188"/>
                <a:gd name="T21" fmla="*/ 21 h 126"/>
                <a:gd name="T22" fmla="*/ 179 w 188"/>
                <a:gd name="T23" fmla="*/ 21 h 1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8"/>
                <a:gd name="T37" fmla="*/ 0 h 126"/>
                <a:gd name="T38" fmla="*/ 188 w 188"/>
                <a:gd name="T39" fmla="*/ 126 h 12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8" h="126">
                  <a:moveTo>
                    <a:pt x="179" y="21"/>
                  </a:moveTo>
                  <a:lnTo>
                    <a:pt x="94" y="0"/>
                  </a:lnTo>
                  <a:lnTo>
                    <a:pt x="0" y="21"/>
                  </a:lnTo>
                  <a:lnTo>
                    <a:pt x="32" y="124"/>
                  </a:lnTo>
                  <a:lnTo>
                    <a:pt x="61" y="126"/>
                  </a:lnTo>
                  <a:lnTo>
                    <a:pt x="76" y="109"/>
                  </a:lnTo>
                  <a:lnTo>
                    <a:pt x="158" y="109"/>
                  </a:lnTo>
                  <a:lnTo>
                    <a:pt x="188" y="85"/>
                  </a:lnTo>
                  <a:lnTo>
                    <a:pt x="179" y="21"/>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3" name="Freeform 12"/>
            <p:cNvSpPr>
              <a:spLocks noChangeAspect="1"/>
            </p:cNvSpPr>
            <p:nvPr/>
          </p:nvSpPr>
          <p:spPr bwMode="gray">
            <a:xfrm>
              <a:off x="1271795" y="1943278"/>
              <a:ext cx="720071" cy="975992"/>
            </a:xfrm>
            <a:custGeom>
              <a:avLst/>
              <a:gdLst>
                <a:gd name="T0" fmla="*/ 341 w 460"/>
                <a:gd name="T1" fmla="*/ 0 h 591"/>
                <a:gd name="T2" fmla="*/ 282 w 460"/>
                <a:gd name="T3" fmla="*/ 31 h 591"/>
                <a:gd name="T4" fmla="*/ 229 w 460"/>
                <a:gd name="T5" fmla="*/ 123 h 591"/>
                <a:gd name="T6" fmla="*/ 238 w 460"/>
                <a:gd name="T7" fmla="*/ 187 h 591"/>
                <a:gd name="T8" fmla="*/ 208 w 460"/>
                <a:gd name="T9" fmla="*/ 211 h 591"/>
                <a:gd name="T10" fmla="*/ 126 w 460"/>
                <a:gd name="T11" fmla="*/ 211 h 591"/>
                <a:gd name="T12" fmla="*/ 111 w 460"/>
                <a:gd name="T13" fmla="*/ 228 h 591"/>
                <a:gd name="T14" fmla="*/ 83 w 460"/>
                <a:gd name="T15" fmla="*/ 226 h 591"/>
                <a:gd name="T16" fmla="*/ 94 w 460"/>
                <a:gd name="T17" fmla="*/ 251 h 591"/>
                <a:gd name="T18" fmla="*/ 0 w 460"/>
                <a:gd name="T19" fmla="*/ 324 h 591"/>
                <a:gd name="T20" fmla="*/ 19 w 460"/>
                <a:gd name="T21" fmla="*/ 385 h 591"/>
                <a:gd name="T22" fmla="*/ 57 w 460"/>
                <a:gd name="T23" fmla="*/ 411 h 591"/>
                <a:gd name="T24" fmla="*/ 57 w 460"/>
                <a:gd name="T25" fmla="*/ 420 h 591"/>
                <a:gd name="T26" fmla="*/ 21 w 460"/>
                <a:gd name="T27" fmla="*/ 482 h 591"/>
                <a:gd name="T28" fmla="*/ 73 w 460"/>
                <a:gd name="T29" fmla="*/ 585 h 591"/>
                <a:gd name="T30" fmla="*/ 175 w 460"/>
                <a:gd name="T31" fmla="*/ 585 h 591"/>
                <a:gd name="T32" fmla="*/ 219 w 460"/>
                <a:gd name="T33" fmla="*/ 591 h 591"/>
                <a:gd name="T34" fmla="*/ 253 w 460"/>
                <a:gd name="T35" fmla="*/ 530 h 591"/>
                <a:gd name="T36" fmla="*/ 272 w 460"/>
                <a:gd name="T37" fmla="*/ 491 h 591"/>
                <a:gd name="T38" fmla="*/ 281 w 460"/>
                <a:gd name="T39" fmla="*/ 491 h 591"/>
                <a:gd name="T40" fmla="*/ 303 w 460"/>
                <a:gd name="T41" fmla="*/ 505 h 591"/>
                <a:gd name="T42" fmla="*/ 348 w 460"/>
                <a:gd name="T43" fmla="*/ 485 h 591"/>
                <a:gd name="T44" fmla="*/ 362 w 460"/>
                <a:gd name="T45" fmla="*/ 485 h 591"/>
                <a:gd name="T46" fmla="*/ 374 w 460"/>
                <a:gd name="T47" fmla="*/ 503 h 591"/>
                <a:gd name="T48" fmla="*/ 399 w 460"/>
                <a:gd name="T49" fmla="*/ 480 h 591"/>
                <a:gd name="T50" fmla="*/ 399 w 460"/>
                <a:gd name="T51" fmla="*/ 460 h 591"/>
                <a:gd name="T52" fmla="*/ 417 w 460"/>
                <a:gd name="T53" fmla="*/ 459 h 591"/>
                <a:gd name="T54" fmla="*/ 440 w 460"/>
                <a:gd name="T55" fmla="*/ 487 h 591"/>
                <a:gd name="T56" fmla="*/ 460 w 460"/>
                <a:gd name="T57" fmla="*/ 481 h 591"/>
                <a:gd name="T58" fmla="*/ 460 w 460"/>
                <a:gd name="T59" fmla="*/ 447 h 591"/>
                <a:gd name="T60" fmla="*/ 433 w 460"/>
                <a:gd name="T61" fmla="*/ 420 h 591"/>
                <a:gd name="T62" fmla="*/ 404 w 460"/>
                <a:gd name="T63" fmla="*/ 363 h 591"/>
                <a:gd name="T64" fmla="*/ 382 w 460"/>
                <a:gd name="T65" fmla="*/ 363 h 591"/>
                <a:gd name="T66" fmla="*/ 376 w 460"/>
                <a:gd name="T67" fmla="*/ 372 h 591"/>
                <a:gd name="T68" fmla="*/ 342 w 460"/>
                <a:gd name="T69" fmla="*/ 324 h 591"/>
                <a:gd name="T70" fmla="*/ 342 w 460"/>
                <a:gd name="T71" fmla="*/ 284 h 591"/>
                <a:gd name="T72" fmla="*/ 376 w 460"/>
                <a:gd name="T73" fmla="*/ 286 h 591"/>
                <a:gd name="T74" fmla="*/ 396 w 460"/>
                <a:gd name="T75" fmla="*/ 272 h 591"/>
                <a:gd name="T76" fmla="*/ 365 w 460"/>
                <a:gd name="T77" fmla="*/ 182 h 591"/>
                <a:gd name="T78" fmla="*/ 350 w 460"/>
                <a:gd name="T79" fmla="*/ 167 h 591"/>
                <a:gd name="T80" fmla="*/ 350 w 460"/>
                <a:gd name="T81" fmla="*/ 149 h 591"/>
                <a:gd name="T82" fmla="*/ 396 w 460"/>
                <a:gd name="T83" fmla="*/ 78 h 591"/>
                <a:gd name="T84" fmla="*/ 341 w 460"/>
                <a:gd name="T85" fmla="*/ 0 h 591"/>
                <a:gd name="T86" fmla="*/ 341 w 460"/>
                <a:gd name="T87" fmla="*/ 0 h 591"/>
                <a:gd name="T88" fmla="*/ 341 w 460"/>
                <a:gd name="T89" fmla="*/ 0 h 59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60"/>
                <a:gd name="T136" fmla="*/ 0 h 591"/>
                <a:gd name="T137" fmla="*/ 460 w 460"/>
                <a:gd name="T138" fmla="*/ 591 h 59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60" h="591">
                  <a:moveTo>
                    <a:pt x="341" y="0"/>
                  </a:moveTo>
                  <a:lnTo>
                    <a:pt x="282" y="31"/>
                  </a:lnTo>
                  <a:lnTo>
                    <a:pt x="229" y="123"/>
                  </a:lnTo>
                  <a:lnTo>
                    <a:pt x="238" y="187"/>
                  </a:lnTo>
                  <a:lnTo>
                    <a:pt x="208" y="211"/>
                  </a:lnTo>
                  <a:lnTo>
                    <a:pt x="126" y="211"/>
                  </a:lnTo>
                  <a:lnTo>
                    <a:pt x="111" y="228"/>
                  </a:lnTo>
                  <a:lnTo>
                    <a:pt x="83" y="226"/>
                  </a:lnTo>
                  <a:lnTo>
                    <a:pt x="94" y="251"/>
                  </a:lnTo>
                  <a:lnTo>
                    <a:pt x="0" y="324"/>
                  </a:lnTo>
                  <a:lnTo>
                    <a:pt x="19" y="385"/>
                  </a:lnTo>
                  <a:lnTo>
                    <a:pt x="57" y="411"/>
                  </a:lnTo>
                  <a:lnTo>
                    <a:pt x="57" y="420"/>
                  </a:lnTo>
                  <a:lnTo>
                    <a:pt x="21" y="482"/>
                  </a:lnTo>
                  <a:lnTo>
                    <a:pt x="73" y="585"/>
                  </a:lnTo>
                  <a:lnTo>
                    <a:pt x="175" y="585"/>
                  </a:lnTo>
                  <a:lnTo>
                    <a:pt x="219" y="591"/>
                  </a:lnTo>
                  <a:lnTo>
                    <a:pt x="253" y="530"/>
                  </a:lnTo>
                  <a:lnTo>
                    <a:pt x="272" y="491"/>
                  </a:lnTo>
                  <a:lnTo>
                    <a:pt x="281" y="491"/>
                  </a:lnTo>
                  <a:lnTo>
                    <a:pt x="303" y="505"/>
                  </a:lnTo>
                  <a:lnTo>
                    <a:pt x="348" y="485"/>
                  </a:lnTo>
                  <a:lnTo>
                    <a:pt x="362" y="485"/>
                  </a:lnTo>
                  <a:lnTo>
                    <a:pt x="374" y="503"/>
                  </a:lnTo>
                  <a:lnTo>
                    <a:pt x="399" y="480"/>
                  </a:lnTo>
                  <a:lnTo>
                    <a:pt x="399" y="460"/>
                  </a:lnTo>
                  <a:lnTo>
                    <a:pt x="417" y="459"/>
                  </a:lnTo>
                  <a:lnTo>
                    <a:pt x="440" y="487"/>
                  </a:lnTo>
                  <a:lnTo>
                    <a:pt x="460" y="481"/>
                  </a:lnTo>
                  <a:lnTo>
                    <a:pt x="460" y="447"/>
                  </a:lnTo>
                  <a:lnTo>
                    <a:pt x="433" y="420"/>
                  </a:lnTo>
                  <a:lnTo>
                    <a:pt x="404" y="363"/>
                  </a:lnTo>
                  <a:lnTo>
                    <a:pt x="382" y="363"/>
                  </a:lnTo>
                  <a:lnTo>
                    <a:pt x="376" y="372"/>
                  </a:lnTo>
                  <a:lnTo>
                    <a:pt x="342" y="324"/>
                  </a:lnTo>
                  <a:lnTo>
                    <a:pt x="342" y="284"/>
                  </a:lnTo>
                  <a:lnTo>
                    <a:pt x="376" y="286"/>
                  </a:lnTo>
                  <a:lnTo>
                    <a:pt x="396" y="272"/>
                  </a:lnTo>
                  <a:lnTo>
                    <a:pt x="365" y="182"/>
                  </a:lnTo>
                  <a:lnTo>
                    <a:pt x="350" y="167"/>
                  </a:lnTo>
                  <a:lnTo>
                    <a:pt x="350" y="149"/>
                  </a:lnTo>
                  <a:lnTo>
                    <a:pt x="396" y="78"/>
                  </a:lnTo>
                  <a:lnTo>
                    <a:pt x="341"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4" name="Freeform 13"/>
            <p:cNvSpPr>
              <a:spLocks noChangeAspect="1"/>
            </p:cNvSpPr>
            <p:nvPr/>
          </p:nvSpPr>
          <p:spPr bwMode="gray">
            <a:xfrm>
              <a:off x="1807043" y="1879355"/>
              <a:ext cx="819137" cy="813847"/>
            </a:xfrm>
            <a:custGeom>
              <a:avLst/>
              <a:gdLst>
                <a:gd name="T0" fmla="*/ 153 w 523"/>
                <a:gd name="T1" fmla="*/ 29 h 493"/>
                <a:gd name="T2" fmla="*/ 98 w 523"/>
                <a:gd name="T3" fmla="*/ 181 h 493"/>
                <a:gd name="T4" fmla="*/ 52 w 523"/>
                <a:gd name="T5" fmla="*/ 114 h 493"/>
                <a:gd name="T6" fmla="*/ 8 w 523"/>
                <a:gd name="T7" fmla="*/ 190 h 493"/>
                <a:gd name="T8" fmla="*/ 8 w 523"/>
                <a:gd name="T9" fmla="*/ 209 h 493"/>
                <a:gd name="T10" fmla="*/ 23 w 523"/>
                <a:gd name="T11" fmla="*/ 221 h 493"/>
                <a:gd name="T12" fmla="*/ 54 w 523"/>
                <a:gd name="T13" fmla="*/ 311 h 493"/>
                <a:gd name="T14" fmla="*/ 34 w 523"/>
                <a:gd name="T15" fmla="*/ 325 h 493"/>
                <a:gd name="T16" fmla="*/ 0 w 523"/>
                <a:gd name="T17" fmla="*/ 324 h 493"/>
                <a:gd name="T18" fmla="*/ 0 w 523"/>
                <a:gd name="T19" fmla="*/ 363 h 493"/>
                <a:gd name="T20" fmla="*/ 34 w 523"/>
                <a:gd name="T21" fmla="*/ 411 h 493"/>
                <a:gd name="T22" fmla="*/ 40 w 523"/>
                <a:gd name="T23" fmla="*/ 402 h 493"/>
                <a:gd name="T24" fmla="*/ 62 w 523"/>
                <a:gd name="T25" fmla="*/ 402 h 493"/>
                <a:gd name="T26" fmla="*/ 92 w 523"/>
                <a:gd name="T27" fmla="*/ 461 h 493"/>
                <a:gd name="T28" fmla="*/ 118 w 523"/>
                <a:gd name="T29" fmla="*/ 486 h 493"/>
                <a:gd name="T30" fmla="*/ 118 w 523"/>
                <a:gd name="T31" fmla="*/ 493 h 493"/>
                <a:gd name="T32" fmla="*/ 134 w 523"/>
                <a:gd name="T33" fmla="*/ 487 h 493"/>
                <a:gd name="T34" fmla="*/ 143 w 523"/>
                <a:gd name="T35" fmla="*/ 442 h 493"/>
                <a:gd name="T36" fmla="*/ 135 w 523"/>
                <a:gd name="T37" fmla="*/ 438 h 493"/>
                <a:gd name="T38" fmla="*/ 153 w 523"/>
                <a:gd name="T39" fmla="*/ 402 h 493"/>
                <a:gd name="T40" fmla="*/ 190 w 523"/>
                <a:gd name="T41" fmla="*/ 392 h 493"/>
                <a:gd name="T42" fmla="*/ 242 w 523"/>
                <a:gd name="T43" fmla="*/ 402 h 493"/>
                <a:gd name="T44" fmla="*/ 265 w 523"/>
                <a:gd name="T45" fmla="*/ 387 h 493"/>
                <a:gd name="T46" fmla="*/ 284 w 523"/>
                <a:gd name="T47" fmla="*/ 417 h 493"/>
                <a:gd name="T48" fmla="*/ 344 w 523"/>
                <a:gd name="T49" fmla="*/ 430 h 493"/>
                <a:gd name="T50" fmla="*/ 371 w 523"/>
                <a:gd name="T51" fmla="*/ 447 h 493"/>
                <a:gd name="T52" fmla="*/ 385 w 523"/>
                <a:gd name="T53" fmla="*/ 434 h 493"/>
                <a:gd name="T54" fmla="*/ 405 w 523"/>
                <a:gd name="T55" fmla="*/ 434 h 493"/>
                <a:gd name="T56" fmla="*/ 430 w 523"/>
                <a:gd name="T57" fmla="*/ 447 h 493"/>
                <a:gd name="T58" fmla="*/ 451 w 523"/>
                <a:gd name="T59" fmla="*/ 440 h 493"/>
                <a:gd name="T60" fmla="*/ 523 w 523"/>
                <a:gd name="T61" fmla="*/ 442 h 493"/>
                <a:gd name="T62" fmla="*/ 403 w 523"/>
                <a:gd name="T63" fmla="*/ 338 h 493"/>
                <a:gd name="T64" fmla="*/ 386 w 523"/>
                <a:gd name="T65" fmla="*/ 307 h 493"/>
                <a:gd name="T66" fmla="*/ 386 w 523"/>
                <a:gd name="T67" fmla="*/ 272 h 493"/>
                <a:gd name="T68" fmla="*/ 419 w 523"/>
                <a:gd name="T69" fmla="*/ 206 h 493"/>
                <a:gd name="T70" fmla="*/ 390 w 523"/>
                <a:gd name="T71" fmla="*/ 206 h 493"/>
                <a:gd name="T72" fmla="*/ 385 w 523"/>
                <a:gd name="T73" fmla="*/ 220 h 493"/>
                <a:gd name="T74" fmla="*/ 372 w 523"/>
                <a:gd name="T75" fmla="*/ 220 h 493"/>
                <a:gd name="T76" fmla="*/ 372 w 523"/>
                <a:gd name="T77" fmla="*/ 202 h 493"/>
                <a:gd name="T78" fmla="*/ 361 w 523"/>
                <a:gd name="T79" fmla="*/ 159 h 493"/>
                <a:gd name="T80" fmla="*/ 378 w 523"/>
                <a:gd name="T81" fmla="*/ 102 h 493"/>
                <a:gd name="T82" fmla="*/ 378 w 523"/>
                <a:gd name="T83" fmla="*/ 65 h 493"/>
                <a:gd name="T84" fmla="*/ 390 w 523"/>
                <a:gd name="T85" fmla="*/ 53 h 493"/>
                <a:gd name="T86" fmla="*/ 361 w 523"/>
                <a:gd name="T87" fmla="*/ 19 h 493"/>
                <a:gd name="T88" fmla="*/ 339 w 523"/>
                <a:gd name="T89" fmla="*/ 19 h 493"/>
                <a:gd name="T90" fmla="*/ 286 w 523"/>
                <a:gd name="T91" fmla="*/ 0 h 493"/>
                <a:gd name="T92" fmla="*/ 291 w 523"/>
                <a:gd name="T93" fmla="*/ 88 h 493"/>
                <a:gd name="T94" fmla="*/ 166 w 523"/>
                <a:gd name="T95" fmla="*/ 32 h 493"/>
                <a:gd name="T96" fmla="*/ 153 w 523"/>
                <a:gd name="T97" fmla="*/ 29 h 493"/>
                <a:gd name="T98" fmla="*/ 153 w 523"/>
                <a:gd name="T99" fmla="*/ 29 h 493"/>
                <a:gd name="T100" fmla="*/ 153 w 523"/>
                <a:gd name="T101" fmla="*/ 29 h 49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23"/>
                <a:gd name="T154" fmla="*/ 0 h 493"/>
                <a:gd name="T155" fmla="*/ 523 w 523"/>
                <a:gd name="T156" fmla="*/ 493 h 49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23" h="493">
                  <a:moveTo>
                    <a:pt x="153" y="29"/>
                  </a:moveTo>
                  <a:lnTo>
                    <a:pt x="98" y="181"/>
                  </a:lnTo>
                  <a:lnTo>
                    <a:pt x="52" y="114"/>
                  </a:lnTo>
                  <a:lnTo>
                    <a:pt x="8" y="190"/>
                  </a:lnTo>
                  <a:lnTo>
                    <a:pt x="8" y="209"/>
                  </a:lnTo>
                  <a:lnTo>
                    <a:pt x="23" y="221"/>
                  </a:lnTo>
                  <a:lnTo>
                    <a:pt x="54" y="311"/>
                  </a:lnTo>
                  <a:lnTo>
                    <a:pt x="34" y="325"/>
                  </a:lnTo>
                  <a:lnTo>
                    <a:pt x="0" y="324"/>
                  </a:lnTo>
                  <a:lnTo>
                    <a:pt x="0" y="363"/>
                  </a:lnTo>
                  <a:lnTo>
                    <a:pt x="34" y="411"/>
                  </a:lnTo>
                  <a:lnTo>
                    <a:pt x="40" y="402"/>
                  </a:lnTo>
                  <a:lnTo>
                    <a:pt x="62" y="402"/>
                  </a:lnTo>
                  <a:lnTo>
                    <a:pt x="92" y="461"/>
                  </a:lnTo>
                  <a:lnTo>
                    <a:pt x="118" y="486"/>
                  </a:lnTo>
                  <a:lnTo>
                    <a:pt x="118" y="493"/>
                  </a:lnTo>
                  <a:lnTo>
                    <a:pt x="134" y="487"/>
                  </a:lnTo>
                  <a:lnTo>
                    <a:pt x="143" y="442"/>
                  </a:lnTo>
                  <a:lnTo>
                    <a:pt x="135" y="438"/>
                  </a:lnTo>
                  <a:lnTo>
                    <a:pt x="153" y="402"/>
                  </a:lnTo>
                  <a:lnTo>
                    <a:pt x="190" y="392"/>
                  </a:lnTo>
                  <a:lnTo>
                    <a:pt x="242" y="402"/>
                  </a:lnTo>
                  <a:lnTo>
                    <a:pt x="265" y="387"/>
                  </a:lnTo>
                  <a:lnTo>
                    <a:pt x="284" y="417"/>
                  </a:lnTo>
                  <a:lnTo>
                    <a:pt x="344" y="430"/>
                  </a:lnTo>
                  <a:lnTo>
                    <a:pt x="371" y="447"/>
                  </a:lnTo>
                  <a:lnTo>
                    <a:pt x="385" y="434"/>
                  </a:lnTo>
                  <a:lnTo>
                    <a:pt x="405" y="434"/>
                  </a:lnTo>
                  <a:lnTo>
                    <a:pt x="430" y="447"/>
                  </a:lnTo>
                  <a:lnTo>
                    <a:pt x="451" y="440"/>
                  </a:lnTo>
                  <a:lnTo>
                    <a:pt x="523" y="442"/>
                  </a:lnTo>
                  <a:lnTo>
                    <a:pt x="403" y="338"/>
                  </a:lnTo>
                  <a:lnTo>
                    <a:pt x="386" y="307"/>
                  </a:lnTo>
                  <a:lnTo>
                    <a:pt x="386" y="272"/>
                  </a:lnTo>
                  <a:lnTo>
                    <a:pt x="419" y="206"/>
                  </a:lnTo>
                  <a:lnTo>
                    <a:pt x="390" y="206"/>
                  </a:lnTo>
                  <a:lnTo>
                    <a:pt x="385" y="220"/>
                  </a:lnTo>
                  <a:lnTo>
                    <a:pt x="372" y="220"/>
                  </a:lnTo>
                  <a:lnTo>
                    <a:pt x="372" y="202"/>
                  </a:lnTo>
                  <a:lnTo>
                    <a:pt x="361" y="159"/>
                  </a:lnTo>
                  <a:lnTo>
                    <a:pt x="378" y="102"/>
                  </a:lnTo>
                  <a:lnTo>
                    <a:pt x="378" y="65"/>
                  </a:lnTo>
                  <a:lnTo>
                    <a:pt x="390" y="53"/>
                  </a:lnTo>
                  <a:lnTo>
                    <a:pt x="361" y="19"/>
                  </a:lnTo>
                  <a:lnTo>
                    <a:pt x="339" y="19"/>
                  </a:lnTo>
                  <a:lnTo>
                    <a:pt x="286" y="0"/>
                  </a:lnTo>
                  <a:lnTo>
                    <a:pt x="291" y="88"/>
                  </a:lnTo>
                  <a:lnTo>
                    <a:pt x="166" y="32"/>
                  </a:lnTo>
                  <a:lnTo>
                    <a:pt x="153" y="29"/>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5" name="Freeform 14"/>
            <p:cNvSpPr>
              <a:spLocks noChangeAspect="1"/>
            </p:cNvSpPr>
            <p:nvPr/>
          </p:nvSpPr>
          <p:spPr bwMode="gray">
            <a:xfrm>
              <a:off x="2337855" y="1726564"/>
              <a:ext cx="600306" cy="551919"/>
            </a:xfrm>
            <a:custGeom>
              <a:avLst/>
              <a:gdLst>
                <a:gd name="T0" fmla="*/ 335 w 383"/>
                <a:gd name="T1" fmla="*/ 0 h 334"/>
                <a:gd name="T2" fmla="*/ 171 w 383"/>
                <a:gd name="T3" fmla="*/ 0 h 334"/>
                <a:gd name="T4" fmla="*/ 126 w 383"/>
                <a:gd name="T5" fmla="*/ 48 h 334"/>
                <a:gd name="T6" fmla="*/ 33 w 383"/>
                <a:gd name="T7" fmla="*/ 29 h 334"/>
                <a:gd name="T8" fmla="*/ 0 w 383"/>
                <a:gd name="T9" fmla="*/ 108 h 334"/>
                <a:gd name="T10" fmla="*/ 22 w 383"/>
                <a:gd name="T11" fmla="*/ 110 h 334"/>
                <a:gd name="T12" fmla="*/ 51 w 383"/>
                <a:gd name="T13" fmla="*/ 145 h 334"/>
                <a:gd name="T14" fmla="*/ 40 w 383"/>
                <a:gd name="T15" fmla="*/ 157 h 334"/>
                <a:gd name="T16" fmla="*/ 40 w 383"/>
                <a:gd name="T17" fmla="*/ 197 h 334"/>
                <a:gd name="T18" fmla="*/ 22 w 383"/>
                <a:gd name="T19" fmla="*/ 254 h 334"/>
                <a:gd name="T20" fmla="*/ 33 w 383"/>
                <a:gd name="T21" fmla="*/ 292 h 334"/>
                <a:gd name="T22" fmla="*/ 33 w 383"/>
                <a:gd name="T23" fmla="*/ 312 h 334"/>
                <a:gd name="T24" fmla="*/ 46 w 383"/>
                <a:gd name="T25" fmla="*/ 312 h 334"/>
                <a:gd name="T26" fmla="*/ 54 w 383"/>
                <a:gd name="T27" fmla="*/ 298 h 334"/>
                <a:gd name="T28" fmla="*/ 79 w 383"/>
                <a:gd name="T29" fmla="*/ 298 h 334"/>
                <a:gd name="T30" fmla="*/ 93 w 383"/>
                <a:gd name="T31" fmla="*/ 312 h 334"/>
                <a:gd name="T32" fmla="*/ 93 w 383"/>
                <a:gd name="T33" fmla="*/ 334 h 334"/>
                <a:gd name="T34" fmla="*/ 130 w 383"/>
                <a:gd name="T35" fmla="*/ 334 h 334"/>
                <a:gd name="T36" fmla="*/ 158 w 383"/>
                <a:gd name="T37" fmla="*/ 277 h 334"/>
                <a:gd name="T38" fmla="*/ 177 w 383"/>
                <a:gd name="T39" fmla="*/ 277 h 334"/>
                <a:gd name="T40" fmla="*/ 200 w 383"/>
                <a:gd name="T41" fmla="*/ 251 h 334"/>
                <a:gd name="T42" fmla="*/ 213 w 383"/>
                <a:gd name="T43" fmla="*/ 251 h 334"/>
                <a:gd name="T44" fmla="*/ 227 w 383"/>
                <a:gd name="T45" fmla="*/ 259 h 334"/>
                <a:gd name="T46" fmla="*/ 277 w 383"/>
                <a:gd name="T47" fmla="*/ 223 h 334"/>
                <a:gd name="T48" fmla="*/ 285 w 383"/>
                <a:gd name="T49" fmla="*/ 200 h 334"/>
                <a:gd name="T50" fmla="*/ 260 w 383"/>
                <a:gd name="T51" fmla="*/ 180 h 334"/>
                <a:gd name="T52" fmla="*/ 254 w 383"/>
                <a:gd name="T53" fmla="*/ 150 h 334"/>
                <a:gd name="T54" fmla="*/ 273 w 383"/>
                <a:gd name="T55" fmla="*/ 139 h 334"/>
                <a:gd name="T56" fmla="*/ 273 w 383"/>
                <a:gd name="T57" fmla="*/ 121 h 334"/>
                <a:gd name="T58" fmla="*/ 299 w 383"/>
                <a:gd name="T59" fmla="*/ 115 h 334"/>
                <a:gd name="T60" fmla="*/ 312 w 383"/>
                <a:gd name="T61" fmla="*/ 90 h 334"/>
                <a:gd name="T62" fmla="*/ 334 w 383"/>
                <a:gd name="T63" fmla="*/ 106 h 334"/>
                <a:gd name="T64" fmla="*/ 383 w 383"/>
                <a:gd name="T65" fmla="*/ 78 h 334"/>
                <a:gd name="T66" fmla="*/ 361 w 383"/>
                <a:gd name="T67" fmla="*/ 71 h 334"/>
                <a:gd name="T68" fmla="*/ 343 w 383"/>
                <a:gd name="T69" fmla="*/ 19 h 334"/>
                <a:gd name="T70" fmla="*/ 335 w 383"/>
                <a:gd name="T71" fmla="*/ 0 h 334"/>
                <a:gd name="T72" fmla="*/ 335 w 383"/>
                <a:gd name="T73" fmla="*/ 0 h 334"/>
                <a:gd name="T74" fmla="*/ 335 w 383"/>
                <a:gd name="T75" fmla="*/ 0 h 3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83"/>
                <a:gd name="T115" fmla="*/ 0 h 334"/>
                <a:gd name="T116" fmla="*/ 383 w 383"/>
                <a:gd name="T117" fmla="*/ 334 h 3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83" h="334">
                  <a:moveTo>
                    <a:pt x="335" y="0"/>
                  </a:moveTo>
                  <a:lnTo>
                    <a:pt x="171" y="0"/>
                  </a:lnTo>
                  <a:lnTo>
                    <a:pt x="126" y="48"/>
                  </a:lnTo>
                  <a:lnTo>
                    <a:pt x="33" y="29"/>
                  </a:lnTo>
                  <a:lnTo>
                    <a:pt x="0" y="108"/>
                  </a:lnTo>
                  <a:lnTo>
                    <a:pt x="22" y="110"/>
                  </a:lnTo>
                  <a:lnTo>
                    <a:pt x="51" y="145"/>
                  </a:lnTo>
                  <a:lnTo>
                    <a:pt x="40" y="157"/>
                  </a:lnTo>
                  <a:lnTo>
                    <a:pt x="40" y="197"/>
                  </a:lnTo>
                  <a:lnTo>
                    <a:pt x="22" y="254"/>
                  </a:lnTo>
                  <a:lnTo>
                    <a:pt x="33" y="292"/>
                  </a:lnTo>
                  <a:lnTo>
                    <a:pt x="33" y="312"/>
                  </a:lnTo>
                  <a:lnTo>
                    <a:pt x="46" y="312"/>
                  </a:lnTo>
                  <a:lnTo>
                    <a:pt x="54" y="298"/>
                  </a:lnTo>
                  <a:lnTo>
                    <a:pt x="79" y="298"/>
                  </a:lnTo>
                  <a:lnTo>
                    <a:pt x="93" y="312"/>
                  </a:lnTo>
                  <a:lnTo>
                    <a:pt x="93" y="334"/>
                  </a:lnTo>
                  <a:lnTo>
                    <a:pt x="130" y="334"/>
                  </a:lnTo>
                  <a:lnTo>
                    <a:pt x="158" y="277"/>
                  </a:lnTo>
                  <a:lnTo>
                    <a:pt x="177" y="277"/>
                  </a:lnTo>
                  <a:lnTo>
                    <a:pt x="200" y="251"/>
                  </a:lnTo>
                  <a:lnTo>
                    <a:pt x="213" y="251"/>
                  </a:lnTo>
                  <a:lnTo>
                    <a:pt x="227" y="259"/>
                  </a:lnTo>
                  <a:lnTo>
                    <a:pt x="277" y="223"/>
                  </a:lnTo>
                  <a:lnTo>
                    <a:pt x="285" y="200"/>
                  </a:lnTo>
                  <a:lnTo>
                    <a:pt x="260" y="180"/>
                  </a:lnTo>
                  <a:lnTo>
                    <a:pt x="254" y="150"/>
                  </a:lnTo>
                  <a:lnTo>
                    <a:pt x="273" y="139"/>
                  </a:lnTo>
                  <a:lnTo>
                    <a:pt x="273" y="121"/>
                  </a:lnTo>
                  <a:lnTo>
                    <a:pt x="299" y="115"/>
                  </a:lnTo>
                  <a:lnTo>
                    <a:pt x="312" y="90"/>
                  </a:lnTo>
                  <a:lnTo>
                    <a:pt x="334" y="106"/>
                  </a:lnTo>
                  <a:lnTo>
                    <a:pt x="383" y="78"/>
                  </a:lnTo>
                  <a:lnTo>
                    <a:pt x="361" y="71"/>
                  </a:lnTo>
                  <a:lnTo>
                    <a:pt x="343" y="19"/>
                  </a:lnTo>
                  <a:lnTo>
                    <a:pt x="335"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6" name="Freeform 15"/>
            <p:cNvSpPr>
              <a:spLocks noChangeAspect="1"/>
            </p:cNvSpPr>
            <p:nvPr/>
          </p:nvSpPr>
          <p:spPr bwMode="gray">
            <a:xfrm>
              <a:off x="2411785" y="1852851"/>
              <a:ext cx="934466" cy="777988"/>
            </a:xfrm>
            <a:custGeom>
              <a:avLst/>
              <a:gdLst>
                <a:gd name="T0" fmla="*/ 339 w 596"/>
                <a:gd name="T1" fmla="*/ 0 h 471"/>
                <a:gd name="T2" fmla="*/ 287 w 596"/>
                <a:gd name="T3" fmla="*/ 30 h 471"/>
                <a:gd name="T4" fmla="*/ 265 w 596"/>
                <a:gd name="T5" fmla="*/ 14 h 471"/>
                <a:gd name="T6" fmla="*/ 251 w 596"/>
                <a:gd name="T7" fmla="*/ 40 h 471"/>
                <a:gd name="T8" fmla="*/ 226 w 596"/>
                <a:gd name="T9" fmla="*/ 45 h 471"/>
                <a:gd name="T10" fmla="*/ 226 w 596"/>
                <a:gd name="T11" fmla="*/ 63 h 471"/>
                <a:gd name="T12" fmla="*/ 207 w 596"/>
                <a:gd name="T13" fmla="*/ 74 h 471"/>
                <a:gd name="T14" fmla="*/ 213 w 596"/>
                <a:gd name="T15" fmla="*/ 106 h 471"/>
                <a:gd name="T16" fmla="*/ 238 w 596"/>
                <a:gd name="T17" fmla="*/ 124 h 471"/>
                <a:gd name="T18" fmla="*/ 230 w 596"/>
                <a:gd name="T19" fmla="*/ 147 h 471"/>
                <a:gd name="T20" fmla="*/ 180 w 596"/>
                <a:gd name="T21" fmla="*/ 183 h 471"/>
                <a:gd name="T22" fmla="*/ 166 w 596"/>
                <a:gd name="T23" fmla="*/ 175 h 471"/>
                <a:gd name="T24" fmla="*/ 153 w 596"/>
                <a:gd name="T25" fmla="*/ 175 h 471"/>
                <a:gd name="T26" fmla="*/ 130 w 596"/>
                <a:gd name="T27" fmla="*/ 201 h 471"/>
                <a:gd name="T28" fmla="*/ 111 w 596"/>
                <a:gd name="T29" fmla="*/ 201 h 471"/>
                <a:gd name="T30" fmla="*/ 83 w 596"/>
                <a:gd name="T31" fmla="*/ 258 h 471"/>
                <a:gd name="T32" fmla="*/ 46 w 596"/>
                <a:gd name="T33" fmla="*/ 258 h 471"/>
                <a:gd name="T34" fmla="*/ 46 w 596"/>
                <a:gd name="T35" fmla="*/ 236 h 471"/>
                <a:gd name="T36" fmla="*/ 33 w 596"/>
                <a:gd name="T37" fmla="*/ 225 h 471"/>
                <a:gd name="T38" fmla="*/ 0 w 596"/>
                <a:gd name="T39" fmla="*/ 288 h 471"/>
                <a:gd name="T40" fmla="*/ 0 w 596"/>
                <a:gd name="T41" fmla="*/ 323 h 471"/>
                <a:gd name="T42" fmla="*/ 17 w 596"/>
                <a:gd name="T43" fmla="*/ 353 h 471"/>
                <a:gd name="T44" fmla="*/ 137 w 596"/>
                <a:gd name="T45" fmla="*/ 458 h 471"/>
                <a:gd name="T46" fmla="*/ 152 w 596"/>
                <a:gd name="T47" fmla="*/ 458 h 471"/>
                <a:gd name="T48" fmla="*/ 177 w 596"/>
                <a:gd name="T49" fmla="*/ 471 h 471"/>
                <a:gd name="T50" fmla="*/ 207 w 596"/>
                <a:gd name="T51" fmla="*/ 448 h 471"/>
                <a:gd name="T52" fmla="*/ 258 w 596"/>
                <a:gd name="T53" fmla="*/ 454 h 471"/>
                <a:gd name="T54" fmla="*/ 278 w 596"/>
                <a:gd name="T55" fmla="*/ 462 h 471"/>
                <a:gd name="T56" fmla="*/ 343 w 596"/>
                <a:gd name="T57" fmla="*/ 458 h 471"/>
                <a:gd name="T58" fmla="*/ 274 w 596"/>
                <a:gd name="T59" fmla="*/ 368 h 471"/>
                <a:gd name="T60" fmla="*/ 320 w 596"/>
                <a:gd name="T61" fmla="*/ 317 h 471"/>
                <a:gd name="T62" fmla="*/ 483 w 596"/>
                <a:gd name="T63" fmla="*/ 267 h 471"/>
                <a:gd name="T64" fmla="*/ 596 w 596"/>
                <a:gd name="T65" fmla="*/ 297 h 471"/>
                <a:gd name="T66" fmla="*/ 528 w 596"/>
                <a:gd name="T67" fmla="*/ 215 h 471"/>
                <a:gd name="T68" fmla="*/ 507 w 596"/>
                <a:gd name="T69" fmla="*/ 104 h 471"/>
                <a:gd name="T70" fmla="*/ 561 w 596"/>
                <a:gd name="T71" fmla="*/ 54 h 471"/>
                <a:gd name="T72" fmla="*/ 339 w 596"/>
                <a:gd name="T73" fmla="*/ 0 h 471"/>
                <a:gd name="T74" fmla="*/ 339 w 596"/>
                <a:gd name="T75" fmla="*/ 0 h 471"/>
                <a:gd name="T76" fmla="*/ 339 w 596"/>
                <a:gd name="T77" fmla="*/ 0 h 47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96"/>
                <a:gd name="T118" fmla="*/ 0 h 471"/>
                <a:gd name="T119" fmla="*/ 596 w 596"/>
                <a:gd name="T120" fmla="*/ 471 h 47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96" h="471">
                  <a:moveTo>
                    <a:pt x="339" y="0"/>
                  </a:moveTo>
                  <a:lnTo>
                    <a:pt x="287" y="30"/>
                  </a:lnTo>
                  <a:lnTo>
                    <a:pt x="265" y="14"/>
                  </a:lnTo>
                  <a:lnTo>
                    <a:pt x="251" y="40"/>
                  </a:lnTo>
                  <a:lnTo>
                    <a:pt x="226" y="45"/>
                  </a:lnTo>
                  <a:lnTo>
                    <a:pt x="226" y="63"/>
                  </a:lnTo>
                  <a:lnTo>
                    <a:pt x="207" y="74"/>
                  </a:lnTo>
                  <a:lnTo>
                    <a:pt x="213" y="106"/>
                  </a:lnTo>
                  <a:lnTo>
                    <a:pt x="238" y="124"/>
                  </a:lnTo>
                  <a:lnTo>
                    <a:pt x="230" y="147"/>
                  </a:lnTo>
                  <a:lnTo>
                    <a:pt x="180" y="183"/>
                  </a:lnTo>
                  <a:lnTo>
                    <a:pt x="166" y="175"/>
                  </a:lnTo>
                  <a:lnTo>
                    <a:pt x="153" y="175"/>
                  </a:lnTo>
                  <a:lnTo>
                    <a:pt x="130" y="201"/>
                  </a:lnTo>
                  <a:lnTo>
                    <a:pt x="111" y="201"/>
                  </a:lnTo>
                  <a:lnTo>
                    <a:pt x="83" y="258"/>
                  </a:lnTo>
                  <a:lnTo>
                    <a:pt x="46" y="258"/>
                  </a:lnTo>
                  <a:lnTo>
                    <a:pt x="46" y="236"/>
                  </a:lnTo>
                  <a:lnTo>
                    <a:pt x="33" y="225"/>
                  </a:lnTo>
                  <a:lnTo>
                    <a:pt x="0" y="288"/>
                  </a:lnTo>
                  <a:lnTo>
                    <a:pt x="0" y="323"/>
                  </a:lnTo>
                  <a:lnTo>
                    <a:pt x="17" y="353"/>
                  </a:lnTo>
                  <a:lnTo>
                    <a:pt x="137" y="458"/>
                  </a:lnTo>
                  <a:lnTo>
                    <a:pt x="152" y="458"/>
                  </a:lnTo>
                  <a:lnTo>
                    <a:pt x="177" y="471"/>
                  </a:lnTo>
                  <a:lnTo>
                    <a:pt x="207" y="448"/>
                  </a:lnTo>
                  <a:lnTo>
                    <a:pt x="258" y="454"/>
                  </a:lnTo>
                  <a:lnTo>
                    <a:pt x="278" y="462"/>
                  </a:lnTo>
                  <a:lnTo>
                    <a:pt x="343" y="458"/>
                  </a:lnTo>
                  <a:lnTo>
                    <a:pt x="274" y="368"/>
                  </a:lnTo>
                  <a:lnTo>
                    <a:pt x="320" y="317"/>
                  </a:lnTo>
                  <a:lnTo>
                    <a:pt x="483" y="267"/>
                  </a:lnTo>
                  <a:lnTo>
                    <a:pt x="596" y="297"/>
                  </a:lnTo>
                  <a:lnTo>
                    <a:pt x="528" y="215"/>
                  </a:lnTo>
                  <a:lnTo>
                    <a:pt x="507" y="104"/>
                  </a:lnTo>
                  <a:lnTo>
                    <a:pt x="561" y="54"/>
                  </a:lnTo>
                  <a:lnTo>
                    <a:pt x="339"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7" name="Freeform 16"/>
            <p:cNvSpPr>
              <a:spLocks noChangeAspect="1"/>
            </p:cNvSpPr>
            <p:nvPr/>
          </p:nvSpPr>
          <p:spPr bwMode="gray">
            <a:xfrm>
              <a:off x="1471404" y="2700997"/>
              <a:ext cx="751122" cy="355473"/>
            </a:xfrm>
            <a:custGeom>
              <a:avLst/>
              <a:gdLst>
                <a:gd name="T0" fmla="*/ 315 w 480"/>
                <a:gd name="T1" fmla="*/ 28 h 215"/>
                <a:gd name="T2" fmla="*/ 292 w 480"/>
                <a:gd name="T3" fmla="*/ 0 h 215"/>
                <a:gd name="T4" fmla="*/ 272 w 480"/>
                <a:gd name="T5" fmla="*/ 3 h 215"/>
                <a:gd name="T6" fmla="*/ 272 w 480"/>
                <a:gd name="T7" fmla="*/ 22 h 215"/>
                <a:gd name="T8" fmla="*/ 247 w 480"/>
                <a:gd name="T9" fmla="*/ 44 h 215"/>
                <a:gd name="T10" fmla="*/ 236 w 480"/>
                <a:gd name="T11" fmla="*/ 26 h 215"/>
                <a:gd name="T12" fmla="*/ 221 w 480"/>
                <a:gd name="T13" fmla="*/ 26 h 215"/>
                <a:gd name="T14" fmla="*/ 176 w 480"/>
                <a:gd name="T15" fmla="*/ 44 h 215"/>
                <a:gd name="T16" fmla="*/ 156 w 480"/>
                <a:gd name="T17" fmla="*/ 32 h 215"/>
                <a:gd name="T18" fmla="*/ 145 w 480"/>
                <a:gd name="T19" fmla="*/ 32 h 215"/>
                <a:gd name="T20" fmla="*/ 93 w 480"/>
                <a:gd name="T21" fmla="*/ 131 h 215"/>
                <a:gd name="T22" fmla="*/ 47 w 480"/>
                <a:gd name="T23" fmla="*/ 126 h 215"/>
                <a:gd name="T24" fmla="*/ 0 w 480"/>
                <a:gd name="T25" fmla="*/ 178 h 215"/>
                <a:gd name="T26" fmla="*/ 0 w 480"/>
                <a:gd name="T27" fmla="*/ 215 h 215"/>
                <a:gd name="T28" fmla="*/ 104 w 480"/>
                <a:gd name="T29" fmla="*/ 206 h 215"/>
                <a:gd name="T30" fmla="*/ 220 w 480"/>
                <a:gd name="T31" fmla="*/ 64 h 215"/>
                <a:gd name="T32" fmla="*/ 476 w 480"/>
                <a:gd name="T33" fmla="*/ 171 h 215"/>
                <a:gd name="T34" fmla="*/ 480 w 480"/>
                <a:gd name="T35" fmla="*/ 153 h 215"/>
                <a:gd name="T36" fmla="*/ 468 w 480"/>
                <a:gd name="T37" fmla="*/ 148 h 215"/>
                <a:gd name="T38" fmla="*/ 465 w 480"/>
                <a:gd name="T39" fmla="*/ 138 h 215"/>
                <a:gd name="T40" fmla="*/ 443 w 480"/>
                <a:gd name="T41" fmla="*/ 128 h 215"/>
                <a:gd name="T42" fmla="*/ 444 w 480"/>
                <a:gd name="T43" fmla="*/ 114 h 215"/>
                <a:gd name="T44" fmla="*/ 415 w 480"/>
                <a:gd name="T45" fmla="*/ 91 h 215"/>
                <a:gd name="T46" fmla="*/ 415 w 480"/>
                <a:gd name="T47" fmla="*/ 82 h 215"/>
                <a:gd name="T48" fmla="*/ 395 w 480"/>
                <a:gd name="T49" fmla="*/ 74 h 215"/>
                <a:gd name="T50" fmla="*/ 373 w 480"/>
                <a:gd name="T51" fmla="*/ 74 h 215"/>
                <a:gd name="T52" fmla="*/ 373 w 480"/>
                <a:gd name="T53" fmla="*/ 63 h 215"/>
                <a:gd name="T54" fmla="*/ 379 w 480"/>
                <a:gd name="T55" fmla="*/ 46 h 215"/>
                <a:gd name="T56" fmla="*/ 379 w 480"/>
                <a:gd name="T57" fmla="*/ 34 h 215"/>
                <a:gd name="T58" fmla="*/ 368 w 480"/>
                <a:gd name="T59" fmla="*/ 26 h 215"/>
                <a:gd name="T60" fmla="*/ 333 w 480"/>
                <a:gd name="T61" fmla="*/ 22 h 215"/>
                <a:gd name="T62" fmla="*/ 315 w 480"/>
                <a:gd name="T63" fmla="*/ 28 h 215"/>
                <a:gd name="T64" fmla="*/ 315 w 480"/>
                <a:gd name="T65" fmla="*/ 28 h 215"/>
                <a:gd name="T66" fmla="*/ 315 w 480"/>
                <a:gd name="T67" fmla="*/ 28 h 21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80"/>
                <a:gd name="T103" fmla="*/ 0 h 215"/>
                <a:gd name="T104" fmla="*/ 480 w 480"/>
                <a:gd name="T105" fmla="*/ 215 h 21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80" h="215">
                  <a:moveTo>
                    <a:pt x="315" y="28"/>
                  </a:moveTo>
                  <a:lnTo>
                    <a:pt x="292" y="0"/>
                  </a:lnTo>
                  <a:lnTo>
                    <a:pt x="272" y="3"/>
                  </a:lnTo>
                  <a:lnTo>
                    <a:pt x="272" y="22"/>
                  </a:lnTo>
                  <a:lnTo>
                    <a:pt x="247" y="44"/>
                  </a:lnTo>
                  <a:lnTo>
                    <a:pt x="236" y="26"/>
                  </a:lnTo>
                  <a:lnTo>
                    <a:pt x="221" y="26"/>
                  </a:lnTo>
                  <a:lnTo>
                    <a:pt x="176" y="44"/>
                  </a:lnTo>
                  <a:lnTo>
                    <a:pt x="156" y="32"/>
                  </a:lnTo>
                  <a:lnTo>
                    <a:pt x="145" y="32"/>
                  </a:lnTo>
                  <a:lnTo>
                    <a:pt x="93" y="131"/>
                  </a:lnTo>
                  <a:lnTo>
                    <a:pt x="47" y="126"/>
                  </a:lnTo>
                  <a:lnTo>
                    <a:pt x="0" y="178"/>
                  </a:lnTo>
                  <a:lnTo>
                    <a:pt x="0" y="215"/>
                  </a:lnTo>
                  <a:lnTo>
                    <a:pt x="104" y="206"/>
                  </a:lnTo>
                  <a:lnTo>
                    <a:pt x="220" y="64"/>
                  </a:lnTo>
                  <a:lnTo>
                    <a:pt x="476" y="171"/>
                  </a:lnTo>
                  <a:lnTo>
                    <a:pt x="480" y="153"/>
                  </a:lnTo>
                  <a:lnTo>
                    <a:pt x="468" y="148"/>
                  </a:lnTo>
                  <a:lnTo>
                    <a:pt x="465" y="138"/>
                  </a:lnTo>
                  <a:lnTo>
                    <a:pt x="443" y="128"/>
                  </a:lnTo>
                  <a:lnTo>
                    <a:pt x="444" y="114"/>
                  </a:lnTo>
                  <a:lnTo>
                    <a:pt x="415" y="91"/>
                  </a:lnTo>
                  <a:lnTo>
                    <a:pt x="415" y="82"/>
                  </a:lnTo>
                  <a:lnTo>
                    <a:pt x="395" y="74"/>
                  </a:lnTo>
                  <a:lnTo>
                    <a:pt x="373" y="74"/>
                  </a:lnTo>
                  <a:lnTo>
                    <a:pt x="373" y="63"/>
                  </a:lnTo>
                  <a:lnTo>
                    <a:pt x="379" y="46"/>
                  </a:lnTo>
                  <a:lnTo>
                    <a:pt x="379" y="34"/>
                  </a:lnTo>
                  <a:lnTo>
                    <a:pt x="368" y="26"/>
                  </a:lnTo>
                  <a:lnTo>
                    <a:pt x="333" y="22"/>
                  </a:lnTo>
                  <a:lnTo>
                    <a:pt x="315" y="28"/>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8" name="Freeform 17"/>
            <p:cNvSpPr>
              <a:spLocks noChangeAspect="1"/>
            </p:cNvSpPr>
            <p:nvPr/>
          </p:nvSpPr>
          <p:spPr bwMode="gray">
            <a:xfrm>
              <a:off x="1991866" y="2518583"/>
              <a:ext cx="1005438" cy="603369"/>
            </a:xfrm>
            <a:custGeom>
              <a:avLst/>
              <a:gdLst>
                <a:gd name="T0" fmla="*/ 613 w 642"/>
                <a:gd name="T1" fmla="*/ 54 h 366"/>
                <a:gd name="T2" fmla="*/ 544 w 642"/>
                <a:gd name="T3" fmla="*/ 60 h 366"/>
                <a:gd name="T4" fmla="*/ 525 w 642"/>
                <a:gd name="T5" fmla="*/ 51 h 366"/>
                <a:gd name="T6" fmla="*/ 478 w 642"/>
                <a:gd name="T7" fmla="*/ 45 h 366"/>
                <a:gd name="T8" fmla="*/ 445 w 642"/>
                <a:gd name="T9" fmla="*/ 68 h 366"/>
                <a:gd name="T10" fmla="*/ 421 w 642"/>
                <a:gd name="T11" fmla="*/ 54 h 366"/>
                <a:gd name="T12" fmla="*/ 389 w 642"/>
                <a:gd name="T13" fmla="*/ 55 h 366"/>
                <a:gd name="T14" fmla="*/ 334 w 642"/>
                <a:gd name="T15" fmla="*/ 52 h 366"/>
                <a:gd name="T16" fmla="*/ 310 w 642"/>
                <a:gd name="T17" fmla="*/ 60 h 366"/>
                <a:gd name="T18" fmla="*/ 288 w 642"/>
                <a:gd name="T19" fmla="*/ 47 h 366"/>
                <a:gd name="T20" fmla="*/ 267 w 642"/>
                <a:gd name="T21" fmla="*/ 47 h 366"/>
                <a:gd name="T22" fmla="*/ 253 w 642"/>
                <a:gd name="T23" fmla="*/ 60 h 366"/>
                <a:gd name="T24" fmla="*/ 227 w 642"/>
                <a:gd name="T25" fmla="*/ 45 h 366"/>
                <a:gd name="T26" fmla="*/ 166 w 642"/>
                <a:gd name="T27" fmla="*/ 30 h 366"/>
                <a:gd name="T28" fmla="*/ 146 w 642"/>
                <a:gd name="T29" fmla="*/ 0 h 366"/>
                <a:gd name="T30" fmla="*/ 123 w 642"/>
                <a:gd name="T31" fmla="*/ 15 h 366"/>
                <a:gd name="T32" fmla="*/ 100 w 642"/>
                <a:gd name="T33" fmla="*/ 9 h 366"/>
                <a:gd name="T34" fmla="*/ 72 w 642"/>
                <a:gd name="T35" fmla="*/ 5 h 366"/>
                <a:gd name="T36" fmla="*/ 35 w 642"/>
                <a:gd name="T37" fmla="*/ 14 h 366"/>
                <a:gd name="T38" fmla="*/ 17 w 642"/>
                <a:gd name="T39" fmla="*/ 51 h 366"/>
                <a:gd name="T40" fmla="*/ 25 w 642"/>
                <a:gd name="T41" fmla="*/ 55 h 366"/>
                <a:gd name="T42" fmla="*/ 16 w 642"/>
                <a:gd name="T43" fmla="*/ 100 h 366"/>
                <a:gd name="T44" fmla="*/ 0 w 642"/>
                <a:gd name="T45" fmla="*/ 106 h 366"/>
                <a:gd name="T46" fmla="*/ 0 w 642"/>
                <a:gd name="T47" fmla="*/ 133 h 366"/>
                <a:gd name="T48" fmla="*/ 35 w 642"/>
                <a:gd name="T49" fmla="*/ 137 h 366"/>
                <a:gd name="T50" fmla="*/ 46 w 642"/>
                <a:gd name="T51" fmla="*/ 145 h 366"/>
                <a:gd name="T52" fmla="*/ 46 w 642"/>
                <a:gd name="T53" fmla="*/ 157 h 366"/>
                <a:gd name="T54" fmla="*/ 40 w 642"/>
                <a:gd name="T55" fmla="*/ 174 h 366"/>
                <a:gd name="T56" fmla="*/ 40 w 642"/>
                <a:gd name="T57" fmla="*/ 184 h 366"/>
                <a:gd name="T58" fmla="*/ 62 w 642"/>
                <a:gd name="T59" fmla="*/ 184 h 366"/>
                <a:gd name="T60" fmla="*/ 82 w 642"/>
                <a:gd name="T61" fmla="*/ 196 h 366"/>
                <a:gd name="T62" fmla="*/ 114 w 642"/>
                <a:gd name="T63" fmla="*/ 166 h 366"/>
                <a:gd name="T64" fmla="*/ 126 w 642"/>
                <a:gd name="T65" fmla="*/ 166 h 366"/>
                <a:gd name="T66" fmla="*/ 150 w 642"/>
                <a:gd name="T67" fmla="*/ 203 h 366"/>
                <a:gd name="T68" fmla="*/ 219 w 642"/>
                <a:gd name="T69" fmla="*/ 235 h 366"/>
                <a:gd name="T70" fmla="*/ 249 w 642"/>
                <a:gd name="T71" fmla="*/ 264 h 366"/>
                <a:gd name="T72" fmla="*/ 268 w 642"/>
                <a:gd name="T73" fmla="*/ 259 h 366"/>
                <a:gd name="T74" fmla="*/ 366 w 642"/>
                <a:gd name="T75" fmla="*/ 273 h 366"/>
                <a:gd name="T76" fmla="*/ 365 w 642"/>
                <a:gd name="T77" fmla="*/ 264 h 366"/>
                <a:gd name="T78" fmla="*/ 403 w 642"/>
                <a:gd name="T79" fmla="*/ 241 h 366"/>
                <a:gd name="T80" fmla="*/ 449 w 642"/>
                <a:gd name="T81" fmla="*/ 278 h 366"/>
                <a:gd name="T82" fmla="*/ 437 w 642"/>
                <a:gd name="T83" fmla="*/ 307 h 366"/>
                <a:gd name="T84" fmla="*/ 508 w 642"/>
                <a:gd name="T85" fmla="*/ 366 h 366"/>
                <a:gd name="T86" fmla="*/ 521 w 642"/>
                <a:gd name="T87" fmla="*/ 360 h 366"/>
                <a:gd name="T88" fmla="*/ 533 w 642"/>
                <a:gd name="T89" fmla="*/ 322 h 366"/>
                <a:gd name="T90" fmla="*/ 555 w 642"/>
                <a:gd name="T91" fmla="*/ 317 h 366"/>
                <a:gd name="T92" fmla="*/ 582 w 642"/>
                <a:gd name="T93" fmla="*/ 316 h 366"/>
                <a:gd name="T94" fmla="*/ 625 w 642"/>
                <a:gd name="T95" fmla="*/ 349 h 366"/>
                <a:gd name="T96" fmla="*/ 642 w 642"/>
                <a:gd name="T97" fmla="*/ 333 h 366"/>
                <a:gd name="T98" fmla="*/ 642 w 642"/>
                <a:gd name="T99" fmla="*/ 313 h 366"/>
                <a:gd name="T100" fmla="*/ 572 w 642"/>
                <a:gd name="T101" fmla="*/ 256 h 366"/>
                <a:gd name="T102" fmla="*/ 541 w 642"/>
                <a:gd name="T103" fmla="*/ 94 h 366"/>
                <a:gd name="T104" fmla="*/ 613 w 642"/>
                <a:gd name="T105" fmla="*/ 54 h 366"/>
                <a:gd name="T106" fmla="*/ 613 w 642"/>
                <a:gd name="T107" fmla="*/ 54 h 366"/>
                <a:gd name="T108" fmla="*/ 613 w 642"/>
                <a:gd name="T109" fmla="*/ 54 h 36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42"/>
                <a:gd name="T166" fmla="*/ 0 h 366"/>
                <a:gd name="T167" fmla="*/ 642 w 642"/>
                <a:gd name="T168" fmla="*/ 366 h 36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42" h="366">
                  <a:moveTo>
                    <a:pt x="613" y="54"/>
                  </a:moveTo>
                  <a:lnTo>
                    <a:pt x="544" y="60"/>
                  </a:lnTo>
                  <a:lnTo>
                    <a:pt x="525" y="51"/>
                  </a:lnTo>
                  <a:lnTo>
                    <a:pt x="478" y="45"/>
                  </a:lnTo>
                  <a:lnTo>
                    <a:pt x="445" y="68"/>
                  </a:lnTo>
                  <a:lnTo>
                    <a:pt x="421" y="54"/>
                  </a:lnTo>
                  <a:lnTo>
                    <a:pt x="389" y="55"/>
                  </a:lnTo>
                  <a:lnTo>
                    <a:pt x="334" y="52"/>
                  </a:lnTo>
                  <a:lnTo>
                    <a:pt x="310" y="60"/>
                  </a:lnTo>
                  <a:lnTo>
                    <a:pt x="288" y="47"/>
                  </a:lnTo>
                  <a:lnTo>
                    <a:pt x="267" y="47"/>
                  </a:lnTo>
                  <a:lnTo>
                    <a:pt x="253" y="60"/>
                  </a:lnTo>
                  <a:lnTo>
                    <a:pt x="227" y="45"/>
                  </a:lnTo>
                  <a:lnTo>
                    <a:pt x="166" y="30"/>
                  </a:lnTo>
                  <a:lnTo>
                    <a:pt x="146" y="0"/>
                  </a:lnTo>
                  <a:lnTo>
                    <a:pt x="123" y="15"/>
                  </a:lnTo>
                  <a:lnTo>
                    <a:pt x="100" y="9"/>
                  </a:lnTo>
                  <a:lnTo>
                    <a:pt x="72" y="5"/>
                  </a:lnTo>
                  <a:lnTo>
                    <a:pt x="35" y="14"/>
                  </a:lnTo>
                  <a:lnTo>
                    <a:pt x="17" y="51"/>
                  </a:lnTo>
                  <a:lnTo>
                    <a:pt x="25" y="55"/>
                  </a:lnTo>
                  <a:lnTo>
                    <a:pt x="16" y="100"/>
                  </a:lnTo>
                  <a:lnTo>
                    <a:pt x="0" y="106"/>
                  </a:lnTo>
                  <a:lnTo>
                    <a:pt x="0" y="133"/>
                  </a:lnTo>
                  <a:lnTo>
                    <a:pt x="35" y="137"/>
                  </a:lnTo>
                  <a:lnTo>
                    <a:pt x="46" y="145"/>
                  </a:lnTo>
                  <a:lnTo>
                    <a:pt x="46" y="157"/>
                  </a:lnTo>
                  <a:lnTo>
                    <a:pt x="40" y="174"/>
                  </a:lnTo>
                  <a:lnTo>
                    <a:pt x="40" y="184"/>
                  </a:lnTo>
                  <a:lnTo>
                    <a:pt x="62" y="184"/>
                  </a:lnTo>
                  <a:lnTo>
                    <a:pt x="82" y="196"/>
                  </a:lnTo>
                  <a:lnTo>
                    <a:pt x="114" y="166"/>
                  </a:lnTo>
                  <a:lnTo>
                    <a:pt x="126" y="166"/>
                  </a:lnTo>
                  <a:lnTo>
                    <a:pt x="150" y="203"/>
                  </a:lnTo>
                  <a:lnTo>
                    <a:pt x="219" y="235"/>
                  </a:lnTo>
                  <a:lnTo>
                    <a:pt x="249" y="264"/>
                  </a:lnTo>
                  <a:lnTo>
                    <a:pt x="268" y="259"/>
                  </a:lnTo>
                  <a:lnTo>
                    <a:pt x="366" y="273"/>
                  </a:lnTo>
                  <a:lnTo>
                    <a:pt x="365" y="264"/>
                  </a:lnTo>
                  <a:lnTo>
                    <a:pt x="403" y="241"/>
                  </a:lnTo>
                  <a:lnTo>
                    <a:pt x="449" y="278"/>
                  </a:lnTo>
                  <a:lnTo>
                    <a:pt x="437" y="307"/>
                  </a:lnTo>
                  <a:lnTo>
                    <a:pt x="508" y="366"/>
                  </a:lnTo>
                  <a:lnTo>
                    <a:pt x="521" y="360"/>
                  </a:lnTo>
                  <a:lnTo>
                    <a:pt x="533" y="322"/>
                  </a:lnTo>
                  <a:lnTo>
                    <a:pt x="555" y="317"/>
                  </a:lnTo>
                  <a:lnTo>
                    <a:pt x="582" y="316"/>
                  </a:lnTo>
                  <a:lnTo>
                    <a:pt x="625" y="349"/>
                  </a:lnTo>
                  <a:lnTo>
                    <a:pt x="642" y="333"/>
                  </a:lnTo>
                  <a:lnTo>
                    <a:pt x="642" y="313"/>
                  </a:lnTo>
                  <a:lnTo>
                    <a:pt x="572" y="256"/>
                  </a:lnTo>
                  <a:lnTo>
                    <a:pt x="541" y="94"/>
                  </a:lnTo>
                  <a:lnTo>
                    <a:pt x="613" y="54"/>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9" name="Freeform 18"/>
            <p:cNvSpPr>
              <a:spLocks noChangeAspect="1"/>
            </p:cNvSpPr>
            <p:nvPr/>
          </p:nvSpPr>
          <p:spPr bwMode="gray">
            <a:xfrm>
              <a:off x="2120503" y="2788307"/>
              <a:ext cx="752600" cy="916747"/>
            </a:xfrm>
            <a:custGeom>
              <a:avLst/>
              <a:gdLst>
                <a:gd name="T0" fmla="*/ 439 w 480"/>
                <a:gd name="T1" fmla="*/ 196 h 555"/>
                <a:gd name="T2" fmla="*/ 428 w 480"/>
                <a:gd name="T3" fmla="*/ 201 h 555"/>
                <a:gd name="T4" fmla="*/ 355 w 480"/>
                <a:gd name="T5" fmla="*/ 143 h 555"/>
                <a:gd name="T6" fmla="*/ 367 w 480"/>
                <a:gd name="T7" fmla="*/ 114 h 555"/>
                <a:gd name="T8" fmla="*/ 321 w 480"/>
                <a:gd name="T9" fmla="*/ 77 h 555"/>
                <a:gd name="T10" fmla="*/ 283 w 480"/>
                <a:gd name="T11" fmla="*/ 100 h 555"/>
                <a:gd name="T12" fmla="*/ 286 w 480"/>
                <a:gd name="T13" fmla="*/ 110 h 555"/>
                <a:gd name="T14" fmla="*/ 190 w 480"/>
                <a:gd name="T15" fmla="*/ 94 h 555"/>
                <a:gd name="T16" fmla="*/ 171 w 480"/>
                <a:gd name="T17" fmla="*/ 100 h 555"/>
                <a:gd name="T18" fmla="*/ 161 w 480"/>
                <a:gd name="T19" fmla="*/ 94 h 555"/>
                <a:gd name="T20" fmla="*/ 142 w 480"/>
                <a:gd name="T21" fmla="*/ 72 h 555"/>
                <a:gd name="T22" fmla="*/ 68 w 480"/>
                <a:gd name="T23" fmla="*/ 40 h 555"/>
                <a:gd name="T24" fmla="*/ 45 w 480"/>
                <a:gd name="T25" fmla="*/ 0 h 555"/>
                <a:gd name="T26" fmla="*/ 33 w 480"/>
                <a:gd name="T27" fmla="*/ 0 h 555"/>
                <a:gd name="T28" fmla="*/ 0 w 480"/>
                <a:gd name="T29" fmla="*/ 32 h 555"/>
                <a:gd name="T30" fmla="*/ 0 w 480"/>
                <a:gd name="T31" fmla="*/ 37 h 555"/>
                <a:gd name="T32" fmla="*/ 28 w 480"/>
                <a:gd name="T33" fmla="*/ 61 h 555"/>
                <a:gd name="T34" fmla="*/ 28 w 480"/>
                <a:gd name="T35" fmla="*/ 74 h 555"/>
                <a:gd name="T36" fmla="*/ 39 w 480"/>
                <a:gd name="T37" fmla="*/ 83 h 555"/>
                <a:gd name="T38" fmla="*/ 50 w 480"/>
                <a:gd name="T39" fmla="*/ 83 h 555"/>
                <a:gd name="T40" fmla="*/ 55 w 480"/>
                <a:gd name="T41" fmla="*/ 94 h 555"/>
                <a:gd name="T42" fmla="*/ 65 w 480"/>
                <a:gd name="T43" fmla="*/ 100 h 555"/>
                <a:gd name="T44" fmla="*/ 61 w 480"/>
                <a:gd name="T45" fmla="*/ 118 h 555"/>
                <a:gd name="T46" fmla="*/ 92 w 480"/>
                <a:gd name="T47" fmla="*/ 133 h 555"/>
                <a:gd name="T48" fmla="*/ 139 w 480"/>
                <a:gd name="T49" fmla="*/ 414 h 555"/>
                <a:gd name="T50" fmla="*/ 251 w 480"/>
                <a:gd name="T51" fmla="*/ 536 h 555"/>
                <a:gd name="T52" fmla="*/ 252 w 480"/>
                <a:gd name="T53" fmla="*/ 549 h 555"/>
                <a:gd name="T54" fmla="*/ 321 w 480"/>
                <a:gd name="T55" fmla="*/ 555 h 555"/>
                <a:gd name="T56" fmla="*/ 333 w 480"/>
                <a:gd name="T57" fmla="*/ 541 h 555"/>
                <a:gd name="T58" fmla="*/ 329 w 480"/>
                <a:gd name="T59" fmla="*/ 518 h 555"/>
                <a:gd name="T60" fmla="*/ 374 w 480"/>
                <a:gd name="T61" fmla="*/ 498 h 555"/>
                <a:gd name="T62" fmla="*/ 380 w 480"/>
                <a:gd name="T63" fmla="*/ 463 h 555"/>
                <a:gd name="T64" fmla="*/ 369 w 480"/>
                <a:gd name="T65" fmla="*/ 440 h 555"/>
                <a:gd name="T66" fmla="*/ 390 w 480"/>
                <a:gd name="T67" fmla="*/ 440 h 555"/>
                <a:gd name="T68" fmla="*/ 407 w 480"/>
                <a:gd name="T69" fmla="*/ 397 h 555"/>
                <a:gd name="T70" fmla="*/ 402 w 480"/>
                <a:gd name="T71" fmla="*/ 363 h 555"/>
                <a:gd name="T72" fmla="*/ 425 w 480"/>
                <a:gd name="T73" fmla="*/ 332 h 555"/>
                <a:gd name="T74" fmla="*/ 459 w 480"/>
                <a:gd name="T75" fmla="*/ 321 h 555"/>
                <a:gd name="T76" fmla="*/ 428 w 480"/>
                <a:gd name="T77" fmla="*/ 287 h 555"/>
                <a:gd name="T78" fmla="*/ 433 w 480"/>
                <a:gd name="T79" fmla="*/ 256 h 555"/>
                <a:gd name="T80" fmla="*/ 459 w 480"/>
                <a:gd name="T81" fmla="*/ 244 h 555"/>
                <a:gd name="T82" fmla="*/ 450 w 480"/>
                <a:gd name="T83" fmla="*/ 230 h 555"/>
                <a:gd name="T84" fmla="*/ 480 w 480"/>
                <a:gd name="T85" fmla="*/ 215 h 555"/>
                <a:gd name="T86" fmla="*/ 460 w 480"/>
                <a:gd name="T87" fmla="*/ 196 h 555"/>
                <a:gd name="T88" fmla="*/ 450 w 480"/>
                <a:gd name="T89" fmla="*/ 205 h 555"/>
                <a:gd name="T90" fmla="*/ 439 w 480"/>
                <a:gd name="T91" fmla="*/ 196 h 555"/>
                <a:gd name="T92" fmla="*/ 439 w 480"/>
                <a:gd name="T93" fmla="*/ 196 h 555"/>
                <a:gd name="T94" fmla="*/ 439 w 480"/>
                <a:gd name="T95" fmla="*/ 196 h 5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80"/>
                <a:gd name="T145" fmla="*/ 0 h 555"/>
                <a:gd name="T146" fmla="*/ 480 w 480"/>
                <a:gd name="T147" fmla="*/ 555 h 5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80" h="555">
                  <a:moveTo>
                    <a:pt x="439" y="196"/>
                  </a:moveTo>
                  <a:lnTo>
                    <a:pt x="428" y="201"/>
                  </a:lnTo>
                  <a:lnTo>
                    <a:pt x="355" y="143"/>
                  </a:lnTo>
                  <a:lnTo>
                    <a:pt x="367" y="114"/>
                  </a:lnTo>
                  <a:lnTo>
                    <a:pt x="321" y="77"/>
                  </a:lnTo>
                  <a:lnTo>
                    <a:pt x="283" y="100"/>
                  </a:lnTo>
                  <a:lnTo>
                    <a:pt x="286" y="110"/>
                  </a:lnTo>
                  <a:lnTo>
                    <a:pt x="190" y="94"/>
                  </a:lnTo>
                  <a:lnTo>
                    <a:pt x="171" y="100"/>
                  </a:lnTo>
                  <a:lnTo>
                    <a:pt x="161" y="94"/>
                  </a:lnTo>
                  <a:lnTo>
                    <a:pt x="142" y="72"/>
                  </a:lnTo>
                  <a:lnTo>
                    <a:pt x="68" y="40"/>
                  </a:lnTo>
                  <a:lnTo>
                    <a:pt x="45" y="0"/>
                  </a:lnTo>
                  <a:lnTo>
                    <a:pt x="33" y="0"/>
                  </a:lnTo>
                  <a:lnTo>
                    <a:pt x="0" y="32"/>
                  </a:lnTo>
                  <a:lnTo>
                    <a:pt x="0" y="37"/>
                  </a:lnTo>
                  <a:lnTo>
                    <a:pt x="28" y="61"/>
                  </a:lnTo>
                  <a:lnTo>
                    <a:pt x="28" y="74"/>
                  </a:lnTo>
                  <a:lnTo>
                    <a:pt x="39" y="83"/>
                  </a:lnTo>
                  <a:lnTo>
                    <a:pt x="50" y="83"/>
                  </a:lnTo>
                  <a:lnTo>
                    <a:pt x="55" y="94"/>
                  </a:lnTo>
                  <a:lnTo>
                    <a:pt x="65" y="100"/>
                  </a:lnTo>
                  <a:lnTo>
                    <a:pt x="61" y="118"/>
                  </a:lnTo>
                  <a:lnTo>
                    <a:pt x="92" y="133"/>
                  </a:lnTo>
                  <a:lnTo>
                    <a:pt x="139" y="414"/>
                  </a:lnTo>
                  <a:lnTo>
                    <a:pt x="251" y="536"/>
                  </a:lnTo>
                  <a:lnTo>
                    <a:pt x="252" y="549"/>
                  </a:lnTo>
                  <a:lnTo>
                    <a:pt x="321" y="555"/>
                  </a:lnTo>
                  <a:lnTo>
                    <a:pt x="333" y="541"/>
                  </a:lnTo>
                  <a:lnTo>
                    <a:pt x="329" y="518"/>
                  </a:lnTo>
                  <a:lnTo>
                    <a:pt x="374" y="498"/>
                  </a:lnTo>
                  <a:lnTo>
                    <a:pt x="380" y="463"/>
                  </a:lnTo>
                  <a:lnTo>
                    <a:pt x="369" y="440"/>
                  </a:lnTo>
                  <a:lnTo>
                    <a:pt x="390" y="440"/>
                  </a:lnTo>
                  <a:lnTo>
                    <a:pt x="407" y="397"/>
                  </a:lnTo>
                  <a:lnTo>
                    <a:pt x="402" y="363"/>
                  </a:lnTo>
                  <a:lnTo>
                    <a:pt x="425" y="332"/>
                  </a:lnTo>
                  <a:lnTo>
                    <a:pt x="459" y="321"/>
                  </a:lnTo>
                  <a:lnTo>
                    <a:pt x="428" y="287"/>
                  </a:lnTo>
                  <a:lnTo>
                    <a:pt x="433" y="256"/>
                  </a:lnTo>
                  <a:lnTo>
                    <a:pt x="459" y="244"/>
                  </a:lnTo>
                  <a:lnTo>
                    <a:pt x="450" y="230"/>
                  </a:lnTo>
                  <a:lnTo>
                    <a:pt x="480" y="215"/>
                  </a:lnTo>
                  <a:lnTo>
                    <a:pt x="460" y="196"/>
                  </a:lnTo>
                  <a:lnTo>
                    <a:pt x="450" y="205"/>
                  </a:lnTo>
                  <a:lnTo>
                    <a:pt x="439" y="196"/>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0" name="Freeform 19"/>
            <p:cNvSpPr>
              <a:spLocks noChangeAspect="1"/>
            </p:cNvSpPr>
            <p:nvPr/>
          </p:nvSpPr>
          <p:spPr bwMode="gray">
            <a:xfrm>
              <a:off x="2731159" y="3192112"/>
              <a:ext cx="411047" cy="516060"/>
            </a:xfrm>
            <a:custGeom>
              <a:avLst/>
              <a:gdLst>
                <a:gd name="T0" fmla="*/ 69 w 262"/>
                <a:gd name="T1" fmla="*/ 0 h 313"/>
                <a:gd name="T2" fmla="*/ 43 w 262"/>
                <a:gd name="T3" fmla="*/ 12 h 313"/>
                <a:gd name="T4" fmla="*/ 38 w 262"/>
                <a:gd name="T5" fmla="*/ 43 h 313"/>
                <a:gd name="T6" fmla="*/ 69 w 262"/>
                <a:gd name="T7" fmla="*/ 78 h 313"/>
                <a:gd name="T8" fmla="*/ 36 w 262"/>
                <a:gd name="T9" fmla="*/ 88 h 313"/>
                <a:gd name="T10" fmla="*/ 12 w 262"/>
                <a:gd name="T11" fmla="*/ 119 h 313"/>
                <a:gd name="T12" fmla="*/ 17 w 262"/>
                <a:gd name="T13" fmla="*/ 151 h 313"/>
                <a:gd name="T14" fmla="*/ 0 w 262"/>
                <a:gd name="T15" fmla="*/ 196 h 313"/>
                <a:gd name="T16" fmla="*/ 14 w 262"/>
                <a:gd name="T17" fmla="*/ 199 h 313"/>
                <a:gd name="T18" fmla="*/ 20 w 262"/>
                <a:gd name="T19" fmla="*/ 222 h 313"/>
                <a:gd name="T20" fmla="*/ 14 w 262"/>
                <a:gd name="T21" fmla="*/ 232 h 313"/>
                <a:gd name="T22" fmla="*/ 34 w 262"/>
                <a:gd name="T23" fmla="*/ 254 h 313"/>
                <a:gd name="T24" fmla="*/ 58 w 262"/>
                <a:gd name="T25" fmla="*/ 249 h 313"/>
                <a:gd name="T26" fmla="*/ 93 w 262"/>
                <a:gd name="T27" fmla="*/ 295 h 313"/>
                <a:gd name="T28" fmla="*/ 107 w 262"/>
                <a:gd name="T29" fmla="*/ 292 h 313"/>
                <a:gd name="T30" fmla="*/ 121 w 262"/>
                <a:gd name="T31" fmla="*/ 313 h 313"/>
                <a:gd name="T32" fmla="*/ 135 w 262"/>
                <a:gd name="T33" fmla="*/ 313 h 313"/>
                <a:gd name="T34" fmla="*/ 144 w 262"/>
                <a:gd name="T35" fmla="*/ 295 h 313"/>
                <a:gd name="T36" fmla="*/ 164 w 262"/>
                <a:gd name="T37" fmla="*/ 295 h 313"/>
                <a:gd name="T38" fmla="*/ 196 w 262"/>
                <a:gd name="T39" fmla="*/ 261 h 313"/>
                <a:gd name="T40" fmla="*/ 244 w 262"/>
                <a:gd name="T41" fmla="*/ 249 h 313"/>
                <a:gd name="T42" fmla="*/ 254 w 262"/>
                <a:gd name="T43" fmla="*/ 228 h 313"/>
                <a:gd name="T44" fmla="*/ 245 w 262"/>
                <a:gd name="T45" fmla="*/ 219 h 313"/>
                <a:gd name="T46" fmla="*/ 262 w 262"/>
                <a:gd name="T47" fmla="*/ 199 h 313"/>
                <a:gd name="T48" fmla="*/ 216 w 262"/>
                <a:gd name="T49" fmla="*/ 176 h 313"/>
                <a:gd name="T50" fmla="*/ 207 w 262"/>
                <a:gd name="T51" fmla="*/ 186 h 313"/>
                <a:gd name="T52" fmla="*/ 196 w 262"/>
                <a:gd name="T53" fmla="*/ 133 h 313"/>
                <a:gd name="T54" fmla="*/ 176 w 262"/>
                <a:gd name="T55" fmla="*/ 65 h 313"/>
                <a:gd name="T56" fmla="*/ 176 w 262"/>
                <a:gd name="T57" fmla="*/ 42 h 313"/>
                <a:gd name="T58" fmla="*/ 145 w 262"/>
                <a:gd name="T59" fmla="*/ 42 h 313"/>
                <a:gd name="T60" fmla="*/ 111 w 262"/>
                <a:gd name="T61" fmla="*/ 14 h 313"/>
                <a:gd name="T62" fmla="*/ 93 w 262"/>
                <a:gd name="T63" fmla="*/ 15 h 313"/>
                <a:gd name="T64" fmla="*/ 101 w 262"/>
                <a:gd name="T65" fmla="*/ 0 h 313"/>
                <a:gd name="T66" fmla="*/ 69 w 262"/>
                <a:gd name="T67" fmla="*/ 0 h 313"/>
                <a:gd name="T68" fmla="*/ 69 w 262"/>
                <a:gd name="T69" fmla="*/ 0 h 313"/>
                <a:gd name="T70" fmla="*/ 69 w 262"/>
                <a:gd name="T71" fmla="*/ 0 h 31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62"/>
                <a:gd name="T109" fmla="*/ 0 h 313"/>
                <a:gd name="T110" fmla="*/ 262 w 262"/>
                <a:gd name="T111" fmla="*/ 313 h 31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62" h="313">
                  <a:moveTo>
                    <a:pt x="69" y="0"/>
                  </a:moveTo>
                  <a:lnTo>
                    <a:pt x="43" y="12"/>
                  </a:lnTo>
                  <a:lnTo>
                    <a:pt x="38" y="43"/>
                  </a:lnTo>
                  <a:lnTo>
                    <a:pt x="69" y="78"/>
                  </a:lnTo>
                  <a:lnTo>
                    <a:pt x="36" y="88"/>
                  </a:lnTo>
                  <a:lnTo>
                    <a:pt x="12" y="119"/>
                  </a:lnTo>
                  <a:lnTo>
                    <a:pt x="17" y="151"/>
                  </a:lnTo>
                  <a:lnTo>
                    <a:pt x="0" y="196"/>
                  </a:lnTo>
                  <a:lnTo>
                    <a:pt x="14" y="199"/>
                  </a:lnTo>
                  <a:lnTo>
                    <a:pt x="20" y="222"/>
                  </a:lnTo>
                  <a:lnTo>
                    <a:pt x="14" y="232"/>
                  </a:lnTo>
                  <a:lnTo>
                    <a:pt x="34" y="254"/>
                  </a:lnTo>
                  <a:lnTo>
                    <a:pt x="58" y="249"/>
                  </a:lnTo>
                  <a:lnTo>
                    <a:pt x="93" y="295"/>
                  </a:lnTo>
                  <a:lnTo>
                    <a:pt x="107" y="292"/>
                  </a:lnTo>
                  <a:lnTo>
                    <a:pt x="121" y="313"/>
                  </a:lnTo>
                  <a:lnTo>
                    <a:pt x="135" y="313"/>
                  </a:lnTo>
                  <a:lnTo>
                    <a:pt x="144" y="295"/>
                  </a:lnTo>
                  <a:lnTo>
                    <a:pt x="164" y="295"/>
                  </a:lnTo>
                  <a:lnTo>
                    <a:pt x="196" y="261"/>
                  </a:lnTo>
                  <a:lnTo>
                    <a:pt x="244" y="249"/>
                  </a:lnTo>
                  <a:lnTo>
                    <a:pt x="254" y="228"/>
                  </a:lnTo>
                  <a:lnTo>
                    <a:pt x="245" y="219"/>
                  </a:lnTo>
                  <a:lnTo>
                    <a:pt x="262" y="199"/>
                  </a:lnTo>
                  <a:lnTo>
                    <a:pt x="216" y="176"/>
                  </a:lnTo>
                  <a:lnTo>
                    <a:pt x="207" y="186"/>
                  </a:lnTo>
                  <a:lnTo>
                    <a:pt x="196" y="133"/>
                  </a:lnTo>
                  <a:lnTo>
                    <a:pt x="176" y="65"/>
                  </a:lnTo>
                  <a:lnTo>
                    <a:pt x="176" y="42"/>
                  </a:lnTo>
                  <a:lnTo>
                    <a:pt x="145" y="42"/>
                  </a:lnTo>
                  <a:lnTo>
                    <a:pt x="111" y="14"/>
                  </a:lnTo>
                  <a:lnTo>
                    <a:pt x="93" y="15"/>
                  </a:lnTo>
                  <a:lnTo>
                    <a:pt x="101" y="0"/>
                  </a:lnTo>
                  <a:lnTo>
                    <a:pt x="69"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1" name="Freeform 20"/>
            <p:cNvSpPr>
              <a:spLocks noChangeAspect="1"/>
            </p:cNvSpPr>
            <p:nvPr/>
          </p:nvSpPr>
          <p:spPr bwMode="gray">
            <a:xfrm>
              <a:off x="2808046" y="3033084"/>
              <a:ext cx="548555" cy="558155"/>
            </a:xfrm>
            <a:custGeom>
              <a:avLst/>
              <a:gdLst>
                <a:gd name="T0" fmla="*/ 121 w 350"/>
                <a:gd name="T1" fmla="*/ 0 h 338"/>
                <a:gd name="T2" fmla="*/ 121 w 350"/>
                <a:gd name="T3" fmla="*/ 21 h 338"/>
                <a:gd name="T4" fmla="*/ 104 w 350"/>
                <a:gd name="T5" fmla="*/ 37 h 338"/>
                <a:gd name="T6" fmla="*/ 61 w 350"/>
                <a:gd name="T7" fmla="*/ 4 h 338"/>
                <a:gd name="T8" fmla="*/ 33 w 350"/>
                <a:gd name="T9" fmla="*/ 4 h 338"/>
                <a:gd name="T10" fmla="*/ 12 w 350"/>
                <a:gd name="T11" fmla="*/ 10 h 338"/>
                <a:gd name="T12" fmla="*/ 0 w 350"/>
                <a:gd name="T13" fmla="*/ 48 h 338"/>
                <a:gd name="T14" fmla="*/ 11 w 350"/>
                <a:gd name="T15" fmla="*/ 57 h 338"/>
                <a:gd name="T16" fmla="*/ 21 w 350"/>
                <a:gd name="T17" fmla="*/ 48 h 338"/>
                <a:gd name="T18" fmla="*/ 40 w 350"/>
                <a:gd name="T19" fmla="*/ 67 h 338"/>
                <a:gd name="T20" fmla="*/ 10 w 350"/>
                <a:gd name="T21" fmla="*/ 82 h 338"/>
                <a:gd name="T22" fmla="*/ 20 w 350"/>
                <a:gd name="T23" fmla="*/ 96 h 338"/>
                <a:gd name="T24" fmla="*/ 51 w 350"/>
                <a:gd name="T25" fmla="*/ 96 h 338"/>
                <a:gd name="T26" fmla="*/ 45 w 350"/>
                <a:gd name="T27" fmla="*/ 111 h 338"/>
                <a:gd name="T28" fmla="*/ 63 w 350"/>
                <a:gd name="T29" fmla="*/ 110 h 338"/>
                <a:gd name="T30" fmla="*/ 96 w 350"/>
                <a:gd name="T31" fmla="*/ 138 h 338"/>
                <a:gd name="T32" fmla="*/ 127 w 350"/>
                <a:gd name="T33" fmla="*/ 138 h 338"/>
                <a:gd name="T34" fmla="*/ 127 w 350"/>
                <a:gd name="T35" fmla="*/ 162 h 338"/>
                <a:gd name="T36" fmla="*/ 148 w 350"/>
                <a:gd name="T37" fmla="*/ 230 h 338"/>
                <a:gd name="T38" fmla="*/ 158 w 350"/>
                <a:gd name="T39" fmla="*/ 282 h 338"/>
                <a:gd name="T40" fmla="*/ 167 w 350"/>
                <a:gd name="T41" fmla="*/ 272 h 338"/>
                <a:gd name="T42" fmla="*/ 213 w 350"/>
                <a:gd name="T43" fmla="*/ 295 h 338"/>
                <a:gd name="T44" fmla="*/ 198 w 350"/>
                <a:gd name="T45" fmla="*/ 315 h 338"/>
                <a:gd name="T46" fmla="*/ 207 w 350"/>
                <a:gd name="T47" fmla="*/ 324 h 338"/>
                <a:gd name="T48" fmla="*/ 229 w 350"/>
                <a:gd name="T49" fmla="*/ 329 h 338"/>
                <a:gd name="T50" fmla="*/ 234 w 350"/>
                <a:gd name="T51" fmla="*/ 338 h 338"/>
                <a:gd name="T52" fmla="*/ 244 w 350"/>
                <a:gd name="T53" fmla="*/ 338 h 338"/>
                <a:gd name="T54" fmla="*/ 269 w 350"/>
                <a:gd name="T55" fmla="*/ 305 h 338"/>
                <a:gd name="T56" fmla="*/ 292 w 350"/>
                <a:gd name="T57" fmla="*/ 302 h 338"/>
                <a:gd name="T58" fmla="*/ 300 w 350"/>
                <a:gd name="T59" fmla="*/ 293 h 338"/>
                <a:gd name="T60" fmla="*/ 350 w 350"/>
                <a:gd name="T61" fmla="*/ 280 h 338"/>
                <a:gd name="T62" fmla="*/ 279 w 350"/>
                <a:gd name="T63" fmla="*/ 75 h 338"/>
                <a:gd name="T64" fmla="*/ 223 w 350"/>
                <a:gd name="T65" fmla="*/ 86 h 338"/>
                <a:gd name="T66" fmla="*/ 121 w 350"/>
                <a:gd name="T67" fmla="*/ 0 h 338"/>
                <a:gd name="T68" fmla="*/ 121 w 350"/>
                <a:gd name="T69" fmla="*/ 0 h 338"/>
                <a:gd name="T70" fmla="*/ 121 w 350"/>
                <a:gd name="T71" fmla="*/ 0 h 3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50"/>
                <a:gd name="T109" fmla="*/ 0 h 338"/>
                <a:gd name="T110" fmla="*/ 350 w 350"/>
                <a:gd name="T111" fmla="*/ 338 h 3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50" h="338">
                  <a:moveTo>
                    <a:pt x="121" y="0"/>
                  </a:moveTo>
                  <a:lnTo>
                    <a:pt x="121" y="21"/>
                  </a:lnTo>
                  <a:lnTo>
                    <a:pt x="104" y="37"/>
                  </a:lnTo>
                  <a:lnTo>
                    <a:pt x="61" y="4"/>
                  </a:lnTo>
                  <a:lnTo>
                    <a:pt x="33" y="4"/>
                  </a:lnTo>
                  <a:lnTo>
                    <a:pt x="12" y="10"/>
                  </a:lnTo>
                  <a:lnTo>
                    <a:pt x="0" y="48"/>
                  </a:lnTo>
                  <a:lnTo>
                    <a:pt x="11" y="57"/>
                  </a:lnTo>
                  <a:lnTo>
                    <a:pt x="21" y="48"/>
                  </a:lnTo>
                  <a:lnTo>
                    <a:pt x="40" y="67"/>
                  </a:lnTo>
                  <a:lnTo>
                    <a:pt x="10" y="82"/>
                  </a:lnTo>
                  <a:lnTo>
                    <a:pt x="20" y="96"/>
                  </a:lnTo>
                  <a:lnTo>
                    <a:pt x="51" y="96"/>
                  </a:lnTo>
                  <a:lnTo>
                    <a:pt x="45" y="111"/>
                  </a:lnTo>
                  <a:lnTo>
                    <a:pt x="63" y="110"/>
                  </a:lnTo>
                  <a:lnTo>
                    <a:pt x="96" y="138"/>
                  </a:lnTo>
                  <a:lnTo>
                    <a:pt x="127" y="138"/>
                  </a:lnTo>
                  <a:lnTo>
                    <a:pt x="127" y="162"/>
                  </a:lnTo>
                  <a:lnTo>
                    <a:pt x="148" y="230"/>
                  </a:lnTo>
                  <a:lnTo>
                    <a:pt x="158" y="282"/>
                  </a:lnTo>
                  <a:lnTo>
                    <a:pt x="167" y="272"/>
                  </a:lnTo>
                  <a:lnTo>
                    <a:pt x="213" y="295"/>
                  </a:lnTo>
                  <a:lnTo>
                    <a:pt x="198" y="315"/>
                  </a:lnTo>
                  <a:lnTo>
                    <a:pt x="207" y="324"/>
                  </a:lnTo>
                  <a:lnTo>
                    <a:pt x="229" y="329"/>
                  </a:lnTo>
                  <a:lnTo>
                    <a:pt x="234" y="338"/>
                  </a:lnTo>
                  <a:lnTo>
                    <a:pt x="244" y="338"/>
                  </a:lnTo>
                  <a:lnTo>
                    <a:pt x="269" y="305"/>
                  </a:lnTo>
                  <a:lnTo>
                    <a:pt x="292" y="302"/>
                  </a:lnTo>
                  <a:lnTo>
                    <a:pt x="300" y="293"/>
                  </a:lnTo>
                  <a:lnTo>
                    <a:pt x="350" y="280"/>
                  </a:lnTo>
                  <a:lnTo>
                    <a:pt x="279" y="75"/>
                  </a:lnTo>
                  <a:lnTo>
                    <a:pt x="223" y="86"/>
                  </a:lnTo>
                  <a:lnTo>
                    <a:pt x="121"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2" name="Freeform 21"/>
            <p:cNvSpPr>
              <a:spLocks noChangeAspect="1"/>
            </p:cNvSpPr>
            <p:nvPr/>
          </p:nvSpPr>
          <p:spPr bwMode="gray">
            <a:xfrm>
              <a:off x="2621744" y="3514844"/>
              <a:ext cx="759993" cy="690678"/>
            </a:xfrm>
            <a:custGeom>
              <a:avLst/>
              <a:gdLst>
                <a:gd name="T0" fmla="*/ 355 w 485"/>
                <a:gd name="T1" fmla="*/ 44 h 418"/>
                <a:gd name="T2" fmla="*/ 349 w 485"/>
                <a:gd name="T3" fmla="*/ 37 h 418"/>
                <a:gd name="T4" fmla="*/ 324 w 485"/>
                <a:gd name="T5" fmla="*/ 31 h 418"/>
                <a:gd name="T6" fmla="*/ 314 w 485"/>
                <a:gd name="T7" fmla="*/ 53 h 418"/>
                <a:gd name="T8" fmla="*/ 267 w 485"/>
                <a:gd name="T9" fmla="*/ 65 h 418"/>
                <a:gd name="T10" fmla="*/ 234 w 485"/>
                <a:gd name="T11" fmla="*/ 99 h 418"/>
                <a:gd name="T12" fmla="*/ 214 w 485"/>
                <a:gd name="T13" fmla="*/ 99 h 418"/>
                <a:gd name="T14" fmla="*/ 205 w 485"/>
                <a:gd name="T15" fmla="*/ 117 h 418"/>
                <a:gd name="T16" fmla="*/ 191 w 485"/>
                <a:gd name="T17" fmla="*/ 117 h 418"/>
                <a:gd name="T18" fmla="*/ 177 w 485"/>
                <a:gd name="T19" fmla="*/ 96 h 418"/>
                <a:gd name="T20" fmla="*/ 163 w 485"/>
                <a:gd name="T21" fmla="*/ 99 h 418"/>
                <a:gd name="T22" fmla="*/ 128 w 485"/>
                <a:gd name="T23" fmla="*/ 53 h 418"/>
                <a:gd name="T24" fmla="*/ 104 w 485"/>
                <a:gd name="T25" fmla="*/ 56 h 418"/>
                <a:gd name="T26" fmla="*/ 84 w 485"/>
                <a:gd name="T27" fmla="*/ 36 h 418"/>
                <a:gd name="T28" fmla="*/ 90 w 485"/>
                <a:gd name="T29" fmla="*/ 26 h 418"/>
                <a:gd name="T30" fmla="*/ 84 w 485"/>
                <a:gd name="T31" fmla="*/ 3 h 418"/>
                <a:gd name="T32" fmla="*/ 70 w 485"/>
                <a:gd name="T33" fmla="*/ 0 h 418"/>
                <a:gd name="T34" fmla="*/ 49 w 485"/>
                <a:gd name="T35" fmla="*/ 0 h 418"/>
                <a:gd name="T36" fmla="*/ 60 w 485"/>
                <a:gd name="T37" fmla="*/ 23 h 418"/>
                <a:gd name="T38" fmla="*/ 54 w 485"/>
                <a:gd name="T39" fmla="*/ 58 h 418"/>
                <a:gd name="T40" fmla="*/ 9 w 485"/>
                <a:gd name="T41" fmla="*/ 78 h 418"/>
                <a:gd name="T42" fmla="*/ 13 w 485"/>
                <a:gd name="T43" fmla="*/ 101 h 418"/>
                <a:gd name="T44" fmla="*/ 0 w 485"/>
                <a:gd name="T45" fmla="*/ 116 h 418"/>
                <a:gd name="T46" fmla="*/ 21 w 485"/>
                <a:gd name="T47" fmla="*/ 117 h 418"/>
                <a:gd name="T48" fmla="*/ 304 w 485"/>
                <a:gd name="T49" fmla="*/ 418 h 418"/>
                <a:gd name="T50" fmla="*/ 430 w 485"/>
                <a:gd name="T51" fmla="*/ 418 h 418"/>
                <a:gd name="T52" fmla="*/ 455 w 485"/>
                <a:gd name="T53" fmla="*/ 407 h 418"/>
                <a:gd name="T54" fmla="*/ 463 w 485"/>
                <a:gd name="T55" fmla="*/ 365 h 418"/>
                <a:gd name="T56" fmla="*/ 481 w 485"/>
                <a:gd name="T57" fmla="*/ 361 h 418"/>
                <a:gd name="T58" fmla="*/ 485 w 485"/>
                <a:gd name="T59" fmla="*/ 332 h 418"/>
                <a:gd name="T60" fmla="*/ 473 w 485"/>
                <a:gd name="T61" fmla="*/ 300 h 418"/>
                <a:gd name="T62" fmla="*/ 421 w 485"/>
                <a:gd name="T63" fmla="*/ 272 h 418"/>
                <a:gd name="T64" fmla="*/ 403 w 485"/>
                <a:gd name="T65" fmla="*/ 284 h 418"/>
                <a:gd name="T66" fmla="*/ 360 w 485"/>
                <a:gd name="T67" fmla="*/ 263 h 418"/>
                <a:gd name="T68" fmla="*/ 360 w 485"/>
                <a:gd name="T69" fmla="*/ 242 h 418"/>
                <a:gd name="T70" fmla="*/ 315 w 485"/>
                <a:gd name="T71" fmla="*/ 215 h 418"/>
                <a:gd name="T72" fmla="*/ 300 w 485"/>
                <a:gd name="T73" fmla="*/ 215 h 418"/>
                <a:gd name="T74" fmla="*/ 291 w 485"/>
                <a:gd name="T75" fmla="*/ 186 h 418"/>
                <a:gd name="T76" fmla="*/ 300 w 485"/>
                <a:gd name="T77" fmla="*/ 180 h 418"/>
                <a:gd name="T78" fmla="*/ 334 w 485"/>
                <a:gd name="T79" fmla="*/ 184 h 418"/>
                <a:gd name="T80" fmla="*/ 349 w 485"/>
                <a:gd name="T81" fmla="*/ 171 h 418"/>
                <a:gd name="T82" fmla="*/ 320 w 485"/>
                <a:gd name="T83" fmla="*/ 132 h 418"/>
                <a:gd name="T84" fmla="*/ 315 w 485"/>
                <a:gd name="T85" fmla="*/ 84 h 418"/>
                <a:gd name="T86" fmla="*/ 321 w 485"/>
                <a:gd name="T87" fmla="*/ 73 h 418"/>
                <a:gd name="T88" fmla="*/ 350 w 485"/>
                <a:gd name="T89" fmla="*/ 73 h 418"/>
                <a:gd name="T90" fmla="*/ 364 w 485"/>
                <a:gd name="T91" fmla="*/ 64 h 418"/>
                <a:gd name="T92" fmla="*/ 363 w 485"/>
                <a:gd name="T93" fmla="*/ 56 h 418"/>
                <a:gd name="T94" fmla="*/ 355 w 485"/>
                <a:gd name="T95" fmla="*/ 44 h 418"/>
                <a:gd name="T96" fmla="*/ 355 w 485"/>
                <a:gd name="T97" fmla="*/ 44 h 418"/>
                <a:gd name="T98" fmla="*/ 355 w 485"/>
                <a:gd name="T99" fmla="*/ 44 h 41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85"/>
                <a:gd name="T151" fmla="*/ 0 h 418"/>
                <a:gd name="T152" fmla="*/ 485 w 485"/>
                <a:gd name="T153" fmla="*/ 418 h 41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85" h="418">
                  <a:moveTo>
                    <a:pt x="355" y="44"/>
                  </a:moveTo>
                  <a:lnTo>
                    <a:pt x="349" y="37"/>
                  </a:lnTo>
                  <a:lnTo>
                    <a:pt x="324" y="31"/>
                  </a:lnTo>
                  <a:lnTo>
                    <a:pt x="314" y="53"/>
                  </a:lnTo>
                  <a:lnTo>
                    <a:pt x="267" y="65"/>
                  </a:lnTo>
                  <a:lnTo>
                    <a:pt x="234" y="99"/>
                  </a:lnTo>
                  <a:lnTo>
                    <a:pt x="214" y="99"/>
                  </a:lnTo>
                  <a:lnTo>
                    <a:pt x="205" y="117"/>
                  </a:lnTo>
                  <a:lnTo>
                    <a:pt x="191" y="117"/>
                  </a:lnTo>
                  <a:lnTo>
                    <a:pt x="177" y="96"/>
                  </a:lnTo>
                  <a:lnTo>
                    <a:pt x="163" y="99"/>
                  </a:lnTo>
                  <a:lnTo>
                    <a:pt x="128" y="53"/>
                  </a:lnTo>
                  <a:lnTo>
                    <a:pt x="104" y="56"/>
                  </a:lnTo>
                  <a:lnTo>
                    <a:pt x="84" y="36"/>
                  </a:lnTo>
                  <a:lnTo>
                    <a:pt x="90" y="26"/>
                  </a:lnTo>
                  <a:lnTo>
                    <a:pt x="84" y="3"/>
                  </a:lnTo>
                  <a:lnTo>
                    <a:pt x="70" y="0"/>
                  </a:lnTo>
                  <a:lnTo>
                    <a:pt x="49" y="0"/>
                  </a:lnTo>
                  <a:lnTo>
                    <a:pt x="60" y="23"/>
                  </a:lnTo>
                  <a:lnTo>
                    <a:pt x="54" y="58"/>
                  </a:lnTo>
                  <a:lnTo>
                    <a:pt x="9" y="78"/>
                  </a:lnTo>
                  <a:lnTo>
                    <a:pt x="13" y="101"/>
                  </a:lnTo>
                  <a:lnTo>
                    <a:pt x="0" y="116"/>
                  </a:lnTo>
                  <a:lnTo>
                    <a:pt x="21" y="117"/>
                  </a:lnTo>
                  <a:lnTo>
                    <a:pt x="304" y="418"/>
                  </a:lnTo>
                  <a:lnTo>
                    <a:pt x="430" y="418"/>
                  </a:lnTo>
                  <a:lnTo>
                    <a:pt x="455" y="407"/>
                  </a:lnTo>
                  <a:lnTo>
                    <a:pt x="463" y="365"/>
                  </a:lnTo>
                  <a:lnTo>
                    <a:pt x="481" y="361"/>
                  </a:lnTo>
                  <a:lnTo>
                    <a:pt x="485" y="332"/>
                  </a:lnTo>
                  <a:lnTo>
                    <a:pt x="473" y="300"/>
                  </a:lnTo>
                  <a:lnTo>
                    <a:pt x="421" y="272"/>
                  </a:lnTo>
                  <a:lnTo>
                    <a:pt x="403" y="284"/>
                  </a:lnTo>
                  <a:lnTo>
                    <a:pt x="360" y="263"/>
                  </a:lnTo>
                  <a:lnTo>
                    <a:pt x="360" y="242"/>
                  </a:lnTo>
                  <a:lnTo>
                    <a:pt x="315" y="215"/>
                  </a:lnTo>
                  <a:lnTo>
                    <a:pt x="300" y="215"/>
                  </a:lnTo>
                  <a:lnTo>
                    <a:pt x="291" y="186"/>
                  </a:lnTo>
                  <a:lnTo>
                    <a:pt x="300" y="180"/>
                  </a:lnTo>
                  <a:lnTo>
                    <a:pt x="334" y="184"/>
                  </a:lnTo>
                  <a:lnTo>
                    <a:pt x="349" y="171"/>
                  </a:lnTo>
                  <a:lnTo>
                    <a:pt x="320" y="132"/>
                  </a:lnTo>
                  <a:lnTo>
                    <a:pt x="315" y="84"/>
                  </a:lnTo>
                  <a:lnTo>
                    <a:pt x="321" y="73"/>
                  </a:lnTo>
                  <a:lnTo>
                    <a:pt x="350" y="73"/>
                  </a:lnTo>
                  <a:lnTo>
                    <a:pt x="364" y="64"/>
                  </a:lnTo>
                  <a:lnTo>
                    <a:pt x="363" y="56"/>
                  </a:lnTo>
                  <a:lnTo>
                    <a:pt x="355" y="44"/>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3" name="Freeform 22"/>
            <p:cNvSpPr>
              <a:spLocks noChangeAspect="1"/>
            </p:cNvSpPr>
            <p:nvPr/>
          </p:nvSpPr>
          <p:spPr bwMode="gray">
            <a:xfrm>
              <a:off x="3077148" y="3496135"/>
              <a:ext cx="547077" cy="517619"/>
            </a:xfrm>
            <a:custGeom>
              <a:avLst/>
              <a:gdLst>
                <a:gd name="T0" fmla="*/ 178 w 349"/>
                <a:gd name="T1" fmla="*/ 0 h 314"/>
                <a:gd name="T2" fmla="*/ 128 w 349"/>
                <a:gd name="T3" fmla="*/ 13 h 314"/>
                <a:gd name="T4" fmla="*/ 119 w 349"/>
                <a:gd name="T5" fmla="*/ 22 h 314"/>
                <a:gd name="T6" fmla="*/ 97 w 349"/>
                <a:gd name="T7" fmla="*/ 25 h 314"/>
                <a:gd name="T8" fmla="*/ 73 w 349"/>
                <a:gd name="T9" fmla="*/ 56 h 314"/>
                <a:gd name="T10" fmla="*/ 64 w 349"/>
                <a:gd name="T11" fmla="*/ 56 h 314"/>
                <a:gd name="T12" fmla="*/ 72 w 349"/>
                <a:gd name="T13" fmla="*/ 67 h 314"/>
                <a:gd name="T14" fmla="*/ 73 w 349"/>
                <a:gd name="T15" fmla="*/ 76 h 314"/>
                <a:gd name="T16" fmla="*/ 58 w 349"/>
                <a:gd name="T17" fmla="*/ 85 h 314"/>
                <a:gd name="T18" fmla="*/ 30 w 349"/>
                <a:gd name="T19" fmla="*/ 85 h 314"/>
                <a:gd name="T20" fmla="*/ 24 w 349"/>
                <a:gd name="T21" fmla="*/ 96 h 314"/>
                <a:gd name="T22" fmla="*/ 29 w 349"/>
                <a:gd name="T23" fmla="*/ 144 h 314"/>
                <a:gd name="T24" fmla="*/ 58 w 349"/>
                <a:gd name="T25" fmla="*/ 183 h 314"/>
                <a:gd name="T26" fmla="*/ 44 w 349"/>
                <a:gd name="T27" fmla="*/ 196 h 314"/>
                <a:gd name="T28" fmla="*/ 9 w 349"/>
                <a:gd name="T29" fmla="*/ 192 h 314"/>
                <a:gd name="T30" fmla="*/ 0 w 349"/>
                <a:gd name="T31" fmla="*/ 198 h 314"/>
                <a:gd name="T32" fmla="*/ 9 w 349"/>
                <a:gd name="T33" fmla="*/ 227 h 314"/>
                <a:gd name="T34" fmla="*/ 24 w 349"/>
                <a:gd name="T35" fmla="*/ 227 h 314"/>
                <a:gd name="T36" fmla="*/ 69 w 349"/>
                <a:gd name="T37" fmla="*/ 254 h 314"/>
                <a:gd name="T38" fmla="*/ 69 w 349"/>
                <a:gd name="T39" fmla="*/ 274 h 314"/>
                <a:gd name="T40" fmla="*/ 110 w 349"/>
                <a:gd name="T41" fmla="*/ 295 h 314"/>
                <a:gd name="T42" fmla="*/ 130 w 349"/>
                <a:gd name="T43" fmla="*/ 286 h 314"/>
                <a:gd name="T44" fmla="*/ 184 w 349"/>
                <a:gd name="T45" fmla="*/ 314 h 314"/>
                <a:gd name="T46" fmla="*/ 197 w 349"/>
                <a:gd name="T47" fmla="*/ 314 h 314"/>
                <a:gd name="T48" fmla="*/ 224 w 349"/>
                <a:gd name="T49" fmla="*/ 291 h 314"/>
                <a:gd name="T50" fmla="*/ 220 w 349"/>
                <a:gd name="T51" fmla="*/ 284 h 314"/>
                <a:gd name="T52" fmla="*/ 242 w 349"/>
                <a:gd name="T53" fmla="*/ 263 h 314"/>
                <a:gd name="T54" fmla="*/ 268 w 349"/>
                <a:gd name="T55" fmla="*/ 263 h 314"/>
                <a:gd name="T56" fmla="*/ 278 w 349"/>
                <a:gd name="T57" fmla="*/ 290 h 314"/>
                <a:gd name="T58" fmla="*/ 289 w 349"/>
                <a:gd name="T59" fmla="*/ 284 h 314"/>
                <a:gd name="T60" fmla="*/ 349 w 349"/>
                <a:gd name="T61" fmla="*/ 198 h 314"/>
                <a:gd name="T62" fmla="*/ 205 w 349"/>
                <a:gd name="T63" fmla="*/ 85 h 314"/>
                <a:gd name="T64" fmla="*/ 178 w 349"/>
                <a:gd name="T65" fmla="*/ 0 h 314"/>
                <a:gd name="T66" fmla="*/ 178 w 349"/>
                <a:gd name="T67" fmla="*/ 0 h 314"/>
                <a:gd name="T68" fmla="*/ 178 w 349"/>
                <a:gd name="T69" fmla="*/ 0 h 31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49"/>
                <a:gd name="T106" fmla="*/ 0 h 314"/>
                <a:gd name="T107" fmla="*/ 349 w 349"/>
                <a:gd name="T108" fmla="*/ 314 h 31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49" h="314">
                  <a:moveTo>
                    <a:pt x="178" y="0"/>
                  </a:moveTo>
                  <a:lnTo>
                    <a:pt x="128" y="13"/>
                  </a:lnTo>
                  <a:lnTo>
                    <a:pt x="119" y="22"/>
                  </a:lnTo>
                  <a:lnTo>
                    <a:pt x="97" y="25"/>
                  </a:lnTo>
                  <a:lnTo>
                    <a:pt x="73" y="56"/>
                  </a:lnTo>
                  <a:lnTo>
                    <a:pt x="64" y="56"/>
                  </a:lnTo>
                  <a:lnTo>
                    <a:pt x="72" y="67"/>
                  </a:lnTo>
                  <a:lnTo>
                    <a:pt x="73" y="76"/>
                  </a:lnTo>
                  <a:lnTo>
                    <a:pt x="58" y="85"/>
                  </a:lnTo>
                  <a:lnTo>
                    <a:pt x="30" y="85"/>
                  </a:lnTo>
                  <a:lnTo>
                    <a:pt x="24" y="96"/>
                  </a:lnTo>
                  <a:lnTo>
                    <a:pt x="29" y="144"/>
                  </a:lnTo>
                  <a:lnTo>
                    <a:pt x="58" y="183"/>
                  </a:lnTo>
                  <a:lnTo>
                    <a:pt x="44" y="196"/>
                  </a:lnTo>
                  <a:lnTo>
                    <a:pt x="9" y="192"/>
                  </a:lnTo>
                  <a:lnTo>
                    <a:pt x="0" y="198"/>
                  </a:lnTo>
                  <a:lnTo>
                    <a:pt x="9" y="227"/>
                  </a:lnTo>
                  <a:lnTo>
                    <a:pt x="24" y="227"/>
                  </a:lnTo>
                  <a:lnTo>
                    <a:pt x="69" y="254"/>
                  </a:lnTo>
                  <a:lnTo>
                    <a:pt x="69" y="274"/>
                  </a:lnTo>
                  <a:lnTo>
                    <a:pt x="110" y="295"/>
                  </a:lnTo>
                  <a:lnTo>
                    <a:pt x="130" y="286"/>
                  </a:lnTo>
                  <a:lnTo>
                    <a:pt x="184" y="314"/>
                  </a:lnTo>
                  <a:lnTo>
                    <a:pt x="197" y="314"/>
                  </a:lnTo>
                  <a:lnTo>
                    <a:pt x="224" y="291"/>
                  </a:lnTo>
                  <a:lnTo>
                    <a:pt x="220" y="284"/>
                  </a:lnTo>
                  <a:lnTo>
                    <a:pt x="242" y="263"/>
                  </a:lnTo>
                  <a:lnTo>
                    <a:pt x="268" y="263"/>
                  </a:lnTo>
                  <a:lnTo>
                    <a:pt x="278" y="290"/>
                  </a:lnTo>
                  <a:lnTo>
                    <a:pt x="289" y="284"/>
                  </a:lnTo>
                  <a:lnTo>
                    <a:pt x="349" y="198"/>
                  </a:lnTo>
                  <a:lnTo>
                    <a:pt x="205" y="85"/>
                  </a:lnTo>
                  <a:lnTo>
                    <a:pt x="178"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4" name="Freeform 23"/>
            <p:cNvSpPr>
              <a:spLocks noChangeAspect="1"/>
            </p:cNvSpPr>
            <p:nvPr/>
          </p:nvSpPr>
          <p:spPr bwMode="gray">
            <a:xfrm>
              <a:off x="3362516" y="3820426"/>
              <a:ext cx="362254" cy="328969"/>
            </a:xfrm>
            <a:custGeom>
              <a:avLst/>
              <a:gdLst>
                <a:gd name="T0" fmla="*/ 167 w 231"/>
                <a:gd name="T1" fmla="*/ 0 h 199"/>
                <a:gd name="T2" fmla="*/ 110 w 231"/>
                <a:gd name="T3" fmla="*/ 83 h 199"/>
                <a:gd name="T4" fmla="*/ 96 w 231"/>
                <a:gd name="T5" fmla="*/ 93 h 199"/>
                <a:gd name="T6" fmla="*/ 87 w 231"/>
                <a:gd name="T7" fmla="*/ 66 h 199"/>
                <a:gd name="T8" fmla="*/ 60 w 231"/>
                <a:gd name="T9" fmla="*/ 66 h 199"/>
                <a:gd name="T10" fmla="*/ 37 w 231"/>
                <a:gd name="T11" fmla="*/ 87 h 199"/>
                <a:gd name="T12" fmla="*/ 42 w 231"/>
                <a:gd name="T13" fmla="*/ 93 h 199"/>
                <a:gd name="T14" fmla="*/ 14 w 231"/>
                <a:gd name="T15" fmla="*/ 117 h 199"/>
                <a:gd name="T16" fmla="*/ 0 w 231"/>
                <a:gd name="T17" fmla="*/ 117 h 199"/>
                <a:gd name="T18" fmla="*/ 12 w 231"/>
                <a:gd name="T19" fmla="*/ 147 h 199"/>
                <a:gd name="T20" fmla="*/ 8 w 231"/>
                <a:gd name="T21" fmla="*/ 176 h 199"/>
                <a:gd name="T22" fmla="*/ 19 w 231"/>
                <a:gd name="T23" fmla="*/ 192 h 199"/>
                <a:gd name="T24" fmla="*/ 26 w 231"/>
                <a:gd name="T25" fmla="*/ 192 h 199"/>
                <a:gd name="T26" fmla="*/ 26 w 231"/>
                <a:gd name="T27" fmla="*/ 176 h 199"/>
                <a:gd name="T28" fmla="*/ 36 w 231"/>
                <a:gd name="T29" fmla="*/ 168 h 199"/>
                <a:gd name="T30" fmla="*/ 129 w 231"/>
                <a:gd name="T31" fmla="*/ 199 h 199"/>
                <a:gd name="T32" fmla="*/ 164 w 231"/>
                <a:gd name="T33" fmla="*/ 179 h 199"/>
                <a:gd name="T34" fmla="*/ 172 w 231"/>
                <a:gd name="T35" fmla="*/ 182 h 199"/>
                <a:gd name="T36" fmla="*/ 202 w 231"/>
                <a:gd name="T37" fmla="*/ 168 h 199"/>
                <a:gd name="T38" fmla="*/ 184 w 231"/>
                <a:gd name="T39" fmla="*/ 129 h 199"/>
                <a:gd name="T40" fmla="*/ 203 w 231"/>
                <a:gd name="T41" fmla="*/ 129 h 199"/>
                <a:gd name="T42" fmla="*/ 225 w 231"/>
                <a:gd name="T43" fmla="*/ 115 h 199"/>
                <a:gd name="T44" fmla="*/ 227 w 231"/>
                <a:gd name="T45" fmla="*/ 106 h 199"/>
                <a:gd name="T46" fmla="*/ 216 w 231"/>
                <a:gd name="T47" fmla="*/ 92 h 199"/>
                <a:gd name="T48" fmla="*/ 231 w 231"/>
                <a:gd name="T49" fmla="*/ 49 h 199"/>
                <a:gd name="T50" fmla="*/ 167 w 231"/>
                <a:gd name="T51" fmla="*/ 0 h 199"/>
                <a:gd name="T52" fmla="*/ 167 w 231"/>
                <a:gd name="T53" fmla="*/ 0 h 199"/>
                <a:gd name="T54" fmla="*/ 167 w 231"/>
                <a:gd name="T55" fmla="*/ 0 h 19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31"/>
                <a:gd name="T85" fmla="*/ 0 h 199"/>
                <a:gd name="T86" fmla="*/ 231 w 231"/>
                <a:gd name="T87" fmla="*/ 199 h 19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31" h="199">
                  <a:moveTo>
                    <a:pt x="167" y="0"/>
                  </a:moveTo>
                  <a:lnTo>
                    <a:pt x="110" y="83"/>
                  </a:lnTo>
                  <a:lnTo>
                    <a:pt x="96" y="93"/>
                  </a:lnTo>
                  <a:lnTo>
                    <a:pt x="87" y="66"/>
                  </a:lnTo>
                  <a:lnTo>
                    <a:pt x="60" y="66"/>
                  </a:lnTo>
                  <a:lnTo>
                    <a:pt x="37" y="87"/>
                  </a:lnTo>
                  <a:lnTo>
                    <a:pt x="42" y="93"/>
                  </a:lnTo>
                  <a:lnTo>
                    <a:pt x="14" y="117"/>
                  </a:lnTo>
                  <a:lnTo>
                    <a:pt x="0" y="117"/>
                  </a:lnTo>
                  <a:lnTo>
                    <a:pt x="12" y="147"/>
                  </a:lnTo>
                  <a:lnTo>
                    <a:pt x="8" y="176"/>
                  </a:lnTo>
                  <a:lnTo>
                    <a:pt x="19" y="192"/>
                  </a:lnTo>
                  <a:lnTo>
                    <a:pt x="26" y="192"/>
                  </a:lnTo>
                  <a:lnTo>
                    <a:pt x="26" y="176"/>
                  </a:lnTo>
                  <a:lnTo>
                    <a:pt x="36" y="168"/>
                  </a:lnTo>
                  <a:lnTo>
                    <a:pt x="129" y="199"/>
                  </a:lnTo>
                  <a:lnTo>
                    <a:pt x="164" y="179"/>
                  </a:lnTo>
                  <a:lnTo>
                    <a:pt x="172" y="182"/>
                  </a:lnTo>
                  <a:lnTo>
                    <a:pt x="202" y="168"/>
                  </a:lnTo>
                  <a:lnTo>
                    <a:pt x="184" y="129"/>
                  </a:lnTo>
                  <a:lnTo>
                    <a:pt x="203" y="129"/>
                  </a:lnTo>
                  <a:lnTo>
                    <a:pt x="225" y="115"/>
                  </a:lnTo>
                  <a:lnTo>
                    <a:pt x="227" y="106"/>
                  </a:lnTo>
                  <a:lnTo>
                    <a:pt x="216" y="92"/>
                  </a:lnTo>
                  <a:lnTo>
                    <a:pt x="231" y="49"/>
                  </a:lnTo>
                  <a:lnTo>
                    <a:pt x="167"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5" name="Freeform 24"/>
            <p:cNvSpPr>
              <a:spLocks noChangeAspect="1"/>
            </p:cNvSpPr>
            <p:nvPr/>
          </p:nvSpPr>
          <p:spPr bwMode="gray">
            <a:xfrm>
              <a:off x="3298936" y="4097945"/>
              <a:ext cx="635792" cy="623637"/>
            </a:xfrm>
            <a:custGeom>
              <a:avLst/>
              <a:gdLst>
                <a:gd name="T0" fmla="*/ 242 w 406"/>
                <a:gd name="T1" fmla="*/ 0 h 377"/>
                <a:gd name="T2" fmla="*/ 213 w 406"/>
                <a:gd name="T3" fmla="*/ 16 h 377"/>
                <a:gd name="T4" fmla="*/ 204 w 406"/>
                <a:gd name="T5" fmla="*/ 11 h 377"/>
                <a:gd name="T6" fmla="*/ 170 w 406"/>
                <a:gd name="T7" fmla="*/ 31 h 377"/>
                <a:gd name="T8" fmla="*/ 77 w 406"/>
                <a:gd name="T9" fmla="*/ 0 h 377"/>
                <a:gd name="T10" fmla="*/ 67 w 406"/>
                <a:gd name="T11" fmla="*/ 8 h 377"/>
                <a:gd name="T12" fmla="*/ 67 w 406"/>
                <a:gd name="T13" fmla="*/ 24 h 377"/>
                <a:gd name="T14" fmla="*/ 60 w 406"/>
                <a:gd name="T15" fmla="*/ 24 h 377"/>
                <a:gd name="T16" fmla="*/ 49 w 406"/>
                <a:gd name="T17" fmla="*/ 8 h 377"/>
                <a:gd name="T18" fmla="*/ 31 w 406"/>
                <a:gd name="T19" fmla="*/ 12 h 377"/>
                <a:gd name="T20" fmla="*/ 23 w 406"/>
                <a:gd name="T21" fmla="*/ 54 h 377"/>
                <a:gd name="T22" fmla="*/ 0 w 406"/>
                <a:gd name="T23" fmla="*/ 65 h 377"/>
                <a:gd name="T24" fmla="*/ 52 w 406"/>
                <a:gd name="T25" fmla="*/ 167 h 377"/>
                <a:gd name="T26" fmla="*/ 130 w 406"/>
                <a:gd name="T27" fmla="*/ 177 h 377"/>
                <a:gd name="T28" fmla="*/ 142 w 406"/>
                <a:gd name="T29" fmla="*/ 227 h 377"/>
                <a:gd name="T30" fmla="*/ 221 w 406"/>
                <a:gd name="T31" fmla="*/ 214 h 377"/>
                <a:gd name="T32" fmla="*/ 237 w 406"/>
                <a:gd name="T33" fmla="*/ 321 h 377"/>
                <a:gd name="T34" fmla="*/ 323 w 406"/>
                <a:gd name="T35" fmla="*/ 377 h 377"/>
                <a:gd name="T36" fmla="*/ 384 w 406"/>
                <a:gd name="T37" fmla="*/ 356 h 377"/>
                <a:gd name="T38" fmla="*/ 406 w 406"/>
                <a:gd name="T39" fmla="*/ 317 h 377"/>
                <a:gd name="T40" fmla="*/ 390 w 406"/>
                <a:gd name="T41" fmla="*/ 279 h 377"/>
                <a:gd name="T42" fmla="*/ 372 w 406"/>
                <a:gd name="T43" fmla="*/ 265 h 377"/>
                <a:gd name="T44" fmla="*/ 355 w 406"/>
                <a:gd name="T45" fmla="*/ 232 h 377"/>
                <a:gd name="T46" fmla="*/ 320 w 406"/>
                <a:gd name="T47" fmla="*/ 186 h 377"/>
                <a:gd name="T48" fmla="*/ 319 w 406"/>
                <a:gd name="T49" fmla="*/ 155 h 377"/>
                <a:gd name="T50" fmla="*/ 343 w 406"/>
                <a:gd name="T51" fmla="*/ 155 h 377"/>
                <a:gd name="T52" fmla="*/ 359 w 406"/>
                <a:gd name="T53" fmla="*/ 121 h 377"/>
                <a:gd name="T54" fmla="*/ 349 w 406"/>
                <a:gd name="T55" fmla="*/ 98 h 377"/>
                <a:gd name="T56" fmla="*/ 332 w 406"/>
                <a:gd name="T57" fmla="*/ 91 h 377"/>
                <a:gd name="T58" fmla="*/ 304 w 406"/>
                <a:gd name="T59" fmla="*/ 97 h 377"/>
                <a:gd name="T60" fmla="*/ 292 w 406"/>
                <a:gd name="T61" fmla="*/ 80 h 377"/>
                <a:gd name="T62" fmla="*/ 288 w 406"/>
                <a:gd name="T63" fmla="*/ 51 h 377"/>
                <a:gd name="T64" fmla="*/ 262 w 406"/>
                <a:gd name="T65" fmla="*/ 35 h 377"/>
                <a:gd name="T66" fmla="*/ 262 w 406"/>
                <a:gd name="T67" fmla="*/ 14 h 377"/>
                <a:gd name="T68" fmla="*/ 242 w 406"/>
                <a:gd name="T69" fmla="*/ 0 h 377"/>
                <a:gd name="T70" fmla="*/ 242 w 406"/>
                <a:gd name="T71" fmla="*/ 0 h 377"/>
                <a:gd name="T72" fmla="*/ 242 w 406"/>
                <a:gd name="T73" fmla="*/ 0 h 37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06"/>
                <a:gd name="T112" fmla="*/ 0 h 377"/>
                <a:gd name="T113" fmla="*/ 406 w 406"/>
                <a:gd name="T114" fmla="*/ 377 h 37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06" h="377">
                  <a:moveTo>
                    <a:pt x="242" y="0"/>
                  </a:moveTo>
                  <a:lnTo>
                    <a:pt x="213" y="16"/>
                  </a:lnTo>
                  <a:lnTo>
                    <a:pt x="204" y="11"/>
                  </a:lnTo>
                  <a:lnTo>
                    <a:pt x="170" y="31"/>
                  </a:lnTo>
                  <a:lnTo>
                    <a:pt x="77" y="0"/>
                  </a:lnTo>
                  <a:lnTo>
                    <a:pt x="67" y="8"/>
                  </a:lnTo>
                  <a:lnTo>
                    <a:pt x="67" y="24"/>
                  </a:lnTo>
                  <a:lnTo>
                    <a:pt x="60" y="24"/>
                  </a:lnTo>
                  <a:lnTo>
                    <a:pt x="49" y="8"/>
                  </a:lnTo>
                  <a:lnTo>
                    <a:pt x="31" y="12"/>
                  </a:lnTo>
                  <a:lnTo>
                    <a:pt x="23" y="54"/>
                  </a:lnTo>
                  <a:lnTo>
                    <a:pt x="0" y="65"/>
                  </a:lnTo>
                  <a:lnTo>
                    <a:pt x="52" y="167"/>
                  </a:lnTo>
                  <a:lnTo>
                    <a:pt x="130" y="177"/>
                  </a:lnTo>
                  <a:lnTo>
                    <a:pt x="142" y="227"/>
                  </a:lnTo>
                  <a:lnTo>
                    <a:pt x="221" y="214"/>
                  </a:lnTo>
                  <a:lnTo>
                    <a:pt x="237" y="321"/>
                  </a:lnTo>
                  <a:lnTo>
                    <a:pt x="323" y="377"/>
                  </a:lnTo>
                  <a:lnTo>
                    <a:pt x="384" y="356"/>
                  </a:lnTo>
                  <a:lnTo>
                    <a:pt x="406" y="317"/>
                  </a:lnTo>
                  <a:lnTo>
                    <a:pt x="390" y="279"/>
                  </a:lnTo>
                  <a:lnTo>
                    <a:pt x="372" y="265"/>
                  </a:lnTo>
                  <a:lnTo>
                    <a:pt x="355" y="232"/>
                  </a:lnTo>
                  <a:lnTo>
                    <a:pt x="320" y="186"/>
                  </a:lnTo>
                  <a:lnTo>
                    <a:pt x="319" y="155"/>
                  </a:lnTo>
                  <a:lnTo>
                    <a:pt x="343" y="155"/>
                  </a:lnTo>
                  <a:lnTo>
                    <a:pt x="359" y="121"/>
                  </a:lnTo>
                  <a:lnTo>
                    <a:pt x="349" y="98"/>
                  </a:lnTo>
                  <a:lnTo>
                    <a:pt x="332" y="91"/>
                  </a:lnTo>
                  <a:lnTo>
                    <a:pt x="304" y="97"/>
                  </a:lnTo>
                  <a:lnTo>
                    <a:pt x="292" y="80"/>
                  </a:lnTo>
                  <a:lnTo>
                    <a:pt x="288" y="51"/>
                  </a:lnTo>
                  <a:lnTo>
                    <a:pt x="262" y="35"/>
                  </a:lnTo>
                  <a:lnTo>
                    <a:pt x="262" y="14"/>
                  </a:lnTo>
                  <a:lnTo>
                    <a:pt x="242"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6" name="Freeform 25"/>
            <p:cNvSpPr>
              <a:spLocks noChangeAspect="1"/>
            </p:cNvSpPr>
            <p:nvPr/>
          </p:nvSpPr>
          <p:spPr bwMode="gray">
            <a:xfrm>
              <a:off x="3798698" y="4238263"/>
              <a:ext cx="480540" cy="526974"/>
            </a:xfrm>
            <a:custGeom>
              <a:avLst/>
              <a:gdLst>
                <a:gd name="T0" fmla="*/ 30 w 307"/>
                <a:gd name="T1" fmla="*/ 13 h 319"/>
                <a:gd name="T2" fmla="*/ 40 w 307"/>
                <a:gd name="T3" fmla="*/ 36 h 319"/>
                <a:gd name="T4" fmla="*/ 23 w 307"/>
                <a:gd name="T5" fmla="*/ 70 h 319"/>
                <a:gd name="T6" fmla="*/ 0 w 307"/>
                <a:gd name="T7" fmla="*/ 70 h 319"/>
                <a:gd name="T8" fmla="*/ 1 w 307"/>
                <a:gd name="T9" fmla="*/ 103 h 319"/>
                <a:gd name="T10" fmla="*/ 36 w 307"/>
                <a:gd name="T11" fmla="*/ 146 h 319"/>
                <a:gd name="T12" fmla="*/ 51 w 307"/>
                <a:gd name="T13" fmla="*/ 180 h 319"/>
                <a:gd name="T14" fmla="*/ 73 w 307"/>
                <a:gd name="T15" fmla="*/ 196 h 319"/>
                <a:gd name="T16" fmla="*/ 86 w 307"/>
                <a:gd name="T17" fmla="*/ 231 h 319"/>
                <a:gd name="T18" fmla="*/ 64 w 307"/>
                <a:gd name="T19" fmla="*/ 273 h 319"/>
                <a:gd name="T20" fmla="*/ 82 w 307"/>
                <a:gd name="T21" fmla="*/ 314 h 319"/>
                <a:gd name="T22" fmla="*/ 98 w 307"/>
                <a:gd name="T23" fmla="*/ 295 h 319"/>
                <a:gd name="T24" fmla="*/ 133 w 307"/>
                <a:gd name="T25" fmla="*/ 295 h 319"/>
                <a:gd name="T26" fmla="*/ 149 w 307"/>
                <a:gd name="T27" fmla="*/ 319 h 319"/>
                <a:gd name="T28" fmla="*/ 189 w 307"/>
                <a:gd name="T29" fmla="*/ 309 h 319"/>
                <a:gd name="T30" fmla="*/ 205 w 307"/>
                <a:gd name="T31" fmla="*/ 313 h 319"/>
                <a:gd name="T32" fmla="*/ 202 w 307"/>
                <a:gd name="T33" fmla="*/ 300 h 319"/>
                <a:gd name="T34" fmla="*/ 214 w 307"/>
                <a:gd name="T35" fmla="*/ 267 h 319"/>
                <a:gd name="T36" fmla="*/ 214 w 307"/>
                <a:gd name="T37" fmla="*/ 253 h 319"/>
                <a:gd name="T38" fmla="*/ 276 w 307"/>
                <a:gd name="T39" fmla="*/ 254 h 319"/>
                <a:gd name="T40" fmla="*/ 307 w 307"/>
                <a:gd name="T41" fmla="*/ 192 h 319"/>
                <a:gd name="T42" fmla="*/ 294 w 307"/>
                <a:gd name="T43" fmla="*/ 174 h 319"/>
                <a:gd name="T44" fmla="*/ 277 w 307"/>
                <a:gd name="T45" fmla="*/ 171 h 319"/>
                <a:gd name="T46" fmla="*/ 264 w 307"/>
                <a:gd name="T47" fmla="*/ 99 h 319"/>
                <a:gd name="T48" fmla="*/ 225 w 307"/>
                <a:gd name="T49" fmla="*/ 94 h 319"/>
                <a:gd name="T50" fmla="*/ 215 w 307"/>
                <a:gd name="T51" fmla="*/ 105 h 319"/>
                <a:gd name="T52" fmla="*/ 157 w 307"/>
                <a:gd name="T53" fmla="*/ 53 h 319"/>
                <a:gd name="T54" fmla="*/ 146 w 307"/>
                <a:gd name="T55" fmla="*/ 57 h 319"/>
                <a:gd name="T56" fmla="*/ 121 w 307"/>
                <a:gd name="T57" fmla="*/ 40 h 319"/>
                <a:gd name="T58" fmla="*/ 129 w 307"/>
                <a:gd name="T59" fmla="*/ 25 h 319"/>
                <a:gd name="T60" fmla="*/ 98 w 307"/>
                <a:gd name="T61" fmla="*/ 0 h 319"/>
                <a:gd name="T62" fmla="*/ 82 w 307"/>
                <a:gd name="T63" fmla="*/ 13 h 319"/>
                <a:gd name="T64" fmla="*/ 57 w 307"/>
                <a:gd name="T65" fmla="*/ 11 h 319"/>
                <a:gd name="T66" fmla="*/ 30 w 307"/>
                <a:gd name="T67" fmla="*/ 13 h 319"/>
                <a:gd name="T68" fmla="*/ 30 w 307"/>
                <a:gd name="T69" fmla="*/ 13 h 319"/>
                <a:gd name="T70" fmla="*/ 30 w 307"/>
                <a:gd name="T71" fmla="*/ 13 h 31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07"/>
                <a:gd name="T109" fmla="*/ 0 h 319"/>
                <a:gd name="T110" fmla="*/ 307 w 307"/>
                <a:gd name="T111" fmla="*/ 319 h 31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07" h="319">
                  <a:moveTo>
                    <a:pt x="30" y="13"/>
                  </a:moveTo>
                  <a:lnTo>
                    <a:pt x="40" y="36"/>
                  </a:lnTo>
                  <a:lnTo>
                    <a:pt x="23" y="70"/>
                  </a:lnTo>
                  <a:lnTo>
                    <a:pt x="0" y="70"/>
                  </a:lnTo>
                  <a:lnTo>
                    <a:pt x="1" y="103"/>
                  </a:lnTo>
                  <a:lnTo>
                    <a:pt x="36" y="146"/>
                  </a:lnTo>
                  <a:lnTo>
                    <a:pt x="51" y="180"/>
                  </a:lnTo>
                  <a:lnTo>
                    <a:pt x="73" y="196"/>
                  </a:lnTo>
                  <a:lnTo>
                    <a:pt x="86" y="231"/>
                  </a:lnTo>
                  <a:lnTo>
                    <a:pt x="64" y="273"/>
                  </a:lnTo>
                  <a:lnTo>
                    <a:pt x="82" y="314"/>
                  </a:lnTo>
                  <a:lnTo>
                    <a:pt x="98" y="295"/>
                  </a:lnTo>
                  <a:lnTo>
                    <a:pt x="133" y="295"/>
                  </a:lnTo>
                  <a:lnTo>
                    <a:pt x="149" y="319"/>
                  </a:lnTo>
                  <a:lnTo>
                    <a:pt x="189" y="309"/>
                  </a:lnTo>
                  <a:lnTo>
                    <a:pt x="205" y="313"/>
                  </a:lnTo>
                  <a:lnTo>
                    <a:pt x="202" y="300"/>
                  </a:lnTo>
                  <a:lnTo>
                    <a:pt x="214" y="267"/>
                  </a:lnTo>
                  <a:lnTo>
                    <a:pt x="214" y="253"/>
                  </a:lnTo>
                  <a:lnTo>
                    <a:pt x="276" y="254"/>
                  </a:lnTo>
                  <a:lnTo>
                    <a:pt x="307" y="192"/>
                  </a:lnTo>
                  <a:lnTo>
                    <a:pt x="294" y="174"/>
                  </a:lnTo>
                  <a:lnTo>
                    <a:pt x="277" y="171"/>
                  </a:lnTo>
                  <a:lnTo>
                    <a:pt x="264" y="99"/>
                  </a:lnTo>
                  <a:lnTo>
                    <a:pt x="225" y="94"/>
                  </a:lnTo>
                  <a:lnTo>
                    <a:pt x="215" y="105"/>
                  </a:lnTo>
                  <a:lnTo>
                    <a:pt x="157" y="53"/>
                  </a:lnTo>
                  <a:lnTo>
                    <a:pt x="146" y="57"/>
                  </a:lnTo>
                  <a:lnTo>
                    <a:pt x="121" y="40"/>
                  </a:lnTo>
                  <a:lnTo>
                    <a:pt x="129" y="25"/>
                  </a:lnTo>
                  <a:lnTo>
                    <a:pt x="98" y="0"/>
                  </a:lnTo>
                  <a:lnTo>
                    <a:pt x="82" y="13"/>
                  </a:lnTo>
                  <a:lnTo>
                    <a:pt x="57" y="11"/>
                  </a:lnTo>
                  <a:lnTo>
                    <a:pt x="30" y="13"/>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7" name="Freeform 26"/>
            <p:cNvSpPr>
              <a:spLocks noChangeAspect="1"/>
            </p:cNvSpPr>
            <p:nvPr/>
          </p:nvSpPr>
          <p:spPr bwMode="gray">
            <a:xfrm>
              <a:off x="3652318" y="3895263"/>
              <a:ext cx="1129640" cy="926101"/>
            </a:xfrm>
            <a:custGeom>
              <a:avLst/>
              <a:gdLst>
                <a:gd name="T0" fmla="*/ 45 w 721"/>
                <a:gd name="T1" fmla="*/ 3 h 561"/>
                <a:gd name="T2" fmla="*/ 31 w 721"/>
                <a:gd name="T3" fmla="*/ 46 h 561"/>
                <a:gd name="T4" fmla="*/ 42 w 721"/>
                <a:gd name="T5" fmla="*/ 61 h 561"/>
                <a:gd name="T6" fmla="*/ 41 w 721"/>
                <a:gd name="T7" fmla="*/ 70 h 561"/>
                <a:gd name="T8" fmla="*/ 18 w 721"/>
                <a:gd name="T9" fmla="*/ 83 h 561"/>
                <a:gd name="T10" fmla="*/ 0 w 721"/>
                <a:gd name="T11" fmla="*/ 84 h 561"/>
                <a:gd name="T12" fmla="*/ 16 w 721"/>
                <a:gd name="T13" fmla="*/ 124 h 561"/>
                <a:gd name="T14" fmla="*/ 36 w 721"/>
                <a:gd name="T15" fmla="*/ 139 h 561"/>
                <a:gd name="T16" fmla="*/ 36 w 721"/>
                <a:gd name="T17" fmla="*/ 158 h 561"/>
                <a:gd name="T18" fmla="*/ 63 w 721"/>
                <a:gd name="T19" fmla="*/ 175 h 561"/>
                <a:gd name="T20" fmla="*/ 64 w 721"/>
                <a:gd name="T21" fmla="*/ 202 h 561"/>
                <a:gd name="T22" fmla="*/ 77 w 721"/>
                <a:gd name="T23" fmla="*/ 220 h 561"/>
                <a:gd name="T24" fmla="*/ 106 w 721"/>
                <a:gd name="T25" fmla="*/ 215 h 561"/>
                <a:gd name="T26" fmla="*/ 123 w 721"/>
                <a:gd name="T27" fmla="*/ 221 h 561"/>
                <a:gd name="T28" fmla="*/ 151 w 721"/>
                <a:gd name="T29" fmla="*/ 220 h 561"/>
                <a:gd name="T30" fmla="*/ 173 w 721"/>
                <a:gd name="T31" fmla="*/ 221 h 561"/>
                <a:gd name="T32" fmla="*/ 192 w 721"/>
                <a:gd name="T33" fmla="*/ 208 h 561"/>
                <a:gd name="T34" fmla="*/ 221 w 721"/>
                <a:gd name="T35" fmla="*/ 235 h 561"/>
                <a:gd name="T36" fmla="*/ 215 w 721"/>
                <a:gd name="T37" fmla="*/ 249 h 561"/>
                <a:gd name="T38" fmla="*/ 242 w 721"/>
                <a:gd name="T39" fmla="*/ 267 h 561"/>
                <a:gd name="T40" fmla="*/ 250 w 721"/>
                <a:gd name="T41" fmla="*/ 262 h 561"/>
                <a:gd name="T42" fmla="*/ 310 w 721"/>
                <a:gd name="T43" fmla="*/ 315 h 561"/>
                <a:gd name="T44" fmla="*/ 318 w 721"/>
                <a:gd name="T45" fmla="*/ 302 h 561"/>
                <a:gd name="T46" fmla="*/ 357 w 721"/>
                <a:gd name="T47" fmla="*/ 307 h 561"/>
                <a:gd name="T48" fmla="*/ 371 w 721"/>
                <a:gd name="T49" fmla="*/ 381 h 561"/>
                <a:gd name="T50" fmla="*/ 383 w 721"/>
                <a:gd name="T51" fmla="*/ 381 h 561"/>
                <a:gd name="T52" fmla="*/ 400 w 721"/>
                <a:gd name="T53" fmla="*/ 399 h 561"/>
                <a:gd name="T54" fmla="*/ 417 w 721"/>
                <a:gd name="T55" fmla="*/ 371 h 561"/>
                <a:gd name="T56" fmla="*/ 598 w 721"/>
                <a:gd name="T57" fmla="*/ 411 h 561"/>
                <a:gd name="T58" fmla="*/ 705 w 721"/>
                <a:gd name="T59" fmla="*/ 561 h 561"/>
                <a:gd name="T60" fmla="*/ 721 w 721"/>
                <a:gd name="T61" fmla="*/ 419 h 561"/>
                <a:gd name="T62" fmla="*/ 561 w 721"/>
                <a:gd name="T63" fmla="*/ 268 h 561"/>
                <a:gd name="T64" fmla="*/ 218 w 721"/>
                <a:gd name="T65" fmla="*/ 131 h 561"/>
                <a:gd name="T66" fmla="*/ 183 w 721"/>
                <a:gd name="T67" fmla="*/ 98 h 561"/>
                <a:gd name="T68" fmla="*/ 252 w 721"/>
                <a:gd name="T69" fmla="*/ 19 h 561"/>
                <a:gd name="T70" fmla="*/ 222 w 721"/>
                <a:gd name="T71" fmla="*/ 0 h 561"/>
                <a:gd name="T72" fmla="*/ 132 w 721"/>
                <a:gd name="T73" fmla="*/ 1 h 561"/>
                <a:gd name="T74" fmla="*/ 45 w 721"/>
                <a:gd name="T75" fmla="*/ 3 h 561"/>
                <a:gd name="T76" fmla="*/ 45 w 721"/>
                <a:gd name="T77" fmla="*/ 3 h 561"/>
                <a:gd name="T78" fmla="*/ 45 w 721"/>
                <a:gd name="T79" fmla="*/ 3 h 5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21"/>
                <a:gd name="T121" fmla="*/ 0 h 561"/>
                <a:gd name="T122" fmla="*/ 721 w 721"/>
                <a:gd name="T123" fmla="*/ 561 h 56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21" h="561">
                  <a:moveTo>
                    <a:pt x="45" y="3"/>
                  </a:moveTo>
                  <a:lnTo>
                    <a:pt x="31" y="46"/>
                  </a:lnTo>
                  <a:lnTo>
                    <a:pt x="42" y="61"/>
                  </a:lnTo>
                  <a:lnTo>
                    <a:pt x="41" y="70"/>
                  </a:lnTo>
                  <a:lnTo>
                    <a:pt x="18" y="83"/>
                  </a:lnTo>
                  <a:lnTo>
                    <a:pt x="0" y="84"/>
                  </a:lnTo>
                  <a:lnTo>
                    <a:pt x="16" y="124"/>
                  </a:lnTo>
                  <a:lnTo>
                    <a:pt x="36" y="139"/>
                  </a:lnTo>
                  <a:lnTo>
                    <a:pt x="36" y="158"/>
                  </a:lnTo>
                  <a:lnTo>
                    <a:pt x="63" y="175"/>
                  </a:lnTo>
                  <a:lnTo>
                    <a:pt x="64" y="202"/>
                  </a:lnTo>
                  <a:lnTo>
                    <a:pt x="77" y="220"/>
                  </a:lnTo>
                  <a:lnTo>
                    <a:pt x="106" y="215"/>
                  </a:lnTo>
                  <a:lnTo>
                    <a:pt x="123" y="221"/>
                  </a:lnTo>
                  <a:lnTo>
                    <a:pt x="151" y="220"/>
                  </a:lnTo>
                  <a:lnTo>
                    <a:pt x="173" y="221"/>
                  </a:lnTo>
                  <a:lnTo>
                    <a:pt x="192" y="208"/>
                  </a:lnTo>
                  <a:lnTo>
                    <a:pt x="221" y="235"/>
                  </a:lnTo>
                  <a:lnTo>
                    <a:pt x="215" y="249"/>
                  </a:lnTo>
                  <a:lnTo>
                    <a:pt x="242" y="267"/>
                  </a:lnTo>
                  <a:lnTo>
                    <a:pt x="250" y="262"/>
                  </a:lnTo>
                  <a:lnTo>
                    <a:pt x="310" y="315"/>
                  </a:lnTo>
                  <a:lnTo>
                    <a:pt x="318" y="302"/>
                  </a:lnTo>
                  <a:lnTo>
                    <a:pt x="357" y="307"/>
                  </a:lnTo>
                  <a:lnTo>
                    <a:pt x="371" y="381"/>
                  </a:lnTo>
                  <a:lnTo>
                    <a:pt x="383" y="381"/>
                  </a:lnTo>
                  <a:lnTo>
                    <a:pt x="400" y="399"/>
                  </a:lnTo>
                  <a:lnTo>
                    <a:pt x="417" y="371"/>
                  </a:lnTo>
                  <a:lnTo>
                    <a:pt x="598" y="411"/>
                  </a:lnTo>
                  <a:lnTo>
                    <a:pt x="705" y="561"/>
                  </a:lnTo>
                  <a:lnTo>
                    <a:pt x="721" y="419"/>
                  </a:lnTo>
                  <a:lnTo>
                    <a:pt x="561" y="268"/>
                  </a:lnTo>
                  <a:lnTo>
                    <a:pt x="218" y="131"/>
                  </a:lnTo>
                  <a:lnTo>
                    <a:pt x="183" y="98"/>
                  </a:lnTo>
                  <a:lnTo>
                    <a:pt x="252" y="19"/>
                  </a:lnTo>
                  <a:lnTo>
                    <a:pt x="222" y="0"/>
                  </a:lnTo>
                  <a:lnTo>
                    <a:pt x="132" y="1"/>
                  </a:lnTo>
                  <a:lnTo>
                    <a:pt x="45" y="3"/>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8" name="Freeform 27"/>
            <p:cNvSpPr>
              <a:spLocks noChangeAspect="1"/>
            </p:cNvSpPr>
            <p:nvPr/>
          </p:nvSpPr>
          <p:spPr bwMode="gray">
            <a:xfrm>
              <a:off x="3927335" y="4656100"/>
              <a:ext cx="477583" cy="965079"/>
            </a:xfrm>
            <a:custGeom>
              <a:avLst/>
              <a:gdLst>
                <a:gd name="T0" fmla="*/ 195 w 305"/>
                <a:gd name="T1" fmla="*/ 1 h 584"/>
                <a:gd name="T2" fmla="*/ 162 w 305"/>
                <a:gd name="T3" fmla="*/ 0 h 584"/>
                <a:gd name="T4" fmla="*/ 132 w 305"/>
                <a:gd name="T5" fmla="*/ 0 h 584"/>
                <a:gd name="T6" fmla="*/ 132 w 305"/>
                <a:gd name="T7" fmla="*/ 15 h 584"/>
                <a:gd name="T8" fmla="*/ 120 w 305"/>
                <a:gd name="T9" fmla="*/ 46 h 584"/>
                <a:gd name="T10" fmla="*/ 123 w 305"/>
                <a:gd name="T11" fmla="*/ 58 h 584"/>
                <a:gd name="T12" fmla="*/ 107 w 305"/>
                <a:gd name="T13" fmla="*/ 56 h 584"/>
                <a:gd name="T14" fmla="*/ 67 w 305"/>
                <a:gd name="T15" fmla="*/ 66 h 584"/>
                <a:gd name="T16" fmla="*/ 51 w 305"/>
                <a:gd name="T17" fmla="*/ 42 h 584"/>
                <a:gd name="T18" fmla="*/ 16 w 305"/>
                <a:gd name="T19" fmla="*/ 42 h 584"/>
                <a:gd name="T20" fmla="*/ 0 w 305"/>
                <a:gd name="T21" fmla="*/ 61 h 584"/>
                <a:gd name="T22" fmla="*/ 100 w 305"/>
                <a:gd name="T23" fmla="*/ 343 h 584"/>
                <a:gd name="T24" fmla="*/ 56 w 305"/>
                <a:gd name="T25" fmla="*/ 370 h 584"/>
                <a:gd name="T26" fmla="*/ 31 w 305"/>
                <a:gd name="T27" fmla="*/ 412 h 584"/>
                <a:gd name="T28" fmla="*/ 41 w 305"/>
                <a:gd name="T29" fmla="*/ 444 h 584"/>
                <a:gd name="T30" fmla="*/ 8 w 305"/>
                <a:gd name="T31" fmla="*/ 480 h 584"/>
                <a:gd name="T32" fmla="*/ 8 w 305"/>
                <a:gd name="T33" fmla="*/ 573 h 584"/>
                <a:gd name="T34" fmla="*/ 79 w 305"/>
                <a:gd name="T35" fmla="*/ 584 h 584"/>
                <a:gd name="T36" fmla="*/ 165 w 305"/>
                <a:gd name="T37" fmla="*/ 449 h 584"/>
                <a:gd name="T38" fmla="*/ 179 w 305"/>
                <a:gd name="T39" fmla="*/ 353 h 584"/>
                <a:gd name="T40" fmla="*/ 305 w 305"/>
                <a:gd name="T41" fmla="*/ 291 h 584"/>
                <a:gd name="T42" fmla="*/ 296 w 305"/>
                <a:gd name="T43" fmla="*/ 191 h 584"/>
                <a:gd name="T44" fmla="*/ 219 w 305"/>
                <a:gd name="T45" fmla="*/ 130 h 584"/>
                <a:gd name="T46" fmla="*/ 162 w 305"/>
                <a:gd name="T47" fmla="*/ 130 h 584"/>
                <a:gd name="T48" fmla="*/ 149 w 305"/>
                <a:gd name="T49" fmla="*/ 98 h 584"/>
                <a:gd name="T50" fmla="*/ 182 w 305"/>
                <a:gd name="T51" fmla="*/ 26 h 584"/>
                <a:gd name="T52" fmla="*/ 195 w 305"/>
                <a:gd name="T53" fmla="*/ 1 h 584"/>
                <a:gd name="T54" fmla="*/ 195 w 305"/>
                <a:gd name="T55" fmla="*/ 1 h 584"/>
                <a:gd name="T56" fmla="*/ 195 w 305"/>
                <a:gd name="T57" fmla="*/ 1 h 58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05"/>
                <a:gd name="T88" fmla="*/ 0 h 584"/>
                <a:gd name="T89" fmla="*/ 305 w 305"/>
                <a:gd name="T90" fmla="*/ 584 h 58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05" h="584">
                  <a:moveTo>
                    <a:pt x="195" y="1"/>
                  </a:moveTo>
                  <a:lnTo>
                    <a:pt x="162" y="0"/>
                  </a:lnTo>
                  <a:lnTo>
                    <a:pt x="132" y="0"/>
                  </a:lnTo>
                  <a:lnTo>
                    <a:pt x="132" y="15"/>
                  </a:lnTo>
                  <a:lnTo>
                    <a:pt x="120" y="46"/>
                  </a:lnTo>
                  <a:lnTo>
                    <a:pt x="123" y="58"/>
                  </a:lnTo>
                  <a:lnTo>
                    <a:pt x="107" y="56"/>
                  </a:lnTo>
                  <a:lnTo>
                    <a:pt x="67" y="66"/>
                  </a:lnTo>
                  <a:lnTo>
                    <a:pt x="51" y="42"/>
                  </a:lnTo>
                  <a:lnTo>
                    <a:pt x="16" y="42"/>
                  </a:lnTo>
                  <a:lnTo>
                    <a:pt x="0" y="61"/>
                  </a:lnTo>
                  <a:lnTo>
                    <a:pt x="100" y="343"/>
                  </a:lnTo>
                  <a:lnTo>
                    <a:pt x="56" y="370"/>
                  </a:lnTo>
                  <a:lnTo>
                    <a:pt x="31" y="412"/>
                  </a:lnTo>
                  <a:lnTo>
                    <a:pt x="41" y="444"/>
                  </a:lnTo>
                  <a:lnTo>
                    <a:pt x="8" y="480"/>
                  </a:lnTo>
                  <a:lnTo>
                    <a:pt x="8" y="573"/>
                  </a:lnTo>
                  <a:lnTo>
                    <a:pt x="79" y="584"/>
                  </a:lnTo>
                  <a:lnTo>
                    <a:pt x="165" y="449"/>
                  </a:lnTo>
                  <a:lnTo>
                    <a:pt x="179" y="353"/>
                  </a:lnTo>
                  <a:lnTo>
                    <a:pt x="305" y="291"/>
                  </a:lnTo>
                  <a:lnTo>
                    <a:pt x="296" y="191"/>
                  </a:lnTo>
                  <a:lnTo>
                    <a:pt x="219" y="130"/>
                  </a:lnTo>
                  <a:lnTo>
                    <a:pt x="162" y="130"/>
                  </a:lnTo>
                  <a:lnTo>
                    <a:pt x="149" y="98"/>
                  </a:lnTo>
                  <a:lnTo>
                    <a:pt x="182" y="26"/>
                  </a:lnTo>
                  <a:lnTo>
                    <a:pt x="195" y="1"/>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grpSp>
      <p:sp>
        <p:nvSpPr>
          <p:cNvPr id="32" name="Rectangle 3"/>
          <p:cNvSpPr>
            <a:spLocks noChangeArrowheads="1"/>
          </p:cNvSpPr>
          <p:nvPr/>
        </p:nvSpPr>
        <p:spPr bwMode="auto">
          <a:xfrm>
            <a:off x="5337545" y="1"/>
            <a:ext cx="2663456" cy="600164"/>
          </a:xfrm>
          <a:prstGeom prst="rect">
            <a:avLst/>
          </a:prstGeom>
          <a:solidFill>
            <a:schemeClr val="accent6"/>
          </a:solidFill>
          <a:ln w="6350" algn="ctr">
            <a:solidFill>
              <a:schemeClr val="bg1"/>
            </a:solidFill>
            <a:miter lim="800000"/>
            <a:headEnd/>
            <a:tailEnd/>
          </a:ln>
        </p:spPr>
        <p:txBody>
          <a:bodyPr wrap="square" tIns="68580" bIns="68580">
            <a:spAutoFit/>
          </a:bodyPr>
          <a:lstStyle/>
          <a:p>
            <a:pPr defTabSz="685800">
              <a:buClrTx/>
              <a:defRPr/>
            </a:pPr>
            <a:r>
              <a:rPr lang="en-US" altLang="ja-JP" sz="750" kern="1200" dirty="0">
                <a:solidFill>
                  <a:srgbClr val="313131"/>
                </a:solidFill>
                <a:ea typeface="ＭＳ Ｐゴシック" pitchFamily="50" charset="-128"/>
                <a:cs typeface="+mn-cs"/>
              </a:rPr>
              <a:t>Tip! Click once to select the entire map, and again to select one or more regions within it</a:t>
            </a:r>
            <a:br>
              <a:rPr lang="en-US" altLang="ja-JP" sz="750" kern="1200" dirty="0">
                <a:solidFill>
                  <a:srgbClr val="313131"/>
                </a:solidFill>
                <a:ea typeface="ＭＳ Ｐゴシック" pitchFamily="50" charset="-128"/>
                <a:cs typeface="+mn-cs"/>
              </a:rPr>
            </a:br>
            <a:r>
              <a:rPr lang="en-US" altLang="ja-JP" sz="750" kern="1200" dirty="0">
                <a:solidFill>
                  <a:srgbClr val="313131"/>
                </a:solidFill>
                <a:ea typeface="ＭＳ Ｐゴシック" pitchFamily="50" charset="-128"/>
                <a:cs typeface="+mn-cs"/>
              </a:rPr>
              <a:t>Country/regional maps are a representative sample – more will be added</a:t>
            </a:r>
            <a:endParaRPr lang="en-US" sz="750" kern="1200" dirty="0">
              <a:solidFill>
                <a:srgbClr val="313131"/>
              </a:solidFill>
              <a:ea typeface="ＭＳ Ｐゴシック" pitchFamily="50" charset="-128"/>
              <a:cs typeface="+mn-cs"/>
            </a:endParaRPr>
          </a:p>
        </p:txBody>
      </p:sp>
      <p:sp>
        <p:nvSpPr>
          <p:cNvPr id="34" name="Text Placeholder 3"/>
          <p:cNvSpPr txBox="1">
            <a:spLocks/>
          </p:cNvSpPr>
          <p:nvPr/>
        </p:nvSpPr>
        <p:spPr>
          <a:xfrm>
            <a:off x="5482835" y="1358100"/>
            <a:ext cx="2227437" cy="34020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5979" indent="-205979" defTabSz="685800">
              <a:spcBef>
                <a:spcPts val="900"/>
              </a:spcBef>
              <a:buClrTx/>
              <a:defRPr/>
            </a:pPr>
            <a:r>
              <a:rPr lang="en-GB" sz="1350" dirty="0">
                <a:solidFill>
                  <a:srgbClr val="313131"/>
                </a:solidFill>
                <a:latin typeface="Arial"/>
              </a:rPr>
              <a:t>This is a level one bullet this is dummy text</a:t>
            </a:r>
          </a:p>
          <a:p>
            <a:pPr marL="205979" indent="-205979" defTabSz="685800">
              <a:spcBef>
                <a:spcPts val="900"/>
              </a:spcBef>
              <a:buClrTx/>
              <a:defRPr/>
            </a:pPr>
            <a:r>
              <a:rPr lang="en-GB" sz="1350" dirty="0">
                <a:solidFill>
                  <a:srgbClr val="313131"/>
                </a:solidFill>
                <a:latin typeface="Arial"/>
              </a:rPr>
              <a:t>This is a level one bullet this is dummy text</a:t>
            </a:r>
          </a:p>
          <a:p>
            <a:pPr marL="205979" indent="-205979" defTabSz="685800">
              <a:spcBef>
                <a:spcPts val="900"/>
              </a:spcBef>
              <a:buClrTx/>
              <a:defRPr/>
            </a:pPr>
            <a:r>
              <a:rPr lang="en-GB" sz="1350" dirty="0">
                <a:solidFill>
                  <a:srgbClr val="313131"/>
                </a:solidFill>
                <a:latin typeface="Arial"/>
              </a:rPr>
              <a:t>This is a level one bullet this is dummy text</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205979" indent="-205979" defTabSz="685800">
              <a:spcBef>
                <a:spcPts val="900"/>
              </a:spcBef>
              <a:buClrTx/>
              <a:defRPr/>
            </a:pPr>
            <a:endParaRPr lang="en-GB" sz="1350" dirty="0">
              <a:solidFill>
                <a:srgbClr val="313131"/>
              </a:solidFill>
              <a:latin typeface="Arial"/>
            </a:endParaRPr>
          </a:p>
          <a:p>
            <a:pPr marL="205979" indent="-205979" defTabSz="685800">
              <a:spcBef>
                <a:spcPts val="900"/>
              </a:spcBef>
              <a:buClrTx/>
              <a:defRPr/>
            </a:pPr>
            <a:endParaRPr lang="en-GB" sz="1350" dirty="0">
              <a:solidFill>
                <a:srgbClr val="313131"/>
              </a:solidFill>
              <a:latin typeface="Arial"/>
            </a:endParaRPr>
          </a:p>
        </p:txBody>
      </p:sp>
      <p:sp>
        <p:nvSpPr>
          <p:cNvPr id="33" name="TextBox 32"/>
          <p:cNvSpPr txBox="1"/>
          <p:nvPr/>
        </p:nvSpPr>
        <p:spPr>
          <a:xfrm>
            <a:off x="5340096" y="733806"/>
            <a:ext cx="2663455" cy="1107996"/>
          </a:xfrm>
          <a:prstGeom prst="rect">
            <a:avLst/>
          </a:prstGeom>
          <a:solidFill>
            <a:srgbClr val="ED1B2F"/>
          </a:solidFill>
        </p:spPr>
        <p:txBody>
          <a:bodyPr wrap="square" lIns="68580" tIns="68580" rIns="68580" bIns="68580" rtlCol="0">
            <a:spAutoFit/>
          </a:bodyPr>
          <a:lstStyle/>
          <a:p>
            <a:pPr defTabSz="685800">
              <a:buClrTx/>
            </a:pPr>
            <a:r>
              <a:rPr lang="en-US" sz="1050" kern="1200" dirty="0">
                <a:solidFill>
                  <a:prstClr val="white"/>
                </a:solidFill>
                <a:ea typeface="+mn-ea"/>
                <a:cs typeface="+mn-cs"/>
              </a:rPr>
              <a:t>Maps are for directional purposes only and are not intended to be exact renditions of country borders. For specific information about country borders and maps, please contact the local member firm.</a:t>
            </a:r>
          </a:p>
        </p:txBody>
      </p:sp>
    </p:spTree>
  </p:cSld>
  <p:clrMapOvr>
    <a:masterClrMapping/>
  </p:clrMapOvr>
  <p:transition>
    <p:fade/>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1681" name="Title 1"/>
          <p:cNvSpPr>
            <a:spLocks noGrp="1"/>
          </p:cNvSpPr>
          <p:nvPr>
            <p:ph type="title"/>
          </p:nvPr>
        </p:nvSpPr>
        <p:spPr/>
        <p:txBody>
          <a:bodyPr/>
          <a:lstStyle/>
          <a:p>
            <a:r>
              <a:rPr lang="en-US" dirty="0">
                <a:solidFill>
                  <a:srgbClr val="81BC00"/>
                </a:solidFill>
              </a:rPr>
              <a:t>Maps </a:t>
            </a:r>
            <a:br>
              <a:rPr lang="en-US" dirty="0">
                <a:solidFill>
                  <a:srgbClr val="81BC00"/>
                </a:solidFill>
              </a:rPr>
            </a:br>
            <a:r>
              <a:rPr lang="en-US" dirty="0">
                <a:solidFill>
                  <a:srgbClr val="575757"/>
                </a:solidFill>
              </a:rPr>
              <a:t>France</a:t>
            </a:r>
          </a:p>
        </p:txBody>
      </p:sp>
      <p:grpSp>
        <p:nvGrpSpPr>
          <p:cNvPr id="2" name="Group 1"/>
          <p:cNvGrpSpPr/>
          <p:nvPr/>
        </p:nvGrpSpPr>
        <p:grpSpPr>
          <a:xfrm>
            <a:off x="1647281" y="1268731"/>
            <a:ext cx="2918939" cy="3169247"/>
            <a:chOff x="672375" y="1347309"/>
            <a:chExt cx="3891918" cy="4225663"/>
          </a:xfrm>
        </p:grpSpPr>
        <p:sp>
          <p:nvSpPr>
            <p:cNvPr id="6" name="Freeform 8"/>
            <p:cNvSpPr>
              <a:spLocks noChangeAspect="1"/>
            </p:cNvSpPr>
            <p:nvPr/>
          </p:nvSpPr>
          <p:spPr bwMode="gray">
            <a:xfrm>
              <a:off x="2548435" y="1418360"/>
              <a:ext cx="464269" cy="418827"/>
            </a:xfrm>
            <a:custGeom>
              <a:avLst/>
              <a:gdLst>
                <a:gd name="T0" fmla="*/ 176 w 537"/>
                <a:gd name="T1" fmla="*/ 0 h 447"/>
                <a:gd name="T2" fmla="*/ 11 w 537"/>
                <a:gd name="T3" fmla="*/ 44 h 447"/>
                <a:gd name="T4" fmla="*/ 0 w 537"/>
                <a:gd name="T5" fmla="*/ 301 h 447"/>
                <a:gd name="T6" fmla="*/ 133 w 537"/>
                <a:gd name="T7" fmla="*/ 310 h 447"/>
                <a:gd name="T8" fmla="*/ 189 w 537"/>
                <a:gd name="T9" fmla="*/ 373 h 447"/>
                <a:gd name="T10" fmla="*/ 299 w 537"/>
                <a:gd name="T11" fmla="*/ 373 h 447"/>
                <a:gd name="T12" fmla="*/ 299 w 537"/>
                <a:gd name="T13" fmla="*/ 418 h 447"/>
                <a:gd name="T14" fmla="*/ 387 w 537"/>
                <a:gd name="T15" fmla="*/ 418 h 447"/>
                <a:gd name="T16" fmla="*/ 387 w 537"/>
                <a:gd name="T17" fmla="*/ 447 h 447"/>
                <a:gd name="T18" fmla="*/ 508 w 537"/>
                <a:gd name="T19" fmla="*/ 447 h 447"/>
                <a:gd name="T20" fmla="*/ 537 w 537"/>
                <a:gd name="T21" fmla="*/ 379 h 447"/>
                <a:gd name="T22" fmla="*/ 501 w 537"/>
                <a:gd name="T23" fmla="*/ 350 h 447"/>
                <a:gd name="T24" fmla="*/ 504 w 537"/>
                <a:gd name="T25" fmla="*/ 274 h 447"/>
                <a:gd name="T26" fmla="*/ 451 w 537"/>
                <a:gd name="T27" fmla="*/ 251 h 447"/>
                <a:gd name="T28" fmla="*/ 419 w 537"/>
                <a:gd name="T29" fmla="*/ 195 h 447"/>
                <a:gd name="T30" fmla="*/ 375 w 537"/>
                <a:gd name="T31" fmla="*/ 190 h 447"/>
                <a:gd name="T32" fmla="*/ 246 w 537"/>
                <a:gd name="T33" fmla="*/ 158 h 447"/>
                <a:gd name="T34" fmla="*/ 271 w 537"/>
                <a:gd name="T35" fmla="*/ 101 h 447"/>
                <a:gd name="T36" fmla="*/ 203 w 537"/>
                <a:gd name="T37" fmla="*/ 84 h 447"/>
                <a:gd name="T38" fmla="*/ 176 w 537"/>
                <a:gd name="T39" fmla="*/ 0 h 447"/>
                <a:gd name="T40" fmla="*/ 176 w 537"/>
                <a:gd name="T41" fmla="*/ 0 h 44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37"/>
                <a:gd name="T64" fmla="*/ 0 h 447"/>
                <a:gd name="T65" fmla="*/ 537 w 537"/>
                <a:gd name="T66" fmla="*/ 447 h 44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37" h="447">
                  <a:moveTo>
                    <a:pt x="176" y="0"/>
                  </a:moveTo>
                  <a:lnTo>
                    <a:pt x="11" y="44"/>
                  </a:lnTo>
                  <a:lnTo>
                    <a:pt x="0" y="301"/>
                  </a:lnTo>
                  <a:lnTo>
                    <a:pt x="133" y="310"/>
                  </a:lnTo>
                  <a:lnTo>
                    <a:pt x="189" y="373"/>
                  </a:lnTo>
                  <a:lnTo>
                    <a:pt x="299" y="373"/>
                  </a:lnTo>
                  <a:lnTo>
                    <a:pt x="299" y="418"/>
                  </a:lnTo>
                  <a:lnTo>
                    <a:pt x="387" y="418"/>
                  </a:lnTo>
                  <a:lnTo>
                    <a:pt x="387" y="447"/>
                  </a:lnTo>
                  <a:lnTo>
                    <a:pt x="508" y="447"/>
                  </a:lnTo>
                  <a:lnTo>
                    <a:pt x="537" y="379"/>
                  </a:lnTo>
                  <a:lnTo>
                    <a:pt x="501" y="350"/>
                  </a:lnTo>
                  <a:lnTo>
                    <a:pt x="504" y="274"/>
                  </a:lnTo>
                  <a:lnTo>
                    <a:pt x="451" y="251"/>
                  </a:lnTo>
                  <a:lnTo>
                    <a:pt x="419" y="195"/>
                  </a:lnTo>
                  <a:lnTo>
                    <a:pt x="375" y="190"/>
                  </a:lnTo>
                  <a:lnTo>
                    <a:pt x="246" y="158"/>
                  </a:lnTo>
                  <a:lnTo>
                    <a:pt x="271" y="101"/>
                  </a:lnTo>
                  <a:lnTo>
                    <a:pt x="203" y="84"/>
                  </a:lnTo>
                  <a:lnTo>
                    <a:pt x="176"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7" name="Freeform 9"/>
            <p:cNvSpPr>
              <a:spLocks noChangeAspect="1"/>
            </p:cNvSpPr>
            <p:nvPr/>
          </p:nvSpPr>
          <p:spPr bwMode="gray">
            <a:xfrm>
              <a:off x="3658192" y="2493473"/>
              <a:ext cx="498787" cy="317860"/>
            </a:xfrm>
            <a:custGeom>
              <a:avLst/>
              <a:gdLst>
                <a:gd name="T0" fmla="*/ 539 w 580"/>
                <a:gd name="T1" fmla="*/ 0 h 340"/>
                <a:gd name="T2" fmla="*/ 539 w 580"/>
                <a:gd name="T3" fmla="*/ 55 h 340"/>
                <a:gd name="T4" fmla="*/ 580 w 580"/>
                <a:gd name="T5" fmla="*/ 91 h 340"/>
                <a:gd name="T6" fmla="*/ 528 w 580"/>
                <a:gd name="T7" fmla="*/ 165 h 340"/>
                <a:gd name="T8" fmla="*/ 524 w 580"/>
                <a:gd name="T9" fmla="*/ 170 h 340"/>
                <a:gd name="T10" fmla="*/ 475 w 580"/>
                <a:gd name="T11" fmla="*/ 340 h 340"/>
                <a:gd name="T12" fmla="*/ 396 w 580"/>
                <a:gd name="T13" fmla="*/ 292 h 340"/>
                <a:gd name="T14" fmla="*/ 342 w 580"/>
                <a:gd name="T15" fmla="*/ 287 h 340"/>
                <a:gd name="T16" fmla="*/ 247 w 580"/>
                <a:gd name="T17" fmla="*/ 287 h 340"/>
                <a:gd name="T18" fmla="*/ 228 w 580"/>
                <a:gd name="T19" fmla="*/ 260 h 340"/>
                <a:gd name="T20" fmla="*/ 121 w 580"/>
                <a:gd name="T21" fmla="*/ 296 h 340"/>
                <a:gd name="T22" fmla="*/ 114 w 580"/>
                <a:gd name="T23" fmla="*/ 243 h 340"/>
                <a:gd name="T24" fmla="*/ 72 w 580"/>
                <a:gd name="T25" fmla="*/ 222 h 340"/>
                <a:gd name="T26" fmla="*/ 76 w 580"/>
                <a:gd name="T27" fmla="*/ 155 h 340"/>
                <a:gd name="T28" fmla="*/ 30 w 580"/>
                <a:gd name="T29" fmla="*/ 114 h 340"/>
                <a:gd name="T30" fmla="*/ 4 w 580"/>
                <a:gd name="T31" fmla="*/ 114 h 340"/>
                <a:gd name="T32" fmla="*/ 0 w 580"/>
                <a:gd name="T33" fmla="*/ 76 h 340"/>
                <a:gd name="T34" fmla="*/ 142 w 580"/>
                <a:gd name="T35" fmla="*/ 18 h 340"/>
                <a:gd name="T36" fmla="*/ 180 w 580"/>
                <a:gd name="T37" fmla="*/ 112 h 340"/>
                <a:gd name="T38" fmla="*/ 440 w 580"/>
                <a:gd name="T39" fmla="*/ 55 h 340"/>
                <a:gd name="T40" fmla="*/ 539 w 580"/>
                <a:gd name="T41" fmla="*/ 0 h 340"/>
                <a:gd name="T42" fmla="*/ 539 w 580"/>
                <a:gd name="T43" fmla="*/ 0 h 3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80"/>
                <a:gd name="T67" fmla="*/ 0 h 340"/>
                <a:gd name="T68" fmla="*/ 580 w 580"/>
                <a:gd name="T69" fmla="*/ 340 h 3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80" h="340">
                  <a:moveTo>
                    <a:pt x="539" y="0"/>
                  </a:moveTo>
                  <a:lnTo>
                    <a:pt x="539" y="55"/>
                  </a:lnTo>
                  <a:lnTo>
                    <a:pt x="580" y="91"/>
                  </a:lnTo>
                  <a:lnTo>
                    <a:pt x="528" y="165"/>
                  </a:lnTo>
                  <a:lnTo>
                    <a:pt x="524" y="170"/>
                  </a:lnTo>
                  <a:lnTo>
                    <a:pt x="475" y="340"/>
                  </a:lnTo>
                  <a:lnTo>
                    <a:pt x="396" y="292"/>
                  </a:lnTo>
                  <a:lnTo>
                    <a:pt x="342" y="287"/>
                  </a:lnTo>
                  <a:lnTo>
                    <a:pt x="247" y="287"/>
                  </a:lnTo>
                  <a:lnTo>
                    <a:pt x="228" y="260"/>
                  </a:lnTo>
                  <a:lnTo>
                    <a:pt x="121" y="296"/>
                  </a:lnTo>
                  <a:lnTo>
                    <a:pt x="114" y="243"/>
                  </a:lnTo>
                  <a:lnTo>
                    <a:pt x="72" y="222"/>
                  </a:lnTo>
                  <a:lnTo>
                    <a:pt x="76" y="155"/>
                  </a:lnTo>
                  <a:lnTo>
                    <a:pt x="30" y="114"/>
                  </a:lnTo>
                  <a:lnTo>
                    <a:pt x="4" y="114"/>
                  </a:lnTo>
                  <a:lnTo>
                    <a:pt x="0" y="76"/>
                  </a:lnTo>
                  <a:lnTo>
                    <a:pt x="142" y="18"/>
                  </a:lnTo>
                  <a:lnTo>
                    <a:pt x="180" y="112"/>
                  </a:lnTo>
                  <a:lnTo>
                    <a:pt x="440" y="55"/>
                  </a:lnTo>
                  <a:lnTo>
                    <a:pt x="539"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8" name="Freeform 10"/>
            <p:cNvSpPr>
              <a:spLocks noChangeAspect="1"/>
            </p:cNvSpPr>
            <p:nvPr/>
          </p:nvSpPr>
          <p:spPr bwMode="gray">
            <a:xfrm>
              <a:off x="2500109" y="1698824"/>
              <a:ext cx="498787" cy="349646"/>
            </a:xfrm>
            <a:custGeom>
              <a:avLst/>
              <a:gdLst>
                <a:gd name="T0" fmla="*/ 57 w 579"/>
                <a:gd name="T1" fmla="*/ 0 h 373"/>
                <a:gd name="T2" fmla="*/ 57 w 579"/>
                <a:gd name="T3" fmla="*/ 40 h 373"/>
                <a:gd name="T4" fmla="*/ 120 w 579"/>
                <a:gd name="T5" fmla="*/ 108 h 373"/>
                <a:gd name="T6" fmla="*/ 38 w 579"/>
                <a:gd name="T7" fmla="*/ 78 h 373"/>
                <a:gd name="T8" fmla="*/ 0 w 579"/>
                <a:gd name="T9" fmla="*/ 160 h 373"/>
                <a:gd name="T10" fmla="*/ 44 w 579"/>
                <a:gd name="T11" fmla="*/ 160 h 373"/>
                <a:gd name="T12" fmla="*/ 117 w 579"/>
                <a:gd name="T13" fmla="*/ 236 h 373"/>
                <a:gd name="T14" fmla="*/ 125 w 579"/>
                <a:gd name="T15" fmla="*/ 306 h 373"/>
                <a:gd name="T16" fmla="*/ 189 w 579"/>
                <a:gd name="T17" fmla="*/ 336 h 373"/>
                <a:gd name="T18" fmla="*/ 313 w 579"/>
                <a:gd name="T19" fmla="*/ 336 h 373"/>
                <a:gd name="T20" fmla="*/ 401 w 579"/>
                <a:gd name="T21" fmla="*/ 373 h 373"/>
                <a:gd name="T22" fmla="*/ 485 w 579"/>
                <a:gd name="T23" fmla="*/ 325 h 373"/>
                <a:gd name="T24" fmla="*/ 565 w 579"/>
                <a:gd name="T25" fmla="*/ 333 h 373"/>
                <a:gd name="T26" fmla="*/ 550 w 579"/>
                <a:gd name="T27" fmla="*/ 249 h 373"/>
                <a:gd name="T28" fmla="*/ 579 w 579"/>
                <a:gd name="T29" fmla="*/ 146 h 373"/>
                <a:gd name="T30" fmla="*/ 444 w 579"/>
                <a:gd name="T31" fmla="*/ 146 h 373"/>
                <a:gd name="T32" fmla="*/ 444 w 579"/>
                <a:gd name="T33" fmla="*/ 117 h 373"/>
                <a:gd name="T34" fmla="*/ 357 w 579"/>
                <a:gd name="T35" fmla="*/ 117 h 373"/>
                <a:gd name="T36" fmla="*/ 357 w 579"/>
                <a:gd name="T37" fmla="*/ 73 h 373"/>
                <a:gd name="T38" fmla="*/ 246 w 579"/>
                <a:gd name="T39" fmla="*/ 73 h 373"/>
                <a:gd name="T40" fmla="*/ 189 w 579"/>
                <a:gd name="T41" fmla="*/ 9 h 373"/>
                <a:gd name="T42" fmla="*/ 57 w 579"/>
                <a:gd name="T43" fmla="*/ 0 h 373"/>
                <a:gd name="T44" fmla="*/ 57 w 579"/>
                <a:gd name="T45" fmla="*/ 0 h 37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79"/>
                <a:gd name="T70" fmla="*/ 0 h 373"/>
                <a:gd name="T71" fmla="*/ 579 w 579"/>
                <a:gd name="T72" fmla="*/ 373 h 37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79" h="373">
                  <a:moveTo>
                    <a:pt x="57" y="0"/>
                  </a:moveTo>
                  <a:lnTo>
                    <a:pt x="57" y="40"/>
                  </a:lnTo>
                  <a:lnTo>
                    <a:pt x="120" y="108"/>
                  </a:lnTo>
                  <a:lnTo>
                    <a:pt x="38" y="78"/>
                  </a:lnTo>
                  <a:lnTo>
                    <a:pt x="0" y="160"/>
                  </a:lnTo>
                  <a:lnTo>
                    <a:pt x="44" y="160"/>
                  </a:lnTo>
                  <a:lnTo>
                    <a:pt x="117" y="236"/>
                  </a:lnTo>
                  <a:lnTo>
                    <a:pt x="125" y="306"/>
                  </a:lnTo>
                  <a:lnTo>
                    <a:pt x="189" y="336"/>
                  </a:lnTo>
                  <a:lnTo>
                    <a:pt x="313" y="336"/>
                  </a:lnTo>
                  <a:lnTo>
                    <a:pt x="401" y="373"/>
                  </a:lnTo>
                  <a:lnTo>
                    <a:pt x="485" y="325"/>
                  </a:lnTo>
                  <a:lnTo>
                    <a:pt x="565" y="333"/>
                  </a:lnTo>
                  <a:lnTo>
                    <a:pt x="550" y="249"/>
                  </a:lnTo>
                  <a:lnTo>
                    <a:pt x="579" y="146"/>
                  </a:lnTo>
                  <a:lnTo>
                    <a:pt x="444" y="146"/>
                  </a:lnTo>
                  <a:lnTo>
                    <a:pt x="444" y="117"/>
                  </a:lnTo>
                  <a:lnTo>
                    <a:pt x="357" y="117"/>
                  </a:lnTo>
                  <a:lnTo>
                    <a:pt x="357" y="73"/>
                  </a:lnTo>
                  <a:lnTo>
                    <a:pt x="246" y="73"/>
                  </a:lnTo>
                  <a:lnTo>
                    <a:pt x="189" y="9"/>
                  </a:lnTo>
                  <a:lnTo>
                    <a:pt x="57"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9" name="Freeform 11"/>
            <p:cNvSpPr>
              <a:spLocks noChangeAspect="1"/>
            </p:cNvSpPr>
            <p:nvPr/>
          </p:nvSpPr>
          <p:spPr bwMode="gray">
            <a:xfrm>
              <a:off x="2957475" y="1811010"/>
              <a:ext cx="331374" cy="575887"/>
            </a:xfrm>
            <a:custGeom>
              <a:avLst/>
              <a:gdLst>
                <a:gd name="T0" fmla="*/ 50 w 386"/>
                <a:gd name="T1" fmla="*/ 26 h 616"/>
                <a:gd name="T2" fmla="*/ 21 w 386"/>
                <a:gd name="T3" fmla="*/ 129 h 616"/>
                <a:gd name="T4" fmla="*/ 36 w 386"/>
                <a:gd name="T5" fmla="*/ 214 h 616"/>
                <a:gd name="T6" fmla="*/ 46 w 386"/>
                <a:gd name="T7" fmla="*/ 317 h 616"/>
                <a:gd name="T8" fmla="*/ 0 w 386"/>
                <a:gd name="T9" fmla="*/ 391 h 616"/>
                <a:gd name="T10" fmla="*/ 14 w 386"/>
                <a:gd name="T11" fmla="*/ 427 h 616"/>
                <a:gd name="T12" fmla="*/ 8 w 386"/>
                <a:gd name="T13" fmla="*/ 456 h 616"/>
                <a:gd name="T14" fmla="*/ 74 w 386"/>
                <a:gd name="T15" fmla="*/ 564 h 616"/>
                <a:gd name="T16" fmla="*/ 166 w 386"/>
                <a:gd name="T17" fmla="*/ 616 h 616"/>
                <a:gd name="T18" fmla="*/ 232 w 386"/>
                <a:gd name="T19" fmla="*/ 535 h 616"/>
                <a:gd name="T20" fmla="*/ 187 w 386"/>
                <a:gd name="T21" fmla="*/ 508 h 616"/>
                <a:gd name="T22" fmla="*/ 252 w 386"/>
                <a:gd name="T23" fmla="*/ 470 h 616"/>
                <a:gd name="T24" fmla="*/ 214 w 386"/>
                <a:gd name="T25" fmla="*/ 399 h 616"/>
                <a:gd name="T26" fmla="*/ 290 w 386"/>
                <a:gd name="T27" fmla="*/ 350 h 616"/>
                <a:gd name="T28" fmla="*/ 339 w 386"/>
                <a:gd name="T29" fmla="*/ 336 h 616"/>
                <a:gd name="T30" fmla="*/ 339 w 386"/>
                <a:gd name="T31" fmla="*/ 230 h 616"/>
                <a:gd name="T32" fmla="*/ 386 w 386"/>
                <a:gd name="T33" fmla="*/ 157 h 616"/>
                <a:gd name="T34" fmla="*/ 386 w 386"/>
                <a:gd name="T35" fmla="*/ 41 h 616"/>
                <a:gd name="T36" fmla="*/ 226 w 386"/>
                <a:gd name="T37" fmla="*/ 0 h 616"/>
                <a:gd name="T38" fmla="*/ 192 w 386"/>
                <a:gd name="T39" fmla="*/ 26 h 616"/>
                <a:gd name="T40" fmla="*/ 50 w 386"/>
                <a:gd name="T41" fmla="*/ 26 h 616"/>
                <a:gd name="T42" fmla="*/ 50 w 386"/>
                <a:gd name="T43" fmla="*/ 26 h 61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86"/>
                <a:gd name="T67" fmla="*/ 0 h 616"/>
                <a:gd name="T68" fmla="*/ 386 w 386"/>
                <a:gd name="T69" fmla="*/ 616 h 61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86" h="616">
                  <a:moveTo>
                    <a:pt x="50" y="26"/>
                  </a:moveTo>
                  <a:lnTo>
                    <a:pt x="21" y="129"/>
                  </a:lnTo>
                  <a:lnTo>
                    <a:pt x="36" y="214"/>
                  </a:lnTo>
                  <a:lnTo>
                    <a:pt x="46" y="317"/>
                  </a:lnTo>
                  <a:lnTo>
                    <a:pt x="0" y="391"/>
                  </a:lnTo>
                  <a:lnTo>
                    <a:pt x="14" y="427"/>
                  </a:lnTo>
                  <a:lnTo>
                    <a:pt x="8" y="456"/>
                  </a:lnTo>
                  <a:lnTo>
                    <a:pt x="74" y="564"/>
                  </a:lnTo>
                  <a:lnTo>
                    <a:pt x="166" y="616"/>
                  </a:lnTo>
                  <a:lnTo>
                    <a:pt x="232" y="535"/>
                  </a:lnTo>
                  <a:lnTo>
                    <a:pt x="187" y="508"/>
                  </a:lnTo>
                  <a:lnTo>
                    <a:pt x="252" y="470"/>
                  </a:lnTo>
                  <a:lnTo>
                    <a:pt x="214" y="399"/>
                  </a:lnTo>
                  <a:lnTo>
                    <a:pt x="290" y="350"/>
                  </a:lnTo>
                  <a:lnTo>
                    <a:pt x="339" y="336"/>
                  </a:lnTo>
                  <a:lnTo>
                    <a:pt x="339" y="230"/>
                  </a:lnTo>
                  <a:lnTo>
                    <a:pt x="386" y="157"/>
                  </a:lnTo>
                  <a:lnTo>
                    <a:pt x="386" y="41"/>
                  </a:lnTo>
                  <a:lnTo>
                    <a:pt x="226" y="0"/>
                  </a:lnTo>
                  <a:lnTo>
                    <a:pt x="192" y="26"/>
                  </a:lnTo>
                  <a:lnTo>
                    <a:pt x="50" y="26"/>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1" name="Freeform 12"/>
            <p:cNvSpPr>
              <a:spLocks noChangeAspect="1"/>
            </p:cNvSpPr>
            <p:nvPr/>
          </p:nvSpPr>
          <p:spPr bwMode="gray">
            <a:xfrm>
              <a:off x="2153202" y="1848405"/>
              <a:ext cx="472898" cy="368343"/>
            </a:xfrm>
            <a:custGeom>
              <a:avLst/>
              <a:gdLst>
                <a:gd name="T0" fmla="*/ 405 w 549"/>
                <a:gd name="T1" fmla="*/ 0 h 393"/>
                <a:gd name="T2" fmla="*/ 29 w 549"/>
                <a:gd name="T3" fmla="*/ 147 h 393"/>
                <a:gd name="T4" fmla="*/ 0 w 549"/>
                <a:gd name="T5" fmla="*/ 243 h 393"/>
                <a:gd name="T6" fmla="*/ 112 w 549"/>
                <a:gd name="T7" fmla="*/ 298 h 393"/>
                <a:gd name="T8" fmla="*/ 223 w 549"/>
                <a:gd name="T9" fmla="*/ 302 h 393"/>
                <a:gd name="T10" fmla="*/ 266 w 549"/>
                <a:gd name="T11" fmla="*/ 328 h 393"/>
                <a:gd name="T12" fmla="*/ 249 w 549"/>
                <a:gd name="T13" fmla="*/ 363 h 393"/>
                <a:gd name="T14" fmla="*/ 285 w 549"/>
                <a:gd name="T15" fmla="*/ 393 h 393"/>
                <a:gd name="T16" fmla="*/ 410 w 549"/>
                <a:gd name="T17" fmla="*/ 294 h 393"/>
                <a:gd name="T18" fmla="*/ 522 w 549"/>
                <a:gd name="T19" fmla="*/ 317 h 393"/>
                <a:gd name="T20" fmla="*/ 549 w 549"/>
                <a:gd name="T21" fmla="*/ 277 h 393"/>
                <a:gd name="T22" fmla="*/ 510 w 549"/>
                <a:gd name="T23" fmla="*/ 211 h 393"/>
                <a:gd name="T24" fmla="*/ 528 w 549"/>
                <a:gd name="T25" fmla="*/ 146 h 393"/>
                <a:gd name="T26" fmla="*/ 520 w 549"/>
                <a:gd name="T27" fmla="*/ 77 h 393"/>
                <a:gd name="T28" fmla="*/ 451 w 549"/>
                <a:gd name="T29" fmla="*/ 0 h 393"/>
                <a:gd name="T30" fmla="*/ 405 w 549"/>
                <a:gd name="T31" fmla="*/ 0 h 393"/>
                <a:gd name="T32" fmla="*/ 405 w 549"/>
                <a:gd name="T33" fmla="*/ 0 h 39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49"/>
                <a:gd name="T52" fmla="*/ 0 h 393"/>
                <a:gd name="T53" fmla="*/ 549 w 549"/>
                <a:gd name="T54" fmla="*/ 393 h 39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49" h="393">
                  <a:moveTo>
                    <a:pt x="405" y="0"/>
                  </a:moveTo>
                  <a:lnTo>
                    <a:pt x="29" y="147"/>
                  </a:lnTo>
                  <a:lnTo>
                    <a:pt x="0" y="243"/>
                  </a:lnTo>
                  <a:lnTo>
                    <a:pt x="112" y="298"/>
                  </a:lnTo>
                  <a:lnTo>
                    <a:pt x="223" y="302"/>
                  </a:lnTo>
                  <a:lnTo>
                    <a:pt x="266" y="328"/>
                  </a:lnTo>
                  <a:lnTo>
                    <a:pt x="249" y="363"/>
                  </a:lnTo>
                  <a:lnTo>
                    <a:pt x="285" y="393"/>
                  </a:lnTo>
                  <a:lnTo>
                    <a:pt x="410" y="294"/>
                  </a:lnTo>
                  <a:lnTo>
                    <a:pt x="522" y="317"/>
                  </a:lnTo>
                  <a:lnTo>
                    <a:pt x="549" y="277"/>
                  </a:lnTo>
                  <a:lnTo>
                    <a:pt x="510" y="211"/>
                  </a:lnTo>
                  <a:lnTo>
                    <a:pt x="528" y="146"/>
                  </a:lnTo>
                  <a:lnTo>
                    <a:pt x="520" y="77"/>
                  </a:lnTo>
                  <a:lnTo>
                    <a:pt x="451" y="0"/>
                  </a:lnTo>
                  <a:lnTo>
                    <a:pt x="405"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2" name="Freeform 13"/>
            <p:cNvSpPr>
              <a:spLocks noChangeAspect="1"/>
            </p:cNvSpPr>
            <p:nvPr/>
          </p:nvSpPr>
          <p:spPr bwMode="gray">
            <a:xfrm>
              <a:off x="3076562" y="2123260"/>
              <a:ext cx="460817" cy="411348"/>
            </a:xfrm>
            <a:custGeom>
              <a:avLst/>
              <a:gdLst>
                <a:gd name="T0" fmla="*/ 201 w 535"/>
                <a:gd name="T1" fmla="*/ 0 h 440"/>
                <a:gd name="T2" fmla="*/ 158 w 535"/>
                <a:gd name="T3" fmla="*/ 16 h 440"/>
                <a:gd name="T4" fmla="*/ 76 w 535"/>
                <a:gd name="T5" fmla="*/ 65 h 440"/>
                <a:gd name="T6" fmla="*/ 117 w 535"/>
                <a:gd name="T7" fmla="*/ 136 h 440"/>
                <a:gd name="T8" fmla="*/ 49 w 535"/>
                <a:gd name="T9" fmla="*/ 174 h 440"/>
                <a:gd name="T10" fmla="*/ 96 w 535"/>
                <a:gd name="T11" fmla="*/ 201 h 440"/>
                <a:gd name="T12" fmla="*/ 28 w 535"/>
                <a:gd name="T13" fmla="*/ 282 h 440"/>
                <a:gd name="T14" fmla="*/ 34 w 535"/>
                <a:gd name="T15" fmla="*/ 299 h 440"/>
                <a:gd name="T16" fmla="*/ 0 w 535"/>
                <a:gd name="T17" fmla="*/ 320 h 440"/>
                <a:gd name="T18" fmla="*/ 38 w 535"/>
                <a:gd name="T19" fmla="*/ 409 h 440"/>
                <a:gd name="T20" fmla="*/ 98 w 535"/>
                <a:gd name="T21" fmla="*/ 440 h 440"/>
                <a:gd name="T22" fmla="*/ 158 w 535"/>
                <a:gd name="T23" fmla="*/ 440 h 440"/>
                <a:gd name="T24" fmla="*/ 216 w 535"/>
                <a:gd name="T25" fmla="*/ 358 h 440"/>
                <a:gd name="T26" fmla="*/ 303 w 535"/>
                <a:gd name="T27" fmla="*/ 358 h 440"/>
                <a:gd name="T28" fmla="*/ 332 w 535"/>
                <a:gd name="T29" fmla="*/ 413 h 440"/>
                <a:gd name="T30" fmla="*/ 421 w 535"/>
                <a:gd name="T31" fmla="*/ 432 h 440"/>
                <a:gd name="T32" fmla="*/ 468 w 535"/>
                <a:gd name="T33" fmla="*/ 418 h 440"/>
                <a:gd name="T34" fmla="*/ 467 w 535"/>
                <a:gd name="T35" fmla="*/ 364 h 440"/>
                <a:gd name="T36" fmla="*/ 535 w 535"/>
                <a:gd name="T37" fmla="*/ 344 h 440"/>
                <a:gd name="T38" fmla="*/ 493 w 535"/>
                <a:gd name="T39" fmla="*/ 271 h 440"/>
                <a:gd name="T40" fmla="*/ 528 w 535"/>
                <a:gd name="T41" fmla="*/ 174 h 440"/>
                <a:gd name="T42" fmla="*/ 512 w 535"/>
                <a:gd name="T43" fmla="*/ 174 h 440"/>
                <a:gd name="T44" fmla="*/ 512 w 535"/>
                <a:gd name="T45" fmla="*/ 72 h 440"/>
                <a:gd name="T46" fmla="*/ 397 w 535"/>
                <a:gd name="T47" fmla="*/ 74 h 440"/>
                <a:gd name="T48" fmla="*/ 201 w 535"/>
                <a:gd name="T49" fmla="*/ 0 h 440"/>
                <a:gd name="T50" fmla="*/ 201 w 535"/>
                <a:gd name="T51" fmla="*/ 0 h 44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35"/>
                <a:gd name="T79" fmla="*/ 0 h 440"/>
                <a:gd name="T80" fmla="*/ 535 w 535"/>
                <a:gd name="T81" fmla="*/ 440 h 44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35" h="440">
                  <a:moveTo>
                    <a:pt x="201" y="0"/>
                  </a:moveTo>
                  <a:lnTo>
                    <a:pt x="158" y="16"/>
                  </a:lnTo>
                  <a:lnTo>
                    <a:pt x="76" y="65"/>
                  </a:lnTo>
                  <a:lnTo>
                    <a:pt x="117" y="136"/>
                  </a:lnTo>
                  <a:lnTo>
                    <a:pt x="49" y="174"/>
                  </a:lnTo>
                  <a:lnTo>
                    <a:pt x="96" y="201"/>
                  </a:lnTo>
                  <a:lnTo>
                    <a:pt x="28" y="282"/>
                  </a:lnTo>
                  <a:lnTo>
                    <a:pt x="34" y="299"/>
                  </a:lnTo>
                  <a:lnTo>
                    <a:pt x="0" y="320"/>
                  </a:lnTo>
                  <a:lnTo>
                    <a:pt x="38" y="409"/>
                  </a:lnTo>
                  <a:lnTo>
                    <a:pt x="98" y="440"/>
                  </a:lnTo>
                  <a:lnTo>
                    <a:pt x="158" y="440"/>
                  </a:lnTo>
                  <a:lnTo>
                    <a:pt x="216" y="358"/>
                  </a:lnTo>
                  <a:lnTo>
                    <a:pt x="303" y="358"/>
                  </a:lnTo>
                  <a:lnTo>
                    <a:pt x="332" y="413"/>
                  </a:lnTo>
                  <a:lnTo>
                    <a:pt x="421" y="432"/>
                  </a:lnTo>
                  <a:lnTo>
                    <a:pt x="468" y="418"/>
                  </a:lnTo>
                  <a:lnTo>
                    <a:pt x="467" y="364"/>
                  </a:lnTo>
                  <a:lnTo>
                    <a:pt x="535" y="344"/>
                  </a:lnTo>
                  <a:lnTo>
                    <a:pt x="493" y="271"/>
                  </a:lnTo>
                  <a:lnTo>
                    <a:pt x="528" y="174"/>
                  </a:lnTo>
                  <a:lnTo>
                    <a:pt x="512" y="174"/>
                  </a:lnTo>
                  <a:lnTo>
                    <a:pt x="512" y="72"/>
                  </a:lnTo>
                  <a:lnTo>
                    <a:pt x="397" y="74"/>
                  </a:lnTo>
                  <a:lnTo>
                    <a:pt x="201"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3" name="Freeform 14"/>
            <p:cNvSpPr>
              <a:spLocks noChangeAspect="1"/>
            </p:cNvSpPr>
            <p:nvPr/>
          </p:nvSpPr>
          <p:spPr bwMode="gray">
            <a:xfrm>
              <a:off x="3501135" y="2039121"/>
              <a:ext cx="260612" cy="525403"/>
            </a:xfrm>
            <a:custGeom>
              <a:avLst/>
              <a:gdLst>
                <a:gd name="T0" fmla="*/ 56 w 302"/>
                <a:gd name="T1" fmla="*/ 0 h 563"/>
                <a:gd name="T2" fmla="*/ 19 w 302"/>
                <a:gd name="T3" fmla="*/ 165 h 563"/>
                <a:gd name="T4" fmla="*/ 19 w 302"/>
                <a:gd name="T5" fmla="*/ 266 h 563"/>
                <a:gd name="T6" fmla="*/ 33 w 302"/>
                <a:gd name="T7" fmla="*/ 266 h 563"/>
                <a:gd name="T8" fmla="*/ 0 w 302"/>
                <a:gd name="T9" fmla="*/ 365 h 563"/>
                <a:gd name="T10" fmla="*/ 40 w 302"/>
                <a:gd name="T11" fmla="*/ 437 h 563"/>
                <a:gd name="T12" fmla="*/ 40 w 302"/>
                <a:gd name="T13" fmla="*/ 470 h 563"/>
                <a:gd name="T14" fmla="*/ 149 w 302"/>
                <a:gd name="T15" fmla="*/ 513 h 563"/>
                <a:gd name="T16" fmla="*/ 185 w 302"/>
                <a:gd name="T17" fmla="*/ 563 h 563"/>
                <a:gd name="T18" fmla="*/ 281 w 302"/>
                <a:gd name="T19" fmla="*/ 523 h 563"/>
                <a:gd name="T20" fmla="*/ 276 w 302"/>
                <a:gd name="T21" fmla="*/ 373 h 563"/>
                <a:gd name="T22" fmla="*/ 302 w 302"/>
                <a:gd name="T23" fmla="*/ 254 h 563"/>
                <a:gd name="T24" fmla="*/ 263 w 302"/>
                <a:gd name="T25" fmla="*/ 222 h 563"/>
                <a:gd name="T26" fmla="*/ 243 w 302"/>
                <a:gd name="T27" fmla="*/ 167 h 563"/>
                <a:gd name="T28" fmla="*/ 264 w 302"/>
                <a:gd name="T29" fmla="*/ 129 h 563"/>
                <a:gd name="T30" fmla="*/ 220 w 302"/>
                <a:gd name="T31" fmla="*/ 70 h 563"/>
                <a:gd name="T32" fmla="*/ 105 w 302"/>
                <a:gd name="T33" fmla="*/ 13 h 563"/>
                <a:gd name="T34" fmla="*/ 56 w 302"/>
                <a:gd name="T35" fmla="*/ 0 h 563"/>
                <a:gd name="T36" fmla="*/ 56 w 302"/>
                <a:gd name="T37" fmla="*/ 0 h 56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2"/>
                <a:gd name="T58" fmla="*/ 0 h 563"/>
                <a:gd name="T59" fmla="*/ 302 w 302"/>
                <a:gd name="T60" fmla="*/ 563 h 56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2" h="563">
                  <a:moveTo>
                    <a:pt x="56" y="0"/>
                  </a:moveTo>
                  <a:lnTo>
                    <a:pt x="19" y="165"/>
                  </a:lnTo>
                  <a:lnTo>
                    <a:pt x="19" y="266"/>
                  </a:lnTo>
                  <a:lnTo>
                    <a:pt x="33" y="266"/>
                  </a:lnTo>
                  <a:lnTo>
                    <a:pt x="0" y="365"/>
                  </a:lnTo>
                  <a:lnTo>
                    <a:pt x="40" y="437"/>
                  </a:lnTo>
                  <a:lnTo>
                    <a:pt x="40" y="470"/>
                  </a:lnTo>
                  <a:lnTo>
                    <a:pt x="149" y="513"/>
                  </a:lnTo>
                  <a:lnTo>
                    <a:pt x="185" y="563"/>
                  </a:lnTo>
                  <a:lnTo>
                    <a:pt x="281" y="523"/>
                  </a:lnTo>
                  <a:lnTo>
                    <a:pt x="276" y="373"/>
                  </a:lnTo>
                  <a:lnTo>
                    <a:pt x="302" y="254"/>
                  </a:lnTo>
                  <a:lnTo>
                    <a:pt x="263" y="222"/>
                  </a:lnTo>
                  <a:lnTo>
                    <a:pt x="243" y="167"/>
                  </a:lnTo>
                  <a:lnTo>
                    <a:pt x="264" y="129"/>
                  </a:lnTo>
                  <a:lnTo>
                    <a:pt x="220" y="70"/>
                  </a:lnTo>
                  <a:lnTo>
                    <a:pt x="105" y="13"/>
                  </a:lnTo>
                  <a:lnTo>
                    <a:pt x="56"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4" name="Freeform 15"/>
            <p:cNvSpPr>
              <a:spLocks noChangeAspect="1"/>
            </p:cNvSpPr>
            <p:nvPr/>
          </p:nvSpPr>
          <p:spPr bwMode="gray">
            <a:xfrm>
              <a:off x="2593308" y="1986768"/>
              <a:ext cx="403862" cy="308511"/>
            </a:xfrm>
            <a:custGeom>
              <a:avLst/>
              <a:gdLst>
                <a:gd name="T0" fmla="*/ 15 w 469"/>
                <a:gd name="T1" fmla="*/ 0 h 331"/>
                <a:gd name="T2" fmla="*/ 0 w 469"/>
                <a:gd name="T3" fmla="*/ 67 h 331"/>
                <a:gd name="T4" fmla="*/ 39 w 469"/>
                <a:gd name="T5" fmla="*/ 131 h 331"/>
                <a:gd name="T6" fmla="*/ 13 w 469"/>
                <a:gd name="T7" fmla="*/ 171 h 331"/>
                <a:gd name="T8" fmla="*/ 36 w 469"/>
                <a:gd name="T9" fmla="*/ 213 h 331"/>
                <a:gd name="T10" fmla="*/ 21 w 469"/>
                <a:gd name="T11" fmla="*/ 258 h 331"/>
                <a:gd name="T12" fmla="*/ 44 w 469"/>
                <a:gd name="T13" fmla="*/ 278 h 331"/>
                <a:gd name="T14" fmla="*/ 174 w 469"/>
                <a:gd name="T15" fmla="*/ 270 h 331"/>
                <a:gd name="T16" fmla="*/ 291 w 469"/>
                <a:gd name="T17" fmla="*/ 325 h 331"/>
                <a:gd name="T18" fmla="*/ 350 w 469"/>
                <a:gd name="T19" fmla="*/ 331 h 331"/>
                <a:gd name="T20" fmla="*/ 452 w 469"/>
                <a:gd name="T21" fmla="*/ 308 h 331"/>
                <a:gd name="T22" fmla="*/ 430 w 469"/>
                <a:gd name="T23" fmla="*/ 270 h 331"/>
                <a:gd name="T24" fmla="*/ 437 w 469"/>
                <a:gd name="T25" fmla="*/ 241 h 331"/>
                <a:gd name="T26" fmla="*/ 422 w 469"/>
                <a:gd name="T27" fmla="*/ 205 h 331"/>
                <a:gd name="T28" fmla="*/ 469 w 469"/>
                <a:gd name="T29" fmla="*/ 131 h 331"/>
                <a:gd name="T30" fmla="*/ 460 w 469"/>
                <a:gd name="T31" fmla="*/ 27 h 331"/>
                <a:gd name="T32" fmla="*/ 378 w 469"/>
                <a:gd name="T33" fmla="*/ 19 h 331"/>
                <a:gd name="T34" fmla="*/ 294 w 469"/>
                <a:gd name="T35" fmla="*/ 67 h 331"/>
                <a:gd name="T36" fmla="*/ 203 w 469"/>
                <a:gd name="T37" fmla="*/ 30 h 331"/>
                <a:gd name="T38" fmla="*/ 82 w 469"/>
                <a:gd name="T39" fmla="*/ 30 h 331"/>
                <a:gd name="T40" fmla="*/ 15 w 469"/>
                <a:gd name="T41" fmla="*/ 0 h 331"/>
                <a:gd name="T42" fmla="*/ 15 w 469"/>
                <a:gd name="T43" fmla="*/ 0 h 33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69"/>
                <a:gd name="T67" fmla="*/ 0 h 331"/>
                <a:gd name="T68" fmla="*/ 469 w 469"/>
                <a:gd name="T69" fmla="*/ 331 h 33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69" h="331">
                  <a:moveTo>
                    <a:pt x="15" y="0"/>
                  </a:moveTo>
                  <a:lnTo>
                    <a:pt x="0" y="67"/>
                  </a:lnTo>
                  <a:lnTo>
                    <a:pt x="39" y="131"/>
                  </a:lnTo>
                  <a:lnTo>
                    <a:pt x="13" y="171"/>
                  </a:lnTo>
                  <a:lnTo>
                    <a:pt x="36" y="213"/>
                  </a:lnTo>
                  <a:lnTo>
                    <a:pt x="21" y="258"/>
                  </a:lnTo>
                  <a:lnTo>
                    <a:pt x="44" y="278"/>
                  </a:lnTo>
                  <a:lnTo>
                    <a:pt x="174" y="270"/>
                  </a:lnTo>
                  <a:lnTo>
                    <a:pt x="291" y="325"/>
                  </a:lnTo>
                  <a:lnTo>
                    <a:pt x="350" y="331"/>
                  </a:lnTo>
                  <a:lnTo>
                    <a:pt x="452" y="308"/>
                  </a:lnTo>
                  <a:lnTo>
                    <a:pt x="430" y="270"/>
                  </a:lnTo>
                  <a:lnTo>
                    <a:pt x="437" y="241"/>
                  </a:lnTo>
                  <a:lnTo>
                    <a:pt x="422" y="205"/>
                  </a:lnTo>
                  <a:lnTo>
                    <a:pt x="469" y="131"/>
                  </a:lnTo>
                  <a:lnTo>
                    <a:pt x="460" y="27"/>
                  </a:lnTo>
                  <a:lnTo>
                    <a:pt x="378" y="19"/>
                  </a:lnTo>
                  <a:lnTo>
                    <a:pt x="294" y="67"/>
                  </a:lnTo>
                  <a:lnTo>
                    <a:pt x="203" y="30"/>
                  </a:lnTo>
                  <a:lnTo>
                    <a:pt x="82" y="30"/>
                  </a:lnTo>
                  <a:lnTo>
                    <a:pt x="15"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5" name="Freeform 16"/>
            <p:cNvSpPr>
              <a:spLocks noChangeAspect="1"/>
            </p:cNvSpPr>
            <p:nvPr/>
          </p:nvSpPr>
          <p:spPr bwMode="gray">
            <a:xfrm>
              <a:off x="1797666" y="2136349"/>
              <a:ext cx="448736" cy="291683"/>
            </a:xfrm>
            <a:custGeom>
              <a:avLst/>
              <a:gdLst>
                <a:gd name="T0" fmla="*/ 64 w 519"/>
                <a:gd name="T1" fmla="*/ 0 h 313"/>
                <a:gd name="T2" fmla="*/ 0 w 519"/>
                <a:gd name="T3" fmla="*/ 38 h 313"/>
                <a:gd name="T4" fmla="*/ 58 w 519"/>
                <a:gd name="T5" fmla="*/ 105 h 313"/>
                <a:gd name="T6" fmla="*/ 88 w 519"/>
                <a:gd name="T7" fmla="*/ 88 h 313"/>
                <a:gd name="T8" fmla="*/ 99 w 519"/>
                <a:gd name="T9" fmla="*/ 185 h 313"/>
                <a:gd name="T10" fmla="*/ 5 w 519"/>
                <a:gd name="T11" fmla="*/ 281 h 313"/>
                <a:gd name="T12" fmla="*/ 26 w 519"/>
                <a:gd name="T13" fmla="*/ 302 h 313"/>
                <a:gd name="T14" fmla="*/ 113 w 519"/>
                <a:gd name="T15" fmla="*/ 313 h 313"/>
                <a:gd name="T16" fmla="*/ 157 w 519"/>
                <a:gd name="T17" fmla="*/ 284 h 313"/>
                <a:gd name="T18" fmla="*/ 158 w 519"/>
                <a:gd name="T19" fmla="*/ 263 h 313"/>
                <a:gd name="T20" fmla="*/ 321 w 519"/>
                <a:gd name="T21" fmla="*/ 284 h 313"/>
                <a:gd name="T22" fmla="*/ 432 w 519"/>
                <a:gd name="T23" fmla="*/ 225 h 313"/>
                <a:gd name="T24" fmla="*/ 519 w 519"/>
                <a:gd name="T25" fmla="*/ 225 h 313"/>
                <a:gd name="T26" fmla="*/ 496 w 519"/>
                <a:gd name="T27" fmla="*/ 86 h 313"/>
                <a:gd name="T28" fmla="*/ 516 w 519"/>
                <a:gd name="T29" fmla="*/ 74 h 313"/>
                <a:gd name="T30" fmla="*/ 478 w 519"/>
                <a:gd name="T31" fmla="*/ 61 h 313"/>
                <a:gd name="T32" fmla="*/ 473 w 519"/>
                <a:gd name="T33" fmla="*/ 0 h 313"/>
                <a:gd name="T34" fmla="*/ 407 w 519"/>
                <a:gd name="T35" fmla="*/ 15 h 313"/>
                <a:gd name="T36" fmla="*/ 280 w 519"/>
                <a:gd name="T37" fmla="*/ 61 h 313"/>
                <a:gd name="T38" fmla="*/ 64 w 519"/>
                <a:gd name="T39" fmla="*/ 0 h 313"/>
                <a:gd name="T40" fmla="*/ 64 w 519"/>
                <a:gd name="T41" fmla="*/ 0 h 3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19"/>
                <a:gd name="T64" fmla="*/ 0 h 313"/>
                <a:gd name="T65" fmla="*/ 519 w 519"/>
                <a:gd name="T66" fmla="*/ 313 h 3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19" h="313">
                  <a:moveTo>
                    <a:pt x="64" y="0"/>
                  </a:moveTo>
                  <a:lnTo>
                    <a:pt x="0" y="38"/>
                  </a:lnTo>
                  <a:lnTo>
                    <a:pt x="58" y="105"/>
                  </a:lnTo>
                  <a:lnTo>
                    <a:pt x="88" y="88"/>
                  </a:lnTo>
                  <a:lnTo>
                    <a:pt x="99" y="185"/>
                  </a:lnTo>
                  <a:lnTo>
                    <a:pt x="5" y="281"/>
                  </a:lnTo>
                  <a:lnTo>
                    <a:pt x="26" y="302"/>
                  </a:lnTo>
                  <a:lnTo>
                    <a:pt x="113" y="313"/>
                  </a:lnTo>
                  <a:lnTo>
                    <a:pt x="157" y="284"/>
                  </a:lnTo>
                  <a:lnTo>
                    <a:pt x="158" y="263"/>
                  </a:lnTo>
                  <a:lnTo>
                    <a:pt x="321" y="284"/>
                  </a:lnTo>
                  <a:lnTo>
                    <a:pt x="432" y="225"/>
                  </a:lnTo>
                  <a:lnTo>
                    <a:pt x="519" y="225"/>
                  </a:lnTo>
                  <a:lnTo>
                    <a:pt x="496" y="86"/>
                  </a:lnTo>
                  <a:lnTo>
                    <a:pt x="516" y="74"/>
                  </a:lnTo>
                  <a:lnTo>
                    <a:pt x="478" y="61"/>
                  </a:lnTo>
                  <a:lnTo>
                    <a:pt x="473" y="0"/>
                  </a:lnTo>
                  <a:lnTo>
                    <a:pt x="407" y="15"/>
                  </a:lnTo>
                  <a:lnTo>
                    <a:pt x="280" y="61"/>
                  </a:lnTo>
                  <a:lnTo>
                    <a:pt x="64"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6" name="Freeform 17"/>
            <p:cNvSpPr>
              <a:spLocks noChangeAspect="1"/>
            </p:cNvSpPr>
            <p:nvPr/>
          </p:nvSpPr>
          <p:spPr bwMode="gray">
            <a:xfrm>
              <a:off x="2206705" y="2123260"/>
              <a:ext cx="417669" cy="360864"/>
            </a:xfrm>
            <a:custGeom>
              <a:avLst/>
              <a:gdLst>
                <a:gd name="T0" fmla="*/ 48 w 484"/>
                <a:gd name="T1" fmla="*/ 4 h 386"/>
                <a:gd name="T2" fmla="*/ 0 w 484"/>
                <a:gd name="T3" fmla="*/ 15 h 386"/>
                <a:gd name="T4" fmla="*/ 5 w 484"/>
                <a:gd name="T5" fmla="*/ 76 h 386"/>
                <a:gd name="T6" fmla="*/ 41 w 484"/>
                <a:gd name="T7" fmla="*/ 89 h 386"/>
                <a:gd name="T8" fmla="*/ 21 w 484"/>
                <a:gd name="T9" fmla="*/ 101 h 386"/>
                <a:gd name="T10" fmla="*/ 46 w 484"/>
                <a:gd name="T11" fmla="*/ 238 h 386"/>
                <a:gd name="T12" fmla="*/ 27 w 484"/>
                <a:gd name="T13" fmla="*/ 238 h 386"/>
                <a:gd name="T14" fmla="*/ 43 w 484"/>
                <a:gd name="T15" fmla="*/ 278 h 386"/>
                <a:gd name="T16" fmla="*/ 129 w 484"/>
                <a:gd name="T17" fmla="*/ 310 h 386"/>
                <a:gd name="T18" fmla="*/ 167 w 484"/>
                <a:gd name="T19" fmla="*/ 386 h 386"/>
                <a:gd name="T20" fmla="*/ 280 w 484"/>
                <a:gd name="T21" fmla="*/ 325 h 386"/>
                <a:gd name="T22" fmla="*/ 325 w 484"/>
                <a:gd name="T23" fmla="*/ 352 h 386"/>
                <a:gd name="T24" fmla="*/ 396 w 484"/>
                <a:gd name="T25" fmla="*/ 247 h 386"/>
                <a:gd name="T26" fmla="*/ 374 w 484"/>
                <a:gd name="T27" fmla="*/ 215 h 386"/>
                <a:gd name="T28" fmla="*/ 431 w 484"/>
                <a:gd name="T29" fmla="*/ 176 h 386"/>
                <a:gd name="T30" fmla="*/ 450 w 484"/>
                <a:gd name="T31" fmla="*/ 111 h 386"/>
                <a:gd name="T32" fmla="*/ 469 w 484"/>
                <a:gd name="T33" fmla="*/ 111 h 386"/>
                <a:gd name="T34" fmla="*/ 484 w 484"/>
                <a:gd name="T35" fmla="*/ 65 h 386"/>
                <a:gd name="T36" fmla="*/ 463 w 484"/>
                <a:gd name="T37" fmla="*/ 27 h 386"/>
                <a:gd name="T38" fmla="*/ 347 w 484"/>
                <a:gd name="T39" fmla="*/ 0 h 386"/>
                <a:gd name="T40" fmla="*/ 223 w 484"/>
                <a:gd name="T41" fmla="*/ 101 h 386"/>
                <a:gd name="T42" fmla="*/ 187 w 484"/>
                <a:gd name="T43" fmla="*/ 71 h 386"/>
                <a:gd name="T44" fmla="*/ 204 w 484"/>
                <a:gd name="T45" fmla="*/ 36 h 386"/>
                <a:gd name="T46" fmla="*/ 161 w 484"/>
                <a:gd name="T47" fmla="*/ 10 h 386"/>
                <a:gd name="T48" fmla="*/ 48 w 484"/>
                <a:gd name="T49" fmla="*/ 4 h 386"/>
                <a:gd name="T50" fmla="*/ 48 w 484"/>
                <a:gd name="T51" fmla="*/ 4 h 38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84"/>
                <a:gd name="T79" fmla="*/ 0 h 386"/>
                <a:gd name="T80" fmla="*/ 484 w 484"/>
                <a:gd name="T81" fmla="*/ 386 h 38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84" h="386">
                  <a:moveTo>
                    <a:pt x="48" y="4"/>
                  </a:moveTo>
                  <a:lnTo>
                    <a:pt x="0" y="15"/>
                  </a:lnTo>
                  <a:lnTo>
                    <a:pt x="5" y="76"/>
                  </a:lnTo>
                  <a:lnTo>
                    <a:pt x="41" y="89"/>
                  </a:lnTo>
                  <a:lnTo>
                    <a:pt x="21" y="101"/>
                  </a:lnTo>
                  <a:lnTo>
                    <a:pt x="46" y="238"/>
                  </a:lnTo>
                  <a:lnTo>
                    <a:pt x="27" y="238"/>
                  </a:lnTo>
                  <a:lnTo>
                    <a:pt x="43" y="278"/>
                  </a:lnTo>
                  <a:lnTo>
                    <a:pt x="129" y="310"/>
                  </a:lnTo>
                  <a:lnTo>
                    <a:pt x="167" y="386"/>
                  </a:lnTo>
                  <a:lnTo>
                    <a:pt x="280" y="325"/>
                  </a:lnTo>
                  <a:lnTo>
                    <a:pt x="325" y="352"/>
                  </a:lnTo>
                  <a:lnTo>
                    <a:pt x="396" y="247"/>
                  </a:lnTo>
                  <a:lnTo>
                    <a:pt x="374" y="215"/>
                  </a:lnTo>
                  <a:lnTo>
                    <a:pt x="431" y="176"/>
                  </a:lnTo>
                  <a:lnTo>
                    <a:pt x="450" y="111"/>
                  </a:lnTo>
                  <a:lnTo>
                    <a:pt x="469" y="111"/>
                  </a:lnTo>
                  <a:lnTo>
                    <a:pt x="484" y="65"/>
                  </a:lnTo>
                  <a:lnTo>
                    <a:pt x="463" y="27"/>
                  </a:lnTo>
                  <a:lnTo>
                    <a:pt x="347" y="0"/>
                  </a:lnTo>
                  <a:lnTo>
                    <a:pt x="223" y="101"/>
                  </a:lnTo>
                  <a:lnTo>
                    <a:pt x="187" y="71"/>
                  </a:lnTo>
                  <a:lnTo>
                    <a:pt x="204" y="36"/>
                  </a:lnTo>
                  <a:lnTo>
                    <a:pt x="161" y="10"/>
                  </a:lnTo>
                  <a:lnTo>
                    <a:pt x="48" y="4"/>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7" name="Freeform 18"/>
            <p:cNvSpPr>
              <a:spLocks noChangeAspect="1"/>
            </p:cNvSpPr>
            <p:nvPr/>
          </p:nvSpPr>
          <p:spPr bwMode="gray">
            <a:xfrm>
              <a:off x="1454210" y="2450469"/>
              <a:ext cx="371070" cy="471180"/>
            </a:xfrm>
            <a:custGeom>
              <a:avLst/>
              <a:gdLst>
                <a:gd name="T0" fmla="*/ 112 w 430"/>
                <a:gd name="T1" fmla="*/ 0 h 502"/>
                <a:gd name="T2" fmla="*/ 71 w 430"/>
                <a:gd name="T3" fmla="*/ 29 h 502"/>
                <a:gd name="T4" fmla="*/ 72 w 430"/>
                <a:gd name="T5" fmla="*/ 87 h 502"/>
                <a:gd name="T6" fmla="*/ 127 w 430"/>
                <a:gd name="T7" fmla="*/ 84 h 502"/>
                <a:gd name="T8" fmla="*/ 114 w 430"/>
                <a:gd name="T9" fmla="*/ 178 h 502"/>
                <a:gd name="T10" fmla="*/ 63 w 430"/>
                <a:gd name="T11" fmla="*/ 192 h 502"/>
                <a:gd name="T12" fmla="*/ 6 w 430"/>
                <a:gd name="T13" fmla="*/ 264 h 502"/>
                <a:gd name="T14" fmla="*/ 44 w 430"/>
                <a:gd name="T15" fmla="*/ 310 h 502"/>
                <a:gd name="T16" fmla="*/ 0 w 430"/>
                <a:gd name="T17" fmla="*/ 327 h 502"/>
                <a:gd name="T18" fmla="*/ 65 w 430"/>
                <a:gd name="T19" fmla="*/ 356 h 502"/>
                <a:gd name="T20" fmla="*/ 53 w 430"/>
                <a:gd name="T21" fmla="*/ 395 h 502"/>
                <a:gd name="T22" fmla="*/ 78 w 430"/>
                <a:gd name="T23" fmla="*/ 411 h 502"/>
                <a:gd name="T24" fmla="*/ 53 w 430"/>
                <a:gd name="T25" fmla="*/ 441 h 502"/>
                <a:gd name="T26" fmla="*/ 53 w 430"/>
                <a:gd name="T27" fmla="*/ 502 h 502"/>
                <a:gd name="T28" fmla="*/ 211 w 430"/>
                <a:gd name="T29" fmla="*/ 473 h 502"/>
                <a:gd name="T30" fmla="*/ 285 w 430"/>
                <a:gd name="T31" fmla="*/ 415 h 502"/>
                <a:gd name="T32" fmla="*/ 360 w 430"/>
                <a:gd name="T33" fmla="*/ 441 h 502"/>
                <a:gd name="T34" fmla="*/ 382 w 430"/>
                <a:gd name="T35" fmla="*/ 348 h 502"/>
                <a:gd name="T36" fmla="*/ 425 w 430"/>
                <a:gd name="T37" fmla="*/ 344 h 502"/>
                <a:gd name="T38" fmla="*/ 405 w 430"/>
                <a:gd name="T39" fmla="*/ 211 h 502"/>
                <a:gd name="T40" fmla="*/ 430 w 430"/>
                <a:gd name="T41" fmla="*/ 90 h 502"/>
                <a:gd name="T42" fmla="*/ 371 w 430"/>
                <a:gd name="T43" fmla="*/ 82 h 502"/>
                <a:gd name="T44" fmla="*/ 348 w 430"/>
                <a:gd name="T45" fmla="*/ 101 h 502"/>
                <a:gd name="T46" fmla="*/ 284 w 430"/>
                <a:gd name="T47" fmla="*/ 101 h 502"/>
                <a:gd name="T48" fmla="*/ 261 w 430"/>
                <a:gd name="T49" fmla="*/ 34 h 502"/>
                <a:gd name="T50" fmla="*/ 238 w 430"/>
                <a:gd name="T51" fmla="*/ 41 h 502"/>
                <a:gd name="T52" fmla="*/ 158 w 430"/>
                <a:gd name="T53" fmla="*/ 34 h 502"/>
                <a:gd name="T54" fmla="*/ 112 w 430"/>
                <a:gd name="T55" fmla="*/ 0 h 502"/>
                <a:gd name="T56" fmla="*/ 112 w 430"/>
                <a:gd name="T57" fmla="*/ 0 h 50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30"/>
                <a:gd name="T88" fmla="*/ 0 h 502"/>
                <a:gd name="T89" fmla="*/ 430 w 430"/>
                <a:gd name="T90" fmla="*/ 502 h 50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30" h="502">
                  <a:moveTo>
                    <a:pt x="112" y="0"/>
                  </a:moveTo>
                  <a:lnTo>
                    <a:pt x="71" y="29"/>
                  </a:lnTo>
                  <a:lnTo>
                    <a:pt x="72" y="87"/>
                  </a:lnTo>
                  <a:lnTo>
                    <a:pt x="127" y="84"/>
                  </a:lnTo>
                  <a:lnTo>
                    <a:pt x="114" y="178"/>
                  </a:lnTo>
                  <a:lnTo>
                    <a:pt x="63" y="192"/>
                  </a:lnTo>
                  <a:lnTo>
                    <a:pt x="6" y="264"/>
                  </a:lnTo>
                  <a:lnTo>
                    <a:pt x="44" y="310"/>
                  </a:lnTo>
                  <a:lnTo>
                    <a:pt x="0" y="327"/>
                  </a:lnTo>
                  <a:lnTo>
                    <a:pt x="65" y="356"/>
                  </a:lnTo>
                  <a:lnTo>
                    <a:pt x="53" y="395"/>
                  </a:lnTo>
                  <a:lnTo>
                    <a:pt x="78" y="411"/>
                  </a:lnTo>
                  <a:lnTo>
                    <a:pt x="53" y="441"/>
                  </a:lnTo>
                  <a:lnTo>
                    <a:pt x="53" y="502"/>
                  </a:lnTo>
                  <a:lnTo>
                    <a:pt x="211" y="473"/>
                  </a:lnTo>
                  <a:lnTo>
                    <a:pt x="285" y="415"/>
                  </a:lnTo>
                  <a:lnTo>
                    <a:pt x="360" y="441"/>
                  </a:lnTo>
                  <a:lnTo>
                    <a:pt x="382" y="348"/>
                  </a:lnTo>
                  <a:lnTo>
                    <a:pt x="425" y="344"/>
                  </a:lnTo>
                  <a:lnTo>
                    <a:pt x="405" y="211"/>
                  </a:lnTo>
                  <a:lnTo>
                    <a:pt x="430" y="90"/>
                  </a:lnTo>
                  <a:lnTo>
                    <a:pt x="371" y="82"/>
                  </a:lnTo>
                  <a:lnTo>
                    <a:pt x="348" y="101"/>
                  </a:lnTo>
                  <a:lnTo>
                    <a:pt x="284" y="101"/>
                  </a:lnTo>
                  <a:lnTo>
                    <a:pt x="261" y="34"/>
                  </a:lnTo>
                  <a:lnTo>
                    <a:pt x="238" y="41"/>
                  </a:lnTo>
                  <a:lnTo>
                    <a:pt x="158" y="34"/>
                  </a:lnTo>
                  <a:lnTo>
                    <a:pt x="112"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8" name="Freeform 19"/>
            <p:cNvSpPr>
              <a:spLocks noChangeAspect="1"/>
            </p:cNvSpPr>
            <p:nvPr/>
          </p:nvSpPr>
          <p:spPr bwMode="gray">
            <a:xfrm>
              <a:off x="1763148" y="2514041"/>
              <a:ext cx="350359" cy="377692"/>
            </a:xfrm>
            <a:custGeom>
              <a:avLst/>
              <a:gdLst>
                <a:gd name="T0" fmla="*/ 343 w 404"/>
                <a:gd name="T1" fmla="*/ 0 h 403"/>
                <a:gd name="T2" fmla="*/ 319 w 404"/>
                <a:gd name="T3" fmla="*/ 33 h 403"/>
                <a:gd name="T4" fmla="*/ 208 w 404"/>
                <a:gd name="T5" fmla="*/ 67 h 403"/>
                <a:gd name="T6" fmla="*/ 190 w 404"/>
                <a:gd name="T7" fmla="*/ 48 h 403"/>
                <a:gd name="T8" fmla="*/ 155 w 404"/>
                <a:gd name="T9" fmla="*/ 67 h 403"/>
                <a:gd name="T10" fmla="*/ 138 w 404"/>
                <a:gd name="T11" fmla="*/ 31 h 403"/>
                <a:gd name="T12" fmla="*/ 70 w 404"/>
                <a:gd name="T13" fmla="*/ 23 h 403"/>
                <a:gd name="T14" fmla="*/ 45 w 404"/>
                <a:gd name="T15" fmla="*/ 145 h 403"/>
                <a:gd name="T16" fmla="*/ 65 w 404"/>
                <a:gd name="T17" fmla="*/ 276 h 403"/>
                <a:gd name="T18" fmla="*/ 22 w 404"/>
                <a:gd name="T19" fmla="*/ 280 h 403"/>
                <a:gd name="T20" fmla="*/ 0 w 404"/>
                <a:gd name="T21" fmla="*/ 373 h 403"/>
                <a:gd name="T22" fmla="*/ 178 w 404"/>
                <a:gd name="T23" fmla="*/ 403 h 403"/>
                <a:gd name="T24" fmla="*/ 283 w 404"/>
                <a:gd name="T25" fmla="*/ 397 h 403"/>
                <a:gd name="T26" fmla="*/ 283 w 404"/>
                <a:gd name="T27" fmla="*/ 327 h 403"/>
                <a:gd name="T28" fmla="*/ 305 w 404"/>
                <a:gd name="T29" fmla="*/ 315 h 403"/>
                <a:gd name="T30" fmla="*/ 294 w 404"/>
                <a:gd name="T31" fmla="*/ 259 h 403"/>
                <a:gd name="T32" fmla="*/ 357 w 404"/>
                <a:gd name="T33" fmla="*/ 177 h 403"/>
                <a:gd name="T34" fmla="*/ 357 w 404"/>
                <a:gd name="T35" fmla="*/ 107 h 403"/>
                <a:gd name="T36" fmla="*/ 404 w 404"/>
                <a:gd name="T37" fmla="*/ 101 h 403"/>
                <a:gd name="T38" fmla="*/ 343 w 404"/>
                <a:gd name="T39" fmla="*/ 0 h 403"/>
                <a:gd name="T40" fmla="*/ 343 w 404"/>
                <a:gd name="T41" fmla="*/ 0 h 40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04"/>
                <a:gd name="T64" fmla="*/ 0 h 403"/>
                <a:gd name="T65" fmla="*/ 404 w 404"/>
                <a:gd name="T66" fmla="*/ 403 h 40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04" h="403">
                  <a:moveTo>
                    <a:pt x="343" y="0"/>
                  </a:moveTo>
                  <a:lnTo>
                    <a:pt x="319" y="33"/>
                  </a:lnTo>
                  <a:lnTo>
                    <a:pt x="208" y="67"/>
                  </a:lnTo>
                  <a:lnTo>
                    <a:pt x="190" y="48"/>
                  </a:lnTo>
                  <a:lnTo>
                    <a:pt x="155" y="67"/>
                  </a:lnTo>
                  <a:lnTo>
                    <a:pt x="138" y="31"/>
                  </a:lnTo>
                  <a:lnTo>
                    <a:pt x="70" y="23"/>
                  </a:lnTo>
                  <a:lnTo>
                    <a:pt x="45" y="145"/>
                  </a:lnTo>
                  <a:lnTo>
                    <a:pt x="65" y="276"/>
                  </a:lnTo>
                  <a:lnTo>
                    <a:pt x="22" y="280"/>
                  </a:lnTo>
                  <a:lnTo>
                    <a:pt x="0" y="373"/>
                  </a:lnTo>
                  <a:lnTo>
                    <a:pt x="178" y="403"/>
                  </a:lnTo>
                  <a:lnTo>
                    <a:pt x="283" y="397"/>
                  </a:lnTo>
                  <a:lnTo>
                    <a:pt x="283" y="327"/>
                  </a:lnTo>
                  <a:lnTo>
                    <a:pt x="305" y="315"/>
                  </a:lnTo>
                  <a:lnTo>
                    <a:pt x="294" y="259"/>
                  </a:lnTo>
                  <a:lnTo>
                    <a:pt x="357" y="177"/>
                  </a:lnTo>
                  <a:lnTo>
                    <a:pt x="357" y="107"/>
                  </a:lnTo>
                  <a:lnTo>
                    <a:pt x="404" y="101"/>
                  </a:lnTo>
                  <a:lnTo>
                    <a:pt x="343"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9" name="Freeform 20"/>
            <p:cNvSpPr>
              <a:spLocks noChangeAspect="1"/>
            </p:cNvSpPr>
            <p:nvPr/>
          </p:nvSpPr>
          <p:spPr bwMode="gray">
            <a:xfrm>
              <a:off x="1885687" y="2347632"/>
              <a:ext cx="498787" cy="360864"/>
            </a:xfrm>
            <a:custGeom>
              <a:avLst/>
              <a:gdLst>
                <a:gd name="T0" fmla="*/ 399 w 580"/>
                <a:gd name="T1" fmla="*/ 0 h 387"/>
                <a:gd name="T2" fmla="*/ 329 w 580"/>
                <a:gd name="T3" fmla="*/ 0 h 387"/>
                <a:gd name="T4" fmla="*/ 220 w 580"/>
                <a:gd name="T5" fmla="*/ 59 h 387"/>
                <a:gd name="T6" fmla="*/ 57 w 580"/>
                <a:gd name="T7" fmla="*/ 38 h 387"/>
                <a:gd name="T8" fmla="*/ 56 w 580"/>
                <a:gd name="T9" fmla="*/ 59 h 387"/>
                <a:gd name="T10" fmla="*/ 15 w 580"/>
                <a:gd name="T11" fmla="*/ 89 h 387"/>
                <a:gd name="T12" fmla="*/ 29 w 580"/>
                <a:gd name="T13" fmla="*/ 180 h 387"/>
                <a:gd name="T14" fmla="*/ 0 w 580"/>
                <a:gd name="T15" fmla="*/ 211 h 387"/>
                <a:gd name="T16" fmla="*/ 13 w 580"/>
                <a:gd name="T17" fmla="*/ 245 h 387"/>
                <a:gd name="T18" fmla="*/ 50 w 580"/>
                <a:gd name="T19" fmla="*/ 234 h 387"/>
                <a:gd name="T20" fmla="*/ 68 w 580"/>
                <a:gd name="T21" fmla="*/ 245 h 387"/>
                <a:gd name="T22" fmla="*/ 179 w 580"/>
                <a:gd name="T23" fmla="*/ 213 h 387"/>
                <a:gd name="T24" fmla="*/ 203 w 580"/>
                <a:gd name="T25" fmla="*/ 180 h 387"/>
                <a:gd name="T26" fmla="*/ 261 w 580"/>
                <a:gd name="T27" fmla="*/ 281 h 387"/>
                <a:gd name="T28" fmla="*/ 287 w 580"/>
                <a:gd name="T29" fmla="*/ 285 h 387"/>
                <a:gd name="T30" fmla="*/ 329 w 580"/>
                <a:gd name="T31" fmla="*/ 237 h 387"/>
                <a:gd name="T32" fmla="*/ 378 w 580"/>
                <a:gd name="T33" fmla="*/ 237 h 387"/>
                <a:gd name="T34" fmla="*/ 443 w 580"/>
                <a:gd name="T35" fmla="*/ 342 h 387"/>
                <a:gd name="T36" fmla="*/ 486 w 580"/>
                <a:gd name="T37" fmla="*/ 334 h 387"/>
                <a:gd name="T38" fmla="*/ 512 w 580"/>
                <a:gd name="T39" fmla="*/ 387 h 387"/>
                <a:gd name="T40" fmla="*/ 544 w 580"/>
                <a:gd name="T41" fmla="*/ 369 h 387"/>
                <a:gd name="T42" fmla="*/ 544 w 580"/>
                <a:gd name="T43" fmla="*/ 327 h 387"/>
                <a:gd name="T44" fmla="*/ 523 w 580"/>
                <a:gd name="T45" fmla="*/ 313 h 387"/>
                <a:gd name="T46" fmla="*/ 580 w 580"/>
                <a:gd name="T47" fmla="*/ 203 h 387"/>
                <a:gd name="T48" fmla="*/ 539 w 580"/>
                <a:gd name="T49" fmla="*/ 144 h 387"/>
                <a:gd name="T50" fmla="*/ 501 w 580"/>
                <a:gd name="T51" fmla="*/ 70 h 387"/>
                <a:gd name="T52" fmla="*/ 413 w 580"/>
                <a:gd name="T53" fmla="*/ 36 h 387"/>
                <a:gd name="T54" fmla="*/ 399 w 580"/>
                <a:gd name="T55" fmla="*/ 0 h 387"/>
                <a:gd name="T56" fmla="*/ 399 w 580"/>
                <a:gd name="T57" fmla="*/ 0 h 38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80"/>
                <a:gd name="T88" fmla="*/ 0 h 387"/>
                <a:gd name="T89" fmla="*/ 580 w 580"/>
                <a:gd name="T90" fmla="*/ 387 h 38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80" h="387">
                  <a:moveTo>
                    <a:pt x="399" y="0"/>
                  </a:moveTo>
                  <a:lnTo>
                    <a:pt x="329" y="0"/>
                  </a:lnTo>
                  <a:lnTo>
                    <a:pt x="220" y="59"/>
                  </a:lnTo>
                  <a:lnTo>
                    <a:pt x="57" y="38"/>
                  </a:lnTo>
                  <a:lnTo>
                    <a:pt x="56" y="59"/>
                  </a:lnTo>
                  <a:lnTo>
                    <a:pt x="15" y="89"/>
                  </a:lnTo>
                  <a:lnTo>
                    <a:pt x="29" y="180"/>
                  </a:lnTo>
                  <a:lnTo>
                    <a:pt x="0" y="211"/>
                  </a:lnTo>
                  <a:lnTo>
                    <a:pt x="13" y="245"/>
                  </a:lnTo>
                  <a:lnTo>
                    <a:pt x="50" y="234"/>
                  </a:lnTo>
                  <a:lnTo>
                    <a:pt x="68" y="245"/>
                  </a:lnTo>
                  <a:lnTo>
                    <a:pt x="179" y="213"/>
                  </a:lnTo>
                  <a:lnTo>
                    <a:pt x="203" y="180"/>
                  </a:lnTo>
                  <a:lnTo>
                    <a:pt x="261" y="281"/>
                  </a:lnTo>
                  <a:lnTo>
                    <a:pt x="287" y="285"/>
                  </a:lnTo>
                  <a:lnTo>
                    <a:pt x="329" y="237"/>
                  </a:lnTo>
                  <a:lnTo>
                    <a:pt x="378" y="237"/>
                  </a:lnTo>
                  <a:lnTo>
                    <a:pt x="443" y="342"/>
                  </a:lnTo>
                  <a:lnTo>
                    <a:pt x="486" y="334"/>
                  </a:lnTo>
                  <a:lnTo>
                    <a:pt x="512" y="387"/>
                  </a:lnTo>
                  <a:lnTo>
                    <a:pt x="544" y="369"/>
                  </a:lnTo>
                  <a:lnTo>
                    <a:pt x="544" y="327"/>
                  </a:lnTo>
                  <a:lnTo>
                    <a:pt x="523" y="313"/>
                  </a:lnTo>
                  <a:lnTo>
                    <a:pt x="580" y="203"/>
                  </a:lnTo>
                  <a:lnTo>
                    <a:pt x="539" y="144"/>
                  </a:lnTo>
                  <a:lnTo>
                    <a:pt x="501" y="70"/>
                  </a:lnTo>
                  <a:lnTo>
                    <a:pt x="413" y="36"/>
                  </a:lnTo>
                  <a:lnTo>
                    <a:pt x="399"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0" name="Freeform 21"/>
            <p:cNvSpPr>
              <a:spLocks noChangeAspect="1"/>
            </p:cNvSpPr>
            <p:nvPr/>
          </p:nvSpPr>
          <p:spPr bwMode="gray">
            <a:xfrm>
              <a:off x="2008226" y="2568264"/>
              <a:ext cx="350359" cy="418827"/>
            </a:xfrm>
            <a:custGeom>
              <a:avLst/>
              <a:gdLst>
                <a:gd name="T0" fmla="*/ 235 w 407"/>
                <a:gd name="T1" fmla="*/ 0 h 447"/>
                <a:gd name="T2" fmla="*/ 186 w 407"/>
                <a:gd name="T3" fmla="*/ 0 h 447"/>
                <a:gd name="T4" fmla="*/ 144 w 407"/>
                <a:gd name="T5" fmla="*/ 48 h 447"/>
                <a:gd name="T6" fmla="*/ 115 w 407"/>
                <a:gd name="T7" fmla="*/ 44 h 447"/>
                <a:gd name="T8" fmla="*/ 76 w 407"/>
                <a:gd name="T9" fmla="*/ 50 h 447"/>
                <a:gd name="T10" fmla="*/ 76 w 407"/>
                <a:gd name="T11" fmla="*/ 120 h 447"/>
                <a:gd name="T12" fmla="*/ 11 w 407"/>
                <a:gd name="T13" fmla="*/ 202 h 447"/>
                <a:gd name="T14" fmla="*/ 22 w 407"/>
                <a:gd name="T15" fmla="*/ 255 h 447"/>
                <a:gd name="T16" fmla="*/ 0 w 407"/>
                <a:gd name="T17" fmla="*/ 270 h 447"/>
                <a:gd name="T18" fmla="*/ 0 w 407"/>
                <a:gd name="T19" fmla="*/ 360 h 447"/>
                <a:gd name="T20" fmla="*/ 60 w 407"/>
                <a:gd name="T21" fmla="*/ 375 h 447"/>
                <a:gd name="T22" fmla="*/ 68 w 407"/>
                <a:gd name="T23" fmla="*/ 404 h 447"/>
                <a:gd name="T24" fmla="*/ 255 w 407"/>
                <a:gd name="T25" fmla="*/ 447 h 447"/>
                <a:gd name="T26" fmla="*/ 249 w 407"/>
                <a:gd name="T27" fmla="*/ 400 h 447"/>
                <a:gd name="T28" fmla="*/ 285 w 407"/>
                <a:gd name="T29" fmla="*/ 407 h 447"/>
                <a:gd name="T30" fmla="*/ 323 w 407"/>
                <a:gd name="T31" fmla="*/ 386 h 447"/>
                <a:gd name="T32" fmla="*/ 366 w 407"/>
                <a:gd name="T33" fmla="*/ 286 h 447"/>
                <a:gd name="T34" fmla="*/ 407 w 407"/>
                <a:gd name="T35" fmla="*/ 264 h 447"/>
                <a:gd name="T36" fmla="*/ 393 w 407"/>
                <a:gd name="T37" fmla="*/ 202 h 447"/>
                <a:gd name="T38" fmla="*/ 404 w 407"/>
                <a:gd name="T39" fmla="*/ 177 h 447"/>
                <a:gd name="T40" fmla="*/ 401 w 407"/>
                <a:gd name="T41" fmla="*/ 132 h 447"/>
                <a:gd name="T42" fmla="*/ 369 w 407"/>
                <a:gd name="T43" fmla="*/ 150 h 447"/>
                <a:gd name="T44" fmla="*/ 343 w 407"/>
                <a:gd name="T45" fmla="*/ 97 h 447"/>
                <a:gd name="T46" fmla="*/ 296 w 407"/>
                <a:gd name="T47" fmla="*/ 105 h 447"/>
                <a:gd name="T48" fmla="*/ 261 w 407"/>
                <a:gd name="T49" fmla="*/ 42 h 447"/>
                <a:gd name="T50" fmla="*/ 235 w 407"/>
                <a:gd name="T51" fmla="*/ 0 h 447"/>
                <a:gd name="T52" fmla="*/ 235 w 407"/>
                <a:gd name="T53" fmla="*/ 0 h 44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7"/>
                <a:gd name="T82" fmla="*/ 0 h 447"/>
                <a:gd name="T83" fmla="*/ 407 w 407"/>
                <a:gd name="T84" fmla="*/ 447 h 44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7" h="447">
                  <a:moveTo>
                    <a:pt x="235" y="0"/>
                  </a:moveTo>
                  <a:lnTo>
                    <a:pt x="186" y="0"/>
                  </a:lnTo>
                  <a:lnTo>
                    <a:pt x="144" y="48"/>
                  </a:lnTo>
                  <a:lnTo>
                    <a:pt x="115" y="44"/>
                  </a:lnTo>
                  <a:lnTo>
                    <a:pt x="76" y="50"/>
                  </a:lnTo>
                  <a:lnTo>
                    <a:pt x="76" y="120"/>
                  </a:lnTo>
                  <a:lnTo>
                    <a:pt x="11" y="202"/>
                  </a:lnTo>
                  <a:lnTo>
                    <a:pt x="22" y="255"/>
                  </a:lnTo>
                  <a:lnTo>
                    <a:pt x="0" y="270"/>
                  </a:lnTo>
                  <a:lnTo>
                    <a:pt x="0" y="360"/>
                  </a:lnTo>
                  <a:lnTo>
                    <a:pt x="60" y="375"/>
                  </a:lnTo>
                  <a:lnTo>
                    <a:pt x="68" y="404"/>
                  </a:lnTo>
                  <a:lnTo>
                    <a:pt x="255" y="447"/>
                  </a:lnTo>
                  <a:lnTo>
                    <a:pt x="249" y="400"/>
                  </a:lnTo>
                  <a:lnTo>
                    <a:pt x="285" y="407"/>
                  </a:lnTo>
                  <a:lnTo>
                    <a:pt x="323" y="386"/>
                  </a:lnTo>
                  <a:lnTo>
                    <a:pt x="366" y="286"/>
                  </a:lnTo>
                  <a:lnTo>
                    <a:pt x="407" y="264"/>
                  </a:lnTo>
                  <a:lnTo>
                    <a:pt x="393" y="202"/>
                  </a:lnTo>
                  <a:lnTo>
                    <a:pt x="404" y="177"/>
                  </a:lnTo>
                  <a:lnTo>
                    <a:pt x="401" y="132"/>
                  </a:lnTo>
                  <a:lnTo>
                    <a:pt x="369" y="150"/>
                  </a:lnTo>
                  <a:lnTo>
                    <a:pt x="343" y="97"/>
                  </a:lnTo>
                  <a:lnTo>
                    <a:pt x="296" y="105"/>
                  </a:lnTo>
                  <a:lnTo>
                    <a:pt x="261" y="42"/>
                  </a:lnTo>
                  <a:lnTo>
                    <a:pt x="235"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1" name="Freeform 22"/>
            <p:cNvSpPr>
              <a:spLocks noChangeAspect="1"/>
            </p:cNvSpPr>
            <p:nvPr/>
          </p:nvSpPr>
          <p:spPr bwMode="gray">
            <a:xfrm>
              <a:off x="2336148" y="2353241"/>
              <a:ext cx="350359" cy="450613"/>
            </a:xfrm>
            <a:custGeom>
              <a:avLst/>
              <a:gdLst>
                <a:gd name="T0" fmla="*/ 243 w 407"/>
                <a:gd name="T1" fmla="*/ 0 h 483"/>
                <a:gd name="T2" fmla="*/ 174 w 407"/>
                <a:gd name="T3" fmla="*/ 105 h 483"/>
                <a:gd name="T4" fmla="*/ 130 w 407"/>
                <a:gd name="T5" fmla="*/ 75 h 483"/>
                <a:gd name="T6" fmla="*/ 15 w 407"/>
                <a:gd name="T7" fmla="*/ 137 h 483"/>
                <a:gd name="T8" fmla="*/ 53 w 407"/>
                <a:gd name="T9" fmla="*/ 198 h 483"/>
                <a:gd name="T10" fmla="*/ 0 w 407"/>
                <a:gd name="T11" fmla="*/ 306 h 483"/>
                <a:gd name="T12" fmla="*/ 19 w 407"/>
                <a:gd name="T13" fmla="*/ 321 h 483"/>
                <a:gd name="T14" fmla="*/ 19 w 407"/>
                <a:gd name="T15" fmla="*/ 364 h 483"/>
                <a:gd name="T16" fmla="*/ 24 w 407"/>
                <a:gd name="T17" fmla="*/ 407 h 483"/>
                <a:gd name="T18" fmla="*/ 82 w 407"/>
                <a:gd name="T19" fmla="*/ 407 h 483"/>
                <a:gd name="T20" fmla="*/ 148 w 407"/>
                <a:gd name="T21" fmla="*/ 483 h 483"/>
                <a:gd name="T22" fmla="*/ 223 w 407"/>
                <a:gd name="T23" fmla="*/ 467 h 483"/>
                <a:gd name="T24" fmla="*/ 348 w 407"/>
                <a:gd name="T25" fmla="*/ 418 h 483"/>
                <a:gd name="T26" fmla="*/ 400 w 407"/>
                <a:gd name="T27" fmla="*/ 326 h 483"/>
                <a:gd name="T28" fmla="*/ 407 w 407"/>
                <a:gd name="T29" fmla="*/ 257 h 483"/>
                <a:gd name="T30" fmla="*/ 339 w 407"/>
                <a:gd name="T31" fmla="*/ 227 h 483"/>
                <a:gd name="T32" fmla="*/ 303 w 407"/>
                <a:gd name="T33" fmla="*/ 151 h 483"/>
                <a:gd name="T34" fmla="*/ 268 w 407"/>
                <a:gd name="T35" fmla="*/ 130 h 483"/>
                <a:gd name="T36" fmla="*/ 281 w 407"/>
                <a:gd name="T37" fmla="*/ 97 h 483"/>
                <a:gd name="T38" fmla="*/ 243 w 407"/>
                <a:gd name="T39" fmla="*/ 0 h 483"/>
                <a:gd name="T40" fmla="*/ 243 w 407"/>
                <a:gd name="T41" fmla="*/ 0 h 48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07"/>
                <a:gd name="T64" fmla="*/ 0 h 483"/>
                <a:gd name="T65" fmla="*/ 407 w 407"/>
                <a:gd name="T66" fmla="*/ 483 h 48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07" h="483">
                  <a:moveTo>
                    <a:pt x="243" y="0"/>
                  </a:moveTo>
                  <a:lnTo>
                    <a:pt x="174" y="105"/>
                  </a:lnTo>
                  <a:lnTo>
                    <a:pt x="130" y="75"/>
                  </a:lnTo>
                  <a:lnTo>
                    <a:pt x="15" y="137"/>
                  </a:lnTo>
                  <a:lnTo>
                    <a:pt x="53" y="198"/>
                  </a:lnTo>
                  <a:lnTo>
                    <a:pt x="0" y="306"/>
                  </a:lnTo>
                  <a:lnTo>
                    <a:pt x="19" y="321"/>
                  </a:lnTo>
                  <a:lnTo>
                    <a:pt x="19" y="364"/>
                  </a:lnTo>
                  <a:lnTo>
                    <a:pt x="24" y="407"/>
                  </a:lnTo>
                  <a:lnTo>
                    <a:pt x="82" y="407"/>
                  </a:lnTo>
                  <a:lnTo>
                    <a:pt x="148" y="483"/>
                  </a:lnTo>
                  <a:lnTo>
                    <a:pt x="223" y="467"/>
                  </a:lnTo>
                  <a:lnTo>
                    <a:pt x="348" y="418"/>
                  </a:lnTo>
                  <a:lnTo>
                    <a:pt x="400" y="326"/>
                  </a:lnTo>
                  <a:lnTo>
                    <a:pt x="407" y="257"/>
                  </a:lnTo>
                  <a:lnTo>
                    <a:pt x="339" y="227"/>
                  </a:lnTo>
                  <a:lnTo>
                    <a:pt x="303" y="151"/>
                  </a:lnTo>
                  <a:lnTo>
                    <a:pt x="268" y="130"/>
                  </a:lnTo>
                  <a:lnTo>
                    <a:pt x="281" y="97"/>
                  </a:lnTo>
                  <a:lnTo>
                    <a:pt x="243"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2" name="Freeform 23"/>
            <p:cNvSpPr>
              <a:spLocks noChangeAspect="1"/>
            </p:cNvSpPr>
            <p:nvPr/>
          </p:nvSpPr>
          <p:spPr bwMode="gray">
            <a:xfrm>
              <a:off x="2574323" y="2222358"/>
              <a:ext cx="267515" cy="138362"/>
            </a:xfrm>
            <a:custGeom>
              <a:avLst/>
              <a:gdLst>
                <a:gd name="T0" fmla="*/ 308 w 308"/>
                <a:gd name="T1" fmla="*/ 73 h 149"/>
                <a:gd name="T2" fmla="*/ 197 w 308"/>
                <a:gd name="T3" fmla="*/ 18 h 149"/>
                <a:gd name="T4" fmla="*/ 62 w 308"/>
                <a:gd name="T5" fmla="*/ 26 h 149"/>
                <a:gd name="T6" fmla="*/ 41 w 308"/>
                <a:gd name="T7" fmla="*/ 3 h 149"/>
                <a:gd name="T8" fmla="*/ 22 w 308"/>
                <a:gd name="T9" fmla="*/ 0 h 149"/>
                <a:gd name="T10" fmla="*/ 0 w 308"/>
                <a:gd name="T11" fmla="*/ 71 h 149"/>
                <a:gd name="T12" fmla="*/ 159 w 308"/>
                <a:gd name="T13" fmla="*/ 117 h 149"/>
                <a:gd name="T14" fmla="*/ 188 w 308"/>
                <a:gd name="T15" fmla="*/ 149 h 149"/>
                <a:gd name="T16" fmla="*/ 307 w 308"/>
                <a:gd name="T17" fmla="*/ 103 h 149"/>
                <a:gd name="T18" fmla="*/ 308 w 308"/>
                <a:gd name="T19" fmla="*/ 73 h 149"/>
                <a:gd name="T20" fmla="*/ 308 w 308"/>
                <a:gd name="T21" fmla="*/ 73 h 1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08"/>
                <a:gd name="T34" fmla="*/ 0 h 149"/>
                <a:gd name="T35" fmla="*/ 308 w 308"/>
                <a:gd name="T36" fmla="*/ 149 h 1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08" h="149">
                  <a:moveTo>
                    <a:pt x="308" y="73"/>
                  </a:moveTo>
                  <a:lnTo>
                    <a:pt x="197" y="18"/>
                  </a:lnTo>
                  <a:lnTo>
                    <a:pt x="62" y="26"/>
                  </a:lnTo>
                  <a:lnTo>
                    <a:pt x="41" y="3"/>
                  </a:lnTo>
                  <a:lnTo>
                    <a:pt x="22" y="0"/>
                  </a:lnTo>
                  <a:lnTo>
                    <a:pt x="0" y="71"/>
                  </a:lnTo>
                  <a:lnTo>
                    <a:pt x="159" y="117"/>
                  </a:lnTo>
                  <a:lnTo>
                    <a:pt x="188" y="149"/>
                  </a:lnTo>
                  <a:lnTo>
                    <a:pt x="307" y="103"/>
                  </a:lnTo>
                  <a:lnTo>
                    <a:pt x="308" y="73"/>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3" name="Freeform 24"/>
            <p:cNvSpPr>
              <a:spLocks noChangeAspect="1"/>
            </p:cNvSpPr>
            <p:nvPr/>
          </p:nvSpPr>
          <p:spPr bwMode="gray">
            <a:xfrm>
              <a:off x="2525998" y="2284060"/>
              <a:ext cx="231271" cy="295422"/>
            </a:xfrm>
            <a:custGeom>
              <a:avLst/>
              <a:gdLst>
                <a:gd name="T0" fmla="*/ 58 w 268"/>
                <a:gd name="T1" fmla="*/ 0 h 316"/>
                <a:gd name="T2" fmla="*/ 0 w 268"/>
                <a:gd name="T3" fmla="*/ 41 h 316"/>
                <a:gd name="T4" fmla="*/ 23 w 268"/>
                <a:gd name="T5" fmla="*/ 76 h 316"/>
                <a:gd name="T6" fmla="*/ 61 w 268"/>
                <a:gd name="T7" fmla="*/ 171 h 316"/>
                <a:gd name="T8" fmla="*/ 46 w 268"/>
                <a:gd name="T9" fmla="*/ 204 h 316"/>
                <a:gd name="T10" fmla="*/ 84 w 268"/>
                <a:gd name="T11" fmla="*/ 225 h 316"/>
                <a:gd name="T12" fmla="*/ 119 w 268"/>
                <a:gd name="T13" fmla="*/ 304 h 316"/>
                <a:gd name="T14" fmla="*/ 154 w 268"/>
                <a:gd name="T15" fmla="*/ 316 h 316"/>
                <a:gd name="T16" fmla="*/ 210 w 268"/>
                <a:gd name="T17" fmla="*/ 173 h 316"/>
                <a:gd name="T18" fmla="*/ 268 w 268"/>
                <a:gd name="T19" fmla="*/ 171 h 316"/>
                <a:gd name="T20" fmla="*/ 219 w 268"/>
                <a:gd name="T21" fmla="*/ 109 h 316"/>
                <a:gd name="T22" fmla="*/ 245 w 268"/>
                <a:gd name="T23" fmla="*/ 82 h 316"/>
                <a:gd name="T24" fmla="*/ 216 w 268"/>
                <a:gd name="T25" fmla="*/ 50 h 316"/>
                <a:gd name="T26" fmla="*/ 58 w 268"/>
                <a:gd name="T27" fmla="*/ 0 h 316"/>
                <a:gd name="T28" fmla="*/ 58 w 268"/>
                <a:gd name="T29" fmla="*/ 0 h 3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8"/>
                <a:gd name="T46" fmla="*/ 0 h 316"/>
                <a:gd name="T47" fmla="*/ 268 w 268"/>
                <a:gd name="T48" fmla="*/ 316 h 3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8" h="316">
                  <a:moveTo>
                    <a:pt x="58" y="0"/>
                  </a:moveTo>
                  <a:lnTo>
                    <a:pt x="0" y="41"/>
                  </a:lnTo>
                  <a:lnTo>
                    <a:pt x="23" y="76"/>
                  </a:lnTo>
                  <a:lnTo>
                    <a:pt x="61" y="171"/>
                  </a:lnTo>
                  <a:lnTo>
                    <a:pt x="46" y="204"/>
                  </a:lnTo>
                  <a:lnTo>
                    <a:pt x="84" y="225"/>
                  </a:lnTo>
                  <a:lnTo>
                    <a:pt x="119" y="304"/>
                  </a:lnTo>
                  <a:lnTo>
                    <a:pt x="154" y="316"/>
                  </a:lnTo>
                  <a:lnTo>
                    <a:pt x="210" y="173"/>
                  </a:lnTo>
                  <a:lnTo>
                    <a:pt x="268" y="171"/>
                  </a:lnTo>
                  <a:lnTo>
                    <a:pt x="219" y="109"/>
                  </a:lnTo>
                  <a:lnTo>
                    <a:pt x="245" y="82"/>
                  </a:lnTo>
                  <a:lnTo>
                    <a:pt x="216" y="50"/>
                  </a:lnTo>
                  <a:lnTo>
                    <a:pt x="58"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4" name="Freeform 25"/>
            <p:cNvSpPr>
              <a:spLocks noChangeAspect="1"/>
            </p:cNvSpPr>
            <p:nvPr/>
          </p:nvSpPr>
          <p:spPr bwMode="gray">
            <a:xfrm>
              <a:off x="2803869" y="2272841"/>
              <a:ext cx="305485" cy="458092"/>
            </a:xfrm>
            <a:custGeom>
              <a:avLst/>
              <a:gdLst>
                <a:gd name="T0" fmla="*/ 42 w 352"/>
                <a:gd name="T1" fmla="*/ 17 h 488"/>
                <a:gd name="T2" fmla="*/ 41 w 352"/>
                <a:gd name="T3" fmla="*/ 47 h 488"/>
                <a:gd name="T4" fmla="*/ 51 w 352"/>
                <a:gd name="T5" fmla="*/ 139 h 488"/>
                <a:gd name="T6" fmla="*/ 48 w 352"/>
                <a:gd name="T7" fmla="*/ 192 h 488"/>
                <a:gd name="T8" fmla="*/ 33 w 352"/>
                <a:gd name="T9" fmla="*/ 285 h 488"/>
                <a:gd name="T10" fmla="*/ 0 w 352"/>
                <a:gd name="T11" fmla="*/ 394 h 488"/>
                <a:gd name="T12" fmla="*/ 27 w 352"/>
                <a:gd name="T13" fmla="*/ 443 h 488"/>
                <a:gd name="T14" fmla="*/ 3 w 352"/>
                <a:gd name="T15" fmla="*/ 488 h 488"/>
                <a:gd name="T16" fmla="*/ 167 w 352"/>
                <a:gd name="T17" fmla="*/ 458 h 488"/>
                <a:gd name="T18" fmla="*/ 197 w 352"/>
                <a:gd name="T19" fmla="*/ 376 h 488"/>
                <a:gd name="T20" fmla="*/ 238 w 352"/>
                <a:gd name="T21" fmla="*/ 348 h 488"/>
                <a:gd name="T22" fmla="*/ 320 w 352"/>
                <a:gd name="T23" fmla="*/ 348 h 488"/>
                <a:gd name="T24" fmla="*/ 319 w 352"/>
                <a:gd name="T25" fmla="*/ 285 h 488"/>
                <a:gd name="T26" fmla="*/ 352 w 352"/>
                <a:gd name="T27" fmla="*/ 245 h 488"/>
                <a:gd name="T28" fmla="*/ 314 w 352"/>
                <a:gd name="T29" fmla="*/ 161 h 488"/>
                <a:gd name="T30" fmla="*/ 349 w 352"/>
                <a:gd name="T31" fmla="*/ 137 h 488"/>
                <a:gd name="T32" fmla="*/ 337 w 352"/>
                <a:gd name="T33" fmla="*/ 123 h 488"/>
                <a:gd name="T34" fmla="*/ 250 w 352"/>
                <a:gd name="T35" fmla="*/ 67 h 488"/>
                <a:gd name="T36" fmla="*/ 206 w 352"/>
                <a:gd name="T37" fmla="*/ 0 h 488"/>
                <a:gd name="T38" fmla="*/ 102 w 352"/>
                <a:gd name="T39" fmla="*/ 23 h 488"/>
                <a:gd name="T40" fmla="*/ 42 w 352"/>
                <a:gd name="T41" fmla="*/ 17 h 488"/>
                <a:gd name="T42" fmla="*/ 42 w 352"/>
                <a:gd name="T43" fmla="*/ 17 h 48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52"/>
                <a:gd name="T67" fmla="*/ 0 h 488"/>
                <a:gd name="T68" fmla="*/ 352 w 352"/>
                <a:gd name="T69" fmla="*/ 488 h 48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52" h="488">
                  <a:moveTo>
                    <a:pt x="42" y="17"/>
                  </a:moveTo>
                  <a:lnTo>
                    <a:pt x="41" y="47"/>
                  </a:lnTo>
                  <a:lnTo>
                    <a:pt x="51" y="139"/>
                  </a:lnTo>
                  <a:lnTo>
                    <a:pt x="48" y="192"/>
                  </a:lnTo>
                  <a:lnTo>
                    <a:pt x="33" y="285"/>
                  </a:lnTo>
                  <a:lnTo>
                    <a:pt x="0" y="394"/>
                  </a:lnTo>
                  <a:lnTo>
                    <a:pt x="27" y="443"/>
                  </a:lnTo>
                  <a:lnTo>
                    <a:pt x="3" y="488"/>
                  </a:lnTo>
                  <a:lnTo>
                    <a:pt x="167" y="458"/>
                  </a:lnTo>
                  <a:lnTo>
                    <a:pt x="197" y="376"/>
                  </a:lnTo>
                  <a:lnTo>
                    <a:pt x="238" y="348"/>
                  </a:lnTo>
                  <a:lnTo>
                    <a:pt x="320" y="348"/>
                  </a:lnTo>
                  <a:lnTo>
                    <a:pt x="319" y="285"/>
                  </a:lnTo>
                  <a:lnTo>
                    <a:pt x="352" y="245"/>
                  </a:lnTo>
                  <a:lnTo>
                    <a:pt x="314" y="161"/>
                  </a:lnTo>
                  <a:lnTo>
                    <a:pt x="349" y="137"/>
                  </a:lnTo>
                  <a:lnTo>
                    <a:pt x="337" y="123"/>
                  </a:lnTo>
                  <a:lnTo>
                    <a:pt x="250" y="67"/>
                  </a:lnTo>
                  <a:lnTo>
                    <a:pt x="206" y="0"/>
                  </a:lnTo>
                  <a:lnTo>
                    <a:pt x="102" y="23"/>
                  </a:lnTo>
                  <a:lnTo>
                    <a:pt x="42" y="17"/>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5" name="Freeform 26"/>
            <p:cNvSpPr>
              <a:spLocks noChangeAspect="1"/>
            </p:cNvSpPr>
            <p:nvPr/>
          </p:nvSpPr>
          <p:spPr bwMode="gray">
            <a:xfrm>
              <a:off x="3080014" y="2457948"/>
              <a:ext cx="410766" cy="345906"/>
            </a:xfrm>
            <a:custGeom>
              <a:avLst/>
              <a:gdLst>
                <a:gd name="T0" fmla="*/ 33 w 477"/>
                <a:gd name="T1" fmla="*/ 51 h 370"/>
                <a:gd name="T2" fmla="*/ 0 w 477"/>
                <a:gd name="T3" fmla="*/ 85 h 370"/>
                <a:gd name="T4" fmla="*/ 0 w 477"/>
                <a:gd name="T5" fmla="*/ 150 h 370"/>
                <a:gd name="T6" fmla="*/ 49 w 477"/>
                <a:gd name="T7" fmla="*/ 173 h 370"/>
                <a:gd name="T8" fmla="*/ 85 w 477"/>
                <a:gd name="T9" fmla="*/ 277 h 370"/>
                <a:gd name="T10" fmla="*/ 112 w 477"/>
                <a:gd name="T11" fmla="*/ 256 h 370"/>
                <a:gd name="T12" fmla="*/ 164 w 477"/>
                <a:gd name="T13" fmla="*/ 348 h 370"/>
                <a:gd name="T14" fmla="*/ 241 w 477"/>
                <a:gd name="T15" fmla="*/ 370 h 370"/>
                <a:gd name="T16" fmla="*/ 437 w 477"/>
                <a:gd name="T17" fmla="*/ 313 h 370"/>
                <a:gd name="T18" fmla="*/ 477 w 477"/>
                <a:gd name="T19" fmla="*/ 277 h 370"/>
                <a:gd name="T20" fmla="*/ 477 w 477"/>
                <a:gd name="T21" fmla="*/ 208 h 370"/>
                <a:gd name="T22" fmla="*/ 416 w 477"/>
                <a:gd name="T23" fmla="*/ 114 h 370"/>
                <a:gd name="T24" fmla="*/ 416 w 477"/>
                <a:gd name="T25" fmla="*/ 74 h 370"/>
                <a:gd name="T26" fmla="*/ 328 w 477"/>
                <a:gd name="T27" fmla="*/ 55 h 370"/>
                <a:gd name="T28" fmla="*/ 298 w 477"/>
                <a:gd name="T29" fmla="*/ 0 h 370"/>
                <a:gd name="T30" fmla="*/ 211 w 477"/>
                <a:gd name="T31" fmla="*/ 0 h 370"/>
                <a:gd name="T32" fmla="*/ 153 w 477"/>
                <a:gd name="T33" fmla="*/ 82 h 370"/>
                <a:gd name="T34" fmla="*/ 91 w 477"/>
                <a:gd name="T35" fmla="*/ 82 h 370"/>
                <a:gd name="T36" fmla="*/ 33 w 477"/>
                <a:gd name="T37" fmla="*/ 51 h 370"/>
                <a:gd name="T38" fmla="*/ 33 w 477"/>
                <a:gd name="T39" fmla="*/ 51 h 37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77"/>
                <a:gd name="T61" fmla="*/ 0 h 370"/>
                <a:gd name="T62" fmla="*/ 477 w 477"/>
                <a:gd name="T63" fmla="*/ 370 h 37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77" h="370">
                  <a:moveTo>
                    <a:pt x="33" y="51"/>
                  </a:moveTo>
                  <a:lnTo>
                    <a:pt x="0" y="85"/>
                  </a:lnTo>
                  <a:lnTo>
                    <a:pt x="0" y="150"/>
                  </a:lnTo>
                  <a:lnTo>
                    <a:pt x="49" y="173"/>
                  </a:lnTo>
                  <a:lnTo>
                    <a:pt x="85" y="277"/>
                  </a:lnTo>
                  <a:lnTo>
                    <a:pt x="112" y="256"/>
                  </a:lnTo>
                  <a:lnTo>
                    <a:pt x="164" y="348"/>
                  </a:lnTo>
                  <a:lnTo>
                    <a:pt x="241" y="370"/>
                  </a:lnTo>
                  <a:lnTo>
                    <a:pt x="437" y="313"/>
                  </a:lnTo>
                  <a:lnTo>
                    <a:pt x="477" y="277"/>
                  </a:lnTo>
                  <a:lnTo>
                    <a:pt x="477" y="208"/>
                  </a:lnTo>
                  <a:lnTo>
                    <a:pt x="416" y="114"/>
                  </a:lnTo>
                  <a:lnTo>
                    <a:pt x="416" y="74"/>
                  </a:lnTo>
                  <a:lnTo>
                    <a:pt x="328" y="55"/>
                  </a:lnTo>
                  <a:lnTo>
                    <a:pt x="298" y="0"/>
                  </a:lnTo>
                  <a:lnTo>
                    <a:pt x="211" y="0"/>
                  </a:lnTo>
                  <a:lnTo>
                    <a:pt x="153" y="82"/>
                  </a:lnTo>
                  <a:lnTo>
                    <a:pt x="91" y="82"/>
                  </a:lnTo>
                  <a:lnTo>
                    <a:pt x="33" y="51"/>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6" name="Freeform 27"/>
            <p:cNvSpPr>
              <a:spLocks noChangeAspect="1"/>
            </p:cNvSpPr>
            <p:nvPr/>
          </p:nvSpPr>
          <p:spPr bwMode="gray">
            <a:xfrm>
              <a:off x="2658893" y="2442990"/>
              <a:ext cx="188124" cy="215023"/>
            </a:xfrm>
            <a:custGeom>
              <a:avLst/>
              <a:gdLst>
                <a:gd name="T0" fmla="*/ 117 w 217"/>
                <a:gd name="T1" fmla="*/ 5 h 229"/>
                <a:gd name="T2" fmla="*/ 111 w 217"/>
                <a:gd name="T3" fmla="*/ 0 h 229"/>
                <a:gd name="T4" fmla="*/ 56 w 217"/>
                <a:gd name="T5" fmla="*/ 0 h 229"/>
                <a:gd name="T6" fmla="*/ 0 w 217"/>
                <a:gd name="T7" fmla="*/ 145 h 229"/>
                <a:gd name="T8" fmla="*/ 33 w 217"/>
                <a:gd name="T9" fmla="*/ 162 h 229"/>
                <a:gd name="T10" fmla="*/ 26 w 217"/>
                <a:gd name="T11" fmla="*/ 229 h 229"/>
                <a:gd name="T12" fmla="*/ 169 w 217"/>
                <a:gd name="T13" fmla="*/ 212 h 229"/>
                <a:gd name="T14" fmla="*/ 202 w 217"/>
                <a:gd name="T15" fmla="*/ 101 h 229"/>
                <a:gd name="T16" fmla="*/ 217 w 217"/>
                <a:gd name="T17" fmla="*/ 10 h 229"/>
                <a:gd name="T18" fmla="*/ 117 w 217"/>
                <a:gd name="T19" fmla="*/ 5 h 229"/>
                <a:gd name="T20" fmla="*/ 117 w 217"/>
                <a:gd name="T21" fmla="*/ 5 h 2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7"/>
                <a:gd name="T34" fmla="*/ 0 h 229"/>
                <a:gd name="T35" fmla="*/ 217 w 217"/>
                <a:gd name="T36" fmla="*/ 229 h 2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7" h="229">
                  <a:moveTo>
                    <a:pt x="117" y="5"/>
                  </a:moveTo>
                  <a:lnTo>
                    <a:pt x="111" y="0"/>
                  </a:lnTo>
                  <a:lnTo>
                    <a:pt x="56" y="0"/>
                  </a:lnTo>
                  <a:lnTo>
                    <a:pt x="0" y="145"/>
                  </a:lnTo>
                  <a:lnTo>
                    <a:pt x="33" y="162"/>
                  </a:lnTo>
                  <a:lnTo>
                    <a:pt x="26" y="229"/>
                  </a:lnTo>
                  <a:lnTo>
                    <a:pt x="169" y="212"/>
                  </a:lnTo>
                  <a:lnTo>
                    <a:pt x="202" y="101"/>
                  </a:lnTo>
                  <a:lnTo>
                    <a:pt x="217" y="10"/>
                  </a:lnTo>
                  <a:lnTo>
                    <a:pt x="117" y="5"/>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7" name="Freeform 28"/>
            <p:cNvSpPr>
              <a:spLocks noChangeAspect="1"/>
            </p:cNvSpPr>
            <p:nvPr/>
          </p:nvSpPr>
          <p:spPr bwMode="gray">
            <a:xfrm>
              <a:off x="2536353" y="2641185"/>
              <a:ext cx="471172" cy="370213"/>
            </a:xfrm>
            <a:custGeom>
              <a:avLst/>
              <a:gdLst>
                <a:gd name="T0" fmla="*/ 168 w 546"/>
                <a:gd name="T1" fmla="*/ 17 h 395"/>
                <a:gd name="T2" fmla="*/ 113 w 546"/>
                <a:gd name="T3" fmla="*/ 108 h 395"/>
                <a:gd name="T4" fmla="*/ 0 w 546"/>
                <a:gd name="T5" fmla="*/ 153 h 395"/>
                <a:gd name="T6" fmla="*/ 24 w 546"/>
                <a:gd name="T7" fmla="*/ 239 h 395"/>
                <a:gd name="T8" fmla="*/ 75 w 546"/>
                <a:gd name="T9" fmla="*/ 278 h 395"/>
                <a:gd name="T10" fmla="*/ 86 w 546"/>
                <a:gd name="T11" fmla="*/ 311 h 395"/>
                <a:gd name="T12" fmla="*/ 198 w 546"/>
                <a:gd name="T13" fmla="*/ 311 h 395"/>
                <a:gd name="T14" fmla="*/ 256 w 546"/>
                <a:gd name="T15" fmla="*/ 334 h 395"/>
                <a:gd name="T16" fmla="*/ 324 w 546"/>
                <a:gd name="T17" fmla="*/ 342 h 395"/>
                <a:gd name="T18" fmla="*/ 396 w 546"/>
                <a:gd name="T19" fmla="*/ 395 h 395"/>
                <a:gd name="T20" fmla="*/ 499 w 546"/>
                <a:gd name="T21" fmla="*/ 357 h 395"/>
                <a:gd name="T22" fmla="*/ 446 w 546"/>
                <a:gd name="T23" fmla="*/ 277 h 395"/>
                <a:gd name="T24" fmla="*/ 511 w 546"/>
                <a:gd name="T25" fmla="*/ 250 h 395"/>
                <a:gd name="T26" fmla="*/ 496 w 546"/>
                <a:gd name="T27" fmla="*/ 212 h 395"/>
                <a:gd name="T28" fmla="*/ 546 w 546"/>
                <a:gd name="T29" fmla="*/ 140 h 395"/>
                <a:gd name="T30" fmla="*/ 478 w 546"/>
                <a:gd name="T31" fmla="*/ 64 h 395"/>
                <a:gd name="T32" fmla="*/ 314 w 546"/>
                <a:gd name="T33" fmla="*/ 94 h 395"/>
                <a:gd name="T34" fmla="*/ 338 w 546"/>
                <a:gd name="T35" fmla="*/ 49 h 395"/>
                <a:gd name="T36" fmla="*/ 314 w 546"/>
                <a:gd name="T37" fmla="*/ 0 h 395"/>
                <a:gd name="T38" fmla="*/ 168 w 546"/>
                <a:gd name="T39" fmla="*/ 17 h 395"/>
                <a:gd name="T40" fmla="*/ 168 w 546"/>
                <a:gd name="T41" fmla="*/ 17 h 39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46"/>
                <a:gd name="T64" fmla="*/ 0 h 395"/>
                <a:gd name="T65" fmla="*/ 546 w 546"/>
                <a:gd name="T66" fmla="*/ 395 h 39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46" h="395">
                  <a:moveTo>
                    <a:pt x="168" y="17"/>
                  </a:moveTo>
                  <a:lnTo>
                    <a:pt x="113" y="108"/>
                  </a:lnTo>
                  <a:lnTo>
                    <a:pt x="0" y="153"/>
                  </a:lnTo>
                  <a:lnTo>
                    <a:pt x="24" y="239"/>
                  </a:lnTo>
                  <a:lnTo>
                    <a:pt x="75" y="278"/>
                  </a:lnTo>
                  <a:lnTo>
                    <a:pt x="86" y="311"/>
                  </a:lnTo>
                  <a:lnTo>
                    <a:pt x="198" y="311"/>
                  </a:lnTo>
                  <a:lnTo>
                    <a:pt x="256" y="334"/>
                  </a:lnTo>
                  <a:lnTo>
                    <a:pt x="324" y="342"/>
                  </a:lnTo>
                  <a:lnTo>
                    <a:pt x="396" y="395"/>
                  </a:lnTo>
                  <a:lnTo>
                    <a:pt x="499" y="357"/>
                  </a:lnTo>
                  <a:lnTo>
                    <a:pt x="446" y="277"/>
                  </a:lnTo>
                  <a:lnTo>
                    <a:pt x="511" y="250"/>
                  </a:lnTo>
                  <a:lnTo>
                    <a:pt x="496" y="212"/>
                  </a:lnTo>
                  <a:lnTo>
                    <a:pt x="546" y="140"/>
                  </a:lnTo>
                  <a:lnTo>
                    <a:pt x="478" y="64"/>
                  </a:lnTo>
                  <a:lnTo>
                    <a:pt x="314" y="94"/>
                  </a:lnTo>
                  <a:lnTo>
                    <a:pt x="338" y="49"/>
                  </a:lnTo>
                  <a:lnTo>
                    <a:pt x="314" y="0"/>
                  </a:lnTo>
                  <a:lnTo>
                    <a:pt x="168" y="17"/>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8" name="Freeform 29"/>
            <p:cNvSpPr>
              <a:spLocks noChangeAspect="1"/>
            </p:cNvSpPr>
            <p:nvPr/>
          </p:nvSpPr>
          <p:spPr bwMode="gray">
            <a:xfrm>
              <a:off x="2921231" y="2598180"/>
              <a:ext cx="431476" cy="480529"/>
            </a:xfrm>
            <a:custGeom>
              <a:avLst/>
              <a:gdLst>
                <a:gd name="T0" fmla="*/ 184 w 500"/>
                <a:gd name="T1" fmla="*/ 0 h 513"/>
                <a:gd name="T2" fmla="*/ 102 w 500"/>
                <a:gd name="T3" fmla="*/ 0 h 513"/>
                <a:gd name="T4" fmla="*/ 62 w 500"/>
                <a:gd name="T5" fmla="*/ 26 h 513"/>
                <a:gd name="T6" fmla="*/ 32 w 500"/>
                <a:gd name="T7" fmla="*/ 110 h 513"/>
                <a:gd name="T8" fmla="*/ 100 w 500"/>
                <a:gd name="T9" fmla="*/ 186 h 513"/>
                <a:gd name="T10" fmla="*/ 50 w 500"/>
                <a:gd name="T11" fmla="*/ 258 h 513"/>
                <a:gd name="T12" fmla="*/ 65 w 500"/>
                <a:gd name="T13" fmla="*/ 296 h 513"/>
                <a:gd name="T14" fmla="*/ 0 w 500"/>
                <a:gd name="T15" fmla="*/ 323 h 513"/>
                <a:gd name="T16" fmla="*/ 53 w 500"/>
                <a:gd name="T17" fmla="*/ 403 h 513"/>
                <a:gd name="T18" fmla="*/ 109 w 500"/>
                <a:gd name="T19" fmla="*/ 403 h 513"/>
                <a:gd name="T20" fmla="*/ 159 w 500"/>
                <a:gd name="T21" fmla="*/ 437 h 513"/>
                <a:gd name="T22" fmla="*/ 237 w 500"/>
                <a:gd name="T23" fmla="*/ 410 h 513"/>
                <a:gd name="T24" fmla="*/ 327 w 500"/>
                <a:gd name="T25" fmla="*/ 477 h 513"/>
                <a:gd name="T26" fmla="*/ 351 w 500"/>
                <a:gd name="T27" fmla="*/ 465 h 513"/>
                <a:gd name="T28" fmla="*/ 400 w 500"/>
                <a:gd name="T29" fmla="*/ 513 h 513"/>
                <a:gd name="T30" fmla="*/ 421 w 500"/>
                <a:gd name="T31" fmla="*/ 500 h 513"/>
                <a:gd name="T32" fmla="*/ 421 w 500"/>
                <a:gd name="T33" fmla="*/ 467 h 513"/>
                <a:gd name="T34" fmla="*/ 442 w 500"/>
                <a:gd name="T35" fmla="*/ 458 h 513"/>
                <a:gd name="T36" fmla="*/ 427 w 500"/>
                <a:gd name="T37" fmla="*/ 414 h 513"/>
                <a:gd name="T38" fmla="*/ 500 w 500"/>
                <a:gd name="T39" fmla="*/ 286 h 513"/>
                <a:gd name="T40" fmla="*/ 479 w 500"/>
                <a:gd name="T41" fmla="*/ 243 h 513"/>
                <a:gd name="T42" fmla="*/ 488 w 500"/>
                <a:gd name="T43" fmla="*/ 199 h 513"/>
                <a:gd name="T44" fmla="*/ 427 w 500"/>
                <a:gd name="T45" fmla="*/ 220 h 513"/>
                <a:gd name="T46" fmla="*/ 343 w 500"/>
                <a:gd name="T47" fmla="*/ 195 h 513"/>
                <a:gd name="T48" fmla="*/ 298 w 500"/>
                <a:gd name="T49" fmla="*/ 106 h 513"/>
                <a:gd name="T50" fmla="*/ 269 w 500"/>
                <a:gd name="T51" fmla="*/ 127 h 513"/>
                <a:gd name="T52" fmla="*/ 231 w 500"/>
                <a:gd name="T53" fmla="*/ 19 h 513"/>
                <a:gd name="T54" fmla="*/ 184 w 500"/>
                <a:gd name="T55" fmla="*/ 0 h 513"/>
                <a:gd name="T56" fmla="*/ 184 w 500"/>
                <a:gd name="T57" fmla="*/ 0 h 51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00"/>
                <a:gd name="T88" fmla="*/ 0 h 513"/>
                <a:gd name="T89" fmla="*/ 500 w 500"/>
                <a:gd name="T90" fmla="*/ 513 h 51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00" h="513">
                  <a:moveTo>
                    <a:pt x="184" y="0"/>
                  </a:moveTo>
                  <a:lnTo>
                    <a:pt x="102" y="0"/>
                  </a:lnTo>
                  <a:lnTo>
                    <a:pt x="62" y="26"/>
                  </a:lnTo>
                  <a:lnTo>
                    <a:pt x="32" y="110"/>
                  </a:lnTo>
                  <a:lnTo>
                    <a:pt x="100" y="186"/>
                  </a:lnTo>
                  <a:lnTo>
                    <a:pt x="50" y="258"/>
                  </a:lnTo>
                  <a:lnTo>
                    <a:pt x="65" y="296"/>
                  </a:lnTo>
                  <a:lnTo>
                    <a:pt x="0" y="323"/>
                  </a:lnTo>
                  <a:lnTo>
                    <a:pt x="53" y="403"/>
                  </a:lnTo>
                  <a:lnTo>
                    <a:pt x="109" y="403"/>
                  </a:lnTo>
                  <a:lnTo>
                    <a:pt x="159" y="437"/>
                  </a:lnTo>
                  <a:lnTo>
                    <a:pt x="237" y="410"/>
                  </a:lnTo>
                  <a:lnTo>
                    <a:pt x="327" y="477"/>
                  </a:lnTo>
                  <a:lnTo>
                    <a:pt x="351" y="465"/>
                  </a:lnTo>
                  <a:lnTo>
                    <a:pt x="400" y="513"/>
                  </a:lnTo>
                  <a:lnTo>
                    <a:pt x="421" y="500"/>
                  </a:lnTo>
                  <a:lnTo>
                    <a:pt x="421" y="467"/>
                  </a:lnTo>
                  <a:lnTo>
                    <a:pt x="442" y="458"/>
                  </a:lnTo>
                  <a:lnTo>
                    <a:pt x="427" y="414"/>
                  </a:lnTo>
                  <a:lnTo>
                    <a:pt x="500" y="286"/>
                  </a:lnTo>
                  <a:lnTo>
                    <a:pt x="479" y="243"/>
                  </a:lnTo>
                  <a:lnTo>
                    <a:pt x="488" y="199"/>
                  </a:lnTo>
                  <a:lnTo>
                    <a:pt x="427" y="220"/>
                  </a:lnTo>
                  <a:lnTo>
                    <a:pt x="343" y="195"/>
                  </a:lnTo>
                  <a:lnTo>
                    <a:pt x="298" y="106"/>
                  </a:lnTo>
                  <a:lnTo>
                    <a:pt x="269" y="127"/>
                  </a:lnTo>
                  <a:lnTo>
                    <a:pt x="231" y="19"/>
                  </a:lnTo>
                  <a:lnTo>
                    <a:pt x="184"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9" name="Freeform 30"/>
            <p:cNvSpPr>
              <a:spLocks noChangeAspect="1"/>
            </p:cNvSpPr>
            <p:nvPr/>
          </p:nvSpPr>
          <p:spPr bwMode="gray">
            <a:xfrm>
              <a:off x="3439002" y="2448599"/>
              <a:ext cx="322744" cy="491748"/>
            </a:xfrm>
            <a:custGeom>
              <a:avLst/>
              <a:gdLst>
                <a:gd name="T0" fmla="*/ 112 w 374"/>
                <a:gd name="T1" fmla="*/ 0 h 527"/>
                <a:gd name="T2" fmla="*/ 46 w 374"/>
                <a:gd name="T3" fmla="*/ 18 h 527"/>
                <a:gd name="T4" fmla="*/ 49 w 374"/>
                <a:gd name="T5" fmla="*/ 72 h 527"/>
                <a:gd name="T6" fmla="*/ 0 w 374"/>
                <a:gd name="T7" fmla="*/ 86 h 527"/>
                <a:gd name="T8" fmla="*/ 0 w 374"/>
                <a:gd name="T9" fmla="*/ 127 h 527"/>
                <a:gd name="T10" fmla="*/ 61 w 374"/>
                <a:gd name="T11" fmla="*/ 226 h 527"/>
                <a:gd name="T12" fmla="*/ 61 w 374"/>
                <a:gd name="T13" fmla="*/ 289 h 527"/>
                <a:gd name="T14" fmla="*/ 19 w 374"/>
                <a:gd name="T15" fmla="*/ 327 h 527"/>
                <a:gd name="T16" fmla="*/ 87 w 374"/>
                <a:gd name="T17" fmla="*/ 375 h 527"/>
                <a:gd name="T18" fmla="*/ 125 w 374"/>
                <a:gd name="T19" fmla="*/ 485 h 527"/>
                <a:gd name="T20" fmla="*/ 205 w 374"/>
                <a:gd name="T21" fmla="*/ 501 h 527"/>
                <a:gd name="T22" fmla="*/ 213 w 374"/>
                <a:gd name="T23" fmla="*/ 527 h 527"/>
                <a:gd name="T24" fmla="*/ 245 w 374"/>
                <a:gd name="T25" fmla="*/ 527 h 527"/>
                <a:gd name="T26" fmla="*/ 269 w 374"/>
                <a:gd name="T27" fmla="*/ 495 h 527"/>
                <a:gd name="T28" fmla="*/ 312 w 374"/>
                <a:gd name="T29" fmla="*/ 495 h 527"/>
                <a:gd name="T30" fmla="*/ 350 w 374"/>
                <a:gd name="T31" fmla="*/ 469 h 527"/>
                <a:gd name="T32" fmla="*/ 350 w 374"/>
                <a:gd name="T33" fmla="*/ 422 h 527"/>
                <a:gd name="T34" fmla="*/ 374 w 374"/>
                <a:gd name="T35" fmla="*/ 346 h 527"/>
                <a:gd name="T36" fmla="*/ 367 w 374"/>
                <a:gd name="T37" fmla="*/ 293 h 527"/>
                <a:gd name="T38" fmla="*/ 325 w 374"/>
                <a:gd name="T39" fmla="*/ 272 h 527"/>
                <a:gd name="T40" fmla="*/ 327 w 374"/>
                <a:gd name="T41" fmla="*/ 203 h 527"/>
                <a:gd name="T42" fmla="*/ 283 w 374"/>
                <a:gd name="T43" fmla="*/ 162 h 527"/>
                <a:gd name="T44" fmla="*/ 257 w 374"/>
                <a:gd name="T45" fmla="*/ 162 h 527"/>
                <a:gd name="T46" fmla="*/ 253 w 374"/>
                <a:gd name="T47" fmla="*/ 126 h 527"/>
                <a:gd name="T48" fmla="*/ 222 w 374"/>
                <a:gd name="T49" fmla="*/ 76 h 527"/>
                <a:gd name="T50" fmla="*/ 112 w 374"/>
                <a:gd name="T51" fmla="*/ 30 h 527"/>
                <a:gd name="T52" fmla="*/ 112 w 374"/>
                <a:gd name="T53" fmla="*/ 0 h 527"/>
                <a:gd name="T54" fmla="*/ 112 w 374"/>
                <a:gd name="T55" fmla="*/ 0 h 52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74"/>
                <a:gd name="T85" fmla="*/ 0 h 527"/>
                <a:gd name="T86" fmla="*/ 374 w 374"/>
                <a:gd name="T87" fmla="*/ 527 h 52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74" h="527">
                  <a:moveTo>
                    <a:pt x="112" y="0"/>
                  </a:moveTo>
                  <a:lnTo>
                    <a:pt x="46" y="18"/>
                  </a:lnTo>
                  <a:lnTo>
                    <a:pt x="49" y="72"/>
                  </a:lnTo>
                  <a:lnTo>
                    <a:pt x="0" y="86"/>
                  </a:lnTo>
                  <a:lnTo>
                    <a:pt x="0" y="127"/>
                  </a:lnTo>
                  <a:lnTo>
                    <a:pt x="61" y="226"/>
                  </a:lnTo>
                  <a:lnTo>
                    <a:pt x="61" y="289"/>
                  </a:lnTo>
                  <a:lnTo>
                    <a:pt x="19" y="327"/>
                  </a:lnTo>
                  <a:lnTo>
                    <a:pt x="87" y="375"/>
                  </a:lnTo>
                  <a:lnTo>
                    <a:pt x="125" y="485"/>
                  </a:lnTo>
                  <a:lnTo>
                    <a:pt x="205" y="501"/>
                  </a:lnTo>
                  <a:lnTo>
                    <a:pt x="213" y="527"/>
                  </a:lnTo>
                  <a:lnTo>
                    <a:pt x="245" y="527"/>
                  </a:lnTo>
                  <a:lnTo>
                    <a:pt x="269" y="495"/>
                  </a:lnTo>
                  <a:lnTo>
                    <a:pt x="312" y="495"/>
                  </a:lnTo>
                  <a:lnTo>
                    <a:pt x="350" y="469"/>
                  </a:lnTo>
                  <a:lnTo>
                    <a:pt x="350" y="422"/>
                  </a:lnTo>
                  <a:lnTo>
                    <a:pt x="374" y="346"/>
                  </a:lnTo>
                  <a:lnTo>
                    <a:pt x="367" y="293"/>
                  </a:lnTo>
                  <a:lnTo>
                    <a:pt x="325" y="272"/>
                  </a:lnTo>
                  <a:lnTo>
                    <a:pt x="327" y="203"/>
                  </a:lnTo>
                  <a:lnTo>
                    <a:pt x="283" y="162"/>
                  </a:lnTo>
                  <a:lnTo>
                    <a:pt x="257" y="162"/>
                  </a:lnTo>
                  <a:lnTo>
                    <a:pt x="253" y="126"/>
                  </a:lnTo>
                  <a:lnTo>
                    <a:pt x="222" y="76"/>
                  </a:lnTo>
                  <a:lnTo>
                    <a:pt x="112" y="30"/>
                  </a:lnTo>
                  <a:lnTo>
                    <a:pt x="112"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30" name="Freeform 31"/>
            <p:cNvSpPr>
              <a:spLocks noChangeAspect="1"/>
            </p:cNvSpPr>
            <p:nvPr/>
          </p:nvSpPr>
          <p:spPr bwMode="gray">
            <a:xfrm>
              <a:off x="3288848" y="2749631"/>
              <a:ext cx="405588" cy="512315"/>
            </a:xfrm>
            <a:custGeom>
              <a:avLst/>
              <a:gdLst>
                <a:gd name="T0" fmla="*/ 192 w 470"/>
                <a:gd name="T1" fmla="*/ 0 h 548"/>
                <a:gd name="T2" fmla="*/ 61 w 470"/>
                <a:gd name="T3" fmla="*/ 38 h 548"/>
                <a:gd name="T4" fmla="*/ 52 w 470"/>
                <a:gd name="T5" fmla="*/ 82 h 548"/>
                <a:gd name="T6" fmla="*/ 73 w 470"/>
                <a:gd name="T7" fmla="*/ 128 h 548"/>
                <a:gd name="T8" fmla="*/ 0 w 470"/>
                <a:gd name="T9" fmla="*/ 253 h 548"/>
                <a:gd name="T10" fmla="*/ 17 w 470"/>
                <a:gd name="T11" fmla="*/ 295 h 548"/>
                <a:gd name="T12" fmla="*/ 17 w 470"/>
                <a:gd name="T13" fmla="*/ 377 h 548"/>
                <a:gd name="T14" fmla="*/ 46 w 470"/>
                <a:gd name="T15" fmla="*/ 438 h 548"/>
                <a:gd name="T16" fmla="*/ 146 w 470"/>
                <a:gd name="T17" fmla="*/ 483 h 548"/>
                <a:gd name="T18" fmla="*/ 208 w 470"/>
                <a:gd name="T19" fmla="*/ 548 h 548"/>
                <a:gd name="T20" fmla="*/ 400 w 470"/>
                <a:gd name="T21" fmla="*/ 499 h 548"/>
                <a:gd name="T22" fmla="*/ 462 w 470"/>
                <a:gd name="T23" fmla="*/ 420 h 548"/>
                <a:gd name="T24" fmla="*/ 470 w 470"/>
                <a:gd name="T25" fmla="*/ 339 h 548"/>
                <a:gd name="T26" fmla="*/ 432 w 470"/>
                <a:gd name="T27" fmla="*/ 276 h 548"/>
                <a:gd name="T28" fmla="*/ 460 w 470"/>
                <a:gd name="T29" fmla="*/ 225 h 548"/>
                <a:gd name="T30" fmla="*/ 430 w 470"/>
                <a:gd name="T31" fmla="*/ 187 h 548"/>
                <a:gd name="T32" fmla="*/ 416 w 470"/>
                <a:gd name="T33" fmla="*/ 201 h 548"/>
                <a:gd name="T34" fmla="*/ 386 w 470"/>
                <a:gd name="T35" fmla="*/ 201 h 548"/>
                <a:gd name="T36" fmla="*/ 384 w 470"/>
                <a:gd name="T37" fmla="*/ 178 h 548"/>
                <a:gd name="T38" fmla="*/ 298 w 470"/>
                <a:gd name="T39" fmla="*/ 162 h 548"/>
                <a:gd name="T40" fmla="*/ 260 w 470"/>
                <a:gd name="T41" fmla="*/ 52 h 548"/>
                <a:gd name="T42" fmla="*/ 192 w 470"/>
                <a:gd name="T43" fmla="*/ 0 h 548"/>
                <a:gd name="T44" fmla="*/ 192 w 470"/>
                <a:gd name="T45" fmla="*/ 0 h 54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0"/>
                <a:gd name="T70" fmla="*/ 0 h 548"/>
                <a:gd name="T71" fmla="*/ 470 w 470"/>
                <a:gd name="T72" fmla="*/ 548 h 54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0" h="548">
                  <a:moveTo>
                    <a:pt x="192" y="0"/>
                  </a:moveTo>
                  <a:lnTo>
                    <a:pt x="61" y="38"/>
                  </a:lnTo>
                  <a:lnTo>
                    <a:pt x="52" y="82"/>
                  </a:lnTo>
                  <a:lnTo>
                    <a:pt x="73" y="128"/>
                  </a:lnTo>
                  <a:lnTo>
                    <a:pt x="0" y="253"/>
                  </a:lnTo>
                  <a:lnTo>
                    <a:pt x="17" y="295"/>
                  </a:lnTo>
                  <a:lnTo>
                    <a:pt x="17" y="377"/>
                  </a:lnTo>
                  <a:lnTo>
                    <a:pt x="46" y="438"/>
                  </a:lnTo>
                  <a:lnTo>
                    <a:pt x="146" y="483"/>
                  </a:lnTo>
                  <a:lnTo>
                    <a:pt x="208" y="548"/>
                  </a:lnTo>
                  <a:lnTo>
                    <a:pt x="400" y="499"/>
                  </a:lnTo>
                  <a:lnTo>
                    <a:pt x="462" y="420"/>
                  </a:lnTo>
                  <a:lnTo>
                    <a:pt x="470" y="339"/>
                  </a:lnTo>
                  <a:lnTo>
                    <a:pt x="432" y="276"/>
                  </a:lnTo>
                  <a:lnTo>
                    <a:pt x="460" y="225"/>
                  </a:lnTo>
                  <a:lnTo>
                    <a:pt x="430" y="187"/>
                  </a:lnTo>
                  <a:lnTo>
                    <a:pt x="416" y="201"/>
                  </a:lnTo>
                  <a:lnTo>
                    <a:pt x="386" y="201"/>
                  </a:lnTo>
                  <a:lnTo>
                    <a:pt x="384" y="178"/>
                  </a:lnTo>
                  <a:lnTo>
                    <a:pt x="298" y="162"/>
                  </a:lnTo>
                  <a:lnTo>
                    <a:pt x="260" y="52"/>
                  </a:lnTo>
                  <a:lnTo>
                    <a:pt x="192"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31" name="Freeform 32"/>
            <p:cNvSpPr>
              <a:spLocks noChangeAspect="1"/>
            </p:cNvSpPr>
            <p:nvPr/>
          </p:nvSpPr>
          <p:spPr bwMode="gray">
            <a:xfrm>
              <a:off x="3659918" y="2734673"/>
              <a:ext cx="407314" cy="364604"/>
            </a:xfrm>
            <a:custGeom>
              <a:avLst/>
              <a:gdLst>
                <a:gd name="T0" fmla="*/ 471 w 471"/>
                <a:gd name="T1" fmla="*/ 82 h 388"/>
                <a:gd name="T2" fmla="*/ 395 w 471"/>
                <a:gd name="T3" fmla="*/ 34 h 388"/>
                <a:gd name="T4" fmla="*/ 336 w 471"/>
                <a:gd name="T5" fmla="*/ 29 h 388"/>
                <a:gd name="T6" fmla="*/ 243 w 471"/>
                <a:gd name="T7" fmla="*/ 29 h 388"/>
                <a:gd name="T8" fmla="*/ 224 w 471"/>
                <a:gd name="T9" fmla="*/ 0 h 388"/>
                <a:gd name="T10" fmla="*/ 117 w 471"/>
                <a:gd name="T11" fmla="*/ 38 h 388"/>
                <a:gd name="T12" fmla="*/ 91 w 471"/>
                <a:gd name="T13" fmla="*/ 116 h 388"/>
                <a:gd name="T14" fmla="*/ 91 w 471"/>
                <a:gd name="T15" fmla="*/ 161 h 388"/>
                <a:gd name="T16" fmla="*/ 56 w 471"/>
                <a:gd name="T17" fmla="*/ 187 h 388"/>
                <a:gd name="T18" fmla="*/ 11 w 471"/>
                <a:gd name="T19" fmla="*/ 183 h 388"/>
                <a:gd name="T20" fmla="*/ 0 w 471"/>
                <a:gd name="T21" fmla="*/ 202 h 388"/>
                <a:gd name="T22" fmla="*/ 30 w 471"/>
                <a:gd name="T23" fmla="*/ 242 h 388"/>
                <a:gd name="T24" fmla="*/ 2 w 471"/>
                <a:gd name="T25" fmla="*/ 287 h 388"/>
                <a:gd name="T26" fmla="*/ 40 w 471"/>
                <a:gd name="T27" fmla="*/ 356 h 388"/>
                <a:gd name="T28" fmla="*/ 73 w 471"/>
                <a:gd name="T29" fmla="*/ 388 h 388"/>
                <a:gd name="T30" fmla="*/ 225 w 471"/>
                <a:gd name="T31" fmla="*/ 329 h 388"/>
                <a:gd name="T32" fmla="*/ 353 w 471"/>
                <a:gd name="T33" fmla="*/ 234 h 388"/>
                <a:gd name="T34" fmla="*/ 389 w 471"/>
                <a:gd name="T35" fmla="*/ 249 h 388"/>
                <a:gd name="T36" fmla="*/ 430 w 471"/>
                <a:gd name="T37" fmla="*/ 207 h 388"/>
                <a:gd name="T38" fmla="*/ 471 w 471"/>
                <a:gd name="T39" fmla="*/ 205 h 388"/>
                <a:gd name="T40" fmla="*/ 450 w 471"/>
                <a:gd name="T41" fmla="*/ 135 h 388"/>
                <a:gd name="T42" fmla="*/ 471 w 471"/>
                <a:gd name="T43" fmla="*/ 82 h 388"/>
                <a:gd name="T44" fmla="*/ 471 w 471"/>
                <a:gd name="T45" fmla="*/ 82 h 38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1"/>
                <a:gd name="T70" fmla="*/ 0 h 388"/>
                <a:gd name="T71" fmla="*/ 471 w 471"/>
                <a:gd name="T72" fmla="*/ 388 h 38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1" h="388">
                  <a:moveTo>
                    <a:pt x="471" y="82"/>
                  </a:moveTo>
                  <a:lnTo>
                    <a:pt x="395" y="34"/>
                  </a:lnTo>
                  <a:lnTo>
                    <a:pt x="336" y="29"/>
                  </a:lnTo>
                  <a:lnTo>
                    <a:pt x="243" y="29"/>
                  </a:lnTo>
                  <a:lnTo>
                    <a:pt x="224" y="0"/>
                  </a:lnTo>
                  <a:lnTo>
                    <a:pt x="117" y="38"/>
                  </a:lnTo>
                  <a:lnTo>
                    <a:pt x="91" y="116"/>
                  </a:lnTo>
                  <a:lnTo>
                    <a:pt x="91" y="161"/>
                  </a:lnTo>
                  <a:lnTo>
                    <a:pt x="56" y="187"/>
                  </a:lnTo>
                  <a:lnTo>
                    <a:pt x="11" y="183"/>
                  </a:lnTo>
                  <a:lnTo>
                    <a:pt x="0" y="202"/>
                  </a:lnTo>
                  <a:lnTo>
                    <a:pt x="30" y="242"/>
                  </a:lnTo>
                  <a:lnTo>
                    <a:pt x="2" y="287"/>
                  </a:lnTo>
                  <a:lnTo>
                    <a:pt x="40" y="356"/>
                  </a:lnTo>
                  <a:lnTo>
                    <a:pt x="73" y="388"/>
                  </a:lnTo>
                  <a:lnTo>
                    <a:pt x="225" y="329"/>
                  </a:lnTo>
                  <a:lnTo>
                    <a:pt x="353" y="234"/>
                  </a:lnTo>
                  <a:lnTo>
                    <a:pt x="389" y="249"/>
                  </a:lnTo>
                  <a:lnTo>
                    <a:pt x="430" y="207"/>
                  </a:lnTo>
                  <a:lnTo>
                    <a:pt x="471" y="205"/>
                  </a:lnTo>
                  <a:lnTo>
                    <a:pt x="450" y="135"/>
                  </a:lnTo>
                  <a:lnTo>
                    <a:pt x="471" y="82"/>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32" name="Freeform 33"/>
            <p:cNvSpPr>
              <a:spLocks noChangeAspect="1"/>
            </p:cNvSpPr>
            <p:nvPr/>
          </p:nvSpPr>
          <p:spPr bwMode="gray">
            <a:xfrm>
              <a:off x="3161131" y="3159109"/>
              <a:ext cx="538483" cy="441264"/>
            </a:xfrm>
            <a:custGeom>
              <a:avLst/>
              <a:gdLst>
                <a:gd name="T0" fmla="*/ 194 w 626"/>
                <a:gd name="T1" fmla="*/ 0 h 472"/>
                <a:gd name="T2" fmla="*/ 135 w 626"/>
                <a:gd name="T3" fmla="*/ 53 h 472"/>
                <a:gd name="T4" fmla="*/ 141 w 626"/>
                <a:gd name="T5" fmla="*/ 184 h 472"/>
                <a:gd name="T6" fmla="*/ 68 w 626"/>
                <a:gd name="T7" fmla="*/ 230 h 472"/>
                <a:gd name="T8" fmla="*/ 21 w 626"/>
                <a:gd name="T9" fmla="*/ 205 h 472"/>
                <a:gd name="T10" fmla="*/ 0 w 626"/>
                <a:gd name="T11" fmla="*/ 229 h 472"/>
                <a:gd name="T12" fmla="*/ 130 w 626"/>
                <a:gd name="T13" fmla="*/ 338 h 472"/>
                <a:gd name="T14" fmla="*/ 130 w 626"/>
                <a:gd name="T15" fmla="*/ 403 h 472"/>
                <a:gd name="T16" fmla="*/ 89 w 626"/>
                <a:gd name="T17" fmla="*/ 424 h 472"/>
                <a:gd name="T18" fmla="*/ 150 w 626"/>
                <a:gd name="T19" fmla="*/ 472 h 472"/>
                <a:gd name="T20" fmla="*/ 276 w 626"/>
                <a:gd name="T21" fmla="*/ 451 h 472"/>
                <a:gd name="T22" fmla="*/ 279 w 626"/>
                <a:gd name="T23" fmla="*/ 411 h 472"/>
                <a:gd name="T24" fmla="*/ 369 w 626"/>
                <a:gd name="T25" fmla="*/ 403 h 472"/>
                <a:gd name="T26" fmla="*/ 422 w 626"/>
                <a:gd name="T27" fmla="*/ 452 h 472"/>
                <a:gd name="T28" fmla="*/ 451 w 626"/>
                <a:gd name="T29" fmla="*/ 308 h 472"/>
                <a:gd name="T30" fmla="*/ 545 w 626"/>
                <a:gd name="T31" fmla="*/ 299 h 472"/>
                <a:gd name="T32" fmla="*/ 582 w 626"/>
                <a:gd name="T33" fmla="*/ 318 h 472"/>
                <a:gd name="T34" fmla="*/ 623 w 626"/>
                <a:gd name="T35" fmla="*/ 310 h 472"/>
                <a:gd name="T36" fmla="*/ 592 w 626"/>
                <a:gd name="T37" fmla="*/ 265 h 472"/>
                <a:gd name="T38" fmla="*/ 626 w 626"/>
                <a:gd name="T39" fmla="*/ 219 h 472"/>
                <a:gd name="T40" fmla="*/ 551 w 626"/>
                <a:gd name="T41" fmla="*/ 87 h 472"/>
                <a:gd name="T42" fmla="*/ 551 w 626"/>
                <a:gd name="T43" fmla="*/ 58 h 472"/>
                <a:gd name="T44" fmla="*/ 358 w 626"/>
                <a:gd name="T45" fmla="*/ 110 h 472"/>
                <a:gd name="T46" fmla="*/ 296 w 626"/>
                <a:gd name="T47" fmla="*/ 43 h 472"/>
                <a:gd name="T48" fmla="*/ 194 w 626"/>
                <a:gd name="T49" fmla="*/ 0 h 472"/>
                <a:gd name="T50" fmla="*/ 194 w 626"/>
                <a:gd name="T51" fmla="*/ 0 h 47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26"/>
                <a:gd name="T79" fmla="*/ 0 h 472"/>
                <a:gd name="T80" fmla="*/ 626 w 626"/>
                <a:gd name="T81" fmla="*/ 472 h 47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26" h="472">
                  <a:moveTo>
                    <a:pt x="194" y="0"/>
                  </a:moveTo>
                  <a:lnTo>
                    <a:pt x="135" y="53"/>
                  </a:lnTo>
                  <a:lnTo>
                    <a:pt x="141" y="184"/>
                  </a:lnTo>
                  <a:lnTo>
                    <a:pt x="68" y="230"/>
                  </a:lnTo>
                  <a:lnTo>
                    <a:pt x="21" y="205"/>
                  </a:lnTo>
                  <a:lnTo>
                    <a:pt x="0" y="229"/>
                  </a:lnTo>
                  <a:lnTo>
                    <a:pt x="130" y="338"/>
                  </a:lnTo>
                  <a:lnTo>
                    <a:pt x="130" y="403"/>
                  </a:lnTo>
                  <a:lnTo>
                    <a:pt x="89" y="424"/>
                  </a:lnTo>
                  <a:lnTo>
                    <a:pt x="150" y="472"/>
                  </a:lnTo>
                  <a:lnTo>
                    <a:pt x="276" y="451"/>
                  </a:lnTo>
                  <a:lnTo>
                    <a:pt x="279" y="411"/>
                  </a:lnTo>
                  <a:lnTo>
                    <a:pt x="369" y="403"/>
                  </a:lnTo>
                  <a:lnTo>
                    <a:pt x="422" y="452"/>
                  </a:lnTo>
                  <a:lnTo>
                    <a:pt x="451" y="308"/>
                  </a:lnTo>
                  <a:lnTo>
                    <a:pt x="545" y="299"/>
                  </a:lnTo>
                  <a:lnTo>
                    <a:pt x="582" y="318"/>
                  </a:lnTo>
                  <a:lnTo>
                    <a:pt x="623" y="310"/>
                  </a:lnTo>
                  <a:lnTo>
                    <a:pt x="592" y="265"/>
                  </a:lnTo>
                  <a:lnTo>
                    <a:pt x="626" y="219"/>
                  </a:lnTo>
                  <a:lnTo>
                    <a:pt x="551" y="87"/>
                  </a:lnTo>
                  <a:lnTo>
                    <a:pt x="551" y="58"/>
                  </a:lnTo>
                  <a:lnTo>
                    <a:pt x="358" y="110"/>
                  </a:lnTo>
                  <a:lnTo>
                    <a:pt x="296" y="43"/>
                  </a:lnTo>
                  <a:lnTo>
                    <a:pt x="194"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33" name="Freeform 34"/>
            <p:cNvSpPr>
              <a:spLocks noChangeAspect="1"/>
            </p:cNvSpPr>
            <p:nvPr/>
          </p:nvSpPr>
          <p:spPr bwMode="gray">
            <a:xfrm>
              <a:off x="2928134" y="2974002"/>
              <a:ext cx="402136" cy="418827"/>
            </a:xfrm>
            <a:custGeom>
              <a:avLst/>
              <a:gdLst>
                <a:gd name="T0" fmla="*/ 0 w 465"/>
                <a:gd name="T1" fmla="*/ 17 h 449"/>
                <a:gd name="T2" fmla="*/ 8 w 465"/>
                <a:gd name="T3" fmla="*/ 118 h 449"/>
                <a:gd name="T4" fmla="*/ 74 w 465"/>
                <a:gd name="T5" fmla="*/ 222 h 449"/>
                <a:gd name="T6" fmla="*/ 56 w 465"/>
                <a:gd name="T7" fmla="*/ 385 h 449"/>
                <a:gd name="T8" fmla="*/ 125 w 465"/>
                <a:gd name="T9" fmla="*/ 437 h 449"/>
                <a:gd name="T10" fmla="*/ 236 w 465"/>
                <a:gd name="T11" fmla="*/ 449 h 449"/>
                <a:gd name="T12" fmla="*/ 268 w 465"/>
                <a:gd name="T13" fmla="*/ 428 h 449"/>
                <a:gd name="T14" fmla="*/ 289 w 465"/>
                <a:gd name="T15" fmla="*/ 403 h 449"/>
                <a:gd name="T16" fmla="*/ 336 w 465"/>
                <a:gd name="T17" fmla="*/ 428 h 449"/>
                <a:gd name="T18" fmla="*/ 412 w 465"/>
                <a:gd name="T19" fmla="*/ 385 h 449"/>
                <a:gd name="T20" fmla="*/ 403 w 465"/>
                <a:gd name="T21" fmla="*/ 251 h 449"/>
                <a:gd name="T22" fmla="*/ 465 w 465"/>
                <a:gd name="T23" fmla="*/ 198 h 449"/>
                <a:gd name="T24" fmla="*/ 435 w 465"/>
                <a:gd name="T25" fmla="*/ 140 h 449"/>
                <a:gd name="T26" fmla="*/ 435 w 465"/>
                <a:gd name="T27" fmla="*/ 55 h 449"/>
                <a:gd name="T28" fmla="*/ 412 w 465"/>
                <a:gd name="T29" fmla="*/ 64 h 449"/>
                <a:gd name="T30" fmla="*/ 412 w 465"/>
                <a:gd name="T31" fmla="*/ 96 h 449"/>
                <a:gd name="T32" fmla="*/ 391 w 465"/>
                <a:gd name="T33" fmla="*/ 112 h 449"/>
                <a:gd name="T34" fmla="*/ 340 w 465"/>
                <a:gd name="T35" fmla="*/ 64 h 449"/>
                <a:gd name="T36" fmla="*/ 318 w 465"/>
                <a:gd name="T37" fmla="*/ 76 h 449"/>
                <a:gd name="T38" fmla="*/ 226 w 465"/>
                <a:gd name="T39" fmla="*/ 9 h 449"/>
                <a:gd name="T40" fmla="*/ 154 w 465"/>
                <a:gd name="T41" fmla="*/ 36 h 449"/>
                <a:gd name="T42" fmla="*/ 102 w 465"/>
                <a:gd name="T43" fmla="*/ 0 h 449"/>
                <a:gd name="T44" fmla="*/ 41 w 465"/>
                <a:gd name="T45" fmla="*/ 0 h 449"/>
                <a:gd name="T46" fmla="*/ 0 w 465"/>
                <a:gd name="T47" fmla="*/ 17 h 449"/>
                <a:gd name="T48" fmla="*/ 0 w 465"/>
                <a:gd name="T49" fmla="*/ 17 h 44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65"/>
                <a:gd name="T76" fmla="*/ 0 h 449"/>
                <a:gd name="T77" fmla="*/ 465 w 465"/>
                <a:gd name="T78" fmla="*/ 449 h 44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65" h="449">
                  <a:moveTo>
                    <a:pt x="0" y="17"/>
                  </a:moveTo>
                  <a:lnTo>
                    <a:pt x="8" y="118"/>
                  </a:lnTo>
                  <a:lnTo>
                    <a:pt x="74" y="222"/>
                  </a:lnTo>
                  <a:lnTo>
                    <a:pt x="56" y="385"/>
                  </a:lnTo>
                  <a:lnTo>
                    <a:pt x="125" y="437"/>
                  </a:lnTo>
                  <a:lnTo>
                    <a:pt x="236" y="449"/>
                  </a:lnTo>
                  <a:lnTo>
                    <a:pt x="268" y="428"/>
                  </a:lnTo>
                  <a:lnTo>
                    <a:pt x="289" y="403"/>
                  </a:lnTo>
                  <a:lnTo>
                    <a:pt x="336" y="428"/>
                  </a:lnTo>
                  <a:lnTo>
                    <a:pt x="412" y="385"/>
                  </a:lnTo>
                  <a:lnTo>
                    <a:pt x="403" y="251"/>
                  </a:lnTo>
                  <a:lnTo>
                    <a:pt x="465" y="198"/>
                  </a:lnTo>
                  <a:lnTo>
                    <a:pt x="435" y="140"/>
                  </a:lnTo>
                  <a:lnTo>
                    <a:pt x="435" y="55"/>
                  </a:lnTo>
                  <a:lnTo>
                    <a:pt x="412" y="64"/>
                  </a:lnTo>
                  <a:lnTo>
                    <a:pt x="412" y="96"/>
                  </a:lnTo>
                  <a:lnTo>
                    <a:pt x="391" y="112"/>
                  </a:lnTo>
                  <a:lnTo>
                    <a:pt x="340" y="64"/>
                  </a:lnTo>
                  <a:lnTo>
                    <a:pt x="318" y="76"/>
                  </a:lnTo>
                  <a:lnTo>
                    <a:pt x="226" y="9"/>
                  </a:lnTo>
                  <a:lnTo>
                    <a:pt x="154" y="36"/>
                  </a:lnTo>
                  <a:lnTo>
                    <a:pt x="102" y="0"/>
                  </a:lnTo>
                  <a:lnTo>
                    <a:pt x="41" y="0"/>
                  </a:lnTo>
                  <a:lnTo>
                    <a:pt x="0" y="17"/>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34" name="Freeform 35"/>
            <p:cNvSpPr>
              <a:spLocks noChangeAspect="1"/>
            </p:cNvSpPr>
            <p:nvPr/>
          </p:nvSpPr>
          <p:spPr bwMode="gray">
            <a:xfrm>
              <a:off x="2760721" y="3334866"/>
              <a:ext cx="512594" cy="377692"/>
            </a:xfrm>
            <a:custGeom>
              <a:avLst/>
              <a:gdLst>
                <a:gd name="T0" fmla="*/ 252 w 594"/>
                <a:gd name="T1" fmla="*/ 0 h 406"/>
                <a:gd name="T2" fmla="*/ 114 w 594"/>
                <a:gd name="T3" fmla="*/ 64 h 406"/>
                <a:gd name="T4" fmla="*/ 111 w 594"/>
                <a:gd name="T5" fmla="*/ 119 h 406"/>
                <a:gd name="T6" fmla="*/ 40 w 594"/>
                <a:gd name="T7" fmla="*/ 127 h 406"/>
                <a:gd name="T8" fmla="*/ 0 w 594"/>
                <a:gd name="T9" fmla="*/ 178 h 406"/>
                <a:gd name="T10" fmla="*/ 105 w 594"/>
                <a:gd name="T11" fmla="*/ 318 h 406"/>
                <a:gd name="T12" fmla="*/ 225 w 594"/>
                <a:gd name="T13" fmla="*/ 260 h 406"/>
                <a:gd name="T14" fmla="*/ 285 w 594"/>
                <a:gd name="T15" fmla="*/ 367 h 406"/>
                <a:gd name="T16" fmla="*/ 410 w 594"/>
                <a:gd name="T17" fmla="*/ 352 h 406"/>
                <a:gd name="T18" fmla="*/ 514 w 594"/>
                <a:gd name="T19" fmla="*/ 406 h 406"/>
                <a:gd name="T20" fmla="*/ 544 w 594"/>
                <a:gd name="T21" fmla="*/ 373 h 406"/>
                <a:gd name="T22" fmla="*/ 523 w 594"/>
                <a:gd name="T23" fmla="*/ 264 h 406"/>
                <a:gd name="T24" fmla="*/ 553 w 594"/>
                <a:gd name="T25" fmla="*/ 237 h 406"/>
                <a:gd name="T26" fmla="*/ 594 w 594"/>
                <a:gd name="T27" fmla="*/ 216 h 406"/>
                <a:gd name="T28" fmla="*/ 594 w 594"/>
                <a:gd name="T29" fmla="*/ 151 h 406"/>
                <a:gd name="T30" fmla="*/ 468 w 594"/>
                <a:gd name="T31" fmla="*/ 43 h 406"/>
                <a:gd name="T32" fmla="*/ 438 w 594"/>
                <a:gd name="T33" fmla="*/ 60 h 406"/>
                <a:gd name="T34" fmla="*/ 318 w 594"/>
                <a:gd name="T35" fmla="*/ 52 h 406"/>
                <a:gd name="T36" fmla="*/ 252 w 594"/>
                <a:gd name="T37" fmla="*/ 0 h 406"/>
                <a:gd name="T38" fmla="*/ 252 w 594"/>
                <a:gd name="T39" fmla="*/ 0 h 40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4"/>
                <a:gd name="T61" fmla="*/ 0 h 406"/>
                <a:gd name="T62" fmla="*/ 594 w 594"/>
                <a:gd name="T63" fmla="*/ 406 h 40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4" h="406">
                  <a:moveTo>
                    <a:pt x="252" y="0"/>
                  </a:moveTo>
                  <a:lnTo>
                    <a:pt x="114" y="64"/>
                  </a:lnTo>
                  <a:lnTo>
                    <a:pt x="111" y="119"/>
                  </a:lnTo>
                  <a:lnTo>
                    <a:pt x="40" y="127"/>
                  </a:lnTo>
                  <a:lnTo>
                    <a:pt x="0" y="178"/>
                  </a:lnTo>
                  <a:lnTo>
                    <a:pt x="105" y="318"/>
                  </a:lnTo>
                  <a:lnTo>
                    <a:pt x="225" y="260"/>
                  </a:lnTo>
                  <a:lnTo>
                    <a:pt x="285" y="367"/>
                  </a:lnTo>
                  <a:lnTo>
                    <a:pt x="410" y="352"/>
                  </a:lnTo>
                  <a:lnTo>
                    <a:pt x="514" y="406"/>
                  </a:lnTo>
                  <a:lnTo>
                    <a:pt x="544" y="373"/>
                  </a:lnTo>
                  <a:lnTo>
                    <a:pt x="523" y="264"/>
                  </a:lnTo>
                  <a:lnTo>
                    <a:pt x="553" y="237"/>
                  </a:lnTo>
                  <a:lnTo>
                    <a:pt x="594" y="216"/>
                  </a:lnTo>
                  <a:lnTo>
                    <a:pt x="594" y="151"/>
                  </a:lnTo>
                  <a:lnTo>
                    <a:pt x="468" y="43"/>
                  </a:lnTo>
                  <a:lnTo>
                    <a:pt x="438" y="60"/>
                  </a:lnTo>
                  <a:lnTo>
                    <a:pt x="318" y="52"/>
                  </a:lnTo>
                  <a:lnTo>
                    <a:pt x="252"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35" name="Freeform 36"/>
            <p:cNvSpPr>
              <a:spLocks noChangeAspect="1"/>
            </p:cNvSpPr>
            <p:nvPr/>
          </p:nvSpPr>
          <p:spPr bwMode="gray">
            <a:xfrm>
              <a:off x="3350981" y="3534931"/>
              <a:ext cx="269241" cy="396390"/>
            </a:xfrm>
            <a:custGeom>
              <a:avLst/>
              <a:gdLst>
                <a:gd name="T0" fmla="*/ 202 w 314"/>
                <a:gd name="T1" fmla="*/ 49 h 423"/>
                <a:gd name="T2" fmla="*/ 152 w 314"/>
                <a:gd name="T3" fmla="*/ 0 h 423"/>
                <a:gd name="T4" fmla="*/ 59 w 314"/>
                <a:gd name="T5" fmla="*/ 4 h 423"/>
                <a:gd name="T6" fmla="*/ 56 w 314"/>
                <a:gd name="T7" fmla="*/ 48 h 423"/>
                <a:gd name="T8" fmla="*/ 68 w 314"/>
                <a:gd name="T9" fmla="*/ 75 h 423"/>
                <a:gd name="T10" fmla="*/ 0 w 314"/>
                <a:gd name="T11" fmla="*/ 130 h 423"/>
                <a:gd name="T12" fmla="*/ 59 w 314"/>
                <a:gd name="T13" fmla="*/ 216 h 423"/>
                <a:gd name="T14" fmla="*/ 56 w 314"/>
                <a:gd name="T15" fmla="*/ 301 h 423"/>
                <a:gd name="T16" fmla="*/ 97 w 314"/>
                <a:gd name="T17" fmla="*/ 364 h 423"/>
                <a:gd name="T18" fmla="*/ 167 w 314"/>
                <a:gd name="T19" fmla="*/ 352 h 423"/>
                <a:gd name="T20" fmla="*/ 188 w 314"/>
                <a:gd name="T21" fmla="*/ 423 h 423"/>
                <a:gd name="T22" fmla="*/ 246 w 314"/>
                <a:gd name="T23" fmla="*/ 356 h 423"/>
                <a:gd name="T24" fmla="*/ 314 w 314"/>
                <a:gd name="T25" fmla="*/ 320 h 423"/>
                <a:gd name="T26" fmla="*/ 314 w 314"/>
                <a:gd name="T27" fmla="*/ 257 h 423"/>
                <a:gd name="T28" fmla="*/ 172 w 314"/>
                <a:gd name="T29" fmla="*/ 181 h 423"/>
                <a:gd name="T30" fmla="*/ 202 w 314"/>
                <a:gd name="T31" fmla="*/ 49 h 423"/>
                <a:gd name="T32" fmla="*/ 202 w 314"/>
                <a:gd name="T33" fmla="*/ 49 h 4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14"/>
                <a:gd name="T52" fmla="*/ 0 h 423"/>
                <a:gd name="T53" fmla="*/ 314 w 314"/>
                <a:gd name="T54" fmla="*/ 423 h 4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14" h="423">
                  <a:moveTo>
                    <a:pt x="202" y="49"/>
                  </a:moveTo>
                  <a:lnTo>
                    <a:pt x="152" y="0"/>
                  </a:lnTo>
                  <a:lnTo>
                    <a:pt x="59" y="4"/>
                  </a:lnTo>
                  <a:lnTo>
                    <a:pt x="56" y="48"/>
                  </a:lnTo>
                  <a:lnTo>
                    <a:pt x="68" y="75"/>
                  </a:lnTo>
                  <a:lnTo>
                    <a:pt x="0" y="130"/>
                  </a:lnTo>
                  <a:lnTo>
                    <a:pt x="59" y="216"/>
                  </a:lnTo>
                  <a:lnTo>
                    <a:pt x="56" y="301"/>
                  </a:lnTo>
                  <a:lnTo>
                    <a:pt x="97" y="364"/>
                  </a:lnTo>
                  <a:lnTo>
                    <a:pt x="167" y="352"/>
                  </a:lnTo>
                  <a:lnTo>
                    <a:pt x="188" y="423"/>
                  </a:lnTo>
                  <a:lnTo>
                    <a:pt x="246" y="356"/>
                  </a:lnTo>
                  <a:lnTo>
                    <a:pt x="314" y="320"/>
                  </a:lnTo>
                  <a:lnTo>
                    <a:pt x="314" y="257"/>
                  </a:lnTo>
                  <a:lnTo>
                    <a:pt x="172" y="181"/>
                  </a:lnTo>
                  <a:lnTo>
                    <a:pt x="202" y="49"/>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36" name="Freeform 37"/>
            <p:cNvSpPr>
              <a:spLocks noChangeAspect="1"/>
            </p:cNvSpPr>
            <p:nvPr/>
          </p:nvSpPr>
          <p:spPr bwMode="gray">
            <a:xfrm>
              <a:off x="3202553" y="3553629"/>
              <a:ext cx="310663" cy="474920"/>
            </a:xfrm>
            <a:custGeom>
              <a:avLst/>
              <a:gdLst>
                <a:gd name="T0" fmla="*/ 226 w 358"/>
                <a:gd name="T1" fmla="*/ 29 h 507"/>
                <a:gd name="T2" fmla="*/ 243 w 358"/>
                <a:gd name="T3" fmla="*/ 59 h 507"/>
                <a:gd name="T4" fmla="*/ 170 w 358"/>
                <a:gd name="T5" fmla="*/ 112 h 507"/>
                <a:gd name="T6" fmla="*/ 231 w 358"/>
                <a:gd name="T7" fmla="*/ 203 h 507"/>
                <a:gd name="T8" fmla="*/ 226 w 358"/>
                <a:gd name="T9" fmla="*/ 279 h 507"/>
                <a:gd name="T10" fmla="*/ 269 w 358"/>
                <a:gd name="T11" fmla="*/ 343 h 507"/>
                <a:gd name="T12" fmla="*/ 337 w 358"/>
                <a:gd name="T13" fmla="*/ 334 h 507"/>
                <a:gd name="T14" fmla="*/ 358 w 358"/>
                <a:gd name="T15" fmla="*/ 404 h 507"/>
                <a:gd name="T16" fmla="*/ 358 w 358"/>
                <a:gd name="T17" fmla="*/ 437 h 507"/>
                <a:gd name="T18" fmla="*/ 269 w 358"/>
                <a:gd name="T19" fmla="*/ 507 h 507"/>
                <a:gd name="T20" fmla="*/ 188 w 358"/>
                <a:gd name="T21" fmla="*/ 443 h 507"/>
                <a:gd name="T22" fmla="*/ 56 w 358"/>
                <a:gd name="T23" fmla="*/ 449 h 507"/>
                <a:gd name="T24" fmla="*/ 73 w 358"/>
                <a:gd name="T25" fmla="*/ 361 h 507"/>
                <a:gd name="T26" fmla="*/ 3 w 358"/>
                <a:gd name="T27" fmla="*/ 272 h 507"/>
                <a:gd name="T28" fmla="*/ 0 w 358"/>
                <a:gd name="T29" fmla="*/ 170 h 507"/>
                <a:gd name="T30" fmla="*/ 30 w 358"/>
                <a:gd name="T31" fmla="*/ 135 h 507"/>
                <a:gd name="T32" fmla="*/ 9 w 358"/>
                <a:gd name="T33" fmla="*/ 29 h 507"/>
                <a:gd name="T34" fmla="*/ 45 w 358"/>
                <a:gd name="T35" fmla="*/ 0 h 507"/>
                <a:gd name="T36" fmla="*/ 103 w 358"/>
                <a:gd name="T37" fmla="*/ 50 h 507"/>
                <a:gd name="T38" fmla="*/ 226 w 358"/>
                <a:gd name="T39" fmla="*/ 29 h 507"/>
                <a:gd name="T40" fmla="*/ 226 w 358"/>
                <a:gd name="T41" fmla="*/ 29 h 50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58"/>
                <a:gd name="T64" fmla="*/ 0 h 507"/>
                <a:gd name="T65" fmla="*/ 358 w 358"/>
                <a:gd name="T66" fmla="*/ 507 h 50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58" h="507">
                  <a:moveTo>
                    <a:pt x="226" y="29"/>
                  </a:moveTo>
                  <a:lnTo>
                    <a:pt x="243" y="59"/>
                  </a:lnTo>
                  <a:lnTo>
                    <a:pt x="170" y="112"/>
                  </a:lnTo>
                  <a:lnTo>
                    <a:pt x="231" y="203"/>
                  </a:lnTo>
                  <a:lnTo>
                    <a:pt x="226" y="279"/>
                  </a:lnTo>
                  <a:lnTo>
                    <a:pt x="269" y="343"/>
                  </a:lnTo>
                  <a:lnTo>
                    <a:pt x="337" y="334"/>
                  </a:lnTo>
                  <a:lnTo>
                    <a:pt x="358" y="404"/>
                  </a:lnTo>
                  <a:lnTo>
                    <a:pt x="358" y="437"/>
                  </a:lnTo>
                  <a:lnTo>
                    <a:pt x="269" y="507"/>
                  </a:lnTo>
                  <a:lnTo>
                    <a:pt x="188" y="443"/>
                  </a:lnTo>
                  <a:lnTo>
                    <a:pt x="56" y="449"/>
                  </a:lnTo>
                  <a:lnTo>
                    <a:pt x="73" y="361"/>
                  </a:lnTo>
                  <a:lnTo>
                    <a:pt x="3" y="272"/>
                  </a:lnTo>
                  <a:lnTo>
                    <a:pt x="0" y="170"/>
                  </a:lnTo>
                  <a:lnTo>
                    <a:pt x="30" y="135"/>
                  </a:lnTo>
                  <a:lnTo>
                    <a:pt x="9" y="29"/>
                  </a:lnTo>
                  <a:lnTo>
                    <a:pt x="45" y="0"/>
                  </a:lnTo>
                  <a:lnTo>
                    <a:pt x="103" y="50"/>
                  </a:lnTo>
                  <a:lnTo>
                    <a:pt x="226" y="29"/>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37" name="Freeform 38"/>
            <p:cNvSpPr>
              <a:spLocks noChangeAspect="1"/>
            </p:cNvSpPr>
            <p:nvPr/>
          </p:nvSpPr>
          <p:spPr bwMode="gray">
            <a:xfrm>
              <a:off x="2807321" y="3576066"/>
              <a:ext cx="460817" cy="431915"/>
            </a:xfrm>
            <a:custGeom>
              <a:avLst/>
              <a:gdLst>
                <a:gd name="T0" fmla="*/ 170 w 535"/>
                <a:gd name="T1" fmla="*/ 0 h 460"/>
                <a:gd name="T2" fmla="*/ 50 w 535"/>
                <a:gd name="T3" fmla="*/ 58 h 460"/>
                <a:gd name="T4" fmla="*/ 71 w 535"/>
                <a:gd name="T5" fmla="*/ 146 h 460"/>
                <a:gd name="T6" fmla="*/ 0 w 535"/>
                <a:gd name="T7" fmla="*/ 200 h 460"/>
                <a:gd name="T8" fmla="*/ 30 w 535"/>
                <a:gd name="T9" fmla="*/ 344 h 460"/>
                <a:gd name="T10" fmla="*/ 111 w 535"/>
                <a:gd name="T11" fmla="*/ 412 h 460"/>
                <a:gd name="T12" fmla="*/ 164 w 535"/>
                <a:gd name="T13" fmla="*/ 412 h 460"/>
                <a:gd name="T14" fmla="*/ 213 w 535"/>
                <a:gd name="T15" fmla="*/ 460 h 460"/>
                <a:gd name="T16" fmla="*/ 316 w 535"/>
                <a:gd name="T17" fmla="*/ 403 h 460"/>
                <a:gd name="T18" fmla="*/ 399 w 535"/>
                <a:gd name="T19" fmla="*/ 403 h 460"/>
                <a:gd name="T20" fmla="*/ 425 w 535"/>
                <a:gd name="T21" fmla="*/ 437 h 460"/>
                <a:gd name="T22" fmla="*/ 515 w 535"/>
                <a:gd name="T23" fmla="*/ 428 h 460"/>
                <a:gd name="T24" fmla="*/ 535 w 535"/>
                <a:gd name="T25" fmla="*/ 341 h 460"/>
                <a:gd name="T26" fmla="*/ 462 w 535"/>
                <a:gd name="T27" fmla="*/ 247 h 460"/>
                <a:gd name="T28" fmla="*/ 459 w 535"/>
                <a:gd name="T29" fmla="*/ 145 h 460"/>
                <a:gd name="T30" fmla="*/ 355 w 535"/>
                <a:gd name="T31" fmla="*/ 92 h 460"/>
                <a:gd name="T32" fmla="*/ 226 w 535"/>
                <a:gd name="T33" fmla="*/ 104 h 460"/>
                <a:gd name="T34" fmla="*/ 170 w 535"/>
                <a:gd name="T35" fmla="*/ 0 h 460"/>
                <a:gd name="T36" fmla="*/ 170 w 535"/>
                <a:gd name="T37" fmla="*/ 0 h 46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35"/>
                <a:gd name="T58" fmla="*/ 0 h 460"/>
                <a:gd name="T59" fmla="*/ 535 w 535"/>
                <a:gd name="T60" fmla="*/ 460 h 46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35" h="460">
                  <a:moveTo>
                    <a:pt x="170" y="0"/>
                  </a:moveTo>
                  <a:lnTo>
                    <a:pt x="50" y="58"/>
                  </a:lnTo>
                  <a:lnTo>
                    <a:pt x="71" y="146"/>
                  </a:lnTo>
                  <a:lnTo>
                    <a:pt x="0" y="200"/>
                  </a:lnTo>
                  <a:lnTo>
                    <a:pt x="30" y="344"/>
                  </a:lnTo>
                  <a:lnTo>
                    <a:pt x="111" y="412"/>
                  </a:lnTo>
                  <a:lnTo>
                    <a:pt x="164" y="412"/>
                  </a:lnTo>
                  <a:lnTo>
                    <a:pt x="213" y="460"/>
                  </a:lnTo>
                  <a:lnTo>
                    <a:pt x="316" y="403"/>
                  </a:lnTo>
                  <a:lnTo>
                    <a:pt x="399" y="403"/>
                  </a:lnTo>
                  <a:lnTo>
                    <a:pt x="425" y="437"/>
                  </a:lnTo>
                  <a:lnTo>
                    <a:pt x="515" y="428"/>
                  </a:lnTo>
                  <a:lnTo>
                    <a:pt x="535" y="341"/>
                  </a:lnTo>
                  <a:lnTo>
                    <a:pt x="462" y="247"/>
                  </a:lnTo>
                  <a:lnTo>
                    <a:pt x="459" y="145"/>
                  </a:lnTo>
                  <a:lnTo>
                    <a:pt x="355" y="92"/>
                  </a:lnTo>
                  <a:lnTo>
                    <a:pt x="226" y="104"/>
                  </a:lnTo>
                  <a:lnTo>
                    <a:pt x="170"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38" name="Freeform 39"/>
            <p:cNvSpPr>
              <a:spLocks noChangeAspect="1"/>
            </p:cNvSpPr>
            <p:nvPr/>
          </p:nvSpPr>
          <p:spPr bwMode="gray">
            <a:xfrm>
              <a:off x="2284371" y="2732803"/>
              <a:ext cx="472898" cy="411348"/>
            </a:xfrm>
            <a:custGeom>
              <a:avLst/>
              <a:gdLst>
                <a:gd name="T0" fmla="*/ 84 w 549"/>
                <a:gd name="T1" fmla="*/ 0 h 440"/>
                <a:gd name="T2" fmla="*/ 73 w 549"/>
                <a:gd name="T3" fmla="*/ 27 h 440"/>
                <a:gd name="T4" fmla="*/ 88 w 549"/>
                <a:gd name="T5" fmla="*/ 86 h 440"/>
                <a:gd name="T6" fmla="*/ 43 w 549"/>
                <a:gd name="T7" fmla="*/ 109 h 440"/>
                <a:gd name="T8" fmla="*/ 0 w 549"/>
                <a:gd name="T9" fmla="*/ 209 h 440"/>
                <a:gd name="T10" fmla="*/ 152 w 549"/>
                <a:gd name="T11" fmla="*/ 266 h 440"/>
                <a:gd name="T12" fmla="*/ 170 w 549"/>
                <a:gd name="T13" fmla="*/ 407 h 440"/>
                <a:gd name="T14" fmla="*/ 250 w 549"/>
                <a:gd name="T15" fmla="*/ 440 h 440"/>
                <a:gd name="T16" fmla="*/ 332 w 549"/>
                <a:gd name="T17" fmla="*/ 422 h 440"/>
                <a:gd name="T18" fmla="*/ 416 w 549"/>
                <a:gd name="T19" fmla="*/ 429 h 440"/>
                <a:gd name="T20" fmla="*/ 513 w 549"/>
                <a:gd name="T21" fmla="*/ 394 h 440"/>
                <a:gd name="T22" fmla="*/ 513 w 549"/>
                <a:gd name="T23" fmla="*/ 338 h 440"/>
                <a:gd name="T24" fmla="*/ 549 w 549"/>
                <a:gd name="T25" fmla="*/ 338 h 440"/>
                <a:gd name="T26" fmla="*/ 521 w 549"/>
                <a:gd name="T27" fmla="*/ 266 h 440"/>
                <a:gd name="T28" fmla="*/ 545 w 549"/>
                <a:gd name="T29" fmla="*/ 238 h 440"/>
                <a:gd name="T30" fmla="*/ 499 w 549"/>
                <a:gd name="T31" fmla="*/ 215 h 440"/>
                <a:gd name="T32" fmla="*/ 378 w 549"/>
                <a:gd name="T33" fmla="*/ 215 h 440"/>
                <a:gd name="T34" fmla="*/ 364 w 549"/>
                <a:gd name="T35" fmla="*/ 175 h 440"/>
                <a:gd name="T36" fmla="*/ 318 w 549"/>
                <a:gd name="T37" fmla="*/ 141 h 440"/>
                <a:gd name="T38" fmla="*/ 292 w 549"/>
                <a:gd name="T39" fmla="*/ 55 h 440"/>
                <a:gd name="T40" fmla="*/ 208 w 549"/>
                <a:gd name="T41" fmla="*/ 76 h 440"/>
                <a:gd name="T42" fmla="*/ 146 w 549"/>
                <a:gd name="T43" fmla="*/ 0 h 440"/>
                <a:gd name="T44" fmla="*/ 84 w 549"/>
                <a:gd name="T45" fmla="*/ 0 h 440"/>
                <a:gd name="T46" fmla="*/ 84 w 549"/>
                <a:gd name="T47" fmla="*/ 0 h 44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49"/>
                <a:gd name="T73" fmla="*/ 0 h 440"/>
                <a:gd name="T74" fmla="*/ 549 w 549"/>
                <a:gd name="T75" fmla="*/ 440 h 44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49" h="440">
                  <a:moveTo>
                    <a:pt x="84" y="0"/>
                  </a:moveTo>
                  <a:lnTo>
                    <a:pt x="73" y="27"/>
                  </a:lnTo>
                  <a:lnTo>
                    <a:pt x="88" y="86"/>
                  </a:lnTo>
                  <a:lnTo>
                    <a:pt x="43" y="109"/>
                  </a:lnTo>
                  <a:lnTo>
                    <a:pt x="0" y="209"/>
                  </a:lnTo>
                  <a:lnTo>
                    <a:pt x="152" y="266"/>
                  </a:lnTo>
                  <a:lnTo>
                    <a:pt x="170" y="407"/>
                  </a:lnTo>
                  <a:lnTo>
                    <a:pt x="250" y="440"/>
                  </a:lnTo>
                  <a:lnTo>
                    <a:pt x="332" y="422"/>
                  </a:lnTo>
                  <a:lnTo>
                    <a:pt x="416" y="429"/>
                  </a:lnTo>
                  <a:lnTo>
                    <a:pt x="513" y="394"/>
                  </a:lnTo>
                  <a:lnTo>
                    <a:pt x="513" y="338"/>
                  </a:lnTo>
                  <a:lnTo>
                    <a:pt x="549" y="338"/>
                  </a:lnTo>
                  <a:lnTo>
                    <a:pt x="521" y="266"/>
                  </a:lnTo>
                  <a:lnTo>
                    <a:pt x="545" y="238"/>
                  </a:lnTo>
                  <a:lnTo>
                    <a:pt x="499" y="215"/>
                  </a:lnTo>
                  <a:lnTo>
                    <a:pt x="378" y="215"/>
                  </a:lnTo>
                  <a:lnTo>
                    <a:pt x="364" y="175"/>
                  </a:lnTo>
                  <a:lnTo>
                    <a:pt x="318" y="141"/>
                  </a:lnTo>
                  <a:lnTo>
                    <a:pt x="292" y="55"/>
                  </a:lnTo>
                  <a:lnTo>
                    <a:pt x="208" y="76"/>
                  </a:lnTo>
                  <a:lnTo>
                    <a:pt x="146" y="0"/>
                  </a:lnTo>
                  <a:lnTo>
                    <a:pt x="84"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39" name="Freeform 40"/>
            <p:cNvSpPr>
              <a:spLocks noChangeAspect="1"/>
            </p:cNvSpPr>
            <p:nvPr/>
          </p:nvSpPr>
          <p:spPr bwMode="gray">
            <a:xfrm>
              <a:off x="2122136" y="2929128"/>
              <a:ext cx="377973" cy="426306"/>
            </a:xfrm>
            <a:custGeom>
              <a:avLst/>
              <a:gdLst>
                <a:gd name="T0" fmla="*/ 192 w 437"/>
                <a:gd name="T1" fmla="*/ 0 h 456"/>
                <a:gd name="T2" fmla="*/ 152 w 437"/>
                <a:gd name="T3" fmla="*/ 19 h 456"/>
                <a:gd name="T4" fmla="*/ 116 w 437"/>
                <a:gd name="T5" fmla="*/ 15 h 456"/>
                <a:gd name="T6" fmla="*/ 122 w 437"/>
                <a:gd name="T7" fmla="*/ 59 h 456"/>
                <a:gd name="T8" fmla="*/ 66 w 437"/>
                <a:gd name="T9" fmla="*/ 50 h 456"/>
                <a:gd name="T10" fmla="*/ 46 w 437"/>
                <a:gd name="T11" fmla="*/ 67 h 456"/>
                <a:gd name="T12" fmla="*/ 0 w 437"/>
                <a:gd name="T13" fmla="*/ 253 h 456"/>
                <a:gd name="T14" fmla="*/ 101 w 437"/>
                <a:gd name="T15" fmla="*/ 365 h 456"/>
                <a:gd name="T16" fmla="*/ 201 w 437"/>
                <a:gd name="T17" fmla="*/ 346 h 456"/>
                <a:gd name="T18" fmla="*/ 269 w 437"/>
                <a:gd name="T19" fmla="*/ 456 h 456"/>
                <a:gd name="T20" fmla="*/ 312 w 437"/>
                <a:gd name="T21" fmla="*/ 448 h 456"/>
                <a:gd name="T22" fmla="*/ 351 w 437"/>
                <a:gd name="T23" fmla="*/ 329 h 456"/>
                <a:gd name="T24" fmla="*/ 394 w 437"/>
                <a:gd name="T25" fmla="*/ 324 h 456"/>
                <a:gd name="T26" fmla="*/ 437 w 437"/>
                <a:gd name="T27" fmla="*/ 231 h 456"/>
                <a:gd name="T28" fmla="*/ 357 w 437"/>
                <a:gd name="T29" fmla="*/ 198 h 456"/>
                <a:gd name="T30" fmla="*/ 339 w 437"/>
                <a:gd name="T31" fmla="*/ 57 h 456"/>
                <a:gd name="T32" fmla="*/ 192 w 437"/>
                <a:gd name="T33" fmla="*/ 0 h 456"/>
                <a:gd name="T34" fmla="*/ 192 w 437"/>
                <a:gd name="T35" fmla="*/ 0 h 4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37"/>
                <a:gd name="T55" fmla="*/ 0 h 456"/>
                <a:gd name="T56" fmla="*/ 437 w 437"/>
                <a:gd name="T57" fmla="*/ 456 h 4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37" h="456">
                  <a:moveTo>
                    <a:pt x="192" y="0"/>
                  </a:moveTo>
                  <a:lnTo>
                    <a:pt x="152" y="19"/>
                  </a:lnTo>
                  <a:lnTo>
                    <a:pt x="116" y="15"/>
                  </a:lnTo>
                  <a:lnTo>
                    <a:pt x="122" y="59"/>
                  </a:lnTo>
                  <a:lnTo>
                    <a:pt x="66" y="50"/>
                  </a:lnTo>
                  <a:lnTo>
                    <a:pt x="46" y="67"/>
                  </a:lnTo>
                  <a:lnTo>
                    <a:pt x="0" y="253"/>
                  </a:lnTo>
                  <a:lnTo>
                    <a:pt x="101" y="365"/>
                  </a:lnTo>
                  <a:lnTo>
                    <a:pt x="201" y="346"/>
                  </a:lnTo>
                  <a:lnTo>
                    <a:pt x="269" y="456"/>
                  </a:lnTo>
                  <a:lnTo>
                    <a:pt x="312" y="448"/>
                  </a:lnTo>
                  <a:lnTo>
                    <a:pt x="351" y="329"/>
                  </a:lnTo>
                  <a:lnTo>
                    <a:pt x="394" y="324"/>
                  </a:lnTo>
                  <a:lnTo>
                    <a:pt x="437" y="231"/>
                  </a:lnTo>
                  <a:lnTo>
                    <a:pt x="357" y="198"/>
                  </a:lnTo>
                  <a:lnTo>
                    <a:pt x="339" y="57"/>
                  </a:lnTo>
                  <a:lnTo>
                    <a:pt x="192"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40" name="Freeform 41"/>
            <p:cNvSpPr>
              <a:spLocks noChangeAspect="1"/>
            </p:cNvSpPr>
            <p:nvPr/>
          </p:nvSpPr>
          <p:spPr bwMode="gray">
            <a:xfrm>
              <a:off x="1732081" y="2861817"/>
              <a:ext cx="450461" cy="370213"/>
            </a:xfrm>
            <a:custGeom>
              <a:avLst/>
              <a:gdLst>
                <a:gd name="T0" fmla="*/ 37 w 523"/>
                <a:gd name="T1" fmla="*/ 0 h 396"/>
                <a:gd name="T2" fmla="*/ 48 w 523"/>
                <a:gd name="T3" fmla="*/ 80 h 396"/>
                <a:gd name="T4" fmla="*/ 93 w 523"/>
                <a:gd name="T5" fmla="*/ 101 h 396"/>
                <a:gd name="T6" fmla="*/ 63 w 523"/>
                <a:gd name="T7" fmla="*/ 125 h 396"/>
                <a:gd name="T8" fmla="*/ 105 w 523"/>
                <a:gd name="T9" fmla="*/ 198 h 396"/>
                <a:gd name="T10" fmla="*/ 0 w 523"/>
                <a:gd name="T11" fmla="*/ 222 h 396"/>
                <a:gd name="T12" fmla="*/ 49 w 523"/>
                <a:gd name="T13" fmla="*/ 289 h 396"/>
                <a:gd name="T14" fmla="*/ 17 w 523"/>
                <a:gd name="T15" fmla="*/ 336 h 396"/>
                <a:gd name="T16" fmla="*/ 102 w 523"/>
                <a:gd name="T17" fmla="*/ 391 h 396"/>
                <a:gd name="T18" fmla="*/ 215 w 523"/>
                <a:gd name="T19" fmla="*/ 396 h 396"/>
                <a:gd name="T20" fmla="*/ 257 w 523"/>
                <a:gd name="T21" fmla="*/ 359 h 396"/>
                <a:gd name="T22" fmla="*/ 396 w 523"/>
                <a:gd name="T23" fmla="*/ 373 h 396"/>
                <a:gd name="T24" fmla="*/ 456 w 523"/>
                <a:gd name="T25" fmla="*/ 330 h 396"/>
                <a:gd name="T26" fmla="*/ 499 w 523"/>
                <a:gd name="T27" fmla="*/ 139 h 396"/>
                <a:gd name="T28" fmla="*/ 523 w 523"/>
                <a:gd name="T29" fmla="*/ 122 h 396"/>
                <a:gd name="T30" fmla="*/ 392 w 523"/>
                <a:gd name="T31" fmla="*/ 87 h 396"/>
                <a:gd name="T32" fmla="*/ 380 w 523"/>
                <a:gd name="T33" fmla="*/ 58 h 396"/>
                <a:gd name="T34" fmla="*/ 320 w 523"/>
                <a:gd name="T35" fmla="*/ 46 h 396"/>
                <a:gd name="T36" fmla="*/ 320 w 523"/>
                <a:gd name="T37" fmla="*/ 28 h 396"/>
                <a:gd name="T38" fmla="*/ 206 w 523"/>
                <a:gd name="T39" fmla="*/ 32 h 396"/>
                <a:gd name="T40" fmla="*/ 108 w 523"/>
                <a:gd name="T41" fmla="*/ 10 h 396"/>
                <a:gd name="T42" fmla="*/ 37 w 523"/>
                <a:gd name="T43" fmla="*/ 0 h 396"/>
                <a:gd name="T44" fmla="*/ 37 w 523"/>
                <a:gd name="T45" fmla="*/ 0 h 39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23"/>
                <a:gd name="T70" fmla="*/ 0 h 396"/>
                <a:gd name="T71" fmla="*/ 523 w 523"/>
                <a:gd name="T72" fmla="*/ 396 h 39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23" h="396">
                  <a:moveTo>
                    <a:pt x="37" y="0"/>
                  </a:moveTo>
                  <a:lnTo>
                    <a:pt x="48" y="80"/>
                  </a:lnTo>
                  <a:lnTo>
                    <a:pt x="93" y="101"/>
                  </a:lnTo>
                  <a:lnTo>
                    <a:pt x="63" y="125"/>
                  </a:lnTo>
                  <a:lnTo>
                    <a:pt x="105" y="198"/>
                  </a:lnTo>
                  <a:lnTo>
                    <a:pt x="0" y="222"/>
                  </a:lnTo>
                  <a:lnTo>
                    <a:pt x="49" y="289"/>
                  </a:lnTo>
                  <a:lnTo>
                    <a:pt x="17" y="336"/>
                  </a:lnTo>
                  <a:lnTo>
                    <a:pt x="102" y="391"/>
                  </a:lnTo>
                  <a:lnTo>
                    <a:pt x="215" y="396"/>
                  </a:lnTo>
                  <a:lnTo>
                    <a:pt x="257" y="359"/>
                  </a:lnTo>
                  <a:lnTo>
                    <a:pt x="396" y="373"/>
                  </a:lnTo>
                  <a:lnTo>
                    <a:pt x="456" y="330"/>
                  </a:lnTo>
                  <a:lnTo>
                    <a:pt x="499" y="139"/>
                  </a:lnTo>
                  <a:lnTo>
                    <a:pt x="523" y="122"/>
                  </a:lnTo>
                  <a:lnTo>
                    <a:pt x="392" y="87"/>
                  </a:lnTo>
                  <a:lnTo>
                    <a:pt x="380" y="58"/>
                  </a:lnTo>
                  <a:lnTo>
                    <a:pt x="320" y="46"/>
                  </a:lnTo>
                  <a:lnTo>
                    <a:pt x="320" y="28"/>
                  </a:lnTo>
                  <a:lnTo>
                    <a:pt x="206" y="32"/>
                  </a:lnTo>
                  <a:lnTo>
                    <a:pt x="108" y="10"/>
                  </a:lnTo>
                  <a:lnTo>
                    <a:pt x="37"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41" name="Freeform 42"/>
            <p:cNvSpPr>
              <a:spLocks noChangeAspect="1"/>
            </p:cNvSpPr>
            <p:nvPr/>
          </p:nvSpPr>
          <p:spPr bwMode="gray">
            <a:xfrm>
              <a:off x="1474921" y="3200244"/>
              <a:ext cx="467721" cy="334687"/>
            </a:xfrm>
            <a:custGeom>
              <a:avLst/>
              <a:gdLst>
                <a:gd name="T0" fmla="*/ 55 w 542"/>
                <a:gd name="T1" fmla="*/ 21 h 360"/>
                <a:gd name="T2" fmla="*/ 0 w 542"/>
                <a:gd name="T3" fmla="*/ 95 h 360"/>
                <a:gd name="T4" fmla="*/ 84 w 542"/>
                <a:gd name="T5" fmla="*/ 196 h 360"/>
                <a:gd name="T6" fmla="*/ 84 w 542"/>
                <a:gd name="T7" fmla="*/ 256 h 360"/>
                <a:gd name="T8" fmla="*/ 347 w 542"/>
                <a:gd name="T9" fmla="*/ 360 h 360"/>
                <a:gd name="T10" fmla="*/ 462 w 542"/>
                <a:gd name="T11" fmla="*/ 359 h 360"/>
                <a:gd name="T12" fmla="*/ 542 w 542"/>
                <a:gd name="T13" fmla="*/ 341 h 360"/>
                <a:gd name="T14" fmla="*/ 504 w 542"/>
                <a:gd name="T15" fmla="*/ 305 h 360"/>
                <a:gd name="T16" fmla="*/ 481 w 542"/>
                <a:gd name="T17" fmla="*/ 116 h 360"/>
                <a:gd name="T18" fmla="*/ 403 w 542"/>
                <a:gd name="T19" fmla="*/ 29 h 360"/>
                <a:gd name="T20" fmla="*/ 357 w 542"/>
                <a:gd name="T21" fmla="*/ 0 h 360"/>
                <a:gd name="T22" fmla="*/ 304 w 542"/>
                <a:gd name="T23" fmla="*/ 0 h 360"/>
                <a:gd name="T24" fmla="*/ 243 w 542"/>
                <a:gd name="T25" fmla="*/ 61 h 360"/>
                <a:gd name="T26" fmla="*/ 233 w 542"/>
                <a:gd name="T27" fmla="*/ 19 h 360"/>
                <a:gd name="T28" fmla="*/ 198 w 542"/>
                <a:gd name="T29" fmla="*/ 4 h 360"/>
                <a:gd name="T30" fmla="*/ 228 w 542"/>
                <a:gd name="T31" fmla="*/ 86 h 360"/>
                <a:gd name="T32" fmla="*/ 55 w 542"/>
                <a:gd name="T33" fmla="*/ 21 h 360"/>
                <a:gd name="T34" fmla="*/ 55 w 542"/>
                <a:gd name="T35" fmla="*/ 21 h 3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2"/>
                <a:gd name="T55" fmla="*/ 0 h 360"/>
                <a:gd name="T56" fmla="*/ 542 w 542"/>
                <a:gd name="T57" fmla="*/ 360 h 3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2" h="360">
                  <a:moveTo>
                    <a:pt x="55" y="21"/>
                  </a:moveTo>
                  <a:lnTo>
                    <a:pt x="0" y="95"/>
                  </a:lnTo>
                  <a:lnTo>
                    <a:pt x="84" y="196"/>
                  </a:lnTo>
                  <a:lnTo>
                    <a:pt x="84" y="256"/>
                  </a:lnTo>
                  <a:lnTo>
                    <a:pt x="347" y="360"/>
                  </a:lnTo>
                  <a:lnTo>
                    <a:pt x="462" y="359"/>
                  </a:lnTo>
                  <a:lnTo>
                    <a:pt x="542" y="341"/>
                  </a:lnTo>
                  <a:lnTo>
                    <a:pt x="504" y="305"/>
                  </a:lnTo>
                  <a:lnTo>
                    <a:pt x="481" y="116"/>
                  </a:lnTo>
                  <a:lnTo>
                    <a:pt x="403" y="29"/>
                  </a:lnTo>
                  <a:lnTo>
                    <a:pt x="357" y="0"/>
                  </a:lnTo>
                  <a:lnTo>
                    <a:pt x="304" y="0"/>
                  </a:lnTo>
                  <a:lnTo>
                    <a:pt x="243" y="61"/>
                  </a:lnTo>
                  <a:lnTo>
                    <a:pt x="233" y="19"/>
                  </a:lnTo>
                  <a:lnTo>
                    <a:pt x="198" y="4"/>
                  </a:lnTo>
                  <a:lnTo>
                    <a:pt x="228" y="86"/>
                  </a:lnTo>
                  <a:lnTo>
                    <a:pt x="55" y="21"/>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42" name="Freeform 43"/>
            <p:cNvSpPr>
              <a:spLocks noChangeAspect="1"/>
            </p:cNvSpPr>
            <p:nvPr/>
          </p:nvSpPr>
          <p:spPr bwMode="gray">
            <a:xfrm>
              <a:off x="1820102" y="3198374"/>
              <a:ext cx="340003" cy="497357"/>
            </a:xfrm>
            <a:custGeom>
              <a:avLst/>
              <a:gdLst>
                <a:gd name="T0" fmla="*/ 0 w 394"/>
                <a:gd name="T1" fmla="*/ 31 h 533"/>
                <a:gd name="T2" fmla="*/ 81 w 394"/>
                <a:gd name="T3" fmla="*/ 118 h 533"/>
                <a:gd name="T4" fmla="*/ 104 w 394"/>
                <a:gd name="T5" fmla="*/ 315 h 533"/>
                <a:gd name="T6" fmla="*/ 143 w 394"/>
                <a:gd name="T7" fmla="*/ 343 h 533"/>
                <a:gd name="T8" fmla="*/ 62 w 394"/>
                <a:gd name="T9" fmla="*/ 358 h 533"/>
                <a:gd name="T10" fmla="*/ 108 w 394"/>
                <a:gd name="T11" fmla="*/ 452 h 533"/>
                <a:gd name="T12" fmla="*/ 295 w 394"/>
                <a:gd name="T13" fmla="*/ 533 h 533"/>
                <a:gd name="T14" fmla="*/ 315 w 394"/>
                <a:gd name="T15" fmla="*/ 486 h 533"/>
                <a:gd name="T16" fmla="*/ 394 w 394"/>
                <a:gd name="T17" fmla="*/ 480 h 533"/>
                <a:gd name="T18" fmla="*/ 379 w 394"/>
                <a:gd name="T19" fmla="*/ 362 h 533"/>
                <a:gd name="T20" fmla="*/ 339 w 394"/>
                <a:gd name="T21" fmla="*/ 358 h 533"/>
                <a:gd name="T22" fmla="*/ 307 w 394"/>
                <a:gd name="T23" fmla="*/ 277 h 533"/>
                <a:gd name="T24" fmla="*/ 339 w 394"/>
                <a:gd name="T25" fmla="*/ 160 h 533"/>
                <a:gd name="T26" fmla="*/ 298 w 394"/>
                <a:gd name="T27" fmla="*/ 14 h 533"/>
                <a:gd name="T28" fmla="*/ 153 w 394"/>
                <a:gd name="T29" fmla="*/ 0 h 533"/>
                <a:gd name="T30" fmla="*/ 113 w 394"/>
                <a:gd name="T31" fmla="*/ 38 h 533"/>
                <a:gd name="T32" fmla="*/ 0 w 394"/>
                <a:gd name="T33" fmla="*/ 31 h 533"/>
                <a:gd name="T34" fmla="*/ 0 w 394"/>
                <a:gd name="T35" fmla="*/ 31 h 53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94"/>
                <a:gd name="T55" fmla="*/ 0 h 533"/>
                <a:gd name="T56" fmla="*/ 394 w 394"/>
                <a:gd name="T57" fmla="*/ 533 h 53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94" h="533">
                  <a:moveTo>
                    <a:pt x="0" y="31"/>
                  </a:moveTo>
                  <a:lnTo>
                    <a:pt x="81" y="118"/>
                  </a:lnTo>
                  <a:lnTo>
                    <a:pt x="104" y="315"/>
                  </a:lnTo>
                  <a:lnTo>
                    <a:pt x="143" y="343"/>
                  </a:lnTo>
                  <a:lnTo>
                    <a:pt x="62" y="358"/>
                  </a:lnTo>
                  <a:lnTo>
                    <a:pt x="108" y="452"/>
                  </a:lnTo>
                  <a:lnTo>
                    <a:pt x="295" y="533"/>
                  </a:lnTo>
                  <a:lnTo>
                    <a:pt x="315" y="486"/>
                  </a:lnTo>
                  <a:lnTo>
                    <a:pt x="394" y="480"/>
                  </a:lnTo>
                  <a:lnTo>
                    <a:pt x="379" y="362"/>
                  </a:lnTo>
                  <a:lnTo>
                    <a:pt x="339" y="358"/>
                  </a:lnTo>
                  <a:lnTo>
                    <a:pt x="307" y="277"/>
                  </a:lnTo>
                  <a:lnTo>
                    <a:pt x="339" y="160"/>
                  </a:lnTo>
                  <a:lnTo>
                    <a:pt x="298" y="14"/>
                  </a:lnTo>
                  <a:lnTo>
                    <a:pt x="153" y="0"/>
                  </a:lnTo>
                  <a:lnTo>
                    <a:pt x="113" y="38"/>
                  </a:lnTo>
                  <a:lnTo>
                    <a:pt x="0" y="31"/>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43" name="Freeform 44"/>
            <p:cNvSpPr>
              <a:spLocks noChangeAspect="1"/>
            </p:cNvSpPr>
            <p:nvPr/>
          </p:nvSpPr>
          <p:spPr bwMode="gray">
            <a:xfrm>
              <a:off x="2075537" y="3170327"/>
              <a:ext cx="372796" cy="506706"/>
            </a:xfrm>
            <a:custGeom>
              <a:avLst/>
              <a:gdLst>
                <a:gd name="T0" fmla="*/ 61 w 433"/>
                <a:gd name="T1" fmla="*/ 0 h 543"/>
                <a:gd name="T2" fmla="*/ 0 w 433"/>
                <a:gd name="T3" fmla="*/ 41 h 543"/>
                <a:gd name="T4" fmla="*/ 44 w 433"/>
                <a:gd name="T5" fmla="*/ 189 h 543"/>
                <a:gd name="T6" fmla="*/ 12 w 433"/>
                <a:gd name="T7" fmla="*/ 306 h 543"/>
                <a:gd name="T8" fmla="*/ 44 w 433"/>
                <a:gd name="T9" fmla="*/ 391 h 543"/>
                <a:gd name="T10" fmla="*/ 84 w 433"/>
                <a:gd name="T11" fmla="*/ 395 h 543"/>
                <a:gd name="T12" fmla="*/ 99 w 433"/>
                <a:gd name="T13" fmla="*/ 511 h 543"/>
                <a:gd name="T14" fmla="*/ 173 w 433"/>
                <a:gd name="T15" fmla="*/ 543 h 543"/>
                <a:gd name="T16" fmla="*/ 307 w 433"/>
                <a:gd name="T17" fmla="*/ 493 h 543"/>
                <a:gd name="T18" fmla="*/ 313 w 433"/>
                <a:gd name="T19" fmla="*/ 443 h 543"/>
                <a:gd name="T20" fmla="*/ 433 w 433"/>
                <a:gd name="T21" fmla="*/ 363 h 543"/>
                <a:gd name="T22" fmla="*/ 415 w 433"/>
                <a:gd name="T23" fmla="*/ 321 h 543"/>
                <a:gd name="T24" fmla="*/ 351 w 433"/>
                <a:gd name="T25" fmla="*/ 281 h 543"/>
                <a:gd name="T26" fmla="*/ 327 w 433"/>
                <a:gd name="T27" fmla="*/ 198 h 543"/>
                <a:gd name="T28" fmla="*/ 255 w 433"/>
                <a:gd name="T29" fmla="*/ 84 h 543"/>
                <a:gd name="T30" fmla="*/ 158 w 433"/>
                <a:gd name="T31" fmla="*/ 107 h 543"/>
                <a:gd name="T32" fmla="*/ 61 w 433"/>
                <a:gd name="T33" fmla="*/ 0 h 543"/>
                <a:gd name="T34" fmla="*/ 61 w 433"/>
                <a:gd name="T35" fmla="*/ 0 h 5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33"/>
                <a:gd name="T55" fmla="*/ 0 h 543"/>
                <a:gd name="T56" fmla="*/ 433 w 433"/>
                <a:gd name="T57" fmla="*/ 543 h 5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33" h="543">
                  <a:moveTo>
                    <a:pt x="61" y="0"/>
                  </a:moveTo>
                  <a:lnTo>
                    <a:pt x="0" y="41"/>
                  </a:lnTo>
                  <a:lnTo>
                    <a:pt x="44" y="189"/>
                  </a:lnTo>
                  <a:lnTo>
                    <a:pt x="12" y="306"/>
                  </a:lnTo>
                  <a:lnTo>
                    <a:pt x="44" y="391"/>
                  </a:lnTo>
                  <a:lnTo>
                    <a:pt x="84" y="395"/>
                  </a:lnTo>
                  <a:lnTo>
                    <a:pt x="99" y="511"/>
                  </a:lnTo>
                  <a:lnTo>
                    <a:pt x="173" y="543"/>
                  </a:lnTo>
                  <a:lnTo>
                    <a:pt x="307" y="493"/>
                  </a:lnTo>
                  <a:lnTo>
                    <a:pt x="313" y="443"/>
                  </a:lnTo>
                  <a:lnTo>
                    <a:pt x="433" y="363"/>
                  </a:lnTo>
                  <a:lnTo>
                    <a:pt x="415" y="321"/>
                  </a:lnTo>
                  <a:lnTo>
                    <a:pt x="351" y="281"/>
                  </a:lnTo>
                  <a:lnTo>
                    <a:pt x="327" y="198"/>
                  </a:lnTo>
                  <a:lnTo>
                    <a:pt x="255" y="84"/>
                  </a:lnTo>
                  <a:lnTo>
                    <a:pt x="158" y="107"/>
                  </a:lnTo>
                  <a:lnTo>
                    <a:pt x="61"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44" name="Freeform 45"/>
            <p:cNvSpPr>
              <a:spLocks noChangeAspect="1"/>
            </p:cNvSpPr>
            <p:nvPr/>
          </p:nvSpPr>
          <p:spPr bwMode="gray">
            <a:xfrm>
              <a:off x="2356859" y="3127323"/>
              <a:ext cx="395232" cy="400129"/>
            </a:xfrm>
            <a:custGeom>
              <a:avLst/>
              <a:gdLst>
                <a:gd name="T0" fmla="*/ 164 w 458"/>
                <a:gd name="T1" fmla="*/ 21 h 429"/>
                <a:gd name="T2" fmla="*/ 123 w 458"/>
                <a:gd name="T3" fmla="*/ 114 h 429"/>
                <a:gd name="T4" fmla="*/ 80 w 458"/>
                <a:gd name="T5" fmla="*/ 118 h 429"/>
                <a:gd name="T6" fmla="*/ 41 w 458"/>
                <a:gd name="T7" fmla="*/ 240 h 429"/>
                <a:gd name="T8" fmla="*/ 0 w 458"/>
                <a:gd name="T9" fmla="*/ 245 h 429"/>
                <a:gd name="T10" fmla="*/ 24 w 458"/>
                <a:gd name="T11" fmla="*/ 332 h 429"/>
                <a:gd name="T12" fmla="*/ 90 w 458"/>
                <a:gd name="T13" fmla="*/ 373 h 429"/>
                <a:gd name="T14" fmla="*/ 111 w 458"/>
                <a:gd name="T15" fmla="*/ 410 h 429"/>
                <a:gd name="T16" fmla="*/ 188 w 458"/>
                <a:gd name="T17" fmla="*/ 429 h 429"/>
                <a:gd name="T18" fmla="*/ 309 w 458"/>
                <a:gd name="T19" fmla="*/ 385 h 429"/>
                <a:gd name="T20" fmla="*/ 441 w 458"/>
                <a:gd name="T21" fmla="*/ 396 h 429"/>
                <a:gd name="T22" fmla="*/ 458 w 458"/>
                <a:gd name="T23" fmla="*/ 303 h 429"/>
                <a:gd name="T24" fmla="*/ 397 w 458"/>
                <a:gd name="T25" fmla="*/ 250 h 429"/>
                <a:gd name="T26" fmla="*/ 421 w 458"/>
                <a:gd name="T27" fmla="*/ 166 h 429"/>
                <a:gd name="T28" fmla="*/ 388 w 458"/>
                <a:gd name="T29" fmla="*/ 59 h 429"/>
                <a:gd name="T30" fmla="*/ 307 w 458"/>
                <a:gd name="T31" fmla="*/ 59 h 429"/>
                <a:gd name="T32" fmla="*/ 333 w 458"/>
                <a:gd name="T33" fmla="*/ 8 h 429"/>
                <a:gd name="T34" fmla="*/ 249 w 458"/>
                <a:gd name="T35" fmla="*/ 0 h 429"/>
                <a:gd name="T36" fmla="*/ 164 w 458"/>
                <a:gd name="T37" fmla="*/ 21 h 429"/>
                <a:gd name="T38" fmla="*/ 164 w 458"/>
                <a:gd name="T39" fmla="*/ 21 h 4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58"/>
                <a:gd name="T61" fmla="*/ 0 h 429"/>
                <a:gd name="T62" fmla="*/ 458 w 458"/>
                <a:gd name="T63" fmla="*/ 429 h 42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58" h="429">
                  <a:moveTo>
                    <a:pt x="164" y="21"/>
                  </a:moveTo>
                  <a:lnTo>
                    <a:pt x="123" y="114"/>
                  </a:lnTo>
                  <a:lnTo>
                    <a:pt x="80" y="118"/>
                  </a:lnTo>
                  <a:lnTo>
                    <a:pt x="41" y="240"/>
                  </a:lnTo>
                  <a:lnTo>
                    <a:pt x="0" y="245"/>
                  </a:lnTo>
                  <a:lnTo>
                    <a:pt x="24" y="332"/>
                  </a:lnTo>
                  <a:lnTo>
                    <a:pt x="90" y="373"/>
                  </a:lnTo>
                  <a:lnTo>
                    <a:pt x="111" y="410"/>
                  </a:lnTo>
                  <a:lnTo>
                    <a:pt x="188" y="429"/>
                  </a:lnTo>
                  <a:lnTo>
                    <a:pt x="309" y="385"/>
                  </a:lnTo>
                  <a:lnTo>
                    <a:pt x="441" y="396"/>
                  </a:lnTo>
                  <a:lnTo>
                    <a:pt x="458" y="303"/>
                  </a:lnTo>
                  <a:lnTo>
                    <a:pt x="397" y="250"/>
                  </a:lnTo>
                  <a:lnTo>
                    <a:pt x="421" y="166"/>
                  </a:lnTo>
                  <a:lnTo>
                    <a:pt x="388" y="59"/>
                  </a:lnTo>
                  <a:lnTo>
                    <a:pt x="307" y="59"/>
                  </a:lnTo>
                  <a:lnTo>
                    <a:pt x="333" y="8"/>
                  </a:lnTo>
                  <a:lnTo>
                    <a:pt x="249" y="0"/>
                  </a:lnTo>
                  <a:lnTo>
                    <a:pt x="164" y="21"/>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45" name="Freeform 46"/>
            <p:cNvSpPr>
              <a:spLocks noChangeAspect="1"/>
            </p:cNvSpPr>
            <p:nvPr/>
          </p:nvSpPr>
          <p:spPr bwMode="gray">
            <a:xfrm>
              <a:off x="2620923" y="2951565"/>
              <a:ext cx="371070" cy="547840"/>
            </a:xfrm>
            <a:custGeom>
              <a:avLst/>
              <a:gdLst>
                <a:gd name="T0" fmla="*/ 158 w 431"/>
                <a:gd name="T1" fmla="*/ 0 h 587"/>
                <a:gd name="T2" fmla="*/ 132 w 431"/>
                <a:gd name="T3" fmla="*/ 33 h 587"/>
                <a:gd name="T4" fmla="*/ 155 w 431"/>
                <a:gd name="T5" fmla="*/ 105 h 587"/>
                <a:gd name="T6" fmla="*/ 123 w 431"/>
                <a:gd name="T7" fmla="*/ 105 h 587"/>
                <a:gd name="T8" fmla="*/ 123 w 431"/>
                <a:gd name="T9" fmla="*/ 161 h 587"/>
                <a:gd name="T10" fmla="*/ 27 w 431"/>
                <a:gd name="T11" fmla="*/ 196 h 587"/>
                <a:gd name="T12" fmla="*/ 0 w 431"/>
                <a:gd name="T13" fmla="*/ 246 h 587"/>
                <a:gd name="T14" fmla="*/ 82 w 431"/>
                <a:gd name="T15" fmla="*/ 246 h 587"/>
                <a:gd name="T16" fmla="*/ 114 w 431"/>
                <a:gd name="T17" fmla="*/ 353 h 587"/>
                <a:gd name="T18" fmla="*/ 91 w 431"/>
                <a:gd name="T19" fmla="*/ 435 h 587"/>
                <a:gd name="T20" fmla="*/ 152 w 431"/>
                <a:gd name="T21" fmla="*/ 492 h 587"/>
                <a:gd name="T22" fmla="*/ 137 w 431"/>
                <a:gd name="T23" fmla="*/ 583 h 587"/>
                <a:gd name="T24" fmla="*/ 167 w 431"/>
                <a:gd name="T25" fmla="*/ 587 h 587"/>
                <a:gd name="T26" fmla="*/ 201 w 431"/>
                <a:gd name="T27" fmla="*/ 536 h 587"/>
                <a:gd name="T28" fmla="*/ 272 w 431"/>
                <a:gd name="T29" fmla="*/ 528 h 587"/>
                <a:gd name="T30" fmla="*/ 273 w 431"/>
                <a:gd name="T31" fmla="*/ 473 h 587"/>
                <a:gd name="T32" fmla="*/ 418 w 431"/>
                <a:gd name="T33" fmla="*/ 409 h 587"/>
                <a:gd name="T34" fmla="*/ 431 w 431"/>
                <a:gd name="T35" fmla="*/ 250 h 587"/>
                <a:gd name="T36" fmla="*/ 366 w 431"/>
                <a:gd name="T37" fmla="*/ 138 h 587"/>
                <a:gd name="T38" fmla="*/ 359 w 431"/>
                <a:gd name="T39" fmla="*/ 37 h 587"/>
                <a:gd name="T40" fmla="*/ 298 w 431"/>
                <a:gd name="T41" fmla="*/ 64 h 587"/>
                <a:gd name="T42" fmla="*/ 220 w 431"/>
                <a:gd name="T43" fmla="*/ 6 h 587"/>
                <a:gd name="T44" fmla="*/ 158 w 431"/>
                <a:gd name="T45" fmla="*/ 0 h 587"/>
                <a:gd name="T46" fmla="*/ 158 w 431"/>
                <a:gd name="T47" fmla="*/ 0 h 58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31"/>
                <a:gd name="T73" fmla="*/ 0 h 587"/>
                <a:gd name="T74" fmla="*/ 431 w 431"/>
                <a:gd name="T75" fmla="*/ 587 h 58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31" h="587">
                  <a:moveTo>
                    <a:pt x="158" y="0"/>
                  </a:moveTo>
                  <a:lnTo>
                    <a:pt x="132" y="33"/>
                  </a:lnTo>
                  <a:lnTo>
                    <a:pt x="155" y="105"/>
                  </a:lnTo>
                  <a:lnTo>
                    <a:pt x="123" y="105"/>
                  </a:lnTo>
                  <a:lnTo>
                    <a:pt x="123" y="161"/>
                  </a:lnTo>
                  <a:lnTo>
                    <a:pt x="27" y="196"/>
                  </a:lnTo>
                  <a:lnTo>
                    <a:pt x="0" y="246"/>
                  </a:lnTo>
                  <a:lnTo>
                    <a:pt x="82" y="246"/>
                  </a:lnTo>
                  <a:lnTo>
                    <a:pt x="114" y="353"/>
                  </a:lnTo>
                  <a:lnTo>
                    <a:pt x="91" y="435"/>
                  </a:lnTo>
                  <a:lnTo>
                    <a:pt x="152" y="492"/>
                  </a:lnTo>
                  <a:lnTo>
                    <a:pt x="137" y="583"/>
                  </a:lnTo>
                  <a:lnTo>
                    <a:pt x="167" y="587"/>
                  </a:lnTo>
                  <a:lnTo>
                    <a:pt x="201" y="536"/>
                  </a:lnTo>
                  <a:lnTo>
                    <a:pt x="272" y="528"/>
                  </a:lnTo>
                  <a:lnTo>
                    <a:pt x="273" y="473"/>
                  </a:lnTo>
                  <a:lnTo>
                    <a:pt x="418" y="409"/>
                  </a:lnTo>
                  <a:lnTo>
                    <a:pt x="431" y="250"/>
                  </a:lnTo>
                  <a:lnTo>
                    <a:pt x="366" y="138"/>
                  </a:lnTo>
                  <a:lnTo>
                    <a:pt x="359" y="37"/>
                  </a:lnTo>
                  <a:lnTo>
                    <a:pt x="298" y="64"/>
                  </a:lnTo>
                  <a:lnTo>
                    <a:pt x="220" y="6"/>
                  </a:lnTo>
                  <a:lnTo>
                    <a:pt x="158"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46" name="Freeform 47"/>
            <p:cNvSpPr>
              <a:spLocks noChangeAspect="1"/>
            </p:cNvSpPr>
            <p:nvPr/>
          </p:nvSpPr>
          <p:spPr bwMode="gray">
            <a:xfrm>
              <a:off x="2508739" y="3486317"/>
              <a:ext cx="358988" cy="357125"/>
            </a:xfrm>
            <a:custGeom>
              <a:avLst/>
              <a:gdLst>
                <a:gd name="T0" fmla="*/ 296 w 416"/>
                <a:gd name="T1" fmla="*/ 15 h 382"/>
                <a:gd name="T2" fmla="*/ 401 w 416"/>
                <a:gd name="T3" fmla="*/ 163 h 382"/>
                <a:gd name="T4" fmla="*/ 416 w 416"/>
                <a:gd name="T5" fmla="*/ 253 h 382"/>
                <a:gd name="T6" fmla="*/ 345 w 416"/>
                <a:gd name="T7" fmla="*/ 297 h 382"/>
                <a:gd name="T8" fmla="*/ 358 w 416"/>
                <a:gd name="T9" fmla="*/ 362 h 382"/>
                <a:gd name="T10" fmla="*/ 298 w 416"/>
                <a:gd name="T11" fmla="*/ 382 h 382"/>
                <a:gd name="T12" fmla="*/ 173 w 416"/>
                <a:gd name="T13" fmla="*/ 365 h 382"/>
                <a:gd name="T14" fmla="*/ 149 w 416"/>
                <a:gd name="T15" fmla="*/ 301 h 382"/>
                <a:gd name="T16" fmla="*/ 69 w 416"/>
                <a:gd name="T17" fmla="*/ 297 h 382"/>
                <a:gd name="T18" fmla="*/ 80 w 416"/>
                <a:gd name="T19" fmla="*/ 259 h 382"/>
                <a:gd name="T20" fmla="*/ 46 w 416"/>
                <a:gd name="T21" fmla="*/ 259 h 382"/>
                <a:gd name="T22" fmla="*/ 37 w 416"/>
                <a:gd name="T23" fmla="*/ 173 h 382"/>
                <a:gd name="T24" fmla="*/ 0 w 416"/>
                <a:gd name="T25" fmla="*/ 135 h 382"/>
                <a:gd name="T26" fmla="*/ 4 w 416"/>
                <a:gd name="T27" fmla="*/ 47 h 382"/>
                <a:gd name="T28" fmla="*/ 126 w 416"/>
                <a:gd name="T29" fmla="*/ 0 h 382"/>
                <a:gd name="T30" fmla="*/ 296 w 416"/>
                <a:gd name="T31" fmla="*/ 15 h 382"/>
                <a:gd name="T32" fmla="*/ 296 w 416"/>
                <a:gd name="T33" fmla="*/ 15 h 38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16"/>
                <a:gd name="T52" fmla="*/ 0 h 382"/>
                <a:gd name="T53" fmla="*/ 416 w 416"/>
                <a:gd name="T54" fmla="*/ 382 h 38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16" h="382">
                  <a:moveTo>
                    <a:pt x="296" y="15"/>
                  </a:moveTo>
                  <a:lnTo>
                    <a:pt x="401" y="163"/>
                  </a:lnTo>
                  <a:lnTo>
                    <a:pt x="416" y="253"/>
                  </a:lnTo>
                  <a:lnTo>
                    <a:pt x="345" y="297"/>
                  </a:lnTo>
                  <a:lnTo>
                    <a:pt x="358" y="362"/>
                  </a:lnTo>
                  <a:lnTo>
                    <a:pt x="298" y="382"/>
                  </a:lnTo>
                  <a:lnTo>
                    <a:pt x="173" y="365"/>
                  </a:lnTo>
                  <a:lnTo>
                    <a:pt x="149" y="301"/>
                  </a:lnTo>
                  <a:lnTo>
                    <a:pt x="69" y="297"/>
                  </a:lnTo>
                  <a:lnTo>
                    <a:pt x="80" y="259"/>
                  </a:lnTo>
                  <a:lnTo>
                    <a:pt x="46" y="259"/>
                  </a:lnTo>
                  <a:lnTo>
                    <a:pt x="37" y="173"/>
                  </a:lnTo>
                  <a:lnTo>
                    <a:pt x="0" y="135"/>
                  </a:lnTo>
                  <a:lnTo>
                    <a:pt x="4" y="47"/>
                  </a:lnTo>
                  <a:lnTo>
                    <a:pt x="126" y="0"/>
                  </a:lnTo>
                  <a:lnTo>
                    <a:pt x="296" y="15"/>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47" name="Freeform 48"/>
            <p:cNvSpPr>
              <a:spLocks noChangeAspect="1"/>
            </p:cNvSpPr>
            <p:nvPr/>
          </p:nvSpPr>
          <p:spPr bwMode="gray">
            <a:xfrm>
              <a:off x="2268838" y="3506885"/>
              <a:ext cx="390055" cy="430045"/>
            </a:xfrm>
            <a:custGeom>
              <a:avLst/>
              <a:gdLst>
                <a:gd name="T0" fmla="*/ 208 w 452"/>
                <a:gd name="T1" fmla="*/ 0 h 458"/>
                <a:gd name="T2" fmla="*/ 88 w 452"/>
                <a:gd name="T3" fmla="*/ 82 h 458"/>
                <a:gd name="T4" fmla="*/ 79 w 452"/>
                <a:gd name="T5" fmla="*/ 132 h 458"/>
                <a:gd name="T6" fmla="*/ 116 w 452"/>
                <a:gd name="T7" fmla="*/ 220 h 458"/>
                <a:gd name="T8" fmla="*/ 0 w 452"/>
                <a:gd name="T9" fmla="*/ 345 h 458"/>
                <a:gd name="T10" fmla="*/ 213 w 452"/>
                <a:gd name="T11" fmla="*/ 458 h 458"/>
                <a:gd name="T12" fmla="*/ 452 w 452"/>
                <a:gd name="T13" fmla="*/ 345 h 458"/>
                <a:gd name="T14" fmla="*/ 428 w 452"/>
                <a:gd name="T15" fmla="*/ 278 h 458"/>
                <a:gd name="T16" fmla="*/ 351 w 452"/>
                <a:gd name="T17" fmla="*/ 269 h 458"/>
                <a:gd name="T18" fmla="*/ 359 w 452"/>
                <a:gd name="T19" fmla="*/ 236 h 458"/>
                <a:gd name="T20" fmla="*/ 325 w 452"/>
                <a:gd name="T21" fmla="*/ 236 h 458"/>
                <a:gd name="T22" fmla="*/ 316 w 452"/>
                <a:gd name="T23" fmla="*/ 144 h 458"/>
                <a:gd name="T24" fmla="*/ 279 w 452"/>
                <a:gd name="T25" fmla="*/ 112 h 458"/>
                <a:gd name="T26" fmla="*/ 284 w 452"/>
                <a:gd name="T27" fmla="*/ 18 h 458"/>
                <a:gd name="T28" fmla="*/ 208 w 452"/>
                <a:gd name="T29" fmla="*/ 0 h 458"/>
                <a:gd name="T30" fmla="*/ 208 w 452"/>
                <a:gd name="T31" fmla="*/ 0 h 45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2"/>
                <a:gd name="T49" fmla="*/ 0 h 458"/>
                <a:gd name="T50" fmla="*/ 452 w 452"/>
                <a:gd name="T51" fmla="*/ 458 h 45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2" h="458">
                  <a:moveTo>
                    <a:pt x="208" y="0"/>
                  </a:moveTo>
                  <a:lnTo>
                    <a:pt x="88" y="82"/>
                  </a:lnTo>
                  <a:lnTo>
                    <a:pt x="79" y="132"/>
                  </a:lnTo>
                  <a:lnTo>
                    <a:pt x="116" y="220"/>
                  </a:lnTo>
                  <a:lnTo>
                    <a:pt x="0" y="345"/>
                  </a:lnTo>
                  <a:lnTo>
                    <a:pt x="213" y="458"/>
                  </a:lnTo>
                  <a:lnTo>
                    <a:pt x="452" y="345"/>
                  </a:lnTo>
                  <a:lnTo>
                    <a:pt x="428" y="278"/>
                  </a:lnTo>
                  <a:lnTo>
                    <a:pt x="351" y="269"/>
                  </a:lnTo>
                  <a:lnTo>
                    <a:pt x="359" y="236"/>
                  </a:lnTo>
                  <a:lnTo>
                    <a:pt x="325" y="236"/>
                  </a:lnTo>
                  <a:lnTo>
                    <a:pt x="316" y="144"/>
                  </a:lnTo>
                  <a:lnTo>
                    <a:pt x="279" y="112"/>
                  </a:lnTo>
                  <a:lnTo>
                    <a:pt x="284" y="18"/>
                  </a:lnTo>
                  <a:lnTo>
                    <a:pt x="208"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48" name="Freeform 49"/>
            <p:cNvSpPr>
              <a:spLocks noChangeAspect="1"/>
            </p:cNvSpPr>
            <p:nvPr/>
          </p:nvSpPr>
          <p:spPr bwMode="gray">
            <a:xfrm>
              <a:off x="1949545" y="3632159"/>
              <a:ext cx="419395" cy="416957"/>
            </a:xfrm>
            <a:custGeom>
              <a:avLst/>
              <a:gdLst>
                <a:gd name="T0" fmla="*/ 166 w 487"/>
                <a:gd name="T1" fmla="*/ 22 h 447"/>
                <a:gd name="T2" fmla="*/ 143 w 487"/>
                <a:gd name="T3" fmla="*/ 69 h 447"/>
                <a:gd name="T4" fmla="*/ 114 w 487"/>
                <a:gd name="T5" fmla="*/ 157 h 447"/>
                <a:gd name="T6" fmla="*/ 63 w 487"/>
                <a:gd name="T7" fmla="*/ 146 h 447"/>
                <a:gd name="T8" fmla="*/ 0 w 487"/>
                <a:gd name="T9" fmla="*/ 210 h 447"/>
                <a:gd name="T10" fmla="*/ 59 w 487"/>
                <a:gd name="T11" fmla="*/ 272 h 447"/>
                <a:gd name="T12" fmla="*/ 63 w 487"/>
                <a:gd name="T13" fmla="*/ 389 h 447"/>
                <a:gd name="T14" fmla="*/ 166 w 487"/>
                <a:gd name="T15" fmla="*/ 447 h 447"/>
                <a:gd name="T16" fmla="*/ 248 w 487"/>
                <a:gd name="T17" fmla="*/ 408 h 447"/>
                <a:gd name="T18" fmla="*/ 248 w 487"/>
                <a:gd name="T19" fmla="*/ 343 h 447"/>
                <a:gd name="T20" fmla="*/ 333 w 487"/>
                <a:gd name="T21" fmla="*/ 290 h 447"/>
                <a:gd name="T22" fmla="*/ 346 w 487"/>
                <a:gd name="T23" fmla="*/ 227 h 447"/>
                <a:gd name="T24" fmla="*/ 374 w 487"/>
                <a:gd name="T25" fmla="*/ 213 h 447"/>
                <a:gd name="T26" fmla="*/ 487 w 487"/>
                <a:gd name="T27" fmla="*/ 88 h 447"/>
                <a:gd name="T28" fmla="*/ 455 w 487"/>
                <a:gd name="T29" fmla="*/ 0 h 447"/>
                <a:gd name="T30" fmla="*/ 318 w 487"/>
                <a:gd name="T31" fmla="*/ 49 h 447"/>
                <a:gd name="T32" fmla="*/ 245 w 487"/>
                <a:gd name="T33" fmla="*/ 18 h 447"/>
                <a:gd name="T34" fmla="*/ 166 w 487"/>
                <a:gd name="T35" fmla="*/ 22 h 447"/>
                <a:gd name="T36" fmla="*/ 166 w 487"/>
                <a:gd name="T37" fmla="*/ 22 h 44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87"/>
                <a:gd name="T58" fmla="*/ 0 h 447"/>
                <a:gd name="T59" fmla="*/ 487 w 487"/>
                <a:gd name="T60" fmla="*/ 447 h 44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87" h="447">
                  <a:moveTo>
                    <a:pt x="166" y="22"/>
                  </a:moveTo>
                  <a:lnTo>
                    <a:pt x="143" y="69"/>
                  </a:lnTo>
                  <a:lnTo>
                    <a:pt x="114" y="157"/>
                  </a:lnTo>
                  <a:lnTo>
                    <a:pt x="63" y="146"/>
                  </a:lnTo>
                  <a:lnTo>
                    <a:pt x="0" y="210"/>
                  </a:lnTo>
                  <a:lnTo>
                    <a:pt x="59" y="272"/>
                  </a:lnTo>
                  <a:lnTo>
                    <a:pt x="63" y="389"/>
                  </a:lnTo>
                  <a:lnTo>
                    <a:pt x="166" y="447"/>
                  </a:lnTo>
                  <a:lnTo>
                    <a:pt x="248" y="408"/>
                  </a:lnTo>
                  <a:lnTo>
                    <a:pt x="248" y="343"/>
                  </a:lnTo>
                  <a:lnTo>
                    <a:pt x="333" y="290"/>
                  </a:lnTo>
                  <a:lnTo>
                    <a:pt x="346" y="227"/>
                  </a:lnTo>
                  <a:lnTo>
                    <a:pt x="374" y="213"/>
                  </a:lnTo>
                  <a:lnTo>
                    <a:pt x="487" y="88"/>
                  </a:lnTo>
                  <a:lnTo>
                    <a:pt x="455" y="0"/>
                  </a:lnTo>
                  <a:lnTo>
                    <a:pt x="318" y="49"/>
                  </a:lnTo>
                  <a:lnTo>
                    <a:pt x="245" y="18"/>
                  </a:lnTo>
                  <a:lnTo>
                    <a:pt x="166" y="22"/>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49" name="Freeform 50"/>
            <p:cNvSpPr>
              <a:spLocks noChangeAspect="1"/>
            </p:cNvSpPr>
            <p:nvPr/>
          </p:nvSpPr>
          <p:spPr bwMode="gray">
            <a:xfrm>
              <a:off x="1728629" y="3534931"/>
              <a:ext cx="364166" cy="564668"/>
            </a:xfrm>
            <a:custGeom>
              <a:avLst/>
              <a:gdLst>
                <a:gd name="T0" fmla="*/ 401 w 422"/>
                <a:gd name="T1" fmla="*/ 172 h 603"/>
                <a:gd name="T2" fmla="*/ 214 w 422"/>
                <a:gd name="T3" fmla="*/ 87 h 603"/>
                <a:gd name="T4" fmla="*/ 172 w 422"/>
                <a:gd name="T5" fmla="*/ 0 h 603"/>
                <a:gd name="T6" fmla="*/ 50 w 422"/>
                <a:gd name="T7" fmla="*/ 3 h 603"/>
                <a:gd name="T8" fmla="*/ 10 w 422"/>
                <a:gd name="T9" fmla="*/ 70 h 603"/>
                <a:gd name="T10" fmla="*/ 73 w 422"/>
                <a:gd name="T11" fmla="*/ 125 h 603"/>
                <a:gd name="T12" fmla="*/ 0 w 422"/>
                <a:gd name="T13" fmla="*/ 278 h 603"/>
                <a:gd name="T14" fmla="*/ 156 w 422"/>
                <a:gd name="T15" fmla="*/ 380 h 603"/>
                <a:gd name="T16" fmla="*/ 187 w 422"/>
                <a:gd name="T17" fmla="*/ 480 h 603"/>
                <a:gd name="T18" fmla="*/ 261 w 422"/>
                <a:gd name="T19" fmla="*/ 511 h 603"/>
                <a:gd name="T20" fmla="*/ 276 w 422"/>
                <a:gd name="T21" fmla="*/ 560 h 603"/>
                <a:gd name="T22" fmla="*/ 340 w 422"/>
                <a:gd name="T23" fmla="*/ 600 h 603"/>
                <a:gd name="T24" fmla="*/ 404 w 422"/>
                <a:gd name="T25" fmla="*/ 603 h 603"/>
                <a:gd name="T26" fmla="*/ 422 w 422"/>
                <a:gd name="T27" fmla="*/ 550 h 603"/>
                <a:gd name="T28" fmla="*/ 320 w 422"/>
                <a:gd name="T29" fmla="*/ 495 h 603"/>
                <a:gd name="T30" fmla="*/ 316 w 422"/>
                <a:gd name="T31" fmla="*/ 372 h 603"/>
                <a:gd name="T32" fmla="*/ 253 w 422"/>
                <a:gd name="T33" fmla="*/ 311 h 603"/>
                <a:gd name="T34" fmla="*/ 318 w 422"/>
                <a:gd name="T35" fmla="*/ 254 h 603"/>
                <a:gd name="T36" fmla="*/ 369 w 422"/>
                <a:gd name="T37" fmla="*/ 258 h 603"/>
                <a:gd name="T38" fmla="*/ 401 w 422"/>
                <a:gd name="T39" fmla="*/ 172 h 603"/>
                <a:gd name="T40" fmla="*/ 211 w 422"/>
                <a:gd name="T41" fmla="*/ 87 h 603"/>
                <a:gd name="T42" fmla="*/ 401 w 422"/>
                <a:gd name="T43" fmla="*/ 172 h 603"/>
                <a:gd name="T44" fmla="*/ 401 w 422"/>
                <a:gd name="T45" fmla="*/ 172 h 60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22"/>
                <a:gd name="T70" fmla="*/ 0 h 603"/>
                <a:gd name="T71" fmla="*/ 422 w 422"/>
                <a:gd name="T72" fmla="*/ 603 h 60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22" h="603">
                  <a:moveTo>
                    <a:pt x="401" y="172"/>
                  </a:moveTo>
                  <a:lnTo>
                    <a:pt x="214" y="87"/>
                  </a:lnTo>
                  <a:lnTo>
                    <a:pt x="172" y="0"/>
                  </a:lnTo>
                  <a:lnTo>
                    <a:pt x="50" y="3"/>
                  </a:lnTo>
                  <a:lnTo>
                    <a:pt x="10" y="70"/>
                  </a:lnTo>
                  <a:lnTo>
                    <a:pt x="73" y="125"/>
                  </a:lnTo>
                  <a:lnTo>
                    <a:pt x="0" y="278"/>
                  </a:lnTo>
                  <a:lnTo>
                    <a:pt x="156" y="380"/>
                  </a:lnTo>
                  <a:lnTo>
                    <a:pt x="187" y="480"/>
                  </a:lnTo>
                  <a:lnTo>
                    <a:pt x="261" y="511"/>
                  </a:lnTo>
                  <a:lnTo>
                    <a:pt x="276" y="560"/>
                  </a:lnTo>
                  <a:lnTo>
                    <a:pt x="340" y="600"/>
                  </a:lnTo>
                  <a:lnTo>
                    <a:pt x="404" y="603"/>
                  </a:lnTo>
                  <a:lnTo>
                    <a:pt x="422" y="550"/>
                  </a:lnTo>
                  <a:lnTo>
                    <a:pt x="320" y="495"/>
                  </a:lnTo>
                  <a:lnTo>
                    <a:pt x="316" y="372"/>
                  </a:lnTo>
                  <a:lnTo>
                    <a:pt x="253" y="311"/>
                  </a:lnTo>
                  <a:lnTo>
                    <a:pt x="318" y="254"/>
                  </a:lnTo>
                  <a:lnTo>
                    <a:pt x="369" y="258"/>
                  </a:lnTo>
                  <a:lnTo>
                    <a:pt x="401" y="172"/>
                  </a:lnTo>
                  <a:lnTo>
                    <a:pt x="211" y="87"/>
                  </a:lnTo>
                  <a:lnTo>
                    <a:pt x="401" y="172"/>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50" name="Freeform 51"/>
            <p:cNvSpPr>
              <a:spLocks noChangeAspect="1"/>
            </p:cNvSpPr>
            <p:nvPr/>
          </p:nvSpPr>
          <p:spPr bwMode="gray">
            <a:xfrm>
              <a:off x="2077262" y="3830353"/>
              <a:ext cx="450461" cy="504836"/>
            </a:xfrm>
            <a:custGeom>
              <a:avLst/>
              <a:gdLst>
                <a:gd name="T0" fmla="*/ 225 w 523"/>
                <a:gd name="T1" fmla="*/ 0 h 542"/>
                <a:gd name="T2" fmla="*/ 195 w 523"/>
                <a:gd name="T3" fmla="*/ 15 h 542"/>
                <a:gd name="T4" fmla="*/ 187 w 523"/>
                <a:gd name="T5" fmla="*/ 76 h 542"/>
                <a:gd name="T6" fmla="*/ 99 w 523"/>
                <a:gd name="T7" fmla="*/ 133 h 542"/>
                <a:gd name="T8" fmla="*/ 99 w 523"/>
                <a:gd name="T9" fmla="*/ 196 h 542"/>
                <a:gd name="T10" fmla="*/ 17 w 523"/>
                <a:gd name="T11" fmla="*/ 232 h 542"/>
                <a:gd name="T12" fmla="*/ 0 w 523"/>
                <a:gd name="T13" fmla="*/ 285 h 542"/>
                <a:gd name="T14" fmla="*/ 35 w 523"/>
                <a:gd name="T15" fmla="*/ 299 h 542"/>
                <a:gd name="T16" fmla="*/ 3 w 523"/>
                <a:gd name="T17" fmla="*/ 395 h 542"/>
                <a:gd name="T18" fmla="*/ 121 w 523"/>
                <a:gd name="T19" fmla="*/ 401 h 542"/>
                <a:gd name="T20" fmla="*/ 96 w 523"/>
                <a:gd name="T21" fmla="*/ 460 h 542"/>
                <a:gd name="T22" fmla="*/ 132 w 523"/>
                <a:gd name="T23" fmla="*/ 506 h 542"/>
                <a:gd name="T24" fmla="*/ 295 w 523"/>
                <a:gd name="T25" fmla="*/ 496 h 542"/>
                <a:gd name="T26" fmla="*/ 306 w 523"/>
                <a:gd name="T27" fmla="*/ 538 h 542"/>
                <a:gd name="T28" fmla="*/ 412 w 523"/>
                <a:gd name="T29" fmla="*/ 542 h 542"/>
                <a:gd name="T30" fmla="*/ 412 w 523"/>
                <a:gd name="T31" fmla="*/ 506 h 542"/>
                <a:gd name="T32" fmla="*/ 477 w 523"/>
                <a:gd name="T33" fmla="*/ 474 h 542"/>
                <a:gd name="T34" fmla="*/ 523 w 523"/>
                <a:gd name="T35" fmla="*/ 340 h 542"/>
                <a:gd name="T36" fmla="*/ 447 w 523"/>
                <a:gd name="T37" fmla="*/ 243 h 542"/>
                <a:gd name="T38" fmla="*/ 471 w 523"/>
                <a:gd name="T39" fmla="*/ 156 h 542"/>
                <a:gd name="T40" fmla="*/ 436 w 523"/>
                <a:gd name="T41" fmla="*/ 112 h 542"/>
                <a:gd name="T42" fmla="*/ 322 w 523"/>
                <a:gd name="T43" fmla="*/ 54 h 542"/>
                <a:gd name="T44" fmla="*/ 225 w 523"/>
                <a:gd name="T45" fmla="*/ 0 h 542"/>
                <a:gd name="T46" fmla="*/ 225 w 523"/>
                <a:gd name="T47" fmla="*/ 0 h 54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23"/>
                <a:gd name="T73" fmla="*/ 0 h 542"/>
                <a:gd name="T74" fmla="*/ 523 w 523"/>
                <a:gd name="T75" fmla="*/ 542 h 54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23" h="542">
                  <a:moveTo>
                    <a:pt x="225" y="0"/>
                  </a:moveTo>
                  <a:lnTo>
                    <a:pt x="195" y="15"/>
                  </a:lnTo>
                  <a:lnTo>
                    <a:pt x="187" y="76"/>
                  </a:lnTo>
                  <a:lnTo>
                    <a:pt x="99" y="133"/>
                  </a:lnTo>
                  <a:lnTo>
                    <a:pt x="99" y="196"/>
                  </a:lnTo>
                  <a:lnTo>
                    <a:pt x="17" y="232"/>
                  </a:lnTo>
                  <a:lnTo>
                    <a:pt x="0" y="285"/>
                  </a:lnTo>
                  <a:lnTo>
                    <a:pt x="35" y="299"/>
                  </a:lnTo>
                  <a:lnTo>
                    <a:pt x="3" y="395"/>
                  </a:lnTo>
                  <a:lnTo>
                    <a:pt x="121" y="401"/>
                  </a:lnTo>
                  <a:lnTo>
                    <a:pt x="96" y="460"/>
                  </a:lnTo>
                  <a:lnTo>
                    <a:pt x="132" y="506"/>
                  </a:lnTo>
                  <a:lnTo>
                    <a:pt x="295" y="496"/>
                  </a:lnTo>
                  <a:lnTo>
                    <a:pt x="306" y="538"/>
                  </a:lnTo>
                  <a:lnTo>
                    <a:pt x="412" y="542"/>
                  </a:lnTo>
                  <a:lnTo>
                    <a:pt x="412" y="506"/>
                  </a:lnTo>
                  <a:lnTo>
                    <a:pt x="477" y="474"/>
                  </a:lnTo>
                  <a:lnTo>
                    <a:pt x="523" y="340"/>
                  </a:lnTo>
                  <a:lnTo>
                    <a:pt x="447" y="243"/>
                  </a:lnTo>
                  <a:lnTo>
                    <a:pt x="471" y="156"/>
                  </a:lnTo>
                  <a:lnTo>
                    <a:pt x="436" y="112"/>
                  </a:lnTo>
                  <a:lnTo>
                    <a:pt x="322" y="54"/>
                  </a:lnTo>
                  <a:lnTo>
                    <a:pt x="225"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51" name="Freeform 52"/>
            <p:cNvSpPr>
              <a:spLocks noChangeAspect="1"/>
            </p:cNvSpPr>
            <p:nvPr/>
          </p:nvSpPr>
          <p:spPr bwMode="gray">
            <a:xfrm>
              <a:off x="2453510" y="3819135"/>
              <a:ext cx="402136" cy="379562"/>
            </a:xfrm>
            <a:custGeom>
              <a:avLst/>
              <a:gdLst>
                <a:gd name="T0" fmla="*/ 239 w 467"/>
                <a:gd name="T1" fmla="*/ 7 h 406"/>
                <a:gd name="T2" fmla="*/ 0 w 467"/>
                <a:gd name="T3" fmla="*/ 123 h 406"/>
                <a:gd name="T4" fmla="*/ 35 w 467"/>
                <a:gd name="T5" fmla="*/ 170 h 406"/>
                <a:gd name="T6" fmla="*/ 11 w 467"/>
                <a:gd name="T7" fmla="*/ 254 h 406"/>
                <a:gd name="T8" fmla="*/ 87 w 467"/>
                <a:gd name="T9" fmla="*/ 355 h 406"/>
                <a:gd name="T10" fmla="*/ 157 w 467"/>
                <a:gd name="T11" fmla="*/ 355 h 406"/>
                <a:gd name="T12" fmla="*/ 224 w 467"/>
                <a:gd name="T13" fmla="*/ 406 h 406"/>
                <a:gd name="T14" fmla="*/ 326 w 467"/>
                <a:gd name="T15" fmla="*/ 363 h 406"/>
                <a:gd name="T16" fmla="*/ 302 w 467"/>
                <a:gd name="T17" fmla="*/ 328 h 406"/>
                <a:gd name="T18" fmla="*/ 349 w 467"/>
                <a:gd name="T19" fmla="*/ 284 h 406"/>
                <a:gd name="T20" fmla="*/ 347 w 467"/>
                <a:gd name="T21" fmla="*/ 235 h 406"/>
                <a:gd name="T22" fmla="*/ 420 w 467"/>
                <a:gd name="T23" fmla="*/ 147 h 406"/>
                <a:gd name="T24" fmla="*/ 467 w 467"/>
                <a:gd name="T25" fmla="*/ 176 h 406"/>
                <a:gd name="T26" fmla="*/ 443 w 467"/>
                <a:gd name="T27" fmla="*/ 83 h 406"/>
                <a:gd name="T28" fmla="*/ 425 w 467"/>
                <a:gd name="T29" fmla="*/ 0 h 406"/>
                <a:gd name="T30" fmla="*/ 361 w 467"/>
                <a:gd name="T31" fmla="*/ 30 h 406"/>
                <a:gd name="T32" fmla="*/ 239 w 467"/>
                <a:gd name="T33" fmla="*/ 7 h 406"/>
                <a:gd name="T34" fmla="*/ 239 w 467"/>
                <a:gd name="T35" fmla="*/ 7 h 40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7"/>
                <a:gd name="T55" fmla="*/ 0 h 406"/>
                <a:gd name="T56" fmla="*/ 467 w 467"/>
                <a:gd name="T57" fmla="*/ 406 h 40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7" h="406">
                  <a:moveTo>
                    <a:pt x="239" y="7"/>
                  </a:moveTo>
                  <a:lnTo>
                    <a:pt x="0" y="123"/>
                  </a:lnTo>
                  <a:lnTo>
                    <a:pt x="35" y="170"/>
                  </a:lnTo>
                  <a:lnTo>
                    <a:pt x="11" y="254"/>
                  </a:lnTo>
                  <a:lnTo>
                    <a:pt x="87" y="355"/>
                  </a:lnTo>
                  <a:lnTo>
                    <a:pt x="157" y="355"/>
                  </a:lnTo>
                  <a:lnTo>
                    <a:pt x="224" y="406"/>
                  </a:lnTo>
                  <a:lnTo>
                    <a:pt x="326" y="363"/>
                  </a:lnTo>
                  <a:lnTo>
                    <a:pt x="302" y="328"/>
                  </a:lnTo>
                  <a:lnTo>
                    <a:pt x="349" y="284"/>
                  </a:lnTo>
                  <a:lnTo>
                    <a:pt x="347" y="235"/>
                  </a:lnTo>
                  <a:lnTo>
                    <a:pt x="420" y="147"/>
                  </a:lnTo>
                  <a:lnTo>
                    <a:pt x="467" y="176"/>
                  </a:lnTo>
                  <a:lnTo>
                    <a:pt x="443" y="83"/>
                  </a:lnTo>
                  <a:lnTo>
                    <a:pt x="425" y="0"/>
                  </a:lnTo>
                  <a:lnTo>
                    <a:pt x="361" y="30"/>
                  </a:lnTo>
                  <a:lnTo>
                    <a:pt x="239" y="7"/>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52" name="Freeform 53"/>
            <p:cNvSpPr>
              <a:spLocks noChangeAspect="1"/>
            </p:cNvSpPr>
            <p:nvPr/>
          </p:nvSpPr>
          <p:spPr bwMode="gray">
            <a:xfrm>
              <a:off x="2384474" y="4150083"/>
              <a:ext cx="365892" cy="366473"/>
            </a:xfrm>
            <a:custGeom>
              <a:avLst/>
              <a:gdLst>
                <a:gd name="T0" fmla="*/ 161 w 422"/>
                <a:gd name="T1" fmla="*/ 0 h 390"/>
                <a:gd name="T2" fmla="*/ 120 w 422"/>
                <a:gd name="T3" fmla="*/ 130 h 390"/>
                <a:gd name="T4" fmla="*/ 55 w 422"/>
                <a:gd name="T5" fmla="*/ 162 h 390"/>
                <a:gd name="T6" fmla="*/ 55 w 422"/>
                <a:gd name="T7" fmla="*/ 198 h 390"/>
                <a:gd name="T8" fmla="*/ 0 w 422"/>
                <a:gd name="T9" fmla="*/ 236 h 390"/>
                <a:gd name="T10" fmla="*/ 17 w 422"/>
                <a:gd name="T11" fmla="*/ 304 h 390"/>
                <a:gd name="T12" fmla="*/ 120 w 422"/>
                <a:gd name="T13" fmla="*/ 390 h 390"/>
                <a:gd name="T14" fmla="*/ 184 w 422"/>
                <a:gd name="T15" fmla="*/ 353 h 390"/>
                <a:gd name="T16" fmla="*/ 312 w 422"/>
                <a:gd name="T17" fmla="*/ 329 h 390"/>
                <a:gd name="T18" fmla="*/ 334 w 422"/>
                <a:gd name="T19" fmla="*/ 304 h 390"/>
                <a:gd name="T20" fmla="*/ 299 w 422"/>
                <a:gd name="T21" fmla="*/ 260 h 390"/>
                <a:gd name="T22" fmla="*/ 422 w 422"/>
                <a:gd name="T23" fmla="*/ 184 h 390"/>
                <a:gd name="T24" fmla="*/ 375 w 422"/>
                <a:gd name="T25" fmla="*/ 20 h 390"/>
                <a:gd name="T26" fmla="*/ 305 w 422"/>
                <a:gd name="T27" fmla="*/ 51 h 390"/>
                <a:gd name="T28" fmla="*/ 236 w 422"/>
                <a:gd name="T29" fmla="*/ 0 h 390"/>
                <a:gd name="T30" fmla="*/ 161 w 422"/>
                <a:gd name="T31" fmla="*/ 0 h 390"/>
                <a:gd name="T32" fmla="*/ 161 w 422"/>
                <a:gd name="T33" fmla="*/ 0 h 39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22"/>
                <a:gd name="T52" fmla="*/ 0 h 390"/>
                <a:gd name="T53" fmla="*/ 422 w 422"/>
                <a:gd name="T54" fmla="*/ 390 h 39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22" h="390">
                  <a:moveTo>
                    <a:pt x="161" y="0"/>
                  </a:moveTo>
                  <a:lnTo>
                    <a:pt x="120" y="130"/>
                  </a:lnTo>
                  <a:lnTo>
                    <a:pt x="55" y="162"/>
                  </a:lnTo>
                  <a:lnTo>
                    <a:pt x="55" y="198"/>
                  </a:lnTo>
                  <a:lnTo>
                    <a:pt x="0" y="236"/>
                  </a:lnTo>
                  <a:lnTo>
                    <a:pt x="17" y="304"/>
                  </a:lnTo>
                  <a:lnTo>
                    <a:pt x="120" y="390"/>
                  </a:lnTo>
                  <a:lnTo>
                    <a:pt x="184" y="353"/>
                  </a:lnTo>
                  <a:lnTo>
                    <a:pt x="312" y="329"/>
                  </a:lnTo>
                  <a:lnTo>
                    <a:pt x="334" y="304"/>
                  </a:lnTo>
                  <a:lnTo>
                    <a:pt x="299" y="260"/>
                  </a:lnTo>
                  <a:lnTo>
                    <a:pt x="422" y="184"/>
                  </a:lnTo>
                  <a:lnTo>
                    <a:pt x="375" y="20"/>
                  </a:lnTo>
                  <a:lnTo>
                    <a:pt x="305" y="51"/>
                  </a:lnTo>
                  <a:lnTo>
                    <a:pt x="236" y="0"/>
                  </a:lnTo>
                  <a:lnTo>
                    <a:pt x="161"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53" name="Freeform 54"/>
            <p:cNvSpPr>
              <a:spLocks noChangeAspect="1"/>
            </p:cNvSpPr>
            <p:nvPr/>
          </p:nvSpPr>
          <p:spPr bwMode="gray">
            <a:xfrm>
              <a:off x="2707218" y="3901404"/>
              <a:ext cx="398684" cy="424436"/>
            </a:xfrm>
            <a:custGeom>
              <a:avLst/>
              <a:gdLst>
                <a:gd name="T0" fmla="*/ 152 w 462"/>
                <a:gd name="T1" fmla="*/ 0 h 454"/>
                <a:gd name="T2" fmla="*/ 173 w 462"/>
                <a:gd name="T3" fmla="*/ 89 h 454"/>
                <a:gd name="T4" fmla="*/ 128 w 462"/>
                <a:gd name="T5" fmla="*/ 60 h 454"/>
                <a:gd name="T6" fmla="*/ 52 w 462"/>
                <a:gd name="T7" fmla="*/ 148 h 454"/>
                <a:gd name="T8" fmla="*/ 55 w 462"/>
                <a:gd name="T9" fmla="*/ 200 h 454"/>
                <a:gd name="T10" fmla="*/ 6 w 462"/>
                <a:gd name="T11" fmla="*/ 241 h 454"/>
                <a:gd name="T12" fmla="*/ 32 w 462"/>
                <a:gd name="T13" fmla="*/ 276 h 454"/>
                <a:gd name="T14" fmla="*/ 0 w 462"/>
                <a:gd name="T15" fmla="*/ 288 h 454"/>
                <a:gd name="T16" fmla="*/ 49 w 462"/>
                <a:gd name="T17" fmla="*/ 454 h 454"/>
                <a:gd name="T18" fmla="*/ 85 w 462"/>
                <a:gd name="T19" fmla="*/ 430 h 454"/>
                <a:gd name="T20" fmla="*/ 146 w 462"/>
                <a:gd name="T21" fmla="*/ 443 h 454"/>
                <a:gd name="T22" fmla="*/ 248 w 462"/>
                <a:gd name="T23" fmla="*/ 304 h 454"/>
                <a:gd name="T24" fmla="*/ 280 w 462"/>
                <a:gd name="T25" fmla="*/ 325 h 454"/>
                <a:gd name="T26" fmla="*/ 339 w 462"/>
                <a:gd name="T27" fmla="*/ 443 h 454"/>
                <a:gd name="T28" fmla="*/ 380 w 462"/>
                <a:gd name="T29" fmla="*/ 310 h 454"/>
                <a:gd name="T30" fmla="*/ 407 w 462"/>
                <a:gd name="T31" fmla="*/ 334 h 454"/>
                <a:gd name="T32" fmla="*/ 462 w 462"/>
                <a:gd name="T33" fmla="*/ 279 h 454"/>
                <a:gd name="T34" fmla="*/ 411 w 462"/>
                <a:gd name="T35" fmla="*/ 131 h 454"/>
                <a:gd name="T36" fmla="*/ 362 w 462"/>
                <a:gd name="T37" fmla="*/ 124 h 454"/>
                <a:gd name="T38" fmla="*/ 374 w 462"/>
                <a:gd name="T39" fmla="*/ 89 h 454"/>
                <a:gd name="T40" fmla="*/ 329 w 462"/>
                <a:gd name="T41" fmla="*/ 112 h 454"/>
                <a:gd name="T42" fmla="*/ 280 w 462"/>
                <a:gd name="T43" fmla="*/ 66 h 454"/>
                <a:gd name="T44" fmla="*/ 225 w 462"/>
                <a:gd name="T45" fmla="*/ 66 h 454"/>
                <a:gd name="T46" fmla="*/ 152 w 462"/>
                <a:gd name="T47" fmla="*/ 0 h 454"/>
                <a:gd name="T48" fmla="*/ 152 w 462"/>
                <a:gd name="T49" fmla="*/ 0 h 45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62"/>
                <a:gd name="T76" fmla="*/ 0 h 454"/>
                <a:gd name="T77" fmla="*/ 462 w 462"/>
                <a:gd name="T78" fmla="*/ 454 h 45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62" h="454">
                  <a:moveTo>
                    <a:pt x="152" y="0"/>
                  </a:moveTo>
                  <a:lnTo>
                    <a:pt x="173" y="89"/>
                  </a:lnTo>
                  <a:lnTo>
                    <a:pt x="128" y="60"/>
                  </a:lnTo>
                  <a:lnTo>
                    <a:pt x="52" y="148"/>
                  </a:lnTo>
                  <a:lnTo>
                    <a:pt x="55" y="200"/>
                  </a:lnTo>
                  <a:lnTo>
                    <a:pt x="6" y="241"/>
                  </a:lnTo>
                  <a:lnTo>
                    <a:pt x="32" y="276"/>
                  </a:lnTo>
                  <a:lnTo>
                    <a:pt x="0" y="288"/>
                  </a:lnTo>
                  <a:lnTo>
                    <a:pt x="49" y="454"/>
                  </a:lnTo>
                  <a:lnTo>
                    <a:pt x="85" y="430"/>
                  </a:lnTo>
                  <a:lnTo>
                    <a:pt x="146" y="443"/>
                  </a:lnTo>
                  <a:lnTo>
                    <a:pt x="248" y="304"/>
                  </a:lnTo>
                  <a:lnTo>
                    <a:pt x="280" y="325"/>
                  </a:lnTo>
                  <a:lnTo>
                    <a:pt x="339" y="443"/>
                  </a:lnTo>
                  <a:lnTo>
                    <a:pt x="380" y="310"/>
                  </a:lnTo>
                  <a:lnTo>
                    <a:pt x="407" y="334"/>
                  </a:lnTo>
                  <a:lnTo>
                    <a:pt x="462" y="279"/>
                  </a:lnTo>
                  <a:lnTo>
                    <a:pt x="411" y="131"/>
                  </a:lnTo>
                  <a:lnTo>
                    <a:pt x="362" y="124"/>
                  </a:lnTo>
                  <a:lnTo>
                    <a:pt x="374" y="89"/>
                  </a:lnTo>
                  <a:lnTo>
                    <a:pt x="329" y="112"/>
                  </a:lnTo>
                  <a:lnTo>
                    <a:pt x="280" y="66"/>
                  </a:lnTo>
                  <a:lnTo>
                    <a:pt x="225" y="66"/>
                  </a:lnTo>
                  <a:lnTo>
                    <a:pt x="152"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54" name="Freeform 55"/>
            <p:cNvSpPr>
              <a:spLocks noChangeAspect="1"/>
            </p:cNvSpPr>
            <p:nvPr/>
          </p:nvSpPr>
          <p:spPr bwMode="gray">
            <a:xfrm>
              <a:off x="3019607" y="3951888"/>
              <a:ext cx="415943" cy="299162"/>
            </a:xfrm>
            <a:custGeom>
              <a:avLst/>
              <a:gdLst>
                <a:gd name="T0" fmla="*/ 155 w 482"/>
                <a:gd name="T1" fmla="*/ 0 h 321"/>
                <a:gd name="T2" fmla="*/ 70 w 482"/>
                <a:gd name="T3" fmla="*/ 0 h 321"/>
                <a:gd name="T4" fmla="*/ 12 w 482"/>
                <a:gd name="T5" fmla="*/ 34 h 321"/>
                <a:gd name="T6" fmla="*/ 0 w 482"/>
                <a:gd name="T7" fmla="*/ 69 h 321"/>
                <a:gd name="T8" fmla="*/ 47 w 482"/>
                <a:gd name="T9" fmla="*/ 80 h 321"/>
                <a:gd name="T10" fmla="*/ 100 w 482"/>
                <a:gd name="T11" fmla="*/ 223 h 321"/>
                <a:gd name="T12" fmla="*/ 147 w 482"/>
                <a:gd name="T13" fmla="*/ 300 h 321"/>
                <a:gd name="T14" fmla="*/ 213 w 482"/>
                <a:gd name="T15" fmla="*/ 274 h 321"/>
                <a:gd name="T16" fmla="*/ 275 w 482"/>
                <a:gd name="T17" fmla="*/ 321 h 321"/>
                <a:gd name="T18" fmla="*/ 290 w 482"/>
                <a:gd name="T19" fmla="*/ 283 h 321"/>
                <a:gd name="T20" fmla="*/ 319 w 482"/>
                <a:gd name="T21" fmla="*/ 274 h 321"/>
                <a:gd name="T22" fmla="*/ 430 w 482"/>
                <a:gd name="T23" fmla="*/ 207 h 321"/>
                <a:gd name="T24" fmla="*/ 448 w 482"/>
                <a:gd name="T25" fmla="*/ 125 h 321"/>
                <a:gd name="T26" fmla="*/ 471 w 482"/>
                <a:gd name="T27" fmla="*/ 137 h 321"/>
                <a:gd name="T28" fmla="*/ 482 w 482"/>
                <a:gd name="T29" fmla="*/ 81 h 321"/>
                <a:gd name="T30" fmla="*/ 403 w 482"/>
                <a:gd name="T31" fmla="*/ 17 h 321"/>
                <a:gd name="T32" fmla="*/ 273 w 482"/>
                <a:gd name="T33" fmla="*/ 23 h 321"/>
                <a:gd name="T34" fmla="*/ 182 w 482"/>
                <a:gd name="T35" fmla="*/ 36 h 321"/>
                <a:gd name="T36" fmla="*/ 155 w 482"/>
                <a:gd name="T37" fmla="*/ 0 h 321"/>
                <a:gd name="T38" fmla="*/ 155 w 482"/>
                <a:gd name="T39" fmla="*/ 0 h 32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82"/>
                <a:gd name="T61" fmla="*/ 0 h 321"/>
                <a:gd name="T62" fmla="*/ 482 w 482"/>
                <a:gd name="T63" fmla="*/ 321 h 32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82" h="321">
                  <a:moveTo>
                    <a:pt x="155" y="0"/>
                  </a:moveTo>
                  <a:lnTo>
                    <a:pt x="70" y="0"/>
                  </a:lnTo>
                  <a:lnTo>
                    <a:pt x="12" y="34"/>
                  </a:lnTo>
                  <a:lnTo>
                    <a:pt x="0" y="69"/>
                  </a:lnTo>
                  <a:lnTo>
                    <a:pt x="47" y="80"/>
                  </a:lnTo>
                  <a:lnTo>
                    <a:pt x="100" y="223"/>
                  </a:lnTo>
                  <a:lnTo>
                    <a:pt x="147" y="300"/>
                  </a:lnTo>
                  <a:lnTo>
                    <a:pt x="213" y="274"/>
                  </a:lnTo>
                  <a:lnTo>
                    <a:pt x="275" y="321"/>
                  </a:lnTo>
                  <a:lnTo>
                    <a:pt x="290" y="283"/>
                  </a:lnTo>
                  <a:lnTo>
                    <a:pt x="319" y="274"/>
                  </a:lnTo>
                  <a:lnTo>
                    <a:pt x="430" y="207"/>
                  </a:lnTo>
                  <a:lnTo>
                    <a:pt x="448" y="125"/>
                  </a:lnTo>
                  <a:lnTo>
                    <a:pt x="471" y="137"/>
                  </a:lnTo>
                  <a:lnTo>
                    <a:pt x="482" y="81"/>
                  </a:lnTo>
                  <a:lnTo>
                    <a:pt x="403" y="17"/>
                  </a:lnTo>
                  <a:lnTo>
                    <a:pt x="273" y="23"/>
                  </a:lnTo>
                  <a:lnTo>
                    <a:pt x="182" y="36"/>
                  </a:lnTo>
                  <a:lnTo>
                    <a:pt x="155"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55" name="Freeform 56"/>
            <p:cNvSpPr>
              <a:spLocks noChangeAspect="1"/>
            </p:cNvSpPr>
            <p:nvPr/>
          </p:nvSpPr>
          <p:spPr bwMode="gray">
            <a:xfrm>
              <a:off x="2997170" y="4159432"/>
              <a:ext cx="312389" cy="388911"/>
            </a:xfrm>
            <a:custGeom>
              <a:avLst/>
              <a:gdLst>
                <a:gd name="T0" fmla="*/ 126 w 362"/>
                <a:gd name="T1" fmla="*/ 0 h 416"/>
                <a:gd name="T2" fmla="*/ 71 w 362"/>
                <a:gd name="T3" fmla="*/ 56 h 416"/>
                <a:gd name="T4" fmla="*/ 44 w 362"/>
                <a:gd name="T5" fmla="*/ 32 h 416"/>
                <a:gd name="T6" fmla="*/ 0 w 362"/>
                <a:gd name="T7" fmla="*/ 161 h 416"/>
                <a:gd name="T8" fmla="*/ 41 w 362"/>
                <a:gd name="T9" fmla="*/ 229 h 416"/>
                <a:gd name="T10" fmla="*/ 38 w 362"/>
                <a:gd name="T11" fmla="*/ 346 h 416"/>
                <a:gd name="T12" fmla="*/ 81 w 362"/>
                <a:gd name="T13" fmla="*/ 387 h 416"/>
                <a:gd name="T14" fmla="*/ 126 w 362"/>
                <a:gd name="T15" fmla="*/ 374 h 416"/>
                <a:gd name="T16" fmla="*/ 217 w 362"/>
                <a:gd name="T17" fmla="*/ 416 h 416"/>
                <a:gd name="T18" fmla="*/ 240 w 362"/>
                <a:gd name="T19" fmla="*/ 387 h 416"/>
                <a:gd name="T20" fmla="*/ 330 w 362"/>
                <a:gd name="T21" fmla="*/ 402 h 416"/>
                <a:gd name="T22" fmla="*/ 362 w 362"/>
                <a:gd name="T23" fmla="*/ 380 h 416"/>
                <a:gd name="T24" fmla="*/ 336 w 362"/>
                <a:gd name="T25" fmla="*/ 266 h 416"/>
                <a:gd name="T26" fmla="*/ 354 w 362"/>
                <a:gd name="T27" fmla="*/ 244 h 416"/>
                <a:gd name="T28" fmla="*/ 303 w 362"/>
                <a:gd name="T29" fmla="*/ 98 h 416"/>
                <a:gd name="T30" fmla="*/ 239 w 362"/>
                <a:gd name="T31" fmla="*/ 51 h 416"/>
                <a:gd name="T32" fmla="*/ 175 w 362"/>
                <a:gd name="T33" fmla="*/ 76 h 416"/>
                <a:gd name="T34" fmla="*/ 126 w 362"/>
                <a:gd name="T35" fmla="*/ 0 h 416"/>
                <a:gd name="T36" fmla="*/ 126 w 362"/>
                <a:gd name="T37" fmla="*/ 0 h 41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62"/>
                <a:gd name="T58" fmla="*/ 0 h 416"/>
                <a:gd name="T59" fmla="*/ 362 w 362"/>
                <a:gd name="T60" fmla="*/ 416 h 41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62" h="416">
                  <a:moveTo>
                    <a:pt x="126" y="0"/>
                  </a:moveTo>
                  <a:lnTo>
                    <a:pt x="71" y="56"/>
                  </a:lnTo>
                  <a:lnTo>
                    <a:pt x="44" y="32"/>
                  </a:lnTo>
                  <a:lnTo>
                    <a:pt x="0" y="161"/>
                  </a:lnTo>
                  <a:lnTo>
                    <a:pt x="41" y="229"/>
                  </a:lnTo>
                  <a:lnTo>
                    <a:pt x="38" y="346"/>
                  </a:lnTo>
                  <a:lnTo>
                    <a:pt x="81" y="387"/>
                  </a:lnTo>
                  <a:lnTo>
                    <a:pt x="126" y="374"/>
                  </a:lnTo>
                  <a:lnTo>
                    <a:pt x="217" y="416"/>
                  </a:lnTo>
                  <a:lnTo>
                    <a:pt x="240" y="387"/>
                  </a:lnTo>
                  <a:lnTo>
                    <a:pt x="330" y="402"/>
                  </a:lnTo>
                  <a:lnTo>
                    <a:pt x="362" y="380"/>
                  </a:lnTo>
                  <a:lnTo>
                    <a:pt x="336" y="266"/>
                  </a:lnTo>
                  <a:lnTo>
                    <a:pt x="354" y="244"/>
                  </a:lnTo>
                  <a:lnTo>
                    <a:pt x="303" y="98"/>
                  </a:lnTo>
                  <a:lnTo>
                    <a:pt x="239" y="51"/>
                  </a:lnTo>
                  <a:lnTo>
                    <a:pt x="175" y="76"/>
                  </a:lnTo>
                  <a:lnTo>
                    <a:pt x="126"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56" name="Freeform 57"/>
            <p:cNvSpPr>
              <a:spLocks noChangeAspect="1"/>
            </p:cNvSpPr>
            <p:nvPr/>
          </p:nvSpPr>
          <p:spPr bwMode="gray">
            <a:xfrm>
              <a:off x="2047922" y="4258529"/>
              <a:ext cx="386603" cy="357125"/>
            </a:xfrm>
            <a:custGeom>
              <a:avLst/>
              <a:gdLst>
                <a:gd name="T0" fmla="*/ 131 w 449"/>
                <a:gd name="T1" fmla="*/ 0 h 380"/>
                <a:gd name="T2" fmla="*/ 82 w 449"/>
                <a:gd name="T3" fmla="*/ 36 h 380"/>
                <a:gd name="T4" fmla="*/ 108 w 449"/>
                <a:gd name="T5" fmla="*/ 67 h 380"/>
                <a:gd name="T6" fmla="*/ 32 w 449"/>
                <a:gd name="T7" fmla="*/ 149 h 380"/>
                <a:gd name="T8" fmla="*/ 27 w 449"/>
                <a:gd name="T9" fmla="*/ 237 h 380"/>
                <a:gd name="T10" fmla="*/ 0 w 449"/>
                <a:gd name="T11" fmla="*/ 266 h 380"/>
                <a:gd name="T12" fmla="*/ 0 w 449"/>
                <a:gd name="T13" fmla="*/ 302 h 380"/>
                <a:gd name="T14" fmla="*/ 76 w 449"/>
                <a:gd name="T15" fmla="*/ 316 h 380"/>
                <a:gd name="T16" fmla="*/ 63 w 449"/>
                <a:gd name="T17" fmla="*/ 380 h 380"/>
                <a:gd name="T18" fmla="*/ 149 w 449"/>
                <a:gd name="T19" fmla="*/ 380 h 380"/>
                <a:gd name="T20" fmla="*/ 204 w 449"/>
                <a:gd name="T21" fmla="*/ 327 h 380"/>
                <a:gd name="T22" fmla="*/ 298 w 449"/>
                <a:gd name="T23" fmla="*/ 354 h 380"/>
                <a:gd name="T24" fmla="*/ 295 w 449"/>
                <a:gd name="T25" fmla="*/ 316 h 380"/>
                <a:gd name="T26" fmla="*/ 363 w 449"/>
                <a:gd name="T27" fmla="*/ 293 h 380"/>
                <a:gd name="T28" fmla="*/ 357 w 449"/>
                <a:gd name="T29" fmla="*/ 196 h 380"/>
                <a:gd name="T30" fmla="*/ 409 w 449"/>
                <a:gd name="T31" fmla="*/ 188 h 380"/>
                <a:gd name="T32" fmla="*/ 392 w 449"/>
                <a:gd name="T33" fmla="*/ 120 h 380"/>
                <a:gd name="T34" fmla="*/ 449 w 449"/>
                <a:gd name="T35" fmla="*/ 82 h 380"/>
                <a:gd name="T36" fmla="*/ 341 w 449"/>
                <a:gd name="T37" fmla="*/ 78 h 380"/>
                <a:gd name="T38" fmla="*/ 327 w 449"/>
                <a:gd name="T39" fmla="*/ 36 h 380"/>
                <a:gd name="T40" fmla="*/ 167 w 449"/>
                <a:gd name="T41" fmla="*/ 46 h 380"/>
                <a:gd name="T42" fmla="*/ 131 w 449"/>
                <a:gd name="T43" fmla="*/ 0 h 380"/>
                <a:gd name="T44" fmla="*/ 131 w 449"/>
                <a:gd name="T45" fmla="*/ 0 h 3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49"/>
                <a:gd name="T70" fmla="*/ 0 h 380"/>
                <a:gd name="T71" fmla="*/ 449 w 449"/>
                <a:gd name="T72" fmla="*/ 380 h 3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49" h="380">
                  <a:moveTo>
                    <a:pt x="131" y="0"/>
                  </a:moveTo>
                  <a:lnTo>
                    <a:pt x="82" y="36"/>
                  </a:lnTo>
                  <a:lnTo>
                    <a:pt x="108" y="67"/>
                  </a:lnTo>
                  <a:lnTo>
                    <a:pt x="32" y="149"/>
                  </a:lnTo>
                  <a:lnTo>
                    <a:pt x="27" y="237"/>
                  </a:lnTo>
                  <a:lnTo>
                    <a:pt x="0" y="266"/>
                  </a:lnTo>
                  <a:lnTo>
                    <a:pt x="0" y="302"/>
                  </a:lnTo>
                  <a:lnTo>
                    <a:pt x="76" y="316"/>
                  </a:lnTo>
                  <a:lnTo>
                    <a:pt x="63" y="380"/>
                  </a:lnTo>
                  <a:lnTo>
                    <a:pt x="149" y="380"/>
                  </a:lnTo>
                  <a:lnTo>
                    <a:pt x="204" y="327"/>
                  </a:lnTo>
                  <a:lnTo>
                    <a:pt x="298" y="354"/>
                  </a:lnTo>
                  <a:lnTo>
                    <a:pt x="295" y="316"/>
                  </a:lnTo>
                  <a:lnTo>
                    <a:pt x="363" y="293"/>
                  </a:lnTo>
                  <a:lnTo>
                    <a:pt x="357" y="196"/>
                  </a:lnTo>
                  <a:lnTo>
                    <a:pt x="409" y="188"/>
                  </a:lnTo>
                  <a:lnTo>
                    <a:pt x="392" y="120"/>
                  </a:lnTo>
                  <a:lnTo>
                    <a:pt x="449" y="82"/>
                  </a:lnTo>
                  <a:lnTo>
                    <a:pt x="341" y="78"/>
                  </a:lnTo>
                  <a:lnTo>
                    <a:pt x="327" y="36"/>
                  </a:lnTo>
                  <a:lnTo>
                    <a:pt x="167" y="46"/>
                  </a:lnTo>
                  <a:lnTo>
                    <a:pt x="131"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57" name="Freeform 58"/>
            <p:cNvSpPr>
              <a:spLocks noChangeAspect="1"/>
            </p:cNvSpPr>
            <p:nvPr/>
          </p:nvSpPr>
          <p:spPr bwMode="gray">
            <a:xfrm>
              <a:off x="1616446" y="4357626"/>
              <a:ext cx="498787" cy="471180"/>
            </a:xfrm>
            <a:custGeom>
              <a:avLst/>
              <a:gdLst>
                <a:gd name="T0" fmla="*/ 108 w 580"/>
                <a:gd name="T1" fmla="*/ 18 h 503"/>
                <a:gd name="T2" fmla="*/ 90 w 580"/>
                <a:gd name="T3" fmla="*/ 65 h 503"/>
                <a:gd name="T4" fmla="*/ 20 w 580"/>
                <a:gd name="T5" fmla="*/ 471 h 503"/>
                <a:gd name="T6" fmla="*/ 0 w 580"/>
                <a:gd name="T7" fmla="*/ 480 h 503"/>
                <a:gd name="T8" fmla="*/ 37 w 580"/>
                <a:gd name="T9" fmla="*/ 503 h 503"/>
                <a:gd name="T10" fmla="*/ 111 w 580"/>
                <a:gd name="T11" fmla="*/ 474 h 503"/>
                <a:gd name="T12" fmla="*/ 145 w 580"/>
                <a:gd name="T13" fmla="*/ 503 h 503"/>
                <a:gd name="T14" fmla="*/ 259 w 580"/>
                <a:gd name="T15" fmla="*/ 473 h 503"/>
                <a:gd name="T16" fmla="*/ 318 w 580"/>
                <a:gd name="T17" fmla="*/ 486 h 503"/>
                <a:gd name="T18" fmla="*/ 350 w 580"/>
                <a:gd name="T19" fmla="*/ 451 h 503"/>
                <a:gd name="T20" fmla="*/ 406 w 580"/>
                <a:gd name="T21" fmla="*/ 474 h 503"/>
                <a:gd name="T22" fmla="*/ 471 w 580"/>
                <a:gd name="T23" fmla="*/ 471 h 503"/>
                <a:gd name="T24" fmla="*/ 426 w 580"/>
                <a:gd name="T25" fmla="*/ 436 h 503"/>
                <a:gd name="T26" fmla="*/ 456 w 580"/>
                <a:gd name="T27" fmla="*/ 317 h 503"/>
                <a:gd name="T28" fmla="*/ 520 w 580"/>
                <a:gd name="T29" fmla="*/ 272 h 503"/>
                <a:gd name="T30" fmla="*/ 538 w 580"/>
                <a:gd name="T31" fmla="*/ 272 h 503"/>
                <a:gd name="T32" fmla="*/ 535 w 580"/>
                <a:gd name="T33" fmla="*/ 337 h 503"/>
                <a:gd name="T34" fmla="*/ 563 w 580"/>
                <a:gd name="T35" fmla="*/ 321 h 503"/>
                <a:gd name="T36" fmla="*/ 563 w 580"/>
                <a:gd name="T37" fmla="*/ 275 h 503"/>
                <a:gd name="T38" fmla="*/ 580 w 580"/>
                <a:gd name="T39" fmla="*/ 211 h 503"/>
                <a:gd name="T40" fmla="*/ 500 w 580"/>
                <a:gd name="T41" fmla="*/ 197 h 503"/>
                <a:gd name="T42" fmla="*/ 500 w 580"/>
                <a:gd name="T43" fmla="*/ 161 h 503"/>
                <a:gd name="T44" fmla="*/ 527 w 580"/>
                <a:gd name="T45" fmla="*/ 132 h 503"/>
                <a:gd name="T46" fmla="*/ 466 w 580"/>
                <a:gd name="T47" fmla="*/ 132 h 503"/>
                <a:gd name="T48" fmla="*/ 455 w 580"/>
                <a:gd name="T49" fmla="*/ 175 h 503"/>
                <a:gd name="T50" fmla="*/ 417 w 580"/>
                <a:gd name="T51" fmla="*/ 165 h 503"/>
                <a:gd name="T52" fmla="*/ 398 w 580"/>
                <a:gd name="T53" fmla="*/ 121 h 503"/>
                <a:gd name="T54" fmla="*/ 325 w 580"/>
                <a:gd name="T55" fmla="*/ 44 h 503"/>
                <a:gd name="T56" fmla="*/ 184 w 580"/>
                <a:gd name="T57" fmla="*/ 49 h 503"/>
                <a:gd name="T58" fmla="*/ 194 w 580"/>
                <a:gd name="T59" fmla="*/ 12 h 503"/>
                <a:gd name="T60" fmla="*/ 167 w 580"/>
                <a:gd name="T61" fmla="*/ 0 h 503"/>
                <a:gd name="T62" fmla="*/ 135 w 580"/>
                <a:gd name="T63" fmla="*/ 44 h 503"/>
                <a:gd name="T64" fmla="*/ 108 w 580"/>
                <a:gd name="T65" fmla="*/ 18 h 503"/>
                <a:gd name="T66" fmla="*/ 108 w 580"/>
                <a:gd name="T67" fmla="*/ 18 h 50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0"/>
                <a:gd name="T103" fmla="*/ 0 h 503"/>
                <a:gd name="T104" fmla="*/ 580 w 580"/>
                <a:gd name="T105" fmla="*/ 503 h 50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0" h="503">
                  <a:moveTo>
                    <a:pt x="108" y="18"/>
                  </a:moveTo>
                  <a:lnTo>
                    <a:pt x="90" y="65"/>
                  </a:lnTo>
                  <a:lnTo>
                    <a:pt x="20" y="471"/>
                  </a:lnTo>
                  <a:lnTo>
                    <a:pt x="0" y="480"/>
                  </a:lnTo>
                  <a:lnTo>
                    <a:pt x="37" y="503"/>
                  </a:lnTo>
                  <a:lnTo>
                    <a:pt x="111" y="474"/>
                  </a:lnTo>
                  <a:lnTo>
                    <a:pt x="145" y="503"/>
                  </a:lnTo>
                  <a:lnTo>
                    <a:pt x="259" y="473"/>
                  </a:lnTo>
                  <a:lnTo>
                    <a:pt x="318" y="486"/>
                  </a:lnTo>
                  <a:lnTo>
                    <a:pt x="350" y="451"/>
                  </a:lnTo>
                  <a:lnTo>
                    <a:pt x="406" y="474"/>
                  </a:lnTo>
                  <a:lnTo>
                    <a:pt x="471" y="471"/>
                  </a:lnTo>
                  <a:lnTo>
                    <a:pt x="426" y="436"/>
                  </a:lnTo>
                  <a:lnTo>
                    <a:pt x="456" y="317"/>
                  </a:lnTo>
                  <a:lnTo>
                    <a:pt x="520" y="272"/>
                  </a:lnTo>
                  <a:lnTo>
                    <a:pt x="538" y="272"/>
                  </a:lnTo>
                  <a:lnTo>
                    <a:pt x="535" y="337"/>
                  </a:lnTo>
                  <a:lnTo>
                    <a:pt x="563" y="321"/>
                  </a:lnTo>
                  <a:lnTo>
                    <a:pt x="563" y="275"/>
                  </a:lnTo>
                  <a:lnTo>
                    <a:pt x="580" y="211"/>
                  </a:lnTo>
                  <a:lnTo>
                    <a:pt x="500" y="197"/>
                  </a:lnTo>
                  <a:lnTo>
                    <a:pt x="500" y="161"/>
                  </a:lnTo>
                  <a:lnTo>
                    <a:pt x="527" y="132"/>
                  </a:lnTo>
                  <a:lnTo>
                    <a:pt x="466" y="132"/>
                  </a:lnTo>
                  <a:lnTo>
                    <a:pt x="455" y="175"/>
                  </a:lnTo>
                  <a:lnTo>
                    <a:pt x="417" y="165"/>
                  </a:lnTo>
                  <a:lnTo>
                    <a:pt x="398" y="121"/>
                  </a:lnTo>
                  <a:lnTo>
                    <a:pt x="325" y="44"/>
                  </a:lnTo>
                  <a:lnTo>
                    <a:pt x="184" y="49"/>
                  </a:lnTo>
                  <a:lnTo>
                    <a:pt x="194" y="12"/>
                  </a:lnTo>
                  <a:lnTo>
                    <a:pt x="167" y="0"/>
                  </a:lnTo>
                  <a:lnTo>
                    <a:pt x="135" y="44"/>
                  </a:lnTo>
                  <a:lnTo>
                    <a:pt x="108" y="18"/>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58" name="Freeform 59"/>
            <p:cNvSpPr>
              <a:spLocks noChangeAspect="1"/>
            </p:cNvSpPr>
            <p:nvPr/>
          </p:nvSpPr>
          <p:spPr bwMode="gray">
            <a:xfrm>
              <a:off x="1984064" y="4565170"/>
              <a:ext cx="464269" cy="353385"/>
            </a:xfrm>
            <a:custGeom>
              <a:avLst/>
              <a:gdLst>
                <a:gd name="T0" fmla="*/ 112 w 538"/>
                <a:gd name="T1" fmla="*/ 50 h 378"/>
                <a:gd name="T2" fmla="*/ 94 w 538"/>
                <a:gd name="T3" fmla="*/ 50 h 378"/>
                <a:gd name="T4" fmla="*/ 29 w 538"/>
                <a:gd name="T5" fmla="*/ 95 h 378"/>
                <a:gd name="T6" fmla="*/ 0 w 538"/>
                <a:gd name="T7" fmla="*/ 214 h 378"/>
                <a:gd name="T8" fmla="*/ 45 w 538"/>
                <a:gd name="T9" fmla="*/ 249 h 378"/>
                <a:gd name="T10" fmla="*/ 103 w 538"/>
                <a:gd name="T11" fmla="*/ 241 h 378"/>
                <a:gd name="T12" fmla="*/ 173 w 538"/>
                <a:gd name="T13" fmla="*/ 354 h 378"/>
                <a:gd name="T14" fmla="*/ 333 w 538"/>
                <a:gd name="T15" fmla="*/ 378 h 378"/>
                <a:gd name="T16" fmla="*/ 375 w 538"/>
                <a:gd name="T17" fmla="*/ 333 h 378"/>
                <a:gd name="T18" fmla="*/ 458 w 538"/>
                <a:gd name="T19" fmla="*/ 346 h 378"/>
                <a:gd name="T20" fmla="*/ 477 w 538"/>
                <a:gd name="T21" fmla="*/ 284 h 378"/>
                <a:gd name="T22" fmla="*/ 538 w 538"/>
                <a:gd name="T23" fmla="*/ 252 h 378"/>
                <a:gd name="T24" fmla="*/ 448 w 538"/>
                <a:gd name="T25" fmla="*/ 167 h 378"/>
                <a:gd name="T26" fmla="*/ 431 w 538"/>
                <a:gd name="T27" fmla="*/ 100 h 378"/>
                <a:gd name="T28" fmla="*/ 384 w 538"/>
                <a:gd name="T29" fmla="*/ 83 h 378"/>
                <a:gd name="T30" fmla="*/ 413 w 538"/>
                <a:gd name="T31" fmla="*/ 27 h 378"/>
                <a:gd name="T32" fmla="*/ 372 w 538"/>
                <a:gd name="T33" fmla="*/ 27 h 378"/>
                <a:gd name="T34" fmla="*/ 279 w 538"/>
                <a:gd name="T35" fmla="*/ 0 h 378"/>
                <a:gd name="T36" fmla="*/ 223 w 538"/>
                <a:gd name="T37" fmla="*/ 53 h 378"/>
                <a:gd name="T38" fmla="*/ 135 w 538"/>
                <a:gd name="T39" fmla="*/ 53 h 378"/>
                <a:gd name="T40" fmla="*/ 135 w 538"/>
                <a:gd name="T41" fmla="*/ 99 h 378"/>
                <a:gd name="T42" fmla="*/ 109 w 538"/>
                <a:gd name="T43" fmla="*/ 115 h 378"/>
                <a:gd name="T44" fmla="*/ 112 w 538"/>
                <a:gd name="T45" fmla="*/ 50 h 378"/>
                <a:gd name="T46" fmla="*/ 112 w 538"/>
                <a:gd name="T47" fmla="*/ 50 h 37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38"/>
                <a:gd name="T73" fmla="*/ 0 h 378"/>
                <a:gd name="T74" fmla="*/ 538 w 538"/>
                <a:gd name="T75" fmla="*/ 378 h 37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38" h="378">
                  <a:moveTo>
                    <a:pt x="112" y="50"/>
                  </a:moveTo>
                  <a:lnTo>
                    <a:pt x="94" y="50"/>
                  </a:lnTo>
                  <a:lnTo>
                    <a:pt x="29" y="95"/>
                  </a:lnTo>
                  <a:lnTo>
                    <a:pt x="0" y="214"/>
                  </a:lnTo>
                  <a:lnTo>
                    <a:pt x="45" y="249"/>
                  </a:lnTo>
                  <a:lnTo>
                    <a:pt x="103" y="241"/>
                  </a:lnTo>
                  <a:lnTo>
                    <a:pt x="173" y="354"/>
                  </a:lnTo>
                  <a:lnTo>
                    <a:pt x="333" y="378"/>
                  </a:lnTo>
                  <a:lnTo>
                    <a:pt x="375" y="333"/>
                  </a:lnTo>
                  <a:lnTo>
                    <a:pt x="458" y="346"/>
                  </a:lnTo>
                  <a:lnTo>
                    <a:pt x="477" y="284"/>
                  </a:lnTo>
                  <a:lnTo>
                    <a:pt x="538" y="252"/>
                  </a:lnTo>
                  <a:lnTo>
                    <a:pt x="448" y="167"/>
                  </a:lnTo>
                  <a:lnTo>
                    <a:pt x="431" y="100"/>
                  </a:lnTo>
                  <a:lnTo>
                    <a:pt x="384" y="83"/>
                  </a:lnTo>
                  <a:lnTo>
                    <a:pt x="413" y="27"/>
                  </a:lnTo>
                  <a:lnTo>
                    <a:pt x="372" y="27"/>
                  </a:lnTo>
                  <a:lnTo>
                    <a:pt x="279" y="0"/>
                  </a:lnTo>
                  <a:lnTo>
                    <a:pt x="223" y="53"/>
                  </a:lnTo>
                  <a:lnTo>
                    <a:pt x="135" y="53"/>
                  </a:lnTo>
                  <a:lnTo>
                    <a:pt x="135" y="99"/>
                  </a:lnTo>
                  <a:lnTo>
                    <a:pt x="109" y="115"/>
                  </a:lnTo>
                  <a:lnTo>
                    <a:pt x="112" y="5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59" name="Freeform 60"/>
            <p:cNvSpPr>
              <a:spLocks noChangeAspect="1"/>
            </p:cNvSpPr>
            <p:nvPr/>
          </p:nvSpPr>
          <p:spPr bwMode="gray">
            <a:xfrm>
              <a:off x="2301630" y="4434287"/>
              <a:ext cx="372796" cy="282334"/>
            </a:xfrm>
            <a:custGeom>
              <a:avLst/>
              <a:gdLst>
                <a:gd name="T0" fmla="*/ 114 w 432"/>
                <a:gd name="T1" fmla="*/ 0 h 300"/>
                <a:gd name="T2" fmla="*/ 62 w 432"/>
                <a:gd name="T3" fmla="*/ 2 h 300"/>
                <a:gd name="T4" fmla="*/ 68 w 432"/>
                <a:gd name="T5" fmla="*/ 102 h 300"/>
                <a:gd name="T6" fmla="*/ 0 w 432"/>
                <a:gd name="T7" fmla="*/ 130 h 300"/>
                <a:gd name="T8" fmla="*/ 3 w 432"/>
                <a:gd name="T9" fmla="*/ 166 h 300"/>
                <a:gd name="T10" fmla="*/ 41 w 432"/>
                <a:gd name="T11" fmla="*/ 168 h 300"/>
                <a:gd name="T12" fmla="*/ 13 w 432"/>
                <a:gd name="T13" fmla="*/ 222 h 300"/>
                <a:gd name="T14" fmla="*/ 64 w 432"/>
                <a:gd name="T15" fmla="*/ 242 h 300"/>
                <a:gd name="T16" fmla="*/ 74 w 432"/>
                <a:gd name="T17" fmla="*/ 292 h 300"/>
                <a:gd name="T18" fmla="*/ 152 w 432"/>
                <a:gd name="T19" fmla="*/ 280 h 300"/>
                <a:gd name="T20" fmla="*/ 167 w 432"/>
                <a:gd name="T21" fmla="*/ 300 h 300"/>
                <a:gd name="T22" fmla="*/ 222 w 432"/>
                <a:gd name="T23" fmla="*/ 282 h 300"/>
                <a:gd name="T24" fmla="*/ 225 w 432"/>
                <a:gd name="T25" fmla="*/ 259 h 300"/>
                <a:gd name="T26" fmla="*/ 283 w 432"/>
                <a:gd name="T27" fmla="*/ 234 h 300"/>
                <a:gd name="T28" fmla="*/ 283 w 432"/>
                <a:gd name="T29" fmla="*/ 211 h 300"/>
                <a:gd name="T30" fmla="*/ 358 w 432"/>
                <a:gd name="T31" fmla="*/ 177 h 300"/>
                <a:gd name="T32" fmla="*/ 327 w 432"/>
                <a:gd name="T33" fmla="*/ 128 h 300"/>
                <a:gd name="T34" fmla="*/ 426 w 432"/>
                <a:gd name="T35" fmla="*/ 114 h 300"/>
                <a:gd name="T36" fmla="*/ 432 w 432"/>
                <a:gd name="T37" fmla="*/ 48 h 300"/>
                <a:gd name="T38" fmla="*/ 409 w 432"/>
                <a:gd name="T39" fmla="*/ 25 h 300"/>
                <a:gd name="T40" fmla="*/ 279 w 432"/>
                <a:gd name="T41" fmla="*/ 49 h 300"/>
                <a:gd name="T42" fmla="*/ 217 w 432"/>
                <a:gd name="T43" fmla="*/ 87 h 300"/>
                <a:gd name="T44" fmla="*/ 114 w 432"/>
                <a:gd name="T45" fmla="*/ 0 h 300"/>
                <a:gd name="T46" fmla="*/ 114 w 432"/>
                <a:gd name="T47" fmla="*/ 0 h 3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32"/>
                <a:gd name="T73" fmla="*/ 0 h 300"/>
                <a:gd name="T74" fmla="*/ 432 w 432"/>
                <a:gd name="T75" fmla="*/ 300 h 30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32" h="300">
                  <a:moveTo>
                    <a:pt x="114" y="0"/>
                  </a:moveTo>
                  <a:lnTo>
                    <a:pt x="62" y="2"/>
                  </a:lnTo>
                  <a:lnTo>
                    <a:pt x="68" y="102"/>
                  </a:lnTo>
                  <a:lnTo>
                    <a:pt x="0" y="130"/>
                  </a:lnTo>
                  <a:lnTo>
                    <a:pt x="3" y="166"/>
                  </a:lnTo>
                  <a:lnTo>
                    <a:pt x="41" y="168"/>
                  </a:lnTo>
                  <a:lnTo>
                    <a:pt x="13" y="222"/>
                  </a:lnTo>
                  <a:lnTo>
                    <a:pt x="64" y="242"/>
                  </a:lnTo>
                  <a:lnTo>
                    <a:pt x="74" y="292"/>
                  </a:lnTo>
                  <a:lnTo>
                    <a:pt x="152" y="280"/>
                  </a:lnTo>
                  <a:lnTo>
                    <a:pt x="167" y="300"/>
                  </a:lnTo>
                  <a:lnTo>
                    <a:pt x="222" y="282"/>
                  </a:lnTo>
                  <a:lnTo>
                    <a:pt x="225" y="259"/>
                  </a:lnTo>
                  <a:lnTo>
                    <a:pt x="283" y="234"/>
                  </a:lnTo>
                  <a:lnTo>
                    <a:pt x="283" y="211"/>
                  </a:lnTo>
                  <a:lnTo>
                    <a:pt x="358" y="177"/>
                  </a:lnTo>
                  <a:lnTo>
                    <a:pt x="327" y="128"/>
                  </a:lnTo>
                  <a:lnTo>
                    <a:pt x="426" y="114"/>
                  </a:lnTo>
                  <a:lnTo>
                    <a:pt x="432" y="48"/>
                  </a:lnTo>
                  <a:lnTo>
                    <a:pt x="409" y="25"/>
                  </a:lnTo>
                  <a:lnTo>
                    <a:pt x="279" y="49"/>
                  </a:lnTo>
                  <a:lnTo>
                    <a:pt x="217" y="87"/>
                  </a:lnTo>
                  <a:lnTo>
                    <a:pt x="114"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60" name="Freeform 61"/>
            <p:cNvSpPr>
              <a:spLocks noChangeAspect="1"/>
            </p:cNvSpPr>
            <p:nvPr/>
          </p:nvSpPr>
          <p:spPr bwMode="gray">
            <a:xfrm>
              <a:off x="2546709" y="4510947"/>
              <a:ext cx="438380" cy="377692"/>
            </a:xfrm>
            <a:custGeom>
              <a:avLst/>
              <a:gdLst>
                <a:gd name="T0" fmla="*/ 148 w 508"/>
                <a:gd name="T1" fmla="*/ 32 h 403"/>
                <a:gd name="T2" fmla="*/ 44 w 508"/>
                <a:gd name="T3" fmla="*/ 46 h 403"/>
                <a:gd name="T4" fmla="*/ 75 w 508"/>
                <a:gd name="T5" fmla="*/ 95 h 403"/>
                <a:gd name="T6" fmla="*/ 0 w 508"/>
                <a:gd name="T7" fmla="*/ 129 h 403"/>
                <a:gd name="T8" fmla="*/ 0 w 508"/>
                <a:gd name="T9" fmla="*/ 156 h 403"/>
                <a:gd name="T10" fmla="*/ 66 w 508"/>
                <a:gd name="T11" fmla="*/ 232 h 403"/>
                <a:gd name="T12" fmla="*/ 34 w 508"/>
                <a:gd name="T13" fmla="*/ 285 h 403"/>
                <a:gd name="T14" fmla="*/ 131 w 508"/>
                <a:gd name="T15" fmla="*/ 350 h 403"/>
                <a:gd name="T16" fmla="*/ 174 w 508"/>
                <a:gd name="T17" fmla="*/ 341 h 403"/>
                <a:gd name="T18" fmla="*/ 180 w 508"/>
                <a:gd name="T19" fmla="*/ 390 h 403"/>
                <a:gd name="T20" fmla="*/ 242 w 508"/>
                <a:gd name="T21" fmla="*/ 403 h 403"/>
                <a:gd name="T22" fmla="*/ 277 w 508"/>
                <a:gd name="T23" fmla="*/ 368 h 403"/>
                <a:gd name="T24" fmla="*/ 326 w 508"/>
                <a:gd name="T25" fmla="*/ 394 h 403"/>
                <a:gd name="T26" fmla="*/ 389 w 508"/>
                <a:gd name="T27" fmla="*/ 384 h 403"/>
                <a:gd name="T28" fmla="*/ 423 w 508"/>
                <a:gd name="T29" fmla="*/ 320 h 403"/>
                <a:gd name="T30" fmla="*/ 386 w 508"/>
                <a:gd name="T31" fmla="*/ 306 h 403"/>
                <a:gd name="T32" fmla="*/ 415 w 508"/>
                <a:gd name="T33" fmla="*/ 276 h 403"/>
                <a:gd name="T34" fmla="*/ 461 w 508"/>
                <a:gd name="T35" fmla="*/ 286 h 403"/>
                <a:gd name="T36" fmla="*/ 508 w 508"/>
                <a:gd name="T37" fmla="*/ 248 h 403"/>
                <a:gd name="T38" fmla="*/ 488 w 508"/>
                <a:gd name="T39" fmla="*/ 221 h 403"/>
                <a:gd name="T40" fmla="*/ 418 w 508"/>
                <a:gd name="T41" fmla="*/ 216 h 403"/>
                <a:gd name="T42" fmla="*/ 368 w 508"/>
                <a:gd name="T43" fmla="*/ 175 h 403"/>
                <a:gd name="T44" fmla="*/ 310 w 508"/>
                <a:gd name="T45" fmla="*/ 57 h 403"/>
                <a:gd name="T46" fmla="*/ 212 w 508"/>
                <a:gd name="T47" fmla="*/ 0 h 403"/>
                <a:gd name="T48" fmla="*/ 148 w 508"/>
                <a:gd name="T49" fmla="*/ 32 h 403"/>
                <a:gd name="T50" fmla="*/ 148 w 508"/>
                <a:gd name="T51" fmla="*/ 32 h 40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08"/>
                <a:gd name="T79" fmla="*/ 0 h 403"/>
                <a:gd name="T80" fmla="*/ 508 w 508"/>
                <a:gd name="T81" fmla="*/ 403 h 40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08" h="403">
                  <a:moveTo>
                    <a:pt x="148" y="32"/>
                  </a:moveTo>
                  <a:lnTo>
                    <a:pt x="44" y="46"/>
                  </a:lnTo>
                  <a:lnTo>
                    <a:pt x="75" y="95"/>
                  </a:lnTo>
                  <a:lnTo>
                    <a:pt x="0" y="129"/>
                  </a:lnTo>
                  <a:lnTo>
                    <a:pt x="0" y="156"/>
                  </a:lnTo>
                  <a:lnTo>
                    <a:pt x="66" y="232"/>
                  </a:lnTo>
                  <a:lnTo>
                    <a:pt x="34" y="285"/>
                  </a:lnTo>
                  <a:lnTo>
                    <a:pt x="131" y="350"/>
                  </a:lnTo>
                  <a:lnTo>
                    <a:pt x="174" y="341"/>
                  </a:lnTo>
                  <a:lnTo>
                    <a:pt x="180" y="390"/>
                  </a:lnTo>
                  <a:lnTo>
                    <a:pt x="242" y="403"/>
                  </a:lnTo>
                  <a:lnTo>
                    <a:pt x="277" y="368"/>
                  </a:lnTo>
                  <a:lnTo>
                    <a:pt x="326" y="394"/>
                  </a:lnTo>
                  <a:lnTo>
                    <a:pt x="389" y="384"/>
                  </a:lnTo>
                  <a:lnTo>
                    <a:pt x="423" y="320"/>
                  </a:lnTo>
                  <a:lnTo>
                    <a:pt x="386" y="306"/>
                  </a:lnTo>
                  <a:lnTo>
                    <a:pt x="415" y="276"/>
                  </a:lnTo>
                  <a:lnTo>
                    <a:pt x="461" y="286"/>
                  </a:lnTo>
                  <a:lnTo>
                    <a:pt x="508" y="248"/>
                  </a:lnTo>
                  <a:lnTo>
                    <a:pt x="488" y="221"/>
                  </a:lnTo>
                  <a:lnTo>
                    <a:pt x="418" y="216"/>
                  </a:lnTo>
                  <a:lnTo>
                    <a:pt x="368" y="175"/>
                  </a:lnTo>
                  <a:lnTo>
                    <a:pt x="310" y="57"/>
                  </a:lnTo>
                  <a:lnTo>
                    <a:pt x="212" y="0"/>
                  </a:lnTo>
                  <a:lnTo>
                    <a:pt x="148" y="32"/>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61" name="Freeform 62"/>
            <p:cNvSpPr>
              <a:spLocks noChangeAspect="1"/>
            </p:cNvSpPr>
            <p:nvPr/>
          </p:nvSpPr>
          <p:spPr bwMode="gray">
            <a:xfrm>
              <a:off x="2643360" y="4183739"/>
              <a:ext cx="488431" cy="566538"/>
            </a:xfrm>
            <a:custGeom>
              <a:avLst/>
              <a:gdLst>
                <a:gd name="T0" fmla="*/ 322 w 567"/>
                <a:gd name="T1" fmla="*/ 0 h 606"/>
                <a:gd name="T2" fmla="*/ 220 w 567"/>
                <a:gd name="T3" fmla="*/ 138 h 606"/>
                <a:gd name="T4" fmla="*/ 158 w 567"/>
                <a:gd name="T5" fmla="*/ 128 h 606"/>
                <a:gd name="T6" fmla="*/ 0 w 567"/>
                <a:gd name="T7" fmla="*/ 228 h 606"/>
                <a:gd name="T8" fmla="*/ 30 w 567"/>
                <a:gd name="T9" fmla="*/ 270 h 606"/>
                <a:gd name="T10" fmla="*/ 13 w 567"/>
                <a:gd name="T11" fmla="*/ 295 h 606"/>
                <a:gd name="T12" fmla="*/ 36 w 567"/>
                <a:gd name="T13" fmla="*/ 318 h 606"/>
                <a:gd name="T14" fmla="*/ 30 w 567"/>
                <a:gd name="T15" fmla="*/ 384 h 606"/>
                <a:gd name="T16" fmla="*/ 103 w 567"/>
                <a:gd name="T17" fmla="*/ 350 h 606"/>
                <a:gd name="T18" fmla="*/ 203 w 567"/>
                <a:gd name="T19" fmla="*/ 413 h 606"/>
                <a:gd name="T20" fmla="*/ 255 w 567"/>
                <a:gd name="T21" fmla="*/ 535 h 606"/>
                <a:gd name="T22" fmla="*/ 305 w 567"/>
                <a:gd name="T23" fmla="*/ 573 h 606"/>
                <a:gd name="T24" fmla="*/ 377 w 567"/>
                <a:gd name="T25" fmla="*/ 574 h 606"/>
                <a:gd name="T26" fmla="*/ 395 w 567"/>
                <a:gd name="T27" fmla="*/ 606 h 606"/>
                <a:gd name="T28" fmla="*/ 443 w 567"/>
                <a:gd name="T29" fmla="*/ 597 h 606"/>
                <a:gd name="T30" fmla="*/ 443 w 567"/>
                <a:gd name="T31" fmla="*/ 535 h 606"/>
                <a:gd name="T32" fmla="*/ 504 w 567"/>
                <a:gd name="T33" fmla="*/ 535 h 606"/>
                <a:gd name="T34" fmla="*/ 504 w 567"/>
                <a:gd name="T35" fmla="*/ 502 h 606"/>
                <a:gd name="T36" fmla="*/ 565 w 567"/>
                <a:gd name="T37" fmla="*/ 489 h 606"/>
                <a:gd name="T38" fmla="*/ 567 w 567"/>
                <a:gd name="T39" fmla="*/ 439 h 606"/>
                <a:gd name="T40" fmla="*/ 506 w 567"/>
                <a:gd name="T41" fmla="*/ 422 h 606"/>
                <a:gd name="T42" fmla="*/ 538 w 567"/>
                <a:gd name="T43" fmla="*/ 350 h 606"/>
                <a:gd name="T44" fmla="*/ 494 w 567"/>
                <a:gd name="T45" fmla="*/ 363 h 606"/>
                <a:gd name="T46" fmla="*/ 448 w 567"/>
                <a:gd name="T47" fmla="*/ 322 h 606"/>
                <a:gd name="T48" fmla="*/ 454 w 567"/>
                <a:gd name="T49" fmla="*/ 205 h 606"/>
                <a:gd name="T50" fmla="*/ 410 w 567"/>
                <a:gd name="T51" fmla="*/ 137 h 606"/>
                <a:gd name="T52" fmla="*/ 354 w 567"/>
                <a:gd name="T53" fmla="*/ 21 h 606"/>
                <a:gd name="T54" fmla="*/ 322 w 567"/>
                <a:gd name="T55" fmla="*/ 0 h 606"/>
                <a:gd name="T56" fmla="*/ 322 w 567"/>
                <a:gd name="T57" fmla="*/ 0 h 60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67"/>
                <a:gd name="T88" fmla="*/ 0 h 606"/>
                <a:gd name="T89" fmla="*/ 567 w 567"/>
                <a:gd name="T90" fmla="*/ 606 h 60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67" h="606">
                  <a:moveTo>
                    <a:pt x="322" y="0"/>
                  </a:moveTo>
                  <a:lnTo>
                    <a:pt x="220" y="138"/>
                  </a:lnTo>
                  <a:lnTo>
                    <a:pt x="158" y="128"/>
                  </a:lnTo>
                  <a:lnTo>
                    <a:pt x="0" y="228"/>
                  </a:lnTo>
                  <a:lnTo>
                    <a:pt x="30" y="270"/>
                  </a:lnTo>
                  <a:lnTo>
                    <a:pt x="13" y="295"/>
                  </a:lnTo>
                  <a:lnTo>
                    <a:pt x="36" y="318"/>
                  </a:lnTo>
                  <a:lnTo>
                    <a:pt x="30" y="384"/>
                  </a:lnTo>
                  <a:lnTo>
                    <a:pt x="103" y="350"/>
                  </a:lnTo>
                  <a:lnTo>
                    <a:pt x="203" y="413"/>
                  </a:lnTo>
                  <a:lnTo>
                    <a:pt x="255" y="535"/>
                  </a:lnTo>
                  <a:lnTo>
                    <a:pt x="305" y="573"/>
                  </a:lnTo>
                  <a:lnTo>
                    <a:pt x="377" y="574"/>
                  </a:lnTo>
                  <a:lnTo>
                    <a:pt x="395" y="606"/>
                  </a:lnTo>
                  <a:lnTo>
                    <a:pt x="443" y="597"/>
                  </a:lnTo>
                  <a:lnTo>
                    <a:pt x="443" y="535"/>
                  </a:lnTo>
                  <a:lnTo>
                    <a:pt x="504" y="535"/>
                  </a:lnTo>
                  <a:lnTo>
                    <a:pt x="504" y="502"/>
                  </a:lnTo>
                  <a:lnTo>
                    <a:pt x="565" y="489"/>
                  </a:lnTo>
                  <a:lnTo>
                    <a:pt x="567" y="439"/>
                  </a:lnTo>
                  <a:lnTo>
                    <a:pt x="506" y="422"/>
                  </a:lnTo>
                  <a:lnTo>
                    <a:pt x="538" y="350"/>
                  </a:lnTo>
                  <a:lnTo>
                    <a:pt x="494" y="363"/>
                  </a:lnTo>
                  <a:lnTo>
                    <a:pt x="448" y="322"/>
                  </a:lnTo>
                  <a:lnTo>
                    <a:pt x="454" y="205"/>
                  </a:lnTo>
                  <a:lnTo>
                    <a:pt x="410" y="137"/>
                  </a:lnTo>
                  <a:lnTo>
                    <a:pt x="354" y="21"/>
                  </a:lnTo>
                  <a:lnTo>
                    <a:pt x="322"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62" name="Freeform 63"/>
            <p:cNvSpPr>
              <a:spLocks noChangeAspect="1"/>
            </p:cNvSpPr>
            <p:nvPr/>
          </p:nvSpPr>
          <p:spPr bwMode="gray">
            <a:xfrm>
              <a:off x="3513216" y="3716298"/>
              <a:ext cx="483254" cy="545971"/>
            </a:xfrm>
            <a:custGeom>
              <a:avLst/>
              <a:gdLst>
                <a:gd name="T0" fmla="*/ 215 w 561"/>
                <a:gd name="T1" fmla="*/ 0 h 585"/>
                <a:gd name="T2" fmla="*/ 126 w 561"/>
                <a:gd name="T3" fmla="*/ 67 h 585"/>
                <a:gd name="T4" fmla="*/ 126 w 561"/>
                <a:gd name="T5" fmla="*/ 128 h 585"/>
                <a:gd name="T6" fmla="*/ 58 w 561"/>
                <a:gd name="T7" fmla="*/ 164 h 585"/>
                <a:gd name="T8" fmla="*/ 0 w 561"/>
                <a:gd name="T9" fmla="*/ 228 h 585"/>
                <a:gd name="T10" fmla="*/ 2 w 561"/>
                <a:gd name="T11" fmla="*/ 272 h 585"/>
                <a:gd name="T12" fmla="*/ 14 w 561"/>
                <a:gd name="T13" fmla="*/ 307 h 585"/>
                <a:gd name="T14" fmla="*/ 93 w 561"/>
                <a:gd name="T15" fmla="*/ 281 h 585"/>
                <a:gd name="T16" fmla="*/ 146 w 561"/>
                <a:gd name="T17" fmla="*/ 304 h 585"/>
                <a:gd name="T18" fmla="*/ 146 w 561"/>
                <a:gd name="T19" fmla="*/ 407 h 585"/>
                <a:gd name="T20" fmla="*/ 260 w 561"/>
                <a:gd name="T21" fmla="*/ 418 h 585"/>
                <a:gd name="T22" fmla="*/ 266 w 561"/>
                <a:gd name="T23" fmla="*/ 541 h 585"/>
                <a:gd name="T24" fmla="*/ 385 w 561"/>
                <a:gd name="T25" fmla="*/ 585 h 585"/>
                <a:gd name="T26" fmla="*/ 429 w 561"/>
                <a:gd name="T27" fmla="*/ 508 h 585"/>
                <a:gd name="T28" fmla="*/ 482 w 561"/>
                <a:gd name="T29" fmla="*/ 523 h 585"/>
                <a:gd name="T30" fmla="*/ 561 w 561"/>
                <a:gd name="T31" fmla="*/ 474 h 585"/>
                <a:gd name="T32" fmla="*/ 561 w 561"/>
                <a:gd name="T33" fmla="*/ 436 h 585"/>
                <a:gd name="T34" fmla="*/ 522 w 561"/>
                <a:gd name="T35" fmla="*/ 416 h 585"/>
                <a:gd name="T36" fmla="*/ 531 w 561"/>
                <a:gd name="T37" fmla="*/ 363 h 585"/>
                <a:gd name="T38" fmla="*/ 478 w 561"/>
                <a:gd name="T39" fmla="*/ 296 h 585"/>
                <a:gd name="T40" fmla="*/ 491 w 561"/>
                <a:gd name="T41" fmla="*/ 225 h 585"/>
                <a:gd name="T42" fmla="*/ 412 w 561"/>
                <a:gd name="T43" fmla="*/ 194 h 585"/>
                <a:gd name="T44" fmla="*/ 377 w 561"/>
                <a:gd name="T45" fmla="*/ 236 h 585"/>
                <a:gd name="T46" fmla="*/ 286 w 561"/>
                <a:gd name="T47" fmla="*/ 128 h 585"/>
                <a:gd name="T48" fmla="*/ 215 w 561"/>
                <a:gd name="T49" fmla="*/ 0 h 585"/>
                <a:gd name="T50" fmla="*/ 215 w 561"/>
                <a:gd name="T51" fmla="*/ 0 h 5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61"/>
                <a:gd name="T79" fmla="*/ 0 h 585"/>
                <a:gd name="T80" fmla="*/ 561 w 561"/>
                <a:gd name="T81" fmla="*/ 585 h 5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61" h="585">
                  <a:moveTo>
                    <a:pt x="215" y="0"/>
                  </a:moveTo>
                  <a:lnTo>
                    <a:pt x="126" y="67"/>
                  </a:lnTo>
                  <a:lnTo>
                    <a:pt x="126" y="128"/>
                  </a:lnTo>
                  <a:lnTo>
                    <a:pt x="58" y="164"/>
                  </a:lnTo>
                  <a:lnTo>
                    <a:pt x="0" y="228"/>
                  </a:lnTo>
                  <a:lnTo>
                    <a:pt x="2" y="272"/>
                  </a:lnTo>
                  <a:lnTo>
                    <a:pt x="14" y="307"/>
                  </a:lnTo>
                  <a:lnTo>
                    <a:pt x="93" y="281"/>
                  </a:lnTo>
                  <a:lnTo>
                    <a:pt x="146" y="304"/>
                  </a:lnTo>
                  <a:lnTo>
                    <a:pt x="146" y="407"/>
                  </a:lnTo>
                  <a:lnTo>
                    <a:pt x="260" y="418"/>
                  </a:lnTo>
                  <a:lnTo>
                    <a:pt x="266" y="541"/>
                  </a:lnTo>
                  <a:lnTo>
                    <a:pt x="385" y="585"/>
                  </a:lnTo>
                  <a:lnTo>
                    <a:pt x="429" y="508"/>
                  </a:lnTo>
                  <a:lnTo>
                    <a:pt x="482" y="523"/>
                  </a:lnTo>
                  <a:lnTo>
                    <a:pt x="561" y="474"/>
                  </a:lnTo>
                  <a:lnTo>
                    <a:pt x="561" y="436"/>
                  </a:lnTo>
                  <a:lnTo>
                    <a:pt x="522" y="416"/>
                  </a:lnTo>
                  <a:lnTo>
                    <a:pt x="531" y="363"/>
                  </a:lnTo>
                  <a:lnTo>
                    <a:pt x="478" y="296"/>
                  </a:lnTo>
                  <a:lnTo>
                    <a:pt x="491" y="225"/>
                  </a:lnTo>
                  <a:lnTo>
                    <a:pt x="412" y="194"/>
                  </a:lnTo>
                  <a:lnTo>
                    <a:pt x="377" y="236"/>
                  </a:lnTo>
                  <a:lnTo>
                    <a:pt x="286" y="128"/>
                  </a:lnTo>
                  <a:lnTo>
                    <a:pt x="215"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63" name="Freeform 64"/>
            <p:cNvSpPr>
              <a:spLocks noChangeAspect="1"/>
            </p:cNvSpPr>
            <p:nvPr/>
          </p:nvSpPr>
          <p:spPr bwMode="gray">
            <a:xfrm>
              <a:off x="3256056" y="3961237"/>
              <a:ext cx="317567" cy="508575"/>
            </a:xfrm>
            <a:custGeom>
              <a:avLst/>
              <a:gdLst>
                <a:gd name="T0" fmla="*/ 298 w 366"/>
                <a:gd name="T1" fmla="*/ 0 h 544"/>
                <a:gd name="T2" fmla="*/ 207 w 366"/>
                <a:gd name="T3" fmla="*/ 74 h 544"/>
                <a:gd name="T4" fmla="*/ 196 w 366"/>
                <a:gd name="T5" fmla="*/ 127 h 544"/>
                <a:gd name="T6" fmla="*/ 173 w 366"/>
                <a:gd name="T7" fmla="*/ 112 h 544"/>
                <a:gd name="T8" fmla="*/ 155 w 366"/>
                <a:gd name="T9" fmla="*/ 197 h 544"/>
                <a:gd name="T10" fmla="*/ 38 w 366"/>
                <a:gd name="T11" fmla="*/ 266 h 544"/>
                <a:gd name="T12" fmla="*/ 14 w 366"/>
                <a:gd name="T13" fmla="*/ 273 h 544"/>
                <a:gd name="T14" fmla="*/ 0 w 366"/>
                <a:gd name="T15" fmla="*/ 310 h 544"/>
                <a:gd name="T16" fmla="*/ 78 w 366"/>
                <a:gd name="T17" fmla="*/ 518 h 544"/>
                <a:gd name="T18" fmla="*/ 108 w 366"/>
                <a:gd name="T19" fmla="*/ 509 h 544"/>
                <a:gd name="T20" fmla="*/ 155 w 366"/>
                <a:gd name="T21" fmla="*/ 521 h 544"/>
                <a:gd name="T22" fmla="*/ 176 w 366"/>
                <a:gd name="T23" fmla="*/ 515 h 544"/>
                <a:gd name="T24" fmla="*/ 213 w 366"/>
                <a:gd name="T25" fmla="*/ 544 h 544"/>
                <a:gd name="T26" fmla="*/ 232 w 366"/>
                <a:gd name="T27" fmla="*/ 513 h 544"/>
                <a:gd name="T28" fmla="*/ 281 w 366"/>
                <a:gd name="T29" fmla="*/ 539 h 544"/>
                <a:gd name="T30" fmla="*/ 310 w 366"/>
                <a:gd name="T31" fmla="*/ 302 h 544"/>
                <a:gd name="T32" fmla="*/ 366 w 366"/>
                <a:gd name="T33" fmla="*/ 237 h 544"/>
                <a:gd name="T34" fmla="*/ 298 w 366"/>
                <a:gd name="T35" fmla="*/ 0 h 544"/>
                <a:gd name="T36" fmla="*/ 298 w 366"/>
                <a:gd name="T37" fmla="*/ 0 h 5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66"/>
                <a:gd name="T58" fmla="*/ 0 h 544"/>
                <a:gd name="T59" fmla="*/ 366 w 366"/>
                <a:gd name="T60" fmla="*/ 544 h 5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66" h="544">
                  <a:moveTo>
                    <a:pt x="298" y="0"/>
                  </a:moveTo>
                  <a:lnTo>
                    <a:pt x="207" y="74"/>
                  </a:lnTo>
                  <a:lnTo>
                    <a:pt x="196" y="127"/>
                  </a:lnTo>
                  <a:lnTo>
                    <a:pt x="173" y="112"/>
                  </a:lnTo>
                  <a:lnTo>
                    <a:pt x="155" y="197"/>
                  </a:lnTo>
                  <a:lnTo>
                    <a:pt x="38" y="266"/>
                  </a:lnTo>
                  <a:lnTo>
                    <a:pt x="14" y="273"/>
                  </a:lnTo>
                  <a:lnTo>
                    <a:pt x="0" y="310"/>
                  </a:lnTo>
                  <a:lnTo>
                    <a:pt x="78" y="518"/>
                  </a:lnTo>
                  <a:lnTo>
                    <a:pt x="108" y="509"/>
                  </a:lnTo>
                  <a:lnTo>
                    <a:pt x="155" y="521"/>
                  </a:lnTo>
                  <a:lnTo>
                    <a:pt x="176" y="515"/>
                  </a:lnTo>
                  <a:lnTo>
                    <a:pt x="213" y="544"/>
                  </a:lnTo>
                  <a:lnTo>
                    <a:pt x="232" y="513"/>
                  </a:lnTo>
                  <a:lnTo>
                    <a:pt x="281" y="539"/>
                  </a:lnTo>
                  <a:lnTo>
                    <a:pt x="310" y="302"/>
                  </a:lnTo>
                  <a:lnTo>
                    <a:pt x="366" y="237"/>
                  </a:lnTo>
                  <a:lnTo>
                    <a:pt x="298"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64" name="Freeform 65"/>
            <p:cNvSpPr>
              <a:spLocks noChangeAspect="1"/>
            </p:cNvSpPr>
            <p:nvPr/>
          </p:nvSpPr>
          <p:spPr bwMode="gray">
            <a:xfrm>
              <a:off x="3501135" y="3978065"/>
              <a:ext cx="341729" cy="557189"/>
            </a:xfrm>
            <a:custGeom>
              <a:avLst/>
              <a:gdLst>
                <a:gd name="T0" fmla="*/ 106 w 395"/>
                <a:gd name="T1" fmla="*/ 0 h 596"/>
                <a:gd name="T2" fmla="*/ 30 w 395"/>
                <a:gd name="T3" fmla="*/ 27 h 596"/>
                <a:gd name="T4" fmla="*/ 83 w 395"/>
                <a:gd name="T5" fmla="*/ 221 h 596"/>
                <a:gd name="T6" fmla="*/ 27 w 395"/>
                <a:gd name="T7" fmla="*/ 284 h 596"/>
                <a:gd name="T8" fmla="*/ 0 w 395"/>
                <a:gd name="T9" fmla="*/ 497 h 596"/>
                <a:gd name="T10" fmla="*/ 38 w 395"/>
                <a:gd name="T11" fmla="*/ 497 h 596"/>
                <a:gd name="T12" fmla="*/ 82 w 395"/>
                <a:gd name="T13" fmla="*/ 531 h 596"/>
                <a:gd name="T14" fmla="*/ 97 w 395"/>
                <a:gd name="T15" fmla="*/ 505 h 596"/>
                <a:gd name="T16" fmla="*/ 181 w 395"/>
                <a:gd name="T17" fmla="*/ 497 h 596"/>
                <a:gd name="T18" fmla="*/ 181 w 395"/>
                <a:gd name="T19" fmla="*/ 544 h 596"/>
                <a:gd name="T20" fmla="*/ 247 w 395"/>
                <a:gd name="T21" fmla="*/ 544 h 596"/>
                <a:gd name="T22" fmla="*/ 293 w 395"/>
                <a:gd name="T23" fmla="*/ 596 h 596"/>
                <a:gd name="T24" fmla="*/ 325 w 395"/>
                <a:gd name="T25" fmla="*/ 543 h 596"/>
                <a:gd name="T26" fmla="*/ 372 w 395"/>
                <a:gd name="T27" fmla="*/ 552 h 596"/>
                <a:gd name="T28" fmla="*/ 339 w 395"/>
                <a:gd name="T29" fmla="*/ 482 h 596"/>
                <a:gd name="T30" fmla="*/ 261 w 395"/>
                <a:gd name="T31" fmla="*/ 451 h 596"/>
                <a:gd name="T32" fmla="*/ 281 w 395"/>
                <a:gd name="T33" fmla="*/ 407 h 596"/>
                <a:gd name="T34" fmla="*/ 348 w 395"/>
                <a:gd name="T35" fmla="*/ 407 h 596"/>
                <a:gd name="T36" fmla="*/ 317 w 395"/>
                <a:gd name="T37" fmla="*/ 375 h 596"/>
                <a:gd name="T38" fmla="*/ 357 w 395"/>
                <a:gd name="T39" fmla="*/ 331 h 596"/>
                <a:gd name="T40" fmla="*/ 395 w 395"/>
                <a:gd name="T41" fmla="*/ 327 h 596"/>
                <a:gd name="T42" fmla="*/ 395 w 395"/>
                <a:gd name="T43" fmla="*/ 303 h 596"/>
                <a:gd name="T44" fmla="*/ 279 w 395"/>
                <a:gd name="T45" fmla="*/ 260 h 596"/>
                <a:gd name="T46" fmla="*/ 273 w 395"/>
                <a:gd name="T47" fmla="*/ 137 h 596"/>
                <a:gd name="T48" fmla="*/ 159 w 395"/>
                <a:gd name="T49" fmla="*/ 126 h 596"/>
                <a:gd name="T50" fmla="*/ 159 w 395"/>
                <a:gd name="T51" fmla="*/ 23 h 596"/>
                <a:gd name="T52" fmla="*/ 106 w 395"/>
                <a:gd name="T53" fmla="*/ 0 h 596"/>
                <a:gd name="T54" fmla="*/ 106 w 395"/>
                <a:gd name="T55" fmla="*/ 0 h 59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95"/>
                <a:gd name="T85" fmla="*/ 0 h 596"/>
                <a:gd name="T86" fmla="*/ 395 w 395"/>
                <a:gd name="T87" fmla="*/ 596 h 59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95" h="596">
                  <a:moveTo>
                    <a:pt x="106" y="0"/>
                  </a:moveTo>
                  <a:lnTo>
                    <a:pt x="30" y="27"/>
                  </a:lnTo>
                  <a:lnTo>
                    <a:pt x="83" y="221"/>
                  </a:lnTo>
                  <a:lnTo>
                    <a:pt x="27" y="284"/>
                  </a:lnTo>
                  <a:lnTo>
                    <a:pt x="0" y="497"/>
                  </a:lnTo>
                  <a:lnTo>
                    <a:pt x="38" y="497"/>
                  </a:lnTo>
                  <a:lnTo>
                    <a:pt x="82" y="531"/>
                  </a:lnTo>
                  <a:lnTo>
                    <a:pt x="97" y="505"/>
                  </a:lnTo>
                  <a:lnTo>
                    <a:pt x="181" y="497"/>
                  </a:lnTo>
                  <a:lnTo>
                    <a:pt x="181" y="544"/>
                  </a:lnTo>
                  <a:lnTo>
                    <a:pt x="247" y="544"/>
                  </a:lnTo>
                  <a:lnTo>
                    <a:pt x="293" y="596"/>
                  </a:lnTo>
                  <a:lnTo>
                    <a:pt x="325" y="543"/>
                  </a:lnTo>
                  <a:lnTo>
                    <a:pt x="372" y="552"/>
                  </a:lnTo>
                  <a:lnTo>
                    <a:pt x="339" y="482"/>
                  </a:lnTo>
                  <a:lnTo>
                    <a:pt x="261" y="451"/>
                  </a:lnTo>
                  <a:lnTo>
                    <a:pt x="281" y="407"/>
                  </a:lnTo>
                  <a:lnTo>
                    <a:pt x="348" y="407"/>
                  </a:lnTo>
                  <a:lnTo>
                    <a:pt x="317" y="375"/>
                  </a:lnTo>
                  <a:lnTo>
                    <a:pt x="357" y="331"/>
                  </a:lnTo>
                  <a:lnTo>
                    <a:pt x="395" y="327"/>
                  </a:lnTo>
                  <a:lnTo>
                    <a:pt x="395" y="303"/>
                  </a:lnTo>
                  <a:lnTo>
                    <a:pt x="279" y="260"/>
                  </a:lnTo>
                  <a:lnTo>
                    <a:pt x="273" y="137"/>
                  </a:lnTo>
                  <a:lnTo>
                    <a:pt x="159" y="126"/>
                  </a:lnTo>
                  <a:lnTo>
                    <a:pt x="159" y="23"/>
                  </a:lnTo>
                  <a:lnTo>
                    <a:pt x="106"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65" name="Freeform 66"/>
            <p:cNvSpPr>
              <a:spLocks noChangeAspect="1"/>
            </p:cNvSpPr>
            <p:nvPr/>
          </p:nvSpPr>
          <p:spPr bwMode="gray">
            <a:xfrm>
              <a:off x="3499409" y="4441766"/>
              <a:ext cx="338278" cy="297292"/>
            </a:xfrm>
            <a:custGeom>
              <a:avLst/>
              <a:gdLst>
                <a:gd name="T0" fmla="*/ 38 w 392"/>
                <a:gd name="T1" fmla="*/ 0 h 318"/>
                <a:gd name="T2" fmla="*/ 0 w 392"/>
                <a:gd name="T3" fmla="*/ 0 h 318"/>
                <a:gd name="T4" fmla="*/ 0 w 392"/>
                <a:gd name="T5" fmla="*/ 24 h 318"/>
                <a:gd name="T6" fmla="*/ 73 w 392"/>
                <a:gd name="T7" fmla="*/ 163 h 318"/>
                <a:gd name="T8" fmla="*/ 50 w 392"/>
                <a:gd name="T9" fmla="*/ 182 h 318"/>
                <a:gd name="T10" fmla="*/ 160 w 392"/>
                <a:gd name="T11" fmla="*/ 266 h 318"/>
                <a:gd name="T12" fmla="*/ 333 w 392"/>
                <a:gd name="T13" fmla="*/ 318 h 318"/>
                <a:gd name="T14" fmla="*/ 392 w 392"/>
                <a:gd name="T15" fmla="*/ 272 h 318"/>
                <a:gd name="T16" fmla="*/ 316 w 392"/>
                <a:gd name="T17" fmla="*/ 236 h 318"/>
                <a:gd name="T18" fmla="*/ 344 w 392"/>
                <a:gd name="T19" fmla="*/ 188 h 318"/>
                <a:gd name="T20" fmla="*/ 301 w 392"/>
                <a:gd name="T21" fmla="*/ 173 h 318"/>
                <a:gd name="T22" fmla="*/ 318 w 392"/>
                <a:gd name="T23" fmla="*/ 117 h 318"/>
                <a:gd name="T24" fmla="*/ 293 w 392"/>
                <a:gd name="T25" fmla="*/ 97 h 318"/>
                <a:gd name="T26" fmla="*/ 248 w 392"/>
                <a:gd name="T27" fmla="*/ 47 h 318"/>
                <a:gd name="T28" fmla="*/ 183 w 392"/>
                <a:gd name="T29" fmla="*/ 47 h 318"/>
                <a:gd name="T30" fmla="*/ 183 w 392"/>
                <a:gd name="T31" fmla="*/ 0 h 318"/>
                <a:gd name="T32" fmla="*/ 99 w 392"/>
                <a:gd name="T33" fmla="*/ 8 h 318"/>
                <a:gd name="T34" fmla="*/ 85 w 392"/>
                <a:gd name="T35" fmla="*/ 34 h 318"/>
                <a:gd name="T36" fmla="*/ 38 w 392"/>
                <a:gd name="T37" fmla="*/ 0 h 318"/>
                <a:gd name="T38" fmla="*/ 38 w 392"/>
                <a:gd name="T39" fmla="*/ 0 h 3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92"/>
                <a:gd name="T61" fmla="*/ 0 h 318"/>
                <a:gd name="T62" fmla="*/ 392 w 392"/>
                <a:gd name="T63" fmla="*/ 318 h 3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92" h="318">
                  <a:moveTo>
                    <a:pt x="38" y="0"/>
                  </a:moveTo>
                  <a:lnTo>
                    <a:pt x="0" y="0"/>
                  </a:lnTo>
                  <a:lnTo>
                    <a:pt x="0" y="24"/>
                  </a:lnTo>
                  <a:lnTo>
                    <a:pt x="73" y="163"/>
                  </a:lnTo>
                  <a:lnTo>
                    <a:pt x="50" y="182"/>
                  </a:lnTo>
                  <a:lnTo>
                    <a:pt x="160" y="266"/>
                  </a:lnTo>
                  <a:lnTo>
                    <a:pt x="333" y="318"/>
                  </a:lnTo>
                  <a:lnTo>
                    <a:pt x="392" y="272"/>
                  </a:lnTo>
                  <a:lnTo>
                    <a:pt x="316" y="236"/>
                  </a:lnTo>
                  <a:lnTo>
                    <a:pt x="344" y="188"/>
                  </a:lnTo>
                  <a:lnTo>
                    <a:pt x="301" y="173"/>
                  </a:lnTo>
                  <a:lnTo>
                    <a:pt x="318" y="117"/>
                  </a:lnTo>
                  <a:lnTo>
                    <a:pt x="293" y="97"/>
                  </a:lnTo>
                  <a:lnTo>
                    <a:pt x="248" y="47"/>
                  </a:lnTo>
                  <a:lnTo>
                    <a:pt x="183" y="47"/>
                  </a:lnTo>
                  <a:lnTo>
                    <a:pt x="183" y="0"/>
                  </a:lnTo>
                  <a:lnTo>
                    <a:pt x="99" y="8"/>
                  </a:lnTo>
                  <a:lnTo>
                    <a:pt x="85" y="34"/>
                  </a:lnTo>
                  <a:lnTo>
                    <a:pt x="38"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66" name="Freeform 67"/>
            <p:cNvSpPr>
              <a:spLocks noChangeAspect="1"/>
            </p:cNvSpPr>
            <p:nvPr/>
          </p:nvSpPr>
          <p:spPr bwMode="gray">
            <a:xfrm>
              <a:off x="2715848" y="2343892"/>
              <a:ext cx="58681" cy="104707"/>
            </a:xfrm>
            <a:custGeom>
              <a:avLst/>
              <a:gdLst>
                <a:gd name="T0" fmla="*/ 69 w 69"/>
                <a:gd name="T1" fmla="*/ 0 h 110"/>
                <a:gd name="T2" fmla="*/ 26 w 69"/>
                <a:gd name="T3" fmla="*/ 17 h 110"/>
                <a:gd name="T4" fmla="*/ 0 w 69"/>
                <a:gd name="T5" fmla="*/ 44 h 110"/>
                <a:gd name="T6" fmla="*/ 49 w 69"/>
                <a:gd name="T7" fmla="*/ 110 h 110"/>
                <a:gd name="T8" fmla="*/ 64 w 69"/>
                <a:gd name="T9" fmla="*/ 70 h 110"/>
                <a:gd name="T10" fmla="*/ 40 w 69"/>
                <a:gd name="T11" fmla="*/ 52 h 110"/>
                <a:gd name="T12" fmla="*/ 54 w 69"/>
                <a:gd name="T13" fmla="*/ 32 h 110"/>
                <a:gd name="T14" fmla="*/ 69 w 69"/>
                <a:gd name="T15" fmla="*/ 0 h 110"/>
                <a:gd name="T16" fmla="*/ 69 w 69"/>
                <a:gd name="T17" fmla="*/ 0 h 1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
                <a:gd name="T28" fmla="*/ 0 h 110"/>
                <a:gd name="T29" fmla="*/ 69 w 69"/>
                <a:gd name="T30" fmla="*/ 110 h 1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 h="110">
                  <a:moveTo>
                    <a:pt x="69" y="0"/>
                  </a:moveTo>
                  <a:lnTo>
                    <a:pt x="26" y="17"/>
                  </a:lnTo>
                  <a:lnTo>
                    <a:pt x="0" y="44"/>
                  </a:lnTo>
                  <a:lnTo>
                    <a:pt x="49" y="110"/>
                  </a:lnTo>
                  <a:lnTo>
                    <a:pt x="64" y="70"/>
                  </a:lnTo>
                  <a:lnTo>
                    <a:pt x="40" y="52"/>
                  </a:lnTo>
                  <a:lnTo>
                    <a:pt x="54" y="32"/>
                  </a:lnTo>
                  <a:lnTo>
                    <a:pt x="69"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67" name="Freeform 68"/>
            <p:cNvSpPr>
              <a:spLocks noChangeAspect="1"/>
            </p:cNvSpPr>
            <p:nvPr/>
          </p:nvSpPr>
          <p:spPr bwMode="gray">
            <a:xfrm>
              <a:off x="2762447" y="2317716"/>
              <a:ext cx="84569" cy="84139"/>
            </a:xfrm>
            <a:custGeom>
              <a:avLst/>
              <a:gdLst>
                <a:gd name="T0" fmla="*/ 91 w 98"/>
                <a:gd name="T1" fmla="*/ 0 h 90"/>
                <a:gd name="T2" fmla="*/ 15 w 98"/>
                <a:gd name="T3" fmla="*/ 26 h 90"/>
                <a:gd name="T4" fmla="*/ 0 w 98"/>
                <a:gd name="T5" fmla="*/ 61 h 90"/>
                <a:gd name="T6" fmla="*/ 98 w 98"/>
                <a:gd name="T7" fmla="*/ 90 h 90"/>
                <a:gd name="T8" fmla="*/ 91 w 98"/>
                <a:gd name="T9" fmla="*/ 0 h 90"/>
                <a:gd name="T10" fmla="*/ 91 w 98"/>
                <a:gd name="T11" fmla="*/ 0 h 90"/>
                <a:gd name="T12" fmla="*/ 0 60000 65536"/>
                <a:gd name="T13" fmla="*/ 0 60000 65536"/>
                <a:gd name="T14" fmla="*/ 0 60000 65536"/>
                <a:gd name="T15" fmla="*/ 0 60000 65536"/>
                <a:gd name="T16" fmla="*/ 0 60000 65536"/>
                <a:gd name="T17" fmla="*/ 0 60000 65536"/>
                <a:gd name="T18" fmla="*/ 0 w 98"/>
                <a:gd name="T19" fmla="*/ 0 h 90"/>
                <a:gd name="T20" fmla="*/ 98 w 98"/>
                <a:gd name="T21" fmla="*/ 90 h 90"/>
              </a:gdLst>
              <a:ahLst/>
              <a:cxnLst>
                <a:cxn ang="T12">
                  <a:pos x="T0" y="T1"/>
                </a:cxn>
                <a:cxn ang="T13">
                  <a:pos x="T2" y="T3"/>
                </a:cxn>
                <a:cxn ang="T14">
                  <a:pos x="T4" y="T5"/>
                </a:cxn>
                <a:cxn ang="T15">
                  <a:pos x="T6" y="T7"/>
                </a:cxn>
                <a:cxn ang="T16">
                  <a:pos x="T8" y="T9"/>
                </a:cxn>
                <a:cxn ang="T17">
                  <a:pos x="T10" y="T11"/>
                </a:cxn>
              </a:cxnLst>
              <a:rect l="T18" t="T19" r="T20" b="T21"/>
              <a:pathLst>
                <a:path w="98" h="90">
                  <a:moveTo>
                    <a:pt x="91" y="0"/>
                  </a:moveTo>
                  <a:lnTo>
                    <a:pt x="15" y="26"/>
                  </a:lnTo>
                  <a:lnTo>
                    <a:pt x="0" y="61"/>
                  </a:lnTo>
                  <a:lnTo>
                    <a:pt x="98" y="90"/>
                  </a:lnTo>
                  <a:lnTo>
                    <a:pt x="91"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68" name="Freeform 69"/>
            <p:cNvSpPr>
              <a:spLocks noChangeAspect="1"/>
            </p:cNvSpPr>
            <p:nvPr/>
          </p:nvSpPr>
          <p:spPr bwMode="gray">
            <a:xfrm>
              <a:off x="2750366" y="2373809"/>
              <a:ext cx="60407" cy="37395"/>
            </a:xfrm>
            <a:custGeom>
              <a:avLst/>
              <a:gdLst>
                <a:gd name="T0" fmla="*/ 14 w 71"/>
                <a:gd name="T1" fmla="*/ 0 h 38"/>
                <a:gd name="T2" fmla="*/ 0 w 71"/>
                <a:gd name="T3" fmla="*/ 20 h 38"/>
                <a:gd name="T4" fmla="*/ 24 w 71"/>
                <a:gd name="T5" fmla="*/ 38 h 38"/>
                <a:gd name="T6" fmla="*/ 71 w 71"/>
                <a:gd name="T7" fmla="*/ 17 h 38"/>
                <a:gd name="T8" fmla="*/ 14 w 71"/>
                <a:gd name="T9" fmla="*/ 0 h 38"/>
                <a:gd name="T10" fmla="*/ 14 w 71"/>
                <a:gd name="T11" fmla="*/ 0 h 38"/>
                <a:gd name="T12" fmla="*/ 0 60000 65536"/>
                <a:gd name="T13" fmla="*/ 0 60000 65536"/>
                <a:gd name="T14" fmla="*/ 0 60000 65536"/>
                <a:gd name="T15" fmla="*/ 0 60000 65536"/>
                <a:gd name="T16" fmla="*/ 0 60000 65536"/>
                <a:gd name="T17" fmla="*/ 0 60000 65536"/>
                <a:gd name="T18" fmla="*/ 0 w 71"/>
                <a:gd name="T19" fmla="*/ 0 h 38"/>
                <a:gd name="T20" fmla="*/ 71 w 71"/>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71" h="38">
                  <a:moveTo>
                    <a:pt x="14" y="0"/>
                  </a:moveTo>
                  <a:lnTo>
                    <a:pt x="0" y="20"/>
                  </a:lnTo>
                  <a:lnTo>
                    <a:pt x="24" y="38"/>
                  </a:lnTo>
                  <a:lnTo>
                    <a:pt x="71" y="17"/>
                  </a:lnTo>
                  <a:lnTo>
                    <a:pt x="14"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69" name="Freeform 70"/>
            <p:cNvSpPr>
              <a:spLocks noChangeAspect="1"/>
            </p:cNvSpPr>
            <p:nvPr/>
          </p:nvSpPr>
          <p:spPr bwMode="gray">
            <a:xfrm>
              <a:off x="2757269" y="2390636"/>
              <a:ext cx="91473" cy="63572"/>
            </a:xfrm>
            <a:custGeom>
              <a:avLst/>
              <a:gdLst>
                <a:gd name="T0" fmla="*/ 106 w 106"/>
                <a:gd name="T1" fmla="*/ 14 h 67"/>
                <a:gd name="T2" fmla="*/ 62 w 106"/>
                <a:gd name="T3" fmla="*/ 0 h 67"/>
                <a:gd name="T4" fmla="*/ 15 w 106"/>
                <a:gd name="T5" fmla="*/ 21 h 67"/>
                <a:gd name="T6" fmla="*/ 0 w 106"/>
                <a:gd name="T7" fmla="*/ 62 h 67"/>
                <a:gd name="T8" fmla="*/ 106 w 106"/>
                <a:gd name="T9" fmla="*/ 67 h 67"/>
                <a:gd name="T10" fmla="*/ 106 w 106"/>
                <a:gd name="T11" fmla="*/ 14 h 67"/>
                <a:gd name="T12" fmla="*/ 106 w 106"/>
                <a:gd name="T13" fmla="*/ 14 h 67"/>
                <a:gd name="T14" fmla="*/ 0 60000 65536"/>
                <a:gd name="T15" fmla="*/ 0 60000 65536"/>
                <a:gd name="T16" fmla="*/ 0 60000 65536"/>
                <a:gd name="T17" fmla="*/ 0 60000 65536"/>
                <a:gd name="T18" fmla="*/ 0 60000 65536"/>
                <a:gd name="T19" fmla="*/ 0 60000 65536"/>
                <a:gd name="T20" fmla="*/ 0 60000 65536"/>
                <a:gd name="T21" fmla="*/ 0 w 106"/>
                <a:gd name="T22" fmla="*/ 0 h 67"/>
                <a:gd name="T23" fmla="*/ 106 w 106"/>
                <a:gd name="T24" fmla="*/ 67 h 6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6" h="67">
                  <a:moveTo>
                    <a:pt x="106" y="14"/>
                  </a:moveTo>
                  <a:lnTo>
                    <a:pt x="62" y="0"/>
                  </a:lnTo>
                  <a:lnTo>
                    <a:pt x="15" y="21"/>
                  </a:lnTo>
                  <a:lnTo>
                    <a:pt x="0" y="62"/>
                  </a:lnTo>
                  <a:lnTo>
                    <a:pt x="106" y="67"/>
                  </a:lnTo>
                  <a:lnTo>
                    <a:pt x="106" y="14"/>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70" name="Freeform 71"/>
            <p:cNvSpPr>
              <a:spLocks noChangeAspect="1"/>
            </p:cNvSpPr>
            <p:nvPr/>
          </p:nvSpPr>
          <p:spPr bwMode="gray">
            <a:xfrm>
              <a:off x="2631278" y="1347309"/>
              <a:ext cx="590260" cy="471180"/>
            </a:xfrm>
            <a:custGeom>
              <a:avLst/>
              <a:gdLst>
                <a:gd name="T0" fmla="*/ 136 w 685"/>
                <a:gd name="T1" fmla="*/ 0 h 505"/>
                <a:gd name="T2" fmla="*/ 0 w 685"/>
                <a:gd name="T3" fmla="*/ 38 h 505"/>
                <a:gd name="T4" fmla="*/ 27 w 685"/>
                <a:gd name="T5" fmla="*/ 124 h 505"/>
                <a:gd name="T6" fmla="*/ 95 w 685"/>
                <a:gd name="T7" fmla="*/ 141 h 505"/>
                <a:gd name="T8" fmla="*/ 71 w 685"/>
                <a:gd name="T9" fmla="*/ 196 h 505"/>
                <a:gd name="T10" fmla="*/ 205 w 685"/>
                <a:gd name="T11" fmla="*/ 233 h 505"/>
                <a:gd name="T12" fmla="*/ 247 w 685"/>
                <a:gd name="T13" fmla="*/ 234 h 505"/>
                <a:gd name="T14" fmla="*/ 276 w 685"/>
                <a:gd name="T15" fmla="*/ 291 h 505"/>
                <a:gd name="T16" fmla="*/ 329 w 685"/>
                <a:gd name="T17" fmla="*/ 314 h 505"/>
                <a:gd name="T18" fmla="*/ 325 w 685"/>
                <a:gd name="T19" fmla="*/ 391 h 505"/>
                <a:gd name="T20" fmla="*/ 359 w 685"/>
                <a:gd name="T21" fmla="*/ 418 h 505"/>
                <a:gd name="T22" fmla="*/ 334 w 685"/>
                <a:gd name="T23" fmla="*/ 485 h 505"/>
                <a:gd name="T24" fmla="*/ 489 w 685"/>
                <a:gd name="T25" fmla="*/ 487 h 505"/>
                <a:gd name="T26" fmla="*/ 522 w 685"/>
                <a:gd name="T27" fmla="*/ 462 h 505"/>
                <a:gd name="T28" fmla="*/ 685 w 685"/>
                <a:gd name="T29" fmla="*/ 505 h 505"/>
                <a:gd name="T30" fmla="*/ 667 w 685"/>
                <a:gd name="T31" fmla="*/ 397 h 505"/>
                <a:gd name="T32" fmla="*/ 676 w 685"/>
                <a:gd name="T33" fmla="*/ 371 h 505"/>
                <a:gd name="T34" fmla="*/ 583 w 685"/>
                <a:gd name="T35" fmla="*/ 326 h 505"/>
                <a:gd name="T36" fmla="*/ 477 w 685"/>
                <a:gd name="T37" fmla="*/ 358 h 505"/>
                <a:gd name="T38" fmla="*/ 463 w 685"/>
                <a:gd name="T39" fmla="*/ 266 h 505"/>
                <a:gd name="T40" fmla="*/ 332 w 685"/>
                <a:gd name="T41" fmla="*/ 260 h 505"/>
                <a:gd name="T42" fmla="*/ 316 w 685"/>
                <a:gd name="T43" fmla="*/ 139 h 505"/>
                <a:gd name="T44" fmla="*/ 234 w 685"/>
                <a:gd name="T45" fmla="*/ 164 h 505"/>
                <a:gd name="T46" fmla="*/ 156 w 685"/>
                <a:gd name="T47" fmla="*/ 116 h 505"/>
                <a:gd name="T48" fmla="*/ 135 w 685"/>
                <a:gd name="T49" fmla="*/ 5 h 505"/>
                <a:gd name="T50" fmla="*/ 136 w 685"/>
                <a:gd name="T51" fmla="*/ 0 h 505"/>
                <a:gd name="T52" fmla="*/ 136 w 685"/>
                <a:gd name="T53" fmla="*/ 0 h 50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85"/>
                <a:gd name="T82" fmla="*/ 0 h 505"/>
                <a:gd name="T83" fmla="*/ 685 w 685"/>
                <a:gd name="T84" fmla="*/ 505 h 50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85" h="505">
                  <a:moveTo>
                    <a:pt x="136" y="0"/>
                  </a:moveTo>
                  <a:lnTo>
                    <a:pt x="0" y="38"/>
                  </a:lnTo>
                  <a:lnTo>
                    <a:pt x="27" y="124"/>
                  </a:lnTo>
                  <a:lnTo>
                    <a:pt x="95" y="141"/>
                  </a:lnTo>
                  <a:lnTo>
                    <a:pt x="71" y="196"/>
                  </a:lnTo>
                  <a:lnTo>
                    <a:pt x="205" y="233"/>
                  </a:lnTo>
                  <a:lnTo>
                    <a:pt x="247" y="234"/>
                  </a:lnTo>
                  <a:lnTo>
                    <a:pt x="276" y="291"/>
                  </a:lnTo>
                  <a:lnTo>
                    <a:pt x="329" y="314"/>
                  </a:lnTo>
                  <a:lnTo>
                    <a:pt x="325" y="391"/>
                  </a:lnTo>
                  <a:lnTo>
                    <a:pt x="359" y="418"/>
                  </a:lnTo>
                  <a:lnTo>
                    <a:pt x="334" y="485"/>
                  </a:lnTo>
                  <a:lnTo>
                    <a:pt x="489" y="487"/>
                  </a:lnTo>
                  <a:lnTo>
                    <a:pt x="522" y="462"/>
                  </a:lnTo>
                  <a:lnTo>
                    <a:pt x="685" y="505"/>
                  </a:lnTo>
                  <a:lnTo>
                    <a:pt x="667" y="397"/>
                  </a:lnTo>
                  <a:lnTo>
                    <a:pt x="676" y="371"/>
                  </a:lnTo>
                  <a:lnTo>
                    <a:pt x="583" y="326"/>
                  </a:lnTo>
                  <a:lnTo>
                    <a:pt x="477" y="358"/>
                  </a:lnTo>
                  <a:lnTo>
                    <a:pt x="463" y="266"/>
                  </a:lnTo>
                  <a:lnTo>
                    <a:pt x="332" y="260"/>
                  </a:lnTo>
                  <a:lnTo>
                    <a:pt x="316" y="139"/>
                  </a:lnTo>
                  <a:lnTo>
                    <a:pt x="234" y="164"/>
                  </a:lnTo>
                  <a:lnTo>
                    <a:pt x="156" y="116"/>
                  </a:lnTo>
                  <a:lnTo>
                    <a:pt x="135" y="5"/>
                  </a:lnTo>
                  <a:lnTo>
                    <a:pt x="136"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71" name="Freeform 72"/>
            <p:cNvSpPr>
              <a:spLocks noChangeAspect="1"/>
            </p:cNvSpPr>
            <p:nvPr/>
          </p:nvSpPr>
          <p:spPr bwMode="gray">
            <a:xfrm>
              <a:off x="2481124" y="1382834"/>
              <a:ext cx="462543" cy="420697"/>
            </a:xfrm>
            <a:custGeom>
              <a:avLst/>
              <a:gdLst>
                <a:gd name="T0" fmla="*/ 174 w 537"/>
                <a:gd name="T1" fmla="*/ 0 h 449"/>
                <a:gd name="T2" fmla="*/ 12 w 537"/>
                <a:gd name="T3" fmla="*/ 46 h 449"/>
                <a:gd name="T4" fmla="*/ 0 w 537"/>
                <a:gd name="T5" fmla="*/ 303 h 449"/>
                <a:gd name="T6" fmla="*/ 132 w 537"/>
                <a:gd name="T7" fmla="*/ 310 h 449"/>
                <a:gd name="T8" fmla="*/ 189 w 537"/>
                <a:gd name="T9" fmla="*/ 371 h 449"/>
                <a:gd name="T10" fmla="*/ 300 w 537"/>
                <a:gd name="T11" fmla="*/ 371 h 449"/>
                <a:gd name="T12" fmla="*/ 300 w 537"/>
                <a:gd name="T13" fmla="*/ 417 h 449"/>
                <a:gd name="T14" fmla="*/ 389 w 537"/>
                <a:gd name="T15" fmla="*/ 420 h 449"/>
                <a:gd name="T16" fmla="*/ 389 w 537"/>
                <a:gd name="T17" fmla="*/ 449 h 449"/>
                <a:gd name="T18" fmla="*/ 508 w 537"/>
                <a:gd name="T19" fmla="*/ 447 h 449"/>
                <a:gd name="T20" fmla="*/ 537 w 537"/>
                <a:gd name="T21" fmla="*/ 380 h 449"/>
                <a:gd name="T22" fmla="*/ 499 w 537"/>
                <a:gd name="T23" fmla="*/ 353 h 449"/>
                <a:gd name="T24" fmla="*/ 503 w 537"/>
                <a:gd name="T25" fmla="*/ 276 h 449"/>
                <a:gd name="T26" fmla="*/ 450 w 537"/>
                <a:gd name="T27" fmla="*/ 253 h 449"/>
                <a:gd name="T28" fmla="*/ 421 w 537"/>
                <a:gd name="T29" fmla="*/ 196 h 449"/>
                <a:gd name="T30" fmla="*/ 376 w 537"/>
                <a:gd name="T31" fmla="*/ 192 h 449"/>
                <a:gd name="T32" fmla="*/ 245 w 537"/>
                <a:gd name="T33" fmla="*/ 158 h 449"/>
                <a:gd name="T34" fmla="*/ 269 w 537"/>
                <a:gd name="T35" fmla="*/ 103 h 449"/>
                <a:gd name="T36" fmla="*/ 201 w 537"/>
                <a:gd name="T37" fmla="*/ 86 h 449"/>
                <a:gd name="T38" fmla="*/ 174 w 537"/>
                <a:gd name="T39" fmla="*/ 0 h 449"/>
                <a:gd name="T40" fmla="*/ 174 w 537"/>
                <a:gd name="T41" fmla="*/ 0 h 44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37"/>
                <a:gd name="T64" fmla="*/ 0 h 449"/>
                <a:gd name="T65" fmla="*/ 537 w 537"/>
                <a:gd name="T66" fmla="*/ 449 h 44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37" h="449">
                  <a:moveTo>
                    <a:pt x="174" y="0"/>
                  </a:moveTo>
                  <a:lnTo>
                    <a:pt x="12" y="46"/>
                  </a:lnTo>
                  <a:lnTo>
                    <a:pt x="0" y="303"/>
                  </a:lnTo>
                  <a:lnTo>
                    <a:pt x="132" y="310"/>
                  </a:lnTo>
                  <a:lnTo>
                    <a:pt x="189" y="371"/>
                  </a:lnTo>
                  <a:lnTo>
                    <a:pt x="300" y="371"/>
                  </a:lnTo>
                  <a:lnTo>
                    <a:pt x="300" y="417"/>
                  </a:lnTo>
                  <a:lnTo>
                    <a:pt x="389" y="420"/>
                  </a:lnTo>
                  <a:lnTo>
                    <a:pt x="389" y="449"/>
                  </a:lnTo>
                  <a:lnTo>
                    <a:pt x="508" y="447"/>
                  </a:lnTo>
                  <a:lnTo>
                    <a:pt x="537" y="380"/>
                  </a:lnTo>
                  <a:lnTo>
                    <a:pt x="499" y="353"/>
                  </a:lnTo>
                  <a:lnTo>
                    <a:pt x="503" y="276"/>
                  </a:lnTo>
                  <a:lnTo>
                    <a:pt x="450" y="253"/>
                  </a:lnTo>
                  <a:lnTo>
                    <a:pt x="421" y="196"/>
                  </a:lnTo>
                  <a:lnTo>
                    <a:pt x="376" y="192"/>
                  </a:lnTo>
                  <a:lnTo>
                    <a:pt x="245" y="158"/>
                  </a:lnTo>
                  <a:lnTo>
                    <a:pt x="269" y="103"/>
                  </a:lnTo>
                  <a:lnTo>
                    <a:pt x="201" y="86"/>
                  </a:lnTo>
                  <a:lnTo>
                    <a:pt x="174"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72" name="Freeform 73"/>
            <p:cNvSpPr>
              <a:spLocks noChangeAspect="1"/>
            </p:cNvSpPr>
            <p:nvPr/>
          </p:nvSpPr>
          <p:spPr bwMode="gray">
            <a:xfrm>
              <a:off x="3178390" y="1768006"/>
              <a:ext cx="395232" cy="390780"/>
            </a:xfrm>
            <a:custGeom>
              <a:avLst/>
              <a:gdLst>
                <a:gd name="T0" fmla="*/ 50 w 457"/>
                <a:gd name="T1" fmla="*/ 52 h 417"/>
                <a:gd name="T2" fmla="*/ 50 w 457"/>
                <a:gd name="T3" fmla="*/ 163 h 417"/>
                <a:gd name="T4" fmla="*/ 0 w 457"/>
                <a:gd name="T5" fmla="*/ 240 h 417"/>
                <a:gd name="T6" fmla="*/ 1 w 457"/>
                <a:gd name="T7" fmla="*/ 345 h 417"/>
                <a:gd name="T8" fmla="*/ 197 w 457"/>
                <a:gd name="T9" fmla="*/ 417 h 417"/>
                <a:gd name="T10" fmla="*/ 313 w 457"/>
                <a:gd name="T11" fmla="*/ 415 h 417"/>
                <a:gd name="T12" fmla="*/ 349 w 457"/>
                <a:gd name="T13" fmla="*/ 254 h 417"/>
                <a:gd name="T14" fmla="*/ 401 w 457"/>
                <a:gd name="T15" fmla="*/ 265 h 417"/>
                <a:gd name="T16" fmla="*/ 457 w 457"/>
                <a:gd name="T17" fmla="*/ 196 h 417"/>
                <a:gd name="T18" fmla="*/ 252 w 457"/>
                <a:gd name="T19" fmla="*/ 108 h 417"/>
                <a:gd name="T20" fmla="*/ 281 w 457"/>
                <a:gd name="T21" fmla="*/ 0 h 417"/>
                <a:gd name="T22" fmla="*/ 152 w 457"/>
                <a:gd name="T23" fmla="*/ 55 h 417"/>
                <a:gd name="T24" fmla="*/ 50 w 457"/>
                <a:gd name="T25" fmla="*/ 52 h 417"/>
                <a:gd name="T26" fmla="*/ 50 w 457"/>
                <a:gd name="T27" fmla="*/ 52 h 41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57"/>
                <a:gd name="T43" fmla="*/ 0 h 417"/>
                <a:gd name="T44" fmla="*/ 457 w 457"/>
                <a:gd name="T45" fmla="*/ 417 h 41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57" h="417">
                  <a:moveTo>
                    <a:pt x="50" y="52"/>
                  </a:moveTo>
                  <a:lnTo>
                    <a:pt x="50" y="163"/>
                  </a:lnTo>
                  <a:lnTo>
                    <a:pt x="0" y="240"/>
                  </a:lnTo>
                  <a:lnTo>
                    <a:pt x="1" y="345"/>
                  </a:lnTo>
                  <a:lnTo>
                    <a:pt x="197" y="417"/>
                  </a:lnTo>
                  <a:lnTo>
                    <a:pt x="313" y="415"/>
                  </a:lnTo>
                  <a:lnTo>
                    <a:pt x="349" y="254"/>
                  </a:lnTo>
                  <a:lnTo>
                    <a:pt x="401" y="265"/>
                  </a:lnTo>
                  <a:lnTo>
                    <a:pt x="457" y="196"/>
                  </a:lnTo>
                  <a:lnTo>
                    <a:pt x="252" y="108"/>
                  </a:lnTo>
                  <a:lnTo>
                    <a:pt x="281" y="0"/>
                  </a:lnTo>
                  <a:lnTo>
                    <a:pt x="152" y="55"/>
                  </a:lnTo>
                  <a:lnTo>
                    <a:pt x="50" y="52"/>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73" name="Freeform 74"/>
            <p:cNvSpPr>
              <a:spLocks noChangeAspect="1"/>
            </p:cNvSpPr>
            <p:nvPr/>
          </p:nvSpPr>
          <p:spPr bwMode="gray">
            <a:xfrm>
              <a:off x="3521846" y="1951242"/>
              <a:ext cx="531579" cy="611412"/>
            </a:xfrm>
            <a:custGeom>
              <a:avLst/>
              <a:gdLst>
                <a:gd name="T0" fmla="*/ 0 w 616"/>
                <a:gd name="T1" fmla="*/ 69 h 655"/>
                <a:gd name="T2" fmla="*/ 114 w 616"/>
                <a:gd name="T3" fmla="*/ 128 h 655"/>
                <a:gd name="T4" fmla="*/ 156 w 616"/>
                <a:gd name="T5" fmla="*/ 185 h 655"/>
                <a:gd name="T6" fmla="*/ 139 w 616"/>
                <a:gd name="T7" fmla="*/ 223 h 655"/>
                <a:gd name="T8" fmla="*/ 156 w 616"/>
                <a:gd name="T9" fmla="*/ 280 h 655"/>
                <a:gd name="T10" fmla="*/ 194 w 616"/>
                <a:gd name="T11" fmla="*/ 310 h 655"/>
                <a:gd name="T12" fmla="*/ 180 w 616"/>
                <a:gd name="T13" fmla="*/ 370 h 655"/>
                <a:gd name="T14" fmla="*/ 169 w 616"/>
                <a:gd name="T15" fmla="*/ 432 h 655"/>
                <a:gd name="T16" fmla="*/ 175 w 616"/>
                <a:gd name="T17" fmla="*/ 579 h 655"/>
                <a:gd name="T18" fmla="*/ 215 w 616"/>
                <a:gd name="T19" fmla="*/ 565 h 655"/>
                <a:gd name="T20" fmla="*/ 253 w 616"/>
                <a:gd name="T21" fmla="*/ 655 h 655"/>
                <a:gd name="T22" fmla="*/ 508 w 616"/>
                <a:gd name="T23" fmla="*/ 603 h 655"/>
                <a:gd name="T24" fmla="*/ 616 w 616"/>
                <a:gd name="T25" fmla="*/ 544 h 655"/>
                <a:gd name="T26" fmla="*/ 570 w 616"/>
                <a:gd name="T27" fmla="*/ 499 h 655"/>
                <a:gd name="T28" fmla="*/ 359 w 616"/>
                <a:gd name="T29" fmla="*/ 424 h 655"/>
                <a:gd name="T30" fmla="*/ 338 w 616"/>
                <a:gd name="T31" fmla="*/ 370 h 655"/>
                <a:gd name="T32" fmla="*/ 338 w 616"/>
                <a:gd name="T33" fmla="*/ 350 h 655"/>
                <a:gd name="T34" fmla="*/ 266 w 616"/>
                <a:gd name="T35" fmla="*/ 337 h 655"/>
                <a:gd name="T36" fmla="*/ 230 w 616"/>
                <a:gd name="T37" fmla="*/ 278 h 655"/>
                <a:gd name="T38" fmla="*/ 248 w 616"/>
                <a:gd name="T39" fmla="*/ 261 h 655"/>
                <a:gd name="T40" fmla="*/ 248 w 616"/>
                <a:gd name="T41" fmla="*/ 92 h 655"/>
                <a:gd name="T42" fmla="*/ 178 w 616"/>
                <a:gd name="T43" fmla="*/ 0 h 655"/>
                <a:gd name="T44" fmla="*/ 61 w 616"/>
                <a:gd name="T45" fmla="*/ 0 h 655"/>
                <a:gd name="T46" fmla="*/ 0 w 616"/>
                <a:gd name="T47" fmla="*/ 69 h 655"/>
                <a:gd name="T48" fmla="*/ 0 w 616"/>
                <a:gd name="T49" fmla="*/ 69 h 65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6"/>
                <a:gd name="T76" fmla="*/ 0 h 655"/>
                <a:gd name="T77" fmla="*/ 616 w 616"/>
                <a:gd name="T78" fmla="*/ 655 h 65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6" h="655">
                  <a:moveTo>
                    <a:pt x="0" y="69"/>
                  </a:moveTo>
                  <a:lnTo>
                    <a:pt x="114" y="128"/>
                  </a:lnTo>
                  <a:lnTo>
                    <a:pt x="156" y="185"/>
                  </a:lnTo>
                  <a:lnTo>
                    <a:pt x="139" y="223"/>
                  </a:lnTo>
                  <a:lnTo>
                    <a:pt x="156" y="280"/>
                  </a:lnTo>
                  <a:lnTo>
                    <a:pt x="194" y="310"/>
                  </a:lnTo>
                  <a:lnTo>
                    <a:pt x="180" y="370"/>
                  </a:lnTo>
                  <a:lnTo>
                    <a:pt x="169" y="432"/>
                  </a:lnTo>
                  <a:lnTo>
                    <a:pt x="175" y="579"/>
                  </a:lnTo>
                  <a:lnTo>
                    <a:pt x="215" y="565"/>
                  </a:lnTo>
                  <a:lnTo>
                    <a:pt x="253" y="655"/>
                  </a:lnTo>
                  <a:lnTo>
                    <a:pt x="508" y="603"/>
                  </a:lnTo>
                  <a:lnTo>
                    <a:pt x="616" y="544"/>
                  </a:lnTo>
                  <a:lnTo>
                    <a:pt x="570" y="499"/>
                  </a:lnTo>
                  <a:lnTo>
                    <a:pt x="359" y="424"/>
                  </a:lnTo>
                  <a:lnTo>
                    <a:pt x="338" y="370"/>
                  </a:lnTo>
                  <a:lnTo>
                    <a:pt x="338" y="350"/>
                  </a:lnTo>
                  <a:lnTo>
                    <a:pt x="266" y="337"/>
                  </a:lnTo>
                  <a:lnTo>
                    <a:pt x="230" y="278"/>
                  </a:lnTo>
                  <a:lnTo>
                    <a:pt x="248" y="261"/>
                  </a:lnTo>
                  <a:lnTo>
                    <a:pt x="248" y="92"/>
                  </a:lnTo>
                  <a:lnTo>
                    <a:pt x="178" y="0"/>
                  </a:lnTo>
                  <a:lnTo>
                    <a:pt x="61" y="0"/>
                  </a:lnTo>
                  <a:lnTo>
                    <a:pt x="0" y="69"/>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74" name="Freeform 75"/>
            <p:cNvSpPr>
              <a:spLocks noChangeAspect="1"/>
            </p:cNvSpPr>
            <p:nvPr/>
          </p:nvSpPr>
          <p:spPr bwMode="gray">
            <a:xfrm>
              <a:off x="3720325" y="2011075"/>
              <a:ext cx="488431" cy="448743"/>
            </a:xfrm>
            <a:custGeom>
              <a:avLst/>
              <a:gdLst>
                <a:gd name="T0" fmla="*/ 18 w 564"/>
                <a:gd name="T1" fmla="*/ 25 h 479"/>
                <a:gd name="T2" fmla="*/ 18 w 564"/>
                <a:gd name="T3" fmla="*/ 194 h 479"/>
                <a:gd name="T4" fmla="*/ 0 w 564"/>
                <a:gd name="T5" fmla="*/ 212 h 479"/>
                <a:gd name="T6" fmla="*/ 34 w 564"/>
                <a:gd name="T7" fmla="*/ 274 h 479"/>
                <a:gd name="T8" fmla="*/ 108 w 564"/>
                <a:gd name="T9" fmla="*/ 285 h 479"/>
                <a:gd name="T10" fmla="*/ 108 w 564"/>
                <a:gd name="T11" fmla="*/ 309 h 479"/>
                <a:gd name="T12" fmla="*/ 129 w 564"/>
                <a:gd name="T13" fmla="*/ 362 h 479"/>
                <a:gd name="T14" fmla="*/ 340 w 564"/>
                <a:gd name="T15" fmla="*/ 434 h 479"/>
                <a:gd name="T16" fmla="*/ 382 w 564"/>
                <a:gd name="T17" fmla="*/ 479 h 479"/>
                <a:gd name="T18" fmla="*/ 433 w 564"/>
                <a:gd name="T19" fmla="*/ 441 h 479"/>
                <a:gd name="T20" fmla="*/ 442 w 564"/>
                <a:gd name="T21" fmla="*/ 347 h 479"/>
                <a:gd name="T22" fmla="*/ 374 w 564"/>
                <a:gd name="T23" fmla="*/ 303 h 479"/>
                <a:gd name="T24" fmla="*/ 327 w 564"/>
                <a:gd name="T25" fmla="*/ 294 h 479"/>
                <a:gd name="T26" fmla="*/ 354 w 564"/>
                <a:gd name="T27" fmla="*/ 223 h 479"/>
                <a:gd name="T28" fmla="*/ 453 w 564"/>
                <a:gd name="T29" fmla="*/ 257 h 479"/>
                <a:gd name="T30" fmla="*/ 514 w 564"/>
                <a:gd name="T31" fmla="*/ 256 h 479"/>
                <a:gd name="T32" fmla="*/ 564 w 564"/>
                <a:gd name="T33" fmla="*/ 204 h 479"/>
                <a:gd name="T34" fmla="*/ 412 w 564"/>
                <a:gd name="T35" fmla="*/ 128 h 479"/>
                <a:gd name="T36" fmla="*/ 274 w 564"/>
                <a:gd name="T37" fmla="*/ 177 h 479"/>
                <a:gd name="T38" fmla="*/ 245 w 564"/>
                <a:gd name="T39" fmla="*/ 93 h 479"/>
                <a:gd name="T40" fmla="*/ 106 w 564"/>
                <a:gd name="T41" fmla="*/ 0 h 479"/>
                <a:gd name="T42" fmla="*/ 18 w 564"/>
                <a:gd name="T43" fmla="*/ 25 h 479"/>
                <a:gd name="T44" fmla="*/ 18 w 564"/>
                <a:gd name="T45" fmla="*/ 25 h 47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64"/>
                <a:gd name="T70" fmla="*/ 0 h 479"/>
                <a:gd name="T71" fmla="*/ 564 w 564"/>
                <a:gd name="T72" fmla="*/ 479 h 47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64" h="479">
                  <a:moveTo>
                    <a:pt x="18" y="25"/>
                  </a:moveTo>
                  <a:lnTo>
                    <a:pt x="18" y="194"/>
                  </a:lnTo>
                  <a:lnTo>
                    <a:pt x="0" y="212"/>
                  </a:lnTo>
                  <a:lnTo>
                    <a:pt x="34" y="274"/>
                  </a:lnTo>
                  <a:lnTo>
                    <a:pt x="108" y="285"/>
                  </a:lnTo>
                  <a:lnTo>
                    <a:pt x="108" y="309"/>
                  </a:lnTo>
                  <a:lnTo>
                    <a:pt x="129" y="362"/>
                  </a:lnTo>
                  <a:lnTo>
                    <a:pt x="340" y="434"/>
                  </a:lnTo>
                  <a:lnTo>
                    <a:pt x="382" y="479"/>
                  </a:lnTo>
                  <a:lnTo>
                    <a:pt x="433" y="441"/>
                  </a:lnTo>
                  <a:lnTo>
                    <a:pt x="442" y="347"/>
                  </a:lnTo>
                  <a:lnTo>
                    <a:pt x="374" y="303"/>
                  </a:lnTo>
                  <a:lnTo>
                    <a:pt x="327" y="294"/>
                  </a:lnTo>
                  <a:lnTo>
                    <a:pt x="354" y="223"/>
                  </a:lnTo>
                  <a:lnTo>
                    <a:pt x="453" y="257"/>
                  </a:lnTo>
                  <a:lnTo>
                    <a:pt x="514" y="256"/>
                  </a:lnTo>
                  <a:lnTo>
                    <a:pt x="564" y="204"/>
                  </a:lnTo>
                  <a:lnTo>
                    <a:pt x="412" y="128"/>
                  </a:lnTo>
                  <a:lnTo>
                    <a:pt x="274" y="177"/>
                  </a:lnTo>
                  <a:lnTo>
                    <a:pt x="245" y="93"/>
                  </a:lnTo>
                  <a:lnTo>
                    <a:pt x="106" y="0"/>
                  </a:lnTo>
                  <a:lnTo>
                    <a:pt x="18" y="25"/>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75" name="Freeform 76"/>
            <p:cNvSpPr>
              <a:spLocks noChangeAspect="1"/>
            </p:cNvSpPr>
            <p:nvPr/>
          </p:nvSpPr>
          <p:spPr bwMode="gray">
            <a:xfrm>
              <a:off x="4003374" y="2201790"/>
              <a:ext cx="343455" cy="456222"/>
            </a:xfrm>
            <a:custGeom>
              <a:avLst/>
              <a:gdLst>
                <a:gd name="T0" fmla="*/ 235 w 397"/>
                <a:gd name="T1" fmla="*/ 0 h 487"/>
                <a:gd name="T2" fmla="*/ 188 w 397"/>
                <a:gd name="T3" fmla="*/ 49 h 487"/>
                <a:gd name="T4" fmla="*/ 126 w 397"/>
                <a:gd name="T5" fmla="*/ 53 h 487"/>
                <a:gd name="T6" fmla="*/ 27 w 397"/>
                <a:gd name="T7" fmla="*/ 19 h 487"/>
                <a:gd name="T8" fmla="*/ 0 w 397"/>
                <a:gd name="T9" fmla="*/ 90 h 487"/>
                <a:gd name="T10" fmla="*/ 45 w 397"/>
                <a:gd name="T11" fmla="*/ 99 h 487"/>
                <a:gd name="T12" fmla="*/ 114 w 397"/>
                <a:gd name="T13" fmla="*/ 143 h 487"/>
                <a:gd name="T14" fmla="*/ 105 w 397"/>
                <a:gd name="T15" fmla="*/ 237 h 487"/>
                <a:gd name="T16" fmla="*/ 56 w 397"/>
                <a:gd name="T17" fmla="*/ 275 h 487"/>
                <a:gd name="T18" fmla="*/ 59 w 397"/>
                <a:gd name="T19" fmla="*/ 329 h 487"/>
                <a:gd name="T20" fmla="*/ 97 w 397"/>
                <a:gd name="T21" fmla="*/ 365 h 487"/>
                <a:gd name="T22" fmla="*/ 229 w 397"/>
                <a:gd name="T23" fmla="*/ 487 h 487"/>
                <a:gd name="T24" fmla="*/ 270 w 397"/>
                <a:gd name="T25" fmla="*/ 231 h 487"/>
                <a:gd name="T26" fmla="*/ 397 w 397"/>
                <a:gd name="T27" fmla="*/ 76 h 487"/>
                <a:gd name="T28" fmla="*/ 351 w 397"/>
                <a:gd name="T29" fmla="*/ 0 h 487"/>
                <a:gd name="T30" fmla="*/ 235 w 397"/>
                <a:gd name="T31" fmla="*/ 0 h 487"/>
                <a:gd name="T32" fmla="*/ 235 w 397"/>
                <a:gd name="T33" fmla="*/ 0 h 48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97"/>
                <a:gd name="T52" fmla="*/ 0 h 487"/>
                <a:gd name="T53" fmla="*/ 397 w 397"/>
                <a:gd name="T54" fmla="*/ 487 h 48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97" h="487">
                  <a:moveTo>
                    <a:pt x="235" y="0"/>
                  </a:moveTo>
                  <a:lnTo>
                    <a:pt x="188" y="49"/>
                  </a:lnTo>
                  <a:lnTo>
                    <a:pt x="126" y="53"/>
                  </a:lnTo>
                  <a:lnTo>
                    <a:pt x="27" y="19"/>
                  </a:lnTo>
                  <a:lnTo>
                    <a:pt x="0" y="90"/>
                  </a:lnTo>
                  <a:lnTo>
                    <a:pt x="45" y="99"/>
                  </a:lnTo>
                  <a:lnTo>
                    <a:pt x="114" y="143"/>
                  </a:lnTo>
                  <a:lnTo>
                    <a:pt x="105" y="237"/>
                  </a:lnTo>
                  <a:lnTo>
                    <a:pt x="56" y="275"/>
                  </a:lnTo>
                  <a:lnTo>
                    <a:pt x="59" y="329"/>
                  </a:lnTo>
                  <a:lnTo>
                    <a:pt x="97" y="365"/>
                  </a:lnTo>
                  <a:lnTo>
                    <a:pt x="229" y="487"/>
                  </a:lnTo>
                  <a:lnTo>
                    <a:pt x="270" y="231"/>
                  </a:lnTo>
                  <a:lnTo>
                    <a:pt x="397" y="76"/>
                  </a:lnTo>
                  <a:lnTo>
                    <a:pt x="351" y="0"/>
                  </a:lnTo>
                  <a:lnTo>
                    <a:pt x="235"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76" name="Freeform 77"/>
            <p:cNvSpPr>
              <a:spLocks noChangeAspect="1"/>
            </p:cNvSpPr>
            <p:nvPr/>
          </p:nvSpPr>
          <p:spPr bwMode="gray">
            <a:xfrm>
              <a:off x="3996470" y="2543957"/>
              <a:ext cx="226094" cy="381432"/>
            </a:xfrm>
            <a:custGeom>
              <a:avLst/>
              <a:gdLst>
                <a:gd name="T0" fmla="*/ 242 w 263"/>
                <a:gd name="T1" fmla="*/ 122 h 409"/>
                <a:gd name="T2" fmla="*/ 101 w 263"/>
                <a:gd name="T3" fmla="*/ 0 h 409"/>
                <a:gd name="T4" fmla="*/ 50 w 263"/>
                <a:gd name="T5" fmla="*/ 79 h 409"/>
                <a:gd name="T6" fmla="*/ 0 w 263"/>
                <a:gd name="T7" fmla="*/ 249 h 409"/>
                <a:gd name="T8" fmla="*/ 63 w 263"/>
                <a:gd name="T9" fmla="*/ 287 h 409"/>
                <a:gd name="T10" fmla="*/ 107 w 263"/>
                <a:gd name="T11" fmla="*/ 374 h 409"/>
                <a:gd name="T12" fmla="*/ 199 w 263"/>
                <a:gd name="T13" fmla="*/ 409 h 409"/>
                <a:gd name="T14" fmla="*/ 263 w 263"/>
                <a:gd name="T15" fmla="*/ 312 h 409"/>
                <a:gd name="T16" fmla="*/ 233 w 263"/>
                <a:gd name="T17" fmla="*/ 167 h 409"/>
                <a:gd name="T18" fmla="*/ 242 w 263"/>
                <a:gd name="T19" fmla="*/ 122 h 409"/>
                <a:gd name="T20" fmla="*/ 242 w 263"/>
                <a:gd name="T21" fmla="*/ 122 h 40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3"/>
                <a:gd name="T34" fmla="*/ 0 h 409"/>
                <a:gd name="T35" fmla="*/ 263 w 263"/>
                <a:gd name="T36" fmla="*/ 409 h 40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3" h="409">
                  <a:moveTo>
                    <a:pt x="242" y="122"/>
                  </a:moveTo>
                  <a:lnTo>
                    <a:pt x="101" y="0"/>
                  </a:lnTo>
                  <a:lnTo>
                    <a:pt x="50" y="79"/>
                  </a:lnTo>
                  <a:lnTo>
                    <a:pt x="0" y="249"/>
                  </a:lnTo>
                  <a:lnTo>
                    <a:pt x="63" y="287"/>
                  </a:lnTo>
                  <a:lnTo>
                    <a:pt x="107" y="374"/>
                  </a:lnTo>
                  <a:lnTo>
                    <a:pt x="199" y="409"/>
                  </a:lnTo>
                  <a:lnTo>
                    <a:pt x="263" y="312"/>
                  </a:lnTo>
                  <a:lnTo>
                    <a:pt x="233" y="167"/>
                  </a:lnTo>
                  <a:lnTo>
                    <a:pt x="242" y="122"/>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77" name="Freeform 78"/>
            <p:cNvSpPr>
              <a:spLocks noChangeAspect="1"/>
            </p:cNvSpPr>
            <p:nvPr/>
          </p:nvSpPr>
          <p:spPr bwMode="gray">
            <a:xfrm>
              <a:off x="3589156" y="2459818"/>
              <a:ext cx="497061" cy="315990"/>
            </a:xfrm>
            <a:custGeom>
              <a:avLst/>
              <a:gdLst>
                <a:gd name="T0" fmla="*/ 538 w 576"/>
                <a:gd name="T1" fmla="*/ 0 h 339"/>
                <a:gd name="T2" fmla="*/ 538 w 576"/>
                <a:gd name="T3" fmla="*/ 54 h 339"/>
                <a:gd name="T4" fmla="*/ 576 w 576"/>
                <a:gd name="T5" fmla="*/ 90 h 339"/>
                <a:gd name="T6" fmla="*/ 524 w 576"/>
                <a:gd name="T7" fmla="*/ 166 h 339"/>
                <a:gd name="T8" fmla="*/ 521 w 576"/>
                <a:gd name="T9" fmla="*/ 169 h 339"/>
                <a:gd name="T10" fmla="*/ 473 w 576"/>
                <a:gd name="T11" fmla="*/ 339 h 339"/>
                <a:gd name="T12" fmla="*/ 394 w 576"/>
                <a:gd name="T13" fmla="*/ 293 h 339"/>
                <a:gd name="T14" fmla="*/ 340 w 576"/>
                <a:gd name="T15" fmla="*/ 286 h 339"/>
                <a:gd name="T16" fmla="*/ 245 w 576"/>
                <a:gd name="T17" fmla="*/ 286 h 339"/>
                <a:gd name="T18" fmla="*/ 226 w 576"/>
                <a:gd name="T19" fmla="*/ 259 h 339"/>
                <a:gd name="T20" fmla="*/ 117 w 576"/>
                <a:gd name="T21" fmla="*/ 295 h 339"/>
                <a:gd name="T22" fmla="*/ 112 w 576"/>
                <a:gd name="T23" fmla="*/ 244 h 339"/>
                <a:gd name="T24" fmla="*/ 68 w 576"/>
                <a:gd name="T25" fmla="*/ 222 h 339"/>
                <a:gd name="T26" fmla="*/ 74 w 576"/>
                <a:gd name="T27" fmla="*/ 157 h 339"/>
                <a:gd name="T28" fmla="*/ 30 w 576"/>
                <a:gd name="T29" fmla="*/ 114 h 339"/>
                <a:gd name="T30" fmla="*/ 2 w 576"/>
                <a:gd name="T31" fmla="*/ 114 h 339"/>
                <a:gd name="T32" fmla="*/ 0 w 576"/>
                <a:gd name="T33" fmla="*/ 75 h 339"/>
                <a:gd name="T34" fmla="*/ 138 w 576"/>
                <a:gd name="T35" fmla="*/ 17 h 339"/>
                <a:gd name="T36" fmla="*/ 178 w 576"/>
                <a:gd name="T37" fmla="*/ 113 h 339"/>
                <a:gd name="T38" fmla="*/ 436 w 576"/>
                <a:gd name="T39" fmla="*/ 54 h 339"/>
                <a:gd name="T40" fmla="*/ 538 w 576"/>
                <a:gd name="T41" fmla="*/ 0 h 339"/>
                <a:gd name="T42" fmla="*/ 538 w 576"/>
                <a:gd name="T43" fmla="*/ 0 h 3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76"/>
                <a:gd name="T67" fmla="*/ 0 h 339"/>
                <a:gd name="T68" fmla="*/ 576 w 576"/>
                <a:gd name="T69" fmla="*/ 339 h 3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76" h="339">
                  <a:moveTo>
                    <a:pt x="538" y="0"/>
                  </a:moveTo>
                  <a:lnTo>
                    <a:pt x="538" y="54"/>
                  </a:lnTo>
                  <a:lnTo>
                    <a:pt x="576" y="90"/>
                  </a:lnTo>
                  <a:lnTo>
                    <a:pt x="524" y="166"/>
                  </a:lnTo>
                  <a:lnTo>
                    <a:pt x="521" y="169"/>
                  </a:lnTo>
                  <a:lnTo>
                    <a:pt x="473" y="339"/>
                  </a:lnTo>
                  <a:lnTo>
                    <a:pt x="394" y="293"/>
                  </a:lnTo>
                  <a:lnTo>
                    <a:pt x="340" y="286"/>
                  </a:lnTo>
                  <a:lnTo>
                    <a:pt x="245" y="286"/>
                  </a:lnTo>
                  <a:lnTo>
                    <a:pt x="226" y="259"/>
                  </a:lnTo>
                  <a:lnTo>
                    <a:pt x="117" y="295"/>
                  </a:lnTo>
                  <a:lnTo>
                    <a:pt x="112" y="244"/>
                  </a:lnTo>
                  <a:lnTo>
                    <a:pt x="68" y="222"/>
                  </a:lnTo>
                  <a:lnTo>
                    <a:pt x="74" y="157"/>
                  </a:lnTo>
                  <a:lnTo>
                    <a:pt x="30" y="114"/>
                  </a:lnTo>
                  <a:lnTo>
                    <a:pt x="2" y="114"/>
                  </a:lnTo>
                  <a:lnTo>
                    <a:pt x="0" y="75"/>
                  </a:lnTo>
                  <a:lnTo>
                    <a:pt x="138" y="17"/>
                  </a:lnTo>
                  <a:lnTo>
                    <a:pt x="178" y="113"/>
                  </a:lnTo>
                  <a:lnTo>
                    <a:pt x="436" y="54"/>
                  </a:lnTo>
                  <a:lnTo>
                    <a:pt x="538"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78" name="Freeform 79"/>
            <p:cNvSpPr>
              <a:spLocks noChangeAspect="1"/>
            </p:cNvSpPr>
            <p:nvPr/>
          </p:nvSpPr>
          <p:spPr bwMode="gray">
            <a:xfrm>
              <a:off x="2431073" y="1665169"/>
              <a:ext cx="500513" cy="345906"/>
            </a:xfrm>
            <a:custGeom>
              <a:avLst/>
              <a:gdLst>
                <a:gd name="T0" fmla="*/ 57 w 579"/>
                <a:gd name="T1" fmla="*/ 0 h 370"/>
                <a:gd name="T2" fmla="*/ 57 w 579"/>
                <a:gd name="T3" fmla="*/ 39 h 370"/>
                <a:gd name="T4" fmla="*/ 122 w 579"/>
                <a:gd name="T5" fmla="*/ 108 h 370"/>
                <a:gd name="T6" fmla="*/ 37 w 579"/>
                <a:gd name="T7" fmla="*/ 79 h 370"/>
                <a:gd name="T8" fmla="*/ 0 w 579"/>
                <a:gd name="T9" fmla="*/ 156 h 370"/>
                <a:gd name="T10" fmla="*/ 44 w 579"/>
                <a:gd name="T11" fmla="*/ 156 h 370"/>
                <a:gd name="T12" fmla="*/ 118 w 579"/>
                <a:gd name="T13" fmla="*/ 235 h 370"/>
                <a:gd name="T14" fmla="*/ 124 w 579"/>
                <a:gd name="T15" fmla="*/ 305 h 370"/>
                <a:gd name="T16" fmla="*/ 189 w 579"/>
                <a:gd name="T17" fmla="*/ 336 h 370"/>
                <a:gd name="T18" fmla="*/ 311 w 579"/>
                <a:gd name="T19" fmla="*/ 336 h 370"/>
                <a:gd name="T20" fmla="*/ 402 w 579"/>
                <a:gd name="T21" fmla="*/ 370 h 370"/>
                <a:gd name="T22" fmla="*/ 484 w 579"/>
                <a:gd name="T23" fmla="*/ 325 h 370"/>
                <a:gd name="T24" fmla="*/ 565 w 579"/>
                <a:gd name="T25" fmla="*/ 332 h 370"/>
                <a:gd name="T26" fmla="*/ 550 w 579"/>
                <a:gd name="T27" fmla="*/ 245 h 370"/>
                <a:gd name="T28" fmla="*/ 579 w 579"/>
                <a:gd name="T29" fmla="*/ 144 h 370"/>
                <a:gd name="T30" fmla="*/ 446 w 579"/>
                <a:gd name="T31" fmla="*/ 144 h 370"/>
                <a:gd name="T32" fmla="*/ 446 w 579"/>
                <a:gd name="T33" fmla="*/ 114 h 370"/>
                <a:gd name="T34" fmla="*/ 357 w 579"/>
                <a:gd name="T35" fmla="*/ 114 h 370"/>
                <a:gd name="T36" fmla="*/ 357 w 579"/>
                <a:gd name="T37" fmla="*/ 70 h 370"/>
                <a:gd name="T38" fmla="*/ 246 w 579"/>
                <a:gd name="T39" fmla="*/ 70 h 370"/>
                <a:gd name="T40" fmla="*/ 189 w 579"/>
                <a:gd name="T41" fmla="*/ 7 h 370"/>
                <a:gd name="T42" fmla="*/ 57 w 579"/>
                <a:gd name="T43" fmla="*/ 0 h 370"/>
                <a:gd name="T44" fmla="*/ 57 w 579"/>
                <a:gd name="T45" fmla="*/ 0 h 37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79"/>
                <a:gd name="T70" fmla="*/ 0 h 370"/>
                <a:gd name="T71" fmla="*/ 579 w 579"/>
                <a:gd name="T72" fmla="*/ 370 h 37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79" h="370">
                  <a:moveTo>
                    <a:pt x="57" y="0"/>
                  </a:moveTo>
                  <a:lnTo>
                    <a:pt x="57" y="39"/>
                  </a:lnTo>
                  <a:lnTo>
                    <a:pt x="122" y="108"/>
                  </a:lnTo>
                  <a:lnTo>
                    <a:pt x="37" y="79"/>
                  </a:lnTo>
                  <a:lnTo>
                    <a:pt x="0" y="156"/>
                  </a:lnTo>
                  <a:lnTo>
                    <a:pt x="44" y="156"/>
                  </a:lnTo>
                  <a:lnTo>
                    <a:pt x="118" y="235"/>
                  </a:lnTo>
                  <a:lnTo>
                    <a:pt x="124" y="305"/>
                  </a:lnTo>
                  <a:lnTo>
                    <a:pt x="189" y="336"/>
                  </a:lnTo>
                  <a:lnTo>
                    <a:pt x="311" y="336"/>
                  </a:lnTo>
                  <a:lnTo>
                    <a:pt x="402" y="370"/>
                  </a:lnTo>
                  <a:lnTo>
                    <a:pt x="484" y="325"/>
                  </a:lnTo>
                  <a:lnTo>
                    <a:pt x="565" y="332"/>
                  </a:lnTo>
                  <a:lnTo>
                    <a:pt x="550" y="245"/>
                  </a:lnTo>
                  <a:lnTo>
                    <a:pt x="579" y="144"/>
                  </a:lnTo>
                  <a:lnTo>
                    <a:pt x="446" y="144"/>
                  </a:lnTo>
                  <a:lnTo>
                    <a:pt x="446" y="114"/>
                  </a:lnTo>
                  <a:lnTo>
                    <a:pt x="357" y="114"/>
                  </a:lnTo>
                  <a:lnTo>
                    <a:pt x="357" y="70"/>
                  </a:lnTo>
                  <a:lnTo>
                    <a:pt x="246" y="70"/>
                  </a:lnTo>
                  <a:lnTo>
                    <a:pt x="189" y="7"/>
                  </a:lnTo>
                  <a:lnTo>
                    <a:pt x="57"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79" name="Freeform 80"/>
            <p:cNvSpPr>
              <a:spLocks noChangeAspect="1"/>
            </p:cNvSpPr>
            <p:nvPr/>
          </p:nvSpPr>
          <p:spPr bwMode="gray">
            <a:xfrm>
              <a:off x="2888438" y="1779224"/>
              <a:ext cx="333100" cy="574017"/>
            </a:xfrm>
            <a:custGeom>
              <a:avLst/>
              <a:gdLst>
                <a:gd name="T0" fmla="*/ 49 w 386"/>
                <a:gd name="T1" fmla="*/ 23 h 614"/>
                <a:gd name="T2" fmla="*/ 20 w 386"/>
                <a:gd name="T3" fmla="*/ 128 h 614"/>
                <a:gd name="T4" fmla="*/ 35 w 386"/>
                <a:gd name="T5" fmla="*/ 211 h 614"/>
                <a:gd name="T6" fmla="*/ 45 w 386"/>
                <a:gd name="T7" fmla="*/ 316 h 614"/>
                <a:gd name="T8" fmla="*/ 0 w 386"/>
                <a:gd name="T9" fmla="*/ 388 h 614"/>
                <a:gd name="T10" fmla="*/ 12 w 386"/>
                <a:gd name="T11" fmla="*/ 426 h 614"/>
                <a:gd name="T12" fmla="*/ 5 w 386"/>
                <a:gd name="T13" fmla="*/ 453 h 614"/>
                <a:gd name="T14" fmla="*/ 73 w 386"/>
                <a:gd name="T15" fmla="*/ 561 h 614"/>
                <a:gd name="T16" fmla="*/ 163 w 386"/>
                <a:gd name="T17" fmla="*/ 614 h 614"/>
                <a:gd name="T18" fmla="*/ 231 w 386"/>
                <a:gd name="T19" fmla="*/ 532 h 614"/>
                <a:gd name="T20" fmla="*/ 185 w 386"/>
                <a:gd name="T21" fmla="*/ 506 h 614"/>
                <a:gd name="T22" fmla="*/ 252 w 386"/>
                <a:gd name="T23" fmla="*/ 468 h 614"/>
                <a:gd name="T24" fmla="*/ 214 w 386"/>
                <a:gd name="T25" fmla="*/ 396 h 614"/>
                <a:gd name="T26" fmla="*/ 290 w 386"/>
                <a:gd name="T27" fmla="*/ 348 h 614"/>
                <a:gd name="T28" fmla="*/ 337 w 386"/>
                <a:gd name="T29" fmla="*/ 335 h 614"/>
                <a:gd name="T30" fmla="*/ 337 w 386"/>
                <a:gd name="T31" fmla="*/ 228 h 614"/>
                <a:gd name="T32" fmla="*/ 386 w 386"/>
                <a:gd name="T33" fmla="*/ 154 h 614"/>
                <a:gd name="T34" fmla="*/ 386 w 386"/>
                <a:gd name="T35" fmla="*/ 40 h 614"/>
                <a:gd name="T36" fmla="*/ 225 w 386"/>
                <a:gd name="T37" fmla="*/ 0 h 614"/>
                <a:gd name="T38" fmla="*/ 190 w 386"/>
                <a:gd name="T39" fmla="*/ 25 h 614"/>
                <a:gd name="T40" fmla="*/ 49 w 386"/>
                <a:gd name="T41" fmla="*/ 23 h 614"/>
                <a:gd name="T42" fmla="*/ 49 w 386"/>
                <a:gd name="T43" fmla="*/ 23 h 61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86"/>
                <a:gd name="T67" fmla="*/ 0 h 614"/>
                <a:gd name="T68" fmla="*/ 386 w 386"/>
                <a:gd name="T69" fmla="*/ 614 h 61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86" h="614">
                  <a:moveTo>
                    <a:pt x="49" y="23"/>
                  </a:moveTo>
                  <a:lnTo>
                    <a:pt x="20" y="128"/>
                  </a:lnTo>
                  <a:lnTo>
                    <a:pt x="35" y="211"/>
                  </a:lnTo>
                  <a:lnTo>
                    <a:pt x="45" y="316"/>
                  </a:lnTo>
                  <a:lnTo>
                    <a:pt x="0" y="388"/>
                  </a:lnTo>
                  <a:lnTo>
                    <a:pt x="12" y="426"/>
                  </a:lnTo>
                  <a:lnTo>
                    <a:pt x="5" y="453"/>
                  </a:lnTo>
                  <a:lnTo>
                    <a:pt x="73" y="561"/>
                  </a:lnTo>
                  <a:lnTo>
                    <a:pt x="163" y="614"/>
                  </a:lnTo>
                  <a:lnTo>
                    <a:pt x="231" y="532"/>
                  </a:lnTo>
                  <a:lnTo>
                    <a:pt x="185" y="506"/>
                  </a:lnTo>
                  <a:lnTo>
                    <a:pt x="252" y="468"/>
                  </a:lnTo>
                  <a:lnTo>
                    <a:pt x="214" y="396"/>
                  </a:lnTo>
                  <a:lnTo>
                    <a:pt x="290" y="348"/>
                  </a:lnTo>
                  <a:lnTo>
                    <a:pt x="337" y="335"/>
                  </a:lnTo>
                  <a:lnTo>
                    <a:pt x="337" y="228"/>
                  </a:lnTo>
                  <a:lnTo>
                    <a:pt x="386" y="154"/>
                  </a:lnTo>
                  <a:lnTo>
                    <a:pt x="386" y="40"/>
                  </a:lnTo>
                  <a:lnTo>
                    <a:pt x="225" y="0"/>
                  </a:lnTo>
                  <a:lnTo>
                    <a:pt x="190" y="25"/>
                  </a:lnTo>
                  <a:lnTo>
                    <a:pt x="49" y="23"/>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80" name="Freeform 81"/>
            <p:cNvSpPr>
              <a:spLocks noChangeAspect="1"/>
            </p:cNvSpPr>
            <p:nvPr/>
          </p:nvSpPr>
          <p:spPr bwMode="gray">
            <a:xfrm>
              <a:off x="2084166" y="1811010"/>
              <a:ext cx="472898" cy="370213"/>
            </a:xfrm>
            <a:custGeom>
              <a:avLst/>
              <a:gdLst>
                <a:gd name="T0" fmla="*/ 403 w 547"/>
                <a:gd name="T1" fmla="*/ 0 h 395"/>
                <a:gd name="T2" fmla="*/ 26 w 547"/>
                <a:gd name="T3" fmla="*/ 152 h 395"/>
                <a:gd name="T4" fmla="*/ 0 w 547"/>
                <a:gd name="T5" fmla="*/ 245 h 395"/>
                <a:gd name="T6" fmla="*/ 108 w 547"/>
                <a:gd name="T7" fmla="*/ 300 h 395"/>
                <a:gd name="T8" fmla="*/ 221 w 547"/>
                <a:gd name="T9" fmla="*/ 306 h 395"/>
                <a:gd name="T10" fmla="*/ 264 w 547"/>
                <a:gd name="T11" fmla="*/ 332 h 395"/>
                <a:gd name="T12" fmla="*/ 248 w 547"/>
                <a:gd name="T13" fmla="*/ 367 h 395"/>
                <a:gd name="T14" fmla="*/ 281 w 547"/>
                <a:gd name="T15" fmla="*/ 395 h 395"/>
                <a:gd name="T16" fmla="*/ 406 w 547"/>
                <a:gd name="T17" fmla="*/ 296 h 395"/>
                <a:gd name="T18" fmla="*/ 521 w 547"/>
                <a:gd name="T19" fmla="*/ 321 h 395"/>
                <a:gd name="T20" fmla="*/ 547 w 547"/>
                <a:gd name="T21" fmla="*/ 281 h 395"/>
                <a:gd name="T22" fmla="*/ 509 w 547"/>
                <a:gd name="T23" fmla="*/ 214 h 395"/>
                <a:gd name="T24" fmla="*/ 525 w 547"/>
                <a:gd name="T25" fmla="*/ 149 h 395"/>
                <a:gd name="T26" fmla="*/ 519 w 547"/>
                <a:gd name="T27" fmla="*/ 79 h 395"/>
                <a:gd name="T28" fmla="*/ 447 w 547"/>
                <a:gd name="T29" fmla="*/ 0 h 395"/>
                <a:gd name="T30" fmla="*/ 403 w 547"/>
                <a:gd name="T31" fmla="*/ 0 h 395"/>
                <a:gd name="T32" fmla="*/ 403 w 547"/>
                <a:gd name="T33" fmla="*/ 0 h 39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47"/>
                <a:gd name="T52" fmla="*/ 0 h 395"/>
                <a:gd name="T53" fmla="*/ 547 w 547"/>
                <a:gd name="T54" fmla="*/ 395 h 39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47" h="395">
                  <a:moveTo>
                    <a:pt x="403" y="0"/>
                  </a:moveTo>
                  <a:lnTo>
                    <a:pt x="26" y="152"/>
                  </a:lnTo>
                  <a:lnTo>
                    <a:pt x="0" y="245"/>
                  </a:lnTo>
                  <a:lnTo>
                    <a:pt x="108" y="300"/>
                  </a:lnTo>
                  <a:lnTo>
                    <a:pt x="221" y="306"/>
                  </a:lnTo>
                  <a:lnTo>
                    <a:pt x="264" y="332"/>
                  </a:lnTo>
                  <a:lnTo>
                    <a:pt x="248" y="367"/>
                  </a:lnTo>
                  <a:lnTo>
                    <a:pt x="281" y="395"/>
                  </a:lnTo>
                  <a:lnTo>
                    <a:pt x="406" y="296"/>
                  </a:lnTo>
                  <a:lnTo>
                    <a:pt x="521" y="321"/>
                  </a:lnTo>
                  <a:lnTo>
                    <a:pt x="547" y="281"/>
                  </a:lnTo>
                  <a:lnTo>
                    <a:pt x="509" y="214"/>
                  </a:lnTo>
                  <a:lnTo>
                    <a:pt x="525" y="149"/>
                  </a:lnTo>
                  <a:lnTo>
                    <a:pt x="519" y="79"/>
                  </a:lnTo>
                  <a:lnTo>
                    <a:pt x="447" y="0"/>
                  </a:lnTo>
                  <a:lnTo>
                    <a:pt x="403"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81" name="Freeform 82"/>
            <p:cNvSpPr>
              <a:spLocks noChangeAspect="1"/>
            </p:cNvSpPr>
            <p:nvPr/>
          </p:nvSpPr>
          <p:spPr bwMode="gray">
            <a:xfrm>
              <a:off x="3007526" y="2087735"/>
              <a:ext cx="460817" cy="411348"/>
            </a:xfrm>
            <a:custGeom>
              <a:avLst/>
              <a:gdLst>
                <a:gd name="T0" fmla="*/ 199 w 534"/>
                <a:gd name="T1" fmla="*/ 0 h 440"/>
                <a:gd name="T2" fmla="*/ 158 w 534"/>
                <a:gd name="T3" fmla="*/ 16 h 440"/>
                <a:gd name="T4" fmla="*/ 76 w 534"/>
                <a:gd name="T5" fmla="*/ 65 h 440"/>
                <a:gd name="T6" fmla="*/ 114 w 534"/>
                <a:gd name="T7" fmla="*/ 137 h 440"/>
                <a:gd name="T8" fmla="*/ 46 w 534"/>
                <a:gd name="T9" fmla="*/ 175 h 440"/>
                <a:gd name="T10" fmla="*/ 95 w 534"/>
                <a:gd name="T11" fmla="*/ 201 h 440"/>
                <a:gd name="T12" fmla="*/ 25 w 534"/>
                <a:gd name="T13" fmla="*/ 283 h 440"/>
                <a:gd name="T14" fmla="*/ 32 w 534"/>
                <a:gd name="T15" fmla="*/ 300 h 440"/>
                <a:gd name="T16" fmla="*/ 0 w 534"/>
                <a:gd name="T17" fmla="*/ 321 h 440"/>
                <a:gd name="T18" fmla="*/ 38 w 534"/>
                <a:gd name="T19" fmla="*/ 409 h 440"/>
                <a:gd name="T20" fmla="*/ 97 w 534"/>
                <a:gd name="T21" fmla="*/ 440 h 440"/>
                <a:gd name="T22" fmla="*/ 155 w 534"/>
                <a:gd name="T23" fmla="*/ 440 h 440"/>
                <a:gd name="T24" fmla="*/ 213 w 534"/>
                <a:gd name="T25" fmla="*/ 358 h 440"/>
                <a:gd name="T26" fmla="*/ 303 w 534"/>
                <a:gd name="T27" fmla="*/ 358 h 440"/>
                <a:gd name="T28" fmla="*/ 330 w 534"/>
                <a:gd name="T29" fmla="*/ 414 h 440"/>
                <a:gd name="T30" fmla="*/ 418 w 534"/>
                <a:gd name="T31" fmla="*/ 432 h 440"/>
                <a:gd name="T32" fmla="*/ 468 w 534"/>
                <a:gd name="T33" fmla="*/ 420 h 440"/>
                <a:gd name="T34" fmla="*/ 464 w 534"/>
                <a:gd name="T35" fmla="*/ 365 h 440"/>
                <a:gd name="T36" fmla="*/ 534 w 534"/>
                <a:gd name="T37" fmla="*/ 346 h 440"/>
                <a:gd name="T38" fmla="*/ 491 w 534"/>
                <a:gd name="T39" fmla="*/ 274 h 440"/>
                <a:gd name="T40" fmla="*/ 525 w 534"/>
                <a:gd name="T41" fmla="*/ 175 h 440"/>
                <a:gd name="T42" fmla="*/ 511 w 534"/>
                <a:gd name="T43" fmla="*/ 175 h 440"/>
                <a:gd name="T44" fmla="*/ 511 w 534"/>
                <a:gd name="T45" fmla="*/ 74 h 440"/>
                <a:gd name="T46" fmla="*/ 395 w 534"/>
                <a:gd name="T47" fmla="*/ 74 h 440"/>
                <a:gd name="T48" fmla="*/ 199 w 534"/>
                <a:gd name="T49" fmla="*/ 0 h 440"/>
                <a:gd name="T50" fmla="*/ 199 w 534"/>
                <a:gd name="T51" fmla="*/ 0 h 44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34"/>
                <a:gd name="T79" fmla="*/ 0 h 440"/>
                <a:gd name="T80" fmla="*/ 534 w 534"/>
                <a:gd name="T81" fmla="*/ 440 h 44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34" h="440">
                  <a:moveTo>
                    <a:pt x="199" y="0"/>
                  </a:moveTo>
                  <a:lnTo>
                    <a:pt x="158" y="16"/>
                  </a:lnTo>
                  <a:lnTo>
                    <a:pt x="76" y="65"/>
                  </a:lnTo>
                  <a:lnTo>
                    <a:pt x="114" y="137"/>
                  </a:lnTo>
                  <a:lnTo>
                    <a:pt x="46" y="175"/>
                  </a:lnTo>
                  <a:lnTo>
                    <a:pt x="95" y="201"/>
                  </a:lnTo>
                  <a:lnTo>
                    <a:pt x="25" y="283"/>
                  </a:lnTo>
                  <a:lnTo>
                    <a:pt x="32" y="300"/>
                  </a:lnTo>
                  <a:lnTo>
                    <a:pt x="0" y="321"/>
                  </a:lnTo>
                  <a:lnTo>
                    <a:pt x="38" y="409"/>
                  </a:lnTo>
                  <a:lnTo>
                    <a:pt x="97" y="440"/>
                  </a:lnTo>
                  <a:lnTo>
                    <a:pt x="155" y="440"/>
                  </a:lnTo>
                  <a:lnTo>
                    <a:pt x="213" y="358"/>
                  </a:lnTo>
                  <a:lnTo>
                    <a:pt x="303" y="358"/>
                  </a:lnTo>
                  <a:lnTo>
                    <a:pt x="330" y="414"/>
                  </a:lnTo>
                  <a:lnTo>
                    <a:pt x="418" y="432"/>
                  </a:lnTo>
                  <a:lnTo>
                    <a:pt x="468" y="420"/>
                  </a:lnTo>
                  <a:lnTo>
                    <a:pt x="464" y="365"/>
                  </a:lnTo>
                  <a:lnTo>
                    <a:pt x="534" y="346"/>
                  </a:lnTo>
                  <a:lnTo>
                    <a:pt x="491" y="274"/>
                  </a:lnTo>
                  <a:lnTo>
                    <a:pt x="525" y="175"/>
                  </a:lnTo>
                  <a:lnTo>
                    <a:pt x="511" y="175"/>
                  </a:lnTo>
                  <a:lnTo>
                    <a:pt x="511" y="74"/>
                  </a:lnTo>
                  <a:lnTo>
                    <a:pt x="395" y="74"/>
                  </a:lnTo>
                  <a:lnTo>
                    <a:pt x="199"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82" name="Freeform 83"/>
            <p:cNvSpPr>
              <a:spLocks noChangeAspect="1"/>
            </p:cNvSpPr>
            <p:nvPr/>
          </p:nvSpPr>
          <p:spPr bwMode="gray">
            <a:xfrm>
              <a:off x="3430373" y="2005465"/>
              <a:ext cx="260612" cy="523533"/>
            </a:xfrm>
            <a:custGeom>
              <a:avLst/>
              <a:gdLst>
                <a:gd name="T0" fmla="*/ 56 w 301"/>
                <a:gd name="T1" fmla="*/ 0 h 561"/>
                <a:gd name="T2" fmla="*/ 18 w 301"/>
                <a:gd name="T3" fmla="*/ 165 h 561"/>
                <a:gd name="T4" fmla="*/ 18 w 301"/>
                <a:gd name="T5" fmla="*/ 266 h 561"/>
                <a:gd name="T6" fmla="*/ 32 w 301"/>
                <a:gd name="T7" fmla="*/ 266 h 561"/>
                <a:gd name="T8" fmla="*/ 0 w 301"/>
                <a:gd name="T9" fmla="*/ 363 h 561"/>
                <a:gd name="T10" fmla="*/ 41 w 301"/>
                <a:gd name="T11" fmla="*/ 435 h 561"/>
                <a:gd name="T12" fmla="*/ 41 w 301"/>
                <a:gd name="T13" fmla="*/ 468 h 561"/>
                <a:gd name="T14" fmla="*/ 149 w 301"/>
                <a:gd name="T15" fmla="*/ 511 h 561"/>
                <a:gd name="T16" fmla="*/ 186 w 301"/>
                <a:gd name="T17" fmla="*/ 561 h 561"/>
                <a:gd name="T18" fmla="*/ 281 w 301"/>
                <a:gd name="T19" fmla="*/ 521 h 561"/>
                <a:gd name="T20" fmla="*/ 277 w 301"/>
                <a:gd name="T21" fmla="*/ 371 h 561"/>
                <a:gd name="T22" fmla="*/ 301 w 301"/>
                <a:gd name="T23" fmla="*/ 252 h 561"/>
                <a:gd name="T24" fmla="*/ 266 w 301"/>
                <a:gd name="T25" fmla="*/ 222 h 561"/>
                <a:gd name="T26" fmla="*/ 245 w 301"/>
                <a:gd name="T27" fmla="*/ 165 h 561"/>
                <a:gd name="T28" fmla="*/ 266 w 301"/>
                <a:gd name="T29" fmla="*/ 127 h 561"/>
                <a:gd name="T30" fmla="*/ 222 w 301"/>
                <a:gd name="T31" fmla="*/ 68 h 561"/>
                <a:gd name="T32" fmla="*/ 108 w 301"/>
                <a:gd name="T33" fmla="*/ 11 h 561"/>
                <a:gd name="T34" fmla="*/ 56 w 301"/>
                <a:gd name="T35" fmla="*/ 0 h 561"/>
                <a:gd name="T36" fmla="*/ 56 w 301"/>
                <a:gd name="T37" fmla="*/ 0 h 56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1"/>
                <a:gd name="T58" fmla="*/ 0 h 561"/>
                <a:gd name="T59" fmla="*/ 301 w 301"/>
                <a:gd name="T60" fmla="*/ 561 h 56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1" h="561">
                  <a:moveTo>
                    <a:pt x="56" y="0"/>
                  </a:moveTo>
                  <a:lnTo>
                    <a:pt x="18" y="165"/>
                  </a:lnTo>
                  <a:lnTo>
                    <a:pt x="18" y="266"/>
                  </a:lnTo>
                  <a:lnTo>
                    <a:pt x="32" y="266"/>
                  </a:lnTo>
                  <a:lnTo>
                    <a:pt x="0" y="363"/>
                  </a:lnTo>
                  <a:lnTo>
                    <a:pt x="41" y="435"/>
                  </a:lnTo>
                  <a:lnTo>
                    <a:pt x="41" y="468"/>
                  </a:lnTo>
                  <a:lnTo>
                    <a:pt x="149" y="511"/>
                  </a:lnTo>
                  <a:lnTo>
                    <a:pt x="186" y="561"/>
                  </a:lnTo>
                  <a:lnTo>
                    <a:pt x="281" y="521"/>
                  </a:lnTo>
                  <a:lnTo>
                    <a:pt x="277" y="371"/>
                  </a:lnTo>
                  <a:lnTo>
                    <a:pt x="301" y="252"/>
                  </a:lnTo>
                  <a:lnTo>
                    <a:pt x="266" y="222"/>
                  </a:lnTo>
                  <a:lnTo>
                    <a:pt x="245" y="165"/>
                  </a:lnTo>
                  <a:lnTo>
                    <a:pt x="266" y="127"/>
                  </a:lnTo>
                  <a:lnTo>
                    <a:pt x="222" y="68"/>
                  </a:lnTo>
                  <a:lnTo>
                    <a:pt x="108" y="11"/>
                  </a:lnTo>
                  <a:lnTo>
                    <a:pt x="56"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83" name="Freeform 84"/>
            <p:cNvSpPr>
              <a:spLocks noChangeAspect="1"/>
            </p:cNvSpPr>
            <p:nvPr/>
          </p:nvSpPr>
          <p:spPr bwMode="gray">
            <a:xfrm>
              <a:off x="2524272" y="1951242"/>
              <a:ext cx="402136" cy="310381"/>
            </a:xfrm>
            <a:custGeom>
              <a:avLst/>
              <a:gdLst>
                <a:gd name="T0" fmla="*/ 16 w 467"/>
                <a:gd name="T1" fmla="*/ 0 h 332"/>
                <a:gd name="T2" fmla="*/ 0 w 467"/>
                <a:gd name="T3" fmla="*/ 65 h 332"/>
                <a:gd name="T4" fmla="*/ 38 w 467"/>
                <a:gd name="T5" fmla="*/ 132 h 332"/>
                <a:gd name="T6" fmla="*/ 12 w 467"/>
                <a:gd name="T7" fmla="*/ 172 h 332"/>
                <a:gd name="T8" fmla="*/ 35 w 467"/>
                <a:gd name="T9" fmla="*/ 212 h 332"/>
                <a:gd name="T10" fmla="*/ 21 w 467"/>
                <a:gd name="T11" fmla="*/ 257 h 332"/>
                <a:gd name="T12" fmla="*/ 44 w 467"/>
                <a:gd name="T13" fmla="*/ 278 h 332"/>
                <a:gd name="T14" fmla="*/ 173 w 467"/>
                <a:gd name="T15" fmla="*/ 269 h 332"/>
                <a:gd name="T16" fmla="*/ 290 w 467"/>
                <a:gd name="T17" fmla="*/ 326 h 332"/>
                <a:gd name="T18" fmla="*/ 351 w 467"/>
                <a:gd name="T19" fmla="*/ 332 h 332"/>
                <a:gd name="T20" fmla="*/ 449 w 467"/>
                <a:gd name="T21" fmla="*/ 307 h 332"/>
                <a:gd name="T22" fmla="*/ 427 w 467"/>
                <a:gd name="T23" fmla="*/ 269 h 332"/>
                <a:gd name="T24" fmla="*/ 437 w 467"/>
                <a:gd name="T25" fmla="*/ 242 h 332"/>
                <a:gd name="T26" fmla="*/ 422 w 467"/>
                <a:gd name="T27" fmla="*/ 204 h 332"/>
                <a:gd name="T28" fmla="*/ 467 w 467"/>
                <a:gd name="T29" fmla="*/ 130 h 332"/>
                <a:gd name="T30" fmla="*/ 457 w 467"/>
                <a:gd name="T31" fmla="*/ 27 h 332"/>
                <a:gd name="T32" fmla="*/ 376 w 467"/>
                <a:gd name="T33" fmla="*/ 20 h 332"/>
                <a:gd name="T34" fmla="*/ 294 w 467"/>
                <a:gd name="T35" fmla="*/ 65 h 332"/>
                <a:gd name="T36" fmla="*/ 203 w 467"/>
                <a:gd name="T37" fmla="*/ 31 h 332"/>
                <a:gd name="T38" fmla="*/ 81 w 467"/>
                <a:gd name="T39" fmla="*/ 31 h 332"/>
                <a:gd name="T40" fmla="*/ 16 w 467"/>
                <a:gd name="T41" fmla="*/ 0 h 332"/>
                <a:gd name="T42" fmla="*/ 16 w 467"/>
                <a:gd name="T43" fmla="*/ 0 h 33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67"/>
                <a:gd name="T67" fmla="*/ 0 h 332"/>
                <a:gd name="T68" fmla="*/ 467 w 467"/>
                <a:gd name="T69" fmla="*/ 332 h 33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67" h="332">
                  <a:moveTo>
                    <a:pt x="16" y="0"/>
                  </a:moveTo>
                  <a:lnTo>
                    <a:pt x="0" y="65"/>
                  </a:lnTo>
                  <a:lnTo>
                    <a:pt x="38" y="132"/>
                  </a:lnTo>
                  <a:lnTo>
                    <a:pt x="12" y="172"/>
                  </a:lnTo>
                  <a:lnTo>
                    <a:pt x="35" y="212"/>
                  </a:lnTo>
                  <a:lnTo>
                    <a:pt x="21" y="257"/>
                  </a:lnTo>
                  <a:lnTo>
                    <a:pt x="44" y="278"/>
                  </a:lnTo>
                  <a:lnTo>
                    <a:pt x="173" y="269"/>
                  </a:lnTo>
                  <a:lnTo>
                    <a:pt x="290" y="326"/>
                  </a:lnTo>
                  <a:lnTo>
                    <a:pt x="351" y="332"/>
                  </a:lnTo>
                  <a:lnTo>
                    <a:pt x="449" y="307"/>
                  </a:lnTo>
                  <a:lnTo>
                    <a:pt x="427" y="269"/>
                  </a:lnTo>
                  <a:lnTo>
                    <a:pt x="437" y="242"/>
                  </a:lnTo>
                  <a:lnTo>
                    <a:pt x="422" y="204"/>
                  </a:lnTo>
                  <a:lnTo>
                    <a:pt x="467" y="130"/>
                  </a:lnTo>
                  <a:lnTo>
                    <a:pt x="457" y="27"/>
                  </a:lnTo>
                  <a:lnTo>
                    <a:pt x="376" y="20"/>
                  </a:lnTo>
                  <a:lnTo>
                    <a:pt x="294" y="65"/>
                  </a:lnTo>
                  <a:lnTo>
                    <a:pt x="203" y="31"/>
                  </a:lnTo>
                  <a:lnTo>
                    <a:pt x="81" y="31"/>
                  </a:lnTo>
                  <a:lnTo>
                    <a:pt x="16"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84" name="Freeform 85"/>
            <p:cNvSpPr>
              <a:spLocks noChangeAspect="1"/>
            </p:cNvSpPr>
            <p:nvPr/>
          </p:nvSpPr>
          <p:spPr bwMode="gray">
            <a:xfrm>
              <a:off x="1726904" y="2100823"/>
              <a:ext cx="448736" cy="293553"/>
            </a:xfrm>
            <a:custGeom>
              <a:avLst/>
              <a:gdLst>
                <a:gd name="T0" fmla="*/ 65 w 520"/>
                <a:gd name="T1" fmla="*/ 0 h 314"/>
                <a:gd name="T2" fmla="*/ 0 w 520"/>
                <a:gd name="T3" fmla="*/ 41 h 314"/>
                <a:gd name="T4" fmla="*/ 58 w 520"/>
                <a:gd name="T5" fmla="*/ 105 h 314"/>
                <a:gd name="T6" fmla="*/ 88 w 520"/>
                <a:gd name="T7" fmla="*/ 90 h 314"/>
                <a:gd name="T8" fmla="*/ 99 w 520"/>
                <a:gd name="T9" fmla="*/ 187 h 314"/>
                <a:gd name="T10" fmla="*/ 5 w 520"/>
                <a:gd name="T11" fmla="*/ 281 h 314"/>
                <a:gd name="T12" fmla="*/ 27 w 520"/>
                <a:gd name="T13" fmla="*/ 302 h 314"/>
                <a:gd name="T14" fmla="*/ 114 w 520"/>
                <a:gd name="T15" fmla="*/ 314 h 314"/>
                <a:gd name="T16" fmla="*/ 158 w 520"/>
                <a:gd name="T17" fmla="*/ 286 h 314"/>
                <a:gd name="T18" fmla="*/ 160 w 520"/>
                <a:gd name="T19" fmla="*/ 263 h 314"/>
                <a:gd name="T20" fmla="*/ 322 w 520"/>
                <a:gd name="T21" fmla="*/ 286 h 314"/>
                <a:gd name="T22" fmla="*/ 436 w 520"/>
                <a:gd name="T23" fmla="*/ 225 h 314"/>
                <a:gd name="T24" fmla="*/ 520 w 520"/>
                <a:gd name="T25" fmla="*/ 225 h 314"/>
                <a:gd name="T26" fmla="*/ 499 w 520"/>
                <a:gd name="T27" fmla="*/ 88 h 314"/>
                <a:gd name="T28" fmla="*/ 516 w 520"/>
                <a:gd name="T29" fmla="*/ 74 h 314"/>
                <a:gd name="T30" fmla="*/ 479 w 520"/>
                <a:gd name="T31" fmla="*/ 61 h 314"/>
                <a:gd name="T32" fmla="*/ 476 w 520"/>
                <a:gd name="T33" fmla="*/ 3 h 314"/>
                <a:gd name="T34" fmla="*/ 409 w 520"/>
                <a:gd name="T35" fmla="*/ 18 h 314"/>
                <a:gd name="T36" fmla="*/ 280 w 520"/>
                <a:gd name="T37" fmla="*/ 61 h 314"/>
                <a:gd name="T38" fmla="*/ 65 w 520"/>
                <a:gd name="T39" fmla="*/ 0 h 314"/>
                <a:gd name="T40" fmla="*/ 65 w 520"/>
                <a:gd name="T41" fmla="*/ 0 h 3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20"/>
                <a:gd name="T64" fmla="*/ 0 h 314"/>
                <a:gd name="T65" fmla="*/ 520 w 520"/>
                <a:gd name="T66" fmla="*/ 314 h 31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20" h="314">
                  <a:moveTo>
                    <a:pt x="65" y="0"/>
                  </a:moveTo>
                  <a:lnTo>
                    <a:pt x="0" y="41"/>
                  </a:lnTo>
                  <a:lnTo>
                    <a:pt x="58" y="105"/>
                  </a:lnTo>
                  <a:lnTo>
                    <a:pt x="88" y="90"/>
                  </a:lnTo>
                  <a:lnTo>
                    <a:pt x="99" y="187"/>
                  </a:lnTo>
                  <a:lnTo>
                    <a:pt x="5" y="281"/>
                  </a:lnTo>
                  <a:lnTo>
                    <a:pt x="27" y="302"/>
                  </a:lnTo>
                  <a:lnTo>
                    <a:pt x="114" y="314"/>
                  </a:lnTo>
                  <a:lnTo>
                    <a:pt x="158" y="286"/>
                  </a:lnTo>
                  <a:lnTo>
                    <a:pt x="160" y="263"/>
                  </a:lnTo>
                  <a:lnTo>
                    <a:pt x="322" y="286"/>
                  </a:lnTo>
                  <a:lnTo>
                    <a:pt x="436" y="225"/>
                  </a:lnTo>
                  <a:lnTo>
                    <a:pt x="520" y="225"/>
                  </a:lnTo>
                  <a:lnTo>
                    <a:pt x="499" y="88"/>
                  </a:lnTo>
                  <a:lnTo>
                    <a:pt x="516" y="74"/>
                  </a:lnTo>
                  <a:lnTo>
                    <a:pt x="479" y="61"/>
                  </a:lnTo>
                  <a:lnTo>
                    <a:pt x="476" y="3"/>
                  </a:lnTo>
                  <a:lnTo>
                    <a:pt x="409" y="18"/>
                  </a:lnTo>
                  <a:lnTo>
                    <a:pt x="280" y="61"/>
                  </a:lnTo>
                  <a:lnTo>
                    <a:pt x="65"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85" name="Freeform 86"/>
            <p:cNvSpPr>
              <a:spLocks noChangeAspect="1"/>
            </p:cNvSpPr>
            <p:nvPr/>
          </p:nvSpPr>
          <p:spPr bwMode="gray">
            <a:xfrm>
              <a:off x="2137669" y="2087735"/>
              <a:ext cx="415943" cy="360864"/>
            </a:xfrm>
            <a:custGeom>
              <a:avLst/>
              <a:gdLst>
                <a:gd name="T0" fmla="*/ 47 w 483"/>
                <a:gd name="T1" fmla="*/ 4 h 385"/>
                <a:gd name="T2" fmla="*/ 0 w 483"/>
                <a:gd name="T3" fmla="*/ 13 h 385"/>
                <a:gd name="T4" fmla="*/ 2 w 483"/>
                <a:gd name="T5" fmla="*/ 76 h 385"/>
                <a:gd name="T6" fmla="*/ 40 w 483"/>
                <a:gd name="T7" fmla="*/ 87 h 385"/>
                <a:gd name="T8" fmla="*/ 21 w 483"/>
                <a:gd name="T9" fmla="*/ 99 h 385"/>
                <a:gd name="T10" fmla="*/ 46 w 483"/>
                <a:gd name="T11" fmla="*/ 238 h 385"/>
                <a:gd name="T12" fmla="*/ 26 w 483"/>
                <a:gd name="T13" fmla="*/ 238 h 385"/>
                <a:gd name="T14" fmla="*/ 41 w 483"/>
                <a:gd name="T15" fmla="*/ 276 h 385"/>
                <a:gd name="T16" fmla="*/ 129 w 483"/>
                <a:gd name="T17" fmla="*/ 309 h 385"/>
                <a:gd name="T18" fmla="*/ 165 w 483"/>
                <a:gd name="T19" fmla="*/ 385 h 385"/>
                <a:gd name="T20" fmla="*/ 279 w 483"/>
                <a:gd name="T21" fmla="*/ 323 h 385"/>
                <a:gd name="T22" fmla="*/ 325 w 483"/>
                <a:gd name="T23" fmla="*/ 352 h 385"/>
                <a:gd name="T24" fmla="*/ 393 w 483"/>
                <a:gd name="T25" fmla="*/ 245 h 385"/>
                <a:gd name="T26" fmla="*/ 372 w 483"/>
                <a:gd name="T27" fmla="*/ 213 h 385"/>
                <a:gd name="T28" fmla="*/ 430 w 483"/>
                <a:gd name="T29" fmla="*/ 175 h 385"/>
                <a:gd name="T30" fmla="*/ 448 w 483"/>
                <a:gd name="T31" fmla="*/ 110 h 385"/>
                <a:gd name="T32" fmla="*/ 469 w 483"/>
                <a:gd name="T33" fmla="*/ 110 h 385"/>
                <a:gd name="T34" fmla="*/ 483 w 483"/>
                <a:gd name="T35" fmla="*/ 65 h 385"/>
                <a:gd name="T36" fmla="*/ 464 w 483"/>
                <a:gd name="T37" fmla="*/ 25 h 385"/>
                <a:gd name="T38" fmla="*/ 344 w 483"/>
                <a:gd name="T39" fmla="*/ 0 h 385"/>
                <a:gd name="T40" fmla="*/ 220 w 483"/>
                <a:gd name="T41" fmla="*/ 101 h 385"/>
                <a:gd name="T42" fmla="*/ 187 w 483"/>
                <a:gd name="T43" fmla="*/ 69 h 385"/>
                <a:gd name="T44" fmla="*/ 203 w 483"/>
                <a:gd name="T45" fmla="*/ 36 h 385"/>
                <a:gd name="T46" fmla="*/ 160 w 483"/>
                <a:gd name="T47" fmla="*/ 10 h 385"/>
                <a:gd name="T48" fmla="*/ 47 w 483"/>
                <a:gd name="T49" fmla="*/ 4 h 385"/>
                <a:gd name="T50" fmla="*/ 47 w 483"/>
                <a:gd name="T51" fmla="*/ 4 h 3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83"/>
                <a:gd name="T79" fmla="*/ 0 h 385"/>
                <a:gd name="T80" fmla="*/ 483 w 483"/>
                <a:gd name="T81" fmla="*/ 385 h 3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83" h="385">
                  <a:moveTo>
                    <a:pt x="47" y="4"/>
                  </a:moveTo>
                  <a:lnTo>
                    <a:pt x="0" y="13"/>
                  </a:lnTo>
                  <a:lnTo>
                    <a:pt x="2" y="76"/>
                  </a:lnTo>
                  <a:lnTo>
                    <a:pt x="40" y="87"/>
                  </a:lnTo>
                  <a:lnTo>
                    <a:pt x="21" y="99"/>
                  </a:lnTo>
                  <a:lnTo>
                    <a:pt x="46" y="238"/>
                  </a:lnTo>
                  <a:lnTo>
                    <a:pt x="26" y="238"/>
                  </a:lnTo>
                  <a:lnTo>
                    <a:pt x="41" y="276"/>
                  </a:lnTo>
                  <a:lnTo>
                    <a:pt x="129" y="309"/>
                  </a:lnTo>
                  <a:lnTo>
                    <a:pt x="165" y="385"/>
                  </a:lnTo>
                  <a:lnTo>
                    <a:pt x="279" y="323"/>
                  </a:lnTo>
                  <a:lnTo>
                    <a:pt x="325" y="352"/>
                  </a:lnTo>
                  <a:lnTo>
                    <a:pt x="393" y="245"/>
                  </a:lnTo>
                  <a:lnTo>
                    <a:pt x="372" y="213"/>
                  </a:lnTo>
                  <a:lnTo>
                    <a:pt x="430" y="175"/>
                  </a:lnTo>
                  <a:lnTo>
                    <a:pt x="448" y="110"/>
                  </a:lnTo>
                  <a:lnTo>
                    <a:pt x="469" y="110"/>
                  </a:lnTo>
                  <a:lnTo>
                    <a:pt x="483" y="65"/>
                  </a:lnTo>
                  <a:lnTo>
                    <a:pt x="464" y="25"/>
                  </a:lnTo>
                  <a:lnTo>
                    <a:pt x="344" y="0"/>
                  </a:lnTo>
                  <a:lnTo>
                    <a:pt x="220" y="101"/>
                  </a:lnTo>
                  <a:lnTo>
                    <a:pt x="187" y="69"/>
                  </a:lnTo>
                  <a:lnTo>
                    <a:pt x="203" y="36"/>
                  </a:lnTo>
                  <a:lnTo>
                    <a:pt x="160" y="10"/>
                  </a:lnTo>
                  <a:lnTo>
                    <a:pt x="47" y="4"/>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86" name="Freeform 87"/>
            <p:cNvSpPr>
              <a:spLocks noChangeAspect="1"/>
            </p:cNvSpPr>
            <p:nvPr/>
          </p:nvSpPr>
          <p:spPr bwMode="gray">
            <a:xfrm>
              <a:off x="1540506" y="1940024"/>
              <a:ext cx="300308" cy="574017"/>
            </a:xfrm>
            <a:custGeom>
              <a:avLst/>
              <a:gdLst>
                <a:gd name="T0" fmla="*/ 0 w 347"/>
                <a:gd name="T1" fmla="*/ 0 h 613"/>
                <a:gd name="T2" fmla="*/ 99 w 347"/>
                <a:gd name="T3" fmla="*/ 54 h 613"/>
                <a:gd name="T4" fmla="*/ 131 w 347"/>
                <a:gd name="T5" fmla="*/ 14 h 613"/>
                <a:gd name="T6" fmla="*/ 189 w 347"/>
                <a:gd name="T7" fmla="*/ 33 h 613"/>
                <a:gd name="T8" fmla="*/ 218 w 347"/>
                <a:gd name="T9" fmla="*/ 207 h 613"/>
                <a:gd name="T10" fmla="*/ 274 w 347"/>
                <a:gd name="T11" fmla="*/ 276 h 613"/>
                <a:gd name="T12" fmla="*/ 306 w 347"/>
                <a:gd name="T13" fmla="*/ 262 h 613"/>
                <a:gd name="T14" fmla="*/ 314 w 347"/>
                <a:gd name="T15" fmla="*/ 358 h 613"/>
                <a:gd name="T16" fmla="*/ 222 w 347"/>
                <a:gd name="T17" fmla="*/ 451 h 613"/>
                <a:gd name="T18" fmla="*/ 243 w 347"/>
                <a:gd name="T19" fmla="*/ 476 h 613"/>
                <a:gd name="T20" fmla="*/ 330 w 347"/>
                <a:gd name="T21" fmla="*/ 485 h 613"/>
                <a:gd name="T22" fmla="*/ 347 w 347"/>
                <a:gd name="T23" fmla="*/ 576 h 613"/>
                <a:gd name="T24" fmla="*/ 315 w 347"/>
                <a:gd name="T25" fmla="*/ 610 h 613"/>
                <a:gd name="T26" fmla="*/ 189 w 347"/>
                <a:gd name="T27" fmla="*/ 592 h 613"/>
                <a:gd name="T28" fmla="*/ 163 w 347"/>
                <a:gd name="T29" fmla="*/ 613 h 613"/>
                <a:gd name="T30" fmla="*/ 104 w 347"/>
                <a:gd name="T31" fmla="*/ 613 h 613"/>
                <a:gd name="T32" fmla="*/ 76 w 347"/>
                <a:gd name="T33" fmla="*/ 543 h 613"/>
                <a:gd name="T34" fmla="*/ 131 w 347"/>
                <a:gd name="T35" fmla="*/ 519 h 613"/>
                <a:gd name="T36" fmla="*/ 63 w 347"/>
                <a:gd name="T37" fmla="*/ 461 h 613"/>
                <a:gd name="T38" fmla="*/ 80 w 347"/>
                <a:gd name="T39" fmla="*/ 282 h 613"/>
                <a:gd name="T40" fmla="*/ 40 w 347"/>
                <a:gd name="T41" fmla="*/ 268 h 613"/>
                <a:gd name="T42" fmla="*/ 0 w 347"/>
                <a:gd name="T43" fmla="*/ 0 h 613"/>
                <a:gd name="T44" fmla="*/ 0 w 347"/>
                <a:gd name="T45" fmla="*/ 0 h 61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7"/>
                <a:gd name="T70" fmla="*/ 0 h 613"/>
                <a:gd name="T71" fmla="*/ 347 w 347"/>
                <a:gd name="T72" fmla="*/ 613 h 61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7" h="613">
                  <a:moveTo>
                    <a:pt x="0" y="0"/>
                  </a:moveTo>
                  <a:lnTo>
                    <a:pt x="99" y="54"/>
                  </a:lnTo>
                  <a:lnTo>
                    <a:pt x="131" y="14"/>
                  </a:lnTo>
                  <a:lnTo>
                    <a:pt x="189" y="33"/>
                  </a:lnTo>
                  <a:lnTo>
                    <a:pt x="218" y="207"/>
                  </a:lnTo>
                  <a:lnTo>
                    <a:pt x="274" y="276"/>
                  </a:lnTo>
                  <a:lnTo>
                    <a:pt x="306" y="262"/>
                  </a:lnTo>
                  <a:lnTo>
                    <a:pt x="314" y="358"/>
                  </a:lnTo>
                  <a:lnTo>
                    <a:pt x="222" y="451"/>
                  </a:lnTo>
                  <a:lnTo>
                    <a:pt x="243" y="476"/>
                  </a:lnTo>
                  <a:lnTo>
                    <a:pt x="330" y="485"/>
                  </a:lnTo>
                  <a:lnTo>
                    <a:pt x="347" y="576"/>
                  </a:lnTo>
                  <a:lnTo>
                    <a:pt x="315" y="610"/>
                  </a:lnTo>
                  <a:lnTo>
                    <a:pt x="189" y="592"/>
                  </a:lnTo>
                  <a:lnTo>
                    <a:pt x="163" y="613"/>
                  </a:lnTo>
                  <a:lnTo>
                    <a:pt x="104" y="613"/>
                  </a:lnTo>
                  <a:lnTo>
                    <a:pt x="76" y="543"/>
                  </a:lnTo>
                  <a:lnTo>
                    <a:pt x="131" y="519"/>
                  </a:lnTo>
                  <a:lnTo>
                    <a:pt x="63" y="461"/>
                  </a:lnTo>
                  <a:lnTo>
                    <a:pt x="80" y="282"/>
                  </a:lnTo>
                  <a:lnTo>
                    <a:pt x="40" y="268"/>
                  </a:lnTo>
                  <a:lnTo>
                    <a:pt x="0"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87" name="Freeform 88"/>
            <p:cNvSpPr>
              <a:spLocks noChangeAspect="1"/>
            </p:cNvSpPr>
            <p:nvPr/>
          </p:nvSpPr>
          <p:spPr bwMode="gray">
            <a:xfrm>
              <a:off x="1017556" y="2306497"/>
              <a:ext cx="476350" cy="392650"/>
            </a:xfrm>
            <a:custGeom>
              <a:avLst/>
              <a:gdLst>
                <a:gd name="T0" fmla="*/ 495 w 552"/>
                <a:gd name="T1" fmla="*/ 146 h 421"/>
                <a:gd name="T2" fmla="*/ 417 w 552"/>
                <a:gd name="T3" fmla="*/ 119 h 421"/>
                <a:gd name="T4" fmla="*/ 303 w 552"/>
                <a:gd name="T5" fmla="*/ 196 h 421"/>
                <a:gd name="T6" fmla="*/ 219 w 552"/>
                <a:gd name="T7" fmla="*/ 47 h 421"/>
                <a:gd name="T8" fmla="*/ 169 w 552"/>
                <a:gd name="T9" fmla="*/ 0 h 421"/>
                <a:gd name="T10" fmla="*/ 22 w 552"/>
                <a:gd name="T11" fmla="*/ 32 h 421"/>
                <a:gd name="T12" fmla="*/ 0 w 552"/>
                <a:gd name="T13" fmla="*/ 108 h 421"/>
                <a:gd name="T14" fmla="*/ 25 w 552"/>
                <a:gd name="T15" fmla="*/ 210 h 421"/>
                <a:gd name="T16" fmla="*/ 4 w 552"/>
                <a:gd name="T17" fmla="*/ 216 h 421"/>
                <a:gd name="T18" fmla="*/ 31 w 552"/>
                <a:gd name="T19" fmla="*/ 333 h 421"/>
                <a:gd name="T20" fmla="*/ 67 w 552"/>
                <a:gd name="T21" fmla="*/ 356 h 421"/>
                <a:gd name="T22" fmla="*/ 206 w 552"/>
                <a:gd name="T23" fmla="*/ 338 h 421"/>
                <a:gd name="T24" fmla="*/ 271 w 552"/>
                <a:gd name="T25" fmla="*/ 389 h 421"/>
                <a:gd name="T26" fmla="*/ 301 w 552"/>
                <a:gd name="T27" fmla="*/ 381 h 421"/>
                <a:gd name="T28" fmla="*/ 306 w 552"/>
                <a:gd name="T29" fmla="*/ 421 h 421"/>
                <a:gd name="T30" fmla="*/ 354 w 552"/>
                <a:gd name="T31" fmla="*/ 398 h 421"/>
                <a:gd name="T32" fmla="*/ 362 w 552"/>
                <a:gd name="T33" fmla="*/ 368 h 421"/>
                <a:gd name="T34" fmla="*/ 428 w 552"/>
                <a:gd name="T35" fmla="*/ 381 h 421"/>
                <a:gd name="T36" fmla="*/ 487 w 552"/>
                <a:gd name="T37" fmla="*/ 310 h 421"/>
                <a:gd name="T38" fmla="*/ 537 w 552"/>
                <a:gd name="T39" fmla="*/ 295 h 421"/>
                <a:gd name="T40" fmla="*/ 552 w 552"/>
                <a:gd name="T41" fmla="*/ 201 h 421"/>
                <a:gd name="T42" fmla="*/ 496 w 552"/>
                <a:gd name="T43" fmla="*/ 204 h 421"/>
                <a:gd name="T44" fmla="*/ 495 w 552"/>
                <a:gd name="T45" fmla="*/ 146 h 421"/>
                <a:gd name="T46" fmla="*/ 495 w 552"/>
                <a:gd name="T47" fmla="*/ 146 h 42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52"/>
                <a:gd name="T73" fmla="*/ 0 h 421"/>
                <a:gd name="T74" fmla="*/ 552 w 552"/>
                <a:gd name="T75" fmla="*/ 421 h 42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52" h="421">
                  <a:moveTo>
                    <a:pt x="495" y="146"/>
                  </a:moveTo>
                  <a:lnTo>
                    <a:pt x="417" y="119"/>
                  </a:lnTo>
                  <a:lnTo>
                    <a:pt x="303" y="196"/>
                  </a:lnTo>
                  <a:lnTo>
                    <a:pt x="219" y="47"/>
                  </a:lnTo>
                  <a:lnTo>
                    <a:pt x="169" y="0"/>
                  </a:lnTo>
                  <a:lnTo>
                    <a:pt x="22" y="32"/>
                  </a:lnTo>
                  <a:lnTo>
                    <a:pt x="0" y="108"/>
                  </a:lnTo>
                  <a:lnTo>
                    <a:pt x="25" y="210"/>
                  </a:lnTo>
                  <a:lnTo>
                    <a:pt x="4" y="216"/>
                  </a:lnTo>
                  <a:lnTo>
                    <a:pt x="31" y="333"/>
                  </a:lnTo>
                  <a:lnTo>
                    <a:pt x="67" y="356"/>
                  </a:lnTo>
                  <a:lnTo>
                    <a:pt x="206" y="338"/>
                  </a:lnTo>
                  <a:lnTo>
                    <a:pt x="271" y="389"/>
                  </a:lnTo>
                  <a:lnTo>
                    <a:pt x="301" y="381"/>
                  </a:lnTo>
                  <a:lnTo>
                    <a:pt x="306" y="421"/>
                  </a:lnTo>
                  <a:lnTo>
                    <a:pt x="354" y="398"/>
                  </a:lnTo>
                  <a:lnTo>
                    <a:pt x="362" y="368"/>
                  </a:lnTo>
                  <a:lnTo>
                    <a:pt x="428" y="381"/>
                  </a:lnTo>
                  <a:lnTo>
                    <a:pt x="487" y="310"/>
                  </a:lnTo>
                  <a:lnTo>
                    <a:pt x="537" y="295"/>
                  </a:lnTo>
                  <a:lnTo>
                    <a:pt x="552" y="201"/>
                  </a:lnTo>
                  <a:lnTo>
                    <a:pt x="496" y="204"/>
                  </a:lnTo>
                  <a:lnTo>
                    <a:pt x="495" y="146"/>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88" name="Freeform 89"/>
            <p:cNvSpPr>
              <a:spLocks noChangeAspect="1"/>
            </p:cNvSpPr>
            <p:nvPr/>
          </p:nvSpPr>
          <p:spPr bwMode="gray">
            <a:xfrm>
              <a:off x="672375" y="2373809"/>
              <a:ext cx="396958" cy="428176"/>
            </a:xfrm>
            <a:custGeom>
              <a:avLst/>
              <a:gdLst>
                <a:gd name="T0" fmla="*/ 401 w 461"/>
                <a:gd name="T1" fmla="*/ 36 h 456"/>
                <a:gd name="T2" fmla="*/ 342 w 461"/>
                <a:gd name="T3" fmla="*/ 0 h 456"/>
                <a:gd name="T4" fmla="*/ 316 w 461"/>
                <a:gd name="T5" fmla="*/ 32 h 456"/>
                <a:gd name="T6" fmla="*/ 259 w 461"/>
                <a:gd name="T7" fmla="*/ 3 h 456"/>
                <a:gd name="T8" fmla="*/ 116 w 461"/>
                <a:gd name="T9" fmla="*/ 14 h 456"/>
                <a:gd name="T10" fmla="*/ 78 w 461"/>
                <a:gd name="T11" fmla="*/ 65 h 456"/>
                <a:gd name="T12" fmla="*/ 38 w 461"/>
                <a:gd name="T13" fmla="*/ 55 h 456"/>
                <a:gd name="T14" fmla="*/ 0 w 461"/>
                <a:gd name="T15" fmla="*/ 146 h 456"/>
                <a:gd name="T16" fmla="*/ 175 w 461"/>
                <a:gd name="T17" fmla="*/ 134 h 456"/>
                <a:gd name="T18" fmla="*/ 175 w 461"/>
                <a:gd name="T19" fmla="*/ 190 h 456"/>
                <a:gd name="T20" fmla="*/ 73 w 461"/>
                <a:gd name="T21" fmla="*/ 167 h 456"/>
                <a:gd name="T22" fmla="*/ 73 w 461"/>
                <a:gd name="T23" fmla="*/ 230 h 456"/>
                <a:gd name="T24" fmla="*/ 141 w 461"/>
                <a:gd name="T25" fmla="*/ 228 h 456"/>
                <a:gd name="T26" fmla="*/ 166 w 461"/>
                <a:gd name="T27" fmla="*/ 291 h 456"/>
                <a:gd name="T28" fmla="*/ 26 w 461"/>
                <a:gd name="T29" fmla="*/ 301 h 456"/>
                <a:gd name="T30" fmla="*/ 108 w 461"/>
                <a:gd name="T31" fmla="*/ 354 h 456"/>
                <a:gd name="T32" fmla="*/ 116 w 461"/>
                <a:gd name="T33" fmla="*/ 427 h 456"/>
                <a:gd name="T34" fmla="*/ 181 w 461"/>
                <a:gd name="T35" fmla="*/ 441 h 456"/>
                <a:gd name="T36" fmla="*/ 259 w 461"/>
                <a:gd name="T37" fmla="*/ 392 h 456"/>
                <a:gd name="T38" fmla="*/ 303 w 461"/>
                <a:gd name="T39" fmla="*/ 455 h 456"/>
                <a:gd name="T40" fmla="*/ 344 w 461"/>
                <a:gd name="T41" fmla="*/ 439 h 456"/>
                <a:gd name="T42" fmla="*/ 352 w 461"/>
                <a:gd name="T43" fmla="*/ 456 h 456"/>
                <a:gd name="T44" fmla="*/ 405 w 461"/>
                <a:gd name="T45" fmla="*/ 456 h 456"/>
                <a:gd name="T46" fmla="*/ 405 w 461"/>
                <a:gd name="T47" fmla="*/ 430 h 456"/>
                <a:gd name="T48" fmla="*/ 461 w 461"/>
                <a:gd name="T49" fmla="*/ 384 h 456"/>
                <a:gd name="T50" fmla="*/ 388 w 461"/>
                <a:gd name="T51" fmla="*/ 356 h 456"/>
                <a:gd name="T52" fmla="*/ 362 w 461"/>
                <a:gd name="T53" fmla="*/ 283 h 456"/>
                <a:gd name="T54" fmla="*/ 432 w 461"/>
                <a:gd name="T55" fmla="*/ 263 h 456"/>
                <a:gd name="T56" fmla="*/ 405 w 461"/>
                <a:gd name="T57" fmla="*/ 143 h 456"/>
                <a:gd name="T58" fmla="*/ 426 w 461"/>
                <a:gd name="T59" fmla="*/ 137 h 456"/>
                <a:gd name="T60" fmla="*/ 401 w 461"/>
                <a:gd name="T61" fmla="*/ 36 h 456"/>
                <a:gd name="T62" fmla="*/ 401 w 461"/>
                <a:gd name="T63" fmla="*/ 36 h 4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61"/>
                <a:gd name="T97" fmla="*/ 0 h 456"/>
                <a:gd name="T98" fmla="*/ 461 w 461"/>
                <a:gd name="T99" fmla="*/ 456 h 4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61" h="456">
                  <a:moveTo>
                    <a:pt x="401" y="36"/>
                  </a:moveTo>
                  <a:lnTo>
                    <a:pt x="342" y="0"/>
                  </a:lnTo>
                  <a:lnTo>
                    <a:pt x="316" y="32"/>
                  </a:lnTo>
                  <a:lnTo>
                    <a:pt x="259" y="3"/>
                  </a:lnTo>
                  <a:lnTo>
                    <a:pt x="116" y="14"/>
                  </a:lnTo>
                  <a:lnTo>
                    <a:pt x="78" y="65"/>
                  </a:lnTo>
                  <a:lnTo>
                    <a:pt x="38" y="55"/>
                  </a:lnTo>
                  <a:lnTo>
                    <a:pt x="0" y="146"/>
                  </a:lnTo>
                  <a:lnTo>
                    <a:pt x="175" y="134"/>
                  </a:lnTo>
                  <a:lnTo>
                    <a:pt x="175" y="190"/>
                  </a:lnTo>
                  <a:lnTo>
                    <a:pt x="73" y="167"/>
                  </a:lnTo>
                  <a:lnTo>
                    <a:pt x="73" y="230"/>
                  </a:lnTo>
                  <a:lnTo>
                    <a:pt x="141" y="228"/>
                  </a:lnTo>
                  <a:lnTo>
                    <a:pt x="166" y="291"/>
                  </a:lnTo>
                  <a:lnTo>
                    <a:pt x="26" y="301"/>
                  </a:lnTo>
                  <a:lnTo>
                    <a:pt x="108" y="354"/>
                  </a:lnTo>
                  <a:lnTo>
                    <a:pt x="116" y="427"/>
                  </a:lnTo>
                  <a:lnTo>
                    <a:pt x="181" y="441"/>
                  </a:lnTo>
                  <a:lnTo>
                    <a:pt x="259" y="392"/>
                  </a:lnTo>
                  <a:lnTo>
                    <a:pt x="303" y="455"/>
                  </a:lnTo>
                  <a:lnTo>
                    <a:pt x="344" y="439"/>
                  </a:lnTo>
                  <a:lnTo>
                    <a:pt x="352" y="456"/>
                  </a:lnTo>
                  <a:lnTo>
                    <a:pt x="405" y="456"/>
                  </a:lnTo>
                  <a:lnTo>
                    <a:pt x="405" y="430"/>
                  </a:lnTo>
                  <a:lnTo>
                    <a:pt x="461" y="384"/>
                  </a:lnTo>
                  <a:lnTo>
                    <a:pt x="388" y="356"/>
                  </a:lnTo>
                  <a:lnTo>
                    <a:pt x="362" y="283"/>
                  </a:lnTo>
                  <a:lnTo>
                    <a:pt x="432" y="263"/>
                  </a:lnTo>
                  <a:lnTo>
                    <a:pt x="405" y="143"/>
                  </a:lnTo>
                  <a:lnTo>
                    <a:pt x="426" y="137"/>
                  </a:lnTo>
                  <a:lnTo>
                    <a:pt x="401" y="36"/>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89" name="Freeform 90"/>
            <p:cNvSpPr>
              <a:spLocks noChangeAspect="1"/>
            </p:cNvSpPr>
            <p:nvPr/>
          </p:nvSpPr>
          <p:spPr bwMode="gray">
            <a:xfrm>
              <a:off x="934713" y="2618747"/>
              <a:ext cx="517772" cy="355255"/>
            </a:xfrm>
            <a:custGeom>
              <a:avLst/>
              <a:gdLst>
                <a:gd name="T0" fmla="*/ 128 w 599"/>
                <a:gd name="T1" fmla="*/ 0 h 381"/>
                <a:gd name="T2" fmla="*/ 58 w 599"/>
                <a:gd name="T3" fmla="*/ 23 h 381"/>
                <a:gd name="T4" fmla="*/ 84 w 599"/>
                <a:gd name="T5" fmla="*/ 96 h 381"/>
                <a:gd name="T6" fmla="*/ 157 w 599"/>
                <a:gd name="T7" fmla="*/ 124 h 381"/>
                <a:gd name="T8" fmla="*/ 101 w 599"/>
                <a:gd name="T9" fmla="*/ 170 h 381"/>
                <a:gd name="T10" fmla="*/ 101 w 599"/>
                <a:gd name="T11" fmla="*/ 198 h 381"/>
                <a:gd name="T12" fmla="*/ 48 w 599"/>
                <a:gd name="T13" fmla="*/ 198 h 381"/>
                <a:gd name="T14" fmla="*/ 43 w 599"/>
                <a:gd name="T15" fmla="*/ 179 h 381"/>
                <a:gd name="T16" fmla="*/ 0 w 599"/>
                <a:gd name="T17" fmla="*/ 196 h 381"/>
                <a:gd name="T18" fmla="*/ 5 w 599"/>
                <a:gd name="T19" fmla="*/ 202 h 381"/>
                <a:gd name="T20" fmla="*/ 242 w 599"/>
                <a:gd name="T21" fmla="*/ 328 h 381"/>
                <a:gd name="T22" fmla="*/ 364 w 599"/>
                <a:gd name="T23" fmla="*/ 295 h 381"/>
                <a:gd name="T24" fmla="*/ 476 w 599"/>
                <a:gd name="T25" fmla="*/ 363 h 381"/>
                <a:gd name="T26" fmla="*/ 468 w 599"/>
                <a:gd name="T27" fmla="*/ 381 h 381"/>
                <a:gd name="T28" fmla="*/ 576 w 599"/>
                <a:gd name="T29" fmla="*/ 342 h 381"/>
                <a:gd name="T30" fmla="*/ 575 w 599"/>
                <a:gd name="T31" fmla="*/ 227 h 381"/>
                <a:gd name="T32" fmla="*/ 599 w 599"/>
                <a:gd name="T33" fmla="*/ 196 h 381"/>
                <a:gd name="T34" fmla="*/ 575 w 599"/>
                <a:gd name="T35" fmla="*/ 179 h 381"/>
                <a:gd name="T36" fmla="*/ 586 w 599"/>
                <a:gd name="T37" fmla="*/ 141 h 381"/>
                <a:gd name="T38" fmla="*/ 521 w 599"/>
                <a:gd name="T39" fmla="*/ 113 h 381"/>
                <a:gd name="T40" fmla="*/ 565 w 599"/>
                <a:gd name="T41" fmla="*/ 94 h 381"/>
                <a:gd name="T42" fmla="*/ 525 w 599"/>
                <a:gd name="T43" fmla="*/ 50 h 381"/>
                <a:gd name="T44" fmla="*/ 459 w 599"/>
                <a:gd name="T45" fmla="*/ 35 h 381"/>
                <a:gd name="T46" fmla="*/ 451 w 599"/>
                <a:gd name="T47" fmla="*/ 65 h 381"/>
                <a:gd name="T48" fmla="*/ 403 w 599"/>
                <a:gd name="T49" fmla="*/ 86 h 381"/>
                <a:gd name="T50" fmla="*/ 398 w 599"/>
                <a:gd name="T51" fmla="*/ 46 h 381"/>
                <a:gd name="T52" fmla="*/ 368 w 599"/>
                <a:gd name="T53" fmla="*/ 56 h 381"/>
                <a:gd name="T54" fmla="*/ 303 w 599"/>
                <a:gd name="T55" fmla="*/ 5 h 381"/>
                <a:gd name="T56" fmla="*/ 166 w 599"/>
                <a:gd name="T57" fmla="*/ 23 h 381"/>
                <a:gd name="T58" fmla="*/ 128 w 599"/>
                <a:gd name="T59" fmla="*/ 0 h 381"/>
                <a:gd name="T60" fmla="*/ 128 w 599"/>
                <a:gd name="T61" fmla="*/ 0 h 38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99"/>
                <a:gd name="T94" fmla="*/ 0 h 381"/>
                <a:gd name="T95" fmla="*/ 599 w 599"/>
                <a:gd name="T96" fmla="*/ 381 h 38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99" h="381">
                  <a:moveTo>
                    <a:pt x="128" y="0"/>
                  </a:moveTo>
                  <a:lnTo>
                    <a:pt x="58" y="23"/>
                  </a:lnTo>
                  <a:lnTo>
                    <a:pt x="84" y="96"/>
                  </a:lnTo>
                  <a:lnTo>
                    <a:pt x="157" y="124"/>
                  </a:lnTo>
                  <a:lnTo>
                    <a:pt x="101" y="170"/>
                  </a:lnTo>
                  <a:lnTo>
                    <a:pt x="101" y="198"/>
                  </a:lnTo>
                  <a:lnTo>
                    <a:pt x="48" y="198"/>
                  </a:lnTo>
                  <a:lnTo>
                    <a:pt x="43" y="179"/>
                  </a:lnTo>
                  <a:lnTo>
                    <a:pt x="0" y="196"/>
                  </a:lnTo>
                  <a:lnTo>
                    <a:pt x="5" y="202"/>
                  </a:lnTo>
                  <a:lnTo>
                    <a:pt x="242" y="328"/>
                  </a:lnTo>
                  <a:lnTo>
                    <a:pt x="364" y="295"/>
                  </a:lnTo>
                  <a:lnTo>
                    <a:pt x="476" y="363"/>
                  </a:lnTo>
                  <a:lnTo>
                    <a:pt x="468" y="381"/>
                  </a:lnTo>
                  <a:lnTo>
                    <a:pt x="576" y="342"/>
                  </a:lnTo>
                  <a:lnTo>
                    <a:pt x="575" y="227"/>
                  </a:lnTo>
                  <a:lnTo>
                    <a:pt x="599" y="196"/>
                  </a:lnTo>
                  <a:lnTo>
                    <a:pt x="575" y="179"/>
                  </a:lnTo>
                  <a:lnTo>
                    <a:pt x="586" y="141"/>
                  </a:lnTo>
                  <a:lnTo>
                    <a:pt x="521" y="113"/>
                  </a:lnTo>
                  <a:lnTo>
                    <a:pt x="565" y="94"/>
                  </a:lnTo>
                  <a:lnTo>
                    <a:pt x="525" y="50"/>
                  </a:lnTo>
                  <a:lnTo>
                    <a:pt x="459" y="35"/>
                  </a:lnTo>
                  <a:lnTo>
                    <a:pt x="451" y="65"/>
                  </a:lnTo>
                  <a:lnTo>
                    <a:pt x="403" y="86"/>
                  </a:lnTo>
                  <a:lnTo>
                    <a:pt x="398" y="46"/>
                  </a:lnTo>
                  <a:lnTo>
                    <a:pt x="368" y="56"/>
                  </a:lnTo>
                  <a:lnTo>
                    <a:pt x="303" y="5"/>
                  </a:lnTo>
                  <a:lnTo>
                    <a:pt x="166" y="23"/>
                  </a:lnTo>
                  <a:lnTo>
                    <a:pt x="128"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90" name="Freeform 91"/>
            <p:cNvSpPr>
              <a:spLocks noChangeAspect="1"/>
            </p:cNvSpPr>
            <p:nvPr/>
          </p:nvSpPr>
          <p:spPr bwMode="gray">
            <a:xfrm>
              <a:off x="1383448" y="2418683"/>
              <a:ext cx="371070" cy="467441"/>
            </a:xfrm>
            <a:custGeom>
              <a:avLst/>
              <a:gdLst>
                <a:gd name="T0" fmla="*/ 110 w 429"/>
                <a:gd name="T1" fmla="*/ 0 h 500"/>
                <a:gd name="T2" fmla="*/ 71 w 429"/>
                <a:gd name="T3" fmla="*/ 28 h 500"/>
                <a:gd name="T4" fmla="*/ 72 w 429"/>
                <a:gd name="T5" fmla="*/ 88 h 500"/>
                <a:gd name="T6" fmla="*/ 128 w 429"/>
                <a:gd name="T7" fmla="*/ 83 h 500"/>
                <a:gd name="T8" fmla="*/ 114 w 429"/>
                <a:gd name="T9" fmla="*/ 179 h 500"/>
                <a:gd name="T10" fmla="*/ 61 w 429"/>
                <a:gd name="T11" fmla="*/ 191 h 500"/>
                <a:gd name="T12" fmla="*/ 4 w 429"/>
                <a:gd name="T13" fmla="*/ 264 h 500"/>
                <a:gd name="T14" fmla="*/ 44 w 429"/>
                <a:gd name="T15" fmla="*/ 308 h 500"/>
                <a:gd name="T16" fmla="*/ 0 w 429"/>
                <a:gd name="T17" fmla="*/ 327 h 500"/>
                <a:gd name="T18" fmla="*/ 63 w 429"/>
                <a:gd name="T19" fmla="*/ 355 h 500"/>
                <a:gd name="T20" fmla="*/ 54 w 429"/>
                <a:gd name="T21" fmla="*/ 393 h 500"/>
                <a:gd name="T22" fmla="*/ 76 w 429"/>
                <a:gd name="T23" fmla="*/ 410 h 500"/>
                <a:gd name="T24" fmla="*/ 54 w 429"/>
                <a:gd name="T25" fmla="*/ 441 h 500"/>
                <a:gd name="T26" fmla="*/ 54 w 429"/>
                <a:gd name="T27" fmla="*/ 500 h 500"/>
                <a:gd name="T28" fmla="*/ 212 w 429"/>
                <a:gd name="T29" fmla="*/ 474 h 500"/>
                <a:gd name="T30" fmla="*/ 285 w 429"/>
                <a:gd name="T31" fmla="*/ 414 h 500"/>
                <a:gd name="T32" fmla="*/ 359 w 429"/>
                <a:gd name="T33" fmla="*/ 441 h 500"/>
                <a:gd name="T34" fmla="*/ 381 w 429"/>
                <a:gd name="T35" fmla="*/ 348 h 500"/>
                <a:gd name="T36" fmla="*/ 424 w 429"/>
                <a:gd name="T37" fmla="*/ 342 h 500"/>
                <a:gd name="T38" fmla="*/ 405 w 429"/>
                <a:gd name="T39" fmla="*/ 211 h 500"/>
                <a:gd name="T40" fmla="*/ 429 w 429"/>
                <a:gd name="T41" fmla="*/ 89 h 500"/>
                <a:gd name="T42" fmla="*/ 370 w 429"/>
                <a:gd name="T43" fmla="*/ 80 h 500"/>
                <a:gd name="T44" fmla="*/ 346 w 429"/>
                <a:gd name="T45" fmla="*/ 100 h 500"/>
                <a:gd name="T46" fmla="*/ 283 w 429"/>
                <a:gd name="T47" fmla="*/ 100 h 500"/>
                <a:gd name="T48" fmla="*/ 259 w 429"/>
                <a:gd name="T49" fmla="*/ 33 h 500"/>
                <a:gd name="T50" fmla="*/ 236 w 429"/>
                <a:gd name="T51" fmla="*/ 39 h 500"/>
                <a:gd name="T52" fmla="*/ 158 w 429"/>
                <a:gd name="T53" fmla="*/ 33 h 500"/>
                <a:gd name="T54" fmla="*/ 110 w 429"/>
                <a:gd name="T55" fmla="*/ 0 h 500"/>
                <a:gd name="T56" fmla="*/ 110 w 429"/>
                <a:gd name="T57" fmla="*/ 0 h 5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29"/>
                <a:gd name="T88" fmla="*/ 0 h 500"/>
                <a:gd name="T89" fmla="*/ 429 w 429"/>
                <a:gd name="T90" fmla="*/ 500 h 50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29" h="500">
                  <a:moveTo>
                    <a:pt x="110" y="0"/>
                  </a:moveTo>
                  <a:lnTo>
                    <a:pt x="71" y="28"/>
                  </a:lnTo>
                  <a:lnTo>
                    <a:pt x="72" y="88"/>
                  </a:lnTo>
                  <a:lnTo>
                    <a:pt x="128" y="83"/>
                  </a:lnTo>
                  <a:lnTo>
                    <a:pt x="114" y="179"/>
                  </a:lnTo>
                  <a:lnTo>
                    <a:pt x="61" y="191"/>
                  </a:lnTo>
                  <a:lnTo>
                    <a:pt x="4" y="264"/>
                  </a:lnTo>
                  <a:lnTo>
                    <a:pt x="44" y="308"/>
                  </a:lnTo>
                  <a:lnTo>
                    <a:pt x="0" y="327"/>
                  </a:lnTo>
                  <a:lnTo>
                    <a:pt x="63" y="355"/>
                  </a:lnTo>
                  <a:lnTo>
                    <a:pt x="54" y="393"/>
                  </a:lnTo>
                  <a:lnTo>
                    <a:pt x="76" y="410"/>
                  </a:lnTo>
                  <a:lnTo>
                    <a:pt x="54" y="441"/>
                  </a:lnTo>
                  <a:lnTo>
                    <a:pt x="54" y="500"/>
                  </a:lnTo>
                  <a:lnTo>
                    <a:pt x="212" y="474"/>
                  </a:lnTo>
                  <a:lnTo>
                    <a:pt x="285" y="414"/>
                  </a:lnTo>
                  <a:lnTo>
                    <a:pt x="359" y="441"/>
                  </a:lnTo>
                  <a:lnTo>
                    <a:pt x="381" y="348"/>
                  </a:lnTo>
                  <a:lnTo>
                    <a:pt x="424" y="342"/>
                  </a:lnTo>
                  <a:lnTo>
                    <a:pt x="405" y="211"/>
                  </a:lnTo>
                  <a:lnTo>
                    <a:pt x="429" y="89"/>
                  </a:lnTo>
                  <a:lnTo>
                    <a:pt x="370" y="80"/>
                  </a:lnTo>
                  <a:lnTo>
                    <a:pt x="346" y="100"/>
                  </a:lnTo>
                  <a:lnTo>
                    <a:pt x="283" y="100"/>
                  </a:lnTo>
                  <a:lnTo>
                    <a:pt x="259" y="33"/>
                  </a:lnTo>
                  <a:lnTo>
                    <a:pt x="236" y="39"/>
                  </a:lnTo>
                  <a:lnTo>
                    <a:pt x="158" y="33"/>
                  </a:lnTo>
                  <a:lnTo>
                    <a:pt x="110"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91" name="Freeform 92"/>
            <p:cNvSpPr>
              <a:spLocks noChangeAspect="1"/>
            </p:cNvSpPr>
            <p:nvPr/>
          </p:nvSpPr>
          <p:spPr bwMode="gray">
            <a:xfrm>
              <a:off x="1694111" y="2478515"/>
              <a:ext cx="348633" cy="379562"/>
            </a:xfrm>
            <a:custGeom>
              <a:avLst/>
              <a:gdLst>
                <a:gd name="T0" fmla="*/ 345 w 403"/>
                <a:gd name="T1" fmla="*/ 0 h 405"/>
                <a:gd name="T2" fmla="*/ 318 w 403"/>
                <a:gd name="T3" fmla="*/ 34 h 405"/>
                <a:gd name="T4" fmla="*/ 208 w 403"/>
                <a:gd name="T5" fmla="*/ 67 h 405"/>
                <a:gd name="T6" fmla="*/ 189 w 403"/>
                <a:gd name="T7" fmla="*/ 49 h 405"/>
                <a:gd name="T8" fmla="*/ 157 w 403"/>
                <a:gd name="T9" fmla="*/ 69 h 405"/>
                <a:gd name="T10" fmla="*/ 137 w 403"/>
                <a:gd name="T11" fmla="*/ 33 h 405"/>
                <a:gd name="T12" fmla="*/ 70 w 403"/>
                <a:gd name="T13" fmla="*/ 25 h 405"/>
                <a:gd name="T14" fmla="*/ 46 w 403"/>
                <a:gd name="T15" fmla="*/ 147 h 405"/>
                <a:gd name="T16" fmla="*/ 65 w 403"/>
                <a:gd name="T17" fmla="*/ 276 h 405"/>
                <a:gd name="T18" fmla="*/ 22 w 403"/>
                <a:gd name="T19" fmla="*/ 282 h 405"/>
                <a:gd name="T20" fmla="*/ 0 w 403"/>
                <a:gd name="T21" fmla="*/ 375 h 405"/>
                <a:gd name="T22" fmla="*/ 178 w 403"/>
                <a:gd name="T23" fmla="*/ 405 h 405"/>
                <a:gd name="T24" fmla="*/ 282 w 403"/>
                <a:gd name="T25" fmla="*/ 397 h 405"/>
                <a:gd name="T26" fmla="*/ 282 w 403"/>
                <a:gd name="T27" fmla="*/ 327 h 405"/>
                <a:gd name="T28" fmla="*/ 304 w 403"/>
                <a:gd name="T29" fmla="*/ 315 h 405"/>
                <a:gd name="T30" fmla="*/ 293 w 403"/>
                <a:gd name="T31" fmla="*/ 261 h 405"/>
                <a:gd name="T32" fmla="*/ 358 w 403"/>
                <a:gd name="T33" fmla="*/ 179 h 405"/>
                <a:gd name="T34" fmla="*/ 358 w 403"/>
                <a:gd name="T35" fmla="*/ 107 h 405"/>
                <a:gd name="T36" fmla="*/ 403 w 403"/>
                <a:gd name="T37" fmla="*/ 103 h 405"/>
                <a:gd name="T38" fmla="*/ 345 w 403"/>
                <a:gd name="T39" fmla="*/ 0 h 405"/>
                <a:gd name="T40" fmla="*/ 345 w 403"/>
                <a:gd name="T41" fmla="*/ 0 h 40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03"/>
                <a:gd name="T64" fmla="*/ 0 h 405"/>
                <a:gd name="T65" fmla="*/ 403 w 403"/>
                <a:gd name="T66" fmla="*/ 405 h 40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03" h="405">
                  <a:moveTo>
                    <a:pt x="345" y="0"/>
                  </a:moveTo>
                  <a:lnTo>
                    <a:pt x="318" y="34"/>
                  </a:lnTo>
                  <a:lnTo>
                    <a:pt x="208" y="67"/>
                  </a:lnTo>
                  <a:lnTo>
                    <a:pt x="189" y="49"/>
                  </a:lnTo>
                  <a:lnTo>
                    <a:pt x="157" y="69"/>
                  </a:lnTo>
                  <a:lnTo>
                    <a:pt x="137" y="33"/>
                  </a:lnTo>
                  <a:lnTo>
                    <a:pt x="70" y="25"/>
                  </a:lnTo>
                  <a:lnTo>
                    <a:pt x="46" y="147"/>
                  </a:lnTo>
                  <a:lnTo>
                    <a:pt x="65" y="276"/>
                  </a:lnTo>
                  <a:lnTo>
                    <a:pt x="22" y="282"/>
                  </a:lnTo>
                  <a:lnTo>
                    <a:pt x="0" y="375"/>
                  </a:lnTo>
                  <a:lnTo>
                    <a:pt x="178" y="405"/>
                  </a:lnTo>
                  <a:lnTo>
                    <a:pt x="282" y="397"/>
                  </a:lnTo>
                  <a:lnTo>
                    <a:pt x="282" y="327"/>
                  </a:lnTo>
                  <a:lnTo>
                    <a:pt x="304" y="315"/>
                  </a:lnTo>
                  <a:lnTo>
                    <a:pt x="293" y="261"/>
                  </a:lnTo>
                  <a:lnTo>
                    <a:pt x="358" y="179"/>
                  </a:lnTo>
                  <a:lnTo>
                    <a:pt x="358" y="107"/>
                  </a:lnTo>
                  <a:lnTo>
                    <a:pt x="403" y="103"/>
                  </a:lnTo>
                  <a:lnTo>
                    <a:pt x="345"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92" name="Freeform 93"/>
            <p:cNvSpPr>
              <a:spLocks noChangeAspect="1"/>
            </p:cNvSpPr>
            <p:nvPr/>
          </p:nvSpPr>
          <p:spPr bwMode="gray">
            <a:xfrm>
              <a:off x="1814925" y="2312106"/>
              <a:ext cx="498787" cy="362734"/>
            </a:xfrm>
            <a:custGeom>
              <a:avLst/>
              <a:gdLst>
                <a:gd name="T0" fmla="*/ 399 w 578"/>
                <a:gd name="T1" fmla="*/ 0 h 389"/>
                <a:gd name="T2" fmla="*/ 331 w 578"/>
                <a:gd name="T3" fmla="*/ 0 h 389"/>
                <a:gd name="T4" fmla="*/ 219 w 578"/>
                <a:gd name="T5" fmla="*/ 61 h 389"/>
                <a:gd name="T6" fmla="*/ 57 w 578"/>
                <a:gd name="T7" fmla="*/ 38 h 389"/>
                <a:gd name="T8" fmla="*/ 54 w 578"/>
                <a:gd name="T9" fmla="*/ 61 h 389"/>
                <a:gd name="T10" fmla="*/ 16 w 578"/>
                <a:gd name="T11" fmla="*/ 89 h 389"/>
                <a:gd name="T12" fmla="*/ 28 w 578"/>
                <a:gd name="T13" fmla="*/ 182 h 389"/>
                <a:gd name="T14" fmla="*/ 0 w 578"/>
                <a:gd name="T15" fmla="*/ 211 h 389"/>
                <a:gd name="T16" fmla="*/ 14 w 578"/>
                <a:gd name="T17" fmla="*/ 245 h 389"/>
                <a:gd name="T18" fmla="*/ 48 w 578"/>
                <a:gd name="T19" fmla="*/ 234 h 389"/>
                <a:gd name="T20" fmla="*/ 69 w 578"/>
                <a:gd name="T21" fmla="*/ 245 h 389"/>
                <a:gd name="T22" fmla="*/ 177 w 578"/>
                <a:gd name="T23" fmla="*/ 214 h 389"/>
                <a:gd name="T24" fmla="*/ 204 w 578"/>
                <a:gd name="T25" fmla="*/ 182 h 389"/>
                <a:gd name="T26" fmla="*/ 261 w 578"/>
                <a:gd name="T27" fmla="*/ 283 h 389"/>
                <a:gd name="T28" fmla="*/ 288 w 578"/>
                <a:gd name="T29" fmla="*/ 287 h 389"/>
                <a:gd name="T30" fmla="*/ 331 w 578"/>
                <a:gd name="T31" fmla="*/ 237 h 389"/>
                <a:gd name="T32" fmla="*/ 376 w 578"/>
                <a:gd name="T33" fmla="*/ 237 h 389"/>
                <a:gd name="T34" fmla="*/ 441 w 578"/>
                <a:gd name="T35" fmla="*/ 343 h 389"/>
                <a:gd name="T36" fmla="*/ 485 w 578"/>
                <a:gd name="T37" fmla="*/ 336 h 389"/>
                <a:gd name="T38" fmla="*/ 511 w 578"/>
                <a:gd name="T39" fmla="*/ 389 h 389"/>
                <a:gd name="T40" fmla="*/ 543 w 578"/>
                <a:gd name="T41" fmla="*/ 371 h 389"/>
                <a:gd name="T42" fmla="*/ 543 w 578"/>
                <a:gd name="T43" fmla="*/ 328 h 389"/>
                <a:gd name="T44" fmla="*/ 523 w 578"/>
                <a:gd name="T45" fmla="*/ 316 h 389"/>
                <a:gd name="T46" fmla="*/ 578 w 578"/>
                <a:gd name="T47" fmla="*/ 205 h 389"/>
                <a:gd name="T48" fmla="*/ 538 w 578"/>
                <a:gd name="T49" fmla="*/ 146 h 389"/>
                <a:gd name="T50" fmla="*/ 502 w 578"/>
                <a:gd name="T51" fmla="*/ 71 h 389"/>
                <a:gd name="T52" fmla="*/ 413 w 578"/>
                <a:gd name="T53" fmla="*/ 36 h 389"/>
                <a:gd name="T54" fmla="*/ 399 w 578"/>
                <a:gd name="T55" fmla="*/ 0 h 389"/>
                <a:gd name="T56" fmla="*/ 399 w 578"/>
                <a:gd name="T57" fmla="*/ 0 h 38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78"/>
                <a:gd name="T88" fmla="*/ 0 h 389"/>
                <a:gd name="T89" fmla="*/ 578 w 578"/>
                <a:gd name="T90" fmla="*/ 389 h 38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78" h="389">
                  <a:moveTo>
                    <a:pt x="399" y="0"/>
                  </a:moveTo>
                  <a:lnTo>
                    <a:pt x="331" y="0"/>
                  </a:lnTo>
                  <a:lnTo>
                    <a:pt x="219" y="61"/>
                  </a:lnTo>
                  <a:lnTo>
                    <a:pt x="57" y="38"/>
                  </a:lnTo>
                  <a:lnTo>
                    <a:pt x="54" y="61"/>
                  </a:lnTo>
                  <a:lnTo>
                    <a:pt x="16" y="89"/>
                  </a:lnTo>
                  <a:lnTo>
                    <a:pt x="28" y="182"/>
                  </a:lnTo>
                  <a:lnTo>
                    <a:pt x="0" y="211"/>
                  </a:lnTo>
                  <a:lnTo>
                    <a:pt x="14" y="245"/>
                  </a:lnTo>
                  <a:lnTo>
                    <a:pt x="48" y="234"/>
                  </a:lnTo>
                  <a:lnTo>
                    <a:pt x="69" y="245"/>
                  </a:lnTo>
                  <a:lnTo>
                    <a:pt x="177" y="214"/>
                  </a:lnTo>
                  <a:lnTo>
                    <a:pt x="204" y="182"/>
                  </a:lnTo>
                  <a:lnTo>
                    <a:pt x="261" y="283"/>
                  </a:lnTo>
                  <a:lnTo>
                    <a:pt x="288" y="287"/>
                  </a:lnTo>
                  <a:lnTo>
                    <a:pt x="331" y="237"/>
                  </a:lnTo>
                  <a:lnTo>
                    <a:pt x="376" y="237"/>
                  </a:lnTo>
                  <a:lnTo>
                    <a:pt x="441" y="343"/>
                  </a:lnTo>
                  <a:lnTo>
                    <a:pt x="485" y="336"/>
                  </a:lnTo>
                  <a:lnTo>
                    <a:pt x="511" y="389"/>
                  </a:lnTo>
                  <a:lnTo>
                    <a:pt x="543" y="371"/>
                  </a:lnTo>
                  <a:lnTo>
                    <a:pt x="543" y="328"/>
                  </a:lnTo>
                  <a:lnTo>
                    <a:pt x="523" y="316"/>
                  </a:lnTo>
                  <a:lnTo>
                    <a:pt x="578" y="205"/>
                  </a:lnTo>
                  <a:lnTo>
                    <a:pt x="538" y="146"/>
                  </a:lnTo>
                  <a:lnTo>
                    <a:pt x="502" y="71"/>
                  </a:lnTo>
                  <a:lnTo>
                    <a:pt x="413" y="36"/>
                  </a:lnTo>
                  <a:lnTo>
                    <a:pt x="399"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93" name="Freeform 94"/>
            <p:cNvSpPr>
              <a:spLocks noChangeAspect="1"/>
            </p:cNvSpPr>
            <p:nvPr/>
          </p:nvSpPr>
          <p:spPr bwMode="gray">
            <a:xfrm>
              <a:off x="1937464" y="2532738"/>
              <a:ext cx="352085" cy="418827"/>
            </a:xfrm>
            <a:custGeom>
              <a:avLst/>
              <a:gdLst>
                <a:gd name="T0" fmla="*/ 235 w 408"/>
                <a:gd name="T1" fmla="*/ 0 h 447"/>
                <a:gd name="T2" fmla="*/ 190 w 408"/>
                <a:gd name="T3" fmla="*/ 0 h 447"/>
                <a:gd name="T4" fmla="*/ 147 w 408"/>
                <a:gd name="T5" fmla="*/ 50 h 447"/>
                <a:gd name="T6" fmla="*/ 118 w 408"/>
                <a:gd name="T7" fmla="*/ 46 h 447"/>
                <a:gd name="T8" fmla="*/ 76 w 408"/>
                <a:gd name="T9" fmla="*/ 52 h 447"/>
                <a:gd name="T10" fmla="*/ 76 w 408"/>
                <a:gd name="T11" fmla="*/ 122 h 447"/>
                <a:gd name="T12" fmla="*/ 11 w 408"/>
                <a:gd name="T13" fmla="*/ 204 h 447"/>
                <a:gd name="T14" fmla="*/ 22 w 408"/>
                <a:gd name="T15" fmla="*/ 257 h 447"/>
                <a:gd name="T16" fmla="*/ 0 w 408"/>
                <a:gd name="T17" fmla="*/ 272 h 447"/>
                <a:gd name="T18" fmla="*/ 0 w 408"/>
                <a:gd name="T19" fmla="*/ 362 h 447"/>
                <a:gd name="T20" fmla="*/ 63 w 408"/>
                <a:gd name="T21" fmla="*/ 375 h 447"/>
                <a:gd name="T22" fmla="*/ 71 w 408"/>
                <a:gd name="T23" fmla="*/ 405 h 447"/>
                <a:gd name="T24" fmla="*/ 256 w 408"/>
                <a:gd name="T25" fmla="*/ 447 h 447"/>
                <a:gd name="T26" fmla="*/ 249 w 408"/>
                <a:gd name="T27" fmla="*/ 401 h 447"/>
                <a:gd name="T28" fmla="*/ 287 w 408"/>
                <a:gd name="T29" fmla="*/ 407 h 447"/>
                <a:gd name="T30" fmla="*/ 323 w 408"/>
                <a:gd name="T31" fmla="*/ 389 h 447"/>
                <a:gd name="T32" fmla="*/ 369 w 408"/>
                <a:gd name="T33" fmla="*/ 287 h 447"/>
                <a:gd name="T34" fmla="*/ 408 w 408"/>
                <a:gd name="T35" fmla="*/ 266 h 447"/>
                <a:gd name="T36" fmla="*/ 393 w 408"/>
                <a:gd name="T37" fmla="*/ 204 h 447"/>
                <a:gd name="T38" fmla="*/ 407 w 408"/>
                <a:gd name="T39" fmla="*/ 177 h 447"/>
                <a:gd name="T40" fmla="*/ 402 w 408"/>
                <a:gd name="T41" fmla="*/ 134 h 447"/>
                <a:gd name="T42" fmla="*/ 370 w 408"/>
                <a:gd name="T43" fmla="*/ 152 h 447"/>
                <a:gd name="T44" fmla="*/ 344 w 408"/>
                <a:gd name="T45" fmla="*/ 99 h 447"/>
                <a:gd name="T46" fmla="*/ 299 w 408"/>
                <a:gd name="T47" fmla="*/ 106 h 447"/>
                <a:gd name="T48" fmla="*/ 262 w 408"/>
                <a:gd name="T49" fmla="*/ 42 h 447"/>
                <a:gd name="T50" fmla="*/ 235 w 408"/>
                <a:gd name="T51" fmla="*/ 0 h 447"/>
                <a:gd name="T52" fmla="*/ 235 w 408"/>
                <a:gd name="T53" fmla="*/ 0 h 44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8"/>
                <a:gd name="T82" fmla="*/ 0 h 447"/>
                <a:gd name="T83" fmla="*/ 408 w 408"/>
                <a:gd name="T84" fmla="*/ 447 h 44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8" h="447">
                  <a:moveTo>
                    <a:pt x="235" y="0"/>
                  </a:moveTo>
                  <a:lnTo>
                    <a:pt x="190" y="0"/>
                  </a:lnTo>
                  <a:lnTo>
                    <a:pt x="147" y="50"/>
                  </a:lnTo>
                  <a:lnTo>
                    <a:pt x="118" y="46"/>
                  </a:lnTo>
                  <a:lnTo>
                    <a:pt x="76" y="52"/>
                  </a:lnTo>
                  <a:lnTo>
                    <a:pt x="76" y="122"/>
                  </a:lnTo>
                  <a:lnTo>
                    <a:pt x="11" y="204"/>
                  </a:lnTo>
                  <a:lnTo>
                    <a:pt x="22" y="257"/>
                  </a:lnTo>
                  <a:lnTo>
                    <a:pt x="0" y="272"/>
                  </a:lnTo>
                  <a:lnTo>
                    <a:pt x="0" y="362"/>
                  </a:lnTo>
                  <a:lnTo>
                    <a:pt x="63" y="375"/>
                  </a:lnTo>
                  <a:lnTo>
                    <a:pt x="71" y="405"/>
                  </a:lnTo>
                  <a:lnTo>
                    <a:pt x="256" y="447"/>
                  </a:lnTo>
                  <a:lnTo>
                    <a:pt x="249" y="401"/>
                  </a:lnTo>
                  <a:lnTo>
                    <a:pt x="287" y="407"/>
                  </a:lnTo>
                  <a:lnTo>
                    <a:pt x="323" y="389"/>
                  </a:lnTo>
                  <a:lnTo>
                    <a:pt x="369" y="287"/>
                  </a:lnTo>
                  <a:lnTo>
                    <a:pt x="408" y="266"/>
                  </a:lnTo>
                  <a:lnTo>
                    <a:pt x="393" y="204"/>
                  </a:lnTo>
                  <a:lnTo>
                    <a:pt x="407" y="177"/>
                  </a:lnTo>
                  <a:lnTo>
                    <a:pt x="402" y="134"/>
                  </a:lnTo>
                  <a:lnTo>
                    <a:pt x="370" y="152"/>
                  </a:lnTo>
                  <a:lnTo>
                    <a:pt x="344" y="99"/>
                  </a:lnTo>
                  <a:lnTo>
                    <a:pt x="299" y="106"/>
                  </a:lnTo>
                  <a:lnTo>
                    <a:pt x="262" y="42"/>
                  </a:lnTo>
                  <a:lnTo>
                    <a:pt x="235"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94" name="Freeform 95"/>
            <p:cNvSpPr>
              <a:spLocks noChangeAspect="1"/>
            </p:cNvSpPr>
            <p:nvPr/>
          </p:nvSpPr>
          <p:spPr bwMode="gray">
            <a:xfrm>
              <a:off x="2267112" y="2317716"/>
              <a:ext cx="352085" cy="452482"/>
            </a:xfrm>
            <a:custGeom>
              <a:avLst/>
              <a:gdLst>
                <a:gd name="T0" fmla="*/ 243 w 407"/>
                <a:gd name="T1" fmla="*/ 0 h 485"/>
                <a:gd name="T2" fmla="*/ 175 w 407"/>
                <a:gd name="T3" fmla="*/ 107 h 485"/>
                <a:gd name="T4" fmla="*/ 131 w 407"/>
                <a:gd name="T5" fmla="*/ 76 h 485"/>
                <a:gd name="T6" fmla="*/ 15 w 407"/>
                <a:gd name="T7" fmla="*/ 139 h 485"/>
                <a:gd name="T8" fmla="*/ 53 w 407"/>
                <a:gd name="T9" fmla="*/ 200 h 485"/>
                <a:gd name="T10" fmla="*/ 0 w 407"/>
                <a:gd name="T11" fmla="*/ 309 h 485"/>
                <a:gd name="T12" fmla="*/ 19 w 407"/>
                <a:gd name="T13" fmla="*/ 324 h 485"/>
                <a:gd name="T14" fmla="*/ 19 w 407"/>
                <a:gd name="T15" fmla="*/ 364 h 485"/>
                <a:gd name="T16" fmla="*/ 23 w 407"/>
                <a:gd name="T17" fmla="*/ 407 h 485"/>
                <a:gd name="T18" fmla="*/ 81 w 407"/>
                <a:gd name="T19" fmla="*/ 407 h 485"/>
                <a:gd name="T20" fmla="*/ 148 w 407"/>
                <a:gd name="T21" fmla="*/ 485 h 485"/>
                <a:gd name="T22" fmla="*/ 222 w 407"/>
                <a:gd name="T23" fmla="*/ 466 h 485"/>
                <a:gd name="T24" fmla="*/ 350 w 407"/>
                <a:gd name="T25" fmla="*/ 418 h 485"/>
                <a:gd name="T26" fmla="*/ 399 w 407"/>
                <a:gd name="T27" fmla="*/ 326 h 485"/>
                <a:gd name="T28" fmla="*/ 407 w 407"/>
                <a:gd name="T29" fmla="*/ 259 h 485"/>
                <a:gd name="T30" fmla="*/ 341 w 407"/>
                <a:gd name="T31" fmla="*/ 227 h 485"/>
                <a:gd name="T32" fmla="*/ 303 w 407"/>
                <a:gd name="T33" fmla="*/ 152 h 485"/>
                <a:gd name="T34" fmla="*/ 266 w 407"/>
                <a:gd name="T35" fmla="*/ 131 h 485"/>
                <a:gd name="T36" fmla="*/ 283 w 407"/>
                <a:gd name="T37" fmla="*/ 99 h 485"/>
                <a:gd name="T38" fmla="*/ 243 w 407"/>
                <a:gd name="T39" fmla="*/ 0 h 485"/>
                <a:gd name="T40" fmla="*/ 243 w 407"/>
                <a:gd name="T41" fmla="*/ 0 h 48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07"/>
                <a:gd name="T64" fmla="*/ 0 h 485"/>
                <a:gd name="T65" fmla="*/ 407 w 407"/>
                <a:gd name="T66" fmla="*/ 485 h 48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07" h="485">
                  <a:moveTo>
                    <a:pt x="243" y="0"/>
                  </a:moveTo>
                  <a:lnTo>
                    <a:pt x="175" y="107"/>
                  </a:lnTo>
                  <a:lnTo>
                    <a:pt x="131" y="76"/>
                  </a:lnTo>
                  <a:lnTo>
                    <a:pt x="15" y="139"/>
                  </a:lnTo>
                  <a:lnTo>
                    <a:pt x="53" y="200"/>
                  </a:lnTo>
                  <a:lnTo>
                    <a:pt x="0" y="309"/>
                  </a:lnTo>
                  <a:lnTo>
                    <a:pt x="19" y="324"/>
                  </a:lnTo>
                  <a:lnTo>
                    <a:pt x="19" y="364"/>
                  </a:lnTo>
                  <a:lnTo>
                    <a:pt x="23" y="407"/>
                  </a:lnTo>
                  <a:lnTo>
                    <a:pt x="81" y="407"/>
                  </a:lnTo>
                  <a:lnTo>
                    <a:pt x="148" y="485"/>
                  </a:lnTo>
                  <a:lnTo>
                    <a:pt x="222" y="466"/>
                  </a:lnTo>
                  <a:lnTo>
                    <a:pt x="350" y="418"/>
                  </a:lnTo>
                  <a:lnTo>
                    <a:pt x="399" y="326"/>
                  </a:lnTo>
                  <a:lnTo>
                    <a:pt x="407" y="259"/>
                  </a:lnTo>
                  <a:lnTo>
                    <a:pt x="341" y="227"/>
                  </a:lnTo>
                  <a:lnTo>
                    <a:pt x="303" y="152"/>
                  </a:lnTo>
                  <a:lnTo>
                    <a:pt x="266" y="131"/>
                  </a:lnTo>
                  <a:lnTo>
                    <a:pt x="283" y="99"/>
                  </a:lnTo>
                  <a:lnTo>
                    <a:pt x="243"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95" name="Freeform 96"/>
            <p:cNvSpPr>
              <a:spLocks noChangeAspect="1"/>
            </p:cNvSpPr>
            <p:nvPr/>
          </p:nvSpPr>
          <p:spPr bwMode="gray">
            <a:xfrm>
              <a:off x="2507013" y="2188702"/>
              <a:ext cx="264064" cy="138362"/>
            </a:xfrm>
            <a:custGeom>
              <a:avLst/>
              <a:gdLst>
                <a:gd name="T0" fmla="*/ 308 w 308"/>
                <a:gd name="T1" fmla="*/ 72 h 148"/>
                <a:gd name="T2" fmla="*/ 195 w 308"/>
                <a:gd name="T3" fmla="*/ 15 h 148"/>
                <a:gd name="T4" fmla="*/ 64 w 308"/>
                <a:gd name="T5" fmla="*/ 24 h 148"/>
                <a:gd name="T6" fmla="*/ 42 w 308"/>
                <a:gd name="T7" fmla="*/ 2 h 148"/>
                <a:gd name="T8" fmla="*/ 21 w 308"/>
                <a:gd name="T9" fmla="*/ 0 h 148"/>
                <a:gd name="T10" fmla="*/ 0 w 308"/>
                <a:gd name="T11" fmla="*/ 70 h 148"/>
                <a:gd name="T12" fmla="*/ 159 w 308"/>
                <a:gd name="T13" fmla="*/ 116 h 148"/>
                <a:gd name="T14" fmla="*/ 188 w 308"/>
                <a:gd name="T15" fmla="*/ 148 h 148"/>
                <a:gd name="T16" fmla="*/ 306 w 308"/>
                <a:gd name="T17" fmla="*/ 102 h 148"/>
                <a:gd name="T18" fmla="*/ 308 w 308"/>
                <a:gd name="T19" fmla="*/ 72 h 148"/>
                <a:gd name="T20" fmla="*/ 308 w 308"/>
                <a:gd name="T21" fmla="*/ 72 h 1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08"/>
                <a:gd name="T34" fmla="*/ 0 h 148"/>
                <a:gd name="T35" fmla="*/ 308 w 308"/>
                <a:gd name="T36" fmla="*/ 148 h 1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08" h="148">
                  <a:moveTo>
                    <a:pt x="308" y="72"/>
                  </a:moveTo>
                  <a:lnTo>
                    <a:pt x="195" y="15"/>
                  </a:lnTo>
                  <a:lnTo>
                    <a:pt x="64" y="24"/>
                  </a:lnTo>
                  <a:lnTo>
                    <a:pt x="42" y="2"/>
                  </a:lnTo>
                  <a:lnTo>
                    <a:pt x="21" y="0"/>
                  </a:lnTo>
                  <a:lnTo>
                    <a:pt x="0" y="70"/>
                  </a:lnTo>
                  <a:lnTo>
                    <a:pt x="159" y="116"/>
                  </a:lnTo>
                  <a:lnTo>
                    <a:pt x="188" y="148"/>
                  </a:lnTo>
                  <a:lnTo>
                    <a:pt x="306" y="102"/>
                  </a:lnTo>
                  <a:lnTo>
                    <a:pt x="308" y="72"/>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96" name="Freeform 97"/>
            <p:cNvSpPr>
              <a:spLocks noChangeAspect="1"/>
            </p:cNvSpPr>
            <p:nvPr/>
          </p:nvSpPr>
          <p:spPr bwMode="gray">
            <a:xfrm>
              <a:off x="2456962" y="2250404"/>
              <a:ext cx="229545" cy="293553"/>
            </a:xfrm>
            <a:custGeom>
              <a:avLst/>
              <a:gdLst>
                <a:gd name="T0" fmla="*/ 59 w 266"/>
                <a:gd name="T1" fmla="*/ 0 h 313"/>
                <a:gd name="T2" fmla="*/ 0 w 266"/>
                <a:gd name="T3" fmla="*/ 39 h 313"/>
                <a:gd name="T4" fmla="*/ 22 w 266"/>
                <a:gd name="T5" fmla="*/ 76 h 313"/>
                <a:gd name="T6" fmla="*/ 62 w 266"/>
                <a:gd name="T7" fmla="*/ 170 h 313"/>
                <a:gd name="T8" fmla="*/ 45 w 266"/>
                <a:gd name="T9" fmla="*/ 202 h 313"/>
                <a:gd name="T10" fmla="*/ 85 w 266"/>
                <a:gd name="T11" fmla="*/ 223 h 313"/>
                <a:gd name="T12" fmla="*/ 120 w 266"/>
                <a:gd name="T13" fmla="*/ 301 h 313"/>
                <a:gd name="T14" fmla="*/ 152 w 266"/>
                <a:gd name="T15" fmla="*/ 313 h 313"/>
                <a:gd name="T16" fmla="*/ 207 w 266"/>
                <a:gd name="T17" fmla="*/ 172 h 313"/>
                <a:gd name="T18" fmla="*/ 266 w 266"/>
                <a:gd name="T19" fmla="*/ 170 h 313"/>
                <a:gd name="T20" fmla="*/ 219 w 266"/>
                <a:gd name="T21" fmla="*/ 106 h 313"/>
                <a:gd name="T22" fmla="*/ 244 w 266"/>
                <a:gd name="T23" fmla="*/ 81 h 313"/>
                <a:gd name="T24" fmla="*/ 215 w 266"/>
                <a:gd name="T25" fmla="*/ 49 h 313"/>
                <a:gd name="T26" fmla="*/ 59 w 266"/>
                <a:gd name="T27" fmla="*/ 0 h 313"/>
                <a:gd name="T28" fmla="*/ 59 w 266"/>
                <a:gd name="T29" fmla="*/ 0 h 3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6"/>
                <a:gd name="T46" fmla="*/ 0 h 313"/>
                <a:gd name="T47" fmla="*/ 266 w 266"/>
                <a:gd name="T48" fmla="*/ 313 h 3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6" h="313">
                  <a:moveTo>
                    <a:pt x="59" y="0"/>
                  </a:moveTo>
                  <a:lnTo>
                    <a:pt x="0" y="39"/>
                  </a:lnTo>
                  <a:lnTo>
                    <a:pt x="22" y="76"/>
                  </a:lnTo>
                  <a:lnTo>
                    <a:pt x="62" y="170"/>
                  </a:lnTo>
                  <a:lnTo>
                    <a:pt x="45" y="202"/>
                  </a:lnTo>
                  <a:lnTo>
                    <a:pt x="85" y="223"/>
                  </a:lnTo>
                  <a:lnTo>
                    <a:pt x="120" y="301"/>
                  </a:lnTo>
                  <a:lnTo>
                    <a:pt x="152" y="313"/>
                  </a:lnTo>
                  <a:lnTo>
                    <a:pt x="207" y="172"/>
                  </a:lnTo>
                  <a:lnTo>
                    <a:pt x="266" y="170"/>
                  </a:lnTo>
                  <a:lnTo>
                    <a:pt x="219" y="106"/>
                  </a:lnTo>
                  <a:lnTo>
                    <a:pt x="244" y="81"/>
                  </a:lnTo>
                  <a:lnTo>
                    <a:pt x="215" y="49"/>
                  </a:lnTo>
                  <a:lnTo>
                    <a:pt x="59"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97" name="Freeform 98"/>
            <p:cNvSpPr>
              <a:spLocks noChangeAspect="1"/>
            </p:cNvSpPr>
            <p:nvPr/>
          </p:nvSpPr>
          <p:spPr bwMode="gray">
            <a:xfrm>
              <a:off x="2734833" y="2237316"/>
              <a:ext cx="305485" cy="459962"/>
            </a:xfrm>
            <a:custGeom>
              <a:avLst/>
              <a:gdLst>
                <a:gd name="T0" fmla="*/ 43 w 354"/>
                <a:gd name="T1" fmla="*/ 19 h 490"/>
                <a:gd name="T2" fmla="*/ 41 w 354"/>
                <a:gd name="T3" fmla="*/ 49 h 490"/>
                <a:gd name="T4" fmla="*/ 52 w 354"/>
                <a:gd name="T5" fmla="*/ 139 h 490"/>
                <a:gd name="T6" fmla="*/ 47 w 354"/>
                <a:gd name="T7" fmla="*/ 193 h 490"/>
                <a:gd name="T8" fmla="*/ 35 w 354"/>
                <a:gd name="T9" fmla="*/ 287 h 490"/>
                <a:gd name="T10" fmla="*/ 0 w 354"/>
                <a:gd name="T11" fmla="*/ 395 h 490"/>
                <a:gd name="T12" fmla="*/ 29 w 354"/>
                <a:gd name="T13" fmla="*/ 444 h 490"/>
                <a:gd name="T14" fmla="*/ 3 w 354"/>
                <a:gd name="T15" fmla="*/ 490 h 490"/>
                <a:gd name="T16" fmla="*/ 167 w 354"/>
                <a:gd name="T17" fmla="*/ 459 h 490"/>
                <a:gd name="T18" fmla="*/ 198 w 354"/>
                <a:gd name="T19" fmla="*/ 376 h 490"/>
                <a:gd name="T20" fmla="*/ 238 w 354"/>
                <a:gd name="T21" fmla="*/ 350 h 490"/>
                <a:gd name="T22" fmla="*/ 319 w 354"/>
                <a:gd name="T23" fmla="*/ 350 h 490"/>
                <a:gd name="T24" fmla="*/ 319 w 354"/>
                <a:gd name="T25" fmla="*/ 287 h 490"/>
                <a:gd name="T26" fmla="*/ 354 w 354"/>
                <a:gd name="T27" fmla="*/ 247 h 490"/>
                <a:gd name="T28" fmla="*/ 316 w 354"/>
                <a:gd name="T29" fmla="*/ 161 h 490"/>
                <a:gd name="T30" fmla="*/ 348 w 354"/>
                <a:gd name="T31" fmla="*/ 139 h 490"/>
                <a:gd name="T32" fmla="*/ 339 w 354"/>
                <a:gd name="T33" fmla="*/ 125 h 490"/>
                <a:gd name="T34" fmla="*/ 249 w 354"/>
                <a:gd name="T35" fmla="*/ 67 h 490"/>
                <a:gd name="T36" fmla="*/ 205 w 354"/>
                <a:gd name="T37" fmla="*/ 0 h 490"/>
                <a:gd name="T38" fmla="*/ 105 w 354"/>
                <a:gd name="T39" fmla="*/ 25 h 490"/>
                <a:gd name="T40" fmla="*/ 43 w 354"/>
                <a:gd name="T41" fmla="*/ 19 h 490"/>
                <a:gd name="T42" fmla="*/ 43 w 354"/>
                <a:gd name="T43" fmla="*/ 19 h 49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54"/>
                <a:gd name="T67" fmla="*/ 0 h 490"/>
                <a:gd name="T68" fmla="*/ 354 w 354"/>
                <a:gd name="T69" fmla="*/ 490 h 49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54" h="490">
                  <a:moveTo>
                    <a:pt x="43" y="19"/>
                  </a:moveTo>
                  <a:lnTo>
                    <a:pt x="41" y="49"/>
                  </a:lnTo>
                  <a:lnTo>
                    <a:pt x="52" y="139"/>
                  </a:lnTo>
                  <a:lnTo>
                    <a:pt x="47" y="193"/>
                  </a:lnTo>
                  <a:lnTo>
                    <a:pt x="35" y="287"/>
                  </a:lnTo>
                  <a:lnTo>
                    <a:pt x="0" y="395"/>
                  </a:lnTo>
                  <a:lnTo>
                    <a:pt x="29" y="444"/>
                  </a:lnTo>
                  <a:lnTo>
                    <a:pt x="3" y="490"/>
                  </a:lnTo>
                  <a:lnTo>
                    <a:pt x="167" y="459"/>
                  </a:lnTo>
                  <a:lnTo>
                    <a:pt x="198" y="376"/>
                  </a:lnTo>
                  <a:lnTo>
                    <a:pt x="238" y="350"/>
                  </a:lnTo>
                  <a:lnTo>
                    <a:pt x="319" y="350"/>
                  </a:lnTo>
                  <a:lnTo>
                    <a:pt x="319" y="287"/>
                  </a:lnTo>
                  <a:lnTo>
                    <a:pt x="354" y="247"/>
                  </a:lnTo>
                  <a:lnTo>
                    <a:pt x="316" y="161"/>
                  </a:lnTo>
                  <a:lnTo>
                    <a:pt x="348" y="139"/>
                  </a:lnTo>
                  <a:lnTo>
                    <a:pt x="339" y="125"/>
                  </a:lnTo>
                  <a:lnTo>
                    <a:pt x="249" y="67"/>
                  </a:lnTo>
                  <a:lnTo>
                    <a:pt x="205" y="0"/>
                  </a:lnTo>
                  <a:lnTo>
                    <a:pt x="105" y="25"/>
                  </a:lnTo>
                  <a:lnTo>
                    <a:pt x="43" y="19"/>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98" name="Freeform 99"/>
            <p:cNvSpPr>
              <a:spLocks noChangeAspect="1"/>
            </p:cNvSpPr>
            <p:nvPr/>
          </p:nvSpPr>
          <p:spPr bwMode="gray">
            <a:xfrm>
              <a:off x="3737584" y="3433964"/>
              <a:ext cx="381425" cy="325339"/>
            </a:xfrm>
            <a:custGeom>
              <a:avLst/>
              <a:gdLst>
                <a:gd name="T0" fmla="*/ 136 w 441"/>
                <a:gd name="T1" fmla="*/ 51 h 347"/>
                <a:gd name="T2" fmla="*/ 139 w 441"/>
                <a:gd name="T3" fmla="*/ 93 h 347"/>
                <a:gd name="T4" fmla="*/ 6 w 441"/>
                <a:gd name="T5" fmla="*/ 152 h 347"/>
                <a:gd name="T6" fmla="*/ 0 w 441"/>
                <a:gd name="T7" fmla="*/ 245 h 347"/>
                <a:gd name="T8" fmla="*/ 63 w 441"/>
                <a:gd name="T9" fmla="*/ 324 h 347"/>
                <a:gd name="T10" fmla="*/ 184 w 441"/>
                <a:gd name="T11" fmla="*/ 347 h 347"/>
                <a:gd name="T12" fmla="*/ 245 w 441"/>
                <a:gd name="T13" fmla="*/ 244 h 347"/>
                <a:gd name="T14" fmla="*/ 309 w 441"/>
                <a:gd name="T15" fmla="*/ 341 h 347"/>
                <a:gd name="T16" fmla="*/ 347 w 441"/>
                <a:gd name="T17" fmla="*/ 330 h 347"/>
                <a:gd name="T18" fmla="*/ 441 w 441"/>
                <a:gd name="T19" fmla="*/ 228 h 347"/>
                <a:gd name="T20" fmla="*/ 403 w 441"/>
                <a:gd name="T21" fmla="*/ 162 h 347"/>
                <a:gd name="T22" fmla="*/ 347 w 441"/>
                <a:gd name="T23" fmla="*/ 148 h 347"/>
                <a:gd name="T24" fmla="*/ 315 w 441"/>
                <a:gd name="T25" fmla="*/ 0 h 347"/>
                <a:gd name="T26" fmla="*/ 136 w 441"/>
                <a:gd name="T27" fmla="*/ 51 h 347"/>
                <a:gd name="T28" fmla="*/ 136 w 441"/>
                <a:gd name="T29" fmla="*/ 51 h 3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41"/>
                <a:gd name="T46" fmla="*/ 0 h 347"/>
                <a:gd name="T47" fmla="*/ 441 w 441"/>
                <a:gd name="T48" fmla="*/ 347 h 3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41" h="347">
                  <a:moveTo>
                    <a:pt x="136" y="51"/>
                  </a:moveTo>
                  <a:lnTo>
                    <a:pt x="139" y="93"/>
                  </a:lnTo>
                  <a:lnTo>
                    <a:pt x="6" y="152"/>
                  </a:lnTo>
                  <a:lnTo>
                    <a:pt x="0" y="245"/>
                  </a:lnTo>
                  <a:lnTo>
                    <a:pt x="63" y="324"/>
                  </a:lnTo>
                  <a:lnTo>
                    <a:pt x="184" y="347"/>
                  </a:lnTo>
                  <a:lnTo>
                    <a:pt x="245" y="244"/>
                  </a:lnTo>
                  <a:lnTo>
                    <a:pt x="309" y="341"/>
                  </a:lnTo>
                  <a:lnTo>
                    <a:pt x="347" y="330"/>
                  </a:lnTo>
                  <a:lnTo>
                    <a:pt x="441" y="228"/>
                  </a:lnTo>
                  <a:lnTo>
                    <a:pt x="403" y="162"/>
                  </a:lnTo>
                  <a:lnTo>
                    <a:pt x="347" y="148"/>
                  </a:lnTo>
                  <a:lnTo>
                    <a:pt x="315" y="0"/>
                  </a:lnTo>
                  <a:lnTo>
                    <a:pt x="136" y="51"/>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99" name="Freeform 100"/>
            <p:cNvSpPr>
              <a:spLocks noChangeAspect="1"/>
            </p:cNvSpPr>
            <p:nvPr/>
          </p:nvSpPr>
          <p:spPr bwMode="gray">
            <a:xfrm>
              <a:off x="3010978" y="2424292"/>
              <a:ext cx="412492" cy="345906"/>
            </a:xfrm>
            <a:custGeom>
              <a:avLst/>
              <a:gdLst>
                <a:gd name="T0" fmla="*/ 35 w 478"/>
                <a:gd name="T1" fmla="*/ 50 h 371"/>
                <a:gd name="T2" fmla="*/ 0 w 478"/>
                <a:gd name="T3" fmla="*/ 84 h 371"/>
                <a:gd name="T4" fmla="*/ 0 w 478"/>
                <a:gd name="T5" fmla="*/ 151 h 371"/>
                <a:gd name="T6" fmla="*/ 49 w 478"/>
                <a:gd name="T7" fmla="*/ 174 h 371"/>
                <a:gd name="T8" fmla="*/ 87 w 478"/>
                <a:gd name="T9" fmla="*/ 278 h 371"/>
                <a:gd name="T10" fmla="*/ 113 w 478"/>
                <a:gd name="T11" fmla="*/ 257 h 371"/>
                <a:gd name="T12" fmla="*/ 163 w 478"/>
                <a:gd name="T13" fmla="*/ 348 h 371"/>
                <a:gd name="T14" fmla="*/ 240 w 478"/>
                <a:gd name="T15" fmla="*/ 371 h 371"/>
                <a:gd name="T16" fmla="*/ 438 w 478"/>
                <a:gd name="T17" fmla="*/ 312 h 371"/>
                <a:gd name="T18" fmla="*/ 478 w 478"/>
                <a:gd name="T19" fmla="*/ 278 h 371"/>
                <a:gd name="T20" fmla="*/ 478 w 478"/>
                <a:gd name="T21" fmla="*/ 210 h 371"/>
                <a:gd name="T22" fmla="*/ 415 w 478"/>
                <a:gd name="T23" fmla="*/ 113 h 371"/>
                <a:gd name="T24" fmla="*/ 415 w 478"/>
                <a:gd name="T25" fmla="*/ 73 h 371"/>
                <a:gd name="T26" fmla="*/ 330 w 478"/>
                <a:gd name="T27" fmla="*/ 55 h 371"/>
                <a:gd name="T28" fmla="*/ 300 w 478"/>
                <a:gd name="T29" fmla="*/ 0 h 371"/>
                <a:gd name="T30" fmla="*/ 210 w 478"/>
                <a:gd name="T31" fmla="*/ 0 h 371"/>
                <a:gd name="T32" fmla="*/ 155 w 478"/>
                <a:gd name="T33" fmla="*/ 81 h 371"/>
                <a:gd name="T34" fmla="*/ 92 w 478"/>
                <a:gd name="T35" fmla="*/ 81 h 371"/>
                <a:gd name="T36" fmla="*/ 35 w 478"/>
                <a:gd name="T37" fmla="*/ 50 h 371"/>
                <a:gd name="T38" fmla="*/ 35 w 478"/>
                <a:gd name="T39" fmla="*/ 50 h 37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78"/>
                <a:gd name="T61" fmla="*/ 0 h 371"/>
                <a:gd name="T62" fmla="*/ 478 w 478"/>
                <a:gd name="T63" fmla="*/ 371 h 37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78" h="371">
                  <a:moveTo>
                    <a:pt x="35" y="50"/>
                  </a:moveTo>
                  <a:lnTo>
                    <a:pt x="0" y="84"/>
                  </a:lnTo>
                  <a:lnTo>
                    <a:pt x="0" y="151"/>
                  </a:lnTo>
                  <a:lnTo>
                    <a:pt x="49" y="174"/>
                  </a:lnTo>
                  <a:lnTo>
                    <a:pt x="87" y="278"/>
                  </a:lnTo>
                  <a:lnTo>
                    <a:pt x="113" y="257"/>
                  </a:lnTo>
                  <a:lnTo>
                    <a:pt x="163" y="348"/>
                  </a:lnTo>
                  <a:lnTo>
                    <a:pt x="240" y="371"/>
                  </a:lnTo>
                  <a:lnTo>
                    <a:pt x="438" y="312"/>
                  </a:lnTo>
                  <a:lnTo>
                    <a:pt x="478" y="278"/>
                  </a:lnTo>
                  <a:lnTo>
                    <a:pt x="478" y="210"/>
                  </a:lnTo>
                  <a:lnTo>
                    <a:pt x="415" y="113"/>
                  </a:lnTo>
                  <a:lnTo>
                    <a:pt x="415" y="73"/>
                  </a:lnTo>
                  <a:lnTo>
                    <a:pt x="330" y="55"/>
                  </a:lnTo>
                  <a:lnTo>
                    <a:pt x="300" y="0"/>
                  </a:lnTo>
                  <a:lnTo>
                    <a:pt x="210" y="0"/>
                  </a:lnTo>
                  <a:lnTo>
                    <a:pt x="155" y="81"/>
                  </a:lnTo>
                  <a:lnTo>
                    <a:pt x="92" y="81"/>
                  </a:lnTo>
                  <a:lnTo>
                    <a:pt x="35" y="5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00" name="Freeform 101"/>
            <p:cNvSpPr>
              <a:spLocks noChangeAspect="1"/>
            </p:cNvSpPr>
            <p:nvPr/>
          </p:nvSpPr>
          <p:spPr bwMode="gray">
            <a:xfrm>
              <a:off x="2588131" y="2411204"/>
              <a:ext cx="189850" cy="211283"/>
            </a:xfrm>
            <a:custGeom>
              <a:avLst/>
              <a:gdLst>
                <a:gd name="T0" fmla="*/ 119 w 219"/>
                <a:gd name="T1" fmla="*/ 3 h 227"/>
                <a:gd name="T2" fmla="*/ 113 w 219"/>
                <a:gd name="T3" fmla="*/ 0 h 227"/>
                <a:gd name="T4" fmla="*/ 55 w 219"/>
                <a:gd name="T5" fmla="*/ 0 h 227"/>
                <a:gd name="T6" fmla="*/ 0 w 219"/>
                <a:gd name="T7" fmla="*/ 143 h 227"/>
                <a:gd name="T8" fmla="*/ 34 w 219"/>
                <a:gd name="T9" fmla="*/ 160 h 227"/>
                <a:gd name="T10" fmla="*/ 26 w 219"/>
                <a:gd name="T11" fmla="*/ 227 h 227"/>
                <a:gd name="T12" fmla="*/ 169 w 219"/>
                <a:gd name="T13" fmla="*/ 211 h 227"/>
                <a:gd name="T14" fmla="*/ 204 w 219"/>
                <a:gd name="T15" fmla="*/ 99 h 227"/>
                <a:gd name="T16" fmla="*/ 219 w 219"/>
                <a:gd name="T17" fmla="*/ 9 h 227"/>
                <a:gd name="T18" fmla="*/ 119 w 219"/>
                <a:gd name="T19" fmla="*/ 3 h 227"/>
                <a:gd name="T20" fmla="*/ 119 w 219"/>
                <a:gd name="T21" fmla="*/ 3 h 2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9"/>
                <a:gd name="T34" fmla="*/ 0 h 227"/>
                <a:gd name="T35" fmla="*/ 219 w 219"/>
                <a:gd name="T36" fmla="*/ 227 h 2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9" h="227">
                  <a:moveTo>
                    <a:pt x="119" y="3"/>
                  </a:moveTo>
                  <a:lnTo>
                    <a:pt x="113" y="0"/>
                  </a:lnTo>
                  <a:lnTo>
                    <a:pt x="55" y="0"/>
                  </a:lnTo>
                  <a:lnTo>
                    <a:pt x="0" y="143"/>
                  </a:lnTo>
                  <a:lnTo>
                    <a:pt x="34" y="160"/>
                  </a:lnTo>
                  <a:lnTo>
                    <a:pt x="26" y="227"/>
                  </a:lnTo>
                  <a:lnTo>
                    <a:pt x="169" y="211"/>
                  </a:lnTo>
                  <a:lnTo>
                    <a:pt x="204" y="99"/>
                  </a:lnTo>
                  <a:lnTo>
                    <a:pt x="219" y="9"/>
                  </a:lnTo>
                  <a:lnTo>
                    <a:pt x="119" y="3"/>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01" name="Freeform 102"/>
            <p:cNvSpPr>
              <a:spLocks noChangeAspect="1"/>
            </p:cNvSpPr>
            <p:nvPr/>
          </p:nvSpPr>
          <p:spPr bwMode="gray">
            <a:xfrm>
              <a:off x="2467317" y="2607529"/>
              <a:ext cx="471172" cy="370213"/>
            </a:xfrm>
            <a:custGeom>
              <a:avLst/>
              <a:gdLst>
                <a:gd name="T0" fmla="*/ 167 w 546"/>
                <a:gd name="T1" fmla="*/ 16 h 396"/>
                <a:gd name="T2" fmla="*/ 114 w 546"/>
                <a:gd name="T3" fmla="*/ 108 h 396"/>
                <a:gd name="T4" fmla="*/ 0 w 546"/>
                <a:gd name="T5" fmla="*/ 154 h 396"/>
                <a:gd name="T6" fmla="*/ 22 w 546"/>
                <a:gd name="T7" fmla="*/ 239 h 396"/>
                <a:gd name="T8" fmla="*/ 76 w 546"/>
                <a:gd name="T9" fmla="*/ 280 h 396"/>
                <a:gd name="T10" fmla="*/ 87 w 546"/>
                <a:gd name="T11" fmla="*/ 312 h 396"/>
                <a:gd name="T12" fmla="*/ 196 w 546"/>
                <a:gd name="T13" fmla="*/ 312 h 396"/>
                <a:gd name="T14" fmla="*/ 255 w 546"/>
                <a:gd name="T15" fmla="*/ 335 h 396"/>
                <a:gd name="T16" fmla="*/ 324 w 546"/>
                <a:gd name="T17" fmla="*/ 342 h 396"/>
                <a:gd name="T18" fmla="*/ 398 w 546"/>
                <a:gd name="T19" fmla="*/ 396 h 396"/>
                <a:gd name="T20" fmla="*/ 499 w 546"/>
                <a:gd name="T21" fmla="*/ 358 h 396"/>
                <a:gd name="T22" fmla="*/ 445 w 546"/>
                <a:gd name="T23" fmla="*/ 276 h 396"/>
                <a:gd name="T24" fmla="*/ 512 w 546"/>
                <a:gd name="T25" fmla="*/ 251 h 396"/>
                <a:gd name="T26" fmla="*/ 495 w 546"/>
                <a:gd name="T27" fmla="*/ 213 h 396"/>
                <a:gd name="T28" fmla="*/ 546 w 546"/>
                <a:gd name="T29" fmla="*/ 140 h 396"/>
                <a:gd name="T30" fmla="*/ 477 w 546"/>
                <a:gd name="T31" fmla="*/ 64 h 396"/>
                <a:gd name="T32" fmla="*/ 315 w 546"/>
                <a:gd name="T33" fmla="*/ 95 h 396"/>
                <a:gd name="T34" fmla="*/ 339 w 546"/>
                <a:gd name="T35" fmla="*/ 49 h 396"/>
                <a:gd name="T36" fmla="*/ 315 w 546"/>
                <a:gd name="T37" fmla="*/ 0 h 396"/>
                <a:gd name="T38" fmla="*/ 167 w 546"/>
                <a:gd name="T39" fmla="*/ 16 h 396"/>
                <a:gd name="T40" fmla="*/ 167 w 546"/>
                <a:gd name="T41" fmla="*/ 16 h 39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46"/>
                <a:gd name="T64" fmla="*/ 0 h 396"/>
                <a:gd name="T65" fmla="*/ 546 w 546"/>
                <a:gd name="T66" fmla="*/ 396 h 39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46" h="396">
                  <a:moveTo>
                    <a:pt x="167" y="16"/>
                  </a:moveTo>
                  <a:lnTo>
                    <a:pt x="114" y="108"/>
                  </a:lnTo>
                  <a:lnTo>
                    <a:pt x="0" y="154"/>
                  </a:lnTo>
                  <a:lnTo>
                    <a:pt x="22" y="239"/>
                  </a:lnTo>
                  <a:lnTo>
                    <a:pt x="76" y="280"/>
                  </a:lnTo>
                  <a:lnTo>
                    <a:pt x="87" y="312"/>
                  </a:lnTo>
                  <a:lnTo>
                    <a:pt x="196" y="312"/>
                  </a:lnTo>
                  <a:lnTo>
                    <a:pt x="255" y="335"/>
                  </a:lnTo>
                  <a:lnTo>
                    <a:pt x="324" y="342"/>
                  </a:lnTo>
                  <a:lnTo>
                    <a:pt x="398" y="396"/>
                  </a:lnTo>
                  <a:lnTo>
                    <a:pt x="499" y="358"/>
                  </a:lnTo>
                  <a:lnTo>
                    <a:pt x="445" y="276"/>
                  </a:lnTo>
                  <a:lnTo>
                    <a:pt x="512" y="251"/>
                  </a:lnTo>
                  <a:lnTo>
                    <a:pt x="495" y="213"/>
                  </a:lnTo>
                  <a:lnTo>
                    <a:pt x="546" y="140"/>
                  </a:lnTo>
                  <a:lnTo>
                    <a:pt x="477" y="64"/>
                  </a:lnTo>
                  <a:lnTo>
                    <a:pt x="315" y="95"/>
                  </a:lnTo>
                  <a:lnTo>
                    <a:pt x="339" y="49"/>
                  </a:lnTo>
                  <a:lnTo>
                    <a:pt x="315" y="0"/>
                  </a:lnTo>
                  <a:lnTo>
                    <a:pt x="167" y="16"/>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02" name="Freeform 103"/>
            <p:cNvSpPr>
              <a:spLocks noChangeAspect="1"/>
            </p:cNvSpPr>
            <p:nvPr/>
          </p:nvSpPr>
          <p:spPr bwMode="gray">
            <a:xfrm>
              <a:off x="2850468" y="2564524"/>
              <a:ext cx="431476" cy="480529"/>
            </a:xfrm>
            <a:custGeom>
              <a:avLst/>
              <a:gdLst>
                <a:gd name="T0" fmla="*/ 184 w 500"/>
                <a:gd name="T1" fmla="*/ 0 h 513"/>
                <a:gd name="T2" fmla="*/ 103 w 500"/>
                <a:gd name="T3" fmla="*/ 0 h 513"/>
                <a:gd name="T4" fmla="*/ 63 w 500"/>
                <a:gd name="T5" fmla="*/ 26 h 513"/>
                <a:gd name="T6" fmla="*/ 32 w 500"/>
                <a:gd name="T7" fmla="*/ 109 h 513"/>
                <a:gd name="T8" fmla="*/ 101 w 500"/>
                <a:gd name="T9" fmla="*/ 185 h 513"/>
                <a:gd name="T10" fmla="*/ 50 w 500"/>
                <a:gd name="T11" fmla="*/ 258 h 513"/>
                <a:gd name="T12" fmla="*/ 67 w 500"/>
                <a:gd name="T13" fmla="*/ 296 h 513"/>
                <a:gd name="T14" fmla="*/ 0 w 500"/>
                <a:gd name="T15" fmla="*/ 321 h 513"/>
                <a:gd name="T16" fmla="*/ 54 w 500"/>
                <a:gd name="T17" fmla="*/ 403 h 513"/>
                <a:gd name="T18" fmla="*/ 108 w 500"/>
                <a:gd name="T19" fmla="*/ 403 h 513"/>
                <a:gd name="T20" fmla="*/ 160 w 500"/>
                <a:gd name="T21" fmla="*/ 437 h 513"/>
                <a:gd name="T22" fmla="*/ 238 w 500"/>
                <a:gd name="T23" fmla="*/ 410 h 513"/>
                <a:gd name="T24" fmla="*/ 327 w 500"/>
                <a:gd name="T25" fmla="*/ 477 h 513"/>
                <a:gd name="T26" fmla="*/ 352 w 500"/>
                <a:gd name="T27" fmla="*/ 465 h 513"/>
                <a:gd name="T28" fmla="*/ 400 w 500"/>
                <a:gd name="T29" fmla="*/ 513 h 513"/>
                <a:gd name="T30" fmla="*/ 420 w 500"/>
                <a:gd name="T31" fmla="*/ 498 h 513"/>
                <a:gd name="T32" fmla="*/ 420 w 500"/>
                <a:gd name="T33" fmla="*/ 468 h 513"/>
                <a:gd name="T34" fmla="*/ 443 w 500"/>
                <a:gd name="T35" fmla="*/ 456 h 513"/>
                <a:gd name="T36" fmla="*/ 429 w 500"/>
                <a:gd name="T37" fmla="*/ 412 h 513"/>
                <a:gd name="T38" fmla="*/ 500 w 500"/>
                <a:gd name="T39" fmla="*/ 287 h 513"/>
                <a:gd name="T40" fmla="*/ 479 w 500"/>
                <a:gd name="T41" fmla="*/ 243 h 513"/>
                <a:gd name="T42" fmla="*/ 488 w 500"/>
                <a:gd name="T43" fmla="*/ 199 h 513"/>
                <a:gd name="T44" fmla="*/ 429 w 500"/>
                <a:gd name="T45" fmla="*/ 220 h 513"/>
                <a:gd name="T46" fmla="*/ 344 w 500"/>
                <a:gd name="T47" fmla="*/ 193 h 513"/>
                <a:gd name="T48" fmla="*/ 298 w 500"/>
                <a:gd name="T49" fmla="*/ 106 h 513"/>
                <a:gd name="T50" fmla="*/ 271 w 500"/>
                <a:gd name="T51" fmla="*/ 127 h 513"/>
                <a:gd name="T52" fmla="*/ 230 w 500"/>
                <a:gd name="T53" fmla="*/ 18 h 513"/>
                <a:gd name="T54" fmla="*/ 184 w 500"/>
                <a:gd name="T55" fmla="*/ 0 h 513"/>
                <a:gd name="T56" fmla="*/ 184 w 500"/>
                <a:gd name="T57" fmla="*/ 0 h 51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00"/>
                <a:gd name="T88" fmla="*/ 0 h 513"/>
                <a:gd name="T89" fmla="*/ 500 w 500"/>
                <a:gd name="T90" fmla="*/ 513 h 51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00" h="513">
                  <a:moveTo>
                    <a:pt x="184" y="0"/>
                  </a:moveTo>
                  <a:lnTo>
                    <a:pt x="103" y="0"/>
                  </a:lnTo>
                  <a:lnTo>
                    <a:pt x="63" y="26"/>
                  </a:lnTo>
                  <a:lnTo>
                    <a:pt x="32" y="109"/>
                  </a:lnTo>
                  <a:lnTo>
                    <a:pt x="101" y="185"/>
                  </a:lnTo>
                  <a:lnTo>
                    <a:pt x="50" y="258"/>
                  </a:lnTo>
                  <a:lnTo>
                    <a:pt x="67" y="296"/>
                  </a:lnTo>
                  <a:lnTo>
                    <a:pt x="0" y="321"/>
                  </a:lnTo>
                  <a:lnTo>
                    <a:pt x="54" y="403"/>
                  </a:lnTo>
                  <a:lnTo>
                    <a:pt x="108" y="403"/>
                  </a:lnTo>
                  <a:lnTo>
                    <a:pt x="160" y="437"/>
                  </a:lnTo>
                  <a:lnTo>
                    <a:pt x="238" y="410"/>
                  </a:lnTo>
                  <a:lnTo>
                    <a:pt x="327" y="477"/>
                  </a:lnTo>
                  <a:lnTo>
                    <a:pt x="352" y="465"/>
                  </a:lnTo>
                  <a:lnTo>
                    <a:pt x="400" y="513"/>
                  </a:lnTo>
                  <a:lnTo>
                    <a:pt x="420" y="498"/>
                  </a:lnTo>
                  <a:lnTo>
                    <a:pt x="420" y="468"/>
                  </a:lnTo>
                  <a:lnTo>
                    <a:pt x="443" y="456"/>
                  </a:lnTo>
                  <a:lnTo>
                    <a:pt x="429" y="412"/>
                  </a:lnTo>
                  <a:lnTo>
                    <a:pt x="500" y="287"/>
                  </a:lnTo>
                  <a:lnTo>
                    <a:pt x="479" y="243"/>
                  </a:lnTo>
                  <a:lnTo>
                    <a:pt x="488" y="199"/>
                  </a:lnTo>
                  <a:lnTo>
                    <a:pt x="429" y="220"/>
                  </a:lnTo>
                  <a:lnTo>
                    <a:pt x="344" y="193"/>
                  </a:lnTo>
                  <a:lnTo>
                    <a:pt x="298" y="106"/>
                  </a:lnTo>
                  <a:lnTo>
                    <a:pt x="271" y="127"/>
                  </a:lnTo>
                  <a:lnTo>
                    <a:pt x="230" y="18"/>
                  </a:lnTo>
                  <a:lnTo>
                    <a:pt x="184"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03" name="Freeform 104"/>
            <p:cNvSpPr>
              <a:spLocks noChangeAspect="1"/>
            </p:cNvSpPr>
            <p:nvPr/>
          </p:nvSpPr>
          <p:spPr bwMode="gray">
            <a:xfrm>
              <a:off x="3368240" y="2413074"/>
              <a:ext cx="322744" cy="493617"/>
            </a:xfrm>
            <a:custGeom>
              <a:avLst/>
              <a:gdLst>
                <a:gd name="T0" fmla="*/ 114 w 374"/>
                <a:gd name="T1" fmla="*/ 0 h 528"/>
                <a:gd name="T2" fmla="*/ 46 w 374"/>
                <a:gd name="T3" fmla="*/ 18 h 528"/>
                <a:gd name="T4" fmla="*/ 50 w 374"/>
                <a:gd name="T5" fmla="*/ 71 h 528"/>
                <a:gd name="T6" fmla="*/ 0 w 374"/>
                <a:gd name="T7" fmla="*/ 85 h 528"/>
                <a:gd name="T8" fmla="*/ 0 w 374"/>
                <a:gd name="T9" fmla="*/ 126 h 528"/>
                <a:gd name="T10" fmla="*/ 63 w 374"/>
                <a:gd name="T11" fmla="*/ 227 h 528"/>
                <a:gd name="T12" fmla="*/ 63 w 374"/>
                <a:gd name="T13" fmla="*/ 290 h 528"/>
                <a:gd name="T14" fmla="*/ 21 w 374"/>
                <a:gd name="T15" fmla="*/ 328 h 528"/>
                <a:gd name="T16" fmla="*/ 90 w 374"/>
                <a:gd name="T17" fmla="*/ 376 h 528"/>
                <a:gd name="T18" fmla="*/ 128 w 374"/>
                <a:gd name="T19" fmla="*/ 485 h 528"/>
                <a:gd name="T20" fmla="*/ 210 w 374"/>
                <a:gd name="T21" fmla="*/ 503 h 528"/>
                <a:gd name="T22" fmla="*/ 217 w 374"/>
                <a:gd name="T23" fmla="*/ 528 h 528"/>
                <a:gd name="T24" fmla="*/ 248 w 374"/>
                <a:gd name="T25" fmla="*/ 528 h 528"/>
                <a:gd name="T26" fmla="*/ 271 w 374"/>
                <a:gd name="T27" fmla="*/ 494 h 528"/>
                <a:gd name="T28" fmla="*/ 313 w 374"/>
                <a:gd name="T29" fmla="*/ 494 h 528"/>
                <a:gd name="T30" fmla="*/ 351 w 374"/>
                <a:gd name="T31" fmla="*/ 468 h 528"/>
                <a:gd name="T32" fmla="*/ 351 w 374"/>
                <a:gd name="T33" fmla="*/ 423 h 528"/>
                <a:gd name="T34" fmla="*/ 374 w 374"/>
                <a:gd name="T35" fmla="*/ 345 h 528"/>
                <a:gd name="T36" fmla="*/ 369 w 374"/>
                <a:gd name="T37" fmla="*/ 294 h 528"/>
                <a:gd name="T38" fmla="*/ 327 w 374"/>
                <a:gd name="T39" fmla="*/ 272 h 528"/>
                <a:gd name="T40" fmla="*/ 329 w 374"/>
                <a:gd name="T41" fmla="*/ 204 h 528"/>
                <a:gd name="T42" fmla="*/ 287 w 374"/>
                <a:gd name="T43" fmla="*/ 163 h 528"/>
                <a:gd name="T44" fmla="*/ 259 w 374"/>
                <a:gd name="T45" fmla="*/ 163 h 528"/>
                <a:gd name="T46" fmla="*/ 257 w 374"/>
                <a:gd name="T47" fmla="*/ 125 h 528"/>
                <a:gd name="T48" fmla="*/ 225 w 374"/>
                <a:gd name="T49" fmla="*/ 76 h 528"/>
                <a:gd name="T50" fmla="*/ 114 w 374"/>
                <a:gd name="T51" fmla="*/ 32 h 528"/>
                <a:gd name="T52" fmla="*/ 114 w 374"/>
                <a:gd name="T53" fmla="*/ 0 h 528"/>
                <a:gd name="T54" fmla="*/ 114 w 374"/>
                <a:gd name="T55" fmla="*/ 0 h 52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74"/>
                <a:gd name="T85" fmla="*/ 0 h 528"/>
                <a:gd name="T86" fmla="*/ 374 w 374"/>
                <a:gd name="T87" fmla="*/ 528 h 52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74" h="528">
                  <a:moveTo>
                    <a:pt x="114" y="0"/>
                  </a:moveTo>
                  <a:lnTo>
                    <a:pt x="46" y="18"/>
                  </a:lnTo>
                  <a:lnTo>
                    <a:pt x="50" y="71"/>
                  </a:lnTo>
                  <a:lnTo>
                    <a:pt x="0" y="85"/>
                  </a:lnTo>
                  <a:lnTo>
                    <a:pt x="0" y="126"/>
                  </a:lnTo>
                  <a:lnTo>
                    <a:pt x="63" y="227"/>
                  </a:lnTo>
                  <a:lnTo>
                    <a:pt x="63" y="290"/>
                  </a:lnTo>
                  <a:lnTo>
                    <a:pt x="21" y="328"/>
                  </a:lnTo>
                  <a:lnTo>
                    <a:pt x="90" y="376"/>
                  </a:lnTo>
                  <a:lnTo>
                    <a:pt x="128" y="485"/>
                  </a:lnTo>
                  <a:lnTo>
                    <a:pt x="210" y="503"/>
                  </a:lnTo>
                  <a:lnTo>
                    <a:pt x="217" y="528"/>
                  </a:lnTo>
                  <a:lnTo>
                    <a:pt x="248" y="528"/>
                  </a:lnTo>
                  <a:lnTo>
                    <a:pt x="271" y="494"/>
                  </a:lnTo>
                  <a:lnTo>
                    <a:pt x="313" y="494"/>
                  </a:lnTo>
                  <a:lnTo>
                    <a:pt x="351" y="468"/>
                  </a:lnTo>
                  <a:lnTo>
                    <a:pt x="351" y="423"/>
                  </a:lnTo>
                  <a:lnTo>
                    <a:pt x="374" y="345"/>
                  </a:lnTo>
                  <a:lnTo>
                    <a:pt x="369" y="294"/>
                  </a:lnTo>
                  <a:lnTo>
                    <a:pt x="327" y="272"/>
                  </a:lnTo>
                  <a:lnTo>
                    <a:pt x="329" y="204"/>
                  </a:lnTo>
                  <a:lnTo>
                    <a:pt x="287" y="163"/>
                  </a:lnTo>
                  <a:lnTo>
                    <a:pt x="259" y="163"/>
                  </a:lnTo>
                  <a:lnTo>
                    <a:pt x="257" y="125"/>
                  </a:lnTo>
                  <a:lnTo>
                    <a:pt x="225" y="76"/>
                  </a:lnTo>
                  <a:lnTo>
                    <a:pt x="114" y="32"/>
                  </a:lnTo>
                  <a:lnTo>
                    <a:pt x="114"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04" name="Freeform 105"/>
            <p:cNvSpPr>
              <a:spLocks noChangeAspect="1"/>
            </p:cNvSpPr>
            <p:nvPr/>
          </p:nvSpPr>
          <p:spPr bwMode="gray">
            <a:xfrm>
              <a:off x="3221538" y="2715975"/>
              <a:ext cx="403862" cy="512315"/>
            </a:xfrm>
            <a:custGeom>
              <a:avLst/>
              <a:gdLst>
                <a:gd name="T0" fmla="*/ 191 w 468"/>
                <a:gd name="T1" fmla="*/ 0 h 547"/>
                <a:gd name="T2" fmla="*/ 58 w 468"/>
                <a:gd name="T3" fmla="*/ 38 h 547"/>
                <a:gd name="T4" fmla="*/ 50 w 468"/>
                <a:gd name="T5" fmla="*/ 82 h 547"/>
                <a:gd name="T6" fmla="*/ 70 w 468"/>
                <a:gd name="T7" fmla="*/ 128 h 547"/>
                <a:gd name="T8" fmla="*/ 0 w 468"/>
                <a:gd name="T9" fmla="*/ 251 h 547"/>
                <a:gd name="T10" fmla="*/ 14 w 468"/>
                <a:gd name="T11" fmla="*/ 295 h 547"/>
                <a:gd name="T12" fmla="*/ 14 w 468"/>
                <a:gd name="T13" fmla="*/ 377 h 547"/>
                <a:gd name="T14" fmla="*/ 44 w 468"/>
                <a:gd name="T15" fmla="*/ 438 h 547"/>
                <a:gd name="T16" fmla="*/ 146 w 468"/>
                <a:gd name="T17" fmla="*/ 483 h 547"/>
                <a:gd name="T18" fmla="*/ 207 w 468"/>
                <a:gd name="T19" fmla="*/ 547 h 547"/>
                <a:gd name="T20" fmla="*/ 398 w 468"/>
                <a:gd name="T21" fmla="*/ 498 h 547"/>
                <a:gd name="T22" fmla="*/ 463 w 468"/>
                <a:gd name="T23" fmla="*/ 418 h 547"/>
                <a:gd name="T24" fmla="*/ 468 w 468"/>
                <a:gd name="T25" fmla="*/ 337 h 547"/>
                <a:gd name="T26" fmla="*/ 429 w 468"/>
                <a:gd name="T27" fmla="*/ 276 h 547"/>
                <a:gd name="T28" fmla="*/ 457 w 468"/>
                <a:gd name="T29" fmla="*/ 225 h 547"/>
                <a:gd name="T30" fmla="*/ 429 w 468"/>
                <a:gd name="T31" fmla="*/ 184 h 547"/>
                <a:gd name="T32" fmla="*/ 418 w 468"/>
                <a:gd name="T33" fmla="*/ 199 h 547"/>
                <a:gd name="T34" fmla="*/ 387 w 468"/>
                <a:gd name="T35" fmla="*/ 199 h 547"/>
                <a:gd name="T36" fmla="*/ 383 w 468"/>
                <a:gd name="T37" fmla="*/ 179 h 547"/>
                <a:gd name="T38" fmla="*/ 298 w 468"/>
                <a:gd name="T39" fmla="*/ 160 h 547"/>
                <a:gd name="T40" fmla="*/ 260 w 468"/>
                <a:gd name="T41" fmla="*/ 52 h 547"/>
                <a:gd name="T42" fmla="*/ 191 w 468"/>
                <a:gd name="T43" fmla="*/ 0 h 547"/>
                <a:gd name="T44" fmla="*/ 191 w 468"/>
                <a:gd name="T45" fmla="*/ 0 h 5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68"/>
                <a:gd name="T70" fmla="*/ 0 h 547"/>
                <a:gd name="T71" fmla="*/ 468 w 468"/>
                <a:gd name="T72" fmla="*/ 547 h 54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68" h="547">
                  <a:moveTo>
                    <a:pt x="191" y="0"/>
                  </a:moveTo>
                  <a:lnTo>
                    <a:pt x="58" y="38"/>
                  </a:lnTo>
                  <a:lnTo>
                    <a:pt x="50" y="82"/>
                  </a:lnTo>
                  <a:lnTo>
                    <a:pt x="70" y="128"/>
                  </a:lnTo>
                  <a:lnTo>
                    <a:pt x="0" y="251"/>
                  </a:lnTo>
                  <a:lnTo>
                    <a:pt x="14" y="295"/>
                  </a:lnTo>
                  <a:lnTo>
                    <a:pt x="14" y="377"/>
                  </a:lnTo>
                  <a:lnTo>
                    <a:pt x="44" y="438"/>
                  </a:lnTo>
                  <a:lnTo>
                    <a:pt x="146" y="483"/>
                  </a:lnTo>
                  <a:lnTo>
                    <a:pt x="207" y="547"/>
                  </a:lnTo>
                  <a:lnTo>
                    <a:pt x="398" y="498"/>
                  </a:lnTo>
                  <a:lnTo>
                    <a:pt x="463" y="418"/>
                  </a:lnTo>
                  <a:lnTo>
                    <a:pt x="468" y="337"/>
                  </a:lnTo>
                  <a:lnTo>
                    <a:pt x="429" y="276"/>
                  </a:lnTo>
                  <a:lnTo>
                    <a:pt x="457" y="225"/>
                  </a:lnTo>
                  <a:lnTo>
                    <a:pt x="429" y="184"/>
                  </a:lnTo>
                  <a:lnTo>
                    <a:pt x="418" y="199"/>
                  </a:lnTo>
                  <a:lnTo>
                    <a:pt x="387" y="199"/>
                  </a:lnTo>
                  <a:lnTo>
                    <a:pt x="383" y="179"/>
                  </a:lnTo>
                  <a:lnTo>
                    <a:pt x="298" y="160"/>
                  </a:lnTo>
                  <a:lnTo>
                    <a:pt x="260" y="52"/>
                  </a:lnTo>
                  <a:lnTo>
                    <a:pt x="191"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05" name="Freeform 106"/>
            <p:cNvSpPr>
              <a:spLocks noChangeAspect="1"/>
            </p:cNvSpPr>
            <p:nvPr/>
          </p:nvSpPr>
          <p:spPr bwMode="gray">
            <a:xfrm>
              <a:off x="3592608" y="2702887"/>
              <a:ext cx="405588" cy="360864"/>
            </a:xfrm>
            <a:custGeom>
              <a:avLst/>
              <a:gdLst>
                <a:gd name="T0" fmla="*/ 471 w 471"/>
                <a:gd name="T1" fmla="*/ 82 h 387"/>
                <a:gd name="T2" fmla="*/ 393 w 471"/>
                <a:gd name="T3" fmla="*/ 34 h 387"/>
                <a:gd name="T4" fmla="*/ 334 w 471"/>
                <a:gd name="T5" fmla="*/ 29 h 387"/>
                <a:gd name="T6" fmla="*/ 243 w 471"/>
                <a:gd name="T7" fmla="*/ 29 h 387"/>
                <a:gd name="T8" fmla="*/ 224 w 471"/>
                <a:gd name="T9" fmla="*/ 0 h 387"/>
                <a:gd name="T10" fmla="*/ 115 w 471"/>
                <a:gd name="T11" fmla="*/ 36 h 387"/>
                <a:gd name="T12" fmla="*/ 91 w 471"/>
                <a:gd name="T13" fmla="*/ 115 h 387"/>
                <a:gd name="T14" fmla="*/ 91 w 471"/>
                <a:gd name="T15" fmla="*/ 159 h 387"/>
                <a:gd name="T16" fmla="*/ 54 w 471"/>
                <a:gd name="T17" fmla="*/ 185 h 387"/>
                <a:gd name="T18" fmla="*/ 12 w 471"/>
                <a:gd name="T19" fmla="*/ 182 h 387"/>
                <a:gd name="T20" fmla="*/ 0 w 471"/>
                <a:gd name="T21" fmla="*/ 199 h 387"/>
                <a:gd name="T22" fmla="*/ 30 w 471"/>
                <a:gd name="T23" fmla="*/ 241 h 387"/>
                <a:gd name="T24" fmla="*/ 0 w 471"/>
                <a:gd name="T25" fmla="*/ 287 h 387"/>
                <a:gd name="T26" fmla="*/ 39 w 471"/>
                <a:gd name="T27" fmla="*/ 355 h 387"/>
                <a:gd name="T28" fmla="*/ 72 w 471"/>
                <a:gd name="T29" fmla="*/ 387 h 387"/>
                <a:gd name="T30" fmla="*/ 226 w 471"/>
                <a:gd name="T31" fmla="*/ 327 h 387"/>
                <a:gd name="T32" fmla="*/ 354 w 471"/>
                <a:gd name="T33" fmla="*/ 234 h 387"/>
                <a:gd name="T34" fmla="*/ 390 w 471"/>
                <a:gd name="T35" fmla="*/ 249 h 387"/>
                <a:gd name="T36" fmla="*/ 431 w 471"/>
                <a:gd name="T37" fmla="*/ 208 h 387"/>
                <a:gd name="T38" fmla="*/ 471 w 471"/>
                <a:gd name="T39" fmla="*/ 205 h 387"/>
                <a:gd name="T40" fmla="*/ 451 w 471"/>
                <a:gd name="T41" fmla="*/ 133 h 387"/>
                <a:gd name="T42" fmla="*/ 471 w 471"/>
                <a:gd name="T43" fmla="*/ 82 h 387"/>
                <a:gd name="T44" fmla="*/ 471 w 471"/>
                <a:gd name="T45" fmla="*/ 82 h 3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1"/>
                <a:gd name="T70" fmla="*/ 0 h 387"/>
                <a:gd name="T71" fmla="*/ 471 w 471"/>
                <a:gd name="T72" fmla="*/ 387 h 38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1" h="387">
                  <a:moveTo>
                    <a:pt x="471" y="82"/>
                  </a:moveTo>
                  <a:lnTo>
                    <a:pt x="393" y="34"/>
                  </a:lnTo>
                  <a:lnTo>
                    <a:pt x="334" y="29"/>
                  </a:lnTo>
                  <a:lnTo>
                    <a:pt x="243" y="29"/>
                  </a:lnTo>
                  <a:lnTo>
                    <a:pt x="224" y="0"/>
                  </a:lnTo>
                  <a:lnTo>
                    <a:pt x="115" y="36"/>
                  </a:lnTo>
                  <a:lnTo>
                    <a:pt x="91" y="115"/>
                  </a:lnTo>
                  <a:lnTo>
                    <a:pt x="91" y="159"/>
                  </a:lnTo>
                  <a:lnTo>
                    <a:pt x="54" y="185"/>
                  </a:lnTo>
                  <a:lnTo>
                    <a:pt x="12" y="182"/>
                  </a:lnTo>
                  <a:lnTo>
                    <a:pt x="0" y="199"/>
                  </a:lnTo>
                  <a:lnTo>
                    <a:pt x="30" y="241"/>
                  </a:lnTo>
                  <a:lnTo>
                    <a:pt x="0" y="287"/>
                  </a:lnTo>
                  <a:lnTo>
                    <a:pt x="39" y="355"/>
                  </a:lnTo>
                  <a:lnTo>
                    <a:pt x="72" y="387"/>
                  </a:lnTo>
                  <a:lnTo>
                    <a:pt x="226" y="327"/>
                  </a:lnTo>
                  <a:lnTo>
                    <a:pt x="354" y="234"/>
                  </a:lnTo>
                  <a:lnTo>
                    <a:pt x="390" y="249"/>
                  </a:lnTo>
                  <a:lnTo>
                    <a:pt x="431" y="208"/>
                  </a:lnTo>
                  <a:lnTo>
                    <a:pt x="471" y="205"/>
                  </a:lnTo>
                  <a:lnTo>
                    <a:pt x="451" y="133"/>
                  </a:lnTo>
                  <a:lnTo>
                    <a:pt x="471" y="82"/>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06" name="Freeform 107"/>
            <p:cNvSpPr>
              <a:spLocks noChangeAspect="1"/>
            </p:cNvSpPr>
            <p:nvPr/>
          </p:nvSpPr>
          <p:spPr bwMode="gray">
            <a:xfrm>
              <a:off x="3980937" y="2775807"/>
              <a:ext cx="105280" cy="173888"/>
            </a:xfrm>
            <a:custGeom>
              <a:avLst/>
              <a:gdLst>
                <a:gd name="T0" fmla="*/ 20 w 123"/>
                <a:gd name="T1" fmla="*/ 0 h 184"/>
                <a:gd name="T2" fmla="*/ 0 w 123"/>
                <a:gd name="T3" fmla="*/ 53 h 184"/>
                <a:gd name="T4" fmla="*/ 20 w 123"/>
                <a:gd name="T5" fmla="*/ 125 h 184"/>
                <a:gd name="T6" fmla="*/ 58 w 123"/>
                <a:gd name="T7" fmla="*/ 139 h 184"/>
                <a:gd name="T8" fmla="*/ 58 w 123"/>
                <a:gd name="T9" fmla="*/ 184 h 184"/>
                <a:gd name="T10" fmla="*/ 123 w 123"/>
                <a:gd name="T11" fmla="*/ 125 h 184"/>
                <a:gd name="T12" fmla="*/ 81 w 123"/>
                <a:gd name="T13" fmla="*/ 38 h 184"/>
                <a:gd name="T14" fmla="*/ 20 w 123"/>
                <a:gd name="T15" fmla="*/ 0 h 184"/>
                <a:gd name="T16" fmla="*/ 20 w 123"/>
                <a:gd name="T17" fmla="*/ 0 h 18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3"/>
                <a:gd name="T28" fmla="*/ 0 h 184"/>
                <a:gd name="T29" fmla="*/ 123 w 123"/>
                <a:gd name="T30" fmla="*/ 184 h 18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3" h="184">
                  <a:moveTo>
                    <a:pt x="20" y="0"/>
                  </a:moveTo>
                  <a:lnTo>
                    <a:pt x="0" y="53"/>
                  </a:lnTo>
                  <a:lnTo>
                    <a:pt x="20" y="125"/>
                  </a:lnTo>
                  <a:lnTo>
                    <a:pt x="58" y="139"/>
                  </a:lnTo>
                  <a:lnTo>
                    <a:pt x="58" y="184"/>
                  </a:lnTo>
                  <a:lnTo>
                    <a:pt x="123" y="125"/>
                  </a:lnTo>
                  <a:lnTo>
                    <a:pt x="81" y="38"/>
                  </a:lnTo>
                  <a:lnTo>
                    <a:pt x="20"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07" name="Freeform 108"/>
            <p:cNvSpPr>
              <a:spLocks noChangeAspect="1"/>
            </p:cNvSpPr>
            <p:nvPr/>
          </p:nvSpPr>
          <p:spPr bwMode="gray">
            <a:xfrm>
              <a:off x="3680629" y="2893602"/>
              <a:ext cx="412492" cy="459962"/>
            </a:xfrm>
            <a:custGeom>
              <a:avLst/>
              <a:gdLst>
                <a:gd name="T0" fmla="*/ 405 w 478"/>
                <a:gd name="T1" fmla="*/ 59 h 492"/>
                <a:gd name="T2" fmla="*/ 405 w 478"/>
                <a:gd name="T3" fmla="*/ 12 h 492"/>
                <a:gd name="T4" fmla="*/ 367 w 478"/>
                <a:gd name="T5" fmla="*/ 0 h 492"/>
                <a:gd name="T6" fmla="*/ 327 w 478"/>
                <a:gd name="T7" fmla="*/ 3 h 492"/>
                <a:gd name="T8" fmla="*/ 283 w 478"/>
                <a:gd name="T9" fmla="*/ 42 h 492"/>
                <a:gd name="T10" fmla="*/ 250 w 478"/>
                <a:gd name="T11" fmla="*/ 29 h 492"/>
                <a:gd name="T12" fmla="*/ 130 w 478"/>
                <a:gd name="T13" fmla="*/ 118 h 492"/>
                <a:gd name="T14" fmla="*/ 0 w 478"/>
                <a:gd name="T15" fmla="*/ 167 h 492"/>
                <a:gd name="T16" fmla="*/ 44 w 478"/>
                <a:gd name="T17" fmla="*/ 231 h 492"/>
                <a:gd name="T18" fmla="*/ 31 w 478"/>
                <a:gd name="T19" fmla="*/ 296 h 492"/>
                <a:gd name="T20" fmla="*/ 93 w 478"/>
                <a:gd name="T21" fmla="*/ 296 h 492"/>
                <a:gd name="T22" fmla="*/ 177 w 478"/>
                <a:gd name="T23" fmla="*/ 388 h 492"/>
                <a:gd name="T24" fmla="*/ 151 w 478"/>
                <a:gd name="T25" fmla="*/ 477 h 492"/>
                <a:gd name="T26" fmla="*/ 163 w 478"/>
                <a:gd name="T27" fmla="*/ 492 h 492"/>
                <a:gd name="T28" fmla="*/ 238 w 478"/>
                <a:gd name="T29" fmla="*/ 395 h 492"/>
                <a:gd name="T30" fmla="*/ 257 w 478"/>
                <a:gd name="T31" fmla="*/ 274 h 492"/>
                <a:gd name="T32" fmla="*/ 312 w 478"/>
                <a:gd name="T33" fmla="*/ 269 h 492"/>
                <a:gd name="T34" fmla="*/ 478 w 478"/>
                <a:gd name="T35" fmla="*/ 97 h 492"/>
                <a:gd name="T36" fmla="*/ 397 w 478"/>
                <a:gd name="T37" fmla="*/ 68 h 492"/>
                <a:gd name="T38" fmla="*/ 405 w 478"/>
                <a:gd name="T39" fmla="*/ 59 h 492"/>
                <a:gd name="T40" fmla="*/ 405 w 478"/>
                <a:gd name="T41" fmla="*/ 59 h 49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78"/>
                <a:gd name="T64" fmla="*/ 0 h 492"/>
                <a:gd name="T65" fmla="*/ 478 w 478"/>
                <a:gd name="T66" fmla="*/ 492 h 49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78" h="492">
                  <a:moveTo>
                    <a:pt x="405" y="59"/>
                  </a:moveTo>
                  <a:lnTo>
                    <a:pt x="405" y="12"/>
                  </a:lnTo>
                  <a:lnTo>
                    <a:pt x="367" y="0"/>
                  </a:lnTo>
                  <a:lnTo>
                    <a:pt x="327" y="3"/>
                  </a:lnTo>
                  <a:lnTo>
                    <a:pt x="283" y="42"/>
                  </a:lnTo>
                  <a:lnTo>
                    <a:pt x="250" y="29"/>
                  </a:lnTo>
                  <a:lnTo>
                    <a:pt x="130" y="118"/>
                  </a:lnTo>
                  <a:lnTo>
                    <a:pt x="0" y="167"/>
                  </a:lnTo>
                  <a:lnTo>
                    <a:pt x="44" y="231"/>
                  </a:lnTo>
                  <a:lnTo>
                    <a:pt x="31" y="296"/>
                  </a:lnTo>
                  <a:lnTo>
                    <a:pt x="93" y="296"/>
                  </a:lnTo>
                  <a:lnTo>
                    <a:pt x="177" y="388"/>
                  </a:lnTo>
                  <a:lnTo>
                    <a:pt x="151" y="477"/>
                  </a:lnTo>
                  <a:lnTo>
                    <a:pt x="163" y="492"/>
                  </a:lnTo>
                  <a:lnTo>
                    <a:pt x="238" y="395"/>
                  </a:lnTo>
                  <a:lnTo>
                    <a:pt x="257" y="274"/>
                  </a:lnTo>
                  <a:lnTo>
                    <a:pt x="312" y="269"/>
                  </a:lnTo>
                  <a:lnTo>
                    <a:pt x="478" y="97"/>
                  </a:lnTo>
                  <a:lnTo>
                    <a:pt x="397" y="68"/>
                  </a:lnTo>
                  <a:lnTo>
                    <a:pt x="405" y="59"/>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08" name="Freeform 109"/>
            <p:cNvSpPr>
              <a:spLocks noChangeAspect="1"/>
            </p:cNvSpPr>
            <p:nvPr/>
          </p:nvSpPr>
          <p:spPr bwMode="gray">
            <a:xfrm>
              <a:off x="3564993" y="3033835"/>
              <a:ext cx="270967" cy="473050"/>
            </a:xfrm>
            <a:custGeom>
              <a:avLst/>
              <a:gdLst>
                <a:gd name="T0" fmla="*/ 70 w 313"/>
                <a:gd name="T1" fmla="*/ 0 h 507"/>
                <a:gd name="T2" fmla="*/ 61 w 313"/>
                <a:gd name="T3" fmla="*/ 78 h 507"/>
                <a:gd name="T4" fmla="*/ 0 w 313"/>
                <a:gd name="T5" fmla="*/ 154 h 507"/>
                <a:gd name="T6" fmla="*/ 6 w 313"/>
                <a:gd name="T7" fmla="*/ 187 h 507"/>
                <a:gd name="T8" fmla="*/ 31 w 313"/>
                <a:gd name="T9" fmla="*/ 245 h 507"/>
                <a:gd name="T10" fmla="*/ 76 w 313"/>
                <a:gd name="T11" fmla="*/ 318 h 507"/>
                <a:gd name="T12" fmla="*/ 43 w 313"/>
                <a:gd name="T13" fmla="*/ 363 h 507"/>
                <a:gd name="T14" fmla="*/ 69 w 313"/>
                <a:gd name="T15" fmla="*/ 408 h 507"/>
                <a:gd name="T16" fmla="*/ 31 w 313"/>
                <a:gd name="T17" fmla="*/ 416 h 507"/>
                <a:gd name="T18" fmla="*/ 90 w 313"/>
                <a:gd name="T19" fmla="*/ 507 h 507"/>
                <a:gd name="T20" fmla="*/ 158 w 313"/>
                <a:gd name="T21" fmla="*/ 472 h 507"/>
                <a:gd name="T22" fmla="*/ 196 w 313"/>
                <a:gd name="T23" fmla="*/ 507 h 507"/>
                <a:gd name="T24" fmla="*/ 266 w 313"/>
                <a:gd name="T25" fmla="*/ 472 h 507"/>
                <a:gd name="T26" fmla="*/ 298 w 313"/>
                <a:gd name="T27" fmla="*/ 408 h 507"/>
                <a:gd name="T28" fmla="*/ 278 w 313"/>
                <a:gd name="T29" fmla="*/ 372 h 507"/>
                <a:gd name="T30" fmla="*/ 303 w 313"/>
                <a:gd name="T31" fmla="*/ 339 h 507"/>
                <a:gd name="T32" fmla="*/ 283 w 313"/>
                <a:gd name="T33" fmla="*/ 329 h 507"/>
                <a:gd name="T34" fmla="*/ 313 w 313"/>
                <a:gd name="T35" fmla="*/ 238 h 507"/>
                <a:gd name="T36" fmla="*/ 228 w 313"/>
                <a:gd name="T37" fmla="*/ 145 h 507"/>
                <a:gd name="T38" fmla="*/ 166 w 313"/>
                <a:gd name="T39" fmla="*/ 145 h 507"/>
                <a:gd name="T40" fmla="*/ 181 w 313"/>
                <a:gd name="T41" fmla="*/ 78 h 507"/>
                <a:gd name="T42" fmla="*/ 135 w 313"/>
                <a:gd name="T43" fmla="*/ 20 h 507"/>
                <a:gd name="T44" fmla="*/ 103 w 313"/>
                <a:gd name="T45" fmla="*/ 31 h 507"/>
                <a:gd name="T46" fmla="*/ 70 w 313"/>
                <a:gd name="T47" fmla="*/ 0 h 507"/>
                <a:gd name="T48" fmla="*/ 70 w 313"/>
                <a:gd name="T49" fmla="*/ 0 h 50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3"/>
                <a:gd name="T76" fmla="*/ 0 h 507"/>
                <a:gd name="T77" fmla="*/ 313 w 313"/>
                <a:gd name="T78" fmla="*/ 507 h 50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3" h="507">
                  <a:moveTo>
                    <a:pt x="70" y="0"/>
                  </a:moveTo>
                  <a:lnTo>
                    <a:pt x="61" y="78"/>
                  </a:lnTo>
                  <a:lnTo>
                    <a:pt x="0" y="154"/>
                  </a:lnTo>
                  <a:lnTo>
                    <a:pt x="6" y="187"/>
                  </a:lnTo>
                  <a:lnTo>
                    <a:pt x="31" y="245"/>
                  </a:lnTo>
                  <a:lnTo>
                    <a:pt x="76" y="318"/>
                  </a:lnTo>
                  <a:lnTo>
                    <a:pt x="43" y="363"/>
                  </a:lnTo>
                  <a:lnTo>
                    <a:pt x="69" y="408"/>
                  </a:lnTo>
                  <a:lnTo>
                    <a:pt x="31" y="416"/>
                  </a:lnTo>
                  <a:lnTo>
                    <a:pt x="90" y="507"/>
                  </a:lnTo>
                  <a:lnTo>
                    <a:pt x="158" y="472"/>
                  </a:lnTo>
                  <a:lnTo>
                    <a:pt x="196" y="507"/>
                  </a:lnTo>
                  <a:lnTo>
                    <a:pt x="266" y="472"/>
                  </a:lnTo>
                  <a:lnTo>
                    <a:pt x="298" y="408"/>
                  </a:lnTo>
                  <a:lnTo>
                    <a:pt x="278" y="372"/>
                  </a:lnTo>
                  <a:lnTo>
                    <a:pt x="303" y="339"/>
                  </a:lnTo>
                  <a:lnTo>
                    <a:pt x="283" y="329"/>
                  </a:lnTo>
                  <a:lnTo>
                    <a:pt x="313" y="238"/>
                  </a:lnTo>
                  <a:lnTo>
                    <a:pt x="228" y="145"/>
                  </a:lnTo>
                  <a:lnTo>
                    <a:pt x="166" y="145"/>
                  </a:lnTo>
                  <a:lnTo>
                    <a:pt x="181" y="78"/>
                  </a:lnTo>
                  <a:lnTo>
                    <a:pt x="135" y="20"/>
                  </a:lnTo>
                  <a:lnTo>
                    <a:pt x="103" y="31"/>
                  </a:lnTo>
                  <a:lnTo>
                    <a:pt x="70"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09" name="Freeform 110"/>
            <p:cNvSpPr>
              <a:spLocks noChangeAspect="1"/>
            </p:cNvSpPr>
            <p:nvPr/>
          </p:nvSpPr>
          <p:spPr bwMode="gray">
            <a:xfrm>
              <a:off x="3428647" y="3404048"/>
              <a:ext cx="409040" cy="398259"/>
            </a:xfrm>
            <a:custGeom>
              <a:avLst/>
              <a:gdLst>
                <a:gd name="T0" fmla="*/ 457 w 475"/>
                <a:gd name="T1" fmla="*/ 12 h 427"/>
                <a:gd name="T2" fmla="*/ 430 w 475"/>
                <a:gd name="T3" fmla="*/ 76 h 427"/>
                <a:gd name="T4" fmla="*/ 355 w 475"/>
                <a:gd name="T5" fmla="*/ 111 h 427"/>
                <a:gd name="T6" fmla="*/ 316 w 475"/>
                <a:gd name="T7" fmla="*/ 76 h 427"/>
                <a:gd name="T8" fmla="*/ 249 w 475"/>
                <a:gd name="T9" fmla="*/ 111 h 427"/>
                <a:gd name="T10" fmla="*/ 190 w 475"/>
                <a:gd name="T11" fmla="*/ 20 h 427"/>
                <a:gd name="T12" fmla="*/ 153 w 475"/>
                <a:gd name="T13" fmla="*/ 0 h 427"/>
                <a:gd name="T14" fmla="*/ 59 w 475"/>
                <a:gd name="T15" fmla="*/ 10 h 427"/>
                <a:gd name="T16" fmla="*/ 0 w 475"/>
                <a:gd name="T17" fmla="*/ 284 h 427"/>
                <a:gd name="T18" fmla="*/ 148 w 475"/>
                <a:gd name="T19" fmla="*/ 362 h 427"/>
                <a:gd name="T20" fmla="*/ 235 w 475"/>
                <a:gd name="T21" fmla="*/ 295 h 427"/>
                <a:gd name="T22" fmla="*/ 304 w 475"/>
                <a:gd name="T23" fmla="*/ 427 h 427"/>
                <a:gd name="T24" fmla="*/ 366 w 475"/>
                <a:gd name="T25" fmla="*/ 368 h 427"/>
                <a:gd name="T26" fmla="*/ 376 w 475"/>
                <a:gd name="T27" fmla="*/ 185 h 427"/>
                <a:gd name="T28" fmla="*/ 430 w 475"/>
                <a:gd name="T29" fmla="*/ 160 h 427"/>
                <a:gd name="T30" fmla="*/ 430 w 475"/>
                <a:gd name="T31" fmla="*/ 137 h 427"/>
                <a:gd name="T32" fmla="*/ 475 w 475"/>
                <a:gd name="T33" fmla="*/ 46 h 427"/>
                <a:gd name="T34" fmla="*/ 457 w 475"/>
                <a:gd name="T35" fmla="*/ 12 h 427"/>
                <a:gd name="T36" fmla="*/ 457 w 475"/>
                <a:gd name="T37" fmla="*/ 12 h 4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75"/>
                <a:gd name="T58" fmla="*/ 0 h 427"/>
                <a:gd name="T59" fmla="*/ 475 w 475"/>
                <a:gd name="T60" fmla="*/ 427 h 4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75" h="427">
                  <a:moveTo>
                    <a:pt x="457" y="12"/>
                  </a:moveTo>
                  <a:lnTo>
                    <a:pt x="430" y="76"/>
                  </a:lnTo>
                  <a:lnTo>
                    <a:pt x="355" y="111"/>
                  </a:lnTo>
                  <a:lnTo>
                    <a:pt x="316" y="76"/>
                  </a:lnTo>
                  <a:lnTo>
                    <a:pt x="249" y="111"/>
                  </a:lnTo>
                  <a:lnTo>
                    <a:pt x="190" y="20"/>
                  </a:lnTo>
                  <a:lnTo>
                    <a:pt x="153" y="0"/>
                  </a:lnTo>
                  <a:lnTo>
                    <a:pt x="59" y="10"/>
                  </a:lnTo>
                  <a:lnTo>
                    <a:pt x="0" y="284"/>
                  </a:lnTo>
                  <a:lnTo>
                    <a:pt x="148" y="362"/>
                  </a:lnTo>
                  <a:lnTo>
                    <a:pt x="235" y="295"/>
                  </a:lnTo>
                  <a:lnTo>
                    <a:pt x="304" y="427"/>
                  </a:lnTo>
                  <a:lnTo>
                    <a:pt x="366" y="368"/>
                  </a:lnTo>
                  <a:lnTo>
                    <a:pt x="376" y="185"/>
                  </a:lnTo>
                  <a:lnTo>
                    <a:pt x="430" y="160"/>
                  </a:lnTo>
                  <a:lnTo>
                    <a:pt x="430" y="137"/>
                  </a:lnTo>
                  <a:lnTo>
                    <a:pt x="475" y="46"/>
                  </a:lnTo>
                  <a:lnTo>
                    <a:pt x="457" y="12"/>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10" name="Freeform 111"/>
            <p:cNvSpPr>
              <a:spLocks noChangeAspect="1"/>
            </p:cNvSpPr>
            <p:nvPr/>
          </p:nvSpPr>
          <p:spPr bwMode="gray">
            <a:xfrm>
              <a:off x="3090369" y="3125453"/>
              <a:ext cx="540209" cy="441264"/>
            </a:xfrm>
            <a:custGeom>
              <a:avLst/>
              <a:gdLst>
                <a:gd name="T0" fmla="*/ 194 w 625"/>
                <a:gd name="T1" fmla="*/ 0 h 471"/>
                <a:gd name="T2" fmla="*/ 133 w 625"/>
                <a:gd name="T3" fmla="*/ 51 h 471"/>
                <a:gd name="T4" fmla="*/ 140 w 625"/>
                <a:gd name="T5" fmla="*/ 184 h 471"/>
                <a:gd name="T6" fmla="*/ 66 w 625"/>
                <a:gd name="T7" fmla="*/ 231 h 471"/>
                <a:gd name="T8" fmla="*/ 20 w 625"/>
                <a:gd name="T9" fmla="*/ 203 h 471"/>
                <a:gd name="T10" fmla="*/ 0 w 625"/>
                <a:gd name="T11" fmla="*/ 229 h 471"/>
                <a:gd name="T12" fmla="*/ 130 w 625"/>
                <a:gd name="T13" fmla="*/ 339 h 471"/>
                <a:gd name="T14" fmla="*/ 130 w 625"/>
                <a:gd name="T15" fmla="*/ 403 h 471"/>
                <a:gd name="T16" fmla="*/ 89 w 625"/>
                <a:gd name="T17" fmla="*/ 424 h 471"/>
                <a:gd name="T18" fmla="*/ 151 w 625"/>
                <a:gd name="T19" fmla="*/ 471 h 471"/>
                <a:gd name="T20" fmla="*/ 276 w 625"/>
                <a:gd name="T21" fmla="*/ 449 h 471"/>
                <a:gd name="T22" fmla="*/ 280 w 625"/>
                <a:gd name="T23" fmla="*/ 409 h 471"/>
                <a:gd name="T24" fmla="*/ 367 w 625"/>
                <a:gd name="T25" fmla="*/ 403 h 471"/>
                <a:gd name="T26" fmla="*/ 420 w 625"/>
                <a:gd name="T27" fmla="*/ 450 h 471"/>
                <a:gd name="T28" fmla="*/ 450 w 625"/>
                <a:gd name="T29" fmla="*/ 308 h 471"/>
                <a:gd name="T30" fmla="*/ 546 w 625"/>
                <a:gd name="T31" fmla="*/ 298 h 471"/>
                <a:gd name="T32" fmla="*/ 580 w 625"/>
                <a:gd name="T33" fmla="*/ 318 h 471"/>
                <a:gd name="T34" fmla="*/ 625 w 625"/>
                <a:gd name="T35" fmla="*/ 310 h 471"/>
                <a:gd name="T36" fmla="*/ 592 w 625"/>
                <a:gd name="T37" fmla="*/ 265 h 471"/>
                <a:gd name="T38" fmla="*/ 625 w 625"/>
                <a:gd name="T39" fmla="*/ 220 h 471"/>
                <a:gd name="T40" fmla="*/ 549 w 625"/>
                <a:gd name="T41" fmla="*/ 86 h 471"/>
                <a:gd name="T42" fmla="*/ 549 w 625"/>
                <a:gd name="T43" fmla="*/ 59 h 471"/>
                <a:gd name="T44" fmla="*/ 358 w 625"/>
                <a:gd name="T45" fmla="*/ 109 h 471"/>
                <a:gd name="T46" fmla="*/ 294 w 625"/>
                <a:gd name="T47" fmla="*/ 43 h 471"/>
                <a:gd name="T48" fmla="*/ 194 w 625"/>
                <a:gd name="T49" fmla="*/ 0 h 471"/>
                <a:gd name="T50" fmla="*/ 194 w 625"/>
                <a:gd name="T51" fmla="*/ 0 h 47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25"/>
                <a:gd name="T79" fmla="*/ 0 h 471"/>
                <a:gd name="T80" fmla="*/ 625 w 625"/>
                <a:gd name="T81" fmla="*/ 471 h 47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25" h="471">
                  <a:moveTo>
                    <a:pt x="194" y="0"/>
                  </a:moveTo>
                  <a:lnTo>
                    <a:pt x="133" y="51"/>
                  </a:lnTo>
                  <a:lnTo>
                    <a:pt x="140" y="184"/>
                  </a:lnTo>
                  <a:lnTo>
                    <a:pt x="66" y="231"/>
                  </a:lnTo>
                  <a:lnTo>
                    <a:pt x="20" y="203"/>
                  </a:lnTo>
                  <a:lnTo>
                    <a:pt x="0" y="229"/>
                  </a:lnTo>
                  <a:lnTo>
                    <a:pt x="130" y="339"/>
                  </a:lnTo>
                  <a:lnTo>
                    <a:pt x="130" y="403"/>
                  </a:lnTo>
                  <a:lnTo>
                    <a:pt x="89" y="424"/>
                  </a:lnTo>
                  <a:lnTo>
                    <a:pt x="151" y="471"/>
                  </a:lnTo>
                  <a:lnTo>
                    <a:pt x="276" y="449"/>
                  </a:lnTo>
                  <a:lnTo>
                    <a:pt x="280" y="409"/>
                  </a:lnTo>
                  <a:lnTo>
                    <a:pt x="367" y="403"/>
                  </a:lnTo>
                  <a:lnTo>
                    <a:pt x="420" y="450"/>
                  </a:lnTo>
                  <a:lnTo>
                    <a:pt x="450" y="308"/>
                  </a:lnTo>
                  <a:lnTo>
                    <a:pt x="546" y="298"/>
                  </a:lnTo>
                  <a:lnTo>
                    <a:pt x="580" y="318"/>
                  </a:lnTo>
                  <a:lnTo>
                    <a:pt x="625" y="310"/>
                  </a:lnTo>
                  <a:lnTo>
                    <a:pt x="592" y="265"/>
                  </a:lnTo>
                  <a:lnTo>
                    <a:pt x="625" y="220"/>
                  </a:lnTo>
                  <a:lnTo>
                    <a:pt x="549" y="86"/>
                  </a:lnTo>
                  <a:lnTo>
                    <a:pt x="549" y="59"/>
                  </a:lnTo>
                  <a:lnTo>
                    <a:pt x="358" y="109"/>
                  </a:lnTo>
                  <a:lnTo>
                    <a:pt x="294" y="43"/>
                  </a:lnTo>
                  <a:lnTo>
                    <a:pt x="194"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11" name="Freeform 112"/>
            <p:cNvSpPr>
              <a:spLocks noChangeAspect="1"/>
            </p:cNvSpPr>
            <p:nvPr/>
          </p:nvSpPr>
          <p:spPr bwMode="gray">
            <a:xfrm>
              <a:off x="2859098" y="2940347"/>
              <a:ext cx="400410" cy="420697"/>
            </a:xfrm>
            <a:custGeom>
              <a:avLst/>
              <a:gdLst>
                <a:gd name="T0" fmla="*/ 0 w 465"/>
                <a:gd name="T1" fmla="*/ 17 h 449"/>
                <a:gd name="T2" fmla="*/ 8 w 465"/>
                <a:gd name="T3" fmla="*/ 117 h 449"/>
                <a:gd name="T4" fmla="*/ 76 w 465"/>
                <a:gd name="T5" fmla="*/ 220 h 449"/>
                <a:gd name="T6" fmla="*/ 56 w 465"/>
                <a:gd name="T7" fmla="*/ 386 h 449"/>
                <a:gd name="T8" fmla="*/ 126 w 465"/>
                <a:gd name="T9" fmla="*/ 439 h 449"/>
                <a:gd name="T10" fmla="*/ 236 w 465"/>
                <a:gd name="T11" fmla="*/ 449 h 449"/>
                <a:gd name="T12" fmla="*/ 270 w 465"/>
                <a:gd name="T13" fmla="*/ 429 h 449"/>
                <a:gd name="T14" fmla="*/ 290 w 465"/>
                <a:gd name="T15" fmla="*/ 401 h 449"/>
                <a:gd name="T16" fmla="*/ 336 w 465"/>
                <a:gd name="T17" fmla="*/ 429 h 449"/>
                <a:gd name="T18" fmla="*/ 412 w 465"/>
                <a:gd name="T19" fmla="*/ 386 h 449"/>
                <a:gd name="T20" fmla="*/ 403 w 465"/>
                <a:gd name="T21" fmla="*/ 249 h 449"/>
                <a:gd name="T22" fmla="*/ 465 w 465"/>
                <a:gd name="T23" fmla="*/ 198 h 449"/>
                <a:gd name="T24" fmla="*/ 435 w 465"/>
                <a:gd name="T25" fmla="*/ 138 h 449"/>
                <a:gd name="T26" fmla="*/ 435 w 465"/>
                <a:gd name="T27" fmla="*/ 55 h 449"/>
                <a:gd name="T28" fmla="*/ 412 w 465"/>
                <a:gd name="T29" fmla="*/ 64 h 449"/>
                <a:gd name="T30" fmla="*/ 412 w 465"/>
                <a:gd name="T31" fmla="*/ 97 h 449"/>
                <a:gd name="T32" fmla="*/ 392 w 465"/>
                <a:gd name="T33" fmla="*/ 112 h 449"/>
                <a:gd name="T34" fmla="*/ 342 w 465"/>
                <a:gd name="T35" fmla="*/ 64 h 449"/>
                <a:gd name="T36" fmla="*/ 318 w 465"/>
                <a:gd name="T37" fmla="*/ 74 h 449"/>
                <a:gd name="T38" fmla="*/ 228 w 465"/>
                <a:gd name="T39" fmla="*/ 9 h 449"/>
                <a:gd name="T40" fmla="*/ 156 w 465"/>
                <a:gd name="T41" fmla="*/ 36 h 449"/>
                <a:gd name="T42" fmla="*/ 103 w 465"/>
                <a:gd name="T43" fmla="*/ 0 h 449"/>
                <a:gd name="T44" fmla="*/ 42 w 465"/>
                <a:gd name="T45" fmla="*/ 0 h 449"/>
                <a:gd name="T46" fmla="*/ 0 w 465"/>
                <a:gd name="T47" fmla="*/ 17 h 449"/>
                <a:gd name="T48" fmla="*/ 0 w 465"/>
                <a:gd name="T49" fmla="*/ 17 h 44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65"/>
                <a:gd name="T76" fmla="*/ 0 h 449"/>
                <a:gd name="T77" fmla="*/ 465 w 465"/>
                <a:gd name="T78" fmla="*/ 449 h 44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65" h="449">
                  <a:moveTo>
                    <a:pt x="0" y="17"/>
                  </a:moveTo>
                  <a:lnTo>
                    <a:pt x="8" y="117"/>
                  </a:lnTo>
                  <a:lnTo>
                    <a:pt x="76" y="220"/>
                  </a:lnTo>
                  <a:lnTo>
                    <a:pt x="56" y="386"/>
                  </a:lnTo>
                  <a:lnTo>
                    <a:pt x="126" y="439"/>
                  </a:lnTo>
                  <a:lnTo>
                    <a:pt x="236" y="449"/>
                  </a:lnTo>
                  <a:lnTo>
                    <a:pt x="270" y="429"/>
                  </a:lnTo>
                  <a:lnTo>
                    <a:pt x="290" y="401"/>
                  </a:lnTo>
                  <a:lnTo>
                    <a:pt x="336" y="429"/>
                  </a:lnTo>
                  <a:lnTo>
                    <a:pt x="412" y="386"/>
                  </a:lnTo>
                  <a:lnTo>
                    <a:pt x="403" y="249"/>
                  </a:lnTo>
                  <a:lnTo>
                    <a:pt x="465" y="198"/>
                  </a:lnTo>
                  <a:lnTo>
                    <a:pt x="435" y="138"/>
                  </a:lnTo>
                  <a:lnTo>
                    <a:pt x="435" y="55"/>
                  </a:lnTo>
                  <a:lnTo>
                    <a:pt x="412" y="64"/>
                  </a:lnTo>
                  <a:lnTo>
                    <a:pt x="412" y="97"/>
                  </a:lnTo>
                  <a:lnTo>
                    <a:pt x="392" y="112"/>
                  </a:lnTo>
                  <a:lnTo>
                    <a:pt x="342" y="64"/>
                  </a:lnTo>
                  <a:lnTo>
                    <a:pt x="318" y="74"/>
                  </a:lnTo>
                  <a:lnTo>
                    <a:pt x="228" y="9"/>
                  </a:lnTo>
                  <a:lnTo>
                    <a:pt x="156" y="36"/>
                  </a:lnTo>
                  <a:lnTo>
                    <a:pt x="103" y="0"/>
                  </a:lnTo>
                  <a:lnTo>
                    <a:pt x="42" y="0"/>
                  </a:lnTo>
                  <a:lnTo>
                    <a:pt x="0" y="17"/>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12" name="Freeform 113"/>
            <p:cNvSpPr>
              <a:spLocks noChangeAspect="1"/>
            </p:cNvSpPr>
            <p:nvPr/>
          </p:nvSpPr>
          <p:spPr bwMode="gray">
            <a:xfrm>
              <a:off x="2691685" y="3301211"/>
              <a:ext cx="510868" cy="379562"/>
            </a:xfrm>
            <a:custGeom>
              <a:avLst/>
              <a:gdLst>
                <a:gd name="T0" fmla="*/ 249 w 593"/>
                <a:gd name="T1" fmla="*/ 0 h 405"/>
                <a:gd name="T2" fmla="*/ 114 w 593"/>
                <a:gd name="T3" fmla="*/ 63 h 405"/>
                <a:gd name="T4" fmla="*/ 108 w 593"/>
                <a:gd name="T5" fmla="*/ 116 h 405"/>
                <a:gd name="T6" fmla="*/ 39 w 593"/>
                <a:gd name="T7" fmla="*/ 125 h 405"/>
                <a:gd name="T8" fmla="*/ 0 w 593"/>
                <a:gd name="T9" fmla="*/ 177 h 405"/>
                <a:gd name="T10" fmla="*/ 106 w 593"/>
                <a:gd name="T11" fmla="*/ 320 h 405"/>
                <a:gd name="T12" fmla="*/ 222 w 593"/>
                <a:gd name="T13" fmla="*/ 259 h 405"/>
                <a:gd name="T14" fmla="*/ 284 w 593"/>
                <a:gd name="T15" fmla="*/ 364 h 405"/>
                <a:gd name="T16" fmla="*/ 410 w 593"/>
                <a:gd name="T17" fmla="*/ 350 h 405"/>
                <a:gd name="T18" fmla="*/ 512 w 593"/>
                <a:gd name="T19" fmla="*/ 405 h 405"/>
                <a:gd name="T20" fmla="*/ 541 w 593"/>
                <a:gd name="T21" fmla="*/ 371 h 405"/>
                <a:gd name="T22" fmla="*/ 521 w 593"/>
                <a:gd name="T23" fmla="*/ 261 h 405"/>
                <a:gd name="T24" fmla="*/ 552 w 593"/>
                <a:gd name="T25" fmla="*/ 236 h 405"/>
                <a:gd name="T26" fmla="*/ 593 w 593"/>
                <a:gd name="T27" fmla="*/ 215 h 405"/>
                <a:gd name="T28" fmla="*/ 593 w 593"/>
                <a:gd name="T29" fmla="*/ 151 h 405"/>
                <a:gd name="T30" fmla="*/ 467 w 593"/>
                <a:gd name="T31" fmla="*/ 41 h 405"/>
                <a:gd name="T32" fmla="*/ 435 w 593"/>
                <a:gd name="T33" fmla="*/ 61 h 405"/>
                <a:gd name="T34" fmla="*/ 316 w 593"/>
                <a:gd name="T35" fmla="*/ 53 h 405"/>
                <a:gd name="T36" fmla="*/ 249 w 593"/>
                <a:gd name="T37" fmla="*/ 0 h 405"/>
                <a:gd name="T38" fmla="*/ 249 w 593"/>
                <a:gd name="T39" fmla="*/ 0 h 40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3"/>
                <a:gd name="T61" fmla="*/ 0 h 405"/>
                <a:gd name="T62" fmla="*/ 593 w 593"/>
                <a:gd name="T63" fmla="*/ 405 h 40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3" h="405">
                  <a:moveTo>
                    <a:pt x="249" y="0"/>
                  </a:moveTo>
                  <a:lnTo>
                    <a:pt x="114" y="63"/>
                  </a:lnTo>
                  <a:lnTo>
                    <a:pt x="108" y="116"/>
                  </a:lnTo>
                  <a:lnTo>
                    <a:pt x="39" y="125"/>
                  </a:lnTo>
                  <a:lnTo>
                    <a:pt x="0" y="177"/>
                  </a:lnTo>
                  <a:lnTo>
                    <a:pt x="106" y="320"/>
                  </a:lnTo>
                  <a:lnTo>
                    <a:pt x="222" y="259"/>
                  </a:lnTo>
                  <a:lnTo>
                    <a:pt x="284" y="364"/>
                  </a:lnTo>
                  <a:lnTo>
                    <a:pt x="410" y="350"/>
                  </a:lnTo>
                  <a:lnTo>
                    <a:pt x="512" y="405"/>
                  </a:lnTo>
                  <a:lnTo>
                    <a:pt x="541" y="371"/>
                  </a:lnTo>
                  <a:lnTo>
                    <a:pt x="521" y="261"/>
                  </a:lnTo>
                  <a:lnTo>
                    <a:pt x="552" y="236"/>
                  </a:lnTo>
                  <a:lnTo>
                    <a:pt x="593" y="215"/>
                  </a:lnTo>
                  <a:lnTo>
                    <a:pt x="593" y="151"/>
                  </a:lnTo>
                  <a:lnTo>
                    <a:pt x="467" y="41"/>
                  </a:lnTo>
                  <a:lnTo>
                    <a:pt x="435" y="61"/>
                  </a:lnTo>
                  <a:lnTo>
                    <a:pt x="316" y="53"/>
                  </a:lnTo>
                  <a:lnTo>
                    <a:pt x="249"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13" name="Freeform 114"/>
            <p:cNvSpPr>
              <a:spLocks noChangeAspect="1"/>
            </p:cNvSpPr>
            <p:nvPr/>
          </p:nvSpPr>
          <p:spPr bwMode="gray">
            <a:xfrm>
              <a:off x="3280219" y="3503145"/>
              <a:ext cx="272693" cy="392650"/>
            </a:xfrm>
            <a:custGeom>
              <a:avLst/>
              <a:gdLst>
                <a:gd name="T0" fmla="*/ 202 w 316"/>
                <a:gd name="T1" fmla="*/ 47 h 422"/>
                <a:gd name="T2" fmla="*/ 153 w 316"/>
                <a:gd name="T3" fmla="*/ 0 h 422"/>
                <a:gd name="T4" fmla="*/ 62 w 316"/>
                <a:gd name="T5" fmla="*/ 2 h 422"/>
                <a:gd name="T6" fmla="*/ 58 w 316"/>
                <a:gd name="T7" fmla="*/ 46 h 422"/>
                <a:gd name="T8" fmla="*/ 71 w 316"/>
                <a:gd name="T9" fmla="*/ 74 h 422"/>
                <a:gd name="T10" fmla="*/ 0 w 316"/>
                <a:gd name="T11" fmla="*/ 129 h 422"/>
                <a:gd name="T12" fmla="*/ 62 w 316"/>
                <a:gd name="T13" fmla="*/ 219 h 422"/>
                <a:gd name="T14" fmla="*/ 58 w 316"/>
                <a:gd name="T15" fmla="*/ 302 h 422"/>
                <a:gd name="T16" fmla="*/ 97 w 316"/>
                <a:gd name="T17" fmla="*/ 363 h 422"/>
                <a:gd name="T18" fmla="*/ 170 w 316"/>
                <a:gd name="T19" fmla="*/ 351 h 422"/>
                <a:gd name="T20" fmla="*/ 191 w 316"/>
                <a:gd name="T21" fmla="*/ 422 h 422"/>
                <a:gd name="T22" fmla="*/ 248 w 316"/>
                <a:gd name="T23" fmla="*/ 356 h 422"/>
                <a:gd name="T24" fmla="*/ 316 w 316"/>
                <a:gd name="T25" fmla="*/ 316 h 422"/>
                <a:gd name="T26" fmla="*/ 316 w 316"/>
                <a:gd name="T27" fmla="*/ 257 h 422"/>
                <a:gd name="T28" fmla="*/ 173 w 316"/>
                <a:gd name="T29" fmla="*/ 179 h 422"/>
                <a:gd name="T30" fmla="*/ 202 w 316"/>
                <a:gd name="T31" fmla="*/ 47 h 422"/>
                <a:gd name="T32" fmla="*/ 202 w 316"/>
                <a:gd name="T33" fmla="*/ 47 h 4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16"/>
                <a:gd name="T52" fmla="*/ 0 h 422"/>
                <a:gd name="T53" fmla="*/ 316 w 316"/>
                <a:gd name="T54" fmla="*/ 422 h 42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16" h="422">
                  <a:moveTo>
                    <a:pt x="202" y="47"/>
                  </a:moveTo>
                  <a:lnTo>
                    <a:pt x="153" y="0"/>
                  </a:lnTo>
                  <a:lnTo>
                    <a:pt x="62" y="2"/>
                  </a:lnTo>
                  <a:lnTo>
                    <a:pt x="58" y="46"/>
                  </a:lnTo>
                  <a:lnTo>
                    <a:pt x="71" y="74"/>
                  </a:lnTo>
                  <a:lnTo>
                    <a:pt x="0" y="129"/>
                  </a:lnTo>
                  <a:lnTo>
                    <a:pt x="62" y="219"/>
                  </a:lnTo>
                  <a:lnTo>
                    <a:pt x="58" y="302"/>
                  </a:lnTo>
                  <a:lnTo>
                    <a:pt x="97" y="363"/>
                  </a:lnTo>
                  <a:lnTo>
                    <a:pt x="170" y="351"/>
                  </a:lnTo>
                  <a:lnTo>
                    <a:pt x="191" y="422"/>
                  </a:lnTo>
                  <a:lnTo>
                    <a:pt x="248" y="356"/>
                  </a:lnTo>
                  <a:lnTo>
                    <a:pt x="316" y="316"/>
                  </a:lnTo>
                  <a:lnTo>
                    <a:pt x="316" y="257"/>
                  </a:lnTo>
                  <a:lnTo>
                    <a:pt x="173" y="179"/>
                  </a:lnTo>
                  <a:lnTo>
                    <a:pt x="202" y="47"/>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14" name="Freeform 115"/>
            <p:cNvSpPr>
              <a:spLocks noChangeAspect="1"/>
            </p:cNvSpPr>
            <p:nvPr/>
          </p:nvSpPr>
          <p:spPr bwMode="gray">
            <a:xfrm>
              <a:off x="3133517" y="3519973"/>
              <a:ext cx="310663" cy="474920"/>
            </a:xfrm>
            <a:custGeom>
              <a:avLst/>
              <a:gdLst>
                <a:gd name="T0" fmla="*/ 227 w 360"/>
                <a:gd name="T1" fmla="*/ 28 h 508"/>
                <a:gd name="T2" fmla="*/ 243 w 360"/>
                <a:gd name="T3" fmla="*/ 59 h 508"/>
                <a:gd name="T4" fmla="*/ 169 w 360"/>
                <a:gd name="T5" fmla="*/ 112 h 508"/>
                <a:gd name="T6" fmla="*/ 231 w 360"/>
                <a:gd name="T7" fmla="*/ 200 h 508"/>
                <a:gd name="T8" fmla="*/ 227 w 360"/>
                <a:gd name="T9" fmla="*/ 279 h 508"/>
                <a:gd name="T10" fmla="*/ 271 w 360"/>
                <a:gd name="T11" fmla="*/ 343 h 508"/>
                <a:gd name="T12" fmla="*/ 339 w 360"/>
                <a:gd name="T13" fmla="*/ 337 h 508"/>
                <a:gd name="T14" fmla="*/ 360 w 360"/>
                <a:gd name="T15" fmla="*/ 403 h 508"/>
                <a:gd name="T16" fmla="*/ 360 w 360"/>
                <a:gd name="T17" fmla="*/ 437 h 508"/>
                <a:gd name="T18" fmla="*/ 271 w 360"/>
                <a:gd name="T19" fmla="*/ 508 h 508"/>
                <a:gd name="T20" fmla="*/ 189 w 360"/>
                <a:gd name="T21" fmla="*/ 441 h 508"/>
                <a:gd name="T22" fmla="*/ 58 w 360"/>
                <a:gd name="T23" fmla="*/ 449 h 508"/>
                <a:gd name="T24" fmla="*/ 73 w 360"/>
                <a:gd name="T25" fmla="*/ 361 h 508"/>
                <a:gd name="T26" fmla="*/ 5 w 360"/>
                <a:gd name="T27" fmla="*/ 274 h 508"/>
                <a:gd name="T28" fmla="*/ 0 w 360"/>
                <a:gd name="T29" fmla="*/ 171 h 508"/>
                <a:gd name="T30" fmla="*/ 29 w 360"/>
                <a:gd name="T31" fmla="*/ 137 h 508"/>
                <a:gd name="T32" fmla="*/ 9 w 360"/>
                <a:gd name="T33" fmla="*/ 28 h 508"/>
                <a:gd name="T34" fmla="*/ 46 w 360"/>
                <a:gd name="T35" fmla="*/ 0 h 508"/>
                <a:gd name="T36" fmla="*/ 103 w 360"/>
                <a:gd name="T37" fmla="*/ 51 h 508"/>
                <a:gd name="T38" fmla="*/ 227 w 360"/>
                <a:gd name="T39" fmla="*/ 28 h 508"/>
                <a:gd name="T40" fmla="*/ 227 w 360"/>
                <a:gd name="T41" fmla="*/ 28 h 50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60"/>
                <a:gd name="T64" fmla="*/ 0 h 508"/>
                <a:gd name="T65" fmla="*/ 360 w 360"/>
                <a:gd name="T66" fmla="*/ 508 h 50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60" h="508">
                  <a:moveTo>
                    <a:pt x="227" y="28"/>
                  </a:moveTo>
                  <a:lnTo>
                    <a:pt x="243" y="59"/>
                  </a:lnTo>
                  <a:lnTo>
                    <a:pt x="169" y="112"/>
                  </a:lnTo>
                  <a:lnTo>
                    <a:pt x="231" y="200"/>
                  </a:lnTo>
                  <a:lnTo>
                    <a:pt x="227" y="279"/>
                  </a:lnTo>
                  <a:lnTo>
                    <a:pt x="271" y="343"/>
                  </a:lnTo>
                  <a:lnTo>
                    <a:pt x="339" y="337"/>
                  </a:lnTo>
                  <a:lnTo>
                    <a:pt x="360" y="403"/>
                  </a:lnTo>
                  <a:lnTo>
                    <a:pt x="360" y="437"/>
                  </a:lnTo>
                  <a:lnTo>
                    <a:pt x="271" y="508"/>
                  </a:lnTo>
                  <a:lnTo>
                    <a:pt x="189" y="441"/>
                  </a:lnTo>
                  <a:lnTo>
                    <a:pt x="58" y="449"/>
                  </a:lnTo>
                  <a:lnTo>
                    <a:pt x="73" y="361"/>
                  </a:lnTo>
                  <a:lnTo>
                    <a:pt x="5" y="274"/>
                  </a:lnTo>
                  <a:lnTo>
                    <a:pt x="0" y="171"/>
                  </a:lnTo>
                  <a:lnTo>
                    <a:pt x="29" y="137"/>
                  </a:lnTo>
                  <a:lnTo>
                    <a:pt x="9" y="28"/>
                  </a:lnTo>
                  <a:lnTo>
                    <a:pt x="46" y="0"/>
                  </a:lnTo>
                  <a:lnTo>
                    <a:pt x="103" y="51"/>
                  </a:lnTo>
                  <a:lnTo>
                    <a:pt x="227" y="28"/>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15" name="Freeform 116"/>
            <p:cNvSpPr>
              <a:spLocks noChangeAspect="1"/>
            </p:cNvSpPr>
            <p:nvPr/>
          </p:nvSpPr>
          <p:spPr bwMode="gray">
            <a:xfrm>
              <a:off x="2738284" y="3542410"/>
              <a:ext cx="460817" cy="430045"/>
            </a:xfrm>
            <a:custGeom>
              <a:avLst/>
              <a:gdLst>
                <a:gd name="T0" fmla="*/ 167 w 533"/>
                <a:gd name="T1" fmla="*/ 0 h 460"/>
                <a:gd name="T2" fmla="*/ 51 w 533"/>
                <a:gd name="T3" fmla="*/ 61 h 460"/>
                <a:gd name="T4" fmla="*/ 71 w 533"/>
                <a:gd name="T5" fmla="*/ 146 h 460"/>
                <a:gd name="T6" fmla="*/ 0 w 533"/>
                <a:gd name="T7" fmla="*/ 198 h 460"/>
                <a:gd name="T8" fmla="*/ 32 w 533"/>
                <a:gd name="T9" fmla="*/ 344 h 460"/>
                <a:gd name="T10" fmla="*/ 109 w 533"/>
                <a:gd name="T11" fmla="*/ 412 h 460"/>
                <a:gd name="T12" fmla="*/ 162 w 533"/>
                <a:gd name="T13" fmla="*/ 412 h 460"/>
                <a:gd name="T14" fmla="*/ 211 w 533"/>
                <a:gd name="T15" fmla="*/ 460 h 460"/>
                <a:gd name="T16" fmla="*/ 313 w 533"/>
                <a:gd name="T17" fmla="*/ 403 h 460"/>
                <a:gd name="T18" fmla="*/ 398 w 533"/>
                <a:gd name="T19" fmla="*/ 403 h 460"/>
                <a:gd name="T20" fmla="*/ 425 w 533"/>
                <a:gd name="T21" fmla="*/ 437 h 460"/>
                <a:gd name="T22" fmla="*/ 515 w 533"/>
                <a:gd name="T23" fmla="*/ 427 h 460"/>
                <a:gd name="T24" fmla="*/ 533 w 533"/>
                <a:gd name="T25" fmla="*/ 340 h 460"/>
                <a:gd name="T26" fmla="*/ 462 w 533"/>
                <a:gd name="T27" fmla="*/ 249 h 460"/>
                <a:gd name="T28" fmla="*/ 457 w 533"/>
                <a:gd name="T29" fmla="*/ 146 h 460"/>
                <a:gd name="T30" fmla="*/ 355 w 533"/>
                <a:gd name="T31" fmla="*/ 91 h 460"/>
                <a:gd name="T32" fmla="*/ 226 w 533"/>
                <a:gd name="T33" fmla="*/ 105 h 460"/>
                <a:gd name="T34" fmla="*/ 167 w 533"/>
                <a:gd name="T35" fmla="*/ 0 h 460"/>
                <a:gd name="T36" fmla="*/ 167 w 533"/>
                <a:gd name="T37" fmla="*/ 0 h 46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33"/>
                <a:gd name="T58" fmla="*/ 0 h 460"/>
                <a:gd name="T59" fmla="*/ 533 w 533"/>
                <a:gd name="T60" fmla="*/ 460 h 46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33" h="460">
                  <a:moveTo>
                    <a:pt x="167" y="0"/>
                  </a:moveTo>
                  <a:lnTo>
                    <a:pt x="51" y="61"/>
                  </a:lnTo>
                  <a:lnTo>
                    <a:pt x="71" y="146"/>
                  </a:lnTo>
                  <a:lnTo>
                    <a:pt x="0" y="198"/>
                  </a:lnTo>
                  <a:lnTo>
                    <a:pt x="32" y="344"/>
                  </a:lnTo>
                  <a:lnTo>
                    <a:pt x="109" y="412"/>
                  </a:lnTo>
                  <a:lnTo>
                    <a:pt x="162" y="412"/>
                  </a:lnTo>
                  <a:lnTo>
                    <a:pt x="211" y="460"/>
                  </a:lnTo>
                  <a:lnTo>
                    <a:pt x="313" y="403"/>
                  </a:lnTo>
                  <a:lnTo>
                    <a:pt x="398" y="403"/>
                  </a:lnTo>
                  <a:lnTo>
                    <a:pt x="425" y="437"/>
                  </a:lnTo>
                  <a:lnTo>
                    <a:pt x="515" y="427"/>
                  </a:lnTo>
                  <a:lnTo>
                    <a:pt x="533" y="340"/>
                  </a:lnTo>
                  <a:lnTo>
                    <a:pt x="462" y="249"/>
                  </a:lnTo>
                  <a:lnTo>
                    <a:pt x="457" y="146"/>
                  </a:lnTo>
                  <a:lnTo>
                    <a:pt x="355" y="91"/>
                  </a:lnTo>
                  <a:lnTo>
                    <a:pt x="226" y="105"/>
                  </a:lnTo>
                  <a:lnTo>
                    <a:pt x="167"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16" name="Freeform 117"/>
            <p:cNvSpPr>
              <a:spLocks noChangeAspect="1"/>
            </p:cNvSpPr>
            <p:nvPr/>
          </p:nvSpPr>
          <p:spPr bwMode="gray">
            <a:xfrm>
              <a:off x="2213609" y="2697277"/>
              <a:ext cx="476350" cy="413217"/>
            </a:xfrm>
            <a:custGeom>
              <a:avLst/>
              <a:gdLst>
                <a:gd name="T0" fmla="*/ 84 w 550"/>
                <a:gd name="T1" fmla="*/ 0 h 441"/>
                <a:gd name="T2" fmla="*/ 72 w 550"/>
                <a:gd name="T3" fmla="*/ 28 h 441"/>
                <a:gd name="T4" fmla="*/ 87 w 550"/>
                <a:gd name="T5" fmla="*/ 87 h 441"/>
                <a:gd name="T6" fmla="*/ 42 w 550"/>
                <a:gd name="T7" fmla="*/ 110 h 441"/>
                <a:gd name="T8" fmla="*/ 0 w 550"/>
                <a:gd name="T9" fmla="*/ 212 h 441"/>
                <a:gd name="T10" fmla="*/ 154 w 550"/>
                <a:gd name="T11" fmla="*/ 268 h 441"/>
                <a:gd name="T12" fmla="*/ 171 w 550"/>
                <a:gd name="T13" fmla="*/ 409 h 441"/>
                <a:gd name="T14" fmla="*/ 251 w 550"/>
                <a:gd name="T15" fmla="*/ 441 h 441"/>
                <a:gd name="T16" fmla="*/ 333 w 550"/>
                <a:gd name="T17" fmla="*/ 422 h 441"/>
                <a:gd name="T18" fmla="*/ 417 w 550"/>
                <a:gd name="T19" fmla="*/ 429 h 441"/>
                <a:gd name="T20" fmla="*/ 515 w 550"/>
                <a:gd name="T21" fmla="*/ 396 h 441"/>
                <a:gd name="T22" fmla="*/ 515 w 550"/>
                <a:gd name="T23" fmla="*/ 341 h 441"/>
                <a:gd name="T24" fmla="*/ 550 w 550"/>
                <a:gd name="T25" fmla="*/ 341 h 441"/>
                <a:gd name="T26" fmla="*/ 520 w 550"/>
                <a:gd name="T27" fmla="*/ 268 h 441"/>
                <a:gd name="T28" fmla="*/ 544 w 550"/>
                <a:gd name="T29" fmla="*/ 239 h 441"/>
                <a:gd name="T30" fmla="*/ 501 w 550"/>
                <a:gd name="T31" fmla="*/ 215 h 441"/>
                <a:gd name="T32" fmla="*/ 380 w 550"/>
                <a:gd name="T33" fmla="*/ 215 h 441"/>
                <a:gd name="T34" fmla="*/ 367 w 550"/>
                <a:gd name="T35" fmla="*/ 177 h 441"/>
                <a:gd name="T36" fmla="*/ 320 w 550"/>
                <a:gd name="T37" fmla="*/ 142 h 441"/>
                <a:gd name="T38" fmla="*/ 291 w 550"/>
                <a:gd name="T39" fmla="*/ 57 h 441"/>
                <a:gd name="T40" fmla="*/ 209 w 550"/>
                <a:gd name="T41" fmla="*/ 78 h 441"/>
                <a:gd name="T42" fmla="*/ 147 w 550"/>
                <a:gd name="T43" fmla="*/ 0 h 441"/>
                <a:gd name="T44" fmla="*/ 84 w 550"/>
                <a:gd name="T45" fmla="*/ 0 h 441"/>
                <a:gd name="T46" fmla="*/ 84 w 550"/>
                <a:gd name="T47" fmla="*/ 0 h 44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50"/>
                <a:gd name="T73" fmla="*/ 0 h 441"/>
                <a:gd name="T74" fmla="*/ 550 w 550"/>
                <a:gd name="T75" fmla="*/ 441 h 44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50" h="441">
                  <a:moveTo>
                    <a:pt x="84" y="0"/>
                  </a:moveTo>
                  <a:lnTo>
                    <a:pt x="72" y="28"/>
                  </a:lnTo>
                  <a:lnTo>
                    <a:pt x="87" y="87"/>
                  </a:lnTo>
                  <a:lnTo>
                    <a:pt x="42" y="110"/>
                  </a:lnTo>
                  <a:lnTo>
                    <a:pt x="0" y="212"/>
                  </a:lnTo>
                  <a:lnTo>
                    <a:pt x="154" y="268"/>
                  </a:lnTo>
                  <a:lnTo>
                    <a:pt x="171" y="409"/>
                  </a:lnTo>
                  <a:lnTo>
                    <a:pt x="251" y="441"/>
                  </a:lnTo>
                  <a:lnTo>
                    <a:pt x="333" y="422"/>
                  </a:lnTo>
                  <a:lnTo>
                    <a:pt x="417" y="429"/>
                  </a:lnTo>
                  <a:lnTo>
                    <a:pt x="515" y="396"/>
                  </a:lnTo>
                  <a:lnTo>
                    <a:pt x="515" y="341"/>
                  </a:lnTo>
                  <a:lnTo>
                    <a:pt x="550" y="341"/>
                  </a:lnTo>
                  <a:lnTo>
                    <a:pt x="520" y="268"/>
                  </a:lnTo>
                  <a:lnTo>
                    <a:pt x="544" y="239"/>
                  </a:lnTo>
                  <a:lnTo>
                    <a:pt x="501" y="215"/>
                  </a:lnTo>
                  <a:lnTo>
                    <a:pt x="380" y="215"/>
                  </a:lnTo>
                  <a:lnTo>
                    <a:pt x="367" y="177"/>
                  </a:lnTo>
                  <a:lnTo>
                    <a:pt x="320" y="142"/>
                  </a:lnTo>
                  <a:lnTo>
                    <a:pt x="291" y="57"/>
                  </a:lnTo>
                  <a:lnTo>
                    <a:pt x="209" y="78"/>
                  </a:lnTo>
                  <a:lnTo>
                    <a:pt x="147" y="0"/>
                  </a:lnTo>
                  <a:lnTo>
                    <a:pt x="84"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17" name="Freeform 118"/>
            <p:cNvSpPr>
              <a:spLocks noChangeAspect="1"/>
            </p:cNvSpPr>
            <p:nvPr/>
          </p:nvSpPr>
          <p:spPr bwMode="gray">
            <a:xfrm>
              <a:off x="2054826" y="2895472"/>
              <a:ext cx="376248" cy="426306"/>
            </a:xfrm>
            <a:custGeom>
              <a:avLst/>
              <a:gdLst>
                <a:gd name="T0" fmla="*/ 190 w 437"/>
                <a:gd name="T1" fmla="*/ 0 h 456"/>
                <a:gd name="T2" fmla="*/ 152 w 437"/>
                <a:gd name="T3" fmla="*/ 16 h 456"/>
                <a:gd name="T4" fmla="*/ 114 w 437"/>
                <a:gd name="T5" fmla="*/ 15 h 456"/>
                <a:gd name="T6" fmla="*/ 121 w 437"/>
                <a:gd name="T7" fmla="*/ 58 h 456"/>
                <a:gd name="T8" fmla="*/ 68 w 437"/>
                <a:gd name="T9" fmla="*/ 49 h 456"/>
                <a:gd name="T10" fmla="*/ 45 w 437"/>
                <a:gd name="T11" fmla="*/ 65 h 456"/>
                <a:gd name="T12" fmla="*/ 0 w 437"/>
                <a:gd name="T13" fmla="*/ 252 h 456"/>
                <a:gd name="T14" fmla="*/ 100 w 437"/>
                <a:gd name="T15" fmla="*/ 364 h 456"/>
                <a:gd name="T16" fmla="*/ 202 w 437"/>
                <a:gd name="T17" fmla="*/ 343 h 456"/>
                <a:gd name="T18" fmla="*/ 267 w 437"/>
                <a:gd name="T19" fmla="*/ 456 h 456"/>
                <a:gd name="T20" fmla="*/ 311 w 437"/>
                <a:gd name="T21" fmla="*/ 448 h 456"/>
                <a:gd name="T22" fmla="*/ 351 w 437"/>
                <a:gd name="T23" fmla="*/ 326 h 456"/>
                <a:gd name="T24" fmla="*/ 393 w 437"/>
                <a:gd name="T25" fmla="*/ 322 h 456"/>
                <a:gd name="T26" fmla="*/ 437 w 437"/>
                <a:gd name="T27" fmla="*/ 229 h 456"/>
                <a:gd name="T28" fmla="*/ 357 w 437"/>
                <a:gd name="T29" fmla="*/ 197 h 456"/>
                <a:gd name="T30" fmla="*/ 340 w 437"/>
                <a:gd name="T31" fmla="*/ 56 h 456"/>
                <a:gd name="T32" fmla="*/ 190 w 437"/>
                <a:gd name="T33" fmla="*/ 0 h 456"/>
                <a:gd name="T34" fmla="*/ 190 w 437"/>
                <a:gd name="T35" fmla="*/ 0 h 4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37"/>
                <a:gd name="T55" fmla="*/ 0 h 456"/>
                <a:gd name="T56" fmla="*/ 437 w 437"/>
                <a:gd name="T57" fmla="*/ 456 h 4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37" h="456">
                  <a:moveTo>
                    <a:pt x="190" y="0"/>
                  </a:moveTo>
                  <a:lnTo>
                    <a:pt x="152" y="16"/>
                  </a:lnTo>
                  <a:lnTo>
                    <a:pt x="114" y="15"/>
                  </a:lnTo>
                  <a:lnTo>
                    <a:pt x="121" y="58"/>
                  </a:lnTo>
                  <a:lnTo>
                    <a:pt x="68" y="49"/>
                  </a:lnTo>
                  <a:lnTo>
                    <a:pt x="45" y="65"/>
                  </a:lnTo>
                  <a:lnTo>
                    <a:pt x="0" y="252"/>
                  </a:lnTo>
                  <a:lnTo>
                    <a:pt x="100" y="364"/>
                  </a:lnTo>
                  <a:lnTo>
                    <a:pt x="202" y="343"/>
                  </a:lnTo>
                  <a:lnTo>
                    <a:pt x="267" y="456"/>
                  </a:lnTo>
                  <a:lnTo>
                    <a:pt x="311" y="448"/>
                  </a:lnTo>
                  <a:lnTo>
                    <a:pt x="351" y="326"/>
                  </a:lnTo>
                  <a:lnTo>
                    <a:pt x="393" y="322"/>
                  </a:lnTo>
                  <a:lnTo>
                    <a:pt x="437" y="229"/>
                  </a:lnTo>
                  <a:lnTo>
                    <a:pt x="357" y="197"/>
                  </a:lnTo>
                  <a:lnTo>
                    <a:pt x="340" y="56"/>
                  </a:lnTo>
                  <a:lnTo>
                    <a:pt x="190"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18" name="Freeform 119"/>
            <p:cNvSpPr>
              <a:spLocks noChangeAspect="1"/>
            </p:cNvSpPr>
            <p:nvPr/>
          </p:nvSpPr>
          <p:spPr bwMode="gray">
            <a:xfrm>
              <a:off x="1663045" y="2828161"/>
              <a:ext cx="450461" cy="370213"/>
            </a:xfrm>
            <a:custGeom>
              <a:avLst/>
              <a:gdLst>
                <a:gd name="T0" fmla="*/ 36 w 521"/>
                <a:gd name="T1" fmla="*/ 0 h 395"/>
                <a:gd name="T2" fmla="*/ 47 w 521"/>
                <a:gd name="T3" fmla="*/ 79 h 395"/>
                <a:gd name="T4" fmla="*/ 94 w 521"/>
                <a:gd name="T5" fmla="*/ 100 h 395"/>
                <a:gd name="T6" fmla="*/ 63 w 521"/>
                <a:gd name="T7" fmla="*/ 126 h 395"/>
                <a:gd name="T8" fmla="*/ 105 w 521"/>
                <a:gd name="T9" fmla="*/ 198 h 395"/>
                <a:gd name="T10" fmla="*/ 0 w 521"/>
                <a:gd name="T11" fmla="*/ 222 h 395"/>
                <a:gd name="T12" fmla="*/ 50 w 521"/>
                <a:gd name="T13" fmla="*/ 287 h 395"/>
                <a:gd name="T14" fmla="*/ 18 w 521"/>
                <a:gd name="T15" fmla="*/ 336 h 395"/>
                <a:gd name="T16" fmla="*/ 101 w 521"/>
                <a:gd name="T17" fmla="*/ 392 h 395"/>
                <a:gd name="T18" fmla="*/ 214 w 521"/>
                <a:gd name="T19" fmla="*/ 395 h 395"/>
                <a:gd name="T20" fmla="*/ 255 w 521"/>
                <a:gd name="T21" fmla="*/ 359 h 395"/>
                <a:gd name="T22" fmla="*/ 394 w 521"/>
                <a:gd name="T23" fmla="*/ 372 h 395"/>
                <a:gd name="T24" fmla="*/ 459 w 521"/>
                <a:gd name="T25" fmla="*/ 331 h 395"/>
                <a:gd name="T26" fmla="*/ 498 w 521"/>
                <a:gd name="T27" fmla="*/ 138 h 395"/>
                <a:gd name="T28" fmla="*/ 521 w 521"/>
                <a:gd name="T29" fmla="*/ 122 h 395"/>
                <a:gd name="T30" fmla="*/ 392 w 521"/>
                <a:gd name="T31" fmla="*/ 88 h 395"/>
                <a:gd name="T32" fmla="*/ 381 w 521"/>
                <a:gd name="T33" fmla="*/ 59 h 395"/>
                <a:gd name="T34" fmla="*/ 318 w 521"/>
                <a:gd name="T35" fmla="*/ 46 h 395"/>
                <a:gd name="T36" fmla="*/ 318 w 521"/>
                <a:gd name="T37" fmla="*/ 29 h 395"/>
                <a:gd name="T38" fmla="*/ 205 w 521"/>
                <a:gd name="T39" fmla="*/ 32 h 395"/>
                <a:gd name="T40" fmla="*/ 106 w 521"/>
                <a:gd name="T41" fmla="*/ 9 h 395"/>
                <a:gd name="T42" fmla="*/ 36 w 521"/>
                <a:gd name="T43" fmla="*/ 0 h 395"/>
                <a:gd name="T44" fmla="*/ 36 w 521"/>
                <a:gd name="T45" fmla="*/ 0 h 39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21"/>
                <a:gd name="T70" fmla="*/ 0 h 395"/>
                <a:gd name="T71" fmla="*/ 521 w 521"/>
                <a:gd name="T72" fmla="*/ 395 h 39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21" h="395">
                  <a:moveTo>
                    <a:pt x="36" y="0"/>
                  </a:moveTo>
                  <a:lnTo>
                    <a:pt x="47" y="79"/>
                  </a:lnTo>
                  <a:lnTo>
                    <a:pt x="94" y="100"/>
                  </a:lnTo>
                  <a:lnTo>
                    <a:pt x="63" y="126"/>
                  </a:lnTo>
                  <a:lnTo>
                    <a:pt x="105" y="198"/>
                  </a:lnTo>
                  <a:lnTo>
                    <a:pt x="0" y="222"/>
                  </a:lnTo>
                  <a:lnTo>
                    <a:pt x="50" y="287"/>
                  </a:lnTo>
                  <a:lnTo>
                    <a:pt x="18" y="336"/>
                  </a:lnTo>
                  <a:lnTo>
                    <a:pt x="101" y="392"/>
                  </a:lnTo>
                  <a:lnTo>
                    <a:pt x="214" y="395"/>
                  </a:lnTo>
                  <a:lnTo>
                    <a:pt x="255" y="359"/>
                  </a:lnTo>
                  <a:lnTo>
                    <a:pt x="394" y="372"/>
                  </a:lnTo>
                  <a:lnTo>
                    <a:pt x="459" y="331"/>
                  </a:lnTo>
                  <a:lnTo>
                    <a:pt x="498" y="138"/>
                  </a:lnTo>
                  <a:lnTo>
                    <a:pt x="521" y="122"/>
                  </a:lnTo>
                  <a:lnTo>
                    <a:pt x="392" y="88"/>
                  </a:lnTo>
                  <a:lnTo>
                    <a:pt x="381" y="59"/>
                  </a:lnTo>
                  <a:lnTo>
                    <a:pt x="318" y="46"/>
                  </a:lnTo>
                  <a:lnTo>
                    <a:pt x="318" y="29"/>
                  </a:lnTo>
                  <a:lnTo>
                    <a:pt x="205" y="32"/>
                  </a:lnTo>
                  <a:lnTo>
                    <a:pt x="106" y="9"/>
                  </a:lnTo>
                  <a:lnTo>
                    <a:pt x="36"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19" name="Freeform 120"/>
            <p:cNvSpPr>
              <a:spLocks noChangeAspect="1"/>
            </p:cNvSpPr>
            <p:nvPr/>
          </p:nvSpPr>
          <p:spPr bwMode="gray">
            <a:xfrm>
              <a:off x="1300605" y="2803854"/>
              <a:ext cx="453913" cy="439394"/>
            </a:xfrm>
            <a:custGeom>
              <a:avLst/>
              <a:gdLst>
                <a:gd name="T0" fmla="*/ 385 w 526"/>
                <a:gd name="T1" fmla="*/ 0 h 470"/>
                <a:gd name="T2" fmla="*/ 309 w 526"/>
                <a:gd name="T3" fmla="*/ 60 h 470"/>
                <a:gd name="T4" fmla="*/ 152 w 526"/>
                <a:gd name="T5" fmla="*/ 86 h 470"/>
                <a:gd name="T6" fmla="*/ 152 w 526"/>
                <a:gd name="T7" fmla="*/ 142 h 470"/>
                <a:gd name="T8" fmla="*/ 44 w 526"/>
                <a:gd name="T9" fmla="*/ 177 h 470"/>
                <a:gd name="T10" fmla="*/ 0 w 526"/>
                <a:gd name="T11" fmla="*/ 239 h 470"/>
                <a:gd name="T12" fmla="*/ 58 w 526"/>
                <a:gd name="T13" fmla="*/ 272 h 470"/>
                <a:gd name="T14" fmla="*/ 204 w 526"/>
                <a:gd name="T15" fmla="*/ 250 h 470"/>
                <a:gd name="T16" fmla="*/ 336 w 526"/>
                <a:gd name="T17" fmla="*/ 304 h 470"/>
                <a:gd name="T18" fmla="*/ 291 w 526"/>
                <a:gd name="T19" fmla="*/ 318 h 470"/>
                <a:gd name="T20" fmla="*/ 198 w 526"/>
                <a:gd name="T21" fmla="*/ 289 h 470"/>
                <a:gd name="T22" fmla="*/ 116 w 526"/>
                <a:gd name="T23" fmla="*/ 304 h 470"/>
                <a:gd name="T24" fmla="*/ 99 w 526"/>
                <a:gd name="T25" fmla="*/ 346 h 470"/>
                <a:gd name="T26" fmla="*/ 198 w 526"/>
                <a:gd name="T27" fmla="*/ 384 h 470"/>
                <a:gd name="T28" fmla="*/ 173 w 526"/>
                <a:gd name="T29" fmla="*/ 407 h 470"/>
                <a:gd name="T30" fmla="*/ 350 w 526"/>
                <a:gd name="T31" fmla="*/ 470 h 470"/>
                <a:gd name="T32" fmla="*/ 320 w 526"/>
                <a:gd name="T33" fmla="*/ 388 h 470"/>
                <a:gd name="T34" fmla="*/ 354 w 526"/>
                <a:gd name="T35" fmla="*/ 405 h 470"/>
                <a:gd name="T36" fmla="*/ 365 w 526"/>
                <a:gd name="T37" fmla="*/ 445 h 470"/>
                <a:gd name="T38" fmla="*/ 426 w 526"/>
                <a:gd name="T39" fmla="*/ 384 h 470"/>
                <a:gd name="T40" fmla="*/ 478 w 526"/>
                <a:gd name="T41" fmla="*/ 384 h 470"/>
                <a:gd name="T42" fmla="*/ 443 w 526"/>
                <a:gd name="T43" fmla="*/ 365 h 470"/>
                <a:gd name="T44" fmla="*/ 468 w 526"/>
                <a:gd name="T45" fmla="*/ 312 h 470"/>
                <a:gd name="T46" fmla="*/ 420 w 526"/>
                <a:gd name="T47" fmla="*/ 247 h 470"/>
                <a:gd name="T48" fmla="*/ 526 w 526"/>
                <a:gd name="T49" fmla="*/ 223 h 470"/>
                <a:gd name="T50" fmla="*/ 482 w 526"/>
                <a:gd name="T51" fmla="*/ 154 h 470"/>
                <a:gd name="T52" fmla="*/ 516 w 526"/>
                <a:gd name="T53" fmla="*/ 125 h 470"/>
                <a:gd name="T54" fmla="*/ 468 w 526"/>
                <a:gd name="T55" fmla="*/ 104 h 470"/>
                <a:gd name="T56" fmla="*/ 453 w 526"/>
                <a:gd name="T57" fmla="*/ 22 h 470"/>
                <a:gd name="T58" fmla="*/ 385 w 526"/>
                <a:gd name="T59" fmla="*/ 0 h 470"/>
                <a:gd name="T60" fmla="*/ 385 w 526"/>
                <a:gd name="T61" fmla="*/ 0 h 47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26"/>
                <a:gd name="T94" fmla="*/ 0 h 470"/>
                <a:gd name="T95" fmla="*/ 526 w 526"/>
                <a:gd name="T96" fmla="*/ 470 h 47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26" h="470">
                  <a:moveTo>
                    <a:pt x="385" y="0"/>
                  </a:moveTo>
                  <a:lnTo>
                    <a:pt x="309" y="60"/>
                  </a:lnTo>
                  <a:lnTo>
                    <a:pt x="152" y="86"/>
                  </a:lnTo>
                  <a:lnTo>
                    <a:pt x="152" y="142"/>
                  </a:lnTo>
                  <a:lnTo>
                    <a:pt x="44" y="177"/>
                  </a:lnTo>
                  <a:lnTo>
                    <a:pt x="0" y="239"/>
                  </a:lnTo>
                  <a:lnTo>
                    <a:pt x="58" y="272"/>
                  </a:lnTo>
                  <a:lnTo>
                    <a:pt x="204" y="250"/>
                  </a:lnTo>
                  <a:lnTo>
                    <a:pt x="336" y="304"/>
                  </a:lnTo>
                  <a:lnTo>
                    <a:pt x="291" y="318"/>
                  </a:lnTo>
                  <a:lnTo>
                    <a:pt x="198" y="289"/>
                  </a:lnTo>
                  <a:lnTo>
                    <a:pt x="116" y="304"/>
                  </a:lnTo>
                  <a:lnTo>
                    <a:pt x="99" y="346"/>
                  </a:lnTo>
                  <a:lnTo>
                    <a:pt x="198" y="384"/>
                  </a:lnTo>
                  <a:lnTo>
                    <a:pt x="173" y="407"/>
                  </a:lnTo>
                  <a:lnTo>
                    <a:pt x="350" y="470"/>
                  </a:lnTo>
                  <a:lnTo>
                    <a:pt x="320" y="388"/>
                  </a:lnTo>
                  <a:lnTo>
                    <a:pt x="354" y="405"/>
                  </a:lnTo>
                  <a:lnTo>
                    <a:pt x="365" y="445"/>
                  </a:lnTo>
                  <a:lnTo>
                    <a:pt x="426" y="384"/>
                  </a:lnTo>
                  <a:lnTo>
                    <a:pt x="478" y="384"/>
                  </a:lnTo>
                  <a:lnTo>
                    <a:pt x="443" y="365"/>
                  </a:lnTo>
                  <a:lnTo>
                    <a:pt x="468" y="312"/>
                  </a:lnTo>
                  <a:lnTo>
                    <a:pt x="420" y="247"/>
                  </a:lnTo>
                  <a:lnTo>
                    <a:pt x="526" y="223"/>
                  </a:lnTo>
                  <a:lnTo>
                    <a:pt x="482" y="154"/>
                  </a:lnTo>
                  <a:lnTo>
                    <a:pt x="516" y="125"/>
                  </a:lnTo>
                  <a:lnTo>
                    <a:pt x="468" y="104"/>
                  </a:lnTo>
                  <a:lnTo>
                    <a:pt x="453" y="22"/>
                  </a:lnTo>
                  <a:lnTo>
                    <a:pt x="385"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20" name="Freeform 121"/>
            <p:cNvSpPr>
              <a:spLocks noChangeAspect="1"/>
            </p:cNvSpPr>
            <p:nvPr/>
          </p:nvSpPr>
          <p:spPr bwMode="gray">
            <a:xfrm>
              <a:off x="1405885" y="3164718"/>
              <a:ext cx="465995" cy="338427"/>
            </a:xfrm>
            <a:custGeom>
              <a:avLst/>
              <a:gdLst>
                <a:gd name="T0" fmla="*/ 53 w 540"/>
                <a:gd name="T1" fmla="*/ 21 h 360"/>
                <a:gd name="T2" fmla="*/ 0 w 540"/>
                <a:gd name="T3" fmla="*/ 93 h 360"/>
                <a:gd name="T4" fmla="*/ 82 w 540"/>
                <a:gd name="T5" fmla="*/ 198 h 360"/>
                <a:gd name="T6" fmla="*/ 82 w 540"/>
                <a:gd name="T7" fmla="*/ 255 h 360"/>
                <a:gd name="T8" fmla="*/ 346 w 540"/>
                <a:gd name="T9" fmla="*/ 360 h 360"/>
                <a:gd name="T10" fmla="*/ 462 w 540"/>
                <a:gd name="T11" fmla="*/ 358 h 360"/>
                <a:gd name="T12" fmla="*/ 540 w 540"/>
                <a:gd name="T13" fmla="*/ 339 h 360"/>
                <a:gd name="T14" fmla="*/ 503 w 540"/>
                <a:gd name="T15" fmla="*/ 303 h 360"/>
                <a:gd name="T16" fmla="*/ 480 w 540"/>
                <a:gd name="T17" fmla="*/ 116 h 360"/>
                <a:gd name="T18" fmla="*/ 403 w 540"/>
                <a:gd name="T19" fmla="*/ 28 h 360"/>
                <a:gd name="T20" fmla="*/ 356 w 540"/>
                <a:gd name="T21" fmla="*/ 0 h 360"/>
                <a:gd name="T22" fmla="*/ 304 w 540"/>
                <a:gd name="T23" fmla="*/ 0 h 360"/>
                <a:gd name="T24" fmla="*/ 243 w 540"/>
                <a:gd name="T25" fmla="*/ 61 h 360"/>
                <a:gd name="T26" fmla="*/ 232 w 540"/>
                <a:gd name="T27" fmla="*/ 19 h 360"/>
                <a:gd name="T28" fmla="*/ 198 w 540"/>
                <a:gd name="T29" fmla="*/ 4 h 360"/>
                <a:gd name="T30" fmla="*/ 226 w 540"/>
                <a:gd name="T31" fmla="*/ 84 h 360"/>
                <a:gd name="T32" fmla="*/ 53 w 540"/>
                <a:gd name="T33" fmla="*/ 21 h 360"/>
                <a:gd name="T34" fmla="*/ 53 w 540"/>
                <a:gd name="T35" fmla="*/ 21 h 3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0"/>
                <a:gd name="T55" fmla="*/ 0 h 360"/>
                <a:gd name="T56" fmla="*/ 540 w 540"/>
                <a:gd name="T57" fmla="*/ 360 h 3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0" h="360">
                  <a:moveTo>
                    <a:pt x="53" y="21"/>
                  </a:moveTo>
                  <a:lnTo>
                    <a:pt x="0" y="93"/>
                  </a:lnTo>
                  <a:lnTo>
                    <a:pt x="82" y="198"/>
                  </a:lnTo>
                  <a:lnTo>
                    <a:pt x="82" y="255"/>
                  </a:lnTo>
                  <a:lnTo>
                    <a:pt x="346" y="360"/>
                  </a:lnTo>
                  <a:lnTo>
                    <a:pt x="462" y="358"/>
                  </a:lnTo>
                  <a:lnTo>
                    <a:pt x="540" y="339"/>
                  </a:lnTo>
                  <a:lnTo>
                    <a:pt x="503" y="303"/>
                  </a:lnTo>
                  <a:lnTo>
                    <a:pt x="480" y="116"/>
                  </a:lnTo>
                  <a:lnTo>
                    <a:pt x="403" y="28"/>
                  </a:lnTo>
                  <a:lnTo>
                    <a:pt x="356" y="0"/>
                  </a:lnTo>
                  <a:lnTo>
                    <a:pt x="304" y="0"/>
                  </a:lnTo>
                  <a:lnTo>
                    <a:pt x="243" y="61"/>
                  </a:lnTo>
                  <a:lnTo>
                    <a:pt x="232" y="19"/>
                  </a:lnTo>
                  <a:lnTo>
                    <a:pt x="198" y="4"/>
                  </a:lnTo>
                  <a:lnTo>
                    <a:pt x="226" y="84"/>
                  </a:lnTo>
                  <a:lnTo>
                    <a:pt x="53" y="21"/>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21" name="Freeform 122"/>
            <p:cNvSpPr>
              <a:spLocks noChangeAspect="1"/>
            </p:cNvSpPr>
            <p:nvPr/>
          </p:nvSpPr>
          <p:spPr bwMode="gray">
            <a:xfrm>
              <a:off x="1751066" y="3164718"/>
              <a:ext cx="340003" cy="499227"/>
            </a:xfrm>
            <a:custGeom>
              <a:avLst/>
              <a:gdLst>
                <a:gd name="T0" fmla="*/ 0 w 394"/>
                <a:gd name="T1" fmla="*/ 30 h 535"/>
                <a:gd name="T2" fmla="*/ 79 w 394"/>
                <a:gd name="T3" fmla="*/ 118 h 535"/>
                <a:gd name="T4" fmla="*/ 102 w 394"/>
                <a:gd name="T5" fmla="*/ 315 h 535"/>
                <a:gd name="T6" fmla="*/ 141 w 394"/>
                <a:gd name="T7" fmla="*/ 341 h 535"/>
                <a:gd name="T8" fmla="*/ 61 w 394"/>
                <a:gd name="T9" fmla="*/ 359 h 535"/>
                <a:gd name="T10" fmla="*/ 107 w 394"/>
                <a:gd name="T11" fmla="*/ 453 h 535"/>
                <a:gd name="T12" fmla="*/ 293 w 394"/>
                <a:gd name="T13" fmla="*/ 535 h 535"/>
                <a:gd name="T14" fmla="*/ 313 w 394"/>
                <a:gd name="T15" fmla="*/ 488 h 535"/>
                <a:gd name="T16" fmla="*/ 394 w 394"/>
                <a:gd name="T17" fmla="*/ 480 h 535"/>
                <a:gd name="T18" fmla="*/ 377 w 394"/>
                <a:gd name="T19" fmla="*/ 362 h 535"/>
                <a:gd name="T20" fmla="*/ 339 w 394"/>
                <a:gd name="T21" fmla="*/ 359 h 535"/>
                <a:gd name="T22" fmla="*/ 304 w 394"/>
                <a:gd name="T23" fmla="*/ 277 h 535"/>
                <a:gd name="T24" fmla="*/ 339 w 394"/>
                <a:gd name="T25" fmla="*/ 159 h 535"/>
                <a:gd name="T26" fmla="*/ 295 w 394"/>
                <a:gd name="T27" fmla="*/ 13 h 535"/>
                <a:gd name="T28" fmla="*/ 152 w 394"/>
                <a:gd name="T29" fmla="*/ 0 h 535"/>
                <a:gd name="T30" fmla="*/ 111 w 394"/>
                <a:gd name="T31" fmla="*/ 38 h 535"/>
                <a:gd name="T32" fmla="*/ 0 w 394"/>
                <a:gd name="T33" fmla="*/ 30 h 535"/>
                <a:gd name="T34" fmla="*/ 0 w 394"/>
                <a:gd name="T35" fmla="*/ 30 h 5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94"/>
                <a:gd name="T55" fmla="*/ 0 h 535"/>
                <a:gd name="T56" fmla="*/ 394 w 394"/>
                <a:gd name="T57" fmla="*/ 535 h 53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94" h="535">
                  <a:moveTo>
                    <a:pt x="0" y="30"/>
                  </a:moveTo>
                  <a:lnTo>
                    <a:pt x="79" y="118"/>
                  </a:lnTo>
                  <a:lnTo>
                    <a:pt x="102" y="315"/>
                  </a:lnTo>
                  <a:lnTo>
                    <a:pt x="141" y="341"/>
                  </a:lnTo>
                  <a:lnTo>
                    <a:pt x="61" y="359"/>
                  </a:lnTo>
                  <a:lnTo>
                    <a:pt x="107" y="453"/>
                  </a:lnTo>
                  <a:lnTo>
                    <a:pt x="293" y="535"/>
                  </a:lnTo>
                  <a:lnTo>
                    <a:pt x="313" y="488"/>
                  </a:lnTo>
                  <a:lnTo>
                    <a:pt x="394" y="480"/>
                  </a:lnTo>
                  <a:lnTo>
                    <a:pt x="377" y="362"/>
                  </a:lnTo>
                  <a:lnTo>
                    <a:pt x="339" y="359"/>
                  </a:lnTo>
                  <a:lnTo>
                    <a:pt x="304" y="277"/>
                  </a:lnTo>
                  <a:lnTo>
                    <a:pt x="339" y="159"/>
                  </a:lnTo>
                  <a:lnTo>
                    <a:pt x="295" y="13"/>
                  </a:lnTo>
                  <a:lnTo>
                    <a:pt x="152" y="0"/>
                  </a:lnTo>
                  <a:lnTo>
                    <a:pt x="111" y="38"/>
                  </a:lnTo>
                  <a:lnTo>
                    <a:pt x="0" y="3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22" name="Freeform 123"/>
            <p:cNvSpPr>
              <a:spLocks noChangeAspect="1"/>
            </p:cNvSpPr>
            <p:nvPr/>
          </p:nvSpPr>
          <p:spPr bwMode="gray">
            <a:xfrm>
              <a:off x="2004774" y="3136672"/>
              <a:ext cx="374522" cy="504836"/>
            </a:xfrm>
            <a:custGeom>
              <a:avLst/>
              <a:gdLst>
                <a:gd name="T0" fmla="*/ 64 w 435"/>
                <a:gd name="T1" fmla="*/ 0 h 540"/>
                <a:gd name="T2" fmla="*/ 0 w 435"/>
                <a:gd name="T3" fmla="*/ 38 h 540"/>
                <a:gd name="T4" fmla="*/ 46 w 435"/>
                <a:gd name="T5" fmla="*/ 187 h 540"/>
                <a:gd name="T6" fmla="*/ 11 w 435"/>
                <a:gd name="T7" fmla="*/ 305 h 540"/>
                <a:gd name="T8" fmla="*/ 47 w 435"/>
                <a:gd name="T9" fmla="*/ 390 h 540"/>
                <a:gd name="T10" fmla="*/ 84 w 435"/>
                <a:gd name="T11" fmla="*/ 392 h 540"/>
                <a:gd name="T12" fmla="*/ 101 w 435"/>
                <a:gd name="T13" fmla="*/ 512 h 540"/>
                <a:gd name="T14" fmla="*/ 172 w 435"/>
                <a:gd name="T15" fmla="*/ 540 h 540"/>
                <a:gd name="T16" fmla="*/ 306 w 435"/>
                <a:gd name="T17" fmla="*/ 495 h 540"/>
                <a:gd name="T18" fmla="*/ 314 w 435"/>
                <a:gd name="T19" fmla="*/ 442 h 540"/>
                <a:gd name="T20" fmla="*/ 435 w 435"/>
                <a:gd name="T21" fmla="*/ 361 h 540"/>
                <a:gd name="T22" fmla="*/ 417 w 435"/>
                <a:gd name="T23" fmla="*/ 320 h 540"/>
                <a:gd name="T24" fmla="*/ 350 w 435"/>
                <a:gd name="T25" fmla="*/ 280 h 540"/>
                <a:gd name="T26" fmla="*/ 329 w 435"/>
                <a:gd name="T27" fmla="*/ 198 h 540"/>
                <a:gd name="T28" fmla="*/ 256 w 435"/>
                <a:gd name="T29" fmla="*/ 84 h 540"/>
                <a:gd name="T30" fmla="*/ 157 w 435"/>
                <a:gd name="T31" fmla="*/ 106 h 540"/>
                <a:gd name="T32" fmla="*/ 64 w 435"/>
                <a:gd name="T33" fmla="*/ 0 h 540"/>
                <a:gd name="T34" fmla="*/ 64 w 435"/>
                <a:gd name="T35" fmla="*/ 0 h 54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35"/>
                <a:gd name="T55" fmla="*/ 0 h 540"/>
                <a:gd name="T56" fmla="*/ 435 w 435"/>
                <a:gd name="T57" fmla="*/ 540 h 54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35" h="540">
                  <a:moveTo>
                    <a:pt x="64" y="0"/>
                  </a:moveTo>
                  <a:lnTo>
                    <a:pt x="0" y="38"/>
                  </a:lnTo>
                  <a:lnTo>
                    <a:pt x="46" y="187"/>
                  </a:lnTo>
                  <a:lnTo>
                    <a:pt x="11" y="305"/>
                  </a:lnTo>
                  <a:lnTo>
                    <a:pt x="47" y="390"/>
                  </a:lnTo>
                  <a:lnTo>
                    <a:pt x="84" y="392"/>
                  </a:lnTo>
                  <a:lnTo>
                    <a:pt x="101" y="512"/>
                  </a:lnTo>
                  <a:lnTo>
                    <a:pt x="172" y="540"/>
                  </a:lnTo>
                  <a:lnTo>
                    <a:pt x="306" y="495"/>
                  </a:lnTo>
                  <a:lnTo>
                    <a:pt x="314" y="442"/>
                  </a:lnTo>
                  <a:lnTo>
                    <a:pt x="435" y="361"/>
                  </a:lnTo>
                  <a:lnTo>
                    <a:pt x="417" y="320"/>
                  </a:lnTo>
                  <a:lnTo>
                    <a:pt x="350" y="280"/>
                  </a:lnTo>
                  <a:lnTo>
                    <a:pt x="329" y="198"/>
                  </a:lnTo>
                  <a:lnTo>
                    <a:pt x="256" y="84"/>
                  </a:lnTo>
                  <a:lnTo>
                    <a:pt x="157" y="106"/>
                  </a:lnTo>
                  <a:lnTo>
                    <a:pt x="64"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23" name="Freeform 124"/>
            <p:cNvSpPr>
              <a:spLocks noChangeAspect="1"/>
            </p:cNvSpPr>
            <p:nvPr/>
          </p:nvSpPr>
          <p:spPr bwMode="gray">
            <a:xfrm>
              <a:off x="2286097" y="3093667"/>
              <a:ext cx="396958" cy="400129"/>
            </a:xfrm>
            <a:custGeom>
              <a:avLst/>
              <a:gdLst>
                <a:gd name="T0" fmla="*/ 163 w 458"/>
                <a:gd name="T1" fmla="*/ 19 h 429"/>
                <a:gd name="T2" fmla="*/ 123 w 458"/>
                <a:gd name="T3" fmla="*/ 114 h 429"/>
                <a:gd name="T4" fmla="*/ 81 w 458"/>
                <a:gd name="T5" fmla="*/ 116 h 429"/>
                <a:gd name="T6" fmla="*/ 40 w 458"/>
                <a:gd name="T7" fmla="*/ 238 h 429"/>
                <a:gd name="T8" fmla="*/ 0 w 458"/>
                <a:gd name="T9" fmla="*/ 246 h 429"/>
                <a:gd name="T10" fmla="*/ 23 w 458"/>
                <a:gd name="T11" fmla="*/ 332 h 429"/>
                <a:gd name="T12" fmla="*/ 90 w 458"/>
                <a:gd name="T13" fmla="*/ 374 h 429"/>
                <a:gd name="T14" fmla="*/ 111 w 458"/>
                <a:gd name="T15" fmla="*/ 409 h 429"/>
                <a:gd name="T16" fmla="*/ 190 w 458"/>
                <a:gd name="T17" fmla="*/ 429 h 429"/>
                <a:gd name="T18" fmla="*/ 310 w 458"/>
                <a:gd name="T19" fmla="*/ 385 h 429"/>
                <a:gd name="T20" fmla="*/ 442 w 458"/>
                <a:gd name="T21" fmla="*/ 397 h 429"/>
                <a:gd name="T22" fmla="*/ 458 w 458"/>
                <a:gd name="T23" fmla="*/ 303 h 429"/>
                <a:gd name="T24" fmla="*/ 396 w 458"/>
                <a:gd name="T25" fmla="*/ 249 h 429"/>
                <a:gd name="T26" fmla="*/ 422 w 458"/>
                <a:gd name="T27" fmla="*/ 165 h 429"/>
                <a:gd name="T28" fmla="*/ 388 w 458"/>
                <a:gd name="T29" fmla="*/ 57 h 429"/>
                <a:gd name="T30" fmla="*/ 310 w 458"/>
                <a:gd name="T31" fmla="*/ 57 h 429"/>
                <a:gd name="T32" fmla="*/ 335 w 458"/>
                <a:gd name="T33" fmla="*/ 6 h 429"/>
                <a:gd name="T34" fmla="*/ 251 w 458"/>
                <a:gd name="T35" fmla="*/ 0 h 429"/>
                <a:gd name="T36" fmla="*/ 163 w 458"/>
                <a:gd name="T37" fmla="*/ 19 h 429"/>
                <a:gd name="T38" fmla="*/ 163 w 458"/>
                <a:gd name="T39" fmla="*/ 19 h 4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58"/>
                <a:gd name="T61" fmla="*/ 0 h 429"/>
                <a:gd name="T62" fmla="*/ 458 w 458"/>
                <a:gd name="T63" fmla="*/ 429 h 42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58" h="429">
                  <a:moveTo>
                    <a:pt x="163" y="19"/>
                  </a:moveTo>
                  <a:lnTo>
                    <a:pt x="123" y="114"/>
                  </a:lnTo>
                  <a:lnTo>
                    <a:pt x="81" y="116"/>
                  </a:lnTo>
                  <a:lnTo>
                    <a:pt x="40" y="238"/>
                  </a:lnTo>
                  <a:lnTo>
                    <a:pt x="0" y="246"/>
                  </a:lnTo>
                  <a:lnTo>
                    <a:pt x="23" y="332"/>
                  </a:lnTo>
                  <a:lnTo>
                    <a:pt x="90" y="374"/>
                  </a:lnTo>
                  <a:lnTo>
                    <a:pt x="111" y="409"/>
                  </a:lnTo>
                  <a:lnTo>
                    <a:pt x="190" y="429"/>
                  </a:lnTo>
                  <a:lnTo>
                    <a:pt x="310" y="385"/>
                  </a:lnTo>
                  <a:lnTo>
                    <a:pt x="442" y="397"/>
                  </a:lnTo>
                  <a:lnTo>
                    <a:pt x="458" y="303"/>
                  </a:lnTo>
                  <a:lnTo>
                    <a:pt x="396" y="249"/>
                  </a:lnTo>
                  <a:lnTo>
                    <a:pt x="422" y="165"/>
                  </a:lnTo>
                  <a:lnTo>
                    <a:pt x="388" y="57"/>
                  </a:lnTo>
                  <a:lnTo>
                    <a:pt x="310" y="57"/>
                  </a:lnTo>
                  <a:lnTo>
                    <a:pt x="335" y="6"/>
                  </a:lnTo>
                  <a:lnTo>
                    <a:pt x="251" y="0"/>
                  </a:lnTo>
                  <a:lnTo>
                    <a:pt x="163" y="19"/>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24" name="Freeform 125"/>
            <p:cNvSpPr>
              <a:spLocks noChangeAspect="1"/>
            </p:cNvSpPr>
            <p:nvPr/>
          </p:nvSpPr>
          <p:spPr bwMode="gray">
            <a:xfrm>
              <a:off x="2551887" y="2917909"/>
              <a:ext cx="372796" cy="545971"/>
            </a:xfrm>
            <a:custGeom>
              <a:avLst/>
              <a:gdLst>
                <a:gd name="T0" fmla="*/ 157 w 431"/>
                <a:gd name="T1" fmla="*/ 0 h 584"/>
                <a:gd name="T2" fmla="*/ 133 w 431"/>
                <a:gd name="T3" fmla="*/ 32 h 584"/>
                <a:gd name="T4" fmla="*/ 156 w 431"/>
                <a:gd name="T5" fmla="*/ 105 h 584"/>
                <a:gd name="T6" fmla="*/ 121 w 431"/>
                <a:gd name="T7" fmla="*/ 105 h 584"/>
                <a:gd name="T8" fmla="*/ 121 w 431"/>
                <a:gd name="T9" fmla="*/ 160 h 584"/>
                <a:gd name="T10" fmla="*/ 28 w 431"/>
                <a:gd name="T11" fmla="*/ 193 h 584"/>
                <a:gd name="T12" fmla="*/ 0 w 431"/>
                <a:gd name="T13" fmla="*/ 243 h 584"/>
                <a:gd name="T14" fmla="*/ 81 w 431"/>
                <a:gd name="T15" fmla="*/ 243 h 584"/>
                <a:gd name="T16" fmla="*/ 113 w 431"/>
                <a:gd name="T17" fmla="*/ 351 h 584"/>
                <a:gd name="T18" fmla="*/ 89 w 431"/>
                <a:gd name="T19" fmla="*/ 433 h 584"/>
                <a:gd name="T20" fmla="*/ 151 w 431"/>
                <a:gd name="T21" fmla="*/ 490 h 584"/>
                <a:gd name="T22" fmla="*/ 135 w 431"/>
                <a:gd name="T23" fmla="*/ 583 h 584"/>
                <a:gd name="T24" fmla="*/ 165 w 431"/>
                <a:gd name="T25" fmla="*/ 584 h 584"/>
                <a:gd name="T26" fmla="*/ 201 w 431"/>
                <a:gd name="T27" fmla="*/ 534 h 584"/>
                <a:gd name="T28" fmla="*/ 270 w 431"/>
                <a:gd name="T29" fmla="*/ 527 h 584"/>
                <a:gd name="T30" fmla="*/ 273 w 431"/>
                <a:gd name="T31" fmla="*/ 472 h 584"/>
                <a:gd name="T32" fmla="*/ 416 w 431"/>
                <a:gd name="T33" fmla="*/ 409 h 584"/>
                <a:gd name="T34" fmla="*/ 431 w 431"/>
                <a:gd name="T35" fmla="*/ 249 h 584"/>
                <a:gd name="T36" fmla="*/ 364 w 431"/>
                <a:gd name="T37" fmla="*/ 137 h 584"/>
                <a:gd name="T38" fmla="*/ 357 w 431"/>
                <a:gd name="T39" fmla="*/ 35 h 584"/>
                <a:gd name="T40" fmla="*/ 300 w 431"/>
                <a:gd name="T41" fmla="*/ 63 h 584"/>
                <a:gd name="T42" fmla="*/ 220 w 431"/>
                <a:gd name="T43" fmla="*/ 6 h 584"/>
                <a:gd name="T44" fmla="*/ 157 w 431"/>
                <a:gd name="T45" fmla="*/ 0 h 584"/>
                <a:gd name="T46" fmla="*/ 157 w 431"/>
                <a:gd name="T47" fmla="*/ 0 h 58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31"/>
                <a:gd name="T73" fmla="*/ 0 h 584"/>
                <a:gd name="T74" fmla="*/ 431 w 431"/>
                <a:gd name="T75" fmla="*/ 584 h 58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31" h="584">
                  <a:moveTo>
                    <a:pt x="157" y="0"/>
                  </a:moveTo>
                  <a:lnTo>
                    <a:pt x="133" y="32"/>
                  </a:lnTo>
                  <a:lnTo>
                    <a:pt x="156" y="105"/>
                  </a:lnTo>
                  <a:lnTo>
                    <a:pt x="121" y="105"/>
                  </a:lnTo>
                  <a:lnTo>
                    <a:pt x="121" y="160"/>
                  </a:lnTo>
                  <a:lnTo>
                    <a:pt x="28" y="193"/>
                  </a:lnTo>
                  <a:lnTo>
                    <a:pt x="0" y="243"/>
                  </a:lnTo>
                  <a:lnTo>
                    <a:pt x="81" y="243"/>
                  </a:lnTo>
                  <a:lnTo>
                    <a:pt x="113" y="351"/>
                  </a:lnTo>
                  <a:lnTo>
                    <a:pt x="89" y="433"/>
                  </a:lnTo>
                  <a:lnTo>
                    <a:pt x="151" y="490"/>
                  </a:lnTo>
                  <a:lnTo>
                    <a:pt x="135" y="583"/>
                  </a:lnTo>
                  <a:lnTo>
                    <a:pt x="165" y="584"/>
                  </a:lnTo>
                  <a:lnTo>
                    <a:pt x="201" y="534"/>
                  </a:lnTo>
                  <a:lnTo>
                    <a:pt x="270" y="527"/>
                  </a:lnTo>
                  <a:lnTo>
                    <a:pt x="273" y="472"/>
                  </a:lnTo>
                  <a:lnTo>
                    <a:pt x="416" y="409"/>
                  </a:lnTo>
                  <a:lnTo>
                    <a:pt x="431" y="249"/>
                  </a:lnTo>
                  <a:lnTo>
                    <a:pt x="364" y="137"/>
                  </a:lnTo>
                  <a:lnTo>
                    <a:pt x="357" y="35"/>
                  </a:lnTo>
                  <a:lnTo>
                    <a:pt x="300" y="63"/>
                  </a:lnTo>
                  <a:lnTo>
                    <a:pt x="220" y="6"/>
                  </a:lnTo>
                  <a:lnTo>
                    <a:pt x="157"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25" name="Freeform 126"/>
            <p:cNvSpPr>
              <a:spLocks noChangeAspect="1"/>
            </p:cNvSpPr>
            <p:nvPr/>
          </p:nvSpPr>
          <p:spPr bwMode="gray">
            <a:xfrm>
              <a:off x="2439703" y="3452661"/>
              <a:ext cx="360714" cy="357125"/>
            </a:xfrm>
            <a:custGeom>
              <a:avLst/>
              <a:gdLst>
                <a:gd name="T0" fmla="*/ 295 w 418"/>
                <a:gd name="T1" fmla="*/ 13 h 381"/>
                <a:gd name="T2" fmla="*/ 400 w 418"/>
                <a:gd name="T3" fmla="*/ 164 h 381"/>
                <a:gd name="T4" fmla="*/ 418 w 418"/>
                <a:gd name="T5" fmla="*/ 252 h 381"/>
                <a:gd name="T6" fmla="*/ 347 w 418"/>
                <a:gd name="T7" fmla="*/ 296 h 381"/>
                <a:gd name="T8" fmla="*/ 362 w 418"/>
                <a:gd name="T9" fmla="*/ 360 h 381"/>
                <a:gd name="T10" fmla="*/ 298 w 418"/>
                <a:gd name="T11" fmla="*/ 381 h 381"/>
                <a:gd name="T12" fmla="*/ 173 w 418"/>
                <a:gd name="T13" fmla="*/ 365 h 381"/>
                <a:gd name="T14" fmla="*/ 152 w 418"/>
                <a:gd name="T15" fmla="*/ 302 h 381"/>
                <a:gd name="T16" fmla="*/ 68 w 418"/>
                <a:gd name="T17" fmla="*/ 296 h 381"/>
                <a:gd name="T18" fmla="*/ 83 w 418"/>
                <a:gd name="T19" fmla="*/ 257 h 381"/>
                <a:gd name="T20" fmla="*/ 47 w 418"/>
                <a:gd name="T21" fmla="*/ 257 h 381"/>
                <a:gd name="T22" fmla="*/ 36 w 418"/>
                <a:gd name="T23" fmla="*/ 173 h 381"/>
                <a:gd name="T24" fmla="*/ 0 w 418"/>
                <a:gd name="T25" fmla="*/ 135 h 381"/>
                <a:gd name="T26" fmla="*/ 5 w 418"/>
                <a:gd name="T27" fmla="*/ 45 h 381"/>
                <a:gd name="T28" fmla="*/ 129 w 418"/>
                <a:gd name="T29" fmla="*/ 0 h 381"/>
                <a:gd name="T30" fmla="*/ 295 w 418"/>
                <a:gd name="T31" fmla="*/ 13 h 381"/>
                <a:gd name="T32" fmla="*/ 295 w 418"/>
                <a:gd name="T33" fmla="*/ 13 h 3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18"/>
                <a:gd name="T52" fmla="*/ 0 h 381"/>
                <a:gd name="T53" fmla="*/ 418 w 418"/>
                <a:gd name="T54" fmla="*/ 381 h 38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18" h="381">
                  <a:moveTo>
                    <a:pt x="295" y="13"/>
                  </a:moveTo>
                  <a:lnTo>
                    <a:pt x="400" y="164"/>
                  </a:lnTo>
                  <a:lnTo>
                    <a:pt x="418" y="252"/>
                  </a:lnTo>
                  <a:lnTo>
                    <a:pt x="347" y="296"/>
                  </a:lnTo>
                  <a:lnTo>
                    <a:pt x="362" y="360"/>
                  </a:lnTo>
                  <a:lnTo>
                    <a:pt x="298" y="381"/>
                  </a:lnTo>
                  <a:lnTo>
                    <a:pt x="173" y="365"/>
                  </a:lnTo>
                  <a:lnTo>
                    <a:pt x="152" y="302"/>
                  </a:lnTo>
                  <a:lnTo>
                    <a:pt x="68" y="296"/>
                  </a:lnTo>
                  <a:lnTo>
                    <a:pt x="83" y="257"/>
                  </a:lnTo>
                  <a:lnTo>
                    <a:pt x="47" y="257"/>
                  </a:lnTo>
                  <a:lnTo>
                    <a:pt x="36" y="173"/>
                  </a:lnTo>
                  <a:lnTo>
                    <a:pt x="0" y="135"/>
                  </a:lnTo>
                  <a:lnTo>
                    <a:pt x="5" y="45"/>
                  </a:lnTo>
                  <a:lnTo>
                    <a:pt x="129" y="0"/>
                  </a:lnTo>
                  <a:lnTo>
                    <a:pt x="295" y="13"/>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26" name="Freeform 127"/>
            <p:cNvSpPr>
              <a:spLocks noChangeAspect="1"/>
            </p:cNvSpPr>
            <p:nvPr/>
          </p:nvSpPr>
          <p:spPr bwMode="gray">
            <a:xfrm>
              <a:off x="2199802" y="3475099"/>
              <a:ext cx="388329" cy="426306"/>
            </a:xfrm>
            <a:custGeom>
              <a:avLst/>
              <a:gdLst>
                <a:gd name="T0" fmla="*/ 209 w 451"/>
                <a:gd name="T1" fmla="*/ 0 h 456"/>
                <a:gd name="T2" fmla="*/ 88 w 451"/>
                <a:gd name="T3" fmla="*/ 82 h 456"/>
                <a:gd name="T4" fmla="*/ 80 w 451"/>
                <a:gd name="T5" fmla="*/ 135 h 456"/>
                <a:gd name="T6" fmla="*/ 116 w 451"/>
                <a:gd name="T7" fmla="*/ 220 h 456"/>
                <a:gd name="T8" fmla="*/ 0 w 451"/>
                <a:gd name="T9" fmla="*/ 346 h 456"/>
                <a:gd name="T10" fmla="*/ 212 w 451"/>
                <a:gd name="T11" fmla="*/ 456 h 456"/>
                <a:gd name="T12" fmla="*/ 451 w 451"/>
                <a:gd name="T13" fmla="*/ 346 h 456"/>
                <a:gd name="T14" fmla="*/ 430 w 451"/>
                <a:gd name="T15" fmla="*/ 279 h 456"/>
                <a:gd name="T16" fmla="*/ 350 w 451"/>
                <a:gd name="T17" fmla="*/ 270 h 456"/>
                <a:gd name="T18" fmla="*/ 361 w 451"/>
                <a:gd name="T19" fmla="*/ 234 h 456"/>
                <a:gd name="T20" fmla="*/ 325 w 451"/>
                <a:gd name="T21" fmla="*/ 234 h 456"/>
                <a:gd name="T22" fmla="*/ 314 w 451"/>
                <a:gd name="T23" fmla="*/ 144 h 456"/>
                <a:gd name="T24" fmla="*/ 278 w 451"/>
                <a:gd name="T25" fmla="*/ 112 h 456"/>
                <a:gd name="T26" fmla="*/ 285 w 451"/>
                <a:gd name="T27" fmla="*/ 19 h 456"/>
                <a:gd name="T28" fmla="*/ 209 w 451"/>
                <a:gd name="T29" fmla="*/ 0 h 456"/>
                <a:gd name="T30" fmla="*/ 209 w 451"/>
                <a:gd name="T31" fmla="*/ 0 h 45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1"/>
                <a:gd name="T49" fmla="*/ 0 h 456"/>
                <a:gd name="T50" fmla="*/ 451 w 451"/>
                <a:gd name="T51" fmla="*/ 456 h 45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1" h="456">
                  <a:moveTo>
                    <a:pt x="209" y="0"/>
                  </a:moveTo>
                  <a:lnTo>
                    <a:pt x="88" y="82"/>
                  </a:lnTo>
                  <a:lnTo>
                    <a:pt x="80" y="135"/>
                  </a:lnTo>
                  <a:lnTo>
                    <a:pt x="116" y="220"/>
                  </a:lnTo>
                  <a:lnTo>
                    <a:pt x="0" y="346"/>
                  </a:lnTo>
                  <a:lnTo>
                    <a:pt x="212" y="456"/>
                  </a:lnTo>
                  <a:lnTo>
                    <a:pt x="451" y="346"/>
                  </a:lnTo>
                  <a:lnTo>
                    <a:pt x="430" y="279"/>
                  </a:lnTo>
                  <a:lnTo>
                    <a:pt x="350" y="270"/>
                  </a:lnTo>
                  <a:lnTo>
                    <a:pt x="361" y="234"/>
                  </a:lnTo>
                  <a:lnTo>
                    <a:pt x="325" y="234"/>
                  </a:lnTo>
                  <a:lnTo>
                    <a:pt x="314" y="144"/>
                  </a:lnTo>
                  <a:lnTo>
                    <a:pt x="278" y="112"/>
                  </a:lnTo>
                  <a:lnTo>
                    <a:pt x="285" y="19"/>
                  </a:lnTo>
                  <a:lnTo>
                    <a:pt x="209"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27" name="Freeform 128"/>
            <p:cNvSpPr>
              <a:spLocks noChangeAspect="1"/>
            </p:cNvSpPr>
            <p:nvPr/>
          </p:nvSpPr>
          <p:spPr bwMode="gray">
            <a:xfrm>
              <a:off x="1878783" y="3600373"/>
              <a:ext cx="421121" cy="415087"/>
            </a:xfrm>
            <a:custGeom>
              <a:avLst/>
              <a:gdLst>
                <a:gd name="T0" fmla="*/ 166 w 489"/>
                <a:gd name="T1" fmla="*/ 17 h 445"/>
                <a:gd name="T2" fmla="*/ 145 w 489"/>
                <a:gd name="T3" fmla="*/ 68 h 445"/>
                <a:gd name="T4" fmla="*/ 117 w 489"/>
                <a:gd name="T5" fmla="*/ 153 h 445"/>
                <a:gd name="T6" fmla="*/ 64 w 489"/>
                <a:gd name="T7" fmla="*/ 144 h 445"/>
                <a:gd name="T8" fmla="*/ 0 w 489"/>
                <a:gd name="T9" fmla="*/ 207 h 445"/>
                <a:gd name="T10" fmla="*/ 59 w 489"/>
                <a:gd name="T11" fmla="*/ 270 h 445"/>
                <a:gd name="T12" fmla="*/ 64 w 489"/>
                <a:gd name="T13" fmla="*/ 386 h 445"/>
                <a:gd name="T14" fmla="*/ 166 w 489"/>
                <a:gd name="T15" fmla="*/ 445 h 445"/>
                <a:gd name="T16" fmla="*/ 249 w 489"/>
                <a:gd name="T17" fmla="*/ 404 h 445"/>
                <a:gd name="T18" fmla="*/ 249 w 489"/>
                <a:gd name="T19" fmla="*/ 340 h 445"/>
                <a:gd name="T20" fmla="*/ 333 w 489"/>
                <a:gd name="T21" fmla="*/ 287 h 445"/>
                <a:gd name="T22" fmla="*/ 348 w 489"/>
                <a:gd name="T23" fmla="*/ 223 h 445"/>
                <a:gd name="T24" fmla="*/ 377 w 489"/>
                <a:gd name="T25" fmla="*/ 211 h 445"/>
                <a:gd name="T26" fmla="*/ 489 w 489"/>
                <a:gd name="T27" fmla="*/ 85 h 445"/>
                <a:gd name="T28" fmla="*/ 456 w 489"/>
                <a:gd name="T29" fmla="*/ 0 h 445"/>
                <a:gd name="T30" fmla="*/ 318 w 489"/>
                <a:gd name="T31" fmla="*/ 45 h 445"/>
                <a:gd name="T32" fmla="*/ 248 w 489"/>
                <a:gd name="T33" fmla="*/ 15 h 445"/>
                <a:gd name="T34" fmla="*/ 166 w 489"/>
                <a:gd name="T35" fmla="*/ 17 h 445"/>
                <a:gd name="T36" fmla="*/ 166 w 489"/>
                <a:gd name="T37" fmla="*/ 17 h 4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89"/>
                <a:gd name="T58" fmla="*/ 0 h 445"/>
                <a:gd name="T59" fmla="*/ 489 w 489"/>
                <a:gd name="T60" fmla="*/ 445 h 44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89" h="445">
                  <a:moveTo>
                    <a:pt x="166" y="17"/>
                  </a:moveTo>
                  <a:lnTo>
                    <a:pt x="145" y="68"/>
                  </a:lnTo>
                  <a:lnTo>
                    <a:pt x="117" y="153"/>
                  </a:lnTo>
                  <a:lnTo>
                    <a:pt x="64" y="144"/>
                  </a:lnTo>
                  <a:lnTo>
                    <a:pt x="0" y="207"/>
                  </a:lnTo>
                  <a:lnTo>
                    <a:pt x="59" y="270"/>
                  </a:lnTo>
                  <a:lnTo>
                    <a:pt x="64" y="386"/>
                  </a:lnTo>
                  <a:lnTo>
                    <a:pt x="166" y="445"/>
                  </a:lnTo>
                  <a:lnTo>
                    <a:pt x="249" y="404"/>
                  </a:lnTo>
                  <a:lnTo>
                    <a:pt x="249" y="340"/>
                  </a:lnTo>
                  <a:lnTo>
                    <a:pt x="333" y="287"/>
                  </a:lnTo>
                  <a:lnTo>
                    <a:pt x="348" y="223"/>
                  </a:lnTo>
                  <a:lnTo>
                    <a:pt x="377" y="211"/>
                  </a:lnTo>
                  <a:lnTo>
                    <a:pt x="489" y="85"/>
                  </a:lnTo>
                  <a:lnTo>
                    <a:pt x="456" y="0"/>
                  </a:lnTo>
                  <a:lnTo>
                    <a:pt x="318" y="45"/>
                  </a:lnTo>
                  <a:lnTo>
                    <a:pt x="248" y="15"/>
                  </a:lnTo>
                  <a:lnTo>
                    <a:pt x="166" y="17"/>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28" name="Freeform 129"/>
            <p:cNvSpPr>
              <a:spLocks noChangeAspect="1"/>
            </p:cNvSpPr>
            <p:nvPr/>
          </p:nvSpPr>
          <p:spPr bwMode="gray">
            <a:xfrm>
              <a:off x="1657867" y="3499406"/>
              <a:ext cx="364166" cy="566538"/>
            </a:xfrm>
            <a:custGeom>
              <a:avLst/>
              <a:gdLst>
                <a:gd name="T0" fmla="*/ 401 w 421"/>
                <a:gd name="T1" fmla="*/ 174 h 605"/>
                <a:gd name="T2" fmla="*/ 215 w 421"/>
                <a:gd name="T3" fmla="*/ 90 h 605"/>
                <a:gd name="T4" fmla="*/ 172 w 421"/>
                <a:gd name="T5" fmla="*/ 0 h 605"/>
                <a:gd name="T6" fmla="*/ 52 w 421"/>
                <a:gd name="T7" fmla="*/ 4 h 605"/>
                <a:gd name="T8" fmla="*/ 11 w 421"/>
                <a:gd name="T9" fmla="*/ 70 h 605"/>
                <a:gd name="T10" fmla="*/ 73 w 421"/>
                <a:gd name="T11" fmla="*/ 128 h 605"/>
                <a:gd name="T12" fmla="*/ 0 w 421"/>
                <a:gd name="T13" fmla="*/ 280 h 605"/>
                <a:gd name="T14" fmla="*/ 155 w 421"/>
                <a:gd name="T15" fmla="*/ 380 h 605"/>
                <a:gd name="T16" fmla="*/ 186 w 421"/>
                <a:gd name="T17" fmla="*/ 481 h 605"/>
                <a:gd name="T18" fmla="*/ 260 w 421"/>
                <a:gd name="T19" fmla="*/ 511 h 605"/>
                <a:gd name="T20" fmla="*/ 277 w 421"/>
                <a:gd name="T21" fmla="*/ 561 h 605"/>
                <a:gd name="T22" fmla="*/ 344 w 421"/>
                <a:gd name="T23" fmla="*/ 601 h 605"/>
                <a:gd name="T24" fmla="*/ 406 w 421"/>
                <a:gd name="T25" fmla="*/ 605 h 605"/>
                <a:gd name="T26" fmla="*/ 421 w 421"/>
                <a:gd name="T27" fmla="*/ 549 h 605"/>
                <a:gd name="T28" fmla="*/ 321 w 421"/>
                <a:gd name="T29" fmla="*/ 494 h 605"/>
                <a:gd name="T30" fmla="*/ 315 w 421"/>
                <a:gd name="T31" fmla="*/ 373 h 605"/>
                <a:gd name="T32" fmla="*/ 253 w 421"/>
                <a:gd name="T33" fmla="*/ 312 h 605"/>
                <a:gd name="T34" fmla="*/ 319 w 421"/>
                <a:gd name="T35" fmla="*/ 254 h 605"/>
                <a:gd name="T36" fmla="*/ 372 w 421"/>
                <a:gd name="T37" fmla="*/ 259 h 605"/>
                <a:gd name="T38" fmla="*/ 401 w 421"/>
                <a:gd name="T39" fmla="*/ 174 h 605"/>
                <a:gd name="T40" fmla="*/ 210 w 421"/>
                <a:gd name="T41" fmla="*/ 90 h 605"/>
                <a:gd name="T42" fmla="*/ 401 w 421"/>
                <a:gd name="T43" fmla="*/ 174 h 605"/>
                <a:gd name="T44" fmla="*/ 401 w 421"/>
                <a:gd name="T45" fmla="*/ 174 h 60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21"/>
                <a:gd name="T70" fmla="*/ 0 h 605"/>
                <a:gd name="T71" fmla="*/ 421 w 421"/>
                <a:gd name="T72" fmla="*/ 605 h 60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21" h="605">
                  <a:moveTo>
                    <a:pt x="401" y="174"/>
                  </a:moveTo>
                  <a:lnTo>
                    <a:pt x="215" y="90"/>
                  </a:lnTo>
                  <a:lnTo>
                    <a:pt x="172" y="0"/>
                  </a:lnTo>
                  <a:lnTo>
                    <a:pt x="52" y="4"/>
                  </a:lnTo>
                  <a:lnTo>
                    <a:pt x="11" y="70"/>
                  </a:lnTo>
                  <a:lnTo>
                    <a:pt x="73" y="128"/>
                  </a:lnTo>
                  <a:lnTo>
                    <a:pt x="0" y="280"/>
                  </a:lnTo>
                  <a:lnTo>
                    <a:pt x="155" y="380"/>
                  </a:lnTo>
                  <a:lnTo>
                    <a:pt x="186" y="481"/>
                  </a:lnTo>
                  <a:lnTo>
                    <a:pt x="260" y="511"/>
                  </a:lnTo>
                  <a:lnTo>
                    <a:pt x="277" y="561"/>
                  </a:lnTo>
                  <a:lnTo>
                    <a:pt x="344" y="601"/>
                  </a:lnTo>
                  <a:lnTo>
                    <a:pt x="406" y="605"/>
                  </a:lnTo>
                  <a:lnTo>
                    <a:pt x="421" y="549"/>
                  </a:lnTo>
                  <a:lnTo>
                    <a:pt x="321" y="494"/>
                  </a:lnTo>
                  <a:lnTo>
                    <a:pt x="315" y="373"/>
                  </a:lnTo>
                  <a:lnTo>
                    <a:pt x="253" y="312"/>
                  </a:lnTo>
                  <a:lnTo>
                    <a:pt x="319" y="254"/>
                  </a:lnTo>
                  <a:lnTo>
                    <a:pt x="372" y="259"/>
                  </a:lnTo>
                  <a:lnTo>
                    <a:pt x="401" y="174"/>
                  </a:lnTo>
                  <a:lnTo>
                    <a:pt x="210" y="90"/>
                  </a:lnTo>
                  <a:lnTo>
                    <a:pt x="401" y="174"/>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29" name="Freeform 130"/>
            <p:cNvSpPr>
              <a:spLocks noChangeAspect="1"/>
            </p:cNvSpPr>
            <p:nvPr/>
          </p:nvSpPr>
          <p:spPr bwMode="gray">
            <a:xfrm>
              <a:off x="2009952" y="3794828"/>
              <a:ext cx="448736" cy="508575"/>
            </a:xfrm>
            <a:custGeom>
              <a:avLst/>
              <a:gdLst>
                <a:gd name="T0" fmla="*/ 225 w 521"/>
                <a:gd name="T1" fmla="*/ 0 h 543"/>
                <a:gd name="T2" fmla="*/ 193 w 521"/>
                <a:gd name="T3" fmla="*/ 15 h 543"/>
                <a:gd name="T4" fmla="*/ 185 w 521"/>
                <a:gd name="T5" fmla="*/ 76 h 543"/>
                <a:gd name="T6" fmla="*/ 97 w 521"/>
                <a:gd name="T7" fmla="*/ 134 h 543"/>
                <a:gd name="T8" fmla="*/ 97 w 521"/>
                <a:gd name="T9" fmla="*/ 196 h 543"/>
                <a:gd name="T10" fmla="*/ 15 w 521"/>
                <a:gd name="T11" fmla="*/ 233 h 543"/>
                <a:gd name="T12" fmla="*/ 0 w 521"/>
                <a:gd name="T13" fmla="*/ 286 h 543"/>
                <a:gd name="T14" fmla="*/ 35 w 521"/>
                <a:gd name="T15" fmla="*/ 299 h 543"/>
                <a:gd name="T16" fmla="*/ 4 w 521"/>
                <a:gd name="T17" fmla="*/ 397 h 543"/>
                <a:gd name="T18" fmla="*/ 120 w 521"/>
                <a:gd name="T19" fmla="*/ 401 h 543"/>
                <a:gd name="T20" fmla="*/ 96 w 521"/>
                <a:gd name="T21" fmla="*/ 461 h 543"/>
                <a:gd name="T22" fmla="*/ 129 w 521"/>
                <a:gd name="T23" fmla="*/ 506 h 543"/>
                <a:gd name="T24" fmla="*/ 292 w 521"/>
                <a:gd name="T25" fmla="*/ 497 h 543"/>
                <a:gd name="T26" fmla="*/ 304 w 521"/>
                <a:gd name="T27" fmla="*/ 538 h 543"/>
                <a:gd name="T28" fmla="*/ 412 w 521"/>
                <a:gd name="T29" fmla="*/ 543 h 543"/>
                <a:gd name="T30" fmla="*/ 412 w 521"/>
                <a:gd name="T31" fmla="*/ 506 h 543"/>
                <a:gd name="T32" fmla="*/ 474 w 521"/>
                <a:gd name="T33" fmla="*/ 474 h 543"/>
                <a:gd name="T34" fmla="*/ 521 w 521"/>
                <a:gd name="T35" fmla="*/ 341 h 543"/>
                <a:gd name="T36" fmla="*/ 445 w 521"/>
                <a:gd name="T37" fmla="*/ 244 h 543"/>
                <a:gd name="T38" fmla="*/ 468 w 521"/>
                <a:gd name="T39" fmla="*/ 157 h 543"/>
                <a:gd name="T40" fmla="*/ 436 w 521"/>
                <a:gd name="T41" fmla="*/ 113 h 543"/>
                <a:gd name="T42" fmla="*/ 319 w 521"/>
                <a:gd name="T43" fmla="*/ 53 h 543"/>
                <a:gd name="T44" fmla="*/ 225 w 521"/>
                <a:gd name="T45" fmla="*/ 0 h 543"/>
                <a:gd name="T46" fmla="*/ 225 w 521"/>
                <a:gd name="T47" fmla="*/ 0 h 54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21"/>
                <a:gd name="T73" fmla="*/ 0 h 543"/>
                <a:gd name="T74" fmla="*/ 521 w 521"/>
                <a:gd name="T75" fmla="*/ 543 h 54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21" h="543">
                  <a:moveTo>
                    <a:pt x="225" y="0"/>
                  </a:moveTo>
                  <a:lnTo>
                    <a:pt x="193" y="15"/>
                  </a:lnTo>
                  <a:lnTo>
                    <a:pt x="185" y="76"/>
                  </a:lnTo>
                  <a:lnTo>
                    <a:pt x="97" y="134"/>
                  </a:lnTo>
                  <a:lnTo>
                    <a:pt x="97" y="196"/>
                  </a:lnTo>
                  <a:lnTo>
                    <a:pt x="15" y="233"/>
                  </a:lnTo>
                  <a:lnTo>
                    <a:pt x="0" y="286"/>
                  </a:lnTo>
                  <a:lnTo>
                    <a:pt x="35" y="299"/>
                  </a:lnTo>
                  <a:lnTo>
                    <a:pt x="4" y="397"/>
                  </a:lnTo>
                  <a:lnTo>
                    <a:pt x="120" y="401"/>
                  </a:lnTo>
                  <a:lnTo>
                    <a:pt x="96" y="461"/>
                  </a:lnTo>
                  <a:lnTo>
                    <a:pt x="129" y="506"/>
                  </a:lnTo>
                  <a:lnTo>
                    <a:pt x="292" y="497"/>
                  </a:lnTo>
                  <a:lnTo>
                    <a:pt x="304" y="538"/>
                  </a:lnTo>
                  <a:lnTo>
                    <a:pt x="412" y="543"/>
                  </a:lnTo>
                  <a:lnTo>
                    <a:pt x="412" y="506"/>
                  </a:lnTo>
                  <a:lnTo>
                    <a:pt x="474" y="474"/>
                  </a:lnTo>
                  <a:lnTo>
                    <a:pt x="521" y="341"/>
                  </a:lnTo>
                  <a:lnTo>
                    <a:pt x="445" y="244"/>
                  </a:lnTo>
                  <a:lnTo>
                    <a:pt x="468" y="157"/>
                  </a:lnTo>
                  <a:lnTo>
                    <a:pt x="436" y="113"/>
                  </a:lnTo>
                  <a:lnTo>
                    <a:pt x="319" y="53"/>
                  </a:lnTo>
                  <a:lnTo>
                    <a:pt x="225"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30" name="Freeform 131"/>
            <p:cNvSpPr>
              <a:spLocks noChangeAspect="1"/>
            </p:cNvSpPr>
            <p:nvPr/>
          </p:nvSpPr>
          <p:spPr bwMode="gray">
            <a:xfrm>
              <a:off x="1635431" y="3843442"/>
              <a:ext cx="478076" cy="641328"/>
            </a:xfrm>
            <a:custGeom>
              <a:avLst/>
              <a:gdLst>
                <a:gd name="T0" fmla="*/ 52 w 553"/>
                <a:gd name="T1" fmla="*/ 0 h 687"/>
                <a:gd name="T2" fmla="*/ 0 w 553"/>
                <a:gd name="T3" fmla="*/ 378 h 687"/>
                <a:gd name="T4" fmla="*/ 84 w 553"/>
                <a:gd name="T5" fmla="*/ 437 h 687"/>
                <a:gd name="T6" fmla="*/ 30 w 553"/>
                <a:gd name="T7" fmla="*/ 442 h 687"/>
                <a:gd name="T8" fmla="*/ 38 w 553"/>
                <a:gd name="T9" fmla="*/ 466 h 687"/>
                <a:gd name="T10" fmla="*/ 4 w 553"/>
                <a:gd name="T11" fmla="*/ 533 h 687"/>
                <a:gd name="T12" fmla="*/ 30 w 553"/>
                <a:gd name="T13" fmla="*/ 556 h 687"/>
                <a:gd name="T14" fmla="*/ 62 w 553"/>
                <a:gd name="T15" fmla="*/ 513 h 687"/>
                <a:gd name="T16" fmla="*/ 88 w 553"/>
                <a:gd name="T17" fmla="*/ 523 h 687"/>
                <a:gd name="T18" fmla="*/ 80 w 553"/>
                <a:gd name="T19" fmla="*/ 561 h 687"/>
                <a:gd name="T20" fmla="*/ 219 w 553"/>
                <a:gd name="T21" fmla="*/ 556 h 687"/>
                <a:gd name="T22" fmla="*/ 296 w 553"/>
                <a:gd name="T23" fmla="*/ 637 h 687"/>
                <a:gd name="T24" fmla="*/ 312 w 553"/>
                <a:gd name="T25" fmla="*/ 679 h 687"/>
                <a:gd name="T26" fmla="*/ 350 w 553"/>
                <a:gd name="T27" fmla="*/ 687 h 687"/>
                <a:gd name="T28" fmla="*/ 363 w 553"/>
                <a:gd name="T29" fmla="*/ 647 h 687"/>
                <a:gd name="T30" fmla="*/ 422 w 553"/>
                <a:gd name="T31" fmla="*/ 647 h 687"/>
                <a:gd name="T32" fmla="*/ 428 w 553"/>
                <a:gd name="T33" fmla="*/ 556 h 687"/>
                <a:gd name="T34" fmla="*/ 509 w 553"/>
                <a:gd name="T35" fmla="*/ 474 h 687"/>
                <a:gd name="T36" fmla="*/ 477 w 553"/>
                <a:gd name="T37" fmla="*/ 445 h 687"/>
                <a:gd name="T38" fmla="*/ 529 w 553"/>
                <a:gd name="T39" fmla="*/ 409 h 687"/>
                <a:gd name="T40" fmla="*/ 553 w 553"/>
                <a:gd name="T41" fmla="*/ 349 h 687"/>
                <a:gd name="T42" fmla="*/ 437 w 553"/>
                <a:gd name="T43" fmla="*/ 345 h 687"/>
                <a:gd name="T44" fmla="*/ 468 w 553"/>
                <a:gd name="T45" fmla="*/ 253 h 687"/>
                <a:gd name="T46" fmla="*/ 437 w 553"/>
                <a:gd name="T47" fmla="*/ 234 h 687"/>
                <a:gd name="T48" fmla="*/ 367 w 553"/>
                <a:gd name="T49" fmla="*/ 234 h 687"/>
                <a:gd name="T50" fmla="*/ 304 w 553"/>
                <a:gd name="T51" fmla="*/ 192 h 687"/>
                <a:gd name="T52" fmla="*/ 290 w 553"/>
                <a:gd name="T53" fmla="*/ 144 h 687"/>
                <a:gd name="T54" fmla="*/ 213 w 553"/>
                <a:gd name="T55" fmla="*/ 114 h 687"/>
                <a:gd name="T56" fmla="*/ 226 w 553"/>
                <a:gd name="T57" fmla="*/ 217 h 687"/>
                <a:gd name="T58" fmla="*/ 204 w 553"/>
                <a:gd name="T59" fmla="*/ 238 h 687"/>
                <a:gd name="T60" fmla="*/ 152 w 553"/>
                <a:gd name="T61" fmla="*/ 45 h 687"/>
                <a:gd name="T62" fmla="*/ 52 w 553"/>
                <a:gd name="T63" fmla="*/ 0 h 687"/>
                <a:gd name="T64" fmla="*/ 52 w 553"/>
                <a:gd name="T65" fmla="*/ 0 h 68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53"/>
                <a:gd name="T100" fmla="*/ 0 h 687"/>
                <a:gd name="T101" fmla="*/ 553 w 553"/>
                <a:gd name="T102" fmla="*/ 687 h 68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53" h="687">
                  <a:moveTo>
                    <a:pt x="52" y="0"/>
                  </a:moveTo>
                  <a:lnTo>
                    <a:pt x="0" y="378"/>
                  </a:lnTo>
                  <a:lnTo>
                    <a:pt x="84" y="437"/>
                  </a:lnTo>
                  <a:lnTo>
                    <a:pt x="30" y="442"/>
                  </a:lnTo>
                  <a:lnTo>
                    <a:pt x="38" y="466"/>
                  </a:lnTo>
                  <a:lnTo>
                    <a:pt x="4" y="533"/>
                  </a:lnTo>
                  <a:lnTo>
                    <a:pt x="30" y="556"/>
                  </a:lnTo>
                  <a:lnTo>
                    <a:pt x="62" y="513"/>
                  </a:lnTo>
                  <a:lnTo>
                    <a:pt x="88" y="523"/>
                  </a:lnTo>
                  <a:lnTo>
                    <a:pt x="80" y="561"/>
                  </a:lnTo>
                  <a:lnTo>
                    <a:pt x="219" y="556"/>
                  </a:lnTo>
                  <a:lnTo>
                    <a:pt x="296" y="637"/>
                  </a:lnTo>
                  <a:lnTo>
                    <a:pt x="312" y="679"/>
                  </a:lnTo>
                  <a:lnTo>
                    <a:pt x="350" y="687"/>
                  </a:lnTo>
                  <a:lnTo>
                    <a:pt x="363" y="647"/>
                  </a:lnTo>
                  <a:lnTo>
                    <a:pt x="422" y="647"/>
                  </a:lnTo>
                  <a:lnTo>
                    <a:pt x="428" y="556"/>
                  </a:lnTo>
                  <a:lnTo>
                    <a:pt x="509" y="474"/>
                  </a:lnTo>
                  <a:lnTo>
                    <a:pt x="477" y="445"/>
                  </a:lnTo>
                  <a:lnTo>
                    <a:pt x="529" y="409"/>
                  </a:lnTo>
                  <a:lnTo>
                    <a:pt x="553" y="349"/>
                  </a:lnTo>
                  <a:lnTo>
                    <a:pt x="437" y="345"/>
                  </a:lnTo>
                  <a:lnTo>
                    <a:pt x="468" y="253"/>
                  </a:lnTo>
                  <a:lnTo>
                    <a:pt x="437" y="234"/>
                  </a:lnTo>
                  <a:lnTo>
                    <a:pt x="367" y="234"/>
                  </a:lnTo>
                  <a:lnTo>
                    <a:pt x="304" y="192"/>
                  </a:lnTo>
                  <a:lnTo>
                    <a:pt x="290" y="144"/>
                  </a:lnTo>
                  <a:lnTo>
                    <a:pt x="213" y="114"/>
                  </a:lnTo>
                  <a:lnTo>
                    <a:pt x="226" y="217"/>
                  </a:lnTo>
                  <a:lnTo>
                    <a:pt x="204" y="238"/>
                  </a:lnTo>
                  <a:lnTo>
                    <a:pt x="152" y="45"/>
                  </a:lnTo>
                  <a:lnTo>
                    <a:pt x="52"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31" name="Freeform 132"/>
            <p:cNvSpPr>
              <a:spLocks noChangeAspect="1"/>
            </p:cNvSpPr>
            <p:nvPr/>
          </p:nvSpPr>
          <p:spPr bwMode="gray">
            <a:xfrm>
              <a:off x="2384474" y="3783609"/>
              <a:ext cx="403862" cy="381432"/>
            </a:xfrm>
            <a:custGeom>
              <a:avLst/>
              <a:gdLst>
                <a:gd name="T0" fmla="*/ 236 w 466"/>
                <a:gd name="T1" fmla="*/ 8 h 408"/>
                <a:gd name="T2" fmla="*/ 0 w 466"/>
                <a:gd name="T3" fmla="*/ 124 h 408"/>
                <a:gd name="T4" fmla="*/ 32 w 466"/>
                <a:gd name="T5" fmla="*/ 172 h 408"/>
                <a:gd name="T6" fmla="*/ 9 w 466"/>
                <a:gd name="T7" fmla="*/ 255 h 408"/>
                <a:gd name="T8" fmla="*/ 85 w 466"/>
                <a:gd name="T9" fmla="*/ 356 h 408"/>
                <a:gd name="T10" fmla="*/ 158 w 466"/>
                <a:gd name="T11" fmla="*/ 356 h 408"/>
                <a:gd name="T12" fmla="*/ 223 w 466"/>
                <a:gd name="T13" fmla="*/ 408 h 408"/>
                <a:gd name="T14" fmla="*/ 323 w 466"/>
                <a:gd name="T15" fmla="*/ 362 h 408"/>
                <a:gd name="T16" fmla="*/ 299 w 466"/>
                <a:gd name="T17" fmla="*/ 329 h 408"/>
                <a:gd name="T18" fmla="*/ 349 w 466"/>
                <a:gd name="T19" fmla="*/ 286 h 408"/>
                <a:gd name="T20" fmla="*/ 344 w 466"/>
                <a:gd name="T21" fmla="*/ 234 h 408"/>
                <a:gd name="T22" fmla="*/ 419 w 466"/>
                <a:gd name="T23" fmla="*/ 149 h 408"/>
                <a:gd name="T24" fmla="*/ 466 w 466"/>
                <a:gd name="T25" fmla="*/ 177 h 408"/>
                <a:gd name="T26" fmla="*/ 442 w 466"/>
                <a:gd name="T27" fmla="*/ 84 h 408"/>
                <a:gd name="T28" fmla="*/ 426 w 466"/>
                <a:gd name="T29" fmla="*/ 0 h 408"/>
                <a:gd name="T30" fmla="*/ 358 w 466"/>
                <a:gd name="T31" fmla="*/ 31 h 408"/>
                <a:gd name="T32" fmla="*/ 236 w 466"/>
                <a:gd name="T33" fmla="*/ 8 h 408"/>
                <a:gd name="T34" fmla="*/ 236 w 466"/>
                <a:gd name="T35" fmla="*/ 8 h 40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6"/>
                <a:gd name="T55" fmla="*/ 0 h 408"/>
                <a:gd name="T56" fmla="*/ 466 w 466"/>
                <a:gd name="T57" fmla="*/ 408 h 40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6" h="408">
                  <a:moveTo>
                    <a:pt x="236" y="8"/>
                  </a:moveTo>
                  <a:lnTo>
                    <a:pt x="0" y="124"/>
                  </a:lnTo>
                  <a:lnTo>
                    <a:pt x="32" y="172"/>
                  </a:lnTo>
                  <a:lnTo>
                    <a:pt x="9" y="255"/>
                  </a:lnTo>
                  <a:lnTo>
                    <a:pt x="85" y="356"/>
                  </a:lnTo>
                  <a:lnTo>
                    <a:pt x="158" y="356"/>
                  </a:lnTo>
                  <a:lnTo>
                    <a:pt x="223" y="408"/>
                  </a:lnTo>
                  <a:lnTo>
                    <a:pt x="323" y="362"/>
                  </a:lnTo>
                  <a:lnTo>
                    <a:pt x="299" y="329"/>
                  </a:lnTo>
                  <a:lnTo>
                    <a:pt x="349" y="286"/>
                  </a:lnTo>
                  <a:lnTo>
                    <a:pt x="344" y="234"/>
                  </a:lnTo>
                  <a:lnTo>
                    <a:pt x="419" y="149"/>
                  </a:lnTo>
                  <a:lnTo>
                    <a:pt x="466" y="177"/>
                  </a:lnTo>
                  <a:lnTo>
                    <a:pt x="442" y="84"/>
                  </a:lnTo>
                  <a:lnTo>
                    <a:pt x="426" y="0"/>
                  </a:lnTo>
                  <a:lnTo>
                    <a:pt x="358" y="31"/>
                  </a:lnTo>
                  <a:lnTo>
                    <a:pt x="236" y="8"/>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32" name="Freeform 133"/>
            <p:cNvSpPr>
              <a:spLocks noChangeAspect="1"/>
            </p:cNvSpPr>
            <p:nvPr/>
          </p:nvSpPr>
          <p:spPr bwMode="gray">
            <a:xfrm>
              <a:off x="2317163" y="4116427"/>
              <a:ext cx="362440" cy="364604"/>
            </a:xfrm>
            <a:custGeom>
              <a:avLst/>
              <a:gdLst>
                <a:gd name="T0" fmla="*/ 162 w 421"/>
                <a:gd name="T1" fmla="*/ 0 h 389"/>
                <a:gd name="T2" fmla="*/ 118 w 421"/>
                <a:gd name="T3" fmla="*/ 129 h 389"/>
                <a:gd name="T4" fmla="*/ 56 w 421"/>
                <a:gd name="T5" fmla="*/ 161 h 389"/>
                <a:gd name="T6" fmla="*/ 56 w 421"/>
                <a:gd name="T7" fmla="*/ 198 h 389"/>
                <a:gd name="T8" fmla="*/ 0 w 421"/>
                <a:gd name="T9" fmla="*/ 236 h 389"/>
                <a:gd name="T10" fmla="*/ 18 w 421"/>
                <a:gd name="T11" fmla="*/ 302 h 389"/>
                <a:gd name="T12" fmla="*/ 118 w 421"/>
                <a:gd name="T13" fmla="*/ 389 h 389"/>
                <a:gd name="T14" fmla="*/ 185 w 421"/>
                <a:gd name="T15" fmla="*/ 354 h 389"/>
                <a:gd name="T16" fmla="*/ 312 w 421"/>
                <a:gd name="T17" fmla="*/ 327 h 389"/>
                <a:gd name="T18" fmla="*/ 332 w 421"/>
                <a:gd name="T19" fmla="*/ 302 h 389"/>
                <a:gd name="T20" fmla="*/ 300 w 421"/>
                <a:gd name="T21" fmla="*/ 260 h 389"/>
                <a:gd name="T22" fmla="*/ 421 w 421"/>
                <a:gd name="T23" fmla="*/ 184 h 389"/>
                <a:gd name="T24" fmla="*/ 376 w 421"/>
                <a:gd name="T25" fmla="*/ 21 h 389"/>
                <a:gd name="T26" fmla="*/ 304 w 421"/>
                <a:gd name="T27" fmla="*/ 52 h 389"/>
                <a:gd name="T28" fmla="*/ 238 w 421"/>
                <a:gd name="T29" fmla="*/ 0 h 389"/>
                <a:gd name="T30" fmla="*/ 162 w 421"/>
                <a:gd name="T31" fmla="*/ 0 h 389"/>
                <a:gd name="T32" fmla="*/ 162 w 421"/>
                <a:gd name="T33" fmla="*/ 0 h 38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21"/>
                <a:gd name="T52" fmla="*/ 0 h 389"/>
                <a:gd name="T53" fmla="*/ 421 w 421"/>
                <a:gd name="T54" fmla="*/ 389 h 38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21" h="389">
                  <a:moveTo>
                    <a:pt x="162" y="0"/>
                  </a:moveTo>
                  <a:lnTo>
                    <a:pt x="118" y="129"/>
                  </a:lnTo>
                  <a:lnTo>
                    <a:pt x="56" y="161"/>
                  </a:lnTo>
                  <a:lnTo>
                    <a:pt x="56" y="198"/>
                  </a:lnTo>
                  <a:lnTo>
                    <a:pt x="0" y="236"/>
                  </a:lnTo>
                  <a:lnTo>
                    <a:pt x="18" y="302"/>
                  </a:lnTo>
                  <a:lnTo>
                    <a:pt x="118" y="389"/>
                  </a:lnTo>
                  <a:lnTo>
                    <a:pt x="185" y="354"/>
                  </a:lnTo>
                  <a:lnTo>
                    <a:pt x="312" y="327"/>
                  </a:lnTo>
                  <a:lnTo>
                    <a:pt x="332" y="302"/>
                  </a:lnTo>
                  <a:lnTo>
                    <a:pt x="300" y="260"/>
                  </a:lnTo>
                  <a:lnTo>
                    <a:pt x="421" y="184"/>
                  </a:lnTo>
                  <a:lnTo>
                    <a:pt x="376" y="21"/>
                  </a:lnTo>
                  <a:lnTo>
                    <a:pt x="304" y="52"/>
                  </a:lnTo>
                  <a:lnTo>
                    <a:pt x="238" y="0"/>
                  </a:lnTo>
                  <a:lnTo>
                    <a:pt x="162"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33" name="Freeform 134"/>
            <p:cNvSpPr>
              <a:spLocks noChangeAspect="1"/>
            </p:cNvSpPr>
            <p:nvPr/>
          </p:nvSpPr>
          <p:spPr bwMode="gray">
            <a:xfrm>
              <a:off x="2636456" y="3865879"/>
              <a:ext cx="398684" cy="426306"/>
            </a:xfrm>
            <a:custGeom>
              <a:avLst/>
              <a:gdLst>
                <a:gd name="T0" fmla="*/ 155 w 462"/>
                <a:gd name="T1" fmla="*/ 0 h 456"/>
                <a:gd name="T2" fmla="*/ 175 w 462"/>
                <a:gd name="T3" fmla="*/ 90 h 456"/>
                <a:gd name="T4" fmla="*/ 129 w 462"/>
                <a:gd name="T5" fmla="*/ 62 h 456"/>
                <a:gd name="T6" fmla="*/ 53 w 462"/>
                <a:gd name="T7" fmla="*/ 147 h 456"/>
                <a:gd name="T8" fmla="*/ 58 w 462"/>
                <a:gd name="T9" fmla="*/ 199 h 456"/>
                <a:gd name="T10" fmla="*/ 8 w 462"/>
                <a:gd name="T11" fmla="*/ 242 h 456"/>
                <a:gd name="T12" fmla="*/ 35 w 462"/>
                <a:gd name="T13" fmla="*/ 275 h 456"/>
                <a:gd name="T14" fmla="*/ 0 w 462"/>
                <a:gd name="T15" fmla="*/ 290 h 456"/>
                <a:gd name="T16" fmla="*/ 50 w 462"/>
                <a:gd name="T17" fmla="*/ 456 h 456"/>
                <a:gd name="T18" fmla="*/ 85 w 462"/>
                <a:gd name="T19" fmla="*/ 430 h 456"/>
                <a:gd name="T20" fmla="*/ 149 w 462"/>
                <a:gd name="T21" fmla="*/ 444 h 456"/>
                <a:gd name="T22" fmla="*/ 249 w 462"/>
                <a:gd name="T23" fmla="*/ 303 h 456"/>
                <a:gd name="T24" fmla="*/ 281 w 462"/>
                <a:gd name="T25" fmla="*/ 325 h 456"/>
                <a:gd name="T26" fmla="*/ 339 w 462"/>
                <a:gd name="T27" fmla="*/ 444 h 456"/>
                <a:gd name="T28" fmla="*/ 383 w 462"/>
                <a:gd name="T29" fmla="*/ 310 h 456"/>
                <a:gd name="T30" fmla="*/ 407 w 462"/>
                <a:gd name="T31" fmla="*/ 333 h 456"/>
                <a:gd name="T32" fmla="*/ 462 w 462"/>
                <a:gd name="T33" fmla="*/ 280 h 456"/>
                <a:gd name="T34" fmla="*/ 413 w 462"/>
                <a:gd name="T35" fmla="*/ 132 h 456"/>
                <a:gd name="T36" fmla="*/ 363 w 462"/>
                <a:gd name="T37" fmla="*/ 125 h 456"/>
                <a:gd name="T38" fmla="*/ 375 w 462"/>
                <a:gd name="T39" fmla="*/ 90 h 456"/>
                <a:gd name="T40" fmla="*/ 331 w 462"/>
                <a:gd name="T41" fmla="*/ 113 h 456"/>
                <a:gd name="T42" fmla="*/ 281 w 462"/>
                <a:gd name="T43" fmla="*/ 67 h 456"/>
                <a:gd name="T44" fmla="*/ 228 w 462"/>
                <a:gd name="T45" fmla="*/ 67 h 456"/>
                <a:gd name="T46" fmla="*/ 155 w 462"/>
                <a:gd name="T47" fmla="*/ 0 h 456"/>
                <a:gd name="T48" fmla="*/ 155 w 462"/>
                <a:gd name="T49" fmla="*/ 0 h 45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62"/>
                <a:gd name="T76" fmla="*/ 0 h 456"/>
                <a:gd name="T77" fmla="*/ 462 w 462"/>
                <a:gd name="T78" fmla="*/ 456 h 45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62" h="456">
                  <a:moveTo>
                    <a:pt x="155" y="0"/>
                  </a:moveTo>
                  <a:lnTo>
                    <a:pt x="175" y="90"/>
                  </a:lnTo>
                  <a:lnTo>
                    <a:pt x="129" y="62"/>
                  </a:lnTo>
                  <a:lnTo>
                    <a:pt x="53" y="147"/>
                  </a:lnTo>
                  <a:lnTo>
                    <a:pt x="58" y="199"/>
                  </a:lnTo>
                  <a:lnTo>
                    <a:pt x="8" y="242"/>
                  </a:lnTo>
                  <a:lnTo>
                    <a:pt x="35" y="275"/>
                  </a:lnTo>
                  <a:lnTo>
                    <a:pt x="0" y="290"/>
                  </a:lnTo>
                  <a:lnTo>
                    <a:pt x="50" y="456"/>
                  </a:lnTo>
                  <a:lnTo>
                    <a:pt x="85" y="430"/>
                  </a:lnTo>
                  <a:lnTo>
                    <a:pt x="149" y="444"/>
                  </a:lnTo>
                  <a:lnTo>
                    <a:pt x="249" y="303"/>
                  </a:lnTo>
                  <a:lnTo>
                    <a:pt x="281" y="325"/>
                  </a:lnTo>
                  <a:lnTo>
                    <a:pt x="339" y="444"/>
                  </a:lnTo>
                  <a:lnTo>
                    <a:pt x="383" y="310"/>
                  </a:lnTo>
                  <a:lnTo>
                    <a:pt x="407" y="333"/>
                  </a:lnTo>
                  <a:lnTo>
                    <a:pt x="462" y="280"/>
                  </a:lnTo>
                  <a:lnTo>
                    <a:pt x="413" y="132"/>
                  </a:lnTo>
                  <a:lnTo>
                    <a:pt x="363" y="125"/>
                  </a:lnTo>
                  <a:lnTo>
                    <a:pt x="375" y="90"/>
                  </a:lnTo>
                  <a:lnTo>
                    <a:pt x="331" y="113"/>
                  </a:lnTo>
                  <a:lnTo>
                    <a:pt x="281" y="67"/>
                  </a:lnTo>
                  <a:lnTo>
                    <a:pt x="228" y="67"/>
                  </a:lnTo>
                  <a:lnTo>
                    <a:pt x="155"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34" name="Freeform 135"/>
            <p:cNvSpPr>
              <a:spLocks noChangeAspect="1"/>
            </p:cNvSpPr>
            <p:nvPr/>
          </p:nvSpPr>
          <p:spPr bwMode="gray">
            <a:xfrm>
              <a:off x="2950571" y="3918232"/>
              <a:ext cx="415943" cy="297292"/>
            </a:xfrm>
            <a:custGeom>
              <a:avLst/>
              <a:gdLst>
                <a:gd name="T0" fmla="*/ 157 w 484"/>
                <a:gd name="T1" fmla="*/ 0 h 319"/>
                <a:gd name="T2" fmla="*/ 69 w 484"/>
                <a:gd name="T3" fmla="*/ 0 h 319"/>
                <a:gd name="T4" fmla="*/ 12 w 484"/>
                <a:gd name="T5" fmla="*/ 34 h 319"/>
                <a:gd name="T6" fmla="*/ 0 w 484"/>
                <a:gd name="T7" fmla="*/ 69 h 319"/>
                <a:gd name="T8" fmla="*/ 48 w 484"/>
                <a:gd name="T9" fmla="*/ 78 h 319"/>
                <a:gd name="T10" fmla="*/ 99 w 484"/>
                <a:gd name="T11" fmla="*/ 222 h 319"/>
                <a:gd name="T12" fmla="*/ 146 w 484"/>
                <a:gd name="T13" fmla="*/ 300 h 319"/>
                <a:gd name="T14" fmla="*/ 212 w 484"/>
                <a:gd name="T15" fmla="*/ 274 h 319"/>
                <a:gd name="T16" fmla="*/ 274 w 484"/>
                <a:gd name="T17" fmla="*/ 319 h 319"/>
                <a:gd name="T18" fmla="*/ 291 w 484"/>
                <a:gd name="T19" fmla="*/ 283 h 319"/>
                <a:gd name="T20" fmla="*/ 318 w 484"/>
                <a:gd name="T21" fmla="*/ 274 h 319"/>
                <a:gd name="T22" fmla="*/ 432 w 484"/>
                <a:gd name="T23" fmla="*/ 207 h 319"/>
                <a:gd name="T24" fmla="*/ 449 w 484"/>
                <a:gd name="T25" fmla="*/ 125 h 319"/>
                <a:gd name="T26" fmla="*/ 472 w 484"/>
                <a:gd name="T27" fmla="*/ 137 h 319"/>
                <a:gd name="T28" fmla="*/ 484 w 484"/>
                <a:gd name="T29" fmla="*/ 82 h 319"/>
                <a:gd name="T30" fmla="*/ 402 w 484"/>
                <a:gd name="T31" fmla="*/ 15 h 319"/>
                <a:gd name="T32" fmla="*/ 272 w 484"/>
                <a:gd name="T33" fmla="*/ 23 h 319"/>
                <a:gd name="T34" fmla="*/ 181 w 484"/>
                <a:gd name="T35" fmla="*/ 36 h 319"/>
                <a:gd name="T36" fmla="*/ 157 w 484"/>
                <a:gd name="T37" fmla="*/ 0 h 319"/>
                <a:gd name="T38" fmla="*/ 157 w 484"/>
                <a:gd name="T39" fmla="*/ 0 h 31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84"/>
                <a:gd name="T61" fmla="*/ 0 h 319"/>
                <a:gd name="T62" fmla="*/ 484 w 484"/>
                <a:gd name="T63" fmla="*/ 319 h 31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84" h="319">
                  <a:moveTo>
                    <a:pt x="157" y="0"/>
                  </a:moveTo>
                  <a:lnTo>
                    <a:pt x="69" y="0"/>
                  </a:lnTo>
                  <a:lnTo>
                    <a:pt x="12" y="34"/>
                  </a:lnTo>
                  <a:lnTo>
                    <a:pt x="0" y="69"/>
                  </a:lnTo>
                  <a:lnTo>
                    <a:pt x="48" y="78"/>
                  </a:lnTo>
                  <a:lnTo>
                    <a:pt x="99" y="222"/>
                  </a:lnTo>
                  <a:lnTo>
                    <a:pt x="146" y="300"/>
                  </a:lnTo>
                  <a:lnTo>
                    <a:pt x="212" y="274"/>
                  </a:lnTo>
                  <a:lnTo>
                    <a:pt x="274" y="319"/>
                  </a:lnTo>
                  <a:lnTo>
                    <a:pt x="291" y="283"/>
                  </a:lnTo>
                  <a:lnTo>
                    <a:pt x="318" y="274"/>
                  </a:lnTo>
                  <a:lnTo>
                    <a:pt x="432" y="207"/>
                  </a:lnTo>
                  <a:lnTo>
                    <a:pt x="449" y="125"/>
                  </a:lnTo>
                  <a:lnTo>
                    <a:pt x="472" y="137"/>
                  </a:lnTo>
                  <a:lnTo>
                    <a:pt x="484" y="82"/>
                  </a:lnTo>
                  <a:lnTo>
                    <a:pt x="402" y="15"/>
                  </a:lnTo>
                  <a:lnTo>
                    <a:pt x="272" y="23"/>
                  </a:lnTo>
                  <a:lnTo>
                    <a:pt x="181" y="36"/>
                  </a:lnTo>
                  <a:lnTo>
                    <a:pt x="157"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35" name="Freeform 136"/>
            <p:cNvSpPr>
              <a:spLocks noChangeAspect="1"/>
            </p:cNvSpPr>
            <p:nvPr/>
          </p:nvSpPr>
          <p:spPr bwMode="gray">
            <a:xfrm>
              <a:off x="2928134" y="4125776"/>
              <a:ext cx="310663" cy="387041"/>
            </a:xfrm>
            <a:custGeom>
              <a:avLst/>
              <a:gdLst>
                <a:gd name="T0" fmla="*/ 123 w 359"/>
                <a:gd name="T1" fmla="*/ 0 h 415"/>
                <a:gd name="T2" fmla="*/ 68 w 359"/>
                <a:gd name="T3" fmla="*/ 55 h 415"/>
                <a:gd name="T4" fmla="*/ 44 w 359"/>
                <a:gd name="T5" fmla="*/ 32 h 415"/>
                <a:gd name="T6" fmla="*/ 0 w 359"/>
                <a:gd name="T7" fmla="*/ 161 h 415"/>
                <a:gd name="T8" fmla="*/ 40 w 359"/>
                <a:gd name="T9" fmla="*/ 231 h 415"/>
                <a:gd name="T10" fmla="*/ 38 w 359"/>
                <a:gd name="T11" fmla="*/ 347 h 415"/>
                <a:gd name="T12" fmla="*/ 79 w 359"/>
                <a:gd name="T13" fmla="*/ 388 h 415"/>
                <a:gd name="T14" fmla="*/ 125 w 359"/>
                <a:gd name="T15" fmla="*/ 375 h 415"/>
                <a:gd name="T16" fmla="*/ 214 w 359"/>
                <a:gd name="T17" fmla="*/ 415 h 415"/>
                <a:gd name="T18" fmla="*/ 237 w 359"/>
                <a:gd name="T19" fmla="*/ 388 h 415"/>
                <a:gd name="T20" fmla="*/ 328 w 359"/>
                <a:gd name="T21" fmla="*/ 403 h 415"/>
                <a:gd name="T22" fmla="*/ 359 w 359"/>
                <a:gd name="T23" fmla="*/ 380 h 415"/>
                <a:gd name="T24" fmla="*/ 334 w 359"/>
                <a:gd name="T25" fmla="*/ 266 h 415"/>
                <a:gd name="T26" fmla="*/ 353 w 359"/>
                <a:gd name="T27" fmla="*/ 246 h 415"/>
                <a:gd name="T28" fmla="*/ 300 w 359"/>
                <a:gd name="T29" fmla="*/ 97 h 415"/>
                <a:gd name="T30" fmla="*/ 236 w 359"/>
                <a:gd name="T31" fmla="*/ 52 h 415"/>
                <a:gd name="T32" fmla="*/ 173 w 359"/>
                <a:gd name="T33" fmla="*/ 76 h 415"/>
                <a:gd name="T34" fmla="*/ 123 w 359"/>
                <a:gd name="T35" fmla="*/ 0 h 415"/>
                <a:gd name="T36" fmla="*/ 123 w 359"/>
                <a:gd name="T37" fmla="*/ 0 h 4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59"/>
                <a:gd name="T58" fmla="*/ 0 h 415"/>
                <a:gd name="T59" fmla="*/ 359 w 359"/>
                <a:gd name="T60" fmla="*/ 415 h 4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59" h="415">
                  <a:moveTo>
                    <a:pt x="123" y="0"/>
                  </a:moveTo>
                  <a:lnTo>
                    <a:pt x="68" y="55"/>
                  </a:lnTo>
                  <a:lnTo>
                    <a:pt x="44" y="32"/>
                  </a:lnTo>
                  <a:lnTo>
                    <a:pt x="0" y="161"/>
                  </a:lnTo>
                  <a:lnTo>
                    <a:pt x="40" y="231"/>
                  </a:lnTo>
                  <a:lnTo>
                    <a:pt x="38" y="347"/>
                  </a:lnTo>
                  <a:lnTo>
                    <a:pt x="79" y="388"/>
                  </a:lnTo>
                  <a:lnTo>
                    <a:pt x="125" y="375"/>
                  </a:lnTo>
                  <a:lnTo>
                    <a:pt x="214" y="415"/>
                  </a:lnTo>
                  <a:lnTo>
                    <a:pt x="237" y="388"/>
                  </a:lnTo>
                  <a:lnTo>
                    <a:pt x="328" y="403"/>
                  </a:lnTo>
                  <a:lnTo>
                    <a:pt x="359" y="380"/>
                  </a:lnTo>
                  <a:lnTo>
                    <a:pt x="334" y="266"/>
                  </a:lnTo>
                  <a:lnTo>
                    <a:pt x="353" y="246"/>
                  </a:lnTo>
                  <a:lnTo>
                    <a:pt x="300" y="97"/>
                  </a:lnTo>
                  <a:lnTo>
                    <a:pt x="236" y="52"/>
                  </a:lnTo>
                  <a:lnTo>
                    <a:pt x="173" y="76"/>
                  </a:lnTo>
                  <a:lnTo>
                    <a:pt x="123"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36" name="Freeform 137"/>
            <p:cNvSpPr>
              <a:spLocks noChangeAspect="1"/>
            </p:cNvSpPr>
            <p:nvPr/>
          </p:nvSpPr>
          <p:spPr bwMode="gray">
            <a:xfrm>
              <a:off x="1977160" y="4226743"/>
              <a:ext cx="386603" cy="355255"/>
            </a:xfrm>
            <a:custGeom>
              <a:avLst/>
              <a:gdLst>
                <a:gd name="T0" fmla="*/ 134 w 450"/>
                <a:gd name="T1" fmla="*/ 0 h 380"/>
                <a:gd name="T2" fmla="*/ 82 w 450"/>
                <a:gd name="T3" fmla="*/ 36 h 380"/>
                <a:gd name="T4" fmla="*/ 111 w 450"/>
                <a:gd name="T5" fmla="*/ 65 h 380"/>
                <a:gd name="T6" fmla="*/ 33 w 450"/>
                <a:gd name="T7" fmla="*/ 147 h 380"/>
                <a:gd name="T8" fmla="*/ 29 w 450"/>
                <a:gd name="T9" fmla="*/ 238 h 380"/>
                <a:gd name="T10" fmla="*/ 0 w 450"/>
                <a:gd name="T11" fmla="*/ 264 h 380"/>
                <a:gd name="T12" fmla="*/ 3 w 450"/>
                <a:gd name="T13" fmla="*/ 302 h 380"/>
                <a:gd name="T14" fmla="*/ 80 w 450"/>
                <a:gd name="T15" fmla="*/ 316 h 380"/>
                <a:gd name="T16" fmla="*/ 65 w 450"/>
                <a:gd name="T17" fmla="*/ 380 h 380"/>
                <a:gd name="T18" fmla="*/ 149 w 450"/>
                <a:gd name="T19" fmla="*/ 378 h 380"/>
                <a:gd name="T20" fmla="*/ 204 w 450"/>
                <a:gd name="T21" fmla="*/ 326 h 380"/>
                <a:gd name="T22" fmla="*/ 299 w 450"/>
                <a:gd name="T23" fmla="*/ 354 h 380"/>
                <a:gd name="T24" fmla="*/ 295 w 450"/>
                <a:gd name="T25" fmla="*/ 316 h 380"/>
                <a:gd name="T26" fmla="*/ 363 w 450"/>
                <a:gd name="T27" fmla="*/ 293 h 380"/>
                <a:gd name="T28" fmla="*/ 357 w 450"/>
                <a:gd name="T29" fmla="*/ 196 h 380"/>
                <a:gd name="T30" fmla="*/ 409 w 450"/>
                <a:gd name="T31" fmla="*/ 186 h 380"/>
                <a:gd name="T32" fmla="*/ 394 w 450"/>
                <a:gd name="T33" fmla="*/ 120 h 380"/>
                <a:gd name="T34" fmla="*/ 450 w 450"/>
                <a:gd name="T35" fmla="*/ 82 h 380"/>
                <a:gd name="T36" fmla="*/ 342 w 450"/>
                <a:gd name="T37" fmla="*/ 77 h 380"/>
                <a:gd name="T38" fmla="*/ 330 w 450"/>
                <a:gd name="T39" fmla="*/ 36 h 380"/>
                <a:gd name="T40" fmla="*/ 167 w 450"/>
                <a:gd name="T41" fmla="*/ 44 h 380"/>
                <a:gd name="T42" fmla="*/ 134 w 450"/>
                <a:gd name="T43" fmla="*/ 0 h 380"/>
                <a:gd name="T44" fmla="*/ 134 w 450"/>
                <a:gd name="T45" fmla="*/ 0 h 3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50"/>
                <a:gd name="T70" fmla="*/ 0 h 380"/>
                <a:gd name="T71" fmla="*/ 450 w 450"/>
                <a:gd name="T72" fmla="*/ 380 h 3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50" h="380">
                  <a:moveTo>
                    <a:pt x="134" y="0"/>
                  </a:moveTo>
                  <a:lnTo>
                    <a:pt x="82" y="36"/>
                  </a:lnTo>
                  <a:lnTo>
                    <a:pt x="111" y="65"/>
                  </a:lnTo>
                  <a:lnTo>
                    <a:pt x="33" y="147"/>
                  </a:lnTo>
                  <a:lnTo>
                    <a:pt x="29" y="238"/>
                  </a:lnTo>
                  <a:lnTo>
                    <a:pt x="0" y="264"/>
                  </a:lnTo>
                  <a:lnTo>
                    <a:pt x="3" y="302"/>
                  </a:lnTo>
                  <a:lnTo>
                    <a:pt x="80" y="316"/>
                  </a:lnTo>
                  <a:lnTo>
                    <a:pt x="65" y="380"/>
                  </a:lnTo>
                  <a:lnTo>
                    <a:pt x="149" y="378"/>
                  </a:lnTo>
                  <a:lnTo>
                    <a:pt x="204" y="326"/>
                  </a:lnTo>
                  <a:lnTo>
                    <a:pt x="299" y="354"/>
                  </a:lnTo>
                  <a:lnTo>
                    <a:pt x="295" y="316"/>
                  </a:lnTo>
                  <a:lnTo>
                    <a:pt x="363" y="293"/>
                  </a:lnTo>
                  <a:lnTo>
                    <a:pt x="357" y="196"/>
                  </a:lnTo>
                  <a:lnTo>
                    <a:pt x="409" y="186"/>
                  </a:lnTo>
                  <a:lnTo>
                    <a:pt x="394" y="120"/>
                  </a:lnTo>
                  <a:lnTo>
                    <a:pt x="450" y="82"/>
                  </a:lnTo>
                  <a:lnTo>
                    <a:pt x="342" y="77"/>
                  </a:lnTo>
                  <a:lnTo>
                    <a:pt x="330" y="36"/>
                  </a:lnTo>
                  <a:lnTo>
                    <a:pt x="167" y="44"/>
                  </a:lnTo>
                  <a:lnTo>
                    <a:pt x="134"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37" name="Freeform 138"/>
            <p:cNvSpPr>
              <a:spLocks noChangeAspect="1"/>
            </p:cNvSpPr>
            <p:nvPr/>
          </p:nvSpPr>
          <p:spPr bwMode="gray">
            <a:xfrm>
              <a:off x="1547409" y="4322101"/>
              <a:ext cx="500513" cy="471180"/>
            </a:xfrm>
            <a:custGeom>
              <a:avLst/>
              <a:gdLst>
                <a:gd name="T0" fmla="*/ 106 w 579"/>
                <a:gd name="T1" fmla="*/ 20 h 502"/>
                <a:gd name="T2" fmla="*/ 88 w 579"/>
                <a:gd name="T3" fmla="*/ 64 h 502"/>
                <a:gd name="T4" fmla="*/ 18 w 579"/>
                <a:gd name="T5" fmla="*/ 470 h 502"/>
                <a:gd name="T6" fmla="*/ 0 w 579"/>
                <a:gd name="T7" fmla="*/ 481 h 502"/>
                <a:gd name="T8" fmla="*/ 35 w 579"/>
                <a:gd name="T9" fmla="*/ 502 h 502"/>
                <a:gd name="T10" fmla="*/ 110 w 579"/>
                <a:gd name="T11" fmla="*/ 473 h 502"/>
                <a:gd name="T12" fmla="*/ 143 w 579"/>
                <a:gd name="T13" fmla="*/ 502 h 502"/>
                <a:gd name="T14" fmla="*/ 258 w 579"/>
                <a:gd name="T15" fmla="*/ 472 h 502"/>
                <a:gd name="T16" fmla="*/ 316 w 579"/>
                <a:gd name="T17" fmla="*/ 487 h 502"/>
                <a:gd name="T18" fmla="*/ 348 w 579"/>
                <a:gd name="T19" fmla="*/ 453 h 502"/>
                <a:gd name="T20" fmla="*/ 403 w 579"/>
                <a:gd name="T21" fmla="*/ 476 h 502"/>
                <a:gd name="T22" fmla="*/ 473 w 579"/>
                <a:gd name="T23" fmla="*/ 470 h 502"/>
                <a:gd name="T24" fmla="*/ 424 w 579"/>
                <a:gd name="T25" fmla="*/ 438 h 502"/>
                <a:gd name="T26" fmla="*/ 456 w 579"/>
                <a:gd name="T27" fmla="*/ 318 h 502"/>
                <a:gd name="T28" fmla="*/ 520 w 579"/>
                <a:gd name="T29" fmla="*/ 272 h 502"/>
                <a:gd name="T30" fmla="*/ 539 w 579"/>
                <a:gd name="T31" fmla="*/ 272 h 502"/>
                <a:gd name="T32" fmla="*/ 532 w 579"/>
                <a:gd name="T33" fmla="*/ 339 h 502"/>
                <a:gd name="T34" fmla="*/ 562 w 579"/>
                <a:gd name="T35" fmla="*/ 321 h 502"/>
                <a:gd name="T36" fmla="*/ 562 w 579"/>
                <a:gd name="T37" fmla="*/ 276 h 502"/>
                <a:gd name="T38" fmla="*/ 579 w 579"/>
                <a:gd name="T39" fmla="*/ 212 h 502"/>
                <a:gd name="T40" fmla="*/ 500 w 579"/>
                <a:gd name="T41" fmla="*/ 198 h 502"/>
                <a:gd name="T42" fmla="*/ 497 w 579"/>
                <a:gd name="T43" fmla="*/ 160 h 502"/>
                <a:gd name="T44" fmla="*/ 526 w 579"/>
                <a:gd name="T45" fmla="*/ 134 h 502"/>
                <a:gd name="T46" fmla="*/ 465 w 579"/>
                <a:gd name="T47" fmla="*/ 134 h 502"/>
                <a:gd name="T48" fmla="*/ 452 w 579"/>
                <a:gd name="T49" fmla="*/ 175 h 502"/>
                <a:gd name="T50" fmla="*/ 416 w 579"/>
                <a:gd name="T51" fmla="*/ 166 h 502"/>
                <a:gd name="T52" fmla="*/ 397 w 579"/>
                <a:gd name="T53" fmla="*/ 122 h 502"/>
                <a:gd name="T54" fmla="*/ 325 w 579"/>
                <a:gd name="T55" fmla="*/ 43 h 502"/>
                <a:gd name="T56" fmla="*/ 182 w 579"/>
                <a:gd name="T57" fmla="*/ 49 h 502"/>
                <a:gd name="T58" fmla="*/ 192 w 579"/>
                <a:gd name="T59" fmla="*/ 14 h 502"/>
                <a:gd name="T60" fmla="*/ 164 w 579"/>
                <a:gd name="T61" fmla="*/ 0 h 502"/>
                <a:gd name="T62" fmla="*/ 134 w 579"/>
                <a:gd name="T63" fmla="*/ 43 h 502"/>
                <a:gd name="T64" fmla="*/ 106 w 579"/>
                <a:gd name="T65" fmla="*/ 20 h 502"/>
                <a:gd name="T66" fmla="*/ 106 w 579"/>
                <a:gd name="T67" fmla="*/ 20 h 50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79"/>
                <a:gd name="T103" fmla="*/ 0 h 502"/>
                <a:gd name="T104" fmla="*/ 579 w 579"/>
                <a:gd name="T105" fmla="*/ 502 h 50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79" h="502">
                  <a:moveTo>
                    <a:pt x="106" y="20"/>
                  </a:moveTo>
                  <a:lnTo>
                    <a:pt x="88" y="64"/>
                  </a:lnTo>
                  <a:lnTo>
                    <a:pt x="18" y="470"/>
                  </a:lnTo>
                  <a:lnTo>
                    <a:pt x="0" y="481"/>
                  </a:lnTo>
                  <a:lnTo>
                    <a:pt x="35" y="502"/>
                  </a:lnTo>
                  <a:lnTo>
                    <a:pt x="110" y="473"/>
                  </a:lnTo>
                  <a:lnTo>
                    <a:pt x="143" y="502"/>
                  </a:lnTo>
                  <a:lnTo>
                    <a:pt x="258" y="472"/>
                  </a:lnTo>
                  <a:lnTo>
                    <a:pt x="316" y="487"/>
                  </a:lnTo>
                  <a:lnTo>
                    <a:pt x="348" y="453"/>
                  </a:lnTo>
                  <a:lnTo>
                    <a:pt x="403" y="476"/>
                  </a:lnTo>
                  <a:lnTo>
                    <a:pt x="473" y="470"/>
                  </a:lnTo>
                  <a:lnTo>
                    <a:pt x="424" y="438"/>
                  </a:lnTo>
                  <a:lnTo>
                    <a:pt x="456" y="318"/>
                  </a:lnTo>
                  <a:lnTo>
                    <a:pt x="520" y="272"/>
                  </a:lnTo>
                  <a:lnTo>
                    <a:pt x="539" y="272"/>
                  </a:lnTo>
                  <a:lnTo>
                    <a:pt x="532" y="339"/>
                  </a:lnTo>
                  <a:lnTo>
                    <a:pt x="562" y="321"/>
                  </a:lnTo>
                  <a:lnTo>
                    <a:pt x="562" y="276"/>
                  </a:lnTo>
                  <a:lnTo>
                    <a:pt x="579" y="212"/>
                  </a:lnTo>
                  <a:lnTo>
                    <a:pt x="500" y="198"/>
                  </a:lnTo>
                  <a:lnTo>
                    <a:pt x="497" y="160"/>
                  </a:lnTo>
                  <a:lnTo>
                    <a:pt x="526" y="134"/>
                  </a:lnTo>
                  <a:lnTo>
                    <a:pt x="465" y="134"/>
                  </a:lnTo>
                  <a:lnTo>
                    <a:pt x="452" y="175"/>
                  </a:lnTo>
                  <a:lnTo>
                    <a:pt x="416" y="166"/>
                  </a:lnTo>
                  <a:lnTo>
                    <a:pt x="397" y="122"/>
                  </a:lnTo>
                  <a:lnTo>
                    <a:pt x="325" y="43"/>
                  </a:lnTo>
                  <a:lnTo>
                    <a:pt x="182" y="49"/>
                  </a:lnTo>
                  <a:lnTo>
                    <a:pt x="192" y="14"/>
                  </a:lnTo>
                  <a:lnTo>
                    <a:pt x="164" y="0"/>
                  </a:lnTo>
                  <a:lnTo>
                    <a:pt x="134" y="43"/>
                  </a:lnTo>
                  <a:lnTo>
                    <a:pt x="106" y="2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38" name="Freeform 139"/>
            <p:cNvSpPr>
              <a:spLocks noChangeAspect="1"/>
            </p:cNvSpPr>
            <p:nvPr/>
          </p:nvSpPr>
          <p:spPr bwMode="gray">
            <a:xfrm>
              <a:off x="1459388" y="4744667"/>
              <a:ext cx="557468" cy="351515"/>
            </a:xfrm>
            <a:custGeom>
              <a:avLst/>
              <a:gdLst>
                <a:gd name="T0" fmla="*/ 102 w 647"/>
                <a:gd name="T1" fmla="*/ 29 h 377"/>
                <a:gd name="T2" fmla="*/ 0 w 647"/>
                <a:gd name="T3" fmla="*/ 111 h 377"/>
                <a:gd name="T4" fmla="*/ 105 w 647"/>
                <a:gd name="T5" fmla="*/ 157 h 377"/>
                <a:gd name="T6" fmla="*/ 117 w 647"/>
                <a:gd name="T7" fmla="*/ 272 h 377"/>
                <a:gd name="T8" fmla="*/ 160 w 647"/>
                <a:gd name="T9" fmla="*/ 245 h 377"/>
                <a:gd name="T10" fmla="*/ 216 w 647"/>
                <a:gd name="T11" fmla="*/ 304 h 377"/>
                <a:gd name="T12" fmla="*/ 423 w 647"/>
                <a:gd name="T13" fmla="*/ 377 h 377"/>
                <a:gd name="T14" fmla="*/ 518 w 647"/>
                <a:gd name="T15" fmla="*/ 377 h 377"/>
                <a:gd name="T16" fmla="*/ 522 w 647"/>
                <a:gd name="T17" fmla="*/ 271 h 377"/>
                <a:gd name="T18" fmla="*/ 630 w 647"/>
                <a:gd name="T19" fmla="*/ 195 h 377"/>
                <a:gd name="T20" fmla="*/ 647 w 647"/>
                <a:gd name="T21" fmla="*/ 140 h 377"/>
                <a:gd name="T22" fmla="*/ 575 w 647"/>
                <a:gd name="T23" fmla="*/ 22 h 377"/>
                <a:gd name="T24" fmla="*/ 506 w 647"/>
                <a:gd name="T25" fmla="*/ 23 h 377"/>
                <a:gd name="T26" fmla="*/ 450 w 647"/>
                <a:gd name="T27" fmla="*/ 0 h 377"/>
                <a:gd name="T28" fmla="*/ 418 w 647"/>
                <a:gd name="T29" fmla="*/ 34 h 377"/>
                <a:gd name="T30" fmla="*/ 362 w 647"/>
                <a:gd name="T31" fmla="*/ 22 h 377"/>
                <a:gd name="T32" fmla="*/ 248 w 647"/>
                <a:gd name="T33" fmla="*/ 52 h 377"/>
                <a:gd name="T34" fmla="*/ 212 w 647"/>
                <a:gd name="T35" fmla="*/ 23 h 377"/>
                <a:gd name="T36" fmla="*/ 137 w 647"/>
                <a:gd name="T37" fmla="*/ 52 h 377"/>
                <a:gd name="T38" fmla="*/ 102 w 647"/>
                <a:gd name="T39" fmla="*/ 29 h 377"/>
                <a:gd name="T40" fmla="*/ 102 w 647"/>
                <a:gd name="T41" fmla="*/ 29 h 37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47"/>
                <a:gd name="T64" fmla="*/ 0 h 377"/>
                <a:gd name="T65" fmla="*/ 647 w 647"/>
                <a:gd name="T66" fmla="*/ 377 h 37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47" h="377">
                  <a:moveTo>
                    <a:pt x="102" y="29"/>
                  </a:moveTo>
                  <a:lnTo>
                    <a:pt x="0" y="111"/>
                  </a:lnTo>
                  <a:lnTo>
                    <a:pt x="105" y="157"/>
                  </a:lnTo>
                  <a:lnTo>
                    <a:pt x="117" y="272"/>
                  </a:lnTo>
                  <a:lnTo>
                    <a:pt x="160" y="245"/>
                  </a:lnTo>
                  <a:lnTo>
                    <a:pt x="216" y="304"/>
                  </a:lnTo>
                  <a:lnTo>
                    <a:pt x="423" y="377"/>
                  </a:lnTo>
                  <a:lnTo>
                    <a:pt x="518" y="377"/>
                  </a:lnTo>
                  <a:lnTo>
                    <a:pt x="522" y="271"/>
                  </a:lnTo>
                  <a:lnTo>
                    <a:pt x="630" y="195"/>
                  </a:lnTo>
                  <a:lnTo>
                    <a:pt x="647" y="140"/>
                  </a:lnTo>
                  <a:lnTo>
                    <a:pt x="575" y="22"/>
                  </a:lnTo>
                  <a:lnTo>
                    <a:pt x="506" y="23"/>
                  </a:lnTo>
                  <a:lnTo>
                    <a:pt x="450" y="0"/>
                  </a:lnTo>
                  <a:lnTo>
                    <a:pt x="418" y="34"/>
                  </a:lnTo>
                  <a:lnTo>
                    <a:pt x="362" y="22"/>
                  </a:lnTo>
                  <a:lnTo>
                    <a:pt x="248" y="52"/>
                  </a:lnTo>
                  <a:lnTo>
                    <a:pt x="212" y="23"/>
                  </a:lnTo>
                  <a:lnTo>
                    <a:pt x="137" y="52"/>
                  </a:lnTo>
                  <a:lnTo>
                    <a:pt x="102" y="29"/>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39" name="Freeform 140"/>
            <p:cNvSpPr>
              <a:spLocks noChangeAspect="1"/>
            </p:cNvSpPr>
            <p:nvPr/>
          </p:nvSpPr>
          <p:spPr bwMode="gray">
            <a:xfrm>
              <a:off x="1913301" y="4531514"/>
              <a:ext cx="464269" cy="351515"/>
            </a:xfrm>
            <a:custGeom>
              <a:avLst/>
              <a:gdLst>
                <a:gd name="T0" fmla="*/ 115 w 539"/>
                <a:gd name="T1" fmla="*/ 50 h 377"/>
                <a:gd name="T2" fmla="*/ 96 w 539"/>
                <a:gd name="T3" fmla="*/ 50 h 377"/>
                <a:gd name="T4" fmla="*/ 28 w 539"/>
                <a:gd name="T5" fmla="*/ 96 h 377"/>
                <a:gd name="T6" fmla="*/ 0 w 539"/>
                <a:gd name="T7" fmla="*/ 216 h 377"/>
                <a:gd name="T8" fmla="*/ 47 w 539"/>
                <a:gd name="T9" fmla="*/ 248 h 377"/>
                <a:gd name="T10" fmla="*/ 104 w 539"/>
                <a:gd name="T11" fmla="*/ 240 h 377"/>
                <a:gd name="T12" fmla="*/ 175 w 539"/>
                <a:gd name="T13" fmla="*/ 354 h 377"/>
                <a:gd name="T14" fmla="*/ 334 w 539"/>
                <a:gd name="T15" fmla="*/ 377 h 377"/>
                <a:gd name="T16" fmla="*/ 374 w 539"/>
                <a:gd name="T17" fmla="*/ 333 h 377"/>
                <a:gd name="T18" fmla="*/ 459 w 539"/>
                <a:gd name="T19" fmla="*/ 347 h 377"/>
                <a:gd name="T20" fmla="*/ 476 w 539"/>
                <a:gd name="T21" fmla="*/ 284 h 377"/>
                <a:gd name="T22" fmla="*/ 539 w 539"/>
                <a:gd name="T23" fmla="*/ 251 h 377"/>
                <a:gd name="T24" fmla="*/ 448 w 539"/>
                <a:gd name="T25" fmla="*/ 168 h 377"/>
                <a:gd name="T26" fmla="*/ 430 w 539"/>
                <a:gd name="T27" fmla="*/ 102 h 377"/>
                <a:gd name="T28" fmla="*/ 383 w 539"/>
                <a:gd name="T29" fmla="*/ 82 h 377"/>
                <a:gd name="T30" fmla="*/ 412 w 539"/>
                <a:gd name="T31" fmla="*/ 28 h 377"/>
                <a:gd name="T32" fmla="*/ 374 w 539"/>
                <a:gd name="T33" fmla="*/ 28 h 377"/>
                <a:gd name="T34" fmla="*/ 278 w 539"/>
                <a:gd name="T35" fmla="*/ 0 h 377"/>
                <a:gd name="T36" fmla="*/ 222 w 539"/>
                <a:gd name="T37" fmla="*/ 52 h 377"/>
                <a:gd name="T38" fmla="*/ 137 w 539"/>
                <a:gd name="T39" fmla="*/ 52 h 377"/>
                <a:gd name="T40" fmla="*/ 137 w 539"/>
                <a:gd name="T41" fmla="*/ 99 h 377"/>
                <a:gd name="T42" fmla="*/ 110 w 539"/>
                <a:gd name="T43" fmla="*/ 117 h 377"/>
                <a:gd name="T44" fmla="*/ 115 w 539"/>
                <a:gd name="T45" fmla="*/ 50 h 377"/>
                <a:gd name="T46" fmla="*/ 115 w 539"/>
                <a:gd name="T47" fmla="*/ 50 h 3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39"/>
                <a:gd name="T73" fmla="*/ 0 h 377"/>
                <a:gd name="T74" fmla="*/ 539 w 539"/>
                <a:gd name="T75" fmla="*/ 377 h 37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39" h="377">
                  <a:moveTo>
                    <a:pt x="115" y="50"/>
                  </a:moveTo>
                  <a:lnTo>
                    <a:pt x="96" y="50"/>
                  </a:lnTo>
                  <a:lnTo>
                    <a:pt x="28" y="96"/>
                  </a:lnTo>
                  <a:lnTo>
                    <a:pt x="0" y="216"/>
                  </a:lnTo>
                  <a:lnTo>
                    <a:pt x="47" y="248"/>
                  </a:lnTo>
                  <a:lnTo>
                    <a:pt x="104" y="240"/>
                  </a:lnTo>
                  <a:lnTo>
                    <a:pt x="175" y="354"/>
                  </a:lnTo>
                  <a:lnTo>
                    <a:pt x="334" y="377"/>
                  </a:lnTo>
                  <a:lnTo>
                    <a:pt x="374" y="333"/>
                  </a:lnTo>
                  <a:lnTo>
                    <a:pt x="459" y="347"/>
                  </a:lnTo>
                  <a:lnTo>
                    <a:pt x="476" y="284"/>
                  </a:lnTo>
                  <a:lnTo>
                    <a:pt x="539" y="251"/>
                  </a:lnTo>
                  <a:lnTo>
                    <a:pt x="448" y="168"/>
                  </a:lnTo>
                  <a:lnTo>
                    <a:pt x="430" y="102"/>
                  </a:lnTo>
                  <a:lnTo>
                    <a:pt x="383" y="82"/>
                  </a:lnTo>
                  <a:lnTo>
                    <a:pt x="412" y="28"/>
                  </a:lnTo>
                  <a:lnTo>
                    <a:pt x="374" y="28"/>
                  </a:lnTo>
                  <a:lnTo>
                    <a:pt x="278" y="0"/>
                  </a:lnTo>
                  <a:lnTo>
                    <a:pt x="222" y="52"/>
                  </a:lnTo>
                  <a:lnTo>
                    <a:pt x="137" y="52"/>
                  </a:lnTo>
                  <a:lnTo>
                    <a:pt x="137" y="99"/>
                  </a:lnTo>
                  <a:lnTo>
                    <a:pt x="110" y="117"/>
                  </a:lnTo>
                  <a:lnTo>
                    <a:pt x="115" y="5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40" name="Freeform 141"/>
            <p:cNvSpPr>
              <a:spLocks noChangeAspect="1"/>
            </p:cNvSpPr>
            <p:nvPr/>
          </p:nvSpPr>
          <p:spPr bwMode="gray">
            <a:xfrm>
              <a:off x="2230868" y="4398761"/>
              <a:ext cx="372796" cy="284204"/>
            </a:xfrm>
            <a:custGeom>
              <a:avLst/>
              <a:gdLst>
                <a:gd name="T0" fmla="*/ 117 w 432"/>
                <a:gd name="T1" fmla="*/ 0 h 303"/>
                <a:gd name="T2" fmla="*/ 62 w 432"/>
                <a:gd name="T3" fmla="*/ 4 h 303"/>
                <a:gd name="T4" fmla="*/ 68 w 432"/>
                <a:gd name="T5" fmla="*/ 105 h 303"/>
                <a:gd name="T6" fmla="*/ 0 w 432"/>
                <a:gd name="T7" fmla="*/ 131 h 303"/>
                <a:gd name="T8" fmla="*/ 4 w 432"/>
                <a:gd name="T9" fmla="*/ 168 h 303"/>
                <a:gd name="T10" fmla="*/ 44 w 432"/>
                <a:gd name="T11" fmla="*/ 169 h 303"/>
                <a:gd name="T12" fmla="*/ 14 w 432"/>
                <a:gd name="T13" fmla="*/ 222 h 303"/>
                <a:gd name="T14" fmla="*/ 65 w 432"/>
                <a:gd name="T15" fmla="*/ 244 h 303"/>
                <a:gd name="T16" fmla="*/ 74 w 432"/>
                <a:gd name="T17" fmla="*/ 292 h 303"/>
                <a:gd name="T18" fmla="*/ 155 w 432"/>
                <a:gd name="T19" fmla="*/ 282 h 303"/>
                <a:gd name="T20" fmla="*/ 170 w 432"/>
                <a:gd name="T21" fmla="*/ 303 h 303"/>
                <a:gd name="T22" fmla="*/ 223 w 432"/>
                <a:gd name="T23" fmla="*/ 283 h 303"/>
                <a:gd name="T24" fmla="*/ 226 w 432"/>
                <a:gd name="T25" fmla="*/ 260 h 303"/>
                <a:gd name="T26" fmla="*/ 285 w 432"/>
                <a:gd name="T27" fmla="*/ 236 h 303"/>
                <a:gd name="T28" fmla="*/ 285 w 432"/>
                <a:gd name="T29" fmla="*/ 213 h 303"/>
                <a:gd name="T30" fmla="*/ 361 w 432"/>
                <a:gd name="T31" fmla="*/ 178 h 303"/>
                <a:gd name="T32" fmla="*/ 331 w 432"/>
                <a:gd name="T33" fmla="*/ 130 h 303"/>
                <a:gd name="T34" fmla="*/ 429 w 432"/>
                <a:gd name="T35" fmla="*/ 116 h 303"/>
                <a:gd name="T36" fmla="*/ 432 w 432"/>
                <a:gd name="T37" fmla="*/ 48 h 303"/>
                <a:gd name="T38" fmla="*/ 411 w 432"/>
                <a:gd name="T39" fmla="*/ 25 h 303"/>
                <a:gd name="T40" fmla="*/ 280 w 432"/>
                <a:gd name="T41" fmla="*/ 52 h 303"/>
                <a:gd name="T42" fmla="*/ 219 w 432"/>
                <a:gd name="T43" fmla="*/ 87 h 303"/>
                <a:gd name="T44" fmla="*/ 117 w 432"/>
                <a:gd name="T45" fmla="*/ 0 h 303"/>
                <a:gd name="T46" fmla="*/ 117 w 432"/>
                <a:gd name="T47" fmla="*/ 0 h 30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32"/>
                <a:gd name="T73" fmla="*/ 0 h 303"/>
                <a:gd name="T74" fmla="*/ 432 w 432"/>
                <a:gd name="T75" fmla="*/ 303 h 30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32" h="303">
                  <a:moveTo>
                    <a:pt x="117" y="0"/>
                  </a:moveTo>
                  <a:lnTo>
                    <a:pt x="62" y="4"/>
                  </a:lnTo>
                  <a:lnTo>
                    <a:pt x="68" y="105"/>
                  </a:lnTo>
                  <a:lnTo>
                    <a:pt x="0" y="131"/>
                  </a:lnTo>
                  <a:lnTo>
                    <a:pt x="4" y="168"/>
                  </a:lnTo>
                  <a:lnTo>
                    <a:pt x="44" y="169"/>
                  </a:lnTo>
                  <a:lnTo>
                    <a:pt x="14" y="222"/>
                  </a:lnTo>
                  <a:lnTo>
                    <a:pt x="65" y="244"/>
                  </a:lnTo>
                  <a:lnTo>
                    <a:pt x="74" y="292"/>
                  </a:lnTo>
                  <a:lnTo>
                    <a:pt x="155" y="282"/>
                  </a:lnTo>
                  <a:lnTo>
                    <a:pt x="170" y="303"/>
                  </a:lnTo>
                  <a:lnTo>
                    <a:pt x="223" y="283"/>
                  </a:lnTo>
                  <a:lnTo>
                    <a:pt x="226" y="260"/>
                  </a:lnTo>
                  <a:lnTo>
                    <a:pt x="285" y="236"/>
                  </a:lnTo>
                  <a:lnTo>
                    <a:pt x="285" y="213"/>
                  </a:lnTo>
                  <a:lnTo>
                    <a:pt x="361" y="178"/>
                  </a:lnTo>
                  <a:lnTo>
                    <a:pt x="331" y="130"/>
                  </a:lnTo>
                  <a:lnTo>
                    <a:pt x="429" y="116"/>
                  </a:lnTo>
                  <a:lnTo>
                    <a:pt x="432" y="48"/>
                  </a:lnTo>
                  <a:lnTo>
                    <a:pt x="411" y="25"/>
                  </a:lnTo>
                  <a:lnTo>
                    <a:pt x="280" y="52"/>
                  </a:lnTo>
                  <a:lnTo>
                    <a:pt x="219" y="87"/>
                  </a:lnTo>
                  <a:lnTo>
                    <a:pt x="117"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41" name="Freeform 142"/>
            <p:cNvSpPr>
              <a:spLocks noChangeAspect="1"/>
            </p:cNvSpPr>
            <p:nvPr/>
          </p:nvSpPr>
          <p:spPr bwMode="gray">
            <a:xfrm>
              <a:off x="2475947" y="4477291"/>
              <a:ext cx="440106" cy="377692"/>
            </a:xfrm>
            <a:custGeom>
              <a:avLst/>
              <a:gdLst>
                <a:gd name="T0" fmla="*/ 146 w 509"/>
                <a:gd name="T1" fmla="*/ 32 h 403"/>
                <a:gd name="T2" fmla="*/ 46 w 509"/>
                <a:gd name="T3" fmla="*/ 46 h 403"/>
                <a:gd name="T4" fmla="*/ 76 w 509"/>
                <a:gd name="T5" fmla="*/ 94 h 403"/>
                <a:gd name="T6" fmla="*/ 0 w 509"/>
                <a:gd name="T7" fmla="*/ 129 h 403"/>
                <a:gd name="T8" fmla="*/ 0 w 509"/>
                <a:gd name="T9" fmla="*/ 155 h 403"/>
                <a:gd name="T10" fmla="*/ 67 w 509"/>
                <a:gd name="T11" fmla="*/ 231 h 403"/>
                <a:gd name="T12" fmla="*/ 34 w 509"/>
                <a:gd name="T13" fmla="*/ 283 h 403"/>
                <a:gd name="T14" fmla="*/ 130 w 509"/>
                <a:gd name="T15" fmla="*/ 350 h 403"/>
                <a:gd name="T16" fmla="*/ 173 w 509"/>
                <a:gd name="T17" fmla="*/ 340 h 403"/>
                <a:gd name="T18" fmla="*/ 178 w 509"/>
                <a:gd name="T19" fmla="*/ 388 h 403"/>
                <a:gd name="T20" fmla="*/ 240 w 509"/>
                <a:gd name="T21" fmla="*/ 403 h 403"/>
                <a:gd name="T22" fmla="*/ 276 w 509"/>
                <a:gd name="T23" fmla="*/ 366 h 403"/>
                <a:gd name="T24" fmla="*/ 325 w 509"/>
                <a:gd name="T25" fmla="*/ 394 h 403"/>
                <a:gd name="T26" fmla="*/ 390 w 509"/>
                <a:gd name="T27" fmla="*/ 383 h 403"/>
                <a:gd name="T28" fmla="*/ 425 w 509"/>
                <a:gd name="T29" fmla="*/ 319 h 403"/>
                <a:gd name="T30" fmla="*/ 389 w 509"/>
                <a:gd name="T31" fmla="*/ 304 h 403"/>
                <a:gd name="T32" fmla="*/ 413 w 509"/>
                <a:gd name="T33" fmla="*/ 274 h 403"/>
                <a:gd name="T34" fmla="*/ 460 w 509"/>
                <a:gd name="T35" fmla="*/ 287 h 403"/>
                <a:gd name="T36" fmla="*/ 509 w 509"/>
                <a:gd name="T37" fmla="*/ 249 h 403"/>
                <a:gd name="T38" fmla="*/ 488 w 509"/>
                <a:gd name="T39" fmla="*/ 220 h 403"/>
                <a:gd name="T40" fmla="*/ 421 w 509"/>
                <a:gd name="T41" fmla="*/ 214 h 403"/>
                <a:gd name="T42" fmla="*/ 366 w 509"/>
                <a:gd name="T43" fmla="*/ 175 h 403"/>
                <a:gd name="T44" fmla="*/ 311 w 509"/>
                <a:gd name="T45" fmla="*/ 56 h 403"/>
                <a:gd name="T46" fmla="*/ 212 w 509"/>
                <a:gd name="T47" fmla="*/ 0 h 403"/>
                <a:gd name="T48" fmla="*/ 146 w 509"/>
                <a:gd name="T49" fmla="*/ 32 h 403"/>
                <a:gd name="T50" fmla="*/ 146 w 509"/>
                <a:gd name="T51" fmla="*/ 32 h 40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09"/>
                <a:gd name="T79" fmla="*/ 0 h 403"/>
                <a:gd name="T80" fmla="*/ 509 w 509"/>
                <a:gd name="T81" fmla="*/ 403 h 40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09" h="403">
                  <a:moveTo>
                    <a:pt x="146" y="32"/>
                  </a:moveTo>
                  <a:lnTo>
                    <a:pt x="46" y="46"/>
                  </a:lnTo>
                  <a:lnTo>
                    <a:pt x="76" y="94"/>
                  </a:lnTo>
                  <a:lnTo>
                    <a:pt x="0" y="129"/>
                  </a:lnTo>
                  <a:lnTo>
                    <a:pt x="0" y="155"/>
                  </a:lnTo>
                  <a:lnTo>
                    <a:pt x="67" y="231"/>
                  </a:lnTo>
                  <a:lnTo>
                    <a:pt x="34" y="283"/>
                  </a:lnTo>
                  <a:lnTo>
                    <a:pt x="130" y="350"/>
                  </a:lnTo>
                  <a:lnTo>
                    <a:pt x="173" y="340"/>
                  </a:lnTo>
                  <a:lnTo>
                    <a:pt x="178" y="388"/>
                  </a:lnTo>
                  <a:lnTo>
                    <a:pt x="240" y="403"/>
                  </a:lnTo>
                  <a:lnTo>
                    <a:pt x="276" y="366"/>
                  </a:lnTo>
                  <a:lnTo>
                    <a:pt x="325" y="394"/>
                  </a:lnTo>
                  <a:lnTo>
                    <a:pt x="390" y="383"/>
                  </a:lnTo>
                  <a:lnTo>
                    <a:pt x="425" y="319"/>
                  </a:lnTo>
                  <a:lnTo>
                    <a:pt x="389" y="304"/>
                  </a:lnTo>
                  <a:lnTo>
                    <a:pt x="413" y="274"/>
                  </a:lnTo>
                  <a:lnTo>
                    <a:pt x="460" y="287"/>
                  </a:lnTo>
                  <a:lnTo>
                    <a:pt x="509" y="249"/>
                  </a:lnTo>
                  <a:lnTo>
                    <a:pt x="488" y="220"/>
                  </a:lnTo>
                  <a:lnTo>
                    <a:pt x="421" y="214"/>
                  </a:lnTo>
                  <a:lnTo>
                    <a:pt x="366" y="175"/>
                  </a:lnTo>
                  <a:lnTo>
                    <a:pt x="311" y="56"/>
                  </a:lnTo>
                  <a:lnTo>
                    <a:pt x="212" y="0"/>
                  </a:lnTo>
                  <a:lnTo>
                    <a:pt x="146" y="32"/>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42" name="Freeform 143"/>
            <p:cNvSpPr>
              <a:spLocks noChangeAspect="1"/>
            </p:cNvSpPr>
            <p:nvPr/>
          </p:nvSpPr>
          <p:spPr bwMode="gray">
            <a:xfrm>
              <a:off x="2574323" y="4150083"/>
              <a:ext cx="488431" cy="564668"/>
            </a:xfrm>
            <a:custGeom>
              <a:avLst/>
              <a:gdLst>
                <a:gd name="T0" fmla="*/ 320 w 565"/>
                <a:gd name="T1" fmla="*/ 0 h 604"/>
                <a:gd name="T2" fmla="*/ 220 w 565"/>
                <a:gd name="T3" fmla="*/ 139 h 604"/>
                <a:gd name="T4" fmla="*/ 156 w 565"/>
                <a:gd name="T5" fmla="*/ 127 h 604"/>
                <a:gd name="T6" fmla="*/ 0 w 565"/>
                <a:gd name="T7" fmla="*/ 229 h 604"/>
                <a:gd name="T8" fmla="*/ 27 w 565"/>
                <a:gd name="T9" fmla="*/ 268 h 604"/>
                <a:gd name="T10" fmla="*/ 12 w 565"/>
                <a:gd name="T11" fmla="*/ 294 h 604"/>
                <a:gd name="T12" fmla="*/ 33 w 565"/>
                <a:gd name="T13" fmla="*/ 317 h 604"/>
                <a:gd name="T14" fmla="*/ 27 w 565"/>
                <a:gd name="T15" fmla="*/ 384 h 604"/>
                <a:gd name="T16" fmla="*/ 100 w 565"/>
                <a:gd name="T17" fmla="*/ 350 h 604"/>
                <a:gd name="T18" fmla="*/ 205 w 565"/>
                <a:gd name="T19" fmla="*/ 413 h 604"/>
                <a:gd name="T20" fmla="*/ 252 w 565"/>
                <a:gd name="T21" fmla="*/ 533 h 604"/>
                <a:gd name="T22" fmla="*/ 305 w 565"/>
                <a:gd name="T23" fmla="*/ 571 h 604"/>
                <a:gd name="T24" fmla="*/ 375 w 565"/>
                <a:gd name="T25" fmla="*/ 574 h 604"/>
                <a:gd name="T26" fmla="*/ 395 w 565"/>
                <a:gd name="T27" fmla="*/ 604 h 604"/>
                <a:gd name="T28" fmla="*/ 442 w 565"/>
                <a:gd name="T29" fmla="*/ 595 h 604"/>
                <a:gd name="T30" fmla="*/ 442 w 565"/>
                <a:gd name="T31" fmla="*/ 533 h 604"/>
                <a:gd name="T32" fmla="*/ 503 w 565"/>
                <a:gd name="T33" fmla="*/ 533 h 604"/>
                <a:gd name="T34" fmla="*/ 503 w 565"/>
                <a:gd name="T35" fmla="*/ 500 h 604"/>
                <a:gd name="T36" fmla="*/ 564 w 565"/>
                <a:gd name="T37" fmla="*/ 489 h 604"/>
                <a:gd name="T38" fmla="*/ 565 w 565"/>
                <a:gd name="T39" fmla="*/ 439 h 604"/>
                <a:gd name="T40" fmla="*/ 504 w 565"/>
                <a:gd name="T41" fmla="*/ 420 h 604"/>
                <a:gd name="T42" fmla="*/ 535 w 565"/>
                <a:gd name="T43" fmla="*/ 350 h 604"/>
                <a:gd name="T44" fmla="*/ 492 w 565"/>
                <a:gd name="T45" fmla="*/ 363 h 604"/>
                <a:gd name="T46" fmla="*/ 448 w 565"/>
                <a:gd name="T47" fmla="*/ 322 h 604"/>
                <a:gd name="T48" fmla="*/ 454 w 565"/>
                <a:gd name="T49" fmla="*/ 206 h 604"/>
                <a:gd name="T50" fmla="*/ 410 w 565"/>
                <a:gd name="T51" fmla="*/ 136 h 604"/>
                <a:gd name="T52" fmla="*/ 352 w 565"/>
                <a:gd name="T53" fmla="*/ 21 h 604"/>
                <a:gd name="T54" fmla="*/ 320 w 565"/>
                <a:gd name="T55" fmla="*/ 0 h 604"/>
                <a:gd name="T56" fmla="*/ 320 w 565"/>
                <a:gd name="T57" fmla="*/ 0 h 60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65"/>
                <a:gd name="T88" fmla="*/ 0 h 604"/>
                <a:gd name="T89" fmla="*/ 565 w 565"/>
                <a:gd name="T90" fmla="*/ 604 h 60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65" h="604">
                  <a:moveTo>
                    <a:pt x="320" y="0"/>
                  </a:moveTo>
                  <a:lnTo>
                    <a:pt x="220" y="139"/>
                  </a:lnTo>
                  <a:lnTo>
                    <a:pt x="156" y="127"/>
                  </a:lnTo>
                  <a:lnTo>
                    <a:pt x="0" y="229"/>
                  </a:lnTo>
                  <a:lnTo>
                    <a:pt x="27" y="268"/>
                  </a:lnTo>
                  <a:lnTo>
                    <a:pt x="12" y="294"/>
                  </a:lnTo>
                  <a:lnTo>
                    <a:pt x="33" y="317"/>
                  </a:lnTo>
                  <a:lnTo>
                    <a:pt x="27" y="384"/>
                  </a:lnTo>
                  <a:lnTo>
                    <a:pt x="100" y="350"/>
                  </a:lnTo>
                  <a:lnTo>
                    <a:pt x="205" y="413"/>
                  </a:lnTo>
                  <a:lnTo>
                    <a:pt x="252" y="533"/>
                  </a:lnTo>
                  <a:lnTo>
                    <a:pt x="305" y="571"/>
                  </a:lnTo>
                  <a:lnTo>
                    <a:pt x="375" y="574"/>
                  </a:lnTo>
                  <a:lnTo>
                    <a:pt x="395" y="604"/>
                  </a:lnTo>
                  <a:lnTo>
                    <a:pt x="442" y="595"/>
                  </a:lnTo>
                  <a:lnTo>
                    <a:pt x="442" y="533"/>
                  </a:lnTo>
                  <a:lnTo>
                    <a:pt x="503" y="533"/>
                  </a:lnTo>
                  <a:lnTo>
                    <a:pt x="503" y="500"/>
                  </a:lnTo>
                  <a:lnTo>
                    <a:pt x="564" y="489"/>
                  </a:lnTo>
                  <a:lnTo>
                    <a:pt x="565" y="439"/>
                  </a:lnTo>
                  <a:lnTo>
                    <a:pt x="504" y="420"/>
                  </a:lnTo>
                  <a:lnTo>
                    <a:pt x="535" y="350"/>
                  </a:lnTo>
                  <a:lnTo>
                    <a:pt x="492" y="363"/>
                  </a:lnTo>
                  <a:lnTo>
                    <a:pt x="448" y="322"/>
                  </a:lnTo>
                  <a:lnTo>
                    <a:pt x="454" y="206"/>
                  </a:lnTo>
                  <a:lnTo>
                    <a:pt x="410" y="136"/>
                  </a:lnTo>
                  <a:lnTo>
                    <a:pt x="352" y="21"/>
                  </a:lnTo>
                  <a:lnTo>
                    <a:pt x="320"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43" name="Freeform 144"/>
            <p:cNvSpPr>
              <a:spLocks noChangeAspect="1"/>
            </p:cNvSpPr>
            <p:nvPr/>
          </p:nvSpPr>
          <p:spPr bwMode="gray">
            <a:xfrm>
              <a:off x="3010978" y="4355757"/>
              <a:ext cx="479802" cy="445003"/>
            </a:xfrm>
            <a:custGeom>
              <a:avLst/>
              <a:gdLst>
                <a:gd name="T0" fmla="*/ 259 w 558"/>
                <a:gd name="T1" fmla="*/ 0 h 475"/>
                <a:gd name="T2" fmla="*/ 236 w 558"/>
                <a:gd name="T3" fmla="*/ 20 h 475"/>
                <a:gd name="T4" fmla="*/ 265 w 558"/>
                <a:gd name="T5" fmla="*/ 133 h 475"/>
                <a:gd name="T6" fmla="*/ 234 w 558"/>
                <a:gd name="T7" fmla="*/ 157 h 475"/>
                <a:gd name="T8" fmla="*/ 143 w 558"/>
                <a:gd name="T9" fmla="*/ 142 h 475"/>
                <a:gd name="T10" fmla="*/ 120 w 558"/>
                <a:gd name="T11" fmla="*/ 169 h 475"/>
                <a:gd name="T12" fmla="*/ 31 w 558"/>
                <a:gd name="T13" fmla="*/ 129 h 475"/>
                <a:gd name="T14" fmla="*/ 0 w 558"/>
                <a:gd name="T15" fmla="*/ 205 h 475"/>
                <a:gd name="T16" fmla="*/ 61 w 558"/>
                <a:gd name="T17" fmla="*/ 220 h 475"/>
                <a:gd name="T18" fmla="*/ 61 w 558"/>
                <a:gd name="T19" fmla="*/ 268 h 475"/>
                <a:gd name="T20" fmla="*/ 92 w 558"/>
                <a:gd name="T21" fmla="*/ 298 h 475"/>
                <a:gd name="T22" fmla="*/ 183 w 558"/>
                <a:gd name="T23" fmla="*/ 239 h 475"/>
                <a:gd name="T24" fmla="*/ 206 w 558"/>
                <a:gd name="T25" fmla="*/ 286 h 475"/>
                <a:gd name="T26" fmla="*/ 248 w 558"/>
                <a:gd name="T27" fmla="*/ 286 h 475"/>
                <a:gd name="T28" fmla="*/ 336 w 558"/>
                <a:gd name="T29" fmla="*/ 395 h 475"/>
                <a:gd name="T30" fmla="*/ 303 w 558"/>
                <a:gd name="T31" fmla="*/ 421 h 475"/>
                <a:gd name="T32" fmla="*/ 324 w 558"/>
                <a:gd name="T33" fmla="*/ 475 h 475"/>
                <a:gd name="T34" fmla="*/ 356 w 558"/>
                <a:gd name="T35" fmla="*/ 475 h 475"/>
                <a:gd name="T36" fmla="*/ 435 w 558"/>
                <a:gd name="T37" fmla="*/ 426 h 475"/>
                <a:gd name="T38" fmla="*/ 430 w 558"/>
                <a:gd name="T39" fmla="*/ 368 h 475"/>
                <a:gd name="T40" fmla="*/ 485 w 558"/>
                <a:gd name="T41" fmla="*/ 368 h 475"/>
                <a:gd name="T42" fmla="*/ 485 w 558"/>
                <a:gd name="T43" fmla="*/ 277 h 475"/>
                <a:gd name="T44" fmla="*/ 558 w 558"/>
                <a:gd name="T45" fmla="*/ 218 h 475"/>
                <a:gd name="T46" fmla="*/ 485 w 558"/>
                <a:gd name="T47" fmla="*/ 81 h 475"/>
                <a:gd name="T48" fmla="*/ 438 w 558"/>
                <a:gd name="T49" fmla="*/ 52 h 475"/>
                <a:gd name="T50" fmla="*/ 414 w 558"/>
                <a:gd name="T51" fmla="*/ 85 h 475"/>
                <a:gd name="T52" fmla="*/ 383 w 558"/>
                <a:gd name="T53" fmla="*/ 57 h 475"/>
                <a:gd name="T54" fmla="*/ 364 w 558"/>
                <a:gd name="T55" fmla="*/ 63 h 475"/>
                <a:gd name="T56" fmla="*/ 307 w 558"/>
                <a:gd name="T57" fmla="*/ 51 h 475"/>
                <a:gd name="T58" fmla="*/ 283 w 558"/>
                <a:gd name="T59" fmla="*/ 61 h 475"/>
                <a:gd name="T60" fmla="*/ 259 w 558"/>
                <a:gd name="T61" fmla="*/ 0 h 475"/>
                <a:gd name="T62" fmla="*/ 259 w 558"/>
                <a:gd name="T63" fmla="*/ 0 h 47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58"/>
                <a:gd name="T97" fmla="*/ 0 h 475"/>
                <a:gd name="T98" fmla="*/ 558 w 558"/>
                <a:gd name="T99" fmla="*/ 475 h 47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58" h="475">
                  <a:moveTo>
                    <a:pt x="259" y="0"/>
                  </a:moveTo>
                  <a:lnTo>
                    <a:pt x="236" y="20"/>
                  </a:lnTo>
                  <a:lnTo>
                    <a:pt x="265" y="133"/>
                  </a:lnTo>
                  <a:lnTo>
                    <a:pt x="234" y="157"/>
                  </a:lnTo>
                  <a:lnTo>
                    <a:pt x="143" y="142"/>
                  </a:lnTo>
                  <a:lnTo>
                    <a:pt x="120" y="169"/>
                  </a:lnTo>
                  <a:lnTo>
                    <a:pt x="31" y="129"/>
                  </a:lnTo>
                  <a:lnTo>
                    <a:pt x="0" y="205"/>
                  </a:lnTo>
                  <a:lnTo>
                    <a:pt x="61" y="220"/>
                  </a:lnTo>
                  <a:lnTo>
                    <a:pt x="61" y="268"/>
                  </a:lnTo>
                  <a:lnTo>
                    <a:pt x="92" y="298"/>
                  </a:lnTo>
                  <a:lnTo>
                    <a:pt x="183" y="239"/>
                  </a:lnTo>
                  <a:lnTo>
                    <a:pt x="206" y="286"/>
                  </a:lnTo>
                  <a:lnTo>
                    <a:pt x="248" y="286"/>
                  </a:lnTo>
                  <a:lnTo>
                    <a:pt x="336" y="395"/>
                  </a:lnTo>
                  <a:lnTo>
                    <a:pt x="303" y="421"/>
                  </a:lnTo>
                  <a:lnTo>
                    <a:pt x="324" y="475"/>
                  </a:lnTo>
                  <a:lnTo>
                    <a:pt x="356" y="475"/>
                  </a:lnTo>
                  <a:lnTo>
                    <a:pt x="435" y="426"/>
                  </a:lnTo>
                  <a:lnTo>
                    <a:pt x="430" y="368"/>
                  </a:lnTo>
                  <a:lnTo>
                    <a:pt x="485" y="368"/>
                  </a:lnTo>
                  <a:lnTo>
                    <a:pt x="485" y="277"/>
                  </a:lnTo>
                  <a:lnTo>
                    <a:pt x="558" y="218"/>
                  </a:lnTo>
                  <a:lnTo>
                    <a:pt x="485" y="81"/>
                  </a:lnTo>
                  <a:lnTo>
                    <a:pt x="438" y="52"/>
                  </a:lnTo>
                  <a:lnTo>
                    <a:pt x="414" y="85"/>
                  </a:lnTo>
                  <a:lnTo>
                    <a:pt x="383" y="57"/>
                  </a:lnTo>
                  <a:lnTo>
                    <a:pt x="364" y="63"/>
                  </a:lnTo>
                  <a:lnTo>
                    <a:pt x="307" y="51"/>
                  </a:lnTo>
                  <a:lnTo>
                    <a:pt x="283" y="61"/>
                  </a:lnTo>
                  <a:lnTo>
                    <a:pt x="259"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44" name="Freeform 145"/>
            <p:cNvSpPr>
              <a:spLocks noChangeAspect="1"/>
            </p:cNvSpPr>
            <p:nvPr/>
          </p:nvSpPr>
          <p:spPr bwMode="gray">
            <a:xfrm>
              <a:off x="2812498" y="4580128"/>
              <a:ext cx="486705" cy="347776"/>
            </a:xfrm>
            <a:custGeom>
              <a:avLst/>
              <a:gdLst>
                <a:gd name="T0" fmla="*/ 565 w 565"/>
                <a:gd name="T1" fmla="*/ 156 h 372"/>
                <a:gd name="T2" fmla="*/ 479 w 565"/>
                <a:gd name="T3" fmla="*/ 47 h 372"/>
                <a:gd name="T4" fmla="*/ 433 w 565"/>
                <a:gd name="T5" fmla="*/ 47 h 372"/>
                <a:gd name="T6" fmla="*/ 416 w 565"/>
                <a:gd name="T7" fmla="*/ 0 h 372"/>
                <a:gd name="T8" fmla="*/ 321 w 565"/>
                <a:gd name="T9" fmla="*/ 59 h 372"/>
                <a:gd name="T10" fmla="*/ 290 w 565"/>
                <a:gd name="T11" fmla="*/ 29 h 372"/>
                <a:gd name="T12" fmla="*/ 228 w 565"/>
                <a:gd name="T13" fmla="*/ 40 h 372"/>
                <a:gd name="T14" fmla="*/ 226 w 565"/>
                <a:gd name="T15" fmla="*/ 73 h 372"/>
                <a:gd name="T16" fmla="*/ 167 w 565"/>
                <a:gd name="T17" fmla="*/ 73 h 372"/>
                <a:gd name="T18" fmla="*/ 167 w 565"/>
                <a:gd name="T19" fmla="*/ 135 h 372"/>
                <a:gd name="T20" fmla="*/ 115 w 565"/>
                <a:gd name="T21" fmla="*/ 144 h 372"/>
                <a:gd name="T22" fmla="*/ 68 w 565"/>
                <a:gd name="T23" fmla="*/ 176 h 372"/>
                <a:gd name="T24" fmla="*/ 24 w 565"/>
                <a:gd name="T25" fmla="*/ 164 h 372"/>
                <a:gd name="T26" fmla="*/ 0 w 565"/>
                <a:gd name="T27" fmla="*/ 196 h 372"/>
                <a:gd name="T28" fmla="*/ 33 w 565"/>
                <a:gd name="T29" fmla="*/ 214 h 372"/>
                <a:gd name="T30" fmla="*/ 1 w 565"/>
                <a:gd name="T31" fmla="*/ 278 h 372"/>
                <a:gd name="T32" fmla="*/ 32 w 565"/>
                <a:gd name="T33" fmla="*/ 302 h 372"/>
                <a:gd name="T34" fmla="*/ 32 w 565"/>
                <a:gd name="T35" fmla="*/ 348 h 372"/>
                <a:gd name="T36" fmla="*/ 103 w 565"/>
                <a:gd name="T37" fmla="*/ 295 h 372"/>
                <a:gd name="T38" fmla="*/ 135 w 565"/>
                <a:gd name="T39" fmla="*/ 336 h 372"/>
                <a:gd name="T40" fmla="*/ 252 w 565"/>
                <a:gd name="T41" fmla="*/ 372 h 372"/>
                <a:gd name="T42" fmla="*/ 293 w 565"/>
                <a:gd name="T43" fmla="*/ 331 h 372"/>
                <a:gd name="T44" fmla="*/ 349 w 565"/>
                <a:gd name="T45" fmla="*/ 348 h 372"/>
                <a:gd name="T46" fmla="*/ 565 w 565"/>
                <a:gd name="T47" fmla="*/ 156 h 372"/>
                <a:gd name="T48" fmla="*/ 565 w 565"/>
                <a:gd name="T49" fmla="*/ 156 h 37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65"/>
                <a:gd name="T76" fmla="*/ 0 h 372"/>
                <a:gd name="T77" fmla="*/ 565 w 565"/>
                <a:gd name="T78" fmla="*/ 372 h 37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65" h="372">
                  <a:moveTo>
                    <a:pt x="565" y="156"/>
                  </a:moveTo>
                  <a:lnTo>
                    <a:pt x="479" y="47"/>
                  </a:lnTo>
                  <a:lnTo>
                    <a:pt x="433" y="47"/>
                  </a:lnTo>
                  <a:lnTo>
                    <a:pt x="416" y="0"/>
                  </a:lnTo>
                  <a:lnTo>
                    <a:pt x="321" y="59"/>
                  </a:lnTo>
                  <a:lnTo>
                    <a:pt x="290" y="29"/>
                  </a:lnTo>
                  <a:lnTo>
                    <a:pt x="228" y="40"/>
                  </a:lnTo>
                  <a:lnTo>
                    <a:pt x="226" y="73"/>
                  </a:lnTo>
                  <a:lnTo>
                    <a:pt x="167" y="73"/>
                  </a:lnTo>
                  <a:lnTo>
                    <a:pt x="167" y="135"/>
                  </a:lnTo>
                  <a:lnTo>
                    <a:pt x="115" y="144"/>
                  </a:lnTo>
                  <a:lnTo>
                    <a:pt x="68" y="176"/>
                  </a:lnTo>
                  <a:lnTo>
                    <a:pt x="24" y="164"/>
                  </a:lnTo>
                  <a:lnTo>
                    <a:pt x="0" y="196"/>
                  </a:lnTo>
                  <a:lnTo>
                    <a:pt x="33" y="214"/>
                  </a:lnTo>
                  <a:lnTo>
                    <a:pt x="1" y="278"/>
                  </a:lnTo>
                  <a:lnTo>
                    <a:pt x="32" y="302"/>
                  </a:lnTo>
                  <a:lnTo>
                    <a:pt x="32" y="348"/>
                  </a:lnTo>
                  <a:lnTo>
                    <a:pt x="103" y="295"/>
                  </a:lnTo>
                  <a:lnTo>
                    <a:pt x="135" y="336"/>
                  </a:lnTo>
                  <a:lnTo>
                    <a:pt x="252" y="372"/>
                  </a:lnTo>
                  <a:lnTo>
                    <a:pt x="293" y="331"/>
                  </a:lnTo>
                  <a:lnTo>
                    <a:pt x="349" y="348"/>
                  </a:lnTo>
                  <a:lnTo>
                    <a:pt x="565" y="156"/>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45" name="Freeform 146"/>
            <p:cNvSpPr>
              <a:spLocks noChangeAspect="1"/>
            </p:cNvSpPr>
            <p:nvPr/>
          </p:nvSpPr>
          <p:spPr bwMode="gray">
            <a:xfrm>
              <a:off x="1904672" y="4754016"/>
              <a:ext cx="303759" cy="407608"/>
            </a:xfrm>
            <a:custGeom>
              <a:avLst/>
              <a:gdLst>
                <a:gd name="T0" fmla="*/ 116 w 352"/>
                <a:gd name="T1" fmla="*/ 0 h 435"/>
                <a:gd name="T2" fmla="*/ 59 w 352"/>
                <a:gd name="T3" fmla="*/ 8 h 435"/>
                <a:gd name="T4" fmla="*/ 127 w 352"/>
                <a:gd name="T5" fmla="*/ 125 h 435"/>
                <a:gd name="T6" fmla="*/ 116 w 352"/>
                <a:gd name="T7" fmla="*/ 177 h 435"/>
                <a:gd name="T8" fmla="*/ 6 w 352"/>
                <a:gd name="T9" fmla="*/ 259 h 435"/>
                <a:gd name="T10" fmla="*/ 0 w 352"/>
                <a:gd name="T11" fmla="*/ 365 h 435"/>
                <a:gd name="T12" fmla="*/ 49 w 352"/>
                <a:gd name="T13" fmla="*/ 365 h 435"/>
                <a:gd name="T14" fmla="*/ 95 w 352"/>
                <a:gd name="T15" fmla="*/ 435 h 435"/>
                <a:gd name="T16" fmla="*/ 162 w 352"/>
                <a:gd name="T17" fmla="*/ 412 h 435"/>
                <a:gd name="T18" fmla="*/ 288 w 352"/>
                <a:gd name="T19" fmla="*/ 432 h 435"/>
                <a:gd name="T20" fmla="*/ 262 w 352"/>
                <a:gd name="T21" fmla="*/ 385 h 435"/>
                <a:gd name="T22" fmla="*/ 352 w 352"/>
                <a:gd name="T23" fmla="*/ 306 h 435"/>
                <a:gd name="T24" fmla="*/ 302 w 352"/>
                <a:gd name="T25" fmla="*/ 286 h 435"/>
                <a:gd name="T26" fmla="*/ 294 w 352"/>
                <a:gd name="T27" fmla="*/ 225 h 435"/>
                <a:gd name="T28" fmla="*/ 346 w 352"/>
                <a:gd name="T29" fmla="*/ 137 h 435"/>
                <a:gd name="T30" fmla="*/ 185 w 352"/>
                <a:gd name="T31" fmla="*/ 113 h 435"/>
                <a:gd name="T32" fmla="*/ 116 w 352"/>
                <a:gd name="T33" fmla="*/ 0 h 435"/>
                <a:gd name="T34" fmla="*/ 116 w 352"/>
                <a:gd name="T35" fmla="*/ 0 h 4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2"/>
                <a:gd name="T55" fmla="*/ 0 h 435"/>
                <a:gd name="T56" fmla="*/ 352 w 352"/>
                <a:gd name="T57" fmla="*/ 435 h 43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2" h="435">
                  <a:moveTo>
                    <a:pt x="116" y="0"/>
                  </a:moveTo>
                  <a:lnTo>
                    <a:pt x="59" y="8"/>
                  </a:lnTo>
                  <a:lnTo>
                    <a:pt x="127" y="125"/>
                  </a:lnTo>
                  <a:lnTo>
                    <a:pt x="116" y="177"/>
                  </a:lnTo>
                  <a:lnTo>
                    <a:pt x="6" y="259"/>
                  </a:lnTo>
                  <a:lnTo>
                    <a:pt x="0" y="365"/>
                  </a:lnTo>
                  <a:lnTo>
                    <a:pt x="49" y="365"/>
                  </a:lnTo>
                  <a:lnTo>
                    <a:pt x="95" y="435"/>
                  </a:lnTo>
                  <a:lnTo>
                    <a:pt x="162" y="412"/>
                  </a:lnTo>
                  <a:lnTo>
                    <a:pt x="288" y="432"/>
                  </a:lnTo>
                  <a:lnTo>
                    <a:pt x="262" y="385"/>
                  </a:lnTo>
                  <a:lnTo>
                    <a:pt x="352" y="306"/>
                  </a:lnTo>
                  <a:lnTo>
                    <a:pt x="302" y="286"/>
                  </a:lnTo>
                  <a:lnTo>
                    <a:pt x="294" y="225"/>
                  </a:lnTo>
                  <a:lnTo>
                    <a:pt x="346" y="137"/>
                  </a:lnTo>
                  <a:lnTo>
                    <a:pt x="185" y="113"/>
                  </a:lnTo>
                  <a:lnTo>
                    <a:pt x="116"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46" name="Freeform 147"/>
            <p:cNvSpPr>
              <a:spLocks noChangeAspect="1"/>
            </p:cNvSpPr>
            <p:nvPr/>
          </p:nvSpPr>
          <p:spPr bwMode="gray">
            <a:xfrm>
              <a:off x="2127314" y="4619393"/>
              <a:ext cx="503965" cy="553450"/>
            </a:xfrm>
            <a:custGeom>
              <a:avLst/>
              <a:gdLst>
                <a:gd name="T0" fmla="*/ 405 w 583"/>
                <a:gd name="T1" fmla="*/ 0 h 591"/>
                <a:gd name="T2" fmla="*/ 346 w 583"/>
                <a:gd name="T3" fmla="*/ 21 h 591"/>
                <a:gd name="T4" fmla="*/ 343 w 583"/>
                <a:gd name="T5" fmla="*/ 46 h 591"/>
                <a:gd name="T6" fmla="*/ 291 w 583"/>
                <a:gd name="T7" fmla="*/ 64 h 591"/>
                <a:gd name="T8" fmla="*/ 275 w 583"/>
                <a:gd name="T9" fmla="*/ 46 h 591"/>
                <a:gd name="T10" fmla="*/ 196 w 583"/>
                <a:gd name="T11" fmla="*/ 59 h 591"/>
                <a:gd name="T12" fmla="*/ 200 w 583"/>
                <a:gd name="T13" fmla="*/ 72 h 591"/>
                <a:gd name="T14" fmla="*/ 291 w 583"/>
                <a:gd name="T15" fmla="*/ 155 h 591"/>
                <a:gd name="T16" fmla="*/ 231 w 583"/>
                <a:gd name="T17" fmla="*/ 188 h 591"/>
                <a:gd name="T18" fmla="*/ 211 w 583"/>
                <a:gd name="T19" fmla="*/ 249 h 591"/>
                <a:gd name="T20" fmla="*/ 124 w 583"/>
                <a:gd name="T21" fmla="*/ 237 h 591"/>
                <a:gd name="T22" fmla="*/ 84 w 583"/>
                <a:gd name="T23" fmla="*/ 281 h 591"/>
                <a:gd name="T24" fmla="*/ 36 w 583"/>
                <a:gd name="T25" fmla="*/ 369 h 591"/>
                <a:gd name="T26" fmla="*/ 44 w 583"/>
                <a:gd name="T27" fmla="*/ 430 h 591"/>
                <a:gd name="T28" fmla="*/ 86 w 583"/>
                <a:gd name="T29" fmla="*/ 454 h 591"/>
                <a:gd name="T30" fmla="*/ 0 w 583"/>
                <a:gd name="T31" fmla="*/ 530 h 591"/>
                <a:gd name="T32" fmla="*/ 30 w 583"/>
                <a:gd name="T33" fmla="*/ 579 h 591"/>
                <a:gd name="T34" fmla="*/ 99 w 583"/>
                <a:gd name="T35" fmla="*/ 591 h 591"/>
                <a:gd name="T36" fmla="*/ 141 w 583"/>
                <a:gd name="T37" fmla="*/ 511 h 591"/>
                <a:gd name="T38" fmla="*/ 156 w 583"/>
                <a:gd name="T39" fmla="*/ 485 h 591"/>
                <a:gd name="T40" fmla="*/ 215 w 583"/>
                <a:gd name="T41" fmla="*/ 435 h 591"/>
                <a:gd name="T42" fmla="*/ 215 w 583"/>
                <a:gd name="T43" fmla="*/ 389 h 591"/>
                <a:gd name="T44" fmla="*/ 261 w 583"/>
                <a:gd name="T45" fmla="*/ 365 h 591"/>
                <a:gd name="T46" fmla="*/ 293 w 583"/>
                <a:gd name="T47" fmla="*/ 398 h 591"/>
                <a:gd name="T48" fmla="*/ 325 w 583"/>
                <a:gd name="T49" fmla="*/ 386 h 591"/>
                <a:gd name="T50" fmla="*/ 293 w 583"/>
                <a:gd name="T51" fmla="*/ 363 h 591"/>
                <a:gd name="T52" fmla="*/ 346 w 583"/>
                <a:gd name="T53" fmla="*/ 344 h 591"/>
                <a:gd name="T54" fmla="*/ 371 w 583"/>
                <a:gd name="T55" fmla="*/ 301 h 591"/>
                <a:gd name="T56" fmla="*/ 378 w 583"/>
                <a:gd name="T57" fmla="*/ 327 h 591"/>
                <a:gd name="T58" fmla="*/ 409 w 583"/>
                <a:gd name="T59" fmla="*/ 304 h 591"/>
                <a:gd name="T60" fmla="*/ 459 w 583"/>
                <a:gd name="T61" fmla="*/ 319 h 591"/>
                <a:gd name="T62" fmla="*/ 518 w 583"/>
                <a:gd name="T63" fmla="*/ 245 h 591"/>
                <a:gd name="T64" fmla="*/ 583 w 583"/>
                <a:gd name="T65" fmla="*/ 237 h 591"/>
                <a:gd name="T66" fmla="*/ 579 w 583"/>
                <a:gd name="T67" fmla="*/ 182 h 591"/>
                <a:gd name="T68" fmla="*/ 534 w 583"/>
                <a:gd name="T69" fmla="*/ 196 h 591"/>
                <a:gd name="T70" fmla="*/ 439 w 583"/>
                <a:gd name="T71" fmla="*/ 131 h 591"/>
                <a:gd name="T72" fmla="*/ 472 w 583"/>
                <a:gd name="T73" fmla="*/ 78 h 591"/>
                <a:gd name="T74" fmla="*/ 405 w 583"/>
                <a:gd name="T75" fmla="*/ 0 h 591"/>
                <a:gd name="T76" fmla="*/ 405 w 583"/>
                <a:gd name="T77" fmla="*/ 0 h 59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83"/>
                <a:gd name="T118" fmla="*/ 0 h 591"/>
                <a:gd name="T119" fmla="*/ 583 w 583"/>
                <a:gd name="T120" fmla="*/ 591 h 59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83" h="591">
                  <a:moveTo>
                    <a:pt x="405" y="0"/>
                  </a:moveTo>
                  <a:lnTo>
                    <a:pt x="346" y="21"/>
                  </a:lnTo>
                  <a:lnTo>
                    <a:pt x="343" y="46"/>
                  </a:lnTo>
                  <a:lnTo>
                    <a:pt x="291" y="64"/>
                  </a:lnTo>
                  <a:lnTo>
                    <a:pt x="275" y="46"/>
                  </a:lnTo>
                  <a:lnTo>
                    <a:pt x="196" y="59"/>
                  </a:lnTo>
                  <a:lnTo>
                    <a:pt x="200" y="72"/>
                  </a:lnTo>
                  <a:lnTo>
                    <a:pt x="291" y="155"/>
                  </a:lnTo>
                  <a:lnTo>
                    <a:pt x="231" y="188"/>
                  </a:lnTo>
                  <a:lnTo>
                    <a:pt x="211" y="249"/>
                  </a:lnTo>
                  <a:lnTo>
                    <a:pt x="124" y="237"/>
                  </a:lnTo>
                  <a:lnTo>
                    <a:pt x="84" y="281"/>
                  </a:lnTo>
                  <a:lnTo>
                    <a:pt x="36" y="369"/>
                  </a:lnTo>
                  <a:lnTo>
                    <a:pt x="44" y="430"/>
                  </a:lnTo>
                  <a:lnTo>
                    <a:pt x="86" y="454"/>
                  </a:lnTo>
                  <a:lnTo>
                    <a:pt x="0" y="530"/>
                  </a:lnTo>
                  <a:lnTo>
                    <a:pt x="30" y="579"/>
                  </a:lnTo>
                  <a:lnTo>
                    <a:pt x="99" y="591"/>
                  </a:lnTo>
                  <a:lnTo>
                    <a:pt x="141" y="511"/>
                  </a:lnTo>
                  <a:lnTo>
                    <a:pt x="156" y="485"/>
                  </a:lnTo>
                  <a:lnTo>
                    <a:pt x="215" y="435"/>
                  </a:lnTo>
                  <a:lnTo>
                    <a:pt x="215" y="389"/>
                  </a:lnTo>
                  <a:lnTo>
                    <a:pt x="261" y="365"/>
                  </a:lnTo>
                  <a:lnTo>
                    <a:pt x="293" y="398"/>
                  </a:lnTo>
                  <a:lnTo>
                    <a:pt x="325" y="386"/>
                  </a:lnTo>
                  <a:lnTo>
                    <a:pt x="293" y="363"/>
                  </a:lnTo>
                  <a:lnTo>
                    <a:pt x="346" y="344"/>
                  </a:lnTo>
                  <a:lnTo>
                    <a:pt x="371" y="301"/>
                  </a:lnTo>
                  <a:lnTo>
                    <a:pt x="378" y="327"/>
                  </a:lnTo>
                  <a:lnTo>
                    <a:pt x="409" y="304"/>
                  </a:lnTo>
                  <a:lnTo>
                    <a:pt x="459" y="319"/>
                  </a:lnTo>
                  <a:lnTo>
                    <a:pt x="518" y="245"/>
                  </a:lnTo>
                  <a:lnTo>
                    <a:pt x="583" y="237"/>
                  </a:lnTo>
                  <a:lnTo>
                    <a:pt x="579" y="182"/>
                  </a:lnTo>
                  <a:lnTo>
                    <a:pt x="534" y="196"/>
                  </a:lnTo>
                  <a:lnTo>
                    <a:pt x="439" y="131"/>
                  </a:lnTo>
                  <a:lnTo>
                    <a:pt x="472" y="78"/>
                  </a:lnTo>
                  <a:lnTo>
                    <a:pt x="405"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47" name="Freeform 148"/>
            <p:cNvSpPr>
              <a:spLocks noChangeAspect="1"/>
            </p:cNvSpPr>
            <p:nvPr/>
          </p:nvSpPr>
          <p:spPr bwMode="gray">
            <a:xfrm>
              <a:off x="2248127" y="4901727"/>
              <a:ext cx="438380" cy="325339"/>
            </a:xfrm>
            <a:custGeom>
              <a:avLst/>
              <a:gdLst>
                <a:gd name="T0" fmla="*/ 331 w 507"/>
                <a:gd name="T1" fmla="*/ 3 h 347"/>
                <a:gd name="T2" fmla="*/ 318 w 507"/>
                <a:gd name="T3" fmla="*/ 18 h 347"/>
                <a:gd name="T4" fmla="*/ 268 w 507"/>
                <a:gd name="T5" fmla="*/ 0 h 347"/>
                <a:gd name="T6" fmla="*/ 237 w 507"/>
                <a:gd name="T7" fmla="*/ 26 h 347"/>
                <a:gd name="T8" fmla="*/ 230 w 507"/>
                <a:gd name="T9" fmla="*/ 0 h 347"/>
                <a:gd name="T10" fmla="*/ 205 w 507"/>
                <a:gd name="T11" fmla="*/ 41 h 347"/>
                <a:gd name="T12" fmla="*/ 149 w 507"/>
                <a:gd name="T13" fmla="*/ 64 h 347"/>
                <a:gd name="T14" fmla="*/ 184 w 507"/>
                <a:gd name="T15" fmla="*/ 85 h 347"/>
                <a:gd name="T16" fmla="*/ 152 w 507"/>
                <a:gd name="T17" fmla="*/ 97 h 347"/>
                <a:gd name="T18" fmla="*/ 120 w 507"/>
                <a:gd name="T19" fmla="*/ 64 h 347"/>
                <a:gd name="T20" fmla="*/ 74 w 507"/>
                <a:gd name="T21" fmla="*/ 88 h 347"/>
                <a:gd name="T22" fmla="*/ 74 w 507"/>
                <a:gd name="T23" fmla="*/ 134 h 347"/>
                <a:gd name="T24" fmla="*/ 9 w 507"/>
                <a:gd name="T25" fmla="*/ 184 h 347"/>
                <a:gd name="T26" fmla="*/ 0 w 507"/>
                <a:gd name="T27" fmla="*/ 210 h 347"/>
                <a:gd name="T28" fmla="*/ 172 w 507"/>
                <a:gd name="T29" fmla="*/ 271 h 347"/>
                <a:gd name="T30" fmla="*/ 240 w 507"/>
                <a:gd name="T31" fmla="*/ 278 h 347"/>
                <a:gd name="T32" fmla="*/ 304 w 507"/>
                <a:gd name="T33" fmla="*/ 347 h 347"/>
                <a:gd name="T34" fmla="*/ 354 w 507"/>
                <a:gd name="T35" fmla="*/ 342 h 347"/>
                <a:gd name="T36" fmla="*/ 507 w 507"/>
                <a:gd name="T37" fmla="*/ 284 h 347"/>
                <a:gd name="T38" fmla="*/ 410 w 507"/>
                <a:gd name="T39" fmla="*/ 267 h 347"/>
                <a:gd name="T40" fmla="*/ 382 w 507"/>
                <a:gd name="T41" fmla="*/ 220 h 347"/>
                <a:gd name="T42" fmla="*/ 432 w 507"/>
                <a:gd name="T43" fmla="*/ 184 h 347"/>
                <a:gd name="T44" fmla="*/ 404 w 507"/>
                <a:gd name="T45" fmla="*/ 157 h 347"/>
                <a:gd name="T46" fmla="*/ 449 w 507"/>
                <a:gd name="T47" fmla="*/ 97 h 347"/>
                <a:gd name="T48" fmla="*/ 354 w 507"/>
                <a:gd name="T49" fmla="*/ 53 h 347"/>
                <a:gd name="T50" fmla="*/ 340 w 507"/>
                <a:gd name="T51" fmla="*/ 20 h 347"/>
                <a:gd name="T52" fmla="*/ 331 w 507"/>
                <a:gd name="T53" fmla="*/ 3 h 347"/>
                <a:gd name="T54" fmla="*/ 331 w 507"/>
                <a:gd name="T55" fmla="*/ 3 h 34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07"/>
                <a:gd name="T85" fmla="*/ 0 h 347"/>
                <a:gd name="T86" fmla="*/ 507 w 507"/>
                <a:gd name="T87" fmla="*/ 347 h 34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07" h="347">
                  <a:moveTo>
                    <a:pt x="331" y="3"/>
                  </a:moveTo>
                  <a:lnTo>
                    <a:pt x="318" y="18"/>
                  </a:lnTo>
                  <a:lnTo>
                    <a:pt x="268" y="0"/>
                  </a:lnTo>
                  <a:lnTo>
                    <a:pt x="237" y="26"/>
                  </a:lnTo>
                  <a:lnTo>
                    <a:pt x="230" y="0"/>
                  </a:lnTo>
                  <a:lnTo>
                    <a:pt x="205" y="41"/>
                  </a:lnTo>
                  <a:lnTo>
                    <a:pt x="149" y="64"/>
                  </a:lnTo>
                  <a:lnTo>
                    <a:pt x="184" y="85"/>
                  </a:lnTo>
                  <a:lnTo>
                    <a:pt x="152" y="97"/>
                  </a:lnTo>
                  <a:lnTo>
                    <a:pt x="120" y="64"/>
                  </a:lnTo>
                  <a:lnTo>
                    <a:pt x="74" y="88"/>
                  </a:lnTo>
                  <a:lnTo>
                    <a:pt x="74" y="134"/>
                  </a:lnTo>
                  <a:lnTo>
                    <a:pt x="9" y="184"/>
                  </a:lnTo>
                  <a:lnTo>
                    <a:pt x="0" y="210"/>
                  </a:lnTo>
                  <a:lnTo>
                    <a:pt x="172" y="271"/>
                  </a:lnTo>
                  <a:lnTo>
                    <a:pt x="240" y="278"/>
                  </a:lnTo>
                  <a:lnTo>
                    <a:pt x="304" y="347"/>
                  </a:lnTo>
                  <a:lnTo>
                    <a:pt x="354" y="342"/>
                  </a:lnTo>
                  <a:lnTo>
                    <a:pt x="507" y="284"/>
                  </a:lnTo>
                  <a:lnTo>
                    <a:pt x="410" y="267"/>
                  </a:lnTo>
                  <a:lnTo>
                    <a:pt x="382" y="220"/>
                  </a:lnTo>
                  <a:lnTo>
                    <a:pt x="432" y="184"/>
                  </a:lnTo>
                  <a:lnTo>
                    <a:pt x="404" y="157"/>
                  </a:lnTo>
                  <a:lnTo>
                    <a:pt x="449" y="97"/>
                  </a:lnTo>
                  <a:lnTo>
                    <a:pt x="354" y="53"/>
                  </a:lnTo>
                  <a:lnTo>
                    <a:pt x="340" y="20"/>
                  </a:lnTo>
                  <a:lnTo>
                    <a:pt x="331" y="3"/>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48" name="Freeform 149"/>
            <p:cNvSpPr>
              <a:spLocks noChangeAspect="1"/>
            </p:cNvSpPr>
            <p:nvPr/>
          </p:nvSpPr>
          <p:spPr bwMode="gray">
            <a:xfrm>
              <a:off x="2534628" y="4819458"/>
              <a:ext cx="495335" cy="353385"/>
            </a:xfrm>
            <a:custGeom>
              <a:avLst/>
              <a:gdLst>
                <a:gd name="T0" fmla="*/ 573 w 573"/>
                <a:gd name="T1" fmla="*/ 115 h 378"/>
                <a:gd name="T2" fmla="*/ 457 w 573"/>
                <a:gd name="T3" fmla="*/ 79 h 378"/>
                <a:gd name="T4" fmla="*/ 425 w 573"/>
                <a:gd name="T5" fmla="*/ 36 h 378"/>
                <a:gd name="T6" fmla="*/ 354 w 573"/>
                <a:gd name="T7" fmla="*/ 91 h 378"/>
                <a:gd name="T8" fmla="*/ 354 w 573"/>
                <a:gd name="T9" fmla="*/ 44 h 378"/>
                <a:gd name="T10" fmla="*/ 326 w 573"/>
                <a:gd name="T11" fmla="*/ 17 h 378"/>
                <a:gd name="T12" fmla="*/ 258 w 573"/>
                <a:gd name="T13" fmla="*/ 24 h 378"/>
                <a:gd name="T14" fmla="*/ 209 w 573"/>
                <a:gd name="T15" fmla="*/ 0 h 378"/>
                <a:gd name="T16" fmla="*/ 176 w 573"/>
                <a:gd name="T17" fmla="*/ 36 h 378"/>
                <a:gd name="T18" fmla="*/ 115 w 573"/>
                <a:gd name="T19" fmla="*/ 21 h 378"/>
                <a:gd name="T20" fmla="*/ 42 w 573"/>
                <a:gd name="T21" fmla="*/ 32 h 378"/>
                <a:gd name="T22" fmla="*/ 0 w 573"/>
                <a:gd name="T23" fmla="*/ 91 h 378"/>
                <a:gd name="T24" fmla="*/ 23 w 573"/>
                <a:gd name="T25" fmla="*/ 144 h 378"/>
                <a:gd name="T26" fmla="*/ 117 w 573"/>
                <a:gd name="T27" fmla="*/ 190 h 378"/>
                <a:gd name="T28" fmla="*/ 69 w 573"/>
                <a:gd name="T29" fmla="*/ 243 h 378"/>
                <a:gd name="T30" fmla="*/ 103 w 573"/>
                <a:gd name="T31" fmla="*/ 272 h 378"/>
                <a:gd name="T32" fmla="*/ 51 w 573"/>
                <a:gd name="T33" fmla="*/ 308 h 378"/>
                <a:gd name="T34" fmla="*/ 80 w 573"/>
                <a:gd name="T35" fmla="*/ 355 h 378"/>
                <a:gd name="T36" fmla="*/ 179 w 573"/>
                <a:gd name="T37" fmla="*/ 378 h 378"/>
                <a:gd name="T38" fmla="*/ 244 w 573"/>
                <a:gd name="T39" fmla="*/ 349 h 378"/>
                <a:gd name="T40" fmla="*/ 223 w 573"/>
                <a:gd name="T41" fmla="*/ 308 h 378"/>
                <a:gd name="T42" fmla="*/ 255 w 573"/>
                <a:gd name="T43" fmla="*/ 296 h 378"/>
                <a:gd name="T44" fmla="*/ 372 w 573"/>
                <a:gd name="T45" fmla="*/ 298 h 378"/>
                <a:gd name="T46" fmla="*/ 413 w 573"/>
                <a:gd name="T47" fmla="*/ 257 h 378"/>
                <a:gd name="T48" fmla="*/ 470 w 573"/>
                <a:gd name="T49" fmla="*/ 281 h 378"/>
                <a:gd name="T50" fmla="*/ 466 w 573"/>
                <a:gd name="T51" fmla="*/ 156 h 378"/>
                <a:gd name="T52" fmla="*/ 501 w 573"/>
                <a:gd name="T53" fmla="*/ 138 h 378"/>
                <a:gd name="T54" fmla="*/ 529 w 573"/>
                <a:gd name="T55" fmla="*/ 169 h 378"/>
                <a:gd name="T56" fmla="*/ 573 w 573"/>
                <a:gd name="T57" fmla="*/ 115 h 378"/>
                <a:gd name="T58" fmla="*/ 573 w 573"/>
                <a:gd name="T59" fmla="*/ 115 h 37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73"/>
                <a:gd name="T91" fmla="*/ 0 h 378"/>
                <a:gd name="T92" fmla="*/ 573 w 573"/>
                <a:gd name="T93" fmla="*/ 378 h 37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73" h="378">
                  <a:moveTo>
                    <a:pt x="573" y="115"/>
                  </a:moveTo>
                  <a:lnTo>
                    <a:pt x="457" y="79"/>
                  </a:lnTo>
                  <a:lnTo>
                    <a:pt x="425" y="36"/>
                  </a:lnTo>
                  <a:lnTo>
                    <a:pt x="354" y="91"/>
                  </a:lnTo>
                  <a:lnTo>
                    <a:pt x="354" y="44"/>
                  </a:lnTo>
                  <a:lnTo>
                    <a:pt x="326" y="17"/>
                  </a:lnTo>
                  <a:lnTo>
                    <a:pt x="258" y="24"/>
                  </a:lnTo>
                  <a:lnTo>
                    <a:pt x="209" y="0"/>
                  </a:lnTo>
                  <a:lnTo>
                    <a:pt x="176" y="36"/>
                  </a:lnTo>
                  <a:lnTo>
                    <a:pt x="115" y="21"/>
                  </a:lnTo>
                  <a:lnTo>
                    <a:pt x="42" y="32"/>
                  </a:lnTo>
                  <a:lnTo>
                    <a:pt x="0" y="91"/>
                  </a:lnTo>
                  <a:lnTo>
                    <a:pt x="23" y="144"/>
                  </a:lnTo>
                  <a:lnTo>
                    <a:pt x="117" y="190"/>
                  </a:lnTo>
                  <a:lnTo>
                    <a:pt x="69" y="243"/>
                  </a:lnTo>
                  <a:lnTo>
                    <a:pt x="103" y="272"/>
                  </a:lnTo>
                  <a:lnTo>
                    <a:pt x="51" y="308"/>
                  </a:lnTo>
                  <a:lnTo>
                    <a:pt x="80" y="355"/>
                  </a:lnTo>
                  <a:lnTo>
                    <a:pt x="179" y="378"/>
                  </a:lnTo>
                  <a:lnTo>
                    <a:pt x="244" y="349"/>
                  </a:lnTo>
                  <a:lnTo>
                    <a:pt x="223" y="308"/>
                  </a:lnTo>
                  <a:lnTo>
                    <a:pt x="255" y="296"/>
                  </a:lnTo>
                  <a:lnTo>
                    <a:pt x="372" y="298"/>
                  </a:lnTo>
                  <a:lnTo>
                    <a:pt x="413" y="257"/>
                  </a:lnTo>
                  <a:lnTo>
                    <a:pt x="470" y="281"/>
                  </a:lnTo>
                  <a:lnTo>
                    <a:pt x="466" y="156"/>
                  </a:lnTo>
                  <a:lnTo>
                    <a:pt x="501" y="138"/>
                  </a:lnTo>
                  <a:lnTo>
                    <a:pt x="529" y="169"/>
                  </a:lnTo>
                  <a:lnTo>
                    <a:pt x="573" y="115"/>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49" name="Freeform 150"/>
            <p:cNvSpPr>
              <a:spLocks noChangeAspect="1"/>
            </p:cNvSpPr>
            <p:nvPr/>
          </p:nvSpPr>
          <p:spPr bwMode="gray">
            <a:xfrm>
              <a:off x="2551887" y="5058787"/>
              <a:ext cx="445284" cy="269246"/>
            </a:xfrm>
            <a:custGeom>
              <a:avLst/>
              <a:gdLst>
                <a:gd name="T0" fmla="*/ 451 w 517"/>
                <a:gd name="T1" fmla="*/ 24 h 288"/>
                <a:gd name="T2" fmla="*/ 394 w 517"/>
                <a:gd name="T3" fmla="*/ 0 h 288"/>
                <a:gd name="T4" fmla="*/ 353 w 517"/>
                <a:gd name="T5" fmla="*/ 41 h 288"/>
                <a:gd name="T6" fmla="*/ 234 w 517"/>
                <a:gd name="T7" fmla="*/ 39 h 288"/>
                <a:gd name="T8" fmla="*/ 204 w 517"/>
                <a:gd name="T9" fmla="*/ 51 h 288"/>
                <a:gd name="T10" fmla="*/ 222 w 517"/>
                <a:gd name="T11" fmla="*/ 91 h 288"/>
                <a:gd name="T12" fmla="*/ 160 w 517"/>
                <a:gd name="T13" fmla="*/ 121 h 288"/>
                <a:gd name="T14" fmla="*/ 145 w 517"/>
                <a:gd name="T15" fmla="*/ 119 h 288"/>
                <a:gd name="T16" fmla="*/ 0 w 517"/>
                <a:gd name="T17" fmla="*/ 176 h 288"/>
                <a:gd name="T18" fmla="*/ 32 w 517"/>
                <a:gd name="T19" fmla="*/ 228 h 288"/>
                <a:gd name="T20" fmla="*/ 157 w 517"/>
                <a:gd name="T21" fmla="*/ 234 h 288"/>
                <a:gd name="T22" fmla="*/ 245 w 517"/>
                <a:gd name="T23" fmla="*/ 288 h 288"/>
                <a:gd name="T24" fmla="*/ 356 w 517"/>
                <a:gd name="T25" fmla="*/ 241 h 288"/>
                <a:gd name="T26" fmla="*/ 517 w 517"/>
                <a:gd name="T27" fmla="*/ 229 h 288"/>
                <a:gd name="T28" fmla="*/ 505 w 517"/>
                <a:gd name="T29" fmla="*/ 176 h 288"/>
                <a:gd name="T30" fmla="*/ 456 w 517"/>
                <a:gd name="T31" fmla="*/ 115 h 288"/>
                <a:gd name="T32" fmla="*/ 451 w 517"/>
                <a:gd name="T33" fmla="*/ 24 h 288"/>
                <a:gd name="T34" fmla="*/ 451 w 517"/>
                <a:gd name="T35" fmla="*/ 24 h 28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17"/>
                <a:gd name="T55" fmla="*/ 0 h 288"/>
                <a:gd name="T56" fmla="*/ 517 w 517"/>
                <a:gd name="T57" fmla="*/ 288 h 28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17" h="288">
                  <a:moveTo>
                    <a:pt x="451" y="24"/>
                  </a:moveTo>
                  <a:lnTo>
                    <a:pt x="394" y="0"/>
                  </a:lnTo>
                  <a:lnTo>
                    <a:pt x="353" y="41"/>
                  </a:lnTo>
                  <a:lnTo>
                    <a:pt x="234" y="39"/>
                  </a:lnTo>
                  <a:lnTo>
                    <a:pt x="204" y="51"/>
                  </a:lnTo>
                  <a:lnTo>
                    <a:pt x="222" y="91"/>
                  </a:lnTo>
                  <a:lnTo>
                    <a:pt x="160" y="121"/>
                  </a:lnTo>
                  <a:lnTo>
                    <a:pt x="145" y="119"/>
                  </a:lnTo>
                  <a:lnTo>
                    <a:pt x="0" y="176"/>
                  </a:lnTo>
                  <a:lnTo>
                    <a:pt x="32" y="228"/>
                  </a:lnTo>
                  <a:lnTo>
                    <a:pt x="157" y="234"/>
                  </a:lnTo>
                  <a:lnTo>
                    <a:pt x="245" y="288"/>
                  </a:lnTo>
                  <a:lnTo>
                    <a:pt x="356" y="241"/>
                  </a:lnTo>
                  <a:lnTo>
                    <a:pt x="517" y="229"/>
                  </a:lnTo>
                  <a:lnTo>
                    <a:pt x="505" y="176"/>
                  </a:lnTo>
                  <a:lnTo>
                    <a:pt x="456" y="115"/>
                  </a:lnTo>
                  <a:lnTo>
                    <a:pt x="451" y="24"/>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50" name="Freeform 151"/>
            <p:cNvSpPr>
              <a:spLocks noChangeAspect="1"/>
            </p:cNvSpPr>
            <p:nvPr/>
          </p:nvSpPr>
          <p:spPr bwMode="gray">
            <a:xfrm>
              <a:off x="3690985" y="3662075"/>
              <a:ext cx="483254" cy="379562"/>
            </a:xfrm>
            <a:custGeom>
              <a:avLst/>
              <a:gdLst>
                <a:gd name="T0" fmla="*/ 310 w 560"/>
                <a:gd name="T1" fmla="*/ 0 h 404"/>
                <a:gd name="T2" fmla="*/ 250 w 560"/>
                <a:gd name="T3" fmla="*/ 103 h 404"/>
                <a:gd name="T4" fmla="*/ 129 w 560"/>
                <a:gd name="T5" fmla="*/ 80 h 404"/>
                <a:gd name="T6" fmla="*/ 65 w 560"/>
                <a:gd name="T7" fmla="*/ 0 h 404"/>
                <a:gd name="T8" fmla="*/ 59 w 560"/>
                <a:gd name="T9" fmla="*/ 91 h 404"/>
                <a:gd name="T10" fmla="*/ 0 w 560"/>
                <a:gd name="T11" fmla="*/ 150 h 404"/>
                <a:gd name="T12" fmla="*/ 89 w 560"/>
                <a:gd name="T13" fmla="*/ 258 h 404"/>
                <a:gd name="T14" fmla="*/ 127 w 560"/>
                <a:gd name="T15" fmla="*/ 212 h 404"/>
                <a:gd name="T16" fmla="*/ 202 w 560"/>
                <a:gd name="T17" fmla="*/ 244 h 404"/>
                <a:gd name="T18" fmla="*/ 190 w 560"/>
                <a:gd name="T19" fmla="*/ 317 h 404"/>
                <a:gd name="T20" fmla="*/ 244 w 560"/>
                <a:gd name="T21" fmla="*/ 385 h 404"/>
                <a:gd name="T22" fmla="*/ 311 w 560"/>
                <a:gd name="T23" fmla="*/ 404 h 404"/>
                <a:gd name="T24" fmla="*/ 381 w 560"/>
                <a:gd name="T25" fmla="*/ 380 h 404"/>
                <a:gd name="T26" fmla="*/ 551 w 560"/>
                <a:gd name="T27" fmla="*/ 284 h 404"/>
                <a:gd name="T28" fmla="*/ 560 w 560"/>
                <a:gd name="T29" fmla="*/ 229 h 404"/>
                <a:gd name="T30" fmla="*/ 414 w 560"/>
                <a:gd name="T31" fmla="*/ 86 h 404"/>
                <a:gd name="T32" fmla="*/ 372 w 560"/>
                <a:gd name="T33" fmla="*/ 91 h 404"/>
                <a:gd name="T34" fmla="*/ 310 w 560"/>
                <a:gd name="T35" fmla="*/ 0 h 404"/>
                <a:gd name="T36" fmla="*/ 310 w 560"/>
                <a:gd name="T37" fmla="*/ 0 h 40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60"/>
                <a:gd name="T58" fmla="*/ 0 h 404"/>
                <a:gd name="T59" fmla="*/ 560 w 560"/>
                <a:gd name="T60" fmla="*/ 404 h 40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60" h="404">
                  <a:moveTo>
                    <a:pt x="310" y="0"/>
                  </a:moveTo>
                  <a:lnTo>
                    <a:pt x="250" y="103"/>
                  </a:lnTo>
                  <a:lnTo>
                    <a:pt x="129" y="80"/>
                  </a:lnTo>
                  <a:lnTo>
                    <a:pt x="65" y="0"/>
                  </a:lnTo>
                  <a:lnTo>
                    <a:pt x="59" y="91"/>
                  </a:lnTo>
                  <a:lnTo>
                    <a:pt x="0" y="150"/>
                  </a:lnTo>
                  <a:lnTo>
                    <a:pt x="89" y="258"/>
                  </a:lnTo>
                  <a:lnTo>
                    <a:pt x="127" y="212"/>
                  </a:lnTo>
                  <a:lnTo>
                    <a:pt x="202" y="244"/>
                  </a:lnTo>
                  <a:lnTo>
                    <a:pt x="190" y="317"/>
                  </a:lnTo>
                  <a:lnTo>
                    <a:pt x="244" y="385"/>
                  </a:lnTo>
                  <a:lnTo>
                    <a:pt x="311" y="404"/>
                  </a:lnTo>
                  <a:lnTo>
                    <a:pt x="381" y="380"/>
                  </a:lnTo>
                  <a:lnTo>
                    <a:pt x="551" y="284"/>
                  </a:lnTo>
                  <a:lnTo>
                    <a:pt x="560" y="229"/>
                  </a:lnTo>
                  <a:lnTo>
                    <a:pt x="414" y="86"/>
                  </a:lnTo>
                  <a:lnTo>
                    <a:pt x="372" y="91"/>
                  </a:lnTo>
                  <a:lnTo>
                    <a:pt x="310"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51" name="Freeform 152"/>
            <p:cNvSpPr>
              <a:spLocks noChangeAspect="1"/>
            </p:cNvSpPr>
            <p:nvPr/>
          </p:nvSpPr>
          <p:spPr bwMode="gray">
            <a:xfrm>
              <a:off x="3444180" y="3680772"/>
              <a:ext cx="483254" cy="545971"/>
            </a:xfrm>
            <a:custGeom>
              <a:avLst/>
              <a:gdLst>
                <a:gd name="T0" fmla="*/ 216 w 561"/>
                <a:gd name="T1" fmla="*/ 0 h 585"/>
                <a:gd name="T2" fmla="*/ 125 w 561"/>
                <a:gd name="T3" fmla="*/ 68 h 585"/>
                <a:gd name="T4" fmla="*/ 125 w 561"/>
                <a:gd name="T5" fmla="*/ 126 h 585"/>
                <a:gd name="T6" fmla="*/ 57 w 561"/>
                <a:gd name="T7" fmla="*/ 166 h 585"/>
                <a:gd name="T8" fmla="*/ 0 w 561"/>
                <a:gd name="T9" fmla="*/ 231 h 585"/>
                <a:gd name="T10" fmla="*/ 2 w 561"/>
                <a:gd name="T11" fmla="*/ 274 h 585"/>
                <a:gd name="T12" fmla="*/ 13 w 561"/>
                <a:gd name="T13" fmla="*/ 308 h 585"/>
                <a:gd name="T14" fmla="*/ 95 w 561"/>
                <a:gd name="T15" fmla="*/ 284 h 585"/>
                <a:gd name="T16" fmla="*/ 148 w 561"/>
                <a:gd name="T17" fmla="*/ 304 h 585"/>
                <a:gd name="T18" fmla="*/ 148 w 561"/>
                <a:gd name="T19" fmla="*/ 409 h 585"/>
                <a:gd name="T20" fmla="*/ 260 w 561"/>
                <a:gd name="T21" fmla="*/ 421 h 585"/>
                <a:gd name="T22" fmla="*/ 266 w 561"/>
                <a:gd name="T23" fmla="*/ 542 h 585"/>
                <a:gd name="T24" fmla="*/ 382 w 561"/>
                <a:gd name="T25" fmla="*/ 585 h 585"/>
                <a:gd name="T26" fmla="*/ 426 w 561"/>
                <a:gd name="T27" fmla="*/ 509 h 585"/>
                <a:gd name="T28" fmla="*/ 479 w 561"/>
                <a:gd name="T29" fmla="*/ 524 h 585"/>
                <a:gd name="T30" fmla="*/ 561 w 561"/>
                <a:gd name="T31" fmla="*/ 474 h 585"/>
                <a:gd name="T32" fmla="*/ 561 w 561"/>
                <a:gd name="T33" fmla="*/ 438 h 585"/>
                <a:gd name="T34" fmla="*/ 519 w 561"/>
                <a:gd name="T35" fmla="*/ 416 h 585"/>
                <a:gd name="T36" fmla="*/ 528 w 561"/>
                <a:gd name="T37" fmla="*/ 365 h 585"/>
                <a:gd name="T38" fmla="*/ 476 w 561"/>
                <a:gd name="T39" fmla="*/ 299 h 585"/>
                <a:gd name="T40" fmla="*/ 488 w 561"/>
                <a:gd name="T41" fmla="*/ 226 h 585"/>
                <a:gd name="T42" fmla="*/ 412 w 561"/>
                <a:gd name="T43" fmla="*/ 194 h 585"/>
                <a:gd name="T44" fmla="*/ 376 w 561"/>
                <a:gd name="T45" fmla="*/ 238 h 585"/>
                <a:gd name="T46" fmla="*/ 283 w 561"/>
                <a:gd name="T47" fmla="*/ 128 h 585"/>
                <a:gd name="T48" fmla="*/ 216 w 561"/>
                <a:gd name="T49" fmla="*/ 0 h 585"/>
                <a:gd name="T50" fmla="*/ 216 w 561"/>
                <a:gd name="T51" fmla="*/ 0 h 5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61"/>
                <a:gd name="T79" fmla="*/ 0 h 585"/>
                <a:gd name="T80" fmla="*/ 561 w 561"/>
                <a:gd name="T81" fmla="*/ 585 h 5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61" h="585">
                  <a:moveTo>
                    <a:pt x="216" y="0"/>
                  </a:moveTo>
                  <a:lnTo>
                    <a:pt x="125" y="68"/>
                  </a:lnTo>
                  <a:lnTo>
                    <a:pt x="125" y="126"/>
                  </a:lnTo>
                  <a:lnTo>
                    <a:pt x="57" y="166"/>
                  </a:lnTo>
                  <a:lnTo>
                    <a:pt x="0" y="231"/>
                  </a:lnTo>
                  <a:lnTo>
                    <a:pt x="2" y="274"/>
                  </a:lnTo>
                  <a:lnTo>
                    <a:pt x="13" y="308"/>
                  </a:lnTo>
                  <a:lnTo>
                    <a:pt x="95" y="284"/>
                  </a:lnTo>
                  <a:lnTo>
                    <a:pt x="148" y="304"/>
                  </a:lnTo>
                  <a:lnTo>
                    <a:pt x="148" y="409"/>
                  </a:lnTo>
                  <a:lnTo>
                    <a:pt x="260" y="421"/>
                  </a:lnTo>
                  <a:lnTo>
                    <a:pt x="266" y="542"/>
                  </a:lnTo>
                  <a:lnTo>
                    <a:pt x="382" y="585"/>
                  </a:lnTo>
                  <a:lnTo>
                    <a:pt x="426" y="509"/>
                  </a:lnTo>
                  <a:lnTo>
                    <a:pt x="479" y="524"/>
                  </a:lnTo>
                  <a:lnTo>
                    <a:pt x="561" y="474"/>
                  </a:lnTo>
                  <a:lnTo>
                    <a:pt x="561" y="438"/>
                  </a:lnTo>
                  <a:lnTo>
                    <a:pt x="519" y="416"/>
                  </a:lnTo>
                  <a:lnTo>
                    <a:pt x="528" y="365"/>
                  </a:lnTo>
                  <a:lnTo>
                    <a:pt x="476" y="299"/>
                  </a:lnTo>
                  <a:lnTo>
                    <a:pt x="488" y="226"/>
                  </a:lnTo>
                  <a:lnTo>
                    <a:pt x="412" y="194"/>
                  </a:lnTo>
                  <a:lnTo>
                    <a:pt x="376" y="238"/>
                  </a:lnTo>
                  <a:lnTo>
                    <a:pt x="283" y="128"/>
                  </a:lnTo>
                  <a:lnTo>
                    <a:pt x="216"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52" name="Freeform 153"/>
            <p:cNvSpPr>
              <a:spLocks noChangeAspect="1"/>
            </p:cNvSpPr>
            <p:nvPr/>
          </p:nvSpPr>
          <p:spPr bwMode="gray">
            <a:xfrm>
              <a:off x="3187020" y="3927581"/>
              <a:ext cx="315841" cy="506706"/>
            </a:xfrm>
            <a:custGeom>
              <a:avLst/>
              <a:gdLst>
                <a:gd name="T0" fmla="*/ 301 w 366"/>
                <a:gd name="T1" fmla="*/ 0 h 544"/>
                <a:gd name="T2" fmla="*/ 210 w 366"/>
                <a:gd name="T3" fmla="*/ 75 h 544"/>
                <a:gd name="T4" fmla="*/ 198 w 366"/>
                <a:gd name="T5" fmla="*/ 128 h 544"/>
                <a:gd name="T6" fmla="*/ 175 w 366"/>
                <a:gd name="T7" fmla="*/ 113 h 544"/>
                <a:gd name="T8" fmla="*/ 158 w 366"/>
                <a:gd name="T9" fmla="*/ 198 h 544"/>
                <a:gd name="T10" fmla="*/ 41 w 366"/>
                <a:gd name="T11" fmla="*/ 266 h 544"/>
                <a:gd name="T12" fmla="*/ 15 w 366"/>
                <a:gd name="T13" fmla="*/ 274 h 544"/>
                <a:gd name="T14" fmla="*/ 0 w 366"/>
                <a:gd name="T15" fmla="*/ 310 h 544"/>
                <a:gd name="T16" fmla="*/ 79 w 366"/>
                <a:gd name="T17" fmla="*/ 520 h 544"/>
                <a:gd name="T18" fmla="*/ 108 w 366"/>
                <a:gd name="T19" fmla="*/ 510 h 544"/>
                <a:gd name="T20" fmla="*/ 158 w 366"/>
                <a:gd name="T21" fmla="*/ 522 h 544"/>
                <a:gd name="T22" fmla="*/ 179 w 366"/>
                <a:gd name="T23" fmla="*/ 516 h 544"/>
                <a:gd name="T24" fmla="*/ 213 w 366"/>
                <a:gd name="T25" fmla="*/ 544 h 544"/>
                <a:gd name="T26" fmla="*/ 234 w 366"/>
                <a:gd name="T27" fmla="*/ 511 h 544"/>
                <a:gd name="T28" fmla="*/ 284 w 366"/>
                <a:gd name="T29" fmla="*/ 540 h 544"/>
                <a:gd name="T30" fmla="*/ 312 w 366"/>
                <a:gd name="T31" fmla="*/ 303 h 544"/>
                <a:gd name="T32" fmla="*/ 366 w 366"/>
                <a:gd name="T33" fmla="*/ 238 h 544"/>
                <a:gd name="T34" fmla="*/ 301 w 366"/>
                <a:gd name="T35" fmla="*/ 0 h 544"/>
                <a:gd name="T36" fmla="*/ 301 w 366"/>
                <a:gd name="T37" fmla="*/ 0 h 5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66"/>
                <a:gd name="T58" fmla="*/ 0 h 544"/>
                <a:gd name="T59" fmla="*/ 366 w 366"/>
                <a:gd name="T60" fmla="*/ 544 h 5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66" h="544">
                  <a:moveTo>
                    <a:pt x="301" y="0"/>
                  </a:moveTo>
                  <a:lnTo>
                    <a:pt x="210" y="75"/>
                  </a:lnTo>
                  <a:lnTo>
                    <a:pt x="198" y="128"/>
                  </a:lnTo>
                  <a:lnTo>
                    <a:pt x="175" y="113"/>
                  </a:lnTo>
                  <a:lnTo>
                    <a:pt x="158" y="198"/>
                  </a:lnTo>
                  <a:lnTo>
                    <a:pt x="41" y="266"/>
                  </a:lnTo>
                  <a:lnTo>
                    <a:pt x="15" y="274"/>
                  </a:lnTo>
                  <a:lnTo>
                    <a:pt x="0" y="310"/>
                  </a:lnTo>
                  <a:lnTo>
                    <a:pt x="79" y="520"/>
                  </a:lnTo>
                  <a:lnTo>
                    <a:pt x="108" y="510"/>
                  </a:lnTo>
                  <a:lnTo>
                    <a:pt x="158" y="522"/>
                  </a:lnTo>
                  <a:lnTo>
                    <a:pt x="179" y="516"/>
                  </a:lnTo>
                  <a:lnTo>
                    <a:pt x="213" y="544"/>
                  </a:lnTo>
                  <a:lnTo>
                    <a:pt x="234" y="511"/>
                  </a:lnTo>
                  <a:lnTo>
                    <a:pt x="284" y="540"/>
                  </a:lnTo>
                  <a:lnTo>
                    <a:pt x="312" y="303"/>
                  </a:lnTo>
                  <a:lnTo>
                    <a:pt x="366" y="238"/>
                  </a:lnTo>
                  <a:lnTo>
                    <a:pt x="301"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53" name="Freeform 154"/>
            <p:cNvSpPr>
              <a:spLocks noChangeAspect="1"/>
            </p:cNvSpPr>
            <p:nvPr/>
          </p:nvSpPr>
          <p:spPr bwMode="gray">
            <a:xfrm>
              <a:off x="3432099" y="3944409"/>
              <a:ext cx="341729" cy="555319"/>
            </a:xfrm>
            <a:custGeom>
              <a:avLst/>
              <a:gdLst>
                <a:gd name="T0" fmla="*/ 108 w 395"/>
                <a:gd name="T1" fmla="*/ 0 h 593"/>
                <a:gd name="T2" fmla="*/ 30 w 395"/>
                <a:gd name="T3" fmla="*/ 26 h 593"/>
                <a:gd name="T4" fmla="*/ 80 w 395"/>
                <a:gd name="T5" fmla="*/ 220 h 593"/>
                <a:gd name="T6" fmla="*/ 24 w 395"/>
                <a:gd name="T7" fmla="*/ 283 h 593"/>
                <a:gd name="T8" fmla="*/ 0 w 395"/>
                <a:gd name="T9" fmla="*/ 496 h 593"/>
                <a:gd name="T10" fmla="*/ 36 w 395"/>
                <a:gd name="T11" fmla="*/ 496 h 593"/>
                <a:gd name="T12" fmla="*/ 80 w 395"/>
                <a:gd name="T13" fmla="*/ 528 h 593"/>
                <a:gd name="T14" fmla="*/ 97 w 395"/>
                <a:gd name="T15" fmla="*/ 503 h 593"/>
                <a:gd name="T16" fmla="*/ 182 w 395"/>
                <a:gd name="T17" fmla="*/ 496 h 593"/>
                <a:gd name="T18" fmla="*/ 182 w 395"/>
                <a:gd name="T19" fmla="*/ 541 h 593"/>
                <a:gd name="T20" fmla="*/ 246 w 395"/>
                <a:gd name="T21" fmla="*/ 541 h 593"/>
                <a:gd name="T22" fmla="*/ 292 w 395"/>
                <a:gd name="T23" fmla="*/ 593 h 593"/>
                <a:gd name="T24" fmla="*/ 322 w 395"/>
                <a:gd name="T25" fmla="*/ 541 h 593"/>
                <a:gd name="T26" fmla="*/ 370 w 395"/>
                <a:gd name="T27" fmla="*/ 550 h 593"/>
                <a:gd name="T28" fmla="*/ 337 w 395"/>
                <a:gd name="T29" fmla="*/ 480 h 593"/>
                <a:gd name="T30" fmla="*/ 260 w 395"/>
                <a:gd name="T31" fmla="*/ 450 h 593"/>
                <a:gd name="T32" fmla="*/ 279 w 395"/>
                <a:gd name="T33" fmla="*/ 404 h 593"/>
                <a:gd name="T34" fmla="*/ 348 w 395"/>
                <a:gd name="T35" fmla="*/ 404 h 593"/>
                <a:gd name="T36" fmla="*/ 317 w 395"/>
                <a:gd name="T37" fmla="*/ 374 h 593"/>
                <a:gd name="T38" fmla="*/ 357 w 395"/>
                <a:gd name="T39" fmla="*/ 328 h 593"/>
                <a:gd name="T40" fmla="*/ 395 w 395"/>
                <a:gd name="T41" fmla="*/ 327 h 593"/>
                <a:gd name="T42" fmla="*/ 395 w 395"/>
                <a:gd name="T43" fmla="*/ 301 h 593"/>
                <a:gd name="T44" fmla="*/ 279 w 395"/>
                <a:gd name="T45" fmla="*/ 258 h 593"/>
                <a:gd name="T46" fmla="*/ 273 w 395"/>
                <a:gd name="T47" fmla="*/ 137 h 593"/>
                <a:gd name="T48" fmla="*/ 161 w 395"/>
                <a:gd name="T49" fmla="*/ 125 h 593"/>
                <a:gd name="T50" fmla="*/ 161 w 395"/>
                <a:gd name="T51" fmla="*/ 23 h 593"/>
                <a:gd name="T52" fmla="*/ 108 w 395"/>
                <a:gd name="T53" fmla="*/ 0 h 593"/>
                <a:gd name="T54" fmla="*/ 108 w 395"/>
                <a:gd name="T55" fmla="*/ 0 h 59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95"/>
                <a:gd name="T85" fmla="*/ 0 h 593"/>
                <a:gd name="T86" fmla="*/ 395 w 395"/>
                <a:gd name="T87" fmla="*/ 593 h 59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95" h="593">
                  <a:moveTo>
                    <a:pt x="108" y="0"/>
                  </a:moveTo>
                  <a:lnTo>
                    <a:pt x="30" y="26"/>
                  </a:lnTo>
                  <a:lnTo>
                    <a:pt x="80" y="220"/>
                  </a:lnTo>
                  <a:lnTo>
                    <a:pt x="24" y="283"/>
                  </a:lnTo>
                  <a:lnTo>
                    <a:pt x="0" y="496"/>
                  </a:lnTo>
                  <a:lnTo>
                    <a:pt x="36" y="496"/>
                  </a:lnTo>
                  <a:lnTo>
                    <a:pt x="80" y="528"/>
                  </a:lnTo>
                  <a:lnTo>
                    <a:pt x="97" y="503"/>
                  </a:lnTo>
                  <a:lnTo>
                    <a:pt x="182" y="496"/>
                  </a:lnTo>
                  <a:lnTo>
                    <a:pt x="182" y="541"/>
                  </a:lnTo>
                  <a:lnTo>
                    <a:pt x="246" y="541"/>
                  </a:lnTo>
                  <a:lnTo>
                    <a:pt x="292" y="593"/>
                  </a:lnTo>
                  <a:lnTo>
                    <a:pt x="322" y="541"/>
                  </a:lnTo>
                  <a:lnTo>
                    <a:pt x="370" y="550"/>
                  </a:lnTo>
                  <a:lnTo>
                    <a:pt x="337" y="480"/>
                  </a:lnTo>
                  <a:lnTo>
                    <a:pt x="260" y="450"/>
                  </a:lnTo>
                  <a:lnTo>
                    <a:pt x="279" y="404"/>
                  </a:lnTo>
                  <a:lnTo>
                    <a:pt x="348" y="404"/>
                  </a:lnTo>
                  <a:lnTo>
                    <a:pt x="317" y="374"/>
                  </a:lnTo>
                  <a:lnTo>
                    <a:pt x="357" y="328"/>
                  </a:lnTo>
                  <a:lnTo>
                    <a:pt x="395" y="327"/>
                  </a:lnTo>
                  <a:lnTo>
                    <a:pt x="395" y="301"/>
                  </a:lnTo>
                  <a:lnTo>
                    <a:pt x="279" y="258"/>
                  </a:lnTo>
                  <a:lnTo>
                    <a:pt x="273" y="137"/>
                  </a:lnTo>
                  <a:lnTo>
                    <a:pt x="161" y="125"/>
                  </a:lnTo>
                  <a:lnTo>
                    <a:pt x="161" y="23"/>
                  </a:lnTo>
                  <a:lnTo>
                    <a:pt x="108"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54" name="Freeform 155"/>
            <p:cNvSpPr>
              <a:spLocks noChangeAspect="1"/>
            </p:cNvSpPr>
            <p:nvPr/>
          </p:nvSpPr>
          <p:spPr bwMode="gray">
            <a:xfrm>
              <a:off x="3658192" y="4017330"/>
              <a:ext cx="490157" cy="443134"/>
            </a:xfrm>
            <a:custGeom>
              <a:avLst/>
              <a:gdLst>
                <a:gd name="T0" fmla="*/ 422 w 568"/>
                <a:gd name="T1" fmla="*/ 0 h 472"/>
                <a:gd name="T2" fmla="*/ 348 w 568"/>
                <a:gd name="T3" fmla="*/ 24 h 472"/>
                <a:gd name="T4" fmla="*/ 281 w 568"/>
                <a:gd name="T5" fmla="*/ 1 h 472"/>
                <a:gd name="T6" fmla="*/ 272 w 568"/>
                <a:gd name="T7" fmla="*/ 56 h 472"/>
                <a:gd name="T8" fmla="*/ 314 w 568"/>
                <a:gd name="T9" fmla="*/ 74 h 472"/>
                <a:gd name="T10" fmla="*/ 314 w 568"/>
                <a:gd name="T11" fmla="*/ 112 h 472"/>
                <a:gd name="T12" fmla="*/ 232 w 568"/>
                <a:gd name="T13" fmla="*/ 162 h 472"/>
                <a:gd name="T14" fmla="*/ 179 w 568"/>
                <a:gd name="T15" fmla="*/ 147 h 472"/>
                <a:gd name="T16" fmla="*/ 135 w 568"/>
                <a:gd name="T17" fmla="*/ 223 h 472"/>
                <a:gd name="T18" fmla="*/ 135 w 568"/>
                <a:gd name="T19" fmla="*/ 249 h 472"/>
                <a:gd name="T20" fmla="*/ 97 w 568"/>
                <a:gd name="T21" fmla="*/ 250 h 472"/>
                <a:gd name="T22" fmla="*/ 54 w 568"/>
                <a:gd name="T23" fmla="*/ 298 h 472"/>
                <a:gd name="T24" fmla="*/ 89 w 568"/>
                <a:gd name="T25" fmla="*/ 326 h 472"/>
                <a:gd name="T26" fmla="*/ 19 w 568"/>
                <a:gd name="T27" fmla="*/ 326 h 472"/>
                <a:gd name="T28" fmla="*/ 0 w 568"/>
                <a:gd name="T29" fmla="*/ 375 h 472"/>
                <a:gd name="T30" fmla="*/ 77 w 568"/>
                <a:gd name="T31" fmla="*/ 407 h 472"/>
                <a:gd name="T32" fmla="*/ 110 w 568"/>
                <a:gd name="T33" fmla="*/ 472 h 472"/>
                <a:gd name="T34" fmla="*/ 184 w 568"/>
                <a:gd name="T35" fmla="*/ 462 h 472"/>
                <a:gd name="T36" fmla="*/ 153 w 568"/>
                <a:gd name="T37" fmla="*/ 433 h 472"/>
                <a:gd name="T38" fmla="*/ 205 w 568"/>
                <a:gd name="T39" fmla="*/ 424 h 472"/>
                <a:gd name="T40" fmla="*/ 176 w 568"/>
                <a:gd name="T41" fmla="*/ 390 h 472"/>
                <a:gd name="T42" fmla="*/ 255 w 568"/>
                <a:gd name="T43" fmla="*/ 328 h 472"/>
                <a:gd name="T44" fmla="*/ 288 w 568"/>
                <a:gd name="T45" fmla="*/ 363 h 472"/>
                <a:gd name="T46" fmla="*/ 334 w 568"/>
                <a:gd name="T47" fmla="*/ 296 h 472"/>
                <a:gd name="T48" fmla="*/ 437 w 568"/>
                <a:gd name="T49" fmla="*/ 331 h 472"/>
                <a:gd name="T50" fmla="*/ 457 w 568"/>
                <a:gd name="T51" fmla="*/ 282 h 472"/>
                <a:gd name="T52" fmla="*/ 519 w 568"/>
                <a:gd name="T53" fmla="*/ 264 h 472"/>
                <a:gd name="T54" fmla="*/ 568 w 568"/>
                <a:gd name="T55" fmla="*/ 147 h 472"/>
                <a:gd name="T56" fmla="*/ 422 w 568"/>
                <a:gd name="T57" fmla="*/ 0 h 472"/>
                <a:gd name="T58" fmla="*/ 422 w 568"/>
                <a:gd name="T59" fmla="*/ 0 h 47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68"/>
                <a:gd name="T91" fmla="*/ 0 h 472"/>
                <a:gd name="T92" fmla="*/ 568 w 568"/>
                <a:gd name="T93" fmla="*/ 472 h 47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68" h="472">
                  <a:moveTo>
                    <a:pt x="422" y="0"/>
                  </a:moveTo>
                  <a:lnTo>
                    <a:pt x="348" y="24"/>
                  </a:lnTo>
                  <a:lnTo>
                    <a:pt x="281" y="1"/>
                  </a:lnTo>
                  <a:lnTo>
                    <a:pt x="272" y="56"/>
                  </a:lnTo>
                  <a:lnTo>
                    <a:pt x="314" y="74"/>
                  </a:lnTo>
                  <a:lnTo>
                    <a:pt x="314" y="112"/>
                  </a:lnTo>
                  <a:lnTo>
                    <a:pt x="232" y="162"/>
                  </a:lnTo>
                  <a:lnTo>
                    <a:pt x="179" y="147"/>
                  </a:lnTo>
                  <a:lnTo>
                    <a:pt x="135" y="223"/>
                  </a:lnTo>
                  <a:lnTo>
                    <a:pt x="135" y="249"/>
                  </a:lnTo>
                  <a:lnTo>
                    <a:pt x="97" y="250"/>
                  </a:lnTo>
                  <a:lnTo>
                    <a:pt x="54" y="298"/>
                  </a:lnTo>
                  <a:lnTo>
                    <a:pt x="89" y="326"/>
                  </a:lnTo>
                  <a:lnTo>
                    <a:pt x="19" y="326"/>
                  </a:lnTo>
                  <a:lnTo>
                    <a:pt x="0" y="375"/>
                  </a:lnTo>
                  <a:lnTo>
                    <a:pt x="77" y="407"/>
                  </a:lnTo>
                  <a:lnTo>
                    <a:pt x="110" y="472"/>
                  </a:lnTo>
                  <a:lnTo>
                    <a:pt x="184" y="462"/>
                  </a:lnTo>
                  <a:lnTo>
                    <a:pt x="153" y="433"/>
                  </a:lnTo>
                  <a:lnTo>
                    <a:pt x="205" y="424"/>
                  </a:lnTo>
                  <a:lnTo>
                    <a:pt x="176" y="390"/>
                  </a:lnTo>
                  <a:lnTo>
                    <a:pt x="255" y="328"/>
                  </a:lnTo>
                  <a:lnTo>
                    <a:pt x="288" y="363"/>
                  </a:lnTo>
                  <a:lnTo>
                    <a:pt x="334" y="296"/>
                  </a:lnTo>
                  <a:lnTo>
                    <a:pt x="437" y="331"/>
                  </a:lnTo>
                  <a:lnTo>
                    <a:pt x="457" y="282"/>
                  </a:lnTo>
                  <a:lnTo>
                    <a:pt x="519" y="264"/>
                  </a:lnTo>
                  <a:lnTo>
                    <a:pt x="568" y="147"/>
                  </a:lnTo>
                  <a:lnTo>
                    <a:pt x="422"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55" name="Freeform 156"/>
            <p:cNvSpPr>
              <a:spLocks noChangeAspect="1"/>
            </p:cNvSpPr>
            <p:nvPr/>
          </p:nvSpPr>
          <p:spPr bwMode="gray">
            <a:xfrm>
              <a:off x="3430373" y="4409980"/>
              <a:ext cx="338278" cy="293553"/>
            </a:xfrm>
            <a:custGeom>
              <a:avLst/>
              <a:gdLst>
                <a:gd name="T0" fmla="*/ 35 w 391"/>
                <a:gd name="T1" fmla="*/ 0 h 316"/>
                <a:gd name="T2" fmla="*/ 0 w 391"/>
                <a:gd name="T3" fmla="*/ 0 h 316"/>
                <a:gd name="T4" fmla="*/ 0 w 391"/>
                <a:gd name="T5" fmla="*/ 24 h 316"/>
                <a:gd name="T6" fmla="*/ 70 w 391"/>
                <a:gd name="T7" fmla="*/ 163 h 316"/>
                <a:gd name="T8" fmla="*/ 47 w 391"/>
                <a:gd name="T9" fmla="*/ 182 h 316"/>
                <a:gd name="T10" fmla="*/ 161 w 391"/>
                <a:gd name="T11" fmla="*/ 266 h 316"/>
                <a:gd name="T12" fmla="*/ 332 w 391"/>
                <a:gd name="T13" fmla="*/ 316 h 316"/>
                <a:gd name="T14" fmla="*/ 391 w 391"/>
                <a:gd name="T15" fmla="*/ 272 h 316"/>
                <a:gd name="T16" fmla="*/ 315 w 391"/>
                <a:gd name="T17" fmla="*/ 235 h 316"/>
                <a:gd name="T18" fmla="*/ 344 w 391"/>
                <a:gd name="T19" fmla="*/ 188 h 316"/>
                <a:gd name="T20" fmla="*/ 298 w 391"/>
                <a:gd name="T21" fmla="*/ 173 h 316"/>
                <a:gd name="T22" fmla="*/ 316 w 391"/>
                <a:gd name="T23" fmla="*/ 118 h 316"/>
                <a:gd name="T24" fmla="*/ 290 w 391"/>
                <a:gd name="T25" fmla="*/ 97 h 316"/>
                <a:gd name="T26" fmla="*/ 248 w 391"/>
                <a:gd name="T27" fmla="*/ 45 h 316"/>
                <a:gd name="T28" fmla="*/ 184 w 391"/>
                <a:gd name="T29" fmla="*/ 45 h 316"/>
                <a:gd name="T30" fmla="*/ 184 w 391"/>
                <a:gd name="T31" fmla="*/ 0 h 316"/>
                <a:gd name="T32" fmla="*/ 99 w 391"/>
                <a:gd name="T33" fmla="*/ 7 h 316"/>
                <a:gd name="T34" fmla="*/ 82 w 391"/>
                <a:gd name="T35" fmla="*/ 32 h 316"/>
                <a:gd name="T36" fmla="*/ 35 w 391"/>
                <a:gd name="T37" fmla="*/ 0 h 316"/>
                <a:gd name="T38" fmla="*/ 35 w 391"/>
                <a:gd name="T39" fmla="*/ 0 h 3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91"/>
                <a:gd name="T61" fmla="*/ 0 h 316"/>
                <a:gd name="T62" fmla="*/ 391 w 391"/>
                <a:gd name="T63" fmla="*/ 316 h 3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91" h="316">
                  <a:moveTo>
                    <a:pt x="35" y="0"/>
                  </a:moveTo>
                  <a:lnTo>
                    <a:pt x="0" y="0"/>
                  </a:lnTo>
                  <a:lnTo>
                    <a:pt x="0" y="24"/>
                  </a:lnTo>
                  <a:lnTo>
                    <a:pt x="70" y="163"/>
                  </a:lnTo>
                  <a:lnTo>
                    <a:pt x="47" y="182"/>
                  </a:lnTo>
                  <a:lnTo>
                    <a:pt x="161" y="266"/>
                  </a:lnTo>
                  <a:lnTo>
                    <a:pt x="332" y="316"/>
                  </a:lnTo>
                  <a:lnTo>
                    <a:pt x="391" y="272"/>
                  </a:lnTo>
                  <a:lnTo>
                    <a:pt x="315" y="235"/>
                  </a:lnTo>
                  <a:lnTo>
                    <a:pt x="344" y="188"/>
                  </a:lnTo>
                  <a:lnTo>
                    <a:pt x="298" y="173"/>
                  </a:lnTo>
                  <a:lnTo>
                    <a:pt x="316" y="118"/>
                  </a:lnTo>
                  <a:lnTo>
                    <a:pt x="290" y="97"/>
                  </a:lnTo>
                  <a:lnTo>
                    <a:pt x="248" y="45"/>
                  </a:lnTo>
                  <a:lnTo>
                    <a:pt x="184" y="45"/>
                  </a:lnTo>
                  <a:lnTo>
                    <a:pt x="184" y="0"/>
                  </a:lnTo>
                  <a:lnTo>
                    <a:pt x="99" y="7"/>
                  </a:lnTo>
                  <a:lnTo>
                    <a:pt x="82" y="32"/>
                  </a:lnTo>
                  <a:lnTo>
                    <a:pt x="35"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56" name="Freeform 157"/>
            <p:cNvSpPr>
              <a:spLocks noChangeAspect="1"/>
            </p:cNvSpPr>
            <p:nvPr/>
          </p:nvSpPr>
          <p:spPr bwMode="gray">
            <a:xfrm>
              <a:off x="3685807" y="4267878"/>
              <a:ext cx="448736" cy="405738"/>
            </a:xfrm>
            <a:custGeom>
              <a:avLst/>
              <a:gdLst>
                <a:gd name="T0" fmla="*/ 487 w 521"/>
                <a:gd name="T1" fmla="*/ 0 h 434"/>
                <a:gd name="T2" fmla="*/ 424 w 521"/>
                <a:gd name="T3" fmla="*/ 16 h 434"/>
                <a:gd name="T4" fmla="*/ 408 w 521"/>
                <a:gd name="T5" fmla="*/ 65 h 434"/>
                <a:gd name="T6" fmla="*/ 302 w 521"/>
                <a:gd name="T7" fmla="*/ 30 h 434"/>
                <a:gd name="T8" fmla="*/ 256 w 521"/>
                <a:gd name="T9" fmla="*/ 97 h 434"/>
                <a:gd name="T10" fmla="*/ 223 w 521"/>
                <a:gd name="T11" fmla="*/ 62 h 434"/>
                <a:gd name="T12" fmla="*/ 142 w 521"/>
                <a:gd name="T13" fmla="*/ 124 h 434"/>
                <a:gd name="T14" fmla="*/ 173 w 521"/>
                <a:gd name="T15" fmla="*/ 158 h 434"/>
                <a:gd name="T16" fmla="*/ 121 w 521"/>
                <a:gd name="T17" fmla="*/ 165 h 434"/>
                <a:gd name="T18" fmla="*/ 152 w 521"/>
                <a:gd name="T19" fmla="*/ 196 h 434"/>
                <a:gd name="T20" fmla="*/ 82 w 521"/>
                <a:gd name="T21" fmla="*/ 205 h 434"/>
                <a:gd name="T22" fmla="*/ 27 w 521"/>
                <a:gd name="T23" fmla="*/ 197 h 434"/>
                <a:gd name="T24" fmla="*/ 0 w 521"/>
                <a:gd name="T25" fmla="*/ 250 h 434"/>
                <a:gd name="T26" fmla="*/ 22 w 521"/>
                <a:gd name="T27" fmla="*/ 273 h 434"/>
                <a:gd name="T28" fmla="*/ 4 w 521"/>
                <a:gd name="T29" fmla="*/ 328 h 434"/>
                <a:gd name="T30" fmla="*/ 48 w 521"/>
                <a:gd name="T31" fmla="*/ 342 h 434"/>
                <a:gd name="T32" fmla="*/ 21 w 521"/>
                <a:gd name="T33" fmla="*/ 387 h 434"/>
                <a:gd name="T34" fmla="*/ 98 w 521"/>
                <a:gd name="T35" fmla="*/ 425 h 434"/>
                <a:gd name="T36" fmla="*/ 121 w 521"/>
                <a:gd name="T37" fmla="*/ 410 h 434"/>
                <a:gd name="T38" fmla="*/ 150 w 521"/>
                <a:gd name="T39" fmla="*/ 433 h 434"/>
                <a:gd name="T40" fmla="*/ 200 w 521"/>
                <a:gd name="T41" fmla="*/ 396 h 434"/>
                <a:gd name="T42" fmla="*/ 220 w 521"/>
                <a:gd name="T43" fmla="*/ 434 h 434"/>
                <a:gd name="T44" fmla="*/ 278 w 521"/>
                <a:gd name="T45" fmla="*/ 381 h 434"/>
                <a:gd name="T46" fmla="*/ 340 w 521"/>
                <a:gd name="T47" fmla="*/ 407 h 434"/>
                <a:gd name="T48" fmla="*/ 442 w 521"/>
                <a:gd name="T49" fmla="*/ 381 h 434"/>
                <a:gd name="T50" fmla="*/ 425 w 521"/>
                <a:gd name="T51" fmla="*/ 342 h 434"/>
                <a:gd name="T52" fmla="*/ 521 w 521"/>
                <a:gd name="T53" fmla="*/ 313 h 434"/>
                <a:gd name="T54" fmla="*/ 431 w 521"/>
                <a:gd name="T55" fmla="*/ 218 h 434"/>
                <a:gd name="T56" fmla="*/ 513 w 521"/>
                <a:gd name="T57" fmla="*/ 103 h 434"/>
                <a:gd name="T58" fmla="*/ 487 w 521"/>
                <a:gd name="T59" fmla="*/ 0 h 434"/>
                <a:gd name="T60" fmla="*/ 487 w 521"/>
                <a:gd name="T61" fmla="*/ 0 h 4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21"/>
                <a:gd name="T94" fmla="*/ 0 h 434"/>
                <a:gd name="T95" fmla="*/ 521 w 521"/>
                <a:gd name="T96" fmla="*/ 434 h 4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21" h="434">
                  <a:moveTo>
                    <a:pt x="487" y="0"/>
                  </a:moveTo>
                  <a:lnTo>
                    <a:pt x="424" y="16"/>
                  </a:lnTo>
                  <a:lnTo>
                    <a:pt x="408" y="65"/>
                  </a:lnTo>
                  <a:lnTo>
                    <a:pt x="302" y="30"/>
                  </a:lnTo>
                  <a:lnTo>
                    <a:pt x="256" y="97"/>
                  </a:lnTo>
                  <a:lnTo>
                    <a:pt x="223" y="62"/>
                  </a:lnTo>
                  <a:lnTo>
                    <a:pt x="142" y="124"/>
                  </a:lnTo>
                  <a:lnTo>
                    <a:pt x="173" y="158"/>
                  </a:lnTo>
                  <a:lnTo>
                    <a:pt x="121" y="165"/>
                  </a:lnTo>
                  <a:lnTo>
                    <a:pt x="152" y="196"/>
                  </a:lnTo>
                  <a:lnTo>
                    <a:pt x="82" y="205"/>
                  </a:lnTo>
                  <a:lnTo>
                    <a:pt x="27" y="197"/>
                  </a:lnTo>
                  <a:lnTo>
                    <a:pt x="0" y="250"/>
                  </a:lnTo>
                  <a:lnTo>
                    <a:pt x="22" y="273"/>
                  </a:lnTo>
                  <a:lnTo>
                    <a:pt x="4" y="328"/>
                  </a:lnTo>
                  <a:lnTo>
                    <a:pt x="48" y="342"/>
                  </a:lnTo>
                  <a:lnTo>
                    <a:pt x="21" y="387"/>
                  </a:lnTo>
                  <a:lnTo>
                    <a:pt x="98" y="425"/>
                  </a:lnTo>
                  <a:lnTo>
                    <a:pt x="121" y="410"/>
                  </a:lnTo>
                  <a:lnTo>
                    <a:pt x="150" y="433"/>
                  </a:lnTo>
                  <a:lnTo>
                    <a:pt x="200" y="396"/>
                  </a:lnTo>
                  <a:lnTo>
                    <a:pt x="220" y="434"/>
                  </a:lnTo>
                  <a:lnTo>
                    <a:pt x="278" y="381"/>
                  </a:lnTo>
                  <a:lnTo>
                    <a:pt x="340" y="407"/>
                  </a:lnTo>
                  <a:lnTo>
                    <a:pt x="442" y="381"/>
                  </a:lnTo>
                  <a:lnTo>
                    <a:pt x="425" y="342"/>
                  </a:lnTo>
                  <a:lnTo>
                    <a:pt x="521" y="313"/>
                  </a:lnTo>
                  <a:lnTo>
                    <a:pt x="431" y="218"/>
                  </a:lnTo>
                  <a:lnTo>
                    <a:pt x="513" y="103"/>
                  </a:lnTo>
                  <a:lnTo>
                    <a:pt x="487"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57" name="Freeform 158"/>
            <p:cNvSpPr>
              <a:spLocks noChangeAspect="1"/>
            </p:cNvSpPr>
            <p:nvPr/>
          </p:nvSpPr>
          <p:spPr bwMode="gray">
            <a:xfrm>
              <a:off x="3318189" y="4580128"/>
              <a:ext cx="481528" cy="327208"/>
            </a:xfrm>
            <a:custGeom>
              <a:avLst/>
              <a:gdLst>
                <a:gd name="T0" fmla="*/ 182 w 559"/>
                <a:gd name="T1" fmla="*/ 0 h 351"/>
                <a:gd name="T2" fmla="*/ 132 w 559"/>
                <a:gd name="T3" fmla="*/ 38 h 351"/>
                <a:gd name="T4" fmla="*/ 132 w 559"/>
                <a:gd name="T5" fmla="*/ 129 h 351"/>
                <a:gd name="T6" fmla="*/ 74 w 559"/>
                <a:gd name="T7" fmla="*/ 129 h 351"/>
                <a:gd name="T8" fmla="*/ 79 w 559"/>
                <a:gd name="T9" fmla="*/ 187 h 351"/>
                <a:gd name="T10" fmla="*/ 0 w 559"/>
                <a:gd name="T11" fmla="*/ 240 h 351"/>
                <a:gd name="T12" fmla="*/ 105 w 559"/>
                <a:gd name="T13" fmla="*/ 242 h 351"/>
                <a:gd name="T14" fmla="*/ 223 w 559"/>
                <a:gd name="T15" fmla="*/ 325 h 351"/>
                <a:gd name="T16" fmla="*/ 380 w 559"/>
                <a:gd name="T17" fmla="*/ 281 h 351"/>
                <a:gd name="T18" fmla="*/ 523 w 559"/>
                <a:gd name="T19" fmla="*/ 351 h 351"/>
                <a:gd name="T20" fmla="*/ 538 w 559"/>
                <a:gd name="T21" fmla="*/ 312 h 351"/>
                <a:gd name="T22" fmla="*/ 508 w 559"/>
                <a:gd name="T23" fmla="*/ 289 h 351"/>
                <a:gd name="T24" fmla="*/ 542 w 559"/>
                <a:gd name="T25" fmla="*/ 240 h 351"/>
                <a:gd name="T26" fmla="*/ 498 w 559"/>
                <a:gd name="T27" fmla="*/ 158 h 351"/>
                <a:gd name="T28" fmla="*/ 559 w 559"/>
                <a:gd name="T29" fmla="*/ 116 h 351"/>
                <a:gd name="T30" fmla="*/ 523 w 559"/>
                <a:gd name="T31" fmla="*/ 90 h 351"/>
                <a:gd name="T32" fmla="*/ 464 w 559"/>
                <a:gd name="T33" fmla="*/ 134 h 351"/>
                <a:gd name="T34" fmla="*/ 287 w 559"/>
                <a:gd name="T35" fmla="*/ 80 h 351"/>
                <a:gd name="T36" fmla="*/ 182 w 559"/>
                <a:gd name="T37" fmla="*/ 0 h 351"/>
                <a:gd name="T38" fmla="*/ 182 w 559"/>
                <a:gd name="T39" fmla="*/ 0 h 35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59"/>
                <a:gd name="T61" fmla="*/ 0 h 351"/>
                <a:gd name="T62" fmla="*/ 559 w 559"/>
                <a:gd name="T63" fmla="*/ 351 h 35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59" h="351">
                  <a:moveTo>
                    <a:pt x="182" y="0"/>
                  </a:moveTo>
                  <a:lnTo>
                    <a:pt x="132" y="38"/>
                  </a:lnTo>
                  <a:lnTo>
                    <a:pt x="132" y="129"/>
                  </a:lnTo>
                  <a:lnTo>
                    <a:pt x="74" y="129"/>
                  </a:lnTo>
                  <a:lnTo>
                    <a:pt x="79" y="187"/>
                  </a:lnTo>
                  <a:lnTo>
                    <a:pt x="0" y="240"/>
                  </a:lnTo>
                  <a:lnTo>
                    <a:pt x="105" y="242"/>
                  </a:lnTo>
                  <a:lnTo>
                    <a:pt x="223" y="325"/>
                  </a:lnTo>
                  <a:lnTo>
                    <a:pt x="380" y="281"/>
                  </a:lnTo>
                  <a:lnTo>
                    <a:pt x="523" y="351"/>
                  </a:lnTo>
                  <a:lnTo>
                    <a:pt x="538" y="312"/>
                  </a:lnTo>
                  <a:lnTo>
                    <a:pt x="508" y="289"/>
                  </a:lnTo>
                  <a:lnTo>
                    <a:pt x="542" y="240"/>
                  </a:lnTo>
                  <a:lnTo>
                    <a:pt x="498" y="158"/>
                  </a:lnTo>
                  <a:lnTo>
                    <a:pt x="559" y="116"/>
                  </a:lnTo>
                  <a:lnTo>
                    <a:pt x="523" y="90"/>
                  </a:lnTo>
                  <a:lnTo>
                    <a:pt x="464" y="134"/>
                  </a:lnTo>
                  <a:lnTo>
                    <a:pt x="287" y="80"/>
                  </a:lnTo>
                  <a:lnTo>
                    <a:pt x="182"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58" name="Freeform 159"/>
            <p:cNvSpPr>
              <a:spLocks noChangeAspect="1"/>
            </p:cNvSpPr>
            <p:nvPr/>
          </p:nvSpPr>
          <p:spPr bwMode="gray">
            <a:xfrm>
              <a:off x="3746214" y="4623133"/>
              <a:ext cx="409040" cy="332818"/>
            </a:xfrm>
            <a:custGeom>
              <a:avLst/>
              <a:gdLst>
                <a:gd name="T0" fmla="*/ 371 w 472"/>
                <a:gd name="T1" fmla="*/ 3 h 356"/>
                <a:gd name="T2" fmla="*/ 266 w 472"/>
                <a:gd name="T3" fmla="*/ 23 h 356"/>
                <a:gd name="T4" fmla="*/ 206 w 472"/>
                <a:gd name="T5" fmla="*/ 0 h 356"/>
                <a:gd name="T6" fmla="*/ 151 w 472"/>
                <a:gd name="T7" fmla="*/ 53 h 356"/>
                <a:gd name="T8" fmla="*/ 128 w 472"/>
                <a:gd name="T9" fmla="*/ 18 h 356"/>
                <a:gd name="T10" fmla="*/ 78 w 472"/>
                <a:gd name="T11" fmla="*/ 52 h 356"/>
                <a:gd name="T12" fmla="*/ 48 w 472"/>
                <a:gd name="T13" fmla="*/ 27 h 356"/>
                <a:gd name="T14" fmla="*/ 25 w 472"/>
                <a:gd name="T15" fmla="*/ 48 h 356"/>
                <a:gd name="T16" fmla="*/ 63 w 472"/>
                <a:gd name="T17" fmla="*/ 69 h 356"/>
                <a:gd name="T18" fmla="*/ 0 w 472"/>
                <a:gd name="T19" fmla="*/ 111 h 356"/>
                <a:gd name="T20" fmla="*/ 44 w 472"/>
                <a:gd name="T21" fmla="*/ 195 h 356"/>
                <a:gd name="T22" fmla="*/ 10 w 472"/>
                <a:gd name="T23" fmla="*/ 242 h 356"/>
                <a:gd name="T24" fmla="*/ 44 w 472"/>
                <a:gd name="T25" fmla="*/ 266 h 356"/>
                <a:gd name="T26" fmla="*/ 23 w 472"/>
                <a:gd name="T27" fmla="*/ 309 h 356"/>
                <a:gd name="T28" fmla="*/ 105 w 472"/>
                <a:gd name="T29" fmla="*/ 345 h 356"/>
                <a:gd name="T30" fmla="*/ 259 w 472"/>
                <a:gd name="T31" fmla="*/ 356 h 356"/>
                <a:gd name="T32" fmla="*/ 374 w 472"/>
                <a:gd name="T33" fmla="*/ 289 h 356"/>
                <a:gd name="T34" fmla="*/ 396 w 472"/>
                <a:gd name="T35" fmla="*/ 185 h 356"/>
                <a:gd name="T36" fmla="*/ 472 w 472"/>
                <a:gd name="T37" fmla="*/ 152 h 356"/>
                <a:gd name="T38" fmla="*/ 458 w 472"/>
                <a:gd name="T39" fmla="*/ 82 h 356"/>
                <a:gd name="T40" fmla="*/ 386 w 472"/>
                <a:gd name="T41" fmla="*/ 59 h 356"/>
                <a:gd name="T42" fmla="*/ 371 w 472"/>
                <a:gd name="T43" fmla="*/ 3 h 356"/>
                <a:gd name="T44" fmla="*/ 371 w 472"/>
                <a:gd name="T45" fmla="*/ 3 h 35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2"/>
                <a:gd name="T70" fmla="*/ 0 h 356"/>
                <a:gd name="T71" fmla="*/ 472 w 472"/>
                <a:gd name="T72" fmla="*/ 356 h 35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2" h="356">
                  <a:moveTo>
                    <a:pt x="371" y="3"/>
                  </a:moveTo>
                  <a:lnTo>
                    <a:pt x="266" y="23"/>
                  </a:lnTo>
                  <a:lnTo>
                    <a:pt x="206" y="0"/>
                  </a:lnTo>
                  <a:lnTo>
                    <a:pt x="151" y="53"/>
                  </a:lnTo>
                  <a:lnTo>
                    <a:pt x="128" y="18"/>
                  </a:lnTo>
                  <a:lnTo>
                    <a:pt x="78" y="52"/>
                  </a:lnTo>
                  <a:lnTo>
                    <a:pt x="48" y="27"/>
                  </a:lnTo>
                  <a:lnTo>
                    <a:pt x="25" y="48"/>
                  </a:lnTo>
                  <a:lnTo>
                    <a:pt x="63" y="69"/>
                  </a:lnTo>
                  <a:lnTo>
                    <a:pt x="0" y="111"/>
                  </a:lnTo>
                  <a:lnTo>
                    <a:pt x="44" y="195"/>
                  </a:lnTo>
                  <a:lnTo>
                    <a:pt x="10" y="242"/>
                  </a:lnTo>
                  <a:lnTo>
                    <a:pt x="44" y="266"/>
                  </a:lnTo>
                  <a:lnTo>
                    <a:pt x="23" y="309"/>
                  </a:lnTo>
                  <a:lnTo>
                    <a:pt x="105" y="345"/>
                  </a:lnTo>
                  <a:lnTo>
                    <a:pt x="259" y="356"/>
                  </a:lnTo>
                  <a:lnTo>
                    <a:pt x="374" y="289"/>
                  </a:lnTo>
                  <a:lnTo>
                    <a:pt x="396" y="185"/>
                  </a:lnTo>
                  <a:lnTo>
                    <a:pt x="472" y="152"/>
                  </a:lnTo>
                  <a:lnTo>
                    <a:pt x="458" y="82"/>
                  </a:lnTo>
                  <a:lnTo>
                    <a:pt x="386" y="59"/>
                  </a:lnTo>
                  <a:lnTo>
                    <a:pt x="371" y="3"/>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59" name="Freeform 160"/>
            <p:cNvSpPr>
              <a:spLocks noChangeAspect="1"/>
            </p:cNvSpPr>
            <p:nvPr/>
          </p:nvSpPr>
          <p:spPr bwMode="gray">
            <a:xfrm>
              <a:off x="4051699" y="4363236"/>
              <a:ext cx="322744" cy="398259"/>
            </a:xfrm>
            <a:custGeom>
              <a:avLst/>
              <a:gdLst>
                <a:gd name="T0" fmla="*/ 91 w 375"/>
                <a:gd name="T1" fmla="*/ 0 h 427"/>
                <a:gd name="T2" fmla="*/ 6 w 375"/>
                <a:gd name="T3" fmla="*/ 117 h 427"/>
                <a:gd name="T4" fmla="*/ 95 w 375"/>
                <a:gd name="T5" fmla="*/ 210 h 427"/>
                <a:gd name="T6" fmla="*/ 0 w 375"/>
                <a:gd name="T7" fmla="*/ 239 h 427"/>
                <a:gd name="T8" fmla="*/ 33 w 375"/>
                <a:gd name="T9" fmla="*/ 337 h 427"/>
                <a:gd name="T10" fmla="*/ 106 w 375"/>
                <a:gd name="T11" fmla="*/ 360 h 427"/>
                <a:gd name="T12" fmla="*/ 116 w 375"/>
                <a:gd name="T13" fmla="*/ 427 h 427"/>
                <a:gd name="T14" fmla="*/ 194 w 375"/>
                <a:gd name="T15" fmla="*/ 385 h 427"/>
                <a:gd name="T16" fmla="*/ 194 w 375"/>
                <a:gd name="T17" fmla="*/ 286 h 427"/>
                <a:gd name="T18" fmla="*/ 314 w 375"/>
                <a:gd name="T19" fmla="*/ 245 h 427"/>
                <a:gd name="T20" fmla="*/ 375 w 375"/>
                <a:gd name="T21" fmla="*/ 111 h 427"/>
                <a:gd name="T22" fmla="*/ 334 w 375"/>
                <a:gd name="T23" fmla="*/ 59 h 427"/>
                <a:gd name="T24" fmla="*/ 234 w 375"/>
                <a:gd name="T25" fmla="*/ 119 h 427"/>
                <a:gd name="T26" fmla="*/ 106 w 375"/>
                <a:gd name="T27" fmla="*/ 59 h 427"/>
                <a:gd name="T28" fmla="*/ 91 w 375"/>
                <a:gd name="T29" fmla="*/ 0 h 427"/>
                <a:gd name="T30" fmla="*/ 91 w 375"/>
                <a:gd name="T31" fmla="*/ 0 h 4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75"/>
                <a:gd name="T49" fmla="*/ 0 h 427"/>
                <a:gd name="T50" fmla="*/ 375 w 375"/>
                <a:gd name="T51" fmla="*/ 427 h 4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75" h="427">
                  <a:moveTo>
                    <a:pt x="91" y="0"/>
                  </a:moveTo>
                  <a:lnTo>
                    <a:pt x="6" y="117"/>
                  </a:lnTo>
                  <a:lnTo>
                    <a:pt x="95" y="210"/>
                  </a:lnTo>
                  <a:lnTo>
                    <a:pt x="0" y="239"/>
                  </a:lnTo>
                  <a:lnTo>
                    <a:pt x="33" y="337"/>
                  </a:lnTo>
                  <a:lnTo>
                    <a:pt x="106" y="360"/>
                  </a:lnTo>
                  <a:lnTo>
                    <a:pt x="116" y="427"/>
                  </a:lnTo>
                  <a:lnTo>
                    <a:pt x="194" y="385"/>
                  </a:lnTo>
                  <a:lnTo>
                    <a:pt x="194" y="286"/>
                  </a:lnTo>
                  <a:lnTo>
                    <a:pt x="314" y="245"/>
                  </a:lnTo>
                  <a:lnTo>
                    <a:pt x="375" y="111"/>
                  </a:lnTo>
                  <a:lnTo>
                    <a:pt x="334" y="59"/>
                  </a:lnTo>
                  <a:lnTo>
                    <a:pt x="234" y="119"/>
                  </a:lnTo>
                  <a:lnTo>
                    <a:pt x="106" y="59"/>
                  </a:lnTo>
                  <a:lnTo>
                    <a:pt x="91"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60" name="Freeform 161"/>
            <p:cNvSpPr>
              <a:spLocks noChangeAspect="1"/>
            </p:cNvSpPr>
            <p:nvPr/>
          </p:nvSpPr>
          <p:spPr bwMode="gray">
            <a:xfrm>
              <a:off x="2646811" y="2312106"/>
              <a:ext cx="58681" cy="100967"/>
            </a:xfrm>
            <a:custGeom>
              <a:avLst/>
              <a:gdLst>
                <a:gd name="T0" fmla="*/ 69 w 69"/>
                <a:gd name="T1" fmla="*/ 0 h 109"/>
                <a:gd name="T2" fmla="*/ 25 w 69"/>
                <a:gd name="T3" fmla="*/ 17 h 109"/>
                <a:gd name="T4" fmla="*/ 0 w 69"/>
                <a:gd name="T5" fmla="*/ 42 h 109"/>
                <a:gd name="T6" fmla="*/ 47 w 69"/>
                <a:gd name="T7" fmla="*/ 109 h 109"/>
                <a:gd name="T8" fmla="*/ 61 w 69"/>
                <a:gd name="T9" fmla="*/ 68 h 109"/>
                <a:gd name="T10" fmla="*/ 38 w 69"/>
                <a:gd name="T11" fmla="*/ 50 h 109"/>
                <a:gd name="T12" fmla="*/ 52 w 69"/>
                <a:gd name="T13" fmla="*/ 32 h 109"/>
                <a:gd name="T14" fmla="*/ 69 w 69"/>
                <a:gd name="T15" fmla="*/ 0 h 109"/>
                <a:gd name="T16" fmla="*/ 69 w 69"/>
                <a:gd name="T17" fmla="*/ 0 h 1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
                <a:gd name="T28" fmla="*/ 0 h 109"/>
                <a:gd name="T29" fmla="*/ 69 w 69"/>
                <a:gd name="T30" fmla="*/ 109 h 1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 h="109">
                  <a:moveTo>
                    <a:pt x="69" y="0"/>
                  </a:moveTo>
                  <a:lnTo>
                    <a:pt x="25" y="17"/>
                  </a:lnTo>
                  <a:lnTo>
                    <a:pt x="0" y="42"/>
                  </a:lnTo>
                  <a:lnTo>
                    <a:pt x="47" y="109"/>
                  </a:lnTo>
                  <a:lnTo>
                    <a:pt x="61" y="68"/>
                  </a:lnTo>
                  <a:lnTo>
                    <a:pt x="38" y="50"/>
                  </a:lnTo>
                  <a:lnTo>
                    <a:pt x="52" y="32"/>
                  </a:lnTo>
                  <a:lnTo>
                    <a:pt x="69"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61" name="Freeform 162"/>
            <p:cNvSpPr>
              <a:spLocks noChangeAspect="1"/>
            </p:cNvSpPr>
            <p:nvPr/>
          </p:nvSpPr>
          <p:spPr bwMode="gray">
            <a:xfrm>
              <a:off x="2691685" y="2284060"/>
              <a:ext cx="86295" cy="84139"/>
            </a:xfrm>
            <a:custGeom>
              <a:avLst/>
              <a:gdLst>
                <a:gd name="T0" fmla="*/ 91 w 100"/>
                <a:gd name="T1" fmla="*/ 0 h 90"/>
                <a:gd name="T2" fmla="*/ 17 w 100"/>
                <a:gd name="T3" fmla="*/ 27 h 90"/>
                <a:gd name="T4" fmla="*/ 0 w 100"/>
                <a:gd name="T5" fmla="*/ 61 h 90"/>
                <a:gd name="T6" fmla="*/ 100 w 100"/>
                <a:gd name="T7" fmla="*/ 90 h 90"/>
                <a:gd name="T8" fmla="*/ 91 w 100"/>
                <a:gd name="T9" fmla="*/ 0 h 90"/>
                <a:gd name="T10" fmla="*/ 91 w 100"/>
                <a:gd name="T11" fmla="*/ 0 h 90"/>
                <a:gd name="T12" fmla="*/ 0 60000 65536"/>
                <a:gd name="T13" fmla="*/ 0 60000 65536"/>
                <a:gd name="T14" fmla="*/ 0 60000 65536"/>
                <a:gd name="T15" fmla="*/ 0 60000 65536"/>
                <a:gd name="T16" fmla="*/ 0 60000 65536"/>
                <a:gd name="T17" fmla="*/ 0 60000 65536"/>
                <a:gd name="T18" fmla="*/ 0 w 100"/>
                <a:gd name="T19" fmla="*/ 0 h 90"/>
                <a:gd name="T20" fmla="*/ 100 w 100"/>
                <a:gd name="T21" fmla="*/ 90 h 90"/>
              </a:gdLst>
              <a:ahLst/>
              <a:cxnLst>
                <a:cxn ang="T12">
                  <a:pos x="T0" y="T1"/>
                </a:cxn>
                <a:cxn ang="T13">
                  <a:pos x="T2" y="T3"/>
                </a:cxn>
                <a:cxn ang="T14">
                  <a:pos x="T4" y="T5"/>
                </a:cxn>
                <a:cxn ang="T15">
                  <a:pos x="T6" y="T7"/>
                </a:cxn>
                <a:cxn ang="T16">
                  <a:pos x="T8" y="T9"/>
                </a:cxn>
                <a:cxn ang="T17">
                  <a:pos x="T10" y="T11"/>
                </a:cxn>
              </a:cxnLst>
              <a:rect l="T18" t="T19" r="T20" b="T21"/>
              <a:pathLst>
                <a:path w="100" h="90">
                  <a:moveTo>
                    <a:pt x="91" y="0"/>
                  </a:moveTo>
                  <a:lnTo>
                    <a:pt x="17" y="27"/>
                  </a:lnTo>
                  <a:lnTo>
                    <a:pt x="0" y="61"/>
                  </a:lnTo>
                  <a:lnTo>
                    <a:pt x="100" y="90"/>
                  </a:lnTo>
                  <a:lnTo>
                    <a:pt x="91"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62" name="Freeform 163"/>
            <p:cNvSpPr>
              <a:spLocks noChangeAspect="1"/>
            </p:cNvSpPr>
            <p:nvPr/>
          </p:nvSpPr>
          <p:spPr bwMode="gray">
            <a:xfrm>
              <a:off x="2679604" y="2342023"/>
              <a:ext cx="62133" cy="31786"/>
            </a:xfrm>
            <a:custGeom>
              <a:avLst/>
              <a:gdLst>
                <a:gd name="T0" fmla="*/ 14 w 72"/>
                <a:gd name="T1" fmla="*/ 0 h 36"/>
                <a:gd name="T2" fmla="*/ 0 w 72"/>
                <a:gd name="T3" fmla="*/ 18 h 36"/>
                <a:gd name="T4" fmla="*/ 23 w 72"/>
                <a:gd name="T5" fmla="*/ 36 h 36"/>
                <a:gd name="T6" fmla="*/ 72 w 72"/>
                <a:gd name="T7" fmla="*/ 18 h 36"/>
                <a:gd name="T8" fmla="*/ 14 w 72"/>
                <a:gd name="T9" fmla="*/ 0 h 36"/>
                <a:gd name="T10" fmla="*/ 14 w 72"/>
                <a:gd name="T11" fmla="*/ 0 h 36"/>
                <a:gd name="T12" fmla="*/ 0 60000 65536"/>
                <a:gd name="T13" fmla="*/ 0 60000 65536"/>
                <a:gd name="T14" fmla="*/ 0 60000 65536"/>
                <a:gd name="T15" fmla="*/ 0 60000 65536"/>
                <a:gd name="T16" fmla="*/ 0 60000 65536"/>
                <a:gd name="T17" fmla="*/ 0 60000 65536"/>
                <a:gd name="T18" fmla="*/ 0 w 72"/>
                <a:gd name="T19" fmla="*/ 0 h 36"/>
                <a:gd name="T20" fmla="*/ 72 w 72"/>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72" h="36">
                  <a:moveTo>
                    <a:pt x="14" y="0"/>
                  </a:moveTo>
                  <a:lnTo>
                    <a:pt x="0" y="18"/>
                  </a:lnTo>
                  <a:lnTo>
                    <a:pt x="23" y="36"/>
                  </a:lnTo>
                  <a:lnTo>
                    <a:pt x="72" y="18"/>
                  </a:lnTo>
                  <a:lnTo>
                    <a:pt x="14" y="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63" name="Freeform 164"/>
            <p:cNvSpPr>
              <a:spLocks noChangeAspect="1"/>
            </p:cNvSpPr>
            <p:nvPr/>
          </p:nvSpPr>
          <p:spPr bwMode="gray">
            <a:xfrm>
              <a:off x="2686507" y="2355111"/>
              <a:ext cx="93199" cy="63572"/>
            </a:xfrm>
            <a:custGeom>
              <a:avLst/>
              <a:gdLst>
                <a:gd name="T0" fmla="*/ 107 w 107"/>
                <a:gd name="T1" fmla="*/ 14 h 68"/>
                <a:gd name="T2" fmla="*/ 63 w 107"/>
                <a:gd name="T3" fmla="*/ 0 h 68"/>
                <a:gd name="T4" fmla="*/ 14 w 107"/>
                <a:gd name="T5" fmla="*/ 21 h 68"/>
                <a:gd name="T6" fmla="*/ 0 w 107"/>
                <a:gd name="T7" fmla="*/ 62 h 68"/>
                <a:gd name="T8" fmla="*/ 107 w 107"/>
                <a:gd name="T9" fmla="*/ 68 h 68"/>
                <a:gd name="T10" fmla="*/ 107 w 107"/>
                <a:gd name="T11" fmla="*/ 14 h 68"/>
                <a:gd name="T12" fmla="*/ 107 w 107"/>
                <a:gd name="T13" fmla="*/ 14 h 68"/>
                <a:gd name="T14" fmla="*/ 0 60000 65536"/>
                <a:gd name="T15" fmla="*/ 0 60000 65536"/>
                <a:gd name="T16" fmla="*/ 0 60000 65536"/>
                <a:gd name="T17" fmla="*/ 0 60000 65536"/>
                <a:gd name="T18" fmla="*/ 0 60000 65536"/>
                <a:gd name="T19" fmla="*/ 0 60000 65536"/>
                <a:gd name="T20" fmla="*/ 0 60000 65536"/>
                <a:gd name="T21" fmla="*/ 0 w 107"/>
                <a:gd name="T22" fmla="*/ 0 h 68"/>
                <a:gd name="T23" fmla="*/ 107 w 107"/>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7" h="68">
                  <a:moveTo>
                    <a:pt x="107" y="14"/>
                  </a:moveTo>
                  <a:lnTo>
                    <a:pt x="63" y="0"/>
                  </a:lnTo>
                  <a:lnTo>
                    <a:pt x="14" y="21"/>
                  </a:lnTo>
                  <a:lnTo>
                    <a:pt x="0" y="62"/>
                  </a:lnTo>
                  <a:lnTo>
                    <a:pt x="107" y="68"/>
                  </a:lnTo>
                  <a:lnTo>
                    <a:pt x="107" y="14"/>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64" name="Freeform 165"/>
            <p:cNvSpPr>
              <a:spLocks noChangeAspect="1"/>
            </p:cNvSpPr>
            <p:nvPr/>
          </p:nvSpPr>
          <p:spPr bwMode="gray">
            <a:xfrm>
              <a:off x="4343377" y="4991476"/>
              <a:ext cx="220916" cy="581496"/>
            </a:xfrm>
            <a:custGeom>
              <a:avLst/>
              <a:gdLst>
                <a:gd name="T0" fmla="*/ 205 w 257"/>
                <a:gd name="T1" fmla="*/ 492 h 622"/>
                <a:gd name="T2" fmla="*/ 202 w 257"/>
                <a:gd name="T3" fmla="*/ 533 h 622"/>
                <a:gd name="T4" fmla="*/ 197 w 257"/>
                <a:gd name="T5" fmla="*/ 594 h 622"/>
                <a:gd name="T6" fmla="*/ 184 w 257"/>
                <a:gd name="T7" fmla="*/ 605 h 622"/>
                <a:gd name="T8" fmla="*/ 164 w 257"/>
                <a:gd name="T9" fmla="*/ 622 h 622"/>
                <a:gd name="T10" fmla="*/ 154 w 257"/>
                <a:gd name="T11" fmla="*/ 602 h 622"/>
                <a:gd name="T12" fmla="*/ 150 w 257"/>
                <a:gd name="T13" fmla="*/ 590 h 622"/>
                <a:gd name="T14" fmla="*/ 142 w 257"/>
                <a:gd name="T15" fmla="*/ 583 h 622"/>
                <a:gd name="T16" fmla="*/ 124 w 257"/>
                <a:gd name="T17" fmla="*/ 568 h 622"/>
                <a:gd name="T18" fmla="*/ 104 w 257"/>
                <a:gd name="T19" fmla="*/ 551 h 622"/>
                <a:gd name="T20" fmla="*/ 91 w 257"/>
                <a:gd name="T21" fmla="*/ 539 h 622"/>
                <a:gd name="T22" fmla="*/ 79 w 257"/>
                <a:gd name="T23" fmla="*/ 501 h 622"/>
                <a:gd name="T24" fmla="*/ 60 w 257"/>
                <a:gd name="T25" fmla="*/ 431 h 622"/>
                <a:gd name="T26" fmla="*/ 40 w 257"/>
                <a:gd name="T27" fmla="*/ 363 h 622"/>
                <a:gd name="T28" fmla="*/ 31 w 257"/>
                <a:gd name="T29" fmla="*/ 333 h 622"/>
                <a:gd name="T30" fmla="*/ 20 w 257"/>
                <a:gd name="T31" fmla="*/ 321 h 622"/>
                <a:gd name="T32" fmla="*/ 0 w 257"/>
                <a:gd name="T33" fmla="*/ 302 h 622"/>
                <a:gd name="T34" fmla="*/ 3 w 257"/>
                <a:gd name="T35" fmla="*/ 243 h 622"/>
                <a:gd name="T36" fmla="*/ 7 w 257"/>
                <a:gd name="T37" fmla="*/ 186 h 622"/>
                <a:gd name="T38" fmla="*/ 29 w 257"/>
                <a:gd name="T39" fmla="*/ 165 h 622"/>
                <a:gd name="T40" fmla="*/ 65 w 257"/>
                <a:gd name="T41" fmla="*/ 133 h 622"/>
                <a:gd name="T42" fmla="*/ 97 w 257"/>
                <a:gd name="T43" fmla="*/ 103 h 622"/>
                <a:gd name="T44" fmla="*/ 112 w 257"/>
                <a:gd name="T45" fmla="*/ 89 h 622"/>
                <a:gd name="T46" fmla="*/ 116 w 257"/>
                <a:gd name="T47" fmla="*/ 84 h 622"/>
                <a:gd name="T48" fmla="*/ 126 w 257"/>
                <a:gd name="T49" fmla="*/ 67 h 622"/>
                <a:gd name="T50" fmla="*/ 138 w 257"/>
                <a:gd name="T51" fmla="*/ 39 h 622"/>
                <a:gd name="T52" fmla="*/ 152 w 257"/>
                <a:gd name="T53" fmla="*/ 12 h 622"/>
                <a:gd name="T54" fmla="*/ 167 w 257"/>
                <a:gd name="T55" fmla="*/ 4 h 622"/>
                <a:gd name="T56" fmla="*/ 187 w 257"/>
                <a:gd name="T57" fmla="*/ 13 h 622"/>
                <a:gd name="T58" fmla="*/ 206 w 257"/>
                <a:gd name="T59" fmla="*/ 21 h 622"/>
                <a:gd name="T60" fmla="*/ 226 w 257"/>
                <a:gd name="T61" fmla="*/ 30 h 622"/>
                <a:gd name="T62" fmla="*/ 230 w 257"/>
                <a:gd name="T63" fmla="*/ 48 h 622"/>
                <a:gd name="T64" fmla="*/ 222 w 257"/>
                <a:gd name="T65" fmla="*/ 73 h 622"/>
                <a:gd name="T66" fmla="*/ 226 w 257"/>
                <a:gd name="T67" fmla="*/ 96 h 622"/>
                <a:gd name="T68" fmla="*/ 244 w 257"/>
                <a:gd name="T69" fmla="*/ 179 h 622"/>
                <a:gd name="T70" fmla="*/ 250 w 257"/>
                <a:gd name="T71" fmla="*/ 209 h 622"/>
                <a:gd name="T72" fmla="*/ 255 w 257"/>
                <a:gd name="T73" fmla="*/ 264 h 622"/>
                <a:gd name="T74" fmla="*/ 252 w 257"/>
                <a:gd name="T75" fmla="*/ 294 h 622"/>
                <a:gd name="T76" fmla="*/ 240 w 257"/>
                <a:gd name="T77" fmla="*/ 315 h 622"/>
                <a:gd name="T78" fmla="*/ 226 w 257"/>
                <a:gd name="T79" fmla="*/ 337 h 622"/>
                <a:gd name="T80" fmla="*/ 215 w 257"/>
                <a:gd name="T81" fmla="*/ 353 h 6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57"/>
                <a:gd name="T124" fmla="*/ 0 h 622"/>
                <a:gd name="T125" fmla="*/ 257 w 257"/>
                <a:gd name="T126" fmla="*/ 622 h 6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57" h="622">
                  <a:moveTo>
                    <a:pt x="214" y="355"/>
                  </a:moveTo>
                  <a:lnTo>
                    <a:pt x="205" y="492"/>
                  </a:lnTo>
                  <a:lnTo>
                    <a:pt x="204" y="504"/>
                  </a:lnTo>
                  <a:lnTo>
                    <a:pt x="202" y="533"/>
                  </a:lnTo>
                  <a:lnTo>
                    <a:pt x="199" y="566"/>
                  </a:lnTo>
                  <a:lnTo>
                    <a:pt x="197" y="594"/>
                  </a:lnTo>
                  <a:lnTo>
                    <a:pt x="191" y="598"/>
                  </a:lnTo>
                  <a:lnTo>
                    <a:pt x="184" y="605"/>
                  </a:lnTo>
                  <a:lnTo>
                    <a:pt x="175" y="613"/>
                  </a:lnTo>
                  <a:lnTo>
                    <a:pt x="164" y="622"/>
                  </a:lnTo>
                  <a:lnTo>
                    <a:pt x="159" y="612"/>
                  </a:lnTo>
                  <a:lnTo>
                    <a:pt x="154" y="602"/>
                  </a:lnTo>
                  <a:lnTo>
                    <a:pt x="151" y="594"/>
                  </a:lnTo>
                  <a:lnTo>
                    <a:pt x="150" y="590"/>
                  </a:lnTo>
                  <a:lnTo>
                    <a:pt x="147" y="588"/>
                  </a:lnTo>
                  <a:lnTo>
                    <a:pt x="142" y="583"/>
                  </a:lnTo>
                  <a:lnTo>
                    <a:pt x="134" y="576"/>
                  </a:lnTo>
                  <a:lnTo>
                    <a:pt x="124" y="568"/>
                  </a:lnTo>
                  <a:lnTo>
                    <a:pt x="114" y="559"/>
                  </a:lnTo>
                  <a:lnTo>
                    <a:pt x="104" y="551"/>
                  </a:lnTo>
                  <a:lnTo>
                    <a:pt x="96" y="544"/>
                  </a:lnTo>
                  <a:lnTo>
                    <a:pt x="91" y="539"/>
                  </a:lnTo>
                  <a:lnTo>
                    <a:pt x="88" y="527"/>
                  </a:lnTo>
                  <a:lnTo>
                    <a:pt x="79" y="501"/>
                  </a:lnTo>
                  <a:lnTo>
                    <a:pt x="70" y="468"/>
                  </a:lnTo>
                  <a:lnTo>
                    <a:pt x="60" y="431"/>
                  </a:lnTo>
                  <a:lnTo>
                    <a:pt x="48" y="394"/>
                  </a:lnTo>
                  <a:lnTo>
                    <a:pt x="40" y="363"/>
                  </a:lnTo>
                  <a:lnTo>
                    <a:pt x="33" y="341"/>
                  </a:lnTo>
                  <a:lnTo>
                    <a:pt x="31" y="333"/>
                  </a:lnTo>
                  <a:lnTo>
                    <a:pt x="28" y="330"/>
                  </a:lnTo>
                  <a:lnTo>
                    <a:pt x="20" y="321"/>
                  </a:lnTo>
                  <a:lnTo>
                    <a:pt x="9" y="311"/>
                  </a:lnTo>
                  <a:lnTo>
                    <a:pt x="0" y="302"/>
                  </a:lnTo>
                  <a:lnTo>
                    <a:pt x="1" y="279"/>
                  </a:lnTo>
                  <a:lnTo>
                    <a:pt x="3" y="243"/>
                  </a:lnTo>
                  <a:lnTo>
                    <a:pt x="6" y="209"/>
                  </a:lnTo>
                  <a:lnTo>
                    <a:pt x="7" y="186"/>
                  </a:lnTo>
                  <a:lnTo>
                    <a:pt x="15" y="178"/>
                  </a:lnTo>
                  <a:lnTo>
                    <a:pt x="29" y="165"/>
                  </a:lnTo>
                  <a:lnTo>
                    <a:pt x="46" y="150"/>
                  </a:lnTo>
                  <a:lnTo>
                    <a:pt x="65" y="133"/>
                  </a:lnTo>
                  <a:lnTo>
                    <a:pt x="82" y="117"/>
                  </a:lnTo>
                  <a:lnTo>
                    <a:pt x="97" y="103"/>
                  </a:lnTo>
                  <a:lnTo>
                    <a:pt x="108" y="92"/>
                  </a:lnTo>
                  <a:lnTo>
                    <a:pt x="112" y="89"/>
                  </a:lnTo>
                  <a:lnTo>
                    <a:pt x="115" y="87"/>
                  </a:lnTo>
                  <a:lnTo>
                    <a:pt x="116" y="84"/>
                  </a:lnTo>
                  <a:lnTo>
                    <a:pt x="120" y="78"/>
                  </a:lnTo>
                  <a:lnTo>
                    <a:pt x="126" y="67"/>
                  </a:lnTo>
                  <a:lnTo>
                    <a:pt x="131" y="53"/>
                  </a:lnTo>
                  <a:lnTo>
                    <a:pt x="138" y="39"/>
                  </a:lnTo>
                  <a:lnTo>
                    <a:pt x="145" y="26"/>
                  </a:lnTo>
                  <a:lnTo>
                    <a:pt x="152" y="12"/>
                  </a:lnTo>
                  <a:lnTo>
                    <a:pt x="158" y="0"/>
                  </a:lnTo>
                  <a:lnTo>
                    <a:pt x="167" y="4"/>
                  </a:lnTo>
                  <a:lnTo>
                    <a:pt x="177" y="8"/>
                  </a:lnTo>
                  <a:lnTo>
                    <a:pt x="187" y="13"/>
                  </a:lnTo>
                  <a:lnTo>
                    <a:pt x="197" y="16"/>
                  </a:lnTo>
                  <a:lnTo>
                    <a:pt x="206" y="21"/>
                  </a:lnTo>
                  <a:lnTo>
                    <a:pt x="217" y="26"/>
                  </a:lnTo>
                  <a:lnTo>
                    <a:pt x="226" y="30"/>
                  </a:lnTo>
                  <a:lnTo>
                    <a:pt x="234" y="34"/>
                  </a:lnTo>
                  <a:lnTo>
                    <a:pt x="230" y="48"/>
                  </a:lnTo>
                  <a:lnTo>
                    <a:pt x="226" y="63"/>
                  </a:lnTo>
                  <a:lnTo>
                    <a:pt x="222" y="73"/>
                  </a:lnTo>
                  <a:lnTo>
                    <a:pt x="221" y="78"/>
                  </a:lnTo>
                  <a:lnTo>
                    <a:pt x="226" y="96"/>
                  </a:lnTo>
                  <a:lnTo>
                    <a:pt x="235" y="137"/>
                  </a:lnTo>
                  <a:lnTo>
                    <a:pt x="244" y="179"/>
                  </a:lnTo>
                  <a:lnTo>
                    <a:pt x="249" y="197"/>
                  </a:lnTo>
                  <a:lnTo>
                    <a:pt x="250" y="209"/>
                  </a:lnTo>
                  <a:lnTo>
                    <a:pt x="252" y="235"/>
                  </a:lnTo>
                  <a:lnTo>
                    <a:pt x="255" y="264"/>
                  </a:lnTo>
                  <a:lnTo>
                    <a:pt x="257" y="288"/>
                  </a:lnTo>
                  <a:lnTo>
                    <a:pt x="252" y="294"/>
                  </a:lnTo>
                  <a:lnTo>
                    <a:pt x="247" y="303"/>
                  </a:lnTo>
                  <a:lnTo>
                    <a:pt x="240" y="315"/>
                  </a:lnTo>
                  <a:lnTo>
                    <a:pt x="233" y="326"/>
                  </a:lnTo>
                  <a:lnTo>
                    <a:pt x="226" y="337"/>
                  </a:lnTo>
                  <a:lnTo>
                    <a:pt x="220" y="346"/>
                  </a:lnTo>
                  <a:lnTo>
                    <a:pt x="215" y="353"/>
                  </a:lnTo>
                  <a:lnTo>
                    <a:pt x="214" y="355"/>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grpSp>
      <p:sp>
        <p:nvSpPr>
          <p:cNvPr id="168" name="Rectangle 3"/>
          <p:cNvSpPr>
            <a:spLocks noChangeArrowheads="1"/>
          </p:cNvSpPr>
          <p:nvPr/>
        </p:nvSpPr>
        <p:spPr bwMode="auto">
          <a:xfrm>
            <a:off x="5337545" y="1"/>
            <a:ext cx="2663456" cy="600164"/>
          </a:xfrm>
          <a:prstGeom prst="rect">
            <a:avLst/>
          </a:prstGeom>
          <a:solidFill>
            <a:schemeClr val="accent6"/>
          </a:solidFill>
          <a:ln w="6350" algn="ctr">
            <a:solidFill>
              <a:schemeClr val="bg1"/>
            </a:solidFill>
            <a:miter lim="800000"/>
            <a:headEnd/>
            <a:tailEnd/>
          </a:ln>
        </p:spPr>
        <p:txBody>
          <a:bodyPr wrap="square" tIns="68580" bIns="68580">
            <a:spAutoFit/>
          </a:bodyPr>
          <a:lstStyle/>
          <a:p>
            <a:pPr defTabSz="685800">
              <a:buClrTx/>
              <a:defRPr/>
            </a:pPr>
            <a:r>
              <a:rPr lang="en-US" altLang="ja-JP" sz="750" kern="1200" dirty="0">
                <a:solidFill>
                  <a:srgbClr val="313131"/>
                </a:solidFill>
                <a:ea typeface="ＭＳ Ｐゴシック" pitchFamily="50" charset="-128"/>
                <a:cs typeface="+mn-cs"/>
              </a:rPr>
              <a:t>Tip! Click once to select the entire map, and again to select one or more regions within it</a:t>
            </a:r>
            <a:br>
              <a:rPr lang="en-US" altLang="ja-JP" sz="750" kern="1200" dirty="0">
                <a:solidFill>
                  <a:srgbClr val="313131"/>
                </a:solidFill>
                <a:ea typeface="ＭＳ Ｐゴシック" pitchFamily="50" charset="-128"/>
                <a:cs typeface="+mn-cs"/>
              </a:rPr>
            </a:br>
            <a:r>
              <a:rPr lang="en-US" altLang="ja-JP" sz="750" kern="1200" dirty="0">
                <a:solidFill>
                  <a:srgbClr val="313131"/>
                </a:solidFill>
                <a:ea typeface="ＭＳ Ｐゴシック" pitchFamily="50" charset="-128"/>
                <a:cs typeface="+mn-cs"/>
              </a:rPr>
              <a:t>Country/regional maps are a representative sample – more will be added</a:t>
            </a:r>
            <a:endParaRPr lang="en-US" sz="750" kern="1200" dirty="0">
              <a:solidFill>
                <a:srgbClr val="313131"/>
              </a:solidFill>
              <a:ea typeface="ＭＳ Ｐゴシック" pitchFamily="50" charset="-128"/>
              <a:cs typeface="+mn-cs"/>
            </a:endParaRPr>
          </a:p>
        </p:txBody>
      </p:sp>
      <p:sp>
        <p:nvSpPr>
          <p:cNvPr id="170" name="Text Placeholder 3"/>
          <p:cNvSpPr txBox="1">
            <a:spLocks/>
          </p:cNvSpPr>
          <p:nvPr/>
        </p:nvSpPr>
        <p:spPr>
          <a:xfrm>
            <a:off x="5482835" y="1358100"/>
            <a:ext cx="2227437" cy="34020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5979" indent="-205979" defTabSz="685800">
              <a:spcBef>
                <a:spcPts val="900"/>
              </a:spcBef>
              <a:buClrTx/>
              <a:defRPr/>
            </a:pPr>
            <a:r>
              <a:rPr lang="en-GB" sz="1350" dirty="0">
                <a:solidFill>
                  <a:srgbClr val="313131"/>
                </a:solidFill>
                <a:latin typeface="Arial"/>
              </a:rPr>
              <a:t>This is a level one bullet this is dummy text</a:t>
            </a:r>
          </a:p>
          <a:p>
            <a:pPr marL="205979" indent="-205979" defTabSz="685800">
              <a:spcBef>
                <a:spcPts val="900"/>
              </a:spcBef>
              <a:buClrTx/>
              <a:defRPr/>
            </a:pPr>
            <a:r>
              <a:rPr lang="en-GB" sz="1350" dirty="0">
                <a:solidFill>
                  <a:srgbClr val="313131"/>
                </a:solidFill>
                <a:latin typeface="Arial"/>
              </a:rPr>
              <a:t>This is a level one bullet this is dummy text</a:t>
            </a:r>
          </a:p>
          <a:p>
            <a:pPr marL="205979" indent="-205979" defTabSz="685800">
              <a:spcBef>
                <a:spcPts val="900"/>
              </a:spcBef>
              <a:buClrTx/>
              <a:defRPr/>
            </a:pPr>
            <a:r>
              <a:rPr lang="en-GB" sz="1350" dirty="0">
                <a:solidFill>
                  <a:srgbClr val="313131"/>
                </a:solidFill>
                <a:latin typeface="Arial"/>
              </a:rPr>
              <a:t>This is a level one bullet this is dummy text</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205979" indent="-205979" defTabSz="685800">
              <a:spcBef>
                <a:spcPts val="900"/>
              </a:spcBef>
              <a:buClrTx/>
              <a:defRPr/>
            </a:pPr>
            <a:endParaRPr lang="en-GB" sz="1350" dirty="0">
              <a:solidFill>
                <a:srgbClr val="313131"/>
              </a:solidFill>
              <a:latin typeface="Arial"/>
            </a:endParaRPr>
          </a:p>
          <a:p>
            <a:pPr marL="205979" indent="-205979" defTabSz="685800">
              <a:spcBef>
                <a:spcPts val="900"/>
              </a:spcBef>
              <a:buClrTx/>
              <a:defRPr/>
            </a:pPr>
            <a:endParaRPr lang="en-GB" sz="1350" dirty="0">
              <a:solidFill>
                <a:srgbClr val="313131"/>
              </a:solidFill>
              <a:latin typeface="Arial"/>
            </a:endParaRPr>
          </a:p>
        </p:txBody>
      </p:sp>
      <p:sp>
        <p:nvSpPr>
          <p:cNvPr id="169" name="TextBox 168"/>
          <p:cNvSpPr txBox="1"/>
          <p:nvPr/>
        </p:nvSpPr>
        <p:spPr>
          <a:xfrm>
            <a:off x="5340096" y="733806"/>
            <a:ext cx="2663455" cy="1107996"/>
          </a:xfrm>
          <a:prstGeom prst="rect">
            <a:avLst/>
          </a:prstGeom>
          <a:solidFill>
            <a:srgbClr val="ED1B2F"/>
          </a:solidFill>
        </p:spPr>
        <p:txBody>
          <a:bodyPr wrap="square" lIns="68580" tIns="68580" rIns="68580" bIns="68580" rtlCol="0">
            <a:spAutoFit/>
          </a:bodyPr>
          <a:lstStyle/>
          <a:p>
            <a:pPr defTabSz="685800">
              <a:buClrTx/>
            </a:pPr>
            <a:r>
              <a:rPr lang="en-US" sz="1050" kern="1200" dirty="0">
                <a:solidFill>
                  <a:prstClr val="white"/>
                </a:solidFill>
                <a:ea typeface="+mn-ea"/>
                <a:cs typeface="+mn-cs"/>
              </a:rPr>
              <a:t>Maps are for directional purposes only and are not intended to be exact renditions of country borders. For specific information about country borders and maps, please contact the local member firm.</a:t>
            </a:r>
          </a:p>
        </p:txBody>
      </p:sp>
    </p:spTree>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2705" name="Title 1"/>
          <p:cNvSpPr>
            <a:spLocks noGrp="1"/>
          </p:cNvSpPr>
          <p:nvPr>
            <p:ph type="title"/>
          </p:nvPr>
        </p:nvSpPr>
        <p:spPr/>
        <p:txBody>
          <a:bodyPr/>
          <a:lstStyle/>
          <a:p>
            <a:r>
              <a:rPr lang="en-US" dirty="0">
                <a:solidFill>
                  <a:srgbClr val="81BC00"/>
                </a:solidFill>
              </a:rPr>
              <a:t>Maps  </a:t>
            </a:r>
            <a:br>
              <a:rPr lang="en-US" dirty="0">
                <a:solidFill>
                  <a:srgbClr val="81BC00"/>
                </a:solidFill>
              </a:rPr>
            </a:br>
            <a:r>
              <a:rPr lang="en-US" dirty="0">
                <a:solidFill>
                  <a:srgbClr val="575757"/>
                </a:solidFill>
              </a:rPr>
              <a:t>Australia</a:t>
            </a:r>
          </a:p>
        </p:txBody>
      </p:sp>
      <p:grpSp>
        <p:nvGrpSpPr>
          <p:cNvPr id="17" name="Group 13"/>
          <p:cNvGrpSpPr>
            <a:grpSpLocks noChangeAspect="1"/>
          </p:cNvGrpSpPr>
          <p:nvPr/>
        </p:nvGrpSpPr>
        <p:grpSpPr bwMode="gray">
          <a:xfrm>
            <a:off x="1525803" y="1268731"/>
            <a:ext cx="3449182" cy="3149927"/>
            <a:chOff x="1957" y="1084"/>
            <a:chExt cx="2281" cy="2122"/>
          </a:xfrm>
          <a:solidFill>
            <a:srgbClr val="00A1DE"/>
          </a:solidFill>
        </p:grpSpPr>
        <p:sp>
          <p:nvSpPr>
            <p:cNvPr id="18" name="Freeform 14"/>
            <p:cNvSpPr>
              <a:spLocks noChangeAspect="1"/>
            </p:cNvSpPr>
            <p:nvPr/>
          </p:nvSpPr>
          <p:spPr bwMode="gray">
            <a:xfrm>
              <a:off x="3675" y="3016"/>
              <a:ext cx="174" cy="190"/>
            </a:xfrm>
            <a:custGeom>
              <a:avLst/>
              <a:gdLst>
                <a:gd name="T0" fmla="*/ 3 w 349"/>
                <a:gd name="T1" fmla="*/ 0 h 380"/>
                <a:gd name="T2" fmla="*/ 94 w 349"/>
                <a:gd name="T3" fmla="*/ 21 h 380"/>
                <a:gd name="T4" fmla="*/ 164 w 349"/>
                <a:gd name="T5" fmla="*/ 65 h 380"/>
                <a:gd name="T6" fmla="*/ 185 w 349"/>
                <a:gd name="T7" fmla="*/ 61 h 380"/>
                <a:gd name="T8" fmla="*/ 240 w 349"/>
                <a:gd name="T9" fmla="*/ 85 h 380"/>
                <a:gd name="T10" fmla="*/ 246 w 349"/>
                <a:gd name="T11" fmla="*/ 42 h 380"/>
                <a:gd name="T12" fmla="*/ 310 w 349"/>
                <a:gd name="T13" fmla="*/ 9 h 380"/>
                <a:gd name="T14" fmla="*/ 349 w 349"/>
                <a:gd name="T15" fmla="*/ 46 h 380"/>
                <a:gd name="T16" fmla="*/ 322 w 349"/>
                <a:gd name="T17" fmla="*/ 237 h 380"/>
                <a:gd name="T18" fmla="*/ 298 w 349"/>
                <a:gd name="T19" fmla="*/ 204 h 380"/>
                <a:gd name="T20" fmla="*/ 287 w 349"/>
                <a:gd name="T21" fmla="*/ 327 h 380"/>
                <a:gd name="T22" fmla="*/ 263 w 349"/>
                <a:gd name="T23" fmla="*/ 327 h 380"/>
                <a:gd name="T24" fmla="*/ 229 w 349"/>
                <a:gd name="T25" fmla="*/ 275 h 380"/>
                <a:gd name="T26" fmla="*/ 229 w 349"/>
                <a:gd name="T27" fmla="*/ 327 h 380"/>
                <a:gd name="T28" fmla="*/ 155 w 349"/>
                <a:gd name="T29" fmla="*/ 380 h 380"/>
                <a:gd name="T30" fmla="*/ 73 w 349"/>
                <a:gd name="T31" fmla="*/ 330 h 380"/>
                <a:gd name="T32" fmla="*/ 32 w 349"/>
                <a:gd name="T33" fmla="*/ 190 h 380"/>
                <a:gd name="T34" fmla="*/ 71 w 349"/>
                <a:gd name="T35" fmla="*/ 194 h 380"/>
                <a:gd name="T36" fmla="*/ 0 w 349"/>
                <a:gd name="T37" fmla="*/ 123 h 380"/>
                <a:gd name="T38" fmla="*/ 3 w 349"/>
                <a:gd name="T39" fmla="*/ 0 h 380"/>
                <a:gd name="T40" fmla="*/ 3 w 349"/>
                <a:gd name="T41" fmla="*/ 0 h 38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49"/>
                <a:gd name="T64" fmla="*/ 0 h 380"/>
                <a:gd name="T65" fmla="*/ 349 w 349"/>
                <a:gd name="T66" fmla="*/ 380 h 38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49" h="380">
                  <a:moveTo>
                    <a:pt x="3" y="0"/>
                  </a:moveTo>
                  <a:lnTo>
                    <a:pt x="94" y="21"/>
                  </a:lnTo>
                  <a:lnTo>
                    <a:pt x="164" y="65"/>
                  </a:lnTo>
                  <a:lnTo>
                    <a:pt x="185" y="61"/>
                  </a:lnTo>
                  <a:lnTo>
                    <a:pt x="240" y="85"/>
                  </a:lnTo>
                  <a:lnTo>
                    <a:pt x="246" y="42"/>
                  </a:lnTo>
                  <a:lnTo>
                    <a:pt x="310" y="9"/>
                  </a:lnTo>
                  <a:lnTo>
                    <a:pt x="349" y="46"/>
                  </a:lnTo>
                  <a:lnTo>
                    <a:pt x="322" y="237"/>
                  </a:lnTo>
                  <a:lnTo>
                    <a:pt x="298" y="204"/>
                  </a:lnTo>
                  <a:lnTo>
                    <a:pt x="287" y="327"/>
                  </a:lnTo>
                  <a:lnTo>
                    <a:pt x="263" y="327"/>
                  </a:lnTo>
                  <a:lnTo>
                    <a:pt x="229" y="275"/>
                  </a:lnTo>
                  <a:lnTo>
                    <a:pt x="229" y="327"/>
                  </a:lnTo>
                  <a:lnTo>
                    <a:pt x="155" y="380"/>
                  </a:lnTo>
                  <a:lnTo>
                    <a:pt x="73" y="330"/>
                  </a:lnTo>
                  <a:lnTo>
                    <a:pt x="32" y="190"/>
                  </a:lnTo>
                  <a:lnTo>
                    <a:pt x="71" y="194"/>
                  </a:lnTo>
                  <a:lnTo>
                    <a:pt x="0" y="123"/>
                  </a:lnTo>
                  <a:lnTo>
                    <a:pt x="3"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9" name="Freeform 15"/>
            <p:cNvSpPr>
              <a:spLocks noChangeAspect="1"/>
            </p:cNvSpPr>
            <p:nvPr/>
          </p:nvSpPr>
          <p:spPr bwMode="gray">
            <a:xfrm>
              <a:off x="1957" y="1296"/>
              <a:ext cx="922" cy="1426"/>
            </a:xfrm>
            <a:custGeom>
              <a:avLst/>
              <a:gdLst>
                <a:gd name="T0" fmla="*/ 1754 w 1844"/>
                <a:gd name="T1" fmla="*/ 2335 h 2852"/>
                <a:gd name="T2" fmla="*/ 1330 w 1844"/>
                <a:gd name="T3" fmla="*/ 2465 h 2852"/>
                <a:gd name="T4" fmla="*/ 1260 w 1844"/>
                <a:gd name="T5" fmla="*/ 2629 h 2852"/>
                <a:gd name="T6" fmla="*/ 903 w 1844"/>
                <a:gd name="T7" fmla="*/ 2650 h 2852"/>
                <a:gd name="T8" fmla="*/ 722 w 1844"/>
                <a:gd name="T9" fmla="*/ 2852 h 2852"/>
                <a:gd name="T10" fmla="*/ 415 w 1844"/>
                <a:gd name="T11" fmla="*/ 2780 h 2852"/>
                <a:gd name="T12" fmla="*/ 386 w 1844"/>
                <a:gd name="T13" fmla="*/ 2687 h 2852"/>
                <a:gd name="T14" fmla="*/ 438 w 1844"/>
                <a:gd name="T15" fmla="*/ 2687 h 2852"/>
                <a:gd name="T16" fmla="*/ 415 w 1844"/>
                <a:gd name="T17" fmla="*/ 2445 h 2852"/>
                <a:gd name="T18" fmla="*/ 272 w 1844"/>
                <a:gd name="T19" fmla="*/ 2252 h 2852"/>
                <a:gd name="T20" fmla="*/ 128 w 1844"/>
                <a:gd name="T21" fmla="*/ 1900 h 2852"/>
                <a:gd name="T22" fmla="*/ 0 w 1844"/>
                <a:gd name="T23" fmla="*/ 1797 h 2852"/>
                <a:gd name="T24" fmla="*/ 0 w 1844"/>
                <a:gd name="T25" fmla="*/ 1770 h 2852"/>
                <a:gd name="T26" fmla="*/ 91 w 1844"/>
                <a:gd name="T27" fmla="*/ 1805 h 2852"/>
                <a:gd name="T28" fmla="*/ 29 w 1844"/>
                <a:gd name="T29" fmla="*/ 1707 h 2852"/>
                <a:gd name="T30" fmla="*/ 113 w 1844"/>
                <a:gd name="T31" fmla="*/ 1761 h 2852"/>
                <a:gd name="T32" fmla="*/ 6 w 1844"/>
                <a:gd name="T33" fmla="*/ 1549 h 2852"/>
                <a:gd name="T34" fmla="*/ 0 w 1844"/>
                <a:gd name="T35" fmla="*/ 1215 h 2852"/>
                <a:gd name="T36" fmla="*/ 73 w 1844"/>
                <a:gd name="T37" fmla="*/ 1253 h 2852"/>
                <a:gd name="T38" fmla="*/ 81 w 1844"/>
                <a:gd name="T39" fmla="*/ 1195 h 2852"/>
                <a:gd name="T40" fmla="*/ 335 w 1844"/>
                <a:gd name="T41" fmla="*/ 1000 h 2852"/>
                <a:gd name="T42" fmla="*/ 844 w 1844"/>
                <a:gd name="T43" fmla="*/ 744 h 2852"/>
                <a:gd name="T44" fmla="*/ 938 w 1844"/>
                <a:gd name="T45" fmla="*/ 602 h 2852"/>
                <a:gd name="T46" fmla="*/ 909 w 1844"/>
                <a:gd name="T47" fmla="*/ 529 h 2852"/>
                <a:gd name="T48" fmla="*/ 973 w 1844"/>
                <a:gd name="T49" fmla="*/ 373 h 2852"/>
                <a:gd name="T50" fmla="*/ 1076 w 1844"/>
                <a:gd name="T51" fmla="*/ 484 h 2852"/>
                <a:gd name="T52" fmla="*/ 1064 w 1844"/>
                <a:gd name="T53" fmla="*/ 315 h 2852"/>
                <a:gd name="T54" fmla="*/ 1173 w 1844"/>
                <a:gd name="T55" fmla="*/ 362 h 2852"/>
                <a:gd name="T56" fmla="*/ 1201 w 1844"/>
                <a:gd name="T57" fmla="*/ 362 h 2852"/>
                <a:gd name="T58" fmla="*/ 1181 w 1844"/>
                <a:gd name="T59" fmla="*/ 222 h 2852"/>
                <a:gd name="T60" fmla="*/ 1268 w 1844"/>
                <a:gd name="T61" fmla="*/ 186 h 2852"/>
                <a:gd name="T62" fmla="*/ 1239 w 1844"/>
                <a:gd name="T63" fmla="*/ 148 h 2852"/>
                <a:gd name="T64" fmla="*/ 1268 w 1844"/>
                <a:gd name="T65" fmla="*/ 76 h 2852"/>
                <a:gd name="T66" fmla="*/ 1353 w 1844"/>
                <a:gd name="T67" fmla="*/ 93 h 2852"/>
                <a:gd name="T68" fmla="*/ 1346 w 1844"/>
                <a:gd name="T69" fmla="*/ 29 h 2852"/>
                <a:gd name="T70" fmla="*/ 1439 w 1844"/>
                <a:gd name="T71" fmla="*/ 0 h 2852"/>
                <a:gd name="T72" fmla="*/ 1595 w 1844"/>
                <a:gd name="T73" fmla="*/ 76 h 2852"/>
                <a:gd name="T74" fmla="*/ 1633 w 1844"/>
                <a:gd name="T75" fmla="*/ 195 h 2852"/>
                <a:gd name="T76" fmla="*/ 1660 w 1844"/>
                <a:gd name="T77" fmla="*/ 131 h 2852"/>
                <a:gd name="T78" fmla="*/ 1718 w 1844"/>
                <a:gd name="T79" fmla="*/ 120 h 2852"/>
                <a:gd name="T80" fmla="*/ 1785 w 1844"/>
                <a:gd name="T81" fmla="*/ 1548 h 2852"/>
                <a:gd name="T82" fmla="*/ 1844 w 1844"/>
                <a:gd name="T83" fmla="*/ 2287 h 2852"/>
                <a:gd name="T84" fmla="*/ 1754 w 1844"/>
                <a:gd name="T85" fmla="*/ 2335 h 2852"/>
                <a:gd name="T86" fmla="*/ 1754 w 1844"/>
                <a:gd name="T87" fmla="*/ 2335 h 28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844"/>
                <a:gd name="T133" fmla="*/ 0 h 2852"/>
                <a:gd name="T134" fmla="*/ 1844 w 1844"/>
                <a:gd name="T135" fmla="*/ 2852 h 28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844" h="2852">
                  <a:moveTo>
                    <a:pt x="1754" y="2335"/>
                  </a:moveTo>
                  <a:lnTo>
                    <a:pt x="1330" y="2465"/>
                  </a:lnTo>
                  <a:lnTo>
                    <a:pt x="1260" y="2629"/>
                  </a:lnTo>
                  <a:lnTo>
                    <a:pt x="903" y="2650"/>
                  </a:lnTo>
                  <a:lnTo>
                    <a:pt x="722" y="2852"/>
                  </a:lnTo>
                  <a:lnTo>
                    <a:pt x="415" y="2780"/>
                  </a:lnTo>
                  <a:lnTo>
                    <a:pt x="386" y="2687"/>
                  </a:lnTo>
                  <a:lnTo>
                    <a:pt x="438" y="2687"/>
                  </a:lnTo>
                  <a:lnTo>
                    <a:pt x="415" y="2445"/>
                  </a:lnTo>
                  <a:lnTo>
                    <a:pt x="272" y="2252"/>
                  </a:lnTo>
                  <a:lnTo>
                    <a:pt x="128" y="1900"/>
                  </a:lnTo>
                  <a:lnTo>
                    <a:pt x="0" y="1797"/>
                  </a:lnTo>
                  <a:lnTo>
                    <a:pt x="0" y="1770"/>
                  </a:lnTo>
                  <a:lnTo>
                    <a:pt x="91" y="1805"/>
                  </a:lnTo>
                  <a:lnTo>
                    <a:pt x="29" y="1707"/>
                  </a:lnTo>
                  <a:lnTo>
                    <a:pt x="113" y="1761"/>
                  </a:lnTo>
                  <a:lnTo>
                    <a:pt x="6" y="1549"/>
                  </a:lnTo>
                  <a:lnTo>
                    <a:pt x="0" y="1215"/>
                  </a:lnTo>
                  <a:lnTo>
                    <a:pt x="73" y="1253"/>
                  </a:lnTo>
                  <a:lnTo>
                    <a:pt x="81" y="1195"/>
                  </a:lnTo>
                  <a:lnTo>
                    <a:pt x="335" y="1000"/>
                  </a:lnTo>
                  <a:lnTo>
                    <a:pt x="844" y="744"/>
                  </a:lnTo>
                  <a:lnTo>
                    <a:pt x="938" y="602"/>
                  </a:lnTo>
                  <a:lnTo>
                    <a:pt x="909" y="529"/>
                  </a:lnTo>
                  <a:lnTo>
                    <a:pt x="973" y="373"/>
                  </a:lnTo>
                  <a:lnTo>
                    <a:pt x="1076" y="484"/>
                  </a:lnTo>
                  <a:lnTo>
                    <a:pt x="1064" y="315"/>
                  </a:lnTo>
                  <a:lnTo>
                    <a:pt x="1173" y="362"/>
                  </a:lnTo>
                  <a:lnTo>
                    <a:pt x="1201" y="362"/>
                  </a:lnTo>
                  <a:lnTo>
                    <a:pt x="1181" y="222"/>
                  </a:lnTo>
                  <a:lnTo>
                    <a:pt x="1268" y="186"/>
                  </a:lnTo>
                  <a:lnTo>
                    <a:pt x="1239" y="148"/>
                  </a:lnTo>
                  <a:lnTo>
                    <a:pt x="1268" y="76"/>
                  </a:lnTo>
                  <a:lnTo>
                    <a:pt x="1353" y="93"/>
                  </a:lnTo>
                  <a:lnTo>
                    <a:pt x="1346" y="29"/>
                  </a:lnTo>
                  <a:lnTo>
                    <a:pt x="1439" y="0"/>
                  </a:lnTo>
                  <a:lnTo>
                    <a:pt x="1595" y="76"/>
                  </a:lnTo>
                  <a:lnTo>
                    <a:pt x="1633" y="195"/>
                  </a:lnTo>
                  <a:lnTo>
                    <a:pt x="1660" y="131"/>
                  </a:lnTo>
                  <a:lnTo>
                    <a:pt x="1718" y="120"/>
                  </a:lnTo>
                  <a:lnTo>
                    <a:pt x="1785" y="1548"/>
                  </a:lnTo>
                  <a:lnTo>
                    <a:pt x="1844" y="2287"/>
                  </a:lnTo>
                  <a:lnTo>
                    <a:pt x="1754" y="2335"/>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0" name="Freeform 16"/>
            <p:cNvSpPr>
              <a:spLocks noChangeAspect="1"/>
            </p:cNvSpPr>
            <p:nvPr/>
          </p:nvSpPr>
          <p:spPr bwMode="gray">
            <a:xfrm>
              <a:off x="2814" y="1116"/>
              <a:ext cx="553" cy="954"/>
            </a:xfrm>
            <a:custGeom>
              <a:avLst/>
              <a:gdLst>
                <a:gd name="T0" fmla="*/ 340 w 1105"/>
                <a:gd name="T1" fmla="*/ 8 h 1907"/>
                <a:gd name="T2" fmla="*/ 370 w 1105"/>
                <a:gd name="T3" fmla="*/ 54 h 1907"/>
                <a:gd name="T4" fmla="*/ 435 w 1105"/>
                <a:gd name="T5" fmla="*/ 54 h 1907"/>
                <a:gd name="T6" fmla="*/ 435 w 1105"/>
                <a:gd name="T7" fmla="*/ 153 h 1907"/>
                <a:gd name="T8" fmla="*/ 398 w 1105"/>
                <a:gd name="T9" fmla="*/ 131 h 1907"/>
                <a:gd name="T10" fmla="*/ 249 w 1105"/>
                <a:gd name="T11" fmla="*/ 127 h 1907"/>
                <a:gd name="T12" fmla="*/ 207 w 1105"/>
                <a:gd name="T13" fmla="*/ 206 h 1907"/>
                <a:gd name="T14" fmla="*/ 155 w 1105"/>
                <a:gd name="T15" fmla="*/ 185 h 1907"/>
                <a:gd name="T16" fmla="*/ 59 w 1105"/>
                <a:gd name="T17" fmla="*/ 396 h 1907"/>
                <a:gd name="T18" fmla="*/ 126 w 1105"/>
                <a:gd name="T19" fmla="*/ 473 h 1907"/>
                <a:gd name="T20" fmla="*/ 100 w 1105"/>
                <a:gd name="T21" fmla="*/ 559 h 1907"/>
                <a:gd name="T22" fmla="*/ 64 w 1105"/>
                <a:gd name="T23" fmla="*/ 467 h 1907"/>
                <a:gd name="T24" fmla="*/ 0 w 1105"/>
                <a:gd name="T25" fmla="*/ 481 h 1907"/>
                <a:gd name="T26" fmla="*/ 70 w 1105"/>
                <a:gd name="T27" fmla="*/ 1907 h 1907"/>
                <a:gd name="T28" fmla="*/ 1099 w 1105"/>
                <a:gd name="T29" fmla="*/ 1907 h 1907"/>
                <a:gd name="T30" fmla="*/ 1105 w 1105"/>
                <a:gd name="T31" fmla="*/ 625 h 1907"/>
                <a:gd name="T32" fmla="*/ 862 w 1105"/>
                <a:gd name="T33" fmla="*/ 502 h 1907"/>
                <a:gd name="T34" fmla="*/ 810 w 1105"/>
                <a:gd name="T35" fmla="*/ 454 h 1907"/>
                <a:gd name="T36" fmla="*/ 876 w 1105"/>
                <a:gd name="T37" fmla="*/ 317 h 1907"/>
                <a:gd name="T38" fmla="*/ 850 w 1105"/>
                <a:gd name="T39" fmla="*/ 297 h 1907"/>
                <a:gd name="T40" fmla="*/ 876 w 1105"/>
                <a:gd name="T41" fmla="*/ 251 h 1907"/>
                <a:gd name="T42" fmla="*/ 923 w 1105"/>
                <a:gd name="T43" fmla="*/ 270 h 1907"/>
                <a:gd name="T44" fmla="*/ 999 w 1105"/>
                <a:gd name="T45" fmla="*/ 153 h 1907"/>
                <a:gd name="T46" fmla="*/ 912 w 1105"/>
                <a:gd name="T47" fmla="*/ 99 h 1907"/>
                <a:gd name="T48" fmla="*/ 865 w 1105"/>
                <a:gd name="T49" fmla="*/ 147 h 1907"/>
                <a:gd name="T50" fmla="*/ 850 w 1105"/>
                <a:gd name="T51" fmla="*/ 87 h 1907"/>
                <a:gd name="T52" fmla="*/ 762 w 1105"/>
                <a:gd name="T53" fmla="*/ 157 h 1907"/>
                <a:gd name="T54" fmla="*/ 700 w 1105"/>
                <a:gd name="T55" fmla="*/ 99 h 1907"/>
                <a:gd name="T56" fmla="*/ 648 w 1105"/>
                <a:gd name="T57" fmla="*/ 131 h 1907"/>
                <a:gd name="T58" fmla="*/ 633 w 1105"/>
                <a:gd name="T59" fmla="*/ 80 h 1907"/>
                <a:gd name="T60" fmla="*/ 547 w 1105"/>
                <a:gd name="T61" fmla="*/ 107 h 1907"/>
                <a:gd name="T62" fmla="*/ 553 w 1105"/>
                <a:gd name="T63" fmla="*/ 72 h 1907"/>
                <a:gd name="T64" fmla="*/ 553 w 1105"/>
                <a:gd name="T65" fmla="*/ 61 h 1907"/>
                <a:gd name="T66" fmla="*/ 507 w 1105"/>
                <a:gd name="T67" fmla="*/ 54 h 1907"/>
                <a:gd name="T68" fmla="*/ 430 w 1105"/>
                <a:gd name="T69" fmla="*/ 0 h 1907"/>
                <a:gd name="T70" fmla="*/ 340 w 1105"/>
                <a:gd name="T71" fmla="*/ 8 h 1907"/>
                <a:gd name="T72" fmla="*/ 340 w 1105"/>
                <a:gd name="T73" fmla="*/ 8 h 190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05"/>
                <a:gd name="T112" fmla="*/ 0 h 1907"/>
                <a:gd name="T113" fmla="*/ 1105 w 1105"/>
                <a:gd name="T114" fmla="*/ 1907 h 190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05" h="1907">
                  <a:moveTo>
                    <a:pt x="340" y="8"/>
                  </a:moveTo>
                  <a:lnTo>
                    <a:pt x="370" y="54"/>
                  </a:lnTo>
                  <a:lnTo>
                    <a:pt x="435" y="54"/>
                  </a:lnTo>
                  <a:lnTo>
                    <a:pt x="435" y="153"/>
                  </a:lnTo>
                  <a:lnTo>
                    <a:pt x="398" y="131"/>
                  </a:lnTo>
                  <a:lnTo>
                    <a:pt x="249" y="127"/>
                  </a:lnTo>
                  <a:lnTo>
                    <a:pt x="207" y="206"/>
                  </a:lnTo>
                  <a:lnTo>
                    <a:pt x="155" y="185"/>
                  </a:lnTo>
                  <a:lnTo>
                    <a:pt x="59" y="396"/>
                  </a:lnTo>
                  <a:lnTo>
                    <a:pt x="126" y="473"/>
                  </a:lnTo>
                  <a:lnTo>
                    <a:pt x="100" y="559"/>
                  </a:lnTo>
                  <a:lnTo>
                    <a:pt x="64" y="467"/>
                  </a:lnTo>
                  <a:lnTo>
                    <a:pt x="0" y="481"/>
                  </a:lnTo>
                  <a:lnTo>
                    <a:pt x="70" y="1907"/>
                  </a:lnTo>
                  <a:lnTo>
                    <a:pt x="1099" y="1907"/>
                  </a:lnTo>
                  <a:lnTo>
                    <a:pt x="1105" y="625"/>
                  </a:lnTo>
                  <a:lnTo>
                    <a:pt x="862" y="502"/>
                  </a:lnTo>
                  <a:lnTo>
                    <a:pt x="810" y="454"/>
                  </a:lnTo>
                  <a:lnTo>
                    <a:pt x="876" y="317"/>
                  </a:lnTo>
                  <a:lnTo>
                    <a:pt x="850" y="297"/>
                  </a:lnTo>
                  <a:lnTo>
                    <a:pt x="876" y="251"/>
                  </a:lnTo>
                  <a:lnTo>
                    <a:pt x="923" y="270"/>
                  </a:lnTo>
                  <a:lnTo>
                    <a:pt x="999" y="153"/>
                  </a:lnTo>
                  <a:lnTo>
                    <a:pt x="912" y="99"/>
                  </a:lnTo>
                  <a:lnTo>
                    <a:pt x="865" y="147"/>
                  </a:lnTo>
                  <a:lnTo>
                    <a:pt x="850" y="87"/>
                  </a:lnTo>
                  <a:lnTo>
                    <a:pt x="762" y="157"/>
                  </a:lnTo>
                  <a:lnTo>
                    <a:pt x="700" y="99"/>
                  </a:lnTo>
                  <a:lnTo>
                    <a:pt x="648" y="131"/>
                  </a:lnTo>
                  <a:lnTo>
                    <a:pt x="633" y="80"/>
                  </a:lnTo>
                  <a:lnTo>
                    <a:pt x="547" y="107"/>
                  </a:lnTo>
                  <a:lnTo>
                    <a:pt x="553" y="72"/>
                  </a:lnTo>
                  <a:lnTo>
                    <a:pt x="553" y="61"/>
                  </a:lnTo>
                  <a:lnTo>
                    <a:pt x="507" y="54"/>
                  </a:lnTo>
                  <a:lnTo>
                    <a:pt x="430" y="0"/>
                  </a:lnTo>
                  <a:lnTo>
                    <a:pt x="340" y="8"/>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1" name="Freeform 17"/>
            <p:cNvSpPr>
              <a:spLocks noChangeAspect="1"/>
            </p:cNvSpPr>
            <p:nvPr/>
          </p:nvSpPr>
          <p:spPr bwMode="gray">
            <a:xfrm>
              <a:off x="3364" y="1084"/>
              <a:ext cx="869" cy="1208"/>
            </a:xfrm>
            <a:custGeom>
              <a:avLst/>
              <a:gdLst>
                <a:gd name="T0" fmla="*/ 6 w 1739"/>
                <a:gd name="T1" fmla="*/ 690 h 2416"/>
                <a:gd name="T2" fmla="*/ 0 w 1739"/>
                <a:gd name="T3" fmla="*/ 1972 h 2416"/>
                <a:gd name="T4" fmla="*/ 323 w 1739"/>
                <a:gd name="T5" fmla="*/ 2011 h 2416"/>
                <a:gd name="T6" fmla="*/ 323 w 1739"/>
                <a:gd name="T7" fmla="*/ 2335 h 2416"/>
                <a:gd name="T8" fmla="*/ 1225 w 1739"/>
                <a:gd name="T9" fmla="*/ 2416 h 2416"/>
                <a:gd name="T10" fmla="*/ 1275 w 1739"/>
                <a:gd name="T11" fmla="*/ 2354 h 2416"/>
                <a:gd name="T12" fmla="*/ 1395 w 1739"/>
                <a:gd name="T13" fmla="*/ 2354 h 2416"/>
                <a:gd name="T14" fmla="*/ 1456 w 1739"/>
                <a:gd name="T15" fmla="*/ 2415 h 2416"/>
                <a:gd name="T16" fmla="*/ 1557 w 1739"/>
                <a:gd name="T17" fmla="*/ 2415 h 2416"/>
                <a:gd name="T18" fmla="*/ 1598 w 1739"/>
                <a:gd name="T19" fmla="*/ 2354 h 2416"/>
                <a:gd name="T20" fmla="*/ 1739 w 1739"/>
                <a:gd name="T21" fmla="*/ 2354 h 2416"/>
                <a:gd name="T22" fmla="*/ 1712 w 1739"/>
                <a:gd name="T23" fmla="*/ 2246 h 2416"/>
                <a:gd name="T24" fmla="*/ 1730 w 1739"/>
                <a:gd name="T25" fmla="*/ 2074 h 2416"/>
                <a:gd name="T26" fmla="*/ 1651 w 1739"/>
                <a:gd name="T27" fmla="*/ 1864 h 2416"/>
                <a:gd name="T28" fmla="*/ 1522 w 1739"/>
                <a:gd name="T29" fmla="*/ 1721 h 2416"/>
                <a:gd name="T30" fmla="*/ 1503 w 1739"/>
                <a:gd name="T31" fmla="*/ 1563 h 2416"/>
                <a:gd name="T32" fmla="*/ 1383 w 1739"/>
                <a:gd name="T33" fmla="*/ 1563 h 2416"/>
                <a:gd name="T34" fmla="*/ 1376 w 1739"/>
                <a:gd name="T35" fmla="*/ 1446 h 2416"/>
                <a:gd name="T36" fmla="*/ 1298 w 1739"/>
                <a:gd name="T37" fmla="*/ 1365 h 2416"/>
                <a:gd name="T38" fmla="*/ 1329 w 1739"/>
                <a:gd name="T39" fmla="*/ 1320 h 2416"/>
                <a:gd name="T40" fmla="*/ 1298 w 1739"/>
                <a:gd name="T41" fmla="*/ 1257 h 2416"/>
                <a:gd name="T42" fmla="*/ 1177 w 1739"/>
                <a:gd name="T43" fmla="*/ 1209 h 2416"/>
                <a:gd name="T44" fmla="*/ 1146 w 1739"/>
                <a:gd name="T45" fmla="*/ 1137 h 2416"/>
                <a:gd name="T46" fmla="*/ 1020 w 1739"/>
                <a:gd name="T47" fmla="*/ 1084 h 2416"/>
                <a:gd name="T48" fmla="*/ 990 w 1739"/>
                <a:gd name="T49" fmla="*/ 826 h 2416"/>
                <a:gd name="T50" fmla="*/ 929 w 1739"/>
                <a:gd name="T51" fmla="*/ 777 h 2416"/>
                <a:gd name="T52" fmla="*/ 935 w 1739"/>
                <a:gd name="T53" fmla="*/ 557 h 2416"/>
                <a:gd name="T54" fmla="*/ 833 w 1739"/>
                <a:gd name="T55" fmla="*/ 479 h 2416"/>
                <a:gd name="T56" fmla="*/ 794 w 1739"/>
                <a:gd name="T57" fmla="*/ 472 h 2416"/>
                <a:gd name="T58" fmla="*/ 771 w 1739"/>
                <a:gd name="T59" fmla="*/ 511 h 2416"/>
                <a:gd name="T60" fmla="*/ 742 w 1739"/>
                <a:gd name="T61" fmla="*/ 487 h 2416"/>
                <a:gd name="T62" fmla="*/ 710 w 1739"/>
                <a:gd name="T63" fmla="*/ 314 h 2416"/>
                <a:gd name="T64" fmla="*/ 710 w 1739"/>
                <a:gd name="T65" fmla="*/ 244 h 2416"/>
                <a:gd name="T66" fmla="*/ 667 w 1739"/>
                <a:gd name="T67" fmla="*/ 227 h 2416"/>
                <a:gd name="T68" fmla="*/ 667 w 1739"/>
                <a:gd name="T69" fmla="*/ 172 h 2416"/>
                <a:gd name="T70" fmla="*/ 642 w 1739"/>
                <a:gd name="T71" fmla="*/ 189 h 2416"/>
                <a:gd name="T72" fmla="*/ 601 w 1739"/>
                <a:gd name="T73" fmla="*/ 0 h 2416"/>
                <a:gd name="T74" fmla="*/ 473 w 1739"/>
                <a:gd name="T75" fmla="*/ 164 h 2416"/>
                <a:gd name="T76" fmla="*/ 467 w 1739"/>
                <a:gd name="T77" fmla="*/ 227 h 2416"/>
                <a:gd name="T78" fmla="*/ 515 w 1739"/>
                <a:gd name="T79" fmla="*/ 251 h 2416"/>
                <a:gd name="T80" fmla="*/ 511 w 1739"/>
                <a:gd name="T81" fmla="*/ 291 h 2416"/>
                <a:gd name="T82" fmla="*/ 479 w 1739"/>
                <a:gd name="T83" fmla="*/ 260 h 2416"/>
                <a:gd name="T84" fmla="*/ 456 w 1739"/>
                <a:gd name="T85" fmla="*/ 408 h 2416"/>
                <a:gd name="T86" fmla="*/ 473 w 1739"/>
                <a:gd name="T87" fmla="*/ 462 h 2416"/>
                <a:gd name="T88" fmla="*/ 432 w 1739"/>
                <a:gd name="T89" fmla="*/ 753 h 2416"/>
                <a:gd name="T90" fmla="*/ 371 w 1739"/>
                <a:gd name="T91" fmla="*/ 841 h 2416"/>
                <a:gd name="T92" fmla="*/ 291 w 1739"/>
                <a:gd name="T93" fmla="*/ 896 h 2416"/>
                <a:gd name="T94" fmla="*/ 177 w 1739"/>
                <a:gd name="T95" fmla="*/ 864 h 2416"/>
                <a:gd name="T96" fmla="*/ 146 w 1739"/>
                <a:gd name="T97" fmla="*/ 760 h 2416"/>
                <a:gd name="T98" fmla="*/ 49 w 1739"/>
                <a:gd name="T99" fmla="*/ 760 h 2416"/>
                <a:gd name="T100" fmla="*/ 6 w 1739"/>
                <a:gd name="T101" fmla="*/ 690 h 2416"/>
                <a:gd name="T102" fmla="*/ 6 w 1739"/>
                <a:gd name="T103" fmla="*/ 690 h 241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39"/>
                <a:gd name="T157" fmla="*/ 0 h 2416"/>
                <a:gd name="T158" fmla="*/ 1739 w 1739"/>
                <a:gd name="T159" fmla="*/ 2416 h 241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39" h="2416">
                  <a:moveTo>
                    <a:pt x="6" y="690"/>
                  </a:moveTo>
                  <a:lnTo>
                    <a:pt x="0" y="1972"/>
                  </a:lnTo>
                  <a:lnTo>
                    <a:pt x="323" y="2011"/>
                  </a:lnTo>
                  <a:lnTo>
                    <a:pt x="323" y="2335"/>
                  </a:lnTo>
                  <a:lnTo>
                    <a:pt x="1225" y="2416"/>
                  </a:lnTo>
                  <a:lnTo>
                    <a:pt x="1275" y="2354"/>
                  </a:lnTo>
                  <a:lnTo>
                    <a:pt x="1395" y="2354"/>
                  </a:lnTo>
                  <a:lnTo>
                    <a:pt x="1456" y="2415"/>
                  </a:lnTo>
                  <a:lnTo>
                    <a:pt x="1557" y="2415"/>
                  </a:lnTo>
                  <a:lnTo>
                    <a:pt x="1598" y="2354"/>
                  </a:lnTo>
                  <a:lnTo>
                    <a:pt x="1739" y="2354"/>
                  </a:lnTo>
                  <a:lnTo>
                    <a:pt x="1712" y="2246"/>
                  </a:lnTo>
                  <a:lnTo>
                    <a:pt x="1730" y="2074"/>
                  </a:lnTo>
                  <a:lnTo>
                    <a:pt x="1651" y="1864"/>
                  </a:lnTo>
                  <a:lnTo>
                    <a:pt x="1522" y="1721"/>
                  </a:lnTo>
                  <a:lnTo>
                    <a:pt x="1503" y="1563"/>
                  </a:lnTo>
                  <a:lnTo>
                    <a:pt x="1383" y="1563"/>
                  </a:lnTo>
                  <a:lnTo>
                    <a:pt x="1376" y="1446"/>
                  </a:lnTo>
                  <a:lnTo>
                    <a:pt x="1298" y="1365"/>
                  </a:lnTo>
                  <a:lnTo>
                    <a:pt x="1329" y="1320"/>
                  </a:lnTo>
                  <a:lnTo>
                    <a:pt x="1298" y="1257"/>
                  </a:lnTo>
                  <a:lnTo>
                    <a:pt x="1177" y="1209"/>
                  </a:lnTo>
                  <a:lnTo>
                    <a:pt x="1146" y="1137"/>
                  </a:lnTo>
                  <a:lnTo>
                    <a:pt x="1020" y="1084"/>
                  </a:lnTo>
                  <a:lnTo>
                    <a:pt x="990" y="826"/>
                  </a:lnTo>
                  <a:lnTo>
                    <a:pt x="929" y="777"/>
                  </a:lnTo>
                  <a:lnTo>
                    <a:pt x="935" y="557"/>
                  </a:lnTo>
                  <a:lnTo>
                    <a:pt x="833" y="479"/>
                  </a:lnTo>
                  <a:lnTo>
                    <a:pt x="794" y="472"/>
                  </a:lnTo>
                  <a:lnTo>
                    <a:pt x="771" y="511"/>
                  </a:lnTo>
                  <a:lnTo>
                    <a:pt x="742" y="487"/>
                  </a:lnTo>
                  <a:lnTo>
                    <a:pt x="710" y="314"/>
                  </a:lnTo>
                  <a:lnTo>
                    <a:pt x="710" y="244"/>
                  </a:lnTo>
                  <a:lnTo>
                    <a:pt x="667" y="227"/>
                  </a:lnTo>
                  <a:lnTo>
                    <a:pt x="667" y="172"/>
                  </a:lnTo>
                  <a:lnTo>
                    <a:pt x="642" y="189"/>
                  </a:lnTo>
                  <a:lnTo>
                    <a:pt x="601" y="0"/>
                  </a:lnTo>
                  <a:lnTo>
                    <a:pt x="473" y="164"/>
                  </a:lnTo>
                  <a:lnTo>
                    <a:pt x="467" y="227"/>
                  </a:lnTo>
                  <a:lnTo>
                    <a:pt x="515" y="251"/>
                  </a:lnTo>
                  <a:lnTo>
                    <a:pt x="511" y="291"/>
                  </a:lnTo>
                  <a:lnTo>
                    <a:pt x="479" y="260"/>
                  </a:lnTo>
                  <a:lnTo>
                    <a:pt x="456" y="408"/>
                  </a:lnTo>
                  <a:lnTo>
                    <a:pt x="473" y="462"/>
                  </a:lnTo>
                  <a:lnTo>
                    <a:pt x="432" y="753"/>
                  </a:lnTo>
                  <a:lnTo>
                    <a:pt x="371" y="841"/>
                  </a:lnTo>
                  <a:lnTo>
                    <a:pt x="291" y="896"/>
                  </a:lnTo>
                  <a:lnTo>
                    <a:pt x="177" y="864"/>
                  </a:lnTo>
                  <a:lnTo>
                    <a:pt x="146" y="760"/>
                  </a:lnTo>
                  <a:lnTo>
                    <a:pt x="49" y="760"/>
                  </a:lnTo>
                  <a:lnTo>
                    <a:pt x="6" y="69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2" name="Freeform 18"/>
            <p:cNvSpPr>
              <a:spLocks noChangeAspect="1"/>
            </p:cNvSpPr>
            <p:nvPr/>
          </p:nvSpPr>
          <p:spPr bwMode="gray">
            <a:xfrm>
              <a:off x="2850" y="2070"/>
              <a:ext cx="676" cy="769"/>
            </a:xfrm>
            <a:custGeom>
              <a:avLst/>
              <a:gdLst>
                <a:gd name="T0" fmla="*/ 0 w 1352"/>
                <a:gd name="T1" fmla="*/ 0 h 1538"/>
                <a:gd name="T2" fmla="*/ 59 w 1352"/>
                <a:gd name="T3" fmla="*/ 739 h 1538"/>
                <a:gd name="T4" fmla="*/ 343 w 1352"/>
                <a:gd name="T5" fmla="*/ 716 h 1538"/>
                <a:gd name="T6" fmla="*/ 398 w 1352"/>
                <a:gd name="T7" fmla="*/ 768 h 1538"/>
                <a:gd name="T8" fmla="*/ 517 w 1352"/>
                <a:gd name="T9" fmla="*/ 732 h 1538"/>
                <a:gd name="T10" fmla="*/ 584 w 1352"/>
                <a:gd name="T11" fmla="*/ 818 h 1538"/>
                <a:gd name="T12" fmla="*/ 625 w 1352"/>
                <a:gd name="T13" fmla="*/ 797 h 1538"/>
                <a:gd name="T14" fmla="*/ 789 w 1352"/>
                <a:gd name="T15" fmla="*/ 1113 h 1538"/>
                <a:gd name="T16" fmla="*/ 886 w 1352"/>
                <a:gd name="T17" fmla="*/ 994 h 1538"/>
                <a:gd name="T18" fmla="*/ 1002 w 1352"/>
                <a:gd name="T19" fmla="*/ 791 h 1538"/>
                <a:gd name="T20" fmla="*/ 1040 w 1352"/>
                <a:gd name="T21" fmla="*/ 882 h 1538"/>
                <a:gd name="T22" fmla="*/ 964 w 1352"/>
                <a:gd name="T23" fmla="*/ 1026 h 1538"/>
                <a:gd name="T24" fmla="*/ 964 w 1352"/>
                <a:gd name="T25" fmla="*/ 1113 h 1538"/>
                <a:gd name="T26" fmla="*/ 842 w 1352"/>
                <a:gd name="T27" fmla="*/ 1156 h 1538"/>
                <a:gd name="T28" fmla="*/ 1002 w 1352"/>
                <a:gd name="T29" fmla="*/ 1142 h 1538"/>
                <a:gd name="T30" fmla="*/ 1052 w 1352"/>
                <a:gd name="T31" fmla="*/ 1053 h 1538"/>
                <a:gd name="T32" fmla="*/ 1096 w 1352"/>
                <a:gd name="T33" fmla="*/ 1133 h 1538"/>
                <a:gd name="T34" fmla="*/ 1044 w 1352"/>
                <a:gd name="T35" fmla="*/ 1177 h 1538"/>
                <a:gd name="T36" fmla="*/ 1151 w 1352"/>
                <a:gd name="T37" fmla="*/ 1171 h 1538"/>
                <a:gd name="T38" fmla="*/ 1196 w 1352"/>
                <a:gd name="T39" fmla="*/ 1309 h 1538"/>
                <a:gd name="T40" fmla="*/ 1200 w 1352"/>
                <a:gd name="T41" fmla="*/ 1422 h 1538"/>
                <a:gd name="T42" fmla="*/ 1333 w 1352"/>
                <a:gd name="T43" fmla="*/ 1538 h 1538"/>
                <a:gd name="T44" fmla="*/ 1352 w 1352"/>
                <a:gd name="T45" fmla="*/ 1009 h 1538"/>
                <a:gd name="T46" fmla="*/ 1352 w 1352"/>
                <a:gd name="T47" fmla="*/ 363 h 1538"/>
                <a:gd name="T48" fmla="*/ 1352 w 1352"/>
                <a:gd name="T49" fmla="*/ 39 h 1538"/>
                <a:gd name="T50" fmla="*/ 1029 w 1352"/>
                <a:gd name="T51" fmla="*/ 0 h 1538"/>
                <a:gd name="T52" fmla="*/ 0 w 1352"/>
                <a:gd name="T53" fmla="*/ 0 h 1538"/>
                <a:gd name="T54" fmla="*/ 0 w 1352"/>
                <a:gd name="T55" fmla="*/ 0 h 153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52"/>
                <a:gd name="T85" fmla="*/ 0 h 1538"/>
                <a:gd name="T86" fmla="*/ 1352 w 1352"/>
                <a:gd name="T87" fmla="*/ 1538 h 153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52" h="1538">
                  <a:moveTo>
                    <a:pt x="0" y="0"/>
                  </a:moveTo>
                  <a:lnTo>
                    <a:pt x="59" y="739"/>
                  </a:lnTo>
                  <a:lnTo>
                    <a:pt x="343" y="716"/>
                  </a:lnTo>
                  <a:lnTo>
                    <a:pt x="398" y="768"/>
                  </a:lnTo>
                  <a:lnTo>
                    <a:pt x="517" y="732"/>
                  </a:lnTo>
                  <a:lnTo>
                    <a:pt x="584" y="818"/>
                  </a:lnTo>
                  <a:lnTo>
                    <a:pt x="625" y="797"/>
                  </a:lnTo>
                  <a:lnTo>
                    <a:pt x="789" y="1113"/>
                  </a:lnTo>
                  <a:lnTo>
                    <a:pt x="886" y="994"/>
                  </a:lnTo>
                  <a:lnTo>
                    <a:pt x="1002" y="791"/>
                  </a:lnTo>
                  <a:lnTo>
                    <a:pt x="1040" y="882"/>
                  </a:lnTo>
                  <a:lnTo>
                    <a:pt x="964" y="1026"/>
                  </a:lnTo>
                  <a:lnTo>
                    <a:pt x="964" y="1113"/>
                  </a:lnTo>
                  <a:lnTo>
                    <a:pt x="842" y="1156"/>
                  </a:lnTo>
                  <a:lnTo>
                    <a:pt x="1002" y="1142"/>
                  </a:lnTo>
                  <a:lnTo>
                    <a:pt x="1052" y="1053"/>
                  </a:lnTo>
                  <a:lnTo>
                    <a:pt x="1096" y="1133"/>
                  </a:lnTo>
                  <a:lnTo>
                    <a:pt x="1044" y="1177"/>
                  </a:lnTo>
                  <a:lnTo>
                    <a:pt x="1151" y="1171"/>
                  </a:lnTo>
                  <a:lnTo>
                    <a:pt x="1196" y="1309"/>
                  </a:lnTo>
                  <a:lnTo>
                    <a:pt x="1200" y="1422"/>
                  </a:lnTo>
                  <a:lnTo>
                    <a:pt x="1333" y="1538"/>
                  </a:lnTo>
                  <a:lnTo>
                    <a:pt x="1352" y="1009"/>
                  </a:lnTo>
                  <a:lnTo>
                    <a:pt x="1352" y="363"/>
                  </a:lnTo>
                  <a:lnTo>
                    <a:pt x="1352" y="39"/>
                  </a:lnTo>
                  <a:lnTo>
                    <a:pt x="1029" y="0"/>
                  </a:lnTo>
                  <a:lnTo>
                    <a:pt x="0"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3" name="Freeform 19"/>
            <p:cNvSpPr>
              <a:spLocks noChangeAspect="1"/>
            </p:cNvSpPr>
            <p:nvPr/>
          </p:nvSpPr>
          <p:spPr bwMode="gray">
            <a:xfrm>
              <a:off x="3526" y="2251"/>
              <a:ext cx="712" cy="577"/>
            </a:xfrm>
            <a:custGeom>
              <a:avLst/>
              <a:gdLst>
                <a:gd name="T0" fmla="*/ 0 w 1425"/>
                <a:gd name="T1" fmla="*/ 0 h 1154"/>
                <a:gd name="T2" fmla="*/ 902 w 1425"/>
                <a:gd name="T3" fmla="*/ 81 h 1154"/>
                <a:gd name="T4" fmla="*/ 952 w 1425"/>
                <a:gd name="T5" fmla="*/ 19 h 1154"/>
                <a:gd name="T6" fmla="*/ 1072 w 1425"/>
                <a:gd name="T7" fmla="*/ 19 h 1154"/>
                <a:gd name="T8" fmla="*/ 1133 w 1425"/>
                <a:gd name="T9" fmla="*/ 80 h 1154"/>
                <a:gd name="T10" fmla="*/ 1234 w 1425"/>
                <a:gd name="T11" fmla="*/ 80 h 1154"/>
                <a:gd name="T12" fmla="*/ 1275 w 1425"/>
                <a:gd name="T13" fmla="*/ 19 h 1154"/>
                <a:gd name="T14" fmla="*/ 1416 w 1425"/>
                <a:gd name="T15" fmla="*/ 19 h 1154"/>
                <a:gd name="T16" fmla="*/ 1425 w 1425"/>
                <a:gd name="T17" fmla="*/ 55 h 1154"/>
                <a:gd name="T18" fmla="*/ 1323 w 1425"/>
                <a:gd name="T19" fmla="*/ 414 h 1154"/>
                <a:gd name="T20" fmla="*/ 1226 w 1425"/>
                <a:gd name="T21" fmla="*/ 441 h 1154"/>
                <a:gd name="T22" fmla="*/ 1220 w 1425"/>
                <a:gd name="T23" fmla="*/ 511 h 1154"/>
                <a:gd name="T24" fmla="*/ 1212 w 1425"/>
                <a:gd name="T25" fmla="*/ 549 h 1154"/>
                <a:gd name="T26" fmla="*/ 1066 w 1425"/>
                <a:gd name="T27" fmla="*/ 771 h 1154"/>
                <a:gd name="T28" fmla="*/ 928 w 1425"/>
                <a:gd name="T29" fmla="*/ 890 h 1154"/>
                <a:gd name="T30" fmla="*/ 870 w 1425"/>
                <a:gd name="T31" fmla="*/ 1154 h 1154"/>
                <a:gd name="T32" fmla="*/ 709 w 1425"/>
                <a:gd name="T33" fmla="*/ 1072 h 1154"/>
                <a:gd name="T34" fmla="*/ 668 w 1425"/>
                <a:gd name="T35" fmla="*/ 951 h 1154"/>
                <a:gd name="T36" fmla="*/ 405 w 1425"/>
                <a:gd name="T37" fmla="*/ 890 h 1154"/>
                <a:gd name="T38" fmla="*/ 325 w 1425"/>
                <a:gd name="T39" fmla="*/ 911 h 1154"/>
                <a:gd name="T40" fmla="*/ 223 w 1425"/>
                <a:gd name="T41" fmla="*/ 809 h 1154"/>
                <a:gd name="T42" fmla="*/ 223 w 1425"/>
                <a:gd name="T43" fmla="*/ 728 h 1154"/>
                <a:gd name="T44" fmla="*/ 164 w 1425"/>
                <a:gd name="T45" fmla="*/ 750 h 1154"/>
                <a:gd name="T46" fmla="*/ 103 w 1425"/>
                <a:gd name="T47" fmla="*/ 646 h 1154"/>
                <a:gd name="T48" fmla="*/ 0 w 1425"/>
                <a:gd name="T49" fmla="*/ 646 h 1154"/>
                <a:gd name="T50" fmla="*/ 0 w 1425"/>
                <a:gd name="T51" fmla="*/ 0 h 1154"/>
                <a:gd name="T52" fmla="*/ 0 w 1425"/>
                <a:gd name="T53" fmla="*/ 0 h 115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425"/>
                <a:gd name="T82" fmla="*/ 0 h 1154"/>
                <a:gd name="T83" fmla="*/ 1425 w 1425"/>
                <a:gd name="T84" fmla="*/ 1154 h 115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425" h="1154">
                  <a:moveTo>
                    <a:pt x="0" y="0"/>
                  </a:moveTo>
                  <a:lnTo>
                    <a:pt x="902" y="81"/>
                  </a:lnTo>
                  <a:lnTo>
                    <a:pt x="952" y="19"/>
                  </a:lnTo>
                  <a:lnTo>
                    <a:pt x="1072" y="19"/>
                  </a:lnTo>
                  <a:lnTo>
                    <a:pt x="1133" y="80"/>
                  </a:lnTo>
                  <a:lnTo>
                    <a:pt x="1234" y="80"/>
                  </a:lnTo>
                  <a:lnTo>
                    <a:pt x="1275" y="19"/>
                  </a:lnTo>
                  <a:lnTo>
                    <a:pt x="1416" y="19"/>
                  </a:lnTo>
                  <a:lnTo>
                    <a:pt x="1425" y="55"/>
                  </a:lnTo>
                  <a:lnTo>
                    <a:pt x="1323" y="414"/>
                  </a:lnTo>
                  <a:lnTo>
                    <a:pt x="1226" y="441"/>
                  </a:lnTo>
                  <a:lnTo>
                    <a:pt x="1220" y="511"/>
                  </a:lnTo>
                  <a:lnTo>
                    <a:pt x="1212" y="549"/>
                  </a:lnTo>
                  <a:lnTo>
                    <a:pt x="1066" y="771"/>
                  </a:lnTo>
                  <a:lnTo>
                    <a:pt x="928" y="890"/>
                  </a:lnTo>
                  <a:lnTo>
                    <a:pt x="870" y="1154"/>
                  </a:lnTo>
                  <a:lnTo>
                    <a:pt x="709" y="1072"/>
                  </a:lnTo>
                  <a:lnTo>
                    <a:pt x="668" y="951"/>
                  </a:lnTo>
                  <a:lnTo>
                    <a:pt x="405" y="890"/>
                  </a:lnTo>
                  <a:lnTo>
                    <a:pt x="325" y="911"/>
                  </a:lnTo>
                  <a:lnTo>
                    <a:pt x="223" y="809"/>
                  </a:lnTo>
                  <a:lnTo>
                    <a:pt x="223" y="728"/>
                  </a:lnTo>
                  <a:lnTo>
                    <a:pt x="164" y="750"/>
                  </a:lnTo>
                  <a:lnTo>
                    <a:pt x="103" y="646"/>
                  </a:lnTo>
                  <a:lnTo>
                    <a:pt x="0" y="646"/>
                  </a:lnTo>
                  <a:lnTo>
                    <a:pt x="0"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4" name="Freeform 20"/>
            <p:cNvSpPr>
              <a:spLocks noChangeAspect="1"/>
            </p:cNvSpPr>
            <p:nvPr/>
          </p:nvSpPr>
          <p:spPr bwMode="gray">
            <a:xfrm>
              <a:off x="3516" y="2574"/>
              <a:ext cx="445" cy="332"/>
            </a:xfrm>
            <a:custGeom>
              <a:avLst/>
              <a:gdLst>
                <a:gd name="T0" fmla="*/ 19 w 889"/>
                <a:gd name="T1" fmla="*/ 0 h 663"/>
                <a:gd name="T2" fmla="*/ 0 w 889"/>
                <a:gd name="T3" fmla="*/ 529 h 663"/>
                <a:gd name="T4" fmla="*/ 19 w 889"/>
                <a:gd name="T5" fmla="*/ 548 h 663"/>
                <a:gd name="T6" fmla="*/ 72 w 889"/>
                <a:gd name="T7" fmla="*/ 537 h 663"/>
                <a:gd name="T8" fmla="*/ 224 w 889"/>
                <a:gd name="T9" fmla="*/ 622 h 663"/>
                <a:gd name="T10" fmla="*/ 374 w 889"/>
                <a:gd name="T11" fmla="*/ 504 h 663"/>
                <a:gd name="T12" fmla="*/ 371 w 889"/>
                <a:gd name="T13" fmla="*/ 587 h 663"/>
                <a:gd name="T14" fmla="*/ 523 w 889"/>
                <a:gd name="T15" fmla="*/ 663 h 663"/>
                <a:gd name="T16" fmla="*/ 514 w 889"/>
                <a:gd name="T17" fmla="*/ 587 h 663"/>
                <a:gd name="T18" fmla="*/ 684 w 889"/>
                <a:gd name="T19" fmla="*/ 517 h 663"/>
                <a:gd name="T20" fmla="*/ 889 w 889"/>
                <a:gd name="T21" fmla="*/ 508 h 663"/>
                <a:gd name="T22" fmla="*/ 728 w 889"/>
                <a:gd name="T23" fmla="*/ 426 h 663"/>
                <a:gd name="T24" fmla="*/ 687 w 889"/>
                <a:gd name="T25" fmla="*/ 305 h 663"/>
                <a:gd name="T26" fmla="*/ 424 w 889"/>
                <a:gd name="T27" fmla="*/ 244 h 663"/>
                <a:gd name="T28" fmla="*/ 344 w 889"/>
                <a:gd name="T29" fmla="*/ 265 h 663"/>
                <a:gd name="T30" fmla="*/ 242 w 889"/>
                <a:gd name="T31" fmla="*/ 163 h 663"/>
                <a:gd name="T32" fmla="*/ 242 w 889"/>
                <a:gd name="T33" fmla="*/ 82 h 663"/>
                <a:gd name="T34" fmla="*/ 183 w 889"/>
                <a:gd name="T35" fmla="*/ 104 h 663"/>
                <a:gd name="T36" fmla="*/ 122 w 889"/>
                <a:gd name="T37" fmla="*/ 0 h 663"/>
                <a:gd name="T38" fmla="*/ 19 w 889"/>
                <a:gd name="T39" fmla="*/ 0 h 663"/>
                <a:gd name="T40" fmla="*/ 19 w 889"/>
                <a:gd name="T41" fmla="*/ 0 h 66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89"/>
                <a:gd name="T64" fmla="*/ 0 h 663"/>
                <a:gd name="T65" fmla="*/ 889 w 889"/>
                <a:gd name="T66" fmla="*/ 663 h 66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89" h="663">
                  <a:moveTo>
                    <a:pt x="19" y="0"/>
                  </a:moveTo>
                  <a:lnTo>
                    <a:pt x="0" y="529"/>
                  </a:lnTo>
                  <a:lnTo>
                    <a:pt x="19" y="548"/>
                  </a:lnTo>
                  <a:lnTo>
                    <a:pt x="72" y="537"/>
                  </a:lnTo>
                  <a:lnTo>
                    <a:pt x="224" y="622"/>
                  </a:lnTo>
                  <a:lnTo>
                    <a:pt x="374" y="504"/>
                  </a:lnTo>
                  <a:lnTo>
                    <a:pt x="371" y="587"/>
                  </a:lnTo>
                  <a:lnTo>
                    <a:pt x="523" y="663"/>
                  </a:lnTo>
                  <a:lnTo>
                    <a:pt x="514" y="587"/>
                  </a:lnTo>
                  <a:lnTo>
                    <a:pt x="684" y="517"/>
                  </a:lnTo>
                  <a:lnTo>
                    <a:pt x="889" y="508"/>
                  </a:lnTo>
                  <a:lnTo>
                    <a:pt x="728" y="426"/>
                  </a:lnTo>
                  <a:lnTo>
                    <a:pt x="687" y="305"/>
                  </a:lnTo>
                  <a:lnTo>
                    <a:pt x="424" y="244"/>
                  </a:lnTo>
                  <a:lnTo>
                    <a:pt x="344" y="265"/>
                  </a:lnTo>
                  <a:lnTo>
                    <a:pt x="242" y="163"/>
                  </a:lnTo>
                  <a:lnTo>
                    <a:pt x="242" y="82"/>
                  </a:lnTo>
                  <a:lnTo>
                    <a:pt x="183" y="104"/>
                  </a:lnTo>
                  <a:lnTo>
                    <a:pt x="122" y="0"/>
                  </a:lnTo>
                  <a:lnTo>
                    <a:pt x="19"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grpSp>
      <p:sp>
        <p:nvSpPr>
          <p:cNvPr id="16" name="Rectangle 3"/>
          <p:cNvSpPr>
            <a:spLocks noChangeArrowheads="1"/>
          </p:cNvSpPr>
          <p:nvPr/>
        </p:nvSpPr>
        <p:spPr bwMode="auto">
          <a:xfrm>
            <a:off x="5337545" y="1"/>
            <a:ext cx="2663456" cy="600164"/>
          </a:xfrm>
          <a:prstGeom prst="rect">
            <a:avLst/>
          </a:prstGeom>
          <a:solidFill>
            <a:schemeClr val="accent6"/>
          </a:solidFill>
          <a:ln w="6350" algn="ctr">
            <a:solidFill>
              <a:schemeClr val="bg1"/>
            </a:solidFill>
            <a:miter lim="800000"/>
            <a:headEnd/>
            <a:tailEnd/>
          </a:ln>
        </p:spPr>
        <p:txBody>
          <a:bodyPr wrap="square" tIns="68580" bIns="68580">
            <a:spAutoFit/>
          </a:bodyPr>
          <a:lstStyle/>
          <a:p>
            <a:pPr defTabSz="685800">
              <a:buClrTx/>
              <a:defRPr/>
            </a:pPr>
            <a:r>
              <a:rPr lang="en-US" altLang="ja-JP" sz="750" kern="1200" dirty="0">
                <a:solidFill>
                  <a:srgbClr val="313131"/>
                </a:solidFill>
                <a:ea typeface="ＭＳ Ｐゴシック" pitchFamily="50" charset="-128"/>
                <a:cs typeface="+mn-cs"/>
              </a:rPr>
              <a:t>Tip! Click once to select the entire map, and again to select one or more states within it</a:t>
            </a:r>
            <a:br>
              <a:rPr lang="en-US" altLang="ja-JP" sz="750" kern="1200" dirty="0">
                <a:solidFill>
                  <a:srgbClr val="313131"/>
                </a:solidFill>
                <a:ea typeface="ＭＳ Ｐゴシック" pitchFamily="50" charset="-128"/>
                <a:cs typeface="+mn-cs"/>
              </a:rPr>
            </a:br>
            <a:r>
              <a:rPr lang="en-US" altLang="ja-JP" sz="750" kern="1200" dirty="0">
                <a:solidFill>
                  <a:srgbClr val="313131"/>
                </a:solidFill>
                <a:ea typeface="ＭＳ Ｐゴシック" pitchFamily="50" charset="-128"/>
                <a:cs typeface="+mn-cs"/>
              </a:rPr>
              <a:t>Country/regional maps are a representative sample – more will be added</a:t>
            </a:r>
            <a:endParaRPr lang="en-US" sz="750" kern="1200" dirty="0">
              <a:solidFill>
                <a:srgbClr val="313131"/>
              </a:solidFill>
              <a:ea typeface="ＭＳ Ｐゴシック" pitchFamily="50" charset="-128"/>
              <a:cs typeface="+mn-cs"/>
            </a:endParaRPr>
          </a:p>
        </p:txBody>
      </p:sp>
      <p:sp>
        <p:nvSpPr>
          <p:cNvPr id="27" name="Text Placeholder 3"/>
          <p:cNvSpPr txBox="1">
            <a:spLocks/>
          </p:cNvSpPr>
          <p:nvPr/>
        </p:nvSpPr>
        <p:spPr>
          <a:xfrm>
            <a:off x="5482835" y="1358100"/>
            <a:ext cx="2227437" cy="34020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5979" indent="-205979" defTabSz="685800">
              <a:spcBef>
                <a:spcPts val="900"/>
              </a:spcBef>
              <a:buClrTx/>
              <a:defRPr/>
            </a:pPr>
            <a:r>
              <a:rPr lang="en-GB" sz="1350" dirty="0">
                <a:solidFill>
                  <a:srgbClr val="313131"/>
                </a:solidFill>
                <a:latin typeface="Arial"/>
              </a:rPr>
              <a:t>This is a level one bullet this is dummy text</a:t>
            </a:r>
          </a:p>
          <a:p>
            <a:pPr marL="205979" indent="-205979" defTabSz="685800">
              <a:spcBef>
                <a:spcPts val="900"/>
              </a:spcBef>
              <a:buClrTx/>
              <a:defRPr/>
            </a:pPr>
            <a:r>
              <a:rPr lang="en-GB" sz="1350" dirty="0">
                <a:solidFill>
                  <a:srgbClr val="313131"/>
                </a:solidFill>
                <a:latin typeface="Arial"/>
              </a:rPr>
              <a:t>This is a level one bullet this is dummy text</a:t>
            </a:r>
          </a:p>
          <a:p>
            <a:pPr marL="205979" indent="-205979" defTabSz="685800">
              <a:spcBef>
                <a:spcPts val="900"/>
              </a:spcBef>
              <a:buClrTx/>
              <a:defRPr/>
            </a:pPr>
            <a:r>
              <a:rPr lang="en-GB" sz="1350" dirty="0">
                <a:solidFill>
                  <a:srgbClr val="313131"/>
                </a:solidFill>
                <a:latin typeface="Arial"/>
              </a:rPr>
              <a:t>This is a level one bullet this is dummy text</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205979" indent="-205979" defTabSz="685800">
              <a:spcBef>
                <a:spcPts val="900"/>
              </a:spcBef>
              <a:buClrTx/>
              <a:defRPr/>
            </a:pPr>
            <a:endParaRPr lang="en-GB" sz="1350" dirty="0">
              <a:solidFill>
                <a:srgbClr val="313131"/>
              </a:solidFill>
              <a:latin typeface="Arial"/>
            </a:endParaRPr>
          </a:p>
          <a:p>
            <a:pPr marL="205979" indent="-205979" defTabSz="685800">
              <a:spcBef>
                <a:spcPts val="900"/>
              </a:spcBef>
              <a:buClrTx/>
              <a:defRPr/>
            </a:pPr>
            <a:endParaRPr lang="en-GB" sz="1350" dirty="0">
              <a:solidFill>
                <a:srgbClr val="313131"/>
              </a:solidFill>
              <a:latin typeface="Arial"/>
            </a:endParaRPr>
          </a:p>
        </p:txBody>
      </p:sp>
      <p:sp>
        <p:nvSpPr>
          <p:cNvPr id="26" name="TextBox 25"/>
          <p:cNvSpPr txBox="1"/>
          <p:nvPr/>
        </p:nvSpPr>
        <p:spPr>
          <a:xfrm>
            <a:off x="5340096" y="733806"/>
            <a:ext cx="2663455" cy="1107996"/>
          </a:xfrm>
          <a:prstGeom prst="rect">
            <a:avLst/>
          </a:prstGeom>
          <a:solidFill>
            <a:srgbClr val="ED1B2F"/>
          </a:solidFill>
        </p:spPr>
        <p:txBody>
          <a:bodyPr wrap="square" lIns="68580" tIns="68580" rIns="68580" bIns="68580" rtlCol="0">
            <a:spAutoFit/>
          </a:bodyPr>
          <a:lstStyle/>
          <a:p>
            <a:pPr defTabSz="685800">
              <a:buClrTx/>
            </a:pPr>
            <a:r>
              <a:rPr lang="en-US" sz="1050" kern="1200" dirty="0">
                <a:solidFill>
                  <a:prstClr val="white"/>
                </a:solidFill>
                <a:ea typeface="+mn-ea"/>
                <a:cs typeface="+mn-cs"/>
              </a:rPr>
              <a:t>Maps are for directional purposes only and are not intended to be exact renditions of country borders. For specific information about country borders and maps, please contact the local member firm.</a:t>
            </a:r>
          </a:p>
        </p:txBody>
      </p:sp>
    </p:spTree>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3729" name="Title 1"/>
          <p:cNvSpPr>
            <a:spLocks noGrp="1"/>
          </p:cNvSpPr>
          <p:nvPr>
            <p:ph type="title"/>
          </p:nvPr>
        </p:nvSpPr>
        <p:spPr/>
        <p:txBody>
          <a:bodyPr/>
          <a:lstStyle/>
          <a:p>
            <a:r>
              <a:rPr lang="en-US" dirty="0"/>
              <a:t>Maps </a:t>
            </a:r>
            <a:br>
              <a:rPr lang="en-US" dirty="0"/>
            </a:br>
            <a:r>
              <a:rPr lang="en-US" dirty="0">
                <a:solidFill>
                  <a:srgbClr val="575757"/>
                </a:solidFill>
              </a:rPr>
              <a:t>Germany and Spain</a:t>
            </a:r>
          </a:p>
        </p:txBody>
      </p:sp>
      <p:sp>
        <p:nvSpPr>
          <p:cNvPr id="9" name="Freeform 7"/>
          <p:cNvSpPr>
            <a:spLocks noChangeAspect="1"/>
          </p:cNvSpPr>
          <p:nvPr/>
        </p:nvSpPr>
        <p:spPr bwMode="gray">
          <a:xfrm>
            <a:off x="4388644" y="1371600"/>
            <a:ext cx="3314700" cy="3024188"/>
          </a:xfrm>
          <a:custGeom>
            <a:avLst/>
            <a:gdLst>
              <a:gd name="T0" fmla="*/ 2084 w 2087"/>
              <a:gd name="T1" fmla="*/ 294 h 1758"/>
              <a:gd name="T2" fmla="*/ 2011 w 2087"/>
              <a:gd name="T3" fmla="*/ 256 h 1758"/>
              <a:gd name="T4" fmla="*/ 1921 w 2087"/>
              <a:gd name="T5" fmla="*/ 257 h 1758"/>
              <a:gd name="T6" fmla="*/ 1860 w 2087"/>
              <a:gd name="T7" fmla="*/ 256 h 1758"/>
              <a:gd name="T8" fmla="*/ 1775 w 2087"/>
              <a:gd name="T9" fmla="*/ 210 h 1758"/>
              <a:gd name="T10" fmla="*/ 1706 w 2087"/>
              <a:gd name="T11" fmla="*/ 189 h 1758"/>
              <a:gd name="T12" fmla="*/ 1622 w 2087"/>
              <a:gd name="T13" fmla="*/ 212 h 1758"/>
              <a:gd name="T14" fmla="*/ 1534 w 2087"/>
              <a:gd name="T15" fmla="*/ 207 h 1758"/>
              <a:gd name="T16" fmla="*/ 1418 w 2087"/>
              <a:gd name="T17" fmla="*/ 168 h 1758"/>
              <a:gd name="T18" fmla="*/ 1317 w 2087"/>
              <a:gd name="T19" fmla="*/ 138 h 1758"/>
              <a:gd name="T20" fmla="*/ 1253 w 2087"/>
              <a:gd name="T21" fmla="*/ 90 h 1758"/>
              <a:gd name="T22" fmla="*/ 1144 w 2087"/>
              <a:gd name="T23" fmla="*/ 103 h 1758"/>
              <a:gd name="T24" fmla="*/ 1031 w 2087"/>
              <a:gd name="T25" fmla="*/ 93 h 1758"/>
              <a:gd name="T26" fmla="*/ 948 w 2087"/>
              <a:gd name="T27" fmla="*/ 70 h 1758"/>
              <a:gd name="T28" fmla="*/ 881 w 2087"/>
              <a:gd name="T29" fmla="*/ 73 h 1758"/>
              <a:gd name="T30" fmla="*/ 695 w 2087"/>
              <a:gd name="T31" fmla="*/ 67 h 1758"/>
              <a:gd name="T32" fmla="*/ 580 w 2087"/>
              <a:gd name="T33" fmla="*/ 37 h 1758"/>
              <a:gd name="T34" fmla="*/ 461 w 2087"/>
              <a:gd name="T35" fmla="*/ 47 h 1758"/>
              <a:gd name="T36" fmla="*/ 326 w 2087"/>
              <a:gd name="T37" fmla="*/ 16 h 1758"/>
              <a:gd name="T38" fmla="*/ 253 w 2087"/>
              <a:gd name="T39" fmla="*/ 0 h 1758"/>
              <a:gd name="T40" fmla="*/ 195 w 2087"/>
              <a:gd name="T41" fmla="*/ 23 h 1758"/>
              <a:gd name="T42" fmla="*/ 159 w 2087"/>
              <a:gd name="T43" fmla="*/ 81 h 1758"/>
              <a:gd name="T44" fmla="*/ 15 w 2087"/>
              <a:gd name="T45" fmla="*/ 134 h 1758"/>
              <a:gd name="T46" fmla="*/ 34 w 2087"/>
              <a:gd name="T47" fmla="*/ 251 h 1758"/>
              <a:gd name="T48" fmla="*/ 76 w 2087"/>
              <a:gd name="T49" fmla="*/ 262 h 1758"/>
              <a:gd name="T50" fmla="*/ 67 w 2087"/>
              <a:gd name="T51" fmla="*/ 426 h 1758"/>
              <a:gd name="T52" fmla="*/ 157 w 2087"/>
              <a:gd name="T53" fmla="*/ 373 h 1758"/>
              <a:gd name="T54" fmla="*/ 201 w 2087"/>
              <a:gd name="T55" fmla="*/ 437 h 1758"/>
              <a:gd name="T56" fmla="*/ 321 w 2087"/>
              <a:gd name="T57" fmla="*/ 438 h 1758"/>
              <a:gd name="T58" fmla="*/ 466 w 2087"/>
              <a:gd name="T59" fmla="*/ 485 h 1758"/>
              <a:gd name="T60" fmla="*/ 438 w 2087"/>
              <a:gd name="T61" fmla="*/ 562 h 1758"/>
              <a:gd name="T62" fmla="*/ 384 w 2087"/>
              <a:gd name="T63" fmla="*/ 614 h 1758"/>
              <a:gd name="T64" fmla="*/ 361 w 2087"/>
              <a:gd name="T65" fmla="*/ 790 h 1758"/>
              <a:gd name="T66" fmla="*/ 362 w 2087"/>
              <a:gd name="T67" fmla="*/ 879 h 1758"/>
              <a:gd name="T68" fmla="*/ 286 w 2087"/>
              <a:gd name="T69" fmla="*/ 910 h 1758"/>
              <a:gd name="T70" fmla="*/ 301 w 2087"/>
              <a:gd name="T71" fmla="*/ 1017 h 1758"/>
              <a:gd name="T72" fmla="*/ 333 w 2087"/>
              <a:gd name="T73" fmla="*/ 1100 h 1758"/>
              <a:gd name="T74" fmla="*/ 322 w 2087"/>
              <a:gd name="T75" fmla="*/ 1273 h 1758"/>
              <a:gd name="T76" fmla="*/ 251 w 2087"/>
              <a:gd name="T77" fmla="*/ 1360 h 1758"/>
              <a:gd name="T78" fmla="*/ 316 w 2087"/>
              <a:gd name="T79" fmla="*/ 1481 h 1758"/>
              <a:gd name="T80" fmla="*/ 444 w 2087"/>
              <a:gd name="T81" fmla="*/ 1552 h 1758"/>
              <a:gd name="T82" fmla="*/ 485 w 2087"/>
              <a:gd name="T83" fmla="*/ 1696 h 1758"/>
              <a:gd name="T84" fmla="*/ 595 w 2087"/>
              <a:gd name="T85" fmla="*/ 1758 h 1758"/>
              <a:gd name="T86" fmla="*/ 654 w 2087"/>
              <a:gd name="T87" fmla="*/ 1678 h 1758"/>
              <a:gd name="T88" fmla="*/ 774 w 2087"/>
              <a:gd name="T89" fmla="*/ 1632 h 1758"/>
              <a:gd name="T90" fmla="*/ 908 w 2087"/>
              <a:gd name="T91" fmla="*/ 1590 h 1758"/>
              <a:gd name="T92" fmla="*/ 1015 w 2087"/>
              <a:gd name="T93" fmla="*/ 1593 h 1758"/>
              <a:gd name="T94" fmla="*/ 1120 w 2087"/>
              <a:gd name="T95" fmla="*/ 1593 h 1758"/>
              <a:gd name="T96" fmla="*/ 1199 w 2087"/>
              <a:gd name="T97" fmla="*/ 1585 h 1758"/>
              <a:gd name="T98" fmla="*/ 1265 w 2087"/>
              <a:gd name="T99" fmla="*/ 1518 h 1758"/>
              <a:gd name="T100" fmla="*/ 1395 w 2087"/>
              <a:gd name="T101" fmla="*/ 1395 h 1758"/>
              <a:gd name="T102" fmla="*/ 1488 w 2087"/>
              <a:gd name="T103" fmla="*/ 1263 h 1758"/>
              <a:gd name="T104" fmla="*/ 1556 w 2087"/>
              <a:gd name="T105" fmla="*/ 1172 h 1758"/>
              <a:gd name="T106" fmla="*/ 1572 w 2087"/>
              <a:gd name="T107" fmla="*/ 1079 h 1758"/>
              <a:gd name="T108" fmla="*/ 1601 w 2087"/>
              <a:gd name="T109" fmla="*/ 816 h 1758"/>
              <a:gd name="T110" fmla="*/ 1700 w 2087"/>
              <a:gd name="T111" fmla="*/ 684 h 1758"/>
              <a:gd name="T112" fmla="*/ 1735 w 2087"/>
              <a:gd name="T113" fmla="*/ 595 h 1758"/>
              <a:gd name="T114" fmla="*/ 1929 w 2087"/>
              <a:gd name="T115" fmla="*/ 516 h 1758"/>
              <a:gd name="T116" fmla="*/ 2063 w 2087"/>
              <a:gd name="T117" fmla="*/ 407 h 175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087"/>
              <a:gd name="T178" fmla="*/ 0 h 1758"/>
              <a:gd name="T179" fmla="*/ 2087 w 2087"/>
              <a:gd name="T180" fmla="*/ 1758 h 175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087" h="1758">
                <a:moveTo>
                  <a:pt x="2087" y="363"/>
                </a:moveTo>
                <a:lnTo>
                  <a:pt x="2087" y="357"/>
                </a:lnTo>
                <a:lnTo>
                  <a:pt x="2086" y="351"/>
                </a:lnTo>
                <a:lnTo>
                  <a:pt x="2085" y="346"/>
                </a:lnTo>
                <a:lnTo>
                  <a:pt x="2082" y="340"/>
                </a:lnTo>
                <a:lnTo>
                  <a:pt x="2079" y="334"/>
                </a:lnTo>
                <a:lnTo>
                  <a:pt x="2073" y="323"/>
                </a:lnTo>
                <a:lnTo>
                  <a:pt x="2071" y="309"/>
                </a:lnTo>
                <a:lnTo>
                  <a:pt x="2078" y="301"/>
                </a:lnTo>
                <a:lnTo>
                  <a:pt x="2081" y="298"/>
                </a:lnTo>
                <a:lnTo>
                  <a:pt x="2084" y="294"/>
                </a:lnTo>
                <a:lnTo>
                  <a:pt x="2084" y="288"/>
                </a:lnTo>
                <a:lnTo>
                  <a:pt x="2084" y="281"/>
                </a:lnTo>
                <a:lnTo>
                  <a:pt x="2080" y="267"/>
                </a:lnTo>
                <a:lnTo>
                  <a:pt x="2073" y="255"/>
                </a:lnTo>
                <a:lnTo>
                  <a:pt x="2065" y="245"/>
                </a:lnTo>
                <a:lnTo>
                  <a:pt x="2055" y="240"/>
                </a:lnTo>
                <a:lnTo>
                  <a:pt x="2047" y="239"/>
                </a:lnTo>
                <a:lnTo>
                  <a:pt x="2037" y="241"/>
                </a:lnTo>
                <a:lnTo>
                  <a:pt x="2028" y="244"/>
                </a:lnTo>
                <a:lnTo>
                  <a:pt x="2020" y="250"/>
                </a:lnTo>
                <a:lnTo>
                  <a:pt x="2011" y="256"/>
                </a:lnTo>
                <a:lnTo>
                  <a:pt x="2003" y="263"/>
                </a:lnTo>
                <a:lnTo>
                  <a:pt x="1995" y="269"/>
                </a:lnTo>
                <a:lnTo>
                  <a:pt x="1988" y="273"/>
                </a:lnTo>
                <a:lnTo>
                  <a:pt x="1981" y="275"/>
                </a:lnTo>
                <a:lnTo>
                  <a:pt x="1974" y="274"/>
                </a:lnTo>
                <a:lnTo>
                  <a:pt x="1966" y="272"/>
                </a:lnTo>
                <a:lnTo>
                  <a:pt x="1957" y="267"/>
                </a:lnTo>
                <a:lnTo>
                  <a:pt x="1948" y="263"/>
                </a:lnTo>
                <a:lnTo>
                  <a:pt x="1940" y="258"/>
                </a:lnTo>
                <a:lnTo>
                  <a:pt x="1930" y="257"/>
                </a:lnTo>
                <a:lnTo>
                  <a:pt x="1921" y="257"/>
                </a:lnTo>
                <a:lnTo>
                  <a:pt x="1914" y="259"/>
                </a:lnTo>
                <a:lnTo>
                  <a:pt x="1909" y="262"/>
                </a:lnTo>
                <a:lnTo>
                  <a:pt x="1904" y="264"/>
                </a:lnTo>
                <a:lnTo>
                  <a:pt x="1900" y="265"/>
                </a:lnTo>
                <a:lnTo>
                  <a:pt x="1897" y="266"/>
                </a:lnTo>
                <a:lnTo>
                  <a:pt x="1892" y="266"/>
                </a:lnTo>
                <a:lnTo>
                  <a:pt x="1889" y="265"/>
                </a:lnTo>
                <a:lnTo>
                  <a:pt x="1883" y="262"/>
                </a:lnTo>
                <a:lnTo>
                  <a:pt x="1876" y="258"/>
                </a:lnTo>
                <a:lnTo>
                  <a:pt x="1868" y="257"/>
                </a:lnTo>
                <a:lnTo>
                  <a:pt x="1860" y="256"/>
                </a:lnTo>
                <a:lnTo>
                  <a:pt x="1852" y="256"/>
                </a:lnTo>
                <a:lnTo>
                  <a:pt x="1844" y="256"/>
                </a:lnTo>
                <a:lnTo>
                  <a:pt x="1836" y="256"/>
                </a:lnTo>
                <a:lnTo>
                  <a:pt x="1828" y="257"/>
                </a:lnTo>
                <a:lnTo>
                  <a:pt x="1821" y="257"/>
                </a:lnTo>
                <a:lnTo>
                  <a:pt x="1814" y="255"/>
                </a:lnTo>
                <a:lnTo>
                  <a:pt x="1807" y="248"/>
                </a:lnTo>
                <a:lnTo>
                  <a:pt x="1799" y="239"/>
                </a:lnTo>
                <a:lnTo>
                  <a:pt x="1791" y="228"/>
                </a:lnTo>
                <a:lnTo>
                  <a:pt x="1783" y="219"/>
                </a:lnTo>
                <a:lnTo>
                  <a:pt x="1775" y="210"/>
                </a:lnTo>
                <a:lnTo>
                  <a:pt x="1767" y="203"/>
                </a:lnTo>
                <a:lnTo>
                  <a:pt x="1760" y="201"/>
                </a:lnTo>
                <a:lnTo>
                  <a:pt x="1754" y="201"/>
                </a:lnTo>
                <a:lnTo>
                  <a:pt x="1751" y="199"/>
                </a:lnTo>
                <a:lnTo>
                  <a:pt x="1746" y="197"/>
                </a:lnTo>
                <a:lnTo>
                  <a:pt x="1743" y="195"/>
                </a:lnTo>
                <a:lnTo>
                  <a:pt x="1738" y="194"/>
                </a:lnTo>
                <a:lnTo>
                  <a:pt x="1732" y="191"/>
                </a:lnTo>
                <a:lnTo>
                  <a:pt x="1725" y="190"/>
                </a:lnTo>
                <a:lnTo>
                  <a:pt x="1716" y="190"/>
                </a:lnTo>
                <a:lnTo>
                  <a:pt x="1706" y="189"/>
                </a:lnTo>
                <a:lnTo>
                  <a:pt x="1697" y="187"/>
                </a:lnTo>
                <a:lnTo>
                  <a:pt x="1687" y="183"/>
                </a:lnTo>
                <a:lnTo>
                  <a:pt x="1679" y="181"/>
                </a:lnTo>
                <a:lnTo>
                  <a:pt x="1671" y="179"/>
                </a:lnTo>
                <a:lnTo>
                  <a:pt x="1666" y="178"/>
                </a:lnTo>
                <a:lnTo>
                  <a:pt x="1660" y="180"/>
                </a:lnTo>
                <a:lnTo>
                  <a:pt x="1655" y="184"/>
                </a:lnTo>
                <a:lnTo>
                  <a:pt x="1649" y="196"/>
                </a:lnTo>
                <a:lnTo>
                  <a:pt x="1647" y="204"/>
                </a:lnTo>
                <a:lnTo>
                  <a:pt x="1639" y="210"/>
                </a:lnTo>
                <a:lnTo>
                  <a:pt x="1622" y="212"/>
                </a:lnTo>
                <a:lnTo>
                  <a:pt x="1609" y="212"/>
                </a:lnTo>
                <a:lnTo>
                  <a:pt x="1595" y="213"/>
                </a:lnTo>
                <a:lnTo>
                  <a:pt x="1583" y="214"/>
                </a:lnTo>
                <a:lnTo>
                  <a:pt x="1570" y="214"/>
                </a:lnTo>
                <a:lnTo>
                  <a:pt x="1560" y="216"/>
                </a:lnTo>
                <a:lnTo>
                  <a:pt x="1552" y="217"/>
                </a:lnTo>
                <a:lnTo>
                  <a:pt x="1546" y="218"/>
                </a:lnTo>
                <a:lnTo>
                  <a:pt x="1543" y="218"/>
                </a:lnTo>
                <a:lnTo>
                  <a:pt x="1542" y="217"/>
                </a:lnTo>
                <a:lnTo>
                  <a:pt x="1540" y="213"/>
                </a:lnTo>
                <a:lnTo>
                  <a:pt x="1534" y="207"/>
                </a:lnTo>
                <a:lnTo>
                  <a:pt x="1529" y="203"/>
                </a:lnTo>
                <a:lnTo>
                  <a:pt x="1520" y="197"/>
                </a:lnTo>
                <a:lnTo>
                  <a:pt x="1511" y="194"/>
                </a:lnTo>
                <a:lnTo>
                  <a:pt x="1500" y="193"/>
                </a:lnTo>
                <a:lnTo>
                  <a:pt x="1488" y="195"/>
                </a:lnTo>
                <a:lnTo>
                  <a:pt x="1476" y="196"/>
                </a:lnTo>
                <a:lnTo>
                  <a:pt x="1465" y="194"/>
                </a:lnTo>
                <a:lnTo>
                  <a:pt x="1454" y="188"/>
                </a:lnTo>
                <a:lnTo>
                  <a:pt x="1442" y="181"/>
                </a:lnTo>
                <a:lnTo>
                  <a:pt x="1431" y="174"/>
                </a:lnTo>
                <a:lnTo>
                  <a:pt x="1418" y="168"/>
                </a:lnTo>
                <a:lnTo>
                  <a:pt x="1403" y="166"/>
                </a:lnTo>
                <a:lnTo>
                  <a:pt x="1388" y="167"/>
                </a:lnTo>
                <a:lnTo>
                  <a:pt x="1375" y="169"/>
                </a:lnTo>
                <a:lnTo>
                  <a:pt x="1371" y="167"/>
                </a:lnTo>
                <a:lnTo>
                  <a:pt x="1368" y="164"/>
                </a:lnTo>
                <a:lnTo>
                  <a:pt x="1368" y="158"/>
                </a:lnTo>
                <a:lnTo>
                  <a:pt x="1365" y="151"/>
                </a:lnTo>
                <a:lnTo>
                  <a:pt x="1358" y="145"/>
                </a:lnTo>
                <a:lnTo>
                  <a:pt x="1342" y="141"/>
                </a:lnTo>
                <a:lnTo>
                  <a:pt x="1315" y="140"/>
                </a:lnTo>
                <a:lnTo>
                  <a:pt x="1317" y="138"/>
                </a:lnTo>
                <a:lnTo>
                  <a:pt x="1318" y="134"/>
                </a:lnTo>
                <a:lnTo>
                  <a:pt x="1319" y="129"/>
                </a:lnTo>
                <a:lnTo>
                  <a:pt x="1319" y="122"/>
                </a:lnTo>
                <a:lnTo>
                  <a:pt x="1318" y="115"/>
                </a:lnTo>
                <a:lnTo>
                  <a:pt x="1313" y="108"/>
                </a:lnTo>
                <a:lnTo>
                  <a:pt x="1306" y="104"/>
                </a:lnTo>
                <a:lnTo>
                  <a:pt x="1294" y="100"/>
                </a:lnTo>
                <a:lnTo>
                  <a:pt x="1281" y="98"/>
                </a:lnTo>
                <a:lnTo>
                  <a:pt x="1269" y="96"/>
                </a:lnTo>
                <a:lnTo>
                  <a:pt x="1260" y="92"/>
                </a:lnTo>
                <a:lnTo>
                  <a:pt x="1253" y="90"/>
                </a:lnTo>
                <a:lnTo>
                  <a:pt x="1246" y="89"/>
                </a:lnTo>
                <a:lnTo>
                  <a:pt x="1238" y="89"/>
                </a:lnTo>
                <a:lnTo>
                  <a:pt x="1230" y="91"/>
                </a:lnTo>
                <a:lnTo>
                  <a:pt x="1221" y="96"/>
                </a:lnTo>
                <a:lnTo>
                  <a:pt x="1211" y="102"/>
                </a:lnTo>
                <a:lnTo>
                  <a:pt x="1201" y="106"/>
                </a:lnTo>
                <a:lnTo>
                  <a:pt x="1192" y="108"/>
                </a:lnTo>
                <a:lnTo>
                  <a:pt x="1182" y="110"/>
                </a:lnTo>
                <a:lnTo>
                  <a:pt x="1172" y="110"/>
                </a:lnTo>
                <a:lnTo>
                  <a:pt x="1159" y="107"/>
                </a:lnTo>
                <a:lnTo>
                  <a:pt x="1144" y="103"/>
                </a:lnTo>
                <a:lnTo>
                  <a:pt x="1127" y="96"/>
                </a:lnTo>
                <a:lnTo>
                  <a:pt x="1108" y="89"/>
                </a:lnTo>
                <a:lnTo>
                  <a:pt x="1092" y="83"/>
                </a:lnTo>
                <a:lnTo>
                  <a:pt x="1077" y="81"/>
                </a:lnTo>
                <a:lnTo>
                  <a:pt x="1066" y="81"/>
                </a:lnTo>
                <a:lnTo>
                  <a:pt x="1055" y="82"/>
                </a:lnTo>
                <a:lnTo>
                  <a:pt x="1047" y="85"/>
                </a:lnTo>
                <a:lnTo>
                  <a:pt x="1041" y="90"/>
                </a:lnTo>
                <a:lnTo>
                  <a:pt x="1038" y="96"/>
                </a:lnTo>
                <a:lnTo>
                  <a:pt x="1036" y="95"/>
                </a:lnTo>
                <a:lnTo>
                  <a:pt x="1031" y="93"/>
                </a:lnTo>
                <a:lnTo>
                  <a:pt x="1024" y="91"/>
                </a:lnTo>
                <a:lnTo>
                  <a:pt x="1015" y="88"/>
                </a:lnTo>
                <a:lnTo>
                  <a:pt x="1005" y="85"/>
                </a:lnTo>
                <a:lnTo>
                  <a:pt x="993" y="83"/>
                </a:lnTo>
                <a:lnTo>
                  <a:pt x="982" y="83"/>
                </a:lnTo>
                <a:lnTo>
                  <a:pt x="971" y="84"/>
                </a:lnTo>
                <a:lnTo>
                  <a:pt x="963" y="84"/>
                </a:lnTo>
                <a:lnTo>
                  <a:pt x="957" y="83"/>
                </a:lnTo>
                <a:lnTo>
                  <a:pt x="954" y="78"/>
                </a:lnTo>
                <a:lnTo>
                  <a:pt x="950" y="75"/>
                </a:lnTo>
                <a:lnTo>
                  <a:pt x="948" y="70"/>
                </a:lnTo>
                <a:lnTo>
                  <a:pt x="944" y="68"/>
                </a:lnTo>
                <a:lnTo>
                  <a:pt x="937" y="69"/>
                </a:lnTo>
                <a:lnTo>
                  <a:pt x="926" y="73"/>
                </a:lnTo>
                <a:lnTo>
                  <a:pt x="925" y="73"/>
                </a:lnTo>
                <a:lnTo>
                  <a:pt x="923" y="72"/>
                </a:lnTo>
                <a:lnTo>
                  <a:pt x="919" y="70"/>
                </a:lnTo>
                <a:lnTo>
                  <a:pt x="915" y="69"/>
                </a:lnTo>
                <a:lnTo>
                  <a:pt x="908" y="68"/>
                </a:lnTo>
                <a:lnTo>
                  <a:pt x="901" y="68"/>
                </a:lnTo>
                <a:lnTo>
                  <a:pt x="892" y="69"/>
                </a:lnTo>
                <a:lnTo>
                  <a:pt x="881" y="73"/>
                </a:lnTo>
                <a:lnTo>
                  <a:pt x="869" y="76"/>
                </a:lnTo>
                <a:lnTo>
                  <a:pt x="854" y="80"/>
                </a:lnTo>
                <a:lnTo>
                  <a:pt x="835" y="81"/>
                </a:lnTo>
                <a:lnTo>
                  <a:pt x="815" y="82"/>
                </a:lnTo>
                <a:lnTo>
                  <a:pt x="794" y="82"/>
                </a:lnTo>
                <a:lnTo>
                  <a:pt x="773" y="82"/>
                </a:lnTo>
                <a:lnTo>
                  <a:pt x="755" y="81"/>
                </a:lnTo>
                <a:lnTo>
                  <a:pt x="739" y="78"/>
                </a:lnTo>
                <a:lnTo>
                  <a:pt x="724" y="76"/>
                </a:lnTo>
                <a:lnTo>
                  <a:pt x="710" y="72"/>
                </a:lnTo>
                <a:lnTo>
                  <a:pt x="695" y="67"/>
                </a:lnTo>
                <a:lnTo>
                  <a:pt x="681" y="62"/>
                </a:lnTo>
                <a:lnTo>
                  <a:pt x="666" y="58"/>
                </a:lnTo>
                <a:lnTo>
                  <a:pt x="653" y="54"/>
                </a:lnTo>
                <a:lnTo>
                  <a:pt x="640" y="52"/>
                </a:lnTo>
                <a:lnTo>
                  <a:pt x="627" y="51"/>
                </a:lnTo>
                <a:lnTo>
                  <a:pt x="615" y="50"/>
                </a:lnTo>
                <a:lnTo>
                  <a:pt x="607" y="47"/>
                </a:lnTo>
                <a:lnTo>
                  <a:pt x="600" y="44"/>
                </a:lnTo>
                <a:lnTo>
                  <a:pt x="593" y="42"/>
                </a:lnTo>
                <a:lnTo>
                  <a:pt x="587" y="38"/>
                </a:lnTo>
                <a:lnTo>
                  <a:pt x="580" y="37"/>
                </a:lnTo>
                <a:lnTo>
                  <a:pt x="572" y="37"/>
                </a:lnTo>
                <a:lnTo>
                  <a:pt x="560" y="39"/>
                </a:lnTo>
                <a:lnTo>
                  <a:pt x="553" y="42"/>
                </a:lnTo>
                <a:lnTo>
                  <a:pt x="545" y="43"/>
                </a:lnTo>
                <a:lnTo>
                  <a:pt x="535" y="45"/>
                </a:lnTo>
                <a:lnTo>
                  <a:pt x="524" y="46"/>
                </a:lnTo>
                <a:lnTo>
                  <a:pt x="513" y="46"/>
                </a:lnTo>
                <a:lnTo>
                  <a:pt x="500" y="47"/>
                </a:lnTo>
                <a:lnTo>
                  <a:pt x="488" y="47"/>
                </a:lnTo>
                <a:lnTo>
                  <a:pt x="475" y="47"/>
                </a:lnTo>
                <a:lnTo>
                  <a:pt x="461" y="47"/>
                </a:lnTo>
                <a:lnTo>
                  <a:pt x="447" y="47"/>
                </a:lnTo>
                <a:lnTo>
                  <a:pt x="433" y="46"/>
                </a:lnTo>
                <a:lnTo>
                  <a:pt x="420" y="46"/>
                </a:lnTo>
                <a:lnTo>
                  <a:pt x="407" y="45"/>
                </a:lnTo>
                <a:lnTo>
                  <a:pt x="394" y="43"/>
                </a:lnTo>
                <a:lnTo>
                  <a:pt x="383" y="42"/>
                </a:lnTo>
                <a:lnTo>
                  <a:pt x="371" y="39"/>
                </a:lnTo>
                <a:lnTo>
                  <a:pt x="354" y="35"/>
                </a:lnTo>
                <a:lnTo>
                  <a:pt x="341" y="29"/>
                </a:lnTo>
                <a:lnTo>
                  <a:pt x="332" y="22"/>
                </a:lnTo>
                <a:lnTo>
                  <a:pt x="326" y="16"/>
                </a:lnTo>
                <a:lnTo>
                  <a:pt x="321" y="9"/>
                </a:lnTo>
                <a:lnTo>
                  <a:pt x="315" y="5"/>
                </a:lnTo>
                <a:lnTo>
                  <a:pt x="306" y="1"/>
                </a:lnTo>
                <a:lnTo>
                  <a:pt x="294" y="0"/>
                </a:lnTo>
                <a:lnTo>
                  <a:pt x="287" y="0"/>
                </a:lnTo>
                <a:lnTo>
                  <a:pt x="281" y="0"/>
                </a:lnTo>
                <a:lnTo>
                  <a:pt x="274" y="0"/>
                </a:lnTo>
                <a:lnTo>
                  <a:pt x="269" y="0"/>
                </a:lnTo>
                <a:lnTo>
                  <a:pt x="263" y="0"/>
                </a:lnTo>
                <a:lnTo>
                  <a:pt x="258" y="0"/>
                </a:lnTo>
                <a:lnTo>
                  <a:pt x="253" y="0"/>
                </a:lnTo>
                <a:lnTo>
                  <a:pt x="248" y="0"/>
                </a:lnTo>
                <a:lnTo>
                  <a:pt x="242" y="0"/>
                </a:lnTo>
                <a:lnTo>
                  <a:pt x="238" y="1"/>
                </a:lnTo>
                <a:lnTo>
                  <a:pt x="232" y="1"/>
                </a:lnTo>
                <a:lnTo>
                  <a:pt x="227" y="2"/>
                </a:lnTo>
                <a:lnTo>
                  <a:pt x="223" y="5"/>
                </a:lnTo>
                <a:lnTo>
                  <a:pt x="219" y="6"/>
                </a:lnTo>
                <a:lnTo>
                  <a:pt x="215" y="9"/>
                </a:lnTo>
                <a:lnTo>
                  <a:pt x="210" y="12"/>
                </a:lnTo>
                <a:lnTo>
                  <a:pt x="202" y="17"/>
                </a:lnTo>
                <a:lnTo>
                  <a:pt x="195" y="23"/>
                </a:lnTo>
                <a:lnTo>
                  <a:pt x="188" y="29"/>
                </a:lnTo>
                <a:lnTo>
                  <a:pt x="183" y="35"/>
                </a:lnTo>
                <a:lnTo>
                  <a:pt x="180" y="40"/>
                </a:lnTo>
                <a:lnTo>
                  <a:pt x="179" y="47"/>
                </a:lnTo>
                <a:lnTo>
                  <a:pt x="179" y="54"/>
                </a:lnTo>
                <a:lnTo>
                  <a:pt x="182" y="62"/>
                </a:lnTo>
                <a:lnTo>
                  <a:pt x="185" y="69"/>
                </a:lnTo>
                <a:lnTo>
                  <a:pt x="183" y="74"/>
                </a:lnTo>
                <a:lnTo>
                  <a:pt x="178" y="77"/>
                </a:lnTo>
                <a:lnTo>
                  <a:pt x="170" y="80"/>
                </a:lnTo>
                <a:lnTo>
                  <a:pt x="159" y="81"/>
                </a:lnTo>
                <a:lnTo>
                  <a:pt x="147" y="82"/>
                </a:lnTo>
                <a:lnTo>
                  <a:pt x="132" y="83"/>
                </a:lnTo>
                <a:lnTo>
                  <a:pt x="116" y="84"/>
                </a:lnTo>
                <a:lnTo>
                  <a:pt x="99" y="88"/>
                </a:lnTo>
                <a:lnTo>
                  <a:pt x="83" y="92"/>
                </a:lnTo>
                <a:lnTo>
                  <a:pt x="68" y="98"/>
                </a:lnTo>
                <a:lnTo>
                  <a:pt x="56" y="105"/>
                </a:lnTo>
                <a:lnTo>
                  <a:pt x="43" y="113"/>
                </a:lnTo>
                <a:lnTo>
                  <a:pt x="31" y="120"/>
                </a:lnTo>
                <a:lnTo>
                  <a:pt x="22" y="127"/>
                </a:lnTo>
                <a:lnTo>
                  <a:pt x="15" y="134"/>
                </a:lnTo>
                <a:lnTo>
                  <a:pt x="5" y="148"/>
                </a:lnTo>
                <a:lnTo>
                  <a:pt x="0" y="160"/>
                </a:lnTo>
                <a:lnTo>
                  <a:pt x="2" y="169"/>
                </a:lnTo>
                <a:lnTo>
                  <a:pt x="10" y="173"/>
                </a:lnTo>
                <a:lnTo>
                  <a:pt x="18" y="179"/>
                </a:lnTo>
                <a:lnTo>
                  <a:pt x="22" y="189"/>
                </a:lnTo>
                <a:lnTo>
                  <a:pt x="27" y="201"/>
                </a:lnTo>
                <a:lnTo>
                  <a:pt x="38" y="206"/>
                </a:lnTo>
                <a:lnTo>
                  <a:pt x="46" y="213"/>
                </a:lnTo>
                <a:lnTo>
                  <a:pt x="42" y="231"/>
                </a:lnTo>
                <a:lnTo>
                  <a:pt x="34" y="251"/>
                </a:lnTo>
                <a:lnTo>
                  <a:pt x="33" y="267"/>
                </a:lnTo>
                <a:lnTo>
                  <a:pt x="34" y="266"/>
                </a:lnTo>
                <a:lnTo>
                  <a:pt x="36" y="264"/>
                </a:lnTo>
                <a:lnTo>
                  <a:pt x="41" y="260"/>
                </a:lnTo>
                <a:lnTo>
                  <a:pt x="45" y="256"/>
                </a:lnTo>
                <a:lnTo>
                  <a:pt x="51" y="252"/>
                </a:lnTo>
                <a:lnTo>
                  <a:pt x="58" y="249"/>
                </a:lnTo>
                <a:lnTo>
                  <a:pt x="65" y="247"/>
                </a:lnTo>
                <a:lnTo>
                  <a:pt x="71" y="245"/>
                </a:lnTo>
                <a:lnTo>
                  <a:pt x="78" y="250"/>
                </a:lnTo>
                <a:lnTo>
                  <a:pt x="76" y="262"/>
                </a:lnTo>
                <a:lnTo>
                  <a:pt x="71" y="277"/>
                </a:lnTo>
                <a:lnTo>
                  <a:pt x="66" y="290"/>
                </a:lnTo>
                <a:lnTo>
                  <a:pt x="64" y="304"/>
                </a:lnTo>
                <a:lnTo>
                  <a:pt x="64" y="319"/>
                </a:lnTo>
                <a:lnTo>
                  <a:pt x="63" y="339"/>
                </a:lnTo>
                <a:lnTo>
                  <a:pt x="60" y="362"/>
                </a:lnTo>
                <a:lnTo>
                  <a:pt x="59" y="386"/>
                </a:lnTo>
                <a:lnTo>
                  <a:pt x="61" y="408"/>
                </a:lnTo>
                <a:lnTo>
                  <a:pt x="65" y="423"/>
                </a:lnTo>
                <a:lnTo>
                  <a:pt x="66" y="429"/>
                </a:lnTo>
                <a:lnTo>
                  <a:pt x="67" y="426"/>
                </a:lnTo>
                <a:lnTo>
                  <a:pt x="72" y="421"/>
                </a:lnTo>
                <a:lnTo>
                  <a:pt x="79" y="413"/>
                </a:lnTo>
                <a:lnTo>
                  <a:pt x="87" y="403"/>
                </a:lnTo>
                <a:lnTo>
                  <a:pt x="96" y="395"/>
                </a:lnTo>
                <a:lnTo>
                  <a:pt x="105" y="387"/>
                </a:lnTo>
                <a:lnTo>
                  <a:pt x="114" y="381"/>
                </a:lnTo>
                <a:lnTo>
                  <a:pt x="121" y="379"/>
                </a:lnTo>
                <a:lnTo>
                  <a:pt x="128" y="378"/>
                </a:lnTo>
                <a:lnTo>
                  <a:pt x="137" y="377"/>
                </a:lnTo>
                <a:lnTo>
                  <a:pt x="147" y="376"/>
                </a:lnTo>
                <a:lnTo>
                  <a:pt x="157" y="373"/>
                </a:lnTo>
                <a:lnTo>
                  <a:pt x="164" y="374"/>
                </a:lnTo>
                <a:lnTo>
                  <a:pt x="170" y="376"/>
                </a:lnTo>
                <a:lnTo>
                  <a:pt x="173" y="381"/>
                </a:lnTo>
                <a:lnTo>
                  <a:pt x="171" y="389"/>
                </a:lnTo>
                <a:lnTo>
                  <a:pt x="167" y="400"/>
                </a:lnTo>
                <a:lnTo>
                  <a:pt x="167" y="410"/>
                </a:lnTo>
                <a:lnTo>
                  <a:pt x="169" y="419"/>
                </a:lnTo>
                <a:lnTo>
                  <a:pt x="173" y="427"/>
                </a:lnTo>
                <a:lnTo>
                  <a:pt x="179" y="433"/>
                </a:lnTo>
                <a:lnTo>
                  <a:pt x="188" y="437"/>
                </a:lnTo>
                <a:lnTo>
                  <a:pt x="201" y="437"/>
                </a:lnTo>
                <a:lnTo>
                  <a:pt x="216" y="434"/>
                </a:lnTo>
                <a:lnTo>
                  <a:pt x="231" y="431"/>
                </a:lnTo>
                <a:lnTo>
                  <a:pt x="243" y="430"/>
                </a:lnTo>
                <a:lnTo>
                  <a:pt x="253" y="430"/>
                </a:lnTo>
                <a:lnTo>
                  <a:pt x="262" y="431"/>
                </a:lnTo>
                <a:lnTo>
                  <a:pt x="270" y="433"/>
                </a:lnTo>
                <a:lnTo>
                  <a:pt x="278" y="436"/>
                </a:lnTo>
                <a:lnTo>
                  <a:pt x="287" y="438"/>
                </a:lnTo>
                <a:lnTo>
                  <a:pt x="299" y="440"/>
                </a:lnTo>
                <a:lnTo>
                  <a:pt x="310" y="440"/>
                </a:lnTo>
                <a:lnTo>
                  <a:pt x="321" y="438"/>
                </a:lnTo>
                <a:lnTo>
                  <a:pt x="330" y="434"/>
                </a:lnTo>
                <a:lnTo>
                  <a:pt x="337" y="429"/>
                </a:lnTo>
                <a:lnTo>
                  <a:pt x="342" y="423"/>
                </a:lnTo>
                <a:lnTo>
                  <a:pt x="346" y="417"/>
                </a:lnTo>
                <a:lnTo>
                  <a:pt x="348" y="414"/>
                </a:lnTo>
                <a:lnTo>
                  <a:pt x="349" y="413"/>
                </a:lnTo>
                <a:lnTo>
                  <a:pt x="438" y="429"/>
                </a:lnTo>
                <a:lnTo>
                  <a:pt x="439" y="438"/>
                </a:lnTo>
                <a:lnTo>
                  <a:pt x="444" y="459"/>
                </a:lnTo>
                <a:lnTo>
                  <a:pt x="452" y="478"/>
                </a:lnTo>
                <a:lnTo>
                  <a:pt x="466" y="485"/>
                </a:lnTo>
                <a:lnTo>
                  <a:pt x="481" y="485"/>
                </a:lnTo>
                <a:lnTo>
                  <a:pt x="488" y="492"/>
                </a:lnTo>
                <a:lnTo>
                  <a:pt x="485" y="507"/>
                </a:lnTo>
                <a:lnTo>
                  <a:pt x="471" y="529"/>
                </a:lnTo>
                <a:lnTo>
                  <a:pt x="455" y="548"/>
                </a:lnTo>
                <a:lnTo>
                  <a:pt x="447" y="558"/>
                </a:lnTo>
                <a:lnTo>
                  <a:pt x="444" y="562"/>
                </a:lnTo>
                <a:lnTo>
                  <a:pt x="443" y="562"/>
                </a:lnTo>
                <a:lnTo>
                  <a:pt x="438" y="562"/>
                </a:lnTo>
                <a:lnTo>
                  <a:pt x="431" y="562"/>
                </a:lnTo>
                <a:lnTo>
                  <a:pt x="424" y="563"/>
                </a:lnTo>
                <a:lnTo>
                  <a:pt x="417" y="567"/>
                </a:lnTo>
                <a:lnTo>
                  <a:pt x="410" y="571"/>
                </a:lnTo>
                <a:lnTo>
                  <a:pt x="406" y="580"/>
                </a:lnTo>
                <a:lnTo>
                  <a:pt x="405" y="590"/>
                </a:lnTo>
                <a:lnTo>
                  <a:pt x="403" y="591"/>
                </a:lnTo>
                <a:lnTo>
                  <a:pt x="399" y="595"/>
                </a:lnTo>
                <a:lnTo>
                  <a:pt x="393" y="599"/>
                </a:lnTo>
                <a:lnTo>
                  <a:pt x="388" y="606"/>
                </a:lnTo>
                <a:lnTo>
                  <a:pt x="384" y="614"/>
                </a:lnTo>
                <a:lnTo>
                  <a:pt x="382" y="623"/>
                </a:lnTo>
                <a:lnTo>
                  <a:pt x="383" y="635"/>
                </a:lnTo>
                <a:lnTo>
                  <a:pt x="388" y="646"/>
                </a:lnTo>
                <a:lnTo>
                  <a:pt x="398" y="671"/>
                </a:lnTo>
                <a:lnTo>
                  <a:pt x="397" y="692"/>
                </a:lnTo>
                <a:lnTo>
                  <a:pt x="392" y="712"/>
                </a:lnTo>
                <a:lnTo>
                  <a:pt x="388" y="729"/>
                </a:lnTo>
                <a:lnTo>
                  <a:pt x="388" y="745"/>
                </a:lnTo>
                <a:lnTo>
                  <a:pt x="385" y="762"/>
                </a:lnTo>
                <a:lnTo>
                  <a:pt x="377" y="776"/>
                </a:lnTo>
                <a:lnTo>
                  <a:pt x="361" y="790"/>
                </a:lnTo>
                <a:lnTo>
                  <a:pt x="353" y="797"/>
                </a:lnTo>
                <a:lnTo>
                  <a:pt x="348" y="804"/>
                </a:lnTo>
                <a:lnTo>
                  <a:pt x="347" y="812"/>
                </a:lnTo>
                <a:lnTo>
                  <a:pt x="349" y="820"/>
                </a:lnTo>
                <a:lnTo>
                  <a:pt x="353" y="827"/>
                </a:lnTo>
                <a:lnTo>
                  <a:pt x="359" y="833"/>
                </a:lnTo>
                <a:lnTo>
                  <a:pt x="365" y="838"/>
                </a:lnTo>
                <a:lnTo>
                  <a:pt x="371" y="841"/>
                </a:lnTo>
                <a:lnTo>
                  <a:pt x="377" y="848"/>
                </a:lnTo>
                <a:lnTo>
                  <a:pt x="372" y="862"/>
                </a:lnTo>
                <a:lnTo>
                  <a:pt x="362" y="879"/>
                </a:lnTo>
                <a:lnTo>
                  <a:pt x="355" y="895"/>
                </a:lnTo>
                <a:lnTo>
                  <a:pt x="352" y="902"/>
                </a:lnTo>
                <a:lnTo>
                  <a:pt x="348" y="908"/>
                </a:lnTo>
                <a:lnTo>
                  <a:pt x="342" y="911"/>
                </a:lnTo>
                <a:lnTo>
                  <a:pt x="337" y="914"/>
                </a:lnTo>
                <a:lnTo>
                  <a:pt x="329" y="915"/>
                </a:lnTo>
                <a:lnTo>
                  <a:pt x="322" y="915"/>
                </a:lnTo>
                <a:lnTo>
                  <a:pt x="312" y="914"/>
                </a:lnTo>
                <a:lnTo>
                  <a:pt x="304" y="911"/>
                </a:lnTo>
                <a:lnTo>
                  <a:pt x="295" y="910"/>
                </a:lnTo>
                <a:lnTo>
                  <a:pt x="286" y="910"/>
                </a:lnTo>
                <a:lnTo>
                  <a:pt x="277" y="912"/>
                </a:lnTo>
                <a:lnTo>
                  <a:pt x="269" y="916"/>
                </a:lnTo>
                <a:lnTo>
                  <a:pt x="262" y="920"/>
                </a:lnTo>
                <a:lnTo>
                  <a:pt x="259" y="927"/>
                </a:lnTo>
                <a:lnTo>
                  <a:pt x="259" y="935"/>
                </a:lnTo>
                <a:lnTo>
                  <a:pt x="265" y="945"/>
                </a:lnTo>
                <a:lnTo>
                  <a:pt x="280" y="961"/>
                </a:lnTo>
                <a:lnTo>
                  <a:pt x="291" y="973"/>
                </a:lnTo>
                <a:lnTo>
                  <a:pt x="296" y="986"/>
                </a:lnTo>
                <a:lnTo>
                  <a:pt x="299" y="1006"/>
                </a:lnTo>
                <a:lnTo>
                  <a:pt x="301" y="1017"/>
                </a:lnTo>
                <a:lnTo>
                  <a:pt x="307" y="1028"/>
                </a:lnTo>
                <a:lnTo>
                  <a:pt x="315" y="1037"/>
                </a:lnTo>
                <a:lnTo>
                  <a:pt x="324" y="1046"/>
                </a:lnTo>
                <a:lnTo>
                  <a:pt x="333" y="1053"/>
                </a:lnTo>
                <a:lnTo>
                  <a:pt x="341" y="1060"/>
                </a:lnTo>
                <a:lnTo>
                  <a:pt x="347" y="1067"/>
                </a:lnTo>
                <a:lnTo>
                  <a:pt x="349" y="1073"/>
                </a:lnTo>
                <a:lnTo>
                  <a:pt x="348" y="1079"/>
                </a:lnTo>
                <a:lnTo>
                  <a:pt x="345" y="1085"/>
                </a:lnTo>
                <a:lnTo>
                  <a:pt x="340" y="1093"/>
                </a:lnTo>
                <a:lnTo>
                  <a:pt x="333" y="1100"/>
                </a:lnTo>
                <a:lnTo>
                  <a:pt x="326" y="1109"/>
                </a:lnTo>
                <a:lnTo>
                  <a:pt x="318" y="1120"/>
                </a:lnTo>
                <a:lnTo>
                  <a:pt x="311" y="1131"/>
                </a:lnTo>
                <a:lnTo>
                  <a:pt x="304" y="1145"/>
                </a:lnTo>
                <a:lnTo>
                  <a:pt x="295" y="1174"/>
                </a:lnTo>
                <a:lnTo>
                  <a:pt x="291" y="1203"/>
                </a:lnTo>
                <a:lnTo>
                  <a:pt x="295" y="1228"/>
                </a:lnTo>
                <a:lnTo>
                  <a:pt x="310" y="1251"/>
                </a:lnTo>
                <a:lnTo>
                  <a:pt x="318" y="1260"/>
                </a:lnTo>
                <a:lnTo>
                  <a:pt x="322" y="1267"/>
                </a:lnTo>
                <a:lnTo>
                  <a:pt x="322" y="1273"/>
                </a:lnTo>
                <a:lnTo>
                  <a:pt x="318" y="1278"/>
                </a:lnTo>
                <a:lnTo>
                  <a:pt x="314" y="1281"/>
                </a:lnTo>
                <a:lnTo>
                  <a:pt x="307" y="1286"/>
                </a:lnTo>
                <a:lnTo>
                  <a:pt x="301" y="1289"/>
                </a:lnTo>
                <a:lnTo>
                  <a:pt x="294" y="1295"/>
                </a:lnTo>
                <a:lnTo>
                  <a:pt x="287" y="1303"/>
                </a:lnTo>
                <a:lnTo>
                  <a:pt x="280" y="1313"/>
                </a:lnTo>
                <a:lnTo>
                  <a:pt x="272" y="1325"/>
                </a:lnTo>
                <a:lnTo>
                  <a:pt x="264" y="1336"/>
                </a:lnTo>
                <a:lnTo>
                  <a:pt x="257" y="1349"/>
                </a:lnTo>
                <a:lnTo>
                  <a:pt x="251" y="1360"/>
                </a:lnTo>
                <a:lnTo>
                  <a:pt x="247" y="1371"/>
                </a:lnTo>
                <a:lnTo>
                  <a:pt x="243" y="1379"/>
                </a:lnTo>
                <a:lnTo>
                  <a:pt x="242" y="1398"/>
                </a:lnTo>
                <a:lnTo>
                  <a:pt x="247" y="1427"/>
                </a:lnTo>
                <a:lnTo>
                  <a:pt x="253" y="1458"/>
                </a:lnTo>
                <a:lnTo>
                  <a:pt x="255" y="1485"/>
                </a:lnTo>
                <a:lnTo>
                  <a:pt x="258" y="1485"/>
                </a:lnTo>
                <a:lnTo>
                  <a:pt x="268" y="1484"/>
                </a:lnTo>
                <a:lnTo>
                  <a:pt x="281" y="1483"/>
                </a:lnTo>
                <a:lnTo>
                  <a:pt x="297" y="1481"/>
                </a:lnTo>
                <a:lnTo>
                  <a:pt x="316" y="1481"/>
                </a:lnTo>
                <a:lnTo>
                  <a:pt x="334" y="1483"/>
                </a:lnTo>
                <a:lnTo>
                  <a:pt x="352" y="1485"/>
                </a:lnTo>
                <a:lnTo>
                  <a:pt x="365" y="1491"/>
                </a:lnTo>
                <a:lnTo>
                  <a:pt x="378" y="1498"/>
                </a:lnTo>
                <a:lnTo>
                  <a:pt x="392" y="1507"/>
                </a:lnTo>
                <a:lnTo>
                  <a:pt x="405" y="1517"/>
                </a:lnTo>
                <a:lnTo>
                  <a:pt x="417" y="1527"/>
                </a:lnTo>
                <a:lnTo>
                  <a:pt x="428" y="1537"/>
                </a:lnTo>
                <a:lnTo>
                  <a:pt x="436" y="1545"/>
                </a:lnTo>
                <a:lnTo>
                  <a:pt x="441" y="1549"/>
                </a:lnTo>
                <a:lnTo>
                  <a:pt x="444" y="1552"/>
                </a:lnTo>
                <a:lnTo>
                  <a:pt x="443" y="1557"/>
                </a:lnTo>
                <a:lnTo>
                  <a:pt x="441" y="1572"/>
                </a:lnTo>
                <a:lnTo>
                  <a:pt x="444" y="1591"/>
                </a:lnTo>
                <a:lnTo>
                  <a:pt x="455" y="1607"/>
                </a:lnTo>
                <a:lnTo>
                  <a:pt x="468" y="1621"/>
                </a:lnTo>
                <a:lnTo>
                  <a:pt x="475" y="1636"/>
                </a:lnTo>
                <a:lnTo>
                  <a:pt x="477" y="1654"/>
                </a:lnTo>
                <a:lnTo>
                  <a:pt x="477" y="1674"/>
                </a:lnTo>
                <a:lnTo>
                  <a:pt x="478" y="1683"/>
                </a:lnTo>
                <a:lnTo>
                  <a:pt x="481" y="1690"/>
                </a:lnTo>
                <a:lnTo>
                  <a:pt x="485" y="1696"/>
                </a:lnTo>
                <a:lnTo>
                  <a:pt x="492" y="1700"/>
                </a:lnTo>
                <a:lnTo>
                  <a:pt x="499" y="1705"/>
                </a:lnTo>
                <a:lnTo>
                  <a:pt x="507" y="1711"/>
                </a:lnTo>
                <a:lnTo>
                  <a:pt x="516" y="1716"/>
                </a:lnTo>
                <a:lnTo>
                  <a:pt x="527" y="1723"/>
                </a:lnTo>
                <a:lnTo>
                  <a:pt x="538" y="1733"/>
                </a:lnTo>
                <a:lnTo>
                  <a:pt x="550" y="1741"/>
                </a:lnTo>
                <a:lnTo>
                  <a:pt x="561" y="1747"/>
                </a:lnTo>
                <a:lnTo>
                  <a:pt x="573" y="1753"/>
                </a:lnTo>
                <a:lnTo>
                  <a:pt x="584" y="1757"/>
                </a:lnTo>
                <a:lnTo>
                  <a:pt x="595" y="1758"/>
                </a:lnTo>
                <a:lnTo>
                  <a:pt x="604" y="1754"/>
                </a:lnTo>
                <a:lnTo>
                  <a:pt x="611" y="1746"/>
                </a:lnTo>
                <a:lnTo>
                  <a:pt x="616" y="1736"/>
                </a:lnTo>
                <a:lnTo>
                  <a:pt x="622" y="1727"/>
                </a:lnTo>
                <a:lnTo>
                  <a:pt x="627" y="1719"/>
                </a:lnTo>
                <a:lnTo>
                  <a:pt x="633" y="1711"/>
                </a:lnTo>
                <a:lnTo>
                  <a:pt x="637" y="1704"/>
                </a:lnTo>
                <a:lnTo>
                  <a:pt x="641" y="1698"/>
                </a:lnTo>
                <a:lnTo>
                  <a:pt x="645" y="1691"/>
                </a:lnTo>
                <a:lnTo>
                  <a:pt x="650" y="1685"/>
                </a:lnTo>
                <a:lnTo>
                  <a:pt x="654" y="1678"/>
                </a:lnTo>
                <a:lnTo>
                  <a:pt x="663" y="1671"/>
                </a:lnTo>
                <a:lnTo>
                  <a:pt x="672" y="1663"/>
                </a:lnTo>
                <a:lnTo>
                  <a:pt x="682" y="1656"/>
                </a:lnTo>
                <a:lnTo>
                  <a:pt x="694" y="1652"/>
                </a:lnTo>
                <a:lnTo>
                  <a:pt x="705" y="1647"/>
                </a:lnTo>
                <a:lnTo>
                  <a:pt x="717" y="1645"/>
                </a:lnTo>
                <a:lnTo>
                  <a:pt x="727" y="1646"/>
                </a:lnTo>
                <a:lnTo>
                  <a:pt x="739" y="1646"/>
                </a:lnTo>
                <a:lnTo>
                  <a:pt x="750" y="1644"/>
                </a:lnTo>
                <a:lnTo>
                  <a:pt x="763" y="1639"/>
                </a:lnTo>
                <a:lnTo>
                  <a:pt x="774" y="1632"/>
                </a:lnTo>
                <a:lnTo>
                  <a:pt x="786" y="1624"/>
                </a:lnTo>
                <a:lnTo>
                  <a:pt x="795" y="1616"/>
                </a:lnTo>
                <a:lnTo>
                  <a:pt x="802" y="1608"/>
                </a:lnTo>
                <a:lnTo>
                  <a:pt x="805" y="1601"/>
                </a:lnTo>
                <a:lnTo>
                  <a:pt x="811" y="1597"/>
                </a:lnTo>
                <a:lnTo>
                  <a:pt x="821" y="1593"/>
                </a:lnTo>
                <a:lnTo>
                  <a:pt x="838" y="1591"/>
                </a:lnTo>
                <a:lnTo>
                  <a:pt x="855" y="1590"/>
                </a:lnTo>
                <a:lnTo>
                  <a:pt x="873" y="1589"/>
                </a:lnTo>
                <a:lnTo>
                  <a:pt x="892" y="1590"/>
                </a:lnTo>
                <a:lnTo>
                  <a:pt x="908" y="1590"/>
                </a:lnTo>
                <a:lnTo>
                  <a:pt x="920" y="1590"/>
                </a:lnTo>
                <a:lnTo>
                  <a:pt x="931" y="1590"/>
                </a:lnTo>
                <a:lnTo>
                  <a:pt x="941" y="1591"/>
                </a:lnTo>
                <a:lnTo>
                  <a:pt x="952" y="1593"/>
                </a:lnTo>
                <a:lnTo>
                  <a:pt x="963" y="1594"/>
                </a:lnTo>
                <a:lnTo>
                  <a:pt x="973" y="1597"/>
                </a:lnTo>
                <a:lnTo>
                  <a:pt x="984" y="1597"/>
                </a:lnTo>
                <a:lnTo>
                  <a:pt x="994" y="1597"/>
                </a:lnTo>
                <a:lnTo>
                  <a:pt x="1005" y="1595"/>
                </a:lnTo>
                <a:lnTo>
                  <a:pt x="1007" y="1594"/>
                </a:lnTo>
                <a:lnTo>
                  <a:pt x="1015" y="1593"/>
                </a:lnTo>
                <a:lnTo>
                  <a:pt x="1025" y="1591"/>
                </a:lnTo>
                <a:lnTo>
                  <a:pt x="1038" y="1589"/>
                </a:lnTo>
                <a:lnTo>
                  <a:pt x="1052" y="1587"/>
                </a:lnTo>
                <a:lnTo>
                  <a:pt x="1066" y="1586"/>
                </a:lnTo>
                <a:lnTo>
                  <a:pt x="1077" y="1587"/>
                </a:lnTo>
                <a:lnTo>
                  <a:pt x="1087" y="1590"/>
                </a:lnTo>
                <a:lnTo>
                  <a:pt x="1096" y="1593"/>
                </a:lnTo>
                <a:lnTo>
                  <a:pt x="1102" y="1595"/>
                </a:lnTo>
                <a:lnTo>
                  <a:pt x="1108" y="1595"/>
                </a:lnTo>
                <a:lnTo>
                  <a:pt x="1115" y="1594"/>
                </a:lnTo>
                <a:lnTo>
                  <a:pt x="1120" y="1593"/>
                </a:lnTo>
                <a:lnTo>
                  <a:pt x="1125" y="1590"/>
                </a:lnTo>
                <a:lnTo>
                  <a:pt x="1132" y="1585"/>
                </a:lnTo>
                <a:lnTo>
                  <a:pt x="1138" y="1579"/>
                </a:lnTo>
                <a:lnTo>
                  <a:pt x="1140" y="1579"/>
                </a:lnTo>
                <a:lnTo>
                  <a:pt x="1147" y="1578"/>
                </a:lnTo>
                <a:lnTo>
                  <a:pt x="1155" y="1577"/>
                </a:lnTo>
                <a:lnTo>
                  <a:pt x="1167" y="1576"/>
                </a:lnTo>
                <a:lnTo>
                  <a:pt x="1177" y="1576"/>
                </a:lnTo>
                <a:lnTo>
                  <a:pt x="1188" y="1577"/>
                </a:lnTo>
                <a:lnTo>
                  <a:pt x="1195" y="1579"/>
                </a:lnTo>
                <a:lnTo>
                  <a:pt x="1199" y="1585"/>
                </a:lnTo>
                <a:lnTo>
                  <a:pt x="1203" y="1590"/>
                </a:lnTo>
                <a:lnTo>
                  <a:pt x="1207" y="1591"/>
                </a:lnTo>
                <a:lnTo>
                  <a:pt x="1214" y="1589"/>
                </a:lnTo>
                <a:lnTo>
                  <a:pt x="1222" y="1584"/>
                </a:lnTo>
                <a:lnTo>
                  <a:pt x="1230" y="1577"/>
                </a:lnTo>
                <a:lnTo>
                  <a:pt x="1239" y="1569"/>
                </a:lnTo>
                <a:lnTo>
                  <a:pt x="1248" y="1557"/>
                </a:lnTo>
                <a:lnTo>
                  <a:pt x="1254" y="1546"/>
                </a:lnTo>
                <a:lnTo>
                  <a:pt x="1258" y="1539"/>
                </a:lnTo>
                <a:lnTo>
                  <a:pt x="1261" y="1529"/>
                </a:lnTo>
                <a:lnTo>
                  <a:pt x="1265" y="1518"/>
                </a:lnTo>
                <a:lnTo>
                  <a:pt x="1269" y="1506"/>
                </a:lnTo>
                <a:lnTo>
                  <a:pt x="1274" y="1493"/>
                </a:lnTo>
                <a:lnTo>
                  <a:pt x="1281" y="1479"/>
                </a:lnTo>
                <a:lnTo>
                  <a:pt x="1288" y="1465"/>
                </a:lnTo>
                <a:lnTo>
                  <a:pt x="1297" y="1451"/>
                </a:lnTo>
                <a:lnTo>
                  <a:pt x="1309" y="1439"/>
                </a:lnTo>
                <a:lnTo>
                  <a:pt x="1321" y="1427"/>
                </a:lnTo>
                <a:lnTo>
                  <a:pt x="1336" y="1416"/>
                </a:lnTo>
                <a:lnTo>
                  <a:pt x="1353" y="1407"/>
                </a:lnTo>
                <a:lnTo>
                  <a:pt x="1373" y="1400"/>
                </a:lnTo>
                <a:lnTo>
                  <a:pt x="1395" y="1395"/>
                </a:lnTo>
                <a:lnTo>
                  <a:pt x="1420" y="1394"/>
                </a:lnTo>
                <a:lnTo>
                  <a:pt x="1449" y="1395"/>
                </a:lnTo>
                <a:lnTo>
                  <a:pt x="1465" y="1385"/>
                </a:lnTo>
                <a:lnTo>
                  <a:pt x="1462" y="1380"/>
                </a:lnTo>
                <a:lnTo>
                  <a:pt x="1456" y="1367"/>
                </a:lnTo>
                <a:lnTo>
                  <a:pt x="1451" y="1351"/>
                </a:lnTo>
                <a:lnTo>
                  <a:pt x="1455" y="1334"/>
                </a:lnTo>
                <a:lnTo>
                  <a:pt x="1464" y="1313"/>
                </a:lnTo>
                <a:lnTo>
                  <a:pt x="1476" y="1290"/>
                </a:lnTo>
                <a:lnTo>
                  <a:pt x="1485" y="1271"/>
                </a:lnTo>
                <a:lnTo>
                  <a:pt x="1488" y="1263"/>
                </a:lnTo>
                <a:lnTo>
                  <a:pt x="1489" y="1259"/>
                </a:lnTo>
                <a:lnTo>
                  <a:pt x="1493" y="1252"/>
                </a:lnTo>
                <a:lnTo>
                  <a:pt x="1497" y="1241"/>
                </a:lnTo>
                <a:lnTo>
                  <a:pt x="1504" y="1228"/>
                </a:lnTo>
                <a:lnTo>
                  <a:pt x="1511" y="1214"/>
                </a:lnTo>
                <a:lnTo>
                  <a:pt x="1518" y="1202"/>
                </a:lnTo>
                <a:lnTo>
                  <a:pt x="1525" y="1191"/>
                </a:lnTo>
                <a:lnTo>
                  <a:pt x="1532" y="1184"/>
                </a:lnTo>
                <a:lnTo>
                  <a:pt x="1539" y="1180"/>
                </a:lnTo>
                <a:lnTo>
                  <a:pt x="1547" y="1176"/>
                </a:lnTo>
                <a:lnTo>
                  <a:pt x="1556" y="1172"/>
                </a:lnTo>
                <a:lnTo>
                  <a:pt x="1565" y="1167"/>
                </a:lnTo>
                <a:lnTo>
                  <a:pt x="1575" y="1164"/>
                </a:lnTo>
                <a:lnTo>
                  <a:pt x="1584" y="1159"/>
                </a:lnTo>
                <a:lnTo>
                  <a:pt x="1592" y="1155"/>
                </a:lnTo>
                <a:lnTo>
                  <a:pt x="1599" y="1151"/>
                </a:lnTo>
                <a:lnTo>
                  <a:pt x="1608" y="1138"/>
                </a:lnTo>
                <a:lnTo>
                  <a:pt x="1611" y="1121"/>
                </a:lnTo>
                <a:lnTo>
                  <a:pt x="1606" y="1105"/>
                </a:lnTo>
                <a:lnTo>
                  <a:pt x="1593" y="1096"/>
                </a:lnTo>
                <a:lnTo>
                  <a:pt x="1584" y="1090"/>
                </a:lnTo>
                <a:lnTo>
                  <a:pt x="1572" y="1079"/>
                </a:lnTo>
                <a:lnTo>
                  <a:pt x="1560" y="1063"/>
                </a:lnTo>
                <a:lnTo>
                  <a:pt x="1547" y="1045"/>
                </a:lnTo>
                <a:lnTo>
                  <a:pt x="1535" y="1023"/>
                </a:lnTo>
                <a:lnTo>
                  <a:pt x="1527" y="1000"/>
                </a:lnTo>
                <a:lnTo>
                  <a:pt x="1522" y="978"/>
                </a:lnTo>
                <a:lnTo>
                  <a:pt x="1522" y="956"/>
                </a:lnTo>
                <a:lnTo>
                  <a:pt x="1529" y="933"/>
                </a:lnTo>
                <a:lnTo>
                  <a:pt x="1541" y="905"/>
                </a:lnTo>
                <a:lnTo>
                  <a:pt x="1560" y="876"/>
                </a:lnTo>
                <a:lnTo>
                  <a:pt x="1580" y="846"/>
                </a:lnTo>
                <a:lnTo>
                  <a:pt x="1601" y="816"/>
                </a:lnTo>
                <a:lnTo>
                  <a:pt x="1621" y="789"/>
                </a:lnTo>
                <a:lnTo>
                  <a:pt x="1636" y="767"/>
                </a:lnTo>
                <a:lnTo>
                  <a:pt x="1644" y="751"/>
                </a:lnTo>
                <a:lnTo>
                  <a:pt x="1652" y="730"/>
                </a:lnTo>
                <a:lnTo>
                  <a:pt x="1659" y="715"/>
                </a:lnTo>
                <a:lnTo>
                  <a:pt x="1667" y="707"/>
                </a:lnTo>
                <a:lnTo>
                  <a:pt x="1677" y="702"/>
                </a:lnTo>
                <a:lnTo>
                  <a:pt x="1683" y="699"/>
                </a:lnTo>
                <a:lnTo>
                  <a:pt x="1690" y="695"/>
                </a:lnTo>
                <a:lnTo>
                  <a:pt x="1695" y="690"/>
                </a:lnTo>
                <a:lnTo>
                  <a:pt x="1700" y="684"/>
                </a:lnTo>
                <a:lnTo>
                  <a:pt x="1702" y="679"/>
                </a:lnTo>
                <a:lnTo>
                  <a:pt x="1702" y="673"/>
                </a:lnTo>
                <a:lnTo>
                  <a:pt x="1700" y="667"/>
                </a:lnTo>
                <a:lnTo>
                  <a:pt x="1693" y="662"/>
                </a:lnTo>
                <a:lnTo>
                  <a:pt x="1689" y="657"/>
                </a:lnTo>
                <a:lnTo>
                  <a:pt x="1689" y="647"/>
                </a:lnTo>
                <a:lnTo>
                  <a:pt x="1694" y="636"/>
                </a:lnTo>
                <a:lnTo>
                  <a:pt x="1702" y="624"/>
                </a:lnTo>
                <a:lnTo>
                  <a:pt x="1713" y="612"/>
                </a:lnTo>
                <a:lnTo>
                  <a:pt x="1723" y="603"/>
                </a:lnTo>
                <a:lnTo>
                  <a:pt x="1735" y="595"/>
                </a:lnTo>
                <a:lnTo>
                  <a:pt x="1744" y="590"/>
                </a:lnTo>
                <a:lnTo>
                  <a:pt x="1757" y="586"/>
                </a:lnTo>
                <a:lnTo>
                  <a:pt x="1775" y="580"/>
                </a:lnTo>
                <a:lnTo>
                  <a:pt x="1799" y="571"/>
                </a:lnTo>
                <a:lnTo>
                  <a:pt x="1826" y="561"/>
                </a:lnTo>
                <a:lnTo>
                  <a:pt x="1852" y="552"/>
                </a:lnTo>
                <a:lnTo>
                  <a:pt x="1876" y="543"/>
                </a:lnTo>
                <a:lnTo>
                  <a:pt x="1897" y="535"/>
                </a:lnTo>
                <a:lnTo>
                  <a:pt x="1911" y="529"/>
                </a:lnTo>
                <a:lnTo>
                  <a:pt x="1920" y="524"/>
                </a:lnTo>
                <a:lnTo>
                  <a:pt x="1929" y="516"/>
                </a:lnTo>
                <a:lnTo>
                  <a:pt x="1937" y="507"/>
                </a:lnTo>
                <a:lnTo>
                  <a:pt x="1945" y="498"/>
                </a:lnTo>
                <a:lnTo>
                  <a:pt x="1955" y="486"/>
                </a:lnTo>
                <a:lnTo>
                  <a:pt x="1964" y="476"/>
                </a:lnTo>
                <a:lnTo>
                  <a:pt x="1975" y="465"/>
                </a:lnTo>
                <a:lnTo>
                  <a:pt x="1988" y="456"/>
                </a:lnTo>
                <a:lnTo>
                  <a:pt x="2002" y="448"/>
                </a:lnTo>
                <a:lnTo>
                  <a:pt x="2017" y="440"/>
                </a:lnTo>
                <a:lnTo>
                  <a:pt x="2033" y="430"/>
                </a:lnTo>
                <a:lnTo>
                  <a:pt x="2049" y="419"/>
                </a:lnTo>
                <a:lnTo>
                  <a:pt x="2063" y="407"/>
                </a:lnTo>
                <a:lnTo>
                  <a:pt x="2074" y="393"/>
                </a:lnTo>
                <a:lnTo>
                  <a:pt x="2084" y="379"/>
                </a:lnTo>
                <a:lnTo>
                  <a:pt x="2087" y="363"/>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3" name="Text Placeholder 12"/>
          <p:cNvSpPr>
            <a:spLocks/>
          </p:cNvSpPr>
          <p:nvPr>
            <p:custDataLst>
              <p:tags r:id="rId1"/>
            </p:custDataLst>
          </p:nvPr>
        </p:nvSpPr>
        <p:spPr bwMode="auto">
          <a:xfrm>
            <a:off x="1440657" y="1131570"/>
            <a:ext cx="394339" cy="115416"/>
          </a:xfrm>
          <a:prstGeom prst="rect">
            <a:avLst/>
          </a:prstGeom>
          <a:noFill/>
          <a:ln w="9525">
            <a:noFill/>
            <a:miter lim="800000"/>
            <a:headEnd/>
            <a:tailEnd/>
          </a:ln>
        </p:spPr>
        <p:txBody>
          <a:bodyPr wrap="none" lIns="0" tIns="0" rIns="0" bIns="0">
            <a:spAutoFit/>
          </a:bodyPr>
          <a:lstStyle/>
          <a:p>
            <a:pPr defTabSz="764381">
              <a:buClrTx/>
            </a:pPr>
            <a:r>
              <a:rPr lang="en-US" sz="750" kern="1200" dirty="0">
                <a:solidFill>
                  <a:srgbClr val="313131"/>
                </a:solidFill>
                <a:ea typeface="+mn-ea"/>
                <a:cs typeface="+mn-cs"/>
              </a:rPr>
              <a:t>Germany</a:t>
            </a:r>
          </a:p>
        </p:txBody>
      </p:sp>
      <p:sp>
        <p:nvSpPr>
          <p:cNvPr id="14" name="Text Placeholder 12"/>
          <p:cNvSpPr>
            <a:spLocks/>
          </p:cNvSpPr>
          <p:nvPr>
            <p:custDataLst>
              <p:tags r:id="rId2"/>
            </p:custDataLst>
          </p:nvPr>
        </p:nvSpPr>
        <p:spPr bwMode="auto">
          <a:xfrm>
            <a:off x="4367269" y="1131570"/>
            <a:ext cx="243656" cy="115416"/>
          </a:xfrm>
          <a:prstGeom prst="rect">
            <a:avLst/>
          </a:prstGeom>
          <a:noFill/>
          <a:ln w="9525">
            <a:noFill/>
            <a:miter lim="800000"/>
            <a:headEnd/>
            <a:tailEnd/>
          </a:ln>
        </p:spPr>
        <p:txBody>
          <a:bodyPr wrap="none" lIns="0" tIns="0" rIns="0" bIns="0">
            <a:spAutoFit/>
          </a:bodyPr>
          <a:lstStyle/>
          <a:p>
            <a:pPr defTabSz="764381">
              <a:buClrTx/>
            </a:pPr>
            <a:r>
              <a:rPr lang="en-US" sz="750" kern="1200" dirty="0">
                <a:solidFill>
                  <a:srgbClr val="313131"/>
                </a:solidFill>
                <a:ea typeface="+mn-ea"/>
                <a:cs typeface="+mn-cs"/>
              </a:rPr>
              <a:t>Spain</a:t>
            </a:r>
          </a:p>
        </p:txBody>
      </p:sp>
      <p:grpSp>
        <p:nvGrpSpPr>
          <p:cNvPr id="11" name="Group 72"/>
          <p:cNvGrpSpPr/>
          <p:nvPr>
            <p:custDataLst>
              <p:tags r:id="rId3"/>
            </p:custDataLst>
          </p:nvPr>
        </p:nvGrpSpPr>
        <p:grpSpPr bwMode="gray">
          <a:xfrm>
            <a:off x="1440656" y="1108472"/>
            <a:ext cx="2737301" cy="3688833"/>
            <a:chOff x="2579655" y="974725"/>
            <a:chExt cx="4054694" cy="5464175"/>
          </a:xfrm>
          <a:solidFill>
            <a:srgbClr val="00A1DE"/>
          </a:solidFill>
        </p:grpSpPr>
        <p:sp>
          <p:nvSpPr>
            <p:cNvPr id="12" name="Freeform 11"/>
            <p:cNvSpPr/>
            <p:nvPr>
              <p:custDataLst>
                <p:tags r:id="rId4"/>
              </p:custDataLst>
            </p:nvPr>
          </p:nvSpPr>
          <p:spPr bwMode="gray">
            <a:xfrm>
              <a:off x="2579655" y="2746648"/>
              <a:ext cx="1587719" cy="1499103"/>
            </a:xfrm>
            <a:custGeom>
              <a:avLst/>
              <a:gdLst>
                <a:gd name="connsiteX0" fmla="*/ 563782 w 1587719"/>
                <a:gd name="connsiteY0" fmla="*/ 177527 h 1499103"/>
                <a:gd name="connsiteX1" fmla="*/ 673319 w 1587719"/>
                <a:gd name="connsiteY1" fmla="*/ 163240 h 1499103"/>
                <a:gd name="connsiteX2" fmla="*/ 697132 w 1587719"/>
                <a:gd name="connsiteY2" fmla="*/ 139427 h 1499103"/>
                <a:gd name="connsiteX3" fmla="*/ 725707 w 1587719"/>
                <a:gd name="connsiteY3" fmla="*/ 129902 h 1499103"/>
                <a:gd name="connsiteX4" fmla="*/ 739994 w 1587719"/>
                <a:gd name="connsiteY4" fmla="*/ 120377 h 1499103"/>
                <a:gd name="connsiteX5" fmla="*/ 768569 w 1587719"/>
                <a:gd name="connsiteY5" fmla="*/ 110852 h 1499103"/>
                <a:gd name="connsiteX6" fmla="*/ 782857 w 1587719"/>
                <a:gd name="connsiteY6" fmla="*/ 106090 h 1499103"/>
                <a:gd name="connsiteX7" fmla="*/ 787619 w 1587719"/>
                <a:gd name="connsiteY7" fmla="*/ 91802 h 1499103"/>
                <a:gd name="connsiteX8" fmla="*/ 806669 w 1587719"/>
                <a:gd name="connsiteY8" fmla="*/ 63227 h 1499103"/>
                <a:gd name="connsiteX9" fmla="*/ 792382 w 1587719"/>
                <a:gd name="connsiteY9" fmla="*/ 34652 h 1499103"/>
                <a:gd name="connsiteX10" fmla="*/ 797144 w 1587719"/>
                <a:gd name="connsiteY10" fmla="*/ 20365 h 1499103"/>
                <a:gd name="connsiteX11" fmla="*/ 825719 w 1587719"/>
                <a:gd name="connsiteY11" fmla="*/ 25127 h 1499103"/>
                <a:gd name="connsiteX12" fmla="*/ 844769 w 1587719"/>
                <a:gd name="connsiteY12" fmla="*/ 53702 h 1499103"/>
                <a:gd name="connsiteX13" fmla="*/ 863819 w 1587719"/>
                <a:gd name="connsiteY13" fmla="*/ 82277 h 1499103"/>
                <a:gd name="connsiteX14" fmla="*/ 878107 w 1587719"/>
                <a:gd name="connsiteY14" fmla="*/ 96565 h 1499103"/>
                <a:gd name="connsiteX15" fmla="*/ 935257 w 1587719"/>
                <a:gd name="connsiteY15" fmla="*/ 101327 h 1499103"/>
                <a:gd name="connsiteX16" fmla="*/ 949544 w 1587719"/>
                <a:gd name="connsiteY16" fmla="*/ 106090 h 1499103"/>
                <a:gd name="connsiteX17" fmla="*/ 959069 w 1587719"/>
                <a:gd name="connsiteY17" fmla="*/ 134665 h 1499103"/>
                <a:gd name="connsiteX18" fmla="*/ 944782 w 1587719"/>
                <a:gd name="connsiteY18" fmla="*/ 163240 h 1499103"/>
                <a:gd name="connsiteX19" fmla="*/ 949544 w 1587719"/>
                <a:gd name="connsiteY19" fmla="*/ 177527 h 1499103"/>
                <a:gd name="connsiteX20" fmla="*/ 944782 w 1587719"/>
                <a:gd name="connsiteY20" fmla="*/ 196577 h 1499103"/>
                <a:gd name="connsiteX21" fmla="*/ 944782 w 1587719"/>
                <a:gd name="connsiteY21" fmla="*/ 234677 h 1499103"/>
                <a:gd name="connsiteX22" fmla="*/ 959069 w 1587719"/>
                <a:gd name="connsiteY22" fmla="*/ 239440 h 1499103"/>
                <a:gd name="connsiteX23" fmla="*/ 968594 w 1587719"/>
                <a:gd name="connsiteY23" fmla="*/ 253727 h 1499103"/>
                <a:gd name="connsiteX24" fmla="*/ 954307 w 1587719"/>
                <a:gd name="connsiteY24" fmla="*/ 282302 h 1499103"/>
                <a:gd name="connsiteX25" fmla="*/ 940019 w 1587719"/>
                <a:gd name="connsiteY25" fmla="*/ 287065 h 1499103"/>
                <a:gd name="connsiteX26" fmla="*/ 930494 w 1587719"/>
                <a:gd name="connsiteY26" fmla="*/ 320402 h 1499103"/>
                <a:gd name="connsiteX27" fmla="*/ 959069 w 1587719"/>
                <a:gd name="connsiteY27" fmla="*/ 339452 h 1499103"/>
                <a:gd name="connsiteX28" fmla="*/ 982882 w 1587719"/>
                <a:gd name="connsiteY28" fmla="*/ 315640 h 1499103"/>
                <a:gd name="connsiteX29" fmla="*/ 1006694 w 1587719"/>
                <a:gd name="connsiteY29" fmla="*/ 320402 h 1499103"/>
                <a:gd name="connsiteX30" fmla="*/ 1059082 w 1587719"/>
                <a:gd name="connsiteY30" fmla="*/ 287065 h 1499103"/>
                <a:gd name="connsiteX31" fmla="*/ 1059082 w 1587719"/>
                <a:gd name="connsiteY31" fmla="*/ 287065 h 1499103"/>
                <a:gd name="connsiteX32" fmla="*/ 1087657 w 1587719"/>
                <a:gd name="connsiteY32" fmla="*/ 277540 h 1499103"/>
                <a:gd name="connsiteX33" fmla="*/ 1101944 w 1587719"/>
                <a:gd name="connsiteY33" fmla="*/ 272777 h 1499103"/>
                <a:gd name="connsiteX34" fmla="*/ 1120994 w 1587719"/>
                <a:gd name="connsiteY34" fmla="*/ 277540 h 1499103"/>
                <a:gd name="connsiteX35" fmla="*/ 1135282 w 1587719"/>
                <a:gd name="connsiteY35" fmla="*/ 287065 h 1499103"/>
                <a:gd name="connsiteX36" fmla="*/ 1149569 w 1587719"/>
                <a:gd name="connsiteY36" fmla="*/ 291827 h 1499103"/>
                <a:gd name="connsiteX37" fmla="*/ 1154332 w 1587719"/>
                <a:gd name="connsiteY37" fmla="*/ 272777 h 1499103"/>
                <a:gd name="connsiteX38" fmla="*/ 1178144 w 1587719"/>
                <a:gd name="connsiteY38" fmla="*/ 253727 h 1499103"/>
                <a:gd name="connsiteX39" fmla="*/ 1159094 w 1587719"/>
                <a:gd name="connsiteY39" fmla="*/ 210865 h 1499103"/>
                <a:gd name="connsiteX40" fmla="*/ 1163857 w 1587719"/>
                <a:gd name="connsiteY40" fmla="*/ 196577 h 1499103"/>
                <a:gd name="connsiteX41" fmla="*/ 1173382 w 1587719"/>
                <a:gd name="connsiteY41" fmla="*/ 182290 h 1499103"/>
                <a:gd name="connsiteX42" fmla="*/ 1182907 w 1587719"/>
                <a:gd name="connsiteY42" fmla="*/ 153715 h 1499103"/>
                <a:gd name="connsiteX43" fmla="*/ 1173382 w 1587719"/>
                <a:gd name="connsiteY43" fmla="*/ 139427 h 1499103"/>
                <a:gd name="connsiteX44" fmla="*/ 1154332 w 1587719"/>
                <a:gd name="connsiteY44" fmla="*/ 96565 h 1499103"/>
                <a:gd name="connsiteX45" fmla="*/ 1140044 w 1587719"/>
                <a:gd name="connsiteY45" fmla="*/ 91802 h 1499103"/>
                <a:gd name="connsiteX46" fmla="*/ 1125757 w 1587719"/>
                <a:gd name="connsiteY46" fmla="*/ 77515 h 1499103"/>
                <a:gd name="connsiteX47" fmla="*/ 1111469 w 1587719"/>
                <a:gd name="connsiteY47" fmla="*/ 67990 h 1499103"/>
                <a:gd name="connsiteX48" fmla="*/ 1101944 w 1587719"/>
                <a:gd name="connsiteY48" fmla="*/ 53702 h 1499103"/>
                <a:gd name="connsiteX49" fmla="*/ 1116232 w 1587719"/>
                <a:gd name="connsiteY49" fmla="*/ 48940 h 1499103"/>
                <a:gd name="connsiteX50" fmla="*/ 1144807 w 1587719"/>
                <a:gd name="connsiteY50" fmla="*/ 58465 h 1499103"/>
                <a:gd name="connsiteX51" fmla="*/ 1163857 w 1587719"/>
                <a:gd name="connsiteY51" fmla="*/ 53702 h 1499103"/>
                <a:gd name="connsiteX52" fmla="*/ 1182907 w 1587719"/>
                <a:gd name="connsiteY52" fmla="*/ 10840 h 1499103"/>
                <a:gd name="connsiteX53" fmla="*/ 1197194 w 1587719"/>
                <a:gd name="connsiteY53" fmla="*/ 6077 h 1499103"/>
                <a:gd name="connsiteX54" fmla="*/ 1244819 w 1587719"/>
                <a:gd name="connsiteY54" fmla="*/ 10840 h 1499103"/>
                <a:gd name="connsiteX55" fmla="*/ 1259107 w 1587719"/>
                <a:gd name="connsiteY55" fmla="*/ 1315 h 1499103"/>
                <a:gd name="connsiteX56" fmla="*/ 1287682 w 1587719"/>
                <a:gd name="connsiteY56" fmla="*/ 15602 h 1499103"/>
                <a:gd name="connsiteX57" fmla="*/ 1292444 w 1587719"/>
                <a:gd name="connsiteY57" fmla="*/ 87040 h 1499103"/>
                <a:gd name="connsiteX58" fmla="*/ 1297207 w 1587719"/>
                <a:gd name="connsiteY58" fmla="*/ 101327 h 1499103"/>
                <a:gd name="connsiteX59" fmla="*/ 1330544 w 1587719"/>
                <a:gd name="connsiteY59" fmla="*/ 96565 h 1499103"/>
                <a:gd name="connsiteX60" fmla="*/ 1363882 w 1587719"/>
                <a:gd name="connsiteY60" fmla="*/ 87040 h 1499103"/>
                <a:gd name="connsiteX61" fmla="*/ 1382932 w 1587719"/>
                <a:gd name="connsiteY61" fmla="*/ 82277 h 1499103"/>
                <a:gd name="connsiteX62" fmla="*/ 1416269 w 1587719"/>
                <a:gd name="connsiteY62" fmla="*/ 39415 h 1499103"/>
                <a:gd name="connsiteX63" fmla="*/ 1425794 w 1587719"/>
                <a:gd name="connsiteY63" fmla="*/ 25127 h 1499103"/>
                <a:gd name="connsiteX64" fmla="*/ 1440082 w 1587719"/>
                <a:gd name="connsiteY64" fmla="*/ 20365 h 1499103"/>
                <a:gd name="connsiteX65" fmla="*/ 1459132 w 1587719"/>
                <a:gd name="connsiteY65" fmla="*/ 25127 h 1499103"/>
                <a:gd name="connsiteX66" fmla="*/ 1454369 w 1587719"/>
                <a:gd name="connsiteY66" fmla="*/ 48940 h 1499103"/>
                <a:gd name="connsiteX67" fmla="*/ 1440082 w 1587719"/>
                <a:gd name="connsiteY67" fmla="*/ 120377 h 1499103"/>
                <a:gd name="connsiteX68" fmla="*/ 1425794 w 1587719"/>
                <a:gd name="connsiteY68" fmla="*/ 125140 h 1499103"/>
                <a:gd name="connsiteX69" fmla="*/ 1411507 w 1587719"/>
                <a:gd name="connsiteY69" fmla="*/ 139427 h 1499103"/>
                <a:gd name="connsiteX70" fmla="*/ 1406744 w 1587719"/>
                <a:gd name="connsiteY70" fmla="*/ 153715 h 1499103"/>
                <a:gd name="connsiteX71" fmla="*/ 1397219 w 1587719"/>
                <a:gd name="connsiteY71" fmla="*/ 168002 h 1499103"/>
                <a:gd name="connsiteX72" fmla="*/ 1401982 w 1587719"/>
                <a:gd name="connsiteY72" fmla="*/ 182290 h 1499103"/>
                <a:gd name="connsiteX73" fmla="*/ 1416269 w 1587719"/>
                <a:gd name="connsiteY73" fmla="*/ 187052 h 1499103"/>
                <a:gd name="connsiteX74" fmla="*/ 1430557 w 1587719"/>
                <a:gd name="connsiteY74" fmla="*/ 201340 h 1499103"/>
                <a:gd name="connsiteX75" fmla="*/ 1416269 w 1587719"/>
                <a:gd name="connsiteY75" fmla="*/ 239440 h 1499103"/>
                <a:gd name="connsiteX76" fmla="*/ 1401982 w 1587719"/>
                <a:gd name="connsiteY76" fmla="*/ 244202 h 1499103"/>
                <a:gd name="connsiteX77" fmla="*/ 1406744 w 1587719"/>
                <a:gd name="connsiteY77" fmla="*/ 258490 h 1499103"/>
                <a:gd name="connsiteX78" fmla="*/ 1416269 w 1587719"/>
                <a:gd name="connsiteY78" fmla="*/ 272777 h 1499103"/>
                <a:gd name="connsiteX79" fmla="*/ 1430557 w 1587719"/>
                <a:gd name="connsiteY79" fmla="*/ 277540 h 1499103"/>
                <a:gd name="connsiteX80" fmla="*/ 1463894 w 1587719"/>
                <a:gd name="connsiteY80" fmla="*/ 282302 h 1499103"/>
                <a:gd name="connsiteX81" fmla="*/ 1478182 w 1587719"/>
                <a:gd name="connsiteY81" fmla="*/ 291827 h 1499103"/>
                <a:gd name="connsiteX82" fmla="*/ 1478182 w 1587719"/>
                <a:gd name="connsiteY82" fmla="*/ 329927 h 1499103"/>
                <a:gd name="connsiteX83" fmla="*/ 1473419 w 1587719"/>
                <a:gd name="connsiteY83" fmla="*/ 344215 h 1499103"/>
                <a:gd name="connsiteX84" fmla="*/ 1487707 w 1587719"/>
                <a:gd name="connsiteY84" fmla="*/ 406127 h 1499103"/>
                <a:gd name="connsiteX85" fmla="*/ 1516282 w 1587719"/>
                <a:gd name="connsiteY85" fmla="*/ 425177 h 1499103"/>
                <a:gd name="connsiteX86" fmla="*/ 1544857 w 1587719"/>
                <a:gd name="connsiteY86" fmla="*/ 429940 h 1499103"/>
                <a:gd name="connsiteX87" fmla="*/ 1554382 w 1587719"/>
                <a:gd name="connsiteY87" fmla="*/ 444227 h 1499103"/>
                <a:gd name="connsiteX88" fmla="*/ 1554382 w 1587719"/>
                <a:gd name="connsiteY88" fmla="*/ 472802 h 1499103"/>
                <a:gd name="connsiteX89" fmla="*/ 1587719 w 1587719"/>
                <a:gd name="connsiteY89" fmla="*/ 491852 h 1499103"/>
                <a:gd name="connsiteX90" fmla="*/ 1582957 w 1587719"/>
                <a:gd name="connsiteY90" fmla="*/ 510902 h 1499103"/>
                <a:gd name="connsiteX91" fmla="*/ 1573432 w 1587719"/>
                <a:gd name="connsiteY91" fmla="*/ 539477 h 1499103"/>
                <a:gd name="connsiteX92" fmla="*/ 1563907 w 1587719"/>
                <a:gd name="connsiteY92" fmla="*/ 582340 h 1499103"/>
                <a:gd name="connsiteX93" fmla="*/ 1568669 w 1587719"/>
                <a:gd name="connsiteY93" fmla="*/ 625202 h 1499103"/>
                <a:gd name="connsiteX94" fmla="*/ 1563907 w 1587719"/>
                <a:gd name="connsiteY94" fmla="*/ 653777 h 1499103"/>
                <a:gd name="connsiteX95" fmla="*/ 1559144 w 1587719"/>
                <a:gd name="connsiteY95" fmla="*/ 677590 h 1499103"/>
                <a:gd name="connsiteX96" fmla="*/ 1535332 w 1587719"/>
                <a:gd name="connsiteY96" fmla="*/ 701402 h 1499103"/>
                <a:gd name="connsiteX97" fmla="*/ 1521044 w 1587719"/>
                <a:gd name="connsiteY97" fmla="*/ 715690 h 1499103"/>
                <a:gd name="connsiteX98" fmla="*/ 1506757 w 1587719"/>
                <a:gd name="connsiteY98" fmla="*/ 725215 h 1499103"/>
                <a:gd name="connsiteX99" fmla="*/ 1463894 w 1587719"/>
                <a:gd name="connsiteY99" fmla="*/ 763315 h 1499103"/>
                <a:gd name="connsiteX100" fmla="*/ 1449607 w 1587719"/>
                <a:gd name="connsiteY100" fmla="*/ 768077 h 1499103"/>
                <a:gd name="connsiteX101" fmla="*/ 1421032 w 1587719"/>
                <a:gd name="connsiteY101" fmla="*/ 749027 h 1499103"/>
                <a:gd name="connsiteX102" fmla="*/ 1411507 w 1587719"/>
                <a:gd name="connsiteY102" fmla="*/ 710927 h 1499103"/>
                <a:gd name="connsiteX103" fmla="*/ 1392457 w 1587719"/>
                <a:gd name="connsiteY103" fmla="*/ 706165 h 1499103"/>
                <a:gd name="connsiteX104" fmla="*/ 1354357 w 1587719"/>
                <a:gd name="connsiteY104" fmla="*/ 739502 h 1499103"/>
                <a:gd name="connsiteX105" fmla="*/ 1359119 w 1587719"/>
                <a:gd name="connsiteY105" fmla="*/ 753790 h 1499103"/>
                <a:gd name="connsiteX106" fmla="*/ 1378169 w 1587719"/>
                <a:gd name="connsiteY106" fmla="*/ 782365 h 1499103"/>
                <a:gd name="connsiteX107" fmla="*/ 1373407 w 1587719"/>
                <a:gd name="connsiteY107" fmla="*/ 796652 h 1499103"/>
                <a:gd name="connsiteX108" fmla="*/ 1344832 w 1587719"/>
                <a:gd name="connsiteY108" fmla="*/ 810940 h 1499103"/>
                <a:gd name="connsiteX109" fmla="*/ 1278157 w 1587719"/>
                <a:gd name="connsiteY109" fmla="*/ 810940 h 1499103"/>
                <a:gd name="connsiteX110" fmla="*/ 1249582 w 1587719"/>
                <a:gd name="connsiteY110" fmla="*/ 820465 h 1499103"/>
                <a:gd name="connsiteX111" fmla="*/ 1235294 w 1587719"/>
                <a:gd name="connsiteY111" fmla="*/ 825227 h 1499103"/>
                <a:gd name="connsiteX112" fmla="*/ 1221007 w 1587719"/>
                <a:gd name="connsiteY112" fmla="*/ 834752 h 1499103"/>
                <a:gd name="connsiteX113" fmla="*/ 1216244 w 1587719"/>
                <a:gd name="connsiteY113" fmla="*/ 849040 h 1499103"/>
                <a:gd name="connsiteX114" fmla="*/ 1201957 w 1587719"/>
                <a:gd name="connsiteY114" fmla="*/ 863327 h 1499103"/>
                <a:gd name="connsiteX115" fmla="*/ 1206719 w 1587719"/>
                <a:gd name="connsiteY115" fmla="*/ 887140 h 1499103"/>
                <a:gd name="connsiteX116" fmla="*/ 1211482 w 1587719"/>
                <a:gd name="connsiteY116" fmla="*/ 901427 h 1499103"/>
                <a:gd name="connsiteX117" fmla="*/ 1240057 w 1587719"/>
                <a:gd name="connsiteY117" fmla="*/ 891902 h 1499103"/>
                <a:gd name="connsiteX118" fmla="*/ 1254344 w 1587719"/>
                <a:gd name="connsiteY118" fmla="*/ 887140 h 1499103"/>
                <a:gd name="connsiteX119" fmla="*/ 1268632 w 1587719"/>
                <a:gd name="connsiteY119" fmla="*/ 882377 h 1499103"/>
                <a:gd name="connsiteX120" fmla="*/ 1287682 w 1587719"/>
                <a:gd name="connsiteY120" fmla="*/ 906190 h 1499103"/>
                <a:gd name="connsiteX121" fmla="*/ 1278157 w 1587719"/>
                <a:gd name="connsiteY121" fmla="*/ 934765 h 1499103"/>
                <a:gd name="connsiteX122" fmla="*/ 1273394 w 1587719"/>
                <a:gd name="connsiteY122" fmla="*/ 949052 h 1499103"/>
                <a:gd name="connsiteX123" fmla="*/ 1268632 w 1587719"/>
                <a:gd name="connsiteY123" fmla="*/ 977627 h 1499103"/>
                <a:gd name="connsiteX124" fmla="*/ 1263869 w 1587719"/>
                <a:gd name="connsiteY124" fmla="*/ 991915 h 1499103"/>
                <a:gd name="connsiteX125" fmla="*/ 1235294 w 1587719"/>
                <a:gd name="connsiteY125" fmla="*/ 1010965 h 1499103"/>
                <a:gd name="connsiteX126" fmla="*/ 1216244 w 1587719"/>
                <a:gd name="connsiteY126" fmla="*/ 1006202 h 1499103"/>
                <a:gd name="connsiteX127" fmla="*/ 1187669 w 1587719"/>
                <a:gd name="connsiteY127" fmla="*/ 996677 h 1499103"/>
                <a:gd name="connsiteX128" fmla="*/ 1178144 w 1587719"/>
                <a:gd name="connsiteY128" fmla="*/ 1010965 h 1499103"/>
                <a:gd name="connsiteX129" fmla="*/ 1187669 w 1587719"/>
                <a:gd name="connsiteY129" fmla="*/ 1063352 h 1499103"/>
                <a:gd name="connsiteX130" fmla="*/ 1173382 w 1587719"/>
                <a:gd name="connsiteY130" fmla="*/ 1077640 h 1499103"/>
                <a:gd name="connsiteX131" fmla="*/ 1159094 w 1587719"/>
                <a:gd name="connsiteY131" fmla="*/ 1082402 h 1499103"/>
                <a:gd name="connsiteX132" fmla="*/ 1154332 w 1587719"/>
                <a:gd name="connsiteY132" fmla="*/ 1096690 h 1499103"/>
                <a:gd name="connsiteX133" fmla="*/ 1140044 w 1587719"/>
                <a:gd name="connsiteY133" fmla="*/ 1110977 h 1499103"/>
                <a:gd name="connsiteX134" fmla="*/ 1120994 w 1587719"/>
                <a:gd name="connsiteY134" fmla="*/ 1139552 h 1499103"/>
                <a:gd name="connsiteX135" fmla="*/ 1116232 w 1587719"/>
                <a:gd name="connsiteY135" fmla="*/ 1168127 h 1499103"/>
                <a:gd name="connsiteX136" fmla="*/ 1087657 w 1587719"/>
                <a:gd name="connsiteY136" fmla="*/ 1158602 h 1499103"/>
                <a:gd name="connsiteX137" fmla="*/ 1068607 w 1587719"/>
                <a:gd name="connsiteY137" fmla="*/ 1153840 h 1499103"/>
                <a:gd name="connsiteX138" fmla="*/ 1040032 w 1587719"/>
                <a:gd name="connsiteY138" fmla="*/ 1168127 h 1499103"/>
                <a:gd name="connsiteX139" fmla="*/ 1030507 w 1587719"/>
                <a:gd name="connsiteY139" fmla="*/ 1182415 h 1499103"/>
                <a:gd name="connsiteX140" fmla="*/ 1016219 w 1587719"/>
                <a:gd name="connsiteY140" fmla="*/ 1196702 h 1499103"/>
                <a:gd name="connsiteX141" fmla="*/ 1011457 w 1587719"/>
                <a:gd name="connsiteY141" fmla="*/ 1210990 h 1499103"/>
                <a:gd name="connsiteX142" fmla="*/ 997169 w 1587719"/>
                <a:gd name="connsiteY142" fmla="*/ 1225277 h 1499103"/>
                <a:gd name="connsiteX143" fmla="*/ 1006694 w 1587719"/>
                <a:gd name="connsiteY143" fmla="*/ 1253852 h 1499103"/>
                <a:gd name="connsiteX144" fmla="*/ 1001932 w 1587719"/>
                <a:gd name="connsiteY144" fmla="*/ 1268140 h 1499103"/>
                <a:gd name="connsiteX145" fmla="*/ 973357 w 1587719"/>
                <a:gd name="connsiteY145" fmla="*/ 1277665 h 1499103"/>
                <a:gd name="connsiteX146" fmla="*/ 954307 w 1587719"/>
                <a:gd name="connsiteY146" fmla="*/ 1253852 h 1499103"/>
                <a:gd name="connsiteX147" fmla="*/ 940019 w 1587719"/>
                <a:gd name="connsiteY147" fmla="*/ 1239565 h 1499103"/>
                <a:gd name="connsiteX148" fmla="*/ 930494 w 1587719"/>
                <a:gd name="connsiteY148" fmla="*/ 1225277 h 1499103"/>
                <a:gd name="connsiteX149" fmla="*/ 925732 w 1587719"/>
                <a:gd name="connsiteY149" fmla="*/ 1210990 h 1499103"/>
                <a:gd name="connsiteX150" fmla="*/ 925732 w 1587719"/>
                <a:gd name="connsiteY150" fmla="*/ 1182415 h 1499103"/>
                <a:gd name="connsiteX151" fmla="*/ 911444 w 1587719"/>
                <a:gd name="connsiteY151" fmla="*/ 1168127 h 1499103"/>
                <a:gd name="connsiteX152" fmla="*/ 882869 w 1587719"/>
                <a:gd name="connsiteY152" fmla="*/ 1149077 h 1499103"/>
                <a:gd name="connsiteX153" fmla="*/ 873344 w 1587719"/>
                <a:gd name="connsiteY153" fmla="*/ 1134790 h 1499103"/>
                <a:gd name="connsiteX154" fmla="*/ 868582 w 1587719"/>
                <a:gd name="connsiteY154" fmla="*/ 1101452 h 1499103"/>
                <a:gd name="connsiteX155" fmla="*/ 849532 w 1587719"/>
                <a:gd name="connsiteY155" fmla="*/ 1106215 h 1499103"/>
                <a:gd name="connsiteX156" fmla="*/ 835244 w 1587719"/>
                <a:gd name="connsiteY156" fmla="*/ 1168127 h 1499103"/>
                <a:gd name="connsiteX157" fmla="*/ 825719 w 1587719"/>
                <a:gd name="connsiteY157" fmla="*/ 1182415 h 1499103"/>
                <a:gd name="connsiteX158" fmla="*/ 787619 w 1587719"/>
                <a:gd name="connsiteY158" fmla="*/ 1187177 h 1499103"/>
                <a:gd name="connsiteX159" fmla="*/ 797144 w 1587719"/>
                <a:gd name="connsiteY159" fmla="*/ 1215752 h 1499103"/>
                <a:gd name="connsiteX160" fmla="*/ 787619 w 1587719"/>
                <a:gd name="connsiteY160" fmla="*/ 1230040 h 1499103"/>
                <a:gd name="connsiteX161" fmla="*/ 768569 w 1587719"/>
                <a:gd name="connsiteY161" fmla="*/ 1234802 h 1499103"/>
                <a:gd name="connsiteX162" fmla="*/ 739994 w 1587719"/>
                <a:gd name="connsiteY162" fmla="*/ 1244327 h 1499103"/>
                <a:gd name="connsiteX163" fmla="*/ 711419 w 1587719"/>
                <a:gd name="connsiteY163" fmla="*/ 1258615 h 1499103"/>
                <a:gd name="connsiteX164" fmla="*/ 659032 w 1587719"/>
                <a:gd name="connsiteY164" fmla="*/ 1272902 h 1499103"/>
                <a:gd name="connsiteX165" fmla="*/ 654269 w 1587719"/>
                <a:gd name="connsiteY165" fmla="*/ 1287190 h 1499103"/>
                <a:gd name="connsiteX166" fmla="*/ 649507 w 1587719"/>
                <a:gd name="connsiteY166" fmla="*/ 1306240 h 1499103"/>
                <a:gd name="connsiteX167" fmla="*/ 582832 w 1587719"/>
                <a:gd name="connsiteY167" fmla="*/ 1320527 h 1499103"/>
                <a:gd name="connsiteX168" fmla="*/ 568544 w 1587719"/>
                <a:gd name="connsiteY168" fmla="*/ 1325290 h 1499103"/>
                <a:gd name="connsiteX169" fmla="*/ 539969 w 1587719"/>
                <a:gd name="connsiteY169" fmla="*/ 1339577 h 1499103"/>
                <a:gd name="connsiteX170" fmla="*/ 497107 w 1587719"/>
                <a:gd name="connsiteY170" fmla="*/ 1344340 h 1499103"/>
                <a:gd name="connsiteX171" fmla="*/ 468532 w 1587719"/>
                <a:gd name="connsiteY171" fmla="*/ 1358627 h 1499103"/>
                <a:gd name="connsiteX172" fmla="*/ 459007 w 1587719"/>
                <a:gd name="connsiteY172" fmla="*/ 1387202 h 1499103"/>
                <a:gd name="connsiteX173" fmla="*/ 439957 w 1587719"/>
                <a:gd name="connsiteY173" fmla="*/ 1415777 h 1499103"/>
                <a:gd name="connsiteX174" fmla="*/ 430432 w 1587719"/>
                <a:gd name="connsiteY174" fmla="*/ 1430065 h 1499103"/>
                <a:gd name="connsiteX175" fmla="*/ 401857 w 1587719"/>
                <a:gd name="connsiteY175" fmla="*/ 1439590 h 1499103"/>
                <a:gd name="connsiteX176" fmla="*/ 387569 w 1587719"/>
                <a:gd name="connsiteY176" fmla="*/ 1449115 h 1499103"/>
                <a:gd name="connsiteX177" fmla="*/ 368519 w 1587719"/>
                <a:gd name="connsiteY177" fmla="*/ 1496740 h 1499103"/>
                <a:gd name="connsiteX178" fmla="*/ 325657 w 1587719"/>
                <a:gd name="connsiteY178" fmla="*/ 1491977 h 1499103"/>
                <a:gd name="connsiteX179" fmla="*/ 311369 w 1587719"/>
                <a:gd name="connsiteY179" fmla="*/ 1477690 h 1499103"/>
                <a:gd name="connsiteX180" fmla="*/ 282794 w 1587719"/>
                <a:gd name="connsiteY180" fmla="*/ 1482452 h 1499103"/>
                <a:gd name="connsiteX181" fmla="*/ 235169 w 1587719"/>
                <a:gd name="connsiteY181" fmla="*/ 1477690 h 1499103"/>
                <a:gd name="connsiteX182" fmla="*/ 220882 w 1587719"/>
                <a:gd name="connsiteY182" fmla="*/ 1472927 h 1499103"/>
                <a:gd name="connsiteX183" fmla="*/ 192307 w 1587719"/>
                <a:gd name="connsiteY183" fmla="*/ 1468165 h 1499103"/>
                <a:gd name="connsiteX184" fmla="*/ 197069 w 1587719"/>
                <a:gd name="connsiteY184" fmla="*/ 1453877 h 1499103"/>
                <a:gd name="connsiteX185" fmla="*/ 206594 w 1587719"/>
                <a:gd name="connsiteY185" fmla="*/ 1439590 h 1499103"/>
                <a:gd name="connsiteX186" fmla="*/ 201832 w 1587719"/>
                <a:gd name="connsiteY186" fmla="*/ 1406252 h 1499103"/>
                <a:gd name="connsiteX187" fmla="*/ 187544 w 1587719"/>
                <a:gd name="connsiteY187" fmla="*/ 1396727 h 1499103"/>
                <a:gd name="connsiteX188" fmla="*/ 149444 w 1587719"/>
                <a:gd name="connsiteY188" fmla="*/ 1387202 h 1499103"/>
                <a:gd name="connsiteX189" fmla="*/ 135157 w 1587719"/>
                <a:gd name="connsiteY189" fmla="*/ 1377677 h 1499103"/>
                <a:gd name="connsiteX190" fmla="*/ 130394 w 1587719"/>
                <a:gd name="connsiteY190" fmla="*/ 1363390 h 1499103"/>
                <a:gd name="connsiteX191" fmla="*/ 144682 w 1587719"/>
                <a:gd name="connsiteY191" fmla="*/ 1306240 h 1499103"/>
                <a:gd name="connsiteX192" fmla="*/ 139919 w 1587719"/>
                <a:gd name="connsiteY192" fmla="*/ 1287190 h 1499103"/>
                <a:gd name="connsiteX193" fmla="*/ 111344 w 1587719"/>
                <a:gd name="connsiteY193" fmla="*/ 1272902 h 1499103"/>
                <a:gd name="connsiteX194" fmla="*/ 106582 w 1587719"/>
                <a:gd name="connsiteY194" fmla="*/ 1258615 h 1499103"/>
                <a:gd name="connsiteX195" fmla="*/ 97057 w 1587719"/>
                <a:gd name="connsiteY195" fmla="*/ 1220515 h 1499103"/>
                <a:gd name="connsiteX196" fmla="*/ 87532 w 1587719"/>
                <a:gd name="connsiteY196" fmla="*/ 1206227 h 1499103"/>
                <a:gd name="connsiteX197" fmla="*/ 73244 w 1587719"/>
                <a:gd name="connsiteY197" fmla="*/ 1201465 h 1499103"/>
                <a:gd name="connsiteX198" fmla="*/ 63719 w 1587719"/>
                <a:gd name="connsiteY198" fmla="*/ 1187177 h 1499103"/>
                <a:gd name="connsiteX199" fmla="*/ 63719 w 1587719"/>
                <a:gd name="connsiteY199" fmla="*/ 1149077 h 1499103"/>
                <a:gd name="connsiteX200" fmla="*/ 78007 w 1587719"/>
                <a:gd name="connsiteY200" fmla="*/ 1134790 h 1499103"/>
                <a:gd name="connsiteX201" fmla="*/ 87532 w 1587719"/>
                <a:gd name="connsiteY201" fmla="*/ 1120502 h 1499103"/>
                <a:gd name="connsiteX202" fmla="*/ 82769 w 1587719"/>
                <a:gd name="connsiteY202" fmla="*/ 1087165 h 1499103"/>
                <a:gd name="connsiteX203" fmla="*/ 63719 w 1587719"/>
                <a:gd name="connsiteY203" fmla="*/ 1058590 h 1499103"/>
                <a:gd name="connsiteX204" fmla="*/ 68482 w 1587719"/>
                <a:gd name="connsiteY204" fmla="*/ 1044302 h 1499103"/>
                <a:gd name="connsiteX205" fmla="*/ 54194 w 1587719"/>
                <a:gd name="connsiteY205" fmla="*/ 1039540 h 1499103"/>
                <a:gd name="connsiteX206" fmla="*/ 20857 w 1587719"/>
                <a:gd name="connsiteY206" fmla="*/ 1034777 h 1499103"/>
                <a:gd name="connsiteX207" fmla="*/ 6569 w 1587719"/>
                <a:gd name="connsiteY207" fmla="*/ 1025252 h 1499103"/>
                <a:gd name="connsiteX208" fmla="*/ 6569 w 1587719"/>
                <a:gd name="connsiteY208" fmla="*/ 991915 h 1499103"/>
                <a:gd name="connsiteX209" fmla="*/ 20857 w 1587719"/>
                <a:gd name="connsiteY209" fmla="*/ 987152 h 1499103"/>
                <a:gd name="connsiteX210" fmla="*/ 54194 w 1587719"/>
                <a:gd name="connsiteY210" fmla="*/ 972865 h 1499103"/>
                <a:gd name="connsiteX211" fmla="*/ 82769 w 1587719"/>
                <a:gd name="connsiteY211" fmla="*/ 963340 h 1499103"/>
                <a:gd name="connsiteX212" fmla="*/ 111344 w 1587719"/>
                <a:gd name="connsiteY212" fmla="*/ 944290 h 1499103"/>
                <a:gd name="connsiteX213" fmla="*/ 125632 w 1587719"/>
                <a:gd name="connsiteY213" fmla="*/ 934765 h 1499103"/>
                <a:gd name="connsiteX214" fmla="*/ 130394 w 1587719"/>
                <a:gd name="connsiteY214" fmla="*/ 896665 h 1499103"/>
                <a:gd name="connsiteX215" fmla="*/ 111344 w 1587719"/>
                <a:gd name="connsiteY215" fmla="*/ 891902 h 1499103"/>
                <a:gd name="connsiteX216" fmla="*/ 106582 w 1587719"/>
                <a:gd name="connsiteY216" fmla="*/ 877615 h 1499103"/>
                <a:gd name="connsiteX217" fmla="*/ 125632 w 1587719"/>
                <a:gd name="connsiteY217" fmla="*/ 849040 h 1499103"/>
                <a:gd name="connsiteX218" fmla="*/ 144682 w 1587719"/>
                <a:gd name="connsiteY218" fmla="*/ 820465 h 1499103"/>
                <a:gd name="connsiteX219" fmla="*/ 154207 w 1587719"/>
                <a:gd name="connsiteY219" fmla="*/ 806177 h 1499103"/>
                <a:gd name="connsiteX220" fmla="*/ 168494 w 1587719"/>
                <a:gd name="connsiteY220" fmla="*/ 749027 h 1499103"/>
                <a:gd name="connsiteX221" fmla="*/ 158969 w 1587719"/>
                <a:gd name="connsiteY221" fmla="*/ 663302 h 1499103"/>
                <a:gd name="connsiteX222" fmla="*/ 154207 w 1587719"/>
                <a:gd name="connsiteY222" fmla="*/ 639490 h 1499103"/>
                <a:gd name="connsiteX223" fmla="*/ 135157 w 1587719"/>
                <a:gd name="connsiteY223" fmla="*/ 610915 h 1499103"/>
                <a:gd name="connsiteX224" fmla="*/ 116107 w 1587719"/>
                <a:gd name="connsiteY224" fmla="*/ 563290 h 1499103"/>
                <a:gd name="connsiteX225" fmla="*/ 101819 w 1587719"/>
                <a:gd name="connsiteY225" fmla="*/ 558527 h 1499103"/>
                <a:gd name="connsiteX226" fmla="*/ 92294 w 1587719"/>
                <a:gd name="connsiteY226" fmla="*/ 544240 h 1499103"/>
                <a:gd name="connsiteX227" fmla="*/ 82769 w 1587719"/>
                <a:gd name="connsiteY227" fmla="*/ 506140 h 1499103"/>
                <a:gd name="connsiteX228" fmla="*/ 78007 w 1587719"/>
                <a:gd name="connsiteY228" fmla="*/ 487090 h 1499103"/>
                <a:gd name="connsiteX229" fmla="*/ 82769 w 1587719"/>
                <a:gd name="connsiteY229" fmla="*/ 458515 h 1499103"/>
                <a:gd name="connsiteX230" fmla="*/ 97057 w 1587719"/>
                <a:gd name="connsiteY230" fmla="*/ 453752 h 1499103"/>
                <a:gd name="connsiteX231" fmla="*/ 111344 w 1587719"/>
                <a:gd name="connsiteY231" fmla="*/ 444227 h 1499103"/>
                <a:gd name="connsiteX232" fmla="*/ 144682 w 1587719"/>
                <a:gd name="connsiteY232" fmla="*/ 434702 h 1499103"/>
                <a:gd name="connsiteX233" fmla="*/ 178019 w 1587719"/>
                <a:gd name="connsiteY233" fmla="*/ 425177 h 1499103"/>
                <a:gd name="connsiteX234" fmla="*/ 244694 w 1587719"/>
                <a:gd name="connsiteY234" fmla="*/ 434702 h 1499103"/>
                <a:gd name="connsiteX235" fmla="*/ 258982 w 1587719"/>
                <a:gd name="connsiteY235" fmla="*/ 444227 h 1499103"/>
                <a:gd name="connsiteX236" fmla="*/ 273269 w 1587719"/>
                <a:gd name="connsiteY236" fmla="*/ 439465 h 1499103"/>
                <a:gd name="connsiteX237" fmla="*/ 282794 w 1587719"/>
                <a:gd name="connsiteY237" fmla="*/ 425177 h 1499103"/>
                <a:gd name="connsiteX238" fmla="*/ 335182 w 1587719"/>
                <a:gd name="connsiteY238" fmla="*/ 420415 h 1499103"/>
                <a:gd name="connsiteX239" fmla="*/ 349469 w 1587719"/>
                <a:gd name="connsiteY239" fmla="*/ 415652 h 1499103"/>
                <a:gd name="connsiteX240" fmla="*/ 363757 w 1587719"/>
                <a:gd name="connsiteY240" fmla="*/ 406127 h 1499103"/>
                <a:gd name="connsiteX241" fmla="*/ 392332 w 1587719"/>
                <a:gd name="connsiteY241" fmla="*/ 401365 h 1499103"/>
                <a:gd name="connsiteX242" fmla="*/ 406619 w 1587719"/>
                <a:gd name="connsiteY242" fmla="*/ 406127 h 1499103"/>
                <a:gd name="connsiteX243" fmla="*/ 420907 w 1587719"/>
                <a:gd name="connsiteY243" fmla="*/ 415652 h 1499103"/>
                <a:gd name="connsiteX244" fmla="*/ 439957 w 1587719"/>
                <a:gd name="connsiteY244" fmla="*/ 410890 h 1499103"/>
                <a:gd name="connsiteX245" fmla="*/ 444719 w 1587719"/>
                <a:gd name="connsiteY245" fmla="*/ 396602 h 1499103"/>
                <a:gd name="connsiteX246" fmla="*/ 454244 w 1587719"/>
                <a:gd name="connsiteY246" fmla="*/ 358502 h 1499103"/>
                <a:gd name="connsiteX247" fmla="*/ 449482 w 1587719"/>
                <a:gd name="connsiteY247" fmla="*/ 344215 h 1499103"/>
                <a:gd name="connsiteX248" fmla="*/ 420907 w 1587719"/>
                <a:gd name="connsiteY248" fmla="*/ 320402 h 1499103"/>
                <a:gd name="connsiteX249" fmla="*/ 416144 w 1587719"/>
                <a:gd name="connsiteY249" fmla="*/ 287065 h 1499103"/>
                <a:gd name="connsiteX250" fmla="*/ 459007 w 1587719"/>
                <a:gd name="connsiteY250" fmla="*/ 268015 h 1499103"/>
                <a:gd name="connsiteX251" fmla="*/ 473294 w 1587719"/>
                <a:gd name="connsiteY251" fmla="*/ 263252 h 1499103"/>
                <a:gd name="connsiteX252" fmla="*/ 487582 w 1587719"/>
                <a:gd name="connsiteY252" fmla="*/ 234677 h 1499103"/>
                <a:gd name="connsiteX253" fmla="*/ 501869 w 1587719"/>
                <a:gd name="connsiteY253" fmla="*/ 220390 h 1499103"/>
                <a:gd name="connsiteX254" fmla="*/ 530444 w 1587719"/>
                <a:gd name="connsiteY254" fmla="*/ 210865 h 1499103"/>
                <a:gd name="connsiteX255" fmla="*/ 544732 w 1587719"/>
                <a:gd name="connsiteY255" fmla="*/ 201340 h 1499103"/>
                <a:gd name="connsiteX256" fmla="*/ 563782 w 1587719"/>
                <a:gd name="connsiteY256" fmla="*/ 177527 h 1499103"/>
                <a:gd name="connsiteX257" fmla="*/ 563782 w 1587719"/>
                <a:gd name="connsiteY257" fmla="*/ 177527 h 1499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1587719" h="1499103">
                  <a:moveTo>
                    <a:pt x="563782" y="177527"/>
                  </a:moveTo>
                  <a:cubicBezTo>
                    <a:pt x="582038" y="175146"/>
                    <a:pt x="595265" y="169244"/>
                    <a:pt x="673319" y="163240"/>
                  </a:cubicBezTo>
                  <a:cubicBezTo>
                    <a:pt x="682009" y="150205"/>
                    <a:pt x="682091" y="146112"/>
                    <a:pt x="697132" y="139427"/>
                  </a:cubicBezTo>
                  <a:cubicBezTo>
                    <a:pt x="706307" y="135349"/>
                    <a:pt x="717353" y="135471"/>
                    <a:pt x="725707" y="129902"/>
                  </a:cubicBezTo>
                  <a:cubicBezTo>
                    <a:pt x="730469" y="126727"/>
                    <a:pt x="734764" y="122702"/>
                    <a:pt x="739994" y="120377"/>
                  </a:cubicBezTo>
                  <a:cubicBezTo>
                    <a:pt x="749169" y="116299"/>
                    <a:pt x="759044" y="114027"/>
                    <a:pt x="768569" y="110852"/>
                  </a:cubicBezTo>
                  <a:lnTo>
                    <a:pt x="782857" y="106090"/>
                  </a:lnTo>
                  <a:cubicBezTo>
                    <a:pt x="784444" y="101327"/>
                    <a:pt x="785181" y="96190"/>
                    <a:pt x="787619" y="91802"/>
                  </a:cubicBezTo>
                  <a:cubicBezTo>
                    <a:pt x="793178" y="81795"/>
                    <a:pt x="806669" y="63227"/>
                    <a:pt x="806669" y="63227"/>
                  </a:cubicBezTo>
                  <a:cubicBezTo>
                    <a:pt x="801852" y="56001"/>
                    <a:pt x="792382" y="44513"/>
                    <a:pt x="792382" y="34652"/>
                  </a:cubicBezTo>
                  <a:cubicBezTo>
                    <a:pt x="792382" y="29632"/>
                    <a:pt x="795557" y="25127"/>
                    <a:pt x="797144" y="20365"/>
                  </a:cubicBezTo>
                  <a:cubicBezTo>
                    <a:pt x="806669" y="21952"/>
                    <a:pt x="817808" y="19589"/>
                    <a:pt x="825719" y="25127"/>
                  </a:cubicBezTo>
                  <a:cubicBezTo>
                    <a:pt x="835097" y="31692"/>
                    <a:pt x="838419" y="44177"/>
                    <a:pt x="844769" y="53702"/>
                  </a:cubicBezTo>
                  <a:lnTo>
                    <a:pt x="863819" y="82277"/>
                  </a:lnTo>
                  <a:cubicBezTo>
                    <a:pt x="867555" y="87881"/>
                    <a:pt x="871599" y="94830"/>
                    <a:pt x="878107" y="96565"/>
                  </a:cubicBezTo>
                  <a:cubicBezTo>
                    <a:pt x="896578" y="101490"/>
                    <a:pt x="916207" y="99740"/>
                    <a:pt x="935257" y="101327"/>
                  </a:cubicBezTo>
                  <a:cubicBezTo>
                    <a:pt x="940019" y="102915"/>
                    <a:pt x="946626" y="102005"/>
                    <a:pt x="949544" y="106090"/>
                  </a:cubicBezTo>
                  <a:cubicBezTo>
                    <a:pt x="955380" y="114260"/>
                    <a:pt x="959069" y="134665"/>
                    <a:pt x="959069" y="134665"/>
                  </a:cubicBezTo>
                  <a:cubicBezTo>
                    <a:pt x="954252" y="141891"/>
                    <a:pt x="944782" y="153379"/>
                    <a:pt x="944782" y="163240"/>
                  </a:cubicBezTo>
                  <a:cubicBezTo>
                    <a:pt x="944782" y="168260"/>
                    <a:pt x="947957" y="172765"/>
                    <a:pt x="949544" y="177527"/>
                  </a:cubicBezTo>
                  <a:cubicBezTo>
                    <a:pt x="947957" y="183877"/>
                    <a:pt x="946580" y="190283"/>
                    <a:pt x="944782" y="196577"/>
                  </a:cubicBezTo>
                  <a:cubicBezTo>
                    <a:pt x="940687" y="210911"/>
                    <a:pt x="933830" y="218250"/>
                    <a:pt x="944782" y="234677"/>
                  </a:cubicBezTo>
                  <a:cubicBezTo>
                    <a:pt x="947567" y="238854"/>
                    <a:pt x="954307" y="237852"/>
                    <a:pt x="959069" y="239440"/>
                  </a:cubicBezTo>
                  <a:cubicBezTo>
                    <a:pt x="962244" y="244202"/>
                    <a:pt x="967653" y="248081"/>
                    <a:pt x="968594" y="253727"/>
                  </a:cubicBezTo>
                  <a:cubicBezTo>
                    <a:pt x="969609" y="259818"/>
                    <a:pt x="957967" y="279374"/>
                    <a:pt x="954307" y="282302"/>
                  </a:cubicBezTo>
                  <a:cubicBezTo>
                    <a:pt x="950387" y="285438"/>
                    <a:pt x="944782" y="285477"/>
                    <a:pt x="940019" y="287065"/>
                  </a:cubicBezTo>
                  <a:cubicBezTo>
                    <a:pt x="929879" y="297205"/>
                    <a:pt x="915570" y="303346"/>
                    <a:pt x="930494" y="320402"/>
                  </a:cubicBezTo>
                  <a:cubicBezTo>
                    <a:pt x="938032" y="329017"/>
                    <a:pt x="959069" y="339452"/>
                    <a:pt x="959069" y="339452"/>
                  </a:cubicBezTo>
                  <a:cubicBezTo>
                    <a:pt x="964265" y="331658"/>
                    <a:pt x="971336" y="317083"/>
                    <a:pt x="982882" y="315640"/>
                  </a:cubicBezTo>
                  <a:cubicBezTo>
                    <a:pt x="990914" y="314636"/>
                    <a:pt x="998757" y="318815"/>
                    <a:pt x="1006694" y="320402"/>
                  </a:cubicBezTo>
                  <a:cubicBezTo>
                    <a:pt x="1043716" y="312999"/>
                    <a:pt x="1024783" y="321364"/>
                    <a:pt x="1059082" y="287065"/>
                  </a:cubicBezTo>
                  <a:lnTo>
                    <a:pt x="1059082" y="287065"/>
                  </a:lnTo>
                  <a:lnTo>
                    <a:pt x="1087657" y="277540"/>
                  </a:lnTo>
                  <a:lnTo>
                    <a:pt x="1101944" y="272777"/>
                  </a:lnTo>
                  <a:cubicBezTo>
                    <a:pt x="1108294" y="274365"/>
                    <a:pt x="1114978" y="274962"/>
                    <a:pt x="1120994" y="277540"/>
                  </a:cubicBezTo>
                  <a:cubicBezTo>
                    <a:pt x="1126255" y="279795"/>
                    <a:pt x="1130162" y="284505"/>
                    <a:pt x="1135282" y="287065"/>
                  </a:cubicBezTo>
                  <a:cubicBezTo>
                    <a:pt x="1139772" y="289310"/>
                    <a:pt x="1144807" y="290240"/>
                    <a:pt x="1149569" y="291827"/>
                  </a:cubicBezTo>
                  <a:cubicBezTo>
                    <a:pt x="1151157" y="285477"/>
                    <a:pt x="1149704" y="277405"/>
                    <a:pt x="1154332" y="272777"/>
                  </a:cubicBezTo>
                  <a:cubicBezTo>
                    <a:pt x="1187220" y="239890"/>
                    <a:pt x="1164434" y="294862"/>
                    <a:pt x="1178144" y="253727"/>
                  </a:cubicBezTo>
                  <a:cubicBezTo>
                    <a:pt x="1166809" y="219722"/>
                    <a:pt x="1174188" y="233506"/>
                    <a:pt x="1159094" y="210865"/>
                  </a:cubicBezTo>
                  <a:cubicBezTo>
                    <a:pt x="1160682" y="206102"/>
                    <a:pt x="1161612" y="201067"/>
                    <a:pt x="1163857" y="196577"/>
                  </a:cubicBezTo>
                  <a:cubicBezTo>
                    <a:pt x="1166417" y="191458"/>
                    <a:pt x="1171057" y="187520"/>
                    <a:pt x="1173382" y="182290"/>
                  </a:cubicBezTo>
                  <a:cubicBezTo>
                    <a:pt x="1177460" y="173115"/>
                    <a:pt x="1182907" y="153715"/>
                    <a:pt x="1182907" y="153715"/>
                  </a:cubicBezTo>
                  <a:cubicBezTo>
                    <a:pt x="1179732" y="148952"/>
                    <a:pt x="1175707" y="144658"/>
                    <a:pt x="1173382" y="139427"/>
                  </a:cubicBezTo>
                  <a:cubicBezTo>
                    <a:pt x="1168966" y="129491"/>
                    <a:pt x="1165482" y="105485"/>
                    <a:pt x="1154332" y="96565"/>
                  </a:cubicBezTo>
                  <a:cubicBezTo>
                    <a:pt x="1150412" y="93429"/>
                    <a:pt x="1144807" y="93390"/>
                    <a:pt x="1140044" y="91802"/>
                  </a:cubicBezTo>
                  <a:cubicBezTo>
                    <a:pt x="1135282" y="87040"/>
                    <a:pt x="1130931" y="81827"/>
                    <a:pt x="1125757" y="77515"/>
                  </a:cubicBezTo>
                  <a:cubicBezTo>
                    <a:pt x="1121360" y="73851"/>
                    <a:pt x="1115516" y="72037"/>
                    <a:pt x="1111469" y="67990"/>
                  </a:cubicBezTo>
                  <a:cubicBezTo>
                    <a:pt x="1107422" y="63943"/>
                    <a:pt x="1105119" y="58465"/>
                    <a:pt x="1101944" y="53702"/>
                  </a:cubicBezTo>
                  <a:cubicBezTo>
                    <a:pt x="1106707" y="52115"/>
                    <a:pt x="1111242" y="48386"/>
                    <a:pt x="1116232" y="48940"/>
                  </a:cubicBezTo>
                  <a:cubicBezTo>
                    <a:pt x="1126211" y="50049"/>
                    <a:pt x="1144807" y="58465"/>
                    <a:pt x="1144807" y="58465"/>
                  </a:cubicBezTo>
                  <a:cubicBezTo>
                    <a:pt x="1151157" y="56877"/>
                    <a:pt x="1159597" y="58672"/>
                    <a:pt x="1163857" y="53702"/>
                  </a:cubicBezTo>
                  <a:cubicBezTo>
                    <a:pt x="1181322" y="33325"/>
                    <a:pt x="1164318" y="25712"/>
                    <a:pt x="1182907" y="10840"/>
                  </a:cubicBezTo>
                  <a:cubicBezTo>
                    <a:pt x="1186827" y="7704"/>
                    <a:pt x="1192432" y="7665"/>
                    <a:pt x="1197194" y="6077"/>
                  </a:cubicBezTo>
                  <a:cubicBezTo>
                    <a:pt x="1231979" y="17672"/>
                    <a:pt x="1216028" y="18037"/>
                    <a:pt x="1244819" y="10840"/>
                  </a:cubicBezTo>
                  <a:cubicBezTo>
                    <a:pt x="1249582" y="7665"/>
                    <a:pt x="1253461" y="2256"/>
                    <a:pt x="1259107" y="1315"/>
                  </a:cubicBezTo>
                  <a:cubicBezTo>
                    <a:pt x="1266994" y="0"/>
                    <a:pt x="1282707" y="12285"/>
                    <a:pt x="1287682" y="15602"/>
                  </a:cubicBezTo>
                  <a:cubicBezTo>
                    <a:pt x="1289269" y="39415"/>
                    <a:pt x="1289808" y="63320"/>
                    <a:pt x="1292444" y="87040"/>
                  </a:cubicBezTo>
                  <a:cubicBezTo>
                    <a:pt x="1292998" y="92029"/>
                    <a:pt x="1292337" y="100109"/>
                    <a:pt x="1297207" y="101327"/>
                  </a:cubicBezTo>
                  <a:cubicBezTo>
                    <a:pt x="1308097" y="104049"/>
                    <a:pt x="1319500" y="98573"/>
                    <a:pt x="1330544" y="96565"/>
                  </a:cubicBezTo>
                  <a:cubicBezTo>
                    <a:pt x="1350999" y="92846"/>
                    <a:pt x="1346042" y="92137"/>
                    <a:pt x="1363882" y="87040"/>
                  </a:cubicBezTo>
                  <a:cubicBezTo>
                    <a:pt x="1370176" y="85242"/>
                    <a:pt x="1376582" y="83865"/>
                    <a:pt x="1382932" y="82277"/>
                  </a:cubicBezTo>
                  <a:cubicBezTo>
                    <a:pt x="1395944" y="43238"/>
                    <a:pt x="1373436" y="103666"/>
                    <a:pt x="1416269" y="39415"/>
                  </a:cubicBezTo>
                  <a:cubicBezTo>
                    <a:pt x="1419444" y="34652"/>
                    <a:pt x="1421324" y="28703"/>
                    <a:pt x="1425794" y="25127"/>
                  </a:cubicBezTo>
                  <a:cubicBezTo>
                    <a:pt x="1429714" y="21991"/>
                    <a:pt x="1435319" y="21952"/>
                    <a:pt x="1440082" y="20365"/>
                  </a:cubicBezTo>
                  <a:cubicBezTo>
                    <a:pt x="1446432" y="21952"/>
                    <a:pt x="1456205" y="19273"/>
                    <a:pt x="1459132" y="25127"/>
                  </a:cubicBezTo>
                  <a:cubicBezTo>
                    <a:pt x="1462752" y="32367"/>
                    <a:pt x="1455315" y="40901"/>
                    <a:pt x="1454369" y="48940"/>
                  </a:cubicBezTo>
                  <a:cubicBezTo>
                    <a:pt x="1452862" y="61754"/>
                    <a:pt x="1459094" y="105168"/>
                    <a:pt x="1440082" y="120377"/>
                  </a:cubicBezTo>
                  <a:cubicBezTo>
                    <a:pt x="1436162" y="123513"/>
                    <a:pt x="1430557" y="123552"/>
                    <a:pt x="1425794" y="125140"/>
                  </a:cubicBezTo>
                  <a:cubicBezTo>
                    <a:pt x="1421032" y="129902"/>
                    <a:pt x="1415243" y="133823"/>
                    <a:pt x="1411507" y="139427"/>
                  </a:cubicBezTo>
                  <a:cubicBezTo>
                    <a:pt x="1408722" y="143604"/>
                    <a:pt x="1408989" y="149225"/>
                    <a:pt x="1406744" y="153715"/>
                  </a:cubicBezTo>
                  <a:cubicBezTo>
                    <a:pt x="1404184" y="158834"/>
                    <a:pt x="1400394" y="163240"/>
                    <a:pt x="1397219" y="168002"/>
                  </a:cubicBezTo>
                  <a:cubicBezTo>
                    <a:pt x="1398807" y="172765"/>
                    <a:pt x="1398432" y="178740"/>
                    <a:pt x="1401982" y="182290"/>
                  </a:cubicBezTo>
                  <a:cubicBezTo>
                    <a:pt x="1405532" y="185840"/>
                    <a:pt x="1412092" y="184267"/>
                    <a:pt x="1416269" y="187052"/>
                  </a:cubicBezTo>
                  <a:cubicBezTo>
                    <a:pt x="1421873" y="190788"/>
                    <a:pt x="1425794" y="196577"/>
                    <a:pt x="1430557" y="201340"/>
                  </a:cubicBezTo>
                  <a:cubicBezTo>
                    <a:pt x="1427975" y="214247"/>
                    <a:pt x="1427948" y="230097"/>
                    <a:pt x="1416269" y="239440"/>
                  </a:cubicBezTo>
                  <a:cubicBezTo>
                    <a:pt x="1412349" y="242576"/>
                    <a:pt x="1406744" y="242615"/>
                    <a:pt x="1401982" y="244202"/>
                  </a:cubicBezTo>
                  <a:cubicBezTo>
                    <a:pt x="1403569" y="248965"/>
                    <a:pt x="1404499" y="254000"/>
                    <a:pt x="1406744" y="258490"/>
                  </a:cubicBezTo>
                  <a:cubicBezTo>
                    <a:pt x="1409304" y="263609"/>
                    <a:pt x="1411800" y="269201"/>
                    <a:pt x="1416269" y="272777"/>
                  </a:cubicBezTo>
                  <a:cubicBezTo>
                    <a:pt x="1420189" y="275913"/>
                    <a:pt x="1425634" y="276555"/>
                    <a:pt x="1430557" y="277540"/>
                  </a:cubicBezTo>
                  <a:cubicBezTo>
                    <a:pt x="1441564" y="279741"/>
                    <a:pt x="1452782" y="280715"/>
                    <a:pt x="1463894" y="282302"/>
                  </a:cubicBezTo>
                  <a:cubicBezTo>
                    <a:pt x="1468657" y="285477"/>
                    <a:pt x="1475007" y="287064"/>
                    <a:pt x="1478182" y="291827"/>
                  </a:cubicBezTo>
                  <a:cubicBezTo>
                    <a:pt x="1487071" y="305161"/>
                    <a:pt x="1481992" y="316593"/>
                    <a:pt x="1478182" y="329927"/>
                  </a:cubicBezTo>
                  <a:cubicBezTo>
                    <a:pt x="1476803" y="334754"/>
                    <a:pt x="1475007" y="339452"/>
                    <a:pt x="1473419" y="344215"/>
                  </a:cubicBezTo>
                  <a:cubicBezTo>
                    <a:pt x="1474216" y="349792"/>
                    <a:pt x="1479450" y="400622"/>
                    <a:pt x="1487707" y="406127"/>
                  </a:cubicBezTo>
                  <a:lnTo>
                    <a:pt x="1516282" y="425177"/>
                  </a:lnTo>
                  <a:cubicBezTo>
                    <a:pt x="1524317" y="430533"/>
                    <a:pt x="1535332" y="428352"/>
                    <a:pt x="1544857" y="429940"/>
                  </a:cubicBezTo>
                  <a:cubicBezTo>
                    <a:pt x="1548032" y="434702"/>
                    <a:pt x="1553441" y="438581"/>
                    <a:pt x="1554382" y="444227"/>
                  </a:cubicBezTo>
                  <a:cubicBezTo>
                    <a:pt x="1557724" y="464281"/>
                    <a:pt x="1538339" y="452749"/>
                    <a:pt x="1554382" y="472802"/>
                  </a:cubicBezTo>
                  <a:cubicBezTo>
                    <a:pt x="1558870" y="478412"/>
                    <a:pt x="1583031" y="489508"/>
                    <a:pt x="1587719" y="491852"/>
                  </a:cubicBezTo>
                  <a:cubicBezTo>
                    <a:pt x="1586132" y="498202"/>
                    <a:pt x="1584838" y="504633"/>
                    <a:pt x="1582957" y="510902"/>
                  </a:cubicBezTo>
                  <a:cubicBezTo>
                    <a:pt x="1580072" y="520519"/>
                    <a:pt x="1575867" y="529737"/>
                    <a:pt x="1573432" y="539477"/>
                  </a:cubicBezTo>
                  <a:cubicBezTo>
                    <a:pt x="1566706" y="566380"/>
                    <a:pt x="1569953" y="552109"/>
                    <a:pt x="1563907" y="582340"/>
                  </a:cubicBezTo>
                  <a:cubicBezTo>
                    <a:pt x="1565494" y="596627"/>
                    <a:pt x="1569863" y="610876"/>
                    <a:pt x="1568669" y="625202"/>
                  </a:cubicBezTo>
                  <a:cubicBezTo>
                    <a:pt x="1564976" y="669513"/>
                    <a:pt x="1549777" y="611392"/>
                    <a:pt x="1563907" y="653777"/>
                  </a:cubicBezTo>
                  <a:cubicBezTo>
                    <a:pt x="1562319" y="661715"/>
                    <a:pt x="1561986" y="670011"/>
                    <a:pt x="1559144" y="677590"/>
                  </a:cubicBezTo>
                  <a:cubicBezTo>
                    <a:pt x="1552794" y="694522"/>
                    <a:pt x="1548031" y="690819"/>
                    <a:pt x="1535332" y="701402"/>
                  </a:cubicBezTo>
                  <a:cubicBezTo>
                    <a:pt x="1530158" y="705714"/>
                    <a:pt x="1526218" y="711378"/>
                    <a:pt x="1521044" y="715690"/>
                  </a:cubicBezTo>
                  <a:cubicBezTo>
                    <a:pt x="1516647" y="719354"/>
                    <a:pt x="1511035" y="721412"/>
                    <a:pt x="1506757" y="725215"/>
                  </a:cubicBezTo>
                  <a:cubicBezTo>
                    <a:pt x="1490527" y="739641"/>
                    <a:pt x="1482424" y="754050"/>
                    <a:pt x="1463894" y="763315"/>
                  </a:cubicBezTo>
                  <a:cubicBezTo>
                    <a:pt x="1459404" y="765560"/>
                    <a:pt x="1454369" y="766490"/>
                    <a:pt x="1449607" y="768077"/>
                  </a:cubicBezTo>
                  <a:lnTo>
                    <a:pt x="1421032" y="749027"/>
                  </a:lnTo>
                  <a:cubicBezTo>
                    <a:pt x="1407240" y="739832"/>
                    <a:pt x="1423818" y="720776"/>
                    <a:pt x="1411507" y="710927"/>
                  </a:cubicBezTo>
                  <a:cubicBezTo>
                    <a:pt x="1406396" y="706838"/>
                    <a:pt x="1398807" y="707752"/>
                    <a:pt x="1392457" y="706165"/>
                  </a:cubicBezTo>
                  <a:cubicBezTo>
                    <a:pt x="1359120" y="728390"/>
                    <a:pt x="1370232" y="715690"/>
                    <a:pt x="1354357" y="739502"/>
                  </a:cubicBezTo>
                  <a:cubicBezTo>
                    <a:pt x="1355944" y="744265"/>
                    <a:pt x="1356681" y="749402"/>
                    <a:pt x="1359119" y="753790"/>
                  </a:cubicBezTo>
                  <a:cubicBezTo>
                    <a:pt x="1364678" y="763797"/>
                    <a:pt x="1378169" y="782365"/>
                    <a:pt x="1378169" y="782365"/>
                  </a:cubicBezTo>
                  <a:cubicBezTo>
                    <a:pt x="1376582" y="787127"/>
                    <a:pt x="1376543" y="792732"/>
                    <a:pt x="1373407" y="796652"/>
                  </a:cubicBezTo>
                  <a:cubicBezTo>
                    <a:pt x="1366693" y="805044"/>
                    <a:pt x="1354243" y="807803"/>
                    <a:pt x="1344832" y="810940"/>
                  </a:cubicBezTo>
                  <a:cubicBezTo>
                    <a:pt x="1310839" y="806083"/>
                    <a:pt x="1312149" y="803095"/>
                    <a:pt x="1278157" y="810940"/>
                  </a:cubicBezTo>
                  <a:cubicBezTo>
                    <a:pt x="1268374" y="813198"/>
                    <a:pt x="1259107" y="817290"/>
                    <a:pt x="1249582" y="820465"/>
                  </a:cubicBezTo>
                  <a:lnTo>
                    <a:pt x="1235294" y="825227"/>
                  </a:lnTo>
                  <a:cubicBezTo>
                    <a:pt x="1230532" y="828402"/>
                    <a:pt x="1224583" y="830283"/>
                    <a:pt x="1221007" y="834752"/>
                  </a:cubicBezTo>
                  <a:cubicBezTo>
                    <a:pt x="1217871" y="838672"/>
                    <a:pt x="1219029" y="844863"/>
                    <a:pt x="1216244" y="849040"/>
                  </a:cubicBezTo>
                  <a:cubicBezTo>
                    <a:pt x="1212508" y="854644"/>
                    <a:pt x="1206719" y="858565"/>
                    <a:pt x="1201957" y="863327"/>
                  </a:cubicBezTo>
                  <a:cubicBezTo>
                    <a:pt x="1203544" y="871265"/>
                    <a:pt x="1204756" y="879287"/>
                    <a:pt x="1206719" y="887140"/>
                  </a:cubicBezTo>
                  <a:cubicBezTo>
                    <a:pt x="1207937" y="892010"/>
                    <a:pt x="1206512" y="900717"/>
                    <a:pt x="1211482" y="901427"/>
                  </a:cubicBezTo>
                  <a:cubicBezTo>
                    <a:pt x="1221421" y="902847"/>
                    <a:pt x="1230532" y="895077"/>
                    <a:pt x="1240057" y="891902"/>
                  </a:cubicBezTo>
                  <a:lnTo>
                    <a:pt x="1254344" y="887140"/>
                  </a:lnTo>
                  <a:lnTo>
                    <a:pt x="1268632" y="882377"/>
                  </a:lnTo>
                  <a:cubicBezTo>
                    <a:pt x="1277794" y="888485"/>
                    <a:pt x="1289268" y="891912"/>
                    <a:pt x="1287682" y="906190"/>
                  </a:cubicBezTo>
                  <a:cubicBezTo>
                    <a:pt x="1286573" y="916169"/>
                    <a:pt x="1281332" y="925240"/>
                    <a:pt x="1278157" y="934765"/>
                  </a:cubicBezTo>
                  <a:lnTo>
                    <a:pt x="1273394" y="949052"/>
                  </a:lnTo>
                  <a:cubicBezTo>
                    <a:pt x="1271807" y="958577"/>
                    <a:pt x="1270727" y="968201"/>
                    <a:pt x="1268632" y="977627"/>
                  </a:cubicBezTo>
                  <a:cubicBezTo>
                    <a:pt x="1267543" y="982528"/>
                    <a:pt x="1267419" y="988365"/>
                    <a:pt x="1263869" y="991915"/>
                  </a:cubicBezTo>
                  <a:cubicBezTo>
                    <a:pt x="1255774" y="1000010"/>
                    <a:pt x="1235294" y="1010965"/>
                    <a:pt x="1235294" y="1010965"/>
                  </a:cubicBezTo>
                  <a:cubicBezTo>
                    <a:pt x="1228944" y="1009377"/>
                    <a:pt x="1222513" y="1008083"/>
                    <a:pt x="1216244" y="1006202"/>
                  </a:cubicBezTo>
                  <a:cubicBezTo>
                    <a:pt x="1206627" y="1003317"/>
                    <a:pt x="1187669" y="996677"/>
                    <a:pt x="1187669" y="996677"/>
                  </a:cubicBezTo>
                  <a:cubicBezTo>
                    <a:pt x="1184494" y="1001440"/>
                    <a:pt x="1178662" y="1005265"/>
                    <a:pt x="1178144" y="1010965"/>
                  </a:cubicBezTo>
                  <a:cubicBezTo>
                    <a:pt x="1176221" y="1032119"/>
                    <a:pt x="1181726" y="1045523"/>
                    <a:pt x="1187669" y="1063352"/>
                  </a:cubicBezTo>
                  <a:cubicBezTo>
                    <a:pt x="1182907" y="1068115"/>
                    <a:pt x="1178986" y="1073904"/>
                    <a:pt x="1173382" y="1077640"/>
                  </a:cubicBezTo>
                  <a:cubicBezTo>
                    <a:pt x="1169205" y="1080425"/>
                    <a:pt x="1162644" y="1078852"/>
                    <a:pt x="1159094" y="1082402"/>
                  </a:cubicBezTo>
                  <a:cubicBezTo>
                    <a:pt x="1155544" y="1085952"/>
                    <a:pt x="1157117" y="1092513"/>
                    <a:pt x="1154332" y="1096690"/>
                  </a:cubicBezTo>
                  <a:cubicBezTo>
                    <a:pt x="1150596" y="1102294"/>
                    <a:pt x="1144179" y="1105661"/>
                    <a:pt x="1140044" y="1110977"/>
                  </a:cubicBezTo>
                  <a:cubicBezTo>
                    <a:pt x="1133016" y="1120013"/>
                    <a:pt x="1120994" y="1139552"/>
                    <a:pt x="1120994" y="1139552"/>
                  </a:cubicBezTo>
                  <a:cubicBezTo>
                    <a:pt x="1119407" y="1149077"/>
                    <a:pt x="1121023" y="1159743"/>
                    <a:pt x="1116232" y="1168127"/>
                  </a:cubicBezTo>
                  <a:cubicBezTo>
                    <a:pt x="1105718" y="1186527"/>
                    <a:pt x="1091858" y="1161003"/>
                    <a:pt x="1087657" y="1158602"/>
                  </a:cubicBezTo>
                  <a:cubicBezTo>
                    <a:pt x="1081974" y="1155355"/>
                    <a:pt x="1074957" y="1155427"/>
                    <a:pt x="1068607" y="1153840"/>
                  </a:cubicBezTo>
                  <a:cubicBezTo>
                    <a:pt x="1056986" y="1157713"/>
                    <a:pt x="1049265" y="1158894"/>
                    <a:pt x="1040032" y="1168127"/>
                  </a:cubicBezTo>
                  <a:cubicBezTo>
                    <a:pt x="1035985" y="1172175"/>
                    <a:pt x="1034171" y="1178018"/>
                    <a:pt x="1030507" y="1182415"/>
                  </a:cubicBezTo>
                  <a:cubicBezTo>
                    <a:pt x="1026195" y="1187589"/>
                    <a:pt x="1020982" y="1191940"/>
                    <a:pt x="1016219" y="1196702"/>
                  </a:cubicBezTo>
                  <a:cubicBezTo>
                    <a:pt x="1014632" y="1201465"/>
                    <a:pt x="1014242" y="1206813"/>
                    <a:pt x="1011457" y="1210990"/>
                  </a:cubicBezTo>
                  <a:cubicBezTo>
                    <a:pt x="1007721" y="1216594"/>
                    <a:pt x="997913" y="1218583"/>
                    <a:pt x="997169" y="1225277"/>
                  </a:cubicBezTo>
                  <a:cubicBezTo>
                    <a:pt x="996060" y="1235256"/>
                    <a:pt x="1006694" y="1253852"/>
                    <a:pt x="1006694" y="1253852"/>
                  </a:cubicBezTo>
                  <a:cubicBezTo>
                    <a:pt x="1005107" y="1258615"/>
                    <a:pt x="1006017" y="1265222"/>
                    <a:pt x="1001932" y="1268140"/>
                  </a:cubicBezTo>
                  <a:cubicBezTo>
                    <a:pt x="993762" y="1273976"/>
                    <a:pt x="973357" y="1277665"/>
                    <a:pt x="973357" y="1277665"/>
                  </a:cubicBezTo>
                  <a:cubicBezTo>
                    <a:pt x="941401" y="1256362"/>
                    <a:pt x="972711" y="1281458"/>
                    <a:pt x="954307" y="1253852"/>
                  </a:cubicBezTo>
                  <a:cubicBezTo>
                    <a:pt x="950571" y="1248248"/>
                    <a:pt x="944331" y="1244739"/>
                    <a:pt x="940019" y="1239565"/>
                  </a:cubicBezTo>
                  <a:cubicBezTo>
                    <a:pt x="936355" y="1235168"/>
                    <a:pt x="933669" y="1230040"/>
                    <a:pt x="930494" y="1225277"/>
                  </a:cubicBezTo>
                  <a:cubicBezTo>
                    <a:pt x="928907" y="1220515"/>
                    <a:pt x="925732" y="1216010"/>
                    <a:pt x="925732" y="1210990"/>
                  </a:cubicBezTo>
                  <a:cubicBezTo>
                    <a:pt x="925732" y="1191942"/>
                    <a:pt x="938430" y="1201462"/>
                    <a:pt x="925732" y="1182415"/>
                  </a:cubicBezTo>
                  <a:cubicBezTo>
                    <a:pt x="921996" y="1176811"/>
                    <a:pt x="916761" y="1172262"/>
                    <a:pt x="911444" y="1168127"/>
                  </a:cubicBezTo>
                  <a:cubicBezTo>
                    <a:pt x="902408" y="1161099"/>
                    <a:pt x="882869" y="1149077"/>
                    <a:pt x="882869" y="1149077"/>
                  </a:cubicBezTo>
                  <a:cubicBezTo>
                    <a:pt x="879694" y="1144315"/>
                    <a:pt x="874989" y="1140272"/>
                    <a:pt x="873344" y="1134790"/>
                  </a:cubicBezTo>
                  <a:cubicBezTo>
                    <a:pt x="870118" y="1124038"/>
                    <a:pt x="875768" y="1110076"/>
                    <a:pt x="868582" y="1101452"/>
                  </a:cubicBezTo>
                  <a:cubicBezTo>
                    <a:pt x="864392" y="1096424"/>
                    <a:pt x="855882" y="1104627"/>
                    <a:pt x="849532" y="1106215"/>
                  </a:cubicBezTo>
                  <a:cubicBezTo>
                    <a:pt x="827331" y="1139515"/>
                    <a:pt x="851240" y="1098812"/>
                    <a:pt x="835244" y="1168127"/>
                  </a:cubicBezTo>
                  <a:cubicBezTo>
                    <a:pt x="833957" y="1173704"/>
                    <a:pt x="831034" y="1180289"/>
                    <a:pt x="825719" y="1182415"/>
                  </a:cubicBezTo>
                  <a:cubicBezTo>
                    <a:pt x="813836" y="1187168"/>
                    <a:pt x="800319" y="1185590"/>
                    <a:pt x="787619" y="1187177"/>
                  </a:cubicBezTo>
                  <a:cubicBezTo>
                    <a:pt x="790794" y="1196702"/>
                    <a:pt x="802713" y="1207398"/>
                    <a:pt x="797144" y="1215752"/>
                  </a:cubicBezTo>
                  <a:cubicBezTo>
                    <a:pt x="793969" y="1220515"/>
                    <a:pt x="792382" y="1226865"/>
                    <a:pt x="787619" y="1230040"/>
                  </a:cubicBezTo>
                  <a:cubicBezTo>
                    <a:pt x="782173" y="1233671"/>
                    <a:pt x="774838" y="1232921"/>
                    <a:pt x="768569" y="1234802"/>
                  </a:cubicBezTo>
                  <a:cubicBezTo>
                    <a:pt x="758952" y="1237687"/>
                    <a:pt x="749519" y="1241152"/>
                    <a:pt x="739994" y="1244327"/>
                  </a:cubicBezTo>
                  <a:cubicBezTo>
                    <a:pt x="687891" y="1261696"/>
                    <a:pt x="766811" y="1233996"/>
                    <a:pt x="711419" y="1258615"/>
                  </a:cubicBezTo>
                  <a:cubicBezTo>
                    <a:pt x="691642" y="1267404"/>
                    <a:pt x="679405" y="1268828"/>
                    <a:pt x="659032" y="1272902"/>
                  </a:cubicBezTo>
                  <a:cubicBezTo>
                    <a:pt x="657444" y="1277665"/>
                    <a:pt x="655648" y="1282363"/>
                    <a:pt x="654269" y="1287190"/>
                  </a:cubicBezTo>
                  <a:cubicBezTo>
                    <a:pt x="652471" y="1293484"/>
                    <a:pt x="654477" y="1301980"/>
                    <a:pt x="649507" y="1306240"/>
                  </a:cubicBezTo>
                  <a:cubicBezTo>
                    <a:pt x="637921" y="1316171"/>
                    <a:pt x="593760" y="1319161"/>
                    <a:pt x="582832" y="1320527"/>
                  </a:cubicBezTo>
                  <a:cubicBezTo>
                    <a:pt x="578069" y="1322115"/>
                    <a:pt x="573034" y="1323045"/>
                    <a:pt x="568544" y="1325290"/>
                  </a:cubicBezTo>
                  <a:cubicBezTo>
                    <a:pt x="552085" y="1333520"/>
                    <a:pt x="557929" y="1336584"/>
                    <a:pt x="539969" y="1339577"/>
                  </a:cubicBezTo>
                  <a:cubicBezTo>
                    <a:pt x="525789" y="1341940"/>
                    <a:pt x="511394" y="1342752"/>
                    <a:pt x="497107" y="1344340"/>
                  </a:cubicBezTo>
                  <a:cubicBezTo>
                    <a:pt x="489321" y="1346935"/>
                    <a:pt x="473392" y="1350851"/>
                    <a:pt x="468532" y="1358627"/>
                  </a:cubicBezTo>
                  <a:cubicBezTo>
                    <a:pt x="463211" y="1367141"/>
                    <a:pt x="462182" y="1377677"/>
                    <a:pt x="459007" y="1387202"/>
                  </a:cubicBezTo>
                  <a:cubicBezTo>
                    <a:pt x="455387" y="1398062"/>
                    <a:pt x="446307" y="1406252"/>
                    <a:pt x="439957" y="1415777"/>
                  </a:cubicBezTo>
                  <a:lnTo>
                    <a:pt x="430432" y="1430065"/>
                  </a:lnTo>
                  <a:cubicBezTo>
                    <a:pt x="424863" y="1438419"/>
                    <a:pt x="411382" y="1436415"/>
                    <a:pt x="401857" y="1439590"/>
                  </a:cubicBezTo>
                  <a:cubicBezTo>
                    <a:pt x="396427" y="1441400"/>
                    <a:pt x="392332" y="1445940"/>
                    <a:pt x="387569" y="1449115"/>
                  </a:cubicBezTo>
                  <a:cubicBezTo>
                    <a:pt x="386371" y="1457500"/>
                    <a:pt x="388034" y="1493487"/>
                    <a:pt x="368519" y="1496740"/>
                  </a:cubicBezTo>
                  <a:cubicBezTo>
                    <a:pt x="354339" y="1499103"/>
                    <a:pt x="339944" y="1493565"/>
                    <a:pt x="325657" y="1491977"/>
                  </a:cubicBezTo>
                  <a:cubicBezTo>
                    <a:pt x="320894" y="1487215"/>
                    <a:pt x="317944" y="1479151"/>
                    <a:pt x="311369" y="1477690"/>
                  </a:cubicBezTo>
                  <a:cubicBezTo>
                    <a:pt x="301943" y="1475595"/>
                    <a:pt x="292450" y="1482452"/>
                    <a:pt x="282794" y="1482452"/>
                  </a:cubicBezTo>
                  <a:cubicBezTo>
                    <a:pt x="266840" y="1482452"/>
                    <a:pt x="251044" y="1479277"/>
                    <a:pt x="235169" y="1477690"/>
                  </a:cubicBezTo>
                  <a:cubicBezTo>
                    <a:pt x="230407" y="1476102"/>
                    <a:pt x="225782" y="1474016"/>
                    <a:pt x="220882" y="1472927"/>
                  </a:cubicBezTo>
                  <a:cubicBezTo>
                    <a:pt x="211456" y="1470832"/>
                    <a:pt x="199847" y="1474197"/>
                    <a:pt x="192307" y="1468165"/>
                  </a:cubicBezTo>
                  <a:cubicBezTo>
                    <a:pt x="188387" y="1465029"/>
                    <a:pt x="194824" y="1458367"/>
                    <a:pt x="197069" y="1453877"/>
                  </a:cubicBezTo>
                  <a:cubicBezTo>
                    <a:pt x="199629" y="1448758"/>
                    <a:pt x="203419" y="1444352"/>
                    <a:pt x="206594" y="1439590"/>
                  </a:cubicBezTo>
                  <a:cubicBezTo>
                    <a:pt x="205007" y="1428477"/>
                    <a:pt x="206391" y="1416510"/>
                    <a:pt x="201832" y="1406252"/>
                  </a:cubicBezTo>
                  <a:cubicBezTo>
                    <a:pt x="199507" y="1401021"/>
                    <a:pt x="192664" y="1399287"/>
                    <a:pt x="187544" y="1396727"/>
                  </a:cubicBezTo>
                  <a:cubicBezTo>
                    <a:pt x="177783" y="1391847"/>
                    <a:pt x="158497" y="1389013"/>
                    <a:pt x="149444" y="1387202"/>
                  </a:cubicBezTo>
                  <a:cubicBezTo>
                    <a:pt x="144682" y="1384027"/>
                    <a:pt x="138733" y="1382146"/>
                    <a:pt x="135157" y="1377677"/>
                  </a:cubicBezTo>
                  <a:cubicBezTo>
                    <a:pt x="132021" y="1373757"/>
                    <a:pt x="130394" y="1368410"/>
                    <a:pt x="130394" y="1363390"/>
                  </a:cubicBezTo>
                  <a:cubicBezTo>
                    <a:pt x="130394" y="1322931"/>
                    <a:pt x="129331" y="1329266"/>
                    <a:pt x="144682" y="1306240"/>
                  </a:cubicBezTo>
                  <a:cubicBezTo>
                    <a:pt x="143094" y="1299890"/>
                    <a:pt x="143550" y="1292636"/>
                    <a:pt x="139919" y="1287190"/>
                  </a:cubicBezTo>
                  <a:cubicBezTo>
                    <a:pt x="134643" y="1279277"/>
                    <a:pt x="119494" y="1275619"/>
                    <a:pt x="111344" y="1272902"/>
                  </a:cubicBezTo>
                  <a:cubicBezTo>
                    <a:pt x="109757" y="1268140"/>
                    <a:pt x="107800" y="1263485"/>
                    <a:pt x="106582" y="1258615"/>
                  </a:cubicBezTo>
                  <a:cubicBezTo>
                    <a:pt x="103866" y="1247751"/>
                    <a:pt x="102499" y="1231399"/>
                    <a:pt x="97057" y="1220515"/>
                  </a:cubicBezTo>
                  <a:cubicBezTo>
                    <a:pt x="94497" y="1215395"/>
                    <a:pt x="92002" y="1209803"/>
                    <a:pt x="87532" y="1206227"/>
                  </a:cubicBezTo>
                  <a:cubicBezTo>
                    <a:pt x="83612" y="1203091"/>
                    <a:pt x="78007" y="1203052"/>
                    <a:pt x="73244" y="1201465"/>
                  </a:cubicBezTo>
                  <a:cubicBezTo>
                    <a:pt x="70069" y="1196702"/>
                    <a:pt x="66279" y="1192297"/>
                    <a:pt x="63719" y="1187177"/>
                  </a:cubicBezTo>
                  <a:cubicBezTo>
                    <a:pt x="57240" y="1174218"/>
                    <a:pt x="56614" y="1163287"/>
                    <a:pt x="63719" y="1149077"/>
                  </a:cubicBezTo>
                  <a:cubicBezTo>
                    <a:pt x="66731" y="1143053"/>
                    <a:pt x="73695" y="1139964"/>
                    <a:pt x="78007" y="1134790"/>
                  </a:cubicBezTo>
                  <a:cubicBezTo>
                    <a:pt x="81671" y="1130393"/>
                    <a:pt x="84357" y="1125265"/>
                    <a:pt x="87532" y="1120502"/>
                  </a:cubicBezTo>
                  <a:cubicBezTo>
                    <a:pt x="85944" y="1109390"/>
                    <a:pt x="86799" y="1097642"/>
                    <a:pt x="82769" y="1087165"/>
                  </a:cubicBezTo>
                  <a:cubicBezTo>
                    <a:pt x="78659" y="1076480"/>
                    <a:pt x="63719" y="1058590"/>
                    <a:pt x="63719" y="1058590"/>
                  </a:cubicBezTo>
                  <a:cubicBezTo>
                    <a:pt x="65307" y="1053827"/>
                    <a:pt x="70727" y="1048792"/>
                    <a:pt x="68482" y="1044302"/>
                  </a:cubicBezTo>
                  <a:cubicBezTo>
                    <a:pt x="66237" y="1039812"/>
                    <a:pt x="59117" y="1040525"/>
                    <a:pt x="54194" y="1039540"/>
                  </a:cubicBezTo>
                  <a:cubicBezTo>
                    <a:pt x="43187" y="1037339"/>
                    <a:pt x="31969" y="1036365"/>
                    <a:pt x="20857" y="1034777"/>
                  </a:cubicBezTo>
                  <a:cubicBezTo>
                    <a:pt x="16094" y="1031602"/>
                    <a:pt x="10145" y="1029722"/>
                    <a:pt x="6569" y="1025252"/>
                  </a:cubicBezTo>
                  <a:cubicBezTo>
                    <a:pt x="0" y="1017040"/>
                    <a:pt x="248" y="999817"/>
                    <a:pt x="6569" y="991915"/>
                  </a:cubicBezTo>
                  <a:cubicBezTo>
                    <a:pt x="9705" y="987995"/>
                    <a:pt x="16367" y="989397"/>
                    <a:pt x="20857" y="987152"/>
                  </a:cubicBezTo>
                  <a:cubicBezTo>
                    <a:pt x="62412" y="966374"/>
                    <a:pt x="4636" y="987732"/>
                    <a:pt x="54194" y="972865"/>
                  </a:cubicBezTo>
                  <a:cubicBezTo>
                    <a:pt x="63811" y="969980"/>
                    <a:pt x="82769" y="963340"/>
                    <a:pt x="82769" y="963340"/>
                  </a:cubicBezTo>
                  <a:lnTo>
                    <a:pt x="111344" y="944290"/>
                  </a:lnTo>
                  <a:lnTo>
                    <a:pt x="125632" y="934765"/>
                  </a:lnTo>
                  <a:cubicBezTo>
                    <a:pt x="141978" y="910246"/>
                    <a:pt x="157147" y="908131"/>
                    <a:pt x="130394" y="896665"/>
                  </a:cubicBezTo>
                  <a:cubicBezTo>
                    <a:pt x="124378" y="894087"/>
                    <a:pt x="117694" y="893490"/>
                    <a:pt x="111344" y="891902"/>
                  </a:cubicBezTo>
                  <a:cubicBezTo>
                    <a:pt x="109757" y="887140"/>
                    <a:pt x="106582" y="882635"/>
                    <a:pt x="106582" y="877615"/>
                  </a:cubicBezTo>
                  <a:cubicBezTo>
                    <a:pt x="106582" y="861998"/>
                    <a:pt x="117040" y="860087"/>
                    <a:pt x="125632" y="849040"/>
                  </a:cubicBezTo>
                  <a:cubicBezTo>
                    <a:pt x="132660" y="840004"/>
                    <a:pt x="138332" y="829990"/>
                    <a:pt x="144682" y="820465"/>
                  </a:cubicBezTo>
                  <a:lnTo>
                    <a:pt x="154207" y="806177"/>
                  </a:lnTo>
                  <a:cubicBezTo>
                    <a:pt x="166786" y="768441"/>
                    <a:pt x="162082" y="787506"/>
                    <a:pt x="168494" y="749027"/>
                  </a:cubicBezTo>
                  <a:cubicBezTo>
                    <a:pt x="161443" y="650302"/>
                    <a:pt x="169672" y="711465"/>
                    <a:pt x="158969" y="663302"/>
                  </a:cubicBezTo>
                  <a:cubicBezTo>
                    <a:pt x="157213" y="655400"/>
                    <a:pt x="157556" y="646859"/>
                    <a:pt x="154207" y="639490"/>
                  </a:cubicBezTo>
                  <a:cubicBezTo>
                    <a:pt x="149470" y="629068"/>
                    <a:pt x="135157" y="610915"/>
                    <a:pt x="135157" y="610915"/>
                  </a:cubicBezTo>
                  <a:cubicBezTo>
                    <a:pt x="130923" y="577049"/>
                    <a:pt x="140489" y="575481"/>
                    <a:pt x="116107" y="563290"/>
                  </a:cubicBezTo>
                  <a:cubicBezTo>
                    <a:pt x="111617" y="561045"/>
                    <a:pt x="106582" y="560115"/>
                    <a:pt x="101819" y="558527"/>
                  </a:cubicBezTo>
                  <a:cubicBezTo>
                    <a:pt x="98644" y="553765"/>
                    <a:pt x="94854" y="549359"/>
                    <a:pt x="92294" y="544240"/>
                  </a:cubicBezTo>
                  <a:cubicBezTo>
                    <a:pt x="87190" y="534032"/>
                    <a:pt x="84941" y="515914"/>
                    <a:pt x="82769" y="506140"/>
                  </a:cubicBezTo>
                  <a:cubicBezTo>
                    <a:pt x="81349" y="499750"/>
                    <a:pt x="79594" y="493440"/>
                    <a:pt x="78007" y="487090"/>
                  </a:cubicBezTo>
                  <a:cubicBezTo>
                    <a:pt x="79594" y="477565"/>
                    <a:pt x="77978" y="466899"/>
                    <a:pt x="82769" y="458515"/>
                  </a:cubicBezTo>
                  <a:cubicBezTo>
                    <a:pt x="85260" y="454156"/>
                    <a:pt x="92567" y="455997"/>
                    <a:pt x="97057" y="453752"/>
                  </a:cubicBezTo>
                  <a:cubicBezTo>
                    <a:pt x="102176" y="451192"/>
                    <a:pt x="106225" y="446787"/>
                    <a:pt x="111344" y="444227"/>
                  </a:cubicBezTo>
                  <a:cubicBezTo>
                    <a:pt x="118951" y="440424"/>
                    <a:pt x="137569" y="436734"/>
                    <a:pt x="144682" y="434702"/>
                  </a:cubicBezTo>
                  <a:cubicBezTo>
                    <a:pt x="192508" y="421037"/>
                    <a:pt x="118464" y="440067"/>
                    <a:pt x="178019" y="425177"/>
                  </a:cubicBezTo>
                  <a:cubicBezTo>
                    <a:pt x="191397" y="426393"/>
                    <a:pt x="226371" y="425541"/>
                    <a:pt x="244694" y="434702"/>
                  </a:cubicBezTo>
                  <a:cubicBezTo>
                    <a:pt x="249814" y="437262"/>
                    <a:pt x="254219" y="441052"/>
                    <a:pt x="258982" y="444227"/>
                  </a:cubicBezTo>
                  <a:cubicBezTo>
                    <a:pt x="263744" y="442640"/>
                    <a:pt x="269349" y="442601"/>
                    <a:pt x="273269" y="439465"/>
                  </a:cubicBezTo>
                  <a:cubicBezTo>
                    <a:pt x="277739" y="435889"/>
                    <a:pt x="277323" y="426860"/>
                    <a:pt x="282794" y="425177"/>
                  </a:cubicBezTo>
                  <a:cubicBezTo>
                    <a:pt x="299553" y="420020"/>
                    <a:pt x="317719" y="422002"/>
                    <a:pt x="335182" y="420415"/>
                  </a:cubicBezTo>
                  <a:cubicBezTo>
                    <a:pt x="339944" y="418827"/>
                    <a:pt x="344979" y="417897"/>
                    <a:pt x="349469" y="415652"/>
                  </a:cubicBezTo>
                  <a:cubicBezTo>
                    <a:pt x="354589" y="413092"/>
                    <a:pt x="358327" y="407937"/>
                    <a:pt x="363757" y="406127"/>
                  </a:cubicBezTo>
                  <a:cubicBezTo>
                    <a:pt x="372918" y="403074"/>
                    <a:pt x="382807" y="402952"/>
                    <a:pt x="392332" y="401365"/>
                  </a:cubicBezTo>
                  <a:cubicBezTo>
                    <a:pt x="397094" y="402952"/>
                    <a:pt x="402129" y="403882"/>
                    <a:pt x="406619" y="406127"/>
                  </a:cubicBezTo>
                  <a:cubicBezTo>
                    <a:pt x="411739" y="408687"/>
                    <a:pt x="415241" y="414842"/>
                    <a:pt x="420907" y="415652"/>
                  </a:cubicBezTo>
                  <a:cubicBezTo>
                    <a:pt x="427387" y="416578"/>
                    <a:pt x="433607" y="412477"/>
                    <a:pt x="439957" y="410890"/>
                  </a:cubicBezTo>
                  <a:cubicBezTo>
                    <a:pt x="441544" y="406127"/>
                    <a:pt x="443501" y="401472"/>
                    <a:pt x="444719" y="396602"/>
                  </a:cubicBezTo>
                  <a:lnTo>
                    <a:pt x="454244" y="358502"/>
                  </a:lnTo>
                  <a:cubicBezTo>
                    <a:pt x="452657" y="353740"/>
                    <a:pt x="452267" y="348392"/>
                    <a:pt x="449482" y="344215"/>
                  </a:cubicBezTo>
                  <a:cubicBezTo>
                    <a:pt x="442148" y="333214"/>
                    <a:pt x="431449" y="327430"/>
                    <a:pt x="420907" y="320402"/>
                  </a:cubicBezTo>
                  <a:cubicBezTo>
                    <a:pt x="412234" y="307392"/>
                    <a:pt x="404868" y="303979"/>
                    <a:pt x="416144" y="287065"/>
                  </a:cubicBezTo>
                  <a:cubicBezTo>
                    <a:pt x="422613" y="277362"/>
                    <a:pt x="453371" y="269894"/>
                    <a:pt x="459007" y="268015"/>
                  </a:cubicBezTo>
                  <a:lnTo>
                    <a:pt x="473294" y="263252"/>
                  </a:lnTo>
                  <a:cubicBezTo>
                    <a:pt x="478067" y="248934"/>
                    <a:pt x="477325" y="246986"/>
                    <a:pt x="487582" y="234677"/>
                  </a:cubicBezTo>
                  <a:cubicBezTo>
                    <a:pt x="491894" y="229503"/>
                    <a:pt x="495982" y="223661"/>
                    <a:pt x="501869" y="220390"/>
                  </a:cubicBezTo>
                  <a:cubicBezTo>
                    <a:pt x="510646" y="215514"/>
                    <a:pt x="530444" y="210865"/>
                    <a:pt x="530444" y="210865"/>
                  </a:cubicBezTo>
                  <a:cubicBezTo>
                    <a:pt x="535207" y="207690"/>
                    <a:pt x="541156" y="205810"/>
                    <a:pt x="544732" y="201340"/>
                  </a:cubicBezTo>
                  <a:cubicBezTo>
                    <a:pt x="557964" y="184800"/>
                    <a:pt x="537723" y="186213"/>
                    <a:pt x="563782" y="177527"/>
                  </a:cubicBezTo>
                  <a:lnTo>
                    <a:pt x="563782" y="177527"/>
                  </a:ln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defTabSz="685800" eaLnBrk="0" fontAlgn="base" hangingPunct="0">
                <a:spcBef>
                  <a:spcPct val="50000"/>
                </a:spcBef>
                <a:spcAft>
                  <a:spcPct val="0"/>
                </a:spcAft>
                <a:buClrTx/>
              </a:pPr>
              <a:endParaRPr lang="en-US" sz="900" kern="1200">
                <a:latin typeface="Arial" charset="0"/>
                <a:ea typeface="+mn-ea"/>
                <a:cs typeface="+mn-cs"/>
              </a:endParaRPr>
            </a:p>
          </p:txBody>
        </p:sp>
        <p:sp>
          <p:nvSpPr>
            <p:cNvPr id="15" name="Freeform 14"/>
            <p:cNvSpPr/>
            <p:nvPr>
              <p:custDataLst>
                <p:tags r:id="rId5"/>
              </p:custDataLst>
            </p:nvPr>
          </p:nvSpPr>
          <p:spPr bwMode="gray">
            <a:xfrm>
              <a:off x="2995799" y="1806575"/>
              <a:ext cx="2090570" cy="1829497"/>
            </a:xfrm>
            <a:custGeom>
              <a:avLst/>
              <a:gdLst>
                <a:gd name="connsiteX0" fmla="*/ 152400 w 2090570"/>
                <a:gd name="connsiteY0" fmla="*/ 1123950 h 1829497"/>
                <a:gd name="connsiteX1" fmla="*/ 146050 w 2090570"/>
                <a:gd name="connsiteY1" fmla="*/ 1098550 h 1829497"/>
                <a:gd name="connsiteX2" fmla="*/ 139700 w 2090570"/>
                <a:gd name="connsiteY2" fmla="*/ 1079500 h 1829497"/>
                <a:gd name="connsiteX3" fmla="*/ 142875 w 2090570"/>
                <a:gd name="connsiteY3" fmla="*/ 1069975 h 1829497"/>
                <a:gd name="connsiteX4" fmla="*/ 152400 w 2090570"/>
                <a:gd name="connsiteY4" fmla="*/ 1066800 h 1829497"/>
                <a:gd name="connsiteX5" fmla="*/ 158750 w 2090570"/>
                <a:gd name="connsiteY5" fmla="*/ 1047750 h 1829497"/>
                <a:gd name="connsiteX6" fmla="*/ 152400 w 2090570"/>
                <a:gd name="connsiteY6" fmla="*/ 1019175 h 1829497"/>
                <a:gd name="connsiteX7" fmla="*/ 146050 w 2090570"/>
                <a:gd name="connsiteY7" fmla="*/ 1000125 h 1829497"/>
                <a:gd name="connsiteX8" fmla="*/ 136525 w 2090570"/>
                <a:gd name="connsiteY8" fmla="*/ 981075 h 1829497"/>
                <a:gd name="connsiteX9" fmla="*/ 127000 w 2090570"/>
                <a:gd name="connsiteY9" fmla="*/ 977900 h 1829497"/>
                <a:gd name="connsiteX10" fmla="*/ 98425 w 2090570"/>
                <a:gd name="connsiteY10" fmla="*/ 984250 h 1829497"/>
                <a:gd name="connsiteX11" fmla="*/ 85725 w 2090570"/>
                <a:gd name="connsiteY11" fmla="*/ 987425 h 1829497"/>
                <a:gd name="connsiteX12" fmla="*/ 76200 w 2090570"/>
                <a:gd name="connsiteY12" fmla="*/ 984250 h 1829497"/>
                <a:gd name="connsiteX13" fmla="*/ 57150 w 2090570"/>
                <a:gd name="connsiteY13" fmla="*/ 971550 h 1829497"/>
                <a:gd name="connsiteX14" fmla="*/ 15875 w 2090570"/>
                <a:gd name="connsiteY14" fmla="*/ 965200 h 1829497"/>
                <a:gd name="connsiteX15" fmla="*/ 6350 w 2090570"/>
                <a:gd name="connsiteY15" fmla="*/ 958850 h 1829497"/>
                <a:gd name="connsiteX16" fmla="*/ 0 w 2090570"/>
                <a:gd name="connsiteY16" fmla="*/ 939800 h 1829497"/>
                <a:gd name="connsiteX17" fmla="*/ 6350 w 2090570"/>
                <a:gd name="connsiteY17" fmla="*/ 930275 h 1829497"/>
                <a:gd name="connsiteX18" fmla="*/ 15875 w 2090570"/>
                <a:gd name="connsiteY18" fmla="*/ 923925 h 1829497"/>
                <a:gd name="connsiteX19" fmla="*/ 19050 w 2090570"/>
                <a:gd name="connsiteY19" fmla="*/ 914400 h 1829497"/>
                <a:gd name="connsiteX20" fmla="*/ 12700 w 2090570"/>
                <a:gd name="connsiteY20" fmla="*/ 892175 h 1829497"/>
                <a:gd name="connsiteX21" fmla="*/ 9525 w 2090570"/>
                <a:gd name="connsiteY21" fmla="*/ 882650 h 1829497"/>
                <a:gd name="connsiteX22" fmla="*/ 3175 w 2090570"/>
                <a:gd name="connsiteY22" fmla="*/ 857250 h 1829497"/>
                <a:gd name="connsiteX23" fmla="*/ 12700 w 2090570"/>
                <a:gd name="connsiteY23" fmla="*/ 835025 h 1829497"/>
                <a:gd name="connsiteX24" fmla="*/ 22225 w 2090570"/>
                <a:gd name="connsiteY24" fmla="*/ 831850 h 1829497"/>
                <a:gd name="connsiteX25" fmla="*/ 31750 w 2090570"/>
                <a:gd name="connsiteY25" fmla="*/ 825500 h 1829497"/>
                <a:gd name="connsiteX26" fmla="*/ 85725 w 2090570"/>
                <a:gd name="connsiteY26" fmla="*/ 831850 h 1829497"/>
                <a:gd name="connsiteX27" fmla="*/ 98425 w 2090570"/>
                <a:gd name="connsiteY27" fmla="*/ 835025 h 1829497"/>
                <a:gd name="connsiteX28" fmla="*/ 120650 w 2090570"/>
                <a:gd name="connsiteY28" fmla="*/ 838200 h 1829497"/>
                <a:gd name="connsiteX29" fmla="*/ 158750 w 2090570"/>
                <a:gd name="connsiteY29" fmla="*/ 825500 h 1829497"/>
                <a:gd name="connsiteX30" fmla="*/ 155575 w 2090570"/>
                <a:gd name="connsiteY30" fmla="*/ 815975 h 1829497"/>
                <a:gd name="connsiteX31" fmla="*/ 158750 w 2090570"/>
                <a:gd name="connsiteY31" fmla="*/ 803275 h 1829497"/>
                <a:gd name="connsiteX32" fmla="*/ 168275 w 2090570"/>
                <a:gd name="connsiteY32" fmla="*/ 774700 h 1829497"/>
                <a:gd name="connsiteX33" fmla="*/ 171450 w 2090570"/>
                <a:gd name="connsiteY33" fmla="*/ 765175 h 1829497"/>
                <a:gd name="connsiteX34" fmla="*/ 174625 w 2090570"/>
                <a:gd name="connsiteY34" fmla="*/ 755650 h 1829497"/>
                <a:gd name="connsiteX35" fmla="*/ 180975 w 2090570"/>
                <a:gd name="connsiteY35" fmla="*/ 708025 h 1829497"/>
                <a:gd name="connsiteX36" fmla="*/ 187325 w 2090570"/>
                <a:gd name="connsiteY36" fmla="*/ 698500 h 1829497"/>
                <a:gd name="connsiteX37" fmla="*/ 190500 w 2090570"/>
                <a:gd name="connsiteY37" fmla="*/ 688975 h 1829497"/>
                <a:gd name="connsiteX38" fmla="*/ 200025 w 2090570"/>
                <a:gd name="connsiteY38" fmla="*/ 679450 h 1829497"/>
                <a:gd name="connsiteX39" fmla="*/ 219075 w 2090570"/>
                <a:gd name="connsiteY39" fmla="*/ 650875 h 1829497"/>
                <a:gd name="connsiteX40" fmla="*/ 225425 w 2090570"/>
                <a:gd name="connsiteY40" fmla="*/ 641350 h 1829497"/>
                <a:gd name="connsiteX41" fmla="*/ 228600 w 2090570"/>
                <a:gd name="connsiteY41" fmla="*/ 625475 h 1829497"/>
                <a:gd name="connsiteX42" fmla="*/ 234950 w 2090570"/>
                <a:gd name="connsiteY42" fmla="*/ 606425 h 1829497"/>
                <a:gd name="connsiteX43" fmla="*/ 231775 w 2090570"/>
                <a:gd name="connsiteY43" fmla="*/ 546100 h 1829497"/>
                <a:gd name="connsiteX44" fmla="*/ 238125 w 2090570"/>
                <a:gd name="connsiteY44" fmla="*/ 495300 h 1829497"/>
                <a:gd name="connsiteX45" fmla="*/ 241300 w 2090570"/>
                <a:gd name="connsiteY45" fmla="*/ 460375 h 1829497"/>
                <a:gd name="connsiteX46" fmla="*/ 247650 w 2090570"/>
                <a:gd name="connsiteY46" fmla="*/ 422275 h 1829497"/>
                <a:gd name="connsiteX47" fmla="*/ 250825 w 2090570"/>
                <a:gd name="connsiteY47" fmla="*/ 412750 h 1829497"/>
                <a:gd name="connsiteX48" fmla="*/ 260350 w 2090570"/>
                <a:gd name="connsiteY48" fmla="*/ 403225 h 1829497"/>
                <a:gd name="connsiteX49" fmla="*/ 266700 w 2090570"/>
                <a:gd name="connsiteY49" fmla="*/ 393700 h 1829497"/>
                <a:gd name="connsiteX50" fmla="*/ 269875 w 2090570"/>
                <a:gd name="connsiteY50" fmla="*/ 381000 h 1829497"/>
                <a:gd name="connsiteX51" fmla="*/ 260350 w 2090570"/>
                <a:gd name="connsiteY51" fmla="*/ 371475 h 1829497"/>
                <a:gd name="connsiteX52" fmla="*/ 219075 w 2090570"/>
                <a:gd name="connsiteY52" fmla="*/ 361950 h 1829497"/>
                <a:gd name="connsiteX53" fmla="*/ 177800 w 2090570"/>
                <a:gd name="connsiteY53" fmla="*/ 358775 h 1829497"/>
                <a:gd name="connsiteX54" fmla="*/ 165100 w 2090570"/>
                <a:gd name="connsiteY54" fmla="*/ 355600 h 1829497"/>
                <a:gd name="connsiteX55" fmla="*/ 168275 w 2090570"/>
                <a:gd name="connsiteY55" fmla="*/ 339725 h 1829497"/>
                <a:gd name="connsiteX56" fmla="*/ 165100 w 2090570"/>
                <a:gd name="connsiteY56" fmla="*/ 327025 h 1829497"/>
                <a:gd name="connsiteX57" fmla="*/ 171450 w 2090570"/>
                <a:gd name="connsiteY57" fmla="*/ 254000 h 1829497"/>
                <a:gd name="connsiteX58" fmla="*/ 174625 w 2090570"/>
                <a:gd name="connsiteY58" fmla="*/ 231775 h 1829497"/>
                <a:gd name="connsiteX59" fmla="*/ 193675 w 2090570"/>
                <a:gd name="connsiteY59" fmla="*/ 222250 h 1829497"/>
                <a:gd name="connsiteX60" fmla="*/ 219075 w 2090570"/>
                <a:gd name="connsiteY60" fmla="*/ 238125 h 1829497"/>
                <a:gd name="connsiteX61" fmla="*/ 228600 w 2090570"/>
                <a:gd name="connsiteY61" fmla="*/ 234950 h 1829497"/>
                <a:gd name="connsiteX62" fmla="*/ 225425 w 2090570"/>
                <a:gd name="connsiteY62" fmla="*/ 222250 h 1829497"/>
                <a:gd name="connsiteX63" fmla="*/ 206375 w 2090570"/>
                <a:gd name="connsiteY63" fmla="*/ 212725 h 1829497"/>
                <a:gd name="connsiteX64" fmla="*/ 200025 w 2090570"/>
                <a:gd name="connsiteY64" fmla="*/ 203200 h 1829497"/>
                <a:gd name="connsiteX65" fmla="*/ 203200 w 2090570"/>
                <a:gd name="connsiteY65" fmla="*/ 190500 h 1829497"/>
                <a:gd name="connsiteX66" fmla="*/ 219075 w 2090570"/>
                <a:gd name="connsiteY66" fmla="*/ 165100 h 1829497"/>
                <a:gd name="connsiteX67" fmla="*/ 228600 w 2090570"/>
                <a:gd name="connsiteY67" fmla="*/ 161925 h 1829497"/>
                <a:gd name="connsiteX68" fmla="*/ 257175 w 2090570"/>
                <a:gd name="connsiteY68" fmla="*/ 142875 h 1829497"/>
                <a:gd name="connsiteX69" fmla="*/ 266700 w 2090570"/>
                <a:gd name="connsiteY69" fmla="*/ 136525 h 1829497"/>
                <a:gd name="connsiteX70" fmla="*/ 304800 w 2090570"/>
                <a:gd name="connsiteY70" fmla="*/ 123825 h 1829497"/>
                <a:gd name="connsiteX71" fmla="*/ 314325 w 2090570"/>
                <a:gd name="connsiteY71" fmla="*/ 120650 h 1829497"/>
                <a:gd name="connsiteX72" fmla="*/ 355600 w 2090570"/>
                <a:gd name="connsiteY72" fmla="*/ 117475 h 1829497"/>
                <a:gd name="connsiteX73" fmla="*/ 384175 w 2090570"/>
                <a:gd name="connsiteY73" fmla="*/ 123825 h 1829497"/>
                <a:gd name="connsiteX74" fmla="*/ 403225 w 2090570"/>
                <a:gd name="connsiteY74" fmla="*/ 133350 h 1829497"/>
                <a:gd name="connsiteX75" fmla="*/ 438150 w 2090570"/>
                <a:gd name="connsiteY75" fmla="*/ 123825 h 1829497"/>
                <a:gd name="connsiteX76" fmla="*/ 438150 w 2090570"/>
                <a:gd name="connsiteY76" fmla="*/ 123825 h 1829497"/>
                <a:gd name="connsiteX77" fmla="*/ 450850 w 2090570"/>
                <a:gd name="connsiteY77" fmla="*/ 120650 h 1829497"/>
                <a:gd name="connsiteX78" fmla="*/ 469900 w 2090570"/>
                <a:gd name="connsiteY78" fmla="*/ 114300 h 1829497"/>
                <a:gd name="connsiteX79" fmla="*/ 479425 w 2090570"/>
                <a:gd name="connsiteY79" fmla="*/ 111125 h 1829497"/>
                <a:gd name="connsiteX80" fmla="*/ 523875 w 2090570"/>
                <a:gd name="connsiteY80" fmla="*/ 104775 h 1829497"/>
                <a:gd name="connsiteX81" fmla="*/ 571500 w 2090570"/>
                <a:gd name="connsiteY81" fmla="*/ 107950 h 1829497"/>
                <a:gd name="connsiteX82" fmla="*/ 590550 w 2090570"/>
                <a:gd name="connsiteY82" fmla="*/ 114300 h 1829497"/>
                <a:gd name="connsiteX83" fmla="*/ 600075 w 2090570"/>
                <a:gd name="connsiteY83" fmla="*/ 120650 h 1829497"/>
                <a:gd name="connsiteX84" fmla="*/ 606425 w 2090570"/>
                <a:gd name="connsiteY84" fmla="*/ 139700 h 1829497"/>
                <a:gd name="connsiteX85" fmla="*/ 609600 w 2090570"/>
                <a:gd name="connsiteY85" fmla="*/ 149225 h 1829497"/>
                <a:gd name="connsiteX86" fmla="*/ 612775 w 2090570"/>
                <a:gd name="connsiteY86" fmla="*/ 158750 h 1829497"/>
                <a:gd name="connsiteX87" fmla="*/ 628650 w 2090570"/>
                <a:gd name="connsiteY87" fmla="*/ 177800 h 1829497"/>
                <a:gd name="connsiteX88" fmla="*/ 641350 w 2090570"/>
                <a:gd name="connsiteY88" fmla="*/ 196850 h 1829497"/>
                <a:gd name="connsiteX89" fmla="*/ 647700 w 2090570"/>
                <a:gd name="connsiteY89" fmla="*/ 215900 h 1829497"/>
                <a:gd name="connsiteX90" fmla="*/ 635000 w 2090570"/>
                <a:gd name="connsiteY90" fmla="*/ 257175 h 1829497"/>
                <a:gd name="connsiteX91" fmla="*/ 625475 w 2090570"/>
                <a:gd name="connsiteY91" fmla="*/ 263525 h 1829497"/>
                <a:gd name="connsiteX92" fmla="*/ 622300 w 2090570"/>
                <a:gd name="connsiteY92" fmla="*/ 273050 h 1829497"/>
                <a:gd name="connsiteX93" fmla="*/ 635000 w 2090570"/>
                <a:gd name="connsiteY93" fmla="*/ 298450 h 1829497"/>
                <a:gd name="connsiteX94" fmla="*/ 644525 w 2090570"/>
                <a:gd name="connsiteY94" fmla="*/ 301625 h 1829497"/>
                <a:gd name="connsiteX95" fmla="*/ 650875 w 2090570"/>
                <a:gd name="connsiteY95" fmla="*/ 311150 h 1829497"/>
                <a:gd name="connsiteX96" fmla="*/ 660400 w 2090570"/>
                <a:gd name="connsiteY96" fmla="*/ 330200 h 1829497"/>
                <a:gd name="connsiteX97" fmla="*/ 669925 w 2090570"/>
                <a:gd name="connsiteY97" fmla="*/ 336550 h 1829497"/>
                <a:gd name="connsiteX98" fmla="*/ 679450 w 2090570"/>
                <a:gd name="connsiteY98" fmla="*/ 327025 h 1829497"/>
                <a:gd name="connsiteX99" fmla="*/ 685800 w 2090570"/>
                <a:gd name="connsiteY99" fmla="*/ 317500 h 1829497"/>
                <a:gd name="connsiteX100" fmla="*/ 704850 w 2090570"/>
                <a:gd name="connsiteY100" fmla="*/ 304800 h 1829497"/>
                <a:gd name="connsiteX101" fmla="*/ 708025 w 2090570"/>
                <a:gd name="connsiteY101" fmla="*/ 263525 h 1829497"/>
                <a:gd name="connsiteX102" fmla="*/ 704850 w 2090570"/>
                <a:gd name="connsiteY102" fmla="*/ 254000 h 1829497"/>
                <a:gd name="connsiteX103" fmla="*/ 695325 w 2090570"/>
                <a:gd name="connsiteY103" fmla="*/ 250825 h 1829497"/>
                <a:gd name="connsiteX104" fmla="*/ 679450 w 2090570"/>
                <a:gd name="connsiteY104" fmla="*/ 247650 h 1829497"/>
                <a:gd name="connsiteX105" fmla="*/ 676275 w 2090570"/>
                <a:gd name="connsiteY105" fmla="*/ 238125 h 1829497"/>
                <a:gd name="connsiteX106" fmla="*/ 685800 w 2090570"/>
                <a:gd name="connsiteY106" fmla="*/ 203200 h 1829497"/>
                <a:gd name="connsiteX107" fmla="*/ 695325 w 2090570"/>
                <a:gd name="connsiteY107" fmla="*/ 196850 h 1829497"/>
                <a:gd name="connsiteX108" fmla="*/ 714375 w 2090570"/>
                <a:gd name="connsiteY108" fmla="*/ 190500 h 1829497"/>
                <a:gd name="connsiteX109" fmla="*/ 739775 w 2090570"/>
                <a:gd name="connsiteY109" fmla="*/ 203200 h 1829497"/>
                <a:gd name="connsiteX110" fmla="*/ 752475 w 2090570"/>
                <a:gd name="connsiteY110" fmla="*/ 222250 h 1829497"/>
                <a:gd name="connsiteX111" fmla="*/ 777875 w 2090570"/>
                <a:gd name="connsiteY111" fmla="*/ 228600 h 1829497"/>
                <a:gd name="connsiteX112" fmla="*/ 806450 w 2090570"/>
                <a:gd name="connsiteY112" fmla="*/ 219075 h 1829497"/>
                <a:gd name="connsiteX113" fmla="*/ 809625 w 2090570"/>
                <a:gd name="connsiteY113" fmla="*/ 209550 h 1829497"/>
                <a:gd name="connsiteX114" fmla="*/ 803275 w 2090570"/>
                <a:gd name="connsiteY114" fmla="*/ 184150 h 1829497"/>
                <a:gd name="connsiteX115" fmla="*/ 800100 w 2090570"/>
                <a:gd name="connsiteY115" fmla="*/ 152400 h 1829497"/>
                <a:gd name="connsiteX116" fmla="*/ 793750 w 2090570"/>
                <a:gd name="connsiteY116" fmla="*/ 130175 h 1829497"/>
                <a:gd name="connsiteX117" fmla="*/ 800100 w 2090570"/>
                <a:gd name="connsiteY117" fmla="*/ 79375 h 1829497"/>
                <a:gd name="connsiteX118" fmla="*/ 806450 w 2090570"/>
                <a:gd name="connsiteY118" fmla="*/ 69850 h 1829497"/>
                <a:gd name="connsiteX119" fmla="*/ 815975 w 2090570"/>
                <a:gd name="connsiteY119" fmla="*/ 60325 h 1829497"/>
                <a:gd name="connsiteX120" fmla="*/ 822325 w 2090570"/>
                <a:gd name="connsiteY120" fmla="*/ 25400 h 1829497"/>
                <a:gd name="connsiteX121" fmla="*/ 825500 w 2090570"/>
                <a:gd name="connsiteY121" fmla="*/ 15875 h 1829497"/>
                <a:gd name="connsiteX122" fmla="*/ 844550 w 2090570"/>
                <a:gd name="connsiteY122" fmla="*/ 9525 h 1829497"/>
                <a:gd name="connsiteX123" fmla="*/ 854075 w 2090570"/>
                <a:gd name="connsiteY123" fmla="*/ 3175 h 1829497"/>
                <a:gd name="connsiteX124" fmla="*/ 866775 w 2090570"/>
                <a:gd name="connsiteY124" fmla="*/ 0 h 1829497"/>
                <a:gd name="connsiteX125" fmla="*/ 892175 w 2090570"/>
                <a:gd name="connsiteY125" fmla="*/ 6350 h 1829497"/>
                <a:gd name="connsiteX126" fmla="*/ 901700 w 2090570"/>
                <a:gd name="connsiteY126" fmla="*/ 12700 h 1829497"/>
                <a:gd name="connsiteX127" fmla="*/ 920750 w 2090570"/>
                <a:gd name="connsiteY127" fmla="*/ 19050 h 1829497"/>
                <a:gd name="connsiteX128" fmla="*/ 930275 w 2090570"/>
                <a:gd name="connsiteY128" fmla="*/ 25400 h 1829497"/>
                <a:gd name="connsiteX129" fmla="*/ 949325 w 2090570"/>
                <a:gd name="connsiteY129" fmla="*/ 31750 h 1829497"/>
                <a:gd name="connsiteX130" fmla="*/ 977900 w 2090570"/>
                <a:gd name="connsiteY130" fmla="*/ 25400 h 1829497"/>
                <a:gd name="connsiteX131" fmla="*/ 996950 w 2090570"/>
                <a:gd name="connsiteY131" fmla="*/ 12700 h 1829497"/>
                <a:gd name="connsiteX132" fmla="*/ 1006475 w 2090570"/>
                <a:gd name="connsiteY132" fmla="*/ 6350 h 1829497"/>
                <a:gd name="connsiteX133" fmla="*/ 1028700 w 2090570"/>
                <a:gd name="connsiteY133" fmla="*/ 0 h 1829497"/>
                <a:gd name="connsiteX134" fmla="*/ 1095375 w 2090570"/>
                <a:gd name="connsiteY134" fmla="*/ 3175 h 1829497"/>
                <a:gd name="connsiteX135" fmla="*/ 1127125 w 2090570"/>
                <a:gd name="connsiteY135" fmla="*/ 19050 h 1829497"/>
                <a:gd name="connsiteX136" fmla="*/ 1149350 w 2090570"/>
                <a:gd name="connsiteY136" fmla="*/ 34925 h 1829497"/>
                <a:gd name="connsiteX137" fmla="*/ 1168400 w 2090570"/>
                <a:gd name="connsiteY137" fmla="*/ 50800 h 1829497"/>
                <a:gd name="connsiteX138" fmla="*/ 1177925 w 2090570"/>
                <a:gd name="connsiteY138" fmla="*/ 69850 h 1829497"/>
                <a:gd name="connsiteX139" fmla="*/ 1181100 w 2090570"/>
                <a:gd name="connsiteY139" fmla="*/ 79375 h 1829497"/>
                <a:gd name="connsiteX140" fmla="*/ 1187450 w 2090570"/>
                <a:gd name="connsiteY140" fmla="*/ 88900 h 1829497"/>
                <a:gd name="connsiteX141" fmla="*/ 1190625 w 2090570"/>
                <a:gd name="connsiteY141" fmla="*/ 98425 h 1829497"/>
                <a:gd name="connsiteX142" fmla="*/ 1196975 w 2090570"/>
                <a:gd name="connsiteY142" fmla="*/ 107950 h 1829497"/>
                <a:gd name="connsiteX143" fmla="*/ 1200150 w 2090570"/>
                <a:gd name="connsiteY143" fmla="*/ 117475 h 1829497"/>
                <a:gd name="connsiteX144" fmla="*/ 1209675 w 2090570"/>
                <a:gd name="connsiteY144" fmla="*/ 123825 h 1829497"/>
                <a:gd name="connsiteX145" fmla="*/ 1219200 w 2090570"/>
                <a:gd name="connsiteY145" fmla="*/ 142875 h 1829497"/>
                <a:gd name="connsiteX146" fmla="*/ 1228725 w 2090570"/>
                <a:gd name="connsiteY146" fmla="*/ 161925 h 1829497"/>
                <a:gd name="connsiteX147" fmla="*/ 1238250 w 2090570"/>
                <a:gd name="connsiteY147" fmla="*/ 193675 h 1829497"/>
                <a:gd name="connsiteX148" fmla="*/ 1247775 w 2090570"/>
                <a:gd name="connsiteY148" fmla="*/ 196850 h 1829497"/>
                <a:gd name="connsiteX149" fmla="*/ 1266825 w 2090570"/>
                <a:gd name="connsiteY149" fmla="*/ 206375 h 1829497"/>
                <a:gd name="connsiteX150" fmla="*/ 1285875 w 2090570"/>
                <a:gd name="connsiteY150" fmla="*/ 215900 h 1829497"/>
                <a:gd name="connsiteX151" fmla="*/ 1295400 w 2090570"/>
                <a:gd name="connsiteY151" fmla="*/ 222250 h 1829497"/>
                <a:gd name="connsiteX152" fmla="*/ 1314450 w 2090570"/>
                <a:gd name="connsiteY152" fmla="*/ 228600 h 1829497"/>
                <a:gd name="connsiteX153" fmla="*/ 1323975 w 2090570"/>
                <a:gd name="connsiteY153" fmla="*/ 234950 h 1829497"/>
                <a:gd name="connsiteX154" fmla="*/ 1330325 w 2090570"/>
                <a:gd name="connsiteY154" fmla="*/ 244475 h 1829497"/>
                <a:gd name="connsiteX155" fmla="*/ 1339850 w 2090570"/>
                <a:gd name="connsiteY155" fmla="*/ 279400 h 1829497"/>
                <a:gd name="connsiteX156" fmla="*/ 1346200 w 2090570"/>
                <a:gd name="connsiteY156" fmla="*/ 304800 h 1829497"/>
                <a:gd name="connsiteX157" fmla="*/ 1355725 w 2090570"/>
                <a:gd name="connsiteY157" fmla="*/ 311150 h 1829497"/>
                <a:gd name="connsiteX158" fmla="*/ 1384300 w 2090570"/>
                <a:gd name="connsiteY158" fmla="*/ 317500 h 1829497"/>
                <a:gd name="connsiteX159" fmla="*/ 1403350 w 2090570"/>
                <a:gd name="connsiteY159" fmla="*/ 323850 h 1829497"/>
                <a:gd name="connsiteX160" fmla="*/ 1431925 w 2090570"/>
                <a:gd name="connsiteY160" fmla="*/ 317500 h 1829497"/>
                <a:gd name="connsiteX161" fmla="*/ 1450975 w 2090570"/>
                <a:gd name="connsiteY161" fmla="*/ 311150 h 1829497"/>
                <a:gd name="connsiteX162" fmla="*/ 1479550 w 2090570"/>
                <a:gd name="connsiteY162" fmla="*/ 320675 h 1829497"/>
                <a:gd name="connsiteX163" fmla="*/ 1492250 w 2090570"/>
                <a:gd name="connsiteY163" fmla="*/ 336550 h 1829497"/>
                <a:gd name="connsiteX164" fmla="*/ 1511300 w 2090570"/>
                <a:gd name="connsiteY164" fmla="*/ 342900 h 1829497"/>
                <a:gd name="connsiteX165" fmla="*/ 1527175 w 2090570"/>
                <a:gd name="connsiteY165" fmla="*/ 330200 h 1829497"/>
                <a:gd name="connsiteX166" fmla="*/ 1546225 w 2090570"/>
                <a:gd name="connsiteY166" fmla="*/ 320675 h 1829497"/>
                <a:gd name="connsiteX167" fmla="*/ 1577975 w 2090570"/>
                <a:gd name="connsiteY167" fmla="*/ 323850 h 1829497"/>
                <a:gd name="connsiteX168" fmla="*/ 1587500 w 2090570"/>
                <a:gd name="connsiteY168" fmla="*/ 333375 h 1829497"/>
                <a:gd name="connsiteX169" fmla="*/ 1606550 w 2090570"/>
                <a:gd name="connsiteY169" fmla="*/ 346075 h 1829497"/>
                <a:gd name="connsiteX170" fmla="*/ 1606550 w 2090570"/>
                <a:gd name="connsiteY170" fmla="*/ 346075 h 1829497"/>
                <a:gd name="connsiteX171" fmla="*/ 1631950 w 2090570"/>
                <a:gd name="connsiteY171" fmla="*/ 352425 h 1829497"/>
                <a:gd name="connsiteX172" fmla="*/ 1651000 w 2090570"/>
                <a:gd name="connsiteY172" fmla="*/ 358775 h 1829497"/>
                <a:gd name="connsiteX173" fmla="*/ 1660525 w 2090570"/>
                <a:gd name="connsiteY173" fmla="*/ 361950 h 1829497"/>
                <a:gd name="connsiteX174" fmla="*/ 1682750 w 2090570"/>
                <a:gd name="connsiteY174" fmla="*/ 365125 h 1829497"/>
                <a:gd name="connsiteX175" fmla="*/ 1701800 w 2090570"/>
                <a:gd name="connsiteY175" fmla="*/ 371475 h 1829497"/>
                <a:gd name="connsiteX176" fmla="*/ 1724025 w 2090570"/>
                <a:gd name="connsiteY176" fmla="*/ 377825 h 1829497"/>
                <a:gd name="connsiteX177" fmla="*/ 1727200 w 2090570"/>
                <a:gd name="connsiteY177" fmla="*/ 387350 h 1829497"/>
                <a:gd name="connsiteX178" fmla="*/ 1736725 w 2090570"/>
                <a:gd name="connsiteY178" fmla="*/ 396875 h 1829497"/>
                <a:gd name="connsiteX179" fmla="*/ 1749425 w 2090570"/>
                <a:gd name="connsiteY179" fmla="*/ 400050 h 1829497"/>
                <a:gd name="connsiteX180" fmla="*/ 1778000 w 2090570"/>
                <a:gd name="connsiteY180" fmla="*/ 403225 h 1829497"/>
                <a:gd name="connsiteX181" fmla="*/ 1790700 w 2090570"/>
                <a:gd name="connsiteY181" fmla="*/ 400050 h 1829497"/>
                <a:gd name="connsiteX182" fmla="*/ 1812925 w 2090570"/>
                <a:gd name="connsiteY182" fmla="*/ 384175 h 1829497"/>
                <a:gd name="connsiteX183" fmla="*/ 1825625 w 2090570"/>
                <a:gd name="connsiteY183" fmla="*/ 381000 h 1829497"/>
                <a:gd name="connsiteX184" fmla="*/ 1835150 w 2090570"/>
                <a:gd name="connsiteY184" fmla="*/ 384175 h 1829497"/>
                <a:gd name="connsiteX185" fmla="*/ 1838325 w 2090570"/>
                <a:gd name="connsiteY185" fmla="*/ 393700 h 1829497"/>
                <a:gd name="connsiteX186" fmla="*/ 1847850 w 2090570"/>
                <a:gd name="connsiteY186" fmla="*/ 403225 h 1829497"/>
                <a:gd name="connsiteX187" fmla="*/ 1863725 w 2090570"/>
                <a:gd name="connsiteY187" fmla="*/ 431800 h 1829497"/>
                <a:gd name="connsiteX188" fmla="*/ 1866900 w 2090570"/>
                <a:gd name="connsiteY188" fmla="*/ 441325 h 1829497"/>
                <a:gd name="connsiteX189" fmla="*/ 1892300 w 2090570"/>
                <a:gd name="connsiteY189" fmla="*/ 469900 h 1829497"/>
                <a:gd name="connsiteX190" fmla="*/ 1898650 w 2090570"/>
                <a:gd name="connsiteY190" fmla="*/ 479425 h 1829497"/>
                <a:gd name="connsiteX191" fmla="*/ 1917700 w 2090570"/>
                <a:gd name="connsiteY191" fmla="*/ 488950 h 1829497"/>
                <a:gd name="connsiteX192" fmla="*/ 1936750 w 2090570"/>
                <a:gd name="connsiteY192" fmla="*/ 504825 h 1829497"/>
                <a:gd name="connsiteX193" fmla="*/ 1943100 w 2090570"/>
                <a:gd name="connsiteY193" fmla="*/ 523875 h 1829497"/>
                <a:gd name="connsiteX194" fmla="*/ 1952625 w 2090570"/>
                <a:gd name="connsiteY194" fmla="*/ 533400 h 1829497"/>
                <a:gd name="connsiteX195" fmla="*/ 1971675 w 2090570"/>
                <a:gd name="connsiteY195" fmla="*/ 561975 h 1829497"/>
                <a:gd name="connsiteX196" fmla="*/ 1981200 w 2090570"/>
                <a:gd name="connsiteY196" fmla="*/ 568325 h 1829497"/>
                <a:gd name="connsiteX197" fmla="*/ 2003425 w 2090570"/>
                <a:gd name="connsiteY197" fmla="*/ 577850 h 1829497"/>
                <a:gd name="connsiteX198" fmla="*/ 2047875 w 2090570"/>
                <a:gd name="connsiteY198" fmla="*/ 584200 h 1829497"/>
                <a:gd name="connsiteX199" fmla="*/ 2082800 w 2090570"/>
                <a:gd name="connsiteY199" fmla="*/ 593725 h 1829497"/>
                <a:gd name="connsiteX200" fmla="*/ 2089150 w 2090570"/>
                <a:gd name="connsiteY200" fmla="*/ 612775 h 1829497"/>
                <a:gd name="connsiteX201" fmla="*/ 2079625 w 2090570"/>
                <a:gd name="connsiteY201" fmla="*/ 622300 h 1829497"/>
                <a:gd name="connsiteX202" fmla="*/ 2060575 w 2090570"/>
                <a:gd name="connsiteY202" fmla="*/ 631825 h 1829497"/>
                <a:gd name="connsiteX203" fmla="*/ 2057400 w 2090570"/>
                <a:gd name="connsiteY203" fmla="*/ 641350 h 1829497"/>
                <a:gd name="connsiteX204" fmla="*/ 2054225 w 2090570"/>
                <a:gd name="connsiteY204" fmla="*/ 657225 h 1829497"/>
                <a:gd name="connsiteX205" fmla="*/ 2041525 w 2090570"/>
                <a:gd name="connsiteY205" fmla="*/ 663575 h 1829497"/>
                <a:gd name="connsiteX206" fmla="*/ 2022475 w 2090570"/>
                <a:gd name="connsiteY206" fmla="*/ 676275 h 1829497"/>
                <a:gd name="connsiteX207" fmla="*/ 2000250 w 2090570"/>
                <a:gd name="connsiteY207" fmla="*/ 704850 h 1829497"/>
                <a:gd name="connsiteX208" fmla="*/ 1984375 w 2090570"/>
                <a:gd name="connsiteY208" fmla="*/ 708025 h 1829497"/>
                <a:gd name="connsiteX209" fmla="*/ 1974850 w 2090570"/>
                <a:gd name="connsiteY209" fmla="*/ 711200 h 1829497"/>
                <a:gd name="connsiteX210" fmla="*/ 1939925 w 2090570"/>
                <a:gd name="connsiteY210" fmla="*/ 701675 h 1829497"/>
                <a:gd name="connsiteX211" fmla="*/ 1936750 w 2090570"/>
                <a:gd name="connsiteY211" fmla="*/ 692150 h 1829497"/>
                <a:gd name="connsiteX212" fmla="*/ 1866900 w 2090570"/>
                <a:gd name="connsiteY212" fmla="*/ 698500 h 1829497"/>
                <a:gd name="connsiteX213" fmla="*/ 1847850 w 2090570"/>
                <a:gd name="connsiteY213" fmla="*/ 704850 h 1829497"/>
                <a:gd name="connsiteX214" fmla="*/ 1831975 w 2090570"/>
                <a:gd name="connsiteY214" fmla="*/ 720725 h 1829497"/>
                <a:gd name="connsiteX215" fmla="*/ 1822450 w 2090570"/>
                <a:gd name="connsiteY215" fmla="*/ 727075 h 1829497"/>
                <a:gd name="connsiteX216" fmla="*/ 1771650 w 2090570"/>
                <a:gd name="connsiteY216" fmla="*/ 736600 h 1829497"/>
                <a:gd name="connsiteX217" fmla="*/ 1752600 w 2090570"/>
                <a:gd name="connsiteY217" fmla="*/ 746125 h 1829497"/>
                <a:gd name="connsiteX218" fmla="*/ 1755775 w 2090570"/>
                <a:gd name="connsiteY218" fmla="*/ 765175 h 1829497"/>
                <a:gd name="connsiteX219" fmla="*/ 1765300 w 2090570"/>
                <a:gd name="connsiteY219" fmla="*/ 796925 h 1829497"/>
                <a:gd name="connsiteX220" fmla="*/ 1768475 w 2090570"/>
                <a:gd name="connsiteY220" fmla="*/ 806450 h 1829497"/>
                <a:gd name="connsiteX221" fmla="*/ 1774825 w 2090570"/>
                <a:gd name="connsiteY221" fmla="*/ 838200 h 1829497"/>
                <a:gd name="connsiteX222" fmla="*/ 1781175 w 2090570"/>
                <a:gd name="connsiteY222" fmla="*/ 847725 h 1829497"/>
                <a:gd name="connsiteX223" fmla="*/ 1800225 w 2090570"/>
                <a:gd name="connsiteY223" fmla="*/ 869950 h 1829497"/>
                <a:gd name="connsiteX224" fmla="*/ 1809750 w 2090570"/>
                <a:gd name="connsiteY224" fmla="*/ 889000 h 1829497"/>
                <a:gd name="connsiteX225" fmla="*/ 1822450 w 2090570"/>
                <a:gd name="connsiteY225" fmla="*/ 908050 h 1829497"/>
                <a:gd name="connsiteX226" fmla="*/ 1825625 w 2090570"/>
                <a:gd name="connsiteY226" fmla="*/ 917575 h 1829497"/>
                <a:gd name="connsiteX227" fmla="*/ 1831975 w 2090570"/>
                <a:gd name="connsiteY227" fmla="*/ 927100 h 1829497"/>
                <a:gd name="connsiteX228" fmla="*/ 1835150 w 2090570"/>
                <a:gd name="connsiteY228" fmla="*/ 939800 h 1829497"/>
                <a:gd name="connsiteX229" fmla="*/ 1838325 w 2090570"/>
                <a:gd name="connsiteY229" fmla="*/ 949325 h 1829497"/>
                <a:gd name="connsiteX230" fmla="*/ 1841500 w 2090570"/>
                <a:gd name="connsiteY230" fmla="*/ 965200 h 1829497"/>
                <a:gd name="connsiteX231" fmla="*/ 1851025 w 2090570"/>
                <a:gd name="connsiteY231" fmla="*/ 971550 h 1829497"/>
                <a:gd name="connsiteX232" fmla="*/ 1841500 w 2090570"/>
                <a:gd name="connsiteY232" fmla="*/ 981075 h 1829497"/>
                <a:gd name="connsiteX233" fmla="*/ 1831975 w 2090570"/>
                <a:gd name="connsiteY233" fmla="*/ 987425 h 1829497"/>
                <a:gd name="connsiteX234" fmla="*/ 1847850 w 2090570"/>
                <a:gd name="connsiteY234" fmla="*/ 1016000 h 1829497"/>
                <a:gd name="connsiteX235" fmla="*/ 1860550 w 2090570"/>
                <a:gd name="connsiteY235" fmla="*/ 1038225 h 1829497"/>
                <a:gd name="connsiteX236" fmla="*/ 1879600 w 2090570"/>
                <a:gd name="connsiteY236" fmla="*/ 1054100 h 1829497"/>
                <a:gd name="connsiteX237" fmla="*/ 1889125 w 2090570"/>
                <a:gd name="connsiteY237" fmla="*/ 1063625 h 1829497"/>
                <a:gd name="connsiteX238" fmla="*/ 1873250 w 2090570"/>
                <a:gd name="connsiteY238" fmla="*/ 1079500 h 1829497"/>
                <a:gd name="connsiteX239" fmla="*/ 1857375 w 2090570"/>
                <a:gd name="connsiteY239" fmla="*/ 1095375 h 1829497"/>
                <a:gd name="connsiteX240" fmla="*/ 1870075 w 2090570"/>
                <a:gd name="connsiteY240" fmla="*/ 1136650 h 1829497"/>
                <a:gd name="connsiteX241" fmla="*/ 1879600 w 2090570"/>
                <a:gd name="connsiteY241" fmla="*/ 1143000 h 1829497"/>
                <a:gd name="connsiteX242" fmla="*/ 1885950 w 2090570"/>
                <a:gd name="connsiteY242" fmla="*/ 1152525 h 1829497"/>
                <a:gd name="connsiteX243" fmla="*/ 1885950 w 2090570"/>
                <a:gd name="connsiteY243" fmla="*/ 1171575 h 1829497"/>
                <a:gd name="connsiteX244" fmla="*/ 1876425 w 2090570"/>
                <a:gd name="connsiteY244" fmla="*/ 1177925 h 1829497"/>
                <a:gd name="connsiteX245" fmla="*/ 1866900 w 2090570"/>
                <a:gd name="connsiteY245" fmla="*/ 1187450 h 1829497"/>
                <a:gd name="connsiteX246" fmla="*/ 1876425 w 2090570"/>
                <a:gd name="connsiteY246" fmla="*/ 1206500 h 1829497"/>
                <a:gd name="connsiteX247" fmla="*/ 1879600 w 2090570"/>
                <a:gd name="connsiteY247" fmla="*/ 1216025 h 1829497"/>
                <a:gd name="connsiteX248" fmla="*/ 1870075 w 2090570"/>
                <a:gd name="connsiteY248" fmla="*/ 1225550 h 1829497"/>
                <a:gd name="connsiteX249" fmla="*/ 1863725 w 2090570"/>
                <a:gd name="connsiteY249" fmla="*/ 1244600 h 1829497"/>
                <a:gd name="connsiteX250" fmla="*/ 1857375 w 2090570"/>
                <a:gd name="connsiteY250" fmla="*/ 1263650 h 1829497"/>
                <a:gd name="connsiteX251" fmla="*/ 1844675 w 2090570"/>
                <a:gd name="connsiteY251" fmla="*/ 1282700 h 1829497"/>
                <a:gd name="connsiteX252" fmla="*/ 1825625 w 2090570"/>
                <a:gd name="connsiteY252" fmla="*/ 1292225 h 1829497"/>
                <a:gd name="connsiteX253" fmla="*/ 1803400 w 2090570"/>
                <a:gd name="connsiteY253" fmla="*/ 1289050 h 1829497"/>
                <a:gd name="connsiteX254" fmla="*/ 1784350 w 2090570"/>
                <a:gd name="connsiteY254" fmla="*/ 1292225 h 1829497"/>
                <a:gd name="connsiteX255" fmla="*/ 1755775 w 2090570"/>
                <a:gd name="connsiteY255" fmla="*/ 1301750 h 1829497"/>
                <a:gd name="connsiteX256" fmla="*/ 1724025 w 2090570"/>
                <a:gd name="connsiteY256" fmla="*/ 1304925 h 1829497"/>
                <a:gd name="connsiteX257" fmla="*/ 1704975 w 2090570"/>
                <a:gd name="connsiteY257" fmla="*/ 1311275 h 1829497"/>
                <a:gd name="connsiteX258" fmla="*/ 1685925 w 2090570"/>
                <a:gd name="connsiteY258" fmla="*/ 1327150 h 1829497"/>
                <a:gd name="connsiteX259" fmla="*/ 1682750 w 2090570"/>
                <a:gd name="connsiteY259" fmla="*/ 1336675 h 1829497"/>
                <a:gd name="connsiteX260" fmla="*/ 1695450 w 2090570"/>
                <a:gd name="connsiteY260" fmla="*/ 1358900 h 1829497"/>
                <a:gd name="connsiteX261" fmla="*/ 1704975 w 2090570"/>
                <a:gd name="connsiteY261" fmla="*/ 1377950 h 1829497"/>
                <a:gd name="connsiteX262" fmla="*/ 1708150 w 2090570"/>
                <a:gd name="connsiteY262" fmla="*/ 1387475 h 1829497"/>
                <a:gd name="connsiteX263" fmla="*/ 1698625 w 2090570"/>
                <a:gd name="connsiteY263" fmla="*/ 1416050 h 1829497"/>
                <a:gd name="connsiteX264" fmla="*/ 1685925 w 2090570"/>
                <a:gd name="connsiteY264" fmla="*/ 1422400 h 1829497"/>
                <a:gd name="connsiteX265" fmla="*/ 1682750 w 2090570"/>
                <a:gd name="connsiteY265" fmla="*/ 1431925 h 1829497"/>
                <a:gd name="connsiteX266" fmla="*/ 1673225 w 2090570"/>
                <a:gd name="connsiteY266" fmla="*/ 1441450 h 1829497"/>
                <a:gd name="connsiteX267" fmla="*/ 1682750 w 2090570"/>
                <a:gd name="connsiteY267" fmla="*/ 1466850 h 1829497"/>
                <a:gd name="connsiteX268" fmla="*/ 1689100 w 2090570"/>
                <a:gd name="connsiteY268" fmla="*/ 1485900 h 1829497"/>
                <a:gd name="connsiteX269" fmla="*/ 1698625 w 2090570"/>
                <a:gd name="connsiteY269" fmla="*/ 1514475 h 1829497"/>
                <a:gd name="connsiteX270" fmla="*/ 1704975 w 2090570"/>
                <a:gd name="connsiteY270" fmla="*/ 1543050 h 1829497"/>
                <a:gd name="connsiteX271" fmla="*/ 1714500 w 2090570"/>
                <a:gd name="connsiteY271" fmla="*/ 1577975 h 1829497"/>
                <a:gd name="connsiteX272" fmla="*/ 1704975 w 2090570"/>
                <a:gd name="connsiteY272" fmla="*/ 1625600 h 1829497"/>
                <a:gd name="connsiteX273" fmla="*/ 1695450 w 2090570"/>
                <a:gd name="connsiteY273" fmla="*/ 1631950 h 1829497"/>
                <a:gd name="connsiteX274" fmla="*/ 1682750 w 2090570"/>
                <a:gd name="connsiteY274" fmla="*/ 1628775 h 1829497"/>
                <a:gd name="connsiteX275" fmla="*/ 1673225 w 2090570"/>
                <a:gd name="connsiteY275" fmla="*/ 1625600 h 1829497"/>
                <a:gd name="connsiteX276" fmla="*/ 1638300 w 2090570"/>
                <a:gd name="connsiteY276" fmla="*/ 1628775 h 1829497"/>
                <a:gd name="connsiteX277" fmla="*/ 1622425 w 2090570"/>
                <a:gd name="connsiteY277" fmla="*/ 1625600 h 1829497"/>
                <a:gd name="connsiteX278" fmla="*/ 1612900 w 2090570"/>
                <a:gd name="connsiteY278" fmla="*/ 1622425 h 1829497"/>
                <a:gd name="connsiteX279" fmla="*/ 1590675 w 2090570"/>
                <a:gd name="connsiteY279" fmla="*/ 1625600 h 1829497"/>
                <a:gd name="connsiteX280" fmla="*/ 1581150 w 2090570"/>
                <a:gd name="connsiteY280" fmla="*/ 1628775 h 1829497"/>
                <a:gd name="connsiteX281" fmla="*/ 1577975 w 2090570"/>
                <a:gd name="connsiteY281" fmla="*/ 1638300 h 1829497"/>
                <a:gd name="connsiteX282" fmla="*/ 1571625 w 2090570"/>
                <a:gd name="connsiteY282" fmla="*/ 1647825 h 1829497"/>
                <a:gd name="connsiteX283" fmla="*/ 1555750 w 2090570"/>
                <a:gd name="connsiteY283" fmla="*/ 1676400 h 1829497"/>
                <a:gd name="connsiteX284" fmla="*/ 1543050 w 2090570"/>
                <a:gd name="connsiteY284" fmla="*/ 1682750 h 1829497"/>
                <a:gd name="connsiteX285" fmla="*/ 1524000 w 2090570"/>
                <a:gd name="connsiteY285" fmla="*/ 1695450 h 1829497"/>
                <a:gd name="connsiteX286" fmla="*/ 1517650 w 2090570"/>
                <a:gd name="connsiteY286" fmla="*/ 1704975 h 1829497"/>
                <a:gd name="connsiteX287" fmla="*/ 1508125 w 2090570"/>
                <a:gd name="connsiteY287" fmla="*/ 1708150 h 1829497"/>
                <a:gd name="connsiteX288" fmla="*/ 1498600 w 2090570"/>
                <a:gd name="connsiteY288" fmla="*/ 1714500 h 1829497"/>
                <a:gd name="connsiteX289" fmla="*/ 1479550 w 2090570"/>
                <a:gd name="connsiteY289" fmla="*/ 1720850 h 1829497"/>
                <a:gd name="connsiteX290" fmla="*/ 1470025 w 2090570"/>
                <a:gd name="connsiteY290" fmla="*/ 1724025 h 1829497"/>
                <a:gd name="connsiteX291" fmla="*/ 1460500 w 2090570"/>
                <a:gd name="connsiteY291" fmla="*/ 1727200 h 1829497"/>
                <a:gd name="connsiteX292" fmla="*/ 1450975 w 2090570"/>
                <a:gd name="connsiteY292" fmla="*/ 1733550 h 1829497"/>
                <a:gd name="connsiteX293" fmla="*/ 1431925 w 2090570"/>
                <a:gd name="connsiteY293" fmla="*/ 1739900 h 1829497"/>
                <a:gd name="connsiteX294" fmla="*/ 1409700 w 2090570"/>
                <a:gd name="connsiteY294" fmla="*/ 1755775 h 1829497"/>
                <a:gd name="connsiteX295" fmla="*/ 1403350 w 2090570"/>
                <a:gd name="connsiteY295" fmla="*/ 1765300 h 1829497"/>
                <a:gd name="connsiteX296" fmla="*/ 1374775 w 2090570"/>
                <a:gd name="connsiteY296" fmla="*/ 1743075 h 1829497"/>
                <a:gd name="connsiteX297" fmla="*/ 1327150 w 2090570"/>
                <a:gd name="connsiteY297" fmla="*/ 1746250 h 1829497"/>
                <a:gd name="connsiteX298" fmla="*/ 1314450 w 2090570"/>
                <a:gd name="connsiteY298" fmla="*/ 1749425 h 1829497"/>
                <a:gd name="connsiteX299" fmla="*/ 1304925 w 2090570"/>
                <a:gd name="connsiteY299" fmla="*/ 1768475 h 1829497"/>
                <a:gd name="connsiteX300" fmla="*/ 1314450 w 2090570"/>
                <a:gd name="connsiteY300" fmla="*/ 1803400 h 1829497"/>
                <a:gd name="connsiteX301" fmla="*/ 1317625 w 2090570"/>
                <a:gd name="connsiteY301" fmla="*/ 1812925 h 1829497"/>
                <a:gd name="connsiteX302" fmla="*/ 1311275 w 2090570"/>
                <a:gd name="connsiteY302" fmla="*/ 1822450 h 1829497"/>
                <a:gd name="connsiteX303" fmla="*/ 1301750 w 2090570"/>
                <a:gd name="connsiteY303" fmla="*/ 1828800 h 1829497"/>
                <a:gd name="connsiteX304" fmla="*/ 1276350 w 2090570"/>
                <a:gd name="connsiteY304" fmla="*/ 1822450 h 1829497"/>
                <a:gd name="connsiteX305" fmla="*/ 1257300 w 2090570"/>
                <a:gd name="connsiteY305" fmla="*/ 1809750 h 1829497"/>
                <a:gd name="connsiteX306" fmla="*/ 1247775 w 2090570"/>
                <a:gd name="connsiteY306" fmla="*/ 1803400 h 1829497"/>
                <a:gd name="connsiteX307" fmla="*/ 1238250 w 2090570"/>
                <a:gd name="connsiteY307" fmla="*/ 1800225 h 1829497"/>
                <a:gd name="connsiteX308" fmla="*/ 1222375 w 2090570"/>
                <a:gd name="connsiteY308" fmla="*/ 1781175 h 1829497"/>
                <a:gd name="connsiteX309" fmla="*/ 1228725 w 2090570"/>
                <a:gd name="connsiteY309" fmla="*/ 1752600 h 1829497"/>
                <a:gd name="connsiteX310" fmla="*/ 1250950 w 2090570"/>
                <a:gd name="connsiteY310" fmla="*/ 1739900 h 1829497"/>
                <a:gd name="connsiteX311" fmla="*/ 1260475 w 2090570"/>
                <a:gd name="connsiteY311" fmla="*/ 1720850 h 1829497"/>
                <a:gd name="connsiteX312" fmla="*/ 1257300 w 2090570"/>
                <a:gd name="connsiteY312" fmla="*/ 1704975 h 1829497"/>
                <a:gd name="connsiteX313" fmla="*/ 1250950 w 2090570"/>
                <a:gd name="connsiteY313" fmla="*/ 1695450 h 1829497"/>
                <a:gd name="connsiteX314" fmla="*/ 1244600 w 2090570"/>
                <a:gd name="connsiteY314" fmla="*/ 1676400 h 1829497"/>
                <a:gd name="connsiteX315" fmla="*/ 1241425 w 2090570"/>
                <a:gd name="connsiteY315" fmla="*/ 1666875 h 1829497"/>
                <a:gd name="connsiteX316" fmla="*/ 1244600 w 2090570"/>
                <a:gd name="connsiteY316" fmla="*/ 1654175 h 1829497"/>
                <a:gd name="connsiteX317" fmla="*/ 1263650 w 2090570"/>
                <a:gd name="connsiteY317" fmla="*/ 1644650 h 1829497"/>
                <a:gd name="connsiteX318" fmla="*/ 1276350 w 2090570"/>
                <a:gd name="connsiteY318" fmla="*/ 1638300 h 1829497"/>
                <a:gd name="connsiteX319" fmla="*/ 1282700 w 2090570"/>
                <a:gd name="connsiteY319" fmla="*/ 1628775 h 1829497"/>
                <a:gd name="connsiteX320" fmla="*/ 1279525 w 2090570"/>
                <a:gd name="connsiteY320" fmla="*/ 1619250 h 1829497"/>
                <a:gd name="connsiteX321" fmla="*/ 1263650 w 2090570"/>
                <a:gd name="connsiteY321" fmla="*/ 1600200 h 1829497"/>
                <a:gd name="connsiteX322" fmla="*/ 1206500 w 2090570"/>
                <a:gd name="connsiteY322" fmla="*/ 1590675 h 1829497"/>
                <a:gd name="connsiteX323" fmla="*/ 1190625 w 2090570"/>
                <a:gd name="connsiteY323" fmla="*/ 1571625 h 1829497"/>
                <a:gd name="connsiteX324" fmla="*/ 1171575 w 2090570"/>
                <a:gd name="connsiteY324" fmla="*/ 1574800 h 1829497"/>
                <a:gd name="connsiteX325" fmla="*/ 1162050 w 2090570"/>
                <a:gd name="connsiteY325" fmla="*/ 1577975 h 1829497"/>
                <a:gd name="connsiteX326" fmla="*/ 1155700 w 2090570"/>
                <a:gd name="connsiteY326" fmla="*/ 1568450 h 1829497"/>
                <a:gd name="connsiteX327" fmla="*/ 1158875 w 2090570"/>
                <a:gd name="connsiteY327" fmla="*/ 1530350 h 1829497"/>
                <a:gd name="connsiteX328" fmla="*/ 1162050 w 2090570"/>
                <a:gd name="connsiteY328" fmla="*/ 1511300 h 1829497"/>
                <a:gd name="connsiteX329" fmla="*/ 1168400 w 2090570"/>
                <a:gd name="connsiteY329" fmla="*/ 1479550 h 1829497"/>
                <a:gd name="connsiteX330" fmla="*/ 1177925 w 2090570"/>
                <a:gd name="connsiteY330" fmla="*/ 1460500 h 1829497"/>
                <a:gd name="connsiteX331" fmla="*/ 1168400 w 2090570"/>
                <a:gd name="connsiteY331" fmla="*/ 1441450 h 1829497"/>
                <a:gd name="connsiteX332" fmla="*/ 1158875 w 2090570"/>
                <a:gd name="connsiteY332" fmla="*/ 1435100 h 1829497"/>
                <a:gd name="connsiteX333" fmla="*/ 1149350 w 2090570"/>
                <a:gd name="connsiteY333" fmla="*/ 1431925 h 1829497"/>
                <a:gd name="connsiteX334" fmla="*/ 1127125 w 2090570"/>
                <a:gd name="connsiteY334" fmla="*/ 1409700 h 1829497"/>
                <a:gd name="connsiteX335" fmla="*/ 1130300 w 2090570"/>
                <a:gd name="connsiteY335" fmla="*/ 1390650 h 1829497"/>
                <a:gd name="connsiteX336" fmla="*/ 1111250 w 2090570"/>
                <a:gd name="connsiteY336" fmla="*/ 1384300 h 1829497"/>
                <a:gd name="connsiteX337" fmla="*/ 1082675 w 2090570"/>
                <a:gd name="connsiteY337" fmla="*/ 1362075 h 1829497"/>
                <a:gd name="connsiteX338" fmla="*/ 1073150 w 2090570"/>
                <a:gd name="connsiteY338" fmla="*/ 1343025 h 1829497"/>
                <a:gd name="connsiteX339" fmla="*/ 1066800 w 2090570"/>
                <a:gd name="connsiteY339" fmla="*/ 1333500 h 1829497"/>
                <a:gd name="connsiteX340" fmla="*/ 1066800 w 2090570"/>
                <a:gd name="connsiteY340" fmla="*/ 1285875 h 1829497"/>
                <a:gd name="connsiteX341" fmla="*/ 1073150 w 2090570"/>
                <a:gd name="connsiteY341" fmla="*/ 1266825 h 1829497"/>
                <a:gd name="connsiteX342" fmla="*/ 1069975 w 2090570"/>
                <a:gd name="connsiteY342" fmla="*/ 1250950 h 1829497"/>
                <a:gd name="connsiteX343" fmla="*/ 1054100 w 2090570"/>
                <a:gd name="connsiteY343" fmla="*/ 1235075 h 1829497"/>
                <a:gd name="connsiteX344" fmla="*/ 1031875 w 2090570"/>
                <a:gd name="connsiteY344" fmla="*/ 1231900 h 1829497"/>
                <a:gd name="connsiteX345" fmla="*/ 1003300 w 2090570"/>
                <a:gd name="connsiteY345" fmla="*/ 1225550 h 1829497"/>
                <a:gd name="connsiteX346" fmla="*/ 993775 w 2090570"/>
                <a:gd name="connsiteY346" fmla="*/ 1196975 h 1829497"/>
                <a:gd name="connsiteX347" fmla="*/ 1003300 w 2090570"/>
                <a:gd name="connsiteY347" fmla="*/ 1193800 h 1829497"/>
                <a:gd name="connsiteX348" fmla="*/ 1012825 w 2090570"/>
                <a:gd name="connsiteY348" fmla="*/ 1152525 h 1829497"/>
                <a:gd name="connsiteX349" fmla="*/ 1006475 w 2090570"/>
                <a:gd name="connsiteY349" fmla="*/ 1143000 h 1829497"/>
                <a:gd name="connsiteX350" fmla="*/ 987425 w 2090570"/>
                <a:gd name="connsiteY350" fmla="*/ 1136650 h 1829497"/>
                <a:gd name="connsiteX351" fmla="*/ 987425 w 2090570"/>
                <a:gd name="connsiteY351" fmla="*/ 1114425 h 1829497"/>
                <a:gd name="connsiteX352" fmla="*/ 990600 w 2090570"/>
                <a:gd name="connsiteY352" fmla="*/ 1104900 h 1829497"/>
                <a:gd name="connsiteX353" fmla="*/ 1000125 w 2090570"/>
                <a:gd name="connsiteY353" fmla="*/ 1098550 h 1829497"/>
                <a:gd name="connsiteX354" fmla="*/ 1025525 w 2090570"/>
                <a:gd name="connsiteY354" fmla="*/ 1076325 h 1829497"/>
                <a:gd name="connsiteX355" fmla="*/ 1041400 w 2090570"/>
                <a:gd name="connsiteY355" fmla="*/ 1057275 h 1829497"/>
                <a:gd name="connsiteX356" fmla="*/ 1041400 w 2090570"/>
                <a:gd name="connsiteY356" fmla="*/ 987425 h 1829497"/>
                <a:gd name="connsiteX357" fmla="*/ 1031875 w 2090570"/>
                <a:gd name="connsiteY357" fmla="*/ 977900 h 1829497"/>
                <a:gd name="connsiteX358" fmla="*/ 1012825 w 2090570"/>
                <a:gd name="connsiteY358" fmla="*/ 981075 h 1829497"/>
                <a:gd name="connsiteX359" fmla="*/ 996950 w 2090570"/>
                <a:gd name="connsiteY359" fmla="*/ 996950 h 1829497"/>
                <a:gd name="connsiteX360" fmla="*/ 977900 w 2090570"/>
                <a:gd name="connsiteY360" fmla="*/ 1016000 h 1829497"/>
                <a:gd name="connsiteX361" fmla="*/ 949325 w 2090570"/>
                <a:gd name="connsiteY361" fmla="*/ 1035050 h 1829497"/>
                <a:gd name="connsiteX362" fmla="*/ 930275 w 2090570"/>
                <a:gd name="connsiteY362" fmla="*/ 1041400 h 1829497"/>
                <a:gd name="connsiteX363" fmla="*/ 920750 w 2090570"/>
                <a:gd name="connsiteY363" fmla="*/ 1047750 h 1829497"/>
                <a:gd name="connsiteX364" fmla="*/ 895350 w 2090570"/>
                <a:gd name="connsiteY364" fmla="*/ 1054100 h 1829497"/>
                <a:gd name="connsiteX365" fmla="*/ 885825 w 2090570"/>
                <a:gd name="connsiteY365" fmla="*/ 1050925 h 1829497"/>
                <a:gd name="connsiteX366" fmla="*/ 879475 w 2090570"/>
                <a:gd name="connsiteY366" fmla="*/ 1041400 h 1829497"/>
                <a:gd name="connsiteX367" fmla="*/ 873125 w 2090570"/>
                <a:gd name="connsiteY367" fmla="*/ 977900 h 1829497"/>
                <a:gd name="connsiteX368" fmla="*/ 866775 w 2090570"/>
                <a:gd name="connsiteY368" fmla="*/ 955675 h 1829497"/>
                <a:gd name="connsiteX369" fmla="*/ 857250 w 2090570"/>
                <a:gd name="connsiteY369" fmla="*/ 952500 h 1829497"/>
                <a:gd name="connsiteX370" fmla="*/ 831850 w 2090570"/>
                <a:gd name="connsiteY370" fmla="*/ 955675 h 1829497"/>
                <a:gd name="connsiteX371" fmla="*/ 812800 w 2090570"/>
                <a:gd name="connsiteY371" fmla="*/ 965200 h 1829497"/>
                <a:gd name="connsiteX372" fmla="*/ 803275 w 2090570"/>
                <a:gd name="connsiteY372" fmla="*/ 968375 h 1829497"/>
                <a:gd name="connsiteX373" fmla="*/ 784225 w 2090570"/>
                <a:gd name="connsiteY373" fmla="*/ 958850 h 1829497"/>
                <a:gd name="connsiteX374" fmla="*/ 765175 w 2090570"/>
                <a:gd name="connsiteY374" fmla="*/ 962025 h 1829497"/>
                <a:gd name="connsiteX375" fmla="*/ 755650 w 2090570"/>
                <a:gd name="connsiteY375" fmla="*/ 990600 h 1829497"/>
                <a:gd name="connsiteX376" fmla="*/ 752475 w 2090570"/>
                <a:gd name="connsiteY376" fmla="*/ 1000125 h 1829497"/>
                <a:gd name="connsiteX377" fmla="*/ 742950 w 2090570"/>
                <a:gd name="connsiteY377" fmla="*/ 1003300 h 1829497"/>
                <a:gd name="connsiteX378" fmla="*/ 733425 w 2090570"/>
                <a:gd name="connsiteY378" fmla="*/ 1009650 h 1829497"/>
                <a:gd name="connsiteX379" fmla="*/ 695325 w 2090570"/>
                <a:gd name="connsiteY379" fmla="*/ 1003300 h 1829497"/>
                <a:gd name="connsiteX380" fmla="*/ 688975 w 2090570"/>
                <a:gd name="connsiteY380" fmla="*/ 1012825 h 1829497"/>
                <a:gd name="connsiteX381" fmla="*/ 692150 w 2090570"/>
                <a:gd name="connsiteY381" fmla="*/ 1022350 h 1829497"/>
                <a:gd name="connsiteX382" fmla="*/ 711200 w 2090570"/>
                <a:gd name="connsiteY382" fmla="*/ 1035050 h 1829497"/>
                <a:gd name="connsiteX383" fmla="*/ 730250 w 2090570"/>
                <a:gd name="connsiteY383" fmla="*/ 1044575 h 1829497"/>
                <a:gd name="connsiteX384" fmla="*/ 752475 w 2090570"/>
                <a:gd name="connsiteY384" fmla="*/ 1073150 h 1829497"/>
                <a:gd name="connsiteX385" fmla="*/ 755650 w 2090570"/>
                <a:gd name="connsiteY385" fmla="*/ 1082675 h 1829497"/>
                <a:gd name="connsiteX386" fmla="*/ 758825 w 2090570"/>
                <a:gd name="connsiteY386" fmla="*/ 1101725 h 1829497"/>
                <a:gd name="connsiteX387" fmla="*/ 762000 w 2090570"/>
                <a:gd name="connsiteY387" fmla="*/ 1114425 h 1829497"/>
                <a:gd name="connsiteX388" fmla="*/ 752475 w 2090570"/>
                <a:gd name="connsiteY388" fmla="*/ 1149350 h 1829497"/>
                <a:gd name="connsiteX389" fmla="*/ 746125 w 2090570"/>
                <a:gd name="connsiteY389" fmla="*/ 1158875 h 1829497"/>
                <a:gd name="connsiteX390" fmla="*/ 746125 w 2090570"/>
                <a:gd name="connsiteY390" fmla="*/ 1187450 h 1829497"/>
                <a:gd name="connsiteX391" fmla="*/ 755650 w 2090570"/>
                <a:gd name="connsiteY391" fmla="*/ 1193800 h 1829497"/>
                <a:gd name="connsiteX392" fmla="*/ 758825 w 2090570"/>
                <a:gd name="connsiteY392" fmla="*/ 1203325 h 1829497"/>
                <a:gd name="connsiteX393" fmla="*/ 749300 w 2090570"/>
                <a:gd name="connsiteY393" fmla="*/ 1225550 h 1829497"/>
                <a:gd name="connsiteX394" fmla="*/ 739775 w 2090570"/>
                <a:gd name="connsiteY394" fmla="*/ 1231900 h 1829497"/>
                <a:gd name="connsiteX395" fmla="*/ 733425 w 2090570"/>
                <a:gd name="connsiteY395" fmla="*/ 1241425 h 1829497"/>
                <a:gd name="connsiteX396" fmla="*/ 723900 w 2090570"/>
                <a:gd name="connsiteY396" fmla="*/ 1238250 h 1829497"/>
                <a:gd name="connsiteX397" fmla="*/ 704850 w 2090570"/>
                <a:gd name="connsiteY397" fmla="*/ 1225550 h 1829497"/>
                <a:gd name="connsiteX398" fmla="*/ 663575 w 2090570"/>
                <a:gd name="connsiteY398" fmla="*/ 1228725 h 1829497"/>
                <a:gd name="connsiteX399" fmla="*/ 644525 w 2090570"/>
                <a:gd name="connsiteY399" fmla="*/ 1235075 h 1829497"/>
                <a:gd name="connsiteX400" fmla="*/ 635000 w 2090570"/>
                <a:gd name="connsiteY400" fmla="*/ 1244600 h 1829497"/>
                <a:gd name="connsiteX401" fmla="*/ 625475 w 2090570"/>
                <a:gd name="connsiteY401" fmla="*/ 1250950 h 1829497"/>
                <a:gd name="connsiteX402" fmla="*/ 609600 w 2090570"/>
                <a:gd name="connsiteY402" fmla="*/ 1263650 h 1829497"/>
                <a:gd name="connsiteX403" fmla="*/ 600075 w 2090570"/>
                <a:gd name="connsiteY403" fmla="*/ 1270000 h 1829497"/>
                <a:gd name="connsiteX404" fmla="*/ 568325 w 2090570"/>
                <a:gd name="connsiteY404" fmla="*/ 1270000 h 1829497"/>
                <a:gd name="connsiteX405" fmla="*/ 546100 w 2090570"/>
                <a:gd name="connsiteY405" fmla="*/ 1276350 h 1829497"/>
                <a:gd name="connsiteX406" fmla="*/ 539750 w 2090570"/>
                <a:gd name="connsiteY406" fmla="*/ 1285875 h 1829497"/>
                <a:gd name="connsiteX407" fmla="*/ 517525 w 2090570"/>
                <a:gd name="connsiteY407" fmla="*/ 1276350 h 1829497"/>
                <a:gd name="connsiteX408" fmla="*/ 511175 w 2090570"/>
                <a:gd name="connsiteY408" fmla="*/ 1266825 h 1829497"/>
                <a:gd name="connsiteX409" fmla="*/ 523875 w 2090570"/>
                <a:gd name="connsiteY409" fmla="*/ 1244600 h 1829497"/>
                <a:gd name="connsiteX410" fmla="*/ 542925 w 2090570"/>
                <a:gd name="connsiteY410" fmla="*/ 1231900 h 1829497"/>
                <a:gd name="connsiteX411" fmla="*/ 549275 w 2090570"/>
                <a:gd name="connsiteY411" fmla="*/ 1222375 h 1829497"/>
                <a:gd name="connsiteX412" fmla="*/ 546100 w 2090570"/>
                <a:gd name="connsiteY412" fmla="*/ 1212850 h 1829497"/>
                <a:gd name="connsiteX413" fmla="*/ 542925 w 2090570"/>
                <a:gd name="connsiteY413" fmla="*/ 1200150 h 1829497"/>
                <a:gd name="connsiteX414" fmla="*/ 527050 w 2090570"/>
                <a:gd name="connsiteY414" fmla="*/ 1171575 h 1829497"/>
                <a:gd name="connsiteX415" fmla="*/ 533400 w 2090570"/>
                <a:gd name="connsiteY415" fmla="*/ 1123950 h 1829497"/>
                <a:gd name="connsiteX416" fmla="*/ 536575 w 2090570"/>
                <a:gd name="connsiteY416" fmla="*/ 1108075 h 1829497"/>
                <a:gd name="connsiteX417" fmla="*/ 546100 w 2090570"/>
                <a:gd name="connsiteY417" fmla="*/ 1098550 h 1829497"/>
                <a:gd name="connsiteX418" fmla="*/ 539750 w 2090570"/>
                <a:gd name="connsiteY418" fmla="*/ 1066800 h 1829497"/>
                <a:gd name="connsiteX419" fmla="*/ 536575 w 2090570"/>
                <a:gd name="connsiteY419" fmla="*/ 1057275 h 1829497"/>
                <a:gd name="connsiteX420" fmla="*/ 527050 w 2090570"/>
                <a:gd name="connsiteY420" fmla="*/ 1054100 h 1829497"/>
                <a:gd name="connsiteX421" fmla="*/ 495300 w 2090570"/>
                <a:gd name="connsiteY421" fmla="*/ 1050925 h 1829497"/>
                <a:gd name="connsiteX422" fmla="*/ 463550 w 2090570"/>
                <a:gd name="connsiteY422" fmla="*/ 1044575 h 1829497"/>
                <a:gd name="connsiteX423" fmla="*/ 454025 w 2090570"/>
                <a:gd name="connsiteY423" fmla="*/ 1038225 h 1829497"/>
                <a:gd name="connsiteX424" fmla="*/ 441325 w 2090570"/>
                <a:gd name="connsiteY424" fmla="*/ 1019175 h 1829497"/>
                <a:gd name="connsiteX425" fmla="*/ 428625 w 2090570"/>
                <a:gd name="connsiteY425" fmla="*/ 1000125 h 1829497"/>
                <a:gd name="connsiteX426" fmla="*/ 419100 w 2090570"/>
                <a:gd name="connsiteY426" fmla="*/ 990600 h 1829497"/>
                <a:gd name="connsiteX427" fmla="*/ 409575 w 2090570"/>
                <a:gd name="connsiteY427" fmla="*/ 984250 h 1829497"/>
                <a:gd name="connsiteX428" fmla="*/ 387350 w 2090570"/>
                <a:gd name="connsiteY428" fmla="*/ 977900 h 1829497"/>
                <a:gd name="connsiteX429" fmla="*/ 377825 w 2090570"/>
                <a:gd name="connsiteY429" fmla="*/ 974725 h 1829497"/>
                <a:gd name="connsiteX430" fmla="*/ 381000 w 2090570"/>
                <a:gd name="connsiteY430" fmla="*/ 1012825 h 1829497"/>
                <a:gd name="connsiteX431" fmla="*/ 381000 w 2090570"/>
                <a:gd name="connsiteY431" fmla="*/ 1035050 h 1829497"/>
                <a:gd name="connsiteX432" fmla="*/ 368300 w 2090570"/>
                <a:gd name="connsiteY432" fmla="*/ 1054100 h 1829497"/>
                <a:gd name="connsiteX433" fmla="*/ 355600 w 2090570"/>
                <a:gd name="connsiteY433" fmla="*/ 1063625 h 1829497"/>
                <a:gd name="connsiteX434" fmla="*/ 327025 w 2090570"/>
                <a:gd name="connsiteY434" fmla="*/ 1073150 h 1829497"/>
                <a:gd name="connsiteX435" fmla="*/ 317500 w 2090570"/>
                <a:gd name="connsiteY435" fmla="*/ 1076325 h 1829497"/>
                <a:gd name="connsiteX436" fmla="*/ 307975 w 2090570"/>
                <a:gd name="connsiteY436" fmla="*/ 1079500 h 1829497"/>
                <a:gd name="connsiteX437" fmla="*/ 298450 w 2090570"/>
                <a:gd name="connsiteY437" fmla="*/ 1085850 h 1829497"/>
                <a:gd name="connsiteX438" fmla="*/ 279400 w 2090570"/>
                <a:gd name="connsiteY438" fmla="*/ 1092200 h 1829497"/>
                <a:gd name="connsiteX439" fmla="*/ 269875 w 2090570"/>
                <a:gd name="connsiteY439" fmla="*/ 1098550 h 1829497"/>
                <a:gd name="connsiteX440" fmla="*/ 250825 w 2090570"/>
                <a:gd name="connsiteY440" fmla="*/ 1114425 h 1829497"/>
                <a:gd name="connsiteX441" fmla="*/ 215900 w 2090570"/>
                <a:gd name="connsiteY441" fmla="*/ 1123950 h 1829497"/>
                <a:gd name="connsiteX442" fmla="*/ 146050 w 2090570"/>
                <a:gd name="connsiteY442" fmla="*/ 1111250 h 1829497"/>
                <a:gd name="connsiteX443" fmla="*/ 152400 w 2090570"/>
                <a:gd name="connsiteY443" fmla="*/ 1123950 h 1829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Lst>
              <a:rect l="l" t="t" r="r" b="b"/>
              <a:pathLst>
                <a:path w="2090570" h="1829497">
                  <a:moveTo>
                    <a:pt x="152400" y="1123950"/>
                  </a:moveTo>
                  <a:cubicBezTo>
                    <a:pt x="150283" y="1115483"/>
                    <a:pt x="148810" y="1106829"/>
                    <a:pt x="146050" y="1098550"/>
                  </a:cubicBezTo>
                  <a:lnTo>
                    <a:pt x="139700" y="1079500"/>
                  </a:lnTo>
                  <a:cubicBezTo>
                    <a:pt x="140758" y="1076325"/>
                    <a:pt x="140508" y="1072342"/>
                    <a:pt x="142875" y="1069975"/>
                  </a:cubicBezTo>
                  <a:cubicBezTo>
                    <a:pt x="145242" y="1067608"/>
                    <a:pt x="150455" y="1069523"/>
                    <a:pt x="152400" y="1066800"/>
                  </a:cubicBezTo>
                  <a:cubicBezTo>
                    <a:pt x="156291" y="1061353"/>
                    <a:pt x="158750" y="1047750"/>
                    <a:pt x="158750" y="1047750"/>
                  </a:cubicBezTo>
                  <a:cubicBezTo>
                    <a:pt x="156937" y="1038686"/>
                    <a:pt x="155090" y="1028143"/>
                    <a:pt x="152400" y="1019175"/>
                  </a:cubicBezTo>
                  <a:cubicBezTo>
                    <a:pt x="150477" y="1012764"/>
                    <a:pt x="148167" y="1006475"/>
                    <a:pt x="146050" y="1000125"/>
                  </a:cubicBezTo>
                  <a:cubicBezTo>
                    <a:pt x="143958" y="993850"/>
                    <a:pt x="142120" y="985551"/>
                    <a:pt x="136525" y="981075"/>
                  </a:cubicBezTo>
                  <a:cubicBezTo>
                    <a:pt x="133912" y="978984"/>
                    <a:pt x="130175" y="978958"/>
                    <a:pt x="127000" y="977900"/>
                  </a:cubicBezTo>
                  <a:cubicBezTo>
                    <a:pt x="96027" y="985643"/>
                    <a:pt x="134702" y="976188"/>
                    <a:pt x="98425" y="984250"/>
                  </a:cubicBezTo>
                  <a:cubicBezTo>
                    <a:pt x="94165" y="985197"/>
                    <a:pt x="89958" y="986367"/>
                    <a:pt x="85725" y="987425"/>
                  </a:cubicBezTo>
                  <a:cubicBezTo>
                    <a:pt x="82550" y="986367"/>
                    <a:pt x="79126" y="985875"/>
                    <a:pt x="76200" y="984250"/>
                  </a:cubicBezTo>
                  <a:cubicBezTo>
                    <a:pt x="69529" y="980544"/>
                    <a:pt x="64554" y="973401"/>
                    <a:pt x="57150" y="971550"/>
                  </a:cubicBezTo>
                  <a:cubicBezTo>
                    <a:pt x="35153" y="966051"/>
                    <a:pt x="48787" y="968857"/>
                    <a:pt x="15875" y="965200"/>
                  </a:cubicBezTo>
                  <a:cubicBezTo>
                    <a:pt x="12700" y="963083"/>
                    <a:pt x="8372" y="962086"/>
                    <a:pt x="6350" y="958850"/>
                  </a:cubicBezTo>
                  <a:cubicBezTo>
                    <a:pt x="2802" y="953174"/>
                    <a:pt x="0" y="939800"/>
                    <a:pt x="0" y="939800"/>
                  </a:cubicBezTo>
                  <a:cubicBezTo>
                    <a:pt x="2117" y="936625"/>
                    <a:pt x="3652" y="932973"/>
                    <a:pt x="6350" y="930275"/>
                  </a:cubicBezTo>
                  <a:cubicBezTo>
                    <a:pt x="9048" y="927577"/>
                    <a:pt x="13491" y="926905"/>
                    <a:pt x="15875" y="923925"/>
                  </a:cubicBezTo>
                  <a:cubicBezTo>
                    <a:pt x="17966" y="921312"/>
                    <a:pt x="17992" y="917575"/>
                    <a:pt x="19050" y="914400"/>
                  </a:cubicBezTo>
                  <a:cubicBezTo>
                    <a:pt x="11437" y="891562"/>
                    <a:pt x="20673" y="920082"/>
                    <a:pt x="12700" y="892175"/>
                  </a:cubicBezTo>
                  <a:cubicBezTo>
                    <a:pt x="11781" y="888957"/>
                    <a:pt x="10406" y="885879"/>
                    <a:pt x="9525" y="882650"/>
                  </a:cubicBezTo>
                  <a:cubicBezTo>
                    <a:pt x="7229" y="874230"/>
                    <a:pt x="3175" y="857250"/>
                    <a:pt x="3175" y="857250"/>
                  </a:cubicBezTo>
                  <a:cubicBezTo>
                    <a:pt x="5082" y="849624"/>
                    <a:pt x="5848" y="840507"/>
                    <a:pt x="12700" y="835025"/>
                  </a:cubicBezTo>
                  <a:cubicBezTo>
                    <a:pt x="15313" y="832934"/>
                    <a:pt x="19050" y="832908"/>
                    <a:pt x="22225" y="831850"/>
                  </a:cubicBezTo>
                  <a:cubicBezTo>
                    <a:pt x="25400" y="829733"/>
                    <a:pt x="27943" y="825754"/>
                    <a:pt x="31750" y="825500"/>
                  </a:cubicBezTo>
                  <a:cubicBezTo>
                    <a:pt x="47499" y="824450"/>
                    <a:pt x="69095" y="828155"/>
                    <a:pt x="85725" y="831850"/>
                  </a:cubicBezTo>
                  <a:cubicBezTo>
                    <a:pt x="89985" y="832797"/>
                    <a:pt x="94132" y="834244"/>
                    <a:pt x="98425" y="835025"/>
                  </a:cubicBezTo>
                  <a:cubicBezTo>
                    <a:pt x="105788" y="836364"/>
                    <a:pt x="113242" y="837142"/>
                    <a:pt x="120650" y="838200"/>
                  </a:cubicBezTo>
                  <a:cubicBezTo>
                    <a:pt x="134907" y="836904"/>
                    <a:pt x="158750" y="845490"/>
                    <a:pt x="158750" y="825500"/>
                  </a:cubicBezTo>
                  <a:cubicBezTo>
                    <a:pt x="158750" y="822153"/>
                    <a:pt x="156633" y="819150"/>
                    <a:pt x="155575" y="815975"/>
                  </a:cubicBezTo>
                  <a:cubicBezTo>
                    <a:pt x="156633" y="811742"/>
                    <a:pt x="157496" y="807455"/>
                    <a:pt x="158750" y="803275"/>
                  </a:cubicBezTo>
                  <a:cubicBezTo>
                    <a:pt x="161635" y="793658"/>
                    <a:pt x="165100" y="784225"/>
                    <a:pt x="168275" y="774700"/>
                  </a:cubicBezTo>
                  <a:lnTo>
                    <a:pt x="171450" y="765175"/>
                  </a:lnTo>
                  <a:lnTo>
                    <a:pt x="174625" y="755650"/>
                  </a:lnTo>
                  <a:cubicBezTo>
                    <a:pt x="175099" y="750438"/>
                    <a:pt x="176121" y="719352"/>
                    <a:pt x="180975" y="708025"/>
                  </a:cubicBezTo>
                  <a:cubicBezTo>
                    <a:pt x="182478" y="704518"/>
                    <a:pt x="185618" y="701913"/>
                    <a:pt x="187325" y="698500"/>
                  </a:cubicBezTo>
                  <a:cubicBezTo>
                    <a:pt x="188822" y="695507"/>
                    <a:pt x="188644" y="691760"/>
                    <a:pt x="190500" y="688975"/>
                  </a:cubicBezTo>
                  <a:cubicBezTo>
                    <a:pt x="192991" y="685239"/>
                    <a:pt x="197268" y="682994"/>
                    <a:pt x="200025" y="679450"/>
                  </a:cubicBezTo>
                  <a:lnTo>
                    <a:pt x="219075" y="650875"/>
                  </a:lnTo>
                  <a:lnTo>
                    <a:pt x="225425" y="641350"/>
                  </a:lnTo>
                  <a:cubicBezTo>
                    <a:pt x="226483" y="636058"/>
                    <a:pt x="227180" y="630681"/>
                    <a:pt x="228600" y="625475"/>
                  </a:cubicBezTo>
                  <a:cubicBezTo>
                    <a:pt x="230361" y="619017"/>
                    <a:pt x="234950" y="606425"/>
                    <a:pt x="234950" y="606425"/>
                  </a:cubicBezTo>
                  <a:cubicBezTo>
                    <a:pt x="233892" y="586317"/>
                    <a:pt x="231775" y="566236"/>
                    <a:pt x="231775" y="546100"/>
                  </a:cubicBezTo>
                  <a:cubicBezTo>
                    <a:pt x="231775" y="534497"/>
                    <a:pt x="236719" y="507952"/>
                    <a:pt x="238125" y="495300"/>
                  </a:cubicBezTo>
                  <a:cubicBezTo>
                    <a:pt x="239416" y="483682"/>
                    <a:pt x="240009" y="471993"/>
                    <a:pt x="241300" y="460375"/>
                  </a:cubicBezTo>
                  <a:cubicBezTo>
                    <a:pt x="242375" y="450698"/>
                    <a:pt x="245072" y="432588"/>
                    <a:pt x="247650" y="422275"/>
                  </a:cubicBezTo>
                  <a:cubicBezTo>
                    <a:pt x="248462" y="419028"/>
                    <a:pt x="248969" y="415535"/>
                    <a:pt x="250825" y="412750"/>
                  </a:cubicBezTo>
                  <a:cubicBezTo>
                    <a:pt x="253316" y="409014"/>
                    <a:pt x="257475" y="406674"/>
                    <a:pt x="260350" y="403225"/>
                  </a:cubicBezTo>
                  <a:cubicBezTo>
                    <a:pt x="262793" y="400294"/>
                    <a:pt x="264583" y="396875"/>
                    <a:pt x="266700" y="393700"/>
                  </a:cubicBezTo>
                  <a:cubicBezTo>
                    <a:pt x="267758" y="389467"/>
                    <a:pt x="271074" y="385196"/>
                    <a:pt x="269875" y="381000"/>
                  </a:cubicBezTo>
                  <a:cubicBezTo>
                    <a:pt x="268641" y="376683"/>
                    <a:pt x="264275" y="373656"/>
                    <a:pt x="260350" y="371475"/>
                  </a:cubicBezTo>
                  <a:cubicBezTo>
                    <a:pt x="249384" y="365383"/>
                    <a:pt x="230951" y="363138"/>
                    <a:pt x="219075" y="361950"/>
                  </a:cubicBezTo>
                  <a:cubicBezTo>
                    <a:pt x="205345" y="360577"/>
                    <a:pt x="191558" y="359833"/>
                    <a:pt x="177800" y="358775"/>
                  </a:cubicBezTo>
                  <a:cubicBezTo>
                    <a:pt x="173567" y="357717"/>
                    <a:pt x="167051" y="359503"/>
                    <a:pt x="165100" y="355600"/>
                  </a:cubicBezTo>
                  <a:cubicBezTo>
                    <a:pt x="162687" y="350773"/>
                    <a:pt x="168275" y="345121"/>
                    <a:pt x="168275" y="339725"/>
                  </a:cubicBezTo>
                  <a:cubicBezTo>
                    <a:pt x="168275" y="335361"/>
                    <a:pt x="166158" y="331258"/>
                    <a:pt x="165100" y="327025"/>
                  </a:cubicBezTo>
                  <a:cubicBezTo>
                    <a:pt x="168203" y="280486"/>
                    <a:pt x="166645" y="290039"/>
                    <a:pt x="171450" y="254000"/>
                  </a:cubicBezTo>
                  <a:cubicBezTo>
                    <a:pt x="172439" y="246582"/>
                    <a:pt x="171586" y="238614"/>
                    <a:pt x="174625" y="231775"/>
                  </a:cubicBezTo>
                  <a:cubicBezTo>
                    <a:pt x="176766" y="226958"/>
                    <a:pt x="189449" y="223659"/>
                    <a:pt x="193675" y="222250"/>
                  </a:cubicBezTo>
                  <a:cubicBezTo>
                    <a:pt x="216345" y="229807"/>
                    <a:pt x="209012" y="223031"/>
                    <a:pt x="219075" y="238125"/>
                  </a:cubicBezTo>
                  <a:cubicBezTo>
                    <a:pt x="222250" y="237067"/>
                    <a:pt x="227357" y="238057"/>
                    <a:pt x="228600" y="234950"/>
                  </a:cubicBezTo>
                  <a:cubicBezTo>
                    <a:pt x="230221" y="230898"/>
                    <a:pt x="227846" y="225881"/>
                    <a:pt x="225425" y="222250"/>
                  </a:cubicBezTo>
                  <a:cubicBezTo>
                    <a:pt x="221908" y="216974"/>
                    <a:pt x="211808" y="214536"/>
                    <a:pt x="206375" y="212725"/>
                  </a:cubicBezTo>
                  <a:cubicBezTo>
                    <a:pt x="204258" y="209550"/>
                    <a:pt x="200565" y="206978"/>
                    <a:pt x="200025" y="203200"/>
                  </a:cubicBezTo>
                  <a:cubicBezTo>
                    <a:pt x="199408" y="198880"/>
                    <a:pt x="201946" y="194680"/>
                    <a:pt x="203200" y="190500"/>
                  </a:cubicBezTo>
                  <a:cubicBezTo>
                    <a:pt x="208310" y="173466"/>
                    <a:pt x="205375" y="171950"/>
                    <a:pt x="219075" y="165100"/>
                  </a:cubicBezTo>
                  <a:cubicBezTo>
                    <a:pt x="222068" y="163603"/>
                    <a:pt x="225425" y="162983"/>
                    <a:pt x="228600" y="161925"/>
                  </a:cubicBezTo>
                  <a:lnTo>
                    <a:pt x="257175" y="142875"/>
                  </a:lnTo>
                  <a:cubicBezTo>
                    <a:pt x="260350" y="140758"/>
                    <a:pt x="263080" y="137732"/>
                    <a:pt x="266700" y="136525"/>
                  </a:cubicBezTo>
                  <a:lnTo>
                    <a:pt x="304800" y="123825"/>
                  </a:lnTo>
                  <a:cubicBezTo>
                    <a:pt x="307975" y="122767"/>
                    <a:pt x="310988" y="120907"/>
                    <a:pt x="314325" y="120650"/>
                  </a:cubicBezTo>
                  <a:lnTo>
                    <a:pt x="355600" y="117475"/>
                  </a:lnTo>
                  <a:cubicBezTo>
                    <a:pt x="362917" y="118694"/>
                    <a:pt x="376359" y="119917"/>
                    <a:pt x="384175" y="123825"/>
                  </a:cubicBezTo>
                  <a:cubicBezTo>
                    <a:pt x="408794" y="136135"/>
                    <a:pt x="379284" y="125370"/>
                    <a:pt x="403225" y="133350"/>
                  </a:cubicBezTo>
                  <a:cubicBezTo>
                    <a:pt x="425664" y="128862"/>
                    <a:pt x="413980" y="131882"/>
                    <a:pt x="438150" y="123825"/>
                  </a:cubicBezTo>
                  <a:lnTo>
                    <a:pt x="438150" y="123825"/>
                  </a:lnTo>
                  <a:cubicBezTo>
                    <a:pt x="442383" y="122767"/>
                    <a:pt x="446670" y="121904"/>
                    <a:pt x="450850" y="120650"/>
                  </a:cubicBezTo>
                  <a:cubicBezTo>
                    <a:pt x="457261" y="118727"/>
                    <a:pt x="463550" y="116417"/>
                    <a:pt x="469900" y="114300"/>
                  </a:cubicBezTo>
                  <a:cubicBezTo>
                    <a:pt x="473075" y="113242"/>
                    <a:pt x="476104" y="111540"/>
                    <a:pt x="479425" y="111125"/>
                  </a:cubicBezTo>
                  <a:cubicBezTo>
                    <a:pt x="511213" y="107152"/>
                    <a:pt x="496409" y="109353"/>
                    <a:pt x="523875" y="104775"/>
                  </a:cubicBezTo>
                  <a:cubicBezTo>
                    <a:pt x="539750" y="105833"/>
                    <a:pt x="555750" y="105700"/>
                    <a:pt x="571500" y="107950"/>
                  </a:cubicBezTo>
                  <a:cubicBezTo>
                    <a:pt x="578126" y="108897"/>
                    <a:pt x="590550" y="114300"/>
                    <a:pt x="590550" y="114300"/>
                  </a:cubicBezTo>
                  <a:cubicBezTo>
                    <a:pt x="593725" y="116417"/>
                    <a:pt x="598053" y="117414"/>
                    <a:pt x="600075" y="120650"/>
                  </a:cubicBezTo>
                  <a:cubicBezTo>
                    <a:pt x="603623" y="126326"/>
                    <a:pt x="604308" y="133350"/>
                    <a:pt x="606425" y="139700"/>
                  </a:cubicBezTo>
                  <a:lnTo>
                    <a:pt x="609600" y="149225"/>
                  </a:lnTo>
                  <a:cubicBezTo>
                    <a:pt x="610658" y="152400"/>
                    <a:pt x="610919" y="155965"/>
                    <a:pt x="612775" y="158750"/>
                  </a:cubicBezTo>
                  <a:cubicBezTo>
                    <a:pt x="621616" y="172011"/>
                    <a:pt x="616427" y="165577"/>
                    <a:pt x="628650" y="177800"/>
                  </a:cubicBezTo>
                  <a:cubicBezTo>
                    <a:pt x="639154" y="209312"/>
                    <a:pt x="621531" y="161175"/>
                    <a:pt x="641350" y="196850"/>
                  </a:cubicBezTo>
                  <a:cubicBezTo>
                    <a:pt x="644601" y="202701"/>
                    <a:pt x="647700" y="215900"/>
                    <a:pt x="647700" y="215900"/>
                  </a:cubicBezTo>
                  <a:cubicBezTo>
                    <a:pt x="644812" y="244776"/>
                    <a:pt x="651736" y="243228"/>
                    <a:pt x="635000" y="257175"/>
                  </a:cubicBezTo>
                  <a:cubicBezTo>
                    <a:pt x="632069" y="259618"/>
                    <a:pt x="628650" y="261408"/>
                    <a:pt x="625475" y="263525"/>
                  </a:cubicBezTo>
                  <a:cubicBezTo>
                    <a:pt x="624417" y="266700"/>
                    <a:pt x="622300" y="269703"/>
                    <a:pt x="622300" y="273050"/>
                  </a:cubicBezTo>
                  <a:cubicBezTo>
                    <a:pt x="622300" y="285280"/>
                    <a:pt x="625034" y="291806"/>
                    <a:pt x="635000" y="298450"/>
                  </a:cubicBezTo>
                  <a:cubicBezTo>
                    <a:pt x="637785" y="300306"/>
                    <a:pt x="641350" y="300567"/>
                    <a:pt x="644525" y="301625"/>
                  </a:cubicBezTo>
                  <a:cubicBezTo>
                    <a:pt x="646642" y="304800"/>
                    <a:pt x="649168" y="307737"/>
                    <a:pt x="650875" y="311150"/>
                  </a:cubicBezTo>
                  <a:cubicBezTo>
                    <a:pt x="656040" y="321479"/>
                    <a:pt x="651301" y="321101"/>
                    <a:pt x="660400" y="330200"/>
                  </a:cubicBezTo>
                  <a:cubicBezTo>
                    <a:pt x="663098" y="332898"/>
                    <a:pt x="666750" y="334433"/>
                    <a:pt x="669925" y="336550"/>
                  </a:cubicBezTo>
                  <a:cubicBezTo>
                    <a:pt x="673100" y="333375"/>
                    <a:pt x="676575" y="330474"/>
                    <a:pt x="679450" y="327025"/>
                  </a:cubicBezTo>
                  <a:cubicBezTo>
                    <a:pt x="681893" y="324094"/>
                    <a:pt x="682928" y="320013"/>
                    <a:pt x="685800" y="317500"/>
                  </a:cubicBezTo>
                  <a:cubicBezTo>
                    <a:pt x="691543" y="312474"/>
                    <a:pt x="704850" y="304800"/>
                    <a:pt x="704850" y="304800"/>
                  </a:cubicBezTo>
                  <a:cubicBezTo>
                    <a:pt x="716542" y="287262"/>
                    <a:pt x="713135" y="296739"/>
                    <a:pt x="708025" y="263525"/>
                  </a:cubicBezTo>
                  <a:cubicBezTo>
                    <a:pt x="707516" y="260217"/>
                    <a:pt x="707217" y="256367"/>
                    <a:pt x="704850" y="254000"/>
                  </a:cubicBezTo>
                  <a:cubicBezTo>
                    <a:pt x="702483" y="251633"/>
                    <a:pt x="698572" y="251637"/>
                    <a:pt x="695325" y="250825"/>
                  </a:cubicBezTo>
                  <a:cubicBezTo>
                    <a:pt x="690090" y="249516"/>
                    <a:pt x="684742" y="248708"/>
                    <a:pt x="679450" y="247650"/>
                  </a:cubicBezTo>
                  <a:cubicBezTo>
                    <a:pt x="678392" y="244475"/>
                    <a:pt x="676275" y="241472"/>
                    <a:pt x="676275" y="238125"/>
                  </a:cubicBezTo>
                  <a:cubicBezTo>
                    <a:pt x="676275" y="224978"/>
                    <a:pt x="676349" y="212651"/>
                    <a:pt x="685800" y="203200"/>
                  </a:cubicBezTo>
                  <a:cubicBezTo>
                    <a:pt x="688498" y="200502"/>
                    <a:pt x="691838" y="198400"/>
                    <a:pt x="695325" y="196850"/>
                  </a:cubicBezTo>
                  <a:cubicBezTo>
                    <a:pt x="701442" y="194132"/>
                    <a:pt x="714375" y="190500"/>
                    <a:pt x="714375" y="190500"/>
                  </a:cubicBezTo>
                  <a:cubicBezTo>
                    <a:pt x="730434" y="193712"/>
                    <a:pt x="729945" y="190561"/>
                    <a:pt x="739775" y="203200"/>
                  </a:cubicBezTo>
                  <a:cubicBezTo>
                    <a:pt x="744460" y="209224"/>
                    <a:pt x="745071" y="220399"/>
                    <a:pt x="752475" y="222250"/>
                  </a:cubicBezTo>
                  <a:lnTo>
                    <a:pt x="777875" y="228600"/>
                  </a:lnTo>
                  <a:cubicBezTo>
                    <a:pt x="787170" y="227051"/>
                    <a:pt x="799582" y="227660"/>
                    <a:pt x="806450" y="219075"/>
                  </a:cubicBezTo>
                  <a:cubicBezTo>
                    <a:pt x="808541" y="216462"/>
                    <a:pt x="808567" y="212725"/>
                    <a:pt x="809625" y="209550"/>
                  </a:cubicBezTo>
                  <a:lnTo>
                    <a:pt x="803275" y="184150"/>
                  </a:lnTo>
                  <a:cubicBezTo>
                    <a:pt x="800695" y="173831"/>
                    <a:pt x="801604" y="162929"/>
                    <a:pt x="800100" y="152400"/>
                  </a:cubicBezTo>
                  <a:cubicBezTo>
                    <a:pt x="799103" y="145423"/>
                    <a:pt x="796012" y="136960"/>
                    <a:pt x="793750" y="130175"/>
                  </a:cubicBezTo>
                  <a:cubicBezTo>
                    <a:pt x="794356" y="122297"/>
                    <a:pt x="793247" y="93082"/>
                    <a:pt x="800100" y="79375"/>
                  </a:cubicBezTo>
                  <a:cubicBezTo>
                    <a:pt x="801807" y="75962"/>
                    <a:pt x="804007" y="72781"/>
                    <a:pt x="806450" y="69850"/>
                  </a:cubicBezTo>
                  <a:cubicBezTo>
                    <a:pt x="809325" y="66401"/>
                    <a:pt x="812800" y="63500"/>
                    <a:pt x="815975" y="60325"/>
                  </a:cubicBezTo>
                  <a:cubicBezTo>
                    <a:pt x="823256" y="38481"/>
                    <a:pt x="815145" y="64891"/>
                    <a:pt x="822325" y="25400"/>
                  </a:cubicBezTo>
                  <a:cubicBezTo>
                    <a:pt x="822924" y="22107"/>
                    <a:pt x="822777" y="17820"/>
                    <a:pt x="825500" y="15875"/>
                  </a:cubicBezTo>
                  <a:cubicBezTo>
                    <a:pt x="830947" y="11984"/>
                    <a:pt x="844550" y="9525"/>
                    <a:pt x="844550" y="9525"/>
                  </a:cubicBezTo>
                  <a:cubicBezTo>
                    <a:pt x="847725" y="7408"/>
                    <a:pt x="850568" y="4678"/>
                    <a:pt x="854075" y="3175"/>
                  </a:cubicBezTo>
                  <a:cubicBezTo>
                    <a:pt x="858086" y="1456"/>
                    <a:pt x="862411" y="0"/>
                    <a:pt x="866775" y="0"/>
                  </a:cubicBezTo>
                  <a:cubicBezTo>
                    <a:pt x="874438" y="0"/>
                    <a:pt x="884659" y="3845"/>
                    <a:pt x="892175" y="6350"/>
                  </a:cubicBezTo>
                  <a:cubicBezTo>
                    <a:pt x="895350" y="8467"/>
                    <a:pt x="898213" y="11150"/>
                    <a:pt x="901700" y="12700"/>
                  </a:cubicBezTo>
                  <a:cubicBezTo>
                    <a:pt x="907817" y="15418"/>
                    <a:pt x="920750" y="19050"/>
                    <a:pt x="920750" y="19050"/>
                  </a:cubicBezTo>
                  <a:cubicBezTo>
                    <a:pt x="923925" y="21167"/>
                    <a:pt x="926788" y="23850"/>
                    <a:pt x="930275" y="25400"/>
                  </a:cubicBezTo>
                  <a:cubicBezTo>
                    <a:pt x="936392" y="28118"/>
                    <a:pt x="949325" y="31750"/>
                    <a:pt x="949325" y="31750"/>
                  </a:cubicBezTo>
                  <a:cubicBezTo>
                    <a:pt x="954494" y="30889"/>
                    <a:pt x="971200" y="29122"/>
                    <a:pt x="977900" y="25400"/>
                  </a:cubicBezTo>
                  <a:cubicBezTo>
                    <a:pt x="984571" y="21694"/>
                    <a:pt x="990600" y="16933"/>
                    <a:pt x="996950" y="12700"/>
                  </a:cubicBezTo>
                  <a:cubicBezTo>
                    <a:pt x="1000125" y="10583"/>
                    <a:pt x="1002855" y="7557"/>
                    <a:pt x="1006475" y="6350"/>
                  </a:cubicBezTo>
                  <a:cubicBezTo>
                    <a:pt x="1020140" y="1795"/>
                    <a:pt x="1012753" y="3987"/>
                    <a:pt x="1028700" y="0"/>
                  </a:cubicBezTo>
                  <a:cubicBezTo>
                    <a:pt x="1050925" y="1058"/>
                    <a:pt x="1073196" y="1401"/>
                    <a:pt x="1095375" y="3175"/>
                  </a:cubicBezTo>
                  <a:cubicBezTo>
                    <a:pt x="1112488" y="4544"/>
                    <a:pt x="1109676" y="10325"/>
                    <a:pt x="1127125" y="19050"/>
                  </a:cubicBezTo>
                  <a:cubicBezTo>
                    <a:pt x="1150625" y="30800"/>
                    <a:pt x="1130042" y="18835"/>
                    <a:pt x="1149350" y="34925"/>
                  </a:cubicBezTo>
                  <a:cubicBezTo>
                    <a:pt x="1175872" y="57027"/>
                    <a:pt x="1140573" y="22973"/>
                    <a:pt x="1168400" y="50800"/>
                  </a:cubicBezTo>
                  <a:cubicBezTo>
                    <a:pt x="1176380" y="74741"/>
                    <a:pt x="1165615" y="45231"/>
                    <a:pt x="1177925" y="69850"/>
                  </a:cubicBezTo>
                  <a:cubicBezTo>
                    <a:pt x="1179422" y="72843"/>
                    <a:pt x="1179603" y="76382"/>
                    <a:pt x="1181100" y="79375"/>
                  </a:cubicBezTo>
                  <a:cubicBezTo>
                    <a:pt x="1182807" y="82788"/>
                    <a:pt x="1185743" y="85487"/>
                    <a:pt x="1187450" y="88900"/>
                  </a:cubicBezTo>
                  <a:cubicBezTo>
                    <a:pt x="1188947" y="91893"/>
                    <a:pt x="1189128" y="95432"/>
                    <a:pt x="1190625" y="98425"/>
                  </a:cubicBezTo>
                  <a:cubicBezTo>
                    <a:pt x="1192332" y="101838"/>
                    <a:pt x="1195268" y="104537"/>
                    <a:pt x="1196975" y="107950"/>
                  </a:cubicBezTo>
                  <a:cubicBezTo>
                    <a:pt x="1198472" y="110943"/>
                    <a:pt x="1198059" y="114862"/>
                    <a:pt x="1200150" y="117475"/>
                  </a:cubicBezTo>
                  <a:cubicBezTo>
                    <a:pt x="1202534" y="120455"/>
                    <a:pt x="1206500" y="121708"/>
                    <a:pt x="1209675" y="123825"/>
                  </a:cubicBezTo>
                  <a:cubicBezTo>
                    <a:pt x="1227873" y="151122"/>
                    <a:pt x="1206055" y="116585"/>
                    <a:pt x="1219200" y="142875"/>
                  </a:cubicBezTo>
                  <a:cubicBezTo>
                    <a:pt x="1228477" y="161428"/>
                    <a:pt x="1223405" y="143304"/>
                    <a:pt x="1228725" y="161925"/>
                  </a:cubicBezTo>
                  <a:cubicBezTo>
                    <a:pt x="1238322" y="195514"/>
                    <a:pt x="1223160" y="148404"/>
                    <a:pt x="1238250" y="193675"/>
                  </a:cubicBezTo>
                  <a:cubicBezTo>
                    <a:pt x="1239308" y="196850"/>
                    <a:pt x="1244600" y="195792"/>
                    <a:pt x="1247775" y="196850"/>
                  </a:cubicBezTo>
                  <a:cubicBezTo>
                    <a:pt x="1275072" y="215048"/>
                    <a:pt x="1240535" y="193230"/>
                    <a:pt x="1266825" y="206375"/>
                  </a:cubicBezTo>
                  <a:cubicBezTo>
                    <a:pt x="1291444" y="218685"/>
                    <a:pt x="1261934" y="207920"/>
                    <a:pt x="1285875" y="215900"/>
                  </a:cubicBezTo>
                  <a:cubicBezTo>
                    <a:pt x="1289050" y="218017"/>
                    <a:pt x="1291913" y="220700"/>
                    <a:pt x="1295400" y="222250"/>
                  </a:cubicBezTo>
                  <a:cubicBezTo>
                    <a:pt x="1301517" y="224968"/>
                    <a:pt x="1314450" y="228600"/>
                    <a:pt x="1314450" y="228600"/>
                  </a:cubicBezTo>
                  <a:cubicBezTo>
                    <a:pt x="1317625" y="230717"/>
                    <a:pt x="1321277" y="232252"/>
                    <a:pt x="1323975" y="234950"/>
                  </a:cubicBezTo>
                  <a:cubicBezTo>
                    <a:pt x="1326673" y="237648"/>
                    <a:pt x="1328775" y="240988"/>
                    <a:pt x="1330325" y="244475"/>
                  </a:cubicBezTo>
                  <a:cubicBezTo>
                    <a:pt x="1337262" y="260084"/>
                    <a:pt x="1336265" y="263863"/>
                    <a:pt x="1339850" y="279400"/>
                  </a:cubicBezTo>
                  <a:cubicBezTo>
                    <a:pt x="1341812" y="287904"/>
                    <a:pt x="1338938" y="299959"/>
                    <a:pt x="1346200" y="304800"/>
                  </a:cubicBezTo>
                  <a:cubicBezTo>
                    <a:pt x="1349375" y="306917"/>
                    <a:pt x="1352218" y="309647"/>
                    <a:pt x="1355725" y="311150"/>
                  </a:cubicBezTo>
                  <a:cubicBezTo>
                    <a:pt x="1360715" y="313288"/>
                    <a:pt x="1380156" y="316370"/>
                    <a:pt x="1384300" y="317500"/>
                  </a:cubicBezTo>
                  <a:cubicBezTo>
                    <a:pt x="1390758" y="319261"/>
                    <a:pt x="1403350" y="323850"/>
                    <a:pt x="1403350" y="323850"/>
                  </a:cubicBezTo>
                  <a:cubicBezTo>
                    <a:pt x="1422929" y="336903"/>
                    <a:pt x="1402292" y="327378"/>
                    <a:pt x="1431925" y="317500"/>
                  </a:cubicBezTo>
                  <a:lnTo>
                    <a:pt x="1450975" y="311150"/>
                  </a:lnTo>
                  <a:cubicBezTo>
                    <a:pt x="1460270" y="312699"/>
                    <a:pt x="1472682" y="312090"/>
                    <a:pt x="1479550" y="320675"/>
                  </a:cubicBezTo>
                  <a:cubicBezTo>
                    <a:pt x="1490472" y="334328"/>
                    <a:pt x="1472483" y="327765"/>
                    <a:pt x="1492250" y="336550"/>
                  </a:cubicBezTo>
                  <a:cubicBezTo>
                    <a:pt x="1498367" y="339268"/>
                    <a:pt x="1511300" y="342900"/>
                    <a:pt x="1511300" y="342900"/>
                  </a:cubicBezTo>
                  <a:cubicBezTo>
                    <a:pt x="1529843" y="336719"/>
                    <a:pt x="1512814" y="344561"/>
                    <a:pt x="1527175" y="330200"/>
                  </a:cubicBezTo>
                  <a:cubicBezTo>
                    <a:pt x="1533330" y="324045"/>
                    <a:pt x="1538478" y="323257"/>
                    <a:pt x="1546225" y="320675"/>
                  </a:cubicBezTo>
                  <a:cubicBezTo>
                    <a:pt x="1556808" y="321733"/>
                    <a:pt x="1567809" y="320722"/>
                    <a:pt x="1577975" y="323850"/>
                  </a:cubicBezTo>
                  <a:cubicBezTo>
                    <a:pt x="1582267" y="325170"/>
                    <a:pt x="1583956" y="330618"/>
                    <a:pt x="1587500" y="333375"/>
                  </a:cubicBezTo>
                  <a:cubicBezTo>
                    <a:pt x="1593524" y="338060"/>
                    <a:pt x="1600200" y="341842"/>
                    <a:pt x="1606550" y="346075"/>
                  </a:cubicBezTo>
                  <a:lnTo>
                    <a:pt x="1606550" y="346075"/>
                  </a:lnTo>
                  <a:lnTo>
                    <a:pt x="1631950" y="352425"/>
                  </a:lnTo>
                  <a:cubicBezTo>
                    <a:pt x="1638444" y="354048"/>
                    <a:pt x="1644650" y="356658"/>
                    <a:pt x="1651000" y="358775"/>
                  </a:cubicBezTo>
                  <a:cubicBezTo>
                    <a:pt x="1654175" y="359833"/>
                    <a:pt x="1657212" y="361477"/>
                    <a:pt x="1660525" y="361950"/>
                  </a:cubicBezTo>
                  <a:lnTo>
                    <a:pt x="1682750" y="365125"/>
                  </a:lnTo>
                  <a:cubicBezTo>
                    <a:pt x="1689100" y="367242"/>
                    <a:pt x="1695306" y="369852"/>
                    <a:pt x="1701800" y="371475"/>
                  </a:cubicBezTo>
                  <a:cubicBezTo>
                    <a:pt x="1717747" y="375462"/>
                    <a:pt x="1710360" y="373270"/>
                    <a:pt x="1724025" y="377825"/>
                  </a:cubicBezTo>
                  <a:cubicBezTo>
                    <a:pt x="1725083" y="381000"/>
                    <a:pt x="1725344" y="384565"/>
                    <a:pt x="1727200" y="387350"/>
                  </a:cubicBezTo>
                  <a:cubicBezTo>
                    <a:pt x="1729691" y="391086"/>
                    <a:pt x="1732826" y="394647"/>
                    <a:pt x="1736725" y="396875"/>
                  </a:cubicBezTo>
                  <a:cubicBezTo>
                    <a:pt x="1740514" y="399040"/>
                    <a:pt x="1745112" y="399386"/>
                    <a:pt x="1749425" y="400050"/>
                  </a:cubicBezTo>
                  <a:cubicBezTo>
                    <a:pt x="1758897" y="401507"/>
                    <a:pt x="1768475" y="402167"/>
                    <a:pt x="1778000" y="403225"/>
                  </a:cubicBezTo>
                  <a:cubicBezTo>
                    <a:pt x="1782233" y="402167"/>
                    <a:pt x="1786689" y="401769"/>
                    <a:pt x="1790700" y="400050"/>
                  </a:cubicBezTo>
                  <a:cubicBezTo>
                    <a:pt x="1797960" y="396939"/>
                    <a:pt x="1806420" y="387428"/>
                    <a:pt x="1812925" y="384175"/>
                  </a:cubicBezTo>
                  <a:cubicBezTo>
                    <a:pt x="1816828" y="382224"/>
                    <a:pt x="1821392" y="382058"/>
                    <a:pt x="1825625" y="381000"/>
                  </a:cubicBezTo>
                  <a:cubicBezTo>
                    <a:pt x="1828800" y="382058"/>
                    <a:pt x="1832783" y="381808"/>
                    <a:pt x="1835150" y="384175"/>
                  </a:cubicBezTo>
                  <a:cubicBezTo>
                    <a:pt x="1837517" y="386542"/>
                    <a:pt x="1836469" y="390915"/>
                    <a:pt x="1838325" y="393700"/>
                  </a:cubicBezTo>
                  <a:cubicBezTo>
                    <a:pt x="1840816" y="397436"/>
                    <a:pt x="1844675" y="400050"/>
                    <a:pt x="1847850" y="403225"/>
                  </a:cubicBezTo>
                  <a:cubicBezTo>
                    <a:pt x="1853438" y="419990"/>
                    <a:pt x="1849169" y="409965"/>
                    <a:pt x="1863725" y="431800"/>
                  </a:cubicBezTo>
                  <a:cubicBezTo>
                    <a:pt x="1865581" y="434585"/>
                    <a:pt x="1865403" y="438332"/>
                    <a:pt x="1866900" y="441325"/>
                  </a:cubicBezTo>
                  <a:cubicBezTo>
                    <a:pt x="1876141" y="459807"/>
                    <a:pt x="1875471" y="444656"/>
                    <a:pt x="1892300" y="469900"/>
                  </a:cubicBezTo>
                  <a:cubicBezTo>
                    <a:pt x="1894417" y="473075"/>
                    <a:pt x="1895952" y="476727"/>
                    <a:pt x="1898650" y="479425"/>
                  </a:cubicBezTo>
                  <a:cubicBezTo>
                    <a:pt x="1904805" y="485580"/>
                    <a:pt x="1909953" y="486368"/>
                    <a:pt x="1917700" y="488950"/>
                  </a:cubicBezTo>
                  <a:cubicBezTo>
                    <a:pt x="1923628" y="492902"/>
                    <a:pt x="1933155" y="498354"/>
                    <a:pt x="1936750" y="504825"/>
                  </a:cubicBezTo>
                  <a:cubicBezTo>
                    <a:pt x="1940001" y="510676"/>
                    <a:pt x="1938367" y="519142"/>
                    <a:pt x="1943100" y="523875"/>
                  </a:cubicBezTo>
                  <a:cubicBezTo>
                    <a:pt x="1946275" y="527050"/>
                    <a:pt x="1949868" y="529856"/>
                    <a:pt x="1952625" y="533400"/>
                  </a:cubicBezTo>
                  <a:lnTo>
                    <a:pt x="1971675" y="561975"/>
                  </a:lnTo>
                  <a:cubicBezTo>
                    <a:pt x="1973792" y="565150"/>
                    <a:pt x="1977887" y="566432"/>
                    <a:pt x="1981200" y="568325"/>
                  </a:cubicBezTo>
                  <a:cubicBezTo>
                    <a:pt x="1987377" y="571855"/>
                    <a:pt x="1996139" y="576231"/>
                    <a:pt x="2003425" y="577850"/>
                  </a:cubicBezTo>
                  <a:cubicBezTo>
                    <a:pt x="2030115" y="583781"/>
                    <a:pt x="2017117" y="578433"/>
                    <a:pt x="2047875" y="584200"/>
                  </a:cubicBezTo>
                  <a:cubicBezTo>
                    <a:pt x="2064245" y="587269"/>
                    <a:pt x="2069704" y="589360"/>
                    <a:pt x="2082800" y="593725"/>
                  </a:cubicBezTo>
                  <a:lnTo>
                    <a:pt x="2089150" y="612775"/>
                  </a:lnTo>
                  <a:cubicBezTo>
                    <a:pt x="2090570" y="617035"/>
                    <a:pt x="2083074" y="619425"/>
                    <a:pt x="2079625" y="622300"/>
                  </a:cubicBezTo>
                  <a:cubicBezTo>
                    <a:pt x="2071419" y="629139"/>
                    <a:pt x="2070121" y="628643"/>
                    <a:pt x="2060575" y="631825"/>
                  </a:cubicBezTo>
                  <a:cubicBezTo>
                    <a:pt x="2059517" y="635000"/>
                    <a:pt x="2058212" y="638103"/>
                    <a:pt x="2057400" y="641350"/>
                  </a:cubicBezTo>
                  <a:cubicBezTo>
                    <a:pt x="2056091" y="646585"/>
                    <a:pt x="2057362" y="652834"/>
                    <a:pt x="2054225" y="657225"/>
                  </a:cubicBezTo>
                  <a:cubicBezTo>
                    <a:pt x="2051474" y="661076"/>
                    <a:pt x="2045584" y="661140"/>
                    <a:pt x="2041525" y="663575"/>
                  </a:cubicBezTo>
                  <a:cubicBezTo>
                    <a:pt x="2034981" y="667502"/>
                    <a:pt x="2022475" y="676275"/>
                    <a:pt x="2022475" y="676275"/>
                  </a:cubicBezTo>
                  <a:cubicBezTo>
                    <a:pt x="2019965" y="680040"/>
                    <a:pt x="2007711" y="701120"/>
                    <a:pt x="2000250" y="704850"/>
                  </a:cubicBezTo>
                  <a:cubicBezTo>
                    <a:pt x="1995423" y="707263"/>
                    <a:pt x="1989610" y="706716"/>
                    <a:pt x="1984375" y="708025"/>
                  </a:cubicBezTo>
                  <a:cubicBezTo>
                    <a:pt x="1981128" y="708837"/>
                    <a:pt x="1978025" y="710142"/>
                    <a:pt x="1974850" y="711200"/>
                  </a:cubicBezTo>
                  <a:cubicBezTo>
                    <a:pt x="1964939" y="709961"/>
                    <a:pt x="1947929" y="711680"/>
                    <a:pt x="1939925" y="701675"/>
                  </a:cubicBezTo>
                  <a:cubicBezTo>
                    <a:pt x="1937834" y="699062"/>
                    <a:pt x="1937808" y="695325"/>
                    <a:pt x="1936750" y="692150"/>
                  </a:cubicBezTo>
                  <a:cubicBezTo>
                    <a:pt x="1924910" y="692939"/>
                    <a:pt x="1884531" y="694431"/>
                    <a:pt x="1866900" y="698500"/>
                  </a:cubicBezTo>
                  <a:cubicBezTo>
                    <a:pt x="1860378" y="700005"/>
                    <a:pt x="1847850" y="704850"/>
                    <a:pt x="1847850" y="704850"/>
                  </a:cubicBezTo>
                  <a:cubicBezTo>
                    <a:pt x="1822450" y="721783"/>
                    <a:pt x="1853142" y="699558"/>
                    <a:pt x="1831975" y="720725"/>
                  </a:cubicBezTo>
                  <a:cubicBezTo>
                    <a:pt x="1829277" y="723423"/>
                    <a:pt x="1825937" y="725525"/>
                    <a:pt x="1822450" y="727075"/>
                  </a:cubicBezTo>
                  <a:cubicBezTo>
                    <a:pt x="1802710" y="735848"/>
                    <a:pt x="1795123" y="734253"/>
                    <a:pt x="1771650" y="736600"/>
                  </a:cubicBezTo>
                  <a:cubicBezTo>
                    <a:pt x="1768320" y="737710"/>
                    <a:pt x="1753719" y="741649"/>
                    <a:pt x="1752600" y="746125"/>
                  </a:cubicBezTo>
                  <a:cubicBezTo>
                    <a:pt x="1751039" y="752370"/>
                    <a:pt x="1754512" y="758862"/>
                    <a:pt x="1755775" y="765175"/>
                  </a:cubicBezTo>
                  <a:cubicBezTo>
                    <a:pt x="1758174" y="777171"/>
                    <a:pt x="1761250" y="784776"/>
                    <a:pt x="1765300" y="796925"/>
                  </a:cubicBezTo>
                  <a:lnTo>
                    <a:pt x="1768475" y="806450"/>
                  </a:lnTo>
                  <a:cubicBezTo>
                    <a:pt x="1772414" y="818268"/>
                    <a:pt x="1770057" y="827074"/>
                    <a:pt x="1774825" y="838200"/>
                  </a:cubicBezTo>
                  <a:cubicBezTo>
                    <a:pt x="1776328" y="841707"/>
                    <a:pt x="1778957" y="844620"/>
                    <a:pt x="1781175" y="847725"/>
                  </a:cubicBezTo>
                  <a:cubicBezTo>
                    <a:pt x="1804956" y="881019"/>
                    <a:pt x="1777148" y="842257"/>
                    <a:pt x="1800225" y="869950"/>
                  </a:cubicBezTo>
                  <a:cubicBezTo>
                    <a:pt x="1814320" y="886864"/>
                    <a:pt x="1800204" y="871817"/>
                    <a:pt x="1809750" y="889000"/>
                  </a:cubicBezTo>
                  <a:cubicBezTo>
                    <a:pt x="1813456" y="895671"/>
                    <a:pt x="1818217" y="901700"/>
                    <a:pt x="1822450" y="908050"/>
                  </a:cubicBezTo>
                  <a:cubicBezTo>
                    <a:pt x="1824306" y="910835"/>
                    <a:pt x="1824128" y="914582"/>
                    <a:pt x="1825625" y="917575"/>
                  </a:cubicBezTo>
                  <a:cubicBezTo>
                    <a:pt x="1827332" y="920988"/>
                    <a:pt x="1829858" y="923925"/>
                    <a:pt x="1831975" y="927100"/>
                  </a:cubicBezTo>
                  <a:cubicBezTo>
                    <a:pt x="1833033" y="931333"/>
                    <a:pt x="1833951" y="935604"/>
                    <a:pt x="1835150" y="939800"/>
                  </a:cubicBezTo>
                  <a:cubicBezTo>
                    <a:pt x="1836069" y="943018"/>
                    <a:pt x="1837513" y="946078"/>
                    <a:pt x="1838325" y="949325"/>
                  </a:cubicBezTo>
                  <a:cubicBezTo>
                    <a:pt x="1839634" y="954560"/>
                    <a:pt x="1838823" y="960515"/>
                    <a:pt x="1841500" y="965200"/>
                  </a:cubicBezTo>
                  <a:cubicBezTo>
                    <a:pt x="1843393" y="968513"/>
                    <a:pt x="1847850" y="969433"/>
                    <a:pt x="1851025" y="971550"/>
                  </a:cubicBezTo>
                  <a:cubicBezTo>
                    <a:pt x="1847850" y="974725"/>
                    <a:pt x="1844949" y="978200"/>
                    <a:pt x="1841500" y="981075"/>
                  </a:cubicBezTo>
                  <a:cubicBezTo>
                    <a:pt x="1838569" y="983518"/>
                    <a:pt x="1832448" y="983639"/>
                    <a:pt x="1831975" y="987425"/>
                  </a:cubicBezTo>
                  <a:cubicBezTo>
                    <a:pt x="1829748" y="1005241"/>
                    <a:pt x="1840298" y="1005427"/>
                    <a:pt x="1847850" y="1016000"/>
                  </a:cubicBezTo>
                  <a:cubicBezTo>
                    <a:pt x="1863377" y="1037738"/>
                    <a:pt x="1845552" y="1020227"/>
                    <a:pt x="1860550" y="1038225"/>
                  </a:cubicBezTo>
                  <a:cubicBezTo>
                    <a:pt x="1873199" y="1053404"/>
                    <a:pt x="1865977" y="1042748"/>
                    <a:pt x="1879600" y="1054100"/>
                  </a:cubicBezTo>
                  <a:cubicBezTo>
                    <a:pt x="1883049" y="1056975"/>
                    <a:pt x="1885950" y="1060450"/>
                    <a:pt x="1889125" y="1063625"/>
                  </a:cubicBezTo>
                  <a:cubicBezTo>
                    <a:pt x="1872192" y="1089025"/>
                    <a:pt x="1894417" y="1058333"/>
                    <a:pt x="1873250" y="1079500"/>
                  </a:cubicBezTo>
                  <a:cubicBezTo>
                    <a:pt x="1852083" y="1100667"/>
                    <a:pt x="1882775" y="1078442"/>
                    <a:pt x="1857375" y="1095375"/>
                  </a:cubicBezTo>
                  <a:cubicBezTo>
                    <a:pt x="1860263" y="1124251"/>
                    <a:pt x="1853339" y="1122703"/>
                    <a:pt x="1870075" y="1136650"/>
                  </a:cubicBezTo>
                  <a:cubicBezTo>
                    <a:pt x="1873006" y="1139093"/>
                    <a:pt x="1876425" y="1140883"/>
                    <a:pt x="1879600" y="1143000"/>
                  </a:cubicBezTo>
                  <a:cubicBezTo>
                    <a:pt x="1881717" y="1146175"/>
                    <a:pt x="1884243" y="1149112"/>
                    <a:pt x="1885950" y="1152525"/>
                  </a:cubicBezTo>
                  <a:cubicBezTo>
                    <a:pt x="1889206" y="1159038"/>
                    <a:pt x="1891160" y="1165062"/>
                    <a:pt x="1885950" y="1171575"/>
                  </a:cubicBezTo>
                  <a:cubicBezTo>
                    <a:pt x="1883566" y="1174555"/>
                    <a:pt x="1879356" y="1175482"/>
                    <a:pt x="1876425" y="1177925"/>
                  </a:cubicBezTo>
                  <a:cubicBezTo>
                    <a:pt x="1872976" y="1180800"/>
                    <a:pt x="1870075" y="1184275"/>
                    <a:pt x="1866900" y="1187450"/>
                  </a:cubicBezTo>
                  <a:cubicBezTo>
                    <a:pt x="1874880" y="1211391"/>
                    <a:pt x="1864115" y="1181881"/>
                    <a:pt x="1876425" y="1206500"/>
                  </a:cubicBezTo>
                  <a:cubicBezTo>
                    <a:pt x="1877922" y="1209493"/>
                    <a:pt x="1878542" y="1212850"/>
                    <a:pt x="1879600" y="1216025"/>
                  </a:cubicBezTo>
                  <a:cubicBezTo>
                    <a:pt x="1876425" y="1219200"/>
                    <a:pt x="1872256" y="1221625"/>
                    <a:pt x="1870075" y="1225550"/>
                  </a:cubicBezTo>
                  <a:cubicBezTo>
                    <a:pt x="1866824" y="1231401"/>
                    <a:pt x="1865842" y="1238250"/>
                    <a:pt x="1863725" y="1244600"/>
                  </a:cubicBezTo>
                  <a:lnTo>
                    <a:pt x="1857375" y="1263650"/>
                  </a:lnTo>
                  <a:cubicBezTo>
                    <a:pt x="1854962" y="1270890"/>
                    <a:pt x="1848908" y="1276350"/>
                    <a:pt x="1844675" y="1282700"/>
                  </a:cubicBezTo>
                  <a:cubicBezTo>
                    <a:pt x="1841158" y="1287976"/>
                    <a:pt x="1831058" y="1290414"/>
                    <a:pt x="1825625" y="1292225"/>
                  </a:cubicBezTo>
                  <a:cubicBezTo>
                    <a:pt x="1818217" y="1291167"/>
                    <a:pt x="1810884" y="1289050"/>
                    <a:pt x="1803400" y="1289050"/>
                  </a:cubicBezTo>
                  <a:cubicBezTo>
                    <a:pt x="1796962" y="1289050"/>
                    <a:pt x="1790595" y="1290664"/>
                    <a:pt x="1784350" y="1292225"/>
                  </a:cubicBezTo>
                  <a:lnTo>
                    <a:pt x="1755775" y="1301750"/>
                  </a:lnTo>
                  <a:cubicBezTo>
                    <a:pt x="1745685" y="1305113"/>
                    <a:pt x="1734608" y="1303867"/>
                    <a:pt x="1724025" y="1304925"/>
                  </a:cubicBezTo>
                  <a:cubicBezTo>
                    <a:pt x="1717675" y="1307042"/>
                    <a:pt x="1709708" y="1306542"/>
                    <a:pt x="1704975" y="1311275"/>
                  </a:cubicBezTo>
                  <a:cubicBezTo>
                    <a:pt x="1692752" y="1323498"/>
                    <a:pt x="1699186" y="1318309"/>
                    <a:pt x="1685925" y="1327150"/>
                  </a:cubicBezTo>
                  <a:cubicBezTo>
                    <a:pt x="1684867" y="1330325"/>
                    <a:pt x="1682750" y="1333328"/>
                    <a:pt x="1682750" y="1336675"/>
                  </a:cubicBezTo>
                  <a:cubicBezTo>
                    <a:pt x="1682750" y="1344756"/>
                    <a:pt x="1691583" y="1353744"/>
                    <a:pt x="1695450" y="1358900"/>
                  </a:cubicBezTo>
                  <a:cubicBezTo>
                    <a:pt x="1703430" y="1382841"/>
                    <a:pt x="1692665" y="1353331"/>
                    <a:pt x="1704975" y="1377950"/>
                  </a:cubicBezTo>
                  <a:cubicBezTo>
                    <a:pt x="1706472" y="1380943"/>
                    <a:pt x="1707092" y="1384300"/>
                    <a:pt x="1708150" y="1387475"/>
                  </a:cubicBezTo>
                  <a:cubicBezTo>
                    <a:pt x="1706507" y="1397331"/>
                    <a:pt x="1707266" y="1408849"/>
                    <a:pt x="1698625" y="1416050"/>
                  </a:cubicBezTo>
                  <a:cubicBezTo>
                    <a:pt x="1694989" y="1419080"/>
                    <a:pt x="1690158" y="1420283"/>
                    <a:pt x="1685925" y="1422400"/>
                  </a:cubicBezTo>
                  <a:cubicBezTo>
                    <a:pt x="1684867" y="1425575"/>
                    <a:pt x="1684606" y="1429140"/>
                    <a:pt x="1682750" y="1431925"/>
                  </a:cubicBezTo>
                  <a:cubicBezTo>
                    <a:pt x="1680259" y="1435661"/>
                    <a:pt x="1674314" y="1437094"/>
                    <a:pt x="1673225" y="1441450"/>
                  </a:cubicBezTo>
                  <a:cubicBezTo>
                    <a:pt x="1669913" y="1454698"/>
                    <a:pt x="1678523" y="1457339"/>
                    <a:pt x="1682750" y="1466850"/>
                  </a:cubicBezTo>
                  <a:cubicBezTo>
                    <a:pt x="1685468" y="1472967"/>
                    <a:pt x="1686983" y="1479550"/>
                    <a:pt x="1689100" y="1485900"/>
                  </a:cubicBezTo>
                  <a:lnTo>
                    <a:pt x="1698625" y="1514475"/>
                  </a:lnTo>
                  <a:cubicBezTo>
                    <a:pt x="1702902" y="1527305"/>
                    <a:pt x="1701200" y="1529210"/>
                    <a:pt x="1704975" y="1543050"/>
                  </a:cubicBezTo>
                  <a:cubicBezTo>
                    <a:pt x="1717060" y="1587361"/>
                    <a:pt x="1706765" y="1539298"/>
                    <a:pt x="1714500" y="1577975"/>
                  </a:cubicBezTo>
                  <a:cubicBezTo>
                    <a:pt x="1710586" y="1613203"/>
                    <a:pt x="1714356" y="1597458"/>
                    <a:pt x="1704975" y="1625600"/>
                  </a:cubicBezTo>
                  <a:cubicBezTo>
                    <a:pt x="1703768" y="1629220"/>
                    <a:pt x="1698625" y="1629833"/>
                    <a:pt x="1695450" y="1631950"/>
                  </a:cubicBezTo>
                  <a:cubicBezTo>
                    <a:pt x="1691217" y="1630892"/>
                    <a:pt x="1686946" y="1629974"/>
                    <a:pt x="1682750" y="1628775"/>
                  </a:cubicBezTo>
                  <a:cubicBezTo>
                    <a:pt x="1679532" y="1627856"/>
                    <a:pt x="1676572" y="1625600"/>
                    <a:pt x="1673225" y="1625600"/>
                  </a:cubicBezTo>
                  <a:cubicBezTo>
                    <a:pt x="1661535" y="1625600"/>
                    <a:pt x="1649942" y="1627717"/>
                    <a:pt x="1638300" y="1628775"/>
                  </a:cubicBezTo>
                  <a:cubicBezTo>
                    <a:pt x="1633008" y="1627717"/>
                    <a:pt x="1627660" y="1626909"/>
                    <a:pt x="1622425" y="1625600"/>
                  </a:cubicBezTo>
                  <a:cubicBezTo>
                    <a:pt x="1619178" y="1624788"/>
                    <a:pt x="1616247" y="1622425"/>
                    <a:pt x="1612900" y="1622425"/>
                  </a:cubicBezTo>
                  <a:cubicBezTo>
                    <a:pt x="1605416" y="1622425"/>
                    <a:pt x="1598083" y="1624542"/>
                    <a:pt x="1590675" y="1625600"/>
                  </a:cubicBezTo>
                  <a:cubicBezTo>
                    <a:pt x="1587500" y="1626658"/>
                    <a:pt x="1583517" y="1626408"/>
                    <a:pt x="1581150" y="1628775"/>
                  </a:cubicBezTo>
                  <a:cubicBezTo>
                    <a:pt x="1578783" y="1631142"/>
                    <a:pt x="1579472" y="1635307"/>
                    <a:pt x="1577975" y="1638300"/>
                  </a:cubicBezTo>
                  <a:cubicBezTo>
                    <a:pt x="1576268" y="1641713"/>
                    <a:pt x="1573332" y="1644412"/>
                    <a:pt x="1571625" y="1647825"/>
                  </a:cubicBezTo>
                  <a:cubicBezTo>
                    <a:pt x="1566567" y="1657942"/>
                    <a:pt x="1569098" y="1669726"/>
                    <a:pt x="1555750" y="1676400"/>
                  </a:cubicBezTo>
                  <a:cubicBezTo>
                    <a:pt x="1551517" y="1678517"/>
                    <a:pt x="1547109" y="1680315"/>
                    <a:pt x="1543050" y="1682750"/>
                  </a:cubicBezTo>
                  <a:cubicBezTo>
                    <a:pt x="1536506" y="1686677"/>
                    <a:pt x="1524000" y="1695450"/>
                    <a:pt x="1524000" y="1695450"/>
                  </a:cubicBezTo>
                  <a:cubicBezTo>
                    <a:pt x="1521883" y="1698625"/>
                    <a:pt x="1520630" y="1702591"/>
                    <a:pt x="1517650" y="1704975"/>
                  </a:cubicBezTo>
                  <a:cubicBezTo>
                    <a:pt x="1515037" y="1707066"/>
                    <a:pt x="1511118" y="1706653"/>
                    <a:pt x="1508125" y="1708150"/>
                  </a:cubicBezTo>
                  <a:cubicBezTo>
                    <a:pt x="1504712" y="1709857"/>
                    <a:pt x="1502087" y="1712950"/>
                    <a:pt x="1498600" y="1714500"/>
                  </a:cubicBezTo>
                  <a:cubicBezTo>
                    <a:pt x="1492483" y="1717218"/>
                    <a:pt x="1485900" y="1718733"/>
                    <a:pt x="1479550" y="1720850"/>
                  </a:cubicBezTo>
                  <a:lnTo>
                    <a:pt x="1470025" y="1724025"/>
                  </a:lnTo>
                  <a:lnTo>
                    <a:pt x="1460500" y="1727200"/>
                  </a:lnTo>
                  <a:cubicBezTo>
                    <a:pt x="1457325" y="1729317"/>
                    <a:pt x="1454462" y="1732000"/>
                    <a:pt x="1450975" y="1733550"/>
                  </a:cubicBezTo>
                  <a:cubicBezTo>
                    <a:pt x="1444858" y="1736268"/>
                    <a:pt x="1431925" y="1739900"/>
                    <a:pt x="1431925" y="1739900"/>
                  </a:cubicBezTo>
                  <a:cubicBezTo>
                    <a:pt x="1426517" y="1743506"/>
                    <a:pt x="1413638" y="1751837"/>
                    <a:pt x="1409700" y="1755775"/>
                  </a:cubicBezTo>
                  <a:cubicBezTo>
                    <a:pt x="1407002" y="1758473"/>
                    <a:pt x="1405467" y="1762125"/>
                    <a:pt x="1403350" y="1765300"/>
                  </a:cubicBezTo>
                  <a:cubicBezTo>
                    <a:pt x="1381933" y="1743883"/>
                    <a:pt x="1392819" y="1749090"/>
                    <a:pt x="1374775" y="1743075"/>
                  </a:cubicBezTo>
                  <a:cubicBezTo>
                    <a:pt x="1358900" y="1744133"/>
                    <a:pt x="1342973" y="1744584"/>
                    <a:pt x="1327150" y="1746250"/>
                  </a:cubicBezTo>
                  <a:cubicBezTo>
                    <a:pt x="1322810" y="1746707"/>
                    <a:pt x="1318081" y="1747004"/>
                    <a:pt x="1314450" y="1749425"/>
                  </a:cubicBezTo>
                  <a:cubicBezTo>
                    <a:pt x="1309174" y="1752942"/>
                    <a:pt x="1306736" y="1763042"/>
                    <a:pt x="1304925" y="1768475"/>
                  </a:cubicBezTo>
                  <a:cubicBezTo>
                    <a:pt x="1309413" y="1790914"/>
                    <a:pt x="1306393" y="1779230"/>
                    <a:pt x="1314450" y="1803400"/>
                  </a:cubicBezTo>
                  <a:lnTo>
                    <a:pt x="1317625" y="1812925"/>
                  </a:lnTo>
                  <a:cubicBezTo>
                    <a:pt x="1315508" y="1816100"/>
                    <a:pt x="1313973" y="1819752"/>
                    <a:pt x="1311275" y="1822450"/>
                  </a:cubicBezTo>
                  <a:cubicBezTo>
                    <a:pt x="1308577" y="1825148"/>
                    <a:pt x="1305536" y="1828327"/>
                    <a:pt x="1301750" y="1828800"/>
                  </a:cubicBezTo>
                  <a:cubicBezTo>
                    <a:pt x="1296177" y="1829497"/>
                    <a:pt x="1282570" y="1824523"/>
                    <a:pt x="1276350" y="1822450"/>
                  </a:cubicBezTo>
                  <a:lnTo>
                    <a:pt x="1257300" y="1809750"/>
                  </a:lnTo>
                  <a:cubicBezTo>
                    <a:pt x="1254125" y="1807633"/>
                    <a:pt x="1251395" y="1804607"/>
                    <a:pt x="1247775" y="1803400"/>
                  </a:cubicBezTo>
                  <a:lnTo>
                    <a:pt x="1238250" y="1800225"/>
                  </a:lnTo>
                  <a:cubicBezTo>
                    <a:pt x="1235779" y="1797754"/>
                    <a:pt x="1222928" y="1786148"/>
                    <a:pt x="1222375" y="1781175"/>
                  </a:cubicBezTo>
                  <a:cubicBezTo>
                    <a:pt x="1222360" y="1781039"/>
                    <a:pt x="1225459" y="1756683"/>
                    <a:pt x="1228725" y="1752600"/>
                  </a:cubicBezTo>
                  <a:cubicBezTo>
                    <a:pt x="1231717" y="1748860"/>
                    <a:pt x="1247825" y="1741462"/>
                    <a:pt x="1250950" y="1739900"/>
                  </a:cubicBezTo>
                  <a:cubicBezTo>
                    <a:pt x="1254161" y="1735084"/>
                    <a:pt x="1260475" y="1727423"/>
                    <a:pt x="1260475" y="1720850"/>
                  </a:cubicBezTo>
                  <a:cubicBezTo>
                    <a:pt x="1260475" y="1715454"/>
                    <a:pt x="1259195" y="1710028"/>
                    <a:pt x="1257300" y="1704975"/>
                  </a:cubicBezTo>
                  <a:cubicBezTo>
                    <a:pt x="1255960" y="1701402"/>
                    <a:pt x="1252500" y="1698937"/>
                    <a:pt x="1250950" y="1695450"/>
                  </a:cubicBezTo>
                  <a:cubicBezTo>
                    <a:pt x="1248232" y="1689333"/>
                    <a:pt x="1246717" y="1682750"/>
                    <a:pt x="1244600" y="1676400"/>
                  </a:cubicBezTo>
                  <a:lnTo>
                    <a:pt x="1241425" y="1666875"/>
                  </a:lnTo>
                  <a:cubicBezTo>
                    <a:pt x="1242483" y="1662642"/>
                    <a:pt x="1242179" y="1657806"/>
                    <a:pt x="1244600" y="1654175"/>
                  </a:cubicBezTo>
                  <a:cubicBezTo>
                    <a:pt x="1248668" y="1648073"/>
                    <a:pt x="1257734" y="1647186"/>
                    <a:pt x="1263650" y="1644650"/>
                  </a:cubicBezTo>
                  <a:cubicBezTo>
                    <a:pt x="1268000" y="1642786"/>
                    <a:pt x="1272117" y="1640417"/>
                    <a:pt x="1276350" y="1638300"/>
                  </a:cubicBezTo>
                  <a:cubicBezTo>
                    <a:pt x="1278467" y="1635125"/>
                    <a:pt x="1282073" y="1632539"/>
                    <a:pt x="1282700" y="1628775"/>
                  </a:cubicBezTo>
                  <a:cubicBezTo>
                    <a:pt x="1283250" y="1625474"/>
                    <a:pt x="1281022" y="1622243"/>
                    <a:pt x="1279525" y="1619250"/>
                  </a:cubicBezTo>
                  <a:cubicBezTo>
                    <a:pt x="1276941" y="1614082"/>
                    <a:pt x="1268511" y="1602901"/>
                    <a:pt x="1263650" y="1600200"/>
                  </a:cubicBezTo>
                  <a:cubicBezTo>
                    <a:pt x="1247164" y="1591041"/>
                    <a:pt x="1223370" y="1592081"/>
                    <a:pt x="1206500" y="1590675"/>
                  </a:cubicBezTo>
                  <a:cubicBezTo>
                    <a:pt x="1203982" y="1586898"/>
                    <a:pt x="1195408" y="1572688"/>
                    <a:pt x="1190625" y="1571625"/>
                  </a:cubicBezTo>
                  <a:cubicBezTo>
                    <a:pt x="1184341" y="1570228"/>
                    <a:pt x="1177925" y="1573742"/>
                    <a:pt x="1171575" y="1574800"/>
                  </a:cubicBezTo>
                  <a:cubicBezTo>
                    <a:pt x="1168400" y="1575858"/>
                    <a:pt x="1165157" y="1579218"/>
                    <a:pt x="1162050" y="1577975"/>
                  </a:cubicBezTo>
                  <a:cubicBezTo>
                    <a:pt x="1158507" y="1576558"/>
                    <a:pt x="1155954" y="1572257"/>
                    <a:pt x="1155700" y="1568450"/>
                  </a:cubicBezTo>
                  <a:cubicBezTo>
                    <a:pt x="1154852" y="1555734"/>
                    <a:pt x="1157468" y="1543016"/>
                    <a:pt x="1158875" y="1530350"/>
                  </a:cubicBezTo>
                  <a:cubicBezTo>
                    <a:pt x="1159586" y="1523952"/>
                    <a:pt x="1161071" y="1517663"/>
                    <a:pt x="1162050" y="1511300"/>
                  </a:cubicBezTo>
                  <a:cubicBezTo>
                    <a:pt x="1163350" y="1502850"/>
                    <a:pt x="1163909" y="1488533"/>
                    <a:pt x="1168400" y="1479550"/>
                  </a:cubicBezTo>
                  <a:cubicBezTo>
                    <a:pt x="1180710" y="1454931"/>
                    <a:pt x="1169945" y="1484441"/>
                    <a:pt x="1177925" y="1460500"/>
                  </a:cubicBezTo>
                  <a:cubicBezTo>
                    <a:pt x="1175343" y="1452753"/>
                    <a:pt x="1174555" y="1447605"/>
                    <a:pt x="1168400" y="1441450"/>
                  </a:cubicBezTo>
                  <a:cubicBezTo>
                    <a:pt x="1165702" y="1438752"/>
                    <a:pt x="1162288" y="1436807"/>
                    <a:pt x="1158875" y="1435100"/>
                  </a:cubicBezTo>
                  <a:cubicBezTo>
                    <a:pt x="1155882" y="1433603"/>
                    <a:pt x="1152525" y="1432983"/>
                    <a:pt x="1149350" y="1431925"/>
                  </a:cubicBezTo>
                  <a:cubicBezTo>
                    <a:pt x="1127515" y="1417369"/>
                    <a:pt x="1132713" y="1426465"/>
                    <a:pt x="1127125" y="1409700"/>
                  </a:cubicBezTo>
                  <a:cubicBezTo>
                    <a:pt x="1130174" y="1405126"/>
                    <a:pt x="1139205" y="1397011"/>
                    <a:pt x="1130300" y="1390650"/>
                  </a:cubicBezTo>
                  <a:cubicBezTo>
                    <a:pt x="1124853" y="1386759"/>
                    <a:pt x="1111250" y="1384300"/>
                    <a:pt x="1111250" y="1384300"/>
                  </a:cubicBezTo>
                  <a:cubicBezTo>
                    <a:pt x="1097975" y="1375450"/>
                    <a:pt x="1092001" y="1373266"/>
                    <a:pt x="1082675" y="1362075"/>
                  </a:cubicBezTo>
                  <a:cubicBezTo>
                    <a:pt x="1071301" y="1348426"/>
                    <a:pt x="1080310" y="1357344"/>
                    <a:pt x="1073150" y="1343025"/>
                  </a:cubicBezTo>
                  <a:cubicBezTo>
                    <a:pt x="1071443" y="1339612"/>
                    <a:pt x="1068917" y="1336675"/>
                    <a:pt x="1066800" y="1333500"/>
                  </a:cubicBezTo>
                  <a:cubicBezTo>
                    <a:pt x="1064002" y="1308319"/>
                    <a:pt x="1061319" y="1307801"/>
                    <a:pt x="1066800" y="1285875"/>
                  </a:cubicBezTo>
                  <a:cubicBezTo>
                    <a:pt x="1068423" y="1279381"/>
                    <a:pt x="1073150" y="1266825"/>
                    <a:pt x="1073150" y="1266825"/>
                  </a:cubicBezTo>
                  <a:cubicBezTo>
                    <a:pt x="1072092" y="1261533"/>
                    <a:pt x="1071870" y="1256003"/>
                    <a:pt x="1069975" y="1250950"/>
                  </a:cubicBezTo>
                  <a:cubicBezTo>
                    <a:pt x="1067650" y="1244749"/>
                    <a:pt x="1060659" y="1237043"/>
                    <a:pt x="1054100" y="1235075"/>
                  </a:cubicBezTo>
                  <a:cubicBezTo>
                    <a:pt x="1046932" y="1232925"/>
                    <a:pt x="1039257" y="1233130"/>
                    <a:pt x="1031875" y="1231900"/>
                  </a:cubicBezTo>
                  <a:cubicBezTo>
                    <a:pt x="1019783" y="1229885"/>
                    <a:pt x="1014717" y="1228404"/>
                    <a:pt x="1003300" y="1225550"/>
                  </a:cubicBezTo>
                  <a:cubicBezTo>
                    <a:pt x="998938" y="1219007"/>
                    <a:pt x="983716" y="1207034"/>
                    <a:pt x="993775" y="1196975"/>
                  </a:cubicBezTo>
                  <a:cubicBezTo>
                    <a:pt x="996142" y="1194608"/>
                    <a:pt x="1000125" y="1194858"/>
                    <a:pt x="1003300" y="1193800"/>
                  </a:cubicBezTo>
                  <a:cubicBezTo>
                    <a:pt x="1016860" y="1173460"/>
                    <a:pt x="1020307" y="1177464"/>
                    <a:pt x="1012825" y="1152525"/>
                  </a:cubicBezTo>
                  <a:cubicBezTo>
                    <a:pt x="1011729" y="1148870"/>
                    <a:pt x="1009711" y="1145022"/>
                    <a:pt x="1006475" y="1143000"/>
                  </a:cubicBezTo>
                  <a:cubicBezTo>
                    <a:pt x="1000799" y="1139452"/>
                    <a:pt x="987425" y="1136650"/>
                    <a:pt x="987425" y="1136650"/>
                  </a:cubicBezTo>
                  <a:cubicBezTo>
                    <a:pt x="983105" y="1123691"/>
                    <a:pt x="983132" y="1129452"/>
                    <a:pt x="987425" y="1114425"/>
                  </a:cubicBezTo>
                  <a:cubicBezTo>
                    <a:pt x="988344" y="1111207"/>
                    <a:pt x="988509" y="1107513"/>
                    <a:pt x="990600" y="1104900"/>
                  </a:cubicBezTo>
                  <a:cubicBezTo>
                    <a:pt x="992984" y="1101920"/>
                    <a:pt x="996950" y="1100667"/>
                    <a:pt x="1000125" y="1098550"/>
                  </a:cubicBezTo>
                  <a:cubicBezTo>
                    <a:pt x="1018117" y="1071563"/>
                    <a:pt x="988483" y="1113367"/>
                    <a:pt x="1025525" y="1076325"/>
                  </a:cubicBezTo>
                  <a:cubicBezTo>
                    <a:pt x="1037748" y="1064102"/>
                    <a:pt x="1032559" y="1070536"/>
                    <a:pt x="1041400" y="1057275"/>
                  </a:cubicBezTo>
                  <a:cubicBezTo>
                    <a:pt x="1041747" y="1051728"/>
                    <a:pt x="1048590" y="1003602"/>
                    <a:pt x="1041400" y="987425"/>
                  </a:cubicBezTo>
                  <a:cubicBezTo>
                    <a:pt x="1039576" y="983322"/>
                    <a:pt x="1035050" y="981075"/>
                    <a:pt x="1031875" y="977900"/>
                  </a:cubicBezTo>
                  <a:cubicBezTo>
                    <a:pt x="1025525" y="978958"/>
                    <a:pt x="1018932" y="979039"/>
                    <a:pt x="1012825" y="981075"/>
                  </a:cubicBezTo>
                  <a:cubicBezTo>
                    <a:pt x="1001462" y="984863"/>
                    <a:pt x="1004080" y="988929"/>
                    <a:pt x="996950" y="996950"/>
                  </a:cubicBezTo>
                  <a:cubicBezTo>
                    <a:pt x="990984" y="1003662"/>
                    <a:pt x="984250" y="1009650"/>
                    <a:pt x="977900" y="1016000"/>
                  </a:cubicBezTo>
                  <a:lnTo>
                    <a:pt x="949325" y="1035050"/>
                  </a:lnTo>
                  <a:cubicBezTo>
                    <a:pt x="943756" y="1038763"/>
                    <a:pt x="930275" y="1041400"/>
                    <a:pt x="930275" y="1041400"/>
                  </a:cubicBezTo>
                  <a:cubicBezTo>
                    <a:pt x="927100" y="1043517"/>
                    <a:pt x="924163" y="1046043"/>
                    <a:pt x="920750" y="1047750"/>
                  </a:cubicBezTo>
                  <a:cubicBezTo>
                    <a:pt x="914241" y="1051004"/>
                    <a:pt x="901388" y="1052892"/>
                    <a:pt x="895350" y="1054100"/>
                  </a:cubicBezTo>
                  <a:cubicBezTo>
                    <a:pt x="892175" y="1053042"/>
                    <a:pt x="888438" y="1053016"/>
                    <a:pt x="885825" y="1050925"/>
                  </a:cubicBezTo>
                  <a:cubicBezTo>
                    <a:pt x="882845" y="1048541"/>
                    <a:pt x="880129" y="1045159"/>
                    <a:pt x="879475" y="1041400"/>
                  </a:cubicBezTo>
                  <a:cubicBezTo>
                    <a:pt x="875830" y="1020442"/>
                    <a:pt x="875242" y="999067"/>
                    <a:pt x="873125" y="977900"/>
                  </a:cubicBezTo>
                  <a:cubicBezTo>
                    <a:pt x="873116" y="977808"/>
                    <a:pt x="868279" y="957179"/>
                    <a:pt x="866775" y="955675"/>
                  </a:cubicBezTo>
                  <a:cubicBezTo>
                    <a:pt x="864408" y="953308"/>
                    <a:pt x="860425" y="953558"/>
                    <a:pt x="857250" y="952500"/>
                  </a:cubicBezTo>
                  <a:cubicBezTo>
                    <a:pt x="848783" y="953558"/>
                    <a:pt x="840245" y="954149"/>
                    <a:pt x="831850" y="955675"/>
                  </a:cubicBezTo>
                  <a:cubicBezTo>
                    <a:pt x="819309" y="957955"/>
                    <a:pt x="824421" y="959390"/>
                    <a:pt x="812800" y="965200"/>
                  </a:cubicBezTo>
                  <a:cubicBezTo>
                    <a:pt x="809807" y="966697"/>
                    <a:pt x="806450" y="967317"/>
                    <a:pt x="803275" y="968375"/>
                  </a:cubicBezTo>
                  <a:cubicBezTo>
                    <a:pt x="798459" y="965164"/>
                    <a:pt x="790798" y="958850"/>
                    <a:pt x="784225" y="958850"/>
                  </a:cubicBezTo>
                  <a:cubicBezTo>
                    <a:pt x="777787" y="958850"/>
                    <a:pt x="771525" y="960967"/>
                    <a:pt x="765175" y="962025"/>
                  </a:cubicBezTo>
                  <a:lnTo>
                    <a:pt x="755650" y="990600"/>
                  </a:lnTo>
                  <a:cubicBezTo>
                    <a:pt x="754592" y="993775"/>
                    <a:pt x="755650" y="999067"/>
                    <a:pt x="752475" y="1000125"/>
                  </a:cubicBezTo>
                  <a:lnTo>
                    <a:pt x="742950" y="1003300"/>
                  </a:lnTo>
                  <a:cubicBezTo>
                    <a:pt x="739775" y="1005417"/>
                    <a:pt x="737228" y="1009333"/>
                    <a:pt x="733425" y="1009650"/>
                  </a:cubicBezTo>
                  <a:cubicBezTo>
                    <a:pt x="716411" y="1011068"/>
                    <a:pt x="708743" y="1007773"/>
                    <a:pt x="695325" y="1003300"/>
                  </a:cubicBezTo>
                  <a:cubicBezTo>
                    <a:pt x="693208" y="1006475"/>
                    <a:pt x="689602" y="1009061"/>
                    <a:pt x="688975" y="1012825"/>
                  </a:cubicBezTo>
                  <a:cubicBezTo>
                    <a:pt x="688425" y="1016126"/>
                    <a:pt x="689783" y="1019983"/>
                    <a:pt x="692150" y="1022350"/>
                  </a:cubicBezTo>
                  <a:cubicBezTo>
                    <a:pt x="697546" y="1027746"/>
                    <a:pt x="704850" y="1030817"/>
                    <a:pt x="711200" y="1035050"/>
                  </a:cubicBezTo>
                  <a:cubicBezTo>
                    <a:pt x="723510" y="1043256"/>
                    <a:pt x="717105" y="1040193"/>
                    <a:pt x="730250" y="1044575"/>
                  </a:cubicBezTo>
                  <a:cubicBezTo>
                    <a:pt x="745441" y="1067361"/>
                    <a:pt x="737554" y="1058229"/>
                    <a:pt x="752475" y="1073150"/>
                  </a:cubicBezTo>
                  <a:cubicBezTo>
                    <a:pt x="753533" y="1076325"/>
                    <a:pt x="754924" y="1079408"/>
                    <a:pt x="755650" y="1082675"/>
                  </a:cubicBezTo>
                  <a:cubicBezTo>
                    <a:pt x="757047" y="1088959"/>
                    <a:pt x="757562" y="1095412"/>
                    <a:pt x="758825" y="1101725"/>
                  </a:cubicBezTo>
                  <a:cubicBezTo>
                    <a:pt x="759681" y="1106004"/>
                    <a:pt x="760942" y="1110192"/>
                    <a:pt x="762000" y="1114425"/>
                  </a:cubicBezTo>
                  <a:cubicBezTo>
                    <a:pt x="760296" y="1122945"/>
                    <a:pt x="757079" y="1142444"/>
                    <a:pt x="752475" y="1149350"/>
                  </a:cubicBezTo>
                  <a:lnTo>
                    <a:pt x="746125" y="1158875"/>
                  </a:lnTo>
                  <a:cubicBezTo>
                    <a:pt x="744227" y="1168365"/>
                    <a:pt x="739917" y="1178137"/>
                    <a:pt x="746125" y="1187450"/>
                  </a:cubicBezTo>
                  <a:cubicBezTo>
                    <a:pt x="748242" y="1190625"/>
                    <a:pt x="752475" y="1191683"/>
                    <a:pt x="755650" y="1193800"/>
                  </a:cubicBezTo>
                  <a:cubicBezTo>
                    <a:pt x="756708" y="1196975"/>
                    <a:pt x="758825" y="1199978"/>
                    <a:pt x="758825" y="1203325"/>
                  </a:cubicBezTo>
                  <a:cubicBezTo>
                    <a:pt x="758825" y="1210612"/>
                    <a:pt x="754485" y="1220365"/>
                    <a:pt x="749300" y="1225550"/>
                  </a:cubicBezTo>
                  <a:cubicBezTo>
                    <a:pt x="746602" y="1228248"/>
                    <a:pt x="742950" y="1229783"/>
                    <a:pt x="739775" y="1231900"/>
                  </a:cubicBezTo>
                  <a:cubicBezTo>
                    <a:pt x="737658" y="1235075"/>
                    <a:pt x="736968" y="1240008"/>
                    <a:pt x="733425" y="1241425"/>
                  </a:cubicBezTo>
                  <a:cubicBezTo>
                    <a:pt x="730318" y="1242668"/>
                    <a:pt x="726826" y="1239875"/>
                    <a:pt x="723900" y="1238250"/>
                  </a:cubicBezTo>
                  <a:cubicBezTo>
                    <a:pt x="717229" y="1234544"/>
                    <a:pt x="704850" y="1225550"/>
                    <a:pt x="704850" y="1225550"/>
                  </a:cubicBezTo>
                  <a:cubicBezTo>
                    <a:pt x="691092" y="1226608"/>
                    <a:pt x="677205" y="1226573"/>
                    <a:pt x="663575" y="1228725"/>
                  </a:cubicBezTo>
                  <a:cubicBezTo>
                    <a:pt x="656963" y="1229769"/>
                    <a:pt x="644525" y="1235075"/>
                    <a:pt x="644525" y="1235075"/>
                  </a:cubicBezTo>
                  <a:cubicBezTo>
                    <a:pt x="641350" y="1238250"/>
                    <a:pt x="638449" y="1241725"/>
                    <a:pt x="635000" y="1244600"/>
                  </a:cubicBezTo>
                  <a:cubicBezTo>
                    <a:pt x="632069" y="1247043"/>
                    <a:pt x="628173" y="1248252"/>
                    <a:pt x="625475" y="1250950"/>
                  </a:cubicBezTo>
                  <a:cubicBezTo>
                    <a:pt x="611114" y="1265311"/>
                    <a:pt x="628143" y="1257469"/>
                    <a:pt x="609600" y="1263650"/>
                  </a:cubicBezTo>
                  <a:cubicBezTo>
                    <a:pt x="606425" y="1265767"/>
                    <a:pt x="603488" y="1268293"/>
                    <a:pt x="600075" y="1270000"/>
                  </a:cubicBezTo>
                  <a:cubicBezTo>
                    <a:pt x="587761" y="1276157"/>
                    <a:pt x="584226" y="1272272"/>
                    <a:pt x="568325" y="1270000"/>
                  </a:cubicBezTo>
                  <a:cubicBezTo>
                    <a:pt x="567495" y="1270207"/>
                    <a:pt x="548170" y="1274694"/>
                    <a:pt x="546100" y="1276350"/>
                  </a:cubicBezTo>
                  <a:cubicBezTo>
                    <a:pt x="543120" y="1278734"/>
                    <a:pt x="541867" y="1282700"/>
                    <a:pt x="539750" y="1285875"/>
                  </a:cubicBezTo>
                  <a:cubicBezTo>
                    <a:pt x="530034" y="1283446"/>
                    <a:pt x="524834" y="1283659"/>
                    <a:pt x="517525" y="1276350"/>
                  </a:cubicBezTo>
                  <a:cubicBezTo>
                    <a:pt x="514827" y="1273652"/>
                    <a:pt x="513292" y="1270000"/>
                    <a:pt x="511175" y="1266825"/>
                  </a:cubicBezTo>
                  <a:cubicBezTo>
                    <a:pt x="514594" y="1253150"/>
                    <a:pt x="512134" y="1253732"/>
                    <a:pt x="523875" y="1244600"/>
                  </a:cubicBezTo>
                  <a:cubicBezTo>
                    <a:pt x="529899" y="1239915"/>
                    <a:pt x="542925" y="1231900"/>
                    <a:pt x="542925" y="1231900"/>
                  </a:cubicBezTo>
                  <a:cubicBezTo>
                    <a:pt x="545042" y="1228725"/>
                    <a:pt x="548648" y="1226139"/>
                    <a:pt x="549275" y="1222375"/>
                  </a:cubicBezTo>
                  <a:cubicBezTo>
                    <a:pt x="549825" y="1219074"/>
                    <a:pt x="547019" y="1216068"/>
                    <a:pt x="546100" y="1212850"/>
                  </a:cubicBezTo>
                  <a:cubicBezTo>
                    <a:pt x="544901" y="1208654"/>
                    <a:pt x="544876" y="1204053"/>
                    <a:pt x="542925" y="1200150"/>
                  </a:cubicBezTo>
                  <a:cubicBezTo>
                    <a:pt x="521090" y="1156481"/>
                    <a:pt x="535830" y="1197915"/>
                    <a:pt x="527050" y="1171575"/>
                  </a:cubicBezTo>
                  <a:cubicBezTo>
                    <a:pt x="534060" y="1143536"/>
                    <a:pt x="527152" y="1173931"/>
                    <a:pt x="533400" y="1123950"/>
                  </a:cubicBezTo>
                  <a:cubicBezTo>
                    <a:pt x="534069" y="1118595"/>
                    <a:pt x="534162" y="1112902"/>
                    <a:pt x="536575" y="1108075"/>
                  </a:cubicBezTo>
                  <a:cubicBezTo>
                    <a:pt x="538583" y="1104059"/>
                    <a:pt x="542925" y="1101725"/>
                    <a:pt x="546100" y="1098550"/>
                  </a:cubicBezTo>
                  <a:cubicBezTo>
                    <a:pt x="543605" y="1083581"/>
                    <a:pt x="543539" y="1080062"/>
                    <a:pt x="539750" y="1066800"/>
                  </a:cubicBezTo>
                  <a:cubicBezTo>
                    <a:pt x="538831" y="1063582"/>
                    <a:pt x="538942" y="1059642"/>
                    <a:pt x="536575" y="1057275"/>
                  </a:cubicBezTo>
                  <a:cubicBezTo>
                    <a:pt x="534208" y="1054908"/>
                    <a:pt x="530358" y="1054609"/>
                    <a:pt x="527050" y="1054100"/>
                  </a:cubicBezTo>
                  <a:cubicBezTo>
                    <a:pt x="516538" y="1052483"/>
                    <a:pt x="505818" y="1052503"/>
                    <a:pt x="495300" y="1050925"/>
                  </a:cubicBezTo>
                  <a:cubicBezTo>
                    <a:pt x="484626" y="1049324"/>
                    <a:pt x="463550" y="1044575"/>
                    <a:pt x="463550" y="1044575"/>
                  </a:cubicBezTo>
                  <a:cubicBezTo>
                    <a:pt x="460375" y="1042458"/>
                    <a:pt x="456538" y="1041097"/>
                    <a:pt x="454025" y="1038225"/>
                  </a:cubicBezTo>
                  <a:cubicBezTo>
                    <a:pt x="448999" y="1032482"/>
                    <a:pt x="445558" y="1025525"/>
                    <a:pt x="441325" y="1019175"/>
                  </a:cubicBezTo>
                  <a:lnTo>
                    <a:pt x="428625" y="1000125"/>
                  </a:lnTo>
                  <a:cubicBezTo>
                    <a:pt x="426134" y="996389"/>
                    <a:pt x="422549" y="993475"/>
                    <a:pt x="419100" y="990600"/>
                  </a:cubicBezTo>
                  <a:cubicBezTo>
                    <a:pt x="416169" y="988157"/>
                    <a:pt x="412988" y="985957"/>
                    <a:pt x="409575" y="984250"/>
                  </a:cubicBezTo>
                  <a:cubicBezTo>
                    <a:pt x="404500" y="981712"/>
                    <a:pt x="392097" y="979256"/>
                    <a:pt x="387350" y="977900"/>
                  </a:cubicBezTo>
                  <a:cubicBezTo>
                    <a:pt x="384132" y="976981"/>
                    <a:pt x="381000" y="975783"/>
                    <a:pt x="377825" y="974725"/>
                  </a:cubicBezTo>
                  <a:cubicBezTo>
                    <a:pt x="378883" y="987425"/>
                    <a:pt x="379316" y="1000193"/>
                    <a:pt x="381000" y="1012825"/>
                  </a:cubicBezTo>
                  <a:cubicBezTo>
                    <a:pt x="382754" y="1025977"/>
                    <a:pt x="388639" y="1019772"/>
                    <a:pt x="381000" y="1035050"/>
                  </a:cubicBezTo>
                  <a:cubicBezTo>
                    <a:pt x="377587" y="1041876"/>
                    <a:pt x="372533" y="1047750"/>
                    <a:pt x="368300" y="1054100"/>
                  </a:cubicBezTo>
                  <a:cubicBezTo>
                    <a:pt x="365365" y="1058503"/>
                    <a:pt x="360333" y="1061258"/>
                    <a:pt x="355600" y="1063625"/>
                  </a:cubicBezTo>
                  <a:lnTo>
                    <a:pt x="327025" y="1073150"/>
                  </a:lnTo>
                  <a:lnTo>
                    <a:pt x="317500" y="1076325"/>
                  </a:lnTo>
                  <a:lnTo>
                    <a:pt x="307975" y="1079500"/>
                  </a:lnTo>
                  <a:cubicBezTo>
                    <a:pt x="304800" y="1081617"/>
                    <a:pt x="301937" y="1084300"/>
                    <a:pt x="298450" y="1085850"/>
                  </a:cubicBezTo>
                  <a:cubicBezTo>
                    <a:pt x="292333" y="1088568"/>
                    <a:pt x="279400" y="1092200"/>
                    <a:pt x="279400" y="1092200"/>
                  </a:cubicBezTo>
                  <a:cubicBezTo>
                    <a:pt x="276225" y="1094317"/>
                    <a:pt x="272806" y="1096107"/>
                    <a:pt x="269875" y="1098550"/>
                  </a:cubicBezTo>
                  <a:cubicBezTo>
                    <a:pt x="261330" y="1105671"/>
                    <a:pt x="260960" y="1109920"/>
                    <a:pt x="250825" y="1114425"/>
                  </a:cubicBezTo>
                  <a:cubicBezTo>
                    <a:pt x="237642" y="1120284"/>
                    <a:pt x="229481" y="1121234"/>
                    <a:pt x="215900" y="1123950"/>
                  </a:cubicBezTo>
                  <a:cubicBezTo>
                    <a:pt x="189633" y="1122637"/>
                    <a:pt x="156766" y="1138039"/>
                    <a:pt x="146050" y="1111250"/>
                  </a:cubicBezTo>
                  <a:cubicBezTo>
                    <a:pt x="145264" y="1109285"/>
                    <a:pt x="146050" y="1107017"/>
                    <a:pt x="152400" y="1123950"/>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defTabSz="685800" eaLnBrk="0" fontAlgn="base" hangingPunct="0">
                <a:spcBef>
                  <a:spcPct val="50000"/>
                </a:spcBef>
                <a:spcAft>
                  <a:spcPct val="0"/>
                </a:spcAft>
                <a:buClrTx/>
              </a:pPr>
              <a:endParaRPr lang="en-US" sz="900" kern="1200">
                <a:latin typeface="Arial" charset="0"/>
                <a:ea typeface="+mn-ea"/>
                <a:cs typeface="+mn-cs"/>
              </a:endParaRPr>
            </a:p>
          </p:txBody>
        </p:sp>
        <p:sp>
          <p:nvSpPr>
            <p:cNvPr id="16" name="Freeform 15"/>
            <p:cNvSpPr/>
            <p:nvPr>
              <p:custDataLst>
                <p:tags r:id="rId6"/>
              </p:custDataLst>
            </p:nvPr>
          </p:nvSpPr>
          <p:spPr bwMode="gray">
            <a:xfrm>
              <a:off x="3014479" y="1942448"/>
              <a:ext cx="72418" cy="54842"/>
            </a:xfrm>
            <a:custGeom>
              <a:avLst/>
              <a:gdLst>
                <a:gd name="connsiteX0" fmla="*/ 47995 w 72418"/>
                <a:gd name="connsiteY0" fmla="*/ 652 h 54842"/>
                <a:gd name="connsiteX1" fmla="*/ 3545 w 72418"/>
                <a:gd name="connsiteY1" fmla="*/ 3827 h 54842"/>
                <a:gd name="connsiteX2" fmla="*/ 370 w 72418"/>
                <a:gd name="connsiteY2" fmla="*/ 13352 h 54842"/>
                <a:gd name="connsiteX3" fmla="*/ 16245 w 72418"/>
                <a:gd name="connsiteY3" fmla="*/ 38752 h 54842"/>
                <a:gd name="connsiteX4" fmla="*/ 38470 w 72418"/>
                <a:gd name="connsiteY4" fmla="*/ 54627 h 54842"/>
                <a:gd name="connsiteX5" fmla="*/ 60695 w 72418"/>
                <a:gd name="connsiteY5" fmla="*/ 29227 h 54842"/>
                <a:gd name="connsiteX6" fmla="*/ 60695 w 72418"/>
                <a:gd name="connsiteY6" fmla="*/ 10177 h 54842"/>
                <a:gd name="connsiteX7" fmla="*/ 47995 w 72418"/>
                <a:gd name="connsiteY7" fmla="*/ 7002 h 54842"/>
                <a:gd name="connsiteX8" fmla="*/ 47995 w 72418"/>
                <a:gd name="connsiteY8" fmla="*/ 652 h 54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418" h="54842">
                  <a:moveTo>
                    <a:pt x="47995" y="652"/>
                  </a:moveTo>
                  <a:cubicBezTo>
                    <a:pt x="40587" y="123"/>
                    <a:pt x="17898" y="0"/>
                    <a:pt x="3545" y="3827"/>
                  </a:cubicBezTo>
                  <a:cubicBezTo>
                    <a:pt x="311" y="4689"/>
                    <a:pt x="0" y="10026"/>
                    <a:pt x="370" y="13352"/>
                  </a:cubicBezTo>
                  <a:cubicBezTo>
                    <a:pt x="2915" y="36259"/>
                    <a:pt x="4008" y="28554"/>
                    <a:pt x="16245" y="38752"/>
                  </a:cubicBezTo>
                  <a:cubicBezTo>
                    <a:pt x="35553" y="54842"/>
                    <a:pt x="14970" y="42877"/>
                    <a:pt x="38470" y="54627"/>
                  </a:cubicBezTo>
                  <a:cubicBezTo>
                    <a:pt x="53287" y="32402"/>
                    <a:pt x="44820" y="39810"/>
                    <a:pt x="60695" y="29227"/>
                  </a:cubicBezTo>
                  <a:cubicBezTo>
                    <a:pt x="65905" y="21412"/>
                    <a:pt x="72418" y="17992"/>
                    <a:pt x="60695" y="10177"/>
                  </a:cubicBezTo>
                  <a:cubicBezTo>
                    <a:pt x="57064" y="7756"/>
                    <a:pt x="52191" y="8201"/>
                    <a:pt x="47995" y="7002"/>
                  </a:cubicBezTo>
                  <a:cubicBezTo>
                    <a:pt x="44777" y="6083"/>
                    <a:pt x="55403" y="1181"/>
                    <a:pt x="47995" y="652"/>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defTabSz="685800" eaLnBrk="0" fontAlgn="base" hangingPunct="0">
                <a:spcBef>
                  <a:spcPct val="50000"/>
                </a:spcBef>
                <a:spcAft>
                  <a:spcPct val="0"/>
                </a:spcAft>
                <a:buClrTx/>
              </a:pPr>
              <a:endParaRPr lang="en-US" sz="900" kern="1200">
                <a:latin typeface="Arial" charset="0"/>
                <a:ea typeface="+mn-ea"/>
                <a:cs typeface="+mn-cs"/>
              </a:endParaRPr>
            </a:p>
          </p:txBody>
        </p:sp>
        <p:sp>
          <p:nvSpPr>
            <p:cNvPr id="17" name="Freeform 16"/>
            <p:cNvSpPr/>
            <p:nvPr>
              <p:custDataLst>
                <p:tags r:id="rId7"/>
              </p:custDataLst>
            </p:nvPr>
          </p:nvSpPr>
          <p:spPr bwMode="gray">
            <a:xfrm>
              <a:off x="3103749" y="1890150"/>
              <a:ext cx="105523" cy="27550"/>
            </a:xfrm>
            <a:custGeom>
              <a:avLst/>
              <a:gdLst>
                <a:gd name="connsiteX0" fmla="*/ 3175 w 105523"/>
                <a:gd name="connsiteY0" fmla="*/ 8500 h 27550"/>
                <a:gd name="connsiteX1" fmla="*/ 22225 w 105523"/>
                <a:gd name="connsiteY1" fmla="*/ 5325 h 27550"/>
                <a:gd name="connsiteX2" fmla="*/ 34925 w 105523"/>
                <a:gd name="connsiteY2" fmla="*/ 2150 h 27550"/>
                <a:gd name="connsiteX3" fmla="*/ 69850 w 105523"/>
                <a:gd name="connsiteY3" fmla="*/ 8500 h 27550"/>
                <a:gd name="connsiteX4" fmla="*/ 98425 w 105523"/>
                <a:gd name="connsiteY4" fmla="*/ 11675 h 27550"/>
                <a:gd name="connsiteX5" fmla="*/ 104775 w 105523"/>
                <a:gd name="connsiteY5" fmla="*/ 21200 h 27550"/>
                <a:gd name="connsiteX6" fmla="*/ 95250 w 105523"/>
                <a:gd name="connsiteY6" fmla="*/ 27550 h 27550"/>
                <a:gd name="connsiteX7" fmla="*/ 19050 w 105523"/>
                <a:gd name="connsiteY7" fmla="*/ 24375 h 27550"/>
                <a:gd name="connsiteX8" fmla="*/ 3175 w 105523"/>
                <a:gd name="connsiteY8" fmla="*/ 11675 h 27550"/>
                <a:gd name="connsiteX9" fmla="*/ 3175 w 105523"/>
                <a:gd name="connsiteY9" fmla="*/ 8500 h 2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523" h="27550">
                  <a:moveTo>
                    <a:pt x="3175" y="8500"/>
                  </a:moveTo>
                  <a:cubicBezTo>
                    <a:pt x="6350" y="7442"/>
                    <a:pt x="15912" y="6588"/>
                    <a:pt x="22225" y="5325"/>
                  </a:cubicBezTo>
                  <a:cubicBezTo>
                    <a:pt x="26504" y="4469"/>
                    <a:pt x="30561" y="2150"/>
                    <a:pt x="34925" y="2150"/>
                  </a:cubicBezTo>
                  <a:cubicBezTo>
                    <a:pt x="58216" y="2150"/>
                    <a:pt x="51787" y="5721"/>
                    <a:pt x="69850" y="8500"/>
                  </a:cubicBezTo>
                  <a:cubicBezTo>
                    <a:pt x="79322" y="9957"/>
                    <a:pt x="88900" y="10617"/>
                    <a:pt x="98425" y="11675"/>
                  </a:cubicBezTo>
                  <a:cubicBezTo>
                    <a:pt x="100542" y="14850"/>
                    <a:pt x="105523" y="17458"/>
                    <a:pt x="104775" y="21200"/>
                  </a:cubicBezTo>
                  <a:cubicBezTo>
                    <a:pt x="104027" y="24942"/>
                    <a:pt x="99063" y="27409"/>
                    <a:pt x="95250" y="27550"/>
                  </a:cubicBezTo>
                  <a:lnTo>
                    <a:pt x="19050" y="24375"/>
                  </a:lnTo>
                  <a:cubicBezTo>
                    <a:pt x="15040" y="23038"/>
                    <a:pt x="966" y="20513"/>
                    <a:pt x="3175" y="11675"/>
                  </a:cubicBezTo>
                  <a:cubicBezTo>
                    <a:pt x="6094" y="0"/>
                    <a:pt x="0" y="9558"/>
                    <a:pt x="3175" y="8500"/>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defTabSz="685800" eaLnBrk="0" fontAlgn="base" hangingPunct="0">
                <a:spcBef>
                  <a:spcPct val="50000"/>
                </a:spcBef>
                <a:spcAft>
                  <a:spcPct val="0"/>
                </a:spcAft>
                <a:buClrTx/>
              </a:pPr>
              <a:endParaRPr lang="en-US" sz="900" kern="1200">
                <a:latin typeface="Arial" charset="0"/>
                <a:ea typeface="+mn-ea"/>
                <a:cs typeface="+mn-cs"/>
              </a:endParaRPr>
            </a:p>
          </p:txBody>
        </p:sp>
        <p:sp>
          <p:nvSpPr>
            <p:cNvPr id="18" name="Freeform 17"/>
            <p:cNvSpPr/>
            <p:nvPr>
              <p:custDataLst>
                <p:tags r:id="rId8"/>
              </p:custDataLst>
            </p:nvPr>
          </p:nvSpPr>
          <p:spPr bwMode="gray">
            <a:xfrm>
              <a:off x="3222812" y="1844675"/>
              <a:ext cx="277812" cy="57809"/>
            </a:xfrm>
            <a:custGeom>
              <a:avLst/>
              <a:gdLst>
                <a:gd name="connsiteX0" fmla="*/ 1587 w 277812"/>
                <a:gd name="connsiteY0" fmla="*/ 41275 h 57809"/>
                <a:gd name="connsiteX1" fmla="*/ 11112 w 277812"/>
                <a:gd name="connsiteY1" fmla="*/ 34925 h 57809"/>
                <a:gd name="connsiteX2" fmla="*/ 20637 w 277812"/>
                <a:gd name="connsiteY2" fmla="*/ 25400 h 57809"/>
                <a:gd name="connsiteX3" fmla="*/ 30162 w 277812"/>
                <a:gd name="connsiteY3" fmla="*/ 22225 h 57809"/>
                <a:gd name="connsiteX4" fmla="*/ 80962 w 277812"/>
                <a:gd name="connsiteY4" fmla="*/ 28575 h 57809"/>
                <a:gd name="connsiteX5" fmla="*/ 90487 w 277812"/>
                <a:gd name="connsiteY5" fmla="*/ 31750 h 57809"/>
                <a:gd name="connsiteX6" fmla="*/ 131762 w 277812"/>
                <a:gd name="connsiteY6" fmla="*/ 22225 h 57809"/>
                <a:gd name="connsiteX7" fmla="*/ 141287 w 277812"/>
                <a:gd name="connsiteY7" fmla="*/ 19050 h 57809"/>
                <a:gd name="connsiteX8" fmla="*/ 150812 w 277812"/>
                <a:gd name="connsiteY8" fmla="*/ 15875 h 57809"/>
                <a:gd name="connsiteX9" fmla="*/ 198437 w 277812"/>
                <a:gd name="connsiteY9" fmla="*/ 19050 h 57809"/>
                <a:gd name="connsiteX10" fmla="*/ 223837 w 277812"/>
                <a:gd name="connsiteY10" fmla="*/ 9525 h 57809"/>
                <a:gd name="connsiteX11" fmla="*/ 233362 w 277812"/>
                <a:gd name="connsiteY11" fmla="*/ 3175 h 57809"/>
                <a:gd name="connsiteX12" fmla="*/ 242887 w 277812"/>
                <a:gd name="connsiteY12" fmla="*/ 0 h 57809"/>
                <a:gd name="connsiteX13" fmla="*/ 277812 w 277812"/>
                <a:gd name="connsiteY13" fmla="*/ 9525 h 57809"/>
                <a:gd name="connsiteX14" fmla="*/ 239712 w 277812"/>
                <a:gd name="connsiteY14" fmla="*/ 19050 h 57809"/>
                <a:gd name="connsiteX15" fmla="*/ 214312 w 277812"/>
                <a:gd name="connsiteY15" fmla="*/ 25400 h 57809"/>
                <a:gd name="connsiteX16" fmla="*/ 188912 w 277812"/>
                <a:gd name="connsiteY16" fmla="*/ 22225 h 57809"/>
                <a:gd name="connsiteX17" fmla="*/ 179387 w 277812"/>
                <a:gd name="connsiteY17" fmla="*/ 19050 h 57809"/>
                <a:gd name="connsiteX18" fmla="*/ 160337 w 277812"/>
                <a:gd name="connsiteY18" fmla="*/ 22225 h 57809"/>
                <a:gd name="connsiteX19" fmla="*/ 138112 w 277812"/>
                <a:gd name="connsiteY19" fmla="*/ 28575 h 57809"/>
                <a:gd name="connsiteX20" fmla="*/ 115887 w 277812"/>
                <a:gd name="connsiteY20" fmla="*/ 38100 h 57809"/>
                <a:gd name="connsiteX21" fmla="*/ 84137 w 277812"/>
                <a:gd name="connsiteY21" fmla="*/ 31750 h 57809"/>
                <a:gd name="connsiteX22" fmla="*/ 55562 w 277812"/>
                <a:gd name="connsiteY22" fmla="*/ 34925 h 57809"/>
                <a:gd name="connsiteX23" fmla="*/ 20637 w 277812"/>
                <a:gd name="connsiteY23" fmla="*/ 41275 h 57809"/>
                <a:gd name="connsiteX24" fmla="*/ 4762 w 277812"/>
                <a:gd name="connsiteY24" fmla="*/ 53975 h 57809"/>
                <a:gd name="connsiteX25" fmla="*/ 1587 w 277812"/>
                <a:gd name="connsiteY25" fmla="*/ 44450 h 57809"/>
                <a:gd name="connsiteX26" fmla="*/ 1587 w 277812"/>
                <a:gd name="connsiteY26" fmla="*/ 41275 h 5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7812" h="57809">
                  <a:moveTo>
                    <a:pt x="1587" y="41275"/>
                  </a:moveTo>
                  <a:cubicBezTo>
                    <a:pt x="3174" y="39688"/>
                    <a:pt x="8181" y="37368"/>
                    <a:pt x="11112" y="34925"/>
                  </a:cubicBezTo>
                  <a:cubicBezTo>
                    <a:pt x="14561" y="32050"/>
                    <a:pt x="16901" y="27891"/>
                    <a:pt x="20637" y="25400"/>
                  </a:cubicBezTo>
                  <a:cubicBezTo>
                    <a:pt x="23422" y="23544"/>
                    <a:pt x="26987" y="23283"/>
                    <a:pt x="30162" y="22225"/>
                  </a:cubicBezTo>
                  <a:cubicBezTo>
                    <a:pt x="46132" y="23822"/>
                    <a:pt x="64849" y="24994"/>
                    <a:pt x="80962" y="28575"/>
                  </a:cubicBezTo>
                  <a:cubicBezTo>
                    <a:pt x="84229" y="29301"/>
                    <a:pt x="87312" y="30692"/>
                    <a:pt x="90487" y="31750"/>
                  </a:cubicBezTo>
                  <a:cubicBezTo>
                    <a:pt x="119338" y="27628"/>
                    <a:pt x="105612" y="30942"/>
                    <a:pt x="131762" y="22225"/>
                  </a:cubicBezTo>
                  <a:lnTo>
                    <a:pt x="141287" y="19050"/>
                  </a:lnTo>
                  <a:lnTo>
                    <a:pt x="150812" y="15875"/>
                  </a:lnTo>
                  <a:cubicBezTo>
                    <a:pt x="166687" y="16933"/>
                    <a:pt x="182527" y="19050"/>
                    <a:pt x="198437" y="19050"/>
                  </a:cubicBezTo>
                  <a:cubicBezTo>
                    <a:pt x="206250" y="19050"/>
                    <a:pt x="217515" y="13138"/>
                    <a:pt x="223837" y="9525"/>
                  </a:cubicBezTo>
                  <a:cubicBezTo>
                    <a:pt x="227150" y="7632"/>
                    <a:pt x="229949" y="4882"/>
                    <a:pt x="233362" y="3175"/>
                  </a:cubicBezTo>
                  <a:cubicBezTo>
                    <a:pt x="236355" y="1678"/>
                    <a:pt x="239712" y="1058"/>
                    <a:pt x="242887" y="0"/>
                  </a:cubicBezTo>
                  <a:cubicBezTo>
                    <a:pt x="271534" y="7162"/>
                    <a:pt x="260008" y="3590"/>
                    <a:pt x="277812" y="9525"/>
                  </a:cubicBezTo>
                  <a:cubicBezTo>
                    <a:pt x="259532" y="21712"/>
                    <a:pt x="274041" y="14146"/>
                    <a:pt x="239712" y="19050"/>
                  </a:cubicBezTo>
                  <a:cubicBezTo>
                    <a:pt x="226302" y="20966"/>
                    <a:pt x="225392" y="21707"/>
                    <a:pt x="214312" y="25400"/>
                  </a:cubicBezTo>
                  <a:cubicBezTo>
                    <a:pt x="205845" y="24342"/>
                    <a:pt x="197307" y="23751"/>
                    <a:pt x="188912" y="22225"/>
                  </a:cubicBezTo>
                  <a:cubicBezTo>
                    <a:pt x="185619" y="21626"/>
                    <a:pt x="182734" y="19050"/>
                    <a:pt x="179387" y="19050"/>
                  </a:cubicBezTo>
                  <a:cubicBezTo>
                    <a:pt x="172949" y="19050"/>
                    <a:pt x="166650" y="20962"/>
                    <a:pt x="160337" y="22225"/>
                  </a:cubicBezTo>
                  <a:cubicBezTo>
                    <a:pt x="150370" y="24218"/>
                    <a:pt x="147190" y="25549"/>
                    <a:pt x="138112" y="28575"/>
                  </a:cubicBezTo>
                  <a:cubicBezTo>
                    <a:pt x="131202" y="33181"/>
                    <a:pt x="125146" y="38761"/>
                    <a:pt x="115887" y="38100"/>
                  </a:cubicBezTo>
                  <a:cubicBezTo>
                    <a:pt x="105122" y="37331"/>
                    <a:pt x="84137" y="31750"/>
                    <a:pt x="84137" y="31750"/>
                  </a:cubicBezTo>
                  <a:cubicBezTo>
                    <a:pt x="74612" y="32808"/>
                    <a:pt x="65062" y="33658"/>
                    <a:pt x="55562" y="34925"/>
                  </a:cubicBezTo>
                  <a:cubicBezTo>
                    <a:pt x="43375" y="36550"/>
                    <a:pt x="32609" y="38881"/>
                    <a:pt x="20637" y="41275"/>
                  </a:cubicBezTo>
                  <a:cubicBezTo>
                    <a:pt x="18675" y="44217"/>
                    <a:pt x="12430" y="57809"/>
                    <a:pt x="4762" y="53975"/>
                  </a:cubicBezTo>
                  <a:cubicBezTo>
                    <a:pt x="1769" y="52478"/>
                    <a:pt x="2399" y="47697"/>
                    <a:pt x="1587" y="44450"/>
                  </a:cubicBezTo>
                  <a:cubicBezTo>
                    <a:pt x="1330" y="43423"/>
                    <a:pt x="0" y="42862"/>
                    <a:pt x="1587" y="41275"/>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defTabSz="685800" eaLnBrk="0" fontAlgn="base" hangingPunct="0">
                <a:spcBef>
                  <a:spcPct val="50000"/>
                </a:spcBef>
                <a:spcAft>
                  <a:spcPct val="0"/>
                </a:spcAft>
                <a:buClrTx/>
              </a:pPr>
              <a:endParaRPr lang="en-US" sz="900" kern="1200">
                <a:latin typeface="Arial" charset="0"/>
                <a:ea typeface="+mn-ea"/>
                <a:cs typeface="+mn-cs"/>
              </a:endParaRPr>
            </a:p>
          </p:txBody>
        </p:sp>
        <p:sp>
          <p:nvSpPr>
            <p:cNvPr id="19" name="Freeform 18"/>
            <p:cNvSpPr/>
            <p:nvPr>
              <p:custDataLst>
                <p:tags r:id="rId9"/>
              </p:custDataLst>
            </p:nvPr>
          </p:nvSpPr>
          <p:spPr bwMode="gray">
            <a:xfrm>
              <a:off x="3519706" y="1828250"/>
              <a:ext cx="78535" cy="48175"/>
            </a:xfrm>
            <a:custGeom>
              <a:avLst/>
              <a:gdLst>
                <a:gd name="connsiteX0" fmla="*/ 3143 w 78535"/>
                <a:gd name="connsiteY0" fmla="*/ 6900 h 48175"/>
                <a:gd name="connsiteX1" fmla="*/ 22193 w 78535"/>
                <a:gd name="connsiteY1" fmla="*/ 3725 h 48175"/>
                <a:gd name="connsiteX2" fmla="*/ 31718 w 78535"/>
                <a:gd name="connsiteY2" fmla="*/ 550 h 48175"/>
                <a:gd name="connsiteX3" fmla="*/ 41243 w 78535"/>
                <a:gd name="connsiteY3" fmla="*/ 6900 h 48175"/>
                <a:gd name="connsiteX4" fmla="*/ 53943 w 78535"/>
                <a:gd name="connsiteY4" fmla="*/ 25950 h 48175"/>
                <a:gd name="connsiteX5" fmla="*/ 72993 w 78535"/>
                <a:gd name="connsiteY5" fmla="*/ 32300 h 48175"/>
                <a:gd name="connsiteX6" fmla="*/ 76168 w 78535"/>
                <a:gd name="connsiteY6" fmla="*/ 41825 h 48175"/>
                <a:gd name="connsiteX7" fmla="*/ 57118 w 78535"/>
                <a:gd name="connsiteY7" fmla="*/ 48175 h 48175"/>
                <a:gd name="connsiteX8" fmla="*/ 44418 w 78535"/>
                <a:gd name="connsiteY8" fmla="*/ 35475 h 48175"/>
                <a:gd name="connsiteX9" fmla="*/ 25368 w 78535"/>
                <a:gd name="connsiteY9" fmla="*/ 19600 h 48175"/>
                <a:gd name="connsiteX10" fmla="*/ 3143 w 78535"/>
                <a:gd name="connsiteY10" fmla="*/ 6900 h 4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535" h="48175">
                  <a:moveTo>
                    <a:pt x="3143" y="6900"/>
                  </a:moveTo>
                  <a:cubicBezTo>
                    <a:pt x="2614" y="4254"/>
                    <a:pt x="15909" y="5122"/>
                    <a:pt x="22193" y="3725"/>
                  </a:cubicBezTo>
                  <a:cubicBezTo>
                    <a:pt x="25460" y="2999"/>
                    <a:pt x="28417" y="0"/>
                    <a:pt x="31718" y="550"/>
                  </a:cubicBezTo>
                  <a:cubicBezTo>
                    <a:pt x="35482" y="1177"/>
                    <a:pt x="38068" y="4783"/>
                    <a:pt x="41243" y="6900"/>
                  </a:cubicBezTo>
                  <a:cubicBezTo>
                    <a:pt x="44226" y="15850"/>
                    <a:pt x="44214" y="20545"/>
                    <a:pt x="53943" y="25950"/>
                  </a:cubicBezTo>
                  <a:cubicBezTo>
                    <a:pt x="59794" y="29201"/>
                    <a:pt x="72993" y="32300"/>
                    <a:pt x="72993" y="32300"/>
                  </a:cubicBezTo>
                  <a:cubicBezTo>
                    <a:pt x="74051" y="35475"/>
                    <a:pt x="78535" y="39458"/>
                    <a:pt x="76168" y="41825"/>
                  </a:cubicBezTo>
                  <a:cubicBezTo>
                    <a:pt x="71435" y="46558"/>
                    <a:pt x="57118" y="48175"/>
                    <a:pt x="57118" y="48175"/>
                  </a:cubicBezTo>
                  <a:cubicBezTo>
                    <a:pt x="51070" y="30032"/>
                    <a:pt x="58932" y="45151"/>
                    <a:pt x="44418" y="35475"/>
                  </a:cubicBezTo>
                  <a:cubicBezTo>
                    <a:pt x="36687" y="30321"/>
                    <a:pt x="34811" y="22433"/>
                    <a:pt x="25368" y="19600"/>
                  </a:cubicBezTo>
                  <a:cubicBezTo>
                    <a:pt x="0" y="11990"/>
                    <a:pt x="3672" y="9546"/>
                    <a:pt x="3143" y="6900"/>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defTabSz="685800" eaLnBrk="0" fontAlgn="base" hangingPunct="0">
                <a:spcBef>
                  <a:spcPct val="50000"/>
                </a:spcBef>
                <a:spcAft>
                  <a:spcPct val="0"/>
                </a:spcAft>
                <a:buClrTx/>
              </a:pPr>
              <a:endParaRPr lang="en-US" sz="900" kern="1200">
                <a:latin typeface="Arial" charset="0"/>
                <a:ea typeface="+mn-ea"/>
                <a:cs typeface="+mn-cs"/>
              </a:endParaRPr>
            </a:p>
          </p:txBody>
        </p:sp>
        <p:sp>
          <p:nvSpPr>
            <p:cNvPr id="20" name="Freeform 19"/>
            <p:cNvSpPr/>
            <p:nvPr>
              <p:custDataLst>
                <p:tags r:id="rId10"/>
              </p:custDataLst>
            </p:nvPr>
          </p:nvSpPr>
          <p:spPr bwMode="gray">
            <a:xfrm>
              <a:off x="3827385" y="1099212"/>
              <a:ext cx="1048488" cy="1100441"/>
            </a:xfrm>
            <a:custGeom>
              <a:avLst/>
              <a:gdLst>
                <a:gd name="connsiteX0" fmla="*/ 178064 w 1048488"/>
                <a:gd name="connsiteY0" fmla="*/ 724826 h 1100441"/>
                <a:gd name="connsiteX1" fmla="*/ 154252 w 1048488"/>
                <a:gd name="connsiteY1" fmla="*/ 705776 h 1100441"/>
                <a:gd name="connsiteX2" fmla="*/ 125677 w 1048488"/>
                <a:gd name="connsiteY2" fmla="*/ 686726 h 1100441"/>
                <a:gd name="connsiteX3" fmla="*/ 116152 w 1048488"/>
                <a:gd name="connsiteY3" fmla="*/ 672438 h 1100441"/>
                <a:gd name="connsiteX4" fmla="*/ 116152 w 1048488"/>
                <a:gd name="connsiteY4" fmla="*/ 620051 h 1100441"/>
                <a:gd name="connsiteX5" fmla="*/ 130439 w 1048488"/>
                <a:gd name="connsiteY5" fmla="*/ 615288 h 1100441"/>
                <a:gd name="connsiteX6" fmla="*/ 159014 w 1048488"/>
                <a:gd name="connsiteY6" fmla="*/ 620051 h 1100441"/>
                <a:gd name="connsiteX7" fmla="*/ 168539 w 1048488"/>
                <a:gd name="connsiteY7" fmla="*/ 596238 h 1100441"/>
                <a:gd name="connsiteX8" fmla="*/ 154252 w 1048488"/>
                <a:gd name="connsiteY8" fmla="*/ 581951 h 1100441"/>
                <a:gd name="connsiteX9" fmla="*/ 135202 w 1048488"/>
                <a:gd name="connsiteY9" fmla="*/ 558138 h 1100441"/>
                <a:gd name="connsiteX10" fmla="*/ 106627 w 1048488"/>
                <a:gd name="connsiteY10" fmla="*/ 548613 h 1100441"/>
                <a:gd name="connsiteX11" fmla="*/ 111389 w 1048488"/>
                <a:gd name="connsiteY11" fmla="*/ 486701 h 1100441"/>
                <a:gd name="connsiteX12" fmla="*/ 111389 w 1048488"/>
                <a:gd name="connsiteY12" fmla="*/ 453363 h 1100441"/>
                <a:gd name="connsiteX13" fmla="*/ 97102 w 1048488"/>
                <a:gd name="connsiteY13" fmla="*/ 443838 h 1100441"/>
                <a:gd name="connsiteX14" fmla="*/ 63764 w 1048488"/>
                <a:gd name="connsiteY14" fmla="*/ 448601 h 1100441"/>
                <a:gd name="connsiteX15" fmla="*/ 35189 w 1048488"/>
                <a:gd name="connsiteY15" fmla="*/ 458126 h 1100441"/>
                <a:gd name="connsiteX16" fmla="*/ 20902 w 1048488"/>
                <a:gd name="connsiteY16" fmla="*/ 448601 h 1100441"/>
                <a:gd name="connsiteX17" fmla="*/ 16139 w 1048488"/>
                <a:gd name="connsiteY17" fmla="*/ 396213 h 1100441"/>
                <a:gd name="connsiteX18" fmla="*/ 59002 w 1048488"/>
                <a:gd name="connsiteY18" fmla="*/ 391451 h 1100441"/>
                <a:gd name="connsiteX19" fmla="*/ 54239 w 1048488"/>
                <a:gd name="connsiteY19" fmla="*/ 372401 h 1100441"/>
                <a:gd name="connsiteX20" fmla="*/ 68527 w 1048488"/>
                <a:gd name="connsiteY20" fmla="*/ 362876 h 1100441"/>
                <a:gd name="connsiteX21" fmla="*/ 144727 w 1048488"/>
                <a:gd name="connsiteY21" fmla="*/ 358113 h 1100441"/>
                <a:gd name="connsiteX22" fmla="*/ 168539 w 1048488"/>
                <a:gd name="connsiteY22" fmla="*/ 329538 h 1100441"/>
                <a:gd name="connsiteX23" fmla="*/ 178064 w 1048488"/>
                <a:gd name="connsiteY23" fmla="*/ 300963 h 1100441"/>
                <a:gd name="connsiteX24" fmla="*/ 173302 w 1048488"/>
                <a:gd name="connsiteY24" fmla="*/ 267626 h 1100441"/>
                <a:gd name="connsiteX25" fmla="*/ 149489 w 1048488"/>
                <a:gd name="connsiteY25" fmla="*/ 239051 h 1100441"/>
                <a:gd name="connsiteX26" fmla="*/ 125677 w 1048488"/>
                <a:gd name="connsiteY26" fmla="*/ 215238 h 1100441"/>
                <a:gd name="connsiteX27" fmla="*/ 116152 w 1048488"/>
                <a:gd name="connsiteY27" fmla="*/ 200951 h 1100441"/>
                <a:gd name="connsiteX28" fmla="*/ 101864 w 1048488"/>
                <a:gd name="connsiteY28" fmla="*/ 186663 h 1100441"/>
                <a:gd name="connsiteX29" fmla="*/ 97102 w 1048488"/>
                <a:gd name="connsiteY29" fmla="*/ 172376 h 1100441"/>
                <a:gd name="connsiteX30" fmla="*/ 73289 w 1048488"/>
                <a:gd name="connsiteY30" fmla="*/ 148563 h 1100441"/>
                <a:gd name="connsiteX31" fmla="*/ 63764 w 1048488"/>
                <a:gd name="connsiteY31" fmla="*/ 119988 h 1100441"/>
                <a:gd name="connsiteX32" fmla="*/ 54239 w 1048488"/>
                <a:gd name="connsiteY32" fmla="*/ 81888 h 1100441"/>
                <a:gd name="connsiteX33" fmla="*/ 39952 w 1048488"/>
                <a:gd name="connsiteY33" fmla="*/ 67601 h 1100441"/>
                <a:gd name="connsiteX34" fmla="*/ 30427 w 1048488"/>
                <a:gd name="connsiteY34" fmla="*/ 53313 h 1100441"/>
                <a:gd name="connsiteX35" fmla="*/ 49477 w 1048488"/>
                <a:gd name="connsiteY35" fmla="*/ 926 h 1100441"/>
                <a:gd name="connsiteX36" fmla="*/ 68527 w 1048488"/>
                <a:gd name="connsiteY36" fmla="*/ 5688 h 1100441"/>
                <a:gd name="connsiteX37" fmla="*/ 120914 w 1048488"/>
                <a:gd name="connsiteY37" fmla="*/ 10451 h 1100441"/>
                <a:gd name="connsiteX38" fmla="*/ 159014 w 1048488"/>
                <a:gd name="connsiteY38" fmla="*/ 15213 h 1100441"/>
                <a:gd name="connsiteX39" fmla="*/ 187589 w 1048488"/>
                <a:gd name="connsiteY39" fmla="*/ 24738 h 1100441"/>
                <a:gd name="connsiteX40" fmla="*/ 201877 w 1048488"/>
                <a:gd name="connsiteY40" fmla="*/ 34263 h 1100441"/>
                <a:gd name="connsiteX41" fmla="*/ 268552 w 1048488"/>
                <a:gd name="connsiteY41" fmla="*/ 43788 h 1100441"/>
                <a:gd name="connsiteX42" fmla="*/ 282839 w 1048488"/>
                <a:gd name="connsiteY42" fmla="*/ 53313 h 1100441"/>
                <a:gd name="connsiteX43" fmla="*/ 287602 w 1048488"/>
                <a:gd name="connsiteY43" fmla="*/ 67601 h 1100441"/>
                <a:gd name="connsiteX44" fmla="*/ 297127 w 1048488"/>
                <a:gd name="connsiteY44" fmla="*/ 81888 h 1100441"/>
                <a:gd name="connsiteX45" fmla="*/ 330464 w 1048488"/>
                <a:gd name="connsiteY45" fmla="*/ 77126 h 1100441"/>
                <a:gd name="connsiteX46" fmla="*/ 339989 w 1048488"/>
                <a:gd name="connsiteY46" fmla="*/ 62838 h 1100441"/>
                <a:gd name="connsiteX47" fmla="*/ 373327 w 1048488"/>
                <a:gd name="connsiteY47" fmla="*/ 58076 h 1100441"/>
                <a:gd name="connsiteX48" fmla="*/ 387614 w 1048488"/>
                <a:gd name="connsiteY48" fmla="*/ 48551 h 1100441"/>
                <a:gd name="connsiteX49" fmla="*/ 401902 w 1048488"/>
                <a:gd name="connsiteY49" fmla="*/ 34263 h 1100441"/>
                <a:gd name="connsiteX50" fmla="*/ 430477 w 1048488"/>
                <a:gd name="connsiteY50" fmla="*/ 24738 h 1100441"/>
                <a:gd name="connsiteX51" fmla="*/ 440002 w 1048488"/>
                <a:gd name="connsiteY51" fmla="*/ 39026 h 1100441"/>
                <a:gd name="connsiteX52" fmla="*/ 444764 w 1048488"/>
                <a:gd name="connsiteY52" fmla="*/ 58076 h 1100441"/>
                <a:gd name="connsiteX53" fmla="*/ 459052 w 1048488"/>
                <a:gd name="connsiteY53" fmla="*/ 62838 h 1100441"/>
                <a:gd name="connsiteX54" fmla="*/ 468577 w 1048488"/>
                <a:gd name="connsiteY54" fmla="*/ 77126 h 1100441"/>
                <a:gd name="connsiteX55" fmla="*/ 482864 w 1048488"/>
                <a:gd name="connsiteY55" fmla="*/ 81888 h 1100441"/>
                <a:gd name="connsiteX56" fmla="*/ 511439 w 1048488"/>
                <a:gd name="connsiteY56" fmla="*/ 96176 h 1100441"/>
                <a:gd name="connsiteX57" fmla="*/ 535252 w 1048488"/>
                <a:gd name="connsiteY57" fmla="*/ 119988 h 1100441"/>
                <a:gd name="connsiteX58" fmla="*/ 544777 w 1048488"/>
                <a:gd name="connsiteY58" fmla="*/ 105701 h 1100441"/>
                <a:gd name="connsiteX59" fmla="*/ 559064 w 1048488"/>
                <a:gd name="connsiteY59" fmla="*/ 96176 h 1100441"/>
                <a:gd name="connsiteX60" fmla="*/ 573352 w 1048488"/>
                <a:gd name="connsiteY60" fmla="*/ 100938 h 1100441"/>
                <a:gd name="connsiteX61" fmla="*/ 582877 w 1048488"/>
                <a:gd name="connsiteY61" fmla="*/ 115226 h 1100441"/>
                <a:gd name="connsiteX62" fmla="*/ 592402 w 1048488"/>
                <a:gd name="connsiteY62" fmla="*/ 148563 h 1100441"/>
                <a:gd name="connsiteX63" fmla="*/ 597164 w 1048488"/>
                <a:gd name="connsiteY63" fmla="*/ 162851 h 1100441"/>
                <a:gd name="connsiteX64" fmla="*/ 606689 w 1048488"/>
                <a:gd name="connsiteY64" fmla="*/ 220001 h 1100441"/>
                <a:gd name="connsiteX65" fmla="*/ 601927 w 1048488"/>
                <a:gd name="connsiteY65" fmla="*/ 253338 h 1100441"/>
                <a:gd name="connsiteX66" fmla="*/ 582877 w 1048488"/>
                <a:gd name="connsiteY66" fmla="*/ 281913 h 1100441"/>
                <a:gd name="connsiteX67" fmla="*/ 573352 w 1048488"/>
                <a:gd name="connsiteY67" fmla="*/ 296201 h 1100441"/>
                <a:gd name="connsiteX68" fmla="*/ 544777 w 1048488"/>
                <a:gd name="connsiteY68" fmla="*/ 305726 h 1100441"/>
                <a:gd name="connsiteX69" fmla="*/ 530489 w 1048488"/>
                <a:gd name="connsiteY69" fmla="*/ 315251 h 1100441"/>
                <a:gd name="connsiteX70" fmla="*/ 525727 w 1048488"/>
                <a:gd name="connsiteY70" fmla="*/ 329538 h 1100441"/>
                <a:gd name="connsiteX71" fmla="*/ 563827 w 1048488"/>
                <a:gd name="connsiteY71" fmla="*/ 329538 h 1100441"/>
                <a:gd name="connsiteX72" fmla="*/ 578114 w 1048488"/>
                <a:gd name="connsiteY72" fmla="*/ 320013 h 1100441"/>
                <a:gd name="connsiteX73" fmla="*/ 606689 w 1048488"/>
                <a:gd name="connsiteY73" fmla="*/ 310488 h 1100441"/>
                <a:gd name="connsiteX74" fmla="*/ 649552 w 1048488"/>
                <a:gd name="connsiteY74" fmla="*/ 315251 h 1100441"/>
                <a:gd name="connsiteX75" fmla="*/ 659077 w 1048488"/>
                <a:gd name="connsiteY75" fmla="*/ 329538 h 1100441"/>
                <a:gd name="connsiteX76" fmla="*/ 668602 w 1048488"/>
                <a:gd name="connsiteY76" fmla="*/ 367638 h 1100441"/>
                <a:gd name="connsiteX77" fmla="*/ 682889 w 1048488"/>
                <a:gd name="connsiteY77" fmla="*/ 358113 h 1100441"/>
                <a:gd name="connsiteX78" fmla="*/ 711464 w 1048488"/>
                <a:gd name="connsiteY78" fmla="*/ 343826 h 1100441"/>
                <a:gd name="connsiteX79" fmla="*/ 749564 w 1048488"/>
                <a:gd name="connsiteY79" fmla="*/ 348588 h 1100441"/>
                <a:gd name="connsiteX80" fmla="*/ 778139 w 1048488"/>
                <a:gd name="connsiteY80" fmla="*/ 367638 h 1100441"/>
                <a:gd name="connsiteX81" fmla="*/ 792427 w 1048488"/>
                <a:gd name="connsiteY81" fmla="*/ 377163 h 1100441"/>
                <a:gd name="connsiteX82" fmla="*/ 806714 w 1048488"/>
                <a:gd name="connsiteY82" fmla="*/ 391451 h 1100441"/>
                <a:gd name="connsiteX83" fmla="*/ 840052 w 1048488"/>
                <a:gd name="connsiteY83" fmla="*/ 405738 h 1100441"/>
                <a:gd name="connsiteX84" fmla="*/ 868627 w 1048488"/>
                <a:gd name="connsiteY84" fmla="*/ 424788 h 1100441"/>
                <a:gd name="connsiteX85" fmla="*/ 882914 w 1048488"/>
                <a:gd name="connsiteY85" fmla="*/ 434313 h 1100441"/>
                <a:gd name="connsiteX86" fmla="*/ 897202 w 1048488"/>
                <a:gd name="connsiteY86" fmla="*/ 439076 h 1100441"/>
                <a:gd name="connsiteX87" fmla="*/ 925777 w 1048488"/>
                <a:gd name="connsiteY87" fmla="*/ 424788 h 1100441"/>
                <a:gd name="connsiteX88" fmla="*/ 935302 w 1048488"/>
                <a:gd name="connsiteY88" fmla="*/ 410501 h 1100441"/>
                <a:gd name="connsiteX89" fmla="*/ 963877 w 1048488"/>
                <a:gd name="connsiteY89" fmla="*/ 391451 h 1100441"/>
                <a:gd name="connsiteX90" fmla="*/ 992452 w 1048488"/>
                <a:gd name="connsiteY90" fmla="*/ 377163 h 1100441"/>
                <a:gd name="connsiteX91" fmla="*/ 1016264 w 1048488"/>
                <a:gd name="connsiteY91" fmla="*/ 381926 h 1100441"/>
                <a:gd name="connsiteX92" fmla="*/ 1030552 w 1048488"/>
                <a:gd name="connsiteY92" fmla="*/ 386688 h 1100441"/>
                <a:gd name="connsiteX93" fmla="*/ 1035314 w 1048488"/>
                <a:gd name="connsiteY93" fmla="*/ 400976 h 1100441"/>
                <a:gd name="connsiteX94" fmla="*/ 1040077 w 1048488"/>
                <a:gd name="connsiteY94" fmla="*/ 448601 h 1100441"/>
                <a:gd name="connsiteX95" fmla="*/ 1040077 w 1048488"/>
                <a:gd name="connsiteY95" fmla="*/ 515276 h 1100441"/>
                <a:gd name="connsiteX96" fmla="*/ 1035314 w 1048488"/>
                <a:gd name="connsiteY96" fmla="*/ 529563 h 1100441"/>
                <a:gd name="connsiteX97" fmla="*/ 1006739 w 1048488"/>
                <a:gd name="connsiteY97" fmla="*/ 553376 h 1100441"/>
                <a:gd name="connsiteX98" fmla="*/ 997214 w 1048488"/>
                <a:gd name="connsiteY98" fmla="*/ 567663 h 1100441"/>
                <a:gd name="connsiteX99" fmla="*/ 954352 w 1048488"/>
                <a:gd name="connsiteY99" fmla="*/ 591476 h 1100441"/>
                <a:gd name="connsiteX100" fmla="*/ 925777 w 1048488"/>
                <a:gd name="connsiteY100" fmla="*/ 572426 h 1100441"/>
                <a:gd name="connsiteX101" fmla="*/ 916252 w 1048488"/>
                <a:gd name="connsiteY101" fmla="*/ 601001 h 1100441"/>
                <a:gd name="connsiteX102" fmla="*/ 921014 w 1048488"/>
                <a:gd name="connsiteY102" fmla="*/ 639101 h 1100441"/>
                <a:gd name="connsiteX103" fmla="*/ 935302 w 1048488"/>
                <a:gd name="connsiteY103" fmla="*/ 643863 h 1100441"/>
                <a:gd name="connsiteX104" fmla="*/ 963877 w 1048488"/>
                <a:gd name="connsiteY104" fmla="*/ 667676 h 1100441"/>
                <a:gd name="connsiteX105" fmla="*/ 949589 w 1048488"/>
                <a:gd name="connsiteY105" fmla="*/ 710538 h 1100441"/>
                <a:gd name="connsiteX106" fmla="*/ 921014 w 1048488"/>
                <a:gd name="connsiteY106" fmla="*/ 729588 h 1100441"/>
                <a:gd name="connsiteX107" fmla="*/ 916252 w 1048488"/>
                <a:gd name="connsiteY107" fmla="*/ 743876 h 1100441"/>
                <a:gd name="connsiteX108" fmla="*/ 901964 w 1048488"/>
                <a:gd name="connsiteY108" fmla="*/ 772451 h 1100441"/>
                <a:gd name="connsiteX109" fmla="*/ 906727 w 1048488"/>
                <a:gd name="connsiteY109" fmla="*/ 801026 h 1100441"/>
                <a:gd name="connsiteX110" fmla="*/ 911489 w 1048488"/>
                <a:gd name="connsiteY110" fmla="*/ 820076 h 1100441"/>
                <a:gd name="connsiteX111" fmla="*/ 916252 w 1048488"/>
                <a:gd name="connsiteY111" fmla="*/ 848651 h 1100441"/>
                <a:gd name="connsiteX112" fmla="*/ 968639 w 1048488"/>
                <a:gd name="connsiteY112" fmla="*/ 862938 h 1100441"/>
                <a:gd name="connsiteX113" fmla="*/ 982927 w 1048488"/>
                <a:gd name="connsiteY113" fmla="*/ 872463 h 1100441"/>
                <a:gd name="connsiteX114" fmla="*/ 978164 w 1048488"/>
                <a:gd name="connsiteY114" fmla="*/ 915326 h 1100441"/>
                <a:gd name="connsiteX115" fmla="*/ 968639 w 1048488"/>
                <a:gd name="connsiteY115" fmla="*/ 943901 h 1100441"/>
                <a:gd name="connsiteX116" fmla="*/ 954352 w 1048488"/>
                <a:gd name="connsiteY116" fmla="*/ 953426 h 1100441"/>
                <a:gd name="connsiteX117" fmla="*/ 935302 w 1048488"/>
                <a:gd name="connsiteY117" fmla="*/ 977238 h 1100441"/>
                <a:gd name="connsiteX118" fmla="*/ 906727 w 1048488"/>
                <a:gd name="connsiteY118" fmla="*/ 1005813 h 1100441"/>
                <a:gd name="connsiteX119" fmla="*/ 897202 w 1048488"/>
                <a:gd name="connsiteY119" fmla="*/ 1020101 h 1100441"/>
                <a:gd name="connsiteX120" fmla="*/ 868627 w 1048488"/>
                <a:gd name="connsiteY120" fmla="*/ 1043913 h 1100441"/>
                <a:gd name="connsiteX121" fmla="*/ 849577 w 1048488"/>
                <a:gd name="connsiteY121" fmla="*/ 1072488 h 1100441"/>
                <a:gd name="connsiteX122" fmla="*/ 844814 w 1048488"/>
                <a:gd name="connsiteY122" fmla="*/ 1086776 h 1100441"/>
                <a:gd name="connsiteX123" fmla="*/ 830527 w 1048488"/>
                <a:gd name="connsiteY123" fmla="*/ 1096301 h 1100441"/>
                <a:gd name="connsiteX124" fmla="*/ 797189 w 1048488"/>
                <a:gd name="connsiteY124" fmla="*/ 1086776 h 1100441"/>
                <a:gd name="connsiteX125" fmla="*/ 754327 w 1048488"/>
                <a:gd name="connsiteY125" fmla="*/ 1077251 h 1100441"/>
                <a:gd name="connsiteX126" fmla="*/ 725752 w 1048488"/>
                <a:gd name="connsiteY126" fmla="*/ 1053438 h 1100441"/>
                <a:gd name="connsiteX127" fmla="*/ 711464 w 1048488"/>
                <a:gd name="connsiteY127" fmla="*/ 1048676 h 1100441"/>
                <a:gd name="connsiteX128" fmla="*/ 701939 w 1048488"/>
                <a:gd name="connsiteY128" fmla="*/ 1034388 h 1100441"/>
                <a:gd name="connsiteX129" fmla="*/ 697177 w 1048488"/>
                <a:gd name="connsiteY129" fmla="*/ 1020101 h 1100441"/>
                <a:gd name="connsiteX130" fmla="*/ 678127 w 1048488"/>
                <a:gd name="connsiteY130" fmla="*/ 991526 h 1100441"/>
                <a:gd name="connsiteX131" fmla="*/ 668602 w 1048488"/>
                <a:gd name="connsiteY131" fmla="*/ 977238 h 1100441"/>
                <a:gd name="connsiteX132" fmla="*/ 659077 w 1048488"/>
                <a:gd name="connsiteY132" fmla="*/ 962951 h 1100441"/>
                <a:gd name="connsiteX133" fmla="*/ 682889 w 1048488"/>
                <a:gd name="connsiteY133" fmla="*/ 920088 h 1100441"/>
                <a:gd name="connsiteX134" fmla="*/ 678127 w 1048488"/>
                <a:gd name="connsiteY134" fmla="*/ 896276 h 1100441"/>
                <a:gd name="connsiteX135" fmla="*/ 673364 w 1048488"/>
                <a:gd name="connsiteY135" fmla="*/ 881988 h 1100441"/>
                <a:gd name="connsiteX136" fmla="*/ 668602 w 1048488"/>
                <a:gd name="connsiteY136" fmla="*/ 839126 h 1100441"/>
                <a:gd name="connsiteX137" fmla="*/ 654314 w 1048488"/>
                <a:gd name="connsiteY137" fmla="*/ 834363 h 1100441"/>
                <a:gd name="connsiteX138" fmla="*/ 625739 w 1048488"/>
                <a:gd name="connsiteY138" fmla="*/ 848651 h 1100441"/>
                <a:gd name="connsiteX139" fmla="*/ 616214 w 1048488"/>
                <a:gd name="connsiteY139" fmla="*/ 862938 h 1100441"/>
                <a:gd name="connsiteX140" fmla="*/ 611452 w 1048488"/>
                <a:gd name="connsiteY140" fmla="*/ 877226 h 1100441"/>
                <a:gd name="connsiteX141" fmla="*/ 597164 w 1048488"/>
                <a:gd name="connsiteY141" fmla="*/ 886751 h 1100441"/>
                <a:gd name="connsiteX142" fmla="*/ 549539 w 1048488"/>
                <a:gd name="connsiteY142" fmla="*/ 896276 h 1100441"/>
                <a:gd name="connsiteX143" fmla="*/ 544777 w 1048488"/>
                <a:gd name="connsiteY143" fmla="*/ 910563 h 1100441"/>
                <a:gd name="connsiteX144" fmla="*/ 540014 w 1048488"/>
                <a:gd name="connsiteY144" fmla="*/ 929613 h 1100441"/>
                <a:gd name="connsiteX145" fmla="*/ 525727 w 1048488"/>
                <a:gd name="connsiteY145" fmla="*/ 939138 h 1100441"/>
                <a:gd name="connsiteX146" fmla="*/ 506677 w 1048488"/>
                <a:gd name="connsiteY146" fmla="*/ 920088 h 1100441"/>
                <a:gd name="connsiteX147" fmla="*/ 492389 w 1048488"/>
                <a:gd name="connsiteY147" fmla="*/ 915326 h 1100441"/>
                <a:gd name="connsiteX148" fmla="*/ 478102 w 1048488"/>
                <a:gd name="connsiteY148" fmla="*/ 929613 h 1100441"/>
                <a:gd name="connsiteX149" fmla="*/ 473339 w 1048488"/>
                <a:gd name="connsiteY149" fmla="*/ 943901 h 1100441"/>
                <a:gd name="connsiteX150" fmla="*/ 459052 w 1048488"/>
                <a:gd name="connsiteY150" fmla="*/ 948663 h 1100441"/>
                <a:gd name="connsiteX151" fmla="*/ 416189 w 1048488"/>
                <a:gd name="connsiteY151" fmla="*/ 929613 h 1100441"/>
                <a:gd name="connsiteX152" fmla="*/ 401902 w 1048488"/>
                <a:gd name="connsiteY152" fmla="*/ 920088 h 1100441"/>
                <a:gd name="connsiteX153" fmla="*/ 387614 w 1048488"/>
                <a:gd name="connsiteY153" fmla="*/ 891513 h 1100441"/>
                <a:gd name="connsiteX154" fmla="*/ 382852 w 1048488"/>
                <a:gd name="connsiteY154" fmla="*/ 877226 h 1100441"/>
                <a:gd name="connsiteX155" fmla="*/ 359039 w 1048488"/>
                <a:gd name="connsiteY155" fmla="*/ 815313 h 1100441"/>
                <a:gd name="connsiteX156" fmla="*/ 349514 w 1048488"/>
                <a:gd name="connsiteY156" fmla="*/ 801026 h 1100441"/>
                <a:gd name="connsiteX157" fmla="*/ 330464 w 1048488"/>
                <a:gd name="connsiteY157" fmla="*/ 758163 h 1100441"/>
                <a:gd name="connsiteX158" fmla="*/ 273314 w 1048488"/>
                <a:gd name="connsiteY158" fmla="*/ 729588 h 1100441"/>
                <a:gd name="connsiteX159" fmla="*/ 259027 w 1048488"/>
                <a:gd name="connsiteY159" fmla="*/ 724826 h 1100441"/>
                <a:gd name="connsiteX160" fmla="*/ 244739 w 1048488"/>
                <a:gd name="connsiteY160" fmla="*/ 720063 h 1100441"/>
                <a:gd name="connsiteX161" fmla="*/ 178064 w 1048488"/>
                <a:gd name="connsiteY161" fmla="*/ 724826 h 110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1048488" h="1100441">
                  <a:moveTo>
                    <a:pt x="178064" y="724826"/>
                  </a:moveTo>
                  <a:cubicBezTo>
                    <a:pt x="156761" y="692871"/>
                    <a:pt x="181856" y="724179"/>
                    <a:pt x="154252" y="705776"/>
                  </a:cubicBezTo>
                  <a:cubicBezTo>
                    <a:pt x="118578" y="681993"/>
                    <a:pt x="159647" y="698049"/>
                    <a:pt x="125677" y="686726"/>
                  </a:cubicBezTo>
                  <a:cubicBezTo>
                    <a:pt x="122502" y="681963"/>
                    <a:pt x="118712" y="677558"/>
                    <a:pt x="116152" y="672438"/>
                  </a:cubicBezTo>
                  <a:cubicBezTo>
                    <a:pt x="108126" y="656387"/>
                    <a:pt x="108765" y="636673"/>
                    <a:pt x="116152" y="620051"/>
                  </a:cubicBezTo>
                  <a:cubicBezTo>
                    <a:pt x="118191" y="615464"/>
                    <a:pt x="125677" y="616876"/>
                    <a:pt x="130439" y="615288"/>
                  </a:cubicBezTo>
                  <a:cubicBezTo>
                    <a:pt x="139964" y="616876"/>
                    <a:pt x="149417" y="621117"/>
                    <a:pt x="159014" y="620051"/>
                  </a:cubicBezTo>
                  <a:cubicBezTo>
                    <a:pt x="176870" y="618067"/>
                    <a:pt x="175647" y="606900"/>
                    <a:pt x="168539" y="596238"/>
                  </a:cubicBezTo>
                  <a:cubicBezTo>
                    <a:pt x="164803" y="590634"/>
                    <a:pt x="159014" y="586713"/>
                    <a:pt x="154252" y="581951"/>
                  </a:cubicBezTo>
                  <a:cubicBezTo>
                    <a:pt x="149087" y="566458"/>
                    <a:pt x="152060" y="565631"/>
                    <a:pt x="135202" y="558138"/>
                  </a:cubicBezTo>
                  <a:cubicBezTo>
                    <a:pt x="126027" y="554060"/>
                    <a:pt x="106627" y="548613"/>
                    <a:pt x="106627" y="548613"/>
                  </a:cubicBezTo>
                  <a:cubicBezTo>
                    <a:pt x="108214" y="527976"/>
                    <a:pt x="108971" y="507258"/>
                    <a:pt x="111389" y="486701"/>
                  </a:cubicBezTo>
                  <a:cubicBezTo>
                    <a:pt x="113010" y="472920"/>
                    <a:pt x="121566" y="466084"/>
                    <a:pt x="111389" y="453363"/>
                  </a:cubicBezTo>
                  <a:cubicBezTo>
                    <a:pt x="107813" y="448894"/>
                    <a:pt x="101864" y="447013"/>
                    <a:pt x="97102" y="443838"/>
                  </a:cubicBezTo>
                  <a:cubicBezTo>
                    <a:pt x="85989" y="445426"/>
                    <a:pt x="74702" y="446077"/>
                    <a:pt x="63764" y="448601"/>
                  </a:cubicBezTo>
                  <a:cubicBezTo>
                    <a:pt x="53981" y="450859"/>
                    <a:pt x="35189" y="458126"/>
                    <a:pt x="35189" y="458126"/>
                  </a:cubicBezTo>
                  <a:cubicBezTo>
                    <a:pt x="30427" y="454951"/>
                    <a:pt x="24949" y="452648"/>
                    <a:pt x="20902" y="448601"/>
                  </a:cubicBezTo>
                  <a:cubicBezTo>
                    <a:pt x="9048" y="436747"/>
                    <a:pt x="0" y="410738"/>
                    <a:pt x="16139" y="396213"/>
                  </a:cubicBezTo>
                  <a:cubicBezTo>
                    <a:pt x="26824" y="386596"/>
                    <a:pt x="44714" y="393038"/>
                    <a:pt x="59002" y="391451"/>
                  </a:cubicBezTo>
                  <a:cubicBezTo>
                    <a:pt x="57414" y="385101"/>
                    <a:pt x="52169" y="378611"/>
                    <a:pt x="54239" y="372401"/>
                  </a:cubicBezTo>
                  <a:cubicBezTo>
                    <a:pt x="56049" y="366971"/>
                    <a:pt x="62873" y="363769"/>
                    <a:pt x="68527" y="362876"/>
                  </a:cubicBezTo>
                  <a:cubicBezTo>
                    <a:pt x="93665" y="358907"/>
                    <a:pt x="119327" y="359701"/>
                    <a:pt x="144727" y="358113"/>
                  </a:cubicBezTo>
                  <a:cubicBezTo>
                    <a:pt x="153700" y="349140"/>
                    <a:pt x="163234" y="341474"/>
                    <a:pt x="168539" y="329538"/>
                  </a:cubicBezTo>
                  <a:cubicBezTo>
                    <a:pt x="172617" y="320363"/>
                    <a:pt x="178064" y="300963"/>
                    <a:pt x="178064" y="300963"/>
                  </a:cubicBezTo>
                  <a:cubicBezTo>
                    <a:pt x="176477" y="289851"/>
                    <a:pt x="176527" y="278378"/>
                    <a:pt x="173302" y="267626"/>
                  </a:cubicBezTo>
                  <a:cubicBezTo>
                    <a:pt x="169976" y="256538"/>
                    <a:pt x="156135" y="247026"/>
                    <a:pt x="149489" y="239051"/>
                  </a:cubicBezTo>
                  <a:cubicBezTo>
                    <a:pt x="129643" y="215236"/>
                    <a:pt x="151872" y="232702"/>
                    <a:pt x="125677" y="215238"/>
                  </a:cubicBezTo>
                  <a:cubicBezTo>
                    <a:pt x="122502" y="210476"/>
                    <a:pt x="119816" y="205348"/>
                    <a:pt x="116152" y="200951"/>
                  </a:cubicBezTo>
                  <a:cubicBezTo>
                    <a:pt x="111840" y="195777"/>
                    <a:pt x="105600" y="192267"/>
                    <a:pt x="101864" y="186663"/>
                  </a:cubicBezTo>
                  <a:cubicBezTo>
                    <a:pt x="99079" y="182486"/>
                    <a:pt x="99347" y="176866"/>
                    <a:pt x="97102" y="172376"/>
                  </a:cubicBezTo>
                  <a:cubicBezTo>
                    <a:pt x="89164" y="156500"/>
                    <a:pt x="87577" y="158088"/>
                    <a:pt x="73289" y="148563"/>
                  </a:cubicBezTo>
                  <a:lnTo>
                    <a:pt x="63764" y="119988"/>
                  </a:lnTo>
                  <a:cubicBezTo>
                    <a:pt x="62159" y="115174"/>
                    <a:pt x="58993" y="89019"/>
                    <a:pt x="54239" y="81888"/>
                  </a:cubicBezTo>
                  <a:cubicBezTo>
                    <a:pt x="50503" y="76284"/>
                    <a:pt x="44264" y="72775"/>
                    <a:pt x="39952" y="67601"/>
                  </a:cubicBezTo>
                  <a:cubicBezTo>
                    <a:pt x="36288" y="63204"/>
                    <a:pt x="33602" y="58076"/>
                    <a:pt x="30427" y="53313"/>
                  </a:cubicBezTo>
                  <a:cubicBezTo>
                    <a:pt x="31923" y="39847"/>
                    <a:pt x="24780" y="4454"/>
                    <a:pt x="49477" y="926"/>
                  </a:cubicBezTo>
                  <a:cubicBezTo>
                    <a:pt x="55957" y="0"/>
                    <a:pt x="62177" y="4101"/>
                    <a:pt x="68527" y="5688"/>
                  </a:cubicBezTo>
                  <a:cubicBezTo>
                    <a:pt x="97134" y="24760"/>
                    <a:pt x="68927" y="10451"/>
                    <a:pt x="120914" y="10451"/>
                  </a:cubicBezTo>
                  <a:cubicBezTo>
                    <a:pt x="133713" y="10451"/>
                    <a:pt x="146314" y="13626"/>
                    <a:pt x="159014" y="15213"/>
                  </a:cubicBezTo>
                  <a:cubicBezTo>
                    <a:pt x="168539" y="18388"/>
                    <a:pt x="179235" y="19169"/>
                    <a:pt x="187589" y="24738"/>
                  </a:cubicBezTo>
                  <a:cubicBezTo>
                    <a:pt x="192352" y="27913"/>
                    <a:pt x="196616" y="32008"/>
                    <a:pt x="201877" y="34263"/>
                  </a:cubicBezTo>
                  <a:cubicBezTo>
                    <a:pt x="217643" y="41020"/>
                    <a:pt x="260145" y="42947"/>
                    <a:pt x="268552" y="43788"/>
                  </a:cubicBezTo>
                  <a:cubicBezTo>
                    <a:pt x="273314" y="46963"/>
                    <a:pt x="279263" y="48844"/>
                    <a:pt x="282839" y="53313"/>
                  </a:cubicBezTo>
                  <a:cubicBezTo>
                    <a:pt x="285975" y="57233"/>
                    <a:pt x="285357" y="63111"/>
                    <a:pt x="287602" y="67601"/>
                  </a:cubicBezTo>
                  <a:cubicBezTo>
                    <a:pt x="290162" y="72720"/>
                    <a:pt x="293952" y="77126"/>
                    <a:pt x="297127" y="81888"/>
                  </a:cubicBezTo>
                  <a:cubicBezTo>
                    <a:pt x="308239" y="80301"/>
                    <a:pt x="320206" y="81685"/>
                    <a:pt x="330464" y="77126"/>
                  </a:cubicBezTo>
                  <a:cubicBezTo>
                    <a:pt x="335695" y="74801"/>
                    <a:pt x="334758" y="65163"/>
                    <a:pt x="339989" y="62838"/>
                  </a:cubicBezTo>
                  <a:cubicBezTo>
                    <a:pt x="350247" y="58279"/>
                    <a:pt x="362214" y="59663"/>
                    <a:pt x="373327" y="58076"/>
                  </a:cubicBezTo>
                  <a:cubicBezTo>
                    <a:pt x="378089" y="54901"/>
                    <a:pt x="383217" y="52215"/>
                    <a:pt x="387614" y="48551"/>
                  </a:cubicBezTo>
                  <a:cubicBezTo>
                    <a:pt x="392788" y="44239"/>
                    <a:pt x="396014" y="37534"/>
                    <a:pt x="401902" y="34263"/>
                  </a:cubicBezTo>
                  <a:cubicBezTo>
                    <a:pt x="410679" y="29387"/>
                    <a:pt x="430477" y="24738"/>
                    <a:pt x="430477" y="24738"/>
                  </a:cubicBezTo>
                  <a:cubicBezTo>
                    <a:pt x="433652" y="29501"/>
                    <a:pt x="437747" y="33765"/>
                    <a:pt x="440002" y="39026"/>
                  </a:cubicBezTo>
                  <a:cubicBezTo>
                    <a:pt x="442580" y="45042"/>
                    <a:pt x="440675" y="52965"/>
                    <a:pt x="444764" y="58076"/>
                  </a:cubicBezTo>
                  <a:cubicBezTo>
                    <a:pt x="447900" y="61996"/>
                    <a:pt x="454289" y="61251"/>
                    <a:pt x="459052" y="62838"/>
                  </a:cubicBezTo>
                  <a:cubicBezTo>
                    <a:pt x="462227" y="67601"/>
                    <a:pt x="464107" y="73550"/>
                    <a:pt x="468577" y="77126"/>
                  </a:cubicBezTo>
                  <a:cubicBezTo>
                    <a:pt x="472497" y="80262"/>
                    <a:pt x="478374" y="79643"/>
                    <a:pt x="482864" y="81888"/>
                  </a:cubicBezTo>
                  <a:cubicBezTo>
                    <a:pt x="519800" y="100356"/>
                    <a:pt x="475522" y="84202"/>
                    <a:pt x="511439" y="96176"/>
                  </a:cubicBezTo>
                  <a:cubicBezTo>
                    <a:pt x="514428" y="100659"/>
                    <a:pt x="525913" y="121855"/>
                    <a:pt x="535252" y="119988"/>
                  </a:cubicBezTo>
                  <a:cubicBezTo>
                    <a:pt x="540865" y="118866"/>
                    <a:pt x="540730" y="109748"/>
                    <a:pt x="544777" y="105701"/>
                  </a:cubicBezTo>
                  <a:cubicBezTo>
                    <a:pt x="548824" y="101654"/>
                    <a:pt x="554302" y="99351"/>
                    <a:pt x="559064" y="96176"/>
                  </a:cubicBezTo>
                  <a:cubicBezTo>
                    <a:pt x="563827" y="97763"/>
                    <a:pt x="569432" y="97802"/>
                    <a:pt x="573352" y="100938"/>
                  </a:cubicBezTo>
                  <a:cubicBezTo>
                    <a:pt x="577822" y="104514"/>
                    <a:pt x="580317" y="110106"/>
                    <a:pt x="582877" y="115226"/>
                  </a:cubicBezTo>
                  <a:cubicBezTo>
                    <a:pt x="586681" y="122834"/>
                    <a:pt x="590369" y="141448"/>
                    <a:pt x="592402" y="148563"/>
                  </a:cubicBezTo>
                  <a:cubicBezTo>
                    <a:pt x="593781" y="153390"/>
                    <a:pt x="595946" y="157981"/>
                    <a:pt x="597164" y="162851"/>
                  </a:cubicBezTo>
                  <a:cubicBezTo>
                    <a:pt x="601809" y="181432"/>
                    <a:pt x="603999" y="201169"/>
                    <a:pt x="606689" y="220001"/>
                  </a:cubicBezTo>
                  <a:cubicBezTo>
                    <a:pt x="605102" y="231113"/>
                    <a:pt x="605957" y="242861"/>
                    <a:pt x="601927" y="253338"/>
                  </a:cubicBezTo>
                  <a:cubicBezTo>
                    <a:pt x="597818" y="264023"/>
                    <a:pt x="589227" y="272388"/>
                    <a:pt x="582877" y="281913"/>
                  </a:cubicBezTo>
                  <a:lnTo>
                    <a:pt x="573352" y="296201"/>
                  </a:lnTo>
                  <a:cubicBezTo>
                    <a:pt x="567783" y="304555"/>
                    <a:pt x="553131" y="300157"/>
                    <a:pt x="544777" y="305726"/>
                  </a:cubicBezTo>
                  <a:lnTo>
                    <a:pt x="530489" y="315251"/>
                  </a:lnTo>
                  <a:cubicBezTo>
                    <a:pt x="528902" y="320013"/>
                    <a:pt x="522715" y="325522"/>
                    <a:pt x="525727" y="329538"/>
                  </a:cubicBezTo>
                  <a:cubicBezTo>
                    <a:pt x="533749" y="340234"/>
                    <a:pt x="555805" y="331544"/>
                    <a:pt x="563827" y="329538"/>
                  </a:cubicBezTo>
                  <a:cubicBezTo>
                    <a:pt x="568589" y="326363"/>
                    <a:pt x="572884" y="322338"/>
                    <a:pt x="578114" y="320013"/>
                  </a:cubicBezTo>
                  <a:cubicBezTo>
                    <a:pt x="587289" y="315935"/>
                    <a:pt x="606689" y="310488"/>
                    <a:pt x="606689" y="310488"/>
                  </a:cubicBezTo>
                  <a:cubicBezTo>
                    <a:pt x="620977" y="312076"/>
                    <a:pt x="636042" y="310338"/>
                    <a:pt x="649552" y="315251"/>
                  </a:cubicBezTo>
                  <a:cubicBezTo>
                    <a:pt x="654931" y="317207"/>
                    <a:pt x="657121" y="324159"/>
                    <a:pt x="659077" y="329538"/>
                  </a:cubicBezTo>
                  <a:cubicBezTo>
                    <a:pt x="663551" y="341841"/>
                    <a:pt x="668602" y="367638"/>
                    <a:pt x="668602" y="367638"/>
                  </a:cubicBezTo>
                  <a:cubicBezTo>
                    <a:pt x="673364" y="364463"/>
                    <a:pt x="677770" y="360673"/>
                    <a:pt x="682889" y="358113"/>
                  </a:cubicBezTo>
                  <a:cubicBezTo>
                    <a:pt x="722324" y="338396"/>
                    <a:pt x="670521" y="371123"/>
                    <a:pt x="711464" y="343826"/>
                  </a:cubicBezTo>
                  <a:cubicBezTo>
                    <a:pt x="724164" y="345413"/>
                    <a:pt x="737511" y="344283"/>
                    <a:pt x="749564" y="348588"/>
                  </a:cubicBezTo>
                  <a:cubicBezTo>
                    <a:pt x="760345" y="352438"/>
                    <a:pt x="768614" y="361288"/>
                    <a:pt x="778139" y="367638"/>
                  </a:cubicBezTo>
                  <a:lnTo>
                    <a:pt x="792427" y="377163"/>
                  </a:lnTo>
                  <a:cubicBezTo>
                    <a:pt x="798031" y="380899"/>
                    <a:pt x="801233" y="387536"/>
                    <a:pt x="806714" y="391451"/>
                  </a:cubicBezTo>
                  <a:cubicBezTo>
                    <a:pt x="817014" y="398808"/>
                    <a:pt x="828391" y="401852"/>
                    <a:pt x="840052" y="405738"/>
                  </a:cubicBezTo>
                  <a:lnTo>
                    <a:pt x="868627" y="424788"/>
                  </a:lnTo>
                  <a:cubicBezTo>
                    <a:pt x="873389" y="427963"/>
                    <a:pt x="877484" y="432503"/>
                    <a:pt x="882914" y="434313"/>
                  </a:cubicBezTo>
                  <a:lnTo>
                    <a:pt x="897202" y="439076"/>
                  </a:lnTo>
                  <a:cubicBezTo>
                    <a:pt x="908821" y="435202"/>
                    <a:pt x="916545" y="434019"/>
                    <a:pt x="925777" y="424788"/>
                  </a:cubicBezTo>
                  <a:cubicBezTo>
                    <a:pt x="929824" y="420741"/>
                    <a:pt x="930994" y="414270"/>
                    <a:pt x="935302" y="410501"/>
                  </a:cubicBezTo>
                  <a:cubicBezTo>
                    <a:pt x="943917" y="402963"/>
                    <a:pt x="954352" y="397801"/>
                    <a:pt x="963877" y="391451"/>
                  </a:cubicBezTo>
                  <a:cubicBezTo>
                    <a:pt x="982342" y="379141"/>
                    <a:pt x="972733" y="383736"/>
                    <a:pt x="992452" y="377163"/>
                  </a:cubicBezTo>
                  <a:cubicBezTo>
                    <a:pt x="1000389" y="378751"/>
                    <a:pt x="1008411" y="379963"/>
                    <a:pt x="1016264" y="381926"/>
                  </a:cubicBezTo>
                  <a:cubicBezTo>
                    <a:pt x="1021134" y="383144"/>
                    <a:pt x="1027002" y="383138"/>
                    <a:pt x="1030552" y="386688"/>
                  </a:cubicBezTo>
                  <a:cubicBezTo>
                    <a:pt x="1034102" y="390238"/>
                    <a:pt x="1033727" y="396213"/>
                    <a:pt x="1035314" y="400976"/>
                  </a:cubicBezTo>
                  <a:cubicBezTo>
                    <a:pt x="1036902" y="416851"/>
                    <a:pt x="1038098" y="432770"/>
                    <a:pt x="1040077" y="448601"/>
                  </a:cubicBezTo>
                  <a:cubicBezTo>
                    <a:pt x="1045093" y="488730"/>
                    <a:pt x="1048488" y="469014"/>
                    <a:pt x="1040077" y="515276"/>
                  </a:cubicBezTo>
                  <a:cubicBezTo>
                    <a:pt x="1039179" y="520215"/>
                    <a:pt x="1038099" y="525386"/>
                    <a:pt x="1035314" y="529563"/>
                  </a:cubicBezTo>
                  <a:cubicBezTo>
                    <a:pt x="1027978" y="540566"/>
                    <a:pt x="1017284" y="546346"/>
                    <a:pt x="1006739" y="553376"/>
                  </a:cubicBezTo>
                  <a:cubicBezTo>
                    <a:pt x="1003564" y="558138"/>
                    <a:pt x="1001522" y="563894"/>
                    <a:pt x="997214" y="567663"/>
                  </a:cubicBezTo>
                  <a:cubicBezTo>
                    <a:pt x="977060" y="585298"/>
                    <a:pt x="973975" y="584934"/>
                    <a:pt x="954352" y="591476"/>
                  </a:cubicBezTo>
                  <a:lnTo>
                    <a:pt x="925777" y="572426"/>
                  </a:lnTo>
                  <a:cubicBezTo>
                    <a:pt x="917423" y="566857"/>
                    <a:pt x="916252" y="601001"/>
                    <a:pt x="916252" y="601001"/>
                  </a:cubicBezTo>
                  <a:cubicBezTo>
                    <a:pt x="917839" y="613701"/>
                    <a:pt x="915816" y="627405"/>
                    <a:pt x="921014" y="639101"/>
                  </a:cubicBezTo>
                  <a:cubicBezTo>
                    <a:pt x="923053" y="643689"/>
                    <a:pt x="930812" y="641618"/>
                    <a:pt x="935302" y="643863"/>
                  </a:cubicBezTo>
                  <a:cubicBezTo>
                    <a:pt x="948561" y="650492"/>
                    <a:pt x="953346" y="657145"/>
                    <a:pt x="963877" y="667676"/>
                  </a:cubicBezTo>
                  <a:cubicBezTo>
                    <a:pt x="970083" y="686295"/>
                    <a:pt x="976386" y="692674"/>
                    <a:pt x="949589" y="710538"/>
                  </a:cubicBezTo>
                  <a:lnTo>
                    <a:pt x="921014" y="729588"/>
                  </a:lnTo>
                  <a:cubicBezTo>
                    <a:pt x="919427" y="734351"/>
                    <a:pt x="918497" y="739386"/>
                    <a:pt x="916252" y="743876"/>
                  </a:cubicBezTo>
                  <a:cubicBezTo>
                    <a:pt x="897784" y="780813"/>
                    <a:pt x="913939" y="736530"/>
                    <a:pt x="901964" y="772451"/>
                  </a:cubicBezTo>
                  <a:cubicBezTo>
                    <a:pt x="903552" y="781976"/>
                    <a:pt x="904833" y="791557"/>
                    <a:pt x="906727" y="801026"/>
                  </a:cubicBezTo>
                  <a:cubicBezTo>
                    <a:pt x="908011" y="807444"/>
                    <a:pt x="910205" y="813658"/>
                    <a:pt x="911489" y="820076"/>
                  </a:cubicBezTo>
                  <a:cubicBezTo>
                    <a:pt x="913383" y="829545"/>
                    <a:pt x="909893" y="841384"/>
                    <a:pt x="916252" y="848651"/>
                  </a:cubicBezTo>
                  <a:cubicBezTo>
                    <a:pt x="921379" y="854511"/>
                    <a:pt x="960076" y="861226"/>
                    <a:pt x="968639" y="862938"/>
                  </a:cubicBezTo>
                  <a:cubicBezTo>
                    <a:pt x="973402" y="866113"/>
                    <a:pt x="979351" y="867993"/>
                    <a:pt x="982927" y="872463"/>
                  </a:cubicBezTo>
                  <a:cubicBezTo>
                    <a:pt x="994132" y="886470"/>
                    <a:pt x="982739" y="901600"/>
                    <a:pt x="978164" y="915326"/>
                  </a:cubicBezTo>
                  <a:lnTo>
                    <a:pt x="968639" y="943901"/>
                  </a:lnTo>
                  <a:cubicBezTo>
                    <a:pt x="966829" y="949331"/>
                    <a:pt x="959114" y="950251"/>
                    <a:pt x="954352" y="953426"/>
                  </a:cubicBezTo>
                  <a:cubicBezTo>
                    <a:pt x="946074" y="978257"/>
                    <a:pt x="955710" y="959098"/>
                    <a:pt x="935302" y="977238"/>
                  </a:cubicBezTo>
                  <a:cubicBezTo>
                    <a:pt x="925234" y="986187"/>
                    <a:pt x="914199" y="994605"/>
                    <a:pt x="906727" y="1005813"/>
                  </a:cubicBezTo>
                  <a:cubicBezTo>
                    <a:pt x="903552" y="1010576"/>
                    <a:pt x="901249" y="1016054"/>
                    <a:pt x="897202" y="1020101"/>
                  </a:cubicBezTo>
                  <a:cubicBezTo>
                    <a:pt x="869684" y="1047619"/>
                    <a:pt x="895935" y="1008803"/>
                    <a:pt x="868627" y="1043913"/>
                  </a:cubicBezTo>
                  <a:cubicBezTo>
                    <a:pt x="861599" y="1052949"/>
                    <a:pt x="855927" y="1062963"/>
                    <a:pt x="849577" y="1072488"/>
                  </a:cubicBezTo>
                  <a:cubicBezTo>
                    <a:pt x="846792" y="1076665"/>
                    <a:pt x="847950" y="1082856"/>
                    <a:pt x="844814" y="1086776"/>
                  </a:cubicBezTo>
                  <a:cubicBezTo>
                    <a:pt x="841238" y="1091245"/>
                    <a:pt x="835289" y="1093126"/>
                    <a:pt x="830527" y="1096301"/>
                  </a:cubicBezTo>
                  <a:cubicBezTo>
                    <a:pt x="770974" y="1081411"/>
                    <a:pt x="845016" y="1100441"/>
                    <a:pt x="797189" y="1086776"/>
                  </a:cubicBezTo>
                  <a:cubicBezTo>
                    <a:pt x="781485" y="1082289"/>
                    <a:pt x="770709" y="1080527"/>
                    <a:pt x="754327" y="1077251"/>
                  </a:cubicBezTo>
                  <a:cubicBezTo>
                    <a:pt x="743796" y="1066720"/>
                    <a:pt x="739011" y="1060067"/>
                    <a:pt x="725752" y="1053438"/>
                  </a:cubicBezTo>
                  <a:cubicBezTo>
                    <a:pt x="721262" y="1051193"/>
                    <a:pt x="716227" y="1050263"/>
                    <a:pt x="711464" y="1048676"/>
                  </a:cubicBezTo>
                  <a:cubicBezTo>
                    <a:pt x="708289" y="1043913"/>
                    <a:pt x="704499" y="1039508"/>
                    <a:pt x="701939" y="1034388"/>
                  </a:cubicBezTo>
                  <a:cubicBezTo>
                    <a:pt x="699694" y="1029898"/>
                    <a:pt x="699615" y="1024489"/>
                    <a:pt x="697177" y="1020101"/>
                  </a:cubicBezTo>
                  <a:cubicBezTo>
                    <a:pt x="691618" y="1010094"/>
                    <a:pt x="684477" y="1001051"/>
                    <a:pt x="678127" y="991526"/>
                  </a:cubicBezTo>
                  <a:lnTo>
                    <a:pt x="668602" y="977238"/>
                  </a:lnTo>
                  <a:lnTo>
                    <a:pt x="659077" y="962951"/>
                  </a:lnTo>
                  <a:cubicBezTo>
                    <a:pt x="680912" y="930199"/>
                    <a:pt x="674507" y="945236"/>
                    <a:pt x="682889" y="920088"/>
                  </a:cubicBezTo>
                  <a:cubicBezTo>
                    <a:pt x="681302" y="912151"/>
                    <a:pt x="680090" y="904129"/>
                    <a:pt x="678127" y="896276"/>
                  </a:cubicBezTo>
                  <a:cubicBezTo>
                    <a:pt x="676909" y="891406"/>
                    <a:pt x="674189" y="886940"/>
                    <a:pt x="673364" y="881988"/>
                  </a:cubicBezTo>
                  <a:cubicBezTo>
                    <a:pt x="671001" y="867808"/>
                    <a:pt x="673941" y="852473"/>
                    <a:pt x="668602" y="839126"/>
                  </a:cubicBezTo>
                  <a:cubicBezTo>
                    <a:pt x="666737" y="834465"/>
                    <a:pt x="659077" y="835951"/>
                    <a:pt x="654314" y="834363"/>
                  </a:cubicBezTo>
                  <a:cubicBezTo>
                    <a:pt x="642695" y="838237"/>
                    <a:pt x="634971" y="839420"/>
                    <a:pt x="625739" y="848651"/>
                  </a:cubicBezTo>
                  <a:cubicBezTo>
                    <a:pt x="621692" y="852698"/>
                    <a:pt x="619389" y="858176"/>
                    <a:pt x="616214" y="862938"/>
                  </a:cubicBezTo>
                  <a:cubicBezTo>
                    <a:pt x="614627" y="867701"/>
                    <a:pt x="614588" y="873306"/>
                    <a:pt x="611452" y="877226"/>
                  </a:cubicBezTo>
                  <a:cubicBezTo>
                    <a:pt x="607876" y="881696"/>
                    <a:pt x="602284" y="884191"/>
                    <a:pt x="597164" y="886751"/>
                  </a:cubicBezTo>
                  <a:cubicBezTo>
                    <a:pt x="583866" y="893400"/>
                    <a:pt x="561821" y="894521"/>
                    <a:pt x="549539" y="896276"/>
                  </a:cubicBezTo>
                  <a:cubicBezTo>
                    <a:pt x="547952" y="901038"/>
                    <a:pt x="546156" y="905736"/>
                    <a:pt x="544777" y="910563"/>
                  </a:cubicBezTo>
                  <a:cubicBezTo>
                    <a:pt x="542979" y="916857"/>
                    <a:pt x="543645" y="924167"/>
                    <a:pt x="540014" y="929613"/>
                  </a:cubicBezTo>
                  <a:cubicBezTo>
                    <a:pt x="536839" y="934375"/>
                    <a:pt x="530489" y="935963"/>
                    <a:pt x="525727" y="939138"/>
                  </a:cubicBezTo>
                  <a:cubicBezTo>
                    <a:pt x="487626" y="926439"/>
                    <a:pt x="532077" y="945488"/>
                    <a:pt x="506677" y="920088"/>
                  </a:cubicBezTo>
                  <a:cubicBezTo>
                    <a:pt x="503127" y="916538"/>
                    <a:pt x="497152" y="916913"/>
                    <a:pt x="492389" y="915326"/>
                  </a:cubicBezTo>
                  <a:cubicBezTo>
                    <a:pt x="487627" y="920088"/>
                    <a:pt x="481838" y="924009"/>
                    <a:pt x="478102" y="929613"/>
                  </a:cubicBezTo>
                  <a:cubicBezTo>
                    <a:pt x="475317" y="933790"/>
                    <a:pt x="476889" y="940351"/>
                    <a:pt x="473339" y="943901"/>
                  </a:cubicBezTo>
                  <a:cubicBezTo>
                    <a:pt x="469789" y="947451"/>
                    <a:pt x="463814" y="947076"/>
                    <a:pt x="459052" y="948663"/>
                  </a:cubicBezTo>
                  <a:cubicBezTo>
                    <a:pt x="436410" y="933569"/>
                    <a:pt x="450194" y="940948"/>
                    <a:pt x="416189" y="929613"/>
                  </a:cubicBezTo>
                  <a:cubicBezTo>
                    <a:pt x="410759" y="927803"/>
                    <a:pt x="406664" y="923263"/>
                    <a:pt x="401902" y="920088"/>
                  </a:cubicBezTo>
                  <a:cubicBezTo>
                    <a:pt x="389928" y="884171"/>
                    <a:pt x="406082" y="928449"/>
                    <a:pt x="387614" y="891513"/>
                  </a:cubicBezTo>
                  <a:cubicBezTo>
                    <a:pt x="385369" y="887023"/>
                    <a:pt x="384439" y="881988"/>
                    <a:pt x="382852" y="877226"/>
                  </a:cubicBezTo>
                  <a:cubicBezTo>
                    <a:pt x="376470" y="832556"/>
                    <a:pt x="384316" y="853228"/>
                    <a:pt x="359039" y="815313"/>
                  </a:cubicBezTo>
                  <a:lnTo>
                    <a:pt x="349514" y="801026"/>
                  </a:lnTo>
                  <a:cubicBezTo>
                    <a:pt x="345967" y="790384"/>
                    <a:pt x="341118" y="767486"/>
                    <a:pt x="330464" y="758163"/>
                  </a:cubicBezTo>
                  <a:cubicBezTo>
                    <a:pt x="307739" y="738279"/>
                    <a:pt x="300291" y="738580"/>
                    <a:pt x="273314" y="729588"/>
                  </a:cubicBezTo>
                  <a:lnTo>
                    <a:pt x="259027" y="724826"/>
                  </a:lnTo>
                  <a:cubicBezTo>
                    <a:pt x="254264" y="723238"/>
                    <a:pt x="249759" y="720063"/>
                    <a:pt x="244739" y="720063"/>
                  </a:cubicBezTo>
                  <a:lnTo>
                    <a:pt x="178064" y="724826"/>
                  </a:ln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defTabSz="685800" eaLnBrk="0" fontAlgn="base" hangingPunct="0">
                <a:spcBef>
                  <a:spcPct val="50000"/>
                </a:spcBef>
                <a:spcAft>
                  <a:spcPct val="0"/>
                </a:spcAft>
                <a:buClrTx/>
              </a:pPr>
              <a:endParaRPr lang="en-US" sz="900" kern="1200">
                <a:latin typeface="Arial" charset="0"/>
                <a:ea typeface="+mn-ea"/>
                <a:cs typeface="+mn-cs"/>
              </a:endParaRPr>
            </a:p>
          </p:txBody>
        </p:sp>
        <p:sp>
          <p:nvSpPr>
            <p:cNvPr id="21" name="Freeform 20"/>
            <p:cNvSpPr/>
            <p:nvPr>
              <p:custDataLst>
                <p:tags r:id="rId11"/>
              </p:custDataLst>
            </p:nvPr>
          </p:nvSpPr>
          <p:spPr bwMode="gray">
            <a:xfrm>
              <a:off x="4292827" y="1912938"/>
              <a:ext cx="238878" cy="235743"/>
            </a:xfrm>
            <a:custGeom>
              <a:avLst/>
              <a:gdLst>
                <a:gd name="connsiteX0" fmla="*/ 10278 w 238878"/>
                <a:gd name="connsiteY0" fmla="*/ 111918 h 235743"/>
                <a:gd name="connsiteX1" fmla="*/ 15041 w 238878"/>
                <a:gd name="connsiteY1" fmla="*/ 104775 h 235743"/>
                <a:gd name="connsiteX2" fmla="*/ 17422 w 238878"/>
                <a:gd name="connsiteY2" fmla="*/ 95250 h 235743"/>
                <a:gd name="connsiteX3" fmla="*/ 31710 w 238878"/>
                <a:gd name="connsiteY3" fmla="*/ 88106 h 235743"/>
                <a:gd name="connsiteX4" fmla="*/ 41235 w 238878"/>
                <a:gd name="connsiteY4" fmla="*/ 90487 h 235743"/>
                <a:gd name="connsiteX5" fmla="*/ 43616 w 238878"/>
                <a:gd name="connsiteY5" fmla="*/ 100012 h 235743"/>
                <a:gd name="connsiteX6" fmla="*/ 57903 w 238878"/>
                <a:gd name="connsiteY6" fmla="*/ 104775 h 235743"/>
                <a:gd name="connsiteX7" fmla="*/ 74572 w 238878"/>
                <a:gd name="connsiteY7" fmla="*/ 102393 h 235743"/>
                <a:gd name="connsiteX8" fmla="*/ 81716 w 238878"/>
                <a:gd name="connsiteY8" fmla="*/ 95250 h 235743"/>
                <a:gd name="connsiteX9" fmla="*/ 86478 w 238878"/>
                <a:gd name="connsiteY9" fmla="*/ 73818 h 235743"/>
                <a:gd name="connsiteX10" fmla="*/ 88860 w 238878"/>
                <a:gd name="connsiteY10" fmla="*/ 66675 h 235743"/>
                <a:gd name="connsiteX11" fmla="*/ 98385 w 238878"/>
                <a:gd name="connsiteY11" fmla="*/ 64293 h 235743"/>
                <a:gd name="connsiteX12" fmla="*/ 115053 w 238878"/>
                <a:gd name="connsiteY12" fmla="*/ 61912 h 235743"/>
                <a:gd name="connsiteX13" fmla="*/ 131722 w 238878"/>
                <a:gd name="connsiteY13" fmla="*/ 57150 h 235743"/>
                <a:gd name="connsiteX14" fmla="*/ 146010 w 238878"/>
                <a:gd name="connsiteY14" fmla="*/ 47625 h 235743"/>
                <a:gd name="connsiteX15" fmla="*/ 153153 w 238878"/>
                <a:gd name="connsiteY15" fmla="*/ 42862 h 235743"/>
                <a:gd name="connsiteX16" fmla="*/ 160297 w 238878"/>
                <a:gd name="connsiteY16" fmla="*/ 21431 h 235743"/>
                <a:gd name="connsiteX17" fmla="*/ 181728 w 238878"/>
                <a:gd name="connsiteY17" fmla="*/ 4762 h 235743"/>
                <a:gd name="connsiteX18" fmla="*/ 188872 w 238878"/>
                <a:gd name="connsiteY18" fmla="*/ 0 h 235743"/>
                <a:gd name="connsiteX19" fmla="*/ 198397 w 238878"/>
                <a:gd name="connsiteY19" fmla="*/ 2381 h 235743"/>
                <a:gd name="connsiteX20" fmla="*/ 207922 w 238878"/>
                <a:gd name="connsiteY20" fmla="*/ 40481 h 235743"/>
                <a:gd name="connsiteX21" fmla="*/ 212685 w 238878"/>
                <a:gd name="connsiteY21" fmla="*/ 54768 h 235743"/>
                <a:gd name="connsiteX22" fmla="*/ 212685 w 238878"/>
                <a:gd name="connsiteY22" fmla="*/ 95250 h 235743"/>
                <a:gd name="connsiteX23" fmla="*/ 203160 w 238878"/>
                <a:gd name="connsiteY23" fmla="*/ 109537 h 235743"/>
                <a:gd name="connsiteX24" fmla="*/ 198397 w 238878"/>
                <a:gd name="connsiteY24" fmla="*/ 123825 h 235743"/>
                <a:gd name="connsiteX25" fmla="*/ 210303 w 238878"/>
                <a:gd name="connsiteY25" fmla="*/ 145256 h 235743"/>
                <a:gd name="connsiteX26" fmla="*/ 215066 w 238878"/>
                <a:gd name="connsiteY26" fmla="*/ 159543 h 235743"/>
                <a:gd name="connsiteX27" fmla="*/ 222210 w 238878"/>
                <a:gd name="connsiteY27" fmla="*/ 173831 h 235743"/>
                <a:gd name="connsiteX28" fmla="*/ 231735 w 238878"/>
                <a:gd name="connsiteY28" fmla="*/ 195262 h 235743"/>
                <a:gd name="connsiteX29" fmla="*/ 236497 w 238878"/>
                <a:gd name="connsiteY29" fmla="*/ 209550 h 235743"/>
                <a:gd name="connsiteX30" fmla="*/ 238878 w 238878"/>
                <a:gd name="connsiteY30" fmla="*/ 216693 h 235743"/>
                <a:gd name="connsiteX31" fmla="*/ 231735 w 238878"/>
                <a:gd name="connsiteY31" fmla="*/ 223837 h 235743"/>
                <a:gd name="connsiteX32" fmla="*/ 226972 w 238878"/>
                <a:gd name="connsiteY32" fmla="*/ 230981 h 235743"/>
                <a:gd name="connsiteX33" fmla="*/ 219828 w 238878"/>
                <a:gd name="connsiteY33" fmla="*/ 235743 h 235743"/>
                <a:gd name="connsiteX34" fmla="*/ 196016 w 238878"/>
                <a:gd name="connsiteY34" fmla="*/ 230981 h 235743"/>
                <a:gd name="connsiteX35" fmla="*/ 174585 w 238878"/>
                <a:gd name="connsiteY35" fmla="*/ 214312 h 235743"/>
                <a:gd name="connsiteX36" fmla="*/ 169822 w 238878"/>
                <a:gd name="connsiteY36" fmla="*/ 207168 h 235743"/>
                <a:gd name="connsiteX37" fmla="*/ 153153 w 238878"/>
                <a:gd name="connsiteY37" fmla="*/ 202406 h 235743"/>
                <a:gd name="connsiteX38" fmla="*/ 141247 w 238878"/>
                <a:gd name="connsiteY38" fmla="*/ 204787 h 235743"/>
                <a:gd name="connsiteX39" fmla="*/ 134103 w 238878"/>
                <a:gd name="connsiteY39" fmla="*/ 207168 h 235743"/>
                <a:gd name="connsiteX40" fmla="*/ 131722 w 238878"/>
                <a:gd name="connsiteY40" fmla="*/ 214312 h 235743"/>
                <a:gd name="connsiteX41" fmla="*/ 117435 w 238878"/>
                <a:gd name="connsiteY41" fmla="*/ 219075 h 235743"/>
                <a:gd name="connsiteX42" fmla="*/ 110291 w 238878"/>
                <a:gd name="connsiteY42" fmla="*/ 221456 h 235743"/>
                <a:gd name="connsiteX43" fmla="*/ 103147 w 238878"/>
                <a:gd name="connsiteY43" fmla="*/ 216693 h 235743"/>
                <a:gd name="connsiteX44" fmla="*/ 79335 w 238878"/>
                <a:gd name="connsiteY44" fmla="*/ 211931 h 235743"/>
                <a:gd name="connsiteX45" fmla="*/ 57903 w 238878"/>
                <a:gd name="connsiteY45" fmla="*/ 200025 h 235743"/>
                <a:gd name="connsiteX46" fmla="*/ 48378 w 238878"/>
                <a:gd name="connsiteY46" fmla="*/ 185737 h 235743"/>
                <a:gd name="connsiteX47" fmla="*/ 43616 w 238878"/>
                <a:gd name="connsiteY47" fmla="*/ 178593 h 235743"/>
                <a:gd name="connsiteX48" fmla="*/ 36472 w 238878"/>
                <a:gd name="connsiteY48" fmla="*/ 150018 h 235743"/>
                <a:gd name="connsiteX49" fmla="*/ 34091 w 238878"/>
                <a:gd name="connsiteY49" fmla="*/ 142875 h 235743"/>
                <a:gd name="connsiteX50" fmla="*/ 31710 w 238878"/>
                <a:gd name="connsiteY50" fmla="*/ 135731 h 235743"/>
                <a:gd name="connsiteX51" fmla="*/ 24566 w 238878"/>
                <a:gd name="connsiteY51" fmla="*/ 128587 h 235743"/>
                <a:gd name="connsiteX52" fmla="*/ 10278 w 238878"/>
                <a:gd name="connsiteY52" fmla="*/ 121443 h 235743"/>
                <a:gd name="connsiteX53" fmla="*/ 3135 w 238878"/>
                <a:gd name="connsiteY53" fmla="*/ 116681 h 235743"/>
                <a:gd name="connsiteX54" fmla="*/ 10278 w 238878"/>
                <a:gd name="connsiteY54" fmla="*/ 111918 h 235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38878" h="235743">
                  <a:moveTo>
                    <a:pt x="10278" y="111918"/>
                  </a:moveTo>
                  <a:cubicBezTo>
                    <a:pt x="12262" y="109934"/>
                    <a:pt x="13914" y="107405"/>
                    <a:pt x="15041" y="104775"/>
                  </a:cubicBezTo>
                  <a:cubicBezTo>
                    <a:pt x="16330" y="101767"/>
                    <a:pt x="15607" y="97973"/>
                    <a:pt x="17422" y="95250"/>
                  </a:cubicBezTo>
                  <a:cubicBezTo>
                    <a:pt x="20060" y="91292"/>
                    <a:pt x="27634" y="89464"/>
                    <a:pt x="31710" y="88106"/>
                  </a:cubicBezTo>
                  <a:cubicBezTo>
                    <a:pt x="34885" y="88900"/>
                    <a:pt x="38921" y="88173"/>
                    <a:pt x="41235" y="90487"/>
                  </a:cubicBezTo>
                  <a:cubicBezTo>
                    <a:pt x="43549" y="92801"/>
                    <a:pt x="41131" y="97882"/>
                    <a:pt x="43616" y="100012"/>
                  </a:cubicBezTo>
                  <a:cubicBezTo>
                    <a:pt x="47427" y="103279"/>
                    <a:pt x="57903" y="104775"/>
                    <a:pt x="57903" y="104775"/>
                  </a:cubicBezTo>
                  <a:cubicBezTo>
                    <a:pt x="63459" y="103981"/>
                    <a:pt x="69361" y="104477"/>
                    <a:pt x="74572" y="102393"/>
                  </a:cubicBezTo>
                  <a:cubicBezTo>
                    <a:pt x="77699" y="101142"/>
                    <a:pt x="79848" y="98052"/>
                    <a:pt x="81716" y="95250"/>
                  </a:cubicBezTo>
                  <a:cubicBezTo>
                    <a:pt x="84396" y="91230"/>
                    <a:pt x="86046" y="75761"/>
                    <a:pt x="86478" y="73818"/>
                  </a:cubicBezTo>
                  <a:cubicBezTo>
                    <a:pt x="87023" y="71368"/>
                    <a:pt x="86900" y="68243"/>
                    <a:pt x="88860" y="66675"/>
                  </a:cubicBezTo>
                  <a:cubicBezTo>
                    <a:pt x="91416" y="64631"/>
                    <a:pt x="95165" y="64879"/>
                    <a:pt x="98385" y="64293"/>
                  </a:cubicBezTo>
                  <a:cubicBezTo>
                    <a:pt x="103907" y="63289"/>
                    <a:pt x="109531" y="62916"/>
                    <a:pt x="115053" y="61912"/>
                  </a:cubicBezTo>
                  <a:cubicBezTo>
                    <a:pt x="121631" y="60716"/>
                    <a:pt x="125601" y="59190"/>
                    <a:pt x="131722" y="57150"/>
                  </a:cubicBezTo>
                  <a:lnTo>
                    <a:pt x="146010" y="47625"/>
                  </a:lnTo>
                  <a:lnTo>
                    <a:pt x="153153" y="42862"/>
                  </a:lnTo>
                  <a:lnTo>
                    <a:pt x="160297" y="21431"/>
                  </a:lnTo>
                  <a:cubicBezTo>
                    <a:pt x="165929" y="4531"/>
                    <a:pt x="172082" y="9585"/>
                    <a:pt x="181728" y="4762"/>
                  </a:cubicBezTo>
                  <a:cubicBezTo>
                    <a:pt x="184288" y="3482"/>
                    <a:pt x="186491" y="1587"/>
                    <a:pt x="188872" y="0"/>
                  </a:cubicBezTo>
                  <a:cubicBezTo>
                    <a:pt x="192047" y="794"/>
                    <a:pt x="195555" y="757"/>
                    <a:pt x="198397" y="2381"/>
                  </a:cubicBezTo>
                  <a:cubicBezTo>
                    <a:pt x="212777" y="10598"/>
                    <a:pt x="205534" y="25358"/>
                    <a:pt x="207922" y="40481"/>
                  </a:cubicBezTo>
                  <a:cubicBezTo>
                    <a:pt x="208705" y="45440"/>
                    <a:pt x="212685" y="54768"/>
                    <a:pt x="212685" y="54768"/>
                  </a:cubicBezTo>
                  <a:cubicBezTo>
                    <a:pt x="215252" y="70174"/>
                    <a:pt x="217782" y="77921"/>
                    <a:pt x="212685" y="95250"/>
                  </a:cubicBezTo>
                  <a:cubicBezTo>
                    <a:pt x="211070" y="100741"/>
                    <a:pt x="206335" y="104775"/>
                    <a:pt x="203160" y="109537"/>
                  </a:cubicBezTo>
                  <a:cubicBezTo>
                    <a:pt x="200375" y="113714"/>
                    <a:pt x="198397" y="123825"/>
                    <a:pt x="198397" y="123825"/>
                  </a:cubicBezTo>
                  <a:cubicBezTo>
                    <a:pt x="202588" y="136398"/>
                    <a:pt x="199386" y="128880"/>
                    <a:pt x="210303" y="145256"/>
                  </a:cubicBezTo>
                  <a:cubicBezTo>
                    <a:pt x="213088" y="149433"/>
                    <a:pt x="213478" y="154781"/>
                    <a:pt x="215066" y="159543"/>
                  </a:cubicBezTo>
                  <a:cubicBezTo>
                    <a:pt x="218353" y="169404"/>
                    <a:pt x="216053" y="164596"/>
                    <a:pt x="222210" y="173831"/>
                  </a:cubicBezTo>
                  <a:cubicBezTo>
                    <a:pt x="227877" y="190833"/>
                    <a:pt x="224187" y="183941"/>
                    <a:pt x="231735" y="195262"/>
                  </a:cubicBezTo>
                  <a:lnTo>
                    <a:pt x="236497" y="209550"/>
                  </a:lnTo>
                  <a:lnTo>
                    <a:pt x="238878" y="216693"/>
                  </a:lnTo>
                  <a:cubicBezTo>
                    <a:pt x="236497" y="219074"/>
                    <a:pt x="233891" y="221250"/>
                    <a:pt x="231735" y="223837"/>
                  </a:cubicBezTo>
                  <a:cubicBezTo>
                    <a:pt x="229903" y="226036"/>
                    <a:pt x="228996" y="228957"/>
                    <a:pt x="226972" y="230981"/>
                  </a:cubicBezTo>
                  <a:cubicBezTo>
                    <a:pt x="224948" y="233005"/>
                    <a:pt x="222209" y="234156"/>
                    <a:pt x="219828" y="235743"/>
                  </a:cubicBezTo>
                  <a:cubicBezTo>
                    <a:pt x="215688" y="235152"/>
                    <a:pt x="201770" y="234177"/>
                    <a:pt x="196016" y="230981"/>
                  </a:cubicBezTo>
                  <a:cubicBezTo>
                    <a:pt x="187772" y="226401"/>
                    <a:pt x="180571" y="221495"/>
                    <a:pt x="174585" y="214312"/>
                  </a:cubicBezTo>
                  <a:cubicBezTo>
                    <a:pt x="172753" y="212113"/>
                    <a:pt x="172057" y="208956"/>
                    <a:pt x="169822" y="207168"/>
                  </a:cubicBezTo>
                  <a:cubicBezTo>
                    <a:pt x="168269" y="205926"/>
                    <a:pt x="153775" y="202561"/>
                    <a:pt x="153153" y="202406"/>
                  </a:cubicBezTo>
                  <a:cubicBezTo>
                    <a:pt x="149184" y="203200"/>
                    <a:pt x="145173" y="203805"/>
                    <a:pt x="141247" y="204787"/>
                  </a:cubicBezTo>
                  <a:cubicBezTo>
                    <a:pt x="138812" y="205396"/>
                    <a:pt x="135878" y="205393"/>
                    <a:pt x="134103" y="207168"/>
                  </a:cubicBezTo>
                  <a:cubicBezTo>
                    <a:pt x="132328" y="208943"/>
                    <a:pt x="133764" y="212853"/>
                    <a:pt x="131722" y="214312"/>
                  </a:cubicBezTo>
                  <a:cubicBezTo>
                    <a:pt x="127637" y="217230"/>
                    <a:pt x="122197" y="217487"/>
                    <a:pt x="117435" y="219075"/>
                  </a:cubicBezTo>
                  <a:lnTo>
                    <a:pt x="110291" y="221456"/>
                  </a:lnTo>
                  <a:cubicBezTo>
                    <a:pt x="107910" y="219868"/>
                    <a:pt x="105707" y="217973"/>
                    <a:pt x="103147" y="216693"/>
                  </a:cubicBezTo>
                  <a:cubicBezTo>
                    <a:pt x="96499" y="213369"/>
                    <a:pt x="85475" y="212808"/>
                    <a:pt x="79335" y="211931"/>
                  </a:cubicBezTo>
                  <a:cubicBezTo>
                    <a:pt x="66637" y="207698"/>
                    <a:pt x="65388" y="209648"/>
                    <a:pt x="57903" y="200025"/>
                  </a:cubicBezTo>
                  <a:cubicBezTo>
                    <a:pt x="54389" y="195507"/>
                    <a:pt x="51553" y="190500"/>
                    <a:pt x="48378" y="185737"/>
                  </a:cubicBezTo>
                  <a:lnTo>
                    <a:pt x="43616" y="178593"/>
                  </a:lnTo>
                  <a:cubicBezTo>
                    <a:pt x="40410" y="159353"/>
                    <a:pt x="42762" y="168887"/>
                    <a:pt x="36472" y="150018"/>
                  </a:cubicBezTo>
                  <a:lnTo>
                    <a:pt x="34091" y="142875"/>
                  </a:lnTo>
                  <a:cubicBezTo>
                    <a:pt x="33297" y="140494"/>
                    <a:pt x="33485" y="137506"/>
                    <a:pt x="31710" y="135731"/>
                  </a:cubicBezTo>
                  <a:cubicBezTo>
                    <a:pt x="29329" y="133350"/>
                    <a:pt x="27153" y="130743"/>
                    <a:pt x="24566" y="128587"/>
                  </a:cubicBezTo>
                  <a:cubicBezTo>
                    <a:pt x="14333" y="120060"/>
                    <a:pt x="21015" y="126812"/>
                    <a:pt x="10278" y="121443"/>
                  </a:cubicBezTo>
                  <a:cubicBezTo>
                    <a:pt x="7719" y="120163"/>
                    <a:pt x="5516" y="118268"/>
                    <a:pt x="3135" y="116681"/>
                  </a:cubicBezTo>
                  <a:cubicBezTo>
                    <a:pt x="0" y="107278"/>
                    <a:pt x="8294" y="113902"/>
                    <a:pt x="10278" y="111918"/>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defTabSz="685800" eaLnBrk="0" fontAlgn="base" hangingPunct="0">
                <a:spcBef>
                  <a:spcPct val="50000"/>
                </a:spcBef>
                <a:spcAft>
                  <a:spcPct val="0"/>
                </a:spcAft>
                <a:buClrTx/>
              </a:pPr>
              <a:endParaRPr lang="en-US" sz="900" kern="1200">
                <a:latin typeface="Arial" charset="0"/>
                <a:ea typeface="+mn-ea"/>
                <a:cs typeface="+mn-cs"/>
              </a:endParaRPr>
            </a:p>
          </p:txBody>
        </p:sp>
        <p:sp>
          <p:nvSpPr>
            <p:cNvPr id="22" name="Freeform 21"/>
            <p:cNvSpPr/>
            <p:nvPr>
              <p:custDataLst>
                <p:tags r:id="rId12"/>
              </p:custDataLst>
            </p:nvPr>
          </p:nvSpPr>
          <p:spPr bwMode="gray">
            <a:xfrm>
              <a:off x="4669414" y="2374900"/>
              <a:ext cx="1123560" cy="1476375"/>
            </a:xfrm>
            <a:custGeom>
              <a:avLst/>
              <a:gdLst>
                <a:gd name="connsiteX0" fmla="*/ 374260 w 1123560"/>
                <a:gd name="connsiteY0" fmla="*/ 3175 h 1476375"/>
                <a:gd name="connsiteX1" fmla="*/ 412360 w 1123560"/>
                <a:gd name="connsiteY1" fmla="*/ 0 h 1476375"/>
                <a:gd name="connsiteX2" fmla="*/ 437760 w 1123560"/>
                <a:gd name="connsiteY2" fmla="*/ 3175 h 1476375"/>
                <a:gd name="connsiteX3" fmla="*/ 444110 w 1123560"/>
                <a:gd name="connsiteY3" fmla="*/ 12700 h 1476375"/>
                <a:gd name="connsiteX4" fmla="*/ 447285 w 1123560"/>
                <a:gd name="connsiteY4" fmla="*/ 22225 h 1476375"/>
                <a:gd name="connsiteX5" fmla="*/ 450460 w 1123560"/>
                <a:gd name="connsiteY5" fmla="*/ 38100 h 1476375"/>
                <a:gd name="connsiteX6" fmla="*/ 469510 w 1123560"/>
                <a:gd name="connsiteY6" fmla="*/ 53975 h 1476375"/>
                <a:gd name="connsiteX7" fmla="*/ 488560 w 1123560"/>
                <a:gd name="connsiteY7" fmla="*/ 47625 h 1476375"/>
                <a:gd name="connsiteX8" fmla="*/ 498085 w 1123560"/>
                <a:gd name="connsiteY8" fmla="*/ 44450 h 1476375"/>
                <a:gd name="connsiteX9" fmla="*/ 507610 w 1123560"/>
                <a:gd name="connsiteY9" fmla="*/ 53975 h 1476375"/>
                <a:gd name="connsiteX10" fmla="*/ 517135 w 1123560"/>
                <a:gd name="connsiteY10" fmla="*/ 60325 h 1476375"/>
                <a:gd name="connsiteX11" fmla="*/ 529835 w 1123560"/>
                <a:gd name="connsiteY11" fmla="*/ 79375 h 1476375"/>
                <a:gd name="connsiteX12" fmla="*/ 545710 w 1123560"/>
                <a:gd name="connsiteY12" fmla="*/ 104775 h 1476375"/>
                <a:gd name="connsiteX13" fmla="*/ 564760 w 1123560"/>
                <a:gd name="connsiteY13" fmla="*/ 111125 h 1476375"/>
                <a:gd name="connsiteX14" fmla="*/ 583810 w 1123560"/>
                <a:gd name="connsiteY14" fmla="*/ 117475 h 1476375"/>
                <a:gd name="connsiteX15" fmla="*/ 593335 w 1123560"/>
                <a:gd name="connsiteY15" fmla="*/ 120650 h 1476375"/>
                <a:gd name="connsiteX16" fmla="*/ 602860 w 1123560"/>
                <a:gd name="connsiteY16" fmla="*/ 123825 h 1476375"/>
                <a:gd name="connsiteX17" fmla="*/ 618735 w 1123560"/>
                <a:gd name="connsiteY17" fmla="*/ 120650 h 1476375"/>
                <a:gd name="connsiteX18" fmla="*/ 637785 w 1123560"/>
                <a:gd name="connsiteY18" fmla="*/ 114300 h 1476375"/>
                <a:gd name="connsiteX19" fmla="*/ 656835 w 1123560"/>
                <a:gd name="connsiteY19" fmla="*/ 111125 h 1476375"/>
                <a:gd name="connsiteX20" fmla="*/ 660010 w 1123560"/>
                <a:gd name="connsiteY20" fmla="*/ 120650 h 1476375"/>
                <a:gd name="connsiteX21" fmla="*/ 666360 w 1123560"/>
                <a:gd name="connsiteY21" fmla="*/ 142875 h 1476375"/>
                <a:gd name="connsiteX22" fmla="*/ 682235 w 1123560"/>
                <a:gd name="connsiteY22" fmla="*/ 123825 h 1476375"/>
                <a:gd name="connsiteX23" fmla="*/ 691760 w 1123560"/>
                <a:gd name="connsiteY23" fmla="*/ 120650 h 1476375"/>
                <a:gd name="connsiteX24" fmla="*/ 701285 w 1123560"/>
                <a:gd name="connsiteY24" fmla="*/ 123825 h 1476375"/>
                <a:gd name="connsiteX25" fmla="*/ 707635 w 1123560"/>
                <a:gd name="connsiteY25" fmla="*/ 146050 h 1476375"/>
                <a:gd name="connsiteX26" fmla="*/ 704460 w 1123560"/>
                <a:gd name="connsiteY26" fmla="*/ 184150 h 1476375"/>
                <a:gd name="connsiteX27" fmla="*/ 691760 w 1123560"/>
                <a:gd name="connsiteY27" fmla="*/ 212725 h 1476375"/>
                <a:gd name="connsiteX28" fmla="*/ 688585 w 1123560"/>
                <a:gd name="connsiteY28" fmla="*/ 222250 h 1476375"/>
                <a:gd name="connsiteX29" fmla="*/ 691760 w 1123560"/>
                <a:gd name="connsiteY29" fmla="*/ 241300 h 1476375"/>
                <a:gd name="connsiteX30" fmla="*/ 704460 w 1123560"/>
                <a:gd name="connsiteY30" fmla="*/ 260350 h 1476375"/>
                <a:gd name="connsiteX31" fmla="*/ 698110 w 1123560"/>
                <a:gd name="connsiteY31" fmla="*/ 282575 h 1476375"/>
                <a:gd name="connsiteX32" fmla="*/ 679060 w 1123560"/>
                <a:gd name="connsiteY32" fmla="*/ 301625 h 1476375"/>
                <a:gd name="connsiteX33" fmla="*/ 675885 w 1123560"/>
                <a:gd name="connsiteY33" fmla="*/ 311150 h 1476375"/>
                <a:gd name="connsiteX34" fmla="*/ 675885 w 1123560"/>
                <a:gd name="connsiteY34" fmla="*/ 368300 h 1476375"/>
                <a:gd name="connsiteX35" fmla="*/ 685410 w 1123560"/>
                <a:gd name="connsiteY35" fmla="*/ 371475 h 1476375"/>
                <a:gd name="connsiteX36" fmla="*/ 698110 w 1123560"/>
                <a:gd name="connsiteY36" fmla="*/ 374650 h 1476375"/>
                <a:gd name="connsiteX37" fmla="*/ 717160 w 1123560"/>
                <a:gd name="connsiteY37" fmla="*/ 381000 h 1476375"/>
                <a:gd name="connsiteX38" fmla="*/ 726685 w 1123560"/>
                <a:gd name="connsiteY38" fmla="*/ 387350 h 1476375"/>
                <a:gd name="connsiteX39" fmla="*/ 736210 w 1123560"/>
                <a:gd name="connsiteY39" fmla="*/ 390525 h 1476375"/>
                <a:gd name="connsiteX40" fmla="*/ 742560 w 1123560"/>
                <a:gd name="connsiteY40" fmla="*/ 400050 h 1476375"/>
                <a:gd name="connsiteX41" fmla="*/ 733035 w 1123560"/>
                <a:gd name="connsiteY41" fmla="*/ 434975 h 1476375"/>
                <a:gd name="connsiteX42" fmla="*/ 729860 w 1123560"/>
                <a:gd name="connsiteY42" fmla="*/ 444500 h 1476375"/>
                <a:gd name="connsiteX43" fmla="*/ 733035 w 1123560"/>
                <a:gd name="connsiteY43" fmla="*/ 463550 h 1476375"/>
                <a:gd name="connsiteX44" fmla="*/ 726685 w 1123560"/>
                <a:gd name="connsiteY44" fmla="*/ 517525 h 1476375"/>
                <a:gd name="connsiteX45" fmla="*/ 720335 w 1123560"/>
                <a:gd name="connsiteY45" fmla="*/ 536575 h 1476375"/>
                <a:gd name="connsiteX46" fmla="*/ 713985 w 1123560"/>
                <a:gd name="connsiteY46" fmla="*/ 546100 h 1476375"/>
                <a:gd name="connsiteX47" fmla="*/ 717160 w 1123560"/>
                <a:gd name="connsiteY47" fmla="*/ 612775 h 1476375"/>
                <a:gd name="connsiteX48" fmla="*/ 720335 w 1123560"/>
                <a:gd name="connsiteY48" fmla="*/ 622300 h 1476375"/>
                <a:gd name="connsiteX49" fmla="*/ 726685 w 1123560"/>
                <a:gd name="connsiteY49" fmla="*/ 631825 h 1476375"/>
                <a:gd name="connsiteX50" fmla="*/ 733035 w 1123560"/>
                <a:gd name="connsiteY50" fmla="*/ 650875 h 1476375"/>
                <a:gd name="connsiteX51" fmla="*/ 739385 w 1123560"/>
                <a:gd name="connsiteY51" fmla="*/ 660400 h 1476375"/>
                <a:gd name="connsiteX52" fmla="*/ 742560 w 1123560"/>
                <a:gd name="connsiteY52" fmla="*/ 669925 h 1476375"/>
                <a:gd name="connsiteX53" fmla="*/ 752085 w 1123560"/>
                <a:gd name="connsiteY53" fmla="*/ 676275 h 1476375"/>
                <a:gd name="connsiteX54" fmla="*/ 767960 w 1123560"/>
                <a:gd name="connsiteY54" fmla="*/ 698500 h 1476375"/>
                <a:gd name="connsiteX55" fmla="*/ 787010 w 1123560"/>
                <a:gd name="connsiteY55" fmla="*/ 708025 h 1476375"/>
                <a:gd name="connsiteX56" fmla="*/ 806060 w 1123560"/>
                <a:gd name="connsiteY56" fmla="*/ 723900 h 1476375"/>
                <a:gd name="connsiteX57" fmla="*/ 828285 w 1123560"/>
                <a:gd name="connsiteY57" fmla="*/ 730250 h 1476375"/>
                <a:gd name="connsiteX58" fmla="*/ 856860 w 1123560"/>
                <a:gd name="connsiteY58" fmla="*/ 739775 h 1476375"/>
                <a:gd name="connsiteX59" fmla="*/ 866385 w 1123560"/>
                <a:gd name="connsiteY59" fmla="*/ 742950 h 1476375"/>
                <a:gd name="connsiteX60" fmla="*/ 882260 w 1123560"/>
                <a:gd name="connsiteY60" fmla="*/ 739775 h 1476375"/>
                <a:gd name="connsiteX61" fmla="*/ 901310 w 1123560"/>
                <a:gd name="connsiteY61" fmla="*/ 733425 h 1476375"/>
                <a:gd name="connsiteX62" fmla="*/ 917185 w 1123560"/>
                <a:gd name="connsiteY62" fmla="*/ 720725 h 1476375"/>
                <a:gd name="connsiteX63" fmla="*/ 926710 w 1123560"/>
                <a:gd name="connsiteY63" fmla="*/ 723900 h 1476375"/>
                <a:gd name="connsiteX64" fmla="*/ 942585 w 1123560"/>
                <a:gd name="connsiteY64" fmla="*/ 742950 h 1476375"/>
                <a:gd name="connsiteX65" fmla="*/ 948935 w 1123560"/>
                <a:gd name="connsiteY65" fmla="*/ 752475 h 1476375"/>
                <a:gd name="connsiteX66" fmla="*/ 967985 w 1123560"/>
                <a:gd name="connsiteY66" fmla="*/ 768350 h 1476375"/>
                <a:gd name="connsiteX67" fmla="*/ 987035 w 1123560"/>
                <a:gd name="connsiteY67" fmla="*/ 774700 h 1476375"/>
                <a:gd name="connsiteX68" fmla="*/ 996560 w 1123560"/>
                <a:gd name="connsiteY68" fmla="*/ 777875 h 1476375"/>
                <a:gd name="connsiteX69" fmla="*/ 1009260 w 1123560"/>
                <a:gd name="connsiteY69" fmla="*/ 774700 h 1476375"/>
                <a:gd name="connsiteX70" fmla="*/ 1018785 w 1123560"/>
                <a:gd name="connsiteY70" fmla="*/ 771525 h 1476375"/>
                <a:gd name="connsiteX71" fmla="*/ 1041010 w 1123560"/>
                <a:gd name="connsiteY71" fmla="*/ 774700 h 1476375"/>
                <a:gd name="connsiteX72" fmla="*/ 1050535 w 1123560"/>
                <a:gd name="connsiteY72" fmla="*/ 777875 h 1476375"/>
                <a:gd name="connsiteX73" fmla="*/ 1053710 w 1123560"/>
                <a:gd name="connsiteY73" fmla="*/ 787400 h 1476375"/>
                <a:gd name="connsiteX74" fmla="*/ 1060060 w 1123560"/>
                <a:gd name="connsiteY74" fmla="*/ 796925 h 1476375"/>
                <a:gd name="connsiteX75" fmla="*/ 1079110 w 1123560"/>
                <a:gd name="connsiteY75" fmla="*/ 809625 h 1476375"/>
                <a:gd name="connsiteX76" fmla="*/ 1098160 w 1123560"/>
                <a:gd name="connsiteY76" fmla="*/ 815975 h 1476375"/>
                <a:gd name="connsiteX77" fmla="*/ 1107685 w 1123560"/>
                <a:gd name="connsiteY77" fmla="*/ 822325 h 1476375"/>
                <a:gd name="connsiteX78" fmla="*/ 1120385 w 1123560"/>
                <a:gd name="connsiteY78" fmla="*/ 841375 h 1476375"/>
                <a:gd name="connsiteX79" fmla="*/ 1117210 w 1123560"/>
                <a:gd name="connsiteY79" fmla="*/ 882650 h 1476375"/>
                <a:gd name="connsiteX80" fmla="*/ 1123560 w 1123560"/>
                <a:gd name="connsiteY80" fmla="*/ 914400 h 1476375"/>
                <a:gd name="connsiteX81" fmla="*/ 1120385 w 1123560"/>
                <a:gd name="connsiteY81" fmla="*/ 933450 h 1476375"/>
                <a:gd name="connsiteX82" fmla="*/ 1117210 w 1123560"/>
                <a:gd name="connsiteY82" fmla="*/ 942975 h 1476375"/>
                <a:gd name="connsiteX83" fmla="*/ 1098160 w 1123560"/>
                <a:gd name="connsiteY83" fmla="*/ 955675 h 1476375"/>
                <a:gd name="connsiteX84" fmla="*/ 1069585 w 1123560"/>
                <a:gd name="connsiteY84" fmla="*/ 977900 h 1476375"/>
                <a:gd name="connsiteX85" fmla="*/ 1060060 w 1123560"/>
                <a:gd name="connsiteY85" fmla="*/ 981075 h 1476375"/>
                <a:gd name="connsiteX86" fmla="*/ 983860 w 1123560"/>
                <a:gd name="connsiteY86" fmla="*/ 977900 h 1476375"/>
                <a:gd name="connsiteX87" fmla="*/ 967985 w 1123560"/>
                <a:gd name="connsiteY87" fmla="*/ 974725 h 1476375"/>
                <a:gd name="connsiteX88" fmla="*/ 948935 w 1123560"/>
                <a:gd name="connsiteY88" fmla="*/ 968375 h 1476375"/>
                <a:gd name="connsiteX89" fmla="*/ 923535 w 1123560"/>
                <a:gd name="connsiteY89" fmla="*/ 971550 h 1476375"/>
                <a:gd name="connsiteX90" fmla="*/ 904485 w 1123560"/>
                <a:gd name="connsiteY90" fmla="*/ 984250 h 1476375"/>
                <a:gd name="connsiteX91" fmla="*/ 885435 w 1123560"/>
                <a:gd name="connsiteY91" fmla="*/ 996950 h 1476375"/>
                <a:gd name="connsiteX92" fmla="*/ 866385 w 1123560"/>
                <a:gd name="connsiteY92" fmla="*/ 1003300 h 1476375"/>
                <a:gd name="connsiteX93" fmla="*/ 844160 w 1123560"/>
                <a:gd name="connsiteY93" fmla="*/ 1009650 h 1476375"/>
                <a:gd name="connsiteX94" fmla="*/ 796535 w 1123560"/>
                <a:gd name="connsiteY94" fmla="*/ 1016000 h 1476375"/>
                <a:gd name="connsiteX95" fmla="*/ 777485 w 1123560"/>
                <a:gd name="connsiteY95" fmla="*/ 1022350 h 1476375"/>
                <a:gd name="connsiteX96" fmla="*/ 755260 w 1123560"/>
                <a:gd name="connsiteY96" fmla="*/ 1031875 h 1476375"/>
                <a:gd name="connsiteX97" fmla="*/ 736210 w 1123560"/>
                <a:gd name="connsiteY97" fmla="*/ 1044575 h 1476375"/>
                <a:gd name="connsiteX98" fmla="*/ 710810 w 1123560"/>
                <a:gd name="connsiteY98" fmla="*/ 1073150 h 1476375"/>
                <a:gd name="connsiteX99" fmla="*/ 701285 w 1123560"/>
                <a:gd name="connsiteY99" fmla="*/ 1082675 h 1476375"/>
                <a:gd name="connsiteX100" fmla="*/ 694935 w 1123560"/>
                <a:gd name="connsiteY100" fmla="*/ 1101725 h 1476375"/>
                <a:gd name="connsiteX101" fmla="*/ 698110 w 1123560"/>
                <a:gd name="connsiteY101" fmla="*/ 1114425 h 1476375"/>
                <a:gd name="connsiteX102" fmla="*/ 704460 w 1123560"/>
                <a:gd name="connsiteY102" fmla="*/ 1143000 h 1476375"/>
                <a:gd name="connsiteX103" fmla="*/ 701285 w 1123560"/>
                <a:gd name="connsiteY103" fmla="*/ 1181100 h 1476375"/>
                <a:gd name="connsiteX104" fmla="*/ 698110 w 1123560"/>
                <a:gd name="connsiteY104" fmla="*/ 1196975 h 1476375"/>
                <a:gd name="connsiteX105" fmla="*/ 694935 w 1123560"/>
                <a:gd name="connsiteY105" fmla="*/ 1219200 h 1476375"/>
                <a:gd name="connsiteX106" fmla="*/ 707635 w 1123560"/>
                <a:gd name="connsiteY106" fmla="*/ 1235075 h 1476375"/>
                <a:gd name="connsiteX107" fmla="*/ 710810 w 1123560"/>
                <a:gd name="connsiteY107" fmla="*/ 1244600 h 1476375"/>
                <a:gd name="connsiteX108" fmla="*/ 720335 w 1123560"/>
                <a:gd name="connsiteY108" fmla="*/ 1263650 h 1476375"/>
                <a:gd name="connsiteX109" fmla="*/ 717160 w 1123560"/>
                <a:gd name="connsiteY109" fmla="*/ 1292225 h 1476375"/>
                <a:gd name="connsiteX110" fmla="*/ 713985 w 1123560"/>
                <a:gd name="connsiteY110" fmla="*/ 1301750 h 1476375"/>
                <a:gd name="connsiteX111" fmla="*/ 720335 w 1123560"/>
                <a:gd name="connsiteY111" fmla="*/ 1330325 h 1476375"/>
                <a:gd name="connsiteX112" fmla="*/ 726685 w 1123560"/>
                <a:gd name="connsiteY112" fmla="*/ 1339850 h 1476375"/>
                <a:gd name="connsiteX113" fmla="*/ 729860 w 1123560"/>
                <a:gd name="connsiteY113" fmla="*/ 1349375 h 1476375"/>
                <a:gd name="connsiteX114" fmla="*/ 739385 w 1123560"/>
                <a:gd name="connsiteY114" fmla="*/ 1355725 h 1476375"/>
                <a:gd name="connsiteX115" fmla="*/ 755260 w 1123560"/>
                <a:gd name="connsiteY115" fmla="*/ 1374775 h 1476375"/>
                <a:gd name="connsiteX116" fmla="*/ 752085 w 1123560"/>
                <a:gd name="connsiteY116" fmla="*/ 1384300 h 1476375"/>
                <a:gd name="connsiteX117" fmla="*/ 761610 w 1123560"/>
                <a:gd name="connsiteY117" fmla="*/ 1403350 h 1476375"/>
                <a:gd name="connsiteX118" fmla="*/ 764785 w 1123560"/>
                <a:gd name="connsiteY118" fmla="*/ 1412875 h 1476375"/>
                <a:gd name="connsiteX119" fmla="*/ 755260 w 1123560"/>
                <a:gd name="connsiteY119" fmla="*/ 1463675 h 1476375"/>
                <a:gd name="connsiteX120" fmla="*/ 745735 w 1123560"/>
                <a:gd name="connsiteY120" fmla="*/ 1473200 h 1476375"/>
                <a:gd name="connsiteX121" fmla="*/ 729860 w 1123560"/>
                <a:gd name="connsiteY121" fmla="*/ 1476375 h 1476375"/>
                <a:gd name="connsiteX122" fmla="*/ 723510 w 1123560"/>
                <a:gd name="connsiteY122" fmla="*/ 1466850 h 1476375"/>
                <a:gd name="connsiteX123" fmla="*/ 682235 w 1123560"/>
                <a:gd name="connsiteY123" fmla="*/ 1463675 h 1476375"/>
                <a:gd name="connsiteX124" fmla="*/ 672710 w 1123560"/>
                <a:gd name="connsiteY124" fmla="*/ 1466850 h 1476375"/>
                <a:gd name="connsiteX125" fmla="*/ 637785 w 1123560"/>
                <a:gd name="connsiteY125" fmla="*/ 1457325 h 1476375"/>
                <a:gd name="connsiteX126" fmla="*/ 628260 w 1123560"/>
                <a:gd name="connsiteY126" fmla="*/ 1447800 h 1476375"/>
                <a:gd name="connsiteX127" fmla="*/ 625085 w 1123560"/>
                <a:gd name="connsiteY127" fmla="*/ 1438275 h 1476375"/>
                <a:gd name="connsiteX128" fmla="*/ 602860 w 1123560"/>
                <a:gd name="connsiteY128" fmla="*/ 1409700 h 1476375"/>
                <a:gd name="connsiteX129" fmla="*/ 593335 w 1123560"/>
                <a:gd name="connsiteY129" fmla="*/ 1403350 h 1476375"/>
                <a:gd name="connsiteX130" fmla="*/ 520310 w 1123560"/>
                <a:gd name="connsiteY130" fmla="*/ 1400175 h 1476375"/>
                <a:gd name="connsiteX131" fmla="*/ 501260 w 1123560"/>
                <a:gd name="connsiteY131" fmla="*/ 1387475 h 1476375"/>
                <a:gd name="connsiteX132" fmla="*/ 482210 w 1123560"/>
                <a:gd name="connsiteY132" fmla="*/ 1371600 h 1476375"/>
                <a:gd name="connsiteX133" fmla="*/ 463160 w 1123560"/>
                <a:gd name="connsiteY133" fmla="*/ 1365250 h 1476375"/>
                <a:gd name="connsiteX134" fmla="*/ 396485 w 1123560"/>
                <a:gd name="connsiteY134" fmla="*/ 1358900 h 1476375"/>
                <a:gd name="connsiteX135" fmla="*/ 390135 w 1123560"/>
                <a:gd name="connsiteY135" fmla="*/ 1349375 h 1476375"/>
                <a:gd name="connsiteX136" fmla="*/ 390135 w 1123560"/>
                <a:gd name="connsiteY136" fmla="*/ 1304925 h 1476375"/>
                <a:gd name="connsiteX137" fmla="*/ 383785 w 1123560"/>
                <a:gd name="connsiteY137" fmla="*/ 1295400 h 1476375"/>
                <a:gd name="connsiteX138" fmla="*/ 358385 w 1123560"/>
                <a:gd name="connsiteY138" fmla="*/ 1289050 h 1476375"/>
                <a:gd name="connsiteX139" fmla="*/ 361560 w 1123560"/>
                <a:gd name="connsiteY139" fmla="*/ 1270000 h 1476375"/>
                <a:gd name="connsiteX140" fmla="*/ 380610 w 1123560"/>
                <a:gd name="connsiteY140" fmla="*/ 1257300 h 1476375"/>
                <a:gd name="connsiteX141" fmla="*/ 380610 w 1123560"/>
                <a:gd name="connsiteY141" fmla="*/ 1219200 h 1476375"/>
                <a:gd name="connsiteX142" fmla="*/ 364735 w 1123560"/>
                <a:gd name="connsiteY142" fmla="*/ 1190625 h 1476375"/>
                <a:gd name="connsiteX143" fmla="*/ 348860 w 1123560"/>
                <a:gd name="connsiteY143" fmla="*/ 1171575 h 1476375"/>
                <a:gd name="connsiteX144" fmla="*/ 329810 w 1123560"/>
                <a:gd name="connsiteY144" fmla="*/ 1165225 h 1476375"/>
                <a:gd name="connsiteX145" fmla="*/ 310760 w 1123560"/>
                <a:gd name="connsiteY145" fmla="*/ 1158875 h 1476375"/>
                <a:gd name="connsiteX146" fmla="*/ 244085 w 1123560"/>
                <a:gd name="connsiteY146" fmla="*/ 1152525 h 1476375"/>
                <a:gd name="connsiteX147" fmla="*/ 221860 w 1123560"/>
                <a:gd name="connsiteY147" fmla="*/ 1149350 h 1476375"/>
                <a:gd name="connsiteX148" fmla="*/ 177410 w 1123560"/>
                <a:gd name="connsiteY148" fmla="*/ 1143000 h 1476375"/>
                <a:gd name="connsiteX149" fmla="*/ 171060 w 1123560"/>
                <a:gd name="connsiteY149" fmla="*/ 1133475 h 1476375"/>
                <a:gd name="connsiteX150" fmla="*/ 161535 w 1123560"/>
                <a:gd name="connsiteY150" fmla="*/ 1101725 h 1476375"/>
                <a:gd name="connsiteX151" fmla="*/ 155185 w 1123560"/>
                <a:gd name="connsiteY151" fmla="*/ 1082675 h 1476375"/>
                <a:gd name="connsiteX152" fmla="*/ 145660 w 1123560"/>
                <a:gd name="connsiteY152" fmla="*/ 1076325 h 1476375"/>
                <a:gd name="connsiteX153" fmla="*/ 139310 w 1123560"/>
                <a:gd name="connsiteY153" fmla="*/ 1066800 h 1476375"/>
                <a:gd name="connsiteX154" fmla="*/ 139310 w 1123560"/>
                <a:gd name="connsiteY154" fmla="*/ 1022350 h 1476375"/>
                <a:gd name="connsiteX155" fmla="*/ 129785 w 1123560"/>
                <a:gd name="connsiteY155" fmla="*/ 1003300 h 1476375"/>
                <a:gd name="connsiteX156" fmla="*/ 120260 w 1123560"/>
                <a:gd name="connsiteY156" fmla="*/ 1000125 h 1476375"/>
                <a:gd name="connsiteX157" fmla="*/ 91685 w 1123560"/>
                <a:gd name="connsiteY157" fmla="*/ 990600 h 1476375"/>
                <a:gd name="connsiteX158" fmla="*/ 44060 w 1123560"/>
                <a:gd name="connsiteY158" fmla="*/ 984250 h 1476375"/>
                <a:gd name="connsiteX159" fmla="*/ 37710 w 1123560"/>
                <a:gd name="connsiteY159" fmla="*/ 962025 h 1476375"/>
                <a:gd name="connsiteX160" fmla="*/ 31360 w 1123560"/>
                <a:gd name="connsiteY160" fmla="*/ 942975 h 1476375"/>
                <a:gd name="connsiteX161" fmla="*/ 25010 w 1123560"/>
                <a:gd name="connsiteY161" fmla="*/ 933450 h 1476375"/>
                <a:gd name="connsiteX162" fmla="*/ 18660 w 1123560"/>
                <a:gd name="connsiteY162" fmla="*/ 914400 h 1476375"/>
                <a:gd name="connsiteX163" fmla="*/ 12310 w 1123560"/>
                <a:gd name="connsiteY163" fmla="*/ 892175 h 1476375"/>
                <a:gd name="connsiteX164" fmla="*/ 2785 w 1123560"/>
                <a:gd name="connsiteY164" fmla="*/ 873125 h 1476375"/>
                <a:gd name="connsiteX165" fmla="*/ 5960 w 1123560"/>
                <a:gd name="connsiteY165" fmla="*/ 857250 h 1476375"/>
                <a:gd name="connsiteX166" fmla="*/ 25010 w 1123560"/>
                <a:gd name="connsiteY166" fmla="*/ 847725 h 1476375"/>
                <a:gd name="connsiteX167" fmla="*/ 28185 w 1123560"/>
                <a:gd name="connsiteY167" fmla="*/ 838200 h 1476375"/>
                <a:gd name="connsiteX168" fmla="*/ 34535 w 1123560"/>
                <a:gd name="connsiteY168" fmla="*/ 828675 h 1476375"/>
                <a:gd name="connsiteX169" fmla="*/ 40885 w 1123560"/>
                <a:gd name="connsiteY169" fmla="*/ 809625 h 1476375"/>
                <a:gd name="connsiteX170" fmla="*/ 31360 w 1123560"/>
                <a:gd name="connsiteY170" fmla="*/ 790575 h 1476375"/>
                <a:gd name="connsiteX171" fmla="*/ 18660 w 1123560"/>
                <a:gd name="connsiteY171" fmla="*/ 771525 h 1476375"/>
                <a:gd name="connsiteX172" fmla="*/ 15485 w 1123560"/>
                <a:gd name="connsiteY172" fmla="*/ 762000 h 1476375"/>
                <a:gd name="connsiteX173" fmla="*/ 18660 w 1123560"/>
                <a:gd name="connsiteY173" fmla="*/ 749300 h 1476375"/>
                <a:gd name="connsiteX174" fmla="*/ 37710 w 1123560"/>
                <a:gd name="connsiteY174" fmla="*/ 739775 h 1476375"/>
                <a:gd name="connsiteX175" fmla="*/ 66285 w 1123560"/>
                <a:gd name="connsiteY175" fmla="*/ 730250 h 1476375"/>
                <a:gd name="connsiteX176" fmla="*/ 85335 w 1123560"/>
                <a:gd name="connsiteY176" fmla="*/ 723900 h 1476375"/>
                <a:gd name="connsiteX177" fmla="*/ 113910 w 1123560"/>
                <a:gd name="connsiteY177" fmla="*/ 717550 h 1476375"/>
                <a:gd name="connsiteX178" fmla="*/ 155185 w 1123560"/>
                <a:gd name="connsiteY178" fmla="*/ 714375 h 1476375"/>
                <a:gd name="connsiteX179" fmla="*/ 164710 w 1123560"/>
                <a:gd name="connsiteY179" fmla="*/ 708025 h 1476375"/>
                <a:gd name="connsiteX180" fmla="*/ 177410 w 1123560"/>
                <a:gd name="connsiteY180" fmla="*/ 688975 h 1476375"/>
                <a:gd name="connsiteX181" fmla="*/ 183760 w 1123560"/>
                <a:gd name="connsiteY181" fmla="*/ 679450 h 1476375"/>
                <a:gd name="connsiteX182" fmla="*/ 193285 w 1123560"/>
                <a:gd name="connsiteY182" fmla="*/ 669925 h 1476375"/>
                <a:gd name="connsiteX183" fmla="*/ 196460 w 1123560"/>
                <a:gd name="connsiteY183" fmla="*/ 660400 h 1476375"/>
                <a:gd name="connsiteX184" fmla="*/ 205985 w 1123560"/>
                <a:gd name="connsiteY184" fmla="*/ 654050 h 1476375"/>
                <a:gd name="connsiteX185" fmla="*/ 212335 w 1123560"/>
                <a:gd name="connsiteY185" fmla="*/ 635000 h 1476375"/>
                <a:gd name="connsiteX186" fmla="*/ 209160 w 1123560"/>
                <a:gd name="connsiteY186" fmla="*/ 619125 h 1476375"/>
                <a:gd name="connsiteX187" fmla="*/ 199635 w 1123560"/>
                <a:gd name="connsiteY187" fmla="*/ 612775 h 1476375"/>
                <a:gd name="connsiteX188" fmla="*/ 202810 w 1123560"/>
                <a:gd name="connsiteY188" fmla="*/ 603250 h 1476375"/>
                <a:gd name="connsiteX189" fmla="*/ 212335 w 1123560"/>
                <a:gd name="connsiteY189" fmla="*/ 593725 h 1476375"/>
                <a:gd name="connsiteX190" fmla="*/ 218685 w 1123560"/>
                <a:gd name="connsiteY190" fmla="*/ 584200 h 1476375"/>
                <a:gd name="connsiteX191" fmla="*/ 209160 w 1123560"/>
                <a:gd name="connsiteY191" fmla="*/ 558800 h 1476375"/>
                <a:gd name="connsiteX192" fmla="*/ 199635 w 1123560"/>
                <a:gd name="connsiteY192" fmla="*/ 552450 h 1476375"/>
                <a:gd name="connsiteX193" fmla="*/ 186935 w 1123560"/>
                <a:gd name="connsiteY193" fmla="*/ 533400 h 1476375"/>
                <a:gd name="connsiteX194" fmla="*/ 190110 w 1123560"/>
                <a:gd name="connsiteY194" fmla="*/ 517525 h 1476375"/>
                <a:gd name="connsiteX195" fmla="*/ 205985 w 1123560"/>
                <a:gd name="connsiteY195" fmla="*/ 501650 h 1476375"/>
                <a:gd name="connsiteX196" fmla="*/ 212335 w 1123560"/>
                <a:gd name="connsiteY196" fmla="*/ 492125 h 1476375"/>
                <a:gd name="connsiteX197" fmla="*/ 215510 w 1123560"/>
                <a:gd name="connsiteY197" fmla="*/ 482600 h 1476375"/>
                <a:gd name="connsiteX198" fmla="*/ 199635 w 1123560"/>
                <a:gd name="connsiteY198" fmla="*/ 457200 h 1476375"/>
                <a:gd name="connsiteX199" fmla="*/ 190110 w 1123560"/>
                <a:gd name="connsiteY199" fmla="*/ 447675 h 1476375"/>
                <a:gd name="connsiteX200" fmla="*/ 177410 w 1123560"/>
                <a:gd name="connsiteY200" fmla="*/ 428625 h 1476375"/>
                <a:gd name="connsiteX201" fmla="*/ 171060 w 1123560"/>
                <a:gd name="connsiteY201" fmla="*/ 419100 h 1476375"/>
                <a:gd name="connsiteX202" fmla="*/ 167885 w 1123560"/>
                <a:gd name="connsiteY202" fmla="*/ 409575 h 1476375"/>
                <a:gd name="connsiteX203" fmla="*/ 174235 w 1123560"/>
                <a:gd name="connsiteY203" fmla="*/ 400050 h 1476375"/>
                <a:gd name="connsiteX204" fmla="*/ 180585 w 1123560"/>
                <a:gd name="connsiteY204" fmla="*/ 381000 h 1476375"/>
                <a:gd name="connsiteX205" fmla="*/ 167885 w 1123560"/>
                <a:gd name="connsiteY205" fmla="*/ 352425 h 1476375"/>
                <a:gd name="connsiteX206" fmla="*/ 161535 w 1123560"/>
                <a:gd name="connsiteY206" fmla="*/ 342900 h 1476375"/>
                <a:gd name="connsiteX207" fmla="*/ 155185 w 1123560"/>
                <a:gd name="connsiteY207" fmla="*/ 323850 h 1476375"/>
                <a:gd name="connsiteX208" fmla="*/ 142485 w 1123560"/>
                <a:gd name="connsiteY208" fmla="*/ 304800 h 1476375"/>
                <a:gd name="connsiteX209" fmla="*/ 110735 w 1123560"/>
                <a:gd name="connsiteY209" fmla="*/ 257175 h 1476375"/>
                <a:gd name="connsiteX210" fmla="*/ 107560 w 1123560"/>
                <a:gd name="connsiteY210" fmla="*/ 247650 h 1476375"/>
                <a:gd name="connsiteX211" fmla="*/ 94860 w 1123560"/>
                <a:gd name="connsiteY211" fmla="*/ 228600 h 1476375"/>
                <a:gd name="connsiteX212" fmla="*/ 88510 w 1123560"/>
                <a:gd name="connsiteY212" fmla="*/ 209550 h 1476375"/>
                <a:gd name="connsiteX213" fmla="*/ 85335 w 1123560"/>
                <a:gd name="connsiteY213" fmla="*/ 200025 h 1476375"/>
                <a:gd name="connsiteX214" fmla="*/ 82160 w 1123560"/>
                <a:gd name="connsiteY214" fmla="*/ 190500 h 1476375"/>
                <a:gd name="connsiteX215" fmla="*/ 78985 w 1123560"/>
                <a:gd name="connsiteY215" fmla="*/ 171450 h 1476375"/>
                <a:gd name="connsiteX216" fmla="*/ 82160 w 1123560"/>
                <a:gd name="connsiteY216" fmla="*/ 161925 h 1476375"/>
                <a:gd name="connsiteX217" fmla="*/ 139310 w 1123560"/>
                <a:gd name="connsiteY217" fmla="*/ 152400 h 1476375"/>
                <a:gd name="connsiteX218" fmla="*/ 158360 w 1123560"/>
                <a:gd name="connsiteY218" fmla="*/ 146050 h 1476375"/>
                <a:gd name="connsiteX219" fmla="*/ 164710 w 1123560"/>
                <a:gd name="connsiteY219" fmla="*/ 136525 h 1476375"/>
                <a:gd name="connsiteX220" fmla="*/ 174235 w 1123560"/>
                <a:gd name="connsiteY220" fmla="*/ 130175 h 1476375"/>
                <a:gd name="connsiteX221" fmla="*/ 193285 w 1123560"/>
                <a:gd name="connsiteY221" fmla="*/ 123825 h 1476375"/>
                <a:gd name="connsiteX222" fmla="*/ 221860 w 1123560"/>
                <a:gd name="connsiteY222" fmla="*/ 117475 h 1476375"/>
                <a:gd name="connsiteX223" fmla="*/ 259960 w 1123560"/>
                <a:gd name="connsiteY223" fmla="*/ 120650 h 1476375"/>
                <a:gd name="connsiteX224" fmla="*/ 279010 w 1123560"/>
                <a:gd name="connsiteY224" fmla="*/ 127000 h 1476375"/>
                <a:gd name="connsiteX225" fmla="*/ 288535 w 1123560"/>
                <a:gd name="connsiteY225" fmla="*/ 133350 h 1476375"/>
                <a:gd name="connsiteX226" fmla="*/ 317110 w 1123560"/>
                <a:gd name="connsiteY226" fmla="*/ 127000 h 1476375"/>
                <a:gd name="connsiteX227" fmla="*/ 342510 w 1123560"/>
                <a:gd name="connsiteY227" fmla="*/ 120650 h 1476375"/>
                <a:gd name="connsiteX228" fmla="*/ 345685 w 1123560"/>
                <a:gd name="connsiteY228" fmla="*/ 111125 h 1476375"/>
                <a:gd name="connsiteX229" fmla="*/ 364735 w 1123560"/>
                <a:gd name="connsiteY229" fmla="*/ 98425 h 1476375"/>
                <a:gd name="connsiteX230" fmla="*/ 383785 w 1123560"/>
                <a:gd name="connsiteY230" fmla="*/ 82550 h 1476375"/>
                <a:gd name="connsiteX231" fmla="*/ 386960 w 1123560"/>
                <a:gd name="connsiteY231" fmla="*/ 53975 h 1476375"/>
                <a:gd name="connsiteX232" fmla="*/ 406010 w 1123560"/>
                <a:gd name="connsiteY232" fmla="*/ 47625 h 1476375"/>
                <a:gd name="connsiteX233" fmla="*/ 415535 w 1123560"/>
                <a:gd name="connsiteY233" fmla="*/ 41275 h 1476375"/>
                <a:gd name="connsiteX234" fmla="*/ 415535 w 1123560"/>
                <a:gd name="connsiteY234" fmla="*/ 22225 h 1476375"/>
                <a:gd name="connsiteX235" fmla="*/ 406010 w 1123560"/>
                <a:gd name="connsiteY235" fmla="*/ 19050 h 1476375"/>
                <a:gd name="connsiteX236" fmla="*/ 402835 w 1123560"/>
                <a:gd name="connsiteY236" fmla="*/ 9525 h 1476375"/>
                <a:gd name="connsiteX237" fmla="*/ 374260 w 1123560"/>
                <a:gd name="connsiteY237" fmla="*/ 3175 h 14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Lst>
              <a:rect l="l" t="t" r="r" b="b"/>
              <a:pathLst>
                <a:path w="1123560" h="1476375">
                  <a:moveTo>
                    <a:pt x="374260" y="3175"/>
                  </a:moveTo>
                  <a:cubicBezTo>
                    <a:pt x="375847" y="1588"/>
                    <a:pt x="399616" y="0"/>
                    <a:pt x="412360" y="0"/>
                  </a:cubicBezTo>
                  <a:cubicBezTo>
                    <a:pt x="420893" y="0"/>
                    <a:pt x="429838" y="6"/>
                    <a:pt x="437760" y="3175"/>
                  </a:cubicBezTo>
                  <a:cubicBezTo>
                    <a:pt x="441303" y="4592"/>
                    <a:pt x="442403" y="9287"/>
                    <a:pt x="444110" y="12700"/>
                  </a:cubicBezTo>
                  <a:cubicBezTo>
                    <a:pt x="445607" y="15693"/>
                    <a:pt x="446473" y="18978"/>
                    <a:pt x="447285" y="22225"/>
                  </a:cubicBezTo>
                  <a:cubicBezTo>
                    <a:pt x="448594" y="27460"/>
                    <a:pt x="448047" y="33273"/>
                    <a:pt x="450460" y="38100"/>
                  </a:cubicBezTo>
                  <a:cubicBezTo>
                    <a:pt x="453516" y="44212"/>
                    <a:pt x="464040" y="50328"/>
                    <a:pt x="469510" y="53975"/>
                  </a:cubicBezTo>
                  <a:lnTo>
                    <a:pt x="488560" y="47625"/>
                  </a:lnTo>
                  <a:lnTo>
                    <a:pt x="498085" y="44450"/>
                  </a:lnTo>
                  <a:cubicBezTo>
                    <a:pt x="501260" y="47625"/>
                    <a:pt x="504161" y="51100"/>
                    <a:pt x="507610" y="53975"/>
                  </a:cubicBezTo>
                  <a:cubicBezTo>
                    <a:pt x="510541" y="56418"/>
                    <a:pt x="514622" y="57453"/>
                    <a:pt x="517135" y="60325"/>
                  </a:cubicBezTo>
                  <a:cubicBezTo>
                    <a:pt x="522161" y="66068"/>
                    <a:pt x="525602" y="73025"/>
                    <a:pt x="529835" y="79375"/>
                  </a:cubicBezTo>
                  <a:cubicBezTo>
                    <a:pt x="542556" y="98456"/>
                    <a:pt x="527672" y="96758"/>
                    <a:pt x="545710" y="104775"/>
                  </a:cubicBezTo>
                  <a:cubicBezTo>
                    <a:pt x="551827" y="107493"/>
                    <a:pt x="558410" y="109008"/>
                    <a:pt x="564760" y="111125"/>
                  </a:cubicBezTo>
                  <a:lnTo>
                    <a:pt x="583810" y="117475"/>
                  </a:lnTo>
                  <a:lnTo>
                    <a:pt x="593335" y="120650"/>
                  </a:lnTo>
                  <a:lnTo>
                    <a:pt x="602860" y="123825"/>
                  </a:lnTo>
                  <a:cubicBezTo>
                    <a:pt x="608152" y="122767"/>
                    <a:pt x="613529" y="122070"/>
                    <a:pt x="618735" y="120650"/>
                  </a:cubicBezTo>
                  <a:cubicBezTo>
                    <a:pt x="625193" y="118889"/>
                    <a:pt x="637785" y="114300"/>
                    <a:pt x="637785" y="114300"/>
                  </a:cubicBezTo>
                  <a:cubicBezTo>
                    <a:pt x="644100" y="110090"/>
                    <a:pt x="648948" y="103238"/>
                    <a:pt x="656835" y="111125"/>
                  </a:cubicBezTo>
                  <a:cubicBezTo>
                    <a:pt x="659202" y="113492"/>
                    <a:pt x="658952" y="117475"/>
                    <a:pt x="660010" y="120650"/>
                  </a:cubicBezTo>
                  <a:cubicBezTo>
                    <a:pt x="652280" y="143840"/>
                    <a:pt x="647166" y="138077"/>
                    <a:pt x="666360" y="142875"/>
                  </a:cubicBezTo>
                  <a:cubicBezTo>
                    <a:pt x="671046" y="135847"/>
                    <a:pt x="674901" y="128714"/>
                    <a:pt x="682235" y="123825"/>
                  </a:cubicBezTo>
                  <a:cubicBezTo>
                    <a:pt x="685020" y="121969"/>
                    <a:pt x="688585" y="121708"/>
                    <a:pt x="691760" y="120650"/>
                  </a:cubicBezTo>
                  <a:cubicBezTo>
                    <a:pt x="694935" y="121708"/>
                    <a:pt x="698918" y="121458"/>
                    <a:pt x="701285" y="123825"/>
                  </a:cubicBezTo>
                  <a:cubicBezTo>
                    <a:pt x="702803" y="125343"/>
                    <a:pt x="707608" y="145940"/>
                    <a:pt x="707635" y="146050"/>
                  </a:cubicBezTo>
                  <a:cubicBezTo>
                    <a:pt x="706577" y="158750"/>
                    <a:pt x="706555" y="171579"/>
                    <a:pt x="704460" y="184150"/>
                  </a:cubicBezTo>
                  <a:cubicBezTo>
                    <a:pt x="700364" y="208724"/>
                    <a:pt x="699850" y="196545"/>
                    <a:pt x="691760" y="212725"/>
                  </a:cubicBezTo>
                  <a:cubicBezTo>
                    <a:pt x="690263" y="215718"/>
                    <a:pt x="689643" y="219075"/>
                    <a:pt x="688585" y="222250"/>
                  </a:cubicBezTo>
                  <a:cubicBezTo>
                    <a:pt x="689643" y="228600"/>
                    <a:pt x="689284" y="235358"/>
                    <a:pt x="691760" y="241300"/>
                  </a:cubicBezTo>
                  <a:cubicBezTo>
                    <a:pt x="694695" y="248345"/>
                    <a:pt x="704460" y="260350"/>
                    <a:pt x="704460" y="260350"/>
                  </a:cubicBezTo>
                  <a:cubicBezTo>
                    <a:pt x="704224" y="261293"/>
                    <a:pt x="699788" y="280417"/>
                    <a:pt x="698110" y="282575"/>
                  </a:cubicBezTo>
                  <a:cubicBezTo>
                    <a:pt x="692597" y="289664"/>
                    <a:pt x="679060" y="301625"/>
                    <a:pt x="679060" y="301625"/>
                  </a:cubicBezTo>
                  <a:cubicBezTo>
                    <a:pt x="678002" y="304800"/>
                    <a:pt x="676611" y="307883"/>
                    <a:pt x="675885" y="311150"/>
                  </a:cubicBezTo>
                  <a:cubicBezTo>
                    <a:pt x="671711" y="329935"/>
                    <a:pt x="670006" y="349194"/>
                    <a:pt x="675885" y="368300"/>
                  </a:cubicBezTo>
                  <a:cubicBezTo>
                    <a:pt x="676869" y="371499"/>
                    <a:pt x="682192" y="370556"/>
                    <a:pt x="685410" y="371475"/>
                  </a:cubicBezTo>
                  <a:cubicBezTo>
                    <a:pt x="689606" y="372674"/>
                    <a:pt x="693930" y="373396"/>
                    <a:pt x="698110" y="374650"/>
                  </a:cubicBezTo>
                  <a:cubicBezTo>
                    <a:pt x="704521" y="376573"/>
                    <a:pt x="717160" y="381000"/>
                    <a:pt x="717160" y="381000"/>
                  </a:cubicBezTo>
                  <a:cubicBezTo>
                    <a:pt x="720335" y="383117"/>
                    <a:pt x="723272" y="385643"/>
                    <a:pt x="726685" y="387350"/>
                  </a:cubicBezTo>
                  <a:cubicBezTo>
                    <a:pt x="729678" y="388847"/>
                    <a:pt x="733597" y="388434"/>
                    <a:pt x="736210" y="390525"/>
                  </a:cubicBezTo>
                  <a:cubicBezTo>
                    <a:pt x="739190" y="392909"/>
                    <a:pt x="740443" y="396875"/>
                    <a:pt x="742560" y="400050"/>
                  </a:cubicBezTo>
                  <a:cubicBezTo>
                    <a:pt x="738072" y="422489"/>
                    <a:pt x="741092" y="410805"/>
                    <a:pt x="733035" y="434975"/>
                  </a:cubicBezTo>
                  <a:lnTo>
                    <a:pt x="729860" y="444500"/>
                  </a:lnTo>
                  <a:cubicBezTo>
                    <a:pt x="730918" y="450850"/>
                    <a:pt x="733035" y="457112"/>
                    <a:pt x="733035" y="463550"/>
                  </a:cubicBezTo>
                  <a:cubicBezTo>
                    <a:pt x="733035" y="483728"/>
                    <a:pt x="732097" y="499485"/>
                    <a:pt x="726685" y="517525"/>
                  </a:cubicBezTo>
                  <a:cubicBezTo>
                    <a:pt x="724762" y="523936"/>
                    <a:pt x="724048" y="531006"/>
                    <a:pt x="720335" y="536575"/>
                  </a:cubicBezTo>
                  <a:lnTo>
                    <a:pt x="713985" y="546100"/>
                  </a:lnTo>
                  <a:cubicBezTo>
                    <a:pt x="715043" y="568325"/>
                    <a:pt x="715312" y="590602"/>
                    <a:pt x="717160" y="612775"/>
                  </a:cubicBezTo>
                  <a:cubicBezTo>
                    <a:pt x="717438" y="616110"/>
                    <a:pt x="718838" y="619307"/>
                    <a:pt x="720335" y="622300"/>
                  </a:cubicBezTo>
                  <a:cubicBezTo>
                    <a:pt x="722042" y="625713"/>
                    <a:pt x="725135" y="628338"/>
                    <a:pt x="726685" y="631825"/>
                  </a:cubicBezTo>
                  <a:cubicBezTo>
                    <a:pt x="729403" y="637942"/>
                    <a:pt x="729322" y="645306"/>
                    <a:pt x="733035" y="650875"/>
                  </a:cubicBezTo>
                  <a:cubicBezTo>
                    <a:pt x="735152" y="654050"/>
                    <a:pt x="737678" y="656987"/>
                    <a:pt x="739385" y="660400"/>
                  </a:cubicBezTo>
                  <a:cubicBezTo>
                    <a:pt x="740882" y="663393"/>
                    <a:pt x="740469" y="667312"/>
                    <a:pt x="742560" y="669925"/>
                  </a:cubicBezTo>
                  <a:cubicBezTo>
                    <a:pt x="744944" y="672905"/>
                    <a:pt x="748910" y="674158"/>
                    <a:pt x="752085" y="676275"/>
                  </a:cubicBezTo>
                  <a:cubicBezTo>
                    <a:pt x="759493" y="698500"/>
                    <a:pt x="752085" y="693208"/>
                    <a:pt x="767960" y="698500"/>
                  </a:cubicBezTo>
                  <a:cubicBezTo>
                    <a:pt x="795257" y="716698"/>
                    <a:pt x="760720" y="694880"/>
                    <a:pt x="787010" y="708025"/>
                  </a:cubicBezTo>
                  <a:cubicBezTo>
                    <a:pt x="807785" y="718413"/>
                    <a:pt x="784994" y="709856"/>
                    <a:pt x="806060" y="723900"/>
                  </a:cubicBezTo>
                  <a:cubicBezTo>
                    <a:pt x="808970" y="725840"/>
                    <a:pt x="826361" y="729673"/>
                    <a:pt x="828285" y="730250"/>
                  </a:cubicBezTo>
                  <a:lnTo>
                    <a:pt x="856860" y="739775"/>
                  </a:lnTo>
                  <a:lnTo>
                    <a:pt x="866385" y="742950"/>
                  </a:lnTo>
                  <a:cubicBezTo>
                    <a:pt x="871677" y="741892"/>
                    <a:pt x="877054" y="741195"/>
                    <a:pt x="882260" y="739775"/>
                  </a:cubicBezTo>
                  <a:cubicBezTo>
                    <a:pt x="888718" y="738014"/>
                    <a:pt x="901310" y="733425"/>
                    <a:pt x="901310" y="733425"/>
                  </a:cubicBezTo>
                  <a:cubicBezTo>
                    <a:pt x="906186" y="726111"/>
                    <a:pt x="906961" y="720725"/>
                    <a:pt x="917185" y="720725"/>
                  </a:cubicBezTo>
                  <a:cubicBezTo>
                    <a:pt x="920532" y="720725"/>
                    <a:pt x="923535" y="722842"/>
                    <a:pt x="926710" y="723900"/>
                  </a:cubicBezTo>
                  <a:cubicBezTo>
                    <a:pt x="942476" y="747549"/>
                    <a:pt x="922213" y="718504"/>
                    <a:pt x="942585" y="742950"/>
                  </a:cubicBezTo>
                  <a:cubicBezTo>
                    <a:pt x="945028" y="745881"/>
                    <a:pt x="946492" y="749544"/>
                    <a:pt x="948935" y="752475"/>
                  </a:cubicBezTo>
                  <a:cubicBezTo>
                    <a:pt x="953333" y="757753"/>
                    <a:pt x="961374" y="765412"/>
                    <a:pt x="967985" y="768350"/>
                  </a:cubicBezTo>
                  <a:cubicBezTo>
                    <a:pt x="974102" y="771068"/>
                    <a:pt x="980685" y="772583"/>
                    <a:pt x="987035" y="774700"/>
                  </a:cubicBezTo>
                  <a:lnTo>
                    <a:pt x="996560" y="777875"/>
                  </a:lnTo>
                  <a:cubicBezTo>
                    <a:pt x="1000793" y="776817"/>
                    <a:pt x="1005064" y="775899"/>
                    <a:pt x="1009260" y="774700"/>
                  </a:cubicBezTo>
                  <a:cubicBezTo>
                    <a:pt x="1012478" y="773781"/>
                    <a:pt x="1015438" y="771525"/>
                    <a:pt x="1018785" y="771525"/>
                  </a:cubicBezTo>
                  <a:cubicBezTo>
                    <a:pt x="1026269" y="771525"/>
                    <a:pt x="1033602" y="773642"/>
                    <a:pt x="1041010" y="774700"/>
                  </a:cubicBezTo>
                  <a:cubicBezTo>
                    <a:pt x="1044185" y="775758"/>
                    <a:pt x="1048168" y="775508"/>
                    <a:pt x="1050535" y="777875"/>
                  </a:cubicBezTo>
                  <a:cubicBezTo>
                    <a:pt x="1052902" y="780242"/>
                    <a:pt x="1052213" y="784407"/>
                    <a:pt x="1053710" y="787400"/>
                  </a:cubicBezTo>
                  <a:cubicBezTo>
                    <a:pt x="1055417" y="790813"/>
                    <a:pt x="1057188" y="794412"/>
                    <a:pt x="1060060" y="796925"/>
                  </a:cubicBezTo>
                  <a:cubicBezTo>
                    <a:pt x="1065803" y="801951"/>
                    <a:pt x="1072760" y="805392"/>
                    <a:pt x="1079110" y="809625"/>
                  </a:cubicBezTo>
                  <a:cubicBezTo>
                    <a:pt x="1084679" y="813338"/>
                    <a:pt x="1098160" y="815975"/>
                    <a:pt x="1098160" y="815975"/>
                  </a:cubicBezTo>
                  <a:cubicBezTo>
                    <a:pt x="1101335" y="818092"/>
                    <a:pt x="1105172" y="819453"/>
                    <a:pt x="1107685" y="822325"/>
                  </a:cubicBezTo>
                  <a:cubicBezTo>
                    <a:pt x="1112711" y="828068"/>
                    <a:pt x="1120385" y="841375"/>
                    <a:pt x="1120385" y="841375"/>
                  </a:cubicBezTo>
                  <a:cubicBezTo>
                    <a:pt x="1119327" y="855133"/>
                    <a:pt x="1117210" y="868851"/>
                    <a:pt x="1117210" y="882650"/>
                  </a:cubicBezTo>
                  <a:cubicBezTo>
                    <a:pt x="1117210" y="890435"/>
                    <a:pt x="1121462" y="906008"/>
                    <a:pt x="1123560" y="914400"/>
                  </a:cubicBezTo>
                  <a:cubicBezTo>
                    <a:pt x="1122502" y="920750"/>
                    <a:pt x="1121782" y="927166"/>
                    <a:pt x="1120385" y="933450"/>
                  </a:cubicBezTo>
                  <a:cubicBezTo>
                    <a:pt x="1119659" y="936717"/>
                    <a:pt x="1119577" y="940608"/>
                    <a:pt x="1117210" y="942975"/>
                  </a:cubicBezTo>
                  <a:cubicBezTo>
                    <a:pt x="1111814" y="948371"/>
                    <a:pt x="1103556" y="950279"/>
                    <a:pt x="1098160" y="955675"/>
                  </a:cubicBezTo>
                  <a:cubicBezTo>
                    <a:pt x="1083239" y="970596"/>
                    <a:pt x="1092371" y="962709"/>
                    <a:pt x="1069585" y="977900"/>
                  </a:cubicBezTo>
                  <a:cubicBezTo>
                    <a:pt x="1066800" y="979756"/>
                    <a:pt x="1063235" y="980017"/>
                    <a:pt x="1060060" y="981075"/>
                  </a:cubicBezTo>
                  <a:cubicBezTo>
                    <a:pt x="1034660" y="980017"/>
                    <a:pt x="1009222" y="979649"/>
                    <a:pt x="983860" y="977900"/>
                  </a:cubicBezTo>
                  <a:cubicBezTo>
                    <a:pt x="978476" y="977529"/>
                    <a:pt x="973191" y="976145"/>
                    <a:pt x="967985" y="974725"/>
                  </a:cubicBezTo>
                  <a:cubicBezTo>
                    <a:pt x="961527" y="972964"/>
                    <a:pt x="948935" y="968375"/>
                    <a:pt x="948935" y="968375"/>
                  </a:cubicBezTo>
                  <a:cubicBezTo>
                    <a:pt x="940468" y="969433"/>
                    <a:pt x="931570" y="968680"/>
                    <a:pt x="923535" y="971550"/>
                  </a:cubicBezTo>
                  <a:cubicBezTo>
                    <a:pt x="916348" y="974117"/>
                    <a:pt x="910835" y="980017"/>
                    <a:pt x="904485" y="984250"/>
                  </a:cubicBezTo>
                  <a:lnTo>
                    <a:pt x="885435" y="996950"/>
                  </a:lnTo>
                  <a:cubicBezTo>
                    <a:pt x="879866" y="1000663"/>
                    <a:pt x="872735" y="1001183"/>
                    <a:pt x="866385" y="1003300"/>
                  </a:cubicBezTo>
                  <a:cubicBezTo>
                    <a:pt x="858224" y="1006020"/>
                    <a:pt x="852931" y="1008055"/>
                    <a:pt x="844160" y="1009650"/>
                  </a:cubicBezTo>
                  <a:cubicBezTo>
                    <a:pt x="834520" y="1011403"/>
                    <a:pt x="805380" y="1014894"/>
                    <a:pt x="796535" y="1016000"/>
                  </a:cubicBezTo>
                  <a:cubicBezTo>
                    <a:pt x="790185" y="1018117"/>
                    <a:pt x="783472" y="1019357"/>
                    <a:pt x="777485" y="1022350"/>
                  </a:cubicBezTo>
                  <a:cubicBezTo>
                    <a:pt x="761792" y="1030197"/>
                    <a:pt x="769275" y="1027203"/>
                    <a:pt x="755260" y="1031875"/>
                  </a:cubicBezTo>
                  <a:cubicBezTo>
                    <a:pt x="748910" y="1036108"/>
                    <a:pt x="740443" y="1038225"/>
                    <a:pt x="736210" y="1044575"/>
                  </a:cubicBezTo>
                  <a:cubicBezTo>
                    <a:pt x="724879" y="1061572"/>
                    <a:pt x="732558" y="1051402"/>
                    <a:pt x="710810" y="1073150"/>
                  </a:cubicBezTo>
                  <a:lnTo>
                    <a:pt x="701285" y="1082675"/>
                  </a:lnTo>
                  <a:lnTo>
                    <a:pt x="694935" y="1101725"/>
                  </a:lnTo>
                  <a:cubicBezTo>
                    <a:pt x="693555" y="1105865"/>
                    <a:pt x="696911" y="1110229"/>
                    <a:pt x="698110" y="1114425"/>
                  </a:cubicBezTo>
                  <a:cubicBezTo>
                    <a:pt x="704363" y="1136310"/>
                    <a:pt x="698730" y="1108621"/>
                    <a:pt x="704460" y="1143000"/>
                  </a:cubicBezTo>
                  <a:cubicBezTo>
                    <a:pt x="703402" y="1155700"/>
                    <a:pt x="702774" y="1168443"/>
                    <a:pt x="701285" y="1181100"/>
                  </a:cubicBezTo>
                  <a:cubicBezTo>
                    <a:pt x="700654" y="1186459"/>
                    <a:pt x="698997" y="1191652"/>
                    <a:pt x="698110" y="1196975"/>
                  </a:cubicBezTo>
                  <a:cubicBezTo>
                    <a:pt x="696880" y="1204357"/>
                    <a:pt x="695993" y="1211792"/>
                    <a:pt x="694935" y="1219200"/>
                  </a:cubicBezTo>
                  <a:cubicBezTo>
                    <a:pt x="702915" y="1243141"/>
                    <a:pt x="691222" y="1214559"/>
                    <a:pt x="707635" y="1235075"/>
                  </a:cubicBezTo>
                  <a:cubicBezTo>
                    <a:pt x="709726" y="1237688"/>
                    <a:pt x="709313" y="1241607"/>
                    <a:pt x="710810" y="1244600"/>
                  </a:cubicBezTo>
                  <a:cubicBezTo>
                    <a:pt x="723120" y="1269219"/>
                    <a:pt x="712355" y="1239709"/>
                    <a:pt x="720335" y="1263650"/>
                  </a:cubicBezTo>
                  <a:cubicBezTo>
                    <a:pt x="719277" y="1273175"/>
                    <a:pt x="718736" y="1282772"/>
                    <a:pt x="717160" y="1292225"/>
                  </a:cubicBezTo>
                  <a:cubicBezTo>
                    <a:pt x="716610" y="1295526"/>
                    <a:pt x="713985" y="1298403"/>
                    <a:pt x="713985" y="1301750"/>
                  </a:cubicBezTo>
                  <a:cubicBezTo>
                    <a:pt x="713985" y="1306628"/>
                    <a:pt x="717061" y="1323777"/>
                    <a:pt x="720335" y="1330325"/>
                  </a:cubicBezTo>
                  <a:cubicBezTo>
                    <a:pt x="722042" y="1333738"/>
                    <a:pt x="724978" y="1336437"/>
                    <a:pt x="726685" y="1339850"/>
                  </a:cubicBezTo>
                  <a:cubicBezTo>
                    <a:pt x="728182" y="1342843"/>
                    <a:pt x="727769" y="1346762"/>
                    <a:pt x="729860" y="1349375"/>
                  </a:cubicBezTo>
                  <a:cubicBezTo>
                    <a:pt x="732244" y="1352355"/>
                    <a:pt x="736454" y="1353282"/>
                    <a:pt x="739385" y="1355725"/>
                  </a:cubicBezTo>
                  <a:cubicBezTo>
                    <a:pt x="748552" y="1363365"/>
                    <a:pt x="749016" y="1365409"/>
                    <a:pt x="755260" y="1374775"/>
                  </a:cubicBezTo>
                  <a:cubicBezTo>
                    <a:pt x="754202" y="1377950"/>
                    <a:pt x="752085" y="1380953"/>
                    <a:pt x="752085" y="1384300"/>
                  </a:cubicBezTo>
                  <a:cubicBezTo>
                    <a:pt x="752085" y="1392280"/>
                    <a:pt x="758399" y="1396929"/>
                    <a:pt x="761610" y="1403350"/>
                  </a:cubicBezTo>
                  <a:cubicBezTo>
                    <a:pt x="763107" y="1406343"/>
                    <a:pt x="763727" y="1409700"/>
                    <a:pt x="764785" y="1412875"/>
                  </a:cubicBezTo>
                  <a:cubicBezTo>
                    <a:pt x="764374" y="1416986"/>
                    <a:pt x="762815" y="1456120"/>
                    <a:pt x="755260" y="1463675"/>
                  </a:cubicBezTo>
                  <a:cubicBezTo>
                    <a:pt x="752085" y="1466850"/>
                    <a:pt x="749751" y="1471192"/>
                    <a:pt x="745735" y="1473200"/>
                  </a:cubicBezTo>
                  <a:cubicBezTo>
                    <a:pt x="740908" y="1475613"/>
                    <a:pt x="735152" y="1475317"/>
                    <a:pt x="729860" y="1476375"/>
                  </a:cubicBezTo>
                  <a:cubicBezTo>
                    <a:pt x="727743" y="1473200"/>
                    <a:pt x="726208" y="1469548"/>
                    <a:pt x="723510" y="1466850"/>
                  </a:cubicBezTo>
                  <a:cubicBezTo>
                    <a:pt x="710703" y="1454043"/>
                    <a:pt x="702262" y="1461672"/>
                    <a:pt x="682235" y="1463675"/>
                  </a:cubicBezTo>
                  <a:cubicBezTo>
                    <a:pt x="679060" y="1464733"/>
                    <a:pt x="676057" y="1466850"/>
                    <a:pt x="672710" y="1466850"/>
                  </a:cubicBezTo>
                  <a:cubicBezTo>
                    <a:pt x="660381" y="1466850"/>
                    <a:pt x="647957" y="1464590"/>
                    <a:pt x="637785" y="1457325"/>
                  </a:cubicBezTo>
                  <a:cubicBezTo>
                    <a:pt x="634131" y="1454715"/>
                    <a:pt x="631435" y="1450975"/>
                    <a:pt x="628260" y="1447800"/>
                  </a:cubicBezTo>
                  <a:cubicBezTo>
                    <a:pt x="627202" y="1444625"/>
                    <a:pt x="626710" y="1441201"/>
                    <a:pt x="625085" y="1438275"/>
                  </a:cubicBezTo>
                  <a:cubicBezTo>
                    <a:pt x="618981" y="1427288"/>
                    <a:pt x="612435" y="1417679"/>
                    <a:pt x="602860" y="1409700"/>
                  </a:cubicBezTo>
                  <a:cubicBezTo>
                    <a:pt x="599929" y="1407257"/>
                    <a:pt x="597126" y="1403787"/>
                    <a:pt x="593335" y="1403350"/>
                  </a:cubicBezTo>
                  <a:cubicBezTo>
                    <a:pt x="569131" y="1400557"/>
                    <a:pt x="544652" y="1401233"/>
                    <a:pt x="520310" y="1400175"/>
                  </a:cubicBezTo>
                  <a:cubicBezTo>
                    <a:pt x="513960" y="1395942"/>
                    <a:pt x="506656" y="1392871"/>
                    <a:pt x="501260" y="1387475"/>
                  </a:cubicBezTo>
                  <a:cubicBezTo>
                    <a:pt x="495278" y="1381493"/>
                    <a:pt x="490167" y="1375136"/>
                    <a:pt x="482210" y="1371600"/>
                  </a:cubicBezTo>
                  <a:cubicBezTo>
                    <a:pt x="476093" y="1368882"/>
                    <a:pt x="469510" y="1367367"/>
                    <a:pt x="463160" y="1365250"/>
                  </a:cubicBezTo>
                  <a:cubicBezTo>
                    <a:pt x="435535" y="1356042"/>
                    <a:pt x="456977" y="1362261"/>
                    <a:pt x="396485" y="1358900"/>
                  </a:cubicBezTo>
                  <a:cubicBezTo>
                    <a:pt x="394368" y="1355725"/>
                    <a:pt x="391842" y="1352788"/>
                    <a:pt x="390135" y="1349375"/>
                  </a:cubicBezTo>
                  <a:cubicBezTo>
                    <a:pt x="382735" y="1334575"/>
                    <a:pt x="388503" y="1322874"/>
                    <a:pt x="390135" y="1304925"/>
                  </a:cubicBezTo>
                  <a:cubicBezTo>
                    <a:pt x="388018" y="1301750"/>
                    <a:pt x="387198" y="1297107"/>
                    <a:pt x="383785" y="1295400"/>
                  </a:cubicBezTo>
                  <a:cubicBezTo>
                    <a:pt x="375979" y="1291497"/>
                    <a:pt x="358385" y="1289050"/>
                    <a:pt x="358385" y="1289050"/>
                  </a:cubicBezTo>
                  <a:cubicBezTo>
                    <a:pt x="355164" y="1279388"/>
                    <a:pt x="352030" y="1278339"/>
                    <a:pt x="361560" y="1270000"/>
                  </a:cubicBezTo>
                  <a:cubicBezTo>
                    <a:pt x="367303" y="1264974"/>
                    <a:pt x="380610" y="1257300"/>
                    <a:pt x="380610" y="1257300"/>
                  </a:cubicBezTo>
                  <a:cubicBezTo>
                    <a:pt x="386197" y="1240540"/>
                    <a:pt x="385927" y="1245784"/>
                    <a:pt x="380610" y="1219200"/>
                  </a:cubicBezTo>
                  <a:cubicBezTo>
                    <a:pt x="375811" y="1195204"/>
                    <a:pt x="377000" y="1205343"/>
                    <a:pt x="364735" y="1190625"/>
                  </a:cubicBezTo>
                  <a:cubicBezTo>
                    <a:pt x="358943" y="1183674"/>
                    <a:pt x="357496" y="1176373"/>
                    <a:pt x="348860" y="1171575"/>
                  </a:cubicBezTo>
                  <a:cubicBezTo>
                    <a:pt x="343009" y="1168324"/>
                    <a:pt x="336160" y="1167342"/>
                    <a:pt x="329810" y="1165225"/>
                  </a:cubicBezTo>
                  <a:lnTo>
                    <a:pt x="310760" y="1158875"/>
                  </a:lnTo>
                  <a:cubicBezTo>
                    <a:pt x="289580" y="1151815"/>
                    <a:pt x="266186" y="1155682"/>
                    <a:pt x="244085" y="1152525"/>
                  </a:cubicBezTo>
                  <a:lnTo>
                    <a:pt x="221860" y="1149350"/>
                  </a:lnTo>
                  <a:cubicBezTo>
                    <a:pt x="181637" y="1144322"/>
                    <a:pt x="206221" y="1148762"/>
                    <a:pt x="177410" y="1143000"/>
                  </a:cubicBezTo>
                  <a:cubicBezTo>
                    <a:pt x="175293" y="1139825"/>
                    <a:pt x="172610" y="1136962"/>
                    <a:pt x="171060" y="1133475"/>
                  </a:cubicBezTo>
                  <a:cubicBezTo>
                    <a:pt x="164152" y="1117932"/>
                    <a:pt x="165798" y="1115933"/>
                    <a:pt x="161535" y="1101725"/>
                  </a:cubicBezTo>
                  <a:cubicBezTo>
                    <a:pt x="159612" y="1095314"/>
                    <a:pt x="160754" y="1086388"/>
                    <a:pt x="155185" y="1082675"/>
                  </a:cubicBezTo>
                  <a:lnTo>
                    <a:pt x="145660" y="1076325"/>
                  </a:lnTo>
                  <a:cubicBezTo>
                    <a:pt x="143543" y="1073150"/>
                    <a:pt x="141017" y="1070213"/>
                    <a:pt x="139310" y="1066800"/>
                  </a:cubicBezTo>
                  <a:cubicBezTo>
                    <a:pt x="131910" y="1052000"/>
                    <a:pt x="137678" y="1040299"/>
                    <a:pt x="139310" y="1022350"/>
                  </a:cubicBezTo>
                  <a:cubicBezTo>
                    <a:pt x="137218" y="1016075"/>
                    <a:pt x="135380" y="1007776"/>
                    <a:pt x="129785" y="1003300"/>
                  </a:cubicBezTo>
                  <a:cubicBezTo>
                    <a:pt x="127172" y="1001209"/>
                    <a:pt x="123435" y="1001183"/>
                    <a:pt x="120260" y="1000125"/>
                  </a:cubicBezTo>
                  <a:cubicBezTo>
                    <a:pt x="104413" y="989560"/>
                    <a:pt x="116129" y="995489"/>
                    <a:pt x="91685" y="990600"/>
                  </a:cubicBezTo>
                  <a:cubicBezTo>
                    <a:pt x="56626" y="983588"/>
                    <a:pt x="112848" y="990503"/>
                    <a:pt x="44060" y="984250"/>
                  </a:cubicBezTo>
                  <a:cubicBezTo>
                    <a:pt x="33390" y="952239"/>
                    <a:pt x="49670" y="1001892"/>
                    <a:pt x="37710" y="962025"/>
                  </a:cubicBezTo>
                  <a:cubicBezTo>
                    <a:pt x="35787" y="955614"/>
                    <a:pt x="35073" y="948544"/>
                    <a:pt x="31360" y="942975"/>
                  </a:cubicBezTo>
                  <a:cubicBezTo>
                    <a:pt x="29243" y="939800"/>
                    <a:pt x="26560" y="936937"/>
                    <a:pt x="25010" y="933450"/>
                  </a:cubicBezTo>
                  <a:cubicBezTo>
                    <a:pt x="22292" y="927333"/>
                    <a:pt x="20283" y="920894"/>
                    <a:pt x="18660" y="914400"/>
                  </a:cubicBezTo>
                  <a:cubicBezTo>
                    <a:pt x="17643" y="910331"/>
                    <a:pt x="14587" y="896730"/>
                    <a:pt x="12310" y="892175"/>
                  </a:cubicBezTo>
                  <a:cubicBezTo>
                    <a:pt x="0" y="867556"/>
                    <a:pt x="10765" y="897066"/>
                    <a:pt x="2785" y="873125"/>
                  </a:cubicBezTo>
                  <a:cubicBezTo>
                    <a:pt x="3843" y="867833"/>
                    <a:pt x="3283" y="861935"/>
                    <a:pt x="5960" y="857250"/>
                  </a:cubicBezTo>
                  <a:cubicBezTo>
                    <a:pt x="8856" y="852181"/>
                    <a:pt x="20121" y="849355"/>
                    <a:pt x="25010" y="847725"/>
                  </a:cubicBezTo>
                  <a:cubicBezTo>
                    <a:pt x="26068" y="844550"/>
                    <a:pt x="26688" y="841193"/>
                    <a:pt x="28185" y="838200"/>
                  </a:cubicBezTo>
                  <a:cubicBezTo>
                    <a:pt x="29892" y="834787"/>
                    <a:pt x="32985" y="832162"/>
                    <a:pt x="34535" y="828675"/>
                  </a:cubicBezTo>
                  <a:cubicBezTo>
                    <a:pt x="37253" y="822558"/>
                    <a:pt x="40885" y="809625"/>
                    <a:pt x="40885" y="809625"/>
                  </a:cubicBezTo>
                  <a:cubicBezTo>
                    <a:pt x="32905" y="785684"/>
                    <a:pt x="43670" y="815194"/>
                    <a:pt x="31360" y="790575"/>
                  </a:cubicBezTo>
                  <a:cubicBezTo>
                    <a:pt x="22170" y="772195"/>
                    <a:pt x="36716" y="789581"/>
                    <a:pt x="18660" y="771525"/>
                  </a:cubicBezTo>
                  <a:cubicBezTo>
                    <a:pt x="17602" y="768350"/>
                    <a:pt x="15485" y="765347"/>
                    <a:pt x="15485" y="762000"/>
                  </a:cubicBezTo>
                  <a:cubicBezTo>
                    <a:pt x="15485" y="757636"/>
                    <a:pt x="16239" y="752931"/>
                    <a:pt x="18660" y="749300"/>
                  </a:cubicBezTo>
                  <a:cubicBezTo>
                    <a:pt x="22177" y="744024"/>
                    <a:pt x="32277" y="741586"/>
                    <a:pt x="37710" y="739775"/>
                  </a:cubicBezTo>
                  <a:cubicBezTo>
                    <a:pt x="55296" y="728051"/>
                    <a:pt x="38908" y="737094"/>
                    <a:pt x="66285" y="730250"/>
                  </a:cubicBezTo>
                  <a:cubicBezTo>
                    <a:pt x="72779" y="728627"/>
                    <a:pt x="78841" y="725523"/>
                    <a:pt x="85335" y="723900"/>
                  </a:cubicBezTo>
                  <a:cubicBezTo>
                    <a:pt x="92841" y="722024"/>
                    <a:pt x="106655" y="718356"/>
                    <a:pt x="113910" y="717550"/>
                  </a:cubicBezTo>
                  <a:cubicBezTo>
                    <a:pt x="127625" y="716026"/>
                    <a:pt x="141427" y="715433"/>
                    <a:pt x="155185" y="714375"/>
                  </a:cubicBezTo>
                  <a:cubicBezTo>
                    <a:pt x="158360" y="712258"/>
                    <a:pt x="162197" y="710897"/>
                    <a:pt x="164710" y="708025"/>
                  </a:cubicBezTo>
                  <a:cubicBezTo>
                    <a:pt x="169736" y="702282"/>
                    <a:pt x="173177" y="695325"/>
                    <a:pt x="177410" y="688975"/>
                  </a:cubicBezTo>
                  <a:cubicBezTo>
                    <a:pt x="179527" y="685800"/>
                    <a:pt x="181062" y="682148"/>
                    <a:pt x="183760" y="679450"/>
                  </a:cubicBezTo>
                  <a:lnTo>
                    <a:pt x="193285" y="669925"/>
                  </a:lnTo>
                  <a:cubicBezTo>
                    <a:pt x="194343" y="666750"/>
                    <a:pt x="194369" y="663013"/>
                    <a:pt x="196460" y="660400"/>
                  </a:cubicBezTo>
                  <a:cubicBezTo>
                    <a:pt x="198844" y="657420"/>
                    <a:pt x="203963" y="657286"/>
                    <a:pt x="205985" y="654050"/>
                  </a:cubicBezTo>
                  <a:cubicBezTo>
                    <a:pt x="209533" y="648374"/>
                    <a:pt x="212335" y="635000"/>
                    <a:pt x="212335" y="635000"/>
                  </a:cubicBezTo>
                  <a:cubicBezTo>
                    <a:pt x="211277" y="629708"/>
                    <a:pt x="211837" y="623810"/>
                    <a:pt x="209160" y="619125"/>
                  </a:cubicBezTo>
                  <a:cubicBezTo>
                    <a:pt x="207267" y="615812"/>
                    <a:pt x="201052" y="616318"/>
                    <a:pt x="199635" y="612775"/>
                  </a:cubicBezTo>
                  <a:cubicBezTo>
                    <a:pt x="198392" y="609668"/>
                    <a:pt x="200954" y="606035"/>
                    <a:pt x="202810" y="603250"/>
                  </a:cubicBezTo>
                  <a:cubicBezTo>
                    <a:pt x="205301" y="599514"/>
                    <a:pt x="209460" y="597174"/>
                    <a:pt x="212335" y="593725"/>
                  </a:cubicBezTo>
                  <a:cubicBezTo>
                    <a:pt x="214778" y="590794"/>
                    <a:pt x="216568" y="587375"/>
                    <a:pt x="218685" y="584200"/>
                  </a:cubicBezTo>
                  <a:cubicBezTo>
                    <a:pt x="216413" y="572842"/>
                    <a:pt x="217335" y="566975"/>
                    <a:pt x="209160" y="558800"/>
                  </a:cubicBezTo>
                  <a:cubicBezTo>
                    <a:pt x="206462" y="556102"/>
                    <a:pt x="202810" y="554567"/>
                    <a:pt x="199635" y="552450"/>
                  </a:cubicBezTo>
                  <a:lnTo>
                    <a:pt x="186935" y="533400"/>
                  </a:lnTo>
                  <a:cubicBezTo>
                    <a:pt x="183942" y="528910"/>
                    <a:pt x="188215" y="522578"/>
                    <a:pt x="190110" y="517525"/>
                  </a:cubicBezTo>
                  <a:cubicBezTo>
                    <a:pt x="193638" y="508118"/>
                    <a:pt x="198224" y="506824"/>
                    <a:pt x="205985" y="501650"/>
                  </a:cubicBezTo>
                  <a:cubicBezTo>
                    <a:pt x="208102" y="498475"/>
                    <a:pt x="210628" y="495538"/>
                    <a:pt x="212335" y="492125"/>
                  </a:cubicBezTo>
                  <a:cubicBezTo>
                    <a:pt x="213832" y="489132"/>
                    <a:pt x="215880" y="485926"/>
                    <a:pt x="215510" y="482600"/>
                  </a:cubicBezTo>
                  <a:cubicBezTo>
                    <a:pt x="212965" y="459693"/>
                    <a:pt x="211872" y="467398"/>
                    <a:pt x="199635" y="457200"/>
                  </a:cubicBezTo>
                  <a:cubicBezTo>
                    <a:pt x="196186" y="454325"/>
                    <a:pt x="192867" y="451219"/>
                    <a:pt x="190110" y="447675"/>
                  </a:cubicBezTo>
                  <a:cubicBezTo>
                    <a:pt x="185425" y="441651"/>
                    <a:pt x="181643" y="434975"/>
                    <a:pt x="177410" y="428625"/>
                  </a:cubicBezTo>
                  <a:cubicBezTo>
                    <a:pt x="175293" y="425450"/>
                    <a:pt x="172267" y="422720"/>
                    <a:pt x="171060" y="419100"/>
                  </a:cubicBezTo>
                  <a:lnTo>
                    <a:pt x="167885" y="409575"/>
                  </a:lnTo>
                  <a:cubicBezTo>
                    <a:pt x="170002" y="406400"/>
                    <a:pt x="172685" y="403537"/>
                    <a:pt x="174235" y="400050"/>
                  </a:cubicBezTo>
                  <a:cubicBezTo>
                    <a:pt x="176953" y="393933"/>
                    <a:pt x="180585" y="381000"/>
                    <a:pt x="180585" y="381000"/>
                  </a:cubicBezTo>
                  <a:cubicBezTo>
                    <a:pt x="170522" y="365906"/>
                    <a:pt x="175442" y="375095"/>
                    <a:pt x="167885" y="352425"/>
                  </a:cubicBezTo>
                  <a:cubicBezTo>
                    <a:pt x="166678" y="348805"/>
                    <a:pt x="163085" y="346387"/>
                    <a:pt x="161535" y="342900"/>
                  </a:cubicBezTo>
                  <a:cubicBezTo>
                    <a:pt x="158817" y="336783"/>
                    <a:pt x="157302" y="330200"/>
                    <a:pt x="155185" y="323850"/>
                  </a:cubicBezTo>
                  <a:cubicBezTo>
                    <a:pt x="152772" y="316610"/>
                    <a:pt x="146718" y="311150"/>
                    <a:pt x="142485" y="304800"/>
                  </a:cubicBezTo>
                  <a:lnTo>
                    <a:pt x="110735" y="257175"/>
                  </a:lnTo>
                  <a:cubicBezTo>
                    <a:pt x="108879" y="254390"/>
                    <a:pt x="109185" y="250576"/>
                    <a:pt x="107560" y="247650"/>
                  </a:cubicBezTo>
                  <a:cubicBezTo>
                    <a:pt x="103854" y="240979"/>
                    <a:pt x="99093" y="234950"/>
                    <a:pt x="94860" y="228600"/>
                  </a:cubicBezTo>
                  <a:cubicBezTo>
                    <a:pt x="91147" y="223031"/>
                    <a:pt x="90627" y="215900"/>
                    <a:pt x="88510" y="209550"/>
                  </a:cubicBezTo>
                  <a:lnTo>
                    <a:pt x="85335" y="200025"/>
                  </a:lnTo>
                  <a:cubicBezTo>
                    <a:pt x="84277" y="196850"/>
                    <a:pt x="82710" y="193801"/>
                    <a:pt x="82160" y="190500"/>
                  </a:cubicBezTo>
                  <a:lnTo>
                    <a:pt x="78985" y="171450"/>
                  </a:lnTo>
                  <a:cubicBezTo>
                    <a:pt x="80043" y="168275"/>
                    <a:pt x="79437" y="163870"/>
                    <a:pt x="82160" y="161925"/>
                  </a:cubicBezTo>
                  <a:cubicBezTo>
                    <a:pt x="94499" y="153112"/>
                    <a:pt x="130337" y="153148"/>
                    <a:pt x="139310" y="152400"/>
                  </a:cubicBezTo>
                  <a:lnTo>
                    <a:pt x="158360" y="146050"/>
                  </a:lnTo>
                  <a:cubicBezTo>
                    <a:pt x="161980" y="144843"/>
                    <a:pt x="162012" y="139223"/>
                    <a:pt x="164710" y="136525"/>
                  </a:cubicBezTo>
                  <a:cubicBezTo>
                    <a:pt x="167408" y="133827"/>
                    <a:pt x="170748" y="131725"/>
                    <a:pt x="174235" y="130175"/>
                  </a:cubicBezTo>
                  <a:cubicBezTo>
                    <a:pt x="180352" y="127457"/>
                    <a:pt x="186935" y="125942"/>
                    <a:pt x="193285" y="123825"/>
                  </a:cubicBezTo>
                  <a:cubicBezTo>
                    <a:pt x="208917" y="118614"/>
                    <a:pt x="199509" y="121200"/>
                    <a:pt x="221860" y="117475"/>
                  </a:cubicBezTo>
                  <a:cubicBezTo>
                    <a:pt x="234560" y="118533"/>
                    <a:pt x="247389" y="118555"/>
                    <a:pt x="259960" y="120650"/>
                  </a:cubicBezTo>
                  <a:cubicBezTo>
                    <a:pt x="266562" y="121750"/>
                    <a:pt x="279010" y="127000"/>
                    <a:pt x="279010" y="127000"/>
                  </a:cubicBezTo>
                  <a:cubicBezTo>
                    <a:pt x="282185" y="129117"/>
                    <a:pt x="284742" y="132929"/>
                    <a:pt x="288535" y="133350"/>
                  </a:cubicBezTo>
                  <a:cubicBezTo>
                    <a:pt x="300632" y="134694"/>
                    <a:pt x="306809" y="129575"/>
                    <a:pt x="317110" y="127000"/>
                  </a:cubicBezTo>
                  <a:lnTo>
                    <a:pt x="342510" y="120650"/>
                  </a:lnTo>
                  <a:cubicBezTo>
                    <a:pt x="343568" y="117475"/>
                    <a:pt x="343318" y="113492"/>
                    <a:pt x="345685" y="111125"/>
                  </a:cubicBezTo>
                  <a:cubicBezTo>
                    <a:pt x="351081" y="105729"/>
                    <a:pt x="358385" y="102658"/>
                    <a:pt x="364735" y="98425"/>
                  </a:cubicBezTo>
                  <a:cubicBezTo>
                    <a:pt x="377996" y="89584"/>
                    <a:pt x="371562" y="94773"/>
                    <a:pt x="383785" y="82550"/>
                  </a:cubicBezTo>
                  <a:cubicBezTo>
                    <a:pt x="382193" y="72999"/>
                    <a:pt x="375729" y="60995"/>
                    <a:pt x="386960" y="53975"/>
                  </a:cubicBezTo>
                  <a:cubicBezTo>
                    <a:pt x="392636" y="50427"/>
                    <a:pt x="406010" y="47625"/>
                    <a:pt x="406010" y="47625"/>
                  </a:cubicBezTo>
                  <a:cubicBezTo>
                    <a:pt x="409185" y="45508"/>
                    <a:pt x="413151" y="44255"/>
                    <a:pt x="415535" y="41275"/>
                  </a:cubicBezTo>
                  <a:cubicBezTo>
                    <a:pt x="419298" y="36571"/>
                    <a:pt x="420239" y="26929"/>
                    <a:pt x="415535" y="22225"/>
                  </a:cubicBezTo>
                  <a:cubicBezTo>
                    <a:pt x="413168" y="19858"/>
                    <a:pt x="409185" y="20108"/>
                    <a:pt x="406010" y="19050"/>
                  </a:cubicBezTo>
                  <a:cubicBezTo>
                    <a:pt x="404952" y="15875"/>
                    <a:pt x="401592" y="12632"/>
                    <a:pt x="402835" y="9525"/>
                  </a:cubicBezTo>
                  <a:cubicBezTo>
                    <a:pt x="404252" y="5982"/>
                    <a:pt x="372673" y="4762"/>
                    <a:pt x="374260" y="3175"/>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defTabSz="685800" eaLnBrk="0" fontAlgn="base" hangingPunct="0">
                <a:spcBef>
                  <a:spcPct val="50000"/>
                </a:spcBef>
                <a:spcAft>
                  <a:spcPct val="0"/>
                </a:spcAft>
                <a:buClrTx/>
              </a:pPr>
              <a:endParaRPr lang="en-US" sz="900" kern="1200">
                <a:latin typeface="Arial" charset="0"/>
                <a:ea typeface="+mn-ea"/>
                <a:cs typeface="+mn-cs"/>
              </a:endParaRPr>
            </a:p>
          </p:txBody>
        </p:sp>
        <p:sp>
          <p:nvSpPr>
            <p:cNvPr id="23" name="Freeform 22"/>
            <p:cNvSpPr/>
            <p:nvPr>
              <p:custDataLst>
                <p:tags r:id="rId13"/>
              </p:custDataLst>
            </p:nvPr>
          </p:nvSpPr>
          <p:spPr bwMode="gray">
            <a:xfrm>
              <a:off x="3418074" y="3368675"/>
              <a:ext cx="1098550" cy="1524000"/>
            </a:xfrm>
            <a:custGeom>
              <a:avLst/>
              <a:gdLst>
                <a:gd name="connsiteX0" fmla="*/ 161925 w 1098550"/>
                <a:gd name="connsiteY0" fmla="*/ 644525 h 1524000"/>
                <a:gd name="connsiteX1" fmla="*/ 158750 w 1098550"/>
                <a:gd name="connsiteY1" fmla="*/ 704850 h 1524000"/>
                <a:gd name="connsiteX2" fmla="*/ 165100 w 1098550"/>
                <a:gd name="connsiteY2" fmla="*/ 714375 h 1524000"/>
                <a:gd name="connsiteX3" fmla="*/ 171450 w 1098550"/>
                <a:gd name="connsiteY3" fmla="*/ 733425 h 1524000"/>
                <a:gd name="connsiteX4" fmla="*/ 161925 w 1098550"/>
                <a:gd name="connsiteY4" fmla="*/ 762000 h 1524000"/>
                <a:gd name="connsiteX5" fmla="*/ 152400 w 1098550"/>
                <a:gd name="connsiteY5" fmla="*/ 768350 h 1524000"/>
                <a:gd name="connsiteX6" fmla="*/ 133350 w 1098550"/>
                <a:gd name="connsiteY6" fmla="*/ 774700 h 1524000"/>
                <a:gd name="connsiteX7" fmla="*/ 123825 w 1098550"/>
                <a:gd name="connsiteY7" fmla="*/ 771525 h 1524000"/>
                <a:gd name="connsiteX8" fmla="*/ 101600 w 1098550"/>
                <a:gd name="connsiteY8" fmla="*/ 777875 h 1524000"/>
                <a:gd name="connsiteX9" fmla="*/ 95250 w 1098550"/>
                <a:gd name="connsiteY9" fmla="*/ 796925 h 1524000"/>
                <a:gd name="connsiteX10" fmla="*/ 104775 w 1098550"/>
                <a:gd name="connsiteY10" fmla="*/ 866775 h 1524000"/>
                <a:gd name="connsiteX11" fmla="*/ 111125 w 1098550"/>
                <a:gd name="connsiteY11" fmla="*/ 876300 h 1524000"/>
                <a:gd name="connsiteX12" fmla="*/ 130175 w 1098550"/>
                <a:gd name="connsiteY12" fmla="*/ 895350 h 1524000"/>
                <a:gd name="connsiteX13" fmla="*/ 136525 w 1098550"/>
                <a:gd name="connsiteY13" fmla="*/ 904875 h 1524000"/>
                <a:gd name="connsiteX14" fmla="*/ 149225 w 1098550"/>
                <a:gd name="connsiteY14" fmla="*/ 936625 h 1524000"/>
                <a:gd name="connsiteX15" fmla="*/ 152400 w 1098550"/>
                <a:gd name="connsiteY15" fmla="*/ 946150 h 1524000"/>
                <a:gd name="connsiteX16" fmla="*/ 149225 w 1098550"/>
                <a:gd name="connsiteY16" fmla="*/ 962025 h 1524000"/>
                <a:gd name="connsiteX17" fmla="*/ 136525 w 1098550"/>
                <a:gd name="connsiteY17" fmla="*/ 965200 h 1524000"/>
                <a:gd name="connsiteX18" fmla="*/ 117475 w 1098550"/>
                <a:gd name="connsiteY18" fmla="*/ 971550 h 1524000"/>
                <a:gd name="connsiteX19" fmla="*/ 120650 w 1098550"/>
                <a:gd name="connsiteY19" fmla="*/ 990600 h 1524000"/>
                <a:gd name="connsiteX20" fmla="*/ 114300 w 1098550"/>
                <a:gd name="connsiteY20" fmla="*/ 1000125 h 1524000"/>
                <a:gd name="connsiteX21" fmla="*/ 104775 w 1098550"/>
                <a:gd name="connsiteY21" fmla="*/ 1003300 h 1524000"/>
                <a:gd name="connsiteX22" fmla="*/ 82550 w 1098550"/>
                <a:gd name="connsiteY22" fmla="*/ 1009650 h 1524000"/>
                <a:gd name="connsiteX23" fmla="*/ 63500 w 1098550"/>
                <a:gd name="connsiteY23" fmla="*/ 1000125 h 1524000"/>
                <a:gd name="connsiteX24" fmla="*/ 47625 w 1098550"/>
                <a:gd name="connsiteY24" fmla="*/ 1003300 h 1524000"/>
                <a:gd name="connsiteX25" fmla="*/ 38100 w 1098550"/>
                <a:gd name="connsiteY25" fmla="*/ 1022350 h 1524000"/>
                <a:gd name="connsiteX26" fmla="*/ 41275 w 1098550"/>
                <a:gd name="connsiteY26" fmla="*/ 1035050 h 1524000"/>
                <a:gd name="connsiteX27" fmla="*/ 50800 w 1098550"/>
                <a:gd name="connsiteY27" fmla="*/ 1044575 h 1524000"/>
                <a:gd name="connsiteX28" fmla="*/ 53975 w 1098550"/>
                <a:gd name="connsiteY28" fmla="*/ 1054100 h 1524000"/>
                <a:gd name="connsiteX29" fmla="*/ 47625 w 1098550"/>
                <a:gd name="connsiteY29" fmla="*/ 1063625 h 1524000"/>
                <a:gd name="connsiteX30" fmla="*/ 28575 w 1098550"/>
                <a:gd name="connsiteY30" fmla="*/ 1073150 h 1524000"/>
                <a:gd name="connsiteX31" fmla="*/ 19050 w 1098550"/>
                <a:gd name="connsiteY31" fmla="*/ 1079500 h 1524000"/>
                <a:gd name="connsiteX32" fmla="*/ 3175 w 1098550"/>
                <a:gd name="connsiteY32" fmla="*/ 1098550 h 1524000"/>
                <a:gd name="connsiteX33" fmla="*/ 0 w 1098550"/>
                <a:gd name="connsiteY33" fmla="*/ 1108075 h 1524000"/>
                <a:gd name="connsiteX34" fmla="*/ 3175 w 1098550"/>
                <a:gd name="connsiteY34" fmla="*/ 1127125 h 1524000"/>
                <a:gd name="connsiteX35" fmla="*/ 12700 w 1098550"/>
                <a:gd name="connsiteY35" fmla="*/ 1133475 h 1524000"/>
                <a:gd name="connsiteX36" fmla="*/ 34925 w 1098550"/>
                <a:gd name="connsiteY36" fmla="*/ 1158875 h 1524000"/>
                <a:gd name="connsiteX37" fmla="*/ 41275 w 1098550"/>
                <a:gd name="connsiteY37" fmla="*/ 1168400 h 1524000"/>
                <a:gd name="connsiteX38" fmla="*/ 60325 w 1098550"/>
                <a:gd name="connsiteY38" fmla="*/ 1177925 h 1524000"/>
                <a:gd name="connsiteX39" fmla="*/ 111125 w 1098550"/>
                <a:gd name="connsiteY39" fmla="*/ 1171575 h 1524000"/>
                <a:gd name="connsiteX40" fmla="*/ 130175 w 1098550"/>
                <a:gd name="connsiteY40" fmla="*/ 1165225 h 1524000"/>
                <a:gd name="connsiteX41" fmla="*/ 136525 w 1098550"/>
                <a:gd name="connsiteY41" fmla="*/ 1155700 h 1524000"/>
                <a:gd name="connsiteX42" fmla="*/ 171450 w 1098550"/>
                <a:gd name="connsiteY42" fmla="*/ 1139825 h 1524000"/>
                <a:gd name="connsiteX43" fmla="*/ 206375 w 1098550"/>
                <a:gd name="connsiteY43" fmla="*/ 1143000 h 1524000"/>
                <a:gd name="connsiteX44" fmla="*/ 215900 w 1098550"/>
                <a:gd name="connsiteY44" fmla="*/ 1146175 h 1524000"/>
                <a:gd name="connsiteX45" fmla="*/ 228600 w 1098550"/>
                <a:gd name="connsiteY45" fmla="*/ 1165225 h 1524000"/>
                <a:gd name="connsiteX46" fmla="*/ 234950 w 1098550"/>
                <a:gd name="connsiteY46" fmla="*/ 1174750 h 1524000"/>
                <a:gd name="connsiteX47" fmla="*/ 247650 w 1098550"/>
                <a:gd name="connsiteY47" fmla="*/ 1203325 h 1524000"/>
                <a:gd name="connsiteX48" fmla="*/ 250825 w 1098550"/>
                <a:gd name="connsiteY48" fmla="*/ 1212850 h 1524000"/>
                <a:gd name="connsiteX49" fmla="*/ 247650 w 1098550"/>
                <a:gd name="connsiteY49" fmla="*/ 1235075 h 1524000"/>
                <a:gd name="connsiteX50" fmla="*/ 244475 w 1098550"/>
                <a:gd name="connsiteY50" fmla="*/ 1244600 h 1524000"/>
                <a:gd name="connsiteX51" fmla="*/ 254000 w 1098550"/>
                <a:gd name="connsiteY51" fmla="*/ 1257300 h 1524000"/>
                <a:gd name="connsiteX52" fmla="*/ 269875 w 1098550"/>
                <a:gd name="connsiteY52" fmla="*/ 1276350 h 1524000"/>
                <a:gd name="connsiteX53" fmla="*/ 276225 w 1098550"/>
                <a:gd name="connsiteY53" fmla="*/ 1295400 h 1524000"/>
                <a:gd name="connsiteX54" fmla="*/ 279400 w 1098550"/>
                <a:gd name="connsiteY54" fmla="*/ 1308100 h 1524000"/>
                <a:gd name="connsiteX55" fmla="*/ 288925 w 1098550"/>
                <a:gd name="connsiteY55" fmla="*/ 1317625 h 1524000"/>
                <a:gd name="connsiteX56" fmla="*/ 295275 w 1098550"/>
                <a:gd name="connsiteY56" fmla="*/ 1327150 h 1524000"/>
                <a:gd name="connsiteX57" fmla="*/ 292100 w 1098550"/>
                <a:gd name="connsiteY57" fmla="*/ 1343025 h 1524000"/>
                <a:gd name="connsiteX58" fmla="*/ 273050 w 1098550"/>
                <a:gd name="connsiteY58" fmla="*/ 1352550 h 1524000"/>
                <a:gd name="connsiteX59" fmla="*/ 244475 w 1098550"/>
                <a:gd name="connsiteY59" fmla="*/ 1374775 h 1524000"/>
                <a:gd name="connsiteX60" fmla="*/ 250825 w 1098550"/>
                <a:gd name="connsiteY60" fmla="*/ 1397000 h 1524000"/>
                <a:gd name="connsiteX61" fmla="*/ 260350 w 1098550"/>
                <a:gd name="connsiteY61" fmla="*/ 1403350 h 1524000"/>
                <a:gd name="connsiteX62" fmla="*/ 263525 w 1098550"/>
                <a:gd name="connsiteY62" fmla="*/ 1412875 h 1524000"/>
                <a:gd name="connsiteX63" fmla="*/ 269875 w 1098550"/>
                <a:gd name="connsiteY63" fmla="*/ 1422400 h 1524000"/>
                <a:gd name="connsiteX64" fmla="*/ 282575 w 1098550"/>
                <a:gd name="connsiteY64" fmla="*/ 1447800 h 1524000"/>
                <a:gd name="connsiteX65" fmla="*/ 314325 w 1098550"/>
                <a:gd name="connsiteY65" fmla="*/ 1450975 h 1524000"/>
                <a:gd name="connsiteX66" fmla="*/ 330200 w 1098550"/>
                <a:gd name="connsiteY66" fmla="*/ 1466850 h 1524000"/>
                <a:gd name="connsiteX67" fmla="*/ 346075 w 1098550"/>
                <a:gd name="connsiteY67" fmla="*/ 1492250 h 1524000"/>
                <a:gd name="connsiteX68" fmla="*/ 365125 w 1098550"/>
                <a:gd name="connsiteY68" fmla="*/ 1482725 h 1524000"/>
                <a:gd name="connsiteX69" fmla="*/ 371475 w 1098550"/>
                <a:gd name="connsiteY69" fmla="*/ 1463675 h 1524000"/>
                <a:gd name="connsiteX70" fmla="*/ 365125 w 1098550"/>
                <a:gd name="connsiteY70" fmla="*/ 1454150 h 1524000"/>
                <a:gd name="connsiteX71" fmla="*/ 346075 w 1098550"/>
                <a:gd name="connsiteY71" fmla="*/ 1444625 h 1524000"/>
                <a:gd name="connsiteX72" fmla="*/ 349250 w 1098550"/>
                <a:gd name="connsiteY72" fmla="*/ 1431925 h 1524000"/>
                <a:gd name="connsiteX73" fmla="*/ 368300 w 1098550"/>
                <a:gd name="connsiteY73" fmla="*/ 1419225 h 1524000"/>
                <a:gd name="connsiteX74" fmla="*/ 403225 w 1098550"/>
                <a:gd name="connsiteY74" fmla="*/ 1431925 h 1524000"/>
                <a:gd name="connsiteX75" fmla="*/ 400050 w 1098550"/>
                <a:gd name="connsiteY75" fmla="*/ 1447800 h 1524000"/>
                <a:gd name="connsiteX76" fmla="*/ 403225 w 1098550"/>
                <a:gd name="connsiteY76" fmla="*/ 1470025 h 1524000"/>
                <a:gd name="connsiteX77" fmla="*/ 425450 w 1098550"/>
                <a:gd name="connsiteY77" fmla="*/ 1492250 h 1524000"/>
                <a:gd name="connsiteX78" fmla="*/ 438150 w 1098550"/>
                <a:gd name="connsiteY78" fmla="*/ 1495425 h 1524000"/>
                <a:gd name="connsiteX79" fmla="*/ 460375 w 1098550"/>
                <a:gd name="connsiteY79" fmla="*/ 1501775 h 1524000"/>
                <a:gd name="connsiteX80" fmla="*/ 485775 w 1098550"/>
                <a:gd name="connsiteY80" fmla="*/ 1508125 h 1524000"/>
                <a:gd name="connsiteX81" fmla="*/ 495300 w 1098550"/>
                <a:gd name="connsiteY81" fmla="*/ 1514475 h 1524000"/>
                <a:gd name="connsiteX82" fmla="*/ 527050 w 1098550"/>
                <a:gd name="connsiteY82" fmla="*/ 1524000 h 1524000"/>
                <a:gd name="connsiteX83" fmla="*/ 542925 w 1098550"/>
                <a:gd name="connsiteY83" fmla="*/ 1511300 h 1524000"/>
                <a:gd name="connsiteX84" fmla="*/ 552450 w 1098550"/>
                <a:gd name="connsiteY84" fmla="*/ 1504950 h 1524000"/>
                <a:gd name="connsiteX85" fmla="*/ 590550 w 1098550"/>
                <a:gd name="connsiteY85" fmla="*/ 1495425 h 1524000"/>
                <a:gd name="connsiteX86" fmla="*/ 587375 w 1098550"/>
                <a:gd name="connsiteY86" fmla="*/ 1479550 h 1524000"/>
                <a:gd name="connsiteX87" fmla="*/ 581025 w 1098550"/>
                <a:gd name="connsiteY87" fmla="*/ 1470025 h 1524000"/>
                <a:gd name="connsiteX88" fmla="*/ 577850 w 1098550"/>
                <a:gd name="connsiteY88" fmla="*/ 1460500 h 1524000"/>
                <a:gd name="connsiteX89" fmla="*/ 581025 w 1098550"/>
                <a:gd name="connsiteY89" fmla="*/ 1438275 h 1524000"/>
                <a:gd name="connsiteX90" fmla="*/ 587375 w 1098550"/>
                <a:gd name="connsiteY90" fmla="*/ 1419225 h 1524000"/>
                <a:gd name="connsiteX91" fmla="*/ 590550 w 1098550"/>
                <a:gd name="connsiteY91" fmla="*/ 1406525 h 1524000"/>
                <a:gd name="connsiteX92" fmla="*/ 596900 w 1098550"/>
                <a:gd name="connsiteY92" fmla="*/ 1387475 h 1524000"/>
                <a:gd name="connsiteX93" fmla="*/ 600075 w 1098550"/>
                <a:gd name="connsiteY93" fmla="*/ 1377950 h 1524000"/>
                <a:gd name="connsiteX94" fmla="*/ 609600 w 1098550"/>
                <a:gd name="connsiteY94" fmla="*/ 1343025 h 1524000"/>
                <a:gd name="connsiteX95" fmla="*/ 606425 w 1098550"/>
                <a:gd name="connsiteY95" fmla="*/ 1320800 h 1524000"/>
                <a:gd name="connsiteX96" fmla="*/ 590550 w 1098550"/>
                <a:gd name="connsiteY96" fmla="*/ 1292225 h 1524000"/>
                <a:gd name="connsiteX97" fmla="*/ 581025 w 1098550"/>
                <a:gd name="connsiteY97" fmla="*/ 1285875 h 1524000"/>
                <a:gd name="connsiteX98" fmla="*/ 568325 w 1098550"/>
                <a:gd name="connsiteY98" fmla="*/ 1266825 h 1524000"/>
                <a:gd name="connsiteX99" fmla="*/ 561975 w 1098550"/>
                <a:gd name="connsiteY99" fmla="*/ 1257300 h 1524000"/>
                <a:gd name="connsiteX100" fmla="*/ 555625 w 1098550"/>
                <a:gd name="connsiteY100" fmla="*/ 1238250 h 1524000"/>
                <a:gd name="connsiteX101" fmla="*/ 552450 w 1098550"/>
                <a:gd name="connsiteY101" fmla="*/ 1228725 h 1524000"/>
                <a:gd name="connsiteX102" fmla="*/ 552450 w 1098550"/>
                <a:gd name="connsiteY102" fmla="*/ 1139825 h 1524000"/>
                <a:gd name="connsiteX103" fmla="*/ 555625 w 1098550"/>
                <a:gd name="connsiteY103" fmla="*/ 1130300 h 1524000"/>
                <a:gd name="connsiteX104" fmla="*/ 536575 w 1098550"/>
                <a:gd name="connsiteY104" fmla="*/ 1114425 h 1524000"/>
                <a:gd name="connsiteX105" fmla="*/ 533400 w 1098550"/>
                <a:gd name="connsiteY105" fmla="*/ 1104900 h 1524000"/>
                <a:gd name="connsiteX106" fmla="*/ 536575 w 1098550"/>
                <a:gd name="connsiteY106" fmla="*/ 1095375 h 1524000"/>
                <a:gd name="connsiteX107" fmla="*/ 546100 w 1098550"/>
                <a:gd name="connsiteY107" fmla="*/ 1089025 h 1524000"/>
                <a:gd name="connsiteX108" fmla="*/ 565150 w 1098550"/>
                <a:gd name="connsiteY108" fmla="*/ 1076325 h 1524000"/>
                <a:gd name="connsiteX109" fmla="*/ 584200 w 1098550"/>
                <a:gd name="connsiteY109" fmla="*/ 1066800 h 1524000"/>
                <a:gd name="connsiteX110" fmla="*/ 593725 w 1098550"/>
                <a:gd name="connsiteY110" fmla="*/ 1060450 h 1524000"/>
                <a:gd name="connsiteX111" fmla="*/ 644525 w 1098550"/>
                <a:gd name="connsiteY111" fmla="*/ 1054100 h 1524000"/>
                <a:gd name="connsiteX112" fmla="*/ 685800 w 1098550"/>
                <a:gd name="connsiteY112" fmla="*/ 1057275 h 1524000"/>
                <a:gd name="connsiteX113" fmla="*/ 704850 w 1098550"/>
                <a:gd name="connsiteY113" fmla="*/ 1063625 h 1524000"/>
                <a:gd name="connsiteX114" fmla="*/ 723900 w 1098550"/>
                <a:gd name="connsiteY114" fmla="*/ 1076325 h 1524000"/>
                <a:gd name="connsiteX115" fmla="*/ 733425 w 1098550"/>
                <a:gd name="connsiteY115" fmla="*/ 1095375 h 1524000"/>
                <a:gd name="connsiteX116" fmla="*/ 742950 w 1098550"/>
                <a:gd name="connsiteY116" fmla="*/ 1098550 h 1524000"/>
                <a:gd name="connsiteX117" fmla="*/ 752475 w 1098550"/>
                <a:gd name="connsiteY117" fmla="*/ 1104900 h 1524000"/>
                <a:gd name="connsiteX118" fmla="*/ 777875 w 1098550"/>
                <a:gd name="connsiteY118" fmla="*/ 1092200 h 1524000"/>
                <a:gd name="connsiteX119" fmla="*/ 777875 w 1098550"/>
                <a:gd name="connsiteY119" fmla="*/ 1035050 h 1524000"/>
                <a:gd name="connsiteX120" fmla="*/ 771525 w 1098550"/>
                <a:gd name="connsiteY120" fmla="*/ 1016000 h 1524000"/>
                <a:gd name="connsiteX121" fmla="*/ 774700 w 1098550"/>
                <a:gd name="connsiteY121" fmla="*/ 1006475 h 1524000"/>
                <a:gd name="connsiteX122" fmla="*/ 793750 w 1098550"/>
                <a:gd name="connsiteY122" fmla="*/ 996950 h 1524000"/>
                <a:gd name="connsiteX123" fmla="*/ 825500 w 1098550"/>
                <a:gd name="connsiteY123" fmla="*/ 996950 h 1524000"/>
                <a:gd name="connsiteX124" fmla="*/ 841375 w 1098550"/>
                <a:gd name="connsiteY124" fmla="*/ 977900 h 1524000"/>
                <a:gd name="connsiteX125" fmla="*/ 844550 w 1098550"/>
                <a:gd name="connsiteY125" fmla="*/ 968375 h 1524000"/>
                <a:gd name="connsiteX126" fmla="*/ 854075 w 1098550"/>
                <a:gd name="connsiteY126" fmla="*/ 965200 h 1524000"/>
                <a:gd name="connsiteX127" fmla="*/ 863600 w 1098550"/>
                <a:gd name="connsiteY127" fmla="*/ 958850 h 1524000"/>
                <a:gd name="connsiteX128" fmla="*/ 873125 w 1098550"/>
                <a:gd name="connsiteY128" fmla="*/ 955675 h 1524000"/>
                <a:gd name="connsiteX129" fmla="*/ 882650 w 1098550"/>
                <a:gd name="connsiteY129" fmla="*/ 946150 h 1524000"/>
                <a:gd name="connsiteX130" fmla="*/ 882650 w 1098550"/>
                <a:gd name="connsiteY130" fmla="*/ 917575 h 1524000"/>
                <a:gd name="connsiteX131" fmla="*/ 885825 w 1098550"/>
                <a:gd name="connsiteY131" fmla="*/ 892175 h 1524000"/>
                <a:gd name="connsiteX132" fmla="*/ 889000 w 1098550"/>
                <a:gd name="connsiteY132" fmla="*/ 882650 h 1524000"/>
                <a:gd name="connsiteX133" fmla="*/ 911225 w 1098550"/>
                <a:gd name="connsiteY133" fmla="*/ 873125 h 1524000"/>
                <a:gd name="connsiteX134" fmla="*/ 962025 w 1098550"/>
                <a:gd name="connsiteY134" fmla="*/ 869950 h 1524000"/>
                <a:gd name="connsiteX135" fmla="*/ 981075 w 1098550"/>
                <a:gd name="connsiteY135" fmla="*/ 854075 h 1524000"/>
                <a:gd name="connsiteX136" fmla="*/ 996950 w 1098550"/>
                <a:gd name="connsiteY136" fmla="*/ 838200 h 1524000"/>
                <a:gd name="connsiteX137" fmla="*/ 1009650 w 1098550"/>
                <a:gd name="connsiteY137" fmla="*/ 819150 h 1524000"/>
                <a:gd name="connsiteX138" fmla="*/ 1016000 w 1098550"/>
                <a:gd name="connsiteY138" fmla="*/ 800100 h 1524000"/>
                <a:gd name="connsiteX139" fmla="*/ 1012825 w 1098550"/>
                <a:gd name="connsiteY139" fmla="*/ 787400 h 1524000"/>
                <a:gd name="connsiteX140" fmla="*/ 1009650 w 1098550"/>
                <a:gd name="connsiteY140" fmla="*/ 777875 h 1524000"/>
                <a:gd name="connsiteX141" fmla="*/ 1012825 w 1098550"/>
                <a:gd name="connsiteY141" fmla="*/ 730250 h 1524000"/>
                <a:gd name="connsiteX142" fmla="*/ 1016000 w 1098550"/>
                <a:gd name="connsiteY142" fmla="*/ 714375 h 1524000"/>
                <a:gd name="connsiteX143" fmla="*/ 1022350 w 1098550"/>
                <a:gd name="connsiteY143" fmla="*/ 695325 h 1524000"/>
                <a:gd name="connsiteX144" fmla="*/ 1012825 w 1098550"/>
                <a:gd name="connsiteY144" fmla="*/ 688975 h 1524000"/>
                <a:gd name="connsiteX145" fmla="*/ 974725 w 1098550"/>
                <a:gd name="connsiteY145" fmla="*/ 695325 h 1524000"/>
                <a:gd name="connsiteX146" fmla="*/ 968375 w 1098550"/>
                <a:gd name="connsiteY146" fmla="*/ 704850 h 1524000"/>
                <a:gd name="connsiteX147" fmla="*/ 946150 w 1098550"/>
                <a:gd name="connsiteY147" fmla="*/ 692150 h 1524000"/>
                <a:gd name="connsiteX148" fmla="*/ 952500 w 1098550"/>
                <a:gd name="connsiteY148" fmla="*/ 669925 h 1524000"/>
                <a:gd name="connsiteX149" fmla="*/ 962025 w 1098550"/>
                <a:gd name="connsiteY149" fmla="*/ 663575 h 1524000"/>
                <a:gd name="connsiteX150" fmla="*/ 965200 w 1098550"/>
                <a:gd name="connsiteY150" fmla="*/ 654050 h 1524000"/>
                <a:gd name="connsiteX151" fmla="*/ 974725 w 1098550"/>
                <a:gd name="connsiteY151" fmla="*/ 644525 h 1524000"/>
                <a:gd name="connsiteX152" fmla="*/ 971550 w 1098550"/>
                <a:gd name="connsiteY152" fmla="*/ 625475 h 1524000"/>
                <a:gd name="connsiteX153" fmla="*/ 965200 w 1098550"/>
                <a:gd name="connsiteY153" fmla="*/ 606425 h 1524000"/>
                <a:gd name="connsiteX154" fmla="*/ 968375 w 1098550"/>
                <a:gd name="connsiteY154" fmla="*/ 584200 h 1524000"/>
                <a:gd name="connsiteX155" fmla="*/ 990600 w 1098550"/>
                <a:gd name="connsiteY155" fmla="*/ 571500 h 1524000"/>
                <a:gd name="connsiteX156" fmla="*/ 1012825 w 1098550"/>
                <a:gd name="connsiteY156" fmla="*/ 565150 h 1524000"/>
                <a:gd name="connsiteX157" fmla="*/ 1022350 w 1098550"/>
                <a:gd name="connsiteY157" fmla="*/ 555625 h 1524000"/>
                <a:gd name="connsiteX158" fmla="*/ 1028700 w 1098550"/>
                <a:gd name="connsiteY158" fmla="*/ 536575 h 1524000"/>
                <a:gd name="connsiteX159" fmla="*/ 1022350 w 1098550"/>
                <a:gd name="connsiteY159" fmla="*/ 517525 h 1524000"/>
                <a:gd name="connsiteX160" fmla="*/ 1019175 w 1098550"/>
                <a:gd name="connsiteY160" fmla="*/ 504825 h 1524000"/>
                <a:gd name="connsiteX161" fmla="*/ 1012825 w 1098550"/>
                <a:gd name="connsiteY161" fmla="*/ 495300 h 1524000"/>
                <a:gd name="connsiteX162" fmla="*/ 1009650 w 1098550"/>
                <a:gd name="connsiteY162" fmla="*/ 485775 h 1524000"/>
                <a:gd name="connsiteX163" fmla="*/ 1012825 w 1098550"/>
                <a:gd name="connsiteY163" fmla="*/ 457200 h 1524000"/>
                <a:gd name="connsiteX164" fmla="*/ 1031875 w 1098550"/>
                <a:gd name="connsiteY164" fmla="*/ 444500 h 1524000"/>
                <a:gd name="connsiteX165" fmla="*/ 1079500 w 1098550"/>
                <a:gd name="connsiteY165" fmla="*/ 450850 h 1524000"/>
                <a:gd name="connsiteX166" fmla="*/ 1098550 w 1098550"/>
                <a:gd name="connsiteY166" fmla="*/ 447675 h 1524000"/>
                <a:gd name="connsiteX167" fmla="*/ 1089025 w 1098550"/>
                <a:gd name="connsiteY167" fmla="*/ 438150 h 1524000"/>
                <a:gd name="connsiteX168" fmla="*/ 1082675 w 1098550"/>
                <a:gd name="connsiteY168" fmla="*/ 428625 h 1524000"/>
                <a:gd name="connsiteX169" fmla="*/ 1063625 w 1098550"/>
                <a:gd name="connsiteY169" fmla="*/ 415925 h 1524000"/>
                <a:gd name="connsiteX170" fmla="*/ 1066800 w 1098550"/>
                <a:gd name="connsiteY170" fmla="*/ 393700 h 1524000"/>
                <a:gd name="connsiteX171" fmla="*/ 1069975 w 1098550"/>
                <a:gd name="connsiteY171" fmla="*/ 384175 h 1524000"/>
                <a:gd name="connsiteX172" fmla="*/ 1079500 w 1098550"/>
                <a:gd name="connsiteY172" fmla="*/ 381000 h 1524000"/>
                <a:gd name="connsiteX173" fmla="*/ 1089025 w 1098550"/>
                <a:gd name="connsiteY173" fmla="*/ 371475 h 1524000"/>
                <a:gd name="connsiteX174" fmla="*/ 1089025 w 1098550"/>
                <a:gd name="connsiteY174" fmla="*/ 320675 h 1524000"/>
                <a:gd name="connsiteX175" fmla="*/ 1069975 w 1098550"/>
                <a:gd name="connsiteY175" fmla="*/ 314325 h 1524000"/>
                <a:gd name="connsiteX176" fmla="*/ 1060450 w 1098550"/>
                <a:gd name="connsiteY176" fmla="*/ 307975 h 1524000"/>
                <a:gd name="connsiteX177" fmla="*/ 1047750 w 1098550"/>
                <a:gd name="connsiteY177" fmla="*/ 304800 h 1524000"/>
                <a:gd name="connsiteX178" fmla="*/ 1038225 w 1098550"/>
                <a:gd name="connsiteY178" fmla="*/ 301625 h 1524000"/>
                <a:gd name="connsiteX179" fmla="*/ 1022350 w 1098550"/>
                <a:gd name="connsiteY179" fmla="*/ 282575 h 1524000"/>
                <a:gd name="connsiteX180" fmla="*/ 1019175 w 1098550"/>
                <a:gd name="connsiteY180" fmla="*/ 273050 h 1524000"/>
                <a:gd name="connsiteX181" fmla="*/ 1003300 w 1098550"/>
                <a:gd name="connsiteY181" fmla="*/ 254000 h 1524000"/>
                <a:gd name="connsiteX182" fmla="*/ 993775 w 1098550"/>
                <a:gd name="connsiteY182" fmla="*/ 250825 h 1524000"/>
                <a:gd name="connsiteX183" fmla="*/ 984250 w 1098550"/>
                <a:gd name="connsiteY183" fmla="*/ 244475 h 1524000"/>
                <a:gd name="connsiteX184" fmla="*/ 977900 w 1098550"/>
                <a:gd name="connsiteY184" fmla="*/ 225425 h 1524000"/>
                <a:gd name="connsiteX185" fmla="*/ 971550 w 1098550"/>
                <a:gd name="connsiteY185" fmla="*/ 200025 h 1524000"/>
                <a:gd name="connsiteX186" fmla="*/ 968375 w 1098550"/>
                <a:gd name="connsiteY186" fmla="*/ 187325 h 1524000"/>
                <a:gd name="connsiteX187" fmla="*/ 958850 w 1098550"/>
                <a:gd name="connsiteY187" fmla="*/ 177800 h 1524000"/>
                <a:gd name="connsiteX188" fmla="*/ 939800 w 1098550"/>
                <a:gd name="connsiteY188" fmla="*/ 171450 h 1524000"/>
                <a:gd name="connsiteX189" fmla="*/ 904875 w 1098550"/>
                <a:gd name="connsiteY189" fmla="*/ 174625 h 1524000"/>
                <a:gd name="connsiteX190" fmla="*/ 895350 w 1098550"/>
                <a:gd name="connsiteY190" fmla="*/ 177800 h 1524000"/>
                <a:gd name="connsiteX191" fmla="*/ 889000 w 1098550"/>
                <a:gd name="connsiteY191" fmla="*/ 196850 h 1524000"/>
                <a:gd name="connsiteX192" fmla="*/ 892175 w 1098550"/>
                <a:gd name="connsiteY192" fmla="*/ 206375 h 1524000"/>
                <a:gd name="connsiteX193" fmla="*/ 898525 w 1098550"/>
                <a:gd name="connsiteY193" fmla="*/ 215900 h 1524000"/>
                <a:gd name="connsiteX194" fmla="*/ 904875 w 1098550"/>
                <a:gd name="connsiteY194" fmla="*/ 234950 h 1524000"/>
                <a:gd name="connsiteX195" fmla="*/ 901700 w 1098550"/>
                <a:gd name="connsiteY195" fmla="*/ 244475 h 1524000"/>
                <a:gd name="connsiteX196" fmla="*/ 879475 w 1098550"/>
                <a:gd name="connsiteY196" fmla="*/ 254000 h 1524000"/>
                <a:gd name="connsiteX197" fmla="*/ 869950 w 1098550"/>
                <a:gd name="connsiteY197" fmla="*/ 257175 h 1524000"/>
                <a:gd name="connsiteX198" fmla="*/ 841375 w 1098550"/>
                <a:gd name="connsiteY198" fmla="*/ 247650 h 1524000"/>
                <a:gd name="connsiteX199" fmla="*/ 831850 w 1098550"/>
                <a:gd name="connsiteY199" fmla="*/ 244475 h 1524000"/>
                <a:gd name="connsiteX200" fmla="*/ 803275 w 1098550"/>
                <a:gd name="connsiteY200" fmla="*/ 222250 h 1524000"/>
                <a:gd name="connsiteX201" fmla="*/ 796925 w 1098550"/>
                <a:gd name="connsiteY201" fmla="*/ 212725 h 1524000"/>
                <a:gd name="connsiteX202" fmla="*/ 793750 w 1098550"/>
                <a:gd name="connsiteY202" fmla="*/ 203200 h 1524000"/>
                <a:gd name="connsiteX203" fmla="*/ 796925 w 1098550"/>
                <a:gd name="connsiteY203" fmla="*/ 184150 h 1524000"/>
                <a:gd name="connsiteX204" fmla="*/ 800100 w 1098550"/>
                <a:gd name="connsiteY204" fmla="*/ 174625 h 1524000"/>
                <a:gd name="connsiteX205" fmla="*/ 819150 w 1098550"/>
                <a:gd name="connsiteY205" fmla="*/ 168275 h 1524000"/>
                <a:gd name="connsiteX206" fmla="*/ 835025 w 1098550"/>
                <a:gd name="connsiteY206" fmla="*/ 149225 h 1524000"/>
                <a:gd name="connsiteX207" fmla="*/ 828675 w 1098550"/>
                <a:gd name="connsiteY207" fmla="*/ 130175 h 1524000"/>
                <a:gd name="connsiteX208" fmla="*/ 822325 w 1098550"/>
                <a:gd name="connsiteY208" fmla="*/ 104775 h 1524000"/>
                <a:gd name="connsiteX209" fmla="*/ 815975 w 1098550"/>
                <a:gd name="connsiteY209" fmla="*/ 82550 h 1524000"/>
                <a:gd name="connsiteX210" fmla="*/ 822325 w 1098550"/>
                <a:gd name="connsiteY210" fmla="*/ 73025 h 1524000"/>
                <a:gd name="connsiteX211" fmla="*/ 835025 w 1098550"/>
                <a:gd name="connsiteY211" fmla="*/ 69850 h 1524000"/>
                <a:gd name="connsiteX212" fmla="*/ 844550 w 1098550"/>
                <a:gd name="connsiteY212" fmla="*/ 66675 h 1524000"/>
                <a:gd name="connsiteX213" fmla="*/ 854075 w 1098550"/>
                <a:gd name="connsiteY213" fmla="*/ 47625 h 1524000"/>
                <a:gd name="connsiteX214" fmla="*/ 838200 w 1098550"/>
                <a:gd name="connsiteY214" fmla="*/ 31750 h 1524000"/>
                <a:gd name="connsiteX215" fmla="*/ 812800 w 1098550"/>
                <a:gd name="connsiteY215" fmla="*/ 25400 h 1524000"/>
                <a:gd name="connsiteX216" fmla="*/ 793750 w 1098550"/>
                <a:gd name="connsiteY216" fmla="*/ 19050 h 1524000"/>
                <a:gd name="connsiteX217" fmla="*/ 774700 w 1098550"/>
                <a:gd name="connsiteY217" fmla="*/ 6350 h 1524000"/>
                <a:gd name="connsiteX218" fmla="*/ 765175 w 1098550"/>
                <a:gd name="connsiteY218" fmla="*/ 0 h 1524000"/>
                <a:gd name="connsiteX219" fmla="*/ 736600 w 1098550"/>
                <a:gd name="connsiteY219" fmla="*/ 3175 h 1524000"/>
                <a:gd name="connsiteX220" fmla="*/ 727075 w 1098550"/>
                <a:gd name="connsiteY220" fmla="*/ 9525 h 1524000"/>
                <a:gd name="connsiteX221" fmla="*/ 730250 w 1098550"/>
                <a:gd name="connsiteY221" fmla="*/ 31750 h 1524000"/>
                <a:gd name="connsiteX222" fmla="*/ 723900 w 1098550"/>
                <a:gd name="connsiteY222" fmla="*/ 60325 h 1524000"/>
                <a:gd name="connsiteX223" fmla="*/ 717550 w 1098550"/>
                <a:gd name="connsiteY223" fmla="*/ 69850 h 1524000"/>
                <a:gd name="connsiteX224" fmla="*/ 708025 w 1098550"/>
                <a:gd name="connsiteY224" fmla="*/ 79375 h 1524000"/>
                <a:gd name="connsiteX225" fmla="*/ 698500 w 1098550"/>
                <a:gd name="connsiteY225" fmla="*/ 82550 h 1524000"/>
                <a:gd name="connsiteX226" fmla="*/ 688975 w 1098550"/>
                <a:gd name="connsiteY226" fmla="*/ 92075 h 1524000"/>
                <a:gd name="connsiteX227" fmla="*/ 669925 w 1098550"/>
                <a:gd name="connsiteY227" fmla="*/ 104775 h 1524000"/>
                <a:gd name="connsiteX228" fmla="*/ 660400 w 1098550"/>
                <a:gd name="connsiteY228" fmla="*/ 114300 h 1524000"/>
                <a:gd name="connsiteX229" fmla="*/ 647700 w 1098550"/>
                <a:gd name="connsiteY229" fmla="*/ 123825 h 1524000"/>
                <a:gd name="connsiteX230" fmla="*/ 641350 w 1098550"/>
                <a:gd name="connsiteY230" fmla="*/ 133350 h 1524000"/>
                <a:gd name="connsiteX231" fmla="*/ 609600 w 1098550"/>
                <a:gd name="connsiteY231" fmla="*/ 149225 h 1524000"/>
                <a:gd name="connsiteX232" fmla="*/ 587375 w 1098550"/>
                <a:gd name="connsiteY232" fmla="*/ 142875 h 1524000"/>
                <a:gd name="connsiteX233" fmla="*/ 581025 w 1098550"/>
                <a:gd name="connsiteY233" fmla="*/ 133350 h 1524000"/>
                <a:gd name="connsiteX234" fmla="*/ 571500 w 1098550"/>
                <a:gd name="connsiteY234" fmla="*/ 127000 h 1524000"/>
                <a:gd name="connsiteX235" fmla="*/ 568325 w 1098550"/>
                <a:gd name="connsiteY235" fmla="*/ 117475 h 1524000"/>
                <a:gd name="connsiteX236" fmla="*/ 571500 w 1098550"/>
                <a:gd name="connsiteY236" fmla="*/ 101600 h 1524000"/>
                <a:gd name="connsiteX237" fmla="*/ 561975 w 1098550"/>
                <a:gd name="connsiteY237" fmla="*/ 95250 h 1524000"/>
                <a:gd name="connsiteX238" fmla="*/ 527050 w 1098550"/>
                <a:gd name="connsiteY238" fmla="*/ 107950 h 1524000"/>
                <a:gd name="connsiteX239" fmla="*/ 530225 w 1098550"/>
                <a:gd name="connsiteY239" fmla="*/ 139700 h 1524000"/>
                <a:gd name="connsiteX240" fmla="*/ 536575 w 1098550"/>
                <a:gd name="connsiteY240" fmla="*/ 158750 h 1524000"/>
                <a:gd name="connsiteX241" fmla="*/ 533400 w 1098550"/>
                <a:gd name="connsiteY241" fmla="*/ 174625 h 1524000"/>
                <a:gd name="connsiteX242" fmla="*/ 511175 w 1098550"/>
                <a:gd name="connsiteY242" fmla="*/ 190500 h 1524000"/>
                <a:gd name="connsiteX243" fmla="*/ 492125 w 1098550"/>
                <a:gd name="connsiteY243" fmla="*/ 196850 h 1524000"/>
                <a:gd name="connsiteX244" fmla="*/ 463550 w 1098550"/>
                <a:gd name="connsiteY244" fmla="*/ 193675 h 1524000"/>
                <a:gd name="connsiteX245" fmla="*/ 412750 w 1098550"/>
                <a:gd name="connsiteY245" fmla="*/ 200025 h 1524000"/>
                <a:gd name="connsiteX246" fmla="*/ 403225 w 1098550"/>
                <a:gd name="connsiteY246" fmla="*/ 206375 h 1524000"/>
                <a:gd name="connsiteX247" fmla="*/ 393700 w 1098550"/>
                <a:gd name="connsiteY247" fmla="*/ 209550 h 1524000"/>
                <a:gd name="connsiteX248" fmla="*/ 381000 w 1098550"/>
                <a:gd name="connsiteY248" fmla="*/ 228600 h 1524000"/>
                <a:gd name="connsiteX249" fmla="*/ 374650 w 1098550"/>
                <a:gd name="connsiteY249" fmla="*/ 247650 h 1524000"/>
                <a:gd name="connsiteX250" fmla="*/ 377825 w 1098550"/>
                <a:gd name="connsiteY250" fmla="*/ 273050 h 1524000"/>
                <a:gd name="connsiteX251" fmla="*/ 409575 w 1098550"/>
                <a:gd name="connsiteY251" fmla="*/ 266700 h 1524000"/>
                <a:gd name="connsiteX252" fmla="*/ 447675 w 1098550"/>
                <a:gd name="connsiteY252" fmla="*/ 269875 h 1524000"/>
                <a:gd name="connsiteX253" fmla="*/ 450850 w 1098550"/>
                <a:gd name="connsiteY253" fmla="*/ 298450 h 1524000"/>
                <a:gd name="connsiteX254" fmla="*/ 441325 w 1098550"/>
                <a:gd name="connsiteY254" fmla="*/ 327025 h 1524000"/>
                <a:gd name="connsiteX255" fmla="*/ 434975 w 1098550"/>
                <a:gd name="connsiteY255" fmla="*/ 336550 h 1524000"/>
                <a:gd name="connsiteX256" fmla="*/ 431800 w 1098550"/>
                <a:gd name="connsiteY256" fmla="*/ 349250 h 1524000"/>
                <a:gd name="connsiteX257" fmla="*/ 422275 w 1098550"/>
                <a:gd name="connsiteY257" fmla="*/ 384175 h 1524000"/>
                <a:gd name="connsiteX258" fmla="*/ 403225 w 1098550"/>
                <a:gd name="connsiteY258" fmla="*/ 390525 h 1524000"/>
                <a:gd name="connsiteX259" fmla="*/ 393700 w 1098550"/>
                <a:gd name="connsiteY259" fmla="*/ 393700 h 1524000"/>
                <a:gd name="connsiteX260" fmla="*/ 377825 w 1098550"/>
                <a:gd name="connsiteY260" fmla="*/ 390525 h 1524000"/>
                <a:gd name="connsiteX261" fmla="*/ 358775 w 1098550"/>
                <a:gd name="connsiteY261" fmla="*/ 384175 h 1524000"/>
                <a:gd name="connsiteX262" fmla="*/ 346075 w 1098550"/>
                <a:gd name="connsiteY262" fmla="*/ 387350 h 1524000"/>
                <a:gd name="connsiteX263" fmla="*/ 346075 w 1098550"/>
                <a:gd name="connsiteY263" fmla="*/ 457200 h 1524000"/>
                <a:gd name="connsiteX264" fmla="*/ 336550 w 1098550"/>
                <a:gd name="connsiteY264" fmla="*/ 460375 h 1524000"/>
                <a:gd name="connsiteX265" fmla="*/ 317500 w 1098550"/>
                <a:gd name="connsiteY265" fmla="*/ 473075 h 1524000"/>
                <a:gd name="connsiteX266" fmla="*/ 301625 w 1098550"/>
                <a:gd name="connsiteY266" fmla="*/ 501650 h 1524000"/>
                <a:gd name="connsiteX267" fmla="*/ 288925 w 1098550"/>
                <a:gd name="connsiteY267" fmla="*/ 520700 h 1524000"/>
                <a:gd name="connsiteX268" fmla="*/ 285750 w 1098550"/>
                <a:gd name="connsiteY268" fmla="*/ 533400 h 1524000"/>
                <a:gd name="connsiteX269" fmla="*/ 282575 w 1098550"/>
                <a:gd name="connsiteY269" fmla="*/ 549275 h 1524000"/>
                <a:gd name="connsiteX270" fmla="*/ 260350 w 1098550"/>
                <a:gd name="connsiteY270" fmla="*/ 558800 h 1524000"/>
                <a:gd name="connsiteX271" fmla="*/ 250825 w 1098550"/>
                <a:gd name="connsiteY271" fmla="*/ 552450 h 1524000"/>
                <a:gd name="connsiteX272" fmla="*/ 231775 w 1098550"/>
                <a:gd name="connsiteY272" fmla="*/ 546100 h 1524000"/>
                <a:gd name="connsiteX273" fmla="*/ 209550 w 1098550"/>
                <a:gd name="connsiteY273" fmla="*/ 549275 h 1524000"/>
                <a:gd name="connsiteX274" fmla="*/ 200025 w 1098550"/>
                <a:gd name="connsiteY274" fmla="*/ 555625 h 1524000"/>
                <a:gd name="connsiteX275" fmla="*/ 177800 w 1098550"/>
                <a:gd name="connsiteY275" fmla="*/ 584200 h 1524000"/>
                <a:gd name="connsiteX276" fmla="*/ 174625 w 1098550"/>
                <a:gd name="connsiteY276" fmla="*/ 593725 h 1524000"/>
                <a:gd name="connsiteX277" fmla="*/ 165100 w 1098550"/>
                <a:gd name="connsiteY277" fmla="*/ 600075 h 1524000"/>
                <a:gd name="connsiteX278" fmla="*/ 158750 w 1098550"/>
                <a:gd name="connsiteY278" fmla="*/ 609600 h 1524000"/>
                <a:gd name="connsiteX279" fmla="*/ 168275 w 1098550"/>
                <a:gd name="connsiteY279" fmla="*/ 628650 h 1524000"/>
                <a:gd name="connsiteX280" fmla="*/ 158750 w 1098550"/>
                <a:gd name="connsiteY280" fmla="*/ 650875 h 1524000"/>
                <a:gd name="connsiteX281" fmla="*/ 149225 w 1098550"/>
                <a:gd name="connsiteY281" fmla="*/ 657225 h 1524000"/>
                <a:gd name="connsiteX282" fmla="*/ 161925 w 1098550"/>
                <a:gd name="connsiteY282" fmla="*/ 644525 h 15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1098550" h="1524000">
                  <a:moveTo>
                    <a:pt x="161925" y="644525"/>
                  </a:moveTo>
                  <a:cubicBezTo>
                    <a:pt x="152857" y="671728"/>
                    <a:pt x="151668" y="667081"/>
                    <a:pt x="158750" y="704850"/>
                  </a:cubicBezTo>
                  <a:cubicBezTo>
                    <a:pt x="159453" y="708601"/>
                    <a:pt x="163550" y="710888"/>
                    <a:pt x="165100" y="714375"/>
                  </a:cubicBezTo>
                  <a:cubicBezTo>
                    <a:pt x="167818" y="720492"/>
                    <a:pt x="171450" y="733425"/>
                    <a:pt x="171450" y="733425"/>
                  </a:cubicBezTo>
                  <a:cubicBezTo>
                    <a:pt x="169321" y="746197"/>
                    <a:pt x="170854" y="753071"/>
                    <a:pt x="161925" y="762000"/>
                  </a:cubicBezTo>
                  <a:cubicBezTo>
                    <a:pt x="159227" y="764698"/>
                    <a:pt x="155887" y="766800"/>
                    <a:pt x="152400" y="768350"/>
                  </a:cubicBezTo>
                  <a:cubicBezTo>
                    <a:pt x="146283" y="771068"/>
                    <a:pt x="133350" y="774700"/>
                    <a:pt x="133350" y="774700"/>
                  </a:cubicBezTo>
                  <a:cubicBezTo>
                    <a:pt x="130175" y="773642"/>
                    <a:pt x="127172" y="771525"/>
                    <a:pt x="123825" y="771525"/>
                  </a:cubicBezTo>
                  <a:cubicBezTo>
                    <a:pt x="119838" y="771525"/>
                    <a:pt x="106092" y="776378"/>
                    <a:pt x="101600" y="777875"/>
                  </a:cubicBezTo>
                  <a:cubicBezTo>
                    <a:pt x="99483" y="784225"/>
                    <a:pt x="94773" y="790249"/>
                    <a:pt x="95250" y="796925"/>
                  </a:cubicBezTo>
                  <a:cubicBezTo>
                    <a:pt x="99047" y="850080"/>
                    <a:pt x="94822" y="826964"/>
                    <a:pt x="104775" y="866775"/>
                  </a:cubicBezTo>
                  <a:cubicBezTo>
                    <a:pt x="105700" y="870477"/>
                    <a:pt x="108590" y="873448"/>
                    <a:pt x="111125" y="876300"/>
                  </a:cubicBezTo>
                  <a:cubicBezTo>
                    <a:pt x="117091" y="883012"/>
                    <a:pt x="123825" y="889000"/>
                    <a:pt x="130175" y="895350"/>
                  </a:cubicBezTo>
                  <a:cubicBezTo>
                    <a:pt x="132873" y="898048"/>
                    <a:pt x="134632" y="901562"/>
                    <a:pt x="136525" y="904875"/>
                  </a:cubicBezTo>
                  <a:cubicBezTo>
                    <a:pt x="144000" y="917956"/>
                    <a:pt x="144021" y="921013"/>
                    <a:pt x="149225" y="936625"/>
                  </a:cubicBezTo>
                  <a:lnTo>
                    <a:pt x="152400" y="946150"/>
                  </a:lnTo>
                  <a:cubicBezTo>
                    <a:pt x="151342" y="951442"/>
                    <a:pt x="152680" y="957879"/>
                    <a:pt x="149225" y="962025"/>
                  </a:cubicBezTo>
                  <a:cubicBezTo>
                    <a:pt x="146431" y="965377"/>
                    <a:pt x="140705" y="963946"/>
                    <a:pt x="136525" y="965200"/>
                  </a:cubicBezTo>
                  <a:cubicBezTo>
                    <a:pt x="130114" y="967123"/>
                    <a:pt x="123825" y="969433"/>
                    <a:pt x="117475" y="971550"/>
                  </a:cubicBezTo>
                  <a:cubicBezTo>
                    <a:pt x="105896" y="1006288"/>
                    <a:pt x="120650" y="953671"/>
                    <a:pt x="120650" y="990600"/>
                  </a:cubicBezTo>
                  <a:cubicBezTo>
                    <a:pt x="120650" y="994416"/>
                    <a:pt x="117280" y="997741"/>
                    <a:pt x="114300" y="1000125"/>
                  </a:cubicBezTo>
                  <a:cubicBezTo>
                    <a:pt x="111687" y="1002216"/>
                    <a:pt x="107993" y="1002381"/>
                    <a:pt x="104775" y="1003300"/>
                  </a:cubicBezTo>
                  <a:cubicBezTo>
                    <a:pt x="76868" y="1011273"/>
                    <a:pt x="105388" y="1002037"/>
                    <a:pt x="82550" y="1009650"/>
                  </a:cubicBezTo>
                  <a:cubicBezTo>
                    <a:pt x="77734" y="1006439"/>
                    <a:pt x="70073" y="1000125"/>
                    <a:pt x="63500" y="1000125"/>
                  </a:cubicBezTo>
                  <a:cubicBezTo>
                    <a:pt x="58104" y="1000125"/>
                    <a:pt x="52917" y="1002242"/>
                    <a:pt x="47625" y="1003300"/>
                  </a:cubicBezTo>
                  <a:cubicBezTo>
                    <a:pt x="44414" y="1008116"/>
                    <a:pt x="38100" y="1015777"/>
                    <a:pt x="38100" y="1022350"/>
                  </a:cubicBezTo>
                  <a:cubicBezTo>
                    <a:pt x="38100" y="1026714"/>
                    <a:pt x="39110" y="1031261"/>
                    <a:pt x="41275" y="1035050"/>
                  </a:cubicBezTo>
                  <a:cubicBezTo>
                    <a:pt x="43503" y="1038949"/>
                    <a:pt x="47625" y="1041400"/>
                    <a:pt x="50800" y="1044575"/>
                  </a:cubicBezTo>
                  <a:cubicBezTo>
                    <a:pt x="51858" y="1047750"/>
                    <a:pt x="54525" y="1050799"/>
                    <a:pt x="53975" y="1054100"/>
                  </a:cubicBezTo>
                  <a:cubicBezTo>
                    <a:pt x="53348" y="1057864"/>
                    <a:pt x="50323" y="1060927"/>
                    <a:pt x="47625" y="1063625"/>
                  </a:cubicBezTo>
                  <a:cubicBezTo>
                    <a:pt x="41470" y="1069780"/>
                    <a:pt x="36322" y="1070568"/>
                    <a:pt x="28575" y="1073150"/>
                  </a:cubicBezTo>
                  <a:cubicBezTo>
                    <a:pt x="25400" y="1075267"/>
                    <a:pt x="21981" y="1077057"/>
                    <a:pt x="19050" y="1079500"/>
                  </a:cubicBezTo>
                  <a:cubicBezTo>
                    <a:pt x="13031" y="1084516"/>
                    <a:pt x="6743" y="1091414"/>
                    <a:pt x="3175" y="1098550"/>
                  </a:cubicBezTo>
                  <a:cubicBezTo>
                    <a:pt x="1678" y="1101543"/>
                    <a:pt x="1058" y="1104900"/>
                    <a:pt x="0" y="1108075"/>
                  </a:cubicBezTo>
                  <a:cubicBezTo>
                    <a:pt x="1058" y="1114425"/>
                    <a:pt x="296" y="1121367"/>
                    <a:pt x="3175" y="1127125"/>
                  </a:cubicBezTo>
                  <a:cubicBezTo>
                    <a:pt x="4882" y="1130538"/>
                    <a:pt x="10187" y="1130603"/>
                    <a:pt x="12700" y="1133475"/>
                  </a:cubicBezTo>
                  <a:cubicBezTo>
                    <a:pt x="38629" y="1163108"/>
                    <a:pt x="13494" y="1144587"/>
                    <a:pt x="34925" y="1158875"/>
                  </a:cubicBezTo>
                  <a:cubicBezTo>
                    <a:pt x="37042" y="1162050"/>
                    <a:pt x="38577" y="1165702"/>
                    <a:pt x="41275" y="1168400"/>
                  </a:cubicBezTo>
                  <a:cubicBezTo>
                    <a:pt x="47430" y="1174555"/>
                    <a:pt x="52578" y="1175343"/>
                    <a:pt x="60325" y="1177925"/>
                  </a:cubicBezTo>
                  <a:cubicBezTo>
                    <a:pt x="76937" y="1176415"/>
                    <a:pt x="94722" y="1176048"/>
                    <a:pt x="111125" y="1171575"/>
                  </a:cubicBezTo>
                  <a:cubicBezTo>
                    <a:pt x="117583" y="1169814"/>
                    <a:pt x="130175" y="1165225"/>
                    <a:pt x="130175" y="1165225"/>
                  </a:cubicBezTo>
                  <a:cubicBezTo>
                    <a:pt x="132292" y="1162050"/>
                    <a:pt x="133653" y="1158213"/>
                    <a:pt x="136525" y="1155700"/>
                  </a:cubicBezTo>
                  <a:cubicBezTo>
                    <a:pt x="152800" y="1141460"/>
                    <a:pt x="153229" y="1143469"/>
                    <a:pt x="171450" y="1139825"/>
                  </a:cubicBezTo>
                  <a:cubicBezTo>
                    <a:pt x="183092" y="1140883"/>
                    <a:pt x="194803" y="1141347"/>
                    <a:pt x="206375" y="1143000"/>
                  </a:cubicBezTo>
                  <a:cubicBezTo>
                    <a:pt x="209688" y="1143473"/>
                    <a:pt x="213533" y="1143808"/>
                    <a:pt x="215900" y="1146175"/>
                  </a:cubicBezTo>
                  <a:cubicBezTo>
                    <a:pt x="221296" y="1151571"/>
                    <a:pt x="224367" y="1158875"/>
                    <a:pt x="228600" y="1165225"/>
                  </a:cubicBezTo>
                  <a:lnTo>
                    <a:pt x="234950" y="1174750"/>
                  </a:lnTo>
                  <a:cubicBezTo>
                    <a:pt x="245013" y="1189844"/>
                    <a:pt x="240093" y="1180655"/>
                    <a:pt x="247650" y="1203325"/>
                  </a:cubicBezTo>
                  <a:lnTo>
                    <a:pt x="250825" y="1212850"/>
                  </a:lnTo>
                  <a:cubicBezTo>
                    <a:pt x="249767" y="1220258"/>
                    <a:pt x="249118" y="1227737"/>
                    <a:pt x="247650" y="1235075"/>
                  </a:cubicBezTo>
                  <a:cubicBezTo>
                    <a:pt x="246994" y="1238357"/>
                    <a:pt x="243556" y="1241382"/>
                    <a:pt x="244475" y="1244600"/>
                  </a:cubicBezTo>
                  <a:cubicBezTo>
                    <a:pt x="245929" y="1249688"/>
                    <a:pt x="250556" y="1253282"/>
                    <a:pt x="254000" y="1257300"/>
                  </a:cubicBezTo>
                  <a:cubicBezTo>
                    <a:pt x="260902" y="1265352"/>
                    <a:pt x="265557" y="1266634"/>
                    <a:pt x="269875" y="1276350"/>
                  </a:cubicBezTo>
                  <a:cubicBezTo>
                    <a:pt x="272593" y="1282467"/>
                    <a:pt x="274602" y="1288906"/>
                    <a:pt x="276225" y="1295400"/>
                  </a:cubicBezTo>
                  <a:cubicBezTo>
                    <a:pt x="277283" y="1299633"/>
                    <a:pt x="277235" y="1304311"/>
                    <a:pt x="279400" y="1308100"/>
                  </a:cubicBezTo>
                  <a:cubicBezTo>
                    <a:pt x="281628" y="1311999"/>
                    <a:pt x="286050" y="1314176"/>
                    <a:pt x="288925" y="1317625"/>
                  </a:cubicBezTo>
                  <a:cubicBezTo>
                    <a:pt x="291368" y="1320556"/>
                    <a:pt x="293158" y="1323975"/>
                    <a:pt x="295275" y="1327150"/>
                  </a:cubicBezTo>
                  <a:cubicBezTo>
                    <a:pt x="294217" y="1332442"/>
                    <a:pt x="294777" y="1338340"/>
                    <a:pt x="292100" y="1343025"/>
                  </a:cubicBezTo>
                  <a:cubicBezTo>
                    <a:pt x="289204" y="1348094"/>
                    <a:pt x="277939" y="1350920"/>
                    <a:pt x="273050" y="1352550"/>
                  </a:cubicBezTo>
                  <a:cubicBezTo>
                    <a:pt x="250264" y="1367741"/>
                    <a:pt x="259396" y="1359854"/>
                    <a:pt x="244475" y="1374775"/>
                  </a:cubicBezTo>
                  <a:cubicBezTo>
                    <a:pt x="244682" y="1375605"/>
                    <a:pt x="249169" y="1394930"/>
                    <a:pt x="250825" y="1397000"/>
                  </a:cubicBezTo>
                  <a:cubicBezTo>
                    <a:pt x="253209" y="1399980"/>
                    <a:pt x="257175" y="1401233"/>
                    <a:pt x="260350" y="1403350"/>
                  </a:cubicBezTo>
                  <a:cubicBezTo>
                    <a:pt x="261408" y="1406525"/>
                    <a:pt x="262028" y="1409882"/>
                    <a:pt x="263525" y="1412875"/>
                  </a:cubicBezTo>
                  <a:cubicBezTo>
                    <a:pt x="265232" y="1416288"/>
                    <a:pt x="268668" y="1418780"/>
                    <a:pt x="269875" y="1422400"/>
                  </a:cubicBezTo>
                  <a:cubicBezTo>
                    <a:pt x="273845" y="1434309"/>
                    <a:pt x="267594" y="1444343"/>
                    <a:pt x="282575" y="1447800"/>
                  </a:cubicBezTo>
                  <a:cubicBezTo>
                    <a:pt x="292939" y="1450192"/>
                    <a:pt x="303742" y="1449917"/>
                    <a:pt x="314325" y="1450975"/>
                  </a:cubicBezTo>
                  <a:cubicBezTo>
                    <a:pt x="323014" y="1456768"/>
                    <a:pt x="325744" y="1456824"/>
                    <a:pt x="330200" y="1466850"/>
                  </a:cubicBezTo>
                  <a:cubicBezTo>
                    <a:pt x="341336" y="1491906"/>
                    <a:pt x="328940" y="1480827"/>
                    <a:pt x="346075" y="1492250"/>
                  </a:cubicBezTo>
                  <a:cubicBezTo>
                    <a:pt x="351265" y="1490520"/>
                    <a:pt x="361886" y="1487908"/>
                    <a:pt x="365125" y="1482725"/>
                  </a:cubicBezTo>
                  <a:cubicBezTo>
                    <a:pt x="368673" y="1477049"/>
                    <a:pt x="371475" y="1463675"/>
                    <a:pt x="371475" y="1463675"/>
                  </a:cubicBezTo>
                  <a:cubicBezTo>
                    <a:pt x="369358" y="1460500"/>
                    <a:pt x="367823" y="1456848"/>
                    <a:pt x="365125" y="1454150"/>
                  </a:cubicBezTo>
                  <a:cubicBezTo>
                    <a:pt x="358970" y="1447995"/>
                    <a:pt x="353822" y="1447207"/>
                    <a:pt x="346075" y="1444625"/>
                  </a:cubicBezTo>
                  <a:cubicBezTo>
                    <a:pt x="347133" y="1440392"/>
                    <a:pt x="347085" y="1435714"/>
                    <a:pt x="349250" y="1431925"/>
                  </a:cubicBezTo>
                  <a:cubicBezTo>
                    <a:pt x="354846" y="1422132"/>
                    <a:pt x="359208" y="1422256"/>
                    <a:pt x="368300" y="1419225"/>
                  </a:cubicBezTo>
                  <a:cubicBezTo>
                    <a:pt x="382601" y="1420655"/>
                    <a:pt x="403225" y="1412964"/>
                    <a:pt x="403225" y="1431925"/>
                  </a:cubicBezTo>
                  <a:cubicBezTo>
                    <a:pt x="403225" y="1437321"/>
                    <a:pt x="401108" y="1442508"/>
                    <a:pt x="400050" y="1447800"/>
                  </a:cubicBezTo>
                  <a:cubicBezTo>
                    <a:pt x="401108" y="1455208"/>
                    <a:pt x="400539" y="1463040"/>
                    <a:pt x="403225" y="1470025"/>
                  </a:cubicBezTo>
                  <a:cubicBezTo>
                    <a:pt x="410076" y="1487838"/>
                    <a:pt x="412064" y="1488425"/>
                    <a:pt x="425450" y="1492250"/>
                  </a:cubicBezTo>
                  <a:cubicBezTo>
                    <a:pt x="429646" y="1493449"/>
                    <a:pt x="433954" y="1494226"/>
                    <a:pt x="438150" y="1495425"/>
                  </a:cubicBezTo>
                  <a:cubicBezTo>
                    <a:pt x="456712" y="1500729"/>
                    <a:pt x="438042" y="1496812"/>
                    <a:pt x="460375" y="1501775"/>
                  </a:cubicBezTo>
                  <a:cubicBezTo>
                    <a:pt x="483363" y="1506883"/>
                    <a:pt x="468754" y="1502451"/>
                    <a:pt x="485775" y="1508125"/>
                  </a:cubicBezTo>
                  <a:cubicBezTo>
                    <a:pt x="488950" y="1510242"/>
                    <a:pt x="491813" y="1512925"/>
                    <a:pt x="495300" y="1514475"/>
                  </a:cubicBezTo>
                  <a:cubicBezTo>
                    <a:pt x="505238" y="1518892"/>
                    <a:pt x="516495" y="1521361"/>
                    <a:pt x="527050" y="1524000"/>
                  </a:cubicBezTo>
                  <a:cubicBezTo>
                    <a:pt x="537754" y="1507943"/>
                    <a:pt x="527589" y="1518968"/>
                    <a:pt x="542925" y="1511300"/>
                  </a:cubicBezTo>
                  <a:cubicBezTo>
                    <a:pt x="546338" y="1509593"/>
                    <a:pt x="548963" y="1506500"/>
                    <a:pt x="552450" y="1504950"/>
                  </a:cubicBezTo>
                  <a:cubicBezTo>
                    <a:pt x="567544" y="1498241"/>
                    <a:pt x="574576" y="1498087"/>
                    <a:pt x="590550" y="1495425"/>
                  </a:cubicBezTo>
                  <a:cubicBezTo>
                    <a:pt x="589492" y="1490133"/>
                    <a:pt x="589270" y="1484603"/>
                    <a:pt x="587375" y="1479550"/>
                  </a:cubicBezTo>
                  <a:cubicBezTo>
                    <a:pt x="586035" y="1475977"/>
                    <a:pt x="582732" y="1473438"/>
                    <a:pt x="581025" y="1470025"/>
                  </a:cubicBezTo>
                  <a:cubicBezTo>
                    <a:pt x="579528" y="1467032"/>
                    <a:pt x="578908" y="1463675"/>
                    <a:pt x="577850" y="1460500"/>
                  </a:cubicBezTo>
                  <a:cubicBezTo>
                    <a:pt x="578908" y="1453092"/>
                    <a:pt x="579342" y="1445567"/>
                    <a:pt x="581025" y="1438275"/>
                  </a:cubicBezTo>
                  <a:cubicBezTo>
                    <a:pt x="582530" y="1431753"/>
                    <a:pt x="585752" y="1425719"/>
                    <a:pt x="587375" y="1419225"/>
                  </a:cubicBezTo>
                  <a:cubicBezTo>
                    <a:pt x="588433" y="1414992"/>
                    <a:pt x="589296" y="1410705"/>
                    <a:pt x="590550" y="1406525"/>
                  </a:cubicBezTo>
                  <a:cubicBezTo>
                    <a:pt x="592473" y="1400114"/>
                    <a:pt x="594783" y="1393825"/>
                    <a:pt x="596900" y="1387475"/>
                  </a:cubicBezTo>
                  <a:cubicBezTo>
                    <a:pt x="597958" y="1384300"/>
                    <a:pt x="599263" y="1381197"/>
                    <a:pt x="600075" y="1377950"/>
                  </a:cubicBezTo>
                  <a:cubicBezTo>
                    <a:pt x="607237" y="1349303"/>
                    <a:pt x="603665" y="1360829"/>
                    <a:pt x="609600" y="1343025"/>
                  </a:cubicBezTo>
                  <a:cubicBezTo>
                    <a:pt x="608542" y="1335617"/>
                    <a:pt x="608108" y="1328092"/>
                    <a:pt x="606425" y="1320800"/>
                  </a:cubicBezTo>
                  <a:cubicBezTo>
                    <a:pt x="602627" y="1304343"/>
                    <a:pt x="602143" y="1301886"/>
                    <a:pt x="590550" y="1292225"/>
                  </a:cubicBezTo>
                  <a:cubicBezTo>
                    <a:pt x="587619" y="1289782"/>
                    <a:pt x="584200" y="1287992"/>
                    <a:pt x="581025" y="1285875"/>
                  </a:cubicBezTo>
                  <a:lnTo>
                    <a:pt x="568325" y="1266825"/>
                  </a:lnTo>
                  <a:cubicBezTo>
                    <a:pt x="566208" y="1263650"/>
                    <a:pt x="563182" y="1260920"/>
                    <a:pt x="561975" y="1257300"/>
                  </a:cubicBezTo>
                  <a:lnTo>
                    <a:pt x="555625" y="1238250"/>
                  </a:lnTo>
                  <a:lnTo>
                    <a:pt x="552450" y="1228725"/>
                  </a:lnTo>
                  <a:cubicBezTo>
                    <a:pt x="547278" y="1187351"/>
                    <a:pt x="547279" y="1199289"/>
                    <a:pt x="552450" y="1139825"/>
                  </a:cubicBezTo>
                  <a:cubicBezTo>
                    <a:pt x="552740" y="1136491"/>
                    <a:pt x="554567" y="1133475"/>
                    <a:pt x="555625" y="1130300"/>
                  </a:cubicBezTo>
                  <a:cubicBezTo>
                    <a:pt x="548597" y="1125614"/>
                    <a:pt x="541464" y="1121759"/>
                    <a:pt x="536575" y="1114425"/>
                  </a:cubicBezTo>
                  <a:cubicBezTo>
                    <a:pt x="534719" y="1111640"/>
                    <a:pt x="534458" y="1108075"/>
                    <a:pt x="533400" y="1104900"/>
                  </a:cubicBezTo>
                  <a:cubicBezTo>
                    <a:pt x="534458" y="1101725"/>
                    <a:pt x="534484" y="1097988"/>
                    <a:pt x="536575" y="1095375"/>
                  </a:cubicBezTo>
                  <a:cubicBezTo>
                    <a:pt x="538959" y="1092395"/>
                    <a:pt x="543169" y="1091468"/>
                    <a:pt x="546100" y="1089025"/>
                  </a:cubicBezTo>
                  <a:cubicBezTo>
                    <a:pt x="561955" y="1075812"/>
                    <a:pt x="548411" y="1081905"/>
                    <a:pt x="565150" y="1076325"/>
                  </a:cubicBezTo>
                  <a:cubicBezTo>
                    <a:pt x="592447" y="1058127"/>
                    <a:pt x="557910" y="1079945"/>
                    <a:pt x="584200" y="1066800"/>
                  </a:cubicBezTo>
                  <a:cubicBezTo>
                    <a:pt x="587613" y="1065093"/>
                    <a:pt x="590152" y="1061790"/>
                    <a:pt x="593725" y="1060450"/>
                  </a:cubicBezTo>
                  <a:cubicBezTo>
                    <a:pt x="604223" y="1056513"/>
                    <a:pt x="640704" y="1054447"/>
                    <a:pt x="644525" y="1054100"/>
                  </a:cubicBezTo>
                  <a:cubicBezTo>
                    <a:pt x="658283" y="1055158"/>
                    <a:pt x="672170" y="1055123"/>
                    <a:pt x="685800" y="1057275"/>
                  </a:cubicBezTo>
                  <a:cubicBezTo>
                    <a:pt x="692412" y="1058319"/>
                    <a:pt x="704850" y="1063625"/>
                    <a:pt x="704850" y="1063625"/>
                  </a:cubicBezTo>
                  <a:lnTo>
                    <a:pt x="723900" y="1076325"/>
                  </a:lnTo>
                  <a:cubicBezTo>
                    <a:pt x="741566" y="1088102"/>
                    <a:pt x="720747" y="1082697"/>
                    <a:pt x="733425" y="1095375"/>
                  </a:cubicBezTo>
                  <a:cubicBezTo>
                    <a:pt x="735792" y="1097742"/>
                    <a:pt x="739775" y="1097492"/>
                    <a:pt x="742950" y="1098550"/>
                  </a:cubicBezTo>
                  <a:cubicBezTo>
                    <a:pt x="746125" y="1100667"/>
                    <a:pt x="748689" y="1104427"/>
                    <a:pt x="752475" y="1104900"/>
                  </a:cubicBezTo>
                  <a:cubicBezTo>
                    <a:pt x="766895" y="1106702"/>
                    <a:pt x="769408" y="1100667"/>
                    <a:pt x="777875" y="1092200"/>
                  </a:cubicBezTo>
                  <a:cubicBezTo>
                    <a:pt x="783949" y="1067905"/>
                    <a:pt x="783757" y="1074266"/>
                    <a:pt x="777875" y="1035050"/>
                  </a:cubicBezTo>
                  <a:cubicBezTo>
                    <a:pt x="776882" y="1028431"/>
                    <a:pt x="771525" y="1016000"/>
                    <a:pt x="771525" y="1016000"/>
                  </a:cubicBezTo>
                  <a:cubicBezTo>
                    <a:pt x="772583" y="1012825"/>
                    <a:pt x="772609" y="1009088"/>
                    <a:pt x="774700" y="1006475"/>
                  </a:cubicBezTo>
                  <a:cubicBezTo>
                    <a:pt x="779176" y="1000880"/>
                    <a:pt x="787475" y="999042"/>
                    <a:pt x="793750" y="996950"/>
                  </a:cubicBezTo>
                  <a:cubicBezTo>
                    <a:pt x="805845" y="999369"/>
                    <a:pt x="813405" y="1002998"/>
                    <a:pt x="825500" y="996950"/>
                  </a:cubicBezTo>
                  <a:cubicBezTo>
                    <a:pt x="830181" y="994609"/>
                    <a:pt x="838944" y="982762"/>
                    <a:pt x="841375" y="977900"/>
                  </a:cubicBezTo>
                  <a:cubicBezTo>
                    <a:pt x="842872" y="974907"/>
                    <a:pt x="842183" y="970742"/>
                    <a:pt x="844550" y="968375"/>
                  </a:cubicBezTo>
                  <a:cubicBezTo>
                    <a:pt x="846917" y="966008"/>
                    <a:pt x="850900" y="966258"/>
                    <a:pt x="854075" y="965200"/>
                  </a:cubicBezTo>
                  <a:cubicBezTo>
                    <a:pt x="857250" y="963083"/>
                    <a:pt x="860187" y="960557"/>
                    <a:pt x="863600" y="958850"/>
                  </a:cubicBezTo>
                  <a:cubicBezTo>
                    <a:pt x="866593" y="957353"/>
                    <a:pt x="870340" y="957531"/>
                    <a:pt x="873125" y="955675"/>
                  </a:cubicBezTo>
                  <a:cubicBezTo>
                    <a:pt x="876861" y="953184"/>
                    <a:pt x="879475" y="949325"/>
                    <a:pt x="882650" y="946150"/>
                  </a:cubicBezTo>
                  <a:cubicBezTo>
                    <a:pt x="889797" y="924708"/>
                    <a:pt x="882650" y="951102"/>
                    <a:pt x="882650" y="917575"/>
                  </a:cubicBezTo>
                  <a:cubicBezTo>
                    <a:pt x="882650" y="909042"/>
                    <a:pt x="884299" y="900570"/>
                    <a:pt x="885825" y="892175"/>
                  </a:cubicBezTo>
                  <a:cubicBezTo>
                    <a:pt x="886424" y="888882"/>
                    <a:pt x="886909" y="885263"/>
                    <a:pt x="889000" y="882650"/>
                  </a:cubicBezTo>
                  <a:cubicBezTo>
                    <a:pt x="893612" y="876885"/>
                    <a:pt x="904594" y="873788"/>
                    <a:pt x="911225" y="873125"/>
                  </a:cubicBezTo>
                  <a:cubicBezTo>
                    <a:pt x="928107" y="871437"/>
                    <a:pt x="945092" y="871008"/>
                    <a:pt x="962025" y="869950"/>
                  </a:cubicBezTo>
                  <a:cubicBezTo>
                    <a:pt x="971391" y="863706"/>
                    <a:pt x="973435" y="863242"/>
                    <a:pt x="981075" y="854075"/>
                  </a:cubicBezTo>
                  <a:cubicBezTo>
                    <a:pt x="994304" y="838200"/>
                    <a:pt x="979487" y="849842"/>
                    <a:pt x="996950" y="838200"/>
                  </a:cubicBezTo>
                  <a:cubicBezTo>
                    <a:pt x="1001183" y="831850"/>
                    <a:pt x="1007237" y="826390"/>
                    <a:pt x="1009650" y="819150"/>
                  </a:cubicBezTo>
                  <a:lnTo>
                    <a:pt x="1016000" y="800100"/>
                  </a:lnTo>
                  <a:cubicBezTo>
                    <a:pt x="1014942" y="795867"/>
                    <a:pt x="1014024" y="791596"/>
                    <a:pt x="1012825" y="787400"/>
                  </a:cubicBezTo>
                  <a:cubicBezTo>
                    <a:pt x="1011906" y="784182"/>
                    <a:pt x="1009650" y="781222"/>
                    <a:pt x="1009650" y="777875"/>
                  </a:cubicBezTo>
                  <a:cubicBezTo>
                    <a:pt x="1009650" y="761965"/>
                    <a:pt x="1011242" y="746081"/>
                    <a:pt x="1012825" y="730250"/>
                  </a:cubicBezTo>
                  <a:cubicBezTo>
                    <a:pt x="1013362" y="724880"/>
                    <a:pt x="1014580" y="719581"/>
                    <a:pt x="1016000" y="714375"/>
                  </a:cubicBezTo>
                  <a:cubicBezTo>
                    <a:pt x="1017761" y="707917"/>
                    <a:pt x="1022350" y="695325"/>
                    <a:pt x="1022350" y="695325"/>
                  </a:cubicBezTo>
                  <a:cubicBezTo>
                    <a:pt x="1019175" y="693208"/>
                    <a:pt x="1016628" y="689292"/>
                    <a:pt x="1012825" y="688975"/>
                  </a:cubicBezTo>
                  <a:cubicBezTo>
                    <a:pt x="995811" y="687557"/>
                    <a:pt x="988143" y="690852"/>
                    <a:pt x="974725" y="695325"/>
                  </a:cubicBezTo>
                  <a:cubicBezTo>
                    <a:pt x="972608" y="698500"/>
                    <a:pt x="972044" y="703802"/>
                    <a:pt x="968375" y="704850"/>
                  </a:cubicBezTo>
                  <a:cubicBezTo>
                    <a:pt x="954094" y="708930"/>
                    <a:pt x="951720" y="700506"/>
                    <a:pt x="946150" y="692150"/>
                  </a:cubicBezTo>
                  <a:cubicBezTo>
                    <a:pt x="946357" y="691320"/>
                    <a:pt x="950844" y="671995"/>
                    <a:pt x="952500" y="669925"/>
                  </a:cubicBezTo>
                  <a:cubicBezTo>
                    <a:pt x="954884" y="666945"/>
                    <a:pt x="958850" y="665692"/>
                    <a:pt x="962025" y="663575"/>
                  </a:cubicBezTo>
                  <a:cubicBezTo>
                    <a:pt x="963083" y="660400"/>
                    <a:pt x="963344" y="656835"/>
                    <a:pt x="965200" y="654050"/>
                  </a:cubicBezTo>
                  <a:cubicBezTo>
                    <a:pt x="967691" y="650314"/>
                    <a:pt x="973751" y="648908"/>
                    <a:pt x="974725" y="644525"/>
                  </a:cubicBezTo>
                  <a:cubicBezTo>
                    <a:pt x="976122" y="638241"/>
                    <a:pt x="973111" y="631720"/>
                    <a:pt x="971550" y="625475"/>
                  </a:cubicBezTo>
                  <a:cubicBezTo>
                    <a:pt x="969927" y="618981"/>
                    <a:pt x="965200" y="606425"/>
                    <a:pt x="965200" y="606425"/>
                  </a:cubicBezTo>
                  <a:cubicBezTo>
                    <a:pt x="966258" y="599017"/>
                    <a:pt x="965596" y="591148"/>
                    <a:pt x="968375" y="584200"/>
                  </a:cubicBezTo>
                  <a:cubicBezTo>
                    <a:pt x="972726" y="573323"/>
                    <a:pt x="981571" y="574080"/>
                    <a:pt x="990600" y="571500"/>
                  </a:cubicBezTo>
                  <a:cubicBezTo>
                    <a:pt x="1022484" y="562390"/>
                    <a:pt x="973123" y="575076"/>
                    <a:pt x="1012825" y="565150"/>
                  </a:cubicBezTo>
                  <a:cubicBezTo>
                    <a:pt x="1016000" y="561975"/>
                    <a:pt x="1020169" y="559550"/>
                    <a:pt x="1022350" y="555625"/>
                  </a:cubicBezTo>
                  <a:cubicBezTo>
                    <a:pt x="1025601" y="549774"/>
                    <a:pt x="1028700" y="536575"/>
                    <a:pt x="1028700" y="536575"/>
                  </a:cubicBezTo>
                  <a:lnTo>
                    <a:pt x="1022350" y="517525"/>
                  </a:lnTo>
                  <a:cubicBezTo>
                    <a:pt x="1020970" y="513385"/>
                    <a:pt x="1020894" y="508836"/>
                    <a:pt x="1019175" y="504825"/>
                  </a:cubicBezTo>
                  <a:cubicBezTo>
                    <a:pt x="1017672" y="501318"/>
                    <a:pt x="1014532" y="498713"/>
                    <a:pt x="1012825" y="495300"/>
                  </a:cubicBezTo>
                  <a:cubicBezTo>
                    <a:pt x="1011328" y="492307"/>
                    <a:pt x="1010708" y="488950"/>
                    <a:pt x="1009650" y="485775"/>
                  </a:cubicBezTo>
                  <a:cubicBezTo>
                    <a:pt x="1010708" y="476250"/>
                    <a:pt x="1008281" y="465638"/>
                    <a:pt x="1012825" y="457200"/>
                  </a:cubicBezTo>
                  <a:cubicBezTo>
                    <a:pt x="1016443" y="450480"/>
                    <a:pt x="1031875" y="444500"/>
                    <a:pt x="1031875" y="444500"/>
                  </a:cubicBezTo>
                  <a:cubicBezTo>
                    <a:pt x="1044717" y="446640"/>
                    <a:pt x="1067842" y="450850"/>
                    <a:pt x="1079500" y="450850"/>
                  </a:cubicBezTo>
                  <a:cubicBezTo>
                    <a:pt x="1085938" y="450850"/>
                    <a:pt x="1092200" y="448733"/>
                    <a:pt x="1098550" y="447675"/>
                  </a:cubicBezTo>
                  <a:cubicBezTo>
                    <a:pt x="1095375" y="444500"/>
                    <a:pt x="1091900" y="441599"/>
                    <a:pt x="1089025" y="438150"/>
                  </a:cubicBezTo>
                  <a:cubicBezTo>
                    <a:pt x="1086582" y="435219"/>
                    <a:pt x="1085547" y="431138"/>
                    <a:pt x="1082675" y="428625"/>
                  </a:cubicBezTo>
                  <a:cubicBezTo>
                    <a:pt x="1076932" y="423599"/>
                    <a:pt x="1063625" y="415925"/>
                    <a:pt x="1063625" y="415925"/>
                  </a:cubicBezTo>
                  <a:cubicBezTo>
                    <a:pt x="1064683" y="408517"/>
                    <a:pt x="1065332" y="401038"/>
                    <a:pt x="1066800" y="393700"/>
                  </a:cubicBezTo>
                  <a:cubicBezTo>
                    <a:pt x="1067456" y="390418"/>
                    <a:pt x="1067608" y="386542"/>
                    <a:pt x="1069975" y="384175"/>
                  </a:cubicBezTo>
                  <a:cubicBezTo>
                    <a:pt x="1072342" y="381808"/>
                    <a:pt x="1076325" y="382058"/>
                    <a:pt x="1079500" y="381000"/>
                  </a:cubicBezTo>
                  <a:cubicBezTo>
                    <a:pt x="1082675" y="377825"/>
                    <a:pt x="1086534" y="375211"/>
                    <a:pt x="1089025" y="371475"/>
                  </a:cubicBezTo>
                  <a:cubicBezTo>
                    <a:pt x="1097187" y="359232"/>
                    <a:pt x="1089886" y="322519"/>
                    <a:pt x="1089025" y="320675"/>
                  </a:cubicBezTo>
                  <a:cubicBezTo>
                    <a:pt x="1086194" y="314609"/>
                    <a:pt x="1069975" y="314325"/>
                    <a:pt x="1069975" y="314325"/>
                  </a:cubicBezTo>
                  <a:cubicBezTo>
                    <a:pt x="1066800" y="312208"/>
                    <a:pt x="1063957" y="309478"/>
                    <a:pt x="1060450" y="307975"/>
                  </a:cubicBezTo>
                  <a:cubicBezTo>
                    <a:pt x="1056439" y="306256"/>
                    <a:pt x="1051946" y="305999"/>
                    <a:pt x="1047750" y="304800"/>
                  </a:cubicBezTo>
                  <a:cubicBezTo>
                    <a:pt x="1044532" y="303881"/>
                    <a:pt x="1041400" y="302683"/>
                    <a:pt x="1038225" y="301625"/>
                  </a:cubicBezTo>
                  <a:cubicBezTo>
                    <a:pt x="1031203" y="294603"/>
                    <a:pt x="1026770" y="291416"/>
                    <a:pt x="1022350" y="282575"/>
                  </a:cubicBezTo>
                  <a:cubicBezTo>
                    <a:pt x="1020853" y="279582"/>
                    <a:pt x="1020672" y="276043"/>
                    <a:pt x="1019175" y="273050"/>
                  </a:cubicBezTo>
                  <a:cubicBezTo>
                    <a:pt x="1016247" y="267193"/>
                    <a:pt x="1008566" y="257511"/>
                    <a:pt x="1003300" y="254000"/>
                  </a:cubicBezTo>
                  <a:cubicBezTo>
                    <a:pt x="1000515" y="252144"/>
                    <a:pt x="996950" y="251883"/>
                    <a:pt x="993775" y="250825"/>
                  </a:cubicBezTo>
                  <a:cubicBezTo>
                    <a:pt x="990600" y="248708"/>
                    <a:pt x="986272" y="247711"/>
                    <a:pt x="984250" y="244475"/>
                  </a:cubicBezTo>
                  <a:cubicBezTo>
                    <a:pt x="980702" y="238799"/>
                    <a:pt x="980017" y="231775"/>
                    <a:pt x="977900" y="225425"/>
                  </a:cubicBezTo>
                  <a:cubicBezTo>
                    <a:pt x="972226" y="208404"/>
                    <a:pt x="976658" y="223013"/>
                    <a:pt x="971550" y="200025"/>
                  </a:cubicBezTo>
                  <a:cubicBezTo>
                    <a:pt x="970603" y="195765"/>
                    <a:pt x="970540" y="191114"/>
                    <a:pt x="968375" y="187325"/>
                  </a:cubicBezTo>
                  <a:cubicBezTo>
                    <a:pt x="966147" y="183426"/>
                    <a:pt x="962775" y="179981"/>
                    <a:pt x="958850" y="177800"/>
                  </a:cubicBezTo>
                  <a:cubicBezTo>
                    <a:pt x="952999" y="174549"/>
                    <a:pt x="939800" y="171450"/>
                    <a:pt x="939800" y="171450"/>
                  </a:cubicBezTo>
                  <a:cubicBezTo>
                    <a:pt x="928158" y="172508"/>
                    <a:pt x="916447" y="172972"/>
                    <a:pt x="904875" y="174625"/>
                  </a:cubicBezTo>
                  <a:cubicBezTo>
                    <a:pt x="901562" y="175098"/>
                    <a:pt x="897295" y="175077"/>
                    <a:pt x="895350" y="177800"/>
                  </a:cubicBezTo>
                  <a:cubicBezTo>
                    <a:pt x="891459" y="183247"/>
                    <a:pt x="889000" y="196850"/>
                    <a:pt x="889000" y="196850"/>
                  </a:cubicBezTo>
                  <a:cubicBezTo>
                    <a:pt x="890058" y="200025"/>
                    <a:pt x="890678" y="203382"/>
                    <a:pt x="892175" y="206375"/>
                  </a:cubicBezTo>
                  <a:cubicBezTo>
                    <a:pt x="893882" y="209788"/>
                    <a:pt x="896975" y="212413"/>
                    <a:pt x="898525" y="215900"/>
                  </a:cubicBezTo>
                  <a:cubicBezTo>
                    <a:pt x="901243" y="222017"/>
                    <a:pt x="904875" y="234950"/>
                    <a:pt x="904875" y="234950"/>
                  </a:cubicBezTo>
                  <a:cubicBezTo>
                    <a:pt x="903817" y="238125"/>
                    <a:pt x="903791" y="241862"/>
                    <a:pt x="901700" y="244475"/>
                  </a:cubicBezTo>
                  <a:cubicBezTo>
                    <a:pt x="895971" y="251636"/>
                    <a:pt x="887384" y="251740"/>
                    <a:pt x="879475" y="254000"/>
                  </a:cubicBezTo>
                  <a:cubicBezTo>
                    <a:pt x="876257" y="254919"/>
                    <a:pt x="873125" y="256117"/>
                    <a:pt x="869950" y="257175"/>
                  </a:cubicBezTo>
                  <a:lnTo>
                    <a:pt x="841375" y="247650"/>
                  </a:lnTo>
                  <a:lnTo>
                    <a:pt x="831850" y="244475"/>
                  </a:lnTo>
                  <a:cubicBezTo>
                    <a:pt x="818575" y="235625"/>
                    <a:pt x="812601" y="233441"/>
                    <a:pt x="803275" y="222250"/>
                  </a:cubicBezTo>
                  <a:cubicBezTo>
                    <a:pt x="800832" y="219319"/>
                    <a:pt x="798632" y="216138"/>
                    <a:pt x="796925" y="212725"/>
                  </a:cubicBezTo>
                  <a:cubicBezTo>
                    <a:pt x="795428" y="209732"/>
                    <a:pt x="794808" y="206375"/>
                    <a:pt x="793750" y="203200"/>
                  </a:cubicBezTo>
                  <a:cubicBezTo>
                    <a:pt x="794808" y="196850"/>
                    <a:pt x="795528" y="190434"/>
                    <a:pt x="796925" y="184150"/>
                  </a:cubicBezTo>
                  <a:cubicBezTo>
                    <a:pt x="797651" y="180883"/>
                    <a:pt x="797377" y="176570"/>
                    <a:pt x="800100" y="174625"/>
                  </a:cubicBezTo>
                  <a:cubicBezTo>
                    <a:pt x="805547" y="170734"/>
                    <a:pt x="819150" y="168275"/>
                    <a:pt x="819150" y="168275"/>
                  </a:cubicBezTo>
                  <a:cubicBezTo>
                    <a:pt x="826118" y="163630"/>
                    <a:pt x="835025" y="159967"/>
                    <a:pt x="835025" y="149225"/>
                  </a:cubicBezTo>
                  <a:cubicBezTo>
                    <a:pt x="835025" y="142532"/>
                    <a:pt x="830792" y="136525"/>
                    <a:pt x="828675" y="130175"/>
                  </a:cubicBezTo>
                  <a:cubicBezTo>
                    <a:pt x="823001" y="113154"/>
                    <a:pt x="827433" y="127763"/>
                    <a:pt x="822325" y="104775"/>
                  </a:cubicBezTo>
                  <a:cubicBezTo>
                    <a:pt x="819667" y="92815"/>
                    <a:pt x="819511" y="93157"/>
                    <a:pt x="815975" y="82550"/>
                  </a:cubicBezTo>
                  <a:cubicBezTo>
                    <a:pt x="818092" y="79375"/>
                    <a:pt x="819150" y="75142"/>
                    <a:pt x="822325" y="73025"/>
                  </a:cubicBezTo>
                  <a:cubicBezTo>
                    <a:pt x="825956" y="70604"/>
                    <a:pt x="830829" y="71049"/>
                    <a:pt x="835025" y="69850"/>
                  </a:cubicBezTo>
                  <a:cubicBezTo>
                    <a:pt x="838243" y="68931"/>
                    <a:pt x="841375" y="67733"/>
                    <a:pt x="844550" y="66675"/>
                  </a:cubicBezTo>
                  <a:cubicBezTo>
                    <a:pt x="846761" y="63358"/>
                    <a:pt x="854951" y="52883"/>
                    <a:pt x="854075" y="47625"/>
                  </a:cubicBezTo>
                  <a:cubicBezTo>
                    <a:pt x="852920" y="40698"/>
                    <a:pt x="843588" y="34444"/>
                    <a:pt x="838200" y="31750"/>
                  </a:cubicBezTo>
                  <a:cubicBezTo>
                    <a:pt x="830493" y="27897"/>
                    <a:pt x="820770" y="27574"/>
                    <a:pt x="812800" y="25400"/>
                  </a:cubicBezTo>
                  <a:cubicBezTo>
                    <a:pt x="806342" y="23639"/>
                    <a:pt x="793750" y="19050"/>
                    <a:pt x="793750" y="19050"/>
                  </a:cubicBezTo>
                  <a:lnTo>
                    <a:pt x="774700" y="6350"/>
                  </a:lnTo>
                  <a:lnTo>
                    <a:pt x="765175" y="0"/>
                  </a:lnTo>
                  <a:cubicBezTo>
                    <a:pt x="755650" y="1058"/>
                    <a:pt x="745897" y="851"/>
                    <a:pt x="736600" y="3175"/>
                  </a:cubicBezTo>
                  <a:cubicBezTo>
                    <a:pt x="732898" y="4100"/>
                    <a:pt x="727903" y="5800"/>
                    <a:pt x="727075" y="9525"/>
                  </a:cubicBezTo>
                  <a:cubicBezTo>
                    <a:pt x="725452" y="16830"/>
                    <a:pt x="729192" y="24342"/>
                    <a:pt x="730250" y="31750"/>
                  </a:cubicBezTo>
                  <a:cubicBezTo>
                    <a:pt x="729031" y="39067"/>
                    <a:pt x="727808" y="52509"/>
                    <a:pt x="723900" y="60325"/>
                  </a:cubicBezTo>
                  <a:cubicBezTo>
                    <a:pt x="722193" y="63738"/>
                    <a:pt x="719993" y="66919"/>
                    <a:pt x="717550" y="69850"/>
                  </a:cubicBezTo>
                  <a:cubicBezTo>
                    <a:pt x="714675" y="73299"/>
                    <a:pt x="711761" y="76884"/>
                    <a:pt x="708025" y="79375"/>
                  </a:cubicBezTo>
                  <a:cubicBezTo>
                    <a:pt x="705240" y="81231"/>
                    <a:pt x="701675" y="81492"/>
                    <a:pt x="698500" y="82550"/>
                  </a:cubicBezTo>
                  <a:cubicBezTo>
                    <a:pt x="695325" y="85725"/>
                    <a:pt x="692519" y="89318"/>
                    <a:pt x="688975" y="92075"/>
                  </a:cubicBezTo>
                  <a:cubicBezTo>
                    <a:pt x="682951" y="96760"/>
                    <a:pt x="675321" y="99379"/>
                    <a:pt x="669925" y="104775"/>
                  </a:cubicBezTo>
                  <a:cubicBezTo>
                    <a:pt x="666750" y="107950"/>
                    <a:pt x="663809" y="111378"/>
                    <a:pt x="660400" y="114300"/>
                  </a:cubicBezTo>
                  <a:cubicBezTo>
                    <a:pt x="656382" y="117744"/>
                    <a:pt x="651442" y="120083"/>
                    <a:pt x="647700" y="123825"/>
                  </a:cubicBezTo>
                  <a:cubicBezTo>
                    <a:pt x="645002" y="126523"/>
                    <a:pt x="644222" y="130837"/>
                    <a:pt x="641350" y="133350"/>
                  </a:cubicBezTo>
                  <a:cubicBezTo>
                    <a:pt x="626229" y="146580"/>
                    <a:pt x="625381" y="145280"/>
                    <a:pt x="609600" y="149225"/>
                  </a:cubicBezTo>
                  <a:cubicBezTo>
                    <a:pt x="608770" y="149018"/>
                    <a:pt x="589445" y="144531"/>
                    <a:pt x="587375" y="142875"/>
                  </a:cubicBezTo>
                  <a:cubicBezTo>
                    <a:pt x="584395" y="140491"/>
                    <a:pt x="583723" y="136048"/>
                    <a:pt x="581025" y="133350"/>
                  </a:cubicBezTo>
                  <a:cubicBezTo>
                    <a:pt x="578327" y="130652"/>
                    <a:pt x="574675" y="129117"/>
                    <a:pt x="571500" y="127000"/>
                  </a:cubicBezTo>
                  <a:cubicBezTo>
                    <a:pt x="570442" y="123825"/>
                    <a:pt x="568325" y="120822"/>
                    <a:pt x="568325" y="117475"/>
                  </a:cubicBezTo>
                  <a:cubicBezTo>
                    <a:pt x="568325" y="112079"/>
                    <a:pt x="572983" y="106789"/>
                    <a:pt x="571500" y="101600"/>
                  </a:cubicBezTo>
                  <a:cubicBezTo>
                    <a:pt x="570452" y="97931"/>
                    <a:pt x="565150" y="97367"/>
                    <a:pt x="561975" y="95250"/>
                  </a:cubicBezTo>
                  <a:cubicBezTo>
                    <a:pt x="532873" y="102525"/>
                    <a:pt x="543837" y="96759"/>
                    <a:pt x="527050" y="107950"/>
                  </a:cubicBezTo>
                  <a:cubicBezTo>
                    <a:pt x="528108" y="118533"/>
                    <a:pt x="528265" y="129246"/>
                    <a:pt x="530225" y="139700"/>
                  </a:cubicBezTo>
                  <a:cubicBezTo>
                    <a:pt x="531459" y="146279"/>
                    <a:pt x="536575" y="158750"/>
                    <a:pt x="536575" y="158750"/>
                  </a:cubicBezTo>
                  <a:cubicBezTo>
                    <a:pt x="535517" y="164042"/>
                    <a:pt x="535813" y="169798"/>
                    <a:pt x="533400" y="174625"/>
                  </a:cubicBezTo>
                  <a:cubicBezTo>
                    <a:pt x="529564" y="182297"/>
                    <a:pt x="518366" y="187623"/>
                    <a:pt x="511175" y="190500"/>
                  </a:cubicBezTo>
                  <a:cubicBezTo>
                    <a:pt x="504960" y="192986"/>
                    <a:pt x="492125" y="196850"/>
                    <a:pt x="492125" y="196850"/>
                  </a:cubicBezTo>
                  <a:cubicBezTo>
                    <a:pt x="482600" y="195792"/>
                    <a:pt x="473134" y="193675"/>
                    <a:pt x="463550" y="193675"/>
                  </a:cubicBezTo>
                  <a:cubicBezTo>
                    <a:pt x="441569" y="193675"/>
                    <a:pt x="431631" y="196249"/>
                    <a:pt x="412750" y="200025"/>
                  </a:cubicBezTo>
                  <a:cubicBezTo>
                    <a:pt x="409575" y="202142"/>
                    <a:pt x="406638" y="204668"/>
                    <a:pt x="403225" y="206375"/>
                  </a:cubicBezTo>
                  <a:cubicBezTo>
                    <a:pt x="400232" y="207872"/>
                    <a:pt x="396067" y="207183"/>
                    <a:pt x="393700" y="209550"/>
                  </a:cubicBezTo>
                  <a:cubicBezTo>
                    <a:pt x="388304" y="214946"/>
                    <a:pt x="385233" y="222250"/>
                    <a:pt x="381000" y="228600"/>
                  </a:cubicBezTo>
                  <a:cubicBezTo>
                    <a:pt x="377287" y="234169"/>
                    <a:pt x="374650" y="247650"/>
                    <a:pt x="374650" y="247650"/>
                  </a:cubicBezTo>
                  <a:cubicBezTo>
                    <a:pt x="375708" y="256117"/>
                    <a:pt x="371404" y="267431"/>
                    <a:pt x="377825" y="273050"/>
                  </a:cubicBezTo>
                  <a:cubicBezTo>
                    <a:pt x="381851" y="276572"/>
                    <a:pt x="402571" y="269035"/>
                    <a:pt x="409575" y="266700"/>
                  </a:cubicBezTo>
                  <a:cubicBezTo>
                    <a:pt x="422275" y="267758"/>
                    <a:pt x="435421" y="266374"/>
                    <a:pt x="447675" y="269875"/>
                  </a:cubicBezTo>
                  <a:cubicBezTo>
                    <a:pt x="459355" y="273212"/>
                    <a:pt x="451685" y="295112"/>
                    <a:pt x="450850" y="298450"/>
                  </a:cubicBezTo>
                  <a:lnTo>
                    <a:pt x="441325" y="327025"/>
                  </a:lnTo>
                  <a:cubicBezTo>
                    <a:pt x="440118" y="330645"/>
                    <a:pt x="437092" y="333375"/>
                    <a:pt x="434975" y="336550"/>
                  </a:cubicBezTo>
                  <a:cubicBezTo>
                    <a:pt x="433917" y="340783"/>
                    <a:pt x="432517" y="344946"/>
                    <a:pt x="431800" y="349250"/>
                  </a:cubicBezTo>
                  <a:cubicBezTo>
                    <a:pt x="430829" y="355079"/>
                    <a:pt x="432161" y="377996"/>
                    <a:pt x="422275" y="384175"/>
                  </a:cubicBezTo>
                  <a:cubicBezTo>
                    <a:pt x="416599" y="387723"/>
                    <a:pt x="409575" y="388408"/>
                    <a:pt x="403225" y="390525"/>
                  </a:cubicBezTo>
                  <a:lnTo>
                    <a:pt x="393700" y="393700"/>
                  </a:lnTo>
                  <a:cubicBezTo>
                    <a:pt x="388408" y="392642"/>
                    <a:pt x="383031" y="391945"/>
                    <a:pt x="377825" y="390525"/>
                  </a:cubicBezTo>
                  <a:cubicBezTo>
                    <a:pt x="371367" y="388764"/>
                    <a:pt x="358775" y="384175"/>
                    <a:pt x="358775" y="384175"/>
                  </a:cubicBezTo>
                  <a:cubicBezTo>
                    <a:pt x="354542" y="385233"/>
                    <a:pt x="346931" y="383071"/>
                    <a:pt x="346075" y="387350"/>
                  </a:cubicBezTo>
                  <a:cubicBezTo>
                    <a:pt x="341985" y="407798"/>
                    <a:pt x="355615" y="435736"/>
                    <a:pt x="346075" y="457200"/>
                  </a:cubicBezTo>
                  <a:cubicBezTo>
                    <a:pt x="344716" y="460258"/>
                    <a:pt x="339725" y="459317"/>
                    <a:pt x="336550" y="460375"/>
                  </a:cubicBezTo>
                  <a:lnTo>
                    <a:pt x="317500" y="473075"/>
                  </a:lnTo>
                  <a:cubicBezTo>
                    <a:pt x="300154" y="484639"/>
                    <a:pt x="308437" y="489389"/>
                    <a:pt x="301625" y="501650"/>
                  </a:cubicBezTo>
                  <a:cubicBezTo>
                    <a:pt x="297919" y="508321"/>
                    <a:pt x="288925" y="520700"/>
                    <a:pt x="288925" y="520700"/>
                  </a:cubicBezTo>
                  <a:cubicBezTo>
                    <a:pt x="287867" y="524933"/>
                    <a:pt x="286697" y="529140"/>
                    <a:pt x="285750" y="533400"/>
                  </a:cubicBezTo>
                  <a:cubicBezTo>
                    <a:pt x="284579" y="538668"/>
                    <a:pt x="285252" y="544590"/>
                    <a:pt x="282575" y="549275"/>
                  </a:cubicBezTo>
                  <a:cubicBezTo>
                    <a:pt x="278921" y="555670"/>
                    <a:pt x="265887" y="557416"/>
                    <a:pt x="260350" y="558800"/>
                  </a:cubicBezTo>
                  <a:cubicBezTo>
                    <a:pt x="257175" y="556683"/>
                    <a:pt x="254312" y="554000"/>
                    <a:pt x="250825" y="552450"/>
                  </a:cubicBezTo>
                  <a:cubicBezTo>
                    <a:pt x="244708" y="549732"/>
                    <a:pt x="231775" y="546100"/>
                    <a:pt x="231775" y="546100"/>
                  </a:cubicBezTo>
                  <a:cubicBezTo>
                    <a:pt x="224367" y="547158"/>
                    <a:pt x="216718" y="547125"/>
                    <a:pt x="209550" y="549275"/>
                  </a:cubicBezTo>
                  <a:cubicBezTo>
                    <a:pt x="205895" y="550371"/>
                    <a:pt x="202956" y="553182"/>
                    <a:pt x="200025" y="555625"/>
                  </a:cubicBezTo>
                  <a:cubicBezTo>
                    <a:pt x="188834" y="564951"/>
                    <a:pt x="186650" y="570925"/>
                    <a:pt x="177800" y="584200"/>
                  </a:cubicBezTo>
                  <a:cubicBezTo>
                    <a:pt x="175944" y="586985"/>
                    <a:pt x="176716" y="591112"/>
                    <a:pt x="174625" y="593725"/>
                  </a:cubicBezTo>
                  <a:cubicBezTo>
                    <a:pt x="172241" y="596705"/>
                    <a:pt x="168275" y="597958"/>
                    <a:pt x="165100" y="600075"/>
                  </a:cubicBezTo>
                  <a:cubicBezTo>
                    <a:pt x="162983" y="603250"/>
                    <a:pt x="159377" y="605836"/>
                    <a:pt x="158750" y="609600"/>
                  </a:cubicBezTo>
                  <a:cubicBezTo>
                    <a:pt x="157874" y="614858"/>
                    <a:pt x="166064" y="625333"/>
                    <a:pt x="168275" y="628650"/>
                  </a:cubicBezTo>
                  <a:cubicBezTo>
                    <a:pt x="165846" y="638366"/>
                    <a:pt x="166059" y="643566"/>
                    <a:pt x="158750" y="650875"/>
                  </a:cubicBezTo>
                  <a:cubicBezTo>
                    <a:pt x="156052" y="653573"/>
                    <a:pt x="152400" y="655108"/>
                    <a:pt x="149225" y="657225"/>
                  </a:cubicBezTo>
                  <a:lnTo>
                    <a:pt x="161925" y="644525"/>
                  </a:ln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defTabSz="685800" eaLnBrk="0" fontAlgn="base" hangingPunct="0">
                <a:spcBef>
                  <a:spcPct val="50000"/>
                </a:spcBef>
                <a:spcAft>
                  <a:spcPct val="0"/>
                </a:spcAft>
                <a:buClrTx/>
              </a:pPr>
              <a:endParaRPr lang="en-US" sz="900" kern="1200">
                <a:latin typeface="Arial" charset="0"/>
                <a:ea typeface="+mn-ea"/>
                <a:cs typeface="+mn-cs"/>
              </a:endParaRPr>
            </a:p>
          </p:txBody>
        </p:sp>
        <p:sp>
          <p:nvSpPr>
            <p:cNvPr id="24" name="Freeform 23"/>
            <p:cNvSpPr/>
            <p:nvPr>
              <p:custDataLst>
                <p:tags r:id="rId14"/>
              </p:custDataLst>
            </p:nvPr>
          </p:nvSpPr>
          <p:spPr bwMode="gray">
            <a:xfrm>
              <a:off x="4370574" y="3355446"/>
              <a:ext cx="1219200" cy="1030293"/>
            </a:xfrm>
            <a:custGeom>
              <a:avLst/>
              <a:gdLst>
                <a:gd name="connsiteX0" fmla="*/ 342900 w 1219200"/>
                <a:gd name="connsiteY0" fmla="*/ 6879 h 1030293"/>
                <a:gd name="connsiteX1" fmla="*/ 333375 w 1219200"/>
                <a:gd name="connsiteY1" fmla="*/ 60854 h 1030293"/>
                <a:gd name="connsiteX2" fmla="*/ 323850 w 1219200"/>
                <a:gd name="connsiteY2" fmla="*/ 64029 h 1030293"/>
                <a:gd name="connsiteX3" fmla="*/ 311150 w 1219200"/>
                <a:gd name="connsiteY3" fmla="*/ 67204 h 1030293"/>
                <a:gd name="connsiteX4" fmla="*/ 276225 w 1219200"/>
                <a:gd name="connsiteY4" fmla="*/ 67204 h 1030293"/>
                <a:gd name="connsiteX5" fmla="*/ 257175 w 1219200"/>
                <a:gd name="connsiteY5" fmla="*/ 73554 h 1030293"/>
                <a:gd name="connsiteX6" fmla="*/ 244475 w 1219200"/>
                <a:gd name="connsiteY6" fmla="*/ 70379 h 1030293"/>
                <a:gd name="connsiteX7" fmla="*/ 234950 w 1219200"/>
                <a:gd name="connsiteY7" fmla="*/ 64029 h 1030293"/>
                <a:gd name="connsiteX8" fmla="*/ 222250 w 1219200"/>
                <a:gd name="connsiteY8" fmla="*/ 67204 h 1030293"/>
                <a:gd name="connsiteX9" fmla="*/ 200025 w 1219200"/>
                <a:gd name="connsiteY9" fmla="*/ 79904 h 1030293"/>
                <a:gd name="connsiteX10" fmla="*/ 196850 w 1219200"/>
                <a:gd name="connsiteY10" fmla="*/ 89429 h 1030293"/>
                <a:gd name="connsiteX11" fmla="*/ 180975 w 1219200"/>
                <a:gd name="connsiteY11" fmla="*/ 124354 h 1030293"/>
                <a:gd name="connsiteX12" fmla="*/ 171450 w 1219200"/>
                <a:gd name="connsiteY12" fmla="*/ 127529 h 1030293"/>
                <a:gd name="connsiteX13" fmla="*/ 161925 w 1219200"/>
                <a:gd name="connsiteY13" fmla="*/ 133879 h 1030293"/>
                <a:gd name="connsiteX14" fmla="*/ 142875 w 1219200"/>
                <a:gd name="connsiteY14" fmla="*/ 143404 h 1030293"/>
                <a:gd name="connsiteX15" fmla="*/ 133350 w 1219200"/>
                <a:gd name="connsiteY15" fmla="*/ 152929 h 1030293"/>
                <a:gd name="connsiteX16" fmla="*/ 114300 w 1219200"/>
                <a:gd name="connsiteY16" fmla="*/ 159279 h 1030293"/>
                <a:gd name="connsiteX17" fmla="*/ 104775 w 1219200"/>
                <a:gd name="connsiteY17" fmla="*/ 162454 h 1030293"/>
                <a:gd name="connsiteX18" fmla="*/ 76200 w 1219200"/>
                <a:gd name="connsiteY18" fmla="*/ 175154 h 1030293"/>
                <a:gd name="connsiteX19" fmla="*/ 66675 w 1219200"/>
                <a:gd name="connsiteY19" fmla="*/ 178329 h 1030293"/>
                <a:gd name="connsiteX20" fmla="*/ 57150 w 1219200"/>
                <a:gd name="connsiteY20" fmla="*/ 181504 h 1030293"/>
                <a:gd name="connsiteX21" fmla="*/ 41275 w 1219200"/>
                <a:gd name="connsiteY21" fmla="*/ 197379 h 1030293"/>
                <a:gd name="connsiteX22" fmla="*/ 31750 w 1219200"/>
                <a:gd name="connsiteY22" fmla="*/ 203729 h 1030293"/>
                <a:gd name="connsiteX23" fmla="*/ 25400 w 1219200"/>
                <a:gd name="connsiteY23" fmla="*/ 213254 h 1030293"/>
                <a:gd name="connsiteX24" fmla="*/ 28575 w 1219200"/>
                <a:gd name="connsiteY24" fmla="*/ 251354 h 1030293"/>
                <a:gd name="connsiteX25" fmla="*/ 50800 w 1219200"/>
                <a:gd name="connsiteY25" fmla="*/ 276754 h 1030293"/>
                <a:gd name="connsiteX26" fmla="*/ 60325 w 1219200"/>
                <a:gd name="connsiteY26" fmla="*/ 279929 h 1030293"/>
                <a:gd name="connsiteX27" fmla="*/ 69850 w 1219200"/>
                <a:gd name="connsiteY27" fmla="*/ 289454 h 1030293"/>
                <a:gd name="connsiteX28" fmla="*/ 73025 w 1219200"/>
                <a:gd name="connsiteY28" fmla="*/ 302154 h 1030293"/>
                <a:gd name="connsiteX29" fmla="*/ 98425 w 1219200"/>
                <a:gd name="connsiteY29" fmla="*/ 324379 h 1030293"/>
                <a:gd name="connsiteX30" fmla="*/ 120650 w 1219200"/>
                <a:gd name="connsiteY30" fmla="*/ 333904 h 1030293"/>
                <a:gd name="connsiteX31" fmla="*/ 139700 w 1219200"/>
                <a:gd name="connsiteY31" fmla="*/ 340254 h 1030293"/>
                <a:gd name="connsiteX32" fmla="*/ 142875 w 1219200"/>
                <a:gd name="connsiteY32" fmla="*/ 387879 h 1030293"/>
                <a:gd name="connsiteX33" fmla="*/ 136525 w 1219200"/>
                <a:gd name="connsiteY33" fmla="*/ 397404 h 1030293"/>
                <a:gd name="connsiteX34" fmla="*/ 127000 w 1219200"/>
                <a:gd name="connsiteY34" fmla="*/ 403754 h 1030293"/>
                <a:gd name="connsiteX35" fmla="*/ 127000 w 1219200"/>
                <a:gd name="connsiteY35" fmla="*/ 429154 h 1030293"/>
                <a:gd name="connsiteX36" fmla="*/ 130175 w 1219200"/>
                <a:gd name="connsiteY36" fmla="*/ 441854 h 1030293"/>
                <a:gd name="connsiteX37" fmla="*/ 139700 w 1219200"/>
                <a:gd name="connsiteY37" fmla="*/ 445029 h 1030293"/>
                <a:gd name="connsiteX38" fmla="*/ 146050 w 1219200"/>
                <a:gd name="connsiteY38" fmla="*/ 454554 h 1030293"/>
                <a:gd name="connsiteX39" fmla="*/ 130175 w 1219200"/>
                <a:gd name="connsiteY39" fmla="*/ 470429 h 1030293"/>
                <a:gd name="connsiteX40" fmla="*/ 76200 w 1219200"/>
                <a:gd name="connsiteY40" fmla="*/ 473604 h 1030293"/>
                <a:gd name="connsiteX41" fmla="*/ 66675 w 1219200"/>
                <a:gd name="connsiteY41" fmla="*/ 492654 h 1030293"/>
                <a:gd name="connsiteX42" fmla="*/ 73025 w 1219200"/>
                <a:gd name="connsiteY42" fmla="*/ 518054 h 1030293"/>
                <a:gd name="connsiteX43" fmla="*/ 76200 w 1219200"/>
                <a:gd name="connsiteY43" fmla="*/ 540279 h 1030293"/>
                <a:gd name="connsiteX44" fmla="*/ 79375 w 1219200"/>
                <a:gd name="connsiteY44" fmla="*/ 559329 h 1030293"/>
                <a:gd name="connsiteX45" fmla="*/ 47625 w 1219200"/>
                <a:gd name="connsiteY45" fmla="*/ 591079 h 1030293"/>
                <a:gd name="connsiteX46" fmla="*/ 38100 w 1219200"/>
                <a:gd name="connsiteY46" fmla="*/ 597429 h 1030293"/>
                <a:gd name="connsiteX47" fmla="*/ 28575 w 1219200"/>
                <a:gd name="connsiteY47" fmla="*/ 603779 h 1030293"/>
                <a:gd name="connsiteX48" fmla="*/ 19050 w 1219200"/>
                <a:gd name="connsiteY48" fmla="*/ 613304 h 1030293"/>
                <a:gd name="connsiteX49" fmla="*/ 19050 w 1219200"/>
                <a:gd name="connsiteY49" fmla="*/ 670454 h 1030293"/>
                <a:gd name="connsiteX50" fmla="*/ 9525 w 1219200"/>
                <a:gd name="connsiteY50" fmla="*/ 676804 h 1030293"/>
                <a:gd name="connsiteX51" fmla="*/ 3175 w 1219200"/>
                <a:gd name="connsiteY51" fmla="*/ 695854 h 1030293"/>
                <a:gd name="connsiteX52" fmla="*/ 0 w 1219200"/>
                <a:gd name="connsiteY52" fmla="*/ 705379 h 1030293"/>
                <a:gd name="connsiteX53" fmla="*/ 12700 w 1219200"/>
                <a:gd name="connsiteY53" fmla="*/ 718079 h 1030293"/>
                <a:gd name="connsiteX54" fmla="*/ 22225 w 1219200"/>
                <a:gd name="connsiteY54" fmla="*/ 708554 h 1030293"/>
                <a:gd name="connsiteX55" fmla="*/ 31750 w 1219200"/>
                <a:gd name="connsiteY55" fmla="*/ 705379 h 1030293"/>
                <a:gd name="connsiteX56" fmla="*/ 53975 w 1219200"/>
                <a:gd name="connsiteY56" fmla="*/ 699029 h 1030293"/>
                <a:gd name="connsiteX57" fmla="*/ 79375 w 1219200"/>
                <a:gd name="connsiteY57" fmla="*/ 711729 h 1030293"/>
                <a:gd name="connsiteX58" fmla="*/ 76200 w 1219200"/>
                <a:gd name="connsiteY58" fmla="*/ 724429 h 1030293"/>
                <a:gd name="connsiteX59" fmla="*/ 66675 w 1219200"/>
                <a:gd name="connsiteY59" fmla="*/ 743479 h 1030293"/>
                <a:gd name="connsiteX60" fmla="*/ 60325 w 1219200"/>
                <a:gd name="connsiteY60" fmla="*/ 762529 h 1030293"/>
                <a:gd name="connsiteX61" fmla="*/ 63500 w 1219200"/>
                <a:gd name="connsiteY61" fmla="*/ 810154 h 1030293"/>
                <a:gd name="connsiteX62" fmla="*/ 76200 w 1219200"/>
                <a:gd name="connsiteY62" fmla="*/ 806979 h 1030293"/>
                <a:gd name="connsiteX63" fmla="*/ 85725 w 1219200"/>
                <a:gd name="connsiteY63" fmla="*/ 797454 h 1030293"/>
                <a:gd name="connsiteX64" fmla="*/ 104775 w 1219200"/>
                <a:gd name="connsiteY64" fmla="*/ 787929 h 1030293"/>
                <a:gd name="connsiteX65" fmla="*/ 117475 w 1219200"/>
                <a:gd name="connsiteY65" fmla="*/ 778404 h 1030293"/>
                <a:gd name="connsiteX66" fmla="*/ 139700 w 1219200"/>
                <a:gd name="connsiteY66" fmla="*/ 791104 h 1030293"/>
                <a:gd name="connsiteX67" fmla="*/ 155575 w 1219200"/>
                <a:gd name="connsiteY67" fmla="*/ 819679 h 1030293"/>
                <a:gd name="connsiteX68" fmla="*/ 165100 w 1219200"/>
                <a:gd name="connsiteY68" fmla="*/ 822854 h 1030293"/>
                <a:gd name="connsiteX69" fmla="*/ 180975 w 1219200"/>
                <a:gd name="connsiteY69" fmla="*/ 826029 h 1030293"/>
                <a:gd name="connsiteX70" fmla="*/ 190500 w 1219200"/>
                <a:gd name="connsiteY70" fmla="*/ 838729 h 1030293"/>
                <a:gd name="connsiteX71" fmla="*/ 200025 w 1219200"/>
                <a:gd name="connsiteY71" fmla="*/ 845079 h 1030293"/>
                <a:gd name="connsiteX72" fmla="*/ 203200 w 1219200"/>
                <a:gd name="connsiteY72" fmla="*/ 854604 h 1030293"/>
                <a:gd name="connsiteX73" fmla="*/ 209550 w 1219200"/>
                <a:gd name="connsiteY73" fmla="*/ 864129 h 1030293"/>
                <a:gd name="connsiteX74" fmla="*/ 225425 w 1219200"/>
                <a:gd name="connsiteY74" fmla="*/ 892704 h 1030293"/>
                <a:gd name="connsiteX75" fmla="*/ 244475 w 1219200"/>
                <a:gd name="connsiteY75" fmla="*/ 905404 h 1030293"/>
                <a:gd name="connsiteX76" fmla="*/ 254000 w 1219200"/>
                <a:gd name="connsiteY76" fmla="*/ 911754 h 1030293"/>
                <a:gd name="connsiteX77" fmla="*/ 263525 w 1219200"/>
                <a:gd name="connsiteY77" fmla="*/ 905404 h 1030293"/>
                <a:gd name="connsiteX78" fmla="*/ 260350 w 1219200"/>
                <a:gd name="connsiteY78" fmla="*/ 895879 h 1030293"/>
                <a:gd name="connsiteX79" fmla="*/ 263525 w 1219200"/>
                <a:gd name="connsiteY79" fmla="*/ 908579 h 1030293"/>
                <a:gd name="connsiteX80" fmla="*/ 276225 w 1219200"/>
                <a:gd name="connsiteY80" fmla="*/ 927629 h 1030293"/>
                <a:gd name="connsiteX81" fmla="*/ 298450 w 1219200"/>
                <a:gd name="connsiteY81" fmla="*/ 940329 h 1030293"/>
                <a:gd name="connsiteX82" fmla="*/ 317500 w 1219200"/>
                <a:gd name="connsiteY82" fmla="*/ 946679 h 1030293"/>
                <a:gd name="connsiteX83" fmla="*/ 323850 w 1219200"/>
                <a:gd name="connsiteY83" fmla="*/ 994304 h 1030293"/>
                <a:gd name="connsiteX84" fmla="*/ 330200 w 1219200"/>
                <a:gd name="connsiteY84" fmla="*/ 1013354 h 1030293"/>
                <a:gd name="connsiteX85" fmla="*/ 349250 w 1219200"/>
                <a:gd name="connsiteY85" fmla="*/ 1022879 h 1030293"/>
                <a:gd name="connsiteX86" fmla="*/ 358775 w 1219200"/>
                <a:gd name="connsiteY86" fmla="*/ 1029229 h 1030293"/>
                <a:gd name="connsiteX87" fmla="*/ 377825 w 1219200"/>
                <a:gd name="connsiteY87" fmla="*/ 1026054 h 1030293"/>
                <a:gd name="connsiteX88" fmla="*/ 384175 w 1219200"/>
                <a:gd name="connsiteY88" fmla="*/ 1007004 h 1030293"/>
                <a:gd name="connsiteX89" fmla="*/ 390525 w 1219200"/>
                <a:gd name="connsiteY89" fmla="*/ 997479 h 1030293"/>
                <a:gd name="connsiteX90" fmla="*/ 412750 w 1219200"/>
                <a:gd name="connsiteY90" fmla="*/ 1000654 h 1030293"/>
                <a:gd name="connsiteX91" fmla="*/ 422275 w 1219200"/>
                <a:gd name="connsiteY91" fmla="*/ 1003829 h 1030293"/>
                <a:gd name="connsiteX92" fmla="*/ 428625 w 1219200"/>
                <a:gd name="connsiteY92" fmla="*/ 994304 h 1030293"/>
                <a:gd name="connsiteX93" fmla="*/ 419100 w 1219200"/>
                <a:gd name="connsiteY93" fmla="*/ 984779 h 1030293"/>
                <a:gd name="connsiteX94" fmla="*/ 412750 w 1219200"/>
                <a:gd name="connsiteY94" fmla="*/ 975254 h 1030293"/>
                <a:gd name="connsiteX95" fmla="*/ 393700 w 1219200"/>
                <a:gd name="connsiteY95" fmla="*/ 956204 h 1030293"/>
                <a:gd name="connsiteX96" fmla="*/ 384175 w 1219200"/>
                <a:gd name="connsiteY96" fmla="*/ 946679 h 1030293"/>
                <a:gd name="connsiteX97" fmla="*/ 365125 w 1219200"/>
                <a:gd name="connsiteY97" fmla="*/ 933979 h 1030293"/>
                <a:gd name="connsiteX98" fmla="*/ 361950 w 1219200"/>
                <a:gd name="connsiteY98" fmla="*/ 924454 h 1030293"/>
                <a:gd name="connsiteX99" fmla="*/ 381000 w 1219200"/>
                <a:gd name="connsiteY99" fmla="*/ 911754 h 1030293"/>
                <a:gd name="connsiteX100" fmla="*/ 390525 w 1219200"/>
                <a:gd name="connsiteY100" fmla="*/ 905404 h 1030293"/>
                <a:gd name="connsiteX101" fmla="*/ 425450 w 1219200"/>
                <a:gd name="connsiteY101" fmla="*/ 895879 h 1030293"/>
                <a:gd name="connsiteX102" fmla="*/ 476250 w 1219200"/>
                <a:gd name="connsiteY102" fmla="*/ 899054 h 1030293"/>
                <a:gd name="connsiteX103" fmla="*/ 498475 w 1219200"/>
                <a:gd name="connsiteY103" fmla="*/ 924454 h 1030293"/>
                <a:gd name="connsiteX104" fmla="*/ 508000 w 1219200"/>
                <a:gd name="connsiteY104" fmla="*/ 927629 h 1030293"/>
                <a:gd name="connsiteX105" fmla="*/ 530225 w 1219200"/>
                <a:gd name="connsiteY105" fmla="*/ 924454 h 1030293"/>
                <a:gd name="connsiteX106" fmla="*/ 552450 w 1219200"/>
                <a:gd name="connsiteY106" fmla="*/ 921279 h 1030293"/>
                <a:gd name="connsiteX107" fmla="*/ 555625 w 1219200"/>
                <a:gd name="connsiteY107" fmla="*/ 930804 h 1030293"/>
                <a:gd name="connsiteX108" fmla="*/ 561975 w 1219200"/>
                <a:gd name="connsiteY108" fmla="*/ 940329 h 1030293"/>
                <a:gd name="connsiteX109" fmla="*/ 565150 w 1219200"/>
                <a:gd name="connsiteY109" fmla="*/ 956204 h 1030293"/>
                <a:gd name="connsiteX110" fmla="*/ 568325 w 1219200"/>
                <a:gd name="connsiteY110" fmla="*/ 981604 h 1030293"/>
                <a:gd name="connsiteX111" fmla="*/ 577850 w 1219200"/>
                <a:gd name="connsiteY111" fmla="*/ 984779 h 1030293"/>
                <a:gd name="connsiteX112" fmla="*/ 593725 w 1219200"/>
                <a:gd name="connsiteY112" fmla="*/ 981604 h 1030293"/>
                <a:gd name="connsiteX113" fmla="*/ 612775 w 1219200"/>
                <a:gd name="connsiteY113" fmla="*/ 968904 h 1030293"/>
                <a:gd name="connsiteX114" fmla="*/ 619125 w 1219200"/>
                <a:gd name="connsiteY114" fmla="*/ 959379 h 1030293"/>
                <a:gd name="connsiteX115" fmla="*/ 625475 w 1219200"/>
                <a:gd name="connsiteY115" fmla="*/ 940329 h 1030293"/>
                <a:gd name="connsiteX116" fmla="*/ 619125 w 1219200"/>
                <a:gd name="connsiteY116" fmla="*/ 905404 h 1030293"/>
                <a:gd name="connsiteX117" fmla="*/ 615950 w 1219200"/>
                <a:gd name="connsiteY117" fmla="*/ 867304 h 1030293"/>
                <a:gd name="connsiteX118" fmla="*/ 609600 w 1219200"/>
                <a:gd name="connsiteY118" fmla="*/ 854604 h 1030293"/>
                <a:gd name="connsiteX119" fmla="*/ 596900 w 1219200"/>
                <a:gd name="connsiteY119" fmla="*/ 835554 h 1030293"/>
                <a:gd name="connsiteX120" fmla="*/ 603250 w 1219200"/>
                <a:gd name="connsiteY120" fmla="*/ 826029 h 1030293"/>
                <a:gd name="connsiteX121" fmla="*/ 622300 w 1219200"/>
                <a:gd name="connsiteY121" fmla="*/ 819679 h 1030293"/>
                <a:gd name="connsiteX122" fmla="*/ 631825 w 1219200"/>
                <a:gd name="connsiteY122" fmla="*/ 816504 h 1030293"/>
                <a:gd name="connsiteX123" fmla="*/ 644525 w 1219200"/>
                <a:gd name="connsiteY123" fmla="*/ 813329 h 1030293"/>
                <a:gd name="connsiteX124" fmla="*/ 654050 w 1219200"/>
                <a:gd name="connsiteY124" fmla="*/ 810154 h 1030293"/>
                <a:gd name="connsiteX125" fmla="*/ 685800 w 1219200"/>
                <a:gd name="connsiteY125" fmla="*/ 806979 h 1030293"/>
                <a:gd name="connsiteX126" fmla="*/ 692150 w 1219200"/>
                <a:gd name="connsiteY126" fmla="*/ 816504 h 1030293"/>
                <a:gd name="connsiteX127" fmla="*/ 692150 w 1219200"/>
                <a:gd name="connsiteY127" fmla="*/ 851429 h 1030293"/>
                <a:gd name="connsiteX128" fmla="*/ 701675 w 1219200"/>
                <a:gd name="connsiteY128" fmla="*/ 854604 h 1030293"/>
                <a:gd name="connsiteX129" fmla="*/ 714375 w 1219200"/>
                <a:gd name="connsiteY129" fmla="*/ 864129 h 1030293"/>
                <a:gd name="connsiteX130" fmla="*/ 723900 w 1219200"/>
                <a:gd name="connsiteY130" fmla="*/ 883179 h 1030293"/>
                <a:gd name="connsiteX131" fmla="*/ 739775 w 1219200"/>
                <a:gd name="connsiteY131" fmla="*/ 899054 h 1030293"/>
                <a:gd name="connsiteX132" fmla="*/ 752475 w 1219200"/>
                <a:gd name="connsiteY132" fmla="*/ 895879 h 1030293"/>
                <a:gd name="connsiteX133" fmla="*/ 762000 w 1219200"/>
                <a:gd name="connsiteY133" fmla="*/ 886354 h 1030293"/>
                <a:gd name="connsiteX134" fmla="*/ 831850 w 1219200"/>
                <a:gd name="connsiteY134" fmla="*/ 889529 h 1030293"/>
                <a:gd name="connsiteX135" fmla="*/ 879475 w 1219200"/>
                <a:gd name="connsiteY135" fmla="*/ 886354 h 1030293"/>
                <a:gd name="connsiteX136" fmla="*/ 892175 w 1219200"/>
                <a:gd name="connsiteY136" fmla="*/ 867304 h 1030293"/>
                <a:gd name="connsiteX137" fmla="*/ 911225 w 1219200"/>
                <a:gd name="connsiteY137" fmla="*/ 857779 h 1030293"/>
                <a:gd name="connsiteX138" fmla="*/ 920750 w 1219200"/>
                <a:gd name="connsiteY138" fmla="*/ 851429 h 1030293"/>
                <a:gd name="connsiteX139" fmla="*/ 923925 w 1219200"/>
                <a:gd name="connsiteY139" fmla="*/ 835554 h 1030293"/>
                <a:gd name="connsiteX140" fmla="*/ 914400 w 1219200"/>
                <a:gd name="connsiteY140" fmla="*/ 806979 h 1030293"/>
                <a:gd name="connsiteX141" fmla="*/ 904875 w 1219200"/>
                <a:gd name="connsiteY141" fmla="*/ 797454 h 1030293"/>
                <a:gd name="connsiteX142" fmla="*/ 889000 w 1219200"/>
                <a:gd name="connsiteY142" fmla="*/ 794279 h 1030293"/>
                <a:gd name="connsiteX143" fmla="*/ 879475 w 1219200"/>
                <a:gd name="connsiteY143" fmla="*/ 784754 h 1030293"/>
                <a:gd name="connsiteX144" fmla="*/ 889000 w 1219200"/>
                <a:gd name="connsiteY144" fmla="*/ 759354 h 1030293"/>
                <a:gd name="connsiteX145" fmla="*/ 898525 w 1219200"/>
                <a:gd name="connsiteY145" fmla="*/ 749829 h 1030293"/>
                <a:gd name="connsiteX146" fmla="*/ 904875 w 1219200"/>
                <a:gd name="connsiteY146" fmla="*/ 740304 h 1030293"/>
                <a:gd name="connsiteX147" fmla="*/ 923925 w 1219200"/>
                <a:gd name="connsiteY147" fmla="*/ 727604 h 1030293"/>
                <a:gd name="connsiteX148" fmla="*/ 942975 w 1219200"/>
                <a:gd name="connsiteY148" fmla="*/ 718079 h 1030293"/>
                <a:gd name="connsiteX149" fmla="*/ 952500 w 1219200"/>
                <a:gd name="connsiteY149" fmla="*/ 724429 h 1030293"/>
                <a:gd name="connsiteX150" fmla="*/ 955675 w 1219200"/>
                <a:gd name="connsiteY150" fmla="*/ 733954 h 1030293"/>
                <a:gd name="connsiteX151" fmla="*/ 958850 w 1219200"/>
                <a:gd name="connsiteY151" fmla="*/ 759354 h 1030293"/>
                <a:gd name="connsiteX152" fmla="*/ 977900 w 1219200"/>
                <a:gd name="connsiteY152" fmla="*/ 768879 h 1030293"/>
                <a:gd name="connsiteX153" fmla="*/ 1003300 w 1219200"/>
                <a:gd name="connsiteY153" fmla="*/ 756179 h 1030293"/>
                <a:gd name="connsiteX154" fmla="*/ 1000125 w 1219200"/>
                <a:gd name="connsiteY154" fmla="*/ 746654 h 1030293"/>
                <a:gd name="connsiteX155" fmla="*/ 1003300 w 1219200"/>
                <a:gd name="connsiteY155" fmla="*/ 737129 h 1030293"/>
                <a:gd name="connsiteX156" fmla="*/ 1012825 w 1219200"/>
                <a:gd name="connsiteY156" fmla="*/ 730779 h 1030293"/>
                <a:gd name="connsiteX157" fmla="*/ 1041400 w 1219200"/>
                <a:gd name="connsiteY157" fmla="*/ 721254 h 1030293"/>
                <a:gd name="connsiteX158" fmla="*/ 1050925 w 1219200"/>
                <a:gd name="connsiteY158" fmla="*/ 718079 h 1030293"/>
                <a:gd name="connsiteX159" fmla="*/ 1060450 w 1219200"/>
                <a:gd name="connsiteY159" fmla="*/ 714904 h 1030293"/>
                <a:gd name="connsiteX160" fmla="*/ 1069975 w 1219200"/>
                <a:gd name="connsiteY160" fmla="*/ 708554 h 1030293"/>
                <a:gd name="connsiteX161" fmla="*/ 1079500 w 1219200"/>
                <a:gd name="connsiteY161" fmla="*/ 689504 h 1030293"/>
                <a:gd name="connsiteX162" fmla="*/ 1073150 w 1219200"/>
                <a:gd name="connsiteY162" fmla="*/ 679979 h 1030293"/>
                <a:gd name="connsiteX163" fmla="*/ 1054100 w 1219200"/>
                <a:gd name="connsiteY163" fmla="*/ 664104 h 1030293"/>
                <a:gd name="connsiteX164" fmla="*/ 1047750 w 1219200"/>
                <a:gd name="connsiteY164" fmla="*/ 654579 h 1030293"/>
                <a:gd name="connsiteX165" fmla="*/ 1044575 w 1219200"/>
                <a:gd name="connsiteY165" fmla="*/ 645054 h 1030293"/>
                <a:gd name="connsiteX166" fmla="*/ 1035050 w 1219200"/>
                <a:gd name="connsiteY166" fmla="*/ 632354 h 1030293"/>
                <a:gd name="connsiteX167" fmla="*/ 1041400 w 1219200"/>
                <a:gd name="connsiteY167" fmla="*/ 594254 h 1030293"/>
                <a:gd name="connsiteX168" fmla="*/ 1047750 w 1219200"/>
                <a:gd name="connsiteY168" fmla="*/ 584729 h 1030293"/>
                <a:gd name="connsiteX169" fmla="*/ 1066800 w 1219200"/>
                <a:gd name="connsiteY169" fmla="*/ 578379 h 1030293"/>
                <a:gd name="connsiteX170" fmla="*/ 1098550 w 1219200"/>
                <a:gd name="connsiteY170" fmla="*/ 578379 h 1030293"/>
                <a:gd name="connsiteX171" fmla="*/ 1108075 w 1219200"/>
                <a:gd name="connsiteY171" fmla="*/ 572029 h 1030293"/>
                <a:gd name="connsiteX172" fmla="*/ 1114425 w 1219200"/>
                <a:gd name="connsiteY172" fmla="*/ 562504 h 1030293"/>
                <a:gd name="connsiteX173" fmla="*/ 1143000 w 1219200"/>
                <a:gd name="connsiteY173" fmla="*/ 546629 h 1030293"/>
                <a:gd name="connsiteX174" fmla="*/ 1146175 w 1219200"/>
                <a:gd name="connsiteY174" fmla="*/ 533929 h 1030293"/>
                <a:gd name="connsiteX175" fmla="*/ 1155700 w 1219200"/>
                <a:gd name="connsiteY175" fmla="*/ 530754 h 1030293"/>
                <a:gd name="connsiteX176" fmla="*/ 1203325 w 1219200"/>
                <a:gd name="connsiteY176" fmla="*/ 521229 h 1030293"/>
                <a:gd name="connsiteX177" fmla="*/ 1212850 w 1219200"/>
                <a:gd name="connsiteY177" fmla="*/ 518054 h 1030293"/>
                <a:gd name="connsiteX178" fmla="*/ 1219200 w 1219200"/>
                <a:gd name="connsiteY178" fmla="*/ 495829 h 1030293"/>
                <a:gd name="connsiteX179" fmla="*/ 1203325 w 1219200"/>
                <a:gd name="connsiteY179" fmla="*/ 464079 h 1030293"/>
                <a:gd name="connsiteX180" fmla="*/ 1184275 w 1219200"/>
                <a:gd name="connsiteY180" fmla="*/ 457729 h 1030293"/>
                <a:gd name="connsiteX181" fmla="*/ 1174750 w 1219200"/>
                <a:gd name="connsiteY181" fmla="*/ 454554 h 1030293"/>
                <a:gd name="connsiteX182" fmla="*/ 1165225 w 1219200"/>
                <a:gd name="connsiteY182" fmla="*/ 448204 h 1030293"/>
                <a:gd name="connsiteX183" fmla="*/ 1162050 w 1219200"/>
                <a:gd name="connsiteY183" fmla="*/ 438679 h 1030293"/>
                <a:gd name="connsiteX184" fmla="*/ 1155700 w 1219200"/>
                <a:gd name="connsiteY184" fmla="*/ 429154 h 1030293"/>
                <a:gd name="connsiteX185" fmla="*/ 1152525 w 1219200"/>
                <a:gd name="connsiteY185" fmla="*/ 410104 h 1030293"/>
                <a:gd name="connsiteX186" fmla="*/ 1136650 w 1219200"/>
                <a:gd name="connsiteY186" fmla="*/ 394229 h 1030293"/>
                <a:gd name="connsiteX187" fmla="*/ 1123950 w 1219200"/>
                <a:gd name="connsiteY187" fmla="*/ 391054 h 1030293"/>
                <a:gd name="connsiteX188" fmla="*/ 1101725 w 1219200"/>
                <a:gd name="connsiteY188" fmla="*/ 387879 h 1030293"/>
                <a:gd name="connsiteX189" fmla="*/ 1063625 w 1219200"/>
                <a:gd name="connsiteY189" fmla="*/ 384704 h 1030293"/>
                <a:gd name="connsiteX190" fmla="*/ 1057275 w 1219200"/>
                <a:gd name="connsiteY190" fmla="*/ 416454 h 1030293"/>
                <a:gd name="connsiteX191" fmla="*/ 1063625 w 1219200"/>
                <a:gd name="connsiteY191" fmla="*/ 435504 h 1030293"/>
                <a:gd name="connsiteX192" fmla="*/ 1066800 w 1219200"/>
                <a:gd name="connsiteY192" fmla="*/ 445029 h 1030293"/>
                <a:gd name="connsiteX193" fmla="*/ 1057275 w 1219200"/>
                <a:gd name="connsiteY193" fmla="*/ 479954 h 1030293"/>
                <a:gd name="connsiteX194" fmla="*/ 1057275 w 1219200"/>
                <a:gd name="connsiteY194" fmla="*/ 479954 h 1030293"/>
                <a:gd name="connsiteX195" fmla="*/ 1054100 w 1219200"/>
                <a:gd name="connsiteY195" fmla="*/ 492654 h 1030293"/>
                <a:gd name="connsiteX196" fmla="*/ 1044575 w 1219200"/>
                <a:gd name="connsiteY196" fmla="*/ 499004 h 1030293"/>
                <a:gd name="connsiteX197" fmla="*/ 1028700 w 1219200"/>
                <a:gd name="connsiteY197" fmla="*/ 495829 h 1030293"/>
                <a:gd name="connsiteX198" fmla="*/ 1009650 w 1219200"/>
                <a:gd name="connsiteY198" fmla="*/ 483129 h 1030293"/>
                <a:gd name="connsiteX199" fmla="*/ 965200 w 1219200"/>
                <a:gd name="connsiteY199" fmla="*/ 489479 h 1030293"/>
                <a:gd name="connsiteX200" fmla="*/ 939800 w 1219200"/>
                <a:gd name="connsiteY200" fmla="*/ 486304 h 1030293"/>
                <a:gd name="connsiteX201" fmla="*/ 923925 w 1219200"/>
                <a:gd name="connsiteY201" fmla="*/ 470429 h 1030293"/>
                <a:gd name="connsiteX202" fmla="*/ 914400 w 1219200"/>
                <a:gd name="connsiteY202" fmla="*/ 464079 h 1030293"/>
                <a:gd name="connsiteX203" fmla="*/ 901700 w 1219200"/>
                <a:gd name="connsiteY203" fmla="*/ 435504 h 1030293"/>
                <a:gd name="connsiteX204" fmla="*/ 819150 w 1219200"/>
                <a:gd name="connsiteY204" fmla="*/ 425979 h 1030293"/>
                <a:gd name="connsiteX205" fmla="*/ 809625 w 1219200"/>
                <a:gd name="connsiteY205" fmla="*/ 422804 h 1030293"/>
                <a:gd name="connsiteX206" fmla="*/ 781050 w 1219200"/>
                <a:gd name="connsiteY206" fmla="*/ 406929 h 1030293"/>
                <a:gd name="connsiteX207" fmla="*/ 752475 w 1219200"/>
                <a:gd name="connsiteY207" fmla="*/ 391054 h 1030293"/>
                <a:gd name="connsiteX208" fmla="*/ 704850 w 1219200"/>
                <a:gd name="connsiteY208" fmla="*/ 387879 h 1030293"/>
                <a:gd name="connsiteX209" fmla="*/ 695325 w 1219200"/>
                <a:gd name="connsiteY209" fmla="*/ 384704 h 1030293"/>
                <a:gd name="connsiteX210" fmla="*/ 688975 w 1219200"/>
                <a:gd name="connsiteY210" fmla="*/ 375179 h 1030293"/>
                <a:gd name="connsiteX211" fmla="*/ 679450 w 1219200"/>
                <a:gd name="connsiteY211" fmla="*/ 340254 h 1030293"/>
                <a:gd name="connsiteX212" fmla="*/ 676275 w 1219200"/>
                <a:gd name="connsiteY212" fmla="*/ 311679 h 1030293"/>
                <a:gd name="connsiteX213" fmla="*/ 654050 w 1219200"/>
                <a:gd name="connsiteY213" fmla="*/ 298979 h 1030293"/>
                <a:gd name="connsiteX214" fmla="*/ 673100 w 1219200"/>
                <a:gd name="connsiteY214" fmla="*/ 286279 h 1030293"/>
                <a:gd name="connsiteX215" fmla="*/ 682625 w 1219200"/>
                <a:gd name="connsiteY215" fmla="*/ 251354 h 1030293"/>
                <a:gd name="connsiteX216" fmla="*/ 679450 w 1219200"/>
                <a:gd name="connsiteY216" fmla="*/ 225954 h 1030293"/>
                <a:gd name="connsiteX217" fmla="*/ 663575 w 1219200"/>
                <a:gd name="connsiteY217" fmla="*/ 210079 h 1030293"/>
                <a:gd name="connsiteX218" fmla="*/ 635000 w 1219200"/>
                <a:gd name="connsiteY218" fmla="*/ 187854 h 1030293"/>
                <a:gd name="connsiteX219" fmla="*/ 625475 w 1219200"/>
                <a:gd name="connsiteY219" fmla="*/ 181504 h 1030293"/>
                <a:gd name="connsiteX220" fmla="*/ 615950 w 1219200"/>
                <a:gd name="connsiteY220" fmla="*/ 178329 h 1030293"/>
                <a:gd name="connsiteX221" fmla="*/ 571500 w 1219200"/>
                <a:gd name="connsiteY221" fmla="*/ 175154 h 1030293"/>
                <a:gd name="connsiteX222" fmla="*/ 536575 w 1219200"/>
                <a:gd name="connsiteY222" fmla="*/ 171979 h 1030293"/>
                <a:gd name="connsiteX223" fmla="*/ 485775 w 1219200"/>
                <a:gd name="connsiteY223" fmla="*/ 165629 h 1030293"/>
                <a:gd name="connsiteX224" fmla="*/ 473075 w 1219200"/>
                <a:gd name="connsiteY224" fmla="*/ 162454 h 1030293"/>
                <a:gd name="connsiteX225" fmla="*/ 463550 w 1219200"/>
                <a:gd name="connsiteY225" fmla="*/ 152929 h 1030293"/>
                <a:gd name="connsiteX226" fmla="*/ 460375 w 1219200"/>
                <a:gd name="connsiteY226" fmla="*/ 143404 h 1030293"/>
                <a:gd name="connsiteX227" fmla="*/ 450850 w 1219200"/>
                <a:gd name="connsiteY227" fmla="*/ 105304 h 1030293"/>
                <a:gd name="connsiteX228" fmla="*/ 434975 w 1219200"/>
                <a:gd name="connsiteY228" fmla="*/ 86254 h 1030293"/>
                <a:gd name="connsiteX229" fmla="*/ 428625 w 1219200"/>
                <a:gd name="connsiteY229" fmla="*/ 38629 h 1030293"/>
                <a:gd name="connsiteX230" fmla="*/ 425450 w 1219200"/>
                <a:gd name="connsiteY230" fmla="*/ 29104 h 1030293"/>
                <a:gd name="connsiteX231" fmla="*/ 406400 w 1219200"/>
                <a:gd name="connsiteY231" fmla="*/ 19579 h 1030293"/>
                <a:gd name="connsiteX232" fmla="*/ 384175 w 1219200"/>
                <a:gd name="connsiteY232" fmla="*/ 10054 h 1030293"/>
                <a:gd name="connsiteX233" fmla="*/ 361950 w 1219200"/>
                <a:gd name="connsiteY233" fmla="*/ 6879 h 1030293"/>
                <a:gd name="connsiteX234" fmla="*/ 342900 w 1219200"/>
                <a:gd name="connsiteY234" fmla="*/ 10054 h 1030293"/>
                <a:gd name="connsiteX235" fmla="*/ 339725 w 1219200"/>
                <a:gd name="connsiteY235" fmla="*/ 19579 h 1030293"/>
                <a:gd name="connsiteX236" fmla="*/ 342900 w 1219200"/>
                <a:gd name="connsiteY236" fmla="*/ 6879 h 1030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Lst>
              <a:rect l="l" t="t" r="r" b="b"/>
              <a:pathLst>
                <a:path w="1219200" h="1030293">
                  <a:moveTo>
                    <a:pt x="342900" y="6879"/>
                  </a:moveTo>
                  <a:cubicBezTo>
                    <a:pt x="341842" y="13758"/>
                    <a:pt x="347191" y="49801"/>
                    <a:pt x="333375" y="60854"/>
                  </a:cubicBezTo>
                  <a:cubicBezTo>
                    <a:pt x="330762" y="62945"/>
                    <a:pt x="327068" y="63110"/>
                    <a:pt x="323850" y="64029"/>
                  </a:cubicBezTo>
                  <a:cubicBezTo>
                    <a:pt x="319654" y="65228"/>
                    <a:pt x="315383" y="66146"/>
                    <a:pt x="311150" y="67204"/>
                  </a:cubicBezTo>
                  <a:cubicBezTo>
                    <a:pt x="294020" y="62922"/>
                    <a:pt x="297916" y="62198"/>
                    <a:pt x="276225" y="67204"/>
                  </a:cubicBezTo>
                  <a:cubicBezTo>
                    <a:pt x="269703" y="68709"/>
                    <a:pt x="257175" y="73554"/>
                    <a:pt x="257175" y="73554"/>
                  </a:cubicBezTo>
                  <a:cubicBezTo>
                    <a:pt x="252942" y="72496"/>
                    <a:pt x="248486" y="72098"/>
                    <a:pt x="244475" y="70379"/>
                  </a:cubicBezTo>
                  <a:cubicBezTo>
                    <a:pt x="240968" y="68876"/>
                    <a:pt x="238728" y="64569"/>
                    <a:pt x="234950" y="64029"/>
                  </a:cubicBezTo>
                  <a:cubicBezTo>
                    <a:pt x="230630" y="63412"/>
                    <a:pt x="226336" y="65672"/>
                    <a:pt x="222250" y="67204"/>
                  </a:cubicBezTo>
                  <a:cubicBezTo>
                    <a:pt x="213043" y="70657"/>
                    <a:pt x="207921" y="74640"/>
                    <a:pt x="200025" y="79904"/>
                  </a:cubicBezTo>
                  <a:cubicBezTo>
                    <a:pt x="198967" y="83079"/>
                    <a:pt x="197731" y="86200"/>
                    <a:pt x="196850" y="89429"/>
                  </a:cubicBezTo>
                  <a:cubicBezTo>
                    <a:pt x="191974" y="107307"/>
                    <a:pt x="195352" y="114769"/>
                    <a:pt x="180975" y="124354"/>
                  </a:cubicBezTo>
                  <a:cubicBezTo>
                    <a:pt x="178190" y="126210"/>
                    <a:pt x="174625" y="126471"/>
                    <a:pt x="171450" y="127529"/>
                  </a:cubicBezTo>
                  <a:cubicBezTo>
                    <a:pt x="168275" y="129646"/>
                    <a:pt x="165338" y="132172"/>
                    <a:pt x="161925" y="133879"/>
                  </a:cubicBezTo>
                  <a:cubicBezTo>
                    <a:pt x="147606" y="141039"/>
                    <a:pt x="156524" y="132030"/>
                    <a:pt x="142875" y="143404"/>
                  </a:cubicBezTo>
                  <a:cubicBezTo>
                    <a:pt x="139426" y="146279"/>
                    <a:pt x="137275" y="150748"/>
                    <a:pt x="133350" y="152929"/>
                  </a:cubicBezTo>
                  <a:cubicBezTo>
                    <a:pt x="127499" y="156180"/>
                    <a:pt x="120650" y="157162"/>
                    <a:pt x="114300" y="159279"/>
                  </a:cubicBezTo>
                  <a:lnTo>
                    <a:pt x="104775" y="162454"/>
                  </a:lnTo>
                  <a:cubicBezTo>
                    <a:pt x="89681" y="172517"/>
                    <a:pt x="98870" y="167597"/>
                    <a:pt x="76200" y="175154"/>
                  </a:cubicBezTo>
                  <a:lnTo>
                    <a:pt x="66675" y="178329"/>
                  </a:lnTo>
                  <a:lnTo>
                    <a:pt x="57150" y="181504"/>
                  </a:lnTo>
                  <a:cubicBezTo>
                    <a:pt x="31750" y="198437"/>
                    <a:pt x="62442" y="176212"/>
                    <a:pt x="41275" y="197379"/>
                  </a:cubicBezTo>
                  <a:cubicBezTo>
                    <a:pt x="38577" y="200077"/>
                    <a:pt x="34925" y="201612"/>
                    <a:pt x="31750" y="203729"/>
                  </a:cubicBezTo>
                  <a:cubicBezTo>
                    <a:pt x="29633" y="206904"/>
                    <a:pt x="25654" y="209447"/>
                    <a:pt x="25400" y="213254"/>
                  </a:cubicBezTo>
                  <a:cubicBezTo>
                    <a:pt x="24552" y="225970"/>
                    <a:pt x="25164" y="239075"/>
                    <a:pt x="28575" y="251354"/>
                  </a:cubicBezTo>
                  <a:cubicBezTo>
                    <a:pt x="31648" y="262415"/>
                    <a:pt x="40797" y="271753"/>
                    <a:pt x="50800" y="276754"/>
                  </a:cubicBezTo>
                  <a:cubicBezTo>
                    <a:pt x="53793" y="278251"/>
                    <a:pt x="57150" y="278871"/>
                    <a:pt x="60325" y="279929"/>
                  </a:cubicBezTo>
                  <a:cubicBezTo>
                    <a:pt x="63500" y="283104"/>
                    <a:pt x="67622" y="285555"/>
                    <a:pt x="69850" y="289454"/>
                  </a:cubicBezTo>
                  <a:cubicBezTo>
                    <a:pt x="72015" y="293243"/>
                    <a:pt x="71306" y="298143"/>
                    <a:pt x="73025" y="302154"/>
                  </a:cubicBezTo>
                  <a:cubicBezTo>
                    <a:pt x="77347" y="312238"/>
                    <a:pt x="88724" y="321145"/>
                    <a:pt x="98425" y="324379"/>
                  </a:cubicBezTo>
                  <a:cubicBezTo>
                    <a:pt x="129086" y="334599"/>
                    <a:pt x="81416" y="318211"/>
                    <a:pt x="120650" y="333904"/>
                  </a:cubicBezTo>
                  <a:cubicBezTo>
                    <a:pt x="126865" y="336390"/>
                    <a:pt x="139700" y="340254"/>
                    <a:pt x="139700" y="340254"/>
                  </a:cubicBezTo>
                  <a:cubicBezTo>
                    <a:pt x="147128" y="362538"/>
                    <a:pt x="149585" y="361039"/>
                    <a:pt x="142875" y="387879"/>
                  </a:cubicBezTo>
                  <a:cubicBezTo>
                    <a:pt x="141950" y="391581"/>
                    <a:pt x="139223" y="394706"/>
                    <a:pt x="136525" y="397404"/>
                  </a:cubicBezTo>
                  <a:cubicBezTo>
                    <a:pt x="133827" y="400102"/>
                    <a:pt x="130175" y="401637"/>
                    <a:pt x="127000" y="403754"/>
                  </a:cubicBezTo>
                  <a:cubicBezTo>
                    <a:pt x="122277" y="417923"/>
                    <a:pt x="122913" y="410764"/>
                    <a:pt x="127000" y="429154"/>
                  </a:cubicBezTo>
                  <a:cubicBezTo>
                    <a:pt x="127947" y="433414"/>
                    <a:pt x="127449" y="438447"/>
                    <a:pt x="130175" y="441854"/>
                  </a:cubicBezTo>
                  <a:cubicBezTo>
                    <a:pt x="132266" y="444467"/>
                    <a:pt x="136525" y="443971"/>
                    <a:pt x="139700" y="445029"/>
                  </a:cubicBezTo>
                  <a:cubicBezTo>
                    <a:pt x="141817" y="448204"/>
                    <a:pt x="145510" y="450776"/>
                    <a:pt x="146050" y="454554"/>
                  </a:cubicBezTo>
                  <a:cubicBezTo>
                    <a:pt x="148010" y="468277"/>
                    <a:pt x="140915" y="469406"/>
                    <a:pt x="130175" y="470429"/>
                  </a:cubicBezTo>
                  <a:cubicBezTo>
                    <a:pt x="112233" y="472138"/>
                    <a:pt x="94192" y="472546"/>
                    <a:pt x="76200" y="473604"/>
                  </a:cubicBezTo>
                  <a:cubicBezTo>
                    <a:pt x="72989" y="478420"/>
                    <a:pt x="66675" y="486081"/>
                    <a:pt x="66675" y="492654"/>
                  </a:cubicBezTo>
                  <a:cubicBezTo>
                    <a:pt x="66675" y="500317"/>
                    <a:pt x="70520" y="510538"/>
                    <a:pt x="73025" y="518054"/>
                  </a:cubicBezTo>
                  <a:cubicBezTo>
                    <a:pt x="74083" y="525462"/>
                    <a:pt x="75062" y="532882"/>
                    <a:pt x="76200" y="540279"/>
                  </a:cubicBezTo>
                  <a:cubicBezTo>
                    <a:pt x="77179" y="546642"/>
                    <a:pt x="80936" y="553084"/>
                    <a:pt x="79375" y="559329"/>
                  </a:cubicBezTo>
                  <a:cubicBezTo>
                    <a:pt x="75142" y="576262"/>
                    <a:pt x="60325" y="582612"/>
                    <a:pt x="47625" y="591079"/>
                  </a:cubicBezTo>
                  <a:lnTo>
                    <a:pt x="38100" y="597429"/>
                  </a:lnTo>
                  <a:cubicBezTo>
                    <a:pt x="34925" y="599546"/>
                    <a:pt x="31273" y="601081"/>
                    <a:pt x="28575" y="603779"/>
                  </a:cubicBezTo>
                  <a:lnTo>
                    <a:pt x="19050" y="613304"/>
                  </a:lnTo>
                  <a:cubicBezTo>
                    <a:pt x="22013" y="634048"/>
                    <a:pt x="25815" y="648466"/>
                    <a:pt x="19050" y="670454"/>
                  </a:cubicBezTo>
                  <a:cubicBezTo>
                    <a:pt x="17928" y="674101"/>
                    <a:pt x="12700" y="674687"/>
                    <a:pt x="9525" y="676804"/>
                  </a:cubicBezTo>
                  <a:lnTo>
                    <a:pt x="3175" y="695854"/>
                  </a:lnTo>
                  <a:lnTo>
                    <a:pt x="0" y="705379"/>
                  </a:lnTo>
                  <a:cubicBezTo>
                    <a:pt x="1693" y="710459"/>
                    <a:pt x="2540" y="721466"/>
                    <a:pt x="12700" y="718079"/>
                  </a:cubicBezTo>
                  <a:cubicBezTo>
                    <a:pt x="16960" y="716659"/>
                    <a:pt x="18489" y="711045"/>
                    <a:pt x="22225" y="708554"/>
                  </a:cubicBezTo>
                  <a:cubicBezTo>
                    <a:pt x="25010" y="706698"/>
                    <a:pt x="28532" y="706298"/>
                    <a:pt x="31750" y="705379"/>
                  </a:cubicBezTo>
                  <a:cubicBezTo>
                    <a:pt x="59657" y="697406"/>
                    <a:pt x="31137" y="706642"/>
                    <a:pt x="53975" y="699029"/>
                  </a:cubicBezTo>
                  <a:cubicBezTo>
                    <a:pt x="62106" y="700655"/>
                    <a:pt x="76141" y="700409"/>
                    <a:pt x="79375" y="711729"/>
                  </a:cubicBezTo>
                  <a:cubicBezTo>
                    <a:pt x="80574" y="715925"/>
                    <a:pt x="77399" y="720233"/>
                    <a:pt x="76200" y="724429"/>
                  </a:cubicBezTo>
                  <a:cubicBezTo>
                    <a:pt x="69252" y="748745"/>
                    <a:pt x="77807" y="718432"/>
                    <a:pt x="66675" y="743479"/>
                  </a:cubicBezTo>
                  <a:cubicBezTo>
                    <a:pt x="63957" y="749596"/>
                    <a:pt x="60325" y="762529"/>
                    <a:pt x="60325" y="762529"/>
                  </a:cubicBezTo>
                  <a:lnTo>
                    <a:pt x="63500" y="810154"/>
                  </a:lnTo>
                  <a:cubicBezTo>
                    <a:pt x="64968" y="814263"/>
                    <a:pt x="72411" y="809144"/>
                    <a:pt x="76200" y="806979"/>
                  </a:cubicBezTo>
                  <a:cubicBezTo>
                    <a:pt x="80099" y="804751"/>
                    <a:pt x="82276" y="800329"/>
                    <a:pt x="85725" y="797454"/>
                  </a:cubicBezTo>
                  <a:cubicBezTo>
                    <a:pt x="93931" y="790615"/>
                    <a:pt x="95229" y="791111"/>
                    <a:pt x="104775" y="787929"/>
                  </a:cubicBezTo>
                  <a:cubicBezTo>
                    <a:pt x="109008" y="784754"/>
                    <a:pt x="112341" y="779687"/>
                    <a:pt x="117475" y="778404"/>
                  </a:cubicBezTo>
                  <a:cubicBezTo>
                    <a:pt x="127709" y="775846"/>
                    <a:pt x="134110" y="785514"/>
                    <a:pt x="139700" y="791104"/>
                  </a:cubicBezTo>
                  <a:cubicBezTo>
                    <a:pt x="144434" y="805305"/>
                    <a:pt x="143354" y="811532"/>
                    <a:pt x="155575" y="819679"/>
                  </a:cubicBezTo>
                  <a:cubicBezTo>
                    <a:pt x="158360" y="821535"/>
                    <a:pt x="161853" y="822042"/>
                    <a:pt x="165100" y="822854"/>
                  </a:cubicBezTo>
                  <a:cubicBezTo>
                    <a:pt x="170335" y="824163"/>
                    <a:pt x="175683" y="824971"/>
                    <a:pt x="180975" y="826029"/>
                  </a:cubicBezTo>
                  <a:cubicBezTo>
                    <a:pt x="184150" y="830262"/>
                    <a:pt x="186758" y="834987"/>
                    <a:pt x="190500" y="838729"/>
                  </a:cubicBezTo>
                  <a:cubicBezTo>
                    <a:pt x="193198" y="841427"/>
                    <a:pt x="197641" y="842099"/>
                    <a:pt x="200025" y="845079"/>
                  </a:cubicBezTo>
                  <a:cubicBezTo>
                    <a:pt x="202116" y="847692"/>
                    <a:pt x="201703" y="851611"/>
                    <a:pt x="203200" y="854604"/>
                  </a:cubicBezTo>
                  <a:cubicBezTo>
                    <a:pt x="204907" y="858017"/>
                    <a:pt x="207843" y="860716"/>
                    <a:pt x="209550" y="864129"/>
                  </a:cubicBezTo>
                  <a:cubicBezTo>
                    <a:pt x="215340" y="875709"/>
                    <a:pt x="210409" y="882693"/>
                    <a:pt x="225425" y="892704"/>
                  </a:cubicBezTo>
                  <a:lnTo>
                    <a:pt x="244475" y="905404"/>
                  </a:lnTo>
                  <a:lnTo>
                    <a:pt x="254000" y="911754"/>
                  </a:lnTo>
                  <a:cubicBezTo>
                    <a:pt x="257175" y="909637"/>
                    <a:pt x="262108" y="908947"/>
                    <a:pt x="263525" y="905404"/>
                  </a:cubicBezTo>
                  <a:cubicBezTo>
                    <a:pt x="264768" y="902297"/>
                    <a:pt x="260350" y="892532"/>
                    <a:pt x="260350" y="895879"/>
                  </a:cubicBezTo>
                  <a:cubicBezTo>
                    <a:pt x="260350" y="900243"/>
                    <a:pt x="262326" y="904383"/>
                    <a:pt x="263525" y="908579"/>
                  </a:cubicBezTo>
                  <a:cubicBezTo>
                    <a:pt x="266704" y="919707"/>
                    <a:pt x="266233" y="919302"/>
                    <a:pt x="276225" y="927629"/>
                  </a:cubicBezTo>
                  <a:cubicBezTo>
                    <a:pt x="281512" y="932035"/>
                    <a:pt x="292478" y="937940"/>
                    <a:pt x="298450" y="940329"/>
                  </a:cubicBezTo>
                  <a:cubicBezTo>
                    <a:pt x="304665" y="942815"/>
                    <a:pt x="317500" y="946679"/>
                    <a:pt x="317500" y="946679"/>
                  </a:cubicBezTo>
                  <a:cubicBezTo>
                    <a:pt x="319029" y="961969"/>
                    <a:pt x="319697" y="979075"/>
                    <a:pt x="323850" y="994304"/>
                  </a:cubicBezTo>
                  <a:cubicBezTo>
                    <a:pt x="325611" y="1000762"/>
                    <a:pt x="328083" y="1007004"/>
                    <a:pt x="330200" y="1013354"/>
                  </a:cubicBezTo>
                  <a:cubicBezTo>
                    <a:pt x="331739" y="1017970"/>
                    <a:pt x="345552" y="1021646"/>
                    <a:pt x="349250" y="1022879"/>
                  </a:cubicBezTo>
                  <a:cubicBezTo>
                    <a:pt x="352425" y="1024996"/>
                    <a:pt x="354982" y="1028808"/>
                    <a:pt x="358775" y="1029229"/>
                  </a:cubicBezTo>
                  <a:cubicBezTo>
                    <a:pt x="365173" y="1029940"/>
                    <a:pt x="372980" y="1030293"/>
                    <a:pt x="377825" y="1026054"/>
                  </a:cubicBezTo>
                  <a:cubicBezTo>
                    <a:pt x="382862" y="1021646"/>
                    <a:pt x="380462" y="1012573"/>
                    <a:pt x="384175" y="1007004"/>
                  </a:cubicBezTo>
                  <a:lnTo>
                    <a:pt x="390525" y="997479"/>
                  </a:lnTo>
                  <a:cubicBezTo>
                    <a:pt x="397933" y="998537"/>
                    <a:pt x="405412" y="999186"/>
                    <a:pt x="412750" y="1000654"/>
                  </a:cubicBezTo>
                  <a:cubicBezTo>
                    <a:pt x="416032" y="1001310"/>
                    <a:pt x="419168" y="1005072"/>
                    <a:pt x="422275" y="1003829"/>
                  </a:cubicBezTo>
                  <a:cubicBezTo>
                    <a:pt x="425818" y="1002412"/>
                    <a:pt x="426508" y="997479"/>
                    <a:pt x="428625" y="994304"/>
                  </a:cubicBezTo>
                  <a:cubicBezTo>
                    <a:pt x="425450" y="991129"/>
                    <a:pt x="421975" y="988228"/>
                    <a:pt x="419100" y="984779"/>
                  </a:cubicBezTo>
                  <a:cubicBezTo>
                    <a:pt x="416657" y="981848"/>
                    <a:pt x="415285" y="978106"/>
                    <a:pt x="412750" y="975254"/>
                  </a:cubicBezTo>
                  <a:cubicBezTo>
                    <a:pt x="406784" y="968542"/>
                    <a:pt x="400050" y="962554"/>
                    <a:pt x="393700" y="956204"/>
                  </a:cubicBezTo>
                  <a:cubicBezTo>
                    <a:pt x="390525" y="953029"/>
                    <a:pt x="387911" y="949170"/>
                    <a:pt x="384175" y="946679"/>
                  </a:cubicBezTo>
                  <a:lnTo>
                    <a:pt x="365125" y="933979"/>
                  </a:lnTo>
                  <a:cubicBezTo>
                    <a:pt x="364067" y="930804"/>
                    <a:pt x="360005" y="927177"/>
                    <a:pt x="361950" y="924454"/>
                  </a:cubicBezTo>
                  <a:cubicBezTo>
                    <a:pt x="366386" y="918244"/>
                    <a:pt x="374650" y="915987"/>
                    <a:pt x="381000" y="911754"/>
                  </a:cubicBezTo>
                  <a:lnTo>
                    <a:pt x="390525" y="905404"/>
                  </a:lnTo>
                  <a:cubicBezTo>
                    <a:pt x="397431" y="900800"/>
                    <a:pt x="416930" y="897583"/>
                    <a:pt x="425450" y="895879"/>
                  </a:cubicBezTo>
                  <a:cubicBezTo>
                    <a:pt x="442383" y="896937"/>
                    <a:pt x="459491" y="896408"/>
                    <a:pt x="476250" y="899054"/>
                  </a:cubicBezTo>
                  <a:cubicBezTo>
                    <a:pt x="495353" y="902070"/>
                    <a:pt x="477203" y="917363"/>
                    <a:pt x="498475" y="924454"/>
                  </a:cubicBezTo>
                  <a:lnTo>
                    <a:pt x="508000" y="927629"/>
                  </a:lnTo>
                  <a:cubicBezTo>
                    <a:pt x="515408" y="926571"/>
                    <a:pt x="523057" y="926604"/>
                    <a:pt x="530225" y="924454"/>
                  </a:cubicBezTo>
                  <a:cubicBezTo>
                    <a:pt x="552151" y="917876"/>
                    <a:pt x="526019" y="914671"/>
                    <a:pt x="552450" y="921279"/>
                  </a:cubicBezTo>
                  <a:cubicBezTo>
                    <a:pt x="553508" y="924454"/>
                    <a:pt x="554128" y="927811"/>
                    <a:pt x="555625" y="930804"/>
                  </a:cubicBezTo>
                  <a:cubicBezTo>
                    <a:pt x="557332" y="934217"/>
                    <a:pt x="560635" y="936756"/>
                    <a:pt x="561975" y="940329"/>
                  </a:cubicBezTo>
                  <a:cubicBezTo>
                    <a:pt x="563870" y="945382"/>
                    <a:pt x="564329" y="950870"/>
                    <a:pt x="565150" y="956204"/>
                  </a:cubicBezTo>
                  <a:cubicBezTo>
                    <a:pt x="566447" y="964637"/>
                    <a:pt x="564860" y="973807"/>
                    <a:pt x="568325" y="981604"/>
                  </a:cubicBezTo>
                  <a:cubicBezTo>
                    <a:pt x="569684" y="984662"/>
                    <a:pt x="574675" y="983721"/>
                    <a:pt x="577850" y="984779"/>
                  </a:cubicBezTo>
                  <a:cubicBezTo>
                    <a:pt x="583142" y="983721"/>
                    <a:pt x="588812" y="983837"/>
                    <a:pt x="593725" y="981604"/>
                  </a:cubicBezTo>
                  <a:cubicBezTo>
                    <a:pt x="600673" y="978446"/>
                    <a:pt x="612775" y="968904"/>
                    <a:pt x="612775" y="968904"/>
                  </a:cubicBezTo>
                  <a:cubicBezTo>
                    <a:pt x="614892" y="965729"/>
                    <a:pt x="617575" y="962866"/>
                    <a:pt x="619125" y="959379"/>
                  </a:cubicBezTo>
                  <a:cubicBezTo>
                    <a:pt x="621843" y="953262"/>
                    <a:pt x="625475" y="940329"/>
                    <a:pt x="625475" y="940329"/>
                  </a:cubicBezTo>
                  <a:cubicBezTo>
                    <a:pt x="623591" y="930911"/>
                    <a:pt x="620141" y="914544"/>
                    <a:pt x="619125" y="905404"/>
                  </a:cubicBezTo>
                  <a:cubicBezTo>
                    <a:pt x="617718" y="892738"/>
                    <a:pt x="618299" y="879830"/>
                    <a:pt x="615950" y="867304"/>
                  </a:cubicBezTo>
                  <a:cubicBezTo>
                    <a:pt x="615078" y="862652"/>
                    <a:pt x="612035" y="858663"/>
                    <a:pt x="609600" y="854604"/>
                  </a:cubicBezTo>
                  <a:cubicBezTo>
                    <a:pt x="605673" y="848060"/>
                    <a:pt x="596900" y="835554"/>
                    <a:pt x="596900" y="835554"/>
                  </a:cubicBezTo>
                  <a:cubicBezTo>
                    <a:pt x="599017" y="832379"/>
                    <a:pt x="600014" y="828051"/>
                    <a:pt x="603250" y="826029"/>
                  </a:cubicBezTo>
                  <a:cubicBezTo>
                    <a:pt x="608926" y="822481"/>
                    <a:pt x="615950" y="821796"/>
                    <a:pt x="622300" y="819679"/>
                  </a:cubicBezTo>
                  <a:lnTo>
                    <a:pt x="631825" y="816504"/>
                  </a:lnTo>
                  <a:cubicBezTo>
                    <a:pt x="635965" y="815124"/>
                    <a:pt x="640329" y="814528"/>
                    <a:pt x="644525" y="813329"/>
                  </a:cubicBezTo>
                  <a:cubicBezTo>
                    <a:pt x="647743" y="812410"/>
                    <a:pt x="650875" y="811212"/>
                    <a:pt x="654050" y="810154"/>
                  </a:cubicBezTo>
                  <a:cubicBezTo>
                    <a:pt x="666203" y="802052"/>
                    <a:pt x="666855" y="798559"/>
                    <a:pt x="685800" y="806979"/>
                  </a:cubicBezTo>
                  <a:cubicBezTo>
                    <a:pt x="689287" y="808529"/>
                    <a:pt x="690033" y="813329"/>
                    <a:pt x="692150" y="816504"/>
                  </a:cubicBezTo>
                  <a:cubicBezTo>
                    <a:pt x="691210" y="823081"/>
                    <a:pt x="685497" y="843112"/>
                    <a:pt x="692150" y="851429"/>
                  </a:cubicBezTo>
                  <a:cubicBezTo>
                    <a:pt x="694241" y="854042"/>
                    <a:pt x="698500" y="853546"/>
                    <a:pt x="701675" y="854604"/>
                  </a:cubicBezTo>
                  <a:cubicBezTo>
                    <a:pt x="705908" y="857779"/>
                    <a:pt x="710633" y="860387"/>
                    <a:pt x="714375" y="864129"/>
                  </a:cubicBezTo>
                  <a:cubicBezTo>
                    <a:pt x="723474" y="873228"/>
                    <a:pt x="718735" y="872850"/>
                    <a:pt x="723900" y="883179"/>
                  </a:cubicBezTo>
                  <a:cubicBezTo>
                    <a:pt x="729192" y="893762"/>
                    <a:pt x="730250" y="892704"/>
                    <a:pt x="739775" y="899054"/>
                  </a:cubicBezTo>
                  <a:cubicBezTo>
                    <a:pt x="744008" y="897996"/>
                    <a:pt x="748686" y="898044"/>
                    <a:pt x="752475" y="895879"/>
                  </a:cubicBezTo>
                  <a:cubicBezTo>
                    <a:pt x="756374" y="893651"/>
                    <a:pt x="757524" y="886712"/>
                    <a:pt x="762000" y="886354"/>
                  </a:cubicBezTo>
                  <a:cubicBezTo>
                    <a:pt x="785233" y="884495"/>
                    <a:pt x="808567" y="888471"/>
                    <a:pt x="831850" y="889529"/>
                  </a:cubicBezTo>
                  <a:cubicBezTo>
                    <a:pt x="847725" y="888471"/>
                    <a:pt x="863781" y="888970"/>
                    <a:pt x="879475" y="886354"/>
                  </a:cubicBezTo>
                  <a:cubicBezTo>
                    <a:pt x="894421" y="883863"/>
                    <a:pt x="886028" y="876525"/>
                    <a:pt x="892175" y="867304"/>
                  </a:cubicBezTo>
                  <a:cubicBezTo>
                    <a:pt x="895692" y="862028"/>
                    <a:pt x="905792" y="859590"/>
                    <a:pt x="911225" y="857779"/>
                  </a:cubicBezTo>
                  <a:cubicBezTo>
                    <a:pt x="914400" y="855662"/>
                    <a:pt x="918857" y="854742"/>
                    <a:pt x="920750" y="851429"/>
                  </a:cubicBezTo>
                  <a:cubicBezTo>
                    <a:pt x="923427" y="846744"/>
                    <a:pt x="923925" y="840950"/>
                    <a:pt x="923925" y="835554"/>
                  </a:cubicBezTo>
                  <a:cubicBezTo>
                    <a:pt x="923925" y="822324"/>
                    <a:pt x="922067" y="816180"/>
                    <a:pt x="914400" y="806979"/>
                  </a:cubicBezTo>
                  <a:cubicBezTo>
                    <a:pt x="911525" y="803530"/>
                    <a:pt x="908891" y="799462"/>
                    <a:pt x="904875" y="797454"/>
                  </a:cubicBezTo>
                  <a:cubicBezTo>
                    <a:pt x="900048" y="795041"/>
                    <a:pt x="894292" y="795337"/>
                    <a:pt x="889000" y="794279"/>
                  </a:cubicBezTo>
                  <a:cubicBezTo>
                    <a:pt x="885825" y="791104"/>
                    <a:pt x="880564" y="789110"/>
                    <a:pt x="879475" y="784754"/>
                  </a:cubicBezTo>
                  <a:cubicBezTo>
                    <a:pt x="877370" y="776335"/>
                    <a:pt x="883919" y="765451"/>
                    <a:pt x="889000" y="759354"/>
                  </a:cubicBezTo>
                  <a:cubicBezTo>
                    <a:pt x="891875" y="755905"/>
                    <a:pt x="895650" y="753278"/>
                    <a:pt x="898525" y="749829"/>
                  </a:cubicBezTo>
                  <a:cubicBezTo>
                    <a:pt x="900968" y="746898"/>
                    <a:pt x="902003" y="742817"/>
                    <a:pt x="904875" y="740304"/>
                  </a:cubicBezTo>
                  <a:cubicBezTo>
                    <a:pt x="910618" y="735278"/>
                    <a:pt x="917575" y="731837"/>
                    <a:pt x="923925" y="727604"/>
                  </a:cubicBezTo>
                  <a:cubicBezTo>
                    <a:pt x="936235" y="719398"/>
                    <a:pt x="929830" y="722461"/>
                    <a:pt x="942975" y="718079"/>
                  </a:cubicBezTo>
                  <a:cubicBezTo>
                    <a:pt x="946150" y="720196"/>
                    <a:pt x="950116" y="721449"/>
                    <a:pt x="952500" y="724429"/>
                  </a:cubicBezTo>
                  <a:cubicBezTo>
                    <a:pt x="954591" y="727042"/>
                    <a:pt x="955076" y="730661"/>
                    <a:pt x="955675" y="733954"/>
                  </a:cubicBezTo>
                  <a:cubicBezTo>
                    <a:pt x="957201" y="742349"/>
                    <a:pt x="955681" y="751432"/>
                    <a:pt x="958850" y="759354"/>
                  </a:cubicBezTo>
                  <a:cubicBezTo>
                    <a:pt x="960744" y="764088"/>
                    <a:pt x="973890" y="767542"/>
                    <a:pt x="977900" y="768879"/>
                  </a:cubicBezTo>
                  <a:cubicBezTo>
                    <a:pt x="991047" y="767001"/>
                    <a:pt x="1003300" y="772012"/>
                    <a:pt x="1003300" y="756179"/>
                  </a:cubicBezTo>
                  <a:cubicBezTo>
                    <a:pt x="1003300" y="752832"/>
                    <a:pt x="1001183" y="749829"/>
                    <a:pt x="1000125" y="746654"/>
                  </a:cubicBezTo>
                  <a:cubicBezTo>
                    <a:pt x="1001183" y="743479"/>
                    <a:pt x="1001209" y="739742"/>
                    <a:pt x="1003300" y="737129"/>
                  </a:cubicBezTo>
                  <a:cubicBezTo>
                    <a:pt x="1005684" y="734149"/>
                    <a:pt x="1009338" y="732329"/>
                    <a:pt x="1012825" y="730779"/>
                  </a:cubicBezTo>
                  <a:lnTo>
                    <a:pt x="1041400" y="721254"/>
                  </a:lnTo>
                  <a:lnTo>
                    <a:pt x="1050925" y="718079"/>
                  </a:lnTo>
                  <a:lnTo>
                    <a:pt x="1060450" y="714904"/>
                  </a:lnTo>
                  <a:cubicBezTo>
                    <a:pt x="1063625" y="712787"/>
                    <a:pt x="1067277" y="711252"/>
                    <a:pt x="1069975" y="708554"/>
                  </a:cubicBezTo>
                  <a:cubicBezTo>
                    <a:pt x="1076130" y="702399"/>
                    <a:pt x="1076918" y="697251"/>
                    <a:pt x="1079500" y="689504"/>
                  </a:cubicBezTo>
                  <a:cubicBezTo>
                    <a:pt x="1077383" y="686329"/>
                    <a:pt x="1075593" y="682910"/>
                    <a:pt x="1073150" y="679979"/>
                  </a:cubicBezTo>
                  <a:cubicBezTo>
                    <a:pt x="1065510" y="670812"/>
                    <a:pt x="1063466" y="670348"/>
                    <a:pt x="1054100" y="664104"/>
                  </a:cubicBezTo>
                  <a:cubicBezTo>
                    <a:pt x="1051983" y="660929"/>
                    <a:pt x="1049457" y="657992"/>
                    <a:pt x="1047750" y="654579"/>
                  </a:cubicBezTo>
                  <a:cubicBezTo>
                    <a:pt x="1046253" y="651586"/>
                    <a:pt x="1046235" y="647960"/>
                    <a:pt x="1044575" y="645054"/>
                  </a:cubicBezTo>
                  <a:cubicBezTo>
                    <a:pt x="1041950" y="640460"/>
                    <a:pt x="1038225" y="636587"/>
                    <a:pt x="1035050" y="632354"/>
                  </a:cubicBezTo>
                  <a:cubicBezTo>
                    <a:pt x="1036056" y="623300"/>
                    <a:pt x="1036081" y="604892"/>
                    <a:pt x="1041400" y="594254"/>
                  </a:cubicBezTo>
                  <a:cubicBezTo>
                    <a:pt x="1043107" y="590841"/>
                    <a:pt x="1044514" y="586751"/>
                    <a:pt x="1047750" y="584729"/>
                  </a:cubicBezTo>
                  <a:cubicBezTo>
                    <a:pt x="1053426" y="581181"/>
                    <a:pt x="1066800" y="578379"/>
                    <a:pt x="1066800" y="578379"/>
                  </a:cubicBezTo>
                  <a:cubicBezTo>
                    <a:pt x="1081769" y="580874"/>
                    <a:pt x="1085288" y="584063"/>
                    <a:pt x="1098550" y="578379"/>
                  </a:cubicBezTo>
                  <a:cubicBezTo>
                    <a:pt x="1102057" y="576876"/>
                    <a:pt x="1104900" y="574146"/>
                    <a:pt x="1108075" y="572029"/>
                  </a:cubicBezTo>
                  <a:cubicBezTo>
                    <a:pt x="1110192" y="568854"/>
                    <a:pt x="1111089" y="564357"/>
                    <a:pt x="1114425" y="562504"/>
                  </a:cubicBezTo>
                  <a:cubicBezTo>
                    <a:pt x="1147717" y="544008"/>
                    <a:pt x="1128712" y="568061"/>
                    <a:pt x="1143000" y="546629"/>
                  </a:cubicBezTo>
                  <a:cubicBezTo>
                    <a:pt x="1144058" y="542396"/>
                    <a:pt x="1143449" y="537336"/>
                    <a:pt x="1146175" y="533929"/>
                  </a:cubicBezTo>
                  <a:cubicBezTo>
                    <a:pt x="1148266" y="531316"/>
                    <a:pt x="1152707" y="532251"/>
                    <a:pt x="1155700" y="530754"/>
                  </a:cubicBezTo>
                  <a:cubicBezTo>
                    <a:pt x="1183880" y="516664"/>
                    <a:pt x="1134533" y="526962"/>
                    <a:pt x="1203325" y="521229"/>
                  </a:cubicBezTo>
                  <a:cubicBezTo>
                    <a:pt x="1206500" y="520171"/>
                    <a:pt x="1210483" y="520421"/>
                    <a:pt x="1212850" y="518054"/>
                  </a:cubicBezTo>
                  <a:cubicBezTo>
                    <a:pt x="1214368" y="516536"/>
                    <a:pt x="1219173" y="495939"/>
                    <a:pt x="1219200" y="495829"/>
                  </a:cubicBezTo>
                  <a:cubicBezTo>
                    <a:pt x="1214174" y="475725"/>
                    <a:pt x="1218446" y="486760"/>
                    <a:pt x="1203325" y="464079"/>
                  </a:cubicBezTo>
                  <a:cubicBezTo>
                    <a:pt x="1199612" y="458510"/>
                    <a:pt x="1190625" y="459846"/>
                    <a:pt x="1184275" y="457729"/>
                  </a:cubicBezTo>
                  <a:lnTo>
                    <a:pt x="1174750" y="454554"/>
                  </a:lnTo>
                  <a:cubicBezTo>
                    <a:pt x="1171575" y="452437"/>
                    <a:pt x="1167609" y="451184"/>
                    <a:pt x="1165225" y="448204"/>
                  </a:cubicBezTo>
                  <a:cubicBezTo>
                    <a:pt x="1163134" y="445591"/>
                    <a:pt x="1163547" y="441672"/>
                    <a:pt x="1162050" y="438679"/>
                  </a:cubicBezTo>
                  <a:cubicBezTo>
                    <a:pt x="1160343" y="435266"/>
                    <a:pt x="1157817" y="432329"/>
                    <a:pt x="1155700" y="429154"/>
                  </a:cubicBezTo>
                  <a:cubicBezTo>
                    <a:pt x="1154642" y="422804"/>
                    <a:pt x="1154561" y="416211"/>
                    <a:pt x="1152525" y="410104"/>
                  </a:cubicBezTo>
                  <a:cubicBezTo>
                    <a:pt x="1150173" y="403048"/>
                    <a:pt x="1143235" y="397051"/>
                    <a:pt x="1136650" y="394229"/>
                  </a:cubicBezTo>
                  <a:cubicBezTo>
                    <a:pt x="1132639" y="392510"/>
                    <a:pt x="1128243" y="391835"/>
                    <a:pt x="1123950" y="391054"/>
                  </a:cubicBezTo>
                  <a:cubicBezTo>
                    <a:pt x="1116587" y="389715"/>
                    <a:pt x="1109167" y="388662"/>
                    <a:pt x="1101725" y="387879"/>
                  </a:cubicBezTo>
                  <a:cubicBezTo>
                    <a:pt x="1089051" y="386545"/>
                    <a:pt x="1076325" y="385762"/>
                    <a:pt x="1063625" y="384704"/>
                  </a:cubicBezTo>
                  <a:cubicBezTo>
                    <a:pt x="1048020" y="395107"/>
                    <a:pt x="1051347" y="388788"/>
                    <a:pt x="1057275" y="416454"/>
                  </a:cubicBezTo>
                  <a:cubicBezTo>
                    <a:pt x="1058677" y="422999"/>
                    <a:pt x="1061508" y="429154"/>
                    <a:pt x="1063625" y="435504"/>
                  </a:cubicBezTo>
                  <a:lnTo>
                    <a:pt x="1066800" y="445029"/>
                  </a:lnTo>
                  <a:cubicBezTo>
                    <a:pt x="1062312" y="467468"/>
                    <a:pt x="1065332" y="455784"/>
                    <a:pt x="1057275" y="479954"/>
                  </a:cubicBezTo>
                  <a:lnTo>
                    <a:pt x="1057275" y="479954"/>
                  </a:lnTo>
                  <a:cubicBezTo>
                    <a:pt x="1056217" y="484187"/>
                    <a:pt x="1056521" y="489023"/>
                    <a:pt x="1054100" y="492654"/>
                  </a:cubicBezTo>
                  <a:cubicBezTo>
                    <a:pt x="1051983" y="495829"/>
                    <a:pt x="1047750" y="496887"/>
                    <a:pt x="1044575" y="499004"/>
                  </a:cubicBezTo>
                  <a:cubicBezTo>
                    <a:pt x="1039283" y="497946"/>
                    <a:pt x="1033613" y="498062"/>
                    <a:pt x="1028700" y="495829"/>
                  </a:cubicBezTo>
                  <a:cubicBezTo>
                    <a:pt x="1021752" y="492671"/>
                    <a:pt x="1009650" y="483129"/>
                    <a:pt x="1009650" y="483129"/>
                  </a:cubicBezTo>
                  <a:cubicBezTo>
                    <a:pt x="994994" y="486060"/>
                    <a:pt x="980284" y="489479"/>
                    <a:pt x="965200" y="489479"/>
                  </a:cubicBezTo>
                  <a:cubicBezTo>
                    <a:pt x="956667" y="489479"/>
                    <a:pt x="948267" y="487362"/>
                    <a:pt x="939800" y="486304"/>
                  </a:cubicBezTo>
                  <a:cubicBezTo>
                    <a:pt x="914400" y="469371"/>
                    <a:pt x="945092" y="491596"/>
                    <a:pt x="923925" y="470429"/>
                  </a:cubicBezTo>
                  <a:cubicBezTo>
                    <a:pt x="921227" y="467731"/>
                    <a:pt x="917575" y="466196"/>
                    <a:pt x="914400" y="464079"/>
                  </a:cubicBezTo>
                  <a:cubicBezTo>
                    <a:pt x="913346" y="460918"/>
                    <a:pt x="908056" y="439476"/>
                    <a:pt x="901700" y="435504"/>
                  </a:cubicBezTo>
                  <a:cubicBezTo>
                    <a:pt x="882406" y="423445"/>
                    <a:pt x="826449" y="426344"/>
                    <a:pt x="819150" y="425979"/>
                  </a:cubicBezTo>
                  <a:cubicBezTo>
                    <a:pt x="815975" y="424921"/>
                    <a:pt x="812551" y="424429"/>
                    <a:pt x="809625" y="422804"/>
                  </a:cubicBezTo>
                  <a:cubicBezTo>
                    <a:pt x="776873" y="404608"/>
                    <a:pt x="802603" y="414113"/>
                    <a:pt x="781050" y="406929"/>
                  </a:cubicBezTo>
                  <a:cubicBezTo>
                    <a:pt x="774507" y="402567"/>
                    <a:pt x="762534" y="392172"/>
                    <a:pt x="752475" y="391054"/>
                  </a:cubicBezTo>
                  <a:cubicBezTo>
                    <a:pt x="736662" y="389297"/>
                    <a:pt x="720725" y="388937"/>
                    <a:pt x="704850" y="387879"/>
                  </a:cubicBezTo>
                  <a:cubicBezTo>
                    <a:pt x="701675" y="386821"/>
                    <a:pt x="697938" y="386795"/>
                    <a:pt x="695325" y="384704"/>
                  </a:cubicBezTo>
                  <a:cubicBezTo>
                    <a:pt x="692345" y="382320"/>
                    <a:pt x="690525" y="378666"/>
                    <a:pt x="688975" y="375179"/>
                  </a:cubicBezTo>
                  <a:cubicBezTo>
                    <a:pt x="684534" y="365187"/>
                    <a:pt x="681023" y="351262"/>
                    <a:pt x="679450" y="340254"/>
                  </a:cubicBezTo>
                  <a:cubicBezTo>
                    <a:pt x="678095" y="330767"/>
                    <a:pt x="679306" y="320771"/>
                    <a:pt x="676275" y="311679"/>
                  </a:cubicBezTo>
                  <a:cubicBezTo>
                    <a:pt x="672836" y="301361"/>
                    <a:pt x="662193" y="301015"/>
                    <a:pt x="654050" y="298979"/>
                  </a:cubicBezTo>
                  <a:cubicBezTo>
                    <a:pt x="660400" y="294746"/>
                    <a:pt x="670687" y="293519"/>
                    <a:pt x="673100" y="286279"/>
                  </a:cubicBezTo>
                  <a:cubicBezTo>
                    <a:pt x="681157" y="262109"/>
                    <a:pt x="678137" y="273793"/>
                    <a:pt x="682625" y="251354"/>
                  </a:cubicBezTo>
                  <a:cubicBezTo>
                    <a:pt x="681567" y="242887"/>
                    <a:pt x="681695" y="234186"/>
                    <a:pt x="679450" y="225954"/>
                  </a:cubicBezTo>
                  <a:cubicBezTo>
                    <a:pt x="676711" y="215910"/>
                    <a:pt x="670548" y="215889"/>
                    <a:pt x="663575" y="210079"/>
                  </a:cubicBezTo>
                  <a:cubicBezTo>
                    <a:pt x="633732" y="185210"/>
                    <a:pt x="683148" y="219952"/>
                    <a:pt x="635000" y="187854"/>
                  </a:cubicBezTo>
                  <a:lnTo>
                    <a:pt x="625475" y="181504"/>
                  </a:lnTo>
                  <a:cubicBezTo>
                    <a:pt x="622690" y="179648"/>
                    <a:pt x="619274" y="178720"/>
                    <a:pt x="615950" y="178329"/>
                  </a:cubicBezTo>
                  <a:cubicBezTo>
                    <a:pt x="601197" y="176593"/>
                    <a:pt x="586307" y="176339"/>
                    <a:pt x="571500" y="175154"/>
                  </a:cubicBezTo>
                  <a:cubicBezTo>
                    <a:pt x="559848" y="174222"/>
                    <a:pt x="548207" y="173142"/>
                    <a:pt x="536575" y="171979"/>
                  </a:cubicBezTo>
                  <a:cubicBezTo>
                    <a:pt x="524792" y="170801"/>
                    <a:pt x="498567" y="167955"/>
                    <a:pt x="485775" y="165629"/>
                  </a:cubicBezTo>
                  <a:cubicBezTo>
                    <a:pt x="481482" y="164848"/>
                    <a:pt x="477308" y="163512"/>
                    <a:pt x="473075" y="162454"/>
                  </a:cubicBezTo>
                  <a:cubicBezTo>
                    <a:pt x="469900" y="159279"/>
                    <a:pt x="466041" y="156665"/>
                    <a:pt x="463550" y="152929"/>
                  </a:cubicBezTo>
                  <a:cubicBezTo>
                    <a:pt x="461694" y="150144"/>
                    <a:pt x="461101" y="146671"/>
                    <a:pt x="460375" y="143404"/>
                  </a:cubicBezTo>
                  <a:cubicBezTo>
                    <a:pt x="457994" y="132692"/>
                    <a:pt x="457266" y="114927"/>
                    <a:pt x="450850" y="105304"/>
                  </a:cubicBezTo>
                  <a:cubicBezTo>
                    <a:pt x="442009" y="92043"/>
                    <a:pt x="447198" y="98477"/>
                    <a:pt x="434975" y="86254"/>
                  </a:cubicBezTo>
                  <a:cubicBezTo>
                    <a:pt x="432478" y="58790"/>
                    <a:pt x="434234" y="58262"/>
                    <a:pt x="428625" y="38629"/>
                  </a:cubicBezTo>
                  <a:cubicBezTo>
                    <a:pt x="427706" y="35411"/>
                    <a:pt x="427541" y="31717"/>
                    <a:pt x="425450" y="29104"/>
                  </a:cubicBezTo>
                  <a:cubicBezTo>
                    <a:pt x="420144" y="22472"/>
                    <a:pt x="413402" y="22580"/>
                    <a:pt x="406400" y="19579"/>
                  </a:cubicBezTo>
                  <a:cubicBezTo>
                    <a:pt x="397364" y="15707"/>
                    <a:pt x="393482" y="11915"/>
                    <a:pt x="384175" y="10054"/>
                  </a:cubicBezTo>
                  <a:cubicBezTo>
                    <a:pt x="376837" y="8586"/>
                    <a:pt x="369358" y="7937"/>
                    <a:pt x="361950" y="6879"/>
                  </a:cubicBezTo>
                  <a:cubicBezTo>
                    <a:pt x="355600" y="7937"/>
                    <a:pt x="348489" y="6860"/>
                    <a:pt x="342900" y="10054"/>
                  </a:cubicBezTo>
                  <a:cubicBezTo>
                    <a:pt x="339994" y="11714"/>
                    <a:pt x="340028" y="16246"/>
                    <a:pt x="339725" y="19579"/>
                  </a:cubicBezTo>
                  <a:cubicBezTo>
                    <a:pt x="338958" y="28011"/>
                    <a:pt x="343958" y="0"/>
                    <a:pt x="342900" y="6879"/>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defTabSz="685800" eaLnBrk="0" fontAlgn="base" hangingPunct="0">
                <a:spcBef>
                  <a:spcPct val="50000"/>
                </a:spcBef>
                <a:spcAft>
                  <a:spcPct val="0"/>
                </a:spcAft>
                <a:buClrTx/>
              </a:pPr>
              <a:endParaRPr lang="en-US" sz="900" kern="1200">
                <a:latin typeface="Arial" charset="0"/>
                <a:ea typeface="+mn-ea"/>
                <a:cs typeface="+mn-cs"/>
              </a:endParaRPr>
            </a:p>
          </p:txBody>
        </p:sp>
        <p:sp>
          <p:nvSpPr>
            <p:cNvPr id="25" name="Freeform 24"/>
            <p:cNvSpPr/>
            <p:nvPr>
              <p:custDataLst>
                <p:tags r:id="rId15"/>
              </p:custDataLst>
            </p:nvPr>
          </p:nvSpPr>
          <p:spPr bwMode="gray">
            <a:xfrm>
              <a:off x="3948299" y="4113853"/>
              <a:ext cx="2241550" cy="2325047"/>
            </a:xfrm>
            <a:custGeom>
              <a:avLst/>
              <a:gdLst>
                <a:gd name="connsiteX0" fmla="*/ 44450 w 2241550"/>
                <a:gd name="connsiteY0" fmla="*/ 674047 h 2325047"/>
                <a:gd name="connsiteX1" fmla="*/ 120650 w 2241550"/>
                <a:gd name="connsiteY1" fmla="*/ 667697 h 2325047"/>
                <a:gd name="connsiteX2" fmla="*/ 127000 w 2241550"/>
                <a:gd name="connsiteY2" fmla="*/ 642297 h 2325047"/>
                <a:gd name="connsiteX3" fmla="*/ 146050 w 2241550"/>
                <a:gd name="connsiteY3" fmla="*/ 635947 h 2325047"/>
                <a:gd name="connsiteX4" fmla="*/ 171450 w 2241550"/>
                <a:gd name="connsiteY4" fmla="*/ 642297 h 2325047"/>
                <a:gd name="connsiteX5" fmla="*/ 177800 w 2241550"/>
                <a:gd name="connsiteY5" fmla="*/ 623247 h 2325047"/>
                <a:gd name="connsiteX6" fmla="*/ 165100 w 2241550"/>
                <a:gd name="connsiteY6" fmla="*/ 604197 h 2325047"/>
                <a:gd name="connsiteX7" fmla="*/ 139700 w 2241550"/>
                <a:gd name="connsiteY7" fmla="*/ 566097 h 2325047"/>
                <a:gd name="connsiteX8" fmla="*/ 184150 w 2241550"/>
                <a:gd name="connsiteY8" fmla="*/ 547047 h 2325047"/>
                <a:gd name="connsiteX9" fmla="*/ 203200 w 2241550"/>
                <a:gd name="connsiteY9" fmla="*/ 553397 h 2325047"/>
                <a:gd name="connsiteX10" fmla="*/ 222250 w 2241550"/>
                <a:gd name="connsiteY10" fmla="*/ 566097 h 2325047"/>
                <a:gd name="connsiteX11" fmla="*/ 241300 w 2241550"/>
                <a:gd name="connsiteY11" fmla="*/ 553397 h 2325047"/>
                <a:gd name="connsiteX12" fmla="*/ 279400 w 2241550"/>
                <a:gd name="connsiteY12" fmla="*/ 547047 h 2325047"/>
                <a:gd name="connsiteX13" fmla="*/ 292100 w 2241550"/>
                <a:gd name="connsiteY13" fmla="*/ 566097 h 2325047"/>
                <a:gd name="connsiteX14" fmla="*/ 298450 w 2241550"/>
                <a:gd name="connsiteY14" fmla="*/ 604197 h 2325047"/>
                <a:gd name="connsiteX15" fmla="*/ 361950 w 2241550"/>
                <a:gd name="connsiteY15" fmla="*/ 591497 h 2325047"/>
                <a:gd name="connsiteX16" fmla="*/ 381000 w 2241550"/>
                <a:gd name="connsiteY16" fmla="*/ 597847 h 2325047"/>
                <a:gd name="connsiteX17" fmla="*/ 393700 w 2241550"/>
                <a:gd name="connsiteY17" fmla="*/ 635947 h 2325047"/>
                <a:gd name="connsiteX18" fmla="*/ 406400 w 2241550"/>
                <a:gd name="connsiteY18" fmla="*/ 654997 h 2325047"/>
                <a:gd name="connsiteX19" fmla="*/ 412750 w 2241550"/>
                <a:gd name="connsiteY19" fmla="*/ 705797 h 2325047"/>
                <a:gd name="connsiteX20" fmla="*/ 431800 w 2241550"/>
                <a:gd name="connsiteY20" fmla="*/ 750247 h 2325047"/>
                <a:gd name="connsiteX21" fmla="*/ 450850 w 2241550"/>
                <a:gd name="connsiteY21" fmla="*/ 762947 h 2325047"/>
                <a:gd name="connsiteX22" fmla="*/ 508000 w 2241550"/>
                <a:gd name="connsiteY22" fmla="*/ 743897 h 2325047"/>
                <a:gd name="connsiteX23" fmla="*/ 527050 w 2241550"/>
                <a:gd name="connsiteY23" fmla="*/ 921697 h 2325047"/>
                <a:gd name="connsiteX24" fmla="*/ 558800 w 2241550"/>
                <a:gd name="connsiteY24" fmla="*/ 978847 h 2325047"/>
                <a:gd name="connsiteX25" fmla="*/ 577850 w 2241550"/>
                <a:gd name="connsiteY25" fmla="*/ 1016947 h 2325047"/>
                <a:gd name="connsiteX26" fmla="*/ 603250 w 2241550"/>
                <a:gd name="connsiteY26" fmla="*/ 1061397 h 2325047"/>
                <a:gd name="connsiteX27" fmla="*/ 622300 w 2241550"/>
                <a:gd name="connsiteY27" fmla="*/ 1099497 h 2325047"/>
                <a:gd name="connsiteX28" fmla="*/ 641350 w 2241550"/>
                <a:gd name="connsiteY28" fmla="*/ 1112197 h 2325047"/>
                <a:gd name="connsiteX29" fmla="*/ 654050 w 2241550"/>
                <a:gd name="connsiteY29" fmla="*/ 1131247 h 2325047"/>
                <a:gd name="connsiteX30" fmla="*/ 666750 w 2241550"/>
                <a:gd name="connsiteY30" fmla="*/ 1207447 h 2325047"/>
                <a:gd name="connsiteX31" fmla="*/ 673100 w 2241550"/>
                <a:gd name="connsiteY31" fmla="*/ 1251897 h 2325047"/>
                <a:gd name="connsiteX32" fmla="*/ 698500 w 2241550"/>
                <a:gd name="connsiteY32" fmla="*/ 1309047 h 2325047"/>
                <a:gd name="connsiteX33" fmla="*/ 679450 w 2241550"/>
                <a:gd name="connsiteY33" fmla="*/ 1321747 h 2325047"/>
                <a:gd name="connsiteX34" fmla="*/ 641350 w 2241550"/>
                <a:gd name="connsiteY34" fmla="*/ 1334447 h 2325047"/>
                <a:gd name="connsiteX35" fmla="*/ 584200 w 2241550"/>
                <a:gd name="connsiteY35" fmla="*/ 1328097 h 2325047"/>
                <a:gd name="connsiteX36" fmla="*/ 577850 w 2241550"/>
                <a:gd name="connsiteY36" fmla="*/ 1347147 h 2325047"/>
                <a:gd name="connsiteX37" fmla="*/ 596900 w 2241550"/>
                <a:gd name="connsiteY37" fmla="*/ 1404297 h 2325047"/>
                <a:gd name="connsiteX38" fmla="*/ 603250 w 2241550"/>
                <a:gd name="connsiteY38" fmla="*/ 1423347 h 2325047"/>
                <a:gd name="connsiteX39" fmla="*/ 590550 w 2241550"/>
                <a:gd name="connsiteY39" fmla="*/ 1442397 h 2325047"/>
                <a:gd name="connsiteX40" fmla="*/ 565150 w 2241550"/>
                <a:gd name="connsiteY40" fmla="*/ 1448747 h 2325047"/>
                <a:gd name="connsiteX41" fmla="*/ 527050 w 2241550"/>
                <a:gd name="connsiteY41" fmla="*/ 1461447 h 2325047"/>
                <a:gd name="connsiteX42" fmla="*/ 508000 w 2241550"/>
                <a:gd name="connsiteY42" fmla="*/ 1467797 h 2325047"/>
                <a:gd name="connsiteX43" fmla="*/ 488950 w 2241550"/>
                <a:gd name="connsiteY43" fmla="*/ 1474147 h 2325047"/>
                <a:gd name="connsiteX44" fmla="*/ 476250 w 2241550"/>
                <a:gd name="connsiteY44" fmla="*/ 1493197 h 2325047"/>
                <a:gd name="connsiteX45" fmla="*/ 463550 w 2241550"/>
                <a:gd name="connsiteY45" fmla="*/ 1543997 h 2325047"/>
                <a:gd name="connsiteX46" fmla="*/ 469900 w 2241550"/>
                <a:gd name="connsiteY46" fmla="*/ 1569397 h 2325047"/>
                <a:gd name="connsiteX47" fmla="*/ 476250 w 2241550"/>
                <a:gd name="connsiteY47" fmla="*/ 1588447 h 2325047"/>
                <a:gd name="connsiteX48" fmla="*/ 488950 w 2241550"/>
                <a:gd name="connsiteY48" fmla="*/ 1639247 h 2325047"/>
                <a:gd name="connsiteX49" fmla="*/ 495300 w 2241550"/>
                <a:gd name="connsiteY49" fmla="*/ 1658297 h 2325047"/>
                <a:gd name="connsiteX50" fmla="*/ 508000 w 2241550"/>
                <a:gd name="connsiteY50" fmla="*/ 1709097 h 2325047"/>
                <a:gd name="connsiteX51" fmla="*/ 514350 w 2241550"/>
                <a:gd name="connsiteY51" fmla="*/ 1728147 h 2325047"/>
                <a:gd name="connsiteX52" fmla="*/ 527050 w 2241550"/>
                <a:gd name="connsiteY52" fmla="*/ 1747197 h 2325047"/>
                <a:gd name="connsiteX53" fmla="*/ 520700 w 2241550"/>
                <a:gd name="connsiteY53" fmla="*/ 1785297 h 2325047"/>
                <a:gd name="connsiteX54" fmla="*/ 514350 w 2241550"/>
                <a:gd name="connsiteY54" fmla="*/ 1804347 h 2325047"/>
                <a:gd name="connsiteX55" fmla="*/ 508000 w 2241550"/>
                <a:gd name="connsiteY55" fmla="*/ 1829747 h 2325047"/>
                <a:gd name="connsiteX56" fmla="*/ 501650 w 2241550"/>
                <a:gd name="connsiteY56" fmla="*/ 2001197 h 2325047"/>
                <a:gd name="connsiteX57" fmla="*/ 488950 w 2241550"/>
                <a:gd name="connsiteY57" fmla="*/ 2020247 h 2325047"/>
                <a:gd name="connsiteX58" fmla="*/ 482600 w 2241550"/>
                <a:gd name="connsiteY58" fmla="*/ 2039297 h 2325047"/>
                <a:gd name="connsiteX59" fmla="*/ 368300 w 2241550"/>
                <a:gd name="connsiteY59" fmla="*/ 2058347 h 2325047"/>
                <a:gd name="connsiteX60" fmla="*/ 349250 w 2241550"/>
                <a:gd name="connsiteY60" fmla="*/ 2064697 h 2325047"/>
                <a:gd name="connsiteX61" fmla="*/ 311150 w 2241550"/>
                <a:gd name="connsiteY61" fmla="*/ 2083747 h 2325047"/>
                <a:gd name="connsiteX62" fmla="*/ 279400 w 2241550"/>
                <a:gd name="connsiteY62" fmla="*/ 2115497 h 2325047"/>
                <a:gd name="connsiteX63" fmla="*/ 298450 w 2241550"/>
                <a:gd name="connsiteY63" fmla="*/ 2134547 h 2325047"/>
                <a:gd name="connsiteX64" fmla="*/ 336550 w 2241550"/>
                <a:gd name="connsiteY64" fmla="*/ 2147247 h 2325047"/>
                <a:gd name="connsiteX65" fmla="*/ 400050 w 2241550"/>
                <a:gd name="connsiteY65" fmla="*/ 2121847 h 2325047"/>
                <a:gd name="connsiteX66" fmla="*/ 419100 w 2241550"/>
                <a:gd name="connsiteY66" fmla="*/ 2134547 h 2325047"/>
                <a:gd name="connsiteX67" fmla="*/ 450850 w 2241550"/>
                <a:gd name="connsiteY67" fmla="*/ 2128197 h 2325047"/>
                <a:gd name="connsiteX68" fmla="*/ 469900 w 2241550"/>
                <a:gd name="connsiteY68" fmla="*/ 2140897 h 2325047"/>
                <a:gd name="connsiteX69" fmla="*/ 495300 w 2241550"/>
                <a:gd name="connsiteY69" fmla="*/ 2229797 h 2325047"/>
                <a:gd name="connsiteX70" fmla="*/ 520700 w 2241550"/>
                <a:gd name="connsiteY70" fmla="*/ 2236147 h 2325047"/>
                <a:gd name="connsiteX71" fmla="*/ 565150 w 2241550"/>
                <a:gd name="connsiteY71" fmla="*/ 2248847 h 2325047"/>
                <a:gd name="connsiteX72" fmla="*/ 558800 w 2241550"/>
                <a:gd name="connsiteY72" fmla="*/ 2274247 h 2325047"/>
                <a:gd name="connsiteX73" fmla="*/ 546100 w 2241550"/>
                <a:gd name="connsiteY73" fmla="*/ 2293297 h 2325047"/>
                <a:gd name="connsiteX74" fmla="*/ 552450 w 2241550"/>
                <a:gd name="connsiteY74" fmla="*/ 2325047 h 2325047"/>
                <a:gd name="connsiteX75" fmla="*/ 603250 w 2241550"/>
                <a:gd name="connsiteY75" fmla="*/ 2299647 h 2325047"/>
                <a:gd name="connsiteX76" fmla="*/ 615950 w 2241550"/>
                <a:gd name="connsiteY76" fmla="*/ 2261547 h 2325047"/>
                <a:gd name="connsiteX77" fmla="*/ 622300 w 2241550"/>
                <a:gd name="connsiteY77" fmla="*/ 2242497 h 2325047"/>
                <a:gd name="connsiteX78" fmla="*/ 635000 w 2241550"/>
                <a:gd name="connsiteY78" fmla="*/ 2223447 h 2325047"/>
                <a:gd name="connsiteX79" fmla="*/ 666750 w 2241550"/>
                <a:gd name="connsiteY79" fmla="*/ 2185347 h 2325047"/>
                <a:gd name="connsiteX80" fmla="*/ 673100 w 2241550"/>
                <a:gd name="connsiteY80" fmla="*/ 2166297 h 2325047"/>
                <a:gd name="connsiteX81" fmla="*/ 679450 w 2241550"/>
                <a:gd name="connsiteY81" fmla="*/ 2109147 h 2325047"/>
                <a:gd name="connsiteX82" fmla="*/ 711200 w 2241550"/>
                <a:gd name="connsiteY82" fmla="*/ 2115497 h 2325047"/>
                <a:gd name="connsiteX83" fmla="*/ 749300 w 2241550"/>
                <a:gd name="connsiteY83" fmla="*/ 2109147 h 2325047"/>
                <a:gd name="connsiteX84" fmla="*/ 774700 w 2241550"/>
                <a:gd name="connsiteY84" fmla="*/ 2115497 h 2325047"/>
                <a:gd name="connsiteX85" fmla="*/ 812800 w 2241550"/>
                <a:gd name="connsiteY85" fmla="*/ 2140897 h 2325047"/>
                <a:gd name="connsiteX86" fmla="*/ 857250 w 2241550"/>
                <a:gd name="connsiteY86" fmla="*/ 2134547 h 2325047"/>
                <a:gd name="connsiteX87" fmla="*/ 876300 w 2241550"/>
                <a:gd name="connsiteY87" fmla="*/ 2128197 h 2325047"/>
                <a:gd name="connsiteX88" fmla="*/ 895350 w 2241550"/>
                <a:gd name="connsiteY88" fmla="*/ 2134547 h 2325047"/>
                <a:gd name="connsiteX89" fmla="*/ 901700 w 2241550"/>
                <a:gd name="connsiteY89" fmla="*/ 2185347 h 2325047"/>
                <a:gd name="connsiteX90" fmla="*/ 920750 w 2241550"/>
                <a:gd name="connsiteY90" fmla="*/ 2204397 h 2325047"/>
                <a:gd name="connsiteX91" fmla="*/ 927100 w 2241550"/>
                <a:gd name="connsiteY91" fmla="*/ 2223447 h 2325047"/>
                <a:gd name="connsiteX92" fmla="*/ 965200 w 2241550"/>
                <a:gd name="connsiteY92" fmla="*/ 2242497 h 2325047"/>
                <a:gd name="connsiteX93" fmla="*/ 1028700 w 2241550"/>
                <a:gd name="connsiteY93" fmla="*/ 2223447 h 2325047"/>
                <a:gd name="connsiteX94" fmla="*/ 1035050 w 2241550"/>
                <a:gd name="connsiteY94" fmla="*/ 2204397 h 2325047"/>
                <a:gd name="connsiteX95" fmla="*/ 1079500 w 2241550"/>
                <a:gd name="connsiteY95" fmla="*/ 2198047 h 2325047"/>
                <a:gd name="connsiteX96" fmla="*/ 1104900 w 2241550"/>
                <a:gd name="connsiteY96" fmla="*/ 2166297 h 2325047"/>
                <a:gd name="connsiteX97" fmla="*/ 1123950 w 2241550"/>
                <a:gd name="connsiteY97" fmla="*/ 2153597 h 2325047"/>
                <a:gd name="connsiteX98" fmla="*/ 1225550 w 2241550"/>
                <a:gd name="connsiteY98" fmla="*/ 2134547 h 2325047"/>
                <a:gd name="connsiteX99" fmla="*/ 1219200 w 2241550"/>
                <a:gd name="connsiteY99" fmla="*/ 2102797 h 2325047"/>
                <a:gd name="connsiteX100" fmla="*/ 1212850 w 2241550"/>
                <a:gd name="connsiteY100" fmla="*/ 2083747 h 2325047"/>
                <a:gd name="connsiteX101" fmla="*/ 1231900 w 2241550"/>
                <a:gd name="connsiteY101" fmla="*/ 2077397 h 2325047"/>
                <a:gd name="connsiteX102" fmla="*/ 1339850 w 2241550"/>
                <a:gd name="connsiteY102" fmla="*/ 2077397 h 2325047"/>
                <a:gd name="connsiteX103" fmla="*/ 1377950 w 2241550"/>
                <a:gd name="connsiteY103" fmla="*/ 2064697 h 2325047"/>
                <a:gd name="connsiteX104" fmla="*/ 1492250 w 2241550"/>
                <a:gd name="connsiteY104" fmla="*/ 2064697 h 2325047"/>
                <a:gd name="connsiteX105" fmla="*/ 1504950 w 2241550"/>
                <a:gd name="connsiteY105" fmla="*/ 2026597 h 2325047"/>
                <a:gd name="connsiteX106" fmla="*/ 1530350 w 2241550"/>
                <a:gd name="connsiteY106" fmla="*/ 1975797 h 2325047"/>
                <a:gd name="connsiteX107" fmla="*/ 1543050 w 2241550"/>
                <a:gd name="connsiteY107" fmla="*/ 1994847 h 2325047"/>
                <a:gd name="connsiteX108" fmla="*/ 1562100 w 2241550"/>
                <a:gd name="connsiteY108" fmla="*/ 2001197 h 2325047"/>
                <a:gd name="connsiteX109" fmla="*/ 1606550 w 2241550"/>
                <a:gd name="connsiteY109" fmla="*/ 2013897 h 2325047"/>
                <a:gd name="connsiteX110" fmla="*/ 1644650 w 2241550"/>
                <a:gd name="connsiteY110" fmla="*/ 2039297 h 2325047"/>
                <a:gd name="connsiteX111" fmla="*/ 1670050 w 2241550"/>
                <a:gd name="connsiteY111" fmla="*/ 2032947 h 2325047"/>
                <a:gd name="connsiteX112" fmla="*/ 1689100 w 2241550"/>
                <a:gd name="connsiteY112" fmla="*/ 2013897 h 2325047"/>
                <a:gd name="connsiteX113" fmla="*/ 1758950 w 2241550"/>
                <a:gd name="connsiteY113" fmla="*/ 2013897 h 2325047"/>
                <a:gd name="connsiteX114" fmla="*/ 1778000 w 2241550"/>
                <a:gd name="connsiteY114" fmla="*/ 2026597 h 2325047"/>
                <a:gd name="connsiteX115" fmla="*/ 1790700 w 2241550"/>
                <a:gd name="connsiteY115" fmla="*/ 2083747 h 2325047"/>
                <a:gd name="connsiteX116" fmla="*/ 1835150 w 2241550"/>
                <a:gd name="connsiteY116" fmla="*/ 2109147 h 2325047"/>
                <a:gd name="connsiteX117" fmla="*/ 1892300 w 2241550"/>
                <a:gd name="connsiteY117" fmla="*/ 2140897 h 2325047"/>
                <a:gd name="connsiteX118" fmla="*/ 1911350 w 2241550"/>
                <a:gd name="connsiteY118" fmla="*/ 2071047 h 2325047"/>
                <a:gd name="connsiteX119" fmla="*/ 1924050 w 2241550"/>
                <a:gd name="connsiteY119" fmla="*/ 2051997 h 2325047"/>
                <a:gd name="connsiteX120" fmla="*/ 1930400 w 2241550"/>
                <a:gd name="connsiteY120" fmla="*/ 2032947 h 2325047"/>
                <a:gd name="connsiteX121" fmla="*/ 1924050 w 2241550"/>
                <a:gd name="connsiteY121" fmla="*/ 1994847 h 2325047"/>
                <a:gd name="connsiteX122" fmla="*/ 1917700 w 2241550"/>
                <a:gd name="connsiteY122" fmla="*/ 1975797 h 2325047"/>
                <a:gd name="connsiteX123" fmla="*/ 1898650 w 2241550"/>
                <a:gd name="connsiteY123" fmla="*/ 1969447 h 2325047"/>
                <a:gd name="connsiteX124" fmla="*/ 1847850 w 2241550"/>
                <a:gd name="connsiteY124" fmla="*/ 1963097 h 2325047"/>
                <a:gd name="connsiteX125" fmla="*/ 1841500 w 2241550"/>
                <a:gd name="connsiteY125" fmla="*/ 1944047 h 2325047"/>
                <a:gd name="connsiteX126" fmla="*/ 1854200 w 2241550"/>
                <a:gd name="connsiteY126" fmla="*/ 1924997 h 2325047"/>
                <a:gd name="connsiteX127" fmla="*/ 1873250 w 2241550"/>
                <a:gd name="connsiteY127" fmla="*/ 1886897 h 2325047"/>
                <a:gd name="connsiteX128" fmla="*/ 1866900 w 2241550"/>
                <a:gd name="connsiteY128" fmla="*/ 1836097 h 2325047"/>
                <a:gd name="connsiteX129" fmla="*/ 1860550 w 2241550"/>
                <a:gd name="connsiteY129" fmla="*/ 1817047 h 2325047"/>
                <a:gd name="connsiteX130" fmla="*/ 1835150 w 2241550"/>
                <a:gd name="connsiteY130" fmla="*/ 1810697 h 2325047"/>
                <a:gd name="connsiteX131" fmla="*/ 1816100 w 2241550"/>
                <a:gd name="connsiteY131" fmla="*/ 1804347 h 2325047"/>
                <a:gd name="connsiteX132" fmla="*/ 1803400 w 2241550"/>
                <a:gd name="connsiteY132" fmla="*/ 1785297 h 2325047"/>
                <a:gd name="connsiteX133" fmla="*/ 1790700 w 2241550"/>
                <a:gd name="connsiteY133" fmla="*/ 1747197 h 2325047"/>
                <a:gd name="connsiteX134" fmla="*/ 1758950 w 2241550"/>
                <a:gd name="connsiteY134" fmla="*/ 1690047 h 2325047"/>
                <a:gd name="connsiteX135" fmla="*/ 1765300 w 2241550"/>
                <a:gd name="connsiteY135" fmla="*/ 1664647 h 2325047"/>
                <a:gd name="connsiteX136" fmla="*/ 1784350 w 2241550"/>
                <a:gd name="connsiteY136" fmla="*/ 1658297 h 2325047"/>
                <a:gd name="connsiteX137" fmla="*/ 1822450 w 2241550"/>
                <a:gd name="connsiteY137" fmla="*/ 1632897 h 2325047"/>
                <a:gd name="connsiteX138" fmla="*/ 1841500 w 2241550"/>
                <a:gd name="connsiteY138" fmla="*/ 1620197 h 2325047"/>
                <a:gd name="connsiteX139" fmla="*/ 1854200 w 2241550"/>
                <a:gd name="connsiteY139" fmla="*/ 1601147 h 2325047"/>
                <a:gd name="connsiteX140" fmla="*/ 1892300 w 2241550"/>
                <a:gd name="connsiteY140" fmla="*/ 1569397 h 2325047"/>
                <a:gd name="connsiteX141" fmla="*/ 1936750 w 2241550"/>
                <a:gd name="connsiteY141" fmla="*/ 1556697 h 2325047"/>
                <a:gd name="connsiteX142" fmla="*/ 1955800 w 2241550"/>
                <a:gd name="connsiteY142" fmla="*/ 1550347 h 2325047"/>
                <a:gd name="connsiteX143" fmla="*/ 2006600 w 2241550"/>
                <a:gd name="connsiteY143" fmla="*/ 1537647 h 2325047"/>
                <a:gd name="connsiteX144" fmla="*/ 2025650 w 2241550"/>
                <a:gd name="connsiteY144" fmla="*/ 1524947 h 2325047"/>
                <a:gd name="connsiteX145" fmla="*/ 2038350 w 2241550"/>
                <a:gd name="connsiteY145" fmla="*/ 1480497 h 2325047"/>
                <a:gd name="connsiteX146" fmla="*/ 2057400 w 2241550"/>
                <a:gd name="connsiteY146" fmla="*/ 1467797 h 2325047"/>
                <a:gd name="connsiteX147" fmla="*/ 2070100 w 2241550"/>
                <a:gd name="connsiteY147" fmla="*/ 1404297 h 2325047"/>
                <a:gd name="connsiteX148" fmla="*/ 2076450 w 2241550"/>
                <a:gd name="connsiteY148" fmla="*/ 1378897 h 2325047"/>
                <a:gd name="connsiteX149" fmla="*/ 2089150 w 2241550"/>
                <a:gd name="connsiteY149" fmla="*/ 1359847 h 2325047"/>
                <a:gd name="connsiteX150" fmla="*/ 2171700 w 2241550"/>
                <a:gd name="connsiteY150" fmla="*/ 1378897 h 2325047"/>
                <a:gd name="connsiteX151" fmla="*/ 2190750 w 2241550"/>
                <a:gd name="connsiteY151" fmla="*/ 1385247 h 2325047"/>
                <a:gd name="connsiteX152" fmla="*/ 2228850 w 2241550"/>
                <a:gd name="connsiteY152" fmla="*/ 1366197 h 2325047"/>
                <a:gd name="connsiteX153" fmla="*/ 2235200 w 2241550"/>
                <a:gd name="connsiteY153" fmla="*/ 1340797 h 2325047"/>
                <a:gd name="connsiteX154" fmla="*/ 2241550 w 2241550"/>
                <a:gd name="connsiteY154" fmla="*/ 1296347 h 2325047"/>
                <a:gd name="connsiteX155" fmla="*/ 2235200 w 2241550"/>
                <a:gd name="connsiteY155" fmla="*/ 1245547 h 2325047"/>
                <a:gd name="connsiteX156" fmla="*/ 2228850 w 2241550"/>
                <a:gd name="connsiteY156" fmla="*/ 1226497 h 2325047"/>
                <a:gd name="connsiteX157" fmla="*/ 2222500 w 2241550"/>
                <a:gd name="connsiteY157" fmla="*/ 1162997 h 2325047"/>
                <a:gd name="connsiteX158" fmla="*/ 2184400 w 2241550"/>
                <a:gd name="connsiteY158" fmla="*/ 1143947 h 2325047"/>
                <a:gd name="connsiteX159" fmla="*/ 2152650 w 2241550"/>
                <a:gd name="connsiteY159" fmla="*/ 1112197 h 2325047"/>
                <a:gd name="connsiteX160" fmla="*/ 2139950 w 2241550"/>
                <a:gd name="connsiteY160" fmla="*/ 1086797 h 2325047"/>
                <a:gd name="connsiteX161" fmla="*/ 2120900 w 2241550"/>
                <a:gd name="connsiteY161" fmla="*/ 1080447 h 2325047"/>
                <a:gd name="connsiteX162" fmla="*/ 2057400 w 2241550"/>
                <a:gd name="connsiteY162" fmla="*/ 1074097 h 2325047"/>
                <a:gd name="connsiteX163" fmla="*/ 2038350 w 2241550"/>
                <a:gd name="connsiteY163" fmla="*/ 1067747 h 2325047"/>
                <a:gd name="connsiteX164" fmla="*/ 2012950 w 2241550"/>
                <a:gd name="connsiteY164" fmla="*/ 1010597 h 2325047"/>
                <a:gd name="connsiteX165" fmla="*/ 1955800 w 2241550"/>
                <a:gd name="connsiteY165" fmla="*/ 978847 h 2325047"/>
                <a:gd name="connsiteX166" fmla="*/ 1917700 w 2241550"/>
                <a:gd name="connsiteY166" fmla="*/ 953447 h 2325047"/>
                <a:gd name="connsiteX167" fmla="*/ 1885950 w 2241550"/>
                <a:gd name="connsiteY167" fmla="*/ 896297 h 2325047"/>
                <a:gd name="connsiteX168" fmla="*/ 1847850 w 2241550"/>
                <a:gd name="connsiteY168" fmla="*/ 870897 h 2325047"/>
                <a:gd name="connsiteX169" fmla="*/ 1828800 w 2241550"/>
                <a:gd name="connsiteY169" fmla="*/ 858197 h 2325047"/>
                <a:gd name="connsiteX170" fmla="*/ 1816100 w 2241550"/>
                <a:gd name="connsiteY170" fmla="*/ 839147 h 2325047"/>
                <a:gd name="connsiteX171" fmla="*/ 1739900 w 2241550"/>
                <a:gd name="connsiteY171" fmla="*/ 813747 h 2325047"/>
                <a:gd name="connsiteX172" fmla="*/ 1708150 w 2241550"/>
                <a:gd name="connsiteY172" fmla="*/ 781997 h 2325047"/>
                <a:gd name="connsiteX173" fmla="*/ 1689100 w 2241550"/>
                <a:gd name="connsiteY173" fmla="*/ 769297 h 2325047"/>
                <a:gd name="connsiteX174" fmla="*/ 1670050 w 2241550"/>
                <a:gd name="connsiteY174" fmla="*/ 731197 h 2325047"/>
                <a:gd name="connsiteX175" fmla="*/ 1663700 w 2241550"/>
                <a:gd name="connsiteY175" fmla="*/ 699447 h 2325047"/>
                <a:gd name="connsiteX176" fmla="*/ 1644650 w 2241550"/>
                <a:gd name="connsiteY176" fmla="*/ 680397 h 2325047"/>
                <a:gd name="connsiteX177" fmla="*/ 1625600 w 2241550"/>
                <a:gd name="connsiteY177" fmla="*/ 642297 h 2325047"/>
                <a:gd name="connsiteX178" fmla="*/ 1619250 w 2241550"/>
                <a:gd name="connsiteY178" fmla="*/ 623247 h 2325047"/>
                <a:gd name="connsiteX179" fmla="*/ 1593850 w 2241550"/>
                <a:gd name="connsiteY179" fmla="*/ 585147 h 2325047"/>
                <a:gd name="connsiteX180" fmla="*/ 1555750 w 2241550"/>
                <a:gd name="connsiteY180" fmla="*/ 547047 h 2325047"/>
                <a:gd name="connsiteX181" fmla="*/ 1562100 w 2241550"/>
                <a:gd name="connsiteY181" fmla="*/ 515297 h 2325047"/>
                <a:gd name="connsiteX182" fmla="*/ 1593850 w 2241550"/>
                <a:gd name="connsiteY182" fmla="*/ 477197 h 2325047"/>
                <a:gd name="connsiteX183" fmla="*/ 1574800 w 2241550"/>
                <a:gd name="connsiteY183" fmla="*/ 400997 h 2325047"/>
                <a:gd name="connsiteX184" fmla="*/ 1555750 w 2241550"/>
                <a:gd name="connsiteY184" fmla="*/ 362897 h 2325047"/>
                <a:gd name="connsiteX185" fmla="*/ 1536700 w 2241550"/>
                <a:gd name="connsiteY185" fmla="*/ 356547 h 2325047"/>
                <a:gd name="connsiteX186" fmla="*/ 1517650 w 2241550"/>
                <a:gd name="connsiteY186" fmla="*/ 343847 h 2325047"/>
                <a:gd name="connsiteX187" fmla="*/ 1498600 w 2241550"/>
                <a:gd name="connsiteY187" fmla="*/ 337497 h 2325047"/>
                <a:gd name="connsiteX188" fmla="*/ 1485900 w 2241550"/>
                <a:gd name="connsiteY188" fmla="*/ 318447 h 2325047"/>
                <a:gd name="connsiteX189" fmla="*/ 1466850 w 2241550"/>
                <a:gd name="connsiteY189" fmla="*/ 299397 h 2325047"/>
                <a:gd name="connsiteX190" fmla="*/ 1460500 w 2241550"/>
                <a:gd name="connsiteY190" fmla="*/ 273997 h 2325047"/>
                <a:gd name="connsiteX191" fmla="*/ 1454150 w 2241550"/>
                <a:gd name="connsiteY191" fmla="*/ 242247 h 2325047"/>
                <a:gd name="connsiteX192" fmla="*/ 1447800 w 2241550"/>
                <a:gd name="connsiteY192" fmla="*/ 223197 h 2325047"/>
                <a:gd name="connsiteX193" fmla="*/ 1416050 w 2241550"/>
                <a:gd name="connsiteY193" fmla="*/ 185097 h 2325047"/>
                <a:gd name="connsiteX194" fmla="*/ 1384300 w 2241550"/>
                <a:gd name="connsiteY194" fmla="*/ 134297 h 2325047"/>
                <a:gd name="connsiteX195" fmla="*/ 1365250 w 2241550"/>
                <a:gd name="connsiteY195" fmla="*/ 127947 h 2325047"/>
                <a:gd name="connsiteX196" fmla="*/ 1358900 w 2241550"/>
                <a:gd name="connsiteY196" fmla="*/ 108897 h 2325047"/>
                <a:gd name="connsiteX197" fmla="*/ 1339850 w 2241550"/>
                <a:gd name="connsiteY197" fmla="*/ 96197 h 2325047"/>
                <a:gd name="connsiteX198" fmla="*/ 1327150 w 2241550"/>
                <a:gd name="connsiteY198" fmla="*/ 77147 h 2325047"/>
                <a:gd name="connsiteX199" fmla="*/ 1308100 w 2241550"/>
                <a:gd name="connsiteY199" fmla="*/ 83497 h 2325047"/>
                <a:gd name="connsiteX200" fmla="*/ 1301750 w 2241550"/>
                <a:gd name="connsiteY200" fmla="*/ 102547 h 2325047"/>
                <a:gd name="connsiteX201" fmla="*/ 1263650 w 2241550"/>
                <a:gd name="connsiteY201" fmla="*/ 115247 h 2325047"/>
                <a:gd name="connsiteX202" fmla="*/ 1231900 w 2241550"/>
                <a:gd name="connsiteY202" fmla="*/ 108897 h 2325047"/>
                <a:gd name="connsiteX203" fmla="*/ 1168400 w 2241550"/>
                <a:gd name="connsiteY203" fmla="*/ 115247 h 2325047"/>
                <a:gd name="connsiteX204" fmla="*/ 1149350 w 2241550"/>
                <a:gd name="connsiteY204" fmla="*/ 102547 h 2325047"/>
                <a:gd name="connsiteX205" fmla="*/ 1130300 w 2241550"/>
                <a:gd name="connsiteY205" fmla="*/ 96197 h 2325047"/>
                <a:gd name="connsiteX206" fmla="*/ 1098550 w 2241550"/>
                <a:gd name="connsiteY206" fmla="*/ 58097 h 2325047"/>
                <a:gd name="connsiteX207" fmla="*/ 1073150 w 2241550"/>
                <a:gd name="connsiteY207" fmla="*/ 13647 h 2325047"/>
                <a:gd name="connsiteX208" fmla="*/ 1028700 w 2241550"/>
                <a:gd name="connsiteY208" fmla="*/ 45397 h 2325047"/>
                <a:gd name="connsiteX209" fmla="*/ 1016000 w 2241550"/>
                <a:gd name="connsiteY209" fmla="*/ 64447 h 2325047"/>
                <a:gd name="connsiteX210" fmla="*/ 1035050 w 2241550"/>
                <a:gd name="connsiteY210" fmla="*/ 102547 h 2325047"/>
                <a:gd name="connsiteX211" fmla="*/ 1041400 w 2241550"/>
                <a:gd name="connsiteY211" fmla="*/ 121597 h 2325047"/>
                <a:gd name="connsiteX212" fmla="*/ 1035050 w 2241550"/>
                <a:gd name="connsiteY212" fmla="*/ 166047 h 2325047"/>
                <a:gd name="connsiteX213" fmla="*/ 996950 w 2241550"/>
                <a:gd name="connsiteY213" fmla="*/ 191447 h 2325047"/>
                <a:gd name="connsiteX214" fmla="*/ 952500 w 2241550"/>
                <a:gd name="connsiteY214" fmla="*/ 146997 h 2325047"/>
                <a:gd name="connsiteX215" fmla="*/ 901700 w 2241550"/>
                <a:gd name="connsiteY215" fmla="*/ 140647 h 2325047"/>
                <a:gd name="connsiteX216" fmla="*/ 882650 w 2241550"/>
                <a:gd name="connsiteY216" fmla="*/ 127947 h 2325047"/>
                <a:gd name="connsiteX217" fmla="*/ 806450 w 2241550"/>
                <a:gd name="connsiteY217" fmla="*/ 127947 h 2325047"/>
                <a:gd name="connsiteX218" fmla="*/ 793750 w 2241550"/>
                <a:gd name="connsiteY218" fmla="*/ 153347 h 2325047"/>
                <a:gd name="connsiteX219" fmla="*/ 831850 w 2241550"/>
                <a:gd name="connsiteY219" fmla="*/ 178747 h 2325047"/>
                <a:gd name="connsiteX220" fmla="*/ 844550 w 2241550"/>
                <a:gd name="connsiteY220" fmla="*/ 197797 h 2325047"/>
                <a:gd name="connsiteX221" fmla="*/ 806450 w 2241550"/>
                <a:gd name="connsiteY221" fmla="*/ 223197 h 2325047"/>
                <a:gd name="connsiteX222" fmla="*/ 774700 w 2241550"/>
                <a:gd name="connsiteY222" fmla="*/ 254947 h 2325047"/>
                <a:gd name="connsiteX223" fmla="*/ 742950 w 2241550"/>
                <a:gd name="connsiteY223" fmla="*/ 248597 h 2325047"/>
                <a:gd name="connsiteX224" fmla="*/ 723900 w 2241550"/>
                <a:gd name="connsiteY224" fmla="*/ 229547 h 2325047"/>
                <a:gd name="connsiteX225" fmla="*/ 730250 w 2241550"/>
                <a:gd name="connsiteY225" fmla="*/ 210497 h 2325047"/>
                <a:gd name="connsiteX226" fmla="*/ 711200 w 2241550"/>
                <a:gd name="connsiteY226" fmla="*/ 166047 h 2325047"/>
                <a:gd name="connsiteX227" fmla="*/ 692150 w 2241550"/>
                <a:gd name="connsiteY227" fmla="*/ 159697 h 2325047"/>
                <a:gd name="connsiteX228" fmla="*/ 654050 w 2241550"/>
                <a:gd name="connsiteY228" fmla="*/ 127947 h 2325047"/>
                <a:gd name="connsiteX229" fmla="*/ 628650 w 2241550"/>
                <a:gd name="connsiteY229" fmla="*/ 89847 h 2325047"/>
                <a:gd name="connsiteX230" fmla="*/ 590550 w 2241550"/>
                <a:gd name="connsiteY230" fmla="*/ 64447 h 2325047"/>
                <a:gd name="connsiteX231" fmla="*/ 571500 w 2241550"/>
                <a:gd name="connsiteY231" fmla="*/ 51747 h 2325047"/>
                <a:gd name="connsiteX232" fmla="*/ 552450 w 2241550"/>
                <a:gd name="connsiteY232" fmla="*/ 32697 h 2325047"/>
                <a:gd name="connsiteX233" fmla="*/ 520700 w 2241550"/>
                <a:gd name="connsiteY233" fmla="*/ 947 h 2325047"/>
                <a:gd name="connsiteX234" fmla="*/ 501650 w 2241550"/>
                <a:gd name="connsiteY234" fmla="*/ 7297 h 2325047"/>
                <a:gd name="connsiteX235" fmla="*/ 488950 w 2241550"/>
                <a:gd name="connsiteY235" fmla="*/ 26347 h 2325047"/>
                <a:gd name="connsiteX236" fmla="*/ 469900 w 2241550"/>
                <a:gd name="connsiteY236" fmla="*/ 39047 h 2325047"/>
                <a:gd name="connsiteX237" fmla="*/ 463550 w 2241550"/>
                <a:gd name="connsiteY237" fmla="*/ 77147 h 2325047"/>
                <a:gd name="connsiteX238" fmla="*/ 444500 w 2241550"/>
                <a:gd name="connsiteY238" fmla="*/ 89847 h 2325047"/>
                <a:gd name="connsiteX239" fmla="*/ 374650 w 2241550"/>
                <a:gd name="connsiteY239" fmla="*/ 108897 h 2325047"/>
                <a:gd name="connsiteX240" fmla="*/ 355600 w 2241550"/>
                <a:gd name="connsiteY240" fmla="*/ 121597 h 2325047"/>
                <a:gd name="connsiteX241" fmla="*/ 342900 w 2241550"/>
                <a:gd name="connsiteY241" fmla="*/ 159697 h 2325047"/>
                <a:gd name="connsiteX242" fmla="*/ 336550 w 2241550"/>
                <a:gd name="connsiteY242" fmla="*/ 178747 h 2325047"/>
                <a:gd name="connsiteX243" fmla="*/ 317500 w 2241550"/>
                <a:gd name="connsiteY243" fmla="*/ 185097 h 2325047"/>
                <a:gd name="connsiteX244" fmla="*/ 292100 w 2241550"/>
                <a:gd name="connsiteY244" fmla="*/ 216847 h 2325047"/>
                <a:gd name="connsiteX245" fmla="*/ 241300 w 2241550"/>
                <a:gd name="connsiteY245" fmla="*/ 242247 h 2325047"/>
                <a:gd name="connsiteX246" fmla="*/ 234950 w 2241550"/>
                <a:gd name="connsiteY246" fmla="*/ 305747 h 2325047"/>
                <a:gd name="connsiteX247" fmla="*/ 222250 w 2241550"/>
                <a:gd name="connsiteY247" fmla="*/ 324797 h 2325047"/>
                <a:gd name="connsiteX248" fmla="*/ 184150 w 2241550"/>
                <a:gd name="connsiteY248" fmla="*/ 318447 h 2325047"/>
                <a:gd name="connsiteX249" fmla="*/ 139700 w 2241550"/>
                <a:gd name="connsiteY249" fmla="*/ 305747 h 2325047"/>
                <a:gd name="connsiteX250" fmla="*/ 95250 w 2241550"/>
                <a:gd name="connsiteY250" fmla="*/ 299397 h 2325047"/>
                <a:gd name="connsiteX251" fmla="*/ 38100 w 2241550"/>
                <a:gd name="connsiteY251" fmla="*/ 305747 h 2325047"/>
                <a:gd name="connsiteX252" fmla="*/ 19050 w 2241550"/>
                <a:gd name="connsiteY252" fmla="*/ 312097 h 2325047"/>
                <a:gd name="connsiteX253" fmla="*/ 0 w 2241550"/>
                <a:gd name="connsiteY253" fmla="*/ 331147 h 2325047"/>
                <a:gd name="connsiteX254" fmla="*/ 6350 w 2241550"/>
                <a:gd name="connsiteY254" fmla="*/ 356547 h 2325047"/>
                <a:gd name="connsiteX255" fmla="*/ 19050 w 2241550"/>
                <a:gd name="connsiteY255" fmla="*/ 375597 h 2325047"/>
                <a:gd name="connsiteX256" fmla="*/ 6350 w 2241550"/>
                <a:gd name="connsiteY256" fmla="*/ 426397 h 2325047"/>
                <a:gd name="connsiteX257" fmla="*/ 19050 w 2241550"/>
                <a:gd name="connsiteY257" fmla="*/ 489897 h 2325047"/>
                <a:gd name="connsiteX258" fmla="*/ 50800 w 2241550"/>
                <a:gd name="connsiteY258" fmla="*/ 527997 h 2325047"/>
                <a:gd name="connsiteX259" fmla="*/ 63500 w 2241550"/>
                <a:gd name="connsiteY259" fmla="*/ 547047 h 2325047"/>
                <a:gd name="connsiteX260" fmla="*/ 57150 w 2241550"/>
                <a:gd name="connsiteY260" fmla="*/ 623247 h 2325047"/>
                <a:gd name="connsiteX261" fmla="*/ 44450 w 2241550"/>
                <a:gd name="connsiteY261" fmla="*/ 674047 h 232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2241550" h="2325047">
                  <a:moveTo>
                    <a:pt x="44450" y="674047"/>
                  </a:moveTo>
                  <a:cubicBezTo>
                    <a:pt x="55033" y="681455"/>
                    <a:pt x="96861" y="676847"/>
                    <a:pt x="120650" y="667697"/>
                  </a:cubicBezTo>
                  <a:cubicBezTo>
                    <a:pt x="128796" y="664564"/>
                    <a:pt x="121548" y="649112"/>
                    <a:pt x="127000" y="642297"/>
                  </a:cubicBezTo>
                  <a:cubicBezTo>
                    <a:pt x="131181" y="637070"/>
                    <a:pt x="139700" y="638064"/>
                    <a:pt x="146050" y="635947"/>
                  </a:cubicBezTo>
                  <a:cubicBezTo>
                    <a:pt x="154517" y="638064"/>
                    <a:pt x="163347" y="645538"/>
                    <a:pt x="171450" y="642297"/>
                  </a:cubicBezTo>
                  <a:cubicBezTo>
                    <a:pt x="177665" y="639811"/>
                    <a:pt x="178900" y="629849"/>
                    <a:pt x="177800" y="623247"/>
                  </a:cubicBezTo>
                  <a:cubicBezTo>
                    <a:pt x="176545" y="615719"/>
                    <a:pt x="168513" y="611023"/>
                    <a:pt x="165100" y="604197"/>
                  </a:cubicBezTo>
                  <a:cubicBezTo>
                    <a:pt x="146720" y="567438"/>
                    <a:pt x="175812" y="602209"/>
                    <a:pt x="139700" y="566097"/>
                  </a:cubicBezTo>
                  <a:cubicBezTo>
                    <a:pt x="155254" y="555728"/>
                    <a:pt x="163648" y="547047"/>
                    <a:pt x="184150" y="547047"/>
                  </a:cubicBezTo>
                  <a:cubicBezTo>
                    <a:pt x="190843" y="547047"/>
                    <a:pt x="196850" y="551280"/>
                    <a:pt x="203200" y="553397"/>
                  </a:cubicBezTo>
                  <a:cubicBezTo>
                    <a:pt x="209550" y="557630"/>
                    <a:pt x="214618" y="566097"/>
                    <a:pt x="222250" y="566097"/>
                  </a:cubicBezTo>
                  <a:cubicBezTo>
                    <a:pt x="229882" y="566097"/>
                    <a:pt x="234060" y="555810"/>
                    <a:pt x="241300" y="553397"/>
                  </a:cubicBezTo>
                  <a:cubicBezTo>
                    <a:pt x="253514" y="549326"/>
                    <a:pt x="266700" y="549164"/>
                    <a:pt x="279400" y="547047"/>
                  </a:cubicBezTo>
                  <a:cubicBezTo>
                    <a:pt x="283633" y="553397"/>
                    <a:pt x="289687" y="558857"/>
                    <a:pt x="292100" y="566097"/>
                  </a:cubicBezTo>
                  <a:cubicBezTo>
                    <a:pt x="296171" y="578311"/>
                    <a:pt x="287973" y="596713"/>
                    <a:pt x="298450" y="604197"/>
                  </a:cubicBezTo>
                  <a:cubicBezTo>
                    <a:pt x="302487" y="607080"/>
                    <a:pt x="352984" y="593739"/>
                    <a:pt x="361950" y="591497"/>
                  </a:cubicBezTo>
                  <a:cubicBezTo>
                    <a:pt x="368300" y="593614"/>
                    <a:pt x="377109" y="592400"/>
                    <a:pt x="381000" y="597847"/>
                  </a:cubicBezTo>
                  <a:cubicBezTo>
                    <a:pt x="388781" y="608740"/>
                    <a:pt x="389467" y="623247"/>
                    <a:pt x="393700" y="635947"/>
                  </a:cubicBezTo>
                  <a:cubicBezTo>
                    <a:pt x="396113" y="643187"/>
                    <a:pt x="402167" y="648647"/>
                    <a:pt x="406400" y="654997"/>
                  </a:cubicBezTo>
                  <a:cubicBezTo>
                    <a:pt x="408517" y="671930"/>
                    <a:pt x="409945" y="688964"/>
                    <a:pt x="412750" y="705797"/>
                  </a:cubicBezTo>
                  <a:cubicBezTo>
                    <a:pt x="415665" y="723285"/>
                    <a:pt x="418882" y="737329"/>
                    <a:pt x="431800" y="750247"/>
                  </a:cubicBezTo>
                  <a:cubicBezTo>
                    <a:pt x="437196" y="755643"/>
                    <a:pt x="444500" y="758714"/>
                    <a:pt x="450850" y="762947"/>
                  </a:cubicBezTo>
                  <a:cubicBezTo>
                    <a:pt x="494519" y="733834"/>
                    <a:pt x="474470" y="732720"/>
                    <a:pt x="508000" y="743897"/>
                  </a:cubicBezTo>
                  <a:cubicBezTo>
                    <a:pt x="534351" y="849299"/>
                    <a:pt x="511644" y="744526"/>
                    <a:pt x="527050" y="921697"/>
                  </a:cubicBezTo>
                  <a:cubicBezTo>
                    <a:pt x="528727" y="940977"/>
                    <a:pt x="551351" y="967673"/>
                    <a:pt x="558800" y="978847"/>
                  </a:cubicBezTo>
                  <a:cubicBezTo>
                    <a:pt x="595196" y="1033442"/>
                    <a:pt x="551560" y="964367"/>
                    <a:pt x="577850" y="1016947"/>
                  </a:cubicBezTo>
                  <a:cubicBezTo>
                    <a:pt x="609736" y="1080720"/>
                    <a:pt x="569852" y="983469"/>
                    <a:pt x="603250" y="1061397"/>
                  </a:cubicBezTo>
                  <a:cubicBezTo>
                    <a:pt x="610997" y="1079473"/>
                    <a:pt x="607046" y="1084243"/>
                    <a:pt x="622300" y="1099497"/>
                  </a:cubicBezTo>
                  <a:cubicBezTo>
                    <a:pt x="627696" y="1104893"/>
                    <a:pt x="635000" y="1107964"/>
                    <a:pt x="641350" y="1112197"/>
                  </a:cubicBezTo>
                  <a:cubicBezTo>
                    <a:pt x="645583" y="1118547"/>
                    <a:pt x="650637" y="1124421"/>
                    <a:pt x="654050" y="1131247"/>
                  </a:cubicBezTo>
                  <a:cubicBezTo>
                    <a:pt x="664805" y="1152758"/>
                    <a:pt x="664403" y="1188668"/>
                    <a:pt x="666750" y="1207447"/>
                  </a:cubicBezTo>
                  <a:cubicBezTo>
                    <a:pt x="668606" y="1222299"/>
                    <a:pt x="669735" y="1237313"/>
                    <a:pt x="673100" y="1251897"/>
                  </a:cubicBezTo>
                  <a:cubicBezTo>
                    <a:pt x="681101" y="1286569"/>
                    <a:pt x="682429" y="1284940"/>
                    <a:pt x="698500" y="1309047"/>
                  </a:cubicBezTo>
                  <a:cubicBezTo>
                    <a:pt x="692150" y="1313280"/>
                    <a:pt x="686424" y="1318647"/>
                    <a:pt x="679450" y="1321747"/>
                  </a:cubicBezTo>
                  <a:cubicBezTo>
                    <a:pt x="667217" y="1327184"/>
                    <a:pt x="641350" y="1334447"/>
                    <a:pt x="641350" y="1334447"/>
                  </a:cubicBezTo>
                  <a:cubicBezTo>
                    <a:pt x="620429" y="1320500"/>
                    <a:pt x="614911" y="1310548"/>
                    <a:pt x="584200" y="1328097"/>
                  </a:cubicBezTo>
                  <a:cubicBezTo>
                    <a:pt x="578388" y="1331418"/>
                    <a:pt x="579967" y="1340797"/>
                    <a:pt x="577850" y="1347147"/>
                  </a:cubicBezTo>
                  <a:lnTo>
                    <a:pt x="596900" y="1404297"/>
                  </a:lnTo>
                  <a:lnTo>
                    <a:pt x="603250" y="1423347"/>
                  </a:lnTo>
                  <a:cubicBezTo>
                    <a:pt x="599017" y="1429697"/>
                    <a:pt x="596900" y="1438164"/>
                    <a:pt x="590550" y="1442397"/>
                  </a:cubicBezTo>
                  <a:cubicBezTo>
                    <a:pt x="583288" y="1447238"/>
                    <a:pt x="573509" y="1446239"/>
                    <a:pt x="565150" y="1448747"/>
                  </a:cubicBezTo>
                  <a:cubicBezTo>
                    <a:pt x="552328" y="1452594"/>
                    <a:pt x="539750" y="1457214"/>
                    <a:pt x="527050" y="1461447"/>
                  </a:cubicBezTo>
                  <a:lnTo>
                    <a:pt x="508000" y="1467797"/>
                  </a:lnTo>
                  <a:lnTo>
                    <a:pt x="488950" y="1474147"/>
                  </a:lnTo>
                  <a:cubicBezTo>
                    <a:pt x="484717" y="1480497"/>
                    <a:pt x="479663" y="1486371"/>
                    <a:pt x="476250" y="1493197"/>
                  </a:cubicBezTo>
                  <a:cubicBezTo>
                    <a:pt x="469741" y="1506214"/>
                    <a:pt x="465965" y="1531921"/>
                    <a:pt x="463550" y="1543997"/>
                  </a:cubicBezTo>
                  <a:cubicBezTo>
                    <a:pt x="465667" y="1552464"/>
                    <a:pt x="467502" y="1561006"/>
                    <a:pt x="469900" y="1569397"/>
                  </a:cubicBezTo>
                  <a:cubicBezTo>
                    <a:pt x="471739" y="1575833"/>
                    <a:pt x="474489" y="1581989"/>
                    <a:pt x="476250" y="1588447"/>
                  </a:cubicBezTo>
                  <a:cubicBezTo>
                    <a:pt x="480843" y="1605286"/>
                    <a:pt x="483430" y="1622688"/>
                    <a:pt x="488950" y="1639247"/>
                  </a:cubicBezTo>
                  <a:cubicBezTo>
                    <a:pt x="491067" y="1645597"/>
                    <a:pt x="493539" y="1651839"/>
                    <a:pt x="495300" y="1658297"/>
                  </a:cubicBezTo>
                  <a:cubicBezTo>
                    <a:pt x="499893" y="1675136"/>
                    <a:pt x="502480" y="1692538"/>
                    <a:pt x="508000" y="1709097"/>
                  </a:cubicBezTo>
                  <a:cubicBezTo>
                    <a:pt x="510117" y="1715447"/>
                    <a:pt x="511357" y="1722160"/>
                    <a:pt x="514350" y="1728147"/>
                  </a:cubicBezTo>
                  <a:cubicBezTo>
                    <a:pt x="517763" y="1734973"/>
                    <a:pt x="522817" y="1740847"/>
                    <a:pt x="527050" y="1747197"/>
                  </a:cubicBezTo>
                  <a:cubicBezTo>
                    <a:pt x="524933" y="1759897"/>
                    <a:pt x="523493" y="1772728"/>
                    <a:pt x="520700" y="1785297"/>
                  </a:cubicBezTo>
                  <a:cubicBezTo>
                    <a:pt x="519248" y="1791831"/>
                    <a:pt x="516189" y="1797911"/>
                    <a:pt x="514350" y="1804347"/>
                  </a:cubicBezTo>
                  <a:cubicBezTo>
                    <a:pt x="511952" y="1812738"/>
                    <a:pt x="510117" y="1821280"/>
                    <a:pt x="508000" y="1829747"/>
                  </a:cubicBezTo>
                  <a:cubicBezTo>
                    <a:pt x="505883" y="1886897"/>
                    <a:pt x="507341" y="1944292"/>
                    <a:pt x="501650" y="2001197"/>
                  </a:cubicBezTo>
                  <a:cubicBezTo>
                    <a:pt x="500891" y="2008791"/>
                    <a:pt x="492363" y="2013421"/>
                    <a:pt x="488950" y="2020247"/>
                  </a:cubicBezTo>
                  <a:cubicBezTo>
                    <a:pt x="485957" y="2026234"/>
                    <a:pt x="488047" y="2035406"/>
                    <a:pt x="482600" y="2039297"/>
                  </a:cubicBezTo>
                  <a:cubicBezTo>
                    <a:pt x="457923" y="2056923"/>
                    <a:pt x="386247" y="2056851"/>
                    <a:pt x="368300" y="2058347"/>
                  </a:cubicBezTo>
                  <a:cubicBezTo>
                    <a:pt x="361950" y="2060464"/>
                    <a:pt x="355237" y="2061704"/>
                    <a:pt x="349250" y="2064697"/>
                  </a:cubicBezTo>
                  <a:cubicBezTo>
                    <a:pt x="300011" y="2089316"/>
                    <a:pt x="359033" y="2067786"/>
                    <a:pt x="311150" y="2083747"/>
                  </a:cubicBezTo>
                  <a:cubicBezTo>
                    <a:pt x="304800" y="2087980"/>
                    <a:pt x="277283" y="2102797"/>
                    <a:pt x="279400" y="2115497"/>
                  </a:cubicBezTo>
                  <a:cubicBezTo>
                    <a:pt x="280876" y="2124355"/>
                    <a:pt x="290600" y="2130186"/>
                    <a:pt x="298450" y="2134547"/>
                  </a:cubicBezTo>
                  <a:cubicBezTo>
                    <a:pt x="310152" y="2141048"/>
                    <a:pt x="336550" y="2147247"/>
                    <a:pt x="336550" y="2147247"/>
                  </a:cubicBezTo>
                  <a:cubicBezTo>
                    <a:pt x="377767" y="2106030"/>
                    <a:pt x="360470" y="2099230"/>
                    <a:pt x="400050" y="2121847"/>
                  </a:cubicBezTo>
                  <a:cubicBezTo>
                    <a:pt x="406676" y="2125633"/>
                    <a:pt x="412750" y="2130314"/>
                    <a:pt x="419100" y="2134547"/>
                  </a:cubicBezTo>
                  <a:cubicBezTo>
                    <a:pt x="429683" y="2132430"/>
                    <a:pt x="440140" y="2126858"/>
                    <a:pt x="450850" y="2128197"/>
                  </a:cubicBezTo>
                  <a:cubicBezTo>
                    <a:pt x="458423" y="2129144"/>
                    <a:pt x="465855" y="2134425"/>
                    <a:pt x="469900" y="2140897"/>
                  </a:cubicBezTo>
                  <a:cubicBezTo>
                    <a:pt x="477491" y="2153043"/>
                    <a:pt x="493211" y="2221439"/>
                    <a:pt x="495300" y="2229797"/>
                  </a:cubicBezTo>
                  <a:cubicBezTo>
                    <a:pt x="497417" y="2238264"/>
                    <a:pt x="512233" y="2234030"/>
                    <a:pt x="520700" y="2236147"/>
                  </a:cubicBezTo>
                  <a:cubicBezTo>
                    <a:pt x="567079" y="2220687"/>
                    <a:pt x="555553" y="2210460"/>
                    <a:pt x="565150" y="2248847"/>
                  </a:cubicBezTo>
                  <a:cubicBezTo>
                    <a:pt x="563033" y="2257314"/>
                    <a:pt x="562238" y="2266225"/>
                    <a:pt x="558800" y="2274247"/>
                  </a:cubicBezTo>
                  <a:cubicBezTo>
                    <a:pt x="555794" y="2281262"/>
                    <a:pt x="547047" y="2285724"/>
                    <a:pt x="546100" y="2293297"/>
                  </a:cubicBezTo>
                  <a:cubicBezTo>
                    <a:pt x="544761" y="2304007"/>
                    <a:pt x="550333" y="2314464"/>
                    <a:pt x="552450" y="2325047"/>
                  </a:cubicBezTo>
                  <a:cubicBezTo>
                    <a:pt x="576972" y="2320143"/>
                    <a:pt x="589909" y="2323661"/>
                    <a:pt x="603250" y="2299647"/>
                  </a:cubicBezTo>
                  <a:cubicBezTo>
                    <a:pt x="609751" y="2287945"/>
                    <a:pt x="611717" y="2274247"/>
                    <a:pt x="615950" y="2261547"/>
                  </a:cubicBezTo>
                  <a:cubicBezTo>
                    <a:pt x="618067" y="2255197"/>
                    <a:pt x="618587" y="2248066"/>
                    <a:pt x="622300" y="2242497"/>
                  </a:cubicBezTo>
                  <a:cubicBezTo>
                    <a:pt x="626533" y="2236147"/>
                    <a:pt x="630114" y="2229310"/>
                    <a:pt x="635000" y="2223447"/>
                  </a:cubicBezTo>
                  <a:cubicBezTo>
                    <a:pt x="652555" y="2202381"/>
                    <a:pt x="654926" y="2208996"/>
                    <a:pt x="666750" y="2185347"/>
                  </a:cubicBezTo>
                  <a:cubicBezTo>
                    <a:pt x="669743" y="2179360"/>
                    <a:pt x="670983" y="2172647"/>
                    <a:pt x="673100" y="2166297"/>
                  </a:cubicBezTo>
                  <a:cubicBezTo>
                    <a:pt x="675217" y="2147247"/>
                    <a:pt x="667950" y="2124481"/>
                    <a:pt x="679450" y="2109147"/>
                  </a:cubicBezTo>
                  <a:cubicBezTo>
                    <a:pt x="685926" y="2100513"/>
                    <a:pt x="700407" y="2115497"/>
                    <a:pt x="711200" y="2115497"/>
                  </a:cubicBezTo>
                  <a:cubicBezTo>
                    <a:pt x="724075" y="2115497"/>
                    <a:pt x="736600" y="2111264"/>
                    <a:pt x="749300" y="2109147"/>
                  </a:cubicBezTo>
                  <a:cubicBezTo>
                    <a:pt x="757767" y="2111264"/>
                    <a:pt x="766894" y="2111594"/>
                    <a:pt x="774700" y="2115497"/>
                  </a:cubicBezTo>
                  <a:cubicBezTo>
                    <a:pt x="788352" y="2122323"/>
                    <a:pt x="812800" y="2140897"/>
                    <a:pt x="812800" y="2140897"/>
                  </a:cubicBezTo>
                  <a:cubicBezTo>
                    <a:pt x="827617" y="2138780"/>
                    <a:pt x="842574" y="2137482"/>
                    <a:pt x="857250" y="2134547"/>
                  </a:cubicBezTo>
                  <a:cubicBezTo>
                    <a:pt x="863814" y="2133234"/>
                    <a:pt x="869607" y="2128197"/>
                    <a:pt x="876300" y="2128197"/>
                  </a:cubicBezTo>
                  <a:cubicBezTo>
                    <a:pt x="882993" y="2128197"/>
                    <a:pt x="889000" y="2132430"/>
                    <a:pt x="895350" y="2134547"/>
                  </a:cubicBezTo>
                  <a:cubicBezTo>
                    <a:pt x="897467" y="2151480"/>
                    <a:pt x="895868" y="2169309"/>
                    <a:pt x="901700" y="2185347"/>
                  </a:cubicBezTo>
                  <a:cubicBezTo>
                    <a:pt x="904769" y="2193787"/>
                    <a:pt x="915769" y="2196925"/>
                    <a:pt x="920750" y="2204397"/>
                  </a:cubicBezTo>
                  <a:cubicBezTo>
                    <a:pt x="924463" y="2209966"/>
                    <a:pt x="922919" y="2218220"/>
                    <a:pt x="927100" y="2223447"/>
                  </a:cubicBezTo>
                  <a:cubicBezTo>
                    <a:pt x="936052" y="2234638"/>
                    <a:pt x="952651" y="2238314"/>
                    <a:pt x="965200" y="2242497"/>
                  </a:cubicBezTo>
                  <a:cubicBezTo>
                    <a:pt x="984653" y="2239718"/>
                    <a:pt x="1013795" y="2242078"/>
                    <a:pt x="1028700" y="2223447"/>
                  </a:cubicBezTo>
                  <a:cubicBezTo>
                    <a:pt x="1032881" y="2218220"/>
                    <a:pt x="1029063" y="2207390"/>
                    <a:pt x="1035050" y="2204397"/>
                  </a:cubicBezTo>
                  <a:cubicBezTo>
                    <a:pt x="1048437" y="2197704"/>
                    <a:pt x="1064683" y="2200164"/>
                    <a:pt x="1079500" y="2198047"/>
                  </a:cubicBezTo>
                  <a:cubicBezTo>
                    <a:pt x="1134095" y="2161651"/>
                    <a:pt x="1069847" y="2210114"/>
                    <a:pt x="1104900" y="2166297"/>
                  </a:cubicBezTo>
                  <a:cubicBezTo>
                    <a:pt x="1109668" y="2160338"/>
                    <a:pt x="1116976" y="2156697"/>
                    <a:pt x="1123950" y="2153597"/>
                  </a:cubicBezTo>
                  <a:cubicBezTo>
                    <a:pt x="1163430" y="2136050"/>
                    <a:pt x="1178603" y="2139242"/>
                    <a:pt x="1225550" y="2134547"/>
                  </a:cubicBezTo>
                  <a:cubicBezTo>
                    <a:pt x="1223433" y="2123964"/>
                    <a:pt x="1221818" y="2113268"/>
                    <a:pt x="1219200" y="2102797"/>
                  </a:cubicBezTo>
                  <a:cubicBezTo>
                    <a:pt x="1217577" y="2096303"/>
                    <a:pt x="1209857" y="2089734"/>
                    <a:pt x="1212850" y="2083747"/>
                  </a:cubicBezTo>
                  <a:cubicBezTo>
                    <a:pt x="1215843" y="2077760"/>
                    <a:pt x="1225550" y="2079514"/>
                    <a:pt x="1231900" y="2077397"/>
                  </a:cubicBezTo>
                  <a:cubicBezTo>
                    <a:pt x="1282799" y="2084668"/>
                    <a:pt x="1282221" y="2088202"/>
                    <a:pt x="1339850" y="2077397"/>
                  </a:cubicBezTo>
                  <a:cubicBezTo>
                    <a:pt x="1353008" y="2074930"/>
                    <a:pt x="1377950" y="2064697"/>
                    <a:pt x="1377950" y="2064697"/>
                  </a:cubicBezTo>
                  <a:cubicBezTo>
                    <a:pt x="1405803" y="2068179"/>
                    <a:pt x="1466686" y="2079610"/>
                    <a:pt x="1492250" y="2064697"/>
                  </a:cubicBezTo>
                  <a:cubicBezTo>
                    <a:pt x="1503813" y="2057952"/>
                    <a:pt x="1502749" y="2039802"/>
                    <a:pt x="1504950" y="2026597"/>
                  </a:cubicBezTo>
                  <a:cubicBezTo>
                    <a:pt x="1512555" y="1980969"/>
                    <a:pt x="1500587" y="1995639"/>
                    <a:pt x="1530350" y="1975797"/>
                  </a:cubicBezTo>
                  <a:cubicBezTo>
                    <a:pt x="1534583" y="1982147"/>
                    <a:pt x="1537091" y="1990079"/>
                    <a:pt x="1543050" y="1994847"/>
                  </a:cubicBezTo>
                  <a:cubicBezTo>
                    <a:pt x="1548277" y="1999028"/>
                    <a:pt x="1555664" y="1999358"/>
                    <a:pt x="1562100" y="2001197"/>
                  </a:cubicBezTo>
                  <a:cubicBezTo>
                    <a:pt x="1617914" y="2017144"/>
                    <a:pt x="1560875" y="1998672"/>
                    <a:pt x="1606550" y="2013897"/>
                  </a:cubicBezTo>
                  <a:cubicBezTo>
                    <a:pt x="1618004" y="2025351"/>
                    <a:pt x="1626270" y="2039297"/>
                    <a:pt x="1644650" y="2039297"/>
                  </a:cubicBezTo>
                  <a:cubicBezTo>
                    <a:pt x="1653377" y="2039297"/>
                    <a:pt x="1661583" y="2035064"/>
                    <a:pt x="1670050" y="2032947"/>
                  </a:cubicBezTo>
                  <a:cubicBezTo>
                    <a:pt x="1676400" y="2026597"/>
                    <a:pt x="1681628" y="2018878"/>
                    <a:pt x="1689100" y="2013897"/>
                  </a:cubicBezTo>
                  <a:cubicBezTo>
                    <a:pt x="1709502" y="2000296"/>
                    <a:pt x="1739337" y="2011445"/>
                    <a:pt x="1758950" y="2013897"/>
                  </a:cubicBezTo>
                  <a:cubicBezTo>
                    <a:pt x="1765300" y="2018130"/>
                    <a:pt x="1773232" y="2020638"/>
                    <a:pt x="1778000" y="2026597"/>
                  </a:cubicBezTo>
                  <a:cubicBezTo>
                    <a:pt x="1784762" y="2035050"/>
                    <a:pt x="1790288" y="2082924"/>
                    <a:pt x="1790700" y="2083747"/>
                  </a:cubicBezTo>
                  <a:cubicBezTo>
                    <a:pt x="1793838" y="2090023"/>
                    <a:pt x="1832430" y="2107515"/>
                    <a:pt x="1835150" y="2109147"/>
                  </a:cubicBezTo>
                  <a:cubicBezTo>
                    <a:pt x="1889737" y="2141899"/>
                    <a:pt x="1853982" y="2128124"/>
                    <a:pt x="1892300" y="2140897"/>
                  </a:cubicBezTo>
                  <a:cubicBezTo>
                    <a:pt x="1920992" y="2097859"/>
                    <a:pt x="1889460" y="2151310"/>
                    <a:pt x="1911350" y="2071047"/>
                  </a:cubicBezTo>
                  <a:cubicBezTo>
                    <a:pt x="1913358" y="2063684"/>
                    <a:pt x="1920637" y="2058823"/>
                    <a:pt x="1924050" y="2051997"/>
                  </a:cubicBezTo>
                  <a:cubicBezTo>
                    <a:pt x="1927043" y="2046010"/>
                    <a:pt x="1928283" y="2039297"/>
                    <a:pt x="1930400" y="2032947"/>
                  </a:cubicBezTo>
                  <a:cubicBezTo>
                    <a:pt x="1928283" y="2020247"/>
                    <a:pt x="1926843" y="2007416"/>
                    <a:pt x="1924050" y="1994847"/>
                  </a:cubicBezTo>
                  <a:cubicBezTo>
                    <a:pt x="1922598" y="1988313"/>
                    <a:pt x="1922433" y="1980530"/>
                    <a:pt x="1917700" y="1975797"/>
                  </a:cubicBezTo>
                  <a:cubicBezTo>
                    <a:pt x="1912967" y="1971064"/>
                    <a:pt x="1905236" y="1970644"/>
                    <a:pt x="1898650" y="1969447"/>
                  </a:cubicBezTo>
                  <a:cubicBezTo>
                    <a:pt x="1881860" y="1966394"/>
                    <a:pt x="1864783" y="1965214"/>
                    <a:pt x="1847850" y="1963097"/>
                  </a:cubicBezTo>
                  <a:cubicBezTo>
                    <a:pt x="1845733" y="1956747"/>
                    <a:pt x="1840400" y="1950649"/>
                    <a:pt x="1841500" y="1944047"/>
                  </a:cubicBezTo>
                  <a:cubicBezTo>
                    <a:pt x="1842755" y="1936519"/>
                    <a:pt x="1850787" y="1931823"/>
                    <a:pt x="1854200" y="1924997"/>
                  </a:cubicBezTo>
                  <a:cubicBezTo>
                    <a:pt x="1880490" y="1872417"/>
                    <a:pt x="1836854" y="1941492"/>
                    <a:pt x="1873250" y="1886897"/>
                  </a:cubicBezTo>
                  <a:cubicBezTo>
                    <a:pt x="1871133" y="1869964"/>
                    <a:pt x="1869953" y="1852887"/>
                    <a:pt x="1866900" y="1836097"/>
                  </a:cubicBezTo>
                  <a:cubicBezTo>
                    <a:pt x="1865703" y="1829511"/>
                    <a:pt x="1865777" y="1821228"/>
                    <a:pt x="1860550" y="1817047"/>
                  </a:cubicBezTo>
                  <a:cubicBezTo>
                    <a:pt x="1853735" y="1811595"/>
                    <a:pt x="1843541" y="1813095"/>
                    <a:pt x="1835150" y="1810697"/>
                  </a:cubicBezTo>
                  <a:cubicBezTo>
                    <a:pt x="1828714" y="1808858"/>
                    <a:pt x="1822450" y="1806464"/>
                    <a:pt x="1816100" y="1804347"/>
                  </a:cubicBezTo>
                  <a:cubicBezTo>
                    <a:pt x="1811867" y="1797997"/>
                    <a:pt x="1806500" y="1792271"/>
                    <a:pt x="1803400" y="1785297"/>
                  </a:cubicBezTo>
                  <a:cubicBezTo>
                    <a:pt x="1797963" y="1773064"/>
                    <a:pt x="1798126" y="1758336"/>
                    <a:pt x="1790700" y="1747197"/>
                  </a:cubicBezTo>
                  <a:cubicBezTo>
                    <a:pt x="1761587" y="1703528"/>
                    <a:pt x="1770127" y="1723577"/>
                    <a:pt x="1758950" y="1690047"/>
                  </a:cubicBezTo>
                  <a:cubicBezTo>
                    <a:pt x="1761067" y="1681580"/>
                    <a:pt x="1759848" y="1671462"/>
                    <a:pt x="1765300" y="1664647"/>
                  </a:cubicBezTo>
                  <a:cubicBezTo>
                    <a:pt x="1769481" y="1659420"/>
                    <a:pt x="1778499" y="1661548"/>
                    <a:pt x="1784350" y="1658297"/>
                  </a:cubicBezTo>
                  <a:cubicBezTo>
                    <a:pt x="1797693" y="1650884"/>
                    <a:pt x="1809750" y="1641364"/>
                    <a:pt x="1822450" y="1632897"/>
                  </a:cubicBezTo>
                  <a:lnTo>
                    <a:pt x="1841500" y="1620197"/>
                  </a:lnTo>
                  <a:cubicBezTo>
                    <a:pt x="1845733" y="1613847"/>
                    <a:pt x="1849314" y="1607010"/>
                    <a:pt x="1854200" y="1601147"/>
                  </a:cubicBezTo>
                  <a:cubicBezTo>
                    <a:pt x="1864231" y="1589110"/>
                    <a:pt x="1878029" y="1576533"/>
                    <a:pt x="1892300" y="1569397"/>
                  </a:cubicBezTo>
                  <a:cubicBezTo>
                    <a:pt x="1902450" y="1564322"/>
                    <a:pt x="1927255" y="1559410"/>
                    <a:pt x="1936750" y="1556697"/>
                  </a:cubicBezTo>
                  <a:cubicBezTo>
                    <a:pt x="1943186" y="1554858"/>
                    <a:pt x="1949306" y="1551970"/>
                    <a:pt x="1955800" y="1550347"/>
                  </a:cubicBezTo>
                  <a:lnTo>
                    <a:pt x="2006600" y="1537647"/>
                  </a:lnTo>
                  <a:cubicBezTo>
                    <a:pt x="2012950" y="1533414"/>
                    <a:pt x="2020882" y="1530906"/>
                    <a:pt x="2025650" y="1524947"/>
                  </a:cubicBezTo>
                  <a:cubicBezTo>
                    <a:pt x="2032144" y="1516829"/>
                    <a:pt x="2033787" y="1487342"/>
                    <a:pt x="2038350" y="1480497"/>
                  </a:cubicBezTo>
                  <a:cubicBezTo>
                    <a:pt x="2042583" y="1474147"/>
                    <a:pt x="2051050" y="1472030"/>
                    <a:pt x="2057400" y="1467797"/>
                  </a:cubicBezTo>
                  <a:cubicBezTo>
                    <a:pt x="2072149" y="1408799"/>
                    <a:pt x="2054531" y="1482144"/>
                    <a:pt x="2070100" y="1404297"/>
                  </a:cubicBezTo>
                  <a:cubicBezTo>
                    <a:pt x="2071812" y="1395739"/>
                    <a:pt x="2073012" y="1386919"/>
                    <a:pt x="2076450" y="1378897"/>
                  </a:cubicBezTo>
                  <a:cubicBezTo>
                    <a:pt x="2079456" y="1371882"/>
                    <a:pt x="2084917" y="1366197"/>
                    <a:pt x="2089150" y="1359847"/>
                  </a:cubicBezTo>
                  <a:cubicBezTo>
                    <a:pt x="2146852" y="1368090"/>
                    <a:pt x="2119401" y="1361464"/>
                    <a:pt x="2171700" y="1378897"/>
                  </a:cubicBezTo>
                  <a:lnTo>
                    <a:pt x="2190750" y="1385247"/>
                  </a:lnTo>
                  <a:cubicBezTo>
                    <a:pt x="2201617" y="1381625"/>
                    <a:pt x="2221816" y="1376748"/>
                    <a:pt x="2228850" y="1366197"/>
                  </a:cubicBezTo>
                  <a:cubicBezTo>
                    <a:pt x="2233691" y="1358935"/>
                    <a:pt x="2233639" y="1349383"/>
                    <a:pt x="2235200" y="1340797"/>
                  </a:cubicBezTo>
                  <a:cubicBezTo>
                    <a:pt x="2237877" y="1326071"/>
                    <a:pt x="2239433" y="1311164"/>
                    <a:pt x="2241550" y="1296347"/>
                  </a:cubicBezTo>
                  <a:cubicBezTo>
                    <a:pt x="2239433" y="1279414"/>
                    <a:pt x="2238253" y="1262337"/>
                    <a:pt x="2235200" y="1245547"/>
                  </a:cubicBezTo>
                  <a:cubicBezTo>
                    <a:pt x="2234003" y="1238961"/>
                    <a:pt x="2229868" y="1233113"/>
                    <a:pt x="2228850" y="1226497"/>
                  </a:cubicBezTo>
                  <a:cubicBezTo>
                    <a:pt x="2225615" y="1205472"/>
                    <a:pt x="2229227" y="1183178"/>
                    <a:pt x="2222500" y="1162997"/>
                  </a:cubicBezTo>
                  <a:cubicBezTo>
                    <a:pt x="2219423" y="1153765"/>
                    <a:pt x="2191797" y="1146413"/>
                    <a:pt x="2184400" y="1143947"/>
                  </a:cubicBezTo>
                  <a:cubicBezTo>
                    <a:pt x="2162908" y="1129619"/>
                    <a:pt x="2165676" y="1134992"/>
                    <a:pt x="2152650" y="1112197"/>
                  </a:cubicBezTo>
                  <a:cubicBezTo>
                    <a:pt x="2147954" y="1103978"/>
                    <a:pt x="2146643" y="1093490"/>
                    <a:pt x="2139950" y="1086797"/>
                  </a:cubicBezTo>
                  <a:cubicBezTo>
                    <a:pt x="2135217" y="1082064"/>
                    <a:pt x="2127516" y="1081465"/>
                    <a:pt x="2120900" y="1080447"/>
                  </a:cubicBezTo>
                  <a:cubicBezTo>
                    <a:pt x="2099875" y="1077212"/>
                    <a:pt x="2078567" y="1076214"/>
                    <a:pt x="2057400" y="1074097"/>
                  </a:cubicBezTo>
                  <a:cubicBezTo>
                    <a:pt x="2051050" y="1071980"/>
                    <a:pt x="2043577" y="1071928"/>
                    <a:pt x="2038350" y="1067747"/>
                  </a:cubicBezTo>
                  <a:cubicBezTo>
                    <a:pt x="2024628" y="1056769"/>
                    <a:pt x="2016831" y="1022239"/>
                    <a:pt x="2012950" y="1010597"/>
                  </a:cubicBezTo>
                  <a:cubicBezTo>
                    <a:pt x="2007491" y="994221"/>
                    <a:pt x="1972574" y="984438"/>
                    <a:pt x="1955800" y="978847"/>
                  </a:cubicBezTo>
                  <a:cubicBezTo>
                    <a:pt x="1943100" y="970380"/>
                    <a:pt x="1922527" y="967927"/>
                    <a:pt x="1917700" y="953447"/>
                  </a:cubicBezTo>
                  <a:cubicBezTo>
                    <a:pt x="1906411" y="919580"/>
                    <a:pt x="1911614" y="916258"/>
                    <a:pt x="1885950" y="896297"/>
                  </a:cubicBezTo>
                  <a:cubicBezTo>
                    <a:pt x="1873902" y="886926"/>
                    <a:pt x="1860550" y="879364"/>
                    <a:pt x="1847850" y="870897"/>
                  </a:cubicBezTo>
                  <a:lnTo>
                    <a:pt x="1828800" y="858197"/>
                  </a:lnTo>
                  <a:cubicBezTo>
                    <a:pt x="1824567" y="851847"/>
                    <a:pt x="1821496" y="844543"/>
                    <a:pt x="1816100" y="839147"/>
                  </a:cubicBezTo>
                  <a:cubicBezTo>
                    <a:pt x="1796312" y="819359"/>
                    <a:pt x="1765302" y="817981"/>
                    <a:pt x="1739900" y="813747"/>
                  </a:cubicBezTo>
                  <a:cubicBezTo>
                    <a:pt x="1689100" y="779880"/>
                    <a:pt x="1750483" y="824330"/>
                    <a:pt x="1708150" y="781997"/>
                  </a:cubicBezTo>
                  <a:cubicBezTo>
                    <a:pt x="1702754" y="776601"/>
                    <a:pt x="1695450" y="773530"/>
                    <a:pt x="1689100" y="769297"/>
                  </a:cubicBezTo>
                  <a:cubicBezTo>
                    <a:pt x="1676684" y="750673"/>
                    <a:pt x="1675308" y="752229"/>
                    <a:pt x="1670050" y="731197"/>
                  </a:cubicBezTo>
                  <a:cubicBezTo>
                    <a:pt x="1667432" y="720726"/>
                    <a:pt x="1668527" y="709100"/>
                    <a:pt x="1663700" y="699447"/>
                  </a:cubicBezTo>
                  <a:cubicBezTo>
                    <a:pt x="1659684" y="691415"/>
                    <a:pt x="1651000" y="686747"/>
                    <a:pt x="1644650" y="680397"/>
                  </a:cubicBezTo>
                  <a:cubicBezTo>
                    <a:pt x="1628689" y="632514"/>
                    <a:pt x="1650219" y="691536"/>
                    <a:pt x="1625600" y="642297"/>
                  </a:cubicBezTo>
                  <a:cubicBezTo>
                    <a:pt x="1622607" y="636310"/>
                    <a:pt x="1622501" y="629098"/>
                    <a:pt x="1619250" y="623247"/>
                  </a:cubicBezTo>
                  <a:cubicBezTo>
                    <a:pt x="1611837" y="609904"/>
                    <a:pt x="1602317" y="597847"/>
                    <a:pt x="1593850" y="585147"/>
                  </a:cubicBezTo>
                  <a:cubicBezTo>
                    <a:pt x="1583887" y="570203"/>
                    <a:pt x="1555750" y="547047"/>
                    <a:pt x="1555750" y="547047"/>
                  </a:cubicBezTo>
                  <a:cubicBezTo>
                    <a:pt x="1557867" y="536464"/>
                    <a:pt x="1558310" y="525403"/>
                    <a:pt x="1562100" y="515297"/>
                  </a:cubicBezTo>
                  <a:cubicBezTo>
                    <a:pt x="1567404" y="501152"/>
                    <a:pt x="1583967" y="487080"/>
                    <a:pt x="1593850" y="477197"/>
                  </a:cubicBezTo>
                  <a:cubicBezTo>
                    <a:pt x="1585299" y="425892"/>
                    <a:pt x="1591571" y="451311"/>
                    <a:pt x="1574800" y="400997"/>
                  </a:cubicBezTo>
                  <a:cubicBezTo>
                    <a:pt x="1570617" y="388448"/>
                    <a:pt x="1566941" y="371849"/>
                    <a:pt x="1555750" y="362897"/>
                  </a:cubicBezTo>
                  <a:cubicBezTo>
                    <a:pt x="1550523" y="358716"/>
                    <a:pt x="1543050" y="358664"/>
                    <a:pt x="1536700" y="356547"/>
                  </a:cubicBezTo>
                  <a:cubicBezTo>
                    <a:pt x="1530350" y="352314"/>
                    <a:pt x="1524476" y="347260"/>
                    <a:pt x="1517650" y="343847"/>
                  </a:cubicBezTo>
                  <a:cubicBezTo>
                    <a:pt x="1511663" y="340854"/>
                    <a:pt x="1503827" y="341678"/>
                    <a:pt x="1498600" y="337497"/>
                  </a:cubicBezTo>
                  <a:cubicBezTo>
                    <a:pt x="1492641" y="332729"/>
                    <a:pt x="1490786" y="324310"/>
                    <a:pt x="1485900" y="318447"/>
                  </a:cubicBezTo>
                  <a:cubicBezTo>
                    <a:pt x="1480151" y="311548"/>
                    <a:pt x="1473200" y="305747"/>
                    <a:pt x="1466850" y="299397"/>
                  </a:cubicBezTo>
                  <a:cubicBezTo>
                    <a:pt x="1464733" y="290930"/>
                    <a:pt x="1462393" y="282516"/>
                    <a:pt x="1460500" y="273997"/>
                  </a:cubicBezTo>
                  <a:cubicBezTo>
                    <a:pt x="1458159" y="263461"/>
                    <a:pt x="1456768" y="252718"/>
                    <a:pt x="1454150" y="242247"/>
                  </a:cubicBezTo>
                  <a:cubicBezTo>
                    <a:pt x="1452527" y="235753"/>
                    <a:pt x="1451513" y="228766"/>
                    <a:pt x="1447800" y="223197"/>
                  </a:cubicBezTo>
                  <a:cubicBezTo>
                    <a:pt x="1427861" y="193289"/>
                    <a:pt x="1429900" y="216260"/>
                    <a:pt x="1416050" y="185097"/>
                  </a:cubicBezTo>
                  <a:cubicBezTo>
                    <a:pt x="1399503" y="147866"/>
                    <a:pt x="1415306" y="149800"/>
                    <a:pt x="1384300" y="134297"/>
                  </a:cubicBezTo>
                  <a:cubicBezTo>
                    <a:pt x="1378313" y="131304"/>
                    <a:pt x="1371600" y="130064"/>
                    <a:pt x="1365250" y="127947"/>
                  </a:cubicBezTo>
                  <a:cubicBezTo>
                    <a:pt x="1363133" y="121597"/>
                    <a:pt x="1363081" y="114124"/>
                    <a:pt x="1358900" y="108897"/>
                  </a:cubicBezTo>
                  <a:cubicBezTo>
                    <a:pt x="1354132" y="102938"/>
                    <a:pt x="1345246" y="101593"/>
                    <a:pt x="1339850" y="96197"/>
                  </a:cubicBezTo>
                  <a:cubicBezTo>
                    <a:pt x="1334454" y="90801"/>
                    <a:pt x="1331383" y="83497"/>
                    <a:pt x="1327150" y="77147"/>
                  </a:cubicBezTo>
                  <a:cubicBezTo>
                    <a:pt x="1320800" y="79264"/>
                    <a:pt x="1312833" y="78764"/>
                    <a:pt x="1308100" y="83497"/>
                  </a:cubicBezTo>
                  <a:cubicBezTo>
                    <a:pt x="1303367" y="88230"/>
                    <a:pt x="1307197" y="98656"/>
                    <a:pt x="1301750" y="102547"/>
                  </a:cubicBezTo>
                  <a:cubicBezTo>
                    <a:pt x="1290857" y="110328"/>
                    <a:pt x="1263650" y="115247"/>
                    <a:pt x="1263650" y="115247"/>
                  </a:cubicBezTo>
                  <a:cubicBezTo>
                    <a:pt x="1253067" y="113130"/>
                    <a:pt x="1242693" y="108897"/>
                    <a:pt x="1231900" y="108897"/>
                  </a:cubicBezTo>
                  <a:cubicBezTo>
                    <a:pt x="1210628" y="108897"/>
                    <a:pt x="1189610" y="116879"/>
                    <a:pt x="1168400" y="115247"/>
                  </a:cubicBezTo>
                  <a:cubicBezTo>
                    <a:pt x="1160791" y="114662"/>
                    <a:pt x="1156176" y="105960"/>
                    <a:pt x="1149350" y="102547"/>
                  </a:cubicBezTo>
                  <a:cubicBezTo>
                    <a:pt x="1143363" y="99554"/>
                    <a:pt x="1136650" y="98314"/>
                    <a:pt x="1130300" y="96197"/>
                  </a:cubicBezTo>
                  <a:cubicBezTo>
                    <a:pt x="1120417" y="86314"/>
                    <a:pt x="1103854" y="72242"/>
                    <a:pt x="1098550" y="58097"/>
                  </a:cubicBezTo>
                  <a:cubicBezTo>
                    <a:pt x="1081549" y="12760"/>
                    <a:pt x="1107653" y="36649"/>
                    <a:pt x="1073150" y="13647"/>
                  </a:cubicBezTo>
                  <a:cubicBezTo>
                    <a:pt x="1016000" y="32697"/>
                    <a:pt x="1045633" y="11530"/>
                    <a:pt x="1028700" y="45397"/>
                  </a:cubicBezTo>
                  <a:cubicBezTo>
                    <a:pt x="1025287" y="52223"/>
                    <a:pt x="1020233" y="58097"/>
                    <a:pt x="1016000" y="64447"/>
                  </a:cubicBezTo>
                  <a:cubicBezTo>
                    <a:pt x="1031961" y="112330"/>
                    <a:pt x="1010431" y="53308"/>
                    <a:pt x="1035050" y="102547"/>
                  </a:cubicBezTo>
                  <a:cubicBezTo>
                    <a:pt x="1038043" y="108534"/>
                    <a:pt x="1039283" y="115247"/>
                    <a:pt x="1041400" y="121597"/>
                  </a:cubicBezTo>
                  <a:cubicBezTo>
                    <a:pt x="1039283" y="136414"/>
                    <a:pt x="1043085" y="153420"/>
                    <a:pt x="1035050" y="166047"/>
                  </a:cubicBezTo>
                  <a:cubicBezTo>
                    <a:pt x="1026855" y="178924"/>
                    <a:pt x="996950" y="191447"/>
                    <a:pt x="996950" y="191447"/>
                  </a:cubicBezTo>
                  <a:cubicBezTo>
                    <a:pt x="976626" y="160961"/>
                    <a:pt x="982176" y="152393"/>
                    <a:pt x="952500" y="146997"/>
                  </a:cubicBezTo>
                  <a:cubicBezTo>
                    <a:pt x="935710" y="143944"/>
                    <a:pt x="918633" y="142764"/>
                    <a:pt x="901700" y="140647"/>
                  </a:cubicBezTo>
                  <a:cubicBezTo>
                    <a:pt x="895350" y="136414"/>
                    <a:pt x="889476" y="131360"/>
                    <a:pt x="882650" y="127947"/>
                  </a:cubicBezTo>
                  <a:cubicBezTo>
                    <a:pt x="855571" y="114407"/>
                    <a:pt x="841174" y="124089"/>
                    <a:pt x="806450" y="127947"/>
                  </a:cubicBezTo>
                  <a:cubicBezTo>
                    <a:pt x="793750" y="132180"/>
                    <a:pt x="772583" y="132180"/>
                    <a:pt x="793750" y="153347"/>
                  </a:cubicBezTo>
                  <a:cubicBezTo>
                    <a:pt x="804543" y="164140"/>
                    <a:pt x="831850" y="178747"/>
                    <a:pt x="831850" y="178747"/>
                  </a:cubicBezTo>
                  <a:cubicBezTo>
                    <a:pt x="836083" y="185097"/>
                    <a:pt x="844550" y="190165"/>
                    <a:pt x="844550" y="197797"/>
                  </a:cubicBezTo>
                  <a:cubicBezTo>
                    <a:pt x="844550" y="219723"/>
                    <a:pt x="819195" y="220011"/>
                    <a:pt x="806450" y="223197"/>
                  </a:cubicBezTo>
                  <a:cubicBezTo>
                    <a:pt x="799523" y="233588"/>
                    <a:pt x="790094" y="253023"/>
                    <a:pt x="774700" y="254947"/>
                  </a:cubicBezTo>
                  <a:cubicBezTo>
                    <a:pt x="763990" y="256286"/>
                    <a:pt x="753533" y="250714"/>
                    <a:pt x="742950" y="248597"/>
                  </a:cubicBezTo>
                  <a:cubicBezTo>
                    <a:pt x="736600" y="242247"/>
                    <a:pt x="726740" y="238066"/>
                    <a:pt x="723900" y="229547"/>
                  </a:cubicBezTo>
                  <a:cubicBezTo>
                    <a:pt x="721783" y="223197"/>
                    <a:pt x="730250" y="217190"/>
                    <a:pt x="730250" y="210497"/>
                  </a:cubicBezTo>
                  <a:cubicBezTo>
                    <a:pt x="730250" y="198295"/>
                    <a:pt x="721569" y="174343"/>
                    <a:pt x="711200" y="166047"/>
                  </a:cubicBezTo>
                  <a:cubicBezTo>
                    <a:pt x="705973" y="161866"/>
                    <a:pt x="698500" y="161814"/>
                    <a:pt x="692150" y="159697"/>
                  </a:cubicBezTo>
                  <a:cubicBezTo>
                    <a:pt x="675217" y="148408"/>
                    <a:pt x="667213" y="144871"/>
                    <a:pt x="654050" y="127947"/>
                  </a:cubicBezTo>
                  <a:cubicBezTo>
                    <a:pt x="644679" y="115899"/>
                    <a:pt x="641350" y="98314"/>
                    <a:pt x="628650" y="89847"/>
                  </a:cubicBezTo>
                  <a:lnTo>
                    <a:pt x="590550" y="64447"/>
                  </a:lnTo>
                  <a:cubicBezTo>
                    <a:pt x="584200" y="60214"/>
                    <a:pt x="576896" y="57143"/>
                    <a:pt x="571500" y="51747"/>
                  </a:cubicBezTo>
                  <a:lnTo>
                    <a:pt x="552450" y="32697"/>
                  </a:lnTo>
                  <a:cubicBezTo>
                    <a:pt x="545881" y="12989"/>
                    <a:pt x="548163" y="4870"/>
                    <a:pt x="520700" y="947"/>
                  </a:cubicBezTo>
                  <a:cubicBezTo>
                    <a:pt x="514074" y="0"/>
                    <a:pt x="508000" y="5180"/>
                    <a:pt x="501650" y="7297"/>
                  </a:cubicBezTo>
                  <a:cubicBezTo>
                    <a:pt x="497417" y="13647"/>
                    <a:pt x="494346" y="20951"/>
                    <a:pt x="488950" y="26347"/>
                  </a:cubicBezTo>
                  <a:cubicBezTo>
                    <a:pt x="483554" y="31743"/>
                    <a:pt x="473313" y="32221"/>
                    <a:pt x="469900" y="39047"/>
                  </a:cubicBezTo>
                  <a:cubicBezTo>
                    <a:pt x="464142" y="50563"/>
                    <a:pt x="469308" y="65631"/>
                    <a:pt x="463550" y="77147"/>
                  </a:cubicBezTo>
                  <a:cubicBezTo>
                    <a:pt x="460137" y="83973"/>
                    <a:pt x="451474" y="86747"/>
                    <a:pt x="444500" y="89847"/>
                  </a:cubicBezTo>
                  <a:cubicBezTo>
                    <a:pt x="418133" y="101566"/>
                    <a:pt x="401812" y="103465"/>
                    <a:pt x="374650" y="108897"/>
                  </a:cubicBezTo>
                  <a:cubicBezTo>
                    <a:pt x="368300" y="113130"/>
                    <a:pt x="359645" y="115125"/>
                    <a:pt x="355600" y="121597"/>
                  </a:cubicBezTo>
                  <a:cubicBezTo>
                    <a:pt x="348505" y="132949"/>
                    <a:pt x="347133" y="146997"/>
                    <a:pt x="342900" y="159697"/>
                  </a:cubicBezTo>
                  <a:lnTo>
                    <a:pt x="336550" y="178747"/>
                  </a:lnTo>
                  <a:cubicBezTo>
                    <a:pt x="334433" y="185097"/>
                    <a:pt x="323850" y="182980"/>
                    <a:pt x="317500" y="185097"/>
                  </a:cubicBezTo>
                  <a:cubicBezTo>
                    <a:pt x="262905" y="221493"/>
                    <a:pt x="327153" y="173030"/>
                    <a:pt x="292100" y="216847"/>
                  </a:cubicBezTo>
                  <a:cubicBezTo>
                    <a:pt x="283148" y="228037"/>
                    <a:pt x="250888" y="238412"/>
                    <a:pt x="241300" y="242247"/>
                  </a:cubicBezTo>
                  <a:cubicBezTo>
                    <a:pt x="239183" y="263414"/>
                    <a:pt x="239733" y="285020"/>
                    <a:pt x="234950" y="305747"/>
                  </a:cubicBezTo>
                  <a:cubicBezTo>
                    <a:pt x="233234" y="313183"/>
                    <a:pt x="229654" y="322946"/>
                    <a:pt x="222250" y="324797"/>
                  </a:cubicBezTo>
                  <a:cubicBezTo>
                    <a:pt x="209759" y="327920"/>
                    <a:pt x="196850" y="320564"/>
                    <a:pt x="184150" y="318447"/>
                  </a:cubicBezTo>
                  <a:cubicBezTo>
                    <a:pt x="167828" y="313006"/>
                    <a:pt x="157242" y="308936"/>
                    <a:pt x="139700" y="305747"/>
                  </a:cubicBezTo>
                  <a:cubicBezTo>
                    <a:pt x="124974" y="303070"/>
                    <a:pt x="110067" y="301514"/>
                    <a:pt x="95250" y="299397"/>
                  </a:cubicBezTo>
                  <a:cubicBezTo>
                    <a:pt x="76200" y="301514"/>
                    <a:pt x="57006" y="302596"/>
                    <a:pt x="38100" y="305747"/>
                  </a:cubicBezTo>
                  <a:cubicBezTo>
                    <a:pt x="31498" y="306847"/>
                    <a:pt x="24619" y="308384"/>
                    <a:pt x="19050" y="312097"/>
                  </a:cubicBezTo>
                  <a:cubicBezTo>
                    <a:pt x="11578" y="317078"/>
                    <a:pt x="6350" y="324797"/>
                    <a:pt x="0" y="331147"/>
                  </a:cubicBezTo>
                  <a:cubicBezTo>
                    <a:pt x="2117" y="339614"/>
                    <a:pt x="2912" y="348525"/>
                    <a:pt x="6350" y="356547"/>
                  </a:cubicBezTo>
                  <a:cubicBezTo>
                    <a:pt x="9356" y="363562"/>
                    <a:pt x="18103" y="368024"/>
                    <a:pt x="19050" y="375597"/>
                  </a:cubicBezTo>
                  <a:cubicBezTo>
                    <a:pt x="20443" y="386743"/>
                    <a:pt x="10497" y="413957"/>
                    <a:pt x="6350" y="426397"/>
                  </a:cubicBezTo>
                  <a:cubicBezTo>
                    <a:pt x="8690" y="442778"/>
                    <a:pt x="10184" y="472164"/>
                    <a:pt x="19050" y="489897"/>
                  </a:cubicBezTo>
                  <a:cubicBezTo>
                    <a:pt x="30874" y="513546"/>
                    <a:pt x="33245" y="506931"/>
                    <a:pt x="50800" y="527997"/>
                  </a:cubicBezTo>
                  <a:cubicBezTo>
                    <a:pt x="55686" y="533860"/>
                    <a:pt x="59267" y="540697"/>
                    <a:pt x="63500" y="547047"/>
                  </a:cubicBezTo>
                  <a:cubicBezTo>
                    <a:pt x="61383" y="572447"/>
                    <a:pt x="61340" y="598106"/>
                    <a:pt x="57150" y="623247"/>
                  </a:cubicBezTo>
                  <a:cubicBezTo>
                    <a:pt x="42442" y="711495"/>
                    <a:pt x="33867" y="666639"/>
                    <a:pt x="44450" y="674047"/>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defTabSz="685800" eaLnBrk="0" fontAlgn="base" hangingPunct="0">
                <a:spcBef>
                  <a:spcPct val="50000"/>
                </a:spcBef>
                <a:spcAft>
                  <a:spcPct val="0"/>
                </a:spcAft>
                <a:buClrTx/>
              </a:pPr>
              <a:endParaRPr lang="en-US" sz="900" kern="1200">
                <a:latin typeface="Arial" charset="0"/>
                <a:ea typeface="+mn-ea"/>
                <a:cs typeface="+mn-cs"/>
              </a:endParaRPr>
            </a:p>
          </p:txBody>
        </p:sp>
        <p:sp>
          <p:nvSpPr>
            <p:cNvPr id="26" name="Freeform 25"/>
            <p:cNvSpPr/>
            <p:nvPr>
              <p:custDataLst>
                <p:tags r:id="rId16"/>
              </p:custDataLst>
            </p:nvPr>
          </p:nvSpPr>
          <p:spPr bwMode="gray">
            <a:xfrm>
              <a:off x="3230749" y="4654550"/>
              <a:ext cx="1427969" cy="1585166"/>
            </a:xfrm>
            <a:custGeom>
              <a:avLst/>
              <a:gdLst>
                <a:gd name="connsiteX0" fmla="*/ 457200 w 1427969"/>
                <a:gd name="connsiteY0" fmla="*/ 139700 h 1585166"/>
                <a:gd name="connsiteX1" fmla="*/ 488950 w 1427969"/>
                <a:gd name="connsiteY1" fmla="*/ 222250 h 1585166"/>
                <a:gd name="connsiteX2" fmla="*/ 488950 w 1427969"/>
                <a:gd name="connsiteY2" fmla="*/ 222250 h 1585166"/>
                <a:gd name="connsiteX3" fmla="*/ 508000 w 1427969"/>
                <a:gd name="connsiteY3" fmla="*/ 260350 h 1585166"/>
                <a:gd name="connsiteX4" fmla="*/ 495300 w 1427969"/>
                <a:gd name="connsiteY4" fmla="*/ 304800 h 1585166"/>
                <a:gd name="connsiteX5" fmla="*/ 469900 w 1427969"/>
                <a:gd name="connsiteY5" fmla="*/ 342900 h 1585166"/>
                <a:gd name="connsiteX6" fmla="*/ 450850 w 1427969"/>
                <a:gd name="connsiteY6" fmla="*/ 381000 h 1585166"/>
                <a:gd name="connsiteX7" fmla="*/ 431800 w 1427969"/>
                <a:gd name="connsiteY7" fmla="*/ 387350 h 1585166"/>
                <a:gd name="connsiteX8" fmla="*/ 419100 w 1427969"/>
                <a:gd name="connsiteY8" fmla="*/ 438150 h 1585166"/>
                <a:gd name="connsiteX9" fmla="*/ 412750 w 1427969"/>
                <a:gd name="connsiteY9" fmla="*/ 495300 h 1585166"/>
                <a:gd name="connsiteX10" fmla="*/ 400050 w 1427969"/>
                <a:gd name="connsiteY10" fmla="*/ 533400 h 1585166"/>
                <a:gd name="connsiteX11" fmla="*/ 381000 w 1427969"/>
                <a:gd name="connsiteY11" fmla="*/ 552450 h 1585166"/>
                <a:gd name="connsiteX12" fmla="*/ 355600 w 1427969"/>
                <a:gd name="connsiteY12" fmla="*/ 590550 h 1585166"/>
                <a:gd name="connsiteX13" fmla="*/ 330200 w 1427969"/>
                <a:gd name="connsiteY13" fmla="*/ 628650 h 1585166"/>
                <a:gd name="connsiteX14" fmla="*/ 273050 w 1427969"/>
                <a:gd name="connsiteY14" fmla="*/ 692150 h 1585166"/>
                <a:gd name="connsiteX15" fmla="*/ 254000 w 1427969"/>
                <a:gd name="connsiteY15" fmla="*/ 704850 h 1585166"/>
                <a:gd name="connsiteX16" fmla="*/ 234950 w 1427969"/>
                <a:gd name="connsiteY16" fmla="*/ 711200 h 1585166"/>
                <a:gd name="connsiteX17" fmla="*/ 203200 w 1427969"/>
                <a:gd name="connsiteY17" fmla="*/ 749300 h 1585166"/>
                <a:gd name="connsiteX18" fmla="*/ 171450 w 1427969"/>
                <a:gd name="connsiteY18" fmla="*/ 800100 h 1585166"/>
                <a:gd name="connsiteX19" fmla="*/ 152400 w 1427969"/>
                <a:gd name="connsiteY19" fmla="*/ 838200 h 1585166"/>
                <a:gd name="connsiteX20" fmla="*/ 139700 w 1427969"/>
                <a:gd name="connsiteY20" fmla="*/ 889000 h 1585166"/>
                <a:gd name="connsiteX21" fmla="*/ 133350 w 1427969"/>
                <a:gd name="connsiteY21" fmla="*/ 908050 h 1585166"/>
                <a:gd name="connsiteX22" fmla="*/ 127000 w 1427969"/>
                <a:gd name="connsiteY22" fmla="*/ 965200 h 1585166"/>
                <a:gd name="connsiteX23" fmla="*/ 120650 w 1427969"/>
                <a:gd name="connsiteY23" fmla="*/ 1035050 h 1585166"/>
                <a:gd name="connsiteX24" fmla="*/ 101600 w 1427969"/>
                <a:gd name="connsiteY24" fmla="*/ 1041400 h 1585166"/>
                <a:gd name="connsiteX25" fmla="*/ 82550 w 1427969"/>
                <a:gd name="connsiteY25" fmla="*/ 1079500 h 1585166"/>
                <a:gd name="connsiteX26" fmla="*/ 69850 w 1427969"/>
                <a:gd name="connsiteY26" fmla="*/ 1104900 h 1585166"/>
                <a:gd name="connsiteX27" fmla="*/ 57150 w 1427969"/>
                <a:gd name="connsiteY27" fmla="*/ 1149350 h 1585166"/>
                <a:gd name="connsiteX28" fmla="*/ 44450 w 1427969"/>
                <a:gd name="connsiteY28" fmla="*/ 1168400 h 1585166"/>
                <a:gd name="connsiteX29" fmla="*/ 31750 w 1427969"/>
                <a:gd name="connsiteY29" fmla="*/ 1206500 h 1585166"/>
                <a:gd name="connsiteX30" fmla="*/ 38100 w 1427969"/>
                <a:gd name="connsiteY30" fmla="*/ 1225550 h 1585166"/>
                <a:gd name="connsiteX31" fmla="*/ 57150 w 1427969"/>
                <a:gd name="connsiteY31" fmla="*/ 1238250 h 1585166"/>
                <a:gd name="connsiteX32" fmla="*/ 69850 w 1427969"/>
                <a:gd name="connsiteY32" fmla="*/ 1257300 h 1585166"/>
                <a:gd name="connsiteX33" fmla="*/ 57150 w 1427969"/>
                <a:gd name="connsiteY33" fmla="*/ 1308100 h 1585166"/>
                <a:gd name="connsiteX34" fmla="*/ 38100 w 1427969"/>
                <a:gd name="connsiteY34" fmla="*/ 1333500 h 1585166"/>
                <a:gd name="connsiteX35" fmla="*/ 31750 w 1427969"/>
                <a:gd name="connsiteY35" fmla="*/ 1352550 h 1585166"/>
                <a:gd name="connsiteX36" fmla="*/ 19050 w 1427969"/>
                <a:gd name="connsiteY36" fmla="*/ 1371600 h 1585166"/>
                <a:gd name="connsiteX37" fmla="*/ 12700 w 1427969"/>
                <a:gd name="connsiteY37" fmla="*/ 1397000 h 1585166"/>
                <a:gd name="connsiteX38" fmla="*/ 19050 w 1427969"/>
                <a:gd name="connsiteY38" fmla="*/ 1416050 h 1585166"/>
                <a:gd name="connsiteX39" fmla="*/ 0 w 1427969"/>
                <a:gd name="connsiteY39" fmla="*/ 1454150 h 1585166"/>
                <a:gd name="connsiteX40" fmla="*/ 44450 w 1427969"/>
                <a:gd name="connsiteY40" fmla="*/ 1530350 h 1585166"/>
                <a:gd name="connsiteX41" fmla="*/ 82550 w 1427969"/>
                <a:gd name="connsiteY41" fmla="*/ 1555750 h 1585166"/>
                <a:gd name="connsiteX42" fmla="*/ 88900 w 1427969"/>
                <a:gd name="connsiteY42" fmla="*/ 1581150 h 1585166"/>
                <a:gd name="connsiteX43" fmla="*/ 107950 w 1427969"/>
                <a:gd name="connsiteY43" fmla="*/ 1574800 h 1585166"/>
                <a:gd name="connsiteX44" fmla="*/ 152400 w 1427969"/>
                <a:gd name="connsiteY44" fmla="*/ 1549400 h 1585166"/>
                <a:gd name="connsiteX45" fmla="*/ 171450 w 1427969"/>
                <a:gd name="connsiteY45" fmla="*/ 1543050 h 1585166"/>
                <a:gd name="connsiteX46" fmla="*/ 203200 w 1427969"/>
                <a:gd name="connsiteY46" fmla="*/ 1549400 h 1585166"/>
                <a:gd name="connsiteX47" fmla="*/ 222250 w 1427969"/>
                <a:gd name="connsiteY47" fmla="*/ 1562100 h 1585166"/>
                <a:gd name="connsiteX48" fmla="*/ 266700 w 1427969"/>
                <a:gd name="connsiteY48" fmla="*/ 1555750 h 1585166"/>
                <a:gd name="connsiteX49" fmla="*/ 304800 w 1427969"/>
                <a:gd name="connsiteY49" fmla="*/ 1530350 h 1585166"/>
                <a:gd name="connsiteX50" fmla="*/ 342900 w 1427969"/>
                <a:gd name="connsiteY50" fmla="*/ 1517650 h 1585166"/>
                <a:gd name="connsiteX51" fmla="*/ 374650 w 1427969"/>
                <a:gd name="connsiteY51" fmla="*/ 1524000 h 1585166"/>
                <a:gd name="connsiteX52" fmla="*/ 381000 w 1427969"/>
                <a:gd name="connsiteY52" fmla="*/ 1543050 h 1585166"/>
                <a:gd name="connsiteX53" fmla="*/ 419100 w 1427969"/>
                <a:gd name="connsiteY53" fmla="*/ 1568450 h 1585166"/>
                <a:gd name="connsiteX54" fmla="*/ 482600 w 1427969"/>
                <a:gd name="connsiteY54" fmla="*/ 1543050 h 1585166"/>
                <a:gd name="connsiteX55" fmla="*/ 476250 w 1427969"/>
                <a:gd name="connsiteY55" fmla="*/ 1524000 h 1585166"/>
                <a:gd name="connsiteX56" fmla="*/ 501650 w 1427969"/>
                <a:gd name="connsiteY56" fmla="*/ 1517650 h 1585166"/>
                <a:gd name="connsiteX57" fmla="*/ 520700 w 1427969"/>
                <a:gd name="connsiteY57" fmla="*/ 1511300 h 1585166"/>
                <a:gd name="connsiteX58" fmla="*/ 495300 w 1427969"/>
                <a:gd name="connsiteY58" fmla="*/ 1479550 h 1585166"/>
                <a:gd name="connsiteX59" fmla="*/ 431800 w 1427969"/>
                <a:gd name="connsiteY59" fmla="*/ 1479550 h 1585166"/>
                <a:gd name="connsiteX60" fmla="*/ 425450 w 1427969"/>
                <a:gd name="connsiteY60" fmla="*/ 1460500 h 1585166"/>
                <a:gd name="connsiteX61" fmla="*/ 482600 w 1427969"/>
                <a:gd name="connsiteY61" fmla="*/ 1435100 h 1585166"/>
                <a:gd name="connsiteX62" fmla="*/ 501650 w 1427969"/>
                <a:gd name="connsiteY62" fmla="*/ 1428750 h 1585166"/>
                <a:gd name="connsiteX63" fmla="*/ 508000 w 1427969"/>
                <a:gd name="connsiteY63" fmla="*/ 1409700 h 1585166"/>
                <a:gd name="connsiteX64" fmla="*/ 552450 w 1427969"/>
                <a:gd name="connsiteY64" fmla="*/ 1409700 h 1585166"/>
                <a:gd name="connsiteX65" fmla="*/ 571500 w 1427969"/>
                <a:gd name="connsiteY65" fmla="*/ 1435100 h 1585166"/>
                <a:gd name="connsiteX66" fmla="*/ 571500 w 1427969"/>
                <a:gd name="connsiteY66" fmla="*/ 1473200 h 1585166"/>
                <a:gd name="connsiteX67" fmla="*/ 590550 w 1427969"/>
                <a:gd name="connsiteY67" fmla="*/ 1479550 h 1585166"/>
                <a:gd name="connsiteX68" fmla="*/ 666750 w 1427969"/>
                <a:gd name="connsiteY68" fmla="*/ 1492250 h 1585166"/>
                <a:gd name="connsiteX69" fmla="*/ 685800 w 1427969"/>
                <a:gd name="connsiteY69" fmla="*/ 1498600 h 1585166"/>
                <a:gd name="connsiteX70" fmla="*/ 704850 w 1427969"/>
                <a:gd name="connsiteY70" fmla="*/ 1485900 h 1585166"/>
                <a:gd name="connsiteX71" fmla="*/ 730250 w 1427969"/>
                <a:gd name="connsiteY71" fmla="*/ 1479550 h 1585166"/>
                <a:gd name="connsiteX72" fmla="*/ 762000 w 1427969"/>
                <a:gd name="connsiteY72" fmla="*/ 1485900 h 1585166"/>
                <a:gd name="connsiteX73" fmla="*/ 800100 w 1427969"/>
                <a:gd name="connsiteY73" fmla="*/ 1498600 h 1585166"/>
                <a:gd name="connsiteX74" fmla="*/ 806450 w 1427969"/>
                <a:gd name="connsiteY74" fmla="*/ 1479550 h 1585166"/>
                <a:gd name="connsiteX75" fmla="*/ 800100 w 1427969"/>
                <a:gd name="connsiteY75" fmla="*/ 1460500 h 1585166"/>
                <a:gd name="connsiteX76" fmla="*/ 762000 w 1427969"/>
                <a:gd name="connsiteY76" fmla="*/ 1428750 h 1585166"/>
                <a:gd name="connsiteX77" fmla="*/ 742950 w 1427969"/>
                <a:gd name="connsiteY77" fmla="*/ 1390650 h 1585166"/>
                <a:gd name="connsiteX78" fmla="*/ 768350 w 1427969"/>
                <a:gd name="connsiteY78" fmla="*/ 1377950 h 1585166"/>
                <a:gd name="connsiteX79" fmla="*/ 806450 w 1427969"/>
                <a:gd name="connsiteY79" fmla="*/ 1416050 h 1585166"/>
                <a:gd name="connsiteX80" fmla="*/ 819150 w 1427969"/>
                <a:gd name="connsiteY80" fmla="*/ 1454150 h 1585166"/>
                <a:gd name="connsiteX81" fmla="*/ 831850 w 1427969"/>
                <a:gd name="connsiteY81" fmla="*/ 1473200 h 1585166"/>
                <a:gd name="connsiteX82" fmla="*/ 869950 w 1427969"/>
                <a:gd name="connsiteY82" fmla="*/ 1498600 h 1585166"/>
                <a:gd name="connsiteX83" fmla="*/ 914400 w 1427969"/>
                <a:gd name="connsiteY83" fmla="*/ 1485900 h 1585166"/>
                <a:gd name="connsiteX84" fmla="*/ 946150 w 1427969"/>
                <a:gd name="connsiteY84" fmla="*/ 1492250 h 1585166"/>
                <a:gd name="connsiteX85" fmla="*/ 952500 w 1427969"/>
                <a:gd name="connsiteY85" fmla="*/ 1511300 h 1585166"/>
                <a:gd name="connsiteX86" fmla="*/ 958850 w 1427969"/>
                <a:gd name="connsiteY86" fmla="*/ 1543050 h 1585166"/>
                <a:gd name="connsiteX87" fmla="*/ 977900 w 1427969"/>
                <a:gd name="connsiteY87" fmla="*/ 1549400 h 1585166"/>
                <a:gd name="connsiteX88" fmla="*/ 1028700 w 1427969"/>
                <a:gd name="connsiteY88" fmla="*/ 1555750 h 1585166"/>
                <a:gd name="connsiteX89" fmla="*/ 1047750 w 1427969"/>
                <a:gd name="connsiteY89" fmla="*/ 1536700 h 1585166"/>
                <a:gd name="connsiteX90" fmla="*/ 1085850 w 1427969"/>
                <a:gd name="connsiteY90" fmla="*/ 1524000 h 1585166"/>
                <a:gd name="connsiteX91" fmla="*/ 1181100 w 1427969"/>
                <a:gd name="connsiteY91" fmla="*/ 1511300 h 1585166"/>
                <a:gd name="connsiteX92" fmla="*/ 1219200 w 1427969"/>
                <a:gd name="connsiteY92" fmla="*/ 1492250 h 1585166"/>
                <a:gd name="connsiteX93" fmla="*/ 1231900 w 1427969"/>
                <a:gd name="connsiteY93" fmla="*/ 1473200 h 1585166"/>
                <a:gd name="connsiteX94" fmla="*/ 1238250 w 1427969"/>
                <a:gd name="connsiteY94" fmla="*/ 1435100 h 1585166"/>
                <a:gd name="connsiteX95" fmla="*/ 1244600 w 1427969"/>
                <a:gd name="connsiteY95" fmla="*/ 1416050 h 1585166"/>
                <a:gd name="connsiteX96" fmla="*/ 1250950 w 1427969"/>
                <a:gd name="connsiteY96" fmla="*/ 1371600 h 1585166"/>
                <a:gd name="connsiteX97" fmla="*/ 1238250 w 1427969"/>
                <a:gd name="connsiteY97" fmla="*/ 1333500 h 1585166"/>
                <a:gd name="connsiteX98" fmla="*/ 1231900 w 1427969"/>
                <a:gd name="connsiteY98" fmla="*/ 1314450 h 1585166"/>
                <a:gd name="connsiteX99" fmla="*/ 1238250 w 1427969"/>
                <a:gd name="connsiteY99" fmla="*/ 1244600 h 1585166"/>
                <a:gd name="connsiteX100" fmla="*/ 1250950 w 1427969"/>
                <a:gd name="connsiteY100" fmla="*/ 1206500 h 1585166"/>
                <a:gd name="connsiteX101" fmla="*/ 1231900 w 1427969"/>
                <a:gd name="connsiteY101" fmla="*/ 1168400 h 1585166"/>
                <a:gd name="connsiteX102" fmla="*/ 1219200 w 1427969"/>
                <a:gd name="connsiteY102" fmla="*/ 1117600 h 1585166"/>
                <a:gd name="connsiteX103" fmla="*/ 1206500 w 1427969"/>
                <a:gd name="connsiteY103" fmla="*/ 1073150 h 1585166"/>
                <a:gd name="connsiteX104" fmla="*/ 1200150 w 1427969"/>
                <a:gd name="connsiteY104" fmla="*/ 996950 h 1585166"/>
                <a:gd name="connsiteX105" fmla="*/ 1200150 w 1427969"/>
                <a:gd name="connsiteY105" fmla="*/ 946150 h 1585166"/>
                <a:gd name="connsiteX106" fmla="*/ 1219200 w 1427969"/>
                <a:gd name="connsiteY106" fmla="*/ 933450 h 1585166"/>
                <a:gd name="connsiteX107" fmla="*/ 1257300 w 1427969"/>
                <a:gd name="connsiteY107" fmla="*/ 920750 h 1585166"/>
                <a:gd name="connsiteX108" fmla="*/ 1308100 w 1427969"/>
                <a:gd name="connsiteY108" fmla="*/ 908050 h 1585166"/>
                <a:gd name="connsiteX109" fmla="*/ 1327150 w 1427969"/>
                <a:gd name="connsiteY109" fmla="*/ 869950 h 1585166"/>
                <a:gd name="connsiteX110" fmla="*/ 1314450 w 1427969"/>
                <a:gd name="connsiteY110" fmla="*/ 844550 h 1585166"/>
                <a:gd name="connsiteX111" fmla="*/ 1295400 w 1427969"/>
                <a:gd name="connsiteY111" fmla="*/ 806450 h 1585166"/>
                <a:gd name="connsiteX112" fmla="*/ 1301750 w 1427969"/>
                <a:gd name="connsiteY112" fmla="*/ 787400 h 1585166"/>
                <a:gd name="connsiteX113" fmla="*/ 1358900 w 1427969"/>
                <a:gd name="connsiteY113" fmla="*/ 787400 h 1585166"/>
                <a:gd name="connsiteX114" fmla="*/ 1397000 w 1427969"/>
                <a:gd name="connsiteY114" fmla="*/ 800100 h 1585166"/>
                <a:gd name="connsiteX115" fmla="*/ 1422400 w 1427969"/>
                <a:gd name="connsiteY115" fmla="*/ 762000 h 1585166"/>
                <a:gd name="connsiteX116" fmla="*/ 1403350 w 1427969"/>
                <a:gd name="connsiteY116" fmla="*/ 723900 h 1585166"/>
                <a:gd name="connsiteX117" fmla="*/ 1397000 w 1427969"/>
                <a:gd name="connsiteY117" fmla="*/ 704850 h 1585166"/>
                <a:gd name="connsiteX118" fmla="*/ 1384300 w 1427969"/>
                <a:gd name="connsiteY118" fmla="*/ 590550 h 1585166"/>
                <a:gd name="connsiteX119" fmla="*/ 1377950 w 1427969"/>
                <a:gd name="connsiteY119" fmla="*/ 571500 h 1585166"/>
                <a:gd name="connsiteX120" fmla="*/ 1339850 w 1427969"/>
                <a:gd name="connsiteY120" fmla="*/ 546100 h 1585166"/>
                <a:gd name="connsiteX121" fmla="*/ 1301750 w 1427969"/>
                <a:gd name="connsiteY121" fmla="*/ 488950 h 1585166"/>
                <a:gd name="connsiteX122" fmla="*/ 1289050 w 1427969"/>
                <a:gd name="connsiteY122" fmla="*/ 444500 h 1585166"/>
                <a:gd name="connsiteX123" fmla="*/ 1270000 w 1427969"/>
                <a:gd name="connsiteY123" fmla="*/ 406400 h 1585166"/>
                <a:gd name="connsiteX124" fmla="*/ 1250950 w 1427969"/>
                <a:gd name="connsiteY124" fmla="*/ 349250 h 1585166"/>
                <a:gd name="connsiteX125" fmla="*/ 1244600 w 1427969"/>
                <a:gd name="connsiteY125" fmla="*/ 330200 h 1585166"/>
                <a:gd name="connsiteX126" fmla="*/ 1238250 w 1427969"/>
                <a:gd name="connsiteY126" fmla="*/ 215900 h 1585166"/>
                <a:gd name="connsiteX127" fmla="*/ 1219200 w 1427969"/>
                <a:gd name="connsiteY127" fmla="*/ 203200 h 1585166"/>
                <a:gd name="connsiteX128" fmla="*/ 1193800 w 1427969"/>
                <a:gd name="connsiteY128" fmla="*/ 209550 h 1585166"/>
                <a:gd name="connsiteX129" fmla="*/ 1155700 w 1427969"/>
                <a:gd name="connsiteY129" fmla="*/ 209550 h 1585166"/>
                <a:gd name="connsiteX130" fmla="*/ 1149350 w 1427969"/>
                <a:gd name="connsiteY130" fmla="*/ 184150 h 1585166"/>
                <a:gd name="connsiteX131" fmla="*/ 1143000 w 1427969"/>
                <a:gd name="connsiteY131" fmla="*/ 165100 h 1585166"/>
                <a:gd name="connsiteX132" fmla="*/ 1130300 w 1427969"/>
                <a:gd name="connsiteY132" fmla="*/ 120650 h 1585166"/>
                <a:gd name="connsiteX133" fmla="*/ 1117600 w 1427969"/>
                <a:gd name="connsiteY133" fmla="*/ 101600 h 1585166"/>
                <a:gd name="connsiteX134" fmla="*/ 1085850 w 1427969"/>
                <a:gd name="connsiteY134" fmla="*/ 50800 h 1585166"/>
                <a:gd name="connsiteX135" fmla="*/ 1028700 w 1427969"/>
                <a:gd name="connsiteY135" fmla="*/ 57150 h 1585166"/>
                <a:gd name="connsiteX136" fmla="*/ 1016000 w 1427969"/>
                <a:gd name="connsiteY136" fmla="*/ 38100 h 1585166"/>
                <a:gd name="connsiteX137" fmla="*/ 1009650 w 1427969"/>
                <a:gd name="connsiteY137" fmla="*/ 12700 h 1585166"/>
                <a:gd name="connsiteX138" fmla="*/ 990600 w 1427969"/>
                <a:gd name="connsiteY138" fmla="*/ 6350 h 1585166"/>
                <a:gd name="connsiteX139" fmla="*/ 920750 w 1427969"/>
                <a:gd name="connsiteY139" fmla="*/ 0 h 1585166"/>
                <a:gd name="connsiteX140" fmla="*/ 889000 w 1427969"/>
                <a:gd name="connsiteY140" fmla="*/ 6350 h 1585166"/>
                <a:gd name="connsiteX141" fmla="*/ 889000 w 1427969"/>
                <a:gd name="connsiteY141" fmla="*/ 50800 h 1585166"/>
                <a:gd name="connsiteX142" fmla="*/ 908050 w 1427969"/>
                <a:gd name="connsiteY142" fmla="*/ 57150 h 1585166"/>
                <a:gd name="connsiteX143" fmla="*/ 914400 w 1427969"/>
                <a:gd name="connsiteY143" fmla="*/ 76200 h 1585166"/>
                <a:gd name="connsiteX144" fmla="*/ 876300 w 1427969"/>
                <a:gd name="connsiteY144" fmla="*/ 95250 h 1585166"/>
                <a:gd name="connsiteX145" fmla="*/ 857250 w 1427969"/>
                <a:gd name="connsiteY145" fmla="*/ 107950 h 1585166"/>
                <a:gd name="connsiteX146" fmla="*/ 831850 w 1427969"/>
                <a:gd name="connsiteY146" fmla="*/ 139700 h 1585166"/>
                <a:gd name="connsiteX147" fmla="*/ 774700 w 1427969"/>
                <a:gd name="connsiteY147" fmla="*/ 152400 h 1585166"/>
                <a:gd name="connsiteX148" fmla="*/ 781050 w 1427969"/>
                <a:gd name="connsiteY148" fmla="*/ 171450 h 1585166"/>
                <a:gd name="connsiteX149" fmla="*/ 774700 w 1427969"/>
                <a:gd name="connsiteY149" fmla="*/ 196850 h 1585166"/>
                <a:gd name="connsiteX150" fmla="*/ 749300 w 1427969"/>
                <a:gd name="connsiteY150" fmla="*/ 203200 h 1585166"/>
                <a:gd name="connsiteX151" fmla="*/ 711200 w 1427969"/>
                <a:gd name="connsiteY151" fmla="*/ 209550 h 1585166"/>
                <a:gd name="connsiteX152" fmla="*/ 660400 w 1427969"/>
                <a:gd name="connsiteY152" fmla="*/ 203200 h 1585166"/>
                <a:gd name="connsiteX153" fmla="*/ 622300 w 1427969"/>
                <a:gd name="connsiteY153" fmla="*/ 177800 h 1585166"/>
                <a:gd name="connsiteX154" fmla="*/ 603250 w 1427969"/>
                <a:gd name="connsiteY154" fmla="*/ 171450 h 1585166"/>
                <a:gd name="connsiteX155" fmla="*/ 577850 w 1427969"/>
                <a:gd name="connsiteY155" fmla="*/ 114300 h 1585166"/>
                <a:gd name="connsiteX156" fmla="*/ 552450 w 1427969"/>
                <a:gd name="connsiteY156" fmla="*/ 101600 h 1585166"/>
                <a:gd name="connsiteX157" fmla="*/ 539750 w 1427969"/>
                <a:gd name="connsiteY157" fmla="*/ 120650 h 1585166"/>
                <a:gd name="connsiteX158" fmla="*/ 565150 w 1427969"/>
                <a:gd name="connsiteY158" fmla="*/ 158750 h 1585166"/>
                <a:gd name="connsiteX159" fmla="*/ 552450 w 1427969"/>
                <a:gd name="connsiteY159" fmla="*/ 177800 h 1585166"/>
                <a:gd name="connsiteX160" fmla="*/ 514350 w 1427969"/>
                <a:gd name="connsiteY160" fmla="*/ 158750 h 1585166"/>
                <a:gd name="connsiteX161" fmla="*/ 482600 w 1427969"/>
                <a:gd name="connsiteY161" fmla="*/ 152400 h 1585166"/>
                <a:gd name="connsiteX162" fmla="*/ 463550 w 1427969"/>
                <a:gd name="connsiteY162" fmla="*/ 146050 h 1585166"/>
                <a:gd name="connsiteX163" fmla="*/ 457200 w 1427969"/>
                <a:gd name="connsiteY163" fmla="*/ 139700 h 1585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427969" h="1585166">
                  <a:moveTo>
                    <a:pt x="457200" y="139700"/>
                  </a:moveTo>
                  <a:cubicBezTo>
                    <a:pt x="467263" y="190014"/>
                    <a:pt x="458723" y="161797"/>
                    <a:pt x="488950" y="222250"/>
                  </a:cubicBezTo>
                  <a:lnTo>
                    <a:pt x="488950" y="222250"/>
                  </a:lnTo>
                  <a:cubicBezTo>
                    <a:pt x="497713" y="248540"/>
                    <a:pt x="491587" y="235731"/>
                    <a:pt x="508000" y="260350"/>
                  </a:cubicBezTo>
                  <a:cubicBezTo>
                    <a:pt x="506505" y="266329"/>
                    <a:pt x="499441" y="297347"/>
                    <a:pt x="495300" y="304800"/>
                  </a:cubicBezTo>
                  <a:cubicBezTo>
                    <a:pt x="487887" y="318143"/>
                    <a:pt x="478367" y="330200"/>
                    <a:pt x="469900" y="342900"/>
                  </a:cubicBezTo>
                  <a:cubicBezTo>
                    <a:pt x="456753" y="362620"/>
                    <a:pt x="472261" y="363871"/>
                    <a:pt x="450850" y="381000"/>
                  </a:cubicBezTo>
                  <a:cubicBezTo>
                    <a:pt x="445623" y="385181"/>
                    <a:pt x="438150" y="385233"/>
                    <a:pt x="431800" y="387350"/>
                  </a:cubicBezTo>
                  <a:cubicBezTo>
                    <a:pt x="424413" y="409511"/>
                    <a:pt x="422931" y="411331"/>
                    <a:pt x="419100" y="438150"/>
                  </a:cubicBezTo>
                  <a:cubicBezTo>
                    <a:pt x="416389" y="457125"/>
                    <a:pt x="416509" y="476505"/>
                    <a:pt x="412750" y="495300"/>
                  </a:cubicBezTo>
                  <a:cubicBezTo>
                    <a:pt x="410125" y="508427"/>
                    <a:pt x="409516" y="523934"/>
                    <a:pt x="400050" y="533400"/>
                  </a:cubicBezTo>
                  <a:lnTo>
                    <a:pt x="381000" y="552450"/>
                  </a:lnTo>
                  <a:cubicBezTo>
                    <a:pt x="368856" y="588883"/>
                    <a:pt x="383347" y="554875"/>
                    <a:pt x="355600" y="590550"/>
                  </a:cubicBezTo>
                  <a:cubicBezTo>
                    <a:pt x="346229" y="602598"/>
                    <a:pt x="339358" y="616439"/>
                    <a:pt x="330200" y="628650"/>
                  </a:cubicBezTo>
                  <a:cubicBezTo>
                    <a:pt x="300374" y="668418"/>
                    <a:pt x="318634" y="646566"/>
                    <a:pt x="273050" y="692150"/>
                  </a:cubicBezTo>
                  <a:cubicBezTo>
                    <a:pt x="267654" y="697546"/>
                    <a:pt x="260826" y="701437"/>
                    <a:pt x="254000" y="704850"/>
                  </a:cubicBezTo>
                  <a:cubicBezTo>
                    <a:pt x="248013" y="707843"/>
                    <a:pt x="241300" y="709083"/>
                    <a:pt x="234950" y="711200"/>
                  </a:cubicBezTo>
                  <a:cubicBezTo>
                    <a:pt x="222987" y="723163"/>
                    <a:pt x="210273" y="733387"/>
                    <a:pt x="203200" y="749300"/>
                  </a:cubicBezTo>
                  <a:cubicBezTo>
                    <a:pt x="180928" y="799413"/>
                    <a:pt x="205720" y="777253"/>
                    <a:pt x="171450" y="800100"/>
                  </a:cubicBezTo>
                  <a:cubicBezTo>
                    <a:pt x="155489" y="847983"/>
                    <a:pt x="177019" y="788961"/>
                    <a:pt x="152400" y="838200"/>
                  </a:cubicBezTo>
                  <a:cubicBezTo>
                    <a:pt x="145142" y="852715"/>
                    <a:pt x="143323" y="874509"/>
                    <a:pt x="139700" y="889000"/>
                  </a:cubicBezTo>
                  <a:cubicBezTo>
                    <a:pt x="138077" y="895494"/>
                    <a:pt x="135467" y="901700"/>
                    <a:pt x="133350" y="908050"/>
                  </a:cubicBezTo>
                  <a:cubicBezTo>
                    <a:pt x="131233" y="927100"/>
                    <a:pt x="128907" y="946128"/>
                    <a:pt x="127000" y="965200"/>
                  </a:cubicBezTo>
                  <a:cubicBezTo>
                    <a:pt x="124674" y="988463"/>
                    <a:pt x="128043" y="1012870"/>
                    <a:pt x="120650" y="1035050"/>
                  </a:cubicBezTo>
                  <a:cubicBezTo>
                    <a:pt x="118533" y="1041400"/>
                    <a:pt x="107950" y="1039283"/>
                    <a:pt x="101600" y="1041400"/>
                  </a:cubicBezTo>
                  <a:cubicBezTo>
                    <a:pt x="77194" y="1078009"/>
                    <a:pt x="98324" y="1042694"/>
                    <a:pt x="82550" y="1079500"/>
                  </a:cubicBezTo>
                  <a:cubicBezTo>
                    <a:pt x="78821" y="1088201"/>
                    <a:pt x="73174" y="1096037"/>
                    <a:pt x="69850" y="1104900"/>
                  </a:cubicBezTo>
                  <a:cubicBezTo>
                    <a:pt x="63746" y="1121176"/>
                    <a:pt x="64826" y="1133998"/>
                    <a:pt x="57150" y="1149350"/>
                  </a:cubicBezTo>
                  <a:cubicBezTo>
                    <a:pt x="53737" y="1156176"/>
                    <a:pt x="47550" y="1161426"/>
                    <a:pt x="44450" y="1168400"/>
                  </a:cubicBezTo>
                  <a:cubicBezTo>
                    <a:pt x="39013" y="1180633"/>
                    <a:pt x="31750" y="1206500"/>
                    <a:pt x="31750" y="1206500"/>
                  </a:cubicBezTo>
                  <a:cubicBezTo>
                    <a:pt x="33867" y="1212850"/>
                    <a:pt x="33919" y="1220323"/>
                    <a:pt x="38100" y="1225550"/>
                  </a:cubicBezTo>
                  <a:cubicBezTo>
                    <a:pt x="42868" y="1231509"/>
                    <a:pt x="51754" y="1232854"/>
                    <a:pt x="57150" y="1238250"/>
                  </a:cubicBezTo>
                  <a:cubicBezTo>
                    <a:pt x="62546" y="1243646"/>
                    <a:pt x="65617" y="1250950"/>
                    <a:pt x="69850" y="1257300"/>
                  </a:cubicBezTo>
                  <a:cubicBezTo>
                    <a:pt x="68242" y="1265340"/>
                    <a:pt x="63158" y="1297586"/>
                    <a:pt x="57150" y="1308100"/>
                  </a:cubicBezTo>
                  <a:cubicBezTo>
                    <a:pt x="51899" y="1317289"/>
                    <a:pt x="44450" y="1325033"/>
                    <a:pt x="38100" y="1333500"/>
                  </a:cubicBezTo>
                  <a:cubicBezTo>
                    <a:pt x="35983" y="1339850"/>
                    <a:pt x="34743" y="1346563"/>
                    <a:pt x="31750" y="1352550"/>
                  </a:cubicBezTo>
                  <a:cubicBezTo>
                    <a:pt x="28337" y="1359376"/>
                    <a:pt x="22056" y="1364585"/>
                    <a:pt x="19050" y="1371600"/>
                  </a:cubicBezTo>
                  <a:cubicBezTo>
                    <a:pt x="15612" y="1379622"/>
                    <a:pt x="14817" y="1388533"/>
                    <a:pt x="12700" y="1397000"/>
                  </a:cubicBezTo>
                  <a:cubicBezTo>
                    <a:pt x="14817" y="1403350"/>
                    <a:pt x="19050" y="1409357"/>
                    <a:pt x="19050" y="1416050"/>
                  </a:cubicBezTo>
                  <a:cubicBezTo>
                    <a:pt x="19050" y="1429195"/>
                    <a:pt x="6421" y="1444518"/>
                    <a:pt x="0" y="1454150"/>
                  </a:cubicBezTo>
                  <a:cubicBezTo>
                    <a:pt x="7188" y="1497277"/>
                    <a:pt x="196" y="1500847"/>
                    <a:pt x="44450" y="1530350"/>
                  </a:cubicBezTo>
                  <a:lnTo>
                    <a:pt x="82550" y="1555750"/>
                  </a:lnTo>
                  <a:cubicBezTo>
                    <a:pt x="84667" y="1564217"/>
                    <a:pt x="81918" y="1575914"/>
                    <a:pt x="88900" y="1581150"/>
                  </a:cubicBezTo>
                  <a:cubicBezTo>
                    <a:pt x="94255" y="1585166"/>
                    <a:pt x="101798" y="1577437"/>
                    <a:pt x="107950" y="1574800"/>
                  </a:cubicBezTo>
                  <a:cubicBezTo>
                    <a:pt x="185878" y="1541402"/>
                    <a:pt x="88627" y="1581286"/>
                    <a:pt x="152400" y="1549400"/>
                  </a:cubicBezTo>
                  <a:cubicBezTo>
                    <a:pt x="158387" y="1546407"/>
                    <a:pt x="165100" y="1545167"/>
                    <a:pt x="171450" y="1543050"/>
                  </a:cubicBezTo>
                  <a:cubicBezTo>
                    <a:pt x="182033" y="1545167"/>
                    <a:pt x="193094" y="1545610"/>
                    <a:pt x="203200" y="1549400"/>
                  </a:cubicBezTo>
                  <a:cubicBezTo>
                    <a:pt x="210346" y="1552080"/>
                    <a:pt x="214656" y="1561341"/>
                    <a:pt x="222250" y="1562100"/>
                  </a:cubicBezTo>
                  <a:cubicBezTo>
                    <a:pt x="237143" y="1563589"/>
                    <a:pt x="251883" y="1557867"/>
                    <a:pt x="266700" y="1555750"/>
                  </a:cubicBezTo>
                  <a:cubicBezTo>
                    <a:pt x="329723" y="1534742"/>
                    <a:pt x="233451" y="1569988"/>
                    <a:pt x="304800" y="1530350"/>
                  </a:cubicBezTo>
                  <a:cubicBezTo>
                    <a:pt x="316502" y="1523849"/>
                    <a:pt x="342900" y="1517650"/>
                    <a:pt x="342900" y="1517650"/>
                  </a:cubicBezTo>
                  <a:cubicBezTo>
                    <a:pt x="353483" y="1519767"/>
                    <a:pt x="365670" y="1518013"/>
                    <a:pt x="374650" y="1524000"/>
                  </a:cubicBezTo>
                  <a:cubicBezTo>
                    <a:pt x="380219" y="1527713"/>
                    <a:pt x="376267" y="1538317"/>
                    <a:pt x="381000" y="1543050"/>
                  </a:cubicBezTo>
                  <a:cubicBezTo>
                    <a:pt x="391793" y="1553843"/>
                    <a:pt x="419100" y="1568450"/>
                    <a:pt x="419100" y="1568450"/>
                  </a:cubicBezTo>
                  <a:cubicBezTo>
                    <a:pt x="439508" y="1565899"/>
                    <a:pt x="477412" y="1574177"/>
                    <a:pt x="482600" y="1543050"/>
                  </a:cubicBezTo>
                  <a:cubicBezTo>
                    <a:pt x="483700" y="1536448"/>
                    <a:pt x="478367" y="1530350"/>
                    <a:pt x="476250" y="1524000"/>
                  </a:cubicBezTo>
                  <a:cubicBezTo>
                    <a:pt x="484717" y="1521883"/>
                    <a:pt x="493259" y="1520048"/>
                    <a:pt x="501650" y="1517650"/>
                  </a:cubicBezTo>
                  <a:cubicBezTo>
                    <a:pt x="508086" y="1515811"/>
                    <a:pt x="518214" y="1517515"/>
                    <a:pt x="520700" y="1511300"/>
                  </a:cubicBezTo>
                  <a:cubicBezTo>
                    <a:pt x="531019" y="1485504"/>
                    <a:pt x="508600" y="1483983"/>
                    <a:pt x="495300" y="1479550"/>
                  </a:cubicBezTo>
                  <a:cubicBezTo>
                    <a:pt x="473010" y="1485122"/>
                    <a:pt x="455493" y="1493089"/>
                    <a:pt x="431800" y="1479550"/>
                  </a:cubicBezTo>
                  <a:cubicBezTo>
                    <a:pt x="425988" y="1476229"/>
                    <a:pt x="427567" y="1466850"/>
                    <a:pt x="425450" y="1460500"/>
                  </a:cubicBezTo>
                  <a:cubicBezTo>
                    <a:pt x="455639" y="1440374"/>
                    <a:pt x="437260" y="1450213"/>
                    <a:pt x="482600" y="1435100"/>
                  </a:cubicBezTo>
                  <a:lnTo>
                    <a:pt x="501650" y="1428750"/>
                  </a:lnTo>
                  <a:cubicBezTo>
                    <a:pt x="503767" y="1422400"/>
                    <a:pt x="503267" y="1414433"/>
                    <a:pt x="508000" y="1409700"/>
                  </a:cubicBezTo>
                  <a:cubicBezTo>
                    <a:pt x="520754" y="1396946"/>
                    <a:pt x="539561" y="1406478"/>
                    <a:pt x="552450" y="1409700"/>
                  </a:cubicBezTo>
                  <a:cubicBezTo>
                    <a:pt x="558800" y="1418167"/>
                    <a:pt x="568593" y="1424924"/>
                    <a:pt x="571500" y="1435100"/>
                  </a:cubicBezTo>
                  <a:cubicBezTo>
                    <a:pt x="578273" y="1458807"/>
                    <a:pt x="547793" y="1449493"/>
                    <a:pt x="571500" y="1473200"/>
                  </a:cubicBezTo>
                  <a:cubicBezTo>
                    <a:pt x="576233" y="1477933"/>
                    <a:pt x="584114" y="1477711"/>
                    <a:pt x="590550" y="1479550"/>
                  </a:cubicBezTo>
                  <a:cubicBezTo>
                    <a:pt x="623182" y="1488873"/>
                    <a:pt x="625521" y="1487096"/>
                    <a:pt x="666750" y="1492250"/>
                  </a:cubicBezTo>
                  <a:cubicBezTo>
                    <a:pt x="673100" y="1494367"/>
                    <a:pt x="679198" y="1499700"/>
                    <a:pt x="685800" y="1498600"/>
                  </a:cubicBezTo>
                  <a:cubicBezTo>
                    <a:pt x="693328" y="1497345"/>
                    <a:pt x="697835" y="1488906"/>
                    <a:pt x="704850" y="1485900"/>
                  </a:cubicBezTo>
                  <a:cubicBezTo>
                    <a:pt x="712872" y="1482462"/>
                    <a:pt x="721783" y="1481667"/>
                    <a:pt x="730250" y="1479550"/>
                  </a:cubicBezTo>
                  <a:cubicBezTo>
                    <a:pt x="740833" y="1481667"/>
                    <a:pt x="751587" y="1483060"/>
                    <a:pt x="762000" y="1485900"/>
                  </a:cubicBezTo>
                  <a:cubicBezTo>
                    <a:pt x="774915" y="1489422"/>
                    <a:pt x="800100" y="1498600"/>
                    <a:pt x="800100" y="1498600"/>
                  </a:cubicBezTo>
                  <a:cubicBezTo>
                    <a:pt x="802217" y="1492250"/>
                    <a:pt x="806450" y="1486243"/>
                    <a:pt x="806450" y="1479550"/>
                  </a:cubicBezTo>
                  <a:cubicBezTo>
                    <a:pt x="806450" y="1472857"/>
                    <a:pt x="803813" y="1466069"/>
                    <a:pt x="800100" y="1460500"/>
                  </a:cubicBezTo>
                  <a:cubicBezTo>
                    <a:pt x="790321" y="1445832"/>
                    <a:pt x="776057" y="1438121"/>
                    <a:pt x="762000" y="1428750"/>
                  </a:cubicBezTo>
                  <a:cubicBezTo>
                    <a:pt x="760312" y="1426218"/>
                    <a:pt x="738799" y="1397568"/>
                    <a:pt x="742950" y="1390650"/>
                  </a:cubicBezTo>
                  <a:cubicBezTo>
                    <a:pt x="747820" y="1382533"/>
                    <a:pt x="759883" y="1382183"/>
                    <a:pt x="768350" y="1377950"/>
                  </a:cubicBezTo>
                  <a:lnTo>
                    <a:pt x="806450" y="1416050"/>
                  </a:lnTo>
                  <a:cubicBezTo>
                    <a:pt x="815916" y="1425516"/>
                    <a:pt x="811724" y="1443011"/>
                    <a:pt x="819150" y="1454150"/>
                  </a:cubicBezTo>
                  <a:cubicBezTo>
                    <a:pt x="823383" y="1460500"/>
                    <a:pt x="826107" y="1468174"/>
                    <a:pt x="831850" y="1473200"/>
                  </a:cubicBezTo>
                  <a:cubicBezTo>
                    <a:pt x="843337" y="1483251"/>
                    <a:pt x="869950" y="1498600"/>
                    <a:pt x="869950" y="1498600"/>
                  </a:cubicBezTo>
                  <a:cubicBezTo>
                    <a:pt x="878933" y="1495606"/>
                    <a:pt x="906427" y="1485900"/>
                    <a:pt x="914400" y="1485900"/>
                  </a:cubicBezTo>
                  <a:cubicBezTo>
                    <a:pt x="925193" y="1485900"/>
                    <a:pt x="935567" y="1490133"/>
                    <a:pt x="946150" y="1492250"/>
                  </a:cubicBezTo>
                  <a:cubicBezTo>
                    <a:pt x="948267" y="1498600"/>
                    <a:pt x="950877" y="1504806"/>
                    <a:pt x="952500" y="1511300"/>
                  </a:cubicBezTo>
                  <a:cubicBezTo>
                    <a:pt x="955118" y="1521771"/>
                    <a:pt x="952863" y="1534070"/>
                    <a:pt x="958850" y="1543050"/>
                  </a:cubicBezTo>
                  <a:cubicBezTo>
                    <a:pt x="962563" y="1548619"/>
                    <a:pt x="971550" y="1547283"/>
                    <a:pt x="977900" y="1549400"/>
                  </a:cubicBezTo>
                  <a:cubicBezTo>
                    <a:pt x="998797" y="1563331"/>
                    <a:pt x="999555" y="1570322"/>
                    <a:pt x="1028700" y="1555750"/>
                  </a:cubicBezTo>
                  <a:cubicBezTo>
                    <a:pt x="1036732" y="1551734"/>
                    <a:pt x="1039900" y="1541061"/>
                    <a:pt x="1047750" y="1536700"/>
                  </a:cubicBezTo>
                  <a:cubicBezTo>
                    <a:pt x="1059452" y="1530199"/>
                    <a:pt x="1073150" y="1528233"/>
                    <a:pt x="1085850" y="1524000"/>
                  </a:cubicBezTo>
                  <a:cubicBezTo>
                    <a:pt x="1129080" y="1509590"/>
                    <a:pt x="1098230" y="1518206"/>
                    <a:pt x="1181100" y="1511300"/>
                  </a:cubicBezTo>
                  <a:cubicBezTo>
                    <a:pt x="1196594" y="1506135"/>
                    <a:pt x="1206890" y="1504560"/>
                    <a:pt x="1219200" y="1492250"/>
                  </a:cubicBezTo>
                  <a:cubicBezTo>
                    <a:pt x="1224596" y="1486854"/>
                    <a:pt x="1227667" y="1479550"/>
                    <a:pt x="1231900" y="1473200"/>
                  </a:cubicBezTo>
                  <a:cubicBezTo>
                    <a:pt x="1234017" y="1460500"/>
                    <a:pt x="1235457" y="1447669"/>
                    <a:pt x="1238250" y="1435100"/>
                  </a:cubicBezTo>
                  <a:cubicBezTo>
                    <a:pt x="1239702" y="1428566"/>
                    <a:pt x="1243287" y="1422614"/>
                    <a:pt x="1244600" y="1416050"/>
                  </a:cubicBezTo>
                  <a:cubicBezTo>
                    <a:pt x="1247535" y="1401374"/>
                    <a:pt x="1248833" y="1386417"/>
                    <a:pt x="1250950" y="1371600"/>
                  </a:cubicBezTo>
                  <a:lnTo>
                    <a:pt x="1238250" y="1333500"/>
                  </a:lnTo>
                  <a:lnTo>
                    <a:pt x="1231900" y="1314450"/>
                  </a:lnTo>
                  <a:cubicBezTo>
                    <a:pt x="1234017" y="1291167"/>
                    <a:pt x="1234187" y="1267624"/>
                    <a:pt x="1238250" y="1244600"/>
                  </a:cubicBezTo>
                  <a:cubicBezTo>
                    <a:pt x="1240576" y="1231417"/>
                    <a:pt x="1250950" y="1206500"/>
                    <a:pt x="1250950" y="1206500"/>
                  </a:cubicBezTo>
                  <a:cubicBezTo>
                    <a:pt x="1234989" y="1158617"/>
                    <a:pt x="1256519" y="1217639"/>
                    <a:pt x="1231900" y="1168400"/>
                  </a:cubicBezTo>
                  <a:cubicBezTo>
                    <a:pt x="1225092" y="1154783"/>
                    <a:pt x="1222098" y="1130642"/>
                    <a:pt x="1219200" y="1117600"/>
                  </a:cubicBezTo>
                  <a:cubicBezTo>
                    <a:pt x="1213884" y="1093680"/>
                    <a:pt x="1213571" y="1094364"/>
                    <a:pt x="1206500" y="1073150"/>
                  </a:cubicBezTo>
                  <a:cubicBezTo>
                    <a:pt x="1204383" y="1047750"/>
                    <a:pt x="1203519" y="1022214"/>
                    <a:pt x="1200150" y="996950"/>
                  </a:cubicBezTo>
                  <a:cubicBezTo>
                    <a:pt x="1196806" y="971872"/>
                    <a:pt x="1182137" y="977674"/>
                    <a:pt x="1200150" y="946150"/>
                  </a:cubicBezTo>
                  <a:cubicBezTo>
                    <a:pt x="1203936" y="939524"/>
                    <a:pt x="1212226" y="936550"/>
                    <a:pt x="1219200" y="933450"/>
                  </a:cubicBezTo>
                  <a:cubicBezTo>
                    <a:pt x="1231433" y="928013"/>
                    <a:pt x="1244600" y="924983"/>
                    <a:pt x="1257300" y="920750"/>
                  </a:cubicBezTo>
                  <a:cubicBezTo>
                    <a:pt x="1286589" y="910987"/>
                    <a:pt x="1269786" y="915713"/>
                    <a:pt x="1308100" y="908050"/>
                  </a:cubicBezTo>
                  <a:cubicBezTo>
                    <a:pt x="1312758" y="901063"/>
                    <a:pt x="1328696" y="880775"/>
                    <a:pt x="1327150" y="869950"/>
                  </a:cubicBezTo>
                  <a:cubicBezTo>
                    <a:pt x="1325811" y="860579"/>
                    <a:pt x="1318179" y="853251"/>
                    <a:pt x="1314450" y="844550"/>
                  </a:cubicBezTo>
                  <a:cubicBezTo>
                    <a:pt x="1298676" y="807744"/>
                    <a:pt x="1319806" y="843059"/>
                    <a:pt x="1295400" y="806450"/>
                  </a:cubicBezTo>
                  <a:cubicBezTo>
                    <a:pt x="1297517" y="800100"/>
                    <a:pt x="1297017" y="792133"/>
                    <a:pt x="1301750" y="787400"/>
                  </a:cubicBezTo>
                  <a:cubicBezTo>
                    <a:pt x="1315149" y="774001"/>
                    <a:pt x="1348562" y="785677"/>
                    <a:pt x="1358900" y="787400"/>
                  </a:cubicBezTo>
                  <a:cubicBezTo>
                    <a:pt x="1371600" y="791633"/>
                    <a:pt x="1389574" y="811239"/>
                    <a:pt x="1397000" y="800100"/>
                  </a:cubicBezTo>
                  <a:lnTo>
                    <a:pt x="1422400" y="762000"/>
                  </a:lnTo>
                  <a:cubicBezTo>
                    <a:pt x="1406439" y="714117"/>
                    <a:pt x="1427969" y="773139"/>
                    <a:pt x="1403350" y="723900"/>
                  </a:cubicBezTo>
                  <a:cubicBezTo>
                    <a:pt x="1400357" y="717913"/>
                    <a:pt x="1399117" y="711200"/>
                    <a:pt x="1397000" y="704850"/>
                  </a:cubicBezTo>
                  <a:cubicBezTo>
                    <a:pt x="1393164" y="654983"/>
                    <a:pt x="1394755" y="632372"/>
                    <a:pt x="1384300" y="590550"/>
                  </a:cubicBezTo>
                  <a:cubicBezTo>
                    <a:pt x="1382677" y="584056"/>
                    <a:pt x="1382683" y="576233"/>
                    <a:pt x="1377950" y="571500"/>
                  </a:cubicBezTo>
                  <a:cubicBezTo>
                    <a:pt x="1367157" y="560707"/>
                    <a:pt x="1339850" y="546100"/>
                    <a:pt x="1339850" y="546100"/>
                  </a:cubicBezTo>
                  <a:lnTo>
                    <a:pt x="1301750" y="488950"/>
                  </a:lnTo>
                  <a:cubicBezTo>
                    <a:pt x="1297944" y="483241"/>
                    <a:pt x="1290108" y="448205"/>
                    <a:pt x="1289050" y="444500"/>
                  </a:cubicBezTo>
                  <a:cubicBezTo>
                    <a:pt x="1275155" y="395867"/>
                    <a:pt x="1292264" y="456494"/>
                    <a:pt x="1270000" y="406400"/>
                  </a:cubicBezTo>
                  <a:lnTo>
                    <a:pt x="1250950" y="349250"/>
                  </a:lnTo>
                  <a:lnTo>
                    <a:pt x="1244600" y="330200"/>
                  </a:lnTo>
                  <a:cubicBezTo>
                    <a:pt x="1242483" y="292100"/>
                    <a:pt x="1245734" y="253318"/>
                    <a:pt x="1238250" y="215900"/>
                  </a:cubicBezTo>
                  <a:cubicBezTo>
                    <a:pt x="1236753" y="208416"/>
                    <a:pt x="1226755" y="204279"/>
                    <a:pt x="1219200" y="203200"/>
                  </a:cubicBezTo>
                  <a:cubicBezTo>
                    <a:pt x="1210560" y="201966"/>
                    <a:pt x="1202267" y="207433"/>
                    <a:pt x="1193800" y="209550"/>
                  </a:cubicBezTo>
                  <a:cubicBezTo>
                    <a:pt x="1178169" y="219971"/>
                    <a:pt x="1171331" y="232996"/>
                    <a:pt x="1155700" y="209550"/>
                  </a:cubicBezTo>
                  <a:cubicBezTo>
                    <a:pt x="1150859" y="202288"/>
                    <a:pt x="1151748" y="192541"/>
                    <a:pt x="1149350" y="184150"/>
                  </a:cubicBezTo>
                  <a:cubicBezTo>
                    <a:pt x="1147511" y="177714"/>
                    <a:pt x="1144839" y="171536"/>
                    <a:pt x="1143000" y="165100"/>
                  </a:cubicBezTo>
                  <a:cubicBezTo>
                    <a:pt x="1140287" y="155605"/>
                    <a:pt x="1135375" y="130800"/>
                    <a:pt x="1130300" y="120650"/>
                  </a:cubicBezTo>
                  <a:cubicBezTo>
                    <a:pt x="1126887" y="113824"/>
                    <a:pt x="1120700" y="108574"/>
                    <a:pt x="1117600" y="101600"/>
                  </a:cubicBezTo>
                  <a:cubicBezTo>
                    <a:pt x="1095328" y="51487"/>
                    <a:pt x="1120120" y="73647"/>
                    <a:pt x="1085850" y="50800"/>
                  </a:cubicBezTo>
                  <a:cubicBezTo>
                    <a:pt x="1041400" y="65617"/>
                    <a:pt x="1060450" y="67733"/>
                    <a:pt x="1028700" y="57150"/>
                  </a:cubicBezTo>
                  <a:cubicBezTo>
                    <a:pt x="1024467" y="50800"/>
                    <a:pt x="1019006" y="45115"/>
                    <a:pt x="1016000" y="38100"/>
                  </a:cubicBezTo>
                  <a:cubicBezTo>
                    <a:pt x="1012562" y="30078"/>
                    <a:pt x="1015102" y="19515"/>
                    <a:pt x="1009650" y="12700"/>
                  </a:cubicBezTo>
                  <a:cubicBezTo>
                    <a:pt x="1005469" y="7473"/>
                    <a:pt x="997226" y="7297"/>
                    <a:pt x="990600" y="6350"/>
                  </a:cubicBezTo>
                  <a:cubicBezTo>
                    <a:pt x="967456" y="3044"/>
                    <a:pt x="944033" y="2117"/>
                    <a:pt x="920750" y="0"/>
                  </a:cubicBezTo>
                  <a:cubicBezTo>
                    <a:pt x="910167" y="2117"/>
                    <a:pt x="897980" y="363"/>
                    <a:pt x="889000" y="6350"/>
                  </a:cubicBezTo>
                  <a:cubicBezTo>
                    <a:pt x="877574" y="13967"/>
                    <a:pt x="884046" y="44608"/>
                    <a:pt x="889000" y="50800"/>
                  </a:cubicBezTo>
                  <a:cubicBezTo>
                    <a:pt x="893181" y="56027"/>
                    <a:pt x="901700" y="55033"/>
                    <a:pt x="908050" y="57150"/>
                  </a:cubicBezTo>
                  <a:cubicBezTo>
                    <a:pt x="910167" y="63500"/>
                    <a:pt x="916886" y="69985"/>
                    <a:pt x="914400" y="76200"/>
                  </a:cubicBezTo>
                  <a:cubicBezTo>
                    <a:pt x="910612" y="85669"/>
                    <a:pt x="884319" y="92577"/>
                    <a:pt x="876300" y="95250"/>
                  </a:cubicBezTo>
                  <a:cubicBezTo>
                    <a:pt x="869950" y="99483"/>
                    <a:pt x="862018" y="101991"/>
                    <a:pt x="857250" y="107950"/>
                  </a:cubicBezTo>
                  <a:cubicBezTo>
                    <a:pt x="839608" y="130002"/>
                    <a:pt x="866592" y="128119"/>
                    <a:pt x="831850" y="139700"/>
                  </a:cubicBezTo>
                  <a:cubicBezTo>
                    <a:pt x="813337" y="145871"/>
                    <a:pt x="793750" y="148167"/>
                    <a:pt x="774700" y="152400"/>
                  </a:cubicBezTo>
                  <a:cubicBezTo>
                    <a:pt x="776817" y="158750"/>
                    <a:pt x="781050" y="164757"/>
                    <a:pt x="781050" y="171450"/>
                  </a:cubicBezTo>
                  <a:cubicBezTo>
                    <a:pt x="781050" y="180177"/>
                    <a:pt x="780871" y="190679"/>
                    <a:pt x="774700" y="196850"/>
                  </a:cubicBezTo>
                  <a:cubicBezTo>
                    <a:pt x="768529" y="203021"/>
                    <a:pt x="757858" y="201488"/>
                    <a:pt x="749300" y="203200"/>
                  </a:cubicBezTo>
                  <a:cubicBezTo>
                    <a:pt x="736675" y="205725"/>
                    <a:pt x="723900" y="207433"/>
                    <a:pt x="711200" y="209550"/>
                  </a:cubicBezTo>
                  <a:cubicBezTo>
                    <a:pt x="694267" y="207433"/>
                    <a:pt x="676471" y="208940"/>
                    <a:pt x="660400" y="203200"/>
                  </a:cubicBezTo>
                  <a:cubicBezTo>
                    <a:pt x="646026" y="198066"/>
                    <a:pt x="636780" y="182627"/>
                    <a:pt x="622300" y="177800"/>
                  </a:cubicBezTo>
                  <a:lnTo>
                    <a:pt x="603250" y="171450"/>
                  </a:lnTo>
                  <a:cubicBezTo>
                    <a:pt x="583124" y="141261"/>
                    <a:pt x="592963" y="159640"/>
                    <a:pt x="577850" y="114300"/>
                  </a:cubicBezTo>
                  <a:cubicBezTo>
                    <a:pt x="574857" y="105320"/>
                    <a:pt x="560917" y="105833"/>
                    <a:pt x="552450" y="101600"/>
                  </a:cubicBezTo>
                  <a:cubicBezTo>
                    <a:pt x="548217" y="107950"/>
                    <a:pt x="541005" y="113122"/>
                    <a:pt x="539750" y="120650"/>
                  </a:cubicBezTo>
                  <a:cubicBezTo>
                    <a:pt x="537124" y="136404"/>
                    <a:pt x="557219" y="150819"/>
                    <a:pt x="565150" y="158750"/>
                  </a:cubicBezTo>
                  <a:cubicBezTo>
                    <a:pt x="560917" y="165100"/>
                    <a:pt x="559536" y="174966"/>
                    <a:pt x="552450" y="177800"/>
                  </a:cubicBezTo>
                  <a:cubicBezTo>
                    <a:pt x="542910" y="181616"/>
                    <a:pt x="519871" y="160820"/>
                    <a:pt x="514350" y="158750"/>
                  </a:cubicBezTo>
                  <a:cubicBezTo>
                    <a:pt x="504244" y="154960"/>
                    <a:pt x="493071" y="155018"/>
                    <a:pt x="482600" y="152400"/>
                  </a:cubicBezTo>
                  <a:cubicBezTo>
                    <a:pt x="476106" y="150777"/>
                    <a:pt x="469900" y="148167"/>
                    <a:pt x="463550" y="146050"/>
                  </a:cubicBezTo>
                  <a:cubicBezTo>
                    <a:pt x="455703" y="169590"/>
                    <a:pt x="454207" y="159113"/>
                    <a:pt x="457200" y="139700"/>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defTabSz="685800" eaLnBrk="0" fontAlgn="base" hangingPunct="0">
                <a:spcBef>
                  <a:spcPct val="50000"/>
                </a:spcBef>
                <a:spcAft>
                  <a:spcPct val="0"/>
                </a:spcAft>
                <a:buClrTx/>
              </a:pPr>
              <a:endParaRPr lang="en-US" sz="900" kern="1200">
                <a:latin typeface="Arial" charset="0"/>
                <a:ea typeface="+mn-ea"/>
                <a:cs typeface="+mn-cs"/>
              </a:endParaRPr>
            </a:p>
          </p:txBody>
        </p:sp>
        <p:sp>
          <p:nvSpPr>
            <p:cNvPr id="27" name="Freeform 26"/>
            <p:cNvSpPr/>
            <p:nvPr>
              <p:custDataLst>
                <p:tags r:id="rId17"/>
              </p:custDataLst>
            </p:nvPr>
          </p:nvSpPr>
          <p:spPr bwMode="gray">
            <a:xfrm>
              <a:off x="2665599" y="3854450"/>
              <a:ext cx="1066800" cy="1365250"/>
            </a:xfrm>
            <a:custGeom>
              <a:avLst/>
              <a:gdLst>
                <a:gd name="connsiteX0" fmla="*/ 114300 w 1066800"/>
                <a:gd name="connsiteY0" fmla="*/ 355600 h 1365250"/>
                <a:gd name="connsiteX1" fmla="*/ 133350 w 1066800"/>
                <a:gd name="connsiteY1" fmla="*/ 374650 h 1365250"/>
                <a:gd name="connsiteX2" fmla="*/ 152400 w 1066800"/>
                <a:gd name="connsiteY2" fmla="*/ 387350 h 1365250"/>
                <a:gd name="connsiteX3" fmla="*/ 158750 w 1066800"/>
                <a:gd name="connsiteY3" fmla="*/ 406400 h 1365250"/>
                <a:gd name="connsiteX4" fmla="*/ 139700 w 1066800"/>
                <a:gd name="connsiteY4" fmla="*/ 412750 h 1365250"/>
                <a:gd name="connsiteX5" fmla="*/ 95250 w 1066800"/>
                <a:gd name="connsiteY5" fmla="*/ 393700 h 1365250"/>
                <a:gd name="connsiteX6" fmla="*/ 76200 w 1066800"/>
                <a:gd name="connsiteY6" fmla="*/ 412750 h 1365250"/>
                <a:gd name="connsiteX7" fmla="*/ 50800 w 1066800"/>
                <a:gd name="connsiteY7" fmla="*/ 450850 h 1365250"/>
                <a:gd name="connsiteX8" fmla="*/ 31750 w 1066800"/>
                <a:gd name="connsiteY8" fmla="*/ 463550 h 1365250"/>
                <a:gd name="connsiteX9" fmla="*/ 6350 w 1066800"/>
                <a:gd name="connsiteY9" fmla="*/ 457200 h 1365250"/>
                <a:gd name="connsiteX10" fmla="*/ 0 w 1066800"/>
                <a:gd name="connsiteY10" fmla="*/ 476250 h 1365250"/>
                <a:gd name="connsiteX11" fmla="*/ 6350 w 1066800"/>
                <a:gd name="connsiteY11" fmla="*/ 514350 h 1365250"/>
                <a:gd name="connsiteX12" fmla="*/ 12700 w 1066800"/>
                <a:gd name="connsiteY12" fmla="*/ 558800 h 1365250"/>
                <a:gd name="connsiteX13" fmla="*/ 19050 w 1066800"/>
                <a:gd name="connsiteY13" fmla="*/ 647700 h 1365250"/>
                <a:gd name="connsiteX14" fmla="*/ 25400 w 1066800"/>
                <a:gd name="connsiteY14" fmla="*/ 666750 h 1365250"/>
                <a:gd name="connsiteX15" fmla="*/ 44450 w 1066800"/>
                <a:gd name="connsiteY15" fmla="*/ 679450 h 1365250"/>
                <a:gd name="connsiteX16" fmla="*/ 57150 w 1066800"/>
                <a:gd name="connsiteY16" fmla="*/ 698500 h 1365250"/>
                <a:gd name="connsiteX17" fmla="*/ 88900 w 1066800"/>
                <a:gd name="connsiteY17" fmla="*/ 742950 h 1365250"/>
                <a:gd name="connsiteX18" fmla="*/ 127000 w 1066800"/>
                <a:gd name="connsiteY18" fmla="*/ 768350 h 1365250"/>
                <a:gd name="connsiteX19" fmla="*/ 146050 w 1066800"/>
                <a:gd name="connsiteY19" fmla="*/ 762000 h 1365250"/>
                <a:gd name="connsiteX20" fmla="*/ 177800 w 1066800"/>
                <a:gd name="connsiteY20" fmla="*/ 787400 h 1365250"/>
                <a:gd name="connsiteX21" fmla="*/ 158750 w 1066800"/>
                <a:gd name="connsiteY21" fmla="*/ 850900 h 1365250"/>
                <a:gd name="connsiteX22" fmla="*/ 146050 w 1066800"/>
                <a:gd name="connsiteY22" fmla="*/ 869950 h 1365250"/>
                <a:gd name="connsiteX23" fmla="*/ 127000 w 1066800"/>
                <a:gd name="connsiteY23" fmla="*/ 889000 h 1365250"/>
                <a:gd name="connsiteX24" fmla="*/ 107950 w 1066800"/>
                <a:gd name="connsiteY24" fmla="*/ 895350 h 1365250"/>
                <a:gd name="connsiteX25" fmla="*/ 82550 w 1066800"/>
                <a:gd name="connsiteY25" fmla="*/ 933450 h 1365250"/>
                <a:gd name="connsiteX26" fmla="*/ 88900 w 1066800"/>
                <a:gd name="connsiteY26" fmla="*/ 952500 h 1365250"/>
                <a:gd name="connsiteX27" fmla="*/ 184150 w 1066800"/>
                <a:gd name="connsiteY27" fmla="*/ 958850 h 1365250"/>
                <a:gd name="connsiteX28" fmla="*/ 254000 w 1066800"/>
                <a:gd name="connsiteY28" fmla="*/ 952500 h 1365250"/>
                <a:gd name="connsiteX29" fmla="*/ 266700 w 1066800"/>
                <a:gd name="connsiteY29" fmla="*/ 933450 h 1365250"/>
                <a:gd name="connsiteX30" fmla="*/ 285750 w 1066800"/>
                <a:gd name="connsiteY30" fmla="*/ 914400 h 1365250"/>
                <a:gd name="connsiteX31" fmla="*/ 304800 w 1066800"/>
                <a:gd name="connsiteY31" fmla="*/ 901700 h 1365250"/>
                <a:gd name="connsiteX32" fmla="*/ 336550 w 1066800"/>
                <a:gd name="connsiteY32" fmla="*/ 895350 h 1365250"/>
                <a:gd name="connsiteX33" fmla="*/ 355600 w 1066800"/>
                <a:gd name="connsiteY33" fmla="*/ 889000 h 1365250"/>
                <a:gd name="connsiteX34" fmla="*/ 406400 w 1066800"/>
                <a:gd name="connsiteY34" fmla="*/ 895350 h 1365250"/>
                <a:gd name="connsiteX35" fmla="*/ 419100 w 1066800"/>
                <a:gd name="connsiteY35" fmla="*/ 914400 h 1365250"/>
                <a:gd name="connsiteX36" fmla="*/ 488950 w 1066800"/>
                <a:gd name="connsiteY36" fmla="*/ 939800 h 1365250"/>
                <a:gd name="connsiteX37" fmla="*/ 501650 w 1066800"/>
                <a:gd name="connsiteY37" fmla="*/ 965200 h 1365250"/>
                <a:gd name="connsiteX38" fmla="*/ 495300 w 1066800"/>
                <a:gd name="connsiteY38" fmla="*/ 990600 h 1365250"/>
                <a:gd name="connsiteX39" fmla="*/ 501650 w 1066800"/>
                <a:gd name="connsiteY39" fmla="*/ 1047750 h 1365250"/>
                <a:gd name="connsiteX40" fmla="*/ 520700 w 1066800"/>
                <a:gd name="connsiteY40" fmla="*/ 1085850 h 1365250"/>
                <a:gd name="connsiteX41" fmla="*/ 539750 w 1066800"/>
                <a:gd name="connsiteY41" fmla="*/ 1104900 h 1365250"/>
                <a:gd name="connsiteX42" fmla="*/ 552450 w 1066800"/>
                <a:gd name="connsiteY42" fmla="*/ 1123950 h 1365250"/>
                <a:gd name="connsiteX43" fmla="*/ 533400 w 1066800"/>
                <a:gd name="connsiteY43" fmla="*/ 1225550 h 1365250"/>
                <a:gd name="connsiteX44" fmla="*/ 552450 w 1066800"/>
                <a:gd name="connsiteY44" fmla="*/ 1231900 h 1365250"/>
                <a:gd name="connsiteX45" fmla="*/ 590550 w 1066800"/>
                <a:gd name="connsiteY45" fmla="*/ 1231900 h 1365250"/>
                <a:gd name="connsiteX46" fmla="*/ 609600 w 1066800"/>
                <a:gd name="connsiteY46" fmla="*/ 1289050 h 1365250"/>
                <a:gd name="connsiteX47" fmla="*/ 666750 w 1066800"/>
                <a:gd name="connsiteY47" fmla="*/ 1320800 h 1365250"/>
                <a:gd name="connsiteX48" fmla="*/ 692150 w 1066800"/>
                <a:gd name="connsiteY48" fmla="*/ 1327150 h 1365250"/>
                <a:gd name="connsiteX49" fmla="*/ 793750 w 1066800"/>
                <a:gd name="connsiteY49" fmla="*/ 1320800 h 1365250"/>
                <a:gd name="connsiteX50" fmla="*/ 812800 w 1066800"/>
                <a:gd name="connsiteY50" fmla="*/ 1327150 h 1365250"/>
                <a:gd name="connsiteX51" fmla="*/ 850900 w 1066800"/>
                <a:gd name="connsiteY51" fmla="*/ 1352550 h 1365250"/>
                <a:gd name="connsiteX52" fmla="*/ 889000 w 1066800"/>
                <a:gd name="connsiteY52" fmla="*/ 1365250 h 1365250"/>
                <a:gd name="connsiteX53" fmla="*/ 952500 w 1066800"/>
                <a:gd name="connsiteY53" fmla="*/ 1352550 h 1365250"/>
                <a:gd name="connsiteX54" fmla="*/ 977900 w 1066800"/>
                <a:gd name="connsiteY54" fmla="*/ 1314450 h 1365250"/>
                <a:gd name="connsiteX55" fmla="*/ 990600 w 1066800"/>
                <a:gd name="connsiteY55" fmla="*/ 1295400 h 1365250"/>
                <a:gd name="connsiteX56" fmla="*/ 1016000 w 1066800"/>
                <a:gd name="connsiteY56" fmla="*/ 1181100 h 1365250"/>
                <a:gd name="connsiteX57" fmla="*/ 1035050 w 1066800"/>
                <a:gd name="connsiteY57" fmla="*/ 1168400 h 1365250"/>
                <a:gd name="connsiteX58" fmla="*/ 1041400 w 1066800"/>
                <a:gd name="connsiteY58" fmla="*/ 1143000 h 1365250"/>
                <a:gd name="connsiteX59" fmla="*/ 1066800 w 1066800"/>
                <a:gd name="connsiteY59" fmla="*/ 1104900 h 1365250"/>
                <a:gd name="connsiteX60" fmla="*/ 1060450 w 1066800"/>
                <a:gd name="connsiteY60" fmla="*/ 1079500 h 1365250"/>
                <a:gd name="connsiteX61" fmla="*/ 1047750 w 1066800"/>
                <a:gd name="connsiteY61" fmla="*/ 1035050 h 1365250"/>
                <a:gd name="connsiteX62" fmla="*/ 1028700 w 1066800"/>
                <a:gd name="connsiteY62" fmla="*/ 952500 h 1365250"/>
                <a:gd name="connsiteX63" fmla="*/ 1022350 w 1066800"/>
                <a:gd name="connsiteY63" fmla="*/ 933450 h 1365250"/>
                <a:gd name="connsiteX64" fmla="*/ 1016000 w 1066800"/>
                <a:gd name="connsiteY64" fmla="*/ 908050 h 1365250"/>
                <a:gd name="connsiteX65" fmla="*/ 990600 w 1066800"/>
                <a:gd name="connsiteY65" fmla="*/ 869950 h 1365250"/>
                <a:gd name="connsiteX66" fmla="*/ 1003300 w 1066800"/>
                <a:gd name="connsiteY66" fmla="*/ 850900 h 1365250"/>
                <a:gd name="connsiteX67" fmla="*/ 1041400 w 1066800"/>
                <a:gd name="connsiteY67" fmla="*/ 838200 h 1365250"/>
                <a:gd name="connsiteX68" fmla="*/ 1054100 w 1066800"/>
                <a:gd name="connsiteY68" fmla="*/ 819150 h 1365250"/>
                <a:gd name="connsiteX69" fmla="*/ 1035050 w 1066800"/>
                <a:gd name="connsiteY69" fmla="*/ 806450 h 1365250"/>
                <a:gd name="connsiteX70" fmla="*/ 1016000 w 1066800"/>
                <a:gd name="connsiteY70" fmla="*/ 787400 h 1365250"/>
                <a:gd name="connsiteX71" fmla="*/ 1003300 w 1066800"/>
                <a:gd name="connsiteY71" fmla="*/ 723900 h 1365250"/>
                <a:gd name="connsiteX72" fmla="*/ 984250 w 1066800"/>
                <a:gd name="connsiteY72" fmla="*/ 685800 h 1365250"/>
                <a:gd name="connsiteX73" fmla="*/ 977900 w 1066800"/>
                <a:gd name="connsiteY73" fmla="*/ 666750 h 1365250"/>
                <a:gd name="connsiteX74" fmla="*/ 939800 w 1066800"/>
                <a:gd name="connsiteY74" fmla="*/ 641350 h 1365250"/>
                <a:gd name="connsiteX75" fmla="*/ 882650 w 1066800"/>
                <a:gd name="connsiteY75" fmla="*/ 654050 h 1365250"/>
                <a:gd name="connsiteX76" fmla="*/ 863600 w 1066800"/>
                <a:gd name="connsiteY76" fmla="*/ 666750 h 1365250"/>
                <a:gd name="connsiteX77" fmla="*/ 819150 w 1066800"/>
                <a:gd name="connsiteY77" fmla="*/ 679450 h 1365250"/>
                <a:gd name="connsiteX78" fmla="*/ 793750 w 1066800"/>
                <a:gd name="connsiteY78" fmla="*/ 673100 h 1365250"/>
                <a:gd name="connsiteX79" fmla="*/ 762000 w 1066800"/>
                <a:gd name="connsiteY79" fmla="*/ 641350 h 1365250"/>
                <a:gd name="connsiteX80" fmla="*/ 749300 w 1066800"/>
                <a:gd name="connsiteY80" fmla="*/ 603250 h 1365250"/>
                <a:gd name="connsiteX81" fmla="*/ 755650 w 1066800"/>
                <a:gd name="connsiteY81" fmla="*/ 584200 h 1365250"/>
                <a:gd name="connsiteX82" fmla="*/ 793750 w 1066800"/>
                <a:gd name="connsiteY82" fmla="*/ 565150 h 1365250"/>
                <a:gd name="connsiteX83" fmla="*/ 800100 w 1066800"/>
                <a:gd name="connsiteY83" fmla="*/ 546100 h 1365250"/>
                <a:gd name="connsiteX84" fmla="*/ 787400 w 1066800"/>
                <a:gd name="connsiteY84" fmla="*/ 508000 h 1365250"/>
                <a:gd name="connsiteX85" fmla="*/ 831850 w 1066800"/>
                <a:gd name="connsiteY85" fmla="*/ 508000 h 1365250"/>
                <a:gd name="connsiteX86" fmla="*/ 869950 w 1066800"/>
                <a:gd name="connsiteY86" fmla="*/ 520700 h 1365250"/>
                <a:gd name="connsiteX87" fmla="*/ 876300 w 1066800"/>
                <a:gd name="connsiteY87" fmla="*/ 501650 h 1365250"/>
                <a:gd name="connsiteX88" fmla="*/ 869950 w 1066800"/>
                <a:gd name="connsiteY88" fmla="*/ 482600 h 1365250"/>
                <a:gd name="connsiteX89" fmla="*/ 895350 w 1066800"/>
                <a:gd name="connsiteY89" fmla="*/ 469900 h 1365250"/>
                <a:gd name="connsiteX90" fmla="*/ 908050 w 1066800"/>
                <a:gd name="connsiteY90" fmla="*/ 450850 h 1365250"/>
                <a:gd name="connsiteX91" fmla="*/ 882650 w 1066800"/>
                <a:gd name="connsiteY91" fmla="*/ 412750 h 1365250"/>
                <a:gd name="connsiteX92" fmla="*/ 876300 w 1066800"/>
                <a:gd name="connsiteY92" fmla="*/ 393700 h 1365250"/>
                <a:gd name="connsiteX93" fmla="*/ 869950 w 1066800"/>
                <a:gd name="connsiteY93" fmla="*/ 361950 h 1365250"/>
                <a:gd name="connsiteX94" fmla="*/ 857250 w 1066800"/>
                <a:gd name="connsiteY94" fmla="*/ 342900 h 1365250"/>
                <a:gd name="connsiteX95" fmla="*/ 857250 w 1066800"/>
                <a:gd name="connsiteY95" fmla="*/ 273050 h 1365250"/>
                <a:gd name="connsiteX96" fmla="*/ 895350 w 1066800"/>
                <a:gd name="connsiteY96" fmla="*/ 254000 h 1365250"/>
                <a:gd name="connsiteX97" fmla="*/ 908050 w 1066800"/>
                <a:gd name="connsiteY97" fmla="*/ 184150 h 1365250"/>
                <a:gd name="connsiteX98" fmla="*/ 869950 w 1066800"/>
                <a:gd name="connsiteY98" fmla="*/ 158750 h 1365250"/>
                <a:gd name="connsiteX99" fmla="*/ 844550 w 1066800"/>
                <a:gd name="connsiteY99" fmla="*/ 101600 h 1365250"/>
                <a:gd name="connsiteX100" fmla="*/ 831850 w 1066800"/>
                <a:gd name="connsiteY100" fmla="*/ 57150 h 1365250"/>
                <a:gd name="connsiteX101" fmla="*/ 793750 w 1066800"/>
                <a:gd name="connsiteY101" fmla="*/ 25400 h 1365250"/>
                <a:gd name="connsiteX102" fmla="*/ 774700 w 1066800"/>
                <a:gd name="connsiteY102" fmla="*/ 19050 h 1365250"/>
                <a:gd name="connsiteX103" fmla="*/ 768350 w 1066800"/>
                <a:gd name="connsiteY103" fmla="*/ 0 h 1365250"/>
                <a:gd name="connsiteX104" fmla="*/ 755650 w 1066800"/>
                <a:gd name="connsiteY104" fmla="*/ 19050 h 1365250"/>
                <a:gd name="connsiteX105" fmla="*/ 749300 w 1066800"/>
                <a:gd name="connsiteY105" fmla="*/ 57150 h 1365250"/>
                <a:gd name="connsiteX106" fmla="*/ 730250 w 1066800"/>
                <a:gd name="connsiteY106" fmla="*/ 69850 h 1365250"/>
                <a:gd name="connsiteX107" fmla="*/ 717550 w 1066800"/>
                <a:gd name="connsiteY107" fmla="*/ 88900 h 1365250"/>
                <a:gd name="connsiteX108" fmla="*/ 692150 w 1066800"/>
                <a:gd name="connsiteY108" fmla="*/ 120650 h 1365250"/>
                <a:gd name="connsiteX109" fmla="*/ 660400 w 1066800"/>
                <a:gd name="connsiteY109" fmla="*/ 127000 h 1365250"/>
                <a:gd name="connsiteX110" fmla="*/ 635000 w 1066800"/>
                <a:gd name="connsiteY110" fmla="*/ 133350 h 1365250"/>
                <a:gd name="connsiteX111" fmla="*/ 596900 w 1066800"/>
                <a:gd name="connsiteY111" fmla="*/ 146050 h 1365250"/>
                <a:gd name="connsiteX112" fmla="*/ 558800 w 1066800"/>
                <a:gd name="connsiteY112" fmla="*/ 171450 h 1365250"/>
                <a:gd name="connsiteX113" fmla="*/ 552450 w 1066800"/>
                <a:gd name="connsiteY113" fmla="*/ 196850 h 1365250"/>
                <a:gd name="connsiteX114" fmla="*/ 533400 w 1066800"/>
                <a:gd name="connsiteY114" fmla="*/ 203200 h 1365250"/>
                <a:gd name="connsiteX115" fmla="*/ 469900 w 1066800"/>
                <a:gd name="connsiteY115" fmla="*/ 209550 h 1365250"/>
                <a:gd name="connsiteX116" fmla="*/ 431800 w 1066800"/>
                <a:gd name="connsiteY116" fmla="*/ 222250 h 1365250"/>
                <a:gd name="connsiteX117" fmla="*/ 412750 w 1066800"/>
                <a:gd name="connsiteY117" fmla="*/ 228600 h 1365250"/>
                <a:gd name="connsiteX118" fmla="*/ 387350 w 1066800"/>
                <a:gd name="connsiteY118" fmla="*/ 260350 h 1365250"/>
                <a:gd name="connsiteX119" fmla="*/ 349250 w 1066800"/>
                <a:gd name="connsiteY119" fmla="*/ 298450 h 1365250"/>
                <a:gd name="connsiteX120" fmla="*/ 336550 w 1066800"/>
                <a:gd name="connsiteY120" fmla="*/ 317500 h 1365250"/>
                <a:gd name="connsiteX121" fmla="*/ 298450 w 1066800"/>
                <a:gd name="connsiteY121" fmla="*/ 342900 h 1365250"/>
                <a:gd name="connsiteX122" fmla="*/ 292100 w 1066800"/>
                <a:gd name="connsiteY122" fmla="*/ 361950 h 1365250"/>
                <a:gd name="connsiteX123" fmla="*/ 254000 w 1066800"/>
                <a:gd name="connsiteY123" fmla="*/ 374650 h 1365250"/>
                <a:gd name="connsiteX124" fmla="*/ 203200 w 1066800"/>
                <a:gd name="connsiteY124" fmla="*/ 368300 h 1365250"/>
                <a:gd name="connsiteX125" fmla="*/ 165100 w 1066800"/>
                <a:gd name="connsiteY125" fmla="*/ 361950 h 1365250"/>
                <a:gd name="connsiteX126" fmla="*/ 114300 w 1066800"/>
                <a:gd name="connsiteY126" fmla="*/ 355600 h 136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066800" h="1365250">
                  <a:moveTo>
                    <a:pt x="114300" y="355600"/>
                  </a:moveTo>
                  <a:cubicBezTo>
                    <a:pt x="109008" y="357717"/>
                    <a:pt x="126451" y="368901"/>
                    <a:pt x="133350" y="374650"/>
                  </a:cubicBezTo>
                  <a:cubicBezTo>
                    <a:pt x="139213" y="379536"/>
                    <a:pt x="147632" y="381391"/>
                    <a:pt x="152400" y="387350"/>
                  </a:cubicBezTo>
                  <a:cubicBezTo>
                    <a:pt x="156581" y="392577"/>
                    <a:pt x="156633" y="400050"/>
                    <a:pt x="158750" y="406400"/>
                  </a:cubicBezTo>
                  <a:cubicBezTo>
                    <a:pt x="152400" y="408517"/>
                    <a:pt x="146393" y="412750"/>
                    <a:pt x="139700" y="412750"/>
                  </a:cubicBezTo>
                  <a:cubicBezTo>
                    <a:pt x="119198" y="412750"/>
                    <a:pt x="110804" y="404069"/>
                    <a:pt x="95250" y="393700"/>
                  </a:cubicBezTo>
                  <a:cubicBezTo>
                    <a:pt x="88900" y="400050"/>
                    <a:pt x="81713" y="405661"/>
                    <a:pt x="76200" y="412750"/>
                  </a:cubicBezTo>
                  <a:cubicBezTo>
                    <a:pt x="66829" y="424798"/>
                    <a:pt x="63500" y="442383"/>
                    <a:pt x="50800" y="450850"/>
                  </a:cubicBezTo>
                  <a:lnTo>
                    <a:pt x="31750" y="463550"/>
                  </a:lnTo>
                  <a:cubicBezTo>
                    <a:pt x="23283" y="461433"/>
                    <a:pt x="14453" y="453959"/>
                    <a:pt x="6350" y="457200"/>
                  </a:cubicBezTo>
                  <a:cubicBezTo>
                    <a:pt x="135" y="459686"/>
                    <a:pt x="0" y="469557"/>
                    <a:pt x="0" y="476250"/>
                  </a:cubicBezTo>
                  <a:cubicBezTo>
                    <a:pt x="0" y="489125"/>
                    <a:pt x="4392" y="501625"/>
                    <a:pt x="6350" y="514350"/>
                  </a:cubicBezTo>
                  <a:cubicBezTo>
                    <a:pt x="8626" y="529143"/>
                    <a:pt x="11281" y="543900"/>
                    <a:pt x="12700" y="558800"/>
                  </a:cubicBezTo>
                  <a:cubicBezTo>
                    <a:pt x="15517" y="588375"/>
                    <a:pt x="15579" y="618195"/>
                    <a:pt x="19050" y="647700"/>
                  </a:cubicBezTo>
                  <a:cubicBezTo>
                    <a:pt x="19832" y="654348"/>
                    <a:pt x="21219" y="661523"/>
                    <a:pt x="25400" y="666750"/>
                  </a:cubicBezTo>
                  <a:cubicBezTo>
                    <a:pt x="30168" y="672709"/>
                    <a:pt x="38100" y="675217"/>
                    <a:pt x="44450" y="679450"/>
                  </a:cubicBezTo>
                  <a:cubicBezTo>
                    <a:pt x="48683" y="685800"/>
                    <a:pt x="53364" y="691874"/>
                    <a:pt x="57150" y="698500"/>
                  </a:cubicBezTo>
                  <a:cubicBezTo>
                    <a:pt x="71962" y="724421"/>
                    <a:pt x="64963" y="724332"/>
                    <a:pt x="88900" y="742950"/>
                  </a:cubicBezTo>
                  <a:cubicBezTo>
                    <a:pt x="100948" y="752321"/>
                    <a:pt x="127000" y="768350"/>
                    <a:pt x="127000" y="768350"/>
                  </a:cubicBezTo>
                  <a:cubicBezTo>
                    <a:pt x="133350" y="766233"/>
                    <a:pt x="139357" y="762000"/>
                    <a:pt x="146050" y="762000"/>
                  </a:cubicBezTo>
                  <a:cubicBezTo>
                    <a:pt x="166498" y="762000"/>
                    <a:pt x="168048" y="772772"/>
                    <a:pt x="177800" y="787400"/>
                  </a:cubicBezTo>
                  <a:cubicBezTo>
                    <a:pt x="168203" y="825787"/>
                    <a:pt x="174210" y="804521"/>
                    <a:pt x="158750" y="850900"/>
                  </a:cubicBezTo>
                  <a:cubicBezTo>
                    <a:pt x="156337" y="858140"/>
                    <a:pt x="150936" y="864087"/>
                    <a:pt x="146050" y="869950"/>
                  </a:cubicBezTo>
                  <a:cubicBezTo>
                    <a:pt x="140301" y="876849"/>
                    <a:pt x="134472" y="884019"/>
                    <a:pt x="127000" y="889000"/>
                  </a:cubicBezTo>
                  <a:cubicBezTo>
                    <a:pt x="121431" y="892713"/>
                    <a:pt x="114300" y="893233"/>
                    <a:pt x="107950" y="895350"/>
                  </a:cubicBezTo>
                  <a:cubicBezTo>
                    <a:pt x="99483" y="908050"/>
                    <a:pt x="77723" y="918970"/>
                    <a:pt x="82550" y="933450"/>
                  </a:cubicBezTo>
                  <a:cubicBezTo>
                    <a:pt x="84667" y="939800"/>
                    <a:pt x="82406" y="950877"/>
                    <a:pt x="88900" y="952500"/>
                  </a:cubicBezTo>
                  <a:cubicBezTo>
                    <a:pt x="119770" y="960218"/>
                    <a:pt x="152400" y="956733"/>
                    <a:pt x="184150" y="958850"/>
                  </a:cubicBezTo>
                  <a:cubicBezTo>
                    <a:pt x="207433" y="956733"/>
                    <a:pt x="231655" y="959376"/>
                    <a:pt x="254000" y="952500"/>
                  </a:cubicBezTo>
                  <a:cubicBezTo>
                    <a:pt x="261294" y="950256"/>
                    <a:pt x="261814" y="939313"/>
                    <a:pt x="266700" y="933450"/>
                  </a:cubicBezTo>
                  <a:cubicBezTo>
                    <a:pt x="272449" y="926551"/>
                    <a:pt x="278851" y="920149"/>
                    <a:pt x="285750" y="914400"/>
                  </a:cubicBezTo>
                  <a:cubicBezTo>
                    <a:pt x="291613" y="909514"/>
                    <a:pt x="297654" y="904380"/>
                    <a:pt x="304800" y="901700"/>
                  </a:cubicBezTo>
                  <a:cubicBezTo>
                    <a:pt x="314906" y="897910"/>
                    <a:pt x="326079" y="897968"/>
                    <a:pt x="336550" y="895350"/>
                  </a:cubicBezTo>
                  <a:cubicBezTo>
                    <a:pt x="343044" y="893727"/>
                    <a:pt x="349250" y="891117"/>
                    <a:pt x="355600" y="889000"/>
                  </a:cubicBezTo>
                  <a:cubicBezTo>
                    <a:pt x="372533" y="891117"/>
                    <a:pt x="390555" y="889012"/>
                    <a:pt x="406400" y="895350"/>
                  </a:cubicBezTo>
                  <a:cubicBezTo>
                    <a:pt x="413486" y="898184"/>
                    <a:pt x="413704" y="909004"/>
                    <a:pt x="419100" y="914400"/>
                  </a:cubicBezTo>
                  <a:cubicBezTo>
                    <a:pt x="437282" y="932582"/>
                    <a:pt x="465454" y="935101"/>
                    <a:pt x="488950" y="939800"/>
                  </a:cubicBezTo>
                  <a:cubicBezTo>
                    <a:pt x="493183" y="948267"/>
                    <a:pt x="500476" y="955807"/>
                    <a:pt x="501650" y="965200"/>
                  </a:cubicBezTo>
                  <a:cubicBezTo>
                    <a:pt x="502732" y="973860"/>
                    <a:pt x="495300" y="981873"/>
                    <a:pt x="495300" y="990600"/>
                  </a:cubicBezTo>
                  <a:cubicBezTo>
                    <a:pt x="495300" y="1009767"/>
                    <a:pt x="498499" y="1028844"/>
                    <a:pt x="501650" y="1047750"/>
                  </a:cubicBezTo>
                  <a:cubicBezTo>
                    <a:pt x="504037" y="1062069"/>
                    <a:pt x="511558" y="1074879"/>
                    <a:pt x="520700" y="1085850"/>
                  </a:cubicBezTo>
                  <a:cubicBezTo>
                    <a:pt x="526449" y="1092749"/>
                    <a:pt x="534001" y="1098001"/>
                    <a:pt x="539750" y="1104900"/>
                  </a:cubicBezTo>
                  <a:cubicBezTo>
                    <a:pt x="544636" y="1110763"/>
                    <a:pt x="548217" y="1117600"/>
                    <a:pt x="552450" y="1123950"/>
                  </a:cubicBezTo>
                  <a:cubicBezTo>
                    <a:pt x="524882" y="1165302"/>
                    <a:pt x="512108" y="1166997"/>
                    <a:pt x="533400" y="1225550"/>
                  </a:cubicBezTo>
                  <a:cubicBezTo>
                    <a:pt x="535687" y="1231840"/>
                    <a:pt x="546100" y="1229783"/>
                    <a:pt x="552450" y="1231900"/>
                  </a:cubicBezTo>
                  <a:cubicBezTo>
                    <a:pt x="567391" y="1221939"/>
                    <a:pt x="575609" y="1207994"/>
                    <a:pt x="590550" y="1231900"/>
                  </a:cubicBezTo>
                  <a:lnTo>
                    <a:pt x="609600" y="1289050"/>
                  </a:lnTo>
                  <a:cubicBezTo>
                    <a:pt x="614388" y="1303413"/>
                    <a:pt x="650271" y="1316092"/>
                    <a:pt x="666750" y="1320800"/>
                  </a:cubicBezTo>
                  <a:cubicBezTo>
                    <a:pt x="675141" y="1323198"/>
                    <a:pt x="683683" y="1325033"/>
                    <a:pt x="692150" y="1327150"/>
                  </a:cubicBezTo>
                  <a:cubicBezTo>
                    <a:pt x="759506" y="1310311"/>
                    <a:pt x="725630" y="1312285"/>
                    <a:pt x="793750" y="1320800"/>
                  </a:cubicBezTo>
                  <a:cubicBezTo>
                    <a:pt x="800100" y="1322917"/>
                    <a:pt x="806949" y="1323899"/>
                    <a:pt x="812800" y="1327150"/>
                  </a:cubicBezTo>
                  <a:cubicBezTo>
                    <a:pt x="826143" y="1334563"/>
                    <a:pt x="836420" y="1347723"/>
                    <a:pt x="850900" y="1352550"/>
                  </a:cubicBezTo>
                  <a:lnTo>
                    <a:pt x="889000" y="1365250"/>
                  </a:lnTo>
                  <a:cubicBezTo>
                    <a:pt x="910167" y="1361017"/>
                    <a:pt x="933758" y="1363260"/>
                    <a:pt x="952500" y="1352550"/>
                  </a:cubicBezTo>
                  <a:cubicBezTo>
                    <a:pt x="965752" y="1344977"/>
                    <a:pt x="969433" y="1327150"/>
                    <a:pt x="977900" y="1314450"/>
                  </a:cubicBezTo>
                  <a:lnTo>
                    <a:pt x="990600" y="1295400"/>
                  </a:lnTo>
                  <a:cubicBezTo>
                    <a:pt x="995815" y="1217171"/>
                    <a:pt x="974938" y="1215318"/>
                    <a:pt x="1016000" y="1181100"/>
                  </a:cubicBezTo>
                  <a:cubicBezTo>
                    <a:pt x="1021863" y="1176214"/>
                    <a:pt x="1028700" y="1172633"/>
                    <a:pt x="1035050" y="1168400"/>
                  </a:cubicBezTo>
                  <a:cubicBezTo>
                    <a:pt x="1037167" y="1159933"/>
                    <a:pt x="1037497" y="1150806"/>
                    <a:pt x="1041400" y="1143000"/>
                  </a:cubicBezTo>
                  <a:cubicBezTo>
                    <a:pt x="1048226" y="1129348"/>
                    <a:pt x="1066800" y="1104900"/>
                    <a:pt x="1066800" y="1104900"/>
                  </a:cubicBezTo>
                  <a:cubicBezTo>
                    <a:pt x="1064683" y="1096433"/>
                    <a:pt x="1062848" y="1087891"/>
                    <a:pt x="1060450" y="1079500"/>
                  </a:cubicBezTo>
                  <a:cubicBezTo>
                    <a:pt x="1053649" y="1055697"/>
                    <a:pt x="1052713" y="1062345"/>
                    <a:pt x="1047750" y="1035050"/>
                  </a:cubicBezTo>
                  <a:cubicBezTo>
                    <a:pt x="1034561" y="962510"/>
                    <a:pt x="1050557" y="1018070"/>
                    <a:pt x="1028700" y="952500"/>
                  </a:cubicBezTo>
                  <a:cubicBezTo>
                    <a:pt x="1026583" y="946150"/>
                    <a:pt x="1023973" y="939944"/>
                    <a:pt x="1022350" y="933450"/>
                  </a:cubicBezTo>
                  <a:cubicBezTo>
                    <a:pt x="1020233" y="924983"/>
                    <a:pt x="1019903" y="915856"/>
                    <a:pt x="1016000" y="908050"/>
                  </a:cubicBezTo>
                  <a:cubicBezTo>
                    <a:pt x="1009174" y="894398"/>
                    <a:pt x="990600" y="869950"/>
                    <a:pt x="990600" y="869950"/>
                  </a:cubicBezTo>
                  <a:cubicBezTo>
                    <a:pt x="994833" y="863600"/>
                    <a:pt x="996828" y="854945"/>
                    <a:pt x="1003300" y="850900"/>
                  </a:cubicBezTo>
                  <a:cubicBezTo>
                    <a:pt x="1014652" y="843805"/>
                    <a:pt x="1041400" y="838200"/>
                    <a:pt x="1041400" y="838200"/>
                  </a:cubicBezTo>
                  <a:cubicBezTo>
                    <a:pt x="1045633" y="831850"/>
                    <a:pt x="1055597" y="826634"/>
                    <a:pt x="1054100" y="819150"/>
                  </a:cubicBezTo>
                  <a:cubicBezTo>
                    <a:pt x="1052603" y="811666"/>
                    <a:pt x="1040913" y="811336"/>
                    <a:pt x="1035050" y="806450"/>
                  </a:cubicBezTo>
                  <a:cubicBezTo>
                    <a:pt x="1028151" y="800701"/>
                    <a:pt x="1022350" y="793750"/>
                    <a:pt x="1016000" y="787400"/>
                  </a:cubicBezTo>
                  <a:cubicBezTo>
                    <a:pt x="1001654" y="744362"/>
                    <a:pt x="1017893" y="796866"/>
                    <a:pt x="1003300" y="723900"/>
                  </a:cubicBezTo>
                  <a:cubicBezTo>
                    <a:pt x="997980" y="697299"/>
                    <a:pt x="996737" y="710774"/>
                    <a:pt x="984250" y="685800"/>
                  </a:cubicBezTo>
                  <a:cubicBezTo>
                    <a:pt x="981257" y="679813"/>
                    <a:pt x="982633" y="671483"/>
                    <a:pt x="977900" y="666750"/>
                  </a:cubicBezTo>
                  <a:cubicBezTo>
                    <a:pt x="967107" y="655957"/>
                    <a:pt x="939800" y="641350"/>
                    <a:pt x="939800" y="641350"/>
                  </a:cubicBezTo>
                  <a:cubicBezTo>
                    <a:pt x="925167" y="643789"/>
                    <a:pt x="898282" y="646234"/>
                    <a:pt x="882650" y="654050"/>
                  </a:cubicBezTo>
                  <a:cubicBezTo>
                    <a:pt x="875824" y="657463"/>
                    <a:pt x="870426" y="663337"/>
                    <a:pt x="863600" y="666750"/>
                  </a:cubicBezTo>
                  <a:cubicBezTo>
                    <a:pt x="854490" y="671305"/>
                    <a:pt x="827288" y="677415"/>
                    <a:pt x="819150" y="679450"/>
                  </a:cubicBezTo>
                  <a:cubicBezTo>
                    <a:pt x="810683" y="677333"/>
                    <a:pt x="801772" y="676538"/>
                    <a:pt x="793750" y="673100"/>
                  </a:cubicBezTo>
                  <a:cubicBezTo>
                    <a:pt x="778643" y="666625"/>
                    <a:pt x="768641" y="656291"/>
                    <a:pt x="762000" y="641350"/>
                  </a:cubicBezTo>
                  <a:cubicBezTo>
                    <a:pt x="756563" y="629117"/>
                    <a:pt x="749300" y="603250"/>
                    <a:pt x="749300" y="603250"/>
                  </a:cubicBezTo>
                  <a:cubicBezTo>
                    <a:pt x="751417" y="596900"/>
                    <a:pt x="751469" y="589427"/>
                    <a:pt x="755650" y="584200"/>
                  </a:cubicBezTo>
                  <a:cubicBezTo>
                    <a:pt x="764602" y="573009"/>
                    <a:pt x="781201" y="569333"/>
                    <a:pt x="793750" y="565150"/>
                  </a:cubicBezTo>
                  <a:cubicBezTo>
                    <a:pt x="795867" y="558800"/>
                    <a:pt x="800839" y="552753"/>
                    <a:pt x="800100" y="546100"/>
                  </a:cubicBezTo>
                  <a:cubicBezTo>
                    <a:pt x="798622" y="532795"/>
                    <a:pt x="787400" y="508000"/>
                    <a:pt x="787400" y="508000"/>
                  </a:cubicBezTo>
                  <a:cubicBezTo>
                    <a:pt x="812798" y="499534"/>
                    <a:pt x="802474" y="499187"/>
                    <a:pt x="831850" y="508000"/>
                  </a:cubicBezTo>
                  <a:cubicBezTo>
                    <a:pt x="844672" y="511847"/>
                    <a:pt x="869950" y="520700"/>
                    <a:pt x="869950" y="520700"/>
                  </a:cubicBezTo>
                  <a:cubicBezTo>
                    <a:pt x="872067" y="514350"/>
                    <a:pt x="876300" y="508343"/>
                    <a:pt x="876300" y="501650"/>
                  </a:cubicBezTo>
                  <a:cubicBezTo>
                    <a:pt x="876300" y="494957"/>
                    <a:pt x="866506" y="488340"/>
                    <a:pt x="869950" y="482600"/>
                  </a:cubicBezTo>
                  <a:cubicBezTo>
                    <a:pt x="874820" y="474483"/>
                    <a:pt x="886883" y="474133"/>
                    <a:pt x="895350" y="469900"/>
                  </a:cubicBezTo>
                  <a:cubicBezTo>
                    <a:pt x="899583" y="463550"/>
                    <a:pt x="909706" y="458300"/>
                    <a:pt x="908050" y="450850"/>
                  </a:cubicBezTo>
                  <a:cubicBezTo>
                    <a:pt x="904739" y="435950"/>
                    <a:pt x="887477" y="427230"/>
                    <a:pt x="882650" y="412750"/>
                  </a:cubicBezTo>
                  <a:cubicBezTo>
                    <a:pt x="880533" y="406400"/>
                    <a:pt x="877923" y="400194"/>
                    <a:pt x="876300" y="393700"/>
                  </a:cubicBezTo>
                  <a:cubicBezTo>
                    <a:pt x="873682" y="383229"/>
                    <a:pt x="873740" y="372056"/>
                    <a:pt x="869950" y="361950"/>
                  </a:cubicBezTo>
                  <a:cubicBezTo>
                    <a:pt x="867270" y="354804"/>
                    <a:pt x="861483" y="349250"/>
                    <a:pt x="857250" y="342900"/>
                  </a:cubicBezTo>
                  <a:cubicBezTo>
                    <a:pt x="850631" y="316424"/>
                    <a:pt x="843902" y="303084"/>
                    <a:pt x="857250" y="273050"/>
                  </a:cubicBezTo>
                  <a:cubicBezTo>
                    <a:pt x="861532" y="263416"/>
                    <a:pt x="886897" y="256818"/>
                    <a:pt x="895350" y="254000"/>
                  </a:cubicBezTo>
                  <a:cubicBezTo>
                    <a:pt x="922243" y="236072"/>
                    <a:pt x="935600" y="235314"/>
                    <a:pt x="908050" y="184150"/>
                  </a:cubicBezTo>
                  <a:cubicBezTo>
                    <a:pt x="900814" y="170711"/>
                    <a:pt x="869950" y="158750"/>
                    <a:pt x="869950" y="158750"/>
                  </a:cubicBezTo>
                  <a:cubicBezTo>
                    <a:pt x="853271" y="133731"/>
                    <a:pt x="853618" y="137872"/>
                    <a:pt x="844550" y="101600"/>
                  </a:cubicBezTo>
                  <a:cubicBezTo>
                    <a:pt x="843703" y="98213"/>
                    <a:pt x="835494" y="62616"/>
                    <a:pt x="831850" y="57150"/>
                  </a:cubicBezTo>
                  <a:cubicBezTo>
                    <a:pt x="824828" y="46617"/>
                    <a:pt x="805464" y="31257"/>
                    <a:pt x="793750" y="25400"/>
                  </a:cubicBezTo>
                  <a:cubicBezTo>
                    <a:pt x="787763" y="22407"/>
                    <a:pt x="781050" y="21167"/>
                    <a:pt x="774700" y="19050"/>
                  </a:cubicBezTo>
                  <a:cubicBezTo>
                    <a:pt x="772583" y="12700"/>
                    <a:pt x="775043" y="0"/>
                    <a:pt x="768350" y="0"/>
                  </a:cubicBezTo>
                  <a:cubicBezTo>
                    <a:pt x="760718" y="0"/>
                    <a:pt x="758063" y="11810"/>
                    <a:pt x="755650" y="19050"/>
                  </a:cubicBezTo>
                  <a:cubicBezTo>
                    <a:pt x="751579" y="31264"/>
                    <a:pt x="755058" y="45634"/>
                    <a:pt x="749300" y="57150"/>
                  </a:cubicBezTo>
                  <a:cubicBezTo>
                    <a:pt x="745887" y="63976"/>
                    <a:pt x="736600" y="65617"/>
                    <a:pt x="730250" y="69850"/>
                  </a:cubicBezTo>
                  <a:cubicBezTo>
                    <a:pt x="726017" y="76200"/>
                    <a:pt x="720963" y="82074"/>
                    <a:pt x="717550" y="88900"/>
                  </a:cubicBezTo>
                  <a:cubicBezTo>
                    <a:pt x="707269" y="109461"/>
                    <a:pt x="718499" y="110769"/>
                    <a:pt x="692150" y="120650"/>
                  </a:cubicBezTo>
                  <a:cubicBezTo>
                    <a:pt x="682044" y="124440"/>
                    <a:pt x="670936" y="124659"/>
                    <a:pt x="660400" y="127000"/>
                  </a:cubicBezTo>
                  <a:cubicBezTo>
                    <a:pt x="651881" y="128893"/>
                    <a:pt x="643359" y="130842"/>
                    <a:pt x="635000" y="133350"/>
                  </a:cubicBezTo>
                  <a:cubicBezTo>
                    <a:pt x="622178" y="137197"/>
                    <a:pt x="596900" y="146050"/>
                    <a:pt x="596900" y="146050"/>
                  </a:cubicBezTo>
                  <a:cubicBezTo>
                    <a:pt x="584200" y="154517"/>
                    <a:pt x="562502" y="156642"/>
                    <a:pt x="558800" y="171450"/>
                  </a:cubicBezTo>
                  <a:cubicBezTo>
                    <a:pt x="556683" y="179917"/>
                    <a:pt x="557902" y="190035"/>
                    <a:pt x="552450" y="196850"/>
                  </a:cubicBezTo>
                  <a:cubicBezTo>
                    <a:pt x="548269" y="202077"/>
                    <a:pt x="540016" y="202182"/>
                    <a:pt x="533400" y="203200"/>
                  </a:cubicBezTo>
                  <a:cubicBezTo>
                    <a:pt x="512375" y="206435"/>
                    <a:pt x="491067" y="207433"/>
                    <a:pt x="469900" y="209550"/>
                  </a:cubicBezTo>
                  <a:lnTo>
                    <a:pt x="431800" y="222250"/>
                  </a:lnTo>
                  <a:lnTo>
                    <a:pt x="412750" y="228600"/>
                  </a:lnTo>
                  <a:cubicBezTo>
                    <a:pt x="360461" y="263459"/>
                    <a:pt x="420381" y="217881"/>
                    <a:pt x="387350" y="260350"/>
                  </a:cubicBezTo>
                  <a:cubicBezTo>
                    <a:pt x="376323" y="274527"/>
                    <a:pt x="359213" y="283506"/>
                    <a:pt x="349250" y="298450"/>
                  </a:cubicBezTo>
                  <a:cubicBezTo>
                    <a:pt x="345017" y="304800"/>
                    <a:pt x="342293" y="312474"/>
                    <a:pt x="336550" y="317500"/>
                  </a:cubicBezTo>
                  <a:cubicBezTo>
                    <a:pt x="325063" y="327551"/>
                    <a:pt x="298450" y="342900"/>
                    <a:pt x="298450" y="342900"/>
                  </a:cubicBezTo>
                  <a:cubicBezTo>
                    <a:pt x="296333" y="349250"/>
                    <a:pt x="297547" y="358059"/>
                    <a:pt x="292100" y="361950"/>
                  </a:cubicBezTo>
                  <a:cubicBezTo>
                    <a:pt x="281207" y="369731"/>
                    <a:pt x="254000" y="374650"/>
                    <a:pt x="254000" y="374650"/>
                  </a:cubicBezTo>
                  <a:lnTo>
                    <a:pt x="203200" y="368300"/>
                  </a:lnTo>
                  <a:cubicBezTo>
                    <a:pt x="190454" y="366479"/>
                    <a:pt x="177975" y="361950"/>
                    <a:pt x="165100" y="361950"/>
                  </a:cubicBezTo>
                  <a:cubicBezTo>
                    <a:pt x="122824" y="361950"/>
                    <a:pt x="119592" y="353483"/>
                    <a:pt x="114300" y="355600"/>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defTabSz="685800" eaLnBrk="0" fontAlgn="base" hangingPunct="0">
                <a:spcBef>
                  <a:spcPct val="50000"/>
                </a:spcBef>
                <a:spcAft>
                  <a:spcPct val="0"/>
                </a:spcAft>
                <a:buClrTx/>
              </a:pPr>
              <a:endParaRPr lang="en-US" sz="900" kern="1200">
                <a:latin typeface="Arial" charset="0"/>
                <a:ea typeface="+mn-ea"/>
                <a:cs typeface="+mn-cs"/>
              </a:endParaRPr>
            </a:p>
          </p:txBody>
        </p:sp>
        <p:sp>
          <p:nvSpPr>
            <p:cNvPr id="28" name="Freeform 27"/>
            <p:cNvSpPr/>
            <p:nvPr>
              <p:custDataLst>
                <p:tags r:id="rId18"/>
              </p:custDataLst>
            </p:nvPr>
          </p:nvSpPr>
          <p:spPr bwMode="gray">
            <a:xfrm>
              <a:off x="2762558" y="4718050"/>
              <a:ext cx="468191" cy="374650"/>
            </a:xfrm>
            <a:custGeom>
              <a:avLst/>
              <a:gdLst>
                <a:gd name="connsiteX0" fmla="*/ 4641 w 468191"/>
                <a:gd name="connsiteY0" fmla="*/ 63500 h 374650"/>
                <a:gd name="connsiteX1" fmla="*/ 10991 w 468191"/>
                <a:gd name="connsiteY1" fmla="*/ 101600 h 374650"/>
                <a:gd name="connsiteX2" fmla="*/ 17341 w 468191"/>
                <a:gd name="connsiteY2" fmla="*/ 120650 h 374650"/>
                <a:gd name="connsiteX3" fmla="*/ 55441 w 468191"/>
                <a:gd name="connsiteY3" fmla="*/ 127000 h 374650"/>
                <a:gd name="connsiteX4" fmla="*/ 80841 w 468191"/>
                <a:gd name="connsiteY4" fmla="*/ 139700 h 374650"/>
                <a:gd name="connsiteX5" fmla="*/ 87191 w 468191"/>
                <a:gd name="connsiteY5" fmla="*/ 165100 h 374650"/>
                <a:gd name="connsiteX6" fmla="*/ 93541 w 468191"/>
                <a:gd name="connsiteY6" fmla="*/ 184150 h 374650"/>
                <a:gd name="connsiteX7" fmla="*/ 99891 w 468191"/>
                <a:gd name="connsiteY7" fmla="*/ 215900 h 374650"/>
                <a:gd name="connsiteX8" fmla="*/ 137991 w 468191"/>
                <a:gd name="connsiteY8" fmla="*/ 241300 h 374650"/>
                <a:gd name="connsiteX9" fmla="*/ 144341 w 468191"/>
                <a:gd name="connsiteY9" fmla="*/ 266700 h 374650"/>
                <a:gd name="connsiteX10" fmla="*/ 150691 w 468191"/>
                <a:gd name="connsiteY10" fmla="*/ 285750 h 374650"/>
                <a:gd name="connsiteX11" fmla="*/ 157041 w 468191"/>
                <a:gd name="connsiteY11" fmla="*/ 317500 h 374650"/>
                <a:gd name="connsiteX12" fmla="*/ 195141 w 468191"/>
                <a:gd name="connsiteY12" fmla="*/ 336550 h 374650"/>
                <a:gd name="connsiteX13" fmla="*/ 233241 w 468191"/>
                <a:gd name="connsiteY13" fmla="*/ 330200 h 374650"/>
                <a:gd name="connsiteX14" fmla="*/ 220541 w 468191"/>
                <a:gd name="connsiteY14" fmla="*/ 292100 h 374650"/>
                <a:gd name="connsiteX15" fmla="*/ 239591 w 468191"/>
                <a:gd name="connsiteY15" fmla="*/ 279400 h 374650"/>
                <a:gd name="connsiteX16" fmla="*/ 258641 w 468191"/>
                <a:gd name="connsiteY16" fmla="*/ 292100 h 374650"/>
                <a:gd name="connsiteX17" fmla="*/ 290391 w 468191"/>
                <a:gd name="connsiteY17" fmla="*/ 330200 h 374650"/>
                <a:gd name="connsiteX18" fmla="*/ 303091 w 468191"/>
                <a:gd name="connsiteY18" fmla="*/ 374650 h 374650"/>
                <a:gd name="connsiteX19" fmla="*/ 334841 w 468191"/>
                <a:gd name="connsiteY19" fmla="*/ 368300 h 374650"/>
                <a:gd name="connsiteX20" fmla="*/ 347541 w 468191"/>
                <a:gd name="connsiteY20" fmla="*/ 349250 h 374650"/>
                <a:gd name="connsiteX21" fmla="*/ 385641 w 468191"/>
                <a:gd name="connsiteY21" fmla="*/ 355600 h 374650"/>
                <a:gd name="connsiteX22" fmla="*/ 430091 w 468191"/>
                <a:gd name="connsiteY22" fmla="*/ 355600 h 374650"/>
                <a:gd name="connsiteX23" fmla="*/ 436441 w 468191"/>
                <a:gd name="connsiteY23" fmla="*/ 336550 h 374650"/>
                <a:gd name="connsiteX24" fmla="*/ 449141 w 468191"/>
                <a:gd name="connsiteY24" fmla="*/ 273050 h 374650"/>
                <a:gd name="connsiteX25" fmla="*/ 468191 w 468191"/>
                <a:gd name="connsiteY25" fmla="*/ 254000 h 374650"/>
                <a:gd name="connsiteX26" fmla="*/ 461841 w 468191"/>
                <a:gd name="connsiteY26" fmla="*/ 222250 h 374650"/>
                <a:gd name="connsiteX27" fmla="*/ 442791 w 468191"/>
                <a:gd name="connsiteY27" fmla="*/ 203200 h 374650"/>
                <a:gd name="connsiteX28" fmla="*/ 417391 w 468191"/>
                <a:gd name="connsiteY28" fmla="*/ 165100 h 374650"/>
                <a:gd name="connsiteX29" fmla="*/ 404691 w 468191"/>
                <a:gd name="connsiteY29" fmla="*/ 146050 h 374650"/>
                <a:gd name="connsiteX30" fmla="*/ 398341 w 468191"/>
                <a:gd name="connsiteY30" fmla="*/ 120650 h 374650"/>
                <a:gd name="connsiteX31" fmla="*/ 411041 w 468191"/>
                <a:gd name="connsiteY31" fmla="*/ 63500 h 374650"/>
                <a:gd name="connsiteX32" fmla="*/ 334841 w 468191"/>
                <a:gd name="connsiteY32" fmla="*/ 38100 h 374650"/>
                <a:gd name="connsiteX33" fmla="*/ 296741 w 468191"/>
                <a:gd name="connsiteY33" fmla="*/ 0 h 374650"/>
                <a:gd name="connsiteX34" fmla="*/ 233241 w 468191"/>
                <a:gd name="connsiteY34" fmla="*/ 12700 h 374650"/>
                <a:gd name="connsiteX35" fmla="*/ 195141 w 468191"/>
                <a:gd name="connsiteY35" fmla="*/ 38100 h 374650"/>
                <a:gd name="connsiteX36" fmla="*/ 182441 w 468191"/>
                <a:gd name="connsiteY36" fmla="*/ 57150 h 374650"/>
                <a:gd name="connsiteX37" fmla="*/ 36391 w 468191"/>
                <a:gd name="connsiteY37" fmla="*/ 76200 h 374650"/>
                <a:gd name="connsiteX38" fmla="*/ 4641 w 468191"/>
                <a:gd name="connsiteY38" fmla="*/ 63500 h 37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68191" h="374650">
                  <a:moveTo>
                    <a:pt x="4641" y="63500"/>
                  </a:moveTo>
                  <a:cubicBezTo>
                    <a:pt x="408" y="67733"/>
                    <a:pt x="8198" y="89031"/>
                    <a:pt x="10991" y="101600"/>
                  </a:cubicBezTo>
                  <a:cubicBezTo>
                    <a:pt x="12443" y="108134"/>
                    <a:pt x="11529" y="117329"/>
                    <a:pt x="17341" y="120650"/>
                  </a:cubicBezTo>
                  <a:cubicBezTo>
                    <a:pt x="28520" y="127038"/>
                    <a:pt x="42741" y="124883"/>
                    <a:pt x="55441" y="127000"/>
                  </a:cubicBezTo>
                  <a:cubicBezTo>
                    <a:pt x="63908" y="131233"/>
                    <a:pt x="74781" y="132428"/>
                    <a:pt x="80841" y="139700"/>
                  </a:cubicBezTo>
                  <a:cubicBezTo>
                    <a:pt x="86428" y="146404"/>
                    <a:pt x="84793" y="156709"/>
                    <a:pt x="87191" y="165100"/>
                  </a:cubicBezTo>
                  <a:cubicBezTo>
                    <a:pt x="89030" y="171536"/>
                    <a:pt x="91918" y="177656"/>
                    <a:pt x="93541" y="184150"/>
                  </a:cubicBezTo>
                  <a:cubicBezTo>
                    <a:pt x="96159" y="194621"/>
                    <a:pt x="93265" y="207381"/>
                    <a:pt x="99891" y="215900"/>
                  </a:cubicBezTo>
                  <a:cubicBezTo>
                    <a:pt x="109262" y="227948"/>
                    <a:pt x="137991" y="241300"/>
                    <a:pt x="137991" y="241300"/>
                  </a:cubicBezTo>
                  <a:cubicBezTo>
                    <a:pt x="140108" y="249767"/>
                    <a:pt x="141943" y="258309"/>
                    <a:pt x="144341" y="266700"/>
                  </a:cubicBezTo>
                  <a:cubicBezTo>
                    <a:pt x="146180" y="273136"/>
                    <a:pt x="149068" y="279256"/>
                    <a:pt x="150691" y="285750"/>
                  </a:cubicBezTo>
                  <a:cubicBezTo>
                    <a:pt x="153309" y="296221"/>
                    <a:pt x="151686" y="308129"/>
                    <a:pt x="157041" y="317500"/>
                  </a:cubicBezTo>
                  <a:cubicBezTo>
                    <a:pt x="162834" y="327637"/>
                    <a:pt x="185363" y="333291"/>
                    <a:pt x="195141" y="336550"/>
                  </a:cubicBezTo>
                  <a:cubicBezTo>
                    <a:pt x="207841" y="334433"/>
                    <a:pt x="226853" y="341379"/>
                    <a:pt x="233241" y="330200"/>
                  </a:cubicBezTo>
                  <a:cubicBezTo>
                    <a:pt x="239883" y="318577"/>
                    <a:pt x="220541" y="292100"/>
                    <a:pt x="220541" y="292100"/>
                  </a:cubicBezTo>
                  <a:cubicBezTo>
                    <a:pt x="226891" y="287867"/>
                    <a:pt x="231959" y="279400"/>
                    <a:pt x="239591" y="279400"/>
                  </a:cubicBezTo>
                  <a:cubicBezTo>
                    <a:pt x="247223" y="279400"/>
                    <a:pt x="252778" y="287214"/>
                    <a:pt x="258641" y="292100"/>
                  </a:cubicBezTo>
                  <a:cubicBezTo>
                    <a:pt x="270678" y="302131"/>
                    <a:pt x="283255" y="315929"/>
                    <a:pt x="290391" y="330200"/>
                  </a:cubicBezTo>
                  <a:cubicBezTo>
                    <a:pt x="294946" y="339310"/>
                    <a:pt x="301056" y="366512"/>
                    <a:pt x="303091" y="374650"/>
                  </a:cubicBezTo>
                  <a:cubicBezTo>
                    <a:pt x="313674" y="372533"/>
                    <a:pt x="325470" y="373655"/>
                    <a:pt x="334841" y="368300"/>
                  </a:cubicBezTo>
                  <a:cubicBezTo>
                    <a:pt x="341467" y="364514"/>
                    <a:pt x="340137" y="351101"/>
                    <a:pt x="347541" y="349250"/>
                  </a:cubicBezTo>
                  <a:cubicBezTo>
                    <a:pt x="360032" y="346127"/>
                    <a:pt x="372941" y="353483"/>
                    <a:pt x="385641" y="355600"/>
                  </a:cubicBezTo>
                  <a:cubicBezTo>
                    <a:pt x="401099" y="360753"/>
                    <a:pt x="413675" y="368733"/>
                    <a:pt x="430091" y="355600"/>
                  </a:cubicBezTo>
                  <a:cubicBezTo>
                    <a:pt x="435318" y="351419"/>
                    <a:pt x="434324" y="342900"/>
                    <a:pt x="436441" y="336550"/>
                  </a:cubicBezTo>
                  <a:cubicBezTo>
                    <a:pt x="436979" y="332786"/>
                    <a:pt x="441081" y="285141"/>
                    <a:pt x="449141" y="273050"/>
                  </a:cubicBezTo>
                  <a:cubicBezTo>
                    <a:pt x="454122" y="265578"/>
                    <a:pt x="461841" y="260350"/>
                    <a:pt x="468191" y="254000"/>
                  </a:cubicBezTo>
                  <a:cubicBezTo>
                    <a:pt x="466074" y="243417"/>
                    <a:pt x="466668" y="231903"/>
                    <a:pt x="461841" y="222250"/>
                  </a:cubicBezTo>
                  <a:cubicBezTo>
                    <a:pt x="457825" y="214218"/>
                    <a:pt x="448304" y="210289"/>
                    <a:pt x="442791" y="203200"/>
                  </a:cubicBezTo>
                  <a:cubicBezTo>
                    <a:pt x="433420" y="191152"/>
                    <a:pt x="425858" y="177800"/>
                    <a:pt x="417391" y="165100"/>
                  </a:cubicBezTo>
                  <a:lnTo>
                    <a:pt x="404691" y="146050"/>
                  </a:lnTo>
                  <a:cubicBezTo>
                    <a:pt x="402574" y="137583"/>
                    <a:pt x="398341" y="129377"/>
                    <a:pt x="398341" y="120650"/>
                  </a:cubicBezTo>
                  <a:cubicBezTo>
                    <a:pt x="398341" y="98299"/>
                    <a:pt x="404493" y="83145"/>
                    <a:pt x="411041" y="63500"/>
                  </a:cubicBezTo>
                  <a:cubicBezTo>
                    <a:pt x="394582" y="14123"/>
                    <a:pt x="420842" y="73512"/>
                    <a:pt x="334841" y="38100"/>
                  </a:cubicBezTo>
                  <a:cubicBezTo>
                    <a:pt x="318233" y="31262"/>
                    <a:pt x="296741" y="0"/>
                    <a:pt x="296741" y="0"/>
                  </a:cubicBezTo>
                  <a:cubicBezTo>
                    <a:pt x="285698" y="1578"/>
                    <a:pt x="248587" y="4175"/>
                    <a:pt x="233241" y="12700"/>
                  </a:cubicBezTo>
                  <a:cubicBezTo>
                    <a:pt x="219898" y="20113"/>
                    <a:pt x="195141" y="38100"/>
                    <a:pt x="195141" y="38100"/>
                  </a:cubicBezTo>
                  <a:cubicBezTo>
                    <a:pt x="190908" y="44450"/>
                    <a:pt x="188304" y="52264"/>
                    <a:pt x="182441" y="57150"/>
                  </a:cubicBezTo>
                  <a:cubicBezTo>
                    <a:pt x="147245" y="86480"/>
                    <a:pt x="54924" y="75225"/>
                    <a:pt x="36391" y="76200"/>
                  </a:cubicBezTo>
                  <a:cubicBezTo>
                    <a:pt x="0" y="83478"/>
                    <a:pt x="8874" y="59267"/>
                    <a:pt x="4641" y="63500"/>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defTabSz="685800" eaLnBrk="0" fontAlgn="base" hangingPunct="0">
                <a:spcBef>
                  <a:spcPct val="50000"/>
                </a:spcBef>
                <a:spcAft>
                  <a:spcPct val="0"/>
                </a:spcAft>
                <a:buClrTx/>
              </a:pPr>
              <a:endParaRPr lang="en-US" sz="900" kern="1200">
                <a:latin typeface="Arial" charset="0"/>
                <a:ea typeface="+mn-ea"/>
                <a:cs typeface="+mn-cs"/>
              </a:endParaRPr>
            </a:p>
          </p:txBody>
        </p:sp>
        <p:sp>
          <p:nvSpPr>
            <p:cNvPr id="29" name="Freeform 28"/>
            <p:cNvSpPr/>
            <p:nvPr>
              <p:custDataLst>
                <p:tags r:id="rId19"/>
              </p:custDataLst>
            </p:nvPr>
          </p:nvSpPr>
          <p:spPr bwMode="gray">
            <a:xfrm>
              <a:off x="4675391" y="1422400"/>
              <a:ext cx="1590658" cy="928047"/>
            </a:xfrm>
            <a:custGeom>
              <a:avLst/>
              <a:gdLst>
                <a:gd name="connsiteX0" fmla="*/ 269858 w 1590658"/>
                <a:gd name="connsiteY0" fmla="*/ 920750 h 928047"/>
                <a:gd name="connsiteX1" fmla="*/ 307958 w 1590658"/>
                <a:gd name="connsiteY1" fmla="*/ 914400 h 928047"/>
                <a:gd name="connsiteX2" fmla="*/ 327008 w 1590658"/>
                <a:gd name="connsiteY2" fmla="*/ 908050 h 928047"/>
                <a:gd name="connsiteX3" fmla="*/ 384158 w 1590658"/>
                <a:gd name="connsiteY3" fmla="*/ 914400 h 928047"/>
                <a:gd name="connsiteX4" fmla="*/ 390508 w 1590658"/>
                <a:gd name="connsiteY4" fmla="*/ 895350 h 928047"/>
                <a:gd name="connsiteX5" fmla="*/ 403208 w 1590658"/>
                <a:gd name="connsiteY5" fmla="*/ 876300 h 928047"/>
                <a:gd name="connsiteX6" fmla="*/ 428608 w 1590658"/>
                <a:gd name="connsiteY6" fmla="*/ 831850 h 928047"/>
                <a:gd name="connsiteX7" fmla="*/ 454008 w 1590658"/>
                <a:gd name="connsiteY7" fmla="*/ 838200 h 928047"/>
                <a:gd name="connsiteX8" fmla="*/ 473058 w 1590658"/>
                <a:gd name="connsiteY8" fmla="*/ 850900 h 928047"/>
                <a:gd name="connsiteX9" fmla="*/ 492108 w 1590658"/>
                <a:gd name="connsiteY9" fmla="*/ 857250 h 928047"/>
                <a:gd name="connsiteX10" fmla="*/ 511158 w 1590658"/>
                <a:gd name="connsiteY10" fmla="*/ 831850 h 928047"/>
                <a:gd name="connsiteX11" fmla="*/ 568308 w 1590658"/>
                <a:gd name="connsiteY11" fmla="*/ 812800 h 928047"/>
                <a:gd name="connsiteX12" fmla="*/ 581008 w 1590658"/>
                <a:gd name="connsiteY12" fmla="*/ 768350 h 928047"/>
                <a:gd name="connsiteX13" fmla="*/ 600058 w 1590658"/>
                <a:gd name="connsiteY13" fmla="*/ 755650 h 928047"/>
                <a:gd name="connsiteX14" fmla="*/ 669908 w 1590658"/>
                <a:gd name="connsiteY14" fmla="*/ 762000 h 928047"/>
                <a:gd name="connsiteX15" fmla="*/ 708008 w 1590658"/>
                <a:gd name="connsiteY15" fmla="*/ 774700 h 928047"/>
                <a:gd name="connsiteX16" fmla="*/ 746108 w 1590658"/>
                <a:gd name="connsiteY16" fmla="*/ 806450 h 928047"/>
                <a:gd name="connsiteX17" fmla="*/ 758808 w 1590658"/>
                <a:gd name="connsiteY17" fmla="*/ 825500 h 928047"/>
                <a:gd name="connsiteX18" fmla="*/ 784208 w 1590658"/>
                <a:gd name="connsiteY18" fmla="*/ 831850 h 928047"/>
                <a:gd name="connsiteX19" fmla="*/ 822308 w 1590658"/>
                <a:gd name="connsiteY19" fmla="*/ 819150 h 928047"/>
                <a:gd name="connsiteX20" fmla="*/ 841358 w 1590658"/>
                <a:gd name="connsiteY20" fmla="*/ 812800 h 928047"/>
                <a:gd name="connsiteX21" fmla="*/ 860408 w 1590658"/>
                <a:gd name="connsiteY21" fmla="*/ 819150 h 928047"/>
                <a:gd name="connsiteX22" fmla="*/ 904858 w 1590658"/>
                <a:gd name="connsiteY22" fmla="*/ 869950 h 928047"/>
                <a:gd name="connsiteX23" fmla="*/ 936608 w 1590658"/>
                <a:gd name="connsiteY23" fmla="*/ 863600 h 928047"/>
                <a:gd name="connsiteX24" fmla="*/ 962008 w 1590658"/>
                <a:gd name="connsiteY24" fmla="*/ 857250 h 928047"/>
                <a:gd name="connsiteX25" fmla="*/ 981058 w 1590658"/>
                <a:gd name="connsiteY25" fmla="*/ 863600 h 928047"/>
                <a:gd name="connsiteX26" fmla="*/ 1019158 w 1590658"/>
                <a:gd name="connsiteY26" fmla="*/ 844550 h 928047"/>
                <a:gd name="connsiteX27" fmla="*/ 1050908 w 1590658"/>
                <a:gd name="connsiteY27" fmla="*/ 812800 h 928047"/>
                <a:gd name="connsiteX28" fmla="*/ 1069958 w 1590658"/>
                <a:gd name="connsiteY28" fmla="*/ 825500 h 928047"/>
                <a:gd name="connsiteX29" fmla="*/ 1095358 w 1590658"/>
                <a:gd name="connsiteY29" fmla="*/ 838200 h 928047"/>
                <a:gd name="connsiteX30" fmla="*/ 1120758 w 1590658"/>
                <a:gd name="connsiteY30" fmla="*/ 806450 h 928047"/>
                <a:gd name="connsiteX31" fmla="*/ 1146158 w 1590658"/>
                <a:gd name="connsiteY31" fmla="*/ 812800 h 928047"/>
                <a:gd name="connsiteX32" fmla="*/ 1165208 w 1590658"/>
                <a:gd name="connsiteY32" fmla="*/ 806450 h 928047"/>
                <a:gd name="connsiteX33" fmla="*/ 1203308 w 1590658"/>
                <a:gd name="connsiteY33" fmla="*/ 774700 h 928047"/>
                <a:gd name="connsiteX34" fmla="*/ 1216008 w 1590658"/>
                <a:gd name="connsiteY34" fmla="*/ 755650 h 928047"/>
                <a:gd name="connsiteX35" fmla="*/ 1235058 w 1590658"/>
                <a:gd name="connsiteY35" fmla="*/ 679450 h 928047"/>
                <a:gd name="connsiteX36" fmla="*/ 1292208 w 1590658"/>
                <a:gd name="connsiteY36" fmla="*/ 641350 h 928047"/>
                <a:gd name="connsiteX37" fmla="*/ 1311258 w 1590658"/>
                <a:gd name="connsiteY37" fmla="*/ 628650 h 928047"/>
                <a:gd name="connsiteX38" fmla="*/ 1336658 w 1590658"/>
                <a:gd name="connsiteY38" fmla="*/ 596900 h 928047"/>
                <a:gd name="connsiteX39" fmla="*/ 1355708 w 1590658"/>
                <a:gd name="connsiteY39" fmla="*/ 609600 h 928047"/>
                <a:gd name="connsiteX40" fmla="*/ 1362058 w 1590658"/>
                <a:gd name="connsiteY40" fmla="*/ 635000 h 928047"/>
                <a:gd name="connsiteX41" fmla="*/ 1374758 w 1590658"/>
                <a:gd name="connsiteY41" fmla="*/ 654050 h 928047"/>
                <a:gd name="connsiteX42" fmla="*/ 1457308 w 1590658"/>
                <a:gd name="connsiteY42" fmla="*/ 673100 h 928047"/>
                <a:gd name="connsiteX43" fmla="*/ 1495408 w 1590658"/>
                <a:gd name="connsiteY43" fmla="*/ 679450 h 928047"/>
                <a:gd name="connsiteX44" fmla="*/ 1508108 w 1590658"/>
                <a:gd name="connsiteY44" fmla="*/ 698500 h 928047"/>
                <a:gd name="connsiteX45" fmla="*/ 1495408 w 1590658"/>
                <a:gd name="connsiteY45" fmla="*/ 755650 h 928047"/>
                <a:gd name="connsiteX46" fmla="*/ 1501758 w 1590658"/>
                <a:gd name="connsiteY46" fmla="*/ 787400 h 928047"/>
                <a:gd name="connsiteX47" fmla="*/ 1539858 w 1590658"/>
                <a:gd name="connsiteY47" fmla="*/ 774700 h 928047"/>
                <a:gd name="connsiteX48" fmla="*/ 1558908 w 1590658"/>
                <a:gd name="connsiteY48" fmla="*/ 762000 h 928047"/>
                <a:gd name="connsiteX49" fmla="*/ 1571608 w 1590658"/>
                <a:gd name="connsiteY49" fmla="*/ 742950 h 928047"/>
                <a:gd name="connsiteX50" fmla="*/ 1590658 w 1590658"/>
                <a:gd name="connsiteY50" fmla="*/ 736600 h 928047"/>
                <a:gd name="connsiteX51" fmla="*/ 1584308 w 1590658"/>
                <a:gd name="connsiteY51" fmla="*/ 692150 h 928047"/>
                <a:gd name="connsiteX52" fmla="*/ 1565258 w 1590658"/>
                <a:gd name="connsiteY52" fmla="*/ 635000 h 928047"/>
                <a:gd name="connsiteX53" fmla="*/ 1558908 w 1590658"/>
                <a:gd name="connsiteY53" fmla="*/ 609600 h 928047"/>
                <a:gd name="connsiteX54" fmla="*/ 1546208 w 1590658"/>
                <a:gd name="connsiteY54" fmla="*/ 590550 h 928047"/>
                <a:gd name="connsiteX55" fmla="*/ 1539858 w 1590658"/>
                <a:gd name="connsiteY55" fmla="*/ 571500 h 928047"/>
                <a:gd name="connsiteX56" fmla="*/ 1533508 w 1590658"/>
                <a:gd name="connsiteY56" fmla="*/ 457200 h 928047"/>
                <a:gd name="connsiteX57" fmla="*/ 1514458 w 1590658"/>
                <a:gd name="connsiteY57" fmla="*/ 438150 h 928047"/>
                <a:gd name="connsiteX58" fmla="*/ 1463658 w 1590658"/>
                <a:gd name="connsiteY58" fmla="*/ 444500 h 928047"/>
                <a:gd name="connsiteX59" fmla="*/ 1419208 w 1590658"/>
                <a:gd name="connsiteY59" fmla="*/ 438150 h 928047"/>
                <a:gd name="connsiteX60" fmla="*/ 1400158 w 1590658"/>
                <a:gd name="connsiteY60" fmla="*/ 431800 h 928047"/>
                <a:gd name="connsiteX61" fmla="*/ 1368408 w 1590658"/>
                <a:gd name="connsiteY61" fmla="*/ 406400 h 928047"/>
                <a:gd name="connsiteX62" fmla="*/ 1349358 w 1590658"/>
                <a:gd name="connsiteY62" fmla="*/ 393700 h 928047"/>
                <a:gd name="connsiteX63" fmla="*/ 1355708 w 1590658"/>
                <a:gd name="connsiteY63" fmla="*/ 374650 h 928047"/>
                <a:gd name="connsiteX64" fmla="*/ 1438258 w 1590658"/>
                <a:gd name="connsiteY64" fmla="*/ 368300 h 928047"/>
                <a:gd name="connsiteX65" fmla="*/ 1457308 w 1590658"/>
                <a:gd name="connsiteY65" fmla="*/ 355600 h 928047"/>
                <a:gd name="connsiteX66" fmla="*/ 1470008 w 1590658"/>
                <a:gd name="connsiteY66" fmla="*/ 317500 h 928047"/>
                <a:gd name="connsiteX67" fmla="*/ 1450958 w 1590658"/>
                <a:gd name="connsiteY67" fmla="*/ 298450 h 928047"/>
                <a:gd name="connsiteX68" fmla="*/ 1438258 w 1590658"/>
                <a:gd name="connsiteY68" fmla="*/ 279400 h 928047"/>
                <a:gd name="connsiteX69" fmla="*/ 1419208 w 1590658"/>
                <a:gd name="connsiteY69" fmla="*/ 273050 h 928047"/>
                <a:gd name="connsiteX70" fmla="*/ 1381108 w 1590658"/>
                <a:gd name="connsiteY70" fmla="*/ 247650 h 928047"/>
                <a:gd name="connsiteX71" fmla="*/ 1343008 w 1590658"/>
                <a:gd name="connsiteY71" fmla="*/ 234950 h 928047"/>
                <a:gd name="connsiteX72" fmla="*/ 1330308 w 1590658"/>
                <a:gd name="connsiteY72" fmla="*/ 215900 h 928047"/>
                <a:gd name="connsiteX73" fmla="*/ 1323958 w 1590658"/>
                <a:gd name="connsiteY73" fmla="*/ 196850 h 928047"/>
                <a:gd name="connsiteX74" fmla="*/ 1304908 w 1590658"/>
                <a:gd name="connsiteY74" fmla="*/ 184150 h 928047"/>
                <a:gd name="connsiteX75" fmla="*/ 1266808 w 1590658"/>
                <a:gd name="connsiteY75" fmla="*/ 196850 h 928047"/>
                <a:gd name="connsiteX76" fmla="*/ 1228708 w 1590658"/>
                <a:gd name="connsiteY76" fmla="*/ 184150 h 928047"/>
                <a:gd name="connsiteX77" fmla="*/ 1196958 w 1590658"/>
                <a:gd name="connsiteY77" fmla="*/ 190500 h 928047"/>
                <a:gd name="connsiteX78" fmla="*/ 1177908 w 1590658"/>
                <a:gd name="connsiteY78" fmla="*/ 196850 h 928047"/>
                <a:gd name="connsiteX79" fmla="*/ 1139808 w 1590658"/>
                <a:gd name="connsiteY79" fmla="*/ 171450 h 928047"/>
                <a:gd name="connsiteX80" fmla="*/ 1120758 w 1590658"/>
                <a:gd name="connsiteY80" fmla="*/ 152400 h 928047"/>
                <a:gd name="connsiteX81" fmla="*/ 1082658 w 1590658"/>
                <a:gd name="connsiteY81" fmla="*/ 127000 h 928047"/>
                <a:gd name="connsiteX82" fmla="*/ 1069958 w 1590658"/>
                <a:gd name="connsiteY82" fmla="*/ 107950 h 928047"/>
                <a:gd name="connsiteX83" fmla="*/ 1031858 w 1590658"/>
                <a:gd name="connsiteY83" fmla="*/ 101600 h 928047"/>
                <a:gd name="connsiteX84" fmla="*/ 1012808 w 1590658"/>
                <a:gd name="connsiteY84" fmla="*/ 88900 h 928047"/>
                <a:gd name="connsiteX85" fmla="*/ 1019158 w 1590658"/>
                <a:gd name="connsiteY85" fmla="*/ 57150 h 928047"/>
                <a:gd name="connsiteX86" fmla="*/ 1025508 w 1590658"/>
                <a:gd name="connsiteY86" fmla="*/ 38100 h 928047"/>
                <a:gd name="connsiteX87" fmla="*/ 987408 w 1590658"/>
                <a:gd name="connsiteY87" fmla="*/ 12700 h 928047"/>
                <a:gd name="connsiteX88" fmla="*/ 949308 w 1590658"/>
                <a:gd name="connsiteY88" fmla="*/ 0 h 928047"/>
                <a:gd name="connsiteX89" fmla="*/ 911208 w 1590658"/>
                <a:gd name="connsiteY89" fmla="*/ 19050 h 928047"/>
                <a:gd name="connsiteX90" fmla="*/ 898508 w 1590658"/>
                <a:gd name="connsiteY90" fmla="*/ 38100 h 928047"/>
                <a:gd name="connsiteX91" fmla="*/ 873108 w 1590658"/>
                <a:gd name="connsiteY91" fmla="*/ 44450 h 928047"/>
                <a:gd name="connsiteX92" fmla="*/ 847708 w 1590658"/>
                <a:gd name="connsiteY92" fmla="*/ 38100 h 928047"/>
                <a:gd name="connsiteX93" fmla="*/ 809608 w 1590658"/>
                <a:gd name="connsiteY93" fmla="*/ 44450 h 928047"/>
                <a:gd name="connsiteX94" fmla="*/ 765158 w 1590658"/>
                <a:gd name="connsiteY94" fmla="*/ 57150 h 928047"/>
                <a:gd name="connsiteX95" fmla="*/ 746108 w 1590658"/>
                <a:gd name="connsiteY95" fmla="*/ 69850 h 928047"/>
                <a:gd name="connsiteX96" fmla="*/ 733408 w 1590658"/>
                <a:gd name="connsiteY96" fmla="*/ 127000 h 928047"/>
                <a:gd name="connsiteX97" fmla="*/ 714358 w 1590658"/>
                <a:gd name="connsiteY97" fmla="*/ 120650 h 928047"/>
                <a:gd name="connsiteX98" fmla="*/ 695308 w 1590658"/>
                <a:gd name="connsiteY98" fmla="*/ 107950 h 928047"/>
                <a:gd name="connsiteX99" fmla="*/ 676258 w 1590658"/>
                <a:gd name="connsiteY99" fmla="*/ 114300 h 928047"/>
                <a:gd name="connsiteX100" fmla="*/ 638158 w 1590658"/>
                <a:gd name="connsiteY100" fmla="*/ 139700 h 928047"/>
                <a:gd name="connsiteX101" fmla="*/ 606408 w 1590658"/>
                <a:gd name="connsiteY101" fmla="*/ 171450 h 928047"/>
                <a:gd name="connsiteX102" fmla="*/ 593708 w 1590658"/>
                <a:gd name="connsiteY102" fmla="*/ 190500 h 928047"/>
                <a:gd name="connsiteX103" fmla="*/ 441308 w 1590658"/>
                <a:gd name="connsiteY103" fmla="*/ 209550 h 928047"/>
                <a:gd name="connsiteX104" fmla="*/ 396858 w 1590658"/>
                <a:gd name="connsiteY104" fmla="*/ 222250 h 928047"/>
                <a:gd name="connsiteX105" fmla="*/ 390508 w 1590658"/>
                <a:gd name="connsiteY105" fmla="*/ 241300 h 928047"/>
                <a:gd name="connsiteX106" fmla="*/ 403208 w 1590658"/>
                <a:gd name="connsiteY106" fmla="*/ 260350 h 928047"/>
                <a:gd name="connsiteX107" fmla="*/ 377808 w 1590658"/>
                <a:gd name="connsiteY107" fmla="*/ 292100 h 928047"/>
                <a:gd name="connsiteX108" fmla="*/ 346058 w 1590658"/>
                <a:gd name="connsiteY108" fmla="*/ 330200 h 928047"/>
                <a:gd name="connsiteX109" fmla="*/ 320658 w 1590658"/>
                <a:gd name="connsiteY109" fmla="*/ 368300 h 928047"/>
                <a:gd name="connsiteX110" fmla="*/ 295258 w 1590658"/>
                <a:gd name="connsiteY110" fmla="*/ 361950 h 928047"/>
                <a:gd name="connsiteX111" fmla="*/ 276208 w 1590658"/>
                <a:gd name="connsiteY111" fmla="*/ 349250 h 928047"/>
                <a:gd name="connsiteX112" fmla="*/ 238108 w 1590658"/>
                <a:gd name="connsiteY112" fmla="*/ 330200 h 928047"/>
                <a:gd name="connsiteX113" fmla="*/ 231758 w 1590658"/>
                <a:gd name="connsiteY113" fmla="*/ 311150 h 928047"/>
                <a:gd name="connsiteX114" fmla="*/ 193658 w 1590658"/>
                <a:gd name="connsiteY114" fmla="*/ 298450 h 928047"/>
                <a:gd name="connsiteX115" fmla="*/ 168258 w 1590658"/>
                <a:gd name="connsiteY115" fmla="*/ 304800 h 928047"/>
                <a:gd name="connsiteX116" fmla="*/ 130158 w 1590658"/>
                <a:gd name="connsiteY116" fmla="*/ 317500 h 928047"/>
                <a:gd name="connsiteX117" fmla="*/ 111108 w 1590658"/>
                <a:gd name="connsiteY117" fmla="*/ 330200 h 928047"/>
                <a:gd name="connsiteX118" fmla="*/ 92058 w 1590658"/>
                <a:gd name="connsiteY118" fmla="*/ 381000 h 928047"/>
                <a:gd name="connsiteX119" fmla="*/ 73008 w 1590658"/>
                <a:gd name="connsiteY119" fmla="*/ 387350 h 928047"/>
                <a:gd name="connsiteX120" fmla="*/ 53958 w 1590658"/>
                <a:gd name="connsiteY120" fmla="*/ 463550 h 928047"/>
                <a:gd name="connsiteX121" fmla="*/ 60308 w 1590658"/>
                <a:gd name="connsiteY121" fmla="*/ 482600 h 928047"/>
                <a:gd name="connsiteX122" fmla="*/ 73008 w 1590658"/>
                <a:gd name="connsiteY122" fmla="*/ 501650 h 928047"/>
                <a:gd name="connsiteX123" fmla="*/ 111108 w 1590658"/>
                <a:gd name="connsiteY123" fmla="*/ 527050 h 928047"/>
                <a:gd name="connsiteX124" fmla="*/ 130158 w 1590658"/>
                <a:gd name="connsiteY124" fmla="*/ 565150 h 928047"/>
                <a:gd name="connsiteX125" fmla="*/ 104758 w 1590658"/>
                <a:gd name="connsiteY125" fmla="*/ 603250 h 928047"/>
                <a:gd name="connsiteX126" fmla="*/ 85708 w 1590658"/>
                <a:gd name="connsiteY126" fmla="*/ 641350 h 928047"/>
                <a:gd name="connsiteX127" fmla="*/ 47608 w 1590658"/>
                <a:gd name="connsiteY127" fmla="*/ 673100 h 928047"/>
                <a:gd name="connsiteX128" fmla="*/ 15858 w 1590658"/>
                <a:gd name="connsiteY128" fmla="*/ 704850 h 928047"/>
                <a:gd name="connsiteX129" fmla="*/ 3158 w 1590658"/>
                <a:gd name="connsiteY129" fmla="*/ 723900 h 928047"/>
                <a:gd name="connsiteX130" fmla="*/ 28558 w 1590658"/>
                <a:gd name="connsiteY130" fmla="*/ 762000 h 928047"/>
                <a:gd name="connsiteX131" fmla="*/ 47608 w 1590658"/>
                <a:gd name="connsiteY131" fmla="*/ 768350 h 928047"/>
                <a:gd name="connsiteX132" fmla="*/ 79358 w 1590658"/>
                <a:gd name="connsiteY132" fmla="*/ 800100 h 928047"/>
                <a:gd name="connsiteX133" fmla="*/ 123808 w 1590658"/>
                <a:gd name="connsiteY133" fmla="*/ 787400 h 928047"/>
                <a:gd name="connsiteX134" fmla="*/ 149208 w 1590658"/>
                <a:gd name="connsiteY134" fmla="*/ 793750 h 928047"/>
                <a:gd name="connsiteX135" fmla="*/ 161908 w 1590658"/>
                <a:gd name="connsiteY135" fmla="*/ 812800 h 928047"/>
                <a:gd name="connsiteX136" fmla="*/ 174608 w 1590658"/>
                <a:gd name="connsiteY136" fmla="*/ 850900 h 928047"/>
                <a:gd name="connsiteX137" fmla="*/ 212708 w 1590658"/>
                <a:gd name="connsiteY137" fmla="*/ 882650 h 928047"/>
                <a:gd name="connsiteX138" fmla="*/ 250808 w 1590658"/>
                <a:gd name="connsiteY138" fmla="*/ 908050 h 928047"/>
                <a:gd name="connsiteX139" fmla="*/ 269858 w 1590658"/>
                <a:gd name="connsiteY139" fmla="*/ 920750 h 928047"/>
                <a:gd name="connsiteX140" fmla="*/ 301608 w 1590658"/>
                <a:gd name="connsiteY140" fmla="*/ 927100 h 928047"/>
                <a:gd name="connsiteX141" fmla="*/ 269858 w 1590658"/>
                <a:gd name="connsiteY141" fmla="*/ 920750 h 928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590658" h="928047">
                  <a:moveTo>
                    <a:pt x="269858" y="920750"/>
                  </a:moveTo>
                  <a:cubicBezTo>
                    <a:pt x="270916" y="918633"/>
                    <a:pt x="295389" y="917193"/>
                    <a:pt x="307958" y="914400"/>
                  </a:cubicBezTo>
                  <a:cubicBezTo>
                    <a:pt x="314492" y="912948"/>
                    <a:pt x="320315" y="908050"/>
                    <a:pt x="327008" y="908050"/>
                  </a:cubicBezTo>
                  <a:cubicBezTo>
                    <a:pt x="346175" y="908050"/>
                    <a:pt x="365108" y="912283"/>
                    <a:pt x="384158" y="914400"/>
                  </a:cubicBezTo>
                  <a:cubicBezTo>
                    <a:pt x="386275" y="908050"/>
                    <a:pt x="387515" y="901337"/>
                    <a:pt x="390508" y="895350"/>
                  </a:cubicBezTo>
                  <a:cubicBezTo>
                    <a:pt x="393921" y="888524"/>
                    <a:pt x="400795" y="883540"/>
                    <a:pt x="403208" y="876300"/>
                  </a:cubicBezTo>
                  <a:cubicBezTo>
                    <a:pt x="419040" y="828804"/>
                    <a:pt x="392986" y="843724"/>
                    <a:pt x="428608" y="831850"/>
                  </a:cubicBezTo>
                  <a:cubicBezTo>
                    <a:pt x="437075" y="833967"/>
                    <a:pt x="445986" y="834762"/>
                    <a:pt x="454008" y="838200"/>
                  </a:cubicBezTo>
                  <a:cubicBezTo>
                    <a:pt x="461023" y="841206"/>
                    <a:pt x="466232" y="847487"/>
                    <a:pt x="473058" y="850900"/>
                  </a:cubicBezTo>
                  <a:cubicBezTo>
                    <a:pt x="479045" y="853893"/>
                    <a:pt x="485758" y="855133"/>
                    <a:pt x="492108" y="857250"/>
                  </a:cubicBezTo>
                  <a:cubicBezTo>
                    <a:pt x="498458" y="848783"/>
                    <a:pt x="503123" y="838738"/>
                    <a:pt x="511158" y="831850"/>
                  </a:cubicBezTo>
                  <a:cubicBezTo>
                    <a:pt x="527161" y="818133"/>
                    <a:pt x="548997" y="816662"/>
                    <a:pt x="568308" y="812800"/>
                  </a:cubicBezTo>
                  <a:cubicBezTo>
                    <a:pt x="568723" y="811141"/>
                    <a:pt x="577695" y="772491"/>
                    <a:pt x="581008" y="768350"/>
                  </a:cubicBezTo>
                  <a:cubicBezTo>
                    <a:pt x="585776" y="762391"/>
                    <a:pt x="593708" y="759883"/>
                    <a:pt x="600058" y="755650"/>
                  </a:cubicBezTo>
                  <a:cubicBezTo>
                    <a:pt x="623341" y="757767"/>
                    <a:pt x="646884" y="757937"/>
                    <a:pt x="669908" y="762000"/>
                  </a:cubicBezTo>
                  <a:cubicBezTo>
                    <a:pt x="683091" y="764326"/>
                    <a:pt x="708008" y="774700"/>
                    <a:pt x="708008" y="774700"/>
                  </a:cubicBezTo>
                  <a:cubicBezTo>
                    <a:pt x="726739" y="787187"/>
                    <a:pt x="730829" y="788115"/>
                    <a:pt x="746108" y="806450"/>
                  </a:cubicBezTo>
                  <a:cubicBezTo>
                    <a:pt x="750994" y="812313"/>
                    <a:pt x="752458" y="821267"/>
                    <a:pt x="758808" y="825500"/>
                  </a:cubicBezTo>
                  <a:cubicBezTo>
                    <a:pt x="766070" y="830341"/>
                    <a:pt x="775741" y="829733"/>
                    <a:pt x="784208" y="831850"/>
                  </a:cubicBezTo>
                  <a:lnTo>
                    <a:pt x="822308" y="819150"/>
                  </a:lnTo>
                  <a:lnTo>
                    <a:pt x="841358" y="812800"/>
                  </a:lnTo>
                  <a:cubicBezTo>
                    <a:pt x="847708" y="814917"/>
                    <a:pt x="855675" y="814417"/>
                    <a:pt x="860408" y="819150"/>
                  </a:cubicBezTo>
                  <a:cubicBezTo>
                    <a:pt x="934491" y="893233"/>
                    <a:pt x="850883" y="833967"/>
                    <a:pt x="904858" y="869950"/>
                  </a:cubicBezTo>
                  <a:cubicBezTo>
                    <a:pt x="915441" y="867833"/>
                    <a:pt x="926072" y="865941"/>
                    <a:pt x="936608" y="863600"/>
                  </a:cubicBezTo>
                  <a:cubicBezTo>
                    <a:pt x="945127" y="861707"/>
                    <a:pt x="953281" y="857250"/>
                    <a:pt x="962008" y="857250"/>
                  </a:cubicBezTo>
                  <a:cubicBezTo>
                    <a:pt x="968701" y="857250"/>
                    <a:pt x="974708" y="861483"/>
                    <a:pt x="981058" y="863600"/>
                  </a:cubicBezTo>
                  <a:cubicBezTo>
                    <a:pt x="996552" y="858435"/>
                    <a:pt x="1006848" y="856860"/>
                    <a:pt x="1019158" y="844550"/>
                  </a:cubicBezTo>
                  <a:cubicBezTo>
                    <a:pt x="1061491" y="802217"/>
                    <a:pt x="1000108" y="846667"/>
                    <a:pt x="1050908" y="812800"/>
                  </a:cubicBezTo>
                  <a:cubicBezTo>
                    <a:pt x="1057258" y="817033"/>
                    <a:pt x="1065190" y="819541"/>
                    <a:pt x="1069958" y="825500"/>
                  </a:cubicBezTo>
                  <a:cubicBezTo>
                    <a:pt x="1087783" y="847781"/>
                    <a:pt x="1060600" y="849786"/>
                    <a:pt x="1095358" y="838200"/>
                  </a:cubicBezTo>
                  <a:cubicBezTo>
                    <a:pt x="1100163" y="823786"/>
                    <a:pt x="1100652" y="809322"/>
                    <a:pt x="1120758" y="806450"/>
                  </a:cubicBezTo>
                  <a:cubicBezTo>
                    <a:pt x="1129398" y="805216"/>
                    <a:pt x="1137691" y="810683"/>
                    <a:pt x="1146158" y="812800"/>
                  </a:cubicBezTo>
                  <a:cubicBezTo>
                    <a:pt x="1152508" y="810683"/>
                    <a:pt x="1159221" y="809443"/>
                    <a:pt x="1165208" y="806450"/>
                  </a:cubicBezTo>
                  <a:cubicBezTo>
                    <a:pt x="1179479" y="799314"/>
                    <a:pt x="1193277" y="786737"/>
                    <a:pt x="1203308" y="774700"/>
                  </a:cubicBezTo>
                  <a:cubicBezTo>
                    <a:pt x="1208194" y="768837"/>
                    <a:pt x="1211775" y="762000"/>
                    <a:pt x="1216008" y="755650"/>
                  </a:cubicBezTo>
                  <a:cubicBezTo>
                    <a:pt x="1218693" y="731483"/>
                    <a:pt x="1213521" y="698295"/>
                    <a:pt x="1235058" y="679450"/>
                  </a:cubicBezTo>
                  <a:lnTo>
                    <a:pt x="1292208" y="641350"/>
                  </a:lnTo>
                  <a:lnTo>
                    <a:pt x="1311258" y="628650"/>
                  </a:lnTo>
                  <a:cubicBezTo>
                    <a:pt x="1315223" y="616755"/>
                    <a:pt x="1317510" y="596900"/>
                    <a:pt x="1336658" y="596900"/>
                  </a:cubicBezTo>
                  <a:cubicBezTo>
                    <a:pt x="1344290" y="596900"/>
                    <a:pt x="1349358" y="605367"/>
                    <a:pt x="1355708" y="609600"/>
                  </a:cubicBezTo>
                  <a:cubicBezTo>
                    <a:pt x="1357825" y="618067"/>
                    <a:pt x="1358620" y="626978"/>
                    <a:pt x="1362058" y="635000"/>
                  </a:cubicBezTo>
                  <a:cubicBezTo>
                    <a:pt x="1365064" y="642015"/>
                    <a:pt x="1369362" y="648654"/>
                    <a:pt x="1374758" y="654050"/>
                  </a:cubicBezTo>
                  <a:cubicBezTo>
                    <a:pt x="1398236" y="677528"/>
                    <a:pt x="1423205" y="668837"/>
                    <a:pt x="1457308" y="673100"/>
                  </a:cubicBezTo>
                  <a:cubicBezTo>
                    <a:pt x="1470084" y="674697"/>
                    <a:pt x="1482708" y="677333"/>
                    <a:pt x="1495408" y="679450"/>
                  </a:cubicBezTo>
                  <a:cubicBezTo>
                    <a:pt x="1499641" y="685800"/>
                    <a:pt x="1507265" y="690915"/>
                    <a:pt x="1508108" y="698500"/>
                  </a:cubicBezTo>
                  <a:cubicBezTo>
                    <a:pt x="1509971" y="715263"/>
                    <a:pt x="1500988" y="738910"/>
                    <a:pt x="1495408" y="755650"/>
                  </a:cubicBezTo>
                  <a:cubicBezTo>
                    <a:pt x="1497525" y="766233"/>
                    <a:pt x="1491838" y="783148"/>
                    <a:pt x="1501758" y="787400"/>
                  </a:cubicBezTo>
                  <a:cubicBezTo>
                    <a:pt x="1514063" y="792673"/>
                    <a:pt x="1539858" y="774700"/>
                    <a:pt x="1539858" y="774700"/>
                  </a:cubicBezTo>
                  <a:cubicBezTo>
                    <a:pt x="1546208" y="770467"/>
                    <a:pt x="1553512" y="767396"/>
                    <a:pt x="1558908" y="762000"/>
                  </a:cubicBezTo>
                  <a:cubicBezTo>
                    <a:pt x="1564304" y="756604"/>
                    <a:pt x="1565649" y="747718"/>
                    <a:pt x="1571608" y="742950"/>
                  </a:cubicBezTo>
                  <a:cubicBezTo>
                    <a:pt x="1576835" y="738769"/>
                    <a:pt x="1584308" y="738717"/>
                    <a:pt x="1590658" y="736600"/>
                  </a:cubicBezTo>
                  <a:cubicBezTo>
                    <a:pt x="1588541" y="721783"/>
                    <a:pt x="1587673" y="706734"/>
                    <a:pt x="1584308" y="692150"/>
                  </a:cubicBezTo>
                  <a:cubicBezTo>
                    <a:pt x="1565258" y="609600"/>
                    <a:pt x="1577958" y="685800"/>
                    <a:pt x="1565258" y="635000"/>
                  </a:cubicBezTo>
                  <a:cubicBezTo>
                    <a:pt x="1563141" y="626533"/>
                    <a:pt x="1562346" y="617622"/>
                    <a:pt x="1558908" y="609600"/>
                  </a:cubicBezTo>
                  <a:cubicBezTo>
                    <a:pt x="1555902" y="602585"/>
                    <a:pt x="1549621" y="597376"/>
                    <a:pt x="1546208" y="590550"/>
                  </a:cubicBezTo>
                  <a:cubicBezTo>
                    <a:pt x="1543215" y="584563"/>
                    <a:pt x="1541975" y="577850"/>
                    <a:pt x="1539858" y="571500"/>
                  </a:cubicBezTo>
                  <a:cubicBezTo>
                    <a:pt x="1537741" y="533400"/>
                    <a:pt x="1540648" y="494685"/>
                    <a:pt x="1533508" y="457200"/>
                  </a:cubicBezTo>
                  <a:cubicBezTo>
                    <a:pt x="1531828" y="448378"/>
                    <a:pt x="1523293" y="439756"/>
                    <a:pt x="1514458" y="438150"/>
                  </a:cubicBezTo>
                  <a:cubicBezTo>
                    <a:pt x="1497668" y="435097"/>
                    <a:pt x="1480591" y="442383"/>
                    <a:pt x="1463658" y="444500"/>
                  </a:cubicBezTo>
                  <a:cubicBezTo>
                    <a:pt x="1448841" y="442383"/>
                    <a:pt x="1433884" y="441085"/>
                    <a:pt x="1419208" y="438150"/>
                  </a:cubicBezTo>
                  <a:cubicBezTo>
                    <a:pt x="1412644" y="436837"/>
                    <a:pt x="1405385" y="435981"/>
                    <a:pt x="1400158" y="431800"/>
                  </a:cubicBezTo>
                  <a:cubicBezTo>
                    <a:pt x="1359126" y="398974"/>
                    <a:pt x="1416291" y="422361"/>
                    <a:pt x="1368408" y="406400"/>
                  </a:cubicBezTo>
                  <a:cubicBezTo>
                    <a:pt x="1362058" y="402167"/>
                    <a:pt x="1352192" y="400786"/>
                    <a:pt x="1349358" y="393700"/>
                  </a:cubicBezTo>
                  <a:cubicBezTo>
                    <a:pt x="1346872" y="387485"/>
                    <a:pt x="1349272" y="376489"/>
                    <a:pt x="1355708" y="374650"/>
                  </a:cubicBezTo>
                  <a:cubicBezTo>
                    <a:pt x="1382244" y="367068"/>
                    <a:pt x="1410741" y="370417"/>
                    <a:pt x="1438258" y="368300"/>
                  </a:cubicBezTo>
                  <a:cubicBezTo>
                    <a:pt x="1444608" y="364067"/>
                    <a:pt x="1453263" y="362072"/>
                    <a:pt x="1457308" y="355600"/>
                  </a:cubicBezTo>
                  <a:cubicBezTo>
                    <a:pt x="1464403" y="344248"/>
                    <a:pt x="1470008" y="317500"/>
                    <a:pt x="1470008" y="317500"/>
                  </a:cubicBezTo>
                  <a:cubicBezTo>
                    <a:pt x="1463658" y="311150"/>
                    <a:pt x="1456707" y="305349"/>
                    <a:pt x="1450958" y="298450"/>
                  </a:cubicBezTo>
                  <a:cubicBezTo>
                    <a:pt x="1446072" y="292587"/>
                    <a:pt x="1444217" y="284168"/>
                    <a:pt x="1438258" y="279400"/>
                  </a:cubicBezTo>
                  <a:cubicBezTo>
                    <a:pt x="1433031" y="275219"/>
                    <a:pt x="1425558" y="275167"/>
                    <a:pt x="1419208" y="273050"/>
                  </a:cubicBezTo>
                  <a:lnTo>
                    <a:pt x="1381108" y="247650"/>
                  </a:lnTo>
                  <a:cubicBezTo>
                    <a:pt x="1369969" y="240224"/>
                    <a:pt x="1343008" y="234950"/>
                    <a:pt x="1343008" y="234950"/>
                  </a:cubicBezTo>
                  <a:cubicBezTo>
                    <a:pt x="1338775" y="228600"/>
                    <a:pt x="1333721" y="222726"/>
                    <a:pt x="1330308" y="215900"/>
                  </a:cubicBezTo>
                  <a:cubicBezTo>
                    <a:pt x="1327315" y="209913"/>
                    <a:pt x="1328139" y="202077"/>
                    <a:pt x="1323958" y="196850"/>
                  </a:cubicBezTo>
                  <a:cubicBezTo>
                    <a:pt x="1319190" y="190891"/>
                    <a:pt x="1311258" y="188383"/>
                    <a:pt x="1304908" y="184150"/>
                  </a:cubicBezTo>
                  <a:cubicBezTo>
                    <a:pt x="1292208" y="188383"/>
                    <a:pt x="1279508" y="201083"/>
                    <a:pt x="1266808" y="196850"/>
                  </a:cubicBezTo>
                  <a:lnTo>
                    <a:pt x="1228708" y="184150"/>
                  </a:lnTo>
                  <a:cubicBezTo>
                    <a:pt x="1218125" y="186267"/>
                    <a:pt x="1207429" y="187882"/>
                    <a:pt x="1196958" y="190500"/>
                  </a:cubicBezTo>
                  <a:cubicBezTo>
                    <a:pt x="1190464" y="192123"/>
                    <a:pt x="1184258" y="198967"/>
                    <a:pt x="1177908" y="196850"/>
                  </a:cubicBezTo>
                  <a:cubicBezTo>
                    <a:pt x="1163428" y="192023"/>
                    <a:pt x="1152508" y="179917"/>
                    <a:pt x="1139808" y="171450"/>
                  </a:cubicBezTo>
                  <a:cubicBezTo>
                    <a:pt x="1132336" y="166469"/>
                    <a:pt x="1127847" y="157913"/>
                    <a:pt x="1120758" y="152400"/>
                  </a:cubicBezTo>
                  <a:cubicBezTo>
                    <a:pt x="1108710" y="143029"/>
                    <a:pt x="1082658" y="127000"/>
                    <a:pt x="1082658" y="127000"/>
                  </a:cubicBezTo>
                  <a:cubicBezTo>
                    <a:pt x="1078425" y="120650"/>
                    <a:pt x="1076784" y="111363"/>
                    <a:pt x="1069958" y="107950"/>
                  </a:cubicBezTo>
                  <a:cubicBezTo>
                    <a:pt x="1058442" y="102192"/>
                    <a:pt x="1044072" y="105671"/>
                    <a:pt x="1031858" y="101600"/>
                  </a:cubicBezTo>
                  <a:cubicBezTo>
                    <a:pt x="1024618" y="99187"/>
                    <a:pt x="1019158" y="93133"/>
                    <a:pt x="1012808" y="88900"/>
                  </a:cubicBezTo>
                  <a:cubicBezTo>
                    <a:pt x="1014925" y="78317"/>
                    <a:pt x="1016540" y="67621"/>
                    <a:pt x="1019158" y="57150"/>
                  </a:cubicBezTo>
                  <a:cubicBezTo>
                    <a:pt x="1020781" y="50656"/>
                    <a:pt x="1029399" y="43547"/>
                    <a:pt x="1025508" y="38100"/>
                  </a:cubicBezTo>
                  <a:cubicBezTo>
                    <a:pt x="1016636" y="25680"/>
                    <a:pt x="1000108" y="21167"/>
                    <a:pt x="987408" y="12700"/>
                  </a:cubicBezTo>
                  <a:cubicBezTo>
                    <a:pt x="976269" y="5274"/>
                    <a:pt x="949308" y="0"/>
                    <a:pt x="949308" y="0"/>
                  </a:cubicBezTo>
                  <a:cubicBezTo>
                    <a:pt x="933814" y="5165"/>
                    <a:pt x="923518" y="6740"/>
                    <a:pt x="911208" y="19050"/>
                  </a:cubicBezTo>
                  <a:cubicBezTo>
                    <a:pt x="905812" y="24446"/>
                    <a:pt x="904858" y="33867"/>
                    <a:pt x="898508" y="38100"/>
                  </a:cubicBezTo>
                  <a:cubicBezTo>
                    <a:pt x="891246" y="42941"/>
                    <a:pt x="881575" y="42333"/>
                    <a:pt x="873108" y="44450"/>
                  </a:cubicBezTo>
                  <a:cubicBezTo>
                    <a:pt x="864641" y="42333"/>
                    <a:pt x="856435" y="38100"/>
                    <a:pt x="847708" y="38100"/>
                  </a:cubicBezTo>
                  <a:cubicBezTo>
                    <a:pt x="834833" y="38100"/>
                    <a:pt x="822233" y="41925"/>
                    <a:pt x="809608" y="44450"/>
                  </a:cubicBezTo>
                  <a:cubicBezTo>
                    <a:pt x="789674" y="48437"/>
                    <a:pt x="783314" y="51098"/>
                    <a:pt x="765158" y="57150"/>
                  </a:cubicBezTo>
                  <a:cubicBezTo>
                    <a:pt x="758808" y="61383"/>
                    <a:pt x="750876" y="63891"/>
                    <a:pt x="746108" y="69850"/>
                  </a:cubicBezTo>
                  <a:cubicBezTo>
                    <a:pt x="739526" y="78077"/>
                    <a:pt x="733473" y="126610"/>
                    <a:pt x="733408" y="127000"/>
                  </a:cubicBezTo>
                  <a:cubicBezTo>
                    <a:pt x="727058" y="124883"/>
                    <a:pt x="720345" y="123643"/>
                    <a:pt x="714358" y="120650"/>
                  </a:cubicBezTo>
                  <a:cubicBezTo>
                    <a:pt x="707532" y="117237"/>
                    <a:pt x="702836" y="109205"/>
                    <a:pt x="695308" y="107950"/>
                  </a:cubicBezTo>
                  <a:cubicBezTo>
                    <a:pt x="688706" y="106850"/>
                    <a:pt x="682608" y="112183"/>
                    <a:pt x="676258" y="114300"/>
                  </a:cubicBezTo>
                  <a:cubicBezTo>
                    <a:pt x="663558" y="122767"/>
                    <a:pt x="646625" y="127000"/>
                    <a:pt x="638158" y="139700"/>
                  </a:cubicBezTo>
                  <a:cubicBezTo>
                    <a:pt x="621225" y="165100"/>
                    <a:pt x="631808" y="154517"/>
                    <a:pt x="606408" y="171450"/>
                  </a:cubicBezTo>
                  <a:cubicBezTo>
                    <a:pt x="602175" y="177800"/>
                    <a:pt x="600895" y="187933"/>
                    <a:pt x="593708" y="190500"/>
                  </a:cubicBezTo>
                  <a:cubicBezTo>
                    <a:pt x="562865" y="201515"/>
                    <a:pt x="473389" y="206877"/>
                    <a:pt x="441308" y="209550"/>
                  </a:cubicBezTo>
                  <a:cubicBezTo>
                    <a:pt x="441088" y="209605"/>
                    <a:pt x="399895" y="219213"/>
                    <a:pt x="396858" y="222250"/>
                  </a:cubicBezTo>
                  <a:cubicBezTo>
                    <a:pt x="392125" y="226983"/>
                    <a:pt x="392625" y="234950"/>
                    <a:pt x="390508" y="241300"/>
                  </a:cubicBezTo>
                  <a:cubicBezTo>
                    <a:pt x="394741" y="247650"/>
                    <a:pt x="401953" y="252822"/>
                    <a:pt x="403208" y="260350"/>
                  </a:cubicBezTo>
                  <a:cubicBezTo>
                    <a:pt x="406513" y="280182"/>
                    <a:pt x="388667" y="283051"/>
                    <a:pt x="377808" y="292100"/>
                  </a:cubicBezTo>
                  <a:cubicBezTo>
                    <a:pt x="359473" y="307379"/>
                    <a:pt x="358545" y="311469"/>
                    <a:pt x="346058" y="330200"/>
                  </a:cubicBezTo>
                  <a:cubicBezTo>
                    <a:pt x="341943" y="346660"/>
                    <a:pt x="343396" y="365052"/>
                    <a:pt x="320658" y="368300"/>
                  </a:cubicBezTo>
                  <a:cubicBezTo>
                    <a:pt x="312018" y="369534"/>
                    <a:pt x="303725" y="364067"/>
                    <a:pt x="295258" y="361950"/>
                  </a:cubicBezTo>
                  <a:cubicBezTo>
                    <a:pt x="288908" y="357717"/>
                    <a:pt x="283034" y="352663"/>
                    <a:pt x="276208" y="349250"/>
                  </a:cubicBezTo>
                  <a:cubicBezTo>
                    <a:pt x="223628" y="322960"/>
                    <a:pt x="292703" y="366596"/>
                    <a:pt x="238108" y="330200"/>
                  </a:cubicBezTo>
                  <a:cubicBezTo>
                    <a:pt x="235991" y="323850"/>
                    <a:pt x="237205" y="315041"/>
                    <a:pt x="231758" y="311150"/>
                  </a:cubicBezTo>
                  <a:cubicBezTo>
                    <a:pt x="220865" y="303369"/>
                    <a:pt x="193658" y="298450"/>
                    <a:pt x="193658" y="298450"/>
                  </a:cubicBezTo>
                  <a:cubicBezTo>
                    <a:pt x="185191" y="300567"/>
                    <a:pt x="176617" y="302292"/>
                    <a:pt x="168258" y="304800"/>
                  </a:cubicBezTo>
                  <a:cubicBezTo>
                    <a:pt x="155436" y="308647"/>
                    <a:pt x="130158" y="317500"/>
                    <a:pt x="130158" y="317500"/>
                  </a:cubicBezTo>
                  <a:cubicBezTo>
                    <a:pt x="123808" y="321733"/>
                    <a:pt x="114894" y="323574"/>
                    <a:pt x="111108" y="330200"/>
                  </a:cubicBezTo>
                  <a:cubicBezTo>
                    <a:pt x="95890" y="356832"/>
                    <a:pt x="115957" y="361881"/>
                    <a:pt x="92058" y="381000"/>
                  </a:cubicBezTo>
                  <a:cubicBezTo>
                    <a:pt x="86831" y="385181"/>
                    <a:pt x="79358" y="385233"/>
                    <a:pt x="73008" y="387350"/>
                  </a:cubicBezTo>
                  <a:cubicBezTo>
                    <a:pt x="43092" y="432224"/>
                    <a:pt x="42884" y="413716"/>
                    <a:pt x="53958" y="463550"/>
                  </a:cubicBezTo>
                  <a:cubicBezTo>
                    <a:pt x="55410" y="470084"/>
                    <a:pt x="57315" y="476613"/>
                    <a:pt x="60308" y="482600"/>
                  </a:cubicBezTo>
                  <a:cubicBezTo>
                    <a:pt x="63721" y="489426"/>
                    <a:pt x="67265" y="496624"/>
                    <a:pt x="73008" y="501650"/>
                  </a:cubicBezTo>
                  <a:cubicBezTo>
                    <a:pt x="84495" y="511701"/>
                    <a:pt x="111108" y="527050"/>
                    <a:pt x="111108" y="527050"/>
                  </a:cubicBezTo>
                  <a:cubicBezTo>
                    <a:pt x="114199" y="531686"/>
                    <a:pt x="133079" y="556387"/>
                    <a:pt x="130158" y="565150"/>
                  </a:cubicBezTo>
                  <a:cubicBezTo>
                    <a:pt x="125331" y="579630"/>
                    <a:pt x="109585" y="588770"/>
                    <a:pt x="104758" y="603250"/>
                  </a:cubicBezTo>
                  <a:cubicBezTo>
                    <a:pt x="99593" y="618744"/>
                    <a:pt x="98018" y="629040"/>
                    <a:pt x="85708" y="641350"/>
                  </a:cubicBezTo>
                  <a:cubicBezTo>
                    <a:pt x="35758" y="691300"/>
                    <a:pt x="99622" y="610683"/>
                    <a:pt x="47608" y="673100"/>
                  </a:cubicBezTo>
                  <a:cubicBezTo>
                    <a:pt x="21150" y="704850"/>
                    <a:pt x="50783" y="681567"/>
                    <a:pt x="15858" y="704850"/>
                  </a:cubicBezTo>
                  <a:cubicBezTo>
                    <a:pt x="11625" y="711200"/>
                    <a:pt x="4237" y="716345"/>
                    <a:pt x="3158" y="723900"/>
                  </a:cubicBezTo>
                  <a:cubicBezTo>
                    <a:pt x="0" y="746009"/>
                    <a:pt x="12180" y="753811"/>
                    <a:pt x="28558" y="762000"/>
                  </a:cubicBezTo>
                  <a:cubicBezTo>
                    <a:pt x="34545" y="764993"/>
                    <a:pt x="41258" y="766233"/>
                    <a:pt x="47608" y="768350"/>
                  </a:cubicBezTo>
                  <a:cubicBezTo>
                    <a:pt x="54738" y="779045"/>
                    <a:pt x="63762" y="797872"/>
                    <a:pt x="79358" y="800100"/>
                  </a:cubicBezTo>
                  <a:cubicBezTo>
                    <a:pt x="84939" y="800897"/>
                    <a:pt x="116659" y="789783"/>
                    <a:pt x="123808" y="787400"/>
                  </a:cubicBezTo>
                  <a:cubicBezTo>
                    <a:pt x="132275" y="789517"/>
                    <a:pt x="141946" y="788909"/>
                    <a:pt x="149208" y="793750"/>
                  </a:cubicBezTo>
                  <a:cubicBezTo>
                    <a:pt x="155558" y="797983"/>
                    <a:pt x="158808" y="805826"/>
                    <a:pt x="161908" y="812800"/>
                  </a:cubicBezTo>
                  <a:cubicBezTo>
                    <a:pt x="167345" y="825033"/>
                    <a:pt x="163469" y="843474"/>
                    <a:pt x="174608" y="850900"/>
                  </a:cubicBezTo>
                  <a:cubicBezTo>
                    <a:pt x="242681" y="896282"/>
                    <a:pt x="139369" y="825608"/>
                    <a:pt x="212708" y="882650"/>
                  </a:cubicBezTo>
                  <a:cubicBezTo>
                    <a:pt x="224756" y="892021"/>
                    <a:pt x="238108" y="899583"/>
                    <a:pt x="250808" y="908050"/>
                  </a:cubicBezTo>
                  <a:lnTo>
                    <a:pt x="269858" y="920750"/>
                  </a:lnTo>
                  <a:cubicBezTo>
                    <a:pt x="278838" y="926737"/>
                    <a:pt x="291369" y="923687"/>
                    <a:pt x="301608" y="927100"/>
                  </a:cubicBezTo>
                  <a:cubicBezTo>
                    <a:pt x="304448" y="928047"/>
                    <a:pt x="268800" y="922867"/>
                    <a:pt x="269858" y="920750"/>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defTabSz="685800" eaLnBrk="0" fontAlgn="base" hangingPunct="0">
                <a:spcBef>
                  <a:spcPct val="50000"/>
                </a:spcBef>
                <a:spcAft>
                  <a:spcPct val="0"/>
                </a:spcAft>
                <a:buClrTx/>
              </a:pPr>
              <a:endParaRPr lang="en-US" sz="900" kern="1200">
                <a:latin typeface="Arial" charset="0"/>
                <a:ea typeface="+mn-ea"/>
                <a:cs typeface="+mn-cs"/>
              </a:endParaRPr>
            </a:p>
          </p:txBody>
        </p:sp>
        <p:sp>
          <p:nvSpPr>
            <p:cNvPr id="30" name="Freeform 29"/>
            <p:cNvSpPr/>
            <p:nvPr>
              <p:custDataLst>
                <p:tags r:id="rId20"/>
              </p:custDataLst>
            </p:nvPr>
          </p:nvSpPr>
          <p:spPr bwMode="gray">
            <a:xfrm>
              <a:off x="5383399" y="1270000"/>
              <a:ext cx="571500" cy="329370"/>
            </a:xfrm>
            <a:custGeom>
              <a:avLst/>
              <a:gdLst>
                <a:gd name="connsiteX0" fmla="*/ 387350 w 571500"/>
                <a:gd name="connsiteY0" fmla="*/ 317500 h 329370"/>
                <a:gd name="connsiteX1" fmla="*/ 438150 w 571500"/>
                <a:gd name="connsiteY1" fmla="*/ 311150 h 329370"/>
                <a:gd name="connsiteX2" fmla="*/ 444500 w 571500"/>
                <a:gd name="connsiteY2" fmla="*/ 292100 h 329370"/>
                <a:gd name="connsiteX3" fmla="*/ 457200 w 571500"/>
                <a:gd name="connsiteY3" fmla="*/ 273050 h 329370"/>
                <a:gd name="connsiteX4" fmla="*/ 463550 w 571500"/>
                <a:gd name="connsiteY4" fmla="*/ 247650 h 329370"/>
                <a:gd name="connsiteX5" fmla="*/ 482600 w 571500"/>
                <a:gd name="connsiteY5" fmla="*/ 241300 h 329370"/>
                <a:gd name="connsiteX6" fmla="*/ 508000 w 571500"/>
                <a:gd name="connsiteY6" fmla="*/ 234950 h 329370"/>
                <a:gd name="connsiteX7" fmla="*/ 539750 w 571500"/>
                <a:gd name="connsiteY7" fmla="*/ 241300 h 329370"/>
                <a:gd name="connsiteX8" fmla="*/ 552450 w 571500"/>
                <a:gd name="connsiteY8" fmla="*/ 260350 h 329370"/>
                <a:gd name="connsiteX9" fmla="*/ 571500 w 571500"/>
                <a:gd name="connsiteY9" fmla="*/ 266700 h 329370"/>
                <a:gd name="connsiteX10" fmla="*/ 546100 w 571500"/>
                <a:gd name="connsiteY10" fmla="*/ 209550 h 329370"/>
                <a:gd name="connsiteX11" fmla="*/ 527050 w 571500"/>
                <a:gd name="connsiteY11" fmla="*/ 203200 h 329370"/>
                <a:gd name="connsiteX12" fmla="*/ 508000 w 571500"/>
                <a:gd name="connsiteY12" fmla="*/ 184150 h 329370"/>
                <a:gd name="connsiteX13" fmla="*/ 508000 w 571500"/>
                <a:gd name="connsiteY13" fmla="*/ 139700 h 329370"/>
                <a:gd name="connsiteX14" fmla="*/ 527050 w 571500"/>
                <a:gd name="connsiteY14" fmla="*/ 127000 h 329370"/>
                <a:gd name="connsiteX15" fmla="*/ 546100 w 571500"/>
                <a:gd name="connsiteY15" fmla="*/ 88900 h 329370"/>
                <a:gd name="connsiteX16" fmla="*/ 533400 w 571500"/>
                <a:gd name="connsiteY16" fmla="*/ 69850 h 329370"/>
                <a:gd name="connsiteX17" fmla="*/ 514350 w 571500"/>
                <a:gd name="connsiteY17" fmla="*/ 63500 h 329370"/>
                <a:gd name="connsiteX18" fmla="*/ 488950 w 571500"/>
                <a:gd name="connsiteY18" fmla="*/ 69850 h 329370"/>
                <a:gd name="connsiteX19" fmla="*/ 469900 w 571500"/>
                <a:gd name="connsiteY19" fmla="*/ 76200 h 329370"/>
                <a:gd name="connsiteX20" fmla="*/ 438150 w 571500"/>
                <a:gd name="connsiteY20" fmla="*/ 69850 h 329370"/>
                <a:gd name="connsiteX21" fmla="*/ 438150 w 571500"/>
                <a:gd name="connsiteY21" fmla="*/ 6350 h 329370"/>
                <a:gd name="connsiteX22" fmla="*/ 419100 w 571500"/>
                <a:gd name="connsiteY22" fmla="*/ 0 h 329370"/>
                <a:gd name="connsiteX23" fmla="*/ 374650 w 571500"/>
                <a:gd name="connsiteY23" fmla="*/ 6350 h 329370"/>
                <a:gd name="connsiteX24" fmla="*/ 349250 w 571500"/>
                <a:gd name="connsiteY24" fmla="*/ 44450 h 329370"/>
                <a:gd name="connsiteX25" fmla="*/ 342900 w 571500"/>
                <a:gd name="connsiteY25" fmla="*/ 95250 h 329370"/>
                <a:gd name="connsiteX26" fmla="*/ 323850 w 571500"/>
                <a:gd name="connsiteY26" fmla="*/ 76200 h 329370"/>
                <a:gd name="connsiteX27" fmla="*/ 292100 w 571500"/>
                <a:gd name="connsiteY27" fmla="*/ 101600 h 329370"/>
                <a:gd name="connsiteX28" fmla="*/ 298450 w 571500"/>
                <a:gd name="connsiteY28" fmla="*/ 127000 h 329370"/>
                <a:gd name="connsiteX29" fmla="*/ 273050 w 571500"/>
                <a:gd name="connsiteY29" fmla="*/ 171450 h 329370"/>
                <a:gd name="connsiteX30" fmla="*/ 254000 w 571500"/>
                <a:gd name="connsiteY30" fmla="*/ 184150 h 329370"/>
                <a:gd name="connsiteX31" fmla="*/ 228600 w 571500"/>
                <a:gd name="connsiteY31" fmla="*/ 190500 h 329370"/>
                <a:gd name="connsiteX32" fmla="*/ 152400 w 571500"/>
                <a:gd name="connsiteY32" fmla="*/ 184150 h 329370"/>
                <a:gd name="connsiteX33" fmla="*/ 114300 w 571500"/>
                <a:gd name="connsiteY33" fmla="*/ 171450 h 329370"/>
                <a:gd name="connsiteX34" fmla="*/ 44450 w 571500"/>
                <a:gd name="connsiteY34" fmla="*/ 190500 h 329370"/>
                <a:gd name="connsiteX35" fmla="*/ 25400 w 571500"/>
                <a:gd name="connsiteY35" fmla="*/ 215900 h 329370"/>
                <a:gd name="connsiteX36" fmla="*/ 0 w 571500"/>
                <a:gd name="connsiteY36" fmla="*/ 279400 h 329370"/>
                <a:gd name="connsiteX37" fmla="*/ 25400 w 571500"/>
                <a:gd name="connsiteY37" fmla="*/ 292100 h 329370"/>
                <a:gd name="connsiteX38" fmla="*/ 50800 w 571500"/>
                <a:gd name="connsiteY38" fmla="*/ 234950 h 329370"/>
                <a:gd name="connsiteX39" fmla="*/ 69850 w 571500"/>
                <a:gd name="connsiteY39" fmla="*/ 228600 h 329370"/>
                <a:gd name="connsiteX40" fmla="*/ 88900 w 571500"/>
                <a:gd name="connsiteY40" fmla="*/ 215900 h 329370"/>
                <a:gd name="connsiteX41" fmla="*/ 228600 w 571500"/>
                <a:gd name="connsiteY41" fmla="*/ 215900 h 329370"/>
                <a:gd name="connsiteX42" fmla="*/ 266700 w 571500"/>
                <a:gd name="connsiteY42" fmla="*/ 209550 h 329370"/>
                <a:gd name="connsiteX43" fmla="*/ 279400 w 571500"/>
                <a:gd name="connsiteY43" fmla="*/ 190500 h 329370"/>
                <a:gd name="connsiteX44" fmla="*/ 298450 w 571500"/>
                <a:gd name="connsiteY44" fmla="*/ 171450 h 329370"/>
                <a:gd name="connsiteX45" fmla="*/ 311150 w 571500"/>
                <a:gd name="connsiteY45" fmla="*/ 127000 h 329370"/>
                <a:gd name="connsiteX46" fmla="*/ 330200 w 571500"/>
                <a:gd name="connsiteY46" fmla="*/ 120650 h 329370"/>
                <a:gd name="connsiteX47" fmla="*/ 336550 w 571500"/>
                <a:gd name="connsiteY47" fmla="*/ 139700 h 329370"/>
                <a:gd name="connsiteX48" fmla="*/ 342900 w 571500"/>
                <a:gd name="connsiteY48" fmla="*/ 184150 h 329370"/>
                <a:gd name="connsiteX49" fmla="*/ 361950 w 571500"/>
                <a:gd name="connsiteY49" fmla="*/ 196850 h 329370"/>
                <a:gd name="connsiteX50" fmla="*/ 355600 w 571500"/>
                <a:gd name="connsiteY50" fmla="*/ 222250 h 329370"/>
                <a:gd name="connsiteX51" fmla="*/ 336550 w 571500"/>
                <a:gd name="connsiteY51" fmla="*/ 234950 h 329370"/>
                <a:gd name="connsiteX52" fmla="*/ 323850 w 571500"/>
                <a:gd name="connsiteY52" fmla="*/ 254000 h 329370"/>
                <a:gd name="connsiteX53" fmla="*/ 330200 w 571500"/>
                <a:gd name="connsiteY53" fmla="*/ 298450 h 329370"/>
                <a:gd name="connsiteX54" fmla="*/ 349250 w 571500"/>
                <a:gd name="connsiteY54" fmla="*/ 304800 h 329370"/>
                <a:gd name="connsiteX55" fmla="*/ 374650 w 571500"/>
                <a:gd name="connsiteY55" fmla="*/ 311150 h 329370"/>
                <a:gd name="connsiteX56" fmla="*/ 419100 w 571500"/>
                <a:gd name="connsiteY56" fmla="*/ 323850 h 329370"/>
                <a:gd name="connsiteX57" fmla="*/ 444500 w 571500"/>
                <a:gd name="connsiteY57" fmla="*/ 311150 h 329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71500" h="329370">
                  <a:moveTo>
                    <a:pt x="387350" y="317500"/>
                  </a:moveTo>
                  <a:cubicBezTo>
                    <a:pt x="404283" y="315383"/>
                    <a:pt x="422556" y="318081"/>
                    <a:pt x="438150" y="311150"/>
                  </a:cubicBezTo>
                  <a:cubicBezTo>
                    <a:pt x="444267" y="308432"/>
                    <a:pt x="441507" y="298087"/>
                    <a:pt x="444500" y="292100"/>
                  </a:cubicBezTo>
                  <a:cubicBezTo>
                    <a:pt x="447913" y="285274"/>
                    <a:pt x="452967" y="279400"/>
                    <a:pt x="457200" y="273050"/>
                  </a:cubicBezTo>
                  <a:cubicBezTo>
                    <a:pt x="459317" y="264583"/>
                    <a:pt x="458098" y="254465"/>
                    <a:pt x="463550" y="247650"/>
                  </a:cubicBezTo>
                  <a:cubicBezTo>
                    <a:pt x="467731" y="242423"/>
                    <a:pt x="476164" y="243139"/>
                    <a:pt x="482600" y="241300"/>
                  </a:cubicBezTo>
                  <a:cubicBezTo>
                    <a:pt x="490991" y="238902"/>
                    <a:pt x="499533" y="237067"/>
                    <a:pt x="508000" y="234950"/>
                  </a:cubicBezTo>
                  <a:cubicBezTo>
                    <a:pt x="518583" y="237067"/>
                    <a:pt x="530379" y="235945"/>
                    <a:pt x="539750" y="241300"/>
                  </a:cubicBezTo>
                  <a:cubicBezTo>
                    <a:pt x="546376" y="245086"/>
                    <a:pt x="546491" y="255582"/>
                    <a:pt x="552450" y="260350"/>
                  </a:cubicBezTo>
                  <a:cubicBezTo>
                    <a:pt x="557677" y="264531"/>
                    <a:pt x="565150" y="264583"/>
                    <a:pt x="571500" y="266700"/>
                  </a:cubicBezTo>
                  <a:cubicBezTo>
                    <a:pt x="551374" y="236511"/>
                    <a:pt x="561213" y="254890"/>
                    <a:pt x="546100" y="209550"/>
                  </a:cubicBezTo>
                  <a:cubicBezTo>
                    <a:pt x="543983" y="203200"/>
                    <a:pt x="533400" y="205317"/>
                    <a:pt x="527050" y="203200"/>
                  </a:cubicBezTo>
                  <a:cubicBezTo>
                    <a:pt x="520700" y="196850"/>
                    <a:pt x="512981" y="191622"/>
                    <a:pt x="508000" y="184150"/>
                  </a:cubicBezTo>
                  <a:cubicBezTo>
                    <a:pt x="499431" y="171297"/>
                    <a:pt x="499321" y="152719"/>
                    <a:pt x="508000" y="139700"/>
                  </a:cubicBezTo>
                  <a:cubicBezTo>
                    <a:pt x="512233" y="133350"/>
                    <a:pt x="520700" y="131233"/>
                    <a:pt x="527050" y="127000"/>
                  </a:cubicBezTo>
                  <a:cubicBezTo>
                    <a:pt x="531473" y="120366"/>
                    <a:pt x="547853" y="99416"/>
                    <a:pt x="546100" y="88900"/>
                  </a:cubicBezTo>
                  <a:cubicBezTo>
                    <a:pt x="544845" y="81372"/>
                    <a:pt x="539359" y="74618"/>
                    <a:pt x="533400" y="69850"/>
                  </a:cubicBezTo>
                  <a:cubicBezTo>
                    <a:pt x="528173" y="65669"/>
                    <a:pt x="520700" y="65617"/>
                    <a:pt x="514350" y="63500"/>
                  </a:cubicBezTo>
                  <a:cubicBezTo>
                    <a:pt x="505883" y="65617"/>
                    <a:pt x="497341" y="67452"/>
                    <a:pt x="488950" y="69850"/>
                  </a:cubicBezTo>
                  <a:cubicBezTo>
                    <a:pt x="482514" y="71689"/>
                    <a:pt x="476593" y="76200"/>
                    <a:pt x="469900" y="76200"/>
                  </a:cubicBezTo>
                  <a:cubicBezTo>
                    <a:pt x="459107" y="76200"/>
                    <a:pt x="448733" y="71967"/>
                    <a:pt x="438150" y="69850"/>
                  </a:cubicBezTo>
                  <a:cubicBezTo>
                    <a:pt x="439251" y="62143"/>
                    <a:pt x="452004" y="20204"/>
                    <a:pt x="438150" y="6350"/>
                  </a:cubicBezTo>
                  <a:cubicBezTo>
                    <a:pt x="433417" y="1617"/>
                    <a:pt x="425450" y="2117"/>
                    <a:pt x="419100" y="0"/>
                  </a:cubicBezTo>
                  <a:cubicBezTo>
                    <a:pt x="404283" y="2117"/>
                    <a:pt x="388986" y="2049"/>
                    <a:pt x="374650" y="6350"/>
                  </a:cubicBezTo>
                  <a:cubicBezTo>
                    <a:pt x="352547" y="12981"/>
                    <a:pt x="352638" y="24122"/>
                    <a:pt x="349250" y="44450"/>
                  </a:cubicBezTo>
                  <a:cubicBezTo>
                    <a:pt x="346445" y="61283"/>
                    <a:pt x="345017" y="78317"/>
                    <a:pt x="342900" y="95250"/>
                  </a:cubicBezTo>
                  <a:cubicBezTo>
                    <a:pt x="336550" y="88900"/>
                    <a:pt x="332369" y="79040"/>
                    <a:pt x="323850" y="76200"/>
                  </a:cubicBezTo>
                  <a:cubicBezTo>
                    <a:pt x="307120" y="70623"/>
                    <a:pt x="297613" y="93331"/>
                    <a:pt x="292100" y="101600"/>
                  </a:cubicBezTo>
                  <a:cubicBezTo>
                    <a:pt x="294217" y="110067"/>
                    <a:pt x="298450" y="118273"/>
                    <a:pt x="298450" y="127000"/>
                  </a:cubicBezTo>
                  <a:cubicBezTo>
                    <a:pt x="298450" y="149920"/>
                    <a:pt x="289496" y="157745"/>
                    <a:pt x="273050" y="171450"/>
                  </a:cubicBezTo>
                  <a:cubicBezTo>
                    <a:pt x="267187" y="176336"/>
                    <a:pt x="261015" y="181144"/>
                    <a:pt x="254000" y="184150"/>
                  </a:cubicBezTo>
                  <a:cubicBezTo>
                    <a:pt x="245978" y="187588"/>
                    <a:pt x="237067" y="188383"/>
                    <a:pt x="228600" y="190500"/>
                  </a:cubicBezTo>
                  <a:cubicBezTo>
                    <a:pt x="203200" y="188383"/>
                    <a:pt x="177541" y="188340"/>
                    <a:pt x="152400" y="184150"/>
                  </a:cubicBezTo>
                  <a:cubicBezTo>
                    <a:pt x="139195" y="181949"/>
                    <a:pt x="114300" y="171450"/>
                    <a:pt x="114300" y="171450"/>
                  </a:cubicBezTo>
                  <a:cubicBezTo>
                    <a:pt x="84250" y="175206"/>
                    <a:pt x="65033" y="169917"/>
                    <a:pt x="44450" y="190500"/>
                  </a:cubicBezTo>
                  <a:cubicBezTo>
                    <a:pt x="36966" y="197984"/>
                    <a:pt x="31750" y="207433"/>
                    <a:pt x="25400" y="215900"/>
                  </a:cubicBezTo>
                  <a:cubicBezTo>
                    <a:pt x="9707" y="262980"/>
                    <a:pt x="18687" y="242026"/>
                    <a:pt x="0" y="279400"/>
                  </a:cubicBezTo>
                  <a:cubicBezTo>
                    <a:pt x="2309" y="286327"/>
                    <a:pt x="6158" y="319039"/>
                    <a:pt x="25400" y="292100"/>
                  </a:cubicBezTo>
                  <a:cubicBezTo>
                    <a:pt x="39629" y="272179"/>
                    <a:pt x="31178" y="250647"/>
                    <a:pt x="50800" y="234950"/>
                  </a:cubicBezTo>
                  <a:cubicBezTo>
                    <a:pt x="56027" y="230769"/>
                    <a:pt x="63500" y="230717"/>
                    <a:pt x="69850" y="228600"/>
                  </a:cubicBezTo>
                  <a:cubicBezTo>
                    <a:pt x="76200" y="224367"/>
                    <a:pt x="81885" y="218906"/>
                    <a:pt x="88900" y="215900"/>
                  </a:cubicBezTo>
                  <a:cubicBezTo>
                    <a:pt x="128296" y="199016"/>
                    <a:pt x="206254" y="214659"/>
                    <a:pt x="228600" y="215900"/>
                  </a:cubicBezTo>
                  <a:cubicBezTo>
                    <a:pt x="241300" y="213783"/>
                    <a:pt x="255184" y="215308"/>
                    <a:pt x="266700" y="209550"/>
                  </a:cubicBezTo>
                  <a:cubicBezTo>
                    <a:pt x="273526" y="206137"/>
                    <a:pt x="274514" y="196363"/>
                    <a:pt x="279400" y="190500"/>
                  </a:cubicBezTo>
                  <a:cubicBezTo>
                    <a:pt x="285149" y="183601"/>
                    <a:pt x="292100" y="177800"/>
                    <a:pt x="298450" y="171450"/>
                  </a:cubicBezTo>
                  <a:cubicBezTo>
                    <a:pt x="298505" y="171230"/>
                    <a:pt x="308113" y="130037"/>
                    <a:pt x="311150" y="127000"/>
                  </a:cubicBezTo>
                  <a:cubicBezTo>
                    <a:pt x="315883" y="122267"/>
                    <a:pt x="323850" y="122767"/>
                    <a:pt x="330200" y="120650"/>
                  </a:cubicBezTo>
                  <a:cubicBezTo>
                    <a:pt x="332317" y="127000"/>
                    <a:pt x="335237" y="133136"/>
                    <a:pt x="336550" y="139700"/>
                  </a:cubicBezTo>
                  <a:cubicBezTo>
                    <a:pt x="339485" y="154376"/>
                    <a:pt x="336821" y="170473"/>
                    <a:pt x="342900" y="184150"/>
                  </a:cubicBezTo>
                  <a:cubicBezTo>
                    <a:pt x="346000" y="191124"/>
                    <a:pt x="355600" y="192617"/>
                    <a:pt x="361950" y="196850"/>
                  </a:cubicBezTo>
                  <a:cubicBezTo>
                    <a:pt x="359833" y="205317"/>
                    <a:pt x="360441" y="214988"/>
                    <a:pt x="355600" y="222250"/>
                  </a:cubicBezTo>
                  <a:cubicBezTo>
                    <a:pt x="351367" y="228600"/>
                    <a:pt x="341946" y="229554"/>
                    <a:pt x="336550" y="234950"/>
                  </a:cubicBezTo>
                  <a:cubicBezTo>
                    <a:pt x="331154" y="240346"/>
                    <a:pt x="328083" y="247650"/>
                    <a:pt x="323850" y="254000"/>
                  </a:cubicBezTo>
                  <a:cubicBezTo>
                    <a:pt x="325967" y="268817"/>
                    <a:pt x="323507" y="285063"/>
                    <a:pt x="330200" y="298450"/>
                  </a:cubicBezTo>
                  <a:cubicBezTo>
                    <a:pt x="333193" y="304437"/>
                    <a:pt x="342814" y="302961"/>
                    <a:pt x="349250" y="304800"/>
                  </a:cubicBezTo>
                  <a:cubicBezTo>
                    <a:pt x="357641" y="307198"/>
                    <a:pt x="366259" y="308752"/>
                    <a:pt x="374650" y="311150"/>
                  </a:cubicBezTo>
                  <a:cubicBezTo>
                    <a:pt x="438419" y="329370"/>
                    <a:pt x="339695" y="303999"/>
                    <a:pt x="419100" y="323850"/>
                  </a:cubicBezTo>
                  <a:cubicBezTo>
                    <a:pt x="439911" y="309976"/>
                    <a:pt x="430518" y="311150"/>
                    <a:pt x="444500" y="311150"/>
                  </a:cubicBezTo>
                </a:path>
              </a:pathLst>
            </a:custGeom>
            <a:grpFill/>
            <a:ln w="12700" cap="flat" cmpd="sng" algn="ctr">
              <a:solidFill>
                <a:schemeClr val="bg1"/>
              </a:solidFill>
              <a:prstDash val="solid"/>
              <a:round/>
              <a:headEnd type="none" w="med" len="med"/>
              <a:tailEnd type="none" w="med" len="med"/>
            </a:ln>
            <a:effectLst/>
          </p:spPr>
          <p:txBody>
            <a:bodyPr rtlCol="0" anchor="ctr"/>
            <a:lstStyle/>
            <a:p>
              <a:pPr algn="ctr" defTabSz="685800" eaLnBrk="0" fontAlgn="base" hangingPunct="0">
                <a:spcBef>
                  <a:spcPct val="50000"/>
                </a:spcBef>
                <a:spcAft>
                  <a:spcPct val="0"/>
                </a:spcAft>
                <a:buClrTx/>
              </a:pPr>
              <a:endParaRPr lang="en-US" sz="900" kern="1200">
                <a:latin typeface="Arial" charset="0"/>
                <a:ea typeface="+mn-ea"/>
                <a:cs typeface="+mn-cs"/>
              </a:endParaRPr>
            </a:p>
          </p:txBody>
        </p:sp>
        <p:sp>
          <p:nvSpPr>
            <p:cNvPr id="31" name="Freeform 30"/>
            <p:cNvSpPr/>
            <p:nvPr>
              <p:custDataLst>
                <p:tags r:id="rId21"/>
              </p:custDataLst>
            </p:nvPr>
          </p:nvSpPr>
          <p:spPr bwMode="gray">
            <a:xfrm>
              <a:off x="4828237" y="1362048"/>
              <a:ext cx="140508" cy="95250"/>
            </a:xfrm>
            <a:custGeom>
              <a:avLst/>
              <a:gdLst>
                <a:gd name="connsiteX0" fmla="*/ 15412 w 140508"/>
                <a:gd name="connsiteY0" fmla="*/ 57150 h 95250"/>
                <a:gd name="connsiteX1" fmla="*/ 47162 w 140508"/>
                <a:gd name="connsiteY1" fmla="*/ 25400 h 95250"/>
                <a:gd name="connsiteX2" fmla="*/ 53512 w 140508"/>
                <a:gd name="connsiteY2" fmla="*/ 6350 h 95250"/>
                <a:gd name="connsiteX3" fmla="*/ 72562 w 140508"/>
                <a:gd name="connsiteY3" fmla="*/ 0 h 95250"/>
                <a:gd name="connsiteX4" fmla="*/ 117012 w 140508"/>
                <a:gd name="connsiteY4" fmla="*/ 50800 h 95250"/>
                <a:gd name="connsiteX5" fmla="*/ 123362 w 140508"/>
                <a:gd name="connsiteY5" fmla="*/ 88900 h 95250"/>
                <a:gd name="connsiteX6" fmla="*/ 97962 w 140508"/>
                <a:gd name="connsiteY6" fmla="*/ 95250 h 95250"/>
                <a:gd name="connsiteX7" fmla="*/ 66212 w 140508"/>
                <a:gd name="connsiteY7" fmla="*/ 88900 h 95250"/>
                <a:gd name="connsiteX8" fmla="*/ 15412 w 140508"/>
                <a:gd name="connsiteY8" fmla="*/ 5715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508" h="95250">
                  <a:moveTo>
                    <a:pt x="15412" y="57150"/>
                  </a:moveTo>
                  <a:cubicBezTo>
                    <a:pt x="12237" y="46567"/>
                    <a:pt x="36579" y="46567"/>
                    <a:pt x="47162" y="25400"/>
                  </a:cubicBezTo>
                  <a:cubicBezTo>
                    <a:pt x="50155" y="19413"/>
                    <a:pt x="48779" y="11083"/>
                    <a:pt x="53512" y="6350"/>
                  </a:cubicBezTo>
                  <a:cubicBezTo>
                    <a:pt x="58245" y="1617"/>
                    <a:pt x="66212" y="2117"/>
                    <a:pt x="72562" y="0"/>
                  </a:cubicBezTo>
                  <a:cubicBezTo>
                    <a:pt x="102195" y="44450"/>
                    <a:pt x="85262" y="29633"/>
                    <a:pt x="117012" y="50800"/>
                  </a:cubicBezTo>
                  <a:cubicBezTo>
                    <a:pt x="123868" y="61083"/>
                    <a:pt x="140508" y="75183"/>
                    <a:pt x="123362" y="88900"/>
                  </a:cubicBezTo>
                  <a:cubicBezTo>
                    <a:pt x="116547" y="94352"/>
                    <a:pt x="106429" y="93133"/>
                    <a:pt x="97962" y="95250"/>
                  </a:cubicBezTo>
                  <a:cubicBezTo>
                    <a:pt x="87379" y="93133"/>
                    <a:pt x="76038" y="93366"/>
                    <a:pt x="66212" y="88900"/>
                  </a:cubicBezTo>
                  <a:cubicBezTo>
                    <a:pt x="0" y="58804"/>
                    <a:pt x="18587" y="67733"/>
                    <a:pt x="15412" y="57150"/>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defTabSz="685800" eaLnBrk="0" fontAlgn="base" hangingPunct="0">
                <a:spcBef>
                  <a:spcPct val="50000"/>
                </a:spcBef>
                <a:spcAft>
                  <a:spcPct val="0"/>
                </a:spcAft>
                <a:buClrTx/>
              </a:pPr>
              <a:endParaRPr lang="en-US" sz="900" kern="1200">
                <a:latin typeface="Arial" charset="0"/>
                <a:ea typeface="+mn-ea"/>
                <a:cs typeface="+mn-cs"/>
              </a:endParaRPr>
            </a:p>
          </p:txBody>
        </p:sp>
        <p:sp>
          <p:nvSpPr>
            <p:cNvPr id="32" name="Freeform 31"/>
            <p:cNvSpPr/>
            <p:nvPr>
              <p:custDataLst>
                <p:tags r:id="rId22"/>
              </p:custDataLst>
            </p:nvPr>
          </p:nvSpPr>
          <p:spPr bwMode="gray">
            <a:xfrm>
              <a:off x="3735633" y="974725"/>
              <a:ext cx="79316" cy="238125"/>
            </a:xfrm>
            <a:custGeom>
              <a:avLst/>
              <a:gdLst>
                <a:gd name="connsiteX0" fmla="*/ 60266 w 79316"/>
                <a:gd name="connsiteY0" fmla="*/ 3175 h 238125"/>
                <a:gd name="connsiteX1" fmla="*/ 22166 w 79316"/>
                <a:gd name="connsiteY1" fmla="*/ 34925 h 238125"/>
                <a:gd name="connsiteX2" fmla="*/ 9466 w 79316"/>
                <a:gd name="connsiteY2" fmla="*/ 53975 h 238125"/>
                <a:gd name="connsiteX3" fmla="*/ 3116 w 79316"/>
                <a:gd name="connsiteY3" fmla="*/ 79375 h 238125"/>
                <a:gd name="connsiteX4" fmla="*/ 15816 w 79316"/>
                <a:gd name="connsiteY4" fmla="*/ 238125 h 238125"/>
                <a:gd name="connsiteX5" fmla="*/ 34866 w 79316"/>
                <a:gd name="connsiteY5" fmla="*/ 193675 h 238125"/>
                <a:gd name="connsiteX6" fmla="*/ 41216 w 79316"/>
                <a:gd name="connsiteY6" fmla="*/ 161925 h 238125"/>
                <a:gd name="connsiteX7" fmla="*/ 79316 w 79316"/>
                <a:gd name="connsiteY7" fmla="*/ 142875 h 238125"/>
                <a:gd name="connsiteX8" fmla="*/ 72966 w 79316"/>
                <a:gd name="connsiteY8" fmla="*/ 123825 h 238125"/>
                <a:gd name="connsiteX9" fmla="*/ 34866 w 79316"/>
                <a:gd name="connsiteY9" fmla="*/ 92075 h 238125"/>
                <a:gd name="connsiteX10" fmla="*/ 41216 w 79316"/>
                <a:gd name="connsiteY10" fmla="*/ 53975 h 238125"/>
                <a:gd name="connsiteX11" fmla="*/ 60266 w 79316"/>
                <a:gd name="connsiteY11" fmla="*/ 15875 h 238125"/>
                <a:gd name="connsiteX12" fmla="*/ 60266 w 79316"/>
                <a:gd name="connsiteY12" fmla="*/ 3175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316" h="238125">
                  <a:moveTo>
                    <a:pt x="60266" y="3175"/>
                  </a:moveTo>
                  <a:cubicBezTo>
                    <a:pt x="53916" y="6350"/>
                    <a:pt x="37445" y="16590"/>
                    <a:pt x="22166" y="34925"/>
                  </a:cubicBezTo>
                  <a:cubicBezTo>
                    <a:pt x="17280" y="40788"/>
                    <a:pt x="13699" y="47625"/>
                    <a:pt x="9466" y="53975"/>
                  </a:cubicBezTo>
                  <a:cubicBezTo>
                    <a:pt x="7349" y="62442"/>
                    <a:pt x="3116" y="70648"/>
                    <a:pt x="3116" y="79375"/>
                  </a:cubicBezTo>
                  <a:cubicBezTo>
                    <a:pt x="3116" y="194382"/>
                    <a:pt x="0" y="174860"/>
                    <a:pt x="15816" y="238125"/>
                  </a:cubicBezTo>
                  <a:cubicBezTo>
                    <a:pt x="32162" y="213606"/>
                    <a:pt x="28032" y="224429"/>
                    <a:pt x="34866" y="193675"/>
                  </a:cubicBezTo>
                  <a:cubicBezTo>
                    <a:pt x="37207" y="183139"/>
                    <a:pt x="35861" y="171296"/>
                    <a:pt x="41216" y="161925"/>
                  </a:cubicBezTo>
                  <a:cubicBezTo>
                    <a:pt x="47009" y="151788"/>
                    <a:pt x="69538" y="146134"/>
                    <a:pt x="79316" y="142875"/>
                  </a:cubicBezTo>
                  <a:cubicBezTo>
                    <a:pt x="77199" y="136525"/>
                    <a:pt x="76679" y="129394"/>
                    <a:pt x="72966" y="123825"/>
                  </a:cubicBezTo>
                  <a:cubicBezTo>
                    <a:pt x="63187" y="109157"/>
                    <a:pt x="48923" y="101446"/>
                    <a:pt x="34866" y="92075"/>
                  </a:cubicBezTo>
                  <a:cubicBezTo>
                    <a:pt x="36983" y="79375"/>
                    <a:pt x="37145" y="66189"/>
                    <a:pt x="41216" y="53975"/>
                  </a:cubicBezTo>
                  <a:cubicBezTo>
                    <a:pt x="44560" y="43944"/>
                    <a:pt x="62965" y="29370"/>
                    <a:pt x="60266" y="15875"/>
                  </a:cubicBezTo>
                  <a:cubicBezTo>
                    <a:pt x="59092" y="10004"/>
                    <a:pt x="66616" y="0"/>
                    <a:pt x="60266" y="3175"/>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defTabSz="685800" eaLnBrk="0" fontAlgn="base" hangingPunct="0">
                <a:spcBef>
                  <a:spcPct val="50000"/>
                </a:spcBef>
                <a:spcAft>
                  <a:spcPct val="0"/>
                </a:spcAft>
                <a:buClrTx/>
              </a:pPr>
              <a:endParaRPr lang="en-US" sz="900" kern="1200">
                <a:latin typeface="Arial" charset="0"/>
                <a:ea typeface="+mn-ea"/>
                <a:cs typeface="+mn-cs"/>
              </a:endParaRPr>
            </a:p>
          </p:txBody>
        </p:sp>
        <p:sp>
          <p:nvSpPr>
            <p:cNvPr id="33" name="Freeform 32"/>
            <p:cNvSpPr/>
            <p:nvPr>
              <p:custDataLst>
                <p:tags r:id="rId23"/>
              </p:custDataLst>
            </p:nvPr>
          </p:nvSpPr>
          <p:spPr bwMode="gray">
            <a:xfrm>
              <a:off x="3780083" y="1186597"/>
              <a:ext cx="99822" cy="51653"/>
            </a:xfrm>
            <a:custGeom>
              <a:avLst/>
              <a:gdLst>
                <a:gd name="connsiteX0" fmla="*/ 66616 w 99822"/>
                <a:gd name="connsiteY0" fmla="*/ 7203 h 51653"/>
                <a:gd name="connsiteX1" fmla="*/ 9466 w 99822"/>
                <a:gd name="connsiteY1" fmla="*/ 13553 h 51653"/>
                <a:gd name="connsiteX2" fmla="*/ 22166 w 99822"/>
                <a:gd name="connsiteY2" fmla="*/ 51653 h 51653"/>
                <a:gd name="connsiteX3" fmla="*/ 92016 w 99822"/>
                <a:gd name="connsiteY3" fmla="*/ 45303 h 51653"/>
                <a:gd name="connsiteX4" fmla="*/ 85666 w 99822"/>
                <a:gd name="connsiteY4" fmla="*/ 19903 h 51653"/>
                <a:gd name="connsiteX5" fmla="*/ 66616 w 99822"/>
                <a:gd name="connsiteY5" fmla="*/ 7203 h 5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822" h="51653">
                  <a:moveTo>
                    <a:pt x="66616" y="7203"/>
                  </a:moveTo>
                  <a:cubicBezTo>
                    <a:pt x="53916" y="6145"/>
                    <a:pt x="23019" y="0"/>
                    <a:pt x="9466" y="13553"/>
                  </a:cubicBezTo>
                  <a:cubicBezTo>
                    <a:pt x="0" y="23019"/>
                    <a:pt x="22166" y="51653"/>
                    <a:pt x="22166" y="51653"/>
                  </a:cubicBezTo>
                  <a:lnTo>
                    <a:pt x="92016" y="45303"/>
                  </a:lnTo>
                  <a:cubicBezTo>
                    <a:pt x="99822" y="41400"/>
                    <a:pt x="90507" y="27165"/>
                    <a:pt x="85666" y="19903"/>
                  </a:cubicBezTo>
                  <a:cubicBezTo>
                    <a:pt x="76417" y="6029"/>
                    <a:pt x="79316" y="8261"/>
                    <a:pt x="66616" y="7203"/>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defTabSz="685800" eaLnBrk="0" fontAlgn="base" hangingPunct="0">
                <a:spcBef>
                  <a:spcPct val="50000"/>
                </a:spcBef>
                <a:spcAft>
                  <a:spcPct val="0"/>
                </a:spcAft>
                <a:buClrTx/>
              </a:pPr>
              <a:endParaRPr lang="en-US" sz="900" kern="1200">
                <a:latin typeface="Arial" charset="0"/>
                <a:ea typeface="+mn-ea"/>
                <a:cs typeface="+mn-cs"/>
              </a:endParaRPr>
            </a:p>
          </p:txBody>
        </p:sp>
        <p:sp>
          <p:nvSpPr>
            <p:cNvPr id="34" name="Freeform 33"/>
            <p:cNvSpPr/>
            <p:nvPr>
              <p:custDataLst>
                <p:tags r:id="rId24"/>
              </p:custDataLst>
            </p:nvPr>
          </p:nvSpPr>
          <p:spPr bwMode="gray">
            <a:xfrm>
              <a:off x="3853049" y="1325033"/>
              <a:ext cx="67275" cy="40217"/>
            </a:xfrm>
            <a:custGeom>
              <a:avLst/>
              <a:gdLst>
                <a:gd name="connsiteX0" fmla="*/ 38100 w 67275"/>
                <a:gd name="connsiteY0" fmla="*/ 2117 h 40217"/>
                <a:gd name="connsiteX1" fmla="*/ 0 w 67275"/>
                <a:gd name="connsiteY1" fmla="*/ 27517 h 40217"/>
                <a:gd name="connsiteX2" fmla="*/ 19050 w 67275"/>
                <a:gd name="connsiteY2" fmla="*/ 40217 h 40217"/>
                <a:gd name="connsiteX3" fmla="*/ 57150 w 67275"/>
                <a:gd name="connsiteY3" fmla="*/ 14817 h 40217"/>
                <a:gd name="connsiteX4" fmla="*/ 38100 w 67275"/>
                <a:gd name="connsiteY4" fmla="*/ 2117 h 40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75" h="40217">
                  <a:moveTo>
                    <a:pt x="38100" y="2117"/>
                  </a:moveTo>
                  <a:cubicBezTo>
                    <a:pt x="28575" y="4234"/>
                    <a:pt x="0" y="11662"/>
                    <a:pt x="0" y="27517"/>
                  </a:cubicBezTo>
                  <a:cubicBezTo>
                    <a:pt x="0" y="35149"/>
                    <a:pt x="12700" y="35984"/>
                    <a:pt x="19050" y="40217"/>
                  </a:cubicBezTo>
                  <a:cubicBezTo>
                    <a:pt x="25296" y="38968"/>
                    <a:pt x="67275" y="40129"/>
                    <a:pt x="57150" y="14817"/>
                  </a:cubicBezTo>
                  <a:cubicBezTo>
                    <a:pt x="54316" y="7731"/>
                    <a:pt x="47625" y="0"/>
                    <a:pt x="38100" y="2117"/>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defTabSz="685800" eaLnBrk="0" fontAlgn="base" hangingPunct="0">
                <a:spcBef>
                  <a:spcPct val="50000"/>
                </a:spcBef>
                <a:spcAft>
                  <a:spcPct val="0"/>
                </a:spcAft>
                <a:buClrTx/>
              </a:pPr>
              <a:endParaRPr lang="en-US" sz="900" kern="1200">
                <a:latin typeface="Arial" charset="0"/>
                <a:ea typeface="+mn-ea"/>
                <a:cs typeface="+mn-cs"/>
              </a:endParaRPr>
            </a:p>
          </p:txBody>
        </p:sp>
        <p:sp>
          <p:nvSpPr>
            <p:cNvPr id="35" name="Freeform 34"/>
            <p:cNvSpPr/>
            <p:nvPr>
              <p:custDataLst>
                <p:tags r:id="rId25"/>
              </p:custDataLst>
            </p:nvPr>
          </p:nvSpPr>
          <p:spPr bwMode="gray">
            <a:xfrm>
              <a:off x="3751449" y="1218277"/>
              <a:ext cx="41362" cy="77123"/>
            </a:xfrm>
            <a:custGeom>
              <a:avLst/>
              <a:gdLst>
                <a:gd name="connsiteX0" fmla="*/ 6350 w 41362"/>
                <a:gd name="connsiteY0" fmla="*/ 7273 h 77123"/>
                <a:gd name="connsiteX1" fmla="*/ 0 w 41362"/>
                <a:gd name="connsiteY1" fmla="*/ 32673 h 77123"/>
                <a:gd name="connsiteX2" fmla="*/ 19050 w 41362"/>
                <a:gd name="connsiteY2" fmla="*/ 77123 h 77123"/>
                <a:gd name="connsiteX3" fmla="*/ 25400 w 41362"/>
                <a:gd name="connsiteY3" fmla="*/ 26323 h 77123"/>
                <a:gd name="connsiteX4" fmla="*/ 6350 w 41362"/>
                <a:gd name="connsiteY4" fmla="*/ 7273 h 77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62" h="77123">
                  <a:moveTo>
                    <a:pt x="6350" y="7273"/>
                  </a:moveTo>
                  <a:cubicBezTo>
                    <a:pt x="2117" y="8331"/>
                    <a:pt x="0" y="23946"/>
                    <a:pt x="0" y="32673"/>
                  </a:cubicBezTo>
                  <a:cubicBezTo>
                    <a:pt x="0" y="53175"/>
                    <a:pt x="8681" y="61569"/>
                    <a:pt x="19050" y="77123"/>
                  </a:cubicBezTo>
                  <a:cubicBezTo>
                    <a:pt x="27718" y="59787"/>
                    <a:pt x="41362" y="46275"/>
                    <a:pt x="25400" y="26323"/>
                  </a:cubicBezTo>
                  <a:cubicBezTo>
                    <a:pt x="4342" y="0"/>
                    <a:pt x="10583" y="6215"/>
                    <a:pt x="6350" y="7273"/>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defTabSz="685800" eaLnBrk="0" fontAlgn="base" hangingPunct="0">
                <a:spcBef>
                  <a:spcPct val="50000"/>
                </a:spcBef>
                <a:spcAft>
                  <a:spcPct val="0"/>
                </a:spcAft>
                <a:buClrTx/>
              </a:pPr>
              <a:endParaRPr lang="en-US" sz="900" kern="1200">
                <a:latin typeface="Arial" charset="0"/>
                <a:ea typeface="+mn-ea"/>
                <a:cs typeface="+mn-cs"/>
              </a:endParaRPr>
            </a:p>
          </p:txBody>
        </p:sp>
        <p:sp>
          <p:nvSpPr>
            <p:cNvPr id="36" name="Freeform 35"/>
            <p:cNvSpPr/>
            <p:nvPr>
              <p:custDataLst>
                <p:tags r:id="rId26"/>
              </p:custDataLst>
            </p:nvPr>
          </p:nvSpPr>
          <p:spPr bwMode="gray">
            <a:xfrm>
              <a:off x="3948299" y="1343025"/>
              <a:ext cx="58784" cy="47625"/>
            </a:xfrm>
            <a:custGeom>
              <a:avLst/>
              <a:gdLst>
                <a:gd name="connsiteX0" fmla="*/ 12700 w 58784"/>
                <a:gd name="connsiteY0" fmla="*/ 3175 h 47625"/>
                <a:gd name="connsiteX1" fmla="*/ 0 w 58784"/>
                <a:gd name="connsiteY1" fmla="*/ 22225 h 47625"/>
                <a:gd name="connsiteX2" fmla="*/ 31750 w 58784"/>
                <a:gd name="connsiteY2" fmla="*/ 47625 h 47625"/>
                <a:gd name="connsiteX3" fmla="*/ 50800 w 58784"/>
                <a:gd name="connsiteY3" fmla="*/ 34925 h 47625"/>
                <a:gd name="connsiteX4" fmla="*/ 25400 w 58784"/>
                <a:gd name="connsiteY4" fmla="*/ 3175 h 47625"/>
                <a:gd name="connsiteX5" fmla="*/ 12700 w 58784"/>
                <a:gd name="connsiteY5" fmla="*/ 317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784" h="47625">
                  <a:moveTo>
                    <a:pt x="12700" y="3175"/>
                  </a:moveTo>
                  <a:cubicBezTo>
                    <a:pt x="8467" y="6350"/>
                    <a:pt x="0" y="14593"/>
                    <a:pt x="0" y="22225"/>
                  </a:cubicBezTo>
                  <a:cubicBezTo>
                    <a:pt x="0" y="41373"/>
                    <a:pt x="19855" y="43660"/>
                    <a:pt x="31750" y="47625"/>
                  </a:cubicBezTo>
                  <a:cubicBezTo>
                    <a:pt x="38100" y="43392"/>
                    <a:pt x="48387" y="42165"/>
                    <a:pt x="50800" y="34925"/>
                  </a:cubicBezTo>
                  <a:cubicBezTo>
                    <a:pt x="58784" y="10974"/>
                    <a:pt x="40491" y="6193"/>
                    <a:pt x="25400" y="3175"/>
                  </a:cubicBezTo>
                  <a:cubicBezTo>
                    <a:pt x="21249" y="2345"/>
                    <a:pt x="16933" y="0"/>
                    <a:pt x="12700" y="3175"/>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defTabSz="685800" eaLnBrk="0" fontAlgn="base" hangingPunct="0">
                <a:spcBef>
                  <a:spcPct val="50000"/>
                </a:spcBef>
                <a:spcAft>
                  <a:spcPct val="0"/>
                </a:spcAft>
                <a:buClrTx/>
              </a:pPr>
              <a:endParaRPr lang="en-US" sz="900" kern="1200">
                <a:latin typeface="Arial" charset="0"/>
                <a:ea typeface="+mn-ea"/>
                <a:cs typeface="+mn-cs"/>
              </a:endParaRPr>
            </a:p>
          </p:txBody>
        </p:sp>
        <p:sp>
          <p:nvSpPr>
            <p:cNvPr id="37" name="Freeform 36"/>
            <p:cNvSpPr/>
            <p:nvPr>
              <p:custDataLst>
                <p:tags r:id="rId27"/>
              </p:custDataLst>
            </p:nvPr>
          </p:nvSpPr>
          <p:spPr bwMode="gray">
            <a:xfrm>
              <a:off x="3837936" y="1254125"/>
              <a:ext cx="61324" cy="28575"/>
            </a:xfrm>
            <a:custGeom>
              <a:avLst/>
              <a:gdLst>
                <a:gd name="connsiteX0" fmla="*/ 46863 w 61324"/>
                <a:gd name="connsiteY0" fmla="*/ 3175 h 28575"/>
                <a:gd name="connsiteX1" fmla="*/ 27813 w 61324"/>
                <a:gd name="connsiteY1" fmla="*/ 9525 h 28575"/>
                <a:gd name="connsiteX2" fmla="*/ 2413 w 61324"/>
                <a:gd name="connsiteY2" fmla="*/ 15875 h 28575"/>
                <a:gd name="connsiteX3" fmla="*/ 21463 w 61324"/>
                <a:gd name="connsiteY3" fmla="*/ 28575 h 28575"/>
                <a:gd name="connsiteX4" fmla="*/ 46863 w 61324"/>
                <a:gd name="connsiteY4" fmla="*/ 3175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24" h="28575">
                  <a:moveTo>
                    <a:pt x="46863" y="3175"/>
                  </a:moveTo>
                  <a:cubicBezTo>
                    <a:pt x="47921" y="0"/>
                    <a:pt x="34249" y="7686"/>
                    <a:pt x="27813" y="9525"/>
                  </a:cubicBezTo>
                  <a:cubicBezTo>
                    <a:pt x="19422" y="11923"/>
                    <a:pt x="5173" y="7596"/>
                    <a:pt x="2413" y="15875"/>
                  </a:cubicBezTo>
                  <a:cubicBezTo>
                    <a:pt x="0" y="23115"/>
                    <a:pt x="15113" y="24342"/>
                    <a:pt x="21463" y="28575"/>
                  </a:cubicBezTo>
                  <a:cubicBezTo>
                    <a:pt x="61324" y="2001"/>
                    <a:pt x="45805" y="6350"/>
                    <a:pt x="46863" y="3175"/>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defTabSz="685800" eaLnBrk="0" fontAlgn="base" hangingPunct="0">
                <a:spcBef>
                  <a:spcPct val="50000"/>
                </a:spcBef>
                <a:spcAft>
                  <a:spcPct val="0"/>
                </a:spcAft>
                <a:buClrTx/>
              </a:pPr>
              <a:endParaRPr lang="en-US" sz="900" kern="1200">
                <a:latin typeface="Arial" charset="0"/>
                <a:ea typeface="+mn-ea"/>
                <a:cs typeface="+mn-cs"/>
              </a:endParaRPr>
            </a:p>
          </p:txBody>
        </p:sp>
        <p:sp>
          <p:nvSpPr>
            <p:cNvPr id="38" name="Freeform 37"/>
            <p:cNvSpPr/>
            <p:nvPr>
              <p:custDataLst>
                <p:tags r:id="rId28"/>
              </p:custDataLst>
            </p:nvPr>
          </p:nvSpPr>
          <p:spPr bwMode="gray">
            <a:xfrm>
              <a:off x="4934883" y="2019300"/>
              <a:ext cx="1559766" cy="1511300"/>
            </a:xfrm>
            <a:custGeom>
              <a:avLst/>
              <a:gdLst>
                <a:gd name="connsiteX0" fmla="*/ 816816 w 1559766"/>
                <a:gd name="connsiteY0" fmla="*/ 1339850 h 1511300"/>
                <a:gd name="connsiteX1" fmla="*/ 848566 w 1559766"/>
                <a:gd name="connsiteY1" fmla="*/ 1365250 h 1511300"/>
                <a:gd name="connsiteX2" fmla="*/ 886666 w 1559766"/>
                <a:gd name="connsiteY2" fmla="*/ 1403350 h 1511300"/>
                <a:gd name="connsiteX3" fmla="*/ 899366 w 1559766"/>
                <a:gd name="connsiteY3" fmla="*/ 1511300 h 1511300"/>
                <a:gd name="connsiteX4" fmla="*/ 918416 w 1559766"/>
                <a:gd name="connsiteY4" fmla="*/ 1504950 h 1511300"/>
                <a:gd name="connsiteX5" fmla="*/ 937466 w 1559766"/>
                <a:gd name="connsiteY5" fmla="*/ 1492250 h 1511300"/>
                <a:gd name="connsiteX6" fmla="*/ 943816 w 1559766"/>
                <a:gd name="connsiteY6" fmla="*/ 1473200 h 1511300"/>
                <a:gd name="connsiteX7" fmla="*/ 969216 w 1559766"/>
                <a:gd name="connsiteY7" fmla="*/ 1466850 h 1511300"/>
                <a:gd name="connsiteX8" fmla="*/ 994616 w 1559766"/>
                <a:gd name="connsiteY8" fmla="*/ 1473200 h 1511300"/>
                <a:gd name="connsiteX9" fmla="*/ 1007316 w 1559766"/>
                <a:gd name="connsiteY9" fmla="*/ 1492250 h 1511300"/>
                <a:gd name="connsiteX10" fmla="*/ 1045416 w 1559766"/>
                <a:gd name="connsiteY10" fmla="*/ 1504950 h 1511300"/>
                <a:gd name="connsiteX11" fmla="*/ 1102566 w 1559766"/>
                <a:gd name="connsiteY11" fmla="*/ 1498600 h 1511300"/>
                <a:gd name="connsiteX12" fmla="*/ 1147016 w 1559766"/>
                <a:gd name="connsiteY12" fmla="*/ 1492250 h 1511300"/>
                <a:gd name="connsiteX13" fmla="*/ 1229566 w 1559766"/>
                <a:gd name="connsiteY13" fmla="*/ 1485900 h 1511300"/>
                <a:gd name="connsiteX14" fmla="*/ 1248616 w 1559766"/>
                <a:gd name="connsiteY14" fmla="*/ 1447800 h 1511300"/>
                <a:gd name="connsiteX15" fmla="*/ 1261316 w 1559766"/>
                <a:gd name="connsiteY15" fmla="*/ 1384300 h 1511300"/>
                <a:gd name="connsiteX16" fmla="*/ 1305766 w 1559766"/>
                <a:gd name="connsiteY16" fmla="*/ 1365250 h 1511300"/>
                <a:gd name="connsiteX17" fmla="*/ 1343866 w 1559766"/>
                <a:gd name="connsiteY17" fmla="*/ 1371600 h 1511300"/>
                <a:gd name="connsiteX18" fmla="*/ 1356566 w 1559766"/>
                <a:gd name="connsiteY18" fmla="*/ 1390650 h 1511300"/>
                <a:gd name="connsiteX19" fmla="*/ 1394666 w 1559766"/>
                <a:gd name="connsiteY19" fmla="*/ 1377950 h 1511300"/>
                <a:gd name="connsiteX20" fmla="*/ 1432766 w 1559766"/>
                <a:gd name="connsiteY20" fmla="*/ 1365250 h 1511300"/>
                <a:gd name="connsiteX21" fmla="*/ 1470866 w 1559766"/>
                <a:gd name="connsiteY21" fmla="*/ 1352550 h 1511300"/>
                <a:gd name="connsiteX22" fmla="*/ 1496266 w 1559766"/>
                <a:gd name="connsiteY22" fmla="*/ 1358900 h 1511300"/>
                <a:gd name="connsiteX23" fmla="*/ 1515316 w 1559766"/>
                <a:gd name="connsiteY23" fmla="*/ 1365250 h 1511300"/>
                <a:gd name="connsiteX24" fmla="*/ 1547066 w 1559766"/>
                <a:gd name="connsiteY24" fmla="*/ 1358900 h 1511300"/>
                <a:gd name="connsiteX25" fmla="*/ 1559766 w 1559766"/>
                <a:gd name="connsiteY25" fmla="*/ 1339850 h 1511300"/>
                <a:gd name="connsiteX26" fmla="*/ 1547066 w 1559766"/>
                <a:gd name="connsiteY26" fmla="*/ 1276350 h 1511300"/>
                <a:gd name="connsiteX27" fmla="*/ 1540716 w 1559766"/>
                <a:gd name="connsiteY27" fmla="*/ 1257300 h 1511300"/>
                <a:gd name="connsiteX28" fmla="*/ 1489916 w 1559766"/>
                <a:gd name="connsiteY28" fmla="*/ 1200150 h 1511300"/>
                <a:gd name="connsiteX29" fmla="*/ 1483566 w 1559766"/>
                <a:gd name="connsiteY29" fmla="*/ 1181100 h 1511300"/>
                <a:gd name="connsiteX30" fmla="*/ 1496266 w 1559766"/>
                <a:gd name="connsiteY30" fmla="*/ 1111250 h 1511300"/>
                <a:gd name="connsiteX31" fmla="*/ 1521666 w 1559766"/>
                <a:gd name="connsiteY31" fmla="*/ 1073150 h 1511300"/>
                <a:gd name="connsiteX32" fmla="*/ 1528016 w 1559766"/>
                <a:gd name="connsiteY32" fmla="*/ 1035050 h 1511300"/>
                <a:gd name="connsiteX33" fmla="*/ 1528016 w 1559766"/>
                <a:gd name="connsiteY33" fmla="*/ 990600 h 1511300"/>
                <a:gd name="connsiteX34" fmla="*/ 1508966 w 1559766"/>
                <a:gd name="connsiteY34" fmla="*/ 977900 h 1511300"/>
                <a:gd name="connsiteX35" fmla="*/ 1502616 w 1559766"/>
                <a:gd name="connsiteY35" fmla="*/ 939800 h 1511300"/>
                <a:gd name="connsiteX36" fmla="*/ 1496266 w 1559766"/>
                <a:gd name="connsiteY36" fmla="*/ 869950 h 1511300"/>
                <a:gd name="connsiteX37" fmla="*/ 1458166 w 1559766"/>
                <a:gd name="connsiteY37" fmla="*/ 857250 h 1511300"/>
                <a:gd name="connsiteX38" fmla="*/ 1439116 w 1559766"/>
                <a:gd name="connsiteY38" fmla="*/ 838200 h 1511300"/>
                <a:gd name="connsiteX39" fmla="*/ 1426416 w 1559766"/>
                <a:gd name="connsiteY39" fmla="*/ 800100 h 1511300"/>
                <a:gd name="connsiteX40" fmla="*/ 1432766 w 1559766"/>
                <a:gd name="connsiteY40" fmla="*/ 755650 h 1511300"/>
                <a:gd name="connsiteX41" fmla="*/ 1445466 w 1559766"/>
                <a:gd name="connsiteY41" fmla="*/ 730250 h 1511300"/>
                <a:gd name="connsiteX42" fmla="*/ 1464516 w 1559766"/>
                <a:gd name="connsiteY42" fmla="*/ 692150 h 1511300"/>
                <a:gd name="connsiteX43" fmla="*/ 1426416 w 1559766"/>
                <a:gd name="connsiteY43" fmla="*/ 615950 h 1511300"/>
                <a:gd name="connsiteX44" fmla="*/ 1407366 w 1559766"/>
                <a:gd name="connsiteY44" fmla="*/ 596900 h 1511300"/>
                <a:gd name="connsiteX45" fmla="*/ 1369266 w 1559766"/>
                <a:gd name="connsiteY45" fmla="*/ 584200 h 1511300"/>
                <a:gd name="connsiteX46" fmla="*/ 1337516 w 1559766"/>
                <a:gd name="connsiteY46" fmla="*/ 546100 h 1511300"/>
                <a:gd name="connsiteX47" fmla="*/ 1318466 w 1559766"/>
                <a:gd name="connsiteY47" fmla="*/ 508000 h 1511300"/>
                <a:gd name="connsiteX48" fmla="*/ 1280366 w 1559766"/>
                <a:gd name="connsiteY48" fmla="*/ 495300 h 1511300"/>
                <a:gd name="connsiteX49" fmla="*/ 1261316 w 1559766"/>
                <a:gd name="connsiteY49" fmla="*/ 488950 h 1511300"/>
                <a:gd name="connsiteX50" fmla="*/ 1242266 w 1559766"/>
                <a:gd name="connsiteY50" fmla="*/ 476250 h 1511300"/>
                <a:gd name="connsiteX51" fmla="*/ 1242266 w 1559766"/>
                <a:gd name="connsiteY51" fmla="*/ 431800 h 1511300"/>
                <a:gd name="connsiteX52" fmla="*/ 1235916 w 1559766"/>
                <a:gd name="connsiteY52" fmla="*/ 368300 h 1511300"/>
                <a:gd name="connsiteX53" fmla="*/ 1254966 w 1559766"/>
                <a:gd name="connsiteY53" fmla="*/ 361950 h 1511300"/>
                <a:gd name="connsiteX54" fmla="*/ 1280366 w 1559766"/>
                <a:gd name="connsiteY54" fmla="*/ 349250 h 1511300"/>
                <a:gd name="connsiteX55" fmla="*/ 1318466 w 1559766"/>
                <a:gd name="connsiteY55" fmla="*/ 323850 h 1511300"/>
                <a:gd name="connsiteX56" fmla="*/ 1318466 w 1559766"/>
                <a:gd name="connsiteY56" fmla="*/ 209550 h 1511300"/>
                <a:gd name="connsiteX57" fmla="*/ 1343866 w 1559766"/>
                <a:gd name="connsiteY57" fmla="*/ 171450 h 1511300"/>
                <a:gd name="connsiteX58" fmla="*/ 1337516 w 1559766"/>
                <a:gd name="connsiteY58" fmla="*/ 133350 h 1511300"/>
                <a:gd name="connsiteX59" fmla="*/ 1305766 w 1559766"/>
                <a:gd name="connsiteY59" fmla="*/ 139700 h 1511300"/>
                <a:gd name="connsiteX60" fmla="*/ 1280366 w 1559766"/>
                <a:gd name="connsiteY60" fmla="*/ 177800 h 1511300"/>
                <a:gd name="connsiteX61" fmla="*/ 1235916 w 1559766"/>
                <a:gd name="connsiteY61" fmla="*/ 165100 h 1511300"/>
                <a:gd name="connsiteX62" fmla="*/ 1229566 w 1559766"/>
                <a:gd name="connsiteY62" fmla="*/ 146050 h 1511300"/>
                <a:gd name="connsiteX63" fmla="*/ 1235916 w 1559766"/>
                <a:gd name="connsiteY63" fmla="*/ 127000 h 1511300"/>
                <a:gd name="connsiteX64" fmla="*/ 1229566 w 1559766"/>
                <a:gd name="connsiteY64" fmla="*/ 69850 h 1511300"/>
                <a:gd name="connsiteX65" fmla="*/ 1204166 w 1559766"/>
                <a:gd name="connsiteY65" fmla="*/ 57150 h 1511300"/>
                <a:gd name="connsiteX66" fmla="*/ 1134316 w 1559766"/>
                <a:gd name="connsiteY66" fmla="*/ 50800 h 1511300"/>
                <a:gd name="connsiteX67" fmla="*/ 1115266 w 1559766"/>
                <a:gd name="connsiteY67" fmla="*/ 44450 h 1511300"/>
                <a:gd name="connsiteX68" fmla="*/ 1102566 w 1559766"/>
                <a:gd name="connsiteY68" fmla="*/ 25400 h 1511300"/>
                <a:gd name="connsiteX69" fmla="*/ 1064466 w 1559766"/>
                <a:gd name="connsiteY69" fmla="*/ 0 h 1511300"/>
                <a:gd name="connsiteX70" fmla="*/ 1045416 w 1559766"/>
                <a:gd name="connsiteY70" fmla="*/ 6350 h 1511300"/>
                <a:gd name="connsiteX71" fmla="*/ 1026366 w 1559766"/>
                <a:gd name="connsiteY71" fmla="*/ 25400 h 1511300"/>
                <a:gd name="connsiteX72" fmla="*/ 1007316 w 1559766"/>
                <a:gd name="connsiteY72" fmla="*/ 38100 h 1511300"/>
                <a:gd name="connsiteX73" fmla="*/ 981916 w 1559766"/>
                <a:gd name="connsiteY73" fmla="*/ 76200 h 1511300"/>
                <a:gd name="connsiteX74" fmla="*/ 969216 w 1559766"/>
                <a:gd name="connsiteY74" fmla="*/ 114300 h 1511300"/>
                <a:gd name="connsiteX75" fmla="*/ 950166 w 1559766"/>
                <a:gd name="connsiteY75" fmla="*/ 171450 h 1511300"/>
                <a:gd name="connsiteX76" fmla="*/ 931116 w 1559766"/>
                <a:gd name="connsiteY76" fmla="*/ 184150 h 1511300"/>
                <a:gd name="connsiteX77" fmla="*/ 918416 w 1559766"/>
                <a:gd name="connsiteY77" fmla="*/ 203200 h 1511300"/>
                <a:gd name="connsiteX78" fmla="*/ 873966 w 1559766"/>
                <a:gd name="connsiteY78" fmla="*/ 203200 h 1511300"/>
                <a:gd name="connsiteX79" fmla="*/ 854916 w 1559766"/>
                <a:gd name="connsiteY79" fmla="*/ 196850 h 1511300"/>
                <a:gd name="connsiteX80" fmla="*/ 835866 w 1559766"/>
                <a:gd name="connsiteY80" fmla="*/ 209550 h 1511300"/>
                <a:gd name="connsiteX81" fmla="*/ 823166 w 1559766"/>
                <a:gd name="connsiteY81" fmla="*/ 228600 h 1511300"/>
                <a:gd name="connsiteX82" fmla="*/ 804116 w 1559766"/>
                <a:gd name="connsiteY82" fmla="*/ 222250 h 1511300"/>
                <a:gd name="connsiteX83" fmla="*/ 746966 w 1559766"/>
                <a:gd name="connsiteY83" fmla="*/ 234950 h 1511300"/>
                <a:gd name="connsiteX84" fmla="*/ 727916 w 1559766"/>
                <a:gd name="connsiteY84" fmla="*/ 247650 h 1511300"/>
                <a:gd name="connsiteX85" fmla="*/ 708866 w 1559766"/>
                <a:gd name="connsiteY85" fmla="*/ 260350 h 1511300"/>
                <a:gd name="connsiteX86" fmla="*/ 645366 w 1559766"/>
                <a:gd name="connsiteY86" fmla="*/ 247650 h 1511300"/>
                <a:gd name="connsiteX87" fmla="*/ 626316 w 1559766"/>
                <a:gd name="connsiteY87" fmla="*/ 241300 h 1511300"/>
                <a:gd name="connsiteX88" fmla="*/ 588216 w 1559766"/>
                <a:gd name="connsiteY88" fmla="*/ 209550 h 1511300"/>
                <a:gd name="connsiteX89" fmla="*/ 543766 w 1559766"/>
                <a:gd name="connsiteY89" fmla="*/ 215900 h 1511300"/>
                <a:gd name="connsiteX90" fmla="*/ 454866 w 1559766"/>
                <a:gd name="connsiteY90" fmla="*/ 184150 h 1511300"/>
                <a:gd name="connsiteX91" fmla="*/ 454866 w 1559766"/>
                <a:gd name="connsiteY91" fmla="*/ 184150 h 1511300"/>
                <a:gd name="connsiteX92" fmla="*/ 416766 w 1559766"/>
                <a:gd name="connsiteY92" fmla="*/ 171450 h 1511300"/>
                <a:gd name="connsiteX93" fmla="*/ 327866 w 1559766"/>
                <a:gd name="connsiteY93" fmla="*/ 177800 h 1511300"/>
                <a:gd name="connsiteX94" fmla="*/ 302466 w 1559766"/>
                <a:gd name="connsiteY94" fmla="*/ 209550 h 1511300"/>
                <a:gd name="connsiteX95" fmla="*/ 238966 w 1559766"/>
                <a:gd name="connsiteY95" fmla="*/ 228600 h 1511300"/>
                <a:gd name="connsiteX96" fmla="*/ 226266 w 1559766"/>
                <a:gd name="connsiteY96" fmla="*/ 247650 h 1511300"/>
                <a:gd name="connsiteX97" fmla="*/ 175466 w 1559766"/>
                <a:gd name="connsiteY97" fmla="*/ 234950 h 1511300"/>
                <a:gd name="connsiteX98" fmla="*/ 156416 w 1559766"/>
                <a:gd name="connsiteY98" fmla="*/ 241300 h 1511300"/>
                <a:gd name="connsiteX99" fmla="*/ 143716 w 1559766"/>
                <a:gd name="connsiteY99" fmla="*/ 260350 h 1511300"/>
                <a:gd name="connsiteX100" fmla="*/ 124666 w 1559766"/>
                <a:gd name="connsiteY100" fmla="*/ 279400 h 1511300"/>
                <a:gd name="connsiteX101" fmla="*/ 105616 w 1559766"/>
                <a:gd name="connsiteY101" fmla="*/ 292100 h 1511300"/>
                <a:gd name="connsiteX102" fmla="*/ 48466 w 1559766"/>
                <a:gd name="connsiteY102" fmla="*/ 304800 h 1511300"/>
                <a:gd name="connsiteX103" fmla="*/ 29416 w 1559766"/>
                <a:gd name="connsiteY103" fmla="*/ 311150 h 1511300"/>
                <a:gd name="connsiteX104" fmla="*/ 4016 w 1559766"/>
                <a:gd name="connsiteY104" fmla="*/ 317500 h 1511300"/>
                <a:gd name="connsiteX105" fmla="*/ 10366 w 1559766"/>
                <a:gd name="connsiteY105" fmla="*/ 336550 h 1511300"/>
                <a:gd name="connsiteX106" fmla="*/ 35766 w 1559766"/>
                <a:gd name="connsiteY106" fmla="*/ 349250 h 1511300"/>
                <a:gd name="connsiteX107" fmla="*/ 73866 w 1559766"/>
                <a:gd name="connsiteY107" fmla="*/ 368300 h 1511300"/>
                <a:gd name="connsiteX108" fmla="*/ 162766 w 1559766"/>
                <a:gd name="connsiteY108" fmla="*/ 368300 h 1511300"/>
                <a:gd name="connsiteX109" fmla="*/ 169116 w 1559766"/>
                <a:gd name="connsiteY109" fmla="*/ 387350 h 1511300"/>
                <a:gd name="connsiteX110" fmla="*/ 175466 w 1559766"/>
                <a:gd name="connsiteY110" fmla="*/ 412750 h 1511300"/>
                <a:gd name="connsiteX111" fmla="*/ 194516 w 1559766"/>
                <a:gd name="connsiteY111" fmla="*/ 419100 h 1511300"/>
                <a:gd name="connsiteX112" fmla="*/ 219916 w 1559766"/>
                <a:gd name="connsiteY112" fmla="*/ 425450 h 1511300"/>
                <a:gd name="connsiteX113" fmla="*/ 264366 w 1559766"/>
                <a:gd name="connsiteY113" fmla="*/ 482600 h 1511300"/>
                <a:gd name="connsiteX114" fmla="*/ 283416 w 1559766"/>
                <a:gd name="connsiteY114" fmla="*/ 488950 h 1511300"/>
                <a:gd name="connsiteX115" fmla="*/ 346916 w 1559766"/>
                <a:gd name="connsiteY115" fmla="*/ 482600 h 1511300"/>
                <a:gd name="connsiteX116" fmla="*/ 365966 w 1559766"/>
                <a:gd name="connsiteY116" fmla="*/ 476250 h 1511300"/>
                <a:gd name="connsiteX117" fmla="*/ 385016 w 1559766"/>
                <a:gd name="connsiteY117" fmla="*/ 482600 h 1511300"/>
                <a:gd name="connsiteX118" fmla="*/ 391366 w 1559766"/>
                <a:gd name="connsiteY118" fmla="*/ 508000 h 1511300"/>
                <a:gd name="connsiteX119" fmla="*/ 410416 w 1559766"/>
                <a:gd name="connsiteY119" fmla="*/ 495300 h 1511300"/>
                <a:gd name="connsiteX120" fmla="*/ 429466 w 1559766"/>
                <a:gd name="connsiteY120" fmla="*/ 488950 h 1511300"/>
                <a:gd name="connsiteX121" fmla="*/ 435816 w 1559766"/>
                <a:gd name="connsiteY121" fmla="*/ 508000 h 1511300"/>
                <a:gd name="connsiteX122" fmla="*/ 429466 w 1559766"/>
                <a:gd name="connsiteY122" fmla="*/ 546100 h 1511300"/>
                <a:gd name="connsiteX123" fmla="*/ 416766 w 1559766"/>
                <a:gd name="connsiteY123" fmla="*/ 596900 h 1511300"/>
                <a:gd name="connsiteX124" fmla="*/ 423116 w 1559766"/>
                <a:gd name="connsiteY124" fmla="*/ 615950 h 1511300"/>
                <a:gd name="connsiteX125" fmla="*/ 442166 w 1559766"/>
                <a:gd name="connsiteY125" fmla="*/ 628650 h 1511300"/>
                <a:gd name="connsiteX126" fmla="*/ 423116 w 1559766"/>
                <a:gd name="connsiteY126" fmla="*/ 666750 h 1511300"/>
                <a:gd name="connsiteX127" fmla="*/ 410416 w 1559766"/>
                <a:gd name="connsiteY127" fmla="*/ 704850 h 1511300"/>
                <a:gd name="connsiteX128" fmla="*/ 404066 w 1559766"/>
                <a:gd name="connsiteY128" fmla="*/ 723900 h 1511300"/>
                <a:gd name="connsiteX129" fmla="*/ 410416 w 1559766"/>
                <a:gd name="connsiteY129" fmla="*/ 749300 h 1511300"/>
                <a:gd name="connsiteX130" fmla="*/ 448516 w 1559766"/>
                <a:gd name="connsiteY130" fmla="*/ 755650 h 1511300"/>
                <a:gd name="connsiteX131" fmla="*/ 467566 w 1559766"/>
                <a:gd name="connsiteY131" fmla="*/ 768350 h 1511300"/>
                <a:gd name="connsiteX132" fmla="*/ 467566 w 1559766"/>
                <a:gd name="connsiteY132" fmla="*/ 819150 h 1511300"/>
                <a:gd name="connsiteX133" fmla="*/ 454866 w 1559766"/>
                <a:gd name="connsiteY133" fmla="*/ 857250 h 1511300"/>
                <a:gd name="connsiteX134" fmla="*/ 448516 w 1559766"/>
                <a:gd name="connsiteY134" fmla="*/ 958850 h 1511300"/>
                <a:gd name="connsiteX135" fmla="*/ 467566 w 1559766"/>
                <a:gd name="connsiteY135" fmla="*/ 1028700 h 1511300"/>
                <a:gd name="connsiteX136" fmla="*/ 480266 w 1559766"/>
                <a:gd name="connsiteY136" fmla="*/ 1047750 h 1511300"/>
                <a:gd name="connsiteX137" fmla="*/ 505666 w 1559766"/>
                <a:gd name="connsiteY137" fmla="*/ 1092200 h 1511300"/>
                <a:gd name="connsiteX138" fmla="*/ 524716 w 1559766"/>
                <a:gd name="connsiteY138" fmla="*/ 1098550 h 1511300"/>
                <a:gd name="connsiteX139" fmla="*/ 588216 w 1559766"/>
                <a:gd name="connsiteY139" fmla="*/ 1111250 h 1511300"/>
                <a:gd name="connsiteX140" fmla="*/ 607266 w 1559766"/>
                <a:gd name="connsiteY140" fmla="*/ 1117600 h 1511300"/>
                <a:gd name="connsiteX141" fmla="*/ 632666 w 1559766"/>
                <a:gd name="connsiteY141" fmla="*/ 1092200 h 1511300"/>
                <a:gd name="connsiteX142" fmla="*/ 651716 w 1559766"/>
                <a:gd name="connsiteY142" fmla="*/ 1085850 h 1511300"/>
                <a:gd name="connsiteX143" fmla="*/ 670766 w 1559766"/>
                <a:gd name="connsiteY143" fmla="*/ 1098550 h 1511300"/>
                <a:gd name="connsiteX144" fmla="*/ 689816 w 1559766"/>
                <a:gd name="connsiteY144" fmla="*/ 1136650 h 1511300"/>
                <a:gd name="connsiteX145" fmla="*/ 708866 w 1559766"/>
                <a:gd name="connsiteY145" fmla="*/ 1149350 h 1511300"/>
                <a:gd name="connsiteX146" fmla="*/ 791416 w 1559766"/>
                <a:gd name="connsiteY146" fmla="*/ 1162050 h 1511300"/>
                <a:gd name="connsiteX147" fmla="*/ 804116 w 1559766"/>
                <a:gd name="connsiteY147" fmla="*/ 1181100 h 1511300"/>
                <a:gd name="connsiteX148" fmla="*/ 823166 w 1559766"/>
                <a:gd name="connsiteY148" fmla="*/ 1193800 h 1511300"/>
                <a:gd name="connsiteX149" fmla="*/ 842216 w 1559766"/>
                <a:gd name="connsiteY149" fmla="*/ 1212850 h 1511300"/>
                <a:gd name="connsiteX150" fmla="*/ 848566 w 1559766"/>
                <a:gd name="connsiteY150" fmla="*/ 1263650 h 1511300"/>
                <a:gd name="connsiteX151" fmla="*/ 854916 w 1559766"/>
                <a:gd name="connsiteY151" fmla="*/ 1282700 h 1511300"/>
                <a:gd name="connsiteX152" fmla="*/ 829516 w 1559766"/>
                <a:gd name="connsiteY152" fmla="*/ 1320800 h 1511300"/>
                <a:gd name="connsiteX153" fmla="*/ 816816 w 1559766"/>
                <a:gd name="connsiteY153" fmla="*/ 133985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559766" h="1511300">
                  <a:moveTo>
                    <a:pt x="816816" y="1339850"/>
                  </a:moveTo>
                  <a:cubicBezTo>
                    <a:pt x="819991" y="1347258"/>
                    <a:pt x="824379" y="1338039"/>
                    <a:pt x="848566" y="1365250"/>
                  </a:cubicBezTo>
                  <a:cubicBezTo>
                    <a:pt x="860498" y="1378674"/>
                    <a:pt x="886666" y="1403350"/>
                    <a:pt x="886666" y="1403350"/>
                  </a:cubicBezTo>
                  <a:cubicBezTo>
                    <a:pt x="885840" y="1414916"/>
                    <a:pt x="857446" y="1497327"/>
                    <a:pt x="899366" y="1511300"/>
                  </a:cubicBezTo>
                  <a:lnTo>
                    <a:pt x="918416" y="1504950"/>
                  </a:lnTo>
                  <a:cubicBezTo>
                    <a:pt x="924766" y="1500717"/>
                    <a:pt x="932698" y="1498209"/>
                    <a:pt x="937466" y="1492250"/>
                  </a:cubicBezTo>
                  <a:cubicBezTo>
                    <a:pt x="941647" y="1487023"/>
                    <a:pt x="938589" y="1477381"/>
                    <a:pt x="943816" y="1473200"/>
                  </a:cubicBezTo>
                  <a:cubicBezTo>
                    <a:pt x="950631" y="1467748"/>
                    <a:pt x="960749" y="1468967"/>
                    <a:pt x="969216" y="1466850"/>
                  </a:cubicBezTo>
                  <a:cubicBezTo>
                    <a:pt x="977683" y="1468967"/>
                    <a:pt x="987354" y="1468359"/>
                    <a:pt x="994616" y="1473200"/>
                  </a:cubicBezTo>
                  <a:cubicBezTo>
                    <a:pt x="1000966" y="1477433"/>
                    <a:pt x="1000844" y="1488205"/>
                    <a:pt x="1007316" y="1492250"/>
                  </a:cubicBezTo>
                  <a:cubicBezTo>
                    <a:pt x="1018668" y="1499345"/>
                    <a:pt x="1045416" y="1504950"/>
                    <a:pt x="1045416" y="1504950"/>
                  </a:cubicBezTo>
                  <a:lnTo>
                    <a:pt x="1102566" y="1498600"/>
                  </a:lnTo>
                  <a:cubicBezTo>
                    <a:pt x="1117418" y="1496744"/>
                    <a:pt x="1132123" y="1493739"/>
                    <a:pt x="1147016" y="1492250"/>
                  </a:cubicBezTo>
                  <a:cubicBezTo>
                    <a:pt x="1174477" y="1489504"/>
                    <a:pt x="1202049" y="1488017"/>
                    <a:pt x="1229566" y="1485900"/>
                  </a:cubicBezTo>
                  <a:cubicBezTo>
                    <a:pt x="1241277" y="1468334"/>
                    <a:pt x="1243977" y="1467904"/>
                    <a:pt x="1248616" y="1447800"/>
                  </a:cubicBezTo>
                  <a:cubicBezTo>
                    <a:pt x="1253470" y="1426767"/>
                    <a:pt x="1242009" y="1393953"/>
                    <a:pt x="1261316" y="1384300"/>
                  </a:cubicBezTo>
                  <a:cubicBezTo>
                    <a:pt x="1292703" y="1368607"/>
                    <a:pt x="1277736" y="1374593"/>
                    <a:pt x="1305766" y="1365250"/>
                  </a:cubicBezTo>
                  <a:cubicBezTo>
                    <a:pt x="1318466" y="1367367"/>
                    <a:pt x="1332350" y="1365842"/>
                    <a:pt x="1343866" y="1371600"/>
                  </a:cubicBezTo>
                  <a:cubicBezTo>
                    <a:pt x="1350692" y="1375013"/>
                    <a:pt x="1348993" y="1389703"/>
                    <a:pt x="1356566" y="1390650"/>
                  </a:cubicBezTo>
                  <a:cubicBezTo>
                    <a:pt x="1369850" y="1392310"/>
                    <a:pt x="1394666" y="1377950"/>
                    <a:pt x="1394666" y="1377950"/>
                  </a:cubicBezTo>
                  <a:cubicBezTo>
                    <a:pt x="1436943" y="1335673"/>
                    <a:pt x="1391412" y="1369845"/>
                    <a:pt x="1432766" y="1365250"/>
                  </a:cubicBezTo>
                  <a:cubicBezTo>
                    <a:pt x="1446071" y="1363772"/>
                    <a:pt x="1470866" y="1352550"/>
                    <a:pt x="1470866" y="1352550"/>
                  </a:cubicBezTo>
                  <a:cubicBezTo>
                    <a:pt x="1479333" y="1354667"/>
                    <a:pt x="1487875" y="1356502"/>
                    <a:pt x="1496266" y="1358900"/>
                  </a:cubicBezTo>
                  <a:cubicBezTo>
                    <a:pt x="1502702" y="1360739"/>
                    <a:pt x="1508623" y="1365250"/>
                    <a:pt x="1515316" y="1365250"/>
                  </a:cubicBezTo>
                  <a:cubicBezTo>
                    <a:pt x="1526109" y="1365250"/>
                    <a:pt x="1536483" y="1361017"/>
                    <a:pt x="1547066" y="1358900"/>
                  </a:cubicBezTo>
                  <a:cubicBezTo>
                    <a:pt x="1551299" y="1352550"/>
                    <a:pt x="1559766" y="1347482"/>
                    <a:pt x="1559766" y="1339850"/>
                  </a:cubicBezTo>
                  <a:cubicBezTo>
                    <a:pt x="1559766" y="1318264"/>
                    <a:pt x="1553892" y="1296828"/>
                    <a:pt x="1547066" y="1276350"/>
                  </a:cubicBezTo>
                  <a:cubicBezTo>
                    <a:pt x="1544949" y="1270000"/>
                    <a:pt x="1544825" y="1262584"/>
                    <a:pt x="1540716" y="1257300"/>
                  </a:cubicBezTo>
                  <a:cubicBezTo>
                    <a:pt x="1517155" y="1227007"/>
                    <a:pt x="1504108" y="1228534"/>
                    <a:pt x="1489916" y="1200150"/>
                  </a:cubicBezTo>
                  <a:cubicBezTo>
                    <a:pt x="1486923" y="1194163"/>
                    <a:pt x="1485683" y="1187450"/>
                    <a:pt x="1483566" y="1181100"/>
                  </a:cubicBezTo>
                  <a:cubicBezTo>
                    <a:pt x="1484950" y="1170029"/>
                    <a:pt x="1486793" y="1128301"/>
                    <a:pt x="1496266" y="1111250"/>
                  </a:cubicBezTo>
                  <a:cubicBezTo>
                    <a:pt x="1503679" y="1097907"/>
                    <a:pt x="1521666" y="1073150"/>
                    <a:pt x="1521666" y="1073150"/>
                  </a:cubicBezTo>
                  <a:cubicBezTo>
                    <a:pt x="1523783" y="1060450"/>
                    <a:pt x="1525491" y="1047675"/>
                    <a:pt x="1528016" y="1035050"/>
                  </a:cubicBezTo>
                  <a:cubicBezTo>
                    <a:pt x="1531388" y="1018190"/>
                    <a:pt x="1540655" y="1006399"/>
                    <a:pt x="1528016" y="990600"/>
                  </a:cubicBezTo>
                  <a:cubicBezTo>
                    <a:pt x="1523248" y="984641"/>
                    <a:pt x="1515316" y="982133"/>
                    <a:pt x="1508966" y="977900"/>
                  </a:cubicBezTo>
                  <a:cubicBezTo>
                    <a:pt x="1506849" y="965200"/>
                    <a:pt x="1504120" y="952587"/>
                    <a:pt x="1502616" y="939800"/>
                  </a:cubicBezTo>
                  <a:cubicBezTo>
                    <a:pt x="1499884" y="916581"/>
                    <a:pt x="1507350" y="890535"/>
                    <a:pt x="1496266" y="869950"/>
                  </a:cubicBezTo>
                  <a:cubicBezTo>
                    <a:pt x="1489919" y="858163"/>
                    <a:pt x="1458166" y="857250"/>
                    <a:pt x="1458166" y="857250"/>
                  </a:cubicBezTo>
                  <a:cubicBezTo>
                    <a:pt x="1451816" y="850900"/>
                    <a:pt x="1443477" y="846050"/>
                    <a:pt x="1439116" y="838200"/>
                  </a:cubicBezTo>
                  <a:cubicBezTo>
                    <a:pt x="1432615" y="826498"/>
                    <a:pt x="1426416" y="800100"/>
                    <a:pt x="1426416" y="800100"/>
                  </a:cubicBezTo>
                  <a:cubicBezTo>
                    <a:pt x="1428533" y="785283"/>
                    <a:pt x="1428828" y="770090"/>
                    <a:pt x="1432766" y="755650"/>
                  </a:cubicBezTo>
                  <a:cubicBezTo>
                    <a:pt x="1435257" y="746518"/>
                    <a:pt x="1441737" y="738951"/>
                    <a:pt x="1445466" y="730250"/>
                  </a:cubicBezTo>
                  <a:cubicBezTo>
                    <a:pt x="1461240" y="693444"/>
                    <a:pt x="1440110" y="728759"/>
                    <a:pt x="1464516" y="692150"/>
                  </a:cubicBezTo>
                  <a:cubicBezTo>
                    <a:pt x="1454187" y="661162"/>
                    <a:pt x="1451035" y="640569"/>
                    <a:pt x="1426416" y="615950"/>
                  </a:cubicBezTo>
                  <a:cubicBezTo>
                    <a:pt x="1420066" y="609600"/>
                    <a:pt x="1415216" y="601261"/>
                    <a:pt x="1407366" y="596900"/>
                  </a:cubicBezTo>
                  <a:cubicBezTo>
                    <a:pt x="1395664" y="590399"/>
                    <a:pt x="1369266" y="584200"/>
                    <a:pt x="1369266" y="584200"/>
                  </a:cubicBezTo>
                  <a:cubicBezTo>
                    <a:pt x="1355222" y="570156"/>
                    <a:pt x="1346357" y="563781"/>
                    <a:pt x="1337516" y="546100"/>
                  </a:cubicBezTo>
                  <a:cubicBezTo>
                    <a:pt x="1331540" y="534148"/>
                    <a:pt x="1331701" y="516272"/>
                    <a:pt x="1318466" y="508000"/>
                  </a:cubicBezTo>
                  <a:cubicBezTo>
                    <a:pt x="1307114" y="500905"/>
                    <a:pt x="1293066" y="499533"/>
                    <a:pt x="1280366" y="495300"/>
                  </a:cubicBezTo>
                  <a:lnTo>
                    <a:pt x="1261316" y="488950"/>
                  </a:lnTo>
                  <a:cubicBezTo>
                    <a:pt x="1254966" y="484717"/>
                    <a:pt x="1247034" y="482209"/>
                    <a:pt x="1242266" y="476250"/>
                  </a:cubicBezTo>
                  <a:cubicBezTo>
                    <a:pt x="1230120" y="461067"/>
                    <a:pt x="1238252" y="447857"/>
                    <a:pt x="1242266" y="431800"/>
                  </a:cubicBezTo>
                  <a:cubicBezTo>
                    <a:pt x="1236331" y="413996"/>
                    <a:pt x="1220109" y="388058"/>
                    <a:pt x="1235916" y="368300"/>
                  </a:cubicBezTo>
                  <a:cubicBezTo>
                    <a:pt x="1240097" y="363073"/>
                    <a:pt x="1248814" y="364587"/>
                    <a:pt x="1254966" y="361950"/>
                  </a:cubicBezTo>
                  <a:cubicBezTo>
                    <a:pt x="1263667" y="358221"/>
                    <a:pt x="1272249" y="354120"/>
                    <a:pt x="1280366" y="349250"/>
                  </a:cubicBezTo>
                  <a:cubicBezTo>
                    <a:pt x="1293454" y="341397"/>
                    <a:pt x="1318466" y="323850"/>
                    <a:pt x="1318466" y="323850"/>
                  </a:cubicBezTo>
                  <a:cubicBezTo>
                    <a:pt x="1312414" y="281488"/>
                    <a:pt x="1305130" y="254891"/>
                    <a:pt x="1318466" y="209550"/>
                  </a:cubicBezTo>
                  <a:cubicBezTo>
                    <a:pt x="1322773" y="194907"/>
                    <a:pt x="1343866" y="171450"/>
                    <a:pt x="1343866" y="171450"/>
                  </a:cubicBezTo>
                  <a:cubicBezTo>
                    <a:pt x="1341749" y="158750"/>
                    <a:pt x="1347407" y="141592"/>
                    <a:pt x="1337516" y="133350"/>
                  </a:cubicBezTo>
                  <a:cubicBezTo>
                    <a:pt x="1329225" y="126441"/>
                    <a:pt x="1314285" y="133074"/>
                    <a:pt x="1305766" y="139700"/>
                  </a:cubicBezTo>
                  <a:cubicBezTo>
                    <a:pt x="1293718" y="149071"/>
                    <a:pt x="1280366" y="177800"/>
                    <a:pt x="1280366" y="177800"/>
                  </a:cubicBezTo>
                  <a:cubicBezTo>
                    <a:pt x="1280146" y="177745"/>
                    <a:pt x="1238953" y="168137"/>
                    <a:pt x="1235916" y="165100"/>
                  </a:cubicBezTo>
                  <a:cubicBezTo>
                    <a:pt x="1231183" y="160367"/>
                    <a:pt x="1231683" y="152400"/>
                    <a:pt x="1229566" y="146050"/>
                  </a:cubicBezTo>
                  <a:cubicBezTo>
                    <a:pt x="1231683" y="139700"/>
                    <a:pt x="1235916" y="133693"/>
                    <a:pt x="1235916" y="127000"/>
                  </a:cubicBezTo>
                  <a:cubicBezTo>
                    <a:pt x="1235916" y="107833"/>
                    <a:pt x="1237497" y="87299"/>
                    <a:pt x="1229566" y="69850"/>
                  </a:cubicBezTo>
                  <a:cubicBezTo>
                    <a:pt x="1225649" y="61232"/>
                    <a:pt x="1213448" y="59006"/>
                    <a:pt x="1204166" y="57150"/>
                  </a:cubicBezTo>
                  <a:cubicBezTo>
                    <a:pt x="1181241" y="52565"/>
                    <a:pt x="1157599" y="52917"/>
                    <a:pt x="1134316" y="50800"/>
                  </a:cubicBezTo>
                  <a:cubicBezTo>
                    <a:pt x="1127966" y="48683"/>
                    <a:pt x="1120493" y="48631"/>
                    <a:pt x="1115266" y="44450"/>
                  </a:cubicBezTo>
                  <a:cubicBezTo>
                    <a:pt x="1109307" y="39682"/>
                    <a:pt x="1107452" y="31263"/>
                    <a:pt x="1102566" y="25400"/>
                  </a:cubicBezTo>
                  <a:cubicBezTo>
                    <a:pt x="1084271" y="3446"/>
                    <a:pt x="1087945" y="7826"/>
                    <a:pt x="1064466" y="0"/>
                  </a:cubicBezTo>
                  <a:cubicBezTo>
                    <a:pt x="1058116" y="2117"/>
                    <a:pt x="1050985" y="2637"/>
                    <a:pt x="1045416" y="6350"/>
                  </a:cubicBezTo>
                  <a:cubicBezTo>
                    <a:pt x="1037944" y="11331"/>
                    <a:pt x="1033265" y="19651"/>
                    <a:pt x="1026366" y="25400"/>
                  </a:cubicBezTo>
                  <a:cubicBezTo>
                    <a:pt x="1020503" y="30286"/>
                    <a:pt x="1013666" y="33867"/>
                    <a:pt x="1007316" y="38100"/>
                  </a:cubicBezTo>
                  <a:lnTo>
                    <a:pt x="981916" y="76200"/>
                  </a:lnTo>
                  <a:cubicBezTo>
                    <a:pt x="974490" y="87339"/>
                    <a:pt x="973449" y="101600"/>
                    <a:pt x="969216" y="114300"/>
                  </a:cubicBezTo>
                  <a:lnTo>
                    <a:pt x="950166" y="171450"/>
                  </a:lnTo>
                  <a:cubicBezTo>
                    <a:pt x="947753" y="178690"/>
                    <a:pt x="937466" y="179917"/>
                    <a:pt x="931116" y="184150"/>
                  </a:cubicBezTo>
                  <a:cubicBezTo>
                    <a:pt x="926883" y="190500"/>
                    <a:pt x="924375" y="198432"/>
                    <a:pt x="918416" y="203200"/>
                  </a:cubicBezTo>
                  <a:cubicBezTo>
                    <a:pt x="903638" y="215022"/>
                    <a:pt x="889494" y="207637"/>
                    <a:pt x="873966" y="203200"/>
                  </a:cubicBezTo>
                  <a:cubicBezTo>
                    <a:pt x="867530" y="201361"/>
                    <a:pt x="861266" y="198967"/>
                    <a:pt x="854916" y="196850"/>
                  </a:cubicBezTo>
                  <a:cubicBezTo>
                    <a:pt x="848566" y="201083"/>
                    <a:pt x="841262" y="204154"/>
                    <a:pt x="835866" y="209550"/>
                  </a:cubicBezTo>
                  <a:cubicBezTo>
                    <a:pt x="830470" y="214946"/>
                    <a:pt x="830252" y="225766"/>
                    <a:pt x="823166" y="228600"/>
                  </a:cubicBezTo>
                  <a:cubicBezTo>
                    <a:pt x="816951" y="231086"/>
                    <a:pt x="810466" y="224367"/>
                    <a:pt x="804116" y="222250"/>
                  </a:cubicBezTo>
                  <a:cubicBezTo>
                    <a:pt x="772366" y="201083"/>
                    <a:pt x="791416" y="205317"/>
                    <a:pt x="746966" y="234950"/>
                  </a:cubicBezTo>
                  <a:lnTo>
                    <a:pt x="727916" y="247650"/>
                  </a:lnTo>
                  <a:lnTo>
                    <a:pt x="708866" y="260350"/>
                  </a:lnTo>
                  <a:cubicBezTo>
                    <a:pt x="665828" y="246004"/>
                    <a:pt x="718332" y="262243"/>
                    <a:pt x="645366" y="247650"/>
                  </a:cubicBezTo>
                  <a:cubicBezTo>
                    <a:pt x="638802" y="246337"/>
                    <a:pt x="632666" y="243417"/>
                    <a:pt x="626316" y="241300"/>
                  </a:cubicBezTo>
                  <a:cubicBezTo>
                    <a:pt x="621519" y="236503"/>
                    <a:pt x="598039" y="210532"/>
                    <a:pt x="588216" y="209550"/>
                  </a:cubicBezTo>
                  <a:cubicBezTo>
                    <a:pt x="573323" y="208061"/>
                    <a:pt x="558583" y="213783"/>
                    <a:pt x="543766" y="215900"/>
                  </a:cubicBezTo>
                  <a:cubicBezTo>
                    <a:pt x="477820" y="207657"/>
                    <a:pt x="507165" y="219016"/>
                    <a:pt x="454866" y="184150"/>
                  </a:cubicBezTo>
                  <a:lnTo>
                    <a:pt x="454866" y="184150"/>
                  </a:lnTo>
                  <a:lnTo>
                    <a:pt x="416766" y="171450"/>
                  </a:lnTo>
                  <a:cubicBezTo>
                    <a:pt x="387133" y="173567"/>
                    <a:pt x="357123" y="172637"/>
                    <a:pt x="327866" y="177800"/>
                  </a:cubicBezTo>
                  <a:cubicBezTo>
                    <a:pt x="298200" y="183035"/>
                    <a:pt x="315655" y="193063"/>
                    <a:pt x="302466" y="209550"/>
                  </a:cubicBezTo>
                  <a:cubicBezTo>
                    <a:pt x="287561" y="228181"/>
                    <a:pt x="258419" y="225821"/>
                    <a:pt x="238966" y="228600"/>
                  </a:cubicBezTo>
                  <a:cubicBezTo>
                    <a:pt x="234733" y="234950"/>
                    <a:pt x="233860" y="246891"/>
                    <a:pt x="226266" y="247650"/>
                  </a:cubicBezTo>
                  <a:cubicBezTo>
                    <a:pt x="208898" y="249387"/>
                    <a:pt x="175466" y="234950"/>
                    <a:pt x="175466" y="234950"/>
                  </a:cubicBezTo>
                  <a:cubicBezTo>
                    <a:pt x="169116" y="237067"/>
                    <a:pt x="161643" y="237119"/>
                    <a:pt x="156416" y="241300"/>
                  </a:cubicBezTo>
                  <a:cubicBezTo>
                    <a:pt x="150457" y="246068"/>
                    <a:pt x="148602" y="254487"/>
                    <a:pt x="143716" y="260350"/>
                  </a:cubicBezTo>
                  <a:cubicBezTo>
                    <a:pt x="137967" y="267249"/>
                    <a:pt x="131565" y="273651"/>
                    <a:pt x="124666" y="279400"/>
                  </a:cubicBezTo>
                  <a:cubicBezTo>
                    <a:pt x="118803" y="284286"/>
                    <a:pt x="112442" y="288687"/>
                    <a:pt x="105616" y="292100"/>
                  </a:cubicBezTo>
                  <a:cubicBezTo>
                    <a:pt x="89984" y="299916"/>
                    <a:pt x="63099" y="302361"/>
                    <a:pt x="48466" y="304800"/>
                  </a:cubicBezTo>
                  <a:cubicBezTo>
                    <a:pt x="42116" y="306917"/>
                    <a:pt x="35852" y="309311"/>
                    <a:pt x="29416" y="311150"/>
                  </a:cubicBezTo>
                  <a:cubicBezTo>
                    <a:pt x="21025" y="313548"/>
                    <a:pt x="9252" y="310518"/>
                    <a:pt x="4016" y="317500"/>
                  </a:cubicBezTo>
                  <a:cubicBezTo>
                    <a:pt x="0" y="322855"/>
                    <a:pt x="5633" y="331817"/>
                    <a:pt x="10366" y="336550"/>
                  </a:cubicBezTo>
                  <a:cubicBezTo>
                    <a:pt x="17059" y="343243"/>
                    <a:pt x="27547" y="344554"/>
                    <a:pt x="35766" y="349250"/>
                  </a:cubicBezTo>
                  <a:cubicBezTo>
                    <a:pt x="70233" y="368945"/>
                    <a:pt x="38939" y="356658"/>
                    <a:pt x="73866" y="368300"/>
                  </a:cubicBezTo>
                  <a:cubicBezTo>
                    <a:pt x="100207" y="364537"/>
                    <a:pt x="136425" y="355130"/>
                    <a:pt x="162766" y="368300"/>
                  </a:cubicBezTo>
                  <a:cubicBezTo>
                    <a:pt x="168753" y="371293"/>
                    <a:pt x="167277" y="380914"/>
                    <a:pt x="169116" y="387350"/>
                  </a:cubicBezTo>
                  <a:cubicBezTo>
                    <a:pt x="171514" y="395741"/>
                    <a:pt x="170014" y="405935"/>
                    <a:pt x="175466" y="412750"/>
                  </a:cubicBezTo>
                  <a:cubicBezTo>
                    <a:pt x="179647" y="417977"/>
                    <a:pt x="188080" y="417261"/>
                    <a:pt x="194516" y="419100"/>
                  </a:cubicBezTo>
                  <a:cubicBezTo>
                    <a:pt x="202907" y="421498"/>
                    <a:pt x="211449" y="423333"/>
                    <a:pt x="219916" y="425450"/>
                  </a:cubicBezTo>
                  <a:cubicBezTo>
                    <a:pt x="249759" y="455293"/>
                    <a:pt x="233985" y="437028"/>
                    <a:pt x="264366" y="482600"/>
                  </a:cubicBezTo>
                  <a:cubicBezTo>
                    <a:pt x="268079" y="488169"/>
                    <a:pt x="277066" y="486833"/>
                    <a:pt x="283416" y="488950"/>
                  </a:cubicBezTo>
                  <a:cubicBezTo>
                    <a:pt x="304583" y="486833"/>
                    <a:pt x="325891" y="485835"/>
                    <a:pt x="346916" y="482600"/>
                  </a:cubicBezTo>
                  <a:cubicBezTo>
                    <a:pt x="353532" y="481582"/>
                    <a:pt x="359273" y="476250"/>
                    <a:pt x="365966" y="476250"/>
                  </a:cubicBezTo>
                  <a:cubicBezTo>
                    <a:pt x="372659" y="476250"/>
                    <a:pt x="378666" y="480483"/>
                    <a:pt x="385016" y="482600"/>
                  </a:cubicBezTo>
                  <a:cubicBezTo>
                    <a:pt x="387133" y="491067"/>
                    <a:pt x="383560" y="504097"/>
                    <a:pt x="391366" y="508000"/>
                  </a:cubicBezTo>
                  <a:cubicBezTo>
                    <a:pt x="398192" y="511413"/>
                    <a:pt x="403590" y="498713"/>
                    <a:pt x="410416" y="495300"/>
                  </a:cubicBezTo>
                  <a:cubicBezTo>
                    <a:pt x="416403" y="492307"/>
                    <a:pt x="423116" y="491067"/>
                    <a:pt x="429466" y="488950"/>
                  </a:cubicBezTo>
                  <a:cubicBezTo>
                    <a:pt x="431583" y="495300"/>
                    <a:pt x="435816" y="501307"/>
                    <a:pt x="435816" y="508000"/>
                  </a:cubicBezTo>
                  <a:cubicBezTo>
                    <a:pt x="435816" y="520875"/>
                    <a:pt x="431769" y="533432"/>
                    <a:pt x="429466" y="546100"/>
                  </a:cubicBezTo>
                  <a:cubicBezTo>
                    <a:pt x="423336" y="579816"/>
                    <a:pt x="425579" y="570462"/>
                    <a:pt x="416766" y="596900"/>
                  </a:cubicBezTo>
                  <a:cubicBezTo>
                    <a:pt x="418883" y="603250"/>
                    <a:pt x="418935" y="610723"/>
                    <a:pt x="423116" y="615950"/>
                  </a:cubicBezTo>
                  <a:cubicBezTo>
                    <a:pt x="427884" y="621909"/>
                    <a:pt x="439332" y="621564"/>
                    <a:pt x="442166" y="628650"/>
                  </a:cubicBezTo>
                  <a:cubicBezTo>
                    <a:pt x="445823" y="637791"/>
                    <a:pt x="425368" y="661683"/>
                    <a:pt x="423116" y="666750"/>
                  </a:cubicBezTo>
                  <a:cubicBezTo>
                    <a:pt x="417679" y="678983"/>
                    <a:pt x="414649" y="692150"/>
                    <a:pt x="410416" y="704850"/>
                  </a:cubicBezTo>
                  <a:lnTo>
                    <a:pt x="404066" y="723900"/>
                  </a:lnTo>
                  <a:cubicBezTo>
                    <a:pt x="406183" y="732367"/>
                    <a:pt x="403314" y="744227"/>
                    <a:pt x="410416" y="749300"/>
                  </a:cubicBezTo>
                  <a:cubicBezTo>
                    <a:pt x="420893" y="756784"/>
                    <a:pt x="436302" y="751579"/>
                    <a:pt x="448516" y="755650"/>
                  </a:cubicBezTo>
                  <a:cubicBezTo>
                    <a:pt x="455756" y="758063"/>
                    <a:pt x="461216" y="764117"/>
                    <a:pt x="467566" y="768350"/>
                  </a:cubicBezTo>
                  <a:cubicBezTo>
                    <a:pt x="476379" y="794788"/>
                    <a:pt x="476761" y="785434"/>
                    <a:pt x="467566" y="819150"/>
                  </a:cubicBezTo>
                  <a:cubicBezTo>
                    <a:pt x="464044" y="832065"/>
                    <a:pt x="454866" y="857250"/>
                    <a:pt x="454866" y="857250"/>
                  </a:cubicBezTo>
                  <a:cubicBezTo>
                    <a:pt x="452749" y="891117"/>
                    <a:pt x="448516" y="924917"/>
                    <a:pt x="448516" y="958850"/>
                  </a:cubicBezTo>
                  <a:cubicBezTo>
                    <a:pt x="448516" y="976801"/>
                    <a:pt x="462586" y="1013759"/>
                    <a:pt x="467566" y="1028700"/>
                  </a:cubicBezTo>
                  <a:cubicBezTo>
                    <a:pt x="469979" y="1035940"/>
                    <a:pt x="476853" y="1040924"/>
                    <a:pt x="480266" y="1047750"/>
                  </a:cubicBezTo>
                  <a:cubicBezTo>
                    <a:pt x="492022" y="1071262"/>
                    <a:pt x="479344" y="1070265"/>
                    <a:pt x="505666" y="1092200"/>
                  </a:cubicBezTo>
                  <a:cubicBezTo>
                    <a:pt x="510808" y="1096485"/>
                    <a:pt x="518280" y="1096711"/>
                    <a:pt x="524716" y="1098550"/>
                  </a:cubicBezTo>
                  <a:cubicBezTo>
                    <a:pt x="551240" y="1106128"/>
                    <a:pt x="558277" y="1106260"/>
                    <a:pt x="588216" y="1111250"/>
                  </a:cubicBezTo>
                  <a:cubicBezTo>
                    <a:pt x="594566" y="1113367"/>
                    <a:pt x="600573" y="1117600"/>
                    <a:pt x="607266" y="1117600"/>
                  </a:cubicBezTo>
                  <a:cubicBezTo>
                    <a:pt x="641133" y="1117600"/>
                    <a:pt x="615733" y="1109133"/>
                    <a:pt x="632666" y="1092200"/>
                  </a:cubicBezTo>
                  <a:cubicBezTo>
                    <a:pt x="637399" y="1087467"/>
                    <a:pt x="645366" y="1087967"/>
                    <a:pt x="651716" y="1085850"/>
                  </a:cubicBezTo>
                  <a:cubicBezTo>
                    <a:pt x="658066" y="1090083"/>
                    <a:pt x="665998" y="1092591"/>
                    <a:pt x="670766" y="1098550"/>
                  </a:cubicBezTo>
                  <a:cubicBezTo>
                    <a:pt x="712083" y="1150196"/>
                    <a:pt x="636286" y="1083120"/>
                    <a:pt x="689816" y="1136650"/>
                  </a:cubicBezTo>
                  <a:cubicBezTo>
                    <a:pt x="695212" y="1142046"/>
                    <a:pt x="702040" y="1145937"/>
                    <a:pt x="708866" y="1149350"/>
                  </a:cubicBezTo>
                  <a:cubicBezTo>
                    <a:pt x="731751" y="1160792"/>
                    <a:pt x="773204" y="1160229"/>
                    <a:pt x="791416" y="1162050"/>
                  </a:cubicBezTo>
                  <a:cubicBezTo>
                    <a:pt x="795649" y="1168400"/>
                    <a:pt x="798720" y="1175704"/>
                    <a:pt x="804116" y="1181100"/>
                  </a:cubicBezTo>
                  <a:cubicBezTo>
                    <a:pt x="809512" y="1186496"/>
                    <a:pt x="817303" y="1188914"/>
                    <a:pt x="823166" y="1193800"/>
                  </a:cubicBezTo>
                  <a:cubicBezTo>
                    <a:pt x="830065" y="1199549"/>
                    <a:pt x="835866" y="1206500"/>
                    <a:pt x="842216" y="1212850"/>
                  </a:cubicBezTo>
                  <a:cubicBezTo>
                    <a:pt x="844333" y="1229783"/>
                    <a:pt x="845513" y="1246860"/>
                    <a:pt x="848566" y="1263650"/>
                  </a:cubicBezTo>
                  <a:cubicBezTo>
                    <a:pt x="849763" y="1270236"/>
                    <a:pt x="854916" y="1276007"/>
                    <a:pt x="854916" y="1282700"/>
                  </a:cubicBezTo>
                  <a:cubicBezTo>
                    <a:pt x="854916" y="1346516"/>
                    <a:pt x="848656" y="1276140"/>
                    <a:pt x="829516" y="1320800"/>
                  </a:cubicBezTo>
                  <a:cubicBezTo>
                    <a:pt x="825347" y="1330528"/>
                    <a:pt x="813641" y="1332442"/>
                    <a:pt x="816816" y="1339850"/>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defTabSz="685800" eaLnBrk="0" fontAlgn="base" hangingPunct="0">
                <a:spcBef>
                  <a:spcPct val="50000"/>
                </a:spcBef>
                <a:spcAft>
                  <a:spcPct val="0"/>
                </a:spcAft>
                <a:buClrTx/>
              </a:pPr>
              <a:endParaRPr lang="en-US" sz="900" kern="1200">
                <a:latin typeface="Arial" charset="0"/>
                <a:ea typeface="+mn-ea"/>
                <a:cs typeface="+mn-cs"/>
              </a:endParaRPr>
            </a:p>
          </p:txBody>
        </p:sp>
        <p:sp>
          <p:nvSpPr>
            <p:cNvPr id="39" name="Freeform 38"/>
            <p:cNvSpPr/>
            <p:nvPr>
              <p:custDataLst>
                <p:tags r:id="rId29"/>
              </p:custDataLst>
            </p:nvPr>
          </p:nvSpPr>
          <p:spPr bwMode="gray">
            <a:xfrm>
              <a:off x="5751699" y="2609182"/>
              <a:ext cx="285750" cy="222918"/>
            </a:xfrm>
            <a:custGeom>
              <a:avLst/>
              <a:gdLst>
                <a:gd name="connsiteX0" fmla="*/ 57150 w 285750"/>
                <a:gd name="connsiteY0" fmla="*/ 26068 h 222918"/>
                <a:gd name="connsiteX1" fmla="*/ 44450 w 285750"/>
                <a:gd name="connsiteY1" fmla="*/ 45118 h 222918"/>
                <a:gd name="connsiteX2" fmla="*/ 25400 w 285750"/>
                <a:gd name="connsiteY2" fmla="*/ 57818 h 222918"/>
                <a:gd name="connsiteX3" fmla="*/ 19050 w 285750"/>
                <a:gd name="connsiteY3" fmla="*/ 76868 h 222918"/>
                <a:gd name="connsiteX4" fmla="*/ 12700 w 285750"/>
                <a:gd name="connsiteY4" fmla="*/ 146718 h 222918"/>
                <a:gd name="connsiteX5" fmla="*/ 0 w 285750"/>
                <a:gd name="connsiteY5" fmla="*/ 184818 h 222918"/>
                <a:gd name="connsiteX6" fmla="*/ 25400 w 285750"/>
                <a:gd name="connsiteY6" fmla="*/ 210218 h 222918"/>
                <a:gd name="connsiteX7" fmla="*/ 44450 w 285750"/>
                <a:gd name="connsiteY7" fmla="*/ 197518 h 222918"/>
                <a:gd name="connsiteX8" fmla="*/ 82550 w 285750"/>
                <a:gd name="connsiteY8" fmla="*/ 184818 h 222918"/>
                <a:gd name="connsiteX9" fmla="*/ 101600 w 285750"/>
                <a:gd name="connsiteY9" fmla="*/ 203868 h 222918"/>
                <a:gd name="connsiteX10" fmla="*/ 139700 w 285750"/>
                <a:gd name="connsiteY10" fmla="*/ 216568 h 222918"/>
                <a:gd name="connsiteX11" fmla="*/ 190500 w 285750"/>
                <a:gd name="connsiteY11" fmla="*/ 210218 h 222918"/>
                <a:gd name="connsiteX12" fmla="*/ 228600 w 285750"/>
                <a:gd name="connsiteY12" fmla="*/ 222918 h 222918"/>
                <a:gd name="connsiteX13" fmla="*/ 266700 w 285750"/>
                <a:gd name="connsiteY13" fmla="*/ 216568 h 222918"/>
                <a:gd name="connsiteX14" fmla="*/ 285750 w 285750"/>
                <a:gd name="connsiteY14" fmla="*/ 178468 h 222918"/>
                <a:gd name="connsiteX15" fmla="*/ 247650 w 285750"/>
                <a:gd name="connsiteY15" fmla="*/ 140368 h 222918"/>
                <a:gd name="connsiteX16" fmla="*/ 228600 w 285750"/>
                <a:gd name="connsiteY16" fmla="*/ 121318 h 222918"/>
                <a:gd name="connsiteX17" fmla="*/ 209550 w 285750"/>
                <a:gd name="connsiteY17" fmla="*/ 83218 h 222918"/>
                <a:gd name="connsiteX18" fmla="*/ 190500 w 285750"/>
                <a:gd name="connsiteY18" fmla="*/ 45118 h 222918"/>
                <a:gd name="connsiteX19" fmla="*/ 171450 w 285750"/>
                <a:gd name="connsiteY19" fmla="*/ 38768 h 222918"/>
                <a:gd name="connsiteX20" fmla="*/ 165100 w 285750"/>
                <a:gd name="connsiteY20" fmla="*/ 13368 h 222918"/>
                <a:gd name="connsiteX21" fmla="*/ 127000 w 285750"/>
                <a:gd name="connsiteY21" fmla="*/ 13368 h 222918"/>
                <a:gd name="connsiteX22" fmla="*/ 95250 w 285750"/>
                <a:gd name="connsiteY22" fmla="*/ 45118 h 222918"/>
                <a:gd name="connsiteX23" fmla="*/ 69850 w 285750"/>
                <a:gd name="connsiteY23" fmla="*/ 38768 h 222918"/>
                <a:gd name="connsiteX24" fmla="*/ 57150 w 285750"/>
                <a:gd name="connsiteY24" fmla="*/ 26068 h 222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5750" h="222918">
                  <a:moveTo>
                    <a:pt x="57150" y="26068"/>
                  </a:moveTo>
                  <a:cubicBezTo>
                    <a:pt x="52917" y="27126"/>
                    <a:pt x="49846" y="39722"/>
                    <a:pt x="44450" y="45118"/>
                  </a:cubicBezTo>
                  <a:cubicBezTo>
                    <a:pt x="39054" y="50514"/>
                    <a:pt x="30168" y="51859"/>
                    <a:pt x="25400" y="57818"/>
                  </a:cubicBezTo>
                  <a:cubicBezTo>
                    <a:pt x="21219" y="63045"/>
                    <a:pt x="21167" y="70518"/>
                    <a:pt x="19050" y="76868"/>
                  </a:cubicBezTo>
                  <a:cubicBezTo>
                    <a:pt x="16933" y="100151"/>
                    <a:pt x="16763" y="123694"/>
                    <a:pt x="12700" y="146718"/>
                  </a:cubicBezTo>
                  <a:cubicBezTo>
                    <a:pt x="10374" y="159901"/>
                    <a:pt x="0" y="184818"/>
                    <a:pt x="0" y="184818"/>
                  </a:cubicBezTo>
                  <a:cubicBezTo>
                    <a:pt x="4456" y="198186"/>
                    <a:pt x="4011" y="213783"/>
                    <a:pt x="25400" y="210218"/>
                  </a:cubicBezTo>
                  <a:cubicBezTo>
                    <a:pt x="32928" y="208963"/>
                    <a:pt x="37476" y="200618"/>
                    <a:pt x="44450" y="197518"/>
                  </a:cubicBezTo>
                  <a:cubicBezTo>
                    <a:pt x="56683" y="192081"/>
                    <a:pt x="82550" y="184818"/>
                    <a:pt x="82550" y="184818"/>
                  </a:cubicBezTo>
                  <a:cubicBezTo>
                    <a:pt x="88900" y="191168"/>
                    <a:pt x="93750" y="199507"/>
                    <a:pt x="101600" y="203868"/>
                  </a:cubicBezTo>
                  <a:cubicBezTo>
                    <a:pt x="113302" y="210369"/>
                    <a:pt x="139700" y="216568"/>
                    <a:pt x="139700" y="216568"/>
                  </a:cubicBezTo>
                  <a:cubicBezTo>
                    <a:pt x="165582" y="199313"/>
                    <a:pt x="154304" y="200346"/>
                    <a:pt x="190500" y="210218"/>
                  </a:cubicBezTo>
                  <a:cubicBezTo>
                    <a:pt x="203415" y="213740"/>
                    <a:pt x="228600" y="222918"/>
                    <a:pt x="228600" y="222918"/>
                  </a:cubicBezTo>
                  <a:cubicBezTo>
                    <a:pt x="241300" y="220801"/>
                    <a:pt x="255184" y="222326"/>
                    <a:pt x="266700" y="216568"/>
                  </a:cubicBezTo>
                  <a:cubicBezTo>
                    <a:pt x="276548" y="211644"/>
                    <a:pt x="282745" y="187484"/>
                    <a:pt x="285750" y="178468"/>
                  </a:cubicBezTo>
                  <a:lnTo>
                    <a:pt x="247650" y="140368"/>
                  </a:lnTo>
                  <a:lnTo>
                    <a:pt x="228600" y="121318"/>
                  </a:lnTo>
                  <a:cubicBezTo>
                    <a:pt x="212639" y="73435"/>
                    <a:pt x="234169" y="132457"/>
                    <a:pt x="209550" y="83218"/>
                  </a:cubicBezTo>
                  <a:cubicBezTo>
                    <a:pt x="201881" y="67880"/>
                    <a:pt x="205665" y="57250"/>
                    <a:pt x="190500" y="45118"/>
                  </a:cubicBezTo>
                  <a:cubicBezTo>
                    <a:pt x="185273" y="40937"/>
                    <a:pt x="177800" y="40885"/>
                    <a:pt x="171450" y="38768"/>
                  </a:cubicBezTo>
                  <a:cubicBezTo>
                    <a:pt x="169333" y="30301"/>
                    <a:pt x="170552" y="20183"/>
                    <a:pt x="165100" y="13368"/>
                  </a:cubicBezTo>
                  <a:cubicBezTo>
                    <a:pt x="154405" y="0"/>
                    <a:pt x="137695" y="9803"/>
                    <a:pt x="127000" y="13368"/>
                  </a:cubicBezTo>
                  <a:cubicBezTo>
                    <a:pt x="119870" y="24063"/>
                    <a:pt x="110846" y="42890"/>
                    <a:pt x="95250" y="45118"/>
                  </a:cubicBezTo>
                  <a:cubicBezTo>
                    <a:pt x="86610" y="46352"/>
                    <a:pt x="78317" y="40885"/>
                    <a:pt x="69850" y="38768"/>
                  </a:cubicBezTo>
                  <a:cubicBezTo>
                    <a:pt x="55976" y="17957"/>
                    <a:pt x="61383" y="25010"/>
                    <a:pt x="57150" y="26068"/>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defTabSz="685800" eaLnBrk="0" fontAlgn="base" hangingPunct="0">
                <a:spcBef>
                  <a:spcPct val="50000"/>
                </a:spcBef>
                <a:spcAft>
                  <a:spcPct val="0"/>
                </a:spcAft>
                <a:buClrTx/>
              </a:pPr>
              <a:endParaRPr lang="en-US" sz="900" kern="1200">
                <a:latin typeface="Arial" charset="0"/>
                <a:ea typeface="+mn-ea"/>
                <a:cs typeface="+mn-cs"/>
              </a:endParaRPr>
            </a:p>
          </p:txBody>
        </p:sp>
        <p:sp>
          <p:nvSpPr>
            <p:cNvPr id="40" name="Freeform 39"/>
            <p:cNvSpPr/>
            <p:nvPr/>
          </p:nvSpPr>
          <p:spPr bwMode="gray">
            <a:xfrm>
              <a:off x="5256399" y="3333750"/>
              <a:ext cx="1377950" cy="1035050"/>
            </a:xfrm>
            <a:custGeom>
              <a:avLst/>
              <a:gdLst>
                <a:gd name="connsiteX0" fmla="*/ 63500 w 1377950"/>
                <a:gd name="connsiteY0" fmla="*/ 914400 h 1035050"/>
                <a:gd name="connsiteX1" fmla="*/ 114300 w 1377950"/>
                <a:gd name="connsiteY1" fmla="*/ 939800 h 1035050"/>
                <a:gd name="connsiteX2" fmla="*/ 133350 w 1377950"/>
                <a:gd name="connsiteY2" fmla="*/ 933450 h 1035050"/>
                <a:gd name="connsiteX3" fmla="*/ 171450 w 1377950"/>
                <a:gd name="connsiteY3" fmla="*/ 958850 h 1035050"/>
                <a:gd name="connsiteX4" fmla="*/ 177800 w 1377950"/>
                <a:gd name="connsiteY4" fmla="*/ 990600 h 1035050"/>
                <a:gd name="connsiteX5" fmla="*/ 190500 w 1377950"/>
                <a:gd name="connsiteY5" fmla="*/ 1035050 h 1035050"/>
                <a:gd name="connsiteX6" fmla="*/ 209550 w 1377950"/>
                <a:gd name="connsiteY6" fmla="*/ 1028700 h 1035050"/>
                <a:gd name="connsiteX7" fmla="*/ 228600 w 1377950"/>
                <a:gd name="connsiteY7" fmla="*/ 990600 h 1035050"/>
                <a:gd name="connsiteX8" fmla="*/ 222250 w 1377950"/>
                <a:gd name="connsiteY8" fmla="*/ 965200 h 1035050"/>
                <a:gd name="connsiteX9" fmla="*/ 254000 w 1377950"/>
                <a:gd name="connsiteY9" fmla="*/ 895350 h 1035050"/>
                <a:gd name="connsiteX10" fmla="*/ 273050 w 1377950"/>
                <a:gd name="connsiteY10" fmla="*/ 889000 h 1035050"/>
                <a:gd name="connsiteX11" fmla="*/ 292100 w 1377950"/>
                <a:gd name="connsiteY11" fmla="*/ 876300 h 1035050"/>
                <a:gd name="connsiteX12" fmla="*/ 336550 w 1377950"/>
                <a:gd name="connsiteY12" fmla="*/ 863600 h 1035050"/>
                <a:gd name="connsiteX13" fmla="*/ 374650 w 1377950"/>
                <a:gd name="connsiteY13" fmla="*/ 850900 h 1035050"/>
                <a:gd name="connsiteX14" fmla="*/ 412750 w 1377950"/>
                <a:gd name="connsiteY14" fmla="*/ 825500 h 1035050"/>
                <a:gd name="connsiteX15" fmla="*/ 431800 w 1377950"/>
                <a:gd name="connsiteY15" fmla="*/ 831850 h 1035050"/>
                <a:gd name="connsiteX16" fmla="*/ 469900 w 1377950"/>
                <a:gd name="connsiteY16" fmla="*/ 863600 h 1035050"/>
                <a:gd name="connsiteX17" fmla="*/ 495300 w 1377950"/>
                <a:gd name="connsiteY17" fmla="*/ 844550 h 1035050"/>
                <a:gd name="connsiteX18" fmla="*/ 514350 w 1377950"/>
                <a:gd name="connsiteY18" fmla="*/ 831850 h 1035050"/>
                <a:gd name="connsiteX19" fmla="*/ 520700 w 1377950"/>
                <a:gd name="connsiteY19" fmla="*/ 812800 h 1035050"/>
                <a:gd name="connsiteX20" fmla="*/ 584200 w 1377950"/>
                <a:gd name="connsiteY20" fmla="*/ 787400 h 1035050"/>
                <a:gd name="connsiteX21" fmla="*/ 603250 w 1377950"/>
                <a:gd name="connsiteY21" fmla="*/ 749300 h 1035050"/>
                <a:gd name="connsiteX22" fmla="*/ 622300 w 1377950"/>
                <a:gd name="connsiteY22" fmla="*/ 730250 h 1035050"/>
                <a:gd name="connsiteX23" fmla="*/ 647700 w 1377950"/>
                <a:gd name="connsiteY23" fmla="*/ 692150 h 1035050"/>
                <a:gd name="connsiteX24" fmla="*/ 679450 w 1377950"/>
                <a:gd name="connsiteY24" fmla="*/ 698500 h 1035050"/>
                <a:gd name="connsiteX25" fmla="*/ 698500 w 1377950"/>
                <a:gd name="connsiteY25" fmla="*/ 704850 h 1035050"/>
                <a:gd name="connsiteX26" fmla="*/ 717550 w 1377950"/>
                <a:gd name="connsiteY26" fmla="*/ 692150 h 1035050"/>
                <a:gd name="connsiteX27" fmla="*/ 742950 w 1377950"/>
                <a:gd name="connsiteY27" fmla="*/ 654050 h 1035050"/>
                <a:gd name="connsiteX28" fmla="*/ 749300 w 1377950"/>
                <a:gd name="connsiteY28" fmla="*/ 635000 h 1035050"/>
                <a:gd name="connsiteX29" fmla="*/ 787400 w 1377950"/>
                <a:gd name="connsiteY29" fmla="*/ 615950 h 1035050"/>
                <a:gd name="connsiteX30" fmla="*/ 869950 w 1377950"/>
                <a:gd name="connsiteY30" fmla="*/ 615950 h 1035050"/>
                <a:gd name="connsiteX31" fmla="*/ 889000 w 1377950"/>
                <a:gd name="connsiteY31" fmla="*/ 603250 h 1035050"/>
                <a:gd name="connsiteX32" fmla="*/ 895350 w 1377950"/>
                <a:gd name="connsiteY32" fmla="*/ 571500 h 1035050"/>
                <a:gd name="connsiteX33" fmla="*/ 920750 w 1377950"/>
                <a:gd name="connsiteY33" fmla="*/ 565150 h 1035050"/>
                <a:gd name="connsiteX34" fmla="*/ 965200 w 1377950"/>
                <a:gd name="connsiteY34" fmla="*/ 546100 h 1035050"/>
                <a:gd name="connsiteX35" fmla="*/ 1028700 w 1377950"/>
                <a:gd name="connsiteY35" fmla="*/ 533400 h 1035050"/>
                <a:gd name="connsiteX36" fmla="*/ 1066800 w 1377950"/>
                <a:gd name="connsiteY36" fmla="*/ 520700 h 1035050"/>
                <a:gd name="connsiteX37" fmla="*/ 1085850 w 1377950"/>
                <a:gd name="connsiteY37" fmla="*/ 508000 h 1035050"/>
                <a:gd name="connsiteX38" fmla="*/ 1092200 w 1377950"/>
                <a:gd name="connsiteY38" fmla="*/ 469900 h 1035050"/>
                <a:gd name="connsiteX39" fmla="*/ 1073150 w 1377950"/>
                <a:gd name="connsiteY39" fmla="*/ 457200 h 1035050"/>
                <a:gd name="connsiteX40" fmla="*/ 1054100 w 1377950"/>
                <a:gd name="connsiteY40" fmla="*/ 438150 h 1035050"/>
                <a:gd name="connsiteX41" fmla="*/ 1047750 w 1377950"/>
                <a:gd name="connsiteY41" fmla="*/ 381000 h 1035050"/>
                <a:gd name="connsiteX42" fmla="*/ 1085850 w 1377950"/>
                <a:gd name="connsiteY42" fmla="*/ 387350 h 1035050"/>
                <a:gd name="connsiteX43" fmla="*/ 1104900 w 1377950"/>
                <a:gd name="connsiteY43" fmla="*/ 406400 h 1035050"/>
                <a:gd name="connsiteX44" fmla="*/ 1123950 w 1377950"/>
                <a:gd name="connsiteY44" fmla="*/ 412750 h 1035050"/>
                <a:gd name="connsiteX45" fmla="*/ 1174750 w 1377950"/>
                <a:gd name="connsiteY45" fmla="*/ 406400 h 1035050"/>
                <a:gd name="connsiteX46" fmla="*/ 1187450 w 1377950"/>
                <a:gd name="connsiteY46" fmla="*/ 444500 h 1035050"/>
                <a:gd name="connsiteX47" fmla="*/ 1193800 w 1377950"/>
                <a:gd name="connsiteY47" fmla="*/ 463550 h 1035050"/>
                <a:gd name="connsiteX48" fmla="*/ 1200150 w 1377950"/>
                <a:gd name="connsiteY48" fmla="*/ 488950 h 1035050"/>
                <a:gd name="connsiteX49" fmla="*/ 1257300 w 1377950"/>
                <a:gd name="connsiteY49" fmla="*/ 533400 h 1035050"/>
                <a:gd name="connsiteX50" fmla="*/ 1289050 w 1377950"/>
                <a:gd name="connsiteY50" fmla="*/ 527050 h 1035050"/>
                <a:gd name="connsiteX51" fmla="*/ 1308100 w 1377950"/>
                <a:gd name="connsiteY51" fmla="*/ 520700 h 1035050"/>
                <a:gd name="connsiteX52" fmla="*/ 1314450 w 1377950"/>
                <a:gd name="connsiteY52" fmla="*/ 501650 h 1035050"/>
                <a:gd name="connsiteX53" fmla="*/ 1320800 w 1377950"/>
                <a:gd name="connsiteY53" fmla="*/ 419100 h 1035050"/>
                <a:gd name="connsiteX54" fmla="*/ 1333500 w 1377950"/>
                <a:gd name="connsiteY54" fmla="*/ 381000 h 1035050"/>
                <a:gd name="connsiteX55" fmla="*/ 1352550 w 1377950"/>
                <a:gd name="connsiteY55" fmla="*/ 342900 h 1035050"/>
                <a:gd name="connsiteX56" fmla="*/ 1365250 w 1377950"/>
                <a:gd name="connsiteY56" fmla="*/ 266700 h 1035050"/>
                <a:gd name="connsiteX57" fmla="*/ 1377950 w 1377950"/>
                <a:gd name="connsiteY57" fmla="*/ 222250 h 1035050"/>
                <a:gd name="connsiteX58" fmla="*/ 1358900 w 1377950"/>
                <a:gd name="connsiteY58" fmla="*/ 171450 h 1035050"/>
                <a:gd name="connsiteX59" fmla="*/ 1339850 w 1377950"/>
                <a:gd name="connsiteY59" fmla="*/ 158750 h 1035050"/>
                <a:gd name="connsiteX60" fmla="*/ 1327150 w 1377950"/>
                <a:gd name="connsiteY60" fmla="*/ 101600 h 1035050"/>
                <a:gd name="connsiteX61" fmla="*/ 1320800 w 1377950"/>
                <a:gd name="connsiteY61" fmla="*/ 82550 h 1035050"/>
                <a:gd name="connsiteX62" fmla="*/ 1282700 w 1377950"/>
                <a:gd name="connsiteY62" fmla="*/ 69850 h 1035050"/>
                <a:gd name="connsiteX63" fmla="*/ 1263650 w 1377950"/>
                <a:gd name="connsiteY63" fmla="*/ 63500 h 1035050"/>
                <a:gd name="connsiteX64" fmla="*/ 1244600 w 1377950"/>
                <a:gd name="connsiteY64" fmla="*/ 57150 h 1035050"/>
                <a:gd name="connsiteX65" fmla="*/ 1225550 w 1377950"/>
                <a:gd name="connsiteY65" fmla="*/ 44450 h 1035050"/>
                <a:gd name="connsiteX66" fmla="*/ 1206500 w 1377950"/>
                <a:gd name="connsiteY66" fmla="*/ 25400 h 1035050"/>
                <a:gd name="connsiteX67" fmla="*/ 1123950 w 1377950"/>
                <a:gd name="connsiteY67" fmla="*/ 19050 h 1035050"/>
                <a:gd name="connsiteX68" fmla="*/ 1085850 w 1377950"/>
                <a:gd name="connsiteY68" fmla="*/ 25400 h 1035050"/>
                <a:gd name="connsiteX69" fmla="*/ 1066800 w 1377950"/>
                <a:gd name="connsiteY69" fmla="*/ 44450 h 1035050"/>
                <a:gd name="connsiteX70" fmla="*/ 1047750 w 1377950"/>
                <a:gd name="connsiteY70" fmla="*/ 50800 h 1035050"/>
                <a:gd name="connsiteX71" fmla="*/ 1009650 w 1377950"/>
                <a:gd name="connsiteY71" fmla="*/ 44450 h 1035050"/>
                <a:gd name="connsiteX72" fmla="*/ 990600 w 1377950"/>
                <a:gd name="connsiteY72" fmla="*/ 31750 h 1035050"/>
                <a:gd name="connsiteX73" fmla="*/ 958850 w 1377950"/>
                <a:gd name="connsiteY73" fmla="*/ 38100 h 1035050"/>
                <a:gd name="connsiteX74" fmla="*/ 939800 w 1377950"/>
                <a:gd name="connsiteY74" fmla="*/ 50800 h 1035050"/>
                <a:gd name="connsiteX75" fmla="*/ 933450 w 1377950"/>
                <a:gd name="connsiteY75" fmla="*/ 69850 h 1035050"/>
                <a:gd name="connsiteX76" fmla="*/ 914400 w 1377950"/>
                <a:gd name="connsiteY76" fmla="*/ 107950 h 1035050"/>
                <a:gd name="connsiteX77" fmla="*/ 889000 w 1377950"/>
                <a:gd name="connsiteY77" fmla="*/ 146050 h 1035050"/>
                <a:gd name="connsiteX78" fmla="*/ 774700 w 1377950"/>
                <a:gd name="connsiteY78" fmla="*/ 152400 h 1035050"/>
                <a:gd name="connsiteX79" fmla="*/ 685800 w 1377950"/>
                <a:gd name="connsiteY79" fmla="*/ 158750 h 1035050"/>
                <a:gd name="connsiteX80" fmla="*/ 654050 w 1377950"/>
                <a:gd name="connsiteY80" fmla="*/ 133350 h 1035050"/>
                <a:gd name="connsiteX81" fmla="*/ 615950 w 1377950"/>
                <a:gd name="connsiteY81" fmla="*/ 146050 h 1035050"/>
                <a:gd name="connsiteX82" fmla="*/ 571500 w 1377950"/>
                <a:gd name="connsiteY82" fmla="*/ 165100 h 1035050"/>
                <a:gd name="connsiteX83" fmla="*/ 552450 w 1377950"/>
                <a:gd name="connsiteY83" fmla="*/ 152400 h 1035050"/>
                <a:gd name="connsiteX84" fmla="*/ 552450 w 1377950"/>
                <a:gd name="connsiteY84" fmla="*/ 95250 h 1035050"/>
                <a:gd name="connsiteX85" fmla="*/ 546100 w 1377950"/>
                <a:gd name="connsiteY85" fmla="*/ 50800 h 1035050"/>
                <a:gd name="connsiteX86" fmla="*/ 533400 w 1377950"/>
                <a:gd name="connsiteY86" fmla="*/ 31750 h 1035050"/>
                <a:gd name="connsiteX87" fmla="*/ 495300 w 1377950"/>
                <a:gd name="connsiteY87" fmla="*/ 19050 h 1035050"/>
                <a:gd name="connsiteX88" fmla="*/ 476250 w 1377950"/>
                <a:gd name="connsiteY88" fmla="*/ 6350 h 1035050"/>
                <a:gd name="connsiteX89" fmla="*/ 457200 w 1377950"/>
                <a:gd name="connsiteY89" fmla="*/ 12700 h 1035050"/>
                <a:gd name="connsiteX90" fmla="*/ 393700 w 1377950"/>
                <a:gd name="connsiteY90" fmla="*/ 19050 h 1035050"/>
                <a:gd name="connsiteX91" fmla="*/ 355600 w 1377950"/>
                <a:gd name="connsiteY91" fmla="*/ 6350 h 1035050"/>
                <a:gd name="connsiteX92" fmla="*/ 336550 w 1377950"/>
                <a:gd name="connsiteY92" fmla="*/ 0 h 1035050"/>
                <a:gd name="connsiteX93" fmla="*/ 298450 w 1377950"/>
                <a:gd name="connsiteY93" fmla="*/ 12700 h 1035050"/>
                <a:gd name="connsiteX94" fmla="*/ 285750 w 1377950"/>
                <a:gd name="connsiteY94" fmla="*/ 31750 h 1035050"/>
                <a:gd name="connsiteX95" fmla="*/ 215900 w 1377950"/>
                <a:gd name="connsiteY95" fmla="*/ 50800 h 1035050"/>
                <a:gd name="connsiteX96" fmla="*/ 196850 w 1377950"/>
                <a:gd name="connsiteY96" fmla="*/ 57150 h 1035050"/>
                <a:gd name="connsiteX97" fmla="*/ 146050 w 1377950"/>
                <a:gd name="connsiteY97" fmla="*/ 69850 h 1035050"/>
                <a:gd name="connsiteX98" fmla="*/ 101600 w 1377950"/>
                <a:gd name="connsiteY98" fmla="*/ 114300 h 1035050"/>
                <a:gd name="connsiteX99" fmla="*/ 101600 w 1377950"/>
                <a:gd name="connsiteY99" fmla="*/ 241300 h 1035050"/>
                <a:gd name="connsiteX100" fmla="*/ 114300 w 1377950"/>
                <a:gd name="connsiteY100" fmla="*/ 279400 h 1035050"/>
                <a:gd name="connsiteX101" fmla="*/ 127000 w 1377950"/>
                <a:gd name="connsiteY101" fmla="*/ 330200 h 1035050"/>
                <a:gd name="connsiteX102" fmla="*/ 133350 w 1377950"/>
                <a:gd name="connsiteY102" fmla="*/ 387350 h 1035050"/>
                <a:gd name="connsiteX103" fmla="*/ 152400 w 1377950"/>
                <a:gd name="connsiteY103" fmla="*/ 400050 h 1035050"/>
                <a:gd name="connsiteX104" fmla="*/ 234950 w 1377950"/>
                <a:gd name="connsiteY104" fmla="*/ 412750 h 1035050"/>
                <a:gd name="connsiteX105" fmla="*/ 273050 w 1377950"/>
                <a:gd name="connsiteY105" fmla="*/ 431800 h 1035050"/>
                <a:gd name="connsiteX106" fmla="*/ 285750 w 1377950"/>
                <a:gd name="connsiteY106" fmla="*/ 450850 h 1035050"/>
                <a:gd name="connsiteX107" fmla="*/ 292100 w 1377950"/>
                <a:gd name="connsiteY107" fmla="*/ 469900 h 1035050"/>
                <a:gd name="connsiteX108" fmla="*/ 311150 w 1377950"/>
                <a:gd name="connsiteY108" fmla="*/ 476250 h 1035050"/>
                <a:gd name="connsiteX109" fmla="*/ 323850 w 1377950"/>
                <a:gd name="connsiteY109" fmla="*/ 514350 h 1035050"/>
                <a:gd name="connsiteX110" fmla="*/ 304800 w 1377950"/>
                <a:gd name="connsiteY110" fmla="*/ 527050 h 1035050"/>
                <a:gd name="connsiteX111" fmla="*/ 266700 w 1377950"/>
                <a:gd name="connsiteY111" fmla="*/ 539750 h 1035050"/>
                <a:gd name="connsiteX112" fmla="*/ 247650 w 1377950"/>
                <a:gd name="connsiteY112" fmla="*/ 552450 h 1035050"/>
                <a:gd name="connsiteX113" fmla="*/ 241300 w 1377950"/>
                <a:gd name="connsiteY113" fmla="*/ 571500 h 1035050"/>
                <a:gd name="connsiteX114" fmla="*/ 165100 w 1377950"/>
                <a:gd name="connsiteY114" fmla="*/ 590550 h 1035050"/>
                <a:gd name="connsiteX115" fmla="*/ 146050 w 1377950"/>
                <a:gd name="connsiteY115" fmla="*/ 609600 h 1035050"/>
                <a:gd name="connsiteX116" fmla="*/ 158750 w 1377950"/>
                <a:gd name="connsiteY116" fmla="*/ 679450 h 1035050"/>
                <a:gd name="connsiteX117" fmla="*/ 171450 w 1377950"/>
                <a:gd name="connsiteY117" fmla="*/ 698500 h 1035050"/>
                <a:gd name="connsiteX118" fmla="*/ 165100 w 1377950"/>
                <a:gd name="connsiteY118" fmla="*/ 723900 h 1035050"/>
                <a:gd name="connsiteX119" fmla="*/ 127000 w 1377950"/>
                <a:gd name="connsiteY119" fmla="*/ 742950 h 1035050"/>
                <a:gd name="connsiteX120" fmla="*/ 95250 w 1377950"/>
                <a:gd name="connsiteY120" fmla="*/ 774700 h 1035050"/>
                <a:gd name="connsiteX121" fmla="*/ 63500 w 1377950"/>
                <a:gd name="connsiteY121" fmla="*/ 768350 h 1035050"/>
                <a:gd name="connsiteX122" fmla="*/ 19050 w 1377950"/>
                <a:gd name="connsiteY122" fmla="*/ 736600 h 1035050"/>
                <a:gd name="connsiteX123" fmla="*/ 6350 w 1377950"/>
                <a:gd name="connsiteY123" fmla="*/ 774700 h 1035050"/>
                <a:gd name="connsiteX124" fmla="*/ 0 w 1377950"/>
                <a:gd name="connsiteY124" fmla="*/ 793750 h 1035050"/>
                <a:gd name="connsiteX125" fmla="*/ 19050 w 1377950"/>
                <a:gd name="connsiteY125" fmla="*/ 806450 h 1035050"/>
                <a:gd name="connsiteX126" fmla="*/ 38100 w 1377950"/>
                <a:gd name="connsiteY126" fmla="*/ 844550 h 1035050"/>
                <a:gd name="connsiteX127" fmla="*/ 38100 w 1377950"/>
                <a:gd name="connsiteY127" fmla="*/ 914400 h 1035050"/>
                <a:gd name="connsiteX128" fmla="*/ 57150 w 1377950"/>
                <a:gd name="connsiteY128" fmla="*/ 927100 h 1035050"/>
                <a:gd name="connsiteX129" fmla="*/ 114300 w 1377950"/>
                <a:gd name="connsiteY129" fmla="*/ 939800 h 10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377950" h="1035050">
                  <a:moveTo>
                    <a:pt x="63500" y="914400"/>
                  </a:moveTo>
                  <a:cubicBezTo>
                    <a:pt x="81464" y="927873"/>
                    <a:pt x="90522" y="939800"/>
                    <a:pt x="114300" y="939800"/>
                  </a:cubicBezTo>
                  <a:cubicBezTo>
                    <a:pt x="120993" y="939800"/>
                    <a:pt x="127000" y="935567"/>
                    <a:pt x="133350" y="933450"/>
                  </a:cubicBezTo>
                  <a:cubicBezTo>
                    <a:pt x="150283" y="939094"/>
                    <a:pt x="161937" y="939824"/>
                    <a:pt x="171450" y="958850"/>
                  </a:cubicBezTo>
                  <a:cubicBezTo>
                    <a:pt x="176277" y="968503"/>
                    <a:pt x="175459" y="980064"/>
                    <a:pt x="177800" y="990600"/>
                  </a:cubicBezTo>
                  <a:cubicBezTo>
                    <a:pt x="183116" y="1014520"/>
                    <a:pt x="183429" y="1013836"/>
                    <a:pt x="190500" y="1035050"/>
                  </a:cubicBezTo>
                  <a:cubicBezTo>
                    <a:pt x="196850" y="1032933"/>
                    <a:pt x="204323" y="1032881"/>
                    <a:pt x="209550" y="1028700"/>
                  </a:cubicBezTo>
                  <a:cubicBezTo>
                    <a:pt x="220741" y="1019748"/>
                    <a:pt x="224417" y="1003149"/>
                    <a:pt x="228600" y="990600"/>
                  </a:cubicBezTo>
                  <a:cubicBezTo>
                    <a:pt x="226483" y="982133"/>
                    <a:pt x="222250" y="973927"/>
                    <a:pt x="222250" y="965200"/>
                  </a:cubicBezTo>
                  <a:cubicBezTo>
                    <a:pt x="222250" y="947490"/>
                    <a:pt x="235827" y="901408"/>
                    <a:pt x="254000" y="895350"/>
                  </a:cubicBezTo>
                  <a:lnTo>
                    <a:pt x="273050" y="889000"/>
                  </a:lnTo>
                  <a:cubicBezTo>
                    <a:pt x="279400" y="884767"/>
                    <a:pt x="285274" y="879713"/>
                    <a:pt x="292100" y="876300"/>
                  </a:cubicBezTo>
                  <a:cubicBezTo>
                    <a:pt x="302770" y="870965"/>
                    <a:pt x="326377" y="866652"/>
                    <a:pt x="336550" y="863600"/>
                  </a:cubicBezTo>
                  <a:cubicBezTo>
                    <a:pt x="349372" y="859753"/>
                    <a:pt x="374650" y="850900"/>
                    <a:pt x="374650" y="850900"/>
                  </a:cubicBezTo>
                  <a:cubicBezTo>
                    <a:pt x="386104" y="839446"/>
                    <a:pt x="394370" y="825500"/>
                    <a:pt x="412750" y="825500"/>
                  </a:cubicBezTo>
                  <a:cubicBezTo>
                    <a:pt x="419443" y="825500"/>
                    <a:pt x="425450" y="829733"/>
                    <a:pt x="431800" y="831850"/>
                  </a:cubicBezTo>
                  <a:cubicBezTo>
                    <a:pt x="434141" y="834191"/>
                    <a:pt x="462164" y="864705"/>
                    <a:pt x="469900" y="863600"/>
                  </a:cubicBezTo>
                  <a:cubicBezTo>
                    <a:pt x="480377" y="862103"/>
                    <a:pt x="486688" y="850701"/>
                    <a:pt x="495300" y="844550"/>
                  </a:cubicBezTo>
                  <a:cubicBezTo>
                    <a:pt x="501510" y="840114"/>
                    <a:pt x="508000" y="836083"/>
                    <a:pt x="514350" y="831850"/>
                  </a:cubicBezTo>
                  <a:cubicBezTo>
                    <a:pt x="516467" y="825500"/>
                    <a:pt x="517707" y="818787"/>
                    <a:pt x="520700" y="812800"/>
                  </a:cubicBezTo>
                  <a:cubicBezTo>
                    <a:pt x="536955" y="780290"/>
                    <a:pt x="539044" y="793044"/>
                    <a:pt x="584200" y="787400"/>
                  </a:cubicBezTo>
                  <a:cubicBezTo>
                    <a:pt x="590564" y="768307"/>
                    <a:pt x="589573" y="765713"/>
                    <a:pt x="603250" y="749300"/>
                  </a:cubicBezTo>
                  <a:cubicBezTo>
                    <a:pt x="608999" y="742401"/>
                    <a:pt x="616787" y="737339"/>
                    <a:pt x="622300" y="730250"/>
                  </a:cubicBezTo>
                  <a:cubicBezTo>
                    <a:pt x="631671" y="718202"/>
                    <a:pt x="647700" y="692150"/>
                    <a:pt x="647700" y="692150"/>
                  </a:cubicBezTo>
                  <a:cubicBezTo>
                    <a:pt x="658283" y="694267"/>
                    <a:pt x="668979" y="695882"/>
                    <a:pt x="679450" y="698500"/>
                  </a:cubicBezTo>
                  <a:cubicBezTo>
                    <a:pt x="685944" y="700123"/>
                    <a:pt x="691898" y="705950"/>
                    <a:pt x="698500" y="704850"/>
                  </a:cubicBezTo>
                  <a:cubicBezTo>
                    <a:pt x="706028" y="703595"/>
                    <a:pt x="711200" y="696383"/>
                    <a:pt x="717550" y="692150"/>
                  </a:cubicBezTo>
                  <a:lnTo>
                    <a:pt x="742950" y="654050"/>
                  </a:lnTo>
                  <a:cubicBezTo>
                    <a:pt x="746663" y="648481"/>
                    <a:pt x="745119" y="640227"/>
                    <a:pt x="749300" y="635000"/>
                  </a:cubicBezTo>
                  <a:cubicBezTo>
                    <a:pt x="758252" y="623809"/>
                    <a:pt x="774851" y="620133"/>
                    <a:pt x="787400" y="615950"/>
                  </a:cubicBezTo>
                  <a:cubicBezTo>
                    <a:pt x="823727" y="623215"/>
                    <a:pt x="827662" y="627483"/>
                    <a:pt x="869950" y="615950"/>
                  </a:cubicBezTo>
                  <a:cubicBezTo>
                    <a:pt x="877313" y="613942"/>
                    <a:pt x="882650" y="607483"/>
                    <a:pt x="889000" y="603250"/>
                  </a:cubicBezTo>
                  <a:cubicBezTo>
                    <a:pt x="891117" y="592667"/>
                    <a:pt x="888441" y="579791"/>
                    <a:pt x="895350" y="571500"/>
                  </a:cubicBezTo>
                  <a:cubicBezTo>
                    <a:pt x="900937" y="564796"/>
                    <a:pt x="912578" y="568214"/>
                    <a:pt x="920750" y="565150"/>
                  </a:cubicBezTo>
                  <a:cubicBezTo>
                    <a:pt x="951150" y="553750"/>
                    <a:pt x="937868" y="552407"/>
                    <a:pt x="965200" y="546100"/>
                  </a:cubicBezTo>
                  <a:cubicBezTo>
                    <a:pt x="986233" y="541246"/>
                    <a:pt x="1008222" y="540226"/>
                    <a:pt x="1028700" y="533400"/>
                  </a:cubicBezTo>
                  <a:lnTo>
                    <a:pt x="1066800" y="520700"/>
                  </a:lnTo>
                  <a:cubicBezTo>
                    <a:pt x="1073150" y="516467"/>
                    <a:pt x="1080454" y="513396"/>
                    <a:pt x="1085850" y="508000"/>
                  </a:cubicBezTo>
                  <a:cubicBezTo>
                    <a:pt x="1098139" y="495711"/>
                    <a:pt x="1104580" y="485376"/>
                    <a:pt x="1092200" y="469900"/>
                  </a:cubicBezTo>
                  <a:cubicBezTo>
                    <a:pt x="1087432" y="463941"/>
                    <a:pt x="1079013" y="462086"/>
                    <a:pt x="1073150" y="457200"/>
                  </a:cubicBezTo>
                  <a:cubicBezTo>
                    <a:pt x="1066251" y="451451"/>
                    <a:pt x="1060450" y="444500"/>
                    <a:pt x="1054100" y="438150"/>
                  </a:cubicBezTo>
                  <a:cubicBezTo>
                    <a:pt x="1039283" y="393700"/>
                    <a:pt x="1037167" y="412750"/>
                    <a:pt x="1047750" y="381000"/>
                  </a:cubicBezTo>
                  <a:cubicBezTo>
                    <a:pt x="1060450" y="383117"/>
                    <a:pt x="1074085" y="382121"/>
                    <a:pt x="1085850" y="387350"/>
                  </a:cubicBezTo>
                  <a:cubicBezTo>
                    <a:pt x="1094056" y="390997"/>
                    <a:pt x="1097428" y="401419"/>
                    <a:pt x="1104900" y="406400"/>
                  </a:cubicBezTo>
                  <a:cubicBezTo>
                    <a:pt x="1110469" y="410113"/>
                    <a:pt x="1117600" y="410633"/>
                    <a:pt x="1123950" y="412750"/>
                  </a:cubicBezTo>
                  <a:cubicBezTo>
                    <a:pt x="1136525" y="406463"/>
                    <a:pt x="1159187" y="388244"/>
                    <a:pt x="1174750" y="406400"/>
                  </a:cubicBezTo>
                  <a:cubicBezTo>
                    <a:pt x="1183462" y="416564"/>
                    <a:pt x="1183217" y="431800"/>
                    <a:pt x="1187450" y="444500"/>
                  </a:cubicBezTo>
                  <a:cubicBezTo>
                    <a:pt x="1189567" y="450850"/>
                    <a:pt x="1192177" y="457056"/>
                    <a:pt x="1193800" y="463550"/>
                  </a:cubicBezTo>
                  <a:cubicBezTo>
                    <a:pt x="1195917" y="472017"/>
                    <a:pt x="1195145" y="481800"/>
                    <a:pt x="1200150" y="488950"/>
                  </a:cubicBezTo>
                  <a:cubicBezTo>
                    <a:pt x="1226222" y="526196"/>
                    <a:pt x="1227458" y="523453"/>
                    <a:pt x="1257300" y="533400"/>
                  </a:cubicBezTo>
                  <a:cubicBezTo>
                    <a:pt x="1267883" y="531283"/>
                    <a:pt x="1278579" y="529668"/>
                    <a:pt x="1289050" y="527050"/>
                  </a:cubicBezTo>
                  <a:cubicBezTo>
                    <a:pt x="1295544" y="525427"/>
                    <a:pt x="1303367" y="525433"/>
                    <a:pt x="1308100" y="520700"/>
                  </a:cubicBezTo>
                  <a:cubicBezTo>
                    <a:pt x="1312833" y="515967"/>
                    <a:pt x="1312333" y="508000"/>
                    <a:pt x="1314450" y="501650"/>
                  </a:cubicBezTo>
                  <a:cubicBezTo>
                    <a:pt x="1316567" y="474133"/>
                    <a:pt x="1316496" y="446360"/>
                    <a:pt x="1320800" y="419100"/>
                  </a:cubicBezTo>
                  <a:cubicBezTo>
                    <a:pt x="1322888" y="405877"/>
                    <a:pt x="1329267" y="393700"/>
                    <a:pt x="1333500" y="381000"/>
                  </a:cubicBezTo>
                  <a:cubicBezTo>
                    <a:pt x="1342263" y="354710"/>
                    <a:pt x="1336137" y="367519"/>
                    <a:pt x="1352550" y="342900"/>
                  </a:cubicBezTo>
                  <a:cubicBezTo>
                    <a:pt x="1366840" y="285740"/>
                    <a:pt x="1350385" y="355890"/>
                    <a:pt x="1365250" y="266700"/>
                  </a:cubicBezTo>
                  <a:cubicBezTo>
                    <a:pt x="1367908" y="250753"/>
                    <a:pt x="1372917" y="237349"/>
                    <a:pt x="1377950" y="222250"/>
                  </a:cubicBezTo>
                  <a:cubicBezTo>
                    <a:pt x="1373407" y="199533"/>
                    <a:pt x="1375251" y="187801"/>
                    <a:pt x="1358900" y="171450"/>
                  </a:cubicBezTo>
                  <a:cubicBezTo>
                    <a:pt x="1353504" y="166054"/>
                    <a:pt x="1346200" y="162983"/>
                    <a:pt x="1339850" y="158750"/>
                  </a:cubicBezTo>
                  <a:cubicBezTo>
                    <a:pt x="1325555" y="115866"/>
                    <a:pt x="1342051" y="168654"/>
                    <a:pt x="1327150" y="101600"/>
                  </a:cubicBezTo>
                  <a:cubicBezTo>
                    <a:pt x="1325698" y="95066"/>
                    <a:pt x="1326247" y="86441"/>
                    <a:pt x="1320800" y="82550"/>
                  </a:cubicBezTo>
                  <a:cubicBezTo>
                    <a:pt x="1309907" y="74769"/>
                    <a:pt x="1295400" y="74083"/>
                    <a:pt x="1282700" y="69850"/>
                  </a:cubicBezTo>
                  <a:lnTo>
                    <a:pt x="1263650" y="63500"/>
                  </a:lnTo>
                  <a:lnTo>
                    <a:pt x="1244600" y="57150"/>
                  </a:lnTo>
                  <a:cubicBezTo>
                    <a:pt x="1238250" y="52917"/>
                    <a:pt x="1231413" y="49336"/>
                    <a:pt x="1225550" y="44450"/>
                  </a:cubicBezTo>
                  <a:cubicBezTo>
                    <a:pt x="1218651" y="38701"/>
                    <a:pt x="1215212" y="27578"/>
                    <a:pt x="1206500" y="25400"/>
                  </a:cubicBezTo>
                  <a:cubicBezTo>
                    <a:pt x="1179726" y="18707"/>
                    <a:pt x="1151467" y="21167"/>
                    <a:pt x="1123950" y="19050"/>
                  </a:cubicBezTo>
                  <a:cubicBezTo>
                    <a:pt x="1111250" y="21167"/>
                    <a:pt x="1097615" y="20171"/>
                    <a:pt x="1085850" y="25400"/>
                  </a:cubicBezTo>
                  <a:cubicBezTo>
                    <a:pt x="1077644" y="29047"/>
                    <a:pt x="1074272" y="39469"/>
                    <a:pt x="1066800" y="44450"/>
                  </a:cubicBezTo>
                  <a:cubicBezTo>
                    <a:pt x="1061231" y="48163"/>
                    <a:pt x="1054100" y="48683"/>
                    <a:pt x="1047750" y="50800"/>
                  </a:cubicBezTo>
                  <a:cubicBezTo>
                    <a:pt x="1035050" y="48683"/>
                    <a:pt x="1021864" y="48521"/>
                    <a:pt x="1009650" y="44450"/>
                  </a:cubicBezTo>
                  <a:cubicBezTo>
                    <a:pt x="1002410" y="42037"/>
                    <a:pt x="998173" y="32697"/>
                    <a:pt x="990600" y="31750"/>
                  </a:cubicBezTo>
                  <a:cubicBezTo>
                    <a:pt x="979890" y="30411"/>
                    <a:pt x="969433" y="35983"/>
                    <a:pt x="958850" y="38100"/>
                  </a:cubicBezTo>
                  <a:cubicBezTo>
                    <a:pt x="952500" y="42333"/>
                    <a:pt x="944568" y="44841"/>
                    <a:pt x="939800" y="50800"/>
                  </a:cubicBezTo>
                  <a:cubicBezTo>
                    <a:pt x="935619" y="56027"/>
                    <a:pt x="936443" y="63863"/>
                    <a:pt x="933450" y="69850"/>
                  </a:cubicBezTo>
                  <a:cubicBezTo>
                    <a:pt x="917930" y="100890"/>
                    <a:pt x="922380" y="76028"/>
                    <a:pt x="914400" y="107950"/>
                  </a:cubicBezTo>
                  <a:cubicBezTo>
                    <a:pt x="907655" y="134932"/>
                    <a:pt x="917720" y="143315"/>
                    <a:pt x="889000" y="146050"/>
                  </a:cubicBezTo>
                  <a:cubicBezTo>
                    <a:pt x="851013" y="149668"/>
                    <a:pt x="812800" y="150283"/>
                    <a:pt x="774700" y="152400"/>
                  </a:cubicBezTo>
                  <a:cubicBezTo>
                    <a:pt x="711409" y="168223"/>
                    <a:pt x="741117" y="167969"/>
                    <a:pt x="685800" y="158750"/>
                  </a:cubicBezTo>
                  <a:cubicBezTo>
                    <a:pt x="677656" y="146534"/>
                    <a:pt x="673088" y="131235"/>
                    <a:pt x="654050" y="133350"/>
                  </a:cubicBezTo>
                  <a:cubicBezTo>
                    <a:pt x="640745" y="134828"/>
                    <a:pt x="615950" y="146050"/>
                    <a:pt x="615950" y="146050"/>
                  </a:cubicBezTo>
                  <a:cubicBezTo>
                    <a:pt x="603560" y="154310"/>
                    <a:pt x="588384" y="167512"/>
                    <a:pt x="571500" y="165100"/>
                  </a:cubicBezTo>
                  <a:cubicBezTo>
                    <a:pt x="563945" y="164021"/>
                    <a:pt x="558800" y="156633"/>
                    <a:pt x="552450" y="152400"/>
                  </a:cubicBezTo>
                  <a:cubicBezTo>
                    <a:pt x="538155" y="109516"/>
                    <a:pt x="552450" y="162304"/>
                    <a:pt x="552450" y="95250"/>
                  </a:cubicBezTo>
                  <a:cubicBezTo>
                    <a:pt x="552450" y="80283"/>
                    <a:pt x="550401" y="65136"/>
                    <a:pt x="546100" y="50800"/>
                  </a:cubicBezTo>
                  <a:cubicBezTo>
                    <a:pt x="543907" y="43490"/>
                    <a:pt x="539872" y="35795"/>
                    <a:pt x="533400" y="31750"/>
                  </a:cubicBezTo>
                  <a:cubicBezTo>
                    <a:pt x="522048" y="24655"/>
                    <a:pt x="495300" y="19050"/>
                    <a:pt x="495300" y="19050"/>
                  </a:cubicBezTo>
                  <a:cubicBezTo>
                    <a:pt x="488950" y="14817"/>
                    <a:pt x="483778" y="7605"/>
                    <a:pt x="476250" y="6350"/>
                  </a:cubicBezTo>
                  <a:cubicBezTo>
                    <a:pt x="469648" y="5250"/>
                    <a:pt x="463816" y="11682"/>
                    <a:pt x="457200" y="12700"/>
                  </a:cubicBezTo>
                  <a:cubicBezTo>
                    <a:pt x="436175" y="15935"/>
                    <a:pt x="414867" y="16933"/>
                    <a:pt x="393700" y="19050"/>
                  </a:cubicBezTo>
                  <a:lnTo>
                    <a:pt x="355600" y="6350"/>
                  </a:lnTo>
                  <a:lnTo>
                    <a:pt x="336550" y="0"/>
                  </a:lnTo>
                  <a:cubicBezTo>
                    <a:pt x="323850" y="4233"/>
                    <a:pt x="305876" y="1561"/>
                    <a:pt x="298450" y="12700"/>
                  </a:cubicBezTo>
                  <a:cubicBezTo>
                    <a:pt x="294217" y="19050"/>
                    <a:pt x="292222" y="27705"/>
                    <a:pt x="285750" y="31750"/>
                  </a:cubicBezTo>
                  <a:cubicBezTo>
                    <a:pt x="267586" y="43102"/>
                    <a:pt x="236449" y="45663"/>
                    <a:pt x="215900" y="50800"/>
                  </a:cubicBezTo>
                  <a:cubicBezTo>
                    <a:pt x="209406" y="52423"/>
                    <a:pt x="203308" y="55389"/>
                    <a:pt x="196850" y="57150"/>
                  </a:cubicBezTo>
                  <a:cubicBezTo>
                    <a:pt x="180011" y="61743"/>
                    <a:pt x="146050" y="69850"/>
                    <a:pt x="146050" y="69850"/>
                  </a:cubicBezTo>
                  <a:cubicBezTo>
                    <a:pt x="102381" y="98963"/>
                    <a:pt x="112777" y="80770"/>
                    <a:pt x="101600" y="114300"/>
                  </a:cubicBezTo>
                  <a:cubicBezTo>
                    <a:pt x="95079" y="172993"/>
                    <a:pt x="90575" y="178823"/>
                    <a:pt x="101600" y="241300"/>
                  </a:cubicBezTo>
                  <a:cubicBezTo>
                    <a:pt x="103926" y="254483"/>
                    <a:pt x="111053" y="266413"/>
                    <a:pt x="114300" y="279400"/>
                  </a:cubicBezTo>
                  <a:lnTo>
                    <a:pt x="127000" y="330200"/>
                  </a:lnTo>
                  <a:cubicBezTo>
                    <a:pt x="129117" y="349250"/>
                    <a:pt x="126800" y="369337"/>
                    <a:pt x="133350" y="387350"/>
                  </a:cubicBezTo>
                  <a:cubicBezTo>
                    <a:pt x="135958" y="394522"/>
                    <a:pt x="145574" y="396637"/>
                    <a:pt x="152400" y="400050"/>
                  </a:cubicBezTo>
                  <a:cubicBezTo>
                    <a:pt x="175285" y="411492"/>
                    <a:pt x="216738" y="410929"/>
                    <a:pt x="234950" y="412750"/>
                  </a:cubicBezTo>
                  <a:cubicBezTo>
                    <a:pt x="250444" y="417915"/>
                    <a:pt x="260740" y="419490"/>
                    <a:pt x="273050" y="431800"/>
                  </a:cubicBezTo>
                  <a:cubicBezTo>
                    <a:pt x="278446" y="437196"/>
                    <a:pt x="282337" y="444024"/>
                    <a:pt x="285750" y="450850"/>
                  </a:cubicBezTo>
                  <a:cubicBezTo>
                    <a:pt x="288743" y="456837"/>
                    <a:pt x="287367" y="465167"/>
                    <a:pt x="292100" y="469900"/>
                  </a:cubicBezTo>
                  <a:cubicBezTo>
                    <a:pt x="296833" y="474633"/>
                    <a:pt x="304800" y="474133"/>
                    <a:pt x="311150" y="476250"/>
                  </a:cubicBezTo>
                  <a:cubicBezTo>
                    <a:pt x="325343" y="490443"/>
                    <a:pt x="340187" y="493928"/>
                    <a:pt x="323850" y="514350"/>
                  </a:cubicBezTo>
                  <a:cubicBezTo>
                    <a:pt x="319082" y="520309"/>
                    <a:pt x="311774" y="523950"/>
                    <a:pt x="304800" y="527050"/>
                  </a:cubicBezTo>
                  <a:cubicBezTo>
                    <a:pt x="292567" y="532487"/>
                    <a:pt x="266700" y="539750"/>
                    <a:pt x="266700" y="539750"/>
                  </a:cubicBezTo>
                  <a:cubicBezTo>
                    <a:pt x="260350" y="543983"/>
                    <a:pt x="252418" y="546491"/>
                    <a:pt x="247650" y="552450"/>
                  </a:cubicBezTo>
                  <a:cubicBezTo>
                    <a:pt x="243469" y="557677"/>
                    <a:pt x="246747" y="567609"/>
                    <a:pt x="241300" y="571500"/>
                  </a:cubicBezTo>
                  <a:cubicBezTo>
                    <a:pt x="225987" y="582438"/>
                    <a:pt x="182742" y="587610"/>
                    <a:pt x="165100" y="590550"/>
                  </a:cubicBezTo>
                  <a:cubicBezTo>
                    <a:pt x="158750" y="596900"/>
                    <a:pt x="147656" y="600765"/>
                    <a:pt x="146050" y="609600"/>
                  </a:cubicBezTo>
                  <a:cubicBezTo>
                    <a:pt x="144299" y="619231"/>
                    <a:pt x="150507" y="662963"/>
                    <a:pt x="158750" y="679450"/>
                  </a:cubicBezTo>
                  <a:cubicBezTo>
                    <a:pt x="162163" y="686276"/>
                    <a:pt x="167217" y="692150"/>
                    <a:pt x="171450" y="698500"/>
                  </a:cubicBezTo>
                  <a:cubicBezTo>
                    <a:pt x="169333" y="706967"/>
                    <a:pt x="169941" y="716638"/>
                    <a:pt x="165100" y="723900"/>
                  </a:cubicBezTo>
                  <a:cubicBezTo>
                    <a:pt x="158066" y="734451"/>
                    <a:pt x="137867" y="739328"/>
                    <a:pt x="127000" y="742950"/>
                  </a:cubicBezTo>
                  <a:cubicBezTo>
                    <a:pt x="120073" y="753341"/>
                    <a:pt x="110644" y="772776"/>
                    <a:pt x="95250" y="774700"/>
                  </a:cubicBezTo>
                  <a:cubicBezTo>
                    <a:pt x="84540" y="776039"/>
                    <a:pt x="74083" y="770467"/>
                    <a:pt x="63500" y="768350"/>
                  </a:cubicBezTo>
                  <a:cubicBezTo>
                    <a:pt x="59958" y="764808"/>
                    <a:pt x="29080" y="729914"/>
                    <a:pt x="19050" y="736600"/>
                  </a:cubicBezTo>
                  <a:cubicBezTo>
                    <a:pt x="7911" y="744026"/>
                    <a:pt x="10583" y="762000"/>
                    <a:pt x="6350" y="774700"/>
                  </a:cubicBezTo>
                  <a:lnTo>
                    <a:pt x="0" y="793750"/>
                  </a:lnTo>
                  <a:cubicBezTo>
                    <a:pt x="6350" y="797983"/>
                    <a:pt x="13654" y="801054"/>
                    <a:pt x="19050" y="806450"/>
                  </a:cubicBezTo>
                  <a:cubicBezTo>
                    <a:pt x="31360" y="818760"/>
                    <a:pt x="32935" y="829056"/>
                    <a:pt x="38100" y="844550"/>
                  </a:cubicBezTo>
                  <a:cubicBezTo>
                    <a:pt x="31481" y="871026"/>
                    <a:pt x="24752" y="884366"/>
                    <a:pt x="38100" y="914400"/>
                  </a:cubicBezTo>
                  <a:cubicBezTo>
                    <a:pt x="41200" y="921374"/>
                    <a:pt x="50176" y="924000"/>
                    <a:pt x="57150" y="927100"/>
                  </a:cubicBezTo>
                  <a:cubicBezTo>
                    <a:pt x="90243" y="941808"/>
                    <a:pt x="87096" y="939800"/>
                    <a:pt x="114300" y="939800"/>
                  </a:cubicBezTo>
                </a:path>
              </a:pathLst>
            </a:custGeom>
            <a:grpFill/>
            <a:ln w="12700" cap="flat" cmpd="sng" algn="ctr">
              <a:solidFill>
                <a:schemeClr val="bg1"/>
              </a:solidFill>
              <a:prstDash val="solid"/>
              <a:round/>
              <a:headEnd type="none" w="med" len="med"/>
              <a:tailEnd type="none" w="med" len="med"/>
            </a:ln>
            <a:effectLst/>
          </p:spPr>
          <p:txBody>
            <a:bodyPr rtlCol="0" anchor="ctr"/>
            <a:lstStyle/>
            <a:p>
              <a:pPr algn="ctr" defTabSz="685800" eaLnBrk="0" fontAlgn="base" hangingPunct="0">
                <a:spcBef>
                  <a:spcPct val="50000"/>
                </a:spcBef>
                <a:spcAft>
                  <a:spcPct val="0"/>
                </a:spcAft>
                <a:buClrTx/>
              </a:pPr>
              <a:endParaRPr lang="en-US" sz="900" kern="1200">
                <a:latin typeface="Arial" charset="0"/>
                <a:ea typeface="+mn-ea"/>
                <a:cs typeface="+mn-cs"/>
              </a:endParaRPr>
            </a:p>
          </p:txBody>
        </p:sp>
        <p:sp>
          <p:nvSpPr>
            <p:cNvPr id="41" name="Freeform 40"/>
            <p:cNvSpPr/>
            <p:nvPr/>
          </p:nvSpPr>
          <p:spPr bwMode="gray">
            <a:xfrm>
              <a:off x="3708355" y="2233083"/>
              <a:ext cx="274864" cy="167217"/>
            </a:xfrm>
            <a:custGeom>
              <a:avLst/>
              <a:gdLst>
                <a:gd name="connsiteX0" fmla="*/ 2117 w 274864"/>
                <a:gd name="connsiteY0" fmla="*/ 2117 h 167217"/>
                <a:gd name="connsiteX1" fmla="*/ 78317 w 274864"/>
                <a:gd name="connsiteY1" fmla="*/ 40217 h 167217"/>
                <a:gd name="connsiteX2" fmla="*/ 103717 w 274864"/>
                <a:gd name="connsiteY2" fmla="*/ 116417 h 167217"/>
                <a:gd name="connsiteX3" fmla="*/ 141817 w 274864"/>
                <a:gd name="connsiteY3" fmla="*/ 141817 h 167217"/>
                <a:gd name="connsiteX4" fmla="*/ 230717 w 274864"/>
                <a:gd name="connsiteY4" fmla="*/ 167217 h 167217"/>
                <a:gd name="connsiteX5" fmla="*/ 268817 w 274864"/>
                <a:gd name="connsiteY5" fmla="*/ 129117 h 167217"/>
                <a:gd name="connsiteX6" fmla="*/ 205317 w 274864"/>
                <a:gd name="connsiteY6" fmla="*/ 78317 h 167217"/>
                <a:gd name="connsiteX7" fmla="*/ 91017 w 274864"/>
                <a:gd name="connsiteY7" fmla="*/ 27517 h 167217"/>
                <a:gd name="connsiteX8" fmla="*/ 2117 w 274864"/>
                <a:gd name="connsiteY8" fmla="*/ 2117 h 16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864" h="167217">
                  <a:moveTo>
                    <a:pt x="2117" y="2117"/>
                  </a:moveTo>
                  <a:cubicBezTo>
                    <a:pt x="0" y="4234"/>
                    <a:pt x="65359" y="19485"/>
                    <a:pt x="78317" y="40217"/>
                  </a:cubicBezTo>
                  <a:cubicBezTo>
                    <a:pt x="92507" y="62921"/>
                    <a:pt x="81440" y="101565"/>
                    <a:pt x="103717" y="116417"/>
                  </a:cubicBezTo>
                  <a:cubicBezTo>
                    <a:pt x="116417" y="124884"/>
                    <a:pt x="128165" y="134991"/>
                    <a:pt x="141817" y="141817"/>
                  </a:cubicBezTo>
                  <a:cubicBezTo>
                    <a:pt x="160037" y="150927"/>
                    <a:pt x="214441" y="163148"/>
                    <a:pt x="230717" y="167217"/>
                  </a:cubicBezTo>
                  <a:cubicBezTo>
                    <a:pt x="243417" y="154517"/>
                    <a:pt x="265864" y="146833"/>
                    <a:pt x="268817" y="129117"/>
                  </a:cubicBezTo>
                  <a:cubicBezTo>
                    <a:pt x="274864" y="92836"/>
                    <a:pt x="223804" y="84479"/>
                    <a:pt x="205317" y="78317"/>
                  </a:cubicBezTo>
                  <a:cubicBezTo>
                    <a:pt x="159639" y="9800"/>
                    <a:pt x="202231" y="53182"/>
                    <a:pt x="91017" y="27517"/>
                  </a:cubicBezTo>
                  <a:cubicBezTo>
                    <a:pt x="64929" y="21497"/>
                    <a:pt x="4234" y="0"/>
                    <a:pt x="2117" y="2117"/>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defTabSz="685800" eaLnBrk="0" fontAlgn="base" hangingPunct="0">
                <a:spcBef>
                  <a:spcPct val="50000"/>
                </a:spcBef>
                <a:spcAft>
                  <a:spcPct val="0"/>
                </a:spcAft>
                <a:buClrTx/>
              </a:pPr>
              <a:endParaRPr lang="en-US" sz="900" kern="1200">
                <a:latin typeface="Arial" charset="0"/>
                <a:ea typeface="+mn-ea"/>
                <a:cs typeface="+mn-cs"/>
              </a:endParaRPr>
            </a:p>
          </p:txBody>
        </p:sp>
      </p:grpSp>
      <p:sp>
        <p:nvSpPr>
          <p:cNvPr id="44" name="Rectangle 3"/>
          <p:cNvSpPr>
            <a:spLocks noChangeArrowheads="1"/>
          </p:cNvSpPr>
          <p:nvPr/>
        </p:nvSpPr>
        <p:spPr bwMode="auto">
          <a:xfrm>
            <a:off x="5337545" y="1"/>
            <a:ext cx="2663456" cy="600164"/>
          </a:xfrm>
          <a:prstGeom prst="rect">
            <a:avLst/>
          </a:prstGeom>
          <a:solidFill>
            <a:schemeClr val="accent6"/>
          </a:solidFill>
          <a:ln w="6350" algn="ctr">
            <a:solidFill>
              <a:schemeClr val="bg1"/>
            </a:solidFill>
            <a:miter lim="800000"/>
            <a:headEnd/>
            <a:tailEnd/>
          </a:ln>
        </p:spPr>
        <p:txBody>
          <a:bodyPr wrap="square" tIns="68580" bIns="68580">
            <a:spAutoFit/>
          </a:bodyPr>
          <a:lstStyle/>
          <a:p>
            <a:pPr defTabSz="685800">
              <a:buClrTx/>
              <a:defRPr/>
            </a:pPr>
            <a:r>
              <a:rPr lang="en-US" altLang="ja-JP" sz="750" kern="1200" dirty="0">
                <a:solidFill>
                  <a:srgbClr val="313131"/>
                </a:solidFill>
                <a:ea typeface="ＭＳ Ｐゴシック" pitchFamily="50" charset="-128"/>
                <a:cs typeface="+mn-cs"/>
              </a:rPr>
              <a:t>Tip! Click once to select the entire map, and again to select one or more regions within it</a:t>
            </a:r>
            <a:br>
              <a:rPr lang="en-US" altLang="ja-JP" sz="750" kern="1200" dirty="0">
                <a:solidFill>
                  <a:srgbClr val="313131"/>
                </a:solidFill>
                <a:ea typeface="ＭＳ Ｐゴシック" pitchFamily="50" charset="-128"/>
                <a:cs typeface="+mn-cs"/>
              </a:rPr>
            </a:br>
            <a:r>
              <a:rPr lang="en-US" altLang="ja-JP" sz="750" kern="1200" dirty="0">
                <a:solidFill>
                  <a:srgbClr val="313131"/>
                </a:solidFill>
                <a:ea typeface="ＭＳ Ｐゴシック" pitchFamily="50" charset="-128"/>
                <a:cs typeface="+mn-cs"/>
              </a:rPr>
              <a:t>Country/regional maps are a representative sample – more will be added</a:t>
            </a:r>
            <a:endParaRPr lang="en-US" sz="750" kern="1200" dirty="0">
              <a:solidFill>
                <a:srgbClr val="313131"/>
              </a:solidFill>
              <a:ea typeface="ＭＳ Ｐゴシック" pitchFamily="50" charset="-128"/>
              <a:cs typeface="+mn-cs"/>
            </a:endParaRPr>
          </a:p>
        </p:txBody>
      </p:sp>
      <p:sp>
        <p:nvSpPr>
          <p:cNvPr id="45" name="TextBox 44"/>
          <p:cNvSpPr txBox="1"/>
          <p:nvPr/>
        </p:nvSpPr>
        <p:spPr>
          <a:xfrm>
            <a:off x="5337546" y="733425"/>
            <a:ext cx="2663455" cy="1107996"/>
          </a:xfrm>
          <a:prstGeom prst="rect">
            <a:avLst/>
          </a:prstGeom>
          <a:solidFill>
            <a:srgbClr val="ED1B2F"/>
          </a:solidFill>
        </p:spPr>
        <p:txBody>
          <a:bodyPr wrap="square" lIns="68580" tIns="68580" rIns="68580" bIns="68580" rtlCol="0">
            <a:spAutoFit/>
          </a:bodyPr>
          <a:lstStyle/>
          <a:p>
            <a:pPr defTabSz="685800">
              <a:buClrTx/>
            </a:pPr>
            <a:r>
              <a:rPr lang="en-US" sz="1050" kern="1200" dirty="0">
                <a:solidFill>
                  <a:prstClr val="white"/>
                </a:solidFill>
                <a:ea typeface="+mn-ea"/>
                <a:cs typeface="+mn-cs"/>
              </a:rPr>
              <a:t>Maps are for directional purposes only and are not intended to be exact renditions of country borders. For specific information about country borders and maps, please contact the local member firm.</a:t>
            </a:r>
          </a:p>
        </p:txBody>
      </p:sp>
    </p:spTree>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0369" name="Title 1"/>
          <p:cNvSpPr>
            <a:spLocks noGrp="1"/>
          </p:cNvSpPr>
          <p:nvPr>
            <p:ph type="title"/>
          </p:nvPr>
        </p:nvSpPr>
        <p:spPr/>
        <p:txBody>
          <a:bodyPr/>
          <a:lstStyle/>
          <a:p>
            <a:r>
              <a:rPr lang="en-US" dirty="0">
                <a:solidFill>
                  <a:srgbClr val="81BC00"/>
                </a:solidFill>
              </a:rPr>
              <a:t>Tables </a:t>
            </a:r>
            <a:br>
              <a:rPr lang="en-US" dirty="0">
                <a:solidFill>
                  <a:srgbClr val="81BC00"/>
                </a:solidFill>
              </a:rPr>
            </a:br>
            <a:r>
              <a:rPr lang="en-US" dirty="0">
                <a:solidFill>
                  <a:srgbClr val="575757"/>
                </a:solidFill>
              </a:rPr>
              <a:t>Table with text</a:t>
            </a:r>
          </a:p>
        </p:txBody>
      </p:sp>
      <p:graphicFrame>
        <p:nvGraphicFramePr>
          <p:cNvPr id="4" name="Group 3"/>
          <p:cNvGraphicFramePr>
            <a:graphicFrameLocks/>
          </p:cNvGraphicFramePr>
          <p:nvPr/>
        </p:nvGraphicFramePr>
        <p:xfrm>
          <a:off x="1440657" y="1268730"/>
          <a:ext cx="6262687" cy="3699275"/>
        </p:xfrm>
        <a:graphic>
          <a:graphicData uri="http://schemas.openxmlformats.org/drawingml/2006/table">
            <a:tbl>
              <a:tblPr>
                <a:tableStyleId>{8799B23B-EC83-4686-B30A-512413B5E67A}</a:tableStyleId>
              </a:tblPr>
              <a:tblGrid>
                <a:gridCol w="1368965">
                  <a:extLst>
                    <a:ext uri="{9D8B030D-6E8A-4147-A177-3AD203B41FA5}">
                      <a16:colId xmlns:a16="http://schemas.microsoft.com/office/drawing/2014/main" val="20000"/>
                    </a:ext>
                  </a:extLst>
                </a:gridCol>
                <a:gridCol w="2447411">
                  <a:extLst>
                    <a:ext uri="{9D8B030D-6E8A-4147-A177-3AD203B41FA5}">
                      <a16:colId xmlns:a16="http://schemas.microsoft.com/office/drawing/2014/main" val="20001"/>
                    </a:ext>
                  </a:extLst>
                </a:gridCol>
                <a:gridCol w="2446311">
                  <a:extLst>
                    <a:ext uri="{9D8B030D-6E8A-4147-A177-3AD203B41FA5}">
                      <a16:colId xmlns:a16="http://schemas.microsoft.com/office/drawing/2014/main" val="20002"/>
                    </a:ext>
                  </a:extLst>
                </a:gridCol>
              </a:tblGrid>
              <a:tr h="325682">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1" i="0" u="none" strike="noStrike" cap="none" normalizeH="0" baseline="0" dirty="0">
                        <a:ln>
                          <a:noFill/>
                        </a:ln>
                        <a:solidFill>
                          <a:srgbClr val="313131"/>
                        </a:solidFill>
                        <a:effectLst/>
                        <a:latin typeface="Arial" charset="0"/>
                      </a:endParaRPr>
                    </a:p>
                  </a:txBody>
                  <a:tcPr marL="27000" marR="27000" marT="27000" marB="27000" horzOverflow="overflow">
                    <a:lnL w="12700" cmpd="sng">
                      <a:noFill/>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u="none" strike="noStrike" cap="none" normalizeH="0" baseline="0" dirty="0">
                          <a:ln>
                            <a:noFill/>
                          </a:ln>
                          <a:solidFill>
                            <a:schemeClr val="bg1"/>
                          </a:solidFill>
                          <a:effectLst/>
                        </a:rPr>
                        <a:t>Subhead</a:t>
                      </a:r>
                      <a:endParaRPr kumimoji="0" lang="en-US" sz="800" b="1" i="0" u="none" strike="noStrike" cap="none" normalizeH="0" baseline="0" dirty="0">
                        <a:ln>
                          <a:noFill/>
                        </a:ln>
                        <a:solidFill>
                          <a:schemeClr val="bg1"/>
                        </a:solidFill>
                        <a:effectLst/>
                        <a:latin typeface="Arial" charset="0"/>
                      </a:endParaRPr>
                    </a:p>
                  </a:txBody>
                  <a:tcPr marL="27000" marR="27000" marT="27000" marB="27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u="none" strike="noStrike" cap="none" normalizeH="0" baseline="0" dirty="0">
                          <a:ln>
                            <a:noFill/>
                          </a:ln>
                          <a:solidFill>
                            <a:schemeClr val="bg1"/>
                          </a:solidFill>
                          <a:effectLst/>
                        </a:rPr>
                        <a:t>Subhead</a:t>
                      </a:r>
                      <a:endParaRPr kumimoji="0" lang="en-US" sz="800" b="1" i="0" u="none" strike="noStrike" cap="none" normalizeH="0" baseline="0" dirty="0">
                        <a:ln>
                          <a:noFill/>
                        </a:ln>
                        <a:solidFill>
                          <a:schemeClr val="bg1"/>
                        </a:solidFill>
                        <a:effectLst/>
                        <a:latin typeface="Arial" charset="0"/>
                      </a:endParaRPr>
                    </a:p>
                  </a:txBody>
                  <a:tcPr marL="27000" marR="27000" marT="27000" marB="27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1DE"/>
                    </a:solidFill>
                  </a:tcPr>
                </a:tc>
                <a:extLst>
                  <a:ext uri="{0D108BD9-81ED-4DB2-BD59-A6C34878D82A}">
                    <a16:rowId xmlns:a16="http://schemas.microsoft.com/office/drawing/2014/main" val="10000"/>
                  </a:ext>
                </a:extLst>
              </a:tr>
              <a:tr h="1124531">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u="none" strike="noStrike" cap="none" normalizeH="0" baseline="0" dirty="0">
                          <a:ln>
                            <a:noFill/>
                          </a:ln>
                          <a:solidFill>
                            <a:srgbClr val="313131"/>
                          </a:solidFill>
                          <a:effectLst/>
                        </a:rPr>
                        <a:t>Row description</a:t>
                      </a:r>
                      <a:endParaRPr kumimoji="0" lang="en-US" sz="800" b="1" i="0" u="none" strike="noStrike" cap="none" normalizeH="0" baseline="0" dirty="0">
                        <a:ln>
                          <a:noFill/>
                        </a:ln>
                        <a:solidFill>
                          <a:srgbClr val="313131"/>
                        </a:solidFill>
                        <a:effectLst/>
                        <a:latin typeface="Arial" charset="0"/>
                      </a:endParaRPr>
                    </a:p>
                  </a:txBody>
                  <a:tcPr marL="27000" marR="27000" marT="27000" marB="27000" horzOverflow="overflow">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800" b="0" i="0" u="none" strike="noStrike" kern="1200" cap="none" spc="0" normalizeH="0" baseline="0" noProof="0" dirty="0">
                          <a:ln>
                            <a:noFill/>
                          </a:ln>
                          <a:solidFill>
                            <a:srgbClr val="313131"/>
                          </a:solidFill>
                          <a:effectLst/>
                          <a:uLnTx/>
                          <a:uFillTx/>
                          <a:latin typeface="+mn-lt"/>
                          <a:ea typeface="+mn-ea"/>
                          <a:cs typeface="+mn-cs"/>
                        </a:rPr>
                        <a:t>Level 1 text  </a:t>
                      </a:r>
                    </a:p>
                    <a:p>
                      <a:pPr marL="274320" marR="0" lvl="1"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US" sz="800" b="0" i="0" u="none" strike="noStrike" kern="1200" cap="none" spc="0" normalizeH="0" baseline="0" noProof="0" dirty="0">
                          <a:ln>
                            <a:noFill/>
                          </a:ln>
                          <a:solidFill>
                            <a:srgbClr val="313131"/>
                          </a:solidFill>
                          <a:effectLst/>
                          <a:uLnTx/>
                          <a:uFillTx/>
                          <a:latin typeface="+mn-lt"/>
                          <a:ea typeface="+mj-ea"/>
                          <a:cs typeface="+mj-cs"/>
                        </a:rPr>
                        <a:t>Level 2 text</a:t>
                      </a:r>
                    </a:p>
                    <a:p>
                      <a:pPr marL="274320" marR="0" lvl="1"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US" sz="800" b="0" i="1" u="none" strike="noStrike" kern="1200" cap="none" spc="0" normalizeH="0" baseline="0" noProof="0" dirty="0">
                          <a:ln>
                            <a:noFill/>
                          </a:ln>
                          <a:solidFill>
                            <a:srgbClr val="313131"/>
                          </a:solidFill>
                          <a:effectLst/>
                          <a:uLnTx/>
                          <a:uFillTx/>
                          <a:latin typeface="+mn-lt"/>
                          <a:ea typeface="+mj-ea"/>
                          <a:cs typeface="+mj-cs"/>
                        </a:rPr>
                        <a:t>Level 3 text </a:t>
                      </a:r>
                    </a:p>
                    <a:p>
                      <a:pPr marL="539496" marR="0" lvl="2" indent="-265176" algn="l" defTabSz="957263" rtl="0" eaLnBrk="1" fontAlgn="base" latinLnBrk="0" hangingPunct="1">
                        <a:lnSpc>
                          <a:spcPct val="100000"/>
                        </a:lnSpc>
                        <a:spcBef>
                          <a:spcPts val="600"/>
                        </a:spcBef>
                        <a:spcAft>
                          <a:spcPts val="0"/>
                        </a:spcAft>
                        <a:buClrTx/>
                        <a:buSzTx/>
                        <a:buFont typeface="Arial" charset="0"/>
                        <a:buChar char="‒"/>
                        <a:tabLst/>
                        <a:defRPr/>
                      </a:pPr>
                      <a:r>
                        <a:rPr kumimoji="0" lang="en-GB" sz="800" b="0" i="0" u="none" strike="noStrike" kern="1200" cap="none" spc="0" normalizeH="0" baseline="0" noProof="0" dirty="0">
                          <a:ln>
                            <a:noFill/>
                          </a:ln>
                          <a:solidFill>
                            <a:srgbClr val="313131"/>
                          </a:solidFill>
                          <a:effectLst/>
                          <a:uLnTx/>
                          <a:uFillTx/>
                          <a:latin typeface="+mn-lt"/>
                        </a:rPr>
                        <a:t>Level 4 text</a:t>
                      </a:r>
                    </a:p>
                    <a:p>
                      <a:pPr marL="804672" marR="0" lvl="2"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GB" sz="800" b="0" i="0" u="none" strike="noStrike" kern="1200" cap="none" spc="0" normalizeH="0" baseline="0" noProof="0" dirty="0">
                          <a:ln>
                            <a:noFill/>
                          </a:ln>
                          <a:solidFill>
                            <a:srgbClr val="313131"/>
                          </a:solidFill>
                          <a:effectLst/>
                          <a:uLnTx/>
                          <a:uFillTx/>
                          <a:latin typeface="+mn-lt"/>
                        </a:rPr>
                        <a:t>Level 5 text </a:t>
                      </a:r>
                    </a:p>
                  </a:txBody>
                  <a:tcPr marL="27000" marR="68580" marT="27000" marB="27000" horzOverflow="overflow">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800" b="0" i="0" u="none" strike="noStrike" kern="1200" cap="none" spc="0" normalizeH="0" baseline="0" noProof="0" dirty="0">
                          <a:ln>
                            <a:noFill/>
                          </a:ln>
                          <a:solidFill>
                            <a:srgbClr val="313131"/>
                          </a:solidFill>
                          <a:effectLst/>
                          <a:uLnTx/>
                          <a:uFillTx/>
                          <a:latin typeface="+mn-lt"/>
                          <a:ea typeface="+mn-ea"/>
                          <a:cs typeface="+mn-cs"/>
                        </a:rPr>
                        <a:t>Level 1 text  </a:t>
                      </a:r>
                    </a:p>
                    <a:p>
                      <a:pPr marL="274320" marR="0" lvl="1"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US" sz="800" b="0" i="0" u="none" strike="noStrike" kern="1200" cap="none" spc="0" normalizeH="0" baseline="0" noProof="0" dirty="0">
                          <a:ln>
                            <a:noFill/>
                          </a:ln>
                          <a:solidFill>
                            <a:srgbClr val="313131"/>
                          </a:solidFill>
                          <a:effectLst/>
                          <a:uLnTx/>
                          <a:uFillTx/>
                          <a:latin typeface="+mn-lt"/>
                          <a:ea typeface="+mn-ea"/>
                          <a:cs typeface="+mn-cs"/>
                        </a:rPr>
                        <a:t>Level 2 text</a:t>
                      </a:r>
                    </a:p>
                    <a:p>
                      <a:pPr marL="274320" marR="0" lvl="1"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US" sz="800" b="0" i="1" u="none" strike="noStrike" kern="1200" cap="none" spc="0" normalizeH="0" baseline="0" noProof="0" dirty="0">
                          <a:ln>
                            <a:noFill/>
                          </a:ln>
                          <a:solidFill>
                            <a:srgbClr val="313131"/>
                          </a:solidFill>
                          <a:effectLst/>
                          <a:uLnTx/>
                          <a:uFillTx/>
                          <a:latin typeface="+mn-lt"/>
                          <a:ea typeface="+mn-ea"/>
                          <a:cs typeface="+mn-cs"/>
                        </a:rPr>
                        <a:t>Level 3 text </a:t>
                      </a:r>
                    </a:p>
                    <a:p>
                      <a:pPr marL="539496" marR="0" lvl="2" indent="-265176" algn="l" defTabSz="957263" rtl="0" eaLnBrk="1" fontAlgn="base" latinLnBrk="0" hangingPunct="1">
                        <a:lnSpc>
                          <a:spcPct val="100000"/>
                        </a:lnSpc>
                        <a:spcBef>
                          <a:spcPts val="600"/>
                        </a:spcBef>
                        <a:spcAft>
                          <a:spcPts val="0"/>
                        </a:spcAft>
                        <a:buClrTx/>
                        <a:buSzTx/>
                        <a:buFont typeface="Arial" charset="0"/>
                        <a:buChar char="‒"/>
                        <a:tabLst/>
                        <a:defRPr/>
                      </a:pPr>
                      <a:r>
                        <a:rPr kumimoji="0" lang="en-GB" sz="800" b="0" i="0" u="none" strike="noStrike" kern="1200" cap="none" spc="0" normalizeH="0" baseline="0" noProof="0" dirty="0">
                          <a:ln>
                            <a:noFill/>
                          </a:ln>
                          <a:solidFill>
                            <a:srgbClr val="313131"/>
                          </a:solidFill>
                          <a:effectLst/>
                          <a:uLnTx/>
                          <a:uFillTx/>
                          <a:latin typeface="+mn-lt"/>
                        </a:rPr>
                        <a:t>Level 4 text</a:t>
                      </a:r>
                    </a:p>
                    <a:p>
                      <a:pPr marL="804672" marR="0" lvl="2"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GB" sz="800" b="0" i="0" u="none" strike="noStrike" kern="1200" cap="none" spc="0" normalizeH="0" baseline="0" noProof="0" dirty="0">
                          <a:ln>
                            <a:noFill/>
                          </a:ln>
                          <a:solidFill>
                            <a:srgbClr val="313131"/>
                          </a:solidFill>
                          <a:effectLst/>
                          <a:uLnTx/>
                          <a:uFillTx/>
                          <a:latin typeface="+mn-lt"/>
                        </a:rPr>
                        <a:t>Level 5 text </a:t>
                      </a:r>
                    </a:p>
                  </a:txBody>
                  <a:tcPr marL="27000" marR="68580" marT="27000" marB="27000" horzOverflow="overflow">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124531">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u="none" strike="noStrike" cap="none" normalizeH="0" baseline="0" dirty="0">
                          <a:ln>
                            <a:noFill/>
                          </a:ln>
                          <a:solidFill>
                            <a:srgbClr val="313131"/>
                          </a:solidFill>
                          <a:effectLst/>
                        </a:rPr>
                        <a:t>Row description</a:t>
                      </a:r>
                      <a:endParaRPr kumimoji="0" lang="en-US" sz="800" b="1" i="0" u="none" strike="noStrike" cap="none" normalizeH="0" baseline="0" dirty="0">
                        <a:ln>
                          <a:noFill/>
                        </a:ln>
                        <a:solidFill>
                          <a:srgbClr val="313131"/>
                        </a:solidFill>
                        <a:effectLst/>
                        <a:latin typeface="Arial" charset="0"/>
                      </a:endParaRPr>
                    </a:p>
                  </a:txBody>
                  <a:tcPr marL="27000" marR="27000" marT="27000" marB="27000"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800" b="0" i="0" u="none" strike="noStrike" kern="1200" cap="none" spc="0" normalizeH="0" baseline="0" noProof="0" dirty="0">
                          <a:ln>
                            <a:noFill/>
                          </a:ln>
                          <a:solidFill>
                            <a:srgbClr val="313131"/>
                          </a:solidFill>
                          <a:effectLst/>
                          <a:uLnTx/>
                          <a:uFillTx/>
                          <a:latin typeface="+mn-lt"/>
                          <a:ea typeface="+mn-ea"/>
                          <a:cs typeface="+mn-cs"/>
                        </a:rPr>
                        <a:t>Level 1 text  </a:t>
                      </a:r>
                    </a:p>
                    <a:p>
                      <a:pPr marL="274320" marR="0" lvl="1"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US" sz="800" b="0" i="0" u="none" strike="noStrike" kern="1200" cap="none" spc="0" normalizeH="0" baseline="0" noProof="0" dirty="0">
                          <a:ln>
                            <a:noFill/>
                          </a:ln>
                          <a:solidFill>
                            <a:srgbClr val="313131"/>
                          </a:solidFill>
                          <a:effectLst/>
                          <a:uLnTx/>
                          <a:uFillTx/>
                          <a:latin typeface="+mn-lt"/>
                          <a:ea typeface="+mn-ea"/>
                          <a:cs typeface="+mn-cs"/>
                        </a:rPr>
                        <a:t>Level 2 text</a:t>
                      </a:r>
                    </a:p>
                    <a:p>
                      <a:pPr marL="274320" marR="0" lvl="1"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US" sz="800" b="0" i="1" u="none" strike="noStrike" kern="1200" cap="none" spc="0" normalizeH="0" baseline="0" noProof="0" dirty="0">
                          <a:ln>
                            <a:noFill/>
                          </a:ln>
                          <a:solidFill>
                            <a:srgbClr val="313131"/>
                          </a:solidFill>
                          <a:effectLst/>
                          <a:uLnTx/>
                          <a:uFillTx/>
                          <a:latin typeface="+mn-lt"/>
                          <a:ea typeface="+mn-ea"/>
                          <a:cs typeface="+mn-cs"/>
                        </a:rPr>
                        <a:t>Level 3 text </a:t>
                      </a:r>
                    </a:p>
                    <a:p>
                      <a:pPr marL="539496" marR="0" lvl="2" indent="-265176" algn="l" defTabSz="957263" rtl="0" eaLnBrk="1" fontAlgn="base" latinLnBrk="0" hangingPunct="1">
                        <a:lnSpc>
                          <a:spcPct val="100000"/>
                        </a:lnSpc>
                        <a:spcBef>
                          <a:spcPts val="600"/>
                        </a:spcBef>
                        <a:spcAft>
                          <a:spcPts val="0"/>
                        </a:spcAft>
                        <a:buClrTx/>
                        <a:buSzTx/>
                        <a:buFont typeface="Arial" charset="0"/>
                        <a:buChar char="‒"/>
                        <a:tabLst/>
                        <a:defRPr/>
                      </a:pPr>
                      <a:r>
                        <a:rPr kumimoji="0" lang="en-GB" sz="800" b="0" i="0" u="none" strike="noStrike" kern="1200" cap="none" spc="0" normalizeH="0" baseline="0" noProof="0" dirty="0">
                          <a:ln>
                            <a:noFill/>
                          </a:ln>
                          <a:solidFill>
                            <a:srgbClr val="313131"/>
                          </a:solidFill>
                          <a:effectLst/>
                          <a:uLnTx/>
                          <a:uFillTx/>
                          <a:latin typeface="+mn-lt"/>
                        </a:rPr>
                        <a:t>Level 4 text</a:t>
                      </a:r>
                    </a:p>
                    <a:p>
                      <a:pPr marL="804672" marR="0" lvl="2"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GB" sz="800" b="0" i="0" u="none" strike="noStrike" kern="1200" cap="none" spc="0" normalizeH="0" baseline="0" noProof="0" dirty="0">
                          <a:ln>
                            <a:noFill/>
                          </a:ln>
                          <a:solidFill>
                            <a:srgbClr val="313131"/>
                          </a:solidFill>
                          <a:effectLst/>
                          <a:uLnTx/>
                          <a:uFillTx/>
                          <a:latin typeface="+mn-lt"/>
                        </a:rPr>
                        <a:t>Level 5 text </a:t>
                      </a:r>
                    </a:p>
                  </a:txBody>
                  <a:tcPr marL="27000" marR="68580" marT="27000" marB="27000"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800" b="0" i="0" u="none" strike="noStrike" kern="1200" cap="none" spc="0" normalizeH="0" baseline="0" noProof="0" dirty="0">
                          <a:ln>
                            <a:noFill/>
                          </a:ln>
                          <a:solidFill>
                            <a:srgbClr val="313131"/>
                          </a:solidFill>
                          <a:effectLst/>
                          <a:uLnTx/>
                          <a:uFillTx/>
                          <a:latin typeface="+mn-lt"/>
                          <a:ea typeface="+mn-ea"/>
                          <a:cs typeface="+mn-cs"/>
                        </a:rPr>
                        <a:t>Level 1 text  </a:t>
                      </a:r>
                    </a:p>
                    <a:p>
                      <a:pPr marL="274320" marR="0" lvl="1"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US" sz="800" b="0" i="0" u="none" strike="noStrike" kern="1200" cap="none" spc="0" normalizeH="0" baseline="0" noProof="0" dirty="0">
                          <a:ln>
                            <a:noFill/>
                          </a:ln>
                          <a:solidFill>
                            <a:srgbClr val="313131"/>
                          </a:solidFill>
                          <a:effectLst/>
                          <a:uLnTx/>
                          <a:uFillTx/>
                          <a:latin typeface="+mn-lt"/>
                          <a:ea typeface="+mn-ea"/>
                          <a:cs typeface="+mn-cs"/>
                        </a:rPr>
                        <a:t>Level 2 text</a:t>
                      </a:r>
                    </a:p>
                    <a:p>
                      <a:pPr marL="274320" marR="0" lvl="1"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US" sz="800" b="0" i="1" u="none" strike="noStrike" kern="1200" cap="none" spc="0" normalizeH="0" baseline="0" noProof="0" dirty="0">
                          <a:ln>
                            <a:noFill/>
                          </a:ln>
                          <a:solidFill>
                            <a:srgbClr val="313131"/>
                          </a:solidFill>
                          <a:effectLst/>
                          <a:uLnTx/>
                          <a:uFillTx/>
                          <a:latin typeface="+mn-lt"/>
                          <a:ea typeface="+mn-ea"/>
                          <a:cs typeface="+mn-cs"/>
                        </a:rPr>
                        <a:t>Level 3 text </a:t>
                      </a:r>
                    </a:p>
                    <a:p>
                      <a:pPr marL="539496" marR="0" lvl="2" indent="-265176" algn="l" defTabSz="957263" rtl="0" eaLnBrk="1" fontAlgn="base" latinLnBrk="0" hangingPunct="1">
                        <a:lnSpc>
                          <a:spcPct val="100000"/>
                        </a:lnSpc>
                        <a:spcBef>
                          <a:spcPts val="600"/>
                        </a:spcBef>
                        <a:spcAft>
                          <a:spcPts val="0"/>
                        </a:spcAft>
                        <a:buClrTx/>
                        <a:buSzTx/>
                        <a:buFont typeface="Arial" charset="0"/>
                        <a:buChar char="‒"/>
                        <a:tabLst/>
                        <a:defRPr/>
                      </a:pPr>
                      <a:r>
                        <a:rPr kumimoji="0" lang="en-GB" sz="800" b="0" i="0" u="none" strike="noStrike" kern="1200" cap="none" spc="0" normalizeH="0" baseline="0" noProof="0" dirty="0">
                          <a:ln>
                            <a:noFill/>
                          </a:ln>
                          <a:solidFill>
                            <a:srgbClr val="313131"/>
                          </a:solidFill>
                          <a:effectLst/>
                          <a:uLnTx/>
                          <a:uFillTx/>
                          <a:latin typeface="+mn-lt"/>
                        </a:rPr>
                        <a:t>Level 4 text</a:t>
                      </a:r>
                    </a:p>
                    <a:p>
                      <a:pPr marL="804672" marR="0" lvl="2"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GB" sz="800" b="0" i="0" u="none" strike="noStrike" kern="1200" cap="none" spc="0" normalizeH="0" baseline="0" noProof="0" dirty="0">
                          <a:ln>
                            <a:noFill/>
                          </a:ln>
                          <a:solidFill>
                            <a:srgbClr val="313131"/>
                          </a:solidFill>
                          <a:effectLst/>
                          <a:uLnTx/>
                          <a:uFillTx/>
                          <a:latin typeface="+mn-lt"/>
                        </a:rPr>
                        <a:t>Level 5 text </a:t>
                      </a:r>
                    </a:p>
                  </a:txBody>
                  <a:tcPr marL="27000" marR="68580" marT="27000" marB="27000"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124531">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u="none" strike="noStrike" cap="none" normalizeH="0" baseline="0" dirty="0">
                          <a:ln>
                            <a:noFill/>
                          </a:ln>
                          <a:solidFill>
                            <a:srgbClr val="313131"/>
                          </a:solidFill>
                          <a:effectLst/>
                        </a:rPr>
                        <a:t>Row description</a:t>
                      </a:r>
                      <a:endParaRPr kumimoji="0" lang="en-US" sz="800" b="1" i="0" u="none" strike="noStrike" cap="none" normalizeH="0" baseline="0" dirty="0">
                        <a:ln>
                          <a:noFill/>
                        </a:ln>
                        <a:solidFill>
                          <a:srgbClr val="313131"/>
                        </a:solidFill>
                        <a:effectLst/>
                        <a:latin typeface="Arial" charset="0"/>
                      </a:endParaRPr>
                    </a:p>
                  </a:txBody>
                  <a:tcPr marL="27000" marR="27000" marT="27000" marB="27000" horzOverflow="overflow">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800" b="0" i="0" u="none" strike="noStrike" kern="1200" cap="none" spc="0" normalizeH="0" baseline="0" noProof="0" dirty="0">
                          <a:ln>
                            <a:noFill/>
                          </a:ln>
                          <a:solidFill>
                            <a:srgbClr val="313131"/>
                          </a:solidFill>
                          <a:effectLst/>
                          <a:uLnTx/>
                          <a:uFillTx/>
                          <a:latin typeface="+mn-lt"/>
                          <a:ea typeface="+mn-ea"/>
                          <a:cs typeface="+mn-cs"/>
                        </a:rPr>
                        <a:t>Level 1 text  </a:t>
                      </a:r>
                    </a:p>
                    <a:p>
                      <a:pPr marL="274320" marR="0" lvl="1"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US" sz="800" b="0" i="0" u="none" strike="noStrike" kern="1200" cap="none" spc="0" normalizeH="0" baseline="0" noProof="0" dirty="0">
                          <a:ln>
                            <a:noFill/>
                          </a:ln>
                          <a:solidFill>
                            <a:srgbClr val="313131"/>
                          </a:solidFill>
                          <a:effectLst/>
                          <a:uLnTx/>
                          <a:uFillTx/>
                          <a:latin typeface="+mn-lt"/>
                          <a:ea typeface="+mn-ea"/>
                          <a:cs typeface="+mn-cs"/>
                        </a:rPr>
                        <a:t>Level 2 text</a:t>
                      </a:r>
                    </a:p>
                    <a:p>
                      <a:pPr marL="274320" marR="0" lvl="1"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US" sz="800" b="0" i="1" u="none" strike="noStrike" kern="1200" cap="none" spc="0" normalizeH="0" baseline="0" noProof="0" dirty="0">
                          <a:ln>
                            <a:noFill/>
                          </a:ln>
                          <a:solidFill>
                            <a:srgbClr val="313131"/>
                          </a:solidFill>
                          <a:effectLst/>
                          <a:uLnTx/>
                          <a:uFillTx/>
                          <a:latin typeface="+mn-lt"/>
                          <a:ea typeface="+mn-ea"/>
                          <a:cs typeface="+mn-cs"/>
                        </a:rPr>
                        <a:t>Level 3 text </a:t>
                      </a:r>
                    </a:p>
                    <a:p>
                      <a:pPr marL="539496" marR="0" lvl="2" indent="-265176" algn="l" defTabSz="957263" rtl="0" eaLnBrk="1" fontAlgn="base" latinLnBrk="0" hangingPunct="1">
                        <a:lnSpc>
                          <a:spcPct val="100000"/>
                        </a:lnSpc>
                        <a:spcBef>
                          <a:spcPts val="600"/>
                        </a:spcBef>
                        <a:spcAft>
                          <a:spcPts val="0"/>
                        </a:spcAft>
                        <a:buClrTx/>
                        <a:buSzTx/>
                        <a:buFont typeface="Arial" charset="0"/>
                        <a:buChar char="‒"/>
                        <a:tabLst/>
                        <a:defRPr/>
                      </a:pPr>
                      <a:r>
                        <a:rPr kumimoji="0" lang="en-GB" sz="800" b="0" i="0" u="none" strike="noStrike" kern="1200" cap="none" spc="0" normalizeH="0" baseline="0" noProof="0" dirty="0">
                          <a:ln>
                            <a:noFill/>
                          </a:ln>
                          <a:solidFill>
                            <a:srgbClr val="313131"/>
                          </a:solidFill>
                          <a:effectLst/>
                          <a:uLnTx/>
                          <a:uFillTx/>
                          <a:latin typeface="+mn-lt"/>
                        </a:rPr>
                        <a:t>Level 4 text</a:t>
                      </a:r>
                    </a:p>
                    <a:p>
                      <a:pPr marL="804672" marR="0" lvl="2"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GB" sz="800" b="0" i="0" u="none" strike="noStrike" kern="1200" cap="none" spc="0" normalizeH="0" baseline="0" noProof="0" dirty="0">
                          <a:ln>
                            <a:noFill/>
                          </a:ln>
                          <a:solidFill>
                            <a:srgbClr val="313131"/>
                          </a:solidFill>
                          <a:effectLst/>
                          <a:uLnTx/>
                          <a:uFillTx/>
                          <a:latin typeface="+mn-lt"/>
                        </a:rPr>
                        <a:t>Level 5 text </a:t>
                      </a:r>
                    </a:p>
                  </a:txBody>
                  <a:tcPr marL="27000" marR="68580" marT="27000" marB="27000" horzOverflow="overflow">
                    <a:lnL w="12700" cmpd="sng">
                      <a:noFill/>
                    </a:lnL>
                    <a:lnR w="12700" cmpd="sng">
                      <a:noFill/>
                    </a:lnR>
                    <a:lnT w="12700" cap="flat" cmpd="sng" algn="ctr">
                      <a:solidFill>
                        <a:srgbClr val="00A1DE"/>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800" b="0" i="0" u="none" strike="noStrike" kern="1200" cap="none" spc="0" normalizeH="0" baseline="0" noProof="0" dirty="0">
                          <a:ln>
                            <a:noFill/>
                          </a:ln>
                          <a:solidFill>
                            <a:srgbClr val="313131"/>
                          </a:solidFill>
                          <a:effectLst/>
                          <a:uLnTx/>
                          <a:uFillTx/>
                          <a:latin typeface="+mn-lt"/>
                          <a:ea typeface="+mn-ea"/>
                          <a:cs typeface="+mn-cs"/>
                        </a:rPr>
                        <a:t>Level 1 text  </a:t>
                      </a:r>
                    </a:p>
                    <a:p>
                      <a:pPr marL="274320" marR="0" lvl="1"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US" sz="800" b="0" i="0" u="none" strike="noStrike" kern="1200" cap="none" spc="0" normalizeH="0" baseline="0" noProof="0" dirty="0">
                          <a:ln>
                            <a:noFill/>
                          </a:ln>
                          <a:solidFill>
                            <a:srgbClr val="313131"/>
                          </a:solidFill>
                          <a:effectLst/>
                          <a:uLnTx/>
                          <a:uFillTx/>
                          <a:latin typeface="+mn-lt"/>
                          <a:ea typeface="+mn-ea"/>
                          <a:cs typeface="+mn-cs"/>
                        </a:rPr>
                        <a:t>Level 2 text</a:t>
                      </a:r>
                    </a:p>
                    <a:p>
                      <a:pPr marL="274320" marR="0" lvl="1"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US" sz="800" b="0" i="1" u="none" strike="noStrike" kern="1200" cap="none" spc="0" normalizeH="0" baseline="0" noProof="0" dirty="0">
                          <a:ln>
                            <a:noFill/>
                          </a:ln>
                          <a:solidFill>
                            <a:srgbClr val="313131"/>
                          </a:solidFill>
                          <a:effectLst/>
                          <a:uLnTx/>
                          <a:uFillTx/>
                          <a:latin typeface="+mn-lt"/>
                          <a:ea typeface="+mn-ea"/>
                          <a:cs typeface="+mn-cs"/>
                        </a:rPr>
                        <a:t>Level 3 text </a:t>
                      </a:r>
                    </a:p>
                    <a:p>
                      <a:pPr marL="539496" marR="0" lvl="2" indent="-265176" algn="l" defTabSz="957263" rtl="0" eaLnBrk="1" fontAlgn="base" latinLnBrk="0" hangingPunct="1">
                        <a:lnSpc>
                          <a:spcPct val="100000"/>
                        </a:lnSpc>
                        <a:spcBef>
                          <a:spcPts val="600"/>
                        </a:spcBef>
                        <a:spcAft>
                          <a:spcPts val="0"/>
                        </a:spcAft>
                        <a:buClrTx/>
                        <a:buSzTx/>
                        <a:buFont typeface="Arial" charset="0"/>
                        <a:buChar char="‒"/>
                        <a:tabLst/>
                        <a:defRPr/>
                      </a:pPr>
                      <a:r>
                        <a:rPr kumimoji="0" lang="en-GB" sz="800" b="0" i="0" u="none" strike="noStrike" kern="1200" cap="none" spc="0" normalizeH="0" baseline="0" noProof="0" dirty="0">
                          <a:ln>
                            <a:noFill/>
                          </a:ln>
                          <a:solidFill>
                            <a:srgbClr val="313131"/>
                          </a:solidFill>
                          <a:effectLst/>
                          <a:uLnTx/>
                          <a:uFillTx/>
                          <a:latin typeface="+mn-lt"/>
                        </a:rPr>
                        <a:t>Level 4 text</a:t>
                      </a:r>
                    </a:p>
                    <a:p>
                      <a:pPr marL="804672" marR="0" lvl="2"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GB" sz="800" b="0" i="0" u="none" strike="noStrike" kern="1200" cap="none" spc="0" normalizeH="0" baseline="0" noProof="0" dirty="0">
                          <a:ln>
                            <a:noFill/>
                          </a:ln>
                          <a:solidFill>
                            <a:srgbClr val="313131"/>
                          </a:solidFill>
                          <a:effectLst/>
                          <a:uLnTx/>
                          <a:uFillTx/>
                          <a:latin typeface="+mn-lt"/>
                        </a:rPr>
                        <a:t>Level 5 text </a:t>
                      </a:r>
                    </a:p>
                  </a:txBody>
                  <a:tcPr marL="27000" marR="68580" marT="27000" marB="27000" horzOverflow="overflow">
                    <a:lnL w="12700" cmpd="sng">
                      <a:noFill/>
                    </a:lnL>
                    <a:lnR w="12700" cmpd="sng">
                      <a:noFill/>
                    </a:lnR>
                    <a:lnT w="12700" cap="flat" cmpd="sng" algn="ctr">
                      <a:solidFill>
                        <a:srgbClr val="00A1DE"/>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cSld>
  <p:clrMapOvr>
    <a:masterClrMapping/>
  </p:clrMapOvr>
  <p:transition>
    <p:fade/>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4753" name="Title 1"/>
          <p:cNvSpPr>
            <a:spLocks noGrp="1"/>
          </p:cNvSpPr>
          <p:nvPr>
            <p:ph type="title"/>
          </p:nvPr>
        </p:nvSpPr>
        <p:spPr/>
        <p:txBody>
          <a:bodyPr/>
          <a:lstStyle/>
          <a:p>
            <a:r>
              <a:rPr lang="en-US" dirty="0"/>
              <a:t>Maps </a:t>
            </a:r>
            <a:br>
              <a:rPr lang="en-US" dirty="0"/>
            </a:br>
            <a:r>
              <a:rPr lang="en-US" dirty="0">
                <a:solidFill>
                  <a:srgbClr val="575757"/>
                </a:solidFill>
              </a:rPr>
              <a:t>Switzerland &amp; Austria</a:t>
            </a:r>
          </a:p>
        </p:txBody>
      </p:sp>
      <p:sp>
        <p:nvSpPr>
          <p:cNvPr id="6" name="Freeform 10"/>
          <p:cNvSpPr>
            <a:spLocks noChangeAspect="1"/>
          </p:cNvSpPr>
          <p:nvPr/>
        </p:nvSpPr>
        <p:spPr bwMode="gray">
          <a:xfrm>
            <a:off x="1429941" y="1714500"/>
            <a:ext cx="2967038" cy="2045494"/>
          </a:xfrm>
          <a:custGeom>
            <a:avLst/>
            <a:gdLst>
              <a:gd name="T0" fmla="*/ 2167 w 2167"/>
              <a:gd name="T1" fmla="*/ 822 h 1380"/>
              <a:gd name="T2" fmla="*/ 2096 w 2167"/>
              <a:gd name="T3" fmla="*/ 878 h 1380"/>
              <a:gd name="T4" fmla="*/ 2018 w 2167"/>
              <a:gd name="T5" fmla="*/ 829 h 1380"/>
              <a:gd name="T6" fmla="*/ 2001 w 2167"/>
              <a:gd name="T7" fmla="*/ 943 h 1380"/>
              <a:gd name="T8" fmla="*/ 1991 w 2167"/>
              <a:gd name="T9" fmla="*/ 1096 h 1380"/>
              <a:gd name="T10" fmla="*/ 1917 w 2167"/>
              <a:gd name="T11" fmla="*/ 1034 h 1380"/>
              <a:gd name="T12" fmla="*/ 1846 w 2167"/>
              <a:gd name="T13" fmla="*/ 1012 h 1380"/>
              <a:gd name="T14" fmla="*/ 1759 w 2167"/>
              <a:gd name="T15" fmla="*/ 1056 h 1380"/>
              <a:gd name="T16" fmla="*/ 1655 w 2167"/>
              <a:gd name="T17" fmla="*/ 970 h 1380"/>
              <a:gd name="T18" fmla="*/ 1592 w 2167"/>
              <a:gd name="T19" fmla="*/ 959 h 1380"/>
              <a:gd name="T20" fmla="*/ 1561 w 2167"/>
              <a:gd name="T21" fmla="*/ 1121 h 1380"/>
              <a:gd name="T22" fmla="*/ 1479 w 2167"/>
              <a:gd name="T23" fmla="*/ 1245 h 1380"/>
              <a:gd name="T24" fmla="*/ 1481 w 2167"/>
              <a:gd name="T25" fmla="*/ 1362 h 1380"/>
              <a:gd name="T26" fmla="*/ 1409 w 2167"/>
              <a:gd name="T27" fmla="*/ 1352 h 1380"/>
              <a:gd name="T28" fmla="*/ 1350 w 2167"/>
              <a:gd name="T29" fmla="*/ 1243 h 1380"/>
              <a:gd name="T30" fmla="*/ 1304 w 2167"/>
              <a:gd name="T31" fmla="*/ 1187 h 1380"/>
              <a:gd name="T32" fmla="*/ 1205 w 2167"/>
              <a:gd name="T33" fmla="*/ 1103 h 1380"/>
              <a:gd name="T34" fmla="*/ 1178 w 2167"/>
              <a:gd name="T35" fmla="*/ 951 h 1380"/>
              <a:gd name="T36" fmla="*/ 1093 w 2167"/>
              <a:gd name="T37" fmla="*/ 1037 h 1380"/>
              <a:gd name="T38" fmla="*/ 1075 w 2167"/>
              <a:gd name="T39" fmla="*/ 1129 h 1380"/>
              <a:gd name="T40" fmla="*/ 991 w 2167"/>
              <a:gd name="T41" fmla="*/ 1240 h 1380"/>
              <a:gd name="T42" fmla="*/ 882 w 2167"/>
              <a:gd name="T43" fmla="*/ 1314 h 1380"/>
              <a:gd name="T44" fmla="*/ 792 w 2167"/>
              <a:gd name="T45" fmla="*/ 1282 h 1380"/>
              <a:gd name="T46" fmla="*/ 703 w 2167"/>
              <a:gd name="T47" fmla="*/ 1321 h 1380"/>
              <a:gd name="T48" fmla="*/ 609 w 2167"/>
              <a:gd name="T49" fmla="*/ 1349 h 1380"/>
              <a:gd name="T50" fmla="*/ 530 w 2167"/>
              <a:gd name="T51" fmla="*/ 1330 h 1380"/>
              <a:gd name="T52" fmla="*/ 444 w 2167"/>
              <a:gd name="T53" fmla="*/ 1215 h 1380"/>
              <a:gd name="T54" fmla="*/ 388 w 2167"/>
              <a:gd name="T55" fmla="*/ 1133 h 1380"/>
              <a:gd name="T56" fmla="*/ 396 w 2167"/>
              <a:gd name="T57" fmla="*/ 1002 h 1380"/>
              <a:gd name="T58" fmla="*/ 292 w 2167"/>
              <a:gd name="T59" fmla="*/ 943 h 1380"/>
              <a:gd name="T60" fmla="*/ 183 w 2167"/>
              <a:gd name="T61" fmla="*/ 984 h 1380"/>
              <a:gd name="T62" fmla="*/ 182 w 2167"/>
              <a:gd name="T63" fmla="*/ 1055 h 1380"/>
              <a:gd name="T64" fmla="*/ 92 w 2167"/>
              <a:gd name="T65" fmla="*/ 1152 h 1380"/>
              <a:gd name="T66" fmla="*/ 5 w 2167"/>
              <a:gd name="T67" fmla="*/ 1141 h 1380"/>
              <a:gd name="T68" fmla="*/ 65 w 2167"/>
              <a:gd name="T69" fmla="*/ 1062 h 1380"/>
              <a:gd name="T70" fmla="*/ 75 w 2167"/>
              <a:gd name="T71" fmla="*/ 891 h 1380"/>
              <a:gd name="T72" fmla="*/ 192 w 2167"/>
              <a:gd name="T73" fmla="*/ 743 h 1380"/>
              <a:gd name="T74" fmla="*/ 247 w 2167"/>
              <a:gd name="T75" fmla="*/ 638 h 1380"/>
              <a:gd name="T76" fmla="*/ 310 w 2167"/>
              <a:gd name="T77" fmla="*/ 564 h 1380"/>
              <a:gd name="T78" fmla="*/ 406 w 2167"/>
              <a:gd name="T79" fmla="*/ 471 h 1380"/>
              <a:gd name="T80" fmla="*/ 485 w 2167"/>
              <a:gd name="T81" fmla="*/ 359 h 1380"/>
              <a:gd name="T82" fmla="*/ 486 w 2167"/>
              <a:gd name="T83" fmla="*/ 321 h 1380"/>
              <a:gd name="T84" fmla="*/ 494 w 2167"/>
              <a:gd name="T85" fmla="*/ 243 h 1380"/>
              <a:gd name="T86" fmla="*/ 595 w 2167"/>
              <a:gd name="T87" fmla="*/ 214 h 1380"/>
              <a:gd name="T88" fmla="*/ 684 w 2167"/>
              <a:gd name="T89" fmla="*/ 256 h 1380"/>
              <a:gd name="T90" fmla="*/ 772 w 2167"/>
              <a:gd name="T91" fmla="*/ 161 h 1380"/>
              <a:gd name="T92" fmla="*/ 845 w 2167"/>
              <a:gd name="T93" fmla="*/ 188 h 1380"/>
              <a:gd name="T94" fmla="*/ 946 w 2167"/>
              <a:gd name="T95" fmla="*/ 161 h 1380"/>
              <a:gd name="T96" fmla="*/ 1047 w 2167"/>
              <a:gd name="T97" fmla="*/ 149 h 1380"/>
              <a:gd name="T98" fmla="*/ 1161 w 2167"/>
              <a:gd name="T99" fmla="*/ 165 h 1380"/>
              <a:gd name="T100" fmla="*/ 1198 w 2167"/>
              <a:gd name="T101" fmla="*/ 43 h 1380"/>
              <a:gd name="T102" fmla="*/ 1258 w 2167"/>
              <a:gd name="T103" fmla="*/ 1 h 1380"/>
              <a:gd name="T104" fmla="*/ 1334 w 2167"/>
              <a:gd name="T105" fmla="*/ 78 h 1380"/>
              <a:gd name="T106" fmla="*/ 1431 w 2167"/>
              <a:gd name="T107" fmla="*/ 94 h 1380"/>
              <a:gd name="T108" fmla="*/ 1551 w 2167"/>
              <a:gd name="T109" fmla="*/ 100 h 1380"/>
              <a:gd name="T110" fmla="*/ 1706 w 2167"/>
              <a:gd name="T111" fmla="*/ 188 h 1380"/>
              <a:gd name="T112" fmla="*/ 1763 w 2167"/>
              <a:gd name="T113" fmla="*/ 278 h 1380"/>
              <a:gd name="T114" fmla="*/ 1692 w 2167"/>
              <a:gd name="T115" fmla="*/ 450 h 1380"/>
              <a:gd name="T116" fmla="*/ 1780 w 2167"/>
              <a:gd name="T117" fmla="*/ 519 h 1380"/>
              <a:gd name="T118" fmla="*/ 1875 w 2167"/>
              <a:gd name="T119" fmla="*/ 594 h 1380"/>
              <a:gd name="T120" fmla="*/ 1993 w 2167"/>
              <a:gd name="T121" fmla="*/ 640 h 1380"/>
              <a:gd name="T122" fmla="*/ 2111 w 2167"/>
              <a:gd name="T123" fmla="*/ 546 h 1380"/>
              <a:gd name="T124" fmla="*/ 2145 w 2167"/>
              <a:gd name="T125" fmla="*/ 662 h 138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167"/>
              <a:gd name="T190" fmla="*/ 0 h 1380"/>
              <a:gd name="T191" fmla="*/ 2167 w 2167"/>
              <a:gd name="T192" fmla="*/ 1380 h 138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167" h="1380">
                <a:moveTo>
                  <a:pt x="2126" y="760"/>
                </a:moveTo>
                <a:lnTo>
                  <a:pt x="2123" y="762"/>
                </a:lnTo>
                <a:lnTo>
                  <a:pt x="2119" y="769"/>
                </a:lnTo>
                <a:lnTo>
                  <a:pt x="2120" y="779"/>
                </a:lnTo>
                <a:lnTo>
                  <a:pt x="2129" y="789"/>
                </a:lnTo>
                <a:lnTo>
                  <a:pt x="2136" y="792"/>
                </a:lnTo>
                <a:lnTo>
                  <a:pt x="2143" y="796"/>
                </a:lnTo>
                <a:lnTo>
                  <a:pt x="2149" y="798"/>
                </a:lnTo>
                <a:lnTo>
                  <a:pt x="2154" y="800"/>
                </a:lnTo>
                <a:lnTo>
                  <a:pt x="2159" y="804"/>
                </a:lnTo>
                <a:lnTo>
                  <a:pt x="2164" y="807"/>
                </a:lnTo>
                <a:lnTo>
                  <a:pt x="2166" y="813"/>
                </a:lnTo>
                <a:lnTo>
                  <a:pt x="2167" y="819"/>
                </a:lnTo>
                <a:lnTo>
                  <a:pt x="2167" y="820"/>
                </a:lnTo>
                <a:lnTo>
                  <a:pt x="2167" y="821"/>
                </a:lnTo>
                <a:lnTo>
                  <a:pt x="2167" y="822"/>
                </a:lnTo>
                <a:lnTo>
                  <a:pt x="2166" y="823"/>
                </a:lnTo>
                <a:lnTo>
                  <a:pt x="2166" y="825"/>
                </a:lnTo>
                <a:lnTo>
                  <a:pt x="2166" y="826"/>
                </a:lnTo>
                <a:lnTo>
                  <a:pt x="2166" y="827"/>
                </a:lnTo>
                <a:lnTo>
                  <a:pt x="2166" y="828"/>
                </a:lnTo>
                <a:lnTo>
                  <a:pt x="2161" y="849"/>
                </a:lnTo>
                <a:lnTo>
                  <a:pt x="2155" y="867"/>
                </a:lnTo>
                <a:lnTo>
                  <a:pt x="2147" y="880"/>
                </a:lnTo>
                <a:lnTo>
                  <a:pt x="2138" y="885"/>
                </a:lnTo>
                <a:lnTo>
                  <a:pt x="2132" y="885"/>
                </a:lnTo>
                <a:lnTo>
                  <a:pt x="2127" y="883"/>
                </a:lnTo>
                <a:lnTo>
                  <a:pt x="2121" y="882"/>
                </a:lnTo>
                <a:lnTo>
                  <a:pt x="2115" y="880"/>
                </a:lnTo>
                <a:lnTo>
                  <a:pt x="2109" y="879"/>
                </a:lnTo>
                <a:lnTo>
                  <a:pt x="2102" y="878"/>
                </a:lnTo>
                <a:lnTo>
                  <a:pt x="2096" y="878"/>
                </a:lnTo>
                <a:lnTo>
                  <a:pt x="2089" y="878"/>
                </a:lnTo>
                <a:lnTo>
                  <a:pt x="2082" y="879"/>
                </a:lnTo>
                <a:lnTo>
                  <a:pt x="2075" y="878"/>
                </a:lnTo>
                <a:lnTo>
                  <a:pt x="2070" y="876"/>
                </a:lnTo>
                <a:lnTo>
                  <a:pt x="2067" y="875"/>
                </a:lnTo>
                <a:lnTo>
                  <a:pt x="2063" y="873"/>
                </a:lnTo>
                <a:lnTo>
                  <a:pt x="2060" y="871"/>
                </a:lnTo>
                <a:lnTo>
                  <a:pt x="2058" y="868"/>
                </a:lnTo>
                <a:lnTo>
                  <a:pt x="2054" y="866"/>
                </a:lnTo>
                <a:lnTo>
                  <a:pt x="2046" y="861"/>
                </a:lnTo>
                <a:lnTo>
                  <a:pt x="2037" y="856"/>
                </a:lnTo>
                <a:lnTo>
                  <a:pt x="2030" y="850"/>
                </a:lnTo>
                <a:lnTo>
                  <a:pt x="2026" y="844"/>
                </a:lnTo>
                <a:lnTo>
                  <a:pt x="2026" y="837"/>
                </a:lnTo>
                <a:lnTo>
                  <a:pt x="2024" y="833"/>
                </a:lnTo>
                <a:lnTo>
                  <a:pt x="2018" y="829"/>
                </a:lnTo>
                <a:lnTo>
                  <a:pt x="2008" y="832"/>
                </a:lnTo>
                <a:lnTo>
                  <a:pt x="2001" y="835"/>
                </a:lnTo>
                <a:lnTo>
                  <a:pt x="1993" y="840"/>
                </a:lnTo>
                <a:lnTo>
                  <a:pt x="1986" y="845"/>
                </a:lnTo>
                <a:lnTo>
                  <a:pt x="1979" y="852"/>
                </a:lnTo>
                <a:lnTo>
                  <a:pt x="1972" y="861"/>
                </a:lnTo>
                <a:lnTo>
                  <a:pt x="1968" y="871"/>
                </a:lnTo>
                <a:lnTo>
                  <a:pt x="1964" y="880"/>
                </a:lnTo>
                <a:lnTo>
                  <a:pt x="1962" y="890"/>
                </a:lnTo>
                <a:lnTo>
                  <a:pt x="1960" y="910"/>
                </a:lnTo>
                <a:lnTo>
                  <a:pt x="1960" y="925"/>
                </a:lnTo>
                <a:lnTo>
                  <a:pt x="1965" y="936"/>
                </a:lnTo>
                <a:lnTo>
                  <a:pt x="1977" y="940"/>
                </a:lnTo>
                <a:lnTo>
                  <a:pt x="1990" y="939"/>
                </a:lnTo>
                <a:lnTo>
                  <a:pt x="1996" y="940"/>
                </a:lnTo>
                <a:lnTo>
                  <a:pt x="2001" y="943"/>
                </a:lnTo>
                <a:lnTo>
                  <a:pt x="2008" y="955"/>
                </a:lnTo>
                <a:lnTo>
                  <a:pt x="2014" y="970"/>
                </a:lnTo>
                <a:lnTo>
                  <a:pt x="2011" y="980"/>
                </a:lnTo>
                <a:lnTo>
                  <a:pt x="2006" y="988"/>
                </a:lnTo>
                <a:lnTo>
                  <a:pt x="1999" y="992"/>
                </a:lnTo>
                <a:lnTo>
                  <a:pt x="1993" y="997"/>
                </a:lnTo>
                <a:lnTo>
                  <a:pt x="1991" y="1009"/>
                </a:lnTo>
                <a:lnTo>
                  <a:pt x="1994" y="1022"/>
                </a:lnTo>
                <a:lnTo>
                  <a:pt x="2002" y="1032"/>
                </a:lnTo>
                <a:lnTo>
                  <a:pt x="2013" y="1045"/>
                </a:lnTo>
                <a:lnTo>
                  <a:pt x="2020" y="1060"/>
                </a:lnTo>
                <a:lnTo>
                  <a:pt x="2020" y="1076"/>
                </a:lnTo>
                <a:lnTo>
                  <a:pt x="2011" y="1088"/>
                </a:lnTo>
                <a:lnTo>
                  <a:pt x="2005" y="1092"/>
                </a:lnTo>
                <a:lnTo>
                  <a:pt x="1998" y="1094"/>
                </a:lnTo>
                <a:lnTo>
                  <a:pt x="1991" y="1096"/>
                </a:lnTo>
                <a:lnTo>
                  <a:pt x="1985" y="1098"/>
                </a:lnTo>
                <a:lnTo>
                  <a:pt x="1979" y="1098"/>
                </a:lnTo>
                <a:lnTo>
                  <a:pt x="1975" y="1098"/>
                </a:lnTo>
                <a:lnTo>
                  <a:pt x="1972" y="1098"/>
                </a:lnTo>
                <a:lnTo>
                  <a:pt x="1971" y="1098"/>
                </a:lnTo>
                <a:lnTo>
                  <a:pt x="1967" y="1098"/>
                </a:lnTo>
                <a:lnTo>
                  <a:pt x="1956" y="1098"/>
                </a:lnTo>
                <a:lnTo>
                  <a:pt x="1945" y="1094"/>
                </a:lnTo>
                <a:lnTo>
                  <a:pt x="1940" y="1088"/>
                </a:lnTo>
                <a:lnTo>
                  <a:pt x="1941" y="1080"/>
                </a:lnTo>
                <a:lnTo>
                  <a:pt x="1942" y="1073"/>
                </a:lnTo>
                <a:lnTo>
                  <a:pt x="1941" y="1066"/>
                </a:lnTo>
                <a:lnTo>
                  <a:pt x="1934" y="1060"/>
                </a:lnTo>
                <a:lnTo>
                  <a:pt x="1925" y="1052"/>
                </a:lnTo>
                <a:lnTo>
                  <a:pt x="1919" y="1042"/>
                </a:lnTo>
                <a:lnTo>
                  <a:pt x="1917" y="1034"/>
                </a:lnTo>
                <a:lnTo>
                  <a:pt x="1916" y="1026"/>
                </a:lnTo>
                <a:lnTo>
                  <a:pt x="1916" y="1019"/>
                </a:lnTo>
                <a:lnTo>
                  <a:pt x="1915" y="1013"/>
                </a:lnTo>
                <a:lnTo>
                  <a:pt x="1911" y="1008"/>
                </a:lnTo>
                <a:lnTo>
                  <a:pt x="1903" y="1004"/>
                </a:lnTo>
                <a:lnTo>
                  <a:pt x="1897" y="1004"/>
                </a:lnTo>
                <a:lnTo>
                  <a:pt x="1892" y="1004"/>
                </a:lnTo>
                <a:lnTo>
                  <a:pt x="1886" y="1005"/>
                </a:lnTo>
                <a:lnTo>
                  <a:pt x="1880" y="1007"/>
                </a:lnTo>
                <a:lnTo>
                  <a:pt x="1874" y="1008"/>
                </a:lnTo>
                <a:lnTo>
                  <a:pt x="1870" y="1009"/>
                </a:lnTo>
                <a:lnTo>
                  <a:pt x="1864" y="1009"/>
                </a:lnTo>
                <a:lnTo>
                  <a:pt x="1859" y="1008"/>
                </a:lnTo>
                <a:lnTo>
                  <a:pt x="1855" y="1008"/>
                </a:lnTo>
                <a:lnTo>
                  <a:pt x="1850" y="1009"/>
                </a:lnTo>
                <a:lnTo>
                  <a:pt x="1846" y="1012"/>
                </a:lnTo>
                <a:lnTo>
                  <a:pt x="1841" y="1015"/>
                </a:lnTo>
                <a:lnTo>
                  <a:pt x="1836" y="1018"/>
                </a:lnTo>
                <a:lnTo>
                  <a:pt x="1831" y="1022"/>
                </a:lnTo>
                <a:lnTo>
                  <a:pt x="1825" y="1023"/>
                </a:lnTo>
                <a:lnTo>
                  <a:pt x="1819" y="1023"/>
                </a:lnTo>
                <a:lnTo>
                  <a:pt x="1810" y="1023"/>
                </a:lnTo>
                <a:lnTo>
                  <a:pt x="1806" y="1025"/>
                </a:lnTo>
                <a:lnTo>
                  <a:pt x="1804" y="1031"/>
                </a:lnTo>
                <a:lnTo>
                  <a:pt x="1804" y="1039"/>
                </a:lnTo>
                <a:lnTo>
                  <a:pt x="1803" y="1047"/>
                </a:lnTo>
                <a:lnTo>
                  <a:pt x="1799" y="1053"/>
                </a:lnTo>
                <a:lnTo>
                  <a:pt x="1793" y="1056"/>
                </a:lnTo>
                <a:lnTo>
                  <a:pt x="1782" y="1057"/>
                </a:lnTo>
                <a:lnTo>
                  <a:pt x="1775" y="1057"/>
                </a:lnTo>
                <a:lnTo>
                  <a:pt x="1768" y="1056"/>
                </a:lnTo>
                <a:lnTo>
                  <a:pt x="1759" y="1056"/>
                </a:lnTo>
                <a:lnTo>
                  <a:pt x="1750" y="1055"/>
                </a:lnTo>
                <a:lnTo>
                  <a:pt x="1741" y="1054"/>
                </a:lnTo>
                <a:lnTo>
                  <a:pt x="1731" y="1053"/>
                </a:lnTo>
                <a:lnTo>
                  <a:pt x="1725" y="1052"/>
                </a:lnTo>
                <a:lnTo>
                  <a:pt x="1718" y="1050"/>
                </a:lnTo>
                <a:lnTo>
                  <a:pt x="1712" y="1048"/>
                </a:lnTo>
                <a:lnTo>
                  <a:pt x="1706" y="1045"/>
                </a:lnTo>
                <a:lnTo>
                  <a:pt x="1700" y="1040"/>
                </a:lnTo>
                <a:lnTo>
                  <a:pt x="1696" y="1034"/>
                </a:lnTo>
                <a:lnTo>
                  <a:pt x="1690" y="1028"/>
                </a:lnTo>
                <a:lnTo>
                  <a:pt x="1685" y="1022"/>
                </a:lnTo>
                <a:lnTo>
                  <a:pt x="1681" y="1016"/>
                </a:lnTo>
                <a:lnTo>
                  <a:pt x="1677" y="1011"/>
                </a:lnTo>
                <a:lnTo>
                  <a:pt x="1669" y="1000"/>
                </a:lnTo>
                <a:lnTo>
                  <a:pt x="1661" y="985"/>
                </a:lnTo>
                <a:lnTo>
                  <a:pt x="1655" y="970"/>
                </a:lnTo>
                <a:lnTo>
                  <a:pt x="1655" y="955"/>
                </a:lnTo>
                <a:lnTo>
                  <a:pt x="1658" y="942"/>
                </a:lnTo>
                <a:lnTo>
                  <a:pt x="1657" y="933"/>
                </a:lnTo>
                <a:lnTo>
                  <a:pt x="1653" y="929"/>
                </a:lnTo>
                <a:lnTo>
                  <a:pt x="1650" y="934"/>
                </a:lnTo>
                <a:lnTo>
                  <a:pt x="1644" y="939"/>
                </a:lnTo>
                <a:lnTo>
                  <a:pt x="1636" y="939"/>
                </a:lnTo>
                <a:lnTo>
                  <a:pt x="1625" y="934"/>
                </a:lnTo>
                <a:lnTo>
                  <a:pt x="1619" y="927"/>
                </a:lnTo>
                <a:lnTo>
                  <a:pt x="1613" y="923"/>
                </a:lnTo>
                <a:lnTo>
                  <a:pt x="1605" y="920"/>
                </a:lnTo>
                <a:lnTo>
                  <a:pt x="1598" y="924"/>
                </a:lnTo>
                <a:lnTo>
                  <a:pt x="1594" y="931"/>
                </a:lnTo>
                <a:lnTo>
                  <a:pt x="1592" y="940"/>
                </a:lnTo>
                <a:lnTo>
                  <a:pt x="1591" y="949"/>
                </a:lnTo>
                <a:lnTo>
                  <a:pt x="1592" y="959"/>
                </a:lnTo>
                <a:lnTo>
                  <a:pt x="1597" y="971"/>
                </a:lnTo>
                <a:lnTo>
                  <a:pt x="1602" y="986"/>
                </a:lnTo>
                <a:lnTo>
                  <a:pt x="1607" y="1004"/>
                </a:lnTo>
                <a:lnTo>
                  <a:pt x="1608" y="1022"/>
                </a:lnTo>
                <a:lnTo>
                  <a:pt x="1607" y="1035"/>
                </a:lnTo>
                <a:lnTo>
                  <a:pt x="1605" y="1041"/>
                </a:lnTo>
                <a:lnTo>
                  <a:pt x="1601" y="1049"/>
                </a:lnTo>
                <a:lnTo>
                  <a:pt x="1597" y="1058"/>
                </a:lnTo>
                <a:lnTo>
                  <a:pt x="1592" y="1069"/>
                </a:lnTo>
                <a:lnTo>
                  <a:pt x="1586" y="1079"/>
                </a:lnTo>
                <a:lnTo>
                  <a:pt x="1582" y="1088"/>
                </a:lnTo>
                <a:lnTo>
                  <a:pt x="1576" y="1096"/>
                </a:lnTo>
                <a:lnTo>
                  <a:pt x="1572" y="1103"/>
                </a:lnTo>
                <a:lnTo>
                  <a:pt x="1569" y="1109"/>
                </a:lnTo>
                <a:lnTo>
                  <a:pt x="1564" y="1115"/>
                </a:lnTo>
                <a:lnTo>
                  <a:pt x="1561" y="1121"/>
                </a:lnTo>
                <a:lnTo>
                  <a:pt x="1556" y="1126"/>
                </a:lnTo>
                <a:lnTo>
                  <a:pt x="1552" y="1132"/>
                </a:lnTo>
                <a:lnTo>
                  <a:pt x="1546" y="1138"/>
                </a:lnTo>
                <a:lnTo>
                  <a:pt x="1541" y="1142"/>
                </a:lnTo>
                <a:lnTo>
                  <a:pt x="1536" y="1147"/>
                </a:lnTo>
                <a:lnTo>
                  <a:pt x="1524" y="1154"/>
                </a:lnTo>
                <a:lnTo>
                  <a:pt x="1516" y="1160"/>
                </a:lnTo>
                <a:lnTo>
                  <a:pt x="1510" y="1168"/>
                </a:lnTo>
                <a:lnTo>
                  <a:pt x="1508" y="1177"/>
                </a:lnTo>
                <a:lnTo>
                  <a:pt x="1507" y="1191"/>
                </a:lnTo>
                <a:lnTo>
                  <a:pt x="1502" y="1207"/>
                </a:lnTo>
                <a:lnTo>
                  <a:pt x="1495" y="1220"/>
                </a:lnTo>
                <a:lnTo>
                  <a:pt x="1486" y="1227"/>
                </a:lnTo>
                <a:lnTo>
                  <a:pt x="1479" y="1231"/>
                </a:lnTo>
                <a:lnTo>
                  <a:pt x="1478" y="1239"/>
                </a:lnTo>
                <a:lnTo>
                  <a:pt x="1479" y="1245"/>
                </a:lnTo>
                <a:lnTo>
                  <a:pt x="1480" y="1248"/>
                </a:lnTo>
                <a:lnTo>
                  <a:pt x="1478" y="1252"/>
                </a:lnTo>
                <a:lnTo>
                  <a:pt x="1473" y="1260"/>
                </a:lnTo>
                <a:lnTo>
                  <a:pt x="1472" y="1271"/>
                </a:lnTo>
                <a:lnTo>
                  <a:pt x="1477" y="1285"/>
                </a:lnTo>
                <a:lnTo>
                  <a:pt x="1484" y="1296"/>
                </a:lnTo>
                <a:lnTo>
                  <a:pt x="1488" y="1303"/>
                </a:lnTo>
                <a:lnTo>
                  <a:pt x="1492" y="1306"/>
                </a:lnTo>
                <a:lnTo>
                  <a:pt x="1499" y="1311"/>
                </a:lnTo>
                <a:lnTo>
                  <a:pt x="1504" y="1315"/>
                </a:lnTo>
                <a:lnTo>
                  <a:pt x="1506" y="1320"/>
                </a:lnTo>
                <a:lnTo>
                  <a:pt x="1503" y="1326"/>
                </a:lnTo>
                <a:lnTo>
                  <a:pt x="1499" y="1331"/>
                </a:lnTo>
                <a:lnTo>
                  <a:pt x="1493" y="1341"/>
                </a:lnTo>
                <a:lnTo>
                  <a:pt x="1487" y="1351"/>
                </a:lnTo>
                <a:lnTo>
                  <a:pt x="1481" y="1362"/>
                </a:lnTo>
                <a:lnTo>
                  <a:pt x="1477" y="1372"/>
                </a:lnTo>
                <a:lnTo>
                  <a:pt x="1472" y="1377"/>
                </a:lnTo>
                <a:lnTo>
                  <a:pt x="1468" y="1380"/>
                </a:lnTo>
                <a:lnTo>
                  <a:pt x="1462" y="1380"/>
                </a:lnTo>
                <a:lnTo>
                  <a:pt x="1451" y="1379"/>
                </a:lnTo>
                <a:lnTo>
                  <a:pt x="1446" y="1377"/>
                </a:lnTo>
                <a:lnTo>
                  <a:pt x="1439" y="1375"/>
                </a:lnTo>
                <a:lnTo>
                  <a:pt x="1432" y="1374"/>
                </a:lnTo>
                <a:lnTo>
                  <a:pt x="1425" y="1373"/>
                </a:lnTo>
                <a:lnTo>
                  <a:pt x="1418" y="1372"/>
                </a:lnTo>
                <a:lnTo>
                  <a:pt x="1413" y="1371"/>
                </a:lnTo>
                <a:lnTo>
                  <a:pt x="1410" y="1369"/>
                </a:lnTo>
                <a:lnTo>
                  <a:pt x="1409" y="1369"/>
                </a:lnTo>
                <a:lnTo>
                  <a:pt x="1409" y="1367"/>
                </a:lnTo>
                <a:lnTo>
                  <a:pt x="1409" y="1361"/>
                </a:lnTo>
                <a:lnTo>
                  <a:pt x="1409" y="1352"/>
                </a:lnTo>
                <a:lnTo>
                  <a:pt x="1409" y="1341"/>
                </a:lnTo>
                <a:lnTo>
                  <a:pt x="1408" y="1328"/>
                </a:lnTo>
                <a:lnTo>
                  <a:pt x="1403" y="1314"/>
                </a:lnTo>
                <a:lnTo>
                  <a:pt x="1397" y="1301"/>
                </a:lnTo>
                <a:lnTo>
                  <a:pt x="1390" y="1292"/>
                </a:lnTo>
                <a:lnTo>
                  <a:pt x="1386" y="1288"/>
                </a:lnTo>
                <a:lnTo>
                  <a:pt x="1380" y="1283"/>
                </a:lnTo>
                <a:lnTo>
                  <a:pt x="1373" y="1278"/>
                </a:lnTo>
                <a:lnTo>
                  <a:pt x="1367" y="1273"/>
                </a:lnTo>
                <a:lnTo>
                  <a:pt x="1360" y="1268"/>
                </a:lnTo>
                <a:lnTo>
                  <a:pt x="1355" y="1265"/>
                </a:lnTo>
                <a:lnTo>
                  <a:pt x="1351" y="1262"/>
                </a:lnTo>
                <a:lnTo>
                  <a:pt x="1350" y="1261"/>
                </a:lnTo>
                <a:lnTo>
                  <a:pt x="1349" y="1259"/>
                </a:lnTo>
                <a:lnTo>
                  <a:pt x="1349" y="1252"/>
                </a:lnTo>
                <a:lnTo>
                  <a:pt x="1350" y="1243"/>
                </a:lnTo>
                <a:lnTo>
                  <a:pt x="1356" y="1233"/>
                </a:lnTo>
                <a:lnTo>
                  <a:pt x="1365" y="1223"/>
                </a:lnTo>
                <a:lnTo>
                  <a:pt x="1371" y="1213"/>
                </a:lnTo>
                <a:lnTo>
                  <a:pt x="1372" y="1206"/>
                </a:lnTo>
                <a:lnTo>
                  <a:pt x="1365" y="1202"/>
                </a:lnTo>
                <a:lnTo>
                  <a:pt x="1359" y="1202"/>
                </a:lnTo>
                <a:lnTo>
                  <a:pt x="1354" y="1201"/>
                </a:lnTo>
                <a:lnTo>
                  <a:pt x="1348" y="1199"/>
                </a:lnTo>
                <a:lnTo>
                  <a:pt x="1343" y="1198"/>
                </a:lnTo>
                <a:lnTo>
                  <a:pt x="1337" y="1197"/>
                </a:lnTo>
                <a:lnTo>
                  <a:pt x="1333" y="1194"/>
                </a:lnTo>
                <a:lnTo>
                  <a:pt x="1327" y="1193"/>
                </a:lnTo>
                <a:lnTo>
                  <a:pt x="1322" y="1193"/>
                </a:lnTo>
                <a:lnTo>
                  <a:pt x="1317" y="1192"/>
                </a:lnTo>
                <a:lnTo>
                  <a:pt x="1311" y="1191"/>
                </a:lnTo>
                <a:lnTo>
                  <a:pt x="1304" y="1187"/>
                </a:lnTo>
                <a:lnTo>
                  <a:pt x="1296" y="1184"/>
                </a:lnTo>
                <a:lnTo>
                  <a:pt x="1288" y="1180"/>
                </a:lnTo>
                <a:lnTo>
                  <a:pt x="1281" y="1177"/>
                </a:lnTo>
                <a:lnTo>
                  <a:pt x="1275" y="1174"/>
                </a:lnTo>
                <a:lnTo>
                  <a:pt x="1269" y="1171"/>
                </a:lnTo>
                <a:lnTo>
                  <a:pt x="1265" y="1168"/>
                </a:lnTo>
                <a:lnTo>
                  <a:pt x="1259" y="1161"/>
                </a:lnTo>
                <a:lnTo>
                  <a:pt x="1253" y="1153"/>
                </a:lnTo>
                <a:lnTo>
                  <a:pt x="1248" y="1144"/>
                </a:lnTo>
                <a:lnTo>
                  <a:pt x="1242" y="1133"/>
                </a:lnTo>
                <a:lnTo>
                  <a:pt x="1235" y="1125"/>
                </a:lnTo>
                <a:lnTo>
                  <a:pt x="1229" y="1117"/>
                </a:lnTo>
                <a:lnTo>
                  <a:pt x="1223" y="1113"/>
                </a:lnTo>
                <a:lnTo>
                  <a:pt x="1218" y="1109"/>
                </a:lnTo>
                <a:lnTo>
                  <a:pt x="1211" y="1107"/>
                </a:lnTo>
                <a:lnTo>
                  <a:pt x="1205" y="1103"/>
                </a:lnTo>
                <a:lnTo>
                  <a:pt x="1199" y="1100"/>
                </a:lnTo>
                <a:lnTo>
                  <a:pt x="1193" y="1096"/>
                </a:lnTo>
                <a:lnTo>
                  <a:pt x="1189" y="1093"/>
                </a:lnTo>
                <a:lnTo>
                  <a:pt x="1185" y="1087"/>
                </a:lnTo>
                <a:lnTo>
                  <a:pt x="1183" y="1081"/>
                </a:lnTo>
                <a:lnTo>
                  <a:pt x="1181" y="1068"/>
                </a:lnTo>
                <a:lnTo>
                  <a:pt x="1178" y="1054"/>
                </a:lnTo>
                <a:lnTo>
                  <a:pt x="1178" y="1040"/>
                </a:lnTo>
                <a:lnTo>
                  <a:pt x="1181" y="1026"/>
                </a:lnTo>
                <a:lnTo>
                  <a:pt x="1185" y="1012"/>
                </a:lnTo>
                <a:lnTo>
                  <a:pt x="1189" y="1000"/>
                </a:lnTo>
                <a:lnTo>
                  <a:pt x="1191" y="987"/>
                </a:lnTo>
                <a:lnTo>
                  <a:pt x="1192" y="973"/>
                </a:lnTo>
                <a:lnTo>
                  <a:pt x="1190" y="962"/>
                </a:lnTo>
                <a:lnTo>
                  <a:pt x="1185" y="955"/>
                </a:lnTo>
                <a:lnTo>
                  <a:pt x="1178" y="951"/>
                </a:lnTo>
                <a:lnTo>
                  <a:pt x="1171" y="952"/>
                </a:lnTo>
                <a:lnTo>
                  <a:pt x="1162" y="956"/>
                </a:lnTo>
                <a:lnTo>
                  <a:pt x="1152" y="961"/>
                </a:lnTo>
                <a:lnTo>
                  <a:pt x="1145" y="967"/>
                </a:lnTo>
                <a:lnTo>
                  <a:pt x="1143" y="977"/>
                </a:lnTo>
                <a:lnTo>
                  <a:pt x="1144" y="986"/>
                </a:lnTo>
                <a:lnTo>
                  <a:pt x="1143" y="995"/>
                </a:lnTo>
                <a:lnTo>
                  <a:pt x="1137" y="1002"/>
                </a:lnTo>
                <a:lnTo>
                  <a:pt x="1128" y="1008"/>
                </a:lnTo>
                <a:lnTo>
                  <a:pt x="1122" y="1010"/>
                </a:lnTo>
                <a:lnTo>
                  <a:pt x="1116" y="1013"/>
                </a:lnTo>
                <a:lnTo>
                  <a:pt x="1110" y="1018"/>
                </a:lnTo>
                <a:lnTo>
                  <a:pt x="1105" y="1023"/>
                </a:lnTo>
                <a:lnTo>
                  <a:pt x="1100" y="1027"/>
                </a:lnTo>
                <a:lnTo>
                  <a:pt x="1095" y="1032"/>
                </a:lnTo>
                <a:lnTo>
                  <a:pt x="1093" y="1037"/>
                </a:lnTo>
                <a:lnTo>
                  <a:pt x="1091" y="1041"/>
                </a:lnTo>
                <a:lnTo>
                  <a:pt x="1086" y="1049"/>
                </a:lnTo>
                <a:lnTo>
                  <a:pt x="1079" y="1055"/>
                </a:lnTo>
                <a:lnTo>
                  <a:pt x="1069" y="1058"/>
                </a:lnTo>
                <a:lnTo>
                  <a:pt x="1060" y="1060"/>
                </a:lnTo>
                <a:lnTo>
                  <a:pt x="1052" y="1061"/>
                </a:lnTo>
                <a:lnTo>
                  <a:pt x="1045" y="1065"/>
                </a:lnTo>
                <a:lnTo>
                  <a:pt x="1044" y="1072"/>
                </a:lnTo>
                <a:lnTo>
                  <a:pt x="1047" y="1081"/>
                </a:lnTo>
                <a:lnTo>
                  <a:pt x="1052" y="1088"/>
                </a:lnTo>
                <a:lnTo>
                  <a:pt x="1056" y="1095"/>
                </a:lnTo>
                <a:lnTo>
                  <a:pt x="1062" y="1102"/>
                </a:lnTo>
                <a:lnTo>
                  <a:pt x="1067" y="1109"/>
                </a:lnTo>
                <a:lnTo>
                  <a:pt x="1071" y="1116"/>
                </a:lnTo>
                <a:lnTo>
                  <a:pt x="1074" y="1123"/>
                </a:lnTo>
                <a:lnTo>
                  <a:pt x="1075" y="1129"/>
                </a:lnTo>
                <a:lnTo>
                  <a:pt x="1072" y="1134"/>
                </a:lnTo>
                <a:lnTo>
                  <a:pt x="1065" y="1144"/>
                </a:lnTo>
                <a:lnTo>
                  <a:pt x="1057" y="1153"/>
                </a:lnTo>
                <a:lnTo>
                  <a:pt x="1052" y="1162"/>
                </a:lnTo>
                <a:lnTo>
                  <a:pt x="1047" y="1171"/>
                </a:lnTo>
                <a:lnTo>
                  <a:pt x="1045" y="1180"/>
                </a:lnTo>
                <a:lnTo>
                  <a:pt x="1040" y="1186"/>
                </a:lnTo>
                <a:lnTo>
                  <a:pt x="1034" y="1190"/>
                </a:lnTo>
                <a:lnTo>
                  <a:pt x="1026" y="1190"/>
                </a:lnTo>
                <a:lnTo>
                  <a:pt x="1016" y="1190"/>
                </a:lnTo>
                <a:lnTo>
                  <a:pt x="1008" y="1193"/>
                </a:lnTo>
                <a:lnTo>
                  <a:pt x="1003" y="1202"/>
                </a:lnTo>
                <a:lnTo>
                  <a:pt x="1007" y="1215"/>
                </a:lnTo>
                <a:lnTo>
                  <a:pt x="1003" y="1218"/>
                </a:lnTo>
                <a:lnTo>
                  <a:pt x="997" y="1229"/>
                </a:lnTo>
                <a:lnTo>
                  <a:pt x="991" y="1240"/>
                </a:lnTo>
                <a:lnTo>
                  <a:pt x="986" y="1252"/>
                </a:lnTo>
                <a:lnTo>
                  <a:pt x="981" y="1260"/>
                </a:lnTo>
                <a:lnTo>
                  <a:pt x="976" y="1265"/>
                </a:lnTo>
                <a:lnTo>
                  <a:pt x="968" y="1268"/>
                </a:lnTo>
                <a:lnTo>
                  <a:pt x="958" y="1267"/>
                </a:lnTo>
                <a:lnTo>
                  <a:pt x="949" y="1265"/>
                </a:lnTo>
                <a:lnTo>
                  <a:pt x="941" y="1265"/>
                </a:lnTo>
                <a:lnTo>
                  <a:pt x="936" y="1269"/>
                </a:lnTo>
                <a:lnTo>
                  <a:pt x="934" y="1280"/>
                </a:lnTo>
                <a:lnTo>
                  <a:pt x="932" y="1292"/>
                </a:lnTo>
                <a:lnTo>
                  <a:pt x="925" y="1303"/>
                </a:lnTo>
                <a:lnTo>
                  <a:pt x="915" y="1309"/>
                </a:lnTo>
                <a:lnTo>
                  <a:pt x="901" y="1313"/>
                </a:lnTo>
                <a:lnTo>
                  <a:pt x="894" y="1314"/>
                </a:lnTo>
                <a:lnTo>
                  <a:pt x="887" y="1314"/>
                </a:lnTo>
                <a:lnTo>
                  <a:pt x="882" y="1314"/>
                </a:lnTo>
                <a:lnTo>
                  <a:pt x="878" y="1313"/>
                </a:lnTo>
                <a:lnTo>
                  <a:pt x="874" y="1312"/>
                </a:lnTo>
                <a:lnTo>
                  <a:pt x="870" y="1312"/>
                </a:lnTo>
                <a:lnTo>
                  <a:pt x="865" y="1311"/>
                </a:lnTo>
                <a:lnTo>
                  <a:pt x="860" y="1311"/>
                </a:lnTo>
                <a:lnTo>
                  <a:pt x="850" y="1309"/>
                </a:lnTo>
                <a:lnTo>
                  <a:pt x="841" y="1307"/>
                </a:lnTo>
                <a:lnTo>
                  <a:pt x="834" y="1304"/>
                </a:lnTo>
                <a:lnTo>
                  <a:pt x="829" y="1298"/>
                </a:lnTo>
                <a:lnTo>
                  <a:pt x="825" y="1292"/>
                </a:lnTo>
                <a:lnTo>
                  <a:pt x="819" y="1288"/>
                </a:lnTo>
                <a:lnTo>
                  <a:pt x="812" y="1286"/>
                </a:lnTo>
                <a:lnTo>
                  <a:pt x="805" y="1285"/>
                </a:lnTo>
                <a:lnTo>
                  <a:pt x="800" y="1285"/>
                </a:lnTo>
                <a:lnTo>
                  <a:pt x="797" y="1283"/>
                </a:lnTo>
                <a:lnTo>
                  <a:pt x="792" y="1282"/>
                </a:lnTo>
                <a:lnTo>
                  <a:pt x="788" y="1280"/>
                </a:lnTo>
                <a:lnTo>
                  <a:pt x="783" y="1277"/>
                </a:lnTo>
                <a:lnTo>
                  <a:pt x="779" y="1276"/>
                </a:lnTo>
                <a:lnTo>
                  <a:pt x="774" y="1275"/>
                </a:lnTo>
                <a:lnTo>
                  <a:pt x="771" y="1276"/>
                </a:lnTo>
                <a:lnTo>
                  <a:pt x="761" y="1280"/>
                </a:lnTo>
                <a:lnTo>
                  <a:pt x="752" y="1284"/>
                </a:lnTo>
                <a:lnTo>
                  <a:pt x="743" y="1288"/>
                </a:lnTo>
                <a:lnTo>
                  <a:pt x="739" y="1289"/>
                </a:lnTo>
                <a:lnTo>
                  <a:pt x="738" y="1292"/>
                </a:lnTo>
                <a:lnTo>
                  <a:pt x="734" y="1299"/>
                </a:lnTo>
                <a:lnTo>
                  <a:pt x="727" y="1307"/>
                </a:lnTo>
                <a:lnTo>
                  <a:pt x="718" y="1313"/>
                </a:lnTo>
                <a:lnTo>
                  <a:pt x="713" y="1315"/>
                </a:lnTo>
                <a:lnTo>
                  <a:pt x="708" y="1319"/>
                </a:lnTo>
                <a:lnTo>
                  <a:pt x="703" y="1321"/>
                </a:lnTo>
                <a:lnTo>
                  <a:pt x="697" y="1324"/>
                </a:lnTo>
                <a:lnTo>
                  <a:pt x="691" y="1326"/>
                </a:lnTo>
                <a:lnTo>
                  <a:pt x="685" y="1327"/>
                </a:lnTo>
                <a:lnTo>
                  <a:pt x="678" y="1327"/>
                </a:lnTo>
                <a:lnTo>
                  <a:pt x="671" y="1326"/>
                </a:lnTo>
                <a:lnTo>
                  <a:pt x="665" y="1324"/>
                </a:lnTo>
                <a:lnTo>
                  <a:pt x="659" y="1323"/>
                </a:lnTo>
                <a:lnTo>
                  <a:pt x="652" y="1324"/>
                </a:lnTo>
                <a:lnTo>
                  <a:pt x="647" y="1326"/>
                </a:lnTo>
                <a:lnTo>
                  <a:pt x="641" y="1328"/>
                </a:lnTo>
                <a:lnTo>
                  <a:pt x="637" y="1330"/>
                </a:lnTo>
                <a:lnTo>
                  <a:pt x="632" y="1333"/>
                </a:lnTo>
                <a:lnTo>
                  <a:pt x="629" y="1335"/>
                </a:lnTo>
                <a:lnTo>
                  <a:pt x="622" y="1339"/>
                </a:lnTo>
                <a:lnTo>
                  <a:pt x="616" y="1344"/>
                </a:lnTo>
                <a:lnTo>
                  <a:pt x="609" y="1349"/>
                </a:lnTo>
                <a:lnTo>
                  <a:pt x="601" y="1353"/>
                </a:lnTo>
                <a:lnTo>
                  <a:pt x="597" y="1356"/>
                </a:lnTo>
                <a:lnTo>
                  <a:pt x="593" y="1356"/>
                </a:lnTo>
                <a:lnTo>
                  <a:pt x="590" y="1356"/>
                </a:lnTo>
                <a:lnTo>
                  <a:pt x="586" y="1354"/>
                </a:lnTo>
                <a:lnTo>
                  <a:pt x="583" y="1353"/>
                </a:lnTo>
                <a:lnTo>
                  <a:pt x="578" y="1353"/>
                </a:lnTo>
                <a:lnTo>
                  <a:pt x="572" y="1352"/>
                </a:lnTo>
                <a:lnTo>
                  <a:pt x="567" y="1353"/>
                </a:lnTo>
                <a:lnTo>
                  <a:pt x="560" y="1353"/>
                </a:lnTo>
                <a:lnTo>
                  <a:pt x="554" y="1352"/>
                </a:lnTo>
                <a:lnTo>
                  <a:pt x="547" y="1350"/>
                </a:lnTo>
                <a:lnTo>
                  <a:pt x="542" y="1345"/>
                </a:lnTo>
                <a:lnTo>
                  <a:pt x="537" y="1341"/>
                </a:lnTo>
                <a:lnTo>
                  <a:pt x="533" y="1336"/>
                </a:lnTo>
                <a:lnTo>
                  <a:pt x="530" y="1330"/>
                </a:lnTo>
                <a:lnTo>
                  <a:pt x="526" y="1326"/>
                </a:lnTo>
                <a:lnTo>
                  <a:pt x="522" y="1316"/>
                </a:lnTo>
                <a:lnTo>
                  <a:pt x="517" y="1308"/>
                </a:lnTo>
                <a:lnTo>
                  <a:pt x="512" y="1300"/>
                </a:lnTo>
                <a:lnTo>
                  <a:pt x="508" y="1292"/>
                </a:lnTo>
                <a:lnTo>
                  <a:pt x="506" y="1285"/>
                </a:lnTo>
                <a:lnTo>
                  <a:pt x="504" y="1281"/>
                </a:lnTo>
                <a:lnTo>
                  <a:pt x="502" y="1275"/>
                </a:lnTo>
                <a:lnTo>
                  <a:pt x="495" y="1263"/>
                </a:lnTo>
                <a:lnTo>
                  <a:pt x="488" y="1248"/>
                </a:lnTo>
                <a:lnTo>
                  <a:pt x="481" y="1235"/>
                </a:lnTo>
                <a:lnTo>
                  <a:pt x="474" y="1224"/>
                </a:lnTo>
                <a:lnTo>
                  <a:pt x="465" y="1221"/>
                </a:lnTo>
                <a:lnTo>
                  <a:pt x="458" y="1220"/>
                </a:lnTo>
                <a:lnTo>
                  <a:pt x="451" y="1218"/>
                </a:lnTo>
                <a:lnTo>
                  <a:pt x="444" y="1215"/>
                </a:lnTo>
                <a:lnTo>
                  <a:pt x="439" y="1210"/>
                </a:lnTo>
                <a:lnTo>
                  <a:pt x="433" y="1206"/>
                </a:lnTo>
                <a:lnTo>
                  <a:pt x="429" y="1201"/>
                </a:lnTo>
                <a:lnTo>
                  <a:pt x="428" y="1195"/>
                </a:lnTo>
                <a:lnTo>
                  <a:pt x="431" y="1190"/>
                </a:lnTo>
                <a:lnTo>
                  <a:pt x="436" y="1180"/>
                </a:lnTo>
                <a:lnTo>
                  <a:pt x="440" y="1174"/>
                </a:lnTo>
                <a:lnTo>
                  <a:pt x="438" y="1169"/>
                </a:lnTo>
                <a:lnTo>
                  <a:pt x="427" y="1168"/>
                </a:lnTo>
                <a:lnTo>
                  <a:pt x="420" y="1167"/>
                </a:lnTo>
                <a:lnTo>
                  <a:pt x="412" y="1163"/>
                </a:lnTo>
                <a:lnTo>
                  <a:pt x="405" y="1159"/>
                </a:lnTo>
                <a:lnTo>
                  <a:pt x="398" y="1153"/>
                </a:lnTo>
                <a:lnTo>
                  <a:pt x="393" y="1146"/>
                </a:lnTo>
                <a:lnTo>
                  <a:pt x="389" y="1139"/>
                </a:lnTo>
                <a:lnTo>
                  <a:pt x="388" y="1133"/>
                </a:lnTo>
                <a:lnTo>
                  <a:pt x="390" y="1128"/>
                </a:lnTo>
                <a:lnTo>
                  <a:pt x="396" y="1121"/>
                </a:lnTo>
                <a:lnTo>
                  <a:pt x="401" y="1116"/>
                </a:lnTo>
                <a:lnTo>
                  <a:pt x="402" y="1110"/>
                </a:lnTo>
                <a:lnTo>
                  <a:pt x="403" y="1100"/>
                </a:lnTo>
                <a:lnTo>
                  <a:pt x="403" y="1090"/>
                </a:lnTo>
                <a:lnTo>
                  <a:pt x="404" y="1083"/>
                </a:lnTo>
                <a:lnTo>
                  <a:pt x="405" y="1078"/>
                </a:lnTo>
                <a:lnTo>
                  <a:pt x="409" y="1072"/>
                </a:lnTo>
                <a:lnTo>
                  <a:pt x="413" y="1064"/>
                </a:lnTo>
                <a:lnTo>
                  <a:pt x="416" y="1056"/>
                </a:lnTo>
                <a:lnTo>
                  <a:pt x="414" y="1048"/>
                </a:lnTo>
                <a:lnTo>
                  <a:pt x="409" y="1039"/>
                </a:lnTo>
                <a:lnTo>
                  <a:pt x="402" y="1027"/>
                </a:lnTo>
                <a:lnTo>
                  <a:pt x="397" y="1015"/>
                </a:lnTo>
                <a:lnTo>
                  <a:pt x="396" y="1002"/>
                </a:lnTo>
                <a:lnTo>
                  <a:pt x="397" y="992"/>
                </a:lnTo>
                <a:lnTo>
                  <a:pt x="401" y="984"/>
                </a:lnTo>
                <a:lnTo>
                  <a:pt x="403" y="977"/>
                </a:lnTo>
                <a:lnTo>
                  <a:pt x="403" y="971"/>
                </a:lnTo>
                <a:lnTo>
                  <a:pt x="394" y="964"/>
                </a:lnTo>
                <a:lnTo>
                  <a:pt x="386" y="961"/>
                </a:lnTo>
                <a:lnTo>
                  <a:pt x="374" y="957"/>
                </a:lnTo>
                <a:lnTo>
                  <a:pt x="361" y="954"/>
                </a:lnTo>
                <a:lnTo>
                  <a:pt x="349" y="950"/>
                </a:lnTo>
                <a:lnTo>
                  <a:pt x="335" y="948"/>
                </a:lnTo>
                <a:lnTo>
                  <a:pt x="323" y="946"/>
                </a:lnTo>
                <a:lnTo>
                  <a:pt x="314" y="943"/>
                </a:lnTo>
                <a:lnTo>
                  <a:pt x="307" y="943"/>
                </a:lnTo>
                <a:lnTo>
                  <a:pt x="303" y="943"/>
                </a:lnTo>
                <a:lnTo>
                  <a:pt x="297" y="943"/>
                </a:lnTo>
                <a:lnTo>
                  <a:pt x="292" y="943"/>
                </a:lnTo>
                <a:lnTo>
                  <a:pt x="287" y="943"/>
                </a:lnTo>
                <a:lnTo>
                  <a:pt x="281" y="944"/>
                </a:lnTo>
                <a:lnTo>
                  <a:pt x="275" y="946"/>
                </a:lnTo>
                <a:lnTo>
                  <a:pt x="269" y="948"/>
                </a:lnTo>
                <a:lnTo>
                  <a:pt x="264" y="952"/>
                </a:lnTo>
                <a:lnTo>
                  <a:pt x="258" y="957"/>
                </a:lnTo>
                <a:lnTo>
                  <a:pt x="250" y="961"/>
                </a:lnTo>
                <a:lnTo>
                  <a:pt x="243" y="964"/>
                </a:lnTo>
                <a:lnTo>
                  <a:pt x="235" y="966"/>
                </a:lnTo>
                <a:lnTo>
                  <a:pt x="226" y="969"/>
                </a:lnTo>
                <a:lnTo>
                  <a:pt x="217" y="971"/>
                </a:lnTo>
                <a:lnTo>
                  <a:pt x="209" y="972"/>
                </a:lnTo>
                <a:lnTo>
                  <a:pt x="202" y="973"/>
                </a:lnTo>
                <a:lnTo>
                  <a:pt x="196" y="975"/>
                </a:lnTo>
                <a:lnTo>
                  <a:pt x="189" y="979"/>
                </a:lnTo>
                <a:lnTo>
                  <a:pt x="183" y="984"/>
                </a:lnTo>
                <a:lnTo>
                  <a:pt x="177" y="988"/>
                </a:lnTo>
                <a:lnTo>
                  <a:pt x="171" y="993"/>
                </a:lnTo>
                <a:lnTo>
                  <a:pt x="167" y="997"/>
                </a:lnTo>
                <a:lnTo>
                  <a:pt x="162" y="1002"/>
                </a:lnTo>
                <a:lnTo>
                  <a:pt x="159" y="1004"/>
                </a:lnTo>
                <a:lnTo>
                  <a:pt x="152" y="1011"/>
                </a:lnTo>
                <a:lnTo>
                  <a:pt x="146" y="1023"/>
                </a:lnTo>
                <a:lnTo>
                  <a:pt x="144" y="1034"/>
                </a:lnTo>
                <a:lnTo>
                  <a:pt x="149" y="1045"/>
                </a:lnTo>
                <a:lnTo>
                  <a:pt x="154" y="1048"/>
                </a:lnTo>
                <a:lnTo>
                  <a:pt x="160" y="1050"/>
                </a:lnTo>
                <a:lnTo>
                  <a:pt x="166" y="1052"/>
                </a:lnTo>
                <a:lnTo>
                  <a:pt x="170" y="1053"/>
                </a:lnTo>
                <a:lnTo>
                  <a:pt x="175" y="1053"/>
                </a:lnTo>
                <a:lnTo>
                  <a:pt x="179" y="1053"/>
                </a:lnTo>
                <a:lnTo>
                  <a:pt x="182" y="1055"/>
                </a:lnTo>
                <a:lnTo>
                  <a:pt x="184" y="1057"/>
                </a:lnTo>
                <a:lnTo>
                  <a:pt x="185" y="1066"/>
                </a:lnTo>
                <a:lnTo>
                  <a:pt x="182" y="1078"/>
                </a:lnTo>
                <a:lnTo>
                  <a:pt x="175" y="1090"/>
                </a:lnTo>
                <a:lnTo>
                  <a:pt x="162" y="1100"/>
                </a:lnTo>
                <a:lnTo>
                  <a:pt x="154" y="1104"/>
                </a:lnTo>
                <a:lnTo>
                  <a:pt x="147" y="1108"/>
                </a:lnTo>
                <a:lnTo>
                  <a:pt x="140" y="1110"/>
                </a:lnTo>
                <a:lnTo>
                  <a:pt x="134" y="1113"/>
                </a:lnTo>
                <a:lnTo>
                  <a:pt x="130" y="1116"/>
                </a:lnTo>
                <a:lnTo>
                  <a:pt x="125" y="1118"/>
                </a:lnTo>
                <a:lnTo>
                  <a:pt x="122" y="1123"/>
                </a:lnTo>
                <a:lnTo>
                  <a:pt x="118" y="1128"/>
                </a:lnTo>
                <a:lnTo>
                  <a:pt x="111" y="1138"/>
                </a:lnTo>
                <a:lnTo>
                  <a:pt x="101" y="1146"/>
                </a:lnTo>
                <a:lnTo>
                  <a:pt x="92" y="1152"/>
                </a:lnTo>
                <a:lnTo>
                  <a:pt x="88" y="1153"/>
                </a:lnTo>
                <a:lnTo>
                  <a:pt x="87" y="1153"/>
                </a:lnTo>
                <a:lnTo>
                  <a:pt x="85" y="1151"/>
                </a:lnTo>
                <a:lnTo>
                  <a:pt x="80" y="1149"/>
                </a:lnTo>
                <a:lnTo>
                  <a:pt x="76" y="1147"/>
                </a:lnTo>
                <a:lnTo>
                  <a:pt x="70" y="1146"/>
                </a:lnTo>
                <a:lnTo>
                  <a:pt x="63" y="1145"/>
                </a:lnTo>
                <a:lnTo>
                  <a:pt x="56" y="1145"/>
                </a:lnTo>
                <a:lnTo>
                  <a:pt x="50" y="1147"/>
                </a:lnTo>
                <a:lnTo>
                  <a:pt x="45" y="1148"/>
                </a:lnTo>
                <a:lnTo>
                  <a:pt x="38" y="1149"/>
                </a:lnTo>
                <a:lnTo>
                  <a:pt x="30" y="1149"/>
                </a:lnTo>
                <a:lnTo>
                  <a:pt x="23" y="1148"/>
                </a:lnTo>
                <a:lnTo>
                  <a:pt x="16" y="1147"/>
                </a:lnTo>
                <a:lnTo>
                  <a:pt x="10" y="1145"/>
                </a:lnTo>
                <a:lnTo>
                  <a:pt x="5" y="1141"/>
                </a:lnTo>
                <a:lnTo>
                  <a:pt x="2" y="1137"/>
                </a:lnTo>
                <a:lnTo>
                  <a:pt x="0" y="1129"/>
                </a:lnTo>
                <a:lnTo>
                  <a:pt x="1" y="1121"/>
                </a:lnTo>
                <a:lnTo>
                  <a:pt x="2" y="1113"/>
                </a:lnTo>
                <a:lnTo>
                  <a:pt x="2" y="1103"/>
                </a:lnTo>
                <a:lnTo>
                  <a:pt x="3" y="1092"/>
                </a:lnTo>
                <a:lnTo>
                  <a:pt x="10" y="1080"/>
                </a:lnTo>
                <a:lnTo>
                  <a:pt x="20" y="1070"/>
                </a:lnTo>
                <a:lnTo>
                  <a:pt x="32" y="1066"/>
                </a:lnTo>
                <a:lnTo>
                  <a:pt x="38" y="1066"/>
                </a:lnTo>
                <a:lnTo>
                  <a:pt x="45" y="1066"/>
                </a:lnTo>
                <a:lnTo>
                  <a:pt x="50" y="1066"/>
                </a:lnTo>
                <a:lnTo>
                  <a:pt x="55" y="1066"/>
                </a:lnTo>
                <a:lnTo>
                  <a:pt x="60" y="1065"/>
                </a:lnTo>
                <a:lnTo>
                  <a:pt x="63" y="1064"/>
                </a:lnTo>
                <a:lnTo>
                  <a:pt x="65" y="1062"/>
                </a:lnTo>
                <a:lnTo>
                  <a:pt x="67" y="1057"/>
                </a:lnTo>
                <a:lnTo>
                  <a:pt x="67" y="1049"/>
                </a:lnTo>
                <a:lnTo>
                  <a:pt x="68" y="1042"/>
                </a:lnTo>
                <a:lnTo>
                  <a:pt x="70" y="1037"/>
                </a:lnTo>
                <a:lnTo>
                  <a:pt x="72" y="1030"/>
                </a:lnTo>
                <a:lnTo>
                  <a:pt x="77" y="1019"/>
                </a:lnTo>
                <a:lnTo>
                  <a:pt x="84" y="1005"/>
                </a:lnTo>
                <a:lnTo>
                  <a:pt x="86" y="993"/>
                </a:lnTo>
                <a:lnTo>
                  <a:pt x="79" y="982"/>
                </a:lnTo>
                <a:lnTo>
                  <a:pt x="69" y="972"/>
                </a:lnTo>
                <a:lnTo>
                  <a:pt x="64" y="958"/>
                </a:lnTo>
                <a:lnTo>
                  <a:pt x="63" y="941"/>
                </a:lnTo>
                <a:lnTo>
                  <a:pt x="63" y="925"/>
                </a:lnTo>
                <a:lnTo>
                  <a:pt x="64" y="911"/>
                </a:lnTo>
                <a:lnTo>
                  <a:pt x="69" y="899"/>
                </a:lnTo>
                <a:lnTo>
                  <a:pt x="75" y="891"/>
                </a:lnTo>
                <a:lnTo>
                  <a:pt x="81" y="885"/>
                </a:lnTo>
                <a:lnTo>
                  <a:pt x="87" y="879"/>
                </a:lnTo>
                <a:lnTo>
                  <a:pt x="91" y="873"/>
                </a:lnTo>
                <a:lnTo>
                  <a:pt x="90" y="868"/>
                </a:lnTo>
                <a:lnTo>
                  <a:pt x="85" y="863"/>
                </a:lnTo>
                <a:lnTo>
                  <a:pt x="80" y="855"/>
                </a:lnTo>
                <a:lnTo>
                  <a:pt x="79" y="844"/>
                </a:lnTo>
                <a:lnTo>
                  <a:pt x="83" y="834"/>
                </a:lnTo>
                <a:lnTo>
                  <a:pt x="91" y="826"/>
                </a:lnTo>
                <a:lnTo>
                  <a:pt x="99" y="820"/>
                </a:lnTo>
                <a:lnTo>
                  <a:pt x="111" y="810"/>
                </a:lnTo>
                <a:lnTo>
                  <a:pt x="128" y="797"/>
                </a:lnTo>
                <a:lnTo>
                  <a:pt x="145" y="782"/>
                </a:lnTo>
                <a:lnTo>
                  <a:pt x="162" y="767"/>
                </a:lnTo>
                <a:lnTo>
                  <a:pt x="178" y="754"/>
                </a:lnTo>
                <a:lnTo>
                  <a:pt x="192" y="743"/>
                </a:lnTo>
                <a:lnTo>
                  <a:pt x="202" y="736"/>
                </a:lnTo>
                <a:lnTo>
                  <a:pt x="211" y="731"/>
                </a:lnTo>
                <a:lnTo>
                  <a:pt x="217" y="728"/>
                </a:lnTo>
                <a:lnTo>
                  <a:pt x="223" y="724"/>
                </a:lnTo>
                <a:lnTo>
                  <a:pt x="229" y="722"/>
                </a:lnTo>
                <a:lnTo>
                  <a:pt x="232" y="720"/>
                </a:lnTo>
                <a:lnTo>
                  <a:pt x="235" y="716"/>
                </a:lnTo>
                <a:lnTo>
                  <a:pt x="236" y="713"/>
                </a:lnTo>
                <a:lnTo>
                  <a:pt x="236" y="708"/>
                </a:lnTo>
                <a:lnTo>
                  <a:pt x="235" y="699"/>
                </a:lnTo>
                <a:lnTo>
                  <a:pt x="236" y="690"/>
                </a:lnTo>
                <a:lnTo>
                  <a:pt x="238" y="681"/>
                </a:lnTo>
                <a:lnTo>
                  <a:pt x="243" y="669"/>
                </a:lnTo>
                <a:lnTo>
                  <a:pt x="246" y="656"/>
                </a:lnTo>
                <a:lnTo>
                  <a:pt x="249" y="646"/>
                </a:lnTo>
                <a:lnTo>
                  <a:pt x="247" y="638"/>
                </a:lnTo>
                <a:lnTo>
                  <a:pt x="243" y="632"/>
                </a:lnTo>
                <a:lnTo>
                  <a:pt x="238" y="623"/>
                </a:lnTo>
                <a:lnTo>
                  <a:pt x="239" y="610"/>
                </a:lnTo>
                <a:lnTo>
                  <a:pt x="243" y="597"/>
                </a:lnTo>
                <a:lnTo>
                  <a:pt x="249" y="586"/>
                </a:lnTo>
                <a:lnTo>
                  <a:pt x="252" y="583"/>
                </a:lnTo>
                <a:lnTo>
                  <a:pt x="257" y="579"/>
                </a:lnTo>
                <a:lnTo>
                  <a:pt x="261" y="576"/>
                </a:lnTo>
                <a:lnTo>
                  <a:pt x="266" y="574"/>
                </a:lnTo>
                <a:lnTo>
                  <a:pt x="272" y="571"/>
                </a:lnTo>
                <a:lnTo>
                  <a:pt x="277" y="569"/>
                </a:lnTo>
                <a:lnTo>
                  <a:pt x="283" y="568"/>
                </a:lnTo>
                <a:lnTo>
                  <a:pt x="289" y="568"/>
                </a:lnTo>
                <a:lnTo>
                  <a:pt x="295" y="568"/>
                </a:lnTo>
                <a:lnTo>
                  <a:pt x="302" y="565"/>
                </a:lnTo>
                <a:lnTo>
                  <a:pt x="310" y="564"/>
                </a:lnTo>
                <a:lnTo>
                  <a:pt x="317" y="561"/>
                </a:lnTo>
                <a:lnTo>
                  <a:pt x="325" y="556"/>
                </a:lnTo>
                <a:lnTo>
                  <a:pt x="330" y="552"/>
                </a:lnTo>
                <a:lnTo>
                  <a:pt x="336" y="546"/>
                </a:lnTo>
                <a:lnTo>
                  <a:pt x="341" y="539"/>
                </a:lnTo>
                <a:lnTo>
                  <a:pt x="345" y="532"/>
                </a:lnTo>
                <a:lnTo>
                  <a:pt x="351" y="524"/>
                </a:lnTo>
                <a:lnTo>
                  <a:pt x="358" y="515"/>
                </a:lnTo>
                <a:lnTo>
                  <a:pt x="366" y="507"/>
                </a:lnTo>
                <a:lnTo>
                  <a:pt x="373" y="499"/>
                </a:lnTo>
                <a:lnTo>
                  <a:pt x="380" y="492"/>
                </a:lnTo>
                <a:lnTo>
                  <a:pt x="386" y="485"/>
                </a:lnTo>
                <a:lnTo>
                  <a:pt x="390" y="480"/>
                </a:lnTo>
                <a:lnTo>
                  <a:pt x="395" y="477"/>
                </a:lnTo>
                <a:lnTo>
                  <a:pt x="399" y="473"/>
                </a:lnTo>
                <a:lnTo>
                  <a:pt x="406" y="471"/>
                </a:lnTo>
                <a:lnTo>
                  <a:pt x="413" y="468"/>
                </a:lnTo>
                <a:lnTo>
                  <a:pt x="419" y="464"/>
                </a:lnTo>
                <a:lnTo>
                  <a:pt x="426" y="461"/>
                </a:lnTo>
                <a:lnTo>
                  <a:pt x="431" y="457"/>
                </a:lnTo>
                <a:lnTo>
                  <a:pt x="434" y="453"/>
                </a:lnTo>
                <a:lnTo>
                  <a:pt x="438" y="447"/>
                </a:lnTo>
                <a:lnTo>
                  <a:pt x="442" y="440"/>
                </a:lnTo>
                <a:lnTo>
                  <a:pt x="448" y="432"/>
                </a:lnTo>
                <a:lnTo>
                  <a:pt x="454" y="424"/>
                </a:lnTo>
                <a:lnTo>
                  <a:pt x="461" y="415"/>
                </a:lnTo>
                <a:lnTo>
                  <a:pt x="467" y="407"/>
                </a:lnTo>
                <a:lnTo>
                  <a:pt x="472" y="400"/>
                </a:lnTo>
                <a:lnTo>
                  <a:pt x="477" y="394"/>
                </a:lnTo>
                <a:lnTo>
                  <a:pt x="481" y="382"/>
                </a:lnTo>
                <a:lnTo>
                  <a:pt x="482" y="370"/>
                </a:lnTo>
                <a:lnTo>
                  <a:pt x="485" y="359"/>
                </a:lnTo>
                <a:lnTo>
                  <a:pt x="493" y="355"/>
                </a:lnTo>
                <a:lnTo>
                  <a:pt x="499" y="354"/>
                </a:lnTo>
                <a:lnTo>
                  <a:pt x="506" y="352"/>
                </a:lnTo>
                <a:lnTo>
                  <a:pt x="512" y="349"/>
                </a:lnTo>
                <a:lnTo>
                  <a:pt x="518" y="346"/>
                </a:lnTo>
                <a:lnTo>
                  <a:pt x="524" y="341"/>
                </a:lnTo>
                <a:lnTo>
                  <a:pt x="529" y="337"/>
                </a:lnTo>
                <a:lnTo>
                  <a:pt x="532" y="333"/>
                </a:lnTo>
                <a:lnTo>
                  <a:pt x="533" y="329"/>
                </a:lnTo>
                <a:lnTo>
                  <a:pt x="530" y="324"/>
                </a:lnTo>
                <a:lnTo>
                  <a:pt x="522" y="320"/>
                </a:lnTo>
                <a:lnTo>
                  <a:pt x="511" y="320"/>
                </a:lnTo>
                <a:lnTo>
                  <a:pt x="502" y="324"/>
                </a:lnTo>
                <a:lnTo>
                  <a:pt x="496" y="325"/>
                </a:lnTo>
                <a:lnTo>
                  <a:pt x="492" y="324"/>
                </a:lnTo>
                <a:lnTo>
                  <a:pt x="486" y="321"/>
                </a:lnTo>
                <a:lnTo>
                  <a:pt x="477" y="324"/>
                </a:lnTo>
                <a:lnTo>
                  <a:pt x="471" y="325"/>
                </a:lnTo>
                <a:lnTo>
                  <a:pt x="464" y="326"/>
                </a:lnTo>
                <a:lnTo>
                  <a:pt x="458" y="326"/>
                </a:lnTo>
                <a:lnTo>
                  <a:pt x="453" y="325"/>
                </a:lnTo>
                <a:lnTo>
                  <a:pt x="448" y="321"/>
                </a:lnTo>
                <a:lnTo>
                  <a:pt x="446" y="318"/>
                </a:lnTo>
                <a:lnTo>
                  <a:pt x="446" y="312"/>
                </a:lnTo>
                <a:lnTo>
                  <a:pt x="449" y="305"/>
                </a:lnTo>
                <a:lnTo>
                  <a:pt x="453" y="297"/>
                </a:lnTo>
                <a:lnTo>
                  <a:pt x="457" y="287"/>
                </a:lnTo>
                <a:lnTo>
                  <a:pt x="464" y="276"/>
                </a:lnTo>
                <a:lnTo>
                  <a:pt x="474" y="265"/>
                </a:lnTo>
                <a:lnTo>
                  <a:pt x="484" y="255"/>
                </a:lnTo>
                <a:lnTo>
                  <a:pt x="491" y="249"/>
                </a:lnTo>
                <a:lnTo>
                  <a:pt x="494" y="243"/>
                </a:lnTo>
                <a:lnTo>
                  <a:pt x="495" y="237"/>
                </a:lnTo>
                <a:lnTo>
                  <a:pt x="496" y="234"/>
                </a:lnTo>
                <a:lnTo>
                  <a:pt x="499" y="229"/>
                </a:lnTo>
                <a:lnTo>
                  <a:pt x="502" y="223"/>
                </a:lnTo>
                <a:lnTo>
                  <a:pt x="508" y="219"/>
                </a:lnTo>
                <a:lnTo>
                  <a:pt x="515" y="215"/>
                </a:lnTo>
                <a:lnTo>
                  <a:pt x="522" y="213"/>
                </a:lnTo>
                <a:lnTo>
                  <a:pt x="530" y="213"/>
                </a:lnTo>
                <a:lnTo>
                  <a:pt x="539" y="215"/>
                </a:lnTo>
                <a:lnTo>
                  <a:pt x="548" y="218"/>
                </a:lnTo>
                <a:lnTo>
                  <a:pt x="556" y="218"/>
                </a:lnTo>
                <a:lnTo>
                  <a:pt x="565" y="217"/>
                </a:lnTo>
                <a:lnTo>
                  <a:pt x="573" y="214"/>
                </a:lnTo>
                <a:lnTo>
                  <a:pt x="580" y="213"/>
                </a:lnTo>
                <a:lnTo>
                  <a:pt x="588" y="213"/>
                </a:lnTo>
                <a:lnTo>
                  <a:pt x="595" y="214"/>
                </a:lnTo>
                <a:lnTo>
                  <a:pt x="601" y="219"/>
                </a:lnTo>
                <a:lnTo>
                  <a:pt x="606" y="225"/>
                </a:lnTo>
                <a:lnTo>
                  <a:pt x="609" y="230"/>
                </a:lnTo>
                <a:lnTo>
                  <a:pt x="613" y="236"/>
                </a:lnTo>
                <a:lnTo>
                  <a:pt x="615" y="242"/>
                </a:lnTo>
                <a:lnTo>
                  <a:pt x="618" y="246"/>
                </a:lnTo>
                <a:lnTo>
                  <a:pt x="623" y="251"/>
                </a:lnTo>
                <a:lnTo>
                  <a:pt x="629" y="253"/>
                </a:lnTo>
                <a:lnTo>
                  <a:pt x="638" y="256"/>
                </a:lnTo>
                <a:lnTo>
                  <a:pt x="647" y="257"/>
                </a:lnTo>
                <a:lnTo>
                  <a:pt x="655" y="257"/>
                </a:lnTo>
                <a:lnTo>
                  <a:pt x="662" y="257"/>
                </a:lnTo>
                <a:lnTo>
                  <a:pt x="669" y="257"/>
                </a:lnTo>
                <a:lnTo>
                  <a:pt x="674" y="257"/>
                </a:lnTo>
                <a:lnTo>
                  <a:pt x="679" y="256"/>
                </a:lnTo>
                <a:lnTo>
                  <a:pt x="684" y="256"/>
                </a:lnTo>
                <a:lnTo>
                  <a:pt x="690" y="256"/>
                </a:lnTo>
                <a:lnTo>
                  <a:pt x="700" y="255"/>
                </a:lnTo>
                <a:lnTo>
                  <a:pt x="706" y="252"/>
                </a:lnTo>
                <a:lnTo>
                  <a:pt x="708" y="246"/>
                </a:lnTo>
                <a:lnTo>
                  <a:pt x="706" y="237"/>
                </a:lnTo>
                <a:lnTo>
                  <a:pt x="705" y="226"/>
                </a:lnTo>
                <a:lnTo>
                  <a:pt x="709" y="218"/>
                </a:lnTo>
                <a:lnTo>
                  <a:pt x="719" y="214"/>
                </a:lnTo>
                <a:lnTo>
                  <a:pt x="730" y="215"/>
                </a:lnTo>
                <a:lnTo>
                  <a:pt x="742" y="213"/>
                </a:lnTo>
                <a:lnTo>
                  <a:pt x="751" y="200"/>
                </a:lnTo>
                <a:lnTo>
                  <a:pt x="757" y="184"/>
                </a:lnTo>
                <a:lnTo>
                  <a:pt x="761" y="172"/>
                </a:lnTo>
                <a:lnTo>
                  <a:pt x="764" y="168"/>
                </a:lnTo>
                <a:lnTo>
                  <a:pt x="767" y="165"/>
                </a:lnTo>
                <a:lnTo>
                  <a:pt x="772" y="161"/>
                </a:lnTo>
                <a:lnTo>
                  <a:pt x="776" y="159"/>
                </a:lnTo>
                <a:lnTo>
                  <a:pt x="782" y="158"/>
                </a:lnTo>
                <a:lnTo>
                  <a:pt x="788" y="155"/>
                </a:lnTo>
                <a:lnTo>
                  <a:pt x="794" y="154"/>
                </a:lnTo>
                <a:lnTo>
                  <a:pt x="798" y="153"/>
                </a:lnTo>
                <a:lnTo>
                  <a:pt x="804" y="152"/>
                </a:lnTo>
                <a:lnTo>
                  <a:pt x="811" y="150"/>
                </a:lnTo>
                <a:lnTo>
                  <a:pt x="819" y="149"/>
                </a:lnTo>
                <a:lnTo>
                  <a:pt x="827" y="147"/>
                </a:lnTo>
                <a:lnTo>
                  <a:pt x="833" y="149"/>
                </a:lnTo>
                <a:lnTo>
                  <a:pt x="837" y="151"/>
                </a:lnTo>
                <a:lnTo>
                  <a:pt x="840" y="155"/>
                </a:lnTo>
                <a:lnTo>
                  <a:pt x="838" y="162"/>
                </a:lnTo>
                <a:lnTo>
                  <a:pt x="835" y="177"/>
                </a:lnTo>
                <a:lnTo>
                  <a:pt x="838" y="185"/>
                </a:lnTo>
                <a:lnTo>
                  <a:pt x="845" y="188"/>
                </a:lnTo>
                <a:lnTo>
                  <a:pt x="853" y="184"/>
                </a:lnTo>
                <a:lnTo>
                  <a:pt x="858" y="182"/>
                </a:lnTo>
                <a:lnTo>
                  <a:pt x="863" y="180"/>
                </a:lnTo>
                <a:lnTo>
                  <a:pt x="867" y="176"/>
                </a:lnTo>
                <a:lnTo>
                  <a:pt x="871" y="174"/>
                </a:lnTo>
                <a:lnTo>
                  <a:pt x="875" y="170"/>
                </a:lnTo>
                <a:lnTo>
                  <a:pt x="880" y="168"/>
                </a:lnTo>
                <a:lnTo>
                  <a:pt x="886" y="165"/>
                </a:lnTo>
                <a:lnTo>
                  <a:pt x="891" y="162"/>
                </a:lnTo>
                <a:lnTo>
                  <a:pt x="898" y="160"/>
                </a:lnTo>
                <a:lnTo>
                  <a:pt x="906" y="159"/>
                </a:lnTo>
                <a:lnTo>
                  <a:pt x="916" y="157"/>
                </a:lnTo>
                <a:lnTo>
                  <a:pt x="925" y="157"/>
                </a:lnTo>
                <a:lnTo>
                  <a:pt x="934" y="157"/>
                </a:lnTo>
                <a:lnTo>
                  <a:pt x="941" y="158"/>
                </a:lnTo>
                <a:lnTo>
                  <a:pt x="946" y="161"/>
                </a:lnTo>
                <a:lnTo>
                  <a:pt x="948" y="166"/>
                </a:lnTo>
                <a:lnTo>
                  <a:pt x="949" y="170"/>
                </a:lnTo>
                <a:lnTo>
                  <a:pt x="953" y="173"/>
                </a:lnTo>
                <a:lnTo>
                  <a:pt x="958" y="174"/>
                </a:lnTo>
                <a:lnTo>
                  <a:pt x="965" y="173"/>
                </a:lnTo>
                <a:lnTo>
                  <a:pt x="972" y="172"/>
                </a:lnTo>
                <a:lnTo>
                  <a:pt x="981" y="170"/>
                </a:lnTo>
                <a:lnTo>
                  <a:pt x="989" y="169"/>
                </a:lnTo>
                <a:lnTo>
                  <a:pt x="997" y="169"/>
                </a:lnTo>
                <a:lnTo>
                  <a:pt x="1006" y="168"/>
                </a:lnTo>
                <a:lnTo>
                  <a:pt x="1014" y="166"/>
                </a:lnTo>
                <a:lnTo>
                  <a:pt x="1022" y="162"/>
                </a:lnTo>
                <a:lnTo>
                  <a:pt x="1029" y="158"/>
                </a:lnTo>
                <a:lnTo>
                  <a:pt x="1036" y="154"/>
                </a:lnTo>
                <a:lnTo>
                  <a:pt x="1041" y="151"/>
                </a:lnTo>
                <a:lnTo>
                  <a:pt x="1047" y="149"/>
                </a:lnTo>
                <a:lnTo>
                  <a:pt x="1051" y="147"/>
                </a:lnTo>
                <a:lnTo>
                  <a:pt x="1054" y="146"/>
                </a:lnTo>
                <a:lnTo>
                  <a:pt x="1059" y="145"/>
                </a:lnTo>
                <a:lnTo>
                  <a:pt x="1064" y="142"/>
                </a:lnTo>
                <a:lnTo>
                  <a:pt x="1071" y="139"/>
                </a:lnTo>
                <a:lnTo>
                  <a:pt x="1078" y="137"/>
                </a:lnTo>
                <a:lnTo>
                  <a:pt x="1086" y="136"/>
                </a:lnTo>
                <a:lnTo>
                  <a:pt x="1094" y="136"/>
                </a:lnTo>
                <a:lnTo>
                  <a:pt x="1104" y="138"/>
                </a:lnTo>
                <a:lnTo>
                  <a:pt x="1113" y="142"/>
                </a:lnTo>
                <a:lnTo>
                  <a:pt x="1122" y="146"/>
                </a:lnTo>
                <a:lnTo>
                  <a:pt x="1130" y="151"/>
                </a:lnTo>
                <a:lnTo>
                  <a:pt x="1139" y="155"/>
                </a:lnTo>
                <a:lnTo>
                  <a:pt x="1147" y="160"/>
                </a:lnTo>
                <a:lnTo>
                  <a:pt x="1154" y="162"/>
                </a:lnTo>
                <a:lnTo>
                  <a:pt x="1161" y="165"/>
                </a:lnTo>
                <a:lnTo>
                  <a:pt x="1168" y="166"/>
                </a:lnTo>
                <a:lnTo>
                  <a:pt x="1180" y="165"/>
                </a:lnTo>
                <a:lnTo>
                  <a:pt x="1188" y="161"/>
                </a:lnTo>
                <a:lnTo>
                  <a:pt x="1192" y="154"/>
                </a:lnTo>
                <a:lnTo>
                  <a:pt x="1190" y="144"/>
                </a:lnTo>
                <a:lnTo>
                  <a:pt x="1183" y="135"/>
                </a:lnTo>
                <a:lnTo>
                  <a:pt x="1178" y="129"/>
                </a:lnTo>
                <a:lnTo>
                  <a:pt x="1174" y="124"/>
                </a:lnTo>
                <a:lnTo>
                  <a:pt x="1171" y="116"/>
                </a:lnTo>
                <a:lnTo>
                  <a:pt x="1168" y="106"/>
                </a:lnTo>
                <a:lnTo>
                  <a:pt x="1166" y="93"/>
                </a:lnTo>
                <a:lnTo>
                  <a:pt x="1168" y="79"/>
                </a:lnTo>
                <a:lnTo>
                  <a:pt x="1177" y="64"/>
                </a:lnTo>
                <a:lnTo>
                  <a:pt x="1184" y="56"/>
                </a:lnTo>
                <a:lnTo>
                  <a:pt x="1191" y="50"/>
                </a:lnTo>
                <a:lnTo>
                  <a:pt x="1198" y="43"/>
                </a:lnTo>
                <a:lnTo>
                  <a:pt x="1204" y="37"/>
                </a:lnTo>
                <a:lnTo>
                  <a:pt x="1211" y="32"/>
                </a:lnTo>
                <a:lnTo>
                  <a:pt x="1216" y="29"/>
                </a:lnTo>
                <a:lnTo>
                  <a:pt x="1222" y="25"/>
                </a:lnTo>
                <a:lnTo>
                  <a:pt x="1227" y="24"/>
                </a:lnTo>
                <a:lnTo>
                  <a:pt x="1233" y="21"/>
                </a:lnTo>
                <a:lnTo>
                  <a:pt x="1236" y="14"/>
                </a:lnTo>
                <a:lnTo>
                  <a:pt x="1241" y="7"/>
                </a:lnTo>
                <a:lnTo>
                  <a:pt x="1246" y="1"/>
                </a:lnTo>
                <a:lnTo>
                  <a:pt x="1248" y="1"/>
                </a:lnTo>
                <a:lnTo>
                  <a:pt x="1249" y="0"/>
                </a:lnTo>
                <a:lnTo>
                  <a:pt x="1251" y="0"/>
                </a:lnTo>
                <a:lnTo>
                  <a:pt x="1252" y="0"/>
                </a:lnTo>
                <a:lnTo>
                  <a:pt x="1254" y="0"/>
                </a:lnTo>
                <a:lnTo>
                  <a:pt x="1256" y="1"/>
                </a:lnTo>
                <a:lnTo>
                  <a:pt x="1258" y="1"/>
                </a:lnTo>
                <a:lnTo>
                  <a:pt x="1260" y="2"/>
                </a:lnTo>
                <a:lnTo>
                  <a:pt x="1269" y="6"/>
                </a:lnTo>
                <a:lnTo>
                  <a:pt x="1277" y="8"/>
                </a:lnTo>
                <a:lnTo>
                  <a:pt x="1284" y="12"/>
                </a:lnTo>
                <a:lnTo>
                  <a:pt x="1290" y="14"/>
                </a:lnTo>
                <a:lnTo>
                  <a:pt x="1297" y="18"/>
                </a:lnTo>
                <a:lnTo>
                  <a:pt x="1303" y="22"/>
                </a:lnTo>
                <a:lnTo>
                  <a:pt x="1310" y="28"/>
                </a:lnTo>
                <a:lnTo>
                  <a:pt x="1317" y="33"/>
                </a:lnTo>
                <a:lnTo>
                  <a:pt x="1327" y="45"/>
                </a:lnTo>
                <a:lnTo>
                  <a:pt x="1330" y="53"/>
                </a:lnTo>
                <a:lnTo>
                  <a:pt x="1330" y="60"/>
                </a:lnTo>
                <a:lnTo>
                  <a:pt x="1328" y="67"/>
                </a:lnTo>
                <a:lnTo>
                  <a:pt x="1328" y="73"/>
                </a:lnTo>
                <a:lnTo>
                  <a:pt x="1330" y="76"/>
                </a:lnTo>
                <a:lnTo>
                  <a:pt x="1334" y="78"/>
                </a:lnTo>
                <a:lnTo>
                  <a:pt x="1335" y="79"/>
                </a:lnTo>
                <a:lnTo>
                  <a:pt x="1337" y="75"/>
                </a:lnTo>
                <a:lnTo>
                  <a:pt x="1342" y="67"/>
                </a:lnTo>
                <a:lnTo>
                  <a:pt x="1351" y="60"/>
                </a:lnTo>
                <a:lnTo>
                  <a:pt x="1363" y="61"/>
                </a:lnTo>
                <a:lnTo>
                  <a:pt x="1375" y="68"/>
                </a:lnTo>
                <a:lnTo>
                  <a:pt x="1383" y="74"/>
                </a:lnTo>
                <a:lnTo>
                  <a:pt x="1389" y="82"/>
                </a:lnTo>
                <a:lnTo>
                  <a:pt x="1390" y="92"/>
                </a:lnTo>
                <a:lnTo>
                  <a:pt x="1393" y="100"/>
                </a:lnTo>
                <a:lnTo>
                  <a:pt x="1400" y="104"/>
                </a:lnTo>
                <a:lnTo>
                  <a:pt x="1407" y="103"/>
                </a:lnTo>
                <a:lnTo>
                  <a:pt x="1415" y="101"/>
                </a:lnTo>
                <a:lnTo>
                  <a:pt x="1419" y="100"/>
                </a:lnTo>
                <a:lnTo>
                  <a:pt x="1424" y="98"/>
                </a:lnTo>
                <a:lnTo>
                  <a:pt x="1431" y="94"/>
                </a:lnTo>
                <a:lnTo>
                  <a:pt x="1439" y="92"/>
                </a:lnTo>
                <a:lnTo>
                  <a:pt x="1447" y="90"/>
                </a:lnTo>
                <a:lnTo>
                  <a:pt x="1455" y="89"/>
                </a:lnTo>
                <a:lnTo>
                  <a:pt x="1464" y="88"/>
                </a:lnTo>
                <a:lnTo>
                  <a:pt x="1473" y="89"/>
                </a:lnTo>
                <a:lnTo>
                  <a:pt x="1483" y="90"/>
                </a:lnTo>
                <a:lnTo>
                  <a:pt x="1492" y="92"/>
                </a:lnTo>
                <a:lnTo>
                  <a:pt x="1501" y="94"/>
                </a:lnTo>
                <a:lnTo>
                  <a:pt x="1509" y="97"/>
                </a:lnTo>
                <a:lnTo>
                  <a:pt x="1517" y="98"/>
                </a:lnTo>
                <a:lnTo>
                  <a:pt x="1524" y="100"/>
                </a:lnTo>
                <a:lnTo>
                  <a:pt x="1530" y="101"/>
                </a:lnTo>
                <a:lnTo>
                  <a:pt x="1536" y="101"/>
                </a:lnTo>
                <a:lnTo>
                  <a:pt x="1540" y="101"/>
                </a:lnTo>
                <a:lnTo>
                  <a:pt x="1546" y="100"/>
                </a:lnTo>
                <a:lnTo>
                  <a:pt x="1551" y="100"/>
                </a:lnTo>
                <a:lnTo>
                  <a:pt x="1556" y="99"/>
                </a:lnTo>
                <a:lnTo>
                  <a:pt x="1562" y="100"/>
                </a:lnTo>
                <a:lnTo>
                  <a:pt x="1569" y="101"/>
                </a:lnTo>
                <a:lnTo>
                  <a:pt x="1575" y="104"/>
                </a:lnTo>
                <a:lnTo>
                  <a:pt x="1582" y="107"/>
                </a:lnTo>
                <a:lnTo>
                  <a:pt x="1590" y="112"/>
                </a:lnTo>
                <a:lnTo>
                  <a:pt x="1598" y="116"/>
                </a:lnTo>
                <a:lnTo>
                  <a:pt x="1608" y="121"/>
                </a:lnTo>
                <a:lnTo>
                  <a:pt x="1620" y="127"/>
                </a:lnTo>
                <a:lnTo>
                  <a:pt x="1632" y="132"/>
                </a:lnTo>
                <a:lnTo>
                  <a:pt x="1645" y="141"/>
                </a:lnTo>
                <a:lnTo>
                  <a:pt x="1659" y="150"/>
                </a:lnTo>
                <a:lnTo>
                  <a:pt x="1674" y="160"/>
                </a:lnTo>
                <a:lnTo>
                  <a:pt x="1688" y="170"/>
                </a:lnTo>
                <a:lnTo>
                  <a:pt x="1698" y="180"/>
                </a:lnTo>
                <a:lnTo>
                  <a:pt x="1706" y="188"/>
                </a:lnTo>
                <a:lnTo>
                  <a:pt x="1712" y="195"/>
                </a:lnTo>
                <a:lnTo>
                  <a:pt x="1716" y="200"/>
                </a:lnTo>
                <a:lnTo>
                  <a:pt x="1720" y="206"/>
                </a:lnTo>
                <a:lnTo>
                  <a:pt x="1723" y="211"/>
                </a:lnTo>
                <a:lnTo>
                  <a:pt x="1727" y="215"/>
                </a:lnTo>
                <a:lnTo>
                  <a:pt x="1731" y="220"/>
                </a:lnTo>
                <a:lnTo>
                  <a:pt x="1736" y="225"/>
                </a:lnTo>
                <a:lnTo>
                  <a:pt x="1742" y="229"/>
                </a:lnTo>
                <a:lnTo>
                  <a:pt x="1748" y="234"/>
                </a:lnTo>
                <a:lnTo>
                  <a:pt x="1753" y="238"/>
                </a:lnTo>
                <a:lnTo>
                  <a:pt x="1757" y="243"/>
                </a:lnTo>
                <a:lnTo>
                  <a:pt x="1760" y="248"/>
                </a:lnTo>
                <a:lnTo>
                  <a:pt x="1761" y="252"/>
                </a:lnTo>
                <a:lnTo>
                  <a:pt x="1761" y="261"/>
                </a:lnTo>
                <a:lnTo>
                  <a:pt x="1761" y="269"/>
                </a:lnTo>
                <a:lnTo>
                  <a:pt x="1763" y="278"/>
                </a:lnTo>
                <a:lnTo>
                  <a:pt x="1767" y="287"/>
                </a:lnTo>
                <a:lnTo>
                  <a:pt x="1772" y="296"/>
                </a:lnTo>
                <a:lnTo>
                  <a:pt x="1772" y="304"/>
                </a:lnTo>
                <a:lnTo>
                  <a:pt x="1766" y="311"/>
                </a:lnTo>
                <a:lnTo>
                  <a:pt x="1755" y="317"/>
                </a:lnTo>
                <a:lnTo>
                  <a:pt x="1744" y="326"/>
                </a:lnTo>
                <a:lnTo>
                  <a:pt x="1737" y="341"/>
                </a:lnTo>
                <a:lnTo>
                  <a:pt x="1733" y="356"/>
                </a:lnTo>
                <a:lnTo>
                  <a:pt x="1727" y="366"/>
                </a:lnTo>
                <a:lnTo>
                  <a:pt x="1719" y="371"/>
                </a:lnTo>
                <a:lnTo>
                  <a:pt x="1711" y="374"/>
                </a:lnTo>
                <a:lnTo>
                  <a:pt x="1703" y="382"/>
                </a:lnTo>
                <a:lnTo>
                  <a:pt x="1696" y="397"/>
                </a:lnTo>
                <a:lnTo>
                  <a:pt x="1692" y="417"/>
                </a:lnTo>
                <a:lnTo>
                  <a:pt x="1691" y="435"/>
                </a:lnTo>
                <a:lnTo>
                  <a:pt x="1692" y="450"/>
                </a:lnTo>
                <a:lnTo>
                  <a:pt x="1699" y="462"/>
                </a:lnTo>
                <a:lnTo>
                  <a:pt x="1705" y="472"/>
                </a:lnTo>
                <a:lnTo>
                  <a:pt x="1705" y="485"/>
                </a:lnTo>
                <a:lnTo>
                  <a:pt x="1705" y="496"/>
                </a:lnTo>
                <a:lnTo>
                  <a:pt x="1708" y="506"/>
                </a:lnTo>
                <a:lnTo>
                  <a:pt x="1713" y="508"/>
                </a:lnTo>
                <a:lnTo>
                  <a:pt x="1719" y="508"/>
                </a:lnTo>
                <a:lnTo>
                  <a:pt x="1726" y="507"/>
                </a:lnTo>
                <a:lnTo>
                  <a:pt x="1734" y="506"/>
                </a:lnTo>
                <a:lnTo>
                  <a:pt x="1742" y="504"/>
                </a:lnTo>
                <a:lnTo>
                  <a:pt x="1749" y="503"/>
                </a:lnTo>
                <a:lnTo>
                  <a:pt x="1756" y="503"/>
                </a:lnTo>
                <a:lnTo>
                  <a:pt x="1761" y="506"/>
                </a:lnTo>
                <a:lnTo>
                  <a:pt x="1767" y="511"/>
                </a:lnTo>
                <a:lnTo>
                  <a:pt x="1772" y="516"/>
                </a:lnTo>
                <a:lnTo>
                  <a:pt x="1780" y="519"/>
                </a:lnTo>
                <a:lnTo>
                  <a:pt x="1795" y="521"/>
                </a:lnTo>
                <a:lnTo>
                  <a:pt x="1804" y="522"/>
                </a:lnTo>
                <a:lnTo>
                  <a:pt x="1812" y="524"/>
                </a:lnTo>
                <a:lnTo>
                  <a:pt x="1818" y="529"/>
                </a:lnTo>
                <a:lnTo>
                  <a:pt x="1824" y="533"/>
                </a:lnTo>
                <a:lnTo>
                  <a:pt x="1827" y="537"/>
                </a:lnTo>
                <a:lnTo>
                  <a:pt x="1832" y="540"/>
                </a:lnTo>
                <a:lnTo>
                  <a:pt x="1835" y="542"/>
                </a:lnTo>
                <a:lnTo>
                  <a:pt x="1839" y="542"/>
                </a:lnTo>
                <a:lnTo>
                  <a:pt x="1847" y="539"/>
                </a:lnTo>
                <a:lnTo>
                  <a:pt x="1857" y="538"/>
                </a:lnTo>
                <a:lnTo>
                  <a:pt x="1865" y="540"/>
                </a:lnTo>
                <a:lnTo>
                  <a:pt x="1869" y="552"/>
                </a:lnTo>
                <a:lnTo>
                  <a:pt x="1869" y="568"/>
                </a:lnTo>
                <a:lnTo>
                  <a:pt x="1870" y="582"/>
                </a:lnTo>
                <a:lnTo>
                  <a:pt x="1875" y="594"/>
                </a:lnTo>
                <a:lnTo>
                  <a:pt x="1890" y="605"/>
                </a:lnTo>
                <a:lnTo>
                  <a:pt x="1900" y="608"/>
                </a:lnTo>
                <a:lnTo>
                  <a:pt x="1909" y="612"/>
                </a:lnTo>
                <a:lnTo>
                  <a:pt x="1916" y="615"/>
                </a:lnTo>
                <a:lnTo>
                  <a:pt x="1924" y="618"/>
                </a:lnTo>
                <a:lnTo>
                  <a:pt x="1930" y="622"/>
                </a:lnTo>
                <a:lnTo>
                  <a:pt x="1937" y="625"/>
                </a:lnTo>
                <a:lnTo>
                  <a:pt x="1942" y="630"/>
                </a:lnTo>
                <a:lnTo>
                  <a:pt x="1949" y="636"/>
                </a:lnTo>
                <a:lnTo>
                  <a:pt x="1956" y="640"/>
                </a:lnTo>
                <a:lnTo>
                  <a:pt x="1963" y="644"/>
                </a:lnTo>
                <a:lnTo>
                  <a:pt x="1969" y="645"/>
                </a:lnTo>
                <a:lnTo>
                  <a:pt x="1976" y="645"/>
                </a:lnTo>
                <a:lnTo>
                  <a:pt x="1981" y="644"/>
                </a:lnTo>
                <a:lnTo>
                  <a:pt x="1987" y="643"/>
                </a:lnTo>
                <a:lnTo>
                  <a:pt x="1993" y="640"/>
                </a:lnTo>
                <a:lnTo>
                  <a:pt x="1999" y="638"/>
                </a:lnTo>
                <a:lnTo>
                  <a:pt x="2009" y="629"/>
                </a:lnTo>
                <a:lnTo>
                  <a:pt x="2017" y="615"/>
                </a:lnTo>
                <a:lnTo>
                  <a:pt x="2024" y="601"/>
                </a:lnTo>
                <a:lnTo>
                  <a:pt x="2032" y="595"/>
                </a:lnTo>
                <a:lnTo>
                  <a:pt x="2040" y="594"/>
                </a:lnTo>
                <a:lnTo>
                  <a:pt x="2045" y="590"/>
                </a:lnTo>
                <a:lnTo>
                  <a:pt x="2049" y="582"/>
                </a:lnTo>
                <a:lnTo>
                  <a:pt x="2058" y="570"/>
                </a:lnTo>
                <a:lnTo>
                  <a:pt x="2063" y="563"/>
                </a:lnTo>
                <a:lnTo>
                  <a:pt x="2070" y="557"/>
                </a:lnTo>
                <a:lnTo>
                  <a:pt x="2078" y="553"/>
                </a:lnTo>
                <a:lnTo>
                  <a:pt x="2087" y="548"/>
                </a:lnTo>
                <a:lnTo>
                  <a:pt x="2096" y="546"/>
                </a:lnTo>
                <a:lnTo>
                  <a:pt x="2104" y="545"/>
                </a:lnTo>
                <a:lnTo>
                  <a:pt x="2111" y="546"/>
                </a:lnTo>
                <a:lnTo>
                  <a:pt x="2116" y="548"/>
                </a:lnTo>
                <a:lnTo>
                  <a:pt x="2124" y="559"/>
                </a:lnTo>
                <a:lnTo>
                  <a:pt x="2131" y="570"/>
                </a:lnTo>
                <a:lnTo>
                  <a:pt x="2138" y="580"/>
                </a:lnTo>
                <a:lnTo>
                  <a:pt x="2150" y="586"/>
                </a:lnTo>
                <a:lnTo>
                  <a:pt x="2153" y="586"/>
                </a:lnTo>
                <a:lnTo>
                  <a:pt x="2155" y="587"/>
                </a:lnTo>
                <a:lnTo>
                  <a:pt x="2157" y="590"/>
                </a:lnTo>
                <a:lnTo>
                  <a:pt x="2158" y="592"/>
                </a:lnTo>
                <a:lnTo>
                  <a:pt x="2157" y="600"/>
                </a:lnTo>
                <a:lnTo>
                  <a:pt x="2153" y="609"/>
                </a:lnTo>
                <a:lnTo>
                  <a:pt x="2150" y="620"/>
                </a:lnTo>
                <a:lnTo>
                  <a:pt x="2147" y="629"/>
                </a:lnTo>
                <a:lnTo>
                  <a:pt x="2147" y="640"/>
                </a:lnTo>
                <a:lnTo>
                  <a:pt x="2147" y="651"/>
                </a:lnTo>
                <a:lnTo>
                  <a:pt x="2145" y="662"/>
                </a:lnTo>
                <a:lnTo>
                  <a:pt x="2140" y="678"/>
                </a:lnTo>
                <a:lnTo>
                  <a:pt x="2137" y="691"/>
                </a:lnTo>
                <a:lnTo>
                  <a:pt x="2137" y="697"/>
                </a:lnTo>
                <a:lnTo>
                  <a:pt x="2138" y="704"/>
                </a:lnTo>
                <a:lnTo>
                  <a:pt x="2138" y="718"/>
                </a:lnTo>
                <a:lnTo>
                  <a:pt x="2135" y="736"/>
                </a:lnTo>
                <a:lnTo>
                  <a:pt x="2130" y="749"/>
                </a:lnTo>
                <a:lnTo>
                  <a:pt x="2127" y="758"/>
                </a:lnTo>
                <a:lnTo>
                  <a:pt x="2126" y="760"/>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grpSp>
        <p:nvGrpSpPr>
          <p:cNvPr id="7" name="Group 8"/>
          <p:cNvGrpSpPr>
            <a:grpSpLocks noChangeAspect="1"/>
          </p:cNvGrpSpPr>
          <p:nvPr/>
        </p:nvGrpSpPr>
        <p:grpSpPr bwMode="gray">
          <a:xfrm>
            <a:off x="4830276" y="2057400"/>
            <a:ext cx="2882777" cy="1550194"/>
            <a:chOff x="3178" y="1504"/>
            <a:chExt cx="2826" cy="1403"/>
          </a:xfrm>
          <a:solidFill>
            <a:srgbClr val="00A1DE"/>
          </a:solidFill>
        </p:grpSpPr>
        <p:sp>
          <p:nvSpPr>
            <p:cNvPr id="8" name="Freeform 9"/>
            <p:cNvSpPr>
              <a:spLocks noChangeAspect="1"/>
            </p:cNvSpPr>
            <p:nvPr/>
          </p:nvSpPr>
          <p:spPr bwMode="gray">
            <a:xfrm>
              <a:off x="3178" y="2198"/>
              <a:ext cx="265" cy="411"/>
            </a:xfrm>
            <a:custGeom>
              <a:avLst/>
              <a:gdLst>
                <a:gd name="T0" fmla="*/ 241 w 530"/>
                <a:gd name="T1" fmla="*/ 0 h 823"/>
                <a:gd name="T2" fmla="*/ 129 w 530"/>
                <a:gd name="T3" fmla="*/ 68 h 823"/>
                <a:gd name="T4" fmla="*/ 63 w 530"/>
                <a:gd name="T5" fmla="*/ 43 h 823"/>
                <a:gd name="T6" fmla="*/ 112 w 530"/>
                <a:gd name="T7" fmla="*/ 222 h 823"/>
                <a:gd name="T8" fmla="*/ 0 w 530"/>
                <a:gd name="T9" fmla="*/ 323 h 823"/>
                <a:gd name="T10" fmla="*/ 55 w 530"/>
                <a:gd name="T11" fmla="*/ 498 h 823"/>
                <a:gd name="T12" fmla="*/ 23 w 530"/>
                <a:gd name="T13" fmla="*/ 568 h 823"/>
                <a:gd name="T14" fmla="*/ 234 w 530"/>
                <a:gd name="T15" fmla="*/ 642 h 823"/>
                <a:gd name="T16" fmla="*/ 230 w 530"/>
                <a:gd name="T17" fmla="*/ 701 h 823"/>
                <a:gd name="T18" fmla="*/ 388 w 530"/>
                <a:gd name="T19" fmla="*/ 823 h 823"/>
                <a:gd name="T20" fmla="*/ 426 w 530"/>
                <a:gd name="T21" fmla="*/ 802 h 823"/>
                <a:gd name="T22" fmla="*/ 407 w 530"/>
                <a:gd name="T23" fmla="*/ 728 h 823"/>
                <a:gd name="T24" fmla="*/ 430 w 530"/>
                <a:gd name="T25" fmla="*/ 551 h 823"/>
                <a:gd name="T26" fmla="*/ 508 w 530"/>
                <a:gd name="T27" fmla="*/ 513 h 823"/>
                <a:gd name="T28" fmla="*/ 519 w 530"/>
                <a:gd name="T29" fmla="*/ 458 h 823"/>
                <a:gd name="T30" fmla="*/ 491 w 530"/>
                <a:gd name="T31" fmla="*/ 357 h 823"/>
                <a:gd name="T32" fmla="*/ 530 w 530"/>
                <a:gd name="T33" fmla="*/ 222 h 823"/>
                <a:gd name="T34" fmla="*/ 454 w 530"/>
                <a:gd name="T35" fmla="*/ 251 h 823"/>
                <a:gd name="T36" fmla="*/ 422 w 530"/>
                <a:gd name="T37" fmla="*/ 155 h 823"/>
                <a:gd name="T38" fmla="*/ 348 w 530"/>
                <a:gd name="T39" fmla="*/ 47 h 823"/>
                <a:gd name="T40" fmla="*/ 262 w 530"/>
                <a:gd name="T41" fmla="*/ 53 h 823"/>
                <a:gd name="T42" fmla="*/ 241 w 530"/>
                <a:gd name="T43" fmla="*/ 0 h 823"/>
                <a:gd name="T44" fmla="*/ 241 w 530"/>
                <a:gd name="T45" fmla="*/ 0 h 823"/>
                <a:gd name="T46" fmla="*/ 241 w 530"/>
                <a:gd name="T47" fmla="*/ 0 h 8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30"/>
                <a:gd name="T73" fmla="*/ 0 h 823"/>
                <a:gd name="T74" fmla="*/ 530 w 530"/>
                <a:gd name="T75" fmla="*/ 823 h 8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30" h="823">
                  <a:moveTo>
                    <a:pt x="241" y="0"/>
                  </a:moveTo>
                  <a:lnTo>
                    <a:pt x="129" y="68"/>
                  </a:lnTo>
                  <a:lnTo>
                    <a:pt x="63" y="43"/>
                  </a:lnTo>
                  <a:lnTo>
                    <a:pt x="112" y="222"/>
                  </a:lnTo>
                  <a:lnTo>
                    <a:pt x="0" y="323"/>
                  </a:lnTo>
                  <a:lnTo>
                    <a:pt x="55" y="498"/>
                  </a:lnTo>
                  <a:lnTo>
                    <a:pt x="23" y="568"/>
                  </a:lnTo>
                  <a:lnTo>
                    <a:pt x="234" y="642"/>
                  </a:lnTo>
                  <a:lnTo>
                    <a:pt x="230" y="701"/>
                  </a:lnTo>
                  <a:lnTo>
                    <a:pt x="388" y="823"/>
                  </a:lnTo>
                  <a:lnTo>
                    <a:pt x="426" y="802"/>
                  </a:lnTo>
                  <a:lnTo>
                    <a:pt x="407" y="728"/>
                  </a:lnTo>
                  <a:lnTo>
                    <a:pt x="430" y="551"/>
                  </a:lnTo>
                  <a:lnTo>
                    <a:pt x="508" y="513"/>
                  </a:lnTo>
                  <a:lnTo>
                    <a:pt x="519" y="458"/>
                  </a:lnTo>
                  <a:lnTo>
                    <a:pt x="491" y="357"/>
                  </a:lnTo>
                  <a:lnTo>
                    <a:pt x="530" y="222"/>
                  </a:lnTo>
                  <a:lnTo>
                    <a:pt x="454" y="251"/>
                  </a:lnTo>
                  <a:lnTo>
                    <a:pt x="422" y="155"/>
                  </a:lnTo>
                  <a:lnTo>
                    <a:pt x="348" y="47"/>
                  </a:lnTo>
                  <a:lnTo>
                    <a:pt x="262" y="53"/>
                  </a:lnTo>
                  <a:lnTo>
                    <a:pt x="241"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9" name="Freeform 10"/>
            <p:cNvSpPr>
              <a:spLocks noChangeAspect="1"/>
            </p:cNvSpPr>
            <p:nvPr/>
          </p:nvSpPr>
          <p:spPr bwMode="gray">
            <a:xfrm>
              <a:off x="3381" y="2179"/>
              <a:ext cx="961" cy="479"/>
            </a:xfrm>
            <a:custGeom>
              <a:avLst/>
              <a:gdLst>
                <a:gd name="T0" fmla="*/ 300 w 1922"/>
                <a:gd name="T1" fmla="*/ 70 h 958"/>
                <a:gd name="T2" fmla="*/ 276 w 1922"/>
                <a:gd name="T3" fmla="*/ 106 h 958"/>
                <a:gd name="T4" fmla="*/ 295 w 1922"/>
                <a:gd name="T5" fmla="*/ 230 h 958"/>
                <a:gd name="T6" fmla="*/ 281 w 1922"/>
                <a:gd name="T7" fmla="*/ 273 h 958"/>
                <a:gd name="T8" fmla="*/ 217 w 1922"/>
                <a:gd name="T9" fmla="*/ 289 h 958"/>
                <a:gd name="T10" fmla="*/ 142 w 1922"/>
                <a:gd name="T11" fmla="*/ 403 h 958"/>
                <a:gd name="T12" fmla="*/ 87 w 1922"/>
                <a:gd name="T13" fmla="*/ 403 h 958"/>
                <a:gd name="T14" fmla="*/ 110 w 1922"/>
                <a:gd name="T15" fmla="*/ 501 h 958"/>
                <a:gd name="T16" fmla="*/ 101 w 1922"/>
                <a:gd name="T17" fmla="*/ 545 h 958"/>
                <a:gd name="T18" fmla="*/ 23 w 1922"/>
                <a:gd name="T19" fmla="*/ 589 h 958"/>
                <a:gd name="T20" fmla="*/ 0 w 1922"/>
                <a:gd name="T21" fmla="*/ 766 h 958"/>
                <a:gd name="T22" fmla="*/ 17 w 1922"/>
                <a:gd name="T23" fmla="*/ 836 h 958"/>
                <a:gd name="T24" fmla="*/ 205 w 1922"/>
                <a:gd name="T25" fmla="*/ 712 h 958"/>
                <a:gd name="T26" fmla="*/ 281 w 1922"/>
                <a:gd name="T27" fmla="*/ 773 h 958"/>
                <a:gd name="T28" fmla="*/ 253 w 1922"/>
                <a:gd name="T29" fmla="*/ 868 h 958"/>
                <a:gd name="T30" fmla="*/ 464 w 1922"/>
                <a:gd name="T31" fmla="*/ 887 h 958"/>
                <a:gd name="T32" fmla="*/ 460 w 1922"/>
                <a:gd name="T33" fmla="*/ 939 h 958"/>
                <a:gd name="T34" fmla="*/ 625 w 1922"/>
                <a:gd name="T35" fmla="*/ 958 h 958"/>
                <a:gd name="T36" fmla="*/ 789 w 1922"/>
                <a:gd name="T37" fmla="*/ 764 h 958"/>
                <a:gd name="T38" fmla="*/ 962 w 1922"/>
                <a:gd name="T39" fmla="*/ 764 h 958"/>
                <a:gd name="T40" fmla="*/ 996 w 1922"/>
                <a:gd name="T41" fmla="*/ 739 h 958"/>
                <a:gd name="T42" fmla="*/ 1241 w 1922"/>
                <a:gd name="T43" fmla="*/ 794 h 958"/>
                <a:gd name="T44" fmla="*/ 1441 w 1922"/>
                <a:gd name="T45" fmla="*/ 699 h 958"/>
                <a:gd name="T46" fmla="*/ 1494 w 1922"/>
                <a:gd name="T47" fmla="*/ 699 h 958"/>
                <a:gd name="T48" fmla="*/ 1449 w 1922"/>
                <a:gd name="T49" fmla="*/ 600 h 958"/>
                <a:gd name="T50" fmla="*/ 1471 w 1922"/>
                <a:gd name="T51" fmla="*/ 462 h 958"/>
                <a:gd name="T52" fmla="*/ 1741 w 1922"/>
                <a:gd name="T53" fmla="*/ 433 h 958"/>
                <a:gd name="T54" fmla="*/ 1772 w 1922"/>
                <a:gd name="T55" fmla="*/ 391 h 958"/>
                <a:gd name="T56" fmla="*/ 1922 w 1922"/>
                <a:gd name="T57" fmla="*/ 344 h 958"/>
                <a:gd name="T58" fmla="*/ 1895 w 1922"/>
                <a:gd name="T59" fmla="*/ 165 h 958"/>
                <a:gd name="T60" fmla="*/ 1852 w 1922"/>
                <a:gd name="T61" fmla="*/ 117 h 958"/>
                <a:gd name="T62" fmla="*/ 1802 w 1922"/>
                <a:gd name="T63" fmla="*/ 116 h 958"/>
                <a:gd name="T64" fmla="*/ 1732 w 1922"/>
                <a:gd name="T65" fmla="*/ 36 h 958"/>
                <a:gd name="T66" fmla="*/ 1622 w 1922"/>
                <a:gd name="T67" fmla="*/ 0 h 958"/>
                <a:gd name="T68" fmla="*/ 1546 w 1922"/>
                <a:gd name="T69" fmla="*/ 30 h 958"/>
                <a:gd name="T70" fmla="*/ 1589 w 1922"/>
                <a:gd name="T71" fmla="*/ 123 h 958"/>
                <a:gd name="T72" fmla="*/ 1397 w 1922"/>
                <a:gd name="T73" fmla="*/ 106 h 958"/>
                <a:gd name="T74" fmla="*/ 1144 w 1922"/>
                <a:gd name="T75" fmla="*/ 133 h 958"/>
                <a:gd name="T76" fmla="*/ 983 w 1922"/>
                <a:gd name="T77" fmla="*/ 213 h 958"/>
                <a:gd name="T78" fmla="*/ 988 w 1922"/>
                <a:gd name="T79" fmla="*/ 268 h 958"/>
                <a:gd name="T80" fmla="*/ 880 w 1922"/>
                <a:gd name="T81" fmla="*/ 319 h 958"/>
                <a:gd name="T82" fmla="*/ 874 w 1922"/>
                <a:gd name="T83" fmla="*/ 277 h 958"/>
                <a:gd name="T84" fmla="*/ 703 w 1922"/>
                <a:gd name="T85" fmla="*/ 313 h 958"/>
                <a:gd name="T86" fmla="*/ 620 w 1922"/>
                <a:gd name="T87" fmla="*/ 150 h 958"/>
                <a:gd name="T88" fmla="*/ 540 w 1922"/>
                <a:gd name="T89" fmla="*/ 159 h 958"/>
                <a:gd name="T90" fmla="*/ 439 w 1922"/>
                <a:gd name="T91" fmla="*/ 110 h 958"/>
                <a:gd name="T92" fmla="*/ 390 w 1922"/>
                <a:gd name="T93" fmla="*/ 123 h 958"/>
                <a:gd name="T94" fmla="*/ 325 w 1922"/>
                <a:gd name="T95" fmla="*/ 123 h 958"/>
                <a:gd name="T96" fmla="*/ 300 w 1922"/>
                <a:gd name="T97" fmla="*/ 70 h 958"/>
                <a:gd name="T98" fmla="*/ 300 w 1922"/>
                <a:gd name="T99" fmla="*/ 70 h 958"/>
                <a:gd name="T100" fmla="*/ 300 w 1922"/>
                <a:gd name="T101" fmla="*/ 70 h 9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922"/>
                <a:gd name="T154" fmla="*/ 0 h 958"/>
                <a:gd name="T155" fmla="*/ 1922 w 1922"/>
                <a:gd name="T156" fmla="*/ 958 h 95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922" h="958">
                  <a:moveTo>
                    <a:pt x="300" y="70"/>
                  </a:moveTo>
                  <a:lnTo>
                    <a:pt x="276" y="106"/>
                  </a:lnTo>
                  <a:lnTo>
                    <a:pt x="295" y="230"/>
                  </a:lnTo>
                  <a:lnTo>
                    <a:pt x="281" y="273"/>
                  </a:lnTo>
                  <a:lnTo>
                    <a:pt x="217" y="289"/>
                  </a:lnTo>
                  <a:lnTo>
                    <a:pt x="142" y="403"/>
                  </a:lnTo>
                  <a:lnTo>
                    <a:pt x="87" y="403"/>
                  </a:lnTo>
                  <a:lnTo>
                    <a:pt x="110" y="501"/>
                  </a:lnTo>
                  <a:lnTo>
                    <a:pt x="101" y="545"/>
                  </a:lnTo>
                  <a:lnTo>
                    <a:pt x="23" y="589"/>
                  </a:lnTo>
                  <a:lnTo>
                    <a:pt x="0" y="766"/>
                  </a:lnTo>
                  <a:lnTo>
                    <a:pt x="17" y="836"/>
                  </a:lnTo>
                  <a:lnTo>
                    <a:pt x="205" y="712"/>
                  </a:lnTo>
                  <a:lnTo>
                    <a:pt x="281" y="773"/>
                  </a:lnTo>
                  <a:lnTo>
                    <a:pt x="253" y="868"/>
                  </a:lnTo>
                  <a:lnTo>
                    <a:pt x="464" y="887"/>
                  </a:lnTo>
                  <a:lnTo>
                    <a:pt x="460" y="939"/>
                  </a:lnTo>
                  <a:lnTo>
                    <a:pt x="625" y="958"/>
                  </a:lnTo>
                  <a:lnTo>
                    <a:pt x="789" y="764"/>
                  </a:lnTo>
                  <a:lnTo>
                    <a:pt x="962" y="764"/>
                  </a:lnTo>
                  <a:lnTo>
                    <a:pt x="996" y="739"/>
                  </a:lnTo>
                  <a:lnTo>
                    <a:pt x="1241" y="794"/>
                  </a:lnTo>
                  <a:lnTo>
                    <a:pt x="1441" y="699"/>
                  </a:lnTo>
                  <a:lnTo>
                    <a:pt x="1494" y="699"/>
                  </a:lnTo>
                  <a:lnTo>
                    <a:pt x="1449" y="600"/>
                  </a:lnTo>
                  <a:lnTo>
                    <a:pt x="1471" y="462"/>
                  </a:lnTo>
                  <a:lnTo>
                    <a:pt x="1741" y="433"/>
                  </a:lnTo>
                  <a:lnTo>
                    <a:pt x="1772" y="391"/>
                  </a:lnTo>
                  <a:lnTo>
                    <a:pt x="1922" y="344"/>
                  </a:lnTo>
                  <a:lnTo>
                    <a:pt x="1895" y="165"/>
                  </a:lnTo>
                  <a:lnTo>
                    <a:pt x="1852" y="117"/>
                  </a:lnTo>
                  <a:lnTo>
                    <a:pt x="1802" y="116"/>
                  </a:lnTo>
                  <a:lnTo>
                    <a:pt x="1732" y="36"/>
                  </a:lnTo>
                  <a:lnTo>
                    <a:pt x="1622" y="0"/>
                  </a:lnTo>
                  <a:lnTo>
                    <a:pt x="1546" y="30"/>
                  </a:lnTo>
                  <a:lnTo>
                    <a:pt x="1589" y="123"/>
                  </a:lnTo>
                  <a:lnTo>
                    <a:pt x="1397" y="106"/>
                  </a:lnTo>
                  <a:lnTo>
                    <a:pt x="1144" y="133"/>
                  </a:lnTo>
                  <a:lnTo>
                    <a:pt x="983" y="213"/>
                  </a:lnTo>
                  <a:lnTo>
                    <a:pt x="988" y="268"/>
                  </a:lnTo>
                  <a:lnTo>
                    <a:pt x="880" y="319"/>
                  </a:lnTo>
                  <a:lnTo>
                    <a:pt x="874" y="277"/>
                  </a:lnTo>
                  <a:lnTo>
                    <a:pt x="703" y="313"/>
                  </a:lnTo>
                  <a:lnTo>
                    <a:pt x="620" y="150"/>
                  </a:lnTo>
                  <a:lnTo>
                    <a:pt x="540" y="159"/>
                  </a:lnTo>
                  <a:lnTo>
                    <a:pt x="439" y="110"/>
                  </a:lnTo>
                  <a:lnTo>
                    <a:pt x="390" y="123"/>
                  </a:lnTo>
                  <a:lnTo>
                    <a:pt x="325" y="123"/>
                  </a:lnTo>
                  <a:lnTo>
                    <a:pt x="300" y="7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1" name="Freeform 11"/>
            <p:cNvSpPr>
              <a:spLocks noChangeAspect="1"/>
            </p:cNvSpPr>
            <p:nvPr/>
          </p:nvSpPr>
          <p:spPr bwMode="gray">
            <a:xfrm>
              <a:off x="4105" y="2028"/>
              <a:ext cx="710" cy="596"/>
            </a:xfrm>
            <a:custGeom>
              <a:avLst/>
              <a:gdLst>
                <a:gd name="T0" fmla="*/ 431 w 1420"/>
                <a:gd name="T1" fmla="*/ 365 h 1192"/>
                <a:gd name="T2" fmla="*/ 405 w 1420"/>
                <a:gd name="T3" fmla="*/ 422 h 1192"/>
                <a:gd name="T4" fmla="*/ 448 w 1420"/>
                <a:gd name="T5" fmla="*/ 468 h 1192"/>
                <a:gd name="T6" fmla="*/ 475 w 1420"/>
                <a:gd name="T7" fmla="*/ 645 h 1192"/>
                <a:gd name="T8" fmla="*/ 325 w 1420"/>
                <a:gd name="T9" fmla="*/ 692 h 1192"/>
                <a:gd name="T10" fmla="*/ 294 w 1420"/>
                <a:gd name="T11" fmla="*/ 734 h 1192"/>
                <a:gd name="T12" fmla="*/ 24 w 1420"/>
                <a:gd name="T13" fmla="*/ 766 h 1192"/>
                <a:gd name="T14" fmla="*/ 0 w 1420"/>
                <a:gd name="T15" fmla="*/ 905 h 1192"/>
                <a:gd name="T16" fmla="*/ 47 w 1420"/>
                <a:gd name="T17" fmla="*/ 1002 h 1192"/>
                <a:gd name="T18" fmla="*/ 138 w 1420"/>
                <a:gd name="T19" fmla="*/ 1000 h 1192"/>
                <a:gd name="T20" fmla="*/ 235 w 1420"/>
                <a:gd name="T21" fmla="*/ 930 h 1192"/>
                <a:gd name="T22" fmla="*/ 439 w 1420"/>
                <a:gd name="T23" fmla="*/ 970 h 1192"/>
                <a:gd name="T24" fmla="*/ 465 w 1420"/>
                <a:gd name="T25" fmla="*/ 936 h 1192"/>
                <a:gd name="T26" fmla="*/ 612 w 1420"/>
                <a:gd name="T27" fmla="*/ 989 h 1192"/>
                <a:gd name="T28" fmla="*/ 762 w 1420"/>
                <a:gd name="T29" fmla="*/ 1105 h 1192"/>
                <a:gd name="T30" fmla="*/ 823 w 1420"/>
                <a:gd name="T31" fmla="*/ 1107 h 1192"/>
                <a:gd name="T32" fmla="*/ 939 w 1420"/>
                <a:gd name="T33" fmla="*/ 1023 h 1192"/>
                <a:gd name="T34" fmla="*/ 1199 w 1420"/>
                <a:gd name="T35" fmla="*/ 1095 h 1192"/>
                <a:gd name="T36" fmla="*/ 1260 w 1420"/>
                <a:gd name="T37" fmla="*/ 1192 h 1192"/>
                <a:gd name="T38" fmla="*/ 1344 w 1420"/>
                <a:gd name="T39" fmla="*/ 1171 h 1192"/>
                <a:gd name="T40" fmla="*/ 1353 w 1420"/>
                <a:gd name="T41" fmla="*/ 1107 h 1192"/>
                <a:gd name="T42" fmla="*/ 1350 w 1420"/>
                <a:gd name="T43" fmla="*/ 1012 h 1192"/>
                <a:gd name="T44" fmla="*/ 1420 w 1420"/>
                <a:gd name="T45" fmla="*/ 987 h 1192"/>
                <a:gd name="T46" fmla="*/ 1344 w 1420"/>
                <a:gd name="T47" fmla="*/ 915 h 1192"/>
                <a:gd name="T48" fmla="*/ 1344 w 1420"/>
                <a:gd name="T49" fmla="*/ 860 h 1192"/>
                <a:gd name="T50" fmla="*/ 1287 w 1420"/>
                <a:gd name="T51" fmla="*/ 825 h 1192"/>
                <a:gd name="T52" fmla="*/ 1154 w 1420"/>
                <a:gd name="T53" fmla="*/ 842 h 1192"/>
                <a:gd name="T54" fmla="*/ 1154 w 1420"/>
                <a:gd name="T55" fmla="*/ 662 h 1192"/>
                <a:gd name="T56" fmla="*/ 1180 w 1420"/>
                <a:gd name="T57" fmla="*/ 618 h 1192"/>
                <a:gd name="T58" fmla="*/ 1080 w 1420"/>
                <a:gd name="T59" fmla="*/ 576 h 1192"/>
                <a:gd name="T60" fmla="*/ 1080 w 1420"/>
                <a:gd name="T61" fmla="*/ 455 h 1192"/>
                <a:gd name="T62" fmla="*/ 1106 w 1420"/>
                <a:gd name="T63" fmla="*/ 358 h 1192"/>
                <a:gd name="T64" fmla="*/ 1053 w 1420"/>
                <a:gd name="T65" fmla="*/ 318 h 1192"/>
                <a:gd name="T66" fmla="*/ 1057 w 1420"/>
                <a:gd name="T67" fmla="*/ 297 h 1192"/>
                <a:gd name="T68" fmla="*/ 1142 w 1420"/>
                <a:gd name="T69" fmla="*/ 297 h 1192"/>
                <a:gd name="T70" fmla="*/ 1142 w 1420"/>
                <a:gd name="T71" fmla="*/ 272 h 1192"/>
                <a:gd name="T72" fmla="*/ 1066 w 1420"/>
                <a:gd name="T73" fmla="*/ 247 h 1192"/>
                <a:gd name="T74" fmla="*/ 1032 w 1420"/>
                <a:gd name="T75" fmla="*/ 266 h 1192"/>
                <a:gd name="T76" fmla="*/ 956 w 1420"/>
                <a:gd name="T77" fmla="*/ 238 h 1192"/>
                <a:gd name="T78" fmla="*/ 950 w 1420"/>
                <a:gd name="T79" fmla="*/ 111 h 1192"/>
                <a:gd name="T80" fmla="*/ 952 w 1420"/>
                <a:gd name="T81" fmla="*/ 78 h 1192"/>
                <a:gd name="T82" fmla="*/ 1013 w 1420"/>
                <a:gd name="T83" fmla="*/ 95 h 1192"/>
                <a:gd name="T84" fmla="*/ 1030 w 1420"/>
                <a:gd name="T85" fmla="*/ 59 h 1192"/>
                <a:gd name="T86" fmla="*/ 950 w 1420"/>
                <a:gd name="T87" fmla="*/ 25 h 1192"/>
                <a:gd name="T88" fmla="*/ 891 w 1420"/>
                <a:gd name="T89" fmla="*/ 56 h 1192"/>
                <a:gd name="T90" fmla="*/ 718 w 1420"/>
                <a:gd name="T91" fmla="*/ 0 h 1192"/>
                <a:gd name="T92" fmla="*/ 633 w 1420"/>
                <a:gd name="T93" fmla="*/ 36 h 1192"/>
                <a:gd name="T94" fmla="*/ 635 w 1420"/>
                <a:gd name="T95" fmla="*/ 67 h 1192"/>
                <a:gd name="T96" fmla="*/ 753 w 1420"/>
                <a:gd name="T97" fmla="*/ 168 h 1192"/>
                <a:gd name="T98" fmla="*/ 652 w 1420"/>
                <a:gd name="T99" fmla="*/ 329 h 1192"/>
                <a:gd name="T100" fmla="*/ 772 w 1420"/>
                <a:gd name="T101" fmla="*/ 329 h 1192"/>
                <a:gd name="T102" fmla="*/ 753 w 1420"/>
                <a:gd name="T103" fmla="*/ 599 h 1192"/>
                <a:gd name="T104" fmla="*/ 635 w 1420"/>
                <a:gd name="T105" fmla="*/ 588 h 1192"/>
                <a:gd name="T106" fmla="*/ 572 w 1420"/>
                <a:gd name="T107" fmla="*/ 375 h 1192"/>
                <a:gd name="T108" fmla="*/ 431 w 1420"/>
                <a:gd name="T109" fmla="*/ 365 h 1192"/>
                <a:gd name="T110" fmla="*/ 431 w 1420"/>
                <a:gd name="T111" fmla="*/ 365 h 1192"/>
                <a:gd name="T112" fmla="*/ 431 w 1420"/>
                <a:gd name="T113" fmla="*/ 365 h 119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20"/>
                <a:gd name="T172" fmla="*/ 0 h 1192"/>
                <a:gd name="T173" fmla="*/ 1420 w 1420"/>
                <a:gd name="T174" fmla="*/ 1192 h 119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20" h="1192">
                  <a:moveTo>
                    <a:pt x="431" y="365"/>
                  </a:moveTo>
                  <a:lnTo>
                    <a:pt x="405" y="422"/>
                  </a:lnTo>
                  <a:lnTo>
                    <a:pt x="448" y="468"/>
                  </a:lnTo>
                  <a:lnTo>
                    <a:pt x="475" y="645"/>
                  </a:lnTo>
                  <a:lnTo>
                    <a:pt x="325" y="692"/>
                  </a:lnTo>
                  <a:lnTo>
                    <a:pt x="294" y="734"/>
                  </a:lnTo>
                  <a:lnTo>
                    <a:pt x="24" y="766"/>
                  </a:lnTo>
                  <a:lnTo>
                    <a:pt x="0" y="905"/>
                  </a:lnTo>
                  <a:lnTo>
                    <a:pt x="47" y="1002"/>
                  </a:lnTo>
                  <a:lnTo>
                    <a:pt x="138" y="1000"/>
                  </a:lnTo>
                  <a:lnTo>
                    <a:pt x="235" y="930"/>
                  </a:lnTo>
                  <a:lnTo>
                    <a:pt x="439" y="970"/>
                  </a:lnTo>
                  <a:lnTo>
                    <a:pt x="465" y="936"/>
                  </a:lnTo>
                  <a:lnTo>
                    <a:pt x="612" y="989"/>
                  </a:lnTo>
                  <a:lnTo>
                    <a:pt x="762" y="1105"/>
                  </a:lnTo>
                  <a:lnTo>
                    <a:pt x="823" y="1107"/>
                  </a:lnTo>
                  <a:lnTo>
                    <a:pt x="939" y="1023"/>
                  </a:lnTo>
                  <a:lnTo>
                    <a:pt x="1199" y="1095"/>
                  </a:lnTo>
                  <a:lnTo>
                    <a:pt x="1260" y="1192"/>
                  </a:lnTo>
                  <a:lnTo>
                    <a:pt x="1344" y="1171"/>
                  </a:lnTo>
                  <a:lnTo>
                    <a:pt x="1353" y="1107"/>
                  </a:lnTo>
                  <a:lnTo>
                    <a:pt x="1350" y="1012"/>
                  </a:lnTo>
                  <a:lnTo>
                    <a:pt x="1420" y="987"/>
                  </a:lnTo>
                  <a:lnTo>
                    <a:pt x="1344" y="915"/>
                  </a:lnTo>
                  <a:lnTo>
                    <a:pt x="1344" y="860"/>
                  </a:lnTo>
                  <a:lnTo>
                    <a:pt x="1287" y="825"/>
                  </a:lnTo>
                  <a:lnTo>
                    <a:pt x="1154" y="842"/>
                  </a:lnTo>
                  <a:lnTo>
                    <a:pt x="1154" y="662"/>
                  </a:lnTo>
                  <a:lnTo>
                    <a:pt x="1180" y="618"/>
                  </a:lnTo>
                  <a:lnTo>
                    <a:pt x="1080" y="576"/>
                  </a:lnTo>
                  <a:lnTo>
                    <a:pt x="1080" y="455"/>
                  </a:lnTo>
                  <a:lnTo>
                    <a:pt x="1106" y="358"/>
                  </a:lnTo>
                  <a:lnTo>
                    <a:pt x="1053" y="318"/>
                  </a:lnTo>
                  <a:lnTo>
                    <a:pt x="1057" y="297"/>
                  </a:lnTo>
                  <a:lnTo>
                    <a:pt x="1142" y="297"/>
                  </a:lnTo>
                  <a:lnTo>
                    <a:pt x="1142" y="272"/>
                  </a:lnTo>
                  <a:lnTo>
                    <a:pt x="1066" y="247"/>
                  </a:lnTo>
                  <a:lnTo>
                    <a:pt x="1032" y="266"/>
                  </a:lnTo>
                  <a:lnTo>
                    <a:pt x="956" y="238"/>
                  </a:lnTo>
                  <a:lnTo>
                    <a:pt x="950" y="111"/>
                  </a:lnTo>
                  <a:lnTo>
                    <a:pt x="952" y="78"/>
                  </a:lnTo>
                  <a:lnTo>
                    <a:pt x="1013" y="95"/>
                  </a:lnTo>
                  <a:lnTo>
                    <a:pt x="1030" y="59"/>
                  </a:lnTo>
                  <a:lnTo>
                    <a:pt x="950" y="25"/>
                  </a:lnTo>
                  <a:lnTo>
                    <a:pt x="891" y="56"/>
                  </a:lnTo>
                  <a:lnTo>
                    <a:pt x="718" y="0"/>
                  </a:lnTo>
                  <a:lnTo>
                    <a:pt x="633" y="36"/>
                  </a:lnTo>
                  <a:lnTo>
                    <a:pt x="635" y="67"/>
                  </a:lnTo>
                  <a:lnTo>
                    <a:pt x="753" y="168"/>
                  </a:lnTo>
                  <a:lnTo>
                    <a:pt x="652" y="329"/>
                  </a:lnTo>
                  <a:lnTo>
                    <a:pt x="772" y="329"/>
                  </a:lnTo>
                  <a:lnTo>
                    <a:pt x="753" y="599"/>
                  </a:lnTo>
                  <a:lnTo>
                    <a:pt x="635" y="588"/>
                  </a:lnTo>
                  <a:lnTo>
                    <a:pt x="572" y="375"/>
                  </a:lnTo>
                  <a:lnTo>
                    <a:pt x="431" y="365"/>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2" name="Freeform 12"/>
            <p:cNvSpPr>
              <a:spLocks noChangeAspect="1"/>
            </p:cNvSpPr>
            <p:nvPr/>
          </p:nvSpPr>
          <p:spPr bwMode="gray">
            <a:xfrm>
              <a:off x="4132" y="2492"/>
              <a:ext cx="299" cy="290"/>
            </a:xfrm>
            <a:custGeom>
              <a:avLst/>
              <a:gdLst>
                <a:gd name="T0" fmla="*/ 180 w 597"/>
                <a:gd name="T1" fmla="*/ 0 h 580"/>
                <a:gd name="T2" fmla="*/ 80 w 597"/>
                <a:gd name="T3" fmla="*/ 68 h 580"/>
                <a:gd name="T4" fmla="*/ 110 w 597"/>
                <a:gd name="T5" fmla="*/ 122 h 580"/>
                <a:gd name="T6" fmla="*/ 0 w 597"/>
                <a:gd name="T7" fmla="*/ 167 h 580"/>
                <a:gd name="T8" fmla="*/ 13 w 597"/>
                <a:gd name="T9" fmla="*/ 264 h 580"/>
                <a:gd name="T10" fmla="*/ 89 w 597"/>
                <a:gd name="T11" fmla="*/ 302 h 580"/>
                <a:gd name="T12" fmla="*/ 129 w 597"/>
                <a:gd name="T13" fmla="*/ 479 h 580"/>
                <a:gd name="T14" fmla="*/ 331 w 597"/>
                <a:gd name="T15" fmla="*/ 572 h 580"/>
                <a:gd name="T16" fmla="*/ 390 w 597"/>
                <a:gd name="T17" fmla="*/ 580 h 580"/>
                <a:gd name="T18" fmla="*/ 390 w 597"/>
                <a:gd name="T19" fmla="*/ 519 h 580"/>
                <a:gd name="T20" fmla="*/ 433 w 597"/>
                <a:gd name="T21" fmla="*/ 475 h 580"/>
                <a:gd name="T22" fmla="*/ 597 w 597"/>
                <a:gd name="T23" fmla="*/ 443 h 580"/>
                <a:gd name="T24" fmla="*/ 597 w 597"/>
                <a:gd name="T25" fmla="*/ 403 h 580"/>
                <a:gd name="T26" fmla="*/ 504 w 597"/>
                <a:gd name="T27" fmla="*/ 323 h 580"/>
                <a:gd name="T28" fmla="*/ 490 w 597"/>
                <a:gd name="T29" fmla="*/ 237 h 580"/>
                <a:gd name="T30" fmla="*/ 410 w 597"/>
                <a:gd name="T31" fmla="*/ 188 h 580"/>
                <a:gd name="T32" fmla="*/ 420 w 597"/>
                <a:gd name="T33" fmla="*/ 125 h 580"/>
                <a:gd name="T34" fmla="*/ 384 w 597"/>
                <a:gd name="T35" fmla="*/ 40 h 580"/>
                <a:gd name="T36" fmla="*/ 180 w 597"/>
                <a:gd name="T37" fmla="*/ 0 h 580"/>
                <a:gd name="T38" fmla="*/ 180 w 597"/>
                <a:gd name="T39" fmla="*/ 0 h 580"/>
                <a:gd name="T40" fmla="*/ 180 w 597"/>
                <a:gd name="T41" fmla="*/ 0 h 58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97"/>
                <a:gd name="T64" fmla="*/ 0 h 580"/>
                <a:gd name="T65" fmla="*/ 597 w 597"/>
                <a:gd name="T66" fmla="*/ 580 h 58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97" h="580">
                  <a:moveTo>
                    <a:pt x="180" y="0"/>
                  </a:moveTo>
                  <a:lnTo>
                    <a:pt x="80" y="68"/>
                  </a:lnTo>
                  <a:lnTo>
                    <a:pt x="110" y="122"/>
                  </a:lnTo>
                  <a:lnTo>
                    <a:pt x="0" y="167"/>
                  </a:lnTo>
                  <a:lnTo>
                    <a:pt x="13" y="264"/>
                  </a:lnTo>
                  <a:lnTo>
                    <a:pt x="89" y="302"/>
                  </a:lnTo>
                  <a:lnTo>
                    <a:pt x="129" y="479"/>
                  </a:lnTo>
                  <a:lnTo>
                    <a:pt x="331" y="572"/>
                  </a:lnTo>
                  <a:lnTo>
                    <a:pt x="390" y="580"/>
                  </a:lnTo>
                  <a:lnTo>
                    <a:pt x="390" y="519"/>
                  </a:lnTo>
                  <a:lnTo>
                    <a:pt x="433" y="475"/>
                  </a:lnTo>
                  <a:lnTo>
                    <a:pt x="597" y="443"/>
                  </a:lnTo>
                  <a:lnTo>
                    <a:pt x="597" y="403"/>
                  </a:lnTo>
                  <a:lnTo>
                    <a:pt x="504" y="323"/>
                  </a:lnTo>
                  <a:lnTo>
                    <a:pt x="490" y="237"/>
                  </a:lnTo>
                  <a:lnTo>
                    <a:pt x="410" y="188"/>
                  </a:lnTo>
                  <a:lnTo>
                    <a:pt x="420" y="125"/>
                  </a:lnTo>
                  <a:lnTo>
                    <a:pt x="384" y="40"/>
                  </a:lnTo>
                  <a:lnTo>
                    <a:pt x="180"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3" name="Freeform 13"/>
            <p:cNvSpPr>
              <a:spLocks noChangeAspect="1"/>
            </p:cNvSpPr>
            <p:nvPr/>
          </p:nvSpPr>
          <p:spPr bwMode="gray">
            <a:xfrm>
              <a:off x="4324" y="2495"/>
              <a:ext cx="891" cy="412"/>
            </a:xfrm>
            <a:custGeom>
              <a:avLst/>
              <a:gdLst>
                <a:gd name="T0" fmla="*/ 26 w 1781"/>
                <a:gd name="T1" fmla="*/ 0 h 823"/>
                <a:gd name="T2" fmla="*/ 0 w 1781"/>
                <a:gd name="T3" fmla="*/ 34 h 823"/>
                <a:gd name="T4" fmla="*/ 36 w 1781"/>
                <a:gd name="T5" fmla="*/ 121 h 823"/>
                <a:gd name="T6" fmla="*/ 26 w 1781"/>
                <a:gd name="T7" fmla="*/ 180 h 823"/>
                <a:gd name="T8" fmla="*/ 110 w 1781"/>
                <a:gd name="T9" fmla="*/ 235 h 823"/>
                <a:gd name="T10" fmla="*/ 123 w 1781"/>
                <a:gd name="T11" fmla="*/ 321 h 823"/>
                <a:gd name="T12" fmla="*/ 213 w 1781"/>
                <a:gd name="T13" fmla="*/ 397 h 823"/>
                <a:gd name="T14" fmla="*/ 213 w 1781"/>
                <a:gd name="T15" fmla="*/ 437 h 823"/>
                <a:gd name="T16" fmla="*/ 45 w 1781"/>
                <a:gd name="T17" fmla="*/ 467 h 823"/>
                <a:gd name="T18" fmla="*/ 6 w 1781"/>
                <a:gd name="T19" fmla="*/ 513 h 823"/>
                <a:gd name="T20" fmla="*/ 6 w 1781"/>
                <a:gd name="T21" fmla="*/ 574 h 823"/>
                <a:gd name="T22" fmla="*/ 734 w 1781"/>
                <a:gd name="T23" fmla="*/ 731 h 823"/>
                <a:gd name="T24" fmla="*/ 1321 w 1781"/>
                <a:gd name="T25" fmla="*/ 823 h 823"/>
                <a:gd name="T26" fmla="*/ 1625 w 1781"/>
                <a:gd name="T27" fmla="*/ 672 h 823"/>
                <a:gd name="T28" fmla="*/ 1781 w 1781"/>
                <a:gd name="T29" fmla="*/ 659 h 823"/>
                <a:gd name="T30" fmla="*/ 1770 w 1781"/>
                <a:gd name="T31" fmla="*/ 486 h 823"/>
                <a:gd name="T32" fmla="*/ 1734 w 1781"/>
                <a:gd name="T33" fmla="*/ 467 h 823"/>
                <a:gd name="T34" fmla="*/ 1741 w 1781"/>
                <a:gd name="T35" fmla="*/ 281 h 823"/>
                <a:gd name="T36" fmla="*/ 1599 w 1781"/>
                <a:gd name="T37" fmla="*/ 165 h 823"/>
                <a:gd name="T38" fmla="*/ 1357 w 1781"/>
                <a:gd name="T39" fmla="*/ 209 h 823"/>
                <a:gd name="T40" fmla="*/ 1317 w 1781"/>
                <a:gd name="T41" fmla="*/ 252 h 823"/>
                <a:gd name="T42" fmla="*/ 1171 w 1781"/>
                <a:gd name="T43" fmla="*/ 146 h 823"/>
                <a:gd name="T44" fmla="*/ 950 w 1781"/>
                <a:gd name="T45" fmla="*/ 287 h 823"/>
                <a:gd name="T46" fmla="*/ 857 w 1781"/>
                <a:gd name="T47" fmla="*/ 311 h 823"/>
                <a:gd name="T48" fmla="*/ 827 w 1781"/>
                <a:gd name="T49" fmla="*/ 256 h 823"/>
                <a:gd name="T50" fmla="*/ 764 w 1781"/>
                <a:gd name="T51" fmla="*/ 161 h 823"/>
                <a:gd name="T52" fmla="*/ 500 w 1781"/>
                <a:gd name="T53" fmla="*/ 87 h 823"/>
                <a:gd name="T54" fmla="*/ 390 w 1781"/>
                <a:gd name="T55" fmla="*/ 165 h 823"/>
                <a:gd name="T56" fmla="*/ 323 w 1781"/>
                <a:gd name="T57" fmla="*/ 165 h 823"/>
                <a:gd name="T58" fmla="*/ 169 w 1781"/>
                <a:gd name="T59" fmla="*/ 49 h 823"/>
                <a:gd name="T60" fmla="*/ 26 w 1781"/>
                <a:gd name="T61" fmla="*/ 0 h 823"/>
                <a:gd name="T62" fmla="*/ 26 w 1781"/>
                <a:gd name="T63" fmla="*/ 0 h 823"/>
                <a:gd name="T64" fmla="*/ 26 w 1781"/>
                <a:gd name="T65" fmla="*/ 0 h 82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81"/>
                <a:gd name="T100" fmla="*/ 0 h 823"/>
                <a:gd name="T101" fmla="*/ 1781 w 1781"/>
                <a:gd name="T102" fmla="*/ 823 h 82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81" h="823">
                  <a:moveTo>
                    <a:pt x="26" y="0"/>
                  </a:moveTo>
                  <a:lnTo>
                    <a:pt x="0" y="34"/>
                  </a:lnTo>
                  <a:lnTo>
                    <a:pt x="36" y="121"/>
                  </a:lnTo>
                  <a:lnTo>
                    <a:pt x="26" y="180"/>
                  </a:lnTo>
                  <a:lnTo>
                    <a:pt x="110" y="235"/>
                  </a:lnTo>
                  <a:lnTo>
                    <a:pt x="123" y="321"/>
                  </a:lnTo>
                  <a:lnTo>
                    <a:pt x="213" y="397"/>
                  </a:lnTo>
                  <a:lnTo>
                    <a:pt x="213" y="437"/>
                  </a:lnTo>
                  <a:lnTo>
                    <a:pt x="45" y="467"/>
                  </a:lnTo>
                  <a:lnTo>
                    <a:pt x="6" y="513"/>
                  </a:lnTo>
                  <a:lnTo>
                    <a:pt x="6" y="574"/>
                  </a:lnTo>
                  <a:lnTo>
                    <a:pt x="734" y="731"/>
                  </a:lnTo>
                  <a:lnTo>
                    <a:pt x="1321" y="823"/>
                  </a:lnTo>
                  <a:lnTo>
                    <a:pt x="1625" y="672"/>
                  </a:lnTo>
                  <a:lnTo>
                    <a:pt x="1781" y="659"/>
                  </a:lnTo>
                  <a:lnTo>
                    <a:pt x="1770" y="486"/>
                  </a:lnTo>
                  <a:lnTo>
                    <a:pt x="1734" y="467"/>
                  </a:lnTo>
                  <a:lnTo>
                    <a:pt x="1741" y="281"/>
                  </a:lnTo>
                  <a:lnTo>
                    <a:pt x="1599" y="165"/>
                  </a:lnTo>
                  <a:lnTo>
                    <a:pt x="1357" y="209"/>
                  </a:lnTo>
                  <a:lnTo>
                    <a:pt x="1317" y="252"/>
                  </a:lnTo>
                  <a:lnTo>
                    <a:pt x="1171" y="146"/>
                  </a:lnTo>
                  <a:lnTo>
                    <a:pt x="950" y="287"/>
                  </a:lnTo>
                  <a:lnTo>
                    <a:pt x="857" y="311"/>
                  </a:lnTo>
                  <a:lnTo>
                    <a:pt x="827" y="256"/>
                  </a:lnTo>
                  <a:lnTo>
                    <a:pt x="764" y="161"/>
                  </a:lnTo>
                  <a:lnTo>
                    <a:pt x="500" y="87"/>
                  </a:lnTo>
                  <a:lnTo>
                    <a:pt x="390" y="165"/>
                  </a:lnTo>
                  <a:lnTo>
                    <a:pt x="323" y="165"/>
                  </a:lnTo>
                  <a:lnTo>
                    <a:pt x="169" y="49"/>
                  </a:lnTo>
                  <a:lnTo>
                    <a:pt x="26"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4" name="Freeform 14"/>
            <p:cNvSpPr>
              <a:spLocks noChangeAspect="1"/>
            </p:cNvSpPr>
            <p:nvPr/>
          </p:nvSpPr>
          <p:spPr bwMode="gray">
            <a:xfrm>
              <a:off x="4400" y="1643"/>
              <a:ext cx="802" cy="695"/>
            </a:xfrm>
            <a:custGeom>
              <a:avLst/>
              <a:gdLst>
                <a:gd name="T0" fmla="*/ 800 w 1605"/>
                <a:gd name="T1" fmla="*/ 0 h 1391"/>
                <a:gd name="T2" fmla="*/ 707 w 1605"/>
                <a:gd name="T3" fmla="*/ 283 h 1391"/>
                <a:gd name="T4" fmla="*/ 574 w 1605"/>
                <a:gd name="T5" fmla="*/ 190 h 1391"/>
                <a:gd name="T6" fmla="*/ 504 w 1605"/>
                <a:gd name="T7" fmla="*/ 222 h 1391"/>
                <a:gd name="T8" fmla="*/ 487 w 1605"/>
                <a:gd name="T9" fmla="*/ 416 h 1391"/>
                <a:gd name="T10" fmla="*/ 167 w 1605"/>
                <a:gd name="T11" fmla="*/ 574 h 1391"/>
                <a:gd name="T12" fmla="*/ 89 w 1605"/>
                <a:gd name="T13" fmla="*/ 556 h 1391"/>
                <a:gd name="T14" fmla="*/ 0 w 1605"/>
                <a:gd name="T15" fmla="*/ 663 h 1391"/>
                <a:gd name="T16" fmla="*/ 44 w 1605"/>
                <a:gd name="T17" fmla="*/ 805 h 1391"/>
                <a:gd name="T18" fmla="*/ 129 w 1605"/>
                <a:gd name="T19" fmla="*/ 769 h 1391"/>
                <a:gd name="T20" fmla="*/ 302 w 1605"/>
                <a:gd name="T21" fmla="*/ 826 h 1391"/>
                <a:gd name="T22" fmla="*/ 363 w 1605"/>
                <a:gd name="T23" fmla="*/ 798 h 1391"/>
                <a:gd name="T24" fmla="*/ 437 w 1605"/>
                <a:gd name="T25" fmla="*/ 830 h 1391"/>
                <a:gd name="T26" fmla="*/ 424 w 1605"/>
                <a:gd name="T27" fmla="*/ 863 h 1391"/>
                <a:gd name="T28" fmla="*/ 363 w 1605"/>
                <a:gd name="T29" fmla="*/ 842 h 1391"/>
                <a:gd name="T30" fmla="*/ 357 w 1605"/>
                <a:gd name="T31" fmla="*/ 887 h 1391"/>
                <a:gd name="T32" fmla="*/ 367 w 1605"/>
                <a:gd name="T33" fmla="*/ 1011 h 1391"/>
                <a:gd name="T34" fmla="*/ 443 w 1605"/>
                <a:gd name="T35" fmla="*/ 1035 h 1391"/>
                <a:gd name="T36" fmla="*/ 481 w 1605"/>
                <a:gd name="T37" fmla="*/ 1020 h 1391"/>
                <a:gd name="T38" fmla="*/ 553 w 1605"/>
                <a:gd name="T39" fmla="*/ 1041 h 1391"/>
                <a:gd name="T40" fmla="*/ 553 w 1605"/>
                <a:gd name="T41" fmla="*/ 1066 h 1391"/>
                <a:gd name="T42" fmla="*/ 470 w 1605"/>
                <a:gd name="T43" fmla="*/ 1066 h 1391"/>
                <a:gd name="T44" fmla="*/ 464 w 1605"/>
                <a:gd name="T45" fmla="*/ 1085 h 1391"/>
                <a:gd name="T46" fmla="*/ 517 w 1605"/>
                <a:gd name="T47" fmla="*/ 1127 h 1391"/>
                <a:gd name="T48" fmla="*/ 491 w 1605"/>
                <a:gd name="T49" fmla="*/ 1224 h 1391"/>
                <a:gd name="T50" fmla="*/ 487 w 1605"/>
                <a:gd name="T51" fmla="*/ 1345 h 1391"/>
                <a:gd name="T52" fmla="*/ 588 w 1605"/>
                <a:gd name="T53" fmla="*/ 1387 h 1391"/>
                <a:gd name="T54" fmla="*/ 698 w 1605"/>
                <a:gd name="T55" fmla="*/ 1391 h 1391"/>
                <a:gd name="T56" fmla="*/ 698 w 1605"/>
                <a:gd name="T57" fmla="*/ 1252 h 1391"/>
                <a:gd name="T58" fmla="*/ 641 w 1605"/>
                <a:gd name="T59" fmla="*/ 1229 h 1391"/>
                <a:gd name="T60" fmla="*/ 681 w 1605"/>
                <a:gd name="T61" fmla="*/ 1127 h 1391"/>
                <a:gd name="T62" fmla="*/ 839 w 1605"/>
                <a:gd name="T63" fmla="*/ 1127 h 1391"/>
                <a:gd name="T64" fmla="*/ 915 w 1605"/>
                <a:gd name="T65" fmla="*/ 1235 h 1391"/>
                <a:gd name="T66" fmla="*/ 1044 w 1605"/>
                <a:gd name="T67" fmla="*/ 1210 h 1391"/>
                <a:gd name="T68" fmla="*/ 1082 w 1605"/>
                <a:gd name="T69" fmla="*/ 1258 h 1391"/>
                <a:gd name="T70" fmla="*/ 1264 w 1605"/>
                <a:gd name="T71" fmla="*/ 1182 h 1391"/>
                <a:gd name="T72" fmla="*/ 1268 w 1605"/>
                <a:gd name="T73" fmla="*/ 1136 h 1391"/>
                <a:gd name="T74" fmla="*/ 1409 w 1605"/>
                <a:gd name="T75" fmla="*/ 1100 h 1391"/>
                <a:gd name="T76" fmla="*/ 1409 w 1605"/>
                <a:gd name="T77" fmla="*/ 1015 h 1391"/>
                <a:gd name="T78" fmla="*/ 1445 w 1605"/>
                <a:gd name="T79" fmla="*/ 988 h 1391"/>
                <a:gd name="T80" fmla="*/ 1445 w 1605"/>
                <a:gd name="T81" fmla="*/ 918 h 1391"/>
                <a:gd name="T82" fmla="*/ 1325 w 1605"/>
                <a:gd name="T83" fmla="*/ 899 h 1391"/>
                <a:gd name="T84" fmla="*/ 1215 w 1605"/>
                <a:gd name="T85" fmla="*/ 785 h 1391"/>
                <a:gd name="T86" fmla="*/ 1251 w 1605"/>
                <a:gd name="T87" fmla="*/ 722 h 1391"/>
                <a:gd name="T88" fmla="*/ 1251 w 1605"/>
                <a:gd name="T89" fmla="*/ 583 h 1391"/>
                <a:gd name="T90" fmla="*/ 1352 w 1605"/>
                <a:gd name="T91" fmla="*/ 638 h 1391"/>
                <a:gd name="T92" fmla="*/ 1502 w 1605"/>
                <a:gd name="T93" fmla="*/ 638 h 1391"/>
                <a:gd name="T94" fmla="*/ 1578 w 1605"/>
                <a:gd name="T95" fmla="*/ 596 h 1391"/>
                <a:gd name="T96" fmla="*/ 1605 w 1605"/>
                <a:gd name="T97" fmla="*/ 503 h 1391"/>
                <a:gd name="T98" fmla="*/ 1565 w 1605"/>
                <a:gd name="T99" fmla="*/ 399 h 1391"/>
                <a:gd name="T100" fmla="*/ 1565 w 1605"/>
                <a:gd name="T101" fmla="*/ 332 h 1391"/>
                <a:gd name="T102" fmla="*/ 1508 w 1605"/>
                <a:gd name="T103" fmla="*/ 302 h 1391"/>
                <a:gd name="T104" fmla="*/ 1494 w 1605"/>
                <a:gd name="T105" fmla="*/ 230 h 1391"/>
                <a:gd name="T106" fmla="*/ 1399 w 1605"/>
                <a:gd name="T107" fmla="*/ 203 h 1391"/>
                <a:gd name="T108" fmla="*/ 1230 w 1605"/>
                <a:gd name="T109" fmla="*/ 142 h 1391"/>
                <a:gd name="T110" fmla="*/ 1137 w 1605"/>
                <a:gd name="T111" fmla="*/ 228 h 1391"/>
                <a:gd name="T112" fmla="*/ 1065 w 1605"/>
                <a:gd name="T113" fmla="*/ 184 h 1391"/>
                <a:gd name="T114" fmla="*/ 941 w 1605"/>
                <a:gd name="T115" fmla="*/ 171 h 1391"/>
                <a:gd name="T116" fmla="*/ 941 w 1605"/>
                <a:gd name="T117" fmla="*/ 102 h 1391"/>
                <a:gd name="T118" fmla="*/ 800 w 1605"/>
                <a:gd name="T119" fmla="*/ 0 h 1391"/>
                <a:gd name="T120" fmla="*/ 800 w 1605"/>
                <a:gd name="T121" fmla="*/ 0 h 1391"/>
                <a:gd name="T122" fmla="*/ 800 w 1605"/>
                <a:gd name="T123" fmla="*/ 0 h 13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05"/>
                <a:gd name="T187" fmla="*/ 0 h 1391"/>
                <a:gd name="T188" fmla="*/ 1605 w 1605"/>
                <a:gd name="T189" fmla="*/ 1391 h 139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05" h="1391">
                  <a:moveTo>
                    <a:pt x="800" y="0"/>
                  </a:moveTo>
                  <a:lnTo>
                    <a:pt x="707" y="283"/>
                  </a:lnTo>
                  <a:lnTo>
                    <a:pt x="574" y="190"/>
                  </a:lnTo>
                  <a:lnTo>
                    <a:pt x="504" y="222"/>
                  </a:lnTo>
                  <a:lnTo>
                    <a:pt x="487" y="416"/>
                  </a:lnTo>
                  <a:lnTo>
                    <a:pt x="167" y="574"/>
                  </a:lnTo>
                  <a:lnTo>
                    <a:pt x="89" y="556"/>
                  </a:lnTo>
                  <a:lnTo>
                    <a:pt x="0" y="663"/>
                  </a:lnTo>
                  <a:lnTo>
                    <a:pt x="44" y="805"/>
                  </a:lnTo>
                  <a:lnTo>
                    <a:pt x="129" y="769"/>
                  </a:lnTo>
                  <a:lnTo>
                    <a:pt x="302" y="826"/>
                  </a:lnTo>
                  <a:lnTo>
                    <a:pt x="363" y="798"/>
                  </a:lnTo>
                  <a:lnTo>
                    <a:pt x="437" y="830"/>
                  </a:lnTo>
                  <a:lnTo>
                    <a:pt x="424" y="863"/>
                  </a:lnTo>
                  <a:lnTo>
                    <a:pt x="363" y="842"/>
                  </a:lnTo>
                  <a:lnTo>
                    <a:pt x="357" y="887"/>
                  </a:lnTo>
                  <a:lnTo>
                    <a:pt x="367" y="1011"/>
                  </a:lnTo>
                  <a:lnTo>
                    <a:pt x="443" y="1035"/>
                  </a:lnTo>
                  <a:lnTo>
                    <a:pt x="481" y="1020"/>
                  </a:lnTo>
                  <a:lnTo>
                    <a:pt x="553" y="1041"/>
                  </a:lnTo>
                  <a:lnTo>
                    <a:pt x="553" y="1066"/>
                  </a:lnTo>
                  <a:lnTo>
                    <a:pt x="470" y="1066"/>
                  </a:lnTo>
                  <a:lnTo>
                    <a:pt x="464" y="1085"/>
                  </a:lnTo>
                  <a:lnTo>
                    <a:pt x="517" y="1127"/>
                  </a:lnTo>
                  <a:lnTo>
                    <a:pt x="491" y="1224"/>
                  </a:lnTo>
                  <a:lnTo>
                    <a:pt x="487" y="1345"/>
                  </a:lnTo>
                  <a:lnTo>
                    <a:pt x="588" y="1387"/>
                  </a:lnTo>
                  <a:lnTo>
                    <a:pt x="698" y="1391"/>
                  </a:lnTo>
                  <a:lnTo>
                    <a:pt x="698" y="1252"/>
                  </a:lnTo>
                  <a:lnTo>
                    <a:pt x="641" y="1229"/>
                  </a:lnTo>
                  <a:lnTo>
                    <a:pt x="681" y="1127"/>
                  </a:lnTo>
                  <a:lnTo>
                    <a:pt x="839" y="1127"/>
                  </a:lnTo>
                  <a:lnTo>
                    <a:pt x="915" y="1235"/>
                  </a:lnTo>
                  <a:lnTo>
                    <a:pt x="1044" y="1210"/>
                  </a:lnTo>
                  <a:lnTo>
                    <a:pt x="1082" y="1258"/>
                  </a:lnTo>
                  <a:lnTo>
                    <a:pt x="1264" y="1182"/>
                  </a:lnTo>
                  <a:lnTo>
                    <a:pt x="1268" y="1136"/>
                  </a:lnTo>
                  <a:lnTo>
                    <a:pt x="1409" y="1100"/>
                  </a:lnTo>
                  <a:lnTo>
                    <a:pt x="1409" y="1015"/>
                  </a:lnTo>
                  <a:lnTo>
                    <a:pt x="1445" y="988"/>
                  </a:lnTo>
                  <a:lnTo>
                    <a:pt x="1445" y="918"/>
                  </a:lnTo>
                  <a:lnTo>
                    <a:pt x="1325" y="899"/>
                  </a:lnTo>
                  <a:lnTo>
                    <a:pt x="1215" y="785"/>
                  </a:lnTo>
                  <a:lnTo>
                    <a:pt x="1251" y="722"/>
                  </a:lnTo>
                  <a:lnTo>
                    <a:pt x="1251" y="583"/>
                  </a:lnTo>
                  <a:lnTo>
                    <a:pt x="1352" y="638"/>
                  </a:lnTo>
                  <a:lnTo>
                    <a:pt x="1502" y="638"/>
                  </a:lnTo>
                  <a:lnTo>
                    <a:pt x="1578" y="596"/>
                  </a:lnTo>
                  <a:lnTo>
                    <a:pt x="1605" y="503"/>
                  </a:lnTo>
                  <a:lnTo>
                    <a:pt x="1565" y="399"/>
                  </a:lnTo>
                  <a:lnTo>
                    <a:pt x="1565" y="332"/>
                  </a:lnTo>
                  <a:lnTo>
                    <a:pt x="1508" y="302"/>
                  </a:lnTo>
                  <a:lnTo>
                    <a:pt x="1494" y="230"/>
                  </a:lnTo>
                  <a:lnTo>
                    <a:pt x="1399" y="203"/>
                  </a:lnTo>
                  <a:lnTo>
                    <a:pt x="1230" y="142"/>
                  </a:lnTo>
                  <a:lnTo>
                    <a:pt x="1137" y="228"/>
                  </a:lnTo>
                  <a:lnTo>
                    <a:pt x="1065" y="184"/>
                  </a:lnTo>
                  <a:lnTo>
                    <a:pt x="941" y="171"/>
                  </a:lnTo>
                  <a:lnTo>
                    <a:pt x="941" y="102"/>
                  </a:lnTo>
                  <a:lnTo>
                    <a:pt x="800"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5" name="Freeform 15"/>
            <p:cNvSpPr>
              <a:spLocks noChangeAspect="1"/>
            </p:cNvSpPr>
            <p:nvPr/>
          </p:nvSpPr>
          <p:spPr bwMode="gray">
            <a:xfrm>
              <a:off x="4682" y="2166"/>
              <a:ext cx="939" cy="659"/>
            </a:xfrm>
            <a:custGeom>
              <a:avLst/>
              <a:gdLst>
                <a:gd name="T0" fmla="*/ 199 w 1878"/>
                <a:gd name="T1" fmla="*/ 774 h 1317"/>
                <a:gd name="T2" fmla="*/ 199 w 1878"/>
                <a:gd name="T3" fmla="*/ 836 h 1317"/>
                <a:gd name="T4" fmla="*/ 188 w 1878"/>
                <a:gd name="T5" fmla="*/ 893 h 1317"/>
                <a:gd name="T6" fmla="*/ 108 w 1878"/>
                <a:gd name="T7" fmla="*/ 912 h 1317"/>
                <a:gd name="T8" fmla="*/ 137 w 1878"/>
                <a:gd name="T9" fmla="*/ 971 h 1317"/>
                <a:gd name="T10" fmla="*/ 239 w 1878"/>
                <a:gd name="T11" fmla="*/ 945 h 1317"/>
                <a:gd name="T12" fmla="*/ 456 w 1878"/>
                <a:gd name="T13" fmla="*/ 802 h 1317"/>
                <a:gd name="T14" fmla="*/ 602 w 1878"/>
                <a:gd name="T15" fmla="*/ 912 h 1317"/>
                <a:gd name="T16" fmla="*/ 640 w 1878"/>
                <a:gd name="T17" fmla="*/ 870 h 1317"/>
                <a:gd name="T18" fmla="*/ 886 w 1878"/>
                <a:gd name="T19" fmla="*/ 825 h 1317"/>
                <a:gd name="T20" fmla="*/ 1026 w 1878"/>
                <a:gd name="T21" fmla="*/ 937 h 1317"/>
                <a:gd name="T22" fmla="*/ 1017 w 1878"/>
                <a:gd name="T23" fmla="*/ 1125 h 1317"/>
                <a:gd name="T24" fmla="*/ 1055 w 1878"/>
                <a:gd name="T25" fmla="*/ 1144 h 1317"/>
                <a:gd name="T26" fmla="*/ 1064 w 1878"/>
                <a:gd name="T27" fmla="*/ 1317 h 1317"/>
                <a:gd name="T28" fmla="*/ 1439 w 1878"/>
                <a:gd name="T29" fmla="*/ 1300 h 1317"/>
                <a:gd name="T30" fmla="*/ 1504 w 1878"/>
                <a:gd name="T31" fmla="*/ 1192 h 1317"/>
                <a:gd name="T32" fmla="*/ 1796 w 1878"/>
                <a:gd name="T33" fmla="*/ 1281 h 1317"/>
                <a:gd name="T34" fmla="*/ 1770 w 1878"/>
                <a:gd name="T35" fmla="*/ 1095 h 1317"/>
                <a:gd name="T36" fmla="*/ 1869 w 1878"/>
                <a:gd name="T37" fmla="*/ 899 h 1317"/>
                <a:gd name="T38" fmla="*/ 1829 w 1878"/>
                <a:gd name="T39" fmla="*/ 794 h 1317"/>
                <a:gd name="T40" fmla="*/ 1867 w 1878"/>
                <a:gd name="T41" fmla="*/ 734 h 1317"/>
                <a:gd name="T42" fmla="*/ 1775 w 1878"/>
                <a:gd name="T43" fmla="*/ 498 h 1317"/>
                <a:gd name="T44" fmla="*/ 1878 w 1878"/>
                <a:gd name="T45" fmla="*/ 441 h 1317"/>
                <a:gd name="T46" fmla="*/ 1846 w 1878"/>
                <a:gd name="T47" fmla="*/ 334 h 1317"/>
                <a:gd name="T48" fmla="*/ 1656 w 1878"/>
                <a:gd name="T49" fmla="*/ 207 h 1317"/>
                <a:gd name="T50" fmla="*/ 1589 w 1878"/>
                <a:gd name="T51" fmla="*/ 207 h 1317"/>
                <a:gd name="T52" fmla="*/ 1568 w 1878"/>
                <a:gd name="T53" fmla="*/ 101 h 1317"/>
                <a:gd name="T54" fmla="*/ 1329 w 1878"/>
                <a:gd name="T55" fmla="*/ 0 h 1317"/>
                <a:gd name="T56" fmla="*/ 986 w 1878"/>
                <a:gd name="T57" fmla="*/ 112 h 1317"/>
                <a:gd name="T58" fmla="*/ 850 w 1878"/>
                <a:gd name="T59" fmla="*/ 51 h 1317"/>
                <a:gd name="T60" fmla="*/ 703 w 1878"/>
                <a:gd name="T61" fmla="*/ 89 h 1317"/>
                <a:gd name="T62" fmla="*/ 699 w 1878"/>
                <a:gd name="T63" fmla="*/ 135 h 1317"/>
                <a:gd name="T64" fmla="*/ 519 w 1878"/>
                <a:gd name="T65" fmla="*/ 205 h 1317"/>
                <a:gd name="T66" fmla="*/ 483 w 1878"/>
                <a:gd name="T67" fmla="*/ 163 h 1317"/>
                <a:gd name="T68" fmla="*/ 350 w 1878"/>
                <a:gd name="T69" fmla="*/ 186 h 1317"/>
                <a:gd name="T70" fmla="*/ 275 w 1878"/>
                <a:gd name="T71" fmla="*/ 80 h 1317"/>
                <a:gd name="T72" fmla="*/ 116 w 1878"/>
                <a:gd name="T73" fmla="*/ 80 h 1317"/>
                <a:gd name="T74" fmla="*/ 76 w 1878"/>
                <a:gd name="T75" fmla="*/ 182 h 1317"/>
                <a:gd name="T76" fmla="*/ 133 w 1878"/>
                <a:gd name="T77" fmla="*/ 207 h 1317"/>
                <a:gd name="T78" fmla="*/ 133 w 1878"/>
                <a:gd name="T79" fmla="*/ 346 h 1317"/>
                <a:gd name="T80" fmla="*/ 26 w 1878"/>
                <a:gd name="T81" fmla="*/ 340 h 1317"/>
                <a:gd name="T82" fmla="*/ 0 w 1878"/>
                <a:gd name="T83" fmla="*/ 386 h 1317"/>
                <a:gd name="T84" fmla="*/ 0 w 1878"/>
                <a:gd name="T85" fmla="*/ 564 h 1317"/>
                <a:gd name="T86" fmla="*/ 133 w 1878"/>
                <a:gd name="T87" fmla="*/ 547 h 1317"/>
                <a:gd name="T88" fmla="*/ 190 w 1878"/>
                <a:gd name="T89" fmla="*/ 582 h 1317"/>
                <a:gd name="T90" fmla="*/ 190 w 1878"/>
                <a:gd name="T91" fmla="*/ 637 h 1317"/>
                <a:gd name="T92" fmla="*/ 266 w 1878"/>
                <a:gd name="T93" fmla="*/ 707 h 1317"/>
                <a:gd name="T94" fmla="*/ 196 w 1878"/>
                <a:gd name="T95" fmla="*/ 736 h 1317"/>
                <a:gd name="T96" fmla="*/ 199 w 1878"/>
                <a:gd name="T97" fmla="*/ 774 h 1317"/>
                <a:gd name="T98" fmla="*/ 199 w 1878"/>
                <a:gd name="T99" fmla="*/ 774 h 1317"/>
                <a:gd name="T100" fmla="*/ 199 w 1878"/>
                <a:gd name="T101" fmla="*/ 774 h 131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878"/>
                <a:gd name="T154" fmla="*/ 0 h 1317"/>
                <a:gd name="T155" fmla="*/ 1878 w 1878"/>
                <a:gd name="T156" fmla="*/ 1317 h 131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878" h="1317">
                  <a:moveTo>
                    <a:pt x="199" y="774"/>
                  </a:moveTo>
                  <a:lnTo>
                    <a:pt x="199" y="836"/>
                  </a:lnTo>
                  <a:lnTo>
                    <a:pt x="188" y="893"/>
                  </a:lnTo>
                  <a:lnTo>
                    <a:pt x="108" y="912"/>
                  </a:lnTo>
                  <a:lnTo>
                    <a:pt x="137" y="971"/>
                  </a:lnTo>
                  <a:lnTo>
                    <a:pt x="239" y="945"/>
                  </a:lnTo>
                  <a:lnTo>
                    <a:pt x="456" y="802"/>
                  </a:lnTo>
                  <a:lnTo>
                    <a:pt x="602" y="912"/>
                  </a:lnTo>
                  <a:lnTo>
                    <a:pt x="640" y="870"/>
                  </a:lnTo>
                  <a:lnTo>
                    <a:pt x="886" y="825"/>
                  </a:lnTo>
                  <a:lnTo>
                    <a:pt x="1026" y="937"/>
                  </a:lnTo>
                  <a:lnTo>
                    <a:pt x="1017" y="1125"/>
                  </a:lnTo>
                  <a:lnTo>
                    <a:pt x="1055" y="1144"/>
                  </a:lnTo>
                  <a:lnTo>
                    <a:pt x="1064" y="1317"/>
                  </a:lnTo>
                  <a:lnTo>
                    <a:pt x="1439" y="1300"/>
                  </a:lnTo>
                  <a:lnTo>
                    <a:pt x="1504" y="1192"/>
                  </a:lnTo>
                  <a:lnTo>
                    <a:pt x="1796" y="1281"/>
                  </a:lnTo>
                  <a:lnTo>
                    <a:pt x="1770" y="1095"/>
                  </a:lnTo>
                  <a:lnTo>
                    <a:pt x="1869" y="899"/>
                  </a:lnTo>
                  <a:lnTo>
                    <a:pt x="1829" y="794"/>
                  </a:lnTo>
                  <a:lnTo>
                    <a:pt x="1867" y="734"/>
                  </a:lnTo>
                  <a:lnTo>
                    <a:pt x="1775" y="498"/>
                  </a:lnTo>
                  <a:lnTo>
                    <a:pt x="1878" y="441"/>
                  </a:lnTo>
                  <a:lnTo>
                    <a:pt x="1846" y="334"/>
                  </a:lnTo>
                  <a:lnTo>
                    <a:pt x="1656" y="207"/>
                  </a:lnTo>
                  <a:lnTo>
                    <a:pt x="1589" y="207"/>
                  </a:lnTo>
                  <a:lnTo>
                    <a:pt x="1568" y="101"/>
                  </a:lnTo>
                  <a:lnTo>
                    <a:pt x="1329" y="0"/>
                  </a:lnTo>
                  <a:lnTo>
                    <a:pt x="986" y="112"/>
                  </a:lnTo>
                  <a:lnTo>
                    <a:pt x="850" y="51"/>
                  </a:lnTo>
                  <a:lnTo>
                    <a:pt x="703" y="89"/>
                  </a:lnTo>
                  <a:lnTo>
                    <a:pt x="699" y="135"/>
                  </a:lnTo>
                  <a:lnTo>
                    <a:pt x="519" y="205"/>
                  </a:lnTo>
                  <a:lnTo>
                    <a:pt x="483" y="163"/>
                  </a:lnTo>
                  <a:lnTo>
                    <a:pt x="350" y="186"/>
                  </a:lnTo>
                  <a:lnTo>
                    <a:pt x="275" y="80"/>
                  </a:lnTo>
                  <a:lnTo>
                    <a:pt x="116" y="80"/>
                  </a:lnTo>
                  <a:lnTo>
                    <a:pt x="76" y="182"/>
                  </a:lnTo>
                  <a:lnTo>
                    <a:pt x="133" y="207"/>
                  </a:lnTo>
                  <a:lnTo>
                    <a:pt x="133" y="346"/>
                  </a:lnTo>
                  <a:lnTo>
                    <a:pt x="26" y="340"/>
                  </a:lnTo>
                  <a:lnTo>
                    <a:pt x="0" y="386"/>
                  </a:lnTo>
                  <a:lnTo>
                    <a:pt x="0" y="564"/>
                  </a:lnTo>
                  <a:lnTo>
                    <a:pt x="133" y="547"/>
                  </a:lnTo>
                  <a:lnTo>
                    <a:pt x="190" y="582"/>
                  </a:lnTo>
                  <a:lnTo>
                    <a:pt x="190" y="637"/>
                  </a:lnTo>
                  <a:lnTo>
                    <a:pt x="266" y="707"/>
                  </a:lnTo>
                  <a:lnTo>
                    <a:pt x="196" y="736"/>
                  </a:lnTo>
                  <a:lnTo>
                    <a:pt x="199" y="774"/>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6" name="Freeform 16"/>
            <p:cNvSpPr>
              <a:spLocks noChangeAspect="1"/>
            </p:cNvSpPr>
            <p:nvPr/>
          </p:nvSpPr>
          <p:spPr bwMode="gray">
            <a:xfrm>
              <a:off x="5005" y="1504"/>
              <a:ext cx="974" cy="881"/>
            </a:xfrm>
            <a:custGeom>
              <a:avLst/>
              <a:gdLst>
                <a:gd name="T0" fmla="*/ 1802 w 1949"/>
                <a:gd name="T1" fmla="*/ 789 h 1762"/>
                <a:gd name="T2" fmla="*/ 1854 w 1949"/>
                <a:gd name="T3" fmla="*/ 378 h 1762"/>
                <a:gd name="T4" fmla="*/ 1550 w 1949"/>
                <a:gd name="T5" fmla="*/ 264 h 1762"/>
                <a:gd name="T6" fmla="*/ 1398 w 1949"/>
                <a:gd name="T7" fmla="*/ 355 h 1762"/>
                <a:gd name="T8" fmla="*/ 960 w 1949"/>
                <a:gd name="T9" fmla="*/ 188 h 1762"/>
                <a:gd name="T10" fmla="*/ 785 w 1949"/>
                <a:gd name="T11" fmla="*/ 203 h 1762"/>
                <a:gd name="T12" fmla="*/ 453 w 1949"/>
                <a:gd name="T13" fmla="*/ 0 h 1762"/>
                <a:gd name="T14" fmla="*/ 409 w 1949"/>
                <a:gd name="T15" fmla="*/ 135 h 1762"/>
                <a:gd name="T16" fmla="*/ 399 w 1949"/>
                <a:gd name="T17" fmla="*/ 295 h 1762"/>
                <a:gd name="T18" fmla="*/ 291 w 1949"/>
                <a:gd name="T19" fmla="*/ 268 h 1762"/>
                <a:gd name="T20" fmla="*/ 190 w 1949"/>
                <a:gd name="T21" fmla="*/ 479 h 1762"/>
                <a:gd name="T22" fmla="*/ 283 w 1949"/>
                <a:gd name="T23" fmla="*/ 511 h 1762"/>
                <a:gd name="T24" fmla="*/ 299 w 1949"/>
                <a:gd name="T25" fmla="*/ 584 h 1762"/>
                <a:gd name="T26" fmla="*/ 354 w 1949"/>
                <a:gd name="T27" fmla="*/ 610 h 1762"/>
                <a:gd name="T28" fmla="*/ 354 w 1949"/>
                <a:gd name="T29" fmla="*/ 682 h 1762"/>
                <a:gd name="T30" fmla="*/ 394 w 1949"/>
                <a:gd name="T31" fmla="*/ 781 h 1762"/>
                <a:gd name="T32" fmla="*/ 365 w 1949"/>
                <a:gd name="T33" fmla="*/ 871 h 1762"/>
                <a:gd name="T34" fmla="*/ 291 w 1949"/>
                <a:gd name="T35" fmla="*/ 914 h 1762"/>
                <a:gd name="T36" fmla="*/ 141 w 1949"/>
                <a:gd name="T37" fmla="*/ 916 h 1762"/>
                <a:gd name="T38" fmla="*/ 44 w 1949"/>
                <a:gd name="T39" fmla="*/ 861 h 1762"/>
                <a:gd name="T40" fmla="*/ 44 w 1949"/>
                <a:gd name="T41" fmla="*/ 1000 h 1762"/>
                <a:gd name="T42" fmla="*/ 0 w 1949"/>
                <a:gd name="T43" fmla="*/ 1057 h 1762"/>
                <a:gd name="T44" fmla="*/ 110 w 1949"/>
                <a:gd name="T45" fmla="*/ 1177 h 1762"/>
                <a:gd name="T46" fmla="*/ 234 w 1949"/>
                <a:gd name="T47" fmla="*/ 1199 h 1762"/>
                <a:gd name="T48" fmla="*/ 234 w 1949"/>
                <a:gd name="T49" fmla="*/ 1266 h 1762"/>
                <a:gd name="T50" fmla="*/ 198 w 1949"/>
                <a:gd name="T51" fmla="*/ 1293 h 1762"/>
                <a:gd name="T52" fmla="*/ 198 w 1949"/>
                <a:gd name="T53" fmla="*/ 1378 h 1762"/>
                <a:gd name="T54" fmla="*/ 340 w 1949"/>
                <a:gd name="T55" fmla="*/ 1437 h 1762"/>
                <a:gd name="T56" fmla="*/ 683 w 1949"/>
                <a:gd name="T57" fmla="*/ 1325 h 1762"/>
                <a:gd name="T58" fmla="*/ 922 w 1949"/>
                <a:gd name="T59" fmla="*/ 1426 h 1762"/>
                <a:gd name="T60" fmla="*/ 943 w 1949"/>
                <a:gd name="T61" fmla="*/ 1532 h 1762"/>
                <a:gd name="T62" fmla="*/ 1010 w 1949"/>
                <a:gd name="T63" fmla="*/ 1532 h 1762"/>
                <a:gd name="T64" fmla="*/ 1200 w 1949"/>
                <a:gd name="T65" fmla="*/ 1659 h 1762"/>
                <a:gd name="T66" fmla="*/ 1232 w 1949"/>
                <a:gd name="T67" fmla="*/ 1762 h 1762"/>
                <a:gd name="T68" fmla="*/ 1394 w 1949"/>
                <a:gd name="T69" fmla="*/ 1680 h 1762"/>
                <a:gd name="T70" fmla="*/ 1342 w 1949"/>
                <a:gd name="T71" fmla="*/ 1587 h 1762"/>
                <a:gd name="T72" fmla="*/ 1407 w 1949"/>
                <a:gd name="T73" fmla="*/ 1528 h 1762"/>
                <a:gd name="T74" fmla="*/ 1342 w 1949"/>
                <a:gd name="T75" fmla="*/ 1414 h 1762"/>
                <a:gd name="T76" fmla="*/ 1342 w 1949"/>
                <a:gd name="T77" fmla="*/ 1346 h 1762"/>
                <a:gd name="T78" fmla="*/ 1432 w 1949"/>
                <a:gd name="T79" fmla="*/ 1329 h 1762"/>
                <a:gd name="T80" fmla="*/ 1426 w 1949"/>
                <a:gd name="T81" fmla="*/ 1249 h 1762"/>
                <a:gd name="T82" fmla="*/ 1493 w 1949"/>
                <a:gd name="T83" fmla="*/ 1192 h 1762"/>
                <a:gd name="T84" fmla="*/ 1544 w 1949"/>
                <a:gd name="T85" fmla="*/ 1215 h 1762"/>
                <a:gd name="T86" fmla="*/ 1618 w 1949"/>
                <a:gd name="T87" fmla="*/ 1110 h 1762"/>
                <a:gd name="T88" fmla="*/ 1692 w 1949"/>
                <a:gd name="T89" fmla="*/ 1110 h 1762"/>
                <a:gd name="T90" fmla="*/ 1766 w 1949"/>
                <a:gd name="T91" fmla="*/ 1066 h 1762"/>
                <a:gd name="T92" fmla="*/ 1835 w 1949"/>
                <a:gd name="T93" fmla="*/ 1099 h 1762"/>
                <a:gd name="T94" fmla="*/ 1879 w 1949"/>
                <a:gd name="T95" fmla="*/ 1101 h 1762"/>
                <a:gd name="T96" fmla="*/ 1898 w 1949"/>
                <a:gd name="T97" fmla="*/ 1057 h 1762"/>
                <a:gd name="T98" fmla="*/ 1844 w 1949"/>
                <a:gd name="T99" fmla="*/ 1013 h 1762"/>
                <a:gd name="T100" fmla="*/ 1949 w 1949"/>
                <a:gd name="T101" fmla="*/ 1000 h 1762"/>
                <a:gd name="T102" fmla="*/ 1802 w 1949"/>
                <a:gd name="T103" fmla="*/ 789 h 1762"/>
                <a:gd name="T104" fmla="*/ 1802 w 1949"/>
                <a:gd name="T105" fmla="*/ 789 h 1762"/>
                <a:gd name="T106" fmla="*/ 1802 w 1949"/>
                <a:gd name="T107" fmla="*/ 789 h 17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949"/>
                <a:gd name="T163" fmla="*/ 0 h 1762"/>
                <a:gd name="T164" fmla="*/ 1949 w 1949"/>
                <a:gd name="T165" fmla="*/ 1762 h 17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949" h="1762">
                  <a:moveTo>
                    <a:pt x="1802" y="789"/>
                  </a:moveTo>
                  <a:lnTo>
                    <a:pt x="1854" y="378"/>
                  </a:lnTo>
                  <a:lnTo>
                    <a:pt x="1550" y="264"/>
                  </a:lnTo>
                  <a:lnTo>
                    <a:pt x="1398" y="355"/>
                  </a:lnTo>
                  <a:lnTo>
                    <a:pt x="960" y="188"/>
                  </a:lnTo>
                  <a:lnTo>
                    <a:pt x="785" y="203"/>
                  </a:lnTo>
                  <a:lnTo>
                    <a:pt x="453" y="0"/>
                  </a:lnTo>
                  <a:lnTo>
                    <a:pt x="409" y="135"/>
                  </a:lnTo>
                  <a:lnTo>
                    <a:pt x="399" y="295"/>
                  </a:lnTo>
                  <a:lnTo>
                    <a:pt x="291" y="268"/>
                  </a:lnTo>
                  <a:lnTo>
                    <a:pt x="190" y="479"/>
                  </a:lnTo>
                  <a:lnTo>
                    <a:pt x="283" y="511"/>
                  </a:lnTo>
                  <a:lnTo>
                    <a:pt x="299" y="584"/>
                  </a:lnTo>
                  <a:lnTo>
                    <a:pt x="354" y="610"/>
                  </a:lnTo>
                  <a:lnTo>
                    <a:pt x="354" y="682"/>
                  </a:lnTo>
                  <a:lnTo>
                    <a:pt x="394" y="781"/>
                  </a:lnTo>
                  <a:lnTo>
                    <a:pt x="365" y="871"/>
                  </a:lnTo>
                  <a:lnTo>
                    <a:pt x="291" y="914"/>
                  </a:lnTo>
                  <a:lnTo>
                    <a:pt x="141" y="916"/>
                  </a:lnTo>
                  <a:lnTo>
                    <a:pt x="44" y="861"/>
                  </a:lnTo>
                  <a:lnTo>
                    <a:pt x="44" y="1000"/>
                  </a:lnTo>
                  <a:lnTo>
                    <a:pt x="0" y="1057"/>
                  </a:lnTo>
                  <a:lnTo>
                    <a:pt x="110" y="1177"/>
                  </a:lnTo>
                  <a:lnTo>
                    <a:pt x="234" y="1199"/>
                  </a:lnTo>
                  <a:lnTo>
                    <a:pt x="234" y="1266"/>
                  </a:lnTo>
                  <a:lnTo>
                    <a:pt x="198" y="1293"/>
                  </a:lnTo>
                  <a:lnTo>
                    <a:pt x="198" y="1378"/>
                  </a:lnTo>
                  <a:lnTo>
                    <a:pt x="340" y="1437"/>
                  </a:lnTo>
                  <a:lnTo>
                    <a:pt x="683" y="1325"/>
                  </a:lnTo>
                  <a:lnTo>
                    <a:pt x="922" y="1426"/>
                  </a:lnTo>
                  <a:lnTo>
                    <a:pt x="943" y="1532"/>
                  </a:lnTo>
                  <a:lnTo>
                    <a:pt x="1010" y="1532"/>
                  </a:lnTo>
                  <a:lnTo>
                    <a:pt x="1200" y="1659"/>
                  </a:lnTo>
                  <a:lnTo>
                    <a:pt x="1232" y="1762"/>
                  </a:lnTo>
                  <a:lnTo>
                    <a:pt x="1394" y="1680"/>
                  </a:lnTo>
                  <a:lnTo>
                    <a:pt x="1342" y="1587"/>
                  </a:lnTo>
                  <a:lnTo>
                    <a:pt x="1407" y="1528"/>
                  </a:lnTo>
                  <a:lnTo>
                    <a:pt x="1342" y="1414"/>
                  </a:lnTo>
                  <a:lnTo>
                    <a:pt x="1342" y="1346"/>
                  </a:lnTo>
                  <a:lnTo>
                    <a:pt x="1432" y="1329"/>
                  </a:lnTo>
                  <a:lnTo>
                    <a:pt x="1426" y="1249"/>
                  </a:lnTo>
                  <a:lnTo>
                    <a:pt x="1493" y="1192"/>
                  </a:lnTo>
                  <a:lnTo>
                    <a:pt x="1544" y="1215"/>
                  </a:lnTo>
                  <a:lnTo>
                    <a:pt x="1618" y="1110"/>
                  </a:lnTo>
                  <a:lnTo>
                    <a:pt x="1692" y="1110"/>
                  </a:lnTo>
                  <a:lnTo>
                    <a:pt x="1766" y="1066"/>
                  </a:lnTo>
                  <a:lnTo>
                    <a:pt x="1835" y="1099"/>
                  </a:lnTo>
                  <a:lnTo>
                    <a:pt x="1879" y="1101"/>
                  </a:lnTo>
                  <a:lnTo>
                    <a:pt x="1898" y="1057"/>
                  </a:lnTo>
                  <a:lnTo>
                    <a:pt x="1844" y="1013"/>
                  </a:lnTo>
                  <a:lnTo>
                    <a:pt x="1949" y="1000"/>
                  </a:lnTo>
                  <a:lnTo>
                    <a:pt x="1802" y="789"/>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7" name="Freeform 17"/>
            <p:cNvSpPr>
              <a:spLocks noChangeAspect="1"/>
            </p:cNvSpPr>
            <p:nvPr/>
          </p:nvSpPr>
          <p:spPr bwMode="gray">
            <a:xfrm>
              <a:off x="5569" y="2004"/>
              <a:ext cx="435" cy="703"/>
            </a:xfrm>
            <a:custGeom>
              <a:avLst/>
              <a:gdLst>
                <a:gd name="T0" fmla="*/ 397 w 870"/>
                <a:gd name="T1" fmla="*/ 1192 h 1406"/>
                <a:gd name="T2" fmla="*/ 351 w 870"/>
                <a:gd name="T3" fmla="*/ 1015 h 1406"/>
                <a:gd name="T4" fmla="*/ 336 w 870"/>
                <a:gd name="T5" fmla="*/ 783 h 1406"/>
                <a:gd name="T6" fmla="*/ 519 w 870"/>
                <a:gd name="T7" fmla="*/ 699 h 1406"/>
                <a:gd name="T8" fmla="*/ 505 w 870"/>
                <a:gd name="T9" fmla="*/ 568 h 1406"/>
                <a:gd name="T10" fmla="*/ 351 w 870"/>
                <a:gd name="T11" fmla="*/ 507 h 1406"/>
                <a:gd name="T12" fmla="*/ 446 w 870"/>
                <a:gd name="T13" fmla="*/ 405 h 1406"/>
                <a:gd name="T14" fmla="*/ 732 w 870"/>
                <a:gd name="T15" fmla="*/ 488 h 1406"/>
                <a:gd name="T16" fmla="*/ 815 w 870"/>
                <a:gd name="T17" fmla="*/ 405 h 1406"/>
                <a:gd name="T18" fmla="*/ 735 w 870"/>
                <a:gd name="T19" fmla="*/ 281 h 1406"/>
                <a:gd name="T20" fmla="*/ 870 w 870"/>
                <a:gd name="T21" fmla="*/ 64 h 1406"/>
                <a:gd name="T22" fmla="*/ 821 w 870"/>
                <a:gd name="T23" fmla="*/ 0 h 1406"/>
                <a:gd name="T24" fmla="*/ 716 w 870"/>
                <a:gd name="T25" fmla="*/ 13 h 1406"/>
                <a:gd name="T26" fmla="*/ 770 w 870"/>
                <a:gd name="T27" fmla="*/ 57 h 1406"/>
                <a:gd name="T28" fmla="*/ 751 w 870"/>
                <a:gd name="T29" fmla="*/ 101 h 1406"/>
                <a:gd name="T30" fmla="*/ 707 w 870"/>
                <a:gd name="T31" fmla="*/ 99 h 1406"/>
                <a:gd name="T32" fmla="*/ 638 w 870"/>
                <a:gd name="T33" fmla="*/ 66 h 1406"/>
                <a:gd name="T34" fmla="*/ 564 w 870"/>
                <a:gd name="T35" fmla="*/ 110 h 1406"/>
                <a:gd name="T36" fmla="*/ 490 w 870"/>
                <a:gd name="T37" fmla="*/ 110 h 1406"/>
                <a:gd name="T38" fmla="*/ 416 w 870"/>
                <a:gd name="T39" fmla="*/ 215 h 1406"/>
                <a:gd name="T40" fmla="*/ 365 w 870"/>
                <a:gd name="T41" fmla="*/ 192 h 1406"/>
                <a:gd name="T42" fmla="*/ 298 w 870"/>
                <a:gd name="T43" fmla="*/ 249 h 1406"/>
                <a:gd name="T44" fmla="*/ 304 w 870"/>
                <a:gd name="T45" fmla="*/ 329 h 1406"/>
                <a:gd name="T46" fmla="*/ 214 w 870"/>
                <a:gd name="T47" fmla="*/ 346 h 1406"/>
                <a:gd name="T48" fmla="*/ 214 w 870"/>
                <a:gd name="T49" fmla="*/ 414 h 1406"/>
                <a:gd name="T50" fmla="*/ 279 w 870"/>
                <a:gd name="T51" fmla="*/ 528 h 1406"/>
                <a:gd name="T52" fmla="*/ 214 w 870"/>
                <a:gd name="T53" fmla="*/ 587 h 1406"/>
                <a:gd name="T54" fmla="*/ 266 w 870"/>
                <a:gd name="T55" fmla="*/ 680 h 1406"/>
                <a:gd name="T56" fmla="*/ 106 w 870"/>
                <a:gd name="T57" fmla="*/ 762 h 1406"/>
                <a:gd name="T58" fmla="*/ 104 w 870"/>
                <a:gd name="T59" fmla="*/ 766 h 1406"/>
                <a:gd name="T60" fmla="*/ 1 w 870"/>
                <a:gd name="T61" fmla="*/ 823 h 1406"/>
                <a:gd name="T62" fmla="*/ 93 w 870"/>
                <a:gd name="T63" fmla="*/ 1059 h 1406"/>
                <a:gd name="T64" fmla="*/ 55 w 870"/>
                <a:gd name="T65" fmla="*/ 1119 h 1406"/>
                <a:gd name="T66" fmla="*/ 95 w 870"/>
                <a:gd name="T67" fmla="*/ 1224 h 1406"/>
                <a:gd name="T68" fmla="*/ 0 w 870"/>
                <a:gd name="T69" fmla="*/ 1406 h 1406"/>
                <a:gd name="T70" fmla="*/ 397 w 870"/>
                <a:gd name="T71" fmla="*/ 1192 h 1406"/>
                <a:gd name="T72" fmla="*/ 397 w 870"/>
                <a:gd name="T73" fmla="*/ 1192 h 1406"/>
                <a:gd name="T74" fmla="*/ 397 w 870"/>
                <a:gd name="T75" fmla="*/ 1192 h 14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870"/>
                <a:gd name="T115" fmla="*/ 0 h 1406"/>
                <a:gd name="T116" fmla="*/ 870 w 870"/>
                <a:gd name="T117" fmla="*/ 1406 h 140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870" h="1406">
                  <a:moveTo>
                    <a:pt x="397" y="1192"/>
                  </a:moveTo>
                  <a:lnTo>
                    <a:pt x="351" y="1015"/>
                  </a:lnTo>
                  <a:lnTo>
                    <a:pt x="336" y="783"/>
                  </a:lnTo>
                  <a:lnTo>
                    <a:pt x="519" y="699"/>
                  </a:lnTo>
                  <a:lnTo>
                    <a:pt x="505" y="568"/>
                  </a:lnTo>
                  <a:lnTo>
                    <a:pt x="351" y="507"/>
                  </a:lnTo>
                  <a:lnTo>
                    <a:pt x="446" y="405"/>
                  </a:lnTo>
                  <a:lnTo>
                    <a:pt x="732" y="488"/>
                  </a:lnTo>
                  <a:lnTo>
                    <a:pt x="815" y="405"/>
                  </a:lnTo>
                  <a:lnTo>
                    <a:pt x="735" y="281"/>
                  </a:lnTo>
                  <a:lnTo>
                    <a:pt x="870" y="64"/>
                  </a:lnTo>
                  <a:lnTo>
                    <a:pt x="821" y="0"/>
                  </a:lnTo>
                  <a:lnTo>
                    <a:pt x="716" y="13"/>
                  </a:lnTo>
                  <a:lnTo>
                    <a:pt x="770" y="57"/>
                  </a:lnTo>
                  <a:lnTo>
                    <a:pt x="751" y="101"/>
                  </a:lnTo>
                  <a:lnTo>
                    <a:pt x="707" y="99"/>
                  </a:lnTo>
                  <a:lnTo>
                    <a:pt x="638" y="66"/>
                  </a:lnTo>
                  <a:lnTo>
                    <a:pt x="564" y="110"/>
                  </a:lnTo>
                  <a:lnTo>
                    <a:pt x="490" y="110"/>
                  </a:lnTo>
                  <a:lnTo>
                    <a:pt x="416" y="215"/>
                  </a:lnTo>
                  <a:lnTo>
                    <a:pt x="365" y="192"/>
                  </a:lnTo>
                  <a:lnTo>
                    <a:pt x="298" y="249"/>
                  </a:lnTo>
                  <a:lnTo>
                    <a:pt x="304" y="329"/>
                  </a:lnTo>
                  <a:lnTo>
                    <a:pt x="214" y="346"/>
                  </a:lnTo>
                  <a:lnTo>
                    <a:pt x="214" y="414"/>
                  </a:lnTo>
                  <a:lnTo>
                    <a:pt x="279" y="528"/>
                  </a:lnTo>
                  <a:lnTo>
                    <a:pt x="214" y="587"/>
                  </a:lnTo>
                  <a:lnTo>
                    <a:pt x="266" y="680"/>
                  </a:lnTo>
                  <a:lnTo>
                    <a:pt x="106" y="762"/>
                  </a:lnTo>
                  <a:lnTo>
                    <a:pt x="104" y="766"/>
                  </a:lnTo>
                  <a:lnTo>
                    <a:pt x="1" y="823"/>
                  </a:lnTo>
                  <a:lnTo>
                    <a:pt x="93" y="1059"/>
                  </a:lnTo>
                  <a:lnTo>
                    <a:pt x="55" y="1119"/>
                  </a:lnTo>
                  <a:lnTo>
                    <a:pt x="95" y="1224"/>
                  </a:lnTo>
                  <a:lnTo>
                    <a:pt x="0" y="1406"/>
                  </a:lnTo>
                  <a:lnTo>
                    <a:pt x="397" y="1192"/>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8" name="Freeform 18"/>
            <p:cNvSpPr>
              <a:spLocks noChangeAspect="1"/>
            </p:cNvSpPr>
            <p:nvPr/>
          </p:nvSpPr>
          <p:spPr bwMode="gray">
            <a:xfrm>
              <a:off x="5629" y="1895"/>
              <a:ext cx="173" cy="111"/>
            </a:xfrm>
            <a:custGeom>
              <a:avLst/>
              <a:gdLst>
                <a:gd name="T0" fmla="*/ 253 w 346"/>
                <a:gd name="T1" fmla="*/ 2 h 223"/>
                <a:gd name="T2" fmla="*/ 198 w 346"/>
                <a:gd name="T3" fmla="*/ 0 h 223"/>
                <a:gd name="T4" fmla="*/ 151 w 346"/>
                <a:gd name="T5" fmla="*/ 29 h 223"/>
                <a:gd name="T6" fmla="*/ 76 w 346"/>
                <a:gd name="T7" fmla="*/ 44 h 223"/>
                <a:gd name="T8" fmla="*/ 61 w 346"/>
                <a:gd name="T9" fmla="*/ 74 h 223"/>
                <a:gd name="T10" fmla="*/ 21 w 346"/>
                <a:gd name="T11" fmla="*/ 101 h 223"/>
                <a:gd name="T12" fmla="*/ 0 w 346"/>
                <a:gd name="T13" fmla="*/ 143 h 223"/>
                <a:gd name="T14" fmla="*/ 40 w 346"/>
                <a:gd name="T15" fmla="*/ 213 h 223"/>
                <a:gd name="T16" fmla="*/ 74 w 346"/>
                <a:gd name="T17" fmla="*/ 219 h 223"/>
                <a:gd name="T18" fmla="*/ 111 w 346"/>
                <a:gd name="T19" fmla="*/ 202 h 223"/>
                <a:gd name="T20" fmla="*/ 198 w 346"/>
                <a:gd name="T21" fmla="*/ 223 h 223"/>
                <a:gd name="T22" fmla="*/ 247 w 346"/>
                <a:gd name="T23" fmla="*/ 179 h 223"/>
                <a:gd name="T24" fmla="*/ 346 w 346"/>
                <a:gd name="T25" fmla="*/ 192 h 223"/>
                <a:gd name="T26" fmla="*/ 346 w 346"/>
                <a:gd name="T27" fmla="*/ 175 h 223"/>
                <a:gd name="T28" fmla="*/ 308 w 346"/>
                <a:gd name="T29" fmla="*/ 124 h 223"/>
                <a:gd name="T30" fmla="*/ 310 w 346"/>
                <a:gd name="T31" fmla="*/ 55 h 223"/>
                <a:gd name="T32" fmla="*/ 272 w 346"/>
                <a:gd name="T33" fmla="*/ 48 h 223"/>
                <a:gd name="T34" fmla="*/ 253 w 346"/>
                <a:gd name="T35" fmla="*/ 2 h 223"/>
                <a:gd name="T36" fmla="*/ 253 w 346"/>
                <a:gd name="T37" fmla="*/ 2 h 223"/>
                <a:gd name="T38" fmla="*/ 253 w 346"/>
                <a:gd name="T39" fmla="*/ 2 h 2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46"/>
                <a:gd name="T61" fmla="*/ 0 h 223"/>
                <a:gd name="T62" fmla="*/ 346 w 346"/>
                <a:gd name="T63" fmla="*/ 223 h 2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46" h="223">
                  <a:moveTo>
                    <a:pt x="253" y="2"/>
                  </a:moveTo>
                  <a:lnTo>
                    <a:pt x="198" y="0"/>
                  </a:lnTo>
                  <a:lnTo>
                    <a:pt x="151" y="29"/>
                  </a:lnTo>
                  <a:lnTo>
                    <a:pt x="76" y="44"/>
                  </a:lnTo>
                  <a:lnTo>
                    <a:pt x="61" y="74"/>
                  </a:lnTo>
                  <a:lnTo>
                    <a:pt x="21" y="101"/>
                  </a:lnTo>
                  <a:lnTo>
                    <a:pt x="0" y="143"/>
                  </a:lnTo>
                  <a:lnTo>
                    <a:pt x="40" y="213"/>
                  </a:lnTo>
                  <a:lnTo>
                    <a:pt x="74" y="219"/>
                  </a:lnTo>
                  <a:lnTo>
                    <a:pt x="111" y="202"/>
                  </a:lnTo>
                  <a:lnTo>
                    <a:pt x="198" y="223"/>
                  </a:lnTo>
                  <a:lnTo>
                    <a:pt x="247" y="179"/>
                  </a:lnTo>
                  <a:lnTo>
                    <a:pt x="346" y="192"/>
                  </a:lnTo>
                  <a:lnTo>
                    <a:pt x="346" y="175"/>
                  </a:lnTo>
                  <a:lnTo>
                    <a:pt x="308" y="124"/>
                  </a:lnTo>
                  <a:lnTo>
                    <a:pt x="310" y="55"/>
                  </a:lnTo>
                  <a:lnTo>
                    <a:pt x="272" y="48"/>
                  </a:lnTo>
                  <a:lnTo>
                    <a:pt x="253" y="2"/>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grpSp>
      <p:sp>
        <p:nvSpPr>
          <p:cNvPr id="19" name="Text Placeholder 12"/>
          <p:cNvSpPr>
            <a:spLocks/>
          </p:cNvSpPr>
          <p:nvPr>
            <p:custDataLst>
              <p:tags r:id="rId1"/>
            </p:custDataLst>
          </p:nvPr>
        </p:nvSpPr>
        <p:spPr bwMode="auto">
          <a:xfrm>
            <a:off x="1440657" y="1131570"/>
            <a:ext cx="493725" cy="115416"/>
          </a:xfrm>
          <a:prstGeom prst="rect">
            <a:avLst/>
          </a:prstGeom>
          <a:noFill/>
          <a:ln w="9525">
            <a:noFill/>
            <a:miter lim="800000"/>
            <a:headEnd/>
            <a:tailEnd/>
          </a:ln>
        </p:spPr>
        <p:txBody>
          <a:bodyPr wrap="none" lIns="0" tIns="0" rIns="0" bIns="0">
            <a:spAutoFit/>
          </a:bodyPr>
          <a:lstStyle/>
          <a:p>
            <a:pPr defTabSz="764381">
              <a:buClrTx/>
            </a:pPr>
            <a:r>
              <a:rPr lang="en-US" sz="750" kern="1200" dirty="0">
                <a:solidFill>
                  <a:srgbClr val="313131"/>
                </a:solidFill>
                <a:ea typeface="+mn-ea"/>
                <a:cs typeface="+mn-cs"/>
              </a:rPr>
              <a:t>Switzerland</a:t>
            </a:r>
          </a:p>
        </p:txBody>
      </p:sp>
      <p:sp>
        <p:nvSpPr>
          <p:cNvPr id="20" name="Text Placeholder 12"/>
          <p:cNvSpPr>
            <a:spLocks/>
          </p:cNvSpPr>
          <p:nvPr>
            <p:custDataLst>
              <p:tags r:id="rId2"/>
            </p:custDataLst>
          </p:nvPr>
        </p:nvSpPr>
        <p:spPr bwMode="auto">
          <a:xfrm>
            <a:off x="4742066" y="1131570"/>
            <a:ext cx="298159" cy="115416"/>
          </a:xfrm>
          <a:prstGeom prst="rect">
            <a:avLst/>
          </a:prstGeom>
          <a:noFill/>
          <a:ln w="9525">
            <a:noFill/>
            <a:miter lim="800000"/>
            <a:headEnd/>
            <a:tailEnd/>
          </a:ln>
        </p:spPr>
        <p:txBody>
          <a:bodyPr wrap="none" lIns="0" tIns="0" rIns="0" bIns="0">
            <a:spAutoFit/>
          </a:bodyPr>
          <a:lstStyle/>
          <a:p>
            <a:pPr defTabSz="764381">
              <a:buClrTx/>
            </a:pPr>
            <a:r>
              <a:rPr lang="en-US" sz="750" kern="1200" dirty="0">
                <a:solidFill>
                  <a:srgbClr val="313131"/>
                </a:solidFill>
                <a:ea typeface="+mn-ea"/>
                <a:cs typeface="+mn-cs"/>
              </a:rPr>
              <a:t>Austria</a:t>
            </a:r>
          </a:p>
        </p:txBody>
      </p:sp>
      <p:sp>
        <p:nvSpPr>
          <p:cNvPr id="23" name="Rectangle 3"/>
          <p:cNvSpPr>
            <a:spLocks noChangeArrowheads="1"/>
          </p:cNvSpPr>
          <p:nvPr/>
        </p:nvSpPr>
        <p:spPr bwMode="auto">
          <a:xfrm>
            <a:off x="5337545" y="1"/>
            <a:ext cx="2663456" cy="600164"/>
          </a:xfrm>
          <a:prstGeom prst="rect">
            <a:avLst/>
          </a:prstGeom>
          <a:solidFill>
            <a:schemeClr val="accent6"/>
          </a:solidFill>
          <a:ln w="6350" algn="ctr">
            <a:solidFill>
              <a:schemeClr val="bg1"/>
            </a:solidFill>
            <a:miter lim="800000"/>
            <a:headEnd/>
            <a:tailEnd/>
          </a:ln>
        </p:spPr>
        <p:txBody>
          <a:bodyPr wrap="square" tIns="68580" bIns="68580">
            <a:spAutoFit/>
          </a:bodyPr>
          <a:lstStyle/>
          <a:p>
            <a:pPr defTabSz="685800">
              <a:buClrTx/>
              <a:defRPr/>
            </a:pPr>
            <a:r>
              <a:rPr lang="en-US" altLang="ja-JP" sz="750" kern="1200" dirty="0">
                <a:solidFill>
                  <a:srgbClr val="313131"/>
                </a:solidFill>
                <a:ea typeface="ＭＳ Ｐゴシック" pitchFamily="50" charset="-128"/>
                <a:cs typeface="+mn-cs"/>
              </a:rPr>
              <a:t>Tip! Click once to select the entire map, and again to select one or more regions within it</a:t>
            </a:r>
            <a:br>
              <a:rPr lang="en-US" altLang="ja-JP" sz="750" kern="1200" dirty="0">
                <a:solidFill>
                  <a:srgbClr val="313131"/>
                </a:solidFill>
                <a:ea typeface="ＭＳ Ｐゴシック" pitchFamily="50" charset="-128"/>
                <a:cs typeface="+mn-cs"/>
              </a:rPr>
            </a:br>
            <a:r>
              <a:rPr lang="en-US" altLang="ja-JP" sz="750" kern="1200" dirty="0">
                <a:solidFill>
                  <a:srgbClr val="313131"/>
                </a:solidFill>
                <a:ea typeface="ＭＳ Ｐゴシック" pitchFamily="50" charset="-128"/>
                <a:cs typeface="+mn-cs"/>
              </a:rPr>
              <a:t>Country/regional maps are a representative sample – more will be added</a:t>
            </a:r>
            <a:endParaRPr lang="en-US" sz="750" kern="1200" dirty="0">
              <a:solidFill>
                <a:srgbClr val="313131"/>
              </a:solidFill>
              <a:ea typeface="ＭＳ Ｐゴシック" pitchFamily="50" charset="-128"/>
              <a:cs typeface="+mn-cs"/>
            </a:endParaRPr>
          </a:p>
        </p:txBody>
      </p:sp>
      <p:sp>
        <p:nvSpPr>
          <p:cNvPr id="24" name="TextBox 23"/>
          <p:cNvSpPr txBox="1"/>
          <p:nvPr/>
        </p:nvSpPr>
        <p:spPr>
          <a:xfrm>
            <a:off x="5337546" y="733425"/>
            <a:ext cx="2663455" cy="1107996"/>
          </a:xfrm>
          <a:prstGeom prst="rect">
            <a:avLst/>
          </a:prstGeom>
          <a:solidFill>
            <a:srgbClr val="ED1B2F"/>
          </a:solidFill>
        </p:spPr>
        <p:txBody>
          <a:bodyPr wrap="square" lIns="68580" tIns="68580" rIns="68580" bIns="68580" rtlCol="0">
            <a:spAutoFit/>
          </a:bodyPr>
          <a:lstStyle/>
          <a:p>
            <a:pPr defTabSz="685800">
              <a:buClrTx/>
            </a:pPr>
            <a:r>
              <a:rPr lang="en-US" sz="1050" kern="1200" dirty="0">
                <a:solidFill>
                  <a:prstClr val="white"/>
                </a:solidFill>
                <a:ea typeface="+mn-ea"/>
                <a:cs typeface="+mn-cs"/>
              </a:rPr>
              <a:t>Maps are for directional purposes only and are not intended to be exact renditions of country borders. For specific information about country borders and maps, please contact the local member firm.</a:t>
            </a:r>
          </a:p>
        </p:txBody>
      </p:sp>
    </p:spTree>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5777" name="Title 1"/>
          <p:cNvSpPr>
            <a:spLocks noGrp="1"/>
          </p:cNvSpPr>
          <p:nvPr>
            <p:ph type="title"/>
          </p:nvPr>
        </p:nvSpPr>
        <p:spPr/>
        <p:txBody>
          <a:bodyPr/>
          <a:lstStyle/>
          <a:p>
            <a:r>
              <a:rPr lang="en-US" dirty="0"/>
              <a:t>Maps </a:t>
            </a:r>
            <a:br>
              <a:rPr lang="en-US" dirty="0"/>
            </a:br>
            <a:r>
              <a:rPr lang="en-US" dirty="0">
                <a:solidFill>
                  <a:srgbClr val="575757"/>
                </a:solidFill>
              </a:rPr>
              <a:t>Sweden, Finland and Denmark</a:t>
            </a:r>
          </a:p>
        </p:txBody>
      </p:sp>
      <p:sp>
        <p:nvSpPr>
          <p:cNvPr id="9" name="Freeform 12"/>
          <p:cNvSpPr>
            <a:spLocks noChangeAspect="1"/>
          </p:cNvSpPr>
          <p:nvPr/>
        </p:nvSpPr>
        <p:spPr bwMode="gray">
          <a:xfrm>
            <a:off x="3255120" y="1268730"/>
            <a:ext cx="1521619" cy="3458766"/>
          </a:xfrm>
          <a:custGeom>
            <a:avLst/>
            <a:gdLst>
              <a:gd name="T0" fmla="*/ 980 w 987"/>
              <a:gd name="T1" fmla="*/ 1501 h 2069"/>
              <a:gd name="T2" fmla="*/ 962 w 987"/>
              <a:gd name="T3" fmla="*/ 1389 h 2069"/>
              <a:gd name="T4" fmla="*/ 911 w 987"/>
              <a:gd name="T5" fmla="*/ 1350 h 2069"/>
              <a:gd name="T6" fmla="*/ 860 w 987"/>
              <a:gd name="T7" fmla="*/ 1268 h 2069"/>
              <a:gd name="T8" fmla="*/ 850 w 987"/>
              <a:gd name="T9" fmla="*/ 1136 h 2069"/>
              <a:gd name="T10" fmla="*/ 796 w 987"/>
              <a:gd name="T11" fmla="*/ 1063 h 2069"/>
              <a:gd name="T12" fmla="*/ 814 w 987"/>
              <a:gd name="T13" fmla="*/ 989 h 2069"/>
              <a:gd name="T14" fmla="*/ 833 w 987"/>
              <a:gd name="T15" fmla="*/ 882 h 2069"/>
              <a:gd name="T16" fmla="*/ 812 w 987"/>
              <a:gd name="T17" fmla="*/ 801 h 2069"/>
              <a:gd name="T18" fmla="*/ 761 w 987"/>
              <a:gd name="T19" fmla="*/ 711 h 2069"/>
              <a:gd name="T20" fmla="*/ 748 w 987"/>
              <a:gd name="T21" fmla="*/ 603 h 2069"/>
              <a:gd name="T22" fmla="*/ 800 w 987"/>
              <a:gd name="T23" fmla="*/ 531 h 2069"/>
              <a:gd name="T24" fmla="*/ 765 w 987"/>
              <a:gd name="T25" fmla="*/ 432 h 2069"/>
              <a:gd name="T26" fmla="*/ 714 w 987"/>
              <a:gd name="T27" fmla="*/ 393 h 2069"/>
              <a:gd name="T28" fmla="*/ 693 w 987"/>
              <a:gd name="T29" fmla="*/ 298 h 2069"/>
              <a:gd name="T30" fmla="*/ 708 w 987"/>
              <a:gd name="T31" fmla="*/ 207 h 2069"/>
              <a:gd name="T32" fmla="*/ 736 w 987"/>
              <a:gd name="T33" fmla="*/ 107 h 2069"/>
              <a:gd name="T34" fmla="*/ 647 w 987"/>
              <a:gd name="T35" fmla="*/ 10 h 2069"/>
              <a:gd name="T36" fmla="*/ 610 w 987"/>
              <a:gd name="T37" fmla="*/ 3 h 2069"/>
              <a:gd name="T38" fmla="*/ 584 w 987"/>
              <a:gd name="T39" fmla="*/ 27 h 2069"/>
              <a:gd name="T40" fmla="*/ 543 w 987"/>
              <a:gd name="T41" fmla="*/ 29 h 2069"/>
              <a:gd name="T42" fmla="*/ 480 w 987"/>
              <a:gd name="T43" fmla="*/ 114 h 2069"/>
              <a:gd name="T44" fmla="*/ 458 w 987"/>
              <a:gd name="T45" fmla="*/ 240 h 2069"/>
              <a:gd name="T46" fmla="*/ 421 w 987"/>
              <a:gd name="T47" fmla="*/ 293 h 2069"/>
              <a:gd name="T48" fmla="*/ 380 w 987"/>
              <a:gd name="T49" fmla="*/ 274 h 2069"/>
              <a:gd name="T50" fmla="*/ 318 w 987"/>
              <a:gd name="T51" fmla="*/ 281 h 2069"/>
              <a:gd name="T52" fmla="*/ 226 w 987"/>
              <a:gd name="T53" fmla="*/ 239 h 2069"/>
              <a:gd name="T54" fmla="*/ 190 w 987"/>
              <a:gd name="T55" fmla="*/ 161 h 2069"/>
              <a:gd name="T56" fmla="*/ 157 w 987"/>
              <a:gd name="T57" fmla="*/ 142 h 2069"/>
              <a:gd name="T58" fmla="*/ 131 w 987"/>
              <a:gd name="T59" fmla="*/ 247 h 2069"/>
              <a:gd name="T60" fmla="*/ 218 w 987"/>
              <a:gd name="T61" fmla="*/ 328 h 2069"/>
              <a:gd name="T62" fmla="*/ 275 w 987"/>
              <a:gd name="T63" fmla="*/ 398 h 2069"/>
              <a:gd name="T64" fmla="*/ 295 w 987"/>
              <a:gd name="T65" fmla="*/ 553 h 2069"/>
              <a:gd name="T66" fmla="*/ 302 w 987"/>
              <a:gd name="T67" fmla="*/ 730 h 2069"/>
              <a:gd name="T68" fmla="*/ 321 w 987"/>
              <a:gd name="T69" fmla="*/ 841 h 2069"/>
              <a:gd name="T70" fmla="*/ 369 w 987"/>
              <a:gd name="T71" fmla="*/ 883 h 2069"/>
              <a:gd name="T72" fmla="*/ 422 w 987"/>
              <a:gd name="T73" fmla="*/ 1003 h 2069"/>
              <a:gd name="T74" fmla="*/ 365 w 987"/>
              <a:gd name="T75" fmla="*/ 1075 h 2069"/>
              <a:gd name="T76" fmla="*/ 328 w 987"/>
              <a:gd name="T77" fmla="*/ 1135 h 2069"/>
              <a:gd name="T78" fmla="*/ 259 w 987"/>
              <a:gd name="T79" fmla="*/ 1220 h 2069"/>
              <a:gd name="T80" fmla="*/ 207 w 987"/>
              <a:gd name="T81" fmla="*/ 1242 h 2069"/>
              <a:gd name="T82" fmla="*/ 159 w 987"/>
              <a:gd name="T83" fmla="*/ 1309 h 2069"/>
              <a:gd name="T84" fmla="*/ 124 w 987"/>
              <a:gd name="T85" fmla="*/ 1359 h 2069"/>
              <a:gd name="T86" fmla="*/ 71 w 987"/>
              <a:gd name="T87" fmla="*/ 1393 h 2069"/>
              <a:gd name="T88" fmla="*/ 37 w 987"/>
              <a:gd name="T89" fmla="*/ 1458 h 2069"/>
              <a:gd name="T90" fmla="*/ 44 w 987"/>
              <a:gd name="T91" fmla="*/ 1700 h 2069"/>
              <a:gd name="T92" fmla="*/ 18 w 987"/>
              <a:gd name="T93" fmla="*/ 1816 h 2069"/>
              <a:gd name="T94" fmla="*/ 19 w 987"/>
              <a:gd name="T95" fmla="*/ 1913 h 2069"/>
              <a:gd name="T96" fmla="*/ 82 w 987"/>
              <a:gd name="T97" fmla="*/ 1960 h 2069"/>
              <a:gd name="T98" fmla="*/ 140 w 987"/>
              <a:gd name="T99" fmla="*/ 2047 h 2069"/>
              <a:gd name="T100" fmla="*/ 265 w 987"/>
              <a:gd name="T101" fmla="*/ 2054 h 2069"/>
              <a:gd name="T102" fmla="*/ 403 w 987"/>
              <a:gd name="T103" fmla="*/ 2005 h 2069"/>
              <a:gd name="T104" fmla="*/ 499 w 987"/>
              <a:gd name="T105" fmla="*/ 1975 h 2069"/>
              <a:gd name="T106" fmla="*/ 584 w 987"/>
              <a:gd name="T107" fmla="*/ 1953 h 2069"/>
              <a:gd name="T108" fmla="*/ 702 w 987"/>
              <a:gd name="T109" fmla="*/ 1883 h 2069"/>
              <a:gd name="T110" fmla="*/ 841 w 987"/>
              <a:gd name="T111" fmla="*/ 1701 h 2069"/>
              <a:gd name="T112" fmla="*/ 931 w 987"/>
              <a:gd name="T113" fmla="*/ 1581 h 206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87"/>
              <a:gd name="T172" fmla="*/ 0 h 2069"/>
              <a:gd name="T173" fmla="*/ 987 w 987"/>
              <a:gd name="T174" fmla="*/ 2069 h 206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87" h="2069">
                <a:moveTo>
                  <a:pt x="946" y="1563"/>
                </a:moveTo>
                <a:lnTo>
                  <a:pt x="948" y="1560"/>
                </a:lnTo>
                <a:lnTo>
                  <a:pt x="952" y="1555"/>
                </a:lnTo>
                <a:lnTo>
                  <a:pt x="958" y="1545"/>
                </a:lnTo>
                <a:lnTo>
                  <a:pt x="966" y="1533"/>
                </a:lnTo>
                <a:lnTo>
                  <a:pt x="974" y="1518"/>
                </a:lnTo>
                <a:lnTo>
                  <a:pt x="980" y="1501"/>
                </a:lnTo>
                <a:lnTo>
                  <a:pt x="985" y="1481"/>
                </a:lnTo>
                <a:lnTo>
                  <a:pt x="987" y="1460"/>
                </a:lnTo>
                <a:lnTo>
                  <a:pt x="986" y="1443"/>
                </a:lnTo>
                <a:lnTo>
                  <a:pt x="982" y="1426"/>
                </a:lnTo>
                <a:lnTo>
                  <a:pt x="974" y="1408"/>
                </a:lnTo>
                <a:lnTo>
                  <a:pt x="963" y="1390"/>
                </a:lnTo>
                <a:lnTo>
                  <a:pt x="962" y="1389"/>
                </a:lnTo>
                <a:lnTo>
                  <a:pt x="958" y="1385"/>
                </a:lnTo>
                <a:lnTo>
                  <a:pt x="954" y="1381"/>
                </a:lnTo>
                <a:lnTo>
                  <a:pt x="948" y="1374"/>
                </a:lnTo>
                <a:lnTo>
                  <a:pt x="940" y="1367"/>
                </a:lnTo>
                <a:lnTo>
                  <a:pt x="932" y="1361"/>
                </a:lnTo>
                <a:lnTo>
                  <a:pt x="921" y="1354"/>
                </a:lnTo>
                <a:lnTo>
                  <a:pt x="911" y="1350"/>
                </a:lnTo>
                <a:lnTo>
                  <a:pt x="901" y="1344"/>
                </a:lnTo>
                <a:lnTo>
                  <a:pt x="889" y="1333"/>
                </a:lnTo>
                <a:lnTo>
                  <a:pt x="879" y="1322"/>
                </a:lnTo>
                <a:lnTo>
                  <a:pt x="869" y="1308"/>
                </a:lnTo>
                <a:lnTo>
                  <a:pt x="863" y="1293"/>
                </a:lnTo>
                <a:lnTo>
                  <a:pt x="859" y="1280"/>
                </a:lnTo>
                <a:lnTo>
                  <a:pt x="860" y="1268"/>
                </a:lnTo>
                <a:lnTo>
                  <a:pt x="866" y="1257"/>
                </a:lnTo>
                <a:lnTo>
                  <a:pt x="879" y="1235"/>
                </a:lnTo>
                <a:lnTo>
                  <a:pt x="883" y="1208"/>
                </a:lnTo>
                <a:lnTo>
                  <a:pt x="879" y="1181"/>
                </a:lnTo>
                <a:lnTo>
                  <a:pt x="866" y="1159"/>
                </a:lnTo>
                <a:lnTo>
                  <a:pt x="858" y="1149"/>
                </a:lnTo>
                <a:lnTo>
                  <a:pt x="850" y="1136"/>
                </a:lnTo>
                <a:lnTo>
                  <a:pt x="843" y="1124"/>
                </a:lnTo>
                <a:lnTo>
                  <a:pt x="836" y="1109"/>
                </a:lnTo>
                <a:lnTo>
                  <a:pt x="829" y="1095"/>
                </a:lnTo>
                <a:lnTo>
                  <a:pt x="821" y="1083"/>
                </a:lnTo>
                <a:lnTo>
                  <a:pt x="813" y="1073"/>
                </a:lnTo>
                <a:lnTo>
                  <a:pt x="803" y="1067"/>
                </a:lnTo>
                <a:lnTo>
                  <a:pt x="796" y="1063"/>
                </a:lnTo>
                <a:lnTo>
                  <a:pt x="793" y="1055"/>
                </a:lnTo>
                <a:lnTo>
                  <a:pt x="797" y="1045"/>
                </a:lnTo>
                <a:lnTo>
                  <a:pt x="801" y="1035"/>
                </a:lnTo>
                <a:lnTo>
                  <a:pt x="808" y="1023"/>
                </a:lnTo>
                <a:lnTo>
                  <a:pt x="813" y="1012"/>
                </a:lnTo>
                <a:lnTo>
                  <a:pt x="815" y="1000"/>
                </a:lnTo>
                <a:lnTo>
                  <a:pt x="814" y="989"/>
                </a:lnTo>
                <a:lnTo>
                  <a:pt x="808" y="965"/>
                </a:lnTo>
                <a:lnTo>
                  <a:pt x="809" y="939"/>
                </a:lnTo>
                <a:lnTo>
                  <a:pt x="815" y="916"/>
                </a:lnTo>
                <a:lnTo>
                  <a:pt x="826" y="902"/>
                </a:lnTo>
                <a:lnTo>
                  <a:pt x="829" y="898"/>
                </a:lnTo>
                <a:lnTo>
                  <a:pt x="831" y="891"/>
                </a:lnTo>
                <a:lnTo>
                  <a:pt x="833" y="882"/>
                </a:lnTo>
                <a:lnTo>
                  <a:pt x="833" y="871"/>
                </a:lnTo>
                <a:lnTo>
                  <a:pt x="831" y="861"/>
                </a:lnTo>
                <a:lnTo>
                  <a:pt x="829" y="848"/>
                </a:lnTo>
                <a:lnTo>
                  <a:pt x="827" y="837"/>
                </a:lnTo>
                <a:lnTo>
                  <a:pt x="822" y="824"/>
                </a:lnTo>
                <a:lnTo>
                  <a:pt x="818" y="813"/>
                </a:lnTo>
                <a:lnTo>
                  <a:pt x="812" y="801"/>
                </a:lnTo>
                <a:lnTo>
                  <a:pt x="805" y="791"/>
                </a:lnTo>
                <a:lnTo>
                  <a:pt x="797" y="781"/>
                </a:lnTo>
                <a:lnTo>
                  <a:pt x="785" y="769"/>
                </a:lnTo>
                <a:lnTo>
                  <a:pt x="777" y="755"/>
                </a:lnTo>
                <a:lnTo>
                  <a:pt x="771" y="740"/>
                </a:lnTo>
                <a:lnTo>
                  <a:pt x="766" y="726"/>
                </a:lnTo>
                <a:lnTo>
                  <a:pt x="761" y="711"/>
                </a:lnTo>
                <a:lnTo>
                  <a:pt x="755" y="696"/>
                </a:lnTo>
                <a:lnTo>
                  <a:pt x="748" y="681"/>
                </a:lnTo>
                <a:lnTo>
                  <a:pt x="739" y="666"/>
                </a:lnTo>
                <a:lnTo>
                  <a:pt x="732" y="650"/>
                </a:lnTo>
                <a:lnTo>
                  <a:pt x="732" y="634"/>
                </a:lnTo>
                <a:lnTo>
                  <a:pt x="738" y="619"/>
                </a:lnTo>
                <a:lnTo>
                  <a:pt x="748" y="603"/>
                </a:lnTo>
                <a:lnTo>
                  <a:pt x="760" y="588"/>
                </a:lnTo>
                <a:lnTo>
                  <a:pt x="771" y="575"/>
                </a:lnTo>
                <a:lnTo>
                  <a:pt x="783" y="565"/>
                </a:lnTo>
                <a:lnTo>
                  <a:pt x="791" y="557"/>
                </a:lnTo>
                <a:lnTo>
                  <a:pt x="796" y="550"/>
                </a:lnTo>
                <a:lnTo>
                  <a:pt x="799" y="542"/>
                </a:lnTo>
                <a:lnTo>
                  <a:pt x="800" y="531"/>
                </a:lnTo>
                <a:lnTo>
                  <a:pt x="800" y="521"/>
                </a:lnTo>
                <a:lnTo>
                  <a:pt x="798" y="506"/>
                </a:lnTo>
                <a:lnTo>
                  <a:pt x="793" y="491"/>
                </a:lnTo>
                <a:lnTo>
                  <a:pt x="788" y="475"/>
                </a:lnTo>
                <a:lnTo>
                  <a:pt x="780" y="459"/>
                </a:lnTo>
                <a:lnTo>
                  <a:pt x="771" y="445"/>
                </a:lnTo>
                <a:lnTo>
                  <a:pt x="765" y="432"/>
                </a:lnTo>
                <a:lnTo>
                  <a:pt x="758" y="422"/>
                </a:lnTo>
                <a:lnTo>
                  <a:pt x="751" y="413"/>
                </a:lnTo>
                <a:lnTo>
                  <a:pt x="744" y="406"/>
                </a:lnTo>
                <a:lnTo>
                  <a:pt x="737" y="401"/>
                </a:lnTo>
                <a:lnTo>
                  <a:pt x="730" y="398"/>
                </a:lnTo>
                <a:lnTo>
                  <a:pt x="722" y="396"/>
                </a:lnTo>
                <a:lnTo>
                  <a:pt x="714" y="393"/>
                </a:lnTo>
                <a:lnTo>
                  <a:pt x="706" y="385"/>
                </a:lnTo>
                <a:lnTo>
                  <a:pt x="700" y="371"/>
                </a:lnTo>
                <a:lnTo>
                  <a:pt x="694" y="356"/>
                </a:lnTo>
                <a:lnTo>
                  <a:pt x="691" y="340"/>
                </a:lnTo>
                <a:lnTo>
                  <a:pt x="690" y="324"/>
                </a:lnTo>
                <a:lnTo>
                  <a:pt x="690" y="309"/>
                </a:lnTo>
                <a:lnTo>
                  <a:pt x="693" y="298"/>
                </a:lnTo>
                <a:lnTo>
                  <a:pt x="698" y="281"/>
                </a:lnTo>
                <a:lnTo>
                  <a:pt x="698" y="264"/>
                </a:lnTo>
                <a:lnTo>
                  <a:pt x="694" y="251"/>
                </a:lnTo>
                <a:lnTo>
                  <a:pt x="693" y="247"/>
                </a:lnTo>
                <a:lnTo>
                  <a:pt x="697" y="242"/>
                </a:lnTo>
                <a:lnTo>
                  <a:pt x="703" y="228"/>
                </a:lnTo>
                <a:lnTo>
                  <a:pt x="708" y="207"/>
                </a:lnTo>
                <a:lnTo>
                  <a:pt x="705" y="183"/>
                </a:lnTo>
                <a:lnTo>
                  <a:pt x="709" y="179"/>
                </a:lnTo>
                <a:lnTo>
                  <a:pt x="721" y="167"/>
                </a:lnTo>
                <a:lnTo>
                  <a:pt x="732" y="150"/>
                </a:lnTo>
                <a:lnTo>
                  <a:pt x="738" y="128"/>
                </a:lnTo>
                <a:lnTo>
                  <a:pt x="738" y="118"/>
                </a:lnTo>
                <a:lnTo>
                  <a:pt x="736" y="107"/>
                </a:lnTo>
                <a:lnTo>
                  <a:pt x="730" y="97"/>
                </a:lnTo>
                <a:lnTo>
                  <a:pt x="722" y="85"/>
                </a:lnTo>
                <a:lnTo>
                  <a:pt x="676" y="51"/>
                </a:lnTo>
                <a:lnTo>
                  <a:pt x="671" y="47"/>
                </a:lnTo>
                <a:lnTo>
                  <a:pt x="662" y="37"/>
                </a:lnTo>
                <a:lnTo>
                  <a:pt x="652" y="24"/>
                </a:lnTo>
                <a:lnTo>
                  <a:pt x="647" y="10"/>
                </a:lnTo>
                <a:lnTo>
                  <a:pt x="646" y="6"/>
                </a:lnTo>
                <a:lnTo>
                  <a:pt x="641" y="2"/>
                </a:lnTo>
                <a:lnTo>
                  <a:pt x="634" y="1"/>
                </a:lnTo>
                <a:lnTo>
                  <a:pt x="626" y="0"/>
                </a:lnTo>
                <a:lnTo>
                  <a:pt x="620" y="1"/>
                </a:lnTo>
                <a:lnTo>
                  <a:pt x="616" y="1"/>
                </a:lnTo>
                <a:lnTo>
                  <a:pt x="610" y="3"/>
                </a:lnTo>
                <a:lnTo>
                  <a:pt x="605" y="5"/>
                </a:lnTo>
                <a:lnTo>
                  <a:pt x="601" y="7"/>
                </a:lnTo>
                <a:lnTo>
                  <a:pt x="596" y="10"/>
                </a:lnTo>
                <a:lnTo>
                  <a:pt x="593" y="13"/>
                </a:lnTo>
                <a:lnTo>
                  <a:pt x="589" y="16"/>
                </a:lnTo>
                <a:lnTo>
                  <a:pt x="586" y="22"/>
                </a:lnTo>
                <a:lnTo>
                  <a:pt x="584" y="27"/>
                </a:lnTo>
                <a:lnTo>
                  <a:pt x="581" y="29"/>
                </a:lnTo>
                <a:lnTo>
                  <a:pt x="579" y="30"/>
                </a:lnTo>
                <a:lnTo>
                  <a:pt x="575" y="31"/>
                </a:lnTo>
                <a:lnTo>
                  <a:pt x="571" y="31"/>
                </a:lnTo>
                <a:lnTo>
                  <a:pt x="564" y="30"/>
                </a:lnTo>
                <a:lnTo>
                  <a:pt x="555" y="28"/>
                </a:lnTo>
                <a:lnTo>
                  <a:pt x="543" y="29"/>
                </a:lnTo>
                <a:lnTo>
                  <a:pt x="531" y="33"/>
                </a:lnTo>
                <a:lnTo>
                  <a:pt x="518" y="44"/>
                </a:lnTo>
                <a:lnTo>
                  <a:pt x="506" y="55"/>
                </a:lnTo>
                <a:lnTo>
                  <a:pt x="496" y="70"/>
                </a:lnTo>
                <a:lnTo>
                  <a:pt x="488" y="85"/>
                </a:lnTo>
                <a:lnTo>
                  <a:pt x="482" y="100"/>
                </a:lnTo>
                <a:lnTo>
                  <a:pt x="480" y="114"/>
                </a:lnTo>
                <a:lnTo>
                  <a:pt x="478" y="138"/>
                </a:lnTo>
                <a:lnTo>
                  <a:pt x="472" y="161"/>
                </a:lnTo>
                <a:lnTo>
                  <a:pt x="467" y="184"/>
                </a:lnTo>
                <a:lnTo>
                  <a:pt x="468" y="212"/>
                </a:lnTo>
                <a:lnTo>
                  <a:pt x="468" y="225"/>
                </a:lnTo>
                <a:lnTo>
                  <a:pt x="465" y="233"/>
                </a:lnTo>
                <a:lnTo>
                  <a:pt x="458" y="240"/>
                </a:lnTo>
                <a:lnTo>
                  <a:pt x="450" y="243"/>
                </a:lnTo>
                <a:lnTo>
                  <a:pt x="442" y="248"/>
                </a:lnTo>
                <a:lnTo>
                  <a:pt x="435" y="255"/>
                </a:lnTo>
                <a:lnTo>
                  <a:pt x="430" y="263"/>
                </a:lnTo>
                <a:lnTo>
                  <a:pt x="428" y="275"/>
                </a:lnTo>
                <a:lnTo>
                  <a:pt x="426" y="287"/>
                </a:lnTo>
                <a:lnTo>
                  <a:pt x="421" y="293"/>
                </a:lnTo>
                <a:lnTo>
                  <a:pt x="413" y="293"/>
                </a:lnTo>
                <a:lnTo>
                  <a:pt x="405" y="290"/>
                </a:lnTo>
                <a:lnTo>
                  <a:pt x="397" y="286"/>
                </a:lnTo>
                <a:lnTo>
                  <a:pt x="389" y="281"/>
                </a:lnTo>
                <a:lnTo>
                  <a:pt x="384" y="277"/>
                </a:lnTo>
                <a:lnTo>
                  <a:pt x="382" y="275"/>
                </a:lnTo>
                <a:lnTo>
                  <a:pt x="380" y="274"/>
                </a:lnTo>
                <a:lnTo>
                  <a:pt x="375" y="271"/>
                </a:lnTo>
                <a:lnTo>
                  <a:pt x="367" y="266"/>
                </a:lnTo>
                <a:lnTo>
                  <a:pt x="356" y="263"/>
                </a:lnTo>
                <a:lnTo>
                  <a:pt x="346" y="262"/>
                </a:lnTo>
                <a:lnTo>
                  <a:pt x="336" y="263"/>
                </a:lnTo>
                <a:lnTo>
                  <a:pt x="327" y="270"/>
                </a:lnTo>
                <a:lnTo>
                  <a:pt x="318" y="281"/>
                </a:lnTo>
                <a:lnTo>
                  <a:pt x="309" y="290"/>
                </a:lnTo>
                <a:lnTo>
                  <a:pt x="297" y="292"/>
                </a:lnTo>
                <a:lnTo>
                  <a:pt x="282" y="285"/>
                </a:lnTo>
                <a:lnTo>
                  <a:pt x="264" y="273"/>
                </a:lnTo>
                <a:lnTo>
                  <a:pt x="249" y="260"/>
                </a:lnTo>
                <a:lnTo>
                  <a:pt x="235" y="248"/>
                </a:lnTo>
                <a:lnTo>
                  <a:pt x="226" y="239"/>
                </a:lnTo>
                <a:lnTo>
                  <a:pt x="223" y="235"/>
                </a:lnTo>
                <a:lnTo>
                  <a:pt x="222" y="228"/>
                </a:lnTo>
                <a:lnTo>
                  <a:pt x="218" y="212"/>
                </a:lnTo>
                <a:lnTo>
                  <a:pt x="210" y="191"/>
                </a:lnTo>
                <a:lnTo>
                  <a:pt x="200" y="172"/>
                </a:lnTo>
                <a:lnTo>
                  <a:pt x="195" y="166"/>
                </a:lnTo>
                <a:lnTo>
                  <a:pt x="190" y="161"/>
                </a:lnTo>
                <a:lnTo>
                  <a:pt x="186" y="156"/>
                </a:lnTo>
                <a:lnTo>
                  <a:pt x="181" y="151"/>
                </a:lnTo>
                <a:lnTo>
                  <a:pt x="177" y="148"/>
                </a:lnTo>
                <a:lnTo>
                  <a:pt x="172" y="144"/>
                </a:lnTo>
                <a:lnTo>
                  <a:pt x="167" y="142"/>
                </a:lnTo>
                <a:lnTo>
                  <a:pt x="163" y="141"/>
                </a:lnTo>
                <a:lnTo>
                  <a:pt x="157" y="142"/>
                </a:lnTo>
                <a:lnTo>
                  <a:pt x="151" y="144"/>
                </a:lnTo>
                <a:lnTo>
                  <a:pt x="147" y="148"/>
                </a:lnTo>
                <a:lnTo>
                  <a:pt x="142" y="154"/>
                </a:lnTo>
                <a:lnTo>
                  <a:pt x="131" y="174"/>
                </a:lnTo>
                <a:lnTo>
                  <a:pt x="124" y="194"/>
                </a:lnTo>
                <a:lnTo>
                  <a:pt x="122" y="217"/>
                </a:lnTo>
                <a:lnTo>
                  <a:pt x="131" y="247"/>
                </a:lnTo>
                <a:lnTo>
                  <a:pt x="139" y="263"/>
                </a:lnTo>
                <a:lnTo>
                  <a:pt x="150" y="278"/>
                </a:lnTo>
                <a:lnTo>
                  <a:pt x="163" y="292"/>
                </a:lnTo>
                <a:lnTo>
                  <a:pt x="178" y="303"/>
                </a:lnTo>
                <a:lnTo>
                  <a:pt x="192" y="312"/>
                </a:lnTo>
                <a:lnTo>
                  <a:pt x="205" y="322"/>
                </a:lnTo>
                <a:lnTo>
                  <a:pt x="218" y="328"/>
                </a:lnTo>
                <a:lnTo>
                  <a:pt x="229" y="333"/>
                </a:lnTo>
                <a:lnTo>
                  <a:pt x="237" y="339"/>
                </a:lnTo>
                <a:lnTo>
                  <a:pt x="245" y="348"/>
                </a:lnTo>
                <a:lnTo>
                  <a:pt x="252" y="360"/>
                </a:lnTo>
                <a:lnTo>
                  <a:pt x="260" y="372"/>
                </a:lnTo>
                <a:lnTo>
                  <a:pt x="267" y="385"/>
                </a:lnTo>
                <a:lnTo>
                  <a:pt x="275" y="398"/>
                </a:lnTo>
                <a:lnTo>
                  <a:pt x="283" y="409"/>
                </a:lnTo>
                <a:lnTo>
                  <a:pt x="291" y="420"/>
                </a:lnTo>
                <a:lnTo>
                  <a:pt x="301" y="439"/>
                </a:lnTo>
                <a:lnTo>
                  <a:pt x="302" y="462"/>
                </a:lnTo>
                <a:lnTo>
                  <a:pt x="299" y="490"/>
                </a:lnTo>
                <a:lnTo>
                  <a:pt x="297" y="522"/>
                </a:lnTo>
                <a:lnTo>
                  <a:pt x="295" y="553"/>
                </a:lnTo>
                <a:lnTo>
                  <a:pt x="295" y="581"/>
                </a:lnTo>
                <a:lnTo>
                  <a:pt x="299" y="606"/>
                </a:lnTo>
                <a:lnTo>
                  <a:pt x="307" y="632"/>
                </a:lnTo>
                <a:lnTo>
                  <a:pt x="316" y="659"/>
                </a:lnTo>
                <a:lnTo>
                  <a:pt x="317" y="687"/>
                </a:lnTo>
                <a:lnTo>
                  <a:pt x="313" y="712"/>
                </a:lnTo>
                <a:lnTo>
                  <a:pt x="302" y="730"/>
                </a:lnTo>
                <a:lnTo>
                  <a:pt x="293" y="746"/>
                </a:lnTo>
                <a:lnTo>
                  <a:pt x="292" y="765"/>
                </a:lnTo>
                <a:lnTo>
                  <a:pt x="297" y="786"/>
                </a:lnTo>
                <a:lnTo>
                  <a:pt x="307" y="804"/>
                </a:lnTo>
                <a:lnTo>
                  <a:pt x="313" y="815"/>
                </a:lnTo>
                <a:lnTo>
                  <a:pt x="316" y="827"/>
                </a:lnTo>
                <a:lnTo>
                  <a:pt x="321" y="841"/>
                </a:lnTo>
                <a:lnTo>
                  <a:pt x="324" y="854"/>
                </a:lnTo>
                <a:lnTo>
                  <a:pt x="329" y="866"/>
                </a:lnTo>
                <a:lnTo>
                  <a:pt x="336" y="874"/>
                </a:lnTo>
                <a:lnTo>
                  <a:pt x="346" y="877"/>
                </a:lnTo>
                <a:lnTo>
                  <a:pt x="359" y="874"/>
                </a:lnTo>
                <a:lnTo>
                  <a:pt x="361" y="876"/>
                </a:lnTo>
                <a:lnTo>
                  <a:pt x="369" y="883"/>
                </a:lnTo>
                <a:lnTo>
                  <a:pt x="378" y="892"/>
                </a:lnTo>
                <a:lnTo>
                  <a:pt x="391" y="905"/>
                </a:lnTo>
                <a:lnTo>
                  <a:pt x="403" y="921"/>
                </a:lnTo>
                <a:lnTo>
                  <a:pt x="412" y="937"/>
                </a:lnTo>
                <a:lnTo>
                  <a:pt x="420" y="954"/>
                </a:lnTo>
                <a:lnTo>
                  <a:pt x="422" y="972"/>
                </a:lnTo>
                <a:lnTo>
                  <a:pt x="422" y="1003"/>
                </a:lnTo>
                <a:lnTo>
                  <a:pt x="421" y="1027"/>
                </a:lnTo>
                <a:lnTo>
                  <a:pt x="415" y="1043"/>
                </a:lnTo>
                <a:lnTo>
                  <a:pt x="399" y="1051"/>
                </a:lnTo>
                <a:lnTo>
                  <a:pt x="389" y="1055"/>
                </a:lnTo>
                <a:lnTo>
                  <a:pt x="380" y="1060"/>
                </a:lnTo>
                <a:lnTo>
                  <a:pt x="371" y="1067"/>
                </a:lnTo>
                <a:lnTo>
                  <a:pt x="365" y="1075"/>
                </a:lnTo>
                <a:lnTo>
                  <a:pt x="359" y="1083"/>
                </a:lnTo>
                <a:lnTo>
                  <a:pt x="354" y="1093"/>
                </a:lnTo>
                <a:lnTo>
                  <a:pt x="350" y="1101"/>
                </a:lnTo>
                <a:lnTo>
                  <a:pt x="347" y="1108"/>
                </a:lnTo>
                <a:lnTo>
                  <a:pt x="344" y="1116"/>
                </a:lnTo>
                <a:lnTo>
                  <a:pt x="337" y="1125"/>
                </a:lnTo>
                <a:lnTo>
                  <a:pt x="328" y="1135"/>
                </a:lnTo>
                <a:lnTo>
                  <a:pt x="317" y="1147"/>
                </a:lnTo>
                <a:lnTo>
                  <a:pt x="306" y="1159"/>
                </a:lnTo>
                <a:lnTo>
                  <a:pt x="294" y="1173"/>
                </a:lnTo>
                <a:lnTo>
                  <a:pt x="283" y="1187"/>
                </a:lnTo>
                <a:lnTo>
                  <a:pt x="273" y="1200"/>
                </a:lnTo>
                <a:lnTo>
                  <a:pt x="265" y="1211"/>
                </a:lnTo>
                <a:lnTo>
                  <a:pt x="259" y="1220"/>
                </a:lnTo>
                <a:lnTo>
                  <a:pt x="253" y="1227"/>
                </a:lnTo>
                <a:lnTo>
                  <a:pt x="247" y="1233"/>
                </a:lnTo>
                <a:lnTo>
                  <a:pt x="241" y="1237"/>
                </a:lnTo>
                <a:lnTo>
                  <a:pt x="234" y="1239"/>
                </a:lnTo>
                <a:lnTo>
                  <a:pt x="226" y="1240"/>
                </a:lnTo>
                <a:lnTo>
                  <a:pt x="217" y="1240"/>
                </a:lnTo>
                <a:lnTo>
                  <a:pt x="207" y="1242"/>
                </a:lnTo>
                <a:lnTo>
                  <a:pt x="196" y="1247"/>
                </a:lnTo>
                <a:lnTo>
                  <a:pt x="188" y="1254"/>
                </a:lnTo>
                <a:lnTo>
                  <a:pt x="180" y="1264"/>
                </a:lnTo>
                <a:lnTo>
                  <a:pt x="172" y="1275"/>
                </a:lnTo>
                <a:lnTo>
                  <a:pt x="166" y="1286"/>
                </a:lnTo>
                <a:lnTo>
                  <a:pt x="163" y="1298"/>
                </a:lnTo>
                <a:lnTo>
                  <a:pt x="159" y="1309"/>
                </a:lnTo>
                <a:lnTo>
                  <a:pt x="157" y="1320"/>
                </a:lnTo>
                <a:lnTo>
                  <a:pt x="154" y="1329"/>
                </a:lnTo>
                <a:lnTo>
                  <a:pt x="150" y="1337"/>
                </a:lnTo>
                <a:lnTo>
                  <a:pt x="146" y="1344"/>
                </a:lnTo>
                <a:lnTo>
                  <a:pt x="139" y="1350"/>
                </a:lnTo>
                <a:lnTo>
                  <a:pt x="132" y="1354"/>
                </a:lnTo>
                <a:lnTo>
                  <a:pt x="124" y="1359"/>
                </a:lnTo>
                <a:lnTo>
                  <a:pt x="113" y="1361"/>
                </a:lnTo>
                <a:lnTo>
                  <a:pt x="103" y="1363"/>
                </a:lnTo>
                <a:lnTo>
                  <a:pt x="94" y="1368"/>
                </a:lnTo>
                <a:lnTo>
                  <a:pt x="86" y="1373"/>
                </a:lnTo>
                <a:lnTo>
                  <a:pt x="80" y="1378"/>
                </a:lnTo>
                <a:lnTo>
                  <a:pt x="74" y="1385"/>
                </a:lnTo>
                <a:lnTo>
                  <a:pt x="71" y="1393"/>
                </a:lnTo>
                <a:lnTo>
                  <a:pt x="68" y="1403"/>
                </a:lnTo>
                <a:lnTo>
                  <a:pt x="67" y="1413"/>
                </a:lnTo>
                <a:lnTo>
                  <a:pt x="65" y="1423"/>
                </a:lnTo>
                <a:lnTo>
                  <a:pt x="60" y="1431"/>
                </a:lnTo>
                <a:lnTo>
                  <a:pt x="53" y="1439"/>
                </a:lnTo>
                <a:lnTo>
                  <a:pt x="45" y="1449"/>
                </a:lnTo>
                <a:lnTo>
                  <a:pt x="37" y="1458"/>
                </a:lnTo>
                <a:lnTo>
                  <a:pt x="30" y="1471"/>
                </a:lnTo>
                <a:lnTo>
                  <a:pt x="27" y="1486"/>
                </a:lnTo>
                <a:lnTo>
                  <a:pt x="27" y="1505"/>
                </a:lnTo>
                <a:lnTo>
                  <a:pt x="31" y="1555"/>
                </a:lnTo>
                <a:lnTo>
                  <a:pt x="37" y="1609"/>
                </a:lnTo>
                <a:lnTo>
                  <a:pt x="42" y="1661"/>
                </a:lnTo>
                <a:lnTo>
                  <a:pt x="44" y="1700"/>
                </a:lnTo>
                <a:lnTo>
                  <a:pt x="44" y="1716"/>
                </a:lnTo>
                <a:lnTo>
                  <a:pt x="42" y="1733"/>
                </a:lnTo>
                <a:lnTo>
                  <a:pt x="39" y="1752"/>
                </a:lnTo>
                <a:lnTo>
                  <a:pt x="36" y="1770"/>
                </a:lnTo>
                <a:lnTo>
                  <a:pt x="30" y="1788"/>
                </a:lnTo>
                <a:lnTo>
                  <a:pt x="25" y="1802"/>
                </a:lnTo>
                <a:lnTo>
                  <a:pt x="18" y="1816"/>
                </a:lnTo>
                <a:lnTo>
                  <a:pt x="10" y="1827"/>
                </a:lnTo>
                <a:lnTo>
                  <a:pt x="3" y="1837"/>
                </a:lnTo>
                <a:lnTo>
                  <a:pt x="0" y="1852"/>
                </a:lnTo>
                <a:lnTo>
                  <a:pt x="1" y="1868"/>
                </a:lnTo>
                <a:lnTo>
                  <a:pt x="5" y="1884"/>
                </a:lnTo>
                <a:lnTo>
                  <a:pt x="11" y="1899"/>
                </a:lnTo>
                <a:lnTo>
                  <a:pt x="19" y="1913"/>
                </a:lnTo>
                <a:lnTo>
                  <a:pt x="28" y="1921"/>
                </a:lnTo>
                <a:lnTo>
                  <a:pt x="38" y="1925"/>
                </a:lnTo>
                <a:lnTo>
                  <a:pt x="49" y="1927"/>
                </a:lnTo>
                <a:lnTo>
                  <a:pt x="58" y="1932"/>
                </a:lnTo>
                <a:lnTo>
                  <a:pt x="66" y="1940"/>
                </a:lnTo>
                <a:lnTo>
                  <a:pt x="74" y="1949"/>
                </a:lnTo>
                <a:lnTo>
                  <a:pt x="82" y="1960"/>
                </a:lnTo>
                <a:lnTo>
                  <a:pt x="89" y="1973"/>
                </a:lnTo>
                <a:lnTo>
                  <a:pt x="95" y="1987"/>
                </a:lnTo>
                <a:lnTo>
                  <a:pt x="102" y="2000"/>
                </a:lnTo>
                <a:lnTo>
                  <a:pt x="109" y="2012"/>
                </a:lnTo>
                <a:lnTo>
                  <a:pt x="118" y="2025"/>
                </a:lnTo>
                <a:lnTo>
                  <a:pt x="128" y="2036"/>
                </a:lnTo>
                <a:lnTo>
                  <a:pt x="140" y="2047"/>
                </a:lnTo>
                <a:lnTo>
                  <a:pt x="152" y="2056"/>
                </a:lnTo>
                <a:lnTo>
                  <a:pt x="167" y="2063"/>
                </a:lnTo>
                <a:lnTo>
                  <a:pt x="182" y="2068"/>
                </a:lnTo>
                <a:lnTo>
                  <a:pt x="200" y="2069"/>
                </a:lnTo>
                <a:lnTo>
                  <a:pt x="218" y="2066"/>
                </a:lnTo>
                <a:lnTo>
                  <a:pt x="241" y="2062"/>
                </a:lnTo>
                <a:lnTo>
                  <a:pt x="265" y="2054"/>
                </a:lnTo>
                <a:lnTo>
                  <a:pt x="291" y="2045"/>
                </a:lnTo>
                <a:lnTo>
                  <a:pt x="316" y="2034"/>
                </a:lnTo>
                <a:lnTo>
                  <a:pt x="340" y="2025"/>
                </a:lnTo>
                <a:lnTo>
                  <a:pt x="362" y="2017"/>
                </a:lnTo>
                <a:lnTo>
                  <a:pt x="382" y="2011"/>
                </a:lnTo>
                <a:lnTo>
                  <a:pt x="391" y="2009"/>
                </a:lnTo>
                <a:lnTo>
                  <a:pt x="403" y="2005"/>
                </a:lnTo>
                <a:lnTo>
                  <a:pt x="414" y="2002"/>
                </a:lnTo>
                <a:lnTo>
                  <a:pt x="427" y="1998"/>
                </a:lnTo>
                <a:lnTo>
                  <a:pt x="441" y="1994"/>
                </a:lnTo>
                <a:lnTo>
                  <a:pt x="456" y="1989"/>
                </a:lnTo>
                <a:lnTo>
                  <a:pt x="469" y="1985"/>
                </a:lnTo>
                <a:lnTo>
                  <a:pt x="484" y="1980"/>
                </a:lnTo>
                <a:lnTo>
                  <a:pt x="499" y="1975"/>
                </a:lnTo>
                <a:lnTo>
                  <a:pt x="514" y="1971"/>
                </a:lnTo>
                <a:lnTo>
                  <a:pt x="528" y="1967"/>
                </a:lnTo>
                <a:lnTo>
                  <a:pt x="542" y="1964"/>
                </a:lnTo>
                <a:lnTo>
                  <a:pt x="554" y="1960"/>
                </a:lnTo>
                <a:lnTo>
                  <a:pt x="565" y="1957"/>
                </a:lnTo>
                <a:lnTo>
                  <a:pt x="575" y="1955"/>
                </a:lnTo>
                <a:lnTo>
                  <a:pt x="584" y="1953"/>
                </a:lnTo>
                <a:lnTo>
                  <a:pt x="599" y="1950"/>
                </a:lnTo>
                <a:lnTo>
                  <a:pt x="615" y="1945"/>
                </a:lnTo>
                <a:lnTo>
                  <a:pt x="631" y="1938"/>
                </a:lnTo>
                <a:lnTo>
                  <a:pt x="648" y="1929"/>
                </a:lnTo>
                <a:lnTo>
                  <a:pt x="665" y="1917"/>
                </a:lnTo>
                <a:lnTo>
                  <a:pt x="684" y="1902"/>
                </a:lnTo>
                <a:lnTo>
                  <a:pt x="702" y="1883"/>
                </a:lnTo>
                <a:lnTo>
                  <a:pt x="722" y="1861"/>
                </a:lnTo>
                <a:lnTo>
                  <a:pt x="741" y="1836"/>
                </a:lnTo>
                <a:lnTo>
                  <a:pt x="762" y="1809"/>
                </a:lnTo>
                <a:lnTo>
                  <a:pt x="783" y="1782"/>
                </a:lnTo>
                <a:lnTo>
                  <a:pt x="804" y="1754"/>
                </a:lnTo>
                <a:lnTo>
                  <a:pt x="823" y="1726"/>
                </a:lnTo>
                <a:lnTo>
                  <a:pt x="841" y="1701"/>
                </a:lnTo>
                <a:lnTo>
                  <a:pt x="858" y="1679"/>
                </a:lnTo>
                <a:lnTo>
                  <a:pt x="872" y="1660"/>
                </a:lnTo>
                <a:lnTo>
                  <a:pt x="884" y="1642"/>
                </a:lnTo>
                <a:lnTo>
                  <a:pt x="897" y="1625"/>
                </a:lnTo>
                <a:lnTo>
                  <a:pt x="910" y="1609"/>
                </a:lnTo>
                <a:lnTo>
                  <a:pt x="921" y="1594"/>
                </a:lnTo>
                <a:lnTo>
                  <a:pt x="931" y="1581"/>
                </a:lnTo>
                <a:lnTo>
                  <a:pt x="939" y="1571"/>
                </a:lnTo>
                <a:lnTo>
                  <a:pt x="943" y="1565"/>
                </a:lnTo>
                <a:lnTo>
                  <a:pt x="946" y="1563"/>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0" name="Text Placeholder 12"/>
          <p:cNvSpPr>
            <a:spLocks/>
          </p:cNvSpPr>
          <p:nvPr>
            <p:custDataLst>
              <p:tags r:id="rId1"/>
            </p:custDataLst>
          </p:nvPr>
        </p:nvSpPr>
        <p:spPr bwMode="auto">
          <a:xfrm>
            <a:off x="1440656" y="1131570"/>
            <a:ext cx="344646" cy="115416"/>
          </a:xfrm>
          <a:prstGeom prst="rect">
            <a:avLst/>
          </a:prstGeom>
          <a:noFill/>
          <a:ln w="9525">
            <a:noFill/>
            <a:miter lim="800000"/>
            <a:headEnd/>
            <a:tailEnd/>
          </a:ln>
        </p:spPr>
        <p:txBody>
          <a:bodyPr wrap="none" lIns="0" tIns="0" rIns="0" bIns="0">
            <a:spAutoFit/>
          </a:bodyPr>
          <a:lstStyle/>
          <a:p>
            <a:pPr defTabSz="764381">
              <a:buClrTx/>
            </a:pPr>
            <a:r>
              <a:rPr lang="en-US" sz="750" kern="1200" dirty="0">
                <a:solidFill>
                  <a:srgbClr val="313131"/>
                </a:solidFill>
                <a:ea typeface="+mn-ea"/>
                <a:cs typeface="+mn-cs"/>
              </a:rPr>
              <a:t>Sweden</a:t>
            </a:r>
          </a:p>
        </p:txBody>
      </p:sp>
      <p:sp>
        <p:nvSpPr>
          <p:cNvPr id="11" name="Text Placeholder 12"/>
          <p:cNvSpPr>
            <a:spLocks/>
          </p:cNvSpPr>
          <p:nvPr>
            <p:custDataLst>
              <p:tags r:id="rId2"/>
            </p:custDataLst>
          </p:nvPr>
        </p:nvSpPr>
        <p:spPr bwMode="auto">
          <a:xfrm>
            <a:off x="3255119" y="1131570"/>
            <a:ext cx="312586" cy="115416"/>
          </a:xfrm>
          <a:prstGeom prst="rect">
            <a:avLst/>
          </a:prstGeom>
          <a:noFill/>
          <a:ln w="9525">
            <a:noFill/>
            <a:miter lim="800000"/>
            <a:headEnd/>
            <a:tailEnd/>
          </a:ln>
        </p:spPr>
        <p:txBody>
          <a:bodyPr wrap="none" lIns="0" tIns="0" rIns="0" bIns="0">
            <a:spAutoFit/>
          </a:bodyPr>
          <a:lstStyle/>
          <a:p>
            <a:pPr defTabSz="764381">
              <a:buClrTx/>
            </a:pPr>
            <a:r>
              <a:rPr lang="en-US" sz="750" kern="1200" dirty="0">
                <a:solidFill>
                  <a:srgbClr val="313131"/>
                </a:solidFill>
                <a:ea typeface="+mn-ea"/>
                <a:cs typeface="+mn-cs"/>
              </a:rPr>
              <a:t>Finland</a:t>
            </a:r>
          </a:p>
        </p:txBody>
      </p:sp>
      <p:grpSp>
        <p:nvGrpSpPr>
          <p:cNvPr id="12" name="Group 11"/>
          <p:cNvGrpSpPr/>
          <p:nvPr/>
        </p:nvGrpSpPr>
        <p:grpSpPr bwMode="gray">
          <a:xfrm>
            <a:off x="1440657" y="1268730"/>
            <a:ext cx="1518653" cy="3494267"/>
            <a:chOff x="1131010" y="1444535"/>
            <a:chExt cx="2024871" cy="4659022"/>
          </a:xfrm>
          <a:solidFill>
            <a:srgbClr val="00A1DE"/>
          </a:solidFill>
        </p:grpSpPr>
        <p:sp>
          <p:nvSpPr>
            <p:cNvPr id="13" name="Freeform 12"/>
            <p:cNvSpPr/>
            <p:nvPr/>
          </p:nvSpPr>
          <p:spPr bwMode="gray">
            <a:xfrm>
              <a:off x="1756005" y="2430683"/>
              <a:ext cx="1101711" cy="1010490"/>
            </a:xfrm>
            <a:custGeom>
              <a:avLst/>
              <a:gdLst>
                <a:gd name="connsiteX0" fmla="*/ 214023 w 1355373"/>
                <a:gd name="connsiteY0" fmla="*/ 0 h 1243148"/>
                <a:gd name="connsiteX1" fmla="*/ 142771 w 1355373"/>
                <a:gd name="connsiteY1" fmla="*/ 59376 h 1243148"/>
                <a:gd name="connsiteX2" fmla="*/ 47768 w 1355373"/>
                <a:gd name="connsiteY2" fmla="*/ 71252 h 1243148"/>
                <a:gd name="connsiteX3" fmla="*/ 35893 w 1355373"/>
                <a:gd name="connsiteY3" fmla="*/ 106878 h 1243148"/>
                <a:gd name="connsiteX4" fmla="*/ 83394 w 1355373"/>
                <a:gd name="connsiteY4" fmla="*/ 178130 h 1243148"/>
                <a:gd name="connsiteX5" fmla="*/ 71519 w 1355373"/>
                <a:gd name="connsiteY5" fmla="*/ 225631 h 1243148"/>
                <a:gd name="connsiteX6" fmla="*/ 59643 w 1355373"/>
                <a:gd name="connsiteY6" fmla="*/ 261257 h 1243148"/>
                <a:gd name="connsiteX7" fmla="*/ 47768 w 1355373"/>
                <a:gd name="connsiteY7" fmla="*/ 320634 h 1243148"/>
                <a:gd name="connsiteX8" fmla="*/ 35893 w 1355373"/>
                <a:gd name="connsiteY8" fmla="*/ 368135 h 1243148"/>
                <a:gd name="connsiteX9" fmla="*/ 12142 w 1355373"/>
                <a:gd name="connsiteY9" fmla="*/ 486888 h 1243148"/>
                <a:gd name="connsiteX10" fmla="*/ 59643 w 1355373"/>
                <a:gd name="connsiteY10" fmla="*/ 558140 h 1243148"/>
                <a:gd name="connsiteX11" fmla="*/ 71519 w 1355373"/>
                <a:gd name="connsiteY11" fmla="*/ 593766 h 1243148"/>
                <a:gd name="connsiteX12" fmla="*/ 95269 w 1355373"/>
                <a:gd name="connsiteY12" fmla="*/ 629392 h 1243148"/>
                <a:gd name="connsiteX13" fmla="*/ 166521 w 1355373"/>
                <a:gd name="connsiteY13" fmla="*/ 700644 h 1243148"/>
                <a:gd name="connsiteX14" fmla="*/ 261524 w 1355373"/>
                <a:gd name="connsiteY14" fmla="*/ 807522 h 1243148"/>
                <a:gd name="connsiteX15" fmla="*/ 297150 w 1355373"/>
                <a:gd name="connsiteY15" fmla="*/ 843148 h 1243148"/>
                <a:gd name="connsiteX16" fmla="*/ 320901 w 1355373"/>
                <a:gd name="connsiteY16" fmla="*/ 878774 h 1243148"/>
                <a:gd name="connsiteX17" fmla="*/ 356527 w 1355373"/>
                <a:gd name="connsiteY17" fmla="*/ 890649 h 1243148"/>
                <a:gd name="connsiteX18" fmla="*/ 392152 w 1355373"/>
                <a:gd name="connsiteY18" fmla="*/ 926275 h 1243148"/>
                <a:gd name="connsiteX19" fmla="*/ 415903 w 1355373"/>
                <a:gd name="connsiteY19" fmla="*/ 961901 h 1243148"/>
                <a:gd name="connsiteX20" fmla="*/ 487155 w 1355373"/>
                <a:gd name="connsiteY20" fmla="*/ 1009402 h 1243148"/>
                <a:gd name="connsiteX21" fmla="*/ 522781 w 1355373"/>
                <a:gd name="connsiteY21" fmla="*/ 1033153 h 1243148"/>
                <a:gd name="connsiteX22" fmla="*/ 582158 w 1355373"/>
                <a:gd name="connsiteY22" fmla="*/ 1045028 h 1243148"/>
                <a:gd name="connsiteX23" fmla="*/ 653410 w 1355373"/>
                <a:gd name="connsiteY23" fmla="*/ 1033153 h 1243148"/>
                <a:gd name="connsiteX24" fmla="*/ 689036 w 1355373"/>
                <a:gd name="connsiteY24" fmla="*/ 1021278 h 1243148"/>
                <a:gd name="connsiteX25" fmla="*/ 760288 w 1355373"/>
                <a:gd name="connsiteY25" fmla="*/ 1009402 h 1243148"/>
                <a:gd name="connsiteX26" fmla="*/ 807789 w 1355373"/>
                <a:gd name="connsiteY26" fmla="*/ 1021278 h 1243148"/>
                <a:gd name="connsiteX27" fmla="*/ 879041 w 1355373"/>
                <a:gd name="connsiteY27" fmla="*/ 1068779 h 1243148"/>
                <a:gd name="connsiteX28" fmla="*/ 926542 w 1355373"/>
                <a:gd name="connsiteY28" fmla="*/ 1140031 h 1243148"/>
                <a:gd name="connsiteX29" fmla="*/ 974043 w 1355373"/>
                <a:gd name="connsiteY29" fmla="*/ 1211283 h 1243148"/>
                <a:gd name="connsiteX30" fmla="*/ 1009669 w 1355373"/>
                <a:gd name="connsiteY30" fmla="*/ 1199408 h 1243148"/>
                <a:gd name="connsiteX31" fmla="*/ 1033420 w 1355373"/>
                <a:gd name="connsiteY31" fmla="*/ 1163782 h 1243148"/>
                <a:gd name="connsiteX32" fmla="*/ 1104672 w 1355373"/>
                <a:gd name="connsiteY32" fmla="*/ 1140031 h 1243148"/>
                <a:gd name="connsiteX33" fmla="*/ 1187799 w 1355373"/>
                <a:gd name="connsiteY33" fmla="*/ 1045028 h 1243148"/>
                <a:gd name="connsiteX34" fmla="*/ 1211550 w 1355373"/>
                <a:gd name="connsiteY34" fmla="*/ 1009402 h 1243148"/>
                <a:gd name="connsiteX35" fmla="*/ 1247176 w 1355373"/>
                <a:gd name="connsiteY35" fmla="*/ 985652 h 1243148"/>
                <a:gd name="connsiteX36" fmla="*/ 1294677 w 1355373"/>
                <a:gd name="connsiteY36" fmla="*/ 914400 h 1243148"/>
                <a:gd name="connsiteX37" fmla="*/ 1306552 w 1355373"/>
                <a:gd name="connsiteY37" fmla="*/ 878774 h 1243148"/>
                <a:gd name="connsiteX38" fmla="*/ 1330303 w 1355373"/>
                <a:gd name="connsiteY38" fmla="*/ 843148 h 1243148"/>
                <a:gd name="connsiteX39" fmla="*/ 1318428 w 1355373"/>
                <a:gd name="connsiteY39" fmla="*/ 736270 h 1243148"/>
                <a:gd name="connsiteX40" fmla="*/ 1270927 w 1355373"/>
                <a:gd name="connsiteY40" fmla="*/ 665018 h 1243148"/>
                <a:gd name="connsiteX41" fmla="*/ 1270927 w 1355373"/>
                <a:gd name="connsiteY41" fmla="*/ 463137 h 1243148"/>
                <a:gd name="connsiteX42" fmla="*/ 1235301 w 1355373"/>
                <a:gd name="connsiteY42" fmla="*/ 451262 h 1243148"/>
                <a:gd name="connsiteX43" fmla="*/ 1164049 w 1355373"/>
                <a:gd name="connsiteY43" fmla="*/ 439387 h 1243148"/>
                <a:gd name="connsiteX44" fmla="*/ 1128423 w 1355373"/>
                <a:gd name="connsiteY44" fmla="*/ 415636 h 1243148"/>
                <a:gd name="connsiteX45" fmla="*/ 1009669 w 1355373"/>
                <a:gd name="connsiteY45" fmla="*/ 415636 h 1243148"/>
                <a:gd name="connsiteX46" fmla="*/ 974043 w 1355373"/>
                <a:gd name="connsiteY46" fmla="*/ 451262 h 1243148"/>
                <a:gd name="connsiteX47" fmla="*/ 902791 w 1355373"/>
                <a:gd name="connsiteY47" fmla="*/ 475013 h 1243148"/>
                <a:gd name="connsiteX48" fmla="*/ 867165 w 1355373"/>
                <a:gd name="connsiteY48" fmla="*/ 451262 h 1243148"/>
                <a:gd name="connsiteX49" fmla="*/ 795914 w 1355373"/>
                <a:gd name="connsiteY49" fmla="*/ 391886 h 1243148"/>
                <a:gd name="connsiteX50" fmla="*/ 772163 w 1355373"/>
                <a:gd name="connsiteY50" fmla="*/ 356260 h 1243148"/>
                <a:gd name="connsiteX51" fmla="*/ 736537 w 1355373"/>
                <a:gd name="connsiteY51" fmla="*/ 344384 h 1243148"/>
                <a:gd name="connsiteX52" fmla="*/ 665285 w 1355373"/>
                <a:gd name="connsiteY52" fmla="*/ 296883 h 1243148"/>
                <a:gd name="connsiteX53" fmla="*/ 594033 w 1355373"/>
                <a:gd name="connsiteY53" fmla="*/ 249382 h 1243148"/>
                <a:gd name="connsiteX54" fmla="*/ 558407 w 1355373"/>
                <a:gd name="connsiteY54" fmla="*/ 225631 h 1243148"/>
                <a:gd name="connsiteX55" fmla="*/ 487155 w 1355373"/>
                <a:gd name="connsiteY55" fmla="*/ 166254 h 1243148"/>
                <a:gd name="connsiteX56" fmla="*/ 427778 w 1355373"/>
                <a:gd name="connsiteY56" fmla="*/ 118753 h 1243148"/>
                <a:gd name="connsiteX57" fmla="*/ 356527 w 1355373"/>
                <a:gd name="connsiteY57" fmla="*/ 71252 h 1243148"/>
                <a:gd name="connsiteX58" fmla="*/ 214023 w 1355373"/>
                <a:gd name="connsiteY58" fmla="*/ 0 h 1243148"/>
                <a:gd name="connsiteX59" fmla="*/ 214023 w 1355373"/>
                <a:gd name="connsiteY59" fmla="*/ 0 h 1243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355373" h="1243148">
                  <a:moveTo>
                    <a:pt x="214023" y="0"/>
                  </a:moveTo>
                  <a:cubicBezTo>
                    <a:pt x="202148" y="9896"/>
                    <a:pt x="165505" y="53176"/>
                    <a:pt x="142771" y="59376"/>
                  </a:cubicBezTo>
                  <a:cubicBezTo>
                    <a:pt x="111981" y="67773"/>
                    <a:pt x="79436" y="67293"/>
                    <a:pt x="47768" y="71252"/>
                  </a:cubicBezTo>
                  <a:cubicBezTo>
                    <a:pt x="43810" y="83127"/>
                    <a:pt x="31935" y="95003"/>
                    <a:pt x="35893" y="106878"/>
                  </a:cubicBezTo>
                  <a:cubicBezTo>
                    <a:pt x="44920" y="133958"/>
                    <a:pt x="83394" y="178130"/>
                    <a:pt x="83394" y="178130"/>
                  </a:cubicBezTo>
                  <a:cubicBezTo>
                    <a:pt x="79436" y="193964"/>
                    <a:pt x="76003" y="209938"/>
                    <a:pt x="71519" y="225631"/>
                  </a:cubicBezTo>
                  <a:cubicBezTo>
                    <a:pt x="68080" y="237667"/>
                    <a:pt x="62679" y="249113"/>
                    <a:pt x="59643" y="261257"/>
                  </a:cubicBezTo>
                  <a:cubicBezTo>
                    <a:pt x="54748" y="280839"/>
                    <a:pt x="52146" y="300930"/>
                    <a:pt x="47768" y="320634"/>
                  </a:cubicBezTo>
                  <a:cubicBezTo>
                    <a:pt x="44228" y="336566"/>
                    <a:pt x="38813" y="352077"/>
                    <a:pt x="35893" y="368135"/>
                  </a:cubicBezTo>
                  <a:cubicBezTo>
                    <a:pt x="14060" y="488215"/>
                    <a:pt x="36529" y="413724"/>
                    <a:pt x="12142" y="486888"/>
                  </a:cubicBezTo>
                  <a:cubicBezTo>
                    <a:pt x="39413" y="595976"/>
                    <a:pt x="0" y="483587"/>
                    <a:pt x="59643" y="558140"/>
                  </a:cubicBezTo>
                  <a:cubicBezTo>
                    <a:pt x="67463" y="567915"/>
                    <a:pt x="65921" y="582570"/>
                    <a:pt x="71519" y="593766"/>
                  </a:cubicBezTo>
                  <a:cubicBezTo>
                    <a:pt x="77902" y="606531"/>
                    <a:pt x="85787" y="618725"/>
                    <a:pt x="95269" y="629392"/>
                  </a:cubicBezTo>
                  <a:cubicBezTo>
                    <a:pt x="117584" y="654496"/>
                    <a:pt x="147889" y="672697"/>
                    <a:pt x="166521" y="700644"/>
                  </a:cubicBezTo>
                  <a:cubicBezTo>
                    <a:pt x="208904" y="764217"/>
                    <a:pt x="180180" y="726178"/>
                    <a:pt x="261524" y="807522"/>
                  </a:cubicBezTo>
                  <a:lnTo>
                    <a:pt x="297150" y="843148"/>
                  </a:lnTo>
                  <a:cubicBezTo>
                    <a:pt x="307242" y="853240"/>
                    <a:pt x="309756" y="869858"/>
                    <a:pt x="320901" y="878774"/>
                  </a:cubicBezTo>
                  <a:cubicBezTo>
                    <a:pt x="330676" y="886594"/>
                    <a:pt x="344652" y="886691"/>
                    <a:pt x="356527" y="890649"/>
                  </a:cubicBezTo>
                  <a:cubicBezTo>
                    <a:pt x="368402" y="902524"/>
                    <a:pt x="381401" y="913373"/>
                    <a:pt x="392152" y="926275"/>
                  </a:cubicBezTo>
                  <a:cubicBezTo>
                    <a:pt x="401289" y="937239"/>
                    <a:pt x="405162" y="952503"/>
                    <a:pt x="415903" y="961901"/>
                  </a:cubicBezTo>
                  <a:cubicBezTo>
                    <a:pt x="437385" y="980698"/>
                    <a:pt x="463404" y="993568"/>
                    <a:pt x="487155" y="1009402"/>
                  </a:cubicBezTo>
                  <a:lnTo>
                    <a:pt x="522781" y="1033153"/>
                  </a:lnTo>
                  <a:cubicBezTo>
                    <a:pt x="539575" y="1044349"/>
                    <a:pt x="562366" y="1041070"/>
                    <a:pt x="582158" y="1045028"/>
                  </a:cubicBezTo>
                  <a:cubicBezTo>
                    <a:pt x="605909" y="1041070"/>
                    <a:pt x="629905" y="1038376"/>
                    <a:pt x="653410" y="1033153"/>
                  </a:cubicBezTo>
                  <a:cubicBezTo>
                    <a:pt x="665630" y="1030438"/>
                    <a:pt x="676816" y="1023993"/>
                    <a:pt x="689036" y="1021278"/>
                  </a:cubicBezTo>
                  <a:cubicBezTo>
                    <a:pt x="712541" y="1016055"/>
                    <a:pt x="736537" y="1013361"/>
                    <a:pt x="760288" y="1009402"/>
                  </a:cubicBezTo>
                  <a:cubicBezTo>
                    <a:pt x="776122" y="1013361"/>
                    <a:pt x="793191" y="1013979"/>
                    <a:pt x="807789" y="1021278"/>
                  </a:cubicBezTo>
                  <a:cubicBezTo>
                    <a:pt x="833320" y="1034044"/>
                    <a:pt x="879041" y="1068779"/>
                    <a:pt x="879041" y="1068779"/>
                  </a:cubicBezTo>
                  <a:cubicBezTo>
                    <a:pt x="907277" y="1153489"/>
                    <a:pt x="867239" y="1051076"/>
                    <a:pt x="926542" y="1140031"/>
                  </a:cubicBezTo>
                  <a:cubicBezTo>
                    <a:pt x="995286" y="1243148"/>
                    <a:pt x="860393" y="1097633"/>
                    <a:pt x="974043" y="1211283"/>
                  </a:cubicBezTo>
                  <a:cubicBezTo>
                    <a:pt x="985918" y="1207325"/>
                    <a:pt x="999894" y="1207228"/>
                    <a:pt x="1009669" y="1199408"/>
                  </a:cubicBezTo>
                  <a:cubicBezTo>
                    <a:pt x="1020814" y="1190492"/>
                    <a:pt x="1021317" y="1171346"/>
                    <a:pt x="1033420" y="1163782"/>
                  </a:cubicBezTo>
                  <a:cubicBezTo>
                    <a:pt x="1054650" y="1150513"/>
                    <a:pt x="1104672" y="1140031"/>
                    <a:pt x="1104672" y="1140031"/>
                  </a:cubicBezTo>
                  <a:cubicBezTo>
                    <a:pt x="1164049" y="1100446"/>
                    <a:pt x="1132380" y="1128156"/>
                    <a:pt x="1187799" y="1045028"/>
                  </a:cubicBezTo>
                  <a:cubicBezTo>
                    <a:pt x="1195716" y="1033153"/>
                    <a:pt x="1199675" y="1017319"/>
                    <a:pt x="1211550" y="1009402"/>
                  </a:cubicBezTo>
                  <a:lnTo>
                    <a:pt x="1247176" y="985652"/>
                  </a:lnTo>
                  <a:lnTo>
                    <a:pt x="1294677" y="914400"/>
                  </a:lnTo>
                  <a:cubicBezTo>
                    <a:pt x="1301621" y="903985"/>
                    <a:pt x="1300954" y="889970"/>
                    <a:pt x="1306552" y="878774"/>
                  </a:cubicBezTo>
                  <a:cubicBezTo>
                    <a:pt x="1312935" y="866008"/>
                    <a:pt x="1322386" y="855023"/>
                    <a:pt x="1330303" y="843148"/>
                  </a:cubicBezTo>
                  <a:cubicBezTo>
                    <a:pt x="1345476" y="797626"/>
                    <a:pt x="1355373" y="791687"/>
                    <a:pt x="1318428" y="736270"/>
                  </a:cubicBezTo>
                  <a:lnTo>
                    <a:pt x="1270927" y="665018"/>
                  </a:lnTo>
                  <a:cubicBezTo>
                    <a:pt x="1276957" y="610749"/>
                    <a:pt x="1295590" y="518629"/>
                    <a:pt x="1270927" y="463137"/>
                  </a:cubicBezTo>
                  <a:cubicBezTo>
                    <a:pt x="1265843" y="451698"/>
                    <a:pt x="1247521" y="453977"/>
                    <a:pt x="1235301" y="451262"/>
                  </a:cubicBezTo>
                  <a:cubicBezTo>
                    <a:pt x="1211796" y="446039"/>
                    <a:pt x="1187800" y="443345"/>
                    <a:pt x="1164049" y="439387"/>
                  </a:cubicBezTo>
                  <a:cubicBezTo>
                    <a:pt x="1152174" y="431470"/>
                    <a:pt x="1141787" y="420647"/>
                    <a:pt x="1128423" y="415636"/>
                  </a:cubicBezTo>
                  <a:cubicBezTo>
                    <a:pt x="1073350" y="394984"/>
                    <a:pt x="1064742" y="404622"/>
                    <a:pt x="1009669" y="415636"/>
                  </a:cubicBezTo>
                  <a:cubicBezTo>
                    <a:pt x="997794" y="427511"/>
                    <a:pt x="988724" y="443106"/>
                    <a:pt x="974043" y="451262"/>
                  </a:cubicBezTo>
                  <a:cubicBezTo>
                    <a:pt x="952158" y="463420"/>
                    <a:pt x="902791" y="475013"/>
                    <a:pt x="902791" y="475013"/>
                  </a:cubicBezTo>
                  <a:cubicBezTo>
                    <a:pt x="890916" y="467096"/>
                    <a:pt x="878129" y="460399"/>
                    <a:pt x="867165" y="451262"/>
                  </a:cubicBezTo>
                  <a:cubicBezTo>
                    <a:pt x="775732" y="375067"/>
                    <a:pt x="884362" y="450851"/>
                    <a:pt x="795914" y="391886"/>
                  </a:cubicBezTo>
                  <a:cubicBezTo>
                    <a:pt x="787997" y="380011"/>
                    <a:pt x="783308" y="365176"/>
                    <a:pt x="772163" y="356260"/>
                  </a:cubicBezTo>
                  <a:cubicBezTo>
                    <a:pt x="762388" y="348440"/>
                    <a:pt x="747479" y="350463"/>
                    <a:pt x="736537" y="344384"/>
                  </a:cubicBezTo>
                  <a:cubicBezTo>
                    <a:pt x="711584" y="330521"/>
                    <a:pt x="689036" y="312717"/>
                    <a:pt x="665285" y="296883"/>
                  </a:cubicBezTo>
                  <a:lnTo>
                    <a:pt x="594033" y="249382"/>
                  </a:lnTo>
                  <a:cubicBezTo>
                    <a:pt x="582158" y="241465"/>
                    <a:pt x="568499" y="235723"/>
                    <a:pt x="558407" y="225631"/>
                  </a:cubicBezTo>
                  <a:cubicBezTo>
                    <a:pt x="512689" y="179913"/>
                    <a:pt x="536755" y="199321"/>
                    <a:pt x="487155" y="166254"/>
                  </a:cubicBezTo>
                  <a:cubicBezTo>
                    <a:pt x="434036" y="86577"/>
                    <a:pt x="496611" y="164641"/>
                    <a:pt x="427778" y="118753"/>
                  </a:cubicBezTo>
                  <a:cubicBezTo>
                    <a:pt x="338823" y="59450"/>
                    <a:pt x="441236" y="99488"/>
                    <a:pt x="356527" y="71252"/>
                  </a:cubicBezTo>
                  <a:cubicBezTo>
                    <a:pt x="264444" y="9863"/>
                    <a:pt x="312355" y="32776"/>
                    <a:pt x="214023" y="0"/>
                  </a:cubicBezTo>
                  <a:lnTo>
                    <a:pt x="214023" y="0"/>
                  </a:ln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fontAlgn="base">
                <a:spcBef>
                  <a:spcPct val="0"/>
                </a:spcBef>
                <a:spcAft>
                  <a:spcPct val="0"/>
                </a:spcAft>
                <a:buClrTx/>
              </a:pPr>
              <a:endParaRPr lang="en-US" sz="1050" kern="1200">
                <a:solidFill>
                  <a:prstClr val="black"/>
                </a:solidFill>
                <a:latin typeface="Century Gothic" pitchFamily="34" charset="0"/>
                <a:ea typeface="+mn-ea"/>
                <a:cs typeface="+mn-cs"/>
              </a:endParaRPr>
            </a:p>
          </p:txBody>
        </p:sp>
        <p:sp>
          <p:nvSpPr>
            <p:cNvPr id="14" name="Freeform 13"/>
            <p:cNvSpPr/>
            <p:nvPr/>
          </p:nvSpPr>
          <p:spPr bwMode="gray">
            <a:xfrm>
              <a:off x="1384205" y="2820395"/>
              <a:ext cx="768430" cy="1237170"/>
            </a:xfrm>
            <a:custGeom>
              <a:avLst/>
              <a:gdLst>
                <a:gd name="connsiteX0" fmla="*/ 475013 w 945356"/>
                <a:gd name="connsiteY0" fmla="*/ 1979 h 1522020"/>
                <a:gd name="connsiteX1" fmla="*/ 451263 w 945356"/>
                <a:gd name="connsiteY1" fmla="*/ 73231 h 1522020"/>
                <a:gd name="connsiteX2" fmla="*/ 439387 w 945356"/>
                <a:gd name="connsiteY2" fmla="*/ 108857 h 1522020"/>
                <a:gd name="connsiteX3" fmla="*/ 403761 w 945356"/>
                <a:gd name="connsiteY3" fmla="*/ 132607 h 1522020"/>
                <a:gd name="connsiteX4" fmla="*/ 391886 w 945356"/>
                <a:gd name="connsiteY4" fmla="*/ 239485 h 1522020"/>
                <a:gd name="connsiteX5" fmla="*/ 427512 w 945356"/>
                <a:gd name="connsiteY5" fmla="*/ 263236 h 1522020"/>
                <a:gd name="connsiteX6" fmla="*/ 427512 w 945356"/>
                <a:gd name="connsiteY6" fmla="*/ 429490 h 1522020"/>
                <a:gd name="connsiteX7" fmla="*/ 391886 w 945356"/>
                <a:gd name="connsiteY7" fmla="*/ 453241 h 1522020"/>
                <a:gd name="connsiteX8" fmla="*/ 344385 w 945356"/>
                <a:gd name="connsiteY8" fmla="*/ 429490 h 1522020"/>
                <a:gd name="connsiteX9" fmla="*/ 237507 w 945356"/>
                <a:gd name="connsiteY9" fmla="*/ 465116 h 1522020"/>
                <a:gd name="connsiteX10" fmla="*/ 190006 w 945356"/>
                <a:gd name="connsiteY10" fmla="*/ 488867 h 1522020"/>
                <a:gd name="connsiteX11" fmla="*/ 166255 w 945356"/>
                <a:gd name="connsiteY11" fmla="*/ 524493 h 1522020"/>
                <a:gd name="connsiteX12" fmla="*/ 130629 w 945356"/>
                <a:gd name="connsiteY12" fmla="*/ 560119 h 1522020"/>
                <a:gd name="connsiteX13" fmla="*/ 118754 w 945356"/>
                <a:gd name="connsiteY13" fmla="*/ 595745 h 1522020"/>
                <a:gd name="connsiteX14" fmla="*/ 59377 w 945356"/>
                <a:gd name="connsiteY14" fmla="*/ 655122 h 1522020"/>
                <a:gd name="connsiteX15" fmla="*/ 35626 w 945356"/>
                <a:gd name="connsiteY15" fmla="*/ 726374 h 1522020"/>
                <a:gd name="connsiteX16" fmla="*/ 23751 w 945356"/>
                <a:gd name="connsiteY16" fmla="*/ 785750 h 1522020"/>
                <a:gd name="connsiteX17" fmla="*/ 0 w 945356"/>
                <a:gd name="connsiteY17" fmla="*/ 821376 h 1522020"/>
                <a:gd name="connsiteX18" fmla="*/ 11876 w 945356"/>
                <a:gd name="connsiteY18" fmla="*/ 963880 h 1522020"/>
                <a:gd name="connsiteX19" fmla="*/ 23751 w 945356"/>
                <a:gd name="connsiteY19" fmla="*/ 1189511 h 1522020"/>
                <a:gd name="connsiteX20" fmla="*/ 142504 w 945356"/>
                <a:gd name="connsiteY20" fmla="*/ 1248888 h 1522020"/>
                <a:gd name="connsiteX21" fmla="*/ 166255 w 945356"/>
                <a:gd name="connsiteY21" fmla="*/ 1284514 h 1522020"/>
                <a:gd name="connsiteX22" fmla="*/ 201881 w 945356"/>
                <a:gd name="connsiteY22" fmla="*/ 1308264 h 1522020"/>
                <a:gd name="connsiteX23" fmla="*/ 213756 w 945356"/>
                <a:gd name="connsiteY23" fmla="*/ 1343890 h 1522020"/>
                <a:gd name="connsiteX24" fmla="*/ 249382 w 945356"/>
                <a:gd name="connsiteY24" fmla="*/ 1379516 h 1522020"/>
                <a:gd name="connsiteX25" fmla="*/ 285008 w 945356"/>
                <a:gd name="connsiteY25" fmla="*/ 1450768 h 1522020"/>
                <a:gd name="connsiteX26" fmla="*/ 391886 w 945356"/>
                <a:gd name="connsiteY26" fmla="*/ 1498270 h 1522020"/>
                <a:gd name="connsiteX27" fmla="*/ 427512 w 945356"/>
                <a:gd name="connsiteY27" fmla="*/ 1522020 h 1522020"/>
                <a:gd name="connsiteX28" fmla="*/ 486889 w 945356"/>
                <a:gd name="connsiteY28" fmla="*/ 1510145 h 1522020"/>
                <a:gd name="connsiteX29" fmla="*/ 486889 w 945356"/>
                <a:gd name="connsiteY29" fmla="*/ 1438893 h 1522020"/>
                <a:gd name="connsiteX30" fmla="*/ 605642 w 945356"/>
                <a:gd name="connsiteY30" fmla="*/ 1391392 h 1522020"/>
                <a:gd name="connsiteX31" fmla="*/ 641268 w 945356"/>
                <a:gd name="connsiteY31" fmla="*/ 1355766 h 1522020"/>
                <a:gd name="connsiteX32" fmla="*/ 641268 w 945356"/>
                <a:gd name="connsiteY32" fmla="*/ 1248888 h 1522020"/>
                <a:gd name="connsiteX33" fmla="*/ 605642 w 945356"/>
                <a:gd name="connsiteY33" fmla="*/ 1237013 h 1522020"/>
                <a:gd name="connsiteX34" fmla="*/ 570016 w 945356"/>
                <a:gd name="connsiteY34" fmla="*/ 1165761 h 1522020"/>
                <a:gd name="connsiteX35" fmla="*/ 581891 w 945356"/>
                <a:gd name="connsiteY35" fmla="*/ 1094509 h 1522020"/>
                <a:gd name="connsiteX36" fmla="*/ 676894 w 945356"/>
                <a:gd name="connsiteY36" fmla="*/ 1082633 h 1522020"/>
                <a:gd name="connsiteX37" fmla="*/ 712520 w 945356"/>
                <a:gd name="connsiteY37" fmla="*/ 1070758 h 1522020"/>
                <a:gd name="connsiteX38" fmla="*/ 760021 w 945356"/>
                <a:gd name="connsiteY38" fmla="*/ 1058883 h 1522020"/>
                <a:gd name="connsiteX39" fmla="*/ 831273 w 945356"/>
                <a:gd name="connsiteY39" fmla="*/ 1035132 h 1522020"/>
                <a:gd name="connsiteX40" fmla="*/ 926276 w 945356"/>
                <a:gd name="connsiteY40" fmla="*/ 952005 h 1522020"/>
                <a:gd name="connsiteX41" fmla="*/ 914400 w 945356"/>
                <a:gd name="connsiteY41" fmla="*/ 880753 h 1522020"/>
                <a:gd name="connsiteX42" fmla="*/ 902525 w 945356"/>
                <a:gd name="connsiteY42" fmla="*/ 845127 h 1522020"/>
                <a:gd name="connsiteX43" fmla="*/ 855024 w 945356"/>
                <a:gd name="connsiteY43" fmla="*/ 773875 h 1522020"/>
                <a:gd name="connsiteX44" fmla="*/ 795647 w 945356"/>
                <a:gd name="connsiteY44" fmla="*/ 702623 h 1522020"/>
                <a:gd name="connsiteX45" fmla="*/ 783772 w 945356"/>
                <a:gd name="connsiteY45" fmla="*/ 655122 h 1522020"/>
                <a:gd name="connsiteX46" fmla="*/ 819398 w 945356"/>
                <a:gd name="connsiteY46" fmla="*/ 643246 h 1522020"/>
                <a:gd name="connsiteX47" fmla="*/ 866899 w 945356"/>
                <a:gd name="connsiteY47" fmla="*/ 631371 h 1522020"/>
                <a:gd name="connsiteX48" fmla="*/ 890650 w 945356"/>
                <a:gd name="connsiteY48" fmla="*/ 595745 h 1522020"/>
                <a:gd name="connsiteX49" fmla="*/ 878774 w 945356"/>
                <a:gd name="connsiteY49" fmla="*/ 453241 h 1522020"/>
                <a:gd name="connsiteX50" fmla="*/ 855024 w 945356"/>
                <a:gd name="connsiteY50" fmla="*/ 417615 h 1522020"/>
                <a:gd name="connsiteX51" fmla="*/ 819398 w 945356"/>
                <a:gd name="connsiteY51" fmla="*/ 405740 h 1522020"/>
                <a:gd name="connsiteX52" fmla="*/ 783772 w 945356"/>
                <a:gd name="connsiteY52" fmla="*/ 370114 h 1522020"/>
                <a:gd name="connsiteX53" fmla="*/ 760021 w 945356"/>
                <a:gd name="connsiteY53" fmla="*/ 334488 h 1522020"/>
                <a:gd name="connsiteX54" fmla="*/ 688769 w 945356"/>
                <a:gd name="connsiteY54" fmla="*/ 263236 h 1522020"/>
                <a:gd name="connsiteX55" fmla="*/ 629393 w 945356"/>
                <a:gd name="connsiteY55" fmla="*/ 191984 h 1522020"/>
                <a:gd name="connsiteX56" fmla="*/ 605642 w 945356"/>
                <a:gd name="connsiteY56" fmla="*/ 156358 h 1522020"/>
                <a:gd name="connsiteX57" fmla="*/ 570016 w 945356"/>
                <a:gd name="connsiteY57" fmla="*/ 120732 h 1522020"/>
                <a:gd name="connsiteX58" fmla="*/ 546265 w 945356"/>
                <a:gd name="connsiteY58" fmla="*/ 85106 h 1522020"/>
                <a:gd name="connsiteX59" fmla="*/ 510639 w 945356"/>
                <a:gd name="connsiteY59" fmla="*/ 61355 h 1522020"/>
                <a:gd name="connsiteX60" fmla="*/ 475013 w 945356"/>
                <a:gd name="connsiteY60" fmla="*/ 1979 h 1522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945356" h="1522020">
                  <a:moveTo>
                    <a:pt x="475013" y="1979"/>
                  </a:moveTo>
                  <a:cubicBezTo>
                    <a:pt x="465117" y="3958"/>
                    <a:pt x="459180" y="49480"/>
                    <a:pt x="451263" y="73231"/>
                  </a:cubicBezTo>
                  <a:cubicBezTo>
                    <a:pt x="447305" y="85106"/>
                    <a:pt x="449803" y="101914"/>
                    <a:pt x="439387" y="108857"/>
                  </a:cubicBezTo>
                  <a:lnTo>
                    <a:pt x="403761" y="132607"/>
                  </a:lnTo>
                  <a:cubicBezTo>
                    <a:pt x="353720" y="207670"/>
                    <a:pt x="332090" y="189654"/>
                    <a:pt x="391886" y="239485"/>
                  </a:cubicBezTo>
                  <a:cubicBezTo>
                    <a:pt x="402850" y="248622"/>
                    <a:pt x="415637" y="255319"/>
                    <a:pt x="427512" y="263236"/>
                  </a:cubicBezTo>
                  <a:cubicBezTo>
                    <a:pt x="431466" y="298821"/>
                    <a:pt x="452132" y="386405"/>
                    <a:pt x="427512" y="429490"/>
                  </a:cubicBezTo>
                  <a:cubicBezTo>
                    <a:pt x="420431" y="441882"/>
                    <a:pt x="403761" y="445324"/>
                    <a:pt x="391886" y="453241"/>
                  </a:cubicBezTo>
                  <a:cubicBezTo>
                    <a:pt x="376052" y="445324"/>
                    <a:pt x="362000" y="431251"/>
                    <a:pt x="344385" y="429490"/>
                  </a:cubicBezTo>
                  <a:cubicBezTo>
                    <a:pt x="279629" y="423015"/>
                    <a:pt x="280973" y="440279"/>
                    <a:pt x="237507" y="465116"/>
                  </a:cubicBezTo>
                  <a:cubicBezTo>
                    <a:pt x="222137" y="473899"/>
                    <a:pt x="205840" y="480950"/>
                    <a:pt x="190006" y="488867"/>
                  </a:cubicBezTo>
                  <a:cubicBezTo>
                    <a:pt x="182089" y="500742"/>
                    <a:pt x="175392" y="513529"/>
                    <a:pt x="166255" y="524493"/>
                  </a:cubicBezTo>
                  <a:cubicBezTo>
                    <a:pt x="155504" y="537395"/>
                    <a:pt x="139945" y="546145"/>
                    <a:pt x="130629" y="560119"/>
                  </a:cubicBezTo>
                  <a:cubicBezTo>
                    <a:pt x="123685" y="570534"/>
                    <a:pt x="124352" y="584549"/>
                    <a:pt x="118754" y="595745"/>
                  </a:cubicBezTo>
                  <a:cubicBezTo>
                    <a:pt x="98962" y="635329"/>
                    <a:pt x="95002" y="631372"/>
                    <a:pt x="59377" y="655122"/>
                  </a:cubicBezTo>
                  <a:cubicBezTo>
                    <a:pt x="51460" y="678873"/>
                    <a:pt x="40536" y="701825"/>
                    <a:pt x="35626" y="726374"/>
                  </a:cubicBezTo>
                  <a:cubicBezTo>
                    <a:pt x="31668" y="746166"/>
                    <a:pt x="30838" y="766851"/>
                    <a:pt x="23751" y="785750"/>
                  </a:cubicBezTo>
                  <a:cubicBezTo>
                    <a:pt x="18740" y="799114"/>
                    <a:pt x="7917" y="809501"/>
                    <a:pt x="0" y="821376"/>
                  </a:cubicBezTo>
                  <a:cubicBezTo>
                    <a:pt x="3959" y="868877"/>
                    <a:pt x="8807" y="916313"/>
                    <a:pt x="11876" y="963880"/>
                  </a:cubicBezTo>
                  <a:cubicBezTo>
                    <a:pt x="16725" y="1039038"/>
                    <a:pt x="1822" y="1117460"/>
                    <a:pt x="23751" y="1189511"/>
                  </a:cubicBezTo>
                  <a:cubicBezTo>
                    <a:pt x="35395" y="1227770"/>
                    <a:pt x="109157" y="1240551"/>
                    <a:pt x="142504" y="1248888"/>
                  </a:cubicBezTo>
                  <a:cubicBezTo>
                    <a:pt x="150421" y="1260763"/>
                    <a:pt x="156163" y="1274422"/>
                    <a:pt x="166255" y="1284514"/>
                  </a:cubicBezTo>
                  <a:cubicBezTo>
                    <a:pt x="176347" y="1294606"/>
                    <a:pt x="192965" y="1297119"/>
                    <a:pt x="201881" y="1308264"/>
                  </a:cubicBezTo>
                  <a:cubicBezTo>
                    <a:pt x="209701" y="1318039"/>
                    <a:pt x="206812" y="1333475"/>
                    <a:pt x="213756" y="1343890"/>
                  </a:cubicBezTo>
                  <a:cubicBezTo>
                    <a:pt x="223072" y="1357864"/>
                    <a:pt x="237507" y="1367641"/>
                    <a:pt x="249382" y="1379516"/>
                  </a:cubicBezTo>
                  <a:cubicBezTo>
                    <a:pt x="259040" y="1408490"/>
                    <a:pt x="261989" y="1427749"/>
                    <a:pt x="285008" y="1450768"/>
                  </a:cubicBezTo>
                  <a:cubicBezTo>
                    <a:pt x="313236" y="1478997"/>
                    <a:pt x="356610" y="1486511"/>
                    <a:pt x="391886" y="1498270"/>
                  </a:cubicBezTo>
                  <a:cubicBezTo>
                    <a:pt x="405426" y="1502783"/>
                    <a:pt x="415637" y="1514103"/>
                    <a:pt x="427512" y="1522020"/>
                  </a:cubicBezTo>
                  <a:cubicBezTo>
                    <a:pt x="447304" y="1518062"/>
                    <a:pt x="470095" y="1521341"/>
                    <a:pt x="486889" y="1510145"/>
                  </a:cubicBezTo>
                  <a:cubicBezTo>
                    <a:pt x="512798" y="1492872"/>
                    <a:pt x="492646" y="1456166"/>
                    <a:pt x="486889" y="1438893"/>
                  </a:cubicBezTo>
                  <a:cubicBezTo>
                    <a:pt x="513571" y="1358844"/>
                    <a:pt x="476380" y="1434479"/>
                    <a:pt x="605642" y="1391392"/>
                  </a:cubicBezTo>
                  <a:cubicBezTo>
                    <a:pt x="621574" y="1386081"/>
                    <a:pt x="629393" y="1367641"/>
                    <a:pt x="641268" y="1355766"/>
                  </a:cubicBezTo>
                  <a:cubicBezTo>
                    <a:pt x="647218" y="1326015"/>
                    <a:pt x="665417" y="1279074"/>
                    <a:pt x="641268" y="1248888"/>
                  </a:cubicBezTo>
                  <a:cubicBezTo>
                    <a:pt x="633448" y="1239113"/>
                    <a:pt x="617517" y="1240971"/>
                    <a:pt x="605642" y="1237013"/>
                  </a:cubicBezTo>
                  <a:cubicBezTo>
                    <a:pt x="593633" y="1219000"/>
                    <a:pt x="570016" y="1190345"/>
                    <a:pt x="570016" y="1165761"/>
                  </a:cubicBezTo>
                  <a:cubicBezTo>
                    <a:pt x="570016" y="1141683"/>
                    <a:pt x="562885" y="1109292"/>
                    <a:pt x="581891" y="1094509"/>
                  </a:cubicBezTo>
                  <a:cubicBezTo>
                    <a:pt x="607082" y="1074916"/>
                    <a:pt x="645226" y="1086592"/>
                    <a:pt x="676894" y="1082633"/>
                  </a:cubicBezTo>
                  <a:cubicBezTo>
                    <a:pt x="688769" y="1078675"/>
                    <a:pt x="700484" y="1074197"/>
                    <a:pt x="712520" y="1070758"/>
                  </a:cubicBezTo>
                  <a:cubicBezTo>
                    <a:pt x="728213" y="1066274"/>
                    <a:pt x="744388" y="1063573"/>
                    <a:pt x="760021" y="1058883"/>
                  </a:cubicBezTo>
                  <a:cubicBezTo>
                    <a:pt x="784001" y="1051689"/>
                    <a:pt x="831273" y="1035132"/>
                    <a:pt x="831273" y="1035132"/>
                  </a:cubicBezTo>
                  <a:cubicBezTo>
                    <a:pt x="914400" y="979714"/>
                    <a:pt x="886691" y="1011382"/>
                    <a:pt x="926276" y="952005"/>
                  </a:cubicBezTo>
                  <a:cubicBezTo>
                    <a:pt x="945356" y="894762"/>
                    <a:pt x="942025" y="936003"/>
                    <a:pt x="914400" y="880753"/>
                  </a:cubicBezTo>
                  <a:cubicBezTo>
                    <a:pt x="908802" y="869557"/>
                    <a:pt x="908604" y="856069"/>
                    <a:pt x="902525" y="845127"/>
                  </a:cubicBezTo>
                  <a:cubicBezTo>
                    <a:pt x="888663" y="820174"/>
                    <a:pt x="875208" y="794059"/>
                    <a:pt x="855024" y="773875"/>
                  </a:cubicBezTo>
                  <a:cubicBezTo>
                    <a:pt x="809306" y="728157"/>
                    <a:pt x="828714" y="752223"/>
                    <a:pt x="795647" y="702623"/>
                  </a:cubicBezTo>
                  <a:cubicBezTo>
                    <a:pt x="791689" y="686789"/>
                    <a:pt x="777711" y="670276"/>
                    <a:pt x="783772" y="655122"/>
                  </a:cubicBezTo>
                  <a:cubicBezTo>
                    <a:pt x="788421" y="643500"/>
                    <a:pt x="807362" y="646685"/>
                    <a:pt x="819398" y="643246"/>
                  </a:cubicBezTo>
                  <a:cubicBezTo>
                    <a:pt x="835091" y="638762"/>
                    <a:pt x="851065" y="635329"/>
                    <a:pt x="866899" y="631371"/>
                  </a:cubicBezTo>
                  <a:cubicBezTo>
                    <a:pt x="874816" y="619496"/>
                    <a:pt x="885028" y="608863"/>
                    <a:pt x="890650" y="595745"/>
                  </a:cubicBezTo>
                  <a:cubicBezTo>
                    <a:pt x="910012" y="550567"/>
                    <a:pt x="907343" y="496095"/>
                    <a:pt x="878774" y="453241"/>
                  </a:cubicBezTo>
                  <a:cubicBezTo>
                    <a:pt x="870857" y="441366"/>
                    <a:pt x="866169" y="426531"/>
                    <a:pt x="855024" y="417615"/>
                  </a:cubicBezTo>
                  <a:cubicBezTo>
                    <a:pt x="845249" y="409795"/>
                    <a:pt x="831273" y="409698"/>
                    <a:pt x="819398" y="405740"/>
                  </a:cubicBezTo>
                  <a:cubicBezTo>
                    <a:pt x="807523" y="393865"/>
                    <a:pt x="794523" y="383016"/>
                    <a:pt x="783772" y="370114"/>
                  </a:cubicBezTo>
                  <a:cubicBezTo>
                    <a:pt x="774635" y="359150"/>
                    <a:pt x="769503" y="345155"/>
                    <a:pt x="760021" y="334488"/>
                  </a:cubicBezTo>
                  <a:cubicBezTo>
                    <a:pt x="737706" y="309384"/>
                    <a:pt x="707400" y="291184"/>
                    <a:pt x="688769" y="263236"/>
                  </a:cubicBezTo>
                  <a:cubicBezTo>
                    <a:pt x="629807" y="174790"/>
                    <a:pt x="705584" y="283412"/>
                    <a:pt x="629393" y="191984"/>
                  </a:cubicBezTo>
                  <a:cubicBezTo>
                    <a:pt x="620256" y="181020"/>
                    <a:pt x="614779" y="167322"/>
                    <a:pt x="605642" y="156358"/>
                  </a:cubicBezTo>
                  <a:cubicBezTo>
                    <a:pt x="594891" y="143456"/>
                    <a:pt x="580767" y="133634"/>
                    <a:pt x="570016" y="120732"/>
                  </a:cubicBezTo>
                  <a:cubicBezTo>
                    <a:pt x="560879" y="109768"/>
                    <a:pt x="556357" y="95198"/>
                    <a:pt x="546265" y="85106"/>
                  </a:cubicBezTo>
                  <a:cubicBezTo>
                    <a:pt x="536173" y="75014"/>
                    <a:pt x="522514" y="69272"/>
                    <a:pt x="510639" y="61355"/>
                  </a:cubicBezTo>
                  <a:cubicBezTo>
                    <a:pt x="496260" y="18218"/>
                    <a:pt x="484909" y="0"/>
                    <a:pt x="475013" y="1979"/>
                  </a:cubicBez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fontAlgn="base">
                <a:spcBef>
                  <a:spcPct val="0"/>
                </a:spcBef>
                <a:spcAft>
                  <a:spcPct val="0"/>
                </a:spcAft>
                <a:buClrTx/>
              </a:pPr>
              <a:endParaRPr lang="en-US" sz="1050" kern="1200">
                <a:solidFill>
                  <a:prstClr val="black"/>
                </a:solidFill>
                <a:latin typeface="Century Gothic" pitchFamily="34" charset="0"/>
                <a:ea typeface="+mn-ea"/>
                <a:cs typeface="+mn-cs"/>
              </a:endParaRPr>
            </a:p>
          </p:txBody>
        </p:sp>
        <p:sp>
          <p:nvSpPr>
            <p:cNvPr id="15" name="Freeform 14"/>
            <p:cNvSpPr/>
            <p:nvPr/>
          </p:nvSpPr>
          <p:spPr bwMode="gray">
            <a:xfrm>
              <a:off x="1833444" y="3217769"/>
              <a:ext cx="690305" cy="638672"/>
            </a:xfrm>
            <a:custGeom>
              <a:avLst/>
              <a:gdLst>
                <a:gd name="connsiteX0" fmla="*/ 47502 w 849243"/>
                <a:gd name="connsiteY0" fmla="*/ 760021 h 785722"/>
                <a:gd name="connsiteX1" fmla="*/ 71252 w 849243"/>
                <a:gd name="connsiteY1" fmla="*/ 724395 h 785722"/>
                <a:gd name="connsiteX2" fmla="*/ 237507 w 849243"/>
                <a:gd name="connsiteY2" fmla="*/ 736270 h 785722"/>
                <a:gd name="connsiteX3" fmla="*/ 308759 w 849243"/>
                <a:gd name="connsiteY3" fmla="*/ 760021 h 785722"/>
                <a:gd name="connsiteX4" fmla="*/ 344385 w 849243"/>
                <a:gd name="connsiteY4" fmla="*/ 771896 h 785722"/>
                <a:gd name="connsiteX5" fmla="*/ 475013 w 849243"/>
                <a:gd name="connsiteY5" fmla="*/ 783772 h 785722"/>
                <a:gd name="connsiteX6" fmla="*/ 534390 w 849243"/>
                <a:gd name="connsiteY6" fmla="*/ 771896 h 785722"/>
                <a:gd name="connsiteX7" fmla="*/ 522515 w 849243"/>
                <a:gd name="connsiteY7" fmla="*/ 700644 h 785722"/>
                <a:gd name="connsiteX8" fmla="*/ 510639 w 849243"/>
                <a:gd name="connsiteY8" fmla="*/ 665018 h 785722"/>
                <a:gd name="connsiteX9" fmla="*/ 522515 w 849243"/>
                <a:gd name="connsiteY9" fmla="*/ 629392 h 785722"/>
                <a:gd name="connsiteX10" fmla="*/ 558141 w 849243"/>
                <a:gd name="connsiteY10" fmla="*/ 617517 h 785722"/>
                <a:gd name="connsiteX11" fmla="*/ 641268 w 849243"/>
                <a:gd name="connsiteY11" fmla="*/ 605642 h 785722"/>
                <a:gd name="connsiteX12" fmla="*/ 688769 w 849243"/>
                <a:gd name="connsiteY12" fmla="*/ 498764 h 785722"/>
                <a:gd name="connsiteX13" fmla="*/ 700645 w 849243"/>
                <a:gd name="connsiteY13" fmla="*/ 463138 h 785722"/>
                <a:gd name="connsiteX14" fmla="*/ 712520 w 849243"/>
                <a:gd name="connsiteY14" fmla="*/ 380010 h 785722"/>
                <a:gd name="connsiteX15" fmla="*/ 783772 w 849243"/>
                <a:gd name="connsiteY15" fmla="*/ 332509 h 785722"/>
                <a:gd name="connsiteX16" fmla="*/ 819398 w 849243"/>
                <a:gd name="connsiteY16" fmla="*/ 308759 h 785722"/>
                <a:gd name="connsiteX17" fmla="*/ 843148 w 849243"/>
                <a:gd name="connsiteY17" fmla="*/ 273133 h 785722"/>
                <a:gd name="connsiteX18" fmla="*/ 807522 w 849243"/>
                <a:gd name="connsiteY18" fmla="*/ 166255 h 785722"/>
                <a:gd name="connsiteX19" fmla="*/ 748146 w 849243"/>
                <a:gd name="connsiteY19" fmla="*/ 59377 h 785722"/>
                <a:gd name="connsiteX20" fmla="*/ 712520 w 849243"/>
                <a:gd name="connsiteY20" fmla="*/ 47501 h 785722"/>
                <a:gd name="connsiteX21" fmla="*/ 510639 w 849243"/>
                <a:gd name="connsiteY21" fmla="*/ 59377 h 785722"/>
                <a:gd name="connsiteX22" fmla="*/ 475013 w 849243"/>
                <a:gd name="connsiteY22" fmla="*/ 71252 h 785722"/>
                <a:gd name="connsiteX23" fmla="*/ 403761 w 849243"/>
                <a:gd name="connsiteY23" fmla="*/ 47501 h 785722"/>
                <a:gd name="connsiteX24" fmla="*/ 332509 w 849243"/>
                <a:gd name="connsiteY24" fmla="*/ 0 h 785722"/>
                <a:gd name="connsiteX25" fmla="*/ 320634 w 849243"/>
                <a:gd name="connsiteY25" fmla="*/ 35626 h 785722"/>
                <a:gd name="connsiteX26" fmla="*/ 332509 w 849243"/>
                <a:gd name="connsiteY26" fmla="*/ 71252 h 785722"/>
                <a:gd name="connsiteX27" fmla="*/ 308759 w 849243"/>
                <a:gd name="connsiteY27" fmla="*/ 142504 h 785722"/>
                <a:gd name="connsiteX28" fmla="*/ 261258 w 849243"/>
                <a:gd name="connsiteY28" fmla="*/ 154379 h 785722"/>
                <a:gd name="connsiteX29" fmla="*/ 225632 w 849243"/>
                <a:gd name="connsiteY29" fmla="*/ 178130 h 785722"/>
                <a:gd name="connsiteX30" fmla="*/ 237507 w 849243"/>
                <a:gd name="connsiteY30" fmla="*/ 213756 h 785722"/>
                <a:gd name="connsiteX31" fmla="*/ 273133 w 849243"/>
                <a:gd name="connsiteY31" fmla="*/ 249382 h 785722"/>
                <a:gd name="connsiteX32" fmla="*/ 308759 w 849243"/>
                <a:gd name="connsiteY32" fmla="*/ 320634 h 785722"/>
                <a:gd name="connsiteX33" fmla="*/ 344385 w 849243"/>
                <a:gd name="connsiteY33" fmla="*/ 356260 h 785722"/>
                <a:gd name="connsiteX34" fmla="*/ 356260 w 849243"/>
                <a:gd name="connsiteY34" fmla="*/ 391886 h 785722"/>
                <a:gd name="connsiteX35" fmla="*/ 380011 w 849243"/>
                <a:gd name="connsiteY35" fmla="*/ 427512 h 785722"/>
                <a:gd name="connsiteX36" fmla="*/ 332509 w 849243"/>
                <a:gd name="connsiteY36" fmla="*/ 510639 h 785722"/>
                <a:gd name="connsiteX37" fmla="*/ 296883 w 849243"/>
                <a:gd name="connsiteY37" fmla="*/ 546265 h 785722"/>
                <a:gd name="connsiteX38" fmla="*/ 178130 w 849243"/>
                <a:gd name="connsiteY38" fmla="*/ 581891 h 785722"/>
                <a:gd name="connsiteX39" fmla="*/ 142504 w 849243"/>
                <a:gd name="connsiteY39" fmla="*/ 593766 h 785722"/>
                <a:gd name="connsiteX40" fmla="*/ 71252 w 849243"/>
                <a:gd name="connsiteY40" fmla="*/ 605642 h 785722"/>
                <a:gd name="connsiteX41" fmla="*/ 0 w 849243"/>
                <a:gd name="connsiteY41" fmla="*/ 629392 h 785722"/>
                <a:gd name="connsiteX42" fmla="*/ 35626 w 849243"/>
                <a:gd name="connsiteY42" fmla="*/ 736270 h 785722"/>
                <a:gd name="connsiteX43" fmla="*/ 47502 w 849243"/>
                <a:gd name="connsiteY43" fmla="*/ 760021 h 785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49243" h="785722">
                  <a:moveTo>
                    <a:pt x="47502" y="760021"/>
                  </a:moveTo>
                  <a:cubicBezTo>
                    <a:pt x="53440" y="758042"/>
                    <a:pt x="57090" y="726165"/>
                    <a:pt x="71252" y="724395"/>
                  </a:cubicBezTo>
                  <a:cubicBezTo>
                    <a:pt x="126382" y="717504"/>
                    <a:pt x="182562" y="728028"/>
                    <a:pt x="237507" y="736270"/>
                  </a:cubicBezTo>
                  <a:cubicBezTo>
                    <a:pt x="262265" y="739984"/>
                    <a:pt x="285008" y="752104"/>
                    <a:pt x="308759" y="760021"/>
                  </a:cubicBezTo>
                  <a:lnTo>
                    <a:pt x="344385" y="771896"/>
                  </a:lnTo>
                  <a:cubicBezTo>
                    <a:pt x="385864" y="785722"/>
                    <a:pt x="431470" y="779813"/>
                    <a:pt x="475013" y="783772"/>
                  </a:cubicBezTo>
                  <a:cubicBezTo>
                    <a:pt x="494805" y="779813"/>
                    <a:pt x="517596" y="783092"/>
                    <a:pt x="534390" y="771896"/>
                  </a:cubicBezTo>
                  <a:cubicBezTo>
                    <a:pt x="570165" y="748045"/>
                    <a:pt x="531104" y="717822"/>
                    <a:pt x="522515" y="700644"/>
                  </a:cubicBezTo>
                  <a:cubicBezTo>
                    <a:pt x="516917" y="689448"/>
                    <a:pt x="514598" y="676893"/>
                    <a:pt x="510639" y="665018"/>
                  </a:cubicBezTo>
                  <a:cubicBezTo>
                    <a:pt x="514598" y="653143"/>
                    <a:pt x="513664" y="638243"/>
                    <a:pt x="522515" y="629392"/>
                  </a:cubicBezTo>
                  <a:cubicBezTo>
                    <a:pt x="531366" y="620541"/>
                    <a:pt x="545866" y="619972"/>
                    <a:pt x="558141" y="617517"/>
                  </a:cubicBezTo>
                  <a:cubicBezTo>
                    <a:pt x="585588" y="612028"/>
                    <a:pt x="613559" y="609600"/>
                    <a:pt x="641268" y="605642"/>
                  </a:cubicBezTo>
                  <a:cubicBezTo>
                    <a:pt x="678907" y="549184"/>
                    <a:pt x="660504" y="583558"/>
                    <a:pt x="688769" y="498764"/>
                  </a:cubicBezTo>
                  <a:lnTo>
                    <a:pt x="700645" y="463138"/>
                  </a:lnTo>
                  <a:cubicBezTo>
                    <a:pt x="704603" y="435429"/>
                    <a:pt x="702125" y="405999"/>
                    <a:pt x="712520" y="380010"/>
                  </a:cubicBezTo>
                  <a:cubicBezTo>
                    <a:pt x="729402" y="337804"/>
                    <a:pt x="752783" y="348004"/>
                    <a:pt x="783772" y="332509"/>
                  </a:cubicBezTo>
                  <a:cubicBezTo>
                    <a:pt x="796537" y="326126"/>
                    <a:pt x="807523" y="316676"/>
                    <a:pt x="819398" y="308759"/>
                  </a:cubicBezTo>
                  <a:cubicBezTo>
                    <a:pt x="827315" y="296884"/>
                    <a:pt x="841572" y="287318"/>
                    <a:pt x="843148" y="273133"/>
                  </a:cubicBezTo>
                  <a:cubicBezTo>
                    <a:pt x="849243" y="218277"/>
                    <a:pt x="832587" y="203852"/>
                    <a:pt x="807522" y="166255"/>
                  </a:cubicBezTo>
                  <a:cubicBezTo>
                    <a:pt x="786621" y="103549"/>
                    <a:pt x="802591" y="141044"/>
                    <a:pt x="748146" y="59377"/>
                  </a:cubicBezTo>
                  <a:cubicBezTo>
                    <a:pt x="741202" y="48962"/>
                    <a:pt x="724395" y="51460"/>
                    <a:pt x="712520" y="47501"/>
                  </a:cubicBezTo>
                  <a:cubicBezTo>
                    <a:pt x="645226" y="51460"/>
                    <a:pt x="577714" y="52669"/>
                    <a:pt x="510639" y="59377"/>
                  </a:cubicBezTo>
                  <a:cubicBezTo>
                    <a:pt x="498183" y="60623"/>
                    <a:pt x="487454" y="72634"/>
                    <a:pt x="475013" y="71252"/>
                  </a:cubicBezTo>
                  <a:cubicBezTo>
                    <a:pt x="450131" y="68487"/>
                    <a:pt x="424592" y="61388"/>
                    <a:pt x="403761" y="47501"/>
                  </a:cubicBezTo>
                  <a:lnTo>
                    <a:pt x="332509" y="0"/>
                  </a:lnTo>
                  <a:cubicBezTo>
                    <a:pt x="328551" y="11875"/>
                    <a:pt x="320634" y="23108"/>
                    <a:pt x="320634" y="35626"/>
                  </a:cubicBezTo>
                  <a:cubicBezTo>
                    <a:pt x="320634" y="48144"/>
                    <a:pt x="333891" y="58811"/>
                    <a:pt x="332509" y="71252"/>
                  </a:cubicBezTo>
                  <a:cubicBezTo>
                    <a:pt x="329744" y="96134"/>
                    <a:pt x="316676" y="118753"/>
                    <a:pt x="308759" y="142504"/>
                  </a:cubicBezTo>
                  <a:cubicBezTo>
                    <a:pt x="303598" y="157987"/>
                    <a:pt x="277092" y="150421"/>
                    <a:pt x="261258" y="154379"/>
                  </a:cubicBezTo>
                  <a:cubicBezTo>
                    <a:pt x="249383" y="162296"/>
                    <a:pt x="230933" y="164878"/>
                    <a:pt x="225632" y="178130"/>
                  </a:cubicBezTo>
                  <a:cubicBezTo>
                    <a:pt x="220983" y="189752"/>
                    <a:pt x="230563" y="203341"/>
                    <a:pt x="237507" y="213756"/>
                  </a:cubicBezTo>
                  <a:cubicBezTo>
                    <a:pt x="246823" y="227730"/>
                    <a:pt x="262382" y="236480"/>
                    <a:pt x="273133" y="249382"/>
                  </a:cubicBezTo>
                  <a:cubicBezTo>
                    <a:pt x="366561" y="361497"/>
                    <a:pt x="237347" y="213517"/>
                    <a:pt x="308759" y="320634"/>
                  </a:cubicBezTo>
                  <a:cubicBezTo>
                    <a:pt x="318075" y="334608"/>
                    <a:pt x="332510" y="344385"/>
                    <a:pt x="344385" y="356260"/>
                  </a:cubicBezTo>
                  <a:cubicBezTo>
                    <a:pt x="348343" y="368135"/>
                    <a:pt x="350662" y="380690"/>
                    <a:pt x="356260" y="391886"/>
                  </a:cubicBezTo>
                  <a:cubicBezTo>
                    <a:pt x="362643" y="404652"/>
                    <a:pt x="378241" y="413350"/>
                    <a:pt x="380011" y="427512"/>
                  </a:cubicBezTo>
                  <a:cubicBezTo>
                    <a:pt x="388331" y="494075"/>
                    <a:pt x="368669" y="480506"/>
                    <a:pt x="332509" y="510639"/>
                  </a:cubicBezTo>
                  <a:cubicBezTo>
                    <a:pt x="319607" y="521390"/>
                    <a:pt x="311564" y="538109"/>
                    <a:pt x="296883" y="546265"/>
                  </a:cubicBezTo>
                  <a:cubicBezTo>
                    <a:pt x="266998" y="562868"/>
                    <a:pt x="212857" y="571969"/>
                    <a:pt x="178130" y="581891"/>
                  </a:cubicBezTo>
                  <a:cubicBezTo>
                    <a:pt x="166094" y="585330"/>
                    <a:pt x="154724" y="591051"/>
                    <a:pt x="142504" y="593766"/>
                  </a:cubicBezTo>
                  <a:cubicBezTo>
                    <a:pt x="118999" y="598989"/>
                    <a:pt x="94611" y="599802"/>
                    <a:pt x="71252" y="605642"/>
                  </a:cubicBezTo>
                  <a:cubicBezTo>
                    <a:pt x="46964" y="611714"/>
                    <a:pt x="0" y="629392"/>
                    <a:pt x="0" y="629392"/>
                  </a:cubicBezTo>
                  <a:cubicBezTo>
                    <a:pt x="7961" y="677158"/>
                    <a:pt x="2231" y="702875"/>
                    <a:pt x="35626" y="736270"/>
                  </a:cubicBezTo>
                  <a:cubicBezTo>
                    <a:pt x="38425" y="739069"/>
                    <a:pt x="41564" y="762000"/>
                    <a:pt x="47502" y="760021"/>
                  </a:cubicBez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fontAlgn="base">
                <a:spcBef>
                  <a:spcPct val="0"/>
                </a:spcBef>
                <a:spcAft>
                  <a:spcPct val="0"/>
                </a:spcAft>
                <a:buClrTx/>
              </a:pPr>
              <a:endParaRPr lang="en-US" sz="1050" kern="1200">
                <a:solidFill>
                  <a:prstClr val="black"/>
                </a:solidFill>
                <a:latin typeface="Century Gothic" pitchFamily="34" charset="0"/>
                <a:ea typeface="+mn-ea"/>
                <a:cs typeface="+mn-cs"/>
              </a:endParaRPr>
            </a:p>
          </p:txBody>
        </p:sp>
        <p:sp>
          <p:nvSpPr>
            <p:cNvPr id="16" name="Freeform 15"/>
            <p:cNvSpPr/>
            <p:nvPr/>
          </p:nvSpPr>
          <p:spPr bwMode="gray">
            <a:xfrm>
              <a:off x="1402096" y="3823676"/>
              <a:ext cx="749395" cy="820490"/>
            </a:xfrm>
            <a:custGeom>
              <a:avLst/>
              <a:gdLst>
                <a:gd name="connsiteX0" fmla="*/ 13616 w 921938"/>
                <a:gd name="connsiteY0" fmla="*/ 0 h 1009402"/>
                <a:gd name="connsiteX1" fmla="*/ 25492 w 921938"/>
                <a:gd name="connsiteY1" fmla="*/ 59376 h 1009402"/>
                <a:gd name="connsiteX2" fmla="*/ 37367 w 921938"/>
                <a:gd name="connsiteY2" fmla="*/ 95002 h 1009402"/>
                <a:gd name="connsiteX3" fmla="*/ 25492 w 921938"/>
                <a:gd name="connsiteY3" fmla="*/ 130628 h 1009402"/>
                <a:gd name="connsiteX4" fmla="*/ 13616 w 921938"/>
                <a:gd name="connsiteY4" fmla="*/ 178130 h 1009402"/>
                <a:gd name="connsiteX5" fmla="*/ 61118 w 921938"/>
                <a:gd name="connsiteY5" fmla="*/ 273132 h 1009402"/>
                <a:gd name="connsiteX6" fmla="*/ 108619 w 921938"/>
                <a:gd name="connsiteY6" fmla="*/ 344384 h 1009402"/>
                <a:gd name="connsiteX7" fmla="*/ 120494 w 921938"/>
                <a:gd name="connsiteY7" fmla="*/ 380010 h 1009402"/>
                <a:gd name="connsiteX8" fmla="*/ 96744 w 921938"/>
                <a:gd name="connsiteY8" fmla="*/ 486888 h 1009402"/>
                <a:gd name="connsiteX9" fmla="*/ 120494 w 921938"/>
                <a:gd name="connsiteY9" fmla="*/ 570015 h 1009402"/>
                <a:gd name="connsiteX10" fmla="*/ 179871 w 921938"/>
                <a:gd name="connsiteY10" fmla="*/ 641267 h 1009402"/>
                <a:gd name="connsiteX11" fmla="*/ 227372 w 921938"/>
                <a:gd name="connsiteY11" fmla="*/ 712519 h 1009402"/>
                <a:gd name="connsiteX12" fmla="*/ 262998 w 921938"/>
                <a:gd name="connsiteY12" fmla="*/ 783771 h 1009402"/>
                <a:gd name="connsiteX13" fmla="*/ 298624 w 921938"/>
                <a:gd name="connsiteY13" fmla="*/ 819397 h 1009402"/>
                <a:gd name="connsiteX14" fmla="*/ 322375 w 921938"/>
                <a:gd name="connsiteY14" fmla="*/ 855023 h 1009402"/>
                <a:gd name="connsiteX15" fmla="*/ 358001 w 921938"/>
                <a:gd name="connsiteY15" fmla="*/ 878774 h 1009402"/>
                <a:gd name="connsiteX16" fmla="*/ 393627 w 921938"/>
                <a:gd name="connsiteY16" fmla="*/ 914400 h 1009402"/>
                <a:gd name="connsiteX17" fmla="*/ 500505 w 921938"/>
                <a:gd name="connsiteY17" fmla="*/ 973776 h 1009402"/>
                <a:gd name="connsiteX18" fmla="*/ 595507 w 921938"/>
                <a:gd name="connsiteY18" fmla="*/ 961901 h 1009402"/>
                <a:gd name="connsiteX19" fmla="*/ 666759 w 921938"/>
                <a:gd name="connsiteY19" fmla="*/ 1009402 h 1009402"/>
                <a:gd name="connsiteX20" fmla="*/ 726136 w 921938"/>
                <a:gd name="connsiteY20" fmla="*/ 926275 h 1009402"/>
                <a:gd name="connsiteX21" fmla="*/ 761762 w 921938"/>
                <a:gd name="connsiteY21" fmla="*/ 902525 h 1009402"/>
                <a:gd name="connsiteX22" fmla="*/ 892390 w 921938"/>
                <a:gd name="connsiteY22" fmla="*/ 914400 h 1009402"/>
                <a:gd name="connsiteX23" fmla="*/ 916141 w 921938"/>
                <a:gd name="connsiteY23" fmla="*/ 878774 h 1009402"/>
                <a:gd name="connsiteX24" fmla="*/ 844889 w 921938"/>
                <a:gd name="connsiteY24" fmla="*/ 807522 h 1009402"/>
                <a:gd name="connsiteX25" fmla="*/ 821139 w 921938"/>
                <a:gd name="connsiteY25" fmla="*/ 771896 h 1009402"/>
                <a:gd name="connsiteX26" fmla="*/ 809263 w 921938"/>
                <a:gd name="connsiteY26" fmla="*/ 605641 h 1009402"/>
                <a:gd name="connsiteX27" fmla="*/ 785513 w 921938"/>
                <a:gd name="connsiteY27" fmla="*/ 570015 h 1009402"/>
                <a:gd name="connsiteX28" fmla="*/ 738011 w 921938"/>
                <a:gd name="connsiteY28" fmla="*/ 558140 h 1009402"/>
                <a:gd name="connsiteX29" fmla="*/ 678635 w 921938"/>
                <a:gd name="connsiteY29" fmla="*/ 486888 h 1009402"/>
                <a:gd name="connsiteX30" fmla="*/ 631133 w 921938"/>
                <a:gd name="connsiteY30" fmla="*/ 415636 h 1009402"/>
                <a:gd name="connsiteX31" fmla="*/ 619258 w 921938"/>
                <a:gd name="connsiteY31" fmla="*/ 380010 h 1009402"/>
                <a:gd name="connsiteX32" fmla="*/ 512380 w 921938"/>
                <a:gd name="connsiteY32" fmla="*/ 332509 h 1009402"/>
                <a:gd name="connsiteX33" fmla="*/ 476754 w 921938"/>
                <a:gd name="connsiteY33" fmla="*/ 320634 h 1009402"/>
                <a:gd name="connsiteX34" fmla="*/ 453003 w 921938"/>
                <a:gd name="connsiteY34" fmla="*/ 285008 h 1009402"/>
                <a:gd name="connsiteX35" fmla="*/ 381751 w 921938"/>
                <a:gd name="connsiteY35" fmla="*/ 273132 h 1009402"/>
                <a:gd name="connsiteX36" fmla="*/ 310500 w 921938"/>
                <a:gd name="connsiteY36" fmla="*/ 249382 h 1009402"/>
                <a:gd name="connsiteX37" fmla="*/ 274874 w 921938"/>
                <a:gd name="connsiteY37" fmla="*/ 237506 h 1009402"/>
                <a:gd name="connsiteX38" fmla="*/ 239248 w 921938"/>
                <a:gd name="connsiteY38" fmla="*/ 213756 h 1009402"/>
                <a:gd name="connsiteX39" fmla="*/ 191746 w 921938"/>
                <a:gd name="connsiteY39" fmla="*/ 106878 h 1009402"/>
                <a:gd name="connsiteX40" fmla="*/ 156120 w 921938"/>
                <a:gd name="connsiteY40" fmla="*/ 95002 h 1009402"/>
                <a:gd name="connsiteX41" fmla="*/ 72993 w 921938"/>
                <a:gd name="connsiteY41" fmla="*/ 11875 h 1009402"/>
                <a:gd name="connsiteX42" fmla="*/ 13616 w 921938"/>
                <a:gd name="connsiteY42" fmla="*/ 0 h 1009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21938" h="1009402">
                  <a:moveTo>
                    <a:pt x="13616" y="0"/>
                  </a:moveTo>
                  <a:cubicBezTo>
                    <a:pt x="17575" y="19792"/>
                    <a:pt x="20597" y="39795"/>
                    <a:pt x="25492" y="59376"/>
                  </a:cubicBezTo>
                  <a:cubicBezTo>
                    <a:pt x="28528" y="71520"/>
                    <a:pt x="37367" y="82484"/>
                    <a:pt x="37367" y="95002"/>
                  </a:cubicBezTo>
                  <a:cubicBezTo>
                    <a:pt x="37367" y="107520"/>
                    <a:pt x="28931" y="118592"/>
                    <a:pt x="25492" y="130628"/>
                  </a:cubicBezTo>
                  <a:cubicBezTo>
                    <a:pt x="21008" y="146321"/>
                    <a:pt x="17575" y="162296"/>
                    <a:pt x="13616" y="178130"/>
                  </a:cubicBezTo>
                  <a:cubicBezTo>
                    <a:pt x="37046" y="318700"/>
                    <a:pt x="0" y="203283"/>
                    <a:pt x="61118" y="273132"/>
                  </a:cubicBezTo>
                  <a:cubicBezTo>
                    <a:pt x="79915" y="294614"/>
                    <a:pt x="108619" y="344384"/>
                    <a:pt x="108619" y="344384"/>
                  </a:cubicBezTo>
                  <a:cubicBezTo>
                    <a:pt x="112577" y="356259"/>
                    <a:pt x="120494" y="367492"/>
                    <a:pt x="120494" y="380010"/>
                  </a:cubicBezTo>
                  <a:cubicBezTo>
                    <a:pt x="120494" y="421810"/>
                    <a:pt x="108990" y="450150"/>
                    <a:pt x="96744" y="486888"/>
                  </a:cubicBezTo>
                  <a:cubicBezTo>
                    <a:pt x="100548" y="502106"/>
                    <a:pt x="111976" y="552980"/>
                    <a:pt x="120494" y="570015"/>
                  </a:cubicBezTo>
                  <a:cubicBezTo>
                    <a:pt x="145955" y="620936"/>
                    <a:pt x="143103" y="593994"/>
                    <a:pt x="179871" y="641267"/>
                  </a:cubicBezTo>
                  <a:cubicBezTo>
                    <a:pt x="197396" y="663799"/>
                    <a:pt x="211538" y="688768"/>
                    <a:pt x="227372" y="712519"/>
                  </a:cubicBezTo>
                  <a:cubicBezTo>
                    <a:pt x="298777" y="819627"/>
                    <a:pt x="169578" y="671666"/>
                    <a:pt x="262998" y="783771"/>
                  </a:cubicBezTo>
                  <a:cubicBezTo>
                    <a:pt x="273749" y="796673"/>
                    <a:pt x="287873" y="806495"/>
                    <a:pt x="298624" y="819397"/>
                  </a:cubicBezTo>
                  <a:cubicBezTo>
                    <a:pt x="307761" y="830361"/>
                    <a:pt x="312283" y="844931"/>
                    <a:pt x="322375" y="855023"/>
                  </a:cubicBezTo>
                  <a:cubicBezTo>
                    <a:pt x="332467" y="865115"/>
                    <a:pt x="347037" y="869637"/>
                    <a:pt x="358001" y="878774"/>
                  </a:cubicBezTo>
                  <a:cubicBezTo>
                    <a:pt x="370903" y="889525"/>
                    <a:pt x="380370" y="904089"/>
                    <a:pt x="393627" y="914400"/>
                  </a:cubicBezTo>
                  <a:cubicBezTo>
                    <a:pt x="454878" y="962039"/>
                    <a:pt x="446752" y="955859"/>
                    <a:pt x="500505" y="973776"/>
                  </a:cubicBezTo>
                  <a:cubicBezTo>
                    <a:pt x="541146" y="946682"/>
                    <a:pt x="538793" y="936122"/>
                    <a:pt x="595507" y="961901"/>
                  </a:cubicBezTo>
                  <a:cubicBezTo>
                    <a:pt x="621493" y="973713"/>
                    <a:pt x="666759" y="1009402"/>
                    <a:pt x="666759" y="1009402"/>
                  </a:cubicBezTo>
                  <a:cubicBezTo>
                    <a:pt x="726136" y="989610"/>
                    <a:pt x="698427" y="1009402"/>
                    <a:pt x="726136" y="926275"/>
                  </a:cubicBezTo>
                  <a:cubicBezTo>
                    <a:pt x="730649" y="912735"/>
                    <a:pt x="749887" y="910442"/>
                    <a:pt x="761762" y="902525"/>
                  </a:cubicBezTo>
                  <a:cubicBezTo>
                    <a:pt x="852162" y="932658"/>
                    <a:pt x="808465" y="931185"/>
                    <a:pt x="892390" y="914400"/>
                  </a:cubicBezTo>
                  <a:cubicBezTo>
                    <a:pt x="900307" y="902525"/>
                    <a:pt x="921938" y="891816"/>
                    <a:pt x="916141" y="878774"/>
                  </a:cubicBezTo>
                  <a:cubicBezTo>
                    <a:pt x="902499" y="848080"/>
                    <a:pt x="868640" y="831273"/>
                    <a:pt x="844889" y="807522"/>
                  </a:cubicBezTo>
                  <a:cubicBezTo>
                    <a:pt x="834797" y="797430"/>
                    <a:pt x="829056" y="783771"/>
                    <a:pt x="821139" y="771896"/>
                  </a:cubicBezTo>
                  <a:cubicBezTo>
                    <a:pt x="829308" y="706543"/>
                    <a:pt x="848449" y="664422"/>
                    <a:pt x="809263" y="605641"/>
                  </a:cubicBezTo>
                  <a:cubicBezTo>
                    <a:pt x="801346" y="593766"/>
                    <a:pt x="797388" y="577932"/>
                    <a:pt x="785513" y="570015"/>
                  </a:cubicBezTo>
                  <a:cubicBezTo>
                    <a:pt x="771933" y="560962"/>
                    <a:pt x="753845" y="562098"/>
                    <a:pt x="738011" y="558140"/>
                  </a:cubicBezTo>
                  <a:cubicBezTo>
                    <a:pt x="653157" y="430855"/>
                    <a:pt x="785293" y="624019"/>
                    <a:pt x="678635" y="486888"/>
                  </a:cubicBezTo>
                  <a:cubicBezTo>
                    <a:pt x="661110" y="464356"/>
                    <a:pt x="631133" y="415636"/>
                    <a:pt x="631133" y="415636"/>
                  </a:cubicBezTo>
                  <a:cubicBezTo>
                    <a:pt x="627175" y="403761"/>
                    <a:pt x="626202" y="390425"/>
                    <a:pt x="619258" y="380010"/>
                  </a:cubicBezTo>
                  <a:cubicBezTo>
                    <a:pt x="586351" y="330649"/>
                    <a:pt x="571889" y="342427"/>
                    <a:pt x="512380" y="332509"/>
                  </a:cubicBezTo>
                  <a:cubicBezTo>
                    <a:pt x="500505" y="328551"/>
                    <a:pt x="486529" y="328454"/>
                    <a:pt x="476754" y="320634"/>
                  </a:cubicBezTo>
                  <a:cubicBezTo>
                    <a:pt x="465609" y="311718"/>
                    <a:pt x="465769" y="291391"/>
                    <a:pt x="453003" y="285008"/>
                  </a:cubicBezTo>
                  <a:cubicBezTo>
                    <a:pt x="431467" y="274240"/>
                    <a:pt x="405110" y="278972"/>
                    <a:pt x="381751" y="273132"/>
                  </a:cubicBezTo>
                  <a:cubicBezTo>
                    <a:pt x="357463" y="267060"/>
                    <a:pt x="334250" y="257299"/>
                    <a:pt x="310500" y="249382"/>
                  </a:cubicBezTo>
                  <a:cubicBezTo>
                    <a:pt x="298625" y="245423"/>
                    <a:pt x="285290" y="244449"/>
                    <a:pt x="274874" y="237506"/>
                  </a:cubicBezTo>
                  <a:lnTo>
                    <a:pt x="239248" y="213756"/>
                  </a:lnTo>
                  <a:cubicBezTo>
                    <a:pt x="201610" y="157299"/>
                    <a:pt x="220010" y="191670"/>
                    <a:pt x="191746" y="106878"/>
                  </a:cubicBezTo>
                  <a:cubicBezTo>
                    <a:pt x="187787" y="95003"/>
                    <a:pt x="167995" y="98961"/>
                    <a:pt x="156120" y="95002"/>
                  </a:cubicBezTo>
                  <a:cubicBezTo>
                    <a:pt x="141187" y="50203"/>
                    <a:pt x="141050" y="25486"/>
                    <a:pt x="72993" y="11875"/>
                  </a:cubicBezTo>
                  <a:lnTo>
                    <a:pt x="13616" y="0"/>
                  </a:ln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fontAlgn="base">
                <a:spcBef>
                  <a:spcPct val="0"/>
                </a:spcBef>
                <a:spcAft>
                  <a:spcPct val="0"/>
                </a:spcAft>
                <a:buClrTx/>
              </a:pPr>
              <a:endParaRPr lang="en-US" sz="1050" kern="1200">
                <a:solidFill>
                  <a:prstClr val="black"/>
                </a:solidFill>
                <a:latin typeface="Century Gothic" pitchFamily="34" charset="0"/>
                <a:ea typeface="+mn-ea"/>
                <a:cs typeface="+mn-cs"/>
              </a:endParaRPr>
            </a:p>
          </p:txBody>
        </p:sp>
        <p:sp>
          <p:nvSpPr>
            <p:cNvPr id="17" name="Freeform 16"/>
            <p:cNvSpPr/>
            <p:nvPr/>
          </p:nvSpPr>
          <p:spPr bwMode="gray">
            <a:xfrm>
              <a:off x="2087404" y="4388748"/>
              <a:ext cx="328196" cy="376820"/>
            </a:xfrm>
            <a:custGeom>
              <a:avLst/>
              <a:gdLst>
                <a:gd name="connsiteX0" fmla="*/ 23751 w 403761"/>
                <a:gd name="connsiteY0" fmla="*/ 190005 h 463580"/>
                <a:gd name="connsiteX1" fmla="*/ 71252 w 403761"/>
                <a:gd name="connsiteY1" fmla="*/ 166254 h 463580"/>
                <a:gd name="connsiteX2" fmla="*/ 106878 w 403761"/>
                <a:gd name="connsiteY2" fmla="*/ 154379 h 463580"/>
                <a:gd name="connsiteX3" fmla="*/ 118753 w 403761"/>
                <a:gd name="connsiteY3" fmla="*/ 118753 h 463580"/>
                <a:gd name="connsiteX4" fmla="*/ 142504 w 403761"/>
                <a:gd name="connsiteY4" fmla="*/ 83127 h 463580"/>
                <a:gd name="connsiteX5" fmla="*/ 201881 w 403761"/>
                <a:gd name="connsiteY5" fmla="*/ 0 h 463580"/>
                <a:gd name="connsiteX6" fmla="*/ 308759 w 403761"/>
                <a:gd name="connsiteY6" fmla="*/ 23750 h 463580"/>
                <a:gd name="connsiteX7" fmla="*/ 368135 w 403761"/>
                <a:gd name="connsiteY7" fmla="*/ 71252 h 463580"/>
                <a:gd name="connsiteX8" fmla="*/ 403761 w 403761"/>
                <a:gd name="connsiteY8" fmla="*/ 154379 h 463580"/>
                <a:gd name="connsiteX9" fmla="*/ 391886 w 403761"/>
                <a:gd name="connsiteY9" fmla="*/ 201880 h 463580"/>
                <a:gd name="connsiteX10" fmla="*/ 368135 w 403761"/>
                <a:gd name="connsiteY10" fmla="*/ 273132 h 463580"/>
                <a:gd name="connsiteX11" fmla="*/ 344385 w 403761"/>
                <a:gd name="connsiteY11" fmla="*/ 308758 h 463580"/>
                <a:gd name="connsiteX12" fmla="*/ 237507 w 403761"/>
                <a:gd name="connsiteY12" fmla="*/ 391885 h 463580"/>
                <a:gd name="connsiteX13" fmla="*/ 201881 w 403761"/>
                <a:gd name="connsiteY13" fmla="*/ 403761 h 463580"/>
                <a:gd name="connsiteX14" fmla="*/ 178130 w 403761"/>
                <a:gd name="connsiteY14" fmla="*/ 439387 h 463580"/>
                <a:gd name="connsiteX15" fmla="*/ 71252 w 403761"/>
                <a:gd name="connsiteY15" fmla="*/ 439387 h 463580"/>
                <a:gd name="connsiteX16" fmla="*/ 47501 w 403761"/>
                <a:gd name="connsiteY16" fmla="*/ 403761 h 463580"/>
                <a:gd name="connsiteX17" fmla="*/ 23751 w 403761"/>
                <a:gd name="connsiteY17" fmla="*/ 285007 h 463580"/>
                <a:gd name="connsiteX18" fmla="*/ 0 w 403761"/>
                <a:gd name="connsiteY18" fmla="*/ 213756 h 463580"/>
                <a:gd name="connsiteX19" fmla="*/ 35626 w 403761"/>
                <a:gd name="connsiteY19" fmla="*/ 190005 h 463580"/>
                <a:gd name="connsiteX20" fmla="*/ 71252 w 403761"/>
                <a:gd name="connsiteY20" fmla="*/ 178130 h 463580"/>
                <a:gd name="connsiteX21" fmla="*/ 130629 w 403761"/>
                <a:gd name="connsiteY21" fmla="*/ 142504 h 46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3761" h="463580">
                  <a:moveTo>
                    <a:pt x="23751" y="190005"/>
                  </a:moveTo>
                  <a:cubicBezTo>
                    <a:pt x="39585" y="182088"/>
                    <a:pt x="54981" y="173227"/>
                    <a:pt x="71252" y="166254"/>
                  </a:cubicBezTo>
                  <a:cubicBezTo>
                    <a:pt x="82758" y="161323"/>
                    <a:pt x="98027" y="163230"/>
                    <a:pt x="106878" y="154379"/>
                  </a:cubicBezTo>
                  <a:cubicBezTo>
                    <a:pt x="115729" y="145528"/>
                    <a:pt x="113155" y="129949"/>
                    <a:pt x="118753" y="118753"/>
                  </a:cubicBezTo>
                  <a:cubicBezTo>
                    <a:pt x="125136" y="105987"/>
                    <a:pt x="134587" y="95002"/>
                    <a:pt x="142504" y="83127"/>
                  </a:cubicBezTo>
                  <a:cubicBezTo>
                    <a:pt x="170213" y="0"/>
                    <a:pt x="142504" y="19792"/>
                    <a:pt x="201881" y="0"/>
                  </a:cubicBezTo>
                  <a:cubicBezTo>
                    <a:pt x="202609" y="121"/>
                    <a:pt x="293373" y="11441"/>
                    <a:pt x="308759" y="23750"/>
                  </a:cubicBezTo>
                  <a:cubicBezTo>
                    <a:pt x="385497" y="85140"/>
                    <a:pt x="278585" y="41400"/>
                    <a:pt x="368135" y="71252"/>
                  </a:cubicBezTo>
                  <a:cubicBezTo>
                    <a:pt x="387528" y="100341"/>
                    <a:pt x="403761" y="116036"/>
                    <a:pt x="403761" y="154379"/>
                  </a:cubicBezTo>
                  <a:cubicBezTo>
                    <a:pt x="403761" y="170700"/>
                    <a:pt x="396576" y="186247"/>
                    <a:pt x="391886" y="201880"/>
                  </a:cubicBezTo>
                  <a:cubicBezTo>
                    <a:pt x="384692" y="225860"/>
                    <a:pt x="382022" y="252301"/>
                    <a:pt x="368135" y="273132"/>
                  </a:cubicBezTo>
                  <a:cubicBezTo>
                    <a:pt x="360218" y="285007"/>
                    <a:pt x="353522" y="297794"/>
                    <a:pt x="344385" y="308758"/>
                  </a:cubicBezTo>
                  <a:cubicBezTo>
                    <a:pt x="309504" y="350615"/>
                    <a:pt x="287159" y="358784"/>
                    <a:pt x="237507" y="391885"/>
                  </a:cubicBezTo>
                  <a:cubicBezTo>
                    <a:pt x="227092" y="398829"/>
                    <a:pt x="213756" y="399802"/>
                    <a:pt x="201881" y="403761"/>
                  </a:cubicBezTo>
                  <a:cubicBezTo>
                    <a:pt x="193964" y="415636"/>
                    <a:pt x="189275" y="430471"/>
                    <a:pt x="178130" y="439387"/>
                  </a:cubicBezTo>
                  <a:cubicBezTo>
                    <a:pt x="147888" y="463580"/>
                    <a:pt x="100556" y="444271"/>
                    <a:pt x="71252" y="439387"/>
                  </a:cubicBezTo>
                  <a:cubicBezTo>
                    <a:pt x="63335" y="427512"/>
                    <a:pt x="53884" y="416527"/>
                    <a:pt x="47501" y="403761"/>
                  </a:cubicBezTo>
                  <a:cubicBezTo>
                    <a:pt x="28684" y="366126"/>
                    <a:pt x="33128" y="325641"/>
                    <a:pt x="23751" y="285007"/>
                  </a:cubicBezTo>
                  <a:cubicBezTo>
                    <a:pt x="18122" y="260613"/>
                    <a:pt x="0" y="213756"/>
                    <a:pt x="0" y="213756"/>
                  </a:cubicBezTo>
                  <a:cubicBezTo>
                    <a:pt x="11875" y="205839"/>
                    <a:pt x="22860" y="196388"/>
                    <a:pt x="35626" y="190005"/>
                  </a:cubicBezTo>
                  <a:cubicBezTo>
                    <a:pt x="46822" y="184407"/>
                    <a:pt x="60837" y="185074"/>
                    <a:pt x="71252" y="178130"/>
                  </a:cubicBezTo>
                  <a:cubicBezTo>
                    <a:pt x="133089" y="136906"/>
                    <a:pt x="80367" y="142504"/>
                    <a:pt x="130629" y="142504"/>
                  </a:cubicBezTo>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fontAlgn="base">
                <a:spcBef>
                  <a:spcPct val="0"/>
                </a:spcBef>
                <a:spcAft>
                  <a:spcPct val="0"/>
                </a:spcAft>
                <a:buClrTx/>
              </a:pPr>
              <a:endParaRPr lang="en-US" sz="1050" kern="1200">
                <a:solidFill>
                  <a:prstClr val="black"/>
                </a:solidFill>
                <a:latin typeface="Century Gothic" pitchFamily="34" charset="0"/>
                <a:ea typeface="+mn-ea"/>
                <a:cs typeface="+mn-cs"/>
              </a:endParaRPr>
            </a:p>
          </p:txBody>
        </p:sp>
        <p:sp>
          <p:nvSpPr>
            <p:cNvPr id="18" name="Freeform 17"/>
            <p:cNvSpPr/>
            <p:nvPr/>
          </p:nvSpPr>
          <p:spPr bwMode="gray">
            <a:xfrm>
              <a:off x="2166137" y="4487877"/>
              <a:ext cx="349798" cy="476630"/>
            </a:xfrm>
            <a:custGeom>
              <a:avLst/>
              <a:gdLst>
                <a:gd name="connsiteX0" fmla="*/ 305010 w 430337"/>
                <a:gd name="connsiteY0" fmla="*/ 17813 h 586371"/>
                <a:gd name="connsiteX1" fmla="*/ 352512 w 430337"/>
                <a:gd name="connsiteY1" fmla="*/ 29688 h 586371"/>
                <a:gd name="connsiteX2" fmla="*/ 364387 w 430337"/>
                <a:gd name="connsiteY2" fmla="*/ 65314 h 586371"/>
                <a:gd name="connsiteX3" fmla="*/ 388138 w 430337"/>
                <a:gd name="connsiteY3" fmla="*/ 100940 h 586371"/>
                <a:gd name="connsiteX4" fmla="*/ 400013 w 430337"/>
                <a:gd name="connsiteY4" fmla="*/ 219693 h 586371"/>
                <a:gd name="connsiteX5" fmla="*/ 328761 w 430337"/>
                <a:gd name="connsiteY5" fmla="*/ 267194 h 586371"/>
                <a:gd name="connsiteX6" fmla="*/ 293135 w 430337"/>
                <a:gd name="connsiteY6" fmla="*/ 338446 h 586371"/>
                <a:gd name="connsiteX7" fmla="*/ 257509 w 430337"/>
                <a:gd name="connsiteY7" fmla="*/ 540327 h 586371"/>
                <a:gd name="connsiteX8" fmla="*/ 186257 w 430337"/>
                <a:gd name="connsiteY8" fmla="*/ 575953 h 586371"/>
                <a:gd name="connsiteX9" fmla="*/ 115005 w 430337"/>
                <a:gd name="connsiteY9" fmla="*/ 540327 h 586371"/>
                <a:gd name="connsiteX10" fmla="*/ 79379 w 430337"/>
                <a:gd name="connsiteY10" fmla="*/ 528452 h 586371"/>
                <a:gd name="connsiteX11" fmla="*/ 43753 w 430337"/>
                <a:gd name="connsiteY11" fmla="*/ 504701 h 586371"/>
                <a:gd name="connsiteX12" fmla="*/ 55629 w 430337"/>
                <a:gd name="connsiteY12" fmla="*/ 302820 h 586371"/>
                <a:gd name="connsiteX13" fmla="*/ 91255 w 430337"/>
                <a:gd name="connsiteY13" fmla="*/ 290945 h 586371"/>
                <a:gd name="connsiteX14" fmla="*/ 162507 w 430337"/>
                <a:gd name="connsiteY14" fmla="*/ 255319 h 586371"/>
                <a:gd name="connsiteX15" fmla="*/ 198133 w 430337"/>
                <a:gd name="connsiteY15" fmla="*/ 231568 h 586371"/>
                <a:gd name="connsiteX16" fmla="*/ 233759 w 430337"/>
                <a:gd name="connsiteY16" fmla="*/ 160316 h 586371"/>
                <a:gd name="connsiteX17" fmla="*/ 269384 w 430337"/>
                <a:gd name="connsiteY17" fmla="*/ 136566 h 586371"/>
                <a:gd name="connsiteX18" fmla="*/ 305010 w 430337"/>
                <a:gd name="connsiteY18" fmla="*/ 17813 h 58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30337" h="586371">
                  <a:moveTo>
                    <a:pt x="305010" y="17813"/>
                  </a:moveTo>
                  <a:cubicBezTo>
                    <a:pt x="318865" y="0"/>
                    <a:pt x="339767" y="19492"/>
                    <a:pt x="352512" y="29688"/>
                  </a:cubicBezTo>
                  <a:cubicBezTo>
                    <a:pt x="362287" y="37508"/>
                    <a:pt x="358789" y="54118"/>
                    <a:pt x="364387" y="65314"/>
                  </a:cubicBezTo>
                  <a:cubicBezTo>
                    <a:pt x="370770" y="78080"/>
                    <a:pt x="380221" y="89065"/>
                    <a:pt x="388138" y="100940"/>
                  </a:cubicBezTo>
                  <a:cubicBezTo>
                    <a:pt x="398063" y="130716"/>
                    <a:pt x="430337" y="185037"/>
                    <a:pt x="400013" y="219693"/>
                  </a:cubicBezTo>
                  <a:cubicBezTo>
                    <a:pt x="381216" y="241175"/>
                    <a:pt x="328761" y="267194"/>
                    <a:pt x="328761" y="267194"/>
                  </a:cubicBezTo>
                  <a:cubicBezTo>
                    <a:pt x="312748" y="291213"/>
                    <a:pt x="296647" y="308594"/>
                    <a:pt x="293135" y="338446"/>
                  </a:cubicBezTo>
                  <a:cubicBezTo>
                    <a:pt x="284951" y="408016"/>
                    <a:pt x="310870" y="486967"/>
                    <a:pt x="257509" y="540327"/>
                  </a:cubicBezTo>
                  <a:cubicBezTo>
                    <a:pt x="234490" y="563346"/>
                    <a:pt x="215231" y="566295"/>
                    <a:pt x="186257" y="575953"/>
                  </a:cubicBezTo>
                  <a:cubicBezTo>
                    <a:pt x="96703" y="546100"/>
                    <a:pt x="207096" y="586371"/>
                    <a:pt x="115005" y="540327"/>
                  </a:cubicBezTo>
                  <a:cubicBezTo>
                    <a:pt x="103809" y="534729"/>
                    <a:pt x="91254" y="532410"/>
                    <a:pt x="79379" y="528452"/>
                  </a:cubicBezTo>
                  <a:cubicBezTo>
                    <a:pt x="67504" y="520535"/>
                    <a:pt x="47215" y="518547"/>
                    <a:pt x="43753" y="504701"/>
                  </a:cubicBezTo>
                  <a:cubicBezTo>
                    <a:pt x="34981" y="469613"/>
                    <a:pt x="0" y="347322"/>
                    <a:pt x="55629" y="302820"/>
                  </a:cubicBezTo>
                  <a:cubicBezTo>
                    <a:pt x="65404" y="295000"/>
                    <a:pt x="79380" y="294903"/>
                    <a:pt x="91255" y="290945"/>
                  </a:cubicBezTo>
                  <a:cubicBezTo>
                    <a:pt x="193355" y="222878"/>
                    <a:pt x="64175" y="304485"/>
                    <a:pt x="162507" y="255319"/>
                  </a:cubicBezTo>
                  <a:cubicBezTo>
                    <a:pt x="175273" y="248936"/>
                    <a:pt x="186258" y="239485"/>
                    <a:pt x="198133" y="231568"/>
                  </a:cubicBezTo>
                  <a:cubicBezTo>
                    <a:pt x="207792" y="202591"/>
                    <a:pt x="210737" y="183338"/>
                    <a:pt x="233759" y="160316"/>
                  </a:cubicBezTo>
                  <a:cubicBezTo>
                    <a:pt x="243851" y="150224"/>
                    <a:pt x="257509" y="144483"/>
                    <a:pt x="269384" y="136566"/>
                  </a:cubicBezTo>
                  <a:cubicBezTo>
                    <a:pt x="294905" y="60003"/>
                    <a:pt x="291155" y="35626"/>
                    <a:pt x="305010" y="17813"/>
                  </a:cubicBez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fontAlgn="base">
                <a:spcBef>
                  <a:spcPct val="0"/>
                </a:spcBef>
                <a:spcAft>
                  <a:spcPct val="0"/>
                </a:spcAft>
                <a:buClrTx/>
              </a:pPr>
              <a:endParaRPr lang="en-US" sz="1050" kern="1200">
                <a:solidFill>
                  <a:prstClr val="black"/>
                </a:solidFill>
                <a:latin typeface="Century Gothic" pitchFamily="34" charset="0"/>
                <a:ea typeface="+mn-ea"/>
                <a:cs typeface="+mn-cs"/>
              </a:endParaRPr>
            </a:p>
          </p:txBody>
        </p:sp>
        <p:sp>
          <p:nvSpPr>
            <p:cNvPr id="19" name="Freeform 18"/>
            <p:cNvSpPr/>
            <p:nvPr/>
          </p:nvSpPr>
          <p:spPr bwMode="gray">
            <a:xfrm>
              <a:off x="1884439" y="4524791"/>
              <a:ext cx="275657" cy="320858"/>
            </a:xfrm>
            <a:custGeom>
              <a:avLst/>
              <a:gdLst>
                <a:gd name="connsiteX0" fmla="*/ 149120 w 339125"/>
                <a:gd name="connsiteY0" fmla="*/ 390775 h 394733"/>
                <a:gd name="connsiteX1" fmla="*/ 65992 w 339125"/>
                <a:gd name="connsiteY1" fmla="*/ 367024 h 394733"/>
                <a:gd name="connsiteX2" fmla="*/ 54117 w 339125"/>
                <a:gd name="connsiteY2" fmla="*/ 331398 h 394733"/>
                <a:gd name="connsiteX3" fmla="*/ 42242 w 339125"/>
                <a:gd name="connsiteY3" fmla="*/ 200770 h 394733"/>
                <a:gd name="connsiteX4" fmla="*/ 6616 w 339125"/>
                <a:gd name="connsiteY4" fmla="*/ 165144 h 394733"/>
                <a:gd name="connsiteX5" fmla="*/ 77868 w 339125"/>
                <a:gd name="connsiteY5" fmla="*/ 117642 h 394733"/>
                <a:gd name="connsiteX6" fmla="*/ 101618 w 339125"/>
                <a:gd name="connsiteY6" fmla="*/ 82016 h 394733"/>
                <a:gd name="connsiteX7" fmla="*/ 255997 w 339125"/>
                <a:gd name="connsiteY7" fmla="*/ 34515 h 394733"/>
                <a:gd name="connsiteX8" fmla="*/ 291623 w 339125"/>
                <a:gd name="connsiteY8" fmla="*/ 10765 h 394733"/>
                <a:gd name="connsiteX9" fmla="*/ 303499 w 339125"/>
                <a:gd name="connsiteY9" fmla="*/ 46391 h 394733"/>
                <a:gd name="connsiteX10" fmla="*/ 339125 w 339125"/>
                <a:gd name="connsiteY10" fmla="*/ 307648 h 394733"/>
                <a:gd name="connsiteX11" fmla="*/ 232247 w 339125"/>
                <a:gd name="connsiteY11" fmla="*/ 343274 h 394733"/>
                <a:gd name="connsiteX12" fmla="*/ 149120 w 339125"/>
                <a:gd name="connsiteY12" fmla="*/ 390775 h 39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9125" h="394733">
                  <a:moveTo>
                    <a:pt x="149120" y="390775"/>
                  </a:moveTo>
                  <a:cubicBezTo>
                    <a:pt x="121411" y="394733"/>
                    <a:pt x="71673" y="372705"/>
                    <a:pt x="65992" y="367024"/>
                  </a:cubicBezTo>
                  <a:cubicBezTo>
                    <a:pt x="57141" y="358173"/>
                    <a:pt x="58075" y="343273"/>
                    <a:pt x="54117" y="331398"/>
                  </a:cubicBezTo>
                  <a:cubicBezTo>
                    <a:pt x="50159" y="287855"/>
                    <a:pt x="54253" y="242810"/>
                    <a:pt x="42242" y="200770"/>
                  </a:cubicBezTo>
                  <a:cubicBezTo>
                    <a:pt x="37628" y="184622"/>
                    <a:pt x="0" y="180580"/>
                    <a:pt x="6616" y="165144"/>
                  </a:cubicBezTo>
                  <a:cubicBezTo>
                    <a:pt x="17860" y="138907"/>
                    <a:pt x="77868" y="117642"/>
                    <a:pt x="77868" y="117642"/>
                  </a:cubicBezTo>
                  <a:cubicBezTo>
                    <a:pt x="85785" y="105767"/>
                    <a:pt x="95235" y="94781"/>
                    <a:pt x="101618" y="82016"/>
                  </a:cubicBezTo>
                  <a:cubicBezTo>
                    <a:pt x="142626" y="0"/>
                    <a:pt x="47487" y="51892"/>
                    <a:pt x="255997" y="34515"/>
                  </a:cubicBezTo>
                  <a:cubicBezTo>
                    <a:pt x="267872" y="26598"/>
                    <a:pt x="277777" y="7303"/>
                    <a:pt x="291623" y="10765"/>
                  </a:cubicBezTo>
                  <a:cubicBezTo>
                    <a:pt x="303767" y="13801"/>
                    <a:pt x="302366" y="33925"/>
                    <a:pt x="303499" y="46391"/>
                  </a:cubicBezTo>
                  <a:cubicBezTo>
                    <a:pt x="326757" y="302224"/>
                    <a:pt x="271582" y="206334"/>
                    <a:pt x="339125" y="307648"/>
                  </a:cubicBezTo>
                  <a:lnTo>
                    <a:pt x="232247" y="343274"/>
                  </a:lnTo>
                  <a:cubicBezTo>
                    <a:pt x="194291" y="355927"/>
                    <a:pt x="176829" y="386817"/>
                    <a:pt x="149120" y="390775"/>
                  </a:cubicBez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fontAlgn="base">
                <a:spcBef>
                  <a:spcPct val="0"/>
                </a:spcBef>
                <a:spcAft>
                  <a:spcPct val="0"/>
                </a:spcAft>
                <a:buClrTx/>
              </a:pPr>
              <a:endParaRPr lang="en-US" sz="1050" kern="1200">
                <a:solidFill>
                  <a:prstClr val="black"/>
                </a:solidFill>
                <a:latin typeface="Century Gothic" pitchFamily="34" charset="0"/>
                <a:ea typeface="+mn-ea"/>
                <a:cs typeface="+mn-cs"/>
              </a:endParaRPr>
            </a:p>
          </p:txBody>
        </p:sp>
        <p:sp>
          <p:nvSpPr>
            <p:cNvPr id="20" name="Freeform 19"/>
            <p:cNvSpPr/>
            <p:nvPr/>
          </p:nvSpPr>
          <p:spPr bwMode="gray">
            <a:xfrm>
              <a:off x="1926142" y="4753873"/>
              <a:ext cx="349110" cy="286822"/>
            </a:xfrm>
            <a:custGeom>
              <a:avLst/>
              <a:gdLst>
                <a:gd name="connsiteX0" fmla="*/ 1979 w 429491"/>
                <a:gd name="connsiteY0" fmla="*/ 198482 h 352861"/>
                <a:gd name="connsiteX1" fmla="*/ 13854 w 429491"/>
                <a:gd name="connsiteY1" fmla="*/ 162856 h 352861"/>
                <a:gd name="connsiteX2" fmla="*/ 85106 w 429491"/>
                <a:gd name="connsiteY2" fmla="*/ 115355 h 352861"/>
                <a:gd name="connsiteX3" fmla="*/ 156358 w 429491"/>
                <a:gd name="connsiteY3" fmla="*/ 67854 h 352861"/>
                <a:gd name="connsiteX4" fmla="*/ 227610 w 429491"/>
                <a:gd name="connsiteY4" fmla="*/ 44103 h 352861"/>
                <a:gd name="connsiteX5" fmla="*/ 298862 w 429491"/>
                <a:gd name="connsiteY5" fmla="*/ 8477 h 352861"/>
                <a:gd name="connsiteX6" fmla="*/ 346363 w 429491"/>
                <a:gd name="connsiteY6" fmla="*/ 79729 h 352861"/>
                <a:gd name="connsiteX7" fmla="*/ 370114 w 429491"/>
                <a:gd name="connsiteY7" fmla="*/ 174732 h 352861"/>
                <a:gd name="connsiteX8" fmla="*/ 381989 w 429491"/>
                <a:gd name="connsiteY8" fmla="*/ 210358 h 352861"/>
                <a:gd name="connsiteX9" fmla="*/ 417615 w 429491"/>
                <a:gd name="connsiteY9" fmla="*/ 222233 h 352861"/>
                <a:gd name="connsiteX10" fmla="*/ 429491 w 429491"/>
                <a:gd name="connsiteY10" fmla="*/ 257859 h 352861"/>
                <a:gd name="connsiteX11" fmla="*/ 381989 w 429491"/>
                <a:gd name="connsiteY11" fmla="*/ 317235 h 352861"/>
                <a:gd name="connsiteX12" fmla="*/ 346363 w 429491"/>
                <a:gd name="connsiteY12" fmla="*/ 329111 h 352861"/>
                <a:gd name="connsiteX13" fmla="*/ 310737 w 429491"/>
                <a:gd name="connsiteY13" fmla="*/ 352861 h 352861"/>
                <a:gd name="connsiteX14" fmla="*/ 191984 w 429491"/>
                <a:gd name="connsiteY14" fmla="*/ 329111 h 352861"/>
                <a:gd name="connsiteX15" fmla="*/ 156358 w 429491"/>
                <a:gd name="connsiteY15" fmla="*/ 305360 h 352861"/>
                <a:gd name="connsiteX16" fmla="*/ 144483 w 429491"/>
                <a:gd name="connsiteY16" fmla="*/ 269734 h 352861"/>
                <a:gd name="connsiteX17" fmla="*/ 96982 w 429491"/>
                <a:gd name="connsiteY17" fmla="*/ 245983 h 352861"/>
                <a:gd name="connsiteX18" fmla="*/ 61356 w 429491"/>
                <a:gd name="connsiteY18" fmla="*/ 222233 h 352861"/>
                <a:gd name="connsiteX19" fmla="*/ 25730 w 429491"/>
                <a:gd name="connsiteY19" fmla="*/ 210358 h 352861"/>
                <a:gd name="connsiteX20" fmla="*/ 1979 w 429491"/>
                <a:gd name="connsiteY20" fmla="*/ 198482 h 352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29491" h="352861">
                  <a:moveTo>
                    <a:pt x="1979" y="198482"/>
                  </a:moveTo>
                  <a:cubicBezTo>
                    <a:pt x="0" y="190565"/>
                    <a:pt x="6910" y="173271"/>
                    <a:pt x="13854" y="162856"/>
                  </a:cubicBezTo>
                  <a:cubicBezTo>
                    <a:pt x="39270" y="124732"/>
                    <a:pt x="47755" y="127805"/>
                    <a:pt x="85106" y="115355"/>
                  </a:cubicBezTo>
                  <a:lnTo>
                    <a:pt x="156358" y="67854"/>
                  </a:lnTo>
                  <a:cubicBezTo>
                    <a:pt x="177189" y="53967"/>
                    <a:pt x="227610" y="44103"/>
                    <a:pt x="227610" y="44103"/>
                  </a:cubicBezTo>
                  <a:cubicBezTo>
                    <a:pt x="231125" y="41760"/>
                    <a:pt x="286994" y="0"/>
                    <a:pt x="298862" y="8477"/>
                  </a:cubicBezTo>
                  <a:cubicBezTo>
                    <a:pt x="322090" y="25068"/>
                    <a:pt x="346363" y="79729"/>
                    <a:pt x="346363" y="79729"/>
                  </a:cubicBezTo>
                  <a:cubicBezTo>
                    <a:pt x="354280" y="111397"/>
                    <a:pt x="359792" y="143765"/>
                    <a:pt x="370114" y="174732"/>
                  </a:cubicBezTo>
                  <a:cubicBezTo>
                    <a:pt x="374072" y="186607"/>
                    <a:pt x="373138" y="201507"/>
                    <a:pt x="381989" y="210358"/>
                  </a:cubicBezTo>
                  <a:cubicBezTo>
                    <a:pt x="390840" y="219209"/>
                    <a:pt x="405740" y="218275"/>
                    <a:pt x="417615" y="222233"/>
                  </a:cubicBezTo>
                  <a:cubicBezTo>
                    <a:pt x="421574" y="234108"/>
                    <a:pt x="429491" y="245341"/>
                    <a:pt x="429491" y="257859"/>
                  </a:cubicBezTo>
                  <a:cubicBezTo>
                    <a:pt x="429491" y="292100"/>
                    <a:pt x="409344" y="303558"/>
                    <a:pt x="381989" y="317235"/>
                  </a:cubicBezTo>
                  <a:cubicBezTo>
                    <a:pt x="370793" y="322833"/>
                    <a:pt x="357559" y="323513"/>
                    <a:pt x="346363" y="329111"/>
                  </a:cubicBezTo>
                  <a:cubicBezTo>
                    <a:pt x="333598" y="335494"/>
                    <a:pt x="322612" y="344944"/>
                    <a:pt x="310737" y="352861"/>
                  </a:cubicBezTo>
                  <a:cubicBezTo>
                    <a:pt x="280106" y="348485"/>
                    <a:pt x="225145" y="345692"/>
                    <a:pt x="191984" y="329111"/>
                  </a:cubicBezTo>
                  <a:cubicBezTo>
                    <a:pt x="179218" y="322728"/>
                    <a:pt x="168233" y="313277"/>
                    <a:pt x="156358" y="305360"/>
                  </a:cubicBezTo>
                  <a:cubicBezTo>
                    <a:pt x="152400" y="293485"/>
                    <a:pt x="153334" y="278585"/>
                    <a:pt x="144483" y="269734"/>
                  </a:cubicBezTo>
                  <a:cubicBezTo>
                    <a:pt x="131965" y="257216"/>
                    <a:pt x="112352" y="254766"/>
                    <a:pt x="96982" y="245983"/>
                  </a:cubicBezTo>
                  <a:cubicBezTo>
                    <a:pt x="84590" y="238902"/>
                    <a:pt x="74122" y="228616"/>
                    <a:pt x="61356" y="222233"/>
                  </a:cubicBezTo>
                  <a:cubicBezTo>
                    <a:pt x="50160" y="216635"/>
                    <a:pt x="35744" y="217869"/>
                    <a:pt x="25730" y="210358"/>
                  </a:cubicBezTo>
                  <a:cubicBezTo>
                    <a:pt x="18649" y="205047"/>
                    <a:pt x="3958" y="206399"/>
                    <a:pt x="1979" y="198482"/>
                  </a:cubicBez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fontAlgn="base">
                <a:spcBef>
                  <a:spcPct val="0"/>
                </a:spcBef>
                <a:spcAft>
                  <a:spcPct val="0"/>
                </a:spcAft>
                <a:buClrTx/>
              </a:pPr>
              <a:endParaRPr lang="en-US" sz="1050" kern="1200">
                <a:solidFill>
                  <a:prstClr val="black"/>
                </a:solidFill>
                <a:latin typeface="Century Gothic" pitchFamily="34" charset="0"/>
                <a:ea typeface="+mn-ea"/>
                <a:cs typeface="+mn-cs"/>
              </a:endParaRPr>
            </a:p>
          </p:txBody>
        </p:sp>
        <p:sp>
          <p:nvSpPr>
            <p:cNvPr id="21" name="Freeform 20"/>
            <p:cNvSpPr/>
            <p:nvPr/>
          </p:nvSpPr>
          <p:spPr bwMode="gray">
            <a:xfrm>
              <a:off x="1722055" y="4571538"/>
              <a:ext cx="241320" cy="452074"/>
            </a:xfrm>
            <a:custGeom>
              <a:avLst/>
              <a:gdLst>
                <a:gd name="connsiteX0" fmla="*/ 47501 w 296883"/>
                <a:gd name="connsiteY0" fmla="*/ 9896 h 556161"/>
                <a:gd name="connsiteX1" fmla="*/ 154379 w 296883"/>
                <a:gd name="connsiteY1" fmla="*/ 9896 h 556161"/>
                <a:gd name="connsiteX2" fmla="*/ 213756 w 296883"/>
                <a:gd name="connsiteY2" fmla="*/ 21772 h 556161"/>
                <a:gd name="connsiteX3" fmla="*/ 225631 w 296883"/>
                <a:gd name="connsiteY3" fmla="*/ 57398 h 556161"/>
                <a:gd name="connsiteX4" fmla="*/ 249382 w 296883"/>
                <a:gd name="connsiteY4" fmla="*/ 93024 h 556161"/>
                <a:gd name="connsiteX5" fmla="*/ 273132 w 296883"/>
                <a:gd name="connsiteY5" fmla="*/ 164276 h 556161"/>
                <a:gd name="connsiteX6" fmla="*/ 296883 w 296883"/>
                <a:gd name="connsiteY6" fmla="*/ 259278 h 556161"/>
                <a:gd name="connsiteX7" fmla="*/ 285008 w 296883"/>
                <a:gd name="connsiteY7" fmla="*/ 306780 h 556161"/>
                <a:gd name="connsiteX8" fmla="*/ 273132 w 296883"/>
                <a:gd name="connsiteY8" fmla="*/ 342406 h 556161"/>
                <a:gd name="connsiteX9" fmla="*/ 296883 w 296883"/>
                <a:gd name="connsiteY9" fmla="*/ 413658 h 556161"/>
                <a:gd name="connsiteX10" fmla="*/ 261257 w 296883"/>
                <a:gd name="connsiteY10" fmla="*/ 508660 h 556161"/>
                <a:gd name="connsiteX11" fmla="*/ 154379 w 296883"/>
                <a:gd name="connsiteY11" fmla="*/ 544286 h 556161"/>
                <a:gd name="connsiteX12" fmla="*/ 118753 w 296883"/>
                <a:gd name="connsiteY12" fmla="*/ 556161 h 556161"/>
                <a:gd name="connsiteX13" fmla="*/ 47501 w 296883"/>
                <a:gd name="connsiteY13" fmla="*/ 544286 h 556161"/>
                <a:gd name="connsiteX14" fmla="*/ 23750 w 296883"/>
                <a:gd name="connsiteY14" fmla="*/ 508660 h 556161"/>
                <a:gd name="connsiteX15" fmla="*/ 0 w 296883"/>
                <a:gd name="connsiteY15" fmla="*/ 425533 h 556161"/>
                <a:gd name="connsiteX16" fmla="*/ 11875 w 296883"/>
                <a:gd name="connsiteY16" fmla="*/ 271154 h 556161"/>
                <a:gd name="connsiteX17" fmla="*/ 23750 w 296883"/>
                <a:gd name="connsiteY17" fmla="*/ 188026 h 556161"/>
                <a:gd name="connsiteX18" fmla="*/ 11875 w 296883"/>
                <a:gd name="connsiteY18" fmla="*/ 69273 h 556161"/>
                <a:gd name="connsiteX19" fmla="*/ 47501 w 296883"/>
                <a:gd name="connsiteY19" fmla="*/ 9896 h 556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6883" h="556161">
                  <a:moveTo>
                    <a:pt x="47501" y="9896"/>
                  </a:moveTo>
                  <a:cubicBezTo>
                    <a:pt x="71252" y="0"/>
                    <a:pt x="97922" y="47534"/>
                    <a:pt x="154379" y="9896"/>
                  </a:cubicBezTo>
                  <a:cubicBezTo>
                    <a:pt x="174171" y="13855"/>
                    <a:pt x="196962" y="10576"/>
                    <a:pt x="213756" y="21772"/>
                  </a:cubicBezTo>
                  <a:cubicBezTo>
                    <a:pt x="224171" y="28716"/>
                    <a:pt x="220033" y="46202"/>
                    <a:pt x="225631" y="57398"/>
                  </a:cubicBezTo>
                  <a:cubicBezTo>
                    <a:pt x="232014" y="70164"/>
                    <a:pt x="241465" y="81149"/>
                    <a:pt x="249382" y="93024"/>
                  </a:cubicBezTo>
                  <a:cubicBezTo>
                    <a:pt x="257299" y="116775"/>
                    <a:pt x="268222" y="139727"/>
                    <a:pt x="273132" y="164276"/>
                  </a:cubicBezTo>
                  <a:cubicBezTo>
                    <a:pt x="287463" y="235927"/>
                    <a:pt x="278625" y="204504"/>
                    <a:pt x="296883" y="259278"/>
                  </a:cubicBezTo>
                  <a:cubicBezTo>
                    <a:pt x="292925" y="275112"/>
                    <a:pt x="289492" y="291087"/>
                    <a:pt x="285008" y="306780"/>
                  </a:cubicBezTo>
                  <a:cubicBezTo>
                    <a:pt x="281569" y="318816"/>
                    <a:pt x="271750" y="329965"/>
                    <a:pt x="273132" y="342406"/>
                  </a:cubicBezTo>
                  <a:cubicBezTo>
                    <a:pt x="275897" y="367288"/>
                    <a:pt x="296883" y="413658"/>
                    <a:pt x="296883" y="413658"/>
                  </a:cubicBezTo>
                  <a:cubicBezTo>
                    <a:pt x="292093" y="437609"/>
                    <a:pt x="289215" y="491186"/>
                    <a:pt x="261257" y="508660"/>
                  </a:cubicBezTo>
                  <a:cubicBezTo>
                    <a:pt x="261253" y="508662"/>
                    <a:pt x="172194" y="538348"/>
                    <a:pt x="154379" y="544286"/>
                  </a:cubicBezTo>
                  <a:lnTo>
                    <a:pt x="118753" y="556161"/>
                  </a:lnTo>
                  <a:cubicBezTo>
                    <a:pt x="95002" y="552203"/>
                    <a:pt x="69037" y="555054"/>
                    <a:pt x="47501" y="544286"/>
                  </a:cubicBezTo>
                  <a:cubicBezTo>
                    <a:pt x="34735" y="537903"/>
                    <a:pt x="30133" y="521426"/>
                    <a:pt x="23750" y="508660"/>
                  </a:cubicBezTo>
                  <a:cubicBezTo>
                    <a:pt x="15232" y="491625"/>
                    <a:pt x="3804" y="440751"/>
                    <a:pt x="0" y="425533"/>
                  </a:cubicBezTo>
                  <a:cubicBezTo>
                    <a:pt x="3958" y="374073"/>
                    <a:pt x="6740" y="322510"/>
                    <a:pt x="11875" y="271154"/>
                  </a:cubicBezTo>
                  <a:cubicBezTo>
                    <a:pt x="14660" y="243302"/>
                    <a:pt x="23750" y="216017"/>
                    <a:pt x="23750" y="188026"/>
                  </a:cubicBezTo>
                  <a:cubicBezTo>
                    <a:pt x="23750" y="148244"/>
                    <a:pt x="15833" y="108857"/>
                    <a:pt x="11875" y="69273"/>
                  </a:cubicBezTo>
                  <a:cubicBezTo>
                    <a:pt x="25897" y="13185"/>
                    <a:pt x="23750" y="19792"/>
                    <a:pt x="47501" y="9896"/>
                  </a:cubicBez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fontAlgn="base">
                <a:spcBef>
                  <a:spcPct val="0"/>
                </a:spcBef>
                <a:spcAft>
                  <a:spcPct val="0"/>
                </a:spcAft>
                <a:buClrTx/>
              </a:pPr>
              <a:endParaRPr lang="en-US" sz="1050" kern="1200">
                <a:solidFill>
                  <a:prstClr val="black"/>
                </a:solidFill>
                <a:latin typeface="Century Gothic" pitchFamily="34" charset="0"/>
                <a:ea typeface="+mn-ea"/>
                <a:cs typeface="+mn-cs"/>
              </a:endParaRPr>
            </a:p>
          </p:txBody>
        </p:sp>
        <p:sp>
          <p:nvSpPr>
            <p:cNvPr id="22" name="Freeform 21"/>
            <p:cNvSpPr/>
            <p:nvPr/>
          </p:nvSpPr>
          <p:spPr bwMode="gray">
            <a:xfrm>
              <a:off x="1270594" y="4195212"/>
              <a:ext cx="514817" cy="785304"/>
            </a:xfrm>
            <a:custGeom>
              <a:avLst/>
              <a:gdLst>
                <a:gd name="connsiteX0" fmla="*/ 237507 w 633351"/>
                <a:gd name="connsiteY0" fmla="*/ 27074 h 966115"/>
                <a:gd name="connsiteX1" fmla="*/ 273133 w 633351"/>
                <a:gd name="connsiteY1" fmla="*/ 98325 h 966115"/>
                <a:gd name="connsiteX2" fmla="*/ 296883 w 633351"/>
                <a:gd name="connsiteY2" fmla="*/ 133951 h 966115"/>
                <a:gd name="connsiteX3" fmla="*/ 308759 w 633351"/>
                <a:gd name="connsiteY3" fmla="*/ 169577 h 966115"/>
                <a:gd name="connsiteX4" fmla="*/ 380011 w 633351"/>
                <a:gd name="connsiteY4" fmla="*/ 240829 h 966115"/>
                <a:gd name="connsiteX5" fmla="*/ 427512 w 633351"/>
                <a:gd name="connsiteY5" fmla="*/ 312081 h 966115"/>
                <a:gd name="connsiteX6" fmla="*/ 486889 w 633351"/>
                <a:gd name="connsiteY6" fmla="*/ 371458 h 966115"/>
                <a:gd name="connsiteX7" fmla="*/ 570016 w 633351"/>
                <a:gd name="connsiteY7" fmla="*/ 454585 h 966115"/>
                <a:gd name="connsiteX8" fmla="*/ 593766 w 633351"/>
                <a:gd name="connsiteY8" fmla="*/ 561463 h 966115"/>
                <a:gd name="connsiteX9" fmla="*/ 581891 w 633351"/>
                <a:gd name="connsiteY9" fmla="*/ 751468 h 966115"/>
                <a:gd name="connsiteX10" fmla="*/ 570016 w 633351"/>
                <a:gd name="connsiteY10" fmla="*/ 787094 h 966115"/>
                <a:gd name="connsiteX11" fmla="*/ 558140 w 633351"/>
                <a:gd name="connsiteY11" fmla="*/ 893972 h 966115"/>
                <a:gd name="connsiteX12" fmla="*/ 522515 w 633351"/>
                <a:gd name="connsiteY12" fmla="*/ 917723 h 966115"/>
                <a:gd name="connsiteX13" fmla="*/ 498764 w 633351"/>
                <a:gd name="connsiteY13" fmla="*/ 882097 h 966115"/>
                <a:gd name="connsiteX14" fmla="*/ 344385 w 633351"/>
                <a:gd name="connsiteY14" fmla="*/ 798970 h 966115"/>
                <a:gd name="connsiteX15" fmla="*/ 332509 w 633351"/>
                <a:gd name="connsiteY15" fmla="*/ 834596 h 966115"/>
                <a:gd name="connsiteX16" fmla="*/ 320634 w 633351"/>
                <a:gd name="connsiteY16" fmla="*/ 953349 h 966115"/>
                <a:gd name="connsiteX17" fmla="*/ 285008 w 633351"/>
                <a:gd name="connsiteY17" fmla="*/ 929598 h 966115"/>
                <a:gd name="connsiteX18" fmla="*/ 249382 w 633351"/>
                <a:gd name="connsiteY18" fmla="*/ 893972 h 966115"/>
                <a:gd name="connsiteX19" fmla="*/ 213756 w 633351"/>
                <a:gd name="connsiteY19" fmla="*/ 870222 h 966115"/>
                <a:gd name="connsiteX20" fmla="*/ 142504 w 633351"/>
                <a:gd name="connsiteY20" fmla="*/ 810845 h 966115"/>
                <a:gd name="connsiteX21" fmla="*/ 35626 w 633351"/>
                <a:gd name="connsiteY21" fmla="*/ 787094 h 966115"/>
                <a:gd name="connsiteX22" fmla="*/ 0 w 633351"/>
                <a:gd name="connsiteY22" fmla="*/ 715842 h 966115"/>
                <a:gd name="connsiteX23" fmla="*/ 11876 w 633351"/>
                <a:gd name="connsiteY23" fmla="*/ 680216 h 966115"/>
                <a:gd name="connsiteX24" fmla="*/ 23751 w 633351"/>
                <a:gd name="connsiteY24" fmla="*/ 620840 h 966115"/>
                <a:gd name="connsiteX25" fmla="*/ 35626 w 633351"/>
                <a:gd name="connsiteY25" fmla="*/ 585214 h 966115"/>
                <a:gd name="connsiteX26" fmla="*/ 142504 w 633351"/>
                <a:gd name="connsiteY26" fmla="*/ 525837 h 966115"/>
                <a:gd name="connsiteX27" fmla="*/ 166255 w 633351"/>
                <a:gd name="connsiteY27" fmla="*/ 454585 h 966115"/>
                <a:gd name="connsiteX28" fmla="*/ 190005 w 633351"/>
                <a:gd name="connsiteY28" fmla="*/ 418959 h 966115"/>
                <a:gd name="connsiteX29" fmla="*/ 213756 w 633351"/>
                <a:gd name="connsiteY29" fmla="*/ 347707 h 966115"/>
                <a:gd name="connsiteX30" fmla="*/ 201881 w 633351"/>
                <a:gd name="connsiteY30" fmla="*/ 228954 h 966115"/>
                <a:gd name="connsiteX31" fmla="*/ 190005 w 633351"/>
                <a:gd name="connsiteY31" fmla="*/ 169577 h 966115"/>
                <a:gd name="connsiteX32" fmla="*/ 178130 w 633351"/>
                <a:gd name="connsiteY32" fmla="*/ 62699 h 966115"/>
                <a:gd name="connsiteX33" fmla="*/ 190005 w 633351"/>
                <a:gd name="connsiteY33" fmla="*/ 27074 h 966115"/>
                <a:gd name="connsiteX34" fmla="*/ 237507 w 633351"/>
                <a:gd name="connsiteY34" fmla="*/ 27074 h 966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33351" h="966115">
                  <a:moveTo>
                    <a:pt x="237507" y="27074"/>
                  </a:moveTo>
                  <a:cubicBezTo>
                    <a:pt x="251362" y="38949"/>
                    <a:pt x="223970" y="0"/>
                    <a:pt x="273133" y="98325"/>
                  </a:cubicBezTo>
                  <a:cubicBezTo>
                    <a:pt x="279516" y="111090"/>
                    <a:pt x="290500" y="121186"/>
                    <a:pt x="296883" y="133951"/>
                  </a:cubicBezTo>
                  <a:cubicBezTo>
                    <a:pt x="302481" y="145147"/>
                    <a:pt x="301074" y="159696"/>
                    <a:pt x="308759" y="169577"/>
                  </a:cubicBezTo>
                  <a:cubicBezTo>
                    <a:pt x="329380" y="196090"/>
                    <a:pt x="380011" y="240829"/>
                    <a:pt x="380011" y="240829"/>
                  </a:cubicBezTo>
                  <a:cubicBezTo>
                    <a:pt x="400880" y="303437"/>
                    <a:pt x="378093" y="252779"/>
                    <a:pt x="427512" y="312081"/>
                  </a:cubicBezTo>
                  <a:cubicBezTo>
                    <a:pt x="476993" y="371458"/>
                    <a:pt x="421575" y="327915"/>
                    <a:pt x="486889" y="371458"/>
                  </a:cubicBezTo>
                  <a:cubicBezTo>
                    <a:pt x="541334" y="453125"/>
                    <a:pt x="507310" y="433684"/>
                    <a:pt x="570016" y="454585"/>
                  </a:cubicBezTo>
                  <a:cubicBezTo>
                    <a:pt x="625434" y="537712"/>
                    <a:pt x="633351" y="502086"/>
                    <a:pt x="593766" y="561463"/>
                  </a:cubicBezTo>
                  <a:cubicBezTo>
                    <a:pt x="589808" y="624798"/>
                    <a:pt x="588534" y="688358"/>
                    <a:pt x="581891" y="751468"/>
                  </a:cubicBezTo>
                  <a:cubicBezTo>
                    <a:pt x="580581" y="763917"/>
                    <a:pt x="572074" y="774747"/>
                    <a:pt x="570016" y="787094"/>
                  </a:cubicBezTo>
                  <a:cubicBezTo>
                    <a:pt x="564123" y="822452"/>
                    <a:pt x="570390" y="860285"/>
                    <a:pt x="558140" y="893972"/>
                  </a:cubicBezTo>
                  <a:cubicBezTo>
                    <a:pt x="553263" y="907385"/>
                    <a:pt x="534390" y="909806"/>
                    <a:pt x="522515" y="917723"/>
                  </a:cubicBezTo>
                  <a:cubicBezTo>
                    <a:pt x="514598" y="905848"/>
                    <a:pt x="502519" y="895867"/>
                    <a:pt x="498764" y="882097"/>
                  </a:cubicBezTo>
                  <a:cubicBezTo>
                    <a:pt x="460422" y="741509"/>
                    <a:pt x="549393" y="781885"/>
                    <a:pt x="344385" y="798970"/>
                  </a:cubicBezTo>
                  <a:cubicBezTo>
                    <a:pt x="340426" y="810845"/>
                    <a:pt x="334412" y="822224"/>
                    <a:pt x="332509" y="834596"/>
                  </a:cubicBezTo>
                  <a:cubicBezTo>
                    <a:pt x="326460" y="873915"/>
                    <a:pt x="338425" y="917767"/>
                    <a:pt x="320634" y="953349"/>
                  </a:cubicBezTo>
                  <a:cubicBezTo>
                    <a:pt x="314251" y="966115"/>
                    <a:pt x="295972" y="938735"/>
                    <a:pt x="285008" y="929598"/>
                  </a:cubicBezTo>
                  <a:cubicBezTo>
                    <a:pt x="272106" y="918847"/>
                    <a:pt x="262284" y="904723"/>
                    <a:pt x="249382" y="893972"/>
                  </a:cubicBezTo>
                  <a:cubicBezTo>
                    <a:pt x="238418" y="884835"/>
                    <a:pt x="224720" y="879359"/>
                    <a:pt x="213756" y="870222"/>
                  </a:cubicBezTo>
                  <a:cubicBezTo>
                    <a:pt x="174361" y="837393"/>
                    <a:pt x="186730" y="832958"/>
                    <a:pt x="142504" y="810845"/>
                  </a:cubicBezTo>
                  <a:cubicBezTo>
                    <a:pt x="113272" y="796229"/>
                    <a:pt x="62987" y="791654"/>
                    <a:pt x="35626" y="787094"/>
                  </a:cubicBezTo>
                  <a:cubicBezTo>
                    <a:pt x="23619" y="769083"/>
                    <a:pt x="0" y="740423"/>
                    <a:pt x="0" y="715842"/>
                  </a:cubicBezTo>
                  <a:cubicBezTo>
                    <a:pt x="0" y="703324"/>
                    <a:pt x="8840" y="692360"/>
                    <a:pt x="11876" y="680216"/>
                  </a:cubicBezTo>
                  <a:cubicBezTo>
                    <a:pt x="16771" y="660635"/>
                    <a:pt x="18856" y="640421"/>
                    <a:pt x="23751" y="620840"/>
                  </a:cubicBezTo>
                  <a:cubicBezTo>
                    <a:pt x="26787" y="608696"/>
                    <a:pt x="26775" y="594065"/>
                    <a:pt x="35626" y="585214"/>
                  </a:cubicBezTo>
                  <a:cubicBezTo>
                    <a:pt x="76461" y="544379"/>
                    <a:pt x="97704" y="540770"/>
                    <a:pt x="142504" y="525837"/>
                  </a:cubicBezTo>
                  <a:cubicBezTo>
                    <a:pt x="150421" y="502086"/>
                    <a:pt x="152368" y="475416"/>
                    <a:pt x="166255" y="454585"/>
                  </a:cubicBezTo>
                  <a:cubicBezTo>
                    <a:pt x="174172" y="442710"/>
                    <a:pt x="184209" y="432001"/>
                    <a:pt x="190005" y="418959"/>
                  </a:cubicBezTo>
                  <a:cubicBezTo>
                    <a:pt x="200173" y="396081"/>
                    <a:pt x="213756" y="347707"/>
                    <a:pt x="213756" y="347707"/>
                  </a:cubicBezTo>
                  <a:cubicBezTo>
                    <a:pt x="209798" y="308123"/>
                    <a:pt x="207139" y="268387"/>
                    <a:pt x="201881" y="228954"/>
                  </a:cubicBezTo>
                  <a:cubicBezTo>
                    <a:pt x="199213" y="208947"/>
                    <a:pt x="192860" y="189558"/>
                    <a:pt x="190005" y="169577"/>
                  </a:cubicBezTo>
                  <a:cubicBezTo>
                    <a:pt x="184936" y="134092"/>
                    <a:pt x="182088" y="98325"/>
                    <a:pt x="178130" y="62699"/>
                  </a:cubicBezTo>
                  <a:cubicBezTo>
                    <a:pt x="182088" y="50824"/>
                    <a:pt x="178809" y="32672"/>
                    <a:pt x="190005" y="27074"/>
                  </a:cubicBezTo>
                  <a:cubicBezTo>
                    <a:pt x="197342" y="23406"/>
                    <a:pt x="223652" y="15199"/>
                    <a:pt x="237507" y="27074"/>
                  </a:cubicBez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fontAlgn="base">
                <a:spcBef>
                  <a:spcPct val="0"/>
                </a:spcBef>
                <a:spcAft>
                  <a:spcPct val="0"/>
                </a:spcAft>
                <a:buClrTx/>
              </a:pPr>
              <a:endParaRPr lang="en-US" sz="1050" kern="1200">
                <a:solidFill>
                  <a:prstClr val="black"/>
                </a:solidFill>
                <a:latin typeface="Century Gothic" pitchFamily="34" charset="0"/>
                <a:ea typeface="+mn-ea"/>
                <a:cs typeface="+mn-cs"/>
              </a:endParaRPr>
            </a:p>
          </p:txBody>
        </p:sp>
        <p:sp>
          <p:nvSpPr>
            <p:cNvPr id="23" name="Freeform 22"/>
            <p:cNvSpPr/>
            <p:nvPr/>
          </p:nvSpPr>
          <p:spPr bwMode="gray">
            <a:xfrm>
              <a:off x="1776243" y="4934032"/>
              <a:ext cx="428452" cy="425207"/>
            </a:xfrm>
            <a:custGeom>
              <a:avLst/>
              <a:gdLst>
                <a:gd name="connsiteX0" fmla="*/ 75839 w 527101"/>
                <a:gd name="connsiteY0" fmla="*/ 107472 h 523108"/>
                <a:gd name="connsiteX1" fmla="*/ 111465 w 527101"/>
                <a:gd name="connsiteY1" fmla="*/ 95596 h 523108"/>
                <a:gd name="connsiteX2" fmla="*/ 158966 w 527101"/>
                <a:gd name="connsiteY2" fmla="*/ 83721 h 523108"/>
                <a:gd name="connsiteX3" fmla="*/ 194592 w 527101"/>
                <a:gd name="connsiteY3" fmla="*/ 59970 h 523108"/>
                <a:gd name="connsiteX4" fmla="*/ 206467 w 527101"/>
                <a:gd name="connsiteY4" fmla="*/ 24344 h 523108"/>
                <a:gd name="connsiteX5" fmla="*/ 301470 w 527101"/>
                <a:gd name="connsiteY5" fmla="*/ 24344 h 523108"/>
                <a:gd name="connsiteX6" fmla="*/ 337096 w 527101"/>
                <a:gd name="connsiteY6" fmla="*/ 59970 h 523108"/>
                <a:gd name="connsiteX7" fmla="*/ 372722 w 527101"/>
                <a:gd name="connsiteY7" fmla="*/ 83721 h 523108"/>
                <a:gd name="connsiteX8" fmla="*/ 432098 w 527101"/>
                <a:gd name="connsiteY8" fmla="*/ 131222 h 523108"/>
                <a:gd name="connsiteX9" fmla="*/ 467724 w 527101"/>
                <a:gd name="connsiteY9" fmla="*/ 154973 h 523108"/>
                <a:gd name="connsiteX10" fmla="*/ 503350 w 527101"/>
                <a:gd name="connsiteY10" fmla="*/ 166848 h 523108"/>
                <a:gd name="connsiteX11" fmla="*/ 527101 w 527101"/>
                <a:gd name="connsiteY11" fmla="*/ 202474 h 523108"/>
                <a:gd name="connsiteX12" fmla="*/ 515226 w 527101"/>
                <a:gd name="connsiteY12" fmla="*/ 273726 h 523108"/>
                <a:gd name="connsiteX13" fmla="*/ 503350 w 527101"/>
                <a:gd name="connsiteY13" fmla="*/ 321228 h 523108"/>
                <a:gd name="connsiteX14" fmla="*/ 491475 w 527101"/>
                <a:gd name="connsiteY14" fmla="*/ 428106 h 523108"/>
                <a:gd name="connsiteX15" fmla="*/ 420223 w 527101"/>
                <a:gd name="connsiteY15" fmla="*/ 368729 h 523108"/>
                <a:gd name="connsiteX16" fmla="*/ 360847 w 527101"/>
                <a:gd name="connsiteY16" fmla="*/ 380604 h 523108"/>
                <a:gd name="connsiteX17" fmla="*/ 325221 w 527101"/>
                <a:gd name="connsiteY17" fmla="*/ 404355 h 523108"/>
                <a:gd name="connsiteX18" fmla="*/ 277719 w 527101"/>
                <a:gd name="connsiteY18" fmla="*/ 499357 h 523108"/>
                <a:gd name="connsiteX19" fmla="*/ 242093 w 527101"/>
                <a:gd name="connsiteY19" fmla="*/ 487482 h 523108"/>
                <a:gd name="connsiteX20" fmla="*/ 170841 w 527101"/>
                <a:gd name="connsiteY20" fmla="*/ 523108 h 523108"/>
                <a:gd name="connsiteX21" fmla="*/ 135215 w 527101"/>
                <a:gd name="connsiteY21" fmla="*/ 511233 h 523108"/>
                <a:gd name="connsiteX22" fmla="*/ 99589 w 527101"/>
                <a:gd name="connsiteY22" fmla="*/ 416230 h 523108"/>
                <a:gd name="connsiteX23" fmla="*/ 40213 w 527101"/>
                <a:gd name="connsiteY23" fmla="*/ 356854 h 523108"/>
                <a:gd name="connsiteX24" fmla="*/ 4587 w 527101"/>
                <a:gd name="connsiteY24" fmla="*/ 344978 h 523108"/>
                <a:gd name="connsiteX25" fmla="*/ 16462 w 527101"/>
                <a:gd name="connsiteY25" fmla="*/ 226225 h 523108"/>
                <a:gd name="connsiteX26" fmla="*/ 63963 w 527101"/>
                <a:gd name="connsiteY26" fmla="*/ 214350 h 523108"/>
                <a:gd name="connsiteX27" fmla="*/ 75839 w 527101"/>
                <a:gd name="connsiteY27" fmla="*/ 178724 h 523108"/>
                <a:gd name="connsiteX28" fmla="*/ 63963 w 527101"/>
                <a:gd name="connsiteY28" fmla="*/ 143098 h 523108"/>
                <a:gd name="connsiteX29" fmla="*/ 135215 w 527101"/>
                <a:gd name="connsiteY29" fmla="*/ 95596 h 523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7101" h="523108">
                  <a:moveTo>
                    <a:pt x="75839" y="107472"/>
                  </a:moveTo>
                  <a:cubicBezTo>
                    <a:pt x="87714" y="103513"/>
                    <a:pt x="99429" y="99035"/>
                    <a:pt x="111465" y="95596"/>
                  </a:cubicBezTo>
                  <a:cubicBezTo>
                    <a:pt x="127158" y="91112"/>
                    <a:pt x="143965" y="90150"/>
                    <a:pt x="158966" y="83721"/>
                  </a:cubicBezTo>
                  <a:cubicBezTo>
                    <a:pt x="172084" y="78099"/>
                    <a:pt x="182717" y="67887"/>
                    <a:pt x="194592" y="59970"/>
                  </a:cubicBezTo>
                  <a:cubicBezTo>
                    <a:pt x="198550" y="48095"/>
                    <a:pt x="197616" y="33195"/>
                    <a:pt x="206467" y="24344"/>
                  </a:cubicBezTo>
                  <a:cubicBezTo>
                    <a:pt x="230811" y="0"/>
                    <a:pt x="278887" y="19828"/>
                    <a:pt x="301470" y="24344"/>
                  </a:cubicBezTo>
                  <a:cubicBezTo>
                    <a:pt x="313345" y="36219"/>
                    <a:pt x="324194" y="49219"/>
                    <a:pt x="337096" y="59970"/>
                  </a:cubicBezTo>
                  <a:cubicBezTo>
                    <a:pt x="348060" y="69107"/>
                    <a:pt x="362630" y="73629"/>
                    <a:pt x="372722" y="83721"/>
                  </a:cubicBezTo>
                  <a:cubicBezTo>
                    <a:pt x="426436" y="137436"/>
                    <a:pt x="362742" y="108104"/>
                    <a:pt x="432098" y="131222"/>
                  </a:cubicBezTo>
                  <a:cubicBezTo>
                    <a:pt x="443973" y="139139"/>
                    <a:pt x="454958" y="148590"/>
                    <a:pt x="467724" y="154973"/>
                  </a:cubicBezTo>
                  <a:cubicBezTo>
                    <a:pt x="478920" y="160571"/>
                    <a:pt x="493575" y="159028"/>
                    <a:pt x="503350" y="166848"/>
                  </a:cubicBezTo>
                  <a:cubicBezTo>
                    <a:pt x="514495" y="175764"/>
                    <a:pt x="519184" y="190599"/>
                    <a:pt x="527101" y="202474"/>
                  </a:cubicBezTo>
                  <a:cubicBezTo>
                    <a:pt x="523143" y="226225"/>
                    <a:pt x="519948" y="250115"/>
                    <a:pt x="515226" y="273726"/>
                  </a:cubicBezTo>
                  <a:cubicBezTo>
                    <a:pt x="512025" y="289730"/>
                    <a:pt x="505832" y="305096"/>
                    <a:pt x="503350" y="321228"/>
                  </a:cubicBezTo>
                  <a:cubicBezTo>
                    <a:pt x="497899" y="356656"/>
                    <a:pt x="495433" y="392480"/>
                    <a:pt x="491475" y="428106"/>
                  </a:cubicBezTo>
                  <a:cubicBezTo>
                    <a:pt x="481887" y="418518"/>
                    <a:pt x="439118" y="371091"/>
                    <a:pt x="420223" y="368729"/>
                  </a:cubicBezTo>
                  <a:cubicBezTo>
                    <a:pt x="400195" y="366225"/>
                    <a:pt x="380639" y="376646"/>
                    <a:pt x="360847" y="380604"/>
                  </a:cubicBezTo>
                  <a:cubicBezTo>
                    <a:pt x="348972" y="388521"/>
                    <a:pt x="331018" y="391313"/>
                    <a:pt x="325221" y="404355"/>
                  </a:cubicBezTo>
                  <a:cubicBezTo>
                    <a:pt x="277758" y="511146"/>
                    <a:pt x="355022" y="473590"/>
                    <a:pt x="277719" y="499357"/>
                  </a:cubicBezTo>
                  <a:cubicBezTo>
                    <a:pt x="265844" y="495399"/>
                    <a:pt x="254611" y="487482"/>
                    <a:pt x="242093" y="487482"/>
                  </a:cubicBezTo>
                  <a:cubicBezTo>
                    <a:pt x="217509" y="487482"/>
                    <a:pt x="188854" y="511099"/>
                    <a:pt x="170841" y="523108"/>
                  </a:cubicBezTo>
                  <a:cubicBezTo>
                    <a:pt x="158966" y="519150"/>
                    <a:pt x="144990" y="519053"/>
                    <a:pt x="135215" y="511233"/>
                  </a:cubicBezTo>
                  <a:cubicBezTo>
                    <a:pt x="100405" y="483385"/>
                    <a:pt x="114072" y="454851"/>
                    <a:pt x="99589" y="416230"/>
                  </a:cubicBezTo>
                  <a:cubicBezTo>
                    <a:pt x="88627" y="386997"/>
                    <a:pt x="67010" y="370253"/>
                    <a:pt x="40213" y="356854"/>
                  </a:cubicBezTo>
                  <a:cubicBezTo>
                    <a:pt x="29017" y="351256"/>
                    <a:pt x="16462" y="348937"/>
                    <a:pt x="4587" y="344978"/>
                  </a:cubicBezTo>
                  <a:cubicBezTo>
                    <a:pt x="8545" y="305394"/>
                    <a:pt x="0" y="262441"/>
                    <a:pt x="16462" y="226225"/>
                  </a:cubicBezTo>
                  <a:cubicBezTo>
                    <a:pt x="23216" y="211367"/>
                    <a:pt x="51218" y="224546"/>
                    <a:pt x="63963" y="214350"/>
                  </a:cubicBezTo>
                  <a:cubicBezTo>
                    <a:pt x="73738" y="206530"/>
                    <a:pt x="71880" y="190599"/>
                    <a:pt x="75839" y="178724"/>
                  </a:cubicBezTo>
                  <a:cubicBezTo>
                    <a:pt x="71880" y="166849"/>
                    <a:pt x="56687" y="153284"/>
                    <a:pt x="63963" y="143098"/>
                  </a:cubicBezTo>
                  <a:cubicBezTo>
                    <a:pt x="80554" y="119870"/>
                    <a:pt x="135215" y="95596"/>
                    <a:pt x="135215" y="95596"/>
                  </a:cubicBezTo>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fontAlgn="base">
                <a:spcBef>
                  <a:spcPct val="0"/>
                </a:spcBef>
                <a:spcAft>
                  <a:spcPct val="0"/>
                </a:spcAft>
                <a:buClrTx/>
              </a:pPr>
              <a:endParaRPr lang="en-US" sz="1050" kern="1200">
                <a:solidFill>
                  <a:prstClr val="black"/>
                </a:solidFill>
                <a:latin typeface="Century Gothic" pitchFamily="34" charset="0"/>
                <a:ea typeface="+mn-ea"/>
                <a:cs typeface="+mn-cs"/>
              </a:endParaRPr>
            </a:p>
          </p:txBody>
        </p:sp>
        <p:sp>
          <p:nvSpPr>
            <p:cNvPr id="24" name="Freeform 23"/>
            <p:cNvSpPr/>
            <p:nvPr/>
          </p:nvSpPr>
          <p:spPr bwMode="gray">
            <a:xfrm>
              <a:off x="1131010" y="4804583"/>
              <a:ext cx="644150" cy="714309"/>
            </a:xfrm>
            <a:custGeom>
              <a:avLst/>
              <a:gdLst>
                <a:gd name="connsiteX0" fmla="*/ 641268 w 792462"/>
                <a:gd name="connsiteY0" fmla="*/ 118754 h 878774"/>
                <a:gd name="connsiteX1" fmla="*/ 700644 w 792462"/>
                <a:gd name="connsiteY1" fmla="*/ 130629 h 878774"/>
                <a:gd name="connsiteX2" fmla="*/ 736270 w 792462"/>
                <a:gd name="connsiteY2" fmla="*/ 213756 h 878774"/>
                <a:gd name="connsiteX3" fmla="*/ 748146 w 792462"/>
                <a:gd name="connsiteY3" fmla="*/ 249382 h 878774"/>
                <a:gd name="connsiteX4" fmla="*/ 783772 w 792462"/>
                <a:gd name="connsiteY4" fmla="*/ 273133 h 878774"/>
                <a:gd name="connsiteX5" fmla="*/ 760021 w 792462"/>
                <a:gd name="connsiteY5" fmla="*/ 308759 h 878774"/>
                <a:gd name="connsiteX6" fmla="*/ 724395 w 792462"/>
                <a:gd name="connsiteY6" fmla="*/ 380011 h 878774"/>
                <a:gd name="connsiteX7" fmla="*/ 688769 w 792462"/>
                <a:gd name="connsiteY7" fmla="*/ 486889 h 878774"/>
                <a:gd name="connsiteX8" fmla="*/ 653143 w 792462"/>
                <a:gd name="connsiteY8" fmla="*/ 510639 h 878774"/>
                <a:gd name="connsiteX9" fmla="*/ 581891 w 792462"/>
                <a:gd name="connsiteY9" fmla="*/ 534390 h 878774"/>
                <a:gd name="connsiteX10" fmla="*/ 558141 w 792462"/>
                <a:gd name="connsiteY10" fmla="*/ 653143 h 878774"/>
                <a:gd name="connsiteX11" fmla="*/ 522515 w 792462"/>
                <a:gd name="connsiteY11" fmla="*/ 771896 h 878774"/>
                <a:gd name="connsiteX12" fmla="*/ 486889 w 792462"/>
                <a:gd name="connsiteY12" fmla="*/ 807522 h 878774"/>
                <a:gd name="connsiteX13" fmla="*/ 475013 w 792462"/>
                <a:gd name="connsiteY13" fmla="*/ 843148 h 878774"/>
                <a:gd name="connsiteX14" fmla="*/ 439387 w 792462"/>
                <a:gd name="connsiteY14" fmla="*/ 855024 h 878774"/>
                <a:gd name="connsiteX15" fmla="*/ 403761 w 792462"/>
                <a:gd name="connsiteY15" fmla="*/ 878774 h 878774"/>
                <a:gd name="connsiteX16" fmla="*/ 261257 w 792462"/>
                <a:gd name="connsiteY16" fmla="*/ 819398 h 878774"/>
                <a:gd name="connsiteX17" fmla="*/ 237507 w 792462"/>
                <a:gd name="connsiteY17" fmla="*/ 783772 h 878774"/>
                <a:gd name="connsiteX18" fmla="*/ 190006 w 792462"/>
                <a:gd name="connsiteY18" fmla="*/ 712520 h 878774"/>
                <a:gd name="connsiteX19" fmla="*/ 142504 w 792462"/>
                <a:gd name="connsiteY19" fmla="*/ 700644 h 878774"/>
                <a:gd name="connsiteX20" fmla="*/ 106878 w 792462"/>
                <a:gd name="connsiteY20" fmla="*/ 629392 h 878774"/>
                <a:gd name="connsiteX21" fmla="*/ 83128 w 792462"/>
                <a:gd name="connsiteY21" fmla="*/ 510639 h 878774"/>
                <a:gd name="connsiteX22" fmla="*/ 59377 w 792462"/>
                <a:gd name="connsiteY22" fmla="*/ 475013 h 878774"/>
                <a:gd name="connsiteX23" fmla="*/ 47502 w 792462"/>
                <a:gd name="connsiteY23" fmla="*/ 415637 h 878774"/>
                <a:gd name="connsiteX24" fmla="*/ 35626 w 792462"/>
                <a:gd name="connsiteY24" fmla="*/ 380011 h 878774"/>
                <a:gd name="connsiteX25" fmla="*/ 23751 w 792462"/>
                <a:gd name="connsiteY25" fmla="*/ 285008 h 878774"/>
                <a:gd name="connsiteX26" fmla="*/ 0 w 792462"/>
                <a:gd name="connsiteY26" fmla="*/ 83128 h 878774"/>
                <a:gd name="connsiteX27" fmla="*/ 47502 w 792462"/>
                <a:gd name="connsiteY27" fmla="*/ 23751 h 878774"/>
                <a:gd name="connsiteX28" fmla="*/ 83128 w 792462"/>
                <a:gd name="connsiteY28" fmla="*/ 35626 h 878774"/>
                <a:gd name="connsiteX29" fmla="*/ 130629 w 792462"/>
                <a:gd name="connsiteY29" fmla="*/ 118754 h 878774"/>
                <a:gd name="connsiteX30" fmla="*/ 154380 w 792462"/>
                <a:gd name="connsiteY30" fmla="*/ 83128 h 878774"/>
                <a:gd name="connsiteX31" fmla="*/ 213756 w 792462"/>
                <a:gd name="connsiteY31" fmla="*/ 0 h 878774"/>
                <a:gd name="connsiteX32" fmla="*/ 320634 w 792462"/>
                <a:gd name="connsiteY32" fmla="*/ 47502 h 878774"/>
                <a:gd name="connsiteX33" fmla="*/ 356260 w 792462"/>
                <a:gd name="connsiteY33" fmla="*/ 83128 h 878774"/>
                <a:gd name="connsiteX34" fmla="*/ 380011 w 792462"/>
                <a:gd name="connsiteY34" fmla="*/ 118754 h 878774"/>
                <a:gd name="connsiteX35" fmla="*/ 320634 w 792462"/>
                <a:gd name="connsiteY35" fmla="*/ 225631 h 878774"/>
                <a:gd name="connsiteX36" fmla="*/ 308759 w 792462"/>
                <a:gd name="connsiteY36" fmla="*/ 285008 h 878774"/>
                <a:gd name="connsiteX37" fmla="*/ 296883 w 792462"/>
                <a:gd name="connsiteY37" fmla="*/ 320634 h 878774"/>
                <a:gd name="connsiteX38" fmla="*/ 273133 w 792462"/>
                <a:gd name="connsiteY38" fmla="*/ 356260 h 878774"/>
                <a:gd name="connsiteX39" fmla="*/ 332509 w 792462"/>
                <a:gd name="connsiteY39" fmla="*/ 344385 h 878774"/>
                <a:gd name="connsiteX40" fmla="*/ 403761 w 792462"/>
                <a:gd name="connsiteY40" fmla="*/ 296883 h 878774"/>
                <a:gd name="connsiteX41" fmla="*/ 439387 w 792462"/>
                <a:gd name="connsiteY41" fmla="*/ 273133 h 878774"/>
                <a:gd name="connsiteX42" fmla="*/ 463138 w 792462"/>
                <a:gd name="connsiteY42" fmla="*/ 308759 h 878774"/>
                <a:gd name="connsiteX43" fmla="*/ 534390 w 792462"/>
                <a:gd name="connsiteY43" fmla="*/ 285008 h 878774"/>
                <a:gd name="connsiteX44" fmla="*/ 617517 w 792462"/>
                <a:gd name="connsiteY44" fmla="*/ 190005 h 878774"/>
                <a:gd name="connsiteX45" fmla="*/ 629393 w 792462"/>
                <a:gd name="connsiteY45" fmla="*/ 154379 h 878774"/>
                <a:gd name="connsiteX46" fmla="*/ 700644 w 792462"/>
                <a:gd name="connsiteY46" fmla="*/ 178130 h 878774"/>
                <a:gd name="connsiteX47" fmla="*/ 712520 w 792462"/>
                <a:gd name="connsiteY47" fmla="*/ 178130 h 878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792462" h="878774">
                  <a:moveTo>
                    <a:pt x="641268" y="118754"/>
                  </a:moveTo>
                  <a:cubicBezTo>
                    <a:pt x="661060" y="122712"/>
                    <a:pt x="683119" y="120615"/>
                    <a:pt x="700644" y="130629"/>
                  </a:cubicBezTo>
                  <a:cubicBezTo>
                    <a:pt x="725337" y="144740"/>
                    <a:pt x="730209" y="192541"/>
                    <a:pt x="736270" y="213756"/>
                  </a:cubicBezTo>
                  <a:cubicBezTo>
                    <a:pt x="739709" y="225792"/>
                    <a:pt x="740326" y="239607"/>
                    <a:pt x="748146" y="249382"/>
                  </a:cubicBezTo>
                  <a:cubicBezTo>
                    <a:pt x="757062" y="260527"/>
                    <a:pt x="771897" y="265216"/>
                    <a:pt x="783772" y="273133"/>
                  </a:cubicBezTo>
                  <a:cubicBezTo>
                    <a:pt x="775855" y="285008"/>
                    <a:pt x="766404" y="295993"/>
                    <a:pt x="760021" y="308759"/>
                  </a:cubicBezTo>
                  <a:cubicBezTo>
                    <a:pt x="710855" y="407091"/>
                    <a:pt x="792462" y="277911"/>
                    <a:pt x="724395" y="380011"/>
                  </a:cubicBezTo>
                  <a:lnTo>
                    <a:pt x="688769" y="486889"/>
                  </a:lnTo>
                  <a:cubicBezTo>
                    <a:pt x="684256" y="500429"/>
                    <a:pt x="666185" y="504843"/>
                    <a:pt x="653143" y="510639"/>
                  </a:cubicBezTo>
                  <a:cubicBezTo>
                    <a:pt x="630265" y="520807"/>
                    <a:pt x="581891" y="534390"/>
                    <a:pt x="581891" y="534390"/>
                  </a:cubicBezTo>
                  <a:cubicBezTo>
                    <a:pt x="557503" y="607557"/>
                    <a:pt x="579975" y="533056"/>
                    <a:pt x="558141" y="653143"/>
                  </a:cubicBezTo>
                  <a:cubicBezTo>
                    <a:pt x="550964" y="692618"/>
                    <a:pt x="534904" y="734727"/>
                    <a:pt x="522515" y="771896"/>
                  </a:cubicBezTo>
                  <a:cubicBezTo>
                    <a:pt x="517204" y="787828"/>
                    <a:pt x="498764" y="795647"/>
                    <a:pt x="486889" y="807522"/>
                  </a:cubicBezTo>
                  <a:cubicBezTo>
                    <a:pt x="482930" y="819397"/>
                    <a:pt x="483864" y="834297"/>
                    <a:pt x="475013" y="843148"/>
                  </a:cubicBezTo>
                  <a:cubicBezTo>
                    <a:pt x="466162" y="851999"/>
                    <a:pt x="450583" y="849426"/>
                    <a:pt x="439387" y="855024"/>
                  </a:cubicBezTo>
                  <a:cubicBezTo>
                    <a:pt x="426622" y="861407"/>
                    <a:pt x="415636" y="870857"/>
                    <a:pt x="403761" y="878774"/>
                  </a:cubicBezTo>
                  <a:cubicBezTo>
                    <a:pt x="312475" y="817917"/>
                    <a:pt x="360665" y="835966"/>
                    <a:pt x="261257" y="819398"/>
                  </a:cubicBezTo>
                  <a:cubicBezTo>
                    <a:pt x="253340" y="807523"/>
                    <a:pt x="243890" y="796538"/>
                    <a:pt x="237507" y="783772"/>
                  </a:cubicBezTo>
                  <a:cubicBezTo>
                    <a:pt x="218236" y="745230"/>
                    <a:pt x="237281" y="739534"/>
                    <a:pt x="190006" y="712520"/>
                  </a:cubicBezTo>
                  <a:cubicBezTo>
                    <a:pt x="175835" y="704422"/>
                    <a:pt x="158338" y="704603"/>
                    <a:pt x="142504" y="700644"/>
                  </a:cubicBezTo>
                  <a:cubicBezTo>
                    <a:pt x="122489" y="670621"/>
                    <a:pt x="113901" y="664508"/>
                    <a:pt x="106878" y="629392"/>
                  </a:cubicBezTo>
                  <a:cubicBezTo>
                    <a:pt x="99585" y="592926"/>
                    <a:pt x="101013" y="546410"/>
                    <a:pt x="83128" y="510639"/>
                  </a:cubicBezTo>
                  <a:cubicBezTo>
                    <a:pt x="76745" y="497873"/>
                    <a:pt x="67294" y="486888"/>
                    <a:pt x="59377" y="475013"/>
                  </a:cubicBezTo>
                  <a:cubicBezTo>
                    <a:pt x="55419" y="455221"/>
                    <a:pt x="52397" y="435218"/>
                    <a:pt x="47502" y="415637"/>
                  </a:cubicBezTo>
                  <a:cubicBezTo>
                    <a:pt x="44466" y="403493"/>
                    <a:pt x="37865" y="392327"/>
                    <a:pt x="35626" y="380011"/>
                  </a:cubicBezTo>
                  <a:cubicBezTo>
                    <a:pt x="29917" y="348612"/>
                    <a:pt x="26777" y="316778"/>
                    <a:pt x="23751" y="285008"/>
                  </a:cubicBezTo>
                  <a:cubicBezTo>
                    <a:pt x="5576" y="94164"/>
                    <a:pt x="25991" y="187085"/>
                    <a:pt x="0" y="83128"/>
                  </a:cubicBezTo>
                  <a:cubicBezTo>
                    <a:pt x="9263" y="55340"/>
                    <a:pt x="9586" y="30071"/>
                    <a:pt x="47502" y="23751"/>
                  </a:cubicBezTo>
                  <a:cubicBezTo>
                    <a:pt x="59849" y="21693"/>
                    <a:pt x="71253" y="31668"/>
                    <a:pt x="83128" y="35626"/>
                  </a:cubicBezTo>
                  <a:cubicBezTo>
                    <a:pt x="84174" y="41904"/>
                    <a:pt x="78860" y="139461"/>
                    <a:pt x="130629" y="118754"/>
                  </a:cubicBezTo>
                  <a:cubicBezTo>
                    <a:pt x="143881" y="113454"/>
                    <a:pt x="146463" y="95003"/>
                    <a:pt x="154380" y="83128"/>
                  </a:cubicBezTo>
                  <a:cubicBezTo>
                    <a:pt x="182088" y="1"/>
                    <a:pt x="154380" y="19793"/>
                    <a:pt x="213756" y="0"/>
                  </a:cubicBezTo>
                  <a:cubicBezTo>
                    <a:pt x="265539" y="17261"/>
                    <a:pt x="282996" y="16137"/>
                    <a:pt x="320634" y="47502"/>
                  </a:cubicBezTo>
                  <a:cubicBezTo>
                    <a:pt x="333536" y="58253"/>
                    <a:pt x="345509" y="70226"/>
                    <a:pt x="356260" y="83128"/>
                  </a:cubicBezTo>
                  <a:cubicBezTo>
                    <a:pt x="365397" y="94092"/>
                    <a:pt x="372094" y="106879"/>
                    <a:pt x="380011" y="118754"/>
                  </a:cubicBezTo>
                  <a:cubicBezTo>
                    <a:pt x="344630" y="171824"/>
                    <a:pt x="333175" y="175465"/>
                    <a:pt x="320634" y="225631"/>
                  </a:cubicBezTo>
                  <a:cubicBezTo>
                    <a:pt x="315739" y="245213"/>
                    <a:pt x="313654" y="265426"/>
                    <a:pt x="308759" y="285008"/>
                  </a:cubicBezTo>
                  <a:cubicBezTo>
                    <a:pt x="305723" y="297152"/>
                    <a:pt x="302481" y="309438"/>
                    <a:pt x="296883" y="320634"/>
                  </a:cubicBezTo>
                  <a:cubicBezTo>
                    <a:pt x="290500" y="333399"/>
                    <a:pt x="261258" y="348343"/>
                    <a:pt x="273133" y="356260"/>
                  </a:cubicBezTo>
                  <a:cubicBezTo>
                    <a:pt x="289927" y="367456"/>
                    <a:pt x="312717" y="348343"/>
                    <a:pt x="332509" y="344385"/>
                  </a:cubicBezTo>
                  <a:lnTo>
                    <a:pt x="403761" y="296883"/>
                  </a:lnTo>
                  <a:lnTo>
                    <a:pt x="439387" y="273133"/>
                  </a:lnTo>
                  <a:cubicBezTo>
                    <a:pt x="447304" y="285008"/>
                    <a:pt x="451993" y="299843"/>
                    <a:pt x="463138" y="308759"/>
                  </a:cubicBezTo>
                  <a:cubicBezTo>
                    <a:pt x="498619" y="337144"/>
                    <a:pt x="511483" y="314460"/>
                    <a:pt x="534390" y="285008"/>
                  </a:cubicBezTo>
                  <a:cubicBezTo>
                    <a:pt x="608992" y="189091"/>
                    <a:pt x="548549" y="235985"/>
                    <a:pt x="617517" y="190005"/>
                  </a:cubicBezTo>
                  <a:cubicBezTo>
                    <a:pt x="621476" y="178130"/>
                    <a:pt x="617001" y="156149"/>
                    <a:pt x="629393" y="154379"/>
                  </a:cubicBezTo>
                  <a:cubicBezTo>
                    <a:pt x="654177" y="150839"/>
                    <a:pt x="676894" y="170213"/>
                    <a:pt x="700644" y="178130"/>
                  </a:cubicBezTo>
                  <a:cubicBezTo>
                    <a:pt x="704400" y="179382"/>
                    <a:pt x="708561" y="178130"/>
                    <a:pt x="712520" y="178130"/>
                  </a:cubicBezTo>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fontAlgn="base">
                <a:spcBef>
                  <a:spcPct val="0"/>
                </a:spcBef>
                <a:spcAft>
                  <a:spcPct val="0"/>
                </a:spcAft>
                <a:buClrTx/>
              </a:pPr>
              <a:endParaRPr lang="en-US" sz="1050" kern="1200">
                <a:solidFill>
                  <a:prstClr val="black"/>
                </a:solidFill>
                <a:latin typeface="Century Gothic" pitchFamily="34" charset="0"/>
                <a:ea typeface="+mn-ea"/>
                <a:cs typeface="+mn-cs"/>
              </a:endParaRPr>
            </a:p>
          </p:txBody>
        </p:sp>
        <p:sp>
          <p:nvSpPr>
            <p:cNvPr id="25" name="Freeform 24"/>
            <p:cNvSpPr/>
            <p:nvPr/>
          </p:nvSpPr>
          <p:spPr bwMode="gray">
            <a:xfrm>
              <a:off x="1244622" y="5340439"/>
              <a:ext cx="335625" cy="417539"/>
            </a:xfrm>
            <a:custGeom>
              <a:avLst/>
              <a:gdLst>
                <a:gd name="connsiteX0" fmla="*/ 0 w 412900"/>
                <a:gd name="connsiteY0" fmla="*/ 0 h 513675"/>
                <a:gd name="connsiteX1" fmla="*/ 47501 w 412900"/>
                <a:gd name="connsiteY1" fmla="*/ 11876 h 513675"/>
                <a:gd name="connsiteX2" fmla="*/ 106877 w 412900"/>
                <a:gd name="connsiteY2" fmla="*/ 83128 h 513675"/>
                <a:gd name="connsiteX3" fmla="*/ 142503 w 412900"/>
                <a:gd name="connsiteY3" fmla="*/ 118754 h 513675"/>
                <a:gd name="connsiteX4" fmla="*/ 261257 w 412900"/>
                <a:gd name="connsiteY4" fmla="*/ 154380 h 513675"/>
                <a:gd name="connsiteX5" fmla="*/ 273132 w 412900"/>
                <a:gd name="connsiteY5" fmla="*/ 201881 h 513675"/>
                <a:gd name="connsiteX6" fmla="*/ 308758 w 412900"/>
                <a:gd name="connsiteY6" fmla="*/ 190006 h 513675"/>
                <a:gd name="connsiteX7" fmla="*/ 368135 w 412900"/>
                <a:gd name="connsiteY7" fmla="*/ 201881 h 513675"/>
                <a:gd name="connsiteX8" fmla="*/ 380010 w 412900"/>
                <a:gd name="connsiteY8" fmla="*/ 296884 h 513675"/>
                <a:gd name="connsiteX9" fmla="*/ 332509 w 412900"/>
                <a:gd name="connsiteY9" fmla="*/ 320634 h 513675"/>
                <a:gd name="connsiteX10" fmla="*/ 308758 w 412900"/>
                <a:gd name="connsiteY10" fmla="*/ 356260 h 513675"/>
                <a:gd name="connsiteX11" fmla="*/ 332509 w 412900"/>
                <a:gd name="connsiteY11" fmla="*/ 451263 h 513675"/>
                <a:gd name="connsiteX12" fmla="*/ 273132 w 412900"/>
                <a:gd name="connsiteY12" fmla="*/ 498764 h 513675"/>
                <a:gd name="connsiteX13" fmla="*/ 201880 w 412900"/>
                <a:gd name="connsiteY13" fmla="*/ 451263 h 513675"/>
                <a:gd name="connsiteX14" fmla="*/ 154379 w 412900"/>
                <a:gd name="connsiteY14" fmla="*/ 356260 h 513675"/>
                <a:gd name="connsiteX15" fmla="*/ 130628 w 412900"/>
                <a:gd name="connsiteY15" fmla="*/ 285008 h 513675"/>
                <a:gd name="connsiteX16" fmla="*/ 106877 w 412900"/>
                <a:gd name="connsiteY16" fmla="*/ 249382 h 513675"/>
                <a:gd name="connsiteX17" fmla="*/ 71252 w 412900"/>
                <a:gd name="connsiteY17" fmla="*/ 142504 h 513675"/>
                <a:gd name="connsiteX18" fmla="*/ 35626 w 412900"/>
                <a:gd name="connsiteY18" fmla="*/ 106878 h 513675"/>
                <a:gd name="connsiteX19" fmla="*/ 0 w 412900"/>
                <a:gd name="connsiteY19" fmla="*/ 0 h 513675"/>
                <a:gd name="connsiteX20" fmla="*/ 0 w 412900"/>
                <a:gd name="connsiteY20" fmla="*/ 0 h 513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2900" h="513675">
                  <a:moveTo>
                    <a:pt x="0" y="0"/>
                  </a:moveTo>
                  <a:cubicBezTo>
                    <a:pt x="7917" y="1979"/>
                    <a:pt x="33330" y="3778"/>
                    <a:pt x="47501" y="11876"/>
                  </a:cubicBezTo>
                  <a:cubicBezTo>
                    <a:pt x="80620" y="30802"/>
                    <a:pt x="84518" y="56297"/>
                    <a:pt x="106877" y="83128"/>
                  </a:cubicBezTo>
                  <a:cubicBezTo>
                    <a:pt x="117628" y="96030"/>
                    <a:pt x="127822" y="110598"/>
                    <a:pt x="142503" y="118754"/>
                  </a:cubicBezTo>
                  <a:cubicBezTo>
                    <a:pt x="166154" y="131893"/>
                    <a:pt x="230594" y="146714"/>
                    <a:pt x="261257" y="154380"/>
                  </a:cubicBezTo>
                  <a:cubicBezTo>
                    <a:pt x="265215" y="170214"/>
                    <a:pt x="260075" y="192088"/>
                    <a:pt x="273132" y="201881"/>
                  </a:cubicBezTo>
                  <a:cubicBezTo>
                    <a:pt x="283146" y="209392"/>
                    <a:pt x="296240" y="190006"/>
                    <a:pt x="308758" y="190006"/>
                  </a:cubicBezTo>
                  <a:cubicBezTo>
                    <a:pt x="328942" y="190006"/>
                    <a:pt x="348343" y="197923"/>
                    <a:pt x="368135" y="201881"/>
                  </a:cubicBezTo>
                  <a:cubicBezTo>
                    <a:pt x="390200" y="234980"/>
                    <a:pt x="412900" y="250837"/>
                    <a:pt x="380010" y="296884"/>
                  </a:cubicBezTo>
                  <a:cubicBezTo>
                    <a:pt x="369721" y="311289"/>
                    <a:pt x="348343" y="312717"/>
                    <a:pt x="332509" y="320634"/>
                  </a:cubicBezTo>
                  <a:cubicBezTo>
                    <a:pt x="324592" y="332509"/>
                    <a:pt x="310528" y="342098"/>
                    <a:pt x="308758" y="356260"/>
                  </a:cubicBezTo>
                  <a:cubicBezTo>
                    <a:pt x="306152" y="377107"/>
                    <a:pt x="324753" y="427996"/>
                    <a:pt x="332509" y="451263"/>
                  </a:cubicBezTo>
                  <a:cubicBezTo>
                    <a:pt x="323096" y="479499"/>
                    <a:pt x="322836" y="513675"/>
                    <a:pt x="273132" y="498764"/>
                  </a:cubicBezTo>
                  <a:cubicBezTo>
                    <a:pt x="245791" y="490562"/>
                    <a:pt x="201880" y="451263"/>
                    <a:pt x="201880" y="451263"/>
                  </a:cubicBezTo>
                  <a:cubicBezTo>
                    <a:pt x="171720" y="300457"/>
                    <a:pt x="216751" y="468529"/>
                    <a:pt x="154379" y="356260"/>
                  </a:cubicBezTo>
                  <a:cubicBezTo>
                    <a:pt x="142221" y="334375"/>
                    <a:pt x="138545" y="308759"/>
                    <a:pt x="130628" y="285008"/>
                  </a:cubicBezTo>
                  <a:cubicBezTo>
                    <a:pt x="126115" y="271468"/>
                    <a:pt x="114794" y="261257"/>
                    <a:pt x="106877" y="249382"/>
                  </a:cubicBezTo>
                  <a:lnTo>
                    <a:pt x="71252" y="142504"/>
                  </a:lnTo>
                  <a:cubicBezTo>
                    <a:pt x="65941" y="126572"/>
                    <a:pt x="47501" y="118753"/>
                    <a:pt x="35626" y="106878"/>
                  </a:cubicBezTo>
                  <a:lnTo>
                    <a:pt x="0" y="0"/>
                  </a:lnTo>
                  <a:lnTo>
                    <a:pt x="0" y="0"/>
                  </a:ln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fontAlgn="base">
                <a:spcBef>
                  <a:spcPct val="0"/>
                </a:spcBef>
                <a:spcAft>
                  <a:spcPct val="0"/>
                </a:spcAft>
                <a:buClrTx/>
              </a:pPr>
              <a:endParaRPr lang="en-US" sz="1050" kern="1200">
                <a:solidFill>
                  <a:prstClr val="black"/>
                </a:solidFill>
                <a:latin typeface="Century Gothic" pitchFamily="34" charset="0"/>
                <a:ea typeface="+mn-ea"/>
                <a:cs typeface="+mn-cs"/>
              </a:endParaRPr>
            </a:p>
          </p:txBody>
        </p:sp>
        <p:sp>
          <p:nvSpPr>
            <p:cNvPr id="26" name="Freeform 25"/>
            <p:cNvSpPr/>
            <p:nvPr/>
          </p:nvSpPr>
          <p:spPr bwMode="gray">
            <a:xfrm>
              <a:off x="1460723" y="5148404"/>
              <a:ext cx="469250" cy="471375"/>
            </a:xfrm>
            <a:custGeom>
              <a:avLst/>
              <a:gdLst>
                <a:gd name="connsiteX0" fmla="*/ 149780 w 577292"/>
                <a:gd name="connsiteY0" fmla="*/ 463138 h 507234"/>
                <a:gd name="connsiteX1" fmla="*/ 137905 w 577292"/>
                <a:gd name="connsiteY1" fmla="*/ 427512 h 507234"/>
                <a:gd name="connsiteX2" fmla="*/ 90403 w 577292"/>
                <a:gd name="connsiteY2" fmla="*/ 415637 h 507234"/>
                <a:gd name="connsiteX3" fmla="*/ 54777 w 577292"/>
                <a:gd name="connsiteY3" fmla="*/ 403761 h 507234"/>
                <a:gd name="connsiteX4" fmla="*/ 19151 w 577292"/>
                <a:gd name="connsiteY4" fmla="*/ 415637 h 507234"/>
                <a:gd name="connsiteX5" fmla="*/ 7276 w 577292"/>
                <a:gd name="connsiteY5" fmla="*/ 380011 h 507234"/>
                <a:gd name="connsiteX6" fmla="*/ 78528 w 577292"/>
                <a:gd name="connsiteY6" fmla="*/ 332509 h 507234"/>
                <a:gd name="connsiteX7" fmla="*/ 90403 w 577292"/>
                <a:gd name="connsiteY7" fmla="*/ 296883 h 507234"/>
                <a:gd name="connsiteX8" fmla="*/ 137905 w 577292"/>
                <a:gd name="connsiteY8" fmla="*/ 225631 h 507234"/>
                <a:gd name="connsiteX9" fmla="*/ 173531 w 577292"/>
                <a:gd name="connsiteY9" fmla="*/ 71252 h 507234"/>
                <a:gd name="connsiteX10" fmla="*/ 185406 w 577292"/>
                <a:gd name="connsiteY10" fmla="*/ 35626 h 507234"/>
                <a:gd name="connsiteX11" fmla="*/ 221032 w 577292"/>
                <a:gd name="connsiteY11" fmla="*/ 23751 h 507234"/>
                <a:gd name="connsiteX12" fmla="*/ 244783 w 577292"/>
                <a:gd name="connsiteY12" fmla="*/ 59377 h 507234"/>
                <a:gd name="connsiteX13" fmla="*/ 256658 w 577292"/>
                <a:gd name="connsiteY13" fmla="*/ 106878 h 507234"/>
                <a:gd name="connsiteX14" fmla="*/ 292284 w 577292"/>
                <a:gd name="connsiteY14" fmla="*/ 83127 h 507234"/>
                <a:gd name="connsiteX15" fmla="*/ 351660 w 577292"/>
                <a:gd name="connsiteY15" fmla="*/ 0 h 507234"/>
                <a:gd name="connsiteX16" fmla="*/ 399162 w 577292"/>
                <a:gd name="connsiteY16" fmla="*/ 11876 h 507234"/>
                <a:gd name="connsiteX17" fmla="*/ 411037 w 577292"/>
                <a:gd name="connsiteY17" fmla="*/ 47502 h 507234"/>
                <a:gd name="connsiteX18" fmla="*/ 446663 w 577292"/>
                <a:gd name="connsiteY18" fmla="*/ 59377 h 507234"/>
                <a:gd name="connsiteX19" fmla="*/ 470414 w 577292"/>
                <a:gd name="connsiteY19" fmla="*/ 130629 h 507234"/>
                <a:gd name="connsiteX20" fmla="*/ 482289 w 577292"/>
                <a:gd name="connsiteY20" fmla="*/ 166255 h 507234"/>
                <a:gd name="connsiteX21" fmla="*/ 517915 w 577292"/>
                <a:gd name="connsiteY21" fmla="*/ 178130 h 507234"/>
                <a:gd name="connsiteX22" fmla="*/ 565416 w 577292"/>
                <a:gd name="connsiteY22" fmla="*/ 190005 h 507234"/>
                <a:gd name="connsiteX23" fmla="*/ 577292 w 577292"/>
                <a:gd name="connsiteY23" fmla="*/ 225631 h 507234"/>
                <a:gd name="connsiteX24" fmla="*/ 541666 w 577292"/>
                <a:gd name="connsiteY24" fmla="*/ 344385 h 507234"/>
                <a:gd name="connsiteX25" fmla="*/ 529790 w 577292"/>
                <a:gd name="connsiteY25" fmla="*/ 380011 h 507234"/>
                <a:gd name="connsiteX26" fmla="*/ 494164 w 577292"/>
                <a:gd name="connsiteY26" fmla="*/ 391886 h 507234"/>
                <a:gd name="connsiteX27" fmla="*/ 422912 w 577292"/>
                <a:gd name="connsiteY27" fmla="*/ 380011 h 507234"/>
                <a:gd name="connsiteX28" fmla="*/ 387286 w 577292"/>
                <a:gd name="connsiteY28" fmla="*/ 368135 h 507234"/>
                <a:gd name="connsiteX29" fmla="*/ 316034 w 577292"/>
                <a:gd name="connsiteY29" fmla="*/ 403761 h 507234"/>
                <a:gd name="connsiteX30" fmla="*/ 292284 w 577292"/>
                <a:gd name="connsiteY30" fmla="*/ 439387 h 507234"/>
                <a:gd name="connsiteX31" fmla="*/ 268533 w 577292"/>
                <a:gd name="connsiteY31" fmla="*/ 498764 h 507234"/>
                <a:gd name="connsiteX32" fmla="*/ 161655 w 577292"/>
                <a:gd name="connsiteY32" fmla="*/ 451263 h 507234"/>
                <a:gd name="connsiteX33" fmla="*/ 149780 w 577292"/>
                <a:gd name="connsiteY33" fmla="*/ 463138 h 507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77292" h="507234">
                  <a:moveTo>
                    <a:pt x="149780" y="463138"/>
                  </a:moveTo>
                  <a:cubicBezTo>
                    <a:pt x="145822" y="451263"/>
                    <a:pt x="147680" y="435332"/>
                    <a:pt x="137905" y="427512"/>
                  </a:cubicBezTo>
                  <a:cubicBezTo>
                    <a:pt x="125160" y="417316"/>
                    <a:pt x="106096" y="420121"/>
                    <a:pt x="90403" y="415637"/>
                  </a:cubicBezTo>
                  <a:cubicBezTo>
                    <a:pt x="78367" y="412198"/>
                    <a:pt x="66652" y="407720"/>
                    <a:pt x="54777" y="403761"/>
                  </a:cubicBezTo>
                  <a:cubicBezTo>
                    <a:pt x="42902" y="407720"/>
                    <a:pt x="30347" y="421235"/>
                    <a:pt x="19151" y="415637"/>
                  </a:cubicBezTo>
                  <a:cubicBezTo>
                    <a:pt x="7955" y="410039"/>
                    <a:pt x="0" y="390197"/>
                    <a:pt x="7276" y="380011"/>
                  </a:cubicBezTo>
                  <a:cubicBezTo>
                    <a:pt x="23867" y="356783"/>
                    <a:pt x="78528" y="332509"/>
                    <a:pt x="78528" y="332509"/>
                  </a:cubicBezTo>
                  <a:cubicBezTo>
                    <a:pt x="82486" y="320634"/>
                    <a:pt x="84324" y="307825"/>
                    <a:pt x="90403" y="296883"/>
                  </a:cubicBezTo>
                  <a:cubicBezTo>
                    <a:pt x="104266" y="271930"/>
                    <a:pt x="137905" y="225631"/>
                    <a:pt x="137905" y="225631"/>
                  </a:cubicBezTo>
                  <a:cubicBezTo>
                    <a:pt x="162545" y="151708"/>
                    <a:pt x="147325" y="202280"/>
                    <a:pt x="173531" y="71252"/>
                  </a:cubicBezTo>
                  <a:cubicBezTo>
                    <a:pt x="175986" y="58977"/>
                    <a:pt x="176555" y="44477"/>
                    <a:pt x="185406" y="35626"/>
                  </a:cubicBezTo>
                  <a:cubicBezTo>
                    <a:pt x="194257" y="26775"/>
                    <a:pt x="209157" y="27709"/>
                    <a:pt x="221032" y="23751"/>
                  </a:cubicBezTo>
                  <a:cubicBezTo>
                    <a:pt x="228949" y="35626"/>
                    <a:pt x="239161" y="46259"/>
                    <a:pt x="244783" y="59377"/>
                  </a:cubicBezTo>
                  <a:cubicBezTo>
                    <a:pt x="251212" y="74378"/>
                    <a:pt x="242060" y="99579"/>
                    <a:pt x="256658" y="106878"/>
                  </a:cubicBezTo>
                  <a:cubicBezTo>
                    <a:pt x="269424" y="113261"/>
                    <a:pt x="280409" y="91044"/>
                    <a:pt x="292284" y="83127"/>
                  </a:cubicBezTo>
                  <a:cubicBezTo>
                    <a:pt x="319992" y="1"/>
                    <a:pt x="292284" y="19793"/>
                    <a:pt x="351660" y="0"/>
                  </a:cubicBezTo>
                  <a:cubicBezTo>
                    <a:pt x="367494" y="3959"/>
                    <a:pt x="386417" y="1680"/>
                    <a:pt x="399162" y="11876"/>
                  </a:cubicBezTo>
                  <a:cubicBezTo>
                    <a:pt x="408937" y="19696"/>
                    <a:pt x="402186" y="38651"/>
                    <a:pt x="411037" y="47502"/>
                  </a:cubicBezTo>
                  <a:cubicBezTo>
                    <a:pt x="419888" y="56353"/>
                    <a:pt x="434788" y="55419"/>
                    <a:pt x="446663" y="59377"/>
                  </a:cubicBezTo>
                  <a:lnTo>
                    <a:pt x="470414" y="130629"/>
                  </a:lnTo>
                  <a:lnTo>
                    <a:pt x="482289" y="166255"/>
                  </a:lnTo>
                  <a:cubicBezTo>
                    <a:pt x="486247" y="178130"/>
                    <a:pt x="505879" y="174691"/>
                    <a:pt x="517915" y="178130"/>
                  </a:cubicBezTo>
                  <a:cubicBezTo>
                    <a:pt x="533608" y="182614"/>
                    <a:pt x="549582" y="186047"/>
                    <a:pt x="565416" y="190005"/>
                  </a:cubicBezTo>
                  <a:cubicBezTo>
                    <a:pt x="569375" y="201880"/>
                    <a:pt x="577292" y="213113"/>
                    <a:pt x="577292" y="225631"/>
                  </a:cubicBezTo>
                  <a:cubicBezTo>
                    <a:pt x="577292" y="295489"/>
                    <a:pt x="565313" y="289209"/>
                    <a:pt x="541666" y="344385"/>
                  </a:cubicBezTo>
                  <a:cubicBezTo>
                    <a:pt x="536735" y="355891"/>
                    <a:pt x="538641" y="371160"/>
                    <a:pt x="529790" y="380011"/>
                  </a:cubicBezTo>
                  <a:cubicBezTo>
                    <a:pt x="520939" y="388862"/>
                    <a:pt x="506039" y="387928"/>
                    <a:pt x="494164" y="391886"/>
                  </a:cubicBezTo>
                  <a:cubicBezTo>
                    <a:pt x="470413" y="387928"/>
                    <a:pt x="446417" y="385234"/>
                    <a:pt x="422912" y="380011"/>
                  </a:cubicBezTo>
                  <a:cubicBezTo>
                    <a:pt x="410692" y="377295"/>
                    <a:pt x="399804" y="368135"/>
                    <a:pt x="387286" y="368135"/>
                  </a:cubicBezTo>
                  <a:cubicBezTo>
                    <a:pt x="362705" y="368135"/>
                    <a:pt x="334045" y="391754"/>
                    <a:pt x="316034" y="403761"/>
                  </a:cubicBezTo>
                  <a:cubicBezTo>
                    <a:pt x="308117" y="415636"/>
                    <a:pt x="294302" y="425258"/>
                    <a:pt x="292284" y="439387"/>
                  </a:cubicBezTo>
                  <a:cubicBezTo>
                    <a:pt x="282592" y="507234"/>
                    <a:pt x="338512" y="475438"/>
                    <a:pt x="268533" y="498764"/>
                  </a:cubicBezTo>
                  <a:cubicBezTo>
                    <a:pt x="212075" y="461125"/>
                    <a:pt x="246449" y="479528"/>
                    <a:pt x="161655" y="451263"/>
                  </a:cubicBezTo>
                  <a:lnTo>
                    <a:pt x="149780" y="463138"/>
                  </a:ln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fontAlgn="base">
                <a:spcBef>
                  <a:spcPct val="0"/>
                </a:spcBef>
                <a:spcAft>
                  <a:spcPct val="0"/>
                </a:spcAft>
                <a:buClrTx/>
              </a:pPr>
              <a:endParaRPr lang="en-US" sz="1050" kern="1200">
                <a:solidFill>
                  <a:prstClr val="black"/>
                </a:solidFill>
                <a:latin typeface="Century Gothic" pitchFamily="34" charset="0"/>
                <a:ea typeface="+mn-ea"/>
                <a:cs typeface="+mn-cs"/>
              </a:endParaRPr>
            </a:p>
          </p:txBody>
        </p:sp>
        <p:grpSp>
          <p:nvGrpSpPr>
            <p:cNvPr id="27" name="Group 50"/>
            <p:cNvGrpSpPr/>
            <p:nvPr/>
          </p:nvGrpSpPr>
          <p:grpSpPr bwMode="gray">
            <a:xfrm>
              <a:off x="1899858" y="5180920"/>
              <a:ext cx="327430" cy="694451"/>
              <a:chOff x="3237069" y="5652655"/>
              <a:chExt cx="402819" cy="783771"/>
            </a:xfrm>
            <a:grpFill/>
          </p:grpSpPr>
          <p:sp>
            <p:nvSpPr>
              <p:cNvPr id="34" name="Freeform 33"/>
              <p:cNvSpPr/>
              <p:nvPr/>
            </p:nvSpPr>
            <p:spPr bwMode="gray">
              <a:xfrm>
                <a:off x="3237069" y="5652655"/>
                <a:ext cx="305318" cy="747253"/>
              </a:xfrm>
              <a:custGeom>
                <a:avLst/>
                <a:gdLst>
                  <a:gd name="connsiteX0" fmla="*/ 16770 w 305318"/>
                  <a:gd name="connsiteY0" fmla="*/ 368135 h 747253"/>
                  <a:gd name="connsiteX1" fmla="*/ 28645 w 305318"/>
                  <a:gd name="connsiteY1" fmla="*/ 332509 h 747253"/>
                  <a:gd name="connsiteX2" fmla="*/ 52396 w 305318"/>
                  <a:gd name="connsiteY2" fmla="*/ 249381 h 747253"/>
                  <a:gd name="connsiteX3" fmla="*/ 40521 w 305318"/>
                  <a:gd name="connsiteY3" fmla="*/ 201880 h 747253"/>
                  <a:gd name="connsiteX4" fmla="*/ 4895 w 305318"/>
                  <a:gd name="connsiteY4" fmla="*/ 178129 h 747253"/>
                  <a:gd name="connsiteX5" fmla="*/ 16770 w 305318"/>
                  <a:gd name="connsiteY5" fmla="*/ 142503 h 747253"/>
                  <a:gd name="connsiteX6" fmla="*/ 52396 w 305318"/>
                  <a:gd name="connsiteY6" fmla="*/ 130628 h 747253"/>
                  <a:gd name="connsiteX7" fmla="*/ 135523 w 305318"/>
                  <a:gd name="connsiteY7" fmla="*/ 118753 h 747253"/>
                  <a:gd name="connsiteX8" fmla="*/ 159274 w 305318"/>
                  <a:gd name="connsiteY8" fmla="*/ 83127 h 747253"/>
                  <a:gd name="connsiteX9" fmla="*/ 206775 w 305318"/>
                  <a:gd name="connsiteY9" fmla="*/ 11875 h 747253"/>
                  <a:gd name="connsiteX10" fmla="*/ 242401 w 305318"/>
                  <a:gd name="connsiteY10" fmla="*/ 0 h 747253"/>
                  <a:gd name="connsiteX11" fmla="*/ 266152 w 305318"/>
                  <a:gd name="connsiteY11" fmla="*/ 35626 h 747253"/>
                  <a:gd name="connsiteX12" fmla="*/ 301778 w 305318"/>
                  <a:gd name="connsiteY12" fmla="*/ 47501 h 747253"/>
                  <a:gd name="connsiteX13" fmla="*/ 278027 w 305318"/>
                  <a:gd name="connsiteY13" fmla="*/ 118753 h 747253"/>
                  <a:gd name="connsiteX14" fmla="*/ 266152 w 305318"/>
                  <a:gd name="connsiteY14" fmla="*/ 166254 h 747253"/>
                  <a:gd name="connsiteX15" fmla="*/ 242401 w 305318"/>
                  <a:gd name="connsiteY15" fmla="*/ 368135 h 747253"/>
                  <a:gd name="connsiteX16" fmla="*/ 218650 w 305318"/>
                  <a:gd name="connsiteY16" fmla="*/ 546264 h 747253"/>
                  <a:gd name="connsiteX17" fmla="*/ 194900 w 305318"/>
                  <a:gd name="connsiteY17" fmla="*/ 665018 h 747253"/>
                  <a:gd name="connsiteX18" fmla="*/ 171149 w 305318"/>
                  <a:gd name="connsiteY18" fmla="*/ 700644 h 747253"/>
                  <a:gd name="connsiteX19" fmla="*/ 159274 w 305318"/>
                  <a:gd name="connsiteY19" fmla="*/ 736270 h 747253"/>
                  <a:gd name="connsiteX20" fmla="*/ 76147 w 305318"/>
                  <a:gd name="connsiteY20" fmla="*/ 700644 h 747253"/>
                  <a:gd name="connsiteX21" fmla="*/ 40521 w 305318"/>
                  <a:gd name="connsiteY21" fmla="*/ 688768 h 747253"/>
                  <a:gd name="connsiteX22" fmla="*/ 4895 w 305318"/>
                  <a:gd name="connsiteY22" fmla="*/ 653142 h 747253"/>
                  <a:gd name="connsiteX23" fmla="*/ 16770 w 305318"/>
                  <a:gd name="connsiteY23" fmla="*/ 593766 h 747253"/>
                  <a:gd name="connsiteX24" fmla="*/ 76147 w 305318"/>
                  <a:gd name="connsiteY24" fmla="*/ 510639 h 747253"/>
                  <a:gd name="connsiteX25" fmla="*/ 88022 w 305318"/>
                  <a:gd name="connsiteY25" fmla="*/ 475013 h 747253"/>
                  <a:gd name="connsiteX26" fmla="*/ 76147 w 305318"/>
                  <a:gd name="connsiteY26" fmla="*/ 439387 h 747253"/>
                  <a:gd name="connsiteX27" fmla="*/ 28645 w 305318"/>
                  <a:gd name="connsiteY27" fmla="*/ 368135 h 747253"/>
                  <a:gd name="connsiteX28" fmla="*/ 16770 w 305318"/>
                  <a:gd name="connsiteY28" fmla="*/ 368135 h 74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5318" h="747253">
                    <a:moveTo>
                      <a:pt x="16770" y="368135"/>
                    </a:moveTo>
                    <a:cubicBezTo>
                      <a:pt x="20728" y="356260"/>
                      <a:pt x="25206" y="344545"/>
                      <a:pt x="28645" y="332509"/>
                    </a:cubicBezTo>
                    <a:cubicBezTo>
                      <a:pt x="58468" y="228129"/>
                      <a:pt x="23924" y="334799"/>
                      <a:pt x="52396" y="249381"/>
                    </a:cubicBezTo>
                    <a:cubicBezTo>
                      <a:pt x="48438" y="233547"/>
                      <a:pt x="49574" y="215460"/>
                      <a:pt x="40521" y="201880"/>
                    </a:cubicBezTo>
                    <a:cubicBezTo>
                      <a:pt x="32604" y="190005"/>
                      <a:pt x="10196" y="191381"/>
                      <a:pt x="4895" y="178129"/>
                    </a:cubicBezTo>
                    <a:cubicBezTo>
                      <a:pt x="246" y="166507"/>
                      <a:pt x="7919" y="151354"/>
                      <a:pt x="16770" y="142503"/>
                    </a:cubicBezTo>
                    <a:cubicBezTo>
                      <a:pt x="25621" y="133652"/>
                      <a:pt x="40121" y="133083"/>
                      <a:pt x="52396" y="130628"/>
                    </a:cubicBezTo>
                    <a:cubicBezTo>
                      <a:pt x="79843" y="125139"/>
                      <a:pt x="107814" y="122711"/>
                      <a:pt x="135523" y="118753"/>
                    </a:cubicBezTo>
                    <a:cubicBezTo>
                      <a:pt x="143440" y="106878"/>
                      <a:pt x="152891" y="95893"/>
                      <a:pt x="159274" y="83127"/>
                    </a:cubicBezTo>
                    <a:cubicBezTo>
                      <a:pt x="181062" y="39551"/>
                      <a:pt x="156123" y="45643"/>
                      <a:pt x="206775" y="11875"/>
                    </a:cubicBezTo>
                    <a:cubicBezTo>
                      <a:pt x="217190" y="4931"/>
                      <a:pt x="230526" y="3958"/>
                      <a:pt x="242401" y="0"/>
                    </a:cubicBezTo>
                    <a:cubicBezTo>
                      <a:pt x="250318" y="11875"/>
                      <a:pt x="255007" y="26710"/>
                      <a:pt x="266152" y="35626"/>
                    </a:cubicBezTo>
                    <a:cubicBezTo>
                      <a:pt x="275927" y="43446"/>
                      <a:pt x="300008" y="35109"/>
                      <a:pt x="301778" y="47501"/>
                    </a:cubicBezTo>
                    <a:cubicBezTo>
                      <a:pt x="305318" y="72285"/>
                      <a:pt x="284099" y="94465"/>
                      <a:pt x="278027" y="118753"/>
                    </a:cubicBezTo>
                    <a:cubicBezTo>
                      <a:pt x="274069" y="134587"/>
                      <a:pt x="269072" y="150196"/>
                      <a:pt x="266152" y="166254"/>
                    </a:cubicBezTo>
                    <a:cubicBezTo>
                      <a:pt x="255297" y="225956"/>
                      <a:pt x="247613" y="310796"/>
                      <a:pt x="242401" y="368135"/>
                    </a:cubicBezTo>
                    <a:cubicBezTo>
                      <a:pt x="227872" y="527955"/>
                      <a:pt x="246024" y="464148"/>
                      <a:pt x="218650" y="546264"/>
                    </a:cubicBezTo>
                    <a:cubicBezTo>
                      <a:pt x="215971" y="562336"/>
                      <a:pt x="204562" y="642473"/>
                      <a:pt x="194900" y="665018"/>
                    </a:cubicBezTo>
                    <a:cubicBezTo>
                      <a:pt x="189278" y="678136"/>
                      <a:pt x="179066" y="688769"/>
                      <a:pt x="171149" y="700644"/>
                    </a:cubicBezTo>
                    <a:cubicBezTo>
                      <a:pt x="167191" y="712519"/>
                      <a:pt x="170896" y="731621"/>
                      <a:pt x="159274" y="736270"/>
                    </a:cubicBezTo>
                    <a:cubicBezTo>
                      <a:pt x="131815" y="747253"/>
                      <a:pt x="95719" y="710430"/>
                      <a:pt x="76147" y="700644"/>
                    </a:cubicBezTo>
                    <a:cubicBezTo>
                      <a:pt x="64951" y="695046"/>
                      <a:pt x="52396" y="692727"/>
                      <a:pt x="40521" y="688768"/>
                    </a:cubicBezTo>
                    <a:cubicBezTo>
                      <a:pt x="28646" y="676893"/>
                      <a:pt x="8968" y="669435"/>
                      <a:pt x="4895" y="653142"/>
                    </a:cubicBezTo>
                    <a:cubicBezTo>
                      <a:pt x="0" y="633561"/>
                      <a:pt x="11459" y="613239"/>
                      <a:pt x="16770" y="593766"/>
                    </a:cubicBezTo>
                    <a:cubicBezTo>
                      <a:pt x="38937" y="512486"/>
                      <a:pt x="19541" y="529507"/>
                      <a:pt x="76147" y="510639"/>
                    </a:cubicBezTo>
                    <a:cubicBezTo>
                      <a:pt x="80105" y="498764"/>
                      <a:pt x="88022" y="487531"/>
                      <a:pt x="88022" y="475013"/>
                    </a:cubicBezTo>
                    <a:cubicBezTo>
                      <a:pt x="88022" y="462495"/>
                      <a:pt x="82226" y="450329"/>
                      <a:pt x="76147" y="439387"/>
                    </a:cubicBezTo>
                    <a:cubicBezTo>
                      <a:pt x="62284" y="414434"/>
                      <a:pt x="28645" y="396680"/>
                      <a:pt x="28645" y="368135"/>
                    </a:cubicBezTo>
                    <a:lnTo>
                      <a:pt x="16770" y="368135"/>
                    </a:ln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fontAlgn="base">
                  <a:spcBef>
                    <a:spcPct val="0"/>
                  </a:spcBef>
                  <a:spcAft>
                    <a:spcPct val="0"/>
                  </a:spcAft>
                  <a:buClrTx/>
                </a:pPr>
                <a:endParaRPr lang="en-US" sz="1050" kern="1200">
                  <a:solidFill>
                    <a:prstClr val="black"/>
                  </a:solidFill>
                  <a:latin typeface="Century Gothic" pitchFamily="34" charset="0"/>
                  <a:ea typeface="+mn-ea"/>
                  <a:cs typeface="+mn-cs"/>
                </a:endParaRPr>
              </a:p>
            </p:txBody>
          </p:sp>
          <p:sp>
            <p:nvSpPr>
              <p:cNvPr id="35" name="Freeform 34"/>
              <p:cNvSpPr/>
              <p:nvPr/>
            </p:nvSpPr>
            <p:spPr bwMode="gray">
              <a:xfrm>
                <a:off x="3467595" y="5947559"/>
                <a:ext cx="172293" cy="488867"/>
              </a:xfrm>
              <a:custGeom>
                <a:avLst/>
                <a:gdLst>
                  <a:gd name="connsiteX0" fmla="*/ 154379 w 172293"/>
                  <a:gd name="connsiteY0" fmla="*/ 1979 h 488867"/>
                  <a:gd name="connsiteX1" fmla="*/ 154379 w 172293"/>
                  <a:gd name="connsiteY1" fmla="*/ 108857 h 488867"/>
                  <a:gd name="connsiteX2" fmla="*/ 130628 w 172293"/>
                  <a:gd name="connsiteY2" fmla="*/ 180109 h 488867"/>
                  <a:gd name="connsiteX3" fmla="*/ 106878 w 172293"/>
                  <a:gd name="connsiteY3" fmla="*/ 251360 h 488867"/>
                  <a:gd name="connsiteX4" fmla="*/ 83127 w 172293"/>
                  <a:gd name="connsiteY4" fmla="*/ 334488 h 488867"/>
                  <a:gd name="connsiteX5" fmla="*/ 59376 w 172293"/>
                  <a:gd name="connsiteY5" fmla="*/ 405740 h 488867"/>
                  <a:gd name="connsiteX6" fmla="*/ 47501 w 172293"/>
                  <a:gd name="connsiteY6" fmla="*/ 441366 h 488867"/>
                  <a:gd name="connsiteX7" fmla="*/ 35626 w 172293"/>
                  <a:gd name="connsiteY7" fmla="*/ 476992 h 488867"/>
                  <a:gd name="connsiteX8" fmla="*/ 0 w 172293"/>
                  <a:gd name="connsiteY8" fmla="*/ 488867 h 488867"/>
                  <a:gd name="connsiteX9" fmla="*/ 11875 w 172293"/>
                  <a:gd name="connsiteY9" fmla="*/ 405740 h 488867"/>
                  <a:gd name="connsiteX10" fmla="*/ 23750 w 172293"/>
                  <a:gd name="connsiteY10" fmla="*/ 370114 h 488867"/>
                  <a:gd name="connsiteX11" fmla="*/ 59376 w 172293"/>
                  <a:gd name="connsiteY11" fmla="*/ 239485 h 488867"/>
                  <a:gd name="connsiteX12" fmla="*/ 71252 w 172293"/>
                  <a:gd name="connsiteY12" fmla="*/ 203859 h 488867"/>
                  <a:gd name="connsiteX13" fmla="*/ 83127 w 172293"/>
                  <a:gd name="connsiteY13" fmla="*/ 168233 h 488867"/>
                  <a:gd name="connsiteX14" fmla="*/ 106878 w 172293"/>
                  <a:gd name="connsiteY14" fmla="*/ 132607 h 488867"/>
                  <a:gd name="connsiteX15" fmla="*/ 118753 w 172293"/>
                  <a:gd name="connsiteY15" fmla="*/ 96981 h 488867"/>
                  <a:gd name="connsiteX16" fmla="*/ 154379 w 172293"/>
                  <a:gd name="connsiteY16" fmla="*/ 1979 h 488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2293" h="488867">
                    <a:moveTo>
                      <a:pt x="154379" y="1979"/>
                    </a:moveTo>
                    <a:cubicBezTo>
                      <a:pt x="160317" y="3958"/>
                      <a:pt x="172293" y="37201"/>
                      <a:pt x="154379" y="108857"/>
                    </a:cubicBezTo>
                    <a:cubicBezTo>
                      <a:pt x="148307" y="133145"/>
                      <a:pt x="138545" y="156358"/>
                      <a:pt x="130628" y="180109"/>
                    </a:cubicBezTo>
                    <a:lnTo>
                      <a:pt x="106878" y="251360"/>
                    </a:lnTo>
                    <a:cubicBezTo>
                      <a:pt x="66966" y="371093"/>
                      <a:pt x="127863" y="185368"/>
                      <a:pt x="83127" y="334488"/>
                    </a:cubicBezTo>
                    <a:cubicBezTo>
                      <a:pt x="75933" y="358468"/>
                      <a:pt x="67293" y="381989"/>
                      <a:pt x="59376" y="405740"/>
                    </a:cubicBezTo>
                    <a:lnTo>
                      <a:pt x="47501" y="441366"/>
                    </a:lnTo>
                    <a:cubicBezTo>
                      <a:pt x="43543" y="453241"/>
                      <a:pt x="47501" y="473034"/>
                      <a:pt x="35626" y="476992"/>
                    </a:cubicBezTo>
                    <a:lnTo>
                      <a:pt x="0" y="488867"/>
                    </a:lnTo>
                    <a:cubicBezTo>
                      <a:pt x="3958" y="461158"/>
                      <a:pt x="6386" y="433187"/>
                      <a:pt x="11875" y="405740"/>
                    </a:cubicBezTo>
                    <a:cubicBezTo>
                      <a:pt x="14330" y="393465"/>
                      <a:pt x="20714" y="382258"/>
                      <a:pt x="23750" y="370114"/>
                    </a:cubicBezTo>
                    <a:cubicBezTo>
                      <a:pt x="57317" y="235846"/>
                      <a:pt x="8429" y="392326"/>
                      <a:pt x="59376" y="239485"/>
                    </a:cubicBezTo>
                    <a:lnTo>
                      <a:pt x="71252" y="203859"/>
                    </a:lnTo>
                    <a:cubicBezTo>
                      <a:pt x="75210" y="191984"/>
                      <a:pt x="76183" y="178648"/>
                      <a:pt x="83127" y="168233"/>
                    </a:cubicBezTo>
                    <a:lnTo>
                      <a:pt x="106878" y="132607"/>
                    </a:lnTo>
                    <a:cubicBezTo>
                      <a:pt x="110836" y="120732"/>
                      <a:pt x="113155" y="108177"/>
                      <a:pt x="118753" y="96981"/>
                    </a:cubicBezTo>
                    <a:cubicBezTo>
                      <a:pt x="133733" y="67021"/>
                      <a:pt x="148441" y="0"/>
                      <a:pt x="154379" y="1979"/>
                    </a:cubicBez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fontAlgn="base">
                  <a:spcBef>
                    <a:spcPct val="0"/>
                  </a:spcBef>
                  <a:spcAft>
                    <a:spcPct val="0"/>
                  </a:spcAft>
                  <a:buClrTx/>
                </a:pPr>
                <a:endParaRPr lang="en-US" sz="1050" kern="1200">
                  <a:solidFill>
                    <a:prstClr val="black"/>
                  </a:solidFill>
                  <a:latin typeface="Century Gothic" pitchFamily="34" charset="0"/>
                  <a:ea typeface="+mn-ea"/>
                  <a:cs typeface="+mn-cs"/>
                </a:endParaRPr>
              </a:p>
            </p:txBody>
          </p:sp>
        </p:grpSp>
        <p:sp>
          <p:nvSpPr>
            <p:cNvPr id="28" name="Freeform 27"/>
            <p:cNvSpPr/>
            <p:nvPr/>
          </p:nvSpPr>
          <p:spPr bwMode="gray">
            <a:xfrm>
              <a:off x="2360577" y="5268301"/>
              <a:ext cx="205393" cy="368480"/>
            </a:xfrm>
            <a:custGeom>
              <a:avLst/>
              <a:gdLst>
                <a:gd name="connsiteX0" fmla="*/ 38927 w 252683"/>
                <a:gd name="connsiteY0" fmla="*/ 453320 h 453320"/>
                <a:gd name="connsiteX1" fmla="*/ 27051 w 252683"/>
                <a:gd name="connsiteY1" fmla="*/ 417694 h 453320"/>
                <a:gd name="connsiteX2" fmla="*/ 3301 w 252683"/>
                <a:gd name="connsiteY2" fmla="*/ 382068 h 453320"/>
                <a:gd name="connsiteX3" fmla="*/ 15176 w 252683"/>
                <a:gd name="connsiteY3" fmla="*/ 203938 h 453320"/>
                <a:gd name="connsiteX4" fmla="*/ 38927 w 252683"/>
                <a:gd name="connsiteY4" fmla="*/ 132686 h 453320"/>
                <a:gd name="connsiteX5" fmla="*/ 50802 w 252683"/>
                <a:gd name="connsiteY5" fmla="*/ 97060 h 453320"/>
                <a:gd name="connsiteX6" fmla="*/ 110179 w 252683"/>
                <a:gd name="connsiteY6" fmla="*/ 37683 h 453320"/>
                <a:gd name="connsiteX7" fmla="*/ 181431 w 252683"/>
                <a:gd name="connsiteY7" fmla="*/ 25808 h 453320"/>
                <a:gd name="connsiteX8" fmla="*/ 217057 w 252683"/>
                <a:gd name="connsiteY8" fmla="*/ 2058 h 453320"/>
                <a:gd name="connsiteX9" fmla="*/ 252683 w 252683"/>
                <a:gd name="connsiteY9" fmla="*/ 13933 h 453320"/>
                <a:gd name="connsiteX10" fmla="*/ 217057 w 252683"/>
                <a:gd name="connsiteY10" fmla="*/ 37683 h 453320"/>
                <a:gd name="connsiteX11" fmla="*/ 205181 w 252683"/>
                <a:gd name="connsiteY11" fmla="*/ 73309 h 453320"/>
                <a:gd name="connsiteX12" fmla="*/ 181431 w 252683"/>
                <a:gd name="connsiteY12" fmla="*/ 108935 h 453320"/>
                <a:gd name="connsiteX13" fmla="*/ 157680 w 252683"/>
                <a:gd name="connsiteY13" fmla="*/ 180187 h 453320"/>
                <a:gd name="connsiteX14" fmla="*/ 157680 w 252683"/>
                <a:gd name="connsiteY14" fmla="*/ 287065 h 453320"/>
                <a:gd name="connsiteX15" fmla="*/ 122054 w 252683"/>
                <a:gd name="connsiteY15" fmla="*/ 310816 h 453320"/>
                <a:gd name="connsiteX16" fmla="*/ 86428 w 252683"/>
                <a:gd name="connsiteY16" fmla="*/ 346442 h 453320"/>
                <a:gd name="connsiteX17" fmla="*/ 38927 w 252683"/>
                <a:gd name="connsiteY17" fmla="*/ 417694 h 453320"/>
                <a:gd name="connsiteX18" fmla="*/ 38927 w 252683"/>
                <a:gd name="connsiteY18" fmla="*/ 453320 h 453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52683" h="453320">
                  <a:moveTo>
                    <a:pt x="38927" y="453320"/>
                  </a:moveTo>
                  <a:cubicBezTo>
                    <a:pt x="36948" y="453320"/>
                    <a:pt x="32649" y="428890"/>
                    <a:pt x="27051" y="417694"/>
                  </a:cubicBezTo>
                  <a:cubicBezTo>
                    <a:pt x="20668" y="404929"/>
                    <a:pt x="4093" y="396318"/>
                    <a:pt x="3301" y="382068"/>
                  </a:cubicBezTo>
                  <a:cubicBezTo>
                    <a:pt x="0" y="322651"/>
                    <a:pt x="6760" y="262848"/>
                    <a:pt x="15176" y="203938"/>
                  </a:cubicBezTo>
                  <a:cubicBezTo>
                    <a:pt x="18717" y="179154"/>
                    <a:pt x="31010" y="156437"/>
                    <a:pt x="38927" y="132686"/>
                  </a:cubicBezTo>
                  <a:lnTo>
                    <a:pt x="50802" y="97060"/>
                  </a:lnTo>
                  <a:cubicBezTo>
                    <a:pt x="58718" y="73310"/>
                    <a:pt x="86429" y="45600"/>
                    <a:pt x="110179" y="37683"/>
                  </a:cubicBezTo>
                  <a:cubicBezTo>
                    <a:pt x="133022" y="30069"/>
                    <a:pt x="157680" y="29766"/>
                    <a:pt x="181431" y="25808"/>
                  </a:cubicBezTo>
                  <a:cubicBezTo>
                    <a:pt x="193306" y="17891"/>
                    <a:pt x="202979" y="4404"/>
                    <a:pt x="217057" y="2058"/>
                  </a:cubicBezTo>
                  <a:cubicBezTo>
                    <a:pt x="229404" y="0"/>
                    <a:pt x="252683" y="1415"/>
                    <a:pt x="252683" y="13933"/>
                  </a:cubicBezTo>
                  <a:cubicBezTo>
                    <a:pt x="252683" y="28205"/>
                    <a:pt x="228932" y="29766"/>
                    <a:pt x="217057" y="37683"/>
                  </a:cubicBezTo>
                  <a:cubicBezTo>
                    <a:pt x="213098" y="49558"/>
                    <a:pt x="210779" y="62113"/>
                    <a:pt x="205181" y="73309"/>
                  </a:cubicBezTo>
                  <a:cubicBezTo>
                    <a:pt x="198798" y="86074"/>
                    <a:pt x="187227" y="95893"/>
                    <a:pt x="181431" y="108935"/>
                  </a:cubicBezTo>
                  <a:cubicBezTo>
                    <a:pt x="171263" y="131813"/>
                    <a:pt x="157680" y="180187"/>
                    <a:pt x="157680" y="180187"/>
                  </a:cubicBezTo>
                  <a:cubicBezTo>
                    <a:pt x="171374" y="221271"/>
                    <a:pt x="182759" y="236906"/>
                    <a:pt x="157680" y="287065"/>
                  </a:cubicBezTo>
                  <a:cubicBezTo>
                    <a:pt x="151297" y="299831"/>
                    <a:pt x="133018" y="301679"/>
                    <a:pt x="122054" y="310816"/>
                  </a:cubicBezTo>
                  <a:cubicBezTo>
                    <a:pt x="109152" y="321567"/>
                    <a:pt x="98303" y="334567"/>
                    <a:pt x="86428" y="346442"/>
                  </a:cubicBezTo>
                  <a:cubicBezTo>
                    <a:pt x="73978" y="383793"/>
                    <a:pt x="77051" y="392278"/>
                    <a:pt x="38927" y="417694"/>
                  </a:cubicBezTo>
                  <a:cubicBezTo>
                    <a:pt x="28512" y="424638"/>
                    <a:pt x="40906" y="453320"/>
                    <a:pt x="38927" y="453320"/>
                  </a:cubicBez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fontAlgn="base">
                <a:spcBef>
                  <a:spcPct val="0"/>
                </a:spcBef>
                <a:spcAft>
                  <a:spcPct val="0"/>
                </a:spcAft>
                <a:buClrTx/>
              </a:pPr>
              <a:endParaRPr lang="en-US" sz="1050" kern="1200">
                <a:solidFill>
                  <a:prstClr val="black"/>
                </a:solidFill>
                <a:latin typeface="Century Gothic" pitchFamily="34" charset="0"/>
                <a:ea typeface="+mn-ea"/>
                <a:cs typeface="+mn-cs"/>
              </a:endParaRPr>
            </a:p>
          </p:txBody>
        </p:sp>
        <p:sp>
          <p:nvSpPr>
            <p:cNvPr id="29" name="Freeform 28"/>
            <p:cNvSpPr>
              <a:spLocks noChangeAspect="1"/>
            </p:cNvSpPr>
            <p:nvPr/>
          </p:nvSpPr>
          <p:spPr bwMode="gray">
            <a:xfrm>
              <a:off x="1448639" y="5486491"/>
              <a:ext cx="532901" cy="324000"/>
            </a:xfrm>
            <a:custGeom>
              <a:avLst/>
              <a:gdLst>
                <a:gd name="connsiteX0" fmla="*/ 29688 w 569683"/>
                <a:gd name="connsiteY0" fmla="*/ 344384 h 346363"/>
                <a:gd name="connsiteX1" fmla="*/ 41563 w 569683"/>
                <a:gd name="connsiteY1" fmla="*/ 308758 h 346363"/>
                <a:gd name="connsiteX2" fmla="*/ 17812 w 569683"/>
                <a:gd name="connsiteY2" fmla="*/ 237506 h 346363"/>
                <a:gd name="connsiteX3" fmla="*/ 29688 w 569683"/>
                <a:gd name="connsiteY3" fmla="*/ 190005 h 346363"/>
                <a:gd name="connsiteX4" fmla="*/ 100940 w 569683"/>
                <a:gd name="connsiteY4" fmla="*/ 130629 h 346363"/>
                <a:gd name="connsiteX5" fmla="*/ 112815 w 569683"/>
                <a:gd name="connsiteY5" fmla="*/ 95003 h 346363"/>
                <a:gd name="connsiteX6" fmla="*/ 184067 w 569683"/>
                <a:gd name="connsiteY6" fmla="*/ 106878 h 346363"/>
                <a:gd name="connsiteX7" fmla="*/ 219693 w 569683"/>
                <a:gd name="connsiteY7" fmla="*/ 118753 h 346363"/>
                <a:gd name="connsiteX8" fmla="*/ 255319 w 569683"/>
                <a:gd name="connsiteY8" fmla="*/ 142504 h 346363"/>
                <a:gd name="connsiteX9" fmla="*/ 279069 w 569683"/>
                <a:gd name="connsiteY9" fmla="*/ 71252 h 346363"/>
                <a:gd name="connsiteX10" fmla="*/ 290945 w 569683"/>
                <a:gd name="connsiteY10" fmla="*/ 35626 h 346363"/>
                <a:gd name="connsiteX11" fmla="*/ 362197 w 569683"/>
                <a:gd name="connsiteY11" fmla="*/ 0 h 346363"/>
                <a:gd name="connsiteX12" fmla="*/ 433449 w 569683"/>
                <a:gd name="connsiteY12" fmla="*/ 11875 h 346363"/>
                <a:gd name="connsiteX13" fmla="*/ 469075 w 569683"/>
                <a:gd name="connsiteY13" fmla="*/ 23751 h 346363"/>
                <a:gd name="connsiteX14" fmla="*/ 516576 w 569683"/>
                <a:gd name="connsiteY14" fmla="*/ 35626 h 346363"/>
                <a:gd name="connsiteX15" fmla="*/ 552202 w 569683"/>
                <a:gd name="connsiteY15" fmla="*/ 59377 h 346363"/>
                <a:gd name="connsiteX16" fmla="*/ 552202 w 569683"/>
                <a:gd name="connsiteY16" fmla="*/ 142504 h 346363"/>
                <a:gd name="connsiteX17" fmla="*/ 516576 w 569683"/>
                <a:gd name="connsiteY17" fmla="*/ 166254 h 346363"/>
                <a:gd name="connsiteX18" fmla="*/ 492825 w 569683"/>
                <a:gd name="connsiteY18" fmla="*/ 237506 h 346363"/>
                <a:gd name="connsiteX19" fmla="*/ 480950 w 569683"/>
                <a:gd name="connsiteY19" fmla="*/ 296883 h 346363"/>
                <a:gd name="connsiteX20" fmla="*/ 374072 w 569683"/>
                <a:gd name="connsiteY20" fmla="*/ 332509 h 346363"/>
                <a:gd name="connsiteX21" fmla="*/ 338446 w 569683"/>
                <a:gd name="connsiteY21" fmla="*/ 344384 h 346363"/>
                <a:gd name="connsiteX22" fmla="*/ 302820 w 569683"/>
                <a:gd name="connsiteY22" fmla="*/ 332509 h 346363"/>
                <a:gd name="connsiteX23" fmla="*/ 219693 w 569683"/>
                <a:gd name="connsiteY23" fmla="*/ 296883 h 346363"/>
                <a:gd name="connsiteX24" fmla="*/ 29688 w 569683"/>
                <a:gd name="connsiteY24" fmla="*/ 344384 h 346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69683" h="346363">
                  <a:moveTo>
                    <a:pt x="29688" y="344384"/>
                  </a:moveTo>
                  <a:cubicBezTo>
                    <a:pt x="0" y="346363"/>
                    <a:pt x="42945" y="321199"/>
                    <a:pt x="41563" y="308758"/>
                  </a:cubicBezTo>
                  <a:cubicBezTo>
                    <a:pt x="38798" y="283876"/>
                    <a:pt x="17812" y="237506"/>
                    <a:pt x="17812" y="237506"/>
                  </a:cubicBezTo>
                  <a:cubicBezTo>
                    <a:pt x="21771" y="221672"/>
                    <a:pt x="21590" y="204176"/>
                    <a:pt x="29688" y="190005"/>
                  </a:cubicBezTo>
                  <a:cubicBezTo>
                    <a:pt x="43756" y="165386"/>
                    <a:pt x="78237" y="145764"/>
                    <a:pt x="100940" y="130629"/>
                  </a:cubicBezTo>
                  <a:cubicBezTo>
                    <a:pt x="104898" y="118754"/>
                    <a:pt x="103964" y="103854"/>
                    <a:pt x="112815" y="95003"/>
                  </a:cubicBezTo>
                  <a:cubicBezTo>
                    <a:pt x="144617" y="63201"/>
                    <a:pt x="157824" y="93756"/>
                    <a:pt x="184067" y="106878"/>
                  </a:cubicBezTo>
                  <a:cubicBezTo>
                    <a:pt x="195263" y="112476"/>
                    <a:pt x="207818" y="114795"/>
                    <a:pt x="219693" y="118753"/>
                  </a:cubicBezTo>
                  <a:cubicBezTo>
                    <a:pt x="231568" y="126670"/>
                    <a:pt x="244174" y="151420"/>
                    <a:pt x="255319" y="142504"/>
                  </a:cubicBezTo>
                  <a:cubicBezTo>
                    <a:pt x="274868" y="126865"/>
                    <a:pt x="271152" y="95003"/>
                    <a:pt x="279069" y="71252"/>
                  </a:cubicBezTo>
                  <a:lnTo>
                    <a:pt x="290945" y="35626"/>
                  </a:lnTo>
                  <a:cubicBezTo>
                    <a:pt x="296701" y="18359"/>
                    <a:pt x="348363" y="4611"/>
                    <a:pt x="362197" y="0"/>
                  </a:cubicBezTo>
                  <a:cubicBezTo>
                    <a:pt x="385948" y="3958"/>
                    <a:pt x="409944" y="6652"/>
                    <a:pt x="433449" y="11875"/>
                  </a:cubicBezTo>
                  <a:cubicBezTo>
                    <a:pt x="445669" y="14591"/>
                    <a:pt x="457039" y="20312"/>
                    <a:pt x="469075" y="23751"/>
                  </a:cubicBezTo>
                  <a:cubicBezTo>
                    <a:pt x="484768" y="28235"/>
                    <a:pt x="500742" y="31668"/>
                    <a:pt x="516576" y="35626"/>
                  </a:cubicBezTo>
                  <a:cubicBezTo>
                    <a:pt x="528451" y="43543"/>
                    <a:pt x="543286" y="48232"/>
                    <a:pt x="552202" y="59377"/>
                  </a:cubicBezTo>
                  <a:cubicBezTo>
                    <a:pt x="569683" y="81228"/>
                    <a:pt x="566533" y="121007"/>
                    <a:pt x="552202" y="142504"/>
                  </a:cubicBezTo>
                  <a:cubicBezTo>
                    <a:pt x="544285" y="154379"/>
                    <a:pt x="528451" y="158337"/>
                    <a:pt x="516576" y="166254"/>
                  </a:cubicBezTo>
                  <a:lnTo>
                    <a:pt x="492825" y="237506"/>
                  </a:lnTo>
                  <a:cubicBezTo>
                    <a:pt x="486442" y="256654"/>
                    <a:pt x="495222" y="282610"/>
                    <a:pt x="480950" y="296883"/>
                  </a:cubicBezTo>
                  <a:cubicBezTo>
                    <a:pt x="480948" y="296885"/>
                    <a:pt x="391886" y="326571"/>
                    <a:pt x="374072" y="332509"/>
                  </a:cubicBezTo>
                  <a:lnTo>
                    <a:pt x="338446" y="344384"/>
                  </a:lnTo>
                  <a:cubicBezTo>
                    <a:pt x="326571" y="340426"/>
                    <a:pt x="314326" y="337440"/>
                    <a:pt x="302820" y="332509"/>
                  </a:cubicBezTo>
                  <a:cubicBezTo>
                    <a:pt x="200100" y="288486"/>
                    <a:pt x="303242" y="324732"/>
                    <a:pt x="219693" y="296883"/>
                  </a:cubicBezTo>
                  <a:cubicBezTo>
                    <a:pt x="53474" y="309669"/>
                    <a:pt x="59376" y="342405"/>
                    <a:pt x="29688" y="344384"/>
                  </a:cubicBez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fontAlgn="base">
                <a:spcBef>
                  <a:spcPct val="0"/>
                </a:spcBef>
                <a:spcAft>
                  <a:spcPct val="0"/>
                </a:spcAft>
                <a:buClrTx/>
              </a:pPr>
              <a:endParaRPr lang="en-US" sz="1050" kern="1200">
                <a:solidFill>
                  <a:prstClr val="black"/>
                </a:solidFill>
                <a:latin typeface="Century Gothic" pitchFamily="34" charset="0"/>
                <a:ea typeface="+mn-ea"/>
                <a:cs typeface="+mn-cs"/>
              </a:endParaRPr>
            </a:p>
          </p:txBody>
        </p:sp>
        <p:sp>
          <p:nvSpPr>
            <p:cNvPr id="30" name="Freeform 29"/>
            <p:cNvSpPr/>
            <p:nvPr/>
          </p:nvSpPr>
          <p:spPr bwMode="gray">
            <a:xfrm>
              <a:off x="1678386" y="5765832"/>
              <a:ext cx="326587" cy="176491"/>
            </a:xfrm>
            <a:custGeom>
              <a:avLst/>
              <a:gdLst>
                <a:gd name="connsiteX0" fmla="*/ 21771 w 401782"/>
                <a:gd name="connsiteY0" fmla="*/ 23751 h 217127"/>
                <a:gd name="connsiteX1" fmla="*/ 140524 w 401782"/>
                <a:gd name="connsiteY1" fmla="*/ 35626 h 217127"/>
                <a:gd name="connsiteX2" fmla="*/ 211776 w 401782"/>
                <a:gd name="connsiteY2" fmla="*/ 11876 h 217127"/>
                <a:gd name="connsiteX3" fmla="*/ 247402 w 401782"/>
                <a:gd name="connsiteY3" fmla="*/ 0 h 217127"/>
                <a:gd name="connsiteX4" fmla="*/ 366156 w 401782"/>
                <a:gd name="connsiteY4" fmla="*/ 59377 h 217127"/>
                <a:gd name="connsiteX5" fmla="*/ 401782 w 401782"/>
                <a:gd name="connsiteY5" fmla="*/ 83128 h 217127"/>
                <a:gd name="connsiteX6" fmla="*/ 389906 w 401782"/>
                <a:gd name="connsiteY6" fmla="*/ 118754 h 217127"/>
                <a:gd name="connsiteX7" fmla="*/ 318654 w 401782"/>
                <a:gd name="connsiteY7" fmla="*/ 142504 h 217127"/>
                <a:gd name="connsiteX8" fmla="*/ 283028 w 401782"/>
                <a:gd name="connsiteY8" fmla="*/ 130629 h 217127"/>
                <a:gd name="connsiteX9" fmla="*/ 211776 w 401782"/>
                <a:gd name="connsiteY9" fmla="*/ 142504 h 217127"/>
                <a:gd name="connsiteX10" fmla="*/ 116774 w 401782"/>
                <a:gd name="connsiteY10" fmla="*/ 154380 h 217127"/>
                <a:gd name="connsiteX11" fmla="*/ 45522 w 401782"/>
                <a:gd name="connsiteY11" fmla="*/ 166255 h 217127"/>
                <a:gd name="connsiteX12" fmla="*/ 21771 w 401782"/>
                <a:gd name="connsiteY12" fmla="*/ 95003 h 217127"/>
                <a:gd name="connsiteX13" fmla="*/ 9896 w 401782"/>
                <a:gd name="connsiteY13" fmla="*/ 59377 h 217127"/>
                <a:gd name="connsiteX14" fmla="*/ 21771 w 401782"/>
                <a:gd name="connsiteY14" fmla="*/ 23751 h 217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1782" h="217127">
                  <a:moveTo>
                    <a:pt x="21771" y="23751"/>
                  </a:moveTo>
                  <a:cubicBezTo>
                    <a:pt x="43542" y="19793"/>
                    <a:pt x="74401" y="55463"/>
                    <a:pt x="140524" y="35626"/>
                  </a:cubicBezTo>
                  <a:cubicBezTo>
                    <a:pt x="164503" y="28432"/>
                    <a:pt x="188025" y="19793"/>
                    <a:pt x="211776" y="11876"/>
                  </a:cubicBezTo>
                  <a:lnTo>
                    <a:pt x="247402" y="0"/>
                  </a:lnTo>
                  <a:cubicBezTo>
                    <a:pt x="322596" y="18799"/>
                    <a:pt x="281325" y="2823"/>
                    <a:pt x="366156" y="59377"/>
                  </a:cubicBezTo>
                  <a:lnTo>
                    <a:pt x="401782" y="83128"/>
                  </a:lnTo>
                  <a:cubicBezTo>
                    <a:pt x="397823" y="95003"/>
                    <a:pt x="400092" y="111478"/>
                    <a:pt x="389906" y="118754"/>
                  </a:cubicBezTo>
                  <a:cubicBezTo>
                    <a:pt x="369534" y="133305"/>
                    <a:pt x="318654" y="142504"/>
                    <a:pt x="318654" y="142504"/>
                  </a:cubicBezTo>
                  <a:cubicBezTo>
                    <a:pt x="306779" y="138546"/>
                    <a:pt x="295546" y="130629"/>
                    <a:pt x="283028" y="130629"/>
                  </a:cubicBezTo>
                  <a:cubicBezTo>
                    <a:pt x="258950" y="130629"/>
                    <a:pt x="235612" y="139099"/>
                    <a:pt x="211776" y="142504"/>
                  </a:cubicBezTo>
                  <a:cubicBezTo>
                    <a:pt x="180183" y="147017"/>
                    <a:pt x="148441" y="150421"/>
                    <a:pt x="116774" y="154380"/>
                  </a:cubicBezTo>
                  <a:cubicBezTo>
                    <a:pt x="92007" y="179147"/>
                    <a:pt x="77317" y="217127"/>
                    <a:pt x="45522" y="166255"/>
                  </a:cubicBezTo>
                  <a:cubicBezTo>
                    <a:pt x="32253" y="145025"/>
                    <a:pt x="29688" y="118754"/>
                    <a:pt x="21771" y="95003"/>
                  </a:cubicBezTo>
                  <a:lnTo>
                    <a:pt x="9896" y="59377"/>
                  </a:lnTo>
                  <a:cubicBezTo>
                    <a:pt x="23541" y="18440"/>
                    <a:pt x="0" y="27709"/>
                    <a:pt x="21771" y="23751"/>
                  </a:cubicBez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fontAlgn="base">
                <a:spcBef>
                  <a:spcPct val="0"/>
                </a:spcBef>
                <a:spcAft>
                  <a:spcPct val="0"/>
                </a:spcAft>
                <a:buClrTx/>
              </a:pPr>
              <a:endParaRPr lang="en-US" sz="1050" kern="1200">
                <a:solidFill>
                  <a:prstClr val="black"/>
                </a:solidFill>
                <a:latin typeface="Century Gothic" pitchFamily="34" charset="0"/>
                <a:ea typeface="+mn-ea"/>
                <a:cs typeface="+mn-cs"/>
              </a:endParaRPr>
            </a:p>
          </p:txBody>
        </p:sp>
        <p:sp>
          <p:nvSpPr>
            <p:cNvPr id="31" name="Freeform 30"/>
            <p:cNvSpPr/>
            <p:nvPr/>
          </p:nvSpPr>
          <p:spPr bwMode="gray">
            <a:xfrm>
              <a:off x="1295741" y="5717444"/>
              <a:ext cx="432240" cy="386113"/>
            </a:xfrm>
            <a:custGeom>
              <a:avLst/>
              <a:gdLst>
                <a:gd name="connsiteX0" fmla="*/ 96973 w 531761"/>
                <a:gd name="connsiteY0" fmla="*/ 0 h 475013"/>
                <a:gd name="connsiteX1" fmla="*/ 132599 w 531761"/>
                <a:gd name="connsiteY1" fmla="*/ 35626 h 475013"/>
                <a:gd name="connsiteX2" fmla="*/ 298854 w 531761"/>
                <a:gd name="connsiteY2" fmla="*/ 47501 h 475013"/>
                <a:gd name="connsiteX3" fmla="*/ 453233 w 531761"/>
                <a:gd name="connsiteY3" fmla="*/ 35626 h 475013"/>
                <a:gd name="connsiteX4" fmla="*/ 488859 w 531761"/>
                <a:gd name="connsiteY4" fmla="*/ 142504 h 475013"/>
                <a:gd name="connsiteX5" fmla="*/ 512610 w 531761"/>
                <a:gd name="connsiteY5" fmla="*/ 178130 h 475013"/>
                <a:gd name="connsiteX6" fmla="*/ 524485 w 531761"/>
                <a:gd name="connsiteY6" fmla="*/ 213756 h 475013"/>
                <a:gd name="connsiteX7" fmla="*/ 453233 w 531761"/>
                <a:gd name="connsiteY7" fmla="*/ 261257 h 475013"/>
                <a:gd name="connsiteX8" fmla="*/ 453233 w 531761"/>
                <a:gd name="connsiteY8" fmla="*/ 356260 h 475013"/>
                <a:gd name="connsiteX9" fmla="*/ 417607 w 531761"/>
                <a:gd name="connsiteY9" fmla="*/ 475013 h 475013"/>
                <a:gd name="connsiteX10" fmla="*/ 239477 w 531761"/>
                <a:gd name="connsiteY10" fmla="*/ 475013 h 475013"/>
                <a:gd name="connsiteX11" fmla="*/ 120724 w 531761"/>
                <a:gd name="connsiteY11" fmla="*/ 463138 h 475013"/>
                <a:gd name="connsiteX12" fmla="*/ 96973 w 531761"/>
                <a:gd name="connsiteY12" fmla="*/ 427512 h 475013"/>
                <a:gd name="connsiteX13" fmla="*/ 132599 w 531761"/>
                <a:gd name="connsiteY13" fmla="*/ 356260 h 475013"/>
                <a:gd name="connsiteX14" fmla="*/ 108849 w 531761"/>
                <a:gd name="connsiteY14" fmla="*/ 273133 h 475013"/>
                <a:gd name="connsiteX15" fmla="*/ 85098 w 531761"/>
                <a:gd name="connsiteY15" fmla="*/ 201881 h 475013"/>
                <a:gd name="connsiteX16" fmla="*/ 73223 w 531761"/>
                <a:gd name="connsiteY16" fmla="*/ 166255 h 475013"/>
                <a:gd name="connsiteX17" fmla="*/ 49472 w 531761"/>
                <a:gd name="connsiteY17" fmla="*/ 130629 h 475013"/>
                <a:gd name="connsiteX18" fmla="*/ 37597 w 531761"/>
                <a:gd name="connsiteY18" fmla="*/ 95003 h 475013"/>
                <a:gd name="connsiteX19" fmla="*/ 13846 w 531761"/>
                <a:gd name="connsiteY19" fmla="*/ 59377 h 475013"/>
                <a:gd name="connsiteX20" fmla="*/ 85098 w 531761"/>
                <a:gd name="connsiteY20" fmla="*/ 83127 h 475013"/>
                <a:gd name="connsiteX21" fmla="*/ 96973 w 531761"/>
                <a:gd name="connsiteY21" fmla="*/ 47501 h 475013"/>
                <a:gd name="connsiteX22" fmla="*/ 73223 w 531761"/>
                <a:gd name="connsiteY22" fmla="*/ 11875 h 475013"/>
                <a:gd name="connsiteX23" fmla="*/ 108849 w 531761"/>
                <a:gd name="connsiteY23" fmla="*/ 35626 h 475013"/>
                <a:gd name="connsiteX24" fmla="*/ 156350 w 531761"/>
                <a:gd name="connsiteY24" fmla="*/ 47501 h 475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31761" h="475013">
                  <a:moveTo>
                    <a:pt x="96973" y="0"/>
                  </a:moveTo>
                  <a:cubicBezTo>
                    <a:pt x="108848" y="11875"/>
                    <a:pt x="119697" y="24875"/>
                    <a:pt x="132599" y="35626"/>
                  </a:cubicBezTo>
                  <a:cubicBezTo>
                    <a:pt x="191620" y="84811"/>
                    <a:pt x="193787" y="57053"/>
                    <a:pt x="298854" y="47501"/>
                  </a:cubicBezTo>
                  <a:cubicBezTo>
                    <a:pt x="413438" y="18856"/>
                    <a:pt x="361849" y="17349"/>
                    <a:pt x="453233" y="35626"/>
                  </a:cubicBezTo>
                  <a:lnTo>
                    <a:pt x="488859" y="142504"/>
                  </a:lnTo>
                  <a:cubicBezTo>
                    <a:pt x="493372" y="156044"/>
                    <a:pt x="504693" y="166255"/>
                    <a:pt x="512610" y="178130"/>
                  </a:cubicBezTo>
                  <a:cubicBezTo>
                    <a:pt x="516568" y="190005"/>
                    <a:pt x="531761" y="203570"/>
                    <a:pt x="524485" y="213756"/>
                  </a:cubicBezTo>
                  <a:cubicBezTo>
                    <a:pt x="507894" y="236984"/>
                    <a:pt x="453233" y="261257"/>
                    <a:pt x="453233" y="261257"/>
                  </a:cubicBezTo>
                  <a:cubicBezTo>
                    <a:pt x="426088" y="342693"/>
                    <a:pt x="453233" y="241618"/>
                    <a:pt x="453233" y="356260"/>
                  </a:cubicBezTo>
                  <a:cubicBezTo>
                    <a:pt x="453233" y="432676"/>
                    <a:pt x="449800" y="426724"/>
                    <a:pt x="417607" y="475013"/>
                  </a:cubicBezTo>
                  <a:cubicBezTo>
                    <a:pt x="252419" y="447482"/>
                    <a:pt x="457492" y="475013"/>
                    <a:pt x="239477" y="475013"/>
                  </a:cubicBezTo>
                  <a:cubicBezTo>
                    <a:pt x="199695" y="475013"/>
                    <a:pt x="160308" y="467096"/>
                    <a:pt x="120724" y="463138"/>
                  </a:cubicBezTo>
                  <a:cubicBezTo>
                    <a:pt x="112807" y="451263"/>
                    <a:pt x="99319" y="441590"/>
                    <a:pt x="96973" y="427512"/>
                  </a:cubicBezTo>
                  <a:cubicBezTo>
                    <a:pt x="93696" y="407847"/>
                    <a:pt x="124329" y="368666"/>
                    <a:pt x="132599" y="356260"/>
                  </a:cubicBezTo>
                  <a:cubicBezTo>
                    <a:pt x="92681" y="236502"/>
                    <a:pt x="153594" y="422284"/>
                    <a:pt x="108849" y="273133"/>
                  </a:cubicBezTo>
                  <a:cubicBezTo>
                    <a:pt x="101655" y="249153"/>
                    <a:pt x="93015" y="225632"/>
                    <a:pt x="85098" y="201881"/>
                  </a:cubicBezTo>
                  <a:cubicBezTo>
                    <a:pt x="81140" y="190006"/>
                    <a:pt x="80167" y="176670"/>
                    <a:pt x="73223" y="166255"/>
                  </a:cubicBezTo>
                  <a:lnTo>
                    <a:pt x="49472" y="130629"/>
                  </a:lnTo>
                  <a:cubicBezTo>
                    <a:pt x="45514" y="118754"/>
                    <a:pt x="43195" y="106199"/>
                    <a:pt x="37597" y="95003"/>
                  </a:cubicBezTo>
                  <a:cubicBezTo>
                    <a:pt x="31214" y="82237"/>
                    <a:pt x="0" y="62839"/>
                    <a:pt x="13846" y="59377"/>
                  </a:cubicBezTo>
                  <a:cubicBezTo>
                    <a:pt x="38134" y="53305"/>
                    <a:pt x="85098" y="83127"/>
                    <a:pt x="85098" y="83127"/>
                  </a:cubicBezTo>
                  <a:cubicBezTo>
                    <a:pt x="89056" y="71252"/>
                    <a:pt x="99031" y="59848"/>
                    <a:pt x="96973" y="47501"/>
                  </a:cubicBezTo>
                  <a:cubicBezTo>
                    <a:pt x="94627" y="33423"/>
                    <a:pt x="63131" y="21967"/>
                    <a:pt x="73223" y="11875"/>
                  </a:cubicBezTo>
                  <a:cubicBezTo>
                    <a:pt x="83316" y="1783"/>
                    <a:pt x="96083" y="29243"/>
                    <a:pt x="108849" y="35626"/>
                  </a:cubicBezTo>
                  <a:cubicBezTo>
                    <a:pt x="135102" y="48753"/>
                    <a:pt x="136109" y="47501"/>
                    <a:pt x="156350" y="47501"/>
                  </a:cubicBezTo>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fontAlgn="base">
                <a:spcBef>
                  <a:spcPct val="0"/>
                </a:spcBef>
                <a:spcAft>
                  <a:spcPct val="0"/>
                </a:spcAft>
                <a:buClrTx/>
              </a:pPr>
              <a:endParaRPr lang="en-US" sz="1050" kern="1200">
                <a:solidFill>
                  <a:prstClr val="black"/>
                </a:solidFill>
                <a:latin typeface="Century Gothic" pitchFamily="34" charset="0"/>
                <a:ea typeface="+mn-ea"/>
                <a:cs typeface="+mn-cs"/>
              </a:endParaRPr>
            </a:p>
          </p:txBody>
        </p:sp>
        <p:sp>
          <p:nvSpPr>
            <p:cNvPr id="32" name="Freeform 31"/>
            <p:cNvSpPr/>
            <p:nvPr/>
          </p:nvSpPr>
          <p:spPr bwMode="gray">
            <a:xfrm>
              <a:off x="1900878" y="1444535"/>
              <a:ext cx="1255003" cy="1367658"/>
            </a:xfrm>
            <a:custGeom>
              <a:avLst/>
              <a:gdLst>
                <a:gd name="connsiteX0" fmla="*/ 47669 w 1543960"/>
                <a:gd name="connsiteY0" fmla="*/ 1189450 h 1682552"/>
                <a:gd name="connsiteX1" fmla="*/ 83295 w 1543960"/>
                <a:gd name="connsiteY1" fmla="*/ 1213201 h 1682552"/>
                <a:gd name="connsiteX2" fmla="*/ 118921 w 1543960"/>
                <a:gd name="connsiteY2" fmla="*/ 1248827 h 1682552"/>
                <a:gd name="connsiteX3" fmla="*/ 154547 w 1543960"/>
                <a:gd name="connsiteY3" fmla="*/ 1260702 h 1682552"/>
                <a:gd name="connsiteX4" fmla="*/ 190173 w 1543960"/>
                <a:gd name="connsiteY4" fmla="*/ 1284453 h 1682552"/>
                <a:gd name="connsiteX5" fmla="*/ 225799 w 1543960"/>
                <a:gd name="connsiteY5" fmla="*/ 1296328 h 1682552"/>
                <a:gd name="connsiteX6" fmla="*/ 297051 w 1543960"/>
                <a:gd name="connsiteY6" fmla="*/ 1343829 h 1682552"/>
                <a:gd name="connsiteX7" fmla="*/ 332677 w 1543960"/>
                <a:gd name="connsiteY7" fmla="*/ 1367580 h 1682552"/>
                <a:gd name="connsiteX8" fmla="*/ 344552 w 1543960"/>
                <a:gd name="connsiteY8" fmla="*/ 1415081 h 1682552"/>
                <a:gd name="connsiteX9" fmla="*/ 380178 w 1543960"/>
                <a:gd name="connsiteY9" fmla="*/ 1426957 h 1682552"/>
                <a:gd name="connsiteX10" fmla="*/ 451430 w 1543960"/>
                <a:gd name="connsiteY10" fmla="*/ 1474458 h 1682552"/>
                <a:gd name="connsiteX11" fmla="*/ 522682 w 1543960"/>
                <a:gd name="connsiteY11" fmla="*/ 1521959 h 1682552"/>
                <a:gd name="connsiteX12" fmla="*/ 593934 w 1543960"/>
                <a:gd name="connsiteY12" fmla="*/ 1569461 h 1682552"/>
                <a:gd name="connsiteX13" fmla="*/ 629560 w 1543960"/>
                <a:gd name="connsiteY13" fmla="*/ 1605087 h 1682552"/>
                <a:gd name="connsiteX14" fmla="*/ 665186 w 1543960"/>
                <a:gd name="connsiteY14" fmla="*/ 1628837 h 1682552"/>
                <a:gd name="connsiteX15" fmla="*/ 724562 w 1543960"/>
                <a:gd name="connsiteY15" fmla="*/ 1676338 h 1682552"/>
                <a:gd name="connsiteX16" fmla="*/ 795814 w 1543960"/>
                <a:gd name="connsiteY16" fmla="*/ 1664463 h 1682552"/>
                <a:gd name="connsiteX17" fmla="*/ 867066 w 1543960"/>
                <a:gd name="connsiteY17" fmla="*/ 1640713 h 1682552"/>
                <a:gd name="connsiteX18" fmla="*/ 997695 w 1543960"/>
                <a:gd name="connsiteY18" fmla="*/ 1640713 h 1682552"/>
                <a:gd name="connsiteX19" fmla="*/ 1068947 w 1543960"/>
                <a:gd name="connsiteY19" fmla="*/ 1664463 h 1682552"/>
                <a:gd name="connsiteX20" fmla="*/ 1104573 w 1543960"/>
                <a:gd name="connsiteY20" fmla="*/ 1676338 h 1682552"/>
                <a:gd name="connsiteX21" fmla="*/ 1140199 w 1543960"/>
                <a:gd name="connsiteY21" fmla="*/ 1652588 h 1682552"/>
                <a:gd name="connsiteX22" fmla="*/ 1128323 w 1543960"/>
                <a:gd name="connsiteY22" fmla="*/ 1616962 h 1682552"/>
                <a:gd name="connsiteX23" fmla="*/ 1140199 w 1543960"/>
                <a:gd name="connsiteY23" fmla="*/ 1533835 h 1682552"/>
                <a:gd name="connsiteX24" fmla="*/ 1211451 w 1543960"/>
                <a:gd name="connsiteY24" fmla="*/ 1498209 h 1682552"/>
                <a:gd name="connsiteX25" fmla="*/ 1235201 w 1543960"/>
                <a:gd name="connsiteY25" fmla="*/ 1462583 h 1682552"/>
                <a:gd name="connsiteX26" fmla="*/ 1235201 w 1543960"/>
                <a:gd name="connsiteY26" fmla="*/ 1379455 h 1682552"/>
                <a:gd name="connsiteX27" fmla="*/ 1306453 w 1543960"/>
                <a:gd name="connsiteY27" fmla="*/ 1355705 h 1682552"/>
                <a:gd name="connsiteX28" fmla="*/ 1342079 w 1543960"/>
                <a:gd name="connsiteY28" fmla="*/ 1343829 h 1682552"/>
                <a:gd name="connsiteX29" fmla="*/ 1413331 w 1543960"/>
                <a:gd name="connsiteY29" fmla="*/ 1379455 h 1682552"/>
                <a:gd name="connsiteX30" fmla="*/ 1448957 w 1543960"/>
                <a:gd name="connsiteY30" fmla="*/ 1355705 h 1682552"/>
                <a:gd name="connsiteX31" fmla="*/ 1520209 w 1543960"/>
                <a:gd name="connsiteY31" fmla="*/ 1343829 h 1682552"/>
                <a:gd name="connsiteX32" fmla="*/ 1543960 w 1543960"/>
                <a:gd name="connsiteY32" fmla="*/ 1308203 h 1682552"/>
                <a:gd name="connsiteX33" fmla="*/ 1520209 w 1543960"/>
                <a:gd name="connsiteY33" fmla="*/ 1236951 h 1682552"/>
                <a:gd name="connsiteX34" fmla="*/ 1496459 w 1543960"/>
                <a:gd name="connsiteY34" fmla="*/ 1165700 h 1682552"/>
                <a:gd name="connsiteX35" fmla="*/ 1472708 w 1543960"/>
                <a:gd name="connsiteY35" fmla="*/ 1130074 h 1682552"/>
                <a:gd name="connsiteX36" fmla="*/ 1460833 w 1543960"/>
                <a:gd name="connsiteY36" fmla="*/ 1046946 h 1682552"/>
                <a:gd name="connsiteX37" fmla="*/ 1460833 w 1543960"/>
                <a:gd name="connsiteY37" fmla="*/ 845066 h 1682552"/>
                <a:gd name="connsiteX38" fmla="*/ 1437082 w 1543960"/>
                <a:gd name="connsiteY38" fmla="*/ 773814 h 1682552"/>
                <a:gd name="connsiteX39" fmla="*/ 1401456 w 1543960"/>
                <a:gd name="connsiteY39" fmla="*/ 666936 h 1682552"/>
                <a:gd name="connsiteX40" fmla="*/ 1389581 w 1543960"/>
                <a:gd name="connsiteY40" fmla="*/ 595684 h 1682552"/>
                <a:gd name="connsiteX41" fmla="*/ 1365830 w 1543960"/>
                <a:gd name="connsiteY41" fmla="*/ 524432 h 1682552"/>
                <a:gd name="connsiteX42" fmla="*/ 1342079 w 1543960"/>
                <a:gd name="connsiteY42" fmla="*/ 381928 h 1682552"/>
                <a:gd name="connsiteX43" fmla="*/ 1330204 w 1543960"/>
                <a:gd name="connsiteY43" fmla="*/ 346302 h 1682552"/>
                <a:gd name="connsiteX44" fmla="*/ 1282703 w 1543960"/>
                <a:gd name="connsiteY44" fmla="*/ 322551 h 1682552"/>
                <a:gd name="connsiteX45" fmla="*/ 1247077 w 1543960"/>
                <a:gd name="connsiteY45" fmla="*/ 286925 h 1682552"/>
                <a:gd name="connsiteX46" fmla="*/ 1211451 w 1543960"/>
                <a:gd name="connsiteY46" fmla="*/ 263175 h 1682552"/>
                <a:gd name="connsiteX47" fmla="*/ 1140199 w 1543960"/>
                <a:gd name="connsiteY47" fmla="*/ 203798 h 1682552"/>
                <a:gd name="connsiteX48" fmla="*/ 1068947 w 1543960"/>
                <a:gd name="connsiteY48" fmla="*/ 180048 h 1682552"/>
                <a:gd name="connsiteX49" fmla="*/ 962069 w 1543960"/>
                <a:gd name="connsiteY49" fmla="*/ 108796 h 1682552"/>
                <a:gd name="connsiteX50" fmla="*/ 926443 w 1543960"/>
                <a:gd name="connsiteY50" fmla="*/ 73170 h 1682552"/>
                <a:gd name="connsiteX51" fmla="*/ 890817 w 1543960"/>
                <a:gd name="connsiteY51" fmla="*/ 49419 h 1682552"/>
                <a:gd name="connsiteX52" fmla="*/ 819565 w 1543960"/>
                <a:gd name="connsiteY52" fmla="*/ 1918 h 1682552"/>
                <a:gd name="connsiteX53" fmla="*/ 783939 w 1543960"/>
                <a:gd name="connsiteY53" fmla="*/ 13793 h 1682552"/>
                <a:gd name="connsiteX54" fmla="*/ 772064 w 1543960"/>
                <a:gd name="connsiteY54" fmla="*/ 61294 h 1682552"/>
                <a:gd name="connsiteX55" fmla="*/ 795814 w 1543960"/>
                <a:gd name="connsiteY55" fmla="*/ 144422 h 1682552"/>
                <a:gd name="connsiteX56" fmla="*/ 760188 w 1543960"/>
                <a:gd name="connsiteY56" fmla="*/ 215674 h 1682552"/>
                <a:gd name="connsiteX57" fmla="*/ 783939 w 1543960"/>
                <a:gd name="connsiteY57" fmla="*/ 251300 h 1682552"/>
                <a:gd name="connsiteX58" fmla="*/ 748313 w 1543960"/>
                <a:gd name="connsiteY58" fmla="*/ 275050 h 1682552"/>
                <a:gd name="connsiteX59" fmla="*/ 665186 w 1543960"/>
                <a:gd name="connsiteY59" fmla="*/ 263175 h 1682552"/>
                <a:gd name="connsiteX60" fmla="*/ 593934 w 1543960"/>
                <a:gd name="connsiteY60" fmla="*/ 239424 h 1682552"/>
                <a:gd name="connsiteX61" fmla="*/ 546433 w 1543960"/>
                <a:gd name="connsiteY61" fmla="*/ 227549 h 1682552"/>
                <a:gd name="connsiteX62" fmla="*/ 451430 w 1543960"/>
                <a:gd name="connsiteY62" fmla="*/ 263175 h 1682552"/>
                <a:gd name="connsiteX63" fmla="*/ 463305 w 1543960"/>
                <a:gd name="connsiteY63" fmla="*/ 322551 h 1682552"/>
                <a:gd name="connsiteX64" fmla="*/ 451430 w 1543960"/>
                <a:gd name="connsiteY64" fmla="*/ 465055 h 1682552"/>
                <a:gd name="connsiteX65" fmla="*/ 415804 w 1543960"/>
                <a:gd name="connsiteY65" fmla="*/ 476931 h 1682552"/>
                <a:gd name="connsiteX66" fmla="*/ 392053 w 1543960"/>
                <a:gd name="connsiteY66" fmla="*/ 441305 h 1682552"/>
                <a:gd name="connsiteX67" fmla="*/ 356427 w 1543960"/>
                <a:gd name="connsiteY67" fmla="*/ 429429 h 1682552"/>
                <a:gd name="connsiteX68" fmla="*/ 297051 w 1543960"/>
                <a:gd name="connsiteY68" fmla="*/ 488806 h 1682552"/>
                <a:gd name="connsiteX69" fmla="*/ 237674 w 1543960"/>
                <a:gd name="connsiteY69" fmla="*/ 560058 h 1682552"/>
                <a:gd name="connsiteX70" fmla="*/ 202048 w 1543960"/>
                <a:gd name="connsiteY70" fmla="*/ 666936 h 1682552"/>
                <a:gd name="connsiteX71" fmla="*/ 166422 w 1543960"/>
                <a:gd name="connsiteY71" fmla="*/ 690687 h 1682552"/>
                <a:gd name="connsiteX72" fmla="*/ 166422 w 1543960"/>
                <a:gd name="connsiteY72" fmla="*/ 797564 h 1682552"/>
                <a:gd name="connsiteX73" fmla="*/ 178298 w 1543960"/>
                <a:gd name="connsiteY73" fmla="*/ 833190 h 1682552"/>
                <a:gd name="connsiteX74" fmla="*/ 142672 w 1543960"/>
                <a:gd name="connsiteY74" fmla="*/ 928193 h 1682552"/>
                <a:gd name="connsiteX75" fmla="*/ 130796 w 1543960"/>
                <a:gd name="connsiteY75" fmla="*/ 963819 h 1682552"/>
                <a:gd name="connsiteX76" fmla="*/ 95170 w 1543960"/>
                <a:gd name="connsiteY76" fmla="*/ 975694 h 1682552"/>
                <a:gd name="connsiteX77" fmla="*/ 47669 w 1543960"/>
                <a:gd name="connsiteY77" fmla="*/ 1046946 h 1682552"/>
                <a:gd name="connsiteX78" fmla="*/ 23918 w 1543960"/>
                <a:gd name="connsiteY78" fmla="*/ 1082572 h 1682552"/>
                <a:gd name="connsiteX79" fmla="*/ 23918 w 1543960"/>
                <a:gd name="connsiteY79" fmla="*/ 1189450 h 1682552"/>
                <a:gd name="connsiteX80" fmla="*/ 47669 w 1543960"/>
                <a:gd name="connsiteY80" fmla="*/ 1189450 h 168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543960" h="1682552">
                  <a:moveTo>
                    <a:pt x="47669" y="1189450"/>
                  </a:moveTo>
                  <a:cubicBezTo>
                    <a:pt x="57565" y="1193408"/>
                    <a:pt x="72331" y="1204064"/>
                    <a:pt x="83295" y="1213201"/>
                  </a:cubicBezTo>
                  <a:cubicBezTo>
                    <a:pt x="96197" y="1223952"/>
                    <a:pt x="104947" y="1239511"/>
                    <a:pt x="118921" y="1248827"/>
                  </a:cubicBezTo>
                  <a:cubicBezTo>
                    <a:pt x="129336" y="1255771"/>
                    <a:pt x="142672" y="1256744"/>
                    <a:pt x="154547" y="1260702"/>
                  </a:cubicBezTo>
                  <a:cubicBezTo>
                    <a:pt x="166422" y="1268619"/>
                    <a:pt x="177407" y="1278070"/>
                    <a:pt x="190173" y="1284453"/>
                  </a:cubicBezTo>
                  <a:cubicBezTo>
                    <a:pt x="201369" y="1290051"/>
                    <a:pt x="214857" y="1290249"/>
                    <a:pt x="225799" y="1296328"/>
                  </a:cubicBezTo>
                  <a:cubicBezTo>
                    <a:pt x="250752" y="1310190"/>
                    <a:pt x="273300" y="1327995"/>
                    <a:pt x="297051" y="1343829"/>
                  </a:cubicBezTo>
                  <a:lnTo>
                    <a:pt x="332677" y="1367580"/>
                  </a:lnTo>
                  <a:cubicBezTo>
                    <a:pt x="336635" y="1383414"/>
                    <a:pt x="334356" y="1402336"/>
                    <a:pt x="344552" y="1415081"/>
                  </a:cubicBezTo>
                  <a:cubicBezTo>
                    <a:pt x="352372" y="1424856"/>
                    <a:pt x="369763" y="1420013"/>
                    <a:pt x="380178" y="1426957"/>
                  </a:cubicBezTo>
                  <a:cubicBezTo>
                    <a:pt x="469129" y="1486258"/>
                    <a:pt x="366723" y="1446223"/>
                    <a:pt x="451430" y="1474458"/>
                  </a:cubicBezTo>
                  <a:cubicBezTo>
                    <a:pt x="565080" y="1588108"/>
                    <a:pt x="419565" y="1453215"/>
                    <a:pt x="522682" y="1521959"/>
                  </a:cubicBezTo>
                  <a:cubicBezTo>
                    <a:pt x="611641" y="1581264"/>
                    <a:pt x="509221" y="1541222"/>
                    <a:pt x="593934" y="1569461"/>
                  </a:cubicBezTo>
                  <a:cubicBezTo>
                    <a:pt x="605809" y="1581336"/>
                    <a:pt x="616658" y="1594336"/>
                    <a:pt x="629560" y="1605087"/>
                  </a:cubicBezTo>
                  <a:cubicBezTo>
                    <a:pt x="640524" y="1614224"/>
                    <a:pt x="655094" y="1618745"/>
                    <a:pt x="665186" y="1628837"/>
                  </a:cubicBezTo>
                  <a:cubicBezTo>
                    <a:pt x="718901" y="1682552"/>
                    <a:pt x="655205" y="1653220"/>
                    <a:pt x="724562" y="1676338"/>
                  </a:cubicBezTo>
                  <a:cubicBezTo>
                    <a:pt x="748313" y="1672380"/>
                    <a:pt x="772455" y="1670303"/>
                    <a:pt x="795814" y="1664463"/>
                  </a:cubicBezTo>
                  <a:cubicBezTo>
                    <a:pt x="820102" y="1658391"/>
                    <a:pt x="867066" y="1640713"/>
                    <a:pt x="867066" y="1640713"/>
                  </a:cubicBezTo>
                  <a:cubicBezTo>
                    <a:pt x="925886" y="1601499"/>
                    <a:pt x="897915" y="1607454"/>
                    <a:pt x="997695" y="1640713"/>
                  </a:cubicBezTo>
                  <a:lnTo>
                    <a:pt x="1068947" y="1664463"/>
                  </a:lnTo>
                  <a:lnTo>
                    <a:pt x="1104573" y="1676338"/>
                  </a:lnTo>
                  <a:cubicBezTo>
                    <a:pt x="1116448" y="1668421"/>
                    <a:pt x="1134898" y="1665839"/>
                    <a:pt x="1140199" y="1652588"/>
                  </a:cubicBezTo>
                  <a:cubicBezTo>
                    <a:pt x="1144848" y="1640966"/>
                    <a:pt x="1128323" y="1629480"/>
                    <a:pt x="1128323" y="1616962"/>
                  </a:cubicBezTo>
                  <a:cubicBezTo>
                    <a:pt x="1128323" y="1588972"/>
                    <a:pt x="1128831" y="1559413"/>
                    <a:pt x="1140199" y="1533835"/>
                  </a:cubicBezTo>
                  <a:cubicBezTo>
                    <a:pt x="1148207" y="1515818"/>
                    <a:pt x="1195642" y="1503478"/>
                    <a:pt x="1211451" y="1498209"/>
                  </a:cubicBezTo>
                  <a:cubicBezTo>
                    <a:pt x="1219368" y="1486334"/>
                    <a:pt x="1233183" y="1476712"/>
                    <a:pt x="1235201" y="1462583"/>
                  </a:cubicBezTo>
                  <a:cubicBezTo>
                    <a:pt x="1238307" y="1440842"/>
                    <a:pt x="1204347" y="1401493"/>
                    <a:pt x="1235201" y="1379455"/>
                  </a:cubicBezTo>
                  <a:cubicBezTo>
                    <a:pt x="1255573" y="1364904"/>
                    <a:pt x="1282702" y="1363622"/>
                    <a:pt x="1306453" y="1355705"/>
                  </a:cubicBezTo>
                  <a:lnTo>
                    <a:pt x="1342079" y="1343829"/>
                  </a:lnTo>
                  <a:cubicBezTo>
                    <a:pt x="1354486" y="1352101"/>
                    <a:pt x="1393664" y="1382733"/>
                    <a:pt x="1413331" y="1379455"/>
                  </a:cubicBezTo>
                  <a:cubicBezTo>
                    <a:pt x="1427409" y="1377109"/>
                    <a:pt x="1435417" y="1360218"/>
                    <a:pt x="1448957" y="1355705"/>
                  </a:cubicBezTo>
                  <a:cubicBezTo>
                    <a:pt x="1471800" y="1348091"/>
                    <a:pt x="1496458" y="1347788"/>
                    <a:pt x="1520209" y="1343829"/>
                  </a:cubicBezTo>
                  <a:cubicBezTo>
                    <a:pt x="1528126" y="1331954"/>
                    <a:pt x="1543960" y="1322475"/>
                    <a:pt x="1543960" y="1308203"/>
                  </a:cubicBezTo>
                  <a:cubicBezTo>
                    <a:pt x="1543960" y="1283168"/>
                    <a:pt x="1528126" y="1260702"/>
                    <a:pt x="1520209" y="1236951"/>
                  </a:cubicBezTo>
                  <a:cubicBezTo>
                    <a:pt x="1520209" y="1236950"/>
                    <a:pt x="1496460" y="1165701"/>
                    <a:pt x="1496459" y="1165700"/>
                  </a:cubicBezTo>
                  <a:lnTo>
                    <a:pt x="1472708" y="1130074"/>
                  </a:lnTo>
                  <a:cubicBezTo>
                    <a:pt x="1468750" y="1102365"/>
                    <a:pt x="1460833" y="1074937"/>
                    <a:pt x="1460833" y="1046946"/>
                  </a:cubicBezTo>
                  <a:cubicBezTo>
                    <a:pt x="1460833" y="865828"/>
                    <a:pt x="1509503" y="1120860"/>
                    <a:pt x="1460833" y="845066"/>
                  </a:cubicBezTo>
                  <a:cubicBezTo>
                    <a:pt x="1456482" y="820412"/>
                    <a:pt x="1444999" y="797565"/>
                    <a:pt x="1437082" y="773814"/>
                  </a:cubicBezTo>
                  <a:lnTo>
                    <a:pt x="1401456" y="666936"/>
                  </a:lnTo>
                  <a:cubicBezTo>
                    <a:pt x="1393842" y="644093"/>
                    <a:pt x="1395421" y="619043"/>
                    <a:pt x="1389581" y="595684"/>
                  </a:cubicBezTo>
                  <a:cubicBezTo>
                    <a:pt x="1383509" y="571396"/>
                    <a:pt x="1373747" y="548183"/>
                    <a:pt x="1365830" y="524432"/>
                  </a:cubicBezTo>
                  <a:cubicBezTo>
                    <a:pt x="1346954" y="467805"/>
                    <a:pt x="1354534" y="450428"/>
                    <a:pt x="1342079" y="381928"/>
                  </a:cubicBezTo>
                  <a:cubicBezTo>
                    <a:pt x="1339840" y="369612"/>
                    <a:pt x="1339055" y="355153"/>
                    <a:pt x="1330204" y="346302"/>
                  </a:cubicBezTo>
                  <a:cubicBezTo>
                    <a:pt x="1317686" y="333784"/>
                    <a:pt x="1297108" y="332841"/>
                    <a:pt x="1282703" y="322551"/>
                  </a:cubicBezTo>
                  <a:cubicBezTo>
                    <a:pt x="1269037" y="312789"/>
                    <a:pt x="1259979" y="297676"/>
                    <a:pt x="1247077" y="286925"/>
                  </a:cubicBezTo>
                  <a:cubicBezTo>
                    <a:pt x="1236113" y="277788"/>
                    <a:pt x="1223326" y="271092"/>
                    <a:pt x="1211451" y="263175"/>
                  </a:cubicBezTo>
                  <a:cubicBezTo>
                    <a:pt x="1182298" y="219446"/>
                    <a:pt x="1194986" y="225713"/>
                    <a:pt x="1140199" y="203798"/>
                  </a:cubicBezTo>
                  <a:cubicBezTo>
                    <a:pt x="1116954" y="194500"/>
                    <a:pt x="1068947" y="180048"/>
                    <a:pt x="1068947" y="180048"/>
                  </a:cubicBezTo>
                  <a:lnTo>
                    <a:pt x="962069" y="108796"/>
                  </a:lnTo>
                  <a:cubicBezTo>
                    <a:pt x="948095" y="99480"/>
                    <a:pt x="939345" y="83921"/>
                    <a:pt x="926443" y="73170"/>
                  </a:cubicBezTo>
                  <a:cubicBezTo>
                    <a:pt x="915479" y="64033"/>
                    <a:pt x="901781" y="58556"/>
                    <a:pt x="890817" y="49419"/>
                  </a:cubicBezTo>
                  <a:cubicBezTo>
                    <a:pt x="831515" y="0"/>
                    <a:pt x="882173" y="22787"/>
                    <a:pt x="819565" y="1918"/>
                  </a:cubicBezTo>
                  <a:cubicBezTo>
                    <a:pt x="807690" y="5876"/>
                    <a:pt x="791759" y="4018"/>
                    <a:pt x="783939" y="13793"/>
                  </a:cubicBezTo>
                  <a:cubicBezTo>
                    <a:pt x="773743" y="26537"/>
                    <a:pt x="772064" y="44973"/>
                    <a:pt x="772064" y="61294"/>
                  </a:cubicBezTo>
                  <a:cubicBezTo>
                    <a:pt x="772064" y="76206"/>
                    <a:pt x="790214" y="127621"/>
                    <a:pt x="795814" y="144422"/>
                  </a:cubicBezTo>
                  <a:cubicBezTo>
                    <a:pt x="787544" y="156828"/>
                    <a:pt x="756911" y="196009"/>
                    <a:pt x="760188" y="215674"/>
                  </a:cubicBezTo>
                  <a:cubicBezTo>
                    <a:pt x="762534" y="229752"/>
                    <a:pt x="776022" y="239425"/>
                    <a:pt x="783939" y="251300"/>
                  </a:cubicBezTo>
                  <a:cubicBezTo>
                    <a:pt x="772064" y="259217"/>
                    <a:pt x="762514" y="273630"/>
                    <a:pt x="748313" y="275050"/>
                  </a:cubicBezTo>
                  <a:cubicBezTo>
                    <a:pt x="720462" y="277835"/>
                    <a:pt x="692460" y="269469"/>
                    <a:pt x="665186" y="263175"/>
                  </a:cubicBezTo>
                  <a:cubicBezTo>
                    <a:pt x="640792" y="257546"/>
                    <a:pt x="617685" y="247341"/>
                    <a:pt x="593934" y="239424"/>
                  </a:cubicBezTo>
                  <a:cubicBezTo>
                    <a:pt x="578451" y="234263"/>
                    <a:pt x="562267" y="231507"/>
                    <a:pt x="546433" y="227549"/>
                  </a:cubicBezTo>
                  <a:cubicBezTo>
                    <a:pt x="536710" y="229494"/>
                    <a:pt x="458843" y="237229"/>
                    <a:pt x="451430" y="263175"/>
                  </a:cubicBezTo>
                  <a:cubicBezTo>
                    <a:pt x="445885" y="282582"/>
                    <a:pt x="459347" y="302759"/>
                    <a:pt x="463305" y="322551"/>
                  </a:cubicBezTo>
                  <a:cubicBezTo>
                    <a:pt x="459347" y="370052"/>
                    <a:pt x="465448" y="419497"/>
                    <a:pt x="451430" y="465055"/>
                  </a:cubicBezTo>
                  <a:cubicBezTo>
                    <a:pt x="447749" y="477019"/>
                    <a:pt x="427427" y="481580"/>
                    <a:pt x="415804" y="476931"/>
                  </a:cubicBezTo>
                  <a:cubicBezTo>
                    <a:pt x="402552" y="471631"/>
                    <a:pt x="403198" y="450221"/>
                    <a:pt x="392053" y="441305"/>
                  </a:cubicBezTo>
                  <a:cubicBezTo>
                    <a:pt x="382278" y="433485"/>
                    <a:pt x="368302" y="433388"/>
                    <a:pt x="356427" y="429429"/>
                  </a:cubicBezTo>
                  <a:cubicBezTo>
                    <a:pt x="291111" y="472973"/>
                    <a:pt x="346532" y="429428"/>
                    <a:pt x="297051" y="488806"/>
                  </a:cubicBezTo>
                  <a:cubicBezTo>
                    <a:pt x="220849" y="580250"/>
                    <a:pt x="296648" y="471599"/>
                    <a:pt x="237674" y="560058"/>
                  </a:cubicBezTo>
                  <a:lnTo>
                    <a:pt x="202048" y="666936"/>
                  </a:lnTo>
                  <a:cubicBezTo>
                    <a:pt x="197535" y="680476"/>
                    <a:pt x="178297" y="682770"/>
                    <a:pt x="166422" y="690687"/>
                  </a:cubicBezTo>
                  <a:cubicBezTo>
                    <a:pt x="128786" y="747143"/>
                    <a:pt x="138158" y="712774"/>
                    <a:pt x="166422" y="797564"/>
                  </a:cubicBezTo>
                  <a:lnTo>
                    <a:pt x="178298" y="833190"/>
                  </a:lnTo>
                  <a:cubicBezTo>
                    <a:pt x="155386" y="947745"/>
                    <a:pt x="183442" y="846652"/>
                    <a:pt x="142672" y="928193"/>
                  </a:cubicBezTo>
                  <a:cubicBezTo>
                    <a:pt x="137074" y="939389"/>
                    <a:pt x="139647" y="954968"/>
                    <a:pt x="130796" y="963819"/>
                  </a:cubicBezTo>
                  <a:cubicBezTo>
                    <a:pt x="121945" y="972670"/>
                    <a:pt x="107045" y="971736"/>
                    <a:pt x="95170" y="975694"/>
                  </a:cubicBezTo>
                  <a:lnTo>
                    <a:pt x="47669" y="1046946"/>
                  </a:lnTo>
                  <a:lnTo>
                    <a:pt x="23918" y="1082572"/>
                  </a:lnTo>
                  <a:cubicBezTo>
                    <a:pt x="18505" y="1115048"/>
                    <a:pt x="0" y="1157559"/>
                    <a:pt x="23918" y="1189450"/>
                  </a:cubicBezTo>
                  <a:cubicBezTo>
                    <a:pt x="29229" y="1196531"/>
                    <a:pt x="37773" y="1185492"/>
                    <a:pt x="47669" y="1189450"/>
                  </a:cubicBez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fontAlgn="base">
                <a:spcBef>
                  <a:spcPct val="0"/>
                </a:spcBef>
                <a:spcAft>
                  <a:spcPct val="0"/>
                </a:spcAft>
                <a:buClrTx/>
              </a:pPr>
              <a:endParaRPr lang="en-US" sz="1050" kern="1200">
                <a:solidFill>
                  <a:prstClr val="black"/>
                </a:solidFill>
                <a:latin typeface="Century Gothic" pitchFamily="34" charset="0"/>
                <a:ea typeface="+mn-ea"/>
                <a:cs typeface="+mn-cs"/>
              </a:endParaRPr>
            </a:p>
          </p:txBody>
        </p:sp>
        <p:sp>
          <p:nvSpPr>
            <p:cNvPr id="33" name="Freeform 32"/>
            <p:cNvSpPr/>
            <p:nvPr/>
          </p:nvSpPr>
          <p:spPr bwMode="gray">
            <a:xfrm>
              <a:off x="1747618" y="3761314"/>
              <a:ext cx="495458" cy="762573"/>
            </a:xfrm>
            <a:custGeom>
              <a:avLst/>
              <a:gdLst>
                <a:gd name="connsiteX0" fmla="*/ 19726 w 609534"/>
                <a:gd name="connsiteY0" fmla="*/ 332509 h 938150"/>
                <a:gd name="connsiteX1" fmla="*/ 55352 w 609534"/>
                <a:gd name="connsiteY1" fmla="*/ 356259 h 938150"/>
                <a:gd name="connsiteX2" fmla="*/ 90978 w 609534"/>
                <a:gd name="connsiteY2" fmla="*/ 391885 h 938150"/>
                <a:gd name="connsiteX3" fmla="*/ 126604 w 609534"/>
                <a:gd name="connsiteY3" fmla="*/ 403761 h 938150"/>
                <a:gd name="connsiteX4" fmla="*/ 162230 w 609534"/>
                <a:gd name="connsiteY4" fmla="*/ 427511 h 938150"/>
                <a:gd name="connsiteX5" fmla="*/ 174106 w 609534"/>
                <a:gd name="connsiteY5" fmla="*/ 463137 h 938150"/>
                <a:gd name="connsiteX6" fmla="*/ 245358 w 609534"/>
                <a:gd name="connsiteY6" fmla="*/ 570015 h 938150"/>
                <a:gd name="connsiteX7" fmla="*/ 316610 w 609534"/>
                <a:gd name="connsiteY7" fmla="*/ 617516 h 938150"/>
                <a:gd name="connsiteX8" fmla="*/ 352236 w 609534"/>
                <a:gd name="connsiteY8" fmla="*/ 653142 h 938150"/>
                <a:gd name="connsiteX9" fmla="*/ 375986 w 609534"/>
                <a:gd name="connsiteY9" fmla="*/ 724394 h 938150"/>
                <a:gd name="connsiteX10" fmla="*/ 387861 w 609534"/>
                <a:gd name="connsiteY10" fmla="*/ 760020 h 938150"/>
                <a:gd name="connsiteX11" fmla="*/ 387861 w 609534"/>
                <a:gd name="connsiteY11" fmla="*/ 855023 h 938150"/>
                <a:gd name="connsiteX12" fmla="*/ 399737 w 609534"/>
                <a:gd name="connsiteY12" fmla="*/ 890649 h 938150"/>
                <a:gd name="connsiteX13" fmla="*/ 435363 w 609534"/>
                <a:gd name="connsiteY13" fmla="*/ 914400 h 938150"/>
                <a:gd name="connsiteX14" fmla="*/ 506615 w 609534"/>
                <a:gd name="connsiteY14" fmla="*/ 938150 h 938150"/>
                <a:gd name="connsiteX15" fmla="*/ 530365 w 609534"/>
                <a:gd name="connsiteY15" fmla="*/ 902524 h 938150"/>
                <a:gd name="connsiteX16" fmla="*/ 589742 w 609534"/>
                <a:gd name="connsiteY16" fmla="*/ 831272 h 938150"/>
                <a:gd name="connsiteX17" fmla="*/ 589742 w 609534"/>
                <a:gd name="connsiteY17" fmla="*/ 748145 h 938150"/>
                <a:gd name="connsiteX18" fmla="*/ 565991 w 609534"/>
                <a:gd name="connsiteY18" fmla="*/ 676893 h 938150"/>
                <a:gd name="connsiteX19" fmla="*/ 554116 w 609534"/>
                <a:gd name="connsiteY19" fmla="*/ 581890 h 938150"/>
                <a:gd name="connsiteX20" fmla="*/ 542241 w 609534"/>
                <a:gd name="connsiteY20" fmla="*/ 546265 h 938150"/>
                <a:gd name="connsiteX21" fmla="*/ 554116 w 609534"/>
                <a:gd name="connsiteY21" fmla="*/ 463137 h 938150"/>
                <a:gd name="connsiteX22" fmla="*/ 542241 w 609534"/>
                <a:gd name="connsiteY22" fmla="*/ 415636 h 938150"/>
                <a:gd name="connsiteX23" fmla="*/ 542241 w 609534"/>
                <a:gd name="connsiteY23" fmla="*/ 320633 h 938150"/>
                <a:gd name="connsiteX24" fmla="*/ 577867 w 609534"/>
                <a:gd name="connsiteY24" fmla="*/ 308758 h 938150"/>
                <a:gd name="connsiteX25" fmla="*/ 577867 w 609534"/>
                <a:gd name="connsiteY25" fmla="*/ 237506 h 938150"/>
                <a:gd name="connsiteX26" fmla="*/ 589742 w 609534"/>
                <a:gd name="connsiteY26" fmla="*/ 142503 h 938150"/>
                <a:gd name="connsiteX27" fmla="*/ 565991 w 609534"/>
                <a:gd name="connsiteY27" fmla="*/ 106877 h 938150"/>
                <a:gd name="connsiteX28" fmla="*/ 447238 w 609534"/>
                <a:gd name="connsiteY28" fmla="*/ 71252 h 938150"/>
                <a:gd name="connsiteX29" fmla="*/ 340360 w 609534"/>
                <a:gd name="connsiteY29" fmla="*/ 35626 h 938150"/>
                <a:gd name="connsiteX30" fmla="*/ 233482 w 609534"/>
                <a:gd name="connsiteY30" fmla="*/ 23750 h 938150"/>
                <a:gd name="connsiteX31" fmla="*/ 162230 w 609534"/>
                <a:gd name="connsiteY31" fmla="*/ 23750 h 938150"/>
                <a:gd name="connsiteX32" fmla="*/ 150355 w 609534"/>
                <a:gd name="connsiteY32" fmla="*/ 59376 h 938150"/>
                <a:gd name="connsiteX33" fmla="*/ 162230 w 609534"/>
                <a:gd name="connsiteY33" fmla="*/ 95002 h 938150"/>
                <a:gd name="connsiteX34" fmla="*/ 126604 w 609534"/>
                <a:gd name="connsiteY34" fmla="*/ 213755 h 938150"/>
                <a:gd name="connsiteX35" fmla="*/ 43477 w 609534"/>
                <a:gd name="connsiteY35" fmla="*/ 237506 h 938150"/>
                <a:gd name="connsiteX36" fmla="*/ 19726 w 609534"/>
                <a:gd name="connsiteY36" fmla="*/ 273132 h 938150"/>
                <a:gd name="connsiteX37" fmla="*/ 19726 w 609534"/>
                <a:gd name="connsiteY37" fmla="*/ 380010 h 938150"/>
                <a:gd name="connsiteX38" fmla="*/ 90978 w 609534"/>
                <a:gd name="connsiteY38" fmla="*/ 391885 h 9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09534" h="938150">
                  <a:moveTo>
                    <a:pt x="19726" y="332509"/>
                  </a:moveTo>
                  <a:cubicBezTo>
                    <a:pt x="31601" y="340426"/>
                    <a:pt x="44388" y="347122"/>
                    <a:pt x="55352" y="356259"/>
                  </a:cubicBezTo>
                  <a:cubicBezTo>
                    <a:pt x="68254" y="367010"/>
                    <a:pt x="77004" y="382569"/>
                    <a:pt x="90978" y="391885"/>
                  </a:cubicBezTo>
                  <a:cubicBezTo>
                    <a:pt x="101393" y="398829"/>
                    <a:pt x="115408" y="398163"/>
                    <a:pt x="126604" y="403761"/>
                  </a:cubicBezTo>
                  <a:cubicBezTo>
                    <a:pt x="139369" y="410144"/>
                    <a:pt x="150355" y="419594"/>
                    <a:pt x="162230" y="427511"/>
                  </a:cubicBezTo>
                  <a:cubicBezTo>
                    <a:pt x="166189" y="439386"/>
                    <a:pt x="168027" y="452195"/>
                    <a:pt x="174106" y="463137"/>
                  </a:cubicBezTo>
                  <a:cubicBezTo>
                    <a:pt x="174112" y="463147"/>
                    <a:pt x="233479" y="552197"/>
                    <a:pt x="245358" y="570015"/>
                  </a:cubicBezTo>
                  <a:cubicBezTo>
                    <a:pt x="261192" y="593766"/>
                    <a:pt x="292859" y="601682"/>
                    <a:pt x="316610" y="617516"/>
                  </a:cubicBezTo>
                  <a:cubicBezTo>
                    <a:pt x="330584" y="626832"/>
                    <a:pt x="340361" y="641267"/>
                    <a:pt x="352236" y="653142"/>
                  </a:cubicBezTo>
                  <a:lnTo>
                    <a:pt x="375986" y="724394"/>
                  </a:lnTo>
                  <a:lnTo>
                    <a:pt x="387861" y="760020"/>
                  </a:lnTo>
                  <a:cubicBezTo>
                    <a:pt x="370873" y="810985"/>
                    <a:pt x="371484" y="789514"/>
                    <a:pt x="387861" y="855023"/>
                  </a:cubicBezTo>
                  <a:cubicBezTo>
                    <a:pt x="390897" y="867167"/>
                    <a:pt x="391917" y="880874"/>
                    <a:pt x="399737" y="890649"/>
                  </a:cubicBezTo>
                  <a:cubicBezTo>
                    <a:pt x="408653" y="901794"/>
                    <a:pt x="422321" y="908603"/>
                    <a:pt x="435363" y="914400"/>
                  </a:cubicBezTo>
                  <a:cubicBezTo>
                    <a:pt x="458241" y="924568"/>
                    <a:pt x="506615" y="938150"/>
                    <a:pt x="506615" y="938150"/>
                  </a:cubicBezTo>
                  <a:cubicBezTo>
                    <a:pt x="514532" y="926275"/>
                    <a:pt x="521228" y="913488"/>
                    <a:pt x="530365" y="902524"/>
                  </a:cubicBezTo>
                  <a:cubicBezTo>
                    <a:pt x="606567" y="811080"/>
                    <a:pt x="530768" y="919731"/>
                    <a:pt x="589742" y="831272"/>
                  </a:cubicBezTo>
                  <a:cubicBezTo>
                    <a:pt x="605574" y="783775"/>
                    <a:pt x="606223" y="803080"/>
                    <a:pt x="589742" y="748145"/>
                  </a:cubicBezTo>
                  <a:cubicBezTo>
                    <a:pt x="582548" y="724165"/>
                    <a:pt x="565991" y="676893"/>
                    <a:pt x="565991" y="676893"/>
                  </a:cubicBezTo>
                  <a:cubicBezTo>
                    <a:pt x="562033" y="645225"/>
                    <a:pt x="559825" y="613289"/>
                    <a:pt x="554116" y="581890"/>
                  </a:cubicBezTo>
                  <a:cubicBezTo>
                    <a:pt x="551877" y="569575"/>
                    <a:pt x="542241" y="558782"/>
                    <a:pt x="542241" y="546265"/>
                  </a:cubicBezTo>
                  <a:cubicBezTo>
                    <a:pt x="542241" y="518274"/>
                    <a:pt x="550158" y="490846"/>
                    <a:pt x="554116" y="463137"/>
                  </a:cubicBezTo>
                  <a:cubicBezTo>
                    <a:pt x="550158" y="447303"/>
                    <a:pt x="546725" y="431329"/>
                    <a:pt x="542241" y="415636"/>
                  </a:cubicBezTo>
                  <a:cubicBezTo>
                    <a:pt x="532029" y="379896"/>
                    <a:pt x="514934" y="361593"/>
                    <a:pt x="542241" y="320633"/>
                  </a:cubicBezTo>
                  <a:cubicBezTo>
                    <a:pt x="549185" y="310218"/>
                    <a:pt x="565992" y="312716"/>
                    <a:pt x="577867" y="308758"/>
                  </a:cubicBezTo>
                  <a:cubicBezTo>
                    <a:pt x="609534" y="213755"/>
                    <a:pt x="577867" y="332509"/>
                    <a:pt x="577867" y="237506"/>
                  </a:cubicBezTo>
                  <a:cubicBezTo>
                    <a:pt x="577867" y="205592"/>
                    <a:pt x="585784" y="174171"/>
                    <a:pt x="589742" y="142503"/>
                  </a:cubicBezTo>
                  <a:cubicBezTo>
                    <a:pt x="581825" y="130628"/>
                    <a:pt x="576083" y="116969"/>
                    <a:pt x="565991" y="106877"/>
                  </a:cubicBezTo>
                  <a:cubicBezTo>
                    <a:pt x="529988" y="70874"/>
                    <a:pt x="499559" y="78726"/>
                    <a:pt x="447238" y="71252"/>
                  </a:cubicBezTo>
                  <a:lnTo>
                    <a:pt x="340360" y="35626"/>
                  </a:lnTo>
                  <a:cubicBezTo>
                    <a:pt x="306354" y="24291"/>
                    <a:pt x="269108" y="27709"/>
                    <a:pt x="233482" y="23750"/>
                  </a:cubicBezTo>
                  <a:cubicBezTo>
                    <a:pt x="209732" y="15833"/>
                    <a:pt x="185980" y="0"/>
                    <a:pt x="162230" y="23750"/>
                  </a:cubicBezTo>
                  <a:cubicBezTo>
                    <a:pt x="153379" y="32601"/>
                    <a:pt x="154313" y="47501"/>
                    <a:pt x="150355" y="59376"/>
                  </a:cubicBezTo>
                  <a:cubicBezTo>
                    <a:pt x="154313" y="71251"/>
                    <a:pt x="162230" y="82484"/>
                    <a:pt x="162230" y="95002"/>
                  </a:cubicBezTo>
                  <a:cubicBezTo>
                    <a:pt x="162230" y="127225"/>
                    <a:pt x="158797" y="188000"/>
                    <a:pt x="126604" y="213755"/>
                  </a:cubicBezTo>
                  <a:cubicBezTo>
                    <a:pt x="118858" y="219952"/>
                    <a:pt x="46584" y="236729"/>
                    <a:pt x="43477" y="237506"/>
                  </a:cubicBezTo>
                  <a:cubicBezTo>
                    <a:pt x="35560" y="249381"/>
                    <a:pt x="26109" y="260366"/>
                    <a:pt x="19726" y="273132"/>
                  </a:cubicBezTo>
                  <a:cubicBezTo>
                    <a:pt x="3249" y="306086"/>
                    <a:pt x="0" y="345489"/>
                    <a:pt x="19726" y="380010"/>
                  </a:cubicBezTo>
                  <a:cubicBezTo>
                    <a:pt x="28658" y="395640"/>
                    <a:pt x="78847" y="391885"/>
                    <a:pt x="90978" y="391885"/>
                  </a:cubicBezTo>
                </a:path>
              </a:pathLst>
            </a:custGeom>
            <a:solidFill>
              <a:srgbClr val="81BC00"/>
            </a:solid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fontAlgn="base">
                <a:spcBef>
                  <a:spcPct val="0"/>
                </a:spcBef>
                <a:spcAft>
                  <a:spcPct val="0"/>
                </a:spcAft>
                <a:buClrTx/>
              </a:pPr>
              <a:endParaRPr lang="en-US" sz="1050" kern="1200">
                <a:solidFill>
                  <a:prstClr val="black"/>
                </a:solidFill>
                <a:latin typeface="Century Gothic" pitchFamily="34" charset="0"/>
                <a:ea typeface="+mn-ea"/>
                <a:cs typeface="+mn-cs"/>
              </a:endParaRPr>
            </a:p>
          </p:txBody>
        </p:sp>
      </p:grpSp>
      <p:sp>
        <p:nvSpPr>
          <p:cNvPr id="36" name="Text Placeholder 12"/>
          <p:cNvSpPr>
            <a:spLocks/>
          </p:cNvSpPr>
          <p:nvPr>
            <p:custDataLst>
              <p:tags r:id="rId3"/>
            </p:custDataLst>
          </p:nvPr>
        </p:nvSpPr>
        <p:spPr bwMode="auto">
          <a:xfrm>
            <a:off x="5089994" y="1131570"/>
            <a:ext cx="387927" cy="115416"/>
          </a:xfrm>
          <a:prstGeom prst="rect">
            <a:avLst/>
          </a:prstGeom>
          <a:noFill/>
          <a:ln w="9525">
            <a:noFill/>
            <a:miter lim="800000"/>
            <a:headEnd/>
            <a:tailEnd/>
          </a:ln>
        </p:spPr>
        <p:txBody>
          <a:bodyPr wrap="none" lIns="0" tIns="0" rIns="0" bIns="0">
            <a:spAutoFit/>
          </a:bodyPr>
          <a:lstStyle/>
          <a:p>
            <a:pPr defTabSz="764381">
              <a:buClrTx/>
            </a:pPr>
            <a:r>
              <a:rPr lang="en-US" sz="750" kern="1200" dirty="0">
                <a:solidFill>
                  <a:srgbClr val="313131"/>
                </a:solidFill>
                <a:ea typeface="+mn-ea"/>
                <a:cs typeface="+mn-cs"/>
              </a:rPr>
              <a:t>Denmark</a:t>
            </a:r>
          </a:p>
        </p:txBody>
      </p:sp>
      <p:grpSp>
        <p:nvGrpSpPr>
          <p:cNvPr id="62" name="Group 61"/>
          <p:cNvGrpSpPr/>
          <p:nvPr/>
        </p:nvGrpSpPr>
        <p:grpSpPr bwMode="gray">
          <a:xfrm>
            <a:off x="5089993" y="1474470"/>
            <a:ext cx="2506385" cy="3084043"/>
            <a:chOff x="5165075" y="1810326"/>
            <a:chExt cx="3439429" cy="4232131"/>
          </a:xfrm>
          <a:solidFill>
            <a:srgbClr val="00A1DE"/>
          </a:solidFill>
        </p:grpSpPr>
        <p:sp>
          <p:nvSpPr>
            <p:cNvPr id="58" name="Freeform 57"/>
            <p:cNvSpPr/>
            <p:nvPr/>
          </p:nvSpPr>
          <p:spPr bwMode="gray">
            <a:xfrm>
              <a:off x="7262632" y="5491945"/>
              <a:ext cx="653733" cy="490299"/>
            </a:xfrm>
            <a:custGeom>
              <a:avLst/>
              <a:gdLst>
                <a:gd name="connsiteX0" fmla="*/ 209321 w 837282"/>
                <a:gd name="connsiteY0" fmla="*/ 0 h 627961"/>
                <a:gd name="connsiteX1" fmla="*/ 88135 w 837282"/>
                <a:gd name="connsiteY1" fmla="*/ 33051 h 627961"/>
                <a:gd name="connsiteX2" fmla="*/ 55084 w 837282"/>
                <a:gd name="connsiteY2" fmla="*/ 143219 h 627961"/>
                <a:gd name="connsiteX3" fmla="*/ 88135 w 837282"/>
                <a:gd name="connsiteY3" fmla="*/ 176270 h 627961"/>
                <a:gd name="connsiteX4" fmla="*/ 121186 w 837282"/>
                <a:gd name="connsiteY4" fmla="*/ 198304 h 627961"/>
                <a:gd name="connsiteX5" fmla="*/ 110169 w 837282"/>
                <a:gd name="connsiteY5" fmla="*/ 242371 h 627961"/>
                <a:gd name="connsiteX6" fmla="*/ 33051 w 837282"/>
                <a:gd name="connsiteY6" fmla="*/ 231354 h 627961"/>
                <a:gd name="connsiteX7" fmla="*/ 0 w 837282"/>
                <a:gd name="connsiteY7" fmla="*/ 242371 h 627961"/>
                <a:gd name="connsiteX8" fmla="*/ 11017 w 837282"/>
                <a:gd name="connsiteY8" fmla="*/ 308472 h 627961"/>
                <a:gd name="connsiteX9" fmla="*/ 77118 w 837282"/>
                <a:gd name="connsiteY9" fmla="*/ 352540 h 627961"/>
                <a:gd name="connsiteX10" fmla="*/ 143219 w 837282"/>
                <a:gd name="connsiteY10" fmla="*/ 385590 h 627961"/>
                <a:gd name="connsiteX11" fmla="*/ 242371 w 837282"/>
                <a:gd name="connsiteY11" fmla="*/ 429658 h 627961"/>
                <a:gd name="connsiteX12" fmla="*/ 275422 w 837282"/>
                <a:gd name="connsiteY12" fmla="*/ 440675 h 627961"/>
                <a:gd name="connsiteX13" fmla="*/ 363557 w 837282"/>
                <a:gd name="connsiteY13" fmla="*/ 539827 h 627961"/>
                <a:gd name="connsiteX14" fmla="*/ 429658 w 837282"/>
                <a:gd name="connsiteY14" fmla="*/ 583894 h 627961"/>
                <a:gd name="connsiteX15" fmla="*/ 462709 w 837282"/>
                <a:gd name="connsiteY15" fmla="*/ 605928 h 627961"/>
                <a:gd name="connsiteX16" fmla="*/ 495759 w 837282"/>
                <a:gd name="connsiteY16" fmla="*/ 627961 h 627961"/>
                <a:gd name="connsiteX17" fmla="*/ 517793 w 837282"/>
                <a:gd name="connsiteY17" fmla="*/ 594911 h 627961"/>
                <a:gd name="connsiteX18" fmla="*/ 782198 w 837282"/>
                <a:gd name="connsiteY18" fmla="*/ 583894 h 627961"/>
                <a:gd name="connsiteX19" fmla="*/ 815248 w 837282"/>
                <a:gd name="connsiteY19" fmla="*/ 561860 h 627961"/>
                <a:gd name="connsiteX20" fmla="*/ 826265 w 837282"/>
                <a:gd name="connsiteY20" fmla="*/ 451692 h 627961"/>
                <a:gd name="connsiteX21" fmla="*/ 837282 w 837282"/>
                <a:gd name="connsiteY21" fmla="*/ 418641 h 627961"/>
                <a:gd name="connsiteX22" fmla="*/ 815248 w 837282"/>
                <a:gd name="connsiteY22" fmla="*/ 385590 h 627961"/>
                <a:gd name="connsiteX23" fmla="*/ 793215 w 837282"/>
                <a:gd name="connsiteY23" fmla="*/ 319489 h 627961"/>
                <a:gd name="connsiteX24" fmla="*/ 771181 w 837282"/>
                <a:gd name="connsiteY24" fmla="*/ 253388 h 627961"/>
                <a:gd name="connsiteX25" fmla="*/ 760164 w 837282"/>
                <a:gd name="connsiteY25" fmla="*/ 220337 h 627961"/>
                <a:gd name="connsiteX26" fmla="*/ 749147 w 837282"/>
                <a:gd name="connsiteY26" fmla="*/ 187287 h 627961"/>
                <a:gd name="connsiteX27" fmla="*/ 683046 w 837282"/>
                <a:gd name="connsiteY27" fmla="*/ 165253 h 627961"/>
                <a:gd name="connsiteX28" fmla="*/ 649995 w 837282"/>
                <a:gd name="connsiteY28" fmla="*/ 176270 h 627961"/>
                <a:gd name="connsiteX29" fmla="*/ 627962 w 837282"/>
                <a:gd name="connsiteY29" fmla="*/ 209320 h 627961"/>
                <a:gd name="connsiteX30" fmla="*/ 594911 w 837282"/>
                <a:gd name="connsiteY30" fmla="*/ 231354 h 627961"/>
                <a:gd name="connsiteX31" fmla="*/ 528810 w 837282"/>
                <a:gd name="connsiteY31" fmla="*/ 209320 h 627961"/>
                <a:gd name="connsiteX32" fmla="*/ 473725 w 837282"/>
                <a:gd name="connsiteY32" fmla="*/ 198304 h 627961"/>
                <a:gd name="connsiteX33" fmla="*/ 440675 w 837282"/>
                <a:gd name="connsiteY33" fmla="*/ 187287 h 627961"/>
                <a:gd name="connsiteX34" fmla="*/ 352540 w 837282"/>
                <a:gd name="connsiteY34" fmla="*/ 110169 h 627961"/>
                <a:gd name="connsiteX35" fmla="*/ 253388 w 837282"/>
                <a:gd name="connsiteY35" fmla="*/ 33051 h 627961"/>
                <a:gd name="connsiteX36" fmla="*/ 198304 w 837282"/>
                <a:gd name="connsiteY36" fmla="*/ 22034 h 627961"/>
                <a:gd name="connsiteX37" fmla="*/ 143219 w 837282"/>
                <a:gd name="connsiteY37" fmla="*/ 11017 h 627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37282" h="627961">
                  <a:moveTo>
                    <a:pt x="209321" y="0"/>
                  </a:moveTo>
                  <a:cubicBezTo>
                    <a:pt x="109920" y="24851"/>
                    <a:pt x="149915" y="12458"/>
                    <a:pt x="88135" y="33051"/>
                  </a:cubicBezTo>
                  <a:cubicBezTo>
                    <a:pt x="56786" y="80075"/>
                    <a:pt x="25572" y="91572"/>
                    <a:pt x="55084" y="143219"/>
                  </a:cubicBezTo>
                  <a:cubicBezTo>
                    <a:pt x="62814" y="156747"/>
                    <a:pt x="76166" y="166296"/>
                    <a:pt x="88135" y="176270"/>
                  </a:cubicBezTo>
                  <a:cubicBezTo>
                    <a:pt x="98307" y="184747"/>
                    <a:pt x="110169" y="190959"/>
                    <a:pt x="121186" y="198304"/>
                  </a:cubicBezTo>
                  <a:cubicBezTo>
                    <a:pt x="117514" y="212993"/>
                    <a:pt x="124346" y="237055"/>
                    <a:pt x="110169" y="242371"/>
                  </a:cubicBezTo>
                  <a:cubicBezTo>
                    <a:pt x="85855" y="251488"/>
                    <a:pt x="59018" y="231354"/>
                    <a:pt x="33051" y="231354"/>
                  </a:cubicBezTo>
                  <a:cubicBezTo>
                    <a:pt x="21438" y="231354"/>
                    <a:pt x="11017" y="238699"/>
                    <a:pt x="0" y="242371"/>
                  </a:cubicBezTo>
                  <a:cubicBezTo>
                    <a:pt x="3672" y="264405"/>
                    <a:pt x="1945" y="288060"/>
                    <a:pt x="11017" y="308472"/>
                  </a:cubicBezTo>
                  <a:cubicBezTo>
                    <a:pt x="28918" y="348749"/>
                    <a:pt x="46699" y="337330"/>
                    <a:pt x="77118" y="352540"/>
                  </a:cubicBezTo>
                  <a:cubicBezTo>
                    <a:pt x="162535" y="395249"/>
                    <a:pt x="60155" y="357904"/>
                    <a:pt x="143219" y="385590"/>
                  </a:cubicBezTo>
                  <a:cubicBezTo>
                    <a:pt x="195595" y="420507"/>
                    <a:pt x="163709" y="403437"/>
                    <a:pt x="242371" y="429658"/>
                  </a:cubicBezTo>
                  <a:lnTo>
                    <a:pt x="275422" y="440675"/>
                  </a:lnTo>
                  <a:cubicBezTo>
                    <a:pt x="314741" y="499652"/>
                    <a:pt x="288094" y="464362"/>
                    <a:pt x="363557" y="539827"/>
                  </a:cubicBezTo>
                  <a:cubicBezTo>
                    <a:pt x="382282" y="558552"/>
                    <a:pt x="407624" y="569205"/>
                    <a:pt x="429658" y="583894"/>
                  </a:cubicBezTo>
                  <a:lnTo>
                    <a:pt x="462709" y="605928"/>
                  </a:lnTo>
                  <a:lnTo>
                    <a:pt x="495759" y="627961"/>
                  </a:lnTo>
                  <a:cubicBezTo>
                    <a:pt x="503104" y="616944"/>
                    <a:pt x="507621" y="603387"/>
                    <a:pt x="517793" y="594911"/>
                  </a:cubicBezTo>
                  <a:cubicBezTo>
                    <a:pt x="586186" y="537917"/>
                    <a:pt x="731051" y="581337"/>
                    <a:pt x="782198" y="583894"/>
                  </a:cubicBezTo>
                  <a:cubicBezTo>
                    <a:pt x="793215" y="576549"/>
                    <a:pt x="811061" y="574421"/>
                    <a:pt x="815248" y="561860"/>
                  </a:cubicBezTo>
                  <a:cubicBezTo>
                    <a:pt x="826919" y="526848"/>
                    <a:pt x="820653" y="488169"/>
                    <a:pt x="826265" y="451692"/>
                  </a:cubicBezTo>
                  <a:cubicBezTo>
                    <a:pt x="828031" y="440214"/>
                    <a:pt x="833610" y="429658"/>
                    <a:pt x="837282" y="418641"/>
                  </a:cubicBezTo>
                  <a:cubicBezTo>
                    <a:pt x="829937" y="407624"/>
                    <a:pt x="820626" y="397690"/>
                    <a:pt x="815248" y="385590"/>
                  </a:cubicBezTo>
                  <a:cubicBezTo>
                    <a:pt x="805815" y="364366"/>
                    <a:pt x="800559" y="341523"/>
                    <a:pt x="793215" y="319489"/>
                  </a:cubicBezTo>
                  <a:lnTo>
                    <a:pt x="771181" y="253388"/>
                  </a:lnTo>
                  <a:lnTo>
                    <a:pt x="760164" y="220337"/>
                  </a:lnTo>
                  <a:cubicBezTo>
                    <a:pt x="756492" y="209320"/>
                    <a:pt x="760164" y="190959"/>
                    <a:pt x="749147" y="187287"/>
                  </a:cubicBezTo>
                  <a:lnTo>
                    <a:pt x="683046" y="165253"/>
                  </a:lnTo>
                  <a:cubicBezTo>
                    <a:pt x="672029" y="168925"/>
                    <a:pt x="659063" y="169015"/>
                    <a:pt x="649995" y="176270"/>
                  </a:cubicBezTo>
                  <a:cubicBezTo>
                    <a:pt x="639656" y="184541"/>
                    <a:pt x="637324" y="199958"/>
                    <a:pt x="627962" y="209320"/>
                  </a:cubicBezTo>
                  <a:cubicBezTo>
                    <a:pt x="618599" y="218683"/>
                    <a:pt x="605928" y="224009"/>
                    <a:pt x="594911" y="231354"/>
                  </a:cubicBezTo>
                  <a:lnTo>
                    <a:pt x="528810" y="209320"/>
                  </a:lnTo>
                  <a:cubicBezTo>
                    <a:pt x="511046" y="203398"/>
                    <a:pt x="491891" y="202845"/>
                    <a:pt x="473725" y="198304"/>
                  </a:cubicBezTo>
                  <a:cubicBezTo>
                    <a:pt x="462459" y="195488"/>
                    <a:pt x="451692" y="190959"/>
                    <a:pt x="440675" y="187287"/>
                  </a:cubicBezTo>
                  <a:cubicBezTo>
                    <a:pt x="378245" y="93642"/>
                    <a:pt x="481071" y="238700"/>
                    <a:pt x="352540" y="110169"/>
                  </a:cubicBezTo>
                  <a:cubicBezTo>
                    <a:pt x="327899" y="85528"/>
                    <a:pt x="286332" y="39640"/>
                    <a:pt x="253388" y="33051"/>
                  </a:cubicBezTo>
                  <a:cubicBezTo>
                    <a:pt x="235027" y="29379"/>
                    <a:pt x="216470" y="26576"/>
                    <a:pt x="198304" y="22034"/>
                  </a:cubicBezTo>
                  <a:cubicBezTo>
                    <a:pt x="144946" y="8694"/>
                    <a:pt x="185302" y="11017"/>
                    <a:pt x="143219" y="11017"/>
                  </a:cubicBezTo>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a:spcBef>
                  <a:spcPct val="0"/>
                </a:spcBef>
                <a:buClrTx/>
              </a:pPr>
              <a:endParaRPr lang="en-US" sz="1050" kern="1200">
                <a:solidFill>
                  <a:prstClr val="black"/>
                </a:solidFill>
                <a:latin typeface="Century Gothic" pitchFamily="34" charset="0"/>
                <a:ea typeface="+mn-ea"/>
                <a:cs typeface="+mn-cs"/>
              </a:endParaRPr>
            </a:p>
          </p:txBody>
        </p:sp>
        <p:sp>
          <p:nvSpPr>
            <p:cNvPr id="59" name="Freeform 58"/>
            <p:cNvSpPr/>
            <p:nvPr/>
          </p:nvSpPr>
          <p:spPr bwMode="gray">
            <a:xfrm>
              <a:off x="7827127" y="5499487"/>
              <a:ext cx="349409" cy="542970"/>
            </a:xfrm>
            <a:custGeom>
              <a:avLst/>
              <a:gdLst>
                <a:gd name="connsiteX0" fmla="*/ 246495 w 447513"/>
                <a:gd name="connsiteY0" fmla="*/ 695420 h 695420"/>
                <a:gd name="connsiteX1" fmla="*/ 213445 w 447513"/>
                <a:gd name="connsiteY1" fmla="*/ 684403 h 695420"/>
                <a:gd name="connsiteX2" fmla="*/ 169377 w 447513"/>
                <a:gd name="connsiteY2" fmla="*/ 618301 h 695420"/>
                <a:gd name="connsiteX3" fmla="*/ 158361 w 447513"/>
                <a:gd name="connsiteY3" fmla="*/ 552200 h 695420"/>
                <a:gd name="connsiteX4" fmla="*/ 147344 w 447513"/>
                <a:gd name="connsiteY4" fmla="*/ 386947 h 695420"/>
                <a:gd name="connsiteX5" fmla="*/ 125310 w 447513"/>
                <a:gd name="connsiteY5" fmla="*/ 320846 h 695420"/>
                <a:gd name="connsiteX6" fmla="*/ 103276 w 447513"/>
                <a:gd name="connsiteY6" fmla="*/ 254745 h 695420"/>
                <a:gd name="connsiteX7" fmla="*/ 59209 w 447513"/>
                <a:gd name="connsiteY7" fmla="*/ 188644 h 695420"/>
                <a:gd name="connsiteX8" fmla="*/ 37175 w 447513"/>
                <a:gd name="connsiteY8" fmla="*/ 111526 h 695420"/>
                <a:gd name="connsiteX9" fmla="*/ 15141 w 447513"/>
                <a:gd name="connsiteY9" fmla="*/ 45424 h 695420"/>
                <a:gd name="connsiteX10" fmla="*/ 158361 w 447513"/>
                <a:gd name="connsiteY10" fmla="*/ 56441 h 695420"/>
                <a:gd name="connsiteX11" fmla="*/ 224462 w 447513"/>
                <a:gd name="connsiteY11" fmla="*/ 78475 h 695420"/>
                <a:gd name="connsiteX12" fmla="*/ 290563 w 447513"/>
                <a:gd name="connsiteY12" fmla="*/ 122542 h 695420"/>
                <a:gd name="connsiteX13" fmla="*/ 323614 w 447513"/>
                <a:gd name="connsiteY13" fmla="*/ 144576 h 695420"/>
                <a:gd name="connsiteX14" fmla="*/ 389715 w 447513"/>
                <a:gd name="connsiteY14" fmla="*/ 166610 h 695420"/>
                <a:gd name="connsiteX15" fmla="*/ 444799 w 447513"/>
                <a:gd name="connsiteY15" fmla="*/ 232711 h 695420"/>
                <a:gd name="connsiteX16" fmla="*/ 411749 w 447513"/>
                <a:gd name="connsiteY16" fmla="*/ 309829 h 695420"/>
                <a:gd name="connsiteX17" fmla="*/ 378698 w 447513"/>
                <a:gd name="connsiteY17" fmla="*/ 320846 h 695420"/>
                <a:gd name="connsiteX18" fmla="*/ 334630 w 447513"/>
                <a:gd name="connsiteY18" fmla="*/ 386947 h 695420"/>
                <a:gd name="connsiteX19" fmla="*/ 323614 w 447513"/>
                <a:gd name="connsiteY19" fmla="*/ 419998 h 695420"/>
                <a:gd name="connsiteX20" fmla="*/ 290563 w 447513"/>
                <a:gd name="connsiteY20" fmla="*/ 442032 h 695420"/>
                <a:gd name="connsiteX21" fmla="*/ 257512 w 447513"/>
                <a:gd name="connsiteY21" fmla="*/ 519150 h 695420"/>
                <a:gd name="connsiteX22" fmla="*/ 235479 w 447513"/>
                <a:gd name="connsiteY22" fmla="*/ 585251 h 695420"/>
                <a:gd name="connsiteX23" fmla="*/ 246495 w 447513"/>
                <a:gd name="connsiteY23" fmla="*/ 695420 h 695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7513" h="695420">
                  <a:moveTo>
                    <a:pt x="246495" y="695420"/>
                  </a:moveTo>
                  <a:cubicBezTo>
                    <a:pt x="235478" y="691748"/>
                    <a:pt x="221656" y="692614"/>
                    <a:pt x="213445" y="684403"/>
                  </a:cubicBezTo>
                  <a:cubicBezTo>
                    <a:pt x="194720" y="665678"/>
                    <a:pt x="169377" y="618301"/>
                    <a:pt x="169377" y="618301"/>
                  </a:cubicBezTo>
                  <a:cubicBezTo>
                    <a:pt x="165705" y="596267"/>
                    <a:pt x="160479" y="574437"/>
                    <a:pt x="158361" y="552200"/>
                  </a:cubicBezTo>
                  <a:cubicBezTo>
                    <a:pt x="153127" y="497242"/>
                    <a:pt x="155151" y="441599"/>
                    <a:pt x="147344" y="386947"/>
                  </a:cubicBezTo>
                  <a:cubicBezTo>
                    <a:pt x="144059" y="363955"/>
                    <a:pt x="132655" y="342880"/>
                    <a:pt x="125310" y="320846"/>
                  </a:cubicBezTo>
                  <a:lnTo>
                    <a:pt x="103276" y="254745"/>
                  </a:lnTo>
                  <a:cubicBezTo>
                    <a:pt x="94902" y="229623"/>
                    <a:pt x="67583" y="213766"/>
                    <a:pt x="59209" y="188644"/>
                  </a:cubicBezTo>
                  <a:cubicBezTo>
                    <a:pt x="22184" y="77568"/>
                    <a:pt x="78676" y="249861"/>
                    <a:pt x="37175" y="111526"/>
                  </a:cubicBezTo>
                  <a:cubicBezTo>
                    <a:pt x="30501" y="89280"/>
                    <a:pt x="22486" y="67458"/>
                    <a:pt x="15141" y="45424"/>
                  </a:cubicBezTo>
                  <a:cubicBezTo>
                    <a:pt x="0" y="0"/>
                    <a:pt x="110621" y="52769"/>
                    <a:pt x="158361" y="56441"/>
                  </a:cubicBezTo>
                  <a:lnTo>
                    <a:pt x="224462" y="78475"/>
                  </a:lnTo>
                  <a:cubicBezTo>
                    <a:pt x="249584" y="86849"/>
                    <a:pt x="268529" y="107853"/>
                    <a:pt x="290563" y="122542"/>
                  </a:cubicBezTo>
                  <a:cubicBezTo>
                    <a:pt x="301580" y="129887"/>
                    <a:pt x="311053" y="140389"/>
                    <a:pt x="323614" y="144576"/>
                  </a:cubicBezTo>
                  <a:lnTo>
                    <a:pt x="389715" y="166610"/>
                  </a:lnTo>
                  <a:cubicBezTo>
                    <a:pt x="399040" y="175935"/>
                    <a:pt x="442243" y="214817"/>
                    <a:pt x="444799" y="232711"/>
                  </a:cubicBezTo>
                  <a:cubicBezTo>
                    <a:pt x="447513" y="251708"/>
                    <a:pt x="427366" y="297336"/>
                    <a:pt x="411749" y="309829"/>
                  </a:cubicBezTo>
                  <a:cubicBezTo>
                    <a:pt x="402681" y="317084"/>
                    <a:pt x="389715" y="317174"/>
                    <a:pt x="378698" y="320846"/>
                  </a:cubicBezTo>
                  <a:lnTo>
                    <a:pt x="334630" y="386947"/>
                  </a:lnTo>
                  <a:cubicBezTo>
                    <a:pt x="328188" y="396609"/>
                    <a:pt x="330868" y="410930"/>
                    <a:pt x="323614" y="419998"/>
                  </a:cubicBezTo>
                  <a:cubicBezTo>
                    <a:pt x="315343" y="430337"/>
                    <a:pt x="301580" y="434687"/>
                    <a:pt x="290563" y="442032"/>
                  </a:cubicBezTo>
                  <a:cubicBezTo>
                    <a:pt x="255606" y="494466"/>
                    <a:pt x="276913" y="454477"/>
                    <a:pt x="257512" y="519150"/>
                  </a:cubicBezTo>
                  <a:cubicBezTo>
                    <a:pt x="250838" y="541396"/>
                    <a:pt x="235479" y="585251"/>
                    <a:pt x="235479" y="585251"/>
                  </a:cubicBezTo>
                  <a:lnTo>
                    <a:pt x="246495" y="695420"/>
                  </a:ln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a:spcBef>
                  <a:spcPct val="0"/>
                </a:spcBef>
                <a:buClrTx/>
              </a:pPr>
              <a:endParaRPr lang="en-US" sz="1050" kern="1200" dirty="0" err="1">
                <a:solidFill>
                  <a:prstClr val="black"/>
                </a:solidFill>
                <a:latin typeface="Century Gothic" pitchFamily="34" charset="0"/>
                <a:ea typeface="+mn-ea"/>
                <a:cs typeface="+mn-cs"/>
              </a:endParaRPr>
            </a:p>
          </p:txBody>
        </p:sp>
        <p:sp>
          <p:nvSpPr>
            <p:cNvPr id="60" name="Freeform 59"/>
            <p:cNvSpPr/>
            <p:nvPr/>
          </p:nvSpPr>
          <p:spPr bwMode="gray">
            <a:xfrm>
              <a:off x="8122418" y="5414529"/>
              <a:ext cx="350997" cy="217657"/>
            </a:xfrm>
            <a:custGeom>
              <a:avLst/>
              <a:gdLst>
                <a:gd name="connsiteX0" fmla="*/ 176768 w 449547"/>
                <a:gd name="connsiteY0" fmla="*/ 132203 h 278769"/>
                <a:gd name="connsiteX1" fmla="*/ 66599 w 449547"/>
                <a:gd name="connsiteY1" fmla="*/ 165253 h 278769"/>
                <a:gd name="connsiteX2" fmla="*/ 44565 w 449547"/>
                <a:gd name="connsiteY2" fmla="*/ 198304 h 278769"/>
                <a:gd name="connsiteX3" fmla="*/ 66599 w 449547"/>
                <a:gd name="connsiteY3" fmla="*/ 275422 h 278769"/>
                <a:gd name="connsiteX4" fmla="*/ 110667 w 449547"/>
                <a:gd name="connsiteY4" fmla="*/ 253388 h 278769"/>
                <a:gd name="connsiteX5" fmla="*/ 143717 w 449547"/>
                <a:gd name="connsiteY5" fmla="*/ 242371 h 278769"/>
                <a:gd name="connsiteX6" fmla="*/ 176768 w 449547"/>
                <a:gd name="connsiteY6" fmla="*/ 220338 h 278769"/>
                <a:gd name="connsiteX7" fmla="*/ 242869 w 449547"/>
                <a:gd name="connsiteY7" fmla="*/ 198304 h 278769"/>
                <a:gd name="connsiteX8" fmla="*/ 308970 w 449547"/>
                <a:gd name="connsiteY8" fmla="*/ 165253 h 278769"/>
                <a:gd name="connsiteX9" fmla="*/ 364055 w 449547"/>
                <a:gd name="connsiteY9" fmla="*/ 176270 h 278769"/>
                <a:gd name="connsiteX10" fmla="*/ 430156 w 449547"/>
                <a:gd name="connsiteY10" fmla="*/ 198304 h 278769"/>
                <a:gd name="connsiteX11" fmla="*/ 397105 w 449547"/>
                <a:gd name="connsiteY11" fmla="*/ 99152 h 278769"/>
                <a:gd name="connsiteX12" fmla="*/ 331004 w 449547"/>
                <a:gd name="connsiteY12" fmla="*/ 44068 h 278769"/>
                <a:gd name="connsiteX13" fmla="*/ 264903 w 449547"/>
                <a:gd name="connsiteY13" fmla="*/ 22034 h 278769"/>
                <a:gd name="connsiteX14" fmla="*/ 187785 w 449547"/>
                <a:gd name="connsiteY14" fmla="*/ 0 h 278769"/>
                <a:gd name="connsiteX15" fmla="*/ 132700 w 449547"/>
                <a:gd name="connsiteY15" fmla="*/ 11017 h 278769"/>
                <a:gd name="connsiteX16" fmla="*/ 121683 w 449547"/>
                <a:gd name="connsiteY16" fmla="*/ 44068 h 278769"/>
                <a:gd name="connsiteX17" fmla="*/ 187785 w 449547"/>
                <a:gd name="connsiteY17" fmla="*/ 99152 h 278769"/>
                <a:gd name="connsiteX18" fmla="*/ 176768 w 449547"/>
                <a:gd name="connsiteY18" fmla="*/ 132203 h 278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9547" h="278769">
                  <a:moveTo>
                    <a:pt x="176768" y="132203"/>
                  </a:moveTo>
                  <a:cubicBezTo>
                    <a:pt x="156570" y="143220"/>
                    <a:pt x="100001" y="131851"/>
                    <a:pt x="66599" y="165253"/>
                  </a:cubicBezTo>
                  <a:cubicBezTo>
                    <a:pt x="57236" y="174616"/>
                    <a:pt x="51910" y="187287"/>
                    <a:pt x="44565" y="198304"/>
                  </a:cubicBezTo>
                  <a:cubicBezTo>
                    <a:pt x="17744" y="278769"/>
                    <a:pt x="0" y="258772"/>
                    <a:pt x="66599" y="275422"/>
                  </a:cubicBezTo>
                  <a:cubicBezTo>
                    <a:pt x="81288" y="268077"/>
                    <a:pt x="95572" y="259857"/>
                    <a:pt x="110667" y="253388"/>
                  </a:cubicBezTo>
                  <a:cubicBezTo>
                    <a:pt x="121341" y="248814"/>
                    <a:pt x="133330" y="247564"/>
                    <a:pt x="143717" y="242371"/>
                  </a:cubicBezTo>
                  <a:cubicBezTo>
                    <a:pt x="155560" y="236450"/>
                    <a:pt x="164669" y="225715"/>
                    <a:pt x="176768" y="220338"/>
                  </a:cubicBezTo>
                  <a:cubicBezTo>
                    <a:pt x="197992" y="210905"/>
                    <a:pt x="242869" y="198304"/>
                    <a:pt x="242869" y="198304"/>
                  </a:cubicBezTo>
                  <a:cubicBezTo>
                    <a:pt x="259578" y="187164"/>
                    <a:pt x="286165" y="165253"/>
                    <a:pt x="308970" y="165253"/>
                  </a:cubicBezTo>
                  <a:cubicBezTo>
                    <a:pt x="327695" y="165253"/>
                    <a:pt x="345990" y="171343"/>
                    <a:pt x="364055" y="176270"/>
                  </a:cubicBezTo>
                  <a:cubicBezTo>
                    <a:pt x="386462" y="182381"/>
                    <a:pt x="430156" y="198304"/>
                    <a:pt x="430156" y="198304"/>
                  </a:cubicBezTo>
                  <a:cubicBezTo>
                    <a:pt x="449547" y="140131"/>
                    <a:pt x="447615" y="174916"/>
                    <a:pt x="397105" y="99152"/>
                  </a:cubicBezTo>
                  <a:cubicBezTo>
                    <a:pt x="386179" y="82763"/>
                    <a:pt x="350261" y="52626"/>
                    <a:pt x="331004" y="44068"/>
                  </a:cubicBezTo>
                  <a:cubicBezTo>
                    <a:pt x="309780" y="34635"/>
                    <a:pt x="286937" y="29379"/>
                    <a:pt x="264903" y="22034"/>
                  </a:cubicBezTo>
                  <a:cubicBezTo>
                    <a:pt x="217490" y="6229"/>
                    <a:pt x="243116" y="13833"/>
                    <a:pt x="187785" y="0"/>
                  </a:cubicBezTo>
                  <a:cubicBezTo>
                    <a:pt x="169423" y="3672"/>
                    <a:pt x="148280" y="630"/>
                    <a:pt x="132700" y="11017"/>
                  </a:cubicBezTo>
                  <a:cubicBezTo>
                    <a:pt x="123037" y="17459"/>
                    <a:pt x="118011" y="33051"/>
                    <a:pt x="121683" y="44068"/>
                  </a:cubicBezTo>
                  <a:cubicBezTo>
                    <a:pt x="127742" y="62244"/>
                    <a:pt x="172667" y="89073"/>
                    <a:pt x="187785" y="99152"/>
                  </a:cubicBezTo>
                  <a:cubicBezTo>
                    <a:pt x="214373" y="139035"/>
                    <a:pt x="196966" y="121186"/>
                    <a:pt x="176768" y="132203"/>
                  </a:cubicBez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a:spcBef>
                  <a:spcPct val="0"/>
                </a:spcBef>
                <a:buClrTx/>
              </a:pPr>
              <a:endParaRPr lang="en-US" sz="1050" kern="1200" dirty="0" err="1">
                <a:solidFill>
                  <a:prstClr val="black"/>
                </a:solidFill>
                <a:latin typeface="Century Gothic" pitchFamily="34" charset="0"/>
                <a:ea typeface="+mn-ea"/>
                <a:cs typeface="+mn-cs"/>
              </a:endParaRPr>
            </a:p>
          </p:txBody>
        </p:sp>
        <p:sp>
          <p:nvSpPr>
            <p:cNvPr id="61" name="Freeform 60"/>
            <p:cNvSpPr/>
            <p:nvPr/>
          </p:nvSpPr>
          <p:spPr bwMode="gray">
            <a:xfrm>
              <a:off x="7297039" y="4167276"/>
              <a:ext cx="1135430" cy="1333271"/>
            </a:xfrm>
            <a:custGeom>
              <a:avLst/>
              <a:gdLst>
                <a:gd name="connsiteX0" fmla="*/ 804231 w 1454226"/>
                <a:gd name="connsiteY0" fmla="*/ 1432193 h 1707615"/>
                <a:gd name="connsiteX1" fmla="*/ 771180 w 1454226"/>
                <a:gd name="connsiteY1" fmla="*/ 1443210 h 1707615"/>
                <a:gd name="connsiteX2" fmla="*/ 760163 w 1454226"/>
                <a:gd name="connsiteY2" fmla="*/ 1542362 h 1707615"/>
                <a:gd name="connsiteX3" fmla="*/ 771180 w 1454226"/>
                <a:gd name="connsiteY3" fmla="*/ 1575412 h 1707615"/>
                <a:gd name="connsiteX4" fmla="*/ 804231 w 1454226"/>
                <a:gd name="connsiteY4" fmla="*/ 1597446 h 1707615"/>
                <a:gd name="connsiteX5" fmla="*/ 826265 w 1454226"/>
                <a:gd name="connsiteY5" fmla="*/ 1630497 h 1707615"/>
                <a:gd name="connsiteX6" fmla="*/ 859315 w 1454226"/>
                <a:gd name="connsiteY6" fmla="*/ 1652531 h 1707615"/>
                <a:gd name="connsiteX7" fmla="*/ 969484 w 1454226"/>
                <a:gd name="connsiteY7" fmla="*/ 1685581 h 1707615"/>
                <a:gd name="connsiteX8" fmla="*/ 1035585 w 1454226"/>
                <a:gd name="connsiteY8" fmla="*/ 1707615 h 1707615"/>
                <a:gd name="connsiteX9" fmla="*/ 1112703 w 1454226"/>
                <a:gd name="connsiteY9" fmla="*/ 1674564 h 1707615"/>
                <a:gd name="connsiteX10" fmla="*/ 1101686 w 1454226"/>
                <a:gd name="connsiteY10" fmla="*/ 1597446 h 1707615"/>
                <a:gd name="connsiteX11" fmla="*/ 1112703 w 1454226"/>
                <a:gd name="connsiteY11" fmla="*/ 1564396 h 1707615"/>
                <a:gd name="connsiteX12" fmla="*/ 1145754 w 1454226"/>
                <a:gd name="connsiteY12" fmla="*/ 1531345 h 1707615"/>
                <a:gd name="connsiteX13" fmla="*/ 1134737 w 1454226"/>
                <a:gd name="connsiteY13" fmla="*/ 1498294 h 1707615"/>
                <a:gd name="connsiteX14" fmla="*/ 1068636 w 1454226"/>
                <a:gd name="connsiteY14" fmla="*/ 1476261 h 1707615"/>
                <a:gd name="connsiteX15" fmla="*/ 1035585 w 1454226"/>
                <a:gd name="connsiteY15" fmla="*/ 1454227 h 1707615"/>
                <a:gd name="connsiteX16" fmla="*/ 1024568 w 1454226"/>
                <a:gd name="connsiteY16" fmla="*/ 1421176 h 1707615"/>
                <a:gd name="connsiteX17" fmla="*/ 1068636 w 1454226"/>
                <a:gd name="connsiteY17" fmla="*/ 1355075 h 1707615"/>
                <a:gd name="connsiteX18" fmla="*/ 1134737 w 1454226"/>
                <a:gd name="connsiteY18" fmla="*/ 1333041 h 1707615"/>
                <a:gd name="connsiteX19" fmla="*/ 1167788 w 1454226"/>
                <a:gd name="connsiteY19" fmla="*/ 1322025 h 1707615"/>
                <a:gd name="connsiteX20" fmla="*/ 1200838 w 1454226"/>
                <a:gd name="connsiteY20" fmla="*/ 1288974 h 1707615"/>
                <a:gd name="connsiteX21" fmla="*/ 1377108 w 1454226"/>
                <a:gd name="connsiteY21" fmla="*/ 1255923 h 1707615"/>
                <a:gd name="connsiteX22" fmla="*/ 1421176 w 1454226"/>
                <a:gd name="connsiteY22" fmla="*/ 1244906 h 1707615"/>
                <a:gd name="connsiteX23" fmla="*/ 1454226 w 1454226"/>
                <a:gd name="connsiteY23" fmla="*/ 1178805 h 1707615"/>
                <a:gd name="connsiteX24" fmla="*/ 1443209 w 1454226"/>
                <a:gd name="connsiteY24" fmla="*/ 1101687 h 1707615"/>
                <a:gd name="connsiteX25" fmla="*/ 1432192 w 1454226"/>
                <a:gd name="connsiteY25" fmla="*/ 1068637 h 1707615"/>
                <a:gd name="connsiteX26" fmla="*/ 1377108 w 1454226"/>
                <a:gd name="connsiteY26" fmla="*/ 1002535 h 1707615"/>
                <a:gd name="connsiteX27" fmla="*/ 1311007 w 1454226"/>
                <a:gd name="connsiteY27" fmla="*/ 969485 h 1707615"/>
                <a:gd name="connsiteX28" fmla="*/ 1244906 w 1454226"/>
                <a:gd name="connsiteY28" fmla="*/ 925417 h 1707615"/>
                <a:gd name="connsiteX29" fmla="*/ 1222872 w 1454226"/>
                <a:gd name="connsiteY29" fmla="*/ 892367 h 1707615"/>
                <a:gd name="connsiteX30" fmla="*/ 1277956 w 1454226"/>
                <a:gd name="connsiteY30" fmla="*/ 804232 h 1707615"/>
                <a:gd name="connsiteX31" fmla="*/ 1333041 w 1454226"/>
                <a:gd name="connsiteY31" fmla="*/ 705080 h 1707615"/>
                <a:gd name="connsiteX32" fmla="*/ 1255923 w 1454226"/>
                <a:gd name="connsiteY32" fmla="*/ 672029 h 1707615"/>
                <a:gd name="connsiteX33" fmla="*/ 1189821 w 1454226"/>
                <a:gd name="connsiteY33" fmla="*/ 649996 h 1707615"/>
                <a:gd name="connsiteX34" fmla="*/ 1178804 w 1454226"/>
                <a:gd name="connsiteY34" fmla="*/ 550844 h 1707615"/>
                <a:gd name="connsiteX35" fmla="*/ 1211855 w 1454226"/>
                <a:gd name="connsiteY35" fmla="*/ 539827 h 1707615"/>
                <a:gd name="connsiteX36" fmla="*/ 1244906 w 1454226"/>
                <a:gd name="connsiteY36" fmla="*/ 506776 h 1707615"/>
                <a:gd name="connsiteX37" fmla="*/ 1233889 w 1454226"/>
                <a:gd name="connsiteY37" fmla="*/ 473726 h 1707615"/>
                <a:gd name="connsiteX38" fmla="*/ 1178804 w 1454226"/>
                <a:gd name="connsiteY38" fmla="*/ 429658 h 1707615"/>
                <a:gd name="connsiteX39" fmla="*/ 1145754 w 1454226"/>
                <a:gd name="connsiteY39" fmla="*/ 407625 h 1707615"/>
                <a:gd name="connsiteX40" fmla="*/ 1101686 w 1454226"/>
                <a:gd name="connsiteY40" fmla="*/ 385591 h 1707615"/>
                <a:gd name="connsiteX41" fmla="*/ 1057619 w 1454226"/>
                <a:gd name="connsiteY41" fmla="*/ 539827 h 1707615"/>
                <a:gd name="connsiteX42" fmla="*/ 1013551 w 1454226"/>
                <a:gd name="connsiteY42" fmla="*/ 528810 h 1707615"/>
                <a:gd name="connsiteX43" fmla="*/ 958467 w 1454226"/>
                <a:gd name="connsiteY43" fmla="*/ 451692 h 1707615"/>
                <a:gd name="connsiteX44" fmla="*/ 848298 w 1454226"/>
                <a:gd name="connsiteY44" fmla="*/ 484743 h 1707615"/>
                <a:gd name="connsiteX45" fmla="*/ 837282 w 1454226"/>
                <a:gd name="connsiteY45" fmla="*/ 517793 h 1707615"/>
                <a:gd name="connsiteX46" fmla="*/ 782197 w 1454226"/>
                <a:gd name="connsiteY46" fmla="*/ 407625 h 1707615"/>
                <a:gd name="connsiteX47" fmla="*/ 760163 w 1454226"/>
                <a:gd name="connsiteY47" fmla="*/ 341523 h 1707615"/>
                <a:gd name="connsiteX48" fmla="*/ 749147 w 1454226"/>
                <a:gd name="connsiteY48" fmla="*/ 308473 h 1707615"/>
                <a:gd name="connsiteX49" fmla="*/ 738130 w 1454226"/>
                <a:gd name="connsiteY49" fmla="*/ 220338 h 1707615"/>
                <a:gd name="connsiteX50" fmla="*/ 716096 w 1454226"/>
                <a:gd name="connsiteY50" fmla="*/ 154237 h 1707615"/>
                <a:gd name="connsiteX51" fmla="*/ 749147 w 1454226"/>
                <a:gd name="connsiteY51" fmla="*/ 143220 h 1707615"/>
                <a:gd name="connsiteX52" fmla="*/ 804231 w 1454226"/>
                <a:gd name="connsiteY52" fmla="*/ 132203 h 1707615"/>
                <a:gd name="connsiteX53" fmla="*/ 826265 w 1454226"/>
                <a:gd name="connsiteY53" fmla="*/ 99152 h 1707615"/>
                <a:gd name="connsiteX54" fmla="*/ 771180 w 1454226"/>
                <a:gd name="connsiteY54" fmla="*/ 33051 h 1707615"/>
                <a:gd name="connsiteX55" fmla="*/ 705079 w 1454226"/>
                <a:gd name="connsiteY55" fmla="*/ 55085 h 1707615"/>
                <a:gd name="connsiteX56" fmla="*/ 627961 w 1454226"/>
                <a:gd name="connsiteY56" fmla="*/ 44068 h 1707615"/>
                <a:gd name="connsiteX57" fmla="*/ 594910 w 1454226"/>
                <a:gd name="connsiteY57" fmla="*/ 33051 h 1707615"/>
                <a:gd name="connsiteX58" fmla="*/ 495759 w 1454226"/>
                <a:gd name="connsiteY58" fmla="*/ 22034 h 1707615"/>
                <a:gd name="connsiteX59" fmla="*/ 396607 w 1454226"/>
                <a:gd name="connsiteY59" fmla="*/ 0 h 1707615"/>
                <a:gd name="connsiteX60" fmla="*/ 462708 w 1454226"/>
                <a:gd name="connsiteY60" fmla="*/ 44068 h 1707615"/>
                <a:gd name="connsiteX61" fmla="*/ 495759 w 1454226"/>
                <a:gd name="connsiteY61" fmla="*/ 66102 h 1707615"/>
                <a:gd name="connsiteX62" fmla="*/ 528809 w 1454226"/>
                <a:gd name="connsiteY62" fmla="*/ 99152 h 1707615"/>
                <a:gd name="connsiteX63" fmla="*/ 539826 w 1454226"/>
                <a:gd name="connsiteY63" fmla="*/ 132203 h 1707615"/>
                <a:gd name="connsiteX64" fmla="*/ 561860 w 1454226"/>
                <a:gd name="connsiteY64" fmla="*/ 165253 h 1707615"/>
                <a:gd name="connsiteX65" fmla="*/ 550843 w 1454226"/>
                <a:gd name="connsiteY65" fmla="*/ 220338 h 1707615"/>
                <a:gd name="connsiteX66" fmla="*/ 517792 w 1454226"/>
                <a:gd name="connsiteY66" fmla="*/ 231355 h 1707615"/>
                <a:gd name="connsiteX67" fmla="*/ 429657 w 1454226"/>
                <a:gd name="connsiteY67" fmla="*/ 242372 h 1707615"/>
                <a:gd name="connsiteX68" fmla="*/ 418641 w 1454226"/>
                <a:gd name="connsiteY68" fmla="*/ 275422 h 1707615"/>
                <a:gd name="connsiteX69" fmla="*/ 418641 w 1454226"/>
                <a:gd name="connsiteY69" fmla="*/ 363557 h 1707615"/>
                <a:gd name="connsiteX70" fmla="*/ 374573 w 1454226"/>
                <a:gd name="connsiteY70" fmla="*/ 385591 h 1707615"/>
                <a:gd name="connsiteX71" fmla="*/ 176270 w 1454226"/>
                <a:gd name="connsiteY71" fmla="*/ 374574 h 1707615"/>
                <a:gd name="connsiteX72" fmla="*/ 0 w 1454226"/>
                <a:gd name="connsiteY72" fmla="*/ 374574 h 1707615"/>
                <a:gd name="connsiteX73" fmla="*/ 22033 w 1454226"/>
                <a:gd name="connsiteY73" fmla="*/ 407625 h 1707615"/>
                <a:gd name="connsiteX74" fmla="*/ 88135 w 1454226"/>
                <a:gd name="connsiteY74" fmla="*/ 429658 h 1707615"/>
                <a:gd name="connsiteX75" fmla="*/ 99151 w 1454226"/>
                <a:gd name="connsiteY75" fmla="*/ 462709 h 1707615"/>
                <a:gd name="connsiteX76" fmla="*/ 121185 w 1454226"/>
                <a:gd name="connsiteY76" fmla="*/ 495759 h 1707615"/>
                <a:gd name="connsiteX77" fmla="*/ 55084 w 1454226"/>
                <a:gd name="connsiteY77" fmla="*/ 528810 h 1707615"/>
                <a:gd name="connsiteX78" fmla="*/ 121185 w 1454226"/>
                <a:gd name="connsiteY78" fmla="*/ 572878 h 1707615"/>
                <a:gd name="connsiteX79" fmla="*/ 154236 w 1454226"/>
                <a:gd name="connsiteY79" fmla="*/ 594911 h 1707615"/>
                <a:gd name="connsiteX80" fmla="*/ 176270 w 1454226"/>
                <a:gd name="connsiteY80" fmla="*/ 627962 h 1707615"/>
                <a:gd name="connsiteX81" fmla="*/ 198303 w 1454226"/>
                <a:gd name="connsiteY81" fmla="*/ 694063 h 1707615"/>
                <a:gd name="connsiteX82" fmla="*/ 187286 w 1454226"/>
                <a:gd name="connsiteY82" fmla="*/ 738131 h 1707615"/>
                <a:gd name="connsiteX83" fmla="*/ 176270 w 1454226"/>
                <a:gd name="connsiteY83" fmla="*/ 771181 h 1707615"/>
                <a:gd name="connsiteX84" fmla="*/ 220337 w 1454226"/>
                <a:gd name="connsiteY84" fmla="*/ 870333 h 1707615"/>
                <a:gd name="connsiteX85" fmla="*/ 231354 w 1454226"/>
                <a:gd name="connsiteY85" fmla="*/ 903384 h 1707615"/>
                <a:gd name="connsiteX86" fmla="*/ 220337 w 1454226"/>
                <a:gd name="connsiteY86" fmla="*/ 980502 h 1707615"/>
                <a:gd name="connsiteX87" fmla="*/ 154236 w 1454226"/>
                <a:gd name="connsiteY87" fmla="*/ 1013552 h 1707615"/>
                <a:gd name="connsiteX88" fmla="*/ 143219 w 1454226"/>
                <a:gd name="connsiteY88" fmla="*/ 1046603 h 1707615"/>
                <a:gd name="connsiteX89" fmla="*/ 187286 w 1454226"/>
                <a:gd name="connsiteY89" fmla="*/ 1112704 h 1707615"/>
                <a:gd name="connsiteX90" fmla="*/ 242371 w 1454226"/>
                <a:gd name="connsiteY90" fmla="*/ 1167788 h 1707615"/>
                <a:gd name="connsiteX91" fmla="*/ 264404 w 1454226"/>
                <a:gd name="connsiteY91" fmla="*/ 1233890 h 1707615"/>
                <a:gd name="connsiteX92" fmla="*/ 297455 w 1454226"/>
                <a:gd name="connsiteY92" fmla="*/ 1299991 h 1707615"/>
                <a:gd name="connsiteX93" fmla="*/ 363556 w 1454226"/>
                <a:gd name="connsiteY93" fmla="*/ 1322025 h 1707615"/>
                <a:gd name="connsiteX94" fmla="*/ 473725 w 1454226"/>
                <a:gd name="connsiteY94" fmla="*/ 1344058 h 1707615"/>
                <a:gd name="connsiteX95" fmla="*/ 517792 w 1454226"/>
                <a:gd name="connsiteY95" fmla="*/ 1355075 h 1707615"/>
                <a:gd name="connsiteX96" fmla="*/ 649995 w 1454226"/>
                <a:gd name="connsiteY96" fmla="*/ 1366092 h 1707615"/>
                <a:gd name="connsiteX97" fmla="*/ 738130 w 1454226"/>
                <a:gd name="connsiteY97" fmla="*/ 1377109 h 1707615"/>
                <a:gd name="connsiteX98" fmla="*/ 760163 w 1454226"/>
                <a:gd name="connsiteY98" fmla="*/ 1465244 h 1707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454226" h="1707615">
                  <a:moveTo>
                    <a:pt x="804231" y="1432193"/>
                  </a:moveTo>
                  <a:cubicBezTo>
                    <a:pt x="793214" y="1435865"/>
                    <a:pt x="780248" y="1435955"/>
                    <a:pt x="771180" y="1443210"/>
                  </a:cubicBezTo>
                  <a:cubicBezTo>
                    <a:pt x="734424" y="1472616"/>
                    <a:pt x="750906" y="1500706"/>
                    <a:pt x="760163" y="1542362"/>
                  </a:cubicBezTo>
                  <a:cubicBezTo>
                    <a:pt x="762682" y="1553698"/>
                    <a:pt x="763926" y="1566344"/>
                    <a:pt x="771180" y="1575412"/>
                  </a:cubicBezTo>
                  <a:cubicBezTo>
                    <a:pt x="779452" y="1585751"/>
                    <a:pt x="793214" y="1590101"/>
                    <a:pt x="804231" y="1597446"/>
                  </a:cubicBezTo>
                  <a:cubicBezTo>
                    <a:pt x="811576" y="1608463"/>
                    <a:pt x="816902" y="1621134"/>
                    <a:pt x="826265" y="1630497"/>
                  </a:cubicBezTo>
                  <a:cubicBezTo>
                    <a:pt x="835627" y="1639860"/>
                    <a:pt x="847216" y="1647154"/>
                    <a:pt x="859315" y="1652531"/>
                  </a:cubicBezTo>
                  <a:cubicBezTo>
                    <a:pt x="913243" y="1676499"/>
                    <a:pt x="920185" y="1670791"/>
                    <a:pt x="969484" y="1685581"/>
                  </a:cubicBezTo>
                  <a:cubicBezTo>
                    <a:pt x="991730" y="1692255"/>
                    <a:pt x="1035585" y="1707615"/>
                    <a:pt x="1035585" y="1707615"/>
                  </a:cubicBezTo>
                  <a:cubicBezTo>
                    <a:pt x="1045414" y="1705158"/>
                    <a:pt x="1108228" y="1694704"/>
                    <a:pt x="1112703" y="1674564"/>
                  </a:cubicBezTo>
                  <a:cubicBezTo>
                    <a:pt x="1118336" y="1649215"/>
                    <a:pt x="1105358" y="1623152"/>
                    <a:pt x="1101686" y="1597446"/>
                  </a:cubicBezTo>
                  <a:cubicBezTo>
                    <a:pt x="1105358" y="1586429"/>
                    <a:pt x="1106261" y="1574058"/>
                    <a:pt x="1112703" y="1564396"/>
                  </a:cubicBezTo>
                  <a:cubicBezTo>
                    <a:pt x="1121346" y="1551432"/>
                    <a:pt x="1140827" y="1546126"/>
                    <a:pt x="1145754" y="1531345"/>
                  </a:cubicBezTo>
                  <a:cubicBezTo>
                    <a:pt x="1149426" y="1520328"/>
                    <a:pt x="1144187" y="1505044"/>
                    <a:pt x="1134737" y="1498294"/>
                  </a:cubicBezTo>
                  <a:cubicBezTo>
                    <a:pt x="1115838" y="1484795"/>
                    <a:pt x="1087961" y="1489144"/>
                    <a:pt x="1068636" y="1476261"/>
                  </a:cubicBezTo>
                  <a:lnTo>
                    <a:pt x="1035585" y="1454227"/>
                  </a:lnTo>
                  <a:cubicBezTo>
                    <a:pt x="1031913" y="1443210"/>
                    <a:pt x="1024568" y="1432789"/>
                    <a:pt x="1024568" y="1421176"/>
                  </a:cubicBezTo>
                  <a:cubicBezTo>
                    <a:pt x="1024568" y="1382187"/>
                    <a:pt x="1035430" y="1369834"/>
                    <a:pt x="1068636" y="1355075"/>
                  </a:cubicBezTo>
                  <a:cubicBezTo>
                    <a:pt x="1089860" y="1345642"/>
                    <a:pt x="1112703" y="1340385"/>
                    <a:pt x="1134737" y="1333041"/>
                  </a:cubicBezTo>
                  <a:lnTo>
                    <a:pt x="1167788" y="1322025"/>
                  </a:lnTo>
                  <a:cubicBezTo>
                    <a:pt x="1178805" y="1311008"/>
                    <a:pt x="1187219" y="1296541"/>
                    <a:pt x="1200838" y="1288974"/>
                  </a:cubicBezTo>
                  <a:cubicBezTo>
                    <a:pt x="1252627" y="1260202"/>
                    <a:pt x="1322206" y="1261413"/>
                    <a:pt x="1377108" y="1255923"/>
                  </a:cubicBezTo>
                  <a:cubicBezTo>
                    <a:pt x="1391797" y="1252251"/>
                    <a:pt x="1408578" y="1253305"/>
                    <a:pt x="1421176" y="1244906"/>
                  </a:cubicBezTo>
                  <a:cubicBezTo>
                    <a:pt x="1439481" y="1232703"/>
                    <a:pt x="1447942" y="1197657"/>
                    <a:pt x="1454226" y="1178805"/>
                  </a:cubicBezTo>
                  <a:cubicBezTo>
                    <a:pt x="1450554" y="1153099"/>
                    <a:pt x="1448302" y="1127150"/>
                    <a:pt x="1443209" y="1101687"/>
                  </a:cubicBezTo>
                  <a:cubicBezTo>
                    <a:pt x="1440932" y="1090300"/>
                    <a:pt x="1437385" y="1079024"/>
                    <a:pt x="1432192" y="1068637"/>
                  </a:cubicBezTo>
                  <a:cubicBezTo>
                    <a:pt x="1419811" y="1043875"/>
                    <a:pt x="1397994" y="1019940"/>
                    <a:pt x="1377108" y="1002535"/>
                  </a:cubicBezTo>
                  <a:cubicBezTo>
                    <a:pt x="1318419" y="953628"/>
                    <a:pt x="1370629" y="1002609"/>
                    <a:pt x="1311007" y="969485"/>
                  </a:cubicBezTo>
                  <a:cubicBezTo>
                    <a:pt x="1287858" y="956624"/>
                    <a:pt x="1244906" y="925417"/>
                    <a:pt x="1244906" y="925417"/>
                  </a:cubicBezTo>
                  <a:cubicBezTo>
                    <a:pt x="1237561" y="914400"/>
                    <a:pt x="1222872" y="905608"/>
                    <a:pt x="1222872" y="892367"/>
                  </a:cubicBezTo>
                  <a:cubicBezTo>
                    <a:pt x="1222872" y="831185"/>
                    <a:pt x="1240529" y="829183"/>
                    <a:pt x="1277956" y="804232"/>
                  </a:cubicBezTo>
                  <a:cubicBezTo>
                    <a:pt x="1328466" y="728468"/>
                    <a:pt x="1313650" y="763253"/>
                    <a:pt x="1333041" y="705080"/>
                  </a:cubicBezTo>
                  <a:cubicBezTo>
                    <a:pt x="1280607" y="670124"/>
                    <a:pt x="1320594" y="691430"/>
                    <a:pt x="1255923" y="672029"/>
                  </a:cubicBezTo>
                  <a:cubicBezTo>
                    <a:pt x="1233677" y="665355"/>
                    <a:pt x="1189821" y="649996"/>
                    <a:pt x="1189821" y="649996"/>
                  </a:cubicBezTo>
                  <a:cubicBezTo>
                    <a:pt x="1165625" y="613700"/>
                    <a:pt x="1148358" y="604125"/>
                    <a:pt x="1178804" y="550844"/>
                  </a:cubicBezTo>
                  <a:cubicBezTo>
                    <a:pt x="1184566" y="540761"/>
                    <a:pt x="1200838" y="543499"/>
                    <a:pt x="1211855" y="539827"/>
                  </a:cubicBezTo>
                  <a:cubicBezTo>
                    <a:pt x="1222872" y="528810"/>
                    <a:pt x="1239979" y="521557"/>
                    <a:pt x="1244906" y="506776"/>
                  </a:cubicBezTo>
                  <a:cubicBezTo>
                    <a:pt x="1248578" y="495759"/>
                    <a:pt x="1239082" y="484113"/>
                    <a:pt x="1233889" y="473726"/>
                  </a:cubicBezTo>
                  <a:cubicBezTo>
                    <a:pt x="1209126" y="424202"/>
                    <a:pt x="1221160" y="450835"/>
                    <a:pt x="1178804" y="429658"/>
                  </a:cubicBezTo>
                  <a:cubicBezTo>
                    <a:pt x="1166961" y="423737"/>
                    <a:pt x="1157250" y="414194"/>
                    <a:pt x="1145754" y="407625"/>
                  </a:cubicBezTo>
                  <a:cubicBezTo>
                    <a:pt x="1131495" y="399477"/>
                    <a:pt x="1116375" y="392936"/>
                    <a:pt x="1101686" y="385591"/>
                  </a:cubicBezTo>
                  <a:cubicBezTo>
                    <a:pt x="1098075" y="432537"/>
                    <a:pt x="1134082" y="539827"/>
                    <a:pt x="1057619" y="539827"/>
                  </a:cubicBezTo>
                  <a:cubicBezTo>
                    <a:pt x="1042478" y="539827"/>
                    <a:pt x="1028240" y="532482"/>
                    <a:pt x="1013551" y="528810"/>
                  </a:cubicBezTo>
                  <a:cubicBezTo>
                    <a:pt x="987846" y="451692"/>
                    <a:pt x="1013552" y="470054"/>
                    <a:pt x="958467" y="451692"/>
                  </a:cubicBezTo>
                  <a:cubicBezTo>
                    <a:pt x="924718" y="456513"/>
                    <a:pt x="874157" y="452419"/>
                    <a:pt x="848298" y="484743"/>
                  </a:cubicBezTo>
                  <a:cubicBezTo>
                    <a:pt x="841044" y="493811"/>
                    <a:pt x="840954" y="506776"/>
                    <a:pt x="837282" y="517793"/>
                  </a:cubicBezTo>
                  <a:cubicBezTo>
                    <a:pt x="774304" y="475808"/>
                    <a:pt x="818261" y="515817"/>
                    <a:pt x="782197" y="407625"/>
                  </a:cubicBezTo>
                  <a:lnTo>
                    <a:pt x="760163" y="341523"/>
                  </a:lnTo>
                  <a:lnTo>
                    <a:pt x="749147" y="308473"/>
                  </a:lnTo>
                  <a:cubicBezTo>
                    <a:pt x="745475" y="279095"/>
                    <a:pt x="744334" y="249288"/>
                    <a:pt x="738130" y="220338"/>
                  </a:cubicBezTo>
                  <a:cubicBezTo>
                    <a:pt x="733264" y="197628"/>
                    <a:pt x="716096" y="154237"/>
                    <a:pt x="716096" y="154237"/>
                  </a:cubicBezTo>
                  <a:cubicBezTo>
                    <a:pt x="727113" y="150565"/>
                    <a:pt x="737881" y="146037"/>
                    <a:pt x="749147" y="143220"/>
                  </a:cubicBezTo>
                  <a:cubicBezTo>
                    <a:pt x="767313" y="138678"/>
                    <a:pt x="787973" y="141493"/>
                    <a:pt x="804231" y="132203"/>
                  </a:cubicBezTo>
                  <a:cubicBezTo>
                    <a:pt x="815727" y="125634"/>
                    <a:pt x="818920" y="110169"/>
                    <a:pt x="826265" y="99152"/>
                  </a:cubicBezTo>
                  <a:cubicBezTo>
                    <a:pt x="817560" y="55630"/>
                    <a:pt x="829143" y="27255"/>
                    <a:pt x="771180" y="33051"/>
                  </a:cubicBezTo>
                  <a:cubicBezTo>
                    <a:pt x="748070" y="35362"/>
                    <a:pt x="705079" y="55085"/>
                    <a:pt x="705079" y="55085"/>
                  </a:cubicBezTo>
                  <a:cubicBezTo>
                    <a:pt x="679373" y="51413"/>
                    <a:pt x="653424" y="49161"/>
                    <a:pt x="627961" y="44068"/>
                  </a:cubicBezTo>
                  <a:cubicBezTo>
                    <a:pt x="616574" y="41790"/>
                    <a:pt x="606365" y="34960"/>
                    <a:pt x="594910" y="33051"/>
                  </a:cubicBezTo>
                  <a:cubicBezTo>
                    <a:pt x="562109" y="27584"/>
                    <a:pt x="528679" y="26737"/>
                    <a:pt x="495759" y="22034"/>
                  </a:cubicBezTo>
                  <a:cubicBezTo>
                    <a:pt x="463121" y="17371"/>
                    <a:pt x="428684" y="8019"/>
                    <a:pt x="396607" y="0"/>
                  </a:cubicBezTo>
                  <a:lnTo>
                    <a:pt x="462708" y="44068"/>
                  </a:lnTo>
                  <a:cubicBezTo>
                    <a:pt x="473725" y="51413"/>
                    <a:pt x="486396" y="56739"/>
                    <a:pt x="495759" y="66102"/>
                  </a:cubicBezTo>
                  <a:lnTo>
                    <a:pt x="528809" y="99152"/>
                  </a:lnTo>
                  <a:cubicBezTo>
                    <a:pt x="532481" y="110169"/>
                    <a:pt x="534632" y="121816"/>
                    <a:pt x="539826" y="132203"/>
                  </a:cubicBezTo>
                  <a:cubicBezTo>
                    <a:pt x="545747" y="144046"/>
                    <a:pt x="560218" y="152115"/>
                    <a:pt x="561860" y="165253"/>
                  </a:cubicBezTo>
                  <a:cubicBezTo>
                    <a:pt x="564183" y="183834"/>
                    <a:pt x="561230" y="204758"/>
                    <a:pt x="550843" y="220338"/>
                  </a:cubicBezTo>
                  <a:cubicBezTo>
                    <a:pt x="544401" y="230001"/>
                    <a:pt x="529218" y="229278"/>
                    <a:pt x="517792" y="231355"/>
                  </a:cubicBezTo>
                  <a:cubicBezTo>
                    <a:pt x="488663" y="236651"/>
                    <a:pt x="459035" y="238700"/>
                    <a:pt x="429657" y="242372"/>
                  </a:cubicBezTo>
                  <a:cubicBezTo>
                    <a:pt x="425985" y="253389"/>
                    <a:pt x="418641" y="263809"/>
                    <a:pt x="418641" y="275422"/>
                  </a:cubicBezTo>
                  <a:cubicBezTo>
                    <a:pt x="418641" y="310673"/>
                    <a:pt x="448017" y="328306"/>
                    <a:pt x="418641" y="363557"/>
                  </a:cubicBezTo>
                  <a:cubicBezTo>
                    <a:pt x="408127" y="376174"/>
                    <a:pt x="389262" y="378246"/>
                    <a:pt x="374573" y="385591"/>
                  </a:cubicBezTo>
                  <a:lnTo>
                    <a:pt x="176270" y="374574"/>
                  </a:lnTo>
                  <a:cubicBezTo>
                    <a:pt x="21226" y="364238"/>
                    <a:pt x="89621" y="352168"/>
                    <a:pt x="0" y="374574"/>
                  </a:cubicBezTo>
                  <a:cubicBezTo>
                    <a:pt x="7344" y="385591"/>
                    <a:pt x="10805" y="400608"/>
                    <a:pt x="22033" y="407625"/>
                  </a:cubicBezTo>
                  <a:cubicBezTo>
                    <a:pt x="41728" y="419935"/>
                    <a:pt x="88135" y="429658"/>
                    <a:pt x="88135" y="429658"/>
                  </a:cubicBezTo>
                  <a:cubicBezTo>
                    <a:pt x="91807" y="440675"/>
                    <a:pt x="93958" y="452322"/>
                    <a:pt x="99151" y="462709"/>
                  </a:cubicBezTo>
                  <a:cubicBezTo>
                    <a:pt x="105072" y="474552"/>
                    <a:pt x="123781" y="482776"/>
                    <a:pt x="121185" y="495759"/>
                  </a:cubicBezTo>
                  <a:cubicBezTo>
                    <a:pt x="118134" y="511014"/>
                    <a:pt x="65910" y="525201"/>
                    <a:pt x="55084" y="528810"/>
                  </a:cubicBezTo>
                  <a:lnTo>
                    <a:pt x="121185" y="572878"/>
                  </a:lnTo>
                  <a:lnTo>
                    <a:pt x="154236" y="594911"/>
                  </a:lnTo>
                  <a:cubicBezTo>
                    <a:pt x="161581" y="605928"/>
                    <a:pt x="170892" y="615862"/>
                    <a:pt x="176270" y="627962"/>
                  </a:cubicBezTo>
                  <a:cubicBezTo>
                    <a:pt x="185703" y="649186"/>
                    <a:pt x="198303" y="694063"/>
                    <a:pt x="198303" y="694063"/>
                  </a:cubicBezTo>
                  <a:cubicBezTo>
                    <a:pt x="194631" y="708752"/>
                    <a:pt x="191446" y="723572"/>
                    <a:pt x="187286" y="738131"/>
                  </a:cubicBezTo>
                  <a:cubicBezTo>
                    <a:pt x="184096" y="749297"/>
                    <a:pt x="174988" y="759640"/>
                    <a:pt x="176270" y="771181"/>
                  </a:cubicBezTo>
                  <a:cubicBezTo>
                    <a:pt x="184391" y="844269"/>
                    <a:pt x="195738" y="821135"/>
                    <a:pt x="220337" y="870333"/>
                  </a:cubicBezTo>
                  <a:cubicBezTo>
                    <a:pt x="225530" y="880720"/>
                    <a:pt x="227682" y="892367"/>
                    <a:pt x="231354" y="903384"/>
                  </a:cubicBezTo>
                  <a:cubicBezTo>
                    <a:pt x="227682" y="929090"/>
                    <a:pt x="230883" y="956773"/>
                    <a:pt x="220337" y="980502"/>
                  </a:cubicBezTo>
                  <a:cubicBezTo>
                    <a:pt x="212909" y="997214"/>
                    <a:pt x="168900" y="1008664"/>
                    <a:pt x="154236" y="1013552"/>
                  </a:cubicBezTo>
                  <a:cubicBezTo>
                    <a:pt x="150564" y="1024569"/>
                    <a:pt x="139547" y="1035586"/>
                    <a:pt x="143219" y="1046603"/>
                  </a:cubicBezTo>
                  <a:cubicBezTo>
                    <a:pt x="151593" y="1071725"/>
                    <a:pt x="172597" y="1090670"/>
                    <a:pt x="187286" y="1112704"/>
                  </a:cubicBezTo>
                  <a:cubicBezTo>
                    <a:pt x="216664" y="1156772"/>
                    <a:pt x="198303" y="1138411"/>
                    <a:pt x="242371" y="1167788"/>
                  </a:cubicBezTo>
                  <a:lnTo>
                    <a:pt x="264404" y="1233890"/>
                  </a:lnTo>
                  <a:cubicBezTo>
                    <a:pt x="270407" y="1251898"/>
                    <a:pt x="279471" y="1288751"/>
                    <a:pt x="297455" y="1299991"/>
                  </a:cubicBezTo>
                  <a:cubicBezTo>
                    <a:pt x="317150" y="1312301"/>
                    <a:pt x="341522" y="1314681"/>
                    <a:pt x="363556" y="1322025"/>
                  </a:cubicBezTo>
                  <a:cubicBezTo>
                    <a:pt x="431424" y="1344647"/>
                    <a:pt x="362342" y="1323806"/>
                    <a:pt x="473725" y="1344058"/>
                  </a:cubicBezTo>
                  <a:cubicBezTo>
                    <a:pt x="488622" y="1346767"/>
                    <a:pt x="502768" y="1353197"/>
                    <a:pt x="517792" y="1355075"/>
                  </a:cubicBezTo>
                  <a:cubicBezTo>
                    <a:pt x="561671" y="1360560"/>
                    <a:pt x="605994" y="1361692"/>
                    <a:pt x="649995" y="1366092"/>
                  </a:cubicBezTo>
                  <a:cubicBezTo>
                    <a:pt x="679455" y="1369038"/>
                    <a:pt x="708752" y="1373437"/>
                    <a:pt x="738130" y="1377109"/>
                  </a:cubicBezTo>
                  <a:cubicBezTo>
                    <a:pt x="770348" y="1425437"/>
                    <a:pt x="760163" y="1396919"/>
                    <a:pt x="760163" y="1465244"/>
                  </a:cubicBezTo>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a:spcBef>
                  <a:spcPct val="0"/>
                </a:spcBef>
                <a:buClrTx/>
              </a:pPr>
              <a:endParaRPr lang="en-US" sz="1050" kern="1200">
                <a:solidFill>
                  <a:prstClr val="black"/>
                </a:solidFill>
                <a:latin typeface="Century Gothic" pitchFamily="34" charset="0"/>
                <a:ea typeface="+mn-ea"/>
                <a:cs typeface="+mn-cs"/>
              </a:endParaRPr>
            </a:p>
          </p:txBody>
        </p:sp>
        <p:sp>
          <p:nvSpPr>
            <p:cNvPr id="56" name="Freeform 55"/>
            <p:cNvSpPr/>
            <p:nvPr/>
          </p:nvSpPr>
          <p:spPr bwMode="gray">
            <a:xfrm>
              <a:off x="8002382" y="4236090"/>
              <a:ext cx="133360" cy="272049"/>
            </a:xfrm>
            <a:custGeom>
              <a:avLst/>
              <a:gdLst>
                <a:gd name="connsiteX0" fmla="*/ 66101 w 170804"/>
                <a:gd name="connsiteY0" fmla="*/ 187287 h 348432"/>
                <a:gd name="connsiteX1" fmla="*/ 33050 w 170804"/>
                <a:gd name="connsiteY1" fmla="*/ 198304 h 348432"/>
                <a:gd name="connsiteX2" fmla="*/ 0 w 170804"/>
                <a:gd name="connsiteY2" fmla="*/ 286439 h 348432"/>
                <a:gd name="connsiteX3" fmla="*/ 11017 w 170804"/>
                <a:gd name="connsiteY3" fmla="*/ 319490 h 348432"/>
                <a:gd name="connsiteX4" fmla="*/ 165253 w 170804"/>
                <a:gd name="connsiteY4" fmla="*/ 308473 h 348432"/>
                <a:gd name="connsiteX5" fmla="*/ 154236 w 170804"/>
                <a:gd name="connsiteY5" fmla="*/ 242371 h 348432"/>
                <a:gd name="connsiteX6" fmla="*/ 143219 w 170804"/>
                <a:gd name="connsiteY6" fmla="*/ 209321 h 348432"/>
                <a:gd name="connsiteX7" fmla="*/ 99152 w 170804"/>
                <a:gd name="connsiteY7" fmla="*/ 11017 h 348432"/>
                <a:gd name="connsiteX8" fmla="*/ 66101 w 170804"/>
                <a:gd name="connsiteY8" fmla="*/ 0 h 348432"/>
                <a:gd name="connsiteX9" fmla="*/ 55084 w 170804"/>
                <a:gd name="connsiteY9" fmla="*/ 44068 h 348432"/>
                <a:gd name="connsiteX10" fmla="*/ 66101 w 170804"/>
                <a:gd name="connsiteY10" fmla="*/ 88135 h 348432"/>
                <a:gd name="connsiteX11" fmla="*/ 77118 w 170804"/>
                <a:gd name="connsiteY11" fmla="*/ 143220 h 348432"/>
                <a:gd name="connsiteX12" fmla="*/ 66101 w 170804"/>
                <a:gd name="connsiteY12" fmla="*/ 187287 h 34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804" h="348432">
                  <a:moveTo>
                    <a:pt x="66101" y="187287"/>
                  </a:moveTo>
                  <a:cubicBezTo>
                    <a:pt x="58756" y="196468"/>
                    <a:pt x="41262" y="190092"/>
                    <a:pt x="33050" y="198304"/>
                  </a:cubicBezTo>
                  <a:cubicBezTo>
                    <a:pt x="13848" y="217506"/>
                    <a:pt x="6147" y="261850"/>
                    <a:pt x="0" y="286439"/>
                  </a:cubicBezTo>
                  <a:cubicBezTo>
                    <a:pt x="3672" y="297456"/>
                    <a:pt x="1949" y="312235"/>
                    <a:pt x="11017" y="319490"/>
                  </a:cubicBezTo>
                  <a:cubicBezTo>
                    <a:pt x="47195" y="348432"/>
                    <a:pt x="149615" y="311601"/>
                    <a:pt x="165253" y="308473"/>
                  </a:cubicBezTo>
                  <a:cubicBezTo>
                    <a:pt x="161581" y="286439"/>
                    <a:pt x="159082" y="264177"/>
                    <a:pt x="154236" y="242371"/>
                  </a:cubicBezTo>
                  <a:cubicBezTo>
                    <a:pt x="151717" y="231035"/>
                    <a:pt x="144501" y="220863"/>
                    <a:pt x="143219" y="209321"/>
                  </a:cubicBezTo>
                  <a:cubicBezTo>
                    <a:pt x="132705" y="114697"/>
                    <a:pt x="170804" y="58786"/>
                    <a:pt x="99152" y="11017"/>
                  </a:cubicBezTo>
                  <a:cubicBezTo>
                    <a:pt x="89489" y="4575"/>
                    <a:pt x="77118" y="3672"/>
                    <a:pt x="66101" y="0"/>
                  </a:cubicBezTo>
                  <a:cubicBezTo>
                    <a:pt x="62429" y="14689"/>
                    <a:pt x="55084" y="28927"/>
                    <a:pt x="55084" y="44068"/>
                  </a:cubicBezTo>
                  <a:cubicBezTo>
                    <a:pt x="55084" y="59209"/>
                    <a:pt x="62816" y="73354"/>
                    <a:pt x="66101" y="88135"/>
                  </a:cubicBezTo>
                  <a:cubicBezTo>
                    <a:pt x="70163" y="106414"/>
                    <a:pt x="73446" y="124858"/>
                    <a:pt x="77118" y="143220"/>
                  </a:cubicBezTo>
                  <a:cubicBezTo>
                    <a:pt x="62816" y="186124"/>
                    <a:pt x="73446" y="178106"/>
                    <a:pt x="66101" y="187287"/>
                  </a:cubicBez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a:spcBef>
                  <a:spcPct val="0"/>
                </a:spcBef>
                <a:buClrTx/>
              </a:pPr>
              <a:endParaRPr lang="en-US" sz="1050" kern="1200" dirty="0" err="1">
                <a:solidFill>
                  <a:prstClr val="black"/>
                </a:solidFill>
                <a:latin typeface="Century Gothic" pitchFamily="34" charset="0"/>
                <a:ea typeface="+mn-ea"/>
                <a:cs typeface="+mn-cs"/>
              </a:endParaRPr>
            </a:p>
          </p:txBody>
        </p:sp>
        <p:sp>
          <p:nvSpPr>
            <p:cNvPr id="57" name="Freeform 56"/>
            <p:cNvSpPr/>
            <p:nvPr/>
          </p:nvSpPr>
          <p:spPr bwMode="gray">
            <a:xfrm>
              <a:off x="7964199" y="4029374"/>
              <a:ext cx="640305" cy="714220"/>
            </a:xfrm>
            <a:custGeom>
              <a:avLst/>
              <a:gdLst>
                <a:gd name="connsiteX0" fmla="*/ 126022 w 820084"/>
                <a:gd name="connsiteY0" fmla="*/ 231706 h 914752"/>
                <a:gd name="connsiteX1" fmla="*/ 81954 w 820084"/>
                <a:gd name="connsiteY1" fmla="*/ 220689 h 914752"/>
                <a:gd name="connsiteX2" fmla="*/ 26870 w 820084"/>
                <a:gd name="connsiteY2" fmla="*/ 209672 h 914752"/>
                <a:gd name="connsiteX3" fmla="*/ 15853 w 820084"/>
                <a:gd name="connsiteY3" fmla="*/ 176621 h 914752"/>
                <a:gd name="connsiteX4" fmla="*/ 137039 w 820084"/>
                <a:gd name="connsiteY4" fmla="*/ 154588 h 914752"/>
                <a:gd name="connsiteX5" fmla="*/ 236191 w 820084"/>
                <a:gd name="connsiteY5" fmla="*/ 99503 h 914752"/>
                <a:gd name="connsiteX6" fmla="*/ 302292 w 820084"/>
                <a:gd name="connsiteY6" fmla="*/ 66453 h 914752"/>
                <a:gd name="connsiteX7" fmla="*/ 324325 w 820084"/>
                <a:gd name="connsiteY7" fmla="*/ 33402 h 914752"/>
                <a:gd name="connsiteX8" fmla="*/ 434494 w 820084"/>
                <a:gd name="connsiteY8" fmla="*/ 352 h 914752"/>
                <a:gd name="connsiteX9" fmla="*/ 544663 w 820084"/>
                <a:gd name="connsiteY9" fmla="*/ 11368 h 914752"/>
                <a:gd name="connsiteX10" fmla="*/ 610764 w 820084"/>
                <a:gd name="connsiteY10" fmla="*/ 33402 h 914752"/>
                <a:gd name="connsiteX11" fmla="*/ 676865 w 820084"/>
                <a:gd name="connsiteY11" fmla="*/ 55436 h 914752"/>
                <a:gd name="connsiteX12" fmla="*/ 709916 w 820084"/>
                <a:gd name="connsiteY12" fmla="*/ 77470 h 914752"/>
                <a:gd name="connsiteX13" fmla="*/ 765000 w 820084"/>
                <a:gd name="connsiteY13" fmla="*/ 176621 h 914752"/>
                <a:gd name="connsiteX14" fmla="*/ 709916 w 820084"/>
                <a:gd name="connsiteY14" fmla="*/ 242723 h 914752"/>
                <a:gd name="connsiteX15" fmla="*/ 687882 w 820084"/>
                <a:gd name="connsiteY15" fmla="*/ 308824 h 914752"/>
                <a:gd name="connsiteX16" fmla="*/ 698899 w 820084"/>
                <a:gd name="connsiteY16" fmla="*/ 474077 h 914752"/>
                <a:gd name="connsiteX17" fmla="*/ 720933 w 820084"/>
                <a:gd name="connsiteY17" fmla="*/ 540178 h 914752"/>
                <a:gd name="connsiteX18" fmla="*/ 742966 w 820084"/>
                <a:gd name="connsiteY18" fmla="*/ 606279 h 914752"/>
                <a:gd name="connsiteX19" fmla="*/ 765000 w 820084"/>
                <a:gd name="connsiteY19" fmla="*/ 694414 h 914752"/>
                <a:gd name="connsiteX20" fmla="*/ 798051 w 820084"/>
                <a:gd name="connsiteY20" fmla="*/ 793566 h 914752"/>
                <a:gd name="connsiteX21" fmla="*/ 809068 w 820084"/>
                <a:gd name="connsiteY21" fmla="*/ 826617 h 914752"/>
                <a:gd name="connsiteX22" fmla="*/ 820084 w 820084"/>
                <a:gd name="connsiteY22" fmla="*/ 859667 h 914752"/>
                <a:gd name="connsiteX23" fmla="*/ 776017 w 820084"/>
                <a:gd name="connsiteY23" fmla="*/ 914752 h 914752"/>
                <a:gd name="connsiteX24" fmla="*/ 742966 w 820084"/>
                <a:gd name="connsiteY24" fmla="*/ 892718 h 914752"/>
                <a:gd name="connsiteX25" fmla="*/ 709916 w 820084"/>
                <a:gd name="connsiteY25" fmla="*/ 881701 h 914752"/>
                <a:gd name="connsiteX26" fmla="*/ 643815 w 820084"/>
                <a:gd name="connsiteY26" fmla="*/ 837633 h 914752"/>
                <a:gd name="connsiteX27" fmla="*/ 489578 w 820084"/>
                <a:gd name="connsiteY27" fmla="*/ 826617 h 914752"/>
                <a:gd name="connsiteX28" fmla="*/ 346359 w 820084"/>
                <a:gd name="connsiteY28" fmla="*/ 793566 h 914752"/>
                <a:gd name="connsiteX29" fmla="*/ 357376 w 820084"/>
                <a:gd name="connsiteY29" fmla="*/ 749499 h 914752"/>
                <a:gd name="connsiteX30" fmla="*/ 401444 w 820084"/>
                <a:gd name="connsiteY30" fmla="*/ 683397 h 914752"/>
                <a:gd name="connsiteX31" fmla="*/ 390427 w 820084"/>
                <a:gd name="connsiteY31" fmla="*/ 628313 h 914752"/>
                <a:gd name="connsiteX32" fmla="*/ 324325 w 820084"/>
                <a:gd name="connsiteY32" fmla="*/ 595262 h 914752"/>
                <a:gd name="connsiteX33" fmla="*/ 291275 w 820084"/>
                <a:gd name="connsiteY33" fmla="*/ 573229 h 914752"/>
                <a:gd name="connsiteX34" fmla="*/ 236191 w 820084"/>
                <a:gd name="connsiteY34" fmla="*/ 474077 h 914752"/>
                <a:gd name="connsiteX35" fmla="*/ 225174 w 820084"/>
                <a:gd name="connsiteY35" fmla="*/ 385942 h 914752"/>
                <a:gd name="connsiteX36" fmla="*/ 214157 w 820084"/>
                <a:gd name="connsiteY36" fmla="*/ 352891 h 914752"/>
                <a:gd name="connsiteX37" fmla="*/ 203140 w 820084"/>
                <a:gd name="connsiteY37" fmla="*/ 286790 h 914752"/>
                <a:gd name="connsiteX38" fmla="*/ 192123 w 820084"/>
                <a:gd name="connsiteY38" fmla="*/ 242723 h 914752"/>
                <a:gd name="connsiteX39" fmla="*/ 159072 w 820084"/>
                <a:gd name="connsiteY39" fmla="*/ 231706 h 914752"/>
                <a:gd name="connsiteX40" fmla="*/ 126022 w 820084"/>
                <a:gd name="connsiteY40" fmla="*/ 231706 h 914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820084" h="914752">
                  <a:moveTo>
                    <a:pt x="126022" y="231706"/>
                  </a:moveTo>
                  <a:cubicBezTo>
                    <a:pt x="113169" y="229870"/>
                    <a:pt x="96735" y="223974"/>
                    <a:pt x="81954" y="220689"/>
                  </a:cubicBezTo>
                  <a:cubicBezTo>
                    <a:pt x="63675" y="216627"/>
                    <a:pt x="42450" y="220059"/>
                    <a:pt x="26870" y="209672"/>
                  </a:cubicBezTo>
                  <a:cubicBezTo>
                    <a:pt x="17207" y="203230"/>
                    <a:pt x="19525" y="187638"/>
                    <a:pt x="15853" y="176621"/>
                  </a:cubicBezTo>
                  <a:cubicBezTo>
                    <a:pt x="91654" y="151356"/>
                    <a:pt x="0" y="179505"/>
                    <a:pt x="137039" y="154588"/>
                  </a:cubicBezTo>
                  <a:cubicBezTo>
                    <a:pt x="210126" y="141299"/>
                    <a:pt x="126416" y="136096"/>
                    <a:pt x="236191" y="99503"/>
                  </a:cubicBezTo>
                  <a:cubicBezTo>
                    <a:pt x="281802" y="84299"/>
                    <a:pt x="259579" y="94927"/>
                    <a:pt x="302292" y="66453"/>
                  </a:cubicBezTo>
                  <a:cubicBezTo>
                    <a:pt x="309636" y="55436"/>
                    <a:pt x="314963" y="42765"/>
                    <a:pt x="324325" y="33402"/>
                  </a:cubicBezTo>
                  <a:cubicBezTo>
                    <a:pt x="357726" y="0"/>
                    <a:pt x="385954" y="7286"/>
                    <a:pt x="434494" y="352"/>
                  </a:cubicBezTo>
                  <a:cubicBezTo>
                    <a:pt x="471217" y="4024"/>
                    <a:pt x="508389" y="4567"/>
                    <a:pt x="544663" y="11368"/>
                  </a:cubicBezTo>
                  <a:cubicBezTo>
                    <a:pt x="567491" y="15648"/>
                    <a:pt x="588730" y="26057"/>
                    <a:pt x="610764" y="33402"/>
                  </a:cubicBezTo>
                  <a:lnTo>
                    <a:pt x="676865" y="55436"/>
                  </a:lnTo>
                  <a:cubicBezTo>
                    <a:pt x="689426" y="59623"/>
                    <a:pt x="698899" y="70125"/>
                    <a:pt x="709916" y="77470"/>
                  </a:cubicBezTo>
                  <a:cubicBezTo>
                    <a:pt x="760424" y="153233"/>
                    <a:pt x="745609" y="118449"/>
                    <a:pt x="765000" y="176621"/>
                  </a:cubicBezTo>
                  <a:cubicBezTo>
                    <a:pt x="744245" y="197376"/>
                    <a:pt x="722186" y="215115"/>
                    <a:pt x="709916" y="242723"/>
                  </a:cubicBezTo>
                  <a:cubicBezTo>
                    <a:pt x="700483" y="263947"/>
                    <a:pt x="687882" y="308824"/>
                    <a:pt x="687882" y="308824"/>
                  </a:cubicBezTo>
                  <a:cubicBezTo>
                    <a:pt x="691554" y="363908"/>
                    <a:pt x="691092" y="419425"/>
                    <a:pt x="698899" y="474077"/>
                  </a:cubicBezTo>
                  <a:cubicBezTo>
                    <a:pt x="702184" y="497069"/>
                    <a:pt x="713588" y="518144"/>
                    <a:pt x="720933" y="540178"/>
                  </a:cubicBezTo>
                  <a:lnTo>
                    <a:pt x="742966" y="606279"/>
                  </a:lnTo>
                  <a:cubicBezTo>
                    <a:pt x="752542" y="635008"/>
                    <a:pt x="755424" y="665686"/>
                    <a:pt x="765000" y="694414"/>
                  </a:cubicBezTo>
                  <a:lnTo>
                    <a:pt x="798051" y="793566"/>
                  </a:lnTo>
                  <a:lnTo>
                    <a:pt x="809068" y="826617"/>
                  </a:lnTo>
                  <a:lnTo>
                    <a:pt x="820084" y="859667"/>
                  </a:lnTo>
                  <a:cubicBezTo>
                    <a:pt x="813205" y="880305"/>
                    <a:pt x="809239" y="914752"/>
                    <a:pt x="776017" y="914752"/>
                  </a:cubicBezTo>
                  <a:cubicBezTo>
                    <a:pt x="762776" y="914752"/>
                    <a:pt x="754809" y="898640"/>
                    <a:pt x="742966" y="892718"/>
                  </a:cubicBezTo>
                  <a:cubicBezTo>
                    <a:pt x="732579" y="887525"/>
                    <a:pt x="720067" y="887341"/>
                    <a:pt x="709916" y="881701"/>
                  </a:cubicBezTo>
                  <a:cubicBezTo>
                    <a:pt x="686767" y="868840"/>
                    <a:pt x="670229" y="839520"/>
                    <a:pt x="643815" y="837633"/>
                  </a:cubicBezTo>
                  <a:lnTo>
                    <a:pt x="489578" y="826617"/>
                  </a:lnTo>
                  <a:cubicBezTo>
                    <a:pt x="398843" y="796371"/>
                    <a:pt x="446469" y="807868"/>
                    <a:pt x="346359" y="793566"/>
                  </a:cubicBezTo>
                  <a:cubicBezTo>
                    <a:pt x="350031" y="778877"/>
                    <a:pt x="349864" y="762645"/>
                    <a:pt x="357376" y="749499"/>
                  </a:cubicBezTo>
                  <a:cubicBezTo>
                    <a:pt x="423395" y="633967"/>
                    <a:pt x="367048" y="786586"/>
                    <a:pt x="401444" y="683397"/>
                  </a:cubicBezTo>
                  <a:cubicBezTo>
                    <a:pt x="397772" y="665036"/>
                    <a:pt x="399717" y="644571"/>
                    <a:pt x="390427" y="628313"/>
                  </a:cubicBezTo>
                  <a:cubicBezTo>
                    <a:pt x="377798" y="606212"/>
                    <a:pt x="343552" y="604875"/>
                    <a:pt x="324325" y="595262"/>
                  </a:cubicBezTo>
                  <a:cubicBezTo>
                    <a:pt x="312482" y="589341"/>
                    <a:pt x="302292" y="580573"/>
                    <a:pt x="291275" y="573229"/>
                  </a:cubicBezTo>
                  <a:cubicBezTo>
                    <a:pt x="240766" y="497465"/>
                    <a:pt x="255581" y="532250"/>
                    <a:pt x="236191" y="474077"/>
                  </a:cubicBezTo>
                  <a:cubicBezTo>
                    <a:pt x="232519" y="444699"/>
                    <a:pt x="230470" y="415071"/>
                    <a:pt x="225174" y="385942"/>
                  </a:cubicBezTo>
                  <a:cubicBezTo>
                    <a:pt x="223097" y="374516"/>
                    <a:pt x="216676" y="364227"/>
                    <a:pt x="214157" y="352891"/>
                  </a:cubicBezTo>
                  <a:cubicBezTo>
                    <a:pt x="209311" y="331085"/>
                    <a:pt x="207521" y="308694"/>
                    <a:pt x="203140" y="286790"/>
                  </a:cubicBezTo>
                  <a:cubicBezTo>
                    <a:pt x="200171" y="271943"/>
                    <a:pt x="201582" y="254546"/>
                    <a:pt x="192123" y="242723"/>
                  </a:cubicBezTo>
                  <a:cubicBezTo>
                    <a:pt x="184868" y="233655"/>
                    <a:pt x="170627" y="232862"/>
                    <a:pt x="159072" y="231706"/>
                  </a:cubicBezTo>
                  <a:cubicBezTo>
                    <a:pt x="133494" y="229148"/>
                    <a:pt x="138875" y="233542"/>
                    <a:pt x="126022" y="231706"/>
                  </a:cubicBez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a:spcBef>
                  <a:spcPct val="0"/>
                </a:spcBef>
                <a:buClrTx/>
              </a:pPr>
              <a:endParaRPr lang="en-US" sz="1050" kern="1200" dirty="0" err="1">
                <a:solidFill>
                  <a:prstClr val="black"/>
                </a:solidFill>
                <a:latin typeface="Century Gothic" pitchFamily="34" charset="0"/>
                <a:ea typeface="+mn-ea"/>
                <a:cs typeface="+mn-cs"/>
              </a:endParaRPr>
            </a:p>
          </p:txBody>
        </p:sp>
        <p:sp>
          <p:nvSpPr>
            <p:cNvPr id="54" name="Freeform 53"/>
            <p:cNvSpPr/>
            <p:nvPr/>
          </p:nvSpPr>
          <p:spPr bwMode="gray">
            <a:xfrm>
              <a:off x="7004579" y="4096466"/>
              <a:ext cx="170977" cy="303057"/>
            </a:xfrm>
            <a:custGeom>
              <a:avLst/>
              <a:gdLst>
                <a:gd name="connsiteX0" fmla="*/ 88135 w 218983"/>
                <a:gd name="connsiteY0" fmla="*/ 57641 h 388147"/>
                <a:gd name="connsiteX1" fmla="*/ 22034 w 218983"/>
                <a:gd name="connsiteY1" fmla="*/ 2556 h 388147"/>
                <a:gd name="connsiteX2" fmla="*/ 0 w 218983"/>
                <a:gd name="connsiteY2" fmla="*/ 35607 h 388147"/>
                <a:gd name="connsiteX3" fmla="*/ 22034 w 218983"/>
                <a:gd name="connsiteY3" fmla="*/ 134759 h 388147"/>
                <a:gd name="connsiteX4" fmla="*/ 55084 w 218983"/>
                <a:gd name="connsiteY4" fmla="*/ 156793 h 388147"/>
                <a:gd name="connsiteX5" fmla="*/ 44068 w 218983"/>
                <a:gd name="connsiteY5" fmla="*/ 222894 h 388147"/>
                <a:gd name="connsiteX6" fmla="*/ 22034 w 218983"/>
                <a:gd name="connsiteY6" fmla="*/ 288995 h 388147"/>
                <a:gd name="connsiteX7" fmla="*/ 66101 w 218983"/>
                <a:gd name="connsiteY7" fmla="*/ 388147 h 388147"/>
                <a:gd name="connsiteX8" fmla="*/ 99152 w 218983"/>
                <a:gd name="connsiteY8" fmla="*/ 366113 h 388147"/>
                <a:gd name="connsiteX9" fmla="*/ 143219 w 218983"/>
                <a:gd name="connsiteY9" fmla="*/ 266961 h 388147"/>
                <a:gd name="connsiteX10" fmla="*/ 165253 w 218983"/>
                <a:gd name="connsiteY10" fmla="*/ 233911 h 388147"/>
                <a:gd name="connsiteX11" fmla="*/ 198304 w 218983"/>
                <a:gd name="connsiteY11" fmla="*/ 167809 h 388147"/>
                <a:gd name="connsiteX12" fmla="*/ 209321 w 218983"/>
                <a:gd name="connsiteY12" fmla="*/ 134759 h 388147"/>
                <a:gd name="connsiteX13" fmla="*/ 132203 w 218983"/>
                <a:gd name="connsiteY13" fmla="*/ 156793 h 388147"/>
                <a:gd name="connsiteX14" fmla="*/ 55084 w 218983"/>
                <a:gd name="connsiteY14" fmla="*/ 68658 h 388147"/>
                <a:gd name="connsiteX15" fmla="*/ 88135 w 218983"/>
                <a:gd name="connsiteY15" fmla="*/ 57641 h 388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8983" h="388147">
                  <a:moveTo>
                    <a:pt x="88135" y="57641"/>
                  </a:moveTo>
                  <a:cubicBezTo>
                    <a:pt x="84827" y="54333"/>
                    <a:pt x="34815" y="0"/>
                    <a:pt x="22034" y="2556"/>
                  </a:cubicBezTo>
                  <a:cubicBezTo>
                    <a:pt x="9050" y="5153"/>
                    <a:pt x="7345" y="24590"/>
                    <a:pt x="0" y="35607"/>
                  </a:cubicBezTo>
                  <a:cubicBezTo>
                    <a:pt x="113" y="36285"/>
                    <a:pt x="10615" y="120484"/>
                    <a:pt x="22034" y="134759"/>
                  </a:cubicBezTo>
                  <a:cubicBezTo>
                    <a:pt x="30305" y="145098"/>
                    <a:pt x="44067" y="149448"/>
                    <a:pt x="55084" y="156793"/>
                  </a:cubicBezTo>
                  <a:cubicBezTo>
                    <a:pt x="51412" y="178827"/>
                    <a:pt x="49486" y="201223"/>
                    <a:pt x="44068" y="222894"/>
                  </a:cubicBezTo>
                  <a:cubicBezTo>
                    <a:pt x="38435" y="245426"/>
                    <a:pt x="22034" y="288995"/>
                    <a:pt x="22034" y="288995"/>
                  </a:cubicBezTo>
                  <a:cubicBezTo>
                    <a:pt x="24715" y="307759"/>
                    <a:pt x="16651" y="388147"/>
                    <a:pt x="66101" y="388147"/>
                  </a:cubicBezTo>
                  <a:cubicBezTo>
                    <a:pt x="79342" y="388147"/>
                    <a:pt x="88135" y="373458"/>
                    <a:pt x="99152" y="366113"/>
                  </a:cubicBezTo>
                  <a:cubicBezTo>
                    <a:pt x="134070" y="313738"/>
                    <a:pt x="116999" y="345624"/>
                    <a:pt x="143219" y="266961"/>
                  </a:cubicBezTo>
                  <a:cubicBezTo>
                    <a:pt x="147406" y="254400"/>
                    <a:pt x="157908" y="244928"/>
                    <a:pt x="165253" y="233911"/>
                  </a:cubicBezTo>
                  <a:cubicBezTo>
                    <a:pt x="192943" y="150840"/>
                    <a:pt x="155592" y="253232"/>
                    <a:pt x="198304" y="167809"/>
                  </a:cubicBezTo>
                  <a:cubicBezTo>
                    <a:pt x="203497" y="157422"/>
                    <a:pt x="218983" y="141200"/>
                    <a:pt x="209321" y="134759"/>
                  </a:cubicBezTo>
                  <a:cubicBezTo>
                    <a:pt x="204709" y="131685"/>
                    <a:pt x="140716" y="153955"/>
                    <a:pt x="132203" y="156793"/>
                  </a:cubicBezTo>
                  <a:cubicBezTo>
                    <a:pt x="102825" y="137208"/>
                    <a:pt x="55084" y="111501"/>
                    <a:pt x="55084" y="68658"/>
                  </a:cubicBezTo>
                  <a:lnTo>
                    <a:pt x="88135" y="57641"/>
                  </a:ln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a:spcBef>
                  <a:spcPct val="0"/>
                </a:spcBef>
                <a:buClrTx/>
              </a:pPr>
              <a:endParaRPr lang="en-US" sz="1050" kern="1200" dirty="0" err="1">
                <a:solidFill>
                  <a:prstClr val="black"/>
                </a:solidFill>
                <a:latin typeface="Century Gothic" pitchFamily="34" charset="0"/>
                <a:ea typeface="+mn-ea"/>
                <a:cs typeface="+mn-cs"/>
              </a:endParaRPr>
            </a:p>
          </p:txBody>
        </p:sp>
        <p:sp>
          <p:nvSpPr>
            <p:cNvPr id="55" name="Freeform 54"/>
            <p:cNvSpPr/>
            <p:nvPr/>
          </p:nvSpPr>
          <p:spPr bwMode="gray">
            <a:xfrm>
              <a:off x="5241222" y="2908607"/>
              <a:ext cx="2124453" cy="1574510"/>
            </a:xfrm>
            <a:custGeom>
              <a:avLst/>
              <a:gdLst>
                <a:gd name="connsiteX0" fmla="*/ 11017 w 2720939"/>
                <a:gd name="connsiteY0" fmla="*/ 1623084 h 2016587"/>
                <a:gd name="connsiteX1" fmla="*/ 44068 w 2720939"/>
                <a:gd name="connsiteY1" fmla="*/ 1634101 h 2016587"/>
                <a:gd name="connsiteX2" fmla="*/ 110169 w 2720939"/>
                <a:gd name="connsiteY2" fmla="*/ 1678169 h 2016587"/>
                <a:gd name="connsiteX3" fmla="*/ 187287 w 2720939"/>
                <a:gd name="connsiteY3" fmla="*/ 1689185 h 2016587"/>
                <a:gd name="connsiteX4" fmla="*/ 220338 w 2720939"/>
                <a:gd name="connsiteY4" fmla="*/ 1700202 h 2016587"/>
                <a:gd name="connsiteX5" fmla="*/ 286439 w 2720939"/>
                <a:gd name="connsiteY5" fmla="*/ 1733253 h 2016587"/>
                <a:gd name="connsiteX6" fmla="*/ 330506 w 2720939"/>
                <a:gd name="connsiteY6" fmla="*/ 1722236 h 2016587"/>
                <a:gd name="connsiteX7" fmla="*/ 363557 w 2720939"/>
                <a:gd name="connsiteY7" fmla="*/ 1656135 h 2016587"/>
                <a:gd name="connsiteX8" fmla="*/ 396608 w 2720939"/>
                <a:gd name="connsiteY8" fmla="*/ 1645118 h 2016587"/>
                <a:gd name="connsiteX9" fmla="*/ 561861 w 2720939"/>
                <a:gd name="connsiteY9" fmla="*/ 1678169 h 2016587"/>
                <a:gd name="connsiteX10" fmla="*/ 572877 w 2720939"/>
                <a:gd name="connsiteY10" fmla="*/ 1711219 h 2016587"/>
                <a:gd name="connsiteX11" fmla="*/ 649995 w 2720939"/>
                <a:gd name="connsiteY11" fmla="*/ 1700202 h 2016587"/>
                <a:gd name="connsiteX12" fmla="*/ 638979 w 2720939"/>
                <a:gd name="connsiteY12" fmla="*/ 1667152 h 2016587"/>
                <a:gd name="connsiteX13" fmla="*/ 683046 w 2720939"/>
                <a:gd name="connsiteY13" fmla="*/ 1601051 h 2016587"/>
                <a:gd name="connsiteX14" fmla="*/ 793215 w 2720939"/>
                <a:gd name="connsiteY14" fmla="*/ 1612067 h 2016587"/>
                <a:gd name="connsiteX15" fmla="*/ 804232 w 2720939"/>
                <a:gd name="connsiteY15" fmla="*/ 1689185 h 2016587"/>
                <a:gd name="connsiteX16" fmla="*/ 848299 w 2720939"/>
                <a:gd name="connsiteY16" fmla="*/ 1700202 h 2016587"/>
                <a:gd name="connsiteX17" fmla="*/ 881350 w 2720939"/>
                <a:gd name="connsiteY17" fmla="*/ 1678169 h 2016587"/>
                <a:gd name="connsiteX18" fmla="*/ 903383 w 2720939"/>
                <a:gd name="connsiteY18" fmla="*/ 1645118 h 2016587"/>
                <a:gd name="connsiteX19" fmla="*/ 969485 w 2720939"/>
                <a:gd name="connsiteY19" fmla="*/ 1601051 h 2016587"/>
                <a:gd name="connsiteX20" fmla="*/ 1002535 w 2720939"/>
                <a:gd name="connsiteY20" fmla="*/ 1579017 h 2016587"/>
                <a:gd name="connsiteX21" fmla="*/ 1057620 w 2720939"/>
                <a:gd name="connsiteY21" fmla="*/ 1523932 h 2016587"/>
                <a:gd name="connsiteX22" fmla="*/ 1090670 w 2720939"/>
                <a:gd name="connsiteY22" fmla="*/ 1534949 h 2016587"/>
                <a:gd name="connsiteX23" fmla="*/ 1156771 w 2720939"/>
                <a:gd name="connsiteY23" fmla="*/ 1579017 h 2016587"/>
                <a:gd name="connsiteX24" fmla="*/ 1189822 w 2720939"/>
                <a:gd name="connsiteY24" fmla="*/ 1601051 h 2016587"/>
                <a:gd name="connsiteX25" fmla="*/ 1222873 w 2720939"/>
                <a:gd name="connsiteY25" fmla="*/ 1623084 h 2016587"/>
                <a:gd name="connsiteX26" fmla="*/ 1255923 w 2720939"/>
                <a:gd name="connsiteY26" fmla="*/ 1689185 h 2016587"/>
                <a:gd name="connsiteX27" fmla="*/ 1277957 w 2720939"/>
                <a:gd name="connsiteY27" fmla="*/ 1777320 h 2016587"/>
                <a:gd name="connsiteX28" fmla="*/ 1344058 w 2720939"/>
                <a:gd name="connsiteY28" fmla="*/ 1810371 h 2016587"/>
                <a:gd name="connsiteX29" fmla="*/ 1377109 w 2720939"/>
                <a:gd name="connsiteY29" fmla="*/ 1832405 h 2016587"/>
                <a:gd name="connsiteX30" fmla="*/ 1421176 w 2720939"/>
                <a:gd name="connsiteY30" fmla="*/ 1887489 h 2016587"/>
                <a:gd name="connsiteX31" fmla="*/ 1498294 w 2720939"/>
                <a:gd name="connsiteY31" fmla="*/ 1964607 h 2016587"/>
                <a:gd name="connsiteX32" fmla="*/ 1531345 w 2720939"/>
                <a:gd name="connsiteY32" fmla="*/ 1986641 h 2016587"/>
                <a:gd name="connsiteX33" fmla="*/ 1597446 w 2720939"/>
                <a:gd name="connsiteY33" fmla="*/ 2008675 h 2016587"/>
                <a:gd name="connsiteX34" fmla="*/ 1685581 w 2720939"/>
                <a:gd name="connsiteY34" fmla="*/ 1997658 h 2016587"/>
                <a:gd name="connsiteX35" fmla="*/ 1718632 w 2720939"/>
                <a:gd name="connsiteY35" fmla="*/ 1986641 h 2016587"/>
                <a:gd name="connsiteX36" fmla="*/ 1773716 w 2720939"/>
                <a:gd name="connsiteY36" fmla="*/ 1975624 h 2016587"/>
                <a:gd name="connsiteX37" fmla="*/ 1795750 w 2720939"/>
                <a:gd name="connsiteY37" fmla="*/ 1942573 h 2016587"/>
                <a:gd name="connsiteX38" fmla="*/ 1773716 w 2720939"/>
                <a:gd name="connsiteY38" fmla="*/ 1909523 h 2016587"/>
                <a:gd name="connsiteX39" fmla="*/ 1762699 w 2720939"/>
                <a:gd name="connsiteY39" fmla="*/ 1876472 h 2016587"/>
                <a:gd name="connsiteX40" fmla="*/ 1784733 w 2720939"/>
                <a:gd name="connsiteY40" fmla="*/ 1810371 h 2016587"/>
                <a:gd name="connsiteX41" fmla="*/ 1828800 w 2720939"/>
                <a:gd name="connsiteY41" fmla="*/ 1744270 h 2016587"/>
                <a:gd name="connsiteX42" fmla="*/ 1894902 w 2720939"/>
                <a:gd name="connsiteY42" fmla="*/ 1722236 h 2016587"/>
                <a:gd name="connsiteX43" fmla="*/ 1927952 w 2720939"/>
                <a:gd name="connsiteY43" fmla="*/ 1733253 h 2016587"/>
                <a:gd name="connsiteX44" fmla="*/ 1961003 w 2720939"/>
                <a:gd name="connsiteY44" fmla="*/ 1755287 h 2016587"/>
                <a:gd name="connsiteX45" fmla="*/ 1983036 w 2720939"/>
                <a:gd name="connsiteY45" fmla="*/ 1722236 h 2016587"/>
                <a:gd name="connsiteX46" fmla="*/ 1994053 w 2720939"/>
                <a:gd name="connsiteY46" fmla="*/ 1656135 h 2016587"/>
                <a:gd name="connsiteX47" fmla="*/ 2016087 w 2720939"/>
                <a:gd name="connsiteY47" fmla="*/ 1590034 h 2016587"/>
                <a:gd name="connsiteX48" fmla="*/ 2038121 w 2720939"/>
                <a:gd name="connsiteY48" fmla="*/ 1523932 h 2016587"/>
                <a:gd name="connsiteX49" fmla="*/ 2060155 w 2720939"/>
                <a:gd name="connsiteY49" fmla="*/ 1457831 h 2016587"/>
                <a:gd name="connsiteX50" fmla="*/ 2071171 w 2720939"/>
                <a:gd name="connsiteY50" fmla="*/ 1424781 h 2016587"/>
                <a:gd name="connsiteX51" fmla="*/ 2060155 w 2720939"/>
                <a:gd name="connsiteY51" fmla="*/ 1292578 h 2016587"/>
                <a:gd name="connsiteX52" fmla="*/ 2038121 w 2720939"/>
                <a:gd name="connsiteY52" fmla="*/ 1226477 h 2016587"/>
                <a:gd name="connsiteX53" fmla="*/ 2082188 w 2720939"/>
                <a:gd name="connsiteY53" fmla="*/ 1127325 h 2016587"/>
                <a:gd name="connsiteX54" fmla="*/ 2104222 w 2720939"/>
                <a:gd name="connsiteY54" fmla="*/ 1094275 h 2016587"/>
                <a:gd name="connsiteX55" fmla="*/ 2170323 w 2720939"/>
                <a:gd name="connsiteY55" fmla="*/ 1050207 h 2016587"/>
                <a:gd name="connsiteX56" fmla="*/ 2247441 w 2720939"/>
                <a:gd name="connsiteY56" fmla="*/ 1061224 h 2016587"/>
                <a:gd name="connsiteX57" fmla="*/ 2258458 w 2720939"/>
                <a:gd name="connsiteY57" fmla="*/ 1094275 h 2016587"/>
                <a:gd name="connsiteX58" fmla="*/ 2203374 w 2720939"/>
                <a:gd name="connsiteY58" fmla="*/ 1171393 h 2016587"/>
                <a:gd name="connsiteX59" fmla="*/ 2170323 w 2720939"/>
                <a:gd name="connsiteY59" fmla="*/ 1237494 h 2016587"/>
                <a:gd name="connsiteX60" fmla="*/ 2203374 w 2720939"/>
                <a:gd name="connsiteY60" fmla="*/ 1259528 h 2016587"/>
                <a:gd name="connsiteX61" fmla="*/ 2291509 w 2720939"/>
                <a:gd name="connsiteY61" fmla="*/ 1248511 h 2016587"/>
                <a:gd name="connsiteX62" fmla="*/ 2324559 w 2720939"/>
                <a:gd name="connsiteY62" fmla="*/ 1215460 h 2016587"/>
                <a:gd name="connsiteX63" fmla="*/ 2423711 w 2720939"/>
                <a:gd name="connsiteY63" fmla="*/ 1160376 h 2016587"/>
                <a:gd name="connsiteX64" fmla="*/ 2456762 w 2720939"/>
                <a:gd name="connsiteY64" fmla="*/ 1226477 h 2016587"/>
                <a:gd name="connsiteX65" fmla="*/ 2445745 w 2720939"/>
                <a:gd name="connsiteY65" fmla="*/ 1259528 h 2016587"/>
                <a:gd name="connsiteX66" fmla="*/ 2489812 w 2720939"/>
                <a:gd name="connsiteY66" fmla="*/ 1248511 h 2016587"/>
                <a:gd name="connsiteX67" fmla="*/ 2511846 w 2720939"/>
                <a:gd name="connsiteY67" fmla="*/ 1215460 h 2016587"/>
                <a:gd name="connsiteX68" fmla="*/ 2544897 w 2720939"/>
                <a:gd name="connsiteY68" fmla="*/ 1127325 h 2016587"/>
                <a:gd name="connsiteX69" fmla="*/ 2610998 w 2720939"/>
                <a:gd name="connsiteY69" fmla="*/ 1061224 h 2016587"/>
                <a:gd name="connsiteX70" fmla="*/ 2644048 w 2720939"/>
                <a:gd name="connsiteY70" fmla="*/ 1028173 h 2016587"/>
                <a:gd name="connsiteX71" fmla="*/ 2666082 w 2720939"/>
                <a:gd name="connsiteY71" fmla="*/ 962072 h 2016587"/>
                <a:gd name="connsiteX72" fmla="*/ 2699133 w 2720939"/>
                <a:gd name="connsiteY72" fmla="*/ 840887 h 2016587"/>
                <a:gd name="connsiteX73" fmla="*/ 2710150 w 2720939"/>
                <a:gd name="connsiteY73" fmla="*/ 807836 h 2016587"/>
                <a:gd name="connsiteX74" fmla="*/ 2677099 w 2720939"/>
                <a:gd name="connsiteY74" fmla="*/ 741735 h 2016587"/>
                <a:gd name="connsiteX75" fmla="*/ 2644048 w 2720939"/>
                <a:gd name="connsiteY75" fmla="*/ 719701 h 2016587"/>
                <a:gd name="connsiteX76" fmla="*/ 2633032 w 2720939"/>
                <a:gd name="connsiteY76" fmla="*/ 686651 h 2016587"/>
                <a:gd name="connsiteX77" fmla="*/ 2522863 w 2720939"/>
                <a:gd name="connsiteY77" fmla="*/ 642583 h 2016587"/>
                <a:gd name="connsiteX78" fmla="*/ 2346593 w 2720939"/>
                <a:gd name="connsiteY78" fmla="*/ 642583 h 2016587"/>
                <a:gd name="connsiteX79" fmla="*/ 2247441 w 2720939"/>
                <a:gd name="connsiteY79" fmla="*/ 631566 h 2016587"/>
                <a:gd name="connsiteX80" fmla="*/ 2159306 w 2720939"/>
                <a:gd name="connsiteY80" fmla="*/ 554448 h 2016587"/>
                <a:gd name="connsiteX81" fmla="*/ 2148289 w 2720939"/>
                <a:gd name="connsiteY81" fmla="*/ 521398 h 2016587"/>
                <a:gd name="connsiteX82" fmla="*/ 2159306 w 2720939"/>
                <a:gd name="connsiteY82" fmla="*/ 488347 h 2016587"/>
                <a:gd name="connsiteX83" fmla="*/ 2203374 w 2720939"/>
                <a:gd name="connsiteY83" fmla="*/ 422246 h 2016587"/>
                <a:gd name="connsiteX84" fmla="*/ 2170323 w 2720939"/>
                <a:gd name="connsiteY84" fmla="*/ 356145 h 2016587"/>
                <a:gd name="connsiteX85" fmla="*/ 2104222 w 2720939"/>
                <a:gd name="connsiteY85" fmla="*/ 334111 h 2016587"/>
                <a:gd name="connsiteX86" fmla="*/ 2038121 w 2720939"/>
                <a:gd name="connsiteY86" fmla="*/ 367161 h 2016587"/>
                <a:gd name="connsiteX87" fmla="*/ 1983036 w 2720939"/>
                <a:gd name="connsiteY87" fmla="*/ 433263 h 2016587"/>
                <a:gd name="connsiteX88" fmla="*/ 1916935 w 2720939"/>
                <a:gd name="connsiteY88" fmla="*/ 455296 h 2016587"/>
                <a:gd name="connsiteX89" fmla="*/ 1883885 w 2720939"/>
                <a:gd name="connsiteY89" fmla="*/ 477330 h 2016587"/>
                <a:gd name="connsiteX90" fmla="*/ 1817783 w 2720939"/>
                <a:gd name="connsiteY90" fmla="*/ 499364 h 2016587"/>
                <a:gd name="connsiteX91" fmla="*/ 1784733 w 2720939"/>
                <a:gd name="connsiteY91" fmla="*/ 510381 h 2016587"/>
                <a:gd name="connsiteX92" fmla="*/ 1751682 w 2720939"/>
                <a:gd name="connsiteY92" fmla="*/ 521398 h 2016587"/>
                <a:gd name="connsiteX93" fmla="*/ 1718632 w 2720939"/>
                <a:gd name="connsiteY93" fmla="*/ 532414 h 2016587"/>
                <a:gd name="connsiteX94" fmla="*/ 1586429 w 2720939"/>
                <a:gd name="connsiteY94" fmla="*/ 499364 h 2016587"/>
                <a:gd name="connsiteX95" fmla="*/ 1553379 w 2720939"/>
                <a:gd name="connsiteY95" fmla="*/ 488347 h 2016587"/>
                <a:gd name="connsiteX96" fmla="*/ 1531345 w 2720939"/>
                <a:gd name="connsiteY96" fmla="*/ 455296 h 2016587"/>
                <a:gd name="connsiteX97" fmla="*/ 1542362 w 2720939"/>
                <a:gd name="connsiteY97" fmla="*/ 422246 h 2016587"/>
                <a:gd name="connsiteX98" fmla="*/ 1476261 w 2720939"/>
                <a:gd name="connsiteY98" fmla="*/ 400212 h 2016587"/>
                <a:gd name="connsiteX99" fmla="*/ 1443210 w 2720939"/>
                <a:gd name="connsiteY99" fmla="*/ 367161 h 2016587"/>
                <a:gd name="connsiteX100" fmla="*/ 1421176 w 2720939"/>
                <a:gd name="connsiteY100" fmla="*/ 334111 h 2016587"/>
                <a:gd name="connsiteX101" fmla="*/ 1388126 w 2720939"/>
                <a:gd name="connsiteY101" fmla="*/ 312077 h 2016587"/>
                <a:gd name="connsiteX102" fmla="*/ 1333041 w 2720939"/>
                <a:gd name="connsiteY102" fmla="*/ 356145 h 2016587"/>
                <a:gd name="connsiteX103" fmla="*/ 1299991 w 2720939"/>
                <a:gd name="connsiteY103" fmla="*/ 334111 h 2016587"/>
                <a:gd name="connsiteX104" fmla="*/ 1222873 w 2720939"/>
                <a:gd name="connsiteY104" fmla="*/ 345128 h 2016587"/>
                <a:gd name="connsiteX105" fmla="*/ 1211856 w 2720939"/>
                <a:gd name="connsiteY105" fmla="*/ 389195 h 2016587"/>
                <a:gd name="connsiteX106" fmla="*/ 1222873 w 2720939"/>
                <a:gd name="connsiteY106" fmla="*/ 499364 h 2016587"/>
                <a:gd name="connsiteX107" fmla="*/ 1244906 w 2720939"/>
                <a:gd name="connsiteY107" fmla="*/ 532414 h 2016587"/>
                <a:gd name="connsiteX108" fmla="*/ 1255923 w 2720939"/>
                <a:gd name="connsiteY108" fmla="*/ 565465 h 2016587"/>
                <a:gd name="connsiteX109" fmla="*/ 1200839 w 2720939"/>
                <a:gd name="connsiteY109" fmla="*/ 554448 h 2016587"/>
                <a:gd name="connsiteX110" fmla="*/ 1189822 w 2720939"/>
                <a:gd name="connsiteY110" fmla="*/ 521398 h 2016587"/>
                <a:gd name="connsiteX111" fmla="*/ 1189822 w 2720939"/>
                <a:gd name="connsiteY111" fmla="*/ 411229 h 2016587"/>
                <a:gd name="connsiteX112" fmla="*/ 1156771 w 2720939"/>
                <a:gd name="connsiteY112" fmla="*/ 389195 h 2016587"/>
                <a:gd name="connsiteX113" fmla="*/ 1057620 w 2720939"/>
                <a:gd name="connsiteY113" fmla="*/ 400212 h 2016587"/>
                <a:gd name="connsiteX114" fmla="*/ 1013552 w 2720939"/>
                <a:gd name="connsiteY114" fmla="*/ 455296 h 2016587"/>
                <a:gd name="connsiteX115" fmla="*/ 980502 w 2720939"/>
                <a:gd name="connsiteY115" fmla="*/ 466313 h 2016587"/>
                <a:gd name="connsiteX116" fmla="*/ 969485 w 2720939"/>
                <a:gd name="connsiteY116" fmla="*/ 433263 h 2016587"/>
                <a:gd name="connsiteX117" fmla="*/ 1024569 w 2720939"/>
                <a:gd name="connsiteY117" fmla="*/ 345128 h 2016587"/>
                <a:gd name="connsiteX118" fmla="*/ 1068636 w 2720939"/>
                <a:gd name="connsiteY118" fmla="*/ 279026 h 2016587"/>
                <a:gd name="connsiteX119" fmla="*/ 1090670 w 2720939"/>
                <a:gd name="connsiteY119" fmla="*/ 212925 h 2016587"/>
                <a:gd name="connsiteX120" fmla="*/ 1057620 w 2720939"/>
                <a:gd name="connsiteY120" fmla="*/ 113773 h 2016587"/>
                <a:gd name="connsiteX121" fmla="*/ 1046603 w 2720939"/>
                <a:gd name="connsiteY121" fmla="*/ 80723 h 2016587"/>
                <a:gd name="connsiteX122" fmla="*/ 1002535 w 2720939"/>
                <a:gd name="connsiteY122" fmla="*/ 14622 h 2016587"/>
                <a:gd name="connsiteX123" fmla="*/ 969485 w 2720939"/>
                <a:gd name="connsiteY123" fmla="*/ 3605 h 2016587"/>
                <a:gd name="connsiteX124" fmla="*/ 914400 w 2720939"/>
                <a:gd name="connsiteY124" fmla="*/ 14622 h 2016587"/>
                <a:gd name="connsiteX125" fmla="*/ 925417 w 2720939"/>
                <a:gd name="connsiteY125" fmla="*/ 58689 h 2016587"/>
                <a:gd name="connsiteX126" fmla="*/ 914400 w 2720939"/>
                <a:gd name="connsiteY126" fmla="*/ 102757 h 2016587"/>
                <a:gd name="connsiteX127" fmla="*/ 848299 w 2720939"/>
                <a:gd name="connsiteY127" fmla="*/ 124790 h 2016587"/>
                <a:gd name="connsiteX128" fmla="*/ 793215 w 2720939"/>
                <a:gd name="connsiteY128" fmla="*/ 190892 h 2016587"/>
                <a:gd name="connsiteX129" fmla="*/ 804232 w 2720939"/>
                <a:gd name="connsiteY129" fmla="*/ 234959 h 2016587"/>
                <a:gd name="connsiteX130" fmla="*/ 727114 w 2720939"/>
                <a:gd name="connsiteY130" fmla="*/ 290043 h 2016587"/>
                <a:gd name="connsiteX131" fmla="*/ 627962 w 2720939"/>
                <a:gd name="connsiteY131" fmla="*/ 367161 h 2016587"/>
                <a:gd name="connsiteX132" fmla="*/ 661012 w 2720939"/>
                <a:gd name="connsiteY132" fmla="*/ 389195 h 2016587"/>
                <a:gd name="connsiteX133" fmla="*/ 683046 w 2720939"/>
                <a:gd name="connsiteY133" fmla="*/ 455296 h 2016587"/>
                <a:gd name="connsiteX134" fmla="*/ 649995 w 2720939"/>
                <a:gd name="connsiteY134" fmla="*/ 576482 h 2016587"/>
                <a:gd name="connsiteX135" fmla="*/ 616945 w 2720939"/>
                <a:gd name="connsiteY135" fmla="*/ 587499 h 2016587"/>
                <a:gd name="connsiteX136" fmla="*/ 583894 w 2720939"/>
                <a:gd name="connsiteY136" fmla="*/ 565465 h 2016587"/>
                <a:gd name="connsiteX137" fmla="*/ 572877 w 2720939"/>
                <a:gd name="connsiteY137" fmla="*/ 532414 h 2016587"/>
                <a:gd name="connsiteX138" fmla="*/ 561861 w 2720939"/>
                <a:gd name="connsiteY138" fmla="*/ 444279 h 2016587"/>
                <a:gd name="connsiteX139" fmla="*/ 528810 w 2720939"/>
                <a:gd name="connsiteY139" fmla="*/ 422246 h 2016587"/>
                <a:gd name="connsiteX140" fmla="*/ 495759 w 2720939"/>
                <a:gd name="connsiteY140" fmla="*/ 433263 h 2016587"/>
                <a:gd name="connsiteX141" fmla="*/ 462709 w 2720939"/>
                <a:gd name="connsiteY141" fmla="*/ 455296 h 2016587"/>
                <a:gd name="connsiteX142" fmla="*/ 440675 w 2720939"/>
                <a:gd name="connsiteY142" fmla="*/ 422246 h 2016587"/>
                <a:gd name="connsiteX143" fmla="*/ 297456 w 2720939"/>
                <a:gd name="connsiteY143" fmla="*/ 389195 h 2016587"/>
                <a:gd name="connsiteX144" fmla="*/ 253388 w 2720939"/>
                <a:gd name="connsiteY144" fmla="*/ 334111 h 2016587"/>
                <a:gd name="connsiteX145" fmla="*/ 231355 w 2720939"/>
                <a:gd name="connsiteY145" fmla="*/ 268010 h 2016587"/>
                <a:gd name="connsiteX146" fmla="*/ 220338 w 2720939"/>
                <a:gd name="connsiteY146" fmla="*/ 168858 h 2016587"/>
                <a:gd name="connsiteX147" fmla="*/ 187287 w 2720939"/>
                <a:gd name="connsiteY147" fmla="*/ 179875 h 2016587"/>
                <a:gd name="connsiteX148" fmla="*/ 165253 w 2720939"/>
                <a:gd name="connsiteY148" fmla="*/ 245976 h 2016587"/>
                <a:gd name="connsiteX149" fmla="*/ 143220 w 2720939"/>
                <a:gd name="connsiteY149" fmla="*/ 312077 h 2016587"/>
                <a:gd name="connsiteX150" fmla="*/ 121186 w 2720939"/>
                <a:gd name="connsiteY150" fmla="*/ 345128 h 2016587"/>
                <a:gd name="connsiteX151" fmla="*/ 99152 w 2720939"/>
                <a:gd name="connsiteY151" fmla="*/ 411229 h 2016587"/>
                <a:gd name="connsiteX152" fmla="*/ 88135 w 2720939"/>
                <a:gd name="connsiteY152" fmla="*/ 444279 h 2016587"/>
                <a:gd name="connsiteX153" fmla="*/ 77118 w 2720939"/>
                <a:gd name="connsiteY153" fmla="*/ 477330 h 2016587"/>
                <a:gd name="connsiteX154" fmla="*/ 88135 w 2720939"/>
                <a:gd name="connsiteY154" fmla="*/ 730718 h 2016587"/>
                <a:gd name="connsiteX155" fmla="*/ 77118 w 2720939"/>
                <a:gd name="connsiteY155" fmla="*/ 686651 h 2016587"/>
                <a:gd name="connsiteX156" fmla="*/ 99152 w 2720939"/>
                <a:gd name="connsiteY156" fmla="*/ 653600 h 2016587"/>
                <a:gd name="connsiteX157" fmla="*/ 132203 w 2720939"/>
                <a:gd name="connsiteY157" fmla="*/ 664617 h 2016587"/>
                <a:gd name="connsiteX158" fmla="*/ 143220 w 2720939"/>
                <a:gd name="connsiteY158" fmla="*/ 697667 h 2016587"/>
                <a:gd name="connsiteX159" fmla="*/ 198304 w 2720939"/>
                <a:gd name="connsiteY159" fmla="*/ 763769 h 2016587"/>
                <a:gd name="connsiteX160" fmla="*/ 209321 w 2720939"/>
                <a:gd name="connsiteY160" fmla="*/ 796819 h 2016587"/>
                <a:gd name="connsiteX161" fmla="*/ 231355 w 2720939"/>
                <a:gd name="connsiteY161" fmla="*/ 829870 h 2016587"/>
                <a:gd name="connsiteX162" fmla="*/ 165253 w 2720939"/>
                <a:gd name="connsiteY162" fmla="*/ 807836 h 2016587"/>
                <a:gd name="connsiteX163" fmla="*/ 99152 w 2720939"/>
                <a:gd name="connsiteY163" fmla="*/ 774785 h 2016587"/>
                <a:gd name="connsiteX164" fmla="*/ 77118 w 2720939"/>
                <a:gd name="connsiteY164" fmla="*/ 807836 h 2016587"/>
                <a:gd name="connsiteX165" fmla="*/ 66102 w 2720939"/>
                <a:gd name="connsiteY165" fmla="*/ 995123 h 2016587"/>
                <a:gd name="connsiteX166" fmla="*/ 33051 w 2720939"/>
                <a:gd name="connsiteY166" fmla="*/ 1105292 h 2016587"/>
                <a:gd name="connsiteX167" fmla="*/ 22034 w 2720939"/>
                <a:gd name="connsiteY167" fmla="*/ 1149359 h 2016587"/>
                <a:gd name="connsiteX168" fmla="*/ 11017 w 2720939"/>
                <a:gd name="connsiteY168" fmla="*/ 1182410 h 2016587"/>
                <a:gd name="connsiteX169" fmla="*/ 33051 w 2720939"/>
                <a:gd name="connsiteY169" fmla="*/ 1215460 h 2016587"/>
                <a:gd name="connsiteX170" fmla="*/ 55085 w 2720939"/>
                <a:gd name="connsiteY170" fmla="*/ 1182410 h 2016587"/>
                <a:gd name="connsiteX171" fmla="*/ 154236 w 2720939"/>
                <a:gd name="connsiteY171" fmla="*/ 1215460 h 2016587"/>
                <a:gd name="connsiteX172" fmla="*/ 165253 w 2720939"/>
                <a:gd name="connsiteY172" fmla="*/ 1292578 h 2016587"/>
                <a:gd name="connsiteX173" fmla="*/ 187287 w 2720939"/>
                <a:gd name="connsiteY173" fmla="*/ 1391730 h 2016587"/>
                <a:gd name="connsiteX174" fmla="*/ 198304 w 2720939"/>
                <a:gd name="connsiteY174" fmla="*/ 1424781 h 2016587"/>
                <a:gd name="connsiteX175" fmla="*/ 231355 w 2720939"/>
                <a:gd name="connsiteY175" fmla="*/ 1446814 h 2016587"/>
                <a:gd name="connsiteX176" fmla="*/ 198304 w 2720939"/>
                <a:gd name="connsiteY176" fmla="*/ 1545966 h 2016587"/>
                <a:gd name="connsiteX177" fmla="*/ 132203 w 2720939"/>
                <a:gd name="connsiteY177" fmla="*/ 1568000 h 2016587"/>
                <a:gd name="connsiteX178" fmla="*/ 66102 w 2720939"/>
                <a:gd name="connsiteY178" fmla="*/ 1523932 h 2016587"/>
                <a:gd name="connsiteX179" fmla="*/ 33051 w 2720939"/>
                <a:gd name="connsiteY179" fmla="*/ 1402747 h 2016587"/>
                <a:gd name="connsiteX180" fmla="*/ 0 w 2720939"/>
                <a:gd name="connsiteY180" fmla="*/ 1380713 h 2016587"/>
                <a:gd name="connsiteX181" fmla="*/ 11017 w 2720939"/>
                <a:gd name="connsiteY181" fmla="*/ 1457831 h 2016587"/>
                <a:gd name="connsiteX182" fmla="*/ 22034 w 2720939"/>
                <a:gd name="connsiteY182" fmla="*/ 1490882 h 2016587"/>
                <a:gd name="connsiteX183" fmla="*/ 33051 w 2720939"/>
                <a:gd name="connsiteY183" fmla="*/ 1568000 h 2016587"/>
                <a:gd name="connsiteX184" fmla="*/ 11017 w 2720939"/>
                <a:gd name="connsiteY184" fmla="*/ 1623084 h 2016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2720939" h="2016587">
                  <a:moveTo>
                    <a:pt x="11017" y="1623084"/>
                  </a:moveTo>
                  <a:cubicBezTo>
                    <a:pt x="12853" y="1634101"/>
                    <a:pt x="33916" y="1628461"/>
                    <a:pt x="44068" y="1634101"/>
                  </a:cubicBezTo>
                  <a:cubicBezTo>
                    <a:pt x="67217" y="1646962"/>
                    <a:pt x="83954" y="1674424"/>
                    <a:pt x="110169" y="1678169"/>
                  </a:cubicBezTo>
                  <a:lnTo>
                    <a:pt x="187287" y="1689185"/>
                  </a:lnTo>
                  <a:cubicBezTo>
                    <a:pt x="198304" y="1692857"/>
                    <a:pt x="209951" y="1695008"/>
                    <a:pt x="220338" y="1700202"/>
                  </a:cubicBezTo>
                  <a:cubicBezTo>
                    <a:pt x="305764" y="1742916"/>
                    <a:pt x="203364" y="1705561"/>
                    <a:pt x="286439" y="1733253"/>
                  </a:cubicBezTo>
                  <a:cubicBezTo>
                    <a:pt x="301128" y="1729581"/>
                    <a:pt x="317908" y="1730635"/>
                    <a:pt x="330506" y="1722236"/>
                  </a:cubicBezTo>
                  <a:cubicBezTo>
                    <a:pt x="391809" y="1681367"/>
                    <a:pt x="319562" y="1700129"/>
                    <a:pt x="363557" y="1656135"/>
                  </a:cubicBezTo>
                  <a:cubicBezTo>
                    <a:pt x="371769" y="1647924"/>
                    <a:pt x="385591" y="1648790"/>
                    <a:pt x="396608" y="1645118"/>
                  </a:cubicBezTo>
                  <a:cubicBezTo>
                    <a:pt x="425375" y="1647515"/>
                    <a:pt x="526939" y="1634516"/>
                    <a:pt x="561861" y="1678169"/>
                  </a:cubicBezTo>
                  <a:cubicBezTo>
                    <a:pt x="569115" y="1687237"/>
                    <a:pt x="569205" y="1700202"/>
                    <a:pt x="572877" y="1711219"/>
                  </a:cubicBezTo>
                  <a:cubicBezTo>
                    <a:pt x="598583" y="1707547"/>
                    <a:pt x="628389" y="1714606"/>
                    <a:pt x="649995" y="1700202"/>
                  </a:cubicBezTo>
                  <a:cubicBezTo>
                    <a:pt x="659657" y="1693761"/>
                    <a:pt x="638979" y="1678765"/>
                    <a:pt x="638979" y="1667152"/>
                  </a:cubicBezTo>
                  <a:cubicBezTo>
                    <a:pt x="638979" y="1619723"/>
                    <a:pt x="649838" y="1623189"/>
                    <a:pt x="683046" y="1601051"/>
                  </a:cubicBezTo>
                  <a:cubicBezTo>
                    <a:pt x="719769" y="1604723"/>
                    <a:pt x="763368" y="1590360"/>
                    <a:pt x="793215" y="1612067"/>
                  </a:cubicBezTo>
                  <a:cubicBezTo>
                    <a:pt x="814216" y="1627340"/>
                    <a:pt x="790470" y="1667165"/>
                    <a:pt x="804232" y="1689185"/>
                  </a:cubicBezTo>
                  <a:cubicBezTo>
                    <a:pt x="812257" y="1702025"/>
                    <a:pt x="833610" y="1696530"/>
                    <a:pt x="848299" y="1700202"/>
                  </a:cubicBezTo>
                  <a:cubicBezTo>
                    <a:pt x="859316" y="1692858"/>
                    <a:pt x="871987" y="1687532"/>
                    <a:pt x="881350" y="1678169"/>
                  </a:cubicBezTo>
                  <a:cubicBezTo>
                    <a:pt x="890713" y="1668806"/>
                    <a:pt x="893418" y="1653837"/>
                    <a:pt x="903383" y="1645118"/>
                  </a:cubicBezTo>
                  <a:cubicBezTo>
                    <a:pt x="923312" y="1627680"/>
                    <a:pt x="947451" y="1615740"/>
                    <a:pt x="969485" y="1601051"/>
                  </a:cubicBezTo>
                  <a:lnTo>
                    <a:pt x="1002535" y="1579017"/>
                  </a:lnTo>
                  <a:cubicBezTo>
                    <a:pt x="1015388" y="1559737"/>
                    <a:pt x="1030077" y="1528522"/>
                    <a:pt x="1057620" y="1523932"/>
                  </a:cubicBezTo>
                  <a:cubicBezTo>
                    <a:pt x="1069075" y="1522023"/>
                    <a:pt x="1080519" y="1529309"/>
                    <a:pt x="1090670" y="1534949"/>
                  </a:cubicBezTo>
                  <a:cubicBezTo>
                    <a:pt x="1113819" y="1547810"/>
                    <a:pt x="1134737" y="1564328"/>
                    <a:pt x="1156771" y="1579017"/>
                  </a:cubicBezTo>
                  <a:lnTo>
                    <a:pt x="1189822" y="1601051"/>
                  </a:lnTo>
                  <a:lnTo>
                    <a:pt x="1222873" y="1623084"/>
                  </a:lnTo>
                  <a:cubicBezTo>
                    <a:pt x="1244412" y="1655395"/>
                    <a:pt x="1246801" y="1652698"/>
                    <a:pt x="1255923" y="1689185"/>
                  </a:cubicBezTo>
                  <a:cubicBezTo>
                    <a:pt x="1256671" y="1692178"/>
                    <a:pt x="1268799" y="1765873"/>
                    <a:pt x="1277957" y="1777320"/>
                  </a:cubicBezTo>
                  <a:cubicBezTo>
                    <a:pt x="1299006" y="1803631"/>
                    <a:pt x="1317447" y="1797065"/>
                    <a:pt x="1344058" y="1810371"/>
                  </a:cubicBezTo>
                  <a:cubicBezTo>
                    <a:pt x="1355901" y="1816293"/>
                    <a:pt x="1366092" y="1825060"/>
                    <a:pt x="1377109" y="1832405"/>
                  </a:cubicBezTo>
                  <a:cubicBezTo>
                    <a:pt x="1401919" y="1906831"/>
                    <a:pt x="1367512" y="1826158"/>
                    <a:pt x="1421176" y="1887489"/>
                  </a:cubicBezTo>
                  <a:cubicBezTo>
                    <a:pt x="1534137" y="2016587"/>
                    <a:pt x="1412736" y="1921827"/>
                    <a:pt x="1498294" y="1964607"/>
                  </a:cubicBezTo>
                  <a:cubicBezTo>
                    <a:pt x="1510137" y="1970529"/>
                    <a:pt x="1519245" y="1981263"/>
                    <a:pt x="1531345" y="1986641"/>
                  </a:cubicBezTo>
                  <a:cubicBezTo>
                    <a:pt x="1552569" y="1996074"/>
                    <a:pt x="1597446" y="2008675"/>
                    <a:pt x="1597446" y="2008675"/>
                  </a:cubicBezTo>
                  <a:cubicBezTo>
                    <a:pt x="1626824" y="2005003"/>
                    <a:pt x="1656452" y="2002954"/>
                    <a:pt x="1685581" y="1997658"/>
                  </a:cubicBezTo>
                  <a:cubicBezTo>
                    <a:pt x="1697007" y="1995581"/>
                    <a:pt x="1707366" y="1989458"/>
                    <a:pt x="1718632" y="1986641"/>
                  </a:cubicBezTo>
                  <a:cubicBezTo>
                    <a:pt x="1736798" y="1982099"/>
                    <a:pt x="1755355" y="1979296"/>
                    <a:pt x="1773716" y="1975624"/>
                  </a:cubicBezTo>
                  <a:cubicBezTo>
                    <a:pt x="1781061" y="1964607"/>
                    <a:pt x="1795750" y="1955814"/>
                    <a:pt x="1795750" y="1942573"/>
                  </a:cubicBezTo>
                  <a:cubicBezTo>
                    <a:pt x="1795750" y="1929332"/>
                    <a:pt x="1779637" y="1921366"/>
                    <a:pt x="1773716" y="1909523"/>
                  </a:cubicBezTo>
                  <a:cubicBezTo>
                    <a:pt x="1768522" y="1899136"/>
                    <a:pt x="1766371" y="1887489"/>
                    <a:pt x="1762699" y="1876472"/>
                  </a:cubicBezTo>
                  <a:lnTo>
                    <a:pt x="1784733" y="1810371"/>
                  </a:lnTo>
                  <a:cubicBezTo>
                    <a:pt x="1795085" y="1779315"/>
                    <a:pt x="1795040" y="1763025"/>
                    <a:pt x="1828800" y="1744270"/>
                  </a:cubicBezTo>
                  <a:cubicBezTo>
                    <a:pt x="1849103" y="1732991"/>
                    <a:pt x="1894902" y="1722236"/>
                    <a:pt x="1894902" y="1722236"/>
                  </a:cubicBezTo>
                  <a:cubicBezTo>
                    <a:pt x="1905919" y="1725908"/>
                    <a:pt x="1917565" y="1728060"/>
                    <a:pt x="1927952" y="1733253"/>
                  </a:cubicBezTo>
                  <a:cubicBezTo>
                    <a:pt x="1939795" y="1739175"/>
                    <a:pt x="1948019" y="1757884"/>
                    <a:pt x="1961003" y="1755287"/>
                  </a:cubicBezTo>
                  <a:cubicBezTo>
                    <a:pt x="1973986" y="1752690"/>
                    <a:pt x="1975692" y="1733253"/>
                    <a:pt x="1983036" y="1722236"/>
                  </a:cubicBezTo>
                  <a:cubicBezTo>
                    <a:pt x="1986708" y="1700202"/>
                    <a:pt x="1988635" y="1677806"/>
                    <a:pt x="1994053" y="1656135"/>
                  </a:cubicBezTo>
                  <a:cubicBezTo>
                    <a:pt x="1999686" y="1633603"/>
                    <a:pt x="2008742" y="1612068"/>
                    <a:pt x="2016087" y="1590034"/>
                  </a:cubicBezTo>
                  <a:lnTo>
                    <a:pt x="2038121" y="1523932"/>
                  </a:lnTo>
                  <a:lnTo>
                    <a:pt x="2060155" y="1457831"/>
                  </a:lnTo>
                  <a:lnTo>
                    <a:pt x="2071171" y="1424781"/>
                  </a:lnTo>
                  <a:cubicBezTo>
                    <a:pt x="2067499" y="1380713"/>
                    <a:pt x="2067425" y="1336197"/>
                    <a:pt x="2060155" y="1292578"/>
                  </a:cubicBezTo>
                  <a:cubicBezTo>
                    <a:pt x="2056337" y="1269668"/>
                    <a:pt x="2038121" y="1226477"/>
                    <a:pt x="2038121" y="1226477"/>
                  </a:cubicBezTo>
                  <a:cubicBezTo>
                    <a:pt x="2056965" y="1094569"/>
                    <a:pt x="2024496" y="1185017"/>
                    <a:pt x="2082188" y="1127325"/>
                  </a:cubicBezTo>
                  <a:cubicBezTo>
                    <a:pt x="2091550" y="1117963"/>
                    <a:pt x="2094257" y="1102994"/>
                    <a:pt x="2104222" y="1094275"/>
                  </a:cubicBezTo>
                  <a:cubicBezTo>
                    <a:pt x="2124151" y="1076837"/>
                    <a:pt x="2170323" y="1050207"/>
                    <a:pt x="2170323" y="1050207"/>
                  </a:cubicBezTo>
                  <a:cubicBezTo>
                    <a:pt x="2196029" y="1053879"/>
                    <a:pt x="2224215" y="1049611"/>
                    <a:pt x="2247441" y="1061224"/>
                  </a:cubicBezTo>
                  <a:cubicBezTo>
                    <a:pt x="2257828" y="1066418"/>
                    <a:pt x="2259740" y="1082733"/>
                    <a:pt x="2258458" y="1094275"/>
                  </a:cubicBezTo>
                  <a:cubicBezTo>
                    <a:pt x="2250548" y="1165460"/>
                    <a:pt x="2249559" y="1155997"/>
                    <a:pt x="2203374" y="1171393"/>
                  </a:cubicBezTo>
                  <a:cubicBezTo>
                    <a:pt x="2198734" y="1178353"/>
                    <a:pt x="2164621" y="1223240"/>
                    <a:pt x="2170323" y="1237494"/>
                  </a:cubicBezTo>
                  <a:cubicBezTo>
                    <a:pt x="2175241" y="1249788"/>
                    <a:pt x="2192357" y="1252183"/>
                    <a:pt x="2203374" y="1259528"/>
                  </a:cubicBezTo>
                  <a:cubicBezTo>
                    <a:pt x="2232752" y="1255856"/>
                    <a:pt x="2263685" y="1258629"/>
                    <a:pt x="2291509" y="1248511"/>
                  </a:cubicBezTo>
                  <a:cubicBezTo>
                    <a:pt x="2306151" y="1243187"/>
                    <a:pt x="2312261" y="1225025"/>
                    <a:pt x="2324559" y="1215460"/>
                  </a:cubicBezTo>
                  <a:cubicBezTo>
                    <a:pt x="2381380" y="1171266"/>
                    <a:pt x="2373846" y="1176998"/>
                    <a:pt x="2423711" y="1160376"/>
                  </a:cubicBezTo>
                  <a:cubicBezTo>
                    <a:pt x="2434852" y="1177087"/>
                    <a:pt x="2456762" y="1203670"/>
                    <a:pt x="2456762" y="1226477"/>
                  </a:cubicBezTo>
                  <a:cubicBezTo>
                    <a:pt x="2456762" y="1238090"/>
                    <a:pt x="2436083" y="1253086"/>
                    <a:pt x="2445745" y="1259528"/>
                  </a:cubicBezTo>
                  <a:cubicBezTo>
                    <a:pt x="2458343" y="1267927"/>
                    <a:pt x="2475123" y="1252183"/>
                    <a:pt x="2489812" y="1248511"/>
                  </a:cubicBezTo>
                  <a:cubicBezTo>
                    <a:pt x="2497157" y="1237494"/>
                    <a:pt x="2507197" y="1227858"/>
                    <a:pt x="2511846" y="1215460"/>
                  </a:cubicBezTo>
                  <a:cubicBezTo>
                    <a:pt x="2534912" y="1153952"/>
                    <a:pt x="2505793" y="1171317"/>
                    <a:pt x="2544897" y="1127325"/>
                  </a:cubicBezTo>
                  <a:cubicBezTo>
                    <a:pt x="2565599" y="1104035"/>
                    <a:pt x="2588964" y="1083258"/>
                    <a:pt x="2610998" y="1061224"/>
                  </a:cubicBezTo>
                  <a:lnTo>
                    <a:pt x="2644048" y="1028173"/>
                  </a:lnTo>
                  <a:lnTo>
                    <a:pt x="2666082" y="962072"/>
                  </a:lnTo>
                  <a:cubicBezTo>
                    <a:pt x="2720939" y="797505"/>
                    <a:pt x="2641805" y="926877"/>
                    <a:pt x="2699133" y="840887"/>
                  </a:cubicBezTo>
                  <a:cubicBezTo>
                    <a:pt x="2702805" y="829870"/>
                    <a:pt x="2710150" y="819449"/>
                    <a:pt x="2710150" y="807836"/>
                  </a:cubicBezTo>
                  <a:cubicBezTo>
                    <a:pt x="2710150" y="789915"/>
                    <a:pt x="2688240" y="752876"/>
                    <a:pt x="2677099" y="741735"/>
                  </a:cubicBezTo>
                  <a:cubicBezTo>
                    <a:pt x="2667736" y="732372"/>
                    <a:pt x="2655065" y="727046"/>
                    <a:pt x="2644048" y="719701"/>
                  </a:cubicBezTo>
                  <a:cubicBezTo>
                    <a:pt x="2640376" y="708684"/>
                    <a:pt x="2639473" y="696313"/>
                    <a:pt x="2633032" y="686651"/>
                  </a:cubicBezTo>
                  <a:cubicBezTo>
                    <a:pt x="2600561" y="637945"/>
                    <a:pt x="2583836" y="651293"/>
                    <a:pt x="2522863" y="642583"/>
                  </a:cubicBezTo>
                  <a:cubicBezTo>
                    <a:pt x="2435724" y="613537"/>
                    <a:pt x="2537114" y="642583"/>
                    <a:pt x="2346593" y="642583"/>
                  </a:cubicBezTo>
                  <a:cubicBezTo>
                    <a:pt x="2313339" y="642583"/>
                    <a:pt x="2280492" y="635238"/>
                    <a:pt x="2247441" y="631566"/>
                  </a:cubicBezTo>
                  <a:cubicBezTo>
                    <a:pt x="2197864" y="598515"/>
                    <a:pt x="2182258" y="600352"/>
                    <a:pt x="2159306" y="554448"/>
                  </a:cubicBezTo>
                  <a:cubicBezTo>
                    <a:pt x="2154113" y="544061"/>
                    <a:pt x="2151961" y="532415"/>
                    <a:pt x="2148289" y="521398"/>
                  </a:cubicBezTo>
                  <a:cubicBezTo>
                    <a:pt x="2151961" y="510381"/>
                    <a:pt x="2153666" y="498499"/>
                    <a:pt x="2159306" y="488347"/>
                  </a:cubicBezTo>
                  <a:cubicBezTo>
                    <a:pt x="2172167" y="465198"/>
                    <a:pt x="2203374" y="422246"/>
                    <a:pt x="2203374" y="422246"/>
                  </a:cubicBezTo>
                  <a:cubicBezTo>
                    <a:pt x="2197371" y="404237"/>
                    <a:pt x="2188308" y="367386"/>
                    <a:pt x="2170323" y="356145"/>
                  </a:cubicBezTo>
                  <a:cubicBezTo>
                    <a:pt x="2150628" y="343836"/>
                    <a:pt x="2104222" y="334111"/>
                    <a:pt x="2104222" y="334111"/>
                  </a:cubicBezTo>
                  <a:cubicBezTo>
                    <a:pt x="2077342" y="343071"/>
                    <a:pt x="2059477" y="345805"/>
                    <a:pt x="2038121" y="367161"/>
                  </a:cubicBezTo>
                  <a:cubicBezTo>
                    <a:pt x="2008979" y="396303"/>
                    <a:pt x="2023645" y="410703"/>
                    <a:pt x="1983036" y="433263"/>
                  </a:cubicBezTo>
                  <a:cubicBezTo>
                    <a:pt x="1962733" y="444542"/>
                    <a:pt x="1916935" y="455296"/>
                    <a:pt x="1916935" y="455296"/>
                  </a:cubicBezTo>
                  <a:cubicBezTo>
                    <a:pt x="1905918" y="462641"/>
                    <a:pt x="1895984" y="471952"/>
                    <a:pt x="1883885" y="477330"/>
                  </a:cubicBezTo>
                  <a:cubicBezTo>
                    <a:pt x="1862661" y="486763"/>
                    <a:pt x="1839817" y="492019"/>
                    <a:pt x="1817783" y="499364"/>
                  </a:cubicBezTo>
                  <a:lnTo>
                    <a:pt x="1784733" y="510381"/>
                  </a:lnTo>
                  <a:lnTo>
                    <a:pt x="1751682" y="521398"/>
                  </a:lnTo>
                  <a:lnTo>
                    <a:pt x="1718632" y="532414"/>
                  </a:lnTo>
                  <a:cubicBezTo>
                    <a:pt x="1629621" y="517580"/>
                    <a:pt x="1673721" y="528462"/>
                    <a:pt x="1586429" y="499364"/>
                  </a:cubicBezTo>
                  <a:lnTo>
                    <a:pt x="1553379" y="488347"/>
                  </a:lnTo>
                  <a:cubicBezTo>
                    <a:pt x="1546034" y="477330"/>
                    <a:pt x="1533522" y="468357"/>
                    <a:pt x="1531345" y="455296"/>
                  </a:cubicBezTo>
                  <a:cubicBezTo>
                    <a:pt x="1529436" y="443841"/>
                    <a:pt x="1550573" y="430457"/>
                    <a:pt x="1542362" y="422246"/>
                  </a:cubicBezTo>
                  <a:cubicBezTo>
                    <a:pt x="1525939" y="405823"/>
                    <a:pt x="1476261" y="400212"/>
                    <a:pt x="1476261" y="400212"/>
                  </a:cubicBezTo>
                  <a:cubicBezTo>
                    <a:pt x="1465244" y="389195"/>
                    <a:pt x="1453184" y="379130"/>
                    <a:pt x="1443210" y="367161"/>
                  </a:cubicBezTo>
                  <a:cubicBezTo>
                    <a:pt x="1434734" y="356989"/>
                    <a:pt x="1430538" y="343473"/>
                    <a:pt x="1421176" y="334111"/>
                  </a:cubicBezTo>
                  <a:cubicBezTo>
                    <a:pt x="1411814" y="324749"/>
                    <a:pt x="1399143" y="319422"/>
                    <a:pt x="1388126" y="312077"/>
                  </a:cubicBezTo>
                  <a:cubicBezTo>
                    <a:pt x="1375252" y="331388"/>
                    <a:pt x="1364970" y="361467"/>
                    <a:pt x="1333041" y="356145"/>
                  </a:cubicBezTo>
                  <a:cubicBezTo>
                    <a:pt x="1319981" y="353968"/>
                    <a:pt x="1311008" y="341456"/>
                    <a:pt x="1299991" y="334111"/>
                  </a:cubicBezTo>
                  <a:cubicBezTo>
                    <a:pt x="1274285" y="337783"/>
                    <a:pt x="1244893" y="331366"/>
                    <a:pt x="1222873" y="345128"/>
                  </a:cubicBezTo>
                  <a:cubicBezTo>
                    <a:pt x="1210033" y="353153"/>
                    <a:pt x="1211856" y="374054"/>
                    <a:pt x="1211856" y="389195"/>
                  </a:cubicBezTo>
                  <a:cubicBezTo>
                    <a:pt x="1211856" y="426101"/>
                    <a:pt x="1214574" y="463403"/>
                    <a:pt x="1222873" y="499364"/>
                  </a:cubicBezTo>
                  <a:cubicBezTo>
                    <a:pt x="1225850" y="512265"/>
                    <a:pt x="1238985" y="520571"/>
                    <a:pt x="1244906" y="532414"/>
                  </a:cubicBezTo>
                  <a:cubicBezTo>
                    <a:pt x="1250099" y="542801"/>
                    <a:pt x="1266310" y="560271"/>
                    <a:pt x="1255923" y="565465"/>
                  </a:cubicBezTo>
                  <a:cubicBezTo>
                    <a:pt x="1239175" y="573839"/>
                    <a:pt x="1219200" y="558120"/>
                    <a:pt x="1200839" y="554448"/>
                  </a:cubicBezTo>
                  <a:cubicBezTo>
                    <a:pt x="1197167" y="543431"/>
                    <a:pt x="1189822" y="533011"/>
                    <a:pt x="1189822" y="521398"/>
                  </a:cubicBezTo>
                  <a:cubicBezTo>
                    <a:pt x="1189822" y="459410"/>
                    <a:pt x="1227574" y="486732"/>
                    <a:pt x="1189822" y="411229"/>
                  </a:cubicBezTo>
                  <a:cubicBezTo>
                    <a:pt x="1183900" y="399386"/>
                    <a:pt x="1167788" y="396540"/>
                    <a:pt x="1156771" y="389195"/>
                  </a:cubicBezTo>
                  <a:cubicBezTo>
                    <a:pt x="1123721" y="392867"/>
                    <a:pt x="1089881" y="392147"/>
                    <a:pt x="1057620" y="400212"/>
                  </a:cubicBezTo>
                  <a:cubicBezTo>
                    <a:pt x="992409" y="416515"/>
                    <a:pt x="1048488" y="420360"/>
                    <a:pt x="1013552" y="455296"/>
                  </a:cubicBezTo>
                  <a:cubicBezTo>
                    <a:pt x="1005341" y="463507"/>
                    <a:pt x="991519" y="462641"/>
                    <a:pt x="980502" y="466313"/>
                  </a:cubicBezTo>
                  <a:cubicBezTo>
                    <a:pt x="976830" y="455296"/>
                    <a:pt x="968203" y="444805"/>
                    <a:pt x="969485" y="433263"/>
                  </a:cubicBezTo>
                  <a:cubicBezTo>
                    <a:pt x="976826" y="367185"/>
                    <a:pt x="982955" y="372869"/>
                    <a:pt x="1024569" y="345128"/>
                  </a:cubicBezTo>
                  <a:lnTo>
                    <a:pt x="1068636" y="279026"/>
                  </a:lnTo>
                  <a:cubicBezTo>
                    <a:pt x="1081519" y="259701"/>
                    <a:pt x="1090670" y="212925"/>
                    <a:pt x="1090670" y="212925"/>
                  </a:cubicBezTo>
                  <a:lnTo>
                    <a:pt x="1057620" y="113773"/>
                  </a:lnTo>
                  <a:cubicBezTo>
                    <a:pt x="1053948" y="102756"/>
                    <a:pt x="1053045" y="90385"/>
                    <a:pt x="1046603" y="80723"/>
                  </a:cubicBezTo>
                  <a:lnTo>
                    <a:pt x="1002535" y="14622"/>
                  </a:lnTo>
                  <a:cubicBezTo>
                    <a:pt x="996093" y="4960"/>
                    <a:pt x="980502" y="7277"/>
                    <a:pt x="969485" y="3605"/>
                  </a:cubicBezTo>
                  <a:cubicBezTo>
                    <a:pt x="951123" y="7277"/>
                    <a:pt x="926098" y="0"/>
                    <a:pt x="914400" y="14622"/>
                  </a:cubicBezTo>
                  <a:cubicBezTo>
                    <a:pt x="904941" y="26445"/>
                    <a:pt x="925417" y="43548"/>
                    <a:pt x="925417" y="58689"/>
                  </a:cubicBezTo>
                  <a:cubicBezTo>
                    <a:pt x="925417" y="73830"/>
                    <a:pt x="925896" y="92903"/>
                    <a:pt x="914400" y="102757"/>
                  </a:cubicBezTo>
                  <a:cubicBezTo>
                    <a:pt x="896766" y="117872"/>
                    <a:pt x="848299" y="124790"/>
                    <a:pt x="848299" y="124790"/>
                  </a:cubicBezTo>
                  <a:cubicBezTo>
                    <a:pt x="838973" y="134116"/>
                    <a:pt x="795771" y="172996"/>
                    <a:pt x="793215" y="190892"/>
                  </a:cubicBezTo>
                  <a:cubicBezTo>
                    <a:pt x="791074" y="205881"/>
                    <a:pt x="800560" y="220270"/>
                    <a:pt x="804232" y="234959"/>
                  </a:cubicBezTo>
                  <a:cubicBezTo>
                    <a:pt x="785870" y="290044"/>
                    <a:pt x="804232" y="264338"/>
                    <a:pt x="727114" y="290043"/>
                  </a:cubicBezTo>
                  <a:cubicBezTo>
                    <a:pt x="687582" y="303220"/>
                    <a:pt x="656479" y="338644"/>
                    <a:pt x="627962" y="367161"/>
                  </a:cubicBezTo>
                  <a:cubicBezTo>
                    <a:pt x="638979" y="374506"/>
                    <a:pt x="653995" y="377967"/>
                    <a:pt x="661012" y="389195"/>
                  </a:cubicBezTo>
                  <a:cubicBezTo>
                    <a:pt x="673321" y="408890"/>
                    <a:pt x="683046" y="455296"/>
                    <a:pt x="683046" y="455296"/>
                  </a:cubicBezTo>
                  <a:cubicBezTo>
                    <a:pt x="678747" y="489688"/>
                    <a:pt x="684713" y="548707"/>
                    <a:pt x="649995" y="576482"/>
                  </a:cubicBezTo>
                  <a:cubicBezTo>
                    <a:pt x="640927" y="583736"/>
                    <a:pt x="627962" y="583827"/>
                    <a:pt x="616945" y="587499"/>
                  </a:cubicBezTo>
                  <a:cubicBezTo>
                    <a:pt x="605928" y="580154"/>
                    <a:pt x="592165" y="575804"/>
                    <a:pt x="583894" y="565465"/>
                  </a:cubicBezTo>
                  <a:cubicBezTo>
                    <a:pt x="576639" y="556397"/>
                    <a:pt x="574954" y="543840"/>
                    <a:pt x="572877" y="532414"/>
                  </a:cubicBezTo>
                  <a:cubicBezTo>
                    <a:pt x="567581" y="503285"/>
                    <a:pt x="572857" y="471768"/>
                    <a:pt x="561861" y="444279"/>
                  </a:cubicBezTo>
                  <a:cubicBezTo>
                    <a:pt x="556944" y="431985"/>
                    <a:pt x="539827" y="429590"/>
                    <a:pt x="528810" y="422246"/>
                  </a:cubicBezTo>
                  <a:cubicBezTo>
                    <a:pt x="517793" y="425918"/>
                    <a:pt x="506146" y="428070"/>
                    <a:pt x="495759" y="433263"/>
                  </a:cubicBezTo>
                  <a:cubicBezTo>
                    <a:pt x="483916" y="439184"/>
                    <a:pt x="475692" y="457893"/>
                    <a:pt x="462709" y="455296"/>
                  </a:cubicBezTo>
                  <a:cubicBezTo>
                    <a:pt x="449726" y="452699"/>
                    <a:pt x="451903" y="429263"/>
                    <a:pt x="440675" y="422246"/>
                  </a:cubicBezTo>
                  <a:cubicBezTo>
                    <a:pt x="404828" y="399842"/>
                    <a:pt x="336199" y="394730"/>
                    <a:pt x="297456" y="389195"/>
                  </a:cubicBezTo>
                  <a:cubicBezTo>
                    <a:pt x="247684" y="372604"/>
                    <a:pt x="270295" y="390469"/>
                    <a:pt x="253388" y="334111"/>
                  </a:cubicBezTo>
                  <a:cubicBezTo>
                    <a:pt x="246714" y="311865"/>
                    <a:pt x="231355" y="268010"/>
                    <a:pt x="231355" y="268010"/>
                  </a:cubicBezTo>
                  <a:cubicBezTo>
                    <a:pt x="227683" y="234959"/>
                    <a:pt x="235210" y="198601"/>
                    <a:pt x="220338" y="168858"/>
                  </a:cubicBezTo>
                  <a:cubicBezTo>
                    <a:pt x="215144" y="158471"/>
                    <a:pt x="194037" y="170425"/>
                    <a:pt x="187287" y="179875"/>
                  </a:cubicBezTo>
                  <a:cubicBezTo>
                    <a:pt x="173787" y="198774"/>
                    <a:pt x="172598" y="223942"/>
                    <a:pt x="165253" y="245976"/>
                  </a:cubicBezTo>
                  <a:lnTo>
                    <a:pt x="143220" y="312077"/>
                  </a:lnTo>
                  <a:cubicBezTo>
                    <a:pt x="139033" y="324638"/>
                    <a:pt x="126564" y="333028"/>
                    <a:pt x="121186" y="345128"/>
                  </a:cubicBezTo>
                  <a:cubicBezTo>
                    <a:pt x="111753" y="366352"/>
                    <a:pt x="106497" y="389195"/>
                    <a:pt x="99152" y="411229"/>
                  </a:cubicBezTo>
                  <a:lnTo>
                    <a:pt x="88135" y="444279"/>
                  </a:lnTo>
                  <a:lnTo>
                    <a:pt x="77118" y="477330"/>
                  </a:lnTo>
                  <a:cubicBezTo>
                    <a:pt x="80790" y="561793"/>
                    <a:pt x="88135" y="646176"/>
                    <a:pt x="88135" y="730718"/>
                  </a:cubicBezTo>
                  <a:cubicBezTo>
                    <a:pt x="88135" y="745859"/>
                    <a:pt x="74977" y="701640"/>
                    <a:pt x="77118" y="686651"/>
                  </a:cubicBezTo>
                  <a:cubicBezTo>
                    <a:pt x="78991" y="673543"/>
                    <a:pt x="91807" y="664617"/>
                    <a:pt x="99152" y="653600"/>
                  </a:cubicBezTo>
                  <a:cubicBezTo>
                    <a:pt x="110169" y="657272"/>
                    <a:pt x="123991" y="656406"/>
                    <a:pt x="132203" y="664617"/>
                  </a:cubicBezTo>
                  <a:cubicBezTo>
                    <a:pt x="140414" y="672828"/>
                    <a:pt x="138027" y="687280"/>
                    <a:pt x="143220" y="697667"/>
                  </a:cubicBezTo>
                  <a:cubicBezTo>
                    <a:pt x="158559" y="728346"/>
                    <a:pt x="173937" y="739402"/>
                    <a:pt x="198304" y="763769"/>
                  </a:cubicBezTo>
                  <a:cubicBezTo>
                    <a:pt x="201976" y="774786"/>
                    <a:pt x="204128" y="786432"/>
                    <a:pt x="209321" y="796819"/>
                  </a:cubicBezTo>
                  <a:cubicBezTo>
                    <a:pt x="215243" y="808662"/>
                    <a:pt x="244200" y="826659"/>
                    <a:pt x="231355" y="829870"/>
                  </a:cubicBezTo>
                  <a:cubicBezTo>
                    <a:pt x="208823" y="835503"/>
                    <a:pt x="165253" y="807836"/>
                    <a:pt x="165253" y="807836"/>
                  </a:cubicBezTo>
                  <a:cubicBezTo>
                    <a:pt x="158293" y="803196"/>
                    <a:pt x="113406" y="769083"/>
                    <a:pt x="99152" y="774785"/>
                  </a:cubicBezTo>
                  <a:cubicBezTo>
                    <a:pt x="86858" y="779703"/>
                    <a:pt x="84463" y="796819"/>
                    <a:pt x="77118" y="807836"/>
                  </a:cubicBezTo>
                  <a:cubicBezTo>
                    <a:pt x="73446" y="870265"/>
                    <a:pt x="72031" y="932868"/>
                    <a:pt x="66102" y="995123"/>
                  </a:cubicBezTo>
                  <a:cubicBezTo>
                    <a:pt x="63882" y="1018431"/>
                    <a:pt x="37737" y="1091233"/>
                    <a:pt x="33051" y="1105292"/>
                  </a:cubicBezTo>
                  <a:cubicBezTo>
                    <a:pt x="28263" y="1119656"/>
                    <a:pt x="26194" y="1134800"/>
                    <a:pt x="22034" y="1149359"/>
                  </a:cubicBezTo>
                  <a:cubicBezTo>
                    <a:pt x="18844" y="1160525"/>
                    <a:pt x="14689" y="1171393"/>
                    <a:pt x="11017" y="1182410"/>
                  </a:cubicBezTo>
                  <a:cubicBezTo>
                    <a:pt x="28291" y="1286051"/>
                    <a:pt x="12710" y="1256141"/>
                    <a:pt x="33051" y="1215460"/>
                  </a:cubicBezTo>
                  <a:cubicBezTo>
                    <a:pt x="38972" y="1203617"/>
                    <a:pt x="47740" y="1193427"/>
                    <a:pt x="55085" y="1182410"/>
                  </a:cubicBezTo>
                  <a:cubicBezTo>
                    <a:pt x="68042" y="1184569"/>
                    <a:pt x="141843" y="1187575"/>
                    <a:pt x="154236" y="1215460"/>
                  </a:cubicBezTo>
                  <a:cubicBezTo>
                    <a:pt x="164782" y="1239189"/>
                    <a:pt x="160468" y="1267056"/>
                    <a:pt x="165253" y="1292578"/>
                  </a:cubicBezTo>
                  <a:cubicBezTo>
                    <a:pt x="171493" y="1325855"/>
                    <a:pt x="179075" y="1358884"/>
                    <a:pt x="187287" y="1391730"/>
                  </a:cubicBezTo>
                  <a:cubicBezTo>
                    <a:pt x="190104" y="1402996"/>
                    <a:pt x="191049" y="1415713"/>
                    <a:pt x="198304" y="1424781"/>
                  </a:cubicBezTo>
                  <a:cubicBezTo>
                    <a:pt x="206575" y="1435120"/>
                    <a:pt x="220338" y="1439470"/>
                    <a:pt x="231355" y="1446814"/>
                  </a:cubicBezTo>
                  <a:cubicBezTo>
                    <a:pt x="242993" y="1481730"/>
                    <a:pt x="266489" y="1523237"/>
                    <a:pt x="198304" y="1545966"/>
                  </a:cubicBezTo>
                  <a:lnTo>
                    <a:pt x="132203" y="1568000"/>
                  </a:lnTo>
                  <a:lnTo>
                    <a:pt x="66102" y="1523932"/>
                  </a:lnTo>
                  <a:cubicBezTo>
                    <a:pt x="40414" y="1506806"/>
                    <a:pt x="46795" y="1426799"/>
                    <a:pt x="33051" y="1402747"/>
                  </a:cubicBezTo>
                  <a:cubicBezTo>
                    <a:pt x="26482" y="1391251"/>
                    <a:pt x="11017" y="1388058"/>
                    <a:pt x="0" y="1380713"/>
                  </a:cubicBezTo>
                  <a:cubicBezTo>
                    <a:pt x="3672" y="1406419"/>
                    <a:pt x="5924" y="1432368"/>
                    <a:pt x="11017" y="1457831"/>
                  </a:cubicBezTo>
                  <a:cubicBezTo>
                    <a:pt x="13295" y="1469218"/>
                    <a:pt x="19756" y="1479495"/>
                    <a:pt x="22034" y="1490882"/>
                  </a:cubicBezTo>
                  <a:cubicBezTo>
                    <a:pt x="27127" y="1516345"/>
                    <a:pt x="29379" y="1542294"/>
                    <a:pt x="33051" y="1568000"/>
                  </a:cubicBezTo>
                  <a:cubicBezTo>
                    <a:pt x="21430" y="1637723"/>
                    <a:pt x="9181" y="1612067"/>
                    <a:pt x="11017" y="1623084"/>
                  </a:cubicBez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a:spcBef>
                  <a:spcPct val="0"/>
                </a:spcBef>
                <a:buClrTx/>
              </a:pPr>
              <a:endParaRPr lang="en-US" sz="1050" kern="1200" dirty="0" err="1">
                <a:solidFill>
                  <a:prstClr val="black"/>
                </a:solidFill>
                <a:latin typeface="Century Gothic" pitchFamily="34" charset="0"/>
                <a:ea typeface="+mn-ea"/>
                <a:cs typeface="+mn-cs"/>
              </a:endParaRPr>
            </a:p>
          </p:txBody>
        </p:sp>
        <p:sp>
          <p:nvSpPr>
            <p:cNvPr id="47" name="Freeform 46"/>
            <p:cNvSpPr/>
            <p:nvPr/>
          </p:nvSpPr>
          <p:spPr bwMode="gray">
            <a:xfrm>
              <a:off x="6960933" y="5217895"/>
              <a:ext cx="275256" cy="570598"/>
            </a:xfrm>
            <a:custGeom>
              <a:avLst/>
              <a:gdLst>
                <a:gd name="connsiteX0" fmla="*/ 110169 w 352540"/>
                <a:gd name="connsiteY0" fmla="*/ 725297 h 730806"/>
                <a:gd name="connsiteX1" fmla="*/ 99152 w 352540"/>
                <a:gd name="connsiteY1" fmla="*/ 692247 h 730806"/>
                <a:gd name="connsiteX2" fmla="*/ 110169 w 352540"/>
                <a:gd name="connsiteY2" fmla="*/ 648179 h 730806"/>
                <a:gd name="connsiteX3" fmla="*/ 165253 w 352540"/>
                <a:gd name="connsiteY3" fmla="*/ 549027 h 730806"/>
                <a:gd name="connsiteX4" fmla="*/ 187287 w 352540"/>
                <a:gd name="connsiteY4" fmla="*/ 515977 h 730806"/>
                <a:gd name="connsiteX5" fmla="*/ 198304 w 352540"/>
                <a:gd name="connsiteY5" fmla="*/ 471909 h 730806"/>
                <a:gd name="connsiteX6" fmla="*/ 231355 w 352540"/>
                <a:gd name="connsiteY6" fmla="*/ 405808 h 730806"/>
                <a:gd name="connsiteX7" fmla="*/ 264405 w 352540"/>
                <a:gd name="connsiteY7" fmla="*/ 383774 h 730806"/>
                <a:gd name="connsiteX8" fmla="*/ 308473 w 352540"/>
                <a:gd name="connsiteY8" fmla="*/ 251572 h 730806"/>
                <a:gd name="connsiteX9" fmla="*/ 330506 w 352540"/>
                <a:gd name="connsiteY9" fmla="*/ 185471 h 730806"/>
                <a:gd name="connsiteX10" fmla="*/ 352540 w 352540"/>
                <a:gd name="connsiteY10" fmla="*/ 86319 h 730806"/>
                <a:gd name="connsiteX11" fmla="*/ 308473 w 352540"/>
                <a:gd name="connsiteY11" fmla="*/ 53268 h 730806"/>
                <a:gd name="connsiteX12" fmla="*/ 275422 w 352540"/>
                <a:gd name="connsiteY12" fmla="*/ 152420 h 730806"/>
                <a:gd name="connsiteX13" fmla="*/ 187287 w 352540"/>
                <a:gd name="connsiteY13" fmla="*/ 306656 h 730806"/>
                <a:gd name="connsiteX14" fmla="*/ 121186 w 352540"/>
                <a:gd name="connsiteY14" fmla="*/ 339707 h 730806"/>
                <a:gd name="connsiteX15" fmla="*/ 66102 w 352540"/>
                <a:gd name="connsiteY15" fmla="*/ 394791 h 730806"/>
                <a:gd name="connsiteX16" fmla="*/ 77118 w 352540"/>
                <a:gd name="connsiteY16" fmla="*/ 427842 h 730806"/>
                <a:gd name="connsiteX17" fmla="*/ 66102 w 352540"/>
                <a:gd name="connsiteY17" fmla="*/ 471909 h 730806"/>
                <a:gd name="connsiteX18" fmla="*/ 33051 w 352540"/>
                <a:gd name="connsiteY18" fmla="*/ 493943 h 730806"/>
                <a:gd name="connsiteX19" fmla="*/ 0 w 352540"/>
                <a:gd name="connsiteY19" fmla="*/ 560044 h 730806"/>
                <a:gd name="connsiteX20" fmla="*/ 44068 w 352540"/>
                <a:gd name="connsiteY20" fmla="*/ 626146 h 730806"/>
                <a:gd name="connsiteX21" fmla="*/ 55085 w 352540"/>
                <a:gd name="connsiteY21" fmla="*/ 659196 h 730806"/>
                <a:gd name="connsiteX22" fmla="*/ 110169 w 352540"/>
                <a:gd name="connsiteY22" fmla="*/ 725297 h 730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2540" h="730806">
                  <a:moveTo>
                    <a:pt x="110169" y="725297"/>
                  </a:moveTo>
                  <a:cubicBezTo>
                    <a:pt x="117514" y="730806"/>
                    <a:pt x="99152" y="703860"/>
                    <a:pt x="99152" y="692247"/>
                  </a:cubicBezTo>
                  <a:cubicBezTo>
                    <a:pt x="99152" y="677106"/>
                    <a:pt x="106009" y="662738"/>
                    <a:pt x="110169" y="648179"/>
                  </a:cubicBezTo>
                  <a:cubicBezTo>
                    <a:pt x="124712" y="597280"/>
                    <a:pt x="125802" y="608204"/>
                    <a:pt x="165253" y="549027"/>
                  </a:cubicBezTo>
                  <a:lnTo>
                    <a:pt x="187287" y="515977"/>
                  </a:lnTo>
                  <a:cubicBezTo>
                    <a:pt x="190959" y="501288"/>
                    <a:pt x="194144" y="486468"/>
                    <a:pt x="198304" y="471909"/>
                  </a:cubicBezTo>
                  <a:cubicBezTo>
                    <a:pt x="205472" y="446820"/>
                    <a:pt x="212042" y="425121"/>
                    <a:pt x="231355" y="405808"/>
                  </a:cubicBezTo>
                  <a:cubicBezTo>
                    <a:pt x="240717" y="396445"/>
                    <a:pt x="253388" y="391119"/>
                    <a:pt x="264405" y="383774"/>
                  </a:cubicBezTo>
                  <a:lnTo>
                    <a:pt x="308473" y="251572"/>
                  </a:lnTo>
                  <a:lnTo>
                    <a:pt x="330506" y="185471"/>
                  </a:lnTo>
                  <a:cubicBezTo>
                    <a:pt x="344493" y="115540"/>
                    <a:pt x="336982" y="148553"/>
                    <a:pt x="352540" y="86319"/>
                  </a:cubicBezTo>
                  <a:cubicBezTo>
                    <a:pt x="350919" y="79834"/>
                    <a:pt x="346521" y="0"/>
                    <a:pt x="308473" y="53268"/>
                  </a:cubicBezTo>
                  <a:cubicBezTo>
                    <a:pt x="290115" y="78969"/>
                    <a:pt x="290110" y="123044"/>
                    <a:pt x="275422" y="152420"/>
                  </a:cubicBezTo>
                  <a:cubicBezTo>
                    <a:pt x="267796" y="167672"/>
                    <a:pt x="210647" y="291082"/>
                    <a:pt x="187287" y="306656"/>
                  </a:cubicBezTo>
                  <a:cubicBezTo>
                    <a:pt x="144575" y="335132"/>
                    <a:pt x="166798" y="324503"/>
                    <a:pt x="121186" y="339707"/>
                  </a:cubicBezTo>
                  <a:cubicBezTo>
                    <a:pt x="101906" y="352560"/>
                    <a:pt x="70692" y="367249"/>
                    <a:pt x="66102" y="394791"/>
                  </a:cubicBezTo>
                  <a:cubicBezTo>
                    <a:pt x="64193" y="406246"/>
                    <a:pt x="73446" y="416825"/>
                    <a:pt x="77118" y="427842"/>
                  </a:cubicBezTo>
                  <a:cubicBezTo>
                    <a:pt x="73446" y="442531"/>
                    <a:pt x="74501" y="459311"/>
                    <a:pt x="66102" y="471909"/>
                  </a:cubicBezTo>
                  <a:cubicBezTo>
                    <a:pt x="58757" y="482926"/>
                    <a:pt x="42414" y="484580"/>
                    <a:pt x="33051" y="493943"/>
                  </a:cubicBezTo>
                  <a:cubicBezTo>
                    <a:pt x="11695" y="515299"/>
                    <a:pt x="8960" y="533164"/>
                    <a:pt x="0" y="560044"/>
                  </a:cubicBezTo>
                  <a:lnTo>
                    <a:pt x="44068" y="626146"/>
                  </a:lnTo>
                  <a:cubicBezTo>
                    <a:pt x="50510" y="635808"/>
                    <a:pt x="49892" y="648809"/>
                    <a:pt x="55085" y="659196"/>
                  </a:cubicBezTo>
                  <a:cubicBezTo>
                    <a:pt x="68984" y="686994"/>
                    <a:pt x="102824" y="719788"/>
                    <a:pt x="110169" y="725297"/>
                  </a:cubicBez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a:spcBef>
                  <a:spcPct val="0"/>
                </a:spcBef>
                <a:buClrTx/>
              </a:pPr>
              <a:endParaRPr lang="en-US" sz="1050" kern="1200" dirty="0" err="1">
                <a:solidFill>
                  <a:prstClr val="black"/>
                </a:solidFill>
                <a:latin typeface="Century Gothic" pitchFamily="34" charset="0"/>
                <a:ea typeface="+mn-ea"/>
                <a:cs typeface="+mn-cs"/>
              </a:endParaRPr>
            </a:p>
          </p:txBody>
        </p:sp>
        <p:sp>
          <p:nvSpPr>
            <p:cNvPr id="48" name="Freeform 47"/>
            <p:cNvSpPr/>
            <p:nvPr/>
          </p:nvSpPr>
          <p:spPr bwMode="gray">
            <a:xfrm>
              <a:off x="6935553" y="5322353"/>
              <a:ext cx="86335" cy="143362"/>
            </a:xfrm>
            <a:custGeom>
              <a:avLst/>
              <a:gdLst>
                <a:gd name="connsiteX0" fmla="*/ 99152 w 110575"/>
                <a:gd name="connsiteY0" fmla="*/ 18361 h 183614"/>
                <a:gd name="connsiteX1" fmla="*/ 66101 w 110575"/>
                <a:gd name="connsiteY1" fmla="*/ 29378 h 183614"/>
                <a:gd name="connsiteX2" fmla="*/ 11017 w 110575"/>
                <a:gd name="connsiteY2" fmla="*/ 95479 h 183614"/>
                <a:gd name="connsiteX3" fmla="*/ 0 w 110575"/>
                <a:gd name="connsiteY3" fmla="*/ 128530 h 183614"/>
                <a:gd name="connsiteX4" fmla="*/ 44068 w 110575"/>
                <a:gd name="connsiteY4" fmla="*/ 183614 h 183614"/>
                <a:gd name="connsiteX5" fmla="*/ 88135 w 110575"/>
                <a:gd name="connsiteY5" fmla="*/ 172597 h 183614"/>
                <a:gd name="connsiteX6" fmla="*/ 99152 w 110575"/>
                <a:gd name="connsiteY6" fmla="*/ 139547 h 183614"/>
                <a:gd name="connsiteX7" fmla="*/ 99152 w 110575"/>
                <a:gd name="connsiteY7" fmla="*/ 18361 h 183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75" h="183614">
                  <a:moveTo>
                    <a:pt x="99152" y="18361"/>
                  </a:moveTo>
                  <a:cubicBezTo>
                    <a:pt x="93644" y="0"/>
                    <a:pt x="75764" y="22936"/>
                    <a:pt x="66101" y="29378"/>
                  </a:cubicBezTo>
                  <a:cubicBezTo>
                    <a:pt x="40656" y="46342"/>
                    <a:pt x="27274" y="71094"/>
                    <a:pt x="11017" y="95479"/>
                  </a:cubicBezTo>
                  <a:cubicBezTo>
                    <a:pt x="7345" y="106496"/>
                    <a:pt x="0" y="116917"/>
                    <a:pt x="0" y="128530"/>
                  </a:cubicBezTo>
                  <a:cubicBezTo>
                    <a:pt x="0" y="164005"/>
                    <a:pt x="18691" y="166696"/>
                    <a:pt x="44068" y="183614"/>
                  </a:cubicBezTo>
                  <a:cubicBezTo>
                    <a:pt x="58757" y="179942"/>
                    <a:pt x="76312" y="182056"/>
                    <a:pt x="88135" y="172597"/>
                  </a:cubicBezTo>
                  <a:cubicBezTo>
                    <a:pt x="97203" y="165343"/>
                    <a:pt x="97243" y="151002"/>
                    <a:pt x="99152" y="139547"/>
                  </a:cubicBezTo>
                  <a:cubicBezTo>
                    <a:pt x="110575" y="71013"/>
                    <a:pt x="104660" y="36722"/>
                    <a:pt x="99152" y="18361"/>
                  </a:cubicBez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a:spcBef>
                  <a:spcPct val="0"/>
                </a:spcBef>
                <a:buClrTx/>
              </a:pPr>
              <a:endParaRPr lang="en-US" sz="1050" kern="1200" dirty="0" err="1">
                <a:solidFill>
                  <a:prstClr val="black"/>
                </a:solidFill>
                <a:latin typeface="Century Gothic" pitchFamily="34" charset="0"/>
                <a:ea typeface="+mn-ea"/>
                <a:cs typeface="+mn-cs"/>
              </a:endParaRPr>
            </a:p>
          </p:txBody>
        </p:sp>
        <p:sp>
          <p:nvSpPr>
            <p:cNvPr id="49" name="Freeform 48"/>
            <p:cNvSpPr/>
            <p:nvPr/>
          </p:nvSpPr>
          <p:spPr bwMode="gray">
            <a:xfrm>
              <a:off x="6692135" y="5399491"/>
              <a:ext cx="235028" cy="212454"/>
            </a:xfrm>
            <a:custGeom>
              <a:avLst/>
              <a:gdLst>
                <a:gd name="connsiteX0" fmla="*/ 25597 w 301017"/>
                <a:gd name="connsiteY0" fmla="*/ 18717 h 272105"/>
                <a:gd name="connsiteX1" fmla="*/ 80681 w 301017"/>
                <a:gd name="connsiteY1" fmla="*/ 84818 h 272105"/>
                <a:gd name="connsiteX2" fmla="*/ 135765 w 301017"/>
                <a:gd name="connsiteY2" fmla="*/ 150919 h 272105"/>
                <a:gd name="connsiteX3" fmla="*/ 168816 w 301017"/>
                <a:gd name="connsiteY3" fmla="*/ 161936 h 272105"/>
                <a:gd name="connsiteX4" fmla="*/ 179833 w 301017"/>
                <a:gd name="connsiteY4" fmla="*/ 128886 h 272105"/>
                <a:gd name="connsiteX5" fmla="*/ 245934 w 301017"/>
                <a:gd name="connsiteY5" fmla="*/ 172953 h 272105"/>
                <a:gd name="connsiteX6" fmla="*/ 278985 w 301017"/>
                <a:gd name="connsiteY6" fmla="*/ 194987 h 272105"/>
                <a:gd name="connsiteX7" fmla="*/ 278985 w 301017"/>
                <a:gd name="connsiteY7" fmla="*/ 261088 h 272105"/>
                <a:gd name="connsiteX8" fmla="*/ 245934 w 301017"/>
                <a:gd name="connsiteY8" fmla="*/ 272105 h 272105"/>
                <a:gd name="connsiteX9" fmla="*/ 157799 w 301017"/>
                <a:gd name="connsiteY9" fmla="*/ 250071 h 272105"/>
                <a:gd name="connsiteX10" fmla="*/ 124748 w 301017"/>
                <a:gd name="connsiteY10" fmla="*/ 228037 h 272105"/>
                <a:gd name="connsiteX11" fmla="*/ 69664 w 301017"/>
                <a:gd name="connsiteY11" fmla="*/ 161936 h 272105"/>
                <a:gd name="connsiteX12" fmla="*/ 14580 w 301017"/>
                <a:gd name="connsiteY12" fmla="*/ 106852 h 272105"/>
                <a:gd name="connsiteX13" fmla="*/ 25597 w 301017"/>
                <a:gd name="connsiteY13" fmla="*/ 18717 h 272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1017" h="272105">
                  <a:moveTo>
                    <a:pt x="25597" y="18717"/>
                  </a:moveTo>
                  <a:cubicBezTo>
                    <a:pt x="36614" y="15045"/>
                    <a:pt x="9998" y="0"/>
                    <a:pt x="80681" y="84818"/>
                  </a:cubicBezTo>
                  <a:cubicBezTo>
                    <a:pt x="106085" y="115302"/>
                    <a:pt x="99556" y="126780"/>
                    <a:pt x="135765" y="150919"/>
                  </a:cubicBezTo>
                  <a:cubicBezTo>
                    <a:pt x="145428" y="157361"/>
                    <a:pt x="157799" y="158264"/>
                    <a:pt x="168816" y="161936"/>
                  </a:cubicBezTo>
                  <a:cubicBezTo>
                    <a:pt x="172488" y="150919"/>
                    <a:pt x="169051" y="133199"/>
                    <a:pt x="179833" y="128886"/>
                  </a:cubicBezTo>
                  <a:cubicBezTo>
                    <a:pt x="222751" y="111719"/>
                    <a:pt x="227739" y="154758"/>
                    <a:pt x="245934" y="172953"/>
                  </a:cubicBezTo>
                  <a:cubicBezTo>
                    <a:pt x="255297" y="182316"/>
                    <a:pt x="267968" y="187642"/>
                    <a:pt x="278985" y="194987"/>
                  </a:cubicBezTo>
                  <a:cubicBezTo>
                    <a:pt x="286329" y="217020"/>
                    <a:pt x="301017" y="239055"/>
                    <a:pt x="278985" y="261088"/>
                  </a:cubicBezTo>
                  <a:cubicBezTo>
                    <a:pt x="270774" y="269300"/>
                    <a:pt x="256951" y="268433"/>
                    <a:pt x="245934" y="272105"/>
                  </a:cubicBezTo>
                  <a:cubicBezTo>
                    <a:pt x="224983" y="267915"/>
                    <a:pt x="180383" y="261363"/>
                    <a:pt x="157799" y="250071"/>
                  </a:cubicBezTo>
                  <a:cubicBezTo>
                    <a:pt x="145956" y="244150"/>
                    <a:pt x="135765" y="235382"/>
                    <a:pt x="124748" y="228037"/>
                  </a:cubicBezTo>
                  <a:cubicBezTo>
                    <a:pt x="70049" y="145988"/>
                    <a:pt x="140346" y="246754"/>
                    <a:pt x="69664" y="161936"/>
                  </a:cubicBezTo>
                  <a:cubicBezTo>
                    <a:pt x="23760" y="106852"/>
                    <a:pt x="75172" y="147248"/>
                    <a:pt x="14580" y="106852"/>
                  </a:cubicBezTo>
                  <a:cubicBezTo>
                    <a:pt x="0" y="48534"/>
                    <a:pt x="14580" y="22389"/>
                    <a:pt x="25597" y="18717"/>
                  </a:cubicBez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a:spcBef>
                  <a:spcPct val="0"/>
                </a:spcBef>
                <a:buClrTx/>
              </a:pPr>
              <a:endParaRPr lang="en-US" sz="1050" kern="1200" dirty="0" err="1">
                <a:solidFill>
                  <a:prstClr val="black"/>
                </a:solidFill>
                <a:latin typeface="Century Gothic" pitchFamily="34" charset="0"/>
                <a:ea typeface="+mn-ea"/>
                <a:cs typeface="+mn-cs"/>
              </a:endParaRPr>
            </a:p>
          </p:txBody>
        </p:sp>
        <p:sp>
          <p:nvSpPr>
            <p:cNvPr id="50" name="Freeform 49"/>
            <p:cNvSpPr/>
            <p:nvPr/>
          </p:nvSpPr>
          <p:spPr bwMode="gray">
            <a:xfrm>
              <a:off x="6350022" y="4588337"/>
              <a:ext cx="808751" cy="756953"/>
            </a:xfrm>
            <a:custGeom>
              <a:avLst/>
              <a:gdLst>
                <a:gd name="connsiteX0" fmla="*/ 121425 w 1035825"/>
                <a:gd name="connsiteY0" fmla="*/ 77118 h 969484"/>
                <a:gd name="connsiteX1" fmla="*/ 55324 w 1035825"/>
                <a:gd name="connsiteY1" fmla="*/ 99151 h 969484"/>
                <a:gd name="connsiteX2" fmla="*/ 22274 w 1035825"/>
                <a:gd name="connsiteY2" fmla="*/ 110168 h 969484"/>
                <a:gd name="connsiteX3" fmla="*/ 240 w 1035825"/>
                <a:gd name="connsiteY3" fmla="*/ 143219 h 969484"/>
                <a:gd name="connsiteX4" fmla="*/ 22274 w 1035825"/>
                <a:gd name="connsiteY4" fmla="*/ 220337 h 969484"/>
                <a:gd name="connsiteX5" fmla="*/ 55324 w 1035825"/>
                <a:gd name="connsiteY5" fmla="*/ 242371 h 969484"/>
                <a:gd name="connsiteX6" fmla="*/ 66341 w 1035825"/>
                <a:gd name="connsiteY6" fmla="*/ 275421 h 969484"/>
                <a:gd name="connsiteX7" fmla="*/ 88375 w 1035825"/>
                <a:gd name="connsiteY7" fmla="*/ 308472 h 969484"/>
                <a:gd name="connsiteX8" fmla="*/ 110408 w 1035825"/>
                <a:gd name="connsiteY8" fmla="*/ 374573 h 969484"/>
                <a:gd name="connsiteX9" fmla="*/ 88375 w 1035825"/>
                <a:gd name="connsiteY9" fmla="*/ 407624 h 969484"/>
                <a:gd name="connsiteX10" fmla="*/ 110408 w 1035825"/>
                <a:gd name="connsiteY10" fmla="*/ 440674 h 969484"/>
                <a:gd name="connsiteX11" fmla="*/ 121425 w 1035825"/>
                <a:gd name="connsiteY11" fmla="*/ 473725 h 969484"/>
                <a:gd name="connsiteX12" fmla="*/ 165493 w 1035825"/>
                <a:gd name="connsiteY12" fmla="*/ 539826 h 969484"/>
                <a:gd name="connsiteX13" fmla="*/ 176510 w 1035825"/>
                <a:gd name="connsiteY13" fmla="*/ 594911 h 969484"/>
                <a:gd name="connsiteX14" fmla="*/ 220577 w 1035825"/>
                <a:gd name="connsiteY14" fmla="*/ 661012 h 969484"/>
                <a:gd name="connsiteX15" fmla="*/ 242611 w 1035825"/>
                <a:gd name="connsiteY15" fmla="*/ 727113 h 969484"/>
                <a:gd name="connsiteX16" fmla="*/ 253628 w 1035825"/>
                <a:gd name="connsiteY16" fmla="*/ 760164 h 969484"/>
                <a:gd name="connsiteX17" fmla="*/ 264645 w 1035825"/>
                <a:gd name="connsiteY17" fmla="*/ 793214 h 969484"/>
                <a:gd name="connsiteX18" fmla="*/ 275661 w 1035825"/>
                <a:gd name="connsiteY18" fmla="*/ 760164 h 969484"/>
                <a:gd name="connsiteX19" fmla="*/ 286678 w 1035825"/>
                <a:gd name="connsiteY19" fmla="*/ 716096 h 969484"/>
                <a:gd name="connsiteX20" fmla="*/ 319729 w 1035825"/>
                <a:gd name="connsiteY20" fmla="*/ 694062 h 969484"/>
                <a:gd name="connsiteX21" fmla="*/ 352780 w 1035825"/>
                <a:gd name="connsiteY21" fmla="*/ 716096 h 969484"/>
                <a:gd name="connsiteX22" fmla="*/ 385830 w 1035825"/>
                <a:gd name="connsiteY22" fmla="*/ 782197 h 969484"/>
                <a:gd name="connsiteX23" fmla="*/ 363796 w 1035825"/>
                <a:gd name="connsiteY23" fmla="*/ 815248 h 969484"/>
                <a:gd name="connsiteX24" fmla="*/ 341763 w 1035825"/>
                <a:gd name="connsiteY24" fmla="*/ 870332 h 969484"/>
                <a:gd name="connsiteX25" fmla="*/ 418881 w 1035825"/>
                <a:gd name="connsiteY25" fmla="*/ 881349 h 969484"/>
                <a:gd name="connsiteX26" fmla="*/ 484982 w 1035825"/>
                <a:gd name="connsiteY26" fmla="*/ 870332 h 969484"/>
                <a:gd name="connsiteX27" fmla="*/ 518033 w 1035825"/>
                <a:gd name="connsiteY27" fmla="*/ 881349 h 969484"/>
                <a:gd name="connsiteX28" fmla="*/ 584134 w 1035825"/>
                <a:gd name="connsiteY28" fmla="*/ 925417 h 969484"/>
                <a:gd name="connsiteX29" fmla="*/ 683286 w 1035825"/>
                <a:gd name="connsiteY29" fmla="*/ 958467 h 969484"/>
                <a:gd name="connsiteX30" fmla="*/ 727353 w 1035825"/>
                <a:gd name="connsiteY30" fmla="*/ 969484 h 969484"/>
                <a:gd name="connsiteX31" fmla="*/ 826505 w 1035825"/>
                <a:gd name="connsiteY31" fmla="*/ 936433 h 969484"/>
                <a:gd name="connsiteX32" fmla="*/ 859555 w 1035825"/>
                <a:gd name="connsiteY32" fmla="*/ 925417 h 969484"/>
                <a:gd name="connsiteX33" fmla="*/ 925657 w 1035825"/>
                <a:gd name="connsiteY33" fmla="*/ 914400 h 969484"/>
                <a:gd name="connsiteX34" fmla="*/ 969724 w 1035825"/>
                <a:gd name="connsiteY34" fmla="*/ 815248 h 969484"/>
                <a:gd name="connsiteX35" fmla="*/ 991758 w 1035825"/>
                <a:gd name="connsiteY35" fmla="*/ 782197 h 969484"/>
                <a:gd name="connsiteX36" fmla="*/ 1002775 w 1035825"/>
                <a:gd name="connsiteY36" fmla="*/ 749147 h 969484"/>
                <a:gd name="connsiteX37" fmla="*/ 1024808 w 1035825"/>
                <a:gd name="connsiteY37" fmla="*/ 539826 h 969484"/>
                <a:gd name="connsiteX38" fmla="*/ 1035825 w 1035825"/>
                <a:gd name="connsiteY38" fmla="*/ 506776 h 969484"/>
                <a:gd name="connsiteX39" fmla="*/ 1013792 w 1035825"/>
                <a:gd name="connsiteY39" fmla="*/ 473725 h 969484"/>
                <a:gd name="connsiteX40" fmla="*/ 991758 w 1035825"/>
                <a:gd name="connsiteY40" fmla="*/ 407624 h 969484"/>
                <a:gd name="connsiteX41" fmla="*/ 969724 w 1035825"/>
                <a:gd name="connsiteY41" fmla="*/ 341523 h 969484"/>
                <a:gd name="connsiteX42" fmla="*/ 947690 w 1035825"/>
                <a:gd name="connsiteY42" fmla="*/ 308472 h 969484"/>
                <a:gd name="connsiteX43" fmla="*/ 936674 w 1035825"/>
                <a:gd name="connsiteY43" fmla="*/ 275421 h 969484"/>
                <a:gd name="connsiteX44" fmla="*/ 958707 w 1035825"/>
                <a:gd name="connsiteY44" fmla="*/ 209320 h 969484"/>
                <a:gd name="connsiteX45" fmla="*/ 925657 w 1035825"/>
                <a:gd name="connsiteY45" fmla="*/ 110168 h 969484"/>
                <a:gd name="connsiteX46" fmla="*/ 903623 w 1035825"/>
                <a:gd name="connsiteY46" fmla="*/ 77118 h 969484"/>
                <a:gd name="connsiteX47" fmla="*/ 892606 w 1035825"/>
                <a:gd name="connsiteY47" fmla="*/ 22033 h 969484"/>
                <a:gd name="connsiteX48" fmla="*/ 859555 w 1035825"/>
                <a:gd name="connsiteY48" fmla="*/ 88135 h 969484"/>
                <a:gd name="connsiteX49" fmla="*/ 859555 w 1035825"/>
                <a:gd name="connsiteY49" fmla="*/ 220337 h 969484"/>
                <a:gd name="connsiteX50" fmla="*/ 826505 w 1035825"/>
                <a:gd name="connsiteY50" fmla="*/ 242371 h 969484"/>
                <a:gd name="connsiteX51" fmla="*/ 771421 w 1035825"/>
                <a:gd name="connsiteY51" fmla="*/ 253388 h 969484"/>
                <a:gd name="connsiteX52" fmla="*/ 738370 w 1035825"/>
                <a:gd name="connsiteY52" fmla="*/ 231354 h 969484"/>
                <a:gd name="connsiteX53" fmla="*/ 738370 w 1035825"/>
                <a:gd name="connsiteY53" fmla="*/ 110168 h 969484"/>
                <a:gd name="connsiteX54" fmla="*/ 705319 w 1035825"/>
                <a:gd name="connsiteY54" fmla="*/ 99151 h 969484"/>
                <a:gd name="connsiteX55" fmla="*/ 683286 w 1035825"/>
                <a:gd name="connsiteY55" fmla="*/ 66101 h 969484"/>
                <a:gd name="connsiteX56" fmla="*/ 617184 w 1035825"/>
                <a:gd name="connsiteY56" fmla="*/ 11017 h 969484"/>
                <a:gd name="connsiteX57" fmla="*/ 584134 w 1035825"/>
                <a:gd name="connsiteY57" fmla="*/ 0 h 969484"/>
                <a:gd name="connsiteX58" fmla="*/ 418881 w 1035825"/>
                <a:gd name="connsiteY58" fmla="*/ 22033 h 969484"/>
                <a:gd name="connsiteX59" fmla="*/ 352780 w 1035825"/>
                <a:gd name="connsiteY59" fmla="*/ 44067 h 969484"/>
                <a:gd name="connsiteX60" fmla="*/ 319729 w 1035825"/>
                <a:gd name="connsiteY60" fmla="*/ 66101 h 969484"/>
                <a:gd name="connsiteX61" fmla="*/ 297695 w 1035825"/>
                <a:gd name="connsiteY61" fmla="*/ 99151 h 969484"/>
                <a:gd name="connsiteX62" fmla="*/ 231594 w 1035825"/>
                <a:gd name="connsiteY62" fmla="*/ 121185 h 969484"/>
                <a:gd name="connsiteX63" fmla="*/ 121425 w 1035825"/>
                <a:gd name="connsiteY63" fmla="*/ 77118 h 969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035825" h="969484">
                  <a:moveTo>
                    <a:pt x="121425" y="77118"/>
                  </a:moveTo>
                  <a:lnTo>
                    <a:pt x="55324" y="99151"/>
                  </a:lnTo>
                  <a:lnTo>
                    <a:pt x="22274" y="110168"/>
                  </a:lnTo>
                  <a:cubicBezTo>
                    <a:pt x="14929" y="121185"/>
                    <a:pt x="2113" y="130111"/>
                    <a:pt x="240" y="143219"/>
                  </a:cubicBezTo>
                  <a:cubicBezTo>
                    <a:pt x="0" y="144899"/>
                    <a:pt x="17263" y="214073"/>
                    <a:pt x="22274" y="220337"/>
                  </a:cubicBezTo>
                  <a:cubicBezTo>
                    <a:pt x="30545" y="230676"/>
                    <a:pt x="44307" y="235026"/>
                    <a:pt x="55324" y="242371"/>
                  </a:cubicBezTo>
                  <a:cubicBezTo>
                    <a:pt x="58996" y="253388"/>
                    <a:pt x="61148" y="265034"/>
                    <a:pt x="66341" y="275421"/>
                  </a:cubicBezTo>
                  <a:cubicBezTo>
                    <a:pt x="72263" y="287264"/>
                    <a:pt x="82997" y="296372"/>
                    <a:pt x="88375" y="308472"/>
                  </a:cubicBezTo>
                  <a:cubicBezTo>
                    <a:pt x="97808" y="329696"/>
                    <a:pt x="110408" y="374573"/>
                    <a:pt x="110408" y="374573"/>
                  </a:cubicBezTo>
                  <a:cubicBezTo>
                    <a:pt x="103064" y="385590"/>
                    <a:pt x="88375" y="394383"/>
                    <a:pt x="88375" y="407624"/>
                  </a:cubicBezTo>
                  <a:cubicBezTo>
                    <a:pt x="88375" y="420864"/>
                    <a:pt x="104487" y="428831"/>
                    <a:pt x="110408" y="440674"/>
                  </a:cubicBezTo>
                  <a:cubicBezTo>
                    <a:pt x="115601" y="451061"/>
                    <a:pt x="115785" y="463573"/>
                    <a:pt x="121425" y="473725"/>
                  </a:cubicBezTo>
                  <a:cubicBezTo>
                    <a:pt x="134286" y="496874"/>
                    <a:pt x="165493" y="539826"/>
                    <a:pt x="165493" y="539826"/>
                  </a:cubicBezTo>
                  <a:cubicBezTo>
                    <a:pt x="169165" y="558188"/>
                    <a:pt x="168761" y="577864"/>
                    <a:pt x="176510" y="594911"/>
                  </a:cubicBezTo>
                  <a:cubicBezTo>
                    <a:pt x="187468" y="619019"/>
                    <a:pt x="212203" y="635890"/>
                    <a:pt x="220577" y="661012"/>
                  </a:cubicBezTo>
                  <a:lnTo>
                    <a:pt x="242611" y="727113"/>
                  </a:lnTo>
                  <a:lnTo>
                    <a:pt x="253628" y="760164"/>
                  </a:lnTo>
                  <a:lnTo>
                    <a:pt x="264645" y="793214"/>
                  </a:lnTo>
                  <a:cubicBezTo>
                    <a:pt x="268317" y="782197"/>
                    <a:pt x="272471" y="771330"/>
                    <a:pt x="275661" y="760164"/>
                  </a:cubicBezTo>
                  <a:cubicBezTo>
                    <a:pt x="279821" y="745605"/>
                    <a:pt x="278279" y="728694"/>
                    <a:pt x="286678" y="716096"/>
                  </a:cubicBezTo>
                  <a:cubicBezTo>
                    <a:pt x="294023" y="705079"/>
                    <a:pt x="308712" y="701407"/>
                    <a:pt x="319729" y="694062"/>
                  </a:cubicBezTo>
                  <a:cubicBezTo>
                    <a:pt x="330746" y="701407"/>
                    <a:pt x="343417" y="706733"/>
                    <a:pt x="352780" y="716096"/>
                  </a:cubicBezTo>
                  <a:cubicBezTo>
                    <a:pt x="374135" y="737451"/>
                    <a:pt x="376870" y="755318"/>
                    <a:pt x="385830" y="782197"/>
                  </a:cubicBezTo>
                  <a:cubicBezTo>
                    <a:pt x="378485" y="793214"/>
                    <a:pt x="373159" y="805885"/>
                    <a:pt x="363796" y="815248"/>
                  </a:cubicBezTo>
                  <a:cubicBezTo>
                    <a:pt x="359467" y="819578"/>
                    <a:pt x="292895" y="845898"/>
                    <a:pt x="341763" y="870332"/>
                  </a:cubicBezTo>
                  <a:cubicBezTo>
                    <a:pt x="364989" y="881945"/>
                    <a:pt x="393175" y="877677"/>
                    <a:pt x="418881" y="881349"/>
                  </a:cubicBezTo>
                  <a:cubicBezTo>
                    <a:pt x="501953" y="909040"/>
                    <a:pt x="399556" y="884570"/>
                    <a:pt x="484982" y="870332"/>
                  </a:cubicBezTo>
                  <a:cubicBezTo>
                    <a:pt x="496437" y="868423"/>
                    <a:pt x="507016" y="877677"/>
                    <a:pt x="518033" y="881349"/>
                  </a:cubicBezTo>
                  <a:cubicBezTo>
                    <a:pt x="540067" y="896038"/>
                    <a:pt x="559012" y="917043"/>
                    <a:pt x="584134" y="925417"/>
                  </a:cubicBezTo>
                  <a:lnTo>
                    <a:pt x="683286" y="958467"/>
                  </a:lnTo>
                  <a:cubicBezTo>
                    <a:pt x="697650" y="963255"/>
                    <a:pt x="712664" y="965812"/>
                    <a:pt x="727353" y="969484"/>
                  </a:cubicBezTo>
                  <a:lnTo>
                    <a:pt x="826505" y="936433"/>
                  </a:lnTo>
                  <a:cubicBezTo>
                    <a:pt x="837522" y="932761"/>
                    <a:pt x="848100" y="927326"/>
                    <a:pt x="859555" y="925417"/>
                  </a:cubicBezTo>
                  <a:lnTo>
                    <a:pt x="925657" y="914400"/>
                  </a:lnTo>
                  <a:cubicBezTo>
                    <a:pt x="988708" y="851347"/>
                    <a:pt x="935778" y="917086"/>
                    <a:pt x="969724" y="815248"/>
                  </a:cubicBezTo>
                  <a:cubicBezTo>
                    <a:pt x="973911" y="802687"/>
                    <a:pt x="985836" y="794040"/>
                    <a:pt x="991758" y="782197"/>
                  </a:cubicBezTo>
                  <a:cubicBezTo>
                    <a:pt x="996951" y="771810"/>
                    <a:pt x="999103" y="760164"/>
                    <a:pt x="1002775" y="749147"/>
                  </a:cubicBezTo>
                  <a:cubicBezTo>
                    <a:pt x="1007544" y="691920"/>
                    <a:pt x="1012474" y="601498"/>
                    <a:pt x="1024808" y="539826"/>
                  </a:cubicBezTo>
                  <a:cubicBezTo>
                    <a:pt x="1027085" y="528439"/>
                    <a:pt x="1032153" y="517793"/>
                    <a:pt x="1035825" y="506776"/>
                  </a:cubicBezTo>
                  <a:cubicBezTo>
                    <a:pt x="1028481" y="495759"/>
                    <a:pt x="1019169" y="485824"/>
                    <a:pt x="1013792" y="473725"/>
                  </a:cubicBezTo>
                  <a:cubicBezTo>
                    <a:pt x="1004359" y="452501"/>
                    <a:pt x="999103" y="429658"/>
                    <a:pt x="991758" y="407624"/>
                  </a:cubicBezTo>
                  <a:lnTo>
                    <a:pt x="969724" y="341523"/>
                  </a:lnTo>
                  <a:cubicBezTo>
                    <a:pt x="965537" y="328962"/>
                    <a:pt x="955035" y="319489"/>
                    <a:pt x="947690" y="308472"/>
                  </a:cubicBezTo>
                  <a:cubicBezTo>
                    <a:pt x="944018" y="297455"/>
                    <a:pt x="935392" y="286963"/>
                    <a:pt x="936674" y="275421"/>
                  </a:cubicBezTo>
                  <a:cubicBezTo>
                    <a:pt x="939239" y="252338"/>
                    <a:pt x="958707" y="209320"/>
                    <a:pt x="958707" y="209320"/>
                  </a:cubicBezTo>
                  <a:lnTo>
                    <a:pt x="925657" y="110168"/>
                  </a:lnTo>
                  <a:cubicBezTo>
                    <a:pt x="921470" y="97607"/>
                    <a:pt x="910968" y="88135"/>
                    <a:pt x="903623" y="77118"/>
                  </a:cubicBezTo>
                  <a:cubicBezTo>
                    <a:pt x="899951" y="58756"/>
                    <a:pt x="908186" y="32420"/>
                    <a:pt x="892606" y="22033"/>
                  </a:cubicBezTo>
                  <a:cubicBezTo>
                    <a:pt x="880957" y="14267"/>
                    <a:pt x="860001" y="86796"/>
                    <a:pt x="859555" y="88135"/>
                  </a:cubicBezTo>
                  <a:cubicBezTo>
                    <a:pt x="863086" y="116383"/>
                    <a:pt x="882542" y="185857"/>
                    <a:pt x="859555" y="220337"/>
                  </a:cubicBezTo>
                  <a:cubicBezTo>
                    <a:pt x="852211" y="231354"/>
                    <a:pt x="838902" y="237722"/>
                    <a:pt x="826505" y="242371"/>
                  </a:cubicBezTo>
                  <a:cubicBezTo>
                    <a:pt x="808972" y="248946"/>
                    <a:pt x="789782" y="249716"/>
                    <a:pt x="771421" y="253388"/>
                  </a:cubicBezTo>
                  <a:cubicBezTo>
                    <a:pt x="760404" y="246043"/>
                    <a:pt x="740967" y="244338"/>
                    <a:pt x="738370" y="231354"/>
                  </a:cubicBezTo>
                  <a:cubicBezTo>
                    <a:pt x="736320" y="221103"/>
                    <a:pt x="764440" y="136238"/>
                    <a:pt x="738370" y="110168"/>
                  </a:cubicBezTo>
                  <a:cubicBezTo>
                    <a:pt x="730158" y="101956"/>
                    <a:pt x="716336" y="102823"/>
                    <a:pt x="705319" y="99151"/>
                  </a:cubicBezTo>
                  <a:cubicBezTo>
                    <a:pt x="697975" y="88134"/>
                    <a:pt x="691762" y="76273"/>
                    <a:pt x="683286" y="66101"/>
                  </a:cubicBezTo>
                  <a:cubicBezTo>
                    <a:pt x="665881" y="45215"/>
                    <a:pt x="641946" y="23398"/>
                    <a:pt x="617184" y="11017"/>
                  </a:cubicBezTo>
                  <a:cubicBezTo>
                    <a:pt x="606797" y="5824"/>
                    <a:pt x="595151" y="3672"/>
                    <a:pt x="584134" y="0"/>
                  </a:cubicBezTo>
                  <a:cubicBezTo>
                    <a:pt x="571105" y="1629"/>
                    <a:pt x="436838" y="17889"/>
                    <a:pt x="418881" y="22033"/>
                  </a:cubicBezTo>
                  <a:cubicBezTo>
                    <a:pt x="396250" y="27255"/>
                    <a:pt x="374814" y="36722"/>
                    <a:pt x="352780" y="44067"/>
                  </a:cubicBezTo>
                  <a:cubicBezTo>
                    <a:pt x="340219" y="48254"/>
                    <a:pt x="330746" y="58756"/>
                    <a:pt x="319729" y="66101"/>
                  </a:cubicBezTo>
                  <a:cubicBezTo>
                    <a:pt x="312384" y="77118"/>
                    <a:pt x="308923" y="92134"/>
                    <a:pt x="297695" y="99151"/>
                  </a:cubicBezTo>
                  <a:cubicBezTo>
                    <a:pt x="278000" y="111460"/>
                    <a:pt x="231594" y="121185"/>
                    <a:pt x="231594" y="121185"/>
                  </a:cubicBezTo>
                  <a:cubicBezTo>
                    <a:pt x="135311" y="109149"/>
                    <a:pt x="169940" y="123409"/>
                    <a:pt x="121425" y="77118"/>
                  </a:cubicBezTo>
                  <a:close/>
                </a:path>
              </a:pathLst>
            </a:custGeom>
            <a:solidFill>
              <a:srgbClr val="81BC00"/>
            </a:solid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a:spcBef>
                  <a:spcPct val="0"/>
                </a:spcBef>
                <a:buClrTx/>
              </a:pPr>
              <a:endParaRPr lang="en-US" sz="1050" kern="1200" dirty="0" err="1">
                <a:solidFill>
                  <a:prstClr val="black"/>
                </a:solidFill>
                <a:latin typeface="Century Gothic" pitchFamily="34" charset="0"/>
                <a:ea typeface="+mn-ea"/>
                <a:cs typeface="+mn-cs"/>
              </a:endParaRPr>
            </a:p>
          </p:txBody>
        </p:sp>
        <p:sp>
          <p:nvSpPr>
            <p:cNvPr id="51" name="Freeform 50"/>
            <p:cNvSpPr/>
            <p:nvPr/>
          </p:nvSpPr>
          <p:spPr bwMode="gray">
            <a:xfrm>
              <a:off x="5165075" y="4073290"/>
              <a:ext cx="1409630" cy="1495791"/>
            </a:xfrm>
            <a:custGeom>
              <a:avLst/>
              <a:gdLst>
                <a:gd name="connsiteX0" fmla="*/ 119833 w 1805414"/>
                <a:gd name="connsiteY0" fmla="*/ 108814 h 1915767"/>
                <a:gd name="connsiteX1" fmla="*/ 141867 w 1805414"/>
                <a:gd name="connsiteY1" fmla="*/ 141865 h 1915767"/>
                <a:gd name="connsiteX2" fmla="*/ 130850 w 1805414"/>
                <a:gd name="connsiteY2" fmla="*/ 207966 h 1915767"/>
                <a:gd name="connsiteX3" fmla="*/ 97799 w 1805414"/>
                <a:gd name="connsiteY3" fmla="*/ 318135 h 1915767"/>
                <a:gd name="connsiteX4" fmla="*/ 75766 w 1805414"/>
                <a:gd name="connsiteY4" fmla="*/ 395253 h 1915767"/>
                <a:gd name="connsiteX5" fmla="*/ 53732 w 1805414"/>
                <a:gd name="connsiteY5" fmla="*/ 428303 h 1915767"/>
                <a:gd name="connsiteX6" fmla="*/ 42715 w 1805414"/>
                <a:gd name="connsiteY6" fmla="*/ 461354 h 1915767"/>
                <a:gd name="connsiteX7" fmla="*/ 9664 w 1805414"/>
                <a:gd name="connsiteY7" fmla="*/ 527455 h 1915767"/>
                <a:gd name="connsiteX8" fmla="*/ 42715 w 1805414"/>
                <a:gd name="connsiteY8" fmla="*/ 593556 h 1915767"/>
                <a:gd name="connsiteX9" fmla="*/ 75766 w 1805414"/>
                <a:gd name="connsiteY9" fmla="*/ 615590 h 1915767"/>
                <a:gd name="connsiteX10" fmla="*/ 108816 w 1805414"/>
                <a:gd name="connsiteY10" fmla="*/ 648641 h 1915767"/>
                <a:gd name="connsiteX11" fmla="*/ 207968 w 1805414"/>
                <a:gd name="connsiteY11" fmla="*/ 703725 h 1915767"/>
                <a:gd name="connsiteX12" fmla="*/ 174918 w 1805414"/>
                <a:gd name="connsiteY12" fmla="*/ 604573 h 1915767"/>
                <a:gd name="connsiteX13" fmla="*/ 163901 w 1805414"/>
                <a:gd name="connsiteY13" fmla="*/ 571523 h 1915767"/>
                <a:gd name="connsiteX14" fmla="*/ 207968 w 1805414"/>
                <a:gd name="connsiteY14" fmla="*/ 516438 h 1915767"/>
                <a:gd name="connsiteX15" fmla="*/ 241019 w 1805414"/>
                <a:gd name="connsiteY15" fmla="*/ 549489 h 1915767"/>
                <a:gd name="connsiteX16" fmla="*/ 263052 w 1805414"/>
                <a:gd name="connsiteY16" fmla="*/ 615590 h 1915767"/>
                <a:gd name="connsiteX17" fmla="*/ 329154 w 1805414"/>
                <a:gd name="connsiteY17" fmla="*/ 714742 h 1915767"/>
                <a:gd name="connsiteX18" fmla="*/ 362204 w 1805414"/>
                <a:gd name="connsiteY18" fmla="*/ 747792 h 1915767"/>
                <a:gd name="connsiteX19" fmla="*/ 384238 w 1805414"/>
                <a:gd name="connsiteY19" fmla="*/ 780843 h 1915767"/>
                <a:gd name="connsiteX20" fmla="*/ 450339 w 1805414"/>
                <a:gd name="connsiteY20" fmla="*/ 791860 h 1915767"/>
                <a:gd name="connsiteX21" fmla="*/ 483390 w 1805414"/>
                <a:gd name="connsiteY21" fmla="*/ 802877 h 1915767"/>
                <a:gd name="connsiteX22" fmla="*/ 516440 w 1805414"/>
                <a:gd name="connsiteY22" fmla="*/ 824911 h 1915767"/>
                <a:gd name="connsiteX23" fmla="*/ 549491 w 1805414"/>
                <a:gd name="connsiteY23" fmla="*/ 957113 h 1915767"/>
                <a:gd name="connsiteX24" fmla="*/ 560508 w 1805414"/>
                <a:gd name="connsiteY24" fmla="*/ 990164 h 1915767"/>
                <a:gd name="connsiteX25" fmla="*/ 549491 w 1805414"/>
                <a:gd name="connsiteY25" fmla="*/ 1067282 h 1915767"/>
                <a:gd name="connsiteX26" fmla="*/ 527457 w 1805414"/>
                <a:gd name="connsiteY26" fmla="*/ 1353720 h 1915767"/>
                <a:gd name="connsiteX27" fmla="*/ 505424 w 1805414"/>
                <a:gd name="connsiteY27" fmla="*/ 1430838 h 1915767"/>
                <a:gd name="connsiteX28" fmla="*/ 494407 w 1805414"/>
                <a:gd name="connsiteY28" fmla="*/ 1485923 h 1915767"/>
                <a:gd name="connsiteX29" fmla="*/ 483390 w 1805414"/>
                <a:gd name="connsiteY29" fmla="*/ 1529990 h 1915767"/>
                <a:gd name="connsiteX30" fmla="*/ 527457 w 1805414"/>
                <a:gd name="connsiteY30" fmla="*/ 1728294 h 1915767"/>
                <a:gd name="connsiteX31" fmla="*/ 560508 w 1805414"/>
                <a:gd name="connsiteY31" fmla="*/ 1739311 h 1915767"/>
                <a:gd name="connsiteX32" fmla="*/ 593558 w 1805414"/>
                <a:gd name="connsiteY32" fmla="*/ 1717277 h 1915767"/>
                <a:gd name="connsiteX33" fmla="*/ 758811 w 1805414"/>
                <a:gd name="connsiteY33" fmla="*/ 1739311 h 1915767"/>
                <a:gd name="connsiteX34" fmla="*/ 824913 w 1805414"/>
                <a:gd name="connsiteY34" fmla="*/ 1761344 h 1915767"/>
                <a:gd name="connsiteX35" fmla="*/ 924064 w 1805414"/>
                <a:gd name="connsiteY35" fmla="*/ 1805412 h 1915767"/>
                <a:gd name="connsiteX36" fmla="*/ 957115 w 1805414"/>
                <a:gd name="connsiteY36" fmla="*/ 1816429 h 1915767"/>
                <a:gd name="connsiteX37" fmla="*/ 1023216 w 1805414"/>
                <a:gd name="connsiteY37" fmla="*/ 1860496 h 1915767"/>
                <a:gd name="connsiteX38" fmla="*/ 1045250 w 1805414"/>
                <a:gd name="connsiteY38" fmla="*/ 1893547 h 1915767"/>
                <a:gd name="connsiteX39" fmla="*/ 1111351 w 1805414"/>
                <a:gd name="connsiteY39" fmla="*/ 1915580 h 1915767"/>
                <a:gd name="connsiteX40" fmla="*/ 1210503 w 1805414"/>
                <a:gd name="connsiteY40" fmla="*/ 1882530 h 1915767"/>
                <a:gd name="connsiteX41" fmla="*/ 1243554 w 1805414"/>
                <a:gd name="connsiteY41" fmla="*/ 1871513 h 1915767"/>
                <a:gd name="connsiteX42" fmla="*/ 1298638 w 1805414"/>
                <a:gd name="connsiteY42" fmla="*/ 1860496 h 1915767"/>
                <a:gd name="connsiteX43" fmla="*/ 1331689 w 1805414"/>
                <a:gd name="connsiteY43" fmla="*/ 1838462 h 1915767"/>
                <a:gd name="connsiteX44" fmla="*/ 1353722 w 1805414"/>
                <a:gd name="connsiteY44" fmla="*/ 1805412 h 1915767"/>
                <a:gd name="connsiteX45" fmla="*/ 1386773 w 1805414"/>
                <a:gd name="connsiteY45" fmla="*/ 1794395 h 1915767"/>
                <a:gd name="connsiteX46" fmla="*/ 1441857 w 1805414"/>
                <a:gd name="connsiteY46" fmla="*/ 1783378 h 1915767"/>
                <a:gd name="connsiteX47" fmla="*/ 1419824 w 1805414"/>
                <a:gd name="connsiteY47" fmla="*/ 1860496 h 1915767"/>
                <a:gd name="connsiteX48" fmla="*/ 1474908 w 1805414"/>
                <a:gd name="connsiteY48" fmla="*/ 1904564 h 1915767"/>
                <a:gd name="connsiteX49" fmla="*/ 1496942 w 1805414"/>
                <a:gd name="connsiteY49" fmla="*/ 1871513 h 1915767"/>
                <a:gd name="connsiteX50" fmla="*/ 1507958 w 1805414"/>
                <a:gd name="connsiteY50" fmla="*/ 1772361 h 1915767"/>
                <a:gd name="connsiteX51" fmla="*/ 1574060 w 1805414"/>
                <a:gd name="connsiteY51" fmla="*/ 1805412 h 1915767"/>
                <a:gd name="connsiteX52" fmla="*/ 1651178 w 1805414"/>
                <a:gd name="connsiteY52" fmla="*/ 1827445 h 1915767"/>
                <a:gd name="connsiteX53" fmla="*/ 1684228 w 1805414"/>
                <a:gd name="connsiteY53" fmla="*/ 1838462 h 1915767"/>
                <a:gd name="connsiteX54" fmla="*/ 1739313 w 1805414"/>
                <a:gd name="connsiteY54" fmla="*/ 1893547 h 1915767"/>
                <a:gd name="connsiteX55" fmla="*/ 1772363 w 1805414"/>
                <a:gd name="connsiteY55" fmla="*/ 1882530 h 1915767"/>
                <a:gd name="connsiteX56" fmla="*/ 1794397 w 1805414"/>
                <a:gd name="connsiteY56" fmla="*/ 1849479 h 1915767"/>
                <a:gd name="connsiteX57" fmla="*/ 1805414 w 1805414"/>
                <a:gd name="connsiteY57" fmla="*/ 1794395 h 1915767"/>
                <a:gd name="connsiteX58" fmla="*/ 1772363 w 1805414"/>
                <a:gd name="connsiteY58" fmla="*/ 1662192 h 1915767"/>
                <a:gd name="connsiteX59" fmla="*/ 1728296 w 1805414"/>
                <a:gd name="connsiteY59" fmla="*/ 1596091 h 1915767"/>
                <a:gd name="connsiteX60" fmla="*/ 1673211 w 1805414"/>
                <a:gd name="connsiteY60" fmla="*/ 1585074 h 1915767"/>
                <a:gd name="connsiteX61" fmla="*/ 1596093 w 1805414"/>
                <a:gd name="connsiteY61" fmla="*/ 1541007 h 1915767"/>
                <a:gd name="connsiteX62" fmla="*/ 1529992 w 1805414"/>
                <a:gd name="connsiteY62" fmla="*/ 1507956 h 1915767"/>
                <a:gd name="connsiteX63" fmla="*/ 1463891 w 1805414"/>
                <a:gd name="connsiteY63" fmla="*/ 1552024 h 1915767"/>
                <a:gd name="connsiteX64" fmla="*/ 1474908 w 1805414"/>
                <a:gd name="connsiteY64" fmla="*/ 1585074 h 1915767"/>
                <a:gd name="connsiteX65" fmla="*/ 1541009 w 1805414"/>
                <a:gd name="connsiteY65" fmla="*/ 1629142 h 1915767"/>
                <a:gd name="connsiteX66" fmla="*/ 1563043 w 1805414"/>
                <a:gd name="connsiteY66" fmla="*/ 1673209 h 1915767"/>
                <a:gd name="connsiteX67" fmla="*/ 1596093 w 1805414"/>
                <a:gd name="connsiteY67" fmla="*/ 1695243 h 1915767"/>
                <a:gd name="connsiteX68" fmla="*/ 1563043 w 1805414"/>
                <a:gd name="connsiteY68" fmla="*/ 1684226 h 1915767"/>
                <a:gd name="connsiteX69" fmla="*/ 1496942 w 1805414"/>
                <a:gd name="connsiteY69" fmla="*/ 1651176 h 1915767"/>
                <a:gd name="connsiteX70" fmla="*/ 1430840 w 1805414"/>
                <a:gd name="connsiteY70" fmla="*/ 1596091 h 1915767"/>
                <a:gd name="connsiteX71" fmla="*/ 1364739 w 1805414"/>
                <a:gd name="connsiteY71" fmla="*/ 1563041 h 1915767"/>
                <a:gd name="connsiteX72" fmla="*/ 1309655 w 1805414"/>
                <a:gd name="connsiteY72" fmla="*/ 1574058 h 1915767"/>
                <a:gd name="connsiteX73" fmla="*/ 1243554 w 1805414"/>
                <a:gd name="connsiteY73" fmla="*/ 1552024 h 1915767"/>
                <a:gd name="connsiteX74" fmla="*/ 1309655 w 1805414"/>
                <a:gd name="connsiteY74" fmla="*/ 1518973 h 1915767"/>
                <a:gd name="connsiteX75" fmla="*/ 1320672 w 1805414"/>
                <a:gd name="connsiteY75" fmla="*/ 1485923 h 1915767"/>
                <a:gd name="connsiteX76" fmla="*/ 1309655 w 1805414"/>
                <a:gd name="connsiteY76" fmla="*/ 1430838 h 1915767"/>
                <a:gd name="connsiteX77" fmla="*/ 1309655 w 1805414"/>
                <a:gd name="connsiteY77" fmla="*/ 1353720 h 1915767"/>
                <a:gd name="connsiteX78" fmla="*/ 1342705 w 1805414"/>
                <a:gd name="connsiteY78" fmla="*/ 1331686 h 1915767"/>
                <a:gd name="connsiteX79" fmla="*/ 1375756 w 1805414"/>
                <a:gd name="connsiteY79" fmla="*/ 1320670 h 1915767"/>
                <a:gd name="connsiteX80" fmla="*/ 1408807 w 1805414"/>
                <a:gd name="connsiteY80" fmla="*/ 1298636 h 1915767"/>
                <a:gd name="connsiteX81" fmla="*/ 1474908 w 1805414"/>
                <a:gd name="connsiteY81" fmla="*/ 1320670 h 1915767"/>
                <a:gd name="connsiteX82" fmla="*/ 1552026 w 1805414"/>
                <a:gd name="connsiteY82" fmla="*/ 1243552 h 1915767"/>
                <a:gd name="connsiteX83" fmla="*/ 1585077 w 1805414"/>
                <a:gd name="connsiteY83" fmla="*/ 1221518 h 1915767"/>
                <a:gd name="connsiteX84" fmla="*/ 1574060 w 1805414"/>
                <a:gd name="connsiteY84" fmla="*/ 1155417 h 1915767"/>
                <a:gd name="connsiteX85" fmla="*/ 1496942 w 1805414"/>
                <a:gd name="connsiteY85" fmla="*/ 1144400 h 1915767"/>
                <a:gd name="connsiteX86" fmla="*/ 1463891 w 1805414"/>
                <a:gd name="connsiteY86" fmla="*/ 1111349 h 1915767"/>
                <a:gd name="connsiteX87" fmla="*/ 1452874 w 1805414"/>
                <a:gd name="connsiteY87" fmla="*/ 1078298 h 1915767"/>
                <a:gd name="connsiteX88" fmla="*/ 1463891 w 1805414"/>
                <a:gd name="connsiteY88" fmla="*/ 913045 h 1915767"/>
                <a:gd name="connsiteX89" fmla="*/ 1496942 w 1805414"/>
                <a:gd name="connsiteY89" fmla="*/ 879995 h 1915767"/>
                <a:gd name="connsiteX90" fmla="*/ 1507958 w 1805414"/>
                <a:gd name="connsiteY90" fmla="*/ 846944 h 1915767"/>
                <a:gd name="connsiteX91" fmla="*/ 1452874 w 1805414"/>
                <a:gd name="connsiteY91" fmla="*/ 802877 h 1915767"/>
                <a:gd name="connsiteX92" fmla="*/ 1386773 w 1805414"/>
                <a:gd name="connsiteY92" fmla="*/ 791860 h 1915767"/>
                <a:gd name="connsiteX93" fmla="*/ 1375756 w 1805414"/>
                <a:gd name="connsiteY93" fmla="*/ 758809 h 1915767"/>
                <a:gd name="connsiteX94" fmla="*/ 1408807 w 1805414"/>
                <a:gd name="connsiteY94" fmla="*/ 736776 h 1915767"/>
                <a:gd name="connsiteX95" fmla="*/ 1607110 w 1805414"/>
                <a:gd name="connsiteY95" fmla="*/ 725759 h 1915767"/>
                <a:gd name="connsiteX96" fmla="*/ 1629144 w 1805414"/>
                <a:gd name="connsiteY96" fmla="*/ 692708 h 1915767"/>
                <a:gd name="connsiteX97" fmla="*/ 1695245 w 1805414"/>
                <a:gd name="connsiteY97" fmla="*/ 626607 h 1915767"/>
                <a:gd name="connsiteX98" fmla="*/ 1618127 w 1805414"/>
                <a:gd name="connsiteY98" fmla="*/ 571523 h 1915767"/>
                <a:gd name="connsiteX99" fmla="*/ 1585077 w 1805414"/>
                <a:gd name="connsiteY99" fmla="*/ 560506 h 1915767"/>
                <a:gd name="connsiteX100" fmla="*/ 1563043 w 1805414"/>
                <a:gd name="connsiteY100" fmla="*/ 527455 h 1915767"/>
                <a:gd name="connsiteX101" fmla="*/ 1496942 w 1805414"/>
                <a:gd name="connsiteY101" fmla="*/ 472371 h 1915767"/>
                <a:gd name="connsiteX102" fmla="*/ 1529992 w 1805414"/>
                <a:gd name="connsiteY102" fmla="*/ 428303 h 1915767"/>
                <a:gd name="connsiteX103" fmla="*/ 1485925 w 1805414"/>
                <a:gd name="connsiteY103" fmla="*/ 362202 h 1915767"/>
                <a:gd name="connsiteX104" fmla="*/ 1441857 w 1805414"/>
                <a:gd name="connsiteY104" fmla="*/ 307118 h 1915767"/>
                <a:gd name="connsiteX105" fmla="*/ 1386773 w 1805414"/>
                <a:gd name="connsiteY105" fmla="*/ 252033 h 1915767"/>
                <a:gd name="connsiteX106" fmla="*/ 1364739 w 1805414"/>
                <a:gd name="connsiteY106" fmla="*/ 185932 h 1915767"/>
                <a:gd name="connsiteX107" fmla="*/ 1353722 w 1805414"/>
                <a:gd name="connsiteY107" fmla="*/ 152882 h 1915767"/>
                <a:gd name="connsiteX108" fmla="*/ 1265587 w 1805414"/>
                <a:gd name="connsiteY108" fmla="*/ 53730 h 1915767"/>
                <a:gd name="connsiteX109" fmla="*/ 1232537 w 1805414"/>
                <a:gd name="connsiteY109" fmla="*/ 42713 h 1915767"/>
                <a:gd name="connsiteX110" fmla="*/ 1166436 w 1805414"/>
                <a:gd name="connsiteY110" fmla="*/ 9662 h 1915767"/>
                <a:gd name="connsiteX111" fmla="*/ 1133385 w 1805414"/>
                <a:gd name="connsiteY111" fmla="*/ 20679 h 1915767"/>
                <a:gd name="connsiteX112" fmla="*/ 1111351 w 1805414"/>
                <a:gd name="connsiteY112" fmla="*/ 53730 h 1915767"/>
                <a:gd name="connsiteX113" fmla="*/ 1078301 w 1805414"/>
                <a:gd name="connsiteY113" fmla="*/ 75764 h 1915767"/>
                <a:gd name="connsiteX114" fmla="*/ 1056267 w 1805414"/>
                <a:gd name="connsiteY114" fmla="*/ 108814 h 1915767"/>
                <a:gd name="connsiteX115" fmla="*/ 990166 w 1805414"/>
                <a:gd name="connsiteY115" fmla="*/ 130848 h 1915767"/>
                <a:gd name="connsiteX116" fmla="*/ 935081 w 1805414"/>
                <a:gd name="connsiteY116" fmla="*/ 174915 h 1915767"/>
                <a:gd name="connsiteX117" fmla="*/ 902031 w 1805414"/>
                <a:gd name="connsiteY117" fmla="*/ 141865 h 1915767"/>
                <a:gd name="connsiteX118" fmla="*/ 891014 w 1805414"/>
                <a:gd name="connsiteY118" fmla="*/ 108814 h 1915767"/>
                <a:gd name="connsiteX119" fmla="*/ 857963 w 1805414"/>
                <a:gd name="connsiteY119" fmla="*/ 97797 h 1915767"/>
                <a:gd name="connsiteX120" fmla="*/ 758811 w 1805414"/>
                <a:gd name="connsiteY120" fmla="*/ 119831 h 1915767"/>
                <a:gd name="connsiteX121" fmla="*/ 736778 w 1805414"/>
                <a:gd name="connsiteY121" fmla="*/ 152882 h 1915767"/>
                <a:gd name="connsiteX122" fmla="*/ 725761 w 1805414"/>
                <a:gd name="connsiteY122" fmla="*/ 185932 h 1915767"/>
                <a:gd name="connsiteX123" fmla="*/ 692710 w 1805414"/>
                <a:gd name="connsiteY123" fmla="*/ 174915 h 1915767"/>
                <a:gd name="connsiteX124" fmla="*/ 626609 w 1805414"/>
                <a:gd name="connsiteY124" fmla="*/ 130848 h 1915767"/>
                <a:gd name="connsiteX125" fmla="*/ 494407 w 1805414"/>
                <a:gd name="connsiteY125" fmla="*/ 141865 h 1915767"/>
                <a:gd name="connsiteX126" fmla="*/ 461356 w 1805414"/>
                <a:gd name="connsiteY126" fmla="*/ 152882 h 1915767"/>
                <a:gd name="connsiteX127" fmla="*/ 450339 w 1805414"/>
                <a:gd name="connsiteY127" fmla="*/ 185932 h 1915767"/>
                <a:gd name="connsiteX128" fmla="*/ 384238 w 1805414"/>
                <a:gd name="connsiteY128" fmla="*/ 218983 h 1915767"/>
                <a:gd name="connsiteX129" fmla="*/ 218985 w 1805414"/>
                <a:gd name="connsiteY129" fmla="*/ 163898 h 1915767"/>
                <a:gd name="connsiteX130" fmla="*/ 185934 w 1805414"/>
                <a:gd name="connsiteY130" fmla="*/ 152882 h 1915767"/>
                <a:gd name="connsiteX131" fmla="*/ 152884 w 1805414"/>
                <a:gd name="connsiteY131" fmla="*/ 141865 h 1915767"/>
                <a:gd name="connsiteX132" fmla="*/ 119833 w 1805414"/>
                <a:gd name="connsiteY132" fmla="*/ 108814 h 191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1805414" h="1915767">
                  <a:moveTo>
                    <a:pt x="119833" y="108814"/>
                  </a:moveTo>
                  <a:cubicBezTo>
                    <a:pt x="127178" y="119831"/>
                    <a:pt x="140405" y="128705"/>
                    <a:pt x="141867" y="141865"/>
                  </a:cubicBezTo>
                  <a:cubicBezTo>
                    <a:pt x="144334" y="164066"/>
                    <a:pt x="135231" y="186062"/>
                    <a:pt x="130850" y="207966"/>
                  </a:cubicBezTo>
                  <a:cubicBezTo>
                    <a:pt x="113359" y="295417"/>
                    <a:pt x="125910" y="205683"/>
                    <a:pt x="97799" y="318135"/>
                  </a:cubicBezTo>
                  <a:cubicBezTo>
                    <a:pt x="94269" y="332257"/>
                    <a:pt x="83669" y="379446"/>
                    <a:pt x="75766" y="395253"/>
                  </a:cubicBezTo>
                  <a:cubicBezTo>
                    <a:pt x="69845" y="407096"/>
                    <a:pt x="61077" y="417286"/>
                    <a:pt x="53732" y="428303"/>
                  </a:cubicBezTo>
                  <a:cubicBezTo>
                    <a:pt x="50060" y="439320"/>
                    <a:pt x="47908" y="450967"/>
                    <a:pt x="42715" y="461354"/>
                  </a:cubicBezTo>
                  <a:cubicBezTo>
                    <a:pt x="0" y="546783"/>
                    <a:pt x="37356" y="444380"/>
                    <a:pt x="9664" y="527455"/>
                  </a:cubicBezTo>
                  <a:cubicBezTo>
                    <a:pt x="18625" y="554337"/>
                    <a:pt x="21358" y="572199"/>
                    <a:pt x="42715" y="593556"/>
                  </a:cubicBezTo>
                  <a:cubicBezTo>
                    <a:pt x="52078" y="602919"/>
                    <a:pt x="65594" y="607113"/>
                    <a:pt x="75766" y="615590"/>
                  </a:cubicBezTo>
                  <a:cubicBezTo>
                    <a:pt x="87735" y="625564"/>
                    <a:pt x="96518" y="639076"/>
                    <a:pt x="108816" y="648641"/>
                  </a:cubicBezTo>
                  <a:cubicBezTo>
                    <a:pt x="165637" y="692835"/>
                    <a:pt x="158103" y="687103"/>
                    <a:pt x="207968" y="703725"/>
                  </a:cubicBezTo>
                  <a:lnTo>
                    <a:pt x="174918" y="604573"/>
                  </a:lnTo>
                  <a:lnTo>
                    <a:pt x="163901" y="571523"/>
                  </a:lnTo>
                  <a:cubicBezTo>
                    <a:pt x="168223" y="554235"/>
                    <a:pt x="167848" y="503065"/>
                    <a:pt x="207968" y="516438"/>
                  </a:cubicBezTo>
                  <a:cubicBezTo>
                    <a:pt x="222749" y="521365"/>
                    <a:pt x="230002" y="538472"/>
                    <a:pt x="241019" y="549489"/>
                  </a:cubicBezTo>
                  <a:cubicBezTo>
                    <a:pt x="248363" y="571523"/>
                    <a:pt x="250169" y="596265"/>
                    <a:pt x="263052" y="615590"/>
                  </a:cubicBezTo>
                  <a:lnTo>
                    <a:pt x="329154" y="714742"/>
                  </a:lnTo>
                  <a:cubicBezTo>
                    <a:pt x="337796" y="727705"/>
                    <a:pt x="352230" y="735823"/>
                    <a:pt x="362204" y="747792"/>
                  </a:cubicBezTo>
                  <a:cubicBezTo>
                    <a:pt x="370681" y="757964"/>
                    <a:pt x="372395" y="774921"/>
                    <a:pt x="384238" y="780843"/>
                  </a:cubicBezTo>
                  <a:cubicBezTo>
                    <a:pt x="404217" y="790833"/>
                    <a:pt x="428533" y="787014"/>
                    <a:pt x="450339" y="791860"/>
                  </a:cubicBezTo>
                  <a:cubicBezTo>
                    <a:pt x="461675" y="794379"/>
                    <a:pt x="472373" y="799205"/>
                    <a:pt x="483390" y="802877"/>
                  </a:cubicBezTo>
                  <a:cubicBezTo>
                    <a:pt x="494407" y="810222"/>
                    <a:pt x="509423" y="813683"/>
                    <a:pt x="516440" y="824911"/>
                  </a:cubicBezTo>
                  <a:cubicBezTo>
                    <a:pt x="539469" y="861758"/>
                    <a:pt x="540492" y="916619"/>
                    <a:pt x="549491" y="957113"/>
                  </a:cubicBezTo>
                  <a:cubicBezTo>
                    <a:pt x="552010" y="968449"/>
                    <a:pt x="556836" y="979147"/>
                    <a:pt x="560508" y="990164"/>
                  </a:cubicBezTo>
                  <a:cubicBezTo>
                    <a:pt x="556836" y="1015870"/>
                    <a:pt x="551562" y="1041398"/>
                    <a:pt x="549491" y="1067282"/>
                  </a:cubicBezTo>
                  <a:cubicBezTo>
                    <a:pt x="539349" y="1194049"/>
                    <a:pt x="545560" y="1245105"/>
                    <a:pt x="527457" y="1353720"/>
                  </a:cubicBezTo>
                  <a:cubicBezTo>
                    <a:pt x="517154" y="1415536"/>
                    <a:pt x="518520" y="1378452"/>
                    <a:pt x="505424" y="1430838"/>
                  </a:cubicBezTo>
                  <a:cubicBezTo>
                    <a:pt x="500883" y="1449004"/>
                    <a:pt x="498469" y="1467644"/>
                    <a:pt x="494407" y="1485923"/>
                  </a:cubicBezTo>
                  <a:cubicBezTo>
                    <a:pt x="491122" y="1500704"/>
                    <a:pt x="487062" y="1515301"/>
                    <a:pt x="483390" y="1529990"/>
                  </a:cubicBezTo>
                  <a:cubicBezTo>
                    <a:pt x="491311" y="1656718"/>
                    <a:pt x="446306" y="1687718"/>
                    <a:pt x="527457" y="1728294"/>
                  </a:cubicBezTo>
                  <a:cubicBezTo>
                    <a:pt x="537844" y="1733488"/>
                    <a:pt x="549491" y="1735639"/>
                    <a:pt x="560508" y="1739311"/>
                  </a:cubicBezTo>
                  <a:cubicBezTo>
                    <a:pt x="571525" y="1731966"/>
                    <a:pt x="580351" y="1718220"/>
                    <a:pt x="593558" y="1717277"/>
                  </a:cubicBezTo>
                  <a:cubicBezTo>
                    <a:pt x="640189" y="1713946"/>
                    <a:pt x="708852" y="1724324"/>
                    <a:pt x="758811" y="1739311"/>
                  </a:cubicBezTo>
                  <a:cubicBezTo>
                    <a:pt x="781057" y="1745985"/>
                    <a:pt x="824913" y="1761344"/>
                    <a:pt x="824913" y="1761344"/>
                  </a:cubicBezTo>
                  <a:cubicBezTo>
                    <a:pt x="877287" y="1796261"/>
                    <a:pt x="845402" y="1779191"/>
                    <a:pt x="924064" y="1805412"/>
                  </a:cubicBezTo>
                  <a:cubicBezTo>
                    <a:pt x="935081" y="1809084"/>
                    <a:pt x="947452" y="1809987"/>
                    <a:pt x="957115" y="1816429"/>
                  </a:cubicBezTo>
                  <a:lnTo>
                    <a:pt x="1023216" y="1860496"/>
                  </a:lnTo>
                  <a:cubicBezTo>
                    <a:pt x="1030561" y="1871513"/>
                    <a:pt x="1034022" y="1886529"/>
                    <a:pt x="1045250" y="1893547"/>
                  </a:cubicBezTo>
                  <a:cubicBezTo>
                    <a:pt x="1064945" y="1905856"/>
                    <a:pt x="1111351" y="1915580"/>
                    <a:pt x="1111351" y="1915580"/>
                  </a:cubicBezTo>
                  <a:lnTo>
                    <a:pt x="1210503" y="1882530"/>
                  </a:lnTo>
                  <a:cubicBezTo>
                    <a:pt x="1221520" y="1878858"/>
                    <a:pt x="1232167" y="1873791"/>
                    <a:pt x="1243554" y="1871513"/>
                  </a:cubicBezTo>
                  <a:lnTo>
                    <a:pt x="1298638" y="1860496"/>
                  </a:lnTo>
                  <a:cubicBezTo>
                    <a:pt x="1309655" y="1853151"/>
                    <a:pt x="1322326" y="1847825"/>
                    <a:pt x="1331689" y="1838462"/>
                  </a:cubicBezTo>
                  <a:cubicBezTo>
                    <a:pt x="1341051" y="1829100"/>
                    <a:pt x="1343383" y="1813683"/>
                    <a:pt x="1353722" y="1805412"/>
                  </a:cubicBezTo>
                  <a:cubicBezTo>
                    <a:pt x="1362790" y="1798157"/>
                    <a:pt x="1375756" y="1798067"/>
                    <a:pt x="1386773" y="1794395"/>
                  </a:cubicBezTo>
                  <a:cubicBezTo>
                    <a:pt x="1393301" y="1784603"/>
                    <a:pt x="1420640" y="1719725"/>
                    <a:pt x="1441857" y="1783378"/>
                  </a:cubicBezTo>
                  <a:cubicBezTo>
                    <a:pt x="1444162" y="1790292"/>
                    <a:pt x="1423250" y="1850217"/>
                    <a:pt x="1419824" y="1860496"/>
                  </a:cubicBezTo>
                  <a:cubicBezTo>
                    <a:pt x="1428227" y="1873101"/>
                    <a:pt x="1446900" y="1915767"/>
                    <a:pt x="1474908" y="1904564"/>
                  </a:cubicBezTo>
                  <a:cubicBezTo>
                    <a:pt x="1487202" y="1899646"/>
                    <a:pt x="1489597" y="1882530"/>
                    <a:pt x="1496942" y="1871513"/>
                  </a:cubicBezTo>
                  <a:cubicBezTo>
                    <a:pt x="1469981" y="1790631"/>
                    <a:pt x="1458485" y="1821835"/>
                    <a:pt x="1507958" y="1772361"/>
                  </a:cubicBezTo>
                  <a:cubicBezTo>
                    <a:pt x="1591029" y="1800051"/>
                    <a:pt x="1488637" y="1762700"/>
                    <a:pt x="1574060" y="1805412"/>
                  </a:cubicBezTo>
                  <a:cubicBezTo>
                    <a:pt x="1591675" y="1814220"/>
                    <a:pt x="1634698" y="1822737"/>
                    <a:pt x="1651178" y="1827445"/>
                  </a:cubicBezTo>
                  <a:cubicBezTo>
                    <a:pt x="1662344" y="1830635"/>
                    <a:pt x="1673211" y="1834790"/>
                    <a:pt x="1684228" y="1838462"/>
                  </a:cubicBezTo>
                  <a:cubicBezTo>
                    <a:pt x="1697081" y="1857742"/>
                    <a:pt x="1711770" y="1888957"/>
                    <a:pt x="1739313" y="1893547"/>
                  </a:cubicBezTo>
                  <a:cubicBezTo>
                    <a:pt x="1750768" y="1895456"/>
                    <a:pt x="1761346" y="1886202"/>
                    <a:pt x="1772363" y="1882530"/>
                  </a:cubicBezTo>
                  <a:cubicBezTo>
                    <a:pt x="1779708" y="1871513"/>
                    <a:pt x="1789748" y="1861877"/>
                    <a:pt x="1794397" y="1849479"/>
                  </a:cubicBezTo>
                  <a:cubicBezTo>
                    <a:pt x="1800972" y="1831946"/>
                    <a:pt x="1805414" y="1813120"/>
                    <a:pt x="1805414" y="1794395"/>
                  </a:cubicBezTo>
                  <a:cubicBezTo>
                    <a:pt x="1805414" y="1749890"/>
                    <a:pt x="1786035" y="1703209"/>
                    <a:pt x="1772363" y="1662192"/>
                  </a:cubicBezTo>
                  <a:cubicBezTo>
                    <a:pt x="1763989" y="1637070"/>
                    <a:pt x="1742985" y="1618125"/>
                    <a:pt x="1728296" y="1596091"/>
                  </a:cubicBezTo>
                  <a:cubicBezTo>
                    <a:pt x="1717909" y="1580511"/>
                    <a:pt x="1691573" y="1588746"/>
                    <a:pt x="1673211" y="1585074"/>
                  </a:cubicBezTo>
                  <a:cubicBezTo>
                    <a:pt x="1592680" y="1531388"/>
                    <a:pt x="1693948" y="1596925"/>
                    <a:pt x="1596093" y="1541007"/>
                  </a:cubicBezTo>
                  <a:cubicBezTo>
                    <a:pt x="1536294" y="1506836"/>
                    <a:pt x="1590590" y="1528155"/>
                    <a:pt x="1529992" y="1507956"/>
                  </a:cubicBezTo>
                  <a:cubicBezTo>
                    <a:pt x="1500315" y="1515376"/>
                    <a:pt x="1470507" y="1512329"/>
                    <a:pt x="1463891" y="1552024"/>
                  </a:cubicBezTo>
                  <a:cubicBezTo>
                    <a:pt x="1461982" y="1563479"/>
                    <a:pt x="1466697" y="1576863"/>
                    <a:pt x="1474908" y="1585074"/>
                  </a:cubicBezTo>
                  <a:cubicBezTo>
                    <a:pt x="1493633" y="1603799"/>
                    <a:pt x="1541009" y="1629142"/>
                    <a:pt x="1541009" y="1629142"/>
                  </a:cubicBezTo>
                  <a:cubicBezTo>
                    <a:pt x="1548354" y="1643831"/>
                    <a:pt x="1552529" y="1660593"/>
                    <a:pt x="1563043" y="1673209"/>
                  </a:cubicBezTo>
                  <a:cubicBezTo>
                    <a:pt x="1571519" y="1683381"/>
                    <a:pt x="1596093" y="1682002"/>
                    <a:pt x="1596093" y="1695243"/>
                  </a:cubicBezTo>
                  <a:cubicBezTo>
                    <a:pt x="1596093" y="1706856"/>
                    <a:pt x="1573430" y="1689419"/>
                    <a:pt x="1563043" y="1684226"/>
                  </a:cubicBezTo>
                  <a:cubicBezTo>
                    <a:pt x="1477626" y="1641517"/>
                    <a:pt x="1580006" y="1678862"/>
                    <a:pt x="1496942" y="1651176"/>
                  </a:cubicBezTo>
                  <a:cubicBezTo>
                    <a:pt x="1472576" y="1626810"/>
                    <a:pt x="1461517" y="1611430"/>
                    <a:pt x="1430840" y="1596091"/>
                  </a:cubicBezTo>
                  <a:cubicBezTo>
                    <a:pt x="1339608" y="1550474"/>
                    <a:pt x="1459469" y="1626191"/>
                    <a:pt x="1364739" y="1563041"/>
                  </a:cubicBezTo>
                  <a:cubicBezTo>
                    <a:pt x="1346378" y="1566713"/>
                    <a:pt x="1328303" y="1575753"/>
                    <a:pt x="1309655" y="1574058"/>
                  </a:cubicBezTo>
                  <a:cubicBezTo>
                    <a:pt x="1286525" y="1571955"/>
                    <a:pt x="1243554" y="1552024"/>
                    <a:pt x="1243554" y="1552024"/>
                  </a:cubicBezTo>
                  <a:cubicBezTo>
                    <a:pt x="1265327" y="1544766"/>
                    <a:pt x="1294123" y="1538388"/>
                    <a:pt x="1309655" y="1518973"/>
                  </a:cubicBezTo>
                  <a:cubicBezTo>
                    <a:pt x="1316909" y="1509905"/>
                    <a:pt x="1317000" y="1496940"/>
                    <a:pt x="1320672" y="1485923"/>
                  </a:cubicBezTo>
                  <a:cubicBezTo>
                    <a:pt x="1317000" y="1467561"/>
                    <a:pt x="1313717" y="1449117"/>
                    <a:pt x="1309655" y="1430838"/>
                  </a:cubicBezTo>
                  <a:cubicBezTo>
                    <a:pt x="1303296" y="1402223"/>
                    <a:pt x="1288117" y="1380643"/>
                    <a:pt x="1309655" y="1353720"/>
                  </a:cubicBezTo>
                  <a:cubicBezTo>
                    <a:pt x="1317926" y="1343381"/>
                    <a:pt x="1330862" y="1337607"/>
                    <a:pt x="1342705" y="1331686"/>
                  </a:cubicBezTo>
                  <a:cubicBezTo>
                    <a:pt x="1353092" y="1326493"/>
                    <a:pt x="1364739" y="1324342"/>
                    <a:pt x="1375756" y="1320670"/>
                  </a:cubicBezTo>
                  <a:cubicBezTo>
                    <a:pt x="1386773" y="1313325"/>
                    <a:pt x="1395566" y="1298636"/>
                    <a:pt x="1408807" y="1298636"/>
                  </a:cubicBezTo>
                  <a:cubicBezTo>
                    <a:pt x="1432033" y="1298636"/>
                    <a:pt x="1474908" y="1320670"/>
                    <a:pt x="1474908" y="1320670"/>
                  </a:cubicBezTo>
                  <a:cubicBezTo>
                    <a:pt x="1525417" y="1244905"/>
                    <a:pt x="1493852" y="1262941"/>
                    <a:pt x="1552026" y="1243552"/>
                  </a:cubicBezTo>
                  <a:cubicBezTo>
                    <a:pt x="1563043" y="1236207"/>
                    <a:pt x="1576806" y="1231857"/>
                    <a:pt x="1585077" y="1221518"/>
                  </a:cubicBezTo>
                  <a:cubicBezTo>
                    <a:pt x="1600425" y="1202333"/>
                    <a:pt x="1602369" y="1167999"/>
                    <a:pt x="1574060" y="1155417"/>
                  </a:cubicBezTo>
                  <a:cubicBezTo>
                    <a:pt x="1550331" y="1144871"/>
                    <a:pt x="1522648" y="1148072"/>
                    <a:pt x="1496942" y="1144400"/>
                  </a:cubicBezTo>
                  <a:cubicBezTo>
                    <a:pt x="1485925" y="1133383"/>
                    <a:pt x="1472533" y="1124313"/>
                    <a:pt x="1463891" y="1111349"/>
                  </a:cubicBezTo>
                  <a:cubicBezTo>
                    <a:pt x="1457449" y="1101686"/>
                    <a:pt x="1452874" y="1089911"/>
                    <a:pt x="1452874" y="1078298"/>
                  </a:cubicBezTo>
                  <a:cubicBezTo>
                    <a:pt x="1452874" y="1023091"/>
                    <a:pt x="1451915" y="966937"/>
                    <a:pt x="1463891" y="913045"/>
                  </a:cubicBezTo>
                  <a:cubicBezTo>
                    <a:pt x="1467271" y="897836"/>
                    <a:pt x="1485925" y="891012"/>
                    <a:pt x="1496942" y="879995"/>
                  </a:cubicBezTo>
                  <a:cubicBezTo>
                    <a:pt x="1500614" y="868978"/>
                    <a:pt x="1509867" y="858399"/>
                    <a:pt x="1507958" y="846944"/>
                  </a:cubicBezTo>
                  <a:cubicBezTo>
                    <a:pt x="1502661" y="815160"/>
                    <a:pt x="1478157" y="808496"/>
                    <a:pt x="1452874" y="802877"/>
                  </a:cubicBezTo>
                  <a:cubicBezTo>
                    <a:pt x="1431068" y="798031"/>
                    <a:pt x="1408807" y="795532"/>
                    <a:pt x="1386773" y="791860"/>
                  </a:cubicBezTo>
                  <a:cubicBezTo>
                    <a:pt x="1383101" y="780843"/>
                    <a:pt x="1371443" y="769591"/>
                    <a:pt x="1375756" y="758809"/>
                  </a:cubicBezTo>
                  <a:cubicBezTo>
                    <a:pt x="1380674" y="746515"/>
                    <a:pt x="1395699" y="738648"/>
                    <a:pt x="1408807" y="736776"/>
                  </a:cubicBezTo>
                  <a:cubicBezTo>
                    <a:pt x="1474345" y="727414"/>
                    <a:pt x="1541009" y="729431"/>
                    <a:pt x="1607110" y="725759"/>
                  </a:cubicBezTo>
                  <a:cubicBezTo>
                    <a:pt x="1614455" y="714742"/>
                    <a:pt x="1620347" y="702604"/>
                    <a:pt x="1629144" y="692708"/>
                  </a:cubicBezTo>
                  <a:cubicBezTo>
                    <a:pt x="1649846" y="669418"/>
                    <a:pt x="1695245" y="626607"/>
                    <a:pt x="1695245" y="626607"/>
                  </a:cubicBezTo>
                  <a:cubicBezTo>
                    <a:pt x="1676883" y="571522"/>
                    <a:pt x="1695245" y="597229"/>
                    <a:pt x="1618127" y="571523"/>
                  </a:cubicBezTo>
                  <a:lnTo>
                    <a:pt x="1585077" y="560506"/>
                  </a:lnTo>
                  <a:cubicBezTo>
                    <a:pt x="1577732" y="549489"/>
                    <a:pt x="1571520" y="537627"/>
                    <a:pt x="1563043" y="527455"/>
                  </a:cubicBezTo>
                  <a:cubicBezTo>
                    <a:pt x="1536537" y="495648"/>
                    <a:pt x="1529437" y="494035"/>
                    <a:pt x="1496942" y="472371"/>
                  </a:cubicBezTo>
                  <a:cubicBezTo>
                    <a:pt x="1470527" y="393126"/>
                    <a:pt x="1488492" y="483637"/>
                    <a:pt x="1529992" y="428303"/>
                  </a:cubicBezTo>
                  <a:cubicBezTo>
                    <a:pt x="1543657" y="410083"/>
                    <a:pt x="1487461" y="363738"/>
                    <a:pt x="1485925" y="362202"/>
                  </a:cubicBezTo>
                  <a:cubicBezTo>
                    <a:pt x="1464477" y="297859"/>
                    <a:pt x="1491690" y="356952"/>
                    <a:pt x="1441857" y="307118"/>
                  </a:cubicBezTo>
                  <a:cubicBezTo>
                    <a:pt x="1368411" y="233671"/>
                    <a:pt x="1474910" y="310791"/>
                    <a:pt x="1386773" y="252033"/>
                  </a:cubicBezTo>
                  <a:lnTo>
                    <a:pt x="1364739" y="185932"/>
                  </a:lnTo>
                  <a:cubicBezTo>
                    <a:pt x="1361067" y="174915"/>
                    <a:pt x="1360163" y="162544"/>
                    <a:pt x="1353722" y="152882"/>
                  </a:cubicBezTo>
                  <a:cubicBezTo>
                    <a:pt x="1332727" y="121388"/>
                    <a:pt x="1297933" y="64512"/>
                    <a:pt x="1265587" y="53730"/>
                  </a:cubicBezTo>
                  <a:cubicBezTo>
                    <a:pt x="1254570" y="50058"/>
                    <a:pt x="1242924" y="47906"/>
                    <a:pt x="1232537" y="42713"/>
                  </a:cubicBezTo>
                  <a:cubicBezTo>
                    <a:pt x="1147112" y="0"/>
                    <a:pt x="1249507" y="37353"/>
                    <a:pt x="1166436" y="9662"/>
                  </a:cubicBezTo>
                  <a:cubicBezTo>
                    <a:pt x="1155419" y="13334"/>
                    <a:pt x="1142453" y="13424"/>
                    <a:pt x="1133385" y="20679"/>
                  </a:cubicBezTo>
                  <a:cubicBezTo>
                    <a:pt x="1123046" y="28950"/>
                    <a:pt x="1120714" y="44367"/>
                    <a:pt x="1111351" y="53730"/>
                  </a:cubicBezTo>
                  <a:cubicBezTo>
                    <a:pt x="1101989" y="63093"/>
                    <a:pt x="1089318" y="68419"/>
                    <a:pt x="1078301" y="75764"/>
                  </a:cubicBezTo>
                  <a:cubicBezTo>
                    <a:pt x="1070956" y="86781"/>
                    <a:pt x="1067495" y="101797"/>
                    <a:pt x="1056267" y="108814"/>
                  </a:cubicBezTo>
                  <a:cubicBezTo>
                    <a:pt x="1036572" y="121123"/>
                    <a:pt x="990166" y="130848"/>
                    <a:pt x="990166" y="130848"/>
                  </a:cubicBezTo>
                  <a:cubicBezTo>
                    <a:pt x="980601" y="145195"/>
                    <a:pt x="964107" y="184590"/>
                    <a:pt x="935081" y="174915"/>
                  </a:cubicBezTo>
                  <a:cubicBezTo>
                    <a:pt x="920301" y="169988"/>
                    <a:pt x="913048" y="152882"/>
                    <a:pt x="902031" y="141865"/>
                  </a:cubicBezTo>
                  <a:cubicBezTo>
                    <a:pt x="898359" y="130848"/>
                    <a:pt x="899226" y="117026"/>
                    <a:pt x="891014" y="108814"/>
                  </a:cubicBezTo>
                  <a:cubicBezTo>
                    <a:pt x="882802" y="100602"/>
                    <a:pt x="869576" y="97797"/>
                    <a:pt x="857963" y="97797"/>
                  </a:cubicBezTo>
                  <a:cubicBezTo>
                    <a:pt x="819186" y="97797"/>
                    <a:pt x="792893" y="108470"/>
                    <a:pt x="758811" y="119831"/>
                  </a:cubicBezTo>
                  <a:cubicBezTo>
                    <a:pt x="751467" y="130848"/>
                    <a:pt x="742699" y="141039"/>
                    <a:pt x="736778" y="152882"/>
                  </a:cubicBezTo>
                  <a:cubicBezTo>
                    <a:pt x="731585" y="163269"/>
                    <a:pt x="736148" y="180739"/>
                    <a:pt x="725761" y="185932"/>
                  </a:cubicBezTo>
                  <a:cubicBezTo>
                    <a:pt x="715374" y="191125"/>
                    <a:pt x="702862" y="180555"/>
                    <a:pt x="692710" y="174915"/>
                  </a:cubicBezTo>
                  <a:cubicBezTo>
                    <a:pt x="669561" y="162055"/>
                    <a:pt x="626609" y="130848"/>
                    <a:pt x="626609" y="130848"/>
                  </a:cubicBezTo>
                  <a:cubicBezTo>
                    <a:pt x="582542" y="134520"/>
                    <a:pt x="538239" y="136021"/>
                    <a:pt x="494407" y="141865"/>
                  </a:cubicBezTo>
                  <a:cubicBezTo>
                    <a:pt x="482896" y="143400"/>
                    <a:pt x="469568" y="144671"/>
                    <a:pt x="461356" y="152882"/>
                  </a:cubicBezTo>
                  <a:cubicBezTo>
                    <a:pt x="453145" y="161093"/>
                    <a:pt x="457593" y="176864"/>
                    <a:pt x="450339" y="185932"/>
                  </a:cubicBezTo>
                  <a:cubicBezTo>
                    <a:pt x="434806" y="205348"/>
                    <a:pt x="406011" y="211725"/>
                    <a:pt x="384238" y="218983"/>
                  </a:cubicBezTo>
                  <a:lnTo>
                    <a:pt x="218985" y="163898"/>
                  </a:lnTo>
                  <a:lnTo>
                    <a:pt x="185934" y="152882"/>
                  </a:lnTo>
                  <a:cubicBezTo>
                    <a:pt x="174917" y="149210"/>
                    <a:pt x="164497" y="141865"/>
                    <a:pt x="152884" y="141865"/>
                  </a:cubicBezTo>
                  <a:lnTo>
                    <a:pt x="119833" y="108814"/>
                  </a:ln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a:spcBef>
                  <a:spcPct val="0"/>
                </a:spcBef>
                <a:buClrTx/>
              </a:pPr>
              <a:endParaRPr lang="en-US" sz="1050" kern="1200" dirty="0" err="1">
                <a:solidFill>
                  <a:prstClr val="black"/>
                </a:solidFill>
                <a:latin typeface="Century Gothic" pitchFamily="34" charset="0"/>
                <a:ea typeface="+mn-ea"/>
                <a:cs typeface="+mn-cs"/>
              </a:endParaRPr>
            </a:p>
          </p:txBody>
        </p:sp>
        <p:sp>
          <p:nvSpPr>
            <p:cNvPr id="52" name="Freeform 51"/>
            <p:cNvSpPr/>
            <p:nvPr/>
          </p:nvSpPr>
          <p:spPr bwMode="gray">
            <a:xfrm>
              <a:off x="5322836" y="4673346"/>
              <a:ext cx="107624" cy="177523"/>
            </a:xfrm>
            <a:custGeom>
              <a:avLst/>
              <a:gdLst>
                <a:gd name="connsiteX0" fmla="*/ 82758 w 137842"/>
                <a:gd name="connsiteY0" fmla="*/ 1836 h 227366"/>
                <a:gd name="connsiteX1" fmla="*/ 5640 w 137842"/>
                <a:gd name="connsiteY1" fmla="*/ 34886 h 227366"/>
                <a:gd name="connsiteX2" fmla="*/ 38691 w 137842"/>
                <a:gd name="connsiteY2" fmla="*/ 145055 h 227366"/>
                <a:gd name="connsiteX3" fmla="*/ 71741 w 137842"/>
                <a:gd name="connsiteY3" fmla="*/ 156072 h 227366"/>
                <a:gd name="connsiteX4" fmla="*/ 93775 w 137842"/>
                <a:gd name="connsiteY4" fmla="*/ 189122 h 227366"/>
                <a:gd name="connsiteX5" fmla="*/ 104792 w 137842"/>
                <a:gd name="connsiteY5" fmla="*/ 222173 h 227366"/>
                <a:gd name="connsiteX6" fmla="*/ 137842 w 137842"/>
                <a:gd name="connsiteY6" fmla="*/ 211156 h 227366"/>
                <a:gd name="connsiteX7" fmla="*/ 126826 w 137842"/>
                <a:gd name="connsiteY7" fmla="*/ 89971 h 227366"/>
                <a:gd name="connsiteX8" fmla="*/ 104792 w 137842"/>
                <a:gd name="connsiteY8" fmla="*/ 23869 h 227366"/>
                <a:gd name="connsiteX9" fmla="*/ 82758 w 137842"/>
                <a:gd name="connsiteY9" fmla="*/ 1836 h 227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842" h="227366">
                  <a:moveTo>
                    <a:pt x="82758" y="1836"/>
                  </a:moveTo>
                  <a:cubicBezTo>
                    <a:pt x="66233" y="3672"/>
                    <a:pt x="10116" y="14746"/>
                    <a:pt x="5640" y="34886"/>
                  </a:cubicBezTo>
                  <a:cubicBezTo>
                    <a:pt x="0" y="60267"/>
                    <a:pt x="11702" y="123463"/>
                    <a:pt x="38691" y="145055"/>
                  </a:cubicBezTo>
                  <a:cubicBezTo>
                    <a:pt x="47759" y="152309"/>
                    <a:pt x="60724" y="152400"/>
                    <a:pt x="71741" y="156072"/>
                  </a:cubicBezTo>
                  <a:cubicBezTo>
                    <a:pt x="79086" y="167089"/>
                    <a:pt x="87854" y="177279"/>
                    <a:pt x="93775" y="189122"/>
                  </a:cubicBezTo>
                  <a:cubicBezTo>
                    <a:pt x="98969" y="199509"/>
                    <a:pt x="94405" y="216979"/>
                    <a:pt x="104792" y="222173"/>
                  </a:cubicBezTo>
                  <a:cubicBezTo>
                    <a:pt x="115179" y="227366"/>
                    <a:pt x="126825" y="214828"/>
                    <a:pt x="137842" y="211156"/>
                  </a:cubicBezTo>
                  <a:cubicBezTo>
                    <a:pt x="134170" y="170761"/>
                    <a:pt x="133875" y="129915"/>
                    <a:pt x="126826" y="89971"/>
                  </a:cubicBezTo>
                  <a:cubicBezTo>
                    <a:pt x="122790" y="67099"/>
                    <a:pt x="112137" y="45903"/>
                    <a:pt x="104792" y="23869"/>
                  </a:cubicBezTo>
                  <a:cubicBezTo>
                    <a:pt x="100605" y="11308"/>
                    <a:pt x="99283" y="0"/>
                    <a:pt x="82758" y="1836"/>
                  </a:cubicBez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a:spcBef>
                  <a:spcPct val="0"/>
                </a:spcBef>
                <a:buClrTx/>
              </a:pPr>
              <a:endParaRPr lang="en-US" sz="1050" kern="1200" dirty="0" err="1">
                <a:solidFill>
                  <a:prstClr val="black"/>
                </a:solidFill>
                <a:latin typeface="Century Gothic" pitchFamily="34" charset="0"/>
                <a:ea typeface="+mn-ea"/>
                <a:cs typeface="+mn-cs"/>
              </a:endParaRPr>
            </a:p>
          </p:txBody>
        </p:sp>
        <p:sp>
          <p:nvSpPr>
            <p:cNvPr id="53" name="Freeform 52"/>
            <p:cNvSpPr/>
            <p:nvPr/>
          </p:nvSpPr>
          <p:spPr bwMode="gray">
            <a:xfrm>
              <a:off x="5407419" y="5014549"/>
              <a:ext cx="91856" cy="203038"/>
            </a:xfrm>
            <a:custGeom>
              <a:avLst/>
              <a:gdLst>
                <a:gd name="connsiteX0" fmla="*/ 51545 w 117646"/>
                <a:gd name="connsiteY0" fmla="*/ 5508 h 260045"/>
                <a:gd name="connsiteX1" fmla="*/ 29511 w 117646"/>
                <a:gd name="connsiteY1" fmla="*/ 38559 h 260045"/>
                <a:gd name="connsiteX2" fmla="*/ 7478 w 117646"/>
                <a:gd name="connsiteY2" fmla="*/ 159744 h 260045"/>
                <a:gd name="connsiteX3" fmla="*/ 18495 w 117646"/>
                <a:gd name="connsiteY3" fmla="*/ 247879 h 260045"/>
                <a:gd name="connsiteX4" fmla="*/ 51545 w 117646"/>
                <a:gd name="connsiteY4" fmla="*/ 214829 h 260045"/>
                <a:gd name="connsiteX5" fmla="*/ 95613 w 117646"/>
                <a:gd name="connsiteY5" fmla="*/ 115677 h 260045"/>
                <a:gd name="connsiteX6" fmla="*/ 106629 w 117646"/>
                <a:gd name="connsiteY6" fmla="*/ 82626 h 260045"/>
                <a:gd name="connsiteX7" fmla="*/ 117646 w 117646"/>
                <a:gd name="connsiteY7" fmla="*/ 49576 h 260045"/>
                <a:gd name="connsiteX8" fmla="*/ 62562 w 117646"/>
                <a:gd name="connsiteY8" fmla="*/ 5508 h 260045"/>
                <a:gd name="connsiteX9" fmla="*/ 51545 w 117646"/>
                <a:gd name="connsiteY9" fmla="*/ 5508 h 26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646" h="260045">
                  <a:moveTo>
                    <a:pt x="51545" y="5508"/>
                  </a:moveTo>
                  <a:cubicBezTo>
                    <a:pt x="46037" y="11016"/>
                    <a:pt x="35432" y="26716"/>
                    <a:pt x="29511" y="38559"/>
                  </a:cubicBezTo>
                  <a:cubicBezTo>
                    <a:pt x="12530" y="72521"/>
                    <a:pt x="11275" y="129373"/>
                    <a:pt x="7478" y="159744"/>
                  </a:cubicBezTo>
                  <a:cubicBezTo>
                    <a:pt x="11150" y="189122"/>
                    <a:pt x="0" y="224760"/>
                    <a:pt x="18495" y="247879"/>
                  </a:cubicBezTo>
                  <a:cubicBezTo>
                    <a:pt x="28228" y="260045"/>
                    <a:pt x="41571" y="226798"/>
                    <a:pt x="51545" y="214829"/>
                  </a:cubicBezTo>
                  <a:cubicBezTo>
                    <a:pt x="80642" y="179912"/>
                    <a:pt x="79601" y="163714"/>
                    <a:pt x="95613" y="115677"/>
                  </a:cubicBezTo>
                  <a:lnTo>
                    <a:pt x="106629" y="82626"/>
                  </a:lnTo>
                  <a:lnTo>
                    <a:pt x="117646" y="49576"/>
                  </a:lnTo>
                  <a:cubicBezTo>
                    <a:pt x="100728" y="24197"/>
                    <a:pt x="98039" y="5508"/>
                    <a:pt x="62562" y="5508"/>
                  </a:cubicBezTo>
                  <a:cubicBezTo>
                    <a:pt x="54350" y="5508"/>
                    <a:pt x="57053" y="0"/>
                    <a:pt x="51545" y="5508"/>
                  </a:cubicBez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a:spcBef>
                  <a:spcPct val="0"/>
                </a:spcBef>
                <a:buClrTx/>
              </a:pPr>
              <a:endParaRPr lang="en-US" sz="1050" kern="1200" dirty="0" err="1">
                <a:solidFill>
                  <a:prstClr val="black"/>
                </a:solidFill>
                <a:latin typeface="Century Gothic" pitchFamily="34" charset="0"/>
                <a:ea typeface="+mn-ea"/>
                <a:cs typeface="+mn-cs"/>
              </a:endParaRPr>
            </a:p>
          </p:txBody>
        </p:sp>
        <p:sp>
          <p:nvSpPr>
            <p:cNvPr id="43" name="Freeform 42"/>
            <p:cNvSpPr/>
            <p:nvPr/>
          </p:nvSpPr>
          <p:spPr bwMode="gray">
            <a:xfrm>
              <a:off x="7349738" y="2400627"/>
              <a:ext cx="265829" cy="110813"/>
            </a:xfrm>
            <a:custGeom>
              <a:avLst/>
              <a:gdLst>
                <a:gd name="connsiteX0" fmla="*/ 207926 w 340466"/>
                <a:gd name="connsiteY0" fmla="*/ 136418 h 141926"/>
                <a:gd name="connsiteX1" fmla="*/ 185892 w 340466"/>
                <a:gd name="connsiteY1" fmla="*/ 103368 h 141926"/>
                <a:gd name="connsiteX2" fmla="*/ 108774 w 340466"/>
                <a:gd name="connsiteY2" fmla="*/ 103368 h 141926"/>
                <a:gd name="connsiteX3" fmla="*/ 42673 w 340466"/>
                <a:gd name="connsiteY3" fmla="*/ 92351 h 141926"/>
                <a:gd name="connsiteX4" fmla="*/ 64707 w 340466"/>
                <a:gd name="connsiteY4" fmla="*/ 37266 h 141926"/>
                <a:gd name="connsiteX5" fmla="*/ 119791 w 340466"/>
                <a:gd name="connsiteY5" fmla="*/ 26250 h 141926"/>
                <a:gd name="connsiteX6" fmla="*/ 240977 w 340466"/>
                <a:gd name="connsiteY6" fmla="*/ 4216 h 141926"/>
                <a:gd name="connsiteX7" fmla="*/ 329112 w 340466"/>
                <a:gd name="connsiteY7" fmla="*/ 15233 h 141926"/>
                <a:gd name="connsiteX8" fmla="*/ 296061 w 340466"/>
                <a:gd name="connsiteY8" fmla="*/ 37266 h 141926"/>
                <a:gd name="connsiteX9" fmla="*/ 263011 w 340466"/>
                <a:gd name="connsiteY9" fmla="*/ 26250 h 141926"/>
                <a:gd name="connsiteX10" fmla="*/ 207926 w 340466"/>
                <a:gd name="connsiteY10" fmla="*/ 70317 h 141926"/>
                <a:gd name="connsiteX11" fmla="*/ 207926 w 340466"/>
                <a:gd name="connsiteY11" fmla="*/ 136418 h 14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0466" h="141926">
                  <a:moveTo>
                    <a:pt x="207926" y="136418"/>
                  </a:moveTo>
                  <a:cubicBezTo>
                    <a:pt x="204254" y="141926"/>
                    <a:pt x="196231" y="111639"/>
                    <a:pt x="185892" y="103368"/>
                  </a:cubicBezTo>
                  <a:cubicBezTo>
                    <a:pt x="159550" y="82295"/>
                    <a:pt x="136632" y="96404"/>
                    <a:pt x="108774" y="103368"/>
                  </a:cubicBezTo>
                  <a:cubicBezTo>
                    <a:pt x="86740" y="99696"/>
                    <a:pt x="62067" y="103434"/>
                    <a:pt x="42673" y="92351"/>
                  </a:cubicBezTo>
                  <a:cubicBezTo>
                    <a:pt x="0" y="67966"/>
                    <a:pt x="53313" y="41539"/>
                    <a:pt x="64707" y="37266"/>
                  </a:cubicBezTo>
                  <a:cubicBezTo>
                    <a:pt x="82240" y="30691"/>
                    <a:pt x="101321" y="29328"/>
                    <a:pt x="119791" y="26250"/>
                  </a:cubicBezTo>
                  <a:cubicBezTo>
                    <a:pt x="238205" y="6515"/>
                    <a:pt x="156378" y="25366"/>
                    <a:pt x="240977" y="4216"/>
                  </a:cubicBezTo>
                  <a:cubicBezTo>
                    <a:pt x="270355" y="7888"/>
                    <a:pt x="303724" y="0"/>
                    <a:pt x="329112" y="15233"/>
                  </a:cubicBezTo>
                  <a:cubicBezTo>
                    <a:pt x="340466" y="22045"/>
                    <a:pt x="309121" y="35089"/>
                    <a:pt x="296061" y="37266"/>
                  </a:cubicBezTo>
                  <a:cubicBezTo>
                    <a:pt x="284606" y="39175"/>
                    <a:pt x="274028" y="29922"/>
                    <a:pt x="263011" y="26250"/>
                  </a:cubicBezTo>
                  <a:cubicBezTo>
                    <a:pt x="214950" y="38264"/>
                    <a:pt x="218153" y="24296"/>
                    <a:pt x="207926" y="70317"/>
                  </a:cubicBezTo>
                  <a:cubicBezTo>
                    <a:pt x="203080" y="92123"/>
                    <a:pt x="211598" y="130910"/>
                    <a:pt x="207926" y="136418"/>
                  </a:cubicBez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a:spcBef>
                  <a:spcPct val="0"/>
                </a:spcBef>
                <a:buClrTx/>
              </a:pPr>
              <a:endParaRPr lang="en-US" sz="1050" kern="1200" dirty="0" err="1">
                <a:solidFill>
                  <a:prstClr val="black"/>
                </a:solidFill>
                <a:latin typeface="Century Gothic" pitchFamily="34" charset="0"/>
                <a:ea typeface="+mn-ea"/>
                <a:cs typeface="+mn-cs"/>
              </a:endParaRPr>
            </a:p>
          </p:txBody>
        </p:sp>
        <p:sp>
          <p:nvSpPr>
            <p:cNvPr id="44" name="Freeform 43"/>
            <p:cNvSpPr/>
            <p:nvPr/>
          </p:nvSpPr>
          <p:spPr bwMode="gray">
            <a:xfrm>
              <a:off x="5622924" y="2785025"/>
              <a:ext cx="307866" cy="332839"/>
            </a:xfrm>
            <a:custGeom>
              <a:avLst/>
              <a:gdLst>
                <a:gd name="connsiteX0" fmla="*/ 50954 w 394306"/>
                <a:gd name="connsiteY0" fmla="*/ 283072 h 426291"/>
                <a:gd name="connsiteX1" fmla="*/ 17903 w 394306"/>
                <a:gd name="connsiteY1" fmla="*/ 294088 h 426291"/>
                <a:gd name="connsiteX2" fmla="*/ 61971 w 394306"/>
                <a:gd name="connsiteY2" fmla="*/ 349173 h 426291"/>
                <a:gd name="connsiteX3" fmla="*/ 95021 w 394306"/>
                <a:gd name="connsiteY3" fmla="*/ 382223 h 426291"/>
                <a:gd name="connsiteX4" fmla="*/ 161122 w 394306"/>
                <a:gd name="connsiteY4" fmla="*/ 404257 h 426291"/>
                <a:gd name="connsiteX5" fmla="*/ 194173 w 394306"/>
                <a:gd name="connsiteY5" fmla="*/ 426291 h 426291"/>
                <a:gd name="connsiteX6" fmla="*/ 227224 w 394306"/>
                <a:gd name="connsiteY6" fmla="*/ 393240 h 426291"/>
                <a:gd name="connsiteX7" fmla="*/ 260274 w 394306"/>
                <a:gd name="connsiteY7" fmla="*/ 371207 h 426291"/>
                <a:gd name="connsiteX8" fmla="*/ 315358 w 394306"/>
                <a:gd name="connsiteY8" fmla="*/ 316122 h 426291"/>
                <a:gd name="connsiteX9" fmla="*/ 348409 w 394306"/>
                <a:gd name="connsiteY9" fmla="*/ 84768 h 426291"/>
                <a:gd name="connsiteX10" fmla="*/ 392477 w 394306"/>
                <a:gd name="connsiteY10" fmla="*/ 73751 h 426291"/>
                <a:gd name="connsiteX11" fmla="*/ 348409 w 394306"/>
                <a:gd name="connsiteY11" fmla="*/ 7650 h 426291"/>
                <a:gd name="connsiteX12" fmla="*/ 315358 w 394306"/>
                <a:gd name="connsiteY12" fmla="*/ 29684 h 426291"/>
                <a:gd name="connsiteX13" fmla="*/ 293325 w 394306"/>
                <a:gd name="connsiteY13" fmla="*/ 62734 h 426291"/>
                <a:gd name="connsiteX14" fmla="*/ 227224 w 394306"/>
                <a:gd name="connsiteY14" fmla="*/ 95785 h 426291"/>
                <a:gd name="connsiteX15" fmla="*/ 172139 w 394306"/>
                <a:gd name="connsiteY15" fmla="*/ 84768 h 426291"/>
                <a:gd name="connsiteX16" fmla="*/ 139089 w 394306"/>
                <a:gd name="connsiteY16" fmla="*/ 150869 h 426291"/>
                <a:gd name="connsiteX17" fmla="*/ 139089 w 394306"/>
                <a:gd name="connsiteY17" fmla="*/ 227987 h 426291"/>
                <a:gd name="connsiteX18" fmla="*/ 106038 w 394306"/>
                <a:gd name="connsiteY18" fmla="*/ 239004 h 426291"/>
                <a:gd name="connsiteX19" fmla="*/ 28920 w 394306"/>
                <a:gd name="connsiteY19" fmla="*/ 250021 h 426291"/>
                <a:gd name="connsiteX20" fmla="*/ 50954 w 394306"/>
                <a:gd name="connsiteY20" fmla="*/ 283072 h 426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4306" h="426291">
                  <a:moveTo>
                    <a:pt x="50954" y="283072"/>
                  </a:moveTo>
                  <a:cubicBezTo>
                    <a:pt x="49118" y="290416"/>
                    <a:pt x="22216" y="283306"/>
                    <a:pt x="17903" y="294088"/>
                  </a:cubicBezTo>
                  <a:cubicBezTo>
                    <a:pt x="0" y="338844"/>
                    <a:pt x="38896" y="341481"/>
                    <a:pt x="61971" y="349173"/>
                  </a:cubicBezTo>
                  <a:cubicBezTo>
                    <a:pt x="72988" y="360190"/>
                    <a:pt x="81402" y="374657"/>
                    <a:pt x="95021" y="382223"/>
                  </a:cubicBezTo>
                  <a:cubicBezTo>
                    <a:pt x="115324" y="393502"/>
                    <a:pt x="141797" y="391374"/>
                    <a:pt x="161122" y="404257"/>
                  </a:cubicBezTo>
                  <a:lnTo>
                    <a:pt x="194173" y="426291"/>
                  </a:lnTo>
                  <a:cubicBezTo>
                    <a:pt x="205190" y="415274"/>
                    <a:pt x="215255" y="403214"/>
                    <a:pt x="227224" y="393240"/>
                  </a:cubicBezTo>
                  <a:cubicBezTo>
                    <a:pt x="237396" y="384764"/>
                    <a:pt x="250912" y="380569"/>
                    <a:pt x="260274" y="371207"/>
                  </a:cubicBezTo>
                  <a:cubicBezTo>
                    <a:pt x="333723" y="297758"/>
                    <a:pt x="227222" y="374881"/>
                    <a:pt x="315358" y="316122"/>
                  </a:cubicBezTo>
                  <a:cubicBezTo>
                    <a:pt x="388626" y="206224"/>
                    <a:pt x="264106" y="405116"/>
                    <a:pt x="348409" y="84768"/>
                  </a:cubicBezTo>
                  <a:cubicBezTo>
                    <a:pt x="352262" y="70125"/>
                    <a:pt x="377788" y="77423"/>
                    <a:pt x="392477" y="73751"/>
                  </a:cubicBezTo>
                  <a:cubicBezTo>
                    <a:pt x="387112" y="46926"/>
                    <a:pt x="394306" y="0"/>
                    <a:pt x="348409" y="7650"/>
                  </a:cubicBezTo>
                  <a:cubicBezTo>
                    <a:pt x="335348" y="9827"/>
                    <a:pt x="326375" y="22339"/>
                    <a:pt x="315358" y="29684"/>
                  </a:cubicBezTo>
                  <a:cubicBezTo>
                    <a:pt x="308014" y="40701"/>
                    <a:pt x="302687" y="53372"/>
                    <a:pt x="293325" y="62734"/>
                  </a:cubicBezTo>
                  <a:cubicBezTo>
                    <a:pt x="271969" y="84090"/>
                    <a:pt x="254104" y="86825"/>
                    <a:pt x="227224" y="95785"/>
                  </a:cubicBezTo>
                  <a:cubicBezTo>
                    <a:pt x="208862" y="92113"/>
                    <a:pt x="190144" y="79624"/>
                    <a:pt x="172139" y="84768"/>
                  </a:cubicBezTo>
                  <a:cubicBezTo>
                    <a:pt x="156402" y="89264"/>
                    <a:pt x="143120" y="138775"/>
                    <a:pt x="139089" y="150869"/>
                  </a:cubicBezTo>
                  <a:cubicBezTo>
                    <a:pt x="144679" y="173229"/>
                    <a:pt x="161215" y="205861"/>
                    <a:pt x="139089" y="227987"/>
                  </a:cubicBezTo>
                  <a:cubicBezTo>
                    <a:pt x="130877" y="236199"/>
                    <a:pt x="117425" y="236726"/>
                    <a:pt x="106038" y="239004"/>
                  </a:cubicBezTo>
                  <a:cubicBezTo>
                    <a:pt x="80575" y="244097"/>
                    <a:pt x="52787" y="239792"/>
                    <a:pt x="28920" y="250021"/>
                  </a:cubicBezTo>
                  <a:cubicBezTo>
                    <a:pt x="22169" y="252914"/>
                    <a:pt x="52790" y="275728"/>
                    <a:pt x="50954" y="283072"/>
                  </a:cubicBez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a:spcBef>
                  <a:spcPct val="0"/>
                </a:spcBef>
                <a:buClrTx/>
              </a:pPr>
              <a:endParaRPr lang="en-US" sz="1050" kern="1200" dirty="0" err="1">
                <a:solidFill>
                  <a:prstClr val="black"/>
                </a:solidFill>
                <a:latin typeface="Century Gothic" pitchFamily="34" charset="0"/>
                <a:ea typeface="+mn-ea"/>
                <a:cs typeface="+mn-cs"/>
              </a:endParaRPr>
            </a:p>
          </p:txBody>
        </p:sp>
        <p:sp>
          <p:nvSpPr>
            <p:cNvPr id="45" name="Freeform 44"/>
            <p:cNvSpPr/>
            <p:nvPr/>
          </p:nvSpPr>
          <p:spPr bwMode="gray">
            <a:xfrm>
              <a:off x="5417603" y="1810326"/>
              <a:ext cx="1836427" cy="1531183"/>
            </a:xfrm>
            <a:custGeom>
              <a:avLst/>
              <a:gdLst>
                <a:gd name="connsiteX0" fmla="*/ 1834250 w 2352043"/>
                <a:gd name="connsiteY0" fmla="*/ 1817876 h 1961095"/>
                <a:gd name="connsiteX1" fmla="*/ 1801200 w 2352043"/>
                <a:gd name="connsiteY1" fmla="*/ 1784826 h 1961095"/>
                <a:gd name="connsiteX2" fmla="*/ 1724082 w 2352043"/>
                <a:gd name="connsiteY2" fmla="*/ 1751775 h 1961095"/>
                <a:gd name="connsiteX3" fmla="*/ 1657981 w 2352043"/>
                <a:gd name="connsiteY3" fmla="*/ 1795842 h 1961095"/>
                <a:gd name="connsiteX4" fmla="*/ 1591879 w 2352043"/>
                <a:gd name="connsiteY4" fmla="*/ 1817876 h 1961095"/>
                <a:gd name="connsiteX5" fmla="*/ 1536795 w 2352043"/>
                <a:gd name="connsiteY5" fmla="*/ 1828893 h 1961095"/>
                <a:gd name="connsiteX6" fmla="*/ 1492727 w 2352043"/>
                <a:gd name="connsiteY6" fmla="*/ 1839910 h 1961095"/>
                <a:gd name="connsiteX7" fmla="*/ 1459677 w 2352043"/>
                <a:gd name="connsiteY7" fmla="*/ 1828893 h 1961095"/>
                <a:gd name="connsiteX8" fmla="*/ 1481711 w 2352043"/>
                <a:gd name="connsiteY8" fmla="*/ 1773809 h 1961095"/>
                <a:gd name="connsiteX9" fmla="*/ 1602896 w 2352043"/>
                <a:gd name="connsiteY9" fmla="*/ 1751775 h 1961095"/>
                <a:gd name="connsiteX10" fmla="*/ 1646964 w 2352043"/>
                <a:gd name="connsiteY10" fmla="*/ 1740758 h 1961095"/>
                <a:gd name="connsiteX11" fmla="*/ 1878318 w 2352043"/>
                <a:gd name="connsiteY11" fmla="*/ 1729741 h 1961095"/>
                <a:gd name="connsiteX12" fmla="*/ 1922385 w 2352043"/>
                <a:gd name="connsiteY12" fmla="*/ 1707707 h 1961095"/>
                <a:gd name="connsiteX13" fmla="*/ 1911368 w 2352043"/>
                <a:gd name="connsiteY13" fmla="*/ 1652623 h 1961095"/>
                <a:gd name="connsiteX14" fmla="*/ 1900352 w 2352043"/>
                <a:gd name="connsiteY14" fmla="*/ 1619573 h 1961095"/>
                <a:gd name="connsiteX15" fmla="*/ 1889335 w 2352043"/>
                <a:gd name="connsiteY15" fmla="*/ 1575505 h 1961095"/>
                <a:gd name="connsiteX16" fmla="*/ 1922385 w 2352043"/>
                <a:gd name="connsiteY16" fmla="*/ 1311100 h 1961095"/>
                <a:gd name="connsiteX17" fmla="*/ 1933402 w 2352043"/>
                <a:gd name="connsiteY17" fmla="*/ 1278050 h 1961095"/>
                <a:gd name="connsiteX18" fmla="*/ 1977470 w 2352043"/>
                <a:gd name="connsiteY18" fmla="*/ 1211948 h 1961095"/>
                <a:gd name="connsiteX19" fmla="*/ 2021537 w 2352043"/>
                <a:gd name="connsiteY19" fmla="*/ 1145847 h 1961095"/>
                <a:gd name="connsiteX20" fmla="*/ 2043571 w 2352043"/>
                <a:gd name="connsiteY20" fmla="*/ 1079746 h 1961095"/>
                <a:gd name="connsiteX21" fmla="*/ 2054588 w 2352043"/>
                <a:gd name="connsiteY21" fmla="*/ 1046695 h 1961095"/>
                <a:gd name="connsiteX22" fmla="*/ 2098655 w 2352043"/>
                <a:gd name="connsiteY22" fmla="*/ 980594 h 1961095"/>
                <a:gd name="connsiteX23" fmla="*/ 2120689 w 2352043"/>
                <a:gd name="connsiteY23" fmla="*/ 947544 h 1961095"/>
                <a:gd name="connsiteX24" fmla="*/ 2131706 w 2352043"/>
                <a:gd name="connsiteY24" fmla="*/ 914493 h 1961095"/>
                <a:gd name="connsiteX25" fmla="*/ 2153740 w 2352043"/>
                <a:gd name="connsiteY25" fmla="*/ 881442 h 1961095"/>
                <a:gd name="connsiteX26" fmla="*/ 2175773 w 2352043"/>
                <a:gd name="connsiteY26" fmla="*/ 815341 h 1961095"/>
                <a:gd name="connsiteX27" fmla="*/ 2186790 w 2352043"/>
                <a:gd name="connsiteY27" fmla="*/ 782291 h 1961095"/>
                <a:gd name="connsiteX28" fmla="*/ 2197807 w 2352043"/>
                <a:gd name="connsiteY28" fmla="*/ 583987 h 1961095"/>
                <a:gd name="connsiteX29" fmla="*/ 2219841 w 2352043"/>
                <a:gd name="connsiteY29" fmla="*/ 517886 h 1961095"/>
                <a:gd name="connsiteX30" fmla="*/ 2197807 w 2352043"/>
                <a:gd name="connsiteY30" fmla="*/ 396700 h 1961095"/>
                <a:gd name="connsiteX31" fmla="*/ 2175773 w 2352043"/>
                <a:gd name="connsiteY31" fmla="*/ 319582 h 1961095"/>
                <a:gd name="connsiteX32" fmla="*/ 2142723 w 2352043"/>
                <a:gd name="connsiteY32" fmla="*/ 253481 h 1961095"/>
                <a:gd name="connsiteX33" fmla="*/ 2197807 w 2352043"/>
                <a:gd name="connsiteY33" fmla="*/ 187380 h 1961095"/>
                <a:gd name="connsiteX34" fmla="*/ 2219841 w 2352043"/>
                <a:gd name="connsiteY34" fmla="*/ 154329 h 1961095"/>
                <a:gd name="connsiteX35" fmla="*/ 2285942 w 2352043"/>
                <a:gd name="connsiteY35" fmla="*/ 110262 h 1961095"/>
                <a:gd name="connsiteX36" fmla="*/ 2318993 w 2352043"/>
                <a:gd name="connsiteY36" fmla="*/ 77211 h 1961095"/>
                <a:gd name="connsiteX37" fmla="*/ 2352043 w 2352043"/>
                <a:gd name="connsiteY37" fmla="*/ 55177 h 1961095"/>
                <a:gd name="connsiteX38" fmla="*/ 2341026 w 2352043"/>
                <a:gd name="connsiteY38" fmla="*/ 22127 h 1961095"/>
                <a:gd name="connsiteX39" fmla="*/ 2263908 w 2352043"/>
                <a:gd name="connsiteY39" fmla="*/ 22127 h 1961095"/>
                <a:gd name="connsiteX40" fmla="*/ 2197807 w 2352043"/>
                <a:gd name="connsiteY40" fmla="*/ 66194 h 1961095"/>
                <a:gd name="connsiteX41" fmla="*/ 2164756 w 2352043"/>
                <a:gd name="connsiteY41" fmla="*/ 99245 h 1961095"/>
                <a:gd name="connsiteX42" fmla="*/ 2131706 w 2352043"/>
                <a:gd name="connsiteY42" fmla="*/ 110262 h 1961095"/>
                <a:gd name="connsiteX43" fmla="*/ 2065605 w 2352043"/>
                <a:gd name="connsiteY43" fmla="*/ 154329 h 1961095"/>
                <a:gd name="connsiteX44" fmla="*/ 2032554 w 2352043"/>
                <a:gd name="connsiteY44" fmla="*/ 176363 h 1961095"/>
                <a:gd name="connsiteX45" fmla="*/ 1999503 w 2352043"/>
                <a:gd name="connsiteY45" fmla="*/ 209413 h 1961095"/>
                <a:gd name="connsiteX46" fmla="*/ 1933402 w 2352043"/>
                <a:gd name="connsiteY46" fmla="*/ 253481 h 1961095"/>
                <a:gd name="connsiteX47" fmla="*/ 1845267 w 2352043"/>
                <a:gd name="connsiteY47" fmla="*/ 242464 h 1961095"/>
                <a:gd name="connsiteX48" fmla="*/ 1746115 w 2352043"/>
                <a:gd name="connsiteY48" fmla="*/ 220430 h 1961095"/>
                <a:gd name="connsiteX49" fmla="*/ 1702048 w 2352043"/>
                <a:gd name="connsiteY49" fmla="*/ 231447 h 1961095"/>
                <a:gd name="connsiteX50" fmla="*/ 1657981 w 2352043"/>
                <a:gd name="connsiteY50" fmla="*/ 297548 h 1961095"/>
                <a:gd name="connsiteX51" fmla="*/ 1613913 w 2352043"/>
                <a:gd name="connsiteY51" fmla="*/ 363650 h 1961095"/>
                <a:gd name="connsiteX52" fmla="*/ 1514761 w 2352043"/>
                <a:gd name="connsiteY52" fmla="*/ 462801 h 1961095"/>
                <a:gd name="connsiteX53" fmla="*/ 1470694 w 2352043"/>
                <a:gd name="connsiteY53" fmla="*/ 528903 h 1961095"/>
                <a:gd name="connsiteX54" fmla="*/ 1448660 w 2352043"/>
                <a:gd name="connsiteY54" fmla="*/ 561953 h 1961095"/>
                <a:gd name="connsiteX55" fmla="*/ 1360525 w 2352043"/>
                <a:gd name="connsiteY55" fmla="*/ 694156 h 1961095"/>
                <a:gd name="connsiteX56" fmla="*/ 1327474 w 2352043"/>
                <a:gd name="connsiteY56" fmla="*/ 727206 h 1961095"/>
                <a:gd name="connsiteX57" fmla="*/ 1305441 w 2352043"/>
                <a:gd name="connsiteY57" fmla="*/ 760257 h 1961095"/>
                <a:gd name="connsiteX58" fmla="*/ 1228323 w 2352043"/>
                <a:gd name="connsiteY58" fmla="*/ 815341 h 1961095"/>
                <a:gd name="connsiteX59" fmla="*/ 1206289 w 2352043"/>
                <a:gd name="connsiteY59" fmla="*/ 848392 h 1961095"/>
                <a:gd name="connsiteX60" fmla="*/ 1173238 w 2352043"/>
                <a:gd name="connsiteY60" fmla="*/ 859409 h 1961095"/>
                <a:gd name="connsiteX61" fmla="*/ 1107137 w 2352043"/>
                <a:gd name="connsiteY61" fmla="*/ 892459 h 1961095"/>
                <a:gd name="connsiteX62" fmla="*/ 1074087 w 2352043"/>
                <a:gd name="connsiteY62" fmla="*/ 914493 h 1961095"/>
                <a:gd name="connsiteX63" fmla="*/ 897817 w 2352043"/>
                <a:gd name="connsiteY63" fmla="*/ 914493 h 1961095"/>
                <a:gd name="connsiteX64" fmla="*/ 864766 w 2352043"/>
                <a:gd name="connsiteY64" fmla="*/ 903476 h 1961095"/>
                <a:gd name="connsiteX65" fmla="*/ 831715 w 2352043"/>
                <a:gd name="connsiteY65" fmla="*/ 881442 h 1961095"/>
                <a:gd name="connsiteX66" fmla="*/ 721547 w 2352043"/>
                <a:gd name="connsiteY66" fmla="*/ 892459 h 1961095"/>
                <a:gd name="connsiteX67" fmla="*/ 622395 w 2352043"/>
                <a:gd name="connsiteY67" fmla="*/ 925510 h 1961095"/>
                <a:gd name="connsiteX68" fmla="*/ 589344 w 2352043"/>
                <a:gd name="connsiteY68" fmla="*/ 936527 h 1961095"/>
                <a:gd name="connsiteX69" fmla="*/ 479176 w 2352043"/>
                <a:gd name="connsiteY69" fmla="*/ 925510 h 1961095"/>
                <a:gd name="connsiteX70" fmla="*/ 446125 w 2352043"/>
                <a:gd name="connsiteY70" fmla="*/ 914493 h 1961095"/>
                <a:gd name="connsiteX71" fmla="*/ 369007 w 2352043"/>
                <a:gd name="connsiteY71" fmla="*/ 925510 h 1961095"/>
                <a:gd name="connsiteX72" fmla="*/ 335956 w 2352043"/>
                <a:gd name="connsiteY72" fmla="*/ 947544 h 1961095"/>
                <a:gd name="connsiteX73" fmla="*/ 324940 w 2352043"/>
                <a:gd name="connsiteY73" fmla="*/ 980594 h 1961095"/>
                <a:gd name="connsiteX74" fmla="*/ 302906 w 2352043"/>
                <a:gd name="connsiteY74" fmla="*/ 1013645 h 1961095"/>
                <a:gd name="connsiteX75" fmla="*/ 236805 w 2352043"/>
                <a:gd name="connsiteY75" fmla="*/ 1079746 h 1961095"/>
                <a:gd name="connsiteX76" fmla="*/ 203754 w 2352043"/>
                <a:gd name="connsiteY76" fmla="*/ 1112797 h 1961095"/>
                <a:gd name="connsiteX77" fmla="*/ 148670 w 2352043"/>
                <a:gd name="connsiteY77" fmla="*/ 1167881 h 1961095"/>
                <a:gd name="connsiteX78" fmla="*/ 126636 w 2352043"/>
                <a:gd name="connsiteY78" fmla="*/ 1200932 h 1961095"/>
                <a:gd name="connsiteX79" fmla="*/ 93585 w 2352043"/>
                <a:gd name="connsiteY79" fmla="*/ 1222965 h 1961095"/>
                <a:gd name="connsiteX80" fmla="*/ 82568 w 2352043"/>
                <a:gd name="connsiteY80" fmla="*/ 1256016 h 1961095"/>
                <a:gd name="connsiteX81" fmla="*/ 49518 w 2352043"/>
                <a:gd name="connsiteY81" fmla="*/ 1289066 h 1961095"/>
                <a:gd name="connsiteX82" fmla="*/ 5450 w 2352043"/>
                <a:gd name="connsiteY82" fmla="*/ 1355168 h 1961095"/>
                <a:gd name="connsiteX83" fmla="*/ 16467 w 2352043"/>
                <a:gd name="connsiteY83" fmla="*/ 1520421 h 1961095"/>
                <a:gd name="connsiteX84" fmla="*/ 60535 w 2352043"/>
                <a:gd name="connsiteY84" fmla="*/ 1531438 h 1961095"/>
                <a:gd name="connsiteX85" fmla="*/ 82568 w 2352043"/>
                <a:gd name="connsiteY85" fmla="*/ 1597539 h 1961095"/>
                <a:gd name="connsiteX86" fmla="*/ 104602 w 2352043"/>
                <a:gd name="connsiteY86" fmla="*/ 1630589 h 1961095"/>
                <a:gd name="connsiteX87" fmla="*/ 115619 w 2352043"/>
                <a:gd name="connsiteY87" fmla="*/ 1663640 h 1961095"/>
                <a:gd name="connsiteX88" fmla="*/ 159687 w 2352043"/>
                <a:gd name="connsiteY88" fmla="*/ 1652623 h 1961095"/>
                <a:gd name="connsiteX89" fmla="*/ 225788 w 2352043"/>
                <a:gd name="connsiteY89" fmla="*/ 1630589 h 1961095"/>
                <a:gd name="connsiteX90" fmla="*/ 225788 w 2352043"/>
                <a:gd name="connsiteY90" fmla="*/ 1498387 h 1961095"/>
                <a:gd name="connsiteX91" fmla="*/ 236805 w 2352043"/>
                <a:gd name="connsiteY91" fmla="*/ 1454320 h 1961095"/>
                <a:gd name="connsiteX92" fmla="*/ 280872 w 2352043"/>
                <a:gd name="connsiteY92" fmla="*/ 1443303 h 1961095"/>
                <a:gd name="connsiteX93" fmla="*/ 380024 w 2352043"/>
                <a:gd name="connsiteY93" fmla="*/ 1399235 h 1961095"/>
                <a:gd name="connsiteX94" fmla="*/ 413074 w 2352043"/>
                <a:gd name="connsiteY94" fmla="*/ 1333134 h 1961095"/>
                <a:gd name="connsiteX95" fmla="*/ 435108 w 2352043"/>
                <a:gd name="connsiteY95" fmla="*/ 1300083 h 1961095"/>
                <a:gd name="connsiteX96" fmla="*/ 446125 w 2352043"/>
                <a:gd name="connsiteY96" fmla="*/ 1267033 h 1961095"/>
                <a:gd name="connsiteX97" fmla="*/ 457142 w 2352043"/>
                <a:gd name="connsiteY97" fmla="*/ 1222965 h 1961095"/>
                <a:gd name="connsiteX98" fmla="*/ 490193 w 2352043"/>
                <a:gd name="connsiteY98" fmla="*/ 1200932 h 1961095"/>
                <a:gd name="connsiteX99" fmla="*/ 622395 w 2352043"/>
                <a:gd name="connsiteY99" fmla="*/ 1178898 h 1961095"/>
                <a:gd name="connsiteX100" fmla="*/ 688496 w 2352043"/>
                <a:gd name="connsiteY100" fmla="*/ 1167881 h 1961095"/>
                <a:gd name="connsiteX101" fmla="*/ 831715 w 2352043"/>
                <a:gd name="connsiteY101" fmla="*/ 1145847 h 1961095"/>
                <a:gd name="connsiteX102" fmla="*/ 897817 w 2352043"/>
                <a:gd name="connsiteY102" fmla="*/ 1123813 h 1961095"/>
                <a:gd name="connsiteX103" fmla="*/ 985952 w 2352043"/>
                <a:gd name="connsiteY103" fmla="*/ 1145847 h 1961095"/>
                <a:gd name="connsiteX104" fmla="*/ 1107137 w 2352043"/>
                <a:gd name="connsiteY104" fmla="*/ 1167881 h 1961095"/>
                <a:gd name="connsiteX105" fmla="*/ 1239340 w 2352043"/>
                <a:gd name="connsiteY105" fmla="*/ 1134830 h 1961095"/>
                <a:gd name="connsiteX106" fmla="*/ 1294424 w 2352043"/>
                <a:gd name="connsiteY106" fmla="*/ 1123813 h 1961095"/>
                <a:gd name="connsiteX107" fmla="*/ 1393576 w 2352043"/>
                <a:gd name="connsiteY107" fmla="*/ 1101780 h 1961095"/>
                <a:gd name="connsiteX108" fmla="*/ 1448660 w 2352043"/>
                <a:gd name="connsiteY108" fmla="*/ 1112797 h 1961095"/>
                <a:gd name="connsiteX109" fmla="*/ 1426626 w 2352043"/>
                <a:gd name="connsiteY109" fmla="*/ 1178898 h 1961095"/>
                <a:gd name="connsiteX110" fmla="*/ 1360525 w 2352043"/>
                <a:gd name="connsiteY110" fmla="*/ 1211948 h 1961095"/>
                <a:gd name="connsiteX111" fmla="*/ 1305441 w 2352043"/>
                <a:gd name="connsiteY111" fmla="*/ 1278050 h 1961095"/>
                <a:gd name="connsiteX112" fmla="*/ 1272390 w 2352043"/>
                <a:gd name="connsiteY112" fmla="*/ 1311100 h 1961095"/>
                <a:gd name="connsiteX113" fmla="*/ 1239340 w 2352043"/>
                <a:gd name="connsiteY113" fmla="*/ 1289066 h 1961095"/>
                <a:gd name="connsiteX114" fmla="*/ 1206289 w 2352043"/>
                <a:gd name="connsiteY114" fmla="*/ 1200932 h 1961095"/>
                <a:gd name="connsiteX115" fmla="*/ 1173238 w 2352043"/>
                <a:gd name="connsiteY115" fmla="*/ 1189915 h 1961095"/>
                <a:gd name="connsiteX116" fmla="*/ 1007985 w 2352043"/>
                <a:gd name="connsiteY116" fmla="*/ 1211948 h 1961095"/>
                <a:gd name="connsiteX117" fmla="*/ 974935 w 2352043"/>
                <a:gd name="connsiteY117" fmla="*/ 1222965 h 1961095"/>
                <a:gd name="connsiteX118" fmla="*/ 930867 w 2352043"/>
                <a:gd name="connsiteY118" fmla="*/ 1289066 h 1961095"/>
                <a:gd name="connsiteX119" fmla="*/ 908834 w 2352043"/>
                <a:gd name="connsiteY119" fmla="*/ 1355168 h 1961095"/>
                <a:gd name="connsiteX120" fmla="*/ 886800 w 2352043"/>
                <a:gd name="connsiteY120" fmla="*/ 1432286 h 1961095"/>
                <a:gd name="connsiteX121" fmla="*/ 897817 w 2352043"/>
                <a:gd name="connsiteY121" fmla="*/ 1509404 h 1961095"/>
                <a:gd name="connsiteX122" fmla="*/ 919850 w 2352043"/>
                <a:gd name="connsiteY122" fmla="*/ 1575505 h 1961095"/>
                <a:gd name="connsiteX123" fmla="*/ 930867 w 2352043"/>
                <a:gd name="connsiteY123" fmla="*/ 1619573 h 1961095"/>
                <a:gd name="connsiteX124" fmla="*/ 919850 w 2352043"/>
                <a:gd name="connsiteY124" fmla="*/ 1652623 h 1961095"/>
                <a:gd name="connsiteX125" fmla="*/ 930867 w 2352043"/>
                <a:gd name="connsiteY125" fmla="*/ 1707707 h 1961095"/>
                <a:gd name="connsiteX126" fmla="*/ 963918 w 2352043"/>
                <a:gd name="connsiteY126" fmla="*/ 1696691 h 1961095"/>
                <a:gd name="connsiteX127" fmla="*/ 1041036 w 2352043"/>
                <a:gd name="connsiteY127" fmla="*/ 1773809 h 1961095"/>
                <a:gd name="connsiteX128" fmla="*/ 1118154 w 2352043"/>
                <a:gd name="connsiteY128" fmla="*/ 1762792 h 1961095"/>
                <a:gd name="connsiteX129" fmla="*/ 1184255 w 2352043"/>
                <a:gd name="connsiteY129" fmla="*/ 1751775 h 1961095"/>
                <a:gd name="connsiteX130" fmla="*/ 1228323 w 2352043"/>
                <a:gd name="connsiteY130" fmla="*/ 1806859 h 1961095"/>
                <a:gd name="connsiteX131" fmla="*/ 1239340 w 2352043"/>
                <a:gd name="connsiteY131" fmla="*/ 1839910 h 1961095"/>
                <a:gd name="connsiteX132" fmla="*/ 1305441 w 2352043"/>
                <a:gd name="connsiteY132" fmla="*/ 1861944 h 1961095"/>
                <a:gd name="connsiteX133" fmla="*/ 1327474 w 2352043"/>
                <a:gd name="connsiteY133" fmla="*/ 1928045 h 1961095"/>
                <a:gd name="connsiteX134" fmla="*/ 1360525 w 2352043"/>
                <a:gd name="connsiteY134" fmla="*/ 1939062 h 1961095"/>
                <a:gd name="connsiteX135" fmla="*/ 1426626 w 2352043"/>
                <a:gd name="connsiteY135" fmla="*/ 1950079 h 1961095"/>
                <a:gd name="connsiteX136" fmla="*/ 1481711 w 2352043"/>
                <a:gd name="connsiteY136" fmla="*/ 1961095 h 1961095"/>
                <a:gd name="connsiteX137" fmla="*/ 1635947 w 2352043"/>
                <a:gd name="connsiteY137" fmla="*/ 1928045 h 1961095"/>
                <a:gd name="connsiteX138" fmla="*/ 1735099 w 2352043"/>
                <a:gd name="connsiteY138" fmla="*/ 1883977 h 1961095"/>
                <a:gd name="connsiteX139" fmla="*/ 1768149 w 2352043"/>
                <a:gd name="connsiteY139" fmla="*/ 1850927 h 1961095"/>
                <a:gd name="connsiteX140" fmla="*/ 1834250 w 2352043"/>
                <a:gd name="connsiteY140" fmla="*/ 1817876 h 1961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2352043" h="1961095">
                  <a:moveTo>
                    <a:pt x="1834250" y="1817876"/>
                  </a:moveTo>
                  <a:cubicBezTo>
                    <a:pt x="1839758" y="1806859"/>
                    <a:pt x="1813878" y="1793882"/>
                    <a:pt x="1801200" y="1784826"/>
                  </a:cubicBezTo>
                  <a:cubicBezTo>
                    <a:pt x="1777377" y="1767809"/>
                    <a:pt x="1751053" y="1760766"/>
                    <a:pt x="1724082" y="1751775"/>
                  </a:cubicBezTo>
                  <a:cubicBezTo>
                    <a:pt x="1702048" y="1766464"/>
                    <a:pt x="1683103" y="1787468"/>
                    <a:pt x="1657981" y="1795842"/>
                  </a:cubicBezTo>
                  <a:lnTo>
                    <a:pt x="1591879" y="1817876"/>
                  </a:lnTo>
                  <a:cubicBezTo>
                    <a:pt x="1574115" y="1823797"/>
                    <a:pt x="1555074" y="1824831"/>
                    <a:pt x="1536795" y="1828893"/>
                  </a:cubicBezTo>
                  <a:cubicBezTo>
                    <a:pt x="1522014" y="1832178"/>
                    <a:pt x="1507416" y="1836238"/>
                    <a:pt x="1492727" y="1839910"/>
                  </a:cubicBezTo>
                  <a:cubicBezTo>
                    <a:pt x="1481710" y="1836238"/>
                    <a:pt x="1467888" y="1837104"/>
                    <a:pt x="1459677" y="1828893"/>
                  </a:cubicBezTo>
                  <a:cubicBezTo>
                    <a:pt x="1428363" y="1797579"/>
                    <a:pt x="1457365" y="1785982"/>
                    <a:pt x="1481711" y="1773809"/>
                  </a:cubicBezTo>
                  <a:cubicBezTo>
                    <a:pt x="1517168" y="1756081"/>
                    <a:pt x="1568711" y="1757473"/>
                    <a:pt x="1602896" y="1751775"/>
                  </a:cubicBezTo>
                  <a:cubicBezTo>
                    <a:pt x="1617831" y="1749286"/>
                    <a:pt x="1632275" y="1744430"/>
                    <a:pt x="1646964" y="1740758"/>
                  </a:cubicBezTo>
                  <a:cubicBezTo>
                    <a:pt x="1741977" y="1677414"/>
                    <a:pt x="1632400" y="1740919"/>
                    <a:pt x="1878318" y="1729741"/>
                  </a:cubicBezTo>
                  <a:cubicBezTo>
                    <a:pt x="1894724" y="1728995"/>
                    <a:pt x="1907696" y="1715052"/>
                    <a:pt x="1922385" y="1707707"/>
                  </a:cubicBezTo>
                  <a:cubicBezTo>
                    <a:pt x="1918713" y="1689346"/>
                    <a:pt x="1915909" y="1670789"/>
                    <a:pt x="1911368" y="1652623"/>
                  </a:cubicBezTo>
                  <a:cubicBezTo>
                    <a:pt x="1908552" y="1641357"/>
                    <a:pt x="1903542" y="1630739"/>
                    <a:pt x="1900352" y="1619573"/>
                  </a:cubicBezTo>
                  <a:cubicBezTo>
                    <a:pt x="1896192" y="1605014"/>
                    <a:pt x="1893007" y="1590194"/>
                    <a:pt x="1889335" y="1575505"/>
                  </a:cubicBezTo>
                  <a:cubicBezTo>
                    <a:pt x="1894976" y="1496529"/>
                    <a:pt x="1896089" y="1389987"/>
                    <a:pt x="1922385" y="1311100"/>
                  </a:cubicBezTo>
                  <a:cubicBezTo>
                    <a:pt x="1926057" y="1300083"/>
                    <a:pt x="1927762" y="1288201"/>
                    <a:pt x="1933402" y="1278050"/>
                  </a:cubicBezTo>
                  <a:cubicBezTo>
                    <a:pt x="1946263" y="1254901"/>
                    <a:pt x="1962781" y="1233982"/>
                    <a:pt x="1977470" y="1211948"/>
                  </a:cubicBezTo>
                  <a:lnTo>
                    <a:pt x="2021537" y="1145847"/>
                  </a:lnTo>
                  <a:cubicBezTo>
                    <a:pt x="2034420" y="1126522"/>
                    <a:pt x="2036226" y="1101780"/>
                    <a:pt x="2043571" y="1079746"/>
                  </a:cubicBezTo>
                  <a:cubicBezTo>
                    <a:pt x="2047243" y="1068729"/>
                    <a:pt x="2048146" y="1056358"/>
                    <a:pt x="2054588" y="1046695"/>
                  </a:cubicBezTo>
                  <a:lnTo>
                    <a:pt x="2098655" y="980594"/>
                  </a:lnTo>
                  <a:lnTo>
                    <a:pt x="2120689" y="947544"/>
                  </a:lnTo>
                  <a:cubicBezTo>
                    <a:pt x="2124361" y="936527"/>
                    <a:pt x="2126513" y="924880"/>
                    <a:pt x="2131706" y="914493"/>
                  </a:cubicBezTo>
                  <a:cubicBezTo>
                    <a:pt x="2137627" y="902650"/>
                    <a:pt x="2148362" y="893542"/>
                    <a:pt x="2153740" y="881442"/>
                  </a:cubicBezTo>
                  <a:cubicBezTo>
                    <a:pt x="2163173" y="860218"/>
                    <a:pt x="2168429" y="837375"/>
                    <a:pt x="2175773" y="815341"/>
                  </a:cubicBezTo>
                  <a:lnTo>
                    <a:pt x="2186790" y="782291"/>
                  </a:lnTo>
                  <a:cubicBezTo>
                    <a:pt x="2190462" y="716190"/>
                    <a:pt x="2189595" y="649679"/>
                    <a:pt x="2197807" y="583987"/>
                  </a:cubicBezTo>
                  <a:cubicBezTo>
                    <a:pt x="2200688" y="560941"/>
                    <a:pt x="2219841" y="517886"/>
                    <a:pt x="2219841" y="517886"/>
                  </a:cubicBezTo>
                  <a:cubicBezTo>
                    <a:pt x="2201611" y="372048"/>
                    <a:pt x="2220451" y="475952"/>
                    <a:pt x="2197807" y="396700"/>
                  </a:cubicBezTo>
                  <a:cubicBezTo>
                    <a:pt x="2193101" y="380228"/>
                    <a:pt x="2184578" y="337192"/>
                    <a:pt x="2175773" y="319582"/>
                  </a:cubicBezTo>
                  <a:cubicBezTo>
                    <a:pt x="2133060" y="234156"/>
                    <a:pt x="2170415" y="336557"/>
                    <a:pt x="2142723" y="253481"/>
                  </a:cubicBezTo>
                  <a:cubicBezTo>
                    <a:pt x="2197422" y="171428"/>
                    <a:pt x="2127124" y="272198"/>
                    <a:pt x="2197807" y="187380"/>
                  </a:cubicBezTo>
                  <a:cubicBezTo>
                    <a:pt x="2206284" y="177208"/>
                    <a:pt x="2209876" y="163048"/>
                    <a:pt x="2219841" y="154329"/>
                  </a:cubicBezTo>
                  <a:cubicBezTo>
                    <a:pt x="2239770" y="136891"/>
                    <a:pt x="2263908" y="124951"/>
                    <a:pt x="2285942" y="110262"/>
                  </a:cubicBezTo>
                  <a:cubicBezTo>
                    <a:pt x="2298906" y="101620"/>
                    <a:pt x="2307024" y="87185"/>
                    <a:pt x="2318993" y="77211"/>
                  </a:cubicBezTo>
                  <a:cubicBezTo>
                    <a:pt x="2329165" y="68735"/>
                    <a:pt x="2341026" y="62522"/>
                    <a:pt x="2352043" y="55177"/>
                  </a:cubicBezTo>
                  <a:cubicBezTo>
                    <a:pt x="2348371" y="44160"/>
                    <a:pt x="2349237" y="30338"/>
                    <a:pt x="2341026" y="22127"/>
                  </a:cubicBezTo>
                  <a:cubicBezTo>
                    <a:pt x="2318899" y="0"/>
                    <a:pt x="2286270" y="16536"/>
                    <a:pt x="2263908" y="22127"/>
                  </a:cubicBezTo>
                  <a:cubicBezTo>
                    <a:pt x="2241874" y="36816"/>
                    <a:pt x="2216532" y="47469"/>
                    <a:pt x="2197807" y="66194"/>
                  </a:cubicBezTo>
                  <a:cubicBezTo>
                    <a:pt x="2186790" y="77211"/>
                    <a:pt x="2177720" y="90602"/>
                    <a:pt x="2164756" y="99245"/>
                  </a:cubicBezTo>
                  <a:cubicBezTo>
                    <a:pt x="2155094" y="105687"/>
                    <a:pt x="2141857" y="104622"/>
                    <a:pt x="2131706" y="110262"/>
                  </a:cubicBezTo>
                  <a:cubicBezTo>
                    <a:pt x="2108557" y="123122"/>
                    <a:pt x="2087639" y="139640"/>
                    <a:pt x="2065605" y="154329"/>
                  </a:cubicBezTo>
                  <a:cubicBezTo>
                    <a:pt x="2054588" y="161674"/>
                    <a:pt x="2041917" y="167000"/>
                    <a:pt x="2032554" y="176363"/>
                  </a:cubicBezTo>
                  <a:cubicBezTo>
                    <a:pt x="2021537" y="187380"/>
                    <a:pt x="2011801" y="199848"/>
                    <a:pt x="1999503" y="209413"/>
                  </a:cubicBezTo>
                  <a:cubicBezTo>
                    <a:pt x="1978600" y="225671"/>
                    <a:pt x="1933402" y="253481"/>
                    <a:pt x="1933402" y="253481"/>
                  </a:cubicBezTo>
                  <a:cubicBezTo>
                    <a:pt x="1904024" y="249809"/>
                    <a:pt x="1874530" y="246966"/>
                    <a:pt x="1845267" y="242464"/>
                  </a:cubicBezTo>
                  <a:cubicBezTo>
                    <a:pt x="1808905" y="236870"/>
                    <a:pt x="1781204" y="229202"/>
                    <a:pt x="1746115" y="220430"/>
                  </a:cubicBezTo>
                  <a:cubicBezTo>
                    <a:pt x="1731426" y="224102"/>
                    <a:pt x="1713443" y="221476"/>
                    <a:pt x="1702048" y="231447"/>
                  </a:cubicBezTo>
                  <a:cubicBezTo>
                    <a:pt x="1682119" y="248885"/>
                    <a:pt x="1672670" y="275514"/>
                    <a:pt x="1657981" y="297548"/>
                  </a:cubicBezTo>
                  <a:lnTo>
                    <a:pt x="1613913" y="363650"/>
                  </a:lnTo>
                  <a:cubicBezTo>
                    <a:pt x="1613908" y="363657"/>
                    <a:pt x="1531289" y="446273"/>
                    <a:pt x="1514761" y="462801"/>
                  </a:cubicBezTo>
                  <a:cubicBezTo>
                    <a:pt x="1496036" y="481526"/>
                    <a:pt x="1485383" y="506869"/>
                    <a:pt x="1470694" y="528903"/>
                  </a:cubicBezTo>
                  <a:lnTo>
                    <a:pt x="1448660" y="561953"/>
                  </a:lnTo>
                  <a:lnTo>
                    <a:pt x="1360525" y="694156"/>
                  </a:lnTo>
                  <a:cubicBezTo>
                    <a:pt x="1351883" y="707119"/>
                    <a:pt x="1337448" y="715237"/>
                    <a:pt x="1327474" y="727206"/>
                  </a:cubicBezTo>
                  <a:cubicBezTo>
                    <a:pt x="1318998" y="737378"/>
                    <a:pt x="1314804" y="750894"/>
                    <a:pt x="1305441" y="760257"/>
                  </a:cubicBezTo>
                  <a:cubicBezTo>
                    <a:pt x="1291782" y="773916"/>
                    <a:pt x="1247084" y="802833"/>
                    <a:pt x="1228323" y="815341"/>
                  </a:cubicBezTo>
                  <a:cubicBezTo>
                    <a:pt x="1220978" y="826358"/>
                    <a:pt x="1216628" y="840121"/>
                    <a:pt x="1206289" y="848392"/>
                  </a:cubicBezTo>
                  <a:cubicBezTo>
                    <a:pt x="1197221" y="855647"/>
                    <a:pt x="1183625" y="854216"/>
                    <a:pt x="1173238" y="859409"/>
                  </a:cubicBezTo>
                  <a:cubicBezTo>
                    <a:pt x="1087812" y="902122"/>
                    <a:pt x="1190213" y="864767"/>
                    <a:pt x="1107137" y="892459"/>
                  </a:cubicBezTo>
                  <a:cubicBezTo>
                    <a:pt x="1096120" y="899804"/>
                    <a:pt x="1086484" y="909844"/>
                    <a:pt x="1074087" y="914493"/>
                  </a:cubicBezTo>
                  <a:cubicBezTo>
                    <a:pt x="1014858" y="936704"/>
                    <a:pt x="960470" y="920189"/>
                    <a:pt x="897817" y="914493"/>
                  </a:cubicBezTo>
                  <a:cubicBezTo>
                    <a:pt x="886800" y="910821"/>
                    <a:pt x="875153" y="908669"/>
                    <a:pt x="864766" y="903476"/>
                  </a:cubicBezTo>
                  <a:cubicBezTo>
                    <a:pt x="852923" y="897555"/>
                    <a:pt x="844917" y="882458"/>
                    <a:pt x="831715" y="881442"/>
                  </a:cubicBezTo>
                  <a:cubicBezTo>
                    <a:pt x="794918" y="878611"/>
                    <a:pt x="758270" y="888787"/>
                    <a:pt x="721547" y="892459"/>
                  </a:cubicBezTo>
                  <a:lnTo>
                    <a:pt x="622395" y="925510"/>
                  </a:lnTo>
                  <a:lnTo>
                    <a:pt x="589344" y="936527"/>
                  </a:lnTo>
                  <a:cubicBezTo>
                    <a:pt x="552621" y="932855"/>
                    <a:pt x="515653" y="931122"/>
                    <a:pt x="479176" y="925510"/>
                  </a:cubicBezTo>
                  <a:cubicBezTo>
                    <a:pt x="467698" y="923744"/>
                    <a:pt x="457738" y="914493"/>
                    <a:pt x="446125" y="914493"/>
                  </a:cubicBezTo>
                  <a:cubicBezTo>
                    <a:pt x="420158" y="914493"/>
                    <a:pt x="394713" y="921838"/>
                    <a:pt x="369007" y="925510"/>
                  </a:cubicBezTo>
                  <a:cubicBezTo>
                    <a:pt x="357990" y="932855"/>
                    <a:pt x="344227" y="937205"/>
                    <a:pt x="335956" y="947544"/>
                  </a:cubicBezTo>
                  <a:cubicBezTo>
                    <a:pt x="328702" y="956612"/>
                    <a:pt x="330133" y="970207"/>
                    <a:pt x="324940" y="980594"/>
                  </a:cubicBezTo>
                  <a:cubicBezTo>
                    <a:pt x="319019" y="992437"/>
                    <a:pt x="311703" y="1003749"/>
                    <a:pt x="302906" y="1013645"/>
                  </a:cubicBezTo>
                  <a:cubicBezTo>
                    <a:pt x="282204" y="1036935"/>
                    <a:pt x="258839" y="1057712"/>
                    <a:pt x="236805" y="1079746"/>
                  </a:cubicBezTo>
                  <a:lnTo>
                    <a:pt x="203754" y="1112797"/>
                  </a:lnTo>
                  <a:cubicBezTo>
                    <a:pt x="130309" y="1186242"/>
                    <a:pt x="236803" y="1109124"/>
                    <a:pt x="148670" y="1167881"/>
                  </a:cubicBezTo>
                  <a:cubicBezTo>
                    <a:pt x="141325" y="1178898"/>
                    <a:pt x="135999" y="1191569"/>
                    <a:pt x="126636" y="1200932"/>
                  </a:cubicBezTo>
                  <a:cubicBezTo>
                    <a:pt x="117273" y="1210294"/>
                    <a:pt x="101856" y="1212626"/>
                    <a:pt x="93585" y="1222965"/>
                  </a:cubicBezTo>
                  <a:cubicBezTo>
                    <a:pt x="86330" y="1232033"/>
                    <a:pt x="89010" y="1246353"/>
                    <a:pt x="82568" y="1256016"/>
                  </a:cubicBezTo>
                  <a:cubicBezTo>
                    <a:pt x="73926" y="1268979"/>
                    <a:pt x="59083" y="1276768"/>
                    <a:pt x="49518" y="1289066"/>
                  </a:cubicBezTo>
                  <a:cubicBezTo>
                    <a:pt x="33260" y="1309969"/>
                    <a:pt x="5450" y="1355168"/>
                    <a:pt x="5450" y="1355168"/>
                  </a:cubicBezTo>
                  <a:cubicBezTo>
                    <a:pt x="9122" y="1410252"/>
                    <a:pt x="0" y="1467727"/>
                    <a:pt x="16467" y="1520421"/>
                  </a:cubicBezTo>
                  <a:cubicBezTo>
                    <a:pt x="20983" y="1534873"/>
                    <a:pt x="50681" y="1519942"/>
                    <a:pt x="60535" y="1531438"/>
                  </a:cubicBezTo>
                  <a:cubicBezTo>
                    <a:pt x="75650" y="1549072"/>
                    <a:pt x="75224" y="1575505"/>
                    <a:pt x="82568" y="1597539"/>
                  </a:cubicBezTo>
                  <a:cubicBezTo>
                    <a:pt x="86755" y="1610100"/>
                    <a:pt x="97257" y="1619572"/>
                    <a:pt x="104602" y="1630589"/>
                  </a:cubicBezTo>
                  <a:cubicBezTo>
                    <a:pt x="108274" y="1641606"/>
                    <a:pt x="104837" y="1659327"/>
                    <a:pt x="115619" y="1663640"/>
                  </a:cubicBezTo>
                  <a:cubicBezTo>
                    <a:pt x="129677" y="1669263"/>
                    <a:pt x="145184" y="1656974"/>
                    <a:pt x="159687" y="1652623"/>
                  </a:cubicBezTo>
                  <a:cubicBezTo>
                    <a:pt x="181933" y="1645949"/>
                    <a:pt x="225788" y="1630589"/>
                    <a:pt x="225788" y="1630589"/>
                  </a:cubicBezTo>
                  <a:cubicBezTo>
                    <a:pt x="251616" y="1553107"/>
                    <a:pt x="225788" y="1645978"/>
                    <a:pt x="225788" y="1498387"/>
                  </a:cubicBezTo>
                  <a:cubicBezTo>
                    <a:pt x="225788" y="1483246"/>
                    <a:pt x="226099" y="1465026"/>
                    <a:pt x="236805" y="1454320"/>
                  </a:cubicBezTo>
                  <a:cubicBezTo>
                    <a:pt x="247511" y="1443614"/>
                    <a:pt x="266369" y="1447654"/>
                    <a:pt x="280872" y="1443303"/>
                  </a:cubicBezTo>
                  <a:cubicBezTo>
                    <a:pt x="352383" y="1421849"/>
                    <a:pt x="331725" y="1431434"/>
                    <a:pt x="380024" y="1399235"/>
                  </a:cubicBezTo>
                  <a:cubicBezTo>
                    <a:pt x="443167" y="1304524"/>
                    <a:pt x="367466" y="1424353"/>
                    <a:pt x="413074" y="1333134"/>
                  </a:cubicBezTo>
                  <a:cubicBezTo>
                    <a:pt x="418995" y="1321291"/>
                    <a:pt x="429186" y="1311926"/>
                    <a:pt x="435108" y="1300083"/>
                  </a:cubicBezTo>
                  <a:cubicBezTo>
                    <a:pt x="440301" y="1289696"/>
                    <a:pt x="442935" y="1278199"/>
                    <a:pt x="446125" y="1267033"/>
                  </a:cubicBezTo>
                  <a:cubicBezTo>
                    <a:pt x="450285" y="1252474"/>
                    <a:pt x="448743" y="1235563"/>
                    <a:pt x="457142" y="1222965"/>
                  </a:cubicBezTo>
                  <a:cubicBezTo>
                    <a:pt x="464487" y="1211948"/>
                    <a:pt x="478350" y="1206853"/>
                    <a:pt x="490193" y="1200932"/>
                  </a:cubicBezTo>
                  <a:cubicBezTo>
                    <a:pt x="527773" y="1182142"/>
                    <a:pt x="589068" y="1183342"/>
                    <a:pt x="622395" y="1178898"/>
                  </a:cubicBezTo>
                  <a:cubicBezTo>
                    <a:pt x="644537" y="1175946"/>
                    <a:pt x="666383" y="1171040"/>
                    <a:pt x="688496" y="1167881"/>
                  </a:cubicBezTo>
                  <a:cubicBezTo>
                    <a:pt x="735407" y="1161179"/>
                    <a:pt x="785423" y="1158472"/>
                    <a:pt x="831715" y="1145847"/>
                  </a:cubicBezTo>
                  <a:cubicBezTo>
                    <a:pt x="854122" y="1139736"/>
                    <a:pt x="897817" y="1123813"/>
                    <a:pt x="897817" y="1123813"/>
                  </a:cubicBezTo>
                  <a:cubicBezTo>
                    <a:pt x="927195" y="1131158"/>
                    <a:pt x="955974" y="1141564"/>
                    <a:pt x="985952" y="1145847"/>
                  </a:cubicBezTo>
                  <a:cubicBezTo>
                    <a:pt x="1078059" y="1159005"/>
                    <a:pt x="1037878" y="1150566"/>
                    <a:pt x="1107137" y="1167881"/>
                  </a:cubicBezTo>
                  <a:cubicBezTo>
                    <a:pt x="1196148" y="1153046"/>
                    <a:pt x="1152047" y="1163928"/>
                    <a:pt x="1239340" y="1134830"/>
                  </a:cubicBezTo>
                  <a:cubicBezTo>
                    <a:pt x="1257104" y="1128909"/>
                    <a:pt x="1276258" y="1128354"/>
                    <a:pt x="1294424" y="1123813"/>
                  </a:cubicBezTo>
                  <a:cubicBezTo>
                    <a:pt x="1402902" y="1096694"/>
                    <a:pt x="1211691" y="1132094"/>
                    <a:pt x="1393576" y="1101780"/>
                  </a:cubicBezTo>
                  <a:cubicBezTo>
                    <a:pt x="1411937" y="1105452"/>
                    <a:pt x="1441284" y="1095586"/>
                    <a:pt x="1448660" y="1112797"/>
                  </a:cubicBezTo>
                  <a:cubicBezTo>
                    <a:pt x="1457809" y="1134145"/>
                    <a:pt x="1448660" y="1171553"/>
                    <a:pt x="1426626" y="1178898"/>
                  </a:cubicBezTo>
                  <a:cubicBezTo>
                    <a:pt x="1393504" y="1189939"/>
                    <a:pt x="1388999" y="1188220"/>
                    <a:pt x="1360525" y="1211948"/>
                  </a:cubicBezTo>
                  <a:cubicBezTo>
                    <a:pt x="1307853" y="1255840"/>
                    <a:pt x="1344834" y="1230778"/>
                    <a:pt x="1305441" y="1278050"/>
                  </a:cubicBezTo>
                  <a:cubicBezTo>
                    <a:pt x="1295467" y="1290019"/>
                    <a:pt x="1283407" y="1300083"/>
                    <a:pt x="1272390" y="1311100"/>
                  </a:cubicBezTo>
                  <a:cubicBezTo>
                    <a:pt x="1261373" y="1303755"/>
                    <a:pt x="1245909" y="1300562"/>
                    <a:pt x="1239340" y="1289066"/>
                  </a:cubicBezTo>
                  <a:cubicBezTo>
                    <a:pt x="1212938" y="1242862"/>
                    <a:pt x="1247752" y="1234102"/>
                    <a:pt x="1206289" y="1200932"/>
                  </a:cubicBezTo>
                  <a:cubicBezTo>
                    <a:pt x="1197221" y="1193678"/>
                    <a:pt x="1184255" y="1193587"/>
                    <a:pt x="1173238" y="1189915"/>
                  </a:cubicBezTo>
                  <a:cubicBezTo>
                    <a:pt x="1104418" y="1196797"/>
                    <a:pt x="1068827" y="1196738"/>
                    <a:pt x="1007985" y="1211948"/>
                  </a:cubicBezTo>
                  <a:cubicBezTo>
                    <a:pt x="996719" y="1214764"/>
                    <a:pt x="985952" y="1219293"/>
                    <a:pt x="974935" y="1222965"/>
                  </a:cubicBezTo>
                  <a:lnTo>
                    <a:pt x="930867" y="1289066"/>
                  </a:lnTo>
                  <a:cubicBezTo>
                    <a:pt x="917984" y="1308391"/>
                    <a:pt x="916178" y="1333134"/>
                    <a:pt x="908834" y="1355168"/>
                  </a:cubicBezTo>
                  <a:cubicBezTo>
                    <a:pt x="893026" y="1402592"/>
                    <a:pt x="900637" y="1376940"/>
                    <a:pt x="886800" y="1432286"/>
                  </a:cubicBezTo>
                  <a:cubicBezTo>
                    <a:pt x="890472" y="1457992"/>
                    <a:pt x="891978" y="1484102"/>
                    <a:pt x="897817" y="1509404"/>
                  </a:cubicBezTo>
                  <a:cubicBezTo>
                    <a:pt x="903039" y="1532035"/>
                    <a:pt x="914217" y="1552973"/>
                    <a:pt x="919850" y="1575505"/>
                  </a:cubicBezTo>
                  <a:lnTo>
                    <a:pt x="930867" y="1619573"/>
                  </a:lnTo>
                  <a:cubicBezTo>
                    <a:pt x="927195" y="1630590"/>
                    <a:pt x="925490" y="1642472"/>
                    <a:pt x="919850" y="1652623"/>
                  </a:cubicBezTo>
                  <a:cubicBezTo>
                    <a:pt x="879632" y="1725016"/>
                    <a:pt x="839750" y="1730485"/>
                    <a:pt x="930867" y="1707707"/>
                  </a:cubicBezTo>
                  <a:cubicBezTo>
                    <a:pt x="942133" y="1704891"/>
                    <a:pt x="952901" y="1700363"/>
                    <a:pt x="963918" y="1696691"/>
                  </a:cubicBezTo>
                  <a:cubicBezTo>
                    <a:pt x="1014427" y="1772455"/>
                    <a:pt x="982863" y="1754418"/>
                    <a:pt x="1041036" y="1773809"/>
                  </a:cubicBezTo>
                  <a:cubicBezTo>
                    <a:pt x="1066742" y="1770137"/>
                    <a:pt x="1093282" y="1770254"/>
                    <a:pt x="1118154" y="1762792"/>
                  </a:cubicBezTo>
                  <a:cubicBezTo>
                    <a:pt x="1185595" y="1742559"/>
                    <a:pt x="1116956" y="1729341"/>
                    <a:pt x="1184255" y="1751775"/>
                  </a:cubicBezTo>
                  <a:cubicBezTo>
                    <a:pt x="1211947" y="1834850"/>
                    <a:pt x="1171371" y="1735671"/>
                    <a:pt x="1228323" y="1806859"/>
                  </a:cubicBezTo>
                  <a:cubicBezTo>
                    <a:pt x="1235578" y="1815927"/>
                    <a:pt x="1229890" y="1833160"/>
                    <a:pt x="1239340" y="1839910"/>
                  </a:cubicBezTo>
                  <a:cubicBezTo>
                    <a:pt x="1258239" y="1853410"/>
                    <a:pt x="1305441" y="1861944"/>
                    <a:pt x="1305441" y="1861944"/>
                  </a:cubicBezTo>
                  <a:lnTo>
                    <a:pt x="1327474" y="1928045"/>
                  </a:lnTo>
                  <a:cubicBezTo>
                    <a:pt x="1331146" y="1939062"/>
                    <a:pt x="1349189" y="1936543"/>
                    <a:pt x="1360525" y="1939062"/>
                  </a:cubicBezTo>
                  <a:cubicBezTo>
                    <a:pt x="1382331" y="1943908"/>
                    <a:pt x="1404649" y="1946083"/>
                    <a:pt x="1426626" y="1950079"/>
                  </a:cubicBezTo>
                  <a:cubicBezTo>
                    <a:pt x="1445049" y="1953429"/>
                    <a:pt x="1463349" y="1957423"/>
                    <a:pt x="1481711" y="1961095"/>
                  </a:cubicBezTo>
                  <a:cubicBezTo>
                    <a:pt x="1575900" y="1929700"/>
                    <a:pt x="1524766" y="1941943"/>
                    <a:pt x="1635947" y="1928045"/>
                  </a:cubicBezTo>
                  <a:cubicBezTo>
                    <a:pt x="1683985" y="1912032"/>
                    <a:pt x="1700182" y="1913075"/>
                    <a:pt x="1735099" y="1883977"/>
                  </a:cubicBezTo>
                  <a:cubicBezTo>
                    <a:pt x="1747068" y="1874003"/>
                    <a:pt x="1758175" y="1862896"/>
                    <a:pt x="1768149" y="1850927"/>
                  </a:cubicBezTo>
                  <a:cubicBezTo>
                    <a:pt x="1830435" y="1776184"/>
                    <a:pt x="1828742" y="1828893"/>
                    <a:pt x="1834250" y="1817876"/>
                  </a:cubicBez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a:spcBef>
                  <a:spcPct val="0"/>
                </a:spcBef>
                <a:buClrTx/>
              </a:pPr>
              <a:endParaRPr lang="en-US" sz="1050" kern="1200" dirty="0" err="1">
                <a:solidFill>
                  <a:prstClr val="black"/>
                </a:solidFill>
                <a:latin typeface="Century Gothic" pitchFamily="34" charset="0"/>
                <a:ea typeface="+mn-ea"/>
                <a:cs typeface="+mn-cs"/>
              </a:endParaRPr>
            </a:p>
          </p:txBody>
        </p:sp>
        <p:sp>
          <p:nvSpPr>
            <p:cNvPr id="46" name="Freeform 45"/>
            <p:cNvSpPr/>
            <p:nvPr/>
          </p:nvSpPr>
          <p:spPr bwMode="gray">
            <a:xfrm>
              <a:off x="5564721" y="3108005"/>
              <a:ext cx="106589" cy="104478"/>
            </a:xfrm>
            <a:custGeom>
              <a:avLst/>
              <a:gdLst>
                <a:gd name="connsiteX0" fmla="*/ 70414 w 136516"/>
                <a:gd name="connsiteY0" fmla="*/ 12627 h 133812"/>
                <a:gd name="connsiteX1" fmla="*/ 4313 w 136516"/>
                <a:gd name="connsiteY1" fmla="*/ 45677 h 133812"/>
                <a:gd name="connsiteX2" fmla="*/ 15330 w 136516"/>
                <a:gd name="connsiteY2" fmla="*/ 78728 h 133812"/>
                <a:gd name="connsiteX3" fmla="*/ 70414 w 136516"/>
                <a:gd name="connsiteY3" fmla="*/ 133812 h 133812"/>
                <a:gd name="connsiteX4" fmla="*/ 103465 w 136516"/>
                <a:gd name="connsiteY4" fmla="*/ 122796 h 133812"/>
                <a:gd name="connsiteX5" fmla="*/ 136516 w 136516"/>
                <a:gd name="connsiteY5" fmla="*/ 56694 h 133812"/>
                <a:gd name="connsiteX6" fmla="*/ 81431 w 136516"/>
                <a:gd name="connsiteY6" fmla="*/ 1610 h 133812"/>
                <a:gd name="connsiteX7" fmla="*/ 70414 w 136516"/>
                <a:gd name="connsiteY7" fmla="*/ 12627 h 13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16" h="133812">
                  <a:moveTo>
                    <a:pt x="70414" y="12627"/>
                  </a:moveTo>
                  <a:cubicBezTo>
                    <a:pt x="57561" y="19971"/>
                    <a:pt x="10884" y="29251"/>
                    <a:pt x="4313" y="45677"/>
                  </a:cubicBezTo>
                  <a:cubicBezTo>
                    <a:pt x="0" y="56459"/>
                    <a:pt x="10137" y="68341"/>
                    <a:pt x="15330" y="78728"/>
                  </a:cubicBezTo>
                  <a:cubicBezTo>
                    <a:pt x="33692" y="115451"/>
                    <a:pt x="37363" y="111779"/>
                    <a:pt x="70414" y="133812"/>
                  </a:cubicBezTo>
                  <a:cubicBezTo>
                    <a:pt x="81431" y="130140"/>
                    <a:pt x="94397" y="130050"/>
                    <a:pt x="103465" y="122796"/>
                  </a:cubicBezTo>
                  <a:cubicBezTo>
                    <a:pt x="122880" y="107264"/>
                    <a:pt x="129259" y="78466"/>
                    <a:pt x="136516" y="56694"/>
                  </a:cubicBezTo>
                  <a:cubicBezTo>
                    <a:pt x="122957" y="36356"/>
                    <a:pt x="109679" y="7260"/>
                    <a:pt x="81431" y="1610"/>
                  </a:cubicBezTo>
                  <a:cubicBezTo>
                    <a:pt x="73379" y="0"/>
                    <a:pt x="83267" y="5283"/>
                    <a:pt x="70414" y="12627"/>
                  </a:cubicBezTo>
                  <a:close/>
                </a:path>
              </a:pathLst>
            </a:custGeom>
            <a:grpFill/>
            <a:ln w="12700" cap="flat" cmpd="sng" algn="ctr">
              <a:solidFill>
                <a:schemeClr val="bg1"/>
              </a:solidFill>
              <a:prstDash val="solid"/>
              <a:round/>
              <a:headEnd type="none" w="med" len="med"/>
              <a:tailEnd type="none" w="med" len="med"/>
            </a:ln>
            <a:effectLst/>
          </p:spPr>
          <p:txBody>
            <a:bodyPr vert="horz" wrap="square" lIns="68580" tIns="67500" rIns="68580" bIns="34290" numCol="1" rtlCol="0" anchor="t" anchorCtr="0" compatLnSpc="1">
              <a:prstTxWarp prst="textNoShape">
                <a:avLst/>
              </a:prstTxWarp>
            </a:bodyPr>
            <a:lstStyle/>
            <a:p>
              <a:pPr defTabSz="685800">
                <a:spcBef>
                  <a:spcPct val="0"/>
                </a:spcBef>
                <a:buClrTx/>
              </a:pPr>
              <a:endParaRPr lang="en-US" sz="1050" kern="1200" dirty="0" err="1">
                <a:solidFill>
                  <a:prstClr val="black"/>
                </a:solidFill>
                <a:latin typeface="Century Gothic" pitchFamily="34" charset="0"/>
                <a:ea typeface="+mn-ea"/>
                <a:cs typeface="+mn-cs"/>
              </a:endParaRPr>
            </a:p>
          </p:txBody>
        </p:sp>
      </p:grpSp>
      <p:sp>
        <p:nvSpPr>
          <p:cNvPr id="65" name="Rectangle 3"/>
          <p:cNvSpPr>
            <a:spLocks noChangeArrowheads="1"/>
          </p:cNvSpPr>
          <p:nvPr/>
        </p:nvSpPr>
        <p:spPr bwMode="auto">
          <a:xfrm>
            <a:off x="5337545" y="1"/>
            <a:ext cx="2663456" cy="600164"/>
          </a:xfrm>
          <a:prstGeom prst="rect">
            <a:avLst/>
          </a:prstGeom>
          <a:solidFill>
            <a:schemeClr val="accent6"/>
          </a:solidFill>
          <a:ln w="6350" algn="ctr">
            <a:solidFill>
              <a:schemeClr val="bg1"/>
            </a:solidFill>
            <a:miter lim="800000"/>
            <a:headEnd/>
            <a:tailEnd/>
          </a:ln>
        </p:spPr>
        <p:txBody>
          <a:bodyPr wrap="square" tIns="68580" bIns="68580">
            <a:spAutoFit/>
          </a:bodyPr>
          <a:lstStyle/>
          <a:p>
            <a:pPr defTabSz="685800">
              <a:buClrTx/>
              <a:defRPr/>
            </a:pPr>
            <a:r>
              <a:rPr lang="en-US" altLang="ja-JP" sz="750" kern="1200" dirty="0">
                <a:solidFill>
                  <a:srgbClr val="313131"/>
                </a:solidFill>
                <a:ea typeface="ＭＳ Ｐゴシック" pitchFamily="50" charset="-128"/>
                <a:cs typeface="+mn-cs"/>
              </a:rPr>
              <a:t>Tip! Click once to select the entire map, and again to select one or more regions within it</a:t>
            </a:r>
            <a:br>
              <a:rPr lang="en-US" altLang="ja-JP" sz="750" kern="1200" dirty="0">
                <a:solidFill>
                  <a:srgbClr val="313131"/>
                </a:solidFill>
                <a:ea typeface="ＭＳ Ｐゴシック" pitchFamily="50" charset="-128"/>
                <a:cs typeface="+mn-cs"/>
              </a:rPr>
            </a:br>
            <a:r>
              <a:rPr lang="en-US" altLang="ja-JP" sz="750" kern="1200" dirty="0">
                <a:solidFill>
                  <a:srgbClr val="313131"/>
                </a:solidFill>
                <a:ea typeface="ＭＳ Ｐゴシック" pitchFamily="50" charset="-128"/>
                <a:cs typeface="+mn-cs"/>
              </a:rPr>
              <a:t>Country/regional maps are a representative sample – more will be added</a:t>
            </a:r>
            <a:endParaRPr lang="en-US" sz="750" kern="1200" dirty="0">
              <a:solidFill>
                <a:srgbClr val="313131"/>
              </a:solidFill>
              <a:ea typeface="ＭＳ Ｐゴシック" pitchFamily="50" charset="-128"/>
              <a:cs typeface="+mn-cs"/>
            </a:endParaRPr>
          </a:p>
        </p:txBody>
      </p:sp>
      <p:sp>
        <p:nvSpPr>
          <p:cNvPr id="66" name="TextBox 65"/>
          <p:cNvSpPr txBox="1"/>
          <p:nvPr/>
        </p:nvSpPr>
        <p:spPr>
          <a:xfrm>
            <a:off x="5337546" y="733425"/>
            <a:ext cx="2663455" cy="1107996"/>
          </a:xfrm>
          <a:prstGeom prst="rect">
            <a:avLst/>
          </a:prstGeom>
          <a:solidFill>
            <a:srgbClr val="ED1B2F"/>
          </a:solidFill>
        </p:spPr>
        <p:txBody>
          <a:bodyPr wrap="square" lIns="68580" tIns="68580" rIns="68580" bIns="68580" rtlCol="0">
            <a:spAutoFit/>
          </a:bodyPr>
          <a:lstStyle/>
          <a:p>
            <a:pPr defTabSz="685800">
              <a:buClrTx/>
            </a:pPr>
            <a:r>
              <a:rPr lang="en-US" sz="1050" kern="1200" dirty="0">
                <a:solidFill>
                  <a:prstClr val="white"/>
                </a:solidFill>
                <a:ea typeface="+mn-ea"/>
                <a:cs typeface="+mn-cs"/>
              </a:rPr>
              <a:t>Maps are for directional purposes only and are not intended to be exact renditions of country borders. For specific information about country borders and maps, please contact the local member firm.</a:t>
            </a:r>
          </a:p>
        </p:txBody>
      </p:sp>
    </p:spTree>
  </p:cSld>
  <p:clrMapOvr>
    <a:masterClrMapping/>
  </p:clrMapOvr>
  <p:transition>
    <p:fade/>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01" name="Title 1"/>
          <p:cNvSpPr>
            <a:spLocks noGrp="1"/>
          </p:cNvSpPr>
          <p:nvPr>
            <p:ph type="title"/>
          </p:nvPr>
        </p:nvSpPr>
        <p:spPr/>
        <p:txBody>
          <a:bodyPr/>
          <a:lstStyle/>
          <a:p>
            <a:r>
              <a:rPr lang="en-US" dirty="0"/>
              <a:t>Maps </a:t>
            </a:r>
            <a:br>
              <a:rPr lang="en-US" dirty="0"/>
            </a:br>
            <a:r>
              <a:rPr lang="en-US" dirty="0">
                <a:solidFill>
                  <a:srgbClr val="575757"/>
                </a:solidFill>
              </a:rPr>
              <a:t>Hungary and Poland</a:t>
            </a:r>
          </a:p>
        </p:txBody>
      </p:sp>
      <p:sp>
        <p:nvSpPr>
          <p:cNvPr id="5" name="Freeform 19"/>
          <p:cNvSpPr>
            <a:spLocks/>
          </p:cNvSpPr>
          <p:nvPr/>
        </p:nvSpPr>
        <p:spPr bwMode="gray">
          <a:xfrm>
            <a:off x="1429941" y="2047875"/>
            <a:ext cx="2819400" cy="1771650"/>
          </a:xfrm>
          <a:custGeom>
            <a:avLst/>
            <a:gdLst>
              <a:gd name="T0" fmla="*/ 455 w 1993"/>
              <a:gd name="T1" fmla="*/ 322 h 1241"/>
              <a:gd name="T2" fmla="*/ 385 w 1993"/>
              <a:gd name="T3" fmla="*/ 256 h 1241"/>
              <a:gd name="T4" fmla="*/ 342 w 1993"/>
              <a:gd name="T5" fmla="*/ 240 h 1241"/>
              <a:gd name="T6" fmla="*/ 291 w 1993"/>
              <a:gd name="T7" fmla="*/ 311 h 1241"/>
              <a:gd name="T8" fmla="*/ 264 w 1993"/>
              <a:gd name="T9" fmla="*/ 373 h 1241"/>
              <a:gd name="T10" fmla="*/ 191 w 1993"/>
              <a:gd name="T11" fmla="*/ 351 h 1241"/>
              <a:gd name="T12" fmla="*/ 129 w 1993"/>
              <a:gd name="T13" fmla="*/ 372 h 1241"/>
              <a:gd name="T14" fmla="*/ 118 w 1993"/>
              <a:gd name="T15" fmla="*/ 399 h 1241"/>
              <a:gd name="T16" fmla="*/ 177 w 1993"/>
              <a:gd name="T17" fmla="*/ 448 h 1241"/>
              <a:gd name="T18" fmla="*/ 111 w 1993"/>
              <a:gd name="T19" fmla="*/ 524 h 1241"/>
              <a:gd name="T20" fmla="*/ 107 w 1993"/>
              <a:gd name="T21" fmla="*/ 664 h 1241"/>
              <a:gd name="T22" fmla="*/ 34 w 1993"/>
              <a:gd name="T23" fmla="*/ 687 h 1241"/>
              <a:gd name="T24" fmla="*/ 15 w 1993"/>
              <a:gd name="T25" fmla="*/ 742 h 1241"/>
              <a:gd name="T26" fmla="*/ 69 w 1993"/>
              <a:gd name="T27" fmla="*/ 761 h 1241"/>
              <a:gd name="T28" fmla="*/ 109 w 1993"/>
              <a:gd name="T29" fmla="*/ 875 h 1241"/>
              <a:gd name="T30" fmla="*/ 184 w 1993"/>
              <a:gd name="T31" fmla="*/ 951 h 1241"/>
              <a:gd name="T32" fmla="*/ 241 w 1993"/>
              <a:gd name="T33" fmla="*/ 1018 h 1241"/>
              <a:gd name="T34" fmla="*/ 307 w 1993"/>
              <a:gd name="T35" fmla="*/ 1068 h 1241"/>
              <a:gd name="T36" fmla="*/ 397 w 1993"/>
              <a:gd name="T37" fmla="*/ 1149 h 1241"/>
              <a:gd name="T38" fmla="*/ 495 w 1993"/>
              <a:gd name="T39" fmla="*/ 1211 h 1241"/>
              <a:gd name="T40" fmla="*/ 602 w 1993"/>
              <a:gd name="T41" fmla="*/ 1225 h 1241"/>
              <a:gd name="T42" fmla="*/ 710 w 1993"/>
              <a:gd name="T43" fmla="*/ 1227 h 1241"/>
              <a:gd name="T44" fmla="*/ 763 w 1993"/>
              <a:gd name="T45" fmla="*/ 1182 h 1241"/>
              <a:gd name="T46" fmla="*/ 878 w 1993"/>
              <a:gd name="T47" fmla="*/ 1151 h 1241"/>
              <a:gd name="T48" fmla="*/ 1014 w 1993"/>
              <a:gd name="T49" fmla="*/ 1092 h 1241"/>
              <a:gd name="T50" fmla="*/ 1122 w 1993"/>
              <a:gd name="T51" fmla="*/ 1065 h 1241"/>
              <a:gd name="T52" fmla="*/ 1249 w 1993"/>
              <a:gd name="T53" fmla="*/ 1064 h 1241"/>
              <a:gd name="T54" fmla="*/ 1335 w 1993"/>
              <a:gd name="T55" fmla="*/ 1065 h 1241"/>
              <a:gd name="T56" fmla="*/ 1399 w 1993"/>
              <a:gd name="T57" fmla="*/ 1018 h 1241"/>
              <a:gd name="T58" fmla="*/ 1516 w 1993"/>
              <a:gd name="T59" fmla="*/ 977 h 1241"/>
              <a:gd name="T60" fmla="*/ 1550 w 1993"/>
              <a:gd name="T61" fmla="*/ 910 h 1241"/>
              <a:gd name="T62" fmla="*/ 1597 w 1993"/>
              <a:gd name="T63" fmla="*/ 838 h 1241"/>
              <a:gd name="T64" fmla="*/ 1643 w 1993"/>
              <a:gd name="T65" fmla="*/ 716 h 1241"/>
              <a:gd name="T66" fmla="*/ 1698 w 1993"/>
              <a:gd name="T67" fmla="*/ 622 h 1241"/>
              <a:gd name="T68" fmla="*/ 1759 w 1993"/>
              <a:gd name="T69" fmla="*/ 499 h 1241"/>
              <a:gd name="T70" fmla="*/ 1805 w 1993"/>
              <a:gd name="T71" fmla="*/ 427 h 1241"/>
              <a:gd name="T72" fmla="*/ 1859 w 1993"/>
              <a:gd name="T73" fmla="*/ 355 h 1241"/>
              <a:gd name="T74" fmla="*/ 1932 w 1993"/>
              <a:gd name="T75" fmla="*/ 350 h 1241"/>
              <a:gd name="T76" fmla="*/ 1993 w 1993"/>
              <a:gd name="T77" fmla="*/ 271 h 1241"/>
              <a:gd name="T78" fmla="*/ 1947 w 1993"/>
              <a:gd name="T79" fmla="*/ 187 h 1241"/>
              <a:gd name="T80" fmla="*/ 1883 w 1993"/>
              <a:gd name="T81" fmla="*/ 147 h 1241"/>
              <a:gd name="T82" fmla="*/ 1819 w 1993"/>
              <a:gd name="T83" fmla="*/ 95 h 1241"/>
              <a:gd name="T84" fmla="*/ 1735 w 1993"/>
              <a:gd name="T85" fmla="*/ 75 h 1241"/>
              <a:gd name="T86" fmla="*/ 1644 w 1993"/>
              <a:gd name="T87" fmla="*/ 82 h 1241"/>
              <a:gd name="T88" fmla="*/ 1596 w 1993"/>
              <a:gd name="T89" fmla="*/ 20 h 1241"/>
              <a:gd name="T90" fmla="*/ 1556 w 1993"/>
              <a:gd name="T91" fmla="*/ 0 h 1241"/>
              <a:gd name="T92" fmla="*/ 1458 w 1993"/>
              <a:gd name="T93" fmla="*/ 32 h 1241"/>
              <a:gd name="T94" fmla="*/ 1366 w 1993"/>
              <a:gd name="T95" fmla="*/ 3 h 1241"/>
              <a:gd name="T96" fmla="*/ 1291 w 1993"/>
              <a:gd name="T97" fmla="*/ 47 h 1241"/>
              <a:gd name="T98" fmla="*/ 1201 w 1993"/>
              <a:gd name="T99" fmla="*/ 149 h 1241"/>
              <a:gd name="T100" fmla="*/ 1109 w 1993"/>
              <a:gd name="T101" fmla="*/ 186 h 1241"/>
              <a:gd name="T102" fmla="*/ 1037 w 1993"/>
              <a:gd name="T103" fmla="*/ 149 h 1241"/>
              <a:gd name="T104" fmla="*/ 1000 w 1993"/>
              <a:gd name="T105" fmla="*/ 213 h 1241"/>
              <a:gd name="T106" fmla="*/ 898 w 1993"/>
              <a:gd name="T107" fmla="*/ 238 h 1241"/>
              <a:gd name="T108" fmla="*/ 830 w 1993"/>
              <a:gd name="T109" fmla="*/ 234 h 1241"/>
              <a:gd name="T110" fmla="*/ 791 w 1993"/>
              <a:gd name="T111" fmla="*/ 328 h 1241"/>
              <a:gd name="T112" fmla="*/ 667 w 1993"/>
              <a:gd name="T113" fmla="*/ 371 h 1241"/>
              <a:gd name="T114" fmla="*/ 539 w 1993"/>
              <a:gd name="T115" fmla="*/ 362 h 124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993"/>
              <a:gd name="T175" fmla="*/ 0 h 1241"/>
              <a:gd name="T176" fmla="*/ 1993 w 1993"/>
              <a:gd name="T177" fmla="*/ 1241 h 124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993" h="1241">
                <a:moveTo>
                  <a:pt x="506" y="363"/>
                </a:moveTo>
                <a:lnTo>
                  <a:pt x="505" y="362"/>
                </a:lnTo>
                <a:lnTo>
                  <a:pt x="503" y="359"/>
                </a:lnTo>
                <a:lnTo>
                  <a:pt x="499" y="353"/>
                </a:lnTo>
                <a:lnTo>
                  <a:pt x="493" y="348"/>
                </a:lnTo>
                <a:lnTo>
                  <a:pt x="488" y="342"/>
                </a:lnTo>
                <a:lnTo>
                  <a:pt x="481" y="337"/>
                </a:lnTo>
                <a:lnTo>
                  <a:pt x="475" y="331"/>
                </a:lnTo>
                <a:lnTo>
                  <a:pt x="468" y="329"/>
                </a:lnTo>
                <a:lnTo>
                  <a:pt x="462" y="326"/>
                </a:lnTo>
                <a:lnTo>
                  <a:pt x="455" y="322"/>
                </a:lnTo>
                <a:lnTo>
                  <a:pt x="448" y="314"/>
                </a:lnTo>
                <a:lnTo>
                  <a:pt x="443" y="306"/>
                </a:lnTo>
                <a:lnTo>
                  <a:pt x="437" y="299"/>
                </a:lnTo>
                <a:lnTo>
                  <a:pt x="431" y="290"/>
                </a:lnTo>
                <a:lnTo>
                  <a:pt x="426" y="284"/>
                </a:lnTo>
                <a:lnTo>
                  <a:pt x="421" y="278"/>
                </a:lnTo>
                <a:lnTo>
                  <a:pt x="416" y="274"/>
                </a:lnTo>
                <a:lnTo>
                  <a:pt x="408" y="268"/>
                </a:lnTo>
                <a:lnTo>
                  <a:pt x="401" y="264"/>
                </a:lnTo>
                <a:lnTo>
                  <a:pt x="393" y="260"/>
                </a:lnTo>
                <a:lnTo>
                  <a:pt x="385" y="256"/>
                </a:lnTo>
                <a:lnTo>
                  <a:pt x="380" y="254"/>
                </a:lnTo>
                <a:lnTo>
                  <a:pt x="376" y="253"/>
                </a:lnTo>
                <a:lnTo>
                  <a:pt x="375" y="252"/>
                </a:lnTo>
                <a:lnTo>
                  <a:pt x="373" y="252"/>
                </a:lnTo>
                <a:lnTo>
                  <a:pt x="371" y="250"/>
                </a:lnTo>
                <a:lnTo>
                  <a:pt x="368" y="249"/>
                </a:lnTo>
                <a:lnTo>
                  <a:pt x="364" y="246"/>
                </a:lnTo>
                <a:lnTo>
                  <a:pt x="359" y="243"/>
                </a:lnTo>
                <a:lnTo>
                  <a:pt x="354" y="242"/>
                </a:lnTo>
                <a:lnTo>
                  <a:pt x="347" y="240"/>
                </a:lnTo>
                <a:lnTo>
                  <a:pt x="342" y="240"/>
                </a:lnTo>
                <a:lnTo>
                  <a:pt x="338" y="240"/>
                </a:lnTo>
                <a:lnTo>
                  <a:pt x="334" y="241"/>
                </a:lnTo>
                <a:lnTo>
                  <a:pt x="331" y="242"/>
                </a:lnTo>
                <a:lnTo>
                  <a:pt x="328" y="245"/>
                </a:lnTo>
                <a:lnTo>
                  <a:pt x="317" y="253"/>
                </a:lnTo>
                <a:lnTo>
                  <a:pt x="308" y="263"/>
                </a:lnTo>
                <a:lnTo>
                  <a:pt x="304" y="273"/>
                </a:lnTo>
                <a:lnTo>
                  <a:pt x="302" y="283"/>
                </a:lnTo>
                <a:lnTo>
                  <a:pt x="299" y="291"/>
                </a:lnTo>
                <a:lnTo>
                  <a:pt x="295" y="300"/>
                </a:lnTo>
                <a:lnTo>
                  <a:pt x="291" y="311"/>
                </a:lnTo>
                <a:lnTo>
                  <a:pt x="290" y="322"/>
                </a:lnTo>
                <a:lnTo>
                  <a:pt x="290" y="324"/>
                </a:lnTo>
                <a:lnTo>
                  <a:pt x="291" y="327"/>
                </a:lnTo>
                <a:lnTo>
                  <a:pt x="292" y="330"/>
                </a:lnTo>
                <a:lnTo>
                  <a:pt x="294" y="334"/>
                </a:lnTo>
                <a:lnTo>
                  <a:pt x="299" y="347"/>
                </a:lnTo>
                <a:lnTo>
                  <a:pt x="299" y="359"/>
                </a:lnTo>
                <a:lnTo>
                  <a:pt x="293" y="368"/>
                </a:lnTo>
                <a:lnTo>
                  <a:pt x="281" y="372"/>
                </a:lnTo>
                <a:lnTo>
                  <a:pt x="272" y="372"/>
                </a:lnTo>
                <a:lnTo>
                  <a:pt x="264" y="373"/>
                </a:lnTo>
                <a:lnTo>
                  <a:pt x="255" y="373"/>
                </a:lnTo>
                <a:lnTo>
                  <a:pt x="247" y="374"/>
                </a:lnTo>
                <a:lnTo>
                  <a:pt x="241" y="375"/>
                </a:lnTo>
                <a:lnTo>
                  <a:pt x="235" y="375"/>
                </a:lnTo>
                <a:lnTo>
                  <a:pt x="231" y="376"/>
                </a:lnTo>
                <a:lnTo>
                  <a:pt x="230" y="376"/>
                </a:lnTo>
                <a:lnTo>
                  <a:pt x="205" y="359"/>
                </a:lnTo>
                <a:lnTo>
                  <a:pt x="204" y="358"/>
                </a:lnTo>
                <a:lnTo>
                  <a:pt x="200" y="356"/>
                </a:lnTo>
                <a:lnTo>
                  <a:pt x="196" y="354"/>
                </a:lnTo>
                <a:lnTo>
                  <a:pt x="191" y="351"/>
                </a:lnTo>
                <a:lnTo>
                  <a:pt x="184" y="348"/>
                </a:lnTo>
                <a:lnTo>
                  <a:pt x="178" y="346"/>
                </a:lnTo>
                <a:lnTo>
                  <a:pt x="171" y="343"/>
                </a:lnTo>
                <a:lnTo>
                  <a:pt x="164" y="342"/>
                </a:lnTo>
                <a:lnTo>
                  <a:pt x="159" y="342"/>
                </a:lnTo>
                <a:lnTo>
                  <a:pt x="156" y="342"/>
                </a:lnTo>
                <a:lnTo>
                  <a:pt x="153" y="343"/>
                </a:lnTo>
                <a:lnTo>
                  <a:pt x="149" y="346"/>
                </a:lnTo>
                <a:lnTo>
                  <a:pt x="140" y="355"/>
                </a:lnTo>
                <a:lnTo>
                  <a:pt x="134" y="364"/>
                </a:lnTo>
                <a:lnTo>
                  <a:pt x="129" y="372"/>
                </a:lnTo>
                <a:lnTo>
                  <a:pt x="119" y="376"/>
                </a:lnTo>
                <a:lnTo>
                  <a:pt x="116" y="377"/>
                </a:lnTo>
                <a:lnTo>
                  <a:pt x="113" y="378"/>
                </a:lnTo>
                <a:lnTo>
                  <a:pt x="112" y="380"/>
                </a:lnTo>
                <a:lnTo>
                  <a:pt x="111" y="383"/>
                </a:lnTo>
                <a:lnTo>
                  <a:pt x="111" y="384"/>
                </a:lnTo>
                <a:lnTo>
                  <a:pt x="111" y="385"/>
                </a:lnTo>
                <a:lnTo>
                  <a:pt x="111" y="386"/>
                </a:lnTo>
                <a:lnTo>
                  <a:pt x="113" y="392"/>
                </a:lnTo>
                <a:lnTo>
                  <a:pt x="118" y="399"/>
                </a:lnTo>
                <a:lnTo>
                  <a:pt x="124" y="404"/>
                </a:lnTo>
                <a:lnTo>
                  <a:pt x="132" y="410"/>
                </a:lnTo>
                <a:lnTo>
                  <a:pt x="138" y="413"/>
                </a:lnTo>
                <a:lnTo>
                  <a:pt x="146" y="416"/>
                </a:lnTo>
                <a:lnTo>
                  <a:pt x="155" y="419"/>
                </a:lnTo>
                <a:lnTo>
                  <a:pt x="162" y="423"/>
                </a:lnTo>
                <a:lnTo>
                  <a:pt x="169" y="426"/>
                </a:lnTo>
                <a:lnTo>
                  <a:pt x="174" y="430"/>
                </a:lnTo>
                <a:lnTo>
                  <a:pt x="178" y="435"/>
                </a:lnTo>
                <a:lnTo>
                  <a:pt x="179" y="439"/>
                </a:lnTo>
                <a:lnTo>
                  <a:pt x="177" y="448"/>
                </a:lnTo>
                <a:lnTo>
                  <a:pt x="172" y="456"/>
                </a:lnTo>
                <a:lnTo>
                  <a:pt x="168" y="466"/>
                </a:lnTo>
                <a:lnTo>
                  <a:pt x="166" y="477"/>
                </a:lnTo>
                <a:lnTo>
                  <a:pt x="162" y="487"/>
                </a:lnTo>
                <a:lnTo>
                  <a:pt x="156" y="491"/>
                </a:lnTo>
                <a:lnTo>
                  <a:pt x="146" y="492"/>
                </a:lnTo>
                <a:lnTo>
                  <a:pt x="136" y="490"/>
                </a:lnTo>
                <a:lnTo>
                  <a:pt x="127" y="490"/>
                </a:lnTo>
                <a:lnTo>
                  <a:pt x="119" y="498"/>
                </a:lnTo>
                <a:lnTo>
                  <a:pt x="113" y="510"/>
                </a:lnTo>
                <a:lnTo>
                  <a:pt x="111" y="524"/>
                </a:lnTo>
                <a:lnTo>
                  <a:pt x="109" y="544"/>
                </a:lnTo>
                <a:lnTo>
                  <a:pt x="105" y="568"/>
                </a:lnTo>
                <a:lnTo>
                  <a:pt x="100" y="588"/>
                </a:lnTo>
                <a:lnTo>
                  <a:pt x="98" y="597"/>
                </a:lnTo>
                <a:lnTo>
                  <a:pt x="102" y="601"/>
                </a:lnTo>
                <a:lnTo>
                  <a:pt x="109" y="612"/>
                </a:lnTo>
                <a:lnTo>
                  <a:pt x="116" y="627"/>
                </a:lnTo>
                <a:lnTo>
                  <a:pt x="119" y="643"/>
                </a:lnTo>
                <a:lnTo>
                  <a:pt x="118" y="655"/>
                </a:lnTo>
                <a:lnTo>
                  <a:pt x="115" y="663"/>
                </a:lnTo>
                <a:lnTo>
                  <a:pt x="107" y="664"/>
                </a:lnTo>
                <a:lnTo>
                  <a:pt x="94" y="660"/>
                </a:lnTo>
                <a:lnTo>
                  <a:pt x="85" y="656"/>
                </a:lnTo>
                <a:lnTo>
                  <a:pt x="78" y="655"/>
                </a:lnTo>
                <a:lnTo>
                  <a:pt x="69" y="654"/>
                </a:lnTo>
                <a:lnTo>
                  <a:pt x="62" y="654"/>
                </a:lnTo>
                <a:lnTo>
                  <a:pt x="55" y="656"/>
                </a:lnTo>
                <a:lnTo>
                  <a:pt x="49" y="660"/>
                </a:lnTo>
                <a:lnTo>
                  <a:pt x="45" y="665"/>
                </a:lnTo>
                <a:lnTo>
                  <a:pt x="43" y="672"/>
                </a:lnTo>
                <a:lnTo>
                  <a:pt x="40" y="679"/>
                </a:lnTo>
                <a:lnTo>
                  <a:pt x="34" y="687"/>
                </a:lnTo>
                <a:lnTo>
                  <a:pt x="28" y="694"/>
                </a:lnTo>
                <a:lnTo>
                  <a:pt x="20" y="702"/>
                </a:lnTo>
                <a:lnTo>
                  <a:pt x="12" y="710"/>
                </a:lnTo>
                <a:lnTo>
                  <a:pt x="7" y="717"/>
                </a:lnTo>
                <a:lnTo>
                  <a:pt x="3" y="724"/>
                </a:lnTo>
                <a:lnTo>
                  <a:pt x="0" y="730"/>
                </a:lnTo>
                <a:lnTo>
                  <a:pt x="1" y="736"/>
                </a:lnTo>
                <a:lnTo>
                  <a:pt x="3" y="740"/>
                </a:lnTo>
                <a:lnTo>
                  <a:pt x="6" y="742"/>
                </a:lnTo>
                <a:lnTo>
                  <a:pt x="9" y="742"/>
                </a:lnTo>
                <a:lnTo>
                  <a:pt x="15" y="742"/>
                </a:lnTo>
                <a:lnTo>
                  <a:pt x="20" y="742"/>
                </a:lnTo>
                <a:lnTo>
                  <a:pt x="26" y="740"/>
                </a:lnTo>
                <a:lnTo>
                  <a:pt x="34" y="739"/>
                </a:lnTo>
                <a:lnTo>
                  <a:pt x="42" y="738"/>
                </a:lnTo>
                <a:lnTo>
                  <a:pt x="49" y="739"/>
                </a:lnTo>
                <a:lnTo>
                  <a:pt x="57" y="740"/>
                </a:lnTo>
                <a:lnTo>
                  <a:pt x="62" y="743"/>
                </a:lnTo>
                <a:lnTo>
                  <a:pt x="67" y="747"/>
                </a:lnTo>
                <a:lnTo>
                  <a:pt x="70" y="751"/>
                </a:lnTo>
                <a:lnTo>
                  <a:pt x="70" y="756"/>
                </a:lnTo>
                <a:lnTo>
                  <a:pt x="69" y="761"/>
                </a:lnTo>
                <a:lnTo>
                  <a:pt x="67" y="775"/>
                </a:lnTo>
                <a:lnTo>
                  <a:pt x="72" y="794"/>
                </a:lnTo>
                <a:lnTo>
                  <a:pt x="78" y="812"/>
                </a:lnTo>
                <a:lnTo>
                  <a:pt x="81" y="819"/>
                </a:lnTo>
                <a:lnTo>
                  <a:pt x="82" y="824"/>
                </a:lnTo>
                <a:lnTo>
                  <a:pt x="85" y="833"/>
                </a:lnTo>
                <a:lnTo>
                  <a:pt x="90" y="845"/>
                </a:lnTo>
                <a:lnTo>
                  <a:pt x="98" y="854"/>
                </a:lnTo>
                <a:lnTo>
                  <a:pt x="103" y="858"/>
                </a:lnTo>
                <a:lnTo>
                  <a:pt x="106" y="866"/>
                </a:lnTo>
                <a:lnTo>
                  <a:pt x="109" y="875"/>
                </a:lnTo>
                <a:lnTo>
                  <a:pt x="113" y="885"/>
                </a:lnTo>
                <a:lnTo>
                  <a:pt x="118" y="894"/>
                </a:lnTo>
                <a:lnTo>
                  <a:pt x="123" y="903"/>
                </a:lnTo>
                <a:lnTo>
                  <a:pt x="131" y="912"/>
                </a:lnTo>
                <a:lnTo>
                  <a:pt x="141" y="917"/>
                </a:lnTo>
                <a:lnTo>
                  <a:pt x="150" y="923"/>
                </a:lnTo>
                <a:lnTo>
                  <a:pt x="159" y="929"/>
                </a:lnTo>
                <a:lnTo>
                  <a:pt x="166" y="935"/>
                </a:lnTo>
                <a:lnTo>
                  <a:pt x="172" y="941"/>
                </a:lnTo>
                <a:lnTo>
                  <a:pt x="178" y="946"/>
                </a:lnTo>
                <a:lnTo>
                  <a:pt x="184" y="951"/>
                </a:lnTo>
                <a:lnTo>
                  <a:pt x="192" y="954"/>
                </a:lnTo>
                <a:lnTo>
                  <a:pt x="200" y="955"/>
                </a:lnTo>
                <a:lnTo>
                  <a:pt x="208" y="956"/>
                </a:lnTo>
                <a:lnTo>
                  <a:pt x="214" y="961"/>
                </a:lnTo>
                <a:lnTo>
                  <a:pt x="218" y="967"/>
                </a:lnTo>
                <a:lnTo>
                  <a:pt x="220" y="975"/>
                </a:lnTo>
                <a:lnTo>
                  <a:pt x="222" y="985"/>
                </a:lnTo>
                <a:lnTo>
                  <a:pt x="226" y="993"/>
                </a:lnTo>
                <a:lnTo>
                  <a:pt x="229" y="1002"/>
                </a:lnTo>
                <a:lnTo>
                  <a:pt x="234" y="1011"/>
                </a:lnTo>
                <a:lnTo>
                  <a:pt x="241" y="1018"/>
                </a:lnTo>
                <a:lnTo>
                  <a:pt x="247" y="1024"/>
                </a:lnTo>
                <a:lnTo>
                  <a:pt x="254" y="1028"/>
                </a:lnTo>
                <a:lnTo>
                  <a:pt x="261" y="1030"/>
                </a:lnTo>
                <a:lnTo>
                  <a:pt x="268" y="1033"/>
                </a:lnTo>
                <a:lnTo>
                  <a:pt x="274" y="1036"/>
                </a:lnTo>
                <a:lnTo>
                  <a:pt x="280" y="1038"/>
                </a:lnTo>
                <a:lnTo>
                  <a:pt x="285" y="1041"/>
                </a:lnTo>
                <a:lnTo>
                  <a:pt x="290" y="1045"/>
                </a:lnTo>
                <a:lnTo>
                  <a:pt x="295" y="1051"/>
                </a:lnTo>
                <a:lnTo>
                  <a:pt x="301" y="1058"/>
                </a:lnTo>
                <a:lnTo>
                  <a:pt x="307" y="1068"/>
                </a:lnTo>
                <a:lnTo>
                  <a:pt x="314" y="1079"/>
                </a:lnTo>
                <a:lnTo>
                  <a:pt x="321" y="1092"/>
                </a:lnTo>
                <a:lnTo>
                  <a:pt x="329" y="1106"/>
                </a:lnTo>
                <a:lnTo>
                  <a:pt x="336" y="1121"/>
                </a:lnTo>
                <a:lnTo>
                  <a:pt x="344" y="1134"/>
                </a:lnTo>
                <a:lnTo>
                  <a:pt x="353" y="1144"/>
                </a:lnTo>
                <a:lnTo>
                  <a:pt x="363" y="1149"/>
                </a:lnTo>
                <a:lnTo>
                  <a:pt x="371" y="1152"/>
                </a:lnTo>
                <a:lnTo>
                  <a:pt x="380" y="1152"/>
                </a:lnTo>
                <a:lnTo>
                  <a:pt x="389" y="1151"/>
                </a:lnTo>
                <a:lnTo>
                  <a:pt x="397" y="1149"/>
                </a:lnTo>
                <a:lnTo>
                  <a:pt x="404" y="1146"/>
                </a:lnTo>
                <a:lnTo>
                  <a:pt x="410" y="1148"/>
                </a:lnTo>
                <a:lnTo>
                  <a:pt x="419" y="1152"/>
                </a:lnTo>
                <a:lnTo>
                  <a:pt x="428" y="1158"/>
                </a:lnTo>
                <a:lnTo>
                  <a:pt x="437" y="1167"/>
                </a:lnTo>
                <a:lnTo>
                  <a:pt x="446" y="1178"/>
                </a:lnTo>
                <a:lnTo>
                  <a:pt x="456" y="1187"/>
                </a:lnTo>
                <a:lnTo>
                  <a:pt x="466" y="1195"/>
                </a:lnTo>
                <a:lnTo>
                  <a:pt x="476" y="1202"/>
                </a:lnTo>
                <a:lnTo>
                  <a:pt x="485" y="1206"/>
                </a:lnTo>
                <a:lnTo>
                  <a:pt x="495" y="1211"/>
                </a:lnTo>
                <a:lnTo>
                  <a:pt x="506" y="1213"/>
                </a:lnTo>
                <a:lnTo>
                  <a:pt x="516" y="1215"/>
                </a:lnTo>
                <a:lnTo>
                  <a:pt x="525" y="1217"/>
                </a:lnTo>
                <a:lnTo>
                  <a:pt x="533" y="1218"/>
                </a:lnTo>
                <a:lnTo>
                  <a:pt x="542" y="1219"/>
                </a:lnTo>
                <a:lnTo>
                  <a:pt x="549" y="1219"/>
                </a:lnTo>
                <a:lnTo>
                  <a:pt x="556" y="1219"/>
                </a:lnTo>
                <a:lnTo>
                  <a:pt x="566" y="1220"/>
                </a:lnTo>
                <a:lnTo>
                  <a:pt x="577" y="1221"/>
                </a:lnTo>
                <a:lnTo>
                  <a:pt x="590" y="1223"/>
                </a:lnTo>
                <a:lnTo>
                  <a:pt x="602" y="1225"/>
                </a:lnTo>
                <a:lnTo>
                  <a:pt x="615" y="1228"/>
                </a:lnTo>
                <a:lnTo>
                  <a:pt x="627" y="1231"/>
                </a:lnTo>
                <a:lnTo>
                  <a:pt x="638" y="1236"/>
                </a:lnTo>
                <a:lnTo>
                  <a:pt x="648" y="1239"/>
                </a:lnTo>
                <a:lnTo>
                  <a:pt x="656" y="1241"/>
                </a:lnTo>
                <a:lnTo>
                  <a:pt x="666" y="1241"/>
                </a:lnTo>
                <a:lnTo>
                  <a:pt x="676" y="1239"/>
                </a:lnTo>
                <a:lnTo>
                  <a:pt x="685" y="1237"/>
                </a:lnTo>
                <a:lnTo>
                  <a:pt x="693" y="1233"/>
                </a:lnTo>
                <a:lnTo>
                  <a:pt x="702" y="1230"/>
                </a:lnTo>
                <a:lnTo>
                  <a:pt x="710" y="1227"/>
                </a:lnTo>
                <a:lnTo>
                  <a:pt x="717" y="1224"/>
                </a:lnTo>
                <a:lnTo>
                  <a:pt x="723" y="1220"/>
                </a:lnTo>
                <a:lnTo>
                  <a:pt x="727" y="1216"/>
                </a:lnTo>
                <a:lnTo>
                  <a:pt x="730" y="1212"/>
                </a:lnTo>
                <a:lnTo>
                  <a:pt x="735" y="1207"/>
                </a:lnTo>
                <a:lnTo>
                  <a:pt x="738" y="1203"/>
                </a:lnTo>
                <a:lnTo>
                  <a:pt x="742" y="1198"/>
                </a:lnTo>
                <a:lnTo>
                  <a:pt x="748" y="1193"/>
                </a:lnTo>
                <a:lnTo>
                  <a:pt x="753" y="1189"/>
                </a:lnTo>
                <a:lnTo>
                  <a:pt x="758" y="1184"/>
                </a:lnTo>
                <a:lnTo>
                  <a:pt x="763" y="1182"/>
                </a:lnTo>
                <a:lnTo>
                  <a:pt x="766" y="1180"/>
                </a:lnTo>
                <a:lnTo>
                  <a:pt x="772" y="1179"/>
                </a:lnTo>
                <a:lnTo>
                  <a:pt x="777" y="1178"/>
                </a:lnTo>
                <a:lnTo>
                  <a:pt x="785" y="1179"/>
                </a:lnTo>
                <a:lnTo>
                  <a:pt x="794" y="1180"/>
                </a:lnTo>
                <a:lnTo>
                  <a:pt x="807" y="1180"/>
                </a:lnTo>
                <a:lnTo>
                  <a:pt x="822" y="1178"/>
                </a:lnTo>
                <a:lnTo>
                  <a:pt x="837" y="1173"/>
                </a:lnTo>
                <a:lnTo>
                  <a:pt x="852" y="1166"/>
                </a:lnTo>
                <a:lnTo>
                  <a:pt x="866" y="1158"/>
                </a:lnTo>
                <a:lnTo>
                  <a:pt x="878" y="1151"/>
                </a:lnTo>
                <a:lnTo>
                  <a:pt x="889" y="1142"/>
                </a:lnTo>
                <a:lnTo>
                  <a:pt x="896" y="1133"/>
                </a:lnTo>
                <a:lnTo>
                  <a:pt x="899" y="1133"/>
                </a:lnTo>
                <a:lnTo>
                  <a:pt x="907" y="1133"/>
                </a:lnTo>
                <a:lnTo>
                  <a:pt x="921" y="1133"/>
                </a:lnTo>
                <a:lnTo>
                  <a:pt x="936" y="1131"/>
                </a:lnTo>
                <a:lnTo>
                  <a:pt x="953" y="1128"/>
                </a:lnTo>
                <a:lnTo>
                  <a:pt x="971" y="1123"/>
                </a:lnTo>
                <a:lnTo>
                  <a:pt x="988" y="1115"/>
                </a:lnTo>
                <a:lnTo>
                  <a:pt x="1002" y="1104"/>
                </a:lnTo>
                <a:lnTo>
                  <a:pt x="1014" y="1092"/>
                </a:lnTo>
                <a:lnTo>
                  <a:pt x="1025" y="1081"/>
                </a:lnTo>
                <a:lnTo>
                  <a:pt x="1036" y="1073"/>
                </a:lnTo>
                <a:lnTo>
                  <a:pt x="1046" y="1066"/>
                </a:lnTo>
                <a:lnTo>
                  <a:pt x="1054" y="1063"/>
                </a:lnTo>
                <a:lnTo>
                  <a:pt x="1064" y="1062"/>
                </a:lnTo>
                <a:lnTo>
                  <a:pt x="1073" y="1064"/>
                </a:lnTo>
                <a:lnTo>
                  <a:pt x="1083" y="1070"/>
                </a:lnTo>
                <a:lnTo>
                  <a:pt x="1092" y="1075"/>
                </a:lnTo>
                <a:lnTo>
                  <a:pt x="1101" y="1075"/>
                </a:lnTo>
                <a:lnTo>
                  <a:pt x="1111" y="1070"/>
                </a:lnTo>
                <a:lnTo>
                  <a:pt x="1122" y="1065"/>
                </a:lnTo>
                <a:lnTo>
                  <a:pt x="1132" y="1058"/>
                </a:lnTo>
                <a:lnTo>
                  <a:pt x="1141" y="1054"/>
                </a:lnTo>
                <a:lnTo>
                  <a:pt x="1152" y="1051"/>
                </a:lnTo>
                <a:lnTo>
                  <a:pt x="1163" y="1053"/>
                </a:lnTo>
                <a:lnTo>
                  <a:pt x="1174" y="1057"/>
                </a:lnTo>
                <a:lnTo>
                  <a:pt x="1187" y="1061"/>
                </a:lnTo>
                <a:lnTo>
                  <a:pt x="1199" y="1064"/>
                </a:lnTo>
                <a:lnTo>
                  <a:pt x="1212" y="1065"/>
                </a:lnTo>
                <a:lnTo>
                  <a:pt x="1224" y="1066"/>
                </a:lnTo>
                <a:lnTo>
                  <a:pt x="1237" y="1066"/>
                </a:lnTo>
                <a:lnTo>
                  <a:pt x="1249" y="1064"/>
                </a:lnTo>
                <a:lnTo>
                  <a:pt x="1261" y="1062"/>
                </a:lnTo>
                <a:lnTo>
                  <a:pt x="1271" y="1058"/>
                </a:lnTo>
                <a:lnTo>
                  <a:pt x="1281" y="1055"/>
                </a:lnTo>
                <a:lnTo>
                  <a:pt x="1288" y="1053"/>
                </a:lnTo>
                <a:lnTo>
                  <a:pt x="1296" y="1051"/>
                </a:lnTo>
                <a:lnTo>
                  <a:pt x="1301" y="1051"/>
                </a:lnTo>
                <a:lnTo>
                  <a:pt x="1308" y="1051"/>
                </a:lnTo>
                <a:lnTo>
                  <a:pt x="1313" y="1053"/>
                </a:lnTo>
                <a:lnTo>
                  <a:pt x="1320" y="1057"/>
                </a:lnTo>
                <a:lnTo>
                  <a:pt x="1327" y="1062"/>
                </a:lnTo>
                <a:lnTo>
                  <a:pt x="1335" y="1065"/>
                </a:lnTo>
                <a:lnTo>
                  <a:pt x="1344" y="1067"/>
                </a:lnTo>
                <a:lnTo>
                  <a:pt x="1353" y="1068"/>
                </a:lnTo>
                <a:lnTo>
                  <a:pt x="1361" y="1067"/>
                </a:lnTo>
                <a:lnTo>
                  <a:pt x="1369" y="1065"/>
                </a:lnTo>
                <a:lnTo>
                  <a:pt x="1375" y="1060"/>
                </a:lnTo>
                <a:lnTo>
                  <a:pt x="1380" y="1053"/>
                </a:lnTo>
                <a:lnTo>
                  <a:pt x="1383" y="1045"/>
                </a:lnTo>
                <a:lnTo>
                  <a:pt x="1386" y="1037"/>
                </a:lnTo>
                <a:lnTo>
                  <a:pt x="1389" y="1029"/>
                </a:lnTo>
                <a:lnTo>
                  <a:pt x="1394" y="1023"/>
                </a:lnTo>
                <a:lnTo>
                  <a:pt x="1399" y="1018"/>
                </a:lnTo>
                <a:lnTo>
                  <a:pt x="1406" y="1014"/>
                </a:lnTo>
                <a:lnTo>
                  <a:pt x="1415" y="1013"/>
                </a:lnTo>
                <a:lnTo>
                  <a:pt x="1426" y="1015"/>
                </a:lnTo>
                <a:lnTo>
                  <a:pt x="1439" y="1017"/>
                </a:lnTo>
                <a:lnTo>
                  <a:pt x="1454" y="1017"/>
                </a:lnTo>
                <a:lnTo>
                  <a:pt x="1467" y="1016"/>
                </a:lnTo>
                <a:lnTo>
                  <a:pt x="1481" y="1012"/>
                </a:lnTo>
                <a:lnTo>
                  <a:pt x="1493" y="1006"/>
                </a:lnTo>
                <a:lnTo>
                  <a:pt x="1502" y="999"/>
                </a:lnTo>
                <a:lnTo>
                  <a:pt x="1510" y="989"/>
                </a:lnTo>
                <a:lnTo>
                  <a:pt x="1516" y="977"/>
                </a:lnTo>
                <a:lnTo>
                  <a:pt x="1519" y="967"/>
                </a:lnTo>
                <a:lnTo>
                  <a:pt x="1524" y="958"/>
                </a:lnTo>
                <a:lnTo>
                  <a:pt x="1531" y="952"/>
                </a:lnTo>
                <a:lnTo>
                  <a:pt x="1536" y="946"/>
                </a:lnTo>
                <a:lnTo>
                  <a:pt x="1543" y="940"/>
                </a:lnTo>
                <a:lnTo>
                  <a:pt x="1547" y="935"/>
                </a:lnTo>
                <a:lnTo>
                  <a:pt x="1551" y="927"/>
                </a:lnTo>
                <a:lnTo>
                  <a:pt x="1552" y="919"/>
                </a:lnTo>
                <a:lnTo>
                  <a:pt x="1552" y="916"/>
                </a:lnTo>
                <a:lnTo>
                  <a:pt x="1551" y="913"/>
                </a:lnTo>
                <a:lnTo>
                  <a:pt x="1550" y="910"/>
                </a:lnTo>
                <a:lnTo>
                  <a:pt x="1549" y="905"/>
                </a:lnTo>
                <a:lnTo>
                  <a:pt x="1549" y="898"/>
                </a:lnTo>
                <a:lnTo>
                  <a:pt x="1551" y="882"/>
                </a:lnTo>
                <a:lnTo>
                  <a:pt x="1557" y="867"/>
                </a:lnTo>
                <a:lnTo>
                  <a:pt x="1567" y="863"/>
                </a:lnTo>
                <a:lnTo>
                  <a:pt x="1573" y="863"/>
                </a:lnTo>
                <a:lnTo>
                  <a:pt x="1579" y="860"/>
                </a:lnTo>
                <a:lnTo>
                  <a:pt x="1584" y="854"/>
                </a:lnTo>
                <a:lnTo>
                  <a:pt x="1589" y="849"/>
                </a:lnTo>
                <a:lnTo>
                  <a:pt x="1594" y="843"/>
                </a:lnTo>
                <a:lnTo>
                  <a:pt x="1597" y="838"/>
                </a:lnTo>
                <a:lnTo>
                  <a:pt x="1599" y="833"/>
                </a:lnTo>
                <a:lnTo>
                  <a:pt x="1600" y="832"/>
                </a:lnTo>
                <a:lnTo>
                  <a:pt x="1603" y="829"/>
                </a:lnTo>
                <a:lnTo>
                  <a:pt x="1609" y="819"/>
                </a:lnTo>
                <a:lnTo>
                  <a:pt x="1613" y="807"/>
                </a:lnTo>
                <a:lnTo>
                  <a:pt x="1613" y="794"/>
                </a:lnTo>
                <a:lnTo>
                  <a:pt x="1614" y="780"/>
                </a:lnTo>
                <a:lnTo>
                  <a:pt x="1623" y="765"/>
                </a:lnTo>
                <a:lnTo>
                  <a:pt x="1632" y="749"/>
                </a:lnTo>
                <a:lnTo>
                  <a:pt x="1638" y="730"/>
                </a:lnTo>
                <a:lnTo>
                  <a:pt x="1643" y="716"/>
                </a:lnTo>
                <a:lnTo>
                  <a:pt x="1649" y="707"/>
                </a:lnTo>
                <a:lnTo>
                  <a:pt x="1656" y="699"/>
                </a:lnTo>
                <a:lnTo>
                  <a:pt x="1660" y="685"/>
                </a:lnTo>
                <a:lnTo>
                  <a:pt x="1662" y="676"/>
                </a:lnTo>
                <a:lnTo>
                  <a:pt x="1667" y="667"/>
                </a:lnTo>
                <a:lnTo>
                  <a:pt x="1672" y="660"/>
                </a:lnTo>
                <a:lnTo>
                  <a:pt x="1678" y="652"/>
                </a:lnTo>
                <a:lnTo>
                  <a:pt x="1683" y="644"/>
                </a:lnTo>
                <a:lnTo>
                  <a:pt x="1690" y="637"/>
                </a:lnTo>
                <a:lnTo>
                  <a:pt x="1694" y="629"/>
                </a:lnTo>
                <a:lnTo>
                  <a:pt x="1698" y="622"/>
                </a:lnTo>
                <a:lnTo>
                  <a:pt x="1705" y="605"/>
                </a:lnTo>
                <a:lnTo>
                  <a:pt x="1712" y="588"/>
                </a:lnTo>
                <a:lnTo>
                  <a:pt x="1719" y="571"/>
                </a:lnTo>
                <a:lnTo>
                  <a:pt x="1723" y="554"/>
                </a:lnTo>
                <a:lnTo>
                  <a:pt x="1727" y="547"/>
                </a:lnTo>
                <a:lnTo>
                  <a:pt x="1732" y="539"/>
                </a:lnTo>
                <a:lnTo>
                  <a:pt x="1738" y="531"/>
                </a:lnTo>
                <a:lnTo>
                  <a:pt x="1745" y="524"/>
                </a:lnTo>
                <a:lnTo>
                  <a:pt x="1752" y="516"/>
                </a:lnTo>
                <a:lnTo>
                  <a:pt x="1757" y="507"/>
                </a:lnTo>
                <a:lnTo>
                  <a:pt x="1759" y="499"/>
                </a:lnTo>
                <a:lnTo>
                  <a:pt x="1758" y="490"/>
                </a:lnTo>
                <a:lnTo>
                  <a:pt x="1756" y="480"/>
                </a:lnTo>
                <a:lnTo>
                  <a:pt x="1756" y="471"/>
                </a:lnTo>
                <a:lnTo>
                  <a:pt x="1758" y="462"/>
                </a:lnTo>
                <a:lnTo>
                  <a:pt x="1762" y="453"/>
                </a:lnTo>
                <a:lnTo>
                  <a:pt x="1768" y="446"/>
                </a:lnTo>
                <a:lnTo>
                  <a:pt x="1774" y="440"/>
                </a:lnTo>
                <a:lnTo>
                  <a:pt x="1782" y="436"/>
                </a:lnTo>
                <a:lnTo>
                  <a:pt x="1792" y="435"/>
                </a:lnTo>
                <a:lnTo>
                  <a:pt x="1799" y="432"/>
                </a:lnTo>
                <a:lnTo>
                  <a:pt x="1805" y="427"/>
                </a:lnTo>
                <a:lnTo>
                  <a:pt x="1809" y="418"/>
                </a:lnTo>
                <a:lnTo>
                  <a:pt x="1811" y="409"/>
                </a:lnTo>
                <a:lnTo>
                  <a:pt x="1814" y="398"/>
                </a:lnTo>
                <a:lnTo>
                  <a:pt x="1817" y="388"/>
                </a:lnTo>
                <a:lnTo>
                  <a:pt x="1820" y="380"/>
                </a:lnTo>
                <a:lnTo>
                  <a:pt x="1825" y="376"/>
                </a:lnTo>
                <a:lnTo>
                  <a:pt x="1832" y="373"/>
                </a:lnTo>
                <a:lnTo>
                  <a:pt x="1840" y="368"/>
                </a:lnTo>
                <a:lnTo>
                  <a:pt x="1846" y="364"/>
                </a:lnTo>
                <a:lnTo>
                  <a:pt x="1854" y="360"/>
                </a:lnTo>
                <a:lnTo>
                  <a:pt x="1859" y="355"/>
                </a:lnTo>
                <a:lnTo>
                  <a:pt x="1864" y="353"/>
                </a:lnTo>
                <a:lnTo>
                  <a:pt x="1867" y="351"/>
                </a:lnTo>
                <a:lnTo>
                  <a:pt x="1868" y="350"/>
                </a:lnTo>
                <a:lnTo>
                  <a:pt x="1870" y="350"/>
                </a:lnTo>
                <a:lnTo>
                  <a:pt x="1877" y="352"/>
                </a:lnTo>
                <a:lnTo>
                  <a:pt x="1886" y="353"/>
                </a:lnTo>
                <a:lnTo>
                  <a:pt x="1897" y="354"/>
                </a:lnTo>
                <a:lnTo>
                  <a:pt x="1908" y="355"/>
                </a:lnTo>
                <a:lnTo>
                  <a:pt x="1918" y="355"/>
                </a:lnTo>
                <a:lnTo>
                  <a:pt x="1927" y="353"/>
                </a:lnTo>
                <a:lnTo>
                  <a:pt x="1932" y="350"/>
                </a:lnTo>
                <a:lnTo>
                  <a:pt x="1936" y="343"/>
                </a:lnTo>
                <a:lnTo>
                  <a:pt x="1943" y="336"/>
                </a:lnTo>
                <a:lnTo>
                  <a:pt x="1952" y="326"/>
                </a:lnTo>
                <a:lnTo>
                  <a:pt x="1961" y="315"/>
                </a:lnTo>
                <a:lnTo>
                  <a:pt x="1971" y="304"/>
                </a:lnTo>
                <a:lnTo>
                  <a:pt x="1980" y="294"/>
                </a:lnTo>
                <a:lnTo>
                  <a:pt x="1986" y="286"/>
                </a:lnTo>
                <a:lnTo>
                  <a:pt x="1991" y="278"/>
                </a:lnTo>
                <a:lnTo>
                  <a:pt x="1992" y="276"/>
                </a:lnTo>
                <a:lnTo>
                  <a:pt x="1993" y="273"/>
                </a:lnTo>
                <a:lnTo>
                  <a:pt x="1993" y="271"/>
                </a:lnTo>
                <a:lnTo>
                  <a:pt x="1993" y="267"/>
                </a:lnTo>
                <a:lnTo>
                  <a:pt x="1993" y="265"/>
                </a:lnTo>
                <a:lnTo>
                  <a:pt x="1993" y="263"/>
                </a:lnTo>
                <a:lnTo>
                  <a:pt x="1993" y="262"/>
                </a:lnTo>
                <a:lnTo>
                  <a:pt x="1993" y="260"/>
                </a:lnTo>
                <a:lnTo>
                  <a:pt x="1990" y="236"/>
                </a:lnTo>
                <a:lnTo>
                  <a:pt x="1983" y="211"/>
                </a:lnTo>
                <a:lnTo>
                  <a:pt x="1973" y="192"/>
                </a:lnTo>
                <a:lnTo>
                  <a:pt x="1961" y="185"/>
                </a:lnTo>
                <a:lnTo>
                  <a:pt x="1954" y="186"/>
                </a:lnTo>
                <a:lnTo>
                  <a:pt x="1947" y="187"/>
                </a:lnTo>
                <a:lnTo>
                  <a:pt x="1941" y="189"/>
                </a:lnTo>
                <a:lnTo>
                  <a:pt x="1935" y="191"/>
                </a:lnTo>
                <a:lnTo>
                  <a:pt x="1930" y="193"/>
                </a:lnTo>
                <a:lnTo>
                  <a:pt x="1924" y="196"/>
                </a:lnTo>
                <a:lnTo>
                  <a:pt x="1919" y="197"/>
                </a:lnTo>
                <a:lnTo>
                  <a:pt x="1915" y="198"/>
                </a:lnTo>
                <a:lnTo>
                  <a:pt x="1907" y="192"/>
                </a:lnTo>
                <a:lnTo>
                  <a:pt x="1904" y="179"/>
                </a:lnTo>
                <a:lnTo>
                  <a:pt x="1898" y="163"/>
                </a:lnTo>
                <a:lnTo>
                  <a:pt x="1890" y="151"/>
                </a:lnTo>
                <a:lnTo>
                  <a:pt x="1883" y="147"/>
                </a:lnTo>
                <a:lnTo>
                  <a:pt x="1878" y="143"/>
                </a:lnTo>
                <a:lnTo>
                  <a:pt x="1871" y="142"/>
                </a:lnTo>
                <a:lnTo>
                  <a:pt x="1866" y="140"/>
                </a:lnTo>
                <a:lnTo>
                  <a:pt x="1860" y="138"/>
                </a:lnTo>
                <a:lnTo>
                  <a:pt x="1855" y="136"/>
                </a:lnTo>
                <a:lnTo>
                  <a:pt x="1848" y="134"/>
                </a:lnTo>
                <a:lnTo>
                  <a:pt x="1843" y="129"/>
                </a:lnTo>
                <a:lnTo>
                  <a:pt x="1837" y="123"/>
                </a:lnTo>
                <a:lnTo>
                  <a:pt x="1831" y="115"/>
                </a:lnTo>
                <a:lnTo>
                  <a:pt x="1825" y="105"/>
                </a:lnTo>
                <a:lnTo>
                  <a:pt x="1819" y="95"/>
                </a:lnTo>
                <a:lnTo>
                  <a:pt x="1811" y="86"/>
                </a:lnTo>
                <a:lnTo>
                  <a:pt x="1803" y="77"/>
                </a:lnTo>
                <a:lnTo>
                  <a:pt x="1793" y="72"/>
                </a:lnTo>
                <a:lnTo>
                  <a:pt x="1782" y="70"/>
                </a:lnTo>
                <a:lnTo>
                  <a:pt x="1780" y="70"/>
                </a:lnTo>
                <a:lnTo>
                  <a:pt x="1779" y="70"/>
                </a:lnTo>
                <a:lnTo>
                  <a:pt x="1777" y="70"/>
                </a:lnTo>
                <a:lnTo>
                  <a:pt x="1774" y="70"/>
                </a:lnTo>
                <a:lnTo>
                  <a:pt x="1760" y="72"/>
                </a:lnTo>
                <a:lnTo>
                  <a:pt x="1747" y="74"/>
                </a:lnTo>
                <a:lnTo>
                  <a:pt x="1735" y="75"/>
                </a:lnTo>
                <a:lnTo>
                  <a:pt x="1723" y="76"/>
                </a:lnTo>
                <a:lnTo>
                  <a:pt x="1712" y="78"/>
                </a:lnTo>
                <a:lnTo>
                  <a:pt x="1702" y="80"/>
                </a:lnTo>
                <a:lnTo>
                  <a:pt x="1691" y="83"/>
                </a:lnTo>
                <a:lnTo>
                  <a:pt x="1681" y="87"/>
                </a:lnTo>
                <a:lnTo>
                  <a:pt x="1672" y="90"/>
                </a:lnTo>
                <a:lnTo>
                  <a:pt x="1665" y="92"/>
                </a:lnTo>
                <a:lnTo>
                  <a:pt x="1658" y="91"/>
                </a:lnTo>
                <a:lnTo>
                  <a:pt x="1651" y="89"/>
                </a:lnTo>
                <a:lnTo>
                  <a:pt x="1647" y="86"/>
                </a:lnTo>
                <a:lnTo>
                  <a:pt x="1644" y="82"/>
                </a:lnTo>
                <a:lnTo>
                  <a:pt x="1641" y="76"/>
                </a:lnTo>
                <a:lnTo>
                  <a:pt x="1638" y="70"/>
                </a:lnTo>
                <a:lnTo>
                  <a:pt x="1636" y="63"/>
                </a:lnTo>
                <a:lnTo>
                  <a:pt x="1633" y="58"/>
                </a:lnTo>
                <a:lnTo>
                  <a:pt x="1629" y="51"/>
                </a:lnTo>
                <a:lnTo>
                  <a:pt x="1624" y="45"/>
                </a:lnTo>
                <a:lnTo>
                  <a:pt x="1619" y="39"/>
                </a:lnTo>
                <a:lnTo>
                  <a:pt x="1613" y="34"/>
                </a:lnTo>
                <a:lnTo>
                  <a:pt x="1607" y="28"/>
                </a:lnTo>
                <a:lnTo>
                  <a:pt x="1600" y="23"/>
                </a:lnTo>
                <a:lnTo>
                  <a:pt x="1596" y="20"/>
                </a:lnTo>
                <a:lnTo>
                  <a:pt x="1591" y="15"/>
                </a:lnTo>
                <a:lnTo>
                  <a:pt x="1586" y="12"/>
                </a:lnTo>
                <a:lnTo>
                  <a:pt x="1581" y="9"/>
                </a:lnTo>
                <a:lnTo>
                  <a:pt x="1575" y="5"/>
                </a:lnTo>
                <a:lnTo>
                  <a:pt x="1570" y="3"/>
                </a:lnTo>
                <a:lnTo>
                  <a:pt x="1564" y="1"/>
                </a:lnTo>
                <a:lnTo>
                  <a:pt x="1558" y="0"/>
                </a:lnTo>
                <a:lnTo>
                  <a:pt x="1557" y="0"/>
                </a:lnTo>
                <a:lnTo>
                  <a:pt x="1556" y="0"/>
                </a:lnTo>
                <a:lnTo>
                  <a:pt x="1551" y="0"/>
                </a:lnTo>
                <a:lnTo>
                  <a:pt x="1546" y="1"/>
                </a:lnTo>
                <a:lnTo>
                  <a:pt x="1542" y="3"/>
                </a:lnTo>
                <a:lnTo>
                  <a:pt x="1536" y="7"/>
                </a:lnTo>
                <a:lnTo>
                  <a:pt x="1526" y="13"/>
                </a:lnTo>
                <a:lnTo>
                  <a:pt x="1517" y="20"/>
                </a:lnTo>
                <a:lnTo>
                  <a:pt x="1506" y="25"/>
                </a:lnTo>
                <a:lnTo>
                  <a:pt x="1495" y="29"/>
                </a:lnTo>
                <a:lnTo>
                  <a:pt x="1483" y="33"/>
                </a:lnTo>
                <a:lnTo>
                  <a:pt x="1471" y="34"/>
                </a:lnTo>
                <a:lnTo>
                  <a:pt x="1458" y="32"/>
                </a:lnTo>
                <a:lnTo>
                  <a:pt x="1444" y="27"/>
                </a:lnTo>
                <a:lnTo>
                  <a:pt x="1433" y="23"/>
                </a:lnTo>
                <a:lnTo>
                  <a:pt x="1424" y="18"/>
                </a:lnTo>
                <a:lnTo>
                  <a:pt x="1415" y="14"/>
                </a:lnTo>
                <a:lnTo>
                  <a:pt x="1408" y="10"/>
                </a:lnTo>
                <a:lnTo>
                  <a:pt x="1400" y="7"/>
                </a:lnTo>
                <a:lnTo>
                  <a:pt x="1393" y="4"/>
                </a:lnTo>
                <a:lnTo>
                  <a:pt x="1385" y="3"/>
                </a:lnTo>
                <a:lnTo>
                  <a:pt x="1377" y="2"/>
                </a:lnTo>
                <a:lnTo>
                  <a:pt x="1372" y="2"/>
                </a:lnTo>
                <a:lnTo>
                  <a:pt x="1366" y="3"/>
                </a:lnTo>
                <a:lnTo>
                  <a:pt x="1360" y="4"/>
                </a:lnTo>
                <a:lnTo>
                  <a:pt x="1355" y="7"/>
                </a:lnTo>
                <a:lnTo>
                  <a:pt x="1341" y="11"/>
                </a:lnTo>
                <a:lnTo>
                  <a:pt x="1331" y="13"/>
                </a:lnTo>
                <a:lnTo>
                  <a:pt x="1321" y="15"/>
                </a:lnTo>
                <a:lnTo>
                  <a:pt x="1312" y="16"/>
                </a:lnTo>
                <a:lnTo>
                  <a:pt x="1304" y="18"/>
                </a:lnTo>
                <a:lnTo>
                  <a:pt x="1299" y="21"/>
                </a:lnTo>
                <a:lnTo>
                  <a:pt x="1296" y="25"/>
                </a:lnTo>
                <a:lnTo>
                  <a:pt x="1295" y="32"/>
                </a:lnTo>
                <a:lnTo>
                  <a:pt x="1291" y="47"/>
                </a:lnTo>
                <a:lnTo>
                  <a:pt x="1285" y="59"/>
                </a:lnTo>
                <a:lnTo>
                  <a:pt x="1275" y="66"/>
                </a:lnTo>
                <a:lnTo>
                  <a:pt x="1265" y="70"/>
                </a:lnTo>
                <a:lnTo>
                  <a:pt x="1260" y="77"/>
                </a:lnTo>
                <a:lnTo>
                  <a:pt x="1257" y="95"/>
                </a:lnTo>
                <a:lnTo>
                  <a:pt x="1251" y="114"/>
                </a:lnTo>
                <a:lnTo>
                  <a:pt x="1235" y="129"/>
                </a:lnTo>
                <a:lnTo>
                  <a:pt x="1225" y="134"/>
                </a:lnTo>
                <a:lnTo>
                  <a:pt x="1215" y="139"/>
                </a:lnTo>
                <a:lnTo>
                  <a:pt x="1208" y="143"/>
                </a:lnTo>
                <a:lnTo>
                  <a:pt x="1201" y="149"/>
                </a:lnTo>
                <a:lnTo>
                  <a:pt x="1195" y="153"/>
                </a:lnTo>
                <a:lnTo>
                  <a:pt x="1188" y="159"/>
                </a:lnTo>
                <a:lnTo>
                  <a:pt x="1183" y="163"/>
                </a:lnTo>
                <a:lnTo>
                  <a:pt x="1176" y="167"/>
                </a:lnTo>
                <a:lnTo>
                  <a:pt x="1169" y="173"/>
                </a:lnTo>
                <a:lnTo>
                  <a:pt x="1161" y="177"/>
                </a:lnTo>
                <a:lnTo>
                  <a:pt x="1151" y="181"/>
                </a:lnTo>
                <a:lnTo>
                  <a:pt x="1141" y="185"/>
                </a:lnTo>
                <a:lnTo>
                  <a:pt x="1130" y="187"/>
                </a:lnTo>
                <a:lnTo>
                  <a:pt x="1120" y="188"/>
                </a:lnTo>
                <a:lnTo>
                  <a:pt x="1109" y="186"/>
                </a:lnTo>
                <a:lnTo>
                  <a:pt x="1099" y="180"/>
                </a:lnTo>
                <a:lnTo>
                  <a:pt x="1091" y="175"/>
                </a:lnTo>
                <a:lnTo>
                  <a:pt x="1084" y="171"/>
                </a:lnTo>
                <a:lnTo>
                  <a:pt x="1076" y="165"/>
                </a:lnTo>
                <a:lnTo>
                  <a:pt x="1067" y="160"/>
                </a:lnTo>
                <a:lnTo>
                  <a:pt x="1060" y="155"/>
                </a:lnTo>
                <a:lnTo>
                  <a:pt x="1052" y="152"/>
                </a:lnTo>
                <a:lnTo>
                  <a:pt x="1045" y="150"/>
                </a:lnTo>
                <a:lnTo>
                  <a:pt x="1038" y="149"/>
                </a:lnTo>
                <a:lnTo>
                  <a:pt x="1037" y="149"/>
                </a:lnTo>
                <a:lnTo>
                  <a:pt x="1036" y="149"/>
                </a:lnTo>
                <a:lnTo>
                  <a:pt x="1034" y="150"/>
                </a:lnTo>
                <a:lnTo>
                  <a:pt x="1031" y="151"/>
                </a:lnTo>
                <a:lnTo>
                  <a:pt x="1029" y="153"/>
                </a:lnTo>
                <a:lnTo>
                  <a:pt x="1027" y="155"/>
                </a:lnTo>
                <a:lnTo>
                  <a:pt x="1020" y="166"/>
                </a:lnTo>
                <a:lnTo>
                  <a:pt x="1012" y="177"/>
                </a:lnTo>
                <a:lnTo>
                  <a:pt x="1004" y="189"/>
                </a:lnTo>
                <a:lnTo>
                  <a:pt x="1002" y="205"/>
                </a:lnTo>
                <a:lnTo>
                  <a:pt x="1000" y="213"/>
                </a:lnTo>
                <a:lnTo>
                  <a:pt x="993" y="216"/>
                </a:lnTo>
                <a:lnTo>
                  <a:pt x="985" y="218"/>
                </a:lnTo>
                <a:lnTo>
                  <a:pt x="974" y="217"/>
                </a:lnTo>
                <a:lnTo>
                  <a:pt x="962" y="217"/>
                </a:lnTo>
                <a:lnTo>
                  <a:pt x="950" y="218"/>
                </a:lnTo>
                <a:lnTo>
                  <a:pt x="939" y="221"/>
                </a:lnTo>
                <a:lnTo>
                  <a:pt x="929" y="227"/>
                </a:lnTo>
                <a:lnTo>
                  <a:pt x="922" y="234"/>
                </a:lnTo>
                <a:lnTo>
                  <a:pt x="914" y="237"/>
                </a:lnTo>
                <a:lnTo>
                  <a:pt x="905" y="238"/>
                </a:lnTo>
                <a:lnTo>
                  <a:pt x="898" y="238"/>
                </a:lnTo>
                <a:lnTo>
                  <a:pt x="890" y="237"/>
                </a:lnTo>
                <a:lnTo>
                  <a:pt x="881" y="234"/>
                </a:lnTo>
                <a:lnTo>
                  <a:pt x="874" y="230"/>
                </a:lnTo>
                <a:lnTo>
                  <a:pt x="866" y="227"/>
                </a:lnTo>
                <a:lnTo>
                  <a:pt x="863" y="226"/>
                </a:lnTo>
                <a:lnTo>
                  <a:pt x="860" y="225"/>
                </a:lnTo>
                <a:lnTo>
                  <a:pt x="856" y="225"/>
                </a:lnTo>
                <a:lnTo>
                  <a:pt x="854" y="225"/>
                </a:lnTo>
                <a:lnTo>
                  <a:pt x="843" y="226"/>
                </a:lnTo>
                <a:lnTo>
                  <a:pt x="836" y="230"/>
                </a:lnTo>
                <a:lnTo>
                  <a:pt x="830" y="234"/>
                </a:lnTo>
                <a:lnTo>
                  <a:pt x="828" y="236"/>
                </a:lnTo>
                <a:lnTo>
                  <a:pt x="827" y="237"/>
                </a:lnTo>
                <a:lnTo>
                  <a:pt x="823" y="238"/>
                </a:lnTo>
                <a:lnTo>
                  <a:pt x="817" y="241"/>
                </a:lnTo>
                <a:lnTo>
                  <a:pt x="812" y="246"/>
                </a:lnTo>
                <a:lnTo>
                  <a:pt x="805" y="251"/>
                </a:lnTo>
                <a:lnTo>
                  <a:pt x="800" y="259"/>
                </a:lnTo>
                <a:lnTo>
                  <a:pt x="795" y="267"/>
                </a:lnTo>
                <a:lnTo>
                  <a:pt x="794" y="278"/>
                </a:lnTo>
                <a:lnTo>
                  <a:pt x="794" y="302"/>
                </a:lnTo>
                <a:lnTo>
                  <a:pt x="791" y="328"/>
                </a:lnTo>
                <a:lnTo>
                  <a:pt x="782" y="350"/>
                </a:lnTo>
                <a:lnTo>
                  <a:pt x="765" y="363"/>
                </a:lnTo>
                <a:lnTo>
                  <a:pt x="754" y="365"/>
                </a:lnTo>
                <a:lnTo>
                  <a:pt x="743" y="365"/>
                </a:lnTo>
                <a:lnTo>
                  <a:pt x="733" y="364"/>
                </a:lnTo>
                <a:lnTo>
                  <a:pt x="723" y="362"/>
                </a:lnTo>
                <a:lnTo>
                  <a:pt x="712" y="361"/>
                </a:lnTo>
                <a:lnTo>
                  <a:pt x="702" y="361"/>
                </a:lnTo>
                <a:lnTo>
                  <a:pt x="691" y="363"/>
                </a:lnTo>
                <a:lnTo>
                  <a:pt x="680" y="367"/>
                </a:lnTo>
                <a:lnTo>
                  <a:pt x="667" y="371"/>
                </a:lnTo>
                <a:lnTo>
                  <a:pt x="651" y="369"/>
                </a:lnTo>
                <a:lnTo>
                  <a:pt x="631" y="366"/>
                </a:lnTo>
                <a:lnTo>
                  <a:pt x="613" y="361"/>
                </a:lnTo>
                <a:lnTo>
                  <a:pt x="593" y="355"/>
                </a:lnTo>
                <a:lnTo>
                  <a:pt x="576" y="351"/>
                </a:lnTo>
                <a:lnTo>
                  <a:pt x="561" y="351"/>
                </a:lnTo>
                <a:lnTo>
                  <a:pt x="549" y="354"/>
                </a:lnTo>
                <a:lnTo>
                  <a:pt x="547" y="355"/>
                </a:lnTo>
                <a:lnTo>
                  <a:pt x="546" y="356"/>
                </a:lnTo>
                <a:lnTo>
                  <a:pt x="543" y="360"/>
                </a:lnTo>
                <a:lnTo>
                  <a:pt x="539" y="362"/>
                </a:lnTo>
                <a:lnTo>
                  <a:pt x="532" y="364"/>
                </a:lnTo>
                <a:lnTo>
                  <a:pt x="525" y="365"/>
                </a:lnTo>
                <a:lnTo>
                  <a:pt x="516" y="365"/>
                </a:lnTo>
                <a:lnTo>
                  <a:pt x="506" y="363"/>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6" name="Freeform 94"/>
          <p:cNvSpPr>
            <a:spLocks/>
          </p:cNvSpPr>
          <p:nvPr/>
        </p:nvSpPr>
        <p:spPr bwMode="gray">
          <a:xfrm>
            <a:off x="5287566" y="1732360"/>
            <a:ext cx="2425303" cy="2402681"/>
          </a:xfrm>
          <a:custGeom>
            <a:avLst/>
            <a:gdLst>
              <a:gd name="T0" fmla="*/ 1708 w 2207"/>
              <a:gd name="T1" fmla="*/ 140 h 2017"/>
              <a:gd name="T2" fmla="*/ 1222 w 2207"/>
              <a:gd name="T3" fmla="*/ 118 h 2017"/>
              <a:gd name="T4" fmla="*/ 1114 w 2207"/>
              <a:gd name="T5" fmla="*/ 184 h 2017"/>
              <a:gd name="T6" fmla="*/ 1005 w 2207"/>
              <a:gd name="T7" fmla="*/ 163 h 2017"/>
              <a:gd name="T8" fmla="*/ 928 w 2207"/>
              <a:gd name="T9" fmla="*/ 46 h 2017"/>
              <a:gd name="T10" fmla="*/ 943 w 2207"/>
              <a:gd name="T11" fmla="*/ 16 h 2017"/>
              <a:gd name="T12" fmla="*/ 804 w 2207"/>
              <a:gd name="T13" fmla="*/ 2 h 2017"/>
              <a:gd name="T14" fmla="*/ 643 w 2207"/>
              <a:gd name="T15" fmla="*/ 63 h 2017"/>
              <a:gd name="T16" fmla="*/ 524 w 2207"/>
              <a:gd name="T17" fmla="*/ 116 h 2017"/>
              <a:gd name="T18" fmla="*/ 402 w 2207"/>
              <a:gd name="T19" fmla="*/ 185 h 2017"/>
              <a:gd name="T20" fmla="*/ 225 w 2207"/>
              <a:gd name="T21" fmla="*/ 230 h 2017"/>
              <a:gd name="T22" fmla="*/ 110 w 2207"/>
              <a:gd name="T23" fmla="*/ 276 h 2017"/>
              <a:gd name="T24" fmla="*/ 52 w 2207"/>
              <a:gd name="T25" fmla="*/ 272 h 2017"/>
              <a:gd name="T26" fmla="*/ 69 w 2207"/>
              <a:gd name="T27" fmla="*/ 471 h 2017"/>
              <a:gd name="T28" fmla="*/ 0 w 2207"/>
              <a:gd name="T29" fmla="*/ 639 h 2017"/>
              <a:gd name="T30" fmla="*/ 64 w 2207"/>
              <a:gd name="T31" fmla="*/ 726 h 2017"/>
              <a:gd name="T32" fmla="*/ 99 w 2207"/>
              <a:gd name="T33" fmla="*/ 871 h 2017"/>
              <a:gd name="T34" fmla="*/ 94 w 2207"/>
              <a:gd name="T35" fmla="*/ 1050 h 2017"/>
              <a:gd name="T36" fmla="*/ 125 w 2207"/>
              <a:gd name="T37" fmla="*/ 1147 h 2017"/>
              <a:gd name="T38" fmla="*/ 133 w 2207"/>
              <a:gd name="T39" fmla="*/ 1294 h 2017"/>
              <a:gd name="T40" fmla="*/ 210 w 2207"/>
              <a:gd name="T41" fmla="*/ 1342 h 2017"/>
              <a:gd name="T42" fmla="*/ 261 w 2207"/>
              <a:gd name="T43" fmla="*/ 1407 h 2017"/>
              <a:gd name="T44" fmla="*/ 360 w 2207"/>
              <a:gd name="T45" fmla="*/ 1463 h 2017"/>
              <a:gd name="T46" fmla="*/ 451 w 2207"/>
              <a:gd name="T47" fmla="*/ 1467 h 2017"/>
              <a:gd name="T48" fmla="*/ 405 w 2207"/>
              <a:gd name="T49" fmla="*/ 1533 h 2017"/>
              <a:gd name="T50" fmla="*/ 471 w 2207"/>
              <a:gd name="T51" fmla="*/ 1595 h 2017"/>
              <a:gd name="T52" fmla="*/ 560 w 2207"/>
              <a:gd name="T53" fmla="*/ 1646 h 2017"/>
              <a:gd name="T54" fmla="*/ 624 w 2207"/>
              <a:gd name="T55" fmla="*/ 1592 h 2017"/>
              <a:gd name="T56" fmla="*/ 627 w 2207"/>
              <a:gd name="T57" fmla="*/ 1552 h 2017"/>
              <a:gd name="T58" fmla="*/ 714 w 2207"/>
              <a:gd name="T59" fmla="*/ 1608 h 2017"/>
              <a:gd name="T60" fmla="*/ 748 w 2207"/>
              <a:gd name="T61" fmla="*/ 1668 h 2017"/>
              <a:gd name="T62" fmla="*/ 804 w 2207"/>
              <a:gd name="T63" fmla="*/ 1714 h 2017"/>
              <a:gd name="T64" fmla="*/ 861 w 2207"/>
              <a:gd name="T65" fmla="*/ 1705 h 2017"/>
              <a:gd name="T66" fmla="*/ 934 w 2207"/>
              <a:gd name="T67" fmla="*/ 1753 h 2017"/>
              <a:gd name="T68" fmla="*/ 986 w 2207"/>
              <a:gd name="T69" fmla="*/ 1823 h 2017"/>
              <a:gd name="T70" fmla="*/ 1085 w 2207"/>
              <a:gd name="T71" fmla="*/ 1904 h 2017"/>
              <a:gd name="T72" fmla="*/ 1154 w 2207"/>
              <a:gd name="T73" fmla="*/ 1846 h 2017"/>
              <a:gd name="T74" fmla="*/ 1213 w 2207"/>
              <a:gd name="T75" fmla="*/ 1945 h 2017"/>
              <a:gd name="T76" fmla="*/ 1267 w 2207"/>
              <a:gd name="T77" fmla="*/ 1974 h 2017"/>
              <a:gd name="T78" fmla="*/ 1323 w 2207"/>
              <a:gd name="T79" fmla="*/ 1942 h 2017"/>
              <a:gd name="T80" fmla="*/ 1409 w 2207"/>
              <a:gd name="T81" fmla="*/ 1912 h 2017"/>
              <a:gd name="T82" fmla="*/ 1480 w 2207"/>
              <a:gd name="T83" fmla="*/ 1938 h 2017"/>
              <a:gd name="T84" fmla="*/ 1618 w 2207"/>
              <a:gd name="T85" fmla="*/ 1890 h 2017"/>
              <a:gd name="T86" fmla="*/ 1742 w 2207"/>
              <a:gd name="T87" fmla="*/ 1965 h 2017"/>
              <a:gd name="T88" fmla="*/ 1902 w 2207"/>
              <a:gd name="T89" fmla="*/ 2015 h 2017"/>
              <a:gd name="T90" fmla="*/ 1927 w 2207"/>
              <a:gd name="T91" fmla="*/ 1950 h 2017"/>
              <a:gd name="T92" fmla="*/ 1931 w 2207"/>
              <a:gd name="T93" fmla="*/ 1783 h 2017"/>
              <a:gd name="T94" fmla="*/ 2030 w 2207"/>
              <a:gd name="T95" fmla="*/ 1636 h 2017"/>
              <a:gd name="T96" fmla="*/ 2133 w 2207"/>
              <a:gd name="T97" fmla="*/ 1525 h 2017"/>
              <a:gd name="T98" fmla="*/ 2207 w 2207"/>
              <a:gd name="T99" fmla="*/ 1456 h 2017"/>
              <a:gd name="T100" fmla="*/ 2198 w 2207"/>
              <a:gd name="T101" fmla="*/ 1357 h 2017"/>
              <a:gd name="T102" fmla="*/ 2113 w 2207"/>
              <a:gd name="T103" fmla="*/ 1249 h 2017"/>
              <a:gd name="T104" fmla="*/ 2076 w 2207"/>
              <a:gd name="T105" fmla="*/ 1132 h 2017"/>
              <a:gd name="T106" fmla="*/ 2069 w 2207"/>
              <a:gd name="T107" fmla="*/ 958 h 2017"/>
              <a:gd name="T108" fmla="*/ 1966 w 2207"/>
              <a:gd name="T109" fmla="*/ 857 h 2017"/>
              <a:gd name="T110" fmla="*/ 2035 w 2207"/>
              <a:gd name="T111" fmla="*/ 749 h 2017"/>
              <a:gd name="T112" fmla="*/ 2103 w 2207"/>
              <a:gd name="T113" fmla="*/ 700 h 2017"/>
              <a:gd name="T114" fmla="*/ 2086 w 2207"/>
              <a:gd name="T115" fmla="*/ 531 h 2017"/>
              <a:gd name="T116" fmla="*/ 2024 w 2207"/>
              <a:gd name="T117" fmla="*/ 408 h 2017"/>
              <a:gd name="T118" fmla="*/ 1990 w 2207"/>
              <a:gd name="T119" fmla="*/ 251 h 201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207"/>
              <a:gd name="T181" fmla="*/ 0 h 2017"/>
              <a:gd name="T182" fmla="*/ 2207 w 2207"/>
              <a:gd name="T183" fmla="*/ 2017 h 201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207" h="2017">
                <a:moveTo>
                  <a:pt x="1840" y="104"/>
                </a:moveTo>
                <a:lnTo>
                  <a:pt x="1839" y="106"/>
                </a:lnTo>
                <a:lnTo>
                  <a:pt x="1833" y="108"/>
                </a:lnTo>
                <a:lnTo>
                  <a:pt x="1824" y="112"/>
                </a:lnTo>
                <a:lnTo>
                  <a:pt x="1810" y="118"/>
                </a:lnTo>
                <a:lnTo>
                  <a:pt x="1792" y="123"/>
                </a:lnTo>
                <a:lnTo>
                  <a:pt x="1769" y="129"/>
                </a:lnTo>
                <a:lnTo>
                  <a:pt x="1742" y="135"/>
                </a:lnTo>
                <a:lnTo>
                  <a:pt x="1708" y="140"/>
                </a:lnTo>
                <a:lnTo>
                  <a:pt x="1670" y="145"/>
                </a:lnTo>
                <a:lnTo>
                  <a:pt x="1626" y="148"/>
                </a:lnTo>
                <a:lnTo>
                  <a:pt x="1575" y="149"/>
                </a:lnTo>
                <a:lnTo>
                  <a:pt x="1519" y="148"/>
                </a:lnTo>
                <a:lnTo>
                  <a:pt x="1456" y="145"/>
                </a:lnTo>
                <a:lnTo>
                  <a:pt x="1386" y="139"/>
                </a:lnTo>
                <a:lnTo>
                  <a:pt x="1309" y="129"/>
                </a:lnTo>
                <a:lnTo>
                  <a:pt x="1225" y="116"/>
                </a:lnTo>
                <a:lnTo>
                  <a:pt x="1222" y="118"/>
                </a:lnTo>
                <a:lnTo>
                  <a:pt x="1216" y="125"/>
                </a:lnTo>
                <a:lnTo>
                  <a:pt x="1206" y="137"/>
                </a:lnTo>
                <a:lnTo>
                  <a:pt x="1195" y="148"/>
                </a:lnTo>
                <a:lnTo>
                  <a:pt x="1180" y="162"/>
                </a:lnTo>
                <a:lnTo>
                  <a:pt x="1167" y="173"/>
                </a:lnTo>
                <a:lnTo>
                  <a:pt x="1152" y="180"/>
                </a:lnTo>
                <a:lnTo>
                  <a:pt x="1138" y="185"/>
                </a:lnTo>
                <a:lnTo>
                  <a:pt x="1126" y="185"/>
                </a:lnTo>
                <a:lnTo>
                  <a:pt x="1114" y="184"/>
                </a:lnTo>
                <a:lnTo>
                  <a:pt x="1104" y="179"/>
                </a:lnTo>
                <a:lnTo>
                  <a:pt x="1096" y="174"/>
                </a:lnTo>
                <a:lnTo>
                  <a:pt x="1086" y="170"/>
                </a:lnTo>
                <a:lnTo>
                  <a:pt x="1076" y="167"/>
                </a:lnTo>
                <a:lnTo>
                  <a:pt x="1063" y="165"/>
                </a:lnTo>
                <a:lnTo>
                  <a:pt x="1050" y="168"/>
                </a:lnTo>
                <a:lnTo>
                  <a:pt x="1035" y="170"/>
                </a:lnTo>
                <a:lnTo>
                  <a:pt x="1020" y="168"/>
                </a:lnTo>
                <a:lnTo>
                  <a:pt x="1005" y="163"/>
                </a:lnTo>
                <a:lnTo>
                  <a:pt x="991" y="155"/>
                </a:lnTo>
                <a:lnTo>
                  <a:pt x="979" y="145"/>
                </a:lnTo>
                <a:lnTo>
                  <a:pt x="969" y="135"/>
                </a:lnTo>
                <a:lnTo>
                  <a:pt x="961" y="125"/>
                </a:lnTo>
                <a:lnTo>
                  <a:pt x="958" y="116"/>
                </a:lnTo>
                <a:lnTo>
                  <a:pt x="954" y="96"/>
                </a:lnTo>
                <a:lnTo>
                  <a:pt x="949" y="75"/>
                </a:lnTo>
                <a:lnTo>
                  <a:pt x="942" y="56"/>
                </a:lnTo>
                <a:lnTo>
                  <a:pt x="928" y="46"/>
                </a:lnTo>
                <a:lnTo>
                  <a:pt x="922" y="43"/>
                </a:lnTo>
                <a:lnTo>
                  <a:pt x="922" y="39"/>
                </a:lnTo>
                <a:lnTo>
                  <a:pt x="924" y="35"/>
                </a:lnTo>
                <a:lnTo>
                  <a:pt x="928" y="30"/>
                </a:lnTo>
                <a:lnTo>
                  <a:pt x="934" y="25"/>
                </a:lnTo>
                <a:lnTo>
                  <a:pt x="939" y="21"/>
                </a:lnTo>
                <a:lnTo>
                  <a:pt x="944" y="19"/>
                </a:lnTo>
                <a:lnTo>
                  <a:pt x="945" y="17"/>
                </a:lnTo>
                <a:lnTo>
                  <a:pt x="943" y="16"/>
                </a:lnTo>
                <a:lnTo>
                  <a:pt x="938" y="15"/>
                </a:lnTo>
                <a:lnTo>
                  <a:pt x="928" y="12"/>
                </a:lnTo>
                <a:lnTo>
                  <a:pt x="916" y="9"/>
                </a:lnTo>
                <a:lnTo>
                  <a:pt x="902" y="5"/>
                </a:lnTo>
                <a:lnTo>
                  <a:pt x="884" y="2"/>
                </a:lnTo>
                <a:lnTo>
                  <a:pt x="867" y="1"/>
                </a:lnTo>
                <a:lnTo>
                  <a:pt x="848" y="0"/>
                </a:lnTo>
                <a:lnTo>
                  <a:pt x="827" y="1"/>
                </a:lnTo>
                <a:lnTo>
                  <a:pt x="804" y="2"/>
                </a:lnTo>
                <a:lnTo>
                  <a:pt x="778" y="6"/>
                </a:lnTo>
                <a:lnTo>
                  <a:pt x="753" y="11"/>
                </a:lnTo>
                <a:lnTo>
                  <a:pt x="728" y="17"/>
                </a:lnTo>
                <a:lnTo>
                  <a:pt x="707" y="24"/>
                </a:lnTo>
                <a:lnTo>
                  <a:pt x="688" y="31"/>
                </a:lnTo>
                <a:lnTo>
                  <a:pt x="674" y="40"/>
                </a:lnTo>
                <a:lnTo>
                  <a:pt x="663" y="48"/>
                </a:lnTo>
                <a:lnTo>
                  <a:pt x="653" y="56"/>
                </a:lnTo>
                <a:lnTo>
                  <a:pt x="643" y="63"/>
                </a:lnTo>
                <a:lnTo>
                  <a:pt x="633" y="70"/>
                </a:lnTo>
                <a:lnTo>
                  <a:pt x="621" y="75"/>
                </a:lnTo>
                <a:lnTo>
                  <a:pt x="609" y="78"/>
                </a:lnTo>
                <a:lnTo>
                  <a:pt x="594" y="80"/>
                </a:lnTo>
                <a:lnTo>
                  <a:pt x="575" y="81"/>
                </a:lnTo>
                <a:lnTo>
                  <a:pt x="558" y="83"/>
                </a:lnTo>
                <a:lnTo>
                  <a:pt x="544" y="91"/>
                </a:lnTo>
                <a:lnTo>
                  <a:pt x="533" y="102"/>
                </a:lnTo>
                <a:lnTo>
                  <a:pt x="524" y="116"/>
                </a:lnTo>
                <a:lnTo>
                  <a:pt x="515" y="129"/>
                </a:lnTo>
                <a:lnTo>
                  <a:pt x="509" y="143"/>
                </a:lnTo>
                <a:lnTo>
                  <a:pt x="502" y="154"/>
                </a:lnTo>
                <a:lnTo>
                  <a:pt x="494" y="163"/>
                </a:lnTo>
                <a:lnTo>
                  <a:pt x="483" y="169"/>
                </a:lnTo>
                <a:lnTo>
                  <a:pt x="467" y="173"/>
                </a:lnTo>
                <a:lnTo>
                  <a:pt x="447" y="178"/>
                </a:lnTo>
                <a:lnTo>
                  <a:pt x="425" y="180"/>
                </a:lnTo>
                <a:lnTo>
                  <a:pt x="402" y="185"/>
                </a:lnTo>
                <a:lnTo>
                  <a:pt x="380" y="189"/>
                </a:lnTo>
                <a:lnTo>
                  <a:pt x="360" y="195"/>
                </a:lnTo>
                <a:lnTo>
                  <a:pt x="343" y="203"/>
                </a:lnTo>
                <a:lnTo>
                  <a:pt x="327" y="210"/>
                </a:lnTo>
                <a:lnTo>
                  <a:pt x="308" y="215"/>
                </a:lnTo>
                <a:lnTo>
                  <a:pt x="287" y="220"/>
                </a:lnTo>
                <a:lnTo>
                  <a:pt x="267" y="222"/>
                </a:lnTo>
                <a:lnTo>
                  <a:pt x="245" y="226"/>
                </a:lnTo>
                <a:lnTo>
                  <a:pt x="225" y="230"/>
                </a:lnTo>
                <a:lnTo>
                  <a:pt x="205" y="236"/>
                </a:lnTo>
                <a:lnTo>
                  <a:pt x="186" y="244"/>
                </a:lnTo>
                <a:lnTo>
                  <a:pt x="170" y="251"/>
                </a:lnTo>
                <a:lnTo>
                  <a:pt x="156" y="258"/>
                </a:lnTo>
                <a:lnTo>
                  <a:pt x="144" y="263"/>
                </a:lnTo>
                <a:lnTo>
                  <a:pt x="134" y="267"/>
                </a:lnTo>
                <a:lnTo>
                  <a:pt x="125" y="271"/>
                </a:lnTo>
                <a:lnTo>
                  <a:pt x="118" y="273"/>
                </a:lnTo>
                <a:lnTo>
                  <a:pt x="110" y="276"/>
                </a:lnTo>
                <a:lnTo>
                  <a:pt x="104" y="278"/>
                </a:lnTo>
                <a:lnTo>
                  <a:pt x="97" y="280"/>
                </a:lnTo>
                <a:lnTo>
                  <a:pt x="89" y="280"/>
                </a:lnTo>
                <a:lnTo>
                  <a:pt x="80" y="280"/>
                </a:lnTo>
                <a:lnTo>
                  <a:pt x="72" y="277"/>
                </a:lnTo>
                <a:lnTo>
                  <a:pt x="64" y="276"/>
                </a:lnTo>
                <a:lnTo>
                  <a:pt x="58" y="273"/>
                </a:lnTo>
                <a:lnTo>
                  <a:pt x="53" y="272"/>
                </a:lnTo>
                <a:lnTo>
                  <a:pt x="52" y="272"/>
                </a:lnTo>
                <a:lnTo>
                  <a:pt x="53" y="283"/>
                </a:lnTo>
                <a:lnTo>
                  <a:pt x="54" y="309"/>
                </a:lnTo>
                <a:lnTo>
                  <a:pt x="54" y="339"/>
                </a:lnTo>
                <a:lnTo>
                  <a:pt x="52" y="360"/>
                </a:lnTo>
                <a:lnTo>
                  <a:pt x="51" y="379"/>
                </a:lnTo>
                <a:lnTo>
                  <a:pt x="54" y="406"/>
                </a:lnTo>
                <a:lnTo>
                  <a:pt x="59" y="432"/>
                </a:lnTo>
                <a:lnTo>
                  <a:pt x="64" y="452"/>
                </a:lnTo>
                <a:lnTo>
                  <a:pt x="69" y="471"/>
                </a:lnTo>
                <a:lnTo>
                  <a:pt x="74" y="496"/>
                </a:lnTo>
                <a:lnTo>
                  <a:pt x="72" y="527"/>
                </a:lnTo>
                <a:lnTo>
                  <a:pt x="58" y="558"/>
                </a:lnTo>
                <a:lnTo>
                  <a:pt x="47" y="573"/>
                </a:lnTo>
                <a:lnTo>
                  <a:pt x="35" y="586"/>
                </a:lnTo>
                <a:lnTo>
                  <a:pt x="23" y="600"/>
                </a:lnTo>
                <a:lnTo>
                  <a:pt x="12" y="614"/>
                </a:lnTo>
                <a:lnTo>
                  <a:pt x="5" y="626"/>
                </a:lnTo>
                <a:lnTo>
                  <a:pt x="0" y="639"/>
                </a:lnTo>
                <a:lnTo>
                  <a:pt x="0" y="651"/>
                </a:lnTo>
                <a:lnTo>
                  <a:pt x="6" y="662"/>
                </a:lnTo>
                <a:lnTo>
                  <a:pt x="15" y="672"/>
                </a:lnTo>
                <a:lnTo>
                  <a:pt x="25" y="682"/>
                </a:lnTo>
                <a:lnTo>
                  <a:pt x="33" y="692"/>
                </a:lnTo>
                <a:lnTo>
                  <a:pt x="42" y="701"/>
                </a:lnTo>
                <a:lnTo>
                  <a:pt x="51" y="710"/>
                </a:lnTo>
                <a:lnTo>
                  <a:pt x="58" y="718"/>
                </a:lnTo>
                <a:lnTo>
                  <a:pt x="64" y="726"/>
                </a:lnTo>
                <a:lnTo>
                  <a:pt x="69" y="732"/>
                </a:lnTo>
                <a:lnTo>
                  <a:pt x="79" y="744"/>
                </a:lnTo>
                <a:lnTo>
                  <a:pt x="88" y="758"/>
                </a:lnTo>
                <a:lnTo>
                  <a:pt x="94" y="770"/>
                </a:lnTo>
                <a:lnTo>
                  <a:pt x="93" y="784"/>
                </a:lnTo>
                <a:lnTo>
                  <a:pt x="87" y="801"/>
                </a:lnTo>
                <a:lnTo>
                  <a:pt x="83" y="825"/>
                </a:lnTo>
                <a:lnTo>
                  <a:pt x="84" y="850"/>
                </a:lnTo>
                <a:lnTo>
                  <a:pt x="99" y="871"/>
                </a:lnTo>
                <a:lnTo>
                  <a:pt x="112" y="887"/>
                </a:lnTo>
                <a:lnTo>
                  <a:pt x="113" y="901"/>
                </a:lnTo>
                <a:lnTo>
                  <a:pt x="110" y="916"/>
                </a:lnTo>
                <a:lnTo>
                  <a:pt x="110" y="934"/>
                </a:lnTo>
                <a:lnTo>
                  <a:pt x="109" y="956"/>
                </a:lnTo>
                <a:lnTo>
                  <a:pt x="99" y="977"/>
                </a:lnTo>
                <a:lnTo>
                  <a:pt x="89" y="1000"/>
                </a:lnTo>
                <a:lnTo>
                  <a:pt x="87" y="1028"/>
                </a:lnTo>
                <a:lnTo>
                  <a:pt x="94" y="1050"/>
                </a:lnTo>
                <a:lnTo>
                  <a:pt x="103" y="1064"/>
                </a:lnTo>
                <a:lnTo>
                  <a:pt x="108" y="1075"/>
                </a:lnTo>
                <a:lnTo>
                  <a:pt x="104" y="1091"/>
                </a:lnTo>
                <a:lnTo>
                  <a:pt x="102" y="1101"/>
                </a:lnTo>
                <a:lnTo>
                  <a:pt x="102" y="1111"/>
                </a:lnTo>
                <a:lnTo>
                  <a:pt x="104" y="1121"/>
                </a:lnTo>
                <a:lnTo>
                  <a:pt x="110" y="1129"/>
                </a:lnTo>
                <a:lnTo>
                  <a:pt x="117" y="1138"/>
                </a:lnTo>
                <a:lnTo>
                  <a:pt x="125" y="1147"/>
                </a:lnTo>
                <a:lnTo>
                  <a:pt x="135" y="1154"/>
                </a:lnTo>
                <a:lnTo>
                  <a:pt x="145" y="1161"/>
                </a:lnTo>
                <a:lnTo>
                  <a:pt x="156" y="1213"/>
                </a:lnTo>
                <a:lnTo>
                  <a:pt x="159" y="1219"/>
                </a:lnTo>
                <a:lnTo>
                  <a:pt x="162" y="1236"/>
                </a:lnTo>
                <a:lnTo>
                  <a:pt x="160" y="1256"/>
                </a:lnTo>
                <a:lnTo>
                  <a:pt x="145" y="1276"/>
                </a:lnTo>
                <a:lnTo>
                  <a:pt x="136" y="1285"/>
                </a:lnTo>
                <a:lnTo>
                  <a:pt x="133" y="1294"/>
                </a:lnTo>
                <a:lnTo>
                  <a:pt x="133" y="1302"/>
                </a:lnTo>
                <a:lnTo>
                  <a:pt x="136" y="1310"/>
                </a:lnTo>
                <a:lnTo>
                  <a:pt x="144" y="1316"/>
                </a:lnTo>
                <a:lnTo>
                  <a:pt x="153" y="1321"/>
                </a:lnTo>
                <a:lnTo>
                  <a:pt x="165" y="1326"/>
                </a:lnTo>
                <a:lnTo>
                  <a:pt x="180" y="1328"/>
                </a:lnTo>
                <a:lnTo>
                  <a:pt x="194" y="1332"/>
                </a:lnTo>
                <a:lnTo>
                  <a:pt x="202" y="1336"/>
                </a:lnTo>
                <a:lnTo>
                  <a:pt x="210" y="1342"/>
                </a:lnTo>
                <a:lnTo>
                  <a:pt x="215" y="1348"/>
                </a:lnTo>
                <a:lnTo>
                  <a:pt x="217" y="1356"/>
                </a:lnTo>
                <a:lnTo>
                  <a:pt x="220" y="1364"/>
                </a:lnTo>
                <a:lnTo>
                  <a:pt x="223" y="1372"/>
                </a:lnTo>
                <a:lnTo>
                  <a:pt x="227" y="1380"/>
                </a:lnTo>
                <a:lnTo>
                  <a:pt x="232" y="1389"/>
                </a:lnTo>
                <a:lnTo>
                  <a:pt x="241" y="1395"/>
                </a:lnTo>
                <a:lnTo>
                  <a:pt x="249" y="1402"/>
                </a:lnTo>
                <a:lnTo>
                  <a:pt x="261" y="1407"/>
                </a:lnTo>
                <a:lnTo>
                  <a:pt x="273" y="1412"/>
                </a:lnTo>
                <a:lnTo>
                  <a:pt x="284" y="1417"/>
                </a:lnTo>
                <a:lnTo>
                  <a:pt x="297" y="1422"/>
                </a:lnTo>
                <a:lnTo>
                  <a:pt x="308" y="1428"/>
                </a:lnTo>
                <a:lnTo>
                  <a:pt x="318" y="1435"/>
                </a:lnTo>
                <a:lnTo>
                  <a:pt x="329" y="1443"/>
                </a:lnTo>
                <a:lnTo>
                  <a:pt x="339" y="1450"/>
                </a:lnTo>
                <a:lnTo>
                  <a:pt x="349" y="1456"/>
                </a:lnTo>
                <a:lnTo>
                  <a:pt x="360" y="1463"/>
                </a:lnTo>
                <a:lnTo>
                  <a:pt x="370" y="1466"/>
                </a:lnTo>
                <a:lnTo>
                  <a:pt x="382" y="1469"/>
                </a:lnTo>
                <a:lnTo>
                  <a:pt x="395" y="1467"/>
                </a:lnTo>
                <a:lnTo>
                  <a:pt x="407" y="1465"/>
                </a:lnTo>
                <a:lnTo>
                  <a:pt x="420" y="1463"/>
                </a:lnTo>
                <a:lnTo>
                  <a:pt x="431" y="1460"/>
                </a:lnTo>
                <a:lnTo>
                  <a:pt x="441" y="1460"/>
                </a:lnTo>
                <a:lnTo>
                  <a:pt x="447" y="1463"/>
                </a:lnTo>
                <a:lnTo>
                  <a:pt x="451" y="1467"/>
                </a:lnTo>
                <a:lnTo>
                  <a:pt x="451" y="1476"/>
                </a:lnTo>
                <a:lnTo>
                  <a:pt x="447" y="1491"/>
                </a:lnTo>
                <a:lnTo>
                  <a:pt x="445" y="1492"/>
                </a:lnTo>
                <a:lnTo>
                  <a:pt x="440" y="1495"/>
                </a:lnTo>
                <a:lnTo>
                  <a:pt x="431" y="1500"/>
                </a:lnTo>
                <a:lnTo>
                  <a:pt x="422" y="1506"/>
                </a:lnTo>
                <a:lnTo>
                  <a:pt x="414" y="1515"/>
                </a:lnTo>
                <a:lnTo>
                  <a:pt x="407" y="1523"/>
                </a:lnTo>
                <a:lnTo>
                  <a:pt x="405" y="1533"/>
                </a:lnTo>
                <a:lnTo>
                  <a:pt x="406" y="1543"/>
                </a:lnTo>
                <a:lnTo>
                  <a:pt x="412" y="1553"/>
                </a:lnTo>
                <a:lnTo>
                  <a:pt x="420" y="1559"/>
                </a:lnTo>
                <a:lnTo>
                  <a:pt x="428" y="1563"/>
                </a:lnTo>
                <a:lnTo>
                  <a:pt x="438" y="1567"/>
                </a:lnTo>
                <a:lnTo>
                  <a:pt x="448" y="1572"/>
                </a:lnTo>
                <a:lnTo>
                  <a:pt x="457" y="1577"/>
                </a:lnTo>
                <a:lnTo>
                  <a:pt x="466" y="1584"/>
                </a:lnTo>
                <a:lnTo>
                  <a:pt x="471" y="1595"/>
                </a:lnTo>
                <a:lnTo>
                  <a:pt x="477" y="1609"/>
                </a:lnTo>
                <a:lnTo>
                  <a:pt x="486" y="1623"/>
                </a:lnTo>
                <a:lnTo>
                  <a:pt x="497" y="1635"/>
                </a:lnTo>
                <a:lnTo>
                  <a:pt x="509" y="1648"/>
                </a:lnTo>
                <a:lnTo>
                  <a:pt x="522" y="1656"/>
                </a:lnTo>
                <a:lnTo>
                  <a:pt x="533" y="1663"/>
                </a:lnTo>
                <a:lnTo>
                  <a:pt x="544" y="1664"/>
                </a:lnTo>
                <a:lnTo>
                  <a:pt x="551" y="1660"/>
                </a:lnTo>
                <a:lnTo>
                  <a:pt x="560" y="1646"/>
                </a:lnTo>
                <a:lnTo>
                  <a:pt x="565" y="1633"/>
                </a:lnTo>
                <a:lnTo>
                  <a:pt x="571" y="1623"/>
                </a:lnTo>
                <a:lnTo>
                  <a:pt x="586" y="1619"/>
                </a:lnTo>
                <a:lnTo>
                  <a:pt x="596" y="1618"/>
                </a:lnTo>
                <a:lnTo>
                  <a:pt x="606" y="1615"/>
                </a:lnTo>
                <a:lnTo>
                  <a:pt x="614" y="1610"/>
                </a:lnTo>
                <a:lnTo>
                  <a:pt x="619" y="1605"/>
                </a:lnTo>
                <a:lnTo>
                  <a:pt x="622" y="1599"/>
                </a:lnTo>
                <a:lnTo>
                  <a:pt x="624" y="1592"/>
                </a:lnTo>
                <a:lnTo>
                  <a:pt x="621" y="1584"/>
                </a:lnTo>
                <a:lnTo>
                  <a:pt x="616" y="1578"/>
                </a:lnTo>
                <a:lnTo>
                  <a:pt x="611" y="1571"/>
                </a:lnTo>
                <a:lnTo>
                  <a:pt x="607" y="1564"/>
                </a:lnTo>
                <a:lnTo>
                  <a:pt x="606" y="1557"/>
                </a:lnTo>
                <a:lnTo>
                  <a:pt x="607" y="1552"/>
                </a:lnTo>
                <a:lnTo>
                  <a:pt x="611" y="1549"/>
                </a:lnTo>
                <a:lnTo>
                  <a:pt x="617" y="1549"/>
                </a:lnTo>
                <a:lnTo>
                  <a:pt x="627" y="1552"/>
                </a:lnTo>
                <a:lnTo>
                  <a:pt x="638" y="1561"/>
                </a:lnTo>
                <a:lnTo>
                  <a:pt x="651" y="1571"/>
                </a:lnTo>
                <a:lnTo>
                  <a:pt x="662" y="1579"/>
                </a:lnTo>
                <a:lnTo>
                  <a:pt x="671" y="1587"/>
                </a:lnTo>
                <a:lnTo>
                  <a:pt x="679" y="1593"/>
                </a:lnTo>
                <a:lnTo>
                  <a:pt x="687" y="1598"/>
                </a:lnTo>
                <a:lnTo>
                  <a:pt x="696" y="1602"/>
                </a:lnTo>
                <a:lnTo>
                  <a:pt x="704" y="1605"/>
                </a:lnTo>
                <a:lnTo>
                  <a:pt x="714" y="1608"/>
                </a:lnTo>
                <a:lnTo>
                  <a:pt x="729" y="1612"/>
                </a:lnTo>
                <a:lnTo>
                  <a:pt x="730" y="1618"/>
                </a:lnTo>
                <a:lnTo>
                  <a:pt x="727" y="1625"/>
                </a:lnTo>
                <a:lnTo>
                  <a:pt x="720" y="1636"/>
                </a:lnTo>
                <a:lnTo>
                  <a:pt x="720" y="1643"/>
                </a:lnTo>
                <a:lnTo>
                  <a:pt x="724" y="1649"/>
                </a:lnTo>
                <a:lnTo>
                  <a:pt x="730" y="1655"/>
                </a:lnTo>
                <a:lnTo>
                  <a:pt x="739" y="1661"/>
                </a:lnTo>
                <a:lnTo>
                  <a:pt x="748" y="1668"/>
                </a:lnTo>
                <a:lnTo>
                  <a:pt x="756" y="1675"/>
                </a:lnTo>
                <a:lnTo>
                  <a:pt x="763" y="1685"/>
                </a:lnTo>
                <a:lnTo>
                  <a:pt x="766" y="1695"/>
                </a:lnTo>
                <a:lnTo>
                  <a:pt x="770" y="1704"/>
                </a:lnTo>
                <a:lnTo>
                  <a:pt x="775" y="1711"/>
                </a:lnTo>
                <a:lnTo>
                  <a:pt x="781" y="1715"/>
                </a:lnTo>
                <a:lnTo>
                  <a:pt x="789" y="1716"/>
                </a:lnTo>
                <a:lnTo>
                  <a:pt x="796" y="1716"/>
                </a:lnTo>
                <a:lnTo>
                  <a:pt x="804" y="1714"/>
                </a:lnTo>
                <a:lnTo>
                  <a:pt x="811" y="1710"/>
                </a:lnTo>
                <a:lnTo>
                  <a:pt x="819" y="1706"/>
                </a:lnTo>
                <a:lnTo>
                  <a:pt x="825" y="1702"/>
                </a:lnTo>
                <a:lnTo>
                  <a:pt x="831" y="1699"/>
                </a:lnTo>
                <a:lnTo>
                  <a:pt x="838" y="1697"/>
                </a:lnTo>
                <a:lnTo>
                  <a:pt x="845" y="1696"/>
                </a:lnTo>
                <a:lnTo>
                  <a:pt x="850" y="1697"/>
                </a:lnTo>
                <a:lnTo>
                  <a:pt x="856" y="1700"/>
                </a:lnTo>
                <a:lnTo>
                  <a:pt x="861" y="1705"/>
                </a:lnTo>
                <a:lnTo>
                  <a:pt x="866" y="1712"/>
                </a:lnTo>
                <a:lnTo>
                  <a:pt x="872" y="1720"/>
                </a:lnTo>
                <a:lnTo>
                  <a:pt x="879" y="1723"/>
                </a:lnTo>
                <a:lnTo>
                  <a:pt x="889" y="1725"/>
                </a:lnTo>
                <a:lnTo>
                  <a:pt x="901" y="1726"/>
                </a:lnTo>
                <a:lnTo>
                  <a:pt x="911" y="1728"/>
                </a:lnTo>
                <a:lnTo>
                  <a:pt x="920" y="1733"/>
                </a:lnTo>
                <a:lnTo>
                  <a:pt x="928" y="1741"/>
                </a:lnTo>
                <a:lnTo>
                  <a:pt x="934" y="1753"/>
                </a:lnTo>
                <a:lnTo>
                  <a:pt x="939" y="1767"/>
                </a:lnTo>
                <a:lnTo>
                  <a:pt x="944" y="1778"/>
                </a:lnTo>
                <a:lnTo>
                  <a:pt x="949" y="1788"/>
                </a:lnTo>
                <a:lnTo>
                  <a:pt x="955" y="1796"/>
                </a:lnTo>
                <a:lnTo>
                  <a:pt x="961" y="1802"/>
                </a:lnTo>
                <a:lnTo>
                  <a:pt x="968" y="1808"/>
                </a:lnTo>
                <a:lnTo>
                  <a:pt x="974" y="1813"/>
                </a:lnTo>
                <a:lnTo>
                  <a:pt x="980" y="1817"/>
                </a:lnTo>
                <a:lnTo>
                  <a:pt x="986" y="1823"/>
                </a:lnTo>
                <a:lnTo>
                  <a:pt x="993" y="1834"/>
                </a:lnTo>
                <a:lnTo>
                  <a:pt x="1000" y="1848"/>
                </a:lnTo>
                <a:lnTo>
                  <a:pt x="1007" y="1861"/>
                </a:lnTo>
                <a:lnTo>
                  <a:pt x="1016" y="1876"/>
                </a:lnTo>
                <a:lnTo>
                  <a:pt x="1027" y="1889"/>
                </a:lnTo>
                <a:lnTo>
                  <a:pt x="1040" y="1899"/>
                </a:lnTo>
                <a:lnTo>
                  <a:pt x="1056" y="1904"/>
                </a:lnTo>
                <a:lnTo>
                  <a:pt x="1072" y="1905"/>
                </a:lnTo>
                <a:lnTo>
                  <a:pt x="1085" y="1904"/>
                </a:lnTo>
                <a:lnTo>
                  <a:pt x="1096" y="1900"/>
                </a:lnTo>
                <a:lnTo>
                  <a:pt x="1104" y="1895"/>
                </a:lnTo>
                <a:lnTo>
                  <a:pt x="1111" y="1889"/>
                </a:lnTo>
                <a:lnTo>
                  <a:pt x="1117" y="1882"/>
                </a:lnTo>
                <a:lnTo>
                  <a:pt x="1122" y="1875"/>
                </a:lnTo>
                <a:lnTo>
                  <a:pt x="1126" y="1869"/>
                </a:lnTo>
                <a:lnTo>
                  <a:pt x="1135" y="1855"/>
                </a:lnTo>
                <a:lnTo>
                  <a:pt x="1145" y="1846"/>
                </a:lnTo>
                <a:lnTo>
                  <a:pt x="1154" y="1846"/>
                </a:lnTo>
                <a:lnTo>
                  <a:pt x="1160" y="1863"/>
                </a:lnTo>
                <a:lnTo>
                  <a:pt x="1164" y="1875"/>
                </a:lnTo>
                <a:lnTo>
                  <a:pt x="1171" y="1885"/>
                </a:lnTo>
                <a:lnTo>
                  <a:pt x="1181" y="1895"/>
                </a:lnTo>
                <a:lnTo>
                  <a:pt x="1191" y="1904"/>
                </a:lnTo>
                <a:lnTo>
                  <a:pt x="1200" y="1912"/>
                </a:lnTo>
                <a:lnTo>
                  <a:pt x="1208" y="1922"/>
                </a:lnTo>
                <a:lnTo>
                  <a:pt x="1213" y="1932"/>
                </a:lnTo>
                <a:lnTo>
                  <a:pt x="1213" y="1945"/>
                </a:lnTo>
                <a:lnTo>
                  <a:pt x="1213" y="1956"/>
                </a:lnTo>
                <a:lnTo>
                  <a:pt x="1215" y="1963"/>
                </a:lnTo>
                <a:lnTo>
                  <a:pt x="1221" y="1969"/>
                </a:lnTo>
                <a:lnTo>
                  <a:pt x="1227" y="1972"/>
                </a:lnTo>
                <a:lnTo>
                  <a:pt x="1236" y="1973"/>
                </a:lnTo>
                <a:lnTo>
                  <a:pt x="1245" y="1973"/>
                </a:lnTo>
                <a:lnTo>
                  <a:pt x="1252" y="1973"/>
                </a:lnTo>
                <a:lnTo>
                  <a:pt x="1260" y="1973"/>
                </a:lnTo>
                <a:lnTo>
                  <a:pt x="1267" y="1974"/>
                </a:lnTo>
                <a:lnTo>
                  <a:pt x="1275" y="1977"/>
                </a:lnTo>
                <a:lnTo>
                  <a:pt x="1282" y="1979"/>
                </a:lnTo>
                <a:lnTo>
                  <a:pt x="1290" y="1982"/>
                </a:lnTo>
                <a:lnTo>
                  <a:pt x="1296" y="1982"/>
                </a:lnTo>
                <a:lnTo>
                  <a:pt x="1301" y="1981"/>
                </a:lnTo>
                <a:lnTo>
                  <a:pt x="1304" y="1977"/>
                </a:lnTo>
                <a:lnTo>
                  <a:pt x="1306" y="1968"/>
                </a:lnTo>
                <a:lnTo>
                  <a:pt x="1311" y="1951"/>
                </a:lnTo>
                <a:lnTo>
                  <a:pt x="1323" y="1942"/>
                </a:lnTo>
                <a:lnTo>
                  <a:pt x="1336" y="1938"/>
                </a:lnTo>
                <a:lnTo>
                  <a:pt x="1340" y="1938"/>
                </a:lnTo>
                <a:lnTo>
                  <a:pt x="1342" y="1933"/>
                </a:lnTo>
                <a:lnTo>
                  <a:pt x="1347" y="1922"/>
                </a:lnTo>
                <a:lnTo>
                  <a:pt x="1358" y="1911"/>
                </a:lnTo>
                <a:lnTo>
                  <a:pt x="1375" y="1910"/>
                </a:lnTo>
                <a:lnTo>
                  <a:pt x="1386" y="1911"/>
                </a:lnTo>
                <a:lnTo>
                  <a:pt x="1398" y="1912"/>
                </a:lnTo>
                <a:lnTo>
                  <a:pt x="1409" y="1912"/>
                </a:lnTo>
                <a:lnTo>
                  <a:pt x="1420" y="1914"/>
                </a:lnTo>
                <a:lnTo>
                  <a:pt x="1429" y="1915"/>
                </a:lnTo>
                <a:lnTo>
                  <a:pt x="1436" y="1917"/>
                </a:lnTo>
                <a:lnTo>
                  <a:pt x="1441" y="1922"/>
                </a:lnTo>
                <a:lnTo>
                  <a:pt x="1445" y="1927"/>
                </a:lnTo>
                <a:lnTo>
                  <a:pt x="1450" y="1933"/>
                </a:lnTo>
                <a:lnTo>
                  <a:pt x="1457" y="1937"/>
                </a:lnTo>
                <a:lnTo>
                  <a:pt x="1467" y="1938"/>
                </a:lnTo>
                <a:lnTo>
                  <a:pt x="1480" y="1938"/>
                </a:lnTo>
                <a:lnTo>
                  <a:pt x="1493" y="1935"/>
                </a:lnTo>
                <a:lnTo>
                  <a:pt x="1507" y="1930"/>
                </a:lnTo>
                <a:lnTo>
                  <a:pt x="1521" y="1921"/>
                </a:lnTo>
                <a:lnTo>
                  <a:pt x="1532" y="1910"/>
                </a:lnTo>
                <a:lnTo>
                  <a:pt x="1544" y="1899"/>
                </a:lnTo>
                <a:lnTo>
                  <a:pt x="1560" y="1892"/>
                </a:lnTo>
                <a:lnTo>
                  <a:pt x="1579" y="1889"/>
                </a:lnTo>
                <a:lnTo>
                  <a:pt x="1598" y="1887"/>
                </a:lnTo>
                <a:lnTo>
                  <a:pt x="1618" y="1890"/>
                </a:lnTo>
                <a:lnTo>
                  <a:pt x="1637" y="1895"/>
                </a:lnTo>
                <a:lnTo>
                  <a:pt x="1656" y="1901"/>
                </a:lnTo>
                <a:lnTo>
                  <a:pt x="1672" y="1910"/>
                </a:lnTo>
                <a:lnTo>
                  <a:pt x="1686" y="1919"/>
                </a:lnTo>
                <a:lnTo>
                  <a:pt x="1698" y="1927"/>
                </a:lnTo>
                <a:lnTo>
                  <a:pt x="1708" y="1937"/>
                </a:lnTo>
                <a:lnTo>
                  <a:pt x="1719" y="1946"/>
                </a:lnTo>
                <a:lnTo>
                  <a:pt x="1729" y="1956"/>
                </a:lnTo>
                <a:lnTo>
                  <a:pt x="1742" y="1965"/>
                </a:lnTo>
                <a:lnTo>
                  <a:pt x="1754" y="1972"/>
                </a:lnTo>
                <a:lnTo>
                  <a:pt x="1770" y="1979"/>
                </a:lnTo>
                <a:lnTo>
                  <a:pt x="1785" y="1984"/>
                </a:lnTo>
                <a:lnTo>
                  <a:pt x="1804" y="1991"/>
                </a:lnTo>
                <a:lnTo>
                  <a:pt x="1824" y="1997"/>
                </a:lnTo>
                <a:lnTo>
                  <a:pt x="1844" y="2003"/>
                </a:lnTo>
                <a:lnTo>
                  <a:pt x="1865" y="2008"/>
                </a:lnTo>
                <a:lnTo>
                  <a:pt x="1885" y="2012"/>
                </a:lnTo>
                <a:lnTo>
                  <a:pt x="1902" y="2015"/>
                </a:lnTo>
                <a:lnTo>
                  <a:pt x="1918" y="2017"/>
                </a:lnTo>
                <a:lnTo>
                  <a:pt x="1925" y="2017"/>
                </a:lnTo>
                <a:lnTo>
                  <a:pt x="1931" y="2017"/>
                </a:lnTo>
                <a:lnTo>
                  <a:pt x="1936" y="2015"/>
                </a:lnTo>
                <a:lnTo>
                  <a:pt x="1939" y="2014"/>
                </a:lnTo>
                <a:lnTo>
                  <a:pt x="1948" y="2002"/>
                </a:lnTo>
                <a:lnTo>
                  <a:pt x="1947" y="1984"/>
                </a:lnTo>
                <a:lnTo>
                  <a:pt x="1937" y="1966"/>
                </a:lnTo>
                <a:lnTo>
                  <a:pt x="1927" y="1950"/>
                </a:lnTo>
                <a:lnTo>
                  <a:pt x="1918" y="1930"/>
                </a:lnTo>
                <a:lnTo>
                  <a:pt x="1912" y="1902"/>
                </a:lnTo>
                <a:lnTo>
                  <a:pt x="1907" y="1874"/>
                </a:lnTo>
                <a:lnTo>
                  <a:pt x="1905" y="1851"/>
                </a:lnTo>
                <a:lnTo>
                  <a:pt x="1906" y="1841"/>
                </a:lnTo>
                <a:lnTo>
                  <a:pt x="1910" y="1829"/>
                </a:lnTo>
                <a:lnTo>
                  <a:pt x="1915" y="1815"/>
                </a:lnTo>
                <a:lnTo>
                  <a:pt x="1922" y="1799"/>
                </a:lnTo>
                <a:lnTo>
                  <a:pt x="1931" y="1783"/>
                </a:lnTo>
                <a:lnTo>
                  <a:pt x="1941" y="1767"/>
                </a:lnTo>
                <a:lnTo>
                  <a:pt x="1951" y="1751"/>
                </a:lnTo>
                <a:lnTo>
                  <a:pt x="1962" y="1736"/>
                </a:lnTo>
                <a:lnTo>
                  <a:pt x="1973" y="1720"/>
                </a:lnTo>
                <a:lnTo>
                  <a:pt x="1984" y="1704"/>
                </a:lnTo>
                <a:lnTo>
                  <a:pt x="1995" y="1686"/>
                </a:lnTo>
                <a:lnTo>
                  <a:pt x="2007" y="1670"/>
                </a:lnTo>
                <a:lnTo>
                  <a:pt x="2018" y="1653"/>
                </a:lnTo>
                <a:lnTo>
                  <a:pt x="2030" y="1636"/>
                </a:lnTo>
                <a:lnTo>
                  <a:pt x="2043" y="1622"/>
                </a:lnTo>
                <a:lnTo>
                  <a:pt x="2055" y="1608"/>
                </a:lnTo>
                <a:lnTo>
                  <a:pt x="2067" y="1594"/>
                </a:lnTo>
                <a:lnTo>
                  <a:pt x="2080" y="1581"/>
                </a:lnTo>
                <a:lnTo>
                  <a:pt x="2092" y="1567"/>
                </a:lnTo>
                <a:lnTo>
                  <a:pt x="2103" y="1553"/>
                </a:lnTo>
                <a:lnTo>
                  <a:pt x="2113" y="1542"/>
                </a:lnTo>
                <a:lnTo>
                  <a:pt x="2123" y="1532"/>
                </a:lnTo>
                <a:lnTo>
                  <a:pt x="2133" y="1525"/>
                </a:lnTo>
                <a:lnTo>
                  <a:pt x="2142" y="1521"/>
                </a:lnTo>
                <a:lnTo>
                  <a:pt x="2152" y="1517"/>
                </a:lnTo>
                <a:lnTo>
                  <a:pt x="2163" y="1513"/>
                </a:lnTo>
                <a:lnTo>
                  <a:pt x="2174" y="1507"/>
                </a:lnTo>
                <a:lnTo>
                  <a:pt x="2185" y="1500"/>
                </a:lnTo>
                <a:lnTo>
                  <a:pt x="2194" y="1490"/>
                </a:lnTo>
                <a:lnTo>
                  <a:pt x="2202" y="1480"/>
                </a:lnTo>
                <a:lnTo>
                  <a:pt x="2207" y="1469"/>
                </a:lnTo>
                <a:lnTo>
                  <a:pt x="2207" y="1456"/>
                </a:lnTo>
                <a:lnTo>
                  <a:pt x="2199" y="1430"/>
                </a:lnTo>
                <a:lnTo>
                  <a:pt x="2187" y="1405"/>
                </a:lnTo>
                <a:lnTo>
                  <a:pt x="2177" y="1388"/>
                </a:lnTo>
                <a:lnTo>
                  <a:pt x="2172" y="1380"/>
                </a:lnTo>
                <a:lnTo>
                  <a:pt x="2174" y="1379"/>
                </a:lnTo>
                <a:lnTo>
                  <a:pt x="2179" y="1376"/>
                </a:lnTo>
                <a:lnTo>
                  <a:pt x="2187" y="1371"/>
                </a:lnTo>
                <a:lnTo>
                  <a:pt x="2193" y="1364"/>
                </a:lnTo>
                <a:lnTo>
                  <a:pt x="2198" y="1357"/>
                </a:lnTo>
                <a:lnTo>
                  <a:pt x="2199" y="1349"/>
                </a:lnTo>
                <a:lnTo>
                  <a:pt x="2194" y="1342"/>
                </a:lnTo>
                <a:lnTo>
                  <a:pt x="2183" y="1335"/>
                </a:lnTo>
                <a:lnTo>
                  <a:pt x="2168" y="1326"/>
                </a:lnTo>
                <a:lnTo>
                  <a:pt x="2154" y="1313"/>
                </a:lnTo>
                <a:lnTo>
                  <a:pt x="2142" y="1298"/>
                </a:lnTo>
                <a:lnTo>
                  <a:pt x="2132" y="1281"/>
                </a:lnTo>
                <a:lnTo>
                  <a:pt x="2122" y="1265"/>
                </a:lnTo>
                <a:lnTo>
                  <a:pt x="2113" y="1249"/>
                </a:lnTo>
                <a:lnTo>
                  <a:pt x="2107" y="1235"/>
                </a:lnTo>
                <a:lnTo>
                  <a:pt x="2102" y="1224"/>
                </a:lnTo>
                <a:lnTo>
                  <a:pt x="2094" y="1208"/>
                </a:lnTo>
                <a:lnTo>
                  <a:pt x="2086" y="1195"/>
                </a:lnTo>
                <a:lnTo>
                  <a:pt x="2084" y="1184"/>
                </a:lnTo>
                <a:lnTo>
                  <a:pt x="2085" y="1172"/>
                </a:lnTo>
                <a:lnTo>
                  <a:pt x="2086" y="1158"/>
                </a:lnTo>
                <a:lnTo>
                  <a:pt x="2082" y="1146"/>
                </a:lnTo>
                <a:lnTo>
                  <a:pt x="2076" y="1132"/>
                </a:lnTo>
                <a:lnTo>
                  <a:pt x="2067" y="1120"/>
                </a:lnTo>
                <a:lnTo>
                  <a:pt x="2060" y="1103"/>
                </a:lnTo>
                <a:lnTo>
                  <a:pt x="2055" y="1082"/>
                </a:lnTo>
                <a:lnTo>
                  <a:pt x="2056" y="1059"/>
                </a:lnTo>
                <a:lnTo>
                  <a:pt x="2061" y="1034"/>
                </a:lnTo>
                <a:lnTo>
                  <a:pt x="2065" y="1019"/>
                </a:lnTo>
                <a:lnTo>
                  <a:pt x="2067" y="1000"/>
                </a:lnTo>
                <a:lnTo>
                  <a:pt x="2069" y="979"/>
                </a:lnTo>
                <a:lnTo>
                  <a:pt x="2069" y="958"/>
                </a:lnTo>
                <a:lnTo>
                  <a:pt x="2065" y="937"/>
                </a:lnTo>
                <a:lnTo>
                  <a:pt x="2057" y="918"/>
                </a:lnTo>
                <a:lnTo>
                  <a:pt x="2046" y="905"/>
                </a:lnTo>
                <a:lnTo>
                  <a:pt x="2031" y="895"/>
                </a:lnTo>
                <a:lnTo>
                  <a:pt x="2014" y="888"/>
                </a:lnTo>
                <a:lnTo>
                  <a:pt x="1999" y="882"/>
                </a:lnTo>
                <a:lnTo>
                  <a:pt x="1985" y="875"/>
                </a:lnTo>
                <a:lnTo>
                  <a:pt x="1974" y="866"/>
                </a:lnTo>
                <a:lnTo>
                  <a:pt x="1966" y="857"/>
                </a:lnTo>
                <a:lnTo>
                  <a:pt x="1962" y="845"/>
                </a:lnTo>
                <a:lnTo>
                  <a:pt x="1962" y="830"/>
                </a:lnTo>
                <a:lnTo>
                  <a:pt x="1968" y="813"/>
                </a:lnTo>
                <a:lnTo>
                  <a:pt x="1978" y="795"/>
                </a:lnTo>
                <a:lnTo>
                  <a:pt x="1988" y="780"/>
                </a:lnTo>
                <a:lnTo>
                  <a:pt x="1999" y="769"/>
                </a:lnTo>
                <a:lnTo>
                  <a:pt x="2010" y="760"/>
                </a:lnTo>
                <a:lnTo>
                  <a:pt x="2023" y="754"/>
                </a:lnTo>
                <a:lnTo>
                  <a:pt x="2035" y="749"/>
                </a:lnTo>
                <a:lnTo>
                  <a:pt x="2049" y="746"/>
                </a:lnTo>
                <a:lnTo>
                  <a:pt x="2061" y="743"/>
                </a:lnTo>
                <a:lnTo>
                  <a:pt x="2074" y="741"/>
                </a:lnTo>
                <a:lnTo>
                  <a:pt x="2084" y="736"/>
                </a:lnTo>
                <a:lnTo>
                  <a:pt x="2091" y="731"/>
                </a:lnTo>
                <a:lnTo>
                  <a:pt x="2097" y="723"/>
                </a:lnTo>
                <a:lnTo>
                  <a:pt x="2101" y="716"/>
                </a:lnTo>
                <a:lnTo>
                  <a:pt x="2102" y="708"/>
                </a:lnTo>
                <a:lnTo>
                  <a:pt x="2103" y="700"/>
                </a:lnTo>
                <a:lnTo>
                  <a:pt x="2102" y="691"/>
                </a:lnTo>
                <a:lnTo>
                  <a:pt x="2102" y="667"/>
                </a:lnTo>
                <a:lnTo>
                  <a:pt x="2107" y="635"/>
                </a:lnTo>
                <a:lnTo>
                  <a:pt x="2111" y="604"/>
                </a:lnTo>
                <a:lnTo>
                  <a:pt x="2107" y="580"/>
                </a:lnTo>
                <a:lnTo>
                  <a:pt x="2102" y="570"/>
                </a:lnTo>
                <a:lnTo>
                  <a:pt x="2097" y="559"/>
                </a:lnTo>
                <a:lnTo>
                  <a:pt x="2092" y="545"/>
                </a:lnTo>
                <a:lnTo>
                  <a:pt x="2086" y="531"/>
                </a:lnTo>
                <a:lnTo>
                  <a:pt x="2080" y="517"/>
                </a:lnTo>
                <a:lnTo>
                  <a:pt x="2074" y="503"/>
                </a:lnTo>
                <a:lnTo>
                  <a:pt x="2067" y="492"/>
                </a:lnTo>
                <a:lnTo>
                  <a:pt x="2061" y="482"/>
                </a:lnTo>
                <a:lnTo>
                  <a:pt x="2054" y="471"/>
                </a:lnTo>
                <a:lnTo>
                  <a:pt x="2046" y="457"/>
                </a:lnTo>
                <a:lnTo>
                  <a:pt x="2039" y="441"/>
                </a:lnTo>
                <a:lnTo>
                  <a:pt x="2031" y="425"/>
                </a:lnTo>
                <a:lnTo>
                  <a:pt x="2024" y="408"/>
                </a:lnTo>
                <a:lnTo>
                  <a:pt x="2019" y="393"/>
                </a:lnTo>
                <a:lnTo>
                  <a:pt x="2015" y="380"/>
                </a:lnTo>
                <a:lnTo>
                  <a:pt x="2014" y="372"/>
                </a:lnTo>
                <a:lnTo>
                  <a:pt x="2014" y="358"/>
                </a:lnTo>
                <a:lnTo>
                  <a:pt x="2013" y="342"/>
                </a:lnTo>
                <a:lnTo>
                  <a:pt x="2009" y="327"/>
                </a:lnTo>
                <a:lnTo>
                  <a:pt x="2003" y="313"/>
                </a:lnTo>
                <a:lnTo>
                  <a:pt x="1995" y="288"/>
                </a:lnTo>
                <a:lnTo>
                  <a:pt x="1990" y="251"/>
                </a:lnTo>
                <a:lnTo>
                  <a:pt x="1987" y="217"/>
                </a:lnTo>
                <a:lnTo>
                  <a:pt x="1985" y="203"/>
                </a:lnTo>
                <a:lnTo>
                  <a:pt x="1840" y="104"/>
                </a:lnTo>
                <a:close/>
              </a:path>
            </a:pathLst>
          </a:custGeom>
          <a:solidFill>
            <a:srgbClr val="00A1DE"/>
          </a:solid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8" name="Text Placeholder 12"/>
          <p:cNvSpPr>
            <a:spLocks/>
          </p:cNvSpPr>
          <p:nvPr>
            <p:custDataLst>
              <p:tags r:id="rId1"/>
            </p:custDataLst>
          </p:nvPr>
        </p:nvSpPr>
        <p:spPr bwMode="auto">
          <a:xfrm>
            <a:off x="1440656" y="1131570"/>
            <a:ext cx="360676" cy="115416"/>
          </a:xfrm>
          <a:prstGeom prst="rect">
            <a:avLst/>
          </a:prstGeom>
          <a:noFill/>
          <a:ln w="9525">
            <a:noFill/>
            <a:miter lim="800000"/>
            <a:headEnd/>
            <a:tailEnd/>
          </a:ln>
        </p:spPr>
        <p:txBody>
          <a:bodyPr wrap="none" lIns="0" tIns="0" rIns="0" bIns="0">
            <a:spAutoFit/>
          </a:bodyPr>
          <a:lstStyle/>
          <a:p>
            <a:pPr defTabSz="764381">
              <a:buClrTx/>
            </a:pPr>
            <a:r>
              <a:rPr lang="en-US" sz="750" kern="1200" dirty="0">
                <a:solidFill>
                  <a:srgbClr val="313131"/>
                </a:solidFill>
                <a:ea typeface="+mn-ea"/>
                <a:cs typeface="+mn-cs"/>
              </a:rPr>
              <a:t>Hungary</a:t>
            </a:r>
          </a:p>
        </p:txBody>
      </p:sp>
      <p:sp>
        <p:nvSpPr>
          <p:cNvPr id="10" name="Text Placeholder 12"/>
          <p:cNvSpPr>
            <a:spLocks/>
          </p:cNvSpPr>
          <p:nvPr>
            <p:custDataLst>
              <p:tags r:id="rId2"/>
            </p:custDataLst>
          </p:nvPr>
        </p:nvSpPr>
        <p:spPr bwMode="auto">
          <a:xfrm>
            <a:off x="5260403" y="1131570"/>
            <a:ext cx="296556" cy="115416"/>
          </a:xfrm>
          <a:prstGeom prst="rect">
            <a:avLst/>
          </a:prstGeom>
          <a:noFill/>
          <a:ln w="9525">
            <a:noFill/>
            <a:miter lim="800000"/>
            <a:headEnd/>
            <a:tailEnd/>
          </a:ln>
        </p:spPr>
        <p:txBody>
          <a:bodyPr wrap="none" lIns="0" tIns="0" rIns="0" bIns="0">
            <a:spAutoFit/>
          </a:bodyPr>
          <a:lstStyle/>
          <a:p>
            <a:pPr defTabSz="764381">
              <a:buClrTx/>
            </a:pPr>
            <a:r>
              <a:rPr lang="en-US" sz="750" kern="1200" dirty="0">
                <a:solidFill>
                  <a:srgbClr val="313131"/>
                </a:solidFill>
                <a:ea typeface="+mn-ea"/>
                <a:cs typeface="+mn-cs"/>
              </a:rPr>
              <a:t>Poland</a:t>
            </a:r>
          </a:p>
        </p:txBody>
      </p:sp>
      <p:sp>
        <p:nvSpPr>
          <p:cNvPr id="13" name="Rectangle 3"/>
          <p:cNvSpPr>
            <a:spLocks noChangeArrowheads="1"/>
          </p:cNvSpPr>
          <p:nvPr/>
        </p:nvSpPr>
        <p:spPr bwMode="auto">
          <a:xfrm>
            <a:off x="5337545" y="1"/>
            <a:ext cx="2663456" cy="600164"/>
          </a:xfrm>
          <a:prstGeom prst="rect">
            <a:avLst/>
          </a:prstGeom>
          <a:solidFill>
            <a:schemeClr val="accent6"/>
          </a:solidFill>
          <a:ln w="6350" algn="ctr">
            <a:solidFill>
              <a:schemeClr val="bg1"/>
            </a:solidFill>
            <a:miter lim="800000"/>
            <a:headEnd/>
            <a:tailEnd/>
          </a:ln>
        </p:spPr>
        <p:txBody>
          <a:bodyPr wrap="square" tIns="68580" bIns="68580">
            <a:spAutoFit/>
          </a:bodyPr>
          <a:lstStyle/>
          <a:p>
            <a:pPr defTabSz="685800">
              <a:buClrTx/>
              <a:defRPr/>
            </a:pPr>
            <a:r>
              <a:rPr lang="en-US" altLang="ja-JP" sz="750" kern="1200" dirty="0">
                <a:solidFill>
                  <a:srgbClr val="313131"/>
                </a:solidFill>
                <a:ea typeface="ＭＳ Ｐゴシック" pitchFamily="50" charset="-128"/>
                <a:cs typeface="+mn-cs"/>
              </a:rPr>
              <a:t>Tip! Click once to select the entire map, and again to select one or more regions within it</a:t>
            </a:r>
            <a:br>
              <a:rPr lang="en-US" altLang="ja-JP" sz="750" kern="1200" dirty="0">
                <a:solidFill>
                  <a:srgbClr val="313131"/>
                </a:solidFill>
                <a:ea typeface="ＭＳ Ｐゴシック" pitchFamily="50" charset="-128"/>
                <a:cs typeface="+mn-cs"/>
              </a:rPr>
            </a:br>
            <a:r>
              <a:rPr lang="en-US" altLang="ja-JP" sz="750" kern="1200" dirty="0">
                <a:solidFill>
                  <a:srgbClr val="313131"/>
                </a:solidFill>
                <a:ea typeface="ＭＳ Ｐゴシック" pitchFamily="50" charset="-128"/>
                <a:cs typeface="+mn-cs"/>
              </a:rPr>
              <a:t>Country/regional maps are a representative sample – more will be added</a:t>
            </a:r>
            <a:endParaRPr lang="en-US" sz="750" kern="1200" dirty="0">
              <a:solidFill>
                <a:srgbClr val="313131"/>
              </a:solidFill>
              <a:ea typeface="ＭＳ Ｐゴシック" pitchFamily="50" charset="-128"/>
              <a:cs typeface="+mn-cs"/>
            </a:endParaRPr>
          </a:p>
        </p:txBody>
      </p:sp>
      <p:sp>
        <p:nvSpPr>
          <p:cNvPr id="12" name="TextBox 11"/>
          <p:cNvSpPr txBox="1"/>
          <p:nvPr/>
        </p:nvSpPr>
        <p:spPr>
          <a:xfrm>
            <a:off x="5337546" y="733425"/>
            <a:ext cx="2663455" cy="1107996"/>
          </a:xfrm>
          <a:prstGeom prst="rect">
            <a:avLst/>
          </a:prstGeom>
          <a:solidFill>
            <a:srgbClr val="ED1B2F"/>
          </a:solidFill>
        </p:spPr>
        <p:txBody>
          <a:bodyPr wrap="square" lIns="68580" tIns="68580" rIns="68580" bIns="68580" rtlCol="0">
            <a:spAutoFit/>
          </a:bodyPr>
          <a:lstStyle/>
          <a:p>
            <a:pPr defTabSz="685800">
              <a:buClrTx/>
            </a:pPr>
            <a:r>
              <a:rPr lang="en-US" sz="1050" kern="1200" dirty="0">
                <a:solidFill>
                  <a:prstClr val="white"/>
                </a:solidFill>
                <a:ea typeface="+mn-ea"/>
                <a:cs typeface="+mn-cs"/>
              </a:rPr>
              <a:t>Maps are for directional purposes only and are not intended to be exact renditions of country borders. For specific information about country borders and maps, please contact the local member firm.</a:t>
            </a:r>
          </a:p>
        </p:txBody>
      </p:sp>
    </p:spTree>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ps </a:t>
            </a:r>
            <a:br>
              <a:rPr lang="en-US" dirty="0"/>
            </a:br>
            <a:r>
              <a:rPr lang="en-US" dirty="0">
                <a:solidFill>
                  <a:srgbClr val="575757"/>
                </a:solidFill>
              </a:rPr>
              <a:t>Russia</a:t>
            </a:r>
          </a:p>
        </p:txBody>
      </p:sp>
      <p:grpSp>
        <p:nvGrpSpPr>
          <p:cNvPr id="108" name="Group 107"/>
          <p:cNvGrpSpPr/>
          <p:nvPr/>
        </p:nvGrpSpPr>
        <p:grpSpPr bwMode="gray">
          <a:xfrm>
            <a:off x="1595992" y="1032272"/>
            <a:ext cx="5952017" cy="3456246"/>
            <a:chOff x="412750" y="734828"/>
            <a:chExt cx="9040813" cy="5249863"/>
          </a:xfrm>
          <a:solidFill>
            <a:srgbClr val="00A1DE"/>
          </a:solidFill>
        </p:grpSpPr>
        <p:sp>
          <p:nvSpPr>
            <p:cNvPr id="4" name="Freeform 172"/>
            <p:cNvSpPr>
              <a:spLocks noChangeArrowheads="1"/>
            </p:cNvSpPr>
            <p:nvPr>
              <p:custDataLst>
                <p:tags r:id="rId1"/>
              </p:custDataLst>
            </p:nvPr>
          </p:nvSpPr>
          <p:spPr bwMode="gray">
            <a:xfrm>
              <a:off x="6435725" y="4495616"/>
              <a:ext cx="871538" cy="1274762"/>
            </a:xfrm>
            <a:custGeom>
              <a:avLst/>
              <a:gdLst>
                <a:gd name="T0" fmla="*/ 0 w 870915"/>
                <a:gd name="T1" fmla="*/ 0 h 1273969"/>
                <a:gd name="T2" fmla="*/ 870915 w 870915"/>
                <a:gd name="T3" fmla="*/ 1273969 h 1273969"/>
              </a:gdLst>
              <a:ahLst/>
              <a:cxnLst/>
              <a:rect l="T0" t="T1" r="T2" b="T3"/>
              <a:pathLst>
                <a:path w="870915" h="1273969">
                  <a:moveTo>
                    <a:pt x="9910" y="1216819"/>
                  </a:moveTo>
                  <a:cubicBezTo>
                    <a:pt x="12688" y="1216025"/>
                    <a:pt x="16712" y="1216253"/>
                    <a:pt x="19435" y="1214438"/>
                  </a:cubicBezTo>
                  <a:cubicBezTo>
                    <a:pt x="40975" y="1200077"/>
                    <a:pt x="7987" y="1212696"/>
                    <a:pt x="31341" y="1204913"/>
                  </a:cubicBezTo>
                  <a:cubicBezTo>
                    <a:pt x="32135" y="1202532"/>
                    <a:pt x="33722" y="1200279"/>
                    <a:pt x="33722" y="1197769"/>
                  </a:cubicBezTo>
                  <a:cubicBezTo>
                    <a:pt x="33722" y="1190172"/>
                    <a:pt x="30365" y="1185212"/>
                    <a:pt x="24197" y="1181100"/>
                  </a:cubicBezTo>
                  <a:cubicBezTo>
                    <a:pt x="22109" y="1179708"/>
                    <a:pt x="19299" y="1179841"/>
                    <a:pt x="17054" y="1178719"/>
                  </a:cubicBezTo>
                  <a:cubicBezTo>
                    <a:pt x="14494" y="1177439"/>
                    <a:pt x="12291" y="1175544"/>
                    <a:pt x="9910" y="1173957"/>
                  </a:cubicBezTo>
                  <a:cubicBezTo>
                    <a:pt x="8322" y="1171576"/>
                    <a:pt x="6427" y="1169373"/>
                    <a:pt x="5147" y="1166813"/>
                  </a:cubicBezTo>
                  <a:cubicBezTo>
                    <a:pt x="1477" y="1159473"/>
                    <a:pt x="1205" y="1147182"/>
                    <a:pt x="385" y="1140619"/>
                  </a:cubicBezTo>
                  <a:cubicBezTo>
                    <a:pt x="4570" y="1128063"/>
                    <a:pt x="0" y="1138224"/>
                    <a:pt x="9910" y="1126332"/>
                  </a:cubicBezTo>
                  <a:cubicBezTo>
                    <a:pt x="19834" y="1114423"/>
                    <a:pt x="8716" y="1123159"/>
                    <a:pt x="21816" y="1114425"/>
                  </a:cubicBezTo>
                  <a:cubicBezTo>
                    <a:pt x="21022" y="1109663"/>
                    <a:pt x="21292" y="1104595"/>
                    <a:pt x="19435" y="1100138"/>
                  </a:cubicBezTo>
                  <a:cubicBezTo>
                    <a:pt x="17234" y="1094854"/>
                    <a:pt x="11720" y="1091280"/>
                    <a:pt x="9910" y="1085850"/>
                  </a:cubicBezTo>
                  <a:lnTo>
                    <a:pt x="7529" y="1078707"/>
                  </a:lnTo>
                  <a:cubicBezTo>
                    <a:pt x="8323" y="1075532"/>
                    <a:pt x="7755" y="1071645"/>
                    <a:pt x="9910" y="1069182"/>
                  </a:cubicBezTo>
                  <a:cubicBezTo>
                    <a:pt x="25034" y="1051897"/>
                    <a:pt x="49429" y="1058329"/>
                    <a:pt x="69441" y="1057275"/>
                  </a:cubicBezTo>
                  <a:cubicBezTo>
                    <a:pt x="83103" y="1052722"/>
                    <a:pt x="70352" y="1058155"/>
                    <a:pt x="83729" y="1047750"/>
                  </a:cubicBezTo>
                  <a:cubicBezTo>
                    <a:pt x="88247" y="1044236"/>
                    <a:pt x="98016" y="1038225"/>
                    <a:pt x="98016" y="1038225"/>
                  </a:cubicBezTo>
                  <a:cubicBezTo>
                    <a:pt x="99604" y="1035844"/>
                    <a:pt x="100947" y="1033280"/>
                    <a:pt x="102779" y="1031082"/>
                  </a:cubicBezTo>
                  <a:cubicBezTo>
                    <a:pt x="117026" y="1013986"/>
                    <a:pt x="119368" y="1023413"/>
                    <a:pt x="152785" y="1021557"/>
                  </a:cubicBezTo>
                  <a:cubicBezTo>
                    <a:pt x="155166" y="1019969"/>
                    <a:pt x="157730" y="1018626"/>
                    <a:pt x="159929" y="1016794"/>
                  </a:cubicBezTo>
                  <a:cubicBezTo>
                    <a:pt x="162516" y="1014638"/>
                    <a:pt x="164231" y="1011458"/>
                    <a:pt x="167072" y="1009650"/>
                  </a:cubicBezTo>
                  <a:cubicBezTo>
                    <a:pt x="197413" y="990341"/>
                    <a:pt x="177175" y="1009071"/>
                    <a:pt x="193266" y="992982"/>
                  </a:cubicBezTo>
                  <a:cubicBezTo>
                    <a:pt x="194060" y="985044"/>
                    <a:pt x="194519" y="977066"/>
                    <a:pt x="195647" y="969169"/>
                  </a:cubicBezTo>
                  <a:cubicBezTo>
                    <a:pt x="196558" y="962796"/>
                    <a:pt x="198108" y="957183"/>
                    <a:pt x="202791" y="952500"/>
                  </a:cubicBezTo>
                  <a:cubicBezTo>
                    <a:pt x="204815" y="950476"/>
                    <a:pt x="207554" y="949325"/>
                    <a:pt x="209935" y="947738"/>
                  </a:cubicBezTo>
                  <a:cubicBezTo>
                    <a:pt x="212316" y="944563"/>
                    <a:pt x="214496" y="941226"/>
                    <a:pt x="217079" y="938213"/>
                  </a:cubicBezTo>
                  <a:cubicBezTo>
                    <a:pt x="219270" y="935656"/>
                    <a:pt x="222155" y="933727"/>
                    <a:pt x="224222" y="931069"/>
                  </a:cubicBezTo>
                  <a:cubicBezTo>
                    <a:pt x="227736" y="926551"/>
                    <a:pt x="229700" y="920829"/>
                    <a:pt x="233747" y="916782"/>
                  </a:cubicBezTo>
                  <a:lnTo>
                    <a:pt x="248035" y="902494"/>
                  </a:lnTo>
                  <a:cubicBezTo>
                    <a:pt x="252174" y="890077"/>
                    <a:pt x="247355" y="899659"/>
                    <a:pt x="257560" y="890588"/>
                  </a:cubicBezTo>
                  <a:cubicBezTo>
                    <a:pt x="265679" y="883371"/>
                    <a:pt x="269724" y="876171"/>
                    <a:pt x="278991" y="871538"/>
                  </a:cubicBezTo>
                  <a:cubicBezTo>
                    <a:pt x="281236" y="870416"/>
                    <a:pt x="283754" y="869951"/>
                    <a:pt x="286135" y="869157"/>
                  </a:cubicBezTo>
                  <a:cubicBezTo>
                    <a:pt x="297326" y="857966"/>
                    <a:pt x="290477" y="863882"/>
                    <a:pt x="307566" y="852488"/>
                  </a:cubicBezTo>
                  <a:lnTo>
                    <a:pt x="321854" y="842963"/>
                  </a:lnTo>
                  <a:lnTo>
                    <a:pt x="328997" y="840582"/>
                  </a:lnTo>
                  <a:cubicBezTo>
                    <a:pt x="331378" y="838201"/>
                    <a:pt x="333339" y="835306"/>
                    <a:pt x="336141" y="833438"/>
                  </a:cubicBezTo>
                  <a:cubicBezTo>
                    <a:pt x="338230" y="832046"/>
                    <a:pt x="341325" y="832625"/>
                    <a:pt x="343285" y="831057"/>
                  </a:cubicBezTo>
                  <a:cubicBezTo>
                    <a:pt x="345520" y="829269"/>
                    <a:pt x="346023" y="825937"/>
                    <a:pt x="348047" y="823913"/>
                  </a:cubicBezTo>
                  <a:cubicBezTo>
                    <a:pt x="350071" y="821889"/>
                    <a:pt x="352810" y="820738"/>
                    <a:pt x="355191" y="819150"/>
                  </a:cubicBezTo>
                  <a:cubicBezTo>
                    <a:pt x="366108" y="802774"/>
                    <a:pt x="359286" y="806673"/>
                    <a:pt x="371860" y="802482"/>
                  </a:cubicBezTo>
                  <a:cubicBezTo>
                    <a:pt x="375936" y="790254"/>
                    <a:pt x="376622" y="789942"/>
                    <a:pt x="376622" y="771525"/>
                  </a:cubicBezTo>
                  <a:cubicBezTo>
                    <a:pt x="376622" y="761176"/>
                    <a:pt x="376148" y="750741"/>
                    <a:pt x="374241" y="740569"/>
                  </a:cubicBezTo>
                  <a:cubicBezTo>
                    <a:pt x="373714" y="737756"/>
                    <a:pt x="371311" y="735624"/>
                    <a:pt x="369479" y="733425"/>
                  </a:cubicBezTo>
                  <a:cubicBezTo>
                    <a:pt x="365719" y="728913"/>
                    <a:pt x="360540" y="724194"/>
                    <a:pt x="355191" y="721519"/>
                  </a:cubicBezTo>
                  <a:cubicBezTo>
                    <a:pt x="351776" y="719811"/>
                    <a:pt x="341572" y="717520"/>
                    <a:pt x="338522" y="716757"/>
                  </a:cubicBezTo>
                  <a:cubicBezTo>
                    <a:pt x="336141" y="715169"/>
                    <a:pt x="332966" y="714375"/>
                    <a:pt x="331379" y="711994"/>
                  </a:cubicBezTo>
                  <a:cubicBezTo>
                    <a:pt x="329564" y="709271"/>
                    <a:pt x="328997" y="705742"/>
                    <a:pt x="328997" y="702469"/>
                  </a:cubicBezTo>
                  <a:cubicBezTo>
                    <a:pt x="328997" y="689744"/>
                    <a:pt x="330113" y="677031"/>
                    <a:pt x="331379" y="664369"/>
                  </a:cubicBezTo>
                  <a:cubicBezTo>
                    <a:pt x="331705" y="661113"/>
                    <a:pt x="331945" y="657567"/>
                    <a:pt x="333760" y="654844"/>
                  </a:cubicBezTo>
                  <a:cubicBezTo>
                    <a:pt x="335348" y="652463"/>
                    <a:pt x="338705" y="651914"/>
                    <a:pt x="340904" y="650082"/>
                  </a:cubicBezTo>
                  <a:cubicBezTo>
                    <a:pt x="352796" y="640172"/>
                    <a:pt x="342635" y="644742"/>
                    <a:pt x="355191" y="640557"/>
                  </a:cubicBezTo>
                  <a:cubicBezTo>
                    <a:pt x="362215" y="635874"/>
                    <a:pt x="363749" y="635526"/>
                    <a:pt x="369479" y="628650"/>
                  </a:cubicBezTo>
                  <a:cubicBezTo>
                    <a:pt x="371311" y="626452"/>
                    <a:pt x="372654" y="623888"/>
                    <a:pt x="374241" y="621507"/>
                  </a:cubicBezTo>
                  <a:cubicBezTo>
                    <a:pt x="379972" y="604311"/>
                    <a:pt x="373741" y="624755"/>
                    <a:pt x="379004" y="590550"/>
                  </a:cubicBezTo>
                  <a:cubicBezTo>
                    <a:pt x="379386" y="588069"/>
                    <a:pt x="379844" y="585388"/>
                    <a:pt x="381385" y="583407"/>
                  </a:cubicBezTo>
                  <a:cubicBezTo>
                    <a:pt x="385520" y="578090"/>
                    <a:pt x="395672" y="569119"/>
                    <a:pt x="395672" y="569119"/>
                  </a:cubicBezTo>
                  <a:cubicBezTo>
                    <a:pt x="401660" y="551161"/>
                    <a:pt x="392887" y="572600"/>
                    <a:pt x="405197" y="557213"/>
                  </a:cubicBezTo>
                  <a:cubicBezTo>
                    <a:pt x="406765" y="555253"/>
                    <a:pt x="406456" y="552314"/>
                    <a:pt x="407579" y="550069"/>
                  </a:cubicBezTo>
                  <a:cubicBezTo>
                    <a:pt x="411548" y="542130"/>
                    <a:pt x="412340" y="542926"/>
                    <a:pt x="419485" y="538163"/>
                  </a:cubicBezTo>
                  <a:cubicBezTo>
                    <a:pt x="425212" y="529572"/>
                    <a:pt x="428745" y="523259"/>
                    <a:pt x="438535" y="516732"/>
                  </a:cubicBezTo>
                  <a:cubicBezTo>
                    <a:pt x="443297" y="513557"/>
                    <a:pt x="448775" y="511254"/>
                    <a:pt x="452822" y="507207"/>
                  </a:cubicBezTo>
                  <a:cubicBezTo>
                    <a:pt x="455203" y="504826"/>
                    <a:pt x="457810" y="502650"/>
                    <a:pt x="459966" y="500063"/>
                  </a:cubicBezTo>
                  <a:cubicBezTo>
                    <a:pt x="461798" y="497864"/>
                    <a:pt x="462705" y="494943"/>
                    <a:pt x="464729" y="492919"/>
                  </a:cubicBezTo>
                  <a:cubicBezTo>
                    <a:pt x="466752" y="490896"/>
                    <a:pt x="469491" y="489744"/>
                    <a:pt x="471872" y="488157"/>
                  </a:cubicBezTo>
                  <a:cubicBezTo>
                    <a:pt x="471078" y="478632"/>
                    <a:pt x="473322" y="468339"/>
                    <a:pt x="469491" y="459582"/>
                  </a:cubicBezTo>
                  <a:cubicBezTo>
                    <a:pt x="466696" y="453193"/>
                    <a:pt x="454678" y="449882"/>
                    <a:pt x="448060" y="447675"/>
                  </a:cubicBezTo>
                  <a:cubicBezTo>
                    <a:pt x="446472" y="444500"/>
                    <a:pt x="445570" y="440877"/>
                    <a:pt x="443297" y="438150"/>
                  </a:cubicBezTo>
                  <a:cubicBezTo>
                    <a:pt x="441465" y="435952"/>
                    <a:pt x="438483" y="435051"/>
                    <a:pt x="436154" y="433388"/>
                  </a:cubicBezTo>
                  <a:cubicBezTo>
                    <a:pt x="432924" y="431081"/>
                    <a:pt x="430256" y="427856"/>
                    <a:pt x="426629" y="426244"/>
                  </a:cubicBezTo>
                  <a:cubicBezTo>
                    <a:pt x="422930" y="424600"/>
                    <a:pt x="418666" y="424773"/>
                    <a:pt x="414722" y="423863"/>
                  </a:cubicBezTo>
                  <a:cubicBezTo>
                    <a:pt x="408344" y="422391"/>
                    <a:pt x="402022" y="420688"/>
                    <a:pt x="395672" y="419100"/>
                  </a:cubicBezTo>
                  <a:cubicBezTo>
                    <a:pt x="382577" y="410370"/>
                    <a:pt x="393688" y="419100"/>
                    <a:pt x="383766" y="407194"/>
                  </a:cubicBezTo>
                  <a:cubicBezTo>
                    <a:pt x="368489" y="388862"/>
                    <a:pt x="383682" y="410640"/>
                    <a:pt x="371860" y="392907"/>
                  </a:cubicBezTo>
                  <a:cubicBezTo>
                    <a:pt x="371066" y="390526"/>
                    <a:pt x="370698" y="387957"/>
                    <a:pt x="369479" y="385763"/>
                  </a:cubicBezTo>
                  <a:cubicBezTo>
                    <a:pt x="366699" y="380759"/>
                    <a:pt x="361764" y="376905"/>
                    <a:pt x="359954" y="371475"/>
                  </a:cubicBezTo>
                  <a:lnTo>
                    <a:pt x="355191" y="357188"/>
                  </a:lnTo>
                  <a:cubicBezTo>
                    <a:pt x="354397" y="354807"/>
                    <a:pt x="354202" y="352132"/>
                    <a:pt x="352810" y="350044"/>
                  </a:cubicBezTo>
                  <a:lnTo>
                    <a:pt x="348047" y="342900"/>
                  </a:lnTo>
                  <a:cubicBezTo>
                    <a:pt x="347253" y="340519"/>
                    <a:pt x="347058" y="337845"/>
                    <a:pt x="345666" y="335757"/>
                  </a:cubicBezTo>
                  <a:cubicBezTo>
                    <a:pt x="342000" y="330258"/>
                    <a:pt x="336649" y="327364"/>
                    <a:pt x="331379" y="323850"/>
                  </a:cubicBezTo>
                  <a:cubicBezTo>
                    <a:pt x="328204" y="319088"/>
                    <a:pt x="323243" y="315116"/>
                    <a:pt x="321854" y="309563"/>
                  </a:cubicBezTo>
                  <a:cubicBezTo>
                    <a:pt x="321060" y="306388"/>
                    <a:pt x="320936" y="302965"/>
                    <a:pt x="319472" y="300038"/>
                  </a:cubicBezTo>
                  <a:cubicBezTo>
                    <a:pt x="316912" y="294918"/>
                    <a:pt x="309947" y="285750"/>
                    <a:pt x="309947" y="285750"/>
                  </a:cubicBezTo>
                  <a:cubicBezTo>
                    <a:pt x="306221" y="274572"/>
                    <a:pt x="305185" y="273127"/>
                    <a:pt x="305185" y="257175"/>
                  </a:cubicBezTo>
                  <a:cubicBezTo>
                    <a:pt x="305185" y="253902"/>
                    <a:pt x="305522" y="250206"/>
                    <a:pt x="307566" y="247650"/>
                  </a:cubicBezTo>
                  <a:cubicBezTo>
                    <a:pt x="309134" y="245690"/>
                    <a:pt x="312329" y="246063"/>
                    <a:pt x="314710" y="245269"/>
                  </a:cubicBezTo>
                  <a:cubicBezTo>
                    <a:pt x="333988" y="251694"/>
                    <a:pt x="332543" y="252180"/>
                    <a:pt x="367097" y="245269"/>
                  </a:cubicBezTo>
                  <a:cubicBezTo>
                    <a:pt x="372710" y="244146"/>
                    <a:pt x="376622" y="238919"/>
                    <a:pt x="381385" y="235744"/>
                  </a:cubicBezTo>
                  <a:cubicBezTo>
                    <a:pt x="390616" y="229590"/>
                    <a:pt x="385815" y="231887"/>
                    <a:pt x="395672" y="228600"/>
                  </a:cubicBezTo>
                  <a:cubicBezTo>
                    <a:pt x="411735" y="212538"/>
                    <a:pt x="407830" y="220703"/>
                    <a:pt x="412341" y="207169"/>
                  </a:cubicBezTo>
                  <a:cubicBezTo>
                    <a:pt x="411547" y="196850"/>
                    <a:pt x="412594" y="186221"/>
                    <a:pt x="409960" y="176213"/>
                  </a:cubicBezTo>
                  <a:cubicBezTo>
                    <a:pt x="408503" y="170678"/>
                    <a:pt x="400435" y="161925"/>
                    <a:pt x="400435" y="161925"/>
                  </a:cubicBezTo>
                  <a:cubicBezTo>
                    <a:pt x="400414" y="161840"/>
                    <a:pt x="396813" y="146398"/>
                    <a:pt x="395672" y="145257"/>
                  </a:cubicBezTo>
                  <a:cubicBezTo>
                    <a:pt x="391625" y="141210"/>
                    <a:pt x="386147" y="138907"/>
                    <a:pt x="381385" y="135732"/>
                  </a:cubicBezTo>
                  <a:lnTo>
                    <a:pt x="374241" y="130969"/>
                  </a:lnTo>
                  <a:cubicBezTo>
                    <a:pt x="372654" y="128588"/>
                    <a:pt x="370759" y="126385"/>
                    <a:pt x="369479" y="123825"/>
                  </a:cubicBezTo>
                  <a:cubicBezTo>
                    <a:pt x="368356" y="121580"/>
                    <a:pt x="368489" y="118770"/>
                    <a:pt x="367097" y="116682"/>
                  </a:cubicBezTo>
                  <a:cubicBezTo>
                    <a:pt x="365229" y="113880"/>
                    <a:pt x="362110" y="112125"/>
                    <a:pt x="359954" y="109538"/>
                  </a:cubicBezTo>
                  <a:cubicBezTo>
                    <a:pt x="358122" y="107339"/>
                    <a:pt x="356779" y="104775"/>
                    <a:pt x="355191" y="102394"/>
                  </a:cubicBezTo>
                  <a:cubicBezTo>
                    <a:pt x="353604" y="97632"/>
                    <a:pt x="348842" y="92869"/>
                    <a:pt x="350429" y="88107"/>
                  </a:cubicBezTo>
                  <a:lnTo>
                    <a:pt x="355191" y="73819"/>
                  </a:lnTo>
                  <a:cubicBezTo>
                    <a:pt x="355985" y="57944"/>
                    <a:pt x="353121" y="41453"/>
                    <a:pt x="357572" y="26194"/>
                  </a:cubicBezTo>
                  <a:cubicBezTo>
                    <a:pt x="359175" y="20699"/>
                    <a:pt x="367097" y="19844"/>
                    <a:pt x="371860" y="16669"/>
                  </a:cubicBezTo>
                  <a:lnTo>
                    <a:pt x="379004" y="11907"/>
                  </a:lnTo>
                  <a:cubicBezTo>
                    <a:pt x="394761" y="1402"/>
                    <a:pt x="383282" y="7364"/>
                    <a:pt x="417104" y="4763"/>
                  </a:cubicBezTo>
                  <a:cubicBezTo>
                    <a:pt x="425437" y="2680"/>
                    <a:pt x="434770" y="0"/>
                    <a:pt x="443297" y="0"/>
                  </a:cubicBezTo>
                  <a:cubicBezTo>
                    <a:pt x="451274" y="0"/>
                    <a:pt x="459172" y="1588"/>
                    <a:pt x="467110" y="2382"/>
                  </a:cubicBezTo>
                  <a:cubicBezTo>
                    <a:pt x="469491" y="3969"/>
                    <a:pt x="472466" y="4909"/>
                    <a:pt x="474254" y="7144"/>
                  </a:cubicBezTo>
                  <a:cubicBezTo>
                    <a:pt x="475822" y="9104"/>
                    <a:pt x="475416" y="12094"/>
                    <a:pt x="476635" y="14288"/>
                  </a:cubicBezTo>
                  <a:cubicBezTo>
                    <a:pt x="479415" y="19291"/>
                    <a:pt x="482985" y="23813"/>
                    <a:pt x="486160" y="28575"/>
                  </a:cubicBezTo>
                  <a:lnTo>
                    <a:pt x="490922" y="35719"/>
                  </a:lnTo>
                  <a:cubicBezTo>
                    <a:pt x="491716" y="38894"/>
                    <a:pt x="492594" y="42049"/>
                    <a:pt x="493304" y="45244"/>
                  </a:cubicBezTo>
                  <a:cubicBezTo>
                    <a:pt x="494182" y="49195"/>
                    <a:pt x="494703" y="53224"/>
                    <a:pt x="495685" y="57150"/>
                  </a:cubicBezTo>
                  <a:cubicBezTo>
                    <a:pt x="496294" y="59585"/>
                    <a:pt x="496291" y="62519"/>
                    <a:pt x="498066" y="64294"/>
                  </a:cubicBezTo>
                  <a:cubicBezTo>
                    <a:pt x="499841" y="66069"/>
                    <a:pt x="502829" y="65881"/>
                    <a:pt x="505210" y="66675"/>
                  </a:cubicBezTo>
                  <a:cubicBezTo>
                    <a:pt x="507591" y="69056"/>
                    <a:pt x="509696" y="71751"/>
                    <a:pt x="512354" y="73819"/>
                  </a:cubicBezTo>
                  <a:cubicBezTo>
                    <a:pt x="516872" y="77333"/>
                    <a:pt x="526641" y="83344"/>
                    <a:pt x="526641" y="83344"/>
                  </a:cubicBezTo>
                  <a:cubicBezTo>
                    <a:pt x="528578" y="89155"/>
                    <a:pt x="529168" y="93015"/>
                    <a:pt x="533785" y="97632"/>
                  </a:cubicBezTo>
                  <a:cubicBezTo>
                    <a:pt x="535809" y="99656"/>
                    <a:pt x="538548" y="100807"/>
                    <a:pt x="540929" y="102394"/>
                  </a:cubicBezTo>
                  <a:cubicBezTo>
                    <a:pt x="552748" y="120125"/>
                    <a:pt x="537561" y="98353"/>
                    <a:pt x="552835" y="116682"/>
                  </a:cubicBezTo>
                  <a:cubicBezTo>
                    <a:pt x="554667" y="118880"/>
                    <a:pt x="555574" y="121802"/>
                    <a:pt x="557597" y="123825"/>
                  </a:cubicBezTo>
                  <a:cubicBezTo>
                    <a:pt x="562214" y="128442"/>
                    <a:pt x="566073" y="129032"/>
                    <a:pt x="571885" y="130969"/>
                  </a:cubicBezTo>
                  <a:cubicBezTo>
                    <a:pt x="577153" y="136237"/>
                    <a:pt x="580475" y="138625"/>
                    <a:pt x="583791" y="145257"/>
                  </a:cubicBezTo>
                  <a:cubicBezTo>
                    <a:pt x="584913" y="147502"/>
                    <a:pt x="585378" y="150019"/>
                    <a:pt x="586172" y="152400"/>
                  </a:cubicBezTo>
                  <a:cubicBezTo>
                    <a:pt x="586966" y="161131"/>
                    <a:pt x="585182" y="170501"/>
                    <a:pt x="588554" y="178594"/>
                  </a:cubicBezTo>
                  <a:cubicBezTo>
                    <a:pt x="589813" y="181615"/>
                    <a:pt x="594932" y="180076"/>
                    <a:pt x="598079" y="180975"/>
                  </a:cubicBezTo>
                  <a:cubicBezTo>
                    <a:pt x="615855" y="186055"/>
                    <a:pt x="591804" y="181866"/>
                    <a:pt x="626654" y="185738"/>
                  </a:cubicBezTo>
                  <a:cubicBezTo>
                    <a:pt x="629588" y="187694"/>
                    <a:pt x="640024" y="193977"/>
                    <a:pt x="640941" y="197644"/>
                  </a:cubicBezTo>
                  <a:cubicBezTo>
                    <a:pt x="642814" y="205134"/>
                    <a:pt x="637400" y="211290"/>
                    <a:pt x="633797" y="216694"/>
                  </a:cubicBezTo>
                  <a:cubicBezTo>
                    <a:pt x="632250" y="221336"/>
                    <a:pt x="628371" y="228712"/>
                    <a:pt x="633797" y="233363"/>
                  </a:cubicBezTo>
                  <a:cubicBezTo>
                    <a:pt x="637609" y="236630"/>
                    <a:pt x="648085" y="238125"/>
                    <a:pt x="648085" y="238125"/>
                  </a:cubicBezTo>
                  <a:cubicBezTo>
                    <a:pt x="674573" y="234341"/>
                    <a:pt x="656895" y="240269"/>
                    <a:pt x="671897" y="228600"/>
                  </a:cubicBezTo>
                  <a:cubicBezTo>
                    <a:pt x="676415" y="225086"/>
                    <a:pt x="686185" y="219075"/>
                    <a:pt x="686185" y="219075"/>
                  </a:cubicBezTo>
                  <a:cubicBezTo>
                    <a:pt x="687772" y="216694"/>
                    <a:pt x="688141" y="212493"/>
                    <a:pt x="690947" y="211932"/>
                  </a:cubicBezTo>
                  <a:cubicBezTo>
                    <a:pt x="705470" y="209028"/>
                    <a:pt x="711385" y="216924"/>
                    <a:pt x="724285" y="219075"/>
                  </a:cubicBezTo>
                  <a:lnTo>
                    <a:pt x="738572" y="221457"/>
                  </a:lnTo>
                  <a:cubicBezTo>
                    <a:pt x="760155" y="235845"/>
                    <a:pt x="747160" y="230464"/>
                    <a:pt x="779054" y="233363"/>
                  </a:cubicBezTo>
                  <a:cubicBezTo>
                    <a:pt x="780641" y="235744"/>
                    <a:pt x="781581" y="238719"/>
                    <a:pt x="783816" y="240507"/>
                  </a:cubicBezTo>
                  <a:cubicBezTo>
                    <a:pt x="785776" y="242075"/>
                    <a:pt x="788715" y="241766"/>
                    <a:pt x="790960" y="242888"/>
                  </a:cubicBezTo>
                  <a:cubicBezTo>
                    <a:pt x="793520" y="244168"/>
                    <a:pt x="795723" y="246063"/>
                    <a:pt x="798104" y="247650"/>
                  </a:cubicBezTo>
                  <a:cubicBezTo>
                    <a:pt x="799691" y="252413"/>
                    <a:pt x="802243" y="256957"/>
                    <a:pt x="802866" y="261938"/>
                  </a:cubicBezTo>
                  <a:cubicBezTo>
                    <a:pt x="803117" y="263945"/>
                    <a:pt x="806253" y="291149"/>
                    <a:pt x="807629" y="295275"/>
                  </a:cubicBezTo>
                  <a:cubicBezTo>
                    <a:pt x="808534" y="297990"/>
                    <a:pt x="810804" y="300038"/>
                    <a:pt x="812391" y="302419"/>
                  </a:cubicBezTo>
                  <a:cubicBezTo>
                    <a:pt x="813185" y="312738"/>
                    <a:pt x="811194" y="323664"/>
                    <a:pt x="814772" y="333375"/>
                  </a:cubicBezTo>
                  <a:cubicBezTo>
                    <a:pt x="817100" y="339695"/>
                    <a:pt x="829060" y="347663"/>
                    <a:pt x="829060" y="347663"/>
                  </a:cubicBezTo>
                  <a:cubicBezTo>
                    <a:pt x="829854" y="351632"/>
                    <a:pt x="830939" y="355553"/>
                    <a:pt x="831441" y="359569"/>
                  </a:cubicBezTo>
                  <a:cubicBezTo>
                    <a:pt x="832528" y="368269"/>
                    <a:pt x="832582" y="377084"/>
                    <a:pt x="833822" y="385763"/>
                  </a:cubicBezTo>
                  <a:cubicBezTo>
                    <a:pt x="834177" y="388248"/>
                    <a:pt x="834812" y="390818"/>
                    <a:pt x="836204" y="392907"/>
                  </a:cubicBezTo>
                  <a:cubicBezTo>
                    <a:pt x="841421" y="400732"/>
                    <a:pt x="843903" y="399323"/>
                    <a:pt x="850491" y="404813"/>
                  </a:cubicBezTo>
                  <a:cubicBezTo>
                    <a:pt x="853078" y="406969"/>
                    <a:pt x="855254" y="409576"/>
                    <a:pt x="857635" y="411957"/>
                  </a:cubicBezTo>
                  <a:cubicBezTo>
                    <a:pt x="858429" y="414338"/>
                    <a:pt x="858894" y="416855"/>
                    <a:pt x="860016" y="419100"/>
                  </a:cubicBezTo>
                  <a:cubicBezTo>
                    <a:pt x="863082" y="425231"/>
                    <a:pt x="870915" y="429632"/>
                    <a:pt x="862397" y="438150"/>
                  </a:cubicBezTo>
                  <a:cubicBezTo>
                    <a:pt x="862395" y="438152"/>
                    <a:pt x="844539" y="444103"/>
                    <a:pt x="840966" y="445294"/>
                  </a:cubicBezTo>
                  <a:lnTo>
                    <a:pt x="833822" y="447675"/>
                  </a:lnTo>
                  <a:lnTo>
                    <a:pt x="826679" y="450057"/>
                  </a:lnTo>
                  <a:cubicBezTo>
                    <a:pt x="825091" y="452438"/>
                    <a:pt x="823940" y="455176"/>
                    <a:pt x="821916" y="457200"/>
                  </a:cubicBezTo>
                  <a:cubicBezTo>
                    <a:pt x="819892" y="459224"/>
                    <a:pt x="816657" y="459809"/>
                    <a:pt x="814772" y="461963"/>
                  </a:cubicBezTo>
                  <a:cubicBezTo>
                    <a:pt x="811003" y="466270"/>
                    <a:pt x="809294" y="472203"/>
                    <a:pt x="805247" y="476250"/>
                  </a:cubicBezTo>
                  <a:cubicBezTo>
                    <a:pt x="800485" y="481013"/>
                    <a:pt x="794696" y="484934"/>
                    <a:pt x="790960" y="490538"/>
                  </a:cubicBezTo>
                  <a:cubicBezTo>
                    <a:pt x="784329" y="500484"/>
                    <a:pt x="788221" y="495658"/>
                    <a:pt x="779054" y="504825"/>
                  </a:cubicBezTo>
                  <a:cubicBezTo>
                    <a:pt x="778260" y="507206"/>
                    <a:pt x="776672" y="509459"/>
                    <a:pt x="776672" y="511969"/>
                  </a:cubicBezTo>
                  <a:cubicBezTo>
                    <a:pt x="776672" y="562315"/>
                    <a:pt x="774862" y="552351"/>
                    <a:pt x="781435" y="578644"/>
                  </a:cubicBezTo>
                  <a:cubicBezTo>
                    <a:pt x="782229" y="588963"/>
                    <a:pt x="781182" y="599592"/>
                    <a:pt x="783816" y="609600"/>
                  </a:cubicBezTo>
                  <a:cubicBezTo>
                    <a:pt x="785273" y="615135"/>
                    <a:pt x="793341" y="623888"/>
                    <a:pt x="793341" y="623888"/>
                  </a:cubicBezTo>
                  <a:cubicBezTo>
                    <a:pt x="794135" y="627063"/>
                    <a:pt x="793678" y="630857"/>
                    <a:pt x="795722" y="633413"/>
                  </a:cubicBezTo>
                  <a:cubicBezTo>
                    <a:pt x="797290" y="635373"/>
                    <a:pt x="800362" y="635621"/>
                    <a:pt x="802866" y="635794"/>
                  </a:cubicBezTo>
                  <a:cubicBezTo>
                    <a:pt x="823470" y="637215"/>
                    <a:pt x="844141" y="637381"/>
                    <a:pt x="864779" y="638175"/>
                  </a:cubicBezTo>
                  <a:cubicBezTo>
                    <a:pt x="863191" y="643731"/>
                    <a:pt x="863855" y="650525"/>
                    <a:pt x="860016" y="654844"/>
                  </a:cubicBezTo>
                  <a:cubicBezTo>
                    <a:pt x="860014" y="654846"/>
                    <a:pt x="842158" y="660797"/>
                    <a:pt x="838585" y="661988"/>
                  </a:cubicBezTo>
                  <a:lnTo>
                    <a:pt x="831441" y="664369"/>
                  </a:lnTo>
                  <a:cubicBezTo>
                    <a:pt x="829034" y="667979"/>
                    <a:pt x="824297" y="673730"/>
                    <a:pt x="824297" y="678657"/>
                  </a:cubicBezTo>
                  <a:cubicBezTo>
                    <a:pt x="824297" y="681167"/>
                    <a:pt x="825885" y="683419"/>
                    <a:pt x="826679" y="685800"/>
                  </a:cubicBezTo>
                  <a:cubicBezTo>
                    <a:pt x="827473" y="696119"/>
                    <a:pt x="828030" y="706459"/>
                    <a:pt x="829060" y="716757"/>
                  </a:cubicBezTo>
                  <a:cubicBezTo>
                    <a:pt x="829618" y="722342"/>
                    <a:pt x="831260" y="727816"/>
                    <a:pt x="831441" y="733425"/>
                  </a:cubicBezTo>
                  <a:cubicBezTo>
                    <a:pt x="832849" y="777066"/>
                    <a:pt x="832317" y="820756"/>
                    <a:pt x="833822" y="864394"/>
                  </a:cubicBezTo>
                  <a:cubicBezTo>
                    <a:pt x="833909" y="866903"/>
                    <a:pt x="835081" y="869293"/>
                    <a:pt x="836204" y="871538"/>
                  </a:cubicBezTo>
                  <a:cubicBezTo>
                    <a:pt x="837484" y="874098"/>
                    <a:pt x="839686" y="876122"/>
                    <a:pt x="840966" y="878682"/>
                  </a:cubicBezTo>
                  <a:cubicBezTo>
                    <a:pt x="850820" y="898391"/>
                    <a:pt x="834465" y="872503"/>
                    <a:pt x="848110" y="892969"/>
                  </a:cubicBezTo>
                  <a:cubicBezTo>
                    <a:pt x="848904" y="895350"/>
                    <a:pt x="851285" y="897732"/>
                    <a:pt x="850491" y="900113"/>
                  </a:cubicBezTo>
                  <a:cubicBezTo>
                    <a:pt x="849426" y="903308"/>
                    <a:pt x="845503" y="904670"/>
                    <a:pt x="843347" y="907257"/>
                  </a:cubicBezTo>
                  <a:cubicBezTo>
                    <a:pt x="833425" y="919163"/>
                    <a:pt x="844539" y="910431"/>
                    <a:pt x="831441" y="919163"/>
                  </a:cubicBezTo>
                  <a:lnTo>
                    <a:pt x="817154" y="940594"/>
                  </a:lnTo>
                  <a:lnTo>
                    <a:pt x="812391" y="947738"/>
                  </a:lnTo>
                  <a:lnTo>
                    <a:pt x="807629" y="954882"/>
                  </a:lnTo>
                  <a:cubicBezTo>
                    <a:pt x="806041" y="961232"/>
                    <a:pt x="804936" y="967722"/>
                    <a:pt x="802866" y="973932"/>
                  </a:cubicBezTo>
                  <a:cubicBezTo>
                    <a:pt x="802072" y="976313"/>
                    <a:pt x="801704" y="978881"/>
                    <a:pt x="800485" y="981075"/>
                  </a:cubicBezTo>
                  <a:cubicBezTo>
                    <a:pt x="797705" y="986079"/>
                    <a:pt x="794135" y="990600"/>
                    <a:pt x="790960" y="995363"/>
                  </a:cubicBezTo>
                  <a:lnTo>
                    <a:pt x="786197" y="1002507"/>
                  </a:lnTo>
                  <a:cubicBezTo>
                    <a:pt x="784610" y="1004888"/>
                    <a:pt x="784150" y="1008745"/>
                    <a:pt x="781435" y="1009650"/>
                  </a:cubicBezTo>
                  <a:lnTo>
                    <a:pt x="774291" y="1012032"/>
                  </a:lnTo>
                  <a:cubicBezTo>
                    <a:pt x="763972" y="1011238"/>
                    <a:pt x="753604" y="1010934"/>
                    <a:pt x="743335" y="1009650"/>
                  </a:cubicBezTo>
                  <a:cubicBezTo>
                    <a:pt x="740844" y="1009339"/>
                    <a:pt x="738641" y="1007813"/>
                    <a:pt x="736191" y="1007269"/>
                  </a:cubicBezTo>
                  <a:cubicBezTo>
                    <a:pt x="731478" y="1006222"/>
                    <a:pt x="726617" y="1005935"/>
                    <a:pt x="721904" y="1004888"/>
                  </a:cubicBezTo>
                  <a:cubicBezTo>
                    <a:pt x="719454" y="1004344"/>
                    <a:pt x="717221" y="1002999"/>
                    <a:pt x="714760" y="1002507"/>
                  </a:cubicBezTo>
                  <a:cubicBezTo>
                    <a:pt x="709256" y="1001406"/>
                    <a:pt x="703647" y="1000919"/>
                    <a:pt x="698091" y="1000125"/>
                  </a:cubicBezTo>
                  <a:cubicBezTo>
                    <a:pt x="669516" y="1000919"/>
                    <a:pt x="640879" y="1000470"/>
                    <a:pt x="612366" y="1002507"/>
                  </a:cubicBezTo>
                  <a:cubicBezTo>
                    <a:pt x="607359" y="1002865"/>
                    <a:pt x="602841" y="1005682"/>
                    <a:pt x="598079" y="1007269"/>
                  </a:cubicBezTo>
                  <a:cubicBezTo>
                    <a:pt x="595698" y="1008063"/>
                    <a:pt x="593442" y="1009531"/>
                    <a:pt x="590935" y="1009650"/>
                  </a:cubicBezTo>
                  <a:lnTo>
                    <a:pt x="490922" y="1014413"/>
                  </a:lnTo>
                  <a:lnTo>
                    <a:pt x="474254" y="1019175"/>
                  </a:lnTo>
                  <a:cubicBezTo>
                    <a:pt x="471097" y="1020036"/>
                    <a:pt x="467737" y="1020268"/>
                    <a:pt x="464729" y="1021557"/>
                  </a:cubicBezTo>
                  <a:cubicBezTo>
                    <a:pt x="462099" y="1022684"/>
                    <a:pt x="460145" y="1025039"/>
                    <a:pt x="457585" y="1026319"/>
                  </a:cubicBezTo>
                  <a:cubicBezTo>
                    <a:pt x="455340" y="1027441"/>
                    <a:pt x="452822" y="1027906"/>
                    <a:pt x="450441" y="1028700"/>
                  </a:cubicBezTo>
                  <a:cubicBezTo>
                    <a:pt x="448060" y="1030288"/>
                    <a:pt x="445857" y="1032183"/>
                    <a:pt x="443297" y="1033463"/>
                  </a:cubicBezTo>
                  <a:cubicBezTo>
                    <a:pt x="441052" y="1034585"/>
                    <a:pt x="438114" y="1034276"/>
                    <a:pt x="436154" y="1035844"/>
                  </a:cubicBezTo>
                  <a:cubicBezTo>
                    <a:pt x="433919" y="1037632"/>
                    <a:pt x="433292" y="1040849"/>
                    <a:pt x="431391" y="1042988"/>
                  </a:cubicBezTo>
                  <a:cubicBezTo>
                    <a:pt x="426344" y="1048666"/>
                    <a:pt x="417921" y="1058057"/>
                    <a:pt x="409960" y="1062038"/>
                  </a:cubicBezTo>
                  <a:cubicBezTo>
                    <a:pt x="407715" y="1063161"/>
                    <a:pt x="405197" y="1063625"/>
                    <a:pt x="402816" y="1064419"/>
                  </a:cubicBezTo>
                  <a:cubicBezTo>
                    <a:pt x="400435" y="1066007"/>
                    <a:pt x="398001" y="1067518"/>
                    <a:pt x="395672" y="1069182"/>
                  </a:cubicBezTo>
                  <a:cubicBezTo>
                    <a:pt x="374979" y="1083962"/>
                    <a:pt x="395851" y="1069854"/>
                    <a:pt x="379004" y="1081088"/>
                  </a:cubicBezTo>
                  <a:cubicBezTo>
                    <a:pt x="377416" y="1083469"/>
                    <a:pt x="376073" y="1086033"/>
                    <a:pt x="374241" y="1088232"/>
                  </a:cubicBezTo>
                  <a:cubicBezTo>
                    <a:pt x="372085" y="1090819"/>
                    <a:pt x="368965" y="1092573"/>
                    <a:pt x="367097" y="1095375"/>
                  </a:cubicBezTo>
                  <a:cubicBezTo>
                    <a:pt x="365705" y="1097464"/>
                    <a:pt x="365406" y="1100105"/>
                    <a:pt x="364716" y="1102519"/>
                  </a:cubicBezTo>
                  <a:cubicBezTo>
                    <a:pt x="360664" y="1116701"/>
                    <a:pt x="363328" y="1110156"/>
                    <a:pt x="359954" y="1128713"/>
                  </a:cubicBezTo>
                  <a:cubicBezTo>
                    <a:pt x="359368" y="1131933"/>
                    <a:pt x="358471" y="1135091"/>
                    <a:pt x="357572" y="1138238"/>
                  </a:cubicBezTo>
                  <a:cubicBezTo>
                    <a:pt x="355898" y="1144097"/>
                    <a:pt x="354589" y="1149617"/>
                    <a:pt x="348047" y="1152525"/>
                  </a:cubicBezTo>
                  <a:cubicBezTo>
                    <a:pt x="343635" y="1154486"/>
                    <a:pt x="338522" y="1154113"/>
                    <a:pt x="333760" y="1154907"/>
                  </a:cubicBezTo>
                  <a:cubicBezTo>
                    <a:pt x="329791" y="1157288"/>
                    <a:pt x="325436" y="1159119"/>
                    <a:pt x="321854" y="1162050"/>
                  </a:cubicBezTo>
                  <a:cubicBezTo>
                    <a:pt x="316641" y="1166315"/>
                    <a:pt x="307566" y="1176338"/>
                    <a:pt x="307566" y="1176338"/>
                  </a:cubicBezTo>
                  <a:cubicBezTo>
                    <a:pt x="303375" y="1188912"/>
                    <a:pt x="306577" y="1181394"/>
                    <a:pt x="295660" y="1197769"/>
                  </a:cubicBezTo>
                  <a:cubicBezTo>
                    <a:pt x="290897" y="1204913"/>
                    <a:pt x="291691" y="1205706"/>
                    <a:pt x="283754" y="1209675"/>
                  </a:cubicBezTo>
                  <a:cubicBezTo>
                    <a:pt x="277889" y="1212608"/>
                    <a:pt x="267816" y="1213522"/>
                    <a:pt x="262322" y="1214438"/>
                  </a:cubicBezTo>
                  <a:cubicBezTo>
                    <a:pt x="246237" y="1219800"/>
                    <a:pt x="263672" y="1212364"/>
                    <a:pt x="250416" y="1223963"/>
                  </a:cubicBezTo>
                  <a:cubicBezTo>
                    <a:pt x="240338" y="1232782"/>
                    <a:pt x="238797" y="1232599"/>
                    <a:pt x="228985" y="1235869"/>
                  </a:cubicBezTo>
                  <a:cubicBezTo>
                    <a:pt x="225810" y="1238250"/>
                    <a:pt x="222266" y="1240207"/>
                    <a:pt x="219460" y="1243013"/>
                  </a:cubicBezTo>
                  <a:cubicBezTo>
                    <a:pt x="217436" y="1245037"/>
                    <a:pt x="216932" y="1248369"/>
                    <a:pt x="214697" y="1250157"/>
                  </a:cubicBezTo>
                  <a:cubicBezTo>
                    <a:pt x="212737" y="1251725"/>
                    <a:pt x="209799" y="1251416"/>
                    <a:pt x="207554" y="1252538"/>
                  </a:cubicBezTo>
                  <a:cubicBezTo>
                    <a:pt x="204994" y="1253818"/>
                    <a:pt x="203208" y="1256700"/>
                    <a:pt x="200410" y="1257300"/>
                  </a:cubicBezTo>
                  <a:cubicBezTo>
                    <a:pt x="191837" y="1259137"/>
                    <a:pt x="182947" y="1258888"/>
                    <a:pt x="174216" y="1259682"/>
                  </a:cubicBezTo>
                  <a:cubicBezTo>
                    <a:pt x="169690" y="1260587"/>
                    <a:pt x="160046" y="1262004"/>
                    <a:pt x="155166" y="1264444"/>
                  </a:cubicBezTo>
                  <a:cubicBezTo>
                    <a:pt x="152606" y="1265724"/>
                    <a:pt x="150653" y="1268080"/>
                    <a:pt x="148022" y="1269207"/>
                  </a:cubicBezTo>
                  <a:cubicBezTo>
                    <a:pt x="145014" y="1270496"/>
                    <a:pt x="141644" y="1270689"/>
                    <a:pt x="138497" y="1271588"/>
                  </a:cubicBezTo>
                  <a:cubicBezTo>
                    <a:pt x="136084" y="1272277"/>
                    <a:pt x="133735" y="1273175"/>
                    <a:pt x="131354" y="1273969"/>
                  </a:cubicBezTo>
                  <a:cubicBezTo>
                    <a:pt x="126591" y="1273175"/>
                    <a:pt x="121647" y="1273115"/>
                    <a:pt x="117066" y="1271588"/>
                  </a:cubicBezTo>
                  <a:cubicBezTo>
                    <a:pt x="114351" y="1270683"/>
                    <a:pt x="112407" y="1268245"/>
                    <a:pt x="109922" y="1266825"/>
                  </a:cubicBezTo>
                  <a:cubicBezTo>
                    <a:pt x="106840" y="1265064"/>
                    <a:pt x="103693" y="1263381"/>
                    <a:pt x="100397" y="1262063"/>
                  </a:cubicBezTo>
                  <a:cubicBezTo>
                    <a:pt x="100374" y="1262054"/>
                    <a:pt x="82550" y="1256113"/>
                    <a:pt x="78966" y="1254919"/>
                  </a:cubicBezTo>
                  <a:cubicBezTo>
                    <a:pt x="76585" y="1254125"/>
                    <a:pt x="74322" y="1252765"/>
                    <a:pt x="71822" y="1252538"/>
                  </a:cubicBezTo>
                  <a:lnTo>
                    <a:pt x="45629" y="1250157"/>
                  </a:lnTo>
                  <a:cubicBezTo>
                    <a:pt x="43248" y="1248569"/>
                    <a:pt x="40509" y="1247418"/>
                    <a:pt x="38485" y="1245394"/>
                  </a:cubicBezTo>
                  <a:cubicBezTo>
                    <a:pt x="24731" y="1231640"/>
                    <a:pt x="44126" y="1244754"/>
                    <a:pt x="26579" y="1231107"/>
                  </a:cubicBezTo>
                  <a:cubicBezTo>
                    <a:pt x="13150" y="1220662"/>
                    <a:pt x="15796" y="1222459"/>
                    <a:pt x="2766" y="1219200"/>
                  </a:cubicBezTo>
                  <a:cubicBezTo>
                    <a:pt x="15773" y="1216599"/>
                    <a:pt x="7132" y="1217613"/>
                    <a:pt x="9910" y="1216819"/>
                  </a:cubicBezTo>
                  <a:close/>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grpSp>
          <p:nvGrpSpPr>
            <p:cNvPr id="5" name="Group 168"/>
            <p:cNvGrpSpPr/>
            <p:nvPr>
              <p:custDataLst>
                <p:tags r:id="rId2"/>
              </p:custDataLst>
            </p:nvPr>
          </p:nvGrpSpPr>
          <p:grpSpPr bwMode="gray">
            <a:xfrm>
              <a:off x="2005013" y="2292166"/>
              <a:ext cx="2262187" cy="1499790"/>
              <a:chOff x="2005013" y="2674938"/>
              <a:chExt cx="2262187" cy="1499790"/>
            </a:xfrm>
            <a:grpFill/>
          </p:grpSpPr>
          <p:sp>
            <p:nvSpPr>
              <p:cNvPr id="6" name="Freeform 5"/>
              <p:cNvSpPr>
                <a:spLocks/>
              </p:cNvSpPr>
              <p:nvPr/>
            </p:nvSpPr>
            <p:spPr bwMode="gray">
              <a:xfrm>
                <a:off x="3392488" y="2952750"/>
                <a:ext cx="257175" cy="273050"/>
              </a:xfrm>
              <a:custGeom>
                <a:avLst/>
                <a:gdLst/>
                <a:ahLst/>
                <a:cxnLst>
                  <a:cxn ang="0">
                    <a:pos x="34" y="179"/>
                  </a:cxn>
                  <a:cxn ang="0">
                    <a:pos x="25" y="169"/>
                  </a:cxn>
                  <a:cxn ang="0">
                    <a:pos x="19" y="161"/>
                  </a:cxn>
                  <a:cxn ang="0">
                    <a:pos x="21" y="157"/>
                  </a:cxn>
                  <a:cxn ang="0">
                    <a:pos x="36" y="154"/>
                  </a:cxn>
                  <a:cxn ang="0">
                    <a:pos x="48" y="136"/>
                  </a:cxn>
                  <a:cxn ang="0">
                    <a:pos x="44" y="125"/>
                  </a:cxn>
                  <a:cxn ang="0">
                    <a:pos x="40" y="119"/>
                  </a:cxn>
                  <a:cxn ang="0">
                    <a:pos x="44" y="115"/>
                  </a:cxn>
                  <a:cxn ang="0">
                    <a:pos x="48" y="108"/>
                  </a:cxn>
                  <a:cxn ang="0">
                    <a:pos x="28" y="96"/>
                  </a:cxn>
                  <a:cxn ang="0">
                    <a:pos x="5" y="90"/>
                  </a:cxn>
                  <a:cxn ang="0">
                    <a:pos x="0" y="77"/>
                  </a:cxn>
                  <a:cxn ang="0">
                    <a:pos x="9" y="67"/>
                  </a:cxn>
                  <a:cxn ang="0">
                    <a:pos x="21" y="67"/>
                  </a:cxn>
                  <a:cxn ang="0">
                    <a:pos x="27" y="69"/>
                  </a:cxn>
                  <a:cxn ang="0">
                    <a:pos x="34" y="69"/>
                  </a:cxn>
                  <a:cxn ang="0">
                    <a:pos x="44" y="62"/>
                  </a:cxn>
                  <a:cxn ang="0">
                    <a:pos x="53" y="52"/>
                  </a:cxn>
                  <a:cxn ang="0">
                    <a:pos x="63" y="48"/>
                  </a:cxn>
                  <a:cxn ang="0">
                    <a:pos x="73" y="42"/>
                  </a:cxn>
                  <a:cxn ang="0">
                    <a:pos x="78" y="33"/>
                  </a:cxn>
                  <a:cxn ang="0">
                    <a:pos x="78" y="23"/>
                  </a:cxn>
                  <a:cxn ang="0">
                    <a:pos x="78" y="14"/>
                  </a:cxn>
                  <a:cxn ang="0">
                    <a:pos x="92" y="10"/>
                  </a:cxn>
                  <a:cxn ang="0">
                    <a:pos x="111" y="4"/>
                  </a:cxn>
                  <a:cxn ang="0">
                    <a:pos x="126" y="0"/>
                  </a:cxn>
                  <a:cxn ang="0">
                    <a:pos x="147" y="0"/>
                  </a:cxn>
                  <a:cxn ang="0">
                    <a:pos x="163" y="2"/>
                  </a:cxn>
                  <a:cxn ang="0">
                    <a:pos x="165" y="6"/>
                  </a:cxn>
                  <a:cxn ang="0">
                    <a:pos x="165" y="14"/>
                  </a:cxn>
                  <a:cxn ang="0">
                    <a:pos x="159" y="19"/>
                  </a:cxn>
                  <a:cxn ang="0">
                    <a:pos x="149" y="23"/>
                  </a:cxn>
                  <a:cxn ang="0">
                    <a:pos x="130" y="37"/>
                  </a:cxn>
                  <a:cxn ang="0">
                    <a:pos x="115" y="46"/>
                  </a:cxn>
                  <a:cxn ang="0">
                    <a:pos x="109" y="58"/>
                  </a:cxn>
                  <a:cxn ang="0">
                    <a:pos x="99" y="71"/>
                  </a:cxn>
                  <a:cxn ang="0">
                    <a:pos x="90" y="83"/>
                  </a:cxn>
                  <a:cxn ang="0">
                    <a:pos x="86" y="94"/>
                  </a:cxn>
                  <a:cxn ang="0">
                    <a:pos x="86" y="108"/>
                  </a:cxn>
                  <a:cxn ang="0">
                    <a:pos x="82" y="123"/>
                  </a:cxn>
                  <a:cxn ang="0">
                    <a:pos x="76" y="161"/>
                  </a:cxn>
                  <a:cxn ang="0">
                    <a:pos x="63" y="180"/>
                  </a:cxn>
                  <a:cxn ang="0">
                    <a:pos x="48" y="180"/>
                  </a:cxn>
                </a:cxnLst>
                <a:rect l="0" t="0" r="r" b="b"/>
                <a:pathLst>
                  <a:path w="165" h="182">
                    <a:moveTo>
                      <a:pt x="40" y="182"/>
                    </a:moveTo>
                    <a:lnTo>
                      <a:pt x="34" y="179"/>
                    </a:lnTo>
                    <a:lnTo>
                      <a:pt x="28" y="173"/>
                    </a:lnTo>
                    <a:lnTo>
                      <a:pt x="25" y="169"/>
                    </a:lnTo>
                    <a:lnTo>
                      <a:pt x="19" y="163"/>
                    </a:lnTo>
                    <a:lnTo>
                      <a:pt x="19" y="161"/>
                    </a:lnTo>
                    <a:lnTo>
                      <a:pt x="19" y="159"/>
                    </a:lnTo>
                    <a:lnTo>
                      <a:pt x="21" y="157"/>
                    </a:lnTo>
                    <a:lnTo>
                      <a:pt x="25" y="154"/>
                    </a:lnTo>
                    <a:lnTo>
                      <a:pt x="36" y="154"/>
                    </a:lnTo>
                    <a:lnTo>
                      <a:pt x="48" y="154"/>
                    </a:lnTo>
                    <a:lnTo>
                      <a:pt x="48" y="136"/>
                    </a:lnTo>
                    <a:lnTo>
                      <a:pt x="48" y="129"/>
                    </a:lnTo>
                    <a:lnTo>
                      <a:pt x="44" y="125"/>
                    </a:lnTo>
                    <a:lnTo>
                      <a:pt x="40" y="125"/>
                    </a:lnTo>
                    <a:lnTo>
                      <a:pt x="40" y="119"/>
                    </a:lnTo>
                    <a:lnTo>
                      <a:pt x="40" y="115"/>
                    </a:lnTo>
                    <a:lnTo>
                      <a:pt x="44" y="115"/>
                    </a:lnTo>
                    <a:lnTo>
                      <a:pt x="48" y="113"/>
                    </a:lnTo>
                    <a:lnTo>
                      <a:pt x="48" y="108"/>
                    </a:lnTo>
                    <a:lnTo>
                      <a:pt x="48" y="96"/>
                    </a:lnTo>
                    <a:lnTo>
                      <a:pt x="28" y="96"/>
                    </a:lnTo>
                    <a:lnTo>
                      <a:pt x="9" y="96"/>
                    </a:lnTo>
                    <a:lnTo>
                      <a:pt x="5" y="90"/>
                    </a:lnTo>
                    <a:lnTo>
                      <a:pt x="0" y="86"/>
                    </a:lnTo>
                    <a:lnTo>
                      <a:pt x="0" y="77"/>
                    </a:lnTo>
                    <a:lnTo>
                      <a:pt x="0" y="67"/>
                    </a:lnTo>
                    <a:lnTo>
                      <a:pt x="9" y="67"/>
                    </a:lnTo>
                    <a:lnTo>
                      <a:pt x="19" y="67"/>
                    </a:lnTo>
                    <a:lnTo>
                      <a:pt x="21" y="67"/>
                    </a:lnTo>
                    <a:lnTo>
                      <a:pt x="25" y="67"/>
                    </a:lnTo>
                    <a:lnTo>
                      <a:pt x="27" y="69"/>
                    </a:lnTo>
                    <a:lnTo>
                      <a:pt x="28" y="73"/>
                    </a:lnTo>
                    <a:lnTo>
                      <a:pt x="34" y="69"/>
                    </a:lnTo>
                    <a:lnTo>
                      <a:pt x="40" y="67"/>
                    </a:lnTo>
                    <a:lnTo>
                      <a:pt x="44" y="62"/>
                    </a:lnTo>
                    <a:lnTo>
                      <a:pt x="48" y="58"/>
                    </a:lnTo>
                    <a:lnTo>
                      <a:pt x="53" y="52"/>
                    </a:lnTo>
                    <a:lnTo>
                      <a:pt x="57" y="48"/>
                    </a:lnTo>
                    <a:lnTo>
                      <a:pt x="63" y="48"/>
                    </a:lnTo>
                    <a:lnTo>
                      <a:pt x="69" y="48"/>
                    </a:lnTo>
                    <a:lnTo>
                      <a:pt x="73" y="42"/>
                    </a:lnTo>
                    <a:lnTo>
                      <a:pt x="78" y="38"/>
                    </a:lnTo>
                    <a:lnTo>
                      <a:pt x="78" y="33"/>
                    </a:lnTo>
                    <a:lnTo>
                      <a:pt x="78" y="29"/>
                    </a:lnTo>
                    <a:lnTo>
                      <a:pt x="78" y="23"/>
                    </a:lnTo>
                    <a:lnTo>
                      <a:pt x="78" y="19"/>
                    </a:lnTo>
                    <a:lnTo>
                      <a:pt x="78" y="14"/>
                    </a:lnTo>
                    <a:lnTo>
                      <a:pt x="78" y="10"/>
                    </a:lnTo>
                    <a:lnTo>
                      <a:pt x="92" y="10"/>
                    </a:lnTo>
                    <a:lnTo>
                      <a:pt x="107" y="10"/>
                    </a:lnTo>
                    <a:lnTo>
                      <a:pt x="111" y="4"/>
                    </a:lnTo>
                    <a:lnTo>
                      <a:pt x="117" y="0"/>
                    </a:lnTo>
                    <a:lnTo>
                      <a:pt x="126" y="0"/>
                    </a:lnTo>
                    <a:lnTo>
                      <a:pt x="136" y="0"/>
                    </a:lnTo>
                    <a:lnTo>
                      <a:pt x="147" y="0"/>
                    </a:lnTo>
                    <a:lnTo>
                      <a:pt x="161" y="0"/>
                    </a:lnTo>
                    <a:lnTo>
                      <a:pt x="163" y="2"/>
                    </a:lnTo>
                    <a:lnTo>
                      <a:pt x="165" y="4"/>
                    </a:lnTo>
                    <a:lnTo>
                      <a:pt x="165" y="6"/>
                    </a:lnTo>
                    <a:lnTo>
                      <a:pt x="165" y="10"/>
                    </a:lnTo>
                    <a:lnTo>
                      <a:pt x="165" y="14"/>
                    </a:lnTo>
                    <a:lnTo>
                      <a:pt x="165" y="19"/>
                    </a:lnTo>
                    <a:lnTo>
                      <a:pt x="159" y="19"/>
                    </a:lnTo>
                    <a:lnTo>
                      <a:pt x="155" y="19"/>
                    </a:lnTo>
                    <a:lnTo>
                      <a:pt x="149" y="23"/>
                    </a:lnTo>
                    <a:lnTo>
                      <a:pt x="145" y="29"/>
                    </a:lnTo>
                    <a:lnTo>
                      <a:pt x="130" y="37"/>
                    </a:lnTo>
                    <a:lnTo>
                      <a:pt x="119" y="42"/>
                    </a:lnTo>
                    <a:lnTo>
                      <a:pt x="115" y="46"/>
                    </a:lnTo>
                    <a:lnTo>
                      <a:pt x="113" y="52"/>
                    </a:lnTo>
                    <a:lnTo>
                      <a:pt x="109" y="58"/>
                    </a:lnTo>
                    <a:lnTo>
                      <a:pt x="107" y="67"/>
                    </a:lnTo>
                    <a:lnTo>
                      <a:pt x="99" y="71"/>
                    </a:lnTo>
                    <a:lnTo>
                      <a:pt x="94" y="77"/>
                    </a:lnTo>
                    <a:lnTo>
                      <a:pt x="90" y="83"/>
                    </a:lnTo>
                    <a:lnTo>
                      <a:pt x="88" y="88"/>
                    </a:lnTo>
                    <a:lnTo>
                      <a:pt x="86" y="94"/>
                    </a:lnTo>
                    <a:lnTo>
                      <a:pt x="86" y="100"/>
                    </a:lnTo>
                    <a:lnTo>
                      <a:pt x="86" y="108"/>
                    </a:lnTo>
                    <a:lnTo>
                      <a:pt x="88" y="115"/>
                    </a:lnTo>
                    <a:lnTo>
                      <a:pt x="82" y="123"/>
                    </a:lnTo>
                    <a:lnTo>
                      <a:pt x="78" y="140"/>
                    </a:lnTo>
                    <a:lnTo>
                      <a:pt x="76" y="161"/>
                    </a:lnTo>
                    <a:lnTo>
                      <a:pt x="78" y="182"/>
                    </a:lnTo>
                    <a:lnTo>
                      <a:pt x="63" y="180"/>
                    </a:lnTo>
                    <a:lnTo>
                      <a:pt x="55" y="179"/>
                    </a:lnTo>
                    <a:lnTo>
                      <a:pt x="48" y="180"/>
                    </a:lnTo>
                    <a:lnTo>
                      <a:pt x="40" y="182"/>
                    </a:lnTo>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7" name="Freeform 6"/>
              <p:cNvSpPr>
                <a:spLocks/>
              </p:cNvSpPr>
              <p:nvPr/>
            </p:nvSpPr>
            <p:spPr bwMode="gray">
              <a:xfrm>
                <a:off x="3632200" y="2674938"/>
                <a:ext cx="635000" cy="277812"/>
              </a:xfrm>
              <a:custGeom>
                <a:avLst/>
                <a:gdLst/>
                <a:ahLst/>
                <a:cxnLst>
                  <a:cxn ang="0">
                    <a:pos x="10" y="178"/>
                  </a:cxn>
                  <a:cxn ang="0">
                    <a:pos x="0" y="169"/>
                  </a:cxn>
                  <a:cxn ang="0">
                    <a:pos x="19" y="153"/>
                  </a:cxn>
                  <a:cxn ang="0">
                    <a:pos x="4" y="146"/>
                  </a:cxn>
                  <a:cxn ang="0">
                    <a:pos x="0" y="134"/>
                  </a:cxn>
                  <a:cxn ang="0">
                    <a:pos x="13" y="130"/>
                  </a:cxn>
                  <a:cxn ang="0">
                    <a:pos x="29" y="125"/>
                  </a:cxn>
                  <a:cxn ang="0">
                    <a:pos x="42" y="121"/>
                  </a:cxn>
                  <a:cxn ang="0">
                    <a:pos x="58" y="105"/>
                  </a:cxn>
                  <a:cxn ang="0">
                    <a:pos x="73" y="105"/>
                  </a:cxn>
                  <a:cxn ang="0">
                    <a:pos x="86" y="86"/>
                  </a:cxn>
                  <a:cxn ang="0">
                    <a:pos x="96" y="77"/>
                  </a:cxn>
                  <a:cxn ang="0">
                    <a:pos x="106" y="67"/>
                  </a:cxn>
                  <a:cxn ang="0">
                    <a:pos x="117" y="54"/>
                  </a:cxn>
                  <a:cxn ang="0">
                    <a:pos x="125" y="48"/>
                  </a:cxn>
                  <a:cxn ang="0">
                    <a:pos x="144" y="42"/>
                  </a:cxn>
                  <a:cxn ang="0">
                    <a:pos x="165" y="38"/>
                  </a:cxn>
                  <a:cxn ang="0">
                    <a:pos x="178" y="29"/>
                  </a:cxn>
                  <a:cxn ang="0">
                    <a:pos x="194" y="29"/>
                  </a:cxn>
                  <a:cxn ang="0">
                    <a:pos x="236" y="13"/>
                  </a:cxn>
                  <a:cxn ang="0">
                    <a:pos x="251" y="9"/>
                  </a:cxn>
                  <a:cxn ang="0">
                    <a:pos x="274" y="19"/>
                  </a:cxn>
                  <a:cxn ang="0">
                    <a:pos x="280" y="29"/>
                  </a:cxn>
                  <a:cxn ang="0">
                    <a:pos x="324" y="29"/>
                  </a:cxn>
                  <a:cxn ang="0">
                    <a:pos x="357" y="19"/>
                  </a:cxn>
                  <a:cxn ang="0">
                    <a:pos x="363" y="9"/>
                  </a:cxn>
                  <a:cxn ang="0">
                    <a:pos x="378" y="0"/>
                  </a:cxn>
                  <a:cxn ang="0">
                    <a:pos x="397" y="0"/>
                  </a:cxn>
                  <a:cxn ang="0">
                    <a:pos x="407" y="9"/>
                  </a:cxn>
                  <a:cxn ang="0">
                    <a:pos x="397" y="23"/>
                  </a:cxn>
                  <a:cxn ang="0">
                    <a:pos x="378" y="29"/>
                  </a:cxn>
                  <a:cxn ang="0">
                    <a:pos x="372" y="42"/>
                  </a:cxn>
                  <a:cxn ang="0">
                    <a:pos x="357" y="48"/>
                  </a:cxn>
                  <a:cxn ang="0">
                    <a:pos x="320" y="57"/>
                  </a:cxn>
                  <a:cxn ang="0">
                    <a:pos x="271" y="57"/>
                  </a:cxn>
                  <a:cxn ang="0">
                    <a:pos x="263" y="48"/>
                  </a:cxn>
                  <a:cxn ang="0">
                    <a:pos x="251" y="57"/>
                  </a:cxn>
                  <a:cxn ang="0">
                    <a:pos x="196" y="69"/>
                  </a:cxn>
                  <a:cxn ang="0">
                    <a:pos x="165" y="82"/>
                  </a:cxn>
                  <a:cxn ang="0">
                    <a:pos x="131" y="105"/>
                  </a:cxn>
                  <a:cxn ang="0">
                    <a:pos x="86" y="115"/>
                  </a:cxn>
                  <a:cxn ang="0">
                    <a:pos x="77" y="134"/>
                  </a:cxn>
                  <a:cxn ang="0">
                    <a:pos x="29" y="184"/>
                  </a:cxn>
                  <a:cxn ang="0">
                    <a:pos x="17" y="184"/>
                  </a:cxn>
                </a:cxnLst>
                <a:rect l="0" t="0" r="r" b="b"/>
                <a:pathLst>
                  <a:path w="407" h="184">
                    <a:moveTo>
                      <a:pt x="13" y="184"/>
                    </a:moveTo>
                    <a:lnTo>
                      <a:pt x="12" y="180"/>
                    </a:lnTo>
                    <a:lnTo>
                      <a:pt x="10" y="178"/>
                    </a:lnTo>
                    <a:lnTo>
                      <a:pt x="4" y="176"/>
                    </a:lnTo>
                    <a:lnTo>
                      <a:pt x="0" y="175"/>
                    </a:lnTo>
                    <a:lnTo>
                      <a:pt x="0" y="169"/>
                    </a:lnTo>
                    <a:lnTo>
                      <a:pt x="0" y="163"/>
                    </a:lnTo>
                    <a:lnTo>
                      <a:pt x="10" y="159"/>
                    </a:lnTo>
                    <a:lnTo>
                      <a:pt x="19" y="153"/>
                    </a:lnTo>
                    <a:lnTo>
                      <a:pt x="13" y="150"/>
                    </a:lnTo>
                    <a:lnTo>
                      <a:pt x="10" y="146"/>
                    </a:lnTo>
                    <a:lnTo>
                      <a:pt x="4" y="146"/>
                    </a:lnTo>
                    <a:lnTo>
                      <a:pt x="0" y="146"/>
                    </a:lnTo>
                    <a:lnTo>
                      <a:pt x="0" y="140"/>
                    </a:lnTo>
                    <a:lnTo>
                      <a:pt x="0" y="134"/>
                    </a:lnTo>
                    <a:lnTo>
                      <a:pt x="4" y="134"/>
                    </a:lnTo>
                    <a:lnTo>
                      <a:pt x="10" y="134"/>
                    </a:lnTo>
                    <a:lnTo>
                      <a:pt x="13" y="130"/>
                    </a:lnTo>
                    <a:lnTo>
                      <a:pt x="19" y="125"/>
                    </a:lnTo>
                    <a:lnTo>
                      <a:pt x="25" y="125"/>
                    </a:lnTo>
                    <a:lnTo>
                      <a:pt x="29" y="125"/>
                    </a:lnTo>
                    <a:lnTo>
                      <a:pt x="35" y="125"/>
                    </a:lnTo>
                    <a:lnTo>
                      <a:pt x="38" y="125"/>
                    </a:lnTo>
                    <a:lnTo>
                      <a:pt x="42" y="121"/>
                    </a:lnTo>
                    <a:lnTo>
                      <a:pt x="48" y="115"/>
                    </a:lnTo>
                    <a:lnTo>
                      <a:pt x="54" y="111"/>
                    </a:lnTo>
                    <a:lnTo>
                      <a:pt x="58" y="105"/>
                    </a:lnTo>
                    <a:lnTo>
                      <a:pt x="63" y="105"/>
                    </a:lnTo>
                    <a:lnTo>
                      <a:pt x="67" y="105"/>
                    </a:lnTo>
                    <a:lnTo>
                      <a:pt x="73" y="105"/>
                    </a:lnTo>
                    <a:lnTo>
                      <a:pt x="77" y="105"/>
                    </a:lnTo>
                    <a:lnTo>
                      <a:pt x="83" y="96"/>
                    </a:lnTo>
                    <a:lnTo>
                      <a:pt x="86" y="86"/>
                    </a:lnTo>
                    <a:lnTo>
                      <a:pt x="92" y="86"/>
                    </a:lnTo>
                    <a:lnTo>
                      <a:pt x="96" y="86"/>
                    </a:lnTo>
                    <a:lnTo>
                      <a:pt x="96" y="77"/>
                    </a:lnTo>
                    <a:lnTo>
                      <a:pt x="96" y="67"/>
                    </a:lnTo>
                    <a:lnTo>
                      <a:pt x="102" y="67"/>
                    </a:lnTo>
                    <a:lnTo>
                      <a:pt x="106" y="67"/>
                    </a:lnTo>
                    <a:lnTo>
                      <a:pt x="111" y="63"/>
                    </a:lnTo>
                    <a:lnTo>
                      <a:pt x="117" y="57"/>
                    </a:lnTo>
                    <a:lnTo>
                      <a:pt x="117" y="54"/>
                    </a:lnTo>
                    <a:lnTo>
                      <a:pt x="117" y="48"/>
                    </a:lnTo>
                    <a:lnTo>
                      <a:pt x="121" y="48"/>
                    </a:lnTo>
                    <a:lnTo>
                      <a:pt x="125" y="48"/>
                    </a:lnTo>
                    <a:lnTo>
                      <a:pt x="131" y="48"/>
                    </a:lnTo>
                    <a:lnTo>
                      <a:pt x="134" y="48"/>
                    </a:lnTo>
                    <a:lnTo>
                      <a:pt x="144" y="42"/>
                    </a:lnTo>
                    <a:lnTo>
                      <a:pt x="155" y="38"/>
                    </a:lnTo>
                    <a:lnTo>
                      <a:pt x="159" y="38"/>
                    </a:lnTo>
                    <a:lnTo>
                      <a:pt x="165" y="38"/>
                    </a:lnTo>
                    <a:lnTo>
                      <a:pt x="169" y="33"/>
                    </a:lnTo>
                    <a:lnTo>
                      <a:pt x="175" y="29"/>
                    </a:lnTo>
                    <a:lnTo>
                      <a:pt x="178" y="29"/>
                    </a:lnTo>
                    <a:lnTo>
                      <a:pt x="184" y="29"/>
                    </a:lnTo>
                    <a:lnTo>
                      <a:pt x="188" y="29"/>
                    </a:lnTo>
                    <a:lnTo>
                      <a:pt x="194" y="29"/>
                    </a:lnTo>
                    <a:lnTo>
                      <a:pt x="213" y="23"/>
                    </a:lnTo>
                    <a:lnTo>
                      <a:pt x="232" y="19"/>
                    </a:lnTo>
                    <a:lnTo>
                      <a:pt x="236" y="13"/>
                    </a:lnTo>
                    <a:lnTo>
                      <a:pt x="242" y="9"/>
                    </a:lnTo>
                    <a:lnTo>
                      <a:pt x="246" y="9"/>
                    </a:lnTo>
                    <a:lnTo>
                      <a:pt x="251" y="9"/>
                    </a:lnTo>
                    <a:lnTo>
                      <a:pt x="261" y="13"/>
                    </a:lnTo>
                    <a:lnTo>
                      <a:pt x="271" y="19"/>
                    </a:lnTo>
                    <a:lnTo>
                      <a:pt x="274" y="19"/>
                    </a:lnTo>
                    <a:lnTo>
                      <a:pt x="280" y="19"/>
                    </a:lnTo>
                    <a:lnTo>
                      <a:pt x="280" y="23"/>
                    </a:lnTo>
                    <a:lnTo>
                      <a:pt x="280" y="29"/>
                    </a:lnTo>
                    <a:lnTo>
                      <a:pt x="290" y="29"/>
                    </a:lnTo>
                    <a:lnTo>
                      <a:pt x="299" y="29"/>
                    </a:lnTo>
                    <a:lnTo>
                      <a:pt x="324" y="29"/>
                    </a:lnTo>
                    <a:lnTo>
                      <a:pt x="349" y="29"/>
                    </a:lnTo>
                    <a:lnTo>
                      <a:pt x="353" y="23"/>
                    </a:lnTo>
                    <a:lnTo>
                      <a:pt x="357" y="19"/>
                    </a:lnTo>
                    <a:lnTo>
                      <a:pt x="357" y="13"/>
                    </a:lnTo>
                    <a:lnTo>
                      <a:pt x="357" y="9"/>
                    </a:lnTo>
                    <a:lnTo>
                      <a:pt x="363" y="9"/>
                    </a:lnTo>
                    <a:lnTo>
                      <a:pt x="367" y="9"/>
                    </a:lnTo>
                    <a:lnTo>
                      <a:pt x="372" y="4"/>
                    </a:lnTo>
                    <a:lnTo>
                      <a:pt x="378" y="0"/>
                    </a:lnTo>
                    <a:lnTo>
                      <a:pt x="382" y="0"/>
                    </a:lnTo>
                    <a:lnTo>
                      <a:pt x="388" y="0"/>
                    </a:lnTo>
                    <a:lnTo>
                      <a:pt x="397" y="0"/>
                    </a:lnTo>
                    <a:lnTo>
                      <a:pt x="407" y="0"/>
                    </a:lnTo>
                    <a:lnTo>
                      <a:pt x="407" y="4"/>
                    </a:lnTo>
                    <a:lnTo>
                      <a:pt x="407" y="9"/>
                    </a:lnTo>
                    <a:lnTo>
                      <a:pt x="407" y="13"/>
                    </a:lnTo>
                    <a:lnTo>
                      <a:pt x="407" y="19"/>
                    </a:lnTo>
                    <a:lnTo>
                      <a:pt x="397" y="23"/>
                    </a:lnTo>
                    <a:lnTo>
                      <a:pt x="388" y="29"/>
                    </a:lnTo>
                    <a:lnTo>
                      <a:pt x="382" y="29"/>
                    </a:lnTo>
                    <a:lnTo>
                      <a:pt x="378" y="29"/>
                    </a:lnTo>
                    <a:lnTo>
                      <a:pt x="378" y="33"/>
                    </a:lnTo>
                    <a:lnTo>
                      <a:pt x="378" y="38"/>
                    </a:lnTo>
                    <a:lnTo>
                      <a:pt x="372" y="42"/>
                    </a:lnTo>
                    <a:lnTo>
                      <a:pt x="367" y="48"/>
                    </a:lnTo>
                    <a:lnTo>
                      <a:pt x="363" y="48"/>
                    </a:lnTo>
                    <a:lnTo>
                      <a:pt x="357" y="48"/>
                    </a:lnTo>
                    <a:lnTo>
                      <a:pt x="347" y="54"/>
                    </a:lnTo>
                    <a:lnTo>
                      <a:pt x="338" y="57"/>
                    </a:lnTo>
                    <a:lnTo>
                      <a:pt x="320" y="57"/>
                    </a:lnTo>
                    <a:lnTo>
                      <a:pt x="305" y="57"/>
                    </a:lnTo>
                    <a:lnTo>
                      <a:pt x="288" y="57"/>
                    </a:lnTo>
                    <a:lnTo>
                      <a:pt x="271" y="57"/>
                    </a:lnTo>
                    <a:lnTo>
                      <a:pt x="271" y="52"/>
                    </a:lnTo>
                    <a:lnTo>
                      <a:pt x="269" y="50"/>
                    </a:lnTo>
                    <a:lnTo>
                      <a:pt x="263" y="48"/>
                    </a:lnTo>
                    <a:lnTo>
                      <a:pt x="251" y="48"/>
                    </a:lnTo>
                    <a:lnTo>
                      <a:pt x="251" y="54"/>
                    </a:lnTo>
                    <a:lnTo>
                      <a:pt x="251" y="57"/>
                    </a:lnTo>
                    <a:lnTo>
                      <a:pt x="223" y="61"/>
                    </a:lnTo>
                    <a:lnTo>
                      <a:pt x="207" y="63"/>
                    </a:lnTo>
                    <a:lnTo>
                      <a:pt x="196" y="69"/>
                    </a:lnTo>
                    <a:lnTo>
                      <a:pt x="184" y="77"/>
                    </a:lnTo>
                    <a:lnTo>
                      <a:pt x="173" y="80"/>
                    </a:lnTo>
                    <a:lnTo>
                      <a:pt x="165" y="82"/>
                    </a:lnTo>
                    <a:lnTo>
                      <a:pt x="161" y="88"/>
                    </a:lnTo>
                    <a:lnTo>
                      <a:pt x="155" y="96"/>
                    </a:lnTo>
                    <a:lnTo>
                      <a:pt x="131" y="105"/>
                    </a:lnTo>
                    <a:lnTo>
                      <a:pt x="106" y="115"/>
                    </a:lnTo>
                    <a:lnTo>
                      <a:pt x="96" y="115"/>
                    </a:lnTo>
                    <a:lnTo>
                      <a:pt x="86" y="115"/>
                    </a:lnTo>
                    <a:lnTo>
                      <a:pt x="86" y="125"/>
                    </a:lnTo>
                    <a:lnTo>
                      <a:pt x="86" y="134"/>
                    </a:lnTo>
                    <a:lnTo>
                      <a:pt x="77" y="134"/>
                    </a:lnTo>
                    <a:lnTo>
                      <a:pt x="67" y="134"/>
                    </a:lnTo>
                    <a:lnTo>
                      <a:pt x="48" y="159"/>
                    </a:lnTo>
                    <a:lnTo>
                      <a:pt x="29" y="184"/>
                    </a:lnTo>
                    <a:lnTo>
                      <a:pt x="25" y="184"/>
                    </a:lnTo>
                    <a:lnTo>
                      <a:pt x="19" y="184"/>
                    </a:lnTo>
                    <a:lnTo>
                      <a:pt x="17" y="184"/>
                    </a:lnTo>
                    <a:lnTo>
                      <a:pt x="13" y="184"/>
                    </a:lnTo>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8" name="Freeform 7"/>
              <p:cNvSpPr/>
              <p:nvPr/>
            </p:nvSpPr>
            <p:spPr bwMode="gray">
              <a:xfrm>
                <a:off x="2005013" y="3318313"/>
                <a:ext cx="1819275" cy="856415"/>
              </a:xfrm>
              <a:custGeom>
                <a:avLst/>
                <a:gdLst>
                  <a:gd name="connsiteX0" fmla="*/ 492918 w 1819275"/>
                  <a:gd name="connsiteY0" fmla="*/ 856018 h 856415"/>
                  <a:gd name="connsiteX1" fmla="*/ 523875 w 1819275"/>
                  <a:gd name="connsiteY1" fmla="*/ 853637 h 856415"/>
                  <a:gd name="connsiteX2" fmla="*/ 545306 w 1819275"/>
                  <a:gd name="connsiteY2" fmla="*/ 841731 h 856415"/>
                  <a:gd name="connsiteX3" fmla="*/ 559593 w 1819275"/>
                  <a:gd name="connsiteY3" fmla="*/ 836968 h 856415"/>
                  <a:gd name="connsiteX4" fmla="*/ 578643 w 1819275"/>
                  <a:gd name="connsiteY4" fmla="*/ 832206 h 856415"/>
                  <a:gd name="connsiteX5" fmla="*/ 585787 w 1819275"/>
                  <a:gd name="connsiteY5" fmla="*/ 827443 h 856415"/>
                  <a:gd name="connsiteX6" fmla="*/ 600075 w 1819275"/>
                  <a:gd name="connsiteY6" fmla="*/ 820300 h 856415"/>
                  <a:gd name="connsiteX7" fmla="*/ 604837 w 1819275"/>
                  <a:gd name="connsiteY7" fmla="*/ 784581 h 856415"/>
                  <a:gd name="connsiteX8" fmla="*/ 609600 w 1819275"/>
                  <a:gd name="connsiteY8" fmla="*/ 770293 h 856415"/>
                  <a:gd name="connsiteX9" fmla="*/ 616743 w 1819275"/>
                  <a:gd name="connsiteY9" fmla="*/ 765531 h 856415"/>
                  <a:gd name="connsiteX10" fmla="*/ 626268 w 1819275"/>
                  <a:gd name="connsiteY10" fmla="*/ 760768 h 856415"/>
                  <a:gd name="connsiteX11" fmla="*/ 645318 w 1819275"/>
                  <a:gd name="connsiteY11" fmla="*/ 746481 h 856415"/>
                  <a:gd name="connsiteX12" fmla="*/ 654843 w 1819275"/>
                  <a:gd name="connsiteY12" fmla="*/ 739337 h 856415"/>
                  <a:gd name="connsiteX13" fmla="*/ 661987 w 1819275"/>
                  <a:gd name="connsiteY13" fmla="*/ 734575 h 856415"/>
                  <a:gd name="connsiteX14" fmla="*/ 673893 w 1819275"/>
                  <a:gd name="connsiteY14" fmla="*/ 720287 h 856415"/>
                  <a:gd name="connsiteX15" fmla="*/ 666750 w 1819275"/>
                  <a:gd name="connsiteY15" fmla="*/ 684568 h 856415"/>
                  <a:gd name="connsiteX16" fmla="*/ 652462 w 1819275"/>
                  <a:gd name="connsiteY16" fmla="*/ 670281 h 856415"/>
                  <a:gd name="connsiteX17" fmla="*/ 623887 w 1819275"/>
                  <a:gd name="connsiteY17" fmla="*/ 675043 h 856415"/>
                  <a:gd name="connsiteX18" fmla="*/ 609600 w 1819275"/>
                  <a:gd name="connsiteY18" fmla="*/ 679806 h 856415"/>
                  <a:gd name="connsiteX19" fmla="*/ 602456 w 1819275"/>
                  <a:gd name="connsiteY19" fmla="*/ 682187 h 856415"/>
                  <a:gd name="connsiteX20" fmla="*/ 585787 w 1819275"/>
                  <a:gd name="connsiteY20" fmla="*/ 679806 h 856415"/>
                  <a:gd name="connsiteX21" fmla="*/ 569118 w 1819275"/>
                  <a:gd name="connsiteY21" fmla="*/ 675043 h 856415"/>
                  <a:gd name="connsiteX22" fmla="*/ 557212 w 1819275"/>
                  <a:gd name="connsiteY22" fmla="*/ 660756 h 856415"/>
                  <a:gd name="connsiteX23" fmla="*/ 550068 w 1819275"/>
                  <a:gd name="connsiteY23" fmla="*/ 653612 h 856415"/>
                  <a:gd name="connsiteX24" fmla="*/ 552450 w 1819275"/>
                  <a:gd name="connsiteY24" fmla="*/ 636943 h 856415"/>
                  <a:gd name="connsiteX25" fmla="*/ 564356 w 1819275"/>
                  <a:gd name="connsiteY25" fmla="*/ 622656 h 856415"/>
                  <a:gd name="connsiteX26" fmla="*/ 571500 w 1819275"/>
                  <a:gd name="connsiteY26" fmla="*/ 620275 h 856415"/>
                  <a:gd name="connsiteX27" fmla="*/ 578643 w 1819275"/>
                  <a:gd name="connsiteY27" fmla="*/ 615512 h 856415"/>
                  <a:gd name="connsiteX28" fmla="*/ 588168 w 1819275"/>
                  <a:gd name="connsiteY28" fmla="*/ 613131 h 856415"/>
                  <a:gd name="connsiteX29" fmla="*/ 595312 w 1819275"/>
                  <a:gd name="connsiteY29" fmla="*/ 605987 h 856415"/>
                  <a:gd name="connsiteX30" fmla="*/ 609600 w 1819275"/>
                  <a:gd name="connsiteY30" fmla="*/ 598843 h 856415"/>
                  <a:gd name="connsiteX31" fmla="*/ 623887 w 1819275"/>
                  <a:gd name="connsiteY31" fmla="*/ 586937 h 856415"/>
                  <a:gd name="connsiteX32" fmla="*/ 623887 w 1819275"/>
                  <a:gd name="connsiteY32" fmla="*/ 570268 h 856415"/>
                  <a:gd name="connsiteX33" fmla="*/ 633412 w 1819275"/>
                  <a:gd name="connsiteY33" fmla="*/ 432156 h 856415"/>
                  <a:gd name="connsiteX34" fmla="*/ 657225 w 1819275"/>
                  <a:gd name="connsiteY34" fmla="*/ 436918 h 856415"/>
                  <a:gd name="connsiteX35" fmla="*/ 673893 w 1819275"/>
                  <a:gd name="connsiteY35" fmla="*/ 444062 h 856415"/>
                  <a:gd name="connsiteX36" fmla="*/ 692943 w 1819275"/>
                  <a:gd name="connsiteY36" fmla="*/ 446443 h 856415"/>
                  <a:gd name="connsiteX37" fmla="*/ 707231 w 1819275"/>
                  <a:gd name="connsiteY37" fmla="*/ 451206 h 856415"/>
                  <a:gd name="connsiteX38" fmla="*/ 714375 w 1819275"/>
                  <a:gd name="connsiteY38" fmla="*/ 453587 h 856415"/>
                  <a:gd name="connsiteX39" fmla="*/ 723900 w 1819275"/>
                  <a:gd name="connsiteY39" fmla="*/ 455968 h 856415"/>
                  <a:gd name="connsiteX40" fmla="*/ 735806 w 1819275"/>
                  <a:gd name="connsiteY40" fmla="*/ 470256 h 856415"/>
                  <a:gd name="connsiteX41" fmla="*/ 738187 w 1819275"/>
                  <a:gd name="connsiteY41" fmla="*/ 477400 h 856415"/>
                  <a:gd name="connsiteX42" fmla="*/ 769143 w 1819275"/>
                  <a:gd name="connsiteY42" fmla="*/ 489306 h 856415"/>
                  <a:gd name="connsiteX43" fmla="*/ 783431 w 1819275"/>
                  <a:gd name="connsiteY43" fmla="*/ 494068 h 856415"/>
                  <a:gd name="connsiteX44" fmla="*/ 809625 w 1819275"/>
                  <a:gd name="connsiteY44" fmla="*/ 510737 h 856415"/>
                  <a:gd name="connsiteX45" fmla="*/ 838200 w 1819275"/>
                  <a:gd name="connsiteY45" fmla="*/ 508356 h 856415"/>
                  <a:gd name="connsiteX46" fmla="*/ 847725 w 1819275"/>
                  <a:gd name="connsiteY46" fmla="*/ 522643 h 856415"/>
                  <a:gd name="connsiteX47" fmla="*/ 857250 w 1819275"/>
                  <a:gd name="connsiteY47" fmla="*/ 529787 h 856415"/>
                  <a:gd name="connsiteX48" fmla="*/ 871537 w 1819275"/>
                  <a:gd name="connsiteY48" fmla="*/ 527406 h 856415"/>
                  <a:gd name="connsiteX49" fmla="*/ 876300 w 1819275"/>
                  <a:gd name="connsiteY49" fmla="*/ 513118 h 856415"/>
                  <a:gd name="connsiteX50" fmla="*/ 873918 w 1819275"/>
                  <a:gd name="connsiteY50" fmla="*/ 451206 h 856415"/>
                  <a:gd name="connsiteX51" fmla="*/ 869156 w 1819275"/>
                  <a:gd name="connsiteY51" fmla="*/ 432156 h 856415"/>
                  <a:gd name="connsiteX52" fmla="*/ 866775 w 1819275"/>
                  <a:gd name="connsiteY52" fmla="*/ 422631 h 856415"/>
                  <a:gd name="connsiteX53" fmla="*/ 864393 w 1819275"/>
                  <a:gd name="connsiteY53" fmla="*/ 413106 h 856415"/>
                  <a:gd name="connsiteX54" fmla="*/ 857250 w 1819275"/>
                  <a:gd name="connsiteY54" fmla="*/ 398818 h 856415"/>
                  <a:gd name="connsiteX55" fmla="*/ 859631 w 1819275"/>
                  <a:gd name="connsiteY55" fmla="*/ 358337 h 856415"/>
                  <a:gd name="connsiteX56" fmla="*/ 862012 w 1819275"/>
                  <a:gd name="connsiteY56" fmla="*/ 348812 h 856415"/>
                  <a:gd name="connsiteX57" fmla="*/ 873918 w 1819275"/>
                  <a:gd name="connsiteY57" fmla="*/ 336906 h 856415"/>
                  <a:gd name="connsiteX58" fmla="*/ 881062 w 1819275"/>
                  <a:gd name="connsiteY58" fmla="*/ 334525 h 856415"/>
                  <a:gd name="connsiteX59" fmla="*/ 904875 w 1819275"/>
                  <a:gd name="connsiteY59" fmla="*/ 325000 h 856415"/>
                  <a:gd name="connsiteX60" fmla="*/ 912018 w 1819275"/>
                  <a:gd name="connsiteY60" fmla="*/ 322618 h 856415"/>
                  <a:gd name="connsiteX61" fmla="*/ 938212 w 1819275"/>
                  <a:gd name="connsiteY61" fmla="*/ 320237 h 856415"/>
                  <a:gd name="connsiteX62" fmla="*/ 947737 w 1819275"/>
                  <a:gd name="connsiteY62" fmla="*/ 317856 h 856415"/>
                  <a:gd name="connsiteX63" fmla="*/ 981075 w 1819275"/>
                  <a:gd name="connsiteY63" fmla="*/ 313093 h 856415"/>
                  <a:gd name="connsiteX64" fmla="*/ 995362 w 1819275"/>
                  <a:gd name="connsiteY64" fmla="*/ 310712 h 856415"/>
                  <a:gd name="connsiteX65" fmla="*/ 1012031 w 1819275"/>
                  <a:gd name="connsiteY65" fmla="*/ 308331 h 856415"/>
                  <a:gd name="connsiteX66" fmla="*/ 1023937 w 1819275"/>
                  <a:gd name="connsiteY66" fmla="*/ 305950 h 856415"/>
                  <a:gd name="connsiteX67" fmla="*/ 1085850 w 1819275"/>
                  <a:gd name="connsiteY67" fmla="*/ 303568 h 856415"/>
                  <a:gd name="connsiteX68" fmla="*/ 1102518 w 1819275"/>
                  <a:gd name="connsiteY68" fmla="*/ 301187 h 856415"/>
                  <a:gd name="connsiteX69" fmla="*/ 1112043 w 1819275"/>
                  <a:gd name="connsiteY69" fmla="*/ 296425 h 856415"/>
                  <a:gd name="connsiteX70" fmla="*/ 1119187 w 1819275"/>
                  <a:gd name="connsiteY70" fmla="*/ 298806 h 856415"/>
                  <a:gd name="connsiteX71" fmla="*/ 1143000 w 1819275"/>
                  <a:gd name="connsiteY71" fmla="*/ 313093 h 856415"/>
                  <a:gd name="connsiteX72" fmla="*/ 1157287 w 1819275"/>
                  <a:gd name="connsiteY72" fmla="*/ 325000 h 856415"/>
                  <a:gd name="connsiteX73" fmla="*/ 1171575 w 1819275"/>
                  <a:gd name="connsiteY73" fmla="*/ 329762 h 856415"/>
                  <a:gd name="connsiteX74" fmla="*/ 1178718 w 1819275"/>
                  <a:gd name="connsiteY74" fmla="*/ 334525 h 856415"/>
                  <a:gd name="connsiteX75" fmla="*/ 1185862 w 1819275"/>
                  <a:gd name="connsiteY75" fmla="*/ 336906 h 856415"/>
                  <a:gd name="connsiteX76" fmla="*/ 1207293 w 1819275"/>
                  <a:gd name="connsiteY76" fmla="*/ 351193 h 856415"/>
                  <a:gd name="connsiteX77" fmla="*/ 1214437 w 1819275"/>
                  <a:gd name="connsiteY77" fmla="*/ 355956 h 856415"/>
                  <a:gd name="connsiteX78" fmla="*/ 1228725 w 1819275"/>
                  <a:gd name="connsiteY78" fmla="*/ 370243 h 856415"/>
                  <a:gd name="connsiteX79" fmla="*/ 1233487 w 1819275"/>
                  <a:gd name="connsiteY79" fmla="*/ 377387 h 856415"/>
                  <a:gd name="connsiteX80" fmla="*/ 1240631 w 1819275"/>
                  <a:gd name="connsiteY80" fmla="*/ 379768 h 856415"/>
                  <a:gd name="connsiteX81" fmla="*/ 1245393 w 1819275"/>
                  <a:gd name="connsiteY81" fmla="*/ 386912 h 856415"/>
                  <a:gd name="connsiteX82" fmla="*/ 1254918 w 1819275"/>
                  <a:gd name="connsiteY82" fmla="*/ 389293 h 856415"/>
                  <a:gd name="connsiteX83" fmla="*/ 1262062 w 1819275"/>
                  <a:gd name="connsiteY83" fmla="*/ 394056 h 856415"/>
                  <a:gd name="connsiteX84" fmla="*/ 1278731 w 1819275"/>
                  <a:gd name="connsiteY84" fmla="*/ 401200 h 856415"/>
                  <a:gd name="connsiteX85" fmla="*/ 1293018 w 1819275"/>
                  <a:gd name="connsiteY85" fmla="*/ 413106 h 856415"/>
                  <a:gd name="connsiteX86" fmla="*/ 1302543 w 1819275"/>
                  <a:gd name="connsiteY86" fmla="*/ 415487 h 856415"/>
                  <a:gd name="connsiteX87" fmla="*/ 1309687 w 1819275"/>
                  <a:gd name="connsiteY87" fmla="*/ 420250 h 856415"/>
                  <a:gd name="connsiteX88" fmla="*/ 1323975 w 1819275"/>
                  <a:gd name="connsiteY88" fmla="*/ 425012 h 856415"/>
                  <a:gd name="connsiteX89" fmla="*/ 1331118 w 1819275"/>
                  <a:gd name="connsiteY89" fmla="*/ 427393 h 856415"/>
                  <a:gd name="connsiteX90" fmla="*/ 1345406 w 1819275"/>
                  <a:gd name="connsiteY90" fmla="*/ 429775 h 856415"/>
                  <a:gd name="connsiteX91" fmla="*/ 1362075 w 1819275"/>
                  <a:gd name="connsiteY91" fmla="*/ 432156 h 856415"/>
                  <a:gd name="connsiteX92" fmla="*/ 1371600 w 1819275"/>
                  <a:gd name="connsiteY92" fmla="*/ 434537 h 856415"/>
                  <a:gd name="connsiteX93" fmla="*/ 1388268 w 1819275"/>
                  <a:gd name="connsiteY93" fmla="*/ 444062 h 856415"/>
                  <a:gd name="connsiteX94" fmla="*/ 1395412 w 1819275"/>
                  <a:gd name="connsiteY94" fmla="*/ 446443 h 856415"/>
                  <a:gd name="connsiteX95" fmla="*/ 1404937 w 1819275"/>
                  <a:gd name="connsiteY95" fmla="*/ 451206 h 856415"/>
                  <a:gd name="connsiteX96" fmla="*/ 1419225 w 1819275"/>
                  <a:gd name="connsiteY96" fmla="*/ 455968 h 856415"/>
                  <a:gd name="connsiteX97" fmla="*/ 1426368 w 1819275"/>
                  <a:gd name="connsiteY97" fmla="*/ 458350 h 856415"/>
                  <a:gd name="connsiteX98" fmla="*/ 1433512 w 1819275"/>
                  <a:gd name="connsiteY98" fmla="*/ 460731 h 856415"/>
                  <a:gd name="connsiteX99" fmla="*/ 1443037 w 1819275"/>
                  <a:gd name="connsiteY99" fmla="*/ 475018 h 856415"/>
                  <a:gd name="connsiteX100" fmla="*/ 1445418 w 1819275"/>
                  <a:gd name="connsiteY100" fmla="*/ 482162 h 856415"/>
                  <a:gd name="connsiteX101" fmla="*/ 1459706 w 1819275"/>
                  <a:gd name="connsiteY101" fmla="*/ 491687 h 856415"/>
                  <a:gd name="connsiteX102" fmla="*/ 1466850 w 1819275"/>
                  <a:gd name="connsiteY102" fmla="*/ 496450 h 856415"/>
                  <a:gd name="connsiteX103" fmla="*/ 1483518 w 1819275"/>
                  <a:gd name="connsiteY103" fmla="*/ 501212 h 856415"/>
                  <a:gd name="connsiteX104" fmla="*/ 1500187 w 1819275"/>
                  <a:gd name="connsiteY104" fmla="*/ 505975 h 856415"/>
                  <a:gd name="connsiteX105" fmla="*/ 1514475 w 1819275"/>
                  <a:gd name="connsiteY105" fmla="*/ 515500 h 856415"/>
                  <a:gd name="connsiteX106" fmla="*/ 1531143 w 1819275"/>
                  <a:gd name="connsiteY106" fmla="*/ 525025 h 856415"/>
                  <a:gd name="connsiteX107" fmla="*/ 1545431 w 1819275"/>
                  <a:gd name="connsiteY107" fmla="*/ 527406 h 856415"/>
                  <a:gd name="connsiteX108" fmla="*/ 1552575 w 1819275"/>
                  <a:gd name="connsiteY108" fmla="*/ 529787 h 856415"/>
                  <a:gd name="connsiteX109" fmla="*/ 1564481 w 1819275"/>
                  <a:gd name="connsiteY109" fmla="*/ 532168 h 856415"/>
                  <a:gd name="connsiteX110" fmla="*/ 1604962 w 1819275"/>
                  <a:gd name="connsiteY110" fmla="*/ 529787 h 856415"/>
                  <a:gd name="connsiteX111" fmla="*/ 1612106 w 1819275"/>
                  <a:gd name="connsiteY111" fmla="*/ 525025 h 856415"/>
                  <a:gd name="connsiteX112" fmla="*/ 1621631 w 1819275"/>
                  <a:gd name="connsiteY112" fmla="*/ 520262 h 856415"/>
                  <a:gd name="connsiteX113" fmla="*/ 1631156 w 1819275"/>
                  <a:gd name="connsiteY113" fmla="*/ 513118 h 856415"/>
                  <a:gd name="connsiteX114" fmla="*/ 1638300 w 1819275"/>
                  <a:gd name="connsiteY114" fmla="*/ 510737 h 856415"/>
                  <a:gd name="connsiteX115" fmla="*/ 1647825 w 1819275"/>
                  <a:gd name="connsiteY115" fmla="*/ 505975 h 856415"/>
                  <a:gd name="connsiteX116" fmla="*/ 1654968 w 1819275"/>
                  <a:gd name="connsiteY116" fmla="*/ 503593 h 856415"/>
                  <a:gd name="connsiteX117" fmla="*/ 1662112 w 1819275"/>
                  <a:gd name="connsiteY117" fmla="*/ 498831 h 856415"/>
                  <a:gd name="connsiteX118" fmla="*/ 1671637 w 1819275"/>
                  <a:gd name="connsiteY118" fmla="*/ 496450 h 856415"/>
                  <a:gd name="connsiteX119" fmla="*/ 1678781 w 1819275"/>
                  <a:gd name="connsiteY119" fmla="*/ 494068 h 856415"/>
                  <a:gd name="connsiteX120" fmla="*/ 1685925 w 1819275"/>
                  <a:gd name="connsiteY120" fmla="*/ 486925 h 856415"/>
                  <a:gd name="connsiteX121" fmla="*/ 1693068 w 1819275"/>
                  <a:gd name="connsiteY121" fmla="*/ 482162 h 856415"/>
                  <a:gd name="connsiteX122" fmla="*/ 1709737 w 1819275"/>
                  <a:gd name="connsiteY122" fmla="*/ 470256 h 856415"/>
                  <a:gd name="connsiteX123" fmla="*/ 1716881 w 1819275"/>
                  <a:gd name="connsiteY123" fmla="*/ 455968 h 856415"/>
                  <a:gd name="connsiteX124" fmla="*/ 1740693 w 1819275"/>
                  <a:gd name="connsiteY124" fmla="*/ 441681 h 856415"/>
                  <a:gd name="connsiteX125" fmla="*/ 1747837 w 1819275"/>
                  <a:gd name="connsiteY125" fmla="*/ 439300 h 856415"/>
                  <a:gd name="connsiteX126" fmla="*/ 1754981 w 1819275"/>
                  <a:gd name="connsiteY126" fmla="*/ 434537 h 856415"/>
                  <a:gd name="connsiteX127" fmla="*/ 1778793 w 1819275"/>
                  <a:gd name="connsiteY127" fmla="*/ 427393 h 856415"/>
                  <a:gd name="connsiteX128" fmla="*/ 1788318 w 1819275"/>
                  <a:gd name="connsiteY128" fmla="*/ 417868 h 856415"/>
                  <a:gd name="connsiteX129" fmla="*/ 1795462 w 1819275"/>
                  <a:gd name="connsiteY129" fmla="*/ 415487 h 856415"/>
                  <a:gd name="connsiteX130" fmla="*/ 1802606 w 1819275"/>
                  <a:gd name="connsiteY130" fmla="*/ 408343 h 856415"/>
                  <a:gd name="connsiteX131" fmla="*/ 1804987 w 1819275"/>
                  <a:gd name="connsiteY131" fmla="*/ 401200 h 856415"/>
                  <a:gd name="connsiteX132" fmla="*/ 1800225 w 1819275"/>
                  <a:gd name="connsiteY132" fmla="*/ 344050 h 856415"/>
                  <a:gd name="connsiteX133" fmla="*/ 1802606 w 1819275"/>
                  <a:gd name="connsiteY133" fmla="*/ 313093 h 856415"/>
                  <a:gd name="connsiteX134" fmla="*/ 1816893 w 1819275"/>
                  <a:gd name="connsiteY134" fmla="*/ 303568 h 856415"/>
                  <a:gd name="connsiteX135" fmla="*/ 1819275 w 1819275"/>
                  <a:gd name="connsiteY135" fmla="*/ 294043 h 856415"/>
                  <a:gd name="connsiteX136" fmla="*/ 1814512 w 1819275"/>
                  <a:gd name="connsiteY136" fmla="*/ 277375 h 856415"/>
                  <a:gd name="connsiteX137" fmla="*/ 1807368 w 1819275"/>
                  <a:gd name="connsiteY137" fmla="*/ 272612 h 856415"/>
                  <a:gd name="connsiteX138" fmla="*/ 1797843 w 1819275"/>
                  <a:gd name="connsiteY138" fmla="*/ 265468 h 856415"/>
                  <a:gd name="connsiteX139" fmla="*/ 1790700 w 1819275"/>
                  <a:gd name="connsiteY139" fmla="*/ 263087 h 856415"/>
                  <a:gd name="connsiteX140" fmla="*/ 1766887 w 1819275"/>
                  <a:gd name="connsiteY140" fmla="*/ 246418 h 856415"/>
                  <a:gd name="connsiteX141" fmla="*/ 1757362 w 1819275"/>
                  <a:gd name="connsiteY141" fmla="*/ 241656 h 856415"/>
                  <a:gd name="connsiteX142" fmla="*/ 1750218 w 1819275"/>
                  <a:gd name="connsiteY142" fmla="*/ 236893 h 856415"/>
                  <a:gd name="connsiteX143" fmla="*/ 1731168 w 1819275"/>
                  <a:gd name="connsiteY143" fmla="*/ 227368 h 856415"/>
                  <a:gd name="connsiteX144" fmla="*/ 1724025 w 1819275"/>
                  <a:gd name="connsiteY144" fmla="*/ 222606 h 856415"/>
                  <a:gd name="connsiteX145" fmla="*/ 1709737 w 1819275"/>
                  <a:gd name="connsiteY145" fmla="*/ 217843 h 856415"/>
                  <a:gd name="connsiteX146" fmla="*/ 1693068 w 1819275"/>
                  <a:gd name="connsiteY146" fmla="*/ 208318 h 856415"/>
                  <a:gd name="connsiteX147" fmla="*/ 1681162 w 1819275"/>
                  <a:gd name="connsiteY147" fmla="*/ 205937 h 856415"/>
                  <a:gd name="connsiteX148" fmla="*/ 1659731 w 1819275"/>
                  <a:gd name="connsiteY148" fmla="*/ 186887 h 856415"/>
                  <a:gd name="connsiteX149" fmla="*/ 1643062 w 1819275"/>
                  <a:gd name="connsiteY149" fmla="*/ 167837 h 856415"/>
                  <a:gd name="connsiteX150" fmla="*/ 1628775 w 1819275"/>
                  <a:gd name="connsiteY150" fmla="*/ 158312 h 856415"/>
                  <a:gd name="connsiteX151" fmla="*/ 1614487 w 1819275"/>
                  <a:gd name="connsiteY151" fmla="*/ 153550 h 856415"/>
                  <a:gd name="connsiteX152" fmla="*/ 1607343 w 1819275"/>
                  <a:gd name="connsiteY152" fmla="*/ 167837 h 856415"/>
                  <a:gd name="connsiteX153" fmla="*/ 1612106 w 1819275"/>
                  <a:gd name="connsiteY153" fmla="*/ 196412 h 856415"/>
                  <a:gd name="connsiteX154" fmla="*/ 1614487 w 1819275"/>
                  <a:gd name="connsiteY154" fmla="*/ 224987 h 856415"/>
                  <a:gd name="connsiteX155" fmla="*/ 1607343 w 1819275"/>
                  <a:gd name="connsiteY155" fmla="*/ 277375 h 856415"/>
                  <a:gd name="connsiteX156" fmla="*/ 1593056 w 1819275"/>
                  <a:gd name="connsiteY156" fmla="*/ 284518 h 856415"/>
                  <a:gd name="connsiteX157" fmla="*/ 1585912 w 1819275"/>
                  <a:gd name="connsiteY157" fmla="*/ 289281 h 856415"/>
                  <a:gd name="connsiteX158" fmla="*/ 1562100 w 1819275"/>
                  <a:gd name="connsiteY158" fmla="*/ 294043 h 856415"/>
                  <a:gd name="connsiteX159" fmla="*/ 1547812 w 1819275"/>
                  <a:gd name="connsiteY159" fmla="*/ 305950 h 856415"/>
                  <a:gd name="connsiteX160" fmla="*/ 1538287 w 1819275"/>
                  <a:gd name="connsiteY160" fmla="*/ 341668 h 856415"/>
                  <a:gd name="connsiteX161" fmla="*/ 1531143 w 1819275"/>
                  <a:gd name="connsiteY161" fmla="*/ 346431 h 856415"/>
                  <a:gd name="connsiteX162" fmla="*/ 1516856 w 1819275"/>
                  <a:gd name="connsiteY162" fmla="*/ 344050 h 856415"/>
                  <a:gd name="connsiteX163" fmla="*/ 1509712 w 1819275"/>
                  <a:gd name="connsiteY163" fmla="*/ 336906 h 856415"/>
                  <a:gd name="connsiteX164" fmla="*/ 1502568 w 1819275"/>
                  <a:gd name="connsiteY164" fmla="*/ 332143 h 856415"/>
                  <a:gd name="connsiteX165" fmla="*/ 1495425 w 1819275"/>
                  <a:gd name="connsiteY165" fmla="*/ 329762 h 856415"/>
                  <a:gd name="connsiteX166" fmla="*/ 1471612 w 1819275"/>
                  <a:gd name="connsiteY166" fmla="*/ 325000 h 856415"/>
                  <a:gd name="connsiteX167" fmla="*/ 1464468 w 1819275"/>
                  <a:gd name="connsiteY167" fmla="*/ 310712 h 856415"/>
                  <a:gd name="connsiteX168" fmla="*/ 1471612 w 1819275"/>
                  <a:gd name="connsiteY168" fmla="*/ 294043 h 856415"/>
                  <a:gd name="connsiteX169" fmla="*/ 1478756 w 1819275"/>
                  <a:gd name="connsiteY169" fmla="*/ 289281 h 856415"/>
                  <a:gd name="connsiteX170" fmla="*/ 1485900 w 1819275"/>
                  <a:gd name="connsiteY170" fmla="*/ 286900 h 856415"/>
                  <a:gd name="connsiteX171" fmla="*/ 1500187 w 1819275"/>
                  <a:gd name="connsiteY171" fmla="*/ 277375 h 856415"/>
                  <a:gd name="connsiteX172" fmla="*/ 1514475 w 1819275"/>
                  <a:gd name="connsiteY172" fmla="*/ 267850 h 856415"/>
                  <a:gd name="connsiteX173" fmla="*/ 1528762 w 1819275"/>
                  <a:gd name="connsiteY173" fmla="*/ 260706 h 856415"/>
                  <a:gd name="connsiteX174" fmla="*/ 1535906 w 1819275"/>
                  <a:gd name="connsiteY174" fmla="*/ 258325 h 856415"/>
                  <a:gd name="connsiteX175" fmla="*/ 1535906 w 1819275"/>
                  <a:gd name="connsiteY175" fmla="*/ 239275 h 856415"/>
                  <a:gd name="connsiteX176" fmla="*/ 1519237 w 1819275"/>
                  <a:gd name="connsiteY176" fmla="*/ 241656 h 856415"/>
                  <a:gd name="connsiteX177" fmla="*/ 1485900 w 1819275"/>
                  <a:gd name="connsiteY177" fmla="*/ 239275 h 856415"/>
                  <a:gd name="connsiteX178" fmla="*/ 1471612 w 1819275"/>
                  <a:gd name="connsiteY178" fmla="*/ 236893 h 856415"/>
                  <a:gd name="connsiteX179" fmla="*/ 1431131 w 1819275"/>
                  <a:gd name="connsiteY179" fmla="*/ 232131 h 856415"/>
                  <a:gd name="connsiteX180" fmla="*/ 1423987 w 1819275"/>
                  <a:gd name="connsiteY180" fmla="*/ 229750 h 856415"/>
                  <a:gd name="connsiteX181" fmla="*/ 1402556 w 1819275"/>
                  <a:gd name="connsiteY181" fmla="*/ 224987 h 856415"/>
                  <a:gd name="connsiteX182" fmla="*/ 1395412 w 1819275"/>
                  <a:gd name="connsiteY182" fmla="*/ 220225 h 856415"/>
                  <a:gd name="connsiteX183" fmla="*/ 1371600 w 1819275"/>
                  <a:gd name="connsiteY183" fmla="*/ 215462 h 856415"/>
                  <a:gd name="connsiteX184" fmla="*/ 1352550 w 1819275"/>
                  <a:gd name="connsiteY184" fmla="*/ 210700 h 856415"/>
                  <a:gd name="connsiteX185" fmla="*/ 1309687 w 1819275"/>
                  <a:gd name="connsiteY185" fmla="*/ 215462 h 856415"/>
                  <a:gd name="connsiteX186" fmla="*/ 1302543 w 1819275"/>
                  <a:gd name="connsiteY186" fmla="*/ 217843 h 856415"/>
                  <a:gd name="connsiteX187" fmla="*/ 1295400 w 1819275"/>
                  <a:gd name="connsiteY187" fmla="*/ 224987 h 856415"/>
                  <a:gd name="connsiteX188" fmla="*/ 1281112 w 1819275"/>
                  <a:gd name="connsiteY188" fmla="*/ 234512 h 856415"/>
                  <a:gd name="connsiteX189" fmla="*/ 1269206 w 1819275"/>
                  <a:gd name="connsiteY189" fmla="*/ 232131 h 856415"/>
                  <a:gd name="connsiteX190" fmla="*/ 1259681 w 1819275"/>
                  <a:gd name="connsiteY190" fmla="*/ 229750 h 856415"/>
                  <a:gd name="connsiteX191" fmla="*/ 1250156 w 1819275"/>
                  <a:gd name="connsiteY191" fmla="*/ 215462 h 856415"/>
                  <a:gd name="connsiteX192" fmla="*/ 1243012 w 1819275"/>
                  <a:gd name="connsiteY192" fmla="*/ 201175 h 856415"/>
                  <a:gd name="connsiteX193" fmla="*/ 1233487 w 1819275"/>
                  <a:gd name="connsiteY193" fmla="*/ 198793 h 856415"/>
                  <a:gd name="connsiteX194" fmla="*/ 1221581 w 1819275"/>
                  <a:gd name="connsiteY194" fmla="*/ 201175 h 856415"/>
                  <a:gd name="connsiteX195" fmla="*/ 1197768 w 1819275"/>
                  <a:gd name="connsiteY195" fmla="*/ 217843 h 856415"/>
                  <a:gd name="connsiteX196" fmla="*/ 1181100 w 1819275"/>
                  <a:gd name="connsiteY196" fmla="*/ 224987 h 856415"/>
                  <a:gd name="connsiteX197" fmla="*/ 1164431 w 1819275"/>
                  <a:gd name="connsiteY197" fmla="*/ 229750 h 856415"/>
                  <a:gd name="connsiteX198" fmla="*/ 1157287 w 1819275"/>
                  <a:gd name="connsiteY198" fmla="*/ 224987 h 856415"/>
                  <a:gd name="connsiteX199" fmla="*/ 1159668 w 1819275"/>
                  <a:gd name="connsiteY199" fmla="*/ 215462 h 856415"/>
                  <a:gd name="connsiteX200" fmla="*/ 1171575 w 1819275"/>
                  <a:gd name="connsiteY200" fmla="*/ 203556 h 856415"/>
                  <a:gd name="connsiteX201" fmla="*/ 1176337 w 1819275"/>
                  <a:gd name="connsiteY201" fmla="*/ 189268 h 856415"/>
                  <a:gd name="connsiteX202" fmla="*/ 1171575 w 1819275"/>
                  <a:gd name="connsiteY202" fmla="*/ 153550 h 856415"/>
                  <a:gd name="connsiteX203" fmla="*/ 1164431 w 1819275"/>
                  <a:gd name="connsiteY203" fmla="*/ 136881 h 856415"/>
                  <a:gd name="connsiteX204" fmla="*/ 1150143 w 1819275"/>
                  <a:gd name="connsiteY204" fmla="*/ 129737 h 856415"/>
                  <a:gd name="connsiteX205" fmla="*/ 1143000 w 1819275"/>
                  <a:gd name="connsiteY205" fmla="*/ 132118 h 856415"/>
                  <a:gd name="connsiteX206" fmla="*/ 1138237 w 1819275"/>
                  <a:gd name="connsiteY206" fmla="*/ 139262 h 856415"/>
                  <a:gd name="connsiteX207" fmla="*/ 1131093 w 1819275"/>
                  <a:gd name="connsiteY207" fmla="*/ 163075 h 856415"/>
                  <a:gd name="connsiteX208" fmla="*/ 1123950 w 1819275"/>
                  <a:gd name="connsiteY208" fmla="*/ 184506 h 856415"/>
                  <a:gd name="connsiteX209" fmla="*/ 1121568 w 1819275"/>
                  <a:gd name="connsiteY209" fmla="*/ 191650 h 856415"/>
                  <a:gd name="connsiteX210" fmla="*/ 1114425 w 1819275"/>
                  <a:gd name="connsiteY210" fmla="*/ 198793 h 856415"/>
                  <a:gd name="connsiteX211" fmla="*/ 1102518 w 1819275"/>
                  <a:gd name="connsiteY211" fmla="*/ 213081 h 856415"/>
                  <a:gd name="connsiteX212" fmla="*/ 1085850 w 1819275"/>
                  <a:gd name="connsiteY212" fmla="*/ 217843 h 856415"/>
                  <a:gd name="connsiteX213" fmla="*/ 1057275 w 1819275"/>
                  <a:gd name="connsiteY213" fmla="*/ 215462 h 856415"/>
                  <a:gd name="connsiteX214" fmla="*/ 1050131 w 1819275"/>
                  <a:gd name="connsiteY214" fmla="*/ 208318 h 856415"/>
                  <a:gd name="connsiteX215" fmla="*/ 1042987 w 1819275"/>
                  <a:gd name="connsiteY215" fmla="*/ 194031 h 856415"/>
                  <a:gd name="connsiteX216" fmla="*/ 1023937 w 1819275"/>
                  <a:gd name="connsiteY216" fmla="*/ 186887 h 856415"/>
                  <a:gd name="connsiteX217" fmla="*/ 1000125 w 1819275"/>
                  <a:gd name="connsiteY217" fmla="*/ 189268 h 856415"/>
                  <a:gd name="connsiteX218" fmla="*/ 990600 w 1819275"/>
                  <a:gd name="connsiteY218" fmla="*/ 203556 h 856415"/>
                  <a:gd name="connsiteX219" fmla="*/ 983456 w 1819275"/>
                  <a:gd name="connsiteY219" fmla="*/ 208318 h 856415"/>
                  <a:gd name="connsiteX220" fmla="*/ 942975 w 1819275"/>
                  <a:gd name="connsiteY220" fmla="*/ 213081 h 856415"/>
                  <a:gd name="connsiteX221" fmla="*/ 938212 w 1819275"/>
                  <a:gd name="connsiteY221" fmla="*/ 227368 h 856415"/>
                  <a:gd name="connsiteX222" fmla="*/ 935831 w 1819275"/>
                  <a:gd name="connsiteY222" fmla="*/ 234512 h 856415"/>
                  <a:gd name="connsiteX223" fmla="*/ 931068 w 1819275"/>
                  <a:gd name="connsiteY223" fmla="*/ 241656 h 856415"/>
                  <a:gd name="connsiteX224" fmla="*/ 900112 w 1819275"/>
                  <a:gd name="connsiteY224" fmla="*/ 232131 h 856415"/>
                  <a:gd name="connsiteX225" fmla="*/ 907256 w 1819275"/>
                  <a:gd name="connsiteY225" fmla="*/ 224987 h 856415"/>
                  <a:gd name="connsiteX226" fmla="*/ 907256 w 1819275"/>
                  <a:gd name="connsiteY226" fmla="*/ 203556 h 856415"/>
                  <a:gd name="connsiteX227" fmla="*/ 904875 w 1819275"/>
                  <a:gd name="connsiteY227" fmla="*/ 191650 h 856415"/>
                  <a:gd name="connsiteX228" fmla="*/ 897731 w 1819275"/>
                  <a:gd name="connsiteY228" fmla="*/ 189268 h 856415"/>
                  <a:gd name="connsiteX229" fmla="*/ 876300 w 1819275"/>
                  <a:gd name="connsiteY229" fmla="*/ 198793 h 856415"/>
                  <a:gd name="connsiteX230" fmla="*/ 871537 w 1819275"/>
                  <a:gd name="connsiteY230" fmla="*/ 205937 h 856415"/>
                  <a:gd name="connsiteX231" fmla="*/ 857250 w 1819275"/>
                  <a:gd name="connsiteY231" fmla="*/ 213081 h 856415"/>
                  <a:gd name="connsiteX232" fmla="*/ 826293 w 1819275"/>
                  <a:gd name="connsiteY232" fmla="*/ 210700 h 856415"/>
                  <a:gd name="connsiteX233" fmla="*/ 802481 w 1819275"/>
                  <a:gd name="connsiteY233" fmla="*/ 205937 h 856415"/>
                  <a:gd name="connsiteX234" fmla="*/ 795337 w 1819275"/>
                  <a:gd name="connsiteY234" fmla="*/ 201175 h 856415"/>
                  <a:gd name="connsiteX235" fmla="*/ 790575 w 1819275"/>
                  <a:gd name="connsiteY235" fmla="*/ 186887 h 856415"/>
                  <a:gd name="connsiteX236" fmla="*/ 778668 w 1819275"/>
                  <a:gd name="connsiteY236" fmla="*/ 129737 h 856415"/>
                  <a:gd name="connsiteX237" fmla="*/ 769143 w 1819275"/>
                  <a:gd name="connsiteY237" fmla="*/ 132118 h 856415"/>
                  <a:gd name="connsiteX238" fmla="*/ 764381 w 1819275"/>
                  <a:gd name="connsiteY238" fmla="*/ 146406 h 856415"/>
                  <a:gd name="connsiteX239" fmla="*/ 759618 w 1819275"/>
                  <a:gd name="connsiteY239" fmla="*/ 189268 h 856415"/>
                  <a:gd name="connsiteX240" fmla="*/ 757237 w 1819275"/>
                  <a:gd name="connsiteY240" fmla="*/ 215462 h 856415"/>
                  <a:gd name="connsiteX241" fmla="*/ 740568 w 1819275"/>
                  <a:gd name="connsiteY241" fmla="*/ 213081 h 856415"/>
                  <a:gd name="connsiteX242" fmla="*/ 721518 w 1819275"/>
                  <a:gd name="connsiteY242" fmla="*/ 208318 h 856415"/>
                  <a:gd name="connsiteX243" fmla="*/ 719137 w 1819275"/>
                  <a:gd name="connsiteY243" fmla="*/ 198793 h 856415"/>
                  <a:gd name="connsiteX244" fmla="*/ 731043 w 1819275"/>
                  <a:gd name="connsiteY244" fmla="*/ 177362 h 856415"/>
                  <a:gd name="connsiteX245" fmla="*/ 738187 w 1819275"/>
                  <a:gd name="connsiteY245" fmla="*/ 172600 h 856415"/>
                  <a:gd name="connsiteX246" fmla="*/ 733425 w 1819275"/>
                  <a:gd name="connsiteY246" fmla="*/ 144025 h 856415"/>
                  <a:gd name="connsiteX247" fmla="*/ 728662 w 1819275"/>
                  <a:gd name="connsiteY247" fmla="*/ 136881 h 856415"/>
                  <a:gd name="connsiteX248" fmla="*/ 697706 w 1819275"/>
                  <a:gd name="connsiteY248" fmla="*/ 141643 h 856415"/>
                  <a:gd name="connsiteX249" fmla="*/ 690562 w 1819275"/>
                  <a:gd name="connsiteY249" fmla="*/ 144025 h 856415"/>
                  <a:gd name="connsiteX250" fmla="*/ 685800 w 1819275"/>
                  <a:gd name="connsiteY250" fmla="*/ 160693 h 856415"/>
                  <a:gd name="connsiteX251" fmla="*/ 683418 w 1819275"/>
                  <a:gd name="connsiteY251" fmla="*/ 174981 h 856415"/>
                  <a:gd name="connsiteX252" fmla="*/ 676275 w 1819275"/>
                  <a:gd name="connsiteY252" fmla="*/ 191650 h 856415"/>
                  <a:gd name="connsiteX253" fmla="*/ 671512 w 1819275"/>
                  <a:gd name="connsiteY253" fmla="*/ 198793 h 856415"/>
                  <a:gd name="connsiteX254" fmla="*/ 657225 w 1819275"/>
                  <a:gd name="connsiteY254" fmla="*/ 208318 h 856415"/>
                  <a:gd name="connsiteX255" fmla="*/ 642937 w 1819275"/>
                  <a:gd name="connsiteY255" fmla="*/ 213081 h 856415"/>
                  <a:gd name="connsiteX256" fmla="*/ 607218 w 1819275"/>
                  <a:gd name="connsiteY256" fmla="*/ 208318 h 856415"/>
                  <a:gd name="connsiteX257" fmla="*/ 588168 w 1819275"/>
                  <a:gd name="connsiteY257" fmla="*/ 198793 h 856415"/>
                  <a:gd name="connsiteX258" fmla="*/ 585787 w 1819275"/>
                  <a:gd name="connsiteY258" fmla="*/ 191650 h 856415"/>
                  <a:gd name="connsiteX259" fmla="*/ 581025 w 1819275"/>
                  <a:gd name="connsiteY259" fmla="*/ 146406 h 856415"/>
                  <a:gd name="connsiteX260" fmla="*/ 576262 w 1819275"/>
                  <a:gd name="connsiteY260" fmla="*/ 139262 h 856415"/>
                  <a:gd name="connsiteX261" fmla="*/ 564356 w 1819275"/>
                  <a:gd name="connsiteY261" fmla="*/ 141643 h 856415"/>
                  <a:gd name="connsiteX262" fmla="*/ 557212 w 1819275"/>
                  <a:gd name="connsiteY262" fmla="*/ 155931 h 856415"/>
                  <a:gd name="connsiteX263" fmla="*/ 554831 w 1819275"/>
                  <a:gd name="connsiteY263" fmla="*/ 203556 h 856415"/>
                  <a:gd name="connsiteX264" fmla="*/ 550068 w 1819275"/>
                  <a:gd name="connsiteY264" fmla="*/ 213081 h 856415"/>
                  <a:gd name="connsiteX265" fmla="*/ 540543 w 1819275"/>
                  <a:gd name="connsiteY265" fmla="*/ 215462 h 856415"/>
                  <a:gd name="connsiteX266" fmla="*/ 531018 w 1819275"/>
                  <a:gd name="connsiteY266" fmla="*/ 213081 h 856415"/>
                  <a:gd name="connsiteX267" fmla="*/ 523875 w 1819275"/>
                  <a:gd name="connsiteY267" fmla="*/ 205937 h 856415"/>
                  <a:gd name="connsiteX268" fmla="*/ 516731 w 1819275"/>
                  <a:gd name="connsiteY268" fmla="*/ 189268 h 856415"/>
                  <a:gd name="connsiteX269" fmla="*/ 523875 w 1819275"/>
                  <a:gd name="connsiteY269" fmla="*/ 167837 h 856415"/>
                  <a:gd name="connsiteX270" fmla="*/ 526256 w 1819275"/>
                  <a:gd name="connsiteY270" fmla="*/ 160693 h 856415"/>
                  <a:gd name="connsiteX271" fmla="*/ 528637 w 1819275"/>
                  <a:gd name="connsiteY271" fmla="*/ 151168 h 856415"/>
                  <a:gd name="connsiteX272" fmla="*/ 531018 w 1819275"/>
                  <a:gd name="connsiteY272" fmla="*/ 129737 h 856415"/>
                  <a:gd name="connsiteX273" fmla="*/ 531018 w 1819275"/>
                  <a:gd name="connsiteY273" fmla="*/ 101162 h 856415"/>
                  <a:gd name="connsiteX274" fmla="*/ 516731 w 1819275"/>
                  <a:gd name="connsiteY274" fmla="*/ 96400 h 856415"/>
                  <a:gd name="connsiteX275" fmla="*/ 492918 w 1819275"/>
                  <a:gd name="connsiteY275" fmla="*/ 98781 h 856415"/>
                  <a:gd name="connsiteX276" fmla="*/ 490537 w 1819275"/>
                  <a:gd name="connsiteY276" fmla="*/ 108306 h 856415"/>
                  <a:gd name="connsiteX277" fmla="*/ 488156 w 1819275"/>
                  <a:gd name="connsiteY277" fmla="*/ 122593 h 856415"/>
                  <a:gd name="connsiteX278" fmla="*/ 485775 w 1819275"/>
                  <a:gd name="connsiteY278" fmla="*/ 146406 h 856415"/>
                  <a:gd name="connsiteX279" fmla="*/ 478631 w 1819275"/>
                  <a:gd name="connsiteY279" fmla="*/ 153550 h 856415"/>
                  <a:gd name="connsiteX280" fmla="*/ 473868 w 1819275"/>
                  <a:gd name="connsiteY280" fmla="*/ 160693 h 856415"/>
                  <a:gd name="connsiteX281" fmla="*/ 471487 w 1819275"/>
                  <a:gd name="connsiteY281" fmla="*/ 186887 h 856415"/>
                  <a:gd name="connsiteX282" fmla="*/ 469106 w 1819275"/>
                  <a:gd name="connsiteY282" fmla="*/ 201175 h 856415"/>
                  <a:gd name="connsiteX283" fmla="*/ 454818 w 1819275"/>
                  <a:gd name="connsiteY283" fmla="*/ 210700 h 856415"/>
                  <a:gd name="connsiteX284" fmla="*/ 433387 w 1819275"/>
                  <a:gd name="connsiteY284" fmla="*/ 201175 h 856415"/>
                  <a:gd name="connsiteX285" fmla="*/ 431006 w 1819275"/>
                  <a:gd name="connsiteY285" fmla="*/ 194031 h 856415"/>
                  <a:gd name="connsiteX286" fmla="*/ 433387 w 1819275"/>
                  <a:gd name="connsiteY286" fmla="*/ 186887 h 856415"/>
                  <a:gd name="connsiteX287" fmla="*/ 440531 w 1819275"/>
                  <a:gd name="connsiteY287" fmla="*/ 184506 h 856415"/>
                  <a:gd name="connsiteX288" fmla="*/ 447675 w 1819275"/>
                  <a:gd name="connsiteY288" fmla="*/ 177362 h 856415"/>
                  <a:gd name="connsiteX289" fmla="*/ 438150 w 1819275"/>
                  <a:gd name="connsiteY289" fmla="*/ 158312 h 856415"/>
                  <a:gd name="connsiteX290" fmla="*/ 428625 w 1819275"/>
                  <a:gd name="connsiteY290" fmla="*/ 160693 h 856415"/>
                  <a:gd name="connsiteX291" fmla="*/ 421481 w 1819275"/>
                  <a:gd name="connsiteY291" fmla="*/ 167837 h 856415"/>
                  <a:gd name="connsiteX292" fmla="*/ 416718 w 1819275"/>
                  <a:gd name="connsiteY292" fmla="*/ 184506 h 856415"/>
                  <a:gd name="connsiteX293" fmla="*/ 414337 w 1819275"/>
                  <a:gd name="connsiteY293" fmla="*/ 191650 h 856415"/>
                  <a:gd name="connsiteX294" fmla="*/ 407193 w 1819275"/>
                  <a:gd name="connsiteY294" fmla="*/ 194031 h 856415"/>
                  <a:gd name="connsiteX295" fmla="*/ 402431 w 1819275"/>
                  <a:gd name="connsiteY295" fmla="*/ 186887 h 856415"/>
                  <a:gd name="connsiteX296" fmla="*/ 397668 w 1819275"/>
                  <a:gd name="connsiteY296" fmla="*/ 170218 h 856415"/>
                  <a:gd name="connsiteX297" fmla="*/ 392906 w 1819275"/>
                  <a:gd name="connsiteY297" fmla="*/ 163075 h 856415"/>
                  <a:gd name="connsiteX298" fmla="*/ 390525 w 1819275"/>
                  <a:gd name="connsiteY298" fmla="*/ 155931 h 856415"/>
                  <a:gd name="connsiteX299" fmla="*/ 378618 w 1819275"/>
                  <a:gd name="connsiteY299" fmla="*/ 141643 h 856415"/>
                  <a:gd name="connsiteX300" fmla="*/ 373856 w 1819275"/>
                  <a:gd name="connsiteY300" fmla="*/ 132118 h 856415"/>
                  <a:gd name="connsiteX301" fmla="*/ 366712 w 1819275"/>
                  <a:gd name="connsiteY301" fmla="*/ 127356 h 856415"/>
                  <a:gd name="connsiteX302" fmla="*/ 364331 w 1819275"/>
                  <a:gd name="connsiteY302" fmla="*/ 120212 h 856415"/>
                  <a:gd name="connsiteX303" fmla="*/ 350043 w 1819275"/>
                  <a:gd name="connsiteY303" fmla="*/ 115450 h 856415"/>
                  <a:gd name="connsiteX304" fmla="*/ 340518 w 1819275"/>
                  <a:gd name="connsiteY304" fmla="*/ 110687 h 856415"/>
                  <a:gd name="connsiteX305" fmla="*/ 335756 w 1819275"/>
                  <a:gd name="connsiteY305" fmla="*/ 103543 h 856415"/>
                  <a:gd name="connsiteX306" fmla="*/ 328612 w 1819275"/>
                  <a:gd name="connsiteY306" fmla="*/ 98781 h 856415"/>
                  <a:gd name="connsiteX307" fmla="*/ 319087 w 1819275"/>
                  <a:gd name="connsiteY307" fmla="*/ 84493 h 856415"/>
                  <a:gd name="connsiteX308" fmla="*/ 328612 w 1819275"/>
                  <a:gd name="connsiteY308" fmla="*/ 55918 h 856415"/>
                  <a:gd name="connsiteX309" fmla="*/ 338137 w 1819275"/>
                  <a:gd name="connsiteY309" fmla="*/ 53537 h 856415"/>
                  <a:gd name="connsiteX310" fmla="*/ 338137 w 1819275"/>
                  <a:gd name="connsiteY310" fmla="*/ 34487 h 856415"/>
                  <a:gd name="connsiteX311" fmla="*/ 335756 w 1819275"/>
                  <a:gd name="connsiteY311" fmla="*/ 27343 h 856415"/>
                  <a:gd name="connsiteX312" fmla="*/ 328612 w 1819275"/>
                  <a:gd name="connsiteY312" fmla="*/ 22581 h 856415"/>
                  <a:gd name="connsiteX313" fmla="*/ 314325 w 1819275"/>
                  <a:gd name="connsiteY313" fmla="*/ 10675 h 856415"/>
                  <a:gd name="connsiteX314" fmla="*/ 302418 w 1819275"/>
                  <a:gd name="connsiteY314" fmla="*/ 1150 h 856415"/>
                  <a:gd name="connsiteX315" fmla="*/ 295275 w 1819275"/>
                  <a:gd name="connsiteY315" fmla="*/ 5912 h 856415"/>
                  <a:gd name="connsiteX316" fmla="*/ 292893 w 1819275"/>
                  <a:gd name="connsiteY316" fmla="*/ 24962 h 856415"/>
                  <a:gd name="connsiteX317" fmla="*/ 280987 w 1819275"/>
                  <a:gd name="connsiteY317" fmla="*/ 36868 h 856415"/>
                  <a:gd name="connsiteX318" fmla="*/ 266700 w 1819275"/>
                  <a:gd name="connsiteY318" fmla="*/ 39250 h 856415"/>
                  <a:gd name="connsiteX319" fmla="*/ 261937 w 1819275"/>
                  <a:gd name="connsiteY319" fmla="*/ 113068 h 856415"/>
                  <a:gd name="connsiteX320" fmla="*/ 271462 w 1819275"/>
                  <a:gd name="connsiteY320" fmla="*/ 120212 h 856415"/>
                  <a:gd name="connsiteX321" fmla="*/ 285750 w 1819275"/>
                  <a:gd name="connsiteY321" fmla="*/ 129737 h 856415"/>
                  <a:gd name="connsiteX322" fmla="*/ 292893 w 1819275"/>
                  <a:gd name="connsiteY322" fmla="*/ 134500 h 856415"/>
                  <a:gd name="connsiteX323" fmla="*/ 297656 w 1819275"/>
                  <a:gd name="connsiteY323" fmla="*/ 141643 h 856415"/>
                  <a:gd name="connsiteX324" fmla="*/ 295275 w 1819275"/>
                  <a:gd name="connsiteY324" fmla="*/ 148787 h 856415"/>
                  <a:gd name="connsiteX325" fmla="*/ 219075 w 1819275"/>
                  <a:gd name="connsiteY325" fmla="*/ 146406 h 856415"/>
                  <a:gd name="connsiteX326" fmla="*/ 207168 w 1819275"/>
                  <a:gd name="connsiteY326" fmla="*/ 124975 h 856415"/>
                  <a:gd name="connsiteX327" fmla="*/ 200025 w 1819275"/>
                  <a:gd name="connsiteY327" fmla="*/ 122593 h 856415"/>
                  <a:gd name="connsiteX328" fmla="*/ 188118 w 1819275"/>
                  <a:gd name="connsiteY328" fmla="*/ 177362 h 856415"/>
                  <a:gd name="connsiteX329" fmla="*/ 171450 w 1819275"/>
                  <a:gd name="connsiteY329" fmla="*/ 196412 h 856415"/>
                  <a:gd name="connsiteX330" fmla="*/ 157162 w 1819275"/>
                  <a:gd name="connsiteY330" fmla="*/ 210700 h 856415"/>
                  <a:gd name="connsiteX331" fmla="*/ 147637 w 1819275"/>
                  <a:gd name="connsiteY331" fmla="*/ 208318 h 856415"/>
                  <a:gd name="connsiteX332" fmla="*/ 152400 w 1819275"/>
                  <a:gd name="connsiteY332" fmla="*/ 165456 h 856415"/>
                  <a:gd name="connsiteX333" fmla="*/ 157162 w 1819275"/>
                  <a:gd name="connsiteY333" fmla="*/ 129737 h 856415"/>
                  <a:gd name="connsiteX334" fmla="*/ 154781 w 1819275"/>
                  <a:gd name="connsiteY334" fmla="*/ 101162 h 856415"/>
                  <a:gd name="connsiteX335" fmla="*/ 147637 w 1819275"/>
                  <a:gd name="connsiteY335" fmla="*/ 103543 h 856415"/>
                  <a:gd name="connsiteX336" fmla="*/ 133350 w 1819275"/>
                  <a:gd name="connsiteY336" fmla="*/ 115450 h 856415"/>
                  <a:gd name="connsiteX337" fmla="*/ 130968 w 1819275"/>
                  <a:gd name="connsiteY337" fmla="*/ 122593 h 856415"/>
                  <a:gd name="connsiteX338" fmla="*/ 121443 w 1819275"/>
                  <a:gd name="connsiteY338" fmla="*/ 136881 h 856415"/>
                  <a:gd name="connsiteX339" fmla="*/ 116681 w 1819275"/>
                  <a:gd name="connsiteY339" fmla="*/ 144025 h 856415"/>
                  <a:gd name="connsiteX340" fmla="*/ 107156 w 1819275"/>
                  <a:gd name="connsiteY340" fmla="*/ 158312 h 856415"/>
                  <a:gd name="connsiteX341" fmla="*/ 100012 w 1819275"/>
                  <a:gd name="connsiteY341" fmla="*/ 179743 h 856415"/>
                  <a:gd name="connsiteX342" fmla="*/ 97631 w 1819275"/>
                  <a:gd name="connsiteY342" fmla="*/ 186887 h 856415"/>
                  <a:gd name="connsiteX343" fmla="*/ 95250 w 1819275"/>
                  <a:gd name="connsiteY343" fmla="*/ 194031 h 856415"/>
                  <a:gd name="connsiteX344" fmla="*/ 97631 w 1819275"/>
                  <a:gd name="connsiteY344" fmla="*/ 236893 h 856415"/>
                  <a:gd name="connsiteX345" fmla="*/ 100012 w 1819275"/>
                  <a:gd name="connsiteY345" fmla="*/ 246418 h 856415"/>
                  <a:gd name="connsiteX346" fmla="*/ 102393 w 1819275"/>
                  <a:gd name="connsiteY346" fmla="*/ 260706 h 856415"/>
                  <a:gd name="connsiteX347" fmla="*/ 100012 w 1819275"/>
                  <a:gd name="connsiteY347" fmla="*/ 274993 h 856415"/>
                  <a:gd name="connsiteX348" fmla="*/ 85725 w 1819275"/>
                  <a:gd name="connsiteY348" fmla="*/ 289281 h 856415"/>
                  <a:gd name="connsiteX349" fmla="*/ 80962 w 1819275"/>
                  <a:gd name="connsiteY349" fmla="*/ 296425 h 856415"/>
                  <a:gd name="connsiteX350" fmla="*/ 76200 w 1819275"/>
                  <a:gd name="connsiteY350" fmla="*/ 310712 h 856415"/>
                  <a:gd name="connsiteX351" fmla="*/ 69056 w 1819275"/>
                  <a:gd name="connsiteY351" fmla="*/ 327381 h 856415"/>
                  <a:gd name="connsiteX352" fmla="*/ 61912 w 1819275"/>
                  <a:gd name="connsiteY352" fmla="*/ 332143 h 856415"/>
                  <a:gd name="connsiteX353" fmla="*/ 47625 w 1819275"/>
                  <a:gd name="connsiteY353" fmla="*/ 346431 h 856415"/>
                  <a:gd name="connsiteX354" fmla="*/ 40481 w 1819275"/>
                  <a:gd name="connsiteY354" fmla="*/ 360718 h 856415"/>
                  <a:gd name="connsiteX355" fmla="*/ 26193 w 1819275"/>
                  <a:gd name="connsiteY355" fmla="*/ 370243 h 856415"/>
                  <a:gd name="connsiteX356" fmla="*/ 14287 w 1819275"/>
                  <a:gd name="connsiteY356" fmla="*/ 375006 h 856415"/>
                  <a:gd name="connsiteX357" fmla="*/ 23812 w 1819275"/>
                  <a:gd name="connsiteY357" fmla="*/ 389293 h 856415"/>
                  <a:gd name="connsiteX358" fmla="*/ 28575 w 1819275"/>
                  <a:gd name="connsiteY358" fmla="*/ 396437 h 856415"/>
                  <a:gd name="connsiteX359" fmla="*/ 21431 w 1819275"/>
                  <a:gd name="connsiteY359" fmla="*/ 403581 h 856415"/>
                  <a:gd name="connsiteX360" fmla="*/ 14287 w 1819275"/>
                  <a:gd name="connsiteY360" fmla="*/ 408343 h 856415"/>
                  <a:gd name="connsiteX361" fmla="*/ 11906 w 1819275"/>
                  <a:gd name="connsiteY361" fmla="*/ 415487 h 856415"/>
                  <a:gd name="connsiteX362" fmla="*/ 4762 w 1819275"/>
                  <a:gd name="connsiteY362" fmla="*/ 422631 h 856415"/>
                  <a:gd name="connsiteX363" fmla="*/ 0 w 1819275"/>
                  <a:gd name="connsiteY363" fmla="*/ 429775 h 856415"/>
                  <a:gd name="connsiteX364" fmla="*/ 4762 w 1819275"/>
                  <a:gd name="connsiteY364" fmla="*/ 463112 h 856415"/>
                  <a:gd name="connsiteX365" fmla="*/ 7143 w 1819275"/>
                  <a:gd name="connsiteY365" fmla="*/ 477400 h 856415"/>
                  <a:gd name="connsiteX366" fmla="*/ 11906 w 1819275"/>
                  <a:gd name="connsiteY366" fmla="*/ 494068 h 856415"/>
                  <a:gd name="connsiteX367" fmla="*/ 19050 w 1819275"/>
                  <a:gd name="connsiteY367" fmla="*/ 520262 h 856415"/>
                  <a:gd name="connsiteX368" fmla="*/ 23812 w 1819275"/>
                  <a:gd name="connsiteY368" fmla="*/ 534550 h 856415"/>
                  <a:gd name="connsiteX369" fmla="*/ 35718 w 1819275"/>
                  <a:gd name="connsiteY369" fmla="*/ 548837 h 856415"/>
                  <a:gd name="connsiteX370" fmla="*/ 52387 w 1819275"/>
                  <a:gd name="connsiteY370" fmla="*/ 558362 h 856415"/>
                  <a:gd name="connsiteX371" fmla="*/ 59531 w 1819275"/>
                  <a:gd name="connsiteY371" fmla="*/ 560743 h 856415"/>
                  <a:gd name="connsiteX372" fmla="*/ 69056 w 1819275"/>
                  <a:gd name="connsiteY372" fmla="*/ 565506 h 856415"/>
                  <a:gd name="connsiteX373" fmla="*/ 83343 w 1819275"/>
                  <a:gd name="connsiteY373" fmla="*/ 575031 h 856415"/>
                  <a:gd name="connsiteX374" fmla="*/ 88106 w 1819275"/>
                  <a:gd name="connsiteY374" fmla="*/ 582175 h 856415"/>
                  <a:gd name="connsiteX375" fmla="*/ 97631 w 1819275"/>
                  <a:gd name="connsiteY375" fmla="*/ 596462 h 856415"/>
                  <a:gd name="connsiteX376" fmla="*/ 104775 w 1819275"/>
                  <a:gd name="connsiteY376" fmla="*/ 598843 h 856415"/>
                  <a:gd name="connsiteX377" fmla="*/ 114300 w 1819275"/>
                  <a:gd name="connsiteY377" fmla="*/ 603606 h 856415"/>
                  <a:gd name="connsiteX378" fmla="*/ 128587 w 1819275"/>
                  <a:gd name="connsiteY378" fmla="*/ 608368 h 856415"/>
                  <a:gd name="connsiteX379" fmla="*/ 135731 w 1819275"/>
                  <a:gd name="connsiteY379" fmla="*/ 610750 h 856415"/>
                  <a:gd name="connsiteX380" fmla="*/ 145256 w 1819275"/>
                  <a:gd name="connsiteY380" fmla="*/ 615512 h 856415"/>
                  <a:gd name="connsiteX381" fmla="*/ 154781 w 1819275"/>
                  <a:gd name="connsiteY381" fmla="*/ 622656 h 856415"/>
                  <a:gd name="connsiteX382" fmla="*/ 169068 w 1819275"/>
                  <a:gd name="connsiteY382" fmla="*/ 627418 h 856415"/>
                  <a:gd name="connsiteX383" fmla="*/ 173831 w 1819275"/>
                  <a:gd name="connsiteY383" fmla="*/ 634562 h 856415"/>
                  <a:gd name="connsiteX384" fmla="*/ 180975 w 1819275"/>
                  <a:gd name="connsiteY384" fmla="*/ 636943 h 856415"/>
                  <a:gd name="connsiteX385" fmla="*/ 188118 w 1819275"/>
                  <a:gd name="connsiteY385" fmla="*/ 641706 h 856415"/>
                  <a:gd name="connsiteX386" fmla="*/ 204787 w 1819275"/>
                  <a:gd name="connsiteY386" fmla="*/ 651231 h 856415"/>
                  <a:gd name="connsiteX387" fmla="*/ 216693 w 1819275"/>
                  <a:gd name="connsiteY387" fmla="*/ 665518 h 856415"/>
                  <a:gd name="connsiteX388" fmla="*/ 235743 w 1819275"/>
                  <a:gd name="connsiteY388" fmla="*/ 672662 h 856415"/>
                  <a:gd name="connsiteX389" fmla="*/ 285750 w 1819275"/>
                  <a:gd name="connsiteY389" fmla="*/ 672662 h 856415"/>
                  <a:gd name="connsiteX390" fmla="*/ 295275 w 1819275"/>
                  <a:gd name="connsiteY390" fmla="*/ 679806 h 856415"/>
                  <a:gd name="connsiteX391" fmla="*/ 302418 w 1819275"/>
                  <a:gd name="connsiteY391" fmla="*/ 682187 h 856415"/>
                  <a:gd name="connsiteX392" fmla="*/ 330993 w 1819275"/>
                  <a:gd name="connsiteY392" fmla="*/ 686950 h 856415"/>
                  <a:gd name="connsiteX393" fmla="*/ 338137 w 1819275"/>
                  <a:gd name="connsiteY393" fmla="*/ 694093 h 856415"/>
                  <a:gd name="connsiteX394" fmla="*/ 345281 w 1819275"/>
                  <a:gd name="connsiteY394" fmla="*/ 696475 h 856415"/>
                  <a:gd name="connsiteX395" fmla="*/ 350043 w 1819275"/>
                  <a:gd name="connsiteY395" fmla="*/ 703618 h 856415"/>
                  <a:gd name="connsiteX396" fmla="*/ 352425 w 1819275"/>
                  <a:gd name="connsiteY396" fmla="*/ 713143 h 856415"/>
                  <a:gd name="connsiteX397" fmla="*/ 354806 w 1819275"/>
                  <a:gd name="connsiteY397" fmla="*/ 720287 h 856415"/>
                  <a:gd name="connsiteX398" fmla="*/ 357187 w 1819275"/>
                  <a:gd name="connsiteY398" fmla="*/ 732193 h 856415"/>
                  <a:gd name="connsiteX399" fmla="*/ 366712 w 1819275"/>
                  <a:gd name="connsiteY399" fmla="*/ 744100 h 856415"/>
                  <a:gd name="connsiteX400" fmla="*/ 421481 w 1819275"/>
                  <a:gd name="connsiteY400" fmla="*/ 746481 h 856415"/>
                  <a:gd name="connsiteX401" fmla="*/ 438150 w 1819275"/>
                  <a:gd name="connsiteY401" fmla="*/ 753625 h 856415"/>
                  <a:gd name="connsiteX402" fmla="*/ 447675 w 1819275"/>
                  <a:gd name="connsiteY402" fmla="*/ 765531 h 856415"/>
                  <a:gd name="connsiteX403" fmla="*/ 459581 w 1819275"/>
                  <a:gd name="connsiteY403" fmla="*/ 779818 h 856415"/>
                  <a:gd name="connsiteX404" fmla="*/ 469106 w 1819275"/>
                  <a:gd name="connsiteY404" fmla="*/ 794106 h 856415"/>
                  <a:gd name="connsiteX405" fmla="*/ 473868 w 1819275"/>
                  <a:gd name="connsiteY405" fmla="*/ 801250 h 856415"/>
                  <a:gd name="connsiteX406" fmla="*/ 476250 w 1819275"/>
                  <a:gd name="connsiteY406" fmla="*/ 825062 h 856415"/>
                  <a:gd name="connsiteX407" fmla="*/ 481012 w 1819275"/>
                  <a:gd name="connsiteY407" fmla="*/ 832206 h 856415"/>
                  <a:gd name="connsiteX408" fmla="*/ 488156 w 1819275"/>
                  <a:gd name="connsiteY408" fmla="*/ 846493 h 856415"/>
                  <a:gd name="connsiteX409" fmla="*/ 497681 w 1819275"/>
                  <a:gd name="connsiteY409" fmla="*/ 856018 h 856415"/>
                  <a:gd name="connsiteX410" fmla="*/ 492918 w 1819275"/>
                  <a:gd name="connsiteY410" fmla="*/ 856018 h 856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Lst>
                <a:rect l="l" t="t" r="r" b="b"/>
                <a:pathLst>
                  <a:path w="1819275" h="856415">
                    <a:moveTo>
                      <a:pt x="492918" y="856018"/>
                    </a:moveTo>
                    <a:cubicBezTo>
                      <a:pt x="497284" y="855621"/>
                      <a:pt x="513605" y="854921"/>
                      <a:pt x="523875" y="853637"/>
                    </a:cubicBezTo>
                    <a:cubicBezTo>
                      <a:pt x="535361" y="852201"/>
                      <a:pt x="531409" y="846364"/>
                      <a:pt x="545306" y="841731"/>
                    </a:cubicBezTo>
                    <a:cubicBezTo>
                      <a:pt x="550068" y="840143"/>
                      <a:pt x="554670" y="837952"/>
                      <a:pt x="559593" y="836968"/>
                    </a:cubicBezTo>
                    <a:cubicBezTo>
                      <a:pt x="573961" y="834095"/>
                      <a:pt x="567660" y="835867"/>
                      <a:pt x="578643" y="832206"/>
                    </a:cubicBezTo>
                    <a:cubicBezTo>
                      <a:pt x="581024" y="830618"/>
                      <a:pt x="583227" y="828723"/>
                      <a:pt x="585787" y="827443"/>
                    </a:cubicBezTo>
                    <a:cubicBezTo>
                      <a:pt x="605513" y="817580"/>
                      <a:pt x="579592" y="833953"/>
                      <a:pt x="600075" y="820300"/>
                    </a:cubicBezTo>
                    <a:cubicBezTo>
                      <a:pt x="606839" y="800006"/>
                      <a:pt x="597067" y="831203"/>
                      <a:pt x="604837" y="784581"/>
                    </a:cubicBezTo>
                    <a:cubicBezTo>
                      <a:pt x="605662" y="779629"/>
                      <a:pt x="605423" y="773078"/>
                      <a:pt x="609600" y="770293"/>
                    </a:cubicBezTo>
                    <a:cubicBezTo>
                      <a:pt x="611981" y="768706"/>
                      <a:pt x="614258" y="766951"/>
                      <a:pt x="616743" y="765531"/>
                    </a:cubicBezTo>
                    <a:cubicBezTo>
                      <a:pt x="619825" y="763770"/>
                      <a:pt x="623314" y="762737"/>
                      <a:pt x="626268" y="760768"/>
                    </a:cubicBezTo>
                    <a:cubicBezTo>
                      <a:pt x="632872" y="756365"/>
                      <a:pt x="638968" y="751243"/>
                      <a:pt x="645318" y="746481"/>
                    </a:cubicBezTo>
                    <a:cubicBezTo>
                      <a:pt x="648493" y="744100"/>
                      <a:pt x="651541" y="741538"/>
                      <a:pt x="654843" y="739337"/>
                    </a:cubicBezTo>
                    <a:cubicBezTo>
                      <a:pt x="657224" y="737750"/>
                      <a:pt x="659788" y="736407"/>
                      <a:pt x="661987" y="734575"/>
                    </a:cubicBezTo>
                    <a:cubicBezTo>
                      <a:pt x="668863" y="728845"/>
                      <a:pt x="669211" y="727312"/>
                      <a:pt x="673893" y="720287"/>
                    </a:cubicBezTo>
                    <a:cubicBezTo>
                      <a:pt x="672434" y="702775"/>
                      <a:pt x="676466" y="695499"/>
                      <a:pt x="666750" y="684568"/>
                    </a:cubicBezTo>
                    <a:cubicBezTo>
                      <a:pt x="662275" y="679534"/>
                      <a:pt x="652462" y="670281"/>
                      <a:pt x="652462" y="670281"/>
                    </a:cubicBezTo>
                    <a:cubicBezTo>
                      <a:pt x="638961" y="671968"/>
                      <a:pt x="635122" y="671672"/>
                      <a:pt x="623887" y="675043"/>
                    </a:cubicBezTo>
                    <a:cubicBezTo>
                      <a:pt x="619079" y="676486"/>
                      <a:pt x="614362" y="678218"/>
                      <a:pt x="609600" y="679806"/>
                    </a:cubicBezTo>
                    <a:lnTo>
                      <a:pt x="602456" y="682187"/>
                    </a:lnTo>
                    <a:cubicBezTo>
                      <a:pt x="596900" y="681393"/>
                      <a:pt x="591309" y="680810"/>
                      <a:pt x="585787" y="679806"/>
                    </a:cubicBezTo>
                    <a:cubicBezTo>
                      <a:pt x="579204" y="678609"/>
                      <a:pt x="575242" y="677085"/>
                      <a:pt x="569118" y="675043"/>
                    </a:cubicBezTo>
                    <a:cubicBezTo>
                      <a:pt x="548250" y="654175"/>
                      <a:pt x="573789" y="680647"/>
                      <a:pt x="557212" y="660756"/>
                    </a:cubicBezTo>
                    <a:cubicBezTo>
                      <a:pt x="555056" y="658169"/>
                      <a:pt x="552449" y="655993"/>
                      <a:pt x="550068" y="653612"/>
                    </a:cubicBezTo>
                    <a:cubicBezTo>
                      <a:pt x="550862" y="648056"/>
                      <a:pt x="550837" y="642319"/>
                      <a:pt x="552450" y="636943"/>
                    </a:cubicBezTo>
                    <a:cubicBezTo>
                      <a:pt x="553548" y="633282"/>
                      <a:pt x="561699" y="624427"/>
                      <a:pt x="564356" y="622656"/>
                    </a:cubicBezTo>
                    <a:cubicBezTo>
                      <a:pt x="566445" y="621264"/>
                      <a:pt x="569119" y="621069"/>
                      <a:pt x="571500" y="620275"/>
                    </a:cubicBezTo>
                    <a:cubicBezTo>
                      <a:pt x="573881" y="618687"/>
                      <a:pt x="576013" y="616639"/>
                      <a:pt x="578643" y="615512"/>
                    </a:cubicBezTo>
                    <a:cubicBezTo>
                      <a:pt x="581651" y="614223"/>
                      <a:pt x="585326" y="614755"/>
                      <a:pt x="588168" y="613131"/>
                    </a:cubicBezTo>
                    <a:cubicBezTo>
                      <a:pt x="591092" y="611460"/>
                      <a:pt x="592725" y="608143"/>
                      <a:pt x="595312" y="605987"/>
                    </a:cubicBezTo>
                    <a:cubicBezTo>
                      <a:pt x="605545" y="597460"/>
                      <a:pt x="598863" y="604212"/>
                      <a:pt x="609600" y="598843"/>
                    </a:cubicBezTo>
                    <a:cubicBezTo>
                      <a:pt x="616231" y="595528"/>
                      <a:pt x="618620" y="592204"/>
                      <a:pt x="623887" y="586937"/>
                    </a:cubicBezTo>
                    <a:cubicBezTo>
                      <a:pt x="629596" y="569808"/>
                      <a:pt x="623887" y="591199"/>
                      <a:pt x="623887" y="570268"/>
                    </a:cubicBezTo>
                    <a:cubicBezTo>
                      <a:pt x="623887" y="432836"/>
                      <a:pt x="583473" y="448800"/>
                      <a:pt x="633412" y="432156"/>
                    </a:cubicBezTo>
                    <a:cubicBezTo>
                      <a:pt x="643268" y="433564"/>
                      <a:pt x="648915" y="433356"/>
                      <a:pt x="657225" y="436918"/>
                    </a:cubicBezTo>
                    <a:cubicBezTo>
                      <a:pt x="663275" y="439511"/>
                      <a:pt x="667426" y="442886"/>
                      <a:pt x="673893" y="444062"/>
                    </a:cubicBezTo>
                    <a:cubicBezTo>
                      <a:pt x="680189" y="445207"/>
                      <a:pt x="686593" y="445649"/>
                      <a:pt x="692943" y="446443"/>
                    </a:cubicBezTo>
                    <a:lnTo>
                      <a:pt x="707231" y="451206"/>
                    </a:lnTo>
                    <a:cubicBezTo>
                      <a:pt x="709612" y="452000"/>
                      <a:pt x="711940" y="452978"/>
                      <a:pt x="714375" y="453587"/>
                    </a:cubicBezTo>
                    <a:lnTo>
                      <a:pt x="723900" y="455968"/>
                    </a:lnTo>
                    <a:cubicBezTo>
                      <a:pt x="729164" y="461233"/>
                      <a:pt x="732492" y="463627"/>
                      <a:pt x="735806" y="470256"/>
                    </a:cubicBezTo>
                    <a:cubicBezTo>
                      <a:pt x="736929" y="472501"/>
                      <a:pt x="736412" y="475625"/>
                      <a:pt x="738187" y="477400"/>
                    </a:cubicBezTo>
                    <a:cubicBezTo>
                      <a:pt x="749772" y="488985"/>
                      <a:pt x="754038" y="487148"/>
                      <a:pt x="769143" y="489306"/>
                    </a:cubicBezTo>
                    <a:cubicBezTo>
                      <a:pt x="773906" y="490893"/>
                      <a:pt x="779415" y="491056"/>
                      <a:pt x="783431" y="494068"/>
                    </a:cubicBezTo>
                    <a:cubicBezTo>
                      <a:pt x="804489" y="509862"/>
                      <a:pt x="794951" y="505846"/>
                      <a:pt x="809625" y="510737"/>
                    </a:cubicBezTo>
                    <a:cubicBezTo>
                      <a:pt x="828493" y="504448"/>
                      <a:pt x="818960" y="505150"/>
                      <a:pt x="838200" y="508356"/>
                    </a:cubicBezTo>
                    <a:cubicBezTo>
                      <a:pt x="853965" y="513611"/>
                      <a:pt x="837138" y="505705"/>
                      <a:pt x="847725" y="522643"/>
                    </a:cubicBezTo>
                    <a:cubicBezTo>
                      <a:pt x="849829" y="526008"/>
                      <a:pt x="854075" y="527406"/>
                      <a:pt x="857250" y="529787"/>
                    </a:cubicBezTo>
                    <a:cubicBezTo>
                      <a:pt x="862012" y="528993"/>
                      <a:pt x="867904" y="530585"/>
                      <a:pt x="871537" y="527406"/>
                    </a:cubicBezTo>
                    <a:cubicBezTo>
                      <a:pt x="875315" y="524100"/>
                      <a:pt x="876300" y="513118"/>
                      <a:pt x="876300" y="513118"/>
                    </a:cubicBezTo>
                    <a:cubicBezTo>
                      <a:pt x="875506" y="492481"/>
                      <a:pt x="875733" y="471779"/>
                      <a:pt x="873918" y="451206"/>
                    </a:cubicBezTo>
                    <a:cubicBezTo>
                      <a:pt x="873343" y="444686"/>
                      <a:pt x="870743" y="438506"/>
                      <a:pt x="869156" y="432156"/>
                    </a:cubicBezTo>
                    <a:lnTo>
                      <a:pt x="866775" y="422631"/>
                    </a:lnTo>
                    <a:cubicBezTo>
                      <a:pt x="865981" y="419456"/>
                      <a:pt x="866208" y="415829"/>
                      <a:pt x="864393" y="413106"/>
                    </a:cubicBezTo>
                    <a:cubicBezTo>
                      <a:pt x="858239" y="403873"/>
                      <a:pt x="860536" y="408677"/>
                      <a:pt x="857250" y="398818"/>
                    </a:cubicBezTo>
                    <a:cubicBezTo>
                      <a:pt x="858044" y="385324"/>
                      <a:pt x="858350" y="371793"/>
                      <a:pt x="859631" y="358337"/>
                    </a:cubicBezTo>
                    <a:cubicBezTo>
                      <a:pt x="859941" y="355079"/>
                      <a:pt x="860723" y="351820"/>
                      <a:pt x="862012" y="348812"/>
                    </a:cubicBezTo>
                    <a:cubicBezTo>
                      <a:pt x="864609" y="342751"/>
                      <a:pt x="868146" y="339792"/>
                      <a:pt x="873918" y="336906"/>
                    </a:cubicBezTo>
                    <a:cubicBezTo>
                      <a:pt x="876163" y="335784"/>
                      <a:pt x="878755" y="335514"/>
                      <a:pt x="881062" y="334525"/>
                    </a:cubicBezTo>
                    <a:cubicBezTo>
                      <a:pt x="905604" y="324007"/>
                      <a:pt x="872332" y="335848"/>
                      <a:pt x="904875" y="325000"/>
                    </a:cubicBezTo>
                    <a:cubicBezTo>
                      <a:pt x="907256" y="324206"/>
                      <a:pt x="909518" y="322845"/>
                      <a:pt x="912018" y="322618"/>
                    </a:cubicBezTo>
                    <a:lnTo>
                      <a:pt x="938212" y="320237"/>
                    </a:lnTo>
                    <a:cubicBezTo>
                      <a:pt x="941387" y="319443"/>
                      <a:pt x="944528" y="318498"/>
                      <a:pt x="947737" y="317856"/>
                    </a:cubicBezTo>
                    <a:cubicBezTo>
                      <a:pt x="961931" y="315018"/>
                      <a:pt x="965725" y="315286"/>
                      <a:pt x="981075" y="313093"/>
                    </a:cubicBezTo>
                    <a:cubicBezTo>
                      <a:pt x="985854" y="312410"/>
                      <a:pt x="990590" y="311446"/>
                      <a:pt x="995362" y="310712"/>
                    </a:cubicBezTo>
                    <a:cubicBezTo>
                      <a:pt x="1000909" y="309859"/>
                      <a:pt x="1006495" y="309254"/>
                      <a:pt x="1012031" y="308331"/>
                    </a:cubicBezTo>
                    <a:cubicBezTo>
                      <a:pt x="1016023" y="307666"/>
                      <a:pt x="1019898" y="306211"/>
                      <a:pt x="1023937" y="305950"/>
                    </a:cubicBezTo>
                    <a:cubicBezTo>
                      <a:pt x="1044547" y="304620"/>
                      <a:pt x="1065212" y="304362"/>
                      <a:pt x="1085850" y="303568"/>
                    </a:cubicBezTo>
                    <a:cubicBezTo>
                      <a:pt x="1091406" y="302774"/>
                      <a:pt x="1097103" y="302664"/>
                      <a:pt x="1102518" y="301187"/>
                    </a:cubicBezTo>
                    <a:cubicBezTo>
                      <a:pt x="1105943" y="300253"/>
                      <a:pt x="1108529" y="296927"/>
                      <a:pt x="1112043" y="296425"/>
                    </a:cubicBezTo>
                    <a:cubicBezTo>
                      <a:pt x="1114528" y="296070"/>
                      <a:pt x="1116880" y="297817"/>
                      <a:pt x="1119187" y="298806"/>
                    </a:cubicBezTo>
                    <a:cubicBezTo>
                      <a:pt x="1125764" y="301624"/>
                      <a:pt x="1138768" y="308861"/>
                      <a:pt x="1143000" y="313093"/>
                    </a:cubicBezTo>
                    <a:cubicBezTo>
                      <a:pt x="1147486" y="317579"/>
                      <a:pt x="1151319" y="322348"/>
                      <a:pt x="1157287" y="325000"/>
                    </a:cubicBezTo>
                    <a:cubicBezTo>
                      <a:pt x="1161875" y="327039"/>
                      <a:pt x="1171575" y="329762"/>
                      <a:pt x="1171575" y="329762"/>
                    </a:cubicBezTo>
                    <a:cubicBezTo>
                      <a:pt x="1173956" y="331350"/>
                      <a:pt x="1176158" y="333245"/>
                      <a:pt x="1178718" y="334525"/>
                    </a:cubicBezTo>
                    <a:cubicBezTo>
                      <a:pt x="1180963" y="335648"/>
                      <a:pt x="1183668" y="335687"/>
                      <a:pt x="1185862" y="336906"/>
                    </a:cubicBezTo>
                    <a:cubicBezTo>
                      <a:pt x="1185864" y="336907"/>
                      <a:pt x="1203720" y="348811"/>
                      <a:pt x="1207293" y="351193"/>
                    </a:cubicBezTo>
                    <a:cubicBezTo>
                      <a:pt x="1209674" y="352781"/>
                      <a:pt x="1212413" y="353932"/>
                      <a:pt x="1214437" y="355956"/>
                    </a:cubicBezTo>
                    <a:cubicBezTo>
                      <a:pt x="1219200" y="360718"/>
                      <a:pt x="1224989" y="364639"/>
                      <a:pt x="1228725" y="370243"/>
                    </a:cubicBezTo>
                    <a:cubicBezTo>
                      <a:pt x="1230312" y="372624"/>
                      <a:pt x="1231252" y="375599"/>
                      <a:pt x="1233487" y="377387"/>
                    </a:cubicBezTo>
                    <a:cubicBezTo>
                      <a:pt x="1235447" y="378955"/>
                      <a:pt x="1238250" y="378974"/>
                      <a:pt x="1240631" y="379768"/>
                    </a:cubicBezTo>
                    <a:cubicBezTo>
                      <a:pt x="1242218" y="382149"/>
                      <a:pt x="1243012" y="385324"/>
                      <a:pt x="1245393" y="386912"/>
                    </a:cubicBezTo>
                    <a:cubicBezTo>
                      <a:pt x="1248116" y="388727"/>
                      <a:pt x="1251910" y="388004"/>
                      <a:pt x="1254918" y="389293"/>
                    </a:cubicBezTo>
                    <a:cubicBezTo>
                      <a:pt x="1257549" y="390420"/>
                      <a:pt x="1259502" y="392776"/>
                      <a:pt x="1262062" y="394056"/>
                    </a:cubicBezTo>
                    <a:cubicBezTo>
                      <a:pt x="1272432" y="399241"/>
                      <a:pt x="1267161" y="392936"/>
                      <a:pt x="1278731" y="401200"/>
                    </a:cubicBezTo>
                    <a:cubicBezTo>
                      <a:pt x="1287307" y="407325"/>
                      <a:pt x="1283576" y="409059"/>
                      <a:pt x="1293018" y="413106"/>
                    </a:cubicBezTo>
                    <a:cubicBezTo>
                      <a:pt x="1296026" y="414395"/>
                      <a:pt x="1299368" y="414693"/>
                      <a:pt x="1302543" y="415487"/>
                    </a:cubicBezTo>
                    <a:cubicBezTo>
                      <a:pt x="1304924" y="417075"/>
                      <a:pt x="1307072" y="419088"/>
                      <a:pt x="1309687" y="420250"/>
                    </a:cubicBezTo>
                    <a:cubicBezTo>
                      <a:pt x="1314275" y="422289"/>
                      <a:pt x="1319212" y="423425"/>
                      <a:pt x="1323975" y="425012"/>
                    </a:cubicBezTo>
                    <a:cubicBezTo>
                      <a:pt x="1326356" y="425806"/>
                      <a:pt x="1328642" y="426980"/>
                      <a:pt x="1331118" y="427393"/>
                    </a:cubicBezTo>
                    <a:lnTo>
                      <a:pt x="1345406" y="429775"/>
                    </a:lnTo>
                    <a:cubicBezTo>
                      <a:pt x="1350953" y="430629"/>
                      <a:pt x="1356553" y="431152"/>
                      <a:pt x="1362075" y="432156"/>
                    </a:cubicBezTo>
                    <a:cubicBezTo>
                      <a:pt x="1365295" y="432741"/>
                      <a:pt x="1368425" y="433743"/>
                      <a:pt x="1371600" y="434537"/>
                    </a:cubicBezTo>
                    <a:cubicBezTo>
                      <a:pt x="1378776" y="439322"/>
                      <a:pt x="1379806" y="440436"/>
                      <a:pt x="1388268" y="444062"/>
                    </a:cubicBezTo>
                    <a:cubicBezTo>
                      <a:pt x="1390575" y="445051"/>
                      <a:pt x="1393105" y="445454"/>
                      <a:pt x="1395412" y="446443"/>
                    </a:cubicBezTo>
                    <a:cubicBezTo>
                      <a:pt x="1398675" y="447841"/>
                      <a:pt x="1401641" y="449888"/>
                      <a:pt x="1404937" y="451206"/>
                    </a:cubicBezTo>
                    <a:cubicBezTo>
                      <a:pt x="1409598" y="453070"/>
                      <a:pt x="1414462" y="454380"/>
                      <a:pt x="1419225" y="455968"/>
                    </a:cubicBezTo>
                    <a:lnTo>
                      <a:pt x="1426368" y="458350"/>
                    </a:lnTo>
                    <a:lnTo>
                      <a:pt x="1433512" y="460731"/>
                    </a:lnTo>
                    <a:cubicBezTo>
                      <a:pt x="1439174" y="477718"/>
                      <a:pt x="1431145" y="457181"/>
                      <a:pt x="1443037" y="475018"/>
                    </a:cubicBezTo>
                    <a:cubicBezTo>
                      <a:pt x="1444429" y="477107"/>
                      <a:pt x="1443643" y="480387"/>
                      <a:pt x="1445418" y="482162"/>
                    </a:cubicBezTo>
                    <a:cubicBezTo>
                      <a:pt x="1449465" y="486209"/>
                      <a:pt x="1454943" y="488512"/>
                      <a:pt x="1459706" y="491687"/>
                    </a:cubicBezTo>
                    <a:cubicBezTo>
                      <a:pt x="1462087" y="493275"/>
                      <a:pt x="1464135" y="495545"/>
                      <a:pt x="1466850" y="496450"/>
                    </a:cubicBezTo>
                    <a:cubicBezTo>
                      <a:pt x="1483970" y="502157"/>
                      <a:pt x="1462597" y="495235"/>
                      <a:pt x="1483518" y="501212"/>
                    </a:cubicBezTo>
                    <a:cubicBezTo>
                      <a:pt x="1507472" y="508055"/>
                      <a:pt x="1470358" y="498515"/>
                      <a:pt x="1500187" y="505975"/>
                    </a:cubicBezTo>
                    <a:lnTo>
                      <a:pt x="1514475" y="515500"/>
                    </a:lnTo>
                    <a:cubicBezTo>
                      <a:pt x="1519257" y="518688"/>
                      <a:pt x="1525651" y="523378"/>
                      <a:pt x="1531143" y="525025"/>
                    </a:cubicBezTo>
                    <a:cubicBezTo>
                      <a:pt x="1535768" y="526412"/>
                      <a:pt x="1540718" y="526359"/>
                      <a:pt x="1545431" y="527406"/>
                    </a:cubicBezTo>
                    <a:cubicBezTo>
                      <a:pt x="1547881" y="527950"/>
                      <a:pt x="1550140" y="529178"/>
                      <a:pt x="1552575" y="529787"/>
                    </a:cubicBezTo>
                    <a:cubicBezTo>
                      <a:pt x="1556501" y="530769"/>
                      <a:pt x="1560512" y="531374"/>
                      <a:pt x="1564481" y="532168"/>
                    </a:cubicBezTo>
                    <a:cubicBezTo>
                      <a:pt x="1577975" y="531374"/>
                      <a:pt x="1591595" y="531792"/>
                      <a:pt x="1604962" y="529787"/>
                    </a:cubicBezTo>
                    <a:cubicBezTo>
                      <a:pt x="1607792" y="529363"/>
                      <a:pt x="1609621" y="526445"/>
                      <a:pt x="1612106" y="525025"/>
                    </a:cubicBezTo>
                    <a:cubicBezTo>
                      <a:pt x="1615188" y="523264"/>
                      <a:pt x="1618621" y="522143"/>
                      <a:pt x="1621631" y="520262"/>
                    </a:cubicBezTo>
                    <a:cubicBezTo>
                      <a:pt x="1624996" y="518158"/>
                      <a:pt x="1627710" y="515087"/>
                      <a:pt x="1631156" y="513118"/>
                    </a:cubicBezTo>
                    <a:cubicBezTo>
                      <a:pt x="1633335" y="511873"/>
                      <a:pt x="1635993" y="511726"/>
                      <a:pt x="1638300" y="510737"/>
                    </a:cubicBezTo>
                    <a:cubicBezTo>
                      <a:pt x="1641563" y="509339"/>
                      <a:pt x="1644562" y="507373"/>
                      <a:pt x="1647825" y="505975"/>
                    </a:cubicBezTo>
                    <a:cubicBezTo>
                      <a:pt x="1650132" y="504986"/>
                      <a:pt x="1652723" y="504716"/>
                      <a:pt x="1654968" y="503593"/>
                    </a:cubicBezTo>
                    <a:cubicBezTo>
                      <a:pt x="1657528" y="502313"/>
                      <a:pt x="1659481" y="499958"/>
                      <a:pt x="1662112" y="498831"/>
                    </a:cubicBezTo>
                    <a:cubicBezTo>
                      <a:pt x="1665120" y="497542"/>
                      <a:pt x="1668490" y="497349"/>
                      <a:pt x="1671637" y="496450"/>
                    </a:cubicBezTo>
                    <a:cubicBezTo>
                      <a:pt x="1674051" y="495760"/>
                      <a:pt x="1676400" y="494862"/>
                      <a:pt x="1678781" y="494068"/>
                    </a:cubicBezTo>
                    <a:cubicBezTo>
                      <a:pt x="1681162" y="491687"/>
                      <a:pt x="1683338" y="489081"/>
                      <a:pt x="1685925" y="486925"/>
                    </a:cubicBezTo>
                    <a:cubicBezTo>
                      <a:pt x="1688123" y="485093"/>
                      <a:pt x="1690739" y="483826"/>
                      <a:pt x="1693068" y="482162"/>
                    </a:cubicBezTo>
                    <a:cubicBezTo>
                      <a:pt x="1713699" y="467424"/>
                      <a:pt x="1692933" y="481457"/>
                      <a:pt x="1709737" y="470256"/>
                    </a:cubicBezTo>
                    <a:cubicBezTo>
                      <a:pt x="1711436" y="465159"/>
                      <a:pt x="1712535" y="459771"/>
                      <a:pt x="1716881" y="455968"/>
                    </a:cubicBezTo>
                    <a:cubicBezTo>
                      <a:pt x="1722300" y="451226"/>
                      <a:pt x="1733380" y="444815"/>
                      <a:pt x="1740693" y="441681"/>
                    </a:cubicBezTo>
                    <a:cubicBezTo>
                      <a:pt x="1743000" y="440692"/>
                      <a:pt x="1745456" y="440094"/>
                      <a:pt x="1747837" y="439300"/>
                    </a:cubicBezTo>
                    <a:cubicBezTo>
                      <a:pt x="1750218" y="437712"/>
                      <a:pt x="1752366" y="435699"/>
                      <a:pt x="1754981" y="434537"/>
                    </a:cubicBezTo>
                    <a:cubicBezTo>
                      <a:pt x="1762428" y="431227"/>
                      <a:pt x="1770881" y="429372"/>
                      <a:pt x="1778793" y="427393"/>
                    </a:cubicBezTo>
                    <a:cubicBezTo>
                      <a:pt x="1781968" y="424218"/>
                      <a:pt x="1784664" y="420478"/>
                      <a:pt x="1788318" y="417868"/>
                    </a:cubicBezTo>
                    <a:cubicBezTo>
                      <a:pt x="1790361" y="416409"/>
                      <a:pt x="1793373" y="416879"/>
                      <a:pt x="1795462" y="415487"/>
                    </a:cubicBezTo>
                    <a:cubicBezTo>
                      <a:pt x="1798264" y="413619"/>
                      <a:pt x="1800225" y="410724"/>
                      <a:pt x="1802606" y="408343"/>
                    </a:cubicBezTo>
                    <a:cubicBezTo>
                      <a:pt x="1803400" y="405962"/>
                      <a:pt x="1804987" y="403710"/>
                      <a:pt x="1804987" y="401200"/>
                    </a:cubicBezTo>
                    <a:cubicBezTo>
                      <a:pt x="1804987" y="360485"/>
                      <a:pt x="1805937" y="366900"/>
                      <a:pt x="1800225" y="344050"/>
                    </a:cubicBezTo>
                    <a:cubicBezTo>
                      <a:pt x="1801019" y="333731"/>
                      <a:pt x="1798666" y="322663"/>
                      <a:pt x="1802606" y="313093"/>
                    </a:cubicBezTo>
                    <a:cubicBezTo>
                      <a:pt x="1804785" y="307800"/>
                      <a:pt x="1816893" y="303568"/>
                      <a:pt x="1816893" y="303568"/>
                    </a:cubicBezTo>
                    <a:cubicBezTo>
                      <a:pt x="1817687" y="300393"/>
                      <a:pt x="1819275" y="297316"/>
                      <a:pt x="1819275" y="294043"/>
                    </a:cubicBezTo>
                    <a:cubicBezTo>
                      <a:pt x="1819275" y="293617"/>
                      <a:pt x="1815634" y="278778"/>
                      <a:pt x="1814512" y="277375"/>
                    </a:cubicBezTo>
                    <a:cubicBezTo>
                      <a:pt x="1812724" y="275140"/>
                      <a:pt x="1809697" y="274276"/>
                      <a:pt x="1807368" y="272612"/>
                    </a:cubicBezTo>
                    <a:cubicBezTo>
                      <a:pt x="1804139" y="270305"/>
                      <a:pt x="1801289" y="267437"/>
                      <a:pt x="1797843" y="265468"/>
                    </a:cubicBezTo>
                    <a:cubicBezTo>
                      <a:pt x="1795664" y="264223"/>
                      <a:pt x="1792894" y="264306"/>
                      <a:pt x="1790700" y="263087"/>
                    </a:cubicBezTo>
                    <a:cubicBezTo>
                      <a:pt x="1764622" y="248600"/>
                      <a:pt x="1786876" y="258911"/>
                      <a:pt x="1766887" y="246418"/>
                    </a:cubicBezTo>
                    <a:cubicBezTo>
                      <a:pt x="1763877" y="244537"/>
                      <a:pt x="1760444" y="243417"/>
                      <a:pt x="1757362" y="241656"/>
                    </a:cubicBezTo>
                    <a:cubicBezTo>
                      <a:pt x="1754877" y="240236"/>
                      <a:pt x="1752731" y="238264"/>
                      <a:pt x="1750218" y="236893"/>
                    </a:cubicBezTo>
                    <a:cubicBezTo>
                      <a:pt x="1743985" y="233493"/>
                      <a:pt x="1737075" y="231306"/>
                      <a:pt x="1731168" y="227368"/>
                    </a:cubicBezTo>
                    <a:cubicBezTo>
                      <a:pt x="1728787" y="225781"/>
                      <a:pt x="1726640" y="223768"/>
                      <a:pt x="1724025" y="222606"/>
                    </a:cubicBezTo>
                    <a:cubicBezTo>
                      <a:pt x="1719437" y="220567"/>
                      <a:pt x="1713914" y="220628"/>
                      <a:pt x="1709737" y="217843"/>
                    </a:cubicBezTo>
                    <a:cubicBezTo>
                      <a:pt x="1704513" y="214361"/>
                      <a:pt x="1699107" y="210331"/>
                      <a:pt x="1693068" y="208318"/>
                    </a:cubicBezTo>
                    <a:cubicBezTo>
                      <a:pt x="1689228" y="207038"/>
                      <a:pt x="1685131" y="206731"/>
                      <a:pt x="1681162" y="205937"/>
                    </a:cubicBezTo>
                    <a:cubicBezTo>
                      <a:pt x="1672571" y="200210"/>
                      <a:pt x="1666258" y="196677"/>
                      <a:pt x="1659731" y="186887"/>
                    </a:cubicBezTo>
                    <a:cubicBezTo>
                      <a:pt x="1648618" y="170219"/>
                      <a:pt x="1654968" y="175775"/>
                      <a:pt x="1643062" y="167837"/>
                    </a:cubicBezTo>
                    <a:cubicBezTo>
                      <a:pt x="1636037" y="157298"/>
                      <a:pt x="1641589" y="162156"/>
                      <a:pt x="1628775" y="158312"/>
                    </a:cubicBezTo>
                    <a:cubicBezTo>
                      <a:pt x="1623966" y="156870"/>
                      <a:pt x="1614487" y="153550"/>
                      <a:pt x="1614487" y="153550"/>
                    </a:cubicBezTo>
                    <a:cubicBezTo>
                      <a:pt x="1612080" y="157161"/>
                      <a:pt x="1607343" y="162909"/>
                      <a:pt x="1607343" y="167837"/>
                    </a:cubicBezTo>
                    <a:cubicBezTo>
                      <a:pt x="1607343" y="183784"/>
                      <a:pt x="1608381" y="185236"/>
                      <a:pt x="1612106" y="196412"/>
                    </a:cubicBezTo>
                    <a:cubicBezTo>
                      <a:pt x="1612900" y="205937"/>
                      <a:pt x="1614487" y="215429"/>
                      <a:pt x="1614487" y="224987"/>
                    </a:cubicBezTo>
                    <a:cubicBezTo>
                      <a:pt x="1614487" y="235896"/>
                      <a:pt x="1620004" y="264714"/>
                      <a:pt x="1607343" y="277375"/>
                    </a:cubicBezTo>
                    <a:cubicBezTo>
                      <a:pt x="1602727" y="281991"/>
                      <a:pt x="1598866" y="282582"/>
                      <a:pt x="1593056" y="284518"/>
                    </a:cubicBezTo>
                    <a:cubicBezTo>
                      <a:pt x="1590675" y="286106"/>
                      <a:pt x="1588648" y="288439"/>
                      <a:pt x="1585912" y="289281"/>
                    </a:cubicBezTo>
                    <a:cubicBezTo>
                      <a:pt x="1578175" y="291661"/>
                      <a:pt x="1562100" y="294043"/>
                      <a:pt x="1562100" y="294043"/>
                    </a:cubicBezTo>
                    <a:cubicBezTo>
                      <a:pt x="1556749" y="296719"/>
                      <a:pt x="1549115" y="298567"/>
                      <a:pt x="1547812" y="305950"/>
                    </a:cubicBezTo>
                    <a:cubicBezTo>
                      <a:pt x="1541252" y="343124"/>
                      <a:pt x="1556901" y="335464"/>
                      <a:pt x="1538287" y="341668"/>
                    </a:cubicBezTo>
                    <a:cubicBezTo>
                      <a:pt x="1535906" y="343256"/>
                      <a:pt x="1533988" y="346115"/>
                      <a:pt x="1531143" y="346431"/>
                    </a:cubicBezTo>
                    <a:cubicBezTo>
                      <a:pt x="1526345" y="346964"/>
                      <a:pt x="1521268" y="346011"/>
                      <a:pt x="1516856" y="344050"/>
                    </a:cubicBezTo>
                    <a:cubicBezTo>
                      <a:pt x="1513779" y="342682"/>
                      <a:pt x="1512299" y="339062"/>
                      <a:pt x="1509712" y="336906"/>
                    </a:cubicBezTo>
                    <a:cubicBezTo>
                      <a:pt x="1507513" y="335074"/>
                      <a:pt x="1505128" y="333423"/>
                      <a:pt x="1502568" y="332143"/>
                    </a:cubicBezTo>
                    <a:cubicBezTo>
                      <a:pt x="1500323" y="331021"/>
                      <a:pt x="1497838" y="330451"/>
                      <a:pt x="1495425" y="329762"/>
                    </a:cubicBezTo>
                    <a:cubicBezTo>
                      <a:pt x="1485479" y="326921"/>
                      <a:pt x="1482838" y="326871"/>
                      <a:pt x="1471612" y="325000"/>
                    </a:cubicBezTo>
                    <a:cubicBezTo>
                      <a:pt x="1469205" y="321390"/>
                      <a:pt x="1464468" y="315639"/>
                      <a:pt x="1464468" y="310712"/>
                    </a:cubicBezTo>
                    <a:cubicBezTo>
                      <a:pt x="1464468" y="305249"/>
                      <a:pt x="1467725" y="297930"/>
                      <a:pt x="1471612" y="294043"/>
                    </a:cubicBezTo>
                    <a:cubicBezTo>
                      <a:pt x="1473636" y="292019"/>
                      <a:pt x="1476196" y="290561"/>
                      <a:pt x="1478756" y="289281"/>
                    </a:cubicBezTo>
                    <a:cubicBezTo>
                      <a:pt x="1481001" y="288159"/>
                      <a:pt x="1483519" y="287694"/>
                      <a:pt x="1485900" y="286900"/>
                    </a:cubicBezTo>
                    <a:cubicBezTo>
                      <a:pt x="1501751" y="271047"/>
                      <a:pt x="1484681" y="285989"/>
                      <a:pt x="1500187" y="277375"/>
                    </a:cubicBezTo>
                    <a:cubicBezTo>
                      <a:pt x="1505191" y="274595"/>
                      <a:pt x="1509045" y="269661"/>
                      <a:pt x="1514475" y="267850"/>
                    </a:cubicBezTo>
                    <a:cubicBezTo>
                      <a:pt x="1532439" y="261860"/>
                      <a:pt x="1510287" y="269942"/>
                      <a:pt x="1528762" y="260706"/>
                    </a:cubicBezTo>
                    <a:cubicBezTo>
                      <a:pt x="1531007" y="259584"/>
                      <a:pt x="1533525" y="259119"/>
                      <a:pt x="1535906" y="258325"/>
                    </a:cubicBezTo>
                    <a:cubicBezTo>
                      <a:pt x="1537276" y="254216"/>
                      <a:pt x="1542473" y="242559"/>
                      <a:pt x="1535906" y="239275"/>
                    </a:cubicBezTo>
                    <a:cubicBezTo>
                      <a:pt x="1530886" y="236765"/>
                      <a:pt x="1524793" y="240862"/>
                      <a:pt x="1519237" y="241656"/>
                    </a:cubicBezTo>
                    <a:cubicBezTo>
                      <a:pt x="1508125" y="240862"/>
                      <a:pt x="1496985" y="240384"/>
                      <a:pt x="1485900" y="239275"/>
                    </a:cubicBezTo>
                    <a:cubicBezTo>
                      <a:pt x="1481096" y="238795"/>
                      <a:pt x="1476392" y="237576"/>
                      <a:pt x="1471612" y="236893"/>
                    </a:cubicBezTo>
                    <a:cubicBezTo>
                      <a:pt x="1460168" y="235258"/>
                      <a:pt x="1442369" y="233380"/>
                      <a:pt x="1431131" y="232131"/>
                    </a:cubicBezTo>
                    <a:cubicBezTo>
                      <a:pt x="1428750" y="231337"/>
                      <a:pt x="1426401" y="230440"/>
                      <a:pt x="1423987" y="229750"/>
                    </a:cubicBezTo>
                    <a:cubicBezTo>
                      <a:pt x="1416129" y="227505"/>
                      <a:pt x="1410754" y="226626"/>
                      <a:pt x="1402556" y="224987"/>
                    </a:cubicBezTo>
                    <a:cubicBezTo>
                      <a:pt x="1400175" y="223400"/>
                      <a:pt x="1397972" y="221505"/>
                      <a:pt x="1395412" y="220225"/>
                    </a:cubicBezTo>
                    <a:cubicBezTo>
                      <a:pt x="1388562" y="216800"/>
                      <a:pt x="1378191" y="216560"/>
                      <a:pt x="1371600" y="215462"/>
                    </a:cubicBezTo>
                    <a:cubicBezTo>
                      <a:pt x="1360104" y="213546"/>
                      <a:pt x="1361752" y="213767"/>
                      <a:pt x="1352550" y="210700"/>
                    </a:cubicBezTo>
                    <a:cubicBezTo>
                      <a:pt x="1341506" y="211704"/>
                      <a:pt x="1321758" y="213048"/>
                      <a:pt x="1309687" y="215462"/>
                    </a:cubicBezTo>
                    <a:cubicBezTo>
                      <a:pt x="1307226" y="215954"/>
                      <a:pt x="1304924" y="217049"/>
                      <a:pt x="1302543" y="217843"/>
                    </a:cubicBezTo>
                    <a:cubicBezTo>
                      <a:pt x="1300162" y="220224"/>
                      <a:pt x="1298058" y="222920"/>
                      <a:pt x="1295400" y="224987"/>
                    </a:cubicBezTo>
                    <a:cubicBezTo>
                      <a:pt x="1290882" y="228501"/>
                      <a:pt x="1281112" y="234512"/>
                      <a:pt x="1281112" y="234512"/>
                    </a:cubicBezTo>
                    <a:cubicBezTo>
                      <a:pt x="1277143" y="233718"/>
                      <a:pt x="1273157" y="233009"/>
                      <a:pt x="1269206" y="232131"/>
                    </a:cubicBezTo>
                    <a:cubicBezTo>
                      <a:pt x="1266011" y="231421"/>
                      <a:pt x="1262144" y="231905"/>
                      <a:pt x="1259681" y="229750"/>
                    </a:cubicBezTo>
                    <a:cubicBezTo>
                      <a:pt x="1255373" y="225981"/>
                      <a:pt x="1251966" y="220892"/>
                      <a:pt x="1250156" y="215462"/>
                    </a:cubicBezTo>
                    <a:cubicBezTo>
                      <a:pt x="1248797" y="211385"/>
                      <a:pt x="1246970" y="203814"/>
                      <a:pt x="1243012" y="201175"/>
                    </a:cubicBezTo>
                    <a:cubicBezTo>
                      <a:pt x="1240289" y="199360"/>
                      <a:pt x="1236662" y="199587"/>
                      <a:pt x="1233487" y="198793"/>
                    </a:cubicBezTo>
                    <a:cubicBezTo>
                      <a:pt x="1229518" y="199587"/>
                      <a:pt x="1225279" y="199531"/>
                      <a:pt x="1221581" y="201175"/>
                    </a:cubicBezTo>
                    <a:cubicBezTo>
                      <a:pt x="1205267" y="208426"/>
                      <a:pt x="1218545" y="210914"/>
                      <a:pt x="1197768" y="217843"/>
                    </a:cubicBezTo>
                    <a:cubicBezTo>
                      <a:pt x="1181003" y="223434"/>
                      <a:pt x="1201715" y="216153"/>
                      <a:pt x="1181100" y="224987"/>
                    </a:cubicBezTo>
                    <a:cubicBezTo>
                      <a:pt x="1176321" y="227035"/>
                      <a:pt x="1169259" y="228543"/>
                      <a:pt x="1164431" y="229750"/>
                    </a:cubicBezTo>
                    <a:cubicBezTo>
                      <a:pt x="1162050" y="228162"/>
                      <a:pt x="1158192" y="227702"/>
                      <a:pt x="1157287" y="224987"/>
                    </a:cubicBezTo>
                    <a:cubicBezTo>
                      <a:pt x="1156252" y="221882"/>
                      <a:pt x="1158379" y="218470"/>
                      <a:pt x="1159668" y="215462"/>
                    </a:cubicBezTo>
                    <a:cubicBezTo>
                      <a:pt x="1162843" y="208053"/>
                      <a:pt x="1165225" y="207789"/>
                      <a:pt x="1171575" y="203556"/>
                    </a:cubicBezTo>
                    <a:cubicBezTo>
                      <a:pt x="1173162" y="198793"/>
                      <a:pt x="1176791" y="194268"/>
                      <a:pt x="1176337" y="189268"/>
                    </a:cubicBezTo>
                    <a:cubicBezTo>
                      <a:pt x="1174466" y="168682"/>
                      <a:pt x="1175781" y="168270"/>
                      <a:pt x="1171575" y="153550"/>
                    </a:cubicBezTo>
                    <a:cubicBezTo>
                      <a:pt x="1170281" y="149021"/>
                      <a:pt x="1167189" y="140191"/>
                      <a:pt x="1164431" y="136881"/>
                    </a:cubicBezTo>
                    <a:cubicBezTo>
                      <a:pt x="1160880" y="132619"/>
                      <a:pt x="1155020" y="131362"/>
                      <a:pt x="1150143" y="129737"/>
                    </a:cubicBezTo>
                    <a:cubicBezTo>
                      <a:pt x="1147762" y="130531"/>
                      <a:pt x="1144960" y="130550"/>
                      <a:pt x="1143000" y="132118"/>
                    </a:cubicBezTo>
                    <a:cubicBezTo>
                      <a:pt x="1140765" y="133906"/>
                      <a:pt x="1139399" y="136647"/>
                      <a:pt x="1138237" y="139262"/>
                    </a:cubicBezTo>
                    <a:cubicBezTo>
                      <a:pt x="1133063" y="150905"/>
                      <a:pt x="1134287" y="152428"/>
                      <a:pt x="1131093" y="163075"/>
                    </a:cubicBezTo>
                    <a:cubicBezTo>
                      <a:pt x="1128929" y="170287"/>
                      <a:pt x="1126331" y="177362"/>
                      <a:pt x="1123950" y="184506"/>
                    </a:cubicBezTo>
                    <a:cubicBezTo>
                      <a:pt x="1123156" y="186887"/>
                      <a:pt x="1123343" y="189875"/>
                      <a:pt x="1121568" y="191650"/>
                    </a:cubicBezTo>
                    <a:cubicBezTo>
                      <a:pt x="1119187" y="194031"/>
                      <a:pt x="1116581" y="196206"/>
                      <a:pt x="1114425" y="198793"/>
                    </a:cubicBezTo>
                    <a:cubicBezTo>
                      <a:pt x="1108934" y="205382"/>
                      <a:pt x="1110344" y="207864"/>
                      <a:pt x="1102518" y="213081"/>
                    </a:cubicBezTo>
                    <a:cubicBezTo>
                      <a:pt x="1100468" y="214448"/>
                      <a:pt x="1087120" y="217525"/>
                      <a:pt x="1085850" y="217843"/>
                    </a:cubicBezTo>
                    <a:cubicBezTo>
                      <a:pt x="1076325" y="217049"/>
                      <a:pt x="1066510" y="217925"/>
                      <a:pt x="1057275" y="215462"/>
                    </a:cubicBezTo>
                    <a:cubicBezTo>
                      <a:pt x="1054021" y="214594"/>
                      <a:pt x="1051999" y="211120"/>
                      <a:pt x="1050131" y="208318"/>
                    </a:cubicBezTo>
                    <a:cubicBezTo>
                      <a:pt x="1044847" y="200393"/>
                      <a:pt x="1051420" y="201059"/>
                      <a:pt x="1042987" y="194031"/>
                    </a:cubicBezTo>
                    <a:cubicBezTo>
                      <a:pt x="1037649" y="189583"/>
                      <a:pt x="1030347" y="188489"/>
                      <a:pt x="1023937" y="186887"/>
                    </a:cubicBezTo>
                    <a:cubicBezTo>
                      <a:pt x="1016000" y="187681"/>
                      <a:pt x="1007749" y="186922"/>
                      <a:pt x="1000125" y="189268"/>
                    </a:cubicBezTo>
                    <a:cubicBezTo>
                      <a:pt x="989171" y="192639"/>
                      <a:pt x="995563" y="197352"/>
                      <a:pt x="990600" y="203556"/>
                    </a:cubicBezTo>
                    <a:cubicBezTo>
                      <a:pt x="988812" y="205791"/>
                      <a:pt x="986016" y="207038"/>
                      <a:pt x="983456" y="208318"/>
                    </a:cubicBezTo>
                    <a:cubicBezTo>
                      <a:pt x="972628" y="213732"/>
                      <a:pt x="948263" y="212703"/>
                      <a:pt x="942975" y="213081"/>
                    </a:cubicBezTo>
                    <a:lnTo>
                      <a:pt x="938212" y="227368"/>
                    </a:lnTo>
                    <a:cubicBezTo>
                      <a:pt x="937418" y="229749"/>
                      <a:pt x="937223" y="232424"/>
                      <a:pt x="935831" y="234512"/>
                    </a:cubicBezTo>
                    <a:lnTo>
                      <a:pt x="931068" y="241656"/>
                    </a:lnTo>
                    <a:cubicBezTo>
                      <a:pt x="920243" y="240883"/>
                      <a:pt x="888572" y="249442"/>
                      <a:pt x="900112" y="232131"/>
                    </a:cubicBezTo>
                    <a:cubicBezTo>
                      <a:pt x="901980" y="229329"/>
                      <a:pt x="904875" y="227368"/>
                      <a:pt x="907256" y="224987"/>
                    </a:cubicBezTo>
                    <a:cubicBezTo>
                      <a:pt x="911078" y="213519"/>
                      <a:pt x="910214" y="219826"/>
                      <a:pt x="907256" y="203556"/>
                    </a:cubicBezTo>
                    <a:cubicBezTo>
                      <a:pt x="906532" y="199574"/>
                      <a:pt x="907120" y="195018"/>
                      <a:pt x="904875" y="191650"/>
                    </a:cubicBezTo>
                    <a:cubicBezTo>
                      <a:pt x="903483" y="189561"/>
                      <a:pt x="900112" y="190062"/>
                      <a:pt x="897731" y="189268"/>
                    </a:cubicBezTo>
                    <a:cubicBezTo>
                      <a:pt x="880728" y="194936"/>
                      <a:pt x="887620" y="191246"/>
                      <a:pt x="876300" y="198793"/>
                    </a:cubicBezTo>
                    <a:cubicBezTo>
                      <a:pt x="874712" y="201174"/>
                      <a:pt x="873561" y="203913"/>
                      <a:pt x="871537" y="205937"/>
                    </a:cubicBezTo>
                    <a:cubicBezTo>
                      <a:pt x="866920" y="210554"/>
                      <a:pt x="863061" y="211144"/>
                      <a:pt x="857250" y="213081"/>
                    </a:cubicBezTo>
                    <a:cubicBezTo>
                      <a:pt x="846931" y="212287"/>
                      <a:pt x="836586" y="211784"/>
                      <a:pt x="826293" y="210700"/>
                    </a:cubicBezTo>
                    <a:cubicBezTo>
                      <a:pt x="816216" y="209639"/>
                      <a:pt x="811648" y="208228"/>
                      <a:pt x="802481" y="205937"/>
                    </a:cubicBezTo>
                    <a:cubicBezTo>
                      <a:pt x="800100" y="204350"/>
                      <a:pt x="796854" y="203602"/>
                      <a:pt x="795337" y="201175"/>
                    </a:cubicBezTo>
                    <a:cubicBezTo>
                      <a:pt x="792676" y="196918"/>
                      <a:pt x="790575" y="186887"/>
                      <a:pt x="790575" y="186887"/>
                    </a:cubicBezTo>
                    <a:cubicBezTo>
                      <a:pt x="789705" y="166887"/>
                      <a:pt x="805625" y="129737"/>
                      <a:pt x="778668" y="129737"/>
                    </a:cubicBezTo>
                    <a:cubicBezTo>
                      <a:pt x="775395" y="129737"/>
                      <a:pt x="772318" y="131324"/>
                      <a:pt x="769143" y="132118"/>
                    </a:cubicBezTo>
                    <a:cubicBezTo>
                      <a:pt x="767556" y="136881"/>
                      <a:pt x="764766" y="141401"/>
                      <a:pt x="764381" y="146406"/>
                    </a:cubicBezTo>
                    <a:cubicBezTo>
                      <a:pt x="761690" y="181397"/>
                      <a:pt x="764030" y="167214"/>
                      <a:pt x="759618" y="189268"/>
                    </a:cubicBezTo>
                    <a:cubicBezTo>
                      <a:pt x="758824" y="197999"/>
                      <a:pt x="760009" y="207145"/>
                      <a:pt x="757237" y="215462"/>
                    </a:cubicBezTo>
                    <a:cubicBezTo>
                      <a:pt x="754719" y="223017"/>
                      <a:pt x="741034" y="213236"/>
                      <a:pt x="740568" y="213081"/>
                    </a:cubicBezTo>
                    <a:cubicBezTo>
                      <a:pt x="734358" y="211011"/>
                      <a:pt x="721518" y="208318"/>
                      <a:pt x="721518" y="208318"/>
                    </a:cubicBezTo>
                    <a:cubicBezTo>
                      <a:pt x="720724" y="205143"/>
                      <a:pt x="718811" y="202049"/>
                      <a:pt x="719137" y="198793"/>
                    </a:cubicBezTo>
                    <a:cubicBezTo>
                      <a:pt x="720225" y="187920"/>
                      <a:pt x="723530" y="183623"/>
                      <a:pt x="731043" y="177362"/>
                    </a:cubicBezTo>
                    <a:cubicBezTo>
                      <a:pt x="733242" y="175530"/>
                      <a:pt x="735806" y="174187"/>
                      <a:pt x="738187" y="172600"/>
                    </a:cubicBezTo>
                    <a:cubicBezTo>
                      <a:pt x="737433" y="165812"/>
                      <a:pt x="737414" y="152003"/>
                      <a:pt x="733425" y="144025"/>
                    </a:cubicBezTo>
                    <a:cubicBezTo>
                      <a:pt x="732145" y="141465"/>
                      <a:pt x="730250" y="139262"/>
                      <a:pt x="728662" y="136881"/>
                    </a:cubicBezTo>
                    <a:cubicBezTo>
                      <a:pt x="723347" y="137640"/>
                      <a:pt x="703651" y="140322"/>
                      <a:pt x="697706" y="141643"/>
                    </a:cubicBezTo>
                    <a:cubicBezTo>
                      <a:pt x="695256" y="142188"/>
                      <a:pt x="692943" y="143231"/>
                      <a:pt x="690562" y="144025"/>
                    </a:cubicBezTo>
                    <a:cubicBezTo>
                      <a:pt x="688292" y="150836"/>
                      <a:pt x="687296" y="153215"/>
                      <a:pt x="685800" y="160693"/>
                    </a:cubicBezTo>
                    <a:cubicBezTo>
                      <a:pt x="684853" y="165428"/>
                      <a:pt x="684465" y="170268"/>
                      <a:pt x="683418" y="174981"/>
                    </a:cubicBezTo>
                    <a:cubicBezTo>
                      <a:pt x="682204" y="180446"/>
                      <a:pt x="678923" y="187017"/>
                      <a:pt x="676275" y="191650"/>
                    </a:cubicBezTo>
                    <a:cubicBezTo>
                      <a:pt x="674855" y="194135"/>
                      <a:pt x="673666" y="196909"/>
                      <a:pt x="671512" y="198793"/>
                    </a:cubicBezTo>
                    <a:cubicBezTo>
                      <a:pt x="667204" y="202562"/>
                      <a:pt x="662655" y="206508"/>
                      <a:pt x="657225" y="208318"/>
                    </a:cubicBezTo>
                    <a:lnTo>
                      <a:pt x="642937" y="213081"/>
                    </a:lnTo>
                    <a:cubicBezTo>
                      <a:pt x="632003" y="212170"/>
                      <a:pt x="618139" y="213282"/>
                      <a:pt x="607218" y="208318"/>
                    </a:cubicBezTo>
                    <a:cubicBezTo>
                      <a:pt x="600755" y="205380"/>
                      <a:pt x="588168" y="198793"/>
                      <a:pt x="588168" y="198793"/>
                    </a:cubicBezTo>
                    <a:cubicBezTo>
                      <a:pt x="587374" y="196412"/>
                      <a:pt x="586064" y="194144"/>
                      <a:pt x="585787" y="191650"/>
                    </a:cubicBezTo>
                    <a:cubicBezTo>
                      <a:pt x="585658" y="190493"/>
                      <a:pt x="585622" y="157133"/>
                      <a:pt x="581025" y="146406"/>
                    </a:cubicBezTo>
                    <a:cubicBezTo>
                      <a:pt x="579898" y="143775"/>
                      <a:pt x="577850" y="141643"/>
                      <a:pt x="576262" y="139262"/>
                    </a:cubicBezTo>
                    <a:cubicBezTo>
                      <a:pt x="572293" y="140056"/>
                      <a:pt x="567870" y="139635"/>
                      <a:pt x="564356" y="141643"/>
                    </a:cubicBezTo>
                    <a:cubicBezTo>
                      <a:pt x="560553" y="143816"/>
                      <a:pt x="558434" y="152263"/>
                      <a:pt x="557212" y="155931"/>
                    </a:cubicBezTo>
                    <a:cubicBezTo>
                      <a:pt x="556418" y="171806"/>
                      <a:pt x="556803" y="187784"/>
                      <a:pt x="554831" y="203556"/>
                    </a:cubicBezTo>
                    <a:cubicBezTo>
                      <a:pt x="554391" y="207078"/>
                      <a:pt x="552795" y="210809"/>
                      <a:pt x="550068" y="213081"/>
                    </a:cubicBezTo>
                    <a:cubicBezTo>
                      <a:pt x="547554" y="215176"/>
                      <a:pt x="543718" y="214668"/>
                      <a:pt x="540543" y="215462"/>
                    </a:cubicBezTo>
                    <a:cubicBezTo>
                      <a:pt x="537368" y="214668"/>
                      <a:pt x="533859" y="214705"/>
                      <a:pt x="531018" y="213081"/>
                    </a:cubicBezTo>
                    <a:cubicBezTo>
                      <a:pt x="528094" y="211410"/>
                      <a:pt x="525832" y="208677"/>
                      <a:pt x="523875" y="205937"/>
                    </a:cubicBezTo>
                    <a:cubicBezTo>
                      <a:pt x="520195" y="200785"/>
                      <a:pt x="518675" y="195100"/>
                      <a:pt x="516731" y="189268"/>
                    </a:cubicBezTo>
                    <a:lnTo>
                      <a:pt x="523875" y="167837"/>
                    </a:lnTo>
                    <a:cubicBezTo>
                      <a:pt x="524669" y="165456"/>
                      <a:pt x="525647" y="163128"/>
                      <a:pt x="526256" y="160693"/>
                    </a:cubicBezTo>
                    <a:lnTo>
                      <a:pt x="528637" y="151168"/>
                    </a:lnTo>
                    <a:cubicBezTo>
                      <a:pt x="529431" y="144024"/>
                      <a:pt x="529836" y="136827"/>
                      <a:pt x="531018" y="129737"/>
                    </a:cubicBezTo>
                    <a:cubicBezTo>
                      <a:pt x="532918" y="118340"/>
                      <a:pt x="541568" y="117740"/>
                      <a:pt x="531018" y="101162"/>
                    </a:cubicBezTo>
                    <a:cubicBezTo>
                      <a:pt x="528323" y="96927"/>
                      <a:pt x="516731" y="96400"/>
                      <a:pt x="516731" y="96400"/>
                    </a:cubicBezTo>
                    <a:cubicBezTo>
                      <a:pt x="508793" y="97194"/>
                      <a:pt x="500180" y="95480"/>
                      <a:pt x="492918" y="98781"/>
                    </a:cubicBezTo>
                    <a:cubicBezTo>
                      <a:pt x="489939" y="100135"/>
                      <a:pt x="491179" y="105097"/>
                      <a:pt x="490537" y="108306"/>
                    </a:cubicBezTo>
                    <a:cubicBezTo>
                      <a:pt x="489590" y="113040"/>
                      <a:pt x="488755" y="117802"/>
                      <a:pt x="488156" y="122593"/>
                    </a:cubicBezTo>
                    <a:cubicBezTo>
                      <a:pt x="487167" y="130509"/>
                      <a:pt x="488121" y="138781"/>
                      <a:pt x="485775" y="146406"/>
                    </a:cubicBezTo>
                    <a:cubicBezTo>
                      <a:pt x="484785" y="149625"/>
                      <a:pt x="480787" y="150963"/>
                      <a:pt x="478631" y="153550"/>
                    </a:cubicBezTo>
                    <a:cubicBezTo>
                      <a:pt x="476799" y="155748"/>
                      <a:pt x="475456" y="158312"/>
                      <a:pt x="473868" y="160693"/>
                    </a:cubicBezTo>
                    <a:cubicBezTo>
                      <a:pt x="473074" y="169424"/>
                      <a:pt x="472511" y="178180"/>
                      <a:pt x="471487" y="186887"/>
                    </a:cubicBezTo>
                    <a:cubicBezTo>
                      <a:pt x="470923" y="191682"/>
                      <a:pt x="471875" y="197219"/>
                      <a:pt x="469106" y="201175"/>
                    </a:cubicBezTo>
                    <a:cubicBezTo>
                      <a:pt x="465824" y="205864"/>
                      <a:pt x="454818" y="210700"/>
                      <a:pt x="454818" y="210700"/>
                    </a:cubicBezTo>
                    <a:cubicBezTo>
                      <a:pt x="450456" y="209246"/>
                      <a:pt x="437502" y="206319"/>
                      <a:pt x="433387" y="201175"/>
                    </a:cubicBezTo>
                    <a:cubicBezTo>
                      <a:pt x="431819" y="199215"/>
                      <a:pt x="431800" y="196412"/>
                      <a:pt x="431006" y="194031"/>
                    </a:cubicBezTo>
                    <a:cubicBezTo>
                      <a:pt x="431800" y="191650"/>
                      <a:pt x="431612" y="188662"/>
                      <a:pt x="433387" y="186887"/>
                    </a:cubicBezTo>
                    <a:cubicBezTo>
                      <a:pt x="435162" y="185112"/>
                      <a:pt x="438442" y="185898"/>
                      <a:pt x="440531" y="184506"/>
                    </a:cubicBezTo>
                    <a:cubicBezTo>
                      <a:pt x="443333" y="182638"/>
                      <a:pt x="445294" y="179743"/>
                      <a:pt x="447675" y="177362"/>
                    </a:cubicBezTo>
                    <a:cubicBezTo>
                      <a:pt x="446455" y="171265"/>
                      <a:pt x="446638" y="160738"/>
                      <a:pt x="438150" y="158312"/>
                    </a:cubicBezTo>
                    <a:cubicBezTo>
                      <a:pt x="435003" y="157413"/>
                      <a:pt x="431800" y="159899"/>
                      <a:pt x="428625" y="160693"/>
                    </a:cubicBezTo>
                    <a:cubicBezTo>
                      <a:pt x="426244" y="163074"/>
                      <a:pt x="423349" y="165035"/>
                      <a:pt x="421481" y="167837"/>
                    </a:cubicBezTo>
                    <a:cubicBezTo>
                      <a:pt x="420056" y="169975"/>
                      <a:pt x="417114" y="183121"/>
                      <a:pt x="416718" y="184506"/>
                    </a:cubicBezTo>
                    <a:cubicBezTo>
                      <a:pt x="416028" y="186920"/>
                      <a:pt x="416112" y="189875"/>
                      <a:pt x="414337" y="191650"/>
                    </a:cubicBezTo>
                    <a:cubicBezTo>
                      <a:pt x="412562" y="193425"/>
                      <a:pt x="409574" y="193237"/>
                      <a:pt x="407193" y="194031"/>
                    </a:cubicBezTo>
                    <a:cubicBezTo>
                      <a:pt x="405606" y="191650"/>
                      <a:pt x="403558" y="189518"/>
                      <a:pt x="402431" y="186887"/>
                    </a:cubicBezTo>
                    <a:cubicBezTo>
                      <a:pt x="397849" y="176195"/>
                      <a:pt x="402306" y="179494"/>
                      <a:pt x="397668" y="170218"/>
                    </a:cubicBezTo>
                    <a:cubicBezTo>
                      <a:pt x="396388" y="167659"/>
                      <a:pt x="394493" y="165456"/>
                      <a:pt x="392906" y="163075"/>
                    </a:cubicBezTo>
                    <a:cubicBezTo>
                      <a:pt x="392112" y="160694"/>
                      <a:pt x="391648" y="158176"/>
                      <a:pt x="390525" y="155931"/>
                    </a:cubicBezTo>
                    <a:cubicBezTo>
                      <a:pt x="387210" y="149301"/>
                      <a:pt x="383884" y="146909"/>
                      <a:pt x="378618" y="141643"/>
                    </a:cubicBezTo>
                    <a:cubicBezTo>
                      <a:pt x="377031" y="138468"/>
                      <a:pt x="376128" y="134845"/>
                      <a:pt x="373856" y="132118"/>
                    </a:cubicBezTo>
                    <a:cubicBezTo>
                      <a:pt x="372024" y="129919"/>
                      <a:pt x="368500" y="129591"/>
                      <a:pt x="366712" y="127356"/>
                    </a:cubicBezTo>
                    <a:cubicBezTo>
                      <a:pt x="365144" y="125396"/>
                      <a:pt x="366374" y="121671"/>
                      <a:pt x="364331" y="120212"/>
                    </a:cubicBezTo>
                    <a:cubicBezTo>
                      <a:pt x="360246" y="117294"/>
                      <a:pt x="354533" y="117695"/>
                      <a:pt x="350043" y="115450"/>
                    </a:cubicBezTo>
                    <a:lnTo>
                      <a:pt x="340518" y="110687"/>
                    </a:lnTo>
                    <a:cubicBezTo>
                      <a:pt x="338931" y="108306"/>
                      <a:pt x="337780" y="105567"/>
                      <a:pt x="335756" y="103543"/>
                    </a:cubicBezTo>
                    <a:cubicBezTo>
                      <a:pt x="333732" y="101519"/>
                      <a:pt x="330497" y="100935"/>
                      <a:pt x="328612" y="98781"/>
                    </a:cubicBezTo>
                    <a:cubicBezTo>
                      <a:pt x="324843" y="94473"/>
                      <a:pt x="319087" y="84493"/>
                      <a:pt x="319087" y="84493"/>
                    </a:cubicBezTo>
                    <a:cubicBezTo>
                      <a:pt x="320797" y="67389"/>
                      <a:pt x="315174" y="61677"/>
                      <a:pt x="328612" y="55918"/>
                    </a:cubicBezTo>
                    <a:cubicBezTo>
                      <a:pt x="331620" y="54629"/>
                      <a:pt x="334962" y="54331"/>
                      <a:pt x="338137" y="53537"/>
                    </a:cubicBezTo>
                    <a:cubicBezTo>
                      <a:pt x="341543" y="43317"/>
                      <a:pt x="341421" y="47623"/>
                      <a:pt x="338137" y="34487"/>
                    </a:cubicBezTo>
                    <a:cubicBezTo>
                      <a:pt x="337528" y="32052"/>
                      <a:pt x="337324" y="29303"/>
                      <a:pt x="335756" y="27343"/>
                    </a:cubicBezTo>
                    <a:cubicBezTo>
                      <a:pt x="333968" y="25108"/>
                      <a:pt x="330811" y="24413"/>
                      <a:pt x="328612" y="22581"/>
                    </a:cubicBezTo>
                    <a:cubicBezTo>
                      <a:pt x="310272" y="7298"/>
                      <a:pt x="332064" y="22501"/>
                      <a:pt x="314325" y="10675"/>
                    </a:cubicBezTo>
                    <a:cubicBezTo>
                      <a:pt x="311542" y="6501"/>
                      <a:pt x="309320" y="0"/>
                      <a:pt x="302418" y="1150"/>
                    </a:cubicBezTo>
                    <a:cubicBezTo>
                      <a:pt x="299595" y="1620"/>
                      <a:pt x="297656" y="4325"/>
                      <a:pt x="295275" y="5912"/>
                    </a:cubicBezTo>
                    <a:cubicBezTo>
                      <a:pt x="294481" y="12262"/>
                      <a:pt x="294577" y="18788"/>
                      <a:pt x="292893" y="24962"/>
                    </a:cubicBezTo>
                    <a:cubicBezTo>
                      <a:pt x="291623" y="29620"/>
                      <a:pt x="285433" y="35386"/>
                      <a:pt x="280987" y="36868"/>
                    </a:cubicBezTo>
                    <a:cubicBezTo>
                      <a:pt x="276407" y="38395"/>
                      <a:pt x="271462" y="38456"/>
                      <a:pt x="266700" y="39250"/>
                    </a:cubicBezTo>
                    <a:cubicBezTo>
                      <a:pt x="241377" y="56130"/>
                      <a:pt x="251526" y="46438"/>
                      <a:pt x="261937" y="113068"/>
                    </a:cubicBezTo>
                    <a:cubicBezTo>
                      <a:pt x="262550" y="116989"/>
                      <a:pt x="268211" y="117936"/>
                      <a:pt x="271462" y="120212"/>
                    </a:cubicBezTo>
                    <a:cubicBezTo>
                      <a:pt x="276151" y="123494"/>
                      <a:pt x="280987" y="126562"/>
                      <a:pt x="285750" y="129737"/>
                    </a:cubicBezTo>
                    <a:lnTo>
                      <a:pt x="292893" y="134500"/>
                    </a:lnTo>
                    <a:cubicBezTo>
                      <a:pt x="294481" y="136881"/>
                      <a:pt x="297185" y="138820"/>
                      <a:pt x="297656" y="141643"/>
                    </a:cubicBezTo>
                    <a:cubicBezTo>
                      <a:pt x="298069" y="144119"/>
                      <a:pt x="297781" y="148635"/>
                      <a:pt x="295275" y="148787"/>
                    </a:cubicBezTo>
                    <a:cubicBezTo>
                      <a:pt x="269909" y="150324"/>
                      <a:pt x="244475" y="147200"/>
                      <a:pt x="219075" y="146406"/>
                    </a:cubicBezTo>
                    <a:cubicBezTo>
                      <a:pt x="215524" y="135753"/>
                      <a:pt x="216335" y="131087"/>
                      <a:pt x="207168" y="124975"/>
                    </a:cubicBezTo>
                    <a:cubicBezTo>
                      <a:pt x="205080" y="123583"/>
                      <a:pt x="202406" y="123387"/>
                      <a:pt x="200025" y="122593"/>
                    </a:cubicBezTo>
                    <a:cubicBezTo>
                      <a:pt x="172090" y="129579"/>
                      <a:pt x="198404" y="119766"/>
                      <a:pt x="188118" y="177362"/>
                    </a:cubicBezTo>
                    <a:cubicBezTo>
                      <a:pt x="185553" y="191726"/>
                      <a:pt x="179083" y="189627"/>
                      <a:pt x="171450" y="196412"/>
                    </a:cubicBezTo>
                    <a:cubicBezTo>
                      <a:pt x="166416" y="200887"/>
                      <a:pt x="157162" y="210700"/>
                      <a:pt x="157162" y="210700"/>
                    </a:cubicBezTo>
                    <a:cubicBezTo>
                      <a:pt x="153987" y="209906"/>
                      <a:pt x="147980" y="211573"/>
                      <a:pt x="147637" y="208318"/>
                    </a:cubicBezTo>
                    <a:cubicBezTo>
                      <a:pt x="146132" y="194022"/>
                      <a:pt x="150617" y="179720"/>
                      <a:pt x="152400" y="165456"/>
                    </a:cubicBezTo>
                    <a:cubicBezTo>
                      <a:pt x="155477" y="140837"/>
                      <a:pt x="153876" y="152741"/>
                      <a:pt x="157162" y="129737"/>
                    </a:cubicBezTo>
                    <a:cubicBezTo>
                      <a:pt x="156368" y="120212"/>
                      <a:pt x="158047" y="110145"/>
                      <a:pt x="154781" y="101162"/>
                    </a:cubicBezTo>
                    <a:cubicBezTo>
                      <a:pt x="153923" y="98803"/>
                      <a:pt x="149882" y="102420"/>
                      <a:pt x="147637" y="103543"/>
                    </a:cubicBezTo>
                    <a:cubicBezTo>
                      <a:pt x="141006" y="106858"/>
                      <a:pt x="138616" y="110183"/>
                      <a:pt x="133350" y="115450"/>
                    </a:cubicBezTo>
                    <a:cubicBezTo>
                      <a:pt x="132556" y="117831"/>
                      <a:pt x="132187" y="120399"/>
                      <a:pt x="130968" y="122593"/>
                    </a:cubicBezTo>
                    <a:cubicBezTo>
                      <a:pt x="128188" y="127597"/>
                      <a:pt x="124618" y="132118"/>
                      <a:pt x="121443" y="136881"/>
                    </a:cubicBezTo>
                    <a:lnTo>
                      <a:pt x="116681" y="144025"/>
                    </a:lnTo>
                    <a:lnTo>
                      <a:pt x="107156" y="158312"/>
                    </a:lnTo>
                    <a:lnTo>
                      <a:pt x="100012" y="179743"/>
                    </a:lnTo>
                    <a:lnTo>
                      <a:pt x="97631" y="186887"/>
                    </a:lnTo>
                    <a:lnTo>
                      <a:pt x="95250" y="194031"/>
                    </a:lnTo>
                    <a:cubicBezTo>
                      <a:pt x="96044" y="208318"/>
                      <a:pt x="96336" y="222642"/>
                      <a:pt x="97631" y="236893"/>
                    </a:cubicBezTo>
                    <a:cubicBezTo>
                      <a:pt x="97927" y="240152"/>
                      <a:pt x="99370" y="243209"/>
                      <a:pt x="100012" y="246418"/>
                    </a:cubicBezTo>
                    <a:cubicBezTo>
                      <a:pt x="100959" y="251153"/>
                      <a:pt x="101599" y="255943"/>
                      <a:pt x="102393" y="260706"/>
                    </a:cubicBezTo>
                    <a:cubicBezTo>
                      <a:pt x="101599" y="265468"/>
                      <a:pt x="102445" y="270823"/>
                      <a:pt x="100012" y="274993"/>
                    </a:cubicBezTo>
                    <a:cubicBezTo>
                      <a:pt x="96618" y="280811"/>
                      <a:pt x="89461" y="283677"/>
                      <a:pt x="85725" y="289281"/>
                    </a:cubicBezTo>
                    <a:lnTo>
                      <a:pt x="80962" y="296425"/>
                    </a:lnTo>
                    <a:cubicBezTo>
                      <a:pt x="79375" y="301187"/>
                      <a:pt x="77418" y="305842"/>
                      <a:pt x="76200" y="310712"/>
                    </a:cubicBezTo>
                    <a:cubicBezTo>
                      <a:pt x="74378" y="317996"/>
                      <a:pt x="74536" y="321901"/>
                      <a:pt x="69056" y="327381"/>
                    </a:cubicBezTo>
                    <a:cubicBezTo>
                      <a:pt x="67032" y="329405"/>
                      <a:pt x="64051" y="330242"/>
                      <a:pt x="61912" y="332143"/>
                    </a:cubicBezTo>
                    <a:cubicBezTo>
                      <a:pt x="56878" y="336618"/>
                      <a:pt x="47625" y="346431"/>
                      <a:pt x="47625" y="346431"/>
                    </a:cubicBezTo>
                    <a:cubicBezTo>
                      <a:pt x="45926" y="351525"/>
                      <a:pt x="44824" y="356918"/>
                      <a:pt x="40481" y="360718"/>
                    </a:cubicBezTo>
                    <a:cubicBezTo>
                      <a:pt x="36173" y="364487"/>
                      <a:pt x="26193" y="370243"/>
                      <a:pt x="26193" y="370243"/>
                    </a:cubicBezTo>
                    <a:cubicBezTo>
                      <a:pt x="19273" y="365630"/>
                      <a:pt x="16389" y="360295"/>
                      <a:pt x="14287" y="375006"/>
                    </a:cubicBezTo>
                    <a:cubicBezTo>
                      <a:pt x="13368" y="381437"/>
                      <a:pt x="20749" y="385617"/>
                      <a:pt x="23812" y="389293"/>
                    </a:cubicBezTo>
                    <a:cubicBezTo>
                      <a:pt x="25644" y="391492"/>
                      <a:pt x="26987" y="394056"/>
                      <a:pt x="28575" y="396437"/>
                    </a:cubicBezTo>
                    <a:cubicBezTo>
                      <a:pt x="26194" y="398818"/>
                      <a:pt x="24018" y="401425"/>
                      <a:pt x="21431" y="403581"/>
                    </a:cubicBezTo>
                    <a:cubicBezTo>
                      <a:pt x="19232" y="405413"/>
                      <a:pt x="16075" y="406108"/>
                      <a:pt x="14287" y="408343"/>
                    </a:cubicBezTo>
                    <a:cubicBezTo>
                      <a:pt x="12719" y="410303"/>
                      <a:pt x="13298" y="413398"/>
                      <a:pt x="11906" y="415487"/>
                    </a:cubicBezTo>
                    <a:cubicBezTo>
                      <a:pt x="10038" y="418289"/>
                      <a:pt x="6918" y="420044"/>
                      <a:pt x="4762" y="422631"/>
                    </a:cubicBezTo>
                    <a:cubicBezTo>
                      <a:pt x="2930" y="424830"/>
                      <a:pt x="1587" y="427394"/>
                      <a:pt x="0" y="429775"/>
                    </a:cubicBezTo>
                    <a:cubicBezTo>
                      <a:pt x="3790" y="463887"/>
                      <a:pt x="430" y="439282"/>
                      <a:pt x="4762" y="463112"/>
                    </a:cubicBezTo>
                    <a:cubicBezTo>
                      <a:pt x="5626" y="467862"/>
                      <a:pt x="6095" y="472687"/>
                      <a:pt x="7143" y="477400"/>
                    </a:cubicBezTo>
                    <a:cubicBezTo>
                      <a:pt x="10922" y="494402"/>
                      <a:pt x="8445" y="473302"/>
                      <a:pt x="11906" y="494068"/>
                    </a:cubicBezTo>
                    <a:cubicBezTo>
                      <a:pt x="15858" y="517782"/>
                      <a:pt x="10193" y="506978"/>
                      <a:pt x="19050" y="520262"/>
                    </a:cubicBezTo>
                    <a:cubicBezTo>
                      <a:pt x="20637" y="525025"/>
                      <a:pt x="21027" y="530373"/>
                      <a:pt x="23812" y="534550"/>
                    </a:cubicBezTo>
                    <a:cubicBezTo>
                      <a:pt x="28494" y="541571"/>
                      <a:pt x="28845" y="543109"/>
                      <a:pt x="35718" y="548837"/>
                    </a:cubicBezTo>
                    <a:cubicBezTo>
                      <a:pt x="39939" y="552355"/>
                      <a:pt x="47590" y="556306"/>
                      <a:pt x="52387" y="558362"/>
                    </a:cubicBezTo>
                    <a:cubicBezTo>
                      <a:pt x="54694" y="559351"/>
                      <a:pt x="57224" y="559754"/>
                      <a:pt x="59531" y="560743"/>
                    </a:cubicBezTo>
                    <a:cubicBezTo>
                      <a:pt x="62794" y="562141"/>
                      <a:pt x="66012" y="563680"/>
                      <a:pt x="69056" y="565506"/>
                    </a:cubicBezTo>
                    <a:cubicBezTo>
                      <a:pt x="73964" y="568451"/>
                      <a:pt x="83343" y="575031"/>
                      <a:pt x="83343" y="575031"/>
                    </a:cubicBezTo>
                    <a:cubicBezTo>
                      <a:pt x="84931" y="577412"/>
                      <a:pt x="86826" y="579615"/>
                      <a:pt x="88106" y="582175"/>
                    </a:cubicBezTo>
                    <a:cubicBezTo>
                      <a:pt x="92475" y="590913"/>
                      <a:pt x="87474" y="589691"/>
                      <a:pt x="97631" y="596462"/>
                    </a:cubicBezTo>
                    <a:cubicBezTo>
                      <a:pt x="99720" y="597854"/>
                      <a:pt x="102468" y="597854"/>
                      <a:pt x="104775" y="598843"/>
                    </a:cubicBezTo>
                    <a:cubicBezTo>
                      <a:pt x="108038" y="600241"/>
                      <a:pt x="111004" y="602288"/>
                      <a:pt x="114300" y="603606"/>
                    </a:cubicBezTo>
                    <a:cubicBezTo>
                      <a:pt x="118961" y="605470"/>
                      <a:pt x="123825" y="606781"/>
                      <a:pt x="128587" y="608368"/>
                    </a:cubicBezTo>
                    <a:cubicBezTo>
                      <a:pt x="130968" y="609162"/>
                      <a:pt x="133486" y="609627"/>
                      <a:pt x="135731" y="610750"/>
                    </a:cubicBezTo>
                    <a:cubicBezTo>
                      <a:pt x="138906" y="612337"/>
                      <a:pt x="142246" y="613631"/>
                      <a:pt x="145256" y="615512"/>
                    </a:cubicBezTo>
                    <a:cubicBezTo>
                      <a:pt x="148622" y="617615"/>
                      <a:pt x="151231" y="620881"/>
                      <a:pt x="154781" y="622656"/>
                    </a:cubicBezTo>
                    <a:cubicBezTo>
                      <a:pt x="159271" y="624901"/>
                      <a:pt x="169068" y="627418"/>
                      <a:pt x="169068" y="627418"/>
                    </a:cubicBezTo>
                    <a:cubicBezTo>
                      <a:pt x="170656" y="629799"/>
                      <a:pt x="171596" y="632774"/>
                      <a:pt x="173831" y="634562"/>
                    </a:cubicBezTo>
                    <a:cubicBezTo>
                      <a:pt x="175791" y="636130"/>
                      <a:pt x="178730" y="635820"/>
                      <a:pt x="180975" y="636943"/>
                    </a:cubicBezTo>
                    <a:cubicBezTo>
                      <a:pt x="183535" y="638223"/>
                      <a:pt x="185633" y="640286"/>
                      <a:pt x="188118" y="641706"/>
                    </a:cubicBezTo>
                    <a:cubicBezTo>
                      <a:pt x="209275" y="653796"/>
                      <a:pt x="187375" y="639622"/>
                      <a:pt x="204787" y="651231"/>
                    </a:cubicBezTo>
                    <a:cubicBezTo>
                      <a:pt x="208584" y="656927"/>
                      <a:pt x="210860" y="661351"/>
                      <a:pt x="216693" y="665518"/>
                    </a:cubicBezTo>
                    <a:cubicBezTo>
                      <a:pt x="223399" y="670308"/>
                      <a:pt x="228071" y="670744"/>
                      <a:pt x="235743" y="672662"/>
                    </a:cubicBezTo>
                    <a:cubicBezTo>
                      <a:pt x="255338" y="669863"/>
                      <a:pt x="262897" y="667584"/>
                      <a:pt x="285750" y="672662"/>
                    </a:cubicBezTo>
                    <a:cubicBezTo>
                      <a:pt x="289624" y="673523"/>
                      <a:pt x="291829" y="677837"/>
                      <a:pt x="295275" y="679806"/>
                    </a:cubicBezTo>
                    <a:cubicBezTo>
                      <a:pt x="297454" y="681051"/>
                      <a:pt x="299983" y="681578"/>
                      <a:pt x="302418" y="682187"/>
                    </a:cubicBezTo>
                    <a:cubicBezTo>
                      <a:pt x="311697" y="684506"/>
                      <a:pt x="321594" y="685607"/>
                      <a:pt x="330993" y="686950"/>
                    </a:cubicBezTo>
                    <a:cubicBezTo>
                      <a:pt x="333374" y="689331"/>
                      <a:pt x="335335" y="692225"/>
                      <a:pt x="338137" y="694093"/>
                    </a:cubicBezTo>
                    <a:cubicBezTo>
                      <a:pt x="340226" y="695485"/>
                      <a:pt x="343321" y="694907"/>
                      <a:pt x="345281" y="696475"/>
                    </a:cubicBezTo>
                    <a:cubicBezTo>
                      <a:pt x="347516" y="698263"/>
                      <a:pt x="348456" y="701237"/>
                      <a:pt x="350043" y="703618"/>
                    </a:cubicBezTo>
                    <a:cubicBezTo>
                      <a:pt x="350837" y="706793"/>
                      <a:pt x="351526" y="709996"/>
                      <a:pt x="352425" y="713143"/>
                    </a:cubicBezTo>
                    <a:cubicBezTo>
                      <a:pt x="353115" y="715557"/>
                      <a:pt x="354197" y="717852"/>
                      <a:pt x="354806" y="720287"/>
                    </a:cubicBezTo>
                    <a:cubicBezTo>
                      <a:pt x="355788" y="724213"/>
                      <a:pt x="356205" y="728267"/>
                      <a:pt x="357187" y="732193"/>
                    </a:cubicBezTo>
                    <a:cubicBezTo>
                      <a:pt x="358478" y="737358"/>
                      <a:pt x="359754" y="743297"/>
                      <a:pt x="366712" y="744100"/>
                    </a:cubicBezTo>
                    <a:cubicBezTo>
                      <a:pt x="384865" y="746195"/>
                      <a:pt x="403225" y="745687"/>
                      <a:pt x="421481" y="746481"/>
                    </a:cubicBezTo>
                    <a:cubicBezTo>
                      <a:pt x="427202" y="747911"/>
                      <a:pt x="434038" y="748485"/>
                      <a:pt x="438150" y="753625"/>
                    </a:cubicBezTo>
                    <a:cubicBezTo>
                      <a:pt x="451296" y="770057"/>
                      <a:pt x="427199" y="751880"/>
                      <a:pt x="447675" y="765531"/>
                    </a:cubicBezTo>
                    <a:cubicBezTo>
                      <a:pt x="464685" y="791050"/>
                      <a:pt x="438199" y="752327"/>
                      <a:pt x="459581" y="779818"/>
                    </a:cubicBezTo>
                    <a:cubicBezTo>
                      <a:pt x="463095" y="784336"/>
                      <a:pt x="465931" y="789343"/>
                      <a:pt x="469106" y="794106"/>
                    </a:cubicBezTo>
                    <a:lnTo>
                      <a:pt x="473868" y="801250"/>
                    </a:lnTo>
                    <a:cubicBezTo>
                      <a:pt x="474662" y="809187"/>
                      <a:pt x="474456" y="817289"/>
                      <a:pt x="476250" y="825062"/>
                    </a:cubicBezTo>
                    <a:cubicBezTo>
                      <a:pt x="476894" y="827851"/>
                      <a:pt x="479732" y="829646"/>
                      <a:pt x="481012" y="832206"/>
                    </a:cubicBezTo>
                    <a:cubicBezTo>
                      <a:pt x="490863" y="851910"/>
                      <a:pt x="474516" y="826037"/>
                      <a:pt x="488156" y="846493"/>
                    </a:cubicBezTo>
                    <a:cubicBezTo>
                      <a:pt x="491042" y="855153"/>
                      <a:pt x="488444" y="853709"/>
                      <a:pt x="497681" y="856018"/>
                    </a:cubicBezTo>
                    <a:cubicBezTo>
                      <a:pt x="498451" y="856210"/>
                      <a:pt x="488552" y="856415"/>
                      <a:pt x="492918" y="856018"/>
                    </a:cubicBez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grpSp>
        <p:grpSp>
          <p:nvGrpSpPr>
            <p:cNvPr id="9" name="Group 166"/>
            <p:cNvGrpSpPr/>
            <p:nvPr>
              <p:custDataLst>
                <p:tags r:id="rId3"/>
              </p:custDataLst>
            </p:nvPr>
          </p:nvGrpSpPr>
          <p:grpSpPr bwMode="gray">
            <a:xfrm>
              <a:off x="4464290" y="2282934"/>
              <a:ext cx="1555029" cy="3420769"/>
              <a:chOff x="4464290" y="2665706"/>
              <a:chExt cx="1555029" cy="3420769"/>
            </a:xfrm>
            <a:grpFill/>
          </p:grpSpPr>
          <p:sp>
            <p:nvSpPr>
              <p:cNvPr id="10" name="Freeform 9"/>
              <p:cNvSpPr/>
              <p:nvPr/>
            </p:nvSpPr>
            <p:spPr bwMode="gray">
              <a:xfrm>
                <a:off x="4464290" y="2665706"/>
                <a:ext cx="1460260" cy="1556250"/>
              </a:xfrm>
              <a:custGeom>
                <a:avLst/>
                <a:gdLst>
                  <a:gd name="connsiteX0" fmla="*/ 145810 w 1460260"/>
                  <a:gd name="connsiteY0" fmla="*/ 1549107 h 1556250"/>
                  <a:gd name="connsiteX1" fmla="*/ 143429 w 1460260"/>
                  <a:gd name="connsiteY1" fmla="*/ 1530057 h 1556250"/>
                  <a:gd name="connsiteX2" fmla="*/ 141048 w 1460260"/>
                  <a:gd name="connsiteY2" fmla="*/ 1522913 h 1556250"/>
                  <a:gd name="connsiteX3" fmla="*/ 138666 w 1460260"/>
                  <a:gd name="connsiteY3" fmla="*/ 1503863 h 1556250"/>
                  <a:gd name="connsiteX4" fmla="*/ 136285 w 1460260"/>
                  <a:gd name="connsiteY4" fmla="*/ 1463382 h 1556250"/>
                  <a:gd name="connsiteX5" fmla="*/ 131523 w 1460260"/>
                  <a:gd name="connsiteY5" fmla="*/ 1449094 h 1556250"/>
                  <a:gd name="connsiteX6" fmla="*/ 129141 w 1460260"/>
                  <a:gd name="connsiteY6" fmla="*/ 1434807 h 1556250"/>
                  <a:gd name="connsiteX7" fmla="*/ 124379 w 1460260"/>
                  <a:gd name="connsiteY7" fmla="*/ 1394325 h 1556250"/>
                  <a:gd name="connsiteX8" fmla="*/ 121998 w 1460260"/>
                  <a:gd name="connsiteY8" fmla="*/ 1384800 h 1556250"/>
                  <a:gd name="connsiteX9" fmla="*/ 117235 w 1460260"/>
                  <a:gd name="connsiteY9" fmla="*/ 1370513 h 1556250"/>
                  <a:gd name="connsiteX10" fmla="*/ 121998 w 1460260"/>
                  <a:gd name="connsiteY10" fmla="*/ 1320507 h 1556250"/>
                  <a:gd name="connsiteX11" fmla="*/ 126760 w 1460260"/>
                  <a:gd name="connsiteY11" fmla="*/ 1313363 h 1556250"/>
                  <a:gd name="connsiteX12" fmla="*/ 129141 w 1460260"/>
                  <a:gd name="connsiteY12" fmla="*/ 1303838 h 1556250"/>
                  <a:gd name="connsiteX13" fmla="*/ 136285 w 1460260"/>
                  <a:gd name="connsiteY13" fmla="*/ 1299075 h 1556250"/>
                  <a:gd name="connsiteX14" fmla="*/ 141048 w 1460260"/>
                  <a:gd name="connsiteY14" fmla="*/ 1284788 h 1556250"/>
                  <a:gd name="connsiteX15" fmla="*/ 138666 w 1460260"/>
                  <a:gd name="connsiteY15" fmla="*/ 1210969 h 1556250"/>
                  <a:gd name="connsiteX16" fmla="*/ 119616 w 1460260"/>
                  <a:gd name="connsiteY16" fmla="*/ 1187157 h 1556250"/>
                  <a:gd name="connsiteX17" fmla="*/ 112473 w 1460260"/>
                  <a:gd name="connsiteY17" fmla="*/ 1182394 h 1556250"/>
                  <a:gd name="connsiteX18" fmla="*/ 98185 w 1460260"/>
                  <a:gd name="connsiteY18" fmla="*/ 1177632 h 1556250"/>
                  <a:gd name="connsiteX19" fmla="*/ 91041 w 1460260"/>
                  <a:gd name="connsiteY19" fmla="*/ 1175250 h 1556250"/>
                  <a:gd name="connsiteX20" fmla="*/ 71991 w 1460260"/>
                  <a:gd name="connsiteY20" fmla="*/ 1172869 h 1556250"/>
                  <a:gd name="connsiteX21" fmla="*/ 62466 w 1460260"/>
                  <a:gd name="connsiteY21" fmla="*/ 1165725 h 1556250"/>
                  <a:gd name="connsiteX22" fmla="*/ 48179 w 1460260"/>
                  <a:gd name="connsiteY22" fmla="*/ 1153819 h 1556250"/>
                  <a:gd name="connsiteX23" fmla="*/ 36273 w 1460260"/>
                  <a:gd name="connsiteY23" fmla="*/ 1139532 h 1556250"/>
                  <a:gd name="connsiteX24" fmla="*/ 29129 w 1460260"/>
                  <a:gd name="connsiteY24" fmla="*/ 1134769 h 1556250"/>
                  <a:gd name="connsiteX25" fmla="*/ 17223 w 1460260"/>
                  <a:gd name="connsiteY25" fmla="*/ 1122863 h 1556250"/>
                  <a:gd name="connsiteX26" fmla="*/ 5316 w 1460260"/>
                  <a:gd name="connsiteY26" fmla="*/ 1110957 h 1556250"/>
                  <a:gd name="connsiteX27" fmla="*/ 554 w 1460260"/>
                  <a:gd name="connsiteY27" fmla="*/ 1096669 h 1556250"/>
                  <a:gd name="connsiteX28" fmla="*/ 2935 w 1460260"/>
                  <a:gd name="connsiteY28" fmla="*/ 1075238 h 1556250"/>
                  <a:gd name="connsiteX29" fmla="*/ 7698 w 1460260"/>
                  <a:gd name="connsiteY29" fmla="*/ 1068094 h 1556250"/>
                  <a:gd name="connsiteX30" fmla="*/ 21985 w 1460260"/>
                  <a:gd name="connsiteY30" fmla="*/ 1056188 h 1556250"/>
                  <a:gd name="connsiteX31" fmla="*/ 26748 w 1460260"/>
                  <a:gd name="connsiteY31" fmla="*/ 1049044 h 1556250"/>
                  <a:gd name="connsiteX32" fmla="*/ 33891 w 1460260"/>
                  <a:gd name="connsiteY32" fmla="*/ 1046663 h 1556250"/>
                  <a:gd name="connsiteX33" fmla="*/ 41035 w 1460260"/>
                  <a:gd name="connsiteY33" fmla="*/ 1041900 h 1556250"/>
                  <a:gd name="connsiteX34" fmla="*/ 50560 w 1460260"/>
                  <a:gd name="connsiteY34" fmla="*/ 1037138 h 1556250"/>
                  <a:gd name="connsiteX35" fmla="*/ 57704 w 1460260"/>
                  <a:gd name="connsiteY35" fmla="*/ 1003800 h 1556250"/>
                  <a:gd name="connsiteX36" fmla="*/ 62466 w 1460260"/>
                  <a:gd name="connsiteY36" fmla="*/ 894263 h 1556250"/>
                  <a:gd name="connsiteX37" fmla="*/ 64848 w 1460260"/>
                  <a:gd name="connsiteY37" fmla="*/ 884738 h 1556250"/>
                  <a:gd name="connsiteX38" fmla="*/ 67229 w 1460260"/>
                  <a:gd name="connsiteY38" fmla="*/ 872832 h 1556250"/>
                  <a:gd name="connsiteX39" fmla="*/ 71991 w 1460260"/>
                  <a:gd name="connsiteY39" fmla="*/ 853782 h 1556250"/>
                  <a:gd name="connsiteX40" fmla="*/ 81516 w 1460260"/>
                  <a:gd name="connsiteY40" fmla="*/ 813300 h 1556250"/>
                  <a:gd name="connsiteX41" fmla="*/ 95804 w 1460260"/>
                  <a:gd name="connsiteY41" fmla="*/ 806157 h 1556250"/>
                  <a:gd name="connsiteX42" fmla="*/ 112473 w 1460260"/>
                  <a:gd name="connsiteY42" fmla="*/ 799013 h 1556250"/>
                  <a:gd name="connsiteX43" fmla="*/ 121998 w 1460260"/>
                  <a:gd name="connsiteY43" fmla="*/ 801394 h 1556250"/>
                  <a:gd name="connsiteX44" fmla="*/ 129141 w 1460260"/>
                  <a:gd name="connsiteY44" fmla="*/ 806157 h 1556250"/>
                  <a:gd name="connsiteX45" fmla="*/ 136285 w 1460260"/>
                  <a:gd name="connsiteY45" fmla="*/ 808538 h 1556250"/>
                  <a:gd name="connsiteX46" fmla="*/ 141048 w 1460260"/>
                  <a:gd name="connsiteY46" fmla="*/ 815682 h 1556250"/>
                  <a:gd name="connsiteX47" fmla="*/ 148191 w 1460260"/>
                  <a:gd name="connsiteY47" fmla="*/ 822825 h 1556250"/>
                  <a:gd name="connsiteX48" fmla="*/ 155335 w 1460260"/>
                  <a:gd name="connsiteY48" fmla="*/ 837113 h 1556250"/>
                  <a:gd name="connsiteX49" fmla="*/ 162479 w 1460260"/>
                  <a:gd name="connsiteY49" fmla="*/ 841875 h 1556250"/>
                  <a:gd name="connsiteX50" fmla="*/ 167241 w 1460260"/>
                  <a:gd name="connsiteY50" fmla="*/ 849019 h 1556250"/>
                  <a:gd name="connsiteX51" fmla="*/ 179148 w 1460260"/>
                  <a:gd name="connsiteY51" fmla="*/ 860925 h 1556250"/>
                  <a:gd name="connsiteX52" fmla="*/ 179148 w 1460260"/>
                  <a:gd name="connsiteY52" fmla="*/ 877594 h 1556250"/>
                  <a:gd name="connsiteX53" fmla="*/ 172004 w 1460260"/>
                  <a:gd name="connsiteY53" fmla="*/ 884738 h 1556250"/>
                  <a:gd name="connsiteX54" fmla="*/ 162479 w 1460260"/>
                  <a:gd name="connsiteY54" fmla="*/ 899025 h 1556250"/>
                  <a:gd name="connsiteX55" fmla="*/ 157716 w 1460260"/>
                  <a:gd name="connsiteY55" fmla="*/ 913313 h 1556250"/>
                  <a:gd name="connsiteX56" fmla="*/ 155335 w 1460260"/>
                  <a:gd name="connsiteY56" fmla="*/ 920457 h 1556250"/>
                  <a:gd name="connsiteX57" fmla="*/ 150573 w 1460260"/>
                  <a:gd name="connsiteY57" fmla="*/ 960938 h 1556250"/>
                  <a:gd name="connsiteX58" fmla="*/ 145810 w 1460260"/>
                  <a:gd name="connsiteY58" fmla="*/ 968082 h 1556250"/>
                  <a:gd name="connsiteX59" fmla="*/ 138666 w 1460260"/>
                  <a:gd name="connsiteY59" fmla="*/ 972844 h 1556250"/>
                  <a:gd name="connsiteX60" fmla="*/ 141048 w 1460260"/>
                  <a:gd name="connsiteY60" fmla="*/ 1020469 h 1556250"/>
                  <a:gd name="connsiteX61" fmla="*/ 143429 w 1460260"/>
                  <a:gd name="connsiteY61" fmla="*/ 1027613 h 1556250"/>
                  <a:gd name="connsiteX62" fmla="*/ 148191 w 1460260"/>
                  <a:gd name="connsiteY62" fmla="*/ 1034757 h 1556250"/>
                  <a:gd name="connsiteX63" fmla="*/ 155335 w 1460260"/>
                  <a:gd name="connsiteY63" fmla="*/ 1041900 h 1556250"/>
                  <a:gd name="connsiteX64" fmla="*/ 172004 w 1460260"/>
                  <a:gd name="connsiteY64" fmla="*/ 1046663 h 1556250"/>
                  <a:gd name="connsiteX65" fmla="*/ 195816 w 1460260"/>
                  <a:gd name="connsiteY65" fmla="*/ 1041900 h 1556250"/>
                  <a:gd name="connsiteX66" fmla="*/ 202960 w 1460260"/>
                  <a:gd name="connsiteY66" fmla="*/ 1034757 h 1556250"/>
                  <a:gd name="connsiteX67" fmla="*/ 217248 w 1460260"/>
                  <a:gd name="connsiteY67" fmla="*/ 1025232 h 1556250"/>
                  <a:gd name="connsiteX68" fmla="*/ 224391 w 1460260"/>
                  <a:gd name="connsiteY68" fmla="*/ 1020469 h 1556250"/>
                  <a:gd name="connsiteX69" fmla="*/ 226773 w 1460260"/>
                  <a:gd name="connsiteY69" fmla="*/ 1013325 h 1556250"/>
                  <a:gd name="connsiteX70" fmla="*/ 214866 w 1460260"/>
                  <a:gd name="connsiteY70" fmla="*/ 999038 h 1556250"/>
                  <a:gd name="connsiteX71" fmla="*/ 214866 w 1460260"/>
                  <a:gd name="connsiteY71" fmla="*/ 944269 h 1556250"/>
                  <a:gd name="connsiteX72" fmla="*/ 212485 w 1460260"/>
                  <a:gd name="connsiteY72" fmla="*/ 937125 h 1556250"/>
                  <a:gd name="connsiteX73" fmla="*/ 205341 w 1460260"/>
                  <a:gd name="connsiteY73" fmla="*/ 932363 h 1556250"/>
                  <a:gd name="connsiteX74" fmla="*/ 200579 w 1460260"/>
                  <a:gd name="connsiteY74" fmla="*/ 925219 h 1556250"/>
                  <a:gd name="connsiteX75" fmla="*/ 202960 w 1460260"/>
                  <a:gd name="connsiteY75" fmla="*/ 894263 h 1556250"/>
                  <a:gd name="connsiteX76" fmla="*/ 207723 w 1460260"/>
                  <a:gd name="connsiteY76" fmla="*/ 887119 h 1556250"/>
                  <a:gd name="connsiteX77" fmla="*/ 222010 w 1460260"/>
                  <a:gd name="connsiteY77" fmla="*/ 875213 h 1556250"/>
                  <a:gd name="connsiteX78" fmla="*/ 233916 w 1460260"/>
                  <a:gd name="connsiteY78" fmla="*/ 860925 h 1556250"/>
                  <a:gd name="connsiteX79" fmla="*/ 236298 w 1460260"/>
                  <a:gd name="connsiteY79" fmla="*/ 853782 h 1556250"/>
                  <a:gd name="connsiteX80" fmla="*/ 219629 w 1460260"/>
                  <a:gd name="connsiteY80" fmla="*/ 846638 h 1556250"/>
                  <a:gd name="connsiteX81" fmla="*/ 212485 w 1460260"/>
                  <a:gd name="connsiteY81" fmla="*/ 841875 h 1556250"/>
                  <a:gd name="connsiteX82" fmla="*/ 207723 w 1460260"/>
                  <a:gd name="connsiteY82" fmla="*/ 822825 h 1556250"/>
                  <a:gd name="connsiteX83" fmla="*/ 205341 w 1460260"/>
                  <a:gd name="connsiteY83" fmla="*/ 768057 h 1556250"/>
                  <a:gd name="connsiteX84" fmla="*/ 191054 w 1460260"/>
                  <a:gd name="connsiteY84" fmla="*/ 763294 h 1556250"/>
                  <a:gd name="connsiteX85" fmla="*/ 181529 w 1460260"/>
                  <a:gd name="connsiteY85" fmla="*/ 760913 h 1556250"/>
                  <a:gd name="connsiteX86" fmla="*/ 150573 w 1460260"/>
                  <a:gd name="connsiteY86" fmla="*/ 756150 h 1556250"/>
                  <a:gd name="connsiteX87" fmla="*/ 131523 w 1460260"/>
                  <a:gd name="connsiteY87" fmla="*/ 751388 h 1556250"/>
                  <a:gd name="connsiteX88" fmla="*/ 129141 w 1460260"/>
                  <a:gd name="connsiteY88" fmla="*/ 741863 h 1556250"/>
                  <a:gd name="connsiteX89" fmla="*/ 133904 w 1460260"/>
                  <a:gd name="connsiteY89" fmla="*/ 713288 h 1556250"/>
                  <a:gd name="connsiteX90" fmla="*/ 141048 w 1460260"/>
                  <a:gd name="connsiteY90" fmla="*/ 699000 h 1556250"/>
                  <a:gd name="connsiteX91" fmla="*/ 138666 w 1460260"/>
                  <a:gd name="connsiteY91" fmla="*/ 668044 h 1556250"/>
                  <a:gd name="connsiteX92" fmla="*/ 131523 w 1460260"/>
                  <a:gd name="connsiteY92" fmla="*/ 665663 h 1556250"/>
                  <a:gd name="connsiteX93" fmla="*/ 124379 w 1460260"/>
                  <a:gd name="connsiteY93" fmla="*/ 658519 h 1556250"/>
                  <a:gd name="connsiteX94" fmla="*/ 117235 w 1460260"/>
                  <a:gd name="connsiteY94" fmla="*/ 653757 h 1556250"/>
                  <a:gd name="connsiteX95" fmla="*/ 110091 w 1460260"/>
                  <a:gd name="connsiteY95" fmla="*/ 629944 h 1556250"/>
                  <a:gd name="connsiteX96" fmla="*/ 112473 w 1460260"/>
                  <a:gd name="connsiteY96" fmla="*/ 608513 h 1556250"/>
                  <a:gd name="connsiteX97" fmla="*/ 119616 w 1460260"/>
                  <a:gd name="connsiteY97" fmla="*/ 603750 h 1556250"/>
                  <a:gd name="connsiteX98" fmla="*/ 138666 w 1460260"/>
                  <a:gd name="connsiteY98" fmla="*/ 601369 h 1556250"/>
                  <a:gd name="connsiteX99" fmla="*/ 162479 w 1460260"/>
                  <a:gd name="connsiteY99" fmla="*/ 584700 h 1556250"/>
                  <a:gd name="connsiteX100" fmla="*/ 176766 w 1460260"/>
                  <a:gd name="connsiteY100" fmla="*/ 579938 h 1556250"/>
                  <a:gd name="connsiteX101" fmla="*/ 229154 w 1460260"/>
                  <a:gd name="connsiteY101" fmla="*/ 582319 h 1556250"/>
                  <a:gd name="connsiteX102" fmla="*/ 241060 w 1460260"/>
                  <a:gd name="connsiteY102" fmla="*/ 584700 h 1556250"/>
                  <a:gd name="connsiteX103" fmla="*/ 383935 w 1460260"/>
                  <a:gd name="connsiteY103" fmla="*/ 582319 h 1556250"/>
                  <a:gd name="connsiteX104" fmla="*/ 395841 w 1460260"/>
                  <a:gd name="connsiteY104" fmla="*/ 560888 h 1556250"/>
                  <a:gd name="connsiteX105" fmla="*/ 391079 w 1460260"/>
                  <a:gd name="connsiteY105" fmla="*/ 537075 h 1556250"/>
                  <a:gd name="connsiteX106" fmla="*/ 386316 w 1460260"/>
                  <a:gd name="connsiteY106" fmla="*/ 529932 h 1556250"/>
                  <a:gd name="connsiteX107" fmla="*/ 374410 w 1460260"/>
                  <a:gd name="connsiteY107" fmla="*/ 513263 h 1556250"/>
                  <a:gd name="connsiteX108" fmla="*/ 364885 w 1460260"/>
                  <a:gd name="connsiteY108" fmla="*/ 496594 h 1556250"/>
                  <a:gd name="connsiteX109" fmla="*/ 362504 w 1460260"/>
                  <a:gd name="connsiteY109" fmla="*/ 489450 h 1556250"/>
                  <a:gd name="connsiteX110" fmla="*/ 357741 w 1460260"/>
                  <a:gd name="connsiteY110" fmla="*/ 482307 h 1556250"/>
                  <a:gd name="connsiteX111" fmla="*/ 352979 w 1460260"/>
                  <a:gd name="connsiteY111" fmla="*/ 468019 h 1556250"/>
                  <a:gd name="connsiteX112" fmla="*/ 364885 w 1460260"/>
                  <a:gd name="connsiteY112" fmla="*/ 441825 h 1556250"/>
                  <a:gd name="connsiteX113" fmla="*/ 372029 w 1460260"/>
                  <a:gd name="connsiteY113" fmla="*/ 437063 h 1556250"/>
                  <a:gd name="connsiteX114" fmla="*/ 393460 w 1460260"/>
                  <a:gd name="connsiteY114" fmla="*/ 418013 h 1556250"/>
                  <a:gd name="connsiteX115" fmla="*/ 407748 w 1460260"/>
                  <a:gd name="connsiteY115" fmla="*/ 413250 h 1556250"/>
                  <a:gd name="connsiteX116" fmla="*/ 414891 w 1460260"/>
                  <a:gd name="connsiteY116" fmla="*/ 410869 h 1556250"/>
                  <a:gd name="connsiteX117" fmla="*/ 429179 w 1460260"/>
                  <a:gd name="connsiteY117" fmla="*/ 401344 h 1556250"/>
                  <a:gd name="connsiteX118" fmla="*/ 436323 w 1460260"/>
                  <a:gd name="connsiteY118" fmla="*/ 396582 h 1556250"/>
                  <a:gd name="connsiteX119" fmla="*/ 445848 w 1460260"/>
                  <a:gd name="connsiteY119" fmla="*/ 389438 h 1556250"/>
                  <a:gd name="connsiteX120" fmla="*/ 455373 w 1460260"/>
                  <a:gd name="connsiteY120" fmla="*/ 384675 h 1556250"/>
                  <a:gd name="connsiteX121" fmla="*/ 469660 w 1460260"/>
                  <a:gd name="connsiteY121" fmla="*/ 375150 h 1556250"/>
                  <a:gd name="connsiteX122" fmla="*/ 486329 w 1460260"/>
                  <a:gd name="connsiteY122" fmla="*/ 363244 h 1556250"/>
                  <a:gd name="connsiteX123" fmla="*/ 500616 w 1460260"/>
                  <a:gd name="connsiteY123" fmla="*/ 351338 h 1556250"/>
                  <a:gd name="connsiteX124" fmla="*/ 522048 w 1460260"/>
                  <a:gd name="connsiteY124" fmla="*/ 334669 h 1556250"/>
                  <a:gd name="connsiteX125" fmla="*/ 543479 w 1460260"/>
                  <a:gd name="connsiteY125" fmla="*/ 327525 h 1556250"/>
                  <a:gd name="connsiteX126" fmla="*/ 550623 w 1460260"/>
                  <a:gd name="connsiteY126" fmla="*/ 325144 h 1556250"/>
                  <a:gd name="connsiteX127" fmla="*/ 560148 w 1460260"/>
                  <a:gd name="connsiteY127" fmla="*/ 322763 h 1556250"/>
                  <a:gd name="connsiteX128" fmla="*/ 567291 w 1460260"/>
                  <a:gd name="connsiteY128" fmla="*/ 320382 h 1556250"/>
                  <a:gd name="connsiteX129" fmla="*/ 583960 w 1460260"/>
                  <a:gd name="connsiteY129" fmla="*/ 318000 h 1556250"/>
                  <a:gd name="connsiteX130" fmla="*/ 593485 w 1460260"/>
                  <a:gd name="connsiteY130" fmla="*/ 310857 h 1556250"/>
                  <a:gd name="connsiteX131" fmla="*/ 600629 w 1460260"/>
                  <a:gd name="connsiteY131" fmla="*/ 306094 h 1556250"/>
                  <a:gd name="connsiteX132" fmla="*/ 610154 w 1460260"/>
                  <a:gd name="connsiteY132" fmla="*/ 291807 h 1556250"/>
                  <a:gd name="connsiteX133" fmla="*/ 612535 w 1460260"/>
                  <a:gd name="connsiteY133" fmla="*/ 277519 h 1556250"/>
                  <a:gd name="connsiteX134" fmla="*/ 614916 w 1460260"/>
                  <a:gd name="connsiteY134" fmla="*/ 265613 h 1556250"/>
                  <a:gd name="connsiteX135" fmla="*/ 617298 w 1460260"/>
                  <a:gd name="connsiteY135" fmla="*/ 258469 h 1556250"/>
                  <a:gd name="connsiteX136" fmla="*/ 626823 w 1460260"/>
                  <a:gd name="connsiteY136" fmla="*/ 256088 h 1556250"/>
                  <a:gd name="connsiteX137" fmla="*/ 672066 w 1460260"/>
                  <a:gd name="connsiteY137" fmla="*/ 253707 h 1556250"/>
                  <a:gd name="connsiteX138" fmla="*/ 679210 w 1460260"/>
                  <a:gd name="connsiteY138" fmla="*/ 251325 h 1556250"/>
                  <a:gd name="connsiteX139" fmla="*/ 686354 w 1460260"/>
                  <a:gd name="connsiteY139" fmla="*/ 244182 h 1556250"/>
                  <a:gd name="connsiteX140" fmla="*/ 693498 w 1460260"/>
                  <a:gd name="connsiteY140" fmla="*/ 239419 h 1556250"/>
                  <a:gd name="connsiteX141" fmla="*/ 710166 w 1460260"/>
                  <a:gd name="connsiteY141" fmla="*/ 241800 h 1556250"/>
                  <a:gd name="connsiteX142" fmla="*/ 714929 w 1460260"/>
                  <a:gd name="connsiteY142" fmla="*/ 248944 h 1556250"/>
                  <a:gd name="connsiteX143" fmla="*/ 717310 w 1460260"/>
                  <a:gd name="connsiteY143" fmla="*/ 275138 h 1556250"/>
                  <a:gd name="connsiteX144" fmla="*/ 724454 w 1460260"/>
                  <a:gd name="connsiteY144" fmla="*/ 277519 h 1556250"/>
                  <a:gd name="connsiteX145" fmla="*/ 731598 w 1460260"/>
                  <a:gd name="connsiteY145" fmla="*/ 275138 h 1556250"/>
                  <a:gd name="connsiteX146" fmla="*/ 748266 w 1460260"/>
                  <a:gd name="connsiteY146" fmla="*/ 260850 h 1556250"/>
                  <a:gd name="connsiteX147" fmla="*/ 753029 w 1460260"/>
                  <a:gd name="connsiteY147" fmla="*/ 253707 h 1556250"/>
                  <a:gd name="connsiteX148" fmla="*/ 760173 w 1460260"/>
                  <a:gd name="connsiteY148" fmla="*/ 248944 h 1556250"/>
                  <a:gd name="connsiteX149" fmla="*/ 767316 w 1460260"/>
                  <a:gd name="connsiteY149" fmla="*/ 241800 h 1556250"/>
                  <a:gd name="connsiteX150" fmla="*/ 781604 w 1460260"/>
                  <a:gd name="connsiteY150" fmla="*/ 244182 h 1556250"/>
                  <a:gd name="connsiteX151" fmla="*/ 788748 w 1460260"/>
                  <a:gd name="connsiteY151" fmla="*/ 246563 h 1556250"/>
                  <a:gd name="connsiteX152" fmla="*/ 829229 w 1460260"/>
                  <a:gd name="connsiteY152" fmla="*/ 244182 h 1556250"/>
                  <a:gd name="connsiteX153" fmla="*/ 826848 w 1460260"/>
                  <a:gd name="connsiteY153" fmla="*/ 237038 h 1556250"/>
                  <a:gd name="connsiteX154" fmla="*/ 814941 w 1460260"/>
                  <a:gd name="connsiteY154" fmla="*/ 222750 h 1556250"/>
                  <a:gd name="connsiteX155" fmla="*/ 800654 w 1460260"/>
                  <a:gd name="connsiteY155" fmla="*/ 213225 h 1556250"/>
                  <a:gd name="connsiteX156" fmla="*/ 810179 w 1460260"/>
                  <a:gd name="connsiteY156" fmla="*/ 194175 h 1556250"/>
                  <a:gd name="connsiteX157" fmla="*/ 817323 w 1460260"/>
                  <a:gd name="connsiteY157" fmla="*/ 189413 h 1556250"/>
                  <a:gd name="connsiteX158" fmla="*/ 824466 w 1460260"/>
                  <a:gd name="connsiteY158" fmla="*/ 187032 h 1556250"/>
                  <a:gd name="connsiteX159" fmla="*/ 836373 w 1460260"/>
                  <a:gd name="connsiteY159" fmla="*/ 184650 h 1556250"/>
                  <a:gd name="connsiteX160" fmla="*/ 850660 w 1460260"/>
                  <a:gd name="connsiteY160" fmla="*/ 179888 h 1556250"/>
                  <a:gd name="connsiteX161" fmla="*/ 860185 w 1460260"/>
                  <a:gd name="connsiteY161" fmla="*/ 165600 h 1556250"/>
                  <a:gd name="connsiteX162" fmla="*/ 862566 w 1460260"/>
                  <a:gd name="connsiteY162" fmla="*/ 89400 h 1556250"/>
                  <a:gd name="connsiteX163" fmla="*/ 864948 w 1460260"/>
                  <a:gd name="connsiteY163" fmla="*/ 79875 h 1556250"/>
                  <a:gd name="connsiteX164" fmla="*/ 893523 w 1460260"/>
                  <a:gd name="connsiteY164" fmla="*/ 67969 h 1556250"/>
                  <a:gd name="connsiteX165" fmla="*/ 898285 w 1460260"/>
                  <a:gd name="connsiteY165" fmla="*/ 41775 h 1556250"/>
                  <a:gd name="connsiteX166" fmla="*/ 900666 w 1460260"/>
                  <a:gd name="connsiteY166" fmla="*/ 34632 h 1556250"/>
                  <a:gd name="connsiteX167" fmla="*/ 914954 w 1460260"/>
                  <a:gd name="connsiteY167" fmla="*/ 20344 h 1556250"/>
                  <a:gd name="connsiteX168" fmla="*/ 929241 w 1460260"/>
                  <a:gd name="connsiteY168" fmla="*/ 13200 h 1556250"/>
                  <a:gd name="connsiteX169" fmla="*/ 936385 w 1460260"/>
                  <a:gd name="connsiteY169" fmla="*/ 8438 h 1556250"/>
                  <a:gd name="connsiteX170" fmla="*/ 950673 w 1460260"/>
                  <a:gd name="connsiteY170" fmla="*/ 3675 h 1556250"/>
                  <a:gd name="connsiteX171" fmla="*/ 993535 w 1460260"/>
                  <a:gd name="connsiteY171" fmla="*/ 10819 h 1556250"/>
                  <a:gd name="connsiteX172" fmla="*/ 995916 w 1460260"/>
                  <a:gd name="connsiteY172" fmla="*/ 17963 h 1556250"/>
                  <a:gd name="connsiteX173" fmla="*/ 986391 w 1460260"/>
                  <a:gd name="connsiteY173" fmla="*/ 29869 h 1556250"/>
                  <a:gd name="connsiteX174" fmla="*/ 984010 w 1460260"/>
                  <a:gd name="connsiteY174" fmla="*/ 37013 h 1556250"/>
                  <a:gd name="connsiteX175" fmla="*/ 976866 w 1460260"/>
                  <a:gd name="connsiteY175" fmla="*/ 51300 h 1556250"/>
                  <a:gd name="connsiteX176" fmla="*/ 1026873 w 1460260"/>
                  <a:gd name="connsiteY176" fmla="*/ 65588 h 1556250"/>
                  <a:gd name="connsiteX177" fmla="*/ 1031635 w 1460260"/>
                  <a:gd name="connsiteY177" fmla="*/ 72732 h 1556250"/>
                  <a:gd name="connsiteX178" fmla="*/ 1038779 w 1460260"/>
                  <a:gd name="connsiteY178" fmla="*/ 87019 h 1556250"/>
                  <a:gd name="connsiteX179" fmla="*/ 1041160 w 1460260"/>
                  <a:gd name="connsiteY179" fmla="*/ 94163 h 1556250"/>
                  <a:gd name="connsiteX180" fmla="*/ 1043541 w 1460260"/>
                  <a:gd name="connsiteY180" fmla="*/ 125119 h 1556250"/>
                  <a:gd name="connsiteX181" fmla="*/ 1053066 w 1460260"/>
                  <a:gd name="connsiteY181" fmla="*/ 127500 h 1556250"/>
                  <a:gd name="connsiteX182" fmla="*/ 1079260 w 1460260"/>
                  <a:gd name="connsiteY182" fmla="*/ 120357 h 1556250"/>
                  <a:gd name="connsiteX183" fmla="*/ 1081641 w 1460260"/>
                  <a:gd name="connsiteY183" fmla="*/ 113213 h 1556250"/>
                  <a:gd name="connsiteX184" fmla="*/ 1084023 w 1460260"/>
                  <a:gd name="connsiteY184" fmla="*/ 91782 h 1556250"/>
                  <a:gd name="connsiteX185" fmla="*/ 1091166 w 1460260"/>
                  <a:gd name="connsiteY185" fmla="*/ 89400 h 1556250"/>
                  <a:gd name="connsiteX186" fmla="*/ 1129266 w 1460260"/>
                  <a:gd name="connsiteY186" fmla="*/ 87019 h 1556250"/>
                  <a:gd name="connsiteX187" fmla="*/ 1134029 w 1460260"/>
                  <a:gd name="connsiteY187" fmla="*/ 77494 h 1556250"/>
                  <a:gd name="connsiteX188" fmla="*/ 1143554 w 1460260"/>
                  <a:gd name="connsiteY188" fmla="*/ 75113 h 1556250"/>
                  <a:gd name="connsiteX189" fmla="*/ 1188798 w 1460260"/>
                  <a:gd name="connsiteY189" fmla="*/ 77494 h 1556250"/>
                  <a:gd name="connsiteX190" fmla="*/ 1193560 w 1460260"/>
                  <a:gd name="connsiteY190" fmla="*/ 91782 h 1556250"/>
                  <a:gd name="connsiteX191" fmla="*/ 1200704 w 1460260"/>
                  <a:gd name="connsiteY191" fmla="*/ 96544 h 1556250"/>
                  <a:gd name="connsiteX192" fmla="*/ 1224516 w 1460260"/>
                  <a:gd name="connsiteY192" fmla="*/ 106069 h 1556250"/>
                  <a:gd name="connsiteX193" fmla="*/ 1238804 w 1460260"/>
                  <a:gd name="connsiteY193" fmla="*/ 117975 h 1556250"/>
                  <a:gd name="connsiteX194" fmla="*/ 1253091 w 1460260"/>
                  <a:gd name="connsiteY194" fmla="*/ 127500 h 1556250"/>
                  <a:gd name="connsiteX195" fmla="*/ 1260235 w 1460260"/>
                  <a:gd name="connsiteY195" fmla="*/ 132263 h 1556250"/>
                  <a:gd name="connsiteX196" fmla="*/ 1274523 w 1460260"/>
                  <a:gd name="connsiteY196" fmla="*/ 137025 h 1556250"/>
                  <a:gd name="connsiteX197" fmla="*/ 1281666 w 1460260"/>
                  <a:gd name="connsiteY197" fmla="*/ 141788 h 1556250"/>
                  <a:gd name="connsiteX198" fmla="*/ 1279285 w 1460260"/>
                  <a:gd name="connsiteY198" fmla="*/ 189413 h 1556250"/>
                  <a:gd name="connsiteX199" fmla="*/ 1274523 w 1460260"/>
                  <a:gd name="connsiteY199" fmla="*/ 210844 h 1556250"/>
                  <a:gd name="connsiteX200" fmla="*/ 1269760 w 1460260"/>
                  <a:gd name="connsiteY200" fmla="*/ 217988 h 1556250"/>
                  <a:gd name="connsiteX201" fmla="*/ 1264998 w 1460260"/>
                  <a:gd name="connsiteY201" fmla="*/ 232275 h 1556250"/>
                  <a:gd name="connsiteX202" fmla="*/ 1260235 w 1460260"/>
                  <a:gd name="connsiteY202" fmla="*/ 251325 h 1556250"/>
                  <a:gd name="connsiteX203" fmla="*/ 1257854 w 1460260"/>
                  <a:gd name="connsiteY203" fmla="*/ 263232 h 1556250"/>
                  <a:gd name="connsiteX204" fmla="*/ 1248329 w 1460260"/>
                  <a:gd name="connsiteY204" fmla="*/ 296569 h 1556250"/>
                  <a:gd name="connsiteX205" fmla="*/ 1231660 w 1460260"/>
                  <a:gd name="connsiteY205" fmla="*/ 320382 h 1556250"/>
                  <a:gd name="connsiteX206" fmla="*/ 1226898 w 1460260"/>
                  <a:gd name="connsiteY206" fmla="*/ 327525 h 1556250"/>
                  <a:gd name="connsiteX207" fmla="*/ 1222135 w 1460260"/>
                  <a:gd name="connsiteY207" fmla="*/ 334669 h 1556250"/>
                  <a:gd name="connsiteX208" fmla="*/ 1212610 w 1460260"/>
                  <a:gd name="connsiteY208" fmla="*/ 356100 h 1556250"/>
                  <a:gd name="connsiteX209" fmla="*/ 1203085 w 1460260"/>
                  <a:gd name="connsiteY209" fmla="*/ 377532 h 1556250"/>
                  <a:gd name="connsiteX210" fmla="*/ 1195941 w 1460260"/>
                  <a:gd name="connsiteY210" fmla="*/ 391819 h 1556250"/>
                  <a:gd name="connsiteX211" fmla="*/ 1186416 w 1460260"/>
                  <a:gd name="connsiteY211" fmla="*/ 408488 h 1556250"/>
                  <a:gd name="connsiteX212" fmla="*/ 1176891 w 1460260"/>
                  <a:gd name="connsiteY212" fmla="*/ 427538 h 1556250"/>
                  <a:gd name="connsiteX213" fmla="*/ 1169748 w 1460260"/>
                  <a:gd name="connsiteY213" fmla="*/ 444207 h 1556250"/>
                  <a:gd name="connsiteX214" fmla="*/ 1164985 w 1460260"/>
                  <a:gd name="connsiteY214" fmla="*/ 451350 h 1556250"/>
                  <a:gd name="connsiteX215" fmla="*/ 1153079 w 1460260"/>
                  <a:gd name="connsiteY215" fmla="*/ 468019 h 1556250"/>
                  <a:gd name="connsiteX216" fmla="*/ 1148316 w 1460260"/>
                  <a:gd name="connsiteY216" fmla="*/ 482307 h 1556250"/>
                  <a:gd name="connsiteX217" fmla="*/ 1138791 w 1460260"/>
                  <a:gd name="connsiteY217" fmla="*/ 498975 h 1556250"/>
                  <a:gd name="connsiteX218" fmla="*/ 1131648 w 1460260"/>
                  <a:gd name="connsiteY218" fmla="*/ 520407 h 1556250"/>
                  <a:gd name="connsiteX219" fmla="*/ 1129266 w 1460260"/>
                  <a:gd name="connsiteY219" fmla="*/ 527550 h 1556250"/>
                  <a:gd name="connsiteX220" fmla="*/ 1119741 w 1460260"/>
                  <a:gd name="connsiteY220" fmla="*/ 541838 h 1556250"/>
                  <a:gd name="connsiteX221" fmla="*/ 1117360 w 1460260"/>
                  <a:gd name="connsiteY221" fmla="*/ 548982 h 1556250"/>
                  <a:gd name="connsiteX222" fmla="*/ 1107835 w 1460260"/>
                  <a:gd name="connsiteY222" fmla="*/ 563269 h 1556250"/>
                  <a:gd name="connsiteX223" fmla="*/ 1098310 w 1460260"/>
                  <a:gd name="connsiteY223" fmla="*/ 584700 h 1556250"/>
                  <a:gd name="connsiteX224" fmla="*/ 1093548 w 1460260"/>
                  <a:gd name="connsiteY224" fmla="*/ 598988 h 1556250"/>
                  <a:gd name="connsiteX225" fmla="*/ 1091166 w 1460260"/>
                  <a:gd name="connsiteY225" fmla="*/ 606132 h 1556250"/>
                  <a:gd name="connsiteX226" fmla="*/ 1093548 w 1460260"/>
                  <a:gd name="connsiteY226" fmla="*/ 615657 h 1556250"/>
                  <a:gd name="connsiteX227" fmla="*/ 1107835 w 1460260"/>
                  <a:gd name="connsiteY227" fmla="*/ 620419 h 1556250"/>
                  <a:gd name="connsiteX228" fmla="*/ 1114979 w 1460260"/>
                  <a:gd name="connsiteY228" fmla="*/ 625182 h 1556250"/>
                  <a:gd name="connsiteX229" fmla="*/ 1124504 w 1460260"/>
                  <a:gd name="connsiteY229" fmla="*/ 639469 h 1556250"/>
                  <a:gd name="connsiteX230" fmla="*/ 1141173 w 1460260"/>
                  <a:gd name="connsiteY230" fmla="*/ 637088 h 1556250"/>
                  <a:gd name="connsiteX231" fmla="*/ 1148316 w 1460260"/>
                  <a:gd name="connsiteY231" fmla="*/ 634707 h 1556250"/>
                  <a:gd name="connsiteX232" fmla="*/ 1153079 w 1460260"/>
                  <a:gd name="connsiteY232" fmla="*/ 627563 h 1556250"/>
                  <a:gd name="connsiteX233" fmla="*/ 1160223 w 1460260"/>
                  <a:gd name="connsiteY233" fmla="*/ 622800 h 1556250"/>
                  <a:gd name="connsiteX234" fmla="*/ 1164985 w 1460260"/>
                  <a:gd name="connsiteY234" fmla="*/ 615657 h 1556250"/>
                  <a:gd name="connsiteX235" fmla="*/ 1179273 w 1460260"/>
                  <a:gd name="connsiteY235" fmla="*/ 606132 h 1556250"/>
                  <a:gd name="connsiteX236" fmla="*/ 1193560 w 1460260"/>
                  <a:gd name="connsiteY236" fmla="*/ 598988 h 1556250"/>
                  <a:gd name="connsiteX237" fmla="*/ 1200704 w 1460260"/>
                  <a:gd name="connsiteY237" fmla="*/ 594225 h 1556250"/>
                  <a:gd name="connsiteX238" fmla="*/ 1224516 w 1460260"/>
                  <a:gd name="connsiteY238" fmla="*/ 572794 h 1556250"/>
                  <a:gd name="connsiteX239" fmla="*/ 1234041 w 1460260"/>
                  <a:gd name="connsiteY239" fmla="*/ 558507 h 1556250"/>
                  <a:gd name="connsiteX240" fmla="*/ 1243566 w 1460260"/>
                  <a:gd name="connsiteY240" fmla="*/ 548982 h 1556250"/>
                  <a:gd name="connsiteX241" fmla="*/ 1255473 w 1460260"/>
                  <a:gd name="connsiteY241" fmla="*/ 534694 h 1556250"/>
                  <a:gd name="connsiteX242" fmla="*/ 1269760 w 1460260"/>
                  <a:gd name="connsiteY242" fmla="*/ 525169 h 1556250"/>
                  <a:gd name="connsiteX243" fmla="*/ 1284048 w 1460260"/>
                  <a:gd name="connsiteY243" fmla="*/ 510882 h 1556250"/>
                  <a:gd name="connsiteX244" fmla="*/ 1291191 w 1460260"/>
                  <a:gd name="connsiteY244" fmla="*/ 503738 h 1556250"/>
                  <a:gd name="connsiteX245" fmla="*/ 1298335 w 1460260"/>
                  <a:gd name="connsiteY245" fmla="*/ 496594 h 1556250"/>
                  <a:gd name="connsiteX246" fmla="*/ 1310241 w 1460260"/>
                  <a:gd name="connsiteY246" fmla="*/ 498975 h 1556250"/>
                  <a:gd name="connsiteX247" fmla="*/ 1322148 w 1460260"/>
                  <a:gd name="connsiteY247" fmla="*/ 515644 h 1556250"/>
                  <a:gd name="connsiteX248" fmla="*/ 1326910 w 1460260"/>
                  <a:gd name="connsiteY248" fmla="*/ 537075 h 1556250"/>
                  <a:gd name="connsiteX249" fmla="*/ 1334054 w 1460260"/>
                  <a:gd name="connsiteY249" fmla="*/ 577557 h 1556250"/>
                  <a:gd name="connsiteX250" fmla="*/ 1341198 w 1460260"/>
                  <a:gd name="connsiteY250" fmla="*/ 591844 h 1556250"/>
                  <a:gd name="connsiteX251" fmla="*/ 1350723 w 1460260"/>
                  <a:gd name="connsiteY251" fmla="*/ 606132 h 1556250"/>
                  <a:gd name="connsiteX252" fmla="*/ 1353104 w 1460260"/>
                  <a:gd name="connsiteY252" fmla="*/ 613275 h 1556250"/>
                  <a:gd name="connsiteX253" fmla="*/ 1357866 w 1460260"/>
                  <a:gd name="connsiteY253" fmla="*/ 620419 h 1556250"/>
                  <a:gd name="connsiteX254" fmla="*/ 1372154 w 1460260"/>
                  <a:gd name="connsiteY254" fmla="*/ 639469 h 1556250"/>
                  <a:gd name="connsiteX255" fmla="*/ 1376916 w 1460260"/>
                  <a:gd name="connsiteY255" fmla="*/ 646613 h 1556250"/>
                  <a:gd name="connsiteX256" fmla="*/ 1386441 w 1460260"/>
                  <a:gd name="connsiteY256" fmla="*/ 651375 h 1556250"/>
                  <a:gd name="connsiteX257" fmla="*/ 1400729 w 1460260"/>
                  <a:gd name="connsiteY257" fmla="*/ 660900 h 1556250"/>
                  <a:gd name="connsiteX258" fmla="*/ 1407873 w 1460260"/>
                  <a:gd name="connsiteY258" fmla="*/ 668044 h 1556250"/>
                  <a:gd name="connsiteX259" fmla="*/ 1429304 w 1460260"/>
                  <a:gd name="connsiteY259" fmla="*/ 684713 h 1556250"/>
                  <a:gd name="connsiteX260" fmla="*/ 1434066 w 1460260"/>
                  <a:gd name="connsiteY260" fmla="*/ 694238 h 1556250"/>
                  <a:gd name="connsiteX261" fmla="*/ 1441210 w 1460260"/>
                  <a:gd name="connsiteY261" fmla="*/ 701382 h 1556250"/>
                  <a:gd name="connsiteX262" fmla="*/ 1450735 w 1460260"/>
                  <a:gd name="connsiteY262" fmla="*/ 713288 h 1556250"/>
                  <a:gd name="connsiteX263" fmla="*/ 1453116 w 1460260"/>
                  <a:gd name="connsiteY263" fmla="*/ 720432 h 1556250"/>
                  <a:gd name="connsiteX264" fmla="*/ 1460260 w 1460260"/>
                  <a:gd name="connsiteY264" fmla="*/ 751388 h 1556250"/>
                  <a:gd name="connsiteX265" fmla="*/ 1457879 w 1460260"/>
                  <a:gd name="connsiteY265" fmla="*/ 799013 h 1556250"/>
                  <a:gd name="connsiteX266" fmla="*/ 1445973 w 1460260"/>
                  <a:gd name="connsiteY266" fmla="*/ 813300 h 1556250"/>
                  <a:gd name="connsiteX267" fmla="*/ 1431685 w 1460260"/>
                  <a:gd name="connsiteY267" fmla="*/ 829969 h 1556250"/>
                  <a:gd name="connsiteX268" fmla="*/ 1429304 w 1460260"/>
                  <a:gd name="connsiteY268" fmla="*/ 837113 h 1556250"/>
                  <a:gd name="connsiteX269" fmla="*/ 1419779 w 1460260"/>
                  <a:gd name="connsiteY269" fmla="*/ 851400 h 1556250"/>
                  <a:gd name="connsiteX270" fmla="*/ 1412635 w 1460260"/>
                  <a:gd name="connsiteY270" fmla="*/ 870450 h 1556250"/>
                  <a:gd name="connsiteX271" fmla="*/ 1405491 w 1460260"/>
                  <a:gd name="connsiteY271" fmla="*/ 894263 h 1556250"/>
                  <a:gd name="connsiteX272" fmla="*/ 1403110 w 1460260"/>
                  <a:gd name="connsiteY272" fmla="*/ 918075 h 1556250"/>
                  <a:gd name="connsiteX273" fmla="*/ 1398348 w 1460260"/>
                  <a:gd name="connsiteY273" fmla="*/ 968082 h 1556250"/>
                  <a:gd name="connsiteX274" fmla="*/ 1395966 w 1460260"/>
                  <a:gd name="connsiteY274" fmla="*/ 975225 h 1556250"/>
                  <a:gd name="connsiteX275" fmla="*/ 1386441 w 1460260"/>
                  <a:gd name="connsiteY275" fmla="*/ 989513 h 1556250"/>
                  <a:gd name="connsiteX276" fmla="*/ 1372154 w 1460260"/>
                  <a:gd name="connsiteY276" fmla="*/ 999038 h 1556250"/>
                  <a:gd name="connsiteX277" fmla="*/ 1365010 w 1460260"/>
                  <a:gd name="connsiteY277" fmla="*/ 1003800 h 1556250"/>
                  <a:gd name="connsiteX278" fmla="*/ 1350723 w 1460260"/>
                  <a:gd name="connsiteY278" fmla="*/ 1008563 h 1556250"/>
                  <a:gd name="connsiteX279" fmla="*/ 1343579 w 1460260"/>
                  <a:gd name="connsiteY279" fmla="*/ 1010944 h 1556250"/>
                  <a:gd name="connsiteX280" fmla="*/ 1336435 w 1460260"/>
                  <a:gd name="connsiteY280" fmla="*/ 1013325 h 1556250"/>
                  <a:gd name="connsiteX281" fmla="*/ 1319766 w 1460260"/>
                  <a:gd name="connsiteY281" fmla="*/ 1029994 h 1556250"/>
                  <a:gd name="connsiteX282" fmla="*/ 1312623 w 1460260"/>
                  <a:gd name="connsiteY282" fmla="*/ 1037138 h 1556250"/>
                  <a:gd name="connsiteX283" fmla="*/ 1307860 w 1460260"/>
                  <a:gd name="connsiteY283" fmla="*/ 1044282 h 1556250"/>
                  <a:gd name="connsiteX284" fmla="*/ 1300716 w 1460260"/>
                  <a:gd name="connsiteY284" fmla="*/ 1051425 h 1556250"/>
                  <a:gd name="connsiteX285" fmla="*/ 1295954 w 1460260"/>
                  <a:gd name="connsiteY285" fmla="*/ 1058569 h 1556250"/>
                  <a:gd name="connsiteX286" fmla="*/ 1291191 w 1460260"/>
                  <a:gd name="connsiteY286" fmla="*/ 1072857 h 1556250"/>
                  <a:gd name="connsiteX287" fmla="*/ 1293573 w 1460260"/>
                  <a:gd name="connsiteY287" fmla="*/ 1132388 h 1556250"/>
                  <a:gd name="connsiteX288" fmla="*/ 1298335 w 1460260"/>
                  <a:gd name="connsiteY288" fmla="*/ 1139532 h 1556250"/>
                  <a:gd name="connsiteX289" fmla="*/ 1312623 w 1460260"/>
                  <a:gd name="connsiteY289" fmla="*/ 1153819 h 1556250"/>
                  <a:gd name="connsiteX290" fmla="*/ 1319766 w 1460260"/>
                  <a:gd name="connsiteY290" fmla="*/ 1168107 h 1556250"/>
                  <a:gd name="connsiteX291" fmla="*/ 1324529 w 1460260"/>
                  <a:gd name="connsiteY291" fmla="*/ 1182394 h 1556250"/>
                  <a:gd name="connsiteX292" fmla="*/ 1326910 w 1460260"/>
                  <a:gd name="connsiteY292" fmla="*/ 1189538 h 1556250"/>
                  <a:gd name="connsiteX293" fmla="*/ 1329291 w 1460260"/>
                  <a:gd name="connsiteY293" fmla="*/ 1196682 h 1556250"/>
                  <a:gd name="connsiteX294" fmla="*/ 1331673 w 1460260"/>
                  <a:gd name="connsiteY294" fmla="*/ 1206207 h 1556250"/>
                  <a:gd name="connsiteX295" fmla="*/ 1331673 w 1460260"/>
                  <a:gd name="connsiteY295" fmla="*/ 1389563 h 1556250"/>
                  <a:gd name="connsiteX296" fmla="*/ 1338816 w 1460260"/>
                  <a:gd name="connsiteY296" fmla="*/ 1422900 h 1556250"/>
                  <a:gd name="connsiteX297" fmla="*/ 1345960 w 1460260"/>
                  <a:gd name="connsiteY297" fmla="*/ 1427663 h 1556250"/>
                  <a:gd name="connsiteX298" fmla="*/ 1355485 w 1460260"/>
                  <a:gd name="connsiteY298" fmla="*/ 1441950 h 1556250"/>
                  <a:gd name="connsiteX299" fmla="*/ 1360248 w 1460260"/>
                  <a:gd name="connsiteY299" fmla="*/ 1449094 h 1556250"/>
                  <a:gd name="connsiteX300" fmla="*/ 1362629 w 1460260"/>
                  <a:gd name="connsiteY300" fmla="*/ 1458619 h 1556250"/>
                  <a:gd name="connsiteX301" fmla="*/ 1365010 w 1460260"/>
                  <a:gd name="connsiteY301" fmla="*/ 1472907 h 1556250"/>
                  <a:gd name="connsiteX302" fmla="*/ 1369773 w 1460260"/>
                  <a:gd name="connsiteY302" fmla="*/ 1487194 h 1556250"/>
                  <a:gd name="connsiteX303" fmla="*/ 1372154 w 1460260"/>
                  <a:gd name="connsiteY303" fmla="*/ 1494338 h 1556250"/>
                  <a:gd name="connsiteX304" fmla="*/ 1376916 w 1460260"/>
                  <a:gd name="connsiteY304" fmla="*/ 1501482 h 1556250"/>
                  <a:gd name="connsiteX305" fmla="*/ 1391204 w 1460260"/>
                  <a:gd name="connsiteY305" fmla="*/ 1525294 h 1556250"/>
                  <a:gd name="connsiteX306" fmla="*/ 1407873 w 1460260"/>
                  <a:gd name="connsiteY306" fmla="*/ 1546725 h 1556250"/>
                  <a:gd name="connsiteX307" fmla="*/ 1412635 w 1460260"/>
                  <a:gd name="connsiteY307" fmla="*/ 1556250 h 155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Lst>
                <a:rect l="l" t="t" r="r" b="b"/>
                <a:pathLst>
                  <a:path w="1460260" h="1556250">
                    <a:moveTo>
                      <a:pt x="145810" y="1549107"/>
                    </a:moveTo>
                    <a:cubicBezTo>
                      <a:pt x="145016" y="1542757"/>
                      <a:pt x="144574" y="1536353"/>
                      <a:pt x="143429" y="1530057"/>
                    </a:cubicBezTo>
                    <a:cubicBezTo>
                      <a:pt x="142980" y="1527587"/>
                      <a:pt x="141497" y="1525383"/>
                      <a:pt x="141048" y="1522913"/>
                    </a:cubicBezTo>
                    <a:cubicBezTo>
                      <a:pt x="139903" y="1516617"/>
                      <a:pt x="139460" y="1510213"/>
                      <a:pt x="138666" y="1503863"/>
                    </a:cubicBezTo>
                    <a:cubicBezTo>
                      <a:pt x="137872" y="1490369"/>
                      <a:pt x="138033" y="1476785"/>
                      <a:pt x="136285" y="1463382"/>
                    </a:cubicBezTo>
                    <a:cubicBezTo>
                      <a:pt x="135636" y="1458404"/>
                      <a:pt x="132349" y="1454046"/>
                      <a:pt x="131523" y="1449094"/>
                    </a:cubicBezTo>
                    <a:lnTo>
                      <a:pt x="129141" y="1434807"/>
                    </a:lnTo>
                    <a:cubicBezTo>
                      <a:pt x="125334" y="1381497"/>
                      <a:pt x="130564" y="1415974"/>
                      <a:pt x="124379" y="1394325"/>
                    </a:cubicBezTo>
                    <a:cubicBezTo>
                      <a:pt x="123480" y="1391178"/>
                      <a:pt x="122938" y="1387935"/>
                      <a:pt x="121998" y="1384800"/>
                    </a:cubicBezTo>
                    <a:cubicBezTo>
                      <a:pt x="120555" y="1379992"/>
                      <a:pt x="117235" y="1370513"/>
                      <a:pt x="117235" y="1370513"/>
                    </a:cubicBezTo>
                    <a:cubicBezTo>
                      <a:pt x="117296" y="1369406"/>
                      <a:pt x="115520" y="1333461"/>
                      <a:pt x="121998" y="1320507"/>
                    </a:cubicBezTo>
                    <a:cubicBezTo>
                      <a:pt x="123278" y="1317947"/>
                      <a:pt x="125173" y="1315744"/>
                      <a:pt x="126760" y="1313363"/>
                    </a:cubicBezTo>
                    <a:cubicBezTo>
                      <a:pt x="127554" y="1310188"/>
                      <a:pt x="127326" y="1306561"/>
                      <a:pt x="129141" y="1303838"/>
                    </a:cubicBezTo>
                    <a:cubicBezTo>
                      <a:pt x="130729" y="1301457"/>
                      <a:pt x="134768" y="1301502"/>
                      <a:pt x="136285" y="1299075"/>
                    </a:cubicBezTo>
                    <a:cubicBezTo>
                      <a:pt x="138946" y="1294818"/>
                      <a:pt x="141048" y="1284788"/>
                      <a:pt x="141048" y="1284788"/>
                    </a:cubicBezTo>
                    <a:cubicBezTo>
                      <a:pt x="140254" y="1260182"/>
                      <a:pt x="140656" y="1235508"/>
                      <a:pt x="138666" y="1210969"/>
                    </a:cubicBezTo>
                    <a:cubicBezTo>
                      <a:pt x="137351" y="1194756"/>
                      <a:pt x="132086" y="1195471"/>
                      <a:pt x="119616" y="1187157"/>
                    </a:cubicBezTo>
                    <a:cubicBezTo>
                      <a:pt x="117235" y="1185570"/>
                      <a:pt x="115188" y="1183299"/>
                      <a:pt x="112473" y="1182394"/>
                    </a:cubicBezTo>
                    <a:lnTo>
                      <a:pt x="98185" y="1177632"/>
                    </a:lnTo>
                    <a:cubicBezTo>
                      <a:pt x="95804" y="1176838"/>
                      <a:pt x="93532" y="1175561"/>
                      <a:pt x="91041" y="1175250"/>
                    </a:cubicBezTo>
                    <a:lnTo>
                      <a:pt x="71991" y="1172869"/>
                    </a:lnTo>
                    <a:cubicBezTo>
                      <a:pt x="68816" y="1170488"/>
                      <a:pt x="65479" y="1168308"/>
                      <a:pt x="62466" y="1165725"/>
                    </a:cubicBezTo>
                    <a:cubicBezTo>
                      <a:pt x="46423" y="1151974"/>
                      <a:pt x="63969" y="1164346"/>
                      <a:pt x="48179" y="1153819"/>
                    </a:cubicBezTo>
                    <a:cubicBezTo>
                      <a:pt x="43496" y="1146795"/>
                      <a:pt x="43148" y="1145261"/>
                      <a:pt x="36273" y="1139532"/>
                    </a:cubicBezTo>
                    <a:cubicBezTo>
                      <a:pt x="34074" y="1137700"/>
                      <a:pt x="31510" y="1136357"/>
                      <a:pt x="29129" y="1134769"/>
                    </a:cubicBezTo>
                    <a:cubicBezTo>
                      <a:pt x="16427" y="1115717"/>
                      <a:pt x="33098" y="1138738"/>
                      <a:pt x="17223" y="1122863"/>
                    </a:cubicBezTo>
                    <a:cubicBezTo>
                      <a:pt x="1351" y="1106991"/>
                      <a:pt x="24362" y="1123653"/>
                      <a:pt x="5316" y="1110957"/>
                    </a:cubicBezTo>
                    <a:cubicBezTo>
                      <a:pt x="3729" y="1106194"/>
                      <a:pt x="0" y="1101659"/>
                      <a:pt x="554" y="1096669"/>
                    </a:cubicBezTo>
                    <a:cubicBezTo>
                      <a:pt x="1348" y="1089525"/>
                      <a:pt x="1192" y="1082211"/>
                      <a:pt x="2935" y="1075238"/>
                    </a:cubicBezTo>
                    <a:cubicBezTo>
                      <a:pt x="3629" y="1072461"/>
                      <a:pt x="5866" y="1070293"/>
                      <a:pt x="7698" y="1068094"/>
                    </a:cubicBezTo>
                    <a:cubicBezTo>
                      <a:pt x="13429" y="1061216"/>
                      <a:pt x="14958" y="1060872"/>
                      <a:pt x="21985" y="1056188"/>
                    </a:cubicBezTo>
                    <a:cubicBezTo>
                      <a:pt x="23573" y="1053807"/>
                      <a:pt x="24513" y="1050832"/>
                      <a:pt x="26748" y="1049044"/>
                    </a:cubicBezTo>
                    <a:cubicBezTo>
                      <a:pt x="28708" y="1047476"/>
                      <a:pt x="31646" y="1047785"/>
                      <a:pt x="33891" y="1046663"/>
                    </a:cubicBezTo>
                    <a:cubicBezTo>
                      <a:pt x="36451" y="1045383"/>
                      <a:pt x="38550" y="1043320"/>
                      <a:pt x="41035" y="1041900"/>
                    </a:cubicBezTo>
                    <a:cubicBezTo>
                      <a:pt x="44117" y="1040139"/>
                      <a:pt x="47385" y="1038725"/>
                      <a:pt x="50560" y="1037138"/>
                    </a:cubicBezTo>
                    <a:cubicBezTo>
                      <a:pt x="63635" y="1017525"/>
                      <a:pt x="60795" y="1028530"/>
                      <a:pt x="57704" y="1003800"/>
                    </a:cubicBezTo>
                    <a:cubicBezTo>
                      <a:pt x="58394" y="978282"/>
                      <a:pt x="57302" y="927824"/>
                      <a:pt x="62466" y="894263"/>
                    </a:cubicBezTo>
                    <a:cubicBezTo>
                      <a:pt x="62964" y="891028"/>
                      <a:pt x="64138" y="887933"/>
                      <a:pt x="64848" y="884738"/>
                    </a:cubicBezTo>
                    <a:cubicBezTo>
                      <a:pt x="65726" y="880787"/>
                      <a:pt x="66319" y="876776"/>
                      <a:pt x="67229" y="872832"/>
                    </a:cubicBezTo>
                    <a:cubicBezTo>
                      <a:pt x="68701" y="866454"/>
                      <a:pt x="71991" y="853782"/>
                      <a:pt x="71991" y="853782"/>
                    </a:cubicBezTo>
                    <a:cubicBezTo>
                      <a:pt x="73039" y="842258"/>
                      <a:pt x="71581" y="823235"/>
                      <a:pt x="81516" y="813300"/>
                    </a:cubicBezTo>
                    <a:cubicBezTo>
                      <a:pt x="86131" y="808685"/>
                      <a:pt x="89995" y="808093"/>
                      <a:pt x="95804" y="806157"/>
                    </a:cubicBezTo>
                    <a:cubicBezTo>
                      <a:pt x="101637" y="802268"/>
                      <a:pt x="104784" y="799013"/>
                      <a:pt x="112473" y="799013"/>
                    </a:cubicBezTo>
                    <a:cubicBezTo>
                      <a:pt x="115746" y="799013"/>
                      <a:pt x="118823" y="800600"/>
                      <a:pt x="121998" y="801394"/>
                    </a:cubicBezTo>
                    <a:cubicBezTo>
                      <a:pt x="124379" y="802982"/>
                      <a:pt x="126581" y="804877"/>
                      <a:pt x="129141" y="806157"/>
                    </a:cubicBezTo>
                    <a:cubicBezTo>
                      <a:pt x="131386" y="807280"/>
                      <a:pt x="134325" y="806970"/>
                      <a:pt x="136285" y="808538"/>
                    </a:cubicBezTo>
                    <a:cubicBezTo>
                      <a:pt x="138520" y="810326"/>
                      <a:pt x="139216" y="813483"/>
                      <a:pt x="141048" y="815682"/>
                    </a:cubicBezTo>
                    <a:cubicBezTo>
                      <a:pt x="143204" y="818269"/>
                      <a:pt x="145810" y="820444"/>
                      <a:pt x="148191" y="822825"/>
                    </a:cubicBezTo>
                    <a:cubicBezTo>
                      <a:pt x="150128" y="828633"/>
                      <a:pt x="150721" y="832499"/>
                      <a:pt x="155335" y="837113"/>
                    </a:cubicBezTo>
                    <a:cubicBezTo>
                      <a:pt x="157359" y="839137"/>
                      <a:pt x="160098" y="840288"/>
                      <a:pt x="162479" y="841875"/>
                    </a:cubicBezTo>
                    <a:cubicBezTo>
                      <a:pt x="164066" y="844256"/>
                      <a:pt x="165217" y="846995"/>
                      <a:pt x="167241" y="849019"/>
                    </a:cubicBezTo>
                    <a:cubicBezTo>
                      <a:pt x="183122" y="864901"/>
                      <a:pt x="166442" y="841870"/>
                      <a:pt x="179148" y="860925"/>
                    </a:cubicBezTo>
                    <a:cubicBezTo>
                      <a:pt x="181478" y="867914"/>
                      <a:pt x="183554" y="869883"/>
                      <a:pt x="179148" y="877594"/>
                    </a:cubicBezTo>
                    <a:cubicBezTo>
                      <a:pt x="177477" y="880518"/>
                      <a:pt x="174072" y="882080"/>
                      <a:pt x="172004" y="884738"/>
                    </a:cubicBezTo>
                    <a:cubicBezTo>
                      <a:pt x="168490" y="889256"/>
                      <a:pt x="162479" y="899025"/>
                      <a:pt x="162479" y="899025"/>
                    </a:cubicBezTo>
                    <a:lnTo>
                      <a:pt x="157716" y="913313"/>
                    </a:lnTo>
                    <a:lnTo>
                      <a:pt x="155335" y="920457"/>
                    </a:lnTo>
                    <a:cubicBezTo>
                      <a:pt x="154959" y="925717"/>
                      <a:pt x="155984" y="950115"/>
                      <a:pt x="150573" y="960938"/>
                    </a:cubicBezTo>
                    <a:cubicBezTo>
                      <a:pt x="149293" y="963498"/>
                      <a:pt x="147834" y="966058"/>
                      <a:pt x="145810" y="968082"/>
                    </a:cubicBezTo>
                    <a:cubicBezTo>
                      <a:pt x="143786" y="970106"/>
                      <a:pt x="141047" y="971257"/>
                      <a:pt x="138666" y="972844"/>
                    </a:cubicBezTo>
                    <a:cubicBezTo>
                      <a:pt x="139460" y="988719"/>
                      <a:pt x="139671" y="1004634"/>
                      <a:pt x="141048" y="1020469"/>
                    </a:cubicBezTo>
                    <a:cubicBezTo>
                      <a:pt x="141265" y="1022970"/>
                      <a:pt x="142307" y="1025368"/>
                      <a:pt x="143429" y="1027613"/>
                    </a:cubicBezTo>
                    <a:cubicBezTo>
                      <a:pt x="144709" y="1030173"/>
                      <a:pt x="146359" y="1032558"/>
                      <a:pt x="148191" y="1034757"/>
                    </a:cubicBezTo>
                    <a:cubicBezTo>
                      <a:pt x="150347" y="1037344"/>
                      <a:pt x="152533" y="1040032"/>
                      <a:pt x="155335" y="1041900"/>
                    </a:cubicBezTo>
                    <a:cubicBezTo>
                      <a:pt x="157388" y="1043268"/>
                      <a:pt x="170729" y="1046344"/>
                      <a:pt x="172004" y="1046663"/>
                    </a:cubicBezTo>
                    <a:cubicBezTo>
                      <a:pt x="173423" y="1046460"/>
                      <a:pt x="191279" y="1044925"/>
                      <a:pt x="195816" y="1041900"/>
                    </a:cubicBezTo>
                    <a:cubicBezTo>
                      <a:pt x="198618" y="1040032"/>
                      <a:pt x="200302" y="1036824"/>
                      <a:pt x="202960" y="1034757"/>
                    </a:cubicBezTo>
                    <a:cubicBezTo>
                      <a:pt x="207478" y="1031243"/>
                      <a:pt x="212485" y="1028407"/>
                      <a:pt x="217248" y="1025232"/>
                    </a:cubicBezTo>
                    <a:lnTo>
                      <a:pt x="224391" y="1020469"/>
                    </a:lnTo>
                    <a:cubicBezTo>
                      <a:pt x="225185" y="1018088"/>
                      <a:pt x="227186" y="1015801"/>
                      <a:pt x="226773" y="1013325"/>
                    </a:cubicBezTo>
                    <a:cubicBezTo>
                      <a:pt x="226110" y="1009349"/>
                      <a:pt x="217010" y="1001182"/>
                      <a:pt x="214866" y="999038"/>
                    </a:cubicBezTo>
                    <a:cubicBezTo>
                      <a:pt x="218574" y="973093"/>
                      <a:pt x="218674" y="980442"/>
                      <a:pt x="214866" y="944269"/>
                    </a:cubicBezTo>
                    <a:cubicBezTo>
                      <a:pt x="214603" y="941773"/>
                      <a:pt x="214053" y="939085"/>
                      <a:pt x="212485" y="937125"/>
                    </a:cubicBezTo>
                    <a:cubicBezTo>
                      <a:pt x="210697" y="934890"/>
                      <a:pt x="207722" y="933950"/>
                      <a:pt x="205341" y="932363"/>
                    </a:cubicBezTo>
                    <a:cubicBezTo>
                      <a:pt x="203754" y="929982"/>
                      <a:pt x="200758" y="928075"/>
                      <a:pt x="200579" y="925219"/>
                    </a:cubicBezTo>
                    <a:cubicBezTo>
                      <a:pt x="199934" y="914890"/>
                      <a:pt x="201053" y="904435"/>
                      <a:pt x="202960" y="894263"/>
                    </a:cubicBezTo>
                    <a:cubicBezTo>
                      <a:pt x="203487" y="891450"/>
                      <a:pt x="205891" y="889318"/>
                      <a:pt x="207723" y="887119"/>
                    </a:cubicBezTo>
                    <a:cubicBezTo>
                      <a:pt x="217212" y="875731"/>
                      <a:pt x="211790" y="883730"/>
                      <a:pt x="222010" y="875213"/>
                    </a:cubicBezTo>
                    <a:cubicBezTo>
                      <a:pt x="226526" y="871450"/>
                      <a:pt x="231239" y="866278"/>
                      <a:pt x="233916" y="860925"/>
                    </a:cubicBezTo>
                    <a:cubicBezTo>
                      <a:pt x="235039" y="858680"/>
                      <a:pt x="235504" y="856163"/>
                      <a:pt x="236298" y="853782"/>
                    </a:cubicBezTo>
                    <a:cubicBezTo>
                      <a:pt x="218362" y="841824"/>
                      <a:pt x="241157" y="855865"/>
                      <a:pt x="219629" y="846638"/>
                    </a:cubicBezTo>
                    <a:cubicBezTo>
                      <a:pt x="216998" y="845511"/>
                      <a:pt x="214866" y="843463"/>
                      <a:pt x="212485" y="841875"/>
                    </a:cubicBezTo>
                    <a:cubicBezTo>
                      <a:pt x="210898" y="835525"/>
                      <a:pt x="208007" y="829364"/>
                      <a:pt x="207723" y="822825"/>
                    </a:cubicBezTo>
                    <a:cubicBezTo>
                      <a:pt x="206929" y="804569"/>
                      <a:pt x="210268" y="785653"/>
                      <a:pt x="205341" y="768057"/>
                    </a:cubicBezTo>
                    <a:cubicBezTo>
                      <a:pt x="203987" y="763223"/>
                      <a:pt x="195924" y="764511"/>
                      <a:pt x="191054" y="763294"/>
                    </a:cubicBezTo>
                    <a:cubicBezTo>
                      <a:pt x="187879" y="762500"/>
                      <a:pt x="184749" y="761498"/>
                      <a:pt x="181529" y="760913"/>
                    </a:cubicBezTo>
                    <a:cubicBezTo>
                      <a:pt x="168102" y="758472"/>
                      <a:pt x="163496" y="758919"/>
                      <a:pt x="150573" y="756150"/>
                    </a:cubicBezTo>
                    <a:cubicBezTo>
                      <a:pt x="144173" y="754778"/>
                      <a:pt x="131523" y="751388"/>
                      <a:pt x="131523" y="751388"/>
                    </a:cubicBezTo>
                    <a:cubicBezTo>
                      <a:pt x="130729" y="748213"/>
                      <a:pt x="129141" y="745136"/>
                      <a:pt x="129141" y="741863"/>
                    </a:cubicBezTo>
                    <a:cubicBezTo>
                      <a:pt x="129141" y="736584"/>
                      <a:pt x="130179" y="720739"/>
                      <a:pt x="133904" y="713288"/>
                    </a:cubicBezTo>
                    <a:cubicBezTo>
                      <a:pt x="143139" y="694815"/>
                      <a:pt x="135058" y="716964"/>
                      <a:pt x="141048" y="699000"/>
                    </a:cubicBezTo>
                    <a:cubicBezTo>
                      <a:pt x="140254" y="688681"/>
                      <a:pt x="141509" y="677995"/>
                      <a:pt x="138666" y="668044"/>
                    </a:cubicBezTo>
                    <a:cubicBezTo>
                      <a:pt x="137976" y="665631"/>
                      <a:pt x="133611" y="667055"/>
                      <a:pt x="131523" y="665663"/>
                    </a:cubicBezTo>
                    <a:cubicBezTo>
                      <a:pt x="128721" y="663795"/>
                      <a:pt x="126966" y="660675"/>
                      <a:pt x="124379" y="658519"/>
                    </a:cubicBezTo>
                    <a:cubicBezTo>
                      <a:pt x="122180" y="656687"/>
                      <a:pt x="119616" y="655344"/>
                      <a:pt x="117235" y="653757"/>
                    </a:cubicBezTo>
                    <a:cubicBezTo>
                      <a:pt x="111438" y="636364"/>
                      <a:pt x="113691" y="644339"/>
                      <a:pt x="110091" y="629944"/>
                    </a:cubicBezTo>
                    <a:cubicBezTo>
                      <a:pt x="110885" y="622800"/>
                      <a:pt x="110017" y="615268"/>
                      <a:pt x="112473" y="608513"/>
                    </a:cubicBezTo>
                    <a:cubicBezTo>
                      <a:pt x="113451" y="605824"/>
                      <a:pt x="116855" y="604503"/>
                      <a:pt x="119616" y="603750"/>
                    </a:cubicBezTo>
                    <a:cubicBezTo>
                      <a:pt x="125790" y="602066"/>
                      <a:pt x="132316" y="602163"/>
                      <a:pt x="138666" y="601369"/>
                    </a:cubicBezTo>
                    <a:cubicBezTo>
                      <a:pt x="157626" y="582410"/>
                      <a:pt x="145274" y="589862"/>
                      <a:pt x="162479" y="584700"/>
                    </a:cubicBezTo>
                    <a:cubicBezTo>
                      <a:pt x="167287" y="583257"/>
                      <a:pt x="176766" y="579938"/>
                      <a:pt x="176766" y="579938"/>
                    </a:cubicBezTo>
                    <a:cubicBezTo>
                      <a:pt x="194229" y="580732"/>
                      <a:pt x="211721" y="581028"/>
                      <a:pt x="229154" y="582319"/>
                    </a:cubicBezTo>
                    <a:cubicBezTo>
                      <a:pt x="233190" y="582618"/>
                      <a:pt x="237013" y="584700"/>
                      <a:pt x="241060" y="584700"/>
                    </a:cubicBezTo>
                    <a:cubicBezTo>
                      <a:pt x="288692" y="584700"/>
                      <a:pt x="336310" y="583113"/>
                      <a:pt x="383935" y="582319"/>
                    </a:cubicBezTo>
                    <a:cubicBezTo>
                      <a:pt x="394852" y="565943"/>
                      <a:pt x="391650" y="573462"/>
                      <a:pt x="395841" y="560888"/>
                    </a:cubicBezTo>
                    <a:cubicBezTo>
                      <a:pt x="394964" y="554750"/>
                      <a:pt x="394403" y="543723"/>
                      <a:pt x="391079" y="537075"/>
                    </a:cubicBezTo>
                    <a:cubicBezTo>
                      <a:pt x="389799" y="534515"/>
                      <a:pt x="387979" y="532261"/>
                      <a:pt x="386316" y="529932"/>
                    </a:cubicBezTo>
                    <a:cubicBezTo>
                      <a:pt x="371560" y="509275"/>
                      <a:pt x="385626" y="530086"/>
                      <a:pt x="374410" y="513263"/>
                    </a:cubicBezTo>
                    <a:cubicBezTo>
                      <a:pt x="369374" y="493117"/>
                      <a:pt x="376235" y="513619"/>
                      <a:pt x="364885" y="496594"/>
                    </a:cubicBezTo>
                    <a:cubicBezTo>
                      <a:pt x="363493" y="494505"/>
                      <a:pt x="363627" y="491695"/>
                      <a:pt x="362504" y="489450"/>
                    </a:cubicBezTo>
                    <a:cubicBezTo>
                      <a:pt x="361224" y="486890"/>
                      <a:pt x="359329" y="484688"/>
                      <a:pt x="357741" y="482307"/>
                    </a:cubicBezTo>
                    <a:cubicBezTo>
                      <a:pt x="356154" y="477544"/>
                      <a:pt x="351995" y="472942"/>
                      <a:pt x="352979" y="468019"/>
                    </a:cubicBezTo>
                    <a:cubicBezTo>
                      <a:pt x="354882" y="458503"/>
                      <a:pt x="355379" y="448162"/>
                      <a:pt x="364885" y="441825"/>
                    </a:cubicBezTo>
                    <a:cubicBezTo>
                      <a:pt x="367266" y="440238"/>
                      <a:pt x="369890" y="438964"/>
                      <a:pt x="372029" y="437063"/>
                    </a:cubicBezTo>
                    <a:cubicBezTo>
                      <a:pt x="377424" y="432267"/>
                      <a:pt x="385350" y="421617"/>
                      <a:pt x="393460" y="418013"/>
                    </a:cubicBezTo>
                    <a:cubicBezTo>
                      <a:pt x="398048" y="415974"/>
                      <a:pt x="402985" y="414838"/>
                      <a:pt x="407748" y="413250"/>
                    </a:cubicBezTo>
                    <a:cubicBezTo>
                      <a:pt x="410129" y="412456"/>
                      <a:pt x="412803" y="412261"/>
                      <a:pt x="414891" y="410869"/>
                    </a:cubicBezTo>
                    <a:lnTo>
                      <a:pt x="429179" y="401344"/>
                    </a:lnTo>
                    <a:cubicBezTo>
                      <a:pt x="431560" y="399757"/>
                      <a:pt x="434034" y="398299"/>
                      <a:pt x="436323" y="396582"/>
                    </a:cubicBezTo>
                    <a:cubicBezTo>
                      <a:pt x="439498" y="394201"/>
                      <a:pt x="442483" y="391542"/>
                      <a:pt x="445848" y="389438"/>
                    </a:cubicBezTo>
                    <a:cubicBezTo>
                      <a:pt x="448858" y="387557"/>
                      <a:pt x="452329" y="386501"/>
                      <a:pt x="455373" y="384675"/>
                    </a:cubicBezTo>
                    <a:cubicBezTo>
                      <a:pt x="460281" y="381730"/>
                      <a:pt x="465613" y="379197"/>
                      <a:pt x="469660" y="375150"/>
                    </a:cubicBezTo>
                    <a:cubicBezTo>
                      <a:pt x="480960" y="363850"/>
                      <a:pt x="474925" y="367045"/>
                      <a:pt x="486329" y="363244"/>
                    </a:cubicBezTo>
                    <a:cubicBezTo>
                      <a:pt x="507202" y="342371"/>
                      <a:pt x="480724" y="367915"/>
                      <a:pt x="500616" y="351338"/>
                    </a:cubicBezTo>
                    <a:cubicBezTo>
                      <a:pt x="508834" y="344489"/>
                      <a:pt x="510011" y="338681"/>
                      <a:pt x="522048" y="334669"/>
                    </a:cubicBezTo>
                    <a:lnTo>
                      <a:pt x="543479" y="327525"/>
                    </a:lnTo>
                    <a:cubicBezTo>
                      <a:pt x="545860" y="326731"/>
                      <a:pt x="548188" y="325753"/>
                      <a:pt x="550623" y="325144"/>
                    </a:cubicBezTo>
                    <a:cubicBezTo>
                      <a:pt x="553798" y="324350"/>
                      <a:pt x="557001" y="323662"/>
                      <a:pt x="560148" y="322763"/>
                    </a:cubicBezTo>
                    <a:cubicBezTo>
                      <a:pt x="562561" y="322074"/>
                      <a:pt x="564830" y="320874"/>
                      <a:pt x="567291" y="320382"/>
                    </a:cubicBezTo>
                    <a:cubicBezTo>
                      <a:pt x="572795" y="319281"/>
                      <a:pt x="578404" y="318794"/>
                      <a:pt x="583960" y="318000"/>
                    </a:cubicBezTo>
                    <a:cubicBezTo>
                      <a:pt x="587135" y="315619"/>
                      <a:pt x="590256" y="313164"/>
                      <a:pt x="593485" y="310857"/>
                    </a:cubicBezTo>
                    <a:cubicBezTo>
                      <a:pt x="595814" y="309193"/>
                      <a:pt x="598744" y="308248"/>
                      <a:pt x="600629" y="306094"/>
                    </a:cubicBezTo>
                    <a:cubicBezTo>
                      <a:pt x="604398" y="301787"/>
                      <a:pt x="610154" y="291807"/>
                      <a:pt x="610154" y="291807"/>
                    </a:cubicBezTo>
                    <a:cubicBezTo>
                      <a:pt x="610948" y="287044"/>
                      <a:pt x="611671" y="282269"/>
                      <a:pt x="612535" y="277519"/>
                    </a:cubicBezTo>
                    <a:cubicBezTo>
                      <a:pt x="613259" y="273537"/>
                      <a:pt x="613934" y="269539"/>
                      <a:pt x="614916" y="265613"/>
                    </a:cubicBezTo>
                    <a:cubicBezTo>
                      <a:pt x="615525" y="263178"/>
                      <a:pt x="615338" y="260037"/>
                      <a:pt x="617298" y="258469"/>
                    </a:cubicBezTo>
                    <a:cubicBezTo>
                      <a:pt x="619854" y="256425"/>
                      <a:pt x="623563" y="256371"/>
                      <a:pt x="626823" y="256088"/>
                    </a:cubicBezTo>
                    <a:cubicBezTo>
                      <a:pt x="641868" y="254780"/>
                      <a:pt x="656985" y="254501"/>
                      <a:pt x="672066" y="253707"/>
                    </a:cubicBezTo>
                    <a:cubicBezTo>
                      <a:pt x="674447" y="252913"/>
                      <a:pt x="677121" y="252717"/>
                      <a:pt x="679210" y="251325"/>
                    </a:cubicBezTo>
                    <a:cubicBezTo>
                      <a:pt x="682012" y="249457"/>
                      <a:pt x="683767" y="246338"/>
                      <a:pt x="686354" y="244182"/>
                    </a:cubicBezTo>
                    <a:cubicBezTo>
                      <a:pt x="688553" y="242350"/>
                      <a:pt x="691117" y="241007"/>
                      <a:pt x="693498" y="239419"/>
                    </a:cubicBezTo>
                    <a:cubicBezTo>
                      <a:pt x="699054" y="240213"/>
                      <a:pt x="705037" y="239521"/>
                      <a:pt x="710166" y="241800"/>
                    </a:cubicBezTo>
                    <a:cubicBezTo>
                      <a:pt x="712781" y="242962"/>
                      <a:pt x="714329" y="246145"/>
                      <a:pt x="714929" y="248944"/>
                    </a:cubicBezTo>
                    <a:cubicBezTo>
                      <a:pt x="716766" y="257517"/>
                      <a:pt x="714538" y="266821"/>
                      <a:pt x="717310" y="275138"/>
                    </a:cubicBezTo>
                    <a:cubicBezTo>
                      <a:pt x="718104" y="277519"/>
                      <a:pt x="722073" y="276725"/>
                      <a:pt x="724454" y="277519"/>
                    </a:cubicBezTo>
                    <a:cubicBezTo>
                      <a:pt x="726835" y="276725"/>
                      <a:pt x="729419" y="276383"/>
                      <a:pt x="731598" y="275138"/>
                    </a:cubicBezTo>
                    <a:cubicBezTo>
                      <a:pt x="736617" y="272270"/>
                      <a:pt x="744426" y="265458"/>
                      <a:pt x="748266" y="260850"/>
                    </a:cubicBezTo>
                    <a:cubicBezTo>
                      <a:pt x="750098" y="258652"/>
                      <a:pt x="751005" y="255731"/>
                      <a:pt x="753029" y="253707"/>
                    </a:cubicBezTo>
                    <a:cubicBezTo>
                      <a:pt x="755053" y="251683"/>
                      <a:pt x="757974" y="250776"/>
                      <a:pt x="760173" y="248944"/>
                    </a:cubicBezTo>
                    <a:cubicBezTo>
                      <a:pt x="762760" y="246788"/>
                      <a:pt x="764935" y="244181"/>
                      <a:pt x="767316" y="241800"/>
                    </a:cubicBezTo>
                    <a:cubicBezTo>
                      <a:pt x="772079" y="242594"/>
                      <a:pt x="776891" y="243135"/>
                      <a:pt x="781604" y="244182"/>
                    </a:cubicBezTo>
                    <a:cubicBezTo>
                      <a:pt x="784054" y="244727"/>
                      <a:pt x="786238" y="246563"/>
                      <a:pt x="788748" y="246563"/>
                    </a:cubicBezTo>
                    <a:cubicBezTo>
                      <a:pt x="802265" y="246563"/>
                      <a:pt x="815735" y="244976"/>
                      <a:pt x="829229" y="244182"/>
                    </a:cubicBezTo>
                    <a:cubicBezTo>
                      <a:pt x="828435" y="241801"/>
                      <a:pt x="827971" y="239283"/>
                      <a:pt x="826848" y="237038"/>
                    </a:cubicBezTo>
                    <a:cubicBezTo>
                      <a:pt x="824347" y="232035"/>
                      <a:pt x="819249" y="226101"/>
                      <a:pt x="814941" y="222750"/>
                    </a:cubicBezTo>
                    <a:cubicBezTo>
                      <a:pt x="810423" y="219236"/>
                      <a:pt x="800654" y="213225"/>
                      <a:pt x="800654" y="213225"/>
                    </a:cubicBezTo>
                    <a:cubicBezTo>
                      <a:pt x="802928" y="207539"/>
                      <a:pt x="805422" y="198931"/>
                      <a:pt x="810179" y="194175"/>
                    </a:cubicBezTo>
                    <a:cubicBezTo>
                      <a:pt x="812203" y="192151"/>
                      <a:pt x="814763" y="190693"/>
                      <a:pt x="817323" y="189413"/>
                    </a:cubicBezTo>
                    <a:cubicBezTo>
                      <a:pt x="819568" y="188291"/>
                      <a:pt x="822031" y="187641"/>
                      <a:pt x="824466" y="187032"/>
                    </a:cubicBezTo>
                    <a:cubicBezTo>
                      <a:pt x="828393" y="186050"/>
                      <a:pt x="832468" y="185715"/>
                      <a:pt x="836373" y="184650"/>
                    </a:cubicBezTo>
                    <a:cubicBezTo>
                      <a:pt x="841216" y="183329"/>
                      <a:pt x="850660" y="179888"/>
                      <a:pt x="850660" y="179888"/>
                    </a:cubicBezTo>
                    <a:cubicBezTo>
                      <a:pt x="853835" y="175125"/>
                      <a:pt x="860006" y="171321"/>
                      <a:pt x="860185" y="165600"/>
                    </a:cubicBezTo>
                    <a:cubicBezTo>
                      <a:pt x="860979" y="140200"/>
                      <a:pt x="861156" y="114773"/>
                      <a:pt x="862566" y="89400"/>
                    </a:cubicBezTo>
                    <a:cubicBezTo>
                      <a:pt x="862748" y="86132"/>
                      <a:pt x="862793" y="82338"/>
                      <a:pt x="864948" y="79875"/>
                    </a:cubicBezTo>
                    <a:cubicBezTo>
                      <a:pt x="874324" y="69159"/>
                      <a:pt x="881121" y="70036"/>
                      <a:pt x="893523" y="67969"/>
                    </a:cubicBezTo>
                    <a:cubicBezTo>
                      <a:pt x="898984" y="51585"/>
                      <a:pt x="892900" y="71395"/>
                      <a:pt x="898285" y="41775"/>
                    </a:cubicBezTo>
                    <a:cubicBezTo>
                      <a:pt x="898734" y="39306"/>
                      <a:pt x="899125" y="36613"/>
                      <a:pt x="900666" y="34632"/>
                    </a:cubicBezTo>
                    <a:cubicBezTo>
                      <a:pt x="904801" y="29315"/>
                      <a:pt x="909350" y="24080"/>
                      <a:pt x="914954" y="20344"/>
                    </a:cubicBezTo>
                    <a:cubicBezTo>
                      <a:pt x="935428" y="6696"/>
                      <a:pt x="909524" y="23059"/>
                      <a:pt x="929241" y="13200"/>
                    </a:cubicBezTo>
                    <a:cubicBezTo>
                      <a:pt x="931801" y="11920"/>
                      <a:pt x="933770" y="9600"/>
                      <a:pt x="936385" y="8438"/>
                    </a:cubicBezTo>
                    <a:cubicBezTo>
                      <a:pt x="940973" y="6399"/>
                      <a:pt x="950673" y="3675"/>
                      <a:pt x="950673" y="3675"/>
                    </a:cubicBezTo>
                    <a:cubicBezTo>
                      <a:pt x="954150" y="3907"/>
                      <a:pt x="984880" y="0"/>
                      <a:pt x="993535" y="10819"/>
                    </a:cubicBezTo>
                    <a:cubicBezTo>
                      <a:pt x="995103" y="12779"/>
                      <a:pt x="995122" y="15582"/>
                      <a:pt x="995916" y="17963"/>
                    </a:cubicBezTo>
                    <a:cubicBezTo>
                      <a:pt x="989931" y="35920"/>
                      <a:pt x="998701" y="14482"/>
                      <a:pt x="986391" y="29869"/>
                    </a:cubicBezTo>
                    <a:cubicBezTo>
                      <a:pt x="984823" y="31829"/>
                      <a:pt x="985132" y="34768"/>
                      <a:pt x="984010" y="37013"/>
                    </a:cubicBezTo>
                    <a:cubicBezTo>
                      <a:pt x="974774" y="55488"/>
                      <a:pt x="982856" y="33336"/>
                      <a:pt x="976866" y="51300"/>
                    </a:cubicBezTo>
                    <a:cubicBezTo>
                      <a:pt x="982726" y="80593"/>
                      <a:pt x="973791" y="55937"/>
                      <a:pt x="1026873" y="65588"/>
                    </a:cubicBezTo>
                    <a:cubicBezTo>
                      <a:pt x="1029689" y="66100"/>
                      <a:pt x="1030355" y="70172"/>
                      <a:pt x="1031635" y="72732"/>
                    </a:cubicBezTo>
                    <a:cubicBezTo>
                      <a:pt x="1041489" y="92441"/>
                      <a:pt x="1025134" y="66553"/>
                      <a:pt x="1038779" y="87019"/>
                    </a:cubicBezTo>
                    <a:cubicBezTo>
                      <a:pt x="1039573" y="89400"/>
                      <a:pt x="1040849" y="91672"/>
                      <a:pt x="1041160" y="94163"/>
                    </a:cubicBezTo>
                    <a:cubicBezTo>
                      <a:pt x="1042444" y="104432"/>
                      <a:pt x="1040060" y="115373"/>
                      <a:pt x="1043541" y="125119"/>
                    </a:cubicBezTo>
                    <a:cubicBezTo>
                      <a:pt x="1044642" y="128201"/>
                      <a:pt x="1049891" y="126706"/>
                      <a:pt x="1053066" y="127500"/>
                    </a:cubicBezTo>
                    <a:cubicBezTo>
                      <a:pt x="1060497" y="126571"/>
                      <a:pt x="1073257" y="127860"/>
                      <a:pt x="1079260" y="120357"/>
                    </a:cubicBezTo>
                    <a:cubicBezTo>
                      <a:pt x="1080828" y="118397"/>
                      <a:pt x="1080847" y="115594"/>
                      <a:pt x="1081641" y="113213"/>
                    </a:cubicBezTo>
                    <a:cubicBezTo>
                      <a:pt x="1082435" y="106069"/>
                      <a:pt x="1081354" y="98456"/>
                      <a:pt x="1084023" y="91782"/>
                    </a:cubicBezTo>
                    <a:cubicBezTo>
                      <a:pt x="1084955" y="89452"/>
                      <a:pt x="1088670" y="89663"/>
                      <a:pt x="1091166" y="89400"/>
                    </a:cubicBezTo>
                    <a:cubicBezTo>
                      <a:pt x="1103821" y="88068"/>
                      <a:pt x="1116566" y="87813"/>
                      <a:pt x="1129266" y="87019"/>
                    </a:cubicBezTo>
                    <a:cubicBezTo>
                      <a:pt x="1130854" y="83844"/>
                      <a:pt x="1131302" y="79766"/>
                      <a:pt x="1134029" y="77494"/>
                    </a:cubicBezTo>
                    <a:cubicBezTo>
                      <a:pt x="1136543" y="75399"/>
                      <a:pt x="1140281" y="75113"/>
                      <a:pt x="1143554" y="75113"/>
                    </a:cubicBezTo>
                    <a:cubicBezTo>
                      <a:pt x="1158656" y="75113"/>
                      <a:pt x="1173717" y="76700"/>
                      <a:pt x="1188798" y="77494"/>
                    </a:cubicBezTo>
                    <a:cubicBezTo>
                      <a:pt x="1190385" y="82257"/>
                      <a:pt x="1189383" y="88998"/>
                      <a:pt x="1193560" y="91782"/>
                    </a:cubicBezTo>
                    <a:cubicBezTo>
                      <a:pt x="1195941" y="93369"/>
                      <a:pt x="1198089" y="95382"/>
                      <a:pt x="1200704" y="96544"/>
                    </a:cubicBezTo>
                    <a:cubicBezTo>
                      <a:pt x="1222645" y="106296"/>
                      <a:pt x="1207470" y="96328"/>
                      <a:pt x="1224516" y="106069"/>
                    </a:cubicBezTo>
                    <a:cubicBezTo>
                      <a:pt x="1238256" y="113920"/>
                      <a:pt x="1225172" y="107372"/>
                      <a:pt x="1238804" y="117975"/>
                    </a:cubicBezTo>
                    <a:cubicBezTo>
                      <a:pt x="1243322" y="121489"/>
                      <a:pt x="1248329" y="124325"/>
                      <a:pt x="1253091" y="127500"/>
                    </a:cubicBezTo>
                    <a:cubicBezTo>
                      <a:pt x="1255472" y="129088"/>
                      <a:pt x="1257520" y="131358"/>
                      <a:pt x="1260235" y="132263"/>
                    </a:cubicBezTo>
                    <a:lnTo>
                      <a:pt x="1274523" y="137025"/>
                    </a:lnTo>
                    <a:cubicBezTo>
                      <a:pt x="1276904" y="138613"/>
                      <a:pt x="1281407" y="138938"/>
                      <a:pt x="1281666" y="141788"/>
                    </a:cubicBezTo>
                    <a:cubicBezTo>
                      <a:pt x="1283105" y="157618"/>
                      <a:pt x="1280504" y="173565"/>
                      <a:pt x="1279285" y="189413"/>
                    </a:cubicBezTo>
                    <a:cubicBezTo>
                      <a:pt x="1278953" y="193734"/>
                      <a:pt x="1277151" y="205588"/>
                      <a:pt x="1274523" y="210844"/>
                    </a:cubicBezTo>
                    <a:cubicBezTo>
                      <a:pt x="1273243" y="213404"/>
                      <a:pt x="1271348" y="215607"/>
                      <a:pt x="1269760" y="217988"/>
                    </a:cubicBezTo>
                    <a:cubicBezTo>
                      <a:pt x="1268173" y="222750"/>
                      <a:pt x="1266216" y="227405"/>
                      <a:pt x="1264998" y="232275"/>
                    </a:cubicBezTo>
                    <a:lnTo>
                      <a:pt x="1260235" y="251325"/>
                    </a:lnTo>
                    <a:cubicBezTo>
                      <a:pt x="1259253" y="255252"/>
                      <a:pt x="1258764" y="259288"/>
                      <a:pt x="1257854" y="263232"/>
                    </a:cubicBezTo>
                    <a:cubicBezTo>
                      <a:pt x="1257488" y="264817"/>
                      <a:pt x="1250855" y="293202"/>
                      <a:pt x="1248329" y="296569"/>
                    </a:cubicBezTo>
                    <a:cubicBezTo>
                      <a:pt x="1237750" y="310674"/>
                      <a:pt x="1243388" y="302790"/>
                      <a:pt x="1231660" y="320382"/>
                    </a:cubicBezTo>
                    <a:lnTo>
                      <a:pt x="1226898" y="327525"/>
                    </a:lnTo>
                    <a:lnTo>
                      <a:pt x="1222135" y="334669"/>
                    </a:lnTo>
                    <a:cubicBezTo>
                      <a:pt x="1216468" y="351672"/>
                      <a:pt x="1220158" y="344780"/>
                      <a:pt x="1212610" y="356100"/>
                    </a:cubicBezTo>
                    <a:cubicBezTo>
                      <a:pt x="1206943" y="373103"/>
                      <a:pt x="1210633" y="366211"/>
                      <a:pt x="1203085" y="377532"/>
                    </a:cubicBezTo>
                    <a:cubicBezTo>
                      <a:pt x="1197100" y="395488"/>
                      <a:pt x="1205175" y="373352"/>
                      <a:pt x="1195941" y="391819"/>
                    </a:cubicBezTo>
                    <a:cubicBezTo>
                      <a:pt x="1186849" y="410002"/>
                      <a:pt x="1203692" y="385454"/>
                      <a:pt x="1186416" y="408488"/>
                    </a:cubicBezTo>
                    <a:cubicBezTo>
                      <a:pt x="1182238" y="425202"/>
                      <a:pt x="1187011" y="411346"/>
                      <a:pt x="1176891" y="427538"/>
                    </a:cubicBezTo>
                    <a:cubicBezTo>
                      <a:pt x="1164498" y="447367"/>
                      <a:pt x="1177854" y="427997"/>
                      <a:pt x="1169748" y="444207"/>
                    </a:cubicBezTo>
                    <a:cubicBezTo>
                      <a:pt x="1168468" y="446767"/>
                      <a:pt x="1166649" y="449021"/>
                      <a:pt x="1164985" y="451350"/>
                    </a:cubicBezTo>
                    <a:cubicBezTo>
                      <a:pt x="1163947" y="452803"/>
                      <a:pt x="1154401" y="465044"/>
                      <a:pt x="1153079" y="468019"/>
                    </a:cubicBezTo>
                    <a:cubicBezTo>
                      <a:pt x="1151040" y="472607"/>
                      <a:pt x="1150561" y="477817"/>
                      <a:pt x="1148316" y="482307"/>
                    </a:cubicBezTo>
                    <a:cubicBezTo>
                      <a:pt x="1142274" y="494392"/>
                      <a:pt x="1145523" y="488879"/>
                      <a:pt x="1138791" y="498975"/>
                    </a:cubicBezTo>
                    <a:lnTo>
                      <a:pt x="1131648" y="520407"/>
                    </a:lnTo>
                    <a:cubicBezTo>
                      <a:pt x="1130854" y="522788"/>
                      <a:pt x="1130658" y="525462"/>
                      <a:pt x="1129266" y="527550"/>
                    </a:cubicBezTo>
                    <a:lnTo>
                      <a:pt x="1119741" y="541838"/>
                    </a:lnTo>
                    <a:cubicBezTo>
                      <a:pt x="1118947" y="544219"/>
                      <a:pt x="1118579" y="546788"/>
                      <a:pt x="1117360" y="548982"/>
                    </a:cubicBezTo>
                    <a:cubicBezTo>
                      <a:pt x="1114580" y="553985"/>
                      <a:pt x="1107835" y="563269"/>
                      <a:pt x="1107835" y="563269"/>
                    </a:cubicBezTo>
                    <a:cubicBezTo>
                      <a:pt x="1102168" y="580272"/>
                      <a:pt x="1105858" y="573380"/>
                      <a:pt x="1098310" y="584700"/>
                    </a:cubicBezTo>
                    <a:lnTo>
                      <a:pt x="1093548" y="598988"/>
                    </a:lnTo>
                    <a:lnTo>
                      <a:pt x="1091166" y="606132"/>
                    </a:lnTo>
                    <a:cubicBezTo>
                      <a:pt x="1091960" y="609307"/>
                      <a:pt x="1091063" y="613527"/>
                      <a:pt x="1093548" y="615657"/>
                    </a:cubicBezTo>
                    <a:cubicBezTo>
                      <a:pt x="1097359" y="618924"/>
                      <a:pt x="1107835" y="620419"/>
                      <a:pt x="1107835" y="620419"/>
                    </a:cubicBezTo>
                    <a:cubicBezTo>
                      <a:pt x="1110216" y="622007"/>
                      <a:pt x="1113559" y="622697"/>
                      <a:pt x="1114979" y="625182"/>
                    </a:cubicBezTo>
                    <a:cubicBezTo>
                      <a:pt x="1124444" y="641746"/>
                      <a:pt x="1109432" y="634446"/>
                      <a:pt x="1124504" y="639469"/>
                    </a:cubicBezTo>
                    <a:cubicBezTo>
                      <a:pt x="1130060" y="638675"/>
                      <a:pt x="1135669" y="638189"/>
                      <a:pt x="1141173" y="637088"/>
                    </a:cubicBezTo>
                    <a:cubicBezTo>
                      <a:pt x="1143634" y="636596"/>
                      <a:pt x="1146356" y="636275"/>
                      <a:pt x="1148316" y="634707"/>
                    </a:cubicBezTo>
                    <a:cubicBezTo>
                      <a:pt x="1150551" y="632919"/>
                      <a:pt x="1151055" y="629587"/>
                      <a:pt x="1153079" y="627563"/>
                    </a:cubicBezTo>
                    <a:cubicBezTo>
                      <a:pt x="1155103" y="625539"/>
                      <a:pt x="1157842" y="624388"/>
                      <a:pt x="1160223" y="622800"/>
                    </a:cubicBezTo>
                    <a:cubicBezTo>
                      <a:pt x="1161810" y="620419"/>
                      <a:pt x="1162831" y="617541"/>
                      <a:pt x="1164985" y="615657"/>
                    </a:cubicBezTo>
                    <a:cubicBezTo>
                      <a:pt x="1169293" y="611888"/>
                      <a:pt x="1174510" y="609307"/>
                      <a:pt x="1179273" y="606132"/>
                    </a:cubicBezTo>
                    <a:cubicBezTo>
                      <a:pt x="1188507" y="599975"/>
                      <a:pt x="1183698" y="602275"/>
                      <a:pt x="1193560" y="598988"/>
                    </a:cubicBezTo>
                    <a:cubicBezTo>
                      <a:pt x="1195941" y="597400"/>
                      <a:pt x="1198577" y="596140"/>
                      <a:pt x="1200704" y="594225"/>
                    </a:cubicBezTo>
                    <a:cubicBezTo>
                      <a:pt x="1227411" y="570189"/>
                      <a:pt x="1207917" y="583863"/>
                      <a:pt x="1224516" y="572794"/>
                    </a:cubicBezTo>
                    <a:cubicBezTo>
                      <a:pt x="1230180" y="555807"/>
                      <a:pt x="1222149" y="576344"/>
                      <a:pt x="1234041" y="558507"/>
                    </a:cubicBezTo>
                    <a:cubicBezTo>
                      <a:pt x="1241298" y="547622"/>
                      <a:pt x="1229961" y="553517"/>
                      <a:pt x="1243566" y="548982"/>
                    </a:cubicBezTo>
                    <a:cubicBezTo>
                      <a:pt x="1247800" y="542632"/>
                      <a:pt x="1249126" y="539630"/>
                      <a:pt x="1255473" y="534694"/>
                    </a:cubicBezTo>
                    <a:cubicBezTo>
                      <a:pt x="1259991" y="531180"/>
                      <a:pt x="1265713" y="529216"/>
                      <a:pt x="1269760" y="525169"/>
                    </a:cubicBezTo>
                    <a:lnTo>
                      <a:pt x="1284048" y="510882"/>
                    </a:lnTo>
                    <a:lnTo>
                      <a:pt x="1291191" y="503738"/>
                    </a:lnTo>
                    <a:lnTo>
                      <a:pt x="1298335" y="496594"/>
                    </a:lnTo>
                    <a:cubicBezTo>
                      <a:pt x="1302304" y="497388"/>
                      <a:pt x="1306809" y="496830"/>
                      <a:pt x="1310241" y="498975"/>
                    </a:cubicBezTo>
                    <a:cubicBezTo>
                      <a:pt x="1311928" y="500030"/>
                      <a:pt x="1320357" y="512957"/>
                      <a:pt x="1322148" y="515644"/>
                    </a:cubicBezTo>
                    <a:cubicBezTo>
                      <a:pt x="1325395" y="525387"/>
                      <a:pt x="1325386" y="524122"/>
                      <a:pt x="1326910" y="537075"/>
                    </a:cubicBezTo>
                    <a:cubicBezTo>
                      <a:pt x="1327939" y="545822"/>
                      <a:pt x="1327553" y="567805"/>
                      <a:pt x="1334054" y="577557"/>
                    </a:cubicBezTo>
                    <a:cubicBezTo>
                      <a:pt x="1355190" y="609261"/>
                      <a:pt x="1324769" y="562272"/>
                      <a:pt x="1341198" y="591844"/>
                    </a:cubicBezTo>
                    <a:cubicBezTo>
                      <a:pt x="1343978" y="596848"/>
                      <a:pt x="1350723" y="606132"/>
                      <a:pt x="1350723" y="606132"/>
                    </a:cubicBezTo>
                    <a:cubicBezTo>
                      <a:pt x="1351517" y="608513"/>
                      <a:pt x="1351982" y="611030"/>
                      <a:pt x="1353104" y="613275"/>
                    </a:cubicBezTo>
                    <a:cubicBezTo>
                      <a:pt x="1354384" y="615835"/>
                      <a:pt x="1356183" y="618104"/>
                      <a:pt x="1357866" y="620419"/>
                    </a:cubicBezTo>
                    <a:cubicBezTo>
                      <a:pt x="1362535" y="626838"/>
                      <a:pt x="1367751" y="632864"/>
                      <a:pt x="1372154" y="639469"/>
                    </a:cubicBezTo>
                    <a:cubicBezTo>
                      <a:pt x="1373741" y="641850"/>
                      <a:pt x="1374717" y="644781"/>
                      <a:pt x="1376916" y="646613"/>
                    </a:cubicBezTo>
                    <a:cubicBezTo>
                      <a:pt x="1379643" y="648885"/>
                      <a:pt x="1383266" y="649788"/>
                      <a:pt x="1386441" y="651375"/>
                    </a:cubicBezTo>
                    <a:cubicBezTo>
                      <a:pt x="1409231" y="674165"/>
                      <a:pt x="1380051" y="647115"/>
                      <a:pt x="1400729" y="660900"/>
                    </a:cubicBezTo>
                    <a:cubicBezTo>
                      <a:pt x="1403531" y="662768"/>
                      <a:pt x="1405215" y="665976"/>
                      <a:pt x="1407873" y="668044"/>
                    </a:cubicBezTo>
                    <a:cubicBezTo>
                      <a:pt x="1433507" y="687982"/>
                      <a:pt x="1413085" y="668494"/>
                      <a:pt x="1429304" y="684713"/>
                    </a:cubicBezTo>
                    <a:cubicBezTo>
                      <a:pt x="1430891" y="687888"/>
                      <a:pt x="1432003" y="691349"/>
                      <a:pt x="1434066" y="694238"/>
                    </a:cubicBezTo>
                    <a:cubicBezTo>
                      <a:pt x="1436023" y="696978"/>
                      <a:pt x="1439342" y="698580"/>
                      <a:pt x="1441210" y="701382"/>
                    </a:cubicBezTo>
                    <a:cubicBezTo>
                      <a:pt x="1450412" y="715184"/>
                      <a:pt x="1434757" y="702635"/>
                      <a:pt x="1450735" y="713288"/>
                    </a:cubicBezTo>
                    <a:cubicBezTo>
                      <a:pt x="1451529" y="715669"/>
                      <a:pt x="1452456" y="718010"/>
                      <a:pt x="1453116" y="720432"/>
                    </a:cubicBezTo>
                    <a:cubicBezTo>
                      <a:pt x="1457426" y="736237"/>
                      <a:pt x="1457482" y="737498"/>
                      <a:pt x="1460260" y="751388"/>
                    </a:cubicBezTo>
                    <a:cubicBezTo>
                      <a:pt x="1459466" y="767263"/>
                      <a:pt x="1459935" y="783252"/>
                      <a:pt x="1457879" y="799013"/>
                    </a:cubicBezTo>
                    <a:cubicBezTo>
                      <a:pt x="1457339" y="803151"/>
                      <a:pt x="1447973" y="810966"/>
                      <a:pt x="1445973" y="813300"/>
                    </a:cubicBezTo>
                    <a:cubicBezTo>
                      <a:pt x="1427645" y="834683"/>
                      <a:pt x="1449411" y="812243"/>
                      <a:pt x="1431685" y="829969"/>
                    </a:cubicBezTo>
                    <a:cubicBezTo>
                      <a:pt x="1430891" y="832350"/>
                      <a:pt x="1430523" y="834919"/>
                      <a:pt x="1429304" y="837113"/>
                    </a:cubicBezTo>
                    <a:cubicBezTo>
                      <a:pt x="1426524" y="842116"/>
                      <a:pt x="1419779" y="851400"/>
                      <a:pt x="1419779" y="851400"/>
                    </a:cubicBezTo>
                    <a:cubicBezTo>
                      <a:pt x="1414623" y="872026"/>
                      <a:pt x="1420938" y="849692"/>
                      <a:pt x="1412635" y="870450"/>
                    </a:cubicBezTo>
                    <a:cubicBezTo>
                      <a:pt x="1408774" y="880104"/>
                      <a:pt x="1407829" y="884913"/>
                      <a:pt x="1405491" y="894263"/>
                    </a:cubicBezTo>
                    <a:cubicBezTo>
                      <a:pt x="1404697" y="902200"/>
                      <a:pt x="1403722" y="910122"/>
                      <a:pt x="1403110" y="918075"/>
                    </a:cubicBezTo>
                    <a:cubicBezTo>
                      <a:pt x="1401304" y="941557"/>
                      <a:pt x="1402961" y="949632"/>
                      <a:pt x="1398348" y="968082"/>
                    </a:cubicBezTo>
                    <a:cubicBezTo>
                      <a:pt x="1397739" y="970517"/>
                      <a:pt x="1397185" y="973031"/>
                      <a:pt x="1395966" y="975225"/>
                    </a:cubicBezTo>
                    <a:cubicBezTo>
                      <a:pt x="1393186" y="980229"/>
                      <a:pt x="1391204" y="986338"/>
                      <a:pt x="1386441" y="989513"/>
                    </a:cubicBezTo>
                    <a:lnTo>
                      <a:pt x="1372154" y="999038"/>
                    </a:lnTo>
                    <a:cubicBezTo>
                      <a:pt x="1369773" y="1000625"/>
                      <a:pt x="1367725" y="1002895"/>
                      <a:pt x="1365010" y="1003800"/>
                    </a:cubicBezTo>
                    <a:lnTo>
                      <a:pt x="1350723" y="1008563"/>
                    </a:lnTo>
                    <a:lnTo>
                      <a:pt x="1343579" y="1010944"/>
                    </a:lnTo>
                    <a:lnTo>
                      <a:pt x="1336435" y="1013325"/>
                    </a:lnTo>
                    <a:cubicBezTo>
                      <a:pt x="1323630" y="1021862"/>
                      <a:pt x="1333622" y="1014157"/>
                      <a:pt x="1319766" y="1029994"/>
                    </a:cubicBezTo>
                    <a:cubicBezTo>
                      <a:pt x="1317549" y="1032528"/>
                      <a:pt x="1314779" y="1034551"/>
                      <a:pt x="1312623" y="1037138"/>
                    </a:cubicBezTo>
                    <a:cubicBezTo>
                      <a:pt x="1310791" y="1039337"/>
                      <a:pt x="1309692" y="1042083"/>
                      <a:pt x="1307860" y="1044282"/>
                    </a:cubicBezTo>
                    <a:cubicBezTo>
                      <a:pt x="1305704" y="1046869"/>
                      <a:pt x="1302872" y="1048838"/>
                      <a:pt x="1300716" y="1051425"/>
                    </a:cubicBezTo>
                    <a:cubicBezTo>
                      <a:pt x="1298884" y="1053624"/>
                      <a:pt x="1297116" y="1055954"/>
                      <a:pt x="1295954" y="1058569"/>
                    </a:cubicBezTo>
                    <a:cubicBezTo>
                      <a:pt x="1293915" y="1063157"/>
                      <a:pt x="1291191" y="1072857"/>
                      <a:pt x="1291191" y="1072857"/>
                    </a:cubicBezTo>
                    <a:cubicBezTo>
                      <a:pt x="1291985" y="1092701"/>
                      <a:pt x="1291457" y="1112641"/>
                      <a:pt x="1293573" y="1132388"/>
                    </a:cubicBezTo>
                    <a:cubicBezTo>
                      <a:pt x="1293878" y="1135234"/>
                      <a:pt x="1296434" y="1137393"/>
                      <a:pt x="1298335" y="1139532"/>
                    </a:cubicBezTo>
                    <a:cubicBezTo>
                      <a:pt x="1302810" y="1144566"/>
                      <a:pt x="1312623" y="1153819"/>
                      <a:pt x="1312623" y="1153819"/>
                    </a:cubicBezTo>
                    <a:cubicBezTo>
                      <a:pt x="1321302" y="1179859"/>
                      <a:pt x="1307463" y="1140426"/>
                      <a:pt x="1319766" y="1168107"/>
                    </a:cubicBezTo>
                    <a:cubicBezTo>
                      <a:pt x="1321805" y="1172694"/>
                      <a:pt x="1322941" y="1177632"/>
                      <a:pt x="1324529" y="1182394"/>
                    </a:cubicBezTo>
                    <a:lnTo>
                      <a:pt x="1326910" y="1189538"/>
                    </a:lnTo>
                    <a:cubicBezTo>
                      <a:pt x="1327704" y="1191919"/>
                      <a:pt x="1328682" y="1194247"/>
                      <a:pt x="1329291" y="1196682"/>
                    </a:cubicBezTo>
                    <a:lnTo>
                      <a:pt x="1331673" y="1206207"/>
                    </a:lnTo>
                    <a:cubicBezTo>
                      <a:pt x="1338107" y="1457152"/>
                      <a:pt x="1331673" y="1143482"/>
                      <a:pt x="1331673" y="1389563"/>
                    </a:cubicBezTo>
                    <a:cubicBezTo>
                      <a:pt x="1331673" y="1401222"/>
                      <a:pt x="1330052" y="1414136"/>
                      <a:pt x="1338816" y="1422900"/>
                    </a:cubicBezTo>
                    <a:cubicBezTo>
                      <a:pt x="1340840" y="1424924"/>
                      <a:pt x="1343579" y="1426075"/>
                      <a:pt x="1345960" y="1427663"/>
                    </a:cubicBezTo>
                    <a:lnTo>
                      <a:pt x="1355485" y="1441950"/>
                    </a:lnTo>
                    <a:lnTo>
                      <a:pt x="1360248" y="1449094"/>
                    </a:lnTo>
                    <a:cubicBezTo>
                      <a:pt x="1361042" y="1452269"/>
                      <a:pt x="1361987" y="1455410"/>
                      <a:pt x="1362629" y="1458619"/>
                    </a:cubicBezTo>
                    <a:cubicBezTo>
                      <a:pt x="1363576" y="1463354"/>
                      <a:pt x="1363839" y="1468223"/>
                      <a:pt x="1365010" y="1472907"/>
                    </a:cubicBezTo>
                    <a:cubicBezTo>
                      <a:pt x="1366228" y="1477777"/>
                      <a:pt x="1368185" y="1482432"/>
                      <a:pt x="1369773" y="1487194"/>
                    </a:cubicBezTo>
                    <a:cubicBezTo>
                      <a:pt x="1370567" y="1489575"/>
                      <a:pt x="1370762" y="1492249"/>
                      <a:pt x="1372154" y="1494338"/>
                    </a:cubicBezTo>
                    <a:cubicBezTo>
                      <a:pt x="1373741" y="1496719"/>
                      <a:pt x="1375496" y="1498997"/>
                      <a:pt x="1376916" y="1501482"/>
                    </a:cubicBezTo>
                    <a:cubicBezTo>
                      <a:pt x="1381926" y="1510249"/>
                      <a:pt x="1383440" y="1517530"/>
                      <a:pt x="1391204" y="1525294"/>
                    </a:cubicBezTo>
                    <a:cubicBezTo>
                      <a:pt x="1402394" y="1536484"/>
                      <a:pt x="1396482" y="1529638"/>
                      <a:pt x="1407873" y="1546725"/>
                    </a:cubicBezTo>
                    <a:cubicBezTo>
                      <a:pt x="1413075" y="1554528"/>
                      <a:pt x="1412635" y="1551007"/>
                      <a:pt x="1412635" y="1556250"/>
                    </a:cubicBezTo>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1" name="Freeform 10"/>
              <p:cNvSpPr/>
              <p:nvPr/>
            </p:nvSpPr>
            <p:spPr bwMode="gray">
              <a:xfrm>
                <a:off x="4606925" y="4076700"/>
                <a:ext cx="1412394" cy="2009775"/>
              </a:xfrm>
              <a:custGeom>
                <a:avLst/>
                <a:gdLst>
                  <a:gd name="connsiteX0" fmla="*/ 0 w 1412394"/>
                  <a:gd name="connsiteY0" fmla="*/ 114300 h 2009775"/>
                  <a:gd name="connsiteX1" fmla="*/ 6350 w 1412394"/>
                  <a:gd name="connsiteY1" fmla="*/ 165100 h 2009775"/>
                  <a:gd name="connsiteX2" fmla="*/ 9525 w 1412394"/>
                  <a:gd name="connsiteY2" fmla="*/ 180975 h 2009775"/>
                  <a:gd name="connsiteX3" fmla="*/ 15875 w 1412394"/>
                  <a:gd name="connsiteY3" fmla="*/ 200025 h 2009775"/>
                  <a:gd name="connsiteX4" fmla="*/ 25400 w 1412394"/>
                  <a:gd name="connsiteY4" fmla="*/ 241300 h 2009775"/>
                  <a:gd name="connsiteX5" fmla="*/ 34925 w 1412394"/>
                  <a:gd name="connsiteY5" fmla="*/ 247650 h 2009775"/>
                  <a:gd name="connsiteX6" fmla="*/ 47625 w 1412394"/>
                  <a:gd name="connsiteY6" fmla="*/ 266700 h 2009775"/>
                  <a:gd name="connsiteX7" fmla="*/ 63500 w 1412394"/>
                  <a:gd name="connsiteY7" fmla="*/ 295275 h 2009775"/>
                  <a:gd name="connsiteX8" fmla="*/ 69850 w 1412394"/>
                  <a:gd name="connsiteY8" fmla="*/ 304800 h 2009775"/>
                  <a:gd name="connsiteX9" fmla="*/ 88900 w 1412394"/>
                  <a:gd name="connsiteY9" fmla="*/ 323850 h 2009775"/>
                  <a:gd name="connsiteX10" fmla="*/ 95250 w 1412394"/>
                  <a:gd name="connsiteY10" fmla="*/ 333375 h 2009775"/>
                  <a:gd name="connsiteX11" fmla="*/ 127000 w 1412394"/>
                  <a:gd name="connsiteY11" fmla="*/ 346075 h 2009775"/>
                  <a:gd name="connsiteX12" fmla="*/ 146050 w 1412394"/>
                  <a:gd name="connsiteY12" fmla="*/ 355600 h 2009775"/>
                  <a:gd name="connsiteX13" fmla="*/ 146050 w 1412394"/>
                  <a:gd name="connsiteY13" fmla="*/ 422275 h 2009775"/>
                  <a:gd name="connsiteX14" fmla="*/ 136525 w 1412394"/>
                  <a:gd name="connsiteY14" fmla="*/ 431800 h 2009775"/>
                  <a:gd name="connsiteX15" fmla="*/ 123825 w 1412394"/>
                  <a:gd name="connsiteY15" fmla="*/ 450850 h 2009775"/>
                  <a:gd name="connsiteX16" fmla="*/ 111125 w 1412394"/>
                  <a:gd name="connsiteY16" fmla="*/ 466725 h 2009775"/>
                  <a:gd name="connsiteX17" fmla="*/ 95250 w 1412394"/>
                  <a:gd name="connsiteY17" fmla="*/ 584200 h 2009775"/>
                  <a:gd name="connsiteX18" fmla="*/ 92075 w 1412394"/>
                  <a:gd name="connsiteY18" fmla="*/ 593725 h 2009775"/>
                  <a:gd name="connsiteX19" fmla="*/ 73025 w 1412394"/>
                  <a:gd name="connsiteY19" fmla="*/ 612775 h 2009775"/>
                  <a:gd name="connsiteX20" fmla="*/ 63500 w 1412394"/>
                  <a:gd name="connsiteY20" fmla="*/ 641350 h 2009775"/>
                  <a:gd name="connsiteX21" fmla="*/ 60325 w 1412394"/>
                  <a:gd name="connsiteY21" fmla="*/ 650875 h 2009775"/>
                  <a:gd name="connsiteX22" fmla="*/ 63500 w 1412394"/>
                  <a:gd name="connsiteY22" fmla="*/ 736600 h 2009775"/>
                  <a:gd name="connsiteX23" fmla="*/ 66675 w 1412394"/>
                  <a:gd name="connsiteY23" fmla="*/ 749300 h 2009775"/>
                  <a:gd name="connsiteX24" fmla="*/ 85725 w 1412394"/>
                  <a:gd name="connsiteY24" fmla="*/ 762000 h 2009775"/>
                  <a:gd name="connsiteX25" fmla="*/ 120650 w 1412394"/>
                  <a:gd name="connsiteY25" fmla="*/ 765175 h 2009775"/>
                  <a:gd name="connsiteX26" fmla="*/ 117475 w 1412394"/>
                  <a:gd name="connsiteY26" fmla="*/ 793750 h 2009775"/>
                  <a:gd name="connsiteX27" fmla="*/ 101600 w 1412394"/>
                  <a:gd name="connsiteY27" fmla="*/ 809625 h 2009775"/>
                  <a:gd name="connsiteX28" fmla="*/ 92075 w 1412394"/>
                  <a:gd name="connsiteY28" fmla="*/ 812800 h 2009775"/>
                  <a:gd name="connsiteX29" fmla="*/ 63500 w 1412394"/>
                  <a:gd name="connsiteY29" fmla="*/ 828675 h 2009775"/>
                  <a:gd name="connsiteX30" fmla="*/ 53975 w 1412394"/>
                  <a:gd name="connsiteY30" fmla="*/ 838200 h 2009775"/>
                  <a:gd name="connsiteX31" fmla="*/ 19050 w 1412394"/>
                  <a:gd name="connsiteY31" fmla="*/ 844550 h 2009775"/>
                  <a:gd name="connsiteX32" fmla="*/ 9525 w 1412394"/>
                  <a:gd name="connsiteY32" fmla="*/ 847725 h 2009775"/>
                  <a:gd name="connsiteX33" fmla="*/ 9525 w 1412394"/>
                  <a:gd name="connsiteY33" fmla="*/ 866775 h 2009775"/>
                  <a:gd name="connsiteX34" fmla="*/ 12700 w 1412394"/>
                  <a:gd name="connsiteY34" fmla="*/ 898525 h 2009775"/>
                  <a:gd name="connsiteX35" fmla="*/ 19050 w 1412394"/>
                  <a:gd name="connsiteY35" fmla="*/ 908050 h 2009775"/>
                  <a:gd name="connsiteX36" fmla="*/ 22225 w 1412394"/>
                  <a:gd name="connsiteY36" fmla="*/ 917575 h 2009775"/>
                  <a:gd name="connsiteX37" fmla="*/ 25400 w 1412394"/>
                  <a:gd name="connsiteY37" fmla="*/ 955675 h 2009775"/>
                  <a:gd name="connsiteX38" fmla="*/ 28575 w 1412394"/>
                  <a:gd name="connsiteY38" fmla="*/ 971550 h 2009775"/>
                  <a:gd name="connsiteX39" fmla="*/ 38100 w 1412394"/>
                  <a:gd name="connsiteY39" fmla="*/ 977900 h 2009775"/>
                  <a:gd name="connsiteX40" fmla="*/ 53975 w 1412394"/>
                  <a:gd name="connsiteY40" fmla="*/ 974725 h 2009775"/>
                  <a:gd name="connsiteX41" fmla="*/ 73025 w 1412394"/>
                  <a:gd name="connsiteY41" fmla="*/ 968375 h 2009775"/>
                  <a:gd name="connsiteX42" fmla="*/ 98425 w 1412394"/>
                  <a:gd name="connsiteY42" fmla="*/ 971550 h 2009775"/>
                  <a:gd name="connsiteX43" fmla="*/ 111125 w 1412394"/>
                  <a:gd name="connsiteY43" fmla="*/ 974725 h 2009775"/>
                  <a:gd name="connsiteX44" fmla="*/ 149225 w 1412394"/>
                  <a:gd name="connsiteY44" fmla="*/ 977900 h 2009775"/>
                  <a:gd name="connsiteX45" fmla="*/ 168275 w 1412394"/>
                  <a:gd name="connsiteY45" fmla="*/ 984250 h 2009775"/>
                  <a:gd name="connsiteX46" fmla="*/ 184150 w 1412394"/>
                  <a:gd name="connsiteY46" fmla="*/ 1000125 h 2009775"/>
                  <a:gd name="connsiteX47" fmla="*/ 190500 w 1412394"/>
                  <a:gd name="connsiteY47" fmla="*/ 1009650 h 2009775"/>
                  <a:gd name="connsiteX48" fmla="*/ 206375 w 1412394"/>
                  <a:gd name="connsiteY48" fmla="*/ 1038225 h 2009775"/>
                  <a:gd name="connsiteX49" fmla="*/ 215900 w 1412394"/>
                  <a:gd name="connsiteY49" fmla="*/ 1041400 h 2009775"/>
                  <a:gd name="connsiteX50" fmla="*/ 228600 w 1412394"/>
                  <a:gd name="connsiteY50" fmla="*/ 1050925 h 2009775"/>
                  <a:gd name="connsiteX51" fmla="*/ 238125 w 1412394"/>
                  <a:gd name="connsiteY51" fmla="*/ 1060450 h 2009775"/>
                  <a:gd name="connsiteX52" fmla="*/ 257175 w 1412394"/>
                  <a:gd name="connsiteY52" fmla="*/ 1073150 h 2009775"/>
                  <a:gd name="connsiteX53" fmla="*/ 266700 w 1412394"/>
                  <a:gd name="connsiteY53" fmla="*/ 1079500 h 2009775"/>
                  <a:gd name="connsiteX54" fmla="*/ 273050 w 1412394"/>
                  <a:gd name="connsiteY54" fmla="*/ 1089025 h 2009775"/>
                  <a:gd name="connsiteX55" fmla="*/ 266700 w 1412394"/>
                  <a:gd name="connsiteY55" fmla="*/ 1108075 h 2009775"/>
                  <a:gd name="connsiteX56" fmla="*/ 263525 w 1412394"/>
                  <a:gd name="connsiteY56" fmla="*/ 1152525 h 2009775"/>
                  <a:gd name="connsiteX57" fmla="*/ 254000 w 1412394"/>
                  <a:gd name="connsiteY57" fmla="*/ 1162050 h 2009775"/>
                  <a:gd name="connsiteX58" fmla="*/ 238125 w 1412394"/>
                  <a:gd name="connsiteY58" fmla="*/ 1190625 h 2009775"/>
                  <a:gd name="connsiteX59" fmla="*/ 241300 w 1412394"/>
                  <a:gd name="connsiteY59" fmla="*/ 1216025 h 2009775"/>
                  <a:gd name="connsiteX60" fmla="*/ 254000 w 1412394"/>
                  <a:gd name="connsiteY60" fmla="*/ 1238250 h 2009775"/>
                  <a:gd name="connsiteX61" fmla="*/ 266700 w 1412394"/>
                  <a:gd name="connsiteY61" fmla="*/ 1235075 h 2009775"/>
                  <a:gd name="connsiteX62" fmla="*/ 276225 w 1412394"/>
                  <a:gd name="connsiteY62" fmla="*/ 1228725 h 2009775"/>
                  <a:gd name="connsiteX63" fmla="*/ 301625 w 1412394"/>
                  <a:gd name="connsiteY63" fmla="*/ 1231900 h 2009775"/>
                  <a:gd name="connsiteX64" fmla="*/ 311150 w 1412394"/>
                  <a:gd name="connsiteY64" fmla="*/ 1235075 h 2009775"/>
                  <a:gd name="connsiteX65" fmla="*/ 314325 w 1412394"/>
                  <a:gd name="connsiteY65" fmla="*/ 1276350 h 2009775"/>
                  <a:gd name="connsiteX66" fmla="*/ 304800 w 1412394"/>
                  <a:gd name="connsiteY66" fmla="*/ 1282700 h 2009775"/>
                  <a:gd name="connsiteX67" fmla="*/ 292100 w 1412394"/>
                  <a:gd name="connsiteY67" fmla="*/ 1301750 h 2009775"/>
                  <a:gd name="connsiteX68" fmla="*/ 285750 w 1412394"/>
                  <a:gd name="connsiteY68" fmla="*/ 1311275 h 2009775"/>
                  <a:gd name="connsiteX69" fmla="*/ 282575 w 1412394"/>
                  <a:gd name="connsiteY69" fmla="*/ 1320800 h 2009775"/>
                  <a:gd name="connsiteX70" fmla="*/ 279400 w 1412394"/>
                  <a:gd name="connsiteY70" fmla="*/ 1365250 h 2009775"/>
                  <a:gd name="connsiteX71" fmla="*/ 254000 w 1412394"/>
                  <a:gd name="connsiteY71" fmla="*/ 1390650 h 2009775"/>
                  <a:gd name="connsiteX72" fmla="*/ 244475 w 1412394"/>
                  <a:gd name="connsiteY72" fmla="*/ 1397000 h 2009775"/>
                  <a:gd name="connsiteX73" fmla="*/ 254000 w 1412394"/>
                  <a:gd name="connsiteY73" fmla="*/ 1403350 h 2009775"/>
                  <a:gd name="connsiteX74" fmla="*/ 285750 w 1412394"/>
                  <a:gd name="connsiteY74" fmla="*/ 1406525 h 2009775"/>
                  <a:gd name="connsiteX75" fmla="*/ 295275 w 1412394"/>
                  <a:gd name="connsiteY75" fmla="*/ 1409700 h 2009775"/>
                  <a:gd name="connsiteX76" fmla="*/ 301625 w 1412394"/>
                  <a:gd name="connsiteY76" fmla="*/ 1447800 h 2009775"/>
                  <a:gd name="connsiteX77" fmla="*/ 304800 w 1412394"/>
                  <a:gd name="connsiteY77" fmla="*/ 1460500 h 2009775"/>
                  <a:gd name="connsiteX78" fmla="*/ 307975 w 1412394"/>
                  <a:gd name="connsiteY78" fmla="*/ 1489075 h 2009775"/>
                  <a:gd name="connsiteX79" fmla="*/ 311150 w 1412394"/>
                  <a:gd name="connsiteY79" fmla="*/ 1498600 h 2009775"/>
                  <a:gd name="connsiteX80" fmla="*/ 301625 w 1412394"/>
                  <a:gd name="connsiteY80" fmla="*/ 1536700 h 2009775"/>
                  <a:gd name="connsiteX81" fmla="*/ 292100 w 1412394"/>
                  <a:gd name="connsiteY81" fmla="*/ 1543050 h 2009775"/>
                  <a:gd name="connsiteX82" fmla="*/ 288925 w 1412394"/>
                  <a:gd name="connsiteY82" fmla="*/ 1552575 h 2009775"/>
                  <a:gd name="connsiteX83" fmla="*/ 301625 w 1412394"/>
                  <a:gd name="connsiteY83" fmla="*/ 1581150 h 2009775"/>
                  <a:gd name="connsiteX84" fmla="*/ 304800 w 1412394"/>
                  <a:gd name="connsiteY84" fmla="*/ 1590675 h 2009775"/>
                  <a:gd name="connsiteX85" fmla="*/ 393700 w 1412394"/>
                  <a:gd name="connsiteY85" fmla="*/ 1616075 h 2009775"/>
                  <a:gd name="connsiteX86" fmla="*/ 403225 w 1412394"/>
                  <a:gd name="connsiteY86" fmla="*/ 1622425 h 2009775"/>
                  <a:gd name="connsiteX87" fmla="*/ 409575 w 1412394"/>
                  <a:gd name="connsiteY87" fmla="*/ 1631950 h 2009775"/>
                  <a:gd name="connsiteX88" fmla="*/ 438150 w 1412394"/>
                  <a:gd name="connsiteY88" fmla="*/ 1647825 h 2009775"/>
                  <a:gd name="connsiteX89" fmla="*/ 447675 w 1412394"/>
                  <a:gd name="connsiteY89" fmla="*/ 1660525 h 2009775"/>
                  <a:gd name="connsiteX90" fmla="*/ 460375 w 1412394"/>
                  <a:gd name="connsiteY90" fmla="*/ 1676400 h 2009775"/>
                  <a:gd name="connsiteX91" fmla="*/ 466725 w 1412394"/>
                  <a:gd name="connsiteY91" fmla="*/ 1730375 h 2009775"/>
                  <a:gd name="connsiteX92" fmla="*/ 476250 w 1412394"/>
                  <a:gd name="connsiteY92" fmla="*/ 1749425 h 2009775"/>
                  <a:gd name="connsiteX93" fmla="*/ 495300 w 1412394"/>
                  <a:gd name="connsiteY93" fmla="*/ 1758950 h 2009775"/>
                  <a:gd name="connsiteX94" fmla="*/ 501650 w 1412394"/>
                  <a:gd name="connsiteY94" fmla="*/ 1768475 h 2009775"/>
                  <a:gd name="connsiteX95" fmla="*/ 501650 w 1412394"/>
                  <a:gd name="connsiteY95" fmla="*/ 1844675 h 2009775"/>
                  <a:gd name="connsiteX96" fmla="*/ 492125 w 1412394"/>
                  <a:gd name="connsiteY96" fmla="*/ 1879600 h 2009775"/>
                  <a:gd name="connsiteX97" fmla="*/ 488950 w 1412394"/>
                  <a:gd name="connsiteY97" fmla="*/ 1889125 h 2009775"/>
                  <a:gd name="connsiteX98" fmla="*/ 476250 w 1412394"/>
                  <a:gd name="connsiteY98" fmla="*/ 1908175 h 2009775"/>
                  <a:gd name="connsiteX99" fmla="*/ 469900 w 1412394"/>
                  <a:gd name="connsiteY99" fmla="*/ 1917700 h 2009775"/>
                  <a:gd name="connsiteX100" fmla="*/ 460375 w 1412394"/>
                  <a:gd name="connsiteY100" fmla="*/ 1924050 h 2009775"/>
                  <a:gd name="connsiteX101" fmla="*/ 441325 w 1412394"/>
                  <a:gd name="connsiteY101" fmla="*/ 1943100 h 2009775"/>
                  <a:gd name="connsiteX102" fmla="*/ 434975 w 1412394"/>
                  <a:gd name="connsiteY102" fmla="*/ 1952625 h 2009775"/>
                  <a:gd name="connsiteX103" fmla="*/ 425450 w 1412394"/>
                  <a:gd name="connsiteY103" fmla="*/ 1958975 h 2009775"/>
                  <a:gd name="connsiteX104" fmla="*/ 422275 w 1412394"/>
                  <a:gd name="connsiteY104" fmla="*/ 1987550 h 2009775"/>
                  <a:gd name="connsiteX105" fmla="*/ 444500 w 1412394"/>
                  <a:gd name="connsiteY105" fmla="*/ 1993900 h 2009775"/>
                  <a:gd name="connsiteX106" fmla="*/ 460375 w 1412394"/>
                  <a:gd name="connsiteY106" fmla="*/ 1997075 h 2009775"/>
                  <a:gd name="connsiteX107" fmla="*/ 479425 w 1412394"/>
                  <a:gd name="connsiteY107" fmla="*/ 2003425 h 2009775"/>
                  <a:gd name="connsiteX108" fmla="*/ 514350 w 1412394"/>
                  <a:gd name="connsiteY108" fmla="*/ 2009775 h 2009775"/>
                  <a:gd name="connsiteX109" fmla="*/ 619125 w 1412394"/>
                  <a:gd name="connsiteY109" fmla="*/ 2006600 h 2009775"/>
                  <a:gd name="connsiteX110" fmla="*/ 631825 w 1412394"/>
                  <a:gd name="connsiteY110" fmla="*/ 2003425 h 2009775"/>
                  <a:gd name="connsiteX111" fmla="*/ 641350 w 1412394"/>
                  <a:gd name="connsiteY111" fmla="*/ 1993900 h 2009775"/>
                  <a:gd name="connsiteX112" fmla="*/ 650875 w 1412394"/>
                  <a:gd name="connsiteY112" fmla="*/ 1987550 h 2009775"/>
                  <a:gd name="connsiteX113" fmla="*/ 663575 w 1412394"/>
                  <a:gd name="connsiteY113" fmla="*/ 1968500 h 2009775"/>
                  <a:gd name="connsiteX114" fmla="*/ 673100 w 1412394"/>
                  <a:gd name="connsiteY114" fmla="*/ 1939925 h 2009775"/>
                  <a:gd name="connsiteX115" fmla="*/ 676275 w 1412394"/>
                  <a:gd name="connsiteY115" fmla="*/ 1930400 h 2009775"/>
                  <a:gd name="connsiteX116" fmla="*/ 682625 w 1412394"/>
                  <a:gd name="connsiteY116" fmla="*/ 1920875 h 2009775"/>
                  <a:gd name="connsiteX117" fmla="*/ 692150 w 1412394"/>
                  <a:gd name="connsiteY117" fmla="*/ 1901825 h 2009775"/>
                  <a:gd name="connsiteX118" fmla="*/ 701675 w 1412394"/>
                  <a:gd name="connsiteY118" fmla="*/ 1895475 h 2009775"/>
                  <a:gd name="connsiteX119" fmla="*/ 708025 w 1412394"/>
                  <a:gd name="connsiteY119" fmla="*/ 1885950 h 2009775"/>
                  <a:gd name="connsiteX120" fmla="*/ 723900 w 1412394"/>
                  <a:gd name="connsiteY120" fmla="*/ 1870075 h 2009775"/>
                  <a:gd name="connsiteX121" fmla="*/ 730250 w 1412394"/>
                  <a:gd name="connsiteY121" fmla="*/ 1841500 h 2009775"/>
                  <a:gd name="connsiteX122" fmla="*/ 749300 w 1412394"/>
                  <a:gd name="connsiteY122" fmla="*/ 1803400 h 2009775"/>
                  <a:gd name="connsiteX123" fmla="*/ 758825 w 1412394"/>
                  <a:gd name="connsiteY123" fmla="*/ 1797050 h 2009775"/>
                  <a:gd name="connsiteX124" fmla="*/ 768350 w 1412394"/>
                  <a:gd name="connsiteY124" fmla="*/ 1793875 h 2009775"/>
                  <a:gd name="connsiteX125" fmla="*/ 863600 w 1412394"/>
                  <a:gd name="connsiteY125" fmla="*/ 1790700 h 2009775"/>
                  <a:gd name="connsiteX126" fmla="*/ 882650 w 1412394"/>
                  <a:gd name="connsiteY126" fmla="*/ 1781175 h 2009775"/>
                  <a:gd name="connsiteX127" fmla="*/ 885825 w 1412394"/>
                  <a:gd name="connsiteY127" fmla="*/ 1771650 h 2009775"/>
                  <a:gd name="connsiteX128" fmla="*/ 882650 w 1412394"/>
                  <a:gd name="connsiteY128" fmla="*/ 1755775 h 2009775"/>
                  <a:gd name="connsiteX129" fmla="*/ 869950 w 1412394"/>
                  <a:gd name="connsiteY129" fmla="*/ 1752600 h 2009775"/>
                  <a:gd name="connsiteX130" fmla="*/ 860425 w 1412394"/>
                  <a:gd name="connsiteY130" fmla="*/ 1743075 h 2009775"/>
                  <a:gd name="connsiteX131" fmla="*/ 850900 w 1412394"/>
                  <a:gd name="connsiteY131" fmla="*/ 1736725 h 2009775"/>
                  <a:gd name="connsiteX132" fmla="*/ 844550 w 1412394"/>
                  <a:gd name="connsiteY132" fmla="*/ 1727200 h 2009775"/>
                  <a:gd name="connsiteX133" fmla="*/ 835025 w 1412394"/>
                  <a:gd name="connsiteY133" fmla="*/ 1720850 h 2009775"/>
                  <a:gd name="connsiteX134" fmla="*/ 831850 w 1412394"/>
                  <a:gd name="connsiteY134" fmla="*/ 1711325 h 2009775"/>
                  <a:gd name="connsiteX135" fmla="*/ 822325 w 1412394"/>
                  <a:gd name="connsiteY135" fmla="*/ 1701800 h 2009775"/>
                  <a:gd name="connsiteX136" fmla="*/ 812800 w 1412394"/>
                  <a:gd name="connsiteY136" fmla="*/ 1682750 h 2009775"/>
                  <a:gd name="connsiteX137" fmla="*/ 809625 w 1412394"/>
                  <a:gd name="connsiteY137" fmla="*/ 1673225 h 2009775"/>
                  <a:gd name="connsiteX138" fmla="*/ 838200 w 1412394"/>
                  <a:gd name="connsiteY138" fmla="*/ 1654175 h 2009775"/>
                  <a:gd name="connsiteX139" fmla="*/ 847725 w 1412394"/>
                  <a:gd name="connsiteY139" fmla="*/ 1647825 h 2009775"/>
                  <a:gd name="connsiteX140" fmla="*/ 857250 w 1412394"/>
                  <a:gd name="connsiteY140" fmla="*/ 1641475 h 2009775"/>
                  <a:gd name="connsiteX141" fmla="*/ 863600 w 1412394"/>
                  <a:gd name="connsiteY141" fmla="*/ 1631950 h 2009775"/>
                  <a:gd name="connsiteX142" fmla="*/ 873125 w 1412394"/>
                  <a:gd name="connsiteY142" fmla="*/ 1625600 h 2009775"/>
                  <a:gd name="connsiteX143" fmla="*/ 876300 w 1412394"/>
                  <a:gd name="connsiteY143" fmla="*/ 1492250 h 2009775"/>
                  <a:gd name="connsiteX144" fmla="*/ 879475 w 1412394"/>
                  <a:gd name="connsiteY144" fmla="*/ 1470025 h 2009775"/>
                  <a:gd name="connsiteX145" fmla="*/ 882650 w 1412394"/>
                  <a:gd name="connsiteY145" fmla="*/ 1457325 h 2009775"/>
                  <a:gd name="connsiteX146" fmla="*/ 901700 w 1412394"/>
                  <a:gd name="connsiteY146" fmla="*/ 1444625 h 2009775"/>
                  <a:gd name="connsiteX147" fmla="*/ 917575 w 1412394"/>
                  <a:gd name="connsiteY147" fmla="*/ 1428750 h 2009775"/>
                  <a:gd name="connsiteX148" fmla="*/ 933450 w 1412394"/>
                  <a:gd name="connsiteY148" fmla="*/ 1412875 h 2009775"/>
                  <a:gd name="connsiteX149" fmla="*/ 933450 w 1412394"/>
                  <a:gd name="connsiteY149" fmla="*/ 1358900 h 2009775"/>
                  <a:gd name="connsiteX150" fmla="*/ 930275 w 1412394"/>
                  <a:gd name="connsiteY150" fmla="*/ 1349375 h 2009775"/>
                  <a:gd name="connsiteX151" fmla="*/ 920750 w 1412394"/>
                  <a:gd name="connsiteY151" fmla="*/ 1339850 h 2009775"/>
                  <a:gd name="connsiteX152" fmla="*/ 911225 w 1412394"/>
                  <a:gd name="connsiteY152" fmla="*/ 1327150 h 2009775"/>
                  <a:gd name="connsiteX153" fmla="*/ 908050 w 1412394"/>
                  <a:gd name="connsiteY153" fmla="*/ 1317625 h 2009775"/>
                  <a:gd name="connsiteX154" fmla="*/ 901700 w 1412394"/>
                  <a:gd name="connsiteY154" fmla="*/ 1304925 h 2009775"/>
                  <a:gd name="connsiteX155" fmla="*/ 908050 w 1412394"/>
                  <a:gd name="connsiteY155" fmla="*/ 1270000 h 2009775"/>
                  <a:gd name="connsiteX156" fmla="*/ 914400 w 1412394"/>
                  <a:gd name="connsiteY156" fmla="*/ 1260475 h 2009775"/>
                  <a:gd name="connsiteX157" fmla="*/ 923925 w 1412394"/>
                  <a:gd name="connsiteY157" fmla="*/ 1257300 h 2009775"/>
                  <a:gd name="connsiteX158" fmla="*/ 936625 w 1412394"/>
                  <a:gd name="connsiteY158" fmla="*/ 1244600 h 2009775"/>
                  <a:gd name="connsiteX159" fmla="*/ 955675 w 1412394"/>
                  <a:gd name="connsiteY159" fmla="*/ 1228725 h 2009775"/>
                  <a:gd name="connsiteX160" fmla="*/ 1000125 w 1412394"/>
                  <a:gd name="connsiteY160" fmla="*/ 1216025 h 2009775"/>
                  <a:gd name="connsiteX161" fmla="*/ 1009650 w 1412394"/>
                  <a:gd name="connsiteY161" fmla="*/ 1212850 h 2009775"/>
                  <a:gd name="connsiteX162" fmla="*/ 1028700 w 1412394"/>
                  <a:gd name="connsiteY162" fmla="*/ 1200150 h 2009775"/>
                  <a:gd name="connsiteX163" fmla="*/ 1047750 w 1412394"/>
                  <a:gd name="connsiteY163" fmla="*/ 1181100 h 2009775"/>
                  <a:gd name="connsiteX164" fmla="*/ 1066800 w 1412394"/>
                  <a:gd name="connsiteY164" fmla="*/ 1193800 h 2009775"/>
                  <a:gd name="connsiteX165" fmla="*/ 1076325 w 1412394"/>
                  <a:gd name="connsiteY165" fmla="*/ 1196975 h 2009775"/>
                  <a:gd name="connsiteX166" fmla="*/ 1085850 w 1412394"/>
                  <a:gd name="connsiteY166" fmla="*/ 1235075 h 2009775"/>
                  <a:gd name="connsiteX167" fmla="*/ 1089025 w 1412394"/>
                  <a:gd name="connsiteY167" fmla="*/ 1244600 h 2009775"/>
                  <a:gd name="connsiteX168" fmla="*/ 1104900 w 1412394"/>
                  <a:gd name="connsiteY168" fmla="*/ 1247775 h 2009775"/>
                  <a:gd name="connsiteX169" fmla="*/ 1123950 w 1412394"/>
                  <a:gd name="connsiteY169" fmla="*/ 1244600 h 2009775"/>
                  <a:gd name="connsiteX170" fmla="*/ 1136650 w 1412394"/>
                  <a:gd name="connsiteY170" fmla="*/ 1184275 h 2009775"/>
                  <a:gd name="connsiteX171" fmla="*/ 1146175 w 1412394"/>
                  <a:gd name="connsiteY171" fmla="*/ 1165225 h 2009775"/>
                  <a:gd name="connsiteX172" fmla="*/ 1158875 w 1412394"/>
                  <a:gd name="connsiteY172" fmla="*/ 1149350 h 2009775"/>
                  <a:gd name="connsiteX173" fmla="*/ 1171575 w 1412394"/>
                  <a:gd name="connsiteY173" fmla="*/ 1130300 h 2009775"/>
                  <a:gd name="connsiteX174" fmla="*/ 1177925 w 1412394"/>
                  <a:gd name="connsiteY174" fmla="*/ 1111250 h 2009775"/>
                  <a:gd name="connsiteX175" fmla="*/ 1187450 w 1412394"/>
                  <a:gd name="connsiteY175" fmla="*/ 1092200 h 2009775"/>
                  <a:gd name="connsiteX176" fmla="*/ 1193800 w 1412394"/>
                  <a:gd name="connsiteY176" fmla="*/ 1082675 h 2009775"/>
                  <a:gd name="connsiteX177" fmla="*/ 1196975 w 1412394"/>
                  <a:gd name="connsiteY177" fmla="*/ 1073150 h 2009775"/>
                  <a:gd name="connsiteX178" fmla="*/ 1203325 w 1412394"/>
                  <a:gd name="connsiteY178" fmla="*/ 1063625 h 2009775"/>
                  <a:gd name="connsiteX179" fmla="*/ 1209675 w 1412394"/>
                  <a:gd name="connsiteY179" fmla="*/ 1044575 h 2009775"/>
                  <a:gd name="connsiteX180" fmla="*/ 1212850 w 1412394"/>
                  <a:gd name="connsiteY180" fmla="*/ 1035050 h 2009775"/>
                  <a:gd name="connsiteX181" fmla="*/ 1216025 w 1412394"/>
                  <a:gd name="connsiteY181" fmla="*/ 1009650 h 2009775"/>
                  <a:gd name="connsiteX182" fmla="*/ 1244600 w 1412394"/>
                  <a:gd name="connsiteY182" fmla="*/ 1016000 h 2009775"/>
                  <a:gd name="connsiteX183" fmla="*/ 1254125 w 1412394"/>
                  <a:gd name="connsiteY183" fmla="*/ 1022350 h 2009775"/>
                  <a:gd name="connsiteX184" fmla="*/ 1270000 w 1412394"/>
                  <a:gd name="connsiteY184" fmla="*/ 1025525 h 2009775"/>
                  <a:gd name="connsiteX185" fmla="*/ 1298575 w 1412394"/>
                  <a:gd name="connsiteY185" fmla="*/ 1038225 h 2009775"/>
                  <a:gd name="connsiteX186" fmla="*/ 1317625 w 1412394"/>
                  <a:gd name="connsiteY186" fmla="*/ 1047750 h 2009775"/>
                  <a:gd name="connsiteX187" fmla="*/ 1323975 w 1412394"/>
                  <a:gd name="connsiteY187" fmla="*/ 1057275 h 2009775"/>
                  <a:gd name="connsiteX188" fmla="*/ 1352550 w 1412394"/>
                  <a:gd name="connsiteY188" fmla="*/ 1044575 h 2009775"/>
                  <a:gd name="connsiteX189" fmla="*/ 1365250 w 1412394"/>
                  <a:gd name="connsiteY189" fmla="*/ 1003300 h 2009775"/>
                  <a:gd name="connsiteX190" fmla="*/ 1374775 w 1412394"/>
                  <a:gd name="connsiteY190" fmla="*/ 1000125 h 2009775"/>
                  <a:gd name="connsiteX191" fmla="*/ 1387475 w 1412394"/>
                  <a:gd name="connsiteY191" fmla="*/ 981075 h 2009775"/>
                  <a:gd name="connsiteX192" fmla="*/ 1384300 w 1412394"/>
                  <a:gd name="connsiteY192" fmla="*/ 971550 h 2009775"/>
                  <a:gd name="connsiteX193" fmla="*/ 1381125 w 1412394"/>
                  <a:gd name="connsiteY193" fmla="*/ 958850 h 2009775"/>
                  <a:gd name="connsiteX194" fmla="*/ 1362075 w 1412394"/>
                  <a:gd name="connsiteY194" fmla="*/ 946150 h 2009775"/>
                  <a:gd name="connsiteX195" fmla="*/ 1352550 w 1412394"/>
                  <a:gd name="connsiteY195" fmla="*/ 939800 h 2009775"/>
                  <a:gd name="connsiteX196" fmla="*/ 1343025 w 1412394"/>
                  <a:gd name="connsiteY196" fmla="*/ 933450 h 2009775"/>
                  <a:gd name="connsiteX197" fmla="*/ 1333500 w 1412394"/>
                  <a:gd name="connsiteY197" fmla="*/ 927100 h 2009775"/>
                  <a:gd name="connsiteX198" fmla="*/ 1330325 w 1412394"/>
                  <a:gd name="connsiteY198" fmla="*/ 917575 h 2009775"/>
                  <a:gd name="connsiteX199" fmla="*/ 1352550 w 1412394"/>
                  <a:gd name="connsiteY199" fmla="*/ 895350 h 2009775"/>
                  <a:gd name="connsiteX200" fmla="*/ 1368425 w 1412394"/>
                  <a:gd name="connsiteY200" fmla="*/ 876300 h 2009775"/>
                  <a:gd name="connsiteX201" fmla="*/ 1371600 w 1412394"/>
                  <a:gd name="connsiteY201" fmla="*/ 866775 h 2009775"/>
                  <a:gd name="connsiteX202" fmla="*/ 1355725 w 1412394"/>
                  <a:gd name="connsiteY202" fmla="*/ 850900 h 2009775"/>
                  <a:gd name="connsiteX203" fmla="*/ 1336675 w 1412394"/>
                  <a:gd name="connsiteY203" fmla="*/ 838200 h 2009775"/>
                  <a:gd name="connsiteX204" fmla="*/ 1298575 w 1412394"/>
                  <a:gd name="connsiteY204" fmla="*/ 835025 h 2009775"/>
                  <a:gd name="connsiteX205" fmla="*/ 1285875 w 1412394"/>
                  <a:gd name="connsiteY205" fmla="*/ 822325 h 2009775"/>
                  <a:gd name="connsiteX206" fmla="*/ 1289050 w 1412394"/>
                  <a:gd name="connsiteY206" fmla="*/ 692150 h 2009775"/>
                  <a:gd name="connsiteX207" fmla="*/ 1308100 w 1412394"/>
                  <a:gd name="connsiteY207" fmla="*/ 679450 h 2009775"/>
                  <a:gd name="connsiteX208" fmla="*/ 1314450 w 1412394"/>
                  <a:gd name="connsiteY208" fmla="*/ 669925 h 2009775"/>
                  <a:gd name="connsiteX209" fmla="*/ 1333500 w 1412394"/>
                  <a:gd name="connsiteY209" fmla="*/ 657225 h 2009775"/>
                  <a:gd name="connsiteX210" fmla="*/ 1343025 w 1412394"/>
                  <a:gd name="connsiteY210" fmla="*/ 647700 h 2009775"/>
                  <a:gd name="connsiteX211" fmla="*/ 1346200 w 1412394"/>
                  <a:gd name="connsiteY211" fmla="*/ 638175 h 2009775"/>
                  <a:gd name="connsiteX212" fmla="*/ 1346200 w 1412394"/>
                  <a:gd name="connsiteY212" fmla="*/ 498475 h 2009775"/>
                  <a:gd name="connsiteX213" fmla="*/ 1333500 w 1412394"/>
                  <a:gd name="connsiteY213" fmla="*/ 479425 h 2009775"/>
                  <a:gd name="connsiteX214" fmla="*/ 1327150 w 1412394"/>
                  <a:gd name="connsiteY214" fmla="*/ 460375 h 2009775"/>
                  <a:gd name="connsiteX215" fmla="*/ 1330325 w 1412394"/>
                  <a:gd name="connsiteY215" fmla="*/ 384175 h 2009775"/>
                  <a:gd name="connsiteX216" fmla="*/ 1343025 w 1412394"/>
                  <a:gd name="connsiteY216" fmla="*/ 365125 h 2009775"/>
                  <a:gd name="connsiteX217" fmla="*/ 1349375 w 1412394"/>
                  <a:gd name="connsiteY217" fmla="*/ 355600 h 2009775"/>
                  <a:gd name="connsiteX218" fmla="*/ 1368425 w 1412394"/>
                  <a:gd name="connsiteY218" fmla="*/ 342900 h 2009775"/>
                  <a:gd name="connsiteX219" fmla="*/ 1390650 w 1412394"/>
                  <a:gd name="connsiteY219" fmla="*/ 333375 h 2009775"/>
                  <a:gd name="connsiteX220" fmla="*/ 1397000 w 1412394"/>
                  <a:gd name="connsiteY220" fmla="*/ 323850 h 2009775"/>
                  <a:gd name="connsiteX221" fmla="*/ 1409700 w 1412394"/>
                  <a:gd name="connsiteY221" fmla="*/ 311150 h 2009775"/>
                  <a:gd name="connsiteX222" fmla="*/ 1406525 w 1412394"/>
                  <a:gd name="connsiteY222" fmla="*/ 301625 h 2009775"/>
                  <a:gd name="connsiteX223" fmla="*/ 1323975 w 1412394"/>
                  <a:gd name="connsiteY223" fmla="*/ 298450 h 2009775"/>
                  <a:gd name="connsiteX224" fmla="*/ 1314450 w 1412394"/>
                  <a:gd name="connsiteY224" fmla="*/ 292100 h 2009775"/>
                  <a:gd name="connsiteX225" fmla="*/ 1304925 w 1412394"/>
                  <a:gd name="connsiteY225" fmla="*/ 288925 h 2009775"/>
                  <a:gd name="connsiteX226" fmla="*/ 1273175 w 1412394"/>
                  <a:gd name="connsiteY226" fmla="*/ 285750 h 2009775"/>
                  <a:gd name="connsiteX227" fmla="*/ 1263650 w 1412394"/>
                  <a:gd name="connsiteY227" fmla="*/ 282575 h 2009775"/>
                  <a:gd name="connsiteX228" fmla="*/ 1244600 w 1412394"/>
                  <a:gd name="connsiteY228" fmla="*/ 273050 h 2009775"/>
                  <a:gd name="connsiteX229" fmla="*/ 1247775 w 1412394"/>
                  <a:gd name="connsiteY229" fmla="*/ 247650 h 2009775"/>
                  <a:gd name="connsiteX230" fmla="*/ 1250950 w 1412394"/>
                  <a:gd name="connsiteY230" fmla="*/ 234950 h 2009775"/>
                  <a:gd name="connsiteX231" fmla="*/ 1260475 w 1412394"/>
                  <a:gd name="connsiteY231" fmla="*/ 228600 h 2009775"/>
                  <a:gd name="connsiteX232" fmla="*/ 1270000 w 1412394"/>
                  <a:gd name="connsiteY232" fmla="*/ 219075 h 2009775"/>
                  <a:gd name="connsiteX233" fmla="*/ 1276350 w 1412394"/>
                  <a:gd name="connsiteY233" fmla="*/ 209550 h 2009775"/>
                  <a:gd name="connsiteX234" fmla="*/ 1282700 w 1412394"/>
                  <a:gd name="connsiteY234" fmla="*/ 187325 h 2009775"/>
                  <a:gd name="connsiteX235" fmla="*/ 1279525 w 1412394"/>
                  <a:gd name="connsiteY235" fmla="*/ 142875 h 2009775"/>
                  <a:gd name="connsiteX236" fmla="*/ 1270000 w 1412394"/>
                  <a:gd name="connsiteY236" fmla="*/ 130175 h 2009775"/>
                  <a:gd name="connsiteX237" fmla="*/ 1238250 w 1412394"/>
                  <a:gd name="connsiteY237" fmla="*/ 92075 h 2009775"/>
                  <a:gd name="connsiteX238" fmla="*/ 1231900 w 1412394"/>
                  <a:gd name="connsiteY238" fmla="*/ 82550 h 2009775"/>
                  <a:gd name="connsiteX239" fmla="*/ 1225550 w 1412394"/>
                  <a:gd name="connsiteY239" fmla="*/ 63500 h 2009775"/>
                  <a:gd name="connsiteX240" fmla="*/ 1219200 w 1412394"/>
                  <a:gd name="connsiteY240" fmla="*/ 38100 h 2009775"/>
                  <a:gd name="connsiteX241" fmla="*/ 1206500 w 1412394"/>
                  <a:gd name="connsiteY241" fmla="*/ 19050 h 2009775"/>
                  <a:gd name="connsiteX242" fmla="*/ 1187450 w 1412394"/>
                  <a:gd name="connsiteY242" fmla="*/ 0 h 200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Lst>
                <a:rect l="l" t="t" r="r" b="b"/>
                <a:pathLst>
                  <a:path w="1412394" h="2009775">
                    <a:moveTo>
                      <a:pt x="0" y="114300"/>
                    </a:moveTo>
                    <a:cubicBezTo>
                      <a:pt x="2117" y="131233"/>
                      <a:pt x="3003" y="148366"/>
                      <a:pt x="6350" y="165100"/>
                    </a:cubicBezTo>
                    <a:cubicBezTo>
                      <a:pt x="7408" y="170392"/>
                      <a:pt x="8105" y="175769"/>
                      <a:pt x="9525" y="180975"/>
                    </a:cubicBezTo>
                    <a:cubicBezTo>
                      <a:pt x="11286" y="187433"/>
                      <a:pt x="15875" y="200025"/>
                      <a:pt x="15875" y="200025"/>
                    </a:cubicBezTo>
                    <a:cubicBezTo>
                      <a:pt x="17533" y="216603"/>
                      <a:pt x="13831" y="229731"/>
                      <a:pt x="25400" y="241300"/>
                    </a:cubicBezTo>
                    <a:cubicBezTo>
                      <a:pt x="28098" y="243998"/>
                      <a:pt x="31750" y="245533"/>
                      <a:pt x="34925" y="247650"/>
                    </a:cubicBezTo>
                    <a:cubicBezTo>
                      <a:pt x="39158" y="254000"/>
                      <a:pt x="45212" y="259460"/>
                      <a:pt x="47625" y="266700"/>
                    </a:cubicBezTo>
                    <a:cubicBezTo>
                      <a:pt x="53213" y="283465"/>
                      <a:pt x="48944" y="273440"/>
                      <a:pt x="63500" y="295275"/>
                    </a:cubicBezTo>
                    <a:cubicBezTo>
                      <a:pt x="65617" y="298450"/>
                      <a:pt x="67152" y="302102"/>
                      <a:pt x="69850" y="304800"/>
                    </a:cubicBezTo>
                    <a:cubicBezTo>
                      <a:pt x="76200" y="311150"/>
                      <a:pt x="83919" y="316378"/>
                      <a:pt x="88900" y="323850"/>
                    </a:cubicBezTo>
                    <a:cubicBezTo>
                      <a:pt x="91017" y="327025"/>
                      <a:pt x="92552" y="330677"/>
                      <a:pt x="95250" y="333375"/>
                    </a:cubicBezTo>
                    <a:cubicBezTo>
                      <a:pt x="103752" y="341877"/>
                      <a:pt x="116134" y="342970"/>
                      <a:pt x="127000" y="346075"/>
                    </a:cubicBezTo>
                    <a:cubicBezTo>
                      <a:pt x="138502" y="349361"/>
                      <a:pt x="135614" y="348643"/>
                      <a:pt x="146050" y="355600"/>
                    </a:cubicBezTo>
                    <a:cubicBezTo>
                      <a:pt x="154347" y="380492"/>
                      <a:pt x="154604" y="377365"/>
                      <a:pt x="146050" y="422275"/>
                    </a:cubicBezTo>
                    <a:cubicBezTo>
                      <a:pt x="145210" y="426686"/>
                      <a:pt x="139282" y="428256"/>
                      <a:pt x="136525" y="431800"/>
                    </a:cubicBezTo>
                    <a:cubicBezTo>
                      <a:pt x="131840" y="437824"/>
                      <a:pt x="126238" y="443610"/>
                      <a:pt x="123825" y="450850"/>
                    </a:cubicBezTo>
                    <a:cubicBezTo>
                      <a:pt x="119443" y="463995"/>
                      <a:pt x="123435" y="458519"/>
                      <a:pt x="111125" y="466725"/>
                    </a:cubicBezTo>
                    <a:cubicBezTo>
                      <a:pt x="79498" y="514165"/>
                      <a:pt x="101761" y="473512"/>
                      <a:pt x="95250" y="584200"/>
                    </a:cubicBezTo>
                    <a:cubicBezTo>
                      <a:pt x="95053" y="587541"/>
                      <a:pt x="94130" y="591083"/>
                      <a:pt x="92075" y="593725"/>
                    </a:cubicBezTo>
                    <a:cubicBezTo>
                      <a:pt x="86562" y="600814"/>
                      <a:pt x="73025" y="612775"/>
                      <a:pt x="73025" y="612775"/>
                    </a:cubicBezTo>
                    <a:lnTo>
                      <a:pt x="63500" y="641350"/>
                    </a:lnTo>
                    <a:lnTo>
                      <a:pt x="60325" y="650875"/>
                    </a:lnTo>
                    <a:cubicBezTo>
                      <a:pt x="61383" y="679450"/>
                      <a:pt x="61659" y="708065"/>
                      <a:pt x="63500" y="736600"/>
                    </a:cubicBezTo>
                    <a:cubicBezTo>
                      <a:pt x="63781" y="740955"/>
                      <a:pt x="64510" y="745511"/>
                      <a:pt x="66675" y="749300"/>
                    </a:cubicBezTo>
                    <a:cubicBezTo>
                      <a:pt x="70825" y="756563"/>
                      <a:pt x="77710" y="760855"/>
                      <a:pt x="85725" y="762000"/>
                    </a:cubicBezTo>
                    <a:cubicBezTo>
                      <a:pt x="97297" y="763653"/>
                      <a:pt x="109008" y="764117"/>
                      <a:pt x="120650" y="765175"/>
                    </a:cubicBezTo>
                    <a:cubicBezTo>
                      <a:pt x="119592" y="774700"/>
                      <a:pt x="119799" y="784453"/>
                      <a:pt x="117475" y="793750"/>
                    </a:cubicBezTo>
                    <a:cubicBezTo>
                      <a:pt x="115661" y="801007"/>
                      <a:pt x="107648" y="806601"/>
                      <a:pt x="101600" y="809625"/>
                    </a:cubicBezTo>
                    <a:cubicBezTo>
                      <a:pt x="98607" y="811122"/>
                      <a:pt x="95001" y="811175"/>
                      <a:pt x="92075" y="812800"/>
                    </a:cubicBezTo>
                    <a:cubicBezTo>
                      <a:pt x="59323" y="830996"/>
                      <a:pt x="85053" y="821491"/>
                      <a:pt x="63500" y="828675"/>
                    </a:cubicBezTo>
                    <a:cubicBezTo>
                      <a:pt x="60325" y="831850"/>
                      <a:pt x="57874" y="835972"/>
                      <a:pt x="53975" y="838200"/>
                    </a:cubicBezTo>
                    <a:cubicBezTo>
                      <a:pt x="48985" y="841051"/>
                      <a:pt x="19921" y="844426"/>
                      <a:pt x="19050" y="844550"/>
                    </a:cubicBezTo>
                    <a:cubicBezTo>
                      <a:pt x="15875" y="845608"/>
                      <a:pt x="11892" y="845358"/>
                      <a:pt x="9525" y="847725"/>
                    </a:cubicBezTo>
                    <a:cubicBezTo>
                      <a:pt x="3175" y="854075"/>
                      <a:pt x="7408" y="860425"/>
                      <a:pt x="9525" y="866775"/>
                    </a:cubicBezTo>
                    <a:cubicBezTo>
                      <a:pt x="10583" y="877358"/>
                      <a:pt x="10308" y="888161"/>
                      <a:pt x="12700" y="898525"/>
                    </a:cubicBezTo>
                    <a:cubicBezTo>
                      <a:pt x="13558" y="902243"/>
                      <a:pt x="17343" y="904637"/>
                      <a:pt x="19050" y="908050"/>
                    </a:cubicBezTo>
                    <a:cubicBezTo>
                      <a:pt x="20547" y="911043"/>
                      <a:pt x="21167" y="914400"/>
                      <a:pt x="22225" y="917575"/>
                    </a:cubicBezTo>
                    <a:cubicBezTo>
                      <a:pt x="23283" y="930275"/>
                      <a:pt x="23911" y="943018"/>
                      <a:pt x="25400" y="955675"/>
                    </a:cubicBezTo>
                    <a:cubicBezTo>
                      <a:pt x="26031" y="961034"/>
                      <a:pt x="25898" y="966865"/>
                      <a:pt x="28575" y="971550"/>
                    </a:cubicBezTo>
                    <a:cubicBezTo>
                      <a:pt x="30468" y="974863"/>
                      <a:pt x="34925" y="975783"/>
                      <a:pt x="38100" y="977900"/>
                    </a:cubicBezTo>
                    <a:cubicBezTo>
                      <a:pt x="43392" y="976842"/>
                      <a:pt x="48769" y="976145"/>
                      <a:pt x="53975" y="974725"/>
                    </a:cubicBezTo>
                    <a:cubicBezTo>
                      <a:pt x="60433" y="972964"/>
                      <a:pt x="73025" y="968375"/>
                      <a:pt x="73025" y="968375"/>
                    </a:cubicBezTo>
                    <a:cubicBezTo>
                      <a:pt x="81492" y="969433"/>
                      <a:pt x="90009" y="970147"/>
                      <a:pt x="98425" y="971550"/>
                    </a:cubicBezTo>
                    <a:cubicBezTo>
                      <a:pt x="102729" y="972267"/>
                      <a:pt x="106795" y="974184"/>
                      <a:pt x="111125" y="974725"/>
                    </a:cubicBezTo>
                    <a:cubicBezTo>
                      <a:pt x="123771" y="976306"/>
                      <a:pt x="136525" y="976842"/>
                      <a:pt x="149225" y="977900"/>
                    </a:cubicBezTo>
                    <a:cubicBezTo>
                      <a:pt x="155575" y="980017"/>
                      <a:pt x="164562" y="978681"/>
                      <a:pt x="168275" y="984250"/>
                    </a:cubicBezTo>
                    <a:cubicBezTo>
                      <a:pt x="176742" y="996950"/>
                      <a:pt x="171450" y="991658"/>
                      <a:pt x="184150" y="1000125"/>
                    </a:cubicBezTo>
                    <a:cubicBezTo>
                      <a:pt x="186267" y="1003300"/>
                      <a:pt x="188793" y="1006237"/>
                      <a:pt x="190500" y="1009650"/>
                    </a:cubicBezTo>
                    <a:cubicBezTo>
                      <a:pt x="194973" y="1018596"/>
                      <a:pt x="194362" y="1034221"/>
                      <a:pt x="206375" y="1038225"/>
                    </a:cubicBezTo>
                    <a:lnTo>
                      <a:pt x="215900" y="1041400"/>
                    </a:lnTo>
                    <a:cubicBezTo>
                      <a:pt x="220133" y="1044575"/>
                      <a:pt x="224582" y="1047481"/>
                      <a:pt x="228600" y="1050925"/>
                    </a:cubicBezTo>
                    <a:cubicBezTo>
                      <a:pt x="232009" y="1053847"/>
                      <a:pt x="234581" y="1057693"/>
                      <a:pt x="238125" y="1060450"/>
                    </a:cubicBezTo>
                    <a:cubicBezTo>
                      <a:pt x="244149" y="1065135"/>
                      <a:pt x="250825" y="1068917"/>
                      <a:pt x="257175" y="1073150"/>
                    </a:cubicBezTo>
                    <a:lnTo>
                      <a:pt x="266700" y="1079500"/>
                    </a:lnTo>
                    <a:cubicBezTo>
                      <a:pt x="268817" y="1082675"/>
                      <a:pt x="273050" y="1085209"/>
                      <a:pt x="273050" y="1089025"/>
                    </a:cubicBezTo>
                    <a:cubicBezTo>
                      <a:pt x="273050" y="1095718"/>
                      <a:pt x="266700" y="1108075"/>
                      <a:pt x="266700" y="1108075"/>
                    </a:cubicBezTo>
                    <a:cubicBezTo>
                      <a:pt x="265642" y="1122892"/>
                      <a:pt x="266927" y="1138065"/>
                      <a:pt x="263525" y="1152525"/>
                    </a:cubicBezTo>
                    <a:cubicBezTo>
                      <a:pt x="262497" y="1156896"/>
                      <a:pt x="256757" y="1158506"/>
                      <a:pt x="254000" y="1162050"/>
                    </a:cubicBezTo>
                    <a:cubicBezTo>
                      <a:pt x="241263" y="1178426"/>
                      <a:pt x="242915" y="1176254"/>
                      <a:pt x="238125" y="1190625"/>
                    </a:cubicBezTo>
                    <a:cubicBezTo>
                      <a:pt x="239183" y="1199092"/>
                      <a:pt x="239231" y="1207747"/>
                      <a:pt x="241300" y="1216025"/>
                    </a:cubicBezTo>
                    <a:cubicBezTo>
                      <a:pt x="242911" y="1222470"/>
                      <a:pt x="250221" y="1232581"/>
                      <a:pt x="254000" y="1238250"/>
                    </a:cubicBezTo>
                    <a:cubicBezTo>
                      <a:pt x="258233" y="1237192"/>
                      <a:pt x="262689" y="1236794"/>
                      <a:pt x="266700" y="1235075"/>
                    </a:cubicBezTo>
                    <a:cubicBezTo>
                      <a:pt x="270207" y="1233572"/>
                      <a:pt x="272425" y="1229070"/>
                      <a:pt x="276225" y="1228725"/>
                    </a:cubicBezTo>
                    <a:cubicBezTo>
                      <a:pt x="284723" y="1227952"/>
                      <a:pt x="293158" y="1230842"/>
                      <a:pt x="301625" y="1231900"/>
                    </a:cubicBezTo>
                    <a:cubicBezTo>
                      <a:pt x="304800" y="1232958"/>
                      <a:pt x="308537" y="1232984"/>
                      <a:pt x="311150" y="1235075"/>
                    </a:cubicBezTo>
                    <a:cubicBezTo>
                      <a:pt x="323307" y="1244801"/>
                      <a:pt x="318138" y="1264911"/>
                      <a:pt x="314325" y="1276350"/>
                    </a:cubicBezTo>
                    <a:cubicBezTo>
                      <a:pt x="313118" y="1279970"/>
                      <a:pt x="307975" y="1280583"/>
                      <a:pt x="304800" y="1282700"/>
                    </a:cubicBezTo>
                    <a:lnTo>
                      <a:pt x="292100" y="1301750"/>
                    </a:lnTo>
                    <a:cubicBezTo>
                      <a:pt x="289983" y="1304925"/>
                      <a:pt x="286957" y="1307655"/>
                      <a:pt x="285750" y="1311275"/>
                    </a:cubicBezTo>
                    <a:lnTo>
                      <a:pt x="282575" y="1320800"/>
                    </a:lnTo>
                    <a:cubicBezTo>
                      <a:pt x="281517" y="1335617"/>
                      <a:pt x="283003" y="1350839"/>
                      <a:pt x="279400" y="1365250"/>
                    </a:cubicBezTo>
                    <a:cubicBezTo>
                      <a:pt x="274593" y="1384476"/>
                      <a:pt x="267003" y="1383220"/>
                      <a:pt x="254000" y="1390650"/>
                    </a:cubicBezTo>
                    <a:cubicBezTo>
                      <a:pt x="250687" y="1392543"/>
                      <a:pt x="247650" y="1394883"/>
                      <a:pt x="244475" y="1397000"/>
                    </a:cubicBezTo>
                    <a:cubicBezTo>
                      <a:pt x="247650" y="1399117"/>
                      <a:pt x="250282" y="1402492"/>
                      <a:pt x="254000" y="1403350"/>
                    </a:cubicBezTo>
                    <a:cubicBezTo>
                      <a:pt x="264364" y="1405742"/>
                      <a:pt x="275238" y="1404908"/>
                      <a:pt x="285750" y="1406525"/>
                    </a:cubicBezTo>
                    <a:cubicBezTo>
                      <a:pt x="289058" y="1407034"/>
                      <a:pt x="292100" y="1408642"/>
                      <a:pt x="295275" y="1409700"/>
                    </a:cubicBezTo>
                    <a:cubicBezTo>
                      <a:pt x="302365" y="1430969"/>
                      <a:pt x="295549" y="1408303"/>
                      <a:pt x="301625" y="1447800"/>
                    </a:cubicBezTo>
                    <a:cubicBezTo>
                      <a:pt x="302289" y="1452113"/>
                      <a:pt x="303742" y="1456267"/>
                      <a:pt x="304800" y="1460500"/>
                    </a:cubicBezTo>
                    <a:cubicBezTo>
                      <a:pt x="305858" y="1470025"/>
                      <a:pt x="306399" y="1479622"/>
                      <a:pt x="307975" y="1489075"/>
                    </a:cubicBezTo>
                    <a:cubicBezTo>
                      <a:pt x="308525" y="1492376"/>
                      <a:pt x="311150" y="1495253"/>
                      <a:pt x="311150" y="1498600"/>
                    </a:cubicBezTo>
                    <a:cubicBezTo>
                      <a:pt x="311150" y="1512721"/>
                      <a:pt x="311859" y="1526466"/>
                      <a:pt x="301625" y="1536700"/>
                    </a:cubicBezTo>
                    <a:cubicBezTo>
                      <a:pt x="298927" y="1539398"/>
                      <a:pt x="295275" y="1540933"/>
                      <a:pt x="292100" y="1543050"/>
                    </a:cubicBezTo>
                    <a:cubicBezTo>
                      <a:pt x="291042" y="1546225"/>
                      <a:pt x="288925" y="1549228"/>
                      <a:pt x="288925" y="1552575"/>
                    </a:cubicBezTo>
                    <a:cubicBezTo>
                      <a:pt x="288925" y="1568022"/>
                      <a:pt x="292993" y="1569641"/>
                      <a:pt x="301625" y="1581150"/>
                    </a:cubicBezTo>
                    <a:cubicBezTo>
                      <a:pt x="302683" y="1584325"/>
                      <a:pt x="303175" y="1587749"/>
                      <a:pt x="304800" y="1590675"/>
                    </a:cubicBezTo>
                    <a:cubicBezTo>
                      <a:pt x="326948" y="1630541"/>
                      <a:pt x="325559" y="1610397"/>
                      <a:pt x="393700" y="1616075"/>
                    </a:cubicBezTo>
                    <a:cubicBezTo>
                      <a:pt x="396875" y="1618192"/>
                      <a:pt x="400527" y="1619727"/>
                      <a:pt x="403225" y="1622425"/>
                    </a:cubicBezTo>
                    <a:cubicBezTo>
                      <a:pt x="405923" y="1625123"/>
                      <a:pt x="406703" y="1629437"/>
                      <a:pt x="409575" y="1631950"/>
                    </a:cubicBezTo>
                    <a:cubicBezTo>
                      <a:pt x="423012" y="1643707"/>
                      <a:pt x="425068" y="1643464"/>
                      <a:pt x="438150" y="1647825"/>
                    </a:cubicBezTo>
                    <a:cubicBezTo>
                      <a:pt x="441325" y="1652058"/>
                      <a:pt x="443933" y="1656783"/>
                      <a:pt x="447675" y="1660525"/>
                    </a:cubicBezTo>
                    <a:cubicBezTo>
                      <a:pt x="462036" y="1674886"/>
                      <a:pt x="454194" y="1657857"/>
                      <a:pt x="460375" y="1676400"/>
                    </a:cubicBezTo>
                    <a:cubicBezTo>
                      <a:pt x="462799" y="1707915"/>
                      <a:pt x="460547" y="1708750"/>
                      <a:pt x="466725" y="1730375"/>
                    </a:cubicBezTo>
                    <a:cubicBezTo>
                      <a:pt x="468791" y="1737605"/>
                      <a:pt x="470684" y="1743859"/>
                      <a:pt x="476250" y="1749425"/>
                    </a:cubicBezTo>
                    <a:cubicBezTo>
                      <a:pt x="482405" y="1755580"/>
                      <a:pt x="487553" y="1756368"/>
                      <a:pt x="495300" y="1758950"/>
                    </a:cubicBezTo>
                    <a:cubicBezTo>
                      <a:pt x="497417" y="1762125"/>
                      <a:pt x="499943" y="1765062"/>
                      <a:pt x="501650" y="1768475"/>
                    </a:cubicBezTo>
                    <a:cubicBezTo>
                      <a:pt x="512274" y="1789724"/>
                      <a:pt x="502237" y="1837049"/>
                      <a:pt x="501650" y="1844675"/>
                    </a:cubicBezTo>
                    <a:cubicBezTo>
                      <a:pt x="500752" y="1856343"/>
                      <a:pt x="495728" y="1868790"/>
                      <a:pt x="492125" y="1879600"/>
                    </a:cubicBezTo>
                    <a:cubicBezTo>
                      <a:pt x="491067" y="1882775"/>
                      <a:pt x="490806" y="1886340"/>
                      <a:pt x="488950" y="1889125"/>
                    </a:cubicBezTo>
                    <a:lnTo>
                      <a:pt x="476250" y="1908175"/>
                    </a:lnTo>
                    <a:cubicBezTo>
                      <a:pt x="474133" y="1911350"/>
                      <a:pt x="473075" y="1915583"/>
                      <a:pt x="469900" y="1917700"/>
                    </a:cubicBezTo>
                    <a:cubicBezTo>
                      <a:pt x="466725" y="1919817"/>
                      <a:pt x="463227" y="1921515"/>
                      <a:pt x="460375" y="1924050"/>
                    </a:cubicBezTo>
                    <a:cubicBezTo>
                      <a:pt x="453663" y="1930016"/>
                      <a:pt x="446306" y="1935628"/>
                      <a:pt x="441325" y="1943100"/>
                    </a:cubicBezTo>
                    <a:cubicBezTo>
                      <a:pt x="439208" y="1946275"/>
                      <a:pt x="437673" y="1949927"/>
                      <a:pt x="434975" y="1952625"/>
                    </a:cubicBezTo>
                    <a:cubicBezTo>
                      <a:pt x="432277" y="1955323"/>
                      <a:pt x="428625" y="1956858"/>
                      <a:pt x="425450" y="1958975"/>
                    </a:cubicBezTo>
                    <a:cubicBezTo>
                      <a:pt x="423333" y="1965325"/>
                      <a:pt x="414337" y="1979612"/>
                      <a:pt x="422275" y="1987550"/>
                    </a:cubicBezTo>
                    <a:cubicBezTo>
                      <a:pt x="423790" y="1989065"/>
                      <a:pt x="444394" y="1993876"/>
                      <a:pt x="444500" y="1993900"/>
                    </a:cubicBezTo>
                    <a:cubicBezTo>
                      <a:pt x="449768" y="1995071"/>
                      <a:pt x="455169" y="1995655"/>
                      <a:pt x="460375" y="1997075"/>
                    </a:cubicBezTo>
                    <a:cubicBezTo>
                      <a:pt x="466833" y="1998836"/>
                      <a:pt x="472799" y="2002478"/>
                      <a:pt x="479425" y="2003425"/>
                    </a:cubicBezTo>
                    <a:cubicBezTo>
                      <a:pt x="505970" y="2007217"/>
                      <a:pt x="494390" y="2004785"/>
                      <a:pt x="514350" y="2009775"/>
                    </a:cubicBezTo>
                    <a:cubicBezTo>
                      <a:pt x="549275" y="2008717"/>
                      <a:pt x="584235" y="2008486"/>
                      <a:pt x="619125" y="2006600"/>
                    </a:cubicBezTo>
                    <a:cubicBezTo>
                      <a:pt x="623482" y="2006364"/>
                      <a:pt x="628036" y="2005590"/>
                      <a:pt x="631825" y="2003425"/>
                    </a:cubicBezTo>
                    <a:cubicBezTo>
                      <a:pt x="635724" y="2001197"/>
                      <a:pt x="637901" y="1996775"/>
                      <a:pt x="641350" y="1993900"/>
                    </a:cubicBezTo>
                    <a:cubicBezTo>
                      <a:pt x="644281" y="1991457"/>
                      <a:pt x="647700" y="1989667"/>
                      <a:pt x="650875" y="1987550"/>
                    </a:cubicBezTo>
                    <a:cubicBezTo>
                      <a:pt x="655108" y="1981200"/>
                      <a:pt x="661162" y="1975740"/>
                      <a:pt x="663575" y="1968500"/>
                    </a:cubicBezTo>
                    <a:lnTo>
                      <a:pt x="673100" y="1939925"/>
                    </a:lnTo>
                    <a:cubicBezTo>
                      <a:pt x="674158" y="1936750"/>
                      <a:pt x="674419" y="1933185"/>
                      <a:pt x="676275" y="1930400"/>
                    </a:cubicBezTo>
                    <a:cubicBezTo>
                      <a:pt x="678392" y="1927225"/>
                      <a:pt x="680918" y="1924288"/>
                      <a:pt x="682625" y="1920875"/>
                    </a:cubicBezTo>
                    <a:cubicBezTo>
                      <a:pt x="687790" y="1910546"/>
                      <a:pt x="683051" y="1910924"/>
                      <a:pt x="692150" y="1901825"/>
                    </a:cubicBezTo>
                    <a:cubicBezTo>
                      <a:pt x="694848" y="1899127"/>
                      <a:pt x="698500" y="1897592"/>
                      <a:pt x="701675" y="1895475"/>
                    </a:cubicBezTo>
                    <a:cubicBezTo>
                      <a:pt x="703792" y="1892300"/>
                      <a:pt x="705327" y="1888648"/>
                      <a:pt x="708025" y="1885950"/>
                    </a:cubicBezTo>
                    <a:cubicBezTo>
                      <a:pt x="720725" y="1873250"/>
                      <a:pt x="715433" y="1887008"/>
                      <a:pt x="723900" y="1870075"/>
                    </a:cubicBezTo>
                    <a:cubicBezTo>
                      <a:pt x="728442" y="1860991"/>
                      <a:pt x="727811" y="1851255"/>
                      <a:pt x="730250" y="1841500"/>
                    </a:cubicBezTo>
                    <a:cubicBezTo>
                      <a:pt x="732786" y="1831358"/>
                      <a:pt x="739988" y="1809608"/>
                      <a:pt x="749300" y="1803400"/>
                    </a:cubicBezTo>
                    <a:cubicBezTo>
                      <a:pt x="752475" y="1801283"/>
                      <a:pt x="755412" y="1798757"/>
                      <a:pt x="758825" y="1797050"/>
                    </a:cubicBezTo>
                    <a:cubicBezTo>
                      <a:pt x="761818" y="1795553"/>
                      <a:pt x="765009" y="1794077"/>
                      <a:pt x="768350" y="1793875"/>
                    </a:cubicBezTo>
                    <a:cubicBezTo>
                      <a:pt x="800059" y="1791953"/>
                      <a:pt x="831850" y="1791758"/>
                      <a:pt x="863600" y="1790700"/>
                    </a:cubicBezTo>
                    <a:cubicBezTo>
                      <a:pt x="869875" y="1788608"/>
                      <a:pt x="878174" y="1786770"/>
                      <a:pt x="882650" y="1781175"/>
                    </a:cubicBezTo>
                    <a:cubicBezTo>
                      <a:pt x="884741" y="1778562"/>
                      <a:pt x="884767" y="1774825"/>
                      <a:pt x="885825" y="1771650"/>
                    </a:cubicBezTo>
                    <a:cubicBezTo>
                      <a:pt x="884767" y="1766358"/>
                      <a:pt x="886105" y="1759921"/>
                      <a:pt x="882650" y="1755775"/>
                    </a:cubicBezTo>
                    <a:cubicBezTo>
                      <a:pt x="879856" y="1752423"/>
                      <a:pt x="873739" y="1754765"/>
                      <a:pt x="869950" y="1752600"/>
                    </a:cubicBezTo>
                    <a:cubicBezTo>
                      <a:pt x="866051" y="1750372"/>
                      <a:pt x="863874" y="1745950"/>
                      <a:pt x="860425" y="1743075"/>
                    </a:cubicBezTo>
                    <a:cubicBezTo>
                      <a:pt x="857494" y="1740632"/>
                      <a:pt x="854075" y="1738842"/>
                      <a:pt x="850900" y="1736725"/>
                    </a:cubicBezTo>
                    <a:cubicBezTo>
                      <a:pt x="848783" y="1733550"/>
                      <a:pt x="847248" y="1729898"/>
                      <a:pt x="844550" y="1727200"/>
                    </a:cubicBezTo>
                    <a:cubicBezTo>
                      <a:pt x="841852" y="1724502"/>
                      <a:pt x="837409" y="1723830"/>
                      <a:pt x="835025" y="1720850"/>
                    </a:cubicBezTo>
                    <a:cubicBezTo>
                      <a:pt x="832934" y="1718237"/>
                      <a:pt x="833706" y="1714110"/>
                      <a:pt x="831850" y="1711325"/>
                    </a:cubicBezTo>
                    <a:cubicBezTo>
                      <a:pt x="829359" y="1707589"/>
                      <a:pt x="825500" y="1704975"/>
                      <a:pt x="822325" y="1701800"/>
                    </a:cubicBezTo>
                    <a:cubicBezTo>
                      <a:pt x="814345" y="1677859"/>
                      <a:pt x="825110" y="1707369"/>
                      <a:pt x="812800" y="1682750"/>
                    </a:cubicBezTo>
                    <a:cubicBezTo>
                      <a:pt x="811303" y="1679757"/>
                      <a:pt x="810683" y="1676400"/>
                      <a:pt x="809625" y="1673225"/>
                    </a:cubicBezTo>
                    <a:lnTo>
                      <a:pt x="838200" y="1654175"/>
                    </a:lnTo>
                    <a:lnTo>
                      <a:pt x="847725" y="1647825"/>
                    </a:lnTo>
                    <a:lnTo>
                      <a:pt x="857250" y="1641475"/>
                    </a:lnTo>
                    <a:cubicBezTo>
                      <a:pt x="859367" y="1638300"/>
                      <a:pt x="860902" y="1634648"/>
                      <a:pt x="863600" y="1631950"/>
                    </a:cubicBezTo>
                    <a:cubicBezTo>
                      <a:pt x="866298" y="1629252"/>
                      <a:pt x="872780" y="1629400"/>
                      <a:pt x="873125" y="1625600"/>
                    </a:cubicBezTo>
                    <a:cubicBezTo>
                      <a:pt x="877150" y="1581320"/>
                      <a:pt x="874487" y="1536676"/>
                      <a:pt x="876300" y="1492250"/>
                    </a:cubicBezTo>
                    <a:cubicBezTo>
                      <a:pt x="876605" y="1484773"/>
                      <a:pt x="878136" y="1477388"/>
                      <a:pt x="879475" y="1470025"/>
                    </a:cubicBezTo>
                    <a:cubicBezTo>
                      <a:pt x="880256" y="1465732"/>
                      <a:pt x="879777" y="1460609"/>
                      <a:pt x="882650" y="1457325"/>
                    </a:cubicBezTo>
                    <a:cubicBezTo>
                      <a:pt x="887676" y="1451582"/>
                      <a:pt x="901700" y="1444625"/>
                      <a:pt x="901700" y="1444625"/>
                    </a:cubicBezTo>
                    <a:cubicBezTo>
                      <a:pt x="918633" y="1419225"/>
                      <a:pt x="896408" y="1449917"/>
                      <a:pt x="917575" y="1428750"/>
                    </a:cubicBezTo>
                    <a:cubicBezTo>
                      <a:pt x="938742" y="1407583"/>
                      <a:pt x="908050" y="1429808"/>
                      <a:pt x="933450" y="1412875"/>
                    </a:cubicBezTo>
                    <a:cubicBezTo>
                      <a:pt x="940955" y="1390361"/>
                      <a:pt x="938496" y="1401791"/>
                      <a:pt x="933450" y="1358900"/>
                    </a:cubicBezTo>
                    <a:cubicBezTo>
                      <a:pt x="933059" y="1355576"/>
                      <a:pt x="932131" y="1352160"/>
                      <a:pt x="930275" y="1349375"/>
                    </a:cubicBezTo>
                    <a:cubicBezTo>
                      <a:pt x="927784" y="1345639"/>
                      <a:pt x="923672" y="1343259"/>
                      <a:pt x="920750" y="1339850"/>
                    </a:cubicBezTo>
                    <a:cubicBezTo>
                      <a:pt x="917306" y="1335832"/>
                      <a:pt x="914400" y="1331383"/>
                      <a:pt x="911225" y="1327150"/>
                    </a:cubicBezTo>
                    <a:cubicBezTo>
                      <a:pt x="910167" y="1323975"/>
                      <a:pt x="909368" y="1320701"/>
                      <a:pt x="908050" y="1317625"/>
                    </a:cubicBezTo>
                    <a:cubicBezTo>
                      <a:pt x="906186" y="1313275"/>
                      <a:pt x="902093" y="1309642"/>
                      <a:pt x="901700" y="1304925"/>
                    </a:cubicBezTo>
                    <a:cubicBezTo>
                      <a:pt x="901231" y="1299296"/>
                      <a:pt x="903769" y="1278562"/>
                      <a:pt x="908050" y="1270000"/>
                    </a:cubicBezTo>
                    <a:cubicBezTo>
                      <a:pt x="909757" y="1266587"/>
                      <a:pt x="911420" y="1262859"/>
                      <a:pt x="914400" y="1260475"/>
                    </a:cubicBezTo>
                    <a:cubicBezTo>
                      <a:pt x="917013" y="1258384"/>
                      <a:pt x="920750" y="1258358"/>
                      <a:pt x="923925" y="1257300"/>
                    </a:cubicBezTo>
                    <a:cubicBezTo>
                      <a:pt x="929973" y="1239157"/>
                      <a:pt x="922111" y="1254276"/>
                      <a:pt x="936625" y="1244600"/>
                    </a:cubicBezTo>
                    <a:cubicBezTo>
                      <a:pt x="951579" y="1234631"/>
                      <a:pt x="940093" y="1235650"/>
                      <a:pt x="955675" y="1228725"/>
                    </a:cubicBezTo>
                    <a:cubicBezTo>
                      <a:pt x="974021" y="1220571"/>
                      <a:pt x="979944" y="1222752"/>
                      <a:pt x="1000125" y="1216025"/>
                    </a:cubicBezTo>
                    <a:cubicBezTo>
                      <a:pt x="1003300" y="1214967"/>
                      <a:pt x="1006724" y="1214475"/>
                      <a:pt x="1009650" y="1212850"/>
                    </a:cubicBezTo>
                    <a:cubicBezTo>
                      <a:pt x="1016321" y="1209144"/>
                      <a:pt x="1023304" y="1205546"/>
                      <a:pt x="1028700" y="1200150"/>
                    </a:cubicBezTo>
                    <a:lnTo>
                      <a:pt x="1047750" y="1181100"/>
                    </a:lnTo>
                    <a:cubicBezTo>
                      <a:pt x="1070398" y="1188649"/>
                      <a:pt x="1043017" y="1177945"/>
                      <a:pt x="1066800" y="1193800"/>
                    </a:cubicBezTo>
                    <a:cubicBezTo>
                      <a:pt x="1069585" y="1195656"/>
                      <a:pt x="1073150" y="1195917"/>
                      <a:pt x="1076325" y="1196975"/>
                    </a:cubicBezTo>
                    <a:cubicBezTo>
                      <a:pt x="1088946" y="1215906"/>
                      <a:pt x="1079856" y="1199111"/>
                      <a:pt x="1085850" y="1235075"/>
                    </a:cubicBezTo>
                    <a:cubicBezTo>
                      <a:pt x="1086400" y="1238376"/>
                      <a:pt x="1086240" y="1242744"/>
                      <a:pt x="1089025" y="1244600"/>
                    </a:cubicBezTo>
                    <a:cubicBezTo>
                      <a:pt x="1093515" y="1247593"/>
                      <a:pt x="1099608" y="1246717"/>
                      <a:pt x="1104900" y="1247775"/>
                    </a:cubicBezTo>
                    <a:cubicBezTo>
                      <a:pt x="1111250" y="1246717"/>
                      <a:pt x="1118067" y="1247215"/>
                      <a:pt x="1123950" y="1244600"/>
                    </a:cubicBezTo>
                    <a:cubicBezTo>
                      <a:pt x="1144808" y="1235330"/>
                      <a:pt x="1135704" y="1193262"/>
                      <a:pt x="1136650" y="1184275"/>
                    </a:cubicBezTo>
                    <a:cubicBezTo>
                      <a:pt x="1137714" y="1174166"/>
                      <a:pt x="1141751" y="1174073"/>
                      <a:pt x="1146175" y="1165225"/>
                    </a:cubicBezTo>
                    <a:cubicBezTo>
                      <a:pt x="1153843" y="1149889"/>
                      <a:pt x="1142818" y="1160054"/>
                      <a:pt x="1158875" y="1149350"/>
                    </a:cubicBezTo>
                    <a:cubicBezTo>
                      <a:pt x="1163108" y="1143000"/>
                      <a:pt x="1169162" y="1137540"/>
                      <a:pt x="1171575" y="1130300"/>
                    </a:cubicBezTo>
                    <a:cubicBezTo>
                      <a:pt x="1173692" y="1123950"/>
                      <a:pt x="1174212" y="1116819"/>
                      <a:pt x="1177925" y="1111250"/>
                    </a:cubicBezTo>
                    <a:cubicBezTo>
                      <a:pt x="1196123" y="1083953"/>
                      <a:pt x="1174305" y="1118490"/>
                      <a:pt x="1187450" y="1092200"/>
                    </a:cubicBezTo>
                    <a:cubicBezTo>
                      <a:pt x="1189157" y="1088787"/>
                      <a:pt x="1192093" y="1086088"/>
                      <a:pt x="1193800" y="1082675"/>
                    </a:cubicBezTo>
                    <a:cubicBezTo>
                      <a:pt x="1195297" y="1079682"/>
                      <a:pt x="1195478" y="1076143"/>
                      <a:pt x="1196975" y="1073150"/>
                    </a:cubicBezTo>
                    <a:cubicBezTo>
                      <a:pt x="1198682" y="1069737"/>
                      <a:pt x="1201775" y="1067112"/>
                      <a:pt x="1203325" y="1063625"/>
                    </a:cubicBezTo>
                    <a:cubicBezTo>
                      <a:pt x="1206043" y="1057508"/>
                      <a:pt x="1207558" y="1050925"/>
                      <a:pt x="1209675" y="1044575"/>
                    </a:cubicBezTo>
                    <a:lnTo>
                      <a:pt x="1212850" y="1035050"/>
                    </a:lnTo>
                    <a:cubicBezTo>
                      <a:pt x="1213908" y="1026583"/>
                      <a:pt x="1209992" y="1015683"/>
                      <a:pt x="1216025" y="1009650"/>
                    </a:cubicBezTo>
                    <a:cubicBezTo>
                      <a:pt x="1217651" y="1008024"/>
                      <a:pt x="1239742" y="1013571"/>
                      <a:pt x="1244600" y="1016000"/>
                    </a:cubicBezTo>
                    <a:cubicBezTo>
                      <a:pt x="1248013" y="1017707"/>
                      <a:pt x="1250552" y="1021010"/>
                      <a:pt x="1254125" y="1022350"/>
                    </a:cubicBezTo>
                    <a:cubicBezTo>
                      <a:pt x="1259178" y="1024245"/>
                      <a:pt x="1264794" y="1024105"/>
                      <a:pt x="1270000" y="1025525"/>
                    </a:cubicBezTo>
                    <a:cubicBezTo>
                      <a:pt x="1306041" y="1035354"/>
                      <a:pt x="1275858" y="1026866"/>
                      <a:pt x="1298575" y="1038225"/>
                    </a:cubicBezTo>
                    <a:cubicBezTo>
                      <a:pt x="1324865" y="1051370"/>
                      <a:pt x="1290328" y="1029552"/>
                      <a:pt x="1317625" y="1047750"/>
                    </a:cubicBezTo>
                    <a:cubicBezTo>
                      <a:pt x="1319742" y="1050925"/>
                      <a:pt x="1320250" y="1056447"/>
                      <a:pt x="1323975" y="1057275"/>
                    </a:cubicBezTo>
                    <a:cubicBezTo>
                      <a:pt x="1344465" y="1061828"/>
                      <a:pt x="1344859" y="1056111"/>
                      <a:pt x="1352550" y="1044575"/>
                    </a:cubicBezTo>
                    <a:cubicBezTo>
                      <a:pt x="1354730" y="1022778"/>
                      <a:pt x="1348813" y="1014258"/>
                      <a:pt x="1365250" y="1003300"/>
                    </a:cubicBezTo>
                    <a:cubicBezTo>
                      <a:pt x="1368035" y="1001444"/>
                      <a:pt x="1371600" y="1001183"/>
                      <a:pt x="1374775" y="1000125"/>
                    </a:cubicBezTo>
                    <a:cubicBezTo>
                      <a:pt x="1380502" y="994398"/>
                      <a:pt x="1387475" y="990265"/>
                      <a:pt x="1387475" y="981075"/>
                    </a:cubicBezTo>
                    <a:cubicBezTo>
                      <a:pt x="1387475" y="977728"/>
                      <a:pt x="1385219" y="974768"/>
                      <a:pt x="1384300" y="971550"/>
                    </a:cubicBezTo>
                    <a:cubicBezTo>
                      <a:pt x="1383101" y="967354"/>
                      <a:pt x="1383998" y="962134"/>
                      <a:pt x="1381125" y="958850"/>
                    </a:cubicBezTo>
                    <a:cubicBezTo>
                      <a:pt x="1376099" y="953107"/>
                      <a:pt x="1368425" y="950383"/>
                      <a:pt x="1362075" y="946150"/>
                    </a:cubicBezTo>
                    <a:lnTo>
                      <a:pt x="1352550" y="939800"/>
                    </a:lnTo>
                    <a:lnTo>
                      <a:pt x="1343025" y="933450"/>
                    </a:lnTo>
                    <a:lnTo>
                      <a:pt x="1333500" y="927100"/>
                    </a:lnTo>
                    <a:cubicBezTo>
                      <a:pt x="1332442" y="923925"/>
                      <a:pt x="1329267" y="920750"/>
                      <a:pt x="1330325" y="917575"/>
                    </a:cubicBezTo>
                    <a:cubicBezTo>
                      <a:pt x="1336693" y="898470"/>
                      <a:pt x="1339376" y="899741"/>
                      <a:pt x="1352550" y="895350"/>
                    </a:cubicBezTo>
                    <a:cubicBezTo>
                      <a:pt x="1359572" y="888328"/>
                      <a:pt x="1364005" y="885141"/>
                      <a:pt x="1368425" y="876300"/>
                    </a:cubicBezTo>
                    <a:cubicBezTo>
                      <a:pt x="1369922" y="873307"/>
                      <a:pt x="1370542" y="869950"/>
                      <a:pt x="1371600" y="866775"/>
                    </a:cubicBezTo>
                    <a:cubicBezTo>
                      <a:pt x="1359958" y="849312"/>
                      <a:pt x="1371600" y="864129"/>
                      <a:pt x="1355725" y="850900"/>
                    </a:cubicBezTo>
                    <a:cubicBezTo>
                      <a:pt x="1346286" y="843034"/>
                      <a:pt x="1348632" y="839794"/>
                      <a:pt x="1336675" y="838200"/>
                    </a:cubicBezTo>
                    <a:cubicBezTo>
                      <a:pt x="1324043" y="836516"/>
                      <a:pt x="1311275" y="836083"/>
                      <a:pt x="1298575" y="835025"/>
                    </a:cubicBezTo>
                    <a:cubicBezTo>
                      <a:pt x="1290108" y="832203"/>
                      <a:pt x="1285875" y="833614"/>
                      <a:pt x="1285875" y="822325"/>
                    </a:cubicBezTo>
                    <a:cubicBezTo>
                      <a:pt x="1285875" y="778920"/>
                      <a:pt x="1282378" y="735039"/>
                      <a:pt x="1289050" y="692150"/>
                    </a:cubicBezTo>
                    <a:cubicBezTo>
                      <a:pt x="1290223" y="684609"/>
                      <a:pt x="1308100" y="679450"/>
                      <a:pt x="1308100" y="679450"/>
                    </a:cubicBezTo>
                    <a:cubicBezTo>
                      <a:pt x="1310217" y="676275"/>
                      <a:pt x="1311578" y="672438"/>
                      <a:pt x="1314450" y="669925"/>
                    </a:cubicBezTo>
                    <a:cubicBezTo>
                      <a:pt x="1320193" y="664899"/>
                      <a:pt x="1328104" y="662621"/>
                      <a:pt x="1333500" y="657225"/>
                    </a:cubicBezTo>
                    <a:lnTo>
                      <a:pt x="1343025" y="647700"/>
                    </a:lnTo>
                    <a:cubicBezTo>
                      <a:pt x="1344083" y="644525"/>
                      <a:pt x="1345758" y="641492"/>
                      <a:pt x="1346200" y="638175"/>
                    </a:cubicBezTo>
                    <a:cubicBezTo>
                      <a:pt x="1351802" y="596160"/>
                      <a:pt x="1350802" y="533447"/>
                      <a:pt x="1346200" y="498475"/>
                    </a:cubicBezTo>
                    <a:cubicBezTo>
                      <a:pt x="1345204" y="490908"/>
                      <a:pt x="1335913" y="486665"/>
                      <a:pt x="1333500" y="479425"/>
                    </a:cubicBezTo>
                    <a:lnTo>
                      <a:pt x="1327150" y="460375"/>
                    </a:lnTo>
                    <a:cubicBezTo>
                      <a:pt x="1328208" y="434975"/>
                      <a:pt x="1326146" y="409251"/>
                      <a:pt x="1330325" y="384175"/>
                    </a:cubicBezTo>
                    <a:cubicBezTo>
                      <a:pt x="1331580" y="376647"/>
                      <a:pt x="1338792" y="371475"/>
                      <a:pt x="1343025" y="365125"/>
                    </a:cubicBezTo>
                    <a:cubicBezTo>
                      <a:pt x="1345142" y="361950"/>
                      <a:pt x="1346200" y="357717"/>
                      <a:pt x="1349375" y="355600"/>
                    </a:cubicBezTo>
                    <a:cubicBezTo>
                      <a:pt x="1355725" y="351367"/>
                      <a:pt x="1361185" y="345313"/>
                      <a:pt x="1368425" y="342900"/>
                    </a:cubicBezTo>
                    <a:cubicBezTo>
                      <a:pt x="1382440" y="338228"/>
                      <a:pt x="1374957" y="341222"/>
                      <a:pt x="1390650" y="333375"/>
                    </a:cubicBezTo>
                    <a:cubicBezTo>
                      <a:pt x="1392767" y="330200"/>
                      <a:pt x="1394020" y="326234"/>
                      <a:pt x="1397000" y="323850"/>
                    </a:cubicBezTo>
                    <a:cubicBezTo>
                      <a:pt x="1412394" y="311535"/>
                      <a:pt x="1402773" y="331932"/>
                      <a:pt x="1409700" y="311150"/>
                    </a:cubicBezTo>
                    <a:cubicBezTo>
                      <a:pt x="1408642" y="307975"/>
                      <a:pt x="1409836" y="302115"/>
                      <a:pt x="1406525" y="301625"/>
                    </a:cubicBezTo>
                    <a:cubicBezTo>
                      <a:pt x="1379285" y="297589"/>
                      <a:pt x="1351366" y="301284"/>
                      <a:pt x="1323975" y="298450"/>
                    </a:cubicBezTo>
                    <a:cubicBezTo>
                      <a:pt x="1320179" y="298057"/>
                      <a:pt x="1317863" y="293807"/>
                      <a:pt x="1314450" y="292100"/>
                    </a:cubicBezTo>
                    <a:cubicBezTo>
                      <a:pt x="1311457" y="290603"/>
                      <a:pt x="1308233" y="289434"/>
                      <a:pt x="1304925" y="288925"/>
                    </a:cubicBezTo>
                    <a:cubicBezTo>
                      <a:pt x="1294413" y="287308"/>
                      <a:pt x="1283758" y="286808"/>
                      <a:pt x="1273175" y="285750"/>
                    </a:cubicBezTo>
                    <a:cubicBezTo>
                      <a:pt x="1270000" y="284692"/>
                      <a:pt x="1266643" y="284072"/>
                      <a:pt x="1263650" y="282575"/>
                    </a:cubicBezTo>
                    <a:cubicBezTo>
                      <a:pt x="1239031" y="270265"/>
                      <a:pt x="1268541" y="281030"/>
                      <a:pt x="1244600" y="273050"/>
                    </a:cubicBezTo>
                    <a:cubicBezTo>
                      <a:pt x="1245658" y="264583"/>
                      <a:pt x="1246372" y="256066"/>
                      <a:pt x="1247775" y="247650"/>
                    </a:cubicBezTo>
                    <a:cubicBezTo>
                      <a:pt x="1248492" y="243346"/>
                      <a:pt x="1248529" y="238581"/>
                      <a:pt x="1250950" y="234950"/>
                    </a:cubicBezTo>
                    <a:cubicBezTo>
                      <a:pt x="1253067" y="231775"/>
                      <a:pt x="1257544" y="231043"/>
                      <a:pt x="1260475" y="228600"/>
                    </a:cubicBezTo>
                    <a:cubicBezTo>
                      <a:pt x="1263924" y="225725"/>
                      <a:pt x="1267125" y="222524"/>
                      <a:pt x="1270000" y="219075"/>
                    </a:cubicBezTo>
                    <a:cubicBezTo>
                      <a:pt x="1272443" y="216144"/>
                      <a:pt x="1274643" y="212963"/>
                      <a:pt x="1276350" y="209550"/>
                    </a:cubicBezTo>
                    <a:cubicBezTo>
                      <a:pt x="1278627" y="204995"/>
                      <a:pt x="1281683" y="191394"/>
                      <a:pt x="1282700" y="187325"/>
                    </a:cubicBezTo>
                    <a:cubicBezTo>
                      <a:pt x="1281642" y="172508"/>
                      <a:pt x="1282747" y="157376"/>
                      <a:pt x="1279525" y="142875"/>
                    </a:cubicBezTo>
                    <a:cubicBezTo>
                      <a:pt x="1278377" y="137709"/>
                      <a:pt x="1273540" y="134108"/>
                      <a:pt x="1270000" y="130175"/>
                    </a:cubicBezTo>
                    <a:cubicBezTo>
                      <a:pt x="1238569" y="95251"/>
                      <a:pt x="1261867" y="127501"/>
                      <a:pt x="1238250" y="92075"/>
                    </a:cubicBezTo>
                    <a:cubicBezTo>
                      <a:pt x="1236133" y="88900"/>
                      <a:pt x="1233107" y="86170"/>
                      <a:pt x="1231900" y="82550"/>
                    </a:cubicBezTo>
                    <a:cubicBezTo>
                      <a:pt x="1229783" y="76200"/>
                      <a:pt x="1226863" y="70064"/>
                      <a:pt x="1225550" y="63500"/>
                    </a:cubicBezTo>
                    <a:cubicBezTo>
                      <a:pt x="1224670" y="59102"/>
                      <a:pt x="1222251" y="43592"/>
                      <a:pt x="1219200" y="38100"/>
                    </a:cubicBezTo>
                    <a:cubicBezTo>
                      <a:pt x="1215494" y="31429"/>
                      <a:pt x="1212850" y="23283"/>
                      <a:pt x="1206500" y="19050"/>
                    </a:cubicBezTo>
                    <a:cubicBezTo>
                      <a:pt x="1185689" y="5176"/>
                      <a:pt x="1187450" y="13982"/>
                      <a:pt x="1187450" y="0"/>
                    </a:cubicBezTo>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grpSp>
        <p:grpSp>
          <p:nvGrpSpPr>
            <p:cNvPr id="12" name="Group 155"/>
            <p:cNvGrpSpPr/>
            <p:nvPr>
              <p:custDataLst>
                <p:tags r:id="rId4"/>
              </p:custDataLst>
            </p:nvPr>
          </p:nvGrpSpPr>
          <p:grpSpPr bwMode="gray">
            <a:xfrm>
              <a:off x="3200400" y="2843822"/>
              <a:ext cx="1550194" cy="2202656"/>
              <a:chOff x="3200400" y="3226594"/>
              <a:chExt cx="1550194" cy="2202656"/>
            </a:xfrm>
            <a:grpFill/>
          </p:grpSpPr>
          <p:sp>
            <p:nvSpPr>
              <p:cNvPr id="13" name="Freeform 12"/>
              <p:cNvSpPr/>
              <p:nvPr/>
            </p:nvSpPr>
            <p:spPr bwMode="gray">
              <a:xfrm>
                <a:off x="3200400" y="3226594"/>
                <a:ext cx="1550194" cy="1509712"/>
              </a:xfrm>
              <a:custGeom>
                <a:avLst/>
                <a:gdLst>
                  <a:gd name="connsiteX0" fmla="*/ 111919 w 1550194"/>
                  <a:gd name="connsiteY0" fmla="*/ 1500187 h 1509712"/>
                  <a:gd name="connsiteX1" fmla="*/ 109538 w 1550194"/>
                  <a:gd name="connsiteY1" fmla="*/ 1469231 h 1509712"/>
                  <a:gd name="connsiteX2" fmla="*/ 104775 w 1550194"/>
                  <a:gd name="connsiteY2" fmla="*/ 1462087 h 1509712"/>
                  <a:gd name="connsiteX3" fmla="*/ 97631 w 1550194"/>
                  <a:gd name="connsiteY3" fmla="*/ 1447800 h 1509712"/>
                  <a:gd name="connsiteX4" fmla="*/ 100013 w 1550194"/>
                  <a:gd name="connsiteY4" fmla="*/ 1423987 h 1509712"/>
                  <a:gd name="connsiteX5" fmla="*/ 102394 w 1550194"/>
                  <a:gd name="connsiteY5" fmla="*/ 1416844 h 1509712"/>
                  <a:gd name="connsiteX6" fmla="*/ 107156 w 1550194"/>
                  <a:gd name="connsiteY6" fmla="*/ 1371600 h 1509712"/>
                  <a:gd name="connsiteX7" fmla="*/ 111919 w 1550194"/>
                  <a:gd name="connsiteY7" fmla="*/ 1364456 h 1509712"/>
                  <a:gd name="connsiteX8" fmla="*/ 111919 w 1550194"/>
                  <a:gd name="connsiteY8" fmla="*/ 1316831 h 1509712"/>
                  <a:gd name="connsiteX9" fmla="*/ 107156 w 1550194"/>
                  <a:gd name="connsiteY9" fmla="*/ 1300162 h 1509712"/>
                  <a:gd name="connsiteX10" fmla="*/ 102394 w 1550194"/>
                  <a:gd name="connsiteY10" fmla="*/ 1293019 h 1509712"/>
                  <a:gd name="connsiteX11" fmla="*/ 92869 w 1550194"/>
                  <a:gd name="connsiteY11" fmla="*/ 1281112 h 1509712"/>
                  <a:gd name="connsiteX12" fmla="*/ 80963 w 1550194"/>
                  <a:gd name="connsiteY12" fmla="*/ 1269206 h 1509712"/>
                  <a:gd name="connsiteX13" fmla="*/ 66675 w 1550194"/>
                  <a:gd name="connsiteY13" fmla="*/ 1257300 h 1509712"/>
                  <a:gd name="connsiteX14" fmla="*/ 54769 w 1550194"/>
                  <a:gd name="connsiteY14" fmla="*/ 1247775 h 1509712"/>
                  <a:gd name="connsiteX15" fmla="*/ 42863 w 1550194"/>
                  <a:gd name="connsiteY15" fmla="*/ 1233487 h 1509712"/>
                  <a:gd name="connsiteX16" fmla="*/ 35719 w 1550194"/>
                  <a:gd name="connsiteY16" fmla="*/ 1228725 h 1509712"/>
                  <a:gd name="connsiteX17" fmla="*/ 21431 w 1550194"/>
                  <a:gd name="connsiteY17" fmla="*/ 1214437 h 1509712"/>
                  <a:gd name="connsiteX18" fmla="*/ 14288 w 1550194"/>
                  <a:gd name="connsiteY18" fmla="*/ 1207294 h 1509712"/>
                  <a:gd name="connsiteX19" fmla="*/ 7144 w 1550194"/>
                  <a:gd name="connsiteY19" fmla="*/ 1202531 h 1509712"/>
                  <a:gd name="connsiteX20" fmla="*/ 0 w 1550194"/>
                  <a:gd name="connsiteY20" fmla="*/ 1188244 h 1509712"/>
                  <a:gd name="connsiteX21" fmla="*/ 2381 w 1550194"/>
                  <a:gd name="connsiteY21" fmla="*/ 1173956 h 1509712"/>
                  <a:gd name="connsiteX22" fmla="*/ 4763 w 1550194"/>
                  <a:gd name="connsiteY22" fmla="*/ 1164431 h 1509712"/>
                  <a:gd name="connsiteX23" fmla="*/ 11906 w 1550194"/>
                  <a:gd name="connsiteY23" fmla="*/ 1159669 h 1509712"/>
                  <a:gd name="connsiteX24" fmla="*/ 16669 w 1550194"/>
                  <a:gd name="connsiteY24" fmla="*/ 1150144 h 1509712"/>
                  <a:gd name="connsiteX25" fmla="*/ 26194 w 1550194"/>
                  <a:gd name="connsiteY25" fmla="*/ 1135856 h 1509712"/>
                  <a:gd name="connsiteX26" fmla="*/ 28575 w 1550194"/>
                  <a:gd name="connsiteY26" fmla="*/ 1047750 h 1509712"/>
                  <a:gd name="connsiteX27" fmla="*/ 35719 w 1550194"/>
                  <a:gd name="connsiteY27" fmla="*/ 1019175 h 1509712"/>
                  <a:gd name="connsiteX28" fmla="*/ 38100 w 1550194"/>
                  <a:gd name="connsiteY28" fmla="*/ 1012031 h 1509712"/>
                  <a:gd name="connsiteX29" fmla="*/ 40481 w 1550194"/>
                  <a:gd name="connsiteY29" fmla="*/ 1002506 h 1509712"/>
                  <a:gd name="connsiteX30" fmla="*/ 47625 w 1550194"/>
                  <a:gd name="connsiteY30" fmla="*/ 981075 h 1509712"/>
                  <a:gd name="connsiteX31" fmla="*/ 52388 w 1550194"/>
                  <a:gd name="connsiteY31" fmla="*/ 966787 h 1509712"/>
                  <a:gd name="connsiteX32" fmla="*/ 66675 w 1550194"/>
                  <a:gd name="connsiteY32" fmla="*/ 954881 h 1509712"/>
                  <a:gd name="connsiteX33" fmla="*/ 69056 w 1550194"/>
                  <a:gd name="connsiteY33" fmla="*/ 947737 h 1509712"/>
                  <a:gd name="connsiteX34" fmla="*/ 76200 w 1550194"/>
                  <a:gd name="connsiteY34" fmla="*/ 942975 h 1509712"/>
                  <a:gd name="connsiteX35" fmla="*/ 83344 w 1550194"/>
                  <a:gd name="connsiteY35" fmla="*/ 935831 h 1509712"/>
                  <a:gd name="connsiteX36" fmla="*/ 92869 w 1550194"/>
                  <a:gd name="connsiteY36" fmla="*/ 921544 h 1509712"/>
                  <a:gd name="connsiteX37" fmla="*/ 100013 w 1550194"/>
                  <a:gd name="connsiteY37" fmla="*/ 904875 h 1509712"/>
                  <a:gd name="connsiteX38" fmla="*/ 104775 w 1550194"/>
                  <a:gd name="connsiteY38" fmla="*/ 890587 h 1509712"/>
                  <a:gd name="connsiteX39" fmla="*/ 107156 w 1550194"/>
                  <a:gd name="connsiteY39" fmla="*/ 883444 h 1509712"/>
                  <a:gd name="connsiteX40" fmla="*/ 121444 w 1550194"/>
                  <a:gd name="connsiteY40" fmla="*/ 873919 h 1509712"/>
                  <a:gd name="connsiteX41" fmla="*/ 133350 w 1550194"/>
                  <a:gd name="connsiteY41" fmla="*/ 859631 h 1509712"/>
                  <a:gd name="connsiteX42" fmla="*/ 142875 w 1550194"/>
                  <a:gd name="connsiteY42" fmla="*/ 854869 h 1509712"/>
                  <a:gd name="connsiteX43" fmla="*/ 150019 w 1550194"/>
                  <a:gd name="connsiteY43" fmla="*/ 850106 h 1509712"/>
                  <a:gd name="connsiteX44" fmla="*/ 159544 w 1550194"/>
                  <a:gd name="connsiteY44" fmla="*/ 842962 h 1509712"/>
                  <a:gd name="connsiteX45" fmla="*/ 169069 w 1550194"/>
                  <a:gd name="connsiteY45" fmla="*/ 840581 h 1509712"/>
                  <a:gd name="connsiteX46" fmla="*/ 235744 w 1550194"/>
                  <a:gd name="connsiteY46" fmla="*/ 838200 h 1509712"/>
                  <a:gd name="connsiteX47" fmla="*/ 250031 w 1550194"/>
                  <a:gd name="connsiteY47" fmla="*/ 831056 h 1509712"/>
                  <a:gd name="connsiteX48" fmla="*/ 257175 w 1550194"/>
                  <a:gd name="connsiteY48" fmla="*/ 828675 h 1509712"/>
                  <a:gd name="connsiteX49" fmla="*/ 271463 w 1550194"/>
                  <a:gd name="connsiteY49" fmla="*/ 819150 h 1509712"/>
                  <a:gd name="connsiteX50" fmla="*/ 290513 w 1550194"/>
                  <a:gd name="connsiteY50" fmla="*/ 814387 h 1509712"/>
                  <a:gd name="connsiteX51" fmla="*/ 304800 w 1550194"/>
                  <a:gd name="connsiteY51" fmla="*/ 804862 h 1509712"/>
                  <a:gd name="connsiteX52" fmla="*/ 311944 w 1550194"/>
                  <a:gd name="connsiteY52" fmla="*/ 797719 h 1509712"/>
                  <a:gd name="connsiteX53" fmla="*/ 319088 w 1550194"/>
                  <a:gd name="connsiteY53" fmla="*/ 792956 h 1509712"/>
                  <a:gd name="connsiteX54" fmla="*/ 330994 w 1550194"/>
                  <a:gd name="connsiteY54" fmla="*/ 781050 h 1509712"/>
                  <a:gd name="connsiteX55" fmla="*/ 345281 w 1550194"/>
                  <a:gd name="connsiteY55" fmla="*/ 771525 h 1509712"/>
                  <a:gd name="connsiteX56" fmla="*/ 359569 w 1550194"/>
                  <a:gd name="connsiteY56" fmla="*/ 759619 h 1509712"/>
                  <a:gd name="connsiteX57" fmla="*/ 366713 w 1550194"/>
                  <a:gd name="connsiteY57" fmla="*/ 757237 h 1509712"/>
                  <a:gd name="connsiteX58" fmla="*/ 371475 w 1550194"/>
                  <a:gd name="connsiteY58" fmla="*/ 750094 h 1509712"/>
                  <a:gd name="connsiteX59" fmla="*/ 388144 w 1550194"/>
                  <a:gd name="connsiteY59" fmla="*/ 742950 h 1509712"/>
                  <a:gd name="connsiteX60" fmla="*/ 402431 w 1550194"/>
                  <a:gd name="connsiteY60" fmla="*/ 731044 h 1509712"/>
                  <a:gd name="connsiteX61" fmla="*/ 419100 w 1550194"/>
                  <a:gd name="connsiteY61" fmla="*/ 723900 h 1509712"/>
                  <a:gd name="connsiteX62" fmla="*/ 440531 w 1550194"/>
                  <a:gd name="connsiteY62" fmla="*/ 711994 h 1509712"/>
                  <a:gd name="connsiteX63" fmla="*/ 461963 w 1550194"/>
                  <a:gd name="connsiteY63" fmla="*/ 700087 h 1509712"/>
                  <a:gd name="connsiteX64" fmla="*/ 471488 w 1550194"/>
                  <a:gd name="connsiteY64" fmla="*/ 697706 h 1509712"/>
                  <a:gd name="connsiteX65" fmla="*/ 478631 w 1550194"/>
                  <a:gd name="connsiteY65" fmla="*/ 692944 h 1509712"/>
                  <a:gd name="connsiteX66" fmla="*/ 495300 w 1550194"/>
                  <a:gd name="connsiteY66" fmla="*/ 688181 h 1509712"/>
                  <a:gd name="connsiteX67" fmla="*/ 509588 w 1550194"/>
                  <a:gd name="connsiteY67" fmla="*/ 676275 h 1509712"/>
                  <a:gd name="connsiteX68" fmla="*/ 531019 w 1550194"/>
                  <a:gd name="connsiteY68" fmla="*/ 664369 h 1509712"/>
                  <a:gd name="connsiteX69" fmla="*/ 535781 w 1550194"/>
                  <a:gd name="connsiteY69" fmla="*/ 657225 h 1509712"/>
                  <a:gd name="connsiteX70" fmla="*/ 550069 w 1550194"/>
                  <a:gd name="connsiteY70" fmla="*/ 647700 h 1509712"/>
                  <a:gd name="connsiteX71" fmla="*/ 552450 w 1550194"/>
                  <a:gd name="connsiteY71" fmla="*/ 640556 h 1509712"/>
                  <a:gd name="connsiteX72" fmla="*/ 566738 w 1550194"/>
                  <a:gd name="connsiteY72" fmla="*/ 628650 h 1509712"/>
                  <a:gd name="connsiteX73" fmla="*/ 576263 w 1550194"/>
                  <a:gd name="connsiteY73" fmla="*/ 614362 h 1509712"/>
                  <a:gd name="connsiteX74" fmla="*/ 581025 w 1550194"/>
                  <a:gd name="connsiteY74" fmla="*/ 600075 h 1509712"/>
                  <a:gd name="connsiteX75" fmla="*/ 578644 w 1550194"/>
                  <a:gd name="connsiteY75" fmla="*/ 538162 h 1509712"/>
                  <a:gd name="connsiteX76" fmla="*/ 576263 w 1550194"/>
                  <a:gd name="connsiteY76" fmla="*/ 531019 h 1509712"/>
                  <a:gd name="connsiteX77" fmla="*/ 590550 w 1550194"/>
                  <a:gd name="connsiteY77" fmla="*/ 523875 h 1509712"/>
                  <a:gd name="connsiteX78" fmla="*/ 595313 w 1550194"/>
                  <a:gd name="connsiteY78" fmla="*/ 516731 h 1509712"/>
                  <a:gd name="connsiteX79" fmla="*/ 602456 w 1550194"/>
                  <a:gd name="connsiteY79" fmla="*/ 514350 h 1509712"/>
                  <a:gd name="connsiteX80" fmla="*/ 611981 w 1550194"/>
                  <a:gd name="connsiteY80" fmla="*/ 500062 h 1509712"/>
                  <a:gd name="connsiteX81" fmla="*/ 609600 w 1550194"/>
                  <a:gd name="connsiteY81" fmla="*/ 483394 h 1509712"/>
                  <a:gd name="connsiteX82" fmla="*/ 604838 w 1550194"/>
                  <a:gd name="connsiteY82" fmla="*/ 476250 h 1509712"/>
                  <a:gd name="connsiteX83" fmla="*/ 602456 w 1550194"/>
                  <a:gd name="connsiteY83" fmla="*/ 469106 h 1509712"/>
                  <a:gd name="connsiteX84" fmla="*/ 595313 w 1550194"/>
                  <a:gd name="connsiteY84" fmla="*/ 438150 h 1509712"/>
                  <a:gd name="connsiteX85" fmla="*/ 607219 w 1550194"/>
                  <a:gd name="connsiteY85" fmla="*/ 402431 h 1509712"/>
                  <a:gd name="connsiteX86" fmla="*/ 621506 w 1550194"/>
                  <a:gd name="connsiteY86" fmla="*/ 392906 h 1509712"/>
                  <a:gd name="connsiteX87" fmla="*/ 626269 w 1550194"/>
                  <a:gd name="connsiteY87" fmla="*/ 426244 h 1509712"/>
                  <a:gd name="connsiteX88" fmla="*/ 631031 w 1550194"/>
                  <a:gd name="connsiteY88" fmla="*/ 433387 h 1509712"/>
                  <a:gd name="connsiteX89" fmla="*/ 642938 w 1550194"/>
                  <a:gd name="connsiteY89" fmla="*/ 457200 h 1509712"/>
                  <a:gd name="connsiteX90" fmla="*/ 647700 w 1550194"/>
                  <a:gd name="connsiteY90" fmla="*/ 464344 h 1509712"/>
                  <a:gd name="connsiteX91" fmla="*/ 654844 w 1550194"/>
                  <a:gd name="connsiteY91" fmla="*/ 469106 h 1509712"/>
                  <a:gd name="connsiteX92" fmla="*/ 659606 w 1550194"/>
                  <a:gd name="connsiteY92" fmla="*/ 476250 h 1509712"/>
                  <a:gd name="connsiteX93" fmla="*/ 652463 w 1550194"/>
                  <a:gd name="connsiteY93" fmla="*/ 500062 h 1509712"/>
                  <a:gd name="connsiteX94" fmla="*/ 657225 w 1550194"/>
                  <a:gd name="connsiteY94" fmla="*/ 516731 h 1509712"/>
                  <a:gd name="connsiteX95" fmla="*/ 678656 w 1550194"/>
                  <a:gd name="connsiteY95" fmla="*/ 528637 h 1509712"/>
                  <a:gd name="connsiteX96" fmla="*/ 697706 w 1550194"/>
                  <a:gd name="connsiteY96" fmla="*/ 533400 h 1509712"/>
                  <a:gd name="connsiteX97" fmla="*/ 711994 w 1550194"/>
                  <a:gd name="connsiteY97" fmla="*/ 545306 h 1509712"/>
                  <a:gd name="connsiteX98" fmla="*/ 714375 w 1550194"/>
                  <a:gd name="connsiteY98" fmla="*/ 552450 h 1509712"/>
                  <a:gd name="connsiteX99" fmla="*/ 719138 w 1550194"/>
                  <a:gd name="connsiteY99" fmla="*/ 559594 h 1509712"/>
                  <a:gd name="connsiteX100" fmla="*/ 721519 w 1550194"/>
                  <a:gd name="connsiteY100" fmla="*/ 566737 h 1509712"/>
                  <a:gd name="connsiteX101" fmla="*/ 735806 w 1550194"/>
                  <a:gd name="connsiteY101" fmla="*/ 573881 h 1509712"/>
                  <a:gd name="connsiteX102" fmla="*/ 752475 w 1550194"/>
                  <a:gd name="connsiteY102" fmla="*/ 566737 h 1509712"/>
                  <a:gd name="connsiteX103" fmla="*/ 757238 w 1550194"/>
                  <a:gd name="connsiteY103" fmla="*/ 559594 h 1509712"/>
                  <a:gd name="connsiteX104" fmla="*/ 766763 w 1550194"/>
                  <a:gd name="connsiteY104" fmla="*/ 550069 h 1509712"/>
                  <a:gd name="connsiteX105" fmla="*/ 778669 w 1550194"/>
                  <a:gd name="connsiteY105" fmla="*/ 535781 h 1509712"/>
                  <a:gd name="connsiteX106" fmla="*/ 776288 w 1550194"/>
                  <a:gd name="connsiteY106" fmla="*/ 485775 h 1509712"/>
                  <a:gd name="connsiteX107" fmla="*/ 771525 w 1550194"/>
                  <a:gd name="connsiteY107" fmla="*/ 471487 h 1509712"/>
                  <a:gd name="connsiteX108" fmla="*/ 769144 w 1550194"/>
                  <a:gd name="connsiteY108" fmla="*/ 464344 h 1509712"/>
                  <a:gd name="connsiteX109" fmla="*/ 766763 w 1550194"/>
                  <a:gd name="connsiteY109" fmla="*/ 450056 h 1509712"/>
                  <a:gd name="connsiteX110" fmla="*/ 764381 w 1550194"/>
                  <a:gd name="connsiteY110" fmla="*/ 397669 h 1509712"/>
                  <a:gd name="connsiteX111" fmla="*/ 735806 w 1550194"/>
                  <a:gd name="connsiteY111" fmla="*/ 395287 h 1509712"/>
                  <a:gd name="connsiteX112" fmla="*/ 719138 w 1550194"/>
                  <a:gd name="connsiteY112" fmla="*/ 390525 h 1509712"/>
                  <a:gd name="connsiteX113" fmla="*/ 704850 w 1550194"/>
                  <a:gd name="connsiteY113" fmla="*/ 378619 h 1509712"/>
                  <a:gd name="connsiteX114" fmla="*/ 702469 w 1550194"/>
                  <a:gd name="connsiteY114" fmla="*/ 345281 h 1509712"/>
                  <a:gd name="connsiteX115" fmla="*/ 707231 w 1550194"/>
                  <a:gd name="connsiteY115" fmla="*/ 338137 h 1509712"/>
                  <a:gd name="connsiteX116" fmla="*/ 714375 w 1550194"/>
                  <a:gd name="connsiteY116" fmla="*/ 333375 h 1509712"/>
                  <a:gd name="connsiteX117" fmla="*/ 728663 w 1550194"/>
                  <a:gd name="connsiteY117" fmla="*/ 319087 h 1509712"/>
                  <a:gd name="connsiteX118" fmla="*/ 742950 w 1550194"/>
                  <a:gd name="connsiteY118" fmla="*/ 309562 h 1509712"/>
                  <a:gd name="connsiteX119" fmla="*/ 757238 w 1550194"/>
                  <a:gd name="connsiteY119" fmla="*/ 295275 h 1509712"/>
                  <a:gd name="connsiteX120" fmla="*/ 762000 w 1550194"/>
                  <a:gd name="connsiteY120" fmla="*/ 280987 h 1509712"/>
                  <a:gd name="connsiteX121" fmla="*/ 766763 w 1550194"/>
                  <a:gd name="connsiteY121" fmla="*/ 261937 h 1509712"/>
                  <a:gd name="connsiteX122" fmla="*/ 776288 w 1550194"/>
                  <a:gd name="connsiteY122" fmla="*/ 247650 h 1509712"/>
                  <a:gd name="connsiteX123" fmla="*/ 781050 w 1550194"/>
                  <a:gd name="connsiteY123" fmla="*/ 240506 h 1509712"/>
                  <a:gd name="connsiteX124" fmla="*/ 778669 w 1550194"/>
                  <a:gd name="connsiteY124" fmla="*/ 228600 h 1509712"/>
                  <a:gd name="connsiteX125" fmla="*/ 766763 w 1550194"/>
                  <a:gd name="connsiteY125" fmla="*/ 214312 h 1509712"/>
                  <a:gd name="connsiteX126" fmla="*/ 769144 w 1550194"/>
                  <a:gd name="connsiteY126" fmla="*/ 197644 h 1509712"/>
                  <a:gd name="connsiteX127" fmla="*/ 776288 w 1550194"/>
                  <a:gd name="connsiteY127" fmla="*/ 195262 h 1509712"/>
                  <a:gd name="connsiteX128" fmla="*/ 790575 w 1550194"/>
                  <a:gd name="connsiteY128" fmla="*/ 185737 h 1509712"/>
                  <a:gd name="connsiteX129" fmla="*/ 797719 w 1550194"/>
                  <a:gd name="connsiteY129" fmla="*/ 180975 h 1509712"/>
                  <a:gd name="connsiteX130" fmla="*/ 807244 w 1550194"/>
                  <a:gd name="connsiteY130" fmla="*/ 173831 h 1509712"/>
                  <a:gd name="connsiteX131" fmla="*/ 838200 w 1550194"/>
                  <a:gd name="connsiteY131" fmla="*/ 169069 h 1509712"/>
                  <a:gd name="connsiteX132" fmla="*/ 854869 w 1550194"/>
                  <a:gd name="connsiteY132" fmla="*/ 152400 h 1509712"/>
                  <a:gd name="connsiteX133" fmla="*/ 869156 w 1550194"/>
                  <a:gd name="connsiteY133" fmla="*/ 140494 h 1509712"/>
                  <a:gd name="connsiteX134" fmla="*/ 873919 w 1550194"/>
                  <a:gd name="connsiteY134" fmla="*/ 133350 h 1509712"/>
                  <a:gd name="connsiteX135" fmla="*/ 881063 w 1550194"/>
                  <a:gd name="connsiteY135" fmla="*/ 128587 h 1509712"/>
                  <a:gd name="connsiteX136" fmla="*/ 883444 w 1550194"/>
                  <a:gd name="connsiteY136" fmla="*/ 121444 h 1509712"/>
                  <a:gd name="connsiteX137" fmla="*/ 888206 w 1550194"/>
                  <a:gd name="connsiteY137" fmla="*/ 114300 h 1509712"/>
                  <a:gd name="connsiteX138" fmla="*/ 897731 w 1550194"/>
                  <a:gd name="connsiteY138" fmla="*/ 92869 h 1509712"/>
                  <a:gd name="connsiteX139" fmla="*/ 900113 w 1550194"/>
                  <a:gd name="connsiteY139" fmla="*/ 80962 h 1509712"/>
                  <a:gd name="connsiteX140" fmla="*/ 907256 w 1550194"/>
                  <a:gd name="connsiteY140" fmla="*/ 66675 h 1509712"/>
                  <a:gd name="connsiteX141" fmla="*/ 909638 w 1550194"/>
                  <a:gd name="connsiteY141" fmla="*/ 54769 h 1509712"/>
                  <a:gd name="connsiteX142" fmla="*/ 914400 w 1550194"/>
                  <a:gd name="connsiteY142" fmla="*/ 40481 h 1509712"/>
                  <a:gd name="connsiteX143" fmla="*/ 916781 w 1550194"/>
                  <a:gd name="connsiteY143" fmla="*/ 33337 h 1509712"/>
                  <a:gd name="connsiteX144" fmla="*/ 919163 w 1550194"/>
                  <a:gd name="connsiteY144" fmla="*/ 26194 h 1509712"/>
                  <a:gd name="connsiteX145" fmla="*/ 921544 w 1550194"/>
                  <a:gd name="connsiteY145" fmla="*/ 19050 h 1509712"/>
                  <a:gd name="connsiteX146" fmla="*/ 938213 w 1550194"/>
                  <a:gd name="connsiteY146" fmla="*/ 7144 h 1509712"/>
                  <a:gd name="connsiteX147" fmla="*/ 954881 w 1550194"/>
                  <a:gd name="connsiteY147" fmla="*/ 0 h 1509712"/>
                  <a:gd name="connsiteX148" fmla="*/ 995363 w 1550194"/>
                  <a:gd name="connsiteY148" fmla="*/ 2381 h 1509712"/>
                  <a:gd name="connsiteX149" fmla="*/ 1009650 w 1550194"/>
                  <a:gd name="connsiteY149" fmla="*/ 16669 h 1509712"/>
                  <a:gd name="connsiteX150" fmla="*/ 1023938 w 1550194"/>
                  <a:gd name="connsiteY150" fmla="*/ 21431 h 1509712"/>
                  <a:gd name="connsiteX151" fmla="*/ 1045369 w 1550194"/>
                  <a:gd name="connsiteY151" fmla="*/ 38100 h 1509712"/>
                  <a:gd name="connsiteX152" fmla="*/ 1052513 w 1550194"/>
                  <a:gd name="connsiteY152" fmla="*/ 78581 h 1509712"/>
                  <a:gd name="connsiteX153" fmla="*/ 1045369 w 1550194"/>
                  <a:gd name="connsiteY153" fmla="*/ 80962 h 1509712"/>
                  <a:gd name="connsiteX154" fmla="*/ 1023938 w 1550194"/>
                  <a:gd name="connsiteY154" fmla="*/ 85725 h 1509712"/>
                  <a:gd name="connsiteX155" fmla="*/ 1012031 w 1550194"/>
                  <a:gd name="connsiteY155" fmla="*/ 100012 h 1509712"/>
                  <a:gd name="connsiteX156" fmla="*/ 1009650 w 1550194"/>
                  <a:gd name="connsiteY156" fmla="*/ 107156 h 1509712"/>
                  <a:gd name="connsiteX157" fmla="*/ 1000125 w 1550194"/>
                  <a:gd name="connsiteY157" fmla="*/ 123825 h 1509712"/>
                  <a:gd name="connsiteX158" fmla="*/ 992981 w 1550194"/>
                  <a:gd name="connsiteY158" fmla="*/ 130969 h 1509712"/>
                  <a:gd name="connsiteX159" fmla="*/ 990600 w 1550194"/>
                  <a:gd name="connsiteY159" fmla="*/ 138112 h 1509712"/>
                  <a:gd name="connsiteX160" fmla="*/ 978694 w 1550194"/>
                  <a:gd name="connsiteY160" fmla="*/ 154781 h 1509712"/>
                  <a:gd name="connsiteX161" fmla="*/ 973931 w 1550194"/>
                  <a:gd name="connsiteY161" fmla="*/ 169069 h 1509712"/>
                  <a:gd name="connsiteX162" fmla="*/ 964406 w 1550194"/>
                  <a:gd name="connsiteY162" fmla="*/ 202406 h 1509712"/>
                  <a:gd name="connsiteX163" fmla="*/ 962025 w 1550194"/>
                  <a:gd name="connsiteY163" fmla="*/ 219075 h 1509712"/>
                  <a:gd name="connsiteX164" fmla="*/ 964406 w 1550194"/>
                  <a:gd name="connsiteY164" fmla="*/ 304800 h 1509712"/>
                  <a:gd name="connsiteX165" fmla="*/ 959644 w 1550194"/>
                  <a:gd name="connsiteY165" fmla="*/ 330994 h 1509712"/>
                  <a:gd name="connsiteX166" fmla="*/ 952500 w 1550194"/>
                  <a:gd name="connsiteY166" fmla="*/ 338137 h 1509712"/>
                  <a:gd name="connsiteX167" fmla="*/ 942975 w 1550194"/>
                  <a:gd name="connsiteY167" fmla="*/ 352425 h 1509712"/>
                  <a:gd name="connsiteX168" fmla="*/ 931069 w 1550194"/>
                  <a:gd name="connsiteY168" fmla="*/ 371475 h 1509712"/>
                  <a:gd name="connsiteX169" fmla="*/ 926306 w 1550194"/>
                  <a:gd name="connsiteY169" fmla="*/ 385762 h 1509712"/>
                  <a:gd name="connsiteX170" fmla="*/ 921544 w 1550194"/>
                  <a:gd name="connsiteY170" fmla="*/ 400050 h 1509712"/>
                  <a:gd name="connsiteX171" fmla="*/ 919163 w 1550194"/>
                  <a:gd name="connsiteY171" fmla="*/ 407194 h 1509712"/>
                  <a:gd name="connsiteX172" fmla="*/ 916781 w 1550194"/>
                  <a:gd name="connsiteY172" fmla="*/ 416719 h 1509712"/>
                  <a:gd name="connsiteX173" fmla="*/ 914400 w 1550194"/>
                  <a:gd name="connsiteY173" fmla="*/ 423862 h 1509712"/>
                  <a:gd name="connsiteX174" fmla="*/ 909638 w 1550194"/>
                  <a:gd name="connsiteY174" fmla="*/ 440531 h 1509712"/>
                  <a:gd name="connsiteX175" fmla="*/ 900113 w 1550194"/>
                  <a:gd name="connsiteY175" fmla="*/ 457200 h 1509712"/>
                  <a:gd name="connsiteX176" fmla="*/ 895350 w 1550194"/>
                  <a:gd name="connsiteY176" fmla="*/ 466725 h 1509712"/>
                  <a:gd name="connsiteX177" fmla="*/ 890588 w 1550194"/>
                  <a:gd name="connsiteY177" fmla="*/ 473869 h 1509712"/>
                  <a:gd name="connsiteX178" fmla="*/ 885825 w 1550194"/>
                  <a:gd name="connsiteY178" fmla="*/ 490537 h 1509712"/>
                  <a:gd name="connsiteX179" fmla="*/ 883444 w 1550194"/>
                  <a:gd name="connsiteY179" fmla="*/ 497681 h 1509712"/>
                  <a:gd name="connsiteX180" fmla="*/ 885825 w 1550194"/>
                  <a:gd name="connsiteY180" fmla="*/ 547687 h 1509712"/>
                  <a:gd name="connsiteX181" fmla="*/ 888206 w 1550194"/>
                  <a:gd name="connsiteY181" fmla="*/ 557212 h 1509712"/>
                  <a:gd name="connsiteX182" fmla="*/ 890588 w 1550194"/>
                  <a:gd name="connsiteY182" fmla="*/ 571500 h 1509712"/>
                  <a:gd name="connsiteX183" fmla="*/ 892969 w 1550194"/>
                  <a:gd name="connsiteY183" fmla="*/ 581025 h 1509712"/>
                  <a:gd name="connsiteX184" fmla="*/ 895350 w 1550194"/>
                  <a:gd name="connsiteY184" fmla="*/ 600075 h 1509712"/>
                  <a:gd name="connsiteX185" fmla="*/ 892969 w 1550194"/>
                  <a:gd name="connsiteY185" fmla="*/ 669131 h 1509712"/>
                  <a:gd name="connsiteX186" fmla="*/ 888206 w 1550194"/>
                  <a:gd name="connsiteY186" fmla="*/ 676275 h 1509712"/>
                  <a:gd name="connsiteX187" fmla="*/ 881063 w 1550194"/>
                  <a:gd name="connsiteY187" fmla="*/ 681037 h 1509712"/>
                  <a:gd name="connsiteX188" fmla="*/ 876300 w 1550194"/>
                  <a:gd name="connsiteY188" fmla="*/ 688181 h 1509712"/>
                  <a:gd name="connsiteX189" fmla="*/ 873919 w 1550194"/>
                  <a:gd name="connsiteY189" fmla="*/ 695325 h 1509712"/>
                  <a:gd name="connsiteX190" fmla="*/ 866775 w 1550194"/>
                  <a:gd name="connsiteY190" fmla="*/ 700087 h 1509712"/>
                  <a:gd name="connsiteX191" fmla="*/ 847725 w 1550194"/>
                  <a:gd name="connsiteY191" fmla="*/ 721519 h 1509712"/>
                  <a:gd name="connsiteX192" fmla="*/ 833438 w 1550194"/>
                  <a:gd name="connsiteY192" fmla="*/ 733425 h 1509712"/>
                  <a:gd name="connsiteX193" fmla="*/ 821531 w 1550194"/>
                  <a:gd name="connsiteY193" fmla="*/ 747712 h 1509712"/>
                  <a:gd name="connsiteX194" fmla="*/ 816769 w 1550194"/>
                  <a:gd name="connsiteY194" fmla="*/ 754856 h 1509712"/>
                  <a:gd name="connsiteX195" fmla="*/ 802481 w 1550194"/>
                  <a:gd name="connsiteY195" fmla="*/ 769144 h 1509712"/>
                  <a:gd name="connsiteX196" fmla="*/ 790575 w 1550194"/>
                  <a:gd name="connsiteY196" fmla="*/ 785812 h 1509712"/>
                  <a:gd name="connsiteX197" fmla="*/ 785813 w 1550194"/>
                  <a:gd name="connsiteY197" fmla="*/ 792956 h 1509712"/>
                  <a:gd name="connsiteX198" fmla="*/ 778669 w 1550194"/>
                  <a:gd name="connsiteY198" fmla="*/ 797719 h 1509712"/>
                  <a:gd name="connsiteX199" fmla="*/ 771525 w 1550194"/>
                  <a:gd name="connsiteY199" fmla="*/ 804862 h 1509712"/>
                  <a:gd name="connsiteX200" fmla="*/ 764381 w 1550194"/>
                  <a:gd name="connsiteY200" fmla="*/ 807244 h 1509712"/>
                  <a:gd name="connsiteX201" fmla="*/ 754856 w 1550194"/>
                  <a:gd name="connsiteY201" fmla="*/ 812006 h 1509712"/>
                  <a:gd name="connsiteX202" fmla="*/ 742950 w 1550194"/>
                  <a:gd name="connsiteY202" fmla="*/ 800100 h 1509712"/>
                  <a:gd name="connsiteX203" fmla="*/ 735806 w 1550194"/>
                  <a:gd name="connsiteY203" fmla="*/ 792956 h 1509712"/>
                  <a:gd name="connsiteX204" fmla="*/ 731044 w 1550194"/>
                  <a:gd name="connsiteY204" fmla="*/ 785812 h 1509712"/>
                  <a:gd name="connsiteX205" fmla="*/ 723900 w 1550194"/>
                  <a:gd name="connsiteY205" fmla="*/ 783431 h 1509712"/>
                  <a:gd name="connsiteX206" fmla="*/ 714375 w 1550194"/>
                  <a:gd name="connsiteY206" fmla="*/ 776287 h 1509712"/>
                  <a:gd name="connsiteX207" fmla="*/ 697706 w 1550194"/>
                  <a:gd name="connsiteY207" fmla="*/ 771525 h 1509712"/>
                  <a:gd name="connsiteX208" fmla="*/ 690563 w 1550194"/>
                  <a:gd name="connsiteY208" fmla="*/ 778669 h 1509712"/>
                  <a:gd name="connsiteX209" fmla="*/ 688181 w 1550194"/>
                  <a:gd name="connsiteY209" fmla="*/ 785812 h 1509712"/>
                  <a:gd name="connsiteX210" fmla="*/ 692944 w 1550194"/>
                  <a:gd name="connsiteY210" fmla="*/ 819150 h 1509712"/>
                  <a:gd name="connsiteX211" fmla="*/ 697706 w 1550194"/>
                  <a:gd name="connsiteY211" fmla="*/ 826294 h 1509712"/>
                  <a:gd name="connsiteX212" fmla="*/ 704850 w 1550194"/>
                  <a:gd name="connsiteY212" fmla="*/ 831056 h 1509712"/>
                  <a:gd name="connsiteX213" fmla="*/ 709613 w 1550194"/>
                  <a:gd name="connsiteY213" fmla="*/ 838200 h 1509712"/>
                  <a:gd name="connsiteX214" fmla="*/ 733425 w 1550194"/>
                  <a:gd name="connsiteY214" fmla="*/ 845344 h 1509712"/>
                  <a:gd name="connsiteX215" fmla="*/ 740569 w 1550194"/>
                  <a:gd name="connsiteY215" fmla="*/ 850106 h 1509712"/>
                  <a:gd name="connsiteX216" fmla="*/ 747713 w 1550194"/>
                  <a:gd name="connsiteY216" fmla="*/ 852487 h 1509712"/>
                  <a:gd name="connsiteX217" fmla="*/ 759619 w 1550194"/>
                  <a:gd name="connsiteY217" fmla="*/ 862012 h 1509712"/>
                  <a:gd name="connsiteX218" fmla="*/ 781050 w 1550194"/>
                  <a:gd name="connsiteY218" fmla="*/ 878681 h 1509712"/>
                  <a:gd name="connsiteX219" fmla="*/ 788194 w 1550194"/>
                  <a:gd name="connsiteY219" fmla="*/ 883444 h 1509712"/>
                  <a:gd name="connsiteX220" fmla="*/ 809625 w 1550194"/>
                  <a:gd name="connsiteY220" fmla="*/ 888206 h 1509712"/>
                  <a:gd name="connsiteX221" fmla="*/ 816769 w 1550194"/>
                  <a:gd name="connsiteY221" fmla="*/ 890587 h 1509712"/>
                  <a:gd name="connsiteX222" fmla="*/ 831056 w 1550194"/>
                  <a:gd name="connsiteY222" fmla="*/ 888206 h 1509712"/>
                  <a:gd name="connsiteX223" fmla="*/ 845344 w 1550194"/>
                  <a:gd name="connsiteY223" fmla="*/ 878681 h 1509712"/>
                  <a:gd name="connsiteX224" fmla="*/ 852488 w 1550194"/>
                  <a:gd name="connsiteY224" fmla="*/ 873919 h 1509712"/>
                  <a:gd name="connsiteX225" fmla="*/ 859631 w 1550194"/>
                  <a:gd name="connsiteY225" fmla="*/ 869156 h 1509712"/>
                  <a:gd name="connsiteX226" fmla="*/ 866775 w 1550194"/>
                  <a:gd name="connsiteY226" fmla="*/ 866775 h 1509712"/>
                  <a:gd name="connsiteX227" fmla="*/ 873919 w 1550194"/>
                  <a:gd name="connsiteY227" fmla="*/ 862012 h 1509712"/>
                  <a:gd name="connsiteX228" fmla="*/ 897731 w 1550194"/>
                  <a:gd name="connsiteY228" fmla="*/ 857250 h 1509712"/>
                  <a:gd name="connsiteX229" fmla="*/ 907256 w 1550194"/>
                  <a:gd name="connsiteY229" fmla="*/ 854869 h 1509712"/>
                  <a:gd name="connsiteX230" fmla="*/ 928688 w 1550194"/>
                  <a:gd name="connsiteY230" fmla="*/ 842962 h 1509712"/>
                  <a:gd name="connsiteX231" fmla="*/ 935831 w 1550194"/>
                  <a:gd name="connsiteY231" fmla="*/ 835819 h 1509712"/>
                  <a:gd name="connsiteX232" fmla="*/ 942975 w 1550194"/>
                  <a:gd name="connsiteY232" fmla="*/ 831056 h 1509712"/>
                  <a:gd name="connsiteX233" fmla="*/ 947738 w 1550194"/>
                  <a:gd name="connsiteY233" fmla="*/ 823912 h 1509712"/>
                  <a:gd name="connsiteX234" fmla="*/ 954881 w 1550194"/>
                  <a:gd name="connsiteY234" fmla="*/ 816769 h 1509712"/>
                  <a:gd name="connsiteX235" fmla="*/ 964406 w 1550194"/>
                  <a:gd name="connsiteY235" fmla="*/ 802481 h 1509712"/>
                  <a:gd name="connsiteX236" fmla="*/ 969169 w 1550194"/>
                  <a:gd name="connsiteY236" fmla="*/ 781050 h 1509712"/>
                  <a:gd name="connsiteX237" fmla="*/ 976313 w 1550194"/>
                  <a:gd name="connsiteY237" fmla="*/ 773906 h 1509712"/>
                  <a:gd name="connsiteX238" fmla="*/ 988219 w 1550194"/>
                  <a:gd name="connsiteY238" fmla="*/ 757237 h 1509712"/>
                  <a:gd name="connsiteX239" fmla="*/ 992981 w 1550194"/>
                  <a:gd name="connsiteY239" fmla="*/ 738187 h 1509712"/>
                  <a:gd name="connsiteX240" fmla="*/ 997744 w 1550194"/>
                  <a:gd name="connsiteY240" fmla="*/ 692944 h 1509712"/>
                  <a:gd name="connsiteX241" fmla="*/ 1000125 w 1550194"/>
                  <a:gd name="connsiteY241" fmla="*/ 685800 h 1509712"/>
                  <a:gd name="connsiteX242" fmla="*/ 1004888 w 1550194"/>
                  <a:gd name="connsiteY242" fmla="*/ 678656 h 1509712"/>
                  <a:gd name="connsiteX243" fmla="*/ 1007269 w 1550194"/>
                  <a:gd name="connsiteY243" fmla="*/ 671512 h 1509712"/>
                  <a:gd name="connsiteX244" fmla="*/ 1012031 w 1550194"/>
                  <a:gd name="connsiteY244" fmla="*/ 642937 h 1509712"/>
                  <a:gd name="connsiteX245" fmla="*/ 1016794 w 1550194"/>
                  <a:gd name="connsiteY245" fmla="*/ 635794 h 1509712"/>
                  <a:gd name="connsiteX246" fmla="*/ 1023938 w 1550194"/>
                  <a:gd name="connsiteY246" fmla="*/ 616744 h 1509712"/>
                  <a:gd name="connsiteX247" fmla="*/ 1031081 w 1550194"/>
                  <a:gd name="connsiteY247" fmla="*/ 614362 h 1509712"/>
                  <a:gd name="connsiteX248" fmla="*/ 1038225 w 1550194"/>
                  <a:gd name="connsiteY248" fmla="*/ 609600 h 1509712"/>
                  <a:gd name="connsiteX249" fmla="*/ 1083469 w 1550194"/>
                  <a:gd name="connsiteY249" fmla="*/ 604837 h 1509712"/>
                  <a:gd name="connsiteX250" fmla="*/ 1114425 w 1550194"/>
                  <a:gd name="connsiteY250" fmla="*/ 607219 h 1509712"/>
                  <a:gd name="connsiteX251" fmla="*/ 1119188 w 1550194"/>
                  <a:gd name="connsiteY251" fmla="*/ 621506 h 1509712"/>
                  <a:gd name="connsiteX252" fmla="*/ 1121569 w 1550194"/>
                  <a:gd name="connsiteY252" fmla="*/ 628650 h 1509712"/>
                  <a:gd name="connsiteX253" fmla="*/ 1123950 w 1550194"/>
                  <a:gd name="connsiteY253" fmla="*/ 635794 h 1509712"/>
                  <a:gd name="connsiteX254" fmla="*/ 1131094 w 1550194"/>
                  <a:gd name="connsiteY254" fmla="*/ 642937 h 1509712"/>
                  <a:gd name="connsiteX255" fmla="*/ 1138238 w 1550194"/>
                  <a:gd name="connsiteY255" fmla="*/ 647700 h 1509712"/>
                  <a:gd name="connsiteX256" fmla="*/ 1140619 w 1550194"/>
                  <a:gd name="connsiteY256" fmla="*/ 695325 h 1509712"/>
                  <a:gd name="connsiteX257" fmla="*/ 1135856 w 1550194"/>
                  <a:gd name="connsiteY257" fmla="*/ 709612 h 1509712"/>
                  <a:gd name="connsiteX258" fmla="*/ 1128713 w 1550194"/>
                  <a:gd name="connsiteY258" fmla="*/ 716756 h 1509712"/>
                  <a:gd name="connsiteX259" fmla="*/ 1128713 w 1550194"/>
                  <a:gd name="connsiteY259" fmla="*/ 742950 h 1509712"/>
                  <a:gd name="connsiteX260" fmla="*/ 1135856 w 1550194"/>
                  <a:gd name="connsiteY260" fmla="*/ 747712 h 1509712"/>
                  <a:gd name="connsiteX261" fmla="*/ 1140619 w 1550194"/>
                  <a:gd name="connsiteY261" fmla="*/ 754856 h 1509712"/>
                  <a:gd name="connsiteX262" fmla="*/ 1147763 w 1550194"/>
                  <a:gd name="connsiteY262" fmla="*/ 757237 h 1509712"/>
                  <a:gd name="connsiteX263" fmla="*/ 1150144 w 1550194"/>
                  <a:gd name="connsiteY263" fmla="*/ 766762 h 1509712"/>
                  <a:gd name="connsiteX264" fmla="*/ 1154906 w 1550194"/>
                  <a:gd name="connsiteY264" fmla="*/ 759619 h 1509712"/>
                  <a:gd name="connsiteX265" fmla="*/ 1147763 w 1550194"/>
                  <a:gd name="connsiteY265" fmla="*/ 733425 h 1509712"/>
                  <a:gd name="connsiteX266" fmla="*/ 1147763 w 1550194"/>
                  <a:gd name="connsiteY266" fmla="*/ 716756 h 1509712"/>
                  <a:gd name="connsiteX267" fmla="*/ 1154906 w 1550194"/>
                  <a:gd name="connsiteY267" fmla="*/ 711994 h 1509712"/>
                  <a:gd name="connsiteX268" fmla="*/ 1164431 w 1550194"/>
                  <a:gd name="connsiteY268" fmla="*/ 697706 h 1509712"/>
                  <a:gd name="connsiteX269" fmla="*/ 1178719 w 1550194"/>
                  <a:gd name="connsiteY269" fmla="*/ 688181 h 1509712"/>
                  <a:gd name="connsiteX270" fmla="*/ 1181100 w 1550194"/>
                  <a:gd name="connsiteY270" fmla="*/ 628650 h 1509712"/>
                  <a:gd name="connsiteX271" fmla="*/ 1173956 w 1550194"/>
                  <a:gd name="connsiteY271" fmla="*/ 619125 h 1509712"/>
                  <a:gd name="connsiteX272" fmla="*/ 1169194 w 1550194"/>
                  <a:gd name="connsiteY272" fmla="*/ 602456 h 1509712"/>
                  <a:gd name="connsiteX273" fmla="*/ 1166813 w 1550194"/>
                  <a:gd name="connsiteY273" fmla="*/ 588169 h 1509712"/>
                  <a:gd name="connsiteX274" fmla="*/ 1164431 w 1550194"/>
                  <a:gd name="connsiteY274" fmla="*/ 578644 h 1509712"/>
                  <a:gd name="connsiteX275" fmla="*/ 1162050 w 1550194"/>
                  <a:gd name="connsiteY275" fmla="*/ 571500 h 1509712"/>
                  <a:gd name="connsiteX276" fmla="*/ 1154906 w 1550194"/>
                  <a:gd name="connsiteY276" fmla="*/ 538162 h 1509712"/>
                  <a:gd name="connsiteX277" fmla="*/ 1152525 w 1550194"/>
                  <a:gd name="connsiteY277" fmla="*/ 531019 h 1509712"/>
                  <a:gd name="connsiteX278" fmla="*/ 1145381 w 1550194"/>
                  <a:gd name="connsiteY278" fmla="*/ 526256 h 1509712"/>
                  <a:gd name="connsiteX279" fmla="*/ 1123950 w 1550194"/>
                  <a:gd name="connsiteY279" fmla="*/ 521494 h 1509712"/>
                  <a:gd name="connsiteX280" fmla="*/ 1116806 w 1550194"/>
                  <a:gd name="connsiteY280" fmla="*/ 507206 h 1509712"/>
                  <a:gd name="connsiteX281" fmla="*/ 1109663 w 1550194"/>
                  <a:gd name="connsiteY281" fmla="*/ 504825 h 1509712"/>
                  <a:gd name="connsiteX282" fmla="*/ 1102519 w 1550194"/>
                  <a:gd name="connsiteY282" fmla="*/ 509587 h 1509712"/>
                  <a:gd name="connsiteX283" fmla="*/ 1050131 w 1550194"/>
                  <a:gd name="connsiteY283" fmla="*/ 516731 h 1509712"/>
                  <a:gd name="connsiteX284" fmla="*/ 1035844 w 1550194"/>
                  <a:gd name="connsiteY284" fmla="*/ 523875 h 1509712"/>
                  <a:gd name="connsiteX285" fmla="*/ 1026319 w 1550194"/>
                  <a:gd name="connsiteY285" fmla="*/ 538162 h 1509712"/>
                  <a:gd name="connsiteX286" fmla="*/ 1019175 w 1550194"/>
                  <a:gd name="connsiteY286" fmla="*/ 531019 h 1509712"/>
                  <a:gd name="connsiteX287" fmla="*/ 1016794 w 1550194"/>
                  <a:gd name="connsiteY287" fmla="*/ 521494 h 1509712"/>
                  <a:gd name="connsiteX288" fmla="*/ 1023938 w 1550194"/>
                  <a:gd name="connsiteY288" fmla="*/ 481012 h 1509712"/>
                  <a:gd name="connsiteX289" fmla="*/ 1035844 w 1550194"/>
                  <a:gd name="connsiteY289" fmla="*/ 464344 h 1509712"/>
                  <a:gd name="connsiteX290" fmla="*/ 1042988 w 1550194"/>
                  <a:gd name="connsiteY290" fmla="*/ 440531 h 1509712"/>
                  <a:gd name="connsiteX291" fmla="*/ 1040606 w 1550194"/>
                  <a:gd name="connsiteY291" fmla="*/ 423862 h 1509712"/>
                  <a:gd name="connsiteX292" fmla="*/ 1038225 w 1550194"/>
                  <a:gd name="connsiteY292" fmla="*/ 416719 h 1509712"/>
                  <a:gd name="connsiteX293" fmla="*/ 1040606 w 1550194"/>
                  <a:gd name="connsiteY293" fmla="*/ 390525 h 1509712"/>
                  <a:gd name="connsiteX294" fmla="*/ 1042988 w 1550194"/>
                  <a:gd name="connsiteY294" fmla="*/ 383381 h 1509712"/>
                  <a:gd name="connsiteX295" fmla="*/ 1050131 w 1550194"/>
                  <a:gd name="connsiteY295" fmla="*/ 378619 h 1509712"/>
                  <a:gd name="connsiteX296" fmla="*/ 1062038 w 1550194"/>
                  <a:gd name="connsiteY296" fmla="*/ 364331 h 1509712"/>
                  <a:gd name="connsiteX297" fmla="*/ 1064419 w 1550194"/>
                  <a:gd name="connsiteY297" fmla="*/ 357187 h 1509712"/>
                  <a:gd name="connsiteX298" fmla="*/ 1071563 w 1550194"/>
                  <a:gd name="connsiteY298" fmla="*/ 342900 h 1509712"/>
                  <a:gd name="connsiteX299" fmla="*/ 1066800 w 1550194"/>
                  <a:gd name="connsiteY299" fmla="*/ 309562 h 1509712"/>
                  <a:gd name="connsiteX300" fmla="*/ 1057275 w 1550194"/>
                  <a:gd name="connsiteY300" fmla="*/ 295275 h 1509712"/>
                  <a:gd name="connsiteX301" fmla="*/ 1054894 w 1550194"/>
                  <a:gd name="connsiteY301" fmla="*/ 283369 h 1509712"/>
                  <a:gd name="connsiteX302" fmla="*/ 1052513 w 1550194"/>
                  <a:gd name="connsiteY302" fmla="*/ 261937 h 1509712"/>
                  <a:gd name="connsiteX303" fmla="*/ 1050131 w 1550194"/>
                  <a:gd name="connsiteY303" fmla="*/ 242887 h 1509712"/>
                  <a:gd name="connsiteX304" fmla="*/ 1052513 w 1550194"/>
                  <a:gd name="connsiteY304" fmla="*/ 209550 h 1509712"/>
                  <a:gd name="connsiteX305" fmla="*/ 1059656 w 1550194"/>
                  <a:gd name="connsiteY305" fmla="*/ 204787 h 1509712"/>
                  <a:gd name="connsiteX306" fmla="*/ 1073944 w 1550194"/>
                  <a:gd name="connsiteY306" fmla="*/ 200025 h 1509712"/>
                  <a:gd name="connsiteX307" fmla="*/ 1081088 w 1550194"/>
                  <a:gd name="connsiteY307" fmla="*/ 197644 h 1509712"/>
                  <a:gd name="connsiteX308" fmla="*/ 1088231 w 1550194"/>
                  <a:gd name="connsiteY308" fmla="*/ 192881 h 1509712"/>
                  <a:gd name="connsiteX309" fmla="*/ 1095375 w 1550194"/>
                  <a:gd name="connsiteY309" fmla="*/ 190500 h 1509712"/>
                  <a:gd name="connsiteX310" fmla="*/ 1119188 w 1550194"/>
                  <a:gd name="connsiteY310" fmla="*/ 173831 h 1509712"/>
                  <a:gd name="connsiteX311" fmla="*/ 1123950 w 1550194"/>
                  <a:gd name="connsiteY311" fmla="*/ 164306 h 1509712"/>
                  <a:gd name="connsiteX312" fmla="*/ 1128713 w 1550194"/>
                  <a:gd name="connsiteY312" fmla="*/ 157162 h 1509712"/>
                  <a:gd name="connsiteX313" fmla="*/ 1135856 w 1550194"/>
                  <a:gd name="connsiteY313" fmla="*/ 133350 h 1509712"/>
                  <a:gd name="connsiteX314" fmla="*/ 1138238 w 1550194"/>
                  <a:gd name="connsiteY314" fmla="*/ 100012 h 1509712"/>
                  <a:gd name="connsiteX315" fmla="*/ 1143000 w 1550194"/>
                  <a:gd name="connsiteY315" fmla="*/ 85725 h 1509712"/>
                  <a:gd name="connsiteX316" fmla="*/ 1145381 w 1550194"/>
                  <a:gd name="connsiteY316" fmla="*/ 78581 h 1509712"/>
                  <a:gd name="connsiteX317" fmla="*/ 1152525 w 1550194"/>
                  <a:gd name="connsiteY317" fmla="*/ 76200 h 1509712"/>
                  <a:gd name="connsiteX318" fmla="*/ 1164431 w 1550194"/>
                  <a:gd name="connsiteY318" fmla="*/ 78581 h 1509712"/>
                  <a:gd name="connsiteX319" fmla="*/ 1169194 w 1550194"/>
                  <a:gd name="connsiteY319" fmla="*/ 88106 h 1509712"/>
                  <a:gd name="connsiteX320" fmla="*/ 1162050 w 1550194"/>
                  <a:gd name="connsiteY320" fmla="*/ 154781 h 1509712"/>
                  <a:gd name="connsiteX321" fmla="*/ 1157288 w 1550194"/>
                  <a:gd name="connsiteY321" fmla="*/ 164306 h 1509712"/>
                  <a:gd name="connsiteX322" fmla="*/ 1152525 w 1550194"/>
                  <a:gd name="connsiteY322" fmla="*/ 178594 h 1509712"/>
                  <a:gd name="connsiteX323" fmla="*/ 1150144 w 1550194"/>
                  <a:gd name="connsiteY323" fmla="*/ 214312 h 1509712"/>
                  <a:gd name="connsiteX324" fmla="*/ 1128713 w 1550194"/>
                  <a:gd name="connsiteY324" fmla="*/ 233362 h 1509712"/>
                  <a:gd name="connsiteX325" fmla="*/ 1112044 w 1550194"/>
                  <a:gd name="connsiteY325" fmla="*/ 247650 h 1509712"/>
                  <a:gd name="connsiteX326" fmla="*/ 1107281 w 1550194"/>
                  <a:gd name="connsiteY326" fmla="*/ 254794 h 1509712"/>
                  <a:gd name="connsiteX327" fmla="*/ 1104900 w 1550194"/>
                  <a:gd name="connsiteY327" fmla="*/ 261937 h 1509712"/>
                  <a:gd name="connsiteX328" fmla="*/ 1112044 w 1550194"/>
                  <a:gd name="connsiteY328" fmla="*/ 264319 h 1509712"/>
                  <a:gd name="connsiteX329" fmla="*/ 1143000 w 1550194"/>
                  <a:gd name="connsiteY329" fmla="*/ 271462 h 1509712"/>
                  <a:gd name="connsiteX330" fmla="*/ 1162050 w 1550194"/>
                  <a:gd name="connsiteY330" fmla="*/ 276225 h 1509712"/>
                  <a:gd name="connsiteX331" fmla="*/ 1178719 w 1550194"/>
                  <a:gd name="connsiteY331" fmla="*/ 290512 h 1509712"/>
                  <a:gd name="connsiteX332" fmla="*/ 1188244 w 1550194"/>
                  <a:gd name="connsiteY332" fmla="*/ 297656 h 1509712"/>
                  <a:gd name="connsiteX333" fmla="*/ 1200150 w 1550194"/>
                  <a:gd name="connsiteY333" fmla="*/ 311944 h 1509712"/>
                  <a:gd name="connsiteX334" fmla="*/ 1214438 w 1550194"/>
                  <a:gd name="connsiteY334" fmla="*/ 321469 h 1509712"/>
                  <a:gd name="connsiteX335" fmla="*/ 1226344 w 1550194"/>
                  <a:gd name="connsiteY335" fmla="*/ 333375 h 1509712"/>
                  <a:gd name="connsiteX336" fmla="*/ 1240631 w 1550194"/>
                  <a:gd name="connsiteY336" fmla="*/ 342900 h 1509712"/>
                  <a:gd name="connsiteX337" fmla="*/ 1262063 w 1550194"/>
                  <a:gd name="connsiteY337" fmla="*/ 359569 h 1509712"/>
                  <a:gd name="connsiteX338" fmla="*/ 1269206 w 1550194"/>
                  <a:gd name="connsiteY338" fmla="*/ 364331 h 1509712"/>
                  <a:gd name="connsiteX339" fmla="*/ 1271588 w 1550194"/>
                  <a:gd name="connsiteY339" fmla="*/ 338137 h 1509712"/>
                  <a:gd name="connsiteX340" fmla="*/ 1262063 w 1550194"/>
                  <a:gd name="connsiteY340" fmla="*/ 321469 h 1509712"/>
                  <a:gd name="connsiteX341" fmla="*/ 1259681 w 1550194"/>
                  <a:gd name="connsiteY341" fmla="*/ 314325 h 1509712"/>
                  <a:gd name="connsiteX342" fmla="*/ 1264444 w 1550194"/>
                  <a:gd name="connsiteY342" fmla="*/ 292894 h 1509712"/>
                  <a:gd name="connsiteX343" fmla="*/ 1271588 w 1550194"/>
                  <a:gd name="connsiteY343" fmla="*/ 285750 h 1509712"/>
                  <a:gd name="connsiteX344" fmla="*/ 1276350 w 1550194"/>
                  <a:gd name="connsiteY344" fmla="*/ 271462 h 1509712"/>
                  <a:gd name="connsiteX345" fmla="*/ 1273969 w 1550194"/>
                  <a:gd name="connsiteY345" fmla="*/ 259556 h 1509712"/>
                  <a:gd name="connsiteX346" fmla="*/ 1271588 w 1550194"/>
                  <a:gd name="connsiteY346" fmla="*/ 252412 h 1509712"/>
                  <a:gd name="connsiteX347" fmla="*/ 1264444 w 1550194"/>
                  <a:gd name="connsiteY347" fmla="*/ 250031 h 1509712"/>
                  <a:gd name="connsiteX348" fmla="*/ 1207294 w 1550194"/>
                  <a:gd name="connsiteY348" fmla="*/ 247650 h 1509712"/>
                  <a:gd name="connsiteX349" fmla="*/ 1197769 w 1550194"/>
                  <a:gd name="connsiteY349" fmla="*/ 245269 h 1509712"/>
                  <a:gd name="connsiteX350" fmla="*/ 1190625 w 1550194"/>
                  <a:gd name="connsiteY350" fmla="*/ 238125 h 1509712"/>
                  <a:gd name="connsiteX351" fmla="*/ 1183481 w 1550194"/>
                  <a:gd name="connsiteY351" fmla="*/ 223837 h 1509712"/>
                  <a:gd name="connsiteX352" fmla="*/ 1185863 w 1550194"/>
                  <a:gd name="connsiteY352" fmla="*/ 192881 h 1509712"/>
                  <a:gd name="connsiteX353" fmla="*/ 1202531 w 1550194"/>
                  <a:gd name="connsiteY353" fmla="*/ 195262 h 1509712"/>
                  <a:gd name="connsiteX354" fmla="*/ 1216819 w 1550194"/>
                  <a:gd name="connsiteY354" fmla="*/ 202406 h 1509712"/>
                  <a:gd name="connsiteX355" fmla="*/ 1223963 w 1550194"/>
                  <a:gd name="connsiteY355" fmla="*/ 209550 h 1509712"/>
                  <a:gd name="connsiteX356" fmla="*/ 1226344 w 1550194"/>
                  <a:gd name="connsiteY356" fmla="*/ 216694 h 1509712"/>
                  <a:gd name="connsiteX357" fmla="*/ 1228725 w 1550194"/>
                  <a:gd name="connsiteY357" fmla="*/ 228600 h 1509712"/>
                  <a:gd name="connsiteX358" fmla="*/ 1235869 w 1550194"/>
                  <a:gd name="connsiteY358" fmla="*/ 230981 h 1509712"/>
                  <a:gd name="connsiteX359" fmla="*/ 1271588 w 1550194"/>
                  <a:gd name="connsiteY359" fmla="*/ 228600 h 1509712"/>
                  <a:gd name="connsiteX360" fmla="*/ 1283494 w 1550194"/>
                  <a:gd name="connsiteY360" fmla="*/ 178594 h 1509712"/>
                  <a:gd name="connsiteX361" fmla="*/ 1295400 w 1550194"/>
                  <a:gd name="connsiteY361" fmla="*/ 180975 h 1509712"/>
                  <a:gd name="connsiteX362" fmla="*/ 1297781 w 1550194"/>
                  <a:gd name="connsiteY362" fmla="*/ 188119 h 1509712"/>
                  <a:gd name="connsiteX363" fmla="*/ 1300163 w 1550194"/>
                  <a:gd name="connsiteY363" fmla="*/ 200025 h 1509712"/>
                  <a:gd name="connsiteX364" fmla="*/ 1307306 w 1550194"/>
                  <a:gd name="connsiteY364" fmla="*/ 202406 h 1509712"/>
                  <a:gd name="connsiteX365" fmla="*/ 1323975 w 1550194"/>
                  <a:gd name="connsiteY365" fmla="*/ 204787 h 1509712"/>
                  <a:gd name="connsiteX366" fmla="*/ 1333500 w 1550194"/>
                  <a:gd name="connsiteY366" fmla="*/ 214312 h 1509712"/>
                  <a:gd name="connsiteX367" fmla="*/ 1340644 w 1550194"/>
                  <a:gd name="connsiteY367" fmla="*/ 219075 h 1509712"/>
                  <a:gd name="connsiteX368" fmla="*/ 1343025 w 1550194"/>
                  <a:gd name="connsiteY368" fmla="*/ 280987 h 1509712"/>
                  <a:gd name="connsiteX369" fmla="*/ 1338263 w 1550194"/>
                  <a:gd name="connsiteY369" fmla="*/ 288131 h 1509712"/>
                  <a:gd name="connsiteX370" fmla="*/ 1326356 w 1550194"/>
                  <a:gd name="connsiteY370" fmla="*/ 302419 h 1509712"/>
                  <a:gd name="connsiteX371" fmla="*/ 1319213 w 1550194"/>
                  <a:gd name="connsiteY371" fmla="*/ 473869 h 1509712"/>
                  <a:gd name="connsiteX372" fmla="*/ 1312069 w 1550194"/>
                  <a:gd name="connsiteY372" fmla="*/ 478631 h 1509712"/>
                  <a:gd name="connsiteX373" fmla="*/ 1300163 w 1550194"/>
                  <a:gd name="connsiteY373" fmla="*/ 481012 h 1509712"/>
                  <a:gd name="connsiteX374" fmla="*/ 1293019 w 1550194"/>
                  <a:gd name="connsiteY374" fmla="*/ 483394 h 1509712"/>
                  <a:gd name="connsiteX375" fmla="*/ 1285875 w 1550194"/>
                  <a:gd name="connsiteY375" fmla="*/ 490537 h 1509712"/>
                  <a:gd name="connsiteX376" fmla="*/ 1281113 w 1550194"/>
                  <a:gd name="connsiteY376" fmla="*/ 497681 h 1509712"/>
                  <a:gd name="connsiteX377" fmla="*/ 1273969 w 1550194"/>
                  <a:gd name="connsiteY377" fmla="*/ 502444 h 1509712"/>
                  <a:gd name="connsiteX378" fmla="*/ 1266825 w 1550194"/>
                  <a:gd name="connsiteY378" fmla="*/ 516731 h 1509712"/>
                  <a:gd name="connsiteX379" fmla="*/ 1264444 w 1550194"/>
                  <a:gd name="connsiteY379" fmla="*/ 523875 h 1509712"/>
                  <a:gd name="connsiteX380" fmla="*/ 1266825 w 1550194"/>
                  <a:gd name="connsiteY380" fmla="*/ 538162 h 1509712"/>
                  <a:gd name="connsiteX381" fmla="*/ 1273969 w 1550194"/>
                  <a:gd name="connsiteY381" fmla="*/ 545306 h 1509712"/>
                  <a:gd name="connsiteX382" fmla="*/ 1283494 w 1550194"/>
                  <a:gd name="connsiteY382" fmla="*/ 559594 h 1509712"/>
                  <a:gd name="connsiteX383" fmla="*/ 1293019 w 1550194"/>
                  <a:gd name="connsiteY383" fmla="*/ 573881 h 1509712"/>
                  <a:gd name="connsiteX384" fmla="*/ 1295400 w 1550194"/>
                  <a:gd name="connsiteY384" fmla="*/ 581025 h 1509712"/>
                  <a:gd name="connsiteX385" fmla="*/ 1307306 w 1550194"/>
                  <a:gd name="connsiteY385" fmla="*/ 595312 h 1509712"/>
                  <a:gd name="connsiteX386" fmla="*/ 1309688 w 1550194"/>
                  <a:gd name="connsiteY386" fmla="*/ 602456 h 1509712"/>
                  <a:gd name="connsiteX387" fmla="*/ 1316831 w 1550194"/>
                  <a:gd name="connsiteY387" fmla="*/ 604837 h 1509712"/>
                  <a:gd name="connsiteX388" fmla="*/ 1323975 w 1550194"/>
                  <a:gd name="connsiteY388" fmla="*/ 609600 h 1509712"/>
                  <a:gd name="connsiteX389" fmla="*/ 1333500 w 1550194"/>
                  <a:gd name="connsiteY389" fmla="*/ 616744 h 1509712"/>
                  <a:gd name="connsiteX390" fmla="*/ 1340644 w 1550194"/>
                  <a:gd name="connsiteY390" fmla="*/ 619125 h 1509712"/>
                  <a:gd name="connsiteX391" fmla="*/ 1381125 w 1550194"/>
                  <a:gd name="connsiteY391" fmla="*/ 621506 h 1509712"/>
                  <a:gd name="connsiteX392" fmla="*/ 1390650 w 1550194"/>
                  <a:gd name="connsiteY392" fmla="*/ 638175 h 1509712"/>
                  <a:gd name="connsiteX393" fmla="*/ 1395413 w 1550194"/>
                  <a:gd name="connsiteY393" fmla="*/ 652462 h 1509712"/>
                  <a:gd name="connsiteX394" fmla="*/ 1400175 w 1550194"/>
                  <a:gd name="connsiteY394" fmla="*/ 669131 h 1509712"/>
                  <a:gd name="connsiteX395" fmla="*/ 1397794 w 1550194"/>
                  <a:gd name="connsiteY395" fmla="*/ 742950 h 1509712"/>
                  <a:gd name="connsiteX396" fmla="*/ 1390650 w 1550194"/>
                  <a:gd name="connsiteY396" fmla="*/ 747712 h 1509712"/>
                  <a:gd name="connsiteX397" fmla="*/ 1388269 w 1550194"/>
                  <a:gd name="connsiteY397" fmla="*/ 759619 h 1509712"/>
                  <a:gd name="connsiteX398" fmla="*/ 1390650 w 1550194"/>
                  <a:gd name="connsiteY398" fmla="*/ 885825 h 1509712"/>
                  <a:gd name="connsiteX399" fmla="*/ 1395413 w 1550194"/>
                  <a:gd name="connsiteY399" fmla="*/ 907256 h 1509712"/>
                  <a:gd name="connsiteX400" fmla="*/ 1400175 w 1550194"/>
                  <a:gd name="connsiteY400" fmla="*/ 926306 h 1509712"/>
                  <a:gd name="connsiteX401" fmla="*/ 1404938 w 1550194"/>
                  <a:gd name="connsiteY401" fmla="*/ 933450 h 1509712"/>
                  <a:gd name="connsiteX402" fmla="*/ 1407319 w 1550194"/>
                  <a:gd name="connsiteY402" fmla="*/ 947737 h 1509712"/>
                  <a:gd name="connsiteX403" fmla="*/ 1412081 w 1550194"/>
                  <a:gd name="connsiteY403" fmla="*/ 962025 h 1509712"/>
                  <a:gd name="connsiteX404" fmla="*/ 1414463 w 1550194"/>
                  <a:gd name="connsiteY404" fmla="*/ 971550 h 1509712"/>
                  <a:gd name="connsiteX405" fmla="*/ 1416844 w 1550194"/>
                  <a:gd name="connsiteY405" fmla="*/ 978694 h 1509712"/>
                  <a:gd name="connsiteX406" fmla="*/ 1423988 w 1550194"/>
                  <a:gd name="connsiteY406" fmla="*/ 1004887 h 1509712"/>
                  <a:gd name="connsiteX407" fmla="*/ 1426369 w 1550194"/>
                  <a:gd name="connsiteY407" fmla="*/ 1021556 h 1509712"/>
                  <a:gd name="connsiteX408" fmla="*/ 1428750 w 1550194"/>
                  <a:gd name="connsiteY408" fmla="*/ 1031081 h 1509712"/>
                  <a:gd name="connsiteX409" fmla="*/ 1431131 w 1550194"/>
                  <a:gd name="connsiteY409" fmla="*/ 1042987 h 1509712"/>
                  <a:gd name="connsiteX410" fmla="*/ 1435894 w 1550194"/>
                  <a:gd name="connsiteY410" fmla="*/ 1073944 h 1509712"/>
                  <a:gd name="connsiteX411" fmla="*/ 1440656 w 1550194"/>
                  <a:gd name="connsiteY411" fmla="*/ 1092994 h 1509712"/>
                  <a:gd name="connsiteX412" fmla="*/ 1445419 w 1550194"/>
                  <a:gd name="connsiteY412" fmla="*/ 1102519 h 1509712"/>
                  <a:gd name="connsiteX413" fmla="*/ 1452563 w 1550194"/>
                  <a:gd name="connsiteY413" fmla="*/ 1121569 h 1509712"/>
                  <a:gd name="connsiteX414" fmla="*/ 1459706 w 1550194"/>
                  <a:gd name="connsiteY414" fmla="*/ 1145381 h 1509712"/>
                  <a:gd name="connsiteX415" fmla="*/ 1469231 w 1550194"/>
                  <a:gd name="connsiteY415" fmla="*/ 1154906 h 1509712"/>
                  <a:gd name="connsiteX416" fmla="*/ 1476375 w 1550194"/>
                  <a:gd name="connsiteY416" fmla="*/ 1164431 h 1509712"/>
                  <a:gd name="connsiteX417" fmla="*/ 1481138 w 1550194"/>
                  <a:gd name="connsiteY417" fmla="*/ 1171575 h 1509712"/>
                  <a:gd name="connsiteX418" fmla="*/ 1488281 w 1550194"/>
                  <a:gd name="connsiteY418" fmla="*/ 1176337 h 1509712"/>
                  <a:gd name="connsiteX419" fmla="*/ 1493044 w 1550194"/>
                  <a:gd name="connsiteY419" fmla="*/ 1183481 h 1509712"/>
                  <a:gd name="connsiteX420" fmla="*/ 1500188 w 1550194"/>
                  <a:gd name="connsiteY420" fmla="*/ 1188244 h 1509712"/>
                  <a:gd name="connsiteX421" fmla="*/ 1516856 w 1550194"/>
                  <a:gd name="connsiteY421" fmla="*/ 1195387 h 1509712"/>
                  <a:gd name="connsiteX422" fmla="*/ 1538288 w 1550194"/>
                  <a:gd name="connsiteY422" fmla="*/ 1197769 h 1509712"/>
                  <a:gd name="connsiteX423" fmla="*/ 1545431 w 1550194"/>
                  <a:gd name="connsiteY423" fmla="*/ 1200150 h 1509712"/>
                  <a:gd name="connsiteX424" fmla="*/ 1547813 w 1550194"/>
                  <a:gd name="connsiteY424" fmla="*/ 1214437 h 1509712"/>
                  <a:gd name="connsiteX425" fmla="*/ 1550194 w 1550194"/>
                  <a:gd name="connsiteY425" fmla="*/ 1221581 h 1509712"/>
                  <a:gd name="connsiteX426" fmla="*/ 1547813 w 1550194"/>
                  <a:gd name="connsiteY426" fmla="*/ 1266825 h 1509712"/>
                  <a:gd name="connsiteX427" fmla="*/ 1545431 w 1550194"/>
                  <a:gd name="connsiteY427" fmla="*/ 1273969 h 1509712"/>
                  <a:gd name="connsiteX428" fmla="*/ 1538288 w 1550194"/>
                  <a:gd name="connsiteY428" fmla="*/ 1278731 h 1509712"/>
                  <a:gd name="connsiteX429" fmla="*/ 1531144 w 1550194"/>
                  <a:gd name="connsiteY429" fmla="*/ 1293019 h 1509712"/>
                  <a:gd name="connsiteX430" fmla="*/ 1524000 w 1550194"/>
                  <a:gd name="connsiteY430" fmla="*/ 1300162 h 1509712"/>
                  <a:gd name="connsiteX431" fmla="*/ 1514475 w 1550194"/>
                  <a:gd name="connsiteY431" fmla="*/ 1314450 h 1509712"/>
                  <a:gd name="connsiteX432" fmla="*/ 1502569 w 1550194"/>
                  <a:gd name="connsiteY432" fmla="*/ 1331119 h 1509712"/>
                  <a:gd name="connsiteX433" fmla="*/ 1502569 w 1550194"/>
                  <a:gd name="connsiteY433" fmla="*/ 1431131 h 1509712"/>
                  <a:gd name="connsiteX434" fmla="*/ 1490663 w 1550194"/>
                  <a:gd name="connsiteY434" fmla="*/ 1443037 h 1509712"/>
                  <a:gd name="connsiteX435" fmla="*/ 1478756 w 1550194"/>
                  <a:gd name="connsiteY435" fmla="*/ 1457325 h 1509712"/>
                  <a:gd name="connsiteX436" fmla="*/ 1473994 w 1550194"/>
                  <a:gd name="connsiteY436" fmla="*/ 1473994 h 1509712"/>
                  <a:gd name="connsiteX437" fmla="*/ 1471613 w 1550194"/>
                  <a:gd name="connsiteY437" fmla="*/ 1500187 h 1509712"/>
                  <a:gd name="connsiteX438" fmla="*/ 1464469 w 1550194"/>
                  <a:gd name="connsiteY438" fmla="*/ 1507331 h 1509712"/>
                  <a:gd name="connsiteX439" fmla="*/ 1462088 w 1550194"/>
                  <a:gd name="connsiteY439" fmla="*/ 1509712 h 1509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Lst>
                <a:rect l="l" t="t" r="r" b="b"/>
                <a:pathLst>
                  <a:path w="1550194" h="1509712">
                    <a:moveTo>
                      <a:pt x="111919" y="1500187"/>
                    </a:moveTo>
                    <a:cubicBezTo>
                      <a:pt x="111125" y="1489868"/>
                      <a:pt x="111445" y="1479403"/>
                      <a:pt x="109538" y="1469231"/>
                    </a:cubicBezTo>
                    <a:cubicBezTo>
                      <a:pt x="109011" y="1466418"/>
                      <a:pt x="106055" y="1464647"/>
                      <a:pt x="104775" y="1462087"/>
                    </a:cubicBezTo>
                    <a:cubicBezTo>
                      <a:pt x="94915" y="1442369"/>
                      <a:pt x="111282" y="1468276"/>
                      <a:pt x="97631" y="1447800"/>
                    </a:cubicBezTo>
                    <a:cubicBezTo>
                      <a:pt x="98425" y="1439862"/>
                      <a:pt x="98800" y="1431871"/>
                      <a:pt x="100013" y="1423987"/>
                    </a:cubicBezTo>
                    <a:cubicBezTo>
                      <a:pt x="100395" y="1421506"/>
                      <a:pt x="102131" y="1419340"/>
                      <a:pt x="102394" y="1416844"/>
                    </a:cubicBezTo>
                    <a:cubicBezTo>
                      <a:pt x="102801" y="1412981"/>
                      <a:pt x="101172" y="1383568"/>
                      <a:pt x="107156" y="1371600"/>
                    </a:cubicBezTo>
                    <a:cubicBezTo>
                      <a:pt x="108436" y="1369040"/>
                      <a:pt x="110331" y="1366837"/>
                      <a:pt x="111919" y="1364456"/>
                    </a:cubicBezTo>
                    <a:cubicBezTo>
                      <a:pt x="117101" y="1343726"/>
                      <a:pt x="115612" y="1353765"/>
                      <a:pt x="111919" y="1316831"/>
                    </a:cubicBezTo>
                    <a:cubicBezTo>
                      <a:pt x="111728" y="1314920"/>
                      <a:pt x="108427" y="1302703"/>
                      <a:pt x="107156" y="1300162"/>
                    </a:cubicBezTo>
                    <a:cubicBezTo>
                      <a:pt x="105876" y="1297603"/>
                      <a:pt x="103981" y="1295400"/>
                      <a:pt x="102394" y="1293019"/>
                    </a:cubicBezTo>
                    <a:cubicBezTo>
                      <a:pt x="97759" y="1279113"/>
                      <a:pt x="103639" y="1291881"/>
                      <a:pt x="92869" y="1281112"/>
                    </a:cubicBezTo>
                    <a:cubicBezTo>
                      <a:pt x="76990" y="1265235"/>
                      <a:pt x="100015" y="1281910"/>
                      <a:pt x="80963" y="1269206"/>
                    </a:cubicBezTo>
                    <a:cubicBezTo>
                      <a:pt x="69357" y="1251798"/>
                      <a:pt x="84805" y="1272408"/>
                      <a:pt x="66675" y="1257300"/>
                    </a:cubicBezTo>
                    <a:cubicBezTo>
                      <a:pt x="52314" y="1245332"/>
                      <a:pt x="71826" y="1253460"/>
                      <a:pt x="54769" y="1247775"/>
                    </a:cubicBezTo>
                    <a:cubicBezTo>
                      <a:pt x="50088" y="1240753"/>
                      <a:pt x="49736" y="1239214"/>
                      <a:pt x="42863" y="1233487"/>
                    </a:cubicBezTo>
                    <a:cubicBezTo>
                      <a:pt x="40664" y="1231655"/>
                      <a:pt x="37858" y="1230626"/>
                      <a:pt x="35719" y="1228725"/>
                    </a:cubicBezTo>
                    <a:cubicBezTo>
                      <a:pt x="30685" y="1224250"/>
                      <a:pt x="26194" y="1219200"/>
                      <a:pt x="21431" y="1214437"/>
                    </a:cubicBezTo>
                    <a:cubicBezTo>
                      <a:pt x="19050" y="1212056"/>
                      <a:pt x="17090" y="1209162"/>
                      <a:pt x="14288" y="1207294"/>
                    </a:cubicBezTo>
                    <a:lnTo>
                      <a:pt x="7144" y="1202531"/>
                    </a:lnTo>
                    <a:cubicBezTo>
                      <a:pt x="4736" y="1198919"/>
                      <a:pt x="0" y="1193173"/>
                      <a:pt x="0" y="1188244"/>
                    </a:cubicBezTo>
                    <a:cubicBezTo>
                      <a:pt x="0" y="1183416"/>
                      <a:pt x="1434" y="1178691"/>
                      <a:pt x="2381" y="1173956"/>
                    </a:cubicBezTo>
                    <a:cubicBezTo>
                      <a:pt x="3023" y="1170747"/>
                      <a:pt x="2948" y="1167154"/>
                      <a:pt x="4763" y="1164431"/>
                    </a:cubicBezTo>
                    <a:cubicBezTo>
                      <a:pt x="6350" y="1162050"/>
                      <a:pt x="9525" y="1161256"/>
                      <a:pt x="11906" y="1159669"/>
                    </a:cubicBezTo>
                    <a:cubicBezTo>
                      <a:pt x="13494" y="1156494"/>
                      <a:pt x="14606" y="1153033"/>
                      <a:pt x="16669" y="1150144"/>
                    </a:cubicBezTo>
                    <a:cubicBezTo>
                      <a:pt x="27817" y="1134538"/>
                      <a:pt x="21087" y="1151179"/>
                      <a:pt x="26194" y="1135856"/>
                    </a:cubicBezTo>
                    <a:cubicBezTo>
                      <a:pt x="26988" y="1106487"/>
                      <a:pt x="27210" y="1077098"/>
                      <a:pt x="28575" y="1047750"/>
                    </a:cubicBezTo>
                    <a:cubicBezTo>
                      <a:pt x="29095" y="1036566"/>
                      <a:pt x="32222" y="1029667"/>
                      <a:pt x="35719" y="1019175"/>
                    </a:cubicBezTo>
                    <a:cubicBezTo>
                      <a:pt x="36513" y="1016794"/>
                      <a:pt x="37491" y="1014466"/>
                      <a:pt x="38100" y="1012031"/>
                    </a:cubicBezTo>
                    <a:cubicBezTo>
                      <a:pt x="38894" y="1008856"/>
                      <a:pt x="39541" y="1005641"/>
                      <a:pt x="40481" y="1002506"/>
                    </a:cubicBezTo>
                    <a:cubicBezTo>
                      <a:pt x="42645" y="995293"/>
                      <a:pt x="45244" y="988219"/>
                      <a:pt x="47625" y="981075"/>
                    </a:cubicBezTo>
                    <a:lnTo>
                      <a:pt x="52388" y="966787"/>
                    </a:lnTo>
                    <a:cubicBezTo>
                      <a:pt x="61555" y="957620"/>
                      <a:pt x="56729" y="961512"/>
                      <a:pt x="66675" y="954881"/>
                    </a:cubicBezTo>
                    <a:cubicBezTo>
                      <a:pt x="67469" y="952500"/>
                      <a:pt x="67488" y="949697"/>
                      <a:pt x="69056" y="947737"/>
                    </a:cubicBezTo>
                    <a:cubicBezTo>
                      <a:pt x="70844" y="945502"/>
                      <a:pt x="74001" y="944807"/>
                      <a:pt x="76200" y="942975"/>
                    </a:cubicBezTo>
                    <a:cubicBezTo>
                      <a:pt x="78787" y="940819"/>
                      <a:pt x="81276" y="938489"/>
                      <a:pt x="83344" y="935831"/>
                    </a:cubicBezTo>
                    <a:cubicBezTo>
                      <a:pt x="86858" y="931313"/>
                      <a:pt x="92869" y="921544"/>
                      <a:pt x="92869" y="921544"/>
                    </a:cubicBezTo>
                    <a:cubicBezTo>
                      <a:pt x="100533" y="898548"/>
                      <a:pt x="88243" y="934301"/>
                      <a:pt x="100013" y="904875"/>
                    </a:cubicBezTo>
                    <a:cubicBezTo>
                      <a:pt x="101877" y="900214"/>
                      <a:pt x="103188" y="895350"/>
                      <a:pt x="104775" y="890587"/>
                    </a:cubicBezTo>
                    <a:cubicBezTo>
                      <a:pt x="105569" y="888206"/>
                      <a:pt x="105068" y="884836"/>
                      <a:pt x="107156" y="883444"/>
                    </a:cubicBezTo>
                    <a:lnTo>
                      <a:pt x="121444" y="873919"/>
                    </a:lnTo>
                    <a:cubicBezTo>
                      <a:pt x="125242" y="868222"/>
                      <a:pt x="127515" y="863798"/>
                      <a:pt x="133350" y="859631"/>
                    </a:cubicBezTo>
                    <a:cubicBezTo>
                      <a:pt x="136239" y="857568"/>
                      <a:pt x="139793" y="856630"/>
                      <a:pt x="142875" y="854869"/>
                    </a:cubicBezTo>
                    <a:cubicBezTo>
                      <a:pt x="145360" y="853449"/>
                      <a:pt x="147690" y="851770"/>
                      <a:pt x="150019" y="850106"/>
                    </a:cubicBezTo>
                    <a:cubicBezTo>
                      <a:pt x="153248" y="847799"/>
                      <a:pt x="155994" y="844737"/>
                      <a:pt x="159544" y="842962"/>
                    </a:cubicBezTo>
                    <a:cubicBezTo>
                      <a:pt x="162471" y="841498"/>
                      <a:pt x="165803" y="840785"/>
                      <a:pt x="169069" y="840581"/>
                    </a:cubicBezTo>
                    <a:cubicBezTo>
                      <a:pt x="191265" y="839194"/>
                      <a:pt x="213519" y="838994"/>
                      <a:pt x="235744" y="838200"/>
                    </a:cubicBezTo>
                    <a:cubicBezTo>
                      <a:pt x="253701" y="832215"/>
                      <a:pt x="231567" y="840289"/>
                      <a:pt x="250031" y="831056"/>
                    </a:cubicBezTo>
                    <a:cubicBezTo>
                      <a:pt x="252276" y="829933"/>
                      <a:pt x="254794" y="829469"/>
                      <a:pt x="257175" y="828675"/>
                    </a:cubicBezTo>
                    <a:cubicBezTo>
                      <a:pt x="261938" y="825500"/>
                      <a:pt x="265910" y="820538"/>
                      <a:pt x="271463" y="819150"/>
                    </a:cubicBezTo>
                    <a:lnTo>
                      <a:pt x="290513" y="814387"/>
                    </a:lnTo>
                    <a:cubicBezTo>
                      <a:pt x="313293" y="791607"/>
                      <a:pt x="284128" y="818643"/>
                      <a:pt x="304800" y="804862"/>
                    </a:cubicBezTo>
                    <a:cubicBezTo>
                      <a:pt x="307602" y="802994"/>
                      <a:pt x="309357" y="799875"/>
                      <a:pt x="311944" y="797719"/>
                    </a:cubicBezTo>
                    <a:cubicBezTo>
                      <a:pt x="314143" y="795887"/>
                      <a:pt x="316707" y="794544"/>
                      <a:pt x="319088" y="792956"/>
                    </a:cubicBezTo>
                    <a:cubicBezTo>
                      <a:pt x="327818" y="779859"/>
                      <a:pt x="319088" y="790971"/>
                      <a:pt x="330994" y="781050"/>
                    </a:cubicBezTo>
                    <a:cubicBezTo>
                      <a:pt x="342887" y="771140"/>
                      <a:pt x="332727" y="775710"/>
                      <a:pt x="345281" y="771525"/>
                    </a:cubicBezTo>
                    <a:cubicBezTo>
                      <a:pt x="350549" y="766257"/>
                      <a:pt x="352936" y="762935"/>
                      <a:pt x="359569" y="759619"/>
                    </a:cubicBezTo>
                    <a:cubicBezTo>
                      <a:pt x="361814" y="758496"/>
                      <a:pt x="364332" y="758031"/>
                      <a:pt x="366713" y="757237"/>
                    </a:cubicBezTo>
                    <a:cubicBezTo>
                      <a:pt x="368300" y="754856"/>
                      <a:pt x="369277" y="751926"/>
                      <a:pt x="371475" y="750094"/>
                    </a:cubicBezTo>
                    <a:cubicBezTo>
                      <a:pt x="375400" y="746823"/>
                      <a:pt x="383179" y="744605"/>
                      <a:pt x="388144" y="742950"/>
                    </a:cubicBezTo>
                    <a:cubicBezTo>
                      <a:pt x="393411" y="737683"/>
                      <a:pt x="395800" y="734359"/>
                      <a:pt x="402431" y="731044"/>
                    </a:cubicBezTo>
                    <a:cubicBezTo>
                      <a:pt x="422137" y="721191"/>
                      <a:pt x="394328" y="738762"/>
                      <a:pt x="419100" y="723900"/>
                    </a:cubicBezTo>
                    <a:cubicBezTo>
                      <a:pt x="439572" y="711618"/>
                      <a:pt x="426162" y="716784"/>
                      <a:pt x="440531" y="711994"/>
                    </a:cubicBezTo>
                    <a:cubicBezTo>
                      <a:pt x="453318" y="703470"/>
                      <a:pt x="450963" y="703230"/>
                      <a:pt x="461963" y="700087"/>
                    </a:cubicBezTo>
                    <a:cubicBezTo>
                      <a:pt x="465110" y="699188"/>
                      <a:pt x="468313" y="698500"/>
                      <a:pt x="471488" y="697706"/>
                    </a:cubicBezTo>
                    <a:cubicBezTo>
                      <a:pt x="473869" y="696119"/>
                      <a:pt x="476072" y="694224"/>
                      <a:pt x="478631" y="692944"/>
                    </a:cubicBezTo>
                    <a:cubicBezTo>
                      <a:pt x="482051" y="691234"/>
                      <a:pt x="492242" y="688945"/>
                      <a:pt x="495300" y="688181"/>
                    </a:cubicBezTo>
                    <a:cubicBezTo>
                      <a:pt x="520810" y="671177"/>
                      <a:pt x="482106" y="697651"/>
                      <a:pt x="509588" y="676275"/>
                    </a:cubicBezTo>
                    <a:cubicBezTo>
                      <a:pt x="521870" y="666722"/>
                      <a:pt x="520240" y="667961"/>
                      <a:pt x="531019" y="664369"/>
                    </a:cubicBezTo>
                    <a:cubicBezTo>
                      <a:pt x="532606" y="661988"/>
                      <a:pt x="533627" y="659110"/>
                      <a:pt x="535781" y="657225"/>
                    </a:cubicBezTo>
                    <a:cubicBezTo>
                      <a:pt x="540089" y="653456"/>
                      <a:pt x="550069" y="647700"/>
                      <a:pt x="550069" y="647700"/>
                    </a:cubicBezTo>
                    <a:cubicBezTo>
                      <a:pt x="550863" y="645319"/>
                      <a:pt x="551058" y="642645"/>
                      <a:pt x="552450" y="640556"/>
                    </a:cubicBezTo>
                    <a:cubicBezTo>
                      <a:pt x="556117" y="635055"/>
                      <a:pt x="561466" y="632164"/>
                      <a:pt x="566738" y="628650"/>
                    </a:cubicBezTo>
                    <a:cubicBezTo>
                      <a:pt x="569913" y="623887"/>
                      <a:pt x="574453" y="619792"/>
                      <a:pt x="576263" y="614362"/>
                    </a:cubicBezTo>
                    <a:lnTo>
                      <a:pt x="581025" y="600075"/>
                    </a:lnTo>
                    <a:cubicBezTo>
                      <a:pt x="580231" y="579437"/>
                      <a:pt x="580065" y="558766"/>
                      <a:pt x="578644" y="538162"/>
                    </a:cubicBezTo>
                    <a:cubicBezTo>
                      <a:pt x="578471" y="535658"/>
                      <a:pt x="575331" y="533349"/>
                      <a:pt x="576263" y="531019"/>
                    </a:cubicBezTo>
                    <a:cubicBezTo>
                      <a:pt x="577684" y="527467"/>
                      <a:pt x="587542" y="524878"/>
                      <a:pt x="590550" y="523875"/>
                    </a:cubicBezTo>
                    <a:cubicBezTo>
                      <a:pt x="592138" y="521494"/>
                      <a:pt x="593078" y="518519"/>
                      <a:pt x="595313" y="516731"/>
                    </a:cubicBezTo>
                    <a:cubicBezTo>
                      <a:pt x="597273" y="515163"/>
                      <a:pt x="600681" y="516125"/>
                      <a:pt x="602456" y="514350"/>
                    </a:cubicBezTo>
                    <a:cubicBezTo>
                      <a:pt x="606503" y="510302"/>
                      <a:pt x="611981" y="500062"/>
                      <a:pt x="611981" y="500062"/>
                    </a:cubicBezTo>
                    <a:cubicBezTo>
                      <a:pt x="611187" y="494506"/>
                      <a:pt x="611213" y="488770"/>
                      <a:pt x="609600" y="483394"/>
                    </a:cubicBezTo>
                    <a:cubicBezTo>
                      <a:pt x="608778" y="480653"/>
                      <a:pt x="606118" y="478810"/>
                      <a:pt x="604838" y="476250"/>
                    </a:cubicBezTo>
                    <a:cubicBezTo>
                      <a:pt x="603715" y="474005"/>
                      <a:pt x="603116" y="471528"/>
                      <a:pt x="602456" y="469106"/>
                    </a:cubicBezTo>
                    <a:cubicBezTo>
                      <a:pt x="598150" y="453318"/>
                      <a:pt x="598089" y="452030"/>
                      <a:pt x="595313" y="438150"/>
                    </a:cubicBezTo>
                    <a:cubicBezTo>
                      <a:pt x="596629" y="426301"/>
                      <a:pt x="595058" y="410538"/>
                      <a:pt x="607219" y="402431"/>
                    </a:cubicBezTo>
                    <a:lnTo>
                      <a:pt x="621506" y="392906"/>
                    </a:lnTo>
                    <a:cubicBezTo>
                      <a:pt x="621926" y="397101"/>
                      <a:pt x="622892" y="418364"/>
                      <a:pt x="626269" y="426244"/>
                    </a:cubicBezTo>
                    <a:cubicBezTo>
                      <a:pt x="627396" y="428874"/>
                      <a:pt x="629444" y="431006"/>
                      <a:pt x="631031" y="433387"/>
                    </a:cubicBezTo>
                    <a:cubicBezTo>
                      <a:pt x="634802" y="448465"/>
                      <a:pt x="631597" y="440188"/>
                      <a:pt x="642938" y="457200"/>
                    </a:cubicBezTo>
                    <a:cubicBezTo>
                      <a:pt x="644525" y="459581"/>
                      <a:pt x="645319" y="462757"/>
                      <a:pt x="647700" y="464344"/>
                    </a:cubicBezTo>
                    <a:lnTo>
                      <a:pt x="654844" y="469106"/>
                    </a:lnTo>
                    <a:cubicBezTo>
                      <a:pt x="656431" y="471487"/>
                      <a:pt x="659290" y="473406"/>
                      <a:pt x="659606" y="476250"/>
                    </a:cubicBezTo>
                    <a:cubicBezTo>
                      <a:pt x="660684" y="485953"/>
                      <a:pt x="656412" y="492164"/>
                      <a:pt x="652463" y="500062"/>
                    </a:cubicBezTo>
                    <a:cubicBezTo>
                      <a:pt x="652484" y="500144"/>
                      <a:pt x="656087" y="515593"/>
                      <a:pt x="657225" y="516731"/>
                    </a:cubicBezTo>
                    <a:cubicBezTo>
                      <a:pt x="663706" y="523212"/>
                      <a:pt x="670422" y="526391"/>
                      <a:pt x="678656" y="528637"/>
                    </a:cubicBezTo>
                    <a:cubicBezTo>
                      <a:pt x="684971" y="530359"/>
                      <a:pt x="697706" y="533400"/>
                      <a:pt x="697706" y="533400"/>
                    </a:cubicBezTo>
                    <a:cubicBezTo>
                      <a:pt x="702978" y="536914"/>
                      <a:pt x="708327" y="539805"/>
                      <a:pt x="711994" y="545306"/>
                    </a:cubicBezTo>
                    <a:cubicBezTo>
                      <a:pt x="713386" y="547395"/>
                      <a:pt x="713252" y="550205"/>
                      <a:pt x="714375" y="552450"/>
                    </a:cubicBezTo>
                    <a:cubicBezTo>
                      <a:pt x="715655" y="555010"/>
                      <a:pt x="717550" y="557213"/>
                      <a:pt x="719138" y="559594"/>
                    </a:cubicBezTo>
                    <a:cubicBezTo>
                      <a:pt x="719932" y="561975"/>
                      <a:pt x="719951" y="564777"/>
                      <a:pt x="721519" y="566737"/>
                    </a:cubicBezTo>
                    <a:cubicBezTo>
                      <a:pt x="724877" y="570934"/>
                      <a:pt x="731099" y="572312"/>
                      <a:pt x="735806" y="573881"/>
                    </a:cubicBezTo>
                    <a:cubicBezTo>
                      <a:pt x="743095" y="572059"/>
                      <a:pt x="746992" y="572220"/>
                      <a:pt x="752475" y="566737"/>
                    </a:cubicBezTo>
                    <a:cubicBezTo>
                      <a:pt x="754499" y="564713"/>
                      <a:pt x="755650" y="561975"/>
                      <a:pt x="757238" y="559594"/>
                    </a:cubicBezTo>
                    <a:cubicBezTo>
                      <a:pt x="761773" y="545986"/>
                      <a:pt x="755877" y="557327"/>
                      <a:pt x="766763" y="550069"/>
                    </a:cubicBezTo>
                    <a:cubicBezTo>
                      <a:pt x="772261" y="546403"/>
                      <a:pt x="775156" y="541050"/>
                      <a:pt x="778669" y="535781"/>
                    </a:cubicBezTo>
                    <a:cubicBezTo>
                      <a:pt x="777875" y="519112"/>
                      <a:pt x="778131" y="502360"/>
                      <a:pt x="776288" y="485775"/>
                    </a:cubicBezTo>
                    <a:cubicBezTo>
                      <a:pt x="775734" y="480785"/>
                      <a:pt x="773113" y="476250"/>
                      <a:pt x="771525" y="471487"/>
                    </a:cubicBezTo>
                    <a:lnTo>
                      <a:pt x="769144" y="464344"/>
                    </a:lnTo>
                    <a:cubicBezTo>
                      <a:pt x="768350" y="459581"/>
                      <a:pt x="767107" y="454872"/>
                      <a:pt x="766763" y="450056"/>
                    </a:cubicBezTo>
                    <a:cubicBezTo>
                      <a:pt x="765517" y="432620"/>
                      <a:pt x="772982" y="412887"/>
                      <a:pt x="764381" y="397669"/>
                    </a:cubicBezTo>
                    <a:cubicBezTo>
                      <a:pt x="759678" y="389348"/>
                      <a:pt x="745331" y="396081"/>
                      <a:pt x="735806" y="395287"/>
                    </a:cubicBezTo>
                    <a:cubicBezTo>
                      <a:pt x="732754" y="394524"/>
                      <a:pt x="722554" y="392233"/>
                      <a:pt x="719138" y="390525"/>
                    </a:cubicBezTo>
                    <a:cubicBezTo>
                      <a:pt x="712509" y="387210"/>
                      <a:pt x="710116" y="383884"/>
                      <a:pt x="704850" y="378619"/>
                    </a:cubicBezTo>
                    <a:cubicBezTo>
                      <a:pt x="699596" y="362855"/>
                      <a:pt x="697513" y="363455"/>
                      <a:pt x="702469" y="345281"/>
                    </a:cubicBezTo>
                    <a:cubicBezTo>
                      <a:pt x="703222" y="342520"/>
                      <a:pt x="705207" y="340161"/>
                      <a:pt x="707231" y="338137"/>
                    </a:cubicBezTo>
                    <a:cubicBezTo>
                      <a:pt x="709255" y="336113"/>
                      <a:pt x="712236" y="335276"/>
                      <a:pt x="714375" y="333375"/>
                    </a:cubicBezTo>
                    <a:cubicBezTo>
                      <a:pt x="719409" y="328900"/>
                      <a:pt x="723059" y="322823"/>
                      <a:pt x="728663" y="319087"/>
                    </a:cubicBezTo>
                    <a:cubicBezTo>
                      <a:pt x="733425" y="315912"/>
                      <a:pt x="738903" y="313609"/>
                      <a:pt x="742950" y="309562"/>
                    </a:cubicBezTo>
                    <a:lnTo>
                      <a:pt x="757238" y="295275"/>
                    </a:lnTo>
                    <a:cubicBezTo>
                      <a:pt x="758825" y="290512"/>
                      <a:pt x="760782" y="285857"/>
                      <a:pt x="762000" y="280987"/>
                    </a:cubicBezTo>
                    <a:cubicBezTo>
                      <a:pt x="763588" y="274637"/>
                      <a:pt x="763132" y="267383"/>
                      <a:pt x="766763" y="261937"/>
                    </a:cubicBezTo>
                    <a:lnTo>
                      <a:pt x="776288" y="247650"/>
                    </a:lnTo>
                    <a:lnTo>
                      <a:pt x="781050" y="240506"/>
                    </a:lnTo>
                    <a:cubicBezTo>
                      <a:pt x="780256" y="236537"/>
                      <a:pt x="780090" y="232390"/>
                      <a:pt x="778669" y="228600"/>
                    </a:cubicBezTo>
                    <a:cubicBezTo>
                      <a:pt x="776680" y="223297"/>
                      <a:pt x="770467" y="218017"/>
                      <a:pt x="766763" y="214312"/>
                    </a:cubicBezTo>
                    <a:cubicBezTo>
                      <a:pt x="767557" y="208756"/>
                      <a:pt x="766634" y="202664"/>
                      <a:pt x="769144" y="197644"/>
                    </a:cubicBezTo>
                    <a:cubicBezTo>
                      <a:pt x="770267" y="195399"/>
                      <a:pt x="774094" y="196481"/>
                      <a:pt x="776288" y="195262"/>
                    </a:cubicBezTo>
                    <a:cubicBezTo>
                      <a:pt x="781291" y="192482"/>
                      <a:pt x="785813" y="188912"/>
                      <a:pt x="790575" y="185737"/>
                    </a:cubicBezTo>
                    <a:cubicBezTo>
                      <a:pt x="792956" y="184150"/>
                      <a:pt x="795430" y="182692"/>
                      <a:pt x="797719" y="180975"/>
                    </a:cubicBezTo>
                    <a:cubicBezTo>
                      <a:pt x="800894" y="178594"/>
                      <a:pt x="803617" y="175443"/>
                      <a:pt x="807244" y="173831"/>
                    </a:cubicBezTo>
                    <a:cubicBezTo>
                      <a:pt x="811512" y="171934"/>
                      <a:pt x="837133" y="169202"/>
                      <a:pt x="838200" y="169069"/>
                    </a:cubicBezTo>
                    <a:cubicBezTo>
                      <a:pt x="854365" y="163679"/>
                      <a:pt x="835763" y="171506"/>
                      <a:pt x="854869" y="152400"/>
                    </a:cubicBezTo>
                    <a:cubicBezTo>
                      <a:pt x="864036" y="143233"/>
                      <a:pt x="859211" y="147124"/>
                      <a:pt x="869156" y="140494"/>
                    </a:cubicBezTo>
                    <a:cubicBezTo>
                      <a:pt x="870744" y="138113"/>
                      <a:pt x="871895" y="135374"/>
                      <a:pt x="873919" y="133350"/>
                    </a:cubicBezTo>
                    <a:cubicBezTo>
                      <a:pt x="875943" y="131326"/>
                      <a:pt x="879275" y="130822"/>
                      <a:pt x="881063" y="128587"/>
                    </a:cubicBezTo>
                    <a:cubicBezTo>
                      <a:pt x="882631" y="126627"/>
                      <a:pt x="882322" y="123689"/>
                      <a:pt x="883444" y="121444"/>
                    </a:cubicBezTo>
                    <a:cubicBezTo>
                      <a:pt x="884724" y="118884"/>
                      <a:pt x="887044" y="116915"/>
                      <a:pt x="888206" y="114300"/>
                    </a:cubicBezTo>
                    <a:cubicBezTo>
                      <a:pt x="899539" y="88799"/>
                      <a:pt x="886955" y="109033"/>
                      <a:pt x="897731" y="92869"/>
                    </a:cubicBezTo>
                    <a:cubicBezTo>
                      <a:pt x="898525" y="88900"/>
                      <a:pt x="898692" y="84752"/>
                      <a:pt x="900113" y="80962"/>
                    </a:cubicBezTo>
                    <a:cubicBezTo>
                      <a:pt x="908846" y="57676"/>
                      <a:pt x="901709" y="88862"/>
                      <a:pt x="907256" y="66675"/>
                    </a:cubicBezTo>
                    <a:cubicBezTo>
                      <a:pt x="908238" y="62749"/>
                      <a:pt x="908573" y="58674"/>
                      <a:pt x="909638" y="54769"/>
                    </a:cubicBezTo>
                    <a:cubicBezTo>
                      <a:pt x="910959" y="49926"/>
                      <a:pt x="912813" y="45244"/>
                      <a:pt x="914400" y="40481"/>
                    </a:cubicBezTo>
                    <a:lnTo>
                      <a:pt x="916781" y="33337"/>
                    </a:lnTo>
                    <a:lnTo>
                      <a:pt x="919163" y="26194"/>
                    </a:lnTo>
                    <a:cubicBezTo>
                      <a:pt x="919957" y="23813"/>
                      <a:pt x="919299" y="20173"/>
                      <a:pt x="921544" y="19050"/>
                    </a:cubicBezTo>
                    <a:cubicBezTo>
                      <a:pt x="947650" y="5996"/>
                      <a:pt x="915687" y="23234"/>
                      <a:pt x="938213" y="7144"/>
                    </a:cubicBezTo>
                    <a:cubicBezTo>
                      <a:pt x="943364" y="3465"/>
                      <a:pt x="949050" y="1944"/>
                      <a:pt x="954881" y="0"/>
                    </a:cubicBezTo>
                    <a:lnTo>
                      <a:pt x="995363" y="2381"/>
                    </a:lnTo>
                    <a:cubicBezTo>
                      <a:pt x="1001806" y="4342"/>
                      <a:pt x="1003260" y="14539"/>
                      <a:pt x="1009650" y="16669"/>
                    </a:cubicBezTo>
                    <a:lnTo>
                      <a:pt x="1023938" y="21431"/>
                    </a:lnTo>
                    <a:cubicBezTo>
                      <a:pt x="1040000" y="37494"/>
                      <a:pt x="1031835" y="33589"/>
                      <a:pt x="1045369" y="38100"/>
                    </a:cubicBezTo>
                    <a:cubicBezTo>
                      <a:pt x="1056392" y="54634"/>
                      <a:pt x="1060567" y="54419"/>
                      <a:pt x="1052513" y="78581"/>
                    </a:cubicBezTo>
                    <a:cubicBezTo>
                      <a:pt x="1051719" y="80962"/>
                      <a:pt x="1047819" y="80417"/>
                      <a:pt x="1045369" y="80962"/>
                    </a:cubicBezTo>
                    <a:cubicBezTo>
                      <a:pt x="1020227" y="86549"/>
                      <a:pt x="1040017" y="80365"/>
                      <a:pt x="1023938" y="85725"/>
                    </a:cubicBezTo>
                    <a:cubicBezTo>
                      <a:pt x="1018674" y="90989"/>
                      <a:pt x="1015345" y="93384"/>
                      <a:pt x="1012031" y="100012"/>
                    </a:cubicBezTo>
                    <a:cubicBezTo>
                      <a:pt x="1010908" y="102257"/>
                      <a:pt x="1010639" y="104849"/>
                      <a:pt x="1009650" y="107156"/>
                    </a:cubicBezTo>
                    <a:cubicBezTo>
                      <a:pt x="1007594" y="111954"/>
                      <a:pt x="1003643" y="119603"/>
                      <a:pt x="1000125" y="123825"/>
                    </a:cubicBezTo>
                    <a:cubicBezTo>
                      <a:pt x="997969" y="126412"/>
                      <a:pt x="995362" y="128588"/>
                      <a:pt x="992981" y="130969"/>
                    </a:cubicBezTo>
                    <a:cubicBezTo>
                      <a:pt x="992187" y="133350"/>
                      <a:pt x="991992" y="136024"/>
                      <a:pt x="990600" y="138112"/>
                    </a:cubicBezTo>
                    <a:cubicBezTo>
                      <a:pt x="979092" y="155373"/>
                      <a:pt x="986916" y="134225"/>
                      <a:pt x="978694" y="154781"/>
                    </a:cubicBezTo>
                    <a:cubicBezTo>
                      <a:pt x="976830" y="159442"/>
                      <a:pt x="975519" y="164306"/>
                      <a:pt x="973931" y="169069"/>
                    </a:cubicBezTo>
                    <a:cubicBezTo>
                      <a:pt x="970324" y="179891"/>
                      <a:pt x="966021" y="191101"/>
                      <a:pt x="964406" y="202406"/>
                    </a:cubicBezTo>
                    <a:lnTo>
                      <a:pt x="962025" y="219075"/>
                    </a:lnTo>
                    <a:cubicBezTo>
                      <a:pt x="962819" y="247650"/>
                      <a:pt x="964406" y="276214"/>
                      <a:pt x="964406" y="304800"/>
                    </a:cubicBezTo>
                    <a:cubicBezTo>
                      <a:pt x="964406" y="305289"/>
                      <a:pt x="961728" y="327347"/>
                      <a:pt x="959644" y="330994"/>
                    </a:cubicBezTo>
                    <a:cubicBezTo>
                      <a:pt x="957973" y="333918"/>
                      <a:pt x="954567" y="335479"/>
                      <a:pt x="952500" y="338137"/>
                    </a:cubicBezTo>
                    <a:cubicBezTo>
                      <a:pt x="948986" y="342655"/>
                      <a:pt x="946150" y="347662"/>
                      <a:pt x="942975" y="352425"/>
                    </a:cubicBezTo>
                    <a:cubicBezTo>
                      <a:pt x="939707" y="357327"/>
                      <a:pt x="933117" y="366969"/>
                      <a:pt x="931069" y="371475"/>
                    </a:cubicBezTo>
                    <a:cubicBezTo>
                      <a:pt x="928992" y="376045"/>
                      <a:pt x="927894" y="381000"/>
                      <a:pt x="926306" y="385762"/>
                    </a:cubicBezTo>
                    <a:lnTo>
                      <a:pt x="921544" y="400050"/>
                    </a:lnTo>
                    <a:cubicBezTo>
                      <a:pt x="920750" y="402431"/>
                      <a:pt x="919772" y="404759"/>
                      <a:pt x="919163" y="407194"/>
                    </a:cubicBezTo>
                    <a:cubicBezTo>
                      <a:pt x="918369" y="410369"/>
                      <a:pt x="917680" y="413572"/>
                      <a:pt x="916781" y="416719"/>
                    </a:cubicBezTo>
                    <a:cubicBezTo>
                      <a:pt x="916091" y="419132"/>
                      <a:pt x="915089" y="421449"/>
                      <a:pt x="914400" y="423862"/>
                    </a:cubicBezTo>
                    <a:cubicBezTo>
                      <a:pt x="912675" y="429901"/>
                      <a:pt x="912084" y="434824"/>
                      <a:pt x="909638" y="440531"/>
                    </a:cubicBezTo>
                    <a:cubicBezTo>
                      <a:pt x="903474" y="454913"/>
                      <a:pt x="906941" y="445251"/>
                      <a:pt x="900113" y="457200"/>
                    </a:cubicBezTo>
                    <a:cubicBezTo>
                      <a:pt x="898352" y="460282"/>
                      <a:pt x="897111" y="463643"/>
                      <a:pt x="895350" y="466725"/>
                    </a:cubicBezTo>
                    <a:cubicBezTo>
                      <a:pt x="893930" y="469210"/>
                      <a:pt x="891868" y="471309"/>
                      <a:pt x="890588" y="473869"/>
                    </a:cubicBezTo>
                    <a:cubicBezTo>
                      <a:pt x="888681" y="477682"/>
                      <a:pt x="886845" y="486968"/>
                      <a:pt x="885825" y="490537"/>
                    </a:cubicBezTo>
                    <a:cubicBezTo>
                      <a:pt x="885135" y="492951"/>
                      <a:pt x="884238" y="495300"/>
                      <a:pt x="883444" y="497681"/>
                    </a:cubicBezTo>
                    <a:cubicBezTo>
                      <a:pt x="884238" y="514350"/>
                      <a:pt x="884494" y="531053"/>
                      <a:pt x="885825" y="547687"/>
                    </a:cubicBezTo>
                    <a:cubicBezTo>
                      <a:pt x="886086" y="550949"/>
                      <a:pt x="887564" y="554003"/>
                      <a:pt x="888206" y="557212"/>
                    </a:cubicBezTo>
                    <a:cubicBezTo>
                      <a:pt x="889153" y="561947"/>
                      <a:pt x="889641" y="566765"/>
                      <a:pt x="890588" y="571500"/>
                    </a:cubicBezTo>
                    <a:cubicBezTo>
                      <a:pt x="891230" y="574709"/>
                      <a:pt x="892431" y="577797"/>
                      <a:pt x="892969" y="581025"/>
                    </a:cubicBezTo>
                    <a:cubicBezTo>
                      <a:pt x="894021" y="587337"/>
                      <a:pt x="894556" y="593725"/>
                      <a:pt x="895350" y="600075"/>
                    </a:cubicBezTo>
                    <a:cubicBezTo>
                      <a:pt x="894556" y="623094"/>
                      <a:pt x="895119" y="646199"/>
                      <a:pt x="892969" y="669131"/>
                    </a:cubicBezTo>
                    <a:cubicBezTo>
                      <a:pt x="892702" y="671981"/>
                      <a:pt x="890230" y="674251"/>
                      <a:pt x="888206" y="676275"/>
                    </a:cubicBezTo>
                    <a:cubicBezTo>
                      <a:pt x="886183" y="678298"/>
                      <a:pt x="883444" y="679450"/>
                      <a:pt x="881063" y="681037"/>
                    </a:cubicBezTo>
                    <a:cubicBezTo>
                      <a:pt x="879475" y="683418"/>
                      <a:pt x="877580" y="685621"/>
                      <a:pt x="876300" y="688181"/>
                    </a:cubicBezTo>
                    <a:cubicBezTo>
                      <a:pt x="875177" y="690426"/>
                      <a:pt x="875487" y="693365"/>
                      <a:pt x="873919" y="695325"/>
                    </a:cubicBezTo>
                    <a:cubicBezTo>
                      <a:pt x="872131" y="697560"/>
                      <a:pt x="869156" y="698500"/>
                      <a:pt x="866775" y="700087"/>
                    </a:cubicBezTo>
                    <a:cubicBezTo>
                      <a:pt x="858278" y="712834"/>
                      <a:pt x="864035" y="705210"/>
                      <a:pt x="847725" y="721519"/>
                    </a:cubicBezTo>
                    <a:cubicBezTo>
                      <a:pt x="838560" y="730684"/>
                      <a:pt x="843381" y="726795"/>
                      <a:pt x="833438" y="733425"/>
                    </a:cubicBezTo>
                    <a:cubicBezTo>
                      <a:pt x="821608" y="751169"/>
                      <a:pt x="836816" y="729370"/>
                      <a:pt x="821531" y="747712"/>
                    </a:cubicBezTo>
                    <a:cubicBezTo>
                      <a:pt x="819699" y="749911"/>
                      <a:pt x="818670" y="752717"/>
                      <a:pt x="816769" y="754856"/>
                    </a:cubicBezTo>
                    <a:cubicBezTo>
                      <a:pt x="812294" y="759890"/>
                      <a:pt x="806217" y="763540"/>
                      <a:pt x="802481" y="769144"/>
                    </a:cubicBezTo>
                    <a:cubicBezTo>
                      <a:pt x="791250" y="785991"/>
                      <a:pt x="805355" y="765119"/>
                      <a:pt x="790575" y="785812"/>
                    </a:cubicBezTo>
                    <a:cubicBezTo>
                      <a:pt x="788912" y="788141"/>
                      <a:pt x="787837" y="790932"/>
                      <a:pt x="785813" y="792956"/>
                    </a:cubicBezTo>
                    <a:cubicBezTo>
                      <a:pt x="783789" y="794980"/>
                      <a:pt x="780868" y="795887"/>
                      <a:pt x="778669" y="797719"/>
                    </a:cubicBezTo>
                    <a:cubicBezTo>
                      <a:pt x="776082" y="799875"/>
                      <a:pt x="774327" y="802994"/>
                      <a:pt x="771525" y="804862"/>
                    </a:cubicBezTo>
                    <a:cubicBezTo>
                      <a:pt x="769436" y="806254"/>
                      <a:pt x="766688" y="806255"/>
                      <a:pt x="764381" y="807244"/>
                    </a:cubicBezTo>
                    <a:cubicBezTo>
                      <a:pt x="761118" y="808642"/>
                      <a:pt x="758031" y="810419"/>
                      <a:pt x="754856" y="812006"/>
                    </a:cubicBezTo>
                    <a:cubicBezTo>
                      <a:pt x="741761" y="803276"/>
                      <a:pt x="752872" y="812006"/>
                      <a:pt x="742950" y="800100"/>
                    </a:cubicBezTo>
                    <a:cubicBezTo>
                      <a:pt x="740794" y="797513"/>
                      <a:pt x="737962" y="795543"/>
                      <a:pt x="735806" y="792956"/>
                    </a:cubicBezTo>
                    <a:cubicBezTo>
                      <a:pt x="733974" y="790757"/>
                      <a:pt x="733279" y="787600"/>
                      <a:pt x="731044" y="785812"/>
                    </a:cubicBezTo>
                    <a:cubicBezTo>
                      <a:pt x="729084" y="784244"/>
                      <a:pt x="726281" y="784225"/>
                      <a:pt x="723900" y="783431"/>
                    </a:cubicBezTo>
                    <a:cubicBezTo>
                      <a:pt x="720725" y="781050"/>
                      <a:pt x="717821" y="778256"/>
                      <a:pt x="714375" y="776287"/>
                    </a:cubicBezTo>
                    <a:cubicBezTo>
                      <a:pt x="711719" y="774769"/>
                      <a:pt x="699767" y="772040"/>
                      <a:pt x="697706" y="771525"/>
                    </a:cubicBezTo>
                    <a:cubicBezTo>
                      <a:pt x="695325" y="773906"/>
                      <a:pt x="692431" y="775867"/>
                      <a:pt x="690563" y="778669"/>
                    </a:cubicBezTo>
                    <a:cubicBezTo>
                      <a:pt x="689171" y="780757"/>
                      <a:pt x="688181" y="783302"/>
                      <a:pt x="688181" y="785812"/>
                    </a:cubicBezTo>
                    <a:cubicBezTo>
                      <a:pt x="688181" y="791285"/>
                      <a:pt x="688538" y="810337"/>
                      <a:pt x="692944" y="819150"/>
                    </a:cubicBezTo>
                    <a:cubicBezTo>
                      <a:pt x="694224" y="821710"/>
                      <a:pt x="695682" y="824270"/>
                      <a:pt x="697706" y="826294"/>
                    </a:cubicBezTo>
                    <a:cubicBezTo>
                      <a:pt x="699730" y="828318"/>
                      <a:pt x="702469" y="829469"/>
                      <a:pt x="704850" y="831056"/>
                    </a:cubicBezTo>
                    <a:cubicBezTo>
                      <a:pt x="706438" y="833437"/>
                      <a:pt x="707414" y="836368"/>
                      <a:pt x="709613" y="838200"/>
                    </a:cubicBezTo>
                    <a:cubicBezTo>
                      <a:pt x="716534" y="843967"/>
                      <a:pt x="725053" y="843948"/>
                      <a:pt x="733425" y="845344"/>
                    </a:cubicBezTo>
                    <a:cubicBezTo>
                      <a:pt x="735806" y="846931"/>
                      <a:pt x="738009" y="848826"/>
                      <a:pt x="740569" y="850106"/>
                    </a:cubicBezTo>
                    <a:cubicBezTo>
                      <a:pt x="742814" y="851228"/>
                      <a:pt x="745753" y="850919"/>
                      <a:pt x="747713" y="852487"/>
                    </a:cubicBezTo>
                    <a:cubicBezTo>
                      <a:pt x="763100" y="864797"/>
                      <a:pt x="741662" y="856027"/>
                      <a:pt x="759619" y="862012"/>
                    </a:cubicBezTo>
                    <a:cubicBezTo>
                      <a:pt x="770810" y="873203"/>
                      <a:pt x="763961" y="867287"/>
                      <a:pt x="781050" y="878681"/>
                    </a:cubicBezTo>
                    <a:cubicBezTo>
                      <a:pt x="783431" y="880269"/>
                      <a:pt x="785479" y="882539"/>
                      <a:pt x="788194" y="883444"/>
                    </a:cubicBezTo>
                    <a:cubicBezTo>
                      <a:pt x="804276" y="888804"/>
                      <a:pt x="784480" y="882619"/>
                      <a:pt x="809625" y="888206"/>
                    </a:cubicBezTo>
                    <a:cubicBezTo>
                      <a:pt x="812075" y="888750"/>
                      <a:pt x="814388" y="889793"/>
                      <a:pt x="816769" y="890587"/>
                    </a:cubicBezTo>
                    <a:cubicBezTo>
                      <a:pt x="821531" y="889793"/>
                      <a:pt x="826599" y="890063"/>
                      <a:pt x="831056" y="888206"/>
                    </a:cubicBezTo>
                    <a:cubicBezTo>
                      <a:pt x="836340" y="886005"/>
                      <a:pt x="840581" y="881856"/>
                      <a:pt x="845344" y="878681"/>
                    </a:cubicBezTo>
                    <a:lnTo>
                      <a:pt x="852488" y="873919"/>
                    </a:lnTo>
                    <a:cubicBezTo>
                      <a:pt x="854869" y="872332"/>
                      <a:pt x="856916" y="870061"/>
                      <a:pt x="859631" y="869156"/>
                    </a:cubicBezTo>
                    <a:lnTo>
                      <a:pt x="866775" y="866775"/>
                    </a:lnTo>
                    <a:cubicBezTo>
                      <a:pt x="869156" y="865187"/>
                      <a:pt x="871359" y="863292"/>
                      <a:pt x="873919" y="862012"/>
                    </a:cubicBezTo>
                    <a:cubicBezTo>
                      <a:pt x="880904" y="858520"/>
                      <a:pt x="890840" y="858503"/>
                      <a:pt x="897731" y="857250"/>
                    </a:cubicBezTo>
                    <a:cubicBezTo>
                      <a:pt x="900951" y="856665"/>
                      <a:pt x="904081" y="855663"/>
                      <a:pt x="907256" y="854869"/>
                    </a:cubicBezTo>
                    <a:cubicBezTo>
                      <a:pt x="923633" y="843952"/>
                      <a:pt x="916114" y="847155"/>
                      <a:pt x="928688" y="842962"/>
                    </a:cubicBezTo>
                    <a:cubicBezTo>
                      <a:pt x="931069" y="840581"/>
                      <a:pt x="933244" y="837975"/>
                      <a:pt x="935831" y="835819"/>
                    </a:cubicBezTo>
                    <a:cubicBezTo>
                      <a:pt x="938030" y="833987"/>
                      <a:pt x="940951" y="833080"/>
                      <a:pt x="942975" y="831056"/>
                    </a:cubicBezTo>
                    <a:cubicBezTo>
                      <a:pt x="944999" y="829032"/>
                      <a:pt x="945906" y="826111"/>
                      <a:pt x="947738" y="823912"/>
                    </a:cubicBezTo>
                    <a:cubicBezTo>
                      <a:pt x="949894" y="821325"/>
                      <a:pt x="952814" y="819427"/>
                      <a:pt x="954881" y="816769"/>
                    </a:cubicBezTo>
                    <a:cubicBezTo>
                      <a:pt x="958395" y="812251"/>
                      <a:pt x="964406" y="802481"/>
                      <a:pt x="964406" y="802481"/>
                    </a:cubicBezTo>
                    <a:cubicBezTo>
                      <a:pt x="964694" y="800756"/>
                      <a:pt x="966565" y="784956"/>
                      <a:pt x="969169" y="781050"/>
                    </a:cubicBezTo>
                    <a:cubicBezTo>
                      <a:pt x="971037" y="778248"/>
                      <a:pt x="974121" y="776463"/>
                      <a:pt x="976313" y="773906"/>
                    </a:cubicBezTo>
                    <a:cubicBezTo>
                      <a:pt x="980739" y="768742"/>
                      <a:pt x="984453" y="762886"/>
                      <a:pt x="988219" y="757237"/>
                    </a:cubicBezTo>
                    <a:cubicBezTo>
                      <a:pt x="990811" y="749460"/>
                      <a:pt x="991831" y="747385"/>
                      <a:pt x="992981" y="738187"/>
                    </a:cubicBezTo>
                    <a:cubicBezTo>
                      <a:pt x="994862" y="723140"/>
                      <a:pt x="992949" y="707330"/>
                      <a:pt x="997744" y="692944"/>
                    </a:cubicBezTo>
                    <a:cubicBezTo>
                      <a:pt x="998538" y="690563"/>
                      <a:pt x="999002" y="688045"/>
                      <a:pt x="1000125" y="685800"/>
                    </a:cubicBezTo>
                    <a:cubicBezTo>
                      <a:pt x="1001405" y="683240"/>
                      <a:pt x="1003300" y="681037"/>
                      <a:pt x="1004888" y="678656"/>
                    </a:cubicBezTo>
                    <a:cubicBezTo>
                      <a:pt x="1005682" y="676275"/>
                      <a:pt x="1006820" y="673982"/>
                      <a:pt x="1007269" y="671512"/>
                    </a:cubicBezTo>
                    <a:cubicBezTo>
                      <a:pt x="1008208" y="666349"/>
                      <a:pt x="1009043" y="649908"/>
                      <a:pt x="1012031" y="642937"/>
                    </a:cubicBezTo>
                    <a:cubicBezTo>
                      <a:pt x="1013158" y="640307"/>
                      <a:pt x="1015206" y="638175"/>
                      <a:pt x="1016794" y="635794"/>
                    </a:cubicBezTo>
                    <a:cubicBezTo>
                      <a:pt x="1018085" y="629337"/>
                      <a:pt x="1018097" y="621417"/>
                      <a:pt x="1023938" y="616744"/>
                    </a:cubicBezTo>
                    <a:cubicBezTo>
                      <a:pt x="1025898" y="615176"/>
                      <a:pt x="1028836" y="615485"/>
                      <a:pt x="1031081" y="614362"/>
                    </a:cubicBezTo>
                    <a:cubicBezTo>
                      <a:pt x="1033641" y="613082"/>
                      <a:pt x="1035665" y="610880"/>
                      <a:pt x="1038225" y="609600"/>
                    </a:cubicBezTo>
                    <a:cubicBezTo>
                      <a:pt x="1050120" y="603653"/>
                      <a:pt x="1079976" y="605055"/>
                      <a:pt x="1083469" y="604837"/>
                    </a:cubicBezTo>
                    <a:cubicBezTo>
                      <a:pt x="1093788" y="605631"/>
                      <a:pt x="1105047" y="602842"/>
                      <a:pt x="1114425" y="607219"/>
                    </a:cubicBezTo>
                    <a:cubicBezTo>
                      <a:pt x="1118974" y="609342"/>
                      <a:pt x="1117600" y="616744"/>
                      <a:pt x="1119188" y="621506"/>
                    </a:cubicBezTo>
                    <a:lnTo>
                      <a:pt x="1121569" y="628650"/>
                    </a:lnTo>
                    <a:cubicBezTo>
                      <a:pt x="1122363" y="631031"/>
                      <a:pt x="1122175" y="634019"/>
                      <a:pt x="1123950" y="635794"/>
                    </a:cubicBezTo>
                    <a:cubicBezTo>
                      <a:pt x="1126331" y="638175"/>
                      <a:pt x="1128507" y="640781"/>
                      <a:pt x="1131094" y="642937"/>
                    </a:cubicBezTo>
                    <a:cubicBezTo>
                      <a:pt x="1133293" y="644769"/>
                      <a:pt x="1135857" y="646112"/>
                      <a:pt x="1138238" y="647700"/>
                    </a:cubicBezTo>
                    <a:cubicBezTo>
                      <a:pt x="1149948" y="665267"/>
                      <a:pt x="1145764" y="655882"/>
                      <a:pt x="1140619" y="695325"/>
                    </a:cubicBezTo>
                    <a:cubicBezTo>
                      <a:pt x="1139970" y="700303"/>
                      <a:pt x="1139405" y="706062"/>
                      <a:pt x="1135856" y="709612"/>
                    </a:cubicBezTo>
                    <a:lnTo>
                      <a:pt x="1128713" y="716756"/>
                    </a:lnTo>
                    <a:cubicBezTo>
                      <a:pt x="1125363" y="726803"/>
                      <a:pt x="1123327" y="729485"/>
                      <a:pt x="1128713" y="742950"/>
                    </a:cubicBezTo>
                    <a:cubicBezTo>
                      <a:pt x="1129776" y="745607"/>
                      <a:pt x="1133475" y="746125"/>
                      <a:pt x="1135856" y="747712"/>
                    </a:cubicBezTo>
                    <a:cubicBezTo>
                      <a:pt x="1137444" y="750093"/>
                      <a:pt x="1138384" y="753068"/>
                      <a:pt x="1140619" y="754856"/>
                    </a:cubicBezTo>
                    <a:cubicBezTo>
                      <a:pt x="1142579" y="756424"/>
                      <a:pt x="1146195" y="755277"/>
                      <a:pt x="1147763" y="757237"/>
                    </a:cubicBezTo>
                    <a:cubicBezTo>
                      <a:pt x="1149807" y="759793"/>
                      <a:pt x="1149350" y="763587"/>
                      <a:pt x="1150144" y="766762"/>
                    </a:cubicBezTo>
                    <a:cubicBezTo>
                      <a:pt x="1151731" y="764381"/>
                      <a:pt x="1154647" y="762469"/>
                      <a:pt x="1154906" y="759619"/>
                    </a:cubicBezTo>
                    <a:cubicBezTo>
                      <a:pt x="1156329" y="743968"/>
                      <a:pt x="1154215" y="743104"/>
                      <a:pt x="1147763" y="733425"/>
                    </a:cubicBezTo>
                    <a:cubicBezTo>
                      <a:pt x="1146257" y="727402"/>
                      <a:pt x="1143207" y="722451"/>
                      <a:pt x="1147763" y="716756"/>
                    </a:cubicBezTo>
                    <a:cubicBezTo>
                      <a:pt x="1149551" y="714521"/>
                      <a:pt x="1152525" y="713581"/>
                      <a:pt x="1154906" y="711994"/>
                    </a:cubicBezTo>
                    <a:cubicBezTo>
                      <a:pt x="1157688" y="703651"/>
                      <a:pt x="1156406" y="703948"/>
                      <a:pt x="1164431" y="697706"/>
                    </a:cubicBezTo>
                    <a:cubicBezTo>
                      <a:pt x="1168949" y="694192"/>
                      <a:pt x="1178719" y="688181"/>
                      <a:pt x="1178719" y="688181"/>
                    </a:cubicBezTo>
                    <a:cubicBezTo>
                      <a:pt x="1192380" y="667687"/>
                      <a:pt x="1188476" y="676597"/>
                      <a:pt x="1181100" y="628650"/>
                    </a:cubicBezTo>
                    <a:cubicBezTo>
                      <a:pt x="1180497" y="624727"/>
                      <a:pt x="1176337" y="622300"/>
                      <a:pt x="1173956" y="619125"/>
                    </a:cubicBezTo>
                    <a:cubicBezTo>
                      <a:pt x="1171687" y="612316"/>
                      <a:pt x="1170689" y="609931"/>
                      <a:pt x="1169194" y="602456"/>
                    </a:cubicBezTo>
                    <a:cubicBezTo>
                      <a:pt x="1168247" y="597722"/>
                      <a:pt x="1167760" y="592903"/>
                      <a:pt x="1166813" y="588169"/>
                    </a:cubicBezTo>
                    <a:cubicBezTo>
                      <a:pt x="1166171" y="584960"/>
                      <a:pt x="1165330" y="581791"/>
                      <a:pt x="1164431" y="578644"/>
                    </a:cubicBezTo>
                    <a:cubicBezTo>
                      <a:pt x="1163741" y="576230"/>
                      <a:pt x="1162614" y="573946"/>
                      <a:pt x="1162050" y="571500"/>
                    </a:cubicBezTo>
                    <a:cubicBezTo>
                      <a:pt x="1158760" y="557241"/>
                      <a:pt x="1158397" y="550380"/>
                      <a:pt x="1154906" y="538162"/>
                    </a:cubicBezTo>
                    <a:cubicBezTo>
                      <a:pt x="1154216" y="535749"/>
                      <a:pt x="1154093" y="532979"/>
                      <a:pt x="1152525" y="531019"/>
                    </a:cubicBezTo>
                    <a:cubicBezTo>
                      <a:pt x="1150737" y="528784"/>
                      <a:pt x="1147941" y="527536"/>
                      <a:pt x="1145381" y="526256"/>
                    </a:cubicBezTo>
                    <a:cubicBezTo>
                      <a:pt x="1139519" y="523325"/>
                      <a:pt x="1129436" y="522408"/>
                      <a:pt x="1123950" y="521494"/>
                    </a:cubicBezTo>
                    <a:cubicBezTo>
                      <a:pt x="1122381" y="516787"/>
                      <a:pt x="1121004" y="510564"/>
                      <a:pt x="1116806" y="507206"/>
                    </a:cubicBezTo>
                    <a:cubicBezTo>
                      <a:pt x="1114846" y="505638"/>
                      <a:pt x="1112044" y="505619"/>
                      <a:pt x="1109663" y="504825"/>
                    </a:cubicBezTo>
                    <a:cubicBezTo>
                      <a:pt x="1107282" y="506412"/>
                      <a:pt x="1105134" y="508425"/>
                      <a:pt x="1102519" y="509587"/>
                    </a:cubicBezTo>
                    <a:cubicBezTo>
                      <a:pt x="1083825" y="517895"/>
                      <a:pt x="1073811" y="515251"/>
                      <a:pt x="1050131" y="516731"/>
                    </a:cubicBezTo>
                    <a:cubicBezTo>
                      <a:pt x="1045035" y="518430"/>
                      <a:pt x="1039646" y="519530"/>
                      <a:pt x="1035844" y="523875"/>
                    </a:cubicBezTo>
                    <a:cubicBezTo>
                      <a:pt x="1032075" y="528182"/>
                      <a:pt x="1026319" y="538162"/>
                      <a:pt x="1026319" y="538162"/>
                    </a:cubicBezTo>
                    <a:cubicBezTo>
                      <a:pt x="1023938" y="535781"/>
                      <a:pt x="1020846" y="533943"/>
                      <a:pt x="1019175" y="531019"/>
                    </a:cubicBezTo>
                    <a:cubicBezTo>
                      <a:pt x="1017551" y="528178"/>
                      <a:pt x="1016794" y="524767"/>
                      <a:pt x="1016794" y="521494"/>
                    </a:cubicBezTo>
                    <a:cubicBezTo>
                      <a:pt x="1016794" y="516010"/>
                      <a:pt x="1018026" y="488896"/>
                      <a:pt x="1023938" y="481012"/>
                    </a:cubicBezTo>
                    <a:cubicBezTo>
                      <a:pt x="1032798" y="469197"/>
                      <a:pt x="1028879" y="474789"/>
                      <a:pt x="1035844" y="464344"/>
                    </a:cubicBezTo>
                    <a:cubicBezTo>
                      <a:pt x="1041641" y="446951"/>
                      <a:pt x="1039388" y="454926"/>
                      <a:pt x="1042988" y="440531"/>
                    </a:cubicBezTo>
                    <a:cubicBezTo>
                      <a:pt x="1042194" y="434975"/>
                      <a:pt x="1041707" y="429366"/>
                      <a:pt x="1040606" y="423862"/>
                    </a:cubicBezTo>
                    <a:cubicBezTo>
                      <a:pt x="1040114" y="421401"/>
                      <a:pt x="1038225" y="419229"/>
                      <a:pt x="1038225" y="416719"/>
                    </a:cubicBezTo>
                    <a:cubicBezTo>
                      <a:pt x="1038225" y="407952"/>
                      <a:pt x="1039366" y="399204"/>
                      <a:pt x="1040606" y="390525"/>
                    </a:cubicBezTo>
                    <a:cubicBezTo>
                      <a:pt x="1040961" y="388040"/>
                      <a:pt x="1041420" y="385341"/>
                      <a:pt x="1042988" y="383381"/>
                    </a:cubicBezTo>
                    <a:cubicBezTo>
                      <a:pt x="1044776" y="381146"/>
                      <a:pt x="1047933" y="380451"/>
                      <a:pt x="1050131" y="378619"/>
                    </a:cubicBezTo>
                    <a:cubicBezTo>
                      <a:pt x="1057007" y="372889"/>
                      <a:pt x="1057355" y="371355"/>
                      <a:pt x="1062038" y="364331"/>
                    </a:cubicBezTo>
                    <a:cubicBezTo>
                      <a:pt x="1062832" y="361950"/>
                      <a:pt x="1063297" y="359432"/>
                      <a:pt x="1064419" y="357187"/>
                    </a:cubicBezTo>
                    <a:cubicBezTo>
                      <a:pt x="1073655" y="338715"/>
                      <a:pt x="1065573" y="360865"/>
                      <a:pt x="1071563" y="342900"/>
                    </a:cubicBezTo>
                    <a:cubicBezTo>
                      <a:pt x="1071487" y="342136"/>
                      <a:pt x="1070036" y="316034"/>
                      <a:pt x="1066800" y="309562"/>
                    </a:cubicBezTo>
                    <a:cubicBezTo>
                      <a:pt x="1064240" y="304443"/>
                      <a:pt x="1057275" y="295275"/>
                      <a:pt x="1057275" y="295275"/>
                    </a:cubicBezTo>
                    <a:cubicBezTo>
                      <a:pt x="1056481" y="291306"/>
                      <a:pt x="1055466" y="287376"/>
                      <a:pt x="1054894" y="283369"/>
                    </a:cubicBezTo>
                    <a:cubicBezTo>
                      <a:pt x="1053878" y="276253"/>
                      <a:pt x="1053353" y="269076"/>
                      <a:pt x="1052513" y="261937"/>
                    </a:cubicBezTo>
                    <a:cubicBezTo>
                      <a:pt x="1051765" y="255581"/>
                      <a:pt x="1050925" y="249237"/>
                      <a:pt x="1050131" y="242887"/>
                    </a:cubicBezTo>
                    <a:cubicBezTo>
                      <a:pt x="1050925" y="231775"/>
                      <a:pt x="1049811" y="220358"/>
                      <a:pt x="1052513" y="209550"/>
                    </a:cubicBezTo>
                    <a:cubicBezTo>
                      <a:pt x="1053207" y="206774"/>
                      <a:pt x="1057041" y="205949"/>
                      <a:pt x="1059656" y="204787"/>
                    </a:cubicBezTo>
                    <a:cubicBezTo>
                      <a:pt x="1064244" y="202748"/>
                      <a:pt x="1069181" y="201612"/>
                      <a:pt x="1073944" y="200025"/>
                    </a:cubicBezTo>
                    <a:lnTo>
                      <a:pt x="1081088" y="197644"/>
                    </a:lnTo>
                    <a:cubicBezTo>
                      <a:pt x="1083469" y="196056"/>
                      <a:pt x="1085671" y="194161"/>
                      <a:pt x="1088231" y="192881"/>
                    </a:cubicBezTo>
                    <a:cubicBezTo>
                      <a:pt x="1090476" y="191758"/>
                      <a:pt x="1093181" y="191719"/>
                      <a:pt x="1095375" y="190500"/>
                    </a:cubicBezTo>
                    <a:cubicBezTo>
                      <a:pt x="1102916" y="186311"/>
                      <a:pt x="1112052" y="179183"/>
                      <a:pt x="1119188" y="173831"/>
                    </a:cubicBezTo>
                    <a:cubicBezTo>
                      <a:pt x="1120775" y="170656"/>
                      <a:pt x="1122189" y="167388"/>
                      <a:pt x="1123950" y="164306"/>
                    </a:cubicBezTo>
                    <a:cubicBezTo>
                      <a:pt x="1125370" y="161821"/>
                      <a:pt x="1127551" y="159777"/>
                      <a:pt x="1128713" y="157162"/>
                    </a:cubicBezTo>
                    <a:cubicBezTo>
                      <a:pt x="1132025" y="149709"/>
                      <a:pt x="1133877" y="141265"/>
                      <a:pt x="1135856" y="133350"/>
                    </a:cubicBezTo>
                    <a:cubicBezTo>
                      <a:pt x="1136650" y="122237"/>
                      <a:pt x="1136585" y="111030"/>
                      <a:pt x="1138238" y="100012"/>
                    </a:cubicBezTo>
                    <a:cubicBezTo>
                      <a:pt x="1138983" y="95048"/>
                      <a:pt x="1141413" y="90487"/>
                      <a:pt x="1143000" y="85725"/>
                    </a:cubicBezTo>
                    <a:cubicBezTo>
                      <a:pt x="1143794" y="83344"/>
                      <a:pt x="1143000" y="79375"/>
                      <a:pt x="1145381" y="78581"/>
                    </a:cubicBezTo>
                    <a:lnTo>
                      <a:pt x="1152525" y="76200"/>
                    </a:lnTo>
                    <a:cubicBezTo>
                      <a:pt x="1156494" y="76994"/>
                      <a:pt x="1161138" y="76229"/>
                      <a:pt x="1164431" y="78581"/>
                    </a:cubicBezTo>
                    <a:cubicBezTo>
                      <a:pt x="1167320" y="80644"/>
                      <a:pt x="1169058" y="84559"/>
                      <a:pt x="1169194" y="88106"/>
                    </a:cubicBezTo>
                    <a:cubicBezTo>
                      <a:pt x="1169779" y="103306"/>
                      <a:pt x="1171424" y="136030"/>
                      <a:pt x="1162050" y="154781"/>
                    </a:cubicBezTo>
                    <a:cubicBezTo>
                      <a:pt x="1160463" y="157956"/>
                      <a:pt x="1158606" y="161010"/>
                      <a:pt x="1157288" y="164306"/>
                    </a:cubicBezTo>
                    <a:cubicBezTo>
                      <a:pt x="1155424" y="168967"/>
                      <a:pt x="1152525" y="178594"/>
                      <a:pt x="1152525" y="178594"/>
                    </a:cubicBezTo>
                    <a:cubicBezTo>
                      <a:pt x="1151731" y="190500"/>
                      <a:pt x="1153917" y="202992"/>
                      <a:pt x="1150144" y="214312"/>
                    </a:cubicBezTo>
                    <a:cubicBezTo>
                      <a:pt x="1147480" y="222304"/>
                      <a:pt x="1135662" y="228398"/>
                      <a:pt x="1128713" y="233362"/>
                    </a:cubicBezTo>
                    <a:cubicBezTo>
                      <a:pt x="1122221" y="237999"/>
                      <a:pt x="1117135" y="241541"/>
                      <a:pt x="1112044" y="247650"/>
                    </a:cubicBezTo>
                    <a:cubicBezTo>
                      <a:pt x="1110212" y="249849"/>
                      <a:pt x="1108869" y="252413"/>
                      <a:pt x="1107281" y="254794"/>
                    </a:cubicBezTo>
                    <a:cubicBezTo>
                      <a:pt x="1106487" y="257175"/>
                      <a:pt x="1103777" y="259692"/>
                      <a:pt x="1104900" y="261937"/>
                    </a:cubicBezTo>
                    <a:cubicBezTo>
                      <a:pt x="1106023" y="264182"/>
                      <a:pt x="1109622" y="263659"/>
                      <a:pt x="1112044" y="264319"/>
                    </a:cubicBezTo>
                    <a:cubicBezTo>
                      <a:pt x="1144308" y="273119"/>
                      <a:pt x="1118933" y="265908"/>
                      <a:pt x="1143000" y="271462"/>
                    </a:cubicBezTo>
                    <a:cubicBezTo>
                      <a:pt x="1149378" y="272934"/>
                      <a:pt x="1162050" y="276225"/>
                      <a:pt x="1162050" y="276225"/>
                    </a:cubicBezTo>
                    <a:cubicBezTo>
                      <a:pt x="1189905" y="297117"/>
                      <a:pt x="1155501" y="270612"/>
                      <a:pt x="1178719" y="290512"/>
                    </a:cubicBezTo>
                    <a:cubicBezTo>
                      <a:pt x="1181732" y="293095"/>
                      <a:pt x="1185069" y="295275"/>
                      <a:pt x="1188244" y="297656"/>
                    </a:cubicBezTo>
                    <a:cubicBezTo>
                      <a:pt x="1192477" y="304007"/>
                      <a:pt x="1193802" y="307007"/>
                      <a:pt x="1200150" y="311944"/>
                    </a:cubicBezTo>
                    <a:cubicBezTo>
                      <a:pt x="1204668" y="315458"/>
                      <a:pt x="1214438" y="321469"/>
                      <a:pt x="1214438" y="321469"/>
                    </a:cubicBezTo>
                    <a:cubicBezTo>
                      <a:pt x="1223168" y="334564"/>
                      <a:pt x="1214438" y="323453"/>
                      <a:pt x="1226344" y="333375"/>
                    </a:cubicBezTo>
                    <a:cubicBezTo>
                      <a:pt x="1238235" y="343284"/>
                      <a:pt x="1228078" y="338716"/>
                      <a:pt x="1240631" y="342900"/>
                    </a:cubicBezTo>
                    <a:cubicBezTo>
                      <a:pt x="1251823" y="354092"/>
                      <a:pt x="1244972" y="348176"/>
                      <a:pt x="1262063" y="359569"/>
                    </a:cubicBezTo>
                    <a:lnTo>
                      <a:pt x="1269206" y="364331"/>
                    </a:lnTo>
                    <a:cubicBezTo>
                      <a:pt x="1278968" y="378974"/>
                      <a:pt x="1278769" y="381224"/>
                      <a:pt x="1271588" y="338137"/>
                    </a:cubicBezTo>
                    <a:cubicBezTo>
                      <a:pt x="1270545" y="331877"/>
                      <a:pt x="1264764" y="326870"/>
                      <a:pt x="1262063" y="321469"/>
                    </a:cubicBezTo>
                    <a:cubicBezTo>
                      <a:pt x="1260940" y="319224"/>
                      <a:pt x="1260475" y="316706"/>
                      <a:pt x="1259681" y="314325"/>
                    </a:cubicBezTo>
                    <a:cubicBezTo>
                      <a:pt x="1259969" y="312599"/>
                      <a:pt x="1261839" y="296801"/>
                      <a:pt x="1264444" y="292894"/>
                    </a:cubicBezTo>
                    <a:cubicBezTo>
                      <a:pt x="1266312" y="290092"/>
                      <a:pt x="1269207" y="288131"/>
                      <a:pt x="1271588" y="285750"/>
                    </a:cubicBezTo>
                    <a:cubicBezTo>
                      <a:pt x="1273175" y="280987"/>
                      <a:pt x="1277334" y="276385"/>
                      <a:pt x="1276350" y="271462"/>
                    </a:cubicBezTo>
                    <a:cubicBezTo>
                      <a:pt x="1275556" y="267493"/>
                      <a:pt x="1274951" y="263482"/>
                      <a:pt x="1273969" y="259556"/>
                    </a:cubicBezTo>
                    <a:cubicBezTo>
                      <a:pt x="1273360" y="257121"/>
                      <a:pt x="1273363" y="254187"/>
                      <a:pt x="1271588" y="252412"/>
                    </a:cubicBezTo>
                    <a:cubicBezTo>
                      <a:pt x="1269813" y="250637"/>
                      <a:pt x="1266947" y="250216"/>
                      <a:pt x="1264444" y="250031"/>
                    </a:cubicBezTo>
                    <a:cubicBezTo>
                      <a:pt x="1245430" y="248623"/>
                      <a:pt x="1226344" y="248444"/>
                      <a:pt x="1207294" y="247650"/>
                    </a:cubicBezTo>
                    <a:cubicBezTo>
                      <a:pt x="1204119" y="246856"/>
                      <a:pt x="1200611" y="246893"/>
                      <a:pt x="1197769" y="245269"/>
                    </a:cubicBezTo>
                    <a:cubicBezTo>
                      <a:pt x="1194845" y="243598"/>
                      <a:pt x="1192781" y="240712"/>
                      <a:pt x="1190625" y="238125"/>
                    </a:cubicBezTo>
                    <a:cubicBezTo>
                      <a:pt x="1185497" y="231972"/>
                      <a:pt x="1185868" y="230995"/>
                      <a:pt x="1183481" y="223837"/>
                    </a:cubicBezTo>
                    <a:cubicBezTo>
                      <a:pt x="1184275" y="213518"/>
                      <a:pt x="1180122" y="201492"/>
                      <a:pt x="1185863" y="192881"/>
                    </a:cubicBezTo>
                    <a:cubicBezTo>
                      <a:pt x="1188976" y="188211"/>
                      <a:pt x="1197028" y="194161"/>
                      <a:pt x="1202531" y="195262"/>
                    </a:cubicBezTo>
                    <a:cubicBezTo>
                      <a:pt x="1208181" y="196392"/>
                      <a:pt x="1212385" y="198711"/>
                      <a:pt x="1216819" y="202406"/>
                    </a:cubicBezTo>
                    <a:cubicBezTo>
                      <a:pt x="1219406" y="204562"/>
                      <a:pt x="1221582" y="207169"/>
                      <a:pt x="1223963" y="209550"/>
                    </a:cubicBezTo>
                    <a:cubicBezTo>
                      <a:pt x="1224757" y="211931"/>
                      <a:pt x="1225735" y="214259"/>
                      <a:pt x="1226344" y="216694"/>
                    </a:cubicBezTo>
                    <a:cubicBezTo>
                      <a:pt x="1227326" y="220620"/>
                      <a:pt x="1226480" y="225233"/>
                      <a:pt x="1228725" y="228600"/>
                    </a:cubicBezTo>
                    <a:cubicBezTo>
                      <a:pt x="1230117" y="230689"/>
                      <a:pt x="1233488" y="230187"/>
                      <a:pt x="1235869" y="230981"/>
                    </a:cubicBezTo>
                    <a:cubicBezTo>
                      <a:pt x="1247775" y="230187"/>
                      <a:pt x="1264774" y="238396"/>
                      <a:pt x="1271588" y="228600"/>
                    </a:cubicBezTo>
                    <a:cubicBezTo>
                      <a:pt x="1307832" y="176499"/>
                      <a:pt x="1250698" y="171305"/>
                      <a:pt x="1283494" y="178594"/>
                    </a:cubicBezTo>
                    <a:cubicBezTo>
                      <a:pt x="1287445" y="179472"/>
                      <a:pt x="1291431" y="180181"/>
                      <a:pt x="1295400" y="180975"/>
                    </a:cubicBezTo>
                    <a:cubicBezTo>
                      <a:pt x="1296194" y="183356"/>
                      <a:pt x="1297172" y="185684"/>
                      <a:pt x="1297781" y="188119"/>
                    </a:cubicBezTo>
                    <a:cubicBezTo>
                      <a:pt x="1298763" y="192045"/>
                      <a:pt x="1297918" y="196657"/>
                      <a:pt x="1300163" y="200025"/>
                    </a:cubicBezTo>
                    <a:cubicBezTo>
                      <a:pt x="1301555" y="202113"/>
                      <a:pt x="1304845" y="201914"/>
                      <a:pt x="1307306" y="202406"/>
                    </a:cubicBezTo>
                    <a:cubicBezTo>
                      <a:pt x="1312810" y="203507"/>
                      <a:pt x="1318419" y="203993"/>
                      <a:pt x="1323975" y="204787"/>
                    </a:cubicBezTo>
                    <a:cubicBezTo>
                      <a:pt x="1339563" y="209984"/>
                      <a:pt x="1324263" y="202766"/>
                      <a:pt x="1333500" y="214312"/>
                    </a:cubicBezTo>
                    <a:cubicBezTo>
                      <a:pt x="1335288" y="216547"/>
                      <a:pt x="1338263" y="217487"/>
                      <a:pt x="1340644" y="219075"/>
                    </a:cubicBezTo>
                    <a:cubicBezTo>
                      <a:pt x="1349471" y="245558"/>
                      <a:pt x="1348700" y="237478"/>
                      <a:pt x="1343025" y="280987"/>
                    </a:cubicBezTo>
                    <a:cubicBezTo>
                      <a:pt x="1342655" y="283825"/>
                      <a:pt x="1340095" y="285932"/>
                      <a:pt x="1338263" y="288131"/>
                    </a:cubicBezTo>
                    <a:cubicBezTo>
                      <a:pt x="1322978" y="306474"/>
                      <a:pt x="1338186" y="284675"/>
                      <a:pt x="1326356" y="302419"/>
                    </a:cubicBezTo>
                    <a:cubicBezTo>
                      <a:pt x="1307360" y="359407"/>
                      <a:pt x="1323995" y="393777"/>
                      <a:pt x="1319213" y="473869"/>
                    </a:cubicBezTo>
                    <a:cubicBezTo>
                      <a:pt x="1319042" y="476726"/>
                      <a:pt x="1314749" y="477626"/>
                      <a:pt x="1312069" y="478631"/>
                    </a:cubicBezTo>
                    <a:cubicBezTo>
                      <a:pt x="1308279" y="480052"/>
                      <a:pt x="1304089" y="480030"/>
                      <a:pt x="1300163" y="481012"/>
                    </a:cubicBezTo>
                    <a:cubicBezTo>
                      <a:pt x="1297728" y="481621"/>
                      <a:pt x="1295400" y="482600"/>
                      <a:pt x="1293019" y="483394"/>
                    </a:cubicBezTo>
                    <a:cubicBezTo>
                      <a:pt x="1290638" y="485775"/>
                      <a:pt x="1288031" y="487950"/>
                      <a:pt x="1285875" y="490537"/>
                    </a:cubicBezTo>
                    <a:cubicBezTo>
                      <a:pt x="1284043" y="492736"/>
                      <a:pt x="1283137" y="495657"/>
                      <a:pt x="1281113" y="497681"/>
                    </a:cubicBezTo>
                    <a:cubicBezTo>
                      <a:pt x="1279089" y="499705"/>
                      <a:pt x="1276350" y="500856"/>
                      <a:pt x="1273969" y="502444"/>
                    </a:cubicBezTo>
                    <a:cubicBezTo>
                      <a:pt x="1267984" y="520400"/>
                      <a:pt x="1276059" y="498264"/>
                      <a:pt x="1266825" y="516731"/>
                    </a:cubicBezTo>
                    <a:cubicBezTo>
                      <a:pt x="1265702" y="518976"/>
                      <a:pt x="1265238" y="521494"/>
                      <a:pt x="1264444" y="523875"/>
                    </a:cubicBezTo>
                    <a:cubicBezTo>
                      <a:pt x="1265238" y="528637"/>
                      <a:pt x="1264864" y="533750"/>
                      <a:pt x="1266825" y="538162"/>
                    </a:cubicBezTo>
                    <a:cubicBezTo>
                      <a:pt x="1268193" y="541239"/>
                      <a:pt x="1272101" y="542504"/>
                      <a:pt x="1273969" y="545306"/>
                    </a:cubicBezTo>
                    <a:cubicBezTo>
                      <a:pt x="1287754" y="565984"/>
                      <a:pt x="1260704" y="536804"/>
                      <a:pt x="1283494" y="559594"/>
                    </a:cubicBezTo>
                    <a:cubicBezTo>
                      <a:pt x="1289156" y="576579"/>
                      <a:pt x="1281127" y="556042"/>
                      <a:pt x="1293019" y="573881"/>
                    </a:cubicBezTo>
                    <a:cubicBezTo>
                      <a:pt x="1294411" y="575970"/>
                      <a:pt x="1294277" y="578780"/>
                      <a:pt x="1295400" y="581025"/>
                    </a:cubicBezTo>
                    <a:cubicBezTo>
                      <a:pt x="1298715" y="587655"/>
                      <a:pt x="1302041" y="590047"/>
                      <a:pt x="1307306" y="595312"/>
                    </a:cubicBezTo>
                    <a:cubicBezTo>
                      <a:pt x="1308100" y="597693"/>
                      <a:pt x="1307913" y="600681"/>
                      <a:pt x="1309688" y="602456"/>
                    </a:cubicBezTo>
                    <a:cubicBezTo>
                      <a:pt x="1311463" y="604231"/>
                      <a:pt x="1314586" y="603715"/>
                      <a:pt x="1316831" y="604837"/>
                    </a:cubicBezTo>
                    <a:cubicBezTo>
                      <a:pt x="1319391" y="606117"/>
                      <a:pt x="1321646" y="607936"/>
                      <a:pt x="1323975" y="609600"/>
                    </a:cubicBezTo>
                    <a:cubicBezTo>
                      <a:pt x="1327204" y="611907"/>
                      <a:pt x="1330054" y="614775"/>
                      <a:pt x="1333500" y="616744"/>
                    </a:cubicBezTo>
                    <a:cubicBezTo>
                      <a:pt x="1335679" y="617989"/>
                      <a:pt x="1338146" y="618875"/>
                      <a:pt x="1340644" y="619125"/>
                    </a:cubicBezTo>
                    <a:cubicBezTo>
                      <a:pt x="1354094" y="620470"/>
                      <a:pt x="1367631" y="620712"/>
                      <a:pt x="1381125" y="621506"/>
                    </a:cubicBezTo>
                    <a:cubicBezTo>
                      <a:pt x="1385423" y="627952"/>
                      <a:pt x="1387627" y="630618"/>
                      <a:pt x="1390650" y="638175"/>
                    </a:cubicBezTo>
                    <a:cubicBezTo>
                      <a:pt x="1392514" y="642836"/>
                      <a:pt x="1393825" y="647700"/>
                      <a:pt x="1395413" y="652462"/>
                    </a:cubicBezTo>
                    <a:cubicBezTo>
                      <a:pt x="1398827" y="662703"/>
                      <a:pt x="1397188" y="657181"/>
                      <a:pt x="1400175" y="669131"/>
                    </a:cubicBezTo>
                    <a:cubicBezTo>
                      <a:pt x="1399381" y="693737"/>
                      <a:pt x="1400756" y="718510"/>
                      <a:pt x="1397794" y="742950"/>
                    </a:cubicBezTo>
                    <a:cubicBezTo>
                      <a:pt x="1397450" y="745791"/>
                      <a:pt x="1392070" y="745227"/>
                      <a:pt x="1390650" y="747712"/>
                    </a:cubicBezTo>
                    <a:cubicBezTo>
                      <a:pt x="1388642" y="751226"/>
                      <a:pt x="1389063" y="755650"/>
                      <a:pt x="1388269" y="759619"/>
                    </a:cubicBezTo>
                    <a:cubicBezTo>
                      <a:pt x="1389063" y="801688"/>
                      <a:pt x="1389200" y="843774"/>
                      <a:pt x="1390650" y="885825"/>
                    </a:cubicBezTo>
                    <a:cubicBezTo>
                      <a:pt x="1390797" y="890083"/>
                      <a:pt x="1394375" y="902584"/>
                      <a:pt x="1395413" y="907256"/>
                    </a:cubicBezTo>
                    <a:cubicBezTo>
                      <a:pt x="1396500" y="912145"/>
                      <a:pt x="1397622" y="921201"/>
                      <a:pt x="1400175" y="926306"/>
                    </a:cubicBezTo>
                    <a:cubicBezTo>
                      <a:pt x="1401455" y="928866"/>
                      <a:pt x="1403350" y="931069"/>
                      <a:pt x="1404938" y="933450"/>
                    </a:cubicBezTo>
                    <a:cubicBezTo>
                      <a:pt x="1405732" y="938212"/>
                      <a:pt x="1406148" y="943053"/>
                      <a:pt x="1407319" y="947737"/>
                    </a:cubicBezTo>
                    <a:cubicBezTo>
                      <a:pt x="1408536" y="952607"/>
                      <a:pt x="1410863" y="957155"/>
                      <a:pt x="1412081" y="962025"/>
                    </a:cubicBezTo>
                    <a:cubicBezTo>
                      <a:pt x="1412875" y="965200"/>
                      <a:pt x="1413564" y="968403"/>
                      <a:pt x="1414463" y="971550"/>
                    </a:cubicBezTo>
                    <a:cubicBezTo>
                      <a:pt x="1415153" y="973964"/>
                      <a:pt x="1416184" y="976272"/>
                      <a:pt x="1416844" y="978694"/>
                    </a:cubicBezTo>
                    <a:cubicBezTo>
                      <a:pt x="1424893" y="1008211"/>
                      <a:pt x="1418508" y="988455"/>
                      <a:pt x="1423988" y="1004887"/>
                    </a:cubicBezTo>
                    <a:cubicBezTo>
                      <a:pt x="1424782" y="1010443"/>
                      <a:pt x="1425365" y="1016034"/>
                      <a:pt x="1426369" y="1021556"/>
                    </a:cubicBezTo>
                    <a:cubicBezTo>
                      <a:pt x="1426954" y="1024776"/>
                      <a:pt x="1428040" y="1027886"/>
                      <a:pt x="1428750" y="1031081"/>
                    </a:cubicBezTo>
                    <a:cubicBezTo>
                      <a:pt x="1429628" y="1035032"/>
                      <a:pt x="1430466" y="1038995"/>
                      <a:pt x="1431131" y="1042987"/>
                    </a:cubicBezTo>
                    <a:cubicBezTo>
                      <a:pt x="1432649" y="1052094"/>
                      <a:pt x="1433921" y="1064737"/>
                      <a:pt x="1435894" y="1073944"/>
                    </a:cubicBezTo>
                    <a:cubicBezTo>
                      <a:pt x="1437265" y="1080344"/>
                      <a:pt x="1437729" y="1087140"/>
                      <a:pt x="1440656" y="1092994"/>
                    </a:cubicBezTo>
                    <a:lnTo>
                      <a:pt x="1445419" y="1102519"/>
                    </a:lnTo>
                    <a:cubicBezTo>
                      <a:pt x="1451458" y="1132716"/>
                      <a:pt x="1443365" y="1100108"/>
                      <a:pt x="1452563" y="1121569"/>
                    </a:cubicBezTo>
                    <a:cubicBezTo>
                      <a:pt x="1454991" y="1127235"/>
                      <a:pt x="1455704" y="1141379"/>
                      <a:pt x="1459706" y="1145381"/>
                    </a:cubicBezTo>
                    <a:cubicBezTo>
                      <a:pt x="1462881" y="1148556"/>
                      <a:pt x="1466274" y="1151527"/>
                      <a:pt x="1469231" y="1154906"/>
                    </a:cubicBezTo>
                    <a:cubicBezTo>
                      <a:pt x="1471844" y="1157893"/>
                      <a:pt x="1474068" y="1161202"/>
                      <a:pt x="1476375" y="1164431"/>
                    </a:cubicBezTo>
                    <a:cubicBezTo>
                      <a:pt x="1478039" y="1166760"/>
                      <a:pt x="1479114" y="1169551"/>
                      <a:pt x="1481138" y="1171575"/>
                    </a:cubicBezTo>
                    <a:cubicBezTo>
                      <a:pt x="1483161" y="1173598"/>
                      <a:pt x="1485900" y="1174750"/>
                      <a:pt x="1488281" y="1176337"/>
                    </a:cubicBezTo>
                    <a:cubicBezTo>
                      <a:pt x="1489869" y="1178718"/>
                      <a:pt x="1491020" y="1181457"/>
                      <a:pt x="1493044" y="1183481"/>
                    </a:cubicBezTo>
                    <a:cubicBezTo>
                      <a:pt x="1495068" y="1185505"/>
                      <a:pt x="1497703" y="1186824"/>
                      <a:pt x="1500188" y="1188244"/>
                    </a:cubicBezTo>
                    <a:cubicBezTo>
                      <a:pt x="1503759" y="1190284"/>
                      <a:pt x="1512143" y="1194601"/>
                      <a:pt x="1516856" y="1195387"/>
                    </a:cubicBezTo>
                    <a:cubicBezTo>
                      <a:pt x="1523946" y="1196569"/>
                      <a:pt x="1531144" y="1196975"/>
                      <a:pt x="1538288" y="1197769"/>
                    </a:cubicBezTo>
                    <a:cubicBezTo>
                      <a:pt x="1540669" y="1198563"/>
                      <a:pt x="1544186" y="1197971"/>
                      <a:pt x="1545431" y="1200150"/>
                    </a:cubicBezTo>
                    <a:cubicBezTo>
                      <a:pt x="1547826" y="1204342"/>
                      <a:pt x="1546766" y="1209724"/>
                      <a:pt x="1547813" y="1214437"/>
                    </a:cubicBezTo>
                    <a:cubicBezTo>
                      <a:pt x="1548358" y="1216887"/>
                      <a:pt x="1549400" y="1219200"/>
                      <a:pt x="1550194" y="1221581"/>
                    </a:cubicBezTo>
                    <a:cubicBezTo>
                      <a:pt x="1549400" y="1236662"/>
                      <a:pt x="1549180" y="1251785"/>
                      <a:pt x="1547813" y="1266825"/>
                    </a:cubicBezTo>
                    <a:cubicBezTo>
                      <a:pt x="1547586" y="1269325"/>
                      <a:pt x="1546999" y="1272009"/>
                      <a:pt x="1545431" y="1273969"/>
                    </a:cubicBezTo>
                    <a:cubicBezTo>
                      <a:pt x="1543643" y="1276204"/>
                      <a:pt x="1540669" y="1277144"/>
                      <a:pt x="1538288" y="1278731"/>
                    </a:cubicBezTo>
                    <a:cubicBezTo>
                      <a:pt x="1535902" y="1285888"/>
                      <a:pt x="1536271" y="1286866"/>
                      <a:pt x="1531144" y="1293019"/>
                    </a:cubicBezTo>
                    <a:cubicBezTo>
                      <a:pt x="1528988" y="1295606"/>
                      <a:pt x="1526067" y="1297504"/>
                      <a:pt x="1524000" y="1300162"/>
                    </a:cubicBezTo>
                    <a:cubicBezTo>
                      <a:pt x="1520486" y="1304680"/>
                      <a:pt x="1517650" y="1309687"/>
                      <a:pt x="1514475" y="1314450"/>
                    </a:cubicBezTo>
                    <a:cubicBezTo>
                      <a:pt x="1507507" y="1324902"/>
                      <a:pt x="1511436" y="1319296"/>
                      <a:pt x="1502569" y="1331119"/>
                    </a:cubicBezTo>
                    <a:cubicBezTo>
                      <a:pt x="1504320" y="1367901"/>
                      <a:pt x="1507167" y="1394349"/>
                      <a:pt x="1502569" y="1431131"/>
                    </a:cubicBezTo>
                    <a:cubicBezTo>
                      <a:pt x="1501757" y="1437628"/>
                      <a:pt x="1494650" y="1439714"/>
                      <a:pt x="1490663" y="1443037"/>
                    </a:cubicBezTo>
                    <a:cubicBezTo>
                      <a:pt x="1483787" y="1448767"/>
                      <a:pt x="1483439" y="1450301"/>
                      <a:pt x="1478756" y="1457325"/>
                    </a:cubicBezTo>
                    <a:cubicBezTo>
                      <a:pt x="1477124" y="1462222"/>
                      <a:pt x="1474658" y="1469011"/>
                      <a:pt x="1473994" y="1473994"/>
                    </a:cubicBezTo>
                    <a:cubicBezTo>
                      <a:pt x="1472835" y="1482684"/>
                      <a:pt x="1474022" y="1491757"/>
                      <a:pt x="1471613" y="1500187"/>
                    </a:cubicBezTo>
                    <a:cubicBezTo>
                      <a:pt x="1470688" y="1503425"/>
                      <a:pt x="1466850" y="1504950"/>
                      <a:pt x="1464469" y="1507331"/>
                    </a:cubicBezTo>
                    <a:lnTo>
                      <a:pt x="1462088" y="1509712"/>
                    </a:lnTo>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4" name="Freeform 13"/>
              <p:cNvSpPr/>
              <p:nvPr/>
            </p:nvSpPr>
            <p:spPr bwMode="gray">
              <a:xfrm>
                <a:off x="3246876" y="4638675"/>
                <a:ext cx="1482287" cy="790575"/>
              </a:xfrm>
              <a:custGeom>
                <a:avLst/>
                <a:gdLst>
                  <a:gd name="connsiteX0" fmla="*/ 65443 w 1482287"/>
                  <a:gd name="connsiteY0" fmla="*/ 85725 h 790575"/>
                  <a:gd name="connsiteX1" fmla="*/ 67824 w 1482287"/>
                  <a:gd name="connsiteY1" fmla="*/ 111919 h 790575"/>
                  <a:gd name="connsiteX2" fmla="*/ 70205 w 1482287"/>
                  <a:gd name="connsiteY2" fmla="*/ 119063 h 790575"/>
                  <a:gd name="connsiteX3" fmla="*/ 72587 w 1482287"/>
                  <a:gd name="connsiteY3" fmla="*/ 128588 h 790575"/>
                  <a:gd name="connsiteX4" fmla="*/ 77349 w 1482287"/>
                  <a:gd name="connsiteY4" fmla="*/ 142875 h 790575"/>
                  <a:gd name="connsiteX5" fmla="*/ 79730 w 1482287"/>
                  <a:gd name="connsiteY5" fmla="*/ 154781 h 790575"/>
                  <a:gd name="connsiteX6" fmla="*/ 86874 w 1482287"/>
                  <a:gd name="connsiteY6" fmla="*/ 176213 h 790575"/>
                  <a:gd name="connsiteX7" fmla="*/ 89255 w 1482287"/>
                  <a:gd name="connsiteY7" fmla="*/ 183356 h 790575"/>
                  <a:gd name="connsiteX8" fmla="*/ 91637 w 1482287"/>
                  <a:gd name="connsiteY8" fmla="*/ 192881 h 790575"/>
                  <a:gd name="connsiteX9" fmla="*/ 98780 w 1482287"/>
                  <a:gd name="connsiteY9" fmla="*/ 207169 h 790575"/>
                  <a:gd name="connsiteX10" fmla="*/ 103543 w 1482287"/>
                  <a:gd name="connsiteY10" fmla="*/ 216694 h 790575"/>
                  <a:gd name="connsiteX11" fmla="*/ 117830 w 1482287"/>
                  <a:gd name="connsiteY11" fmla="*/ 230981 h 790575"/>
                  <a:gd name="connsiteX12" fmla="*/ 120212 w 1482287"/>
                  <a:gd name="connsiteY12" fmla="*/ 238125 h 790575"/>
                  <a:gd name="connsiteX13" fmla="*/ 124974 w 1482287"/>
                  <a:gd name="connsiteY13" fmla="*/ 245269 h 790575"/>
                  <a:gd name="connsiteX14" fmla="*/ 129737 w 1482287"/>
                  <a:gd name="connsiteY14" fmla="*/ 259556 h 790575"/>
                  <a:gd name="connsiteX15" fmla="*/ 132118 w 1482287"/>
                  <a:gd name="connsiteY15" fmla="*/ 266700 h 790575"/>
                  <a:gd name="connsiteX16" fmla="*/ 129737 w 1482287"/>
                  <a:gd name="connsiteY16" fmla="*/ 359569 h 790575"/>
                  <a:gd name="connsiteX17" fmla="*/ 127355 w 1482287"/>
                  <a:gd name="connsiteY17" fmla="*/ 366713 h 790575"/>
                  <a:gd name="connsiteX18" fmla="*/ 113068 w 1482287"/>
                  <a:gd name="connsiteY18" fmla="*/ 378619 h 790575"/>
                  <a:gd name="connsiteX19" fmla="*/ 94018 w 1482287"/>
                  <a:gd name="connsiteY19" fmla="*/ 400050 h 790575"/>
                  <a:gd name="connsiteX20" fmla="*/ 86874 w 1482287"/>
                  <a:gd name="connsiteY20" fmla="*/ 407194 h 790575"/>
                  <a:gd name="connsiteX21" fmla="*/ 63062 w 1482287"/>
                  <a:gd name="connsiteY21" fmla="*/ 414338 h 790575"/>
                  <a:gd name="connsiteX22" fmla="*/ 46393 w 1482287"/>
                  <a:gd name="connsiteY22" fmla="*/ 419100 h 790575"/>
                  <a:gd name="connsiteX23" fmla="*/ 22580 w 1482287"/>
                  <a:gd name="connsiteY23" fmla="*/ 442913 h 790575"/>
                  <a:gd name="connsiteX24" fmla="*/ 17818 w 1482287"/>
                  <a:gd name="connsiteY24" fmla="*/ 450056 h 790575"/>
                  <a:gd name="connsiteX25" fmla="*/ 13055 w 1482287"/>
                  <a:gd name="connsiteY25" fmla="*/ 457200 h 790575"/>
                  <a:gd name="connsiteX26" fmla="*/ 10674 w 1482287"/>
                  <a:gd name="connsiteY26" fmla="*/ 466725 h 790575"/>
                  <a:gd name="connsiteX27" fmla="*/ 1149 w 1482287"/>
                  <a:gd name="connsiteY27" fmla="*/ 476250 h 790575"/>
                  <a:gd name="connsiteX28" fmla="*/ 3530 w 1482287"/>
                  <a:gd name="connsiteY28" fmla="*/ 485775 h 790575"/>
                  <a:gd name="connsiteX29" fmla="*/ 8293 w 1482287"/>
                  <a:gd name="connsiteY29" fmla="*/ 502444 h 790575"/>
                  <a:gd name="connsiteX30" fmla="*/ 10674 w 1482287"/>
                  <a:gd name="connsiteY30" fmla="*/ 571500 h 790575"/>
                  <a:gd name="connsiteX31" fmla="*/ 22580 w 1482287"/>
                  <a:gd name="connsiteY31" fmla="*/ 592931 h 790575"/>
                  <a:gd name="connsiteX32" fmla="*/ 32105 w 1482287"/>
                  <a:gd name="connsiteY32" fmla="*/ 600075 h 790575"/>
                  <a:gd name="connsiteX33" fmla="*/ 36868 w 1482287"/>
                  <a:gd name="connsiteY33" fmla="*/ 607219 h 790575"/>
                  <a:gd name="connsiteX34" fmla="*/ 60680 w 1482287"/>
                  <a:gd name="connsiteY34" fmla="*/ 621506 h 790575"/>
                  <a:gd name="connsiteX35" fmla="*/ 65443 w 1482287"/>
                  <a:gd name="connsiteY35" fmla="*/ 628650 h 790575"/>
                  <a:gd name="connsiteX36" fmla="*/ 86874 w 1482287"/>
                  <a:gd name="connsiteY36" fmla="*/ 638175 h 790575"/>
                  <a:gd name="connsiteX37" fmla="*/ 94018 w 1482287"/>
                  <a:gd name="connsiteY37" fmla="*/ 640556 h 790575"/>
                  <a:gd name="connsiteX38" fmla="*/ 101162 w 1482287"/>
                  <a:gd name="connsiteY38" fmla="*/ 647700 h 790575"/>
                  <a:gd name="connsiteX39" fmla="*/ 115449 w 1482287"/>
                  <a:gd name="connsiteY39" fmla="*/ 657225 h 790575"/>
                  <a:gd name="connsiteX40" fmla="*/ 129737 w 1482287"/>
                  <a:gd name="connsiteY40" fmla="*/ 669131 h 790575"/>
                  <a:gd name="connsiteX41" fmla="*/ 141643 w 1482287"/>
                  <a:gd name="connsiteY41" fmla="*/ 683419 h 790575"/>
                  <a:gd name="connsiteX42" fmla="*/ 144024 w 1482287"/>
                  <a:gd name="connsiteY42" fmla="*/ 690563 h 790575"/>
                  <a:gd name="connsiteX43" fmla="*/ 148787 w 1482287"/>
                  <a:gd name="connsiteY43" fmla="*/ 709613 h 790575"/>
                  <a:gd name="connsiteX44" fmla="*/ 153549 w 1482287"/>
                  <a:gd name="connsiteY44" fmla="*/ 716756 h 790575"/>
                  <a:gd name="connsiteX45" fmla="*/ 160693 w 1482287"/>
                  <a:gd name="connsiteY45" fmla="*/ 726281 h 790575"/>
                  <a:gd name="connsiteX46" fmla="*/ 174980 w 1482287"/>
                  <a:gd name="connsiteY46" fmla="*/ 733425 h 790575"/>
                  <a:gd name="connsiteX47" fmla="*/ 217843 w 1482287"/>
                  <a:gd name="connsiteY47" fmla="*/ 735806 h 790575"/>
                  <a:gd name="connsiteX48" fmla="*/ 267849 w 1482287"/>
                  <a:gd name="connsiteY48" fmla="*/ 735806 h 790575"/>
                  <a:gd name="connsiteX49" fmla="*/ 286899 w 1482287"/>
                  <a:gd name="connsiteY49" fmla="*/ 740569 h 790575"/>
                  <a:gd name="connsiteX50" fmla="*/ 301187 w 1482287"/>
                  <a:gd name="connsiteY50" fmla="*/ 752475 h 790575"/>
                  <a:gd name="connsiteX51" fmla="*/ 308330 w 1482287"/>
                  <a:gd name="connsiteY51" fmla="*/ 757238 h 790575"/>
                  <a:gd name="connsiteX52" fmla="*/ 322618 w 1482287"/>
                  <a:gd name="connsiteY52" fmla="*/ 785813 h 790575"/>
                  <a:gd name="connsiteX53" fmla="*/ 329762 w 1482287"/>
                  <a:gd name="connsiteY53" fmla="*/ 790575 h 790575"/>
                  <a:gd name="connsiteX54" fmla="*/ 334524 w 1482287"/>
                  <a:gd name="connsiteY54" fmla="*/ 783431 h 790575"/>
                  <a:gd name="connsiteX55" fmla="*/ 341668 w 1482287"/>
                  <a:gd name="connsiteY55" fmla="*/ 776288 h 790575"/>
                  <a:gd name="connsiteX56" fmla="*/ 348812 w 1482287"/>
                  <a:gd name="connsiteY56" fmla="*/ 752475 h 790575"/>
                  <a:gd name="connsiteX57" fmla="*/ 353574 w 1482287"/>
                  <a:gd name="connsiteY57" fmla="*/ 738188 h 790575"/>
                  <a:gd name="connsiteX58" fmla="*/ 365480 w 1482287"/>
                  <a:gd name="connsiteY58" fmla="*/ 723900 h 790575"/>
                  <a:gd name="connsiteX59" fmla="*/ 370243 w 1482287"/>
                  <a:gd name="connsiteY59" fmla="*/ 716756 h 790575"/>
                  <a:gd name="connsiteX60" fmla="*/ 384530 w 1482287"/>
                  <a:gd name="connsiteY60" fmla="*/ 709613 h 790575"/>
                  <a:gd name="connsiteX61" fmla="*/ 391674 w 1482287"/>
                  <a:gd name="connsiteY61" fmla="*/ 702469 h 790575"/>
                  <a:gd name="connsiteX62" fmla="*/ 398818 w 1482287"/>
                  <a:gd name="connsiteY62" fmla="*/ 697706 h 790575"/>
                  <a:gd name="connsiteX63" fmla="*/ 403580 w 1482287"/>
                  <a:gd name="connsiteY63" fmla="*/ 690563 h 790575"/>
                  <a:gd name="connsiteX64" fmla="*/ 413105 w 1482287"/>
                  <a:gd name="connsiteY64" fmla="*/ 683419 h 790575"/>
                  <a:gd name="connsiteX65" fmla="*/ 425012 w 1482287"/>
                  <a:gd name="connsiteY65" fmla="*/ 669131 h 790575"/>
                  <a:gd name="connsiteX66" fmla="*/ 436918 w 1482287"/>
                  <a:gd name="connsiteY66" fmla="*/ 659606 h 790575"/>
                  <a:gd name="connsiteX67" fmla="*/ 441680 w 1482287"/>
                  <a:gd name="connsiteY67" fmla="*/ 652463 h 790575"/>
                  <a:gd name="connsiteX68" fmla="*/ 448824 w 1482287"/>
                  <a:gd name="connsiteY68" fmla="*/ 645319 h 790575"/>
                  <a:gd name="connsiteX69" fmla="*/ 451205 w 1482287"/>
                  <a:gd name="connsiteY69" fmla="*/ 638175 h 790575"/>
                  <a:gd name="connsiteX70" fmla="*/ 448824 w 1482287"/>
                  <a:gd name="connsiteY70" fmla="*/ 607219 h 790575"/>
                  <a:gd name="connsiteX71" fmla="*/ 441680 w 1482287"/>
                  <a:gd name="connsiteY71" fmla="*/ 602456 h 790575"/>
                  <a:gd name="connsiteX72" fmla="*/ 422630 w 1482287"/>
                  <a:gd name="connsiteY72" fmla="*/ 585788 h 790575"/>
                  <a:gd name="connsiteX73" fmla="*/ 403580 w 1482287"/>
                  <a:gd name="connsiteY73" fmla="*/ 573881 h 790575"/>
                  <a:gd name="connsiteX74" fmla="*/ 389293 w 1482287"/>
                  <a:gd name="connsiteY74" fmla="*/ 564356 h 790575"/>
                  <a:gd name="connsiteX75" fmla="*/ 386912 w 1482287"/>
                  <a:gd name="connsiteY75" fmla="*/ 557213 h 790575"/>
                  <a:gd name="connsiteX76" fmla="*/ 401199 w 1482287"/>
                  <a:gd name="connsiteY76" fmla="*/ 533400 h 790575"/>
                  <a:gd name="connsiteX77" fmla="*/ 408343 w 1482287"/>
                  <a:gd name="connsiteY77" fmla="*/ 528638 h 790575"/>
                  <a:gd name="connsiteX78" fmla="*/ 413105 w 1482287"/>
                  <a:gd name="connsiteY78" fmla="*/ 514350 h 790575"/>
                  <a:gd name="connsiteX79" fmla="*/ 415487 w 1482287"/>
                  <a:gd name="connsiteY79" fmla="*/ 495300 h 790575"/>
                  <a:gd name="connsiteX80" fmla="*/ 417868 w 1482287"/>
                  <a:gd name="connsiteY80" fmla="*/ 483394 h 790575"/>
                  <a:gd name="connsiteX81" fmla="*/ 422630 w 1482287"/>
                  <a:gd name="connsiteY81" fmla="*/ 457200 h 790575"/>
                  <a:gd name="connsiteX82" fmla="*/ 425012 w 1482287"/>
                  <a:gd name="connsiteY82" fmla="*/ 450056 h 790575"/>
                  <a:gd name="connsiteX83" fmla="*/ 439299 w 1482287"/>
                  <a:gd name="connsiteY83" fmla="*/ 440531 h 790575"/>
                  <a:gd name="connsiteX84" fmla="*/ 475018 w 1482287"/>
                  <a:gd name="connsiteY84" fmla="*/ 442913 h 790575"/>
                  <a:gd name="connsiteX85" fmla="*/ 482162 w 1482287"/>
                  <a:gd name="connsiteY85" fmla="*/ 447675 h 790575"/>
                  <a:gd name="connsiteX86" fmla="*/ 484543 w 1482287"/>
                  <a:gd name="connsiteY86" fmla="*/ 476250 h 790575"/>
                  <a:gd name="connsiteX87" fmla="*/ 486924 w 1482287"/>
                  <a:gd name="connsiteY87" fmla="*/ 483394 h 790575"/>
                  <a:gd name="connsiteX88" fmla="*/ 501212 w 1482287"/>
                  <a:gd name="connsiteY88" fmla="*/ 488156 h 790575"/>
                  <a:gd name="connsiteX89" fmla="*/ 525024 w 1482287"/>
                  <a:gd name="connsiteY89" fmla="*/ 492919 h 790575"/>
                  <a:gd name="connsiteX90" fmla="*/ 563124 w 1482287"/>
                  <a:gd name="connsiteY90" fmla="*/ 500063 h 790575"/>
                  <a:gd name="connsiteX91" fmla="*/ 575030 w 1482287"/>
                  <a:gd name="connsiteY91" fmla="*/ 502444 h 790575"/>
                  <a:gd name="connsiteX92" fmla="*/ 620274 w 1482287"/>
                  <a:gd name="connsiteY92" fmla="*/ 504825 h 790575"/>
                  <a:gd name="connsiteX93" fmla="*/ 644087 w 1482287"/>
                  <a:gd name="connsiteY93" fmla="*/ 511969 h 790575"/>
                  <a:gd name="connsiteX94" fmla="*/ 663137 w 1482287"/>
                  <a:gd name="connsiteY94" fmla="*/ 516731 h 790575"/>
                  <a:gd name="connsiteX95" fmla="*/ 701237 w 1482287"/>
                  <a:gd name="connsiteY95" fmla="*/ 519113 h 790575"/>
                  <a:gd name="connsiteX96" fmla="*/ 727430 w 1482287"/>
                  <a:gd name="connsiteY96" fmla="*/ 519113 h 790575"/>
                  <a:gd name="connsiteX97" fmla="*/ 732193 w 1482287"/>
                  <a:gd name="connsiteY97" fmla="*/ 511969 h 790575"/>
                  <a:gd name="connsiteX98" fmla="*/ 739337 w 1482287"/>
                  <a:gd name="connsiteY98" fmla="*/ 507206 h 790575"/>
                  <a:gd name="connsiteX99" fmla="*/ 741718 w 1482287"/>
                  <a:gd name="connsiteY99" fmla="*/ 500063 h 790575"/>
                  <a:gd name="connsiteX100" fmla="*/ 748862 w 1482287"/>
                  <a:gd name="connsiteY100" fmla="*/ 485775 h 790575"/>
                  <a:gd name="connsiteX101" fmla="*/ 751243 w 1482287"/>
                  <a:gd name="connsiteY101" fmla="*/ 464344 h 790575"/>
                  <a:gd name="connsiteX102" fmla="*/ 758387 w 1482287"/>
                  <a:gd name="connsiteY102" fmla="*/ 450056 h 790575"/>
                  <a:gd name="connsiteX103" fmla="*/ 765530 w 1482287"/>
                  <a:gd name="connsiteY103" fmla="*/ 442913 h 790575"/>
                  <a:gd name="connsiteX104" fmla="*/ 770293 w 1482287"/>
                  <a:gd name="connsiteY104" fmla="*/ 435769 h 790575"/>
                  <a:gd name="connsiteX105" fmla="*/ 772674 w 1482287"/>
                  <a:gd name="connsiteY105" fmla="*/ 428625 h 790575"/>
                  <a:gd name="connsiteX106" fmla="*/ 779818 w 1482287"/>
                  <a:gd name="connsiteY106" fmla="*/ 409575 h 790575"/>
                  <a:gd name="connsiteX107" fmla="*/ 786962 w 1482287"/>
                  <a:gd name="connsiteY107" fmla="*/ 407194 h 790575"/>
                  <a:gd name="connsiteX108" fmla="*/ 803630 w 1482287"/>
                  <a:gd name="connsiteY108" fmla="*/ 397669 h 790575"/>
                  <a:gd name="connsiteX109" fmla="*/ 827443 w 1482287"/>
                  <a:gd name="connsiteY109" fmla="*/ 383381 h 790575"/>
                  <a:gd name="connsiteX110" fmla="*/ 856018 w 1482287"/>
                  <a:gd name="connsiteY110" fmla="*/ 376238 h 790575"/>
                  <a:gd name="connsiteX111" fmla="*/ 863162 w 1482287"/>
                  <a:gd name="connsiteY111" fmla="*/ 373856 h 790575"/>
                  <a:gd name="connsiteX112" fmla="*/ 867924 w 1482287"/>
                  <a:gd name="connsiteY112" fmla="*/ 359569 h 790575"/>
                  <a:gd name="connsiteX113" fmla="*/ 870305 w 1482287"/>
                  <a:gd name="connsiteY113" fmla="*/ 323850 h 790575"/>
                  <a:gd name="connsiteX114" fmla="*/ 884593 w 1482287"/>
                  <a:gd name="connsiteY114" fmla="*/ 295275 h 790575"/>
                  <a:gd name="connsiteX115" fmla="*/ 889355 w 1482287"/>
                  <a:gd name="connsiteY115" fmla="*/ 288131 h 790575"/>
                  <a:gd name="connsiteX116" fmla="*/ 896499 w 1482287"/>
                  <a:gd name="connsiteY116" fmla="*/ 280988 h 790575"/>
                  <a:gd name="connsiteX117" fmla="*/ 910787 w 1482287"/>
                  <a:gd name="connsiteY117" fmla="*/ 264319 h 790575"/>
                  <a:gd name="connsiteX118" fmla="*/ 925074 w 1482287"/>
                  <a:gd name="connsiteY118" fmla="*/ 254794 h 790575"/>
                  <a:gd name="connsiteX119" fmla="*/ 932218 w 1482287"/>
                  <a:gd name="connsiteY119" fmla="*/ 250031 h 790575"/>
                  <a:gd name="connsiteX120" fmla="*/ 936980 w 1482287"/>
                  <a:gd name="connsiteY120" fmla="*/ 242888 h 790575"/>
                  <a:gd name="connsiteX121" fmla="*/ 951268 w 1482287"/>
                  <a:gd name="connsiteY121" fmla="*/ 233363 h 790575"/>
                  <a:gd name="connsiteX122" fmla="*/ 1041755 w 1482287"/>
                  <a:gd name="connsiteY122" fmla="*/ 235744 h 790575"/>
                  <a:gd name="connsiteX123" fmla="*/ 1056043 w 1482287"/>
                  <a:gd name="connsiteY123" fmla="*/ 245269 h 790575"/>
                  <a:gd name="connsiteX124" fmla="*/ 1070330 w 1482287"/>
                  <a:gd name="connsiteY124" fmla="*/ 254794 h 790575"/>
                  <a:gd name="connsiteX125" fmla="*/ 1077474 w 1482287"/>
                  <a:gd name="connsiteY125" fmla="*/ 259556 h 790575"/>
                  <a:gd name="connsiteX126" fmla="*/ 1094143 w 1482287"/>
                  <a:gd name="connsiteY126" fmla="*/ 264319 h 790575"/>
                  <a:gd name="connsiteX127" fmla="*/ 1110812 w 1482287"/>
                  <a:gd name="connsiteY127" fmla="*/ 266700 h 790575"/>
                  <a:gd name="connsiteX128" fmla="*/ 1127480 w 1482287"/>
                  <a:gd name="connsiteY128" fmla="*/ 271463 h 790575"/>
                  <a:gd name="connsiteX129" fmla="*/ 1144149 w 1482287"/>
                  <a:gd name="connsiteY129" fmla="*/ 273844 h 790575"/>
                  <a:gd name="connsiteX130" fmla="*/ 1160818 w 1482287"/>
                  <a:gd name="connsiteY130" fmla="*/ 278606 h 790575"/>
                  <a:gd name="connsiteX131" fmla="*/ 1167962 w 1482287"/>
                  <a:gd name="connsiteY131" fmla="*/ 283369 h 790575"/>
                  <a:gd name="connsiteX132" fmla="*/ 1189393 w 1482287"/>
                  <a:gd name="connsiteY132" fmla="*/ 288131 h 790575"/>
                  <a:gd name="connsiteX133" fmla="*/ 1227493 w 1482287"/>
                  <a:gd name="connsiteY133" fmla="*/ 292894 h 790575"/>
                  <a:gd name="connsiteX134" fmla="*/ 1265593 w 1482287"/>
                  <a:gd name="connsiteY134" fmla="*/ 290513 h 790575"/>
                  <a:gd name="connsiteX135" fmla="*/ 1279880 w 1482287"/>
                  <a:gd name="connsiteY135" fmla="*/ 285750 h 790575"/>
                  <a:gd name="connsiteX136" fmla="*/ 1287024 w 1482287"/>
                  <a:gd name="connsiteY136" fmla="*/ 283369 h 790575"/>
                  <a:gd name="connsiteX137" fmla="*/ 1353699 w 1482287"/>
                  <a:gd name="connsiteY137" fmla="*/ 280988 h 790575"/>
                  <a:gd name="connsiteX138" fmla="*/ 1370368 w 1482287"/>
                  <a:gd name="connsiteY138" fmla="*/ 276225 h 790575"/>
                  <a:gd name="connsiteX139" fmla="*/ 1377512 w 1482287"/>
                  <a:gd name="connsiteY139" fmla="*/ 271463 h 790575"/>
                  <a:gd name="connsiteX140" fmla="*/ 1410849 w 1482287"/>
                  <a:gd name="connsiteY140" fmla="*/ 261938 h 790575"/>
                  <a:gd name="connsiteX141" fmla="*/ 1441805 w 1482287"/>
                  <a:gd name="connsiteY141" fmla="*/ 254794 h 790575"/>
                  <a:gd name="connsiteX142" fmla="*/ 1448949 w 1482287"/>
                  <a:gd name="connsiteY142" fmla="*/ 247650 h 790575"/>
                  <a:gd name="connsiteX143" fmla="*/ 1463237 w 1482287"/>
                  <a:gd name="connsiteY143" fmla="*/ 238125 h 790575"/>
                  <a:gd name="connsiteX144" fmla="*/ 1482287 w 1482287"/>
                  <a:gd name="connsiteY144" fmla="*/ 216694 h 790575"/>
                  <a:gd name="connsiteX145" fmla="*/ 1479905 w 1482287"/>
                  <a:gd name="connsiteY145" fmla="*/ 200025 h 790575"/>
                  <a:gd name="connsiteX146" fmla="*/ 1460855 w 1482287"/>
                  <a:gd name="connsiteY146" fmla="*/ 190500 h 790575"/>
                  <a:gd name="connsiteX147" fmla="*/ 1451330 w 1482287"/>
                  <a:gd name="connsiteY147" fmla="*/ 183356 h 790575"/>
                  <a:gd name="connsiteX148" fmla="*/ 1441805 w 1482287"/>
                  <a:gd name="connsiteY148" fmla="*/ 180975 h 790575"/>
                  <a:gd name="connsiteX149" fmla="*/ 1434662 w 1482287"/>
                  <a:gd name="connsiteY149" fmla="*/ 178594 h 790575"/>
                  <a:gd name="connsiteX150" fmla="*/ 1427518 w 1482287"/>
                  <a:gd name="connsiteY150" fmla="*/ 145256 h 790575"/>
                  <a:gd name="connsiteX151" fmla="*/ 1422755 w 1482287"/>
                  <a:gd name="connsiteY151" fmla="*/ 130969 h 790575"/>
                  <a:gd name="connsiteX152" fmla="*/ 1417993 w 1482287"/>
                  <a:gd name="connsiteY152" fmla="*/ 114300 h 790575"/>
                  <a:gd name="connsiteX153" fmla="*/ 1422755 w 1482287"/>
                  <a:gd name="connsiteY153" fmla="*/ 57150 h 790575"/>
                  <a:gd name="connsiteX154" fmla="*/ 1425137 w 1482287"/>
                  <a:gd name="connsiteY154" fmla="*/ 45244 h 790575"/>
                  <a:gd name="connsiteX155" fmla="*/ 1432280 w 1482287"/>
                  <a:gd name="connsiteY155" fmla="*/ 40481 h 790575"/>
                  <a:gd name="connsiteX156" fmla="*/ 1437043 w 1482287"/>
                  <a:gd name="connsiteY156" fmla="*/ 33338 h 790575"/>
                  <a:gd name="connsiteX157" fmla="*/ 1444187 w 1482287"/>
                  <a:gd name="connsiteY157" fmla="*/ 28575 h 790575"/>
                  <a:gd name="connsiteX158" fmla="*/ 1446568 w 1482287"/>
                  <a:gd name="connsiteY158" fmla="*/ 21431 h 790575"/>
                  <a:gd name="connsiteX159" fmla="*/ 1456093 w 1482287"/>
                  <a:gd name="connsiteY159" fmla="*/ 7144 h 790575"/>
                  <a:gd name="connsiteX160" fmla="*/ 1456093 w 1482287"/>
                  <a:gd name="connsiteY160" fmla="*/ 7144 h 790575"/>
                  <a:gd name="connsiteX161" fmla="*/ 1463237 w 1482287"/>
                  <a:gd name="connsiteY161" fmla="*/ 0 h 79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1482287" h="790575">
                    <a:moveTo>
                      <a:pt x="65443" y="85725"/>
                    </a:moveTo>
                    <a:cubicBezTo>
                      <a:pt x="66237" y="94456"/>
                      <a:pt x="66584" y="103240"/>
                      <a:pt x="67824" y="111919"/>
                    </a:cubicBezTo>
                    <a:cubicBezTo>
                      <a:pt x="68179" y="114404"/>
                      <a:pt x="69515" y="116649"/>
                      <a:pt x="70205" y="119063"/>
                    </a:cubicBezTo>
                    <a:cubicBezTo>
                      <a:pt x="71104" y="122210"/>
                      <a:pt x="71647" y="125453"/>
                      <a:pt x="72587" y="128588"/>
                    </a:cubicBezTo>
                    <a:cubicBezTo>
                      <a:pt x="74030" y="133396"/>
                      <a:pt x="76365" y="137953"/>
                      <a:pt x="77349" y="142875"/>
                    </a:cubicBezTo>
                    <a:cubicBezTo>
                      <a:pt x="78143" y="146844"/>
                      <a:pt x="78665" y="150876"/>
                      <a:pt x="79730" y="154781"/>
                    </a:cubicBezTo>
                    <a:cubicBezTo>
                      <a:pt x="81711" y="162046"/>
                      <a:pt x="84493" y="169069"/>
                      <a:pt x="86874" y="176213"/>
                    </a:cubicBezTo>
                    <a:cubicBezTo>
                      <a:pt x="87668" y="178594"/>
                      <a:pt x="88646" y="180921"/>
                      <a:pt x="89255" y="183356"/>
                    </a:cubicBezTo>
                    <a:cubicBezTo>
                      <a:pt x="90049" y="186531"/>
                      <a:pt x="90738" y="189734"/>
                      <a:pt x="91637" y="192881"/>
                    </a:cubicBezTo>
                    <a:cubicBezTo>
                      <a:pt x="94756" y="203796"/>
                      <a:pt x="92816" y="196732"/>
                      <a:pt x="98780" y="207169"/>
                    </a:cubicBezTo>
                    <a:cubicBezTo>
                      <a:pt x="100541" y="210251"/>
                      <a:pt x="101325" y="213922"/>
                      <a:pt x="103543" y="216694"/>
                    </a:cubicBezTo>
                    <a:cubicBezTo>
                      <a:pt x="107750" y="221953"/>
                      <a:pt x="117830" y="230981"/>
                      <a:pt x="117830" y="230981"/>
                    </a:cubicBezTo>
                    <a:cubicBezTo>
                      <a:pt x="118624" y="233362"/>
                      <a:pt x="119089" y="235880"/>
                      <a:pt x="120212" y="238125"/>
                    </a:cubicBezTo>
                    <a:cubicBezTo>
                      <a:pt x="121492" y="240685"/>
                      <a:pt x="123812" y="242654"/>
                      <a:pt x="124974" y="245269"/>
                    </a:cubicBezTo>
                    <a:cubicBezTo>
                      <a:pt x="127013" y="249856"/>
                      <a:pt x="128149" y="254794"/>
                      <a:pt x="129737" y="259556"/>
                    </a:cubicBezTo>
                    <a:lnTo>
                      <a:pt x="132118" y="266700"/>
                    </a:lnTo>
                    <a:cubicBezTo>
                      <a:pt x="131324" y="297656"/>
                      <a:pt x="131210" y="328638"/>
                      <a:pt x="129737" y="359569"/>
                    </a:cubicBezTo>
                    <a:cubicBezTo>
                      <a:pt x="129618" y="362076"/>
                      <a:pt x="128747" y="364624"/>
                      <a:pt x="127355" y="366713"/>
                    </a:cubicBezTo>
                    <a:cubicBezTo>
                      <a:pt x="123688" y="372213"/>
                      <a:pt x="118339" y="375105"/>
                      <a:pt x="113068" y="378619"/>
                    </a:cubicBezTo>
                    <a:cubicBezTo>
                      <a:pt x="104569" y="391367"/>
                      <a:pt x="110329" y="383739"/>
                      <a:pt x="94018" y="400050"/>
                    </a:cubicBezTo>
                    <a:cubicBezTo>
                      <a:pt x="91637" y="402431"/>
                      <a:pt x="90069" y="406129"/>
                      <a:pt x="86874" y="407194"/>
                    </a:cubicBezTo>
                    <a:cubicBezTo>
                      <a:pt x="52930" y="418508"/>
                      <a:pt x="88248" y="407141"/>
                      <a:pt x="63062" y="414338"/>
                    </a:cubicBezTo>
                    <a:cubicBezTo>
                      <a:pt x="39189" y="421160"/>
                      <a:pt x="76117" y="411670"/>
                      <a:pt x="46393" y="419100"/>
                    </a:cubicBezTo>
                    <a:cubicBezTo>
                      <a:pt x="27342" y="431800"/>
                      <a:pt x="35280" y="423862"/>
                      <a:pt x="22580" y="442913"/>
                    </a:cubicBezTo>
                    <a:lnTo>
                      <a:pt x="17818" y="450056"/>
                    </a:lnTo>
                    <a:lnTo>
                      <a:pt x="13055" y="457200"/>
                    </a:lnTo>
                    <a:cubicBezTo>
                      <a:pt x="12261" y="460375"/>
                      <a:pt x="12408" y="463950"/>
                      <a:pt x="10674" y="466725"/>
                    </a:cubicBezTo>
                    <a:cubicBezTo>
                      <a:pt x="8294" y="470533"/>
                      <a:pt x="2726" y="472046"/>
                      <a:pt x="1149" y="476250"/>
                    </a:cubicBezTo>
                    <a:cubicBezTo>
                      <a:pt x="0" y="479314"/>
                      <a:pt x="2631" y="482628"/>
                      <a:pt x="3530" y="485775"/>
                    </a:cubicBezTo>
                    <a:cubicBezTo>
                      <a:pt x="10363" y="509688"/>
                      <a:pt x="850" y="472669"/>
                      <a:pt x="8293" y="502444"/>
                    </a:cubicBezTo>
                    <a:cubicBezTo>
                      <a:pt x="9087" y="525463"/>
                      <a:pt x="8707" y="548552"/>
                      <a:pt x="10674" y="571500"/>
                    </a:cubicBezTo>
                    <a:cubicBezTo>
                      <a:pt x="11619" y="582519"/>
                      <a:pt x="15162" y="586573"/>
                      <a:pt x="22580" y="592931"/>
                    </a:cubicBezTo>
                    <a:cubicBezTo>
                      <a:pt x="25593" y="595514"/>
                      <a:pt x="29299" y="597269"/>
                      <a:pt x="32105" y="600075"/>
                    </a:cubicBezTo>
                    <a:cubicBezTo>
                      <a:pt x="34129" y="602099"/>
                      <a:pt x="34714" y="605334"/>
                      <a:pt x="36868" y="607219"/>
                    </a:cubicBezTo>
                    <a:cubicBezTo>
                      <a:pt x="44533" y="613926"/>
                      <a:pt x="51974" y="617154"/>
                      <a:pt x="60680" y="621506"/>
                    </a:cubicBezTo>
                    <a:cubicBezTo>
                      <a:pt x="62268" y="623887"/>
                      <a:pt x="63419" y="626626"/>
                      <a:pt x="65443" y="628650"/>
                    </a:cubicBezTo>
                    <a:cubicBezTo>
                      <a:pt x="71104" y="634311"/>
                      <a:pt x="79798" y="635817"/>
                      <a:pt x="86874" y="638175"/>
                    </a:cubicBezTo>
                    <a:lnTo>
                      <a:pt x="94018" y="640556"/>
                    </a:lnTo>
                    <a:cubicBezTo>
                      <a:pt x="96399" y="642937"/>
                      <a:pt x="98504" y="645632"/>
                      <a:pt x="101162" y="647700"/>
                    </a:cubicBezTo>
                    <a:cubicBezTo>
                      <a:pt x="105680" y="651214"/>
                      <a:pt x="111402" y="653178"/>
                      <a:pt x="115449" y="657225"/>
                    </a:cubicBezTo>
                    <a:cubicBezTo>
                      <a:pt x="136329" y="678105"/>
                      <a:pt x="109838" y="652548"/>
                      <a:pt x="129737" y="669131"/>
                    </a:cubicBezTo>
                    <a:cubicBezTo>
                      <a:pt x="136610" y="674858"/>
                      <a:pt x="136962" y="676397"/>
                      <a:pt x="141643" y="683419"/>
                    </a:cubicBezTo>
                    <a:cubicBezTo>
                      <a:pt x="142437" y="685800"/>
                      <a:pt x="143415" y="688128"/>
                      <a:pt x="144024" y="690563"/>
                    </a:cubicBezTo>
                    <a:cubicBezTo>
                      <a:pt x="145384" y="696004"/>
                      <a:pt x="146063" y="704166"/>
                      <a:pt x="148787" y="709613"/>
                    </a:cubicBezTo>
                    <a:cubicBezTo>
                      <a:pt x="150067" y="712172"/>
                      <a:pt x="151886" y="714427"/>
                      <a:pt x="153549" y="716756"/>
                    </a:cubicBezTo>
                    <a:cubicBezTo>
                      <a:pt x="155856" y="719986"/>
                      <a:pt x="157887" y="723475"/>
                      <a:pt x="160693" y="726281"/>
                    </a:cubicBezTo>
                    <a:cubicBezTo>
                      <a:pt x="163566" y="729154"/>
                      <a:pt x="170698" y="733017"/>
                      <a:pt x="174980" y="733425"/>
                    </a:cubicBezTo>
                    <a:cubicBezTo>
                      <a:pt x="189225" y="734782"/>
                      <a:pt x="203555" y="735012"/>
                      <a:pt x="217843" y="735806"/>
                    </a:cubicBezTo>
                    <a:cubicBezTo>
                      <a:pt x="249247" y="733391"/>
                      <a:pt x="242198" y="731859"/>
                      <a:pt x="267849" y="735806"/>
                    </a:cubicBezTo>
                    <a:cubicBezTo>
                      <a:pt x="271770" y="736409"/>
                      <a:pt x="282394" y="738317"/>
                      <a:pt x="286899" y="740569"/>
                    </a:cubicBezTo>
                    <a:cubicBezTo>
                      <a:pt x="295767" y="745002"/>
                      <a:pt x="293288" y="745892"/>
                      <a:pt x="301187" y="752475"/>
                    </a:cubicBezTo>
                    <a:cubicBezTo>
                      <a:pt x="303385" y="754307"/>
                      <a:pt x="305949" y="755650"/>
                      <a:pt x="308330" y="757238"/>
                    </a:cubicBezTo>
                    <a:cubicBezTo>
                      <a:pt x="311046" y="765386"/>
                      <a:pt x="314706" y="780539"/>
                      <a:pt x="322618" y="785813"/>
                    </a:cubicBezTo>
                    <a:lnTo>
                      <a:pt x="329762" y="790575"/>
                    </a:lnTo>
                    <a:cubicBezTo>
                      <a:pt x="331349" y="788194"/>
                      <a:pt x="332692" y="785630"/>
                      <a:pt x="334524" y="783431"/>
                    </a:cubicBezTo>
                    <a:cubicBezTo>
                      <a:pt x="336680" y="780844"/>
                      <a:pt x="340033" y="779232"/>
                      <a:pt x="341668" y="776288"/>
                    </a:cubicBezTo>
                    <a:cubicBezTo>
                      <a:pt x="345323" y="769708"/>
                      <a:pt x="346608" y="759821"/>
                      <a:pt x="348812" y="752475"/>
                    </a:cubicBezTo>
                    <a:cubicBezTo>
                      <a:pt x="350255" y="747667"/>
                      <a:pt x="350789" y="742365"/>
                      <a:pt x="353574" y="738188"/>
                    </a:cubicBezTo>
                    <a:cubicBezTo>
                      <a:pt x="365400" y="720450"/>
                      <a:pt x="350201" y="742236"/>
                      <a:pt x="365480" y="723900"/>
                    </a:cubicBezTo>
                    <a:cubicBezTo>
                      <a:pt x="367312" y="721701"/>
                      <a:pt x="368219" y="718780"/>
                      <a:pt x="370243" y="716756"/>
                    </a:cubicBezTo>
                    <a:cubicBezTo>
                      <a:pt x="374858" y="712141"/>
                      <a:pt x="378721" y="711549"/>
                      <a:pt x="384530" y="709613"/>
                    </a:cubicBezTo>
                    <a:cubicBezTo>
                      <a:pt x="386911" y="707232"/>
                      <a:pt x="389087" y="704625"/>
                      <a:pt x="391674" y="702469"/>
                    </a:cubicBezTo>
                    <a:cubicBezTo>
                      <a:pt x="393873" y="700637"/>
                      <a:pt x="396794" y="699730"/>
                      <a:pt x="398818" y="697706"/>
                    </a:cubicBezTo>
                    <a:cubicBezTo>
                      <a:pt x="400841" y="695683"/>
                      <a:pt x="401557" y="692586"/>
                      <a:pt x="403580" y="690563"/>
                    </a:cubicBezTo>
                    <a:cubicBezTo>
                      <a:pt x="406386" y="687757"/>
                      <a:pt x="409930" y="685800"/>
                      <a:pt x="413105" y="683419"/>
                    </a:cubicBezTo>
                    <a:cubicBezTo>
                      <a:pt x="423323" y="662985"/>
                      <a:pt x="411548" y="682595"/>
                      <a:pt x="425012" y="669131"/>
                    </a:cubicBezTo>
                    <a:cubicBezTo>
                      <a:pt x="435783" y="658360"/>
                      <a:pt x="423010" y="664243"/>
                      <a:pt x="436918" y="659606"/>
                    </a:cubicBezTo>
                    <a:cubicBezTo>
                      <a:pt x="438505" y="657225"/>
                      <a:pt x="439848" y="654661"/>
                      <a:pt x="441680" y="652463"/>
                    </a:cubicBezTo>
                    <a:cubicBezTo>
                      <a:pt x="443836" y="649876"/>
                      <a:pt x="446956" y="648121"/>
                      <a:pt x="448824" y="645319"/>
                    </a:cubicBezTo>
                    <a:cubicBezTo>
                      <a:pt x="450216" y="643230"/>
                      <a:pt x="450411" y="640556"/>
                      <a:pt x="451205" y="638175"/>
                    </a:cubicBezTo>
                    <a:cubicBezTo>
                      <a:pt x="450411" y="627856"/>
                      <a:pt x="451491" y="617219"/>
                      <a:pt x="448824" y="607219"/>
                    </a:cubicBezTo>
                    <a:cubicBezTo>
                      <a:pt x="448087" y="604454"/>
                      <a:pt x="443704" y="604480"/>
                      <a:pt x="441680" y="602456"/>
                    </a:cubicBezTo>
                    <a:cubicBezTo>
                      <a:pt x="428582" y="589358"/>
                      <a:pt x="449623" y="599286"/>
                      <a:pt x="422630" y="585788"/>
                    </a:cubicBezTo>
                    <a:cubicBezTo>
                      <a:pt x="406790" y="577867"/>
                      <a:pt x="419037" y="584701"/>
                      <a:pt x="403580" y="573881"/>
                    </a:cubicBezTo>
                    <a:cubicBezTo>
                      <a:pt x="398891" y="570599"/>
                      <a:pt x="389293" y="564356"/>
                      <a:pt x="389293" y="564356"/>
                    </a:cubicBezTo>
                    <a:cubicBezTo>
                      <a:pt x="388499" y="561975"/>
                      <a:pt x="386912" y="559723"/>
                      <a:pt x="386912" y="557213"/>
                    </a:cubicBezTo>
                    <a:cubicBezTo>
                      <a:pt x="386912" y="547705"/>
                      <a:pt x="394401" y="539065"/>
                      <a:pt x="401199" y="533400"/>
                    </a:cubicBezTo>
                    <a:cubicBezTo>
                      <a:pt x="403398" y="531568"/>
                      <a:pt x="405962" y="530225"/>
                      <a:pt x="408343" y="528638"/>
                    </a:cubicBezTo>
                    <a:cubicBezTo>
                      <a:pt x="409930" y="523875"/>
                      <a:pt x="412482" y="519331"/>
                      <a:pt x="413105" y="514350"/>
                    </a:cubicBezTo>
                    <a:cubicBezTo>
                      <a:pt x="413899" y="508000"/>
                      <a:pt x="414514" y="501625"/>
                      <a:pt x="415487" y="495300"/>
                    </a:cubicBezTo>
                    <a:cubicBezTo>
                      <a:pt x="416102" y="491300"/>
                      <a:pt x="417122" y="487372"/>
                      <a:pt x="417868" y="483394"/>
                    </a:cubicBezTo>
                    <a:cubicBezTo>
                      <a:pt x="419503" y="474672"/>
                      <a:pt x="420771" y="465877"/>
                      <a:pt x="422630" y="457200"/>
                    </a:cubicBezTo>
                    <a:cubicBezTo>
                      <a:pt x="423156" y="454746"/>
                      <a:pt x="423237" y="451831"/>
                      <a:pt x="425012" y="450056"/>
                    </a:cubicBezTo>
                    <a:cubicBezTo>
                      <a:pt x="429059" y="446009"/>
                      <a:pt x="439299" y="440531"/>
                      <a:pt x="439299" y="440531"/>
                    </a:cubicBezTo>
                    <a:cubicBezTo>
                      <a:pt x="451205" y="441325"/>
                      <a:pt x="463248" y="440951"/>
                      <a:pt x="475018" y="442913"/>
                    </a:cubicBezTo>
                    <a:cubicBezTo>
                      <a:pt x="477841" y="443384"/>
                      <a:pt x="481376" y="444923"/>
                      <a:pt x="482162" y="447675"/>
                    </a:cubicBezTo>
                    <a:cubicBezTo>
                      <a:pt x="484788" y="456865"/>
                      <a:pt x="483280" y="466776"/>
                      <a:pt x="484543" y="476250"/>
                    </a:cubicBezTo>
                    <a:cubicBezTo>
                      <a:pt x="484875" y="478738"/>
                      <a:pt x="484881" y="481935"/>
                      <a:pt x="486924" y="483394"/>
                    </a:cubicBezTo>
                    <a:cubicBezTo>
                      <a:pt x="491009" y="486312"/>
                      <a:pt x="496449" y="486568"/>
                      <a:pt x="501212" y="488156"/>
                    </a:cubicBezTo>
                    <a:cubicBezTo>
                      <a:pt x="513688" y="492315"/>
                      <a:pt x="505852" y="490180"/>
                      <a:pt x="525024" y="492919"/>
                    </a:cubicBezTo>
                    <a:cubicBezTo>
                      <a:pt x="549901" y="501210"/>
                      <a:pt x="529516" y="495581"/>
                      <a:pt x="563124" y="500063"/>
                    </a:cubicBezTo>
                    <a:cubicBezTo>
                      <a:pt x="567136" y="500598"/>
                      <a:pt x="570997" y="502108"/>
                      <a:pt x="575030" y="502444"/>
                    </a:cubicBezTo>
                    <a:cubicBezTo>
                      <a:pt x="590080" y="503698"/>
                      <a:pt x="605193" y="504031"/>
                      <a:pt x="620274" y="504825"/>
                    </a:cubicBezTo>
                    <a:cubicBezTo>
                      <a:pt x="634671" y="508424"/>
                      <a:pt x="626693" y="506171"/>
                      <a:pt x="644087" y="511969"/>
                    </a:cubicBezTo>
                    <a:cubicBezTo>
                      <a:pt x="651151" y="514324"/>
                      <a:pt x="655089" y="515964"/>
                      <a:pt x="663137" y="516731"/>
                    </a:cubicBezTo>
                    <a:cubicBezTo>
                      <a:pt x="675804" y="517938"/>
                      <a:pt x="688537" y="518319"/>
                      <a:pt x="701237" y="519113"/>
                    </a:cubicBezTo>
                    <a:cubicBezTo>
                      <a:pt x="707931" y="520069"/>
                      <a:pt x="720166" y="523956"/>
                      <a:pt x="727430" y="519113"/>
                    </a:cubicBezTo>
                    <a:cubicBezTo>
                      <a:pt x="729811" y="517525"/>
                      <a:pt x="730169" y="513993"/>
                      <a:pt x="732193" y="511969"/>
                    </a:cubicBezTo>
                    <a:cubicBezTo>
                      <a:pt x="734217" y="509945"/>
                      <a:pt x="736956" y="508794"/>
                      <a:pt x="739337" y="507206"/>
                    </a:cubicBezTo>
                    <a:cubicBezTo>
                      <a:pt x="740131" y="504825"/>
                      <a:pt x="740596" y="502308"/>
                      <a:pt x="741718" y="500063"/>
                    </a:cubicBezTo>
                    <a:cubicBezTo>
                      <a:pt x="750952" y="481594"/>
                      <a:pt x="742873" y="503736"/>
                      <a:pt x="748862" y="485775"/>
                    </a:cubicBezTo>
                    <a:cubicBezTo>
                      <a:pt x="749656" y="478631"/>
                      <a:pt x="750061" y="471434"/>
                      <a:pt x="751243" y="464344"/>
                    </a:cubicBezTo>
                    <a:cubicBezTo>
                      <a:pt x="752138" y="458973"/>
                      <a:pt x="754958" y="454171"/>
                      <a:pt x="758387" y="450056"/>
                    </a:cubicBezTo>
                    <a:cubicBezTo>
                      <a:pt x="760543" y="447469"/>
                      <a:pt x="763374" y="445500"/>
                      <a:pt x="765530" y="442913"/>
                    </a:cubicBezTo>
                    <a:cubicBezTo>
                      <a:pt x="767362" y="440714"/>
                      <a:pt x="768705" y="438150"/>
                      <a:pt x="770293" y="435769"/>
                    </a:cubicBezTo>
                    <a:cubicBezTo>
                      <a:pt x="771087" y="433388"/>
                      <a:pt x="772065" y="431060"/>
                      <a:pt x="772674" y="428625"/>
                    </a:cubicBezTo>
                    <a:cubicBezTo>
                      <a:pt x="774368" y="421847"/>
                      <a:pt x="773692" y="414475"/>
                      <a:pt x="779818" y="409575"/>
                    </a:cubicBezTo>
                    <a:cubicBezTo>
                      <a:pt x="781778" y="408007"/>
                      <a:pt x="784581" y="407988"/>
                      <a:pt x="786962" y="407194"/>
                    </a:cubicBezTo>
                    <a:cubicBezTo>
                      <a:pt x="811637" y="390740"/>
                      <a:pt x="773462" y="415769"/>
                      <a:pt x="803630" y="397669"/>
                    </a:cubicBezTo>
                    <a:cubicBezTo>
                      <a:pt x="814806" y="390964"/>
                      <a:pt x="816560" y="387734"/>
                      <a:pt x="827443" y="383381"/>
                    </a:cubicBezTo>
                    <a:cubicBezTo>
                      <a:pt x="840918" y="377991"/>
                      <a:pt x="841965" y="378580"/>
                      <a:pt x="856018" y="376238"/>
                    </a:cubicBezTo>
                    <a:cubicBezTo>
                      <a:pt x="858399" y="375444"/>
                      <a:pt x="861703" y="375899"/>
                      <a:pt x="863162" y="373856"/>
                    </a:cubicBezTo>
                    <a:cubicBezTo>
                      <a:pt x="866080" y="369771"/>
                      <a:pt x="867924" y="359569"/>
                      <a:pt x="867924" y="359569"/>
                    </a:cubicBezTo>
                    <a:cubicBezTo>
                      <a:pt x="868718" y="347663"/>
                      <a:pt x="868617" y="335663"/>
                      <a:pt x="870305" y="323850"/>
                    </a:cubicBezTo>
                    <a:cubicBezTo>
                      <a:pt x="872097" y="311304"/>
                      <a:pt x="877735" y="305563"/>
                      <a:pt x="884593" y="295275"/>
                    </a:cubicBezTo>
                    <a:cubicBezTo>
                      <a:pt x="886180" y="292894"/>
                      <a:pt x="887331" y="290155"/>
                      <a:pt x="889355" y="288131"/>
                    </a:cubicBezTo>
                    <a:cubicBezTo>
                      <a:pt x="891736" y="285750"/>
                      <a:pt x="894307" y="283545"/>
                      <a:pt x="896499" y="280988"/>
                    </a:cubicBezTo>
                    <a:cubicBezTo>
                      <a:pt x="902892" y="273531"/>
                      <a:pt x="903189" y="270229"/>
                      <a:pt x="910787" y="264319"/>
                    </a:cubicBezTo>
                    <a:cubicBezTo>
                      <a:pt x="915305" y="260805"/>
                      <a:pt x="920312" y="257969"/>
                      <a:pt x="925074" y="254794"/>
                    </a:cubicBezTo>
                    <a:lnTo>
                      <a:pt x="932218" y="250031"/>
                    </a:lnTo>
                    <a:cubicBezTo>
                      <a:pt x="933805" y="247650"/>
                      <a:pt x="934826" y="244772"/>
                      <a:pt x="936980" y="242888"/>
                    </a:cubicBezTo>
                    <a:cubicBezTo>
                      <a:pt x="941288" y="239119"/>
                      <a:pt x="951268" y="233363"/>
                      <a:pt x="951268" y="233363"/>
                    </a:cubicBezTo>
                    <a:lnTo>
                      <a:pt x="1041755" y="235744"/>
                    </a:lnTo>
                    <a:cubicBezTo>
                      <a:pt x="1047442" y="236390"/>
                      <a:pt x="1051280" y="242094"/>
                      <a:pt x="1056043" y="245269"/>
                    </a:cubicBezTo>
                    <a:lnTo>
                      <a:pt x="1070330" y="254794"/>
                    </a:lnTo>
                    <a:cubicBezTo>
                      <a:pt x="1072711" y="256382"/>
                      <a:pt x="1074759" y="258651"/>
                      <a:pt x="1077474" y="259556"/>
                    </a:cubicBezTo>
                    <a:cubicBezTo>
                      <a:pt x="1083598" y="261598"/>
                      <a:pt x="1087560" y="263122"/>
                      <a:pt x="1094143" y="264319"/>
                    </a:cubicBezTo>
                    <a:cubicBezTo>
                      <a:pt x="1099665" y="265323"/>
                      <a:pt x="1105256" y="265906"/>
                      <a:pt x="1110812" y="266700"/>
                    </a:cubicBezTo>
                    <a:cubicBezTo>
                      <a:pt x="1116928" y="268739"/>
                      <a:pt x="1120908" y="270268"/>
                      <a:pt x="1127480" y="271463"/>
                    </a:cubicBezTo>
                    <a:cubicBezTo>
                      <a:pt x="1133002" y="272467"/>
                      <a:pt x="1138627" y="272840"/>
                      <a:pt x="1144149" y="273844"/>
                    </a:cubicBezTo>
                    <a:cubicBezTo>
                      <a:pt x="1150727" y="275040"/>
                      <a:pt x="1154698" y="276566"/>
                      <a:pt x="1160818" y="278606"/>
                    </a:cubicBezTo>
                    <a:cubicBezTo>
                      <a:pt x="1163199" y="280194"/>
                      <a:pt x="1165402" y="282089"/>
                      <a:pt x="1167962" y="283369"/>
                    </a:cubicBezTo>
                    <a:cubicBezTo>
                      <a:pt x="1173507" y="286142"/>
                      <a:pt x="1184516" y="287521"/>
                      <a:pt x="1189393" y="288131"/>
                    </a:cubicBezTo>
                    <a:lnTo>
                      <a:pt x="1227493" y="292894"/>
                    </a:lnTo>
                    <a:cubicBezTo>
                      <a:pt x="1240193" y="292100"/>
                      <a:pt x="1252985" y="292232"/>
                      <a:pt x="1265593" y="290513"/>
                    </a:cubicBezTo>
                    <a:cubicBezTo>
                      <a:pt x="1270567" y="289835"/>
                      <a:pt x="1275118" y="287338"/>
                      <a:pt x="1279880" y="285750"/>
                    </a:cubicBezTo>
                    <a:cubicBezTo>
                      <a:pt x="1282261" y="284956"/>
                      <a:pt x="1284515" y="283459"/>
                      <a:pt x="1287024" y="283369"/>
                    </a:cubicBezTo>
                    <a:lnTo>
                      <a:pt x="1353699" y="280988"/>
                    </a:lnTo>
                    <a:cubicBezTo>
                      <a:pt x="1356746" y="280226"/>
                      <a:pt x="1366955" y="277931"/>
                      <a:pt x="1370368" y="276225"/>
                    </a:cubicBezTo>
                    <a:cubicBezTo>
                      <a:pt x="1372928" y="274945"/>
                      <a:pt x="1374897" y="272625"/>
                      <a:pt x="1377512" y="271463"/>
                    </a:cubicBezTo>
                    <a:cubicBezTo>
                      <a:pt x="1391286" y="265341"/>
                      <a:pt x="1395694" y="266990"/>
                      <a:pt x="1410849" y="261938"/>
                    </a:cubicBezTo>
                    <a:cubicBezTo>
                      <a:pt x="1430461" y="255400"/>
                      <a:pt x="1420167" y="257885"/>
                      <a:pt x="1441805" y="254794"/>
                    </a:cubicBezTo>
                    <a:cubicBezTo>
                      <a:pt x="1444186" y="252413"/>
                      <a:pt x="1446291" y="249718"/>
                      <a:pt x="1448949" y="247650"/>
                    </a:cubicBezTo>
                    <a:cubicBezTo>
                      <a:pt x="1453467" y="244136"/>
                      <a:pt x="1459190" y="242172"/>
                      <a:pt x="1463237" y="238125"/>
                    </a:cubicBezTo>
                    <a:cubicBezTo>
                      <a:pt x="1479548" y="221814"/>
                      <a:pt x="1473788" y="229442"/>
                      <a:pt x="1482287" y="216694"/>
                    </a:cubicBezTo>
                    <a:cubicBezTo>
                      <a:pt x="1481493" y="211138"/>
                      <a:pt x="1482185" y="205154"/>
                      <a:pt x="1479905" y="200025"/>
                    </a:cubicBezTo>
                    <a:cubicBezTo>
                      <a:pt x="1478308" y="196433"/>
                      <a:pt x="1461820" y="191036"/>
                      <a:pt x="1460855" y="190500"/>
                    </a:cubicBezTo>
                    <a:cubicBezTo>
                      <a:pt x="1457386" y="188573"/>
                      <a:pt x="1454880" y="185131"/>
                      <a:pt x="1451330" y="183356"/>
                    </a:cubicBezTo>
                    <a:cubicBezTo>
                      <a:pt x="1448403" y="181892"/>
                      <a:pt x="1444952" y="181874"/>
                      <a:pt x="1441805" y="180975"/>
                    </a:cubicBezTo>
                    <a:cubicBezTo>
                      <a:pt x="1439392" y="180286"/>
                      <a:pt x="1437043" y="179388"/>
                      <a:pt x="1434662" y="178594"/>
                    </a:cubicBezTo>
                    <a:cubicBezTo>
                      <a:pt x="1423161" y="144093"/>
                      <a:pt x="1436531" y="187314"/>
                      <a:pt x="1427518" y="145256"/>
                    </a:cubicBezTo>
                    <a:cubicBezTo>
                      <a:pt x="1426466" y="140347"/>
                      <a:pt x="1424343" y="135731"/>
                      <a:pt x="1422755" y="130969"/>
                    </a:cubicBezTo>
                    <a:cubicBezTo>
                      <a:pt x="1419341" y="120728"/>
                      <a:pt x="1420980" y="126250"/>
                      <a:pt x="1417993" y="114300"/>
                    </a:cubicBezTo>
                    <a:cubicBezTo>
                      <a:pt x="1421512" y="43906"/>
                      <a:pt x="1416319" y="86111"/>
                      <a:pt x="1422755" y="57150"/>
                    </a:cubicBezTo>
                    <a:cubicBezTo>
                      <a:pt x="1423633" y="53199"/>
                      <a:pt x="1423129" y="48758"/>
                      <a:pt x="1425137" y="45244"/>
                    </a:cubicBezTo>
                    <a:cubicBezTo>
                      <a:pt x="1426557" y="42759"/>
                      <a:pt x="1429899" y="42069"/>
                      <a:pt x="1432280" y="40481"/>
                    </a:cubicBezTo>
                    <a:cubicBezTo>
                      <a:pt x="1433868" y="38100"/>
                      <a:pt x="1435019" y="35362"/>
                      <a:pt x="1437043" y="33338"/>
                    </a:cubicBezTo>
                    <a:cubicBezTo>
                      <a:pt x="1439067" y="31314"/>
                      <a:pt x="1442399" y="30810"/>
                      <a:pt x="1444187" y="28575"/>
                    </a:cubicBezTo>
                    <a:cubicBezTo>
                      <a:pt x="1445755" y="26615"/>
                      <a:pt x="1445349" y="23625"/>
                      <a:pt x="1446568" y="21431"/>
                    </a:cubicBezTo>
                    <a:cubicBezTo>
                      <a:pt x="1449348" y="16428"/>
                      <a:pt x="1452918" y="11906"/>
                      <a:pt x="1456093" y="7144"/>
                    </a:cubicBezTo>
                    <a:lnTo>
                      <a:pt x="1456093" y="7144"/>
                    </a:lnTo>
                    <a:lnTo>
                      <a:pt x="1463237" y="0"/>
                    </a:lnTo>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grpSp>
        <p:sp>
          <p:nvSpPr>
            <p:cNvPr id="15" name="Freeform 280"/>
            <p:cNvSpPr>
              <a:spLocks/>
            </p:cNvSpPr>
            <p:nvPr>
              <p:custDataLst>
                <p:tags r:id="rId5"/>
              </p:custDataLst>
            </p:nvPr>
          </p:nvSpPr>
          <p:spPr bwMode="gray">
            <a:xfrm>
              <a:off x="541338" y="4727391"/>
              <a:ext cx="371475" cy="461962"/>
            </a:xfrm>
            <a:custGeom>
              <a:avLst/>
              <a:gdLst>
                <a:gd name="T0" fmla="*/ 2147483647 w 241"/>
                <a:gd name="T1" fmla="*/ 2147483647 h 309"/>
                <a:gd name="T2" fmla="*/ 2147483647 w 241"/>
                <a:gd name="T3" fmla="*/ 2147483647 h 309"/>
                <a:gd name="T4" fmla="*/ 2147483647 w 241"/>
                <a:gd name="T5" fmla="*/ 2147483647 h 309"/>
                <a:gd name="T6" fmla="*/ 2147483647 w 241"/>
                <a:gd name="T7" fmla="*/ 2147483647 h 309"/>
                <a:gd name="T8" fmla="*/ 2147483647 w 241"/>
                <a:gd name="T9" fmla="*/ 2147483647 h 309"/>
                <a:gd name="T10" fmla="*/ 2147483647 w 241"/>
                <a:gd name="T11" fmla="*/ 2147483647 h 309"/>
                <a:gd name="T12" fmla="*/ 2147483647 w 241"/>
                <a:gd name="T13" fmla="*/ 2147483647 h 309"/>
                <a:gd name="T14" fmla="*/ 2147483647 w 241"/>
                <a:gd name="T15" fmla="*/ 2147483647 h 309"/>
                <a:gd name="T16" fmla="*/ 2147483647 w 241"/>
                <a:gd name="T17" fmla="*/ 2147483647 h 309"/>
                <a:gd name="T18" fmla="*/ 2147483647 w 241"/>
                <a:gd name="T19" fmla="*/ 2147483647 h 309"/>
                <a:gd name="T20" fmla="*/ 0 w 241"/>
                <a:gd name="T21" fmla="*/ 2147483647 h 309"/>
                <a:gd name="T22" fmla="*/ 0 w 241"/>
                <a:gd name="T23" fmla="*/ 2147483647 h 309"/>
                <a:gd name="T24" fmla="*/ 2147483647 w 241"/>
                <a:gd name="T25" fmla="*/ 2147483647 h 309"/>
                <a:gd name="T26" fmla="*/ 2147483647 w 241"/>
                <a:gd name="T27" fmla="*/ 2147483647 h 309"/>
                <a:gd name="T28" fmla="*/ 2147483647 w 241"/>
                <a:gd name="T29" fmla="*/ 2147483647 h 309"/>
                <a:gd name="T30" fmla="*/ 2147483647 w 241"/>
                <a:gd name="T31" fmla="*/ 2147483647 h 309"/>
                <a:gd name="T32" fmla="*/ 2147483647 w 241"/>
                <a:gd name="T33" fmla="*/ 2147483647 h 309"/>
                <a:gd name="T34" fmla="*/ 2147483647 w 241"/>
                <a:gd name="T35" fmla="*/ 2147483647 h 309"/>
                <a:gd name="T36" fmla="*/ 2147483647 w 241"/>
                <a:gd name="T37" fmla="*/ 2147483647 h 309"/>
                <a:gd name="T38" fmla="*/ 2147483647 w 241"/>
                <a:gd name="T39" fmla="*/ 2147483647 h 309"/>
                <a:gd name="T40" fmla="*/ 2147483647 w 241"/>
                <a:gd name="T41" fmla="*/ 2147483647 h 309"/>
                <a:gd name="T42" fmla="*/ 2147483647 w 241"/>
                <a:gd name="T43" fmla="*/ 2147483647 h 309"/>
                <a:gd name="T44" fmla="*/ 2147483647 w 241"/>
                <a:gd name="T45" fmla="*/ 2147483647 h 309"/>
                <a:gd name="T46" fmla="*/ 2147483647 w 241"/>
                <a:gd name="T47" fmla="*/ 2147483647 h 309"/>
                <a:gd name="T48" fmla="*/ 2147483647 w 241"/>
                <a:gd name="T49" fmla="*/ 0 h 309"/>
                <a:gd name="T50" fmla="*/ 2147483647 w 241"/>
                <a:gd name="T51" fmla="*/ 2147483647 h 309"/>
                <a:gd name="T52" fmla="*/ 2147483647 w 241"/>
                <a:gd name="T53" fmla="*/ 2147483647 h 309"/>
                <a:gd name="T54" fmla="*/ 2147483647 w 241"/>
                <a:gd name="T55" fmla="*/ 2147483647 h 309"/>
                <a:gd name="T56" fmla="*/ 2147483647 w 241"/>
                <a:gd name="T57" fmla="*/ 2147483647 h 309"/>
                <a:gd name="T58" fmla="*/ 2147483647 w 241"/>
                <a:gd name="T59" fmla="*/ 2147483647 h 309"/>
                <a:gd name="T60" fmla="*/ 2147483647 w 241"/>
                <a:gd name="T61" fmla="*/ 2147483647 h 309"/>
                <a:gd name="T62" fmla="*/ 2147483647 w 241"/>
                <a:gd name="T63" fmla="*/ 2147483647 h 309"/>
                <a:gd name="T64" fmla="*/ 2147483647 w 241"/>
                <a:gd name="T65" fmla="*/ 2147483647 h 309"/>
                <a:gd name="T66" fmla="*/ 2147483647 w 241"/>
                <a:gd name="T67" fmla="*/ 2147483647 h 309"/>
                <a:gd name="T68" fmla="*/ 2147483647 w 241"/>
                <a:gd name="T69" fmla="*/ 2147483647 h 309"/>
                <a:gd name="T70" fmla="*/ 2147483647 w 241"/>
                <a:gd name="T71" fmla="*/ 2147483647 h 309"/>
                <a:gd name="T72" fmla="*/ 2147483647 w 241"/>
                <a:gd name="T73" fmla="*/ 2147483647 h 309"/>
                <a:gd name="T74" fmla="*/ 2147483647 w 241"/>
                <a:gd name="T75" fmla="*/ 2147483647 h 309"/>
                <a:gd name="T76" fmla="*/ 2147483647 w 241"/>
                <a:gd name="T77" fmla="*/ 2147483647 h 309"/>
                <a:gd name="T78" fmla="*/ 2147483647 w 241"/>
                <a:gd name="T79" fmla="*/ 2147483647 h 309"/>
                <a:gd name="T80" fmla="*/ 2147483647 w 241"/>
                <a:gd name="T81" fmla="*/ 2147483647 h 309"/>
                <a:gd name="T82" fmla="*/ 2147483647 w 241"/>
                <a:gd name="T83" fmla="*/ 2147483647 h 309"/>
                <a:gd name="T84" fmla="*/ 2147483647 w 241"/>
                <a:gd name="T85" fmla="*/ 2147483647 h 309"/>
                <a:gd name="T86" fmla="*/ 2147483647 w 241"/>
                <a:gd name="T87" fmla="*/ 2147483647 h 309"/>
                <a:gd name="T88" fmla="*/ 2147483647 w 241"/>
                <a:gd name="T89" fmla="*/ 2147483647 h 309"/>
                <a:gd name="T90" fmla="*/ 2147483647 w 241"/>
                <a:gd name="T91" fmla="*/ 2147483647 h 309"/>
                <a:gd name="T92" fmla="*/ 2147483647 w 241"/>
                <a:gd name="T93" fmla="*/ 2147483647 h 309"/>
                <a:gd name="T94" fmla="*/ 2147483647 w 241"/>
                <a:gd name="T95" fmla="*/ 2147483647 h 30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41"/>
                <a:gd name="T145" fmla="*/ 0 h 309"/>
                <a:gd name="T146" fmla="*/ 241 w 241"/>
                <a:gd name="T147" fmla="*/ 309 h 30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41" h="309">
                  <a:moveTo>
                    <a:pt x="159" y="309"/>
                  </a:moveTo>
                  <a:lnTo>
                    <a:pt x="155" y="307"/>
                  </a:lnTo>
                  <a:lnTo>
                    <a:pt x="153" y="305"/>
                  </a:lnTo>
                  <a:lnTo>
                    <a:pt x="145" y="301"/>
                  </a:lnTo>
                  <a:lnTo>
                    <a:pt x="140" y="299"/>
                  </a:lnTo>
                  <a:lnTo>
                    <a:pt x="136" y="297"/>
                  </a:lnTo>
                  <a:lnTo>
                    <a:pt x="134" y="296"/>
                  </a:lnTo>
                  <a:lnTo>
                    <a:pt x="128" y="292"/>
                  </a:lnTo>
                  <a:lnTo>
                    <a:pt x="115" y="292"/>
                  </a:lnTo>
                  <a:lnTo>
                    <a:pt x="101" y="292"/>
                  </a:lnTo>
                  <a:lnTo>
                    <a:pt x="95" y="296"/>
                  </a:lnTo>
                  <a:lnTo>
                    <a:pt x="94" y="297"/>
                  </a:lnTo>
                  <a:lnTo>
                    <a:pt x="92" y="299"/>
                  </a:lnTo>
                  <a:lnTo>
                    <a:pt x="88" y="299"/>
                  </a:lnTo>
                  <a:lnTo>
                    <a:pt x="86" y="299"/>
                  </a:lnTo>
                  <a:lnTo>
                    <a:pt x="82" y="294"/>
                  </a:lnTo>
                  <a:lnTo>
                    <a:pt x="78" y="290"/>
                  </a:lnTo>
                  <a:lnTo>
                    <a:pt x="71" y="290"/>
                  </a:lnTo>
                  <a:lnTo>
                    <a:pt x="57" y="290"/>
                  </a:lnTo>
                  <a:lnTo>
                    <a:pt x="51" y="290"/>
                  </a:lnTo>
                  <a:lnTo>
                    <a:pt x="47" y="290"/>
                  </a:lnTo>
                  <a:lnTo>
                    <a:pt x="42" y="271"/>
                  </a:lnTo>
                  <a:lnTo>
                    <a:pt x="38" y="251"/>
                  </a:lnTo>
                  <a:lnTo>
                    <a:pt x="32" y="226"/>
                  </a:lnTo>
                  <a:lnTo>
                    <a:pt x="28" y="202"/>
                  </a:lnTo>
                  <a:lnTo>
                    <a:pt x="23" y="188"/>
                  </a:lnTo>
                  <a:lnTo>
                    <a:pt x="19" y="173"/>
                  </a:lnTo>
                  <a:lnTo>
                    <a:pt x="13" y="150"/>
                  </a:lnTo>
                  <a:lnTo>
                    <a:pt x="9" y="125"/>
                  </a:lnTo>
                  <a:lnTo>
                    <a:pt x="3" y="102"/>
                  </a:lnTo>
                  <a:lnTo>
                    <a:pt x="0" y="77"/>
                  </a:lnTo>
                  <a:lnTo>
                    <a:pt x="0" y="71"/>
                  </a:lnTo>
                  <a:lnTo>
                    <a:pt x="0" y="67"/>
                  </a:lnTo>
                  <a:lnTo>
                    <a:pt x="0" y="61"/>
                  </a:lnTo>
                  <a:lnTo>
                    <a:pt x="0" y="58"/>
                  </a:lnTo>
                  <a:lnTo>
                    <a:pt x="0" y="48"/>
                  </a:lnTo>
                  <a:lnTo>
                    <a:pt x="0" y="38"/>
                  </a:lnTo>
                  <a:lnTo>
                    <a:pt x="9" y="38"/>
                  </a:lnTo>
                  <a:lnTo>
                    <a:pt x="19" y="38"/>
                  </a:lnTo>
                  <a:lnTo>
                    <a:pt x="19" y="42"/>
                  </a:lnTo>
                  <a:lnTo>
                    <a:pt x="19" y="48"/>
                  </a:lnTo>
                  <a:lnTo>
                    <a:pt x="23" y="48"/>
                  </a:lnTo>
                  <a:lnTo>
                    <a:pt x="28" y="48"/>
                  </a:lnTo>
                  <a:lnTo>
                    <a:pt x="32" y="58"/>
                  </a:lnTo>
                  <a:lnTo>
                    <a:pt x="38" y="67"/>
                  </a:lnTo>
                  <a:lnTo>
                    <a:pt x="42" y="71"/>
                  </a:lnTo>
                  <a:lnTo>
                    <a:pt x="47" y="77"/>
                  </a:lnTo>
                  <a:lnTo>
                    <a:pt x="47" y="71"/>
                  </a:lnTo>
                  <a:lnTo>
                    <a:pt x="47" y="67"/>
                  </a:lnTo>
                  <a:lnTo>
                    <a:pt x="57" y="67"/>
                  </a:lnTo>
                  <a:lnTo>
                    <a:pt x="67" y="67"/>
                  </a:lnTo>
                  <a:lnTo>
                    <a:pt x="71" y="61"/>
                  </a:lnTo>
                  <a:lnTo>
                    <a:pt x="76" y="58"/>
                  </a:lnTo>
                  <a:lnTo>
                    <a:pt x="76" y="52"/>
                  </a:lnTo>
                  <a:lnTo>
                    <a:pt x="76" y="48"/>
                  </a:lnTo>
                  <a:lnTo>
                    <a:pt x="80" y="48"/>
                  </a:lnTo>
                  <a:lnTo>
                    <a:pt x="86" y="48"/>
                  </a:lnTo>
                  <a:lnTo>
                    <a:pt x="90" y="48"/>
                  </a:lnTo>
                  <a:lnTo>
                    <a:pt x="95" y="48"/>
                  </a:lnTo>
                  <a:lnTo>
                    <a:pt x="99" y="48"/>
                  </a:lnTo>
                  <a:lnTo>
                    <a:pt x="105" y="48"/>
                  </a:lnTo>
                  <a:lnTo>
                    <a:pt x="115" y="52"/>
                  </a:lnTo>
                  <a:lnTo>
                    <a:pt x="124" y="58"/>
                  </a:lnTo>
                  <a:lnTo>
                    <a:pt x="130" y="52"/>
                  </a:lnTo>
                  <a:lnTo>
                    <a:pt x="134" y="48"/>
                  </a:lnTo>
                  <a:lnTo>
                    <a:pt x="134" y="42"/>
                  </a:lnTo>
                  <a:lnTo>
                    <a:pt x="134" y="38"/>
                  </a:lnTo>
                  <a:lnTo>
                    <a:pt x="134" y="33"/>
                  </a:lnTo>
                  <a:lnTo>
                    <a:pt x="134" y="29"/>
                  </a:lnTo>
                  <a:lnTo>
                    <a:pt x="130" y="29"/>
                  </a:lnTo>
                  <a:lnTo>
                    <a:pt x="124" y="29"/>
                  </a:lnTo>
                  <a:lnTo>
                    <a:pt x="124" y="14"/>
                  </a:lnTo>
                  <a:lnTo>
                    <a:pt x="124" y="0"/>
                  </a:lnTo>
                  <a:lnTo>
                    <a:pt x="130" y="0"/>
                  </a:lnTo>
                  <a:lnTo>
                    <a:pt x="134" y="0"/>
                  </a:lnTo>
                  <a:lnTo>
                    <a:pt x="140" y="4"/>
                  </a:lnTo>
                  <a:lnTo>
                    <a:pt x="143" y="10"/>
                  </a:lnTo>
                  <a:lnTo>
                    <a:pt x="153" y="14"/>
                  </a:lnTo>
                  <a:lnTo>
                    <a:pt x="163" y="19"/>
                  </a:lnTo>
                  <a:lnTo>
                    <a:pt x="168" y="23"/>
                  </a:lnTo>
                  <a:lnTo>
                    <a:pt x="172" y="29"/>
                  </a:lnTo>
                  <a:lnTo>
                    <a:pt x="178" y="29"/>
                  </a:lnTo>
                  <a:lnTo>
                    <a:pt x="182" y="29"/>
                  </a:lnTo>
                  <a:lnTo>
                    <a:pt x="182" y="33"/>
                  </a:lnTo>
                  <a:lnTo>
                    <a:pt x="182" y="38"/>
                  </a:lnTo>
                  <a:lnTo>
                    <a:pt x="186" y="42"/>
                  </a:lnTo>
                  <a:lnTo>
                    <a:pt x="188" y="48"/>
                  </a:lnTo>
                  <a:lnTo>
                    <a:pt x="189" y="50"/>
                  </a:lnTo>
                  <a:lnTo>
                    <a:pt x="191" y="52"/>
                  </a:lnTo>
                  <a:lnTo>
                    <a:pt x="205" y="56"/>
                  </a:lnTo>
                  <a:lnTo>
                    <a:pt x="216" y="58"/>
                  </a:lnTo>
                  <a:lnTo>
                    <a:pt x="218" y="60"/>
                  </a:lnTo>
                  <a:lnTo>
                    <a:pt x="220" y="63"/>
                  </a:lnTo>
                  <a:lnTo>
                    <a:pt x="224" y="65"/>
                  </a:lnTo>
                  <a:lnTo>
                    <a:pt x="226" y="67"/>
                  </a:lnTo>
                  <a:lnTo>
                    <a:pt x="228" y="69"/>
                  </a:lnTo>
                  <a:lnTo>
                    <a:pt x="232" y="73"/>
                  </a:lnTo>
                  <a:lnTo>
                    <a:pt x="232" y="86"/>
                  </a:lnTo>
                  <a:lnTo>
                    <a:pt x="232" y="102"/>
                  </a:lnTo>
                  <a:lnTo>
                    <a:pt x="228" y="104"/>
                  </a:lnTo>
                  <a:lnTo>
                    <a:pt x="226" y="106"/>
                  </a:lnTo>
                  <a:lnTo>
                    <a:pt x="224" y="109"/>
                  </a:lnTo>
                  <a:lnTo>
                    <a:pt x="222" y="115"/>
                  </a:lnTo>
                  <a:lnTo>
                    <a:pt x="224" y="123"/>
                  </a:lnTo>
                  <a:lnTo>
                    <a:pt x="226" y="125"/>
                  </a:lnTo>
                  <a:lnTo>
                    <a:pt x="228" y="127"/>
                  </a:lnTo>
                  <a:lnTo>
                    <a:pt x="232" y="131"/>
                  </a:lnTo>
                  <a:lnTo>
                    <a:pt x="234" y="136"/>
                  </a:lnTo>
                  <a:lnTo>
                    <a:pt x="236" y="144"/>
                  </a:lnTo>
                  <a:lnTo>
                    <a:pt x="237" y="148"/>
                  </a:lnTo>
                  <a:lnTo>
                    <a:pt x="241" y="150"/>
                  </a:lnTo>
                  <a:lnTo>
                    <a:pt x="241" y="154"/>
                  </a:lnTo>
                  <a:lnTo>
                    <a:pt x="241" y="159"/>
                  </a:lnTo>
                  <a:lnTo>
                    <a:pt x="237" y="161"/>
                  </a:lnTo>
                  <a:lnTo>
                    <a:pt x="236" y="163"/>
                  </a:lnTo>
                  <a:lnTo>
                    <a:pt x="232" y="173"/>
                  </a:lnTo>
                  <a:lnTo>
                    <a:pt x="226" y="184"/>
                  </a:lnTo>
                  <a:lnTo>
                    <a:pt x="224" y="180"/>
                  </a:lnTo>
                  <a:lnTo>
                    <a:pt x="220" y="179"/>
                  </a:lnTo>
                  <a:lnTo>
                    <a:pt x="216" y="179"/>
                  </a:lnTo>
                  <a:lnTo>
                    <a:pt x="212" y="179"/>
                  </a:lnTo>
                  <a:lnTo>
                    <a:pt x="209" y="180"/>
                  </a:lnTo>
                  <a:lnTo>
                    <a:pt x="207" y="184"/>
                  </a:lnTo>
                  <a:lnTo>
                    <a:pt x="205" y="186"/>
                  </a:lnTo>
                  <a:lnTo>
                    <a:pt x="203" y="188"/>
                  </a:lnTo>
                  <a:lnTo>
                    <a:pt x="199" y="190"/>
                  </a:lnTo>
                  <a:lnTo>
                    <a:pt x="197" y="194"/>
                  </a:lnTo>
                  <a:lnTo>
                    <a:pt x="197" y="207"/>
                  </a:lnTo>
                  <a:lnTo>
                    <a:pt x="197" y="223"/>
                  </a:lnTo>
                  <a:lnTo>
                    <a:pt x="199" y="225"/>
                  </a:lnTo>
                  <a:lnTo>
                    <a:pt x="203" y="226"/>
                  </a:lnTo>
                  <a:lnTo>
                    <a:pt x="203" y="246"/>
                  </a:lnTo>
                  <a:lnTo>
                    <a:pt x="203" y="265"/>
                  </a:lnTo>
                  <a:lnTo>
                    <a:pt x="199" y="269"/>
                  </a:lnTo>
                  <a:lnTo>
                    <a:pt x="197" y="271"/>
                  </a:lnTo>
                  <a:lnTo>
                    <a:pt x="189" y="273"/>
                  </a:lnTo>
                  <a:lnTo>
                    <a:pt x="182" y="274"/>
                  </a:lnTo>
                  <a:lnTo>
                    <a:pt x="180" y="278"/>
                  </a:lnTo>
                  <a:lnTo>
                    <a:pt x="178" y="280"/>
                  </a:lnTo>
                  <a:lnTo>
                    <a:pt x="176" y="292"/>
                  </a:lnTo>
                  <a:lnTo>
                    <a:pt x="172" y="305"/>
                  </a:lnTo>
                  <a:lnTo>
                    <a:pt x="170" y="307"/>
                  </a:lnTo>
                  <a:lnTo>
                    <a:pt x="168" y="309"/>
                  </a:lnTo>
                  <a:lnTo>
                    <a:pt x="163" y="309"/>
                  </a:lnTo>
                  <a:lnTo>
                    <a:pt x="159" y="309"/>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16" name="Freeform 287"/>
            <p:cNvSpPr>
              <a:spLocks/>
            </p:cNvSpPr>
            <p:nvPr>
              <p:custDataLst>
                <p:tags r:id="rId6"/>
              </p:custDataLst>
            </p:nvPr>
          </p:nvSpPr>
          <p:spPr bwMode="gray">
            <a:xfrm>
              <a:off x="4819650" y="5248091"/>
              <a:ext cx="300038" cy="509587"/>
            </a:xfrm>
            <a:custGeom>
              <a:avLst/>
              <a:gdLst>
                <a:gd name="T0" fmla="*/ 0 w 193"/>
                <a:gd name="T1" fmla="*/ 2147483647 h 340"/>
                <a:gd name="T2" fmla="*/ 2147483647 w 193"/>
                <a:gd name="T3" fmla="*/ 2147483647 h 340"/>
                <a:gd name="T4" fmla="*/ 2147483647 w 193"/>
                <a:gd name="T5" fmla="*/ 2147483647 h 340"/>
                <a:gd name="T6" fmla="*/ 2147483647 w 193"/>
                <a:gd name="T7" fmla="*/ 2147483647 h 340"/>
                <a:gd name="T8" fmla="*/ 2147483647 w 193"/>
                <a:gd name="T9" fmla="*/ 2147483647 h 340"/>
                <a:gd name="T10" fmla="*/ 2147483647 w 193"/>
                <a:gd name="T11" fmla="*/ 2147483647 h 340"/>
                <a:gd name="T12" fmla="*/ 2147483647 w 193"/>
                <a:gd name="T13" fmla="*/ 2147483647 h 340"/>
                <a:gd name="T14" fmla="*/ 2147483647 w 193"/>
                <a:gd name="T15" fmla="*/ 2147483647 h 340"/>
                <a:gd name="T16" fmla="*/ 2147483647 w 193"/>
                <a:gd name="T17" fmla="*/ 2147483647 h 340"/>
                <a:gd name="T18" fmla="*/ 2147483647 w 193"/>
                <a:gd name="T19" fmla="*/ 2147483647 h 340"/>
                <a:gd name="T20" fmla="*/ 2147483647 w 193"/>
                <a:gd name="T21" fmla="*/ 2147483647 h 340"/>
                <a:gd name="T22" fmla="*/ 2147483647 w 193"/>
                <a:gd name="T23" fmla="*/ 2147483647 h 340"/>
                <a:gd name="T24" fmla="*/ 2147483647 w 193"/>
                <a:gd name="T25" fmla="*/ 2147483647 h 340"/>
                <a:gd name="T26" fmla="*/ 2147483647 w 193"/>
                <a:gd name="T27" fmla="*/ 2147483647 h 340"/>
                <a:gd name="T28" fmla="*/ 2147483647 w 193"/>
                <a:gd name="T29" fmla="*/ 2147483647 h 340"/>
                <a:gd name="T30" fmla="*/ 2147483647 w 193"/>
                <a:gd name="T31" fmla="*/ 2147483647 h 340"/>
                <a:gd name="T32" fmla="*/ 2147483647 w 193"/>
                <a:gd name="T33" fmla="*/ 2147483647 h 340"/>
                <a:gd name="T34" fmla="*/ 2147483647 w 193"/>
                <a:gd name="T35" fmla="*/ 2147483647 h 340"/>
                <a:gd name="T36" fmla="*/ 2147483647 w 193"/>
                <a:gd name="T37" fmla="*/ 2147483647 h 340"/>
                <a:gd name="T38" fmla="*/ 2147483647 w 193"/>
                <a:gd name="T39" fmla="*/ 2147483647 h 340"/>
                <a:gd name="T40" fmla="*/ 2147483647 w 193"/>
                <a:gd name="T41" fmla="*/ 2147483647 h 340"/>
                <a:gd name="T42" fmla="*/ 2147483647 w 193"/>
                <a:gd name="T43" fmla="*/ 2147483647 h 340"/>
                <a:gd name="T44" fmla="*/ 2147483647 w 193"/>
                <a:gd name="T45" fmla="*/ 2147483647 h 340"/>
                <a:gd name="T46" fmla="*/ 2147483647 w 193"/>
                <a:gd name="T47" fmla="*/ 2147483647 h 340"/>
                <a:gd name="T48" fmla="*/ 2147483647 w 193"/>
                <a:gd name="T49" fmla="*/ 2147483647 h 340"/>
                <a:gd name="T50" fmla="*/ 2147483647 w 193"/>
                <a:gd name="T51" fmla="*/ 2147483647 h 340"/>
                <a:gd name="T52" fmla="*/ 2147483647 w 193"/>
                <a:gd name="T53" fmla="*/ 2147483647 h 340"/>
                <a:gd name="T54" fmla="*/ 2147483647 w 193"/>
                <a:gd name="T55" fmla="*/ 2147483647 h 340"/>
                <a:gd name="T56" fmla="*/ 2147483647 w 193"/>
                <a:gd name="T57" fmla="*/ 2147483647 h 340"/>
                <a:gd name="T58" fmla="*/ 2147483647 w 193"/>
                <a:gd name="T59" fmla="*/ 2147483647 h 340"/>
                <a:gd name="T60" fmla="*/ 2147483647 w 193"/>
                <a:gd name="T61" fmla="*/ 2147483647 h 340"/>
                <a:gd name="T62" fmla="*/ 2147483647 w 193"/>
                <a:gd name="T63" fmla="*/ 2147483647 h 340"/>
                <a:gd name="T64" fmla="*/ 2147483647 w 193"/>
                <a:gd name="T65" fmla="*/ 2147483647 h 340"/>
                <a:gd name="T66" fmla="*/ 2147483647 w 193"/>
                <a:gd name="T67" fmla="*/ 2147483647 h 340"/>
                <a:gd name="T68" fmla="*/ 2147483647 w 193"/>
                <a:gd name="T69" fmla="*/ 2147483647 h 340"/>
                <a:gd name="T70" fmla="*/ 2147483647 w 193"/>
                <a:gd name="T71" fmla="*/ 2147483647 h 340"/>
                <a:gd name="T72" fmla="*/ 2147483647 w 193"/>
                <a:gd name="T73" fmla="*/ 2147483647 h 340"/>
                <a:gd name="T74" fmla="*/ 2147483647 w 193"/>
                <a:gd name="T75" fmla="*/ 2147483647 h 340"/>
                <a:gd name="T76" fmla="*/ 2147483647 w 193"/>
                <a:gd name="T77" fmla="*/ 2147483647 h 340"/>
                <a:gd name="T78" fmla="*/ 2147483647 w 193"/>
                <a:gd name="T79" fmla="*/ 2147483647 h 340"/>
                <a:gd name="T80" fmla="*/ 2147483647 w 193"/>
                <a:gd name="T81" fmla="*/ 2147483647 h 340"/>
                <a:gd name="T82" fmla="*/ 2147483647 w 193"/>
                <a:gd name="T83" fmla="*/ 2147483647 h 340"/>
                <a:gd name="T84" fmla="*/ 2147483647 w 193"/>
                <a:gd name="T85" fmla="*/ 2147483647 h 340"/>
                <a:gd name="T86" fmla="*/ 2147483647 w 193"/>
                <a:gd name="T87" fmla="*/ 2147483647 h 340"/>
                <a:gd name="T88" fmla="*/ 2147483647 w 193"/>
                <a:gd name="T89" fmla="*/ 2147483647 h 340"/>
                <a:gd name="T90" fmla="*/ 2147483647 w 193"/>
                <a:gd name="T91" fmla="*/ 2147483647 h 340"/>
                <a:gd name="T92" fmla="*/ 2147483647 w 193"/>
                <a:gd name="T93" fmla="*/ 2147483647 h 340"/>
                <a:gd name="T94" fmla="*/ 2147483647 w 193"/>
                <a:gd name="T95" fmla="*/ 2147483647 h 340"/>
                <a:gd name="T96" fmla="*/ 2147483647 w 193"/>
                <a:gd name="T97" fmla="*/ 2147483647 h 3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93"/>
                <a:gd name="T148" fmla="*/ 0 h 340"/>
                <a:gd name="T149" fmla="*/ 193 w 193"/>
                <a:gd name="T150" fmla="*/ 340 h 3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93" h="340">
                  <a:moveTo>
                    <a:pt x="2" y="321"/>
                  </a:moveTo>
                  <a:lnTo>
                    <a:pt x="2" y="309"/>
                  </a:lnTo>
                  <a:lnTo>
                    <a:pt x="0" y="296"/>
                  </a:lnTo>
                  <a:lnTo>
                    <a:pt x="2" y="294"/>
                  </a:lnTo>
                  <a:lnTo>
                    <a:pt x="5" y="290"/>
                  </a:lnTo>
                  <a:lnTo>
                    <a:pt x="7" y="288"/>
                  </a:lnTo>
                  <a:lnTo>
                    <a:pt x="9" y="286"/>
                  </a:lnTo>
                  <a:lnTo>
                    <a:pt x="11" y="282"/>
                  </a:lnTo>
                  <a:lnTo>
                    <a:pt x="15" y="281"/>
                  </a:lnTo>
                  <a:lnTo>
                    <a:pt x="17" y="279"/>
                  </a:lnTo>
                  <a:lnTo>
                    <a:pt x="19" y="277"/>
                  </a:lnTo>
                  <a:lnTo>
                    <a:pt x="23" y="275"/>
                  </a:lnTo>
                  <a:lnTo>
                    <a:pt x="25" y="271"/>
                  </a:lnTo>
                  <a:lnTo>
                    <a:pt x="32" y="269"/>
                  </a:lnTo>
                  <a:lnTo>
                    <a:pt x="38" y="267"/>
                  </a:lnTo>
                  <a:lnTo>
                    <a:pt x="40" y="265"/>
                  </a:lnTo>
                  <a:lnTo>
                    <a:pt x="44" y="261"/>
                  </a:lnTo>
                  <a:lnTo>
                    <a:pt x="46" y="259"/>
                  </a:lnTo>
                  <a:lnTo>
                    <a:pt x="50" y="257"/>
                  </a:lnTo>
                  <a:lnTo>
                    <a:pt x="51" y="254"/>
                  </a:lnTo>
                  <a:lnTo>
                    <a:pt x="53" y="252"/>
                  </a:lnTo>
                  <a:lnTo>
                    <a:pt x="55" y="244"/>
                  </a:lnTo>
                  <a:lnTo>
                    <a:pt x="57" y="238"/>
                  </a:lnTo>
                  <a:lnTo>
                    <a:pt x="61" y="234"/>
                  </a:lnTo>
                  <a:lnTo>
                    <a:pt x="63" y="233"/>
                  </a:lnTo>
                  <a:lnTo>
                    <a:pt x="63" y="223"/>
                  </a:lnTo>
                  <a:lnTo>
                    <a:pt x="63" y="213"/>
                  </a:lnTo>
                  <a:lnTo>
                    <a:pt x="61" y="211"/>
                  </a:lnTo>
                  <a:lnTo>
                    <a:pt x="57" y="210"/>
                  </a:lnTo>
                  <a:lnTo>
                    <a:pt x="55" y="192"/>
                  </a:lnTo>
                  <a:lnTo>
                    <a:pt x="53" y="175"/>
                  </a:lnTo>
                  <a:lnTo>
                    <a:pt x="51" y="171"/>
                  </a:lnTo>
                  <a:lnTo>
                    <a:pt x="50" y="169"/>
                  </a:lnTo>
                  <a:lnTo>
                    <a:pt x="50" y="165"/>
                  </a:lnTo>
                  <a:lnTo>
                    <a:pt x="50" y="160"/>
                  </a:lnTo>
                  <a:lnTo>
                    <a:pt x="51" y="158"/>
                  </a:lnTo>
                  <a:lnTo>
                    <a:pt x="53" y="156"/>
                  </a:lnTo>
                  <a:lnTo>
                    <a:pt x="55" y="154"/>
                  </a:lnTo>
                  <a:lnTo>
                    <a:pt x="57" y="150"/>
                  </a:lnTo>
                  <a:lnTo>
                    <a:pt x="61" y="148"/>
                  </a:lnTo>
                  <a:lnTo>
                    <a:pt x="63" y="146"/>
                  </a:lnTo>
                  <a:lnTo>
                    <a:pt x="65" y="142"/>
                  </a:lnTo>
                  <a:lnTo>
                    <a:pt x="67" y="140"/>
                  </a:lnTo>
                  <a:lnTo>
                    <a:pt x="71" y="139"/>
                  </a:lnTo>
                  <a:lnTo>
                    <a:pt x="73" y="137"/>
                  </a:lnTo>
                  <a:lnTo>
                    <a:pt x="73" y="121"/>
                  </a:lnTo>
                  <a:lnTo>
                    <a:pt x="73" y="108"/>
                  </a:lnTo>
                  <a:lnTo>
                    <a:pt x="71" y="104"/>
                  </a:lnTo>
                  <a:lnTo>
                    <a:pt x="67" y="102"/>
                  </a:lnTo>
                  <a:lnTo>
                    <a:pt x="61" y="100"/>
                  </a:lnTo>
                  <a:lnTo>
                    <a:pt x="53" y="98"/>
                  </a:lnTo>
                  <a:lnTo>
                    <a:pt x="51" y="94"/>
                  </a:lnTo>
                  <a:lnTo>
                    <a:pt x="50" y="92"/>
                  </a:lnTo>
                  <a:lnTo>
                    <a:pt x="44" y="73"/>
                  </a:lnTo>
                  <a:lnTo>
                    <a:pt x="38" y="54"/>
                  </a:lnTo>
                  <a:lnTo>
                    <a:pt x="40" y="52"/>
                  </a:lnTo>
                  <a:lnTo>
                    <a:pt x="44" y="48"/>
                  </a:lnTo>
                  <a:lnTo>
                    <a:pt x="46" y="46"/>
                  </a:lnTo>
                  <a:lnTo>
                    <a:pt x="48" y="39"/>
                  </a:lnTo>
                  <a:lnTo>
                    <a:pt x="46" y="33"/>
                  </a:lnTo>
                  <a:lnTo>
                    <a:pt x="44" y="29"/>
                  </a:lnTo>
                  <a:lnTo>
                    <a:pt x="40" y="27"/>
                  </a:lnTo>
                  <a:lnTo>
                    <a:pt x="38" y="25"/>
                  </a:lnTo>
                  <a:lnTo>
                    <a:pt x="38" y="16"/>
                  </a:lnTo>
                  <a:lnTo>
                    <a:pt x="38" y="6"/>
                  </a:lnTo>
                  <a:lnTo>
                    <a:pt x="40" y="2"/>
                  </a:lnTo>
                  <a:lnTo>
                    <a:pt x="44" y="0"/>
                  </a:lnTo>
                  <a:lnTo>
                    <a:pt x="46" y="2"/>
                  </a:lnTo>
                  <a:lnTo>
                    <a:pt x="50" y="6"/>
                  </a:lnTo>
                  <a:lnTo>
                    <a:pt x="51" y="12"/>
                  </a:lnTo>
                  <a:lnTo>
                    <a:pt x="53" y="20"/>
                  </a:lnTo>
                  <a:lnTo>
                    <a:pt x="55" y="21"/>
                  </a:lnTo>
                  <a:lnTo>
                    <a:pt x="57" y="25"/>
                  </a:lnTo>
                  <a:lnTo>
                    <a:pt x="61" y="27"/>
                  </a:lnTo>
                  <a:lnTo>
                    <a:pt x="63" y="29"/>
                  </a:lnTo>
                  <a:lnTo>
                    <a:pt x="65" y="33"/>
                  </a:lnTo>
                  <a:lnTo>
                    <a:pt x="67" y="35"/>
                  </a:lnTo>
                  <a:lnTo>
                    <a:pt x="94" y="37"/>
                  </a:lnTo>
                  <a:lnTo>
                    <a:pt x="121" y="39"/>
                  </a:lnTo>
                  <a:lnTo>
                    <a:pt x="122" y="43"/>
                  </a:lnTo>
                  <a:lnTo>
                    <a:pt x="126" y="45"/>
                  </a:lnTo>
                  <a:lnTo>
                    <a:pt x="128" y="46"/>
                  </a:lnTo>
                  <a:lnTo>
                    <a:pt x="130" y="48"/>
                  </a:lnTo>
                  <a:lnTo>
                    <a:pt x="132" y="52"/>
                  </a:lnTo>
                  <a:lnTo>
                    <a:pt x="136" y="54"/>
                  </a:lnTo>
                  <a:lnTo>
                    <a:pt x="138" y="56"/>
                  </a:lnTo>
                  <a:lnTo>
                    <a:pt x="140" y="58"/>
                  </a:lnTo>
                  <a:lnTo>
                    <a:pt x="144" y="62"/>
                  </a:lnTo>
                  <a:lnTo>
                    <a:pt x="146" y="64"/>
                  </a:lnTo>
                  <a:lnTo>
                    <a:pt x="147" y="66"/>
                  </a:lnTo>
                  <a:lnTo>
                    <a:pt x="149" y="69"/>
                  </a:lnTo>
                  <a:lnTo>
                    <a:pt x="151" y="71"/>
                  </a:lnTo>
                  <a:lnTo>
                    <a:pt x="155" y="73"/>
                  </a:lnTo>
                  <a:lnTo>
                    <a:pt x="157" y="91"/>
                  </a:lnTo>
                  <a:lnTo>
                    <a:pt x="159" y="108"/>
                  </a:lnTo>
                  <a:lnTo>
                    <a:pt x="163" y="110"/>
                  </a:lnTo>
                  <a:lnTo>
                    <a:pt x="165" y="112"/>
                  </a:lnTo>
                  <a:lnTo>
                    <a:pt x="167" y="114"/>
                  </a:lnTo>
                  <a:lnTo>
                    <a:pt x="169" y="117"/>
                  </a:lnTo>
                  <a:lnTo>
                    <a:pt x="172" y="119"/>
                  </a:lnTo>
                  <a:lnTo>
                    <a:pt x="174" y="121"/>
                  </a:lnTo>
                  <a:lnTo>
                    <a:pt x="176" y="133"/>
                  </a:lnTo>
                  <a:lnTo>
                    <a:pt x="178" y="146"/>
                  </a:lnTo>
                  <a:lnTo>
                    <a:pt x="182" y="148"/>
                  </a:lnTo>
                  <a:lnTo>
                    <a:pt x="184" y="150"/>
                  </a:lnTo>
                  <a:lnTo>
                    <a:pt x="186" y="158"/>
                  </a:lnTo>
                  <a:lnTo>
                    <a:pt x="188" y="165"/>
                  </a:lnTo>
                  <a:lnTo>
                    <a:pt x="192" y="167"/>
                  </a:lnTo>
                  <a:lnTo>
                    <a:pt x="193" y="169"/>
                  </a:lnTo>
                  <a:lnTo>
                    <a:pt x="192" y="171"/>
                  </a:lnTo>
                  <a:lnTo>
                    <a:pt x="188" y="175"/>
                  </a:lnTo>
                  <a:lnTo>
                    <a:pt x="184" y="179"/>
                  </a:lnTo>
                  <a:lnTo>
                    <a:pt x="182" y="186"/>
                  </a:lnTo>
                  <a:lnTo>
                    <a:pt x="178" y="202"/>
                  </a:lnTo>
                  <a:lnTo>
                    <a:pt x="174" y="229"/>
                  </a:lnTo>
                  <a:lnTo>
                    <a:pt x="172" y="231"/>
                  </a:lnTo>
                  <a:lnTo>
                    <a:pt x="169" y="233"/>
                  </a:lnTo>
                  <a:lnTo>
                    <a:pt x="167" y="234"/>
                  </a:lnTo>
                  <a:lnTo>
                    <a:pt x="165" y="238"/>
                  </a:lnTo>
                  <a:lnTo>
                    <a:pt x="163" y="240"/>
                  </a:lnTo>
                  <a:lnTo>
                    <a:pt x="159" y="242"/>
                  </a:lnTo>
                  <a:lnTo>
                    <a:pt x="153" y="244"/>
                  </a:lnTo>
                  <a:lnTo>
                    <a:pt x="146" y="248"/>
                  </a:lnTo>
                  <a:lnTo>
                    <a:pt x="144" y="250"/>
                  </a:lnTo>
                  <a:lnTo>
                    <a:pt x="140" y="252"/>
                  </a:lnTo>
                  <a:lnTo>
                    <a:pt x="138" y="259"/>
                  </a:lnTo>
                  <a:lnTo>
                    <a:pt x="136" y="267"/>
                  </a:lnTo>
                  <a:lnTo>
                    <a:pt x="132" y="269"/>
                  </a:lnTo>
                  <a:lnTo>
                    <a:pt x="130" y="271"/>
                  </a:lnTo>
                  <a:lnTo>
                    <a:pt x="119" y="271"/>
                  </a:lnTo>
                  <a:lnTo>
                    <a:pt x="107" y="271"/>
                  </a:lnTo>
                  <a:lnTo>
                    <a:pt x="107" y="279"/>
                  </a:lnTo>
                  <a:lnTo>
                    <a:pt x="107" y="286"/>
                  </a:lnTo>
                  <a:lnTo>
                    <a:pt x="103" y="288"/>
                  </a:lnTo>
                  <a:lnTo>
                    <a:pt x="101" y="290"/>
                  </a:lnTo>
                  <a:lnTo>
                    <a:pt x="94" y="304"/>
                  </a:lnTo>
                  <a:lnTo>
                    <a:pt x="88" y="315"/>
                  </a:lnTo>
                  <a:lnTo>
                    <a:pt x="84" y="317"/>
                  </a:lnTo>
                  <a:lnTo>
                    <a:pt x="82" y="319"/>
                  </a:lnTo>
                  <a:lnTo>
                    <a:pt x="53" y="325"/>
                  </a:lnTo>
                  <a:lnTo>
                    <a:pt x="40" y="328"/>
                  </a:lnTo>
                  <a:lnTo>
                    <a:pt x="32" y="330"/>
                  </a:lnTo>
                  <a:lnTo>
                    <a:pt x="28" y="334"/>
                  </a:lnTo>
                  <a:lnTo>
                    <a:pt x="27" y="336"/>
                  </a:lnTo>
                  <a:lnTo>
                    <a:pt x="25" y="340"/>
                  </a:lnTo>
                  <a:lnTo>
                    <a:pt x="7" y="327"/>
                  </a:lnTo>
                  <a:lnTo>
                    <a:pt x="2" y="321"/>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17" name="Freeform 288"/>
            <p:cNvSpPr>
              <a:spLocks/>
            </p:cNvSpPr>
            <p:nvPr>
              <p:custDataLst>
                <p:tags r:id="rId7"/>
              </p:custDataLst>
            </p:nvPr>
          </p:nvSpPr>
          <p:spPr bwMode="gray">
            <a:xfrm>
              <a:off x="4519613" y="5594166"/>
              <a:ext cx="436562" cy="390525"/>
            </a:xfrm>
            <a:custGeom>
              <a:avLst/>
              <a:gdLst>
                <a:gd name="T0" fmla="*/ 2147483647 w 282"/>
                <a:gd name="T1" fmla="*/ 2147483647 h 260"/>
                <a:gd name="T2" fmla="*/ 2147483647 w 282"/>
                <a:gd name="T3" fmla="*/ 2147483647 h 260"/>
                <a:gd name="T4" fmla="*/ 2147483647 w 282"/>
                <a:gd name="T5" fmla="*/ 2147483647 h 260"/>
                <a:gd name="T6" fmla="*/ 2147483647 w 282"/>
                <a:gd name="T7" fmla="*/ 2147483647 h 260"/>
                <a:gd name="T8" fmla="*/ 2147483647 w 282"/>
                <a:gd name="T9" fmla="*/ 2147483647 h 260"/>
                <a:gd name="T10" fmla="*/ 2147483647 w 282"/>
                <a:gd name="T11" fmla="*/ 2147483647 h 260"/>
                <a:gd name="T12" fmla="*/ 2147483647 w 282"/>
                <a:gd name="T13" fmla="*/ 2147483647 h 260"/>
                <a:gd name="T14" fmla="*/ 2147483647 w 282"/>
                <a:gd name="T15" fmla="*/ 2147483647 h 260"/>
                <a:gd name="T16" fmla="*/ 2147483647 w 282"/>
                <a:gd name="T17" fmla="*/ 2147483647 h 260"/>
                <a:gd name="T18" fmla="*/ 2147483647 w 282"/>
                <a:gd name="T19" fmla="*/ 2147483647 h 260"/>
                <a:gd name="T20" fmla="*/ 2147483647 w 282"/>
                <a:gd name="T21" fmla="*/ 2147483647 h 260"/>
                <a:gd name="T22" fmla="*/ 2147483647 w 282"/>
                <a:gd name="T23" fmla="*/ 2147483647 h 260"/>
                <a:gd name="T24" fmla="*/ 2147483647 w 282"/>
                <a:gd name="T25" fmla="*/ 2147483647 h 260"/>
                <a:gd name="T26" fmla="*/ 2147483647 w 282"/>
                <a:gd name="T27" fmla="*/ 2147483647 h 260"/>
                <a:gd name="T28" fmla="*/ 2147483647 w 282"/>
                <a:gd name="T29" fmla="*/ 2147483647 h 260"/>
                <a:gd name="T30" fmla="*/ 2147483647 w 282"/>
                <a:gd name="T31" fmla="*/ 2147483647 h 260"/>
                <a:gd name="T32" fmla="*/ 2147483647 w 282"/>
                <a:gd name="T33" fmla="*/ 2147483647 h 260"/>
                <a:gd name="T34" fmla="*/ 2147483647 w 282"/>
                <a:gd name="T35" fmla="*/ 2147483647 h 260"/>
                <a:gd name="T36" fmla="*/ 2147483647 w 282"/>
                <a:gd name="T37" fmla="*/ 2147483647 h 260"/>
                <a:gd name="T38" fmla="*/ 2147483647 w 282"/>
                <a:gd name="T39" fmla="*/ 2147483647 h 260"/>
                <a:gd name="T40" fmla="*/ 2147483647 w 282"/>
                <a:gd name="T41" fmla="*/ 2147483647 h 260"/>
                <a:gd name="T42" fmla="*/ 2147483647 w 282"/>
                <a:gd name="T43" fmla="*/ 2147483647 h 260"/>
                <a:gd name="T44" fmla="*/ 2147483647 w 282"/>
                <a:gd name="T45" fmla="*/ 2147483647 h 260"/>
                <a:gd name="T46" fmla="*/ 2147483647 w 282"/>
                <a:gd name="T47" fmla="*/ 2147483647 h 260"/>
                <a:gd name="T48" fmla="*/ 2147483647 w 282"/>
                <a:gd name="T49" fmla="*/ 2147483647 h 260"/>
                <a:gd name="T50" fmla="*/ 2147483647 w 282"/>
                <a:gd name="T51" fmla="*/ 2147483647 h 260"/>
                <a:gd name="T52" fmla="*/ 2147483647 w 282"/>
                <a:gd name="T53" fmla="*/ 2147483647 h 260"/>
                <a:gd name="T54" fmla="*/ 0 w 282"/>
                <a:gd name="T55" fmla="*/ 2147483647 h 260"/>
                <a:gd name="T56" fmla="*/ 2147483647 w 282"/>
                <a:gd name="T57" fmla="*/ 2147483647 h 260"/>
                <a:gd name="T58" fmla="*/ 2147483647 w 282"/>
                <a:gd name="T59" fmla="*/ 2147483647 h 260"/>
                <a:gd name="T60" fmla="*/ 2147483647 w 282"/>
                <a:gd name="T61" fmla="*/ 2147483647 h 260"/>
                <a:gd name="T62" fmla="*/ 2147483647 w 282"/>
                <a:gd name="T63" fmla="*/ 2147483647 h 260"/>
                <a:gd name="T64" fmla="*/ 2147483647 w 282"/>
                <a:gd name="T65" fmla="*/ 2147483647 h 260"/>
                <a:gd name="T66" fmla="*/ 2147483647 w 282"/>
                <a:gd name="T67" fmla="*/ 2147483647 h 260"/>
                <a:gd name="T68" fmla="*/ 2147483647 w 282"/>
                <a:gd name="T69" fmla="*/ 2147483647 h 260"/>
                <a:gd name="T70" fmla="*/ 2147483647 w 282"/>
                <a:gd name="T71" fmla="*/ 2147483647 h 260"/>
                <a:gd name="T72" fmla="*/ 2147483647 w 282"/>
                <a:gd name="T73" fmla="*/ 2147483647 h 260"/>
                <a:gd name="T74" fmla="*/ 2147483647 w 282"/>
                <a:gd name="T75" fmla="*/ 2147483647 h 260"/>
                <a:gd name="T76" fmla="*/ 2147483647 w 282"/>
                <a:gd name="T77" fmla="*/ 2147483647 h 260"/>
                <a:gd name="T78" fmla="*/ 2147483647 w 282"/>
                <a:gd name="T79" fmla="*/ 2147483647 h 260"/>
                <a:gd name="T80" fmla="*/ 2147483647 w 282"/>
                <a:gd name="T81" fmla="*/ 2147483647 h 260"/>
                <a:gd name="T82" fmla="*/ 2147483647 w 282"/>
                <a:gd name="T83" fmla="*/ 2147483647 h 260"/>
                <a:gd name="T84" fmla="*/ 2147483647 w 282"/>
                <a:gd name="T85" fmla="*/ 2147483647 h 260"/>
                <a:gd name="T86" fmla="*/ 2147483647 w 282"/>
                <a:gd name="T87" fmla="*/ 2147483647 h 260"/>
                <a:gd name="T88" fmla="*/ 2147483647 w 282"/>
                <a:gd name="T89" fmla="*/ 2147483647 h 260"/>
                <a:gd name="T90" fmla="*/ 2147483647 w 282"/>
                <a:gd name="T91" fmla="*/ 2147483647 h 260"/>
                <a:gd name="T92" fmla="*/ 2147483647 w 282"/>
                <a:gd name="T93" fmla="*/ 2147483647 h 260"/>
                <a:gd name="T94" fmla="*/ 2147483647 w 282"/>
                <a:gd name="T95" fmla="*/ 2147483647 h 260"/>
                <a:gd name="T96" fmla="*/ 2147483647 w 282"/>
                <a:gd name="T97" fmla="*/ 2147483647 h 260"/>
                <a:gd name="T98" fmla="*/ 2147483647 w 282"/>
                <a:gd name="T99" fmla="*/ 2147483647 h 260"/>
                <a:gd name="T100" fmla="*/ 2147483647 w 282"/>
                <a:gd name="T101" fmla="*/ 2147483647 h 260"/>
                <a:gd name="T102" fmla="*/ 2147483647 w 282"/>
                <a:gd name="T103" fmla="*/ 2147483647 h 260"/>
                <a:gd name="T104" fmla="*/ 2147483647 w 282"/>
                <a:gd name="T105" fmla="*/ 2147483647 h 260"/>
                <a:gd name="T106" fmla="*/ 2147483647 w 282"/>
                <a:gd name="T107" fmla="*/ 2147483647 h 260"/>
                <a:gd name="T108" fmla="*/ 2147483647 w 282"/>
                <a:gd name="T109" fmla="*/ 2147483647 h 260"/>
                <a:gd name="T110" fmla="*/ 2147483647 w 282"/>
                <a:gd name="T111" fmla="*/ 2147483647 h 260"/>
                <a:gd name="T112" fmla="*/ 2147483647 w 282"/>
                <a:gd name="T113" fmla="*/ 2147483647 h 260"/>
                <a:gd name="T114" fmla="*/ 2147483647 w 282"/>
                <a:gd name="T115" fmla="*/ 2147483647 h 260"/>
                <a:gd name="T116" fmla="*/ 2147483647 w 282"/>
                <a:gd name="T117" fmla="*/ 2147483647 h 260"/>
                <a:gd name="T118" fmla="*/ 2147483647 w 282"/>
                <a:gd name="T119" fmla="*/ 2147483647 h 260"/>
                <a:gd name="T120" fmla="*/ 2147483647 w 282"/>
                <a:gd name="T121" fmla="*/ 2147483647 h 2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82"/>
                <a:gd name="T184" fmla="*/ 0 h 260"/>
                <a:gd name="T185" fmla="*/ 282 w 282"/>
                <a:gd name="T186" fmla="*/ 260 h 2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82" h="260">
                  <a:moveTo>
                    <a:pt x="194" y="103"/>
                  </a:moveTo>
                  <a:lnTo>
                    <a:pt x="199" y="105"/>
                  </a:lnTo>
                  <a:lnTo>
                    <a:pt x="207" y="109"/>
                  </a:lnTo>
                  <a:lnTo>
                    <a:pt x="217" y="111"/>
                  </a:lnTo>
                  <a:lnTo>
                    <a:pt x="222" y="111"/>
                  </a:lnTo>
                  <a:lnTo>
                    <a:pt x="224" y="109"/>
                  </a:lnTo>
                  <a:lnTo>
                    <a:pt x="228" y="107"/>
                  </a:lnTo>
                  <a:lnTo>
                    <a:pt x="232" y="111"/>
                  </a:lnTo>
                  <a:lnTo>
                    <a:pt x="238" y="117"/>
                  </a:lnTo>
                  <a:lnTo>
                    <a:pt x="240" y="119"/>
                  </a:lnTo>
                  <a:lnTo>
                    <a:pt x="244" y="120"/>
                  </a:lnTo>
                  <a:lnTo>
                    <a:pt x="245" y="132"/>
                  </a:lnTo>
                  <a:lnTo>
                    <a:pt x="247" y="145"/>
                  </a:lnTo>
                  <a:lnTo>
                    <a:pt x="249" y="147"/>
                  </a:lnTo>
                  <a:lnTo>
                    <a:pt x="251" y="149"/>
                  </a:lnTo>
                  <a:lnTo>
                    <a:pt x="255" y="153"/>
                  </a:lnTo>
                  <a:lnTo>
                    <a:pt x="257" y="155"/>
                  </a:lnTo>
                  <a:lnTo>
                    <a:pt x="259" y="157"/>
                  </a:lnTo>
                  <a:lnTo>
                    <a:pt x="261" y="159"/>
                  </a:lnTo>
                  <a:lnTo>
                    <a:pt x="265" y="163"/>
                  </a:lnTo>
                  <a:lnTo>
                    <a:pt x="267" y="165"/>
                  </a:lnTo>
                  <a:lnTo>
                    <a:pt x="269" y="166"/>
                  </a:lnTo>
                  <a:lnTo>
                    <a:pt x="272" y="168"/>
                  </a:lnTo>
                  <a:lnTo>
                    <a:pt x="274" y="176"/>
                  </a:lnTo>
                  <a:lnTo>
                    <a:pt x="276" y="184"/>
                  </a:lnTo>
                  <a:lnTo>
                    <a:pt x="278" y="186"/>
                  </a:lnTo>
                  <a:lnTo>
                    <a:pt x="282" y="189"/>
                  </a:lnTo>
                  <a:lnTo>
                    <a:pt x="276" y="195"/>
                  </a:lnTo>
                  <a:lnTo>
                    <a:pt x="272" y="203"/>
                  </a:lnTo>
                  <a:lnTo>
                    <a:pt x="267" y="203"/>
                  </a:lnTo>
                  <a:lnTo>
                    <a:pt x="261" y="203"/>
                  </a:lnTo>
                  <a:lnTo>
                    <a:pt x="257" y="213"/>
                  </a:lnTo>
                  <a:lnTo>
                    <a:pt x="251" y="222"/>
                  </a:lnTo>
                  <a:lnTo>
                    <a:pt x="242" y="226"/>
                  </a:lnTo>
                  <a:lnTo>
                    <a:pt x="232" y="232"/>
                  </a:lnTo>
                  <a:lnTo>
                    <a:pt x="205" y="236"/>
                  </a:lnTo>
                  <a:lnTo>
                    <a:pt x="182" y="241"/>
                  </a:lnTo>
                  <a:lnTo>
                    <a:pt x="161" y="249"/>
                  </a:lnTo>
                  <a:lnTo>
                    <a:pt x="136" y="260"/>
                  </a:lnTo>
                  <a:lnTo>
                    <a:pt x="130" y="251"/>
                  </a:lnTo>
                  <a:lnTo>
                    <a:pt x="127" y="241"/>
                  </a:lnTo>
                  <a:lnTo>
                    <a:pt x="121" y="237"/>
                  </a:lnTo>
                  <a:lnTo>
                    <a:pt x="117" y="232"/>
                  </a:lnTo>
                  <a:lnTo>
                    <a:pt x="98" y="230"/>
                  </a:lnTo>
                  <a:lnTo>
                    <a:pt x="79" y="226"/>
                  </a:lnTo>
                  <a:lnTo>
                    <a:pt x="57" y="224"/>
                  </a:lnTo>
                  <a:lnTo>
                    <a:pt x="40" y="222"/>
                  </a:lnTo>
                  <a:lnTo>
                    <a:pt x="38" y="211"/>
                  </a:lnTo>
                  <a:lnTo>
                    <a:pt x="38" y="205"/>
                  </a:lnTo>
                  <a:lnTo>
                    <a:pt x="34" y="203"/>
                  </a:lnTo>
                  <a:lnTo>
                    <a:pt x="29" y="203"/>
                  </a:lnTo>
                  <a:lnTo>
                    <a:pt x="29" y="188"/>
                  </a:lnTo>
                  <a:lnTo>
                    <a:pt x="29" y="174"/>
                  </a:lnTo>
                  <a:lnTo>
                    <a:pt x="15" y="174"/>
                  </a:lnTo>
                  <a:lnTo>
                    <a:pt x="0" y="174"/>
                  </a:lnTo>
                  <a:lnTo>
                    <a:pt x="0" y="170"/>
                  </a:lnTo>
                  <a:lnTo>
                    <a:pt x="0" y="168"/>
                  </a:lnTo>
                  <a:lnTo>
                    <a:pt x="4" y="166"/>
                  </a:lnTo>
                  <a:lnTo>
                    <a:pt x="6" y="165"/>
                  </a:lnTo>
                  <a:lnTo>
                    <a:pt x="8" y="159"/>
                  </a:lnTo>
                  <a:lnTo>
                    <a:pt x="9" y="145"/>
                  </a:lnTo>
                  <a:lnTo>
                    <a:pt x="8" y="132"/>
                  </a:lnTo>
                  <a:lnTo>
                    <a:pt x="6" y="126"/>
                  </a:lnTo>
                  <a:lnTo>
                    <a:pt x="4" y="122"/>
                  </a:lnTo>
                  <a:lnTo>
                    <a:pt x="0" y="120"/>
                  </a:lnTo>
                  <a:lnTo>
                    <a:pt x="4" y="119"/>
                  </a:lnTo>
                  <a:lnTo>
                    <a:pt x="6" y="117"/>
                  </a:lnTo>
                  <a:lnTo>
                    <a:pt x="11" y="113"/>
                  </a:lnTo>
                  <a:lnTo>
                    <a:pt x="19" y="111"/>
                  </a:lnTo>
                  <a:lnTo>
                    <a:pt x="23" y="109"/>
                  </a:lnTo>
                  <a:lnTo>
                    <a:pt x="25" y="107"/>
                  </a:lnTo>
                  <a:lnTo>
                    <a:pt x="27" y="103"/>
                  </a:lnTo>
                  <a:lnTo>
                    <a:pt x="29" y="101"/>
                  </a:lnTo>
                  <a:lnTo>
                    <a:pt x="33" y="99"/>
                  </a:lnTo>
                  <a:lnTo>
                    <a:pt x="34" y="97"/>
                  </a:lnTo>
                  <a:lnTo>
                    <a:pt x="46" y="94"/>
                  </a:lnTo>
                  <a:lnTo>
                    <a:pt x="59" y="92"/>
                  </a:lnTo>
                  <a:lnTo>
                    <a:pt x="61" y="90"/>
                  </a:lnTo>
                  <a:lnTo>
                    <a:pt x="63" y="86"/>
                  </a:lnTo>
                  <a:lnTo>
                    <a:pt x="65" y="84"/>
                  </a:lnTo>
                  <a:lnTo>
                    <a:pt x="69" y="82"/>
                  </a:lnTo>
                  <a:lnTo>
                    <a:pt x="71" y="80"/>
                  </a:lnTo>
                  <a:lnTo>
                    <a:pt x="73" y="76"/>
                  </a:lnTo>
                  <a:lnTo>
                    <a:pt x="100" y="74"/>
                  </a:lnTo>
                  <a:lnTo>
                    <a:pt x="127" y="72"/>
                  </a:lnTo>
                  <a:lnTo>
                    <a:pt x="128" y="71"/>
                  </a:lnTo>
                  <a:lnTo>
                    <a:pt x="132" y="69"/>
                  </a:lnTo>
                  <a:lnTo>
                    <a:pt x="132" y="44"/>
                  </a:lnTo>
                  <a:lnTo>
                    <a:pt x="132" y="19"/>
                  </a:lnTo>
                  <a:lnTo>
                    <a:pt x="128" y="17"/>
                  </a:lnTo>
                  <a:lnTo>
                    <a:pt x="127" y="15"/>
                  </a:lnTo>
                  <a:lnTo>
                    <a:pt x="128" y="11"/>
                  </a:lnTo>
                  <a:lnTo>
                    <a:pt x="132" y="9"/>
                  </a:lnTo>
                  <a:lnTo>
                    <a:pt x="138" y="7"/>
                  </a:lnTo>
                  <a:lnTo>
                    <a:pt x="146" y="5"/>
                  </a:lnTo>
                  <a:lnTo>
                    <a:pt x="148" y="1"/>
                  </a:lnTo>
                  <a:lnTo>
                    <a:pt x="150" y="0"/>
                  </a:lnTo>
                  <a:lnTo>
                    <a:pt x="153" y="1"/>
                  </a:lnTo>
                  <a:lnTo>
                    <a:pt x="155" y="5"/>
                  </a:lnTo>
                  <a:lnTo>
                    <a:pt x="155" y="11"/>
                  </a:lnTo>
                  <a:lnTo>
                    <a:pt x="155" y="19"/>
                  </a:lnTo>
                  <a:lnTo>
                    <a:pt x="176" y="19"/>
                  </a:lnTo>
                  <a:lnTo>
                    <a:pt x="199" y="19"/>
                  </a:lnTo>
                  <a:lnTo>
                    <a:pt x="201" y="21"/>
                  </a:lnTo>
                  <a:lnTo>
                    <a:pt x="203" y="24"/>
                  </a:lnTo>
                  <a:lnTo>
                    <a:pt x="205" y="26"/>
                  </a:lnTo>
                  <a:lnTo>
                    <a:pt x="209" y="28"/>
                  </a:lnTo>
                  <a:lnTo>
                    <a:pt x="211" y="32"/>
                  </a:lnTo>
                  <a:lnTo>
                    <a:pt x="213" y="34"/>
                  </a:lnTo>
                  <a:lnTo>
                    <a:pt x="211" y="36"/>
                  </a:lnTo>
                  <a:lnTo>
                    <a:pt x="209" y="38"/>
                  </a:lnTo>
                  <a:lnTo>
                    <a:pt x="205" y="42"/>
                  </a:lnTo>
                  <a:lnTo>
                    <a:pt x="203" y="44"/>
                  </a:lnTo>
                  <a:lnTo>
                    <a:pt x="201" y="46"/>
                  </a:lnTo>
                  <a:lnTo>
                    <a:pt x="199" y="48"/>
                  </a:lnTo>
                  <a:lnTo>
                    <a:pt x="196" y="49"/>
                  </a:lnTo>
                  <a:lnTo>
                    <a:pt x="194" y="53"/>
                  </a:lnTo>
                  <a:lnTo>
                    <a:pt x="192" y="55"/>
                  </a:lnTo>
                  <a:lnTo>
                    <a:pt x="190" y="57"/>
                  </a:lnTo>
                  <a:lnTo>
                    <a:pt x="186" y="67"/>
                  </a:lnTo>
                  <a:lnTo>
                    <a:pt x="184" y="76"/>
                  </a:lnTo>
                  <a:lnTo>
                    <a:pt x="190" y="90"/>
                  </a:lnTo>
                  <a:lnTo>
                    <a:pt x="194" y="103"/>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18" name="Freeform 289"/>
            <p:cNvSpPr>
              <a:spLocks/>
            </p:cNvSpPr>
            <p:nvPr>
              <p:custDataLst>
                <p:tags r:id="rId8"/>
              </p:custDataLst>
            </p:nvPr>
          </p:nvSpPr>
          <p:spPr bwMode="gray">
            <a:xfrm>
              <a:off x="4900613" y="5452878"/>
              <a:ext cx="776287" cy="430213"/>
            </a:xfrm>
            <a:custGeom>
              <a:avLst/>
              <a:gdLst>
                <a:gd name="T0" fmla="*/ 2147483647 w 502"/>
                <a:gd name="T1" fmla="*/ 2147483647 h 289"/>
                <a:gd name="T2" fmla="*/ 2147483647 w 502"/>
                <a:gd name="T3" fmla="*/ 2147483647 h 289"/>
                <a:gd name="T4" fmla="*/ 2147483647 w 502"/>
                <a:gd name="T5" fmla="*/ 2147483647 h 289"/>
                <a:gd name="T6" fmla="*/ 2147483647 w 502"/>
                <a:gd name="T7" fmla="*/ 2147483647 h 289"/>
                <a:gd name="T8" fmla="*/ 2147483647 w 502"/>
                <a:gd name="T9" fmla="*/ 2147483647 h 289"/>
                <a:gd name="T10" fmla="*/ 2147483647 w 502"/>
                <a:gd name="T11" fmla="*/ 2147483647 h 289"/>
                <a:gd name="T12" fmla="*/ 2147483647 w 502"/>
                <a:gd name="T13" fmla="*/ 2147483647 h 289"/>
                <a:gd name="T14" fmla="*/ 2147483647 w 502"/>
                <a:gd name="T15" fmla="*/ 2147483647 h 289"/>
                <a:gd name="T16" fmla="*/ 2147483647 w 502"/>
                <a:gd name="T17" fmla="*/ 2147483647 h 289"/>
                <a:gd name="T18" fmla="*/ 2147483647 w 502"/>
                <a:gd name="T19" fmla="*/ 2147483647 h 289"/>
                <a:gd name="T20" fmla="*/ 2147483647 w 502"/>
                <a:gd name="T21" fmla="*/ 2147483647 h 289"/>
                <a:gd name="T22" fmla="*/ 0 w 502"/>
                <a:gd name="T23" fmla="*/ 2147483647 h 289"/>
                <a:gd name="T24" fmla="*/ 2147483647 w 502"/>
                <a:gd name="T25" fmla="*/ 2147483647 h 289"/>
                <a:gd name="T26" fmla="*/ 2147483647 w 502"/>
                <a:gd name="T27" fmla="*/ 2147483647 h 289"/>
                <a:gd name="T28" fmla="*/ 2147483647 w 502"/>
                <a:gd name="T29" fmla="*/ 2147483647 h 289"/>
                <a:gd name="T30" fmla="*/ 2147483647 w 502"/>
                <a:gd name="T31" fmla="*/ 2147483647 h 289"/>
                <a:gd name="T32" fmla="*/ 2147483647 w 502"/>
                <a:gd name="T33" fmla="*/ 2147483647 h 289"/>
                <a:gd name="T34" fmla="*/ 2147483647 w 502"/>
                <a:gd name="T35" fmla="*/ 2147483647 h 289"/>
                <a:gd name="T36" fmla="*/ 2147483647 w 502"/>
                <a:gd name="T37" fmla="*/ 2147483647 h 289"/>
                <a:gd name="T38" fmla="*/ 2147483647 w 502"/>
                <a:gd name="T39" fmla="*/ 2147483647 h 289"/>
                <a:gd name="T40" fmla="*/ 2147483647 w 502"/>
                <a:gd name="T41" fmla="*/ 2147483647 h 289"/>
                <a:gd name="T42" fmla="*/ 2147483647 w 502"/>
                <a:gd name="T43" fmla="*/ 2147483647 h 289"/>
                <a:gd name="T44" fmla="*/ 2147483647 w 502"/>
                <a:gd name="T45" fmla="*/ 2147483647 h 289"/>
                <a:gd name="T46" fmla="*/ 2147483647 w 502"/>
                <a:gd name="T47" fmla="*/ 2147483647 h 289"/>
                <a:gd name="T48" fmla="*/ 2147483647 w 502"/>
                <a:gd name="T49" fmla="*/ 2147483647 h 289"/>
                <a:gd name="T50" fmla="*/ 2147483647 w 502"/>
                <a:gd name="T51" fmla="*/ 2147483647 h 289"/>
                <a:gd name="T52" fmla="*/ 2147483647 w 502"/>
                <a:gd name="T53" fmla="*/ 2147483647 h 289"/>
                <a:gd name="T54" fmla="*/ 2147483647 w 502"/>
                <a:gd name="T55" fmla="*/ 2147483647 h 289"/>
                <a:gd name="T56" fmla="*/ 2147483647 w 502"/>
                <a:gd name="T57" fmla="*/ 2147483647 h 289"/>
                <a:gd name="T58" fmla="*/ 2147483647 w 502"/>
                <a:gd name="T59" fmla="*/ 2147483647 h 289"/>
                <a:gd name="T60" fmla="*/ 2147483647 w 502"/>
                <a:gd name="T61" fmla="*/ 2147483647 h 289"/>
                <a:gd name="T62" fmla="*/ 2147483647 w 502"/>
                <a:gd name="T63" fmla="*/ 2147483647 h 289"/>
                <a:gd name="T64" fmla="*/ 2147483647 w 502"/>
                <a:gd name="T65" fmla="*/ 2147483647 h 289"/>
                <a:gd name="T66" fmla="*/ 2147483647 w 502"/>
                <a:gd name="T67" fmla="*/ 2147483647 h 289"/>
                <a:gd name="T68" fmla="*/ 2147483647 w 502"/>
                <a:gd name="T69" fmla="*/ 0 h 289"/>
                <a:gd name="T70" fmla="*/ 2147483647 w 502"/>
                <a:gd name="T71" fmla="*/ 2147483647 h 289"/>
                <a:gd name="T72" fmla="*/ 2147483647 w 502"/>
                <a:gd name="T73" fmla="*/ 2147483647 h 289"/>
                <a:gd name="T74" fmla="*/ 2147483647 w 502"/>
                <a:gd name="T75" fmla="*/ 2147483647 h 289"/>
                <a:gd name="T76" fmla="*/ 2147483647 w 502"/>
                <a:gd name="T77" fmla="*/ 2147483647 h 289"/>
                <a:gd name="T78" fmla="*/ 2147483647 w 502"/>
                <a:gd name="T79" fmla="*/ 2147483647 h 289"/>
                <a:gd name="T80" fmla="*/ 2147483647 w 502"/>
                <a:gd name="T81" fmla="*/ 2147483647 h 289"/>
                <a:gd name="T82" fmla="*/ 2147483647 w 502"/>
                <a:gd name="T83" fmla="*/ 2147483647 h 289"/>
                <a:gd name="T84" fmla="*/ 2147483647 w 502"/>
                <a:gd name="T85" fmla="*/ 2147483647 h 289"/>
                <a:gd name="T86" fmla="*/ 2147483647 w 502"/>
                <a:gd name="T87" fmla="*/ 2147483647 h 289"/>
                <a:gd name="T88" fmla="*/ 2147483647 w 502"/>
                <a:gd name="T89" fmla="*/ 2147483647 h 289"/>
                <a:gd name="T90" fmla="*/ 2147483647 w 502"/>
                <a:gd name="T91" fmla="*/ 2147483647 h 289"/>
                <a:gd name="T92" fmla="*/ 2147483647 w 502"/>
                <a:gd name="T93" fmla="*/ 2147483647 h 289"/>
                <a:gd name="T94" fmla="*/ 2147483647 w 502"/>
                <a:gd name="T95" fmla="*/ 2147483647 h 289"/>
                <a:gd name="T96" fmla="*/ 2147483647 w 502"/>
                <a:gd name="T97" fmla="*/ 2147483647 h 289"/>
                <a:gd name="T98" fmla="*/ 2147483647 w 502"/>
                <a:gd name="T99" fmla="*/ 2147483647 h 289"/>
                <a:gd name="T100" fmla="*/ 2147483647 w 502"/>
                <a:gd name="T101" fmla="*/ 2147483647 h 2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02"/>
                <a:gd name="T154" fmla="*/ 0 h 289"/>
                <a:gd name="T155" fmla="*/ 502 w 502"/>
                <a:gd name="T156" fmla="*/ 289 h 2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02" h="289">
                  <a:moveTo>
                    <a:pt x="289" y="280"/>
                  </a:moveTo>
                  <a:lnTo>
                    <a:pt x="293" y="272"/>
                  </a:lnTo>
                  <a:lnTo>
                    <a:pt x="299" y="264"/>
                  </a:lnTo>
                  <a:lnTo>
                    <a:pt x="285" y="253"/>
                  </a:lnTo>
                  <a:lnTo>
                    <a:pt x="270" y="243"/>
                  </a:lnTo>
                  <a:lnTo>
                    <a:pt x="257" y="236"/>
                  </a:lnTo>
                  <a:lnTo>
                    <a:pt x="239" y="230"/>
                  </a:lnTo>
                  <a:lnTo>
                    <a:pt x="224" y="228"/>
                  </a:lnTo>
                  <a:lnTo>
                    <a:pt x="209" y="226"/>
                  </a:lnTo>
                  <a:lnTo>
                    <a:pt x="191" y="228"/>
                  </a:lnTo>
                  <a:lnTo>
                    <a:pt x="174" y="230"/>
                  </a:lnTo>
                  <a:lnTo>
                    <a:pt x="142" y="238"/>
                  </a:lnTo>
                  <a:lnTo>
                    <a:pt x="109" y="251"/>
                  </a:lnTo>
                  <a:lnTo>
                    <a:pt x="76" y="264"/>
                  </a:lnTo>
                  <a:lnTo>
                    <a:pt x="48" y="280"/>
                  </a:lnTo>
                  <a:lnTo>
                    <a:pt x="44" y="280"/>
                  </a:lnTo>
                  <a:lnTo>
                    <a:pt x="42" y="280"/>
                  </a:lnTo>
                  <a:lnTo>
                    <a:pt x="40" y="278"/>
                  </a:lnTo>
                  <a:lnTo>
                    <a:pt x="38" y="274"/>
                  </a:lnTo>
                  <a:lnTo>
                    <a:pt x="34" y="268"/>
                  </a:lnTo>
                  <a:lnTo>
                    <a:pt x="32" y="261"/>
                  </a:lnTo>
                  <a:lnTo>
                    <a:pt x="30" y="259"/>
                  </a:lnTo>
                  <a:lnTo>
                    <a:pt x="28" y="255"/>
                  </a:lnTo>
                  <a:lnTo>
                    <a:pt x="25" y="253"/>
                  </a:lnTo>
                  <a:lnTo>
                    <a:pt x="23" y="251"/>
                  </a:lnTo>
                  <a:lnTo>
                    <a:pt x="21" y="249"/>
                  </a:lnTo>
                  <a:lnTo>
                    <a:pt x="17" y="245"/>
                  </a:lnTo>
                  <a:lnTo>
                    <a:pt x="15" y="243"/>
                  </a:lnTo>
                  <a:lnTo>
                    <a:pt x="13" y="241"/>
                  </a:lnTo>
                  <a:lnTo>
                    <a:pt x="11" y="238"/>
                  </a:lnTo>
                  <a:lnTo>
                    <a:pt x="7" y="236"/>
                  </a:lnTo>
                  <a:lnTo>
                    <a:pt x="5" y="224"/>
                  </a:lnTo>
                  <a:lnTo>
                    <a:pt x="3" y="213"/>
                  </a:lnTo>
                  <a:lnTo>
                    <a:pt x="1" y="209"/>
                  </a:lnTo>
                  <a:lnTo>
                    <a:pt x="0" y="207"/>
                  </a:lnTo>
                  <a:lnTo>
                    <a:pt x="0" y="199"/>
                  </a:lnTo>
                  <a:lnTo>
                    <a:pt x="0" y="193"/>
                  </a:lnTo>
                  <a:lnTo>
                    <a:pt x="17" y="190"/>
                  </a:lnTo>
                  <a:lnTo>
                    <a:pt x="38" y="188"/>
                  </a:lnTo>
                  <a:lnTo>
                    <a:pt x="40" y="186"/>
                  </a:lnTo>
                  <a:lnTo>
                    <a:pt x="42" y="182"/>
                  </a:lnTo>
                  <a:lnTo>
                    <a:pt x="49" y="182"/>
                  </a:lnTo>
                  <a:lnTo>
                    <a:pt x="57" y="182"/>
                  </a:lnTo>
                  <a:lnTo>
                    <a:pt x="57" y="170"/>
                  </a:lnTo>
                  <a:lnTo>
                    <a:pt x="57" y="159"/>
                  </a:lnTo>
                  <a:lnTo>
                    <a:pt x="59" y="157"/>
                  </a:lnTo>
                  <a:lnTo>
                    <a:pt x="61" y="153"/>
                  </a:lnTo>
                  <a:lnTo>
                    <a:pt x="71" y="149"/>
                  </a:lnTo>
                  <a:lnTo>
                    <a:pt x="80" y="144"/>
                  </a:lnTo>
                  <a:lnTo>
                    <a:pt x="82" y="145"/>
                  </a:lnTo>
                  <a:lnTo>
                    <a:pt x="86" y="149"/>
                  </a:lnTo>
                  <a:lnTo>
                    <a:pt x="88" y="151"/>
                  </a:lnTo>
                  <a:lnTo>
                    <a:pt x="90" y="153"/>
                  </a:lnTo>
                  <a:lnTo>
                    <a:pt x="94" y="157"/>
                  </a:lnTo>
                  <a:lnTo>
                    <a:pt x="96" y="159"/>
                  </a:lnTo>
                  <a:lnTo>
                    <a:pt x="113" y="161"/>
                  </a:lnTo>
                  <a:lnTo>
                    <a:pt x="128" y="165"/>
                  </a:lnTo>
                  <a:lnTo>
                    <a:pt x="132" y="167"/>
                  </a:lnTo>
                  <a:lnTo>
                    <a:pt x="134" y="168"/>
                  </a:lnTo>
                  <a:lnTo>
                    <a:pt x="151" y="168"/>
                  </a:lnTo>
                  <a:lnTo>
                    <a:pt x="168" y="168"/>
                  </a:lnTo>
                  <a:lnTo>
                    <a:pt x="184" y="168"/>
                  </a:lnTo>
                  <a:lnTo>
                    <a:pt x="201" y="168"/>
                  </a:lnTo>
                  <a:lnTo>
                    <a:pt x="205" y="167"/>
                  </a:lnTo>
                  <a:lnTo>
                    <a:pt x="207" y="165"/>
                  </a:lnTo>
                  <a:lnTo>
                    <a:pt x="209" y="161"/>
                  </a:lnTo>
                  <a:lnTo>
                    <a:pt x="211" y="159"/>
                  </a:lnTo>
                  <a:lnTo>
                    <a:pt x="213" y="157"/>
                  </a:lnTo>
                  <a:lnTo>
                    <a:pt x="216" y="153"/>
                  </a:lnTo>
                  <a:lnTo>
                    <a:pt x="218" y="151"/>
                  </a:lnTo>
                  <a:lnTo>
                    <a:pt x="220" y="149"/>
                  </a:lnTo>
                  <a:lnTo>
                    <a:pt x="222" y="145"/>
                  </a:lnTo>
                  <a:lnTo>
                    <a:pt x="226" y="144"/>
                  </a:lnTo>
                  <a:lnTo>
                    <a:pt x="228" y="142"/>
                  </a:lnTo>
                  <a:lnTo>
                    <a:pt x="230" y="140"/>
                  </a:lnTo>
                  <a:lnTo>
                    <a:pt x="234" y="138"/>
                  </a:lnTo>
                  <a:lnTo>
                    <a:pt x="236" y="134"/>
                  </a:lnTo>
                  <a:lnTo>
                    <a:pt x="237" y="126"/>
                  </a:lnTo>
                  <a:lnTo>
                    <a:pt x="239" y="120"/>
                  </a:lnTo>
                  <a:lnTo>
                    <a:pt x="243" y="117"/>
                  </a:lnTo>
                  <a:lnTo>
                    <a:pt x="245" y="115"/>
                  </a:lnTo>
                  <a:lnTo>
                    <a:pt x="247" y="107"/>
                  </a:lnTo>
                  <a:lnTo>
                    <a:pt x="249" y="101"/>
                  </a:lnTo>
                  <a:lnTo>
                    <a:pt x="253" y="97"/>
                  </a:lnTo>
                  <a:lnTo>
                    <a:pt x="255" y="96"/>
                  </a:lnTo>
                  <a:lnTo>
                    <a:pt x="262" y="88"/>
                  </a:lnTo>
                  <a:lnTo>
                    <a:pt x="270" y="82"/>
                  </a:lnTo>
                  <a:lnTo>
                    <a:pt x="272" y="78"/>
                  </a:lnTo>
                  <a:lnTo>
                    <a:pt x="274" y="76"/>
                  </a:lnTo>
                  <a:lnTo>
                    <a:pt x="276" y="65"/>
                  </a:lnTo>
                  <a:lnTo>
                    <a:pt x="280" y="53"/>
                  </a:lnTo>
                  <a:lnTo>
                    <a:pt x="282" y="49"/>
                  </a:lnTo>
                  <a:lnTo>
                    <a:pt x="284" y="48"/>
                  </a:lnTo>
                  <a:lnTo>
                    <a:pt x="285" y="40"/>
                  </a:lnTo>
                  <a:lnTo>
                    <a:pt x="289" y="32"/>
                  </a:lnTo>
                  <a:lnTo>
                    <a:pt x="291" y="30"/>
                  </a:lnTo>
                  <a:lnTo>
                    <a:pt x="293" y="28"/>
                  </a:lnTo>
                  <a:lnTo>
                    <a:pt x="310" y="26"/>
                  </a:lnTo>
                  <a:lnTo>
                    <a:pt x="328" y="23"/>
                  </a:lnTo>
                  <a:lnTo>
                    <a:pt x="330" y="21"/>
                  </a:lnTo>
                  <a:lnTo>
                    <a:pt x="331" y="19"/>
                  </a:lnTo>
                  <a:lnTo>
                    <a:pt x="355" y="19"/>
                  </a:lnTo>
                  <a:lnTo>
                    <a:pt x="376" y="19"/>
                  </a:lnTo>
                  <a:lnTo>
                    <a:pt x="376" y="9"/>
                  </a:lnTo>
                  <a:lnTo>
                    <a:pt x="376" y="0"/>
                  </a:lnTo>
                  <a:lnTo>
                    <a:pt x="383" y="0"/>
                  </a:lnTo>
                  <a:lnTo>
                    <a:pt x="391" y="0"/>
                  </a:lnTo>
                  <a:lnTo>
                    <a:pt x="393" y="2"/>
                  </a:lnTo>
                  <a:lnTo>
                    <a:pt x="395" y="3"/>
                  </a:lnTo>
                  <a:lnTo>
                    <a:pt x="402" y="5"/>
                  </a:lnTo>
                  <a:lnTo>
                    <a:pt x="410" y="9"/>
                  </a:lnTo>
                  <a:lnTo>
                    <a:pt x="412" y="11"/>
                  </a:lnTo>
                  <a:lnTo>
                    <a:pt x="414" y="13"/>
                  </a:lnTo>
                  <a:lnTo>
                    <a:pt x="416" y="17"/>
                  </a:lnTo>
                  <a:lnTo>
                    <a:pt x="420" y="19"/>
                  </a:lnTo>
                  <a:lnTo>
                    <a:pt x="422" y="21"/>
                  </a:lnTo>
                  <a:lnTo>
                    <a:pt x="424" y="23"/>
                  </a:lnTo>
                  <a:lnTo>
                    <a:pt x="431" y="26"/>
                  </a:lnTo>
                  <a:lnTo>
                    <a:pt x="439" y="28"/>
                  </a:lnTo>
                  <a:lnTo>
                    <a:pt x="441" y="30"/>
                  </a:lnTo>
                  <a:lnTo>
                    <a:pt x="443" y="32"/>
                  </a:lnTo>
                  <a:lnTo>
                    <a:pt x="470" y="34"/>
                  </a:lnTo>
                  <a:lnTo>
                    <a:pt x="496" y="38"/>
                  </a:lnTo>
                  <a:lnTo>
                    <a:pt x="498" y="40"/>
                  </a:lnTo>
                  <a:lnTo>
                    <a:pt x="502" y="44"/>
                  </a:lnTo>
                  <a:lnTo>
                    <a:pt x="496" y="57"/>
                  </a:lnTo>
                  <a:lnTo>
                    <a:pt x="491" y="73"/>
                  </a:lnTo>
                  <a:lnTo>
                    <a:pt x="489" y="74"/>
                  </a:lnTo>
                  <a:lnTo>
                    <a:pt x="487" y="76"/>
                  </a:lnTo>
                  <a:lnTo>
                    <a:pt x="485" y="86"/>
                  </a:lnTo>
                  <a:lnTo>
                    <a:pt x="481" y="96"/>
                  </a:lnTo>
                  <a:lnTo>
                    <a:pt x="470" y="111"/>
                  </a:lnTo>
                  <a:lnTo>
                    <a:pt x="458" y="126"/>
                  </a:lnTo>
                  <a:lnTo>
                    <a:pt x="449" y="144"/>
                  </a:lnTo>
                  <a:lnTo>
                    <a:pt x="441" y="161"/>
                  </a:lnTo>
                  <a:lnTo>
                    <a:pt x="439" y="168"/>
                  </a:lnTo>
                  <a:lnTo>
                    <a:pt x="437" y="178"/>
                  </a:lnTo>
                  <a:lnTo>
                    <a:pt x="437" y="188"/>
                  </a:lnTo>
                  <a:lnTo>
                    <a:pt x="437" y="195"/>
                  </a:lnTo>
                  <a:lnTo>
                    <a:pt x="439" y="205"/>
                  </a:lnTo>
                  <a:lnTo>
                    <a:pt x="443" y="215"/>
                  </a:lnTo>
                  <a:lnTo>
                    <a:pt x="447" y="222"/>
                  </a:lnTo>
                  <a:lnTo>
                    <a:pt x="452" y="232"/>
                  </a:lnTo>
                  <a:lnTo>
                    <a:pt x="458" y="236"/>
                  </a:lnTo>
                  <a:lnTo>
                    <a:pt x="462" y="241"/>
                  </a:lnTo>
                  <a:lnTo>
                    <a:pt x="458" y="261"/>
                  </a:lnTo>
                  <a:lnTo>
                    <a:pt x="452" y="280"/>
                  </a:lnTo>
                  <a:lnTo>
                    <a:pt x="429" y="284"/>
                  </a:lnTo>
                  <a:lnTo>
                    <a:pt x="404" y="289"/>
                  </a:lnTo>
                  <a:lnTo>
                    <a:pt x="376" y="287"/>
                  </a:lnTo>
                  <a:lnTo>
                    <a:pt x="347" y="284"/>
                  </a:lnTo>
                  <a:lnTo>
                    <a:pt x="318" y="282"/>
                  </a:lnTo>
                  <a:lnTo>
                    <a:pt x="289" y="280"/>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19" name="Freeform 290"/>
            <p:cNvSpPr>
              <a:spLocks/>
            </p:cNvSpPr>
            <p:nvPr>
              <p:custDataLst>
                <p:tags r:id="rId9"/>
              </p:custDataLst>
            </p:nvPr>
          </p:nvSpPr>
          <p:spPr bwMode="gray">
            <a:xfrm>
              <a:off x="5659438" y="4711516"/>
              <a:ext cx="1247775" cy="1057275"/>
            </a:xfrm>
            <a:custGeom>
              <a:avLst/>
              <a:gdLst>
                <a:gd name="T0" fmla="*/ 2147483647 w 804"/>
                <a:gd name="T1" fmla="*/ 2147483647 h 707"/>
                <a:gd name="T2" fmla="*/ 2147483647 w 804"/>
                <a:gd name="T3" fmla="*/ 2147483647 h 707"/>
                <a:gd name="T4" fmla="*/ 2147483647 w 804"/>
                <a:gd name="T5" fmla="*/ 2147483647 h 707"/>
                <a:gd name="T6" fmla="*/ 2147483647 w 804"/>
                <a:gd name="T7" fmla="*/ 2147483647 h 707"/>
                <a:gd name="T8" fmla="*/ 2147483647 w 804"/>
                <a:gd name="T9" fmla="*/ 2147483647 h 707"/>
                <a:gd name="T10" fmla="*/ 2147483647 w 804"/>
                <a:gd name="T11" fmla="*/ 2147483647 h 707"/>
                <a:gd name="T12" fmla="*/ 2147483647 w 804"/>
                <a:gd name="T13" fmla="*/ 2147483647 h 707"/>
                <a:gd name="T14" fmla="*/ 2147483647 w 804"/>
                <a:gd name="T15" fmla="*/ 2147483647 h 707"/>
                <a:gd name="T16" fmla="*/ 2147483647 w 804"/>
                <a:gd name="T17" fmla="*/ 2147483647 h 707"/>
                <a:gd name="T18" fmla="*/ 2147483647 w 804"/>
                <a:gd name="T19" fmla="*/ 2147483647 h 707"/>
                <a:gd name="T20" fmla="*/ 2147483647 w 804"/>
                <a:gd name="T21" fmla="*/ 2147483647 h 707"/>
                <a:gd name="T22" fmla="*/ 2147483647 w 804"/>
                <a:gd name="T23" fmla="*/ 2147483647 h 707"/>
                <a:gd name="T24" fmla="*/ 2147483647 w 804"/>
                <a:gd name="T25" fmla="*/ 2147483647 h 707"/>
                <a:gd name="T26" fmla="*/ 2147483647 w 804"/>
                <a:gd name="T27" fmla="*/ 2147483647 h 707"/>
                <a:gd name="T28" fmla="*/ 2147483647 w 804"/>
                <a:gd name="T29" fmla="*/ 2147483647 h 707"/>
                <a:gd name="T30" fmla="*/ 2147483647 w 804"/>
                <a:gd name="T31" fmla="*/ 2147483647 h 707"/>
                <a:gd name="T32" fmla="*/ 2147483647 w 804"/>
                <a:gd name="T33" fmla="*/ 2147483647 h 707"/>
                <a:gd name="T34" fmla="*/ 2147483647 w 804"/>
                <a:gd name="T35" fmla="*/ 2147483647 h 707"/>
                <a:gd name="T36" fmla="*/ 2147483647 w 804"/>
                <a:gd name="T37" fmla="*/ 2147483647 h 707"/>
                <a:gd name="T38" fmla="*/ 2147483647 w 804"/>
                <a:gd name="T39" fmla="*/ 2147483647 h 707"/>
                <a:gd name="T40" fmla="*/ 2147483647 w 804"/>
                <a:gd name="T41" fmla="*/ 2147483647 h 707"/>
                <a:gd name="T42" fmla="*/ 2147483647 w 804"/>
                <a:gd name="T43" fmla="*/ 2147483647 h 707"/>
                <a:gd name="T44" fmla="*/ 2147483647 w 804"/>
                <a:gd name="T45" fmla="*/ 2147483647 h 707"/>
                <a:gd name="T46" fmla="*/ 2147483647 w 804"/>
                <a:gd name="T47" fmla="*/ 2147483647 h 707"/>
                <a:gd name="T48" fmla="*/ 2147483647 w 804"/>
                <a:gd name="T49" fmla="*/ 2147483647 h 707"/>
                <a:gd name="T50" fmla="*/ 2147483647 w 804"/>
                <a:gd name="T51" fmla="*/ 2147483647 h 707"/>
                <a:gd name="T52" fmla="*/ 2147483647 w 804"/>
                <a:gd name="T53" fmla="*/ 2147483647 h 707"/>
                <a:gd name="T54" fmla="*/ 2147483647 w 804"/>
                <a:gd name="T55" fmla="*/ 2147483647 h 707"/>
                <a:gd name="T56" fmla="*/ 2147483647 w 804"/>
                <a:gd name="T57" fmla="*/ 2147483647 h 707"/>
                <a:gd name="T58" fmla="*/ 2147483647 w 804"/>
                <a:gd name="T59" fmla="*/ 2147483647 h 707"/>
                <a:gd name="T60" fmla="*/ 2147483647 w 804"/>
                <a:gd name="T61" fmla="*/ 2147483647 h 707"/>
                <a:gd name="T62" fmla="*/ 2147483647 w 804"/>
                <a:gd name="T63" fmla="*/ 2147483647 h 707"/>
                <a:gd name="T64" fmla="*/ 2147483647 w 804"/>
                <a:gd name="T65" fmla="*/ 2147483647 h 707"/>
                <a:gd name="T66" fmla="*/ 2147483647 w 804"/>
                <a:gd name="T67" fmla="*/ 2147483647 h 707"/>
                <a:gd name="T68" fmla="*/ 2147483647 w 804"/>
                <a:gd name="T69" fmla="*/ 2147483647 h 707"/>
                <a:gd name="T70" fmla="*/ 2147483647 w 804"/>
                <a:gd name="T71" fmla="*/ 2147483647 h 707"/>
                <a:gd name="T72" fmla="*/ 2147483647 w 804"/>
                <a:gd name="T73" fmla="*/ 2147483647 h 707"/>
                <a:gd name="T74" fmla="*/ 2147483647 w 804"/>
                <a:gd name="T75" fmla="*/ 2147483647 h 707"/>
                <a:gd name="T76" fmla="*/ 2147483647 w 804"/>
                <a:gd name="T77" fmla="*/ 2147483647 h 707"/>
                <a:gd name="T78" fmla="*/ 2147483647 w 804"/>
                <a:gd name="T79" fmla="*/ 2147483647 h 707"/>
                <a:gd name="T80" fmla="*/ 2147483647 w 804"/>
                <a:gd name="T81" fmla="*/ 2147483647 h 707"/>
                <a:gd name="T82" fmla="*/ 2147483647 w 804"/>
                <a:gd name="T83" fmla="*/ 2147483647 h 707"/>
                <a:gd name="T84" fmla="*/ 2147483647 w 804"/>
                <a:gd name="T85" fmla="*/ 2147483647 h 707"/>
                <a:gd name="T86" fmla="*/ 2147483647 w 804"/>
                <a:gd name="T87" fmla="*/ 2147483647 h 707"/>
                <a:gd name="T88" fmla="*/ 2147483647 w 804"/>
                <a:gd name="T89" fmla="*/ 2147483647 h 707"/>
                <a:gd name="T90" fmla="*/ 2147483647 w 804"/>
                <a:gd name="T91" fmla="*/ 2147483647 h 707"/>
                <a:gd name="T92" fmla="*/ 2147483647 w 804"/>
                <a:gd name="T93" fmla="*/ 2147483647 h 707"/>
                <a:gd name="T94" fmla="*/ 2147483647 w 804"/>
                <a:gd name="T95" fmla="*/ 2147483647 h 707"/>
                <a:gd name="T96" fmla="*/ 2147483647 w 804"/>
                <a:gd name="T97" fmla="*/ 2147483647 h 707"/>
                <a:gd name="T98" fmla="*/ 2147483647 w 804"/>
                <a:gd name="T99" fmla="*/ 2147483647 h 707"/>
                <a:gd name="T100" fmla="*/ 2147483647 w 804"/>
                <a:gd name="T101" fmla="*/ 2147483647 h 707"/>
                <a:gd name="T102" fmla="*/ 2147483647 w 804"/>
                <a:gd name="T103" fmla="*/ 2147483647 h 707"/>
                <a:gd name="T104" fmla="*/ 2147483647 w 804"/>
                <a:gd name="T105" fmla="*/ 2147483647 h 707"/>
                <a:gd name="T106" fmla="*/ 2147483647 w 804"/>
                <a:gd name="T107" fmla="*/ 2147483647 h 707"/>
                <a:gd name="T108" fmla="*/ 2147483647 w 804"/>
                <a:gd name="T109" fmla="*/ 2147483647 h 707"/>
                <a:gd name="T110" fmla="*/ 2147483647 w 804"/>
                <a:gd name="T111" fmla="*/ 2147483647 h 70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04"/>
                <a:gd name="T169" fmla="*/ 0 h 707"/>
                <a:gd name="T170" fmla="*/ 804 w 804"/>
                <a:gd name="T171" fmla="*/ 707 h 70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04" h="707">
                  <a:moveTo>
                    <a:pt x="222" y="707"/>
                  </a:moveTo>
                  <a:lnTo>
                    <a:pt x="218" y="682"/>
                  </a:lnTo>
                  <a:lnTo>
                    <a:pt x="213" y="659"/>
                  </a:lnTo>
                  <a:lnTo>
                    <a:pt x="213" y="651"/>
                  </a:lnTo>
                  <a:lnTo>
                    <a:pt x="213" y="643"/>
                  </a:lnTo>
                  <a:lnTo>
                    <a:pt x="192" y="630"/>
                  </a:lnTo>
                  <a:lnTo>
                    <a:pt x="167" y="620"/>
                  </a:lnTo>
                  <a:lnTo>
                    <a:pt x="142" y="613"/>
                  </a:lnTo>
                  <a:lnTo>
                    <a:pt x="115" y="607"/>
                  </a:lnTo>
                  <a:lnTo>
                    <a:pt x="61" y="597"/>
                  </a:lnTo>
                  <a:lnTo>
                    <a:pt x="11" y="590"/>
                  </a:lnTo>
                  <a:lnTo>
                    <a:pt x="5" y="590"/>
                  </a:lnTo>
                  <a:lnTo>
                    <a:pt x="0" y="590"/>
                  </a:lnTo>
                  <a:lnTo>
                    <a:pt x="0" y="582"/>
                  </a:lnTo>
                  <a:lnTo>
                    <a:pt x="0" y="576"/>
                  </a:lnTo>
                  <a:lnTo>
                    <a:pt x="4" y="572"/>
                  </a:lnTo>
                  <a:lnTo>
                    <a:pt x="5" y="570"/>
                  </a:lnTo>
                  <a:lnTo>
                    <a:pt x="13" y="553"/>
                  </a:lnTo>
                  <a:lnTo>
                    <a:pt x="21" y="538"/>
                  </a:lnTo>
                  <a:lnTo>
                    <a:pt x="23" y="534"/>
                  </a:lnTo>
                  <a:lnTo>
                    <a:pt x="25" y="532"/>
                  </a:lnTo>
                  <a:lnTo>
                    <a:pt x="32" y="532"/>
                  </a:lnTo>
                  <a:lnTo>
                    <a:pt x="40" y="532"/>
                  </a:lnTo>
                  <a:lnTo>
                    <a:pt x="40" y="524"/>
                  </a:lnTo>
                  <a:lnTo>
                    <a:pt x="40" y="517"/>
                  </a:lnTo>
                  <a:lnTo>
                    <a:pt x="42" y="515"/>
                  </a:lnTo>
                  <a:lnTo>
                    <a:pt x="44" y="513"/>
                  </a:lnTo>
                  <a:lnTo>
                    <a:pt x="53" y="513"/>
                  </a:lnTo>
                  <a:lnTo>
                    <a:pt x="63" y="513"/>
                  </a:lnTo>
                  <a:lnTo>
                    <a:pt x="65" y="515"/>
                  </a:lnTo>
                  <a:lnTo>
                    <a:pt x="69" y="517"/>
                  </a:lnTo>
                  <a:lnTo>
                    <a:pt x="71" y="520"/>
                  </a:lnTo>
                  <a:lnTo>
                    <a:pt x="73" y="522"/>
                  </a:lnTo>
                  <a:lnTo>
                    <a:pt x="75" y="524"/>
                  </a:lnTo>
                  <a:lnTo>
                    <a:pt x="78" y="526"/>
                  </a:lnTo>
                  <a:lnTo>
                    <a:pt x="80" y="528"/>
                  </a:lnTo>
                  <a:lnTo>
                    <a:pt x="82" y="532"/>
                  </a:lnTo>
                  <a:lnTo>
                    <a:pt x="84" y="534"/>
                  </a:lnTo>
                  <a:lnTo>
                    <a:pt x="88" y="538"/>
                  </a:lnTo>
                  <a:lnTo>
                    <a:pt x="94" y="540"/>
                  </a:lnTo>
                  <a:lnTo>
                    <a:pt x="101" y="542"/>
                  </a:lnTo>
                  <a:lnTo>
                    <a:pt x="105" y="543"/>
                  </a:lnTo>
                  <a:lnTo>
                    <a:pt x="107" y="547"/>
                  </a:lnTo>
                  <a:lnTo>
                    <a:pt x="115" y="549"/>
                  </a:lnTo>
                  <a:lnTo>
                    <a:pt x="123" y="551"/>
                  </a:lnTo>
                  <a:lnTo>
                    <a:pt x="124" y="553"/>
                  </a:lnTo>
                  <a:lnTo>
                    <a:pt x="126" y="555"/>
                  </a:lnTo>
                  <a:lnTo>
                    <a:pt x="128" y="559"/>
                  </a:lnTo>
                  <a:lnTo>
                    <a:pt x="132" y="561"/>
                  </a:lnTo>
                  <a:lnTo>
                    <a:pt x="134" y="563"/>
                  </a:lnTo>
                  <a:lnTo>
                    <a:pt x="136" y="567"/>
                  </a:lnTo>
                  <a:lnTo>
                    <a:pt x="153" y="568"/>
                  </a:lnTo>
                  <a:lnTo>
                    <a:pt x="170" y="570"/>
                  </a:lnTo>
                  <a:lnTo>
                    <a:pt x="172" y="572"/>
                  </a:lnTo>
                  <a:lnTo>
                    <a:pt x="174" y="576"/>
                  </a:lnTo>
                  <a:lnTo>
                    <a:pt x="182" y="578"/>
                  </a:lnTo>
                  <a:lnTo>
                    <a:pt x="190" y="580"/>
                  </a:lnTo>
                  <a:lnTo>
                    <a:pt x="192" y="582"/>
                  </a:lnTo>
                  <a:lnTo>
                    <a:pt x="194" y="586"/>
                  </a:lnTo>
                  <a:lnTo>
                    <a:pt x="201" y="588"/>
                  </a:lnTo>
                  <a:lnTo>
                    <a:pt x="209" y="590"/>
                  </a:lnTo>
                  <a:lnTo>
                    <a:pt x="211" y="591"/>
                  </a:lnTo>
                  <a:lnTo>
                    <a:pt x="213" y="595"/>
                  </a:lnTo>
                  <a:lnTo>
                    <a:pt x="217" y="597"/>
                  </a:lnTo>
                  <a:lnTo>
                    <a:pt x="218" y="599"/>
                  </a:lnTo>
                  <a:lnTo>
                    <a:pt x="220" y="601"/>
                  </a:lnTo>
                  <a:lnTo>
                    <a:pt x="222" y="605"/>
                  </a:lnTo>
                  <a:lnTo>
                    <a:pt x="226" y="607"/>
                  </a:lnTo>
                  <a:lnTo>
                    <a:pt x="228" y="609"/>
                  </a:lnTo>
                  <a:lnTo>
                    <a:pt x="230" y="611"/>
                  </a:lnTo>
                  <a:lnTo>
                    <a:pt x="232" y="614"/>
                  </a:lnTo>
                  <a:lnTo>
                    <a:pt x="232" y="620"/>
                  </a:lnTo>
                  <a:lnTo>
                    <a:pt x="232" y="628"/>
                  </a:lnTo>
                  <a:lnTo>
                    <a:pt x="240" y="628"/>
                  </a:lnTo>
                  <a:lnTo>
                    <a:pt x="247" y="628"/>
                  </a:lnTo>
                  <a:lnTo>
                    <a:pt x="249" y="632"/>
                  </a:lnTo>
                  <a:lnTo>
                    <a:pt x="253" y="634"/>
                  </a:lnTo>
                  <a:lnTo>
                    <a:pt x="259" y="636"/>
                  </a:lnTo>
                  <a:lnTo>
                    <a:pt x="266" y="638"/>
                  </a:lnTo>
                  <a:lnTo>
                    <a:pt x="268" y="639"/>
                  </a:lnTo>
                  <a:lnTo>
                    <a:pt x="272" y="643"/>
                  </a:lnTo>
                  <a:lnTo>
                    <a:pt x="272" y="651"/>
                  </a:lnTo>
                  <a:lnTo>
                    <a:pt x="272" y="659"/>
                  </a:lnTo>
                  <a:lnTo>
                    <a:pt x="282" y="659"/>
                  </a:lnTo>
                  <a:lnTo>
                    <a:pt x="288" y="657"/>
                  </a:lnTo>
                  <a:lnTo>
                    <a:pt x="291" y="655"/>
                  </a:lnTo>
                  <a:lnTo>
                    <a:pt x="291" y="653"/>
                  </a:lnTo>
                  <a:lnTo>
                    <a:pt x="293" y="651"/>
                  </a:lnTo>
                  <a:lnTo>
                    <a:pt x="295" y="647"/>
                  </a:lnTo>
                  <a:lnTo>
                    <a:pt x="297" y="645"/>
                  </a:lnTo>
                  <a:lnTo>
                    <a:pt x="301" y="643"/>
                  </a:lnTo>
                  <a:lnTo>
                    <a:pt x="303" y="639"/>
                  </a:lnTo>
                  <a:lnTo>
                    <a:pt x="305" y="638"/>
                  </a:lnTo>
                  <a:lnTo>
                    <a:pt x="307" y="636"/>
                  </a:lnTo>
                  <a:lnTo>
                    <a:pt x="311" y="634"/>
                  </a:lnTo>
                  <a:lnTo>
                    <a:pt x="312" y="632"/>
                  </a:lnTo>
                  <a:lnTo>
                    <a:pt x="314" y="628"/>
                  </a:lnTo>
                  <a:lnTo>
                    <a:pt x="316" y="624"/>
                  </a:lnTo>
                  <a:lnTo>
                    <a:pt x="320" y="618"/>
                  </a:lnTo>
                  <a:lnTo>
                    <a:pt x="324" y="614"/>
                  </a:lnTo>
                  <a:lnTo>
                    <a:pt x="330" y="609"/>
                  </a:lnTo>
                  <a:lnTo>
                    <a:pt x="339" y="605"/>
                  </a:lnTo>
                  <a:lnTo>
                    <a:pt x="349" y="599"/>
                  </a:lnTo>
                  <a:lnTo>
                    <a:pt x="353" y="595"/>
                  </a:lnTo>
                  <a:lnTo>
                    <a:pt x="359" y="590"/>
                  </a:lnTo>
                  <a:lnTo>
                    <a:pt x="362" y="584"/>
                  </a:lnTo>
                  <a:lnTo>
                    <a:pt x="368" y="580"/>
                  </a:lnTo>
                  <a:lnTo>
                    <a:pt x="372" y="565"/>
                  </a:lnTo>
                  <a:lnTo>
                    <a:pt x="378" y="551"/>
                  </a:lnTo>
                  <a:lnTo>
                    <a:pt x="383" y="536"/>
                  </a:lnTo>
                  <a:lnTo>
                    <a:pt x="387" y="522"/>
                  </a:lnTo>
                  <a:lnTo>
                    <a:pt x="391" y="517"/>
                  </a:lnTo>
                  <a:lnTo>
                    <a:pt x="397" y="513"/>
                  </a:lnTo>
                  <a:lnTo>
                    <a:pt x="401" y="507"/>
                  </a:lnTo>
                  <a:lnTo>
                    <a:pt x="406" y="503"/>
                  </a:lnTo>
                  <a:lnTo>
                    <a:pt x="422" y="494"/>
                  </a:lnTo>
                  <a:lnTo>
                    <a:pt x="435" y="484"/>
                  </a:lnTo>
                  <a:lnTo>
                    <a:pt x="441" y="478"/>
                  </a:lnTo>
                  <a:lnTo>
                    <a:pt x="445" y="474"/>
                  </a:lnTo>
                  <a:lnTo>
                    <a:pt x="451" y="469"/>
                  </a:lnTo>
                  <a:lnTo>
                    <a:pt x="454" y="465"/>
                  </a:lnTo>
                  <a:lnTo>
                    <a:pt x="460" y="446"/>
                  </a:lnTo>
                  <a:lnTo>
                    <a:pt x="464" y="426"/>
                  </a:lnTo>
                  <a:lnTo>
                    <a:pt x="470" y="421"/>
                  </a:lnTo>
                  <a:lnTo>
                    <a:pt x="476" y="415"/>
                  </a:lnTo>
                  <a:lnTo>
                    <a:pt x="479" y="411"/>
                  </a:lnTo>
                  <a:lnTo>
                    <a:pt x="483" y="405"/>
                  </a:lnTo>
                  <a:lnTo>
                    <a:pt x="489" y="405"/>
                  </a:lnTo>
                  <a:lnTo>
                    <a:pt x="493" y="403"/>
                  </a:lnTo>
                  <a:lnTo>
                    <a:pt x="493" y="398"/>
                  </a:lnTo>
                  <a:lnTo>
                    <a:pt x="493" y="386"/>
                  </a:lnTo>
                  <a:lnTo>
                    <a:pt x="483" y="384"/>
                  </a:lnTo>
                  <a:lnTo>
                    <a:pt x="476" y="382"/>
                  </a:lnTo>
                  <a:lnTo>
                    <a:pt x="479" y="375"/>
                  </a:lnTo>
                  <a:lnTo>
                    <a:pt x="483" y="367"/>
                  </a:lnTo>
                  <a:lnTo>
                    <a:pt x="489" y="357"/>
                  </a:lnTo>
                  <a:lnTo>
                    <a:pt x="493" y="348"/>
                  </a:lnTo>
                  <a:lnTo>
                    <a:pt x="499" y="348"/>
                  </a:lnTo>
                  <a:lnTo>
                    <a:pt x="504" y="348"/>
                  </a:lnTo>
                  <a:lnTo>
                    <a:pt x="504" y="332"/>
                  </a:lnTo>
                  <a:lnTo>
                    <a:pt x="504" y="319"/>
                  </a:lnTo>
                  <a:lnTo>
                    <a:pt x="499" y="319"/>
                  </a:lnTo>
                  <a:lnTo>
                    <a:pt x="493" y="319"/>
                  </a:lnTo>
                  <a:lnTo>
                    <a:pt x="489" y="309"/>
                  </a:lnTo>
                  <a:lnTo>
                    <a:pt x="483" y="300"/>
                  </a:lnTo>
                  <a:lnTo>
                    <a:pt x="481" y="281"/>
                  </a:lnTo>
                  <a:lnTo>
                    <a:pt x="479" y="261"/>
                  </a:lnTo>
                  <a:lnTo>
                    <a:pt x="477" y="242"/>
                  </a:lnTo>
                  <a:lnTo>
                    <a:pt x="476" y="223"/>
                  </a:lnTo>
                  <a:lnTo>
                    <a:pt x="470" y="213"/>
                  </a:lnTo>
                  <a:lnTo>
                    <a:pt x="464" y="204"/>
                  </a:lnTo>
                  <a:lnTo>
                    <a:pt x="460" y="200"/>
                  </a:lnTo>
                  <a:lnTo>
                    <a:pt x="458" y="200"/>
                  </a:lnTo>
                  <a:lnTo>
                    <a:pt x="456" y="200"/>
                  </a:lnTo>
                  <a:lnTo>
                    <a:pt x="454" y="204"/>
                  </a:lnTo>
                  <a:lnTo>
                    <a:pt x="451" y="213"/>
                  </a:lnTo>
                  <a:lnTo>
                    <a:pt x="445" y="223"/>
                  </a:lnTo>
                  <a:lnTo>
                    <a:pt x="439" y="223"/>
                  </a:lnTo>
                  <a:lnTo>
                    <a:pt x="437" y="225"/>
                  </a:lnTo>
                  <a:lnTo>
                    <a:pt x="435" y="231"/>
                  </a:lnTo>
                  <a:lnTo>
                    <a:pt x="435" y="242"/>
                  </a:lnTo>
                  <a:lnTo>
                    <a:pt x="441" y="242"/>
                  </a:lnTo>
                  <a:lnTo>
                    <a:pt x="445" y="242"/>
                  </a:lnTo>
                  <a:lnTo>
                    <a:pt x="445" y="252"/>
                  </a:lnTo>
                  <a:lnTo>
                    <a:pt x="445" y="261"/>
                  </a:lnTo>
                  <a:lnTo>
                    <a:pt x="441" y="261"/>
                  </a:lnTo>
                  <a:lnTo>
                    <a:pt x="435" y="261"/>
                  </a:lnTo>
                  <a:lnTo>
                    <a:pt x="433" y="256"/>
                  </a:lnTo>
                  <a:lnTo>
                    <a:pt x="431" y="252"/>
                  </a:lnTo>
                  <a:lnTo>
                    <a:pt x="428" y="248"/>
                  </a:lnTo>
                  <a:lnTo>
                    <a:pt x="426" y="246"/>
                  </a:lnTo>
                  <a:lnTo>
                    <a:pt x="426" y="227"/>
                  </a:lnTo>
                  <a:lnTo>
                    <a:pt x="426" y="208"/>
                  </a:lnTo>
                  <a:lnTo>
                    <a:pt x="428" y="206"/>
                  </a:lnTo>
                  <a:lnTo>
                    <a:pt x="431" y="204"/>
                  </a:lnTo>
                  <a:lnTo>
                    <a:pt x="433" y="204"/>
                  </a:lnTo>
                  <a:lnTo>
                    <a:pt x="435" y="200"/>
                  </a:lnTo>
                  <a:lnTo>
                    <a:pt x="435" y="194"/>
                  </a:lnTo>
                  <a:lnTo>
                    <a:pt x="435" y="183"/>
                  </a:lnTo>
                  <a:lnTo>
                    <a:pt x="428" y="183"/>
                  </a:lnTo>
                  <a:lnTo>
                    <a:pt x="422" y="183"/>
                  </a:lnTo>
                  <a:lnTo>
                    <a:pt x="418" y="181"/>
                  </a:lnTo>
                  <a:lnTo>
                    <a:pt x="416" y="179"/>
                  </a:lnTo>
                  <a:lnTo>
                    <a:pt x="414" y="171"/>
                  </a:lnTo>
                  <a:lnTo>
                    <a:pt x="412" y="164"/>
                  </a:lnTo>
                  <a:lnTo>
                    <a:pt x="408" y="162"/>
                  </a:lnTo>
                  <a:lnTo>
                    <a:pt x="406" y="160"/>
                  </a:lnTo>
                  <a:lnTo>
                    <a:pt x="406" y="154"/>
                  </a:lnTo>
                  <a:lnTo>
                    <a:pt x="406" y="150"/>
                  </a:lnTo>
                  <a:lnTo>
                    <a:pt x="408" y="146"/>
                  </a:lnTo>
                  <a:lnTo>
                    <a:pt x="412" y="144"/>
                  </a:lnTo>
                  <a:lnTo>
                    <a:pt x="414" y="142"/>
                  </a:lnTo>
                  <a:lnTo>
                    <a:pt x="416" y="141"/>
                  </a:lnTo>
                  <a:lnTo>
                    <a:pt x="418" y="137"/>
                  </a:lnTo>
                  <a:lnTo>
                    <a:pt x="422" y="135"/>
                  </a:lnTo>
                  <a:lnTo>
                    <a:pt x="428" y="133"/>
                  </a:lnTo>
                  <a:lnTo>
                    <a:pt x="435" y="131"/>
                  </a:lnTo>
                  <a:lnTo>
                    <a:pt x="439" y="129"/>
                  </a:lnTo>
                  <a:lnTo>
                    <a:pt x="441" y="125"/>
                  </a:lnTo>
                  <a:lnTo>
                    <a:pt x="443" y="114"/>
                  </a:lnTo>
                  <a:lnTo>
                    <a:pt x="445" y="102"/>
                  </a:lnTo>
                  <a:lnTo>
                    <a:pt x="449" y="98"/>
                  </a:lnTo>
                  <a:lnTo>
                    <a:pt x="451" y="96"/>
                  </a:lnTo>
                  <a:lnTo>
                    <a:pt x="477" y="95"/>
                  </a:lnTo>
                  <a:lnTo>
                    <a:pt x="504" y="91"/>
                  </a:lnTo>
                  <a:lnTo>
                    <a:pt x="506" y="89"/>
                  </a:lnTo>
                  <a:lnTo>
                    <a:pt x="508" y="87"/>
                  </a:lnTo>
                  <a:lnTo>
                    <a:pt x="512" y="81"/>
                  </a:lnTo>
                  <a:lnTo>
                    <a:pt x="518" y="77"/>
                  </a:lnTo>
                  <a:lnTo>
                    <a:pt x="520" y="79"/>
                  </a:lnTo>
                  <a:lnTo>
                    <a:pt x="524" y="83"/>
                  </a:lnTo>
                  <a:lnTo>
                    <a:pt x="537" y="83"/>
                  </a:lnTo>
                  <a:lnTo>
                    <a:pt x="552" y="83"/>
                  </a:lnTo>
                  <a:lnTo>
                    <a:pt x="554" y="79"/>
                  </a:lnTo>
                  <a:lnTo>
                    <a:pt x="556" y="77"/>
                  </a:lnTo>
                  <a:lnTo>
                    <a:pt x="560" y="75"/>
                  </a:lnTo>
                  <a:lnTo>
                    <a:pt x="562" y="73"/>
                  </a:lnTo>
                  <a:lnTo>
                    <a:pt x="564" y="70"/>
                  </a:lnTo>
                  <a:lnTo>
                    <a:pt x="566" y="68"/>
                  </a:lnTo>
                  <a:lnTo>
                    <a:pt x="570" y="70"/>
                  </a:lnTo>
                  <a:lnTo>
                    <a:pt x="571" y="73"/>
                  </a:lnTo>
                  <a:lnTo>
                    <a:pt x="589" y="75"/>
                  </a:lnTo>
                  <a:lnTo>
                    <a:pt x="604" y="77"/>
                  </a:lnTo>
                  <a:lnTo>
                    <a:pt x="608" y="79"/>
                  </a:lnTo>
                  <a:lnTo>
                    <a:pt x="610" y="83"/>
                  </a:lnTo>
                  <a:lnTo>
                    <a:pt x="619" y="83"/>
                  </a:lnTo>
                  <a:lnTo>
                    <a:pt x="629" y="83"/>
                  </a:lnTo>
                  <a:lnTo>
                    <a:pt x="631" y="79"/>
                  </a:lnTo>
                  <a:lnTo>
                    <a:pt x="635" y="77"/>
                  </a:lnTo>
                  <a:lnTo>
                    <a:pt x="637" y="70"/>
                  </a:lnTo>
                  <a:lnTo>
                    <a:pt x="639" y="62"/>
                  </a:lnTo>
                  <a:lnTo>
                    <a:pt x="641" y="60"/>
                  </a:lnTo>
                  <a:lnTo>
                    <a:pt x="644" y="58"/>
                  </a:lnTo>
                  <a:lnTo>
                    <a:pt x="646" y="50"/>
                  </a:lnTo>
                  <a:lnTo>
                    <a:pt x="648" y="43"/>
                  </a:lnTo>
                  <a:lnTo>
                    <a:pt x="650" y="41"/>
                  </a:lnTo>
                  <a:lnTo>
                    <a:pt x="654" y="39"/>
                  </a:lnTo>
                  <a:lnTo>
                    <a:pt x="656" y="37"/>
                  </a:lnTo>
                  <a:lnTo>
                    <a:pt x="658" y="33"/>
                  </a:lnTo>
                  <a:lnTo>
                    <a:pt x="660" y="31"/>
                  </a:lnTo>
                  <a:lnTo>
                    <a:pt x="664" y="29"/>
                  </a:lnTo>
                  <a:lnTo>
                    <a:pt x="666" y="22"/>
                  </a:lnTo>
                  <a:lnTo>
                    <a:pt x="667" y="14"/>
                  </a:lnTo>
                  <a:lnTo>
                    <a:pt x="669" y="12"/>
                  </a:lnTo>
                  <a:lnTo>
                    <a:pt x="673" y="10"/>
                  </a:lnTo>
                  <a:lnTo>
                    <a:pt x="675" y="6"/>
                  </a:lnTo>
                  <a:lnTo>
                    <a:pt x="677" y="4"/>
                  </a:lnTo>
                  <a:lnTo>
                    <a:pt x="681" y="2"/>
                  </a:lnTo>
                  <a:lnTo>
                    <a:pt x="683" y="0"/>
                  </a:lnTo>
                  <a:lnTo>
                    <a:pt x="690" y="0"/>
                  </a:lnTo>
                  <a:lnTo>
                    <a:pt x="696" y="0"/>
                  </a:lnTo>
                  <a:lnTo>
                    <a:pt x="696" y="6"/>
                  </a:lnTo>
                  <a:lnTo>
                    <a:pt x="696" y="14"/>
                  </a:lnTo>
                  <a:lnTo>
                    <a:pt x="694" y="16"/>
                  </a:lnTo>
                  <a:lnTo>
                    <a:pt x="692" y="20"/>
                  </a:lnTo>
                  <a:lnTo>
                    <a:pt x="692" y="29"/>
                  </a:lnTo>
                  <a:lnTo>
                    <a:pt x="692" y="39"/>
                  </a:lnTo>
                  <a:lnTo>
                    <a:pt x="694" y="41"/>
                  </a:lnTo>
                  <a:lnTo>
                    <a:pt x="696" y="43"/>
                  </a:lnTo>
                  <a:lnTo>
                    <a:pt x="698" y="50"/>
                  </a:lnTo>
                  <a:lnTo>
                    <a:pt x="702" y="58"/>
                  </a:lnTo>
                  <a:lnTo>
                    <a:pt x="704" y="60"/>
                  </a:lnTo>
                  <a:lnTo>
                    <a:pt x="708" y="62"/>
                  </a:lnTo>
                  <a:lnTo>
                    <a:pt x="708" y="70"/>
                  </a:lnTo>
                  <a:lnTo>
                    <a:pt x="708" y="77"/>
                  </a:lnTo>
                  <a:lnTo>
                    <a:pt x="713" y="77"/>
                  </a:lnTo>
                  <a:lnTo>
                    <a:pt x="721" y="77"/>
                  </a:lnTo>
                  <a:lnTo>
                    <a:pt x="723" y="79"/>
                  </a:lnTo>
                  <a:lnTo>
                    <a:pt x="725" y="83"/>
                  </a:lnTo>
                  <a:lnTo>
                    <a:pt x="729" y="98"/>
                  </a:lnTo>
                  <a:lnTo>
                    <a:pt x="731" y="116"/>
                  </a:lnTo>
                  <a:lnTo>
                    <a:pt x="733" y="118"/>
                  </a:lnTo>
                  <a:lnTo>
                    <a:pt x="736" y="121"/>
                  </a:lnTo>
                  <a:lnTo>
                    <a:pt x="736" y="127"/>
                  </a:lnTo>
                  <a:lnTo>
                    <a:pt x="736" y="135"/>
                  </a:lnTo>
                  <a:lnTo>
                    <a:pt x="742" y="135"/>
                  </a:lnTo>
                  <a:lnTo>
                    <a:pt x="750" y="135"/>
                  </a:lnTo>
                  <a:lnTo>
                    <a:pt x="752" y="137"/>
                  </a:lnTo>
                  <a:lnTo>
                    <a:pt x="756" y="141"/>
                  </a:lnTo>
                  <a:lnTo>
                    <a:pt x="767" y="142"/>
                  </a:lnTo>
                  <a:lnTo>
                    <a:pt x="779" y="144"/>
                  </a:lnTo>
                  <a:lnTo>
                    <a:pt x="781" y="146"/>
                  </a:lnTo>
                  <a:lnTo>
                    <a:pt x="784" y="150"/>
                  </a:lnTo>
                  <a:lnTo>
                    <a:pt x="786" y="152"/>
                  </a:lnTo>
                  <a:lnTo>
                    <a:pt x="788" y="154"/>
                  </a:lnTo>
                  <a:lnTo>
                    <a:pt x="790" y="158"/>
                  </a:lnTo>
                  <a:lnTo>
                    <a:pt x="794" y="160"/>
                  </a:lnTo>
                  <a:lnTo>
                    <a:pt x="796" y="162"/>
                  </a:lnTo>
                  <a:lnTo>
                    <a:pt x="798" y="164"/>
                  </a:lnTo>
                  <a:lnTo>
                    <a:pt x="802" y="167"/>
                  </a:lnTo>
                  <a:lnTo>
                    <a:pt x="804" y="169"/>
                  </a:lnTo>
                  <a:lnTo>
                    <a:pt x="804" y="173"/>
                  </a:lnTo>
                  <a:lnTo>
                    <a:pt x="804" y="179"/>
                  </a:lnTo>
                  <a:lnTo>
                    <a:pt x="802" y="181"/>
                  </a:lnTo>
                  <a:lnTo>
                    <a:pt x="798" y="183"/>
                  </a:lnTo>
                  <a:lnTo>
                    <a:pt x="796" y="187"/>
                  </a:lnTo>
                  <a:lnTo>
                    <a:pt x="794" y="189"/>
                  </a:lnTo>
                  <a:lnTo>
                    <a:pt x="790" y="190"/>
                  </a:lnTo>
                  <a:lnTo>
                    <a:pt x="788" y="194"/>
                  </a:lnTo>
                  <a:lnTo>
                    <a:pt x="786" y="196"/>
                  </a:lnTo>
                  <a:lnTo>
                    <a:pt x="784" y="198"/>
                  </a:lnTo>
                  <a:lnTo>
                    <a:pt x="781" y="200"/>
                  </a:lnTo>
                  <a:lnTo>
                    <a:pt x="779" y="204"/>
                  </a:lnTo>
                  <a:lnTo>
                    <a:pt x="771" y="204"/>
                  </a:lnTo>
                  <a:lnTo>
                    <a:pt x="765" y="204"/>
                  </a:lnTo>
                  <a:lnTo>
                    <a:pt x="765" y="210"/>
                  </a:lnTo>
                  <a:lnTo>
                    <a:pt x="765" y="217"/>
                  </a:lnTo>
                  <a:lnTo>
                    <a:pt x="761" y="219"/>
                  </a:lnTo>
                  <a:lnTo>
                    <a:pt x="760" y="223"/>
                  </a:lnTo>
                  <a:lnTo>
                    <a:pt x="758" y="229"/>
                  </a:lnTo>
                  <a:lnTo>
                    <a:pt x="756" y="236"/>
                  </a:lnTo>
                  <a:lnTo>
                    <a:pt x="752" y="238"/>
                  </a:lnTo>
                  <a:lnTo>
                    <a:pt x="750" y="242"/>
                  </a:lnTo>
                  <a:lnTo>
                    <a:pt x="748" y="248"/>
                  </a:lnTo>
                  <a:lnTo>
                    <a:pt x="746" y="256"/>
                  </a:lnTo>
                  <a:lnTo>
                    <a:pt x="742" y="258"/>
                  </a:lnTo>
                  <a:lnTo>
                    <a:pt x="740" y="261"/>
                  </a:lnTo>
                  <a:lnTo>
                    <a:pt x="738" y="267"/>
                  </a:lnTo>
                  <a:lnTo>
                    <a:pt x="736" y="275"/>
                  </a:lnTo>
                  <a:lnTo>
                    <a:pt x="733" y="279"/>
                  </a:lnTo>
                  <a:lnTo>
                    <a:pt x="731" y="281"/>
                  </a:lnTo>
                  <a:lnTo>
                    <a:pt x="723" y="288"/>
                  </a:lnTo>
                  <a:lnTo>
                    <a:pt x="715" y="294"/>
                  </a:lnTo>
                  <a:lnTo>
                    <a:pt x="713" y="298"/>
                  </a:lnTo>
                  <a:lnTo>
                    <a:pt x="712" y="300"/>
                  </a:lnTo>
                  <a:lnTo>
                    <a:pt x="710" y="319"/>
                  </a:lnTo>
                  <a:lnTo>
                    <a:pt x="708" y="338"/>
                  </a:lnTo>
                  <a:lnTo>
                    <a:pt x="713" y="338"/>
                  </a:lnTo>
                  <a:lnTo>
                    <a:pt x="721" y="338"/>
                  </a:lnTo>
                  <a:lnTo>
                    <a:pt x="723" y="340"/>
                  </a:lnTo>
                  <a:lnTo>
                    <a:pt x="725" y="344"/>
                  </a:lnTo>
                  <a:lnTo>
                    <a:pt x="729" y="346"/>
                  </a:lnTo>
                  <a:lnTo>
                    <a:pt x="731" y="348"/>
                  </a:lnTo>
                  <a:lnTo>
                    <a:pt x="733" y="350"/>
                  </a:lnTo>
                  <a:lnTo>
                    <a:pt x="736" y="354"/>
                  </a:lnTo>
                  <a:lnTo>
                    <a:pt x="736" y="367"/>
                  </a:lnTo>
                  <a:lnTo>
                    <a:pt x="736" y="382"/>
                  </a:lnTo>
                  <a:lnTo>
                    <a:pt x="733" y="384"/>
                  </a:lnTo>
                  <a:lnTo>
                    <a:pt x="731" y="386"/>
                  </a:lnTo>
                  <a:lnTo>
                    <a:pt x="729" y="394"/>
                  </a:lnTo>
                  <a:lnTo>
                    <a:pt x="725" y="402"/>
                  </a:lnTo>
                  <a:lnTo>
                    <a:pt x="723" y="403"/>
                  </a:lnTo>
                  <a:lnTo>
                    <a:pt x="721" y="405"/>
                  </a:lnTo>
                  <a:lnTo>
                    <a:pt x="713" y="409"/>
                  </a:lnTo>
                  <a:lnTo>
                    <a:pt x="708" y="411"/>
                  </a:lnTo>
                  <a:lnTo>
                    <a:pt x="704" y="413"/>
                  </a:lnTo>
                  <a:lnTo>
                    <a:pt x="702" y="415"/>
                  </a:lnTo>
                  <a:lnTo>
                    <a:pt x="698" y="419"/>
                  </a:lnTo>
                  <a:lnTo>
                    <a:pt x="696" y="421"/>
                  </a:lnTo>
                  <a:lnTo>
                    <a:pt x="694" y="423"/>
                  </a:lnTo>
                  <a:lnTo>
                    <a:pt x="692" y="426"/>
                  </a:lnTo>
                  <a:lnTo>
                    <a:pt x="689" y="428"/>
                  </a:lnTo>
                  <a:lnTo>
                    <a:pt x="687" y="430"/>
                  </a:lnTo>
                  <a:lnTo>
                    <a:pt x="685" y="432"/>
                  </a:lnTo>
                  <a:lnTo>
                    <a:pt x="683" y="434"/>
                  </a:lnTo>
                  <a:lnTo>
                    <a:pt x="675" y="438"/>
                  </a:lnTo>
                  <a:lnTo>
                    <a:pt x="667" y="440"/>
                  </a:lnTo>
                  <a:lnTo>
                    <a:pt x="666" y="442"/>
                  </a:lnTo>
                  <a:lnTo>
                    <a:pt x="664" y="444"/>
                  </a:lnTo>
                  <a:lnTo>
                    <a:pt x="660" y="448"/>
                  </a:lnTo>
                  <a:lnTo>
                    <a:pt x="658" y="449"/>
                  </a:lnTo>
                  <a:lnTo>
                    <a:pt x="656" y="451"/>
                  </a:lnTo>
                  <a:lnTo>
                    <a:pt x="654" y="455"/>
                  </a:lnTo>
                  <a:lnTo>
                    <a:pt x="650" y="461"/>
                  </a:lnTo>
                  <a:lnTo>
                    <a:pt x="648" y="469"/>
                  </a:lnTo>
                  <a:lnTo>
                    <a:pt x="646" y="471"/>
                  </a:lnTo>
                  <a:lnTo>
                    <a:pt x="644" y="474"/>
                  </a:lnTo>
                  <a:lnTo>
                    <a:pt x="641" y="480"/>
                  </a:lnTo>
                  <a:lnTo>
                    <a:pt x="639" y="488"/>
                  </a:lnTo>
                  <a:lnTo>
                    <a:pt x="637" y="490"/>
                  </a:lnTo>
                  <a:lnTo>
                    <a:pt x="635" y="494"/>
                  </a:lnTo>
                  <a:lnTo>
                    <a:pt x="627" y="494"/>
                  </a:lnTo>
                  <a:lnTo>
                    <a:pt x="619" y="494"/>
                  </a:lnTo>
                  <a:lnTo>
                    <a:pt x="619" y="499"/>
                  </a:lnTo>
                  <a:lnTo>
                    <a:pt x="619" y="507"/>
                  </a:lnTo>
                  <a:lnTo>
                    <a:pt x="618" y="511"/>
                  </a:lnTo>
                  <a:lnTo>
                    <a:pt x="614" y="513"/>
                  </a:lnTo>
                  <a:lnTo>
                    <a:pt x="612" y="520"/>
                  </a:lnTo>
                  <a:lnTo>
                    <a:pt x="610" y="526"/>
                  </a:lnTo>
                  <a:lnTo>
                    <a:pt x="608" y="528"/>
                  </a:lnTo>
                  <a:lnTo>
                    <a:pt x="604" y="532"/>
                  </a:lnTo>
                  <a:lnTo>
                    <a:pt x="589" y="534"/>
                  </a:lnTo>
                  <a:lnTo>
                    <a:pt x="571" y="538"/>
                  </a:lnTo>
                  <a:lnTo>
                    <a:pt x="570" y="540"/>
                  </a:lnTo>
                  <a:lnTo>
                    <a:pt x="566" y="542"/>
                  </a:lnTo>
                  <a:lnTo>
                    <a:pt x="564" y="543"/>
                  </a:lnTo>
                  <a:lnTo>
                    <a:pt x="562" y="547"/>
                  </a:lnTo>
                  <a:lnTo>
                    <a:pt x="560" y="549"/>
                  </a:lnTo>
                  <a:lnTo>
                    <a:pt x="556" y="551"/>
                  </a:lnTo>
                  <a:lnTo>
                    <a:pt x="554" y="553"/>
                  </a:lnTo>
                  <a:lnTo>
                    <a:pt x="552" y="555"/>
                  </a:lnTo>
                  <a:lnTo>
                    <a:pt x="548" y="559"/>
                  </a:lnTo>
                  <a:lnTo>
                    <a:pt x="547" y="561"/>
                  </a:lnTo>
                  <a:lnTo>
                    <a:pt x="525" y="563"/>
                  </a:lnTo>
                  <a:lnTo>
                    <a:pt x="504" y="567"/>
                  </a:lnTo>
                  <a:lnTo>
                    <a:pt x="501" y="568"/>
                  </a:lnTo>
                  <a:lnTo>
                    <a:pt x="499" y="570"/>
                  </a:lnTo>
                  <a:lnTo>
                    <a:pt x="499" y="576"/>
                  </a:lnTo>
                  <a:lnTo>
                    <a:pt x="499" y="580"/>
                  </a:lnTo>
                  <a:lnTo>
                    <a:pt x="501" y="582"/>
                  </a:lnTo>
                  <a:lnTo>
                    <a:pt x="504" y="586"/>
                  </a:lnTo>
                  <a:lnTo>
                    <a:pt x="506" y="588"/>
                  </a:lnTo>
                  <a:lnTo>
                    <a:pt x="508" y="590"/>
                  </a:lnTo>
                  <a:lnTo>
                    <a:pt x="510" y="591"/>
                  </a:lnTo>
                  <a:lnTo>
                    <a:pt x="514" y="595"/>
                  </a:lnTo>
                  <a:lnTo>
                    <a:pt x="510" y="597"/>
                  </a:lnTo>
                  <a:lnTo>
                    <a:pt x="508" y="599"/>
                  </a:lnTo>
                  <a:lnTo>
                    <a:pt x="506" y="601"/>
                  </a:lnTo>
                  <a:lnTo>
                    <a:pt x="504" y="605"/>
                  </a:lnTo>
                  <a:lnTo>
                    <a:pt x="501" y="607"/>
                  </a:lnTo>
                  <a:lnTo>
                    <a:pt x="499" y="609"/>
                  </a:lnTo>
                  <a:lnTo>
                    <a:pt x="497" y="614"/>
                  </a:lnTo>
                  <a:lnTo>
                    <a:pt x="495" y="624"/>
                  </a:lnTo>
                  <a:lnTo>
                    <a:pt x="497" y="634"/>
                  </a:lnTo>
                  <a:lnTo>
                    <a:pt x="499" y="638"/>
                  </a:lnTo>
                  <a:lnTo>
                    <a:pt x="501" y="639"/>
                  </a:lnTo>
                  <a:lnTo>
                    <a:pt x="504" y="643"/>
                  </a:lnTo>
                  <a:lnTo>
                    <a:pt x="510" y="645"/>
                  </a:lnTo>
                  <a:lnTo>
                    <a:pt x="518" y="647"/>
                  </a:lnTo>
                  <a:lnTo>
                    <a:pt x="520" y="651"/>
                  </a:lnTo>
                  <a:lnTo>
                    <a:pt x="524" y="653"/>
                  </a:lnTo>
                  <a:lnTo>
                    <a:pt x="520" y="655"/>
                  </a:lnTo>
                  <a:lnTo>
                    <a:pt x="518" y="659"/>
                  </a:lnTo>
                  <a:lnTo>
                    <a:pt x="516" y="661"/>
                  </a:lnTo>
                  <a:lnTo>
                    <a:pt x="514" y="662"/>
                  </a:lnTo>
                  <a:lnTo>
                    <a:pt x="510" y="664"/>
                  </a:lnTo>
                  <a:lnTo>
                    <a:pt x="508" y="666"/>
                  </a:lnTo>
                  <a:lnTo>
                    <a:pt x="506" y="666"/>
                  </a:lnTo>
                  <a:lnTo>
                    <a:pt x="504" y="666"/>
                  </a:lnTo>
                  <a:lnTo>
                    <a:pt x="499" y="672"/>
                  </a:lnTo>
                  <a:lnTo>
                    <a:pt x="493" y="676"/>
                  </a:lnTo>
                  <a:lnTo>
                    <a:pt x="489" y="676"/>
                  </a:lnTo>
                  <a:lnTo>
                    <a:pt x="483" y="676"/>
                  </a:lnTo>
                  <a:lnTo>
                    <a:pt x="466" y="668"/>
                  </a:lnTo>
                  <a:lnTo>
                    <a:pt x="449" y="662"/>
                  </a:lnTo>
                  <a:lnTo>
                    <a:pt x="433" y="659"/>
                  </a:lnTo>
                  <a:lnTo>
                    <a:pt x="416" y="657"/>
                  </a:lnTo>
                  <a:lnTo>
                    <a:pt x="401" y="657"/>
                  </a:lnTo>
                  <a:lnTo>
                    <a:pt x="383" y="657"/>
                  </a:lnTo>
                  <a:lnTo>
                    <a:pt x="366" y="661"/>
                  </a:lnTo>
                  <a:lnTo>
                    <a:pt x="349" y="666"/>
                  </a:lnTo>
                  <a:lnTo>
                    <a:pt x="336" y="664"/>
                  </a:lnTo>
                  <a:lnTo>
                    <a:pt x="322" y="666"/>
                  </a:lnTo>
                  <a:lnTo>
                    <a:pt x="307" y="672"/>
                  </a:lnTo>
                  <a:lnTo>
                    <a:pt x="289" y="678"/>
                  </a:lnTo>
                  <a:lnTo>
                    <a:pt x="259" y="693"/>
                  </a:lnTo>
                  <a:lnTo>
                    <a:pt x="232" y="707"/>
                  </a:lnTo>
                  <a:lnTo>
                    <a:pt x="228" y="707"/>
                  </a:lnTo>
                  <a:lnTo>
                    <a:pt x="222" y="707"/>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20" name="Freeform 10"/>
            <p:cNvSpPr>
              <a:spLocks/>
            </p:cNvSpPr>
            <p:nvPr>
              <p:custDataLst>
                <p:tags r:id="rId10"/>
              </p:custDataLst>
            </p:nvPr>
          </p:nvSpPr>
          <p:spPr bwMode="gray">
            <a:xfrm>
              <a:off x="5408613" y="4016191"/>
              <a:ext cx="1468437" cy="1663700"/>
            </a:xfrm>
            <a:custGeom>
              <a:avLst/>
              <a:gdLst>
                <a:gd name="T0" fmla="*/ 2147483647 w 947"/>
                <a:gd name="T1" fmla="*/ 2147483647 h 1111"/>
                <a:gd name="T2" fmla="*/ 2147483647 w 947"/>
                <a:gd name="T3" fmla="*/ 2147483647 h 1111"/>
                <a:gd name="T4" fmla="*/ 2147483647 w 947"/>
                <a:gd name="T5" fmla="*/ 2147483647 h 1111"/>
                <a:gd name="T6" fmla="*/ 2147483647 w 947"/>
                <a:gd name="T7" fmla="*/ 2147483647 h 1111"/>
                <a:gd name="T8" fmla="*/ 2147483647 w 947"/>
                <a:gd name="T9" fmla="*/ 2147483647 h 1111"/>
                <a:gd name="T10" fmla="*/ 2147483647 w 947"/>
                <a:gd name="T11" fmla="*/ 2147483647 h 1111"/>
                <a:gd name="T12" fmla="*/ 2147483647 w 947"/>
                <a:gd name="T13" fmla="*/ 2147483647 h 1111"/>
                <a:gd name="T14" fmla="*/ 2147483647 w 947"/>
                <a:gd name="T15" fmla="*/ 2147483647 h 1111"/>
                <a:gd name="T16" fmla="*/ 2147483647 w 947"/>
                <a:gd name="T17" fmla="*/ 2147483647 h 1111"/>
                <a:gd name="T18" fmla="*/ 2147483647 w 947"/>
                <a:gd name="T19" fmla="*/ 2147483647 h 1111"/>
                <a:gd name="T20" fmla="*/ 2147483647 w 947"/>
                <a:gd name="T21" fmla="*/ 2147483647 h 1111"/>
                <a:gd name="T22" fmla="*/ 2147483647 w 947"/>
                <a:gd name="T23" fmla="*/ 2147483647 h 1111"/>
                <a:gd name="T24" fmla="*/ 2147483647 w 947"/>
                <a:gd name="T25" fmla="*/ 2147483647 h 1111"/>
                <a:gd name="T26" fmla="*/ 2147483647 w 947"/>
                <a:gd name="T27" fmla="*/ 2147483647 h 1111"/>
                <a:gd name="T28" fmla="*/ 2147483647 w 947"/>
                <a:gd name="T29" fmla="*/ 2147483647 h 1111"/>
                <a:gd name="T30" fmla="*/ 2147483647 w 947"/>
                <a:gd name="T31" fmla="*/ 2147483647 h 1111"/>
                <a:gd name="T32" fmla="*/ 2147483647 w 947"/>
                <a:gd name="T33" fmla="*/ 2147483647 h 1111"/>
                <a:gd name="T34" fmla="*/ 2147483647 w 947"/>
                <a:gd name="T35" fmla="*/ 2147483647 h 1111"/>
                <a:gd name="T36" fmla="*/ 2147483647 w 947"/>
                <a:gd name="T37" fmla="*/ 2147483647 h 1111"/>
                <a:gd name="T38" fmla="*/ 2147483647 w 947"/>
                <a:gd name="T39" fmla="*/ 2147483647 h 1111"/>
                <a:gd name="T40" fmla="*/ 2147483647 w 947"/>
                <a:gd name="T41" fmla="*/ 2147483647 h 1111"/>
                <a:gd name="T42" fmla="*/ 2147483647 w 947"/>
                <a:gd name="T43" fmla="*/ 2147483647 h 1111"/>
                <a:gd name="T44" fmla="*/ 2147483647 w 947"/>
                <a:gd name="T45" fmla="*/ 2147483647 h 1111"/>
                <a:gd name="T46" fmla="*/ 2147483647 w 947"/>
                <a:gd name="T47" fmla="*/ 2147483647 h 1111"/>
                <a:gd name="T48" fmla="*/ 2147483647 w 947"/>
                <a:gd name="T49" fmla="*/ 2147483647 h 1111"/>
                <a:gd name="T50" fmla="*/ 2147483647 w 947"/>
                <a:gd name="T51" fmla="*/ 2147483647 h 1111"/>
                <a:gd name="T52" fmla="*/ 2147483647 w 947"/>
                <a:gd name="T53" fmla="*/ 2147483647 h 1111"/>
                <a:gd name="T54" fmla="*/ 2147483647 w 947"/>
                <a:gd name="T55" fmla="*/ 2147483647 h 1111"/>
                <a:gd name="T56" fmla="*/ 2147483647 w 947"/>
                <a:gd name="T57" fmla="*/ 2147483647 h 1111"/>
                <a:gd name="T58" fmla="*/ 2147483647 w 947"/>
                <a:gd name="T59" fmla="*/ 2147483647 h 1111"/>
                <a:gd name="T60" fmla="*/ 2147483647 w 947"/>
                <a:gd name="T61" fmla="*/ 2147483647 h 1111"/>
                <a:gd name="T62" fmla="*/ 2147483647 w 947"/>
                <a:gd name="T63" fmla="*/ 2147483647 h 1111"/>
                <a:gd name="T64" fmla="*/ 2147483647 w 947"/>
                <a:gd name="T65" fmla="*/ 2147483647 h 1111"/>
                <a:gd name="T66" fmla="*/ 2147483647 w 947"/>
                <a:gd name="T67" fmla="*/ 2147483647 h 1111"/>
                <a:gd name="T68" fmla="*/ 2147483647 w 947"/>
                <a:gd name="T69" fmla="*/ 2147483647 h 1111"/>
                <a:gd name="T70" fmla="*/ 2147483647 w 947"/>
                <a:gd name="T71" fmla="*/ 2147483647 h 1111"/>
                <a:gd name="T72" fmla="*/ 2147483647 w 947"/>
                <a:gd name="T73" fmla="*/ 2147483647 h 1111"/>
                <a:gd name="T74" fmla="*/ 2147483647 w 947"/>
                <a:gd name="T75" fmla="*/ 2147483647 h 1111"/>
                <a:gd name="T76" fmla="*/ 2147483647 w 947"/>
                <a:gd name="T77" fmla="*/ 2147483647 h 1111"/>
                <a:gd name="T78" fmla="*/ 2147483647 w 947"/>
                <a:gd name="T79" fmla="*/ 2147483647 h 1111"/>
                <a:gd name="T80" fmla="*/ 2147483647 w 947"/>
                <a:gd name="T81" fmla="*/ 2147483647 h 1111"/>
                <a:gd name="T82" fmla="*/ 2147483647 w 947"/>
                <a:gd name="T83" fmla="*/ 2147483647 h 1111"/>
                <a:gd name="T84" fmla="*/ 2147483647 w 947"/>
                <a:gd name="T85" fmla="*/ 2147483647 h 1111"/>
                <a:gd name="T86" fmla="*/ 2147483647 w 947"/>
                <a:gd name="T87" fmla="*/ 2147483647 h 1111"/>
                <a:gd name="T88" fmla="*/ 2147483647 w 947"/>
                <a:gd name="T89" fmla="*/ 2147483647 h 1111"/>
                <a:gd name="T90" fmla="*/ 2147483647 w 947"/>
                <a:gd name="T91" fmla="*/ 2147483647 h 1111"/>
                <a:gd name="T92" fmla="*/ 2147483647 w 947"/>
                <a:gd name="T93" fmla="*/ 2147483647 h 1111"/>
                <a:gd name="T94" fmla="*/ 2147483647 w 947"/>
                <a:gd name="T95" fmla="*/ 2147483647 h 1111"/>
                <a:gd name="T96" fmla="*/ 2147483647 w 947"/>
                <a:gd name="T97" fmla="*/ 2147483647 h 1111"/>
                <a:gd name="T98" fmla="*/ 2147483647 w 947"/>
                <a:gd name="T99" fmla="*/ 2147483647 h 1111"/>
                <a:gd name="T100" fmla="*/ 2147483647 w 947"/>
                <a:gd name="T101" fmla="*/ 2147483647 h 1111"/>
                <a:gd name="T102" fmla="*/ 2147483647 w 947"/>
                <a:gd name="T103" fmla="*/ 2147483647 h 1111"/>
                <a:gd name="T104" fmla="*/ 2147483647 w 947"/>
                <a:gd name="T105" fmla="*/ 2147483647 h 1111"/>
                <a:gd name="T106" fmla="*/ 2147483647 w 947"/>
                <a:gd name="T107" fmla="*/ 2147483647 h 1111"/>
                <a:gd name="T108" fmla="*/ 2147483647 w 947"/>
                <a:gd name="T109" fmla="*/ 2147483647 h 1111"/>
                <a:gd name="T110" fmla="*/ 2147483647 w 947"/>
                <a:gd name="T111" fmla="*/ 2147483647 h 1111"/>
                <a:gd name="T112" fmla="*/ 2147483647 w 947"/>
                <a:gd name="T113" fmla="*/ 2147483647 h 1111"/>
                <a:gd name="T114" fmla="*/ 2147483647 w 947"/>
                <a:gd name="T115" fmla="*/ 2147483647 h 1111"/>
                <a:gd name="T116" fmla="*/ 2147483647 w 947"/>
                <a:gd name="T117" fmla="*/ 2147483647 h 1111"/>
                <a:gd name="T118" fmla="*/ 2147483647 w 947"/>
                <a:gd name="T119" fmla="*/ 2147483647 h 1111"/>
                <a:gd name="T120" fmla="*/ 2147483647 w 947"/>
                <a:gd name="T121" fmla="*/ 2147483647 h 1111"/>
                <a:gd name="T122" fmla="*/ 2147483647 w 947"/>
                <a:gd name="T123" fmla="*/ 2147483647 h 111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47"/>
                <a:gd name="T187" fmla="*/ 0 h 1111"/>
                <a:gd name="T188" fmla="*/ 947 w 947"/>
                <a:gd name="T189" fmla="*/ 1111 h 111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47" h="1111">
                  <a:moveTo>
                    <a:pt x="439" y="1102"/>
                  </a:moveTo>
                  <a:lnTo>
                    <a:pt x="437" y="1100"/>
                  </a:lnTo>
                  <a:lnTo>
                    <a:pt x="435" y="1098"/>
                  </a:lnTo>
                  <a:lnTo>
                    <a:pt x="428" y="1096"/>
                  </a:lnTo>
                  <a:lnTo>
                    <a:pt x="420" y="1092"/>
                  </a:lnTo>
                  <a:lnTo>
                    <a:pt x="418" y="1090"/>
                  </a:lnTo>
                  <a:lnTo>
                    <a:pt x="416" y="1088"/>
                  </a:lnTo>
                  <a:lnTo>
                    <a:pt x="408" y="1080"/>
                  </a:lnTo>
                  <a:lnTo>
                    <a:pt x="401" y="1073"/>
                  </a:lnTo>
                  <a:lnTo>
                    <a:pt x="399" y="1071"/>
                  </a:lnTo>
                  <a:lnTo>
                    <a:pt x="395" y="1069"/>
                  </a:lnTo>
                  <a:lnTo>
                    <a:pt x="393" y="1065"/>
                  </a:lnTo>
                  <a:lnTo>
                    <a:pt x="391" y="1063"/>
                  </a:lnTo>
                  <a:lnTo>
                    <a:pt x="389" y="1061"/>
                  </a:lnTo>
                  <a:lnTo>
                    <a:pt x="385" y="1059"/>
                  </a:lnTo>
                  <a:lnTo>
                    <a:pt x="383" y="1055"/>
                  </a:lnTo>
                  <a:lnTo>
                    <a:pt x="381" y="1054"/>
                  </a:lnTo>
                  <a:lnTo>
                    <a:pt x="380" y="1052"/>
                  </a:lnTo>
                  <a:lnTo>
                    <a:pt x="376" y="1050"/>
                  </a:lnTo>
                  <a:lnTo>
                    <a:pt x="368" y="1046"/>
                  </a:lnTo>
                  <a:lnTo>
                    <a:pt x="362" y="1044"/>
                  </a:lnTo>
                  <a:lnTo>
                    <a:pt x="358" y="1042"/>
                  </a:lnTo>
                  <a:lnTo>
                    <a:pt x="357" y="1040"/>
                  </a:lnTo>
                  <a:lnTo>
                    <a:pt x="349" y="1036"/>
                  </a:lnTo>
                  <a:lnTo>
                    <a:pt x="343" y="1034"/>
                  </a:lnTo>
                  <a:lnTo>
                    <a:pt x="339" y="1032"/>
                  </a:lnTo>
                  <a:lnTo>
                    <a:pt x="337" y="1031"/>
                  </a:lnTo>
                  <a:lnTo>
                    <a:pt x="320" y="1027"/>
                  </a:lnTo>
                  <a:lnTo>
                    <a:pt x="303" y="1025"/>
                  </a:lnTo>
                  <a:lnTo>
                    <a:pt x="301" y="1023"/>
                  </a:lnTo>
                  <a:lnTo>
                    <a:pt x="299" y="1019"/>
                  </a:lnTo>
                  <a:lnTo>
                    <a:pt x="297" y="1017"/>
                  </a:lnTo>
                  <a:lnTo>
                    <a:pt x="295" y="1015"/>
                  </a:lnTo>
                  <a:lnTo>
                    <a:pt x="291" y="1013"/>
                  </a:lnTo>
                  <a:lnTo>
                    <a:pt x="289" y="1011"/>
                  </a:lnTo>
                  <a:lnTo>
                    <a:pt x="282" y="1007"/>
                  </a:lnTo>
                  <a:lnTo>
                    <a:pt x="274" y="1006"/>
                  </a:lnTo>
                  <a:lnTo>
                    <a:pt x="272" y="1004"/>
                  </a:lnTo>
                  <a:lnTo>
                    <a:pt x="270" y="1002"/>
                  </a:lnTo>
                  <a:lnTo>
                    <a:pt x="263" y="998"/>
                  </a:lnTo>
                  <a:lnTo>
                    <a:pt x="255" y="996"/>
                  </a:lnTo>
                  <a:lnTo>
                    <a:pt x="253" y="992"/>
                  </a:lnTo>
                  <a:lnTo>
                    <a:pt x="251" y="990"/>
                  </a:lnTo>
                  <a:lnTo>
                    <a:pt x="247" y="988"/>
                  </a:lnTo>
                  <a:lnTo>
                    <a:pt x="245" y="986"/>
                  </a:lnTo>
                  <a:lnTo>
                    <a:pt x="243" y="984"/>
                  </a:lnTo>
                  <a:lnTo>
                    <a:pt x="241" y="981"/>
                  </a:lnTo>
                  <a:lnTo>
                    <a:pt x="238" y="979"/>
                  </a:lnTo>
                  <a:lnTo>
                    <a:pt x="236" y="977"/>
                  </a:lnTo>
                  <a:lnTo>
                    <a:pt x="234" y="975"/>
                  </a:lnTo>
                  <a:lnTo>
                    <a:pt x="232" y="971"/>
                  </a:lnTo>
                  <a:lnTo>
                    <a:pt x="216" y="971"/>
                  </a:lnTo>
                  <a:lnTo>
                    <a:pt x="203" y="971"/>
                  </a:lnTo>
                  <a:lnTo>
                    <a:pt x="199" y="975"/>
                  </a:lnTo>
                  <a:lnTo>
                    <a:pt x="197" y="977"/>
                  </a:lnTo>
                  <a:lnTo>
                    <a:pt x="190" y="984"/>
                  </a:lnTo>
                  <a:lnTo>
                    <a:pt x="184" y="990"/>
                  </a:lnTo>
                  <a:lnTo>
                    <a:pt x="180" y="992"/>
                  </a:lnTo>
                  <a:lnTo>
                    <a:pt x="178" y="996"/>
                  </a:lnTo>
                  <a:lnTo>
                    <a:pt x="176" y="992"/>
                  </a:lnTo>
                  <a:lnTo>
                    <a:pt x="174" y="990"/>
                  </a:lnTo>
                  <a:lnTo>
                    <a:pt x="147" y="988"/>
                  </a:lnTo>
                  <a:lnTo>
                    <a:pt x="121" y="986"/>
                  </a:lnTo>
                  <a:lnTo>
                    <a:pt x="117" y="984"/>
                  </a:lnTo>
                  <a:lnTo>
                    <a:pt x="115" y="981"/>
                  </a:lnTo>
                  <a:lnTo>
                    <a:pt x="107" y="979"/>
                  </a:lnTo>
                  <a:lnTo>
                    <a:pt x="101" y="977"/>
                  </a:lnTo>
                  <a:lnTo>
                    <a:pt x="98" y="975"/>
                  </a:lnTo>
                  <a:lnTo>
                    <a:pt x="96" y="971"/>
                  </a:lnTo>
                  <a:lnTo>
                    <a:pt x="94" y="969"/>
                  </a:lnTo>
                  <a:lnTo>
                    <a:pt x="92" y="967"/>
                  </a:lnTo>
                  <a:lnTo>
                    <a:pt x="88" y="963"/>
                  </a:lnTo>
                  <a:lnTo>
                    <a:pt x="86" y="961"/>
                  </a:lnTo>
                  <a:lnTo>
                    <a:pt x="78" y="960"/>
                  </a:lnTo>
                  <a:lnTo>
                    <a:pt x="71" y="958"/>
                  </a:lnTo>
                  <a:lnTo>
                    <a:pt x="69" y="954"/>
                  </a:lnTo>
                  <a:lnTo>
                    <a:pt x="67" y="952"/>
                  </a:lnTo>
                  <a:lnTo>
                    <a:pt x="50" y="950"/>
                  </a:lnTo>
                  <a:lnTo>
                    <a:pt x="32" y="948"/>
                  </a:lnTo>
                  <a:lnTo>
                    <a:pt x="30" y="944"/>
                  </a:lnTo>
                  <a:lnTo>
                    <a:pt x="28" y="942"/>
                  </a:lnTo>
                  <a:lnTo>
                    <a:pt x="27" y="935"/>
                  </a:lnTo>
                  <a:lnTo>
                    <a:pt x="23" y="929"/>
                  </a:lnTo>
                  <a:lnTo>
                    <a:pt x="21" y="925"/>
                  </a:lnTo>
                  <a:lnTo>
                    <a:pt x="19" y="923"/>
                  </a:lnTo>
                  <a:lnTo>
                    <a:pt x="17" y="921"/>
                  </a:lnTo>
                  <a:lnTo>
                    <a:pt x="13" y="919"/>
                  </a:lnTo>
                  <a:lnTo>
                    <a:pt x="11" y="915"/>
                  </a:lnTo>
                  <a:lnTo>
                    <a:pt x="9" y="913"/>
                  </a:lnTo>
                  <a:lnTo>
                    <a:pt x="5" y="912"/>
                  </a:lnTo>
                  <a:lnTo>
                    <a:pt x="3" y="908"/>
                  </a:lnTo>
                  <a:lnTo>
                    <a:pt x="2" y="906"/>
                  </a:lnTo>
                  <a:lnTo>
                    <a:pt x="0" y="904"/>
                  </a:lnTo>
                  <a:lnTo>
                    <a:pt x="2" y="902"/>
                  </a:lnTo>
                  <a:lnTo>
                    <a:pt x="3" y="898"/>
                  </a:lnTo>
                  <a:lnTo>
                    <a:pt x="11" y="896"/>
                  </a:lnTo>
                  <a:lnTo>
                    <a:pt x="19" y="894"/>
                  </a:lnTo>
                  <a:lnTo>
                    <a:pt x="21" y="892"/>
                  </a:lnTo>
                  <a:lnTo>
                    <a:pt x="23" y="890"/>
                  </a:lnTo>
                  <a:lnTo>
                    <a:pt x="30" y="887"/>
                  </a:lnTo>
                  <a:lnTo>
                    <a:pt x="38" y="885"/>
                  </a:lnTo>
                  <a:lnTo>
                    <a:pt x="40" y="883"/>
                  </a:lnTo>
                  <a:lnTo>
                    <a:pt x="42" y="879"/>
                  </a:lnTo>
                  <a:lnTo>
                    <a:pt x="44" y="850"/>
                  </a:lnTo>
                  <a:lnTo>
                    <a:pt x="46" y="819"/>
                  </a:lnTo>
                  <a:lnTo>
                    <a:pt x="46" y="789"/>
                  </a:lnTo>
                  <a:lnTo>
                    <a:pt x="48" y="758"/>
                  </a:lnTo>
                  <a:lnTo>
                    <a:pt x="50" y="756"/>
                  </a:lnTo>
                  <a:lnTo>
                    <a:pt x="53" y="754"/>
                  </a:lnTo>
                  <a:lnTo>
                    <a:pt x="55" y="752"/>
                  </a:lnTo>
                  <a:lnTo>
                    <a:pt x="57" y="748"/>
                  </a:lnTo>
                  <a:lnTo>
                    <a:pt x="59" y="747"/>
                  </a:lnTo>
                  <a:lnTo>
                    <a:pt x="63" y="745"/>
                  </a:lnTo>
                  <a:lnTo>
                    <a:pt x="65" y="743"/>
                  </a:lnTo>
                  <a:lnTo>
                    <a:pt x="67" y="739"/>
                  </a:lnTo>
                  <a:lnTo>
                    <a:pt x="69" y="737"/>
                  </a:lnTo>
                  <a:lnTo>
                    <a:pt x="71" y="735"/>
                  </a:lnTo>
                  <a:lnTo>
                    <a:pt x="74" y="727"/>
                  </a:lnTo>
                  <a:lnTo>
                    <a:pt x="76" y="720"/>
                  </a:lnTo>
                  <a:lnTo>
                    <a:pt x="78" y="718"/>
                  </a:lnTo>
                  <a:lnTo>
                    <a:pt x="82" y="716"/>
                  </a:lnTo>
                  <a:lnTo>
                    <a:pt x="84" y="710"/>
                  </a:lnTo>
                  <a:lnTo>
                    <a:pt x="86" y="700"/>
                  </a:lnTo>
                  <a:lnTo>
                    <a:pt x="84" y="691"/>
                  </a:lnTo>
                  <a:lnTo>
                    <a:pt x="82" y="687"/>
                  </a:lnTo>
                  <a:lnTo>
                    <a:pt x="78" y="683"/>
                  </a:lnTo>
                  <a:lnTo>
                    <a:pt x="76" y="681"/>
                  </a:lnTo>
                  <a:lnTo>
                    <a:pt x="74" y="674"/>
                  </a:lnTo>
                  <a:lnTo>
                    <a:pt x="71" y="668"/>
                  </a:lnTo>
                  <a:lnTo>
                    <a:pt x="69" y="664"/>
                  </a:lnTo>
                  <a:lnTo>
                    <a:pt x="67" y="662"/>
                  </a:lnTo>
                  <a:lnTo>
                    <a:pt x="67" y="643"/>
                  </a:lnTo>
                  <a:lnTo>
                    <a:pt x="67" y="624"/>
                  </a:lnTo>
                  <a:lnTo>
                    <a:pt x="69" y="622"/>
                  </a:lnTo>
                  <a:lnTo>
                    <a:pt x="71" y="618"/>
                  </a:lnTo>
                  <a:lnTo>
                    <a:pt x="74" y="616"/>
                  </a:lnTo>
                  <a:lnTo>
                    <a:pt x="76" y="614"/>
                  </a:lnTo>
                  <a:lnTo>
                    <a:pt x="78" y="610"/>
                  </a:lnTo>
                  <a:lnTo>
                    <a:pt x="82" y="608"/>
                  </a:lnTo>
                  <a:lnTo>
                    <a:pt x="84" y="606"/>
                  </a:lnTo>
                  <a:lnTo>
                    <a:pt x="86" y="605"/>
                  </a:lnTo>
                  <a:lnTo>
                    <a:pt x="88" y="601"/>
                  </a:lnTo>
                  <a:lnTo>
                    <a:pt x="92" y="599"/>
                  </a:lnTo>
                  <a:lnTo>
                    <a:pt x="113" y="597"/>
                  </a:lnTo>
                  <a:lnTo>
                    <a:pt x="134" y="595"/>
                  </a:lnTo>
                  <a:lnTo>
                    <a:pt x="138" y="593"/>
                  </a:lnTo>
                  <a:lnTo>
                    <a:pt x="140" y="589"/>
                  </a:lnTo>
                  <a:lnTo>
                    <a:pt x="142" y="587"/>
                  </a:lnTo>
                  <a:lnTo>
                    <a:pt x="144" y="585"/>
                  </a:lnTo>
                  <a:lnTo>
                    <a:pt x="147" y="582"/>
                  </a:lnTo>
                  <a:lnTo>
                    <a:pt x="149" y="580"/>
                  </a:lnTo>
                  <a:lnTo>
                    <a:pt x="151" y="578"/>
                  </a:lnTo>
                  <a:lnTo>
                    <a:pt x="153" y="576"/>
                  </a:lnTo>
                  <a:lnTo>
                    <a:pt x="157" y="572"/>
                  </a:lnTo>
                  <a:lnTo>
                    <a:pt x="159" y="570"/>
                  </a:lnTo>
                  <a:lnTo>
                    <a:pt x="161" y="572"/>
                  </a:lnTo>
                  <a:lnTo>
                    <a:pt x="163" y="576"/>
                  </a:lnTo>
                  <a:lnTo>
                    <a:pt x="167" y="578"/>
                  </a:lnTo>
                  <a:lnTo>
                    <a:pt x="168" y="580"/>
                  </a:lnTo>
                  <a:lnTo>
                    <a:pt x="170" y="582"/>
                  </a:lnTo>
                  <a:lnTo>
                    <a:pt x="174" y="585"/>
                  </a:lnTo>
                  <a:lnTo>
                    <a:pt x="176" y="597"/>
                  </a:lnTo>
                  <a:lnTo>
                    <a:pt x="178" y="608"/>
                  </a:lnTo>
                  <a:lnTo>
                    <a:pt x="180" y="610"/>
                  </a:lnTo>
                  <a:lnTo>
                    <a:pt x="184" y="614"/>
                  </a:lnTo>
                  <a:lnTo>
                    <a:pt x="186" y="616"/>
                  </a:lnTo>
                  <a:lnTo>
                    <a:pt x="193" y="618"/>
                  </a:lnTo>
                  <a:lnTo>
                    <a:pt x="199" y="616"/>
                  </a:lnTo>
                  <a:lnTo>
                    <a:pt x="203" y="614"/>
                  </a:lnTo>
                  <a:lnTo>
                    <a:pt x="205" y="610"/>
                  </a:lnTo>
                  <a:lnTo>
                    <a:pt x="207" y="608"/>
                  </a:lnTo>
                  <a:lnTo>
                    <a:pt x="211" y="593"/>
                  </a:lnTo>
                  <a:lnTo>
                    <a:pt x="215" y="578"/>
                  </a:lnTo>
                  <a:lnTo>
                    <a:pt x="218" y="562"/>
                  </a:lnTo>
                  <a:lnTo>
                    <a:pt x="222" y="547"/>
                  </a:lnTo>
                  <a:lnTo>
                    <a:pt x="224" y="543"/>
                  </a:lnTo>
                  <a:lnTo>
                    <a:pt x="226" y="541"/>
                  </a:lnTo>
                  <a:lnTo>
                    <a:pt x="228" y="534"/>
                  </a:lnTo>
                  <a:lnTo>
                    <a:pt x="232" y="526"/>
                  </a:lnTo>
                  <a:lnTo>
                    <a:pt x="234" y="524"/>
                  </a:lnTo>
                  <a:lnTo>
                    <a:pt x="236" y="522"/>
                  </a:lnTo>
                  <a:lnTo>
                    <a:pt x="238" y="520"/>
                  </a:lnTo>
                  <a:lnTo>
                    <a:pt x="241" y="516"/>
                  </a:lnTo>
                  <a:lnTo>
                    <a:pt x="243" y="514"/>
                  </a:lnTo>
                  <a:lnTo>
                    <a:pt x="245" y="512"/>
                  </a:lnTo>
                  <a:lnTo>
                    <a:pt x="247" y="505"/>
                  </a:lnTo>
                  <a:lnTo>
                    <a:pt x="251" y="497"/>
                  </a:lnTo>
                  <a:lnTo>
                    <a:pt x="253" y="495"/>
                  </a:lnTo>
                  <a:lnTo>
                    <a:pt x="255" y="493"/>
                  </a:lnTo>
                  <a:lnTo>
                    <a:pt x="259" y="491"/>
                  </a:lnTo>
                  <a:lnTo>
                    <a:pt x="261" y="488"/>
                  </a:lnTo>
                  <a:lnTo>
                    <a:pt x="261" y="476"/>
                  </a:lnTo>
                  <a:lnTo>
                    <a:pt x="261" y="455"/>
                  </a:lnTo>
                  <a:lnTo>
                    <a:pt x="268" y="455"/>
                  </a:lnTo>
                  <a:lnTo>
                    <a:pt x="274" y="455"/>
                  </a:lnTo>
                  <a:lnTo>
                    <a:pt x="276" y="457"/>
                  </a:lnTo>
                  <a:lnTo>
                    <a:pt x="280" y="459"/>
                  </a:lnTo>
                  <a:lnTo>
                    <a:pt x="282" y="461"/>
                  </a:lnTo>
                  <a:lnTo>
                    <a:pt x="286" y="464"/>
                  </a:lnTo>
                  <a:lnTo>
                    <a:pt x="287" y="466"/>
                  </a:lnTo>
                  <a:lnTo>
                    <a:pt x="289" y="468"/>
                  </a:lnTo>
                  <a:lnTo>
                    <a:pt x="297" y="470"/>
                  </a:lnTo>
                  <a:lnTo>
                    <a:pt x="303" y="474"/>
                  </a:lnTo>
                  <a:lnTo>
                    <a:pt x="307" y="476"/>
                  </a:lnTo>
                  <a:lnTo>
                    <a:pt x="309" y="478"/>
                  </a:lnTo>
                  <a:lnTo>
                    <a:pt x="316" y="480"/>
                  </a:lnTo>
                  <a:lnTo>
                    <a:pt x="324" y="484"/>
                  </a:lnTo>
                  <a:lnTo>
                    <a:pt x="326" y="486"/>
                  </a:lnTo>
                  <a:lnTo>
                    <a:pt x="328" y="488"/>
                  </a:lnTo>
                  <a:lnTo>
                    <a:pt x="337" y="488"/>
                  </a:lnTo>
                  <a:lnTo>
                    <a:pt x="347" y="488"/>
                  </a:lnTo>
                  <a:lnTo>
                    <a:pt x="349" y="486"/>
                  </a:lnTo>
                  <a:lnTo>
                    <a:pt x="353" y="484"/>
                  </a:lnTo>
                  <a:lnTo>
                    <a:pt x="355" y="470"/>
                  </a:lnTo>
                  <a:lnTo>
                    <a:pt x="357" y="459"/>
                  </a:lnTo>
                  <a:lnTo>
                    <a:pt x="358" y="457"/>
                  </a:lnTo>
                  <a:lnTo>
                    <a:pt x="362" y="455"/>
                  </a:lnTo>
                  <a:lnTo>
                    <a:pt x="364" y="451"/>
                  </a:lnTo>
                  <a:lnTo>
                    <a:pt x="366" y="449"/>
                  </a:lnTo>
                  <a:lnTo>
                    <a:pt x="370" y="447"/>
                  </a:lnTo>
                  <a:lnTo>
                    <a:pt x="372" y="445"/>
                  </a:lnTo>
                  <a:lnTo>
                    <a:pt x="372" y="436"/>
                  </a:lnTo>
                  <a:lnTo>
                    <a:pt x="372" y="426"/>
                  </a:lnTo>
                  <a:lnTo>
                    <a:pt x="370" y="422"/>
                  </a:lnTo>
                  <a:lnTo>
                    <a:pt x="366" y="420"/>
                  </a:lnTo>
                  <a:lnTo>
                    <a:pt x="364" y="418"/>
                  </a:lnTo>
                  <a:lnTo>
                    <a:pt x="362" y="415"/>
                  </a:lnTo>
                  <a:lnTo>
                    <a:pt x="358" y="413"/>
                  </a:lnTo>
                  <a:lnTo>
                    <a:pt x="357" y="411"/>
                  </a:lnTo>
                  <a:lnTo>
                    <a:pt x="349" y="409"/>
                  </a:lnTo>
                  <a:lnTo>
                    <a:pt x="343" y="405"/>
                  </a:lnTo>
                  <a:lnTo>
                    <a:pt x="339" y="403"/>
                  </a:lnTo>
                  <a:lnTo>
                    <a:pt x="337" y="401"/>
                  </a:lnTo>
                  <a:lnTo>
                    <a:pt x="339" y="399"/>
                  </a:lnTo>
                  <a:lnTo>
                    <a:pt x="343" y="395"/>
                  </a:lnTo>
                  <a:lnTo>
                    <a:pt x="345" y="388"/>
                  </a:lnTo>
                  <a:lnTo>
                    <a:pt x="347" y="382"/>
                  </a:lnTo>
                  <a:lnTo>
                    <a:pt x="349" y="378"/>
                  </a:lnTo>
                  <a:lnTo>
                    <a:pt x="353" y="376"/>
                  </a:lnTo>
                  <a:lnTo>
                    <a:pt x="355" y="374"/>
                  </a:lnTo>
                  <a:lnTo>
                    <a:pt x="357" y="372"/>
                  </a:lnTo>
                  <a:lnTo>
                    <a:pt x="358" y="369"/>
                  </a:lnTo>
                  <a:lnTo>
                    <a:pt x="362" y="367"/>
                  </a:lnTo>
                  <a:lnTo>
                    <a:pt x="364" y="365"/>
                  </a:lnTo>
                  <a:lnTo>
                    <a:pt x="366" y="357"/>
                  </a:lnTo>
                  <a:lnTo>
                    <a:pt x="364" y="351"/>
                  </a:lnTo>
                  <a:lnTo>
                    <a:pt x="362" y="347"/>
                  </a:lnTo>
                  <a:lnTo>
                    <a:pt x="358" y="346"/>
                  </a:lnTo>
                  <a:lnTo>
                    <a:pt x="357" y="344"/>
                  </a:lnTo>
                  <a:lnTo>
                    <a:pt x="339" y="340"/>
                  </a:lnTo>
                  <a:lnTo>
                    <a:pt x="324" y="338"/>
                  </a:lnTo>
                  <a:lnTo>
                    <a:pt x="320" y="336"/>
                  </a:lnTo>
                  <a:lnTo>
                    <a:pt x="318" y="334"/>
                  </a:lnTo>
                  <a:lnTo>
                    <a:pt x="316" y="321"/>
                  </a:lnTo>
                  <a:lnTo>
                    <a:pt x="314" y="309"/>
                  </a:lnTo>
                  <a:lnTo>
                    <a:pt x="310" y="307"/>
                  </a:lnTo>
                  <a:lnTo>
                    <a:pt x="309" y="305"/>
                  </a:lnTo>
                  <a:lnTo>
                    <a:pt x="310" y="290"/>
                  </a:lnTo>
                  <a:lnTo>
                    <a:pt x="314" y="275"/>
                  </a:lnTo>
                  <a:lnTo>
                    <a:pt x="316" y="261"/>
                  </a:lnTo>
                  <a:lnTo>
                    <a:pt x="318" y="246"/>
                  </a:lnTo>
                  <a:lnTo>
                    <a:pt x="320" y="244"/>
                  </a:lnTo>
                  <a:lnTo>
                    <a:pt x="324" y="242"/>
                  </a:lnTo>
                  <a:lnTo>
                    <a:pt x="326" y="238"/>
                  </a:lnTo>
                  <a:lnTo>
                    <a:pt x="328" y="236"/>
                  </a:lnTo>
                  <a:lnTo>
                    <a:pt x="330" y="234"/>
                  </a:lnTo>
                  <a:lnTo>
                    <a:pt x="333" y="232"/>
                  </a:lnTo>
                  <a:lnTo>
                    <a:pt x="335" y="225"/>
                  </a:lnTo>
                  <a:lnTo>
                    <a:pt x="337" y="217"/>
                  </a:lnTo>
                  <a:lnTo>
                    <a:pt x="339" y="215"/>
                  </a:lnTo>
                  <a:lnTo>
                    <a:pt x="343" y="213"/>
                  </a:lnTo>
                  <a:lnTo>
                    <a:pt x="345" y="209"/>
                  </a:lnTo>
                  <a:lnTo>
                    <a:pt x="347" y="207"/>
                  </a:lnTo>
                  <a:lnTo>
                    <a:pt x="349" y="205"/>
                  </a:lnTo>
                  <a:lnTo>
                    <a:pt x="353" y="204"/>
                  </a:lnTo>
                  <a:lnTo>
                    <a:pt x="355" y="190"/>
                  </a:lnTo>
                  <a:lnTo>
                    <a:pt x="357" y="163"/>
                  </a:lnTo>
                  <a:lnTo>
                    <a:pt x="355" y="138"/>
                  </a:lnTo>
                  <a:lnTo>
                    <a:pt x="353" y="125"/>
                  </a:lnTo>
                  <a:lnTo>
                    <a:pt x="349" y="123"/>
                  </a:lnTo>
                  <a:lnTo>
                    <a:pt x="347" y="121"/>
                  </a:lnTo>
                  <a:lnTo>
                    <a:pt x="345" y="113"/>
                  </a:lnTo>
                  <a:lnTo>
                    <a:pt x="343" y="106"/>
                  </a:lnTo>
                  <a:lnTo>
                    <a:pt x="339" y="104"/>
                  </a:lnTo>
                  <a:lnTo>
                    <a:pt x="337" y="102"/>
                  </a:lnTo>
                  <a:lnTo>
                    <a:pt x="337" y="86"/>
                  </a:lnTo>
                  <a:lnTo>
                    <a:pt x="337" y="73"/>
                  </a:lnTo>
                  <a:lnTo>
                    <a:pt x="339" y="69"/>
                  </a:lnTo>
                  <a:lnTo>
                    <a:pt x="343" y="67"/>
                  </a:lnTo>
                  <a:lnTo>
                    <a:pt x="343" y="62"/>
                  </a:lnTo>
                  <a:lnTo>
                    <a:pt x="343" y="58"/>
                  </a:lnTo>
                  <a:lnTo>
                    <a:pt x="339" y="56"/>
                  </a:lnTo>
                  <a:lnTo>
                    <a:pt x="337" y="52"/>
                  </a:lnTo>
                  <a:lnTo>
                    <a:pt x="341" y="39"/>
                  </a:lnTo>
                  <a:lnTo>
                    <a:pt x="343" y="29"/>
                  </a:lnTo>
                  <a:lnTo>
                    <a:pt x="349" y="23"/>
                  </a:lnTo>
                  <a:lnTo>
                    <a:pt x="357" y="14"/>
                  </a:lnTo>
                  <a:lnTo>
                    <a:pt x="358" y="12"/>
                  </a:lnTo>
                  <a:lnTo>
                    <a:pt x="362" y="10"/>
                  </a:lnTo>
                  <a:lnTo>
                    <a:pt x="368" y="6"/>
                  </a:lnTo>
                  <a:lnTo>
                    <a:pt x="376" y="4"/>
                  </a:lnTo>
                  <a:lnTo>
                    <a:pt x="380" y="2"/>
                  </a:lnTo>
                  <a:lnTo>
                    <a:pt x="381" y="0"/>
                  </a:lnTo>
                  <a:lnTo>
                    <a:pt x="385" y="0"/>
                  </a:lnTo>
                  <a:lnTo>
                    <a:pt x="391" y="0"/>
                  </a:lnTo>
                  <a:lnTo>
                    <a:pt x="393" y="2"/>
                  </a:lnTo>
                  <a:lnTo>
                    <a:pt x="395" y="4"/>
                  </a:lnTo>
                  <a:lnTo>
                    <a:pt x="393" y="6"/>
                  </a:lnTo>
                  <a:lnTo>
                    <a:pt x="391" y="10"/>
                  </a:lnTo>
                  <a:lnTo>
                    <a:pt x="389" y="12"/>
                  </a:lnTo>
                  <a:lnTo>
                    <a:pt x="387" y="19"/>
                  </a:lnTo>
                  <a:lnTo>
                    <a:pt x="389" y="25"/>
                  </a:lnTo>
                  <a:lnTo>
                    <a:pt x="391" y="29"/>
                  </a:lnTo>
                  <a:lnTo>
                    <a:pt x="393" y="31"/>
                  </a:lnTo>
                  <a:lnTo>
                    <a:pt x="395" y="33"/>
                  </a:lnTo>
                  <a:lnTo>
                    <a:pt x="408" y="37"/>
                  </a:lnTo>
                  <a:lnTo>
                    <a:pt x="420" y="39"/>
                  </a:lnTo>
                  <a:lnTo>
                    <a:pt x="422" y="40"/>
                  </a:lnTo>
                  <a:lnTo>
                    <a:pt x="424" y="42"/>
                  </a:lnTo>
                  <a:lnTo>
                    <a:pt x="428" y="46"/>
                  </a:lnTo>
                  <a:lnTo>
                    <a:pt x="429" y="48"/>
                  </a:lnTo>
                  <a:lnTo>
                    <a:pt x="431" y="50"/>
                  </a:lnTo>
                  <a:lnTo>
                    <a:pt x="435" y="52"/>
                  </a:lnTo>
                  <a:lnTo>
                    <a:pt x="437" y="60"/>
                  </a:lnTo>
                  <a:lnTo>
                    <a:pt x="439" y="67"/>
                  </a:lnTo>
                  <a:lnTo>
                    <a:pt x="441" y="69"/>
                  </a:lnTo>
                  <a:lnTo>
                    <a:pt x="445" y="73"/>
                  </a:lnTo>
                  <a:lnTo>
                    <a:pt x="447" y="85"/>
                  </a:lnTo>
                  <a:lnTo>
                    <a:pt x="449" y="96"/>
                  </a:lnTo>
                  <a:lnTo>
                    <a:pt x="451" y="98"/>
                  </a:lnTo>
                  <a:lnTo>
                    <a:pt x="454" y="102"/>
                  </a:lnTo>
                  <a:lnTo>
                    <a:pt x="456" y="108"/>
                  </a:lnTo>
                  <a:lnTo>
                    <a:pt x="458" y="115"/>
                  </a:lnTo>
                  <a:lnTo>
                    <a:pt x="460" y="117"/>
                  </a:lnTo>
                  <a:lnTo>
                    <a:pt x="464" y="121"/>
                  </a:lnTo>
                  <a:lnTo>
                    <a:pt x="470" y="123"/>
                  </a:lnTo>
                  <a:lnTo>
                    <a:pt x="477" y="125"/>
                  </a:lnTo>
                  <a:lnTo>
                    <a:pt x="479" y="129"/>
                  </a:lnTo>
                  <a:lnTo>
                    <a:pt x="483" y="131"/>
                  </a:lnTo>
                  <a:lnTo>
                    <a:pt x="485" y="157"/>
                  </a:lnTo>
                  <a:lnTo>
                    <a:pt x="487" y="184"/>
                  </a:lnTo>
                  <a:lnTo>
                    <a:pt x="491" y="186"/>
                  </a:lnTo>
                  <a:lnTo>
                    <a:pt x="493" y="188"/>
                  </a:lnTo>
                  <a:lnTo>
                    <a:pt x="495" y="190"/>
                  </a:lnTo>
                  <a:lnTo>
                    <a:pt x="497" y="194"/>
                  </a:lnTo>
                  <a:lnTo>
                    <a:pt x="500" y="196"/>
                  </a:lnTo>
                  <a:lnTo>
                    <a:pt x="502" y="198"/>
                  </a:lnTo>
                  <a:lnTo>
                    <a:pt x="504" y="200"/>
                  </a:lnTo>
                  <a:lnTo>
                    <a:pt x="506" y="204"/>
                  </a:lnTo>
                  <a:lnTo>
                    <a:pt x="508" y="205"/>
                  </a:lnTo>
                  <a:lnTo>
                    <a:pt x="512" y="207"/>
                  </a:lnTo>
                  <a:lnTo>
                    <a:pt x="520" y="209"/>
                  </a:lnTo>
                  <a:lnTo>
                    <a:pt x="527" y="213"/>
                  </a:lnTo>
                  <a:lnTo>
                    <a:pt x="529" y="215"/>
                  </a:lnTo>
                  <a:lnTo>
                    <a:pt x="531" y="217"/>
                  </a:lnTo>
                  <a:lnTo>
                    <a:pt x="531" y="232"/>
                  </a:lnTo>
                  <a:lnTo>
                    <a:pt x="531" y="246"/>
                  </a:lnTo>
                  <a:lnTo>
                    <a:pt x="529" y="248"/>
                  </a:lnTo>
                  <a:lnTo>
                    <a:pt x="527" y="252"/>
                  </a:lnTo>
                  <a:lnTo>
                    <a:pt x="523" y="273"/>
                  </a:lnTo>
                  <a:lnTo>
                    <a:pt x="523" y="319"/>
                  </a:lnTo>
                  <a:lnTo>
                    <a:pt x="523" y="365"/>
                  </a:lnTo>
                  <a:lnTo>
                    <a:pt x="527" y="386"/>
                  </a:lnTo>
                  <a:lnTo>
                    <a:pt x="529" y="390"/>
                  </a:lnTo>
                  <a:lnTo>
                    <a:pt x="531" y="392"/>
                  </a:lnTo>
                  <a:lnTo>
                    <a:pt x="533" y="393"/>
                  </a:lnTo>
                  <a:lnTo>
                    <a:pt x="535" y="395"/>
                  </a:lnTo>
                  <a:lnTo>
                    <a:pt x="539" y="399"/>
                  </a:lnTo>
                  <a:lnTo>
                    <a:pt x="541" y="401"/>
                  </a:lnTo>
                  <a:lnTo>
                    <a:pt x="550" y="401"/>
                  </a:lnTo>
                  <a:lnTo>
                    <a:pt x="560" y="401"/>
                  </a:lnTo>
                  <a:lnTo>
                    <a:pt x="562" y="399"/>
                  </a:lnTo>
                  <a:lnTo>
                    <a:pt x="566" y="395"/>
                  </a:lnTo>
                  <a:lnTo>
                    <a:pt x="571" y="393"/>
                  </a:lnTo>
                  <a:lnTo>
                    <a:pt x="579" y="392"/>
                  </a:lnTo>
                  <a:lnTo>
                    <a:pt x="581" y="390"/>
                  </a:lnTo>
                  <a:lnTo>
                    <a:pt x="585" y="386"/>
                  </a:lnTo>
                  <a:lnTo>
                    <a:pt x="587" y="384"/>
                  </a:lnTo>
                  <a:lnTo>
                    <a:pt x="589" y="382"/>
                  </a:lnTo>
                  <a:lnTo>
                    <a:pt x="591" y="378"/>
                  </a:lnTo>
                  <a:lnTo>
                    <a:pt x="594" y="376"/>
                  </a:lnTo>
                  <a:lnTo>
                    <a:pt x="596" y="374"/>
                  </a:lnTo>
                  <a:lnTo>
                    <a:pt x="598" y="372"/>
                  </a:lnTo>
                  <a:lnTo>
                    <a:pt x="602" y="369"/>
                  </a:lnTo>
                  <a:lnTo>
                    <a:pt x="604" y="367"/>
                  </a:lnTo>
                  <a:lnTo>
                    <a:pt x="606" y="365"/>
                  </a:lnTo>
                  <a:lnTo>
                    <a:pt x="608" y="363"/>
                  </a:lnTo>
                  <a:lnTo>
                    <a:pt x="612" y="361"/>
                  </a:lnTo>
                  <a:lnTo>
                    <a:pt x="614" y="357"/>
                  </a:lnTo>
                  <a:lnTo>
                    <a:pt x="616" y="355"/>
                  </a:lnTo>
                  <a:lnTo>
                    <a:pt x="617" y="353"/>
                  </a:lnTo>
                  <a:lnTo>
                    <a:pt x="621" y="349"/>
                  </a:lnTo>
                  <a:lnTo>
                    <a:pt x="623" y="347"/>
                  </a:lnTo>
                  <a:lnTo>
                    <a:pt x="631" y="346"/>
                  </a:lnTo>
                  <a:lnTo>
                    <a:pt x="639" y="344"/>
                  </a:lnTo>
                  <a:lnTo>
                    <a:pt x="640" y="340"/>
                  </a:lnTo>
                  <a:lnTo>
                    <a:pt x="642" y="338"/>
                  </a:lnTo>
                  <a:lnTo>
                    <a:pt x="644" y="340"/>
                  </a:lnTo>
                  <a:lnTo>
                    <a:pt x="646" y="344"/>
                  </a:lnTo>
                  <a:lnTo>
                    <a:pt x="650" y="346"/>
                  </a:lnTo>
                  <a:lnTo>
                    <a:pt x="652" y="347"/>
                  </a:lnTo>
                  <a:lnTo>
                    <a:pt x="654" y="349"/>
                  </a:lnTo>
                  <a:lnTo>
                    <a:pt x="656" y="353"/>
                  </a:lnTo>
                  <a:lnTo>
                    <a:pt x="665" y="353"/>
                  </a:lnTo>
                  <a:lnTo>
                    <a:pt x="677" y="353"/>
                  </a:lnTo>
                  <a:lnTo>
                    <a:pt x="679" y="349"/>
                  </a:lnTo>
                  <a:lnTo>
                    <a:pt x="681" y="347"/>
                  </a:lnTo>
                  <a:lnTo>
                    <a:pt x="683" y="346"/>
                  </a:lnTo>
                  <a:lnTo>
                    <a:pt x="687" y="344"/>
                  </a:lnTo>
                  <a:lnTo>
                    <a:pt x="688" y="340"/>
                  </a:lnTo>
                  <a:lnTo>
                    <a:pt x="690" y="338"/>
                  </a:lnTo>
                  <a:lnTo>
                    <a:pt x="692" y="330"/>
                  </a:lnTo>
                  <a:lnTo>
                    <a:pt x="696" y="322"/>
                  </a:lnTo>
                  <a:lnTo>
                    <a:pt x="698" y="321"/>
                  </a:lnTo>
                  <a:lnTo>
                    <a:pt x="700" y="319"/>
                  </a:lnTo>
                  <a:lnTo>
                    <a:pt x="702" y="311"/>
                  </a:lnTo>
                  <a:lnTo>
                    <a:pt x="706" y="305"/>
                  </a:lnTo>
                  <a:lnTo>
                    <a:pt x="708" y="301"/>
                  </a:lnTo>
                  <a:lnTo>
                    <a:pt x="710" y="299"/>
                  </a:lnTo>
                  <a:lnTo>
                    <a:pt x="711" y="292"/>
                  </a:lnTo>
                  <a:lnTo>
                    <a:pt x="715" y="284"/>
                  </a:lnTo>
                  <a:lnTo>
                    <a:pt x="717" y="282"/>
                  </a:lnTo>
                  <a:lnTo>
                    <a:pt x="719" y="280"/>
                  </a:lnTo>
                  <a:lnTo>
                    <a:pt x="723" y="257"/>
                  </a:lnTo>
                  <a:lnTo>
                    <a:pt x="725" y="236"/>
                  </a:lnTo>
                  <a:lnTo>
                    <a:pt x="727" y="234"/>
                  </a:lnTo>
                  <a:lnTo>
                    <a:pt x="729" y="232"/>
                  </a:lnTo>
                  <a:lnTo>
                    <a:pt x="733" y="219"/>
                  </a:lnTo>
                  <a:lnTo>
                    <a:pt x="734" y="207"/>
                  </a:lnTo>
                  <a:lnTo>
                    <a:pt x="736" y="205"/>
                  </a:lnTo>
                  <a:lnTo>
                    <a:pt x="738" y="204"/>
                  </a:lnTo>
                  <a:lnTo>
                    <a:pt x="752" y="200"/>
                  </a:lnTo>
                  <a:lnTo>
                    <a:pt x="763" y="198"/>
                  </a:lnTo>
                  <a:lnTo>
                    <a:pt x="765" y="196"/>
                  </a:lnTo>
                  <a:lnTo>
                    <a:pt x="767" y="194"/>
                  </a:lnTo>
                  <a:lnTo>
                    <a:pt x="773" y="194"/>
                  </a:lnTo>
                  <a:lnTo>
                    <a:pt x="777" y="194"/>
                  </a:lnTo>
                  <a:lnTo>
                    <a:pt x="781" y="196"/>
                  </a:lnTo>
                  <a:lnTo>
                    <a:pt x="782" y="198"/>
                  </a:lnTo>
                  <a:lnTo>
                    <a:pt x="790" y="200"/>
                  </a:lnTo>
                  <a:lnTo>
                    <a:pt x="798" y="204"/>
                  </a:lnTo>
                  <a:lnTo>
                    <a:pt x="800" y="205"/>
                  </a:lnTo>
                  <a:lnTo>
                    <a:pt x="802" y="207"/>
                  </a:lnTo>
                  <a:lnTo>
                    <a:pt x="804" y="209"/>
                  </a:lnTo>
                  <a:lnTo>
                    <a:pt x="807" y="213"/>
                  </a:lnTo>
                  <a:lnTo>
                    <a:pt x="809" y="215"/>
                  </a:lnTo>
                  <a:lnTo>
                    <a:pt x="811" y="217"/>
                  </a:lnTo>
                  <a:lnTo>
                    <a:pt x="813" y="219"/>
                  </a:lnTo>
                  <a:lnTo>
                    <a:pt x="817" y="223"/>
                  </a:lnTo>
                  <a:lnTo>
                    <a:pt x="819" y="225"/>
                  </a:lnTo>
                  <a:lnTo>
                    <a:pt x="821" y="227"/>
                  </a:lnTo>
                  <a:lnTo>
                    <a:pt x="823" y="234"/>
                  </a:lnTo>
                  <a:lnTo>
                    <a:pt x="827" y="242"/>
                  </a:lnTo>
                  <a:lnTo>
                    <a:pt x="829" y="244"/>
                  </a:lnTo>
                  <a:lnTo>
                    <a:pt x="830" y="246"/>
                  </a:lnTo>
                  <a:lnTo>
                    <a:pt x="832" y="248"/>
                  </a:lnTo>
                  <a:lnTo>
                    <a:pt x="836" y="252"/>
                  </a:lnTo>
                  <a:lnTo>
                    <a:pt x="838" y="253"/>
                  </a:lnTo>
                  <a:lnTo>
                    <a:pt x="840" y="255"/>
                  </a:lnTo>
                  <a:lnTo>
                    <a:pt x="850" y="255"/>
                  </a:lnTo>
                  <a:lnTo>
                    <a:pt x="859" y="255"/>
                  </a:lnTo>
                  <a:lnTo>
                    <a:pt x="861" y="253"/>
                  </a:lnTo>
                  <a:lnTo>
                    <a:pt x="865" y="252"/>
                  </a:lnTo>
                  <a:lnTo>
                    <a:pt x="867" y="248"/>
                  </a:lnTo>
                  <a:lnTo>
                    <a:pt x="871" y="246"/>
                  </a:lnTo>
                  <a:lnTo>
                    <a:pt x="873" y="244"/>
                  </a:lnTo>
                  <a:lnTo>
                    <a:pt x="875" y="242"/>
                  </a:lnTo>
                  <a:lnTo>
                    <a:pt x="876" y="238"/>
                  </a:lnTo>
                  <a:lnTo>
                    <a:pt x="878" y="236"/>
                  </a:lnTo>
                  <a:lnTo>
                    <a:pt x="882" y="234"/>
                  </a:lnTo>
                  <a:lnTo>
                    <a:pt x="884" y="232"/>
                  </a:lnTo>
                  <a:lnTo>
                    <a:pt x="886" y="234"/>
                  </a:lnTo>
                  <a:lnTo>
                    <a:pt x="888" y="236"/>
                  </a:lnTo>
                  <a:lnTo>
                    <a:pt x="892" y="248"/>
                  </a:lnTo>
                  <a:lnTo>
                    <a:pt x="894" y="261"/>
                  </a:lnTo>
                  <a:lnTo>
                    <a:pt x="896" y="263"/>
                  </a:lnTo>
                  <a:lnTo>
                    <a:pt x="899" y="265"/>
                  </a:lnTo>
                  <a:lnTo>
                    <a:pt x="901" y="269"/>
                  </a:lnTo>
                  <a:lnTo>
                    <a:pt x="903" y="271"/>
                  </a:lnTo>
                  <a:lnTo>
                    <a:pt x="905" y="273"/>
                  </a:lnTo>
                  <a:lnTo>
                    <a:pt x="909" y="275"/>
                  </a:lnTo>
                  <a:lnTo>
                    <a:pt x="911" y="278"/>
                  </a:lnTo>
                  <a:lnTo>
                    <a:pt x="913" y="280"/>
                  </a:lnTo>
                  <a:lnTo>
                    <a:pt x="915" y="282"/>
                  </a:lnTo>
                  <a:lnTo>
                    <a:pt x="919" y="284"/>
                  </a:lnTo>
                  <a:lnTo>
                    <a:pt x="921" y="288"/>
                  </a:lnTo>
                  <a:lnTo>
                    <a:pt x="923" y="290"/>
                  </a:lnTo>
                  <a:lnTo>
                    <a:pt x="924" y="292"/>
                  </a:lnTo>
                  <a:lnTo>
                    <a:pt x="928" y="294"/>
                  </a:lnTo>
                  <a:lnTo>
                    <a:pt x="928" y="301"/>
                  </a:lnTo>
                  <a:lnTo>
                    <a:pt x="928" y="309"/>
                  </a:lnTo>
                  <a:lnTo>
                    <a:pt x="934" y="309"/>
                  </a:lnTo>
                  <a:lnTo>
                    <a:pt x="942" y="309"/>
                  </a:lnTo>
                  <a:lnTo>
                    <a:pt x="944" y="311"/>
                  </a:lnTo>
                  <a:lnTo>
                    <a:pt x="947" y="315"/>
                  </a:lnTo>
                  <a:lnTo>
                    <a:pt x="944" y="317"/>
                  </a:lnTo>
                  <a:lnTo>
                    <a:pt x="942" y="319"/>
                  </a:lnTo>
                  <a:lnTo>
                    <a:pt x="921" y="321"/>
                  </a:lnTo>
                  <a:lnTo>
                    <a:pt x="899" y="322"/>
                  </a:lnTo>
                  <a:lnTo>
                    <a:pt x="896" y="326"/>
                  </a:lnTo>
                  <a:lnTo>
                    <a:pt x="894" y="328"/>
                  </a:lnTo>
                  <a:lnTo>
                    <a:pt x="892" y="340"/>
                  </a:lnTo>
                  <a:lnTo>
                    <a:pt x="890" y="363"/>
                  </a:lnTo>
                  <a:lnTo>
                    <a:pt x="892" y="386"/>
                  </a:lnTo>
                  <a:lnTo>
                    <a:pt x="894" y="395"/>
                  </a:lnTo>
                  <a:lnTo>
                    <a:pt x="896" y="399"/>
                  </a:lnTo>
                  <a:lnTo>
                    <a:pt x="899" y="401"/>
                  </a:lnTo>
                  <a:lnTo>
                    <a:pt x="899" y="409"/>
                  </a:lnTo>
                  <a:lnTo>
                    <a:pt x="899" y="415"/>
                  </a:lnTo>
                  <a:lnTo>
                    <a:pt x="905" y="415"/>
                  </a:lnTo>
                  <a:lnTo>
                    <a:pt x="913" y="415"/>
                  </a:lnTo>
                  <a:lnTo>
                    <a:pt x="915" y="418"/>
                  </a:lnTo>
                  <a:lnTo>
                    <a:pt x="919" y="420"/>
                  </a:lnTo>
                  <a:lnTo>
                    <a:pt x="921" y="428"/>
                  </a:lnTo>
                  <a:lnTo>
                    <a:pt x="923" y="436"/>
                  </a:lnTo>
                  <a:lnTo>
                    <a:pt x="924" y="438"/>
                  </a:lnTo>
                  <a:lnTo>
                    <a:pt x="928" y="440"/>
                  </a:lnTo>
                  <a:lnTo>
                    <a:pt x="928" y="445"/>
                  </a:lnTo>
                  <a:lnTo>
                    <a:pt x="928" y="449"/>
                  </a:lnTo>
                  <a:lnTo>
                    <a:pt x="924" y="451"/>
                  </a:lnTo>
                  <a:lnTo>
                    <a:pt x="923" y="455"/>
                  </a:lnTo>
                  <a:lnTo>
                    <a:pt x="921" y="457"/>
                  </a:lnTo>
                  <a:lnTo>
                    <a:pt x="919" y="459"/>
                  </a:lnTo>
                  <a:lnTo>
                    <a:pt x="915" y="461"/>
                  </a:lnTo>
                  <a:lnTo>
                    <a:pt x="913" y="464"/>
                  </a:lnTo>
                  <a:lnTo>
                    <a:pt x="911" y="466"/>
                  </a:lnTo>
                  <a:lnTo>
                    <a:pt x="909" y="468"/>
                  </a:lnTo>
                  <a:lnTo>
                    <a:pt x="905" y="470"/>
                  </a:lnTo>
                  <a:lnTo>
                    <a:pt x="903" y="474"/>
                  </a:lnTo>
                  <a:lnTo>
                    <a:pt x="901" y="476"/>
                  </a:lnTo>
                  <a:lnTo>
                    <a:pt x="899" y="478"/>
                  </a:lnTo>
                  <a:lnTo>
                    <a:pt x="896" y="480"/>
                  </a:lnTo>
                  <a:lnTo>
                    <a:pt x="894" y="484"/>
                  </a:lnTo>
                  <a:lnTo>
                    <a:pt x="884" y="484"/>
                  </a:lnTo>
                  <a:lnTo>
                    <a:pt x="875" y="484"/>
                  </a:lnTo>
                  <a:lnTo>
                    <a:pt x="873" y="480"/>
                  </a:lnTo>
                  <a:lnTo>
                    <a:pt x="871" y="478"/>
                  </a:lnTo>
                  <a:lnTo>
                    <a:pt x="871" y="466"/>
                  </a:lnTo>
                  <a:lnTo>
                    <a:pt x="871" y="455"/>
                  </a:lnTo>
                  <a:lnTo>
                    <a:pt x="853" y="455"/>
                  </a:lnTo>
                  <a:lnTo>
                    <a:pt x="844" y="455"/>
                  </a:lnTo>
                  <a:lnTo>
                    <a:pt x="840" y="457"/>
                  </a:lnTo>
                  <a:lnTo>
                    <a:pt x="840" y="459"/>
                  </a:lnTo>
                  <a:lnTo>
                    <a:pt x="838" y="461"/>
                  </a:lnTo>
                  <a:lnTo>
                    <a:pt x="836" y="464"/>
                  </a:lnTo>
                  <a:lnTo>
                    <a:pt x="832" y="466"/>
                  </a:lnTo>
                  <a:lnTo>
                    <a:pt x="830" y="468"/>
                  </a:lnTo>
                  <a:lnTo>
                    <a:pt x="829" y="470"/>
                  </a:lnTo>
                  <a:lnTo>
                    <a:pt x="827" y="474"/>
                  </a:lnTo>
                  <a:lnTo>
                    <a:pt x="823" y="480"/>
                  </a:lnTo>
                  <a:lnTo>
                    <a:pt x="821" y="488"/>
                  </a:lnTo>
                  <a:lnTo>
                    <a:pt x="819" y="489"/>
                  </a:lnTo>
                  <a:lnTo>
                    <a:pt x="817" y="493"/>
                  </a:lnTo>
                  <a:lnTo>
                    <a:pt x="813" y="495"/>
                  </a:lnTo>
                  <a:lnTo>
                    <a:pt x="811" y="497"/>
                  </a:lnTo>
                  <a:lnTo>
                    <a:pt x="809" y="501"/>
                  </a:lnTo>
                  <a:lnTo>
                    <a:pt x="807" y="503"/>
                  </a:lnTo>
                  <a:lnTo>
                    <a:pt x="804" y="509"/>
                  </a:lnTo>
                  <a:lnTo>
                    <a:pt x="802" y="516"/>
                  </a:lnTo>
                  <a:lnTo>
                    <a:pt x="800" y="520"/>
                  </a:lnTo>
                  <a:lnTo>
                    <a:pt x="798" y="522"/>
                  </a:lnTo>
                  <a:lnTo>
                    <a:pt x="794" y="530"/>
                  </a:lnTo>
                  <a:lnTo>
                    <a:pt x="792" y="537"/>
                  </a:lnTo>
                  <a:lnTo>
                    <a:pt x="790" y="539"/>
                  </a:lnTo>
                  <a:lnTo>
                    <a:pt x="788" y="541"/>
                  </a:lnTo>
                  <a:lnTo>
                    <a:pt x="782" y="541"/>
                  </a:lnTo>
                  <a:lnTo>
                    <a:pt x="777" y="541"/>
                  </a:lnTo>
                  <a:lnTo>
                    <a:pt x="775" y="539"/>
                  </a:lnTo>
                  <a:lnTo>
                    <a:pt x="773" y="537"/>
                  </a:lnTo>
                  <a:lnTo>
                    <a:pt x="756" y="534"/>
                  </a:lnTo>
                  <a:lnTo>
                    <a:pt x="738" y="532"/>
                  </a:lnTo>
                  <a:lnTo>
                    <a:pt x="736" y="530"/>
                  </a:lnTo>
                  <a:lnTo>
                    <a:pt x="734" y="526"/>
                  </a:lnTo>
                  <a:lnTo>
                    <a:pt x="729" y="526"/>
                  </a:lnTo>
                  <a:lnTo>
                    <a:pt x="725" y="526"/>
                  </a:lnTo>
                  <a:lnTo>
                    <a:pt x="723" y="530"/>
                  </a:lnTo>
                  <a:lnTo>
                    <a:pt x="719" y="532"/>
                  </a:lnTo>
                  <a:lnTo>
                    <a:pt x="717" y="534"/>
                  </a:lnTo>
                  <a:lnTo>
                    <a:pt x="715" y="537"/>
                  </a:lnTo>
                  <a:lnTo>
                    <a:pt x="711" y="539"/>
                  </a:lnTo>
                  <a:lnTo>
                    <a:pt x="710" y="541"/>
                  </a:lnTo>
                  <a:lnTo>
                    <a:pt x="700" y="541"/>
                  </a:lnTo>
                  <a:lnTo>
                    <a:pt x="690" y="541"/>
                  </a:lnTo>
                  <a:lnTo>
                    <a:pt x="688" y="539"/>
                  </a:lnTo>
                  <a:lnTo>
                    <a:pt x="687" y="537"/>
                  </a:lnTo>
                  <a:lnTo>
                    <a:pt x="687" y="534"/>
                  </a:lnTo>
                  <a:lnTo>
                    <a:pt x="683" y="532"/>
                  </a:lnTo>
                  <a:lnTo>
                    <a:pt x="677" y="532"/>
                  </a:lnTo>
                  <a:lnTo>
                    <a:pt x="667" y="532"/>
                  </a:lnTo>
                  <a:lnTo>
                    <a:pt x="667" y="539"/>
                  </a:lnTo>
                  <a:lnTo>
                    <a:pt x="667" y="547"/>
                  </a:lnTo>
                  <a:lnTo>
                    <a:pt x="664" y="549"/>
                  </a:lnTo>
                  <a:lnTo>
                    <a:pt x="662" y="551"/>
                  </a:lnTo>
                  <a:lnTo>
                    <a:pt x="635" y="553"/>
                  </a:lnTo>
                  <a:lnTo>
                    <a:pt x="608" y="555"/>
                  </a:lnTo>
                  <a:lnTo>
                    <a:pt x="606" y="559"/>
                  </a:lnTo>
                  <a:lnTo>
                    <a:pt x="604" y="560"/>
                  </a:lnTo>
                  <a:lnTo>
                    <a:pt x="602" y="572"/>
                  </a:lnTo>
                  <a:lnTo>
                    <a:pt x="598" y="585"/>
                  </a:lnTo>
                  <a:lnTo>
                    <a:pt x="596" y="587"/>
                  </a:lnTo>
                  <a:lnTo>
                    <a:pt x="594" y="589"/>
                  </a:lnTo>
                  <a:lnTo>
                    <a:pt x="587" y="593"/>
                  </a:lnTo>
                  <a:lnTo>
                    <a:pt x="579" y="595"/>
                  </a:lnTo>
                  <a:lnTo>
                    <a:pt x="577" y="597"/>
                  </a:lnTo>
                  <a:lnTo>
                    <a:pt x="575" y="599"/>
                  </a:lnTo>
                  <a:lnTo>
                    <a:pt x="571" y="601"/>
                  </a:lnTo>
                  <a:lnTo>
                    <a:pt x="569" y="605"/>
                  </a:lnTo>
                  <a:lnTo>
                    <a:pt x="568" y="606"/>
                  </a:lnTo>
                  <a:lnTo>
                    <a:pt x="566" y="608"/>
                  </a:lnTo>
                  <a:lnTo>
                    <a:pt x="562" y="612"/>
                  </a:lnTo>
                  <a:lnTo>
                    <a:pt x="562" y="618"/>
                  </a:lnTo>
                  <a:lnTo>
                    <a:pt x="562" y="626"/>
                  </a:lnTo>
                  <a:lnTo>
                    <a:pt x="566" y="628"/>
                  </a:lnTo>
                  <a:lnTo>
                    <a:pt x="568" y="631"/>
                  </a:lnTo>
                  <a:lnTo>
                    <a:pt x="569" y="633"/>
                  </a:lnTo>
                  <a:lnTo>
                    <a:pt x="571" y="641"/>
                  </a:lnTo>
                  <a:lnTo>
                    <a:pt x="575" y="647"/>
                  </a:lnTo>
                  <a:lnTo>
                    <a:pt x="577" y="651"/>
                  </a:lnTo>
                  <a:lnTo>
                    <a:pt x="579" y="653"/>
                  </a:lnTo>
                  <a:lnTo>
                    <a:pt x="585" y="656"/>
                  </a:lnTo>
                  <a:lnTo>
                    <a:pt x="589" y="662"/>
                  </a:lnTo>
                  <a:lnTo>
                    <a:pt x="587" y="664"/>
                  </a:lnTo>
                  <a:lnTo>
                    <a:pt x="585" y="668"/>
                  </a:lnTo>
                  <a:lnTo>
                    <a:pt x="585" y="691"/>
                  </a:lnTo>
                  <a:lnTo>
                    <a:pt x="585" y="716"/>
                  </a:lnTo>
                  <a:lnTo>
                    <a:pt x="587" y="718"/>
                  </a:lnTo>
                  <a:lnTo>
                    <a:pt x="589" y="720"/>
                  </a:lnTo>
                  <a:lnTo>
                    <a:pt x="594" y="722"/>
                  </a:lnTo>
                  <a:lnTo>
                    <a:pt x="598" y="725"/>
                  </a:lnTo>
                  <a:lnTo>
                    <a:pt x="598" y="750"/>
                  </a:lnTo>
                  <a:lnTo>
                    <a:pt x="598" y="777"/>
                  </a:lnTo>
                  <a:lnTo>
                    <a:pt x="598" y="804"/>
                  </a:lnTo>
                  <a:lnTo>
                    <a:pt x="598" y="831"/>
                  </a:lnTo>
                  <a:lnTo>
                    <a:pt x="594" y="837"/>
                  </a:lnTo>
                  <a:lnTo>
                    <a:pt x="589" y="841"/>
                  </a:lnTo>
                  <a:lnTo>
                    <a:pt x="585" y="846"/>
                  </a:lnTo>
                  <a:lnTo>
                    <a:pt x="579" y="850"/>
                  </a:lnTo>
                  <a:lnTo>
                    <a:pt x="575" y="869"/>
                  </a:lnTo>
                  <a:lnTo>
                    <a:pt x="569" y="890"/>
                  </a:lnTo>
                  <a:lnTo>
                    <a:pt x="564" y="894"/>
                  </a:lnTo>
                  <a:lnTo>
                    <a:pt x="560" y="898"/>
                  </a:lnTo>
                  <a:lnTo>
                    <a:pt x="554" y="904"/>
                  </a:lnTo>
                  <a:lnTo>
                    <a:pt x="550" y="908"/>
                  </a:lnTo>
                  <a:lnTo>
                    <a:pt x="546" y="927"/>
                  </a:lnTo>
                  <a:lnTo>
                    <a:pt x="541" y="948"/>
                  </a:lnTo>
                  <a:lnTo>
                    <a:pt x="535" y="952"/>
                  </a:lnTo>
                  <a:lnTo>
                    <a:pt x="531" y="958"/>
                  </a:lnTo>
                  <a:lnTo>
                    <a:pt x="525" y="961"/>
                  </a:lnTo>
                  <a:lnTo>
                    <a:pt x="522" y="967"/>
                  </a:lnTo>
                  <a:lnTo>
                    <a:pt x="516" y="977"/>
                  </a:lnTo>
                  <a:lnTo>
                    <a:pt x="512" y="986"/>
                  </a:lnTo>
                  <a:lnTo>
                    <a:pt x="506" y="990"/>
                  </a:lnTo>
                  <a:lnTo>
                    <a:pt x="502" y="996"/>
                  </a:lnTo>
                  <a:lnTo>
                    <a:pt x="497" y="1000"/>
                  </a:lnTo>
                  <a:lnTo>
                    <a:pt x="493" y="1006"/>
                  </a:lnTo>
                  <a:lnTo>
                    <a:pt x="487" y="1009"/>
                  </a:lnTo>
                  <a:lnTo>
                    <a:pt x="483" y="1015"/>
                  </a:lnTo>
                  <a:lnTo>
                    <a:pt x="477" y="1025"/>
                  </a:lnTo>
                  <a:lnTo>
                    <a:pt x="474" y="1034"/>
                  </a:lnTo>
                  <a:lnTo>
                    <a:pt x="468" y="1040"/>
                  </a:lnTo>
                  <a:lnTo>
                    <a:pt x="464" y="1044"/>
                  </a:lnTo>
                  <a:lnTo>
                    <a:pt x="458" y="1048"/>
                  </a:lnTo>
                  <a:lnTo>
                    <a:pt x="454" y="1054"/>
                  </a:lnTo>
                  <a:lnTo>
                    <a:pt x="445" y="1059"/>
                  </a:lnTo>
                  <a:lnTo>
                    <a:pt x="435" y="1063"/>
                  </a:lnTo>
                  <a:lnTo>
                    <a:pt x="429" y="1063"/>
                  </a:lnTo>
                  <a:lnTo>
                    <a:pt x="426" y="1067"/>
                  </a:lnTo>
                  <a:lnTo>
                    <a:pt x="426" y="1073"/>
                  </a:lnTo>
                  <a:lnTo>
                    <a:pt x="424" y="1082"/>
                  </a:lnTo>
                  <a:lnTo>
                    <a:pt x="449" y="1082"/>
                  </a:lnTo>
                  <a:lnTo>
                    <a:pt x="474" y="1082"/>
                  </a:lnTo>
                  <a:lnTo>
                    <a:pt x="474" y="1086"/>
                  </a:lnTo>
                  <a:lnTo>
                    <a:pt x="474" y="1088"/>
                  </a:lnTo>
                  <a:lnTo>
                    <a:pt x="470" y="1090"/>
                  </a:lnTo>
                  <a:lnTo>
                    <a:pt x="468" y="1092"/>
                  </a:lnTo>
                  <a:lnTo>
                    <a:pt x="466" y="1096"/>
                  </a:lnTo>
                  <a:lnTo>
                    <a:pt x="464" y="1098"/>
                  </a:lnTo>
                  <a:lnTo>
                    <a:pt x="460" y="1100"/>
                  </a:lnTo>
                  <a:lnTo>
                    <a:pt x="458" y="1102"/>
                  </a:lnTo>
                  <a:lnTo>
                    <a:pt x="456" y="1103"/>
                  </a:lnTo>
                  <a:lnTo>
                    <a:pt x="454" y="1107"/>
                  </a:lnTo>
                  <a:lnTo>
                    <a:pt x="451" y="1109"/>
                  </a:lnTo>
                  <a:lnTo>
                    <a:pt x="449" y="1111"/>
                  </a:lnTo>
                  <a:lnTo>
                    <a:pt x="443" y="1107"/>
                  </a:lnTo>
                  <a:lnTo>
                    <a:pt x="439" y="1102"/>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21" name="Freeform 11"/>
            <p:cNvSpPr>
              <a:spLocks/>
            </p:cNvSpPr>
            <p:nvPr>
              <p:custDataLst>
                <p:tags r:id="rId11"/>
              </p:custDataLst>
            </p:nvPr>
          </p:nvSpPr>
          <p:spPr bwMode="gray">
            <a:xfrm>
              <a:off x="4595813" y="5087753"/>
              <a:ext cx="327025" cy="550863"/>
            </a:xfrm>
            <a:custGeom>
              <a:avLst/>
              <a:gdLst>
                <a:gd name="T0" fmla="*/ 2147483647 w 211"/>
                <a:gd name="T1" fmla="*/ 2147483647 h 366"/>
                <a:gd name="T2" fmla="*/ 2147483647 w 211"/>
                <a:gd name="T3" fmla="*/ 2147483647 h 366"/>
                <a:gd name="T4" fmla="*/ 2147483647 w 211"/>
                <a:gd name="T5" fmla="*/ 2147483647 h 366"/>
                <a:gd name="T6" fmla="*/ 2147483647 w 211"/>
                <a:gd name="T7" fmla="*/ 2147483647 h 366"/>
                <a:gd name="T8" fmla="*/ 2147483647 w 211"/>
                <a:gd name="T9" fmla="*/ 2147483647 h 366"/>
                <a:gd name="T10" fmla="*/ 2147483647 w 211"/>
                <a:gd name="T11" fmla="*/ 2147483647 h 366"/>
                <a:gd name="T12" fmla="*/ 2147483647 w 211"/>
                <a:gd name="T13" fmla="*/ 2147483647 h 366"/>
                <a:gd name="T14" fmla="*/ 2147483647 w 211"/>
                <a:gd name="T15" fmla="*/ 2147483647 h 366"/>
                <a:gd name="T16" fmla="*/ 2147483647 w 211"/>
                <a:gd name="T17" fmla="*/ 2147483647 h 366"/>
                <a:gd name="T18" fmla="*/ 2147483647 w 211"/>
                <a:gd name="T19" fmla="*/ 2147483647 h 366"/>
                <a:gd name="T20" fmla="*/ 2147483647 w 211"/>
                <a:gd name="T21" fmla="*/ 2147483647 h 366"/>
                <a:gd name="T22" fmla="*/ 2147483647 w 211"/>
                <a:gd name="T23" fmla="*/ 2147483647 h 366"/>
                <a:gd name="T24" fmla="*/ 2147483647 w 211"/>
                <a:gd name="T25" fmla="*/ 2147483647 h 366"/>
                <a:gd name="T26" fmla="*/ 2147483647 w 211"/>
                <a:gd name="T27" fmla="*/ 2147483647 h 366"/>
                <a:gd name="T28" fmla="*/ 2147483647 w 211"/>
                <a:gd name="T29" fmla="*/ 2147483647 h 366"/>
                <a:gd name="T30" fmla="*/ 2147483647 w 211"/>
                <a:gd name="T31" fmla="*/ 2147483647 h 366"/>
                <a:gd name="T32" fmla="*/ 2147483647 w 211"/>
                <a:gd name="T33" fmla="*/ 2147483647 h 366"/>
                <a:gd name="T34" fmla="*/ 2147483647 w 211"/>
                <a:gd name="T35" fmla="*/ 2147483647 h 366"/>
                <a:gd name="T36" fmla="*/ 2147483647 w 211"/>
                <a:gd name="T37" fmla="*/ 2147483647 h 366"/>
                <a:gd name="T38" fmla="*/ 2147483647 w 211"/>
                <a:gd name="T39" fmla="*/ 2147483647 h 366"/>
                <a:gd name="T40" fmla="*/ 2147483647 w 211"/>
                <a:gd name="T41" fmla="*/ 2147483647 h 366"/>
                <a:gd name="T42" fmla="*/ 2147483647 w 211"/>
                <a:gd name="T43" fmla="*/ 2147483647 h 366"/>
                <a:gd name="T44" fmla="*/ 0 w 211"/>
                <a:gd name="T45" fmla="*/ 2147483647 h 366"/>
                <a:gd name="T46" fmla="*/ 2147483647 w 211"/>
                <a:gd name="T47" fmla="*/ 2147483647 h 366"/>
                <a:gd name="T48" fmla="*/ 2147483647 w 211"/>
                <a:gd name="T49" fmla="*/ 2147483647 h 366"/>
                <a:gd name="T50" fmla="*/ 2147483647 w 211"/>
                <a:gd name="T51" fmla="*/ 2147483647 h 366"/>
                <a:gd name="T52" fmla="*/ 2147483647 w 211"/>
                <a:gd name="T53" fmla="*/ 2147483647 h 366"/>
                <a:gd name="T54" fmla="*/ 2147483647 w 211"/>
                <a:gd name="T55" fmla="*/ 2147483647 h 366"/>
                <a:gd name="T56" fmla="*/ 2147483647 w 211"/>
                <a:gd name="T57" fmla="*/ 2147483647 h 366"/>
                <a:gd name="T58" fmla="*/ 2147483647 w 211"/>
                <a:gd name="T59" fmla="*/ 2147483647 h 366"/>
                <a:gd name="T60" fmla="*/ 2147483647 w 211"/>
                <a:gd name="T61" fmla="*/ 0 h 366"/>
                <a:gd name="T62" fmla="*/ 2147483647 w 211"/>
                <a:gd name="T63" fmla="*/ 2147483647 h 366"/>
                <a:gd name="T64" fmla="*/ 2147483647 w 211"/>
                <a:gd name="T65" fmla="*/ 0 h 366"/>
                <a:gd name="T66" fmla="*/ 2147483647 w 211"/>
                <a:gd name="T67" fmla="*/ 2147483647 h 366"/>
                <a:gd name="T68" fmla="*/ 2147483647 w 211"/>
                <a:gd name="T69" fmla="*/ 2147483647 h 366"/>
                <a:gd name="T70" fmla="*/ 2147483647 w 211"/>
                <a:gd name="T71" fmla="*/ 2147483647 h 366"/>
                <a:gd name="T72" fmla="*/ 2147483647 w 211"/>
                <a:gd name="T73" fmla="*/ 2147483647 h 366"/>
                <a:gd name="T74" fmla="*/ 2147483647 w 211"/>
                <a:gd name="T75" fmla="*/ 2147483647 h 366"/>
                <a:gd name="T76" fmla="*/ 2147483647 w 211"/>
                <a:gd name="T77" fmla="*/ 2147483647 h 366"/>
                <a:gd name="T78" fmla="*/ 2147483647 w 211"/>
                <a:gd name="T79" fmla="*/ 2147483647 h 366"/>
                <a:gd name="T80" fmla="*/ 2147483647 w 211"/>
                <a:gd name="T81" fmla="*/ 2147483647 h 366"/>
                <a:gd name="T82" fmla="*/ 2147483647 w 211"/>
                <a:gd name="T83" fmla="*/ 2147483647 h 366"/>
                <a:gd name="T84" fmla="*/ 2147483647 w 211"/>
                <a:gd name="T85" fmla="*/ 2147483647 h 366"/>
                <a:gd name="T86" fmla="*/ 2147483647 w 211"/>
                <a:gd name="T87" fmla="*/ 2147483647 h 366"/>
                <a:gd name="T88" fmla="*/ 2147483647 w 211"/>
                <a:gd name="T89" fmla="*/ 2147483647 h 366"/>
                <a:gd name="T90" fmla="*/ 2147483647 w 211"/>
                <a:gd name="T91" fmla="*/ 2147483647 h 366"/>
                <a:gd name="T92" fmla="*/ 2147483647 w 211"/>
                <a:gd name="T93" fmla="*/ 2147483647 h 366"/>
                <a:gd name="T94" fmla="*/ 2147483647 w 211"/>
                <a:gd name="T95" fmla="*/ 2147483647 h 366"/>
                <a:gd name="T96" fmla="*/ 2147483647 w 211"/>
                <a:gd name="T97" fmla="*/ 2147483647 h 366"/>
                <a:gd name="T98" fmla="*/ 2147483647 w 211"/>
                <a:gd name="T99" fmla="*/ 2147483647 h 366"/>
                <a:gd name="T100" fmla="*/ 2147483647 w 211"/>
                <a:gd name="T101" fmla="*/ 2147483647 h 366"/>
                <a:gd name="T102" fmla="*/ 2147483647 w 211"/>
                <a:gd name="T103" fmla="*/ 2147483647 h 366"/>
                <a:gd name="T104" fmla="*/ 2147483647 w 211"/>
                <a:gd name="T105" fmla="*/ 2147483647 h 366"/>
                <a:gd name="T106" fmla="*/ 2147483647 w 211"/>
                <a:gd name="T107" fmla="*/ 2147483647 h 366"/>
                <a:gd name="T108" fmla="*/ 2147483647 w 211"/>
                <a:gd name="T109" fmla="*/ 2147483647 h 366"/>
                <a:gd name="T110" fmla="*/ 2147483647 w 211"/>
                <a:gd name="T111" fmla="*/ 2147483647 h 366"/>
                <a:gd name="T112" fmla="*/ 2147483647 w 211"/>
                <a:gd name="T113" fmla="*/ 2147483647 h 366"/>
                <a:gd name="T114" fmla="*/ 2147483647 w 211"/>
                <a:gd name="T115" fmla="*/ 2147483647 h 366"/>
                <a:gd name="T116" fmla="*/ 2147483647 w 211"/>
                <a:gd name="T117" fmla="*/ 2147483647 h 36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11"/>
                <a:gd name="T178" fmla="*/ 0 h 366"/>
                <a:gd name="T179" fmla="*/ 211 w 211"/>
                <a:gd name="T180" fmla="*/ 366 h 36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11" h="366">
                  <a:moveTo>
                    <a:pt x="169" y="366"/>
                  </a:moveTo>
                  <a:lnTo>
                    <a:pt x="167" y="364"/>
                  </a:lnTo>
                  <a:lnTo>
                    <a:pt x="163" y="362"/>
                  </a:lnTo>
                  <a:lnTo>
                    <a:pt x="161" y="359"/>
                  </a:lnTo>
                  <a:lnTo>
                    <a:pt x="159" y="357"/>
                  </a:lnTo>
                  <a:lnTo>
                    <a:pt x="155" y="355"/>
                  </a:lnTo>
                  <a:lnTo>
                    <a:pt x="153" y="353"/>
                  </a:lnTo>
                  <a:lnTo>
                    <a:pt x="132" y="345"/>
                  </a:lnTo>
                  <a:lnTo>
                    <a:pt x="111" y="338"/>
                  </a:lnTo>
                  <a:lnTo>
                    <a:pt x="107" y="336"/>
                  </a:lnTo>
                  <a:lnTo>
                    <a:pt x="105" y="334"/>
                  </a:lnTo>
                  <a:lnTo>
                    <a:pt x="103" y="330"/>
                  </a:lnTo>
                  <a:lnTo>
                    <a:pt x="100" y="328"/>
                  </a:lnTo>
                  <a:lnTo>
                    <a:pt x="98" y="326"/>
                  </a:lnTo>
                  <a:lnTo>
                    <a:pt x="96" y="324"/>
                  </a:lnTo>
                  <a:lnTo>
                    <a:pt x="98" y="320"/>
                  </a:lnTo>
                  <a:lnTo>
                    <a:pt x="100" y="318"/>
                  </a:lnTo>
                  <a:lnTo>
                    <a:pt x="100" y="309"/>
                  </a:lnTo>
                  <a:lnTo>
                    <a:pt x="100" y="299"/>
                  </a:lnTo>
                  <a:lnTo>
                    <a:pt x="98" y="297"/>
                  </a:lnTo>
                  <a:lnTo>
                    <a:pt x="96" y="295"/>
                  </a:lnTo>
                  <a:lnTo>
                    <a:pt x="96" y="278"/>
                  </a:lnTo>
                  <a:lnTo>
                    <a:pt x="96" y="261"/>
                  </a:lnTo>
                  <a:lnTo>
                    <a:pt x="88" y="261"/>
                  </a:lnTo>
                  <a:lnTo>
                    <a:pt x="82" y="261"/>
                  </a:lnTo>
                  <a:lnTo>
                    <a:pt x="78" y="259"/>
                  </a:lnTo>
                  <a:lnTo>
                    <a:pt x="77" y="255"/>
                  </a:lnTo>
                  <a:lnTo>
                    <a:pt x="75" y="247"/>
                  </a:lnTo>
                  <a:lnTo>
                    <a:pt x="71" y="242"/>
                  </a:lnTo>
                  <a:lnTo>
                    <a:pt x="69" y="238"/>
                  </a:lnTo>
                  <a:lnTo>
                    <a:pt x="67" y="236"/>
                  </a:lnTo>
                  <a:lnTo>
                    <a:pt x="63" y="234"/>
                  </a:lnTo>
                  <a:lnTo>
                    <a:pt x="61" y="232"/>
                  </a:lnTo>
                  <a:lnTo>
                    <a:pt x="59" y="228"/>
                  </a:lnTo>
                  <a:lnTo>
                    <a:pt x="57" y="226"/>
                  </a:lnTo>
                  <a:lnTo>
                    <a:pt x="55" y="224"/>
                  </a:lnTo>
                  <a:lnTo>
                    <a:pt x="52" y="222"/>
                  </a:lnTo>
                  <a:lnTo>
                    <a:pt x="50" y="219"/>
                  </a:lnTo>
                  <a:lnTo>
                    <a:pt x="48" y="217"/>
                  </a:lnTo>
                  <a:lnTo>
                    <a:pt x="46" y="215"/>
                  </a:lnTo>
                  <a:lnTo>
                    <a:pt x="42" y="213"/>
                  </a:lnTo>
                  <a:lnTo>
                    <a:pt x="40" y="209"/>
                  </a:lnTo>
                  <a:lnTo>
                    <a:pt x="38" y="207"/>
                  </a:lnTo>
                  <a:lnTo>
                    <a:pt x="34" y="205"/>
                  </a:lnTo>
                  <a:lnTo>
                    <a:pt x="32" y="203"/>
                  </a:lnTo>
                  <a:lnTo>
                    <a:pt x="30" y="199"/>
                  </a:lnTo>
                  <a:lnTo>
                    <a:pt x="29" y="197"/>
                  </a:lnTo>
                  <a:lnTo>
                    <a:pt x="25" y="196"/>
                  </a:lnTo>
                  <a:lnTo>
                    <a:pt x="23" y="192"/>
                  </a:lnTo>
                  <a:lnTo>
                    <a:pt x="21" y="190"/>
                  </a:lnTo>
                  <a:lnTo>
                    <a:pt x="19" y="188"/>
                  </a:lnTo>
                  <a:lnTo>
                    <a:pt x="15" y="186"/>
                  </a:lnTo>
                  <a:lnTo>
                    <a:pt x="13" y="182"/>
                  </a:lnTo>
                  <a:lnTo>
                    <a:pt x="11" y="180"/>
                  </a:lnTo>
                  <a:lnTo>
                    <a:pt x="9" y="178"/>
                  </a:lnTo>
                  <a:lnTo>
                    <a:pt x="9" y="163"/>
                  </a:lnTo>
                  <a:lnTo>
                    <a:pt x="9" y="150"/>
                  </a:lnTo>
                  <a:lnTo>
                    <a:pt x="11" y="148"/>
                  </a:lnTo>
                  <a:lnTo>
                    <a:pt x="13" y="144"/>
                  </a:lnTo>
                  <a:lnTo>
                    <a:pt x="13" y="134"/>
                  </a:lnTo>
                  <a:lnTo>
                    <a:pt x="13" y="125"/>
                  </a:lnTo>
                  <a:lnTo>
                    <a:pt x="11" y="123"/>
                  </a:lnTo>
                  <a:lnTo>
                    <a:pt x="9" y="121"/>
                  </a:lnTo>
                  <a:lnTo>
                    <a:pt x="6" y="113"/>
                  </a:lnTo>
                  <a:lnTo>
                    <a:pt x="4" y="105"/>
                  </a:lnTo>
                  <a:lnTo>
                    <a:pt x="2" y="103"/>
                  </a:lnTo>
                  <a:lnTo>
                    <a:pt x="0" y="102"/>
                  </a:lnTo>
                  <a:lnTo>
                    <a:pt x="0" y="86"/>
                  </a:lnTo>
                  <a:lnTo>
                    <a:pt x="0" y="71"/>
                  </a:lnTo>
                  <a:lnTo>
                    <a:pt x="0" y="57"/>
                  </a:lnTo>
                  <a:lnTo>
                    <a:pt x="0" y="42"/>
                  </a:lnTo>
                  <a:lnTo>
                    <a:pt x="2" y="40"/>
                  </a:lnTo>
                  <a:lnTo>
                    <a:pt x="4" y="38"/>
                  </a:lnTo>
                  <a:lnTo>
                    <a:pt x="15" y="36"/>
                  </a:lnTo>
                  <a:lnTo>
                    <a:pt x="29" y="32"/>
                  </a:lnTo>
                  <a:lnTo>
                    <a:pt x="30" y="31"/>
                  </a:lnTo>
                  <a:lnTo>
                    <a:pt x="32" y="29"/>
                  </a:lnTo>
                  <a:lnTo>
                    <a:pt x="40" y="27"/>
                  </a:lnTo>
                  <a:lnTo>
                    <a:pt x="48" y="23"/>
                  </a:lnTo>
                  <a:lnTo>
                    <a:pt x="50" y="21"/>
                  </a:lnTo>
                  <a:lnTo>
                    <a:pt x="52" y="19"/>
                  </a:lnTo>
                  <a:lnTo>
                    <a:pt x="55" y="17"/>
                  </a:lnTo>
                  <a:lnTo>
                    <a:pt x="57" y="13"/>
                  </a:lnTo>
                  <a:lnTo>
                    <a:pt x="59" y="11"/>
                  </a:lnTo>
                  <a:lnTo>
                    <a:pt x="61" y="9"/>
                  </a:lnTo>
                  <a:lnTo>
                    <a:pt x="75" y="6"/>
                  </a:lnTo>
                  <a:lnTo>
                    <a:pt x="86" y="4"/>
                  </a:lnTo>
                  <a:lnTo>
                    <a:pt x="88" y="2"/>
                  </a:lnTo>
                  <a:lnTo>
                    <a:pt x="90" y="0"/>
                  </a:lnTo>
                  <a:lnTo>
                    <a:pt x="94" y="2"/>
                  </a:lnTo>
                  <a:lnTo>
                    <a:pt x="96" y="4"/>
                  </a:lnTo>
                  <a:lnTo>
                    <a:pt x="113" y="2"/>
                  </a:lnTo>
                  <a:lnTo>
                    <a:pt x="128" y="0"/>
                  </a:lnTo>
                  <a:lnTo>
                    <a:pt x="132" y="2"/>
                  </a:lnTo>
                  <a:lnTo>
                    <a:pt x="134" y="4"/>
                  </a:lnTo>
                  <a:lnTo>
                    <a:pt x="144" y="4"/>
                  </a:lnTo>
                  <a:lnTo>
                    <a:pt x="153" y="4"/>
                  </a:lnTo>
                  <a:lnTo>
                    <a:pt x="155" y="2"/>
                  </a:lnTo>
                  <a:lnTo>
                    <a:pt x="159" y="0"/>
                  </a:lnTo>
                  <a:lnTo>
                    <a:pt x="172" y="4"/>
                  </a:lnTo>
                  <a:lnTo>
                    <a:pt x="188" y="9"/>
                  </a:lnTo>
                  <a:lnTo>
                    <a:pt x="190" y="11"/>
                  </a:lnTo>
                  <a:lnTo>
                    <a:pt x="194" y="13"/>
                  </a:lnTo>
                  <a:lnTo>
                    <a:pt x="195" y="31"/>
                  </a:lnTo>
                  <a:lnTo>
                    <a:pt x="197" y="48"/>
                  </a:lnTo>
                  <a:lnTo>
                    <a:pt x="199" y="50"/>
                  </a:lnTo>
                  <a:lnTo>
                    <a:pt x="201" y="54"/>
                  </a:lnTo>
                  <a:lnTo>
                    <a:pt x="205" y="59"/>
                  </a:lnTo>
                  <a:lnTo>
                    <a:pt x="207" y="67"/>
                  </a:lnTo>
                  <a:lnTo>
                    <a:pt x="209" y="69"/>
                  </a:lnTo>
                  <a:lnTo>
                    <a:pt x="211" y="71"/>
                  </a:lnTo>
                  <a:lnTo>
                    <a:pt x="209" y="75"/>
                  </a:lnTo>
                  <a:lnTo>
                    <a:pt x="207" y="77"/>
                  </a:lnTo>
                  <a:lnTo>
                    <a:pt x="205" y="79"/>
                  </a:lnTo>
                  <a:lnTo>
                    <a:pt x="201" y="82"/>
                  </a:lnTo>
                  <a:lnTo>
                    <a:pt x="199" y="84"/>
                  </a:lnTo>
                  <a:lnTo>
                    <a:pt x="197" y="86"/>
                  </a:lnTo>
                  <a:lnTo>
                    <a:pt x="195" y="88"/>
                  </a:lnTo>
                  <a:lnTo>
                    <a:pt x="194" y="92"/>
                  </a:lnTo>
                  <a:lnTo>
                    <a:pt x="190" y="94"/>
                  </a:lnTo>
                  <a:lnTo>
                    <a:pt x="188" y="96"/>
                  </a:lnTo>
                  <a:lnTo>
                    <a:pt x="184" y="98"/>
                  </a:lnTo>
                  <a:lnTo>
                    <a:pt x="182" y="102"/>
                  </a:lnTo>
                  <a:lnTo>
                    <a:pt x="180" y="103"/>
                  </a:lnTo>
                  <a:lnTo>
                    <a:pt x="178" y="105"/>
                  </a:lnTo>
                  <a:lnTo>
                    <a:pt x="178" y="121"/>
                  </a:lnTo>
                  <a:lnTo>
                    <a:pt x="178" y="134"/>
                  </a:lnTo>
                  <a:lnTo>
                    <a:pt x="180" y="138"/>
                  </a:lnTo>
                  <a:lnTo>
                    <a:pt x="182" y="140"/>
                  </a:lnTo>
                  <a:lnTo>
                    <a:pt x="182" y="144"/>
                  </a:lnTo>
                  <a:lnTo>
                    <a:pt x="182" y="150"/>
                  </a:lnTo>
                  <a:lnTo>
                    <a:pt x="180" y="151"/>
                  </a:lnTo>
                  <a:lnTo>
                    <a:pt x="178" y="153"/>
                  </a:lnTo>
                  <a:lnTo>
                    <a:pt x="174" y="178"/>
                  </a:lnTo>
                  <a:lnTo>
                    <a:pt x="172" y="203"/>
                  </a:lnTo>
                  <a:lnTo>
                    <a:pt x="180" y="203"/>
                  </a:lnTo>
                  <a:lnTo>
                    <a:pt x="188" y="203"/>
                  </a:lnTo>
                  <a:lnTo>
                    <a:pt x="190" y="205"/>
                  </a:lnTo>
                  <a:lnTo>
                    <a:pt x="194" y="207"/>
                  </a:lnTo>
                  <a:lnTo>
                    <a:pt x="199" y="209"/>
                  </a:lnTo>
                  <a:lnTo>
                    <a:pt x="207" y="213"/>
                  </a:lnTo>
                  <a:lnTo>
                    <a:pt x="209" y="215"/>
                  </a:lnTo>
                  <a:lnTo>
                    <a:pt x="211" y="217"/>
                  </a:lnTo>
                  <a:lnTo>
                    <a:pt x="211" y="226"/>
                  </a:lnTo>
                  <a:lnTo>
                    <a:pt x="211" y="236"/>
                  </a:lnTo>
                  <a:lnTo>
                    <a:pt x="209" y="238"/>
                  </a:lnTo>
                  <a:lnTo>
                    <a:pt x="207" y="242"/>
                  </a:lnTo>
                  <a:lnTo>
                    <a:pt x="205" y="244"/>
                  </a:lnTo>
                  <a:lnTo>
                    <a:pt x="201" y="245"/>
                  </a:lnTo>
                  <a:lnTo>
                    <a:pt x="199" y="247"/>
                  </a:lnTo>
                  <a:lnTo>
                    <a:pt x="197" y="251"/>
                  </a:lnTo>
                  <a:lnTo>
                    <a:pt x="195" y="253"/>
                  </a:lnTo>
                  <a:lnTo>
                    <a:pt x="194" y="255"/>
                  </a:lnTo>
                  <a:lnTo>
                    <a:pt x="190" y="259"/>
                  </a:lnTo>
                  <a:lnTo>
                    <a:pt x="188" y="261"/>
                  </a:lnTo>
                  <a:lnTo>
                    <a:pt x="188" y="270"/>
                  </a:lnTo>
                  <a:lnTo>
                    <a:pt x="188" y="280"/>
                  </a:lnTo>
                  <a:lnTo>
                    <a:pt x="190" y="282"/>
                  </a:lnTo>
                  <a:lnTo>
                    <a:pt x="194" y="286"/>
                  </a:lnTo>
                  <a:lnTo>
                    <a:pt x="195" y="301"/>
                  </a:lnTo>
                  <a:lnTo>
                    <a:pt x="197" y="318"/>
                  </a:lnTo>
                  <a:lnTo>
                    <a:pt x="199" y="320"/>
                  </a:lnTo>
                  <a:lnTo>
                    <a:pt x="201" y="324"/>
                  </a:lnTo>
                  <a:lnTo>
                    <a:pt x="201" y="328"/>
                  </a:lnTo>
                  <a:lnTo>
                    <a:pt x="201" y="334"/>
                  </a:lnTo>
                  <a:lnTo>
                    <a:pt x="199" y="336"/>
                  </a:lnTo>
                  <a:lnTo>
                    <a:pt x="197" y="338"/>
                  </a:lnTo>
                  <a:lnTo>
                    <a:pt x="195" y="345"/>
                  </a:lnTo>
                  <a:lnTo>
                    <a:pt x="194" y="353"/>
                  </a:lnTo>
                  <a:lnTo>
                    <a:pt x="190" y="355"/>
                  </a:lnTo>
                  <a:lnTo>
                    <a:pt x="188" y="357"/>
                  </a:lnTo>
                  <a:lnTo>
                    <a:pt x="184" y="359"/>
                  </a:lnTo>
                  <a:lnTo>
                    <a:pt x="182" y="362"/>
                  </a:lnTo>
                  <a:lnTo>
                    <a:pt x="180" y="364"/>
                  </a:lnTo>
                  <a:lnTo>
                    <a:pt x="178" y="366"/>
                  </a:lnTo>
                  <a:lnTo>
                    <a:pt x="172" y="366"/>
                  </a:lnTo>
                  <a:lnTo>
                    <a:pt x="169" y="366"/>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22" name="Freeform 293"/>
            <p:cNvSpPr>
              <a:spLocks/>
            </p:cNvSpPr>
            <p:nvPr>
              <p:custDataLst>
                <p:tags r:id="rId12"/>
              </p:custDataLst>
            </p:nvPr>
          </p:nvSpPr>
          <p:spPr bwMode="gray">
            <a:xfrm>
              <a:off x="4056063" y="5360803"/>
              <a:ext cx="690562" cy="423863"/>
            </a:xfrm>
            <a:custGeom>
              <a:avLst/>
              <a:gdLst>
                <a:gd name="T0" fmla="*/ 2147483647 w 445"/>
                <a:gd name="T1" fmla="*/ 2147483647 h 282"/>
                <a:gd name="T2" fmla="*/ 2147483647 w 445"/>
                <a:gd name="T3" fmla="*/ 2147483647 h 282"/>
                <a:gd name="T4" fmla="*/ 2147483647 w 445"/>
                <a:gd name="T5" fmla="*/ 2147483647 h 282"/>
                <a:gd name="T6" fmla="*/ 2147483647 w 445"/>
                <a:gd name="T7" fmla="*/ 2147483647 h 282"/>
                <a:gd name="T8" fmla="*/ 2147483647 w 445"/>
                <a:gd name="T9" fmla="*/ 2147483647 h 282"/>
                <a:gd name="T10" fmla="*/ 2147483647 w 445"/>
                <a:gd name="T11" fmla="*/ 2147483647 h 282"/>
                <a:gd name="T12" fmla="*/ 0 w 445"/>
                <a:gd name="T13" fmla="*/ 2147483647 h 282"/>
                <a:gd name="T14" fmla="*/ 2147483647 w 445"/>
                <a:gd name="T15" fmla="*/ 2147483647 h 282"/>
                <a:gd name="T16" fmla="*/ 2147483647 w 445"/>
                <a:gd name="T17" fmla="*/ 2147483647 h 282"/>
                <a:gd name="T18" fmla="*/ 2147483647 w 445"/>
                <a:gd name="T19" fmla="*/ 2147483647 h 282"/>
                <a:gd name="T20" fmla="*/ 2147483647 w 445"/>
                <a:gd name="T21" fmla="*/ 2147483647 h 282"/>
                <a:gd name="T22" fmla="*/ 2147483647 w 445"/>
                <a:gd name="T23" fmla="*/ 2147483647 h 282"/>
                <a:gd name="T24" fmla="*/ 2147483647 w 445"/>
                <a:gd name="T25" fmla="*/ 2147483647 h 282"/>
                <a:gd name="T26" fmla="*/ 2147483647 w 445"/>
                <a:gd name="T27" fmla="*/ 2147483647 h 282"/>
                <a:gd name="T28" fmla="*/ 2147483647 w 445"/>
                <a:gd name="T29" fmla="*/ 0 h 282"/>
                <a:gd name="T30" fmla="*/ 2147483647 w 445"/>
                <a:gd name="T31" fmla="*/ 2147483647 h 282"/>
                <a:gd name="T32" fmla="*/ 2147483647 w 445"/>
                <a:gd name="T33" fmla="*/ 2147483647 h 282"/>
                <a:gd name="T34" fmla="*/ 2147483647 w 445"/>
                <a:gd name="T35" fmla="*/ 2147483647 h 282"/>
                <a:gd name="T36" fmla="*/ 2147483647 w 445"/>
                <a:gd name="T37" fmla="*/ 2147483647 h 282"/>
                <a:gd name="T38" fmla="*/ 2147483647 w 445"/>
                <a:gd name="T39" fmla="*/ 2147483647 h 282"/>
                <a:gd name="T40" fmla="*/ 2147483647 w 445"/>
                <a:gd name="T41" fmla="*/ 2147483647 h 282"/>
                <a:gd name="T42" fmla="*/ 2147483647 w 445"/>
                <a:gd name="T43" fmla="*/ 2147483647 h 282"/>
                <a:gd name="T44" fmla="*/ 2147483647 w 445"/>
                <a:gd name="T45" fmla="*/ 2147483647 h 282"/>
                <a:gd name="T46" fmla="*/ 2147483647 w 445"/>
                <a:gd name="T47" fmla="*/ 2147483647 h 282"/>
                <a:gd name="T48" fmla="*/ 2147483647 w 445"/>
                <a:gd name="T49" fmla="*/ 2147483647 h 282"/>
                <a:gd name="T50" fmla="*/ 2147483647 w 445"/>
                <a:gd name="T51" fmla="*/ 2147483647 h 282"/>
                <a:gd name="T52" fmla="*/ 2147483647 w 445"/>
                <a:gd name="T53" fmla="*/ 2147483647 h 282"/>
                <a:gd name="T54" fmla="*/ 2147483647 w 445"/>
                <a:gd name="T55" fmla="*/ 2147483647 h 282"/>
                <a:gd name="T56" fmla="*/ 2147483647 w 445"/>
                <a:gd name="T57" fmla="*/ 0 h 282"/>
                <a:gd name="T58" fmla="*/ 2147483647 w 445"/>
                <a:gd name="T59" fmla="*/ 2147483647 h 282"/>
                <a:gd name="T60" fmla="*/ 2147483647 w 445"/>
                <a:gd name="T61" fmla="*/ 2147483647 h 282"/>
                <a:gd name="T62" fmla="*/ 2147483647 w 445"/>
                <a:gd name="T63" fmla="*/ 2147483647 h 282"/>
                <a:gd name="T64" fmla="*/ 2147483647 w 445"/>
                <a:gd name="T65" fmla="*/ 2147483647 h 282"/>
                <a:gd name="T66" fmla="*/ 2147483647 w 445"/>
                <a:gd name="T67" fmla="*/ 2147483647 h 282"/>
                <a:gd name="T68" fmla="*/ 2147483647 w 445"/>
                <a:gd name="T69" fmla="*/ 2147483647 h 282"/>
                <a:gd name="T70" fmla="*/ 2147483647 w 445"/>
                <a:gd name="T71" fmla="*/ 2147483647 h 282"/>
                <a:gd name="T72" fmla="*/ 2147483647 w 445"/>
                <a:gd name="T73" fmla="*/ 2147483647 h 282"/>
                <a:gd name="T74" fmla="*/ 2147483647 w 445"/>
                <a:gd name="T75" fmla="*/ 2147483647 h 282"/>
                <a:gd name="T76" fmla="*/ 2147483647 w 445"/>
                <a:gd name="T77" fmla="*/ 2147483647 h 282"/>
                <a:gd name="T78" fmla="*/ 2147483647 w 445"/>
                <a:gd name="T79" fmla="*/ 2147483647 h 282"/>
                <a:gd name="T80" fmla="*/ 2147483647 w 445"/>
                <a:gd name="T81" fmla="*/ 2147483647 h 282"/>
                <a:gd name="T82" fmla="*/ 2147483647 w 445"/>
                <a:gd name="T83" fmla="*/ 2147483647 h 282"/>
                <a:gd name="T84" fmla="*/ 2147483647 w 445"/>
                <a:gd name="T85" fmla="*/ 2147483647 h 282"/>
                <a:gd name="T86" fmla="*/ 2147483647 w 445"/>
                <a:gd name="T87" fmla="*/ 2147483647 h 282"/>
                <a:gd name="T88" fmla="*/ 2147483647 w 445"/>
                <a:gd name="T89" fmla="*/ 2147483647 h 282"/>
                <a:gd name="T90" fmla="*/ 2147483647 w 445"/>
                <a:gd name="T91" fmla="*/ 2147483647 h 282"/>
                <a:gd name="T92" fmla="*/ 2147483647 w 445"/>
                <a:gd name="T93" fmla="*/ 2147483647 h 282"/>
                <a:gd name="T94" fmla="*/ 2147483647 w 445"/>
                <a:gd name="T95" fmla="*/ 2147483647 h 282"/>
                <a:gd name="T96" fmla="*/ 2147483647 w 445"/>
                <a:gd name="T97" fmla="*/ 2147483647 h 282"/>
                <a:gd name="T98" fmla="*/ 2147483647 w 445"/>
                <a:gd name="T99" fmla="*/ 2147483647 h 282"/>
                <a:gd name="T100" fmla="*/ 2147483647 w 445"/>
                <a:gd name="T101" fmla="*/ 2147483647 h 282"/>
                <a:gd name="T102" fmla="*/ 2147483647 w 445"/>
                <a:gd name="T103" fmla="*/ 2147483647 h 282"/>
                <a:gd name="T104" fmla="*/ 2147483647 w 445"/>
                <a:gd name="T105" fmla="*/ 2147483647 h 282"/>
                <a:gd name="T106" fmla="*/ 2147483647 w 445"/>
                <a:gd name="T107" fmla="*/ 2147483647 h 282"/>
                <a:gd name="T108" fmla="*/ 2147483647 w 445"/>
                <a:gd name="T109" fmla="*/ 2147483647 h 282"/>
                <a:gd name="T110" fmla="*/ 2147483647 w 445"/>
                <a:gd name="T111" fmla="*/ 2147483647 h 282"/>
                <a:gd name="T112" fmla="*/ 2147483647 w 445"/>
                <a:gd name="T113" fmla="*/ 2147483647 h 2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45"/>
                <a:gd name="T172" fmla="*/ 0 h 282"/>
                <a:gd name="T173" fmla="*/ 445 w 445"/>
                <a:gd name="T174" fmla="*/ 282 h 2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45" h="282">
                  <a:moveTo>
                    <a:pt x="145" y="263"/>
                  </a:moveTo>
                  <a:lnTo>
                    <a:pt x="140" y="263"/>
                  </a:lnTo>
                  <a:lnTo>
                    <a:pt x="136" y="263"/>
                  </a:lnTo>
                  <a:lnTo>
                    <a:pt x="136" y="257"/>
                  </a:lnTo>
                  <a:lnTo>
                    <a:pt x="136" y="253"/>
                  </a:lnTo>
                  <a:lnTo>
                    <a:pt x="136" y="248"/>
                  </a:lnTo>
                  <a:lnTo>
                    <a:pt x="136" y="242"/>
                  </a:lnTo>
                  <a:lnTo>
                    <a:pt x="136" y="234"/>
                  </a:lnTo>
                  <a:lnTo>
                    <a:pt x="136" y="225"/>
                  </a:lnTo>
                  <a:lnTo>
                    <a:pt x="115" y="221"/>
                  </a:lnTo>
                  <a:lnTo>
                    <a:pt x="99" y="221"/>
                  </a:lnTo>
                  <a:lnTo>
                    <a:pt x="92" y="223"/>
                  </a:lnTo>
                  <a:lnTo>
                    <a:pt x="84" y="225"/>
                  </a:lnTo>
                  <a:lnTo>
                    <a:pt x="76" y="228"/>
                  </a:lnTo>
                  <a:lnTo>
                    <a:pt x="67" y="232"/>
                  </a:lnTo>
                  <a:lnTo>
                    <a:pt x="57" y="228"/>
                  </a:lnTo>
                  <a:lnTo>
                    <a:pt x="48" y="225"/>
                  </a:lnTo>
                  <a:lnTo>
                    <a:pt x="36" y="179"/>
                  </a:lnTo>
                  <a:lnTo>
                    <a:pt x="25" y="133"/>
                  </a:lnTo>
                  <a:lnTo>
                    <a:pt x="11" y="86"/>
                  </a:lnTo>
                  <a:lnTo>
                    <a:pt x="0" y="40"/>
                  </a:lnTo>
                  <a:lnTo>
                    <a:pt x="7" y="40"/>
                  </a:lnTo>
                  <a:lnTo>
                    <a:pt x="15" y="40"/>
                  </a:lnTo>
                  <a:lnTo>
                    <a:pt x="17" y="42"/>
                  </a:lnTo>
                  <a:lnTo>
                    <a:pt x="19" y="44"/>
                  </a:lnTo>
                  <a:lnTo>
                    <a:pt x="28" y="44"/>
                  </a:lnTo>
                  <a:lnTo>
                    <a:pt x="38" y="44"/>
                  </a:lnTo>
                  <a:lnTo>
                    <a:pt x="40" y="42"/>
                  </a:lnTo>
                  <a:lnTo>
                    <a:pt x="44" y="40"/>
                  </a:lnTo>
                  <a:lnTo>
                    <a:pt x="46" y="37"/>
                  </a:lnTo>
                  <a:lnTo>
                    <a:pt x="48" y="35"/>
                  </a:lnTo>
                  <a:lnTo>
                    <a:pt x="51" y="33"/>
                  </a:lnTo>
                  <a:lnTo>
                    <a:pt x="53" y="31"/>
                  </a:lnTo>
                  <a:lnTo>
                    <a:pt x="80" y="27"/>
                  </a:lnTo>
                  <a:lnTo>
                    <a:pt x="107" y="25"/>
                  </a:lnTo>
                  <a:lnTo>
                    <a:pt x="109" y="23"/>
                  </a:lnTo>
                  <a:lnTo>
                    <a:pt x="111" y="21"/>
                  </a:lnTo>
                  <a:lnTo>
                    <a:pt x="119" y="17"/>
                  </a:lnTo>
                  <a:lnTo>
                    <a:pt x="126" y="15"/>
                  </a:lnTo>
                  <a:lnTo>
                    <a:pt x="128" y="14"/>
                  </a:lnTo>
                  <a:lnTo>
                    <a:pt x="130" y="10"/>
                  </a:lnTo>
                  <a:lnTo>
                    <a:pt x="138" y="8"/>
                  </a:lnTo>
                  <a:lnTo>
                    <a:pt x="145" y="6"/>
                  </a:lnTo>
                  <a:lnTo>
                    <a:pt x="147" y="4"/>
                  </a:lnTo>
                  <a:lnTo>
                    <a:pt x="149" y="0"/>
                  </a:lnTo>
                  <a:lnTo>
                    <a:pt x="155" y="0"/>
                  </a:lnTo>
                  <a:lnTo>
                    <a:pt x="159" y="0"/>
                  </a:lnTo>
                  <a:lnTo>
                    <a:pt x="163" y="4"/>
                  </a:lnTo>
                  <a:lnTo>
                    <a:pt x="165" y="6"/>
                  </a:lnTo>
                  <a:lnTo>
                    <a:pt x="172" y="8"/>
                  </a:lnTo>
                  <a:lnTo>
                    <a:pt x="178" y="10"/>
                  </a:lnTo>
                  <a:lnTo>
                    <a:pt x="180" y="14"/>
                  </a:lnTo>
                  <a:lnTo>
                    <a:pt x="184" y="15"/>
                  </a:lnTo>
                  <a:lnTo>
                    <a:pt x="186" y="17"/>
                  </a:lnTo>
                  <a:lnTo>
                    <a:pt x="188" y="21"/>
                  </a:lnTo>
                  <a:lnTo>
                    <a:pt x="191" y="23"/>
                  </a:lnTo>
                  <a:lnTo>
                    <a:pt x="193" y="25"/>
                  </a:lnTo>
                  <a:lnTo>
                    <a:pt x="195" y="37"/>
                  </a:lnTo>
                  <a:lnTo>
                    <a:pt x="199" y="50"/>
                  </a:lnTo>
                  <a:lnTo>
                    <a:pt x="201" y="52"/>
                  </a:lnTo>
                  <a:lnTo>
                    <a:pt x="203" y="54"/>
                  </a:lnTo>
                  <a:lnTo>
                    <a:pt x="205" y="56"/>
                  </a:lnTo>
                  <a:lnTo>
                    <a:pt x="207" y="60"/>
                  </a:lnTo>
                  <a:lnTo>
                    <a:pt x="211" y="62"/>
                  </a:lnTo>
                  <a:lnTo>
                    <a:pt x="213" y="63"/>
                  </a:lnTo>
                  <a:lnTo>
                    <a:pt x="222" y="63"/>
                  </a:lnTo>
                  <a:lnTo>
                    <a:pt x="232" y="63"/>
                  </a:lnTo>
                  <a:lnTo>
                    <a:pt x="234" y="62"/>
                  </a:lnTo>
                  <a:lnTo>
                    <a:pt x="238" y="60"/>
                  </a:lnTo>
                  <a:lnTo>
                    <a:pt x="239" y="56"/>
                  </a:lnTo>
                  <a:lnTo>
                    <a:pt x="241" y="54"/>
                  </a:lnTo>
                  <a:lnTo>
                    <a:pt x="243" y="52"/>
                  </a:lnTo>
                  <a:lnTo>
                    <a:pt x="247" y="50"/>
                  </a:lnTo>
                  <a:lnTo>
                    <a:pt x="249" y="46"/>
                  </a:lnTo>
                  <a:lnTo>
                    <a:pt x="251" y="44"/>
                  </a:lnTo>
                  <a:lnTo>
                    <a:pt x="253" y="42"/>
                  </a:lnTo>
                  <a:lnTo>
                    <a:pt x="257" y="40"/>
                  </a:lnTo>
                  <a:lnTo>
                    <a:pt x="272" y="33"/>
                  </a:lnTo>
                  <a:lnTo>
                    <a:pt x="289" y="25"/>
                  </a:lnTo>
                  <a:lnTo>
                    <a:pt x="291" y="23"/>
                  </a:lnTo>
                  <a:lnTo>
                    <a:pt x="295" y="21"/>
                  </a:lnTo>
                  <a:lnTo>
                    <a:pt x="316" y="21"/>
                  </a:lnTo>
                  <a:lnTo>
                    <a:pt x="339" y="21"/>
                  </a:lnTo>
                  <a:lnTo>
                    <a:pt x="339" y="14"/>
                  </a:lnTo>
                  <a:lnTo>
                    <a:pt x="339" y="6"/>
                  </a:lnTo>
                  <a:lnTo>
                    <a:pt x="341" y="4"/>
                  </a:lnTo>
                  <a:lnTo>
                    <a:pt x="343" y="0"/>
                  </a:lnTo>
                  <a:lnTo>
                    <a:pt x="347" y="0"/>
                  </a:lnTo>
                  <a:lnTo>
                    <a:pt x="353" y="0"/>
                  </a:lnTo>
                  <a:lnTo>
                    <a:pt x="355" y="4"/>
                  </a:lnTo>
                  <a:lnTo>
                    <a:pt x="358" y="6"/>
                  </a:lnTo>
                  <a:lnTo>
                    <a:pt x="360" y="8"/>
                  </a:lnTo>
                  <a:lnTo>
                    <a:pt x="362" y="10"/>
                  </a:lnTo>
                  <a:lnTo>
                    <a:pt x="364" y="14"/>
                  </a:lnTo>
                  <a:lnTo>
                    <a:pt x="368" y="15"/>
                  </a:lnTo>
                  <a:lnTo>
                    <a:pt x="370" y="17"/>
                  </a:lnTo>
                  <a:lnTo>
                    <a:pt x="372" y="21"/>
                  </a:lnTo>
                  <a:lnTo>
                    <a:pt x="374" y="23"/>
                  </a:lnTo>
                  <a:lnTo>
                    <a:pt x="378" y="25"/>
                  </a:lnTo>
                  <a:lnTo>
                    <a:pt x="379" y="27"/>
                  </a:lnTo>
                  <a:lnTo>
                    <a:pt x="381" y="31"/>
                  </a:lnTo>
                  <a:lnTo>
                    <a:pt x="383" y="33"/>
                  </a:lnTo>
                  <a:lnTo>
                    <a:pt x="387" y="35"/>
                  </a:lnTo>
                  <a:lnTo>
                    <a:pt x="389" y="37"/>
                  </a:lnTo>
                  <a:lnTo>
                    <a:pt x="391" y="40"/>
                  </a:lnTo>
                  <a:lnTo>
                    <a:pt x="395" y="42"/>
                  </a:lnTo>
                  <a:lnTo>
                    <a:pt x="397" y="44"/>
                  </a:lnTo>
                  <a:lnTo>
                    <a:pt x="399" y="46"/>
                  </a:lnTo>
                  <a:lnTo>
                    <a:pt x="401" y="50"/>
                  </a:lnTo>
                  <a:lnTo>
                    <a:pt x="404" y="52"/>
                  </a:lnTo>
                  <a:lnTo>
                    <a:pt x="406" y="54"/>
                  </a:lnTo>
                  <a:lnTo>
                    <a:pt x="408" y="56"/>
                  </a:lnTo>
                  <a:lnTo>
                    <a:pt x="410" y="60"/>
                  </a:lnTo>
                  <a:lnTo>
                    <a:pt x="412" y="62"/>
                  </a:lnTo>
                  <a:lnTo>
                    <a:pt x="416" y="63"/>
                  </a:lnTo>
                  <a:lnTo>
                    <a:pt x="418" y="71"/>
                  </a:lnTo>
                  <a:lnTo>
                    <a:pt x="420" y="79"/>
                  </a:lnTo>
                  <a:lnTo>
                    <a:pt x="424" y="81"/>
                  </a:lnTo>
                  <a:lnTo>
                    <a:pt x="426" y="83"/>
                  </a:lnTo>
                  <a:lnTo>
                    <a:pt x="433" y="100"/>
                  </a:lnTo>
                  <a:lnTo>
                    <a:pt x="439" y="117"/>
                  </a:lnTo>
                  <a:lnTo>
                    <a:pt x="443" y="119"/>
                  </a:lnTo>
                  <a:lnTo>
                    <a:pt x="445" y="121"/>
                  </a:lnTo>
                  <a:lnTo>
                    <a:pt x="445" y="127"/>
                  </a:lnTo>
                  <a:lnTo>
                    <a:pt x="445" y="133"/>
                  </a:lnTo>
                  <a:lnTo>
                    <a:pt x="443" y="134"/>
                  </a:lnTo>
                  <a:lnTo>
                    <a:pt x="439" y="136"/>
                  </a:lnTo>
                  <a:lnTo>
                    <a:pt x="439" y="142"/>
                  </a:lnTo>
                  <a:lnTo>
                    <a:pt x="439" y="146"/>
                  </a:lnTo>
                  <a:lnTo>
                    <a:pt x="443" y="148"/>
                  </a:lnTo>
                  <a:lnTo>
                    <a:pt x="445" y="152"/>
                  </a:lnTo>
                  <a:lnTo>
                    <a:pt x="443" y="154"/>
                  </a:lnTo>
                  <a:lnTo>
                    <a:pt x="439" y="156"/>
                  </a:lnTo>
                  <a:lnTo>
                    <a:pt x="433" y="157"/>
                  </a:lnTo>
                  <a:lnTo>
                    <a:pt x="426" y="161"/>
                  </a:lnTo>
                  <a:lnTo>
                    <a:pt x="424" y="163"/>
                  </a:lnTo>
                  <a:lnTo>
                    <a:pt x="420" y="165"/>
                  </a:lnTo>
                  <a:lnTo>
                    <a:pt x="420" y="171"/>
                  </a:lnTo>
                  <a:lnTo>
                    <a:pt x="420" y="175"/>
                  </a:lnTo>
                  <a:lnTo>
                    <a:pt x="424" y="177"/>
                  </a:lnTo>
                  <a:lnTo>
                    <a:pt x="426" y="180"/>
                  </a:lnTo>
                  <a:lnTo>
                    <a:pt x="426" y="200"/>
                  </a:lnTo>
                  <a:lnTo>
                    <a:pt x="426" y="219"/>
                  </a:lnTo>
                  <a:lnTo>
                    <a:pt x="424" y="221"/>
                  </a:lnTo>
                  <a:lnTo>
                    <a:pt x="420" y="225"/>
                  </a:lnTo>
                  <a:lnTo>
                    <a:pt x="395" y="227"/>
                  </a:lnTo>
                  <a:lnTo>
                    <a:pt x="368" y="228"/>
                  </a:lnTo>
                  <a:lnTo>
                    <a:pt x="364" y="230"/>
                  </a:lnTo>
                  <a:lnTo>
                    <a:pt x="362" y="232"/>
                  </a:lnTo>
                  <a:lnTo>
                    <a:pt x="360" y="236"/>
                  </a:lnTo>
                  <a:lnTo>
                    <a:pt x="358" y="238"/>
                  </a:lnTo>
                  <a:lnTo>
                    <a:pt x="355" y="240"/>
                  </a:lnTo>
                  <a:lnTo>
                    <a:pt x="353" y="242"/>
                  </a:lnTo>
                  <a:lnTo>
                    <a:pt x="341" y="246"/>
                  </a:lnTo>
                  <a:lnTo>
                    <a:pt x="328" y="248"/>
                  </a:lnTo>
                  <a:lnTo>
                    <a:pt x="326" y="250"/>
                  </a:lnTo>
                  <a:lnTo>
                    <a:pt x="324" y="253"/>
                  </a:lnTo>
                  <a:lnTo>
                    <a:pt x="322" y="255"/>
                  </a:lnTo>
                  <a:lnTo>
                    <a:pt x="318" y="257"/>
                  </a:lnTo>
                  <a:lnTo>
                    <a:pt x="316" y="259"/>
                  </a:lnTo>
                  <a:lnTo>
                    <a:pt x="314" y="263"/>
                  </a:lnTo>
                  <a:lnTo>
                    <a:pt x="307" y="265"/>
                  </a:lnTo>
                  <a:lnTo>
                    <a:pt x="299" y="267"/>
                  </a:lnTo>
                  <a:lnTo>
                    <a:pt x="297" y="269"/>
                  </a:lnTo>
                  <a:lnTo>
                    <a:pt x="295" y="273"/>
                  </a:lnTo>
                  <a:lnTo>
                    <a:pt x="291" y="276"/>
                  </a:lnTo>
                  <a:lnTo>
                    <a:pt x="289" y="282"/>
                  </a:lnTo>
                  <a:lnTo>
                    <a:pt x="274" y="271"/>
                  </a:lnTo>
                  <a:lnTo>
                    <a:pt x="257" y="265"/>
                  </a:lnTo>
                  <a:lnTo>
                    <a:pt x="239" y="261"/>
                  </a:lnTo>
                  <a:lnTo>
                    <a:pt x="220" y="259"/>
                  </a:lnTo>
                  <a:lnTo>
                    <a:pt x="182" y="259"/>
                  </a:lnTo>
                  <a:lnTo>
                    <a:pt x="145" y="263"/>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23" name="Freeform 294"/>
            <p:cNvSpPr>
              <a:spLocks/>
            </p:cNvSpPr>
            <p:nvPr>
              <p:custDataLst>
                <p:tags r:id="rId13"/>
              </p:custDataLst>
            </p:nvPr>
          </p:nvSpPr>
          <p:spPr bwMode="gray">
            <a:xfrm>
              <a:off x="3906838" y="4943291"/>
              <a:ext cx="703262" cy="509587"/>
            </a:xfrm>
            <a:custGeom>
              <a:avLst/>
              <a:gdLst>
                <a:gd name="T0" fmla="*/ 2147483647 w 454"/>
                <a:gd name="T1" fmla="*/ 2147483647 h 340"/>
                <a:gd name="T2" fmla="*/ 2147483647 w 454"/>
                <a:gd name="T3" fmla="*/ 2147483647 h 340"/>
                <a:gd name="T4" fmla="*/ 2147483647 w 454"/>
                <a:gd name="T5" fmla="*/ 2147483647 h 340"/>
                <a:gd name="T6" fmla="*/ 2147483647 w 454"/>
                <a:gd name="T7" fmla="*/ 2147483647 h 340"/>
                <a:gd name="T8" fmla="*/ 2147483647 w 454"/>
                <a:gd name="T9" fmla="*/ 2147483647 h 340"/>
                <a:gd name="T10" fmla="*/ 2147483647 w 454"/>
                <a:gd name="T11" fmla="*/ 2147483647 h 340"/>
                <a:gd name="T12" fmla="*/ 2147483647 w 454"/>
                <a:gd name="T13" fmla="*/ 2147483647 h 340"/>
                <a:gd name="T14" fmla="*/ 2147483647 w 454"/>
                <a:gd name="T15" fmla="*/ 2147483647 h 340"/>
                <a:gd name="T16" fmla="*/ 2147483647 w 454"/>
                <a:gd name="T17" fmla="*/ 2147483647 h 340"/>
                <a:gd name="T18" fmla="*/ 2147483647 w 454"/>
                <a:gd name="T19" fmla="*/ 2147483647 h 340"/>
                <a:gd name="T20" fmla="*/ 2147483647 w 454"/>
                <a:gd name="T21" fmla="*/ 2147483647 h 340"/>
                <a:gd name="T22" fmla="*/ 2147483647 w 454"/>
                <a:gd name="T23" fmla="*/ 2147483647 h 340"/>
                <a:gd name="T24" fmla="*/ 2147483647 w 454"/>
                <a:gd name="T25" fmla="*/ 2147483647 h 340"/>
                <a:gd name="T26" fmla="*/ 2147483647 w 454"/>
                <a:gd name="T27" fmla="*/ 2147483647 h 340"/>
                <a:gd name="T28" fmla="*/ 2147483647 w 454"/>
                <a:gd name="T29" fmla="*/ 2147483647 h 340"/>
                <a:gd name="T30" fmla="*/ 2147483647 w 454"/>
                <a:gd name="T31" fmla="*/ 2147483647 h 340"/>
                <a:gd name="T32" fmla="*/ 2147483647 w 454"/>
                <a:gd name="T33" fmla="*/ 2147483647 h 340"/>
                <a:gd name="T34" fmla="*/ 2147483647 w 454"/>
                <a:gd name="T35" fmla="*/ 2147483647 h 340"/>
                <a:gd name="T36" fmla="*/ 2147483647 w 454"/>
                <a:gd name="T37" fmla="*/ 2147483647 h 340"/>
                <a:gd name="T38" fmla="*/ 2147483647 w 454"/>
                <a:gd name="T39" fmla="*/ 2147483647 h 340"/>
                <a:gd name="T40" fmla="*/ 2147483647 w 454"/>
                <a:gd name="T41" fmla="*/ 2147483647 h 340"/>
                <a:gd name="T42" fmla="*/ 2147483647 w 454"/>
                <a:gd name="T43" fmla="*/ 2147483647 h 340"/>
                <a:gd name="T44" fmla="*/ 0 w 454"/>
                <a:gd name="T45" fmla="*/ 2147483647 h 340"/>
                <a:gd name="T46" fmla="*/ 2147483647 w 454"/>
                <a:gd name="T47" fmla="*/ 2147483647 h 340"/>
                <a:gd name="T48" fmla="*/ 2147483647 w 454"/>
                <a:gd name="T49" fmla="*/ 2147483647 h 340"/>
                <a:gd name="T50" fmla="*/ 2147483647 w 454"/>
                <a:gd name="T51" fmla="*/ 2147483647 h 340"/>
                <a:gd name="T52" fmla="*/ 2147483647 w 454"/>
                <a:gd name="T53" fmla="*/ 2147483647 h 340"/>
                <a:gd name="T54" fmla="*/ 2147483647 w 454"/>
                <a:gd name="T55" fmla="*/ 2147483647 h 340"/>
                <a:gd name="T56" fmla="*/ 2147483647 w 454"/>
                <a:gd name="T57" fmla="*/ 2147483647 h 340"/>
                <a:gd name="T58" fmla="*/ 2147483647 w 454"/>
                <a:gd name="T59" fmla="*/ 2147483647 h 340"/>
                <a:gd name="T60" fmla="*/ 2147483647 w 454"/>
                <a:gd name="T61" fmla="*/ 2147483647 h 340"/>
                <a:gd name="T62" fmla="*/ 2147483647 w 454"/>
                <a:gd name="T63" fmla="*/ 2147483647 h 340"/>
                <a:gd name="T64" fmla="*/ 2147483647 w 454"/>
                <a:gd name="T65" fmla="*/ 2147483647 h 340"/>
                <a:gd name="T66" fmla="*/ 2147483647 w 454"/>
                <a:gd name="T67" fmla="*/ 2147483647 h 340"/>
                <a:gd name="T68" fmla="*/ 2147483647 w 454"/>
                <a:gd name="T69" fmla="*/ 2147483647 h 340"/>
                <a:gd name="T70" fmla="*/ 2147483647 w 454"/>
                <a:gd name="T71" fmla="*/ 2147483647 h 340"/>
                <a:gd name="T72" fmla="*/ 2147483647 w 454"/>
                <a:gd name="T73" fmla="*/ 2147483647 h 340"/>
                <a:gd name="T74" fmla="*/ 2147483647 w 454"/>
                <a:gd name="T75" fmla="*/ 2147483647 h 340"/>
                <a:gd name="T76" fmla="*/ 2147483647 w 454"/>
                <a:gd name="T77" fmla="*/ 2147483647 h 340"/>
                <a:gd name="T78" fmla="*/ 2147483647 w 454"/>
                <a:gd name="T79" fmla="*/ 2147483647 h 340"/>
                <a:gd name="T80" fmla="*/ 2147483647 w 454"/>
                <a:gd name="T81" fmla="*/ 2147483647 h 340"/>
                <a:gd name="T82" fmla="*/ 2147483647 w 454"/>
                <a:gd name="T83" fmla="*/ 2147483647 h 340"/>
                <a:gd name="T84" fmla="*/ 2147483647 w 454"/>
                <a:gd name="T85" fmla="*/ 2147483647 h 340"/>
                <a:gd name="T86" fmla="*/ 2147483647 w 454"/>
                <a:gd name="T87" fmla="*/ 2147483647 h 340"/>
                <a:gd name="T88" fmla="*/ 2147483647 w 454"/>
                <a:gd name="T89" fmla="*/ 2147483647 h 340"/>
                <a:gd name="T90" fmla="*/ 2147483647 w 454"/>
                <a:gd name="T91" fmla="*/ 2147483647 h 340"/>
                <a:gd name="T92" fmla="*/ 2147483647 w 454"/>
                <a:gd name="T93" fmla="*/ 2147483647 h 340"/>
                <a:gd name="T94" fmla="*/ 2147483647 w 454"/>
                <a:gd name="T95" fmla="*/ 2147483647 h 340"/>
                <a:gd name="T96" fmla="*/ 2147483647 w 454"/>
                <a:gd name="T97" fmla="*/ 2147483647 h 340"/>
                <a:gd name="T98" fmla="*/ 2147483647 w 454"/>
                <a:gd name="T99" fmla="*/ 2147483647 h 340"/>
                <a:gd name="T100" fmla="*/ 2147483647 w 454"/>
                <a:gd name="T101" fmla="*/ 2147483647 h 340"/>
                <a:gd name="T102" fmla="*/ 2147483647 w 454"/>
                <a:gd name="T103" fmla="*/ 2147483647 h 340"/>
                <a:gd name="T104" fmla="*/ 2147483647 w 454"/>
                <a:gd name="T105" fmla="*/ 2147483647 h 340"/>
                <a:gd name="T106" fmla="*/ 2147483647 w 454"/>
                <a:gd name="T107" fmla="*/ 2147483647 h 340"/>
                <a:gd name="T108" fmla="*/ 2147483647 w 454"/>
                <a:gd name="T109" fmla="*/ 2147483647 h 340"/>
                <a:gd name="T110" fmla="*/ 2147483647 w 454"/>
                <a:gd name="T111" fmla="*/ 2147483647 h 340"/>
                <a:gd name="T112" fmla="*/ 2147483647 w 454"/>
                <a:gd name="T113" fmla="*/ 2147483647 h 340"/>
                <a:gd name="T114" fmla="*/ 2147483647 w 454"/>
                <a:gd name="T115" fmla="*/ 2147483647 h 340"/>
                <a:gd name="T116" fmla="*/ 2147483647 w 454"/>
                <a:gd name="T117" fmla="*/ 2147483647 h 340"/>
                <a:gd name="T118" fmla="*/ 2147483647 w 454"/>
                <a:gd name="T119" fmla="*/ 2147483647 h 340"/>
                <a:gd name="T120" fmla="*/ 2147483647 w 454"/>
                <a:gd name="T121" fmla="*/ 2147483647 h 34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54"/>
                <a:gd name="T184" fmla="*/ 0 h 340"/>
                <a:gd name="T185" fmla="*/ 454 w 454"/>
                <a:gd name="T186" fmla="*/ 340 h 34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54" h="340">
                  <a:moveTo>
                    <a:pt x="312" y="340"/>
                  </a:moveTo>
                  <a:lnTo>
                    <a:pt x="310" y="336"/>
                  </a:lnTo>
                  <a:lnTo>
                    <a:pt x="309" y="334"/>
                  </a:lnTo>
                  <a:lnTo>
                    <a:pt x="307" y="332"/>
                  </a:lnTo>
                  <a:lnTo>
                    <a:pt x="303" y="330"/>
                  </a:lnTo>
                  <a:lnTo>
                    <a:pt x="301" y="326"/>
                  </a:lnTo>
                  <a:lnTo>
                    <a:pt x="299" y="324"/>
                  </a:lnTo>
                  <a:lnTo>
                    <a:pt x="297" y="313"/>
                  </a:lnTo>
                  <a:lnTo>
                    <a:pt x="295" y="301"/>
                  </a:lnTo>
                  <a:lnTo>
                    <a:pt x="291" y="297"/>
                  </a:lnTo>
                  <a:lnTo>
                    <a:pt x="289" y="295"/>
                  </a:lnTo>
                  <a:lnTo>
                    <a:pt x="287" y="294"/>
                  </a:lnTo>
                  <a:lnTo>
                    <a:pt x="284" y="290"/>
                  </a:lnTo>
                  <a:lnTo>
                    <a:pt x="282" y="288"/>
                  </a:lnTo>
                  <a:lnTo>
                    <a:pt x="280" y="286"/>
                  </a:lnTo>
                  <a:lnTo>
                    <a:pt x="272" y="284"/>
                  </a:lnTo>
                  <a:lnTo>
                    <a:pt x="264" y="280"/>
                  </a:lnTo>
                  <a:lnTo>
                    <a:pt x="263" y="278"/>
                  </a:lnTo>
                  <a:lnTo>
                    <a:pt x="261" y="276"/>
                  </a:lnTo>
                  <a:lnTo>
                    <a:pt x="251" y="276"/>
                  </a:lnTo>
                  <a:lnTo>
                    <a:pt x="241" y="276"/>
                  </a:lnTo>
                  <a:lnTo>
                    <a:pt x="238" y="278"/>
                  </a:lnTo>
                  <a:lnTo>
                    <a:pt x="236" y="280"/>
                  </a:lnTo>
                  <a:lnTo>
                    <a:pt x="228" y="284"/>
                  </a:lnTo>
                  <a:lnTo>
                    <a:pt x="222" y="286"/>
                  </a:lnTo>
                  <a:lnTo>
                    <a:pt x="218" y="288"/>
                  </a:lnTo>
                  <a:lnTo>
                    <a:pt x="216" y="290"/>
                  </a:lnTo>
                  <a:lnTo>
                    <a:pt x="209" y="294"/>
                  </a:lnTo>
                  <a:lnTo>
                    <a:pt x="203" y="295"/>
                  </a:lnTo>
                  <a:lnTo>
                    <a:pt x="199" y="297"/>
                  </a:lnTo>
                  <a:lnTo>
                    <a:pt x="197" y="301"/>
                  </a:lnTo>
                  <a:lnTo>
                    <a:pt x="170" y="303"/>
                  </a:lnTo>
                  <a:lnTo>
                    <a:pt x="144" y="305"/>
                  </a:lnTo>
                  <a:lnTo>
                    <a:pt x="142" y="307"/>
                  </a:lnTo>
                  <a:lnTo>
                    <a:pt x="140" y="311"/>
                  </a:lnTo>
                  <a:lnTo>
                    <a:pt x="136" y="313"/>
                  </a:lnTo>
                  <a:lnTo>
                    <a:pt x="134" y="315"/>
                  </a:lnTo>
                  <a:lnTo>
                    <a:pt x="132" y="317"/>
                  </a:lnTo>
                  <a:lnTo>
                    <a:pt x="130" y="320"/>
                  </a:lnTo>
                  <a:lnTo>
                    <a:pt x="124" y="320"/>
                  </a:lnTo>
                  <a:lnTo>
                    <a:pt x="121" y="320"/>
                  </a:lnTo>
                  <a:lnTo>
                    <a:pt x="117" y="317"/>
                  </a:lnTo>
                  <a:lnTo>
                    <a:pt x="115" y="315"/>
                  </a:lnTo>
                  <a:lnTo>
                    <a:pt x="105" y="313"/>
                  </a:lnTo>
                  <a:lnTo>
                    <a:pt x="96" y="311"/>
                  </a:lnTo>
                  <a:lnTo>
                    <a:pt x="92" y="311"/>
                  </a:lnTo>
                  <a:lnTo>
                    <a:pt x="86" y="311"/>
                  </a:lnTo>
                  <a:lnTo>
                    <a:pt x="84" y="295"/>
                  </a:lnTo>
                  <a:lnTo>
                    <a:pt x="82" y="280"/>
                  </a:lnTo>
                  <a:lnTo>
                    <a:pt x="65" y="271"/>
                  </a:lnTo>
                  <a:lnTo>
                    <a:pt x="48" y="261"/>
                  </a:lnTo>
                  <a:lnTo>
                    <a:pt x="48" y="257"/>
                  </a:lnTo>
                  <a:lnTo>
                    <a:pt x="48" y="251"/>
                  </a:lnTo>
                  <a:lnTo>
                    <a:pt x="57" y="232"/>
                  </a:lnTo>
                  <a:lnTo>
                    <a:pt x="67" y="213"/>
                  </a:lnTo>
                  <a:lnTo>
                    <a:pt x="51" y="213"/>
                  </a:lnTo>
                  <a:lnTo>
                    <a:pt x="38" y="213"/>
                  </a:lnTo>
                  <a:lnTo>
                    <a:pt x="28" y="209"/>
                  </a:lnTo>
                  <a:lnTo>
                    <a:pt x="19" y="203"/>
                  </a:lnTo>
                  <a:lnTo>
                    <a:pt x="15" y="194"/>
                  </a:lnTo>
                  <a:lnTo>
                    <a:pt x="13" y="184"/>
                  </a:lnTo>
                  <a:lnTo>
                    <a:pt x="11" y="182"/>
                  </a:lnTo>
                  <a:lnTo>
                    <a:pt x="9" y="180"/>
                  </a:lnTo>
                  <a:lnTo>
                    <a:pt x="5" y="163"/>
                  </a:lnTo>
                  <a:lnTo>
                    <a:pt x="3" y="146"/>
                  </a:lnTo>
                  <a:lnTo>
                    <a:pt x="2" y="144"/>
                  </a:lnTo>
                  <a:lnTo>
                    <a:pt x="0" y="140"/>
                  </a:lnTo>
                  <a:lnTo>
                    <a:pt x="0" y="130"/>
                  </a:lnTo>
                  <a:lnTo>
                    <a:pt x="0" y="121"/>
                  </a:lnTo>
                  <a:lnTo>
                    <a:pt x="2" y="119"/>
                  </a:lnTo>
                  <a:lnTo>
                    <a:pt x="3" y="117"/>
                  </a:lnTo>
                  <a:lnTo>
                    <a:pt x="5" y="115"/>
                  </a:lnTo>
                  <a:lnTo>
                    <a:pt x="9" y="111"/>
                  </a:lnTo>
                  <a:lnTo>
                    <a:pt x="11" y="109"/>
                  </a:lnTo>
                  <a:lnTo>
                    <a:pt x="13" y="107"/>
                  </a:lnTo>
                  <a:lnTo>
                    <a:pt x="15" y="94"/>
                  </a:lnTo>
                  <a:lnTo>
                    <a:pt x="19" y="82"/>
                  </a:lnTo>
                  <a:lnTo>
                    <a:pt x="21" y="81"/>
                  </a:lnTo>
                  <a:lnTo>
                    <a:pt x="23" y="79"/>
                  </a:lnTo>
                  <a:lnTo>
                    <a:pt x="40" y="75"/>
                  </a:lnTo>
                  <a:lnTo>
                    <a:pt x="57" y="73"/>
                  </a:lnTo>
                  <a:lnTo>
                    <a:pt x="59" y="71"/>
                  </a:lnTo>
                  <a:lnTo>
                    <a:pt x="63" y="69"/>
                  </a:lnTo>
                  <a:lnTo>
                    <a:pt x="65" y="42"/>
                  </a:lnTo>
                  <a:lnTo>
                    <a:pt x="67" y="15"/>
                  </a:lnTo>
                  <a:lnTo>
                    <a:pt x="69" y="13"/>
                  </a:lnTo>
                  <a:lnTo>
                    <a:pt x="71" y="10"/>
                  </a:lnTo>
                  <a:lnTo>
                    <a:pt x="86" y="8"/>
                  </a:lnTo>
                  <a:lnTo>
                    <a:pt x="99" y="6"/>
                  </a:lnTo>
                  <a:lnTo>
                    <a:pt x="115" y="4"/>
                  </a:lnTo>
                  <a:lnTo>
                    <a:pt x="130" y="0"/>
                  </a:lnTo>
                  <a:lnTo>
                    <a:pt x="132" y="4"/>
                  </a:lnTo>
                  <a:lnTo>
                    <a:pt x="134" y="6"/>
                  </a:lnTo>
                  <a:lnTo>
                    <a:pt x="142" y="8"/>
                  </a:lnTo>
                  <a:lnTo>
                    <a:pt x="149" y="10"/>
                  </a:lnTo>
                  <a:lnTo>
                    <a:pt x="151" y="13"/>
                  </a:lnTo>
                  <a:lnTo>
                    <a:pt x="153" y="15"/>
                  </a:lnTo>
                  <a:lnTo>
                    <a:pt x="167" y="17"/>
                  </a:lnTo>
                  <a:lnTo>
                    <a:pt x="178" y="19"/>
                  </a:lnTo>
                  <a:lnTo>
                    <a:pt x="180" y="23"/>
                  </a:lnTo>
                  <a:lnTo>
                    <a:pt x="182" y="25"/>
                  </a:lnTo>
                  <a:lnTo>
                    <a:pt x="190" y="27"/>
                  </a:lnTo>
                  <a:lnTo>
                    <a:pt x="197" y="29"/>
                  </a:lnTo>
                  <a:lnTo>
                    <a:pt x="199" y="33"/>
                  </a:lnTo>
                  <a:lnTo>
                    <a:pt x="203" y="35"/>
                  </a:lnTo>
                  <a:lnTo>
                    <a:pt x="209" y="36"/>
                  </a:lnTo>
                  <a:lnTo>
                    <a:pt x="216" y="40"/>
                  </a:lnTo>
                  <a:lnTo>
                    <a:pt x="218" y="42"/>
                  </a:lnTo>
                  <a:lnTo>
                    <a:pt x="222" y="44"/>
                  </a:lnTo>
                  <a:lnTo>
                    <a:pt x="228" y="61"/>
                  </a:lnTo>
                  <a:lnTo>
                    <a:pt x="236" y="79"/>
                  </a:lnTo>
                  <a:lnTo>
                    <a:pt x="238" y="81"/>
                  </a:lnTo>
                  <a:lnTo>
                    <a:pt x="241" y="82"/>
                  </a:lnTo>
                  <a:lnTo>
                    <a:pt x="263" y="84"/>
                  </a:lnTo>
                  <a:lnTo>
                    <a:pt x="284" y="88"/>
                  </a:lnTo>
                  <a:lnTo>
                    <a:pt x="287" y="90"/>
                  </a:lnTo>
                  <a:lnTo>
                    <a:pt x="289" y="92"/>
                  </a:lnTo>
                  <a:lnTo>
                    <a:pt x="297" y="94"/>
                  </a:lnTo>
                  <a:lnTo>
                    <a:pt x="303" y="98"/>
                  </a:lnTo>
                  <a:lnTo>
                    <a:pt x="307" y="100"/>
                  </a:lnTo>
                  <a:lnTo>
                    <a:pt x="309" y="102"/>
                  </a:lnTo>
                  <a:lnTo>
                    <a:pt x="324" y="104"/>
                  </a:lnTo>
                  <a:lnTo>
                    <a:pt x="339" y="104"/>
                  </a:lnTo>
                  <a:lnTo>
                    <a:pt x="357" y="106"/>
                  </a:lnTo>
                  <a:lnTo>
                    <a:pt x="372" y="107"/>
                  </a:lnTo>
                  <a:lnTo>
                    <a:pt x="374" y="109"/>
                  </a:lnTo>
                  <a:lnTo>
                    <a:pt x="376" y="111"/>
                  </a:lnTo>
                  <a:lnTo>
                    <a:pt x="374" y="115"/>
                  </a:lnTo>
                  <a:lnTo>
                    <a:pt x="372" y="117"/>
                  </a:lnTo>
                  <a:lnTo>
                    <a:pt x="372" y="121"/>
                  </a:lnTo>
                  <a:lnTo>
                    <a:pt x="372" y="127"/>
                  </a:lnTo>
                  <a:lnTo>
                    <a:pt x="374" y="129"/>
                  </a:lnTo>
                  <a:lnTo>
                    <a:pt x="376" y="130"/>
                  </a:lnTo>
                  <a:lnTo>
                    <a:pt x="376" y="153"/>
                  </a:lnTo>
                  <a:lnTo>
                    <a:pt x="376" y="175"/>
                  </a:lnTo>
                  <a:lnTo>
                    <a:pt x="387" y="175"/>
                  </a:lnTo>
                  <a:lnTo>
                    <a:pt x="393" y="175"/>
                  </a:lnTo>
                  <a:lnTo>
                    <a:pt x="395" y="173"/>
                  </a:lnTo>
                  <a:lnTo>
                    <a:pt x="395" y="169"/>
                  </a:lnTo>
                  <a:lnTo>
                    <a:pt x="399" y="167"/>
                  </a:lnTo>
                  <a:lnTo>
                    <a:pt x="401" y="165"/>
                  </a:lnTo>
                  <a:lnTo>
                    <a:pt x="403" y="157"/>
                  </a:lnTo>
                  <a:lnTo>
                    <a:pt x="406" y="152"/>
                  </a:lnTo>
                  <a:lnTo>
                    <a:pt x="408" y="148"/>
                  </a:lnTo>
                  <a:lnTo>
                    <a:pt x="410" y="146"/>
                  </a:lnTo>
                  <a:lnTo>
                    <a:pt x="422" y="146"/>
                  </a:lnTo>
                  <a:lnTo>
                    <a:pt x="435" y="146"/>
                  </a:lnTo>
                  <a:lnTo>
                    <a:pt x="435" y="159"/>
                  </a:lnTo>
                  <a:lnTo>
                    <a:pt x="437" y="175"/>
                  </a:lnTo>
                  <a:lnTo>
                    <a:pt x="437" y="188"/>
                  </a:lnTo>
                  <a:lnTo>
                    <a:pt x="439" y="203"/>
                  </a:lnTo>
                  <a:lnTo>
                    <a:pt x="441" y="205"/>
                  </a:lnTo>
                  <a:lnTo>
                    <a:pt x="445" y="209"/>
                  </a:lnTo>
                  <a:lnTo>
                    <a:pt x="447" y="215"/>
                  </a:lnTo>
                  <a:lnTo>
                    <a:pt x="449" y="223"/>
                  </a:lnTo>
                  <a:lnTo>
                    <a:pt x="451" y="224"/>
                  </a:lnTo>
                  <a:lnTo>
                    <a:pt x="454" y="228"/>
                  </a:lnTo>
                  <a:lnTo>
                    <a:pt x="454" y="232"/>
                  </a:lnTo>
                  <a:lnTo>
                    <a:pt x="454" y="238"/>
                  </a:lnTo>
                  <a:lnTo>
                    <a:pt x="451" y="240"/>
                  </a:lnTo>
                  <a:lnTo>
                    <a:pt x="449" y="242"/>
                  </a:lnTo>
                  <a:lnTo>
                    <a:pt x="441" y="259"/>
                  </a:lnTo>
                  <a:lnTo>
                    <a:pt x="435" y="276"/>
                  </a:lnTo>
                  <a:lnTo>
                    <a:pt x="431" y="278"/>
                  </a:lnTo>
                  <a:lnTo>
                    <a:pt x="429" y="280"/>
                  </a:lnTo>
                  <a:lnTo>
                    <a:pt x="408" y="288"/>
                  </a:lnTo>
                  <a:lnTo>
                    <a:pt x="385" y="295"/>
                  </a:lnTo>
                  <a:lnTo>
                    <a:pt x="383" y="297"/>
                  </a:lnTo>
                  <a:lnTo>
                    <a:pt x="381" y="301"/>
                  </a:lnTo>
                  <a:lnTo>
                    <a:pt x="364" y="301"/>
                  </a:lnTo>
                  <a:lnTo>
                    <a:pt x="347" y="301"/>
                  </a:lnTo>
                  <a:lnTo>
                    <a:pt x="347" y="307"/>
                  </a:lnTo>
                  <a:lnTo>
                    <a:pt x="347" y="315"/>
                  </a:lnTo>
                  <a:lnTo>
                    <a:pt x="345" y="317"/>
                  </a:lnTo>
                  <a:lnTo>
                    <a:pt x="343" y="320"/>
                  </a:lnTo>
                  <a:lnTo>
                    <a:pt x="339" y="322"/>
                  </a:lnTo>
                  <a:lnTo>
                    <a:pt x="337" y="324"/>
                  </a:lnTo>
                  <a:lnTo>
                    <a:pt x="335" y="326"/>
                  </a:lnTo>
                  <a:lnTo>
                    <a:pt x="334" y="330"/>
                  </a:lnTo>
                  <a:lnTo>
                    <a:pt x="330" y="332"/>
                  </a:lnTo>
                  <a:lnTo>
                    <a:pt x="328" y="334"/>
                  </a:lnTo>
                  <a:lnTo>
                    <a:pt x="326" y="336"/>
                  </a:lnTo>
                  <a:lnTo>
                    <a:pt x="324" y="340"/>
                  </a:lnTo>
                  <a:lnTo>
                    <a:pt x="318" y="340"/>
                  </a:lnTo>
                  <a:lnTo>
                    <a:pt x="312" y="340"/>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24" name="Freeform 295"/>
            <p:cNvSpPr>
              <a:spLocks/>
            </p:cNvSpPr>
            <p:nvPr>
              <p:custDataLst>
                <p:tags r:id="rId14"/>
              </p:custDataLst>
            </p:nvPr>
          </p:nvSpPr>
          <p:spPr bwMode="gray">
            <a:xfrm>
              <a:off x="3575050" y="4698816"/>
              <a:ext cx="434975" cy="590550"/>
            </a:xfrm>
            <a:custGeom>
              <a:avLst/>
              <a:gdLst>
                <a:gd name="T0" fmla="*/ 2147483647 w 280"/>
                <a:gd name="T1" fmla="*/ 2147483647 h 395"/>
                <a:gd name="T2" fmla="*/ 2147483647 w 280"/>
                <a:gd name="T3" fmla="*/ 2147483647 h 395"/>
                <a:gd name="T4" fmla="*/ 2147483647 w 280"/>
                <a:gd name="T5" fmla="*/ 2147483647 h 395"/>
                <a:gd name="T6" fmla="*/ 2147483647 w 280"/>
                <a:gd name="T7" fmla="*/ 2147483647 h 395"/>
                <a:gd name="T8" fmla="*/ 0 w 280"/>
                <a:gd name="T9" fmla="*/ 2147483647 h 395"/>
                <a:gd name="T10" fmla="*/ 2147483647 w 280"/>
                <a:gd name="T11" fmla="*/ 2147483647 h 395"/>
                <a:gd name="T12" fmla="*/ 2147483647 w 280"/>
                <a:gd name="T13" fmla="*/ 2147483647 h 395"/>
                <a:gd name="T14" fmla="*/ 2147483647 w 280"/>
                <a:gd name="T15" fmla="*/ 2147483647 h 395"/>
                <a:gd name="T16" fmla="*/ 2147483647 w 280"/>
                <a:gd name="T17" fmla="*/ 2147483647 h 395"/>
                <a:gd name="T18" fmla="*/ 2147483647 w 280"/>
                <a:gd name="T19" fmla="*/ 2147483647 h 395"/>
                <a:gd name="T20" fmla="*/ 2147483647 w 280"/>
                <a:gd name="T21" fmla="*/ 2147483647 h 395"/>
                <a:gd name="T22" fmla="*/ 2147483647 w 280"/>
                <a:gd name="T23" fmla="*/ 2147483647 h 395"/>
                <a:gd name="T24" fmla="*/ 2147483647 w 280"/>
                <a:gd name="T25" fmla="*/ 2147483647 h 395"/>
                <a:gd name="T26" fmla="*/ 2147483647 w 280"/>
                <a:gd name="T27" fmla="*/ 2147483647 h 395"/>
                <a:gd name="T28" fmla="*/ 2147483647 w 280"/>
                <a:gd name="T29" fmla="*/ 2147483647 h 395"/>
                <a:gd name="T30" fmla="*/ 2147483647 w 280"/>
                <a:gd name="T31" fmla="*/ 2147483647 h 395"/>
                <a:gd name="T32" fmla="*/ 2147483647 w 280"/>
                <a:gd name="T33" fmla="*/ 2147483647 h 395"/>
                <a:gd name="T34" fmla="*/ 2147483647 w 280"/>
                <a:gd name="T35" fmla="*/ 2147483647 h 395"/>
                <a:gd name="T36" fmla="*/ 2147483647 w 280"/>
                <a:gd name="T37" fmla="*/ 2147483647 h 395"/>
                <a:gd name="T38" fmla="*/ 2147483647 w 280"/>
                <a:gd name="T39" fmla="*/ 2147483647 h 395"/>
                <a:gd name="T40" fmla="*/ 2147483647 w 280"/>
                <a:gd name="T41" fmla="*/ 2147483647 h 395"/>
                <a:gd name="T42" fmla="*/ 2147483647 w 280"/>
                <a:gd name="T43" fmla="*/ 2147483647 h 395"/>
                <a:gd name="T44" fmla="*/ 2147483647 w 280"/>
                <a:gd name="T45" fmla="*/ 2147483647 h 395"/>
                <a:gd name="T46" fmla="*/ 2147483647 w 280"/>
                <a:gd name="T47" fmla="*/ 2147483647 h 395"/>
                <a:gd name="T48" fmla="*/ 2147483647 w 280"/>
                <a:gd name="T49" fmla="*/ 2147483647 h 395"/>
                <a:gd name="T50" fmla="*/ 2147483647 w 280"/>
                <a:gd name="T51" fmla="*/ 2147483647 h 395"/>
                <a:gd name="T52" fmla="*/ 2147483647 w 280"/>
                <a:gd name="T53" fmla="*/ 2147483647 h 395"/>
                <a:gd name="T54" fmla="*/ 2147483647 w 280"/>
                <a:gd name="T55" fmla="*/ 2147483647 h 395"/>
                <a:gd name="T56" fmla="*/ 2147483647 w 280"/>
                <a:gd name="T57" fmla="*/ 0 h 395"/>
                <a:gd name="T58" fmla="*/ 2147483647 w 280"/>
                <a:gd name="T59" fmla="*/ 2147483647 h 395"/>
                <a:gd name="T60" fmla="*/ 2147483647 w 280"/>
                <a:gd name="T61" fmla="*/ 2147483647 h 395"/>
                <a:gd name="T62" fmla="*/ 2147483647 w 280"/>
                <a:gd name="T63" fmla="*/ 2147483647 h 395"/>
                <a:gd name="T64" fmla="*/ 2147483647 w 280"/>
                <a:gd name="T65" fmla="*/ 2147483647 h 395"/>
                <a:gd name="T66" fmla="*/ 2147483647 w 280"/>
                <a:gd name="T67" fmla="*/ 2147483647 h 395"/>
                <a:gd name="T68" fmla="*/ 2147483647 w 280"/>
                <a:gd name="T69" fmla="*/ 2147483647 h 395"/>
                <a:gd name="T70" fmla="*/ 2147483647 w 280"/>
                <a:gd name="T71" fmla="*/ 2147483647 h 395"/>
                <a:gd name="T72" fmla="*/ 2147483647 w 280"/>
                <a:gd name="T73" fmla="*/ 2147483647 h 395"/>
                <a:gd name="T74" fmla="*/ 2147483647 w 280"/>
                <a:gd name="T75" fmla="*/ 2147483647 h 395"/>
                <a:gd name="T76" fmla="*/ 2147483647 w 280"/>
                <a:gd name="T77" fmla="*/ 2147483647 h 395"/>
                <a:gd name="T78" fmla="*/ 2147483647 w 280"/>
                <a:gd name="T79" fmla="*/ 2147483647 h 395"/>
                <a:gd name="T80" fmla="*/ 2147483647 w 280"/>
                <a:gd name="T81" fmla="*/ 2147483647 h 395"/>
                <a:gd name="T82" fmla="*/ 2147483647 w 280"/>
                <a:gd name="T83" fmla="*/ 2147483647 h 395"/>
                <a:gd name="T84" fmla="*/ 2147483647 w 280"/>
                <a:gd name="T85" fmla="*/ 2147483647 h 395"/>
                <a:gd name="T86" fmla="*/ 2147483647 w 280"/>
                <a:gd name="T87" fmla="*/ 2147483647 h 395"/>
                <a:gd name="T88" fmla="*/ 2147483647 w 280"/>
                <a:gd name="T89" fmla="*/ 2147483647 h 395"/>
                <a:gd name="T90" fmla="*/ 2147483647 w 280"/>
                <a:gd name="T91" fmla="*/ 2147483647 h 395"/>
                <a:gd name="T92" fmla="*/ 2147483647 w 280"/>
                <a:gd name="T93" fmla="*/ 2147483647 h 395"/>
                <a:gd name="T94" fmla="*/ 2147483647 w 280"/>
                <a:gd name="T95" fmla="*/ 2147483647 h 395"/>
                <a:gd name="T96" fmla="*/ 2147483647 w 280"/>
                <a:gd name="T97" fmla="*/ 2147483647 h 395"/>
                <a:gd name="T98" fmla="*/ 2147483647 w 280"/>
                <a:gd name="T99" fmla="*/ 2147483647 h 395"/>
                <a:gd name="T100" fmla="*/ 2147483647 w 280"/>
                <a:gd name="T101" fmla="*/ 2147483647 h 395"/>
                <a:gd name="T102" fmla="*/ 2147483647 w 280"/>
                <a:gd name="T103" fmla="*/ 2147483647 h 395"/>
                <a:gd name="T104" fmla="*/ 2147483647 w 280"/>
                <a:gd name="T105" fmla="*/ 2147483647 h 395"/>
                <a:gd name="T106" fmla="*/ 2147483647 w 280"/>
                <a:gd name="T107" fmla="*/ 2147483647 h 395"/>
                <a:gd name="T108" fmla="*/ 2147483647 w 280"/>
                <a:gd name="T109" fmla="*/ 2147483647 h 395"/>
                <a:gd name="T110" fmla="*/ 2147483647 w 280"/>
                <a:gd name="T111" fmla="*/ 2147483647 h 395"/>
                <a:gd name="T112" fmla="*/ 2147483647 w 280"/>
                <a:gd name="T113" fmla="*/ 2147483647 h 395"/>
                <a:gd name="T114" fmla="*/ 2147483647 w 280"/>
                <a:gd name="T115" fmla="*/ 2147483647 h 395"/>
                <a:gd name="T116" fmla="*/ 2147483647 w 280"/>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0"/>
                <a:gd name="T178" fmla="*/ 0 h 395"/>
                <a:gd name="T179" fmla="*/ 280 w 280"/>
                <a:gd name="T180" fmla="*/ 395 h 39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0" h="395">
                  <a:moveTo>
                    <a:pt x="115" y="395"/>
                  </a:moveTo>
                  <a:lnTo>
                    <a:pt x="115" y="386"/>
                  </a:lnTo>
                  <a:lnTo>
                    <a:pt x="115" y="376"/>
                  </a:lnTo>
                  <a:lnTo>
                    <a:pt x="105" y="376"/>
                  </a:lnTo>
                  <a:lnTo>
                    <a:pt x="96" y="376"/>
                  </a:lnTo>
                  <a:lnTo>
                    <a:pt x="96" y="363"/>
                  </a:lnTo>
                  <a:lnTo>
                    <a:pt x="96" y="347"/>
                  </a:lnTo>
                  <a:lnTo>
                    <a:pt x="69" y="336"/>
                  </a:lnTo>
                  <a:lnTo>
                    <a:pt x="42" y="322"/>
                  </a:lnTo>
                  <a:lnTo>
                    <a:pt x="30" y="330"/>
                  </a:lnTo>
                  <a:lnTo>
                    <a:pt x="19" y="338"/>
                  </a:lnTo>
                  <a:lnTo>
                    <a:pt x="13" y="338"/>
                  </a:lnTo>
                  <a:lnTo>
                    <a:pt x="9" y="338"/>
                  </a:lnTo>
                  <a:lnTo>
                    <a:pt x="4" y="338"/>
                  </a:lnTo>
                  <a:lnTo>
                    <a:pt x="0" y="338"/>
                  </a:lnTo>
                  <a:lnTo>
                    <a:pt x="4" y="328"/>
                  </a:lnTo>
                  <a:lnTo>
                    <a:pt x="9" y="318"/>
                  </a:lnTo>
                  <a:lnTo>
                    <a:pt x="9" y="313"/>
                  </a:lnTo>
                  <a:lnTo>
                    <a:pt x="9" y="309"/>
                  </a:lnTo>
                  <a:lnTo>
                    <a:pt x="15" y="309"/>
                  </a:lnTo>
                  <a:lnTo>
                    <a:pt x="17" y="307"/>
                  </a:lnTo>
                  <a:lnTo>
                    <a:pt x="19" y="301"/>
                  </a:lnTo>
                  <a:lnTo>
                    <a:pt x="19" y="290"/>
                  </a:lnTo>
                  <a:lnTo>
                    <a:pt x="13" y="290"/>
                  </a:lnTo>
                  <a:lnTo>
                    <a:pt x="9" y="290"/>
                  </a:lnTo>
                  <a:lnTo>
                    <a:pt x="9" y="280"/>
                  </a:lnTo>
                  <a:lnTo>
                    <a:pt x="9" y="270"/>
                  </a:lnTo>
                  <a:lnTo>
                    <a:pt x="9" y="265"/>
                  </a:lnTo>
                  <a:lnTo>
                    <a:pt x="9" y="261"/>
                  </a:lnTo>
                  <a:lnTo>
                    <a:pt x="9" y="255"/>
                  </a:lnTo>
                  <a:lnTo>
                    <a:pt x="9" y="251"/>
                  </a:lnTo>
                  <a:lnTo>
                    <a:pt x="9" y="245"/>
                  </a:lnTo>
                  <a:lnTo>
                    <a:pt x="9" y="242"/>
                  </a:lnTo>
                  <a:lnTo>
                    <a:pt x="9" y="234"/>
                  </a:lnTo>
                  <a:lnTo>
                    <a:pt x="9" y="226"/>
                  </a:lnTo>
                  <a:lnTo>
                    <a:pt x="11" y="224"/>
                  </a:lnTo>
                  <a:lnTo>
                    <a:pt x="13" y="221"/>
                  </a:lnTo>
                  <a:lnTo>
                    <a:pt x="17" y="209"/>
                  </a:lnTo>
                  <a:lnTo>
                    <a:pt x="19" y="198"/>
                  </a:lnTo>
                  <a:lnTo>
                    <a:pt x="21" y="196"/>
                  </a:lnTo>
                  <a:lnTo>
                    <a:pt x="23" y="192"/>
                  </a:lnTo>
                  <a:lnTo>
                    <a:pt x="27" y="190"/>
                  </a:lnTo>
                  <a:lnTo>
                    <a:pt x="28" y="188"/>
                  </a:lnTo>
                  <a:lnTo>
                    <a:pt x="30" y="186"/>
                  </a:lnTo>
                  <a:lnTo>
                    <a:pt x="34" y="182"/>
                  </a:lnTo>
                  <a:lnTo>
                    <a:pt x="40" y="171"/>
                  </a:lnTo>
                  <a:lnTo>
                    <a:pt x="48" y="159"/>
                  </a:lnTo>
                  <a:lnTo>
                    <a:pt x="50" y="155"/>
                  </a:lnTo>
                  <a:lnTo>
                    <a:pt x="51" y="153"/>
                  </a:lnTo>
                  <a:lnTo>
                    <a:pt x="55" y="151"/>
                  </a:lnTo>
                  <a:lnTo>
                    <a:pt x="57" y="150"/>
                  </a:lnTo>
                  <a:lnTo>
                    <a:pt x="59" y="146"/>
                  </a:lnTo>
                  <a:lnTo>
                    <a:pt x="63" y="144"/>
                  </a:lnTo>
                  <a:lnTo>
                    <a:pt x="69" y="142"/>
                  </a:lnTo>
                  <a:lnTo>
                    <a:pt x="76" y="140"/>
                  </a:lnTo>
                  <a:lnTo>
                    <a:pt x="78" y="138"/>
                  </a:lnTo>
                  <a:lnTo>
                    <a:pt x="82" y="134"/>
                  </a:lnTo>
                  <a:lnTo>
                    <a:pt x="82" y="121"/>
                  </a:lnTo>
                  <a:lnTo>
                    <a:pt x="82" y="105"/>
                  </a:lnTo>
                  <a:lnTo>
                    <a:pt x="78" y="104"/>
                  </a:lnTo>
                  <a:lnTo>
                    <a:pt x="76" y="100"/>
                  </a:lnTo>
                  <a:lnTo>
                    <a:pt x="75" y="98"/>
                  </a:lnTo>
                  <a:lnTo>
                    <a:pt x="73" y="96"/>
                  </a:lnTo>
                  <a:lnTo>
                    <a:pt x="69" y="94"/>
                  </a:lnTo>
                  <a:lnTo>
                    <a:pt x="67" y="92"/>
                  </a:lnTo>
                  <a:lnTo>
                    <a:pt x="55" y="88"/>
                  </a:lnTo>
                  <a:lnTo>
                    <a:pt x="44" y="86"/>
                  </a:lnTo>
                  <a:lnTo>
                    <a:pt x="40" y="84"/>
                  </a:lnTo>
                  <a:lnTo>
                    <a:pt x="38" y="82"/>
                  </a:lnTo>
                  <a:lnTo>
                    <a:pt x="38" y="77"/>
                  </a:lnTo>
                  <a:lnTo>
                    <a:pt x="38" y="71"/>
                  </a:lnTo>
                  <a:lnTo>
                    <a:pt x="40" y="69"/>
                  </a:lnTo>
                  <a:lnTo>
                    <a:pt x="44" y="67"/>
                  </a:lnTo>
                  <a:lnTo>
                    <a:pt x="46" y="65"/>
                  </a:lnTo>
                  <a:lnTo>
                    <a:pt x="48" y="61"/>
                  </a:lnTo>
                  <a:lnTo>
                    <a:pt x="50" y="59"/>
                  </a:lnTo>
                  <a:lnTo>
                    <a:pt x="51" y="57"/>
                  </a:lnTo>
                  <a:lnTo>
                    <a:pt x="55" y="40"/>
                  </a:lnTo>
                  <a:lnTo>
                    <a:pt x="57" y="23"/>
                  </a:lnTo>
                  <a:lnTo>
                    <a:pt x="59" y="21"/>
                  </a:lnTo>
                  <a:lnTo>
                    <a:pt x="63" y="19"/>
                  </a:lnTo>
                  <a:lnTo>
                    <a:pt x="65" y="15"/>
                  </a:lnTo>
                  <a:lnTo>
                    <a:pt x="67" y="13"/>
                  </a:lnTo>
                  <a:lnTo>
                    <a:pt x="69" y="11"/>
                  </a:lnTo>
                  <a:lnTo>
                    <a:pt x="73" y="9"/>
                  </a:lnTo>
                  <a:lnTo>
                    <a:pt x="82" y="4"/>
                  </a:lnTo>
                  <a:lnTo>
                    <a:pt x="92" y="0"/>
                  </a:lnTo>
                  <a:lnTo>
                    <a:pt x="94" y="2"/>
                  </a:lnTo>
                  <a:lnTo>
                    <a:pt x="96" y="4"/>
                  </a:lnTo>
                  <a:lnTo>
                    <a:pt x="94" y="6"/>
                  </a:lnTo>
                  <a:lnTo>
                    <a:pt x="92" y="9"/>
                  </a:lnTo>
                  <a:lnTo>
                    <a:pt x="92" y="13"/>
                  </a:lnTo>
                  <a:lnTo>
                    <a:pt x="92" y="19"/>
                  </a:lnTo>
                  <a:lnTo>
                    <a:pt x="94" y="21"/>
                  </a:lnTo>
                  <a:lnTo>
                    <a:pt x="96" y="23"/>
                  </a:lnTo>
                  <a:lnTo>
                    <a:pt x="98" y="25"/>
                  </a:lnTo>
                  <a:lnTo>
                    <a:pt x="101" y="29"/>
                  </a:lnTo>
                  <a:lnTo>
                    <a:pt x="103" y="31"/>
                  </a:lnTo>
                  <a:lnTo>
                    <a:pt x="105" y="33"/>
                  </a:lnTo>
                  <a:lnTo>
                    <a:pt x="119" y="34"/>
                  </a:lnTo>
                  <a:lnTo>
                    <a:pt x="130" y="38"/>
                  </a:lnTo>
                  <a:lnTo>
                    <a:pt x="132" y="40"/>
                  </a:lnTo>
                  <a:lnTo>
                    <a:pt x="134" y="42"/>
                  </a:lnTo>
                  <a:lnTo>
                    <a:pt x="136" y="46"/>
                  </a:lnTo>
                  <a:lnTo>
                    <a:pt x="140" y="48"/>
                  </a:lnTo>
                  <a:lnTo>
                    <a:pt x="142" y="50"/>
                  </a:lnTo>
                  <a:lnTo>
                    <a:pt x="144" y="52"/>
                  </a:lnTo>
                  <a:lnTo>
                    <a:pt x="149" y="56"/>
                  </a:lnTo>
                  <a:lnTo>
                    <a:pt x="159" y="56"/>
                  </a:lnTo>
                  <a:lnTo>
                    <a:pt x="169" y="56"/>
                  </a:lnTo>
                  <a:lnTo>
                    <a:pt x="172" y="52"/>
                  </a:lnTo>
                  <a:lnTo>
                    <a:pt x="176" y="50"/>
                  </a:lnTo>
                  <a:lnTo>
                    <a:pt x="178" y="48"/>
                  </a:lnTo>
                  <a:lnTo>
                    <a:pt x="182" y="48"/>
                  </a:lnTo>
                  <a:lnTo>
                    <a:pt x="188" y="48"/>
                  </a:lnTo>
                  <a:lnTo>
                    <a:pt x="190" y="50"/>
                  </a:lnTo>
                  <a:lnTo>
                    <a:pt x="193" y="52"/>
                  </a:lnTo>
                  <a:lnTo>
                    <a:pt x="201" y="56"/>
                  </a:lnTo>
                  <a:lnTo>
                    <a:pt x="216" y="56"/>
                  </a:lnTo>
                  <a:lnTo>
                    <a:pt x="234" y="56"/>
                  </a:lnTo>
                  <a:lnTo>
                    <a:pt x="241" y="52"/>
                  </a:lnTo>
                  <a:lnTo>
                    <a:pt x="243" y="50"/>
                  </a:lnTo>
                  <a:lnTo>
                    <a:pt x="245" y="48"/>
                  </a:lnTo>
                  <a:lnTo>
                    <a:pt x="249" y="50"/>
                  </a:lnTo>
                  <a:lnTo>
                    <a:pt x="251" y="52"/>
                  </a:lnTo>
                  <a:lnTo>
                    <a:pt x="253" y="59"/>
                  </a:lnTo>
                  <a:lnTo>
                    <a:pt x="255" y="67"/>
                  </a:lnTo>
                  <a:lnTo>
                    <a:pt x="257" y="69"/>
                  </a:lnTo>
                  <a:lnTo>
                    <a:pt x="261" y="71"/>
                  </a:lnTo>
                  <a:lnTo>
                    <a:pt x="263" y="79"/>
                  </a:lnTo>
                  <a:lnTo>
                    <a:pt x="266" y="86"/>
                  </a:lnTo>
                  <a:lnTo>
                    <a:pt x="268" y="88"/>
                  </a:lnTo>
                  <a:lnTo>
                    <a:pt x="270" y="92"/>
                  </a:lnTo>
                  <a:lnTo>
                    <a:pt x="272" y="117"/>
                  </a:lnTo>
                  <a:lnTo>
                    <a:pt x="276" y="144"/>
                  </a:lnTo>
                  <a:lnTo>
                    <a:pt x="278" y="146"/>
                  </a:lnTo>
                  <a:lnTo>
                    <a:pt x="280" y="150"/>
                  </a:lnTo>
                  <a:lnTo>
                    <a:pt x="280" y="159"/>
                  </a:lnTo>
                  <a:lnTo>
                    <a:pt x="280" y="169"/>
                  </a:lnTo>
                  <a:lnTo>
                    <a:pt x="278" y="171"/>
                  </a:lnTo>
                  <a:lnTo>
                    <a:pt x="276" y="173"/>
                  </a:lnTo>
                  <a:lnTo>
                    <a:pt x="272" y="199"/>
                  </a:lnTo>
                  <a:lnTo>
                    <a:pt x="270" y="226"/>
                  </a:lnTo>
                  <a:lnTo>
                    <a:pt x="268" y="228"/>
                  </a:lnTo>
                  <a:lnTo>
                    <a:pt x="266" y="232"/>
                  </a:lnTo>
                  <a:lnTo>
                    <a:pt x="249" y="234"/>
                  </a:lnTo>
                  <a:lnTo>
                    <a:pt x="232" y="236"/>
                  </a:lnTo>
                  <a:lnTo>
                    <a:pt x="228" y="238"/>
                  </a:lnTo>
                  <a:lnTo>
                    <a:pt x="226" y="242"/>
                  </a:lnTo>
                  <a:lnTo>
                    <a:pt x="224" y="253"/>
                  </a:lnTo>
                  <a:lnTo>
                    <a:pt x="222" y="265"/>
                  </a:lnTo>
                  <a:lnTo>
                    <a:pt x="218" y="267"/>
                  </a:lnTo>
                  <a:lnTo>
                    <a:pt x="216" y="270"/>
                  </a:lnTo>
                  <a:lnTo>
                    <a:pt x="215" y="272"/>
                  </a:lnTo>
                  <a:lnTo>
                    <a:pt x="213" y="274"/>
                  </a:lnTo>
                  <a:lnTo>
                    <a:pt x="209" y="278"/>
                  </a:lnTo>
                  <a:lnTo>
                    <a:pt x="207" y="280"/>
                  </a:lnTo>
                  <a:lnTo>
                    <a:pt x="207" y="293"/>
                  </a:lnTo>
                  <a:lnTo>
                    <a:pt x="207" y="309"/>
                  </a:lnTo>
                  <a:lnTo>
                    <a:pt x="209" y="311"/>
                  </a:lnTo>
                  <a:lnTo>
                    <a:pt x="213" y="315"/>
                  </a:lnTo>
                  <a:lnTo>
                    <a:pt x="215" y="330"/>
                  </a:lnTo>
                  <a:lnTo>
                    <a:pt x="216" y="347"/>
                  </a:lnTo>
                  <a:lnTo>
                    <a:pt x="218" y="349"/>
                  </a:lnTo>
                  <a:lnTo>
                    <a:pt x="222" y="353"/>
                  </a:lnTo>
                  <a:lnTo>
                    <a:pt x="222" y="359"/>
                  </a:lnTo>
                  <a:lnTo>
                    <a:pt x="222" y="366"/>
                  </a:lnTo>
                  <a:lnTo>
                    <a:pt x="216" y="366"/>
                  </a:lnTo>
                  <a:lnTo>
                    <a:pt x="213" y="366"/>
                  </a:lnTo>
                  <a:lnTo>
                    <a:pt x="207" y="372"/>
                  </a:lnTo>
                  <a:lnTo>
                    <a:pt x="203" y="376"/>
                  </a:lnTo>
                  <a:lnTo>
                    <a:pt x="180" y="380"/>
                  </a:lnTo>
                  <a:lnTo>
                    <a:pt x="167" y="382"/>
                  </a:lnTo>
                  <a:lnTo>
                    <a:pt x="157" y="387"/>
                  </a:lnTo>
                  <a:lnTo>
                    <a:pt x="144" y="395"/>
                  </a:lnTo>
                  <a:lnTo>
                    <a:pt x="130" y="395"/>
                  </a:lnTo>
                  <a:lnTo>
                    <a:pt x="115" y="395"/>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25" name="Freeform 296"/>
            <p:cNvSpPr>
              <a:spLocks/>
            </p:cNvSpPr>
            <p:nvPr>
              <p:custDataLst>
                <p:tags r:id="rId15"/>
              </p:custDataLst>
            </p:nvPr>
          </p:nvSpPr>
          <p:spPr bwMode="gray">
            <a:xfrm>
              <a:off x="2613025" y="4686116"/>
              <a:ext cx="406400" cy="430212"/>
            </a:xfrm>
            <a:custGeom>
              <a:avLst/>
              <a:gdLst>
                <a:gd name="T0" fmla="*/ 2147483647 w 261"/>
                <a:gd name="T1" fmla="*/ 2147483647 h 290"/>
                <a:gd name="T2" fmla="*/ 2147483647 w 261"/>
                <a:gd name="T3" fmla="*/ 2147483647 h 290"/>
                <a:gd name="T4" fmla="*/ 2147483647 w 261"/>
                <a:gd name="T5" fmla="*/ 2147483647 h 290"/>
                <a:gd name="T6" fmla="*/ 2147483647 w 261"/>
                <a:gd name="T7" fmla="*/ 2147483647 h 290"/>
                <a:gd name="T8" fmla="*/ 2147483647 w 261"/>
                <a:gd name="T9" fmla="*/ 2147483647 h 290"/>
                <a:gd name="T10" fmla="*/ 2147483647 w 261"/>
                <a:gd name="T11" fmla="*/ 2147483647 h 290"/>
                <a:gd name="T12" fmla="*/ 2147483647 w 261"/>
                <a:gd name="T13" fmla="*/ 2147483647 h 290"/>
                <a:gd name="T14" fmla="*/ 2147483647 w 261"/>
                <a:gd name="T15" fmla="*/ 2147483647 h 290"/>
                <a:gd name="T16" fmla="*/ 2147483647 w 261"/>
                <a:gd name="T17" fmla="*/ 2147483647 h 290"/>
                <a:gd name="T18" fmla="*/ 2147483647 w 261"/>
                <a:gd name="T19" fmla="*/ 2147483647 h 290"/>
                <a:gd name="T20" fmla="*/ 2147483647 w 261"/>
                <a:gd name="T21" fmla="*/ 2147483647 h 290"/>
                <a:gd name="T22" fmla="*/ 2147483647 w 261"/>
                <a:gd name="T23" fmla="*/ 2147483647 h 290"/>
                <a:gd name="T24" fmla="*/ 2147483647 w 261"/>
                <a:gd name="T25" fmla="*/ 2147483647 h 290"/>
                <a:gd name="T26" fmla="*/ 2147483647 w 261"/>
                <a:gd name="T27" fmla="*/ 2147483647 h 290"/>
                <a:gd name="T28" fmla="*/ 2147483647 w 261"/>
                <a:gd name="T29" fmla="*/ 2147483647 h 290"/>
                <a:gd name="T30" fmla="*/ 2147483647 w 261"/>
                <a:gd name="T31" fmla="*/ 2147483647 h 290"/>
                <a:gd name="T32" fmla="*/ 2147483647 w 261"/>
                <a:gd name="T33" fmla="*/ 2147483647 h 290"/>
                <a:gd name="T34" fmla="*/ 2147483647 w 261"/>
                <a:gd name="T35" fmla="*/ 2147483647 h 290"/>
                <a:gd name="T36" fmla="*/ 2147483647 w 261"/>
                <a:gd name="T37" fmla="*/ 2147483647 h 290"/>
                <a:gd name="T38" fmla="*/ 2147483647 w 261"/>
                <a:gd name="T39" fmla="*/ 2147483647 h 290"/>
                <a:gd name="T40" fmla="*/ 2147483647 w 261"/>
                <a:gd name="T41" fmla="*/ 0 h 290"/>
                <a:gd name="T42" fmla="*/ 2147483647 w 261"/>
                <a:gd name="T43" fmla="*/ 2147483647 h 290"/>
                <a:gd name="T44" fmla="*/ 2147483647 w 261"/>
                <a:gd name="T45" fmla="*/ 2147483647 h 290"/>
                <a:gd name="T46" fmla="*/ 2147483647 w 261"/>
                <a:gd name="T47" fmla="*/ 2147483647 h 290"/>
                <a:gd name="T48" fmla="*/ 2147483647 w 261"/>
                <a:gd name="T49" fmla="*/ 2147483647 h 290"/>
                <a:gd name="T50" fmla="*/ 2147483647 w 261"/>
                <a:gd name="T51" fmla="*/ 2147483647 h 290"/>
                <a:gd name="T52" fmla="*/ 2147483647 w 261"/>
                <a:gd name="T53" fmla="*/ 2147483647 h 290"/>
                <a:gd name="T54" fmla="*/ 2147483647 w 261"/>
                <a:gd name="T55" fmla="*/ 2147483647 h 290"/>
                <a:gd name="T56" fmla="*/ 2147483647 w 261"/>
                <a:gd name="T57" fmla="*/ 2147483647 h 290"/>
                <a:gd name="T58" fmla="*/ 2147483647 w 261"/>
                <a:gd name="T59" fmla="*/ 2147483647 h 290"/>
                <a:gd name="T60" fmla="*/ 2147483647 w 261"/>
                <a:gd name="T61" fmla="*/ 2147483647 h 290"/>
                <a:gd name="T62" fmla="*/ 2147483647 w 261"/>
                <a:gd name="T63" fmla="*/ 2147483647 h 290"/>
                <a:gd name="T64" fmla="*/ 2147483647 w 261"/>
                <a:gd name="T65" fmla="*/ 2147483647 h 290"/>
                <a:gd name="T66" fmla="*/ 2147483647 w 261"/>
                <a:gd name="T67" fmla="*/ 2147483647 h 290"/>
                <a:gd name="T68" fmla="*/ 2147483647 w 261"/>
                <a:gd name="T69" fmla="*/ 2147483647 h 290"/>
                <a:gd name="T70" fmla="*/ 2147483647 w 261"/>
                <a:gd name="T71" fmla="*/ 2147483647 h 290"/>
                <a:gd name="T72" fmla="*/ 2147483647 w 261"/>
                <a:gd name="T73" fmla="*/ 2147483647 h 290"/>
                <a:gd name="T74" fmla="*/ 2147483647 w 261"/>
                <a:gd name="T75" fmla="*/ 2147483647 h 290"/>
                <a:gd name="T76" fmla="*/ 2147483647 w 261"/>
                <a:gd name="T77" fmla="*/ 2147483647 h 290"/>
                <a:gd name="T78" fmla="*/ 2147483647 w 261"/>
                <a:gd name="T79" fmla="*/ 2147483647 h 290"/>
                <a:gd name="T80" fmla="*/ 2147483647 w 261"/>
                <a:gd name="T81" fmla="*/ 2147483647 h 290"/>
                <a:gd name="T82" fmla="*/ 2147483647 w 261"/>
                <a:gd name="T83" fmla="*/ 2147483647 h 290"/>
                <a:gd name="T84" fmla="*/ 2147483647 w 261"/>
                <a:gd name="T85" fmla="*/ 2147483647 h 290"/>
                <a:gd name="T86" fmla="*/ 2147483647 w 261"/>
                <a:gd name="T87" fmla="*/ 2147483647 h 290"/>
                <a:gd name="T88" fmla="*/ 2147483647 w 261"/>
                <a:gd name="T89" fmla="*/ 2147483647 h 290"/>
                <a:gd name="T90" fmla="*/ 2147483647 w 261"/>
                <a:gd name="T91" fmla="*/ 2147483647 h 290"/>
                <a:gd name="T92" fmla="*/ 0 w 261"/>
                <a:gd name="T93" fmla="*/ 2147483647 h 290"/>
                <a:gd name="T94" fmla="*/ 2147483647 w 261"/>
                <a:gd name="T95" fmla="*/ 2147483647 h 290"/>
                <a:gd name="T96" fmla="*/ 2147483647 w 261"/>
                <a:gd name="T97" fmla="*/ 2147483647 h 290"/>
                <a:gd name="T98" fmla="*/ 2147483647 w 261"/>
                <a:gd name="T99" fmla="*/ 2147483647 h 290"/>
                <a:gd name="T100" fmla="*/ 2147483647 w 261"/>
                <a:gd name="T101" fmla="*/ 2147483647 h 290"/>
                <a:gd name="T102" fmla="*/ 2147483647 w 261"/>
                <a:gd name="T103" fmla="*/ 2147483647 h 290"/>
                <a:gd name="T104" fmla="*/ 2147483647 w 261"/>
                <a:gd name="T105" fmla="*/ 2147483647 h 290"/>
                <a:gd name="T106" fmla="*/ 2147483647 w 261"/>
                <a:gd name="T107" fmla="*/ 2147483647 h 29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61"/>
                <a:gd name="T163" fmla="*/ 0 h 290"/>
                <a:gd name="T164" fmla="*/ 261 w 261"/>
                <a:gd name="T165" fmla="*/ 290 h 29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61" h="290">
                  <a:moveTo>
                    <a:pt x="54" y="183"/>
                  </a:moveTo>
                  <a:lnTo>
                    <a:pt x="58" y="179"/>
                  </a:lnTo>
                  <a:lnTo>
                    <a:pt x="67" y="169"/>
                  </a:lnTo>
                  <a:lnTo>
                    <a:pt x="75" y="167"/>
                  </a:lnTo>
                  <a:lnTo>
                    <a:pt x="79" y="169"/>
                  </a:lnTo>
                  <a:lnTo>
                    <a:pt x="82" y="163"/>
                  </a:lnTo>
                  <a:lnTo>
                    <a:pt x="94" y="163"/>
                  </a:lnTo>
                  <a:lnTo>
                    <a:pt x="107" y="163"/>
                  </a:lnTo>
                  <a:lnTo>
                    <a:pt x="107" y="158"/>
                  </a:lnTo>
                  <a:lnTo>
                    <a:pt x="107" y="150"/>
                  </a:lnTo>
                  <a:lnTo>
                    <a:pt x="109" y="148"/>
                  </a:lnTo>
                  <a:lnTo>
                    <a:pt x="111" y="144"/>
                  </a:lnTo>
                  <a:lnTo>
                    <a:pt x="113" y="142"/>
                  </a:lnTo>
                  <a:lnTo>
                    <a:pt x="117" y="140"/>
                  </a:lnTo>
                  <a:lnTo>
                    <a:pt x="119" y="137"/>
                  </a:lnTo>
                  <a:lnTo>
                    <a:pt x="121" y="135"/>
                  </a:lnTo>
                  <a:lnTo>
                    <a:pt x="127" y="119"/>
                  </a:lnTo>
                  <a:lnTo>
                    <a:pt x="132" y="104"/>
                  </a:lnTo>
                  <a:lnTo>
                    <a:pt x="113" y="104"/>
                  </a:lnTo>
                  <a:lnTo>
                    <a:pt x="94" y="104"/>
                  </a:lnTo>
                  <a:lnTo>
                    <a:pt x="73" y="106"/>
                  </a:lnTo>
                  <a:lnTo>
                    <a:pt x="54" y="106"/>
                  </a:lnTo>
                  <a:lnTo>
                    <a:pt x="52" y="104"/>
                  </a:lnTo>
                  <a:lnTo>
                    <a:pt x="48" y="102"/>
                  </a:lnTo>
                  <a:lnTo>
                    <a:pt x="40" y="98"/>
                  </a:lnTo>
                  <a:lnTo>
                    <a:pt x="35" y="96"/>
                  </a:lnTo>
                  <a:lnTo>
                    <a:pt x="31" y="94"/>
                  </a:lnTo>
                  <a:lnTo>
                    <a:pt x="29" y="92"/>
                  </a:lnTo>
                  <a:lnTo>
                    <a:pt x="27" y="79"/>
                  </a:lnTo>
                  <a:lnTo>
                    <a:pt x="25" y="67"/>
                  </a:lnTo>
                  <a:lnTo>
                    <a:pt x="21" y="66"/>
                  </a:lnTo>
                  <a:lnTo>
                    <a:pt x="19" y="62"/>
                  </a:lnTo>
                  <a:lnTo>
                    <a:pt x="19" y="52"/>
                  </a:lnTo>
                  <a:lnTo>
                    <a:pt x="19" y="43"/>
                  </a:lnTo>
                  <a:lnTo>
                    <a:pt x="21" y="41"/>
                  </a:lnTo>
                  <a:lnTo>
                    <a:pt x="25" y="39"/>
                  </a:lnTo>
                  <a:lnTo>
                    <a:pt x="38" y="39"/>
                  </a:lnTo>
                  <a:lnTo>
                    <a:pt x="54" y="39"/>
                  </a:lnTo>
                  <a:lnTo>
                    <a:pt x="56" y="41"/>
                  </a:lnTo>
                  <a:lnTo>
                    <a:pt x="58" y="43"/>
                  </a:lnTo>
                  <a:lnTo>
                    <a:pt x="56" y="44"/>
                  </a:lnTo>
                  <a:lnTo>
                    <a:pt x="54" y="48"/>
                  </a:lnTo>
                  <a:lnTo>
                    <a:pt x="54" y="52"/>
                  </a:lnTo>
                  <a:lnTo>
                    <a:pt x="54" y="58"/>
                  </a:lnTo>
                  <a:lnTo>
                    <a:pt x="56" y="60"/>
                  </a:lnTo>
                  <a:lnTo>
                    <a:pt x="58" y="62"/>
                  </a:lnTo>
                  <a:lnTo>
                    <a:pt x="65" y="69"/>
                  </a:lnTo>
                  <a:lnTo>
                    <a:pt x="73" y="77"/>
                  </a:lnTo>
                  <a:lnTo>
                    <a:pt x="75" y="79"/>
                  </a:lnTo>
                  <a:lnTo>
                    <a:pt x="79" y="81"/>
                  </a:lnTo>
                  <a:lnTo>
                    <a:pt x="82" y="81"/>
                  </a:lnTo>
                  <a:lnTo>
                    <a:pt x="86" y="81"/>
                  </a:lnTo>
                  <a:lnTo>
                    <a:pt x="90" y="79"/>
                  </a:lnTo>
                  <a:lnTo>
                    <a:pt x="92" y="77"/>
                  </a:lnTo>
                  <a:lnTo>
                    <a:pt x="113" y="69"/>
                  </a:lnTo>
                  <a:lnTo>
                    <a:pt x="136" y="62"/>
                  </a:lnTo>
                  <a:lnTo>
                    <a:pt x="138" y="60"/>
                  </a:lnTo>
                  <a:lnTo>
                    <a:pt x="140" y="58"/>
                  </a:lnTo>
                  <a:lnTo>
                    <a:pt x="142" y="43"/>
                  </a:lnTo>
                  <a:lnTo>
                    <a:pt x="142" y="29"/>
                  </a:lnTo>
                  <a:lnTo>
                    <a:pt x="144" y="14"/>
                  </a:lnTo>
                  <a:lnTo>
                    <a:pt x="146" y="0"/>
                  </a:lnTo>
                  <a:lnTo>
                    <a:pt x="157" y="0"/>
                  </a:lnTo>
                  <a:lnTo>
                    <a:pt x="169" y="0"/>
                  </a:lnTo>
                  <a:lnTo>
                    <a:pt x="173" y="2"/>
                  </a:lnTo>
                  <a:lnTo>
                    <a:pt x="175" y="4"/>
                  </a:lnTo>
                  <a:lnTo>
                    <a:pt x="176" y="6"/>
                  </a:lnTo>
                  <a:lnTo>
                    <a:pt x="178" y="10"/>
                  </a:lnTo>
                  <a:lnTo>
                    <a:pt x="182" y="12"/>
                  </a:lnTo>
                  <a:lnTo>
                    <a:pt x="184" y="14"/>
                  </a:lnTo>
                  <a:lnTo>
                    <a:pt x="186" y="16"/>
                  </a:lnTo>
                  <a:lnTo>
                    <a:pt x="190" y="19"/>
                  </a:lnTo>
                  <a:lnTo>
                    <a:pt x="192" y="21"/>
                  </a:lnTo>
                  <a:lnTo>
                    <a:pt x="194" y="23"/>
                  </a:lnTo>
                  <a:lnTo>
                    <a:pt x="221" y="25"/>
                  </a:lnTo>
                  <a:lnTo>
                    <a:pt x="247" y="29"/>
                  </a:lnTo>
                  <a:lnTo>
                    <a:pt x="249" y="31"/>
                  </a:lnTo>
                  <a:lnTo>
                    <a:pt x="251" y="33"/>
                  </a:lnTo>
                  <a:lnTo>
                    <a:pt x="253" y="35"/>
                  </a:lnTo>
                  <a:lnTo>
                    <a:pt x="257" y="39"/>
                  </a:lnTo>
                  <a:lnTo>
                    <a:pt x="259" y="41"/>
                  </a:lnTo>
                  <a:lnTo>
                    <a:pt x="261" y="43"/>
                  </a:lnTo>
                  <a:lnTo>
                    <a:pt x="261" y="60"/>
                  </a:lnTo>
                  <a:lnTo>
                    <a:pt x="261" y="77"/>
                  </a:lnTo>
                  <a:lnTo>
                    <a:pt x="261" y="94"/>
                  </a:lnTo>
                  <a:lnTo>
                    <a:pt x="261" y="110"/>
                  </a:lnTo>
                  <a:lnTo>
                    <a:pt x="259" y="114"/>
                  </a:lnTo>
                  <a:lnTo>
                    <a:pt x="257" y="115"/>
                  </a:lnTo>
                  <a:lnTo>
                    <a:pt x="253" y="117"/>
                  </a:lnTo>
                  <a:lnTo>
                    <a:pt x="251" y="121"/>
                  </a:lnTo>
                  <a:lnTo>
                    <a:pt x="249" y="123"/>
                  </a:lnTo>
                  <a:lnTo>
                    <a:pt x="247" y="125"/>
                  </a:lnTo>
                  <a:lnTo>
                    <a:pt x="246" y="127"/>
                  </a:lnTo>
                  <a:lnTo>
                    <a:pt x="242" y="131"/>
                  </a:lnTo>
                  <a:lnTo>
                    <a:pt x="240" y="133"/>
                  </a:lnTo>
                  <a:lnTo>
                    <a:pt x="238" y="135"/>
                  </a:lnTo>
                  <a:lnTo>
                    <a:pt x="234" y="142"/>
                  </a:lnTo>
                  <a:lnTo>
                    <a:pt x="232" y="150"/>
                  </a:lnTo>
                  <a:lnTo>
                    <a:pt x="230" y="152"/>
                  </a:lnTo>
                  <a:lnTo>
                    <a:pt x="228" y="154"/>
                  </a:lnTo>
                  <a:lnTo>
                    <a:pt x="224" y="156"/>
                  </a:lnTo>
                  <a:lnTo>
                    <a:pt x="223" y="160"/>
                  </a:lnTo>
                  <a:lnTo>
                    <a:pt x="221" y="161"/>
                  </a:lnTo>
                  <a:lnTo>
                    <a:pt x="219" y="163"/>
                  </a:lnTo>
                  <a:lnTo>
                    <a:pt x="219" y="169"/>
                  </a:lnTo>
                  <a:lnTo>
                    <a:pt x="219" y="173"/>
                  </a:lnTo>
                  <a:lnTo>
                    <a:pt x="221" y="177"/>
                  </a:lnTo>
                  <a:lnTo>
                    <a:pt x="223" y="179"/>
                  </a:lnTo>
                  <a:lnTo>
                    <a:pt x="236" y="181"/>
                  </a:lnTo>
                  <a:lnTo>
                    <a:pt x="247" y="183"/>
                  </a:lnTo>
                  <a:lnTo>
                    <a:pt x="249" y="186"/>
                  </a:lnTo>
                  <a:lnTo>
                    <a:pt x="251" y="188"/>
                  </a:lnTo>
                  <a:lnTo>
                    <a:pt x="257" y="196"/>
                  </a:lnTo>
                  <a:lnTo>
                    <a:pt x="261" y="202"/>
                  </a:lnTo>
                  <a:lnTo>
                    <a:pt x="257" y="202"/>
                  </a:lnTo>
                  <a:lnTo>
                    <a:pt x="251" y="202"/>
                  </a:lnTo>
                  <a:lnTo>
                    <a:pt x="192" y="194"/>
                  </a:lnTo>
                  <a:lnTo>
                    <a:pt x="159" y="190"/>
                  </a:lnTo>
                  <a:lnTo>
                    <a:pt x="142" y="190"/>
                  </a:lnTo>
                  <a:lnTo>
                    <a:pt x="127" y="192"/>
                  </a:lnTo>
                  <a:lnTo>
                    <a:pt x="123" y="209"/>
                  </a:lnTo>
                  <a:lnTo>
                    <a:pt x="119" y="227"/>
                  </a:lnTo>
                  <a:lnTo>
                    <a:pt x="115" y="244"/>
                  </a:lnTo>
                  <a:lnTo>
                    <a:pt x="111" y="261"/>
                  </a:lnTo>
                  <a:lnTo>
                    <a:pt x="105" y="257"/>
                  </a:lnTo>
                  <a:lnTo>
                    <a:pt x="100" y="254"/>
                  </a:lnTo>
                  <a:lnTo>
                    <a:pt x="79" y="271"/>
                  </a:lnTo>
                  <a:lnTo>
                    <a:pt x="58" y="290"/>
                  </a:lnTo>
                  <a:lnTo>
                    <a:pt x="56" y="290"/>
                  </a:lnTo>
                  <a:lnTo>
                    <a:pt x="54" y="290"/>
                  </a:lnTo>
                  <a:lnTo>
                    <a:pt x="52" y="288"/>
                  </a:lnTo>
                  <a:lnTo>
                    <a:pt x="48" y="284"/>
                  </a:lnTo>
                  <a:lnTo>
                    <a:pt x="46" y="282"/>
                  </a:lnTo>
                  <a:lnTo>
                    <a:pt x="44" y="280"/>
                  </a:lnTo>
                  <a:lnTo>
                    <a:pt x="42" y="277"/>
                  </a:lnTo>
                  <a:lnTo>
                    <a:pt x="40" y="275"/>
                  </a:lnTo>
                  <a:lnTo>
                    <a:pt x="23" y="273"/>
                  </a:lnTo>
                  <a:lnTo>
                    <a:pt x="6" y="271"/>
                  </a:lnTo>
                  <a:lnTo>
                    <a:pt x="2" y="267"/>
                  </a:lnTo>
                  <a:lnTo>
                    <a:pt x="0" y="265"/>
                  </a:lnTo>
                  <a:lnTo>
                    <a:pt x="2" y="263"/>
                  </a:lnTo>
                  <a:lnTo>
                    <a:pt x="6" y="261"/>
                  </a:lnTo>
                  <a:lnTo>
                    <a:pt x="8" y="257"/>
                  </a:lnTo>
                  <a:lnTo>
                    <a:pt x="10" y="255"/>
                  </a:lnTo>
                  <a:lnTo>
                    <a:pt x="13" y="254"/>
                  </a:lnTo>
                  <a:lnTo>
                    <a:pt x="15" y="252"/>
                  </a:lnTo>
                  <a:lnTo>
                    <a:pt x="17" y="244"/>
                  </a:lnTo>
                  <a:lnTo>
                    <a:pt x="19" y="236"/>
                  </a:lnTo>
                  <a:lnTo>
                    <a:pt x="21" y="234"/>
                  </a:lnTo>
                  <a:lnTo>
                    <a:pt x="25" y="231"/>
                  </a:lnTo>
                  <a:lnTo>
                    <a:pt x="27" y="229"/>
                  </a:lnTo>
                  <a:lnTo>
                    <a:pt x="29" y="227"/>
                  </a:lnTo>
                  <a:lnTo>
                    <a:pt x="31" y="225"/>
                  </a:lnTo>
                  <a:lnTo>
                    <a:pt x="35" y="223"/>
                  </a:lnTo>
                  <a:lnTo>
                    <a:pt x="36" y="209"/>
                  </a:lnTo>
                  <a:lnTo>
                    <a:pt x="40" y="198"/>
                  </a:lnTo>
                  <a:lnTo>
                    <a:pt x="42" y="196"/>
                  </a:lnTo>
                  <a:lnTo>
                    <a:pt x="44" y="192"/>
                  </a:lnTo>
                  <a:lnTo>
                    <a:pt x="46" y="190"/>
                  </a:lnTo>
                  <a:lnTo>
                    <a:pt x="48" y="188"/>
                  </a:lnTo>
                  <a:lnTo>
                    <a:pt x="52" y="184"/>
                  </a:lnTo>
                  <a:lnTo>
                    <a:pt x="54" y="183"/>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26" name="Freeform 297"/>
            <p:cNvSpPr>
              <a:spLocks/>
            </p:cNvSpPr>
            <p:nvPr>
              <p:custDataLst>
                <p:tags r:id="rId16"/>
              </p:custDataLst>
            </p:nvPr>
          </p:nvSpPr>
          <p:spPr bwMode="gray">
            <a:xfrm>
              <a:off x="2338388" y="4494028"/>
              <a:ext cx="485775" cy="652463"/>
            </a:xfrm>
            <a:custGeom>
              <a:avLst/>
              <a:gdLst>
                <a:gd name="T0" fmla="*/ 2147483647 w 311"/>
                <a:gd name="T1" fmla="*/ 2147483647 h 435"/>
                <a:gd name="T2" fmla="*/ 2147483647 w 311"/>
                <a:gd name="T3" fmla="*/ 2147483647 h 435"/>
                <a:gd name="T4" fmla="*/ 2147483647 w 311"/>
                <a:gd name="T5" fmla="*/ 2147483647 h 435"/>
                <a:gd name="T6" fmla="*/ 2147483647 w 311"/>
                <a:gd name="T7" fmla="*/ 2147483647 h 435"/>
                <a:gd name="T8" fmla="*/ 2147483647 w 311"/>
                <a:gd name="T9" fmla="*/ 2147483647 h 435"/>
                <a:gd name="T10" fmla="*/ 2147483647 w 311"/>
                <a:gd name="T11" fmla="*/ 2147483647 h 435"/>
                <a:gd name="T12" fmla="*/ 2147483647 w 311"/>
                <a:gd name="T13" fmla="*/ 2147483647 h 435"/>
                <a:gd name="T14" fmla="*/ 2147483647 w 311"/>
                <a:gd name="T15" fmla="*/ 2147483647 h 435"/>
                <a:gd name="T16" fmla="*/ 2147483647 w 311"/>
                <a:gd name="T17" fmla="*/ 2147483647 h 435"/>
                <a:gd name="T18" fmla="*/ 2147483647 w 311"/>
                <a:gd name="T19" fmla="*/ 2147483647 h 435"/>
                <a:gd name="T20" fmla="*/ 2147483647 w 311"/>
                <a:gd name="T21" fmla="*/ 2147483647 h 435"/>
                <a:gd name="T22" fmla="*/ 2147483647 w 311"/>
                <a:gd name="T23" fmla="*/ 2147483647 h 435"/>
                <a:gd name="T24" fmla="*/ 2147483647 w 311"/>
                <a:gd name="T25" fmla="*/ 2147483647 h 435"/>
                <a:gd name="T26" fmla="*/ 2147483647 w 311"/>
                <a:gd name="T27" fmla="*/ 2147483647 h 435"/>
                <a:gd name="T28" fmla="*/ 2147483647 w 311"/>
                <a:gd name="T29" fmla="*/ 2147483647 h 435"/>
                <a:gd name="T30" fmla="*/ 2147483647 w 311"/>
                <a:gd name="T31" fmla="*/ 2147483647 h 435"/>
                <a:gd name="T32" fmla="*/ 2147483647 w 311"/>
                <a:gd name="T33" fmla="*/ 2147483647 h 435"/>
                <a:gd name="T34" fmla="*/ 2147483647 w 311"/>
                <a:gd name="T35" fmla="*/ 2147483647 h 435"/>
                <a:gd name="T36" fmla="*/ 2147483647 w 311"/>
                <a:gd name="T37" fmla="*/ 2147483647 h 435"/>
                <a:gd name="T38" fmla="*/ 2147483647 w 311"/>
                <a:gd name="T39" fmla="*/ 2147483647 h 435"/>
                <a:gd name="T40" fmla="*/ 2147483647 w 311"/>
                <a:gd name="T41" fmla="*/ 2147483647 h 435"/>
                <a:gd name="T42" fmla="*/ 2147483647 w 311"/>
                <a:gd name="T43" fmla="*/ 2147483647 h 435"/>
                <a:gd name="T44" fmla="*/ 2147483647 w 311"/>
                <a:gd name="T45" fmla="*/ 2147483647 h 435"/>
                <a:gd name="T46" fmla="*/ 2147483647 w 311"/>
                <a:gd name="T47" fmla="*/ 2147483647 h 435"/>
                <a:gd name="T48" fmla="*/ 2147483647 w 311"/>
                <a:gd name="T49" fmla="*/ 2147483647 h 435"/>
                <a:gd name="T50" fmla="*/ 2147483647 w 311"/>
                <a:gd name="T51" fmla="*/ 2147483647 h 435"/>
                <a:gd name="T52" fmla="*/ 2147483647 w 311"/>
                <a:gd name="T53" fmla="*/ 2147483647 h 435"/>
                <a:gd name="T54" fmla="*/ 2147483647 w 311"/>
                <a:gd name="T55" fmla="*/ 2147483647 h 435"/>
                <a:gd name="T56" fmla="*/ 2147483647 w 311"/>
                <a:gd name="T57" fmla="*/ 2147483647 h 435"/>
                <a:gd name="T58" fmla="*/ 2147483647 w 311"/>
                <a:gd name="T59" fmla="*/ 2147483647 h 435"/>
                <a:gd name="T60" fmla="*/ 2147483647 w 311"/>
                <a:gd name="T61" fmla="*/ 2147483647 h 435"/>
                <a:gd name="T62" fmla="*/ 2147483647 w 311"/>
                <a:gd name="T63" fmla="*/ 0 h 435"/>
                <a:gd name="T64" fmla="*/ 2147483647 w 311"/>
                <a:gd name="T65" fmla="*/ 2147483647 h 435"/>
                <a:gd name="T66" fmla="*/ 2147483647 w 311"/>
                <a:gd name="T67" fmla="*/ 2147483647 h 435"/>
                <a:gd name="T68" fmla="*/ 2147483647 w 311"/>
                <a:gd name="T69" fmla="*/ 2147483647 h 435"/>
                <a:gd name="T70" fmla="*/ 2147483647 w 311"/>
                <a:gd name="T71" fmla="*/ 2147483647 h 435"/>
                <a:gd name="T72" fmla="*/ 2147483647 w 311"/>
                <a:gd name="T73" fmla="*/ 2147483647 h 435"/>
                <a:gd name="T74" fmla="*/ 2147483647 w 311"/>
                <a:gd name="T75" fmla="*/ 2147483647 h 435"/>
                <a:gd name="T76" fmla="*/ 2147483647 w 311"/>
                <a:gd name="T77" fmla="*/ 2147483647 h 435"/>
                <a:gd name="T78" fmla="*/ 2147483647 w 311"/>
                <a:gd name="T79" fmla="*/ 2147483647 h 435"/>
                <a:gd name="T80" fmla="*/ 2147483647 w 311"/>
                <a:gd name="T81" fmla="*/ 2147483647 h 435"/>
                <a:gd name="T82" fmla="*/ 2147483647 w 311"/>
                <a:gd name="T83" fmla="*/ 2147483647 h 435"/>
                <a:gd name="T84" fmla="*/ 2147483647 w 311"/>
                <a:gd name="T85" fmla="*/ 2147483647 h 435"/>
                <a:gd name="T86" fmla="*/ 2147483647 w 311"/>
                <a:gd name="T87" fmla="*/ 2147483647 h 435"/>
                <a:gd name="T88" fmla="*/ 2147483647 w 311"/>
                <a:gd name="T89" fmla="*/ 2147483647 h 435"/>
                <a:gd name="T90" fmla="*/ 2147483647 w 311"/>
                <a:gd name="T91" fmla="*/ 2147483647 h 435"/>
                <a:gd name="T92" fmla="*/ 2147483647 w 311"/>
                <a:gd name="T93" fmla="*/ 2147483647 h 435"/>
                <a:gd name="T94" fmla="*/ 2147483647 w 311"/>
                <a:gd name="T95" fmla="*/ 2147483647 h 435"/>
                <a:gd name="T96" fmla="*/ 2147483647 w 311"/>
                <a:gd name="T97" fmla="*/ 2147483647 h 435"/>
                <a:gd name="T98" fmla="*/ 2147483647 w 311"/>
                <a:gd name="T99" fmla="*/ 2147483647 h 435"/>
                <a:gd name="T100" fmla="*/ 2147483647 w 311"/>
                <a:gd name="T101" fmla="*/ 2147483647 h 435"/>
                <a:gd name="T102" fmla="*/ 2147483647 w 311"/>
                <a:gd name="T103" fmla="*/ 2147483647 h 435"/>
                <a:gd name="T104" fmla="*/ 2147483647 w 311"/>
                <a:gd name="T105" fmla="*/ 2147483647 h 435"/>
                <a:gd name="T106" fmla="*/ 2147483647 w 311"/>
                <a:gd name="T107" fmla="*/ 2147483647 h 435"/>
                <a:gd name="T108" fmla="*/ 2147483647 w 311"/>
                <a:gd name="T109" fmla="*/ 2147483647 h 435"/>
                <a:gd name="T110" fmla="*/ 2147483647 w 311"/>
                <a:gd name="T111" fmla="*/ 2147483647 h 435"/>
                <a:gd name="T112" fmla="*/ 2147483647 w 311"/>
                <a:gd name="T113" fmla="*/ 2147483647 h 435"/>
                <a:gd name="T114" fmla="*/ 2147483647 w 311"/>
                <a:gd name="T115" fmla="*/ 2147483647 h 43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11"/>
                <a:gd name="T175" fmla="*/ 0 h 435"/>
                <a:gd name="T176" fmla="*/ 311 w 311"/>
                <a:gd name="T177" fmla="*/ 435 h 43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11" h="435">
                  <a:moveTo>
                    <a:pt x="238" y="291"/>
                  </a:moveTo>
                  <a:lnTo>
                    <a:pt x="233" y="297"/>
                  </a:lnTo>
                  <a:lnTo>
                    <a:pt x="223" y="305"/>
                  </a:lnTo>
                  <a:lnTo>
                    <a:pt x="221" y="307"/>
                  </a:lnTo>
                  <a:lnTo>
                    <a:pt x="219" y="309"/>
                  </a:lnTo>
                  <a:lnTo>
                    <a:pt x="217" y="312"/>
                  </a:lnTo>
                  <a:lnTo>
                    <a:pt x="215" y="314"/>
                  </a:lnTo>
                  <a:lnTo>
                    <a:pt x="211" y="316"/>
                  </a:lnTo>
                  <a:lnTo>
                    <a:pt x="210" y="318"/>
                  </a:lnTo>
                  <a:lnTo>
                    <a:pt x="206" y="332"/>
                  </a:lnTo>
                  <a:lnTo>
                    <a:pt x="204" y="343"/>
                  </a:lnTo>
                  <a:lnTo>
                    <a:pt x="202" y="345"/>
                  </a:lnTo>
                  <a:lnTo>
                    <a:pt x="200" y="349"/>
                  </a:lnTo>
                  <a:lnTo>
                    <a:pt x="196" y="351"/>
                  </a:lnTo>
                  <a:lnTo>
                    <a:pt x="194" y="353"/>
                  </a:lnTo>
                  <a:lnTo>
                    <a:pt x="192" y="355"/>
                  </a:lnTo>
                  <a:lnTo>
                    <a:pt x="190" y="357"/>
                  </a:lnTo>
                  <a:lnTo>
                    <a:pt x="188" y="364"/>
                  </a:lnTo>
                  <a:lnTo>
                    <a:pt x="185" y="372"/>
                  </a:lnTo>
                  <a:lnTo>
                    <a:pt x="183" y="374"/>
                  </a:lnTo>
                  <a:lnTo>
                    <a:pt x="181" y="378"/>
                  </a:lnTo>
                  <a:lnTo>
                    <a:pt x="177" y="380"/>
                  </a:lnTo>
                  <a:lnTo>
                    <a:pt x="175" y="381"/>
                  </a:lnTo>
                  <a:lnTo>
                    <a:pt x="173" y="383"/>
                  </a:lnTo>
                  <a:lnTo>
                    <a:pt x="171" y="387"/>
                  </a:lnTo>
                  <a:lnTo>
                    <a:pt x="171" y="391"/>
                  </a:lnTo>
                  <a:lnTo>
                    <a:pt x="171" y="397"/>
                  </a:lnTo>
                  <a:lnTo>
                    <a:pt x="173" y="399"/>
                  </a:lnTo>
                  <a:lnTo>
                    <a:pt x="175" y="401"/>
                  </a:lnTo>
                  <a:lnTo>
                    <a:pt x="173" y="403"/>
                  </a:lnTo>
                  <a:lnTo>
                    <a:pt x="171" y="406"/>
                  </a:lnTo>
                  <a:lnTo>
                    <a:pt x="167" y="408"/>
                  </a:lnTo>
                  <a:lnTo>
                    <a:pt x="165" y="410"/>
                  </a:lnTo>
                  <a:lnTo>
                    <a:pt x="163" y="414"/>
                  </a:lnTo>
                  <a:lnTo>
                    <a:pt x="162" y="416"/>
                  </a:lnTo>
                  <a:lnTo>
                    <a:pt x="158" y="418"/>
                  </a:lnTo>
                  <a:lnTo>
                    <a:pt x="156" y="420"/>
                  </a:lnTo>
                  <a:lnTo>
                    <a:pt x="154" y="424"/>
                  </a:lnTo>
                  <a:lnTo>
                    <a:pt x="150" y="426"/>
                  </a:lnTo>
                  <a:lnTo>
                    <a:pt x="148" y="428"/>
                  </a:lnTo>
                  <a:lnTo>
                    <a:pt x="146" y="429"/>
                  </a:lnTo>
                  <a:lnTo>
                    <a:pt x="144" y="433"/>
                  </a:lnTo>
                  <a:lnTo>
                    <a:pt x="142" y="435"/>
                  </a:lnTo>
                  <a:lnTo>
                    <a:pt x="137" y="435"/>
                  </a:lnTo>
                  <a:lnTo>
                    <a:pt x="133" y="435"/>
                  </a:lnTo>
                  <a:lnTo>
                    <a:pt x="129" y="433"/>
                  </a:lnTo>
                  <a:lnTo>
                    <a:pt x="127" y="429"/>
                  </a:lnTo>
                  <a:lnTo>
                    <a:pt x="119" y="428"/>
                  </a:lnTo>
                  <a:lnTo>
                    <a:pt x="112" y="426"/>
                  </a:lnTo>
                  <a:lnTo>
                    <a:pt x="110" y="424"/>
                  </a:lnTo>
                  <a:lnTo>
                    <a:pt x="108" y="420"/>
                  </a:lnTo>
                  <a:lnTo>
                    <a:pt x="85" y="418"/>
                  </a:lnTo>
                  <a:lnTo>
                    <a:pt x="64" y="416"/>
                  </a:lnTo>
                  <a:lnTo>
                    <a:pt x="62" y="414"/>
                  </a:lnTo>
                  <a:lnTo>
                    <a:pt x="60" y="410"/>
                  </a:lnTo>
                  <a:lnTo>
                    <a:pt x="60" y="406"/>
                  </a:lnTo>
                  <a:lnTo>
                    <a:pt x="60" y="401"/>
                  </a:lnTo>
                  <a:lnTo>
                    <a:pt x="62" y="399"/>
                  </a:lnTo>
                  <a:lnTo>
                    <a:pt x="64" y="397"/>
                  </a:lnTo>
                  <a:lnTo>
                    <a:pt x="68" y="391"/>
                  </a:lnTo>
                  <a:lnTo>
                    <a:pt x="68" y="381"/>
                  </a:lnTo>
                  <a:lnTo>
                    <a:pt x="68" y="372"/>
                  </a:lnTo>
                  <a:lnTo>
                    <a:pt x="64" y="368"/>
                  </a:lnTo>
                  <a:lnTo>
                    <a:pt x="62" y="364"/>
                  </a:lnTo>
                  <a:lnTo>
                    <a:pt x="60" y="362"/>
                  </a:lnTo>
                  <a:lnTo>
                    <a:pt x="64" y="358"/>
                  </a:lnTo>
                  <a:lnTo>
                    <a:pt x="69" y="353"/>
                  </a:lnTo>
                  <a:lnTo>
                    <a:pt x="71" y="351"/>
                  </a:lnTo>
                  <a:lnTo>
                    <a:pt x="73" y="349"/>
                  </a:lnTo>
                  <a:lnTo>
                    <a:pt x="73" y="337"/>
                  </a:lnTo>
                  <a:lnTo>
                    <a:pt x="73" y="328"/>
                  </a:lnTo>
                  <a:lnTo>
                    <a:pt x="71" y="326"/>
                  </a:lnTo>
                  <a:lnTo>
                    <a:pt x="69" y="324"/>
                  </a:lnTo>
                  <a:lnTo>
                    <a:pt x="58" y="322"/>
                  </a:lnTo>
                  <a:lnTo>
                    <a:pt x="45" y="318"/>
                  </a:lnTo>
                  <a:lnTo>
                    <a:pt x="43" y="316"/>
                  </a:lnTo>
                  <a:lnTo>
                    <a:pt x="41" y="314"/>
                  </a:lnTo>
                  <a:lnTo>
                    <a:pt x="37" y="297"/>
                  </a:lnTo>
                  <a:lnTo>
                    <a:pt x="35" y="280"/>
                  </a:lnTo>
                  <a:lnTo>
                    <a:pt x="33" y="278"/>
                  </a:lnTo>
                  <a:lnTo>
                    <a:pt x="31" y="276"/>
                  </a:lnTo>
                  <a:lnTo>
                    <a:pt x="27" y="264"/>
                  </a:lnTo>
                  <a:lnTo>
                    <a:pt x="25" y="251"/>
                  </a:lnTo>
                  <a:lnTo>
                    <a:pt x="23" y="249"/>
                  </a:lnTo>
                  <a:lnTo>
                    <a:pt x="21" y="247"/>
                  </a:lnTo>
                  <a:lnTo>
                    <a:pt x="18" y="234"/>
                  </a:lnTo>
                  <a:lnTo>
                    <a:pt x="16" y="222"/>
                  </a:lnTo>
                  <a:lnTo>
                    <a:pt x="14" y="220"/>
                  </a:lnTo>
                  <a:lnTo>
                    <a:pt x="12" y="218"/>
                  </a:lnTo>
                  <a:lnTo>
                    <a:pt x="8" y="192"/>
                  </a:lnTo>
                  <a:lnTo>
                    <a:pt x="6" y="165"/>
                  </a:lnTo>
                  <a:lnTo>
                    <a:pt x="4" y="161"/>
                  </a:lnTo>
                  <a:lnTo>
                    <a:pt x="0" y="159"/>
                  </a:lnTo>
                  <a:lnTo>
                    <a:pt x="6" y="149"/>
                  </a:lnTo>
                  <a:lnTo>
                    <a:pt x="12" y="140"/>
                  </a:lnTo>
                  <a:lnTo>
                    <a:pt x="14" y="138"/>
                  </a:lnTo>
                  <a:lnTo>
                    <a:pt x="16" y="136"/>
                  </a:lnTo>
                  <a:lnTo>
                    <a:pt x="18" y="132"/>
                  </a:lnTo>
                  <a:lnTo>
                    <a:pt x="21" y="130"/>
                  </a:lnTo>
                  <a:lnTo>
                    <a:pt x="23" y="128"/>
                  </a:lnTo>
                  <a:lnTo>
                    <a:pt x="25" y="126"/>
                  </a:lnTo>
                  <a:lnTo>
                    <a:pt x="27" y="119"/>
                  </a:lnTo>
                  <a:lnTo>
                    <a:pt x="31" y="111"/>
                  </a:lnTo>
                  <a:lnTo>
                    <a:pt x="33" y="109"/>
                  </a:lnTo>
                  <a:lnTo>
                    <a:pt x="35" y="107"/>
                  </a:lnTo>
                  <a:lnTo>
                    <a:pt x="37" y="86"/>
                  </a:lnTo>
                  <a:lnTo>
                    <a:pt x="41" y="67"/>
                  </a:lnTo>
                  <a:lnTo>
                    <a:pt x="68" y="67"/>
                  </a:lnTo>
                  <a:lnTo>
                    <a:pt x="83" y="67"/>
                  </a:lnTo>
                  <a:lnTo>
                    <a:pt x="85" y="67"/>
                  </a:lnTo>
                  <a:lnTo>
                    <a:pt x="87" y="65"/>
                  </a:lnTo>
                  <a:lnTo>
                    <a:pt x="89" y="65"/>
                  </a:lnTo>
                  <a:lnTo>
                    <a:pt x="89" y="63"/>
                  </a:lnTo>
                  <a:lnTo>
                    <a:pt x="91" y="59"/>
                  </a:lnTo>
                  <a:lnTo>
                    <a:pt x="92" y="57"/>
                  </a:lnTo>
                  <a:lnTo>
                    <a:pt x="96" y="38"/>
                  </a:lnTo>
                  <a:lnTo>
                    <a:pt x="98" y="19"/>
                  </a:lnTo>
                  <a:lnTo>
                    <a:pt x="110" y="19"/>
                  </a:lnTo>
                  <a:lnTo>
                    <a:pt x="115" y="19"/>
                  </a:lnTo>
                  <a:lnTo>
                    <a:pt x="117" y="17"/>
                  </a:lnTo>
                  <a:lnTo>
                    <a:pt x="117" y="15"/>
                  </a:lnTo>
                  <a:lnTo>
                    <a:pt x="119" y="11"/>
                  </a:lnTo>
                  <a:lnTo>
                    <a:pt x="121" y="9"/>
                  </a:lnTo>
                  <a:lnTo>
                    <a:pt x="129" y="7"/>
                  </a:lnTo>
                  <a:lnTo>
                    <a:pt x="137" y="3"/>
                  </a:lnTo>
                  <a:lnTo>
                    <a:pt x="139" y="2"/>
                  </a:lnTo>
                  <a:lnTo>
                    <a:pt x="142" y="0"/>
                  </a:lnTo>
                  <a:lnTo>
                    <a:pt x="146" y="0"/>
                  </a:lnTo>
                  <a:lnTo>
                    <a:pt x="150" y="0"/>
                  </a:lnTo>
                  <a:lnTo>
                    <a:pt x="154" y="2"/>
                  </a:lnTo>
                  <a:lnTo>
                    <a:pt x="156" y="3"/>
                  </a:lnTo>
                  <a:lnTo>
                    <a:pt x="158" y="11"/>
                  </a:lnTo>
                  <a:lnTo>
                    <a:pt x="162" y="19"/>
                  </a:lnTo>
                  <a:lnTo>
                    <a:pt x="163" y="21"/>
                  </a:lnTo>
                  <a:lnTo>
                    <a:pt x="165" y="25"/>
                  </a:lnTo>
                  <a:lnTo>
                    <a:pt x="173" y="27"/>
                  </a:lnTo>
                  <a:lnTo>
                    <a:pt x="181" y="28"/>
                  </a:lnTo>
                  <a:lnTo>
                    <a:pt x="183" y="30"/>
                  </a:lnTo>
                  <a:lnTo>
                    <a:pt x="185" y="34"/>
                  </a:lnTo>
                  <a:lnTo>
                    <a:pt x="192" y="36"/>
                  </a:lnTo>
                  <a:lnTo>
                    <a:pt x="200" y="38"/>
                  </a:lnTo>
                  <a:lnTo>
                    <a:pt x="202" y="42"/>
                  </a:lnTo>
                  <a:lnTo>
                    <a:pt x="204" y="44"/>
                  </a:lnTo>
                  <a:lnTo>
                    <a:pt x="211" y="51"/>
                  </a:lnTo>
                  <a:lnTo>
                    <a:pt x="219" y="57"/>
                  </a:lnTo>
                  <a:lnTo>
                    <a:pt x="221" y="59"/>
                  </a:lnTo>
                  <a:lnTo>
                    <a:pt x="223" y="63"/>
                  </a:lnTo>
                  <a:lnTo>
                    <a:pt x="227" y="69"/>
                  </a:lnTo>
                  <a:lnTo>
                    <a:pt x="229" y="76"/>
                  </a:lnTo>
                  <a:lnTo>
                    <a:pt x="231" y="80"/>
                  </a:lnTo>
                  <a:lnTo>
                    <a:pt x="233" y="82"/>
                  </a:lnTo>
                  <a:lnTo>
                    <a:pt x="238" y="82"/>
                  </a:lnTo>
                  <a:lnTo>
                    <a:pt x="244" y="82"/>
                  </a:lnTo>
                  <a:lnTo>
                    <a:pt x="246" y="80"/>
                  </a:lnTo>
                  <a:lnTo>
                    <a:pt x="248" y="76"/>
                  </a:lnTo>
                  <a:lnTo>
                    <a:pt x="250" y="80"/>
                  </a:lnTo>
                  <a:lnTo>
                    <a:pt x="254" y="82"/>
                  </a:lnTo>
                  <a:lnTo>
                    <a:pt x="256" y="84"/>
                  </a:lnTo>
                  <a:lnTo>
                    <a:pt x="257" y="86"/>
                  </a:lnTo>
                  <a:lnTo>
                    <a:pt x="259" y="90"/>
                  </a:lnTo>
                  <a:lnTo>
                    <a:pt x="261" y="92"/>
                  </a:lnTo>
                  <a:lnTo>
                    <a:pt x="265" y="94"/>
                  </a:lnTo>
                  <a:lnTo>
                    <a:pt x="267" y="96"/>
                  </a:lnTo>
                  <a:lnTo>
                    <a:pt x="269" y="99"/>
                  </a:lnTo>
                  <a:lnTo>
                    <a:pt x="273" y="101"/>
                  </a:lnTo>
                  <a:lnTo>
                    <a:pt x="275" y="103"/>
                  </a:lnTo>
                  <a:lnTo>
                    <a:pt x="277" y="107"/>
                  </a:lnTo>
                  <a:lnTo>
                    <a:pt x="279" y="109"/>
                  </a:lnTo>
                  <a:lnTo>
                    <a:pt x="282" y="111"/>
                  </a:lnTo>
                  <a:lnTo>
                    <a:pt x="288" y="113"/>
                  </a:lnTo>
                  <a:lnTo>
                    <a:pt x="296" y="117"/>
                  </a:lnTo>
                  <a:lnTo>
                    <a:pt x="298" y="119"/>
                  </a:lnTo>
                  <a:lnTo>
                    <a:pt x="302" y="121"/>
                  </a:lnTo>
                  <a:lnTo>
                    <a:pt x="304" y="136"/>
                  </a:lnTo>
                  <a:lnTo>
                    <a:pt x="305" y="149"/>
                  </a:lnTo>
                  <a:lnTo>
                    <a:pt x="307" y="165"/>
                  </a:lnTo>
                  <a:lnTo>
                    <a:pt x="311" y="178"/>
                  </a:lnTo>
                  <a:lnTo>
                    <a:pt x="307" y="182"/>
                  </a:lnTo>
                  <a:lnTo>
                    <a:pt x="305" y="184"/>
                  </a:lnTo>
                  <a:lnTo>
                    <a:pt x="284" y="184"/>
                  </a:lnTo>
                  <a:lnTo>
                    <a:pt x="261" y="184"/>
                  </a:lnTo>
                  <a:lnTo>
                    <a:pt x="261" y="190"/>
                  </a:lnTo>
                  <a:lnTo>
                    <a:pt x="261" y="197"/>
                  </a:lnTo>
                  <a:lnTo>
                    <a:pt x="259" y="201"/>
                  </a:lnTo>
                  <a:lnTo>
                    <a:pt x="257" y="203"/>
                  </a:lnTo>
                  <a:lnTo>
                    <a:pt x="256" y="201"/>
                  </a:lnTo>
                  <a:lnTo>
                    <a:pt x="254" y="197"/>
                  </a:lnTo>
                  <a:lnTo>
                    <a:pt x="254" y="190"/>
                  </a:lnTo>
                  <a:lnTo>
                    <a:pt x="254" y="184"/>
                  </a:lnTo>
                  <a:lnTo>
                    <a:pt x="246" y="184"/>
                  </a:lnTo>
                  <a:lnTo>
                    <a:pt x="238" y="184"/>
                  </a:lnTo>
                  <a:lnTo>
                    <a:pt x="236" y="182"/>
                  </a:lnTo>
                  <a:lnTo>
                    <a:pt x="233" y="178"/>
                  </a:lnTo>
                  <a:lnTo>
                    <a:pt x="236" y="176"/>
                  </a:lnTo>
                  <a:lnTo>
                    <a:pt x="238" y="174"/>
                  </a:lnTo>
                  <a:lnTo>
                    <a:pt x="238" y="169"/>
                  </a:lnTo>
                  <a:lnTo>
                    <a:pt x="238" y="165"/>
                  </a:lnTo>
                  <a:lnTo>
                    <a:pt x="236" y="161"/>
                  </a:lnTo>
                  <a:lnTo>
                    <a:pt x="233" y="159"/>
                  </a:lnTo>
                  <a:lnTo>
                    <a:pt x="213" y="159"/>
                  </a:lnTo>
                  <a:lnTo>
                    <a:pt x="194" y="159"/>
                  </a:lnTo>
                  <a:lnTo>
                    <a:pt x="192" y="161"/>
                  </a:lnTo>
                  <a:lnTo>
                    <a:pt x="190" y="165"/>
                  </a:lnTo>
                  <a:lnTo>
                    <a:pt x="186" y="169"/>
                  </a:lnTo>
                  <a:lnTo>
                    <a:pt x="186" y="178"/>
                  </a:lnTo>
                  <a:lnTo>
                    <a:pt x="186" y="190"/>
                  </a:lnTo>
                  <a:lnTo>
                    <a:pt x="190" y="193"/>
                  </a:lnTo>
                  <a:lnTo>
                    <a:pt x="192" y="195"/>
                  </a:lnTo>
                  <a:lnTo>
                    <a:pt x="194" y="197"/>
                  </a:lnTo>
                  <a:lnTo>
                    <a:pt x="196" y="211"/>
                  </a:lnTo>
                  <a:lnTo>
                    <a:pt x="200" y="222"/>
                  </a:lnTo>
                  <a:lnTo>
                    <a:pt x="202" y="224"/>
                  </a:lnTo>
                  <a:lnTo>
                    <a:pt x="204" y="228"/>
                  </a:lnTo>
                  <a:lnTo>
                    <a:pt x="211" y="230"/>
                  </a:lnTo>
                  <a:lnTo>
                    <a:pt x="219" y="232"/>
                  </a:lnTo>
                  <a:lnTo>
                    <a:pt x="221" y="234"/>
                  </a:lnTo>
                  <a:lnTo>
                    <a:pt x="223" y="236"/>
                  </a:lnTo>
                  <a:lnTo>
                    <a:pt x="231" y="238"/>
                  </a:lnTo>
                  <a:lnTo>
                    <a:pt x="275" y="236"/>
                  </a:lnTo>
                  <a:lnTo>
                    <a:pt x="286" y="236"/>
                  </a:lnTo>
                  <a:lnTo>
                    <a:pt x="300" y="236"/>
                  </a:lnTo>
                  <a:lnTo>
                    <a:pt x="296" y="245"/>
                  </a:lnTo>
                  <a:lnTo>
                    <a:pt x="292" y="257"/>
                  </a:lnTo>
                  <a:lnTo>
                    <a:pt x="288" y="259"/>
                  </a:lnTo>
                  <a:lnTo>
                    <a:pt x="286" y="261"/>
                  </a:lnTo>
                  <a:lnTo>
                    <a:pt x="284" y="263"/>
                  </a:lnTo>
                  <a:lnTo>
                    <a:pt x="282" y="266"/>
                  </a:lnTo>
                  <a:lnTo>
                    <a:pt x="279" y="268"/>
                  </a:lnTo>
                  <a:lnTo>
                    <a:pt x="277" y="270"/>
                  </a:lnTo>
                  <a:lnTo>
                    <a:pt x="275" y="276"/>
                  </a:lnTo>
                  <a:lnTo>
                    <a:pt x="275" y="284"/>
                  </a:lnTo>
                  <a:lnTo>
                    <a:pt x="263" y="284"/>
                  </a:lnTo>
                  <a:lnTo>
                    <a:pt x="254" y="286"/>
                  </a:lnTo>
                  <a:lnTo>
                    <a:pt x="246" y="287"/>
                  </a:lnTo>
                  <a:lnTo>
                    <a:pt x="238" y="291"/>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27" name="Freeform 298"/>
            <p:cNvSpPr>
              <a:spLocks/>
            </p:cNvSpPr>
            <p:nvPr>
              <p:custDataLst>
                <p:tags r:id="rId17"/>
              </p:custDataLst>
            </p:nvPr>
          </p:nvSpPr>
          <p:spPr bwMode="gray">
            <a:xfrm>
              <a:off x="2959100" y="4740091"/>
              <a:ext cx="444500" cy="242887"/>
            </a:xfrm>
            <a:custGeom>
              <a:avLst/>
              <a:gdLst>
                <a:gd name="T0" fmla="*/ 2147483647 w 289"/>
                <a:gd name="T1" fmla="*/ 2147483647 h 163"/>
                <a:gd name="T2" fmla="*/ 2147483647 w 289"/>
                <a:gd name="T3" fmla="*/ 2147483647 h 163"/>
                <a:gd name="T4" fmla="*/ 2147483647 w 289"/>
                <a:gd name="T5" fmla="*/ 2147483647 h 163"/>
                <a:gd name="T6" fmla="*/ 2147483647 w 289"/>
                <a:gd name="T7" fmla="*/ 2147483647 h 163"/>
                <a:gd name="T8" fmla="*/ 2147483647 w 289"/>
                <a:gd name="T9" fmla="*/ 2147483647 h 163"/>
                <a:gd name="T10" fmla="*/ 2147483647 w 289"/>
                <a:gd name="T11" fmla="*/ 2147483647 h 163"/>
                <a:gd name="T12" fmla="*/ 2147483647 w 289"/>
                <a:gd name="T13" fmla="*/ 2147483647 h 163"/>
                <a:gd name="T14" fmla="*/ 2147483647 w 289"/>
                <a:gd name="T15" fmla="*/ 2147483647 h 163"/>
                <a:gd name="T16" fmla="*/ 2147483647 w 289"/>
                <a:gd name="T17" fmla="*/ 2147483647 h 163"/>
                <a:gd name="T18" fmla="*/ 2147483647 w 289"/>
                <a:gd name="T19" fmla="*/ 2147483647 h 163"/>
                <a:gd name="T20" fmla="*/ 2147483647 w 289"/>
                <a:gd name="T21" fmla="*/ 2147483647 h 163"/>
                <a:gd name="T22" fmla="*/ 2147483647 w 289"/>
                <a:gd name="T23" fmla="*/ 2147483647 h 163"/>
                <a:gd name="T24" fmla="*/ 2147483647 w 289"/>
                <a:gd name="T25" fmla="*/ 2147483647 h 163"/>
                <a:gd name="T26" fmla="*/ 2147483647 w 289"/>
                <a:gd name="T27" fmla="*/ 2147483647 h 163"/>
                <a:gd name="T28" fmla="*/ 2147483647 w 289"/>
                <a:gd name="T29" fmla="*/ 2147483647 h 163"/>
                <a:gd name="T30" fmla="*/ 2147483647 w 289"/>
                <a:gd name="T31" fmla="*/ 2147483647 h 163"/>
                <a:gd name="T32" fmla="*/ 2147483647 w 289"/>
                <a:gd name="T33" fmla="*/ 2147483647 h 163"/>
                <a:gd name="T34" fmla="*/ 2147483647 w 289"/>
                <a:gd name="T35" fmla="*/ 2147483647 h 163"/>
                <a:gd name="T36" fmla="*/ 2147483647 w 289"/>
                <a:gd name="T37" fmla="*/ 2147483647 h 163"/>
                <a:gd name="T38" fmla="*/ 2147483647 w 289"/>
                <a:gd name="T39" fmla="*/ 2147483647 h 163"/>
                <a:gd name="T40" fmla="*/ 2147483647 w 289"/>
                <a:gd name="T41" fmla="*/ 2147483647 h 163"/>
                <a:gd name="T42" fmla="*/ 2147483647 w 289"/>
                <a:gd name="T43" fmla="*/ 2147483647 h 163"/>
                <a:gd name="T44" fmla="*/ 2147483647 w 289"/>
                <a:gd name="T45" fmla="*/ 2147483647 h 163"/>
                <a:gd name="T46" fmla="*/ 2147483647 w 289"/>
                <a:gd name="T47" fmla="*/ 2147483647 h 163"/>
                <a:gd name="T48" fmla="*/ 2147483647 w 289"/>
                <a:gd name="T49" fmla="*/ 2147483647 h 163"/>
                <a:gd name="T50" fmla="*/ 2147483647 w 289"/>
                <a:gd name="T51" fmla="*/ 2147483647 h 163"/>
                <a:gd name="T52" fmla="*/ 2147483647 w 289"/>
                <a:gd name="T53" fmla="*/ 2147483647 h 163"/>
                <a:gd name="T54" fmla="*/ 2147483647 w 289"/>
                <a:gd name="T55" fmla="*/ 2147483647 h 163"/>
                <a:gd name="T56" fmla="*/ 2147483647 w 289"/>
                <a:gd name="T57" fmla="*/ 2147483647 h 163"/>
                <a:gd name="T58" fmla="*/ 2147483647 w 289"/>
                <a:gd name="T59" fmla="*/ 2147483647 h 163"/>
                <a:gd name="T60" fmla="*/ 2147483647 w 289"/>
                <a:gd name="T61" fmla="*/ 2147483647 h 163"/>
                <a:gd name="T62" fmla="*/ 2147483647 w 289"/>
                <a:gd name="T63" fmla="*/ 2147483647 h 163"/>
                <a:gd name="T64" fmla="*/ 2147483647 w 289"/>
                <a:gd name="T65" fmla="*/ 2147483647 h 163"/>
                <a:gd name="T66" fmla="*/ 2147483647 w 289"/>
                <a:gd name="T67" fmla="*/ 2147483647 h 163"/>
                <a:gd name="T68" fmla="*/ 2147483647 w 289"/>
                <a:gd name="T69" fmla="*/ 2147483647 h 163"/>
                <a:gd name="T70" fmla="*/ 2147483647 w 289"/>
                <a:gd name="T71" fmla="*/ 2147483647 h 163"/>
                <a:gd name="T72" fmla="*/ 2147483647 w 289"/>
                <a:gd name="T73" fmla="*/ 2147483647 h 163"/>
                <a:gd name="T74" fmla="*/ 2147483647 w 289"/>
                <a:gd name="T75" fmla="*/ 2147483647 h 163"/>
                <a:gd name="T76" fmla="*/ 2147483647 w 289"/>
                <a:gd name="T77" fmla="*/ 2147483647 h 163"/>
                <a:gd name="T78" fmla="*/ 2147483647 w 289"/>
                <a:gd name="T79" fmla="*/ 2147483647 h 163"/>
                <a:gd name="T80" fmla="*/ 2147483647 w 289"/>
                <a:gd name="T81" fmla="*/ 2147483647 h 163"/>
                <a:gd name="T82" fmla="*/ 2147483647 w 289"/>
                <a:gd name="T83" fmla="*/ 2147483647 h 163"/>
                <a:gd name="T84" fmla="*/ 2147483647 w 289"/>
                <a:gd name="T85" fmla="*/ 2147483647 h 163"/>
                <a:gd name="T86" fmla="*/ 2147483647 w 289"/>
                <a:gd name="T87" fmla="*/ 2147483647 h 163"/>
                <a:gd name="T88" fmla="*/ 2147483647 w 289"/>
                <a:gd name="T89" fmla="*/ 2147483647 h 163"/>
                <a:gd name="T90" fmla="*/ 2147483647 w 289"/>
                <a:gd name="T91" fmla="*/ 2147483647 h 163"/>
                <a:gd name="T92" fmla="*/ 2147483647 w 289"/>
                <a:gd name="T93" fmla="*/ 2147483647 h 163"/>
                <a:gd name="T94" fmla="*/ 2147483647 w 289"/>
                <a:gd name="T95" fmla="*/ 2147483647 h 163"/>
                <a:gd name="T96" fmla="*/ 2147483647 w 289"/>
                <a:gd name="T97" fmla="*/ 2147483647 h 16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89"/>
                <a:gd name="T148" fmla="*/ 0 h 163"/>
                <a:gd name="T149" fmla="*/ 289 w 289"/>
                <a:gd name="T150" fmla="*/ 163 h 16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89" h="163">
                  <a:moveTo>
                    <a:pt x="47" y="163"/>
                  </a:moveTo>
                  <a:lnTo>
                    <a:pt x="47" y="153"/>
                  </a:lnTo>
                  <a:lnTo>
                    <a:pt x="47" y="144"/>
                  </a:lnTo>
                  <a:lnTo>
                    <a:pt x="40" y="144"/>
                  </a:lnTo>
                  <a:lnTo>
                    <a:pt x="34" y="144"/>
                  </a:lnTo>
                  <a:lnTo>
                    <a:pt x="30" y="142"/>
                  </a:lnTo>
                  <a:lnTo>
                    <a:pt x="28" y="140"/>
                  </a:lnTo>
                  <a:lnTo>
                    <a:pt x="17" y="138"/>
                  </a:lnTo>
                  <a:lnTo>
                    <a:pt x="5" y="134"/>
                  </a:lnTo>
                  <a:lnTo>
                    <a:pt x="1" y="132"/>
                  </a:lnTo>
                  <a:lnTo>
                    <a:pt x="0" y="130"/>
                  </a:lnTo>
                  <a:lnTo>
                    <a:pt x="1" y="126"/>
                  </a:lnTo>
                  <a:lnTo>
                    <a:pt x="5" y="124"/>
                  </a:lnTo>
                  <a:lnTo>
                    <a:pt x="7" y="122"/>
                  </a:lnTo>
                  <a:lnTo>
                    <a:pt x="9" y="121"/>
                  </a:lnTo>
                  <a:lnTo>
                    <a:pt x="11" y="117"/>
                  </a:lnTo>
                  <a:lnTo>
                    <a:pt x="15" y="115"/>
                  </a:lnTo>
                  <a:lnTo>
                    <a:pt x="17" y="107"/>
                  </a:lnTo>
                  <a:lnTo>
                    <a:pt x="19" y="101"/>
                  </a:lnTo>
                  <a:lnTo>
                    <a:pt x="23" y="98"/>
                  </a:lnTo>
                  <a:lnTo>
                    <a:pt x="24" y="96"/>
                  </a:lnTo>
                  <a:lnTo>
                    <a:pt x="26" y="94"/>
                  </a:lnTo>
                  <a:lnTo>
                    <a:pt x="28" y="92"/>
                  </a:lnTo>
                  <a:lnTo>
                    <a:pt x="30" y="88"/>
                  </a:lnTo>
                  <a:lnTo>
                    <a:pt x="34" y="86"/>
                  </a:lnTo>
                  <a:lnTo>
                    <a:pt x="36" y="84"/>
                  </a:lnTo>
                  <a:lnTo>
                    <a:pt x="38" y="82"/>
                  </a:lnTo>
                  <a:lnTo>
                    <a:pt x="40" y="78"/>
                  </a:lnTo>
                  <a:lnTo>
                    <a:pt x="44" y="76"/>
                  </a:lnTo>
                  <a:lnTo>
                    <a:pt x="46" y="76"/>
                  </a:lnTo>
                  <a:lnTo>
                    <a:pt x="47" y="73"/>
                  </a:lnTo>
                  <a:lnTo>
                    <a:pt x="47" y="69"/>
                  </a:lnTo>
                  <a:lnTo>
                    <a:pt x="47" y="48"/>
                  </a:lnTo>
                  <a:lnTo>
                    <a:pt x="47" y="9"/>
                  </a:lnTo>
                  <a:lnTo>
                    <a:pt x="63" y="5"/>
                  </a:lnTo>
                  <a:lnTo>
                    <a:pt x="78" y="4"/>
                  </a:lnTo>
                  <a:lnTo>
                    <a:pt x="80" y="2"/>
                  </a:lnTo>
                  <a:lnTo>
                    <a:pt x="82" y="0"/>
                  </a:lnTo>
                  <a:lnTo>
                    <a:pt x="84" y="2"/>
                  </a:lnTo>
                  <a:lnTo>
                    <a:pt x="88" y="4"/>
                  </a:lnTo>
                  <a:lnTo>
                    <a:pt x="99" y="5"/>
                  </a:lnTo>
                  <a:lnTo>
                    <a:pt x="111" y="9"/>
                  </a:lnTo>
                  <a:lnTo>
                    <a:pt x="113" y="11"/>
                  </a:lnTo>
                  <a:lnTo>
                    <a:pt x="117" y="13"/>
                  </a:lnTo>
                  <a:lnTo>
                    <a:pt x="118" y="17"/>
                  </a:lnTo>
                  <a:lnTo>
                    <a:pt x="120" y="19"/>
                  </a:lnTo>
                  <a:lnTo>
                    <a:pt x="122" y="21"/>
                  </a:lnTo>
                  <a:lnTo>
                    <a:pt x="126" y="23"/>
                  </a:lnTo>
                  <a:lnTo>
                    <a:pt x="130" y="27"/>
                  </a:lnTo>
                  <a:lnTo>
                    <a:pt x="140" y="27"/>
                  </a:lnTo>
                  <a:lnTo>
                    <a:pt x="149" y="27"/>
                  </a:lnTo>
                  <a:lnTo>
                    <a:pt x="155" y="23"/>
                  </a:lnTo>
                  <a:lnTo>
                    <a:pt x="157" y="21"/>
                  </a:lnTo>
                  <a:lnTo>
                    <a:pt x="159" y="19"/>
                  </a:lnTo>
                  <a:lnTo>
                    <a:pt x="172" y="19"/>
                  </a:lnTo>
                  <a:lnTo>
                    <a:pt x="184" y="19"/>
                  </a:lnTo>
                  <a:lnTo>
                    <a:pt x="186" y="32"/>
                  </a:lnTo>
                  <a:lnTo>
                    <a:pt x="188" y="48"/>
                  </a:lnTo>
                  <a:lnTo>
                    <a:pt x="191" y="50"/>
                  </a:lnTo>
                  <a:lnTo>
                    <a:pt x="193" y="53"/>
                  </a:lnTo>
                  <a:lnTo>
                    <a:pt x="195" y="59"/>
                  </a:lnTo>
                  <a:lnTo>
                    <a:pt x="199" y="67"/>
                  </a:lnTo>
                  <a:lnTo>
                    <a:pt x="201" y="69"/>
                  </a:lnTo>
                  <a:lnTo>
                    <a:pt x="203" y="71"/>
                  </a:lnTo>
                  <a:lnTo>
                    <a:pt x="205" y="78"/>
                  </a:lnTo>
                  <a:lnTo>
                    <a:pt x="209" y="86"/>
                  </a:lnTo>
                  <a:lnTo>
                    <a:pt x="211" y="88"/>
                  </a:lnTo>
                  <a:lnTo>
                    <a:pt x="213" y="92"/>
                  </a:lnTo>
                  <a:lnTo>
                    <a:pt x="214" y="94"/>
                  </a:lnTo>
                  <a:lnTo>
                    <a:pt x="216" y="96"/>
                  </a:lnTo>
                  <a:lnTo>
                    <a:pt x="220" y="98"/>
                  </a:lnTo>
                  <a:lnTo>
                    <a:pt x="222" y="101"/>
                  </a:lnTo>
                  <a:lnTo>
                    <a:pt x="234" y="103"/>
                  </a:lnTo>
                  <a:lnTo>
                    <a:pt x="247" y="105"/>
                  </a:lnTo>
                  <a:lnTo>
                    <a:pt x="249" y="109"/>
                  </a:lnTo>
                  <a:lnTo>
                    <a:pt x="251" y="111"/>
                  </a:lnTo>
                  <a:lnTo>
                    <a:pt x="255" y="113"/>
                  </a:lnTo>
                  <a:lnTo>
                    <a:pt x="257" y="115"/>
                  </a:lnTo>
                  <a:lnTo>
                    <a:pt x="259" y="117"/>
                  </a:lnTo>
                  <a:lnTo>
                    <a:pt x="260" y="121"/>
                  </a:lnTo>
                  <a:lnTo>
                    <a:pt x="262" y="126"/>
                  </a:lnTo>
                  <a:lnTo>
                    <a:pt x="266" y="134"/>
                  </a:lnTo>
                  <a:lnTo>
                    <a:pt x="268" y="138"/>
                  </a:lnTo>
                  <a:lnTo>
                    <a:pt x="270" y="140"/>
                  </a:lnTo>
                  <a:lnTo>
                    <a:pt x="272" y="142"/>
                  </a:lnTo>
                  <a:lnTo>
                    <a:pt x="276" y="144"/>
                  </a:lnTo>
                  <a:lnTo>
                    <a:pt x="278" y="147"/>
                  </a:lnTo>
                  <a:lnTo>
                    <a:pt x="280" y="149"/>
                  </a:lnTo>
                  <a:lnTo>
                    <a:pt x="283" y="151"/>
                  </a:lnTo>
                  <a:lnTo>
                    <a:pt x="285" y="153"/>
                  </a:lnTo>
                  <a:lnTo>
                    <a:pt x="287" y="157"/>
                  </a:lnTo>
                  <a:lnTo>
                    <a:pt x="289" y="159"/>
                  </a:lnTo>
                  <a:lnTo>
                    <a:pt x="289" y="161"/>
                  </a:lnTo>
                  <a:lnTo>
                    <a:pt x="289" y="163"/>
                  </a:lnTo>
                  <a:lnTo>
                    <a:pt x="230" y="163"/>
                  </a:lnTo>
                  <a:lnTo>
                    <a:pt x="168" y="163"/>
                  </a:lnTo>
                  <a:lnTo>
                    <a:pt x="109" y="163"/>
                  </a:lnTo>
                  <a:lnTo>
                    <a:pt x="47" y="163"/>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28" name="Freeform 299"/>
            <p:cNvSpPr>
              <a:spLocks/>
            </p:cNvSpPr>
            <p:nvPr>
              <p:custDataLst>
                <p:tags r:id="rId18"/>
              </p:custDataLst>
            </p:nvPr>
          </p:nvSpPr>
          <p:spPr bwMode="gray">
            <a:xfrm>
              <a:off x="2041525" y="4668653"/>
              <a:ext cx="660400" cy="644525"/>
            </a:xfrm>
            <a:custGeom>
              <a:avLst/>
              <a:gdLst>
                <a:gd name="T0" fmla="*/ 2147483647 w 424"/>
                <a:gd name="T1" fmla="*/ 2147483647 h 430"/>
                <a:gd name="T2" fmla="*/ 2147483647 w 424"/>
                <a:gd name="T3" fmla="*/ 2147483647 h 430"/>
                <a:gd name="T4" fmla="*/ 2147483647 w 424"/>
                <a:gd name="T5" fmla="*/ 2147483647 h 430"/>
                <a:gd name="T6" fmla="*/ 2147483647 w 424"/>
                <a:gd name="T7" fmla="*/ 2147483647 h 430"/>
                <a:gd name="T8" fmla="*/ 2147483647 w 424"/>
                <a:gd name="T9" fmla="*/ 2147483647 h 430"/>
                <a:gd name="T10" fmla="*/ 2147483647 w 424"/>
                <a:gd name="T11" fmla="*/ 2147483647 h 430"/>
                <a:gd name="T12" fmla="*/ 2147483647 w 424"/>
                <a:gd name="T13" fmla="*/ 2147483647 h 430"/>
                <a:gd name="T14" fmla="*/ 2147483647 w 424"/>
                <a:gd name="T15" fmla="*/ 2147483647 h 430"/>
                <a:gd name="T16" fmla="*/ 2147483647 w 424"/>
                <a:gd name="T17" fmla="*/ 2147483647 h 430"/>
                <a:gd name="T18" fmla="*/ 2147483647 w 424"/>
                <a:gd name="T19" fmla="*/ 2147483647 h 430"/>
                <a:gd name="T20" fmla="*/ 2147483647 w 424"/>
                <a:gd name="T21" fmla="*/ 2147483647 h 430"/>
                <a:gd name="T22" fmla="*/ 0 w 424"/>
                <a:gd name="T23" fmla="*/ 2147483647 h 430"/>
                <a:gd name="T24" fmla="*/ 0 w 424"/>
                <a:gd name="T25" fmla="*/ 2147483647 h 430"/>
                <a:gd name="T26" fmla="*/ 2147483647 w 424"/>
                <a:gd name="T27" fmla="*/ 2147483647 h 430"/>
                <a:gd name="T28" fmla="*/ 2147483647 w 424"/>
                <a:gd name="T29" fmla="*/ 2147483647 h 430"/>
                <a:gd name="T30" fmla="*/ 2147483647 w 424"/>
                <a:gd name="T31" fmla="*/ 2147483647 h 430"/>
                <a:gd name="T32" fmla="*/ 2147483647 w 424"/>
                <a:gd name="T33" fmla="*/ 2147483647 h 430"/>
                <a:gd name="T34" fmla="*/ 2147483647 w 424"/>
                <a:gd name="T35" fmla="*/ 2147483647 h 430"/>
                <a:gd name="T36" fmla="*/ 2147483647 w 424"/>
                <a:gd name="T37" fmla="*/ 2147483647 h 430"/>
                <a:gd name="T38" fmla="*/ 2147483647 w 424"/>
                <a:gd name="T39" fmla="*/ 2147483647 h 430"/>
                <a:gd name="T40" fmla="*/ 2147483647 w 424"/>
                <a:gd name="T41" fmla="*/ 2147483647 h 430"/>
                <a:gd name="T42" fmla="*/ 2147483647 w 424"/>
                <a:gd name="T43" fmla="*/ 2147483647 h 430"/>
                <a:gd name="T44" fmla="*/ 2147483647 w 424"/>
                <a:gd name="T45" fmla="*/ 2147483647 h 430"/>
                <a:gd name="T46" fmla="*/ 2147483647 w 424"/>
                <a:gd name="T47" fmla="*/ 2147483647 h 430"/>
                <a:gd name="T48" fmla="*/ 2147483647 w 424"/>
                <a:gd name="T49" fmla="*/ 2147483647 h 430"/>
                <a:gd name="T50" fmla="*/ 2147483647 w 424"/>
                <a:gd name="T51" fmla="*/ 2147483647 h 430"/>
                <a:gd name="T52" fmla="*/ 2147483647 w 424"/>
                <a:gd name="T53" fmla="*/ 0 h 430"/>
                <a:gd name="T54" fmla="*/ 2147483647 w 424"/>
                <a:gd name="T55" fmla="*/ 2147483647 h 430"/>
                <a:gd name="T56" fmla="*/ 2147483647 w 424"/>
                <a:gd name="T57" fmla="*/ 2147483647 h 430"/>
                <a:gd name="T58" fmla="*/ 2147483647 w 424"/>
                <a:gd name="T59" fmla="*/ 2147483647 h 430"/>
                <a:gd name="T60" fmla="*/ 2147483647 w 424"/>
                <a:gd name="T61" fmla="*/ 2147483647 h 430"/>
                <a:gd name="T62" fmla="*/ 2147483647 w 424"/>
                <a:gd name="T63" fmla="*/ 2147483647 h 430"/>
                <a:gd name="T64" fmla="*/ 2147483647 w 424"/>
                <a:gd name="T65" fmla="*/ 2147483647 h 430"/>
                <a:gd name="T66" fmla="*/ 2147483647 w 424"/>
                <a:gd name="T67" fmla="*/ 2147483647 h 430"/>
                <a:gd name="T68" fmla="*/ 2147483647 w 424"/>
                <a:gd name="T69" fmla="*/ 2147483647 h 430"/>
                <a:gd name="T70" fmla="*/ 2147483647 w 424"/>
                <a:gd name="T71" fmla="*/ 2147483647 h 430"/>
                <a:gd name="T72" fmla="*/ 2147483647 w 424"/>
                <a:gd name="T73" fmla="*/ 2147483647 h 430"/>
                <a:gd name="T74" fmla="*/ 2147483647 w 424"/>
                <a:gd name="T75" fmla="*/ 2147483647 h 430"/>
                <a:gd name="T76" fmla="*/ 2147483647 w 424"/>
                <a:gd name="T77" fmla="*/ 2147483647 h 430"/>
                <a:gd name="T78" fmla="*/ 2147483647 w 424"/>
                <a:gd name="T79" fmla="*/ 2147483647 h 430"/>
                <a:gd name="T80" fmla="*/ 2147483647 w 424"/>
                <a:gd name="T81" fmla="*/ 2147483647 h 430"/>
                <a:gd name="T82" fmla="*/ 2147483647 w 424"/>
                <a:gd name="T83" fmla="*/ 2147483647 h 430"/>
                <a:gd name="T84" fmla="*/ 2147483647 w 424"/>
                <a:gd name="T85" fmla="*/ 2147483647 h 430"/>
                <a:gd name="T86" fmla="*/ 2147483647 w 424"/>
                <a:gd name="T87" fmla="*/ 2147483647 h 430"/>
                <a:gd name="T88" fmla="*/ 2147483647 w 424"/>
                <a:gd name="T89" fmla="*/ 2147483647 h 430"/>
                <a:gd name="T90" fmla="*/ 2147483647 w 424"/>
                <a:gd name="T91" fmla="*/ 2147483647 h 430"/>
                <a:gd name="T92" fmla="*/ 2147483647 w 424"/>
                <a:gd name="T93" fmla="*/ 2147483647 h 430"/>
                <a:gd name="T94" fmla="*/ 2147483647 w 424"/>
                <a:gd name="T95" fmla="*/ 2147483647 h 430"/>
                <a:gd name="T96" fmla="*/ 2147483647 w 424"/>
                <a:gd name="T97" fmla="*/ 2147483647 h 430"/>
                <a:gd name="T98" fmla="*/ 2147483647 w 424"/>
                <a:gd name="T99" fmla="*/ 2147483647 h 430"/>
                <a:gd name="T100" fmla="*/ 2147483647 w 424"/>
                <a:gd name="T101" fmla="*/ 2147483647 h 430"/>
                <a:gd name="T102" fmla="*/ 2147483647 w 424"/>
                <a:gd name="T103" fmla="*/ 2147483647 h 430"/>
                <a:gd name="T104" fmla="*/ 2147483647 w 424"/>
                <a:gd name="T105" fmla="*/ 2147483647 h 430"/>
                <a:gd name="T106" fmla="*/ 2147483647 w 424"/>
                <a:gd name="T107" fmla="*/ 2147483647 h 430"/>
                <a:gd name="T108" fmla="*/ 2147483647 w 424"/>
                <a:gd name="T109" fmla="*/ 2147483647 h 430"/>
                <a:gd name="T110" fmla="*/ 2147483647 w 424"/>
                <a:gd name="T111" fmla="*/ 2147483647 h 430"/>
                <a:gd name="T112" fmla="*/ 2147483647 w 424"/>
                <a:gd name="T113" fmla="*/ 2147483647 h 430"/>
                <a:gd name="T114" fmla="*/ 2147483647 w 424"/>
                <a:gd name="T115" fmla="*/ 2147483647 h 430"/>
                <a:gd name="T116" fmla="*/ 2147483647 w 424"/>
                <a:gd name="T117" fmla="*/ 2147483647 h 430"/>
                <a:gd name="T118" fmla="*/ 2147483647 w 424"/>
                <a:gd name="T119" fmla="*/ 2147483647 h 430"/>
                <a:gd name="T120" fmla="*/ 2147483647 w 424"/>
                <a:gd name="T121" fmla="*/ 2147483647 h 43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4"/>
                <a:gd name="T184" fmla="*/ 0 h 430"/>
                <a:gd name="T185" fmla="*/ 424 w 424"/>
                <a:gd name="T186" fmla="*/ 430 h 43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4" h="430">
                  <a:moveTo>
                    <a:pt x="356" y="424"/>
                  </a:moveTo>
                  <a:lnTo>
                    <a:pt x="333" y="420"/>
                  </a:lnTo>
                  <a:lnTo>
                    <a:pt x="308" y="414"/>
                  </a:lnTo>
                  <a:lnTo>
                    <a:pt x="303" y="395"/>
                  </a:lnTo>
                  <a:lnTo>
                    <a:pt x="299" y="376"/>
                  </a:lnTo>
                  <a:lnTo>
                    <a:pt x="299" y="360"/>
                  </a:lnTo>
                  <a:lnTo>
                    <a:pt x="299" y="347"/>
                  </a:lnTo>
                  <a:lnTo>
                    <a:pt x="255" y="334"/>
                  </a:lnTo>
                  <a:lnTo>
                    <a:pt x="218" y="322"/>
                  </a:lnTo>
                  <a:lnTo>
                    <a:pt x="199" y="320"/>
                  </a:lnTo>
                  <a:lnTo>
                    <a:pt x="180" y="318"/>
                  </a:lnTo>
                  <a:lnTo>
                    <a:pt x="159" y="318"/>
                  </a:lnTo>
                  <a:lnTo>
                    <a:pt x="134" y="318"/>
                  </a:lnTo>
                  <a:lnTo>
                    <a:pt x="134" y="312"/>
                  </a:lnTo>
                  <a:lnTo>
                    <a:pt x="134" y="309"/>
                  </a:lnTo>
                  <a:lnTo>
                    <a:pt x="130" y="293"/>
                  </a:lnTo>
                  <a:lnTo>
                    <a:pt x="128" y="276"/>
                  </a:lnTo>
                  <a:lnTo>
                    <a:pt x="117" y="274"/>
                  </a:lnTo>
                  <a:lnTo>
                    <a:pt x="105" y="270"/>
                  </a:lnTo>
                  <a:lnTo>
                    <a:pt x="97" y="259"/>
                  </a:lnTo>
                  <a:lnTo>
                    <a:pt x="92" y="247"/>
                  </a:lnTo>
                  <a:lnTo>
                    <a:pt x="88" y="234"/>
                  </a:lnTo>
                  <a:lnTo>
                    <a:pt x="86" y="211"/>
                  </a:lnTo>
                  <a:lnTo>
                    <a:pt x="82" y="205"/>
                  </a:lnTo>
                  <a:lnTo>
                    <a:pt x="76" y="199"/>
                  </a:lnTo>
                  <a:lnTo>
                    <a:pt x="65" y="192"/>
                  </a:lnTo>
                  <a:lnTo>
                    <a:pt x="47" y="182"/>
                  </a:lnTo>
                  <a:lnTo>
                    <a:pt x="47" y="178"/>
                  </a:lnTo>
                  <a:lnTo>
                    <a:pt x="47" y="172"/>
                  </a:lnTo>
                  <a:lnTo>
                    <a:pt x="47" y="169"/>
                  </a:lnTo>
                  <a:lnTo>
                    <a:pt x="47" y="163"/>
                  </a:lnTo>
                  <a:lnTo>
                    <a:pt x="44" y="157"/>
                  </a:lnTo>
                  <a:lnTo>
                    <a:pt x="40" y="151"/>
                  </a:lnTo>
                  <a:lnTo>
                    <a:pt x="19" y="147"/>
                  </a:lnTo>
                  <a:lnTo>
                    <a:pt x="0" y="144"/>
                  </a:lnTo>
                  <a:lnTo>
                    <a:pt x="0" y="140"/>
                  </a:lnTo>
                  <a:lnTo>
                    <a:pt x="0" y="134"/>
                  </a:lnTo>
                  <a:lnTo>
                    <a:pt x="0" y="132"/>
                  </a:lnTo>
                  <a:lnTo>
                    <a:pt x="0" y="130"/>
                  </a:lnTo>
                  <a:lnTo>
                    <a:pt x="1" y="126"/>
                  </a:lnTo>
                  <a:lnTo>
                    <a:pt x="3" y="124"/>
                  </a:lnTo>
                  <a:lnTo>
                    <a:pt x="17" y="123"/>
                  </a:lnTo>
                  <a:lnTo>
                    <a:pt x="28" y="119"/>
                  </a:lnTo>
                  <a:lnTo>
                    <a:pt x="30" y="117"/>
                  </a:lnTo>
                  <a:lnTo>
                    <a:pt x="32" y="115"/>
                  </a:lnTo>
                  <a:lnTo>
                    <a:pt x="34" y="113"/>
                  </a:lnTo>
                  <a:lnTo>
                    <a:pt x="38" y="111"/>
                  </a:lnTo>
                  <a:lnTo>
                    <a:pt x="40" y="107"/>
                  </a:lnTo>
                  <a:lnTo>
                    <a:pt x="42" y="105"/>
                  </a:lnTo>
                  <a:lnTo>
                    <a:pt x="44" y="103"/>
                  </a:lnTo>
                  <a:lnTo>
                    <a:pt x="47" y="101"/>
                  </a:lnTo>
                  <a:lnTo>
                    <a:pt x="49" y="98"/>
                  </a:lnTo>
                  <a:lnTo>
                    <a:pt x="51" y="96"/>
                  </a:lnTo>
                  <a:lnTo>
                    <a:pt x="65" y="94"/>
                  </a:lnTo>
                  <a:lnTo>
                    <a:pt x="76" y="90"/>
                  </a:lnTo>
                  <a:lnTo>
                    <a:pt x="78" y="88"/>
                  </a:lnTo>
                  <a:lnTo>
                    <a:pt x="82" y="86"/>
                  </a:lnTo>
                  <a:lnTo>
                    <a:pt x="84" y="84"/>
                  </a:lnTo>
                  <a:lnTo>
                    <a:pt x="86" y="80"/>
                  </a:lnTo>
                  <a:lnTo>
                    <a:pt x="88" y="78"/>
                  </a:lnTo>
                  <a:lnTo>
                    <a:pt x="92" y="76"/>
                  </a:lnTo>
                  <a:lnTo>
                    <a:pt x="94" y="75"/>
                  </a:lnTo>
                  <a:lnTo>
                    <a:pt x="95" y="71"/>
                  </a:lnTo>
                  <a:lnTo>
                    <a:pt x="97" y="69"/>
                  </a:lnTo>
                  <a:lnTo>
                    <a:pt x="101" y="67"/>
                  </a:lnTo>
                  <a:lnTo>
                    <a:pt x="103" y="65"/>
                  </a:lnTo>
                  <a:lnTo>
                    <a:pt x="105" y="61"/>
                  </a:lnTo>
                  <a:lnTo>
                    <a:pt x="107" y="59"/>
                  </a:lnTo>
                  <a:lnTo>
                    <a:pt x="111" y="57"/>
                  </a:lnTo>
                  <a:lnTo>
                    <a:pt x="113" y="50"/>
                  </a:lnTo>
                  <a:lnTo>
                    <a:pt x="115" y="42"/>
                  </a:lnTo>
                  <a:lnTo>
                    <a:pt x="117" y="40"/>
                  </a:lnTo>
                  <a:lnTo>
                    <a:pt x="120" y="38"/>
                  </a:lnTo>
                  <a:lnTo>
                    <a:pt x="132" y="34"/>
                  </a:lnTo>
                  <a:lnTo>
                    <a:pt x="143" y="32"/>
                  </a:lnTo>
                  <a:lnTo>
                    <a:pt x="147" y="30"/>
                  </a:lnTo>
                  <a:lnTo>
                    <a:pt x="149" y="28"/>
                  </a:lnTo>
                  <a:lnTo>
                    <a:pt x="151" y="13"/>
                  </a:lnTo>
                  <a:lnTo>
                    <a:pt x="153" y="0"/>
                  </a:lnTo>
                  <a:lnTo>
                    <a:pt x="161" y="0"/>
                  </a:lnTo>
                  <a:lnTo>
                    <a:pt x="168" y="0"/>
                  </a:lnTo>
                  <a:lnTo>
                    <a:pt x="170" y="2"/>
                  </a:lnTo>
                  <a:lnTo>
                    <a:pt x="174" y="4"/>
                  </a:lnTo>
                  <a:lnTo>
                    <a:pt x="176" y="15"/>
                  </a:lnTo>
                  <a:lnTo>
                    <a:pt x="178" y="28"/>
                  </a:lnTo>
                  <a:lnTo>
                    <a:pt x="180" y="30"/>
                  </a:lnTo>
                  <a:lnTo>
                    <a:pt x="182" y="32"/>
                  </a:lnTo>
                  <a:lnTo>
                    <a:pt x="186" y="40"/>
                  </a:lnTo>
                  <a:lnTo>
                    <a:pt x="188" y="48"/>
                  </a:lnTo>
                  <a:lnTo>
                    <a:pt x="189" y="50"/>
                  </a:lnTo>
                  <a:lnTo>
                    <a:pt x="191" y="52"/>
                  </a:lnTo>
                  <a:lnTo>
                    <a:pt x="195" y="78"/>
                  </a:lnTo>
                  <a:lnTo>
                    <a:pt x="197" y="105"/>
                  </a:lnTo>
                  <a:lnTo>
                    <a:pt x="199" y="107"/>
                  </a:lnTo>
                  <a:lnTo>
                    <a:pt x="203" y="111"/>
                  </a:lnTo>
                  <a:lnTo>
                    <a:pt x="205" y="123"/>
                  </a:lnTo>
                  <a:lnTo>
                    <a:pt x="207" y="134"/>
                  </a:lnTo>
                  <a:lnTo>
                    <a:pt x="209" y="136"/>
                  </a:lnTo>
                  <a:lnTo>
                    <a:pt x="212" y="140"/>
                  </a:lnTo>
                  <a:lnTo>
                    <a:pt x="214" y="151"/>
                  </a:lnTo>
                  <a:lnTo>
                    <a:pt x="216" y="163"/>
                  </a:lnTo>
                  <a:lnTo>
                    <a:pt x="218" y="165"/>
                  </a:lnTo>
                  <a:lnTo>
                    <a:pt x="222" y="169"/>
                  </a:lnTo>
                  <a:lnTo>
                    <a:pt x="224" y="184"/>
                  </a:lnTo>
                  <a:lnTo>
                    <a:pt x="226" y="201"/>
                  </a:lnTo>
                  <a:lnTo>
                    <a:pt x="228" y="205"/>
                  </a:lnTo>
                  <a:lnTo>
                    <a:pt x="232" y="207"/>
                  </a:lnTo>
                  <a:lnTo>
                    <a:pt x="243" y="209"/>
                  </a:lnTo>
                  <a:lnTo>
                    <a:pt x="255" y="211"/>
                  </a:lnTo>
                  <a:lnTo>
                    <a:pt x="259" y="215"/>
                  </a:lnTo>
                  <a:lnTo>
                    <a:pt x="260" y="217"/>
                  </a:lnTo>
                  <a:lnTo>
                    <a:pt x="260" y="220"/>
                  </a:lnTo>
                  <a:lnTo>
                    <a:pt x="260" y="226"/>
                  </a:lnTo>
                  <a:lnTo>
                    <a:pt x="259" y="228"/>
                  </a:lnTo>
                  <a:lnTo>
                    <a:pt x="255" y="232"/>
                  </a:lnTo>
                  <a:lnTo>
                    <a:pt x="247" y="232"/>
                  </a:lnTo>
                  <a:lnTo>
                    <a:pt x="241" y="232"/>
                  </a:lnTo>
                  <a:lnTo>
                    <a:pt x="243" y="241"/>
                  </a:lnTo>
                  <a:lnTo>
                    <a:pt x="245" y="251"/>
                  </a:lnTo>
                  <a:lnTo>
                    <a:pt x="247" y="253"/>
                  </a:lnTo>
                  <a:lnTo>
                    <a:pt x="251" y="255"/>
                  </a:lnTo>
                  <a:lnTo>
                    <a:pt x="251" y="264"/>
                  </a:lnTo>
                  <a:lnTo>
                    <a:pt x="251" y="274"/>
                  </a:lnTo>
                  <a:lnTo>
                    <a:pt x="247" y="276"/>
                  </a:lnTo>
                  <a:lnTo>
                    <a:pt x="245" y="280"/>
                  </a:lnTo>
                  <a:lnTo>
                    <a:pt x="245" y="289"/>
                  </a:lnTo>
                  <a:lnTo>
                    <a:pt x="245" y="299"/>
                  </a:lnTo>
                  <a:lnTo>
                    <a:pt x="247" y="301"/>
                  </a:lnTo>
                  <a:lnTo>
                    <a:pt x="251" y="303"/>
                  </a:lnTo>
                  <a:lnTo>
                    <a:pt x="272" y="307"/>
                  </a:lnTo>
                  <a:lnTo>
                    <a:pt x="293" y="309"/>
                  </a:lnTo>
                  <a:lnTo>
                    <a:pt x="297" y="311"/>
                  </a:lnTo>
                  <a:lnTo>
                    <a:pt x="299" y="312"/>
                  </a:lnTo>
                  <a:lnTo>
                    <a:pt x="306" y="316"/>
                  </a:lnTo>
                  <a:lnTo>
                    <a:pt x="312" y="318"/>
                  </a:lnTo>
                  <a:lnTo>
                    <a:pt x="316" y="320"/>
                  </a:lnTo>
                  <a:lnTo>
                    <a:pt x="318" y="322"/>
                  </a:lnTo>
                  <a:lnTo>
                    <a:pt x="328" y="322"/>
                  </a:lnTo>
                  <a:lnTo>
                    <a:pt x="337" y="322"/>
                  </a:lnTo>
                  <a:lnTo>
                    <a:pt x="339" y="320"/>
                  </a:lnTo>
                  <a:lnTo>
                    <a:pt x="341" y="318"/>
                  </a:lnTo>
                  <a:lnTo>
                    <a:pt x="345" y="316"/>
                  </a:lnTo>
                  <a:lnTo>
                    <a:pt x="347" y="312"/>
                  </a:lnTo>
                  <a:lnTo>
                    <a:pt x="349" y="311"/>
                  </a:lnTo>
                  <a:lnTo>
                    <a:pt x="353" y="309"/>
                  </a:lnTo>
                  <a:lnTo>
                    <a:pt x="354" y="307"/>
                  </a:lnTo>
                  <a:lnTo>
                    <a:pt x="356" y="303"/>
                  </a:lnTo>
                  <a:lnTo>
                    <a:pt x="358" y="301"/>
                  </a:lnTo>
                  <a:lnTo>
                    <a:pt x="362" y="299"/>
                  </a:lnTo>
                  <a:lnTo>
                    <a:pt x="364" y="297"/>
                  </a:lnTo>
                  <a:lnTo>
                    <a:pt x="366" y="293"/>
                  </a:lnTo>
                  <a:lnTo>
                    <a:pt x="368" y="291"/>
                  </a:lnTo>
                  <a:lnTo>
                    <a:pt x="372" y="289"/>
                  </a:lnTo>
                  <a:lnTo>
                    <a:pt x="385" y="289"/>
                  </a:lnTo>
                  <a:lnTo>
                    <a:pt x="401" y="289"/>
                  </a:lnTo>
                  <a:lnTo>
                    <a:pt x="402" y="291"/>
                  </a:lnTo>
                  <a:lnTo>
                    <a:pt x="406" y="293"/>
                  </a:lnTo>
                  <a:lnTo>
                    <a:pt x="408" y="297"/>
                  </a:lnTo>
                  <a:lnTo>
                    <a:pt x="410" y="299"/>
                  </a:lnTo>
                  <a:lnTo>
                    <a:pt x="412" y="301"/>
                  </a:lnTo>
                  <a:lnTo>
                    <a:pt x="414" y="303"/>
                  </a:lnTo>
                  <a:lnTo>
                    <a:pt x="414" y="307"/>
                  </a:lnTo>
                  <a:lnTo>
                    <a:pt x="414" y="309"/>
                  </a:lnTo>
                  <a:lnTo>
                    <a:pt x="414" y="312"/>
                  </a:lnTo>
                  <a:lnTo>
                    <a:pt x="414" y="318"/>
                  </a:lnTo>
                  <a:lnTo>
                    <a:pt x="410" y="322"/>
                  </a:lnTo>
                  <a:lnTo>
                    <a:pt x="406" y="328"/>
                  </a:lnTo>
                  <a:lnTo>
                    <a:pt x="401" y="332"/>
                  </a:lnTo>
                  <a:lnTo>
                    <a:pt x="395" y="337"/>
                  </a:lnTo>
                  <a:lnTo>
                    <a:pt x="393" y="337"/>
                  </a:lnTo>
                  <a:lnTo>
                    <a:pt x="391" y="343"/>
                  </a:lnTo>
                  <a:lnTo>
                    <a:pt x="391" y="355"/>
                  </a:lnTo>
                  <a:lnTo>
                    <a:pt x="393" y="378"/>
                  </a:lnTo>
                  <a:lnTo>
                    <a:pt x="402" y="382"/>
                  </a:lnTo>
                  <a:lnTo>
                    <a:pt x="414" y="385"/>
                  </a:lnTo>
                  <a:lnTo>
                    <a:pt x="420" y="401"/>
                  </a:lnTo>
                  <a:lnTo>
                    <a:pt x="424" y="414"/>
                  </a:lnTo>
                  <a:lnTo>
                    <a:pt x="420" y="422"/>
                  </a:lnTo>
                  <a:lnTo>
                    <a:pt x="414" y="430"/>
                  </a:lnTo>
                  <a:lnTo>
                    <a:pt x="389" y="424"/>
                  </a:lnTo>
                  <a:lnTo>
                    <a:pt x="374" y="422"/>
                  </a:lnTo>
                  <a:lnTo>
                    <a:pt x="366" y="422"/>
                  </a:lnTo>
                  <a:lnTo>
                    <a:pt x="356" y="424"/>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29" name="Freeform 300"/>
            <p:cNvSpPr>
              <a:spLocks/>
            </p:cNvSpPr>
            <p:nvPr>
              <p:custDataLst>
                <p:tags r:id="rId19"/>
              </p:custDataLst>
            </p:nvPr>
          </p:nvSpPr>
          <p:spPr bwMode="gray">
            <a:xfrm>
              <a:off x="3979863" y="4494028"/>
              <a:ext cx="942975" cy="695325"/>
            </a:xfrm>
            <a:custGeom>
              <a:avLst/>
              <a:gdLst>
                <a:gd name="T0" fmla="*/ 2147483647 w 608"/>
                <a:gd name="T1" fmla="*/ 2147483647 h 464"/>
                <a:gd name="T2" fmla="*/ 2147483647 w 608"/>
                <a:gd name="T3" fmla="*/ 2147483647 h 464"/>
                <a:gd name="T4" fmla="*/ 2147483647 w 608"/>
                <a:gd name="T5" fmla="*/ 2147483647 h 464"/>
                <a:gd name="T6" fmla="*/ 2147483647 w 608"/>
                <a:gd name="T7" fmla="*/ 2147483647 h 464"/>
                <a:gd name="T8" fmla="*/ 2147483647 w 608"/>
                <a:gd name="T9" fmla="*/ 2147483647 h 464"/>
                <a:gd name="T10" fmla="*/ 2147483647 w 608"/>
                <a:gd name="T11" fmla="*/ 2147483647 h 464"/>
                <a:gd name="T12" fmla="*/ 2147483647 w 608"/>
                <a:gd name="T13" fmla="*/ 2147483647 h 464"/>
                <a:gd name="T14" fmla="*/ 2147483647 w 608"/>
                <a:gd name="T15" fmla="*/ 2147483647 h 464"/>
                <a:gd name="T16" fmla="*/ 2147483647 w 608"/>
                <a:gd name="T17" fmla="*/ 2147483647 h 464"/>
                <a:gd name="T18" fmla="*/ 2147483647 w 608"/>
                <a:gd name="T19" fmla="*/ 2147483647 h 464"/>
                <a:gd name="T20" fmla="*/ 2147483647 w 608"/>
                <a:gd name="T21" fmla="*/ 2147483647 h 464"/>
                <a:gd name="T22" fmla="*/ 2147483647 w 608"/>
                <a:gd name="T23" fmla="*/ 2147483647 h 464"/>
                <a:gd name="T24" fmla="*/ 2147483647 w 608"/>
                <a:gd name="T25" fmla="*/ 2147483647 h 464"/>
                <a:gd name="T26" fmla="*/ 2147483647 w 608"/>
                <a:gd name="T27" fmla="*/ 2147483647 h 464"/>
                <a:gd name="T28" fmla="*/ 2147483647 w 608"/>
                <a:gd name="T29" fmla="*/ 2147483647 h 464"/>
                <a:gd name="T30" fmla="*/ 2147483647 w 608"/>
                <a:gd name="T31" fmla="*/ 2147483647 h 464"/>
                <a:gd name="T32" fmla="*/ 2147483647 w 608"/>
                <a:gd name="T33" fmla="*/ 2147483647 h 464"/>
                <a:gd name="T34" fmla="*/ 2147483647 w 608"/>
                <a:gd name="T35" fmla="*/ 2147483647 h 464"/>
                <a:gd name="T36" fmla="*/ 2147483647 w 608"/>
                <a:gd name="T37" fmla="*/ 2147483647 h 464"/>
                <a:gd name="T38" fmla="*/ 2147483647 w 608"/>
                <a:gd name="T39" fmla="*/ 2147483647 h 464"/>
                <a:gd name="T40" fmla="*/ 2147483647 w 608"/>
                <a:gd name="T41" fmla="*/ 2147483647 h 464"/>
                <a:gd name="T42" fmla="*/ 2147483647 w 608"/>
                <a:gd name="T43" fmla="*/ 2147483647 h 464"/>
                <a:gd name="T44" fmla="*/ 2147483647 w 608"/>
                <a:gd name="T45" fmla="*/ 2147483647 h 464"/>
                <a:gd name="T46" fmla="*/ 2147483647 w 608"/>
                <a:gd name="T47" fmla="*/ 2147483647 h 464"/>
                <a:gd name="T48" fmla="*/ 2147483647 w 608"/>
                <a:gd name="T49" fmla="*/ 2147483647 h 464"/>
                <a:gd name="T50" fmla="*/ 2147483647 w 608"/>
                <a:gd name="T51" fmla="*/ 2147483647 h 464"/>
                <a:gd name="T52" fmla="*/ 2147483647 w 608"/>
                <a:gd name="T53" fmla="*/ 2147483647 h 464"/>
                <a:gd name="T54" fmla="*/ 2147483647 w 608"/>
                <a:gd name="T55" fmla="*/ 2147483647 h 464"/>
                <a:gd name="T56" fmla="*/ 2147483647 w 608"/>
                <a:gd name="T57" fmla="*/ 2147483647 h 464"/>
                <a:gd name="T58" fmla="*/ 2147483647 w 608"/>
                <a:gd name="T59" fmla="*/ 2147483647 h 464"/>
                <a:gd name="T60" fmla="*/ 2147483647 w 608"/>
                <a:gd name="T61" fmla="*/ 2147483647 h 464"/>
                <a:gd name="T62" fmla="*/ 2147483647 w 608"/>
                <a:gd name="T63" fmla="*/ 2147483647 h 464"/>
                <a:gd name="T64" fmla="*/ 2147483647 w 608"/>
                <a:gd name="T65" fmla="*/ 2147483647 h 464"/>
                <a:gd name="T66" fmla="*/ 2147483647 w 608"/>
                <a:gd name="T67" fmla="*/ 2147483647 h 464"/>
                <a:gd name="T68" fmla="*/ 2147483647 w 608"/>
                <a:gd name="T69" fmla="*/ 2147483647 h 464"/>
                <a:gd name="T70" fmla="*/ 2147483647 w 608"/>
                <a:gd name="T71" fmla="*/ 2147483647 h 464"/>
                <a:gd name="T72" fmla="*/ 2147483647 w 608"/>
                <a:gd name="T73" fmla="*/ 2147483647 h 464"/>
                <a:gd name="T74" fmla="*/ 2147483647 w 608"/>
                <a:gd name="T75" fmla="*/ 2147483647 h 464"/>
                <a:gd name="T76" fmla="*/ 2147483647 w 608"/>
                <a:gd name="T77" fmla="*/ 2147483647 h 464"/>
                <a:gd name="T78" fmla="*/ 2147483647 w 608"/>
                <a:gd name="T79" fmla="*/ 2147483647 h 464"/>
                <a:gd name="T80" fmla="*/ 2147483647 w 608"/>
                <a:gd name="T81" fmla="*/ 2147483647 h 464"/>
                <a:gd name="T82" fmla="*/ 2147483647 w 608"/>
                <a:gd name="T83" fmla="*/ 2147483647 h 464"/>
                <a:gd name="T84" fmla="*/ 2147483647 w 608"/>
                <a:gd name="T85" fmla="*/ 2147483647 h 464"/>
                <a:gd name="T86" fmla="*/ 2147483647 w 608"/>
                <a:gd name="T87" fmla="*/ 2147483647 h 464"/>
                <a:gd name="T88" fmla="*/ 2147483647 w 608"/>
                <a:gd name="T89" fmla="*/ 2147483647 h 464"/>
                <a:gd name="T90" fmla="*/ 2147483647 w 608"/>
                <a:gd name="T91" fmla="*/ 2147483647 h 464"/>
                <a:gd name="T92" fmla="*/ 2147483647 w 608"/>
                <a:gd name="T93" fmla="*/ 2147483647 h 464"/>
                <a:gd name="T94" fmla="*/ 2147483647 w 608"/>
                <a:gd name="T95" fmla="*/ 2147483647 h 464"/>
                <a:gd name="T96" fmla="*/ 2147483647 w 608"/>
                <a:gd name="T97" fmla="*/ 2147483647 h 464"/>
                <a:gd name="T98" fmla="*/ 0 w 608"/>
                <a:gd name="T99" fmla="*/ 2147483647 h 464"/>
                <a:gd name="T100" fmla="*/ 2147483647 w 608"/>
                <a:gd name="T101" fmla="*/ 2147483647 h 464"/>
                <a:gd name="T102" fmla="*/ 2147483647 w 608"/>
                <a:gd name="T103" fmla="*/ 2147483647 h 464"/>
                <a:gd name="T104" fmla="*/ 2147483647 w 608"/>
                <a:gd name="T105" fmla="*/ 2147483647 h 464"/>
                <a:gd name="T106" fmla="*/ 2147483647 w 608"/>
                <a:gd name="T107" fmla="*/ 2147483647 h 464"/>
                <a:gd name="T108" fmla="*/ 2147483647 w 608"/>
                <a:gd name="T109" fmla="*/ 2147483647 h 464"/>
                <a:gd name="T110" fmla="*/ 2147483647 w 608"/>
                <a:gd name="T111" fmla="*/ 2147483647 h 464"/>
                <a:gd name="T112" fmla="*/ 2147483647 w 608"/>
                <a:gd name="T113" fmla="*/ 2147483647 h 464"/>
                <a:gd name="T114" fmla="*/ 2147483647 w 608"/>
                <a:gd name="T115" fmla="*/ 2147483647 h 464"/>
                <a:gd name="T116" fmla="*/ 2147483647 w 608"/>
                <a:gd name="T117" fmla="*/ 2147483647 h 464"/>
                <a:gd name="T118" fmla="*/ 2147483647 w 608"/>
                <a:gd name="T119" fmla="*/ 2147483647 h 464"/>
                <a:gd name="T120" fmla="*/ 2147483647 w 608"/>
                <a:gd name="T121" fmla="*/ 0 h 464"/>
                <a:gd name="T122" fmla="*/ 2147483647 w 608"/>
                <a:gd name="T123" fmla="*/ 2147483647 h 4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8"/>
                <a:gd name="T187" fmla="*/ 0 h 464"/>
                <a:gd name="T188" fmla="*/ 608 w 608"/>
                <a:gd name="T189" fmla="*/ 464 h 4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8" h="464">
                  <a:moveTo>
                    <a:pt x="213" y="9"/>
                  </a:moveTo>
                  <a:lnTo>
                    <a:pt x="228" y="21"/>
                  </a:lnTo>
                  <a:lnTo>
                    <a:pt x="241" y="25"/>
                  </a:lnTo>
                  <a:lnTo>
                    <a:pt x="257" y="28"/>
                  </a:lnTo>
                  <a:lnTo>
                    <a:pt x="276" y="28"/>
                  </a:lnTo>
                  <a:lnTo>
                    <a:pt x="278" y="30"/>
                  </a:lnTo>
                  <a:lnTo>
                    <a:pt x="280" y="34"/>
                  </a:lnTo>
                  <a:lnTo>
                    <a:pt x="282" y="36"/>
                  </a:lnTo>
                  <a:lnTo>
                    <a:pt x="286" y="38"/>
                  </a:lnTo>
                  <a:lnTo>
                    <a:pt x="287" y="42"/>
                  </a:lnTo>
                  <a:lnTo>
                    <a:pt x="289" y="44"/>
                  </a:lnTo>
                  <a:lnTo>
                    <a:pt x="309" y="44"/>
                  </a:lnTo>
                  <a:lnTo>
                    <a:pt x="328" y="44"/>
                  </a:lnTo>
                  <a:lnTo>
                    <a:pt x="332" y="42"/>
                  </a:lnTo>
                  <a:lnTo>
                    <a:pt x="333" y="38"/>
                  </a:lnTo>
                  <a:lnTo>
                    <a:pt x="335" y="36"/>
                  </a:lnTo>
                  <a:lnTo>
                    <a:pt x="337" y="34"/>
                  </a:lnTo>
                  <a:lnTo>
                    <a:pt x="339" y="30"/>
                  </a:lnTo>
                  <a:lnTo>
                    <a:pt x="343" y="28"/>
                  </a:lnTo>
                  <a:lnTo>
                    <a:pt x="351" y="27"/>
                  </a:lnTo>
                  <a:lnTo>
                    <a:pt x="358" y="25"/>
                  </a:lnTo>
                  <a:lnTo>
                    <a:pt x="360" y="21"/>
                  </a:lnTo>
                  <a:lnTo>
                    <a:pt x="362" y="19"/>
                  </a:lnTo>
                  <a:lnTo>
                    <a:pt x="372" y="19"/>
                  </a:lnTo>
                  <a:lnTo>
                    <a:pt x="381" y="19"/>
                  </a:lnTo>
                  <a:lnTo>
                    <a:pt x="383" y="21"/>
                  </a:lnTo>
                  <a:lnTo>
                    <a:pt x="387" y="25"/>
                  </a:lnTo>
                  <a:lnTo>
                    <a:pt x="397" y="27"/>
                  </a:lnTo>
                  <a:lnTo>
                    <a:pt x="406" y="28"/>
                  </a:lnTo>
                  <a:lnTo>
                    <a:pt x="408" y="44"/>
                  </a:lnTo>
                  <a:lnTo>
                    <a:pt x="410" y="57"/>
                  </a:lnTo>
                  <a:lnTo>
                    <a:pt x="412" y="59"/>
                  </a:lnTo>
                  <a:lnTo>
                    <a:pt x="416" y="63"/>
                  </a:lnTo>
                  <a:lnTo>
                    <a:pt x="418" y="84"/>
                  </a:lnTo>
                  <a:lnTo>
                    <a:pt x="420" y="107"/>
                  </a:lnTo>
                  <a:lnTo>
                    <a:pt x="422" y="109"/>
                  </a:lnTo>
                  <a:lnTo>
                    <a:pt x="426" y="111"/>
                  </a:lnTo>
                  <a:lnTo>
                    <a:pt x="443" y="113"/>
                  </a:lnTo>
                  <a:lnTo>
                    <a:pt x="462" y="113"/>
                  </a:lnTo>
                  <a:lnTo>
                    <a:pt x="479" y="115"/>
                  </a:lnTo>
                  <a:lnTo>
                    <a:pt x="497" y="117"/>
                  </a:lnTo>
                  <a:lnTo>
                    <a:pt x="500" y="119"/>
                  </a:lnTo>
                  <a:lnTo>
                    <a:pt x="502" y="121"/>
                  </a:lnTo>
                  <a:lnTo>
                    <a:pt x="510" y="122"/>
                  </a:lnTo>
                  <a:lnTo>
                    <a:pt x="518" y="126"/>
                  </a:lnTo>
                  <a:lnTo>
                    <a:pt x="520" y="128"/>
                  </a:lnTo>
                  <a:lnTo>
                    <a:pt x="521" y="130"/>
                  </a:lnTo>
                  <a:lnTo>
                    <a:pt x="529" y="144"/>
                  </a:lnTo>
                  <a:lnTo>
                    <a:pt x="537" y="155"/>
                  </a:lnTo>
                  <a:lnTo>
                    <a:pt x="539" y="157"/>
                  </a:lnTo>
                  <a:lnTo>
                    <a:pt x="541" y="159"/>
                  </a:lnTo>
                  <a:lnTo>
                    <a:pt x="543" y="161"/>
                  </a:lnTo>
                  <a:lnTo>
                    <a:pt x="546" y="165"/>
                  </a:lnTo>
                  <a:lnTo>
                    <a:pt x="548" y="167"/>
                  </a:lnTo>
                  <a:lnTo>
                    <a:pt x="550" y="169"/>
                  </a:lnTo>
                  <a:lnTo>
                    <a:pt x="552" y="170"/>
                  </a:lnTo>
                  <a:lnTo>
                    <a:pt x="556" y="174"/>
                  </a:lnTo>
                  <a:lnTo>
                    <a:pt x="558" y="176"/>
                  </a:lnTo>
                  <a:lnTo>
                    <a:pt x="560" y="178"/>
                  </a:lnTo>
                  <a:lnTo>
                    <a:pt x="568" y="182"/>
                  </a:lnTo>
                  <a:lnTo>
                    <a:pt x="575" y="184"/>
                  </a:lnTo>
                  <a:lnTo>
                    <a:pt x="577" y="186"/>
                  </a:lnTo>
                  <a:lnTo>
                    <a:pt x="579" y="188"/>
                  </a:lnTo>
                  <a:lnTo>
                    <a:pt x="577" y="192"/>
                  </a:lnTo>
                  <a:lnTo>
                    <a:pt x="575" y="193"/>
                  </a:lnTo>
                  <a:lnTo>
                    <a:pt x="571" y="205"/>
                  </a:lnTo>
                  <a:lnTo>
                    <a:pt x="569" y="218"/>
                  </a:lnTo>
                  <a:lnTo>
                    <a:pt x="568" y="220"/>
                  </a:lnTo>
                  <a:lnTo>
                    <a:pt x="566" y="222"/>
                  </a:lnTo>
                  <a:lnTo>
                    <a:pt x="564" y="230"/>
                  </a:lnTo>
                  <a:lnTo>
                    <a:pt x="560" y="236"/>
                  </a:lnTo>
                  <a:lnTo>
                    <a:pt x="558" y="240"/>
                  </a:lnTo>
                  <a:lnTo>
                    <a:pt x="556" y="241"/>
                  </a:lnTo>
                  <a:lnTo>
                    <a:pt x="552" y="245"/>
                  </a:lnTo>
                  <a:lnTo>
                    <a:pt x="552" y="251"/>
                  </a:lnTo>
                  <a:lnTo>
                    <a:pt x="552" y="259"/>
                  </a:lnTo>
                  <a:lnTo>
                    <a:pt x="556" y="261"/>
                  </a:lnTo>
                  <a:lnTo>
                    <a:pt x="558" y="263"/>
                  </a:lnTo>
                  <a:lnTo>
                    <a:pt x="560" y="266"/>
                  </a:lnTo>
                  <a:lnTo>
                    <a:pt x="560" y="272"/>
                  </a:lnTo>
                  <a:lnTo>
                    <a:pt x="560" y="280"/>
                  </a:lnTo>
                  <a:lnTo>
                    <a:pt x="571" y="280"/>
                  </a:lnTo>
                  <a:lnTo>
                    <a:pt x="585" y="280"/>
                  </a:lnTo>
                  <a:lnTo>
                    <a:pt x="587" y="282"/>
                  </a:lnTo>
                  <a:lnTo>
                    <a:pt x="591" y="286"/>
                  </a:lnTo>
                  <a:lnTo>
                    <a:pt x="596" y="287"/>
                  </a:lnTo>
                  <a:lnTo>
                    <a:pt x="604" y="289"/>
                  </a:lnTo>
                  <a:lnTo>
                    <a:pt x="606" y="291"/>
                  </a:lnTo>
                  <a:lnTo>
                    <a:pt x="608" y="295"/>
                  </a:lnTo>
                  <a:lnTo>
                    <a:pt x="608" y="305"/>
                  </a:lnTo>
                  <a:lnTo>
                    <a:pt x="608" y="314"/>
                  </a:lnTo>
                  <a:lnTo>
                    <a:pt x="606" y="316"/>
                  </a:lnTo>
                  <a:lnTo>
                    <a:pt x="604" y="318"/>
                  </a:lnTo>
                  <a:lnTo>
                    <a:pt x="596" y="322"/>
                  </a:lnTo>
                  <a:lnTo>
                    <a:pt x="591" y="324"/>
                  </a:lnTo>
                  <a:lnTo>
                    <a:pt x="587" y="326"/>
                  </a:lnTo>
                  <a:lnTo>
                    <a:pt x="585" y="328"/>
                  </a:lnTo>
                  <a:lnTo>
                    <a:pt x="583" y="343"/>
                  </a:lnTo>
                  <a:lnTo>
                    <a:pt x="581" y="358"/>
                  </a:lnTo>
                  <a:lnTo>
                    <a:pt x="581" y="372"/>
                  </a:lnTo>
                  <a:lnTo>
                    <a:pt x="579" y="387"/>
                  </a:lnTo>
                  <a:lnTo>
                    <a:pt x="566" y="389"/>
                  </a:lnTo>
                  <a:lnTo>
                    <a:pt x="550" y="391"/>
                  </a:lnTo>
                  <a:lnTo>
                    <a:pt x="548" y="393"/>
                  </a:lnTo>
                  <a:lnTo>
                    <a:pt x="546" y="397"/>
                  </a:lnTo>
                  <a:lnTo>
                    <a:pt x="541" y="397"/>
                  </a:lnTo>
                  <a:lnTo>
                    <a:pt x="537" y="397"/>
                  </a:lnTo>
                  <a:lnTo>
                    <a:pt x="533" y="393"/>
                  </a:lnTo>
                  <a:lnTo>
                    <a:pt x="531" y="391"/>
                  </a:lnTo>
                  <a:lnTo>
                    <a:pt x="514" y="393"/>
                  </a:lnTo>
                  <a:lnTo>
                    <a:pt x="497" y="397"/>
                  </a:lnTo>
                  <a:lnTo>
                    <a:pt x="495" y="393"/>
                  </a:lnTo>
                  <a:lnTo>
                    <a:pt x="493" y="391"/>
                  </a:lnTo>
                  <a:lnTo>
                    <a:pt x="487" y="391"/>
                  </a:lnTo>
                  <a:lnTo>
                    <a:pt x="483" y="391"/>
                  </a:lnTo>
                  <a:lnTo>
                    <a:pt x="481" y="393"/>
                  </a:lnTo>
                  <a:lnTo>
                    <a:pt x="479" y="397"/>
                  </a:lnTo>
                  <a:lnTo>
                    <a:pt x="466" y="399"/>
                  </a:lnTo>
                  <a:lnTo>
                    <a:pt x="454" y="401"/>
                  </a:lnTo>
                  <a:lnTo>
                    <a:pt x="452" y="403"/>
                  </a:lnTo>
                  <a:lnTo>
                    <a:pt x="449" y="406"/>
                  </a:lnTo>
                  <a:lnTo>
                    <a:pt x="447" y="408"/>
                  </a:lnTo>
                  <a:lnTo>
                    <a:pt x="445" y="410"/>
                  </a:lnTo>
                  <a:lnTo>
                    <a:pt x="443" y="414"/>
                  </a:lnTo>
                  <a:lnTo>
                    <a:pt x="439" y="416"/>
                  </a:lnTo>
                  <a:lnTo>
                    <a:pt x="431" y="418"/>
                  </a:lnTo>
                  <a:lnTo>
                    <a:pt x="426" y="420"/>
                  </a:lnTo>
                  <a:lnTo>
                    <a:pt x="422" y="424"/>
                  </a:lnTo>
                  <a:lnTo>
                    <a:pt x="420" y="426"/>
                  </a:lnTo>
                  <a:lnTo>
                    <a:pt x="408" y="428"/>
                  </a:lnTo>
                  <a:lnTo>
                    <a:pt x="397" y="429"/>
                  </a:lnTo>
                  <a:lnTo>
                    <a:pt x="393" y="433"/>
                  </a:lnTo>
                  <a:lnTo>
                    <a:pt x="391" y="435"/>
                  </a:lnTo>
                  <a:lnTo>
                    <a:pt x="374" y="437"/>
                  </a:lnTo>
                  <a:lnTo>
                    <a:pt x="358" y="439"/>
                  </a:lnTo>
                  <a:lnTo>
                    <a:pt x="355" y="443"/>
                  </a:lnTo>
                  <a:lnTo>
                    <a:pt x="353" y="445"/>
                  </a:lnTo>
                  <a:lnTo>
                    <a:pt x="351" y="452"/>
                  </a:lnTo>
                  <a:lnTo>
                    <a:pt x="347" y="460"/>
                  </a:lnTo>
                  <a:lnTo>
                    <a:pt x="345" y="462"/>
                  </a:lnTo>
                  <a:lnTo>
                    <a:pt x="343" y="464"/>
                  </a:lnTo>
                  <a:lnTo>
                    <a:pt x="337" y="445"/>
                  </a:lnTo>
                  <a:lnTo>
                    <a:pt x="333" y="426"/>
                  </a:lnTo>
                  <a:lnTo>
                    <a:pt x="332" y="424"/>
                  </a:lnTo>
                  <a:lnTo>
                    <a:pt x="328" y="420"/>
                  </a:lnTo>
                  <a:lnTo>
                    <a:pt x="332" y="418"/>
                  </a:lnTo>
                  <a:lnTo>
                    <a:pt x="333" y="416"/>
                  </a:lnTo>
                  <a:lnTo>
                    <a:pt x="333" y="410"/>
                  </a:lnTo>
                  <a:lnTo>
                    <a:pt x="333" y="406"/>
                  </a:lnTo>
                  <a:lnTo>
                    <a:pt x="332" y="403"/>
                  </a:lnTo>
                  <a:lnTo>
                    <a:pt x="328" y="401"/>
                  </a:lnTo>
                  <a:lnTo>
                    <a:pt x="312" y="401"/>
                  </a:lnTo>
                  <a:lnTo>
                    <a:pt x="297" y="399"/>
                  </a:lnTo>
                  <a:lnTo>
                    <a:pt x="282" y="397"/>
                  </a:lnTo>
                  <a:lnTo>
                    <a:pt x="264" y="397"/>
                  </a:lnTo>
                  <a:lnTo>
                    <a:pt x="262" y="393"/>
                  </a:lnTo>
                  <a:lnTo>
                    <a:pt x="261" y="391"/>
                  </a:lnTo>
                  <a:lnTo>
                    <a:pt x="253" y="389"/>
                  </a:lnTo>
                  <a:lnTo>
                    <a:pt x="247" y="387"/>
                  </a:lnTo>
                  <a:lnTo>
                    <a:pt x="243" y="383"/>
                  </a:lnTo>
                  <a:lnTo>
                    <a:pt x="241" y="381"/>
                  </a:lnTo>
                  <a:lnTo>
                    <a:pt x="220" y="380"/>
                  </a:lnTo>
                  <a:lnTo>
                    <a:pt x="197" y="378"/>
                  </a:lnTo>
                  <a:lnTo>
                    <a:pt x="195" y="374"/>
                  </a:lnTo>
                  <a:lnTo>
                    <a:pt x="193" y="372"/>
                  </a:lnTo>
                  <a:lnTo>
                    <a:pt x="186" y="355"/>
                  </a:lnTo>
                  <a:lnTo>
                    <a:pt x="178" y="339"/>
                  </a:lnTo>
                  <a:lnTo>
                    <a:pt x="176" y="335"/>
                  </a:lnTo>
                  <a:lnTo>
                    <a:pt x="174" y="334"/>
                  </a:lnTo>
                  <a:lnTo>
                    <a:pt x="167" y="332"/>
                  </a:lnTo>
                  <a:lnTo>
                    <a:pt x="159" y="328"/>
                  </a:lnTo>
                  <a:lnTo>
                    <a:pt x="157" y="326"/>
                  </a:lnTo>
                  <a:lnTo>
                    <a:pt x="155" y="324"/>
                  </a:lnTo>
                  <a:lnTo>
                    <a:pt x="147" y="322"/>
                  </a:lnTo>
                  <a:lnTo>
                    <a:pt x="140" y="318"/>
                  </a:lnTo>
                  <a:lnTo>
                    <a:pt x="138" y="316"/>
                  </a:lnTo>
                  <a:lnTo>
                    <a:pt x="134" y="314"/>
                  </a:lnTo>
                  <a:lnTo>
                    <a:pt x="122" y="312"/>
                  </a:lnTo>
                  <a:lnTo>
                    <a:pt x="111" y="309"/>
                  </a:lnTo>
                  <a:lnTo>
                    <a:pt x="107" y="307"/>
                  </a:lnTo>
                  <a:lnTo>
                    <a:pt x="105" y="305"/>
                  </a:lnTo>
                  <a:lnTo>
                    <a:pt x="97" y="303"/>
                  </a:lnTo>
                  <a:lnTo>
                    <a:pt x="92" y="299"/>
                  </a:lnTo>
                  <a:lnTo>
                    <a:pt x="88" y="297"/>
                  </a:lnTo>
                  <a:lnTo>
                    <a:pt x="86" y="295"/>
                  </a:lnTo>
                  <a:lnTo>
                    <a:pt x="71" y="291"/>
                  </a:lnTo>
                  <a:lnTo>
                    <a:pt x="55" y="287"/>
                  </a:lnTo>
                  <a:lnTo>
                    <a:pt x="40" y="284"/>
                  </a:lnTo>
                  <a:lnTo>
                    <a:pt x="23" y="280"/>
                  </a:lnTo>
                  <a:lnTo>
                    <a:pt x="21" y="278"/>
                  </a:lnTo>
                  <a:lnTo>
                    <a:pt x="19" y="276"/>
                  </a:lnTo>
                  <a:lnTo>
                    <a:pt x="17" y="249"/>
                  </a:lnTo>
                  <a:lnTo>
                    <a:pt x="15" y="222"/>
                  </a:lnTo>
                  <a:lnTo>
                    <a:pt x="11" y="220"/>
                  </a:lnTo>
                  <a:lnTo>
                    <a:pt x="9" y="218"/>
                  </a:lnTo>
                  <a:lnTo>
                    <a:pt x="7" y="211"/>
                  </a:lnTo>
                  <a:lnTo>
                    <a:pt x="5" y="203"/>
                  </a:lnTo>
                  <a:lnTo>
                    <a:pt x="2" y="201"/>
                  </a:lnTo>
                  <a:lnTo>
                    <a:pt x="0" y="197"/>
                  </a:lnTo>
                  <a:lnTo>
                    <a:pt x="0" y="193"/>
                  </a:lnTo>
                  <a:lnTo>
                    <a:pt x="0" y="188"/>
                  </a:lnTo>
                  <a:lnTo>
                    <a:pt x="2" y="186"/>
                  </a:lnTo>
                  <a:lnTo>
                    <a:pt x="5" y="184"/>
                  </a:lnTo>
                  <a:lnTo>
                    <a:pt x="7" y="172"/>
                  </a:lnTo>
                  <a:lnTo>
                    <a:pt x="9" y="159"/>
                  </a:lnTo>
                  <a:lnTo>
                    <a:pt x="11" y="157"/>
                  </a:lnTo>
                  <a:lnTo>
                    <a:pt x="15" y="155"/>
                  </a:lnTo>
                  <a:lnTo>
                    <a:pt x="17" y="151"/>
                  </a:lnTo>
                  <a:lnTo>
                    <a:pt x="19" y="149"/>
                  </a:lnTo>
                  <a:lnTo>
                    <a:pt x="21" y="147"/>
                  </a:lnTo>
                  <a:lnTo>
                    <a:pt x="23" y="145"/>
                  </a:lnTo>
                  <a:lnTo>
                    <a:pt x="26" y="132"/>
                  </a:lnTo>
                  <a:lnTo>
                    <a:pt x="28" y="121"/>
                  </a:lnTo>
                  <a:lnTo>
                    <a:pt x="30" y="119"/>
                  </a:lnTo>
                  <a:lnTo>
                    <a:pt x="34" y="117"/>
                  </a:lnTo>
                  <a:lnTo>
                    <a:pt x="40" y="113"/>
                  </a:lnTo>
                  <a:lnTo>
                    <a:pt x="48" y="111"/>
                  </a:lnTo>
                  <a:lnTo>
                    <a:pt x="50" y="109"/>
                  </a:lnTo>
                  <a:lnTo>
                    <a:pt x="53" y="107"/>
                  </a:lnTo>
                  <a:lnTo>
                    <a:pt x="59" y="103"/>
                  </a:lnTo>
                  <a:lnTo>
                    <a:pt x="67" y="101"/>
                  </a:lnTo>
                  <a:lnTo>
                    <a:pt x="69" y="99"/>
                  </a:lnTo>
                  <a:lnTo>
                    <a:pt x="73" y="96"/>
                  </a:lnTo>
                  <a:lnTo>
                    <a:pt x="74" y="94"/>
                  </a:lnTo>
                  <a:lnTo>
                    <a:pt x="76" y="92"/>
                  </a:lnTo>
                  <a:lnTo>
                    <a:pt x="78" y="90"/>
                  </a:lnTo>
                  <a:lnTo>
                    <a:pt x="82" y="86"/>
                  </a:lnTo>
                  <a:lnTo>
                    <a:pt x="84" y="74"/>
                  </a:lnTo>
                  <a:lnTo>
                    <a:pt x="86" y="63"/>
                  </a:lnTo>
                  <a:lnTo>
                    <a:pt x="88" y="59"/>
                  </a:lnTo>
                  <a:lnTo>
                    <a:pt x="92" y="57"/>
                  </a:lnTo>
                  <a:lnTo>
                    <a:pt x="94" y="51"/>
                  </a:lnTo>
                  <a:lnTo>
                    <a:pt x="96" y="44"/>
                  </a:lnTo>
                  <a:lnTo>
                    <a:pt x="99" y="42"/>
                  </a:lnTo>
                  <a:lnTo>
                    <a:pt x="101" y="38"/>
                  </a:lnTo>
                  <a:lnTo>
                    <a:pt x="103" y="27"/>
                  </a:lnTo>
                  <a:lnTo>
                    <a:pt x="105" y="15"/>
                  </a:lnTo>
                  <a:lnTo>
                    <a:pt x="107" y="11"/>
                  </a:lnTo>
                  <a:lnTo>
                    <a:pt x="111" y="9"/>
                  </a:lnTo>
                  <a:lnTo>
                    <a:pt x="119" y="7"/>
                  </a:lnTo>
                  <a:lnTo>
                    <a:pt x="126" y="3"/>
                  </a:lnTo>
                  <a:lnTo>
                    <a:pt x="128" y="2"/>
                  </a:lnTo>
                  <a:lnTo>
                    <a:pt x="130" y="0"/>
                  </a:lnTo>
                  <a:lnTo>
                    <a:pt x="140" y="0"/>
                  </a:lnTo>
                  <a:lnTo>
                    <a:pt x="149" y="0"/>
                  </a:lnTo>
                  <a:lnTo>
                    <a:pt x="151" y="2"/>
                  </a:lnTo>
                  <a:lnTo>
                    <a:pt x="155" y="3"/>
                  </a:lnTo>
                  <a:lnTo>
                    <a:pt x="168" y="5"/>
                  </a:lnTo>
                  <a:lnTo>
                    <a:pt x="184" y="7"/>
                  </a:lnTo>
                  <a:lnTo>
                    <a:pt x="197" y="7"/>
                  </a:lnTo>
                  <a:lnTo>
                    <a:pt x="213" y="9"/>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30" name="Freeform 301"/>
            <p:cNvSpPr>
              <a:spLocks/>
            </p:cNvSpPr>
            <p:nvPr>
              <p:custDataLst>
                <p:tags r:id="rId20"/>
              </p:custDataLst>
            </p:nvPr>
          </p:nvSpPr>
          <p:spPr bwMode="gray">
            <a:xfrm>
              <a:off x="2733675" y="4030478"/>
              <a:ext cx="642938" cy="738188"/>
            </a:xfrm>
            <a:custGeom>
              <a:avLst/>
              <a:gdLst>
                <a:gd name="T0" fmla="*/ 2147483647 w 414"/>
                <a:gd name="T1" fmla="*/ 2147483647 h 493"/>
                <a:gd name="T2" fmla="*/ 2147483647 w 414"/>
                <a:gd name="T3" fmla="*/ 2147483647 h 493"/>
                <a:gd name="T4" fmla="*/ 2147483647 w 414"/>
                <a:gd name="T5" fmla="*/ 2147483647 h 493"/>
                <a:gd name="T6" fmla="*/ 2147483647 w 414"/>
                <a:gd name="T7" fmla="*/ 2147483647 h 493"/>
                <a:gd name="T8" fmla="*/ 2147483647 w 414"/>
                <a:gd name="T9" fmla="*/ 2147483647 h 493"/>
                <a:gd name="T10" fmla="*/ 2147483647 w 414"/>
                <a:gd name="T11" fmla="*/ 2147483647 h 493"/>
                <a:gd name="T12" fmla="*/ 2147483647 w 414"/>
                <a:gd name="T13" fmla="*/ 2147483647 h 493"/>
                <a:gd name="T14" fmla="*/ 2147483647 w 414"/>
                <a:gd name="T15" fmla="*/ 2147483647 h 493"/>
                <a:gd name="T16" fmla="*/ 2147483647 w 414"/>
                <a:gd name="T17" fmla="*/ 2147483647 h 493"/>
                <a:gd name="T18" fmla="*/ 2147483647 w 414"/>
                <a:gd name="T19" fmla="*/ 2147483647 h 493"/>
                <a:gd name="T20" fmla="*/ 2147483647 w 414"/>
                <a:gd name="T21" fmla="*/ 2147483647 h 493"/>
                <a:gd name="T22" fmla="*/ 2147483647 w 414"/>
                <a:gd name="T23" fmla="*/ 2147483647 h 493"/>
                <a:gd name="T24" fmla="*/ 2147483647 w 414"/>
                <a:gd name="T25" fmla="*/ 2147483647 h 493"/>
                <a:gd name="T26" fmla="*/ 2147483647 w 414"/>
                <a:gd name="T27" fmla="*/ 2147483647 h 493"/>
                <a:gd name="T28" fmla="*/ 2147483647 w 414"/>
                <a:gd name="T29" fmla="*/ 2147483647 h 493"/>
                <a:gd name="T30" fmla="*/ 2147483647 w 414"/>
                <a:gd name="T31" fmla="*/ 2147483647 h 493"/>
                <a:gd name="T32" fmla="*/ 2147483647 w 414"/>
                <a:gd name="T33" fmla="*/ 2147483647 h 493"/>
                <a:gd name="T34" fmla="*/ 2147483647 w 414"/>
                <a:gd name="T35" fmla="*/ 2147483647 h 493"/>
                <a:gd name="T36" fmla="*/ 2147483647 w 414"/>
                <a:gd name="T37" fmla="*/ 2147483647 h 493"/>
                <a:gd name="T38" fmla="*/ 2147483647 w 414"/>
                <a:gd name="T39" fmla="*/ 2147483647 h 493"/>
                <a:gd name="T40" fmla="*/ 2147483647 w 414"/>
                <a:gd name="T41" fmla="*/ 2147483647 h 493"/>
                <a:gd name="T42" fmla="*/ 2147483647 w 414"/>
                <a:gd name="T43" fmla="*/ 2147483647 h 493"/>
                <a:gd name="T44" fmla="*/ 2147483647 w 414"/>
                <a:gd name="T45" fmla="*/ 2147483647 h 493"/>
                <a:gd name="T46" fmla="*/ 2147483647 w 414"/>
                <a:gd name="T47" fmla="*/ 2147483647 h 493"/>
                <a:gd name="T48" fmla="*/ 2147483647 w 414"/>
                <a:gd name="T49" fmla="*/ 2147483647 h 493"/>
                <a:gd name="T50" fmla="*/ 2147483647 w 414"/>
                <a:gd name="T51" fmla="*/ 2147483647 h 493"/>
                <a:gd name="T52" fmla="*/ 2147483647 w 414"/>
                <a:gd name="T53" fmla="*/ 2147483647 h 493"/>
                <a:gd name="T54" fmla="*/ 2147483647 w 414"/>
                <a:gd name="T55" fmla="*/ 2147483647 h 493"/>
                <a:gd name="T56" fmla="*/ 2147483647 w 414"/>
                <a:gd name="T57" fmla="*/ 2147483647 h 493"/>
                <a:gd name="T58" fmla="*/ 2147483647 w 414"/>
                <a:gd name="T59" fmla="*/ 2147483647 h 493"/>
                <a:gd name="T60" fmla="*/ 2147483647 w 414"/>
                <a:gd name="T61" fmla="*/ 2147483647 h 493"/>
                <a:gd name="T62" fmla="*/ 2147483647 w 414"/>
                <a:gd name="T63" fmla="*/ 2147483647 h 493"/>
                <a:gd name="T64" fmla="*/ 2147483647 w 414"/>
                <a:gd name="T65" fmla="*/ 2147483647 h 493"/>
                <a:gd name="T66" fmla="*/ 2147483647 w 414"/>
                <a:gd name="T67" fmla="*/ 2147483647 h 493"/>
                <a:gd name="T68" fmla="*/ 2147483647 w 414"/>
                <a:gd name="T69" fmla="*/ 2147483647 h 493"/>
                <a:gd name="T70" fmla="*/ 2147483647 w 414"/>
                <a:gd name="T71" fmla="*/ 2147483647 h 493"/>
                <a:gd name="T72" fmla="*/ 2147483647 w 414"/>
                <a:gd name="T73" fmla="*/ 2147483647 h 493"/>
                <a:gd name="T74" fmla="*/ 2147483647 w 414"/>
                <a:gd name="T75" fmla="*/ 2147483647 h 493"/>
                <a:gd name="T76" fmla="*/ 2147483647 w 414"/>
                <a:gd name="T77" fmla="*/ 2147483647 h 493"/>
                <a:gd name="T78" fmla="*/ 2147483647 w 414"/>
                <a:gd name="T79" fmla="*/ 0 h 493"/>
                <a:gd name="T80" fmla="*/ 2147483647 w 414"/>
                <a:gd name="T81" fmla="*/ 2147483647 h 493"/>
                <a:gd name="T82" fmla="*/ 2147483647 w 414"/>
                <a:gd name="T83" fmla="*/ 2147483647 h 493"/>
                <a:gd name="T84" fmla="*/ 2147483647 w 414"/>
                <a:gd name="T85" fmla="*/ 2147483647 h 493"/>
                <a:gd name="T86" fmla="*/ 2147483647 w 414"/>
                <a:gd name="T87" fmla="*/ 2147483647 h 493"/>
                <a:gd name="T88" fmla="*/ 2147483647 w 414"/>
                <a:gd name="T89" fmla="*/ 2147483647 h 493"/>
                <a:gd name="T90" fmla="*/ 2147483647 w 414"/>
                <a:gd name="T91" fmla="*/ 2147483647 h 493"/>
                <a:gd name="T92" fmla="*/ 2147483647 w 414"/>
                <a:gd name="T93" fmla="*/ 2147483647 h 493"/>
                <a:gd name="T94" fmla="*/ 2147483647 w 414"/>
                <a:gd name="T95" fmla="*/ 2147483647 h 493"/>
                <a:gd name="T96" fmla="*/ 2147483647 w 414"/>
                <a:gd name="T97" fmla="*/ 2147483647 h 493"/>
                <a:gd name="T98" fmla="*/ 2147483647 w 414"/>
                <a:gd name="T99" fmla="*/ 2147483647 h 493"/>
                <a:gd name="T100" fmla="*/ 2147483647 w 414"/>
                <a:gd name="T101" fmla="*/ 2147483647 h 493"/>
                <a:gd name="T102" fmla="*/ 2147483647 w 414"/>
                <a:gd name="T103" fmla="*/ 2147483647 h 493"/>
                <a:gd name="T104" fmla="*/ 2147483647 w 414"/>
                <a:gd name="T105" fmla="*/ 2147483647 h 493"/>
                <a:gd name="T106" fmla="*/ 2147483647 w 414"/>
                <a:gd name="T107" fmla="*/ 2147483647 h 493"/>
                <a:gd name="T108" fmla="*/ 2147483647 w 414"/>
                <a:gd name="T109" fmla="*/ 2147483647 h 493"/>
                <a:gd name="T110" fmla="*/ 2147483647 w 414"/>
                <a:gd name="T111" fmla="*/ 2147483647 h 493"/>
                <a:gd name="T112" fmla="*/ 2147483647 w 414"/>
                <a:gd name="T113" fmla="*/ 2147483647 h 493"/>
                <a:gd name="T114" fmla="*/ 2147483647 w 414"/>
                <a:gd name="T115" fmla="*/ 2147483647 h 493"/>
                <a:gd name="T116" fmla="*/ 2147483647 w 414"/>
                <a:gd name="T117" fmla="*/ 2147483647 h 493"/>
                <a:gd name="T118" fmla="*/ 2147483647 w 414"/>
                <a:gd name="T119" fmla="*/ 2147483647 h 493"/>
                <a:gd name="T120" fmla="*/ 2147483647 w 414"/>
                <a:gd name="T121" fmla="*/ 2147483647 h 493"/>
                <a:gd name="T122" fmla="*/ 2147483647 w 414"/>
                <a:gd name="T123" fmla="*/ 2147483647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14"/>
                <a:gd name="T187" fmla="*/ 0 h 493"/>
                <a:gd name="T188" fmla="*/ 414 w 414"/>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14" h="493">
                  <a:moveTo>
                    <a:pt x="274" y="493"/>
                  </a:moveTo>
                  <a:lnTo>
                    <a:pt x="272" y="491"/>
                  </a:lnTo>
                  <a:lnTo>
                    <a:pt x="270" y="487"/>
                  </a:lnTo>
                  <a:lnTo>
                    <a:pt x="266" y="485"/>
                  </a:lnTo>
                  <a:lnTo>
                    <a:pt x="264" y="483"/>
                  </a:lnTo>
                  <a:lnTo>
                    <a:pt x="262" y="479"/>
                  </a:lnTo>
                  <a:lnTo>
                    <a:pt x="261" y="478"/>
                  </a:lnTo>
                  <a:lnTo>
                    <a:pt x="247" y="476"/>
                  </a:lnTo>
                  <a:lnTo>
                    <a:pt x="236" y="474"/>
                  </a:lnTo>
                  <a:lnTo>
                    <a:pt x="234" y="470"/>
                  </a:lnTo>
                  <a:lnTo>
                    <a:pt x="232" y="468"/>
                  </a:lnTo>
                  <a:lnTo>
                    <a:pt x="226" y="468"/>
                  </a:lnTo>
                  <a:lnTo>
                    <a:pt x="222" y="468"/>
                  </a:lnTo>
                  <a:lnTo>
                    <a:pt x="218" y="470"/>
                  </a:lnTo>
                  <a:lnTo>
                    <a:pt x="216" y="474"/>
                  </a:lnTo>
                  <a:lnTo>
                    <a:pt x="201" y="474"/>
                  </a:lnTo>
                  <a:lnTo>
                    <a:pt x="188" y="474"/>
                  </a:lnTo>
                  <a:lnTo>
                    <a:pt x="184" y="470"/>
                  </a:lnTo>
                  <a:lnTo>
                    <a:pt x="182" y="468"/>
                  </a:lnTo>
                  <a:lnTo>
                    <a:pt x="180" y="466"/>
                  </a:lnTo>
                  <a:lnTo>
                    <a:pt x="178" y="464"/>
                  </a:lnTo>
                  <a:lnTo>
                    <a:pt x="174" y="460"/>
                  </a:lnTo>
                  <a:lnTo>
                    <a:pt x="172" y="458"/>
                  </a:lnTo>
                  <a:lnTo>
                    <a:pt x="145" y="456"/>
                  </a:lnTo>
                  <a:lnTo>
                    <a:pt x="121" y="454"/>
                  </a:lnTo>
                  <a:lnTo>
                    <a:pt x="117" y="451"/>
                  </a:lnTo>
                  <a:lnTo>
                    <a:pt x="115" y="449"/>
                  </a:lnTo>
                  <a:lnTo>
                    <a:pt x="113" y="447"/>
                  </a:lnTo>
                  <a:lnTo>
                    <a:pt x="111" y="445"/>
                  </a:lnTo>
                  <a:lnTo>
                    <a:pt x="107" y="441"/>
                  </a:lnTo>
                  <a:lnTo>
                    <a:pt x="105" y="439"/>
                  </a:lnTo>
                  <a:lnTo>
                    <a:pt x="103" y="437"/>
                  </a:lnTo>
                  <a:lnTo>
                    <a:pt x="99" y="435"/>
                  </a:lnTo>
                  <a:lnTo>
                    <a:pt x="97" y="431"/>
                  </a:lnTo>
                  <a:lnTo>
                    <a:pt x="96" y="430"/>
                  </a:lnTo>
                  <a:lnTo>
                    <a:pt x="74" y="428"/>
                  </a:lnTo>
                  <a:lnTo>
                    <a:pt x="51" y="426"/>
                  </a:lnTo>
                  <a:lnTo>
                    <a:pt x="50" y="422"/>
                  </a:lnTo>
                  <a:lnTo>
                    <a:pt x="48" y="420"/>
                  </a:lnTo>
                  <a:lnTo>
                    <a:pt x="40" y="418"/>
                  </a:lnTo>
                  <a:lnTo>
                    <a:pt x="32" y="416"/>
                  </a:lnTo>
                  <a:lnTo>
                    <a:pt x="30" y="412"/>
                  </a:lnTo>
                  <a:lnTo>
                    <a:pt x="28" y="410"/>
                  </a:lnTo>
                  <a:lnTo>
                    <a:pt x="25" y="408"/>
                  </a:lnTo>
                  <a:lnTo>
                    <a:pt x="23" y="405"/>
                  </a:lnTo>
                  <a:lnTo>
                    <a:pt x="21" y="403"/>
                  </a:lnTo>
                  <a:lnTo>
                    <a:pt x="19" y="401"/>
                  </a:lnTo>
                  <a:lnTo>
                    <a:pt x="15" y="399"/>
                  </a:lnTo>
                  <a:lnTo>
                    <a:pt x="13" y="395"/>
                  </a:lnTo>
                  <a:lnTo>
                    <a:pt x="11" y="393"/>
                  </a:lnTo>
                  <a:lnTo>
                    <a:pt x="7" y="391"/>
                  </a:lnTo>
                  <a:lnTo>
                    <a:pt x="5" y="389"/>
                  </a:lnTo>
                  <a:lnTo>
                    <a:pt x="3" y="385"/>
                  </a:lnTo>
                  <a:lnTo>
                    <a:pt x="2" y="383"/>
                  </a:lnTo>
                  <a:lnTo>
                    <a:pt x="0" y="382"/>
                  </a:lnTo>
                  <a:lnTo>
                    <a:pt x="2" y="380"/>
                  </a:lnTo>
                  <a:lnTo>
                    <a:pt x="3" y="376"/>
                  </a:lnTo>
                  <a:lnTo>
                    <a:pt x="5" y="368"/>
                  </a:lnTo>
                  <a:lnTo>
                    <a:pt x="7" y="362"/>
                  </a:lnTo>
                  <a:lnTo>
                    <a:pt x="11" y="359"/>
                  </a:lnTo>
                  <a:lnTo>
                    <a:pt x="13" y="357"/>
                  </a:lnTo>
                  <a:lnTo>
                    <a:pt x="15" y="355"/>
                  </a:lnTo>
                  <a:lnTo>
                    <a:pt x="19" y="353"/>
                  </a:lnTo>
                  <a:lnTo>
                    <a:pt x="21" y="351"/>
                  </a:lnTo>
                  <a:lnTo>
                    <a:pt x="23" y="347"/>
                  </a:lnTo>
                  <a:lnTo>
                    <a:pt x="25" y="345"/>
                  </a:lnTo>
                  <a:lnTo>
                    <a:pt x="28" y="343"/>
                  </a:lnTo>
                  <a:lnTo>
                    <a:pt x="30" y="339"/>
                  </a:lnTo>
                  <a:lnTo>
                    <a:pt x="32" y="337"/>
                  </a:lnTo>
                  <a:lnTo>
                    <a:pt x="40" y="336"/>
                  </a:lnTo>
                  <a:lnTo>
                    <a:pt x="48" y="334"/>
                  </a:lnTo>
                  <a:lnTo>
                    <a:pt x="50" y="330"/>
                  </a:lnTo>
                  <a:lnTo>
                    <a:pt x="51" y="328"/>
                  </a:lnTo>
                  <a:lnTo>
                    <a:pt x="59" y="320"/>
                  </a:lnTo>
                  <a:lnTo>
                    <a:pt x="67" y="312"/>
                  </a:lnTo>
                  <a:lnTo>
                    <a:pt x="69" y="311"/>
                  </a:lnTo>
                  <a:lnTo>
                    <a:pt x="71" y="309"/>
                  </a:lnTo>
                  <a:lnTo>
                    <a:pt x="74" y="307"/>
                  </a:lnTo>
                  <a:lnTo>
                    <a:pt x="76" y="305"/>
                  </a:lnTo>
                  <a:lnTo>
                    <a:pt x="78" y="301"/>
                  </a:lnTo>
                  <a:lnTo>
                    <a:pt x="80" y="299"/>
                  </a:lnTo>
                  <a:lnTo>
                    <a:pt x="84" y="301"/>
                  </a:lnTo>
                  <a:lnTo>
                    <a:pt x="86" y="305"/>
                  </a:lnTo>
                  <a:lnTo>
                    <a:pt x="96" y="305"/>
                  </a:lnTo>
                  <a:lnTo>
                    <a:pt x="105" y="305"/>
                  </a:lnTo>
                  <a:lnTo>
                    <a:pt x="107" y="301"/>
                  </a:lnTo>
                  <a:lnTo>
                    <a:pt x="111" y="299"/>
                  </a:lnTo>
                  <a:lnTo>
                    <a:pt x="113" y="291"/>
                  </a:lnTo>
                  <a:lnTo>
                    <a:pt x="115" y="284"/>
                  </a:lnTo>
                  <a:lnTo>
                    <a:pt x="117" y="282"/>
                  </a:lnTo>
                  <a:lnTo>
                    <a:pt x="121" y="280"/>
                  </a:lnTo>
                  <a:lnTo>
                    <a:pt x="132" y="278"/>
                  </a:lnTo>
                  <a:lnTo>
                    <a:pt x="144" y="274"/>
                  </a:lnTo>
                  <a:lnTo>
                    <a:pt x="145" y="272"/>
                  </a:lnTo>
                  <a:lnTo>
                    <a:pt x="149" y="270"/>
                  </a:lnTo>
                  <a:lnTo>
                    <a:pt x="151" y="268"/>
                  </a:lnTo>
                  <a:lnTo>
                    <a:pt x="153" y="265"/>
                  </a:lnTo>
                  <a:lnTo>
                    <a:pt x="155" y="263"/>
                  </a:lnTo>
                  <a:lnTo>
                    <a:pt x="159" y="261"/>
                  </a:lnTo>
                  <a:lnTo>
                    <a:pt x="159" y="245"/>
                  </a:lnTo>
                  <a:lnTo>
                    <a:pt x="159" y="232"/>
                  </a:lnTo>
                  <a:lnTo>
                    <a:pt x="155" y="228"/>
                  </a:lnTo>
                  <a:lnTo>
                    <a:pt x="153" y="226"/>
                  </a:lnTo>
                  <a:lnTo>
                    <a:pt x="155" y="224"/>
                  </a:lnTo>
                  <a:lnTo>
                    <a:pt x="159" y="222"/>
                  </a:lnTo>
                  <a:lnTo>
                    <a:pt x="161" y="215"/>
                  </a:lnTo>
                  <a:lnTo>
                    <a:pt x="163" y="207"/>
                  </a:lnTo>
                  <a:lnTo>
                    <a:pt x="167" y="205"/>
                  </a:lnTo>
                  <a:lnTo>
                    <a:pt x="168" y="203"/>
                  </a:lnTo>
                  <a:lnTo>
                    <a:pt x="168" y="194"/>
                  </a:lnTo>
                  <a:lnTo>
                    <a:pt x="168" y="184"/>
                  </a:lnTo>
                  <a:lnTo>
                    <a:pt x="167" y="180"/>
                  </a:lnTo>
                  <a:lnTo>
                    <a:pt x="163" y="178"/>
                  </a:lnTo>
                  <a:lnTo>
                    <a:pt x="163" y="169"/>
                  </a:lnTo>
                  <a:lnTo>
                    <a:pt x="163" y="159"/>
                  </a:lnTo>
                  <a:lnTo>
                    <a:pt x="167" y="157"/>
                  </a:lnTo>
                  <a:lnTo>
                    <a:pt x="168" y="153"/>
                  </a:lnTo>
                  <a:lnTo>
                    <a:pt x="176" y="151"/>
                  </a:lnTo>
                  <a:lnTo>
                    <a:pt x="182" y="149"/>
                  </a:lnTo>
                  <a:lnTo>
                    <a:pt x="184" y="147"/>
                  </a:lnTo>
                  <a:lnTo>
                    <a:pt x="188" y="146"/>
                  </a:lnTo>
                  <a:lnTo>
                    <a:pt x="190" y="142"/>
                  </a:lnTo>
                  <a:lnTo>
                    <a:pt x="191" y="140"/>
                  </a:lnTo>
                  <a:lnTo>
                    <a:pt x="195" y="136"/>
                  </a:lnTo>
                  <a:lnTo>
                    <a:pt x="197" y="134"/>
                  </a:lnTo>
                  <a:lnTo>
                    <a:pt x="199" y="132"/>
                  </a:lnTo>
                  <a:lnTo>
                    <a:pt x="201" y="130"/>
                  </a:lnTo>
                  <a:lnTo>
                    <a:pt x="205" y="126"/>
                  </a:lnTo>
                  <a:lnTo>
                    <a:pt x="207" y="124"/>
                  </a:lnTo>
                  <a:lnTo>
                    <a:pt x="209" y="123"/>
                  </a:lnTo>
                  <a:lnTo>
                    <a:pt x="211" y="121"/>
                  </a:lnTo>
                  <a:lnTo>
                    <a:pt x="213" y="119"/>
                  </a:lnTo>
                  <a:lnTo>
                    <a:pt x="216" y="115"/>
                  </a:lnTo>
                  <a:lnTo>
                    <a:pt x="218" y="113"/>
                  </a:lnTo>
                  <a:lnTo>
                    <a:pt x="222" y="111"/>
                  </a:lnTo>
                  <a:lnTo>
                    <a:pt x="224" y="107"/>
                  </a:lnTo>
                  <a:lnTo>
                    <a:pt x="226" y="105"/>
                  </a:lnTo>
                  <a:lnTo>
                    <a:pt x="228" y="103"/>
                  </a:lnTo>
                  <a:lnTo>
                    <a:pt x="232" y="101"/>
                  </a:lnTo>
                  <a:lnTo>
                    <a:pt x="234" y="98"/>
                  </a:lnTo>
                  <a:lnTo>
                    <a:pt x="236" y="96"/>
                  </a:lnTo>
                  <a:lnTo>
                    <a:pt x="238" y="88"/>
                  </a:lnTo>
                  <a:lnTo>
                    <a:pt x="239" y="80"/>
                  </a:lnTo>
                  <a:lnTo>
                    <a:pt x="243" y="78"/>
                  </a:lnTo>
                  <a:lnTo>
                    <a:pt x="245" y="76"/>
                  </a:lnTo>
                  <a:lnTo>
                    <a:pt x="247" y="69"/>
                  </a:lnTo>
                  <a:lnTo>
                    <a:pt x="251" y="63"/>
                  </a:lnTo>
                  <a:lnTo>
                    <a:pt x="253" y="59"/>
                  </a:lnTo>
                  <a:lnTo>
                    <a:pt x="255" y="57"/>
                  </a:lnTo>
                  <a:lnTo>
                    <a:pt x="257" y="50"/>
                  </a:lnTo>
                  <a:lnTo>
                    <a:pt x="261" y="42"/>
                  </a:lnTo>
                  <a:lnTo>
                    <a:pt x="262" y="40"/>
                  </a:lnTo>
                  <a:lnTo>
                    <a:pt x="264" y="38"/>
                  </a:lnTo>
                  <a:lnTo>
                    <a:pt x="270" y="25"/>
                  </a:lnTo>
                  <a:lnTo>
                    <a:pt x="272" y="15"/>
                  </a:lnTo>
                  <a:lnTo>
                    <a:pt x="272" y="9"/>
                  </a:lnTo>
                  <a:lnTo>
                    <a:pt x="270" y="4"/>
                  </a:lnTo>
                  <a:lnTo>
                    <a:pt x="272" y="2"/>
                  </a:lnTo>
                  <a:lnTo>
                    <a:pt x="274" y="0"/>
                  </a:lnTo>
                  <a:lnTo>
                    <a:pt x="284" y="0"/>
                  </a:lnTo>
                  <a:lnTo>
                    <a:pt x="293" y="0"/>
                  </a:lnTo>
                  <a:lnTo>
                    <a:pt x="295" y="2"/>
                  </a:lnTo>
                  <a:lnTo>
                    <a:pt x="299" y="4"/>
                  </a:lnTo>
                  <a:lnTo>
                    <a:pt x="301" y="11"/>
                  </a:lnTo>
                  <a:lnTo>
                    <a:pt x="303" y="19"/>
                  </a:lnTo>
                  <a:lnTo>
                    <a:pt x="307" y="21"/>
                  </a:lnTo>
                  <a:lnTo>
                    <a:pt x="309" y="23"/>
                  </a:lnTo>
                  <a:lnTo>
                    <a:pt x="310" y="27"/>
                  </a:lnTo>
                  <a:lnTo>
                    <a:pt x="312" y="29"/>
                  </a:lnTo>
                  <a:lnTo>
                    <a:pt x="316" y="30"/>
                  </a:lnTo>
                  <a:lnTo>
                    <a:pt x="318" y="32"/>
                  </a:lnTo>
                  <a:lnTo>
                    <a:pt x="320" y="36"/>
                  </a:lnTo>
                  <a:lnTo>
                    <a:pt x="322" y="38"/>
                  </a:lnTo>
                  <a:lnTo>
                    <a:pt x="326" y="40"/>
                  </a:lnTo>
                  <a:lnTo>
                    <a:pt x="328" y="42"/>
                  </a:lnTo>
                  <a:lnTo>
                    <a:pt x="330" y="46"/>
                  </a:lnTo>
                  <a:lnTo>
                    <a:pt x="332" y="48"/>
                  </a:lnTo>
                  <a:lnTo>
                    <a:pt x="335" y="50"/>
                  </a:lnTo>
                  <a:lnTo>
                    <a:pt x="337" y="52"/>
                  </a:lnTo>
                  <a:lnTo>
                    <a:pt x="339" y="55"/>
                  </a:lnTo>
                  <a:lnTo>
                    <a:pt x="343" y="57"/>
                  </a:lnTo>
                  <a:lnTo>
                    <a:pt x="345" y="59"/>
                  </a:lnTo>
                  <a:lnTo>
                    <a:pt x="347" y="63"/>
                  </a:lnTo>
                  <a:lnTo>
                    <a:pt x="349" y="65"/>
                  </a:lnTo>
                  <a:lnTo>
                    <a:pt x="353" y="67"/>
                  </a:lnTo>
                  <a:lnTo>
                    <a:pt x="355" y="69"/>
                  </a:lnTo>
                  <a:lnTo>
                    <a:pt x="357" y="73"/>
                  </a:lnTo>
                  <a:lnTo>
                    <a:pt x="358" y="84"/>
                  </a:lnTo>
                  <a:lnTo>
                    <a:pt x="360" y="96"/>
                  </a:lnTo>
                  <a:lnTo>
                    <a:pt x="364" y="98"/>
                  </a:lnTo>
                  <a:lnTo>
                    <a:pt x="366" y="101"/>
                  </a:lnTo>
                  <a:lnTo>
                    <a:pt x="366" y="111"/>
                  </a:lnTo>
                  <a:lnTo>
                    <a:pt x="366" y="121"/>
                  </a:lnTo>
                  <a:lnTo>
                    <a:pt x="364" y="123"/>
                  </a:lnTo>
                  <a:lnTo>
                    <a:pt x="360" y="124"/>
                  </a:lnTo>
                  <a:lnTo>
                    <a:pt x="360" y="149"/>
                  </a:lnTo>
                  <a:lnTo>
                    <a:pt x="360" y="174"/>
                  </a:lnTo>
                  <a:lnTo>
                    <a:pt x="364" y="176"/>
                  </a:lnTo>
                  <a:lnTo>
                    <a:pt x="366" y="178"/>
                  </a:lnTo>
                  <a:lnTo>
                    <a:pt x="366" y="203"/>
                  </a:lnTo>
                  <a:lnTo>
                    <a:pt x="366" y="228"/>
                  </a:lnTo>
                  <a:lnTo>
                    <a:pt x="366" y="255"/>
                  </a:lnTo>
                  <a:lnTo>
                    <a:pt x="366" y="280"/>
                  </a:lnTo>
                  <a:lnTo>
                    <a:pt x="374" y="280"/>
                  </a:lnTo>
                  <a:lnTo>
                    <a:pt x="381" y="280"/>
                  </a:lnTo>
                  <a:lnTo>
                    <a:pt x="383" y="282"/>
                  </a:lnTo>
                  <a:lnTo>
                    <a:pt x="385" y="284"/>
                  </a:lnTo>
                  <a:lnTo>
                    <a:pt x="393" y="291"/>
                  </a:lnTo>
                  <a:lnTo>
                    <a:pt x="401" y="299"/>
                  </a:lnTo>
                  <a:lnTo>
                    <a:pt x="403" y="301"/>
                  </a:lnTo>
                  <a:lnTo>
                    <a:pt x="404" y="305"/>
                  </a:lnTo>
                  <a:lnTo>
                    <a:pt x="406" y="316"/>
                  </a:lnTo>
                  <a:lnTo>
                    <a:pt x="410" y="328"/>
                  </a:lnTo>
                  <a:lnTo>
                    <a:pt x="412" y="330"/>
                  </a:lnTo>
                  <a:lnTo>
                    <a:pt x="414" y="334"/>
                  </a:lnTo>
                  <a:lnTo>
                    <a:pt x="414" y="357"/>
                  </a:lnTo>
                  <a:lnTo>
                    <a:pt x="414" y="382"/>
                  </a:lnTo>
                  <a:lnTo>
                    <a:pt x="412" y="383"/>
                  </a:lnTo>
                  <a:lnTo>
                    <a:pt x="410" y="385"/>
                  </a:lnTo>
                  <a:lnTo>
                    <a:pt x="406" y="399"/>
                  </a:lnTo>
                  <a:lnTo>
                    <a:pt x="404" y="410"/>
                  </a:lnTo>
                  <a:lnTo>
                    <a:pt x="403" y="412"/>
                  </a:lnTo>
                  <a:lnTo>
                    <a:pt x="401" y="416"/>
                  </a:lnTo>
                  <a:lnTo>
                    <a:pt x="378" y="418"/>
                  </a:lnTo>
                  <a:lnTo>
                    <a:pt x="357" y="420"/>
                  </a:lnTo>
                  <a:lnTo>
                    <a:pt x="355" y="422"/>
                  </a:lnTo>
                  <a:lnTo>
                    <a:pt x="353" y="426"/>
                  </a:lnTo>
                  <a:lnTo>
                    <a:pt x="349" y="428"/>
                  </a:lnTo>
                  <a:lnTo>
                    <a:pt x="347" y="430"/>
                  </a:lnTo>
                  <a:lnTo>
                    <a:pt x="345" y="431"/>
                  </a:lnTo>
                  <a:lnTo>
                    <a:pt x="343" y="435"/>
                  </a:lnTo>
                  <a:lnTo>
                    <a:pt x="339" y="437"/>
                  </a:lnTo>
                  <a:lnTo>
                    <a:pt x="337" y="439"/>
                  </a:lnTo>
                  <a:lnTo>
                    <a:pt x="335" y="441"/>
                  </a:lnTo>
                  <a:lnTo>
                    <a:pt x="332" y="445"/>
                  </a:lnTo>
                  <a:lnTo>
                    <a:pt x="332" y="449"/>
                  </a:lnTo>
                  <a:lnTo>
                    <a:pt x="332" y="454"/>
                  </a:lnTo>
                  <a:lnTo>
                    <a:pt x="335" y="456"/>
                  </a:lnTo>
                  <a:lnTo>
                    <a:pt x="337" y="458"/>
                  </a:lnTo>
                  <a:lnTo>
                    <a:pt x="337" y="468"/>
                  </a:lnTo>
                  <a:lnTo>
                    <a:pt x="337" y="478"/>
                  </a:lnTo>
                  <a:lnTo>
                    <a:pt x="335" y="479"/>
                  </a:lnTo>
                  <a:lnTo>
                    <a:pt x="332" y="483"/>
                  </a:lnTo>
                  <a:lnTo>
                    <a:pt x="314" y="485"/>
                  </a:lnTo>
                  <a:lnTo>
                    <a:pt x="299" y="487"/>
                  </a:lnTo>
                  <a:lnTo>
                    <a:pt x="295" y="491"/>
                  </a:lnTo>
                  <a:lnTo>
                    <a:pt x="293" y="493"/>
                  </a:lnTo>
                  <a:lnTo>
                    <a:pt x="284" y="493"/>
                  </a:lnTo>
                  <a:lnTo>
                    <a:pt x="274" y="493"/>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31" name="Freeform 302"/>
            <p:cNvSpPr>
              <a:spLocks/>
            </p:cNvSpPr>
            <p:nvPr>
              <p:custDataLst>
                <p:tags r:id="rId21"/>
              </p:custDataLst>
            </p:nvPr>
          </p:nvSpPr>
          <p:spPr bwMode="gray">
            <a:xfrm>
              <a:off x="2551113" y="4005078"/>
              <a:ext cx="588962" cy="603250"/>
            </a:xfrm>
            <a:custGeom>
              <a:avLst/>
              <a:gdLst>
                <a:gd name="T0" fmla="*/ 2147483647 w 378"/>
                <a:gd name="T1" fmla="*/ 2147483647 h 404"/>
                <a:gd name="T2" fmla="*/ 2147483647 w 378"/>
                <a:gd name="T3" fmla="*/ 2147483647 h 404"/>
                <a:gd name="T4" fmla="*/ 2147483647 w 378"/>
                <a:gd name="T5" fmla="*/ 2147483647 h 404"/>
                <a:gd name="T6" fmla="*/ 2147483647 w 378"/>
                <a:gd name="T7" fmla="*/ 2147483647 h 404"/>
                <a:gd name="T8" fmla="*/ 2147483647 w 378"/>
                <a:gd name="T9" fmla="*/ 2147483647 h 404"/>
                <a:gd name="T10" fmla="*/ 2147483647 w 378"/>
                <a:gd name="T11" fmla="*/ 2147483647 h 404"/>
                <a:gd name="T12" fmla="*/ 2147483647 w 378"/>
                <a:gd name="T13" fmla="*/ 2147483647 h 404"/>
                <a:gd name="T14" fmla="*/ 2147483647 w 378"/>
                <a:gd name="T15" fmla="*/ 2147483647 h 404"/>
                <a:gd name="T16" fmla="*/ 2147483647 w 378"/>
                <a:gd name="T17" fmla="*/ 2147483647 h 404"/>
                <a:gd name="T18" fmla="*/ 2147483647 w 378"/>
                <a:gd name="T19" fmla="*/ 2147483647 h 404"/>
                <a:gd name="T20" fmla="*/ 2147483647 w 378"/>
                <a:gd name="T21" fmla="*/ 2147483647 h 404"/>
                <a:gd name="T22" fmla="*/ 2147483647 w 378"/>
                <a:gd name="T23" fmla="*/ 2147483647 h 404"/>
                <a:gd name="T24" fmla="*/ 2147483647 w 378"/>
                <a:gd name="T25" fmla="*/ 2147483647 h 404"/>
                <a:gd name="T26" fmla="*/ 2147483647 w 378"/>
                <a:gd name="T27" fmla="*/ 2147483647 h 404"/>
                <a:gd name="T28" fmla="*/ 2147483647 w 378"/>
                <a:gd name="T29" fmla="*/ 2147483647 h 404"/>
                <a:gd name="T30" fmla="*/ 2147483647 w 378"/>
                <a:gd name="T31" fmla="*/ 2147483647 h 404"/>
                <a:gd name="T32" fmla="*/ 2147483647 w 378"/>
                <a:gd name="T33" fmla="*/ 2147483647 h 404"/>
                <a:gd name="T34" fmla="*/ 2147483647 w 378"/>
                <a:gd name="T35" fmla="*/ 2147483647 h 404"/>
                <a:gd name="T36" fmla="*/ 2147483647 w 378"/>
                <a:gd name="T37" fmla="*/ 2147483647 h 404"/>
                <a:gd name="T38" fmla="*/ 2147483647 w 378"/>
                <a:gd name="T39" fmla="*/ 2147483647 h 404"/>
                <a:gd name="T40" fmla="*/ 2147483647 w 378"/>
                <a:gd name="T41" fmla="*/ 2147483647 h 404"/>
                <a:gd name="T42" fmla="*/ 2147483647 w 378"/>
                <a:gd name="T43" fmla="*/ 2147483647 h 404"/>
                <a:gd name="T44" fmla="*/ 2147483647 w 378"/>
                <a:gd name="T45" fmla="*/ 2147483647 h 404"/>
                <a:gd name="T46" fmla="*/ 2147483647 w 378"/>
                <a:gd name="T47" fmla="*/ 2147483647 h 404"/>
                <a:gd name="T48" fmla="*/ 2147483647 w 378"/>
                <a:gd name="T49" fmla="*/ 2147483647 h 404"/>
                <a:gd name="T50" fmla="*/ 2147483647 w 378"/>
                <a:gd name="T51" fmla="*/ 2147483647 h 404"/>
                <a:gd name="T52" fmla="*/ 2147483647 w 378"/>
                <a:gd name="T53" fmla="*/ 2147483647 h 404"/>
                <a:gd name="T54" fmla="*/ 2147483647 w 378"/>
                <a:gd name="T55" fmla="*/ 2147483647 h 404"/>
                <a:gd name="T56" fmla="*/ 2147483647 w 378"/>
                <a:gd name="T57" fmla="*/ 2147483647 h 404"/>
                <a:gd name="T58" fmla="*/ 2147483647 w 378"/>
                <a:gd name="T59" fmla="*/ 2147483647 h 404"/>
                <a:gd name="T60" fmla="*/ 2147483647 w 378"/>
                <a:gd name="T61" fmla="*/ 2147483647 h 404"/>
                <a:gd name="T62" fmla="*/ 2147483647 w 378"/>
                <a:gd name="T63" fmla="*/ 2147483647 h 404"/>
                <a:gd name="T64" fmla="*/ 2147483647 w 378"/>
                <a:gd name="T65" fmla="*/ 2147483647 h 404"/>
                <a:gd name="T66" fmla="*/ 2147483647 w 378"/>
                <a:gd name="T67" fmla="*/ 2147483647 h 404"/>
                <a:gd name="T68" fmla="*/ 2147483647 w 378"/>
                <a:gd name="T69" fmla="*/ 2147483647 h 404"/>
                <a:gd name="T70" fmla="*/ 2147483647 w 378"/>
                <a:gd name="T71" fmla="*/ 2147483647 h 404"/>
                <a:gd name="T72" fmla="*/ 2147483647 w 378"/>
                <a:gd name="T73" fmla="*/ 2147483647 h 404"/>
                <a:gd name="T74" fmla="*/ 2147483647 w 378"/>
                <a:gd name="T75" fmla="*/ 2147483647 h 404"/>
                <a:gd name="T76" fmla="*/ 2147483647 w 378"/>
                <a:gd name="T77" fmla="*/ 2147483647 h 404"/>
                <a:gd name="T78" fmla="*/ 2147483647 w 378"/>
                <a:gd name="T79" fmla="*/ 2147483647 h 404"/>
                <a:gd name="T80" fmla="*/ 2147483647 w 378"/>
                <a:gd name="T81" fmla="*/ 2147483647 h 404"/>
                <a:gd name="T82" fmla="*/ 2147483647 w 378"/>
                <a:gd name="T83" fmla="*/ 2147483647 h 404"/>
                <a:gd name="T84" fmla="*/ 2147483647 w 378"/>
                <a:gd name="T85" fmla="*/ 2147483647 h 404"/>
                <a:gd name="T86" fmla="*/ 2147483647 w 378"/>
                <a:gd name="T87" fmla="*/ 2147483647 h 404"/>
                <a:gd name="T88" fmla="*/ 2147483647 w 378"/>
                <a:gd name="T89" fmla="*/ 2147483647 h 404"/>
                <a:gd name="T90" fmla="*/ 2147483647 w 378"/>
                <a:gd name="T91" fmla="*/ 2147483647 h 404"/>
                <a:gd name="T92" fmla="*/ 2147483647 w 378"/>
                <a:gd name="T93" fmla="*/ 2147483647 h 404"/>
                <a:gd name="T94" fmla="*/ 2147483647 w 378"/>
                <a:gd name="T95" fmla="*/ 2147483647 h 404"/>
                <a:gd name="T96" fmla="*/ 2147483647 w 378"/>
                <a:gd name="T97" fmla="*/ 2147483647 h 404"/>
                <a:gd name="T98" fmla="*/ 2147483647 w 378"/>
                <a:gd name="T99" fmla="*/ 2147483647 h 404"/>
                <a:gd name="T100" fmla="*/ 2147483647 w 378"/>
                <a:gd name="T101" fmla="*/ 2147483647 h 404"/>
                <a:gd name="T102" fmla="*/ 2147483647 w 378"/>
                <a:gd name="T103" fmla="*/ 2147483647 h 404"/>
                <a:gd name="T104" fmla="*/ 2147483647 w 378"/>
                <a:gd name="T105" fmla="*/ 2147483647 h 404"/>
                <a:gd name="T106" fmla="*/ 2147483647 w 378"/>
                <a:gd name="T107" fmla="*/ 2147483647 h 404"/>
                <a:gd name="T108" fmla="*/ 2147483647 w 378"/>
                <a:gd name="T109" fmla="*/ 2147483647 h 404"/>
                <a:gd name="T110" fmla="*/ 2147483647 w 378"/>
                <a:gd name="T111" fmla="*/ 2147483647 h 404"/>
                <a:gd name="T112" fmla="*/ 2147483647 w 378"/>
                <a:gd name="T113" fmla="*/ 2147483647 h 404"/>
                <a:gd name="T114" fmla="*/ 2147483647 w 378"/>
                <a:gd name="T115" fmla="*/ 2147483647 h 40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8"/>
                <a:gd name="T175" fmla="*/ 0 h 404"/>
                <a:gd name="T176" fmla="*/ 378 w 378"/>
                <a:gd name="T177" fmla="*/ 404 h 40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8" h="404">
                  <a:moveTo>
                    <a:pt x="101" y="404"/>
                  </a:moveTo>
                  <a:lnTo>
                    <a:pt x="99" y="402"/>
                  </a:lnTo>
                  <a:lnTo>
                    <a:pt x="96" y="401"/>
                  </a:lnTo>
                  <a:lnTo>
                    <a:pt x="94" y="393"/>
                  </a:lnTo>
                  <a:lnTo>
                    <a:pt x="92" y="385"/>
                  </a:lnTo>
                  <a:lnTo>
                    <a:pt x="90" y="383"/>
                  </a:lnTo>
                  <a:lnTo>
                    <a:pt x="86" y="381"/>
                  </a:lnTo>
                  <a:lnTo>
                    <a:pt x="86" y="374"/>
                  </a:lnTo>
                  <a:lnTo>
                    <a:pt x="86" y="366"/>
                  </a:lnTo>
                  <a:lnTo>
                    <a:pt x="78" y="366"/>
                  </a:lnTo>
                  <a:lnTo>
                    <a:pt x="73" y="366"/>
                  </a:lnTo>
                  <a:lnTo>
                    <a:pt x="69" y="364"/>
                  </a:lnTo>
                  <a:lnTo>
                    <a:pt x="67" y="362"/>
                  </a:lnTo>
                  <a:lnTo>
                    <a:pt x="61" y="358"/>
                  </a:lnTo>
                  <a:lnTo>
                    <a:pt x="53" y="356"/>
                  </a:lnTo>
                  <a:lnTo>
                    <a:pt x="51" y="355"/>
                  </a:lnTo>
                  <a:lnTo>
                    <a:pt x="48" y="353"/>
                  </a:lnTo>
                  <a:lnTo>
                    <a:pt x="40" y="349"/>
                  </a:lnTo>
                  <a:lnTo>
                    <a:pt x="34" y="347"/>
                  </a:lnTo>
                  <a:lnTo>
                    <a:pt x="30" y="345"/>
                  </a:lnTo>
                  <a:lnTo>
                    <a:pt x="28" y="343"/>
                  </a:lnTo>
                  <a:lnTo>
                    <a:pt x="26" y="335"/>
                  </a:lnTo>
                  <a:lnTo>
                    <a:pt x="25" y="328"/>
                  </a:lnTo>
                  <a:lnTo>
                    <a:pt x="21" y="326"/>
                  </a:lnTo>
                  <a:lnTo>
                    <a:pt x="19" y="324"/>
                  </a:lnTo>
                  <a:lnTo>
                    <a:pt x="11" y="316"/>
                  </a:lnTo>
                  <a:lnTo>
                    <a:pt x="5" y="308"/>
                  </a:lnTo>
                  <a:lnTo>
                    <a:pt x="2" y="307"/>
                  </a:lnTo>
                  <a:lnTo>
                    <a:pt x="0" y="303"/>
                  </a:lnTo>
                  <a:lnTo>
                    <a:pt x="2" y="301"/>
                  </a:lnTo>
                  <a:lnTo>
                    <a:pt x="5" y="299"/>
                  </a:lnTo>
                  <a:lnTo>
                    <a:pt x="7" y="297"/>
                  </a:lnTo>
                  <a:lnTo>
                    <a:pt x="9" y="293"/>
                  </a:lnTo>
                  <a:lnTo>
                    <a:pt x="11" y="291"/>
                  </a:lnTo>
                  <a:lnTo>
                    <a:pt x="13" y="289"/>
                  </a:lnTo>
                  <a:lnTo>
                    <a:pt x="17" y="287"/>
                  </a:lnTo>
                  <a:lnTo>
                    <a:pt x="19" y="284"/>
                  </a:lnTo>
                  <a:lnTo>
                    <a:pt x="21" y="282"/>
                  </a:lnTo>
                  <a:lnTo>
                    <a:pt x="25" y="280"/>
                  </a:lnTo>
                  <a:lnTo>
                    <a:pt x="26" y="278"/>
                  </a:lnTo>
                  <a:lnTo>
                    <a:pt x="28" y="274"/>
                  </a:lnTo>
                  <a:lnTo>
                    <a:pt x="30" y="272"/>
                  </a:lnTo>
                  <a:lnTo>
                    <a:pt x="34" y="270"/>
                  </a:lnTo>
                  <a:lnTo>
                    <a:pt x="36" y="253"/>
                  </a:lnTo>
                  <a:lnTo>
                    <a:pt x="38" y="236"/>
                  </a:lnTo>
                  <a:lnTo>
                    <a:pt x="40" y="234"/>
                  </a:lnTo>
                  <a:lnTo>
                    <a:pt x="44" y="232"/>
                  </a:lnTo>
                  <a:lnTo>
                    <a:pt x="46" y="218"/>
                  </a:lnTo>
                  <a:lnTo>
                    <a:pt x="48" y="207"/>
                  </a:lnTo>
                  <a:lnTo>
                    <a:pt x="51" y="205"/>
                  </a:lnTo>
                  <a:lnTo>
                    <a:pt x="53" y="203"/>
                  </a:lnTo>
                  <a:lnTo>
                    <a:pt x="55" y="180"/>
                  </a:lnTo>
                  <a:lnTo>
                    <a:pt x="57" y="159"/>
                  </a:lnTo>
                  <a:lnTo>
                    <a:pt x="59" y="155"/>
                  </a:lnTo>
                  <a:lnTo>
                    <a:pt x="63" y="153"/>
                  </a:lnTo>
                  <a:lnTo>
                    <a:pt x="65" y="151"/>
                  </a:lnTo>
                  <a:lnTo>
                    <a:pt x="67" y="149"/>
                  </a:lnTo>
                  <a:lnTo>
                    <a:pt x="69" y="145"/>
                  </a:lnTo>
                  <a:lnTo>
                    <a:pt x="73" y="143"/>
                  </a:lnTo>
                  <a:lnTo>
                    <a:pt x="74" y="145"/>
                  </a:lnTo>
                  <a:lnTo>
                    <a:pt x="78" y="149"/>
                  </a:lnTo>
                  <a:lnTo>
                    <a:pt x="80" y="155"/>
                  </a:lnTo>
                  <a:lnTo>
                    <a:pt x="82" y="165"/>
                  </a:lnTo>
                  <a:lnTo>
                    <a:pt x="84" y="166"/>
                  </a:lnTo>
                  <a:lnTo>
                    <a:pt x="86" y="168"/>
                  </a:lnTo>
                  <a:lnTo>
                    <a:pt x="109" y="168"/>
                  </a:lnTo>
                  <a:lnTo>
                    <a:pt x="130" y="168"/>
                  </a:lnTo>
                  <a:lnTo>
                    <a:pt x="151" y="168"/>
                  </a:lnTo>
                  <a:lnTo>
                    <a:pt x="174" y="168"/>
                  </a:lnTo>
                  <a:lnTo>
                    <a:pt x="176" y="166"/>
                  </a:lnTo>
                  <a:lnTo>
                    <a:pt x="178" y="165"/>
                  </a:lnTo>
                  <a:lnTo>
                    <a:pt x="178" y="153"/>
                  </a:lnTo>
                  <a:lnTo>
                    <a:pt x="178" y="143"/>
                  </a:lnTo>
                  <a:lnTo>
                    <a:pt x="176" y="142"/>
                  </a:lnTo>
                  <a:lnTo>
                    <a:pt x="174" y="140"/>
                  </a:lnTo>
                  <a:lnTo>
                    <a:pt x="170" y="138"/>
                  </a:lnTo>
                  <a:lnTo>
                    <a:pt x="168" y="134"/>
                  </a:lnTo>
                  <a:lnTo>
                    <a:pt x="167" y="132"/>
                  </a:lnTo>
                  <a:lnTo>
                    <a:pt x="165" y="130"/>
                  </a:lnTo>
                  <a:lnTo>
                    <a:pt x="165" y="124"/>
                  </a:lnTo>
                  <a:lnTo>
                    <a:pt x="165" y="120"/>
                  </a:lnTo>
                  <a:lnTo>
                    <a:pt x="167" y="117"/>
                  </a:lnTo>
                  <a:lnTo>
                    <a:pt x="168" y="115"/>
                  </a:lnTo>
                  <a:lnTo>
                    <a:pt x="170" y="107"/>
                  </a:lnTo>
                  <a:lnTo>
                    <a:pt x="174" y="99"/>
                  </a:lnTo>
                  <a:lnTo>
                    <a:pt x="176" y="97"/>
                  </a:lnTo>
                  <a:lnTo>
                    <a:pt x="178" y="95"/>
                  </a:lnTo>
                  <a:lnTo>
                    <a:pt x="180" y="78"/>
                  </a:lnTo>
                  <a:lnTo>
                    <a:pt x="184" y="61"/>
                  </a:lnTo>
                  <a:lnTo>
                    <a:pt x="186" y="59"/>
                  </a:lnTo>
                  <a:lnTo>
                    <a:pt x="188" y="57"/>
                  </a:lnTo>
                  <a:lnTo>
                    <a:pt x="191" y="46"/>
                  </a:lnTo>
                  <a:lnTo>
                    <a:pt x="193" y="32"/>
                  </a:lnTo>
                  <a:lnTo>
                    <a:pt x="195" y="30"/>
                  </a:lnTo>
                  <a:lnTo>
                    <a:pt x="197" y="28"/>
                  </a:lnTo>
                  <a:lnTo>
                    <a:pt x="201" y="28"/>
                  </a:lnTo>
                  <a:lnTo>
                    <a:pt x="203" y="26"/>
                  </a:lnTo>
                  <a:lnTo>
                    <a:pt x="203" y="21"/>
                  </a:lnTo>
                  <a:lnTo>
                    <a:pt x="203" y="9"/>
                  </a:lnTo>
                  <a:lnTo>
                    <a:pt x="220" y="7"/>
                  </a:lnTo>
                  <a:lnTo>
                    <a:pt x="238" y="5"/>
                  </a:lnTo>
                  <a:lnTo>
                    <a:pt x="253" y="5"/>
                  </a:lnTo>
                  <a:lnTo>
                    <a:pt x="270" y="3"/>
                  </a:lnTo>
                  <a:lnTo>
                    <a:pt x="272" y="1"/>
                  </a:lnTo>
                  <a:lnTo>
                    <a:pt x="276" y="0"/>
                  </a:lnTo>
                  <a:lnTo>
                    <a:pt x="278" y="1"/>
                  </a:lnTo>
                  <a:lnTo>
                    <a:pt x="280" y="3"/>
                  </a:lnTo>
                  <a:lnTo>
                    <a:pt x="297" y="5"/>
                  </a:lnTo>
                  <a:lnTo>
                    <a:pt x="314" y="9"/>
                  </a:lnTo>
                  <a:lnTo>
                    <a:pt x="316" y="11"/>
                  </a:lnTo>
                  <a:lnTo>
                    <a:pt x="318" y="13"/>
                  </a:lnTo>
                  <a:lnTo>
                    <a:pt x="322" y="15"/>
                  </a:lnTo>
                  <a:lnTo>
                    <a:pt x="324" y="19"/>
                  </a:lnTo>
                  <a:lnTo>
                    <a:pt x="326" y="21"/>
                  </a:lnTo>
                  <a:lnTo>
                    <a:pt x="328" y="23"/>
                  </a:lnTo>
                  <a:lnTo>
                    <a:pt x="328" y="24"/>
                  </a:lnTo>
                  <a:lnTo>
                    <a:pt x="330" y="26"/>
                  </a:lnTo>
                  <a:lnTo>
                    <a:pt x="332" y="26"/>
                  </a:lnTo>
                  <a:lnTo>
                    <a:pt x="335" y="28"/>
                  </a:lnTo>
                  <a:lnTo>
                    <a:pt x="349" y="28"/>
                  </a:lnTo>
                  <a:lnTo>
                    <a:pt x="378" y="28"/>
                  </a:lnTo>
                  <a:lnTo>
                    <a:pt x="378" y="40"/>
                  </a:lnTo>
                  <a:lnTo>
                    <a:pt x="378" y="51"/>
                  </a:lnTo>
                  <a:lnTo>
                    <a:pt x="374" y="55"/>
                  </a:lnTo>
                  <a:lnTo>
                    <a:pt x="372" y="57"/>
                  </a:lnTo>
                  <a:lnTo>
                    <a:pt x="370" y="65"/>
                  </a:lnTo>
                  <a:lnTo>
                    <a:pt x="368" y="71"/>
                  </a:lnTo>
                  <a:lnTo>
                    <a:pt x="364" y="74"/>
                  </a:lnTo>
                  <a:lnTo>
                    <a:pt x="362" y="76"/>
                  </a:lnTo>
                  <a:lnTo>
                    <a:pt x="360" y="84"/>
                  </a:lnTo>
                  <a:lnTo>
                    <a:pt x="356" y="92"/>
                  </a:lnTo>
                  <a:lnTo>
                    <a:pt x="355" y="94"/>
                  </a:lnTo>
                  <a:lnTo>
                    <a:pt x="353" y="95"/>
                  </a:lnTo>
                  <a:lnTo>
                    <a:pt x="351" y="103"/>
                  </a:lnTo>
                  <a:lnTo>
                    <a:pt x="349" y="111"/>
                  </a:lnTo>
                  <a:lnTo>
                    <a:pt x="345" y="113"/>
                  </a:lnTo>
                  <a:lnTo>
                    <a:pt x="343" y="115"/>
                  </a:lnTo>
                  <a:lnTo>
                    <a:pt x="341" y="117"/>
                  </a:lnTo>
                  <a:lnTo>
                    <a:pt x="339" y="120"/>
                  </a:lnTo>
                  <a:lnTo>
                    <a:pt x="335" y="122"/>
                  </a:lnTo>
                  <a:lnTo>
                    <a:pt x="333" y="124"/>
                  </a:lnTo>
                  <a:lnTo>
                    <a:pt x="330" y="126"/>
                  </a:lnTo>
                  <a:lnTo>
                    <a:pt x="328" y="130"/>
                  </a:lnTo>
                  <a:lnTo>
                    <a:pt x="326" y="132"/>
                  </a:lnTo>
                  <a:lnTo>
                    <a:pt x="324" y="134"/>
                  </a:lnTo>
                  <a:lnTo>
                    <a:pt x="322" y="138"/>
                  </a:lnTo>
                  <a:lnTo>
                    <a:pt x="318" y="140"/>
                  </a:lnTo>
                  <a:lnTo>
                    <a:pt x="316" y="142"/>
                  </a:lnTo>
                  <a:lnTo>
                    <a:pt x="314" y="143"/>
                  </a:lnTo>
                  <a:lnTo>
                    <a:pt x="312" y="145"/>
                  </a:lnTo>
                  <a:lnTo>
                    <a:pt x="308" y="149"/>
                  </a:lnTo>
                  <a:lnTo>
                    <a:pt x="307" y="151"/>
                  </a:lnTo>
                  <a:lnTo>
                    <a:pt x="305" y="153"/>
                  </a:lnTo>
                  <a:lnTo>
                    <a:pt x="301" y="155"/>
                  </a:lnTo>
                  <a:lnTo>
                    <a:pt x="299" y="159"/>
                  </a:lnTo>
                  <a:lnTo>
                    <a:pt x="297" y="161"/>
                  </a:lnTo>
                  <a:lnTo>
                    <a:pt x="295" y="165"/>
                  </a:lnTo>
                  <a:lnTo>
                    <a:pt x="287" y="166"/>
                  </a:lnTo>
                  <a:lnTo>
                    <a:pt x="280" y="168"/>
                  </a:lnTo>
                  <a:lnTo>
                    <a:pt x="278" y="170"/>
                  </a:lnTo>
                  <a:lnTo>
                    <a:pt x="276" y="172"/>
                  </a:lnTo>
                  <a:lnTo>
                    <a:pt x="272" y="178"/>
                  </a:lnTo>
                  <a:lnTo>
                    <a:pt x="272" y="188"/>
                  </a:lnTo>
                  <a:lnTo>
                    <a:pt x="272" y="197"/>
                  </a:lnTo>
                  <a:lnTo>
                    <a:pt x="276" y="203"/>
                  </a:lnTo>
                  <a:lnTo>
                    <a:pt x="278" y="205"/>
                  </a:lnTo>
                  <a:lnTo>
                    <a:pt x="280" y="207"/>
                  </a:lnTo>
                  <a:lnTo>
                    <a:pt x="280" y="211"/>
                  </a:lnTo>
                  <a:lnTo>
                    <a:pt x="280" y="216"/>
                  </a:lnTo>
                  <a:lnTo>
                    <a:pt x="278" y="218"/>
                  </a:lnTo>
                  <a:lnTo>
                    <a:pt x="276" y="222"/>
                  </a:lnTo>
                  <a:lnTo>
                    <a:pt x="272" y="228"/>
                  </a:lnTo>
                  <a:lnTo>
                    <a:pt x="270" y="236"/>
                  </a:lnTo>
                  <a:lnTo>
                    <a:pt x="268" y="237"/>
                  </a:lnTo>
                  <a:lnTo>
                    <a:pt x="266" y="241"/>
                  </a:lnTo>
                  <a:lnTo>
                    <a:pt x="266" y="245"/>
                  </a:lnTo>
                  <a:lnTo>
                    <a:pt x="266" y="251"/>
                  </a:lnTo>
                  <a:lnTo>
                    <a:pt x="268" y="253"/>
                  </a:lnTo>
                  <a:lnTo>
                    <a:pt x="270" y="255"/>
                  </a:lnTo>
                  <a:lnTo>
                    <a:pt x="270" y="264"/>
                  </a:lnTo>
                  <a:lnTo>
                    <a:pt x="270" y="274"/>
                  </a:lnTo>
                  <a:lnTo>
                    <a:pt x="268" y="278"/>
                  </a:lnTo>
                  <a:lnTo>
                    <a:pt x="266" y="280"/>
                  </a:lnTo>
                  <a:lnTo>
                    <a:pt x="262" y="282"/>
                  </a:lnTo>
                  <a:lnTo>
                    <a:pt x="261" y="284"/>
                  </a:lnTo>
                  <a:lnTo>
                    <a:pt x="259" y="287"/>
                  </a:lnTo>
                  <a:lnTo>
                    <a:pt x="257" y="289"/>
                  </a:lnTo>
                  <a:lnTo>
                    <a:pt x="243" y="291"/>
                  </a:lnTo>
                  <a:lnTo>
                    <a:pt x="232" y="293"/>
                  </a:lnTo>
                  <a:lnTo>
                    <a:pt x="230" y="297"/>
                  </a:lnTo>
                  <a:lnTo>
                    <a:pt x="228" y="299"/>
                  </a:lnTo>
                  <a:lnTo>
                    <a:pt x="224" y="307"/>
                  </a:lnTo>
                  <a:lnTo>
                    <a:pt x="222" y="314"/>
                  </a:lnTo>
                  <a:lnTo>
                    <a:pt x="220" y="316"/>
                  </a:lnTo>
                  <a:lnTo>
                    <a:pt x="216" y="318"/>
                  </a:lnTo>
                  <a:lnTo>
                    <a:pt x="213" y="318"/>
                  </a:lnTo>
                  <a:lnTo>
                    <a:pt x="207" y="318"/>
                  </a:lnTo>
                  <a:lnTo>
                    <a:pt x="205" y="316"/>
                  </a:lnTo>
                  <a:lnTo>
                    <a:pt x="203" y="314"/>
                  </a:lnTo>
                  <a:lnTo>
                    <a:pt x="197" y="314"/>
                  </a:lnTo>
                  <a:lnTo>
                    <a:pt x="193" y="314"/>
                  </a:lnTo>
                  <a:lnTo>
                    <a:pt x="191" y="316"/>
                  </a:lnTo>
                  <a:lnTo>
                    <a:pt x="188" y="318"/>
                  </a:lnTo>
                  <a:lnTo>
                    <a:pt x="186" y="320"/>
                  </a:lnTo>
                  <a:lnTo>
                    <a:pt x="184" y="324"/>
                  </a:lnTo>
                  <a:lnTo>
                    <a:pt x="180" y="326"/>
                  </a:lnTo>
                  <a:lnTo>
                    <a:pt x="178" y="328"/>
                  </a:lnTo>
                  <a:lnTo>
                    <a:pt x="170" y="328"/>
                  </a:lnTo>
                  <a:lnTo>
                    <a:pt x="165" y="328"/>
                  </a:lnTo>
                  <a:lnTo>
                    <a:pt x="165" y="335"/>
                  </a:lnTo>
                  <a:lnTo>
                    <a:pt x="165" y="343"/>
                  </a:lnTo>
                  <a:lnTo>
                    <a:pt x="161" y="345"/>
                  </a:lnTo>
                  <a:lnTo>
                    <a:pt x="159" y="347"/>
                  </a:lnTo>
                  <a:lnTo>
                    <a:pt x="151" y="349"/>
                  </a:lnTo>
                  <a:lnTo>
                    <a:pt x="145" y="353"/>
                  </a:lnTo>
                  <a:lnTo>
                    <a:pt x="142" y="355"/>
                  </a:lnTo>
                  <a:lnTo>
                    <a:pt x="140" y="356"/>
                  </a:lnTo>
                  <a:lnTo>
                    <a:pt x="138" y="358"/>
                  </a:lnTo>
                  <a:lnTo>
                    <a:pt x="136" y="362"/>
                  </a:lnTo>
                  <a:lnTo>
                    <a:pt x="132" y="364"/>
                  </a:lnTo>
                  <a:lnTo>
                    <a:pt x="130" y="366"/>
                  </a:lnTo>
                  <a:lnTo>
                    <a:pt x="128" y="370"/>
                  </a:lnTo>
                  <a:lnTo>
                    <a:pt x="124" y="372"/>
                  </a:lnTo>
                  <a:lnTo>
                    <a:pt x="122" y="374"/>
                  </a:lnTo>
                  <a:lnTo>
                    <a:pt x="120" y="376"/>
                  </a:lnTo>
                  <a:lnTo>
                    <a:pt x="119" y="383"/>
                  </a:lnTo>
                  <a:lnTo>
                    <a:pt x="117" y="391"/>
                  </a:lnTo>
                  <a:lnTo>
                    <a:pt x="113" y="393"/>
                  </a:lnTo>
                  <a:lnTo>
                    <a:pt x="111" y="395"/>
                  </a:lnTo>
                  <a:lnTo>
                    <a:pt x="109" y="399"/>
                  </a:lnTo>
                  <a:lnTo>
                    <a:pt x="107" y="401"/>
                  </a:lnTo>
                  <a:lnTo>
                    <a:pt x="103" y="402"/>
                  </a:lnTo>
                  <a:lnTo>
                    <a:pt x="101" y="404"/>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32" name="Freeform 303"/>
            <p:cNvSpPr>
              <a:spLocks/>
            </p:cNvSpPr>
            <p:nvPr>
              <p:custDataLst>
                <p:tags r:id="rId22"/>
              </p:custDataLst>
            </p:nvPr>
          </p:nvSpPr>
          <p:spPr bwMode="gray">
            <a:xfrm>
              <a:off x="1028700" y="5437003"/>
              <a:ext cx="109538" cy="157163"/>
            </a:xfrm>
            <a:custGeom>
              <a:avLst/>
              <a:gdLst>
                <a:gd name="T0" fmla="*/ 2147483647 w 71"/>
                <a:gd name="T1" fmla="*/ 0 h 106"/>
                <a:gd name="T2" fmla="*/ 2147483647 w 71"/>
                <a:gd name="T3" fmla="*/ 2147483647 h 106"/>
                <a:gd name="T4" fmla="*/ 2147483647 w 71"/>
                <a:gd name="T5" fmla="*/ 2147483647 h 106"/>
                <a:gd name="T6" fmla="*/ 2147483647 w 71"/>
                <a:gd name="T7" fmla="*/ 2147483647 h 106"/>
                <a:gd name="T8" fmla="*/ 2147483647 w 71"/>
                <a:gd name="T9" fmla="*/ 2147483647 h 106"/>
                <a:gd name="T10" fmla="*/ 2147483647 w 71"/>
                <a:gd name="T11" fmla="*/ 2147483647 h 106"/>
                <a:gd name="T12" fmla="*/ 2147483647 w 71"/>
                <a:gd name="T13" fmla="*/ 2147483647 h 106"/>
                <a:gd name="T14" fmla="*/ 2147483647 w 71"/>
                <a:gd name="T15" fmla="*/ 2147483647 h 106"/>
                <a:gd name="T16" fmla="*/ 2147483647 w 71"/>
                <a:gd name="T17" fmla="*/ 2147483647 h 106"/>
                <a:gd name="T18" fmla="*/ 2147483647 w 71"/>
                <a:gd name="T19" fmla="*/ 2147483647 h 106"/>
                <a:gd name="T20" fmla="*/ 2147483647 w 71"/>
                <a:gd name="T21" fmla="*/ 2147483647 h 106"/>
                <a:gd name="T22" fmla="*/ 2147483647 w 71"/>
                <a:gd name="T23" fmla="*/ 2147483647 h 106"/>
                <a:gd name="T24" fmla="*/ 2147483647 w 71"/>
                <a:gd name="T25" fmla="*/ 2147483647 h 106"/>
                <a:gd name="T26" fmla="*/ 2147483647 w 71"/>
                <a:gd name="T27" fmla="*/ 2147483647 h 106"/>
                <a:gd name="T28" fmla="*/ 2147483647 w 71"/>
                <a:gd name="T29" fmla="*/ 2147483647 h 106"/>
                <a:gd name="T30" fmla="*/ 2147483647 w 71"/>
                <a:gd name="T31" fmla="*/ 2147483647 h 106"/>
                <a:gd name="T32" fmla="*/ 2147483647 w 71"/>
                <a:gd name="T33" fmla="*/ 2147483647 h 106"/>
                <a:gd name="T34" fmla="*/ 2147483647 w 71"/>
                <a:gd name="T35" fmla="*/ 2147483647 h 106"/>
                <a:gd name="T36" fmla="*/ 2147483647 w 71"/>
                <a:gd name="T37" fmla="*/ 2147483647 h 106"/>
                <a:gd name="T38" fmla="*/ 2147483647 w 71"/>
                <a:gd name="T39" fmla="*/ 2147483647 h 106"/>
                <a:gd name="T40" fmla="*/ 2147483647 w 71"/>
                <a:gd name="T41" fmla="*/ 2147483647 h 106"/>
                <a:gd name="T42" fmla="*/ 2147483647 w 71"/>
                <a:gd name="T43" fmla="*/ 2147483647 h 106"/>
                <a:gd name="T44" fmla="*/ 2147483647 w 71"/>
                <a:gd name="T45" fmla="*/ 2147483647 h 106"/>
                <a:gd name="T46" fmla="*/ 2147483647 w 71"/>
                <a:gd name="T47" fmla="*/ 2147483647 h 106"/>
                <a:gd name="T48" fmla="*/ 2147483647 w 71"/>
                <a:gd name="T49" fmla="*/ 2147483647 h 106"/>
                <a:gd name="T50" fmla="*/ 2147483647 w 71"/>
                <a:gd name="T51" fmla="*/ 2147483647 h 106"/>
                <a:gd name="T52" fmla="*/ 2147483647 w 71"/>
                <a:gd name="T53" fmla="*/ 2147483647 h 106"/>
                <a:gd name="T54" fmla="*/ 2147483647 w 71"/>
                <a:gd name="T55" fmla="*/ 2147483647 h 106"/>
                <a:gd name="T56" fmla="*/ 2147483647 w 71"/>
                <a:gd name="T57" fmla="*/ 2147483647 h 106"/>
                <a:gd name="T58" fmla="*/ 2147483647 w 71"/>
                <a:gd name="T59" fmla="*/ 2147483647 h 106"/>
                <a:gd name="T60" fmla="*/ 2147483647 w 71"/>
                <a:gd name="T61" fmla="*/ 2147483647 h 106"/>
                <a:gd name="T62" fmla="*/ 2147483647 w 71"/>
                <a:gd name="T63" fmla="*/ 2147483647 h 106"/>
                <a:gd name="T64" fmla="*/ 2147483647 w 71"/>
                <a:gd name="T65" fmla="*/ 2147483647 h 106"/>
                <a:gd name="T66" fmla="*/ 2147483647 w 71"/>
                <a:gd name="T67" fmla="*/ 2147483647 h 106"/>
                <a:gd name="T68" fmla="*/ 2147483647 w 71"/>
                <a:gd name="T69" fmla="*/ 2147483647 h 106"/>
                <a:gd name="T70" fmla="*/ 0 w 71"/>
                <a:gd name="T71" fmla="*/ 2147483647 h 106"/>
                <a:gd name="T72" fmla="*/ 0 w 71"/>
                <a:gd name="T73" fmla="*/ 2147483647 h 106"/>
                <a:gd name="T74" fmla="*/ 2147483647 w 71"/>
                <a:gd name="T75" fmla="*/ 2147483647 h 106"/>
                <a:gd name="T76" fmla="*/ 2147483647 w 71"/>
                <a:gd name="T77" fmla="*/ 0 h 106"/>
                <a:gd name="T78" fmla="*/ 2147483647 w 71"/>
                <a:gd name="T79" fmla="*/ 0 h 106"/>
                <a:gd name="T80" fmla="*/ 2147483647 w 71"/>
                <a:gd name="T81" fmla="*/ 0 h 1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1"/>
                <a:gd name="T124" fmla="*/ 0 h 106"/>
                <a:gd name="T125" fmla="*/ 71 w 71"/>
                <a:gd name="T126" fmla="*/ 106 h 1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1" h="106">
                  <a:moveTo>
                    <a:pt x="27" y="0"/>
                  </a:moveTo>
                  <a:lnTo>
                    <a:pt x="31" y="2"/>
                  </a:lnTo>
                  <a:lnTo>
                    <a:pt x="33" y="4"/>
                  </a:lnTo>
                  <a:lnTo>
                    <a:pt x="35" y="6"/>
                  </a:lnTo>
                  <a:lnTo>
                    <a:pt x="39" y="10"/>
                  </a:lnTo>
                  <a:lnTo>
                    <a:pt x="40" y="12"/>
                  </a:lnTo>
                  <a:lnTo>
                    <a:pt x="42" y="13"/>
                  </a:lnTo>
                  <a:lnTo>
                    <a:pt x="44" y="21"/>
                  </a:lnTo>
                  <a:lnTo>
                    <a:pt x="48" y="29"/>
                  </a:lnTo>
                  <a:lnTo>
                    <a:pt x="50" y="31"/>
                  </a:lnTo>
                  <a:lnTo>
                    <a:pt x="52" y="33"/>
                  </a:lnTo>
                  <a:lnTo>
                    <a:pt x="62" y="38"/>
                  </a:lnTo>
                  <a:lnTo>
                    <a:pt x="71" y="42"/>
                  </a:lnTo>
                  <a:lnTo>
                    <a:pt x="69" y="44"/>
                  </a:lnTo>
                  <a:lnTo>
                    <a:pt x="67" y="48"/>
                  </a:lnTo>
                  <a:lnTo>
                    <a:pt x="63" y="50"/>
                  </a:lnTo>
                  <a:lnTo>
                    <a:pt x="62" y="54"/>
                  </a:lnTo>
                  <a:lnTo>
                    <a:pt x="60" y="56"/>
                  </a:lnTo>
                  <a:lnTo>
                    <a:pt x="58" y="58"/>
                  </a:lnTo>
                  <a:lnTo>
                    <a:pt x="54" y="59"/>
                  </a:lnTo>
                  <a:lnTo>
                    <a:pt x="52" y="63"/>
                  </a:lnTo>
                  <a:lnTo>
                    <a:pt x="50" y="65"/>
                  </a:lnTo>
                  <a:lnTo>
                    <a:pt x="48" y="67"/>
                  </a:lnTo>
                  <a:lnTo>
                    <a:pt x="40" y="67"/>
                  </a:lnTo>
                  <a:lnTo>
                    <a:pt x="33" y="67"/>
                  </a:lnTo>
                  <a:lnTo>
                    <a:pt x="33" y="75"/>
                  </a:lnTo>
                  <a:lnTo>
                    <a:pt x="33" y="83"/>
                  </a:lnTo>
                  <a:lnTo>
                    <a:pt x="31" y="84"/>
                  </a:lnTo>
                  <a:lnTo>
                    <a:pt x="27" y="86"/>
                  </a:lnTo>
                  <a:lnTo>
                    <a:pt x="25" y="94"/>
                  </a:lnTo>
                  <a:lnTo>
                    <a:pt x="23" y="102"/>
                  </a:lnTo>
                  <a:lnTo>
                    <a:pt x="21" y="104"/>
                  </a:lnTo>
                  <a:lnTo>
                    <a:pt x="19" y="106"/>
                  </a:lnTo>
                  <a:lnTo>
                    <a:pt x="10" y="94"/>
                  </a:lnTo>
                  <a:lnTo>
                    <a:pt x="4" y="81"/>
                  </a:lnTo>
                  <a:lnTo>
                    <a:pt x="0" y="69"/>
                  </a:lnTo>
                  <a:lnTo>
                    <a:pt x="0" y="56"/>
                  </a:lnTo>
                  <a:lnTo>
                    <a:pt x="2" y="29"/>
                  </a:lnTo>
                  <a:lnTo>
                    <a:pt x="4" y="0"/>
                  </a:lnTo>
                  <a:lnTo>
                    <a:pt x="16" y="0"/>
                  </a:lnTo>
                  <a:lnTo>
                    <a:pt x="27" y="0"/>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grpSp>
          <p:nvGrpSpPr>
            <p:cNvPr id="33" name="Group 174"/>
            <p:cNvGrpSpPr>
              <a:grpSpLocks/>
            </p:cNvGrpSpPr>
            <p:nvPr/>
          </p:nvGrpSpPr>
          <p:grpSpPr bwMode="gray">
            <a:xfrm>
              <a:off x="930275" y="5437003"/>
              <a:ext cx="87313" cy="157163"/>
              <a:chOff x="930275" y="5819775"/>
              <a:chExt cx="87313" cy="157163"/>
            </a:xfrm>
            <a:grpFill/>
          </p:grpSpPr>
          <p:sp>
            <p:nvSpPr>
              <p:cNvPr id="34" name="Freeform 33"/>
              <p:cNvSpPr>
                <a:spLocks/>
              </p:cNvSpPr>
              <p:nvPr/>
            </p:nvSpPr>
            <p:spPr bwMode="gray">
              <a:xfrm>
                <a:off x="942975" y="5819775"/>
                <a:ext cx="74613" cy="157163"/>
              </a:xfrm>
              <a:custGeom>
                <a:avLst/>
                <a:gdLst/>
                <a:ahLst/>
                <a:cxnLst>
                  <a:cxn ang="0">
                    <a:pos x="29" y="106"/>
                  </a:cxn>
                  <a:cxn ang="0">
                    <a:pos x="23" y="92"/>
                  </a:cxn>
                  <a:cxn ang="0">
                    <a:pos x="20" y="77"/>
                  </a:cxn>
                  <a:cxn ang="0">
                    <a:pos x="20" y="61"/>
                  </a:cxn>
                  <a:cxn ang="0">
                    <a:pos x="20" y="48"/>
                  </a:cxn>
                  <a:cxn ang="0">
                    <a:pos x="10" y="48"/>
                  </a:cxn>
                  <a:cxn ang="0">
                    <a:pos x="0" y="48"/>
                  </a:cxn>
                  <a:cxn ang="0">
                    <a:pos x="0" y="42"/>
                  </a:cxn>
                  <a:cxn ang="0">
                    <a:pos x="0" y="38"/>
                  </a:cxn>
                  <a:cxn ang="0">
                    <a:pos x="4" y="33"/>
                  </a:cxn>
                  <a:cxn ang="0">
                    <a:pos x="10" y="29"/>
                  </a:cxn>
                  <a:cxn ang="0">
                    <a:pos x="10" y="23"/>
                  </a:cxn>
                  <a:cxn ang="0">
                    <a:pos x="10" y="19"/>
                  </a:cxn>
                  <a:cxn ang="0">
                    <a:pos x="10" y="13"/>
                  </a:cxn>
                  <a:cxn ang="0">
                    <a:pos x="10" y="10"/>
                  </a:cxn>
                  <a:cxn ang="0">
                    <a:pos x="10" y="4"/>
                  </a:cxn>
                  <a:cxn ang="0">
                    <a:pos x="10" y="0"/>
                  </a:cxn>
                  <a:cxn ang="0">
                    <a:pos x="29" y="0"/>
                  </a:cxn>
                  <a:cxn ang="0">
                    <a:pos x="48" y="0"/>
                  </a:cxn>
                  <a:cxn ang="0">
                    <a:pos x="48" y="23"/>
                  </a:cxn>
                  <a:cxn ang="0">
                    <a:pos x="46" y="48"/>
                  </a:cxn>
                  <a:cxn ang="0">
                    <a:pos x="46" y="73"/>
                  </a:cxn>
                  <a:cxn ang="0">
                    <a:pos x="46" y="98"/>
                  </a:cxn>
                  <a:cxn ang="0">
                    <a:pos x="37" y="102"/>
                  </a:cxn>
                  <a:cxn ang="0">
                    <a:pos x="29" y="106"/>
                  </a:cxn>
                </a:cxnLst>
                <a:rect l="0" t="0" r="r" b="b"/>
                <a:pathLst>
                  <a:path w="48" h="106">
                    <a:moveTo>
                      <a:pt x="29" y="106"/>
                    </a:moveTo>
                    <a:lnTo>
                      <a:pt x="23" y="92"/>
                    </a:lnTo>
                    <a:lnTo>
                      <a:pt x="20" y="77"/>
                    </a:lnTo>
                    <a:lnTo>
                      <a:pt x="20" y="61"/>
                    </a:lnTo>
                    <a:lnTo>
                      <a:pt x="20" y="48"/>
                    </a:lnTo>
                    <a:lnTo>
                      <a:pt x="10" y="48"/>
                    </a:lnTo>
                    <a:lnTo>
                      <a:pt x="0" y="48"/>
                    </a:lnTo>
                    <a:lnTo>
                      <a:pt x="0" y="42"/>
                    </a:lnTo>
                    <a:lnTo>
                      <a:pt x="0" y="38"/>
                    </a:lnTo>
                    <a:lnTo>
                      <a:pt x="4" y="33"/>
                    </a:lnTo>
                    <a:lnTo>
                      <a:pt x="10" y="29"/>
                    </a:lnTo>
                    <a:lnTo>
                      <a:pt x="10" y="23"/>
                    </a:lnTo>
                    <a:lnTo>
                      <a:pt x="10" y="19"/>
                    </a:lnTo>
                    <a:lnTo>
                      <a:pt x="10" y="13"/>
                    </a:lnTo>
                    <a:lnTo>
                      <a:pt x="10" y="10"/>
                    </a:lnTo>
                    <a:lnTo>
                      <a:pt x="10" y="4"/>
                    </a:lnTo>
                    <a:lnTo>
                      <a:pt x="10" y="0"/>
                    </a:lnTo>
                    <a:lnTo>
                      <a:pt x="29" y="0"/>
                    </a:lnTo>
                    <a:lnTo>
                      <a:pt x="48" y="0"/>
                    </a:lnTo>
                    <a:lnTo>
                      <a:pt x="48" y="23"/>
                    </a:lnTo>
                    <a:lnTo>
                      <a:pt x="46" y="48"/>
                    </a:lnTo>
                    <a:lnTo>
                      <a:pt x="46" y="73"/>
                    </a:lnTo>
                    <a:lnTo>
                      <a:pt x="46" y="98"/>
                    </a:lnTo>
                    <a:lnTo>
                      <a:pt x="37" y="102"/>
                    </a:lnTo>
                    <a:lnTo>
                      <a:pt x="29" y="106"/>
                    </a:lnTo>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35" name="Freeform 34"/>
              <p:cNvSpPr>
                <a:spLocks/>
              </p:cNvSpPr>
              <p:nvPr/>
            </p:nvSpPr>
            <p:spPr bwMode="gray">
              <a:xfrm>
                <a:off x="930275" y="5892800"/>
                <a:ext cx="44450" cy="42863"/>
              </a:xfrm>
              <a:custGeom>
                <a:avLst/>
                <a:gdLst/>
                <a:ahLst/>
                <a:cxnLst>
                  <a:cxn ang="0">
                    <a:pos x="9" y="19"/>
                  </a:cxn>
                  <a:cxn ang="0">
                    <a:pos x="4" y="10"/>
                  </a:cxn>
                  <a:cxn ang="0">
                    <a:pos x="0" y="0"/>
                  </a:cxn>
                  <a:cxn ang="0">
                    <a:pos x="4" y="0"/>
                  </a:cxn>
                  <a:cxn ang="0">
                    <a:pos x="9" y="0"/>
                  </a:cxn>
                  <a:cxn ang="0">
                    <a:pos x="19" y="0"/>
                  </a:cxn>
                  <a:cxn ang="0">
                    <a:pos x="29" y="0"/>
                  </a:cxn>
                  <a:cxn ang="0">
                    <a:pos x="29" y="13"/>
                  </a:cxn>
                  <a:cxn ang="0">
                    <a:pos x="29" y="29"/>
                  </a:cxn>
                  <a:cxn ang="0">
                    <a:pos x="19" y="23"/>
                  </a:cxn>
                  <a:cxn ang="0">
                    <a:pos x="9" y="19"/>
                  </a:cxn>
                </a:cxnLst>
                <a:rect l="0" t="0" r="r" b="b"/>
                <a:pathLst>
                  <a:path w="29" h="29">
                    <a:moveTo>
                      <a:pt x="9" y="19"/>
                    </a:moveTo>
                    <a:lnTo>
                      <a:pt x="4" y="10"/>
                    </a:lnTo>
                    <a:lnTo>
                      <a:pt x="0" y="0"/>
                    </a:lnTo>
                    <a:lnTo>
                      <a:pt x="4" y="0"/>
                    </a:lnTo>
                    <a:lnTo>
                      <a:pt x="9" y="0"/>
                    </a:lnTo>
                    <a:lnTo>
                      <a:pt x="19" y="0"/>
                    </a:lnTo>
                    <a:lnTo>
                      <a:pt x="29" y="0"/>
                    </a:lnTo>
                    <a:lnTo>
                      <a:pt x="29" y="13"/>
                    </a:lnTo>
                    <a:lnTo>
                      <a:pt x="29" y="29"/>
                    </a:lnTo>
                    <a:lnTo>
                      <a:pt x="19" y="23"/>
                    </a:lnTo>
                    <a:lnTo>
                      <a:pt x="9" y="19"/>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grpSp>
        <p:sp>
          <p:nvSpPr>
            <p:cNvPr id="36" name="Freeform 305"/>
            <p:cNvSpPr>
              <a:spLocks/>
            </p:cNvSpPr>
            <p:nvPr>
              <p:custDataLst>
                <p:tags r:id="rId23"/>
              </p:custDataLst>
            </p:nvPr>
          </p:nvSpPr>
          <p:spPr bwMode="gray">
            <a:xfrm>
              <a:off x="838200" y="5421128"/>
              <a:ext cx="104775" cy="74613"/>
            </a:xfrm>
            <a:custGeom>
              <a:avLst/>
              <a:gdLst>
                <a:gd name="T0" fmla="*/ 2147483647 w 69"/>
                <a:gd name="T1" fmla="*/ 2147483647 h 48"/>
                <a:gd name="T2" fmla="*/ 2147483647 w 69"/>
                <a:gd name="T3" fmla="*/ 2147483647 h 48"/>
                <a:gd name="T4" fmla="*/ 2147483647 w 69"/>
                <a:gd name="T5" fmla="*/ 2147483647 h 48"/>
                <a:gd name="T6" fmla="*/ 2147483647 w 69"/>
                <a:gd name="T7" fmla="*/ 2147483647 h 48"/>
                <a:gd name="T8" fmla="*/ 0 w 69"/>
                <a:gd name="T9" fmla="*/ 2147483647 h 48"/>
                <a:gd name="T10" fmla="*/ 0 w 69"/>
                <a:gd name="T11" fmla="*/ 2147483647 h 48"/>
                <a:gd name="T12" fmla="*/ 0 w 69"/>
                <a:gd name="T13" fmla="*/ 2147483647 h 48"/>
                <a:gd name="T14" fmla="*/ 2147483647 w 69"/>
                <a:gd name="T15" fmla="*/ 2147483647 h 48"/>
                <a:gd name="T16" fmla="*/ 2147483647 w 69"/>
                <a:gd name="T17" fmla="*/ 2147483647 h 48"/>
                <a:gd name="T18" fmla="*/ 2147483647 w 69"/>
                <a:gd name="T19" fmla="*/ 2147483647 h 48"/>
                <a:gd name="T20" fmla="*/ 2147483647 w 69"/>
                <a:gd name="T21" fmla="*/ 0 h 48"/>
                <a:gd name="T22" fmla="*/ 2147483647 w 69"/>
                <a:gd name="T23" fmla="*/ 0 h 48"/>
                <a:gd name="T24" fmla="*/ 2147483647 w 69"/>
                <a:gd name="T25" fmla="*/ 0 h 48"/>
                <a:gd name="T26" fmla="*/ 2147483647 w 69"/>
                <a:gd name="T27" fmla="*/ 2147483647 h 48"/>
                <a:gd name="T28" fmla="*/ 2147483647 w 69"/>
                <a:gd name="T29" fmla="*/ 2147483647 h 48"/>
                <a:gd name="T30" fmla="*/ 2147483647 w 69"/>
                <a:gd name="T31" fmla="*/ 2147483647 h 48"/>
                <a:gd name="T32" fmla="*/ 2147483647 w 69"/>
                <a:gd name="T33" fmla="*/ 2147483647 h 48"/>
                <a:gd name="T34" fmla="*/ 2147483647 w 69"/>
                <a:gd name="T35" fmla="*/ 2147483647 h 48"/>
                <a:gd name="T36" fmla="*/ 2147483647 w 69"/>
                <a:gd name="T37" fmla="*/ 0 h 48"/>
                <a:gd name="T38" fmla="*/ 2147483647 w 69"/>
                <a:gd name="T39" fmla="*/ 0 h 48"/>
                <a:gd name="T40" fmla="*/ 2147483647 w 69"/>
                <a:gd name="T41" fmla="*/ 0 h 48"/>
                <a:gd name="T42" fmla="*/ 2147483647 w 69"/>
                <a:gd name="T43" fmla="*/ 2147483647 h 48"/>
                <a:gd name="T44" fmla="*/ 2147483647 w 69"/>
                <a:gd name="T45" fmla="*/ 2147483647 h 48"/>
                <a:gd name="T46" fmla="*/ 2147483647 w 69"/>
                <a:gd name="T47" fmla="*/ 2147483647 h 48"/>
                <a:gd name="T48" fmla="*/ 2147483647 w 69"/>
                <a:gd name="T49" fmla="*/ 2147483647 h 48"/>
                <a:gd name="T50" fmla="*/ 2147483647 w 69"/>
                <a:gd name="T51" fmla="*/ 2147483647 h 48"/>
                <a:gd name="T52" fmla="*/ 2147483647 w 69"/>
                <a:gd name="T53" fmla="*/ 2147483647 h 48"/>
                <a:gd name="T54" fmla="*/ 2147483647 w 69"/>
                <a:gd name="T55" fmla="*/ 2147483647 h 48"/>
                <a:gd name="T56" fmla="*/ 2147483647 w 69"/>
                <a:gd name="T57" fmla="*/ 2147483647 h 48"/>
                <a:gd name="T58" fmla="*/ 2147483647 w 69"/>
                <a:gd name="T59" fmla="*/ 2147483647 h 48"/>
                <a:gd name="T60" fmla="*/ 2147483647 w 69"/>
                <a:gd name="T61" fmla="*/ 2147483647 h 48"/>
                <a:gd name="T62" fmla="*/ 2147483647 w 69"/>
                <a:gd name="T63" fmla="*/ 2147483647 h 48"/>
                <a:gd name="T64" fmla="*/ 2147483647 w 69"/>
                <a:gd name="T65" fmla="*/ 2147483647 h 48"/>
                <a:gd name="T66" fmla="*/ 2147483647 w 69"/>
                <a:gd name="T67" fmla="*/ 2147483647 h 48"/>
                <a:gd name="T68" fmla="*/ 2147483647 w 69"/>
                <a:gd name="T69" fmla="*/ 2147483647 h 48"/>
                <a:gd name="T70" fmla="*/ 2147483647 w 69"/>
                <a:gd name="T71" fmla="*/ 2147483647 h 48"/>
                <a:gd name="T72" fmla="*/ 2147483647 w 69"/>
                <a:gd name="T73" fmla="*/ 2147483647 h 48"/>
                <a:gd name="T74" fmla="*/ 2147483647 w 69"/>
                <a:gd name="T75" fmla="*/ 2147483647 h 48"/>
                <a:gd name="T76" fmla="*/ 2147483647 w 69"/>
                <a:gd name="T77" fmla="*/ 2147483647 h 4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9"/>
                <a:gd name="T118" fmla="*/ 0 h 48"/>
                <a:gd name="T119" fmla="*/ 69 w 69"/>
                <a:gd name="T120" fmla="*/ 48 h 4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9" h="48">
                  <a:moveTo>
                    <a:pt x="21" y="48"/>
                  </a:moveTo>
                  <a:lnTo>
                    <a:pt x="16" y="43"/>
                  </a:lnTo>
                  <a:lnTo>
                    <a:pt x="12" y="39"/>
                  </a:lnTo>
                  <a:lnTo>
                    <a:pt x="6" y="33"/>
                  </a:lnTo>
                  <a:lnTo>
                    <a:pt x="0" y="29"/>
                  </a:lnTo>
                  <a:lnTo>
                    <a:pt x="0" y="20"/>
                  </a:lnTo>
                  <a:lnTo>
                    <a:pt x="0" y="10"/>
                  </a:lnTo>
                  <a:lnTo>
                    <a:pt x="6" y="10"/>
                  </a:lnTo>
                  <a:lnTo>
                    <a:pt x="12" y="10"/>
                  </a:lnTo>
                  <a:lnTo>
                    <a:pt x="16" y="4"/>
                  </a:lnTo>
                  <a:lnTo>
                    <a:pt x="21" y="0"/>
                  </a:lnTo>
                  <a:lnTo>
                    <a:pt x="25" y="0"/>
                  </a:lnTo>
                  <a:lnTo>
                    <a:pt x="29" y="0"/>
                  </a:lnTo>
                  <a:lnTo>
                    <a:pt x="31" y="6"/>
                  </a:lnTo>
                  <a:lnTo>
                    <a:pt x="33" y="8"/>
                  </a:lnTo>
                  <a:lnTo>
                    <a:pt x="39" y="10"/>
                  </a:lnTo>
                  <a:lnTo>
                    <a:pt x="50" y="10"/>
                  </a:lnTo>
                  <a:lnTo>
                    <a:pt x="50" y="4"/>
                  </a:lnTo>
                  <a:lnTo>
                    <a:pt x="50" y="0"/>
                  </a:lnTo>
                  <a:lnTo>
                    <a:pt x="54" y="0"/>
                  </a:lnTo>
                  <a:lnTo>
                    <a:pt x="60" y="0"/>
                  </a:lnTo>
                  <a:lnTo>
                    <a:pt x="64" y="4"/>
                  </a:lnTo>
                  <a:lnTo>
                    <a:pt x="69" y="10"/>
                  </a:lnTo>
                  <a:lnTo>
                    <a:pt x="69" y="14"/>
                  </a:lnTo>
                  <a:lnTo>
                    <a:pt x="69" y="20"/>
                  </a:lnTo>
                  <a:lnTo>
                    <a:pt x="69" y="23"/>
                  </a:lnTo>
                  <a:lnTo>
                    <a:pt x="69" y="29"/>
                  </a:lnTo>
                  <a:lnTo>
                    <a:pt x="69" y="33"/>
                  </a:lnTo>
                  <a:lnTo>
                    <a:pt x="69" y="39"/>
                  </a:lnTo>
                  <a:lnTo>
                    <a:pt x="69" y="43"/>
                  </a:lnTo>
                  <a:lnTo>
                    <a:pt x="69" y="48"/>
                  </a:lnTo>
                  <a:lnTo>
                    <a:pt x="64" y="48"/>
                  </a:lnTo>
                  <a:lnTo>
                    <a:pt x="60" y="48"/>
                  </a:lnTo>
                  <a:lnTo>
                    <a:pt x="54" y="48"/>
                  </a:lnTo>
                  <a:lnTo>
                    <a:pt x="50" y="48"/>
                  </a:lnTo>
                  <a:lnTo>
                    <a:pt x="39" y="48"/>
                  </a:lnTo>
                  <a:lnTo>
                    <a:pt x="29" y="48"/>
                  </a:lnTo>
                  <a:lnTo>
                    <a:pt x="25" y="48"/>
                  </a:lnTo>
                  <a:lnTo>
                    <a:pt x="21" y="48"/>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grpSp>
          <p:nvGrpSpPr>
            <p:cNvPr id="37" name="Group 175"/>
            <p:cNvGrpSpPr>
              <a:grpSpLocks/>
            </p:cNvGrpSpPr>
            <p:nvPr/>
          </p:nvGrpSpPr>
          <p:grpSpPr bwMode="gray">
            <a:xfrm>
              <a:off x="962025" y="5351278"/>
              <a:ext cx="250825" cy="473075"/>
              <a:chOff x="962025" y="5734050"/>
              <a:chExt cx="250825" cy="473075"/>
            </a:xfrm>
            <a:grpFill/>
          </p:grpSpPr>
          <p:sp>
            <p:nvSpPr>
              <p:cNvPr id="38" name="Freeform 37"/>
              <p:cNvSpPr>
                <a:spLocks/>
              </p:cNvSpPr>
              <p:nvPr/>
            </p:nvSpPr>
            <p:spPr bwMode="gray">
              <a:xfrm>
                <a:off x="962025" y="5878513"/>
                <a:ext cx="203200" cy="328612"/>
              </a:xfrm>
              <a:custGeom>
                <a:avLst/>
                <a:gdLst/>
                <a:ahLst/>
                <a:cxnLst>
                  <a:cxn ang="0">
                    <a:pos x="38" y="223"/>
                  </a:cxn>
                  <a:cxn ang="0">
                    <a:pos x="36" y="204"/>
                  </a:cxn>
                  <a:cxn ang="0">
                    <a:pos x="33" y="187"/>
                  </a:cxn>
                  <a:cxn ang="0">
                    <a:pos x="29" y="169"/>
                  </a:cxn>
                  <a:cxn ang="0">
                    <a:pos x="25" y="154"/>
                  </a:cxn>
                  <a:cxn ang="0">
                    <a:pos x="13" y="121"/>
                  </a:cxn>
                  <a:cxn ang="0">
                    <a:pos x="0" y="87"/>
                  </a:cxn>
                  <a:cxn ang="0">
                    <a:pos x="4" y="83"/>
                  </a:cxn>
                  <a:cxn ang="0">
                    <a:pos x="10" y="77"/>
                  </a:cxn>
                  <a:cxn ang="0">
                    <a:pos x="13" y="77"/>
                  </a:cxn>
                  <a:cxn ang="0">
                    <a:pos x="19" y="77"/>
                  </a:cxn>
                  <a:cxn ang="0">
                    <a:pos x="42" y="75"/>
                  </a:cxn>
                  <a:cxn ang="0">
                    <a:pos x="67" y="73"/>
                  </a:cxn>
                  <a:cxn ang="0">
                    <a:pos x="69" y="69"/>
                  </a:cxn>
                  <a:cxn ang="0">
                    <a:pos x="71" y="68"/>
                  </a:cxn>
                  <a:cxn ang="0">
                    <a:pos x="75" y="60"/>
                  </a:cxn>
                  <a:cxn ang="0">
                    <a:pos x="77" y="54"/>
                  </a:cxn>
                  <a:cxn ang="0">
                    <a:pos x="79" y="50"/>
                  </a:cxn>
                  <a:cxn ang="0">
                    <a:pos x="83" y="48"/>
                  </a:cxn>
                  <a:cxn ang="0">
                    <a:pos x="88" y="41"/>
                  </a:cxn>
                  <a:cxn ang="0">
                    <a:pos x="96" y="33"/>
                  </a:cxn>
                  <a:cxn ang="0">
                    <a:pos x="98" y="31"/>
                  </a:cxn>
                  <a:cxn ang="0">
                    <a:pos x="102" y="29"/>
                  </a:cxn>
                  <a:cxn ang="0">
                    <a:pos x="104" y="27"/>
                  </a:cxn>
                  <a:cxn ang="0">
                    <a:pos x="106" y="25"/>
                  </a:cxn>
                  <a:cxn ang="0">
                    <a:pos x="107" y="21"/>
                  </a:cxn>
                  <a:cxn ang="0">
                    <a:pos x="111" y="20"/>
                  </a:cxn>
                  <a:cxn ang="0">
                    <a:pos x="113" y="18"/>
                  </a:cxn>
                  <a:cxn ang="0">
                    <a:pos x="115" y="16"/>
                  </a:cxn>
                  <a:cxn ang="0">
                    <a:pos x="117" y="12"/>
                  </a:cxn>
                  <a:cxn ang="0">
                    <a:pos x="121" y="10"/>
                  </a:cxn>
                  <a:cxn ang="0">
                    <a:pos x="123" y="4"/>
                  </a:cxn>
                  <a:cxn ang="0">
                    <a:pos x="125" y="0"/>
                  </a:cxn>
                  <a:cxn ang="0">
                    <a:pos x="127" y="14"/>
                  </a:cxn>
                  <a:cxn ang="0">
                    <a:pos x="131" y="29"/>
                  </a:cxn>
                  <a:cxn ang="0">
                    <a:pos x="121" y="39"/>
                  </a:cxn>
                  <a:cxn ang="0">
                    <a:pos x="115" y="48"/>
                  </a:cxn>
                  <a:cxn ang="0">
                    <a:pos x="107" y="58"/>
                  </a:cxn>
                  <a:cxn ang="0">
                    <a:pos x="104" y="68"/>
                  </a:cxn>
                  <a:cxn ang="0">
                    <a:pos x="94" y="89"/>
                  </a:cxn>
                  <a:cxn ang="0">
                    <a:pos x="90" y="112"/>
                  </a:cxn>
                  <a:cxn ang="0">
                    <a:pos x="84" y="158"/>
                  </a:cxn>
                  <a:cxn ang="0">
                    <a:pos x="79" y="206"/>
                  </a:cxn>
                  <a:cxn ang="0">
                    <a:pos x="63" y="213"/>
                  </a:cxn>
                  <a:cxn ang="0">
                    <a:pos x="48" y="223"/>
                  </a:cxn>
                  <a:cxn ang="0">
                    <a:pos x="42" y="223"/>
                  </a:cxn>
                  <a:cxn ang="0">
                    <a:pos x="38" y="223"/>
                  </a:cxn>
                </a:cxnLst>
                <a:rect l="0" t="0" r="r" b="b"/>
                <a:pathLst>
                  <a:path w="131" h="223">
                    <a:moveTo>
                      <a:pt x="38" y="223"/>
                    </a:moveTo>
                    <a:lnTo>
                      <a:pt x="36" y="204"/>
                    </a:lnTo>
                    <a:lnTo>
                      <a:pt x="33" y="187"/>
                    </a:lnTo>
                    <a:lnTo>
                      <a:pt x="29" y="169"/>
                    </a:lnTo>
                    <a:lnTo>
                      <a:pt x="25" y="154"/>
                    </a:lnTo>
                    <a:lnTo>
                      <a:pt x="13" y="121"/>
                    </a:lnTo>
                    <a:lnTo>
                      <a:pt x="0" y="87"/>
                    </a:lnTo>
                    <a:lnTo>
                      <a:pt x="4" y="83"/>
                    </a:lnTo>
                    <a:lnTo>
                      <a:pt x="10" y="77"/>
                    </a:lnTo>
                    <a:lnTo>
                      <a:pt x="13" y="77"/>
                    </a:lnTo>
                    <a:lnTo>
                      <a:pt x="19" y="77"/>
                    </a:lnTo>
                    <a:lnTo>
                      <a:pt x="42" y="75"/>
                    </a:lnTo>
                    <a:lnTo>
                      <a:pt x="67" y="73"/>
                    </a:lnTo>
                    <a:lnTo>
                      <a:pt x="69" y="69"/>
                    </a:lnTo>
                    <a:lnTo>
                      <a:pt x="71" y="68"/>
                    </a:lnTo>
                    <a:lnTo>
                      <a:pt x="75" y="60"/>
                    </a:lnTo>
                    <a:lnTo>
                      <a:pt x="77" y="54"/>
                    </a:lnTo>
                    <a:lnTo>
                      <a:pt x="79" y="50"/>
                    </a:lnTo>
                    <a:lnTo>
                      <a:pt x="83" y="48"/>
                    </a:lnTo>
                    <a:lnTo>
                      <a:pt x="88" y="41"/>
                    </a:lnTo>
                    <a:lnTo>
                      <a:pt x="96" y="33"/>
                    </a:lnTo>
                    <a:lnTo>
                      <a:pt x="98" y="31"/>
                    </a:lnTo>
                    <a:lnTo>
                      <a:pt x="102" y="29"/>
                    </a:lnTo>
                    <a:lnTo>
                      <a:pt x="104" y="27"/>
                    </a:lnTo>
                    <a:lnTo>
                      <a:pt x="106" y="25"/>
                    </a:lnTo>
                    <a:lnTo>
                      <a:pt x="107" y="21"/>
                    </a:lnTo>
                    <a:lnTo>
                      <a:pt x="111" y="20"/>
                    </a:lnTo>
                    <a:lnTo>
                      <a:pt x="113" y="18"/>
                    </a:lnTo>
                    <a:lnTo>
                      <a:pt x="115" y="16"/>
                    </a:lnTo>
                    <a:lnTo>
                      <a:pt x="117" y="12"/>
                    </a:lnTo>
                    <a:lnTo>
                      <a:pt x="121" y="10"/>
                    </a:lnTo>
                    <a:lnTo>
                      <a:pt x="123" y="4"/>
                    </a:lnTo>
                    <a:lnTo>
                      <a:pt x="125" y="0"/>
                    </a:lnTo>
                    <a:lnTo>
                      <a:pt x="127" y="14"/>
                    </a:lnTo>
                    <a:lnTo>
                      <a:pt x="131" y="29"/>
                    </a:lnTo>
                    <a:lnTo>
                      <a:pt x="121" y="39"/>
                    </a:lnTo>
                    <a:lnTo>
                      <a:pt x="115" y="48"/>
                    </a:lnTo>
                    <a:lnTo>
                      <a:pt x="107" y="58"/>
                    </a:lnTo>
                    <a:lnTo>
                      <a:pt x="104" y="68"/>
                    </a:lnTo>
                    <a:lnTo>
                      <a:pt x="94" y="89"/>
                    </a:lnTo>
                    <a:lnTo>
                      <a:pt x="90" y="112"/>
                    </a:lnTo>
                    <a:lnTo>
                      <a:pt x="84" y="158"/>
                    </a:lnTo>
                    <a:lnTo>
                      <a:pt x="79" y="206"/>
                    </a:lnTo>
                    <a:lnTo>
                      <a:pt x="63" y="213"/>
                    </a:lnTo>
                    <a:lnTo>
                      <a:pt x="48" y="223"/>
                    </a:lnTo>
                    <a:lnTo>
                      <a:pt x="42" y="223"/>
                    </a:lnTo>
                    <a:lnTo>
                      <a:pt x="38" y="223"/>
                    </a:lnTo>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39" name="Freeform 38"/>
              <p:cNvSpPr>
                <a:spLocks/>
              </p:cNvSpPr>
              <p:nvPr/>
            </p:nvSpPr>
            <p:spPr bwMode="gray">
              <a:xfrm>
                <a:off x="1079500" y="5734050"/>
                <a:ext cx="133350" cy="127000"/>
              </a:xfrm>
              <a:custGeom>
                <a:avLst/>
                <a:gdLst/>
                <a:ahLst/>
                <a:cxnLst>
                  <a:cxn ang="0">
                    <a:pos x="25" y="87"/>
                  </a:cxn>
                  <a:cxn ang="0">
                    <a:pos x="21" y="85"/>
                  </a:cxn>
                  <a:cxn ang="0">
                    <a:pos x="19" y="81"/>
                  </a:cxn>
                  <a:cxn ang="0">
                    <a:pos x="17" y="73"/>
                  </a:cxn>
                  <a:cxn ang="0">
                    <a:pos x="15" y="68"/>
                  </a:cxn>
                  <a:cxn ang="0">
                    <a:pos x="11" y="64"/>
                  </a:cxn>
                  <a:cxn ang="0">
                    <a:pos x="9" y="62"/>
                  </a:cxn>
                  <a:cxn ang="0">
                    <a:pos x="7" y="60"/>
                  </a:cxn>
                  <a:cxn ang="0">
                    <a:pos x="6" y="58"/>
                  </a:cxn>
                  <a:cxn ang="0">
                    <a:pos x="2" y="54"/>
                  </a:cxn>
                  <a:cxn ang="0">
                    <a:pos x="0" y="52"/>
                  </a:cxn>
                  <a:cxn ang="0">
                    <a:pos x="4" y="43"/>
                  </a:cxn>
                  <a:cxn ang="0">
                    <a:pos x="9" y="33"/>
                  </a:cxn>
                  <a:cxn ang="0">
                    <a:pos x="11" y="31"/>
                  </a:cxn>
                  <a:cxn ang="0">
                    <a:pos x="15" y="29"/>
                  </a:cxn>
                  <a:cxn ang="0">
                    <a:pos x="15" y="23"/>
                  </a:cxn>
                  <a:cxn ang="0">
                    <a:pos x="15" y="18"/>
                  </a:cxn>
                  <a:cxn ang="0">
                    <a:pos x="11" y="16"/>
                  </a:cxn>
                  <a:cxn ang="0">
                    <a:pos x="9" y="14"/>
                  </a:cxn>
                  <a:cxn ang="0">
                    <a:pos x="9" y="10"/>
                  </a:cxn>
                  <a:cxn ang="0">
                    <a:pos x="15" y="8"/>
                  </a:cxn>
                  <a:cxn ang="0">
                    <a:pos x="27" y="6"/>
                  </a:cxn>
                  <a:cxn ang="0">
                    <a:pos x="48" y="4"/>
                  </a:cxn>
                  <a:cxn ang="0">
                    <a:pos x="50" y="2"/>
                  </a:cxn>
                  <a:cxn ang="0">
                    <a:pos x="54" y="0"/>
                  </a:cxn>
                  <a:cxn ang="0">
                    <a:pos x="55" y="2"/>
                  </a:cxn>
                  <a:cxn ang="0">
                    <a:pos x="57" y="4"/>
                  </a:cxn>
                  <a:cxn ang="0">
                    <a:pos x="61" y="6"/>
                  </a:cxn>
                  <a:cxn ang="0">
                    <a:pos x="63" y="8"/>
                  </a:cxn>
                  <a:cxn ang="0">
                    <a:pos x="65" y="12"/>
                  </a:cxn>
                  <a:cxn ang="0">
                    <a:pos x="67" y="14"/>
                  </a:cxn>
                  <a:cxn ang="0">
                    <a:pos x="75" y="16"/>
                  </a:cxn>
                  <a:cxn ang="0">
                    <a:pos x="82" y="18"/>
                  </a:cxn>
                  <a:cxn ang="0">
                    <a:pos x="84" y="22"/>
                  </a:cxn>
                  <a:cxn ang="0">
                    <a:pos x="86" y="23"/>
                  </a:cxn>
                  <a:cxn ang="0">
                    <a:pos x="86" y="25"/>
                  </a:cxn>
                  <a:cxn ang="0">
                    <a:pos x="86" y="29"/>
                  </a:cxn>
                  <a:cxn ang="0">
                    <a:pos x="77" y="33"/>
                  </a:cxn>
                  <a:cxn ang="0">
                    <a:pos x="67" y="37"/>
                  </a:cxn>
                  <a:cxn ang="0">
                    <a:pos x="61" y="41"/>
                  </a:cxn>
                  <a:cxn ang="0">
                    <a:pos x="55" y="46"/>
                  </a:cxn>
                  <a:cxn ang="0">
                    <a:pos x="52" y="64"/>
                  </a:cxn>
                  <a:cxn ang="0">
                    <a:pos x="48" y="87"/>
                  </a:cxn>
                  <a:cxn ang="0">
                    <a:pos x="36" y="87"/>
                  </a:cxn>
                  <a:cxn ang="0">
                    <a:pos x="25" y="87"/>
                  </a:cxn>
                </a:cxnLst>
                <a:rect l="0" t="0" r="r" b="b"/>
                <a:pathLst>
                  <a:path w="86" h="87">
                    <a:moveTo>
                      <a:pt x="25" y="87"/>
                    </a:moveTo>
                    <a:lnTo>
                      <a:pt x="21" y="85"/>
                    </a:lnTo>
                    <a:lnTo>
                      <a:pt x="19" y="81"/>
                    </a:lnTo>
                    <a:lnTo>
                      <a:pt x="17" y="73"/>
                    </a:lnTo>
                    <a:lnTo>
                      <a:pt x="15" y="68"/>
                    </a:lnTo>
                    <a:lnTo>
                      <a:pt x="11" y="64"/>
                    </a:lnTo>
                    <a:lnTo>
                      <a:pt x="9" y="62"/>
                    </a:lnTo>
                    <a:lnTo>
                      <a:pt x="7" y="60"/>
                    </a:lnTo>
                    <a:lnTo>
                      <a:pt x="6" y="58"/>
                    </a:lnTo>
                    <a:lnTo>
                      <a:pt x="2" y="54"/>
                    </a:lnTo>
                    <a:lnTo>
                      <a:pt x="0" y="52"/>
                    </a:lnTo>
                    <a:lnTo>
                      <a:pt x="4" y="43"/>
                    </a:lnTo>
                    <a:lnTo>
                      <a:pt x="9" y="33"/>
                    </a:lnTo>
                    <a:lnTo>
                      <a:pt x="11" y="31"/>
                    </a:lnTo>
                    <a:lnTo>
                      <a:pt x="15" y="29"/>
                    </a:lnTo>
                    <a:lnTo>
                      <a:pt x="15" y="23"/>
                    </a:lnTo>
                    <a:lnTo>
                      <a:pt x="15" y="18"/>
                    </a:lnTo>
                    <a:lnTo>
                      <a:pt x="11" y="16"/>
                    </a:lnTo>
                    <a:lnTo>
                      <a:pt x="9" y="14"/>
                    </a:lnTo>
                    <a:lnTo>
                      <a:pt x="9" y="10"/>
                    </a:lnTo>
                    <a:lnTo>
                      <a:pt x="15" y="8"/>
                    </a:lnTo>
                    <a:lnTo>
                      <a:pt x="27" y="6"/>
                    </a:lnTo>
                    <a:lnTo>
                      <a:pt x="48" y="4"/>
                    </a:lnTo>
                    <a:lnTo>
                      <a:pt x="50" y="2"/>
                    </a:lnTo>
                    <a:lnTo>
                      <a:pt x="54" y="0"/>
                    </a:lnTo>
                    <a:lnTo>
                      <a:pt x="55" y="2"/>
                    </a:lnTo>
                    <a:lnTo>
                      <a:pt x="57" y="4"/>
                    </a:lnTo>
                    <a:lnTo>
                      <a:pt x="61" y="6"/>
                    </a:lnTo>
                    <a:lnTo>
                      <a:pt x="63" y="8"/>
                    </a:lnTo>
                    <a:lnTo>
                      <a:pt x="65" y="12"/>
                    </a:lnTo>
                    <a:lnTo>
                      <a:pt x="67" y="14"/>
                    </a:lnTo>
                    <a:lnTo>
                      <a:pt x="75" y="16"/>
                    </a:lnTo>
                    <a:lnTo>
                      <a:pt x="82" y="18"/>
                    </a:lnTo>
                    <a:lnTo>
                      <a:pt x="84" y="22"/>
                    </a:lnTo>
                    <a:lnTo>
                      <a:pt x="86" y="23"/>
                    </a:lnTo>
                    <a:lnTo>
                      <a:pt x="86" y="25"/>
                    </a:lnTo>
                    <a:lnTo>
                      <a:pt x="86" y="29"/>
                    </a:lnTo>
                    <a:lnTo>
                      <a:pt x="77" y="33"/>
                    </a:lnTo>
                    <a:lnTo>
                      <a:pt x="67" y="37"/>
                    </a:lnTo>
                    <a:lnTo>
                      <a:pt x="61" y="41"/>
                    </a:lnTo>
                    <a:lnTo>
                      <a:pt x="55" y="46"/>
                    </a:lnTo>
                    <a:lnTo>
                      <a:pt x="52" y="64"/>
                    </a:lnTo>
                    <a:lnTo>
                      <a:pt x="48" y="87"/>
                    </a:lnTo>
                    <a:lnTo>
                      <a:pt x="36" y="87"/>
                    </a:lnTo>
                    <a:lnTo>
                      <a:pt x="25" y="87"/>
                    </a:lnTo>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grpSp>
        <p:sp>
          <p:nvSpPr>
            <p:cNvPr id="40" name="Freeform 307"/>
            <p:cNvSpPr>
              <a:spLocks/>
            </p:cNvSpPr>
            <p:nvPr>
              <p:custDataLst>
                <p:tags r:id="rId24"/>
              </p:custDataLst>
            </p:nvPr>
          </p:nvSpPr>
          <p:spPr bwMode="gray">
            <a:xfrm>
              <a:off x="779463" y="5305241"/>
              <a:ext cx="225425" cy="131762"/>
            </a:xfrm>
            <a:custGeom>
              <a:avLst/>
              <a:gdLst>
                <a:gd name="T0" fmla="*/ 0 w 146"/>
                <a:gd name="T1" fmla="*/ 2147483647 h 88"/>
                <a:gd name="T2" fmla="*/ 2147483647 w 146"/>
                <a:gd name="T3" fmla="*/ 2147483647 h 88"/>
                <a:gd name="T4" fmla="*/ 2147483647 w 146"/>
                <a:gd name="T5" fmla="*/ 2147483647 h 88"/>
                <a:gd name="T6" fmla="*/ 2147483647 w 146"/>
                <a:gd name="T7" fmla="*/ 2147483647 h 88"/>
                <a:gd name="T8" fmla="*/ 2147483647 w 146"/>
                <a:gd name="T9" fmla="*/ 0 h 88"/>
                <a:gd name="T10" fmla="*/ 2147483647 w 146"/>
                <a:gd name="T11" fmla="*/ 2147483647 h 88"/>
                <a:gd name="T12" fmla="*/ 2147483647 w 146"/>
                <a:gd name="T13" fmla="*/ 2147483647 h 88"/>
                <a:gd name="T14" fmla="*/ 2147483647 w 146"/>
                <a:gd name="T15" fmla="*/ 2147483647 h 88"/>
                <a:gd name="T16" fmla="*/ 2147483647 w 146"/>
                <a:gd name="T17" fmla="*/ 2147483647 h 88"/>
                <a:gd name="T18" fmla="*/ 2147483647 w 146"/>
                <a:gd name="T19" fmla="*/ 2147483647 h 88"/>
                <a:gd name="T20" fmla="*/ 2147483647 w 146"/>
                <a:gd name="T21" fmla="*/ 2147483647 h 88"/>
                <a:gd name="T22" fmla="*/ 2147483647 w 146"/>
                <a:gd name="T23" fmla="*/ 2147483647 h 88"/>
                <a:gd name="T24" fmla="*/ 2147483647 w 146"/>
                <a:gd name="T25" fmla="*/ 2147483647 h 88"/>
                <a:gd name="T26" fmla="*/ 2147483647 w 146"/>
                <a:gd name="T27" fmla="*/ 2147483647 h 88"/>
                <a:gd name="T28" fmla="*/ 2147483647 w 146"/>
                <a:gd name="T29" fmla="*/ 2147483647 h 88"/>
                <a:gd name="T30" fmla="*/ 2147483647 w 146"/>
                <a:gd name="T31" fmla="*/ 2147483647 h 88"/>
                <a:gd name="T32" fmla="*/ 2147483647 w 146"/>
                <a:gd name="T33" fmla="*/ 2147483647 h 88"/>
                <a:gd name="T34" fmla="*/ 2147483647 w 146"/>
                <a:gd name="T35" fmla="*/ 2147483647 h 88"/>
                <a:gd name="T36" fmla="*/ 2147483647 w 146"/>
                <a:gd name="T37" fmla="*/ 2147483647 h 88"/>
                <a:gd name="T38" fmla="*/ 2147483647 w 146"/>
                <a:gd name="T39" fmla="*/ 2147483647 h 88"/>
                <a:gd name="T40" fmla="*/ 2147483647 w 146"/>
                <a:gd name="T41" fmla="*/ 2147483647 h 88"/>
                <a:gd name="T42" fmla="*/ 2147483647 w 146"/>
                <a:gd name="T43" fmla="*/ 2147483647 h 88"/>
                <a:gd name="T44" fmla="*/ 2147483647 w 146"/>
                <a:gd name="T45" fmla="*/ 2147483647 h 88"/>
                <a:gd name="T46" fmla="*/ 2147483647 w 146"/>
                <a:gd name="T47" fmla="*/ 2147483647 h 88"/>
                <a:gd name="T48" fmla="*/ 2147483647 w 146"/>
                <a:gd name="T49" fmla="*/ 2147483647 h 88"/>
                <a:gd name="T50" fmla="*/ 2147483647 w 146"/>
                <a:gd name="T51" fmla="*/ 2147483647 h 88"/>
                <a:gd name="T52" fmla="*/ 2147483647 w 146"/>
                <a:gd name="T53" fmla="*/ 2147483647 h 88"/>
                <a:gd name="T54" fmla="*/ 2147483647 w 146"/>
                <a:gd name="T55" fmla="*/ 2147483647 h 88"/>
                <a:gd name="T56" fmla="*/ 2147483647 w 146"/>
                <a:gd name="T57" fmla="*/ 2147483647 h 88"/>
                <a:gd name="T58" fmla="*/ 2147483647 w 146"/>
                <a:gd name="T59" fmla="*/ 2147483647 h 88"/>
                <a:gd name="T60" fmla="*/ 2147483647 w 146"/>
                <a:gd name="T61" fmla="*/ 2147483647 h 88"/>
                <a:gd name="T62" fmla="*/ 2147483647 w 146"/>
                <a:gd name="T63" fmla="*/ 2147483647 h 8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88"/>
                <a:gd name="T98" fmla="*/ 146 w 146"/>
                <a:gd name="T99" fmla="*/ 88 h 8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88">
                  <a:moveTo>
                    <a:pt x="0" y="30"/>
                  </a:moveTo>
                  <a:lnTo>
                    <a:pt x="0" y="25"/>
                  </a:lnTo>
                  <a:lnTo>
                    <a:pt x="0" y="19"/>
                  </a:lnTo>
                  <a:lnTo>
                    <a:pt x="6" y="15"/>
                  </a:lnTo>
                  <a:lnTo>
                    <a:pt x="10" y="9"/>
                  </a:lnTo>
                  <a:lnTo>
                    <a:pt x="19" y="7"/>
                  </a:lnTo>
                  <a:lnTo>
                    <a:pt x="29" y="6"/>
                  </a:lnTo>
                  <a:lnTo>
                    <a:pt x="33" y="4"/>
                  </a:lnTo>
                  <a:lnTo>
                    <a:pt x="35" y="0"/>
                  </a:lnTo>
                  <a:lnTo>
                    <a:pt x="38" y="0"/>
                  </a:lnTo>
                  <a:lnTo>
                    <a:pt x="44" y="0"/>
                  </a:lnTo>
                  <a:lnTo>
                    <a:pt x="46" y="4"/>
                  </a:lnTo>
                  <a:lnTo>
                    <a:pt x="50" y="6"/>
                  </a:lnTo>
                  <a:lnTo>
                    <a:pt x="56" y="7"/>
                  </a:lnTo>
                  <a:lnTo>
                    <a:pt x="63" y="9"/>
                  </a:lnTo>
                  <a:lnTo>
                    <a:pt x="65" y="13"/>
                  </a:lnTo>
                  <a:lnTo>
                    <a:pt x="67" y="15"/>
                  </a:lnTo>
                  <a:lnTo>
                    <a:pt x="71" y="17"/>
                  </a:lnTo>
                  <a:lnTo>
                    <a:pt x="73" y="19"/>
                  </a:lnTo>
                  <a:lnTo>
                    <a:pt x="75" y="23"/>
                  </a:lnTo>
                  <a:lnTo>
                    <a:pt x="79" y="25"/>
                  </a:lnTo>
                  <a:lnTo>
                    <a:pt x="94" y="27"/>
                  </a:lnTo>
                  <a:lnTo>
                    <a:pt x="111" y="30"/>
                  </a:lnTo>
                  <a:lnTo>
                    <a:pt x="113" y="32"/>
                  </a:lnTo>
                  <a:lnTo>
                    <a:pt x="117" y="34"/>
                  </a:lnTo>
                  <a:lnTo>
                    <a:pt x="119" y="36"/>
                  </a:lnTo>
                  <a:lnTo>
                    <a:pt x="121" y="38"/>
                  </a:lnTo>
                  <a:lnTo>
                    <a:pt x="123" y="42"/>
                  </a:lnTo>
                  <a:lnTo>
                    <a:pt x="127" y="44"/>
                  </a:lnTo>
                  <a:lnTo>
                    <a:pt x="123" y="46"/>
                  </a:lnTo>
                  <a:lnTo>
                    <a:pt x="121" y="48"/>
                  </a:lnTo>
                  <a:lnTo>
                    <a:pt x="121" y="53"/>
                  </a:lnTo>
                  <a:lnTo>
                    <a:pt x="121" y="59"/>
                  </a:lnTo>
                  <a:lnTo>
                    <a:pt x="123" y="61"/>
                  </a:lnTo>
                  <a:lnTo>
                    <a:pt x="127" y="63"/>
                  </a:lnTo>
                  <a:lnTo>
                    <a:pt x="132" y="65"/>
                  </a:lnTo>
                  <a:lnTo>
                    <a:pt x="140" y="69"/>
                  </a:lnTo>
                  <a:lnTo>
                    <a:pt x="144" y="71"/>
                  </a:lnTo>
                  <a:lnTo>
                    <a:pt x="146" y="73"/>
                  </a:lnTo>
                  <a:lnTo>
                    <a:pt x="134" y="75"/>
                  </a:lnTo>
                  <a:lnTo>
                    <a:pt x="121" y="78"/>
                  </a:lnTo>
                  <a:lnTo>
                    <a:pt x="119" y="75"/>
                  </a:lnTo>
                  <a:lnTo>
                    <a:pt x="117" y="73"/>
                  </a:lnTo>
                  <a:lnTo>
                    <a:pt x="111" y="75"/>
                  </a:lnTo>
                  <a:lnTo>
                    <a:pt x="107" y="78"/>
                  </a:lnTo>
                  <a:lnTo>
                    <a:pt x="102" y="78"/>
                  </a:lnTo>
                  <a:lnTo>
                    <a:pt x="98" y="78"/>
                  </a:lnTo>
                  <a:lnTo>
                    <a:pt x="92" y="75"/>
                  </a:lnTo>
                  <a:lnTo>
                    <a:pt x="90" y="75"/>
                  </a:lnTo>
                  <a:lnTo>
                    <a:pt x="88" y="75"/>
                  </a:lnTo>
                  <a:lnTo>
                    <a:pt x="88" y="78"/>
                  </a:lnTo>
                  <a:lnTo>
                    <a:pt x="77" y="78"/>
                  </a:lnTo>
                  <a:lnTo>
                    <a:pt x="67" y="78"/>
                  </a:lnTo>
                  <a:lnTo>
                    <a:pt x="63" y="75"/>
                  </a:lnTo>
                  <a:lnTo>
                    <a:pt x="61" y="75"/>
                  </a:lnTo>
                  <a:lnTo>
                    <a:pt x="59" y="75"/>
                  </a:lnTo>
                  <a:lnTo>
                    <a:pt x="59" y="78"/>
                  </a:lnTo>
                  <a:lnTo>
                    <a:pt x="54" y="78"/>
                  </a:lnTo>
                  <a:lnTo>
                    <a:pt x="50" y="78"/>
                  </a:lnTo>
                  <a:lnTo>
                    <a:pt x="44" y="82"/>
                  </a:lnTo>
                  <a:lnTo>
                    <a:pt x="38" y="88"/>
                  </a:lnTo>
                  <a:lnTo>
                    <a:pt x="23" y="57"/>
                  </a:lnTo>
                  <a:lnTo>
                    <a:pt x="15" y="42"/>
                  </a:lnTo>
                  <a:lnTo>
                    <a:pt x="8" y="34"/>
                  </a:lnTo>
                  <a:lnTo>
                    <a:pt x="0" y="30"/>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41" name="Freeform 308"/>
            <p:cNvSpPr>
              <a:spLocks/>
            </p:cNvSpPr>
            <p:nvPr>
              <p:custDataLst>
                <p:tags r:id="rId25"/>
              </p:custDataLst>
            </p:nvPr>
          </p:nvSpPr>
          <p:spPr bwMode="gray">
            <a:xfrm>
              <a:off x="1335088" y="4957578"/>
              <a:ext cx="180975" cy="371475"/>
            </a:xfrm>
            <a:custGeom>
              <a:avLst/>
              <a:gdLst>
                <a:gd name="T0" fmla="*/ 0 w 115"/>
                <a:gd name="T1" fmla="*/ 2147483647 h 251"/>
                <a:gd name="T2" fmla="*/ 2147483647 w 115"/>
                <a:gd name="T3" fmla="*/ 2147483647 h 251"/>
                <a:gd name="T4" fmla="*/ 2147483647 w 115"/>
                <a:gd name="T5" fmla="*/ 2147483647 h 251"/>
                <a:gd name="T6" fmla="*/ 2147483647 w 115"/>
                <a:gd name="T7" fmla="*/ 2147483647 h 251"/>
                <a:gd name="T8" fmla="*/ 2147483647 w 115"/>
                <a:gd name="T9" fmla="*/ 2147483647 h 251"/>
                <a:gd name="T10" fmla="*/ 2147483647 w 115"/>
                <a:gd name="T11" fmla="*/ 2147483647 h 251"/>
                <a:gd name="T12" fmla="*/ 2147483647 w 115"/>
                <a:gd name="T13" fmla="*/ 2147483647 h 251"/>
                <a:gd name="T14" fmla="*/ 2147483647 w 115"/>
                <a:gd name="T15" fmla="*/ 2147483647 h 251"/>
                <a:gd name="T16" fmla="*/ 2147483647 w 115"/>
                <a:gd name="T17" fmla="*/ 2147483647 h 251"/>
                <a:gd name="T18" fmla="*/ 2147483647 w 115"/>
                <a:gd name="T19" fmla="*/ 2147483647 h 251"/>
                <a:gd name="T20" fmla="*/ 2147483647 w 115"/>
                <a:gd name="T21" fmla="*/ 2147483647 h 251"/>
                <a:gd name="T22" fmla="*/ 2147483647 w 115"/>
                <a:gd name="T23" fmla="*/ 2147483647 h 251"/>
                <a:gd name="T24" fmla="*/ 2147483647 w 115"/>
                <a:gd name="T25" fmla="*/ 2147483647 h 251"/>
                <a:gd name="T26" fmla="*/ 2147483647 w 115"/>
                <a:gd name="T27" fmla="*/ 2147483647 h 251"/>
                <a:gd name="T28" fmla="*/ 2147483647 w 115"/>
                <a:gd name="T29" fmla="*/ 2147483647 h 251"/>
                <a:gd name="T30" fmla="*/ 2147483647 w 115"/>
                <a:gd name="T31" fmla="*/ 2147483647 h 251"/>
                <a:gd name="T32" fmla="*/ 2147483647 w 115"/>
                <a:gd name="T33" fmla="*/ 2147483647 h 251"/>
                <a:gd name="T34" fmla="*/ 2147483647 w 115"/>
                <a:gd name="T35" fmla="*/ 2147483647 h 251"/>
                <a:gd name="T36" fmla="*/ 2147483647 w 115"/>
                <a:gd name="T37" fmla="*/ 2147483647 h 251"/>
                <a:gd name="T38" fmla="*/ 2147483647 w 115"/>
                <a:gd name="T39" fmla="*/ 2147483647 h 251"/>
                <a:gd name="T40" fmla="*/ 2147483647 w 115"/>
                <a:gd name="T41" fmla="*/ 2147483647 h 251"/>
                <a:gd name="T42" fmla="*/ 2147483647 w 115"/>
                <a:gd name="T43" fmla="*/ 2147483647 h 251"/>
                <a:gd name="T44" fmla="*/ 2147483647 w 115"/>
                <a:gd name="T45" fmla="*/ 2147483647 h 251"/>
                <a:gd name="T46" fmla="*/ 2147483647 w 115"/>
                <a:gd name="T47" fmla="*/ 2147483647 h 251"/>
                <a:gd name="T48" fmla="*/ 2147483647 w 115"/>
                <a:gd name="T49" fmla="*/ 2147483647 h 251"/>
                <a:gd name="T50" fmla="*/ 2147483647 w 115"/>
                <a:gd name="T51" fmla="*/ 0 h 251"/>
                <a:gd name="T52" fmla="*/ 2147483647 w 115"/>
                <a:gd name="T53" fmla="*/ 2147483647 h 251"/>
                <a:gd name="T54" fmla="*/ 2147483647 w 115"/>
                <a:gd name="T55" fmla="*/ 2147483647 h 251"/>
                <a:gd name="T56" fmla="*/ 2147483647 w 115"/>
                <a:gd name="T57" fmla="*/ 2147483647 h 251"/>
                <a:gd name="T58" fmla="*/ 2147483647 w 115"/>
                <a:gd name="T59" fmla="*/ 2147483647 h 251"/>
                <a:gd name="T60" fmla="*/ 2147483647 w 115"/>
                <a:gd name="T61" fmla="*/ 2147483647 h 251"/>
                <a:gd name="T62" fmla="*/ 2147483647 w 115"/>
                <a:gd name="T63" fmla="*/ 2147483647 h 251"/>
                <a:gd name="T64" fmla="*/ 2147483647 w 115"/>
                <a:gd name="T65" fmla="*/ 2147483647 h 251"/>
                <a:gd name="T66" fmla="*/ 2147483647 w 115"/>
                <a:gd name="T67" fmla="*/ 2147483647 h 251"/>
                <a:gd name="T68" fmla="*/ 2147483647 w 115"/>
                <a:gd name="T69" fmla="*/ 2147483647 h 251"/>
                <a:gd name="T70" fmla="*/ 2147483647 w 115"/>
                <a:gd name="T71" fmla="*/ 2147483647 h 251"/>
                <a:gd name="T72" fmla="*/ 2147483647 w 115"/>
                <a:gd name="T73" fmla="*/ 2147483647 h 25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5"/>
                <a:gd name="T112" fmla="*/ 0 h 251"/>
                <a:gd name="T113" fmla="*/ 115 w 115"/>
                <a:gd name="T114" fmla="*/ 251 h 25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5" h="251">
                  <a:moveTo>
                    <a:pt x="0" y="241"/>
                  </a:moveTo>
                  <a:lnTo>
                    <a:pt x="0" y="239"/>
                  </a:lnTo>
                  <a:lnTo>
                    <a:pt x="0" y="238"/>
                  </a:lnTo>
                  <a:lnTo>
                    <a:pt x="2" y="236"/>
                  </a:lnTo>
                  <a:lnTo>
                    <a:pt x="4" y="232"/>
                  </a:lnTo>
                  <a:lnTo>
                    <a:pt x="7" y="230"/>
                  </a:lnTo>
                  <a:lnTo>
                    <a:pt x="9" y="228"/>
                  </a:lnTo>
                  <a:lnTo>
                    <a:pt x="11" y="226"/>
                  </a:lnTo>
                  <a:lnTo>
                    <a:pt x="13" y="222"/>
                  </a:lnTo>
                  <a:lnTo>
                    <a:pt x="13" y="218"/>
                  </a:lnTo>
                  <a:lnTo>
                    <a:pt x="13" y="213"/>
                  </a:lnTo>
                  <a:lnTo>
                    <a:pt x="11" y="211"/>
                  </a:lnTo>
                  <a:lnTo>
                    <a:pt x="9" y="209"/>
                  </a:lnTo>
                  <a:lnTo>
                    <a:pt x="9" y="201"/>
                  </a:lnTo>
                  <a:lnTo>
                    <a:pt x="9" y="193"/>
                  </a:lnTo>
                  <a:lnTo>
                    <a:pt x="23" y="191"/>
                  </a:lnTo>
                  <a:lnTo>
                    <a:pt x="38" y="190"/>
                  </a:lnTo>
                  <a:lnTo>
                    <a:pt x="40" y="186"/>
                  </a:lnTo>
                  <a:lnTo>
                    <a:pt x="44" y="184"/>
                  </a:lnTo>
                  <a:lnTo>
                    <a:pt x="46" y="182"/>
                  </a:lnTo>
                  <a:lnTo>
                    <a:pt x="48" y="180"/>
                  </a:lnTo>
                  <a:lnTo>
                    <a:pt x="50" y="176"/>
                  </a:lnTo>
                  <a:lnTo>
                    <a:pt x="52" y="174"/>
                  </a:lnTo>
                  <a:lnTo>
                    <a:pt x="55" y="172"/>
                  </a:lnTo>
                  <a:lnTo>
                    <a:pt x="55" y="165"/>
                  </a:lnTo>
                  <a:lnTo>
                    <a:pt x="55" y="159"/>
                  </a:lnTo>
                  <a:lnTo>
                    <a:pt x="52" y="155"/>
                  </a:lnTo>
                  <a:lnTo>
                    <a:pt x="50" y="153"/>
                  </a:lnTo>
                  <a:lnTo>
                    <a:pt x="48" y="151"/>
                  </a:lnTo>
                  <a:lnTo>
                    <a:pt x="48" y="140"/>
                  </a:lnTo>
                  <a:lnTo>
                    <a:pt x="48" y="130"/>
                  </a:lnTo>
                  <a:lnTo>
                    <a:pt x="50" y="128"/>
                  </a:lnTo>
                  <a:lnTo>
                    <a:pt x="52" y="126"/>
                  </a:lnTo>
                  <a:lnTo>
                    <a:pt x="55" y="122"/>
                  </a:lnTo>
                  <a:lnTo>
                    <a:pt x="55" y="117"/>
                  </a:lnTo>
                  <a:lnTo>
                    <a:pt x="55" y="109"/>
                  </a:lnTo>
                  <a:lnTo>
                    <a:pt x="52" y="107"/>
                  </a:lnTo>
                  <a:lnTo>
                    <a:pt x="50" y="105"/>
                  </a:lnTo>
                  <a:lnTo>
                    <a:pt x="48" y="101"/>
                  </a:lnTo>
                  <a:lnTo>
                    <a:pt x="40" y="74"/>
                  </a:lnTo>
                  <a:lnTo>
                    <a:pt x="32" y="48"/>
                  </a:lnTo>
                  <a:lnTo>
                    <a:pt x="30" y="46"/>
                  </a:lnTo>
                  <a:lnTo>
                    <a:pt x="29" y="44"/>
                  </a:lnTo>
                  <a:lnTo>
                    <a:pt x="27" y="32"/>
                  </a:lnTo>
                  <a:lnTo>
                    <a:pt x="23" y="19"/>
                  </a:lnTo>
                  <a:lnTo>
                    <a:pt x="21" y="17"/>
                  </a:lnTo>
                  <a:lnTo>
                    <a:pt x="19" y="15"/>
                  </a:lnTo>
                  <a:lnTo>
                    <a:pt x="23" y="9"/>
                  </a:lnTo>
                  <a:lnTo>
                    <a:pt x="29" y="5"/>
                  </a:lnTo>
                  <a:lnTo>
                    <a:pt x="30" y="3"/>
                  </a:lnTo>
                  <a:lnTo>
                    <a:pt x="32" y="0"/>
                  </a:lnTo>
                  <a:lnTo>
                    <a:pt x="38" y="0"/>
                  </a:lnTo>
                  <a:lnTo>
                    <a:pt x="44" y="0"/>
                  </a:lnTo>
                  <a:lnTo>
                    <a:pt x="46" y="3"/>
                  </a:lnTo>
                  <a:lnTo>
                    <a:pt x="48" y="5"/>
                  </a:lnTo>
                  <a:lnTo>
                    <a:pt x="61" y="7"/>
                  </a:lnTo>
                  <a:lnTo>
                    <a:pt x="77" y="9"/>
                  </a:lnTo>
                  <a:lnTo>
                    <a:pt x="75" y="34"/>
                  </a:lnTo>
                  <a:lnTo>
                    <a:pt x="75" y="59"/>
                  </a:lnTo>
                  <a:lnTo>
                    <a:pt x="73" y="82"/>
                  </a:lnTo>
                  <a:lnTo>
                    <a:pt x="73" y="107"/>
                  </a:lnTo>
                  <a:lnTo>
                    <a:pt x="78" y="111"/>
                  </a:lnTo>
                  <a:lnTo>
                    <a:pt x="86" y="117"/>
                  </a:lnTo>
                  <a:lnTo>
                    <a:pt x="90" y="124"/>
                  </a:lnTo>
                  <a:lnTo>
                    <a:pt x="96" y="128"/>
                  </a:lnTo>
                  <a:lnTo>
                    <a:pt x="103" y="132"/>
                  </a:lnTo>
                  <a:lnTo>
                    <a:pt x="115" y="136"/>
                  </a:lnTo>
                  <a:lnTo>
                    <a:pt x="101" y="163"/>
                  </a:lnTo>
                  <a:lnTo>
                    <a:pt x="90" y="191"/>
                  </a:lnTo>
                  <a:lnTo>
                    <a:pt x="82" y="222"/>
                  </a:lnTo>
                  <a:lnTo>
                    <a:pt x="77" y="251"/>
                  </a:lnTo>
                  <a:lnTo>
                    <a:pt x="57" y="249"/>
                  </a:lnTo>
                  <a:lnTo>
                    <a:pt x="38" y="247"/>
                  </a:lnTo>
                  <a:lnTo>
                    <a:pt x="19" y="245"/>
                  </a:lnTo>
                  <a:lnTo>
                    <a:pt x="0" y="241"/>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42" name="Freeform 309"/>
            <p:cNvSpPr>
              <a:spLocks/>
            </p:cNvSpPr>
            <p:nvPr>
              <p:custDataLst>
                <p:tags r:id="rId26"/>
              </p:custDataLst>
            </p:nvPr>
          </p:nvSpPr>
          <p:spPr bwMode="gray">
            <a:xfrm>
              <a:off x="823913" y="5002028"/>
              <a:ext cx="328612" cy="419100"/>
            </a:xfrm>
            <a:custGeom>
              <a:avLst/>
              <a:gdLst>
                <a:gd name="T0" fmla="*/ 2147483647 w 213"/>
                <a:gd name="T1" fmla="*/ 2147483647 h 280"/>
                <a:gd name="T2" fmla="*/ 2147483647 w 213"/>
                <a:gd name="T3" fmla="*/ 2147483647 h 280"/>
                <a:gd name="T4" fmla="*/ 2147483647 w 213"/>
                <a:gd name="T5" fmla="*/ 2147483647 h 280"/>
                <a:gd name="T6" fmla="*/ 2147483647 w 213"/>
                <a:gd name="T7" fmla="*/ 2147483647 h 280"/>
                <a:gd name="T8" fmla="*/ 2147483647 w 213"/>
                <a:gd name="T9" fmla="*/ 2147483647 h 280"/>
                <a:gd name="T10" fmla="*/ 2147483647 w 213"/>
                <a:gd name="T11" fmla="*/ 2147483647 h 280"/>
                <a:gd name="T12" fmla="*/ 2147483647 w 213"/>
                <a:gd name="T13" fmla="*/ 2147483647 h 280"/>
                <a:gd name="T14" fmla="*/ 2147483647 w 213"/>
                <a:gd name="T15" fmla="*/ 2147483647 h 280"/>
                <a:gd name="T16" fmla="*/ 2147483647 w 213"/>
                <a:gd name="T17" fmla="*/ 2147483647 h 280"/>
                <a:gd name="T18" fmla="*/ 2147483647 w 213"/>
                <a:gd name="T19" fmla="*/ 2147483647 h 280"/>
                <a:gd name="T20" fmla="*/ 2147483647 w 213"/>
                <a:gd name="T21" fmla="*/ 2147483647 h 280"/>
                <a:gd name="T22" fmla="*/ 2147483647 w 213"/>
                <a:gd name="T23" fmla="*/ 2147483647 h 280"/>
                <a:gd name="T24" fmla="*/ 2147483647 w 213"/>
                <a:gd name="T25" fmla="*/ 2147483647 h 280"/>
                <a:gd name="T26" fmla="*/ 2147483647 w 213"/>
                <a:gd name="T27" fmla="*/ 2147483647 h 280"/>
                <a:gd name="T28" fmla="*/ 0 w 213"/>
                <a:gd name="T29" fmla="*/ 2147483647 h 280"/>
                <a:gd name="T30" fmla="*/ 2147483647 w 213"/>
                <a:gd name="T31" fmla="*/ 2147483647 h 280"/>
                <a:gd name="T32" fmla="*/ 2147483647 w 213"/>
                <a:gd name="T33" fmla="*/ 2147483647 h 280"/>
                <a:gd name="T34" fmla="*/ 2147483647 w 213"/>
                <a:gd name="T35" fmla="*/ 2147483647 h 280"/>
                <a:gd name="T36" fmla="*/ 2147483647 w 213"/>
                <a:gd name="T37" fmla="*/ 2147483647 h 280"/>
                <a:gd name="T38" fmla="*/ 2147483647 w 213"/>
                <a:gd name="T39" fmla="*/ 2147483647 h 280"/>
                <a:gd name="T40" fmla="*/ 2147483647 w 213"/>
                <a:gd name="T41" fmla="*/ 2147483647 h 280"/>
                <a:gd name="T42" fmla="*/ 2147483647 w 213"/>
                <a:gd name="T43" fmla="*/ 2147483647 h 280"/>
                <a:gd name="T44" fmla="*/ 2147483647 w 213"/>
                <a:gd name="T45" fmla="*/ 0 h 280"/>
                <a:gd name="T46" fmla="*/ 2147483647 w 213"/>
                <a:gd name="T47" fmla="*/ 2147483647 h 280"/>
                <a:gd name="T48" fmla="*/ 2147483647 w 213"/>
                <a:gd name="T49" fmla="*/ 2147483647 h 280"/>
                <a:gd name="T50" fmla="*/ 2147483647 w 213"/>
                <a:gd name="T51" fmla="*/ 2147483647 h 280"/>
                <a:gd name="T52" fmla="*/ 2147483647 w 213"/>
                <a:gd name="T53" fmla="*/ 2147483647 h 280"/>
                <a:gd name="T54" fmla="*/ 2147483647 w 213"/>
                <a:gd name="T55" fmla="*/ 2147483647 h 280"/>
                <a:gd name="T56" fmla="*/ 2147483647 w 213"/>
                <a:gd name="T57" fmla="*/ 2147483647 h 280"/>
                <a:gd name="T58" fmla="*/ 2147483647 w 213"/>
                <a:gd name="T59" fmla="*/ 2147483647 h 280"/>
                <a:gd name="T60" fmla="*/ 2147483647 w 213"/>
                <a:gd name="T61" fmla="*/ 2147483647 h 280"/>
                <a:gd name="T62" fmla="*/ 2147483647 w 213"/>
                <a:gd name="T63" fmla="*/ 2147483647 h 280"/>
                <a:gd name="T64" fmla="*/ 2147483647 w 213"/>
                <a:gd name="T65" fmla="*/ 2147483647 h 280"/>
                <a:gd name="T66" fmla="*/ 2147483647 w 213"/>
                <a:gd name="T67" fmla="*/ 2147483647 h 280"/>
                <a:gd name="T68" fmla="*/ 2147483647 w 213"/>
                <a:gd name="T69" fmla="*/ 2147483647 h 280"/>
                <a:gd name="T70" fmla="*/ 2147483647 w 213"/>
                <a:gd name="T71" fmla="*/ 2147483647 h 280"/>
                <a:gd name="T72" fmla="*/ 2147483647 w 213"/>
                <a:gd name="T73" fmla="*/ 2147483647 h 280"/>
                <a:gd name="T74" fmla="*/ 2147483647 w 213"/>
                <a:gd name="T75" fmla="*/ 2147483647 h 280"/>
                <a:gd name="T76" fmla="*/ 2147483647 w 213"/>
                <a:gd name="T77" fmla="*/ 2147483647 h 280"/>
                <a:gd name="T78" fmla="*/ 2147483647 w 213"/>
                <a:gd name="T79" fmla="*/ 2147483647 h 280"/>
                <a:gd name="T80" fmla="*/ 2147483647 w 213"/>
                <a:gd name="T81" fmla="*/ 2147483647 h 280"/>
                <a:gd name="T82" fmla="*/ 2147483647 w 213"/>
                <a:gd name="T83" fmla="*/ 2147483647 h 280"/>
                <a:gd name="T84" fmla="*/ 2147483647 w 213"/>
                <a:gd name="T85" fmla="*/ 2147483647 h 280"/>
                <a:gd name="T86" fmla="*/ 2147483647 w 213"/>
                <a:gd name="T87" fmla="*/ 2147483647 h 280"/>
                <a:gd name="T88" fmla="*/ 2147483647 w 213"/>
                <a:gd name="T89" fmla="*/ 2147483647 h 28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13"/>
                <a:gd name="T136" fmla="*/ 0 h 280"/>
                <a:gd name="T137" fmla="*/ 213 w 213"/>
                <a:gd name="T138" fmla="*/ 280 h 28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13" h="280">
                  <a:moveTo>
                    <a:pt x="121" y="271"/>
                  </a:moveTo>
                  <a:lnTo>
                    <a:pt x="119" y="267"/>
                  </a:lnTo>
                  <a:lnTo>
                    <a:pt x="117" y="265"/>
                  </a:lnTo>
                  <a:lnTo>
                    <a:pt x="109" y="263"/>
                  </a:lnTo>
                  <a:lnTo>
                    <a:pt x="101" y="261"/>
                  </a:lnTo>
                  <a:lnTo>
                    <a:pt x="100" y="257"/>
                  </a:lnTo>
                  <a:lnTo>
                    <a:pt x="98" y="255"/>
                  </a:lnTo>
                  <a:lnTo>
                    <a:pt x="100" y="254"/>
                  </a:lnTo>
                  <a:lnTo>
                    <a:pt x="101" y="250"/>
                  </a:lnTo>
                  <a:lnTo>
                    <a:pt x="101" y="246"/>
                  </a:lnTo>
                  <a:lnTo>
                    <a:pt x="101" y="240"/>
                  </a:lnTo>
                  <a:lnTo>
                    <a:pt x="100" y="238"/>
                  </a:lnTo>
                  <a:lnTo>
                    <a:pt x="98" y="236"/>
                  </a:lnTo>
                  <a:lnTo>
                    <a:pt x="94" y="234"/>
                  </a:lnTo>
                  <a:lnTo>
                    <a:pt x="92" y="232"/>
                  </a:lnTo>
                  <a:lnTo>
                    <a:pt x="90" y="229"/>
                  </a:lnTo>
                  <a:lnTo>
                    <a:pt x="88" y="227"/>
                  </a:lnTo>
                  <a:lnTo>
                    <a:pt x="71" y="225"/>
                  </a:lnTo>
                  <a:lnTo>
                    <a:pt x="54" y="221"/>
                  </a:lnTo>
                  <a:lnTo>
                    <a:pt x="52" y="219"/>
                  </a:lnTo>
                  <a:lnTo>
                    <a:pt x="50" y="217"/>
                  </a:lnTo>
                  <a:lnTo>
                    <a:pt x="46" y="215"/>
                  </a:lnTo>
                  <a:lnTo>
                    <a:pt x="44" y="211"/>
                  </a:lnTo>
                  <a:lnTo>
                    <a:pt x="42" y="209"/>
                  </a:lnTo>
                  <a:lnTo>
                    <a:pt x="38" y="208"/>
                  </a:lnTo>
                  <a:lnTo>
                    <a:pt x="32" y="206"/>
                  </a:lnTo>
                  <a:lnTo>
                    <a:pt x="25" y="202"/>
                  </a:lnTo>
                  <a:lnTo>
                    <a:pt x="23" y="200"/>
                  </a:lnTo>
                  <a:lnTo>
                    <a:pt x="21" y="198"/>
                  </a:lnTo>
                  <a:lnTo>
                    <a:pt x="21" y="179"/>
                  </a:lnTo>
                  <a:lnTo>
                    <a:pt x="21" y="160"/>
                  </a:lnTo>
                  <a:lnTo>
                    <a:pt x="23" y="156"/>
                  </a:lnTo>
                  <a:lnTo>
                    <a:pt x="25" y="154"/>
                  </a:lnTo>
                  <a:lnTo>
                    <a:pt x="27" y="150"/>
                  </a:lnTo>
                  <a:lnTo>
                    <a:pt x="29" y="144"/>
                  </a:lnTo>
                  <a:lnTo>
                    <a:pt x="27" y="138"/>
                  </a:lnTo>
                  <a:lnTo>
                    <a:pt x="25" y="135"/>
                  </a:lnTo>
                  <a:lnTo>
                    <a:pt x="23" y="133"/>
                  </a:lnTo>
                  <a:lnTo>
                    <a:pt x="21" y="129"/>
                  </a:lnTo>
                  <a:lnTo>
                    <a:pt x="17" y="123"/>
                  </a:lnTo>
                  <a:lnTo>
                    <a:pt x="15" y="115"/>
                  </a:lnTo>
                  <a:lnTo>
                    <a:pt x="11" y="113"/>
                  </a:lnTo>
                  <a:lnTo>
                    <a:pt x="9" y="112"/>
                  </a:lnTo>
                  <a:lnTo>
                    <a:pt x="6" y="106"/>
                  </a:lnTo>
                  <a:lnTo>
                    <a:pt x="0" y="100"/>
                  </a:lnTo>
                  <a:lnTo>
                    <a:pt x="4" y="98"/>
                  </a:lnTo>
                  <a:lnTo>
                    <a:pt x="6" y="96"/>
                  </a:lnTo>
                  <a:lnTo>
                    <a:pt x="13" y="94"/>
                  </a:lnTo>
                  <a:lnTo>
                    <a:pt x="21" y="90"/>
                  </a:lnTo>
                  <a:lnTo>
                    <a:pt x="23" y="89"/>
                  </a:lnTo>
                  <a:lnTo>
                    <a:pt x="25" y="87"/>
                  </a:lnTo>
                  <a:lnTo>
                    <a:pt x="27" y="79"/>
                  </a:lnTo>
                  <a:lnTo>
                    <a:pt x="29" y="62"/>
                  </a:lnTo>
                  <a:lnTo>
                    <a:pt x="27" y="46"/>
                  </a:lnTo>
                  <a:lnTo>
                    <a:pt x="25" y="39"/>
                  </a:lnTo>
                  <a:lnTo>
                    <a:pt x="23" y="35"/>
                  </a:lnTo>
                  <a:lnTo>
                    <a:pt x="21" y="33"/>
                  </a:lnTo>
                  <a:lnTo>
                    <a:pt x="21" y="23"/>
                  </a:lnTo>
                  <a:lnTo>
                    <a:pt x="21" y="14"/>
                  </a:lnTo>
                  <a:lnTo>
                    <a:pt x="23" y="12"/>
                  </a:lnTo>
                  <a:lnTo>
                    <a:pt x="25" y="10"/>
                  </a:lnTo>
                  <a:lnTo>
                    <a:pt x="27" y="6"/>
                  </a:lnTo>
                  <a:lnTo>
                    <a:pt x="30" y="4"/>
                  </a:lnTo>
                  <a:lnTo>
                    <a:pt x="32" y="2"/>
                  </a:lnTo>
                  <a:lnTo>
                    <a:pt x="34" y="0"/>
                  </a:lnTo>
                  <a:lnTo>
                    <a:pt x="36" y="2"/>
                  </a:lnTo>
                  <a:lnTo>
                    <a:pt x="38" y="4"/>
                  </a:lnTo>
                  <a:lnTo>
                    <a:pt x="55" y="2"/>
                  </a:lnTo>
                  <a:lnTo>
                    <a:pt x="73" y="0"/>
                  </a:lnTo>
                  <a:lnTo>
                    <a:pt x="75" y="2"/>
                  </a:lnTo>
                  <a:lnTo>
                    <a:pt x="78" y="4"/>
                  </a:lnTo>
                  <a:lnTo>
                    <a:pt x="80" y="12"/>
                  </a:lnTo>
                  <a:lnTo>
                    <a:pt x="82" y="18"/>
                  </a:lnTo>
                  <a:lnTo>
                    <a:pt x="84" y="21"/>
                  </a:lnTo>
                  <a:lnTo>
                    <a:pt x="88" y="23"/>
                  </a:lnTo>
                  <a:lnTo>
                    <a:pt x="103" y="25"/>
                  </a:lnTo>
                  <a:lnTo>
                    <a:pt x="121" y="29"/>
                  </a:lnTo>
                  <a:lnTo>
                    <a:pt x="124" y="31"/>
                  </a:lnTo>
                  <a:lnTo>
                    <a:pt x="126" y="33"/>
                  </a:lnTo>
                  <a:lnTo>
                    <a:pt x="128" y="35"/>
                  </a:lnTo>
                  <a:lnTo>
                    <a:pt x="130" y="39"/>
                  </a:lnTo>
                  <a:lnTo>
                    <a:pt x="134" y="41"/>
                  </a:lnTo>
                  <a:lnTo>
                    <a:pt x="136" y="42"/>
                  </a:lnTo>
                  <a:lnTo>
                    <a:pt x="138" y="44"/>
                  </a:lnTo>
                  <a:lnTo>
                    <a:pt x="142" y="48"/>
                  </a:lnTo>
                  <a:lnTo>
                    <a:pt x="144" y="50"/>
                  </a:lnTo>
                  <a:lnTo>
                    <a:pt x="146" y="52"/>
                  </a:lnTo>
                  <a:lnTo>
                    <a:pt x="148" y="54"/>
                  </a:lnTo>
                  <a:lnTo>
                    <a:pt x="151" y="58"/>
                  </a:lnTo>
                  <a:lnTo>
                    <a:pt x="153" y="60"/>
                  </a:lnTo>
                  <a:lnTo>
                    <a:pt x="155" y="62"/>
                  </a:lnTo>
                  <a:lnTo>
                    <a:pt x="157" y="64"/>
                  </a:lnTo>
                  <a:lnTo>
                    <a:pt x="159" y="67"/>
                  </a:lnTo>
                  <a:lnTo>
                    <a:pt x="163" y="69"/>
                  </a:lnTo>
                  <a:lnTo>
                    <a:pt x="165" y="71"/>
                  </a:lnTo>
                  <a:lnTo>
                    <a:pt x="167" y="75"/>
                  </a:lnTo>
                  <a:lnTo>
                    <a:pt x="171" y="77"/>
                  </a:lnTo>
                  <a:lnTo>
                    <a:pt x="172" y="79"/>
                  </a:lnTo>
                  <a:lnTo>
                    <a:pt x="174" y="81"/>
                  </a:lnTo>
                  <a:lnTo>
                    <a:pt x="176" y="100"/>
                  </a:lnTo>
                  <a:lnTo>
                    <a:pt x="176" y="117"/>
                  </a:lnTo>
                  <a:lnTo>
                    <a:pt x="178" y="137"/>
                  </a:lnTo>
                  <a:lnTo>
                    <a:pt x="180" y="154"/>
                  </a:lnTo>
                  <a:lnTo>
                    <a:pt x="182" y="156"/>
                  </a:lnTo>
                  <a:lnTo>
                    <a:pt x="184" y="160"/>
                  </a:lnTo>
                  <a:lnTo>
                    <a:pt x="186" y="161"/>
                  </a:lnTo>
                  <a:lnTo>
                    <a:pt x="190" y="163"/>
                  </a:lnTo>
                  <a:lnTo>
                    <a:pt x="192" y="165"/>
                  </a:lnTo>
                  <a:lnTo>
                    <a:pt x="194" y="169"/>
                  </a:lnTo>
                  <a:lnTo>
                    <a:pt x="195" y="171"/>
                  </a:lnTo>
                  <a:lnTo>
                    <a:pt x="199" y="173"/>
                  </a:lnTo>
                  <a:lnTo>
                    <a:pt x="201" y="175"/>
                  </a:lnTo>
                  <a:lnTo>
                    <a:pt x="203" y="179"/>
                  </a:lnTo>
                  <a:lnTo>
                    <a:pt x="205" y="184"/>
                  </a:lnTo>
                  <a:lnTo>
                    <a:pt x="209" y="192"/>
                  </a:lnTo>
                  <a:lnTo>
                    <a:pt x="211" y="196"/>
                  </a:lnTo>
                  <a:lnTo>
                    <a:pt x="213" y="198"/>
                  </a:lnTo>
                  <a:lnTo>
                    <a:pt x="213" y="211"/>
                  </a:lnTo>
                  <a:lnTo>
                    <a:pt x="213" y="227"/>
                  </a:lnTo>
                  <a:lnTo>
                    <a:pt x="211" y="229"/>
                  </a:lnTo>
                  <a:lnTo>
                    <a:pt x="209" y="232"/>
                  </a:lnTo>
                  <a:lnTo>
                    <a:pt x="182" y="234"/>
                  </a:lnTo>
                  <a:lnTo>
                    <a:pt x="155" y="236"/>
                  </a:lnTo>
                  <a:lnTo>
                    <a:pt x="163" y="244"/>
                  </a:lnTo>
                  <a:lnTo>
                    <a:pt x="171" y="250"/>
                  </a:lnTo>
                  <a:lnTo>
                    <a:pt x="172" y="254"/>
                  </a:lnTo>
                  <a:lnTo>
                    <a:pt x="174" y="255"/>
                  </a:lnTo>
                  <a:lnTo>
                    <a:pt x="172" y="257"/>
                  </a:lnTo>
                  <a:lnTo>
                    <a:pt x="171" y="261"/>
                  </a:lnTo>
                  <a:lnTo>
                    <a:pt x="163" y="261"/>
                  </a:lnTo>
                  <a:lnTo>
                    <a:pt x="155" y="261"/>
                  </a:lnTo>
                  <a:lnTo>
                    <a:pt x="155" y="271"/>
                  </a:lnTo>
                  <a:lnTo>
                    <a:pt x="155" y="280"/>
                  </a:lnTo>
                  <a:lnTo>
                    <a:pt x="138" y="275"/>
                  </a:lnTo>
                  <a:lnTo>
                    <a:pt x="121" y="271"/>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43" name="Freeform 310"/>
            <p:cNvSpPr>
              <a:spLocks/>
            </p:cNvSpPr>
            <p:nvPr>
              <p:custDataLst>
                <p:tags r:id="rId27"/>
              </p:custDataLst>
            </p:nvPr>
          </p:nvSpPr>
          <p:spPr bwMode="gray">
            <a:xfrm>
              <a:off x="1093788" y="4943291"/>
              <a:ext cx="314325" cy="434975"/>
            </a:xfrm>
            <a:custGeom>
              <a:avLst/>
              <a:gdLst>
                <a:gd name="T0" fmla="*/ 2147483647 w 204"/>
                <a:gd name="T1" fmla="*/ 2147483647 h 290"/>
                <a:gd name="T2" fmla="*/ 2147483647 w 204"/>
                <a:gd name="T3" fmla="*/ 2147483647 h 290"/>
                <a:gd name="T4" fmla="*/ 2147483647 w 204"/>
                <a:gd name="T5" fmla="*/ 2147483647 h 290"/>
                <a:gd name="T6" fmla="*/ 2147483647 w 204"/>
                <a:gd name="T7" fmla="*/ 2147483647 h 290"/>
                <a:gd name="T8" fmla="*/ 2147483647 w 204"/>
                <a:gd name="T9" fmla="*/ 2147483647 h 290"/>
                <a:gd name="T10" fmla="*/ 2147483647 w 204"/>
                <a:gd name="T11" fmla="*/ 2147483647 h 290"/>
                <a:gd name="T12" fmla="*/ 2147483647 w 204"/>
                <a:gd name="T13" fmla="*/ 2147483647 h 290"/>
                <a:gd name="T14" fmla="*/ 2147483647 w 204"/>
                <a:gd name="T15" fmla="*/ 2147483647 h 290"/>
                <a:gd name="T16" fmla="*/ 2147483647 w 204"/>
                <a:gd name="T17" fmla="*/ 2147483647 h 290"/>
                <a:gd name="T18" fmla="*/ 2147483647 w 204"/>
                <a:gd name="T19" fmla="*/ 2147483647 h 290"/>
                <a:gd name="T20" fmla="*/ 0 w 204"/>
                <a:gd name="T21" fmla="*/ 2147483647 h 290"/>
                <a:gd name="T22" fmla="*/ 2147483647 w 204"/>
                <a:gd name="T23" fmla="*/ 2147483647 h 290"/>
                <a:gd name="T24" fmla="*/ 2147483647 w 204"/>
                <a:gd name="T25" fmla="*/ 2147483647 h 290"/>
                <a:gd name="T26" fmla="*/ 2147483647 w 204"/>
                <a:gd name="T27" fmla="*/ 2147483647 h 290"/>
                <a:gd name="T28" fmla="*/ 2147483647 w 204"/>
                <a:gd name="T29" fmla="*/ 2147483647 h 290"/>
                <a:gd name="T30" fmla="*/ 2147483647 w 204"/>
                <a:gd name="T31" fmla="*/ 2147483647 h 290"/>
                <a:gd name="T32" fmla="*/ 2147483647 w 204"/>
                <a:gd name="T33" fmla="*/ 2147483647 h 290"/>
                <a:gd name="T34" fmla="*/ 2147483647 w 204"/>
                <a:gd name="T35" fmla="*/ 2147483647 h 290"/>
                <a:gd name="T36" fmla="*/ 2147483647 w 204"/>
                <a:gd name="T37" fmla="*/ 2147483647 h 290"/>
                <a:gd name="T38" fmla="*/ 2147483647 w 204"/>
                <a:gd name="T39" fmla="*/ 2147483647 h 290"/>
                <a:gd name="T40" fmla="*/ 2147483647 w 204"/>
                <a:gd name="T41" fmla="*/ 2147483647 h 290"/>
                <a:gd name="T42" fmla="*/ 2147483647 w 204"/>
                <a:gd name="T43" fmla="*/ 2147483647 h 290"/>
                <a:gd name="T44" fmla="*/ 2147483647 w 204"/>
                <a:gd name="T45" fmla="*/ 2147483647 h 290"/>
                <a:gd name="T46" fmla="*/ 2147483647 w 204"/>
                <a:gd name="T47" fmla="*/ 2147483647 h 290"/>
                <a:gd name="T48" fmla="*/ 2147483647 w 204"/>
                <a:gd name="T49" fmla="*/ 0 h 290"/>
                <a:gd name="T50" fmla="*/ 2147483647 w 204"/>
                <a:gd name="T51" fmla="*/ 2147483647 h 290"/>
                <a:gd name="T52" fmla="*/ 2147483647 w 204"/>
                <a:gd name="T53" fmla="*/ 2147483647 h 290"/>
                <a:gd name="T54" fmla="*/ 2147483647 w 204"/>
                <a:gd name="T55" fmla="*/ 2147483647 h 290"/>
                <a:gd name="T56" fmla="*/ 2147483647 w 204"/>
                <a:gd name="T57" fmla="*/ 2147483647 h 290"/>
                <a:gd name="T58" fmla="*/ 2147483647 w 204"/>
                <a:gd name="T59" fmla="*/ 2147483647 h 290"/>
                <a:gd name="T60" fmla="*/ 2147483647 w 204"/>
                <a:gd name="T61" fmla="*/ 2147483647 h 290"/>
                <a:gd name="T62" fmla="*/ 2147483647 w 204"/>
                <a:gd name="T63" fmla="*/ 2147483647 h 290"/>
                <a:gd name="T64" fmla="*/ 2147483647 w 204"/>
                <a:gd name="T65" fmla="*/ 2147483647 h 290"/>
                <a:gd name="T66" fmla="*/ 2147483647 w 204"/>
                <a:gd name="T67" fmla="*/ 2147483647 h 290"/>
                <a:gd name="T68" fmla="*/ 2147483647 w 204"/>
                <a:gd name="T69" fmla="*/ 2147483647 h 290"/>
                <a:gd name="T70" fmla="*/ 2147483647 w 204"/>
                <a:gd name="T71" fmla="*/ 2147483647 h 290"/>
                <a:gd name="T72" fmla="*/ 2147483647 w 204"/>
                <a:gd name="T73" fmla="*/ 2147483647 h 290"/>
                <a:gd name="T74" fmla="*/ 2147483647 w 204"/>
                <a:gd name="T75" fmla="*/ 2147483647 h 290"/>
                <a:gd name="T76" fmla="*/ 2147483647 w 204"/>
                <a:gd name="T77" fmla="*/ 2147483647 h 290"/>
                <a:gd name="T78" fmla="*/ 2147483647 w 204"/>
                <a:gd name="T79" fmla="*/ 2147483647 h 290"/>
                <a:gd name="T80" fmla="*/ 2147483647 w 204"/>
                <a:gd name="T81" fmla="*/ 2147483647 h 290"/>
                <a:gd name="T82" fmla="*/ 2147483647 w 204"/>
                <a:gd name="T83" fmla="*/ 2147483647 h 290"/>
                <a:gd name="T84" fmla="*/ 2147483647 w 204"/>
                <a:gd name="T85" fmla="*/ 2147483647 h 290"/>
                <a:gd name="T86" fmla="*/ 2147483647 w 204"/>
                <a:gd name="T87" fmla="*/ 2147483647 h 290"/>
                <a:gd name="T88" fmla="*/ 2147483647 w 204"/>
                <a:gd name="T89" fmla="*/ 2147483647 h 290"/>
                <a:gd name="T90" fmla="*/ 2147483647 w 204"/>
                <a:gd name="T91" fmla="*/ 2147483647 h 29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04"/>
                <a:gd name="T139" fmla="*/ 0 h 290"/>
                <a:gd name="T140" fmla="*/ 204 w 204"/>
                <a:gd name="T141" fmla="*/ 290 h 29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04" h="290">
                  <a:moveTo>
                    <a:pt x="83" y="290"/>
                  </a:moveTo>
                  <a:lnTo>
                    <a:pt x="81" y="288"/>
                  </a:lnTo>
                  <a:lnTo>
                    <a:pt x="77" y="286"/>
                  </a:lnTo>
                  <a:lnTo>
                    <a:pt x="71" y="284"/>
                  </a:lnTo>
                  <a:lnTo>
                    <a:pt x="64" y="280"/>
                  </a:lnTo>
                  <a:lnTo>
                    <a:pt x="62" y="278"/>
                  </a:lnTo>
                  <a:lnTo>
                    <a:pt x="58" y="276"/>
                  </a:lnTo>
                  <a:lnTo>
                    <a:pt x="56" y="274"/>
                  </a:lnTo>
                  <a:lnTo>
                    <a:pt x="54" y="272"/>
                  </a:lnTo>
                  <a:lnTo>
                    <a:pt x="52" y="269"/>
                  </a:lnTo>
                  <a:lnTo>
                    <a:pt x="48" y="267"/>
                  </a:lnTo>
                  <a:lnTo>
                    <a:pt x="46" y="249"/>
                  </a:lnTo>
                  <a:lnTo>
                    <a:pt x="45" y="232"/>
                  </a:lnTo>
                  <a:lnTo>
                    <a:pt x="41" y="230"/>
                  </a:lnTo>
                  <a:lnTo>
                    <a:pt x="39" y="228"/>
                  </a:lnTo>
                  <a:lnTo>
                    <a:pt x="37" y="221"/>
                  </a:lnTo>
                  <a:lnTo>
                    <a:pt x="35" y="213"/>
                  </a:lnTo>
                  <a:lnTo>
                    <a:pt x="31" y="211"/>
                  </a:lnTo>
                  <a:lnTo>
                    <a:pt x="29" y="209"/>
                  </a:lnTo>
                  <a:lnTo>
                    <a:pt x="27" y="205"/>
                  </a:lnTo>
                  <a:lnTo>
                    <a:pt x="25" y="203"/>
                  </a:lnTo>
                  <a:lnTo>
                    <a:pt x="21" y="201"/>
                  </a:lnTo>
                  <a:lnTo>
                    <a:pt x="20" y="200"/>
                  </a:lnTo>
                  <a:lnTo>
                    <a:pt x="18" y="196"/>
                  </a:lnTo>
                  <a:lnTo>
                    <a:pt x="16" y="194"/>
                  </a:lnTo>
                  <a:lnTo>
                    <a:pt x="12" y="192"/>
                  </a:lnTo>
                  <a:lnTo>
                    <a:pt x="10" y="190"/>
                  </a:lnTo>
                  <a:lnTo>
                    <a:pt x="8" y="171"/>
                  </a:lnTo>
                  <a:lnTo>
                    <a:pt x="8" y="153"/>
                  </a:lnTo>
                  <a:lnTo>
                    <a:pt x="6" y="134"/>
                  </a:lnTo>
                  <a:lnTo>
                    <a:pt x="6" y="117"/>
                  </a:lnTo>
                  <a:lnTo>
                    <a:pt x="2" y="115"/>
                  </a:lnTo>
                  <a:lnTo>
                    <a:pt x="0" y="111"/>
                  </a:lnTo>
                  <a:lnTo>
                    <a:pt x="2" y="109"/>
                  </a:lnTo>
                  <a:lnTo>
                    <a:pt x="6" y="107"/>
                  </a:lnTo>
                  <a:lnTo>
                    <a:pt x="10" y="107"/>
                  </a:lnTo>
                  <a:lnTo>
                    <a:pt x="16" y="107"/>
                  </a:lnTo>
                  <a:lnTo>
                    <a:pt x="18" y="109"/>
                  </a:lnTo>
                  <a:lnTo>
                    <a:pt x="20" y="111"/>
                  </a:lnTo>
                  <a:lnTo>
                    <a:pt x="25" y="111"/>
                  </a:lnTo>
                  <a:lnTo>
                    <a:pt x="29" y="111"/>
                  </a:lnTo>
                  <a:lnTo>
                    <a:pt x="31" y="109"/>
                  </a:lnTo>
                  <a:lnTo>
                    <a:pt x="35" y="107"/>
                  </a:lnTo>
                  <a:lnTo>
                    <a:pt x="37" y="104"/>
                  </a:lnTo>
                  <a:lnTo>
                    <a:pt x="39" y="102"/>
                  </a:lnTo>
                  <a:lnTo>
                    <a:pt x="41" y="100"/>
                  </a:lnTo>
                  <a:lnTo>
                    <a:pt x="45" y="98"/>
                  </a:lnTo>
                  <a:lnTo>
                    <a:pt x="50" y="90"/>
                  </a:lnTo>
                  <a:lnTo>
                    <a:pt x="58" y="82"/>
                  </a:lnTo>
                  <a:lnTo>
                    <a:pt x="62" y="81"/>
                  </a:lnTo>
                  <a:lnTo>
                    <a:pt x="64" y="79"/>
                  </a:lnTo>
                  <a:lnTo>
                    <a:pt x="75" y="75"/>
                  </a:lnTo>
                  <a:lnTo>
                    <a:pt x="89" y="73"/>
                  </a:lnTo>
                  <a:lnTo>
                    <a:pt x="91" y="71"/>
                  </a:lnTo>
                  <a:lnTo>
                    <a:pt x="92" y="69"/>
                  </a:lnTo>
                  <a:lnTo>
                    <a:pt x="94" y="61"/>
                  </a:lnTo>
                  <a:lnTo>
                    <a:pt x="96" y="54"/>
                  </a:lnTo>
                  <a:lnTo>
                    <a:pt x="100" y="52"/>
                  </a:lnTo>
                  <a:lnTo>
                    <a:pt x="102" y="50"/>
                  </a:lnTo>
                  <a:lnTo>
                    <a:pt x="104" y="38"/>
                  </a:lnTo>
                  <a:lnTo>
                    <a:pt x="108" y="29"/>
                  </a:lnTo>
                  <a:lnTo>
                    <a:pt x="94" y="29"/>
                  </a:lnTo>
                  <a:lnTo>
                    <a:pt x="83" y="29"/>
                  </a:lnTo>
                  <a:lnTo>
                    <a:pt x="81" y="27"/>
                  </a:lnTo>
                  <a:lnTo>
                    <a:pt x="77" y="25"/>
                  </a:lnTo>
                  <a:lnTo>
                    <a:pt x="81" y="23"/>
                  </a:lnTo>
                  <a:lnTo>
                    <a:pt x="83" y="19"/>
                  </a:lnTo>
                  <a:lnTo>
                    <a:pt x="104" y="17"/>
                  </a:lnTo>
                  <a:lnTo>
                    <a:pt x="127" y="15"/>
                  </a:lnTo>
                  <a:lnTo>
                    <a:pt x="129" y="13"/>
                  </a:lnTo>
                  <a:lnTo>
                    <a:pt x="131" y="10"/>
                  </a:lnTo>
                  <a:lnTo>
                    <a:pt x="133" y="8"/>
                  </a:lnTo>
                  <a:lnTo>
                    <a:pt x="137" y="6"/>
                  </a:lnTo>
                  <a:lnTo>
                    <a:pt x="139" y="4"/>
                  </a:lnTo>
                  <a:lnTo>
                    <a:pt x="140" y="0"/>
                  </a:lnTo>
                  <a:lnTo>
                    <a:pt x="142" y="4"/>
                  </a:lnTo>
                  <a:lnTo>
                    <a:pt x="146" y="6"/>
                  </a:lnTo>
                  <a:lnTo>
                    <a:pt x="148" y="8"/>
                  </a:lnTo>
                  <a:lnTo>
                    <a:pt x="150" y="10"/>
                  </a:lnTo>
                  <a:lnTo>
                    <a:pt x="152" y="13"/>
                  </a:lnTo>
                  <a:lnTo>
                    <a:pt x="156" y="15"/>
                  </a:lnTo>
                  <a:lnTo>
                    <a:pt x="162" y="23"/>
                  </a:lnTo>
                  <a:lnTo>
                    <a:pt x="169" y="29"/>
                  </a:lnTo>
                  <a:lnTo>
                    <a:pt x="173" y="33"/>
                  </a:lnTo>
                  <a:lnTo>
                    <a:pt x="175" y="35"/>
                  </a:lnTo>
                  <a:lnTo>
                    <a:pt x="177" y="46"/>
                  </a:lnTo>
                  <a:lnTo>
                    <a:pt x="179" y="58"/>
                  </a:lnTo>
                  <a:lnTo>
                    <a:pt x="183" y="61"/>
                  </a:lnTo>
                  <a:lnTo>
                    <a:pt x="185" y="63"/>
                  </a:lnTo>
                  <a:lnTo>
                    <a:pt x="185" y="90"/>
                  </a:lnTo>
                  <a:lnTo>
                    <a:pt x="185" y="117"/>
                  </a:lnTo>
                  <a:lnTo>
                    <a:pt x="192" y="117"/>
                  </a:lnTo>
                  <a:lnTo>
                    <a:pt x="200" y="117"/>
                  </a:lnTo>
                  <a:lnTo>
                    <a:pt x="202" y="119"/>
                  </a:lnTo>
                  <a:lnTo>
                    <a:pt x="204" y="121"/>
                  </a:lnTo>
                  <a:lnTo>
                    <a:pt x="204" y="127"/>
                  </a:lnTo>
                  <a:lnTo>
                    <a:pt x="204" y="130"/>
                  </a:lnTo>
                  <a:lnTo>
                    <a:pt x="202" y="134"/>
                  </a:lnTo>
                  <a:lnTo>
                    <a:pt x="200" y="136"/>
                  </a:lnTo>
                  <a:lnTo>
                    <a:pt x="196" y="140"/>
                  </a:lnTo>
                  <a:lnTo>
                    <a:pt x="196" y="152"/>
                  </a:lnTo>
                  <a:lnTo>
                    <a:pt x="196" y="161"/>
                  </a:lnTo>
                  <a:lnTo>
                    <a:pt x="200" y="165"/>
                  </a:lnTo>
                  <a:lnTo>
                    <a:pt x="202" y="167"/>
                  </a:lnTo>
                  <a:lnTo>
                    <a:pt x="204" y="169"/>
                  </a:lnTo>
                  <a:lnTo>
                    <a:pt x="204" y="175"/>
                  </a:lnTo>
                  <a:lnTo>
                    <a:pt x="204" y="180"/>
                  </a:lnTo>
                  <a:lnTo>
                    <a:pt x="202" y="182"/>
                  </a:lnTo>
                  <a:lnTo>
                    <a:pt x="200" y="184"/>
                  </a:lnTo>
                  <a:lnTo>
                    <a:pt x="196" y="186"/>
                  </a:lnTo>
                  <a:lnTo>
                    <a:pt x="194" y="190"/>
                  </a:lnTo>
                  <a:lnTo>
                    <a:pt x="192" y="192"/>
                  </a:lnTo>
                  <a:lnTo>
                    <a:pt x="188" y="194"/>
                  </a:lnTo>
                  <a:lnTo>
                    <a:pt x="169" y="198"/>
                  </a:lnTo>
                  <a:lnTo>
                    <a:pt x="158" y="200"/>
                  </a:lnTo>
                  <a:lnTo>
                    <a:pt x="152" y="203"/>
                  </a:lnTo>
                  <a:lnTo>
                    <a:pt x="146" y="209"/>
                  </a:lnTo>
                  <a:lnTo>
                    <a:pt x="152" y="215"/>
                  </a:lnTo>
                  <a:lnTo>
                    <a:pt x="160" y="223"/>
                  </a:lnTo>
                  <a:lnTo>
                    <a:pt x="163" y="224"/>
                  </a:lnTo>
                  <a:lnTo>
                    <a:pt x="165" y="228"/>
                  </a:lnTo>
                  <a:lnTo>
                    <a:pt x="163" y="230"/>
                  </a:lnTo>
                  <a:lnTo>
                    <a:pt x="160" y="232"/>
                  </a:lnTo>
                  <a:lnTo>
                    <a:pt x="158" y="236"/>
                  </a:lnTo>
                  <a:lnTo>
                    <a:pt x="156" y="238"/>
                  </a:lnTo>
                  <a:lnTo>
                    <a:pt x="152" y="240"/>
                  </a:lnTo>
                  <a:lnTo>
                    <a:pt x="150" y="242"/>
                  </a:lnTo>
                  <a:lnTo>
                    <a:pt x="148" y="246"/>
                  </a:lnTo>
                  <a:lnTo>
                    <a:pt x="146" y="248"/>
                  </a:lnTo>
                  <a:lnTo>
                    <a:pt x="142" y="249"/>
                  </a:lnTo>
                  <a:lnTo>
                    <a:pt x="140" y="251"/>
                  </a:lnTo>
                  <a:lnTo>
                    <a:pt x="139" y="257"/>
                  </a:lnTo>
                  <a:lnTo>
                    <a:pt x="137" y="261"/>
                  </a:lnTo>
                  <a:lnTo>
                    <a:pt x="131" y="267"/>
                  </a:lnTo>
                  <a:lnTo>
                    <a:pt x="127" y="272"/>
                  </a:lnTo>
                  <a:lnTo>
                    <a:pt x="108" y="282"/>
                  </a:lnTo>
                  <a:lnTo>
                    <a:pt x="89" y="290"/>
                  </a:lnTo>
                  <a:lnTo>
                    <a:pt x="85" y="290"/>
                  </a:lnTo>
                  <a:lnTo>
                    <a:pt x="83" y="290"/>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44" name="Freeform 311"/>
            <p:cNvSpPr>
              <a:spLocks/>
            </p:cNvSpPr>
            <p:nvPr>
              <p:custDataLst>
                <p:tags r:id="rId28"/>
              </p:custDataLst>
            </p:nvPr>
          </p:nvSpPr>
          <p:spPr bwMode="gray">
            <a:xfrm>
              <a:off x="687388" y="5176653"/>
              <a:ext cx="169862" cy="128588"/>
            </a:xfrm>
            <a:custGeom>
              <a:avLst/>
              <a:gdLst>
                <a:gd name="T0" fmla="*/ 2147483647 w 108"/>
                <a:gd name="T1" fmla="*/ 2147483647 h 87"/>
                <a:gd name="T2" fmla="*/ 2147483647 w 108"/>
                <a:gd name="T3" fmla="*/ 2147483647 h 87"/>
                <a:gd name="T4" fmla="*/ 2147483647 w 108"/>
                <a:gd name="T5" fmla="*/ 2147483647 h 87"/>
                <a:gd name="T6" fmla="*/ 2147483647 w 108"/>
                <a:gd name="T7" fmla="*/ 2147483647 h 87"/>
                <a:gd name="T8" fmla="*/ 2147483647 w 108"/>
                <a:gd name="T9" fmla="*/ 2147483647 h 87"/>
                <a:gd name="T10" fmla="*/ 2147483647 w 108"/>
                <a:gd name="T11" fmla="*/ 2147483647 h 87"/>
                <a:gd name="T12" fmla="*/ 0 w 108"/>
                <a:gd name="T13" fmla="*/ 2147483647 h 87"/>
                <a:gd name="T14" fmla="*/ 0 w 108"/>
                <a:gd name="T15" fmla="*/ 2147483647 h 87"/>
                <a:gd name="T16" fmla="*/ 0 w 108"/>
                <a:gd name="T17" fmla="*/ 2147483647 h 87"/>
                <a:gd name="T18" fmla="*/ 0 w 108"/>
                <a:gd name="T19" fmla="*/ 2147483647 h 87"/>
                <a:gd name="T20" fmla="*/ 0 w 108"/>
                <a:gd name="T21" fmla="*/ 2147483647 h 87"/>
                <a:gd name="T22" fmla="*/ 2147483647 w 108"/>
                <a:gd name="T23" fmla="*/ 2147483647 h 87"/>
                <a:gd name="T24" fmla="*/ 2147483647 w 108"/>
                <a:gd name="T25" fmla="*/ 0 h 87"/>
                <a:gd name="T26" fmla="*/ 2147483647 w 108"/>
                <a:gd name="T27" fmla="*/ 0 h 87"/>
                <a:gd name="T28" fmla="*/ 2147483647 w 108"/>
                <a:gd name="T29" fmla="*/ 0 h 87"/>
                <a:gd name="T30" fmla="*/ 2147483647 w 108"/>
                <a:gd name="T31" fmla="*/ 2147483647 h 87"/>
                <a:gd name="T32" fmla="*/ 2147483647 w 108"/>
                <a:gd name="T33" fmla="*/ 2147483647 h 87"/>
                <a:gd name="T34" fmla="*/ 2147483647 w 108"/>
                <a:gd name="T35" fmla="*/ 2147483647 h 87"/>
                <a:gd name="T36" fmla="*/ 2147483647 w 108"/>
                <a:gd name="T37" fmla="*/ 2147483647 h 87"/>
                <a:gd name="T38" fmla="*/ 2147483647 w 108"/>
                <a:gd name="T39" fmla="*/ 2147483647 h 87"/>
                <a:gd name="T40" fmla="*/ 2147483647 w 108"/>
                <a:gd name="T41" fmla="*/ 2147483647 h 87"/>
                <a:gd name="T42" fmla="*/ 2147483647 w 108"/>
                <a:gd name="T43" fmla="*/ 2147483647 h 87"/>
                <a:gd name="T44" fmla="*/ 2147483647 w 108"/>
                <a:gd name="T45" fmla="*/ 2147483647 h 87"/>
                <a:gd name="T46" fmla="*/ 2147483647 w 108"/>
                <a:gd name="T47" fmla="*/ 2147483647 h 87"/>
                <a:gd name="T48" fmla="*/ 2147483647 w 108"/>
                <a:gd name="T49" fmla="*/ 2147483647 h 87"/>
                <a:gd name="T50" fmla="*/ 2147483647 w 108"/>
                <a:gd name="T51" fmla="*/ 2147483647 h 87"/>
                <a:gd name="T52" fmla="*/ 2147483647 w 108"/>
                <a:gd name="T53" fmla="*/ 2147483647 h 87"/>
                <a:gd name="T54" fmla="*/ 2147483647 w 108"/>
                <a:gd name="T55" fmla="*/ 2147483647 h 87"/>
                <a:gd name="T56" fmla="*/ 2147483647 w 108"/>
                <a:gd name="T57" fmla="*/ 0 h 87"/>
                <a:gd name="T58" fmla="*/ 2147483647 w 108"/>
                <a:gd name="T59" fmla="*/ 2147483647 h 87"/>
                <a:gd name="T60" fmla="*/ 2147483647 w 108"/>
                <a:gd name="T61" fmla="*/ 2147483647 h 87"/>
                <a:gd name="T62" fmla="*/ 2147483647 w 108"/>
                <a:gd name="T63" fmla="*/ 2147483647 h 87"/>
                <a:gd name="T64" fmla="*/ 2147483647 w 108"/>
                <a:gd name="T65" fmla="*/ 2147483647 h 87"/>
                <a:gd name="T66" fmla="*/ 2147483647 w 108"/>
                <a:gd name="T67" fmla="*/ 2147483647 h 87"/>
                <a:gd name="T68" fmla="*/ 2147483647 w 108"/>
                <a:gd name="T69" fmla="*/ 2147483647 h 87"/>
                <a:gd name="T70" fmla="*/ 2147483647 w 108"/>
                <a:gd name="T71" fmla="*/ 2147483647 h 87"/>
                <a:gd name="T72" fmla="*/ 2147483647 w 108"/>
                <a:gd name="T73" fmla="*/ 2147483647 h 87"/>
                <a:gd name="T74" fmla="*/ 2147483647 w 108"/>
                <a:gd name="T75" fmla="*/ 2147483647 h 87"/>
                <a:gd name="T76" fmla="*/ 2147483647 w 108"/>
                <a:gd name="T77" fmla="*/ 2147483647 h 87"/>
                <a:gd name="T78" fmla="*/ 2147483647 w 108"/>
                <a:gd name="T79" fmla="*/ 2147483647 h 87"/>
                <a:gd name="T80" fmla="*/ 2147483647 w 108"/>
                <a:gd name="T81" fmla="*/ 2147483647 h 87"/>
                <a:gd name="T82" fmla="*/ 2147483647 w 108"/>
                <a:gd name="T83" fmla="*/ 2147483647 h 87"/>
                <a:gd name="T84" fmla="*/ 2147483647 w 108"/>
                <a:gd name="T85" fmla="*/ 2147483647 h 87"/>
                <a:gd name="T86" fmla="*/ 2147483647 w 108"/>
                <a:gd name="T87" fmla="*/ 2147483647 h 87"/>
                <a:gd name="T88" fmla="*/ 2147483647 w 108"/>
                <a:gd name="T89" fmla="*/ 2147483647 h 8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08"/>
                <a:gd name="T136" fmla="*/ 0 h 87"/>
                <a:gd name="T137" fmla="*/ 108 w 108"/>
                <a:gd name="T138" fmla="*/ 87 h 8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08" h="87">
                  <a:moveTo>
                    <a:pt x="68" y="87"/>
                  </a:moveTo>
                  <a:lnTo>
                    <a:pt x="54" y="73"/>
                  </a:lnTo>
                  <a:lnTo>
                    <a:pt x="39" y="58"/>
                  </a:lnTo>
                  <a:lnTo>
                    <a:pt x="25" y="45"/>
                  </a:lnTo>
                  <a:lnTo>
                    <a:pt x="10" y="29"/>
                  </a:lnTo>
                  <a:lnTo>
                    <a:pt x="4" y="25"/>
                  </a:lnTo>
                  <a:lnTo>
                    <a:pt x="0" y="20"/>
                  </a:lnTo>
                  <a:lnTo>
                    <a:pt x="0" y="14"/>
                  </a:lnTo>
                  <a:lnTo>
                    <a:pt x="0" y="10"/>
                  </a:lnTo>
                  <a:lnTo>
                    <a:pt x="0" y="8"/>
                  </a:lnTo>
                  <a:lnTo>
                    <a:pt x="0" y="6"/>
                  </a:lnTo>
                  <a:lnTo>
                    <a:pt x="2" y="2"/>
                  </a:lnTo>
                  <a:lnTo>
                    <a:pt x="6" y="0"/>
                  </a:lnTo>
                  <a:lnTo>
                    <a:pt x="20" y="0"/>
                  </a:lnTo>
                  <a:lnTo>
                    <a:pt x="35" y="0"/>
                  </a:lnTo>
                  <a:lnTo>
                    <a:pt x="37" y="2"/>
                  </a:lnTo>
                  <a:lnTo>
                    <a:pt x="39" y="6"/>
                  </a:lnTo>
                  <a:lnTo>
                    <a:pt x="46" y="8"/>
                  </a:lnTo>
                  <a:lnTo>
                    <a:pt x="54" y="10"/>
                  </a:lnTo>
                  <a:lnTo>
                    <a:pt x="56" y="12"/>
                  </a:lnTo>
                  <a:lnTo>
                    <a:pt x="58" y="14"/>
                  </a:lnTo>
                  <a:lnTo>
                    <a:pt x="62" y="18"/>
                  </a:lnTo>
                  <a:lnTo>
                    <a:pt x="68" y="18"/>
                  </a:lnTo>
                  <a:lnTo>
                    <a:pt x="75" y="18"/>
                  </a:lnTo>
                  <a:lnTo>
                    <a:pt x="77" y="14"/>
                  </a:lnTo>
                  <a:lnTo>
                    <a:pt x="81" y="12"/>
                  </a:lnTo>
                  <a:lnTo>
                    <a:pt x="83" y="10"/>
                  </a:lnTo>
                  <a:lnTo>
                    <a:pt x="87" y="4"/>
                  </a:lnTo>
                  <a:lnTo>
                    <a:pt x="93" y="0"/>
                  </a:lnTo>
                  <a:lnTo>
                    <a:pt x="94" y="2"/>
                  </a:lnTo>
                  <a:lnTo>
                    <a:pt x="96" y="6"/>
                  </a:lnTo>
                  <a:lnTo>
                    <a:pt x="98" y="12"/>
                  </a:lnTo>
                  <a:lnTo>
                    <a:pt x="102" y="20"/>
                  </a:lnTo>
                  <a:lnTo>
                    <a:pt x="104" y="22"/>
                  </a:lnTo>
                  <a:lnTo>
                    <a:pt x="108" y="25"/>
                  </a:lnTo>
                  <a:lnTo>
                    <a:pt x="108" y="29"/>
                  </a:lnTo>
                  <a:lnTo>
                    <a:pt x="108" y="35"/>
                  </a:lnTo>
                  <a:lnTo>
                    <a:pt x="104" y="37"/>
                  </a:lnTo>
                  <a:lnTo>
                    <a:pt x="102" y="39"/>
                  </a:lnTo>
                  <a:lnTo>
                    <a:pt x="94" y="60"/>
                  </a:lnTo>
                  <a:lnTo>
                    <a:pt x="87" y="83"/>
                  </a:lnTo>
                  <a:lnTo>
                    <a:pt x="85" y="85"/>
                  </a:lnTo>
                  <a:lnTo>
                    <a:pt x="83" y="87"/>
                  </a:lnTo>
                  <a:lnTo>
                    <a:pt x="75" y="87"/>
                  </a:lnTo>
                  <a:lnTo>
                    <a:pt x="68" y="87"/>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45" name="Freeform 38"/>
            <p:cNvSpPr>
              <a:spLocks/>
            </p:cNvSpPr>
            <p:nvPr>
              <p:custDataLst>
                <p:tags r:id="rId29"/>
              </p:custDataLst>
            </p:nvPr>
          </p:nvSpPr>
          <p:spPr bwMode="gray">
            <a:xfrm>
              <a:off x="808038" y="4581341"/>
              <a:ext cx="484187" cy="519112"/>
            </a:xfrm>
            <a:custGeom>
              <a:avLst/>
              <a:gdLst>
                <a:gd name="T0" fmla="*/ 2147483647 w 311"/>
                <a:gd name="T1" fmla="*/ 2147483647 h 349"/>
                <a:gd name="T2" fmla="*/ 2147483647 w 311"/>
                <a:gd name="T3" fmla="*/ 2147483647 h 349"/>
                <a:gd name="T4" fmla="*/ 2147483647 w 311"/>
                <a:gd name="T5" fmla="*/ 2147483647 h 349"/>
                <a:gd name="T6" fmla="*/ 2147483647 w 311"/>
                <a:gd name="T7" fmla="*/ 2147483647 h 349"/>
                <a:gd name="T8" fmla="*/ 2147483647 w 311"/>
                <a:gd name="T9" fmla="*/ 2147483647 h 349"/>
                <a:gd name="T10" fmla="*/ 2147483647 w 311"/>
                <a:gd name="T11" fmla="*/ 2147483647 h 349"/>
                <a:gd name="T12" fmla="*/ 2147483647 w 311"/>
                <a:gd name="T13" fmla="*/ 2147483647 h 349"/>
                <a:gd name="T14" fmla="*/ 2147483647 w 311"/>
                <a:gd name="T15" fmla="*/ 2147483647 h 349"/>
                <a:gd name="T16" fmla="*/ 2147483647 w 311"/>
                <a:gd name="T17" fmla="*/ 2147483647 h 349"/>
                <a:gd name="T18" fmla="*/ 2147483647 w 311"/>
                <a:gd name="T19" fmla="*/ 2147483647 h 349"/>
                <a:gd name="T20" fmla="*/ 2147483647 w 311"/>
                <a:gd name="T21" fmla="*/ 2147483647 h 349"/>
                <a:gd name="T22" fmla="*/ 2147483647 w 311"/>
                <a:gd name="T23" fmla="*/ 2147483647 h 349"/>
                <a:gd name="T24" fmla="*/ 2147483647 w 311"/>
                <a:gd name="T25" fmla="*/ 2147483647 h 349"/>
                <a:gd name="T26" fmla="*/ 2147483647 w 311"/>
                <a:gd name="T27" fmla="*/ 2147483647 h 349"/>
                <a:gd name="T28" fmla="*/ 2147483647 w 311"/>
                <a:gd name="T29" fmla="*/ 2147483647 h 349"/>
                <a:gd name="T30" fmla="*/ 2147483647 w 311"/>
                <a:gd name="T31" fmla="*/ 2147483647 h 349"/>
                <a:gd name="T32" fmla="*/ 2147483647 w 311"/>
                <a:gd name="T33" fmla="*/ 2147483647 h 349"/>
                <a:gd name="T34" fmla="*/ 2147483647 w 311"/>
                <a:gd name="T35" fmla="*/ 2147483647 h 349"/>
                <a:gd name="T36" fmla="*/ 2147483647 w 311"/>
                <a:gd name="T37" fmla="*/ 2147483647 h 349"/>
                <a:gd name="T38" fmla="*/ 2147483647 w 311"/>
                <a:gd name="T39" fmla="*/ 2147483647 h 349"/>
                <a:gd name="T40" fmla="*/ 2147483647 w 311"/>
                <a:gd name="T41" fmla="*/ 2147483647 h 349"/>
                <a:gd name="T42" fmla="*/ 2147483647 w 311"/>
                <a:gd name="T43" fmla="*/ 2147483647 h 349"/>
                <a:gd name="T44" fmla="*/ 2147483647 w 311"/>
                <a:gd name="T45" fmla="*/ 2147483647 h 349"/>
                <a:gd name="T46" fmla="*/ 2147483647 w 311"/>
                <a:gd name="T47" fmla="*/ 2147483647 h 349"/>
                <a:gd name="T48" fmla="*/ 2147483647 w 311"/>
                <a:gd name="T49" fmla="*/ 2147483647 h 349"/>
                <a:gd name="T50" fmla="*/ 2147483647 w 311"/>
                <a:gd name="T51" fmla="*/ 2147483647 h 349"/>
                <a:gd name="T52" fmla="*/ 2147483647 w 311"/>
                <a:gd name="T53" fmla="*/ 2147483647 h 349"/>
                <a:gd name="T54" fmla="*/ 2147483647 w 311"/>
                <a:gd name="T55" fmla="*/ 2147483647 h 349"/>
                <a:gd name="T56" fmla="*/ 2147483647 w 311"/>
                <a:gd name="T57" fmla="*/ 2147483647 h 349"/>
                <a:gd name="T58" fmla="*/ 2147483647 w 311"/>
                <a:gd name="T59" fmla="*/ 0 h 349"/>
                <a:gd name="T60" fmla="*/ 2147483647 w 311"/>
                <a:gd name="T61" fmla="*/ 2147483647 h 349"/>
                <a:gd name="T62" fmla="*/ 2147483647 w 311"/>
                <a:gd name="T63" fmla="*/ 2147483647 h 349"/>
                <a:gd name="T64" fmla="*/ 2147483647 w 311"/>
                <a:gd name="T65" fmla="*/ 2147483647 h 349"/>
                <a:gd name="T66" fmla="*/ 2147483647 w 311"/>
                <a:gd name="T67" fmla="*/ 2147483647 h 349"/>
                <a:gd name="T68" fmla="*/ 2147483647 w 311"/>
                <a:gd name="T69" fmla="*/ 2147483647 h 349"/>
                <a:gd name="T70" fmla="*/ 2147483647 w 311"/>
                <a:gd name="T71" fmla="*/ 2147483647 h 349"/>
                <a:gd name="T72" fmla="*/ 2147483647 w 311"/>
                <a:gd name="T73" fmla="*/ 2147483647 h 349"/>
                <a:gd name="T74" fmla="*/ 2147483647 w 311"/>
                <a:gd name="T75" fmla="*/ 2147483647 h 349"/>
                <a:gd name="T76" fmla="*/ 2147483647 w 311"/>
                <a:gd name="T77" fmla="*/ 2147483647 h 349"/>
                <a:gd name="T78" fmla="*/ 2147483647 w 311"/>
                <a:gd name="T79" fmla="*/ 2147483647 h 349"/>
                <a:gd name="T80" fmla="*/ 2147483647 w 311"/>
                <a:gd name="T81" fmla="*/ 2147483647 h 349"/>
                <a:gd name="T82" fmla="*/ 2147483647 w 311"/>
                <a:gd name="T83" fmla="*/ 2147483647 h 349"/>
                <a:gd name="T84" fmla="*/ 2147483647 w 311"/>
                <a:gd name="T85" fmla="*/ 2147483647 h 349"/>
                <a:gd name="T86" fmla="*/ 2147483647 w 311"/>
                <a:gd name="T87" fmla="*/ 2147483647 h 349"/>
                <a:gd name="T88" fmla="*/ 2147483647 w 311"/>
                <a:gd name="T89" fmla="*/ 2147483647 h 349"/>
                <a:gd name="T90" fmla="*/ 2147483647 w 311"/>
                <a:gd name="T91" fmla="*/ 2147483647 h 349"/>
                <a:gd name="T92" fmla="*/ 2147483647 w 311"/>
                <a:gd name="T93" fmla="*/ 2147483647 h 349"/>
                <a:gd name="T94" fmla="*/ 2147483647 w 311"/>
                <a:gd name="T95" fmla="*/ 2147483647 h 349"/>
                <a:gd name="T96" fmla="*/ 2147483647 w 311"/>
                <a:gd name="T97" fmla="*/ 2147483647 h 349"/>
                <a:gd name="T98" fmla="*/ 2147483647 w 311"/>
                <a:gd name="T99" fmla="*/ 2147483647 h 349"/>
                <a:gd name="T100" fmla="*/ 2147483647 w 311"/>
                <a:gd name="T101" fmla="*/ 2147483647 h 34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349"/>
                <a:gd name="T155" fmla="*/ 311 w 311"/>
                <a:gd name="T156" fmla="*/ 349 h 34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349">
                  <a:moveTo>
                    <a:pt x="209" y="349"/>
                  </a:moveTo>
                  <a:lnTo>
                    <a:pt x="205" y="346"/>
                  </a:lnTo>
                  <a:lnTo>
                    <a:pt x="202" y="346"/>
                  </a:lnTo>
                  <a:lnTo>
                    <a:pt x="200" y="346"/>
                  </a:lnTo>
                  <a:lnTo>
                    <a:pt x="198" y="348"/>
                  </a:lnTo>
                  <a:lnTo>
                    <a:pt x="196" y="348"/>
                  </a:lnTo>
                  <a:lnTo>
                    <a:pt x="194" y="348"/>
                  </a:lnTo>
                  <a:lnTo>
                    <a:pt x="190" y="344"/>
                  </a:lnTo>
                  <a:lnTo>
                    <a:pt x="184" y="340"/>
                  </a:lnTo>
                  <a:lnTo>
                    <a:pt x="182" y="338"/>
                  </a:lnTo>
                  <a:lnTo>
                    <a:pt x="182" y="340"/>
                  </a:lnTo>
                  <a:lnTo>
                    <a:pt x="181" y="342"/>
                  </a:lnTo>
                  <a:lnTo>
                    <a:pt x="181" y="344"/>
                  </a:lnTo>
                  <a:lnTo>
                    <a:pt x="179" y="344"/>
                  </a:lnTo>
                  <a:lnTo>
                    <a:pt x="177" y="344"/>
                  </a:lnTo>
                  <a:lnTo>
                    <a:pt x="175" y="340"/>
                  </a:lnTo>
                  <a:lnTo>
                    <a:pt x="163" y="330"/>
                  </a:lnTo>
                  <a:lnTo>
                    <a:pt x="150" y="319"/>
                  </a:lnTo>
                  <a:lnTo>
                    <a:pt x="140" y="311"/>
                  </a:lnTo>
                  <a:lnTo>
                    <a:pt x="131" y="305"/>
                  </a:lnTo>
                  <a:lnTo>
                    <a:pt x="123" y="300"/>
                  </a:lnTo>
                  <a:lnTo>
                    <a:pt x="115" y="298"/>
                  </a:lnTo>
                  <a:lnTo>
                    <a:pt x="108" y="296"/>
                  </a:lnTo>
                  <a:lnTo>
                    <a:pt x="100" y="294"/>
                  </a:lnTo>
                  <a:lnTo>
                    <a:pt x="96" y="288"/>
                  </a:lnTo>
                  <a:lnTo>
                    <a:pt x="96" y="282"/>
                  </a:lnTo>
                  <a:lnTo>
                    <a:pt x="94" y="282"/>
                  </a:lnTo>
                  <a:lnTo>
                    <a:pt x="92" y="282"/>
                  </a:lnTo>
                  <a:lnTo>
                    <a:pt x="90" y="278"/>
                  </a:lnTo>
                  <a:lnTo>
                    <a:pt x="88" y="277"/>
                  </a:lnTo>
                  <a:lnTo>
                    <a:pt x="79" y="271"/>
                  </a:lnTo>
                  <a:lnTo>
                    <a:pt x="69" y="267"/>
                  </a:lnTo>
                  <a:lnTo>
                    <a:pt x="71" y="265"/>
                  </a:lnTo>
                  <a:lnTo>
                    <a:pt x="73" y="261"/>
                  </a:lnTo>
                  <a:lnTo>
                    <a:pt x="77" y="259"/>
                  </a:lnTo>
                  <a:lnTo>
                    <a:pt x="77" y="252"/>
                  </a:lnTo>
                  <a:lnTo>
                    <a:pt x="77" y="246"/>
                  </a:lnTo>
                  <a:lnTo>
                    <a:pt x="73" y="242"/>
                  </a:lnTo>
                  <a:lnTo>
                    <a:pt x="71" y="240"/>
                  </a:lnTo>
                  <a:lnTo>
                    <a:pt x="69" y="238"/>
                  </a:lnTo>
                  <a:lnTo>
                    <a:pt x="65" y="230"/>
                  </a:lnTo>
                  <a:lnTo>
                    <a:pt x="64" y="223"/>
                  </a:lnTo>
                  <a:lnTo>
                    <a:pt x="62" y="221"/>
                  </a:lnTo>
                  <a:lnTo>
                    <a:pt x="60" y="219"/>
                  </a:lnTo>
                  <a:lnTo>
                    <a:pt x="60" y="213"/>
                  </a:lnTo>
                  <a:lnTo>
                    <a:pt x="60" y="209"/>
                  </a:lnTo>
                  <a:lnTo>
                    <a:pt x="62" y="206"/>
                  </a:lnTo>
                  <a:lnTo>
                    <a:pt x="64" y="204"/>
                  </a:lnTo>
                  <a:lnTo>
                    <a:pt x="64" y="184"/>
                  </a:lnTo>
                  <a:lnTo>
                    <a:pt x="64" y="165"/>
                  </a:lnTo>
                  <a:lnTo>
                    <a:pt x="62" y="163"/>
                  </a:lnTo>
                  <a:lnTo>
                    <a:pt x="60" y="161"/>
                  </a:lnTo>
                  <a:lnTo>
                    <a:pt x="56" y="158"/>
                  </a:lnTo>
                  <a:lnTo>
                    <a:pt x="54" y="156"/>
                  </a:lnTo>
                  <a:lnTo>
                    <a:pt x="52" y="154"/>
                  </a:lnTo>
                  <a:lnTo>
                    <a:pt x="48" y="150"/>
                  </a:lnTo>
                  <a:lnTo>
                    <a:pt x="37" y="148"/>
                  </a:lnTo>
                  <a:lnTo>
                    <a:pt x="25" y="146"/>
                  </a:lnTo>
                  <a:lnTo>
                    <a:pt x="21" y="144"/>
                  </a:lnTo>
                  <a:lnTo>
                    <a:pt x="19" y="140"/>
                  </a:lnTo>
                  <a:lnTo>
                    <a:pt x="19" y="138"/>
                  </a:lnTo>
                  <a:lnTo>
                    <a:pt x="19" y="136"/>
                  </a:lnTo>
                  <a:lnTo>
                    <a:pt x="19" y="131"/>
                  </a:lnTo>
                  <a:lnTo>
                    <a:pt x="19" y="127"/>
                  </a:lnTo>
                  <a:lnTo>
                    <a:pt x="29" y="121"/>
                  </a:lnTo>
                  <a:lnTo>
                    <a:pt x="40" y="117"/>
                  </a:lnTo>
                  <a:lnTo>
                    <a:pt x="40" y="112"/>
                  </a:lnTo>
                  <a:lnTo>
                    <a:pt x="40" y="108"/>
                  </a:lnTo>
                  <a:lnTo>
                    <a:pt x="25" y="102"/>
                  </a:lnTo>
                  <a:lnTo>
                    <a:pt x="10" y="98"/>
                  </a:lnTo>
                  <a:lnTo>
                    <a:pt x="6" y="92"/>
                  </a:lnTo>
                  <a:lnTo>
                    <a:pt x="0" y="88"/>
                  </a:lnTo>
                  <a:lnTo>
                    <a:pt x="0" y="83"/>
                  </a:lnTo>
                  <a:lnTo>
                    <a:pt x="0" y="79"/>
                  </a:lnTo>
                  <a:lnTo>
                    <a:pt x="6" y="79"/>
                  </a:lnTo>
                  <a:lnTo>
                    <a:pt x="10" y="79"/>
                  </a:lnTo>
                  <a:lnTo>
                    <a:pt x="16" y="73"/>
                  </a:lnTo>
                  <a:lnTo>
                    <a:pt x="19" y="69"/>
                  </a:lnTo>
                  <a:lnTo>
                    <a:pt x="25" y="69"/>
                  </a:lnTo>
                  <a:lnTo>
                    <a:pt x="31" y="69"/>
                  </a:lnTo>
                  <a:lnTo>
                    <a:pt x="35" y="69"/>
                  </a:lnTo>
                  <a:lnTo>
                    <a:pt x="40" y="69"/>
                  </a:lnTo>
                  <a:lnTo>
                    <a:pt x="40" y="73"/>
                  </a:lnTo>
                  <a:lnTo>
                    <a:pt x="42" y="77"/>
                  </a:lnTo>
                  <a:lnTo>
                    <a:pt x="48" y="79"/>
                  </a:lnTo>
                  <a:lnTo>
                    <a:pt x="60" y="79"/>
                  </a:lnTo>
                  <a:lnTo>
                    <a:pt x="60" y="73"/>
                  </a:lnTo>
                  <a:lnTo>
                    <a:pt x="60" y="69"/>
                  </a:lnTo>
                  <a:lnTo>
                    <a:pt x="65" y="73"/>
                  </a:lnTo>
                  <a:lnTo>
                    <a:pt x="71" y="77"/>
                  </a:lnTo>
                  <a:lnTo>
                    <a:pt x="73" y="85"/>
                  </a:lnTo>
                  <a:lnTo>
                    <a:pt x="79" y="98"/>
                  </a:lnTo>
                  <a:lnTo>
                    <a:pt x="92" y="98"/>
                  </a:lnTo>
                  <a:lnTo>
                    <a:pt x="108" y="98"/>
                  </a:lnTo>
                  <a:lnTo>
                    <a:pt x="111" y="98"/>
                  </a:lnTo>
                  <a:lnTo>
                    <a:pt x="117" y="98"/>
                  </a:lnTo>
                  <a:lnTo>
                    <a:pt x="127" y="92"/>
                  </a:lnTo>
                  <a:lnTo>
                    <a:pt x="136" y="88"/>
                  </a:lnTo>
                  <a:lnTo>
                    <a:pt x="136" y="83"/>
                  </a:lnTo>
                  <a:lnTo>
                    <a:pt x="136" y="79"/>
                  </a:lnTo>
                  <a:lnTo>
                    <a:pt x="136" y="73"/>
                  </a:lnTo>
                  <a:lnTo>
                    <a:pt x="136" y="69"/>
                  </a:lnTo>
                  <a:lnTo>
                    <a:pt x="140" y="64"/>
                  </a:lnTo>
                  <a:lnTo>
                    <a:pt x="146" y="60"/>
                  </a:lnTo>
                  <a:lnTo>
                    <a:pt x="156" y="54"/>
                  </a:lnTo>
                  <a:lnTo>
                    <a:pt x="165" y="50"/>
                  </a:lnTo>
                  <a:lnTo>
                    <a:pt x="169" y="44"/>
                  </a:lnTo>
                  <a:lnTo>
                    <a:pt x="175" y="39"/>
                  </a:lnTo>
                  <a:lnTo>
                    <a:pt x="179" y="35"/>
                  </a:lnTo>
                  <a:lnTo>
                    <a:pt x="184" y="29"/>
                  </a:lnTo>
                  <a:lnTo>
                    <a:pt x="188" y="25"/>
                  </a:lnTo>
                  <a:lnTo>
                    <a:pt x="194" y="19"/>
                  </a:lnTo>
                  <a:lnTo>
                    <a:pt x="200" y="16"/>
                  </a:lnTo>
                  <a:lnTo>
                    <a:pt x="204" y="10"/>
                  </a:lnTo>
                  <a:lnTo>
                    <a:pt x="204" y="6"/>
                  </a:lnTo>
                  <a:lnTo>
                    <a:pt x="204" y="0"/>
                  </a:lnTo>
                  <a:lnTo>
                    <a:pt x="209" y="0"/>
                  </a:lnTo>
                  <a:lnTo>
                    <a:pt x="213" y="0"/>
                  </a:lnTo>
                  <a:lnTo>
                    <a:pt x="215" y="0"/>
                  </a:lnTo>
                  <a:lnTo>
                    <a:pt x="219" y="0"/>
                  </a:lnTo>
                  <a:lnTo>
                    <a:pt x="221" y="2"/>
                  </a:lnTo>
                  <a:lnTo>
                    <a:pt x="223" y="6"/>
                  </a:lnTo>
                  <a:lnTo>
                    <a:pt x="230" y="8"/>
                  </a:lnTo>
                  <a:lnTo>
                    <a:pt x="238" y="10"/>
                  </a:lnTo>
                  <a:lnTo>
                    <a:pt x="240" y="14"/>
                  </a:lnTo>
                  <a:lnTo>
                    <a:pt x="242" y="16"/>
                  </a:lnTo>
                  <a:lnTo>
                    <a:pt x="269" y="17"/>
                  </a:lnTo>
                  <a:lnTo>
                    <a:pt x="296" y="19"/>
                  </a:lnTo>
                  <a:lnTo>
                    <a:pt x="298" y="23"/>
                  </a:lnTo>
                  <a:lnTo>
                    <a:pt x="301" y="25"/>
                  </a:lnTo>
                  <a:lnTo>
                    <a:pt x="303" y="33"/>
                  </a:lnTo>
                  <a:lnTo>
                    <a:pt x="305" y="39"/>
                  </a:lnTo>
                  <a:lnTo>
                    <a:pt x="307" y="42"/>
                  </a:lnTo>
                  <a:lnTo>
                    <a:pt x="311" y="44"/>
                  </a:lnTo>
                  <a:lnTo>
                    <a:pt x="311" y="48"/>
                  </a:lnTo>
                  <a:lnTo>
                    <a:pt x="311" y="54"/>
                  </a:lnTo>
                  <a:lnTo>
                    <a:pt x="307" y="56"/>
                  </a:lnTo>
                  <a:lnTo>
                    <a:pt x="305" y="60"/>
                  </a:lnTo>
                  <a:lnTo>
                    <a:pt x="303" y="62"/>
                  </a:lnTo>
                  <a:lnTo>
                    <a:pt x="301" y="64"/>
                  </a:lnTo>
                  <a:lnTo>
                    <a:pt x="298" y="65"/>
                  </a:lnTo>
                  <a:lnTo>
                    <a:pt x="296" y="69"/>
                  </a:lnTo>
                  <a:lnTo>
                    <a:pt x="294" y="75"/>
                  </a:lnTo>
                  <a:lnTo>
                    <a:pt x="292" y="83"/>
                  </a:lnTo>
                  <a:lnTo>
                    <a:pt x="288" y="85"/>
                  </a:lnTo>
                  <a:lnTo>
                    <a:pt x="286" y="88"/>
                  </a:lnTo>
                  <a:lnTo>
                    <a:pt x="284" y="113"/>
                  </a:lnTo>
                  <a:lnTo>
                    <a:pt x="280" y="140"/>
                  </a:lnTo>
                  <a:lnTo>
                    <a:pt x="278" y="144"/>
                  </a:lnTo>
                  <a:lnTo>
                    <a:pt x="276" y="146"/>
                  </a:lnTo>
                  <a:lnTo>
                    <a:pt x="250" y="148"/>
                  </a:lnTo>
                  <a:lnTo>
                    <a:pt x="223" y="150"/>
                  </a:lnTo>
                  <a:lnTo>
                    <a:pt x="221" y="154"/>
                  </a:lnTo>
                  <a:lnTo>
                    <a:pt x="219" y="156"/>
                  </a:lnTo>
                  <a:lnTo>
                    <a:pt x="219" y="165"/>
                  </a:lnTo>
                  <a:lnTo>
                    <a:pt x="219" y="175"/>
                  </a:lnTo>
                  <a:lnTo>
                    <a:pt x="221" y="177"/>
                  </a:lnTo>
                  <a:lnTo>
                    <a:pt x="223" y="179"/>
                  </a:lnTo>
                  <a:lnTo>
                    <a:pt x="225" y="183"/>
                  </a:lnTo>
                  <a:lnTo>
                    <a:pt x="229" y="184"/>
                  </a:lnTo>
                  <a:lnTo>
                    <a:pt x="230" y="186"/>
                  </a:lnTo>
                  <a:lnTo>
                    <a:pt x="232" y="190"/>
                  </a:lnTo>
                  <a:lnTo>
                    <a:pt x="232" y="194"/>
                  </a:lnTo>
                  <a:lnTo>
                    <a:pt x="232" y="200"/>
                  </a:lnTo>
                  <a:lnTo>
                    <a:pt x="230" y="202"/>
                  </a:lnTo>
                  <a:lnTo>
                    <a:pt x="229" y="204"/>
                  </a:lnTo>
                  <a:lnTo>
                    <a:pt x="229" y="219"/>
                  </a:lnTo>
                  <a:lnTo>
                    <a:pt x="229" y="232"/>
                  </a:lnTo>
                  <a:lnTo>
                    <a:pt x="230" y="234"/>
                  </a:lnTo>
                  <a:lnTo>
                    <a:pt x="232" y="238"/>
                  </a:lnTo>
                  <a:lnTo>
                    <a:pt x="236" y="244"/>
                  </a:lnTo>
                  <a:lnTo>
                    <a:pt x="238" y="252"/>
                  </a:lnTo>
                  <a:lnTo>
                    <a:pt x="240" y="255"/>
                  </a:lnTo>
                  <a:lnTo>
                    <a:pt x="242" y="257"/>
                  </a:lnTo>
                  <a:lnTo>
                    <a:pt x="246" y="259"/>
                  </a:lnTo>
                  <a:lnTo>
                    <a:pt x="248" y="261"/>
                  </a:lnTo>
                  <a:lnTo>
                    <a:pt x="250" y="265"/>
                  </a:lnTo>
                  <a:lnTo>
                    <a:pt x="252" y="267"/>
                  </a:lnTo>
                  <a:lnTo>
                    <a:pt x="253" y="269"/>
                  </a:lnTo>
                  <a:lnTo>
                    <a:pt x="257" y="271"/>
                  </a:lnTo>
                  <a:lnTo>
                    <a:pt x="259" y="275"/>
                  </a:lnTo>
                  <a:lnTo>
                    <a:pt x="261" y="277"/>
                  </a:lnTo>
                  <a:lnTo>
                    <a:pt x="271" y="280"/>
                  </a:lnTo>
                  <a:lnTo>
                    <a:pt x="280" y="286"/>
                  </a:lnTo>
                  <a:lnTo>
                    <a:pt x="278" y="288"/>
                  </a:lnTo>
                  <a:lnTo>
                    <a:pt x="276" y="292"/>
                  </a:lnTo>
                  <a:lnTo>
                    <a:pt x="275" y="298"/>
                  </a:lnTo>
                  <a:lnTo>
                    <a:pt x="273" y="305"/>
                  </a:lnTo>
                  <a:lnTo>
                    <a:pt x="269" y="307"/>
                  </a:lnTo>
                  <a:lnTo>
                    <a:pt x="267" y="311"/>
                  </a:lnTo>
                  <a:lnTo>
                    <a:pt x="255" y="313"/>
                  </a:lnTo>
                  <a:lnTo>
                    <a:pt x="242" y="315"/>
                  </a:lnTo>
                  <a:lnTo>
                    <a:pt x="240" y="317"/>
                  </a:lnTo>
                  <a:lnTo>
                    <a:pt x="238" y="321"/>
                  </a:lnTo>
                  <a:lnTo>
                    <a:pt x="230" y="321"/>
                  </a:lnTo>
                  <a:lnTo>
                    <a:pt x="223" y="321"/>
                  </a:lnTo>
                  <a:lnTo>
                    <a:pt x="223" y="326"/>
                  </a:lnTo>
                  <a:lnTo>
                    <a:pt x="223" y="334"/>
                  </a:lnTo>
                  <a:lnTo>
                    <a:pt x="221" y="336"/>
                  </a:lnTo>
                  <a:lnTo>
                    <a:pt x="219" y="340"/>
                  </a:lnTo>
                  <a:lnTo>
                    <a:pt x="215" y="342"/>
                  </a:lnTo>
                  <a:lnTo>
                    <a:pt x="213" y="344"/>
                  </a:lnTo>
                  <a:lnTo>
                    <a:pt x="211" y="346"/>
                  </a:lnTo>
                  <a:lnTo>
                    <a:pt x="209" y="349"/>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46" name="Freeform 313"/>
            <p:cNvSpPr>
              <a:spLocks/>
            </p:cNvSpPr>
            <p:nvPr>
              <p:custDataLst>
                <p:tags r:id="rId30"/>
              </p:custDataLst>
            </p:nvPr>
          </p:nvSpPr>
          <p:spPr bwMode="gray">
            <a:xfrm>
              <a:off x="1143000" y="4528953"/>
              <a:ext cx="511175" cy="450850"/>
            </a:xfrm>
            <a:custGeom>
              <a:avLst/>
              <a:gdLst>
                <a:gd name="T0" fmla="*/ 2147483647 w 330"/>
                <a:gd name="T1" fmla="*/ 2147483647 h 299"/>
                <a:gd name="T2" fmla="*/ 2147483647 w 330"/>
                <a:gd name="T3" fmla="*/ 2147483647 h 299"/>
                <a:gd name="T4" fmla="*/ 2147483647 w 330"/>
                <a:gd name="T5" fmla="*/ 2147483647 h 299"/>
                <a:gd name="T6" fmla="*/ 2147483647 w 330"/>
                <a:gd name="T7" fmla="*/ 2147483647 h 299"/>
                <a:gd name="T8" fmla="*/ 2147483647 w 330"/>
                <a:gd name="T9" fmla="*/ 2147483647 h 299"/>
                <a:gd name="T10" fmla="*/ 2147483647 w 330"/>
                <a:gd name="T11" fmla="*/ 2147483647 h 299"/>
                <a:gd name="T12" fmla="*/ 2147483647 w 330"/>
                <a:gd name="T13" fmla="*/ 2147483647 h 299"/>
                <a:gd name="T14" fmla="*/ 0 w 330"/>
                <a:gd name="T15" fmla="*/ 2147483647 h 299"/>
                <a:gd name="T16" fmla="*/ 2147483647 w 330"/>
                <a:gd name="T17" fmla="*/ 2147483647 h 299"/>
                <a:gd name="T18" fmla="*/ 2147483647 w 330"/>
                <a:gd name="T19" fmla="*/ 2147483647 h 299"/>
                <a:gd name="T20" fmla="*/ 2147483647 w 330"/>
                <a:gd name="T21" fmla="*/ 2147483647 h 299"/>
                <a:gd name="T22" fmla="*/ 2147483647 w 330"/>
                <a:gd name="T23" fmla="*/ 2147483647 h 299"/>
                <a:gd name="T24" fmla="*/ 2147483647 w 330"/>
                <a:gd name="T25" fmla="*/ 2147483647 h 299"/>
                <a:gd name="T26" fmla="*/ 2147483647 w 330"/>
                <a:gd name="T27" fmla="*/ 2147483647 h 299"/>
                <a:gd name="T28" fmla="*/ 2147483647 w 330"/>
                <a:gd name="T29" fmla="*/ 2147483647 h 299"/>
                <a:gd name="T30" fmla="*/ 2147483647 w 330"/>
                <a:gd name="T31" fmla="*/ 2147483647 h 299"/>
                <a:gd name="T32" fmla="*/ 2147483647 w 330"/>
                <a:gd name="T33" fmla="*/ 2147483647 h 299"/>
                <a:gd name="T34" fmla="*/ 2147483647 w 330"/>
                <a:gd name="T35" fmla="*/ 2147483647 h 299"/>
                <a:gd name="T36" fmla="*/ 2147483647 w 330"/>
                <a:gd name="T37" fmla="*/ 2147483647 h 299"/>
                <a:gd name="T38" fmla="*/ 2147483647 w 330"/>
                <a:gd name="T39" fmla="*/ 2147483647 h 299"/>
                <a:gd name="T40" fmla="*/ 2147483647 w 330"/>
                <a:gd name="T41" fmla="*/ 2147483647 h 299"/>
                <a:gd name="T42" fmla="*/ 2147483647 w 330"/>
                <a:gd name="T43" fmla="*/ 2147483647 h 299"/>
                <a:gd name="T44" fmla="*/ 2147483647 w 330"/>
                <a:gd name="T45" fmla="*/ 0 h 299"/>
                <a:gd name="T46" fmla="*/ 2147483647 w 330"/>
                <a:gd name="T47" fmla="*/ 2147483647 h 299"/>
                <a:gd name="T48" fmla="*/ 2147483647 w 330"/>
                <a:gd name="T49" fmla="*/ 2147483647 h 299"/>
                <a:gd name="T50" fmla="*/ 2147483647 w 330"/>
                <a:gd name="T51" fmla="*/ 2147483647 h 299"/>
                <a:gd name="T52" fmla="*/ 2147483647 w 330"/>
                <a:gd name="T53" fmla="*/ 2147483647 h 299"/>
                <a:gd name="T54" fmla="*/ 2147483647 w 330"/>
                <a:gd name="T55" fmla="*/ 2147483647 h 299"/>
                <a:gd name="T56" fmla="*/ 2147483647 w 330"/>
                <a:gd name="T57" fmla="*/ 2147483647 h 299"/>
                <a:gd name="T58" fmla="*/ 2147483647 w 330"/>
                <a:gd name="T59" fmla="*/ 2147483647 h 299"/>
                <a:gd name="T60" fmla="*/ 2147483647 w 330"/>
                <a:gd name="T61" fmla="*/ 2147483647 h 299"/>
                <a:gd name="T62" fmla="*/ 2147483647 w 330"/>
                <a:gd name="T63" fmla="*/ 2147483647 h 299"/>
                <a:gd name="T64" fmla="*/ 2147483647 w 330"/>
                <a:gd name="T65" fmla="*/ 2147483647 h 299"/>
                <a:gd name="T66" fmla="*/ 2147483647 w 330"/>
                <a:gd name="T67" fmla="*/ 2147483647 h 299"/>
                <a:gd name="T68" fmla="*/ 2147483647 w 330"/>
                <a:gd name="T69" fmla="*/ 2147483647 h 299"/>
                <a:gd name="T70" fmla="*/ 2147483647 w 330"/>
                <a:gd name="T71" fmla="*/ 2147483647 h 299"/>
                <a:gd name="T72" fmla="*/ 2147483647 w 330"/>
                <a:gd name="T73" fmla="*/ 2147483647 h 299"/>
                <a:gd name="T74" fmla="*/ 2147483647 w 330"/>
                <a:gd name="T75" fmla="*/ 2147483647 h 299"/>
                <a:gd name="T76" fmla="*/ 2147483647 w 330"/>
                <a:gd name="T77" fmla="*/ 2147483647 h 299"/>
                <a:gd name="T78" fmla="*/ 2147483647 w 330"/>
                <a:gd name="T79" fmla="*/ 2147483647 h 299"/>
                <a:gd name="T80" fmla="*/ 2147483647 w 330"/>
                <a:gd name="T81" fmla="*/ 2147483647 h 299"/>
                <a:gd name="T82" fmla="*/ 2147483647 w 330"/>
                <a:gd name="T83" fmla="*/ 2147483647 h 299"/>
                <a:gd name="T84" fmla="*/ 2147483647 w 330"/>
                <a:gd name="T85" fmla="*/ 2147483647 h 299"/>
                <a:gd name="T86" fmla="*/ 2147483647 w 330"/>
                <a:gd name="T87" fmla="*/ 2147483647 h 299"/>
                <a:gd name="T88" fmla="*/ 2147483647 w 330"/>
                <a:gd name="T89" fmla="*/ 2147483647 h 299"/>
                <a:gd name="T90" fmla="*/ 2147483647 w 330"/>
                <a:gd name="T91" fmla="*/ 2147483647 h 299"/>
                <a:gd name="T92" fmla="*/ 2147483647 w 330"/>
                <a:gd name="T93" fmla="*/ 2147483647 h 299"/>
                <a:gd name="T94" fmla="*/ 2147483647 w 330"/>
                <a:gd name="T95" fmla="*/ 2147483647 h 299"/>
                <a:gd name="T96" fmla="*/ 2147483647 w 330"/>
                <a:gd name="T97" fmla="*/ 2147483647 h 299"/>
                <a:gd name="T98" fmla="*/ 2147483647 w 330"/>
                <a:gd name="T99" fmla="*/ 2147483647 h 299"/>
                <a:gd name="T100" fmla="*/ 2147483647 w 330"/>
                <a:gd name="T101" fmla="*/ 2147483647 h 299"/>
                <a:gd name="T102" fmla="*/ 2147483647 w 330"/>
                <a:gd name="T103" fmla="*/ 2147483647 h 299"/>
                <a:gd name="T104" fmla="*/ 2147483647 w 330"/>
                <a:gd name="T105" fmla="*/ 2147483647 h 299"/>
                <a:gd name="T106" fmla="*/ 2147483647 w 330"/>
                <a:gd name="T107" fmla="*/ 2147483647 h 299"/>
                <a:gd name="T108" fmla="*/ 2147483647 w 330"/>
                <a:gd name="T109" fmla="*/ 2147483647 h 299"/>
                <a:gd name="T110" fmla="*/ 2147483647 w 330"/>
                <a:gd name="T111" fmla="*/ 2147483647 h 299"/>
                <a:gd name="T112" fmla="*/ 2147483647 w 330"/>
                <a:gd name="T113" fmla="*/ 2147483647 h 299"/>
                <a:gd name="T114" fmla="*/ 2147483647 w 330"/>
                <a:gd name="T115" fmla="*/ 2147483647 h 299"/>
                <a:gd name="T116" fmla="*/ 2147483647 w 330"/>
                <a:gd name="T117" fmla="*/ 2147483647 h 29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30"/>
                <a:gd name="T178" fmla="*/ 0 h 299"/>
                <a:gd name="T179" fmla="*/ 330 w 330"/>
                <a:gd name="T180" fmla="*/ 299 h 29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30" h="299">
                  <a:moveTo>
                    <a:pt x="34" y="299"/>
                  </a:moveTo>
                  <a:lnTo>
                    <a:pt x="30" y="297"/>
                  </a:lnTo>
                  <a:lnTo>
                    <a:pt x="29" y="295"/>
                  </a:lnTo>
                  <a:lnTo>
                    <a:pt x="27" y="293"/>
                  </a:lnTo>
                  <a:lnTo>
                    <a:pt x="25" y="290"/>
                  </a:lnTo>
                  <a:lnTo>
                    <a:pt x="23" y="288"/>
                  </a:lnTo>
                  <a:lnTo>
                    <a:pt x="19" y="286"/>
                  </a:lnTo>
                  <a:lnTo>
                    <a:pt x="17" y="278"/>
                  </a:lnTo>
                  <a:lnTo>
                    <a:pt x="15" y="270"/>
                  </a:lnTo>
                  <a:lnTo>
                    <a:pt x="13" y="268"/>
                  </a:lnTo>
                  <a:lnTo>
                    <a:pt x="9" y="267"/>
                  </a:lnTo>
                  <a:lnTo>
                    <a:pt x="9" y="257"/>
                  </a:lnTo>
                  <a:lnTo>
                    <a:pt x="9" y="247"/>
                  </a:lnTo>
                  <a:lnTo>
                    <a:pt x="13" y="244"/>
                  </a:lnTo>
                  <a:lnTo>
                    <a:pt x="15" y="242"/>
                  </a:lnTo>
                  <a:lnTo>
                    <a:pt x="15" y="232"/>
                  </a:lnTo>
                  <a:lnTo>
                    <a:pt x="15" y="222"/>
                  </a:lnTo>
                  <a:lnTo>
                    <a:pt x="13" y="221"/>
                  </a:lnTo>
                  <a:lnTo>
                    <a:pt x="9" y="217"/>
                  </a:lnTo>
                  <a:lnTo>
                    <a:pt x="7" y="215"/>
                  </a:lnTo>
                  <a:lnTo>
                    <a:pt x="6" y="213"/>
                  </a:lnTo>
                  <a:lnTo>
                    <a:pt x="2" y="211"/>
                  </a:lnTo>
                  <a:lnTo>
                    <a:pt x="0" y="209"/>
                  </a:lnTo>
                  <a:lnTo>
                    <a:pt x="0" y="203"/>
                  </a:lnTo>
                  <a:lnTo>
                    <a:pt x="0" y="199"/>
                  </a:lnTo>
                  <a:lnTo>
                    <a:pt x="2" y="196"/>
                  </a:lnTo>
                  <a:lnTo>
                    <a:pt x="6" y="194"/>
                  </a:lnTo>
                  <a:lnTo>
                    <a:pt x="30" y="192"/>
                  </a:lnTo>
                  <a:lnTo>
                    <a:pt x="57" y="188"/>
                  </a:lnTo>
                  <a:lnTo>
                    <a:pt x="61" y="186"/>
                  </a:lnTo>
                  <a:lnTo>
                    <a:pt x="63" y="184"/>
                  </a:lnTo>
                  <a:lnTo>
                    <a:pt x="65" y="157"/>
                  </a:lnTo>
                  <a:lnTo>
                    <a:pt x="69" y="130"/>
                  </a:lnTo>
                  <a:lnTo>
                    <a:pt x="71" y="128"/>
                  </a:lnTo>
                  <a:lnTo>
                    <a:pt x="73" y="126"/>
                  </a:lnTo>
                  <a:lnTo>
                    <a:pt x="75" y="119"/>
                  </a:lnTo>
                  <a:lnTo>
                    <a:pt x="78" y="111"/>
                  </a:lnTo>
                  <a:lnTo>
                    <a:pt x="80" y="109"/>
                  </a:lnTo>
                  <a:lnTo>
                    <a:pt x="82" y="107"/>
                  </a:lnTo>
                  <a:lnTo>
                    <a:pt x="84" y="103"/>
                  </a:lnTo>
                  <a:lnTo>
                    <a:pt x="88" y="102"/>
                  </a:lnTo>
                  <a:lnTo>
                    <a:pt x="90" y="100"/>
                  </a:lnTo>
                  <a:lnTo>
                    <a:pt x="92" y="98"/>
                  </a:lnTo>
                  <a:lnTo>
                    <a:pt x="96" y="94"/>
                  </a:lnTo>
                  <a:lnTo>
                    <a:pt x="96" y="88"/>
                  </a:lnTo>
                  <a:lnTo>
                    <a:pt x="96" y="80"/>
                  </a:lnTo>
                  <a:lnTo>
                    <a:pt x="92" y="77"/>
                  </a:lnTo>
                  <a:lnTo>
                    <a:pt x="90" y="75"/>
                  </a:lnTo>
                  <a:lnTo>
                    <a:pt x="88" y="73"/>
                  </a:lnTo>
                  <a:lnTo>
                    <a:pt x="84" y="65"/>
                  </a:lnTo>
                  <a:lnTo>
                    <a:pt x="82" y="57"/>
                  </a:lnTo>
                  <a:lnTo>
                    <a:pt x="80" y="55"/>
                  </a:lnTo>
                  <a:lnTo>
                    <a:pt x="78" y="54"/>
                  </a:lnTo>
                  <a:lnTo>
                    <a:pt x="80" y="52"/>
                  </a:lnTo>
                  <a:lnTo>
                    <a:pt x="82" y="48"/>
                  </a:lnTo>
                  <a:lnTo>
                    <a:pt x="84" y="40"/>
                  </a:lnTo>
                  <a:lnTo>
                    <a:pt x="88" y="34"/>
                  </a:lnTo>
                  <a:lnTo>
                    <a:pt x="90" y="31"/>
                  </a:lnTo>
                  <a:lnTo>
                    <a:pt x="92" y="29"/>
                  </a:lnTo>
                  <a:lnTo>
                    <a:pt x="94" y="21"/>
                  </a:lnTo>
                  <a:lnTo>
                    <a:pt x="98" y="15"/>
                  </a:lnTo>
                  <a:lnTo>
                    <a:pt x="100" y="11"/>
                  </a:lnTo>
                  <a:lnTo>
                    <a:pt x="101" y="9"/>
                  </a:lnTo>
                  <a:lnTo>
                    <a:pt x="103" y="8"/>
                  </a:lnTo>
                  <a:lnTo>
                    <a:pt x="107" y="6"/>
                  </a:lnTo>
                  <a:lnTo>
                    <a:pt x="109" y="2"/>
                  </a:lnTo>
                  <a:lnTo>
                    <a:pt x="111" y="0"/>
                  </a:lnTo>
                  <a:lnTo>
                    <a:pt x="130" y="0"/>
                  </a:lnTo>
                  <a:lnTo>
                    <a:pt x="149" y="0"/>
                  </a:lnTo>
                  <a:lnTo>
                    <a:pt x="153" y="2"/>
                  </a:lnTo>
                  <a:lnTo>
                    <a:pt x="155" y="6"/>
                  </a:lnTo>
                  <a:lnTo>
                    <a:pt x="157" y="8"/>
                  </a:lnTo>
                  <a:lnTo>
                    <a:pt x="161" y="9"/>
                  </a:lnTo>
                  <a:lnTo>
                    <a:pt x="163" y="11"/>
                  </a:lnTo>
                  <a:lnTo>
                    <a:pt x="165" y="15"/>
                  </a:lnTo>
                  <a:lnTo>
                    <a:pt x="174" y="17"/>
                  </a:lnTo>
                  <a:lnTo>
                    <a:pt x="184" y="19"/>
                  </a:lnTo>
                  <a:lnTo>
                    <a:pt x="186" y="29"/>
                  </a:lnTo>
                  <a:lnTo>
                    <a:pt x="190" y="38"/>
                  </a:lnTo>
                  <a:lnTo>
                    <a:pt x="192" y="40"/>
                  </a:lnTo>
                  <a:lnTo>
                    <a:pt x="194" y="44"/>
                  </a:lnTo>
                  <a:lnTo>
                    <a:pt x="195" y="46"/>
                  </a:lnTo>
                  <a:lnTo>
                    <a:pt x="199" y="48"/>
                  </a:lnTo>
                  <a:lnTo>
                    <a:pt x="201" y="52"/>
                  </a:lnTo>
                  <a:lnTo>
                    <a:pt x="203" y="54"/>
                  </a:lnTo>
                  <a:lnTo>
                    <a:pt x="205" y="55"/>
                  </a:lnTo>
                  <a:lnTo>
                    <a:pt x="209" y="57"/>
                  </a:lnTo>
                  <a:lnTo>
                    <a:pt x="211" y="61"/>
                  </a:lnTo>
                  <a:lnTo>
                    <a:pt x="213" y="63"/>
                  </a:lnTo>
                  <a:lnTo>
                    <a:pt x="220" y="65"/>
                  </a:lnTo>
                  <a:lnTo>
                    <a:pt x="228" y="67"/>
                  </a:lnTo>
                  <a:lnTo>
                    <a:pt x="230" y="71"/>
                  </a:lnTo>
                  <a:lnTo>
                    <a:pt x="232" y="73"/>
                  </a:lnTo>
                  <a:lnTo>
                    <a:pt x="240" y="75"/>
                  </a:lnTo>
                  <a:lnTo>
                    <a:pt x="247" y="77"/>
                  </a:lnTo>
                  <a:lnTo>
                    <a:pt x="249" y="80"/>
                  </a:lnTo>
                  <a:lnTo>
                    <a:pt x="251" y="82"/>
                  </a:lnTo>
                  <a:lnTo>
                    <a:pt x="255" y="84"/>
                  </a:lnTo>
                  <a:lnTo>
                    <a:pt x="257" y="88"/>
                  </a:lnTo>
                  <a:lnTo>
                    <a:pt x="259" y="90"/>
                  </a:lnTo>
                  <a:lnTo>
                    <a:pt x="261" y="92"/>
                  </a:lnTo>
                  <a:lnTo>
                    <a:pt x="263" y="94"/>
                  </a:lnTo>
                  <a:lnTo>
                    <a:pt x="266" y="98"/>
                  </a:lnTo>
                  <a:lnTo>
                    <a:pt x="268" y="100"/>
                  </a:lnTo>
                  <a:lnTo>
                    <a:pt x="270" y="102"/>
                  </a:lnTo>
                  <a:lnTo>
                    <a:pt x="270" y="111"/>
                  </a:lnTo>
                  <a:lnTo>
                    <a:pt x="270" y="121"/>
                  </a:lnTo>
                  <a:lnTo>
                    <a:pt x="268" y="123"/>
                  </a:lnTo>
                  <a:lnTo>
                    <a:pt x="266" y="126"/>
                  </a:lnTo>
                  <a:lnTo>
                    <a:pt x="263" y="128"/>
                  </a:lnTo>
                  <a:lnTo>
                    <a:pt x="261" y="130"/>
                  </a:lnTo>
                  <a:lnTo>
                    <a:pt x="259" y="132"/>
                  </a:lnTo>
                  <a:lnTo>
                    <a:pt x="257" y="136"/>
                  </a:lnTo>
                  <a:lnTo>
                    <a:pt x="257" y="140"/>
                  </a:lnTo>
                  <a:lnTo>
                    <a:pt x="257" y="146"/>
                  </a:lnTo>
                  <a:lnTo>
                    <a:pt x="259" y="148"/>
                  </a:lnTo>
                  <a:lnTo>
                    <a:pt x="261" y="150"/>
                  </a:lnTo>
                  <a:lnTo>
                    <a:pt x="274" y="151"/>
                  </a:lnTo>
                  <a:lnTo>
                    <a:pt x="286" y="155"/>
                  </a:lnTo>
                  <a:lnTo>
                    <a:pt x="288" y="157"/>
                  </a:lnTo>
                  <a:lnTo>
                    <a:pt x="289" y="159"/>
                  </a:lnTo>
                  <a:lnTo>
                    <a:pt x="289" y="173"/>
                  </a:lnTo>
                  <a:lnTo>
                    <a:pt x="289" y="184"/>
                  </a:lnTo>
                  <a:lnTo>
                    <a:pt x="297" y="184"/>
                  </a:lnTo>
                  <a:lnTo>
                    <a:pt x="305" y="184"/>
                  </a:lnTo>
                  <a:lnTo>
                    <a:pt x="307" y="186"/>
                  </a:lnTo>
                  <a:lnTo>
                    <a:pt x="311" y="188"/>
                  </a:lnTo>
                  <a:lnTo>
                    <a:pt x="316" y="192"/>
                  </a:lnTo>
                  <a:lnTo>
                    <a:pt x="324" y="194"/>
                  </a:lnTo>
                  <a:lnTo>
                    <a:pt x="326" y="196"/>
                  </a:lnTo>
                  <a:lnTo>
                    <a:pt x="330" y="199"/>
                  </a:lnTo>
                  <a:lnTo>
                    <a:pt x="330" y="201"/>
                  </a:lnTo>
                  <a:lnTo>
                    <a:pt x="330" y="203"/>
                  </a:lnTo>
                  <a:lnTo>
                    <a:pt x="309" y="213"/>
                  </a:lnTo>
                  <a:lnTo>
                    <a:pt x="291" y="221"/>
                  </a:lnTo>
                  <a:lnTo>
                    <a:pt x="276" y="228"/>
                  </a:lnTo>
                  <a:lnTo>
                    <a:pt x="263" y="238"/>
                  </a:lnTo>
                  <a:lnTo>
                    <a:pt x="251" y="247"/>
                  </a:lnTo>
                  <a:lnTo>
                    <a:pt x="240" y="259"/>
                  </a:lnTo>
                  <a:lnTo>
                    <a:pt x="226" y="272"/>
                  </a:lnTo>
                  <a:lnTo>
                    <a:pt x="213" y="290"/>
                  </a:lnTo>
                  <a:lnTo>
                    <a:pt x="211" y="290"/>
                  </a:lnTo>
                  <a:lnTo>
                    <a:pt x="209" y="290"/>
                  </a:lnTo>
                  <a:lnTo>
                    <a:pt x="205" y="288"/>
                  </a:lnTo>
                  <a:lnTo>
                    <a:pt x="203" y="286"/>
                  </a:lnTo>
                  <a:lnTo>
                    <a:pt x="197" y="286"/>
                  </a:lnTo>
                  <a:lnTo>
                    <a:pt x="194" y="286"/>
                  </a:lnTo>
                  <a:lnTo>
                    <a:pt x="192" y="288"/>
                  </a:lnTo>
                  <a:lnTo>
                    <a:pt x="190" y="290"/>
                  </a:lnTo>
                  <a:lnTo>
                    <a:pt x="178" y="290"/>
                  </a:lnTo>
                  <a:lnTo>
                    <a:pt x="169" y="290"/>
                  </a:lnTo>
                  <a:lnTo>
                    <a:pt x="167" y="288"/>
                  </a:lnTo>
                  <a:lnTo>
                    <a:pt x="165" y="286"/>
                  </a:lnTo>
                  <a:lnTo>
                    <a:pt x="155" y="286"/>
                  </a:lnTo>
                  <a:lnTo>
                    <a:pt x="146" y="286"/>
                  </a:lnTo>
                  <a:lnTo>
                    <a:pt x="144" y="288"/>
                  </a:lnTo>
                  <a:lnTo>
                    <a:pt x="140" y="290"/>
                  </a:lnTo>
                  <a:lnTo>
                    <a:pt x="130" y="290"/>
                  </a:lnTo>
                  <a:lnTo>
                    <a:pt x="121" y="290"/>
                  </a:lnTo>
                  <a:lnTo>
                    <a:pt x="119" y="288"/>
                  </a:lnTo>
                  <a:lnTo>
                    <a:pt x="117" y="286"/>
                  </a:lnTo>
                  <a:lnTo>
                    <a:pt x="113" y="284"/>
                  </a:lnTo>
                  <a:lnTo>
                    <a:pt x="111" y="280"/>
                  </a:lnTo>
                  <a:lnTo>
                    <a:pt x="109" y="278"/>
                  </a:lnTo>
                  <a:lnTo>
                    <a:pt x="107" y="276"/>
                  </a:lnTo>
                  <a:lnTo>
                    <a:pt x="101" y="276"/>
                  </a:lnTo>
                  <a:lnTo>
                    <a:pt x="98" y="276"/>
                  </a:lnTo>
                  <a:lnTo>
                    <a:pt x="94" y="278"/>
                  </a:lnTo>
                  <a:lnTo>
                    <a:pt x="92" y="280"/>
                  </a:lnTo>
                  <a:lnTo>
                    <a:pt x="90" y="284"/>
                  </a:lnTo>
                  <a:lnTo>
                    <a:pt x="88" y="286"/>
                  </a:lnTo>
                  <a:lnTo>
                    <a:pt x="84" y="288"/>
                  </a:lnTo>
                  <a:lnTo>
                    <a:pt x="82" y="290"/>
                  </a:lnTo>
                  <a:lnTo>
                    <a:pt x="61" y="293"/>
                  </a:lnTo>
                  <a:lnTo>
                    <a:pt x="38" y="295"/>
                  </a:lnTo>
                  <a:lnTo>
                    <a:pt x="36" y="297"/>
                  </a:lnTo>
                  <a:lnTo>
                    <a:pt x="34" y="299"/>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47" name="Freeform 40"/>
            <p:cNvSpPr>
              <a:spLocks/>
            </p:cNvSpPr>
            <p:nvPr>
              <p:custDataLst>
                <p:tags r:id="rId31"/>
              </p:custDataLst>
            </p:nvPr>
          </p:nvSpPr>
          <p:spPr bwMode="gray">
            <a:xfrm>
              <a:off x="1455738" y="4463866"/>
              <a:ext cx="541337" cy="461962"/>
            </a:xfrm>
            <a:custGeom>
              <a:avLst/>
              <a:gdLst>
                <a:gd name="T0" fmla="*/ 2147483647 w 349"/>
                <a:gd name="T1" fmla="*/ 2147483647 h 309"/>
                <a:gd name="T2" fmla="*/ 2147483647 w 349"/>
                <a:gd name="T3" fmla="*/ 2147483647 h 309"/>
                <a:gd name="T4" fmla="*/ 2147483647 w 349"/>
                <a:gd name="T5" fmla="*/ 2147483647 h 309"/>
                <a:gd name="T6" fmla="*/ 2147483647 w 349"/>
                <a:gd name="T7" fmla="*/ 2147483647 h 309"/>
                <a:gd name="T8" fmla="*/ 2147483647 w 349"/>
                <a:gd name="T9" fmla="*/ 2147483647 h 309"/>
                <a:gd name="T10" fmla="*/ 2147483647 w 349"/>
                <a:gd name="T11" fmla="*/ 2147483647 h 309"/>
                <a:gd name="T12" fmla="*/ 2147483647 w 349"/>
                <a:gd name="T13" fmla="*/ 2147483647 h 309"/>
                <a:gd name="T14" fmla="*/ 2147483647 w 349"/>
                <a:gd name="T15" fmla="*/ 2147483647 h 309"/>
                <a:gd name="T16" fmla="*/ 2147483647 w 349"/>
                <a:gd name="T17" fmla="*/ 2147483647 h 309"/>
                <a:gd name="T18" fmla="*/ 2147483647 w 349"/>
                <a:gd name="T19" fmla="*/ 2147483647 h 309"/>
                <a:gd name="T20" fmla="*/ 2147483647 w 349"/>
                <a:gd name="T21" fmla="*/ 2147483647 h 309"/>
                <a:gd name="T22" fmla="*/ 2147483647 w 349"/>
                <a:gd name="T23" fmla="*/ 2147483647 h 309"/>
                <a:gd name="T24" fmla="*/ 2147483647 w 349"/>
                <a:gd name="T25" fmla="*/ 2147483647 h 309"/>
                <a:gd name="T26" fmla="*/ 2147483647 w 349"/>
                <a:gd name="T27" fmla="*/ 2147483647 h 309"/>
                <a:gd name="T28" fmla="*/ 2147483647 w 349"/>
                <a:gd name="T29" fmla="*/ 2147483647 h 309"/>
                <a:gd name="T30" fmla="*/ 2147483647 w 349"/>
                <a:gd name="T31" fmla="*/ 2147483647 h 309"/>
                <a:gd name="T32" fmla="*/ 2147483647 w 349"/>
                <a:gd name="T33" fmla="*/ 2147483647 h 309"/>
                <a:gd name="T34" fmla="*/ 2147483647 w 349"/>
                <a:gd name="T35" fmla="*/ 2147483647 h 309"/>
                <a:gd name="T36" fmla="*/ 2147483647 w 349"/>
                <a:gd name="T37" fmla="*/ 2147483647 h 309"/>
                <a:gd name="T38" fmla="*/ 2147483647 w 349"/>
                <a:gd name="T39" fmla="*/ 2147483647 h 309"/>
                <a:gd name="T40" fmla="*/ 0 w 349"/>
                <a:gd name="T41" fmla="*/ 2147483647 h 309"/>
                <a:gd name="T42" fmla="*/ 2147483647 w 349"/>
                <a:gd name="T43" fmla="*/ 2147483647 h 309"/>
                <a:gd name="T44" fmla="*/ 2147483647 w 349"/>
                <a:gd name="T45" fmla="*/ 2147483647 h 309"/>
                <a:gd name="T46" fmla="*/ 2147483647 w 349"/>
                <a:gd name="T47" fmla="*/ 2147483647 h 309"/>
                <a:gd name="T48" fmla="*/ 2147483647 w 349"/>
                <a:gd name="T49" fmla="*/ 2147483647 h 309"/>
                <a:gd name="T50" fmla="*/ 2147483647 w 349"/>
                <a:gd name="T51" fmla="*/ 0 h 309"/>
                <a:gd name="T52" fmla="*/ 2147483647 w 349"/>
                <a:gd name="T53" fmla="*/ 2147483647 h 309"/>
                <a:gd name="T54" fmla="*/ 2147483647 w 349"/>
                <a:gd name="T55" fmla="*/ 2147483647 h 309"/>
                <a:gd name="T56" fmla="*/ 2147483647 w 349"/>
                <a:gd name="T57" fmla="*/ 2147483647 h 309"/>
                <a:gd name="T58" fmla="*/ 2147483647 w 349"/>
                <a:gd name="T59" fmla="*/ 2147483647 h 309"/>
                <a:gd name="T60" fmla="*/ 2147483647 w 349"/>
                <a:gd name="T61" fmla="*/ 2147483647 h 309"/>
                <a:gd name="T62" fmla="*/ 2147483647 w 349"/>
                <a:gd name="T63" fmla="*/ 2147483647 h 309"/>
                <a:gd name="T64" fmla="*/ 2147483647 w 349"/>
                <a:gd name="T65" fmla="*/ 2147483647 h 309"/>
                <a:gd name="T66" fmla="*/ 2147483647 w 349"/>
                <a:gd name="T67" fmla="*/ 2147483647 h 309"/>
                <a:gd name="T68" fmla="*/ 2147483647 w 349"/>
                <a:gd name="T69" fmla="*/ 2147483647 h 309"/>
                <a:gd name="T70" fmla="*/ 2147483647 w 349"/>
                <a:gd name="T71" fmla="*/ 2147483647 h 309"/>
                <a:gd name="T72" fmla="*/ 2147483647 w 349"/>
                <a:gd name="T73" fmla="*/ 2147483647 h 309"/>
                <a:gd name="T74" fmla="*/ 2147483647 w 349"/>
                <a:gd name="T75" fmla="*/ 2147483647 h 309"/>
                <a:gd name="T76" fmla="*/ 2147483647 w 349"/>
                <a:gd name="T77" fmla="*/ 2147483647 h 309"/>
                <a:gd name="T78" fmla="*/ 2147483647 w 349"/>
                <a:gd name="T79" fmla="*/ 2147483647 h 309"/>
                <a:gd name="T80" fmla="*/ 2147483647 w 349"/>
                <a:gd name="T81" fmla="*/ 2147483647 h 309"/>
                <a:gd name="T82" fmla="*/ 2147483647 w 349"/>
                <a:gd name="T83" fmla="*/ 2147483647 h 309"/>
                <a:gd name="T84" fmla="*/ 2147483647 w 349"/>
                <a:gd name="T85" fmla="*/ 2147483647 h 309"/>
                <a:gd name="T86" fmla="*/ 2147483647 w 349"/>
                <a:gd name="T87" fmla="*/ 2147483647 h 309"/>
                <a:gd name="T88" fmla="*/ 2147483647 w 349"/>
                <a:gd name="T89" fmla="*/ 2147483647 h 309"/>
                <a:gd name="T90" fmla="*/ 2147483647 w 349"/>
                <a:gd name="T91" fmla="*/ 2147483647 h 309"/>
                <a:gd name="T92" fmla="*/ 2147483647 w 349"/>
                <a:gd name="T93" fmla="*/ 2147483647 h 309"/>
                <a:gd name="T94" fmla="*/ 2147483647 w 349"/>
                <a:gd name="T95" fmla="*/ 2147483647 h 309"/>
                <a:gd name="T96" fmla="*/ 2147483647 w 349"/>
                <a:gd name="T97" fmla="*/ 2147483647 h 309"/>
                <a:gd name="T98" fmla="*/ 2147483647 w 349"/>
                <a:gd name="T99" fmla="*/ 2147483647 h 309"/>
                <a:gd name="T100" fmla="*/ 2147483647 w 349"/>
                <a:gd name="T101" fmla="*/ 2147483647 h 309"/>
                <a:gd name="T102" fmla="*/ 2147483647 w 349"/>
                <a:gd name="T103" fmla="*/ 2147483647 h 309"/>
                <a:gd name="T104" fmla="*/ 2147483647 w 349"/>
                <a:gd name="T105" fmla="*/ 2147483647 h 309"/>
                <a:gd name="T106" fmla="*/ 2147483647 w 349"/>
                <a:gd name="T107" fmla="*/ 2147483647 h 309"/>
                <a:gd name="T108" fmla="*/ 2147483647 w 349"/>
                <a:gd name="T109" fmla="*/ 2147483647 h 30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49"/>
                <a:gd name="T166" fmla="*/ 0 h 309"/>
                <a:gd name="T167" fmla="*/ 349 w 349"/>
                <a:gd name="T168" fmla="*/ 309 h 30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49" h="309">
                  <a:moveTo>
                    <a:pt x="165" y="309"/>
                  </a:moveTo>
                  <a:lnTo>
                    <a:pt x="165" y="290"/>
                  </a:lnTo>
                  <a:lnTo>
                    <a:pt x="165" y="271"/>
                  </a:lnTo>
                  <a:lnTo>
                    <a:pt x="165" y="267"/>
                  </a:lnTo>
                  <a:lnTo>
                    <a:pt x="165" y="261"/>
                  </a:lnTo>
                  <a:lnTo>
                    <a:pt x="159" y="256"/>
                  </a:lnTo>
                  <a:lnTo>
                    <a:pt x="155" y="252"/>
                  </a:lnTo>
                  <a:lnTo>
                    <a:pt x="151" y="246"/>
                  </a:lnTo>
                  <a:lnTo>
                    <a:pt x="149" y="242"/>
                  </a:lnTo>
                  <a:lnTo>
                    <a:pt x="147" y="240"/>
                  </a:lnTo>
                  <a:lnTo>
                    <a:pt x="145" y="238"/>
                  </a:lnTo>
                  <a:lnTo>
                    <a:pt x="142" y="235"/>
                  </a:lnTo>
                  <a:lnTo>
                    <a:pt x="140" y="233"/>
                  </a:lnTo>
                  <a:lnTo>
                    <a:pt x="138" y="231"/>
                  </a:lnTo>
                  <a:lnTo>
                    <a:pt x="136" y="227"/>
                  </a:lnTo>
                  <a:lnTo>
                    <a:pt x="128" y="225"/>
                  </a:lnTo>
                  <a:lnTo>
                    <a:pt x="120" y="223"/>
                  </a:lnTo>
                  <a:lnTo>
                    <a:pt x="118" y="221"/>
                  </a:lnTo>
                  <a:lnTo>
                    <a:pt x="117" y="217"/>
                  </a:lnTo>
                  <a:lnTo>
                    <a:pt x="109" y="206"/>
                  </a:lnTo>
                  <a:lnTo>
                    <a:pt x="101" y="194"/>
                  </a:lnTo>
                  <a:lnTo>
                    <a:pt x="99" y="190"/>
                  </a:lnTo>
                  <a:lnTo>
                    <a:pt x="95" y="189"/>
                  </a:lnTo>
                  <a:lnTo>
                    <a:pt x="84" y="187"/>
                  </a:lnTo>
                  <a:lnTo>
                    <a:pt x="72" y="185"/>
                  </a:lnTo>
                  <a:lnTo>
                    <a:pt x="69" y="181"/>
                  </a:lnTo>
                  <a:lnTo>
                    <a:pt x="67" y="179"/>
                  </a:lnTo>
                  <a:lnTo>
                    <a:pt x="69" y="177"/>
                  </a:lnTo>
                  <a:lnTo>
                    <a:pt x="72" y="175"/>
                  </a:lnTo>
                  <a:lnTo>
                    <a:pt x="74" y="171"/>
                  </a:lnTo>
                  <a:lnTo>
                    <a:pt x="76" y="169"/>
                  </a:lnTo>
                  <a:lnTo>
                    <a:pt x="80" y="167"/>
                  </a:lnTo>
                  <a:lnTo>
                    <a:pt x="82" y="165"/>
                  </a:lnTo>
                  <a:lnTo>
                    <a:pt x="84" y="160"/>
                  </a:lnTo>
                  <a:lnTo>
                    <a:pt x="86" y="150"/>
                  </a:lnTo>
                  <a:lnTo>
                    <a:pt x="84" y="141"/>
                  </a:lnTo>
                  <a:lnTo>
                    <a:pt x="82" y="137"/>
                  </a:lnTo>
                  <a:lnTo>
                    <a:pt x="80" y="133"/>
                  </a:lnTo>
                  <a:lnTo>
                    <a:pt x="76" y="131"/>
                  </a:lnTo>
                  <a:lnTo>
                    <a:pt x="74" y="129"/>
                  </a:lnTo>
                  <a:lnTo>
                    <a:pt x="72" y="127"/>
                  </a:lnTo>
                  <a:lnTo>
                    <a:pt x="69" y="123"/>
                  </a:lnTo>
                  <a:lnTo>
                    <a:pt x="67" y="121"/>
                  </a:lnTo>
                  <a:lnTo>
                    <a:pt x="65" y="119"/>
                  </a:lnTo>
                  <a:lnTo>
                    <a:pt x="63" y="116"/>
                  </a:lnTo>
                  <a:lnTo>
                    <a:pt x="61" y="114"/>
                  </a:lnTo>
                  <a:lnTo>
                    <a:pt x="57" y="112"/>
                  </a:lnTo>
                  <a:lnTo>
                    <a:pt x="49" y="110"/>
                  </a:lnTo>
                  <a:lnTo>
                    <a:pt x="44" y="106"/>
                  </a:lnTo>
                  <a:lnTo>
                    <a:pt x="40" y="104"/>
                  </a:lnTo>
                  <a:lnTo>
                    <a:pt x="38" y="102"/>
                  </a:lnTo>
                  <a:lnTo>
                    <a:pt x="30" y="100"/>
                  </a:lnTo>
                  <a:lnTo>
                    <a:pt x="24" y="96"/>
                  </a:lnTo>
                  <a:lnTo>
                    <a:pt x="21" y="94"/>
                  </a:lnTo>
                  <a:lnTo>
                    <a:pt x="19" y="93"/>
                  </a:lnTo>
                  <a:lnTo>
                    <a:pt x="17" y="91"/>
                  </a:lnTo>
                  <a:lnTo>
                    <a:pt x="15" y="87"/>
                  </a:lnTo>
                  <a:lnTo>
                    <a:pt x="11" y="85"/>
                  </a:lnTo>
                  <a:lnTo>
                    <a:pt x="9" y="83"/>
                  </a:lnTo>
                  <a:lnTo>
                    <a:pt x="7" y="79"/>
                  </a:lnTo>
                  <a:lnTo>
                    <a:pt x="5" y="77"/>
                  </a:lnTo>
                  <a:lnTo>
                    <a:pt x="1" y="75"/>
                  </a:lnTo>
                  <a:lnTo>
                    <a:pt x="0" y="73"/>
                  </a:lnTo>
                  <a:lnTo>
                    <a:pt x="0" y="64"/>
                  </a:lnTo>
                  <a:lnTo>
                    <a:pt x="0" y="54"/>
                  </a:lnTo>
                  <a:lnTo>
                    <a:pt x="1" y="50"/>
                  </a:lnTo>
                  <a:lnTo>
                    <a:pt x="5" y="48"/>
                  </a:lnTo>
                  <a:lnTo>
                    <a:pt x="7" y="33"/>
                  </a:lnTo>
                  <a:lnTo>
                    <a:pt x="9" y="20"/>
                  </a:lnTo>
                  <a:lnTo>
                    <a:pt x="19" y="18"/>
                  </a:lnTo>
                  <a:lnTo>
                    <a:pt x="28" y="16"/>
                  </a:lnTo>
                  <a:lnTo>
                    <a:pt x="30" y="12"/>
                  </a:lnTo>
                  <a:lnTo>
                    <a:pt x="34" y="10"/>
                  </a:lnTo>
                  <a:lnTo>
                    <a:pt x="36" y="8"/>
                  </a:lnTo>
                  <a:lnTo>
                    <a:pt x="38" y="6"/>
                  </a:lnTo>
                  <a:lnTo>
                    <a:pt x="40" y="2"/>
                  </a:lnTo>
                  <a:lnTo>
                    <a:pt x="44" y="0"/>
                  </a:lnTo>
                  <a:lnTo>
                    <a:pt x="57" y="0"/>
                  </a:lnTo>
                  <a:lnTo>
                    <a:pt x="72" y="0"/>
                  </a:lnTo>
                  <a:lnTo>
                    <a:pt x="74" y="2"/>
                  </a:lnTo>
                  <a:lnTo>
                    <a:pt x="76" y="6"/>
                  </a:lnTo>
                  <a:lnTo>
                    <a:pt x="80" y="8"/>
                  </a:lnTo>
                  <a:lnTo>
                    <a:pt x="82" y="10"/>
                  </a:lnTo>
                  <a:lnTo>
                    <a:pt x="84" y="12"/>
                  </a:lnTo>
                  <a:lnTo>
                    <a:pt x="88" y="16"/>
                  </a:lnTo>
                  <a:lnTo>
                    <a:pt x="94" y="18"/>
                  </a:lnTo>
                  <a:lnTo>
                    <a:pt x="101" y="20"/>
                  </a:lnTo>
                  <a:lnTo>
                    <a:pt x="103" y="22"/>
                  </a:lnTo>
                  <a:lnTo>
                    <a:pt x="105" y="23"/>
                  </a:lnTo>
                  <a:lnTo>
                    <a:pt x="113" y="27"/>
                  </a:lnTo>
                  <a:lnTo>
                    <a:pt x="120" y="29"/>
                  </a:lnTo>
                  <a:lnTo>
                    <a:pt x="122" y="31"/>
                  </a:lnTo>
                  <a:lnTo>
                    <a:pt x="126" y="35"/>
                  </a:lnTo>
                  <a:lnTo>
                    <a:pt x="128" y="37"/>
                  </a:lnTo>
                  <a:lnTo>
                    <a:pt x="130" y="39"/>
                  </a:lnTo>
                  <a:lnTo>
                    <a:pt x="132" y="41"/>
                  </a:lnTo>
                  <a:lnTo>
                    <a:pt x="136" y="45"/>
                  </a:lnTo>
                  <a:lnTo>
                    <a:pt x="138" y="47"/>
                  </a:lnTo>
                  <a:lnTo>
                    <a:pt x="140" y="48"/>
                  </a:lnTo>
                  <a:lnTo>
                    <a:pt x="142" y="50"/>
                  </a:lnTo>
                  <a:lnTo>
                    <a:pt x="145" y="54"/>
                  </a:lnTo>
                  <a:lnTo>
                    <a:pt x="147" y="56"/>
                  </a:lnTo>
                  <a:lnTo>
                    <a:pt x="149" y="58"/>
                  </a:lnTo>
                  <a:lnTo>
                    <a:pt x="151" y="62"/>
                  </a:lnTo>
                  <a:lnTo>
                    <a:pt x="155" y="64"/>
                  </a:lnTo>
                  <a:lnTo>
                    <a:pt x="161" y="66"/>
                  </a:lnTo>
                  <a:lnTo>
                    <a:pt x="168" y="68"/>
                  </a:lnTo>
                  <a:lnTo>
                    <a:pt x="172" y="70"/>
                  </a:lnTo>
                  <a:lnTo>
                    <a:pt x="174" y="73"/>
                  </a:lnTo>
                  <a:lnTo>
                    <a:pt x="189" y="75"/>
                  </a:lnTo>
                  <a:lnTo>
                    <a:pt x="207" y="77"/>
                  </a:lnTo>
                  <a:lnTo>
                    <a:pt x="211" y="79"/>
                  </a:lnTo>
                  <a:lnTo>
                    <a:pt x="213" y="83"/>
                  </a:lnTo>
                  <a:lnTo>
                    <a:pt x="214" y="85"/>
                  </a:lnTo>
                  <a:lnTo>
                    <a:pt x="216" y="87"/>
                  </a:lnTo>
                  <a:lnTo>
                    <a:pt x="220" y="91"/>
                  </a:lnTo>
                  <a:lnTo>
                    <a:pt x="222" y="93"/>
                  </a:lnTo>
                  <a:lnTo>
                    <a:pt x="224" y="94"/>
                  </a:lnTo>
                  <a:lnTo>
                    <a:pt x="228" y="96"/>
                  </a:lnTo>
                  <a:lnTo>
                    <a:pt x="230" y="100"/>
                  </a:lnTo>
                  <a:lnTo>
                    <a:pt x="232" y="102"/>
                  </a:lnTo>
                  <a:lnTo>
                    <a:pt x="234" y="104"/>
                  </a:lnTo>
                  <a:lnTo>
                    <a:pt x="237" y="106"/>
                  </a:lnTo>
                  <a:lnTo>
                    <a:pt x="239" y="110"/>
                  </a:lnTo>
                  <a:lnTo>
                    <a:pt x="241" y="112"/>
                  </a:lnTo>
                  <a:lnTo>
                    <a:pt x="249" y="114"/>
                  </a:lnTo>
                  <a:lnTo>
                    <a:pt x="257" y="116"/>
                  </a:lnTo>
                  <a:lnTo>
                    <a:pt x="259" y="119"/>
                  </a:lnTo>
                  <a:lnTo>
                    <a:pt x="260" y="121"/>
                  </a:lnTo>
                  <a:lnTo>
                    <a:pt x="262" y="123"/>
                  </a:lnTo>
                  <a:lnTo>
                    <a:pt x="266" y="125"/>
                  </a:lnTo>
                  <a:lnTo>
                    <a:pt x="278" y="127"/>
                  </a:lnTo>
                  <a:lnTo>
                    <a:pt x="299" y="127"/>
                  </a:lnTo>
                  <a:lnTo>
                    <a:pt x="301" y="141"/>
                  </a:lnTo>
                  <a:lnTo>
                    <a:pt x="305" y="156"/>
                  </a:lnTo>
                  <a:lnTo>
                    <a:pt x="307" y="158"/>
                  </a:lnTo>
                  <a:lnTo>
                    <a:pt x="308" y="160"/>
                  </a:lnTo>
                  <a:lnTo>
                    <a:pt x="312" y="167"/>
                  </a:lnTo>
                  <a:lnTo>
                    <a:pt x="314" y="175"/>
                  </a:lnTo>
                  <a:lnTo>
                    <a:pt x="316" y="177"/>
                  </a:lnTo>
                  <a:lnTo>
                    <a:pt x="320" y="179"/>
                  </a:lnTo>
                  <a:lnTo>
                    <a:pt x="326" y="181"/>
                  </a:lnTo>
                  <a:lnTo>
                    <a:pt x="333" y="185"/>
                  </a:lnTo>
                  <a:lnTo>
                    <a:pt x="335" y="187"/>
                  </a:lnTo>
                  <a:lnTo>
                    <a:pt x="337" y="189"/>
                  </a:lnTo>
                  <a:lnTo>
                    <a:pt x="341" y="202"/>
                  </a:lnTo>
                  <a:lnTo>
                    <a:pt x="343" y="213"/>
                  </a:lnTo>
                  <a:lnTo>
                    <a:pt x="345" y="215"/>
                  </a:lnTo>
                  <a:lnTo>
                    <a:pt x="349" y="217"/>
                  </a:lnTo>
                  <a:lnTo>
                    <a:pt x="349" y="235"/>
                  </a:lnTo>
                  <a:lnTo>
                    <a:pt x="349" y="252"/>
                  </a:lnTo>
                  <a:lnTo>
                    <a:pt x="326" y="248"/>
                  </a:lnTo>
                  <a:lnTo>
                    <a:pt x="303" y="246"/>
                  </a:lnTo>
                  <a:lnTo>
                    <a:pt x="278" y="248"/>
                  </a:lnTo>
                  <a:lnTo>
                    <a:pt x="253" y="250"/>
                  </a:lnTo>
                  <a:lnTo>
                    <a:pt x="241" y="252"/>
                  </a:lnTo>
                  <a:lnTo>
                    <a:pt x="230" y="256"/>
                  </a:lnTo>
                  <a:lnTo>
                    <a:pt x="218" y="260"/>
                  </a:lnTo>
                  <a:lnTo>
                    <a:pt x="209" y="265"/>
                  </a:lnTo>
                  <a:lnTo>
                    <a:pt x="201" y="273"/>
                  </a:lnTo>
                  <a:lnTo>
                    <a:pt x="193" y="281"/>
                  </a:lnTo>
                  <a:lnTo>
                    <a:pt x="188" y="290"/>
                  </a:lnTo>
                  <a:lnTo>
                    <a:pt x="184" y="300"/>
                  </a:lnTo>
                  <a:lnTo>
                    <a:pt x="174" y="306"/>
                  </a:lnTo>
                  <a:lnTo>
                    <a:pt x="165" y="309"/>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48" name="Freeform 315"/>
            <p:cNvSpPr>
              <a:spLocks/>
            </p:cNvSpPr>
            <p:nvPr>
              <p:custDataLst>
                <p:tags r:id="rId32"/>
              </p:custDataLst>
            </p:nvPr>
          </p:nvSpPr>
          <p:spPr bwMode="gray">
            <a:xfrm>
              <a:off x="1941513" y="4563878"/>
              <a:ext cx="344487" cy="304800"/>
            </a:xfrm>
            <a:custGeom>
              <a:avLst/>
              <a:gdLst>
                <a:gd name="T0" fmla="*/ 2147483647 w 223"/>
                <a:gd name="T1" fmla="*/ 2147483647 h 203"/>
                <a:gd name="T2" fmla="*/ 2147483647 w 223"/>
                <a:gd name="T3" fmla="*/ 2147483647 h 203"/>
                <a:gd name="T4" fmla="*/ 2147483647 w 223"/>
                <a:gd name="T5" fmla="*/ 2147483647 h 203"/>
                <a:gd name="T6" fmla="*/ 2147483647 w 223"/>
                <a:gd name="T7" fmla="*/ 2147483647 h 203"/>
                <a:gd name="T8" fmla="*/ 2147483647 w 223"/>
                <a:gd name="T9" fmla="*/ 2147483647 h 203"/>
                <a:gd name="T10" fmla="*/ 2147483647 w 223"/>
                <a:gd name="T11" fmla="*/ 2147483647 h 203"/>
                <a:gd name="T12" fmla="*/ 2147483647 w 223"/>
                <a:gd name="T13" fmla="*/ 2147483647 h 203"/>
                <a:gd name="T14" fmla="*/ 2147483647 w 223"/>
                <a:gd name="T15" fmla="*/ 2147483647 h 203"/>
                <a:gd name="T16" fmla="*/ 2147483647 w 223"/>
                <a:gd name="T17" fmla="*/ 2147483647 h 203"/>
                <a:gd name="T18" fmla="*/ 2147483647 w 223"/>
                <a:gd name="T19" fmla="*/ 2147483647 h 203"/>
                <a:gd name="T20" fmla="*/ 2147483647 w 223"/>
                <a:gd name="T21" fmla="*/ 2147483647 h 203"/>
                <a:gd name="T22" fmla="*/ 2147483647 w 223"/>
                <a:gd name="T23" fmla="*/ 2147483647 h 203"/>
                <a:gd name="T24" fmla="*/ 2147483647 w 223"/>
                <a:gd name="T25" fmla="*/ 2147483647 h 203"/>
                <a:gd name="T26" fmla="*/ 2147483647 w 223"/>
                <a:gd name="T27" fmla="*/ 2147483647 h 203"/>
                <a:gd name="T28" fmla="*/ 2147483647 w 223"/>
                <a:gd name="T29" fmla="*/ 2147483647 h 203"/>
                <a:gd name="T30" fmla="*/ 2147483647 w 223"/>
                <a:gd name="T31" fmla="*/ 2147483647 h 203"/>
                <a:gd name="T32" fmla="*/ 2147483647 w 223"/>
                <a:gd name="T33" fmla="*/ 2147483647 h 203"/>
                <a:gd name="T34" fmla="*/ 2147483647 w 223"/>
                <a:gd name="T35" fmla="*/ 2147483647 h 203"/>
                <a:gd name="T36" fmla="*/ 2147483647 w 223"/>
                <a:gd name="T37" fmla="*/ 2147483647 h 203"/>
                <a:gd name="T38" fmla="*/ 2147483647 w 223"/>
                <a:gd name="T39" fmla="*/ 2147483647 h 203"/>
                <a:gd name="T40" fmla="*/ 2147483647 w 223"/>
                <a:gd name="T41" fmla="*/ 2147483647 h 203"/>
                <a:gd name="T42" fmla="*/ 2147483647 w 223"/>
                <a:gd name="T43" fmla="*/ 2147483647 h 203"/>
                <a:gd name="T44" fmla="*/ 2147483647 w 223"/>
                <a:gd name="T45" fmla="*/ 2147483647 h 203"/>
                <a:gd name="T46" fmla="*/ 2147483647 w 223"/>
                <a:gd name="T47" fmla="*/ 2147483647 h 203"/>
                <a:gd name="T48" fmla="*/ 2147483647 w 223"/>
                <a:gd name="T49" fmla="*/ 2147483647 h 203"/>
                <a:gd name="T50" fmla="*/ 2147483647 w 223"/>
                <a:gd name="T51" fmla="*/ 2147483647 h 203"/>
                <a:gd name="T52" fmla="*/ 2147483647 w 223"/>
                <a:gd name="T53" fmla="*/ 2147483647 h 203"/>
                <a:gd name="T54" fmla="*/ 2147483647 w 223"/>
                <a:gd name="T55" fmla="*/ 2147483647 h 203"/>
                <a:gd name="T56" fmla="*/ 2147483647 w 223"/>
                <a:gd name="T57" fmla="*/ 2147483647 h 203"/>
                <a:gd name="T58" fmla="*/ 2147483647 w 223"/>
                <a:gd name="T59" fmla="*/ 2147483647 h 203"/>
                <a:gd name="T60" fmla="*/ 2147483647 w 223"/>
                <a:gd name="T61" fmla="*/ 2147483647 h 203"/>
                <a:gd name="T62" fmla="*/ 2147483647 w 223"/>
                <a:gd name="T63" fmla="*/ 2147483647 h 203"/>
                <a:gd name="T64" fmla="*/ 2147483647 w 223"/>
                <a:gd name="T65" fmla="*/ 2147483647 h 203"/>
                <a:gd name="T66" fmla="*/ 2147483647 w 223"/>
                <a:gd name="T67" fmla="*/ 2147483647 h 203"/>
                <a:gd name="T68" fmla="*/ 2147483647 w 223"/>
                <a:gd name="T69" fmla="*/ 2147483647 h 203"/>
                <a:gd name="T70" fmla="*/ 2147483647 w 223"/>
                <a:gd name="T71" fmla="*/ 2147483647 h 203"/>
                <a:gd name="T72" fmla="*/ 2147483647 w 223"/>
                <a:gd name="T73" fmla="*/ 2147483647 h 203"/>
                <a:gd name="T74" fmla="*/ 2147483647 w 223"/>
                <a:gd name="T75" fmla="*/ 2147483647 h 203"/>
                <a:gd name="T76" fmla="*/ 2147483647 w 223"/>
                <a:gd name="T77" fmla="*/ 2147483647 h 203"/>
                <a:gd name="T78" fmla="*/ 2147483647 w 223"/>
                <a:gd name="T79" fmla="*/ 2147483647 h 203"/>
                <a:gd name="T80" fmla="*/ 2147483647 w 223"/>
                <a:gd name="T81" fmla="*/ 2147483647 h 203"/>
                <a:gd name="T82" fmla="*/ 2147483647 w 223"/>
                <a:gd name="T83" fmla="*/ 2147483647 h 203"/>
                <a:gd name="T84" fmla="*/ 2147483647 w 223"/>
                <a:gd name="T85" fmla="*/ 2147483647 h 203"/>
                <a:gd name="T86" fmla="*/ 2147483647 w 223"/>
                <a:gd name="T87" fmla="*/ 2147483647 h 203"/>
                <a:gd name="T88" fmla="*/ 2147483647 w 223"/>
                <a:gd name="T89" fmla="*/ 2147483647 h 203"/>
                <a:gd name="T90" fmla="*/ 2147483647 w 223"/>
                <a:gd name="T91" fmla="*/ 2147483647 h 203"/>
                <a:gd name="T92" fmla="*/ 2147483647 w 223"/>
                <a:gd name="T93" fmla="*/ 2147483647 h 203"/>
                <a:gd name="T94" fmla="*/ 2147483647 w 223"/>
                <a:gd name="T95" fmla="*/ 2147483647 h 203"/>
                <a:gd name="T96" fmla="*/ 2147483647 w 223"/>
                <a:gd name="T97" fmla="*/ 2147483647 h 203"/>
                <a:gd name="T98" fmla="*/ 2147483647 w 223"/>
                <a:gd name="T99" fmla="*/ 2147483647 h 203"/>
                <a:gd name="T100" fmla="*/ 2147483647 w 223"/>
                <a:gd name="T101" fmla="*/ 2147483647 h 203"/>
                <a:gd name="T102" fmla="*/ 2147483647 w 223"/>
                <a:gd name="T103" fmla="*/ 2147483647 h 203"/>
                <a:gd name="T104" fmla="*/ 2147483647 w 223"/>
                <a:gd name="T105" fmla="*/ 2147483647 h 203"/>
                <a:gd name="T106" fmla="*/ 2147483647 w 223"/>
                <a:gd name="T107" fmla="*/ 2147483647 h 203"/>
                <a:gd name="T108" fmla="*/ 2147483647 w 223"/>
                <a:gd name="T109" fmla="*/ 2147483647 h 203"/>
                <a:gd name="T110" fmla="*/ 2147483647 w 223"/>
                <a:gd name="T111" fmla="*/ 2147483647 h 203"/>
                <a:gd name="T112" fmla="*/ 2147483647 w 223"/>
                <a:gd name="T113" fmla="*/ 2147483647 h 203"/>
                <a:gd name="T114" fmla="*/ 2147483647 w 223"/>
                <a:gd name="T115" fmla="*/ 2147483647 h 203"/>
                <a:gd name="T116" fmla="*/ 2147483647 w 223"/>
                <a:gd name="T117" fmla="*/ 2147483647 h 203"/>
                <a:gd name="T118" fmla="*/ 2147483647 w 223"/>
                <a:gd name="T119" fmla="*/ 2147483647 h 203"/>
                <a:gd name="T120" fmla="*/ 2147483647 w 223"/>
                <a:gd name="T121" fmla="*/ 2147483647 h 20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23"/>
                <a:gd name="T184" fmla="*/ 0 h 203"/>
                <a:gd name="T185" fmla="*/ 223 w 223"/>
                <a:gd name="T186" fmla="*/ 203 h 20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23" h="203">
                  <a:moveTo>
                    <a:pt x="50" y="203"/>
                  </a:moveTo>
                  <a:lnTo>
                    <a:pt x="46" y="180"/>
                  </a:lnTo>
                  <a:lnTo>
                    <a:pt x="45" y="155"/>
                  </a:lnTo>
                  <a:lnTo>
                    <a:pt x="43" y="154"/>
                  </a:lnTo>
                  <a:lnTo>
                    <a:pt x="41" y="150"/>
                  </a:lnTo>
                  <a:lnTo>
                    <a:pt x="37" y="138"/>
                  </a:lnTo>
                  <a:lnTo>
                    <a:pt x="35" y="127"/>
                  </a:lnTo>
                  <a:lnTo>
                    <a:pt x="33" y="123"/>
                  </a:lnTo>
                  <a:lnTo>
                    <a:pt x="29" y="121"/>
                  </a:lnTo>
                  <a:lnTo>
                    <a:pt x="23" y="119"/>
                  </a:lnTo>
                  <a:lnTo>
                    <a:pt x="16" y="117"/>
                  </a:lnTo>
                  <a:lnTo>
                    <a:pt x="14" y="113"/>
                  </a:lnTo>
                  <a:lnTo>
                    <a:pt x="12" y="111"/>
                  </a:lnTo>
                  <a:lnTo>
                    <a:pt x="8" y="104"/>
                  </a:lnTo>
                  <a:lnTo>
                    <a:pt x="6" y="98"/>
                  </a:lnTo>
                  <a:lnTo>
                    <a:pt x="4" y="94"/>
                  </a:lnTo>
                  <a:lnTo>
                    <a:pt x="0" y="92"/>
                  </a:lnTo>
                  <a:lnTo>
                    <a:pt x="4" y="75"/>
                  </a:lnTo>
                  <a:lnTo>
                    <a:pt x="6" y="58"/>
                  </a:lnTo>
                  <a:lnTo>
                    <a:pt x="8" y="42"/>
                  </a:lnTo>
                  <a:lnTo>
                    <a:pt x="12" y="25"/>
                  </a:lnTo>
                  <a:lnTo>
                    <a:pt x="14" y="21"/>
                  </a:lnTo>
                  <a:lnTo>
                    <a:pt x="16" y="19"/>
                  </a:lnTo>
                  <a:lnTo>
                    <a:pt x="23" y="17"/>
                  </a:lnTo>
                  <a:lnTo>
                    <a:pt x="29" y="15"/>
                  </a:lnTo>
                  <a:lnTo>
                    <a:pt x="33" y="12"/>
                  </a:lnTo>
                  <a:lnTo>
                    <a:pt x="35" y="10"/>
                  </a:lnTo>
                  <a:lnTo>
                    <a:pt x="37" y="8"/>
                  </a:lnTo>
                  <a:lnTo>
                    <a:pt x="41" y="6"/>
                  </a:lnTo>
                  <a:lnTo>
                    <a:pt x="43" y="4"/>
                  </a:lnTo>
                  <a:lnTo>
                    <a:pt x="45" y="0"/>
                  </a:lnTo>
                  <a:lnTo>
                    <a:pt x="46" y="4"/>
                  </a:lnTo>
                  <a:lnTo>
                    <a:pt x="50" y="6"/>
                  </a:lnTo>
                  <a:lnTo>
                    <a:pt x="52" y="8"/>
                  </a:lnTo>
                  <a:lnTo>
                    <a:pt x="54" y="10"/>
                  </a:lnTo>
                  <a:lnTo>
                    <a:pt x="56" y="12"/>
                  </a:lnTo>
                  <a:lnTo>
                    <a:pt x="60" y="15"/>
                  </a:lnTo>
                  <a:lnTo>
                    <a:pt x="66" y="17"/>
                  </a:lnTo>
                  <a:lnTo>
                    <a:pt x="73" y="19"/>
                  </a:lnTo>
                  <a:lnTo>
                    <a:pt x="75" y="21"/>
                  </a:lnTo>
                  <a:lnTo>
                    <a:pt x="79" y="25"/>
                  </a:lnTo>
                  <a:lnTo>
                    <a:pt x="85" y="27"/>
                  </a:lnTo>
                  <a:lnTo>
                    <a:pt x="93" y="29"/>
                  </a:lnTo>
                  <a:lnTo>
                    <a:pt x="96" y="33"/>
                  </a:lnTo>
                  <a:lnTo>
                    <a:pt x="98" y="35"/>
                  </a:lnTo>
                  <a:lnTo>
                    <a:pt x="108" y="35"/>
                  </a:lnTo>
                  <a:lnTo>
                    <a:pt x="117" y="35"/>
                  </a:lnTo>
                  <a:lnTo>
                    <a:pt x="119" y="33"/>
                  </a:lnTo>
                  <a:lnTo>
                    <a:pt x="121" y="29"/>
                  </a:lnTo>
                  <a:lnTo>
                    <a:pt x="125" y="27"/>
                  </a:lnTo>
                  <a:lnTo>
                    <a:pt x="127" y="25"/>
                  </a:lnTo>
                  <a:lnTo>
                    <a:pt x="129" y="21"/>
                  </a:lnTo>
                  <a:lnTo>
                    <a:pt x="131" y="19"/>
                  </a:lnTo>
                  <a:lnTo>
                    <a:pt x="135" y="13"/>
                  </a:lnTo>
                  <a:lnTo>
                    <a:pt x="137" y="6"/>
                  </a:lnTo>
                  <a:lnTo>
                    <a:pt x="139" y="4"/>
                  </a:lnTo>
                  <a:lnTo>
                    <a:pt x="140" y="0"/>
                  </a:lnTo>
                  <a:lnTo>
                    <a:pt x="144" y="4"/>
                  </a:lnTo>
                  <a:lnTo>
                    <a:pt x="146" y="6"/>
                  </a:lnTo>
                  <a:lnTo>
                    <a:pt x="148" y="8"/>
                  </a:lnTo>
                  <a:lnTo>
                    <a:pt x="152" y="10"/>
                  </a:lnTo>
                  <a:lnTo>
                    <a:pt x="154" y="12"/>
                  </a:lnTo>
                  <a:lnTo>
                    <a:pt x="156" y="15"/>
                  </a:lnTo>
                  <a:lnTo>
                    <a:pt x="162" y="17"/>
                  </a:lnTo>
                  <a:lnTo>
                    <a:pt x="175" y="19"/>
                  </a:lnTo>
                  <a:lnTo>
                    <a:pt x="188" y="17"/>
                  </a:lnTo>
                  <a:lnTo>
                    <a:pt x="194" y="15"/>
                  </a:lnTo>
                  <a:lnTo>
                    <a:pt x="196" y="12"/>
                  </a:lnTo>
                  <a:lnTo>
                    <a:pt x="200" y="10"/>
                  </a:lnTo>
                  <a:lnTo>
                    <a:pt x="202" y="12"/>
                  </a:lnTo>
                  <a:lnTo>
                    <a:pt x="204" y="15"/>
                  </a:lnTo>
                  <a:lnTo>
                    <a:pt x="206" y="21"/>
                  </a:lnTo>
                  <a:lnTo>
                    <a:pt x="210" y="29"/>
                  </a:lnTo>
                  <a:lnTo>
                    <a:pt x="211" y="33"/>
                  </a:lnTo>
                  <a:lnTo>
                    <a:pt x="213" y="35"/>
                  </a:lnTo>
                  <a:lnTo>
                    <a:pt x="217" y="36"/>
                  </a:lnTo>
                  <a:lnTo>
                    <a:pt x="219" y="38"/>
                  </a:lnTo>
                  <a:lnTo>
                    <a:pt x="221" y="42"/>
                  </a:lnTo>
                  <a:lnTo>
                    <a:pt x="223" y="44"/>
                  </a:lnTo>
                  <a:lnTo>
                    <a:pt x="221" y="58"/>
                  </a:lnTo>
                  <a:lnTo>
                    <a:pt x="219" y="73"/>
                  </a:lnTo>
                  <a:lnTo>
                    <a:pt x="215" y="88"/>
                  </a:lnTo>
                  <a:lnTo>
                    <a:pt x="213" y="102"/>
                  </a:lnTo>
                  <a:lnTo>
                    <a:pt x="211" y="104"/>
                  </a:lnTo>
                  <a:lnTo>
                    <a:pt x="210" y="107"/>
                  </a:lnTo>
                  <a:lnTo>
                    <a:pt x="198" y="109"/>
                  </a:lnTo>
                  <a:lnTo>
                    <a:pt x="185" y="111"/>
                  </a:lnTo>
                  <a:lnTo>
                    <a:pt x="183" y="113"/>
                  </a:lnTo>
                  <a:lnTo>
                    <a:pt x="181" y="117"/>
                  </a:lnTo>
                  <a:lnTo>
                    <a:pt x="177" y="123"/>
                  </a:lnTo>
                  <a:lnTo>
                    <a:pt x="175" y="131"/>
                  </a:lnTo>
                  <a:lnTo>
                    <a:pt x="173" y="132"/>
                  </a:lnTo>
                  <a:lnTo>
                    <a:pt x="171" y="136"/>
                  </a:lnTo>
                  <a:lnTo>
                    <a:pt x="167" y="138"/>
                  </a:lnTo>
                  <a:lnTo>
                    <a:pt x="165" y="140"/>
                  </a:lnTo>
                  <a:lnTo>
                    <a:pt x="164" y="144"/>
                  </a:lnTo>
                  <a:lnTo>
                    <a:pt x="162" y="146"/>
                  </a:lnTo>
                  <a:lnTo>
                    <a:pt x="158" y="148"/>
                  </a:lnTo>
                  <a:lnTo>
                    <a:pt x="156" y="150"/>
                  </a:lnTo>
                  <a:lnTo>
                    <a:pt x="154" y="154"/>
                  </a:lnTo>
                  <a:lnTo>
                    <a:pt x="152" y="155"/>
                  </a:lnTo>
                  <a:lnTo>
                    <a:pt x="148" y="157"/>
                  </a:lnTo>
                  <a:lnTo>
                    <a:pt x="146" y="159"/>
                  </a:lnTo>
                  <a:lnTo>
                    <a:pt x="144" y="163"/>
                  </a:lnTo>
                  <a:lnTo>
                    <a:pt x="140" y="165"/>
                  </a:lnTo>
                  <a:lnTo>
                    <a:pt x="129" y="167"/>
                  </a:lnTo>
                  <a:lnTo>
                    <a:pt x="117" y="169"/>
                  </a:lnTo>
                  <a:lnTo>
                    <a:pt x="114" y="173"/>
                  </a:lnTo>
                  <a:lnTo>
                    <a:pt x="112" y="175"/>
                  </a:lnTo>
                  <a:lnTo>
                    <a:pt x="110" y="177"/>
                  </a:lnTo>
                  <a:lnTo>
                    <a:pt x="108" y="180"/>
                  </a:lnTo>
                  <a:lnTo>
                    <a:pt x="104" y="182"/>
                  </a:lnTo>
                  <a:lnTo>
                    <a:pt x="102" y="184"/>
                  </a:lnTo>
                  <a:lnTo>
                    <a:pt x="100" y="186"/>
                  </a:lnTo>
                  <a:lnTo>
                    <a:pt x="98" y="190"/>
                  </a:lnTo>
                  <a:lnTo>
                    <a:pt x="96" y="192"/>
                  </a:lnTo>
                  <a:lnTo>
                    <a:pt x="93" y="194"/>
                  </a:lnTo>
                  <a:lnTo>
                    <a:pt x="81" y="196"/>
                  </a:lnTo>
                  <a:lnTo>
                    <a:pt x="70" y="198"/>
                  </a:lnTo>
                  <a:lnTo>
                    <a:pt x="66" y="202"/>
                  </a:lnTo>
                  <a:lnTo>
                    <a:pt x="64" y="203"/>
                  </a:lnTo>
                  <a:lnTo>
                    <a:pt x="56" y="203"/>
                  </a:lnTo>
                  <a:lnTo>
                    <a:pt x="50" y="203"/>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49" name="Freeform 316"/>
            <p:cNvSpPr>
              <a:spLocks/>
            </p:cNvSpPr>
            <p:nvPr>
              <p:custDataLst>
                <p:tags r:id="rId33"/>
              </p:custDataLst>
            </p:nvPr>
          </p:nvSpPr>
          <p:spPr bwMode="gray">
            <a:xfrm>
              <a:off x="2057400" y="4305116"/>
              <a:ext cx="422275" cy="406400"/>
            </a:xfrm>
            <a:custGeom>
              <a:avLst/>
              <a:gdLst>
                <a:gd name="T0" fmla="*/ 2147483647 w 271"/>
                <a:gd name="T1" fmla="*/ 2147483647 h 270"/>
                <a:gd name="T2" fmla="*/ 2147483647 w 271"/>
                <a:gd name="T3" fmla="*/ 2147483647 h 270"/>
                <a:gd name="T4" fmla="*/ 2147483647 w 271"/>
                <a:gd name="T5" fmla="*/ 2147483647 h 270"/>
                <a:gd name="T6" fmla="*/ 2147483647 w 271"/>
                <a:gd name="T7" fmla="*/ 2147483647 h 270"/>
                <a:gd name="T8" fmla="*/ 2147483647 w 271"/>
                <a:gd name="T9" fmla="*/ 2147483647 h 270"/>
                <a:gd name="T10" fmla="*/ 2147483647 w 271"/>
                <a:gd name="T11" fmla="*/ 2147483647 h 270"/>
                <a:gd name="T12" fmla="*/ 2147483647 w 271"/>
                <a:gd name="T13" fmla="*/ 2147483647 h 270"/>
                <a:gd name="T14" fmla="*/ 2147483647 w 271"/>
                <a:gd name="T15" fmla="*/ 2147483647 h 270"/>
                <a:gd name="T16" fmla="*/ 2147483647 w 271"/>
                <a:gd name="T17" fmla="*/ 2147483647 h 270"/>
                <a:gd name="T18" fmla="*/ 2147483647 w 271"/>
                <a:gd name="T19" fmla="*/ 2147483647 h 270"/>
                <a:gd name="T20" fmla="*/ 2147483647 w 271"/>
                <a:gd name="T21" fmla="*/ 2147483647 h 270"/>
                <a:gd name="T22" fmla="*/ 2147483647 w 271"/>
                <a:gd name="T23" fmla="*/ 2147483647 h 270"/>
                <a:gd name="T24" fmla="*/ 2147483647 w 271"/>
                <a:gd name="T25" fmla="*/ 2147483647 h 270"/>
                <a:gd name="T26" fmla="*/ 2147483647 w 271"/>
                <a:gd name="T27" fmla="*/ 2147483647 h 270"/>
                <a:gd name="T28" fmla="*/ 2147483647 w 271"/>
                <a:gd name="T29" fmla="*/ 2147483647 h 270"/>
                <a:gd name="T30" fmla="*/ 0 w 271"/>
                <a:gd name="T31" fmla="*/ 2147483647 h 270"/>
                <a:gd name="T32" fmla="*/ 2147483647 w 271"/>
                <a:gd name="T33" fmla="*/ 2147483647 h 270"/>
                <a:gd name="T34" fmla="*/ 2147483647 w 271"/>
                <a:gd name="T35" fmla="*/ 2147483647 h 270"/>
                <a:gd name="T36" fmla="*/ 2147483647 w 271"/>
                <a:gd name="T37" fmla="*/ 2147483647 h 270"/>
                <a:gd name="T38" fmla="*/ 2147483647 w 271"/>
                <a:gd name="T39" fmla="*/ 2147483647 h 270"/>
                <a:gd name="T40" fmla="*/ 2147483647 w 271"/>
                <a:gd name="T41" fmla="*/ 2147483647 h 270"/>
                <a:gd name="T42" fmla="*/ 2147483647 w 271"/>
                <a:gd name="T43" fmla="*/ 2147483647 h 270"/>
                <a:gd name="T44" fmla="*/ 2147483647 w 271"/>
                <a:gd name="T45" fmla="*/ 2147483647 h 270"/>
                <a:gd name="T46" fmla="*/ 2147483647 w 271"/>
                <a:gd name="T47" fmla="*/ 2147483647 h 270"/>
                <a:gd name="T48" fmla="*/ 2147483647 w 271"/>
                <a:gd name="T49" fmla="*/ 2147483647 h 270"/>
                <a:gd name="T50" fmla="*/ 2147483647 w 271"/>
                <a:gd name="T51" fmla="*/ 0 h 270"/>
                <a:gd name="T52" fmla="*/ 2147483647 w 271"/>
                <a:gd name="T53" fmla="*/ 2147483647 h 270"/>
                <a:gd name="T54" fmla="*/ 2147483647 w 271"/>
                <a:gd name="T55" fmla="*/ 2147483647 h 270"/>
                <a:gd name="T56" fmla="*/ 2147483647 w 271"/>
                <a:gd name="T57" fmla="*/ 2147483647 h 270"/>
                <a:gd name="T58" fmla="*/ 2147483647 w 271"/>
                <a:gd name="T59" fmla="*/ 2147483647 h 270"/>
                <a:gd name="T60" fmla="*/ 2147483647 w 271"/>
                <a:gd name="T61" fmla="*/ 2147483647 h 270"/>
                <a:gd name="T62" fmla="*/ 2147483647 w 271"/>
                <a:gd name="T63" fmla="*/ 2147483647 h 270"/>
                <a:gd name="T64" fmla="*/ 2147483647 w 271"/>
                <a:gd name="T65" fmla="*/ 2147483647 h 270"/>
                <a:gd name="T66" fmla="*/ 2147483647 w 271"/>
                <a:gd name="T67" fmla="*/ 2147483647 h 270"/>
                <a:gd name="T68" fmla="*/ 2147483647 w 271"/>
                <a:gd name="T69" fmla="*/ 2147483647 h 270"/>
                <a:gd name="T70" fmla="*/ 2147483647 w 271"/>
                <a:gd name="T71" fmla="*/ 2147483647 h 270"/>
                <a:gd name="T72" fmla="*/ 2147483647 w 271"/>
                <a:gd name="T73" fmla="*/ 2147483647 h 270"/>
                <a:gd name="T74" fmla="*/ 2147483647 w 271"/>
                <a:gd name="T75" fmla="*/ 2147483647 h 270"/>
                <a:gd name="T76" fmla="*/ 2147483647 w 271"/>
                <a:gd name="T77" fmla="*/ 2147483647 h 270"/>
                <a:gd name="T78" fmla="*/ 2147483647 w 271"/>
                <a:gd name="T79" fmla="*/ 2147483647 h 270"/>
                <a:gd name="T80" fmla="*/ 2147483647 w 271"/>
                <a:gd name="T81" fmla="*/ 2147483647 h 270"/>
                <a:gd name="T82" fmla="*/ 2147483647 w 271"/>
                <a:gd name="T83" fmla="*/ 2147483647 h 270"/>
                <a:gd name="T84" fmla="*/ 2147483647 w 271"/>
                <a:gd name="T85" fmla="*/ 2147483647 h 270"/>
                <a:gd name="T86" fmla="*/ 2147483647 w 271"/>
                <a:gd name="T87" fmla="*/ 2147483647 h 270"/>
                <a:gd name="T88" fmla="*/ 2147483647 w 271"/>
                <a:gd name="T89" fmla="*/ 2147483647 h 27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1"/>
                <a:gd name="T136" fmla="*/ 0 h 270"/>
                <a:gd name="T137" fmla="*/ 271 w 271"/>
                <a:gd name="T138" fmla="*/ 270 h 27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1" h="270">
                  <a:moveTo>
                    <a:pt x="179" y="270"/>
                  </a:moveTo>
                  <a:lnTo>
                    <a:pt x="177" y="267"/>
                  </a:lnTo>
                  <a:lnTo>
                    <a:pt x="173" y="265"/>
                  </a:lnTo>
                  <a:lnTo>
                    <a:pt x="171" y="253"/>
                  </a:lnTo>
                  <a:lnTo>
                    <a:pt x="169" y="242"/>
                  </a:lnTo>
                  <a:lnTo>
                    <a:pt x="167" y="238"/>
                  </a:lnTo>
                  <a:lnTo>
                    <a:pt x="165" y="236"/>
                  </a:lnTo>
                  <a:lnTo>
                    <a:pt x="157" y="219"/>
                  </a:lnTo>
                  <a:lnTo>
                    <a:pt x="150" y="201"/>
                  </a:lnTo>
                  <a:lnTo>
                    <a:pt x="146" y="199"/>
                  </a:lnTo>
                  <a:lnTo>
                    <a:pt x="144" y="198"/>
                  </a:lnTo>
                  <a:lnTo>
                    <a:pt x="142" y="196"/>
                  </a:lnTo>
                  <a:lnTo>
                    <a:pt x="140" y="192"/>
                  </a:lnTo>
                  <a:lnTo>
                    <a:pt x="138" y="190"/>
                  </a:lnTo>
                  <a:lnTo>
                    <a:pt x="134" y="188"/>
                  </a:lnTo>
                  <a:lnTo>
                    <a:pt x="132" y="180"/>
                  </a:lnTo>
                  <a:lnTo>
                    <a:pt x="131" y="173"/>
                  </a:lnTo>
                  <a:lnTo>
                    <a:pt x="127" y="171"/>
                  </a:lnTo>
                  <a:lnTo>
                    <a:pt x="125" y="169"/>
                  </a:lnTo>
                  <a:lnTo>
                    <a:pt x="121" y="169"/>
                  </a:lnTo>
                  <a:lnTo>
                    <a:pt x="115" y="169"/>
                  </a:lnTo>
                  <a:lnTo>
                    <a:pt x="113" y="171"/>
                  </a:lnTo>
                  <a:lnTo>
                    <a:pt x="111" y="173"/>
                  </a:lnTo>
                  <a:lnTo>
                    <a:pt x="96" y="173"/>
                  </a:lnTo>
                  <a:lnTo>
                    <a:pt x="83" y="173"/>
                  </a:lnTo>
                  <a:lnTo>
                    <a:pt x="79" y="171"/>
                  </a:lnTo>
                  <a:lnTo>
                    <a:pt x="77" y="169"/>
                  </a:lnTo>
                  <a:lnTo>
                    <a:pt x="75" y="167"/>
                  </a:lnTo>
                  <a:lnTo>
                    <a:pt x="73" y="163"/>
                  </a:lnTo>
                  <a:lnTo>
                    <a:pt x="69" y="161"/>
                  </a:lnTo>
                  <a:lnTo>
                    <a:pt x="67" y="159"/>
                  </a:lnTo>
                  <a:lnTo>
                    <a:pt x="65" y="146"/>
                  </a:lnTo>
                  <a:lnTo>
                    <a:pt x="61" y="134"/>
                  </a:lnTo>
                  <a:lnTo>
                    <a:pt x="60" y="132"/>
                  </a:lnTo>
                  <a:lnTo>
                    <a:pt x="58" y="128"/>
                  </a:lnTo>
                  <a:lnTo>
                    <a:pt x="56" y="123"/>
                  </a:lnTo>
                  <a:lnTo>
                    <a:pt x="52" y="115"/>
                  </a:lnTo>
                  <a:lnTo>
                    <a:pt x="50" y="113"/>
                  </a:lnTo>
                  <a:lnTo>
                    <a:pt x="48" y="111"/>
                  </a:lnTo>
                  <a:lnTo>
                    <a:pt x="31" y="107"/>
                  </a:lnTo>
                  <a:lnTo>
                    <a:pt x="14" y="105"/>
                  </a:lnTo>
                  <a:lnTo>
                    <a:pt x="12" y="104"/>
                  </a:lnTo>
                  <a:lnTo>
                    <a:pt x="10" y="100"/>
                  </a:lnTo>
                  <a:lnTo>
                    <a:pt x="6" y="94"/>
                  </a:lnTo>
                  <a:lnTo>
                    <a:pt x="4" y="86"/>
                  </a:lnTo>
                  <a:lnTo>
                    <a:pt x="2" y="84"/>
                  </a:lnTo>
                  <a:lnTo>
                    <a:pt x="0" y="81"/>
                  </a:lnTo>
                  <a:lnTo>
                    <a:pt x="0" y="77"/>
                  </a:lnTo>
                  <a:lnTo>
                    <a:pt x="0" y="71"/>
                  </a:lnTo>
                  <a:lnTo>
                    <a:pt x="2" y="69"/>
                  </a:lnTo>
                  <a:lnTo>
                    <a:pt x="4" y="67"/>
                  </a:lnTo>
                  <a:lnTo>
                    <a:pt x="6" y="54"/>
                  </a:lnTo>
                  <a:lnTo>
                    <a:pt x="10" y="42"/>
                  </a:lnTo>
                  <a:lnTo>
                    <a:pt x="12" y="40"/>
                  </a:lnTo>
                  <a:lnTo>
                    <a:pt x="14" y="38"/>
                  </a:lnTo>
                  <a:lnTo>
                    <a:pt x="17" y="34"/>
                  </a:lnTo>
                  <a:lnTo>
                    <a:pt x="19" y="33"/>
                  </a:lnTo>
                  <a:lnTo>
                    <a:pt x="21" y="31"/>
                  </a:lnTo>
                  <a:lnTo>
                    <a:pt x="23" y="29"/>
                  </a:lnTo>
                  <a:lnTo>
                    <a:pt x="31" y="25"/>
                  </a:lnTo>
                  <a:lnTo>
                    <a:pt x="38" y="23"/>
                  </a:lnTo>
                  <a:lnTo>
                    <a:pt x="40" y="21"/>
                  </a:lnTo>
                  <a:lnTo>
                    <a:pt x="42" y="19"/>
                  </a:lnTo>
                  <a:lnTo>
                    <a:pt x="50" y="15"/>
                  </a:lnTo>
                  <a:lnTo>
                    <a:pt x="58" y="13"/>
                  </a:lnTo>
                  <a:lnTo>
                    <a:pt x="60" y="11"/>
                  </a:lnTo>
                  <a:lnTo>
                    <a:pt x="61" y="10"/>
                  </a:lnTo>
                  <a:lnTo>
                    <a:pt x="65" y="11"/>
                  </a:lnTo>
                  <a:lnTo>
                    <a:pt x="67" y="13"/>
                  </a:lnTo>
                  <a:lnTo>
                    <a:pt x="77" y="13"/>
                  </a:lnTo>
                  <a:lnTo>
                    <a:pt x="86" y="13"/>
                  </a:lnTo>
                  <a:lnTo>
                    <a:pt x="88" y="11"/>
                  </a:lnTo>
                  <a:lnTo>
                    <a:pt x="92" y="10"/>
                  </a:lnTo>
                  <a:lnTo>
                    <a:pt x="94" y="6"/>
                  </a:lnTo>
                  <a:lnTo>
                    <a:pt x="96" y="4"/>
                  </a:lnTo>
                  <a:lnTo>
                    <a:pt x="98" y="2"/>
                  </a:lnTo>
                  <a:lnTo>
                    <a:pt x="102" y="0"/>
                  </a:lnTo>
                  <a:lnTo>
                    <a:pt x="106" y="0"/>
                  </a:lnTo>
                  <a:lnTo>
                    <a:pt x="111" y="0"/>
                  </a:lnTo>
                  <a:lnTo>
                    <a:pt x="113" y="2"/>
                  </a:lnTo>
                  <a:lnTo>
                    <a:pt x="115" y="4"/>
                  </a:lnTo>
                  <a:lnTo>
                    <a:pt x="129" y="6"/>
                  </a:lnTo>
                  <a:lnTo>
                    <a:pt x="140" y="10"/>
                  </a:lnTo>
                  <a:lnTo>
                    <a:pt x="142" y="11"/>
                  </a:lnTo>
                  <a:lnTo>
                    <a:pt x="144" y="13"/>
                  </a:lnTo>
                  <a:lnTo>
                    <a:pt x="146" y="15"/>
                  </a:lnTo>
                  <a:lnTo>
                    <a:pt x="150" y="19"/>
                  </a:lnTo>
                  <a:lnTo>
                    <a:pt x="152" y="21"/>
                  </a:lnTo>
                  <a:lnTo>
                    <a:pt x="154" y="23"/>
                  </a:lnTo>
                  <a:lnTo>
                    <a:pt x="157" y="31"/>
                  </a:lnTo>
                  <a:lnTo>
                    <a:pt x="159" y="38"/>
                  </a:lnTo>
                  <a:lnTo>
                    <a:pt x="161" y="40"/>
                  </a:lnTo>
                  <a:lnTo>
                    <a:pt x="165" y="42"/>
                  </a:lnTo>
                  <a:lnTo>
                    <a:pt x="167" y="50"/>
                  </a:lnTo>
                  <a:lnTo>
                    <a:pt x="169" y="58"/>
                  </a:lnTo>
                  <a:lnTo>
                    <a:pt x="171" y="59"/>
                  </a:lnTo>
                  <a:lnTo>
                    <a:pt x="173" y="61"/>
                  </a:lnTo>
                  <a:lnTo>
                    <a:pt x="180" y="79"/>
                  </a:lnTo>
                  <a:lnTo>
                    <a:pt x="188" y="96"/>
                  </a:lnTo>
                  <a:lnTo>
                    <a:pt x="190" y="98"/>
                  </a:lnTo>
                  <a:lnTo>
                    <a:pt x="194" y="100"/>
                  </a:lnTo>
                  <a:lnTo>
                    <a:pt x="196" y="104"/>
                  </a:lnTo>
                  <a:lnTo>
                    <a:pt x="198" y="105"/>
                  </a:lnTo>
                  <a:lnTo>
                    <a:pt x="200" y="107"/>
                  </a:lnTo>
                  <a:lnTo>
                    <a:pt x="203" y="111"/>
                  </a:lnTo>
                  <a:lnTo>
                    <a:pt x="228" y="113"/>
                  </a:lnTo>
                  <a:lnTo>
                    <a:pt x="255" y="115"/>
                  </a:lnTo>
                  <a:lnTo>
                    <a:pt x="257" y="117"/>
                  </a:lnTo>
                  <a:lnTo>
                    <a:pt x="261" y="121"/>
                  </a:lnTo>
                  <a:lnTo>
                    <a:pt x="257" y="123"/>
                  </a:lnTo>
                  <a:lnTo>
                    <a:pt x="255" y="125"/>
                  </a:lnTo>
                  <a:lnTo>
                    <a:pt x="253" y="134"/>
                  </a:lnTo>
                  <a:lnTo>
                    <a:pt x="251" y="144"/>
                  </a:lnTo>
                  <a:lnTo>
                    <a:pt x="261" y="144"/>
                  </a:lnTo>
                  <a:lnTo>
                    <a:pt x="271" y="144"/>
                  </a:lnTo>
                  <a:lnTo>
                    <a:pt x="271" y="161"/>
                  </a:lnTo>
                  <a:lnTo>
                    <a:pt x="271" y="178"/>
                  </a:lnTo>
                  <a:lnTo>
                    <a:pt x="267" y="180"/>
                  </a:lnTo>
                  <a:lnTo>
                    <a:pt x="265" y="182"/>
                  </a:lnTo>
                  <a:lnTo>
                    <a:pt x="238" y="182"/>
                  </a:lnTo>
                  <a:lnTo>
                    <a:pt x="213" y="182"/>
                  </a:lnTo>
                  <a:lnTo>
                    <a:pt x="213" y="205"/>
                  </a:lnTo>
                  <a:lnTo>
                    <a:pt x="213" y="226"/>
                  </a:lnTo>
                  <a:lnTo>
                    <a:pt x="209" y="228"/>
                  </a:lnTo>
                  <a:lnTo>
                    <a:pt x="207" y="232"/>
                  </a:lnTo>
                  <a:lnTo>
                    <a:pt x="205" y="238"/>
                  </a:lnTo>
                  <a:lnTo>
                    <a:pt x="203" y="246"/>
                  </a:lnTo>
                  <a:lnTo>
                    <a:pt x="200" y="247"/>
                  </a:lnTo>
                  <a:lnTo>
                    <a:pt x="198" y="251"/>
                  </a:lnTo>
                  <a:lnTo>
                    <a:pt x="196" y="253"/>
                  </a:lnTo>
                  <a:lnTo>
                    <a:pt x="194" y="255"/>
                  </a:lnTo>
                  <a:lnTo>
                    <a:pt x="190" y="257"/>
                  </a:lnTo>
                  <a:lnTo>
                    <a:pt x="188" y="261"/>
                  </a:lnTo>
                  <a:lnTo>
                    <a:pt x="182" y="265"/>
                  </a:lnTo>
                  <a:lnTo>
                    <a:pt x="179" y="270"/>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50" name="Freeform 317"/>
            <p:cNvSpPr>
              <a:spLocks/>
            </p:cNvSpPr>
            <p:nvPr>
              <p:custDataLst>
                <p:tags r:id="rId34"/>
              </p:custDataLst>
            </p:nvPr>
          </p:nvSpPr>
          <p:spPr bwMode="gray">
            <a:xfrm>
              <a:off x="1814513" y="4408303"/>
              <a:ext cx="330200" cy="230188"/>
            </a:xfrm>
            <a:custGeom>
              <a:avLst/>
              <a:gdLst>
                <a:gd name="T0" fmla="*/ 2147483647 w 213"/>
                <a:gd name="T1" fmla="*/ 2147483647 h 154"/>
                <a:gd name="T2" fmla="*/ 2147483647 w 213"/>
                <a:gd name="T3" fmla="*/ 2147483647 h 154"/>
                <a:gd name="T4" fmla="*/ 2147483647 w 213"/>
                <a:gd name="T5" fmla="*/ 2147483647 h 154"/>
                <a:gd name="T6" fmla="*/ 2147483647 w 213"/>
                <a:gd name="T7" fmla="*/ 2147483647 h 154"/>
                <a:gd name="T8" fmla="*/ 2147483647 w 213"/>
                <a:gd name="T9" fmla="*/ 2147483647 h 154"/>
                <a:gd name="T10" fmla="*/ 2147483647 w 213"/>
                <a:gd name="T11" fmla="*/ 2147483647 h 154"/>
                <a:gd name="T12" fmla="*/ 2147483647 w 213"/>
                <a:gd name="T13" fmla="*/ 2147483647 h 154"/>
                <a:gd name="T14" fmla="*/ 2147483647 w 213"/>
                <a:gd name="T15" fmla="*/ 2147483647 h 154"/>
                <a:gd name="T16" fmla="*/ 2147483647 w 213"/>
                <a:gd name="T17" fmla="*/ 2147483647 h 154"/>
                <a:gd name="T18" fmla="*/ 2147483647 w 213"/>
                <a:gd name="T19" fmla="*/ 2147483647 h 154"/>
                <a:gd name="T20" fmla="*/ 2147483647 w 213"/>
                <a:gd name="T21" fmla="*/ 2147483647 h 154"/>
                <a:gd name="T22" fmla="*/ 2147483647 w 213"/>
                <a:gd name="T23" fmla="*/ 2147483647 h 154"/>
                <a:gd name="T24" fmla="*/ 2147483647 w 213"/>
                <a:gd name="T25" fmla="*/ 2147483647 h 154"/>
                <a:gd name="T26" fmla="*/ 2147483647 w 213"/>
                <a:gd name="T27" fmla="*/ 2147483647 h 154"/>
                <a:gd name="T28" fmla="*/ 2147483647 w 213"/>
                <a:gd name="T29" fmla="*/ 2147483647 h 154"/>
                <a:gd name="T30" fmla="*/ 2147483647 w 213"/>
                <a:gd name="T31" fmla="*/ 2147483647 h 154"/>
                <a:gd name="T32" fmla="*/ 2147483647 w 213"/>
                <a:gd name="T33" fmla="*/ 2147483647 h 154"/>
                <a:gd name="T34" fmla="*/ 2147483647 w 213"/>
                <a:gd name="T35" fmla="*/ 2147483647 h 154"/>
                <a:gd name="T36" fmla="*/ 2147483647 w 213"/>
                <a:gd name="T37" fmla="*/ 2147483647 h 154"/>
                <a:gd name="T38" fmla="*/ 2147483647 w 213"/>
                <a:gd name="T39" fmla="*/ 2147483647 h 154"/>
                <a:gd name="T40" fmla="*/ 2147483647 w 213"/>
                <a:gd name="T41" fmla="*/ 0 h 154"/>
                <a:gd name="T42" fmla="*/ 2147483647 w 213"/>
                <a:gd name="T43" fmla="*/ 2147483647 h 154"/>
                <a:gd name="T44" fmla="*/ 2147483647 w 213"/>
                <a:gd name="T45" fmla="*/ 2147483647 h 154"/>
                <a:gd name="T46" fmla="*/ 2147483647 w 213"/>
                <a:gd name="T47" fmla="*/ 2147483647 h 154"/>
                <a:gd name="T48" fmla="*/ 2147483647 w 213"/>
                <a:gd name="T49" fmla="*/ 2147483647 h 154"/>
                <a:gd name="T50" fmla="*/ 2147483647 w 213"/>
                <a:gd name="T51" fmla="*/ 2147483647 h 154"/>
                <a:gd name="T52" fmla="*/ 2147483647 w 213"/>
                <a:gd name="T53" fmla="*/ 2147483647 h 154"/>
                <a:gd name="T54" fmla="*/ 2147483647 w 213"/>
                <a:gd name="T55" fmla="*/ 2147483647 h 154"/>
                <a:gd name="T56" fmla="*/ 2147483647 w 213"/>
                <a:gd name="T57" fmla="*/ 2147483647 h 154"/>
                <a:gd name="T58" fmla="*/ 2147483647 w 213"/>
                <a:gd name="T59" fmla="*/ 2147483647 h 154"/>
                <a:gd name="T60" fmla="*/ 2147483647 w 213"/>
                <a:gd name="T61" fmla="*/ 2147483647 h 154"/>
                <a:gd name="T62" fmla="*/ 2147483647 w 213"/>
                <a:gd name="T63" fmla="*/ 2147483647 h 154"/>
                <a:gd name="T64" fmla="*/ 2147483647 w 213"/>
                <a:gd name="T65" fmla="*/ 2147483647 h 154"/>
                <a:gd name="T66" fmla="*/ 2147483647 w 213"/>
                <a:gd name="T67" fmla="*/ 2147483647 h 154"/>
                <a:gd name="T68" fmla="*/ 2147483647 w 213"/>
                <a:gd name="T69" fmla="*/ 2147483647 h 154"/>
                <a:gd name="T70" fmla="*/ 2147483647 w 213"/>
                <a:gd name="T71" fmla="*/ 2147483647 h 154"/>
                <a:gd name="T72" fmla="*/ 2147483647 w 213"/>
                <a:gd name="T73" fmla="*/ 2147483647 h 154"/>
                <a:gd name="T74" fmla="*/ 2147483647 w 213"/>
                <a:gd name="T75" fmla="*/ 2147483647 h 154"/>
                <a:gd name="T76" fmla="*/ 2147483647 w 213"/>
                <a:gd name="T77" fmla="*/ 2147483647 h 154"/>
                <a:gd name="T78" fmla="*/ 2147483647 w 213"/>
                <a:gd name="T79" fmla="*/ 2147483647 h 154"/>
                <a:gd name="T80" fmla="*/ 2147483647 w 213"/>
                <a:gd name="T81" fmla="*/ 2147483647 h 154"/>
                <a:gd name="T82" fmla="*/ 2147483647 w 213"/>
                <a:gd name="T83" fmla="*/ 2147483647 h 154"/>
                <a:gd name="T84" fmla="*/ 2147483647 w 213"/>
                <a:gd name="T85" fmla="*/ 2147483647 h 154"/>
                <a:gd name="T86" fmla="*/ 2147483647 w 213"/>
                <a:gd name="T87" fmla="*/ 2147483647 h 154"/>
                <a:gd name="T88" fmla="*/ 2147483647 w 213"/>
                <a:gd name="T89" fmla="*/ 2147483647 h 154"/>
                <a:gd name="T90" fmla="*/ 2147483647 w 213"/>
                <a:gd name="T91" fmla="*/ 2147483647 h 154"/>
                <a:gd name="T92" fmla="*/ 2147483647 w 213"/>
                <a:gd name="T93" fmla="*/ 2147483647 h 154"/>
                <a:gd name="T94" fmla="*/ 2147483647 w 213"/>
                <a:gd name="T95" fmla="*/ 2147483647 h 154"/>
                <a:gd name="T96" fmla="*/ 2147483647 w 213"/>
                <a:gd name="T97" fmla="*/ 2147483647 h 154"/>
                <a:gd name="T98" fmla="*/ 2147483647 w 213"/>
                <a:gd name="T99" fmla="*/ 2147483647 h 154"/>
                <a:gd name="T100" fmla="*/ 2147483647 w 213"/>
                <a:gd name="T101" fmla="*/ 2147483647 h 154"/>
                <a:gd name="T102" fmla="*/ 2147483647 w 213"/>
                <a:gd name="T103" fmla="*/ 2147483647 h 154"/>
                <a:gd name="T104" fmla="*/ 2147483647 w 213"/>
                <a:gd name="T105" fmla="*/ 2147483647 h 154"/>
                <a:gd name="T106" fmla="*/ 2147483647 w 213"/>
                <a:gd name="T107" fmla="*/ 2147483647 h 15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13"/>
                <a:gd name="T163" fmla="*/ 0 h 154"/>
                <a:gd name="T164" fmla="*/ 213 w 213"/>
                <a:gd name="T165" fmla="*/ 154 h 15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13" h="154">
                  <a:moveTo>
                    <a:pt x="34" y="154"/>
                  </a:moveTo>
                  <a:lnTo>
                    <a:pt x="30" y="152"/>
                  </a:lnTo>
                  <a:lnTo>
                    <a:pt x="28" y="150"/>
                  </a:lnTo>
                  <a:lnTo>
                    <a:pt x="21" y="148"/>
                  </a:lnTo>
                  <a:lnTo>
                    <a:pt x="15" y="144"/>
                  </a:lnTo>
                  <a:lnTo>
                    <a:pt x="11" y="142"/>
                  </a:lnTo>
                  <a:lnTo>
                    <a:pt x="9" y="140"/>
                  </a:lnTo>
                  <a:lnTo>
                    <a:pt x="7" y="138"/>
                  </a:lnTo>
                  <a:lnTo>
                    <a:pt x="5" y="134"/>
                  </a:lnTo>
                  <a:lnTo>
                    <a:pt x="2" y="132"/>
                  </a:lnTo>
                  <a:lnTo>
                    <a:pt x="0" y="131"/>
                  </a:lnTo>
                  <a:lnTo>
                    <a:pt x="2" y="129"/>
                  </a:lnTo>
                  <a:lnTo>
                    <a:pt x="5" y="125"/>
                  </a:lnTo>
                  <a:lnTo>
                    <a:pt x="7" y="123"/>
                  </a:lnTo>
                  <a:lnTo>
                    <a:pt x="9" y="121"/>
                  </a:lnTo>
                  <a:lnTo>
                    <a:pt x="11" y="117"/>
                  </a:lnTo>
                  <a:lnTo>
                    <a:pt x="15" y="115"/>
                  </a:lnTo>
                  <a:lnTo>
                    <a:pt x="17" y="113"/>
                  </a:lnTo>
                  <a:lnTo>
                    <a:pt x="19" y="111"/>
                  </a:lnTo>
                  <a:lnTo>
                    <a:pt x="21" y="108"/>
                  </a:lnTo>
                  <a:lnTo>
                    <a:pt x="25" y="106"/>
                  </a:lnTo>
                  <a:lnTo>
                    <a:pt x="27" y="104"/>
                  </a:lnTo>
                  <a:lnTo>
                    <a:pt x="28" y="102"/>
                  </a:lnTo>
                  <a:lnTo>
                    <a:pt x="30" y="100"/>
                  </a:lnTo>
                  <a:lnTo>
                    <a:pt x="34" y="96"/>
                  </a:lnTo>
                  <a:lnTo>
                    <a:pt x="36" y="85"/>
                  </a:lnTo>
                  <a:lnTo>
                    <a:pt x="38" y="58"/>
                  </a:lnTo>
                  <a:lnTo>
                    <a:pt x="36" y="31"/>
                  </a:lnTo>
                  <a:lnTo>
                    <a:pt x="34" y="19"/>
                  </a:lnTo>
                  <a:lnTo>
                    <a:pt x="30" y="17"/>
                  </a:lnTo>
                  <a:lnTo>
                    <a:pt x="28" y="14"/>
                  </a:lnTo>
                  <a:lnTo>
                    <a:pt x="28" y="10"/>
                  </a:lnTo>
                  <a:lnTo>
                    <a:pt x="28" y="4"/>
                  </a:lnTo>
                  <a:lnTo>
                    <a:pt x="30" y="2"/>
                  </a:lnTo>
                  <a:lnTo>
                    <a:pt x="34" y="0"/>
                  </a:lnTo>
                  <a:lnTo>
                    <a:pt x="36" y="2"/>
                  </a:lnTo>
                  <a:lnTo>
                    <a:pt x="38" y="4"/>
                  </a:lnTo>
                  <a:lnTo>
                    <a:pt x="57" y="4"/>
                  </a:lnTo>
                  <a:lnTo>
                    <a:pt x="76" y="4"/>
                  </a:lnTo>
                  <a:lnTo>
                    <a:pt x="80" y="2"/>
                  </a:lnTo>
                  <a:lnTo>
                    <a:pt x="82" y="0"/>
                  </a:lnTo>
                  <a:lnTo>
                    <a:pt x="92" y="0"/>
                  </a:lnTo>
                  <a:lnTo>
                    <a:pt x="101" y="0"/>
                  </a:lnTo>
                  <a:lnTo>
                    <a:pt x="103" y="2"/>
                  </a:lnTo>
                  <a:lnTo>
                    <a:pt x="105" y="4"/>
                  </a:lnTo>
                  <a:lnTo>
                    <a:pt x="109" y="8"/>
                  </a:lnTo>
                  <a:lnTo>
                    <a:pt x="111" y="10"/>
                  </a:lnTo>
                  <a:lnTo>
                    <a:pt x="113" y="12"/>
                  </a:lnTo>
                  <a:lnTo>
                    <a:pt x="117" y="14"/>
                  </a:lnTo>
                  <a:lnTo>
                    <a:pt x="132" y="17"/>
                  </a:lnTo>
                  <a:lnTo>
                    <a:pt x="149" y="19"/>
                  </a:lnTo>
                  <a:lnTo>
                    <a:pt x="151" y="21"/>
                  </a:lnTo>
                  <a:lnTo>
                    <a:pt x="155" y="23"/>
                  </a:lnTo>
                  <a:lnTo>
                    <a:pt x="157" y="31"/>
                  </a:lnTo>
                  <a:lnTo>
                    <a:pt x="159" y="38"/>
                  </a:lnTo>
                  <a:lnTo>
                    <a:pt x="161" y="40"/>
                  </a:lnTo>
                  <a:lnTo>
                    <a:pt x="165" y="44"/>
                  </a:lnTo>
                  <a:lnTo>
                    <a:pt x="182" y="46"/>
                  </a:lnTo>
                  <a:lnTo>
                    <a:pt x="197" y="48"/>
                  </a:lnTo>
                  <a:lnTo>
                    <a:pt x="201" y="50"/>
                  </a:lnTo>
                  <a:lnTo>
                    <a:pt x="203" y="54"/>
                  </a:lnTo>
                  <a:lnTo>
                    <a:pt x="205" y="60"/>
                  </a:lnTo>
                  <a:lnTo>
                    <a:pt x="207" y="67"/>
                  </a:lnTo>
                  <a:lnTo>
                    <a:pt x="211" y="69"/>
                  </a:lnTo>
                  <a:lnTo>
                    <a:pt x="213" y="73"/>
                  </a:lnTo>
                  <a:lnTo>
                    <a:pt x="213" y="83"/>
                  </a:lnTo>
                  <a:lnTo>
                    <a:pt x="213" y="92"/>
                  </a:lnTo>
                  <a:lnTo>
                    <a:pt x="211" y="94"/>
                  </a:lnTo>
                  <a:lnTo>
                    <a:pt x="207" y="96"/>
                  </a:lnTo>
                  <a:lnTo>
                    <a:pt x="205" y="104"/>
                  </a:lnTo>
                  <a:lnTo>
                    <a:pt x="203" y="111"/>
                  </a:lnTo>
                  <a:lnTo>
                    <a:pt x="201" y="113"/>
                  </a:lnTo>
                  <a:lnTo>
                    <a:pt x="197" y="115"/>
                  </a:lnTo>
                  <a:lnTo>
                    <a:pt x="195" y="117"/>
                  </a:lnTo>
                  <a:lnTo>
                    <a:pt x="193" y="121"/>
                  </a:lnTo>
                  <a:lnTo>
                    <a:pt x="190" y="123"/>
                  </a:lnTo>
                  <a:lnTo>
                    <a:pt x="188" y="125"/>
                  </a:lnTo>
                  <a:lnTo>
                    <a:pt x="184" y="125"/>
                  </a:lnTo>
                  <a:lnTo>
                    <a:pt x="178" y="125"/>
                  </a:lnTo>
                  <a:lnTo>
                    <a:pt x="176" y="123"/>
                  </a:lnTo>
                  <a:lnTo>
                    <a:pt x="174" y="121"/>
                  </a:lnTo>
                  <a:lnTo>
                    <a:pt x="167" y="117"/>
                  </a:lnTo>
                  <a:lnTo>
                    <a:pt x="159" y="115"/>
                  </a:lnTo>
                  <a:lnTo>
                    <a:pt x="157" y="113"/>
                  </a:lnTo>
                  <a:lnTo>
                    <a:pt x="155" y="111"/>
                  </a:lnTo>
                  <a:lnTo>
                    <a:pt x="147" y="108"/>
                  </a:lnTo>
                  <a:lnTo>
                    <a:pt x="140" y="106"/>
                  </a:lnTo>
                  <a:lnTo>
                    <a:pt x="138" y="104"/>
                  </a:lnTo>
                  <a:lnTo>
                    <a:pt x="136" y="102"/>
                  </a:lnTo>
                  <a:lnTo>
                    <a:pt x="132" y="100"/>
                  </a:lnTo>
                  <a:lnTo>
                    <a:pt x="130" y="96"/>
                  </a:lnTo>
                  <a:lnTo>
                    <a:pt x="128" y="94"/>
                  </a:lnTo>
                  <a:lnTo>
                    <a:pt x="126" y="92"/>
                  </a:lnTo>
                  <a:lnTo>
                    <a:pt x="121" y="92"/>
                  </a:lnTo>
                  <a:lnTo>
                    <a:pt x="117" y="92"/>
                  </a:lnTo>
                  <a:lnTo>
                    <a:pt x="113" y="94"/>
                  </a:lnTo>
                  <a:lnTo>
                    <a:pt x="111" y="96"/>
                  </a:lnTo>
                  <a:lnTo>
                    <a:pt x="109" y="100"/>
                  </a:lnTo>
                  <a:lnTo>
                    <a:pt x="105" y="102"/>
                  </a:lnTo>
                  <a:lnTo>
                    <a:pt x="103" y="104"/>
                  </a:lnTo>
                  <a:lnTo>
                    <a:pt x="101" y="106"/>
                  </a:lnTo>
                  <a:lnTo>
                    <a:pt x="94" y="108"/>
                  </a:lnTo>
                  <a:lnTo>
                    <a:pt x="88" y="111"/>
                  </a:lnTo>
                  <a:lnTo>
                    <a:pt x="84" y="113"/>
                  </a:lnTo>
                  <a:lnTo>
                    <a:pt x="82" y="115"/>
                  </a:lnTo>
                  <a:lnTo>
                    <a:pt x="80" y="134"/>
                  </a:lnTo>
                  <a:lnTo>
                    <a:pt x="76" y="154"/>
                  </a:lnTo>
                  <a:lnTo>
                    <a:pt x="55" y="154"/>
                  </a:lnTo>
                  <a:lnTo>
                    <a:pt x="34" y="154"/>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51" name="Freeform 318"/>
            <p:cNvSpPr>
              <a:spLocks/>
            </p:cNvSpPr>
            <p:nvPr>
              <p:custDataLst>
                <p:tags r:id="rId35"/>
              </p:custDataLst>
            </p:nvPr>
          </p:nvSpPr>
          <p:spPr bwMode="gray">
            <a:xfrm>
              <a:off x="2357438" y="4189228"/>
              <a:ext cx="268287" cy="319088"/>
            </a:xfrm>
            <a:custGeom>
              <a:avLst/>
              <a:gdLst>
                <a:gd name="T0" fmla="*/ 2147483647 w 173"/>
                <a:gd name="T1" fmla="*/ 2147483647 h 213"/>
                <a:gd name="T2" fmla="*/ 2147483647 w 173"/>
                <a:gd name="T3" fmla="*/ 2147483647 h 213"/>
                <a:gd name="T4" fmla="*/ 2147483647 w 173"/>
                <a:gd name="T5" fmla="*/ 2147483647 h 213"/>
                <a:gd name="T6" fmla="*/ 2147483647 w 173"/>
                <a:gd name="T7" fmla="*/ 2147483647 h 213"/>
                <a:gd name="T8" fmla="*/ 2147483647 w 173"/>
                <a:gd name="T9" fmla="*/ 2147483647 h 213"/>
                <a:gd name="T10" fmla="*/ 2147483647 w 173"/>
                <a:gd name="T11" fmla="*/ 2147483647 h 213"/>
                <a:gd name="T12" fmla="*/ 2147483647 w 173"/>
                <a:gd name="T13" fmla="*/ 2147483647 h 213"/>
                <a:gd name="T14" fmla="*/ 2147483647 w 173"/>
                <a:gd name="T15" fmla="*/ 2147483647 h 213"/>
                <a:gd name="T16" fmla="*/ 2147483647 w 173"/>
                <a:gd name="T17" fmla="*/ 2147483647 h 213"/>
                <a:gd name="T18" fmla="*/ 2147483647 w 173"/>
                <a:gd name="T19" fmla="*/ 2147483647 h 213"/>
                <a:gd name="T20" fmla="*/ 2147483647 w 173"/>
                <a:gd name="T21" fmla="*/ 2147483647 h 213"/>
                <a:gd name="T22" fmla="*/ 2147483647 w 173"/>
                <a:gd name="T23" fmla="*/ 2147483647 h 213"/>
                <a:gd name="T24" fmla="*/ 2147483647 w 173"/>
                <a:gd name="T25" fmla="*/ 2147483647 h 213"/>
                <a:gd name="T26" fmla="*/ 2147483647 w 173"/>
                <a:gd name="T27" fmla="*/ 2147483647 h 213"/>
                <a:gd name="T28" fmla="*/ 0 w 173"/>
                <a:gd name="T29" fmla="*/ 2147483647 h 213"/>
                <a:gd name="T30" fmla="*/ 2147483647 w 173"/>
                <a:gd name="T31" fmla="*/ 2147483647 h 213"/>
                <a:gd name="T32" fmla="*/ 2147483647 w 173"/>
                <a:gd name="T33" fmla="*/ 2147483647 h 213"/>
                <a:gd name="T34" fmla="*/ 2147483647 w 173"/>
                <a:gd name="T35" fmla="*/ 2147483647 h 213"/>
                <a:gd name="T36" fmla="*/ 2147483647 w 173"/>
                <a:gd name="T37" fmla="*/ 2147483647 h 213"/>
                <a:gd name="T38" fmla="*/ 2147483647 w 173"/>
                <a:gd name="T39" fmla="*/ 2147483647 h 213"/>
                <a:gd name="T40" fmla="*/ 2147483647 w 173"/>
                <a:gd name="T41" fmla="*/ 2147483647 h 213"/>
                <a:gd name="T42" fmla="*/ 2147483647 w 173"/>
                <a:gd name="T43" fmla="*/ 2147483647 h 213"/>
                <a:gd name="T44" fmla="*/ 2147483647 w 173"/>
                <a:gd name="T45" fmla="*/ 2147483647 h 213"/>
                <a:gd name="T46" fmla="*/ 2147483647 w 173"/>
                <a:gd name="T47" fmla="*/ 2147483647 h 213"/>
                <a:gd name="T48" fmla="*/ 2147483647 w 173"/>
                <a:gd name="T49" fmla="*/ 2147483647 h 213"/>
                <a:gd name="T50" fmla="*/ 2147483647 w 173"/>
                <a:gd name="T51" fmla="*/ 2147483647 h 213"/>
                <a:gd name="T52" fmla="*/ 2147483647 w 173"/>
                <a:gd name="T53" fmla="*/ 2147483647 h 213"/>
                <a:gd name="T54" fmla="*/ 2147483647 w 173"/>
                <a:gd name="T55" fmla="*/ 2147483647 h 213"/>
                <a:gd name="T56" fmla="*/ 2147483647 w 173"/>
                <a:gd name="T57" fmla="*/ 2147483647 h 213"/>
                <a:gd name="T58" fmla="*/ 2147483647 w 173"/>
                <a:gd name="T59" fmla="*/ 2147483647 h 213"/>
                <a:gd name="T60" fmla="*/ 2147483647 w 173"/>
                <a:gd name="T61" fmla="*/ 2147483647 h 213"/>
                <a:gd name="T62" fmla="*/ 2147483647 w 173"/>
                <a:gd name="T63" fmla="*/ 2147483647 h 213"/>
                <a:gd name="T64" fmla="*/ 2147483647 w 173"/>
                <a:gd name="T65" fmla="*/ 2147483647 h 213"/>
                <a:gd name="T66" fmla="*/ 2147483647 w 173"/>
                <a:gd name="T67" fmla="*/ 2147483647 h 213"/>
                <a:gd name="T68" fmla="*/ 2147483647 w 173"/>
                <a:gd name="T69" fmla="*/ 2147483647 h 213"/>
                <a:gd name="T70" fmla="*/ 2147483647 w 173"/>
                <a:gd name="T71" fmla="*/ 2147483647 h 213"/>
                <a:gd name="T72" fmla="*/ 2147483647 w 173"/>
                <a:gd name="T73" fmla="*/ 2147483647 h 213"/>
                <a:gd name="T74" fmla="*/ 2147483647 w 173"/>
                <a:gd name="T75" fmla="*/ 2147483647 h 213"/>
                <a:gd name="T76" fmla="*/ 2147483647 w 173"/>
                <a:gd name="T77" fmla="*/ 2147483647 h 213"/>
                <a:gd name="T78" fmla="*/ 2147483647 w 173"/>
                <a:gd name="T79" fmla="*/ 2147483647 h 213"/>
                <a:gd name="T80" fmla="*/ 2147483647 w 173"/>
                <a:gd name="T81" fmla="*/ 2147483647 h 213"/>
                <a:gd name="T82" fmla="*/ 2147483647 w 173"/>
                <a:gd name="T83" fmla="*/ 2147483647 h 213"/>
                <a:gd name="T84" fmla="*/ 2147483647 w 173"/>
                <a:gd name="T85" fmla="*/ 2147483647 h 213"/>
                <a:gd name="T86" fmla="*/ 2147483647 w 173"/>
                <a:gd name="T87" fmla="*/ 2147483647 h 213"/>
                <a:gd name="T88" fmla="*/ 2147483647 w 173"/>
                <a:gd name="T89" fmla="*/ 2147483647 h 213"/>
                <a:gd name="T90" fmla="*/ 2147483647 w 173"/>
                <a:gd name="T91" fmla="*/ 2147483647 h 213"/>
                <a:gd name="T92" fmla="*/ 2147483647 w 173"/>
                <a:gd name="T93" fmla="*/ 2147483647 h 213"/>
                <a:gd name="T94" fmla="*/ 2147483647 w 173"/>
                <a:gd name="T95" fmla="*/ 2147483647 h 213"/>
                <a:gd name="T96" fmla="*/ 2147483647 w 173"/>
                <a:gd name="T97" fmla="*/ 2147483647 h 213"/>
                <a:gd name="T98" fmla="*/ 2147483647 w 173"/>
                <a:gd name="T99" fmla="*/ 2147483647 h 213"/>
                <a:gd name="T100" fmla="*/ 2147483647 w 173"/>
                <a:gd name="T101" fmla="*/ 2147483647 h 213"/>
                <a:gd name="T102" fmla="*/ 2147483647 w 173"/>
                <a:gd name="T103" fmla="*/ 2147483647 h 213"/>
                <a:gd name="T104" fmla="*/ 2147483647 w 173"/>
                <a:gd name="T105" fmla="*/ 2147483647 h 213"/>
                <a:gd name="T106" fmla="*/ 2147483647 w 173"/>
                <a:gd name="T107" fmla="*/ 2147483647 h 213"/>
                <a:gd name="T108" fmla="*/ 2147483647 w 173"/>
                <a:gd name="T109" fmla="*/ 2147483647 h 213"/>
                <a:gd name="T110" fmla="*/ 2147483647 w 173"/>
                <a:gd name="T111" fmla="*/ 2147483647 h 213"/>
                <a:gd name="T112" fmla="*/ 2147483647 w 173"/>
                <a:gd name="T113" fmla="*/ 2147483647 h 213"/>
                <a:gd name="T114" fmla="*/ 2147483647 w 173"/>
                <a:gd name="T115" fmla="*/ 2147483647 h 213"/>
                <a:gd name="T116" fmla="*/ 2147483647 w 173"/>
                <a:gd name="T117" fmla="*/ 2147483647 h 213"/>
                <a:gd name="T118" fmla="*/ 2147483647 w 173"/>
                <a:gd name="T119" fmla="*/ 2147483647 h 213"/>
                <a:gd name="T120" fmla="*/ 2147483647 w 173"/>
                <a:gd name="T121" fmla="*/ 2147483647 h 213"/>
                <a:gd name="T122" fmla="*/ 2147483647 w 173"/>
                <a:gd name="T123" fmla="*/ 2147483647 h 21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73"/>
                <a:gd name="T187" fmla="*/ 0 h 213"/>
                <a:gd name="T188" fmla="*/ 173 w 173"/>
                <a:gd name="T189" fmla="*/ 213 h 21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73" h="213">
                  <a:moveTo>
                    <a:pt x="67" y="207"/>
                  </a:moveTo>
                  <a:lnTo>
                    <a:pt x="69" y="206"/>
                  </a:lnTo>
                  <a:lnTo>
                    <a:pt x="71" y="204"/>
                  </a:lnTo>
                  <a:lnTo>
                    <a:pt x="71" y="198"/>
                  </a:lnTo>
                  <a:lnTo>
                    <a:pt x="71" y="194"/>
                  </a:lnTo>
                  <a:lnTo>
                    <a:pt x="69" y="192"/>
                  </a:lnTo>
                  <a:lnTo>
                    <a:pt x="67" y="190"/>
                  </a:lnTo>
                  <a:lnTo>
                    <a:pt x="61" y="179"/>
                  </a:lnTo>
                  <a:lnTo>
                    <a:pt x="57" y="169"/>
                  </a:lnTo>
                  <a:lnTo>
                    <a:pt x="59" y="167"/>
                  </a:lnTo>
                  <a:lnTo>
                    <a:pt x="61" y="165"/>
                  </a:lnTo>
                  <a:lnTo>
                    <a:pt x="65" y="169"/>
                  </a:lnTo>
                  <a:lnTo>
                    <a:pt x="69" y="173"/>
                  </a:lnTo>
                  <a:lnTo>
                    <a:pt x="73" y="163"/>
                  </a:lnTo>
                  <a:lnTo>
                    <a:pt x="77" y="156"/>
                  </a:lnTo>
                  <a:lnTo>
                    <a:pt x="67" y="158"/>
                  </a:lnTo>
                  <a:lnTo>
                    <a:pt x="57" y="160"/>
                  </a:lnTo>
                  <a:lnTo>
                    <a:pt x="56" y="163"/>
                  </a:lnTo>
                  <a:lnTo>
                    <a:pt x="52" y="165"/>
                  </a:lnTo>
                  <a:lnTo>
                    <a:pt x="50" y="175"/>
                  </a:lnTo>
                  <a:lnTo>
                    <a:pt x="48" y="184"/>
                  </a:lnTo>
                  <a:lnTo>
                    <a:pt x="31" y="184"/>
                  </a:lnTo>
                  <a:lnTo>
                    <a:pt x="13" y="184"/>
                  </a:lnTo>
                  <a:lnTo>
                    <a:pt x="11" y="183"/>
                  </a:lnTo>
                  <a:lnTo>
                    <a:pt x="9" y="179"/>
                  </a:lnTo>
                  <a:lnTo>
                    <a:pt x="6" y="177"/>
                  </a:lnTo>
                  <a:lnTo>
                    <a:pt x="4" y="175"/>
                  </a:lnTo>
                  <a:lnTo>
                    <a:pt x="2" y="173"/>
                  </a:lnTo>
                  <a:lnTo>
                    <a:pt x="0" y="169"/>
                  </a:lnTo>
                  <a:lnTo>
                    <a:pt x="0" y="150"/>
                  </a:lnTo>
                  <a:lnTo>
                    <a:pt x="0" y="131"/>
                  </a:lnTo>
                  <a:lnTo>
                    <a:pt x="2" y="129"/>
                  </a:lnTo>
                  <a:lnTo>
                    <a:pt x="4" y="127"/>
                  </a:lnTo>
                  <a:lnTo>
                    <a:pt x="6" y="123"/>
                  </a:lnTo>
                  <a:lnTo>
                    <a:pt x="9" y="121"/>
                  </a:lnTo>
                  <a:lnTo>
                    <a:pt x="11" y="119"/>
                  </a:lnTo>
                  <a:lnTo>
                    <a:pt x="13" y="117"/>
                  </a:lnTo>
                  <a:lnTo>
                    <a:pt x="15" y="110"/>
                  </a:lnTo>
                  <a:lnTo>
                    <a:pt x="19" y="102"/>
                  </a:lnTo>
                  <a:lnTo>
                    <a:pt x="21" y="100"/>
                  </a:lnTo>
                  <a:lnTo>
                    <a:pt x="23" y="98"/>
                  </a:lnTo>
                  <a:lnTo>
                    <a:pt x="25" y="90"/>
                  </a:lnTo>
                  <a:lnTo>
                    <a:pt x="29" y="83"/>
                  </a:lnTo>
                  <a:lnTo>
                    <a:pt x="31" y="81"/>
                  </a:lnTo>
                  <a:lnTo>
                    <a:pt x="33" y="79"/>
                  </a:lnTo>
                  <a:lnTo>
                    <a:pt x="34" y="71"/>
                  </a:lnTo>
                  <a:lnTo>
                    <a:pt x="38" y="64"/>
                  </a:lnTo>
                  <a:lnTo>
                    <a:pt x="40" y="62"/>
                  </a:lnTo>
                  <a:lnTo>
                    <a:pt x="42" y="58"/>
                  </a:lnTo>
                  <a:lnTo>
                    <a:pt x="46" y="58"/>
                  </a:lnTo>
                  <a:lnTo>
                    <a:pt x="52" y="58"/>
                  </a:lnTo>
                  <a:lnTo>
                    <a:pt x="56" y="62"/>
                  </a:lnTo>
                  <a:lnTo>
                    <a:pt x="57" y="64"/>
                  </a:lnTo>
                  <a:lnTo>
                    <a:pt x="61" y="64"/>
                  </a:lnTo>
                  <a:lnTo>
                    <a:pt x="67" y="64"/>
                  </a:lnTo>
                  <a:lnTo>
                    <a:pt x="69" y="62"/>
                  </a:lnTo>
                  <a:lnTo>
                    <a:pt x="71" y="58"/>
                  </a:lnTo>
                  <a:lnTo>
                    <a:pt x="73" y="56"/>
                  </a:lnTo>
                  <a:lnTo>
                    <a:pt x="77" y="54"/>
                  </a:lnTo>
                  <a:lnTo>
                    <a:pt x="79" y="52"/>
                  </a:lnTo>
                  <a:lnTo>
                    <a:pt x="80" y="48"/>
                  </a:lnTo>
                  <a:lnTo>
                    <a:pt x="84" y="46"/>
                  </a:lnTo>
                  <a:lnTo>
                    <a:pt x="86" y="44"/>
                  </a:lnTo>
                  <a:lnTo>
                    <a:pt x="88" y="42"/>
                  </a:lnTo>
                  <a:lnTo>
                    <a:pt x="90" y="41"/>
                  </a:lnTo>
                  <a:lnTo>
                    <a:pt x="94" y="27"/>
                  </a:lnTo>
                  <a:lnTo>
                    <a:pt x="96" y="16"/>
                  </a:lnTo>
                  <a:lnTo>
                    <a:pt x="98" y="14"/>
                  </a:lnTo>
                  <a:lnTo>
                    <a:pt x="100" y="10"/>
                  </a:lnTo>
                  <a:lnTo>
                    <a:pt x="103" y="8"/>
                  </a:lnTo>
                  <a:lnTo>
                    <a:pt x="105" y="6"/>
                  </a:lnTo>
                  <a:lnTo>
                    <a:pt x="107" y="2"/>
                  </a:lnTo>
                  <a:lnTo>
                    <a:pt x="109" y="0"/>
                  </a:lnTo>
                  <a:lnTo>
                    <a:pt x="113" y="2"/>
                  </a:lnTo>
                  <a:lnTo>
                    <a:pt x="115" y="6"/>
                  </a:lnTo>
                  <a:lnTo>
                    <a:pt x="123" y="8"/>
                  </a:lnTo>
                  <a:lnTo>
                    <a:pt x="130" y="10"/>
                  </a:lnTo>
                  <a:lnTo>
                    <a:pt x="132" y="14"/>
                  </a:lnTo>
                  <a:lnTo>
                    <a:pt x="134" y="16"/>
                  </a:lnTo>
                  <a:lnTo>
                    <a:pt x="136" y="18"/>
                  </a:lnTo>
                  <a:lnTo>
                    <a:pt x="138" y="19"/>
                  </a:lnTo>
                  <a:lnTo>
                    <a:pt x="142" y="21"/>
                  </a:lnTo>
                  <a:lnTo>
                    <a:pt x="144" y="25"/>
                  </a:lnTo>
                  <a:lnTo>
                    <a:pt x="151" y="27"/>
                  </a:lnTo>
                  <a:lnTo>
                    <a:pt x="159" y="29"/>
                  </a:lnTo>
                  <a:lnTo>
                    <a:pt x="161" y="31"/>
                  </a:lnTo>
                  <a:lnTo>
                    <a:pt x="163" y="35"/>
                  </a:lnTo>
                  <a:lnTo>
                    <a:pt x="169" y="54"/>
                  </a:lnTo>
                  <a:lnTo>
                    <a:pt x="173" y="73"/>
                  </a:lnTo>
                  <a:lnTo>
                    <a:pt x="171" y="75"/>
                  </a:lnTo>
                  <a:lnTo>
                    <a:pt x="169" y="79"/>
                  </a:lnTo>
                  <a:lnTo>
                    <a:pt x="165" y="90"/>
                  </a:lnTo>
                  <a:lnTo>
                    <a:pt x="163" y="102"/>
                  </a:lnTo>
                  <a:lnTo>
                    <a:pt x="161" y="104"/>
                  </a:lnTo>
                  <a:lnTo>
                    <a:pt x="159" y="108"/>
                  </a:lnTo>
                  <a:lnTo>
                    <a:pt x="155" y="123"/>
                  </a:lnTo>
                  <a:lnTo>
                    <a:pt x="153" y="140"/>
                  </a:lnTo>
                  <a:lnTo>
                    <a:pt x="151" y="142"/>
                  </a:lnTo>
                  <a:lnTo>
                    <a:pt x="150" y="146"/>
                  </a:lnTo>
                  <a:lnTo>
                    <a:pt x="146" y="148"/>
                  </a:lnTo>
                  <a:lnTo>
                    <a:pt x="144" y="150"/>
                  </a:lnTo>
                  <a:lnTo>
                    <a:pt x="142" y="154"/>
                  </a:lnTo>
                  <a:lnTo>
                    <a:pt x="138" y="156"/>
                  </a:lnTo>
                  <a:lnTo>
                    <a:pt x="136" y="158"/>
                  </a:lnTo>
                  <a:lnTo>
                    <a:pt x="134" y="160"/>
                  </a:lnTo>
                  <a:lnTo>
                    <a:pt x="132" y="163"/>
                  </a:lnTo>
                  <a:lnTo>
                    <a:pt x="130" y="165"/>
                  </a:lnTo>
                  <a:lnTo>
                    <a:pt x="127" y="167"/>
                  </a:lnTo>
                  <a:lnTo>
                    <a:pt x="125" y="169"/>
                  </a:lnTo>
                  <a:lnTo>
                    <a:pt x="123" y="173"/>
                  </a:lnTo>
                  <a:lnTo>
                    <a:pt x="121" y="175"/>
                  </a:lnTo>
                  <a:lnTo>
                    <a:pt x="121" y="179"/>
                  </a:lnTo>
                  <a:lnTo>
                    <a:pt x="121" y="184"/>
                  </a:lnTo>
                  <a:lnTo>
                    <a:pt x="123" y="186"/>
                  </a:lnTo>
                  <a:lnTo>
                    <a:pt x="125" y="190"/>
                  </a:lnTo>
                  <a:lnTo>
                    <a:pt x="125" y="194"/>
                  </a:lnTo>
                  <a:lnTo>
                    <a:pt x="125" y="200"/>
                  </a:lnTo>
                  <a:lnTo>
                    <a:pt x="123" y="202"/>
                  </a:lnTo>
                  <a:lnTo>
                    <a:pt x="121" y="204"/>
                  </a:lnTo>
                  <a:lnTo>
                    <a:pt x="113" y="206"/>
                  </a:lnTo>
                  <a:lnTo>
                    <a:pt x="105" y="207"/>
                  </a:lnTo>
                  <a:lnTo>
                    <a:pt x="103" y="211"/>
                  </a:lnTo>
                  <a:lnTo>
                    <a:pt x="100" y="213"/>
                  </a:lnTo>
                  <a:lnTo>
                    <a:pt x="82" y="211"/>
                  </a:lnTo>
                  <a:lnTo>
                    <a:pt x="67" y="207"/>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52" name="Freeform 319"/>
            <p:cNvSpPr>
              <a:spLocks/>
            </p:cNvSpPr>
            <p:nvPr>
              <p:custDataLst>
                <p:tags r:id="rId36"/>
              </p:custDataLst>
            </p:nvPr>
          </p:nvSpPr>
          <p:spPr bwMode="gray">
            <a:xfrm>
              <a:off x="2673350" y="3925703"/>
              <a:ext cx="180975" cy="327025"/>
            </a:xfrm>
            <a:custGeom>
              <a:avLst/>
              <a:gdLst>
                <a:gd name="T0" fmla="*/ 2147483647 w 115"/>
                <a:gd name="T1" fmla="*/ 2147483647 h 215"/>
                <a:gd name="T2" fmla="*/ 2147483647 w 115"/>
                <a:gd name="T3" fmla="*/ 2147483647 h 215"/>
                <a:gd name="T4" fmla="*/ 2147483647 w 115"/>
                <a:gd name="T5" fmla="*/ 2147483647 h 215"/>
                <a:gd name="T6" fmla="*/ 0 w 115"/>
                <a:gd name="T7" fmla="*/ 2147483647 h 215"/>
                <a:gd name="T8" fmla="*/ 2147483647 w 115"/>
                <a:gd name="T9" fmla="*/ 2147483647 h 215"/>
                <a:gd name="T10" fmla="*/ 2147483647 w 115"/>
                <a:gd name="T11" fmla="*/ 2147483647 h 215"/>
                <a:gd name="T12" fmla="*/ 2147483647 w 115"/>
                <a:gd name="T13" fmla="*/ 2147483647 h 215"/>
                <a:gd name="T14" fmla="*/ 2147483647 w 115"/>
                <a:gd name="T15" fmla="*/ 2147483647 h 215"/>
                <a:gd name="T16" fmla="*/ 2147483647 w 115"/>
                <a:gd name="T17" fmla="*/ 2147483647 h 215"/>
                <a:gd name="T18" fmla="*/ 2147483647 w 115"/>
                <a:gd name="T19" fmla="*/ 2147483647 h 215"/>
                <a:gd name="T20" fmla="*/ 2147483647 w 115"/>
                <a:gd name="T21" fmla="*/ 2147483647 h 215"/>
                <a:gd name="T22" fmla="*/ 2147483647 w 115"/>
                <a:gd name="T23" fmla="*/ 2147483647 h 215"/>
                <a:gd name="T24" fmla="*/ 2147483647 w 115"/>
                <a:gd name="T25" fmla="*/ 2147483647 h 215"/>
                <a:gd name="T26" fmla="*/ 2147483647 w 115"/>
                <a:gd name="T27" fmla="*/ 2147483647 h 215"/>
                <a:gd name="T28" fmla="*/ 2147483647 w 115"/>
                <a:gd name="T29" fmla="*/ 2147483647 h 215"/>
                <a:gd name="T30" fmla="*/ 2147483647 w 115"/>
                <a:gd name="T31" fmla="*/ 2147483647 h 215"/>
                <a:gd name="T32" fmla="*/ 2147483647 w 115"/>
                <a:gd name="T33" fmla="*/ 2147483647 h 215"/>
                <a:gd name="T34" fmla="*/ 2147483647 w 115"/>
                <a:gd name="T35" fmla="*/ 2147483647 h 215"/>
                <a:gd name="T36" fmla="*/ 2147483647 w 115"/>
                <a:gd name="T37" fmla="*/ 2147483647 h 215"/>
                <a:gd name="T38" fmla="*/ 2147483647 w 115"/>
                <a:gd name="T39" fmla="*/ 2147483647 h 215"/>
                <a:gd name="T40" fmla="*/ 2147483647 w 115"/>
                <a:gd name="T41" fmla="*/ 2147483647 h 215"/>
                <a:gd name="T42" fmla="*/ 2147483647 w 115"/>
                <a:gd name="T43" fmla="*/ 2147483647 h 215"/>
                <a:gd name="T44" fmla="*/ 2147483647 w 115"/>
                <a:gd name="T45" fmla="*/ 2147483647 h 215"/>
                <a:gd name="T46" fmla="*/ 2147483647 w 115"/>
                <a:gd name="T47" fmla="*/ 2147483647 h 215"/>
                <a:gd name="T48" fmla="*/ 2147483647 w 115"/>
                <a:gd name="T49" fmla="*/ 0 h 215"/>
                <a:gd name="T50" fmla="*/ 2147483647 w 115"/>
                <a:gd name="T51" fmla="*/ 2147483647 h 215"/>
                <a:gd name="T52" fmla="*/ 2147483647 w 115"/>
                <a:gd name="T53" fmla="*/ 2147483647 h 215"/>
                <a:gd name="T54" fmla="*/ 2147483647 w 115"/>
                <a:gd name="T55" fmla="*/ 2147483647 h 215"/>
                <a:gd name="T56" fmla="*/ 2147483647 w 115"/>
                <a:gd name="T57" fmla="*/ 2147483647 h 215"/>
                <a:gd name="T58" fmla="*/ 2147483647 w 115"/>
                <a:gd name="T59" fmla="*/ 2147483647 h 215"/>
                <a:gd name="T60" fmla="*/ 2147483647 w 115"/>
                <a:gd name="T61" fmla="*/ 2147483647 h 215"/>
                <a:gd name="T62" fmla="*/ 2147483647 w 115"/>
                <a:gd name="T63" fmla="*/ 2147483647 h 215"/>
                <a:gd name="T64" fmla="*/ 2147483647 w 115"/>
                <a:gd name="T65" fmla="*/ 2147483647 h 215"/>
                <a:gd name="T66" fmla="*/ 2147483647 w 115"/>
                <a:gd name="T67" fmla="*/ 2147483647 h 215"/>
                <a:gd name="T68" fmla="*/ 2147483647 w 115"/>
                <a:gd name="T69" fmla="*/ 2147483647 h 215"/>
                <a:gd name="T70" fmla="*/ 2147483647 w 115"/>
                <a:gd name="T71" fmla="*/ 2147483647 h 215"/>
                <a:gd name="T72" fmla="*/ 2147483647 w 115"/>
                <a:gd name="T73" fmla="*/ 2147483647 h 215"/>
                <a:gd name="T74" fmla="*/ 2147483647 w 115"/>
                <a:gd name="T75" fmla="*/ 2147483647 h 215"/>
                <a:gd name="T76" fmla="*/ 2147483647 w 115"/>
                <a:gd name="T77" fmla="*/ 2147483647 h 215"/>
                <a:gd name="T78" fmla="*/ 2147483647 w 115"/>
                <a:gd name="T79" fmla="*/ 2147483647 h 215"/>
                <a:gd name="T80" fmla="*/ 2147483647 w 115"/>
                <a:gd name="T81" fmla="*/ 2147483647 h 215"/>
                <a:gd name="T82" fmla="*/ 2147483647 w 115"/>
                <a:gd name="T83" fmla="*/ 2147483647 h 215"/>
                <a:gd name="T84" fmla="*/ 2147483647 w 115"/>
                <a:gd name="T85" fmla="*/ 2147483647 h 215"/>
                <a:gd name="T86" fmla="*/ 2147483647 w 115"/>
                <a:gd name="T87" fmla="*/ 2147483647 h 215"/>
                <a:gd name="T88" fmla="*/ 2147483647 w 115"/>
                <a:gd name="T89" fmla="*/ 2147483647 h 215"/>
                <a:gd name="T90" fmla="*/ 2147483647 w 115"/>
                <a:gd name="T91" fmla="*/ 2147483647 h 215"/>
                <a:gd name="T92" fmla="*/ 2147483647 w 115"/>
                <a:gd name="T93" fmla="*/ 2147483647 h 215"/>
                <a:gd name="T94" fmla="*/ 2147483647 w 115"/>
                <a:gd name="T95" fmla="*/ 2147483647 h 215"/>
                <a:gd name="T96" fmla="*/ 2147483647 w 115"/>
                <a:gd name="T97" fmla="*/ 2147483647 h 21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5"/>
                <a:gd name="T148" fmla="*/ 0 h 215"/>
                <a:gd name="T149" fmla="*/ 115 w 115"/>
                <a:gd name="T150" fmla="*/ 215 h 21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5" h="215">
                  <a:moveTo>
                    <a:pt x="14" y="215"/>
                  </a:moveTo>
                  <a:lnTo>
                    <a:pt x="12" y="211"/>
                  </a:lnTo>
                  <a:lnTo>
                    <a:pt x="8" y="209"/>
                  </a:lnTo>
                  <a:lnTo>
                    <a:pt x="6" y="201"/>
                  </a:lnTo>
                  <a:lnTo>
                    <a:pt x="4" y="193"/>
                  </a:lnTo>
                  <a:lnTo>
                    <a:pt x="2" y="192"/>
                  </a:lnTo>
                  <a:lnTo>
                    <a:pt x="0" y="190"/>
                  </a:lnTo>
                  <a:lnTo>
                    <a:pt x="0" y="165"/>
                  </a:lnTo>
                  <a:lnTo>
                    <a:pt x="0" y="142"/>
                  </a:lnTo>
                  <a:lnTo>
                    <a:pt x="2" y="138"/>
                  </a:lnTo>
                  <a:lnTo>
                    <a:pt x="4" y="136"/>
                  </a:lnTo>
                  <a:lnTo>
                    <a:pt x="6" y="134"/>
                  </a:lnTo>
                  <a:lnTo>
                    <a:pt x="8" y="132"/>
                  </a:lnTo>
                  <a:lnTo>
                    <a:pt x="12" y="128"/>
                  </a:lnTo>
                  <a:lnTo>
                    <a:pt x="14" y="126"/>
                  </a:lnTo>
                  <a:lnTo>
                    <a:pt x="16" y="119"/>
                  </a:lnTo>
                  <a:lnTo>
                    <a:pt x="18" y="111"/>
                  </a:lnTo>
                  <a:lnTo>
                    <a:pt x="21" y="109"/>
                  </a:lnTo>
                  <a:lnTo>
                    <a:pt x="23" y="107"/>
                  </a:lnTo>
                  <a:lnTo>
                    <a:pt x="25" y="105"/>
                  </a:lnTo>
                  <a:lnTo>
                    <a:pt x="29" y="101"/>
                  </a:lnTo>
                  <a:lnTo>
                    <a:pt x="31" y="99"/>
                  </a:lnTo>
                  <a:lnTo>
                    <a:pt x="33" y="98"/>
                  </a:lnTo>
                  <a:lnTo>
                    <a:pt x="35" y="96"/>
                  </a:lnTo>
                  <a:lnTo>
                    <a:pt x="39" y="92"/>
                  </a:lnTo>
                  <a:lnTo>
                    <a:pt x="41" y="90"/>
                  </a:lnTo>
                  <a:lnTo>
                    <a:pt x="42" y="88"/>
                  </a:lnTo>
                  <a:lnTo>
                    <a:pt x="42" y="82"/>
                  </a:lnTo>
                  <a:lnTo>
                    <a:pt x="42" y="78"/>
                  </a:lnTo>
                  <a:lnTo>
                    <a:pt x="41" y="76"/>
                  </a:lnTo>
                  <a:lnTo>
                    <a:pt x="39" y="73"/>
                  </a:lnTo>
                  <a:lnTo>
                    <a:pt x="35" y="71"/>
                  </a:lnTo>
                  <a:lnTo>
                    <a:pt x="33" y="69"/>
                  </a:lnTo>
                  <a:lnTo>
                    <a:pt x="31" y="65"/>
                  </a:lnTo>
                  <a:lnTo>
                    <a:pt x="29" y="63"/>
                  </a:lnTo>
                  <a:lnTo>
                    <a:pt x="21" y="61"/>
                  </a:lnTo>
                  <a:lnTo>
                    <a:pt x="14" y="59"/>
                  </a:lnTo>
                  <a:lnTo>
                    <a:pt x="12" y="55"/>
                  </a:lnTo>
                  <a:lnTo>
                    <a:pt x="8" y="53"/>
                  </a:lnTo>
                  <a:lnTo>
                    <a:pt x="6" y="46"/>
                  </a:lnTo>
                  <a:lnTo>
                    <a:pt x="4" y="40"/>
                  </a:lnTo>
                  <a:lnTo>
                    <a:pt x="2" y="36"/>
                  </a:lnTo>
                  <a:lnTo>
                    <a:pt x="0" y="34"/>
                  </a:lnTo>
                  <a:lnTo>
                    <a:pt x="2" y="32"/>
                  </a:lnTo>
                  <a:lnTo>
                    <a:pt x="4" y="30"/>
                  </a:lnTo>
                  <a:lnTo>
                    <a:pt x="6" y="17"/>
                  </a:lnTo>
                  <a:lnTo>
                    <a:pt x="8" y="5"/>
                  </a:lnTo>
                  <a:lnTo>
                    <a:pt x="12" y="4"/>
                  </a:lnTo>
                  <a:lnTo>
                    <a:pt x="14" y="0"/>
                  </a:lnTo>
                  <a:lnTo>
                    <a:pt x="33" y="0"/>
                  </a:lnTo>
                  <a:lnTo>
                    <a:pt x="52" y="0"/>
                  </a:lnTo>
                  <a:lnTo>
                    <a:pt x="54" y="4"/>
                  </a:lnTo>
                  <a:lnTo>
                    <a:pt x="58" y="5"/>
                  </a:lnTo>
                  <a:lnTo>
                    <a:pt x="60" y="7"/>
                  </a:lnTo>
                  <a:lnTo>
                    <a:pt x="62" y="11"/>
                  </a:lnTo>
                  <a:lnTo>
                    <a:pt x="64" y="13"/>
                  </a:lnTo>
                  <a:lnTo>
                    <a:pt x="67" y="15"/>
                  </a:lnTo>
                  <a:lnTo>
                    <a:pt x="67" y="27"/>
                  </a:lnTo>
                  <a:lnTo>
                    <a:pt x="67" y="40"/>
                  </a:lnTo>
                  <a:lnTo>
                    <a:pt x="79" y="40"/>
                  </a:lnTo>
                  <a:lnTo>
                    <a:pt x="90" y="40"/>
                  </a:lnTo>
                  <a:lnTo>
                    <a:pt x="92" y="42"/>
                  </a:lnTo>
                  <a:lnTo>
                    <a:pt x="96" y="44"/>
                  </a:lnTo>
                  <a:lnTo>
                    <a:pt x="98" y="46"/>
                  </a:lnTo>
                  <a:lnTo>
                    <a:pt x="100" y="50"/>
                  </a:lnTo>
                  <a:lnTo>
                    <a:pt x="102" y="51"/>
                  </a:lnTo>
                  <a:lnTo>
                    <a:pt x="106" y="53"/>
                  </a:lnTo>
                  <a:lnTo>
                    <a:pt x="110" y="63"/>
                  </a:lnTo>
                  <a:lnTo>
                    <a:pt x="115" y="73"/>
                  </a:lnTo>
                  <a:lnTo>
                    <a:pt x="113" y="76"/>
                  </a:lnTo>
                  <a:lnTo>
                    <a:pt x="110" y="78"/>
                  </a:lnTo>
                  <a:lnTo>
                    <a:pt x="108" y="90"/>
                  </a:lnTo>
                  <a:lnTo>
                    <a:pt x="106" y="101"/>
                  </a:lnTo>
                  <a:lnTo>
                    <a:pt x="102" y="105"/>
                  </a:lnTo>
                  <a:lnTo>
                    <a:pt x="100" y="107"/>
                  </a:lnTo>
                  <a:lnTo>
                    <a:pt x="98" y="124"/>
                  </a:lnTo>
                  <a:lnTo>
                    <a:pt x="96" y="142"/>
                  </a:lnTo>
                  <a:lnTo>
                    <a:pt x="92" y="144"/>
                  </a:lnTo>
                  <a:lnTo>
                    <a:pt x="90" y="145"/>
                  </a:lnTo>
                  <a:lnTo>
                    <a:pt x="89" y="153"/>
                  </a:lnTo>
                  <a:lnTo>
                    <a:pt x="87" y="161"/>
                  </a:lnTo>
                  <a:lnTo>
                    <a:pt x="83" y="163"/>
                  </a:lnTo>
                  <a:lnTo>
                    <a:pt x="81" y="165"/>
                  </a:lnTo>
                  <a:lnTo>
                    <a:pt x="81" y="174"/>
                  </a:lnTo>
                  <a:lnTo>
                    <a:pt x="81" y="184"/>
                  </a:lnTo>
                  <a:lnTo>
                    <a:pt x="83" y="188"/>
                  </a:lnTo>
                  <a:lnTo>
                    <a:pt x="87" y="190"/>
                  </a:lnTo>
                  <a:lnTo>
                    <a:pt x="89" y="192"/>
                  </a:lnTo>
                  <a:lnTo>
                    <a:pt x="90" y="193"/>
                  </a:lnTo>
                  <a:lnTo>
                    <a:pt x="92" y="195"/>
                  </a:lnTo>
                  <a:lnTo>
                    <a:pt x="96" y="199"/>
                  </a:lnTo>
                  <a:lnTo>
                    <a:pt x="96" y="203"/>
                  </a:lnTo>
                  <a:lnTo>
                    <a:pt x="96" y="209"/>
                  </a:lnTo>
                  <a:lnTo>
                    <a:pt x="92" y="211"/>
                  </a:lnTo>
                  <a:lnTo>
                    <a:pt x="90" y="215"/>
                  </a:lnTo>
                  <a:lnTo>
                    <a:pt x="71" y="215"/>
                  </a:lnTo>
                  <a:lnTo>
                    <a:pt x="52" y="215"/>
                  </a:lnTo>
                  <a:lnTo>
                    <a:pt x="33" y="215"/>
                  </a:lnTo>
                  <a:lnTo>
                    <a:pt x="14" y="215"/>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53" name="Freeform 320"/>
            <p:cNvSpPr>
              <a:spLocks/>
            </p:cNvSpPr>
            <p:nvPr>
              <p:custDataLst>
                <p:tags r:id="rId37"/>
              </p:custDataLst>
            </p:nvPr>
          </p:nvSpPr>
          <p:spPr bwMode="gray">
            <a:xfrm>
              <a:off x="1573213" y="4276541"/>
              <a:ext cx="287337" cy="319087"/>
            </a:xfrm>
            <a:custGeom>
              <a:avLst/>
              <a:gdLst>
                <a:gd name="T0" fmla="*/ 2147483647 w 184"/>
                <a:gd name="T1" fmla="*/ 2147483647 h 213"/>
                <a:gd name="T2" fmla="*/ 2147483647 w 184"/>
                <a:gd name="T3" fmla="*/ 2147483647 h 213"/>
                <a:gd name="T4" fmla="*/ 2147483647 w 184"/>
                <a:gd name="T5" fmla="*/ 2147483647 h 213"/>
                <a:gd name="T6" fmla="*/ 2147483647 w 184"/>
                <a:gd name="T7" fmla="*/ 2147483647 h 213"/>
                <a:gd name="T8" fmla="*/ 2147483647 w 184"/>
                <a:gd name="T9" fmla="*/ 2147483647 h 213"/>
                <a:gd name="T10" fmla="*/ 2147483647 w 184"/>
                <a:gd name="T11" fmla="*/ 2147483647 h 213"/>
                <a:gd name="T12" fmla="*/ 2147483647 w 184"/>
                <a:gd name="T13" fmla="*/ 2147483647 h 213"/>
                <a:gd name="T14" fmla="*/ 2147483647 w 184"/>
                <a:gd name="T15" fmla="*/ 2147483647 h 213"/>
                <a:gd name="T16" fmla="*/ 2147483647 w 184"/>
                <a:gd name="T17" fmla="*/ 2147483647 h 213"/>
                <a:gd name="T18" fmla="*/ 2147483647 w 184"/>
                <a:gd name="T19" fmla="*/ 2147483647 h 213"/>
                <a:gd name="T20" fmla="*/ 2147483647 w 184"/>
                <a:gd name="T21" fmla="*/ 2147483647 h 213"/>
                <a:gd name="T22" fmla="*/ 2147483647 w 184"/>
                <a:gd name="T23" fmla="*/ 2147483647 h 213"/>
                <a:gd name="T24" fmla="*/ 2147483647 w 184"/>
                <a:gd name="T25" fmla="*/ 2147483647 h 213"/>
                <a:gd name="T26" fmla="*/ 2147483647 w 184"/>
                <a:gd name="T27" fmla="*/ 2147483647 h 213"/>
                <a:gd name="T28" fmla="*/ 2147483647 w 184"/>
                <a:gd name="T29" fmla="*/ 2147483647 h 213"/>
                <a:gd name="T30" fmla="*/ 2147483647 w 184"/>
                <a:gd name="T31" fmla="*/ 2147483647 h 213"/>
                <a:gd name="T32" fmla="*/ 2147483647 w 184"/>
                <a:gd name="T33" fmla="*/ 2147483647 h 213"/>
                <a:gd name="T34" fmla="*/ 2147483647 w 184"/>
                <a:gd name="T35" fmla="*/ 2147483647 h 213"/>
                <a:gd name="T36" fmla="*/ 2147483647 w 184"/>
                <a:gd name="T37" fmla="*/ 2147483647 h 213"/>
                <a:gd name="T38" fmla="*/ 2147483647 w 184"/>
                <a:gd name="T39" fmla="*/ 2147483647 h 213"/>
                <a:gd name="T40" fmla="*/ 2147483647 w 184"/>
                <a:gd name="T41" fmla="*/ 2147483647 h 213"/>
                <a:gd name="T42" fmla="*/ 2147483647 w 184"/>
                <a:gd name="T43" fmla="*/ 2147483647 h 213"/>
                <a:gd name="T44" fmla="*/ 2147483647 w 184"/>
                <a:gd name="T45" fmla="*/ 2147483647 h 213"/>
                <a:gd name="T46" fmla="*/ 2147483647 w 184"/>
                <a:gd name="T47" fmla="*/ 2147483647 h 213"/>
                <a:gd name="T48" fmla="*/ 2147483647 w 184"/>
                <a:gd name="T49" fmla="*/ 2147483647 h 213"/>
                <a:gd name="T50" fmla="*/ 2147483647 w 184"/>
                <a:gd name="T51" fmla="*/ 2147483647 h 213"/>
                <a:gd name="T52" fmla="*/ 2147483647 w 184"/>
                <a:gd name="T53" fmla="*/ 2147483647 h 213"/>
                <a:gd name="T54" fmla="*/ 2147483647 w 184"/>
                <a:gd name="T55" fmla="*/ 2147483647 h 213"/>
                <a:gd name="T56" fmla="*/ 2147483647 w 184"/>
                <a:gd name="T57" fmla="*/ 2147483647 h 213"/>
                <a:gd name="T58" fmla="*/ 2147483647 w 184"/>
                <a:gd name="T59" fmla="*/ 2147483647 h 213"/>
                <a:gd name="T60" fmla="*/ 2147483647 w 184"/>
                <a:gd name="T61" fmla="*/ 2147483647 h 213"/>
                <a:gd name="T62" fmla="*/ 2147483647 w 184"/>
                <a:gd name="T63" fmla="*/ 2147483647 h 213"/>
                <a:gd name="T64" fmla="*/ 0 w 184"/>
                <a:gd name="T65" fmla="*/ 2147483647 h 213"/>
                <a:gd name="T66" fmla="*/ 2147483647 w 184"/>
                <a:gd name="T67" fmla="*/ 2147483647 h 213"/>
                <a:gd name="T68" fmla="*/ 2147483647 w 184"/>
                <a:gd name="T69" fmla="*/ 2147483647 h 213"/>
                <a:gd name="T70" fmla="*/ 2147483647 w 184"/>
                <a:gd name="T71" fmla="*/ 2147483647 h 213"/>
                <a:gd name="T72" fmla="*/ 2147483647 w 184"/>
                <a:gd name="T73" fmla="*/ 2147483647 h 213"/>
                <a:gd name="T74" fmla="*/ 2147483647 w 184"/>
                <a:gd name="T75" fmla="*/ 2147483647 h 213"/>
                <a:gd name="T76" fmla="*/ 2147483647 w 184"/>
                <a:gd name="T77" fmla="*/ 2147483647 h 213"/>
                <a:gd name="T78" fmla="*/ 2147483647 w 184"/>
                <a:gd name="T79" fmla="*/ 0 h 213"/>
                <a:gd name="T80" fmla="*/ 2147483647 w 184"/>
                <a:gd name="T81" fmla="*/ 2147483647 h 213"/>
                <a:gd name="T82" fmla="*/ 2147483647 w 184"/>
                <a:gd name="T83" fmla="*/ 2147483647 h 213"/>
                <a:gd name="T84" fmla="*/ 2147483647 w 184"/>
                <a:gd name="T85" fmla="*/ 2147483647 h 213"/>
                <a:gd name="T86" fmla="*/ 2147483647 w 184"/>
                <a:gd name="T87" fmla="*/ 2147483647 h 213"/>
                <a:gd name="T88" fmla="*/ 2147483647 w 184"/>
                <a:gd name="T89" fmla="*/ 2147483647 h 213"/>
                <a:gd name="T90" fmla="*/ 2147483647 w 184"/>
                <a:gd name="T91" fmla="*/ 2147483647 h 213"/>
                <a:gd name="T92" fmla="*/ 2147483647 w 184"/>
                <a:gd name="T93" fmla="*/ 2147483647 h 213"/>
                <a:gd name="T94" fmla="*/ 2147483647 w 184"/>
                <a:gd name="T95" fmla="*/ 2147483647 h 213"/>
                <a:gd name="T96" fmla="*/ 2147483647 w 184"/>
                <a:gd name="T97" fmla="*/ 2147483647 h 213"/>
                <a:gd name="T98" fmla="*/ 2147483647 w 184"/>
                <a:gd name="T99" fmla="*/ 2147483647 h 213"/>
                <a:gd name="T100" fmla="*/ 2147483647 w 184"/>
                <a:gd name="T101" fmla="*/ 2147483647 h 213"/>
                <a:gd name="T102" fmla="*/ 2147483647 w 184"/>
                <a:gd name="T103" fmla="*/ 2147483647 h 213"/>
                <a:gd name="T104" fmla="*/ 2147483647 w 184"/>
                <a:gd name="T105" fmla="*/ 2147483647 h 213"/>
                <a:gd name="T106" fmla="*/ 2147483647 w 184"/>
                <a:gd name="T107" fmla="*/ 2147483647 h 213"/>
                <a:gd name="T108" fmla="*/ 2147483647 w 184"/>
                <a:gd name="T109" fmla="*/ 2147483647 h 21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4"/>
                <a:gd name="T166" fmla="*/ 0 h 213"/>
                <a:gd name="T167" fmla="*/ 184 w 184"/>
                <a:gd name="T168" fmla="*/ 213 h 21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4" h="213">
                  <a:moveTo>
                    <a:pt x="148" y="75"/>
                  </a:moveTo>
                  <a:lnTo>
                    <a:pt x="160" y="80"/>
                  </a:lnTo>
                  <a:lnTo>
                    <a:pt x="171" y="88"/>
                  </a:lnTo>
                  <a:lnTo>
                    <a:pt x="173" y="90"/>
                  </a:lnTo>
                  <a:lnTo>
                    <a:pt x="175" y="92"/>
                  </a:lnTo>
                  <a:lnTo>
                    <a:pt x="177" y="100"/>
                  </a:lnTo>
                  <a:lnTo>
                    <a:pt x="181" y="107"/>
                  </a:lnTo>
                  <a:lnTo>
                    <a:pt x="183" y="109"/>
                  </a:lnTo>
                  <a:lnTo>
                    <a:pt x="184" y="111"/>
                  </a:lnTo>
                  <a:lnTo>
                    <a:pt x="184" y="128"/>
                  </a:lnTo>
                  <a:lnTo>
                    <a:pt x="184" y="146"/>
                  </a:lnTo>
                  <a:lnTo>
                    <a:pt x="184" y="163"/>
                  </a:lnTo>
                  <a:lnTo>
                    <a:pt x="184" y="180"/>
                  </a:lnTo>
                  <a:lnTo>
                    <a:pt x="183" y="182"/>
                  </a:lnTo>
                  <a:lnTo>
                    <a:pt x="181" y="184"/>
                  </a:lnTo>
                  <a:lnTo>
                    <a:pt x="177" y="188"/>
                  </a:lnTo>
                  <a:lnTo>
                    <a:pt x="175" y="190"/>
                  </a:lnTo>
                  <a:lnTo>
                    <a:pt x="173" y="192"/>
                  </a:lnTo>
                  <a:lnTo>
                    <a:pt x="171" y="194"/>
                  </a:lnTo>
                  <a:lnTo>
                    <a:pt x="167" y="196"/>
                  </a:lnTo>
                  <a:lnTo>
                    <a:pt x="165" y="199"/>
                  </a:lnTo>
                  <a:lnTo>
                    <a:pt x="163" y="201"/>
                  </a:lnTo>
                  <a:lnTo>
                    <a:pt x="161" y="203"/>
                  </a:lnTo>
                  <a:lnTo>
                    <a:pt x="158" y="205"/>
                  </a:lnTo>
                  <a:lnTo>
                    <a:pt x="156" y="209"/>
                  </a:lnTo>
                  <a:lnTo>
                    <a:pt x="154" y="211"/>
                  </a:lnTo>
                  <a:lnTo>
                    <a:pt x="152" y="213"/>
                  </a:lnTo>
                  <a:lnTo>
                    <a:pt x="148" y="211"/>
                  </a:lnTo>
                  <a:lnTo>
                    <a:pt x="146" y="209"/>
                  </a:lnTo>
                  <a:lnTo>
                    <a:pt x="144" y="205"/>
                  </a:lnTo>
                  <a:lnTo>
                    <a:pt x="140" y="203"/>
                  </a:lnTo>
                  <a:lnTo>
                    <a:pt x="138" y="201"/>
                  </a:lnTo>
                  <a:lnTo>
                    <a:pt x="137" y="199"/>
                  </a:lnTo>
                  <a:lnTo>
                    <a:pt x="119" y="196"/>
                  </a:lnTo>
                  <a:lnTo>
                    <a:pt x="102" y="194"/>
                  </a:lnTo>
                  <a:lnTo>
                    <a:pt x="100" y="192"/>
                  </a:lnTo>
                  <a:lnTo>
                    <a:pt x="98" y="190"/>
                  </a:lnTo>
                  <a:lnTo>
                    <a:pt x="90" y="188"/>
                  </a:lnTo>
                  <a:lnTo>
                    <a:pt x="83" y="184"/>
                  </a:lnTo>
                  <a:lnTo>
                    <a:pt x="81" y="182"/>
                  </a:lnTo>
                  <a:lnTo>
                    <a:pt x="79" y="180"/>
                  </a:lnTo>
                  <a:lnTo>
                    <a:pt x="75" y="176"/>
                  </a:lnTo>
                  <a:lnTo>
                    <a:pt x="73" y="174"/>
                  </a:lnTo>
                  <a:lnTo>
                    <a:pt x="71" y="173"/>
                  </a:lnTo>
                  <a:lnTo>
                    <a:pt x="69" y="171"/>
                  </a:lnTo>
                  <a:lnTo>
                    <a:pt x="66" y="167"/>
                  </a:lnTo>
                  <a:lnTo>
                    <a:pt x="64" y="165"/>
                  </a:lnTo>
                  <a:lnTo>
                    <a:pt x="62" y="163"/>
                  </a:lnTo>
                  <a:lnTo>
                    <a:pt x="60" y="161"/>
                  </a:lnTo>
                  <a:lnTo>
                    <a:pt x="56" y="157"/>
                  </a:lnTo>
                  <a:lnTo>
                    <a:pt x="54" y="155"/>
                  </a:lnTo>
                  <a:lnTo>
                    <a:pt x="52" y="153"/>
                  </a:lnTo>
                  <a:lnTo>
                    <a:pt x="50" y="149"/>
                  </a:lnTo>
                  <a:lnTo>
                    <a:pt x="42" y="148"/>
                  </a:lnTo>
                  <a:lnTo>
                    <a:pt x="35" y="146"/>
                  </a:lnTo>
                  <a:lnTo>
                    <a:pt x="33" y="144"/>
                  </a:lnTo>
                  <a:lnTo>
                    <a:pt x="29" y="142"/>
                  </a:lnTo>
                  <a:lnTo>
                    <a:pt x="23" y="138"/>
                  </a:lnTo>
                  <a:lnTo>
                    <a:pt x="16" y="136"/>
                  </a:lnTo>
                  <a:lnTo>
                    <a:pt x="14" y="134"/>
                  </a:lnTo>
                  <a:lnTo>
                    <a:pt x="12" y="132"/>
                  </a:lnTo>
                  <a:lnTo>
                    <a:pt x="8" y="128"/>
                  </a:lnTo>
                  <a:lnTo>
                    <a:pt x="6" y="126"/>
                  </a:lnTo>
                  <a:lnTo>
                    <a:pt x="4" y="125"/>
                  </a:lnTo>
                  <a:lnTo>
                    <a:pt x="0" y="121"/>
                  </a:lnTo>
                  <a:lnTo>
                    <a:pt x="0" y="117"/>
                  </a:lnTo>
                  <a:lnTo>
                    <a:pt x="0" y="111"/>
                  </a:lnTo>
                  <a:lnTo>
                    <a:pt x="4" y="109"/>
                  </a:lnTo>
                  <a:lnTo>
                    <a:pt x="6" y="107"/>
                  </a:lnTo>
                  <a:lnTo>
                    <a:pt x="8" y="96"/>
                  </a:lnTo>
                  <a:lnTo>
                    <a:pt x="12" y="82"/>
                  </a:lnTo>
                  <a:lnTo>
                    <a:pt x="14" y="80"/>
                  </a:lnTo>
                  <a:lnTo>
                    <a:pt x="16" y="79"/>
                  </a:lnTo>
                  <a:lnTo>
                    <a:pt x="16" y="59"/>
                  </a:lnTo>
                  <a:lnTo>
                    <a:pt x="18" y="42"/>
                  </a:lnTo>
                  <a:lnTo>
                    <a:pt x="19" y="23"/>
                  </a:lnTo>
                  <a:lnTo>
                    <a:pt x="19" y="6"/>
                  </a:lnTo>
                  <a:lnTo>
                    <a:pt x="23" y="4"/>
                  </a:lnTo>
                  <a:lnTo>
                    <a:pt x="25" y="0"/>
                  </a:lnTo>
                  <a:lnTo>
                    <a:pt x="31" y="0"/>
                  </a:lnTo>
                  <a:lnTo>
                    <a:pt x="35" y="0"/>
                  </a:lnTo>
                  <a:lnTo>
                    <a:pt x="37" y="4"/>
                  </a:lnTo>
                  <a:lnTo>
                    <a:pt x="41" y="6"/>
                  </a:lnTo>
                  <a:lnTo>
                    <a:pt x="41" y="13"/>
                  </a:lnTo>
                  <a:lnTo>
                    <a:pt x="41" y="21"/>
                  </a:lnTo>
                  <a:lnTo>
                    <a:pt x="46" y="21"/>
                  </a:lnTo>
                  <a:lnTo>
                    <a:pt x="54" y="21"/>
                  </a:lnTo>
                  <a:lnTo>
                    <a:pt x="56" y="23"/>
                  </a:lnTo>
                  <a:lnTo>
                    <a:pt x="60" y="25"/>
                  </a:lnTo>
                  <a:lnTo>
                    <a:pt x="62" y="29"/>
                  </a:lnTo>
                  <a:lnTo>
                    <a:pt x="69" y="29"/>
                  </a:lnTo>
                  <a:lnTo>
                    <a:pt x="75" y="29"/>
                  </a:lnTo>
                  <a:lnTo>
                    <a:pt x="79" y="25"/>
                  </a:lnTo>
                  <a:lnTo>
                    <a:pt x="81" y="23"/>
                  </a:lnTo>
                  <a:lnTo>
                    <a:pt x="83" y="21"/>
                  </a:lnTo>
                  <a:lnTo>
                    <a:pt x="89" y="21"/>
                  </a:lnTo>
                  <a:lnTo>
                    <a:pt x="92" y="21"/>
                  </a:lnTo>
                  <a:lnTo>
                    <a:pt x="96" y="23"/>
                  </a:lnTo>
                  <a:lnTo>
                    <a:pt x="98" y="25"/>
                  </a:lnTo>
                  <a:lnTo>
                    <a:pt x="100" y="46"/>
                  </a:lnTo>
                  <a:lnTo>
                    <a:pt x="102" y="69"/>
                  </a:lnTo>
                  <a:lnTo>
                    <a:pt x="104" y="71"/>
                  </a:lnTo>
                  <a:lnTo>
                    <a:pt x="108" y="73"/>
                  </a:lnTo>
                  <a:lnTo>
                    <a:pt x="110" y="75"/>
                  </a:lnTo>
                  <a:lnTo>
                    <a:pt x="112" y="79"/>
                  </a:lnTo>
                  <a:lnTo>
                    <a:pt x="113" y="80"/>
                  </a:lnTo>
                  <a:lnTo>
                    <a:pt x="117" y="82"/>
                  </a:lnTo>
                  <a:lnTo>
                    <a:pt x="121" y="82"/>
                  </a:lnTo>
                  <a:lnTo>
                    <a:pt x="127" y="82"/>
                  </a:lnTo>
                  <a:lnTo>
                    <a:pt x="137" y="79"/>
                  </a:lnTo>
                  <a:lnTo>
                    <a:pt x="148" y="75"/>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54" name="Freeform 321"/>
            <p:cNvSpPr>
              <a:spLocks/>
            </p:cNvSpPr>
            <p:nvPr>
              <p:custDataLst>
                <p:tags r:id="rId38"/>
              </p:custDataLst>
            </p:nvPr>
          </p:nvSpPr>
          <p:spPr bwMode="gray">
            <a:xfrm>
              <a:off x="1638300" y="4205103"/>
              <a:ext cx="314325" cy="203200"/>
            </a:xfrm>
            <a:custGeom>
              <a:avLst/>
              <a:gdLst>
                <a:gd name="T0" fmla="*/ 2147483647 w 203"/>
                <a:gd name="T1" fmla="*/ 2147483647 h 136"/>
                <a:gd name="T2" fmla="*/ 2147483647 w 203"/>
                <a:gd name="T3" fmla="*/ 2147483647 h 136"/>
                <a:gd name="T4" fmla="*/ 2147483647 w 203"/>
                <a:gd name="T5" fmla="*/ 2147483647 h 136"/>
                <a:gd name="T6" fmla="*/ 2147483647 w 203"/>
                <a:gd name="T7" fmla="*/ 2147483647 h 136"/>
                <a:gd name="T8" fmla="*/ 2147483647 w 203"/>
                <a:gd name="T9" fmla="*/ 2147483647 h 136"/>
                <a:gd name="T10" fmla="*/ 2147483647 w 203"/>
                <a:gd name="T11" fmla="*/ 2147483647 h 136"/>
                <a:gd name="T12" fmla="*/ 2147483647 w 203"/>
                <a:gd name="T13" fmla="*/ 2147483647 h 136"/>
                <a:gd name="T14" fmla="*/ 2147483647 w 203"/>
                <a:gd name="T15" fmla="*/ 2147483647 h 136"/>
                <a:gd name="T16" fmla="*/ 2147483647 w 203"/>
                <a:gd name="T17" fmla="*/ 2147483647 h 136"/>
                <a:gd name="T18" fmla="*/ 2147483647 w 203"/>
                <a:gd name="T19" fmla="*/ 2147483647 h 136"/>
                <a:gd name="T20" fmla="*/ 2147483647 w 203"/>
                <a:gd name="T21" fmla="*/ 2147483647 h 136"/>
                <a:gd name="T22" fmla="*/ 2147483647 w 203"/>
                <a:gd name="T23" fmla="*/ 2147483647 h 136"/>
                <a:gd name="T24" fmla="*/ 2147483647 w 203"/>
                <a:gd name="T25" fmla="*/ 2147483647 h 136"/>
                <a:gd name="T26" fmla="*/ 2147483647 w 203"/>
                <a:gd name="T27" fmla="*/ 2147483647 h 136"/>
                <a:gd name="T28" fmla="*/ 2147483647 w 203"/>
                <a:gd name="T29" fmla="*/ 2147483647 h 136"/>
                <a:gd name="T30" fmla="*/ 2147483647 w 203"/>
                <a:gd name="T31" fmla="*/ 2147483647 h 136"/>
                <a:gd name="T32" fmla="*/ 2147483647 w 203"/>
                <a:gd name="T33" fmla="*/ 2147483647 h 136"/>
                <a:gd name="T34" fmla="*/ 2147483647 w 203"/>
                <a:gd name="T35" fmla="*/ 2147483647 h 136"/>
                <a:gd name="T36" fmla="*/ 2147483647 w 203"/>
                <a:gd name="T37" fmla="*/ 2147483647 h 136"/>
                <a:gd name="T38" fmla="*/ 2147483647 w 203"/>
                <a:gd name="T39" fmla="*/ 2147483647 h 136"/>
                <a:gd name="T40" fmla="*/ 2147483647 w 203"/>
                <a:gd name="T41" fmla="*/ 2147483647 h 136"/>
                <a:gd name="T42" fmla="*/ 2147483647 w 203"/>
                <a:gd name="T43" fmla="*/ 2147483647 h 136"/>
                <a:gd name="T44" fmla="*/ 2147483647 w 203"/>
                <a:gd name="T45" fmla="*/ 0 h 136"/>
                <a:gd name="T46" fmla="*/ 2147483647 w 203"/>
                <a:gd name="T47" fmla="*/ 2147483647 h 136"/>
                <a:gd name="T48" fmla="*/ 2147483647 w 203"/>
                <a:gd name="T49" fmla="*/ 2147483647 h 136"/>
                <a:gd name="T50" fmla="*/ 2147483647 w 203"/>
                <a:gd name="T51" fmla="*/ 2147483647 h 136"/>
                <a:gd name="T52" fmla="*/ 2147483647 w 203"/>
                <a:gd name="T53" fmla="*/ 2147483647 h 136"/>
                <a:gd name="T54" fmla="*/ 2147483647 w 203"/>
                <a:gd name="T55" fmla="*/ 2147483647 h 136"/>
                <a:gd name="T56" fmla="*/ 2147483647 w 203"/>
                <a:gd name="T57" fmla="*/ 2147483647 h 136"/>
                <a:gd name="T58" fmla="*/ 2147483647 w 203"/>
                <a:gd name="T59" fmla="*/ 2147483647 h 136"/>
                <a:gd name="T60" fmla="*/ 2147483647 w 203"/>
                <a:gd name="T61" fmla="*/ 2147483647 h 136"/>
                <a:gd name="T62" fmla="*/ 2147483647 w 203"/>
                <a:gd name="T63" fmla="*/ 2147483647 h 136"/>
                <a:gd name="T64" fmla="*/ 2147483647 w 203"/>
                <a:gd name="T65" fmla="*/ 2147483647 h 136"/>
                <a:gd name="T66" fmla="*/ 2147483647 w 203"/>
                <a:gd name="T67" fmla="*/ 2147483647 h 136"/>
                <a:gd name="T68" fmla="*/ 2147483647 w 203"/>
                <a:gd name="T69" fmla="*/ 2147483647 h 136"/>
                <a:gd name="T70" fmla="*/ 2147483647 w 203"/>
                <a:gd name="T71" fmla="*/ 2147483647 h 136"/>
                <a:gd name="T72" fmla="*/ 2147483647 w 203"/>
                <a:gd name="T73" fmla="*/ 2147483647 h 136"/>
                <a:gd name="T74" fmla="*/ 2147483647 w 203"/>
                <a:gd name="T75" fmla="*/ 2147483647 h 136"/>
                <a:gd name="T76" fmla="*/ 2147483647 w 203"/>
                <a:gd name="T77" fmla="*/ 2147483647 h 136"/>
                <a:gd name="T78" fmla="*/ 2147483647 w 203"/>
                <a:gd name="T79" fmla="*/ 2147483647 h 136"/>
                <a:gd name="T80" fmla="*/ 2147483647 w 203"/>
                <a:gd name="T81" fmla="*/ 2147483647 h 136"/>
                <a:gd name="T82" fmla="*/ 2147483647 w 203"/>
                <a:gd name="T83" fmla="*/ 2147483647 h 136"/>
                <a:gd name="T84" fmla="*/ 2147483647 w 203"/>
                <a:gd name="T85" fmla="*/ 2147483647 h 136"/>
                <a:gd name="T86" fmla="*/ 2147483647 w 203"/>
                <a:gd name="T87" fmla="*/ 2147483647 h 136"/>
                <a:gd name="T88" fmla="*/ 2147483647 w 203"/>
                <a:gd name="T89" fmla="*/ 2147483647 h 136"/>
                <a:gd name="T90" fmla="*/ 2147483647 w 203"/>
                <a:gd name="T91" fmla="*/ 2147483647 h 136"/>
                <a:gd name="T92" fmla="*/ 2147483647 w 203"/>
                <a:gd name="T93" fmla="*/ 2147483647 h 136"/>
                <a:gd name="T94" fmla="*/ 2147483647 w 203"/>
                <a:gd name="T95" fmla="*/ 2147483647 h 136"/>
                <a:gd name="T96" fmla="*/ 2147483647 w 203"/>
                <a:gd name="T97" fmla="*/ 2147483647 h 136"/>
                <a:gd name="T98" fmla="*/ 2147483647 w 203"/>
                <a:gd name="T99" fmla="*/ 2147483647 h 136"/>
                <a:gd name="T100" fmla="*/ 2147483647 w 203"/>
                <a:gd name="T101" fmla="*/ 2147483647 h 136"/>
                <a:gd name="T102" fmla="*/ 2147483647 w 203"/>
                <a:gd name="T103" fmla="*/ 2147483647 h 1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03"/>
                <a:gd name="T157" fmla="*/ 0 h 136"/>
                <a:gd name="T158" fmla="*/ 203 w 203"/>
                <a:gd name="T159" fmla="*/ 136 h 1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03" h="136">
                  <a:moveTo>
                    <a:pt x="99" y="121"/>
                  </a:moveTo>
                  <a:lnTo>
                    <a:pt x="92" y="121"/>
                  </a:lnTo>
                  <a:lnTo>
                    <a:pt x="86" y="121"/>
                  </a:lnTo>
                  <a:lnTo>
                    <a:pt x="84" y="123"/>
                  </a:lnTo>
                  <a:lnTo>
                    <a:pt x="82" y="127"/>
                  </a:lnTo>
                  <a:lnTo>
                    <a:pt x="78" y="123"/>
                  </a:lnTo>
                  <a:lnTo>
                    <a:pt x="76" y="121"/>
                  </a:lnTo>
                  <a:lnTo>
                    <a:pt x="72" y="119"/>
                  </a:lnTo>
                  <a:lnTo>
                    <a:pt x="71" y="117"/>
                  </a:lnTo>
                  <a:lnTo>
                    <a:pt x="69" y="113"/>
                  </a:lnTo>
                  <a:lnTo>
                    <a:pt x="67" y="111"/>
                  </a:lnTo>
                  <a:lnTo>
                    <a:pt x="63" y="90"/>
                  </a:lnTo>
                  <a:lnTo>
                    <a:pt x="61" y="69"/>
                  </a:lnTo>
                  <a:lnTo>
                    <a:pt x="59" y="65"/>
                  </a:lnTo>
                  <a:lnTo>
                    <a:pt x="57" y="63"/>
                  </a:lnTo>
                  <a:lnTo>
                    <a:pt x="48" y="63"/>
                  </a:lnTo>
                  <a:lnTo>
                    <a:pt x="38" y="63"/>
                  </a:lnTo>
                  <a:lnTo>
                    <a:pt x="34" y="65"/>
                  </a:lnTo>
                  <a:lnTo>
                    <a:pt x="32" y="69"/>
                  </a:lnTo>
                  <a:lnTo>
                    <a:pt x="28" y="69"/>
                  </a:lnTo>
                  <a:lnTo>
                    <a:pt x="23" y="69"/>
                  </a:lnTo>
                  <a:lnTo>
                    <a:pt x="21" y="65"/>
                  </a:lnTo>
                  <a:lnTo>
                    <a:pt x="19" y="63"/>
                  </a:lnTo>
                  <a:lnTo>
                    <a:pt x="11" y="56"/>
                  </a:lnTo>
                  <a:lnTo>
                    <a:pt x="3" y="48"/>
                  </a:lnTo>
                  <a:lnTo>
                    <a:pt x="1" y="46"/>
                  </a:lnTo>
                  <a:lnTo>
                    <a:pt x="0" y="44"/>
                  </a:lnTo>
                  <a:lnTo>
                    <a:pt x="1" y="42"/>
                  </a:lnTo>
                  <a:lnTo>
                    <a:pt x="3" y="38"/>
                  </a:lnTo>
                  <a:lnTo>
                    <a:pt x="11" y="36"/>
                  </a:lnTo>
                  <a:lnTo>
                    <a:pt x="19" y="34"/>
                  </a:lnTo>
                  <a:lnTo>
                    <a:pt x="21" y="32"/>
                  </a:lnTo>
                  <a:lnTo>
                    <a:pt x="23" y="31"/>
                  </a:lnTo>
                  <a:lnTo>
                    <a:pt x="25" y="27"/>
                  </a:lnTo>
                  <a:lnTo>
                    <a:pt x="28" y="25"/>
                  </a:lnTo>
                  <a:lnTo>
                    <a:pt x="30" y="21"/>
                  </a:lnTo>
                  <a:lnTo>
                    <a:pt x="32" y="19"/>
                  </a:lnTo>
                  <a:lnTo>
                    <a:pt x="34" y="17"/>
                  </a:lnTo>
                  <a:lnTo>
                    <a:pt x="38" y="15"/>
                  </a:lnTo>
                  <a:lnTo>
                    <a:pt x="40" y="11"/>
                  </a:lnTo>
                  <a:lnTo>
                    <a:pt x="42" y="9"/>
                  </a:lnTo>
                  <a:lnTo>
                    <a:pt x="44" y="8"/>
                  </a:lnTo>
                  <a:lnTo>
                    <a:pt x="48" y="6"/>
                  </a:lnTo>
                  <a:lnTo>
                    <a:pt x="49" y="4"/>
                  </a:lnTo>
                  <a:lnTo>
                    <a:pt x="51" y="0"/>
                  </a:lnTo>
                  <a:lnTo>
                    <a:pt x="57" y="0"/>
                  </a:lnTo>
                  <a:lnTo>
                    <a:pt x="61" y="0"/>
                  </a:lnTo>
                  <a:lnTo>
                    <a:pt x="63" y="4"/>
                  </a:lnTo>
                  <a:lnTo>
                    <a:pt x="67" y="6"/>
                  </a:lnTo>
                  <a:lnTo>
                    <a:pt x="78" y="8"/>
                  </a:lnTo>
                  <a:lnTo>
                    <a:pt x="90" y="9"/>
                  </a:lnTo>
                  <a:lnTo>
                    <a:pt x="94" y="11"/>
                  </a:lnTo>
                  <a:lnTo>
                    <a:pt x="96" y="15"/>
                  </a:lnTo>
                  <a:lnTo>
                    <a:pt x="97" y="27"/>
                  </a:lnTo>
                  <a:lnTo>
                    <a:pt x="99" y="38"/>
                  </a:lnTo>
                  <a:lnTo>
                    <a:pt x="103" y="42"/>
                  </a:lnTo>
                  <a:lnTo>
                    <a:pt x="105" y="44"/>
                  </a:lnTo>
                  <a:lnTo>
                    <a:pt x="105" y="52"/>
                  </a:lnTo>
                  <a:lnTo>
                    <a:pt x="105" y="59"/>
                  </a:lnTo>
                  <a:lnTo>
                    <a:pt x="115" y="59"/>
                  </a:lnTo>
                  <a:lnTo>
                    <a:pt x="124" y="59"/>
                  </a:lnTo>
                  <a:lnTo>
                    <a:pt x="124" y="73"/>
                  </a:lnTo>
                  <a:lnTo>
                    <a:pt x="124" y="88"/>
                  </a:lnTo>
                  <a:lnTo>
                    <a:pt x="128" y="88"/>
                  </a:lnTo>
                  <a:lnTo>
                    <a:pt x="134" y="88"/>
                  </a:lnTo>
                  <a:lnTo>
                    <a:pt x="140" y="82"/>
                  </a:lnTo>
                  <a:lnTo>
                    <a:pt x="143" y="79"/>
                  </a:lnTo>
                  <a:lnTo>
                    <a:pt x="159" y="75"/>
                  </a:lnTo>
                  <a:lnTo>
                    <a:pt x="172" y="73"/>
                  </a:lnTo>
                  <a:lnTo>
                    <a:pt x="176" y="71"/>
                  </a:lnTo>
                  <a:lnTo>
                    <a:pt x="178" y="69"/>
                  </a:lnTo>
                  <a:lnTo>
                    <a:pt x="182" y="69"/>
                  </a:lnTo>
                  <a:lnTo>
                    <a:pt x="188" y="69"/>
                  </a:lnTo>
                  <a:lnTo>
                    <a:pt x="190" y="71"/>
                  </a:lnTo>
                  <a:lnTo>
                    <a:pt x="191" y="73"/>
                  </a:lnTo>
                  <a:lnTo>
                    <a:pt x="195" y="75"/>
                  </a:lnTo>
                  <a:lnTo>
                    <a:pt x="197" y="79"/>
                  </a:lnTo>
                  <a:lnTo>
                    <a:pt x="199" y="80"/>
                  </a:lnTo>
                  <a:lnTo>
                    <a:pt x="203" y="82"/>
                  </a:lnTo>
                  <a:lnTo>
                    <a:pt x="203" y="92"/>
                  </a:lnTo>
                  <a:lnTo>
                    <a:pt x="203" y="102"/>
                  </a:lnTo>
                  <a:lnTo>
                    <a:pt x="199" y="103"/>
                  </a:lnTo>
                  <a:lnTo>
                    <a:pt x="197" y="107"/>
                  </a:lnTo>
                  <a:lnTo>
                    <a:pt x="195" y="119"/>
                  </a:lnTo>
                  <a:lnTo>
                    <a:pt x="191" y="130"/>
                  </a:lnTo>
                  <a:lnTo>
                    <a:pt x="190" y="132"/>
                  </a:lnTo>
                  <a:lnTo>
                    <a:pt x="188" y="136"/>
                  </a:lnTo>
                  <a:lnTo>
                    <a:pt x="172" y="136"/>
                  </a:lnTo>
                  <a:lnTo>
                    <a:pt x="159" y="136"/>
                  </a:lnTo>
                  <a:lnTo>
                    <a:pt x="155" y="132"/>
                  </a:lnTo>
                  <a:lnTo>
                    <a:pt x="153" y="130"/>
                  </a:lnTo>
                  <a:lnTo>
                    <a:pt x="149" y="130"/>
                  </a:lnTo>
                  <a:lnTo>
                    <a:pt x="143" y="130"/>
                  </a:lnTo>
                  <a:lnTo>
                    <a:pt x="142" y="132"/>
                  </a:lnTo>
                  <a:lnTo>
                    <a:pt x="140" y="136"/>
                  </a:lnTo>
                  <a:lnTo>
                    <a:pt x="136" y="132"/>
                  </a:lnTo>
                  <a:lnTo>
                    <a:pt x="134" y="130"/>
                  </a:lnTo>
                  <a:lnTo>
                    <a:pt x="134" y="123"/>
                  </a:lnTo>
                  <a:lnTo>
                    <a:pt x="134" y="117"/>
                  </a:lnTo>
                  <a:lnTo>
                    <a:pt x="117" y="117"/>
                  </a:lnTo>
                  <a:lnTo>
                    <a:pt x="105" y="115"/>
                  </a:lnTo>
                  <a:lnTo>
                    <a:pt x="103" y="115"/>
                  </a:lnTo>
                  <a:lnTo>
                    <a:pt x="99" y="117"/>
                  </a:lnTo>
                  <a:lnTo>
                    <a:pt x="99" y="119"/>
                  </a:lnTo>
                  <a:lnTo>
                    <a:pt x="99" y="121"/>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55" name="Freeform 322"/>
            <p:cNvSpPr>
              <a:spLocks/>
            </p:cNvSpPr>
            <p:nvPr>
              <p:custDataLst>
                <p:tags r:id="rId39"/>
              </p:custDataLst>
            </p:nvPr>
          </p:nvSpPr>
          <p:spPr bwMode="gray">
            <a:xfrm>
              <a:off x="1952625" y="4233678"/>
              <a:ext cx="192088" cy="174625"/>
            </a:xfrm>
            <a:custGeom>
              <a:avLst/>
              <a:gdLst>
                <a:gd name="T0" fmla="*/ 2147483647 w 125"/>
                <a:gd name="T1" fmla="*/ 2147483647 h 117"/>
                <a:gd name="T2" fmla="*/ 2147483647 w 125"/>
                <a:gd name="T3" fmla="*/ 2147483647 h 117"/>
                <a:gd name="T4" fmla="*/ 2147483647 w 125"/>
                <a:gd name="T5" fmla="*/ 2147483647 h 117"/>
                <a:gd name="T6" fmla="*/ 0 w 125"/>
                <a:gd name="T7" fmla="*/ 2147483647 h 117"/>
                <a:gd name="T8" fmla="*/ 2147483647 w 125"/>
                <a:gd name="T9" fmla="*/ 2147483647 h 117"/>
                <a:gd name="T10" fmla="*/ 2147483647 w 125"/>
                <a:gd name="T11" fmla="*/ 2147483647 h 117"/>
                <a:gd name="T12" fmla="*/ 2147483647 w 125"/>
                <a:gd name="T13" fmla="*/ 2147483647 h 117"/>
                <a:gd name="T14" fmla="*/ 2147483647 w 125"/>
                <a:gd name="T15" fmla="*/ 2147483647 h 117"/>
                <a:gd name="T16" fmla="*/ 2147483647 w 125"/>
                <a:gd name="T17" fmla="*/ 2147483647 h 117"/>
                <a:gd name="T18" fmla="*/ 2147483647 w 125"/>
                <a:gd name="T19" fmla="*/ 2147483647 h 117"/>
                <a:gd name="T20" fmla="*/ 2147483647 w 125"/>
                <a:gd name="T21" fmla="*/ 2147483647 h 117"/>
                <a:gd name="T22" fmla="*/ 2147483647 w 125"/>
                <a:gd name="T23" fmla="*/ 2147483647 h 117"/>
                <a:gd name="T24" fmla="*/ 2147483647 w 125"/>
                <a:gd name="T25" fmla="*/ 2147483647 h 117"/>
                <a:gd name="T26" fmla="*/ 2147483647 w 125"/>
                <a:gd name="T27" fmla="*/ 0 h 117"/>
                <a:gd name="T28" fmla="*/ 2147483647 w 125"/>
                <a:gd name="T29" fmla="*/ 2147483647 h 117"/>
                <a:gd name="T30" fmla="*/ 2147483647 w 125"/>
                <a:gd name="T31" fmla="*/ 2147483647 h 117"/>
                <a:gd name="T32" fmla="*/ 2147483647 w 125"/>
                <a:gd name="T33" fmla="*/ 2147483647 h 117"/>
                <a:gd name="T34" fmla="*/ 2147483647 w 125"/>
                <a:gd name="T35" fmla="*/ 2147483647 h 117"/>
                <a:gd name="T36" fmla="*/ 2147483647 w 125"/>
                <a:gd name="T37" fmla="*/ 2147483647 h 117"/>
                <a:gd name="T38" fmla="*/ 2147483647 w 125"/>
                <a:gd name="T39" fmla="*/ 2147483647 h 117"/>
                <a:gd name="T40" fmla="*/ 2147483647 w 125"/>
                <a:gd name="T41" fmla="*/ 2147483647 h 117"/>
                <a:gd name="T42" fmla="*/ 2147483647 w 125"/>
                <a:gd name="T43" fmla="*/ 2147483647 h 117"/>
                <a:gd name="T44" fmla="*/ 2147483647 w 125"/>
                <a:gd name="T45" fmla="*/ 2147483647 h 117"/>
                <a:gd name="T46" fmla="*/ 2147483647 w 125"/>
                <a:gd name="T47" fmla="*/ 2147483647 h 117"/>
                <a:gd name="T48" fmla="*/ 2147483647 w 125"/>
                <a:gd name="T49" fmla="*/ 2147483647 h 117"/>
                <a:gd name="T50" fmla="*/ 2147483647 w 125"/>
                <a:gd name="T51" fmla="*/ 2147483647 h 117"/>
                <a:gd name="T52" fmla="*/ 2147483647 w 125"/>
                <a:gd name="T53" fmla="*/ 2147483647 h 117"/>
                <a:gd name="T54" fmla="*/ 2147483647 w 125"/>
                <a:gd name="T55" fmla="*/ 2147483647 h 117"/>
                <a:gd name="T56" fmla="*/ 2147483647 w 125"/>
                <a:gd name="T57" fmla="*/ 2147483647 h 117"/>
                <a:gd name="T58" fmla="*/ 2147483647 w 125"/>
                <a:gd name="T59" fmla="*/ 2147483647 h 117"/>
                <a:gd name="T60" fmla="*/ 2147483647 w 125"/>
                <a:gd name="T61" fmla="*/ 2147483647 h 117"/>
                <a:gd name="T62" fmla="*/ 2147483647 w 125"/>
                <a:gd name="T63" fmla="*/ 2147483647 h 117"/>
                <a:gd name="T64" fmla="*/ 2147483647 w 125"/>
                <a:gd name="T65" fmla="*/ 2147483647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5"/>
                <a:gd name="T100" fmla="*/ 0 h 117"/>
                <a:gd name="T101" fmla="*/ 125 w 125"/>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5" h="117">
                  <a:moveTo>
                    <a:pt x="23" y="117"/>
                  </a:moveTo>
                  <a:lnTo>
                    <a:pt x="21" y="113"/>
                  </a:lnTo>
                  <a:lnTo>
                    <a:pt x="17" y="111"/>
                  </a:lnTo>
                  <a:lnTo>
                    <a:pt x="17" y="109"/>
                  </a:lnTo>
                  <a:lnTo>
                    <a:pt x="15" y="108"/>
                  </a:lnTo>
                  <a:lnTo>
                    <a:pt x="10" y="108"/>
                  </a:lnTo>
                  <a:lnTo>
                    <a:pt x="0" y="108"/>
                  </a:lnTo>
                  <a:lnTo>
                    <a:pt x="0" y="100"/>
                  </a:lnTo>
                  <a:lnTo>
                    <a:pt x="0" y="92"/>
                  </a:lnTo>
                  <a:lnTo>
                    <a:pt x="2" y="90"/>
                  </a:lnTo>
                  <a:lnTo>
                    <a:pt x="4" y="88"/>
                  </a:lnTo>
                  <a:lnTo>
                    <a:pt x="6" y="75"/>
                  </a:lnTo>
                  <a:lnTo>
                    <a:pt x="8" y="63"/>
                  </a:lnTo>
                  <a:lnTo>
                    <a:pt x="11" y="61"/>
                  </a:lnTo>
                  <a:lnTo>
                    <a:pt x="13" y="60"/>
                  </a:lnTo>
                  <a:lnTo>
                    <a:pt x="15" y="52"/>
                  </a:lnTo>
                  <a:lnTo>
                    <a:pt x="17" y="44"/>
                  </a:lnTo>
                  <a:lnTo>
                    <a:pt x="21" y="42"/>
                  </a:lnTo>
                  <a:lnTo>
                    <a:pt x="23" y="40"/>
                  </a:lnTo>
                  <a:lnTo>
                    <a:pt x="25" y="37"/>
                  </a:lnTo>
                  <a:lnTo>
                    <a:pt x="29" y="35"/>
                  </a:lnTo>
                  <a:lnTo>
                    <a:pt x="31" y="33"/>
                  </a:lnTo>
                  <a:lnTo>
                    <a:pt x="33" y="29"/>
                  </a:lnTo>
                  <a:lnTo>
                    <a:pt x="40" y="17"/>
                  </a:lnTo>
                  <a:lnTo>
                    <a:pt x="48" y="6"/>
                  </a:lnTo>
                  <a:lnTo>
                    <a:pt x="50" y="2"/>
                  </a:lnTo>
                  <a:lnTo>
                    <a:pt x="52" y="0"/>
                  </a:lnTo>
                  <a:lnTo>
                    <a:pt x="63" y="0"/>
                  </a:lnTo>
                  <a:lnTo>
                    <a:pt x="77" y="0"/>
                  </a:lnTo>
                  <a:lnTo>
                    <a:pt x="90" y="6"/>
                  </a:lnTo>
                  <a:lnTo>
                    <a:pt x="105" y="12"/>
                  </a:lnTo>
                  <a:lnTo>
                    <a:pt x="109" y="25"/>
                  </a:lnTo>
                  <a:lnTo>
                    <a:pt x="115" y="40"/>
                  </a:lnTo>
                  <a:lnTo>
                    <a:pt x="117" y="40"/>
                  </a:lnTo>
                  <a:lnTo>
                    <a:pt x="119" y="40"/>
                  </a:lnTo>
                  <a:lnTo>
                    <a:pt x="123" y="42"/>
                  </a:lnTo>
                  <a:lnTo>
                    <a:pt x="125" y="44"/>
                  </a:lnTo>
                  <a:lnTo>
                    <a:pt x="125" y="48"/>
                  </a:lnTo>
                  <a:lnTo>
                    <a:pt x="125" y="54"/>
                  </a:lnTo>
                  <a:lnTo>
                    <a:pt x="123" y="56"/>
                  </a:lnTo>
                  <a:lnTo>
                    <a:pt x="119" y="60"/>
                  </a:lnTo>
                  <a:lnTo>
                    <a:pt x="111" y="61"/>
                  </a:lnTo>
                  <a:lnTo>
                    <a:pt x="105" y="63"/>
                  </a:lnTo>
                  <a:lnTo>
                    <a:pt x="102" y="65"/>
                  </a:lnTo>
                  <a:lnTo>
                    <a:pt x="100" y="69"/>
                  </a:lnTo>
                  <a:lnTo>
                    <a:pt x="94" y="71"/>
                  </a:lnTo>
                  <a:lnTo>
                    <a:pt x="86" y="73"/>
                  </a:lnTo>
                  <a:lnTo>
                    <a:pt x="84" y="75"/>
                  </a:lnTo>
                  <a:lnTo>
                    <a:pt x="81" y="79"/>
                  </a:lnTo>
                  <a:lnTo>
                    <a:pt x="79" y="81"/>
                  </a:lnTo>
                  <a:lnTo>
                    <a:pt x="77" y="83"/>
                  </a:lnTo>
                  <a:lnTo>
                    <a:pt x="73" y="84"/>
                  </a:lnTo>
                  <a:lnTo>
                    <a:pt x="71" y="88"/>
                  </a:lnTo>
                  <a:lnTo>
                    <a:pt x="69" y="100"/>
                  </a:lnTo>
                  <a:lnTo>
                    <a:pt x="67" y="111"/>
                  </a:lnTo>
                  <a:lnTo>
                    <a:pt x="63" y="113"/>
                  </a:lnTo>
                  <a:lnTo>
                    <a:pt x="61" y="117"/>
                  </a:lnTo>
                  <a:lnTo>
                    <a:pt x="58" y="117"/>
                  </a:lnTo>
                  <a:lnTo>
                    <a:pt x="52" y="117"/>
                  </a:lnTo>
                  <a:lnTo>
                    <a:pt x="50" y="113"/>
                  </a:lnTo>
                  <a:lnTo>
                    <a:pt x="48" y="111"/>
                  </a:lnTo>
                  <a:lnTo>
                    <a:pt x="44" y="109"/>
                  </a:lnTo>
                  <a:lnTo>
                    <a:pt x="38" y="108"/>
                  </a:lnTo>
                  <a:lnTo>
                    <a:pt x="31" y="109"/>
                  </a:lnTo>
                  <a:lnTo>
                    <a:pt x="29" y="111"/>
                  </a:lnTo>
                  <a:lnTo>
                    <a:pt x="25" y="113"/>
                  </a:lnTo>
                  <a:lnTo>
                    <a:pt x="23" y="117"/>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56" name="Freeform 323"/>
            <p:cNvSpPr>
              <a:spLocks/>
            </p:cNvSpPr>
            <p:nvPr>
              <p:custDataLst>
                <p:tags r:id="rId40"/>
              </p:custDataLst>
            </p:nvPr>
          </p:nvSpPr>
          <p:spPr bwMode="gray">
            <a:xfrm>
              <a:off x="2130425" y="3724091"/>
              <a:ext cx="603250" cy="668337"/>
            </a:xfrm>
            <a:custGeom>
              <a:avLst/>
              <a:gdLst>
                <a:gd name="T0" fmla="*/ 2147483647 w 388"/>
                <a:gd name="T1" fmla="*/ 2147483647 h 448"/>
                <a:gd name="T2" fmla="*/ 2147483647 w 388"/>
                <a:gd name="T3" fmla="*/ 2147483647 h 448"/>
                <a:gd name="T4" fmla="*/ 2147483647 w 388"/>
                <a:gd name="T5" fmla="*/ 2147483647 h 448"/>
                <a:gd name="T6" fmla="*/ 2147483647 w 388"/>
                <a:gd name="T7" fmla="*/ 2147483647 h 448"/>
                <a:gd name="T8" fmla="*/ 2147483647 w 388"/>
                <a:gd name="T9" fmla="*/ 2147483647 h 448"/>
                <a:gd name="T10" fmla="*/ 2147483647 w 388"/>
                <a:gd name="T11" fmla="*/ 2147483647 h 448"/>
                <a:gd name="T12" fmla="*/ 2147483647 w 388"/>
                <a:gd name="T13" fmla="*/ 2147483647 h 448"/>
                <a:gd name="T14" fmla="*/ 2147483647 w 388"/>
                <a:gd name="T15" fmla="*/ 2147483647 h 448"/>
                <a:gd name="T16" fmla="*/ 2147483647 w 388"/>
                <a:gd name="T17" fmla="*/ 2147483647 h 448"/>
                <a:gd name="T18" fmla="*/ 2147483647 w 388"/>
                <a:gd name="T19" fmla="*/ 2147483647 h 448"/>
                <a:gd name="T20" fmla="*/ 2147483647 w 388"/>
                <a:gd name="T21" fmla="*/ 2147483647 h 448"/>
                <a:gd name="T22" fmla="*/ 2147483647 w 388"/>
                <a:gd name="T23" fmla="*/ 2147483647 h 448"/>
                <a:gd name="T24" fmla="*/ 2147483647 w 388"/>
                <a:gd name="T25" fmla="*/ 2147483647 h 448"/>
                <a:gd name="T26" fmla="*/ 2147483647 w 388"/>
                <a:gd name="T27" fmla="*/ 2147483647 h 448"/>
                <a:gd name="T28" fmla="*/ 2147483647 w 388"/>
                <a:gd name="T29" fmla="*/ 2147483647 h 448"/>
                <a:gd name="T30" fmla="*/ 2147483647 w 388"/>
                <a:gd name="T31" fmla="*/ 2147483647 h 448"/>
                <a:gd name="T32" fmla="*/ 2147483647 w 388"/>
                <a:gd name="T33" fmla="*/ 2147483647 h 448"/>
                <a:gd name="T34" fmla="*/ 2147483647 w 388"/>
                <a:gd name="T35" fmla="*/ 2147483647 h 448"/>
                <a:gd name="T36" fmla="*/ 2147483647 w 388"/>
                <a:gd name="T37" fmla="*/ 2147483647 h 448"/>
                <a:gd name="T38" fmla="*/ 2147483647 w 388"/>
                <a:gd name="T39" fmla="*/ 2147483647 h 448"/>
                <a:gd name="T40" fmla="*/ 2147483647 w 388"/>
                <a:gd name="T41" fmla="*/ 2147483647 h 448"/>
                <a:gd name="T42" fmla="*/ 2147483647 w 388"/>
                <a:gd name="T43" fmla="*/ 2147483647 h 448"/>
                <a:gd name="T44" fmla="*/ 2147483647 w 388"/>
                <a:gd name="T45" fmla="*/ 2147483647 h 448"/>
                <a:gd name="T46" fmla="*/ 2147483647 w 388"/>
                <a:gd name="T47" fmla="*/ 2147483647 h 448"/>
                <a:gd name="T48" fmla="*/ 2147483647 w 388"/>
                <a:gd name="T49" fmla="*/ 2147483647 h 448"/>
                <a:gd name="T50" fmla="*/ 2147483647 w 388"/>
                <a:gd name="T51" fmla="*/ 2147483647 h 448"/>
                <a:gd name="T52" fmla="*/ 2147483647 w 388"/>
                <a:gd name="T53" fmla="*/ 2147483647 h 448"/>
                <a:gd name="T54" fmla="*/ 2147483647 w 388"/>
                <a:gd name="T55" fmla="*/ 2147483647 h 448"/>
                <a:gd name="T56" fmla="*/ 2147483647 w 388"/>
                <a:gd name="T57" fmla="*/ 2147483647 h 448"/>
                <a:gd name="T58" fmla="*/ 2147483647 w 388"/>
                <a:gd name="T59" fmla="*/ 2147483647 h 448"/>
                <a:gd name="T60" fmla="*/ 2147483647 w 388"/>
                <a:gd name="T61" fmla="*/ 2147483647 h 448"/>
                <a:gd name="T62" fmla="*/ 2147483647 w 388"/>
                <a:gd name="T63" fmla="*/ 2147483647 h 448"/>
                <a:gd name="T64" fmla="*/ 2147483647 w 388"/>
                <a:gd name="T65" fmla="*/ 2147483647 h 448"/>
                <a:gd name="T66" fmla="*/ 2147483647 w 388"/>
                <a:gd name="T67" fmla="*/ 2147483647 h 448"/>
                <a:gd name="T68" fmla="*/ 2147483647 w 388"/>
                <a:gd name="T69" fmla="*/ 2147483647 h 448"/>
                <a:gd name="T70" fmla="*/ 2147483647 w 388"/>
                <a:gd name="T71" fmla="*/ 2147483647 h 448"/>
                <a:gd name="T72" fmla="*/ 2147483647 w 388"/>
                <a:gd name="T73" fmla="*/ 2147483647 h 448"/>
                <a:gd name="T74" fmla="*/ 2147483647 w 388"/>
                <a:gd name="T75" fmla="*/ 2147483647 h 448"/>
                <a:gd name="T76" fmla="*/ 2147483647 w 388"/>
                <a:gd name="T77" fmla="*/ 2147483647 h 448"/>
                <a:gd name="T78" fmla="*/ 2147483647 w 388"/>
                <a:gd name="T79" fmla="*/ 2147483647 h 448"/>
                <a:gd name="T80" fmla="*/ 2147483647 w 388"/>
                <a:gd name="T81" fmla="*/ 2147483647 h 448"/>
                <a:gd name="T82" fmla="*/ 2147483647 w 388"/>
                <a:gd name="T83" fmla="*/ 2147483647 h 448"/>
                <a:gd name="T84" fmla="*/ 2147483647 w 388"/>
                <a:gd name="T85" fmla="*/ 2147483647 h 448"/>
                <a:gd name="T86" fmla="*/ 2147483647 w 388"/>
                <a:gd name="T87" fmla="*/ 2147483647 h 448"/>
                <a:gd name="T88" fmla="*/ 2147483647 w 388"/>
                <a:gd name="T89" fmla="*/ 2147483647 h 448"/>
                <a:gd name="T90" fmla="*/ 2147483647 w 388"/>
                <a:gd name="T91" fmla="*/ 2147483647 h 448"/>
                <a:gd name="T92" fmla="*/ 2147483647 w 388"/>
                <a:gd name="T93" fmla="*/ 2147483647 h 448"/>
                <a:gd name="T94" fmla="*/ 2147483647 w 388"/>
                <a:gd name="T95" fmla="*/ 2147483647 h 448"/>
                <a:gd name="T96" fmla="*/ 2147483647 w 388"/>
                <a:gd name="T97" fmla="*/ 2147483647 h 448"/>
                <a:gd name="T98" fmla="*/ 2147483647 w 388"/>
                <a:gd name="T99" fmla="*/ 2147483647 h 448"/>
                <a:gd name="T100" fmla="*/ 2147483647 w 388"/>
                <a:gd name="T101" fmla="*/ 2147483647 h 448"/>
                <a:gd name="T102" fmla="*/ 2147483647 w 388"/>
                <a:gd name="T103" fmla="*/ 2147483647 h 448"/>
                <a:gd name="T104" fmla="*/ 2147483647 w 388"/>
                <a:gd name="T105" fmla="*/ 2147483647 h 448"/>
                <a:gd name="T106" fmla="*/ 2147483647 w 388"/>
                <a:gd name="T107" fmla="*/ 2147483647 h 448"/>
                <a:gd name="T108" fmla="*/ 2147483647 w 388"/>
                <a:gd name="T109" fmla="*/ 2147483647 h 448"/>
                <a:gd name="T110" fmla="*/ 2147483647 w 388"/>
                <a:gd name="T111" fmla="*/ 2147483647 h 44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88"/>
                <a:gd name="T169" fmla="*/ 0 h 448"/>
                <a:gd name="T170" fmla="*/ 388 w 388"/>
                <a:gd name="T171" fmla="*/ 448 h 44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88" h="448">
                  <a:moveTo>
                    <a:pt x="131" y="448"/>
                  </a:moveTo>
                  <a:lnTo>
                    <a:pt x="129" y="444"/>
                  </a:lnTo>
                  <a:lnTo>
                    <a:pt x="125" y="442"/>
                  </a:lnTo>
                  <a:lnTo>
                    <a:pt x="123" y="434"/>
                  </a:lnTo>
                  <a:lnTo>
                    <a:pt x="121" y="428"/>
                  </a:lnTo>
                  <a:lnTo>
                    <a:pt x="119" y="424"/>
                  </a:lnTo>
                  <a:lnTo>
                    <a:pt x="117" y="423"/>
                  </a:lnTo>
                  <a:lnTo>
                    <a:pt x="113" y="415"/>
                  </a:lnTo>
                  <a:lnTo>
                    <a:pt x="111" y="409"/>
                  </a:lnTo>
                  <a:lnTo>
                    <a:pt x="109" y="405"/>
                  </a:lnTo>
                  <a:lnTo>
                    <a:pt x="106" y="403"/>
                  </a:lnTo>
                  <a:lnTo>
                    <a:pt x="109" y="401"/>
                  </a:lnTo>
                  <a:lnTo>
                    <a:pt x="111" y="400"/>
                  </a:lnTo>
                  <a:lnTo>
                    <a:pt x="113" y="392"/>
                  </a:lnTo>
                  <a:lnTo>
                    <a:pt x="115" y="375"/>
                  </a:lnTo>
                  <a:lnTo>
                    <a:pt x="113" y="357"/>
                  </a:lnTo>
                  <a:lnTo>
                    <a:pt x="111" y="352"/>
                  </a:lnTo>
                  <a:lnTo>
                    <a:pt x="109" y="348"/>
                  </a:lnTo>
                  <a:lnTo>
                    <a:pt x="106" y="346"/>
                  </a:lnTo>
                  <a:lnTo>
                    <a:pt x="104" y="338"/>
                  </a:lnTo>
                  <a:lnTo>
                    <a:pt x="102" y="330"/>
                  </a:lnTo>
                  <a:lnTo>
                    <a:pt x="98" y="329"/>
                  </a:lnTo>
                  <a:lnTo>
                    <a:pt x="96" y="327"/>
                  </a:lnTo>
                  <a:lnTo>
                    <a:pt x="88" y="325"/>
                  </a:lnTo>
                  <a:lnTo>
                    <a:pt x="83" y="321"/>
                  </a:lnTo>
                  <a:lnTo>
                    <a:pt x="79" y="319"/>
                  </a:lnTo>
                  <a:lnTo>
                    <a:pt x="77" y="317"/>
                  </a:lnTo>
                  <a:lnTo>
                    <a:pt x="65" y="313"/>
                  </a:lnTo>
                  <a:lnTo>
                    <a:pt x="54" y="311"/>
                  </a:lnTo>
                  <a:lnTo>
                    <a:pt x="50" y="309"/>
                  </a:lnTo>
                  <a:lnTo>
                    <a:pt x="48" y="307"/>
                  </a:lnTo>
                  <a:lnTo>
                    <a:pt x="40" y="304"/>
                  </a:lnTo>
                  <a:lnTo>
                    <a:pt x="35" y="302"/>
                  </a:lnTo>
                  <a:lnTo>
                    <a:pt x="31" y="300"/>
                  </a:lnTo>
                  <a:lnTo>
                    <a:pt x="29" y="298"/>
                  </a:lnTo>
                  <a:lnTo>
                    <a:pt x="21" y="294"/>
                  </a:lnTo>
                  <a:lnTo>
                    <a:pt x="13" y="292"/>
                  </a:lnTo>
                  <a:lnTo>
                    <a:pt x="12" y="290"/>
                  </a:lnTo>
                  <a:lnTo>
                    <a:pt x="10" y="286"/>
                  </a:lnTo>
                  <a:lnTo>
                    <a:pt x="8" y="284"/>
                  </a:lnTo>
                  <a:lnTo>
                    <a:pt x="4" y="282"/>
                  </a:lnTo>
                  <a:lnTo>
                    <a:pt x="2" y="281"/>
                  </a:lnTo>
                  <a:lnTo>
                    <a:pt x="0" y="279"/>
                  </a:lnTo>
                  <a:lnTo>
                    <a:pt x="2" y="275"/>
                  </a:lnTo>
                  <a:lnTo>
                    <a:pt x="4" y="273"/>
                  </a:lnTo>
                  <a:lnTo>
                    <a:pt x="8" y="271"/>
                  </a:lnTo>
                  <a:lnTo>
                    <a:pt x="10" y="269"/>
                  </a:lnTo>
                  <a:lnTo>
                    <a:pt x="12" y="265"/>
                  </a:lnTo>
                  <a:lnTo>
                    <a:pt x="13" y="263"/>
                  </a:lnTo>
                  <a:lnTo>
                    <a:pt x="21" y="261"/>
                  </a:lnTo>
                  <a:lnTo>
                    <a:pt x="29" y="258"/>
                  </a:lnTo>
                  <a:lnTo>
                    <a:pt x="31" y="256"/>
                  </a:lnTo>
                  <a:lnTo>
                    <a:pt x="35" y="254"/>
                  </a:lnTo>
                  <a:lnTo>
                    <a:pt x="37" y="256"/>
                  </a:lnTo>
                  <a:lnTo>
                    <a:pt x="38" y="258"/>
                  </a:lnTo>
                  <a:lnTo>
                    <a:pt x="48" y="258"/>
                  </a:lnTo>
                  <a:lnTo>
                    <a:pt x="58" y="258"/>
                  </a:lnTo>
                  <a:lnTo>
                    <a:pt x="60" y="256"/>
                  </a:lnTo>
                  <a:lnTo>
                    <a:pt x="63" y="254"/>
                  </a:lnTo>
                  <a:lnTo>
                    <a:pt x="65" y="252"/>
                  </a:lnTo>
                  <a:lnTo>
                    <a:pt x="67" y="248"/>
                  </a:lnTo>
                  <a:lnTo>
                    <a:pt x="69" y="246"/>
                  </a:lnTo>
                  <a:lnTo>
                    <a:pt x="73" y="244"/>
                  </a:lnTo>
                  <a:lnTo>
                    <a:pt x="73" y="235"/>
                  </a:lnTo>
                  <a:lnTo>
                    <a:pt x="73" y="225"/>
                  </a:lnTo>
                  <a:lnTo>
                    <a:pt x="69" y="221"/>
                  </a:lnTo>
                  <a:lnTo>
                    <a:pt x="67" y="219"/>
                  </a:lnTo>
                  <a:lnTo>
                    <a:pt x="65" y="217"/>
                  </a:lnTo>
                  <a:lnTo>
                    <a:pt x="63" y="215"/>
                  </a:lnTo>
                  <a:lnTo>
                    <a:pt x="60" y="213"/>
                  </a:lnTo>
                  <a:lnTo>
                    <a:pt x="58" y="210"/>
                  </a:lnTo>
                  <a:lnTo>
                    <a:pt x="56" y="202"/>
                  </a:lnTo>
                  <a:lnTo>
                    <a:pt x="54" y="196"/>
                  </a:lnTo>
                  <a:lnTo>
                    <a:pt x="50" y="192"/>
                  </a:lnTo>
                  <a:lnTo>
                    <a:pt x="48" y="190"/>
                  </a:lnTo>
                  <a:lnTo>
                    <a:pt x="50" y="188"/>
                  </a:lnTo>
                  <a:lnTo>
                    <a:pt x="54" y="187"/>
                  </a:lnTo>
                  <a:lnTo>
                    <a:pt x="56" y="183"/>
                  </a:lnTo>
                  <a:lnTo>
                    <a:pt x="58" y="181"/>
                  </a:lnTo>
                  <a:lnTo>
                    <a:pt x="60" y="179"/>
                  </a:lnTo>
                  <a:lnTo>
                    <a:pt x="63" y="177"/>
                  </a:lnTo>
                  <a:lnTo>
                    <a:pt x="90" y="173"/>
                  </a:lnTo>
                  <a:lnTo>
                    <a:pt x="117" y="171"/>
                  </a:lnTo>
                  <a:lnTo>
                    <a:pt x="119" y="169"/>
                  </a:lnTo>
                  <a:lnTo>
                    <a:pt x="121" y="167"/>
                  </a:lnTo>
                  <a:lnTo>
                    <a:pt x="123" y="164"/>
                  </a:lnTo>
                  <a:lnTo>
                    <a:pt x="125" y="162"/>
                  </a:lnTo>
                  <a:lnTo>
                    <a:pt x="129" y="160"/>
                  </a:lnTo>
                  <a:lnTo>
                    <a:pt x="131" y="158"/>
                  </a:lnTo>
                  <a:lnTo>
                    <a:pt x="132" y="144"/>
                  </a:lnTo>
                  <a:lnTo>
                    <a:pt x="134" y="133"/>
                  </a:lnTo>
                  <a:lnTo>
                    <a:pt x="138" y="131"/>
                  </a:lnTo>
                  <a:lnTo>
                    <a:pt x="140" y="127"/>
                  </a:lnTo>
                  <a:lnTo>
                    <a:pt x="140" y="100"/>
                  </a:lnTo>
                  <a:lnTo>
                    <a:pt x="138" y="75"/>
                  </a:lnTo>
                  <a:lnTo>
                    <a:pt x="146" y="66"/>
                  </a:lnTo>
                  <a:lnTo>
                    <a:pt x="155" y="54"/>
                  </a:lnTo>
                  <a:lnTo>
                    <a:pt x="157" y="52"/>
                  </a:lnTo>
                  <a:lnTo>
                    <a:pt x="159" y="50"/>
                  </a:lnTo>
                  <a:lnTo>
                    <a:pt x="161" y="48"/>
                  </a:lnTo>
                  <a:lnTo>
                    <a:pt x="165" y="46"/>
                  </a:lnTo>
                  <a:lnTo>
                    <a:pt x="167" y="43"/>
                  </a:lnTo>
                  <a:lnTo>
                    <a:pt x="169" y="41"/>
                  </a:lnTo>
                  <a:lnTo>
                    <a:pt x="171" y="39"/>
                  </a:lnTo>
                  <a:lnTo>
                    <a:pt x="175" y="37"/>
                  </a:lnTo>
                  <a:lnTo>
                    <a:pt x="177" y="33"/>
                  </a:lnTo>
                  <a:lnTo>
                    <a:pt x="179" y="31"/>
                  </a:lnTo>
                  <a:lnTo>
                    <a:pt x="180" y="29"/>
                  </a:lnTo>
                  <a:lnTo>
                    <a:pt x="184" y="25"/>
                  </a:lnTo>
                  <a:lnTo>
                    <a:pt x="186" y="23"/>
                  </a:lnTo>
                  <a:lnTo>
                    <a:pt x="188" y="22"/>
                  </a:lnTo>
                  <a:lnTo>
                    <a:pt x="203" y="10"/>
                  </a:lnTo>
                  <a:lnTo>
                    <a:pt x="217" y="0"/>
                  </a:lnTo>
                  <a:lnTo>
                    <a:pt x="221" y="0"/>
                  </a:lnTo>
                  <a:lnTo>
                    <a:pt x="225" y="2"/>
                  </a:lnTo>
                  <a:lnTo>
                    <a:pt x="226" y="6"/>
                  </a:lnTo>
                  <a:lnTo>
                    <a:pt x="228" y="10"/>
                  </a:lnTo>
                  <a:lnTo>
                    <a:pt x="225" y="18"/>
                  </a:lnTo>
                  <a:lnTo>
                    <a:pt x="223" y="22"/>
                  </a:lnTo>
                  <a:lnTo>
                    <a:pt x="223" y="33"/>
                  </a:lnTo>
                  <a:lnTo>
                    <a:pt x="223" y="39"/>
                  </a:lnTo>
                  <a:lnTo>
                    <a:pt x="225" y="41"/>
                  </a:lnTo>
                  <a:lnTo>
                    <a:pt x="226" y="41"/>
                  </a:lnTo>
                  <a:lnTo>
                    <a:pt x="230" y="43"/>
                  </a:lnTo>
                  <a:lnTo>
                    <a:pt x="232" y="46"/>
                  </a:lnTo>
                  <a:lnTo>
                    <a:pt x="230" y="48"/>
                  </a:lnTo>
                  <a:lnTo>
                    <a:pt x="226" y="50"/>
                  </a:lnTo>
                  <a:lnTo>
                    <a:pt x="225" y="58"/>
                  </a:lnTo>
                  <a:lnTo>
                    <a:pt x="223" y="66"/>
                  </a:lnTo>
                  <a:lnTo>
                    <a:pt x="219" y="68"/>
                  </a:lnTo>
                  <a:lnTo>
                    <a:pt x="217" y="70"/>
                  </a:lnTo>
                  <a:lnTo>
                    <a:pt x="215" y="83"/>
                  </a:lnTo>
                  <a:lnTo>
                    <a:pt x="213" y="94"/>
                  </a:lnTo>
                  <a:lnTo>
                    <a:pt x="209" y="96"/>
                  </a:lnTo>
                  <a:lnTo>
                    <a:pt x="207" y="98"/>
                  </a:lnTo>
                  <a:lnTo>
                    <a:pt x="205" y="106"/>
                  </a:lnTo>
                  <a:lnTo>
                    <a:pt x="203" y="114"/>
                  </a:lnTo>
                  <a:lnTo>
                    <a:pt x="202" y="116"/>
                  </a:lnTo>
                  <a:lnTo>
                    <a:pt x="198" y="119"/>
                  </a:lnTo>
                  <a:lnTo>
                    <a:pt x="198" y="127"/>
                  </a:lnTo>
                  <a:lnTo>
                    <a:pt x="198" y="137"/>
                  </a:lnTo>
                  <a:lnTo>
                    <a:pt x="202" y="141"/>
                  </a:lnTo>
                  <a:lnTo>
                    <a:pt x="203" y="142"/>
                  </a:lnTo>
                  <a:lnTo>
                    <a:pt x="203" y="146"/>
                  </a:lnTo>
                  <a:lnTo>
                    <a:pt x="203" y="152"/>
                  </a:lnTo>
                  <a:lnTo>
                    <a:pt x="202" y="154"/>
                  </a:lnTo>
                  <a:lnTo>
                    <a:pt x="198" y="158"/>
                  </a:lnTo>
                  <a:lnTo>
                    <a:pt x="198" y="167"/>
                  </a:lnTo>
                  <a:lnTo>
                    <a:pt x="198" y="177"/>
                  </a:lnTo>
                  <a:lnTo>
                    <a:pt x="202" y="179"/>
                  </a:lnTo>
                  <a:lnTo>
                    <a:pt x="203" y="181"/>
                  </a:lnTo>
                  <a:lnTo>
                    <a:pt x="205" y="188"/>
                  </a:lnTo>
                  <a:lnTo>
                    <a:pt x="207" y="196"/>
                  </a:lnTo>
                  <a:lnTo>
                    <a:pt x="209" y="198"/>
                  </a:lnTo>
                  <a:lnTo>
                    <a:pt x="213" y="200"/>
                  </a:lnTo>
                  <a:lnTo>
                    <a:pt x="217" y="200"/>
                  </a:lnTo>
                  <a:lnTo>
                    <a:pt x="223" y="200"/>
                  </a:lnTo>
                  <a:lnTo>
                    <a:pt x="225" y="198"/>
                  </a:lnTo>
                  <a:lnTo>
                    <a:pt x="226" y="196"/>
                  </a:lnTo>
                  <a:lnTo>
                    <a:pt x="234" y="192"/>
                  </a:lnTo>
                  <a:lnTo>
                    <a:pt x="242" y="190"/>
                  </a:lnTo>
                  <a:lnTo>
                    <a:pt x="244" y="188"/>
                  </a:lnTo>
                  <a:lnTo>
                    <a:pt x="246" y="187"/>
                  </a:lnTo>
                  <a:lnTo>
                    <a:pt x="249" y="183"/>
                  </a:lnTo>
                  <a:lnTo>
                    <a:pt x="251" y="181"/>
                  </a:lnTo>
                  <a:lnTo>
                    <a:pt x="253" y="179"/>
                  </a:lnTo>
                  <a:lnTo>
                    <a:pt x="255" y="177"/>
                  </a:lnTo>
                  <a:lnTo>
                    <a:pt x="274" y="177"/>
                  </a:lnTo>
                  <a:lnTo>
                    <a:pt x="296" y="177"/>
                  </a:lnTo>
                  <a:lnTo>
                    <a:pt x="297" y="179"/>
                  </a:lnTo>
                  <a:lnTo>
                    <a:pt x="299" y="181"/>
                  </a:lnTo>
                  <a:lnTo>
                    <a:pt x="299" y="188"/>
                  </a:lnTo>
                  <a:lnTo>
                    <a:pt x="299" y="196"/>
                  </a:lnTo>
                  <a:lnTo>
                    <a:pt x="309" y="192"/>
                  </a:lnTo>
                  <a:lnTo>
                    <a:pt x="319" y="190"/>
                  </a:lnTo>
                  <a:lnTo>
                    <a:pt x="322" y="188"/>
                  </a:lnTo>
                  <a:lnTo>
                    <a:pt x="324" y="187"/>
                  </a:lnTo>
                  <a:lnTo>
                    <a:pt x="332" y="183"/>
                  </a:lnTo>
                  <a:lnTo>
                    <a:pt x="338" y="181"/>
                  </a:lnTo>
                  <a:lnTo>
                    <a:pt x="340" y="179"/>
                  </a:lnTo>
                  <a:lnTo>
                    <a:pt x="344" y="177"/>
                  </a:lnTo>
                  <a:lnTo>
                    <a:pt x="345" y="179"/>
                  </a:lnTo>
                  <a:lnTo>
                    <a:pt x="349" y="181"/>
                  </a:lnTo>
                  <a:lnTo>
                    <a:pt x="351" y="188"/>
                  </a:lnTo>
                  <a:lnTo>
                    <a:pt x="353" y="196"/>
                  </a:lnTo>
                  <a:lnTo>
                    <a:pt x="355" y="198"/>
                  </a:lnTo>
                  <a:lnTo>
                    <a:pt x="357" y="200"/>
                  </a:lnTo>
                  <a:lnTo>
                    <a:pt x="365" y="202"/>
                  </a:lnTo>
                  <a:lnTo>
                    <a:pt x="372" y="206"/>
                  </a:lnTo>
                  <a:lnTo>
                    <a:pt x="374" y="208"/>
                  </a:lnTo>
                  <a:lnTo>
                    <a:pt x="378" y="210"/>
                  </a:lnTo>
                  <a:lnTo>
                    <a:pt x="380" y="213"/>
                  </a:lnTo>
                  <a:lnTo>
                    <a:pt x="382" y="215"/>
                  </a:lnTo>
                  <a:lnTo>
                    <a:pt x="384" y="217"/>
                  </a:lnTo>
                  <a:lnTo>
                    <a:pt x="388" y="219"/>
                  </a:lnTo>
                  <a:lnTo>
                    <a:pt x="384" y="221"/>
                  </a:lnTo>
                  <a:lnTo>
                    <a:pt x="382" y="225"/>
                  </a:lnTo>
                  <a:lnTo>
                    <a:pt x="380" y="227"/>
                  </a:lnTo>
                  <a:lnTo>
                    <a:pt x="378" y="229"/>
                  </a:lnTo>
                  <a:lnTo>
                    <a:pt x="374" y="233"/>
                  </a:lnTo>
                  <a:lnTo>
                    <a:pt x="372" y="235"/>
                  </a:lnTo>
                  <a:lnTo>
                    <a:pt x="370" y="236"/>
                  </a:lnTo>
                  <a:lnTo>
                    <a:pt x="367" y="238"/>
                  </a:lnTo>
                  <a:lnTo>
                    <a:pt x="365" y="242"/>
                  </a:lnTo>
                  <a:lnTo>
                    <a:pt x="363" y="244"/>
                  </a:lnTo>
                  <a:lnTo>
                    <a:pt x="361" y="252"/>
                  </a:lnTo>
                  <a:lnTo>
                    <a:pt x="357" y="258"/>
                  </a:lnTo>
                  <a:lnTo>
                    <a:pt x="355" y="261"/>
                  </a:lnTo>
                  <a:lnTo>
                    <a:pt x="353" y="263"/>
                  </a:lnTo>
                  <a:lnTo>
                    <a:pt x="351" y="265"/>
                  </a:lnTo>
                  <a:lnTo>
                    <a:pt x="349" y="269"/>
                  </a:lnTo>
                  <a:lnTo>
                    <a:pt x="345" y="271"/>
                  </a:lnTo>
                  <a:lnTo>
                    <a:pt x="344" y="273"/>
                  </a:lnTo>
                  <a:lnTo>
                    <a:pt x="340" y="300"/>
                  </a:lnTo>
                  <a:lnTo>
                    <a:pt x="338" y="327"/>
                  </a:lnTo>
                  <a:lnTo>
                    <a:pt x="336" y="329"/>
                  </a:lnTo>
                  <a:lnTo>
                    <a:pt x="334" y="330"/>
                  </a:lnTo>
                  <a:lnTo>
                    <a:pt x="330" y="332"/>
                  </a:lnTo>
                  <a:lnTo>
                    <a:pt x="328" y="336"/>
                  </a:lnTo>
                  <a:lnTo>
                    <a:pt x="326" y="338"/>
                  </a:lnTo>
                  <a:lnTo>
                    <a:pt x="324" y="340"/>
                  </a:lnTo>
                  <a:lnTo>
                    <a:pt x="319" y="340"/>
                  </a:lnTo>
                  <a:lnTo>
                    <a:pt x="315" y="340"/>
                  </a:lnTo>
                  <a:lnTo>
                    <a:pt x="311" y="338"/>
                  </a:lnTo>
                  <a:lnTo>
                    <a:pt x="309" y="336"/>
                  </a:lnTo>
                  <a:lnTo>
                    <a:pt x="301" y="332"/>
                  </a:lnTo>
                  <a:lnTo>
                    <a:pt x="296" y="330"/>
                  </a:lnTo>
                  <a:lnTo>
                    <a:pt x="292" y="329"/>
                  </a:lnTo>
                  <a:lnTo>
                    <a:pt x="290" y="327"/>
                  </a:lnTo>
                  <a:lnTo>
                    <a:pt x="288" y="325"/>
                  </a:lnTo>
                  <a:lnTo>
                    <a:pt x="284" y="321"/>
                  </a:lnTo>
                  <a:lnTo>
                    <a:pt x="282" y="319"/>
                  </a:lnTo>
                  <a:lnTo>
                    <a:pt x="280" y="317"/>
                  </a:lnTo>
                  <a:lnTo>
                    <a:pt x="273" y="313"/>
                  </a:lnTo>
                  <a:lnTo>
                    <a:pt x="267" y="311"/>
                  </a:lnTo>
                  <a:lnTo>
                    <a:pt x="263" y="309"/>
                  </a:lnTo>
                  <a:lnTo>
                    <a:pt x="261" y="307"/>
                  </a:lnTo>
                  <a:lnTo>
                    <a:pt x="255" y="307"/>
                  </a:lnTo>
                  <a:lnTo>
                    <a:pt x="251" y="307"/>
                  </a:lnTo>
                  <a:lnTo>
                    <a:pt x="249" y="309"/>
                  </a:lnTo>
                  <a:lnTo>
                    <a:pt x="246" y="311"/>
                  </a:lnTo>
                  <a:lnTo>
                    <a:pt x="244" y="313"/>
                  </a:lnTo>
                  <a:lnTo>
                    <a:pt x="242" y="317"/>
                  </a:lnTo>
                  <a:lnTo>
                    <a:pt x="240" y="319"/>
                  </a:lnTo>
                  <a:lnTo>
                    <a:pt x="236" y="321"/>
                  </a:lnTo>
                  <a:lnTo>
                    <a:pt x="234" y="332"/>
                  </a:lnTo>
                  <a:lnTo>
                    <a:pt x="232" y="346"/>
                  </a:lnTo>
                  <a:lnTo>
                    <a:pt x="230" y="348"/>
                  </a:lnTo>
                  <a:lnTo>
                    <a:pt x="226" y="352"/>
                  </a:lnTo>
                  <a:lnTo>
                    <a:pt x="225" y="353"/>
                  </a:lnTo>
                  <a:lnTo>
                    <a:pt x="223" y="355"/>
                  </a:lnTo>
                  <a:lnTo>
                    <a:pt x="219" y="357"/>
                  </a:lnTo>
                  <a:lnTo>
                    <a:pt x="217" y="359"/>
                  </a:lnTo>
                  <a:lnTo>
                    <a:pt x="215" y="363"/>
                  </a:lnTo>
                  <a:lnTo>
                    <a:pt x="213" y="365"/>
                  </a:lnTo>
                  <a:lnTo>
                    <a:pt x="209" y="367"/>
                  </a:lnTo>
                  <a:lnTo>
                    <a:pt x="207" y="369"/>
                  </a:lnTo>
                  <a:lnTo>
                    <a:pt x="205" y="367"/>
                  </a:lnTo>
                  <a:lnTo>
                    <a:pt x="203" y="365"/>
                  </a:lnTo>
                  <a:lnTo>
                    <a:pt x="200" y="361"/>
                  </a:lnTo>
                  <a:lnTo>
                    <a:pt x="194" y="361"/>
                  </a:lnTo>
                  <a:lnTo>
                    <a:pt x="186" y="361"/>
                  </a:lnTo>
                  <a:lnTo>
                    <a:pt x="184" y="365"/>
                  </a:lnTo>
                  <a:lnTo>
                    <a:pt x="180" y="367"/>
                  </a:lnTo>
                  <a:lnTo>
                    <a:pt x="179" y="369"/>
                  </a:lnTo>
                  <a:lnTo>
                    <a:pt x="177" y="377"/>
                  </a:lnTo>
                  <a:lnTo>
                    <a:pt x="175" y="384"/>
                  </a:lnTo>
                  <a:lnTo>
                    <a:pt x="171" y="386"/>
                  </a:lnTo>
                  <a:lnTo>
                    <a:pt x="169" y="390"/>
                  </a:lnTo>
                  <a:lnTo>
                    <a:pt x="167" y="396"/>
                  </a:lnTo>
                  <a:lnTo>
                    <a:pt x="165" y="403"/>
                  </a:lnTo>
                  <a:lnTo>
                    <a:pt x="161" y="405"/>
                  </a:lnTo>
                  <a:lnTo>
                    <a:pt x="159" y="409"/>
                  </a:lnTo>
                  <a:lnTo>
                    <a:pt x="157" y="415"/>
                  </a:lnTo>
                  <a:lnTo>
                    <a:pt x="155" y="423"/>
                  </a:lnTo>
                  <a:lnTo>
                    <a:pt x="152" y="424"/>
                  </a:lnTo>
                  <a:lnTo>
                    <a:pt x="150" y="428"/>
                  </a:lnTo>
                  <a:lnTo>
                    <a:pt x="148" y="430"/>
                  </a:lnTo>
                  <a:lnTo>
                    <a:pt x="146" y="432"/>
                  </a:lnTo>
                  <a:lnTo>
                    <a:pt x="142" y="434"/>
                  </a:lnTo>
                  <a:lnTo>
                    <a:pt x="140" y="438"/>
                  </a:lnTo>
                  <a:lnTo>
                    <a:pt x="134" y="442"/>
                  </a:lnTo>
                  <a:lnTo>
                    <a:pt x="131" y="448"/>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57" name="Freeform 324"/>
            <p:cNvSpPr>
              <a:spLocks/>
            </p:cNvSpPr>
            <p:nvPr>
              <p:custDataLst>
                <p:tags r:id="rId41"/>
              </p:custDataLst>
            </p:nvPr>
          </p:nvSpPr>
          <p:spPr bwMode="gray">
            <a:xfrm>
              <a:off x="1711325" y="3973328"/>
              <a:ext cx="525463" cy="347663"/>
            </a:xfrm>
            <a:custGeom>
              <a:avLst/>
              <a:gdLst>
                <a:gd name="T0" fmla="*/ 2147483647 w 337"/>
                <a:gd name="T1" fmla="*/ 2147483647 h 233"/>
                <a:gd name="T2" fmla="*/ 2147483647 w 337"/>
                <a:gd name="T3" fmla="*/ 2147483647 h 233"/>
                <a:gd name="T4" fmla="*/ 2147483647 w 337"/>
                <a:gd name="T5" fmla="*/ 2147483647 h 233"/>
                <a:gd name="T6" fmla="*/ 2147483647 w 337"/>
                <a:gd name="T7" fmla="*/ 2147483647 h 233"/>
                <a:gd name="T8" fmla="*/ 2147483647 w 337"/>
                <a:gd name="T9" fmla="*/ 2147483647 h 233"/>
                <a:gd name="T10" fmla="*/ 2147483647 w 337"/>
                <a:gd name="T11" fmla="*/ 2147483647 h 233"/>
                <a:gd name="T12" fmla="*/ 2147483647 w 337"/>
                <a:gd name="T13" fmla="*/ 2147483647 h 233"/>
                <a:gd name="T14" fmla="*/ 2147483647 w 337"/>
                <a:gd name="T15" fmla="*/ 2147483647 h 233"/>
                <a:gd name="T16" fmla="*/ 2147483647 w 337"/>
                <a:gd name="T17" fmla="*/ 2147483647 h 233"/>
                <a:gd name="T18" fmla="*/ 2147483647 w 337"/>
                <a:gd name="T19" fmla="*/ 2147483647 h 233"/>
                <a:gd name="T20" fmla="*/ 2147483647 w 337"/>
                <a:gd name="T21" fmla="*/ 2147483647 h 233"/>
                <a:gd name="T22" fmla="*/ 2147483647 w 337"/>
                <a:gd name="T23" fmla="*/ 2147483647 h 233"/>
                <a:gd name="T24" fmla="*/ 2147483647 w 337"/>
                <a:gd name="T25" fmla="*/ 2147483647 h 233"/>
                <a:gd name="T26" fmla="*/ 2147483647 w 337"/>
                <a:gd name="T27" fmla="*/ 2147483647 h 233"/>
                <a:gd name="T28" fmla="*/ 2147483647 w 337"/>
                <a:gd name="T29" fmla="*/ 2147483647 h 233"/>
                <a:gd name="T30" fmla="*/ 2147483647 w 337"/>
                <a:gd name="T31" fmla="*/ 2147483647 h 233"/>
                <a:gd name="T32" fmla="*/ 2147483647 w 337"/>
                <a:gd name="T33" fmla="*/ 2147483647 h 233"/>
                <a:gd name="T34" fmla="*/ 2147483647 w 337"/>
                <a:gd name="T35" fmla="*/ 2147483647 h 233"/>
                <a:gd name="T36" fmla="*/ 2147483647 w 337"/>
                <a:gd name="T37" fmla="*/ 0 h 233"/>
                <a:gd name="T38" fmla="*/ 2147483647 w 337"/>
                <a:gd name="T39" fmla="*/ 2147483647 h 233"/>
                <a:gd name="T40" fmla="*/ 2147483647 w 337"/>
                <a:gd name="T41" fmla="*/ 0 h 233"/>
                <a:gd name="T42" fmla="*/ 2147483647 w 337"/>
                <a:gd name="T43" fmla="*/ 2147483647 h 233"/>
                <a:gd name="T44" fmla="*/ 2147483647 w 337"/>
                <a:gd name="T45" fmla="*/ 2147483647 h 233"/>
                <a:gd name="T46" fmla="*/ 2147483647 w 337"/>
                <a:gd name="T47" fmla="*/ 2147483647 h 233"/>
                <a:gd name="T48" fmla="*/ 2147483647 w 337"/>
                <a:gd name="T49" fmla="*/ 2147483647 h 233"/>
                <a:gd name="T50" fmla="*/ 2147483647 w 337"/>
                <a:gd name="T51" fmla="*/ 2147483647 h 233"/>
                <a:gd name="T52" fmla="*/ 2147483647 w 337"/>
                <a:gd name="T53" fmla="*/ 2147483647 h 233"/>
                <a:gd name="T54" fmla="*/ 2147483647 w 337"/>
                <a:gd name="T55" fmla="*/ 2147483647 h 233"/>
                <a:gd name="T56" fmla="*/ 2147483647 w 337"/>
                <a:gd name="T57" fmla="*/ 2147483647 h 233"/>
                <a:gd name="T58" fmla="*/ 2147483647 w 337"/>
                <a:gd name="T59" fmla="*/ 2147483647 h 233"/>
                <a:gd name="T60" fmla="*/ 2147483647 w 337"/>
                <a:gd name="T61" fmla="*/ 2147483647 h 233"/>
                <a:gd name="T62" fmla="*/ 2147483647 w 337"/>
                <a:gd name="T63" fmla="*/ 2147483647 h 233"/>
                <a:gd name="T64" fmla="*/ 2147483647 w 337"/>
                <a:gd name="T65" fmla="*/ 2147483647 h 233"/>
                <a:gd name="T66" fmla="*/ 2147483647 w 337"/>
                <a:gd name="T67" fmla="*/ 2147483647 h 233"/>
                <a:gd name="T68" fmla="*/ 2147483647 w 337"/>
                <a:gd name="T69" fmla="*/ 2147483647 h 233"/>
                <a:gd name="T70" fmla="*/ 2147483647 w 337"/>
                <a:gd name="T71" fmla="*/ 2147483647 h 233"/>
                <a:gd name="T72" fmla="*/ 2147483647 w 337"/>
                <a:gd name="T73" fmla="*/ 2147483647 h 233"/>
                <a:gd name="T74" fmla="*/ 2147483647 w 337"/>
                <a:gd name="T75" fmla="*/ 2147483647 h 233"/>
                <a:gd name="T76" fmla="*/ 2147483647 w 337"/>
                <a:gd name="T77" fmla="*/ 2147483647 h 233"/>
                <a:gd name="T78" fmla="*/ 2147483647 w 337"/>
                <a:gd name="T79" fmla="*/ 2147483647 h 233"/>
                <a:gd name="T80" fmla="*/ 2147483647 w 337"/>
                <a:gd name="T81" fmla="*/ 2147483647 h 233"/>
                <a:gd name="T82" fmla="*/ 2147483647 w 337"/>
                <a:gd name="T83" fmla="*/ 2147483647 h 233"/>
                <a:gd name="T84" fmla="*/ 2147483647 w 337"/>
                <a:gd name="T85" fmla="*/ 2147483647 h 233"/>
                <a:gd name="T86" fmla="*/ 2147483647 w 337"/>
                <a:gd name="T87" fmla="*/ 2147483647 h 233"/>
                <a:gd name="T88" fmla="*/ 2147483647 w 337"/>
                <a:gd name="T89" fmla="*/ 2147483647 h 233"/>
                <a:gd name="T90" fmla="*/ 2147483647 w 337"/>
                <a:gd name="T91" fmla="*/ 2147483647 h 233"/>
                <a:gd name="T92" fmla="*/ 2147483647 w 337"/>
                <a:gd name="T93" fmla="*/ 2147483647 h 233"/>
                <a:gd name="T94" fmla="*/ 2147483647 w 337"/>
                <a:gd name="T95" fmla="*/ 2147483647 h 233"/>
                <a:gd name="T96" fmla="*/ 2147483647 w 337"/>
                <a:gd name="T97" fmla="*/ 2147483647 h 233"/>
                <a:gd name="T98" fmla="*/ 2147483647 w 337"/>
                <a:gd name="T99" fmla="*/ 2147483647 h 233"/>
                <a:gd name="T100" fmla="*/ 2147483647 w 337"/>
                <a:gd name="T101" fmla="*/ 2147483647 h 23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37"/>
                <a:gd name="T154" fmla="*/ 0 h 233"/>
                <a:gd name="T155" fmla="*/ 337 w 337"/>
                <a:gd name="T156" fmla="*/ 233 h 23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37" h="233">
                  <a:moveTo>
                    <a:pt x="86" y="233"/>
                  </a:moveTo>
                  <a:lnTo>
                    <a:pt x="86" y="217"/>
                  </a:lnTo>
                  <a:lnTo>
                    <a:pt x="86" y="202"/>
                  </a:lnTo>
                  <a:lnTo>
                    <a:pt x="74" y="198"/>
                  </a:lnTo>
                  <a:lnTo>
                    <a:pt x="63" y="192"/>
                  </a:lnTo>
                  <a:lnTo>
                    <a:pt x="59" y="190"/>
                  </a:lnTo>
                  <a:lnTo>
                    <a:pt x="57" y="188"/>
                  </a:lnTo>
                  <a:lnTo>
                    <a:pt x="55" y="177"/>
                  </a:lnTo>
                  <a:lnTo>
                    <a:pt x="51" y="163"/>
                  </a:lnTo>
                  <a:lnTo>
                    <a:pt x="49" y="162"/>
                  </a:lnTo>
                  <a:lnTo>
                    <a:pt x="48" y="160"/>
                  </a:lnTo>
                  <a:lnTo>
                    <a:pt x="36" y="158"/>
                  </a:lnTo>
                  <a:lnTo>
                    <a:pt x="23" y="154"/>
                  </a:lnTo>
                  <a:lnTo>
                    <a:pt x="21" y="152"/>
                  </a:lnTo>
                  <a:lnTo>
                    <a:pt x="19" y="150"/>
                  </a:lnTo>
                  <a:lnTo>
                    <a:pt x="11" y="133"/>
                  </a:lnTo>
                  <a:lnTo>
                    <a:pt x="3" y="115"/>
                  </a:lnTo>
                  <a:lnTo>
                    <a:pt x="1" y="114"/>
                  </a:lnTo>
                  <a:lnTo>
                    <a:pt x="0" y="112"/>
                  </a:lnTo>
                  <a:lnTo>
                    <a:pt x="3" y="100"/>
                  </a:lnTo>
                  <a:lnTo>
                    <a:pt x="9" y="91"/>
                  </a:lnTo>
                  <a:lnTo>
                    <a:pt x="11" y="89"/>
                  </a:lnTo>
                  <a:lnTo>
                    <a:pt x="13" y="87"/>
                  </a:lnTo>
                  <a:lnTo>
                    <a:pt x="21" y="85"/>
                  </a:lnTo>
                  <a:lnTo>
                    <a:pt x="28" y="81"/>
                  </a:lnTo>
                  <a:lnTo>
                    <a:pt x="30" y="79"/>
                  </a:lnTo>
                  <a:lnTo>
                    <a:pt x="34" y="77"/>
                  </a:lnTo>
                  <a:lnTo>
                    <a:pt x="46" y="75"/>
                  </a:lnTo>
                  <a:lnTo>
                    <a:pt x="57" y="71"/>
                  </a:lnTo>
                  <a:lnTo>
                    <a:pt x="59" y="69"/>
                  </a:lnTo>
                  <a:lnTo>
                    <a:pt x="63" y="68"/>
                  </a:lnTo>
                  <a:lnTo>
                    <a:pt x="74" y="66"/>
                  </a:lnTo>
                  <a:lnTo>
                    <a:pt x="86" y="62"/>
                  </a:lnTo>
                  <a:lnTo>
                    <a:pt x="88" y="60"/>
                  </a:lnTo>
                  <a:lnTo>
                    <a:pt x="92" y="58"/>
                  </a:lnTo>
                  <a:lnTo>
                    <a:pt x="97" y="44"/>
                  </a:lnTo>
                  <a:lnTo>
                    <a:pt x="105" y="33"/>
                  </a:lnTo>
                  <a:lnTo>
                    <a:pt x="107" y="31"/>
                  </a:lnTo>
                  <a:lnTo>
                    <a:pt x="111" y="29"/>
                  </a:lnTo>
                  <a:lnTo>
                    <a:pt x="120" y="29"/>
                  </a:lnTo>
                  <a:lnTo>
                    <a:pt x="130" y="29"/>
                  </a:lnTo>
                  <a:lnTo>
                    <a:pt x="132" y="31"/>
                  </a:lnTo>
                  <a:lnTo>
                    <a:pt x="134" y="33"/>
                  </a:lnTo>
                  <a:lnTo>
                    <a:pt x="138" y="37"/>
                  </a:lnTo>
                  <a:lnTo>
                    <a:pt x="143" y="37"/>
                  </a:lnTo>
                  <a:lnTo>
                    <a:pt x="151" y="37"/>
                  </a:lnTo>
                  <a:lnTo>
                    <a:pt x="155" y="33"/>
                  </a:lnTo>
                  <a:lnTo>
                    <a:pt x="157" y="31"/>
                  </a:lnTo>
                  <a:lnTo>
                    <a:pt x="159" y="29"/>
                  </a:lnTo>
                  <a:lnTo>
                    <a:pt x="161" y="21"/>
                  </a:lnTo>
                  <a:lnTo>
                    <a:pt x="163" y="14"/>
                  </a:lnTo>
                  <a:lnTo>
                    <a:pt x="166" y="12"/>
                  </a:lnTo>
                  <a:lnTo>
                    <a:pt x="168" y="10"/>
                  </a:lnTo>
                  <a:lnTo>
                    <a:pt x="170" y="6"/>
                  </a:lnTo>
                  <a:lnTo>
                    <a:pt x="172" y="4"/>
                  </a:lnTo>
                  <a:lnTo>
                    <a:pt x="176" y="2"/>
                  </a:lnTo>
                  <a:lnTo>
                    <a:pt x="178" y="0"/>
                  </a:lnTo>
                  <a:lnTo>
                    <a:pt x="193" y="0"/>
                  </a:lnTo>
                  <a:lnTo>
                    <a:pt x="209" y="2"/>
                  </a:lnTo>
                  <a:lnTo>
                    <a:pt x="226" y="2"/>
                  </a:lnTo>
                  <a:lnTo>
                    <a:pt x="241" y="4"/>
                  </a:lnTo>
                  <a:lnTo>
                    <a:pt x="243" y="2"/>
                  </a:lnTo>
                  <a:lnTo>
                    <a:pt x="245" y="0"/>
                  </a:lnTo>
                  <a:lnTo>
                    <a:pt x="251" y="0"/>
                  </a:lnTo>
                  <a:lnTo>
                    <a:pt x="255" y="0"/>
                  </a:lnTo>
                  <a:lnTo>
                    <a:pt x="257" y="2"/>
                  </a:lnTo>
                  <a:lnTo>
                    <a:pt x="260" y="4"/>
                  </a:lnTo>
                  <a:lnTo>
                    <a:pt x="262" y="6"/>
                  </a:lnTo>
                  <a:lnTo>
                    <a:pt x="264" y="10"/>
                  </a:lnTo>
                  <a:lnTo>
                    <a:pt x="268" y="12"/>
                  </a:lnTo>
                  <a:lnTo>
                    <a:pt x="270" y="14"/>
                  </a:lnTo>
                  <a:lnTo>
                    <a:pt x="272" y="16"/>
                  </a:lnTo>
                  <a:lnTo>
                    <a:pt x="274" y="20"/>
                  </a:lnTo>
                  <a:lnTo>
                    <a:pt x="278" y="21"/>
                  </a:lnTo>
                  <a:lnTo>
                    <a:pt x="280" y="23"/>
                  </a:lnTo>
                  <a:lnTo>
                    <a:pt x="297" y="25"/>
                  </a:lnTo>
                  <a:lnTo>
                    <a:pt x="314" y="29"/>
                  </a:lnTo>
                  <a:lnTo>
                    <a:pt x="316" y="31"/>
                  </a:lnTo>
                  <a:lnTo>
                    <a:pt x="318" y="33"/>
                  </a:lnTo>
                  <a:lnTo>
                    <a:pt x="320" y="41"/>
                  </a:lnTo>
                  <a:lnTo>
                    <a:pt x="324" y="48"/>
                  </a:lnTo>
                  <a:lnTo>
                    <a:pt x="326" y="50"/>
                  </a:lnTo>
                  <a:lnTo>
                    <a:pt x="328" y="52"/>
                  </a:lnTo>
                  <a:lnTo>
                    <a:pt x="330" y="54"/>
                  </a:lnTo>
                  <a:lnTo>
                    <a:pt x="333" y="58"/>
                  </a:lnTo>
                  <a:lnTo>
                    <a:pt x="335" y="60"/>
                  </a:lnTo>
                  <a:lnTo>
                    <a:pt x="337" y="62"/>
                  </a:lnTo>
                  <a:lnTo>
                    <a:pt x="337" y="68"/>
                  </a:lnTo>
                  <a:lnTo>
                    <a:pt x="337" y="71"/>
                  </a:lnTo>
                  <a:lnTo>
                    <a:pt x="335" y="75"/>
                  </a:lnTo>
                  <a:lnTo>
                    <a:pt x="333" y="77"/>
                  </a:lnTo>
                  <a:lnTo>
                    <a:pt x="330" y="79"/>
                  </a:lnTo>
                  <a:lnTo>
                    <a:pt x="328" y="81"/>
                  </a:lnTo>
                  <a:lnTo>
                    <a:pt x="326" y="85"/>
                  </a:lnTo>
                  <a:lnTo>
                    <a:pt x="324" y="87"/>
                  </a:lnTo>
                  <a:lnTo>
                    <a:pt x="318" y="87"/>
                  </a:lnTo>
                  <a:lnTo>
                    <a:pt x="314" y="87"/>
                  </a:lnTo>
                  <a:lnTo>
                    <a:pt x="310" y="85"/>
                  </a:lnTo>
                  <a:lnTo>
                    <a:pt x="308" y="81"/>
                  </a:lnTo>
                  <a:lnTo>
                    <a:pt x="303" y="81"/>
                  </a:lnTo>
                  <a:lnTo>
                    <a:pt x="299" y="81"/>
                  </a:lnTo>
                  <a:lnTo>
                    <a:pt x="297" y="85"/>
                  </a:lnTo>
                  <a:lnTo>
                    <a:pt x="295" y="87"/>
                  </a:lnTo>
                  <a:lnTo>
                    <a:pt x="287" y="89"/>
                  </a:lnTo>
                  <a:lnTo>
                    <a:pt x="280" y="91"/>
                  </a:lnTo>
                  <a:lnTo>
                    <a:pt x="278" y="94"/>
                  </a:lnTo>
                  <a:lnTo>
                    <a:pt x="274" y="96"/>
                  </a:lnTo>
                  <a:lnTo>
                    <a:pt x="272" y="98"/>
                  </a:lnTo>
                  <a:lnTo>
                    <a:pt x="270" y="102"/>
                  </a:lnTo>
                  <a:lnTo>
                    <a:pt x="268" y="104"/>
                  </a:lnTo>
                  <a:lnTo>
                    <a:pt x="264" y="106"/>
                  </a:lnTo>
                  <a:lnTo>
                    <a:pt x="255" y="106"/>
                  </a:lnTo>
                  <a:lnTo>
                    <a:pt x="245" y="106"/>
                  </a:lnTo>
                  <a:lnTo>
                    <a:pt x="243" y="104"/>
                  </a:lnTo>
                  <a:lnTo>
                    <a:pt x="241" y="102"/>
                  </a:lnTo>
                  <a:lnTo>
                    <a:pt x="236" y="102"/>
                  </a:lnTo>
                  <a:lnTo>
                    <a:pt x="232" y="102"/>
                  </a:lnTo>
                  <a:lnTo>
                    <a:pt x="228" y="104"/>
                  </a:lnTo>
                  <a:lnTo>
                    <a:pt x="226" y="106"/>
                  </a:lnTo>
                  <a:lnTo>
                    <a:pt x="218" y="108"/>
                  </a:lnTo>
                  <a:lnTo>
                    <a:pt x="213" y="112"/>
                  </a:lnTo>
                  <a:lnTo>
                    <a:pt x="209" y="114"/>
                  </a:lnTo>
                  <a:lnTo>
                    <a:pt x="207" y="115"/>
                  </a:lnTo>
                  <a:lnTo>
                    <a:pt x="205" y="142"/>
                  </a:lnTo>
                  <a:lnTo>
                    <a:pt x="203" y="169"/>
                  </a:lnTo>
                  <a:lnTo>
                    <a:pt x="199" y="171"/>
                  </a:lnTo>
                  <a:lnTo>
                    <a:pt x="197" y="173"/>
                  </a:lnTo>
                  <a:lnTo>
                    <a:pt x="189" y="173"/>
                  </a:lnTo>
                  <a:lnTo>
                    <a:pt x="184" y="173"/>
                  </a:lnTo>
                  <a:lnTo>
                    <a:pt x="184" y="186"/>
                  </a:lnTo>
                  <a:lnTo>
                    <a:pt x="184" y="198"/>
                  </a:lnTo>
                  <a:lnTo>
                    <a:pt x="180" y="200"/>
                  </a:lnTo>
                  <a:lnTo>
                    <a:pt x="178" y="202"/>
                  </a:lnTo>
                  <a:lnTo>
                    <a:pt x="176" y="206"/>
                  </a:lnTo>
                  <a:lnTo>
                    <a:pt x="172" y="208"/>
                  </a:lnTo>
                  <a:lnTo>
                    <a:pt x="170" y="210"/>
                  </a:lnTo>
                  <a:lnTo>
                    <a:pt x="168" y="213"/>
                  </a:lnTo>
                  <a:lnTo>
                    <a:pt x="166" y="219"/>
                  </a:lnTo>
                  <a:lnTo>
                    <a:pt x="163" y="227"/>
                  </a:lnTo>
                  <a:lnTo>
                    <a:pt x="161" y="229"/>
                  </a:lnTo>
                  <a:lnTo>
                    <a:pt x="159" y="233"/>
                  </a:lnTo>
                  <a:lnTo>
                    <a:pt x="157" y="229"/>
                  </a:lnTo>
                  <a:lnTo>
                    <a:pt x="155" y="227"/>
                  </a:lnTo>
                  <a:lnTo>
                    <a:pt x="151" y="225"/>
                  </a:lnTo>
                  <a:lnTo>
                    <a:pt x="149" y="223"/>
                  </a:lnTo>
                  <a:lnTo>
                    <a:pt x="147" y="219"/>
                  </a:lnTo>
                  <a:lnTo>
                    <a:pt x="143" y="217"/>
                  </a:lnTo>
                  <a:lnTo>
                    <a:pt x="134" y="217"/>
                  </a:lnTo>
                  <a:lnTo>
                    <a:pt x="124" y="217"/>
                  </a:lnTo>
                  <a:lnTo>
                    <a:pt x="122" y="219"/>
                  </a:lnTo>
                  <a:lnTo>
                    <a:pt x="120" y="223"/>
                  </a:lnTo>
                  <a:lnTo>
                    <a:pt x="109" y="227"/>
                  </a:lnTo>
                  <a:lnTo>
                    <a:pt x="95" y="233"/>
                  </a:lnTo>
                  <a:lnTo>
                    <a:pt x="92" y="233"/>
                  </a:lnTo>
                  <a:lnTo>
                    <a:pt x="86" y="233"/>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58" name="Freeform 325"/>
            <p:cNvSpPr>
              <a:spLocks/>
            </p:cNvSpPr>
            <p:nvPr>
              <p:custDataLst>
                <p:tags r:id="rId42"/>
              </p:custDataLst>
            </p:nvPr>
          </p:nvSpPr>
          <p:spPr bwMode="gray">
            <a:xfrm>
              <a:off x="2041525" y="4132078"/>
              <a:ext cx="254000" cy="188913"/>
            </a:xfrm>
            <a:custGeom>
              <a:avLst/>
              <a:gdLst>
                <a:gd name="T0" fmla="*/ 2147483647 w 163"/>
                <a:gd name="T1" fmla="*/ 2147483647 h 127"/>
                <a:gd name="T2" fmla="*/ 2147483647 w 163"/>
                <a:gd name="T3" fmla="*/ 2147483647 h 127"/>
                <a:gd name="T4" fmla="*/ 2147483647 w 163"/>
                <a:gd name="T5" fmla="*/ 2147483647 h 127"/>
                <a:gd name="T6" fmla="*/ 2147483647 w 163"/>
                <a:gd name="T7" fmla="*/ 2147483647 h 127"/>
                <a:gd name="T8" fmla="*/ 2147483647 w 163"/>
                <a:gd name="T9" fmla="*/ 2147483647 h 127"/>
                <a:gd name="T10" fmla="*/ 2147483647 w 163"/>
                <a:gd name="T11" fmla="*/ 2147483647 h 127"/>
                <a:gd name="T12" fmla="*/ 2147483647 w 163"/>
                <a:gd name="T13" fmla="*/ 2147483647 h 127"/>
                <a:gd name="T14" fmla="*/ 2147483647 w 163"/>
                <a:gd name="T15" fmla="*/ 2147483647 h 127"/>
                <a:gd name="T16" fmla="*/ 2147483647 w 163"/>
                <a:gd name="T17" fmla="*/ 2147483647 h 127"/>
                <a:gd name="T18" fmla="*/ 2147483647 w 163"/>
                <a:gd name="T19" fmla="*/ 2147483647 h 127"/>
                <a:gd name="T20" fmla="*/ 2147483647 w 163"/>
                <a:gd name="T21" fmla="*/ 2147483647 h 127"/>
                <a:gd name="T22" fmla="*/ 2147483647 w 163"/>
                <a:gd name="T23" fmla="*/ 2147483647 h 127"/>
                <a:gd name="T24" fmla="*/ 0 w 163"/>
                <a:gd name="T25" fmla="*/ 2147483647 h 127"/>
                <a:gd name="T26" fmla="*/ 2147483647 w 163"/>
                <a:gd name="T27" fmla="*/ 2147483647 h 127"/>
                <a:gd name="T28" fmla="*/ 2147483647 w 163"/>
                <a:gd name="T29" fmla="*/ 2147483647 h 127"/>
                <a:gd name="T30" fmla="*/ 2147483647 w 163"/>
                <a:gd name="T31" fmla="*/ 2147483647 h 127"/>
                <a:gd name="T32" fmla="*/ 2147483647 w 163"/>
                <a:gd name="T33" fmla="*/ 2147483647 h 127"/>
                <a:gd name="T34" fmla="*/ 2147483647 w 163"/>
                <a:gd name="T35" fmla="*/ 2147483647 h 127"/>
                <a:gd name="T36" fmla="*/ 2147483647 w 163"/>
                <a:gd name="T37" fmla="*/ 2147483647 h 127"/>
                <a:gd name="T38" fmla="*/ 2147483647 w 163"/>
                <a:gd name="T39" fmla="*/ 2147483647 h 127"/>
                <a:gd name="T40" fmla="*/ 2147483647 w 163"/>
                <a:gd name="T41" fmla="*/ 2147483647 h 127"/>
                <a:gd name="T42" fmla="*/ 2147483647 w 163"/>
                <a:gd name="T43" fmla="*/ 2147483647 h 127"/>
                <a:gd name="T44" fmla="*/ 2147483647 w 163"/>
                <a:gd name="T45" fmla="*/ 2147483647 h 127"/>
                <a:gd name="T46" fmla="*/ 2147483647 w 163"/>
                <a:gd name="T47" fmla="*/ 2147483647 h 127"/>
                <a:gd name="T48" fmla="*/ 2147483647 w 163"/>
                <a:gd name="T49" fmla="*/ 2147483647 h 127"/>
                <a:gd name="T50" fmla="*/ 2147483647 w 163"/>
                <a:gd name="T51" fmla="*/ 2147483647 h 127"/>
                <a:gd name="T52" fmla="*/ 2147483647 w 163"/>
                <a:gd name="T53" fmla="*/ 2147483647 h 127"/>
                <a:gd name="T54" fmla="*/ 2147483647 w 163"/>
                <a:gd name="T55" fmla="*/ 2147483647 h 127"/>
                <a:gd name="T56" fmla="*/ 2147483647 w 163"/>
                <a:gd name="T57" fmla="*/ 2147483647 h 127"/>
                <a:gd name="T58" fmla="*/ 2147483647 w 163"/>
                <a:gd name="T59" fmla="*/ 2147483647 h 127"/>
                <a:gd name="T60" fmla="*/ 2147483647 w 163"/>
                <a:gd name="T61" fmla="*/ 2147483647 h 127"/>
                <a:gd name="T62" fmla="*/ 2147483647 w 163"/>
                <a:gd name="T63" fmla="*/ 2147483647 h 127"/>
                <a:gd name="T64" fmla="*/ 2147483647 w 163"/>
                <a:gd name="T65" fmla="*/ 2147483647 h 127"/>
                <a:gd name="T66" fmla="*/ 2147483647 w 163"/>
                <a:gd name="T67" fmla="*/ 2147483647 h 127"/>
                <a:gd name="T68" fmla="*/ 2147483647 w 163"/>
                <a:gd name="T69" fmla="*/ 2147483647 h 127"/>
                <a:gd name="T70" fmla="*/ 2147483647 w 163"/>
                <a:gd name="T71" fmla="*/ 2147483647 h 127"/>
                <a:gd name="T72" fmla="*/ 2147483647 w 163"/>
                <a:gd name="T73" fmla="*/ 2147483647 h 127"/>
                <a:gd name="T74" fmla="*/ 2147483647 w 163"/>
                <a:gd name="T75" fmla="*/ 2147483647 h 127"/>
                <a:gd name="T76" fmla="*/ 2147483647 w 163"/>
                <a:gd name="T77" fmla="*/ 2147483647 h 127"/>
                <a:gd name="T78" fmla="*/ 2147483647 w 163"/>
                <a:gd name="T79" fmla="*/ 2147483647 h 127"/>
                <a:gd name="T80" fmla="*/ 2147483647 w 163"/>
                <a:gd name="T81" fmla="*/ 2147483647 h 12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3"/>
                <a:gd name="T124" fmla="*/ 0 h 127"/>
                <a:gd name="T125" fmla="*/ 163 w 163"/>
                <a:gd name="T126" fmla="*/ 127 h 12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3" h="127">
                  <a:moveTo>
                    <a:pt x="82" y="127"/>
                  </a:moveTo>
                  <a:lnTo>
                    <a:pt x="78" y="123"/>
                  </a:lnTo>
                  <a:lnTo>
                    <a:pt x="76" y="121"/>
                  </a:lnTo>
                  <a:lnTo>
                    <a:pt x="74" y="113"/>
                  </a:lnTo>
                  <a:lnTo>
                    <a:pt x="70" y="107"/>
                  </a:lnTo>
                  <a:lnTo>
                    <a:pt x="69" y="104"/>
                  </a:lnTo>
                  <a:lnTo>
                    <a:pt x="67" y="102"/>
                  </a:lnTo>
                  <a:lnTo>
                    <a:pt x="61" y="100"/>
                  </a:lnTo>
                  <a:lnTo>
                    <a:pt x="57" y="96"/>
                  </a:lnTo>
                  <a:lnTo>
                    <a:pt x="57" y="86"/>
                  </a:lnTo>
                  <a:lnTo>
                    <a:pt x="57" y="79"/>
                  </a:lnTo>
                  <a:lnTo>
                    <a:pt x="51" y="73"/>
                  </a:lnTo>
                  <a:lnTo>
                    <a:pt x="47" y="67"/>
                  </a:lnTo>
                  <a:lnTo>
                    <a:pt x="47" y="61"/>
                  </a:lnTo>
                  <a:lnTo>
                    <a:pt x="46" y="59"/>
                  </a:lnTo>
                  <a:lnTo>
                    <a:pt x="40" y="57"/>
                  </a:lnTo>
                  <a:lnTo>
                    <a:pt x="28" y="57"/>
                  </a:lnTo>
                  <a:lnTo>
                    <a:pt x="28" y="63"/>
                  </a:lnTo>
                  <a:lnTo>
                    <a:pt x="28" y="67"/>
                  </a:lnTo>
                  <a:lnTo>
                    <a:pt x="23" y="67"/>
                  </a:lnTo>
                  <a:lnTo>
                    <a:pt x="19" y="67"/>
                  </a:lnTo>
                  <a:lnTo>
                    <a:pt x="19" y="61"/>
                  </a:lnTo>
                  <a:lnTo>
                    <a:pt x="17" y="59"/>
                  </a:lnTo>
                  <a:lnTo>
                    <a:pt x="9" y="57"/>
                  </a:lnTo>
                  <a:lnTo>
                    <a:pt x="0" y="57"/>
                  </a:lnTo>
                  <a:lnTo>
                    <a:pt x="0" y="36"/>
                  </a:lnTo>
                  <a:lnTo>
                    <a:pt x="0" y="13"/>
                  </a:lnTo>
                  <a:lnTo>
                    <a:pt x="1" y="11"/>
                  </a:lnTo>
                  <a:lnTo>
                    <a:pt x="3" y="9"/>
                  </a:lnTo>
                  <a:lnTo>
                    <a:pt x="11" y="8"/>
                  </a:lnTo>
                  <a:lnTo>
                    <a:pt x="19" y="6"/>
                  </a:lnTo>
                  <a:lnTo>
                    <a:pt x="21" y="2"/>
                  </a:lnTo>
                  <a:lnTo>
                    <a:pt x="23" y="0"/>
                  </a:lnTo>
                  <a:lnTo>
                    <a:pt x="26" y="2"/>
                  </a:lnTo>
                  <a:lnTo>
                    <a:pt x="28" y="6"/>
                  </a:lnTo>
                  <a:lnTo>
                    <a:pt x="40" y="8"/>
                  </a:lnTo>
                  <a:lnTo>
                    <a:pt x="51" y="9"/>
                  </a:lnTo>
                  <a:lnTo>
                    <a:pt x="55" y="11"/>
                  </a:lnTo>
                  <a:lnTo>
                    <a:pt x="57" y="13"/>
                  </a:lnTo>
                  <a:lnTo>
                    <a:pt x="59" y="17"/>
                  </a:lnTo>
                  <a:lnTo>
                    <a:pt x="61" y="19"/>
                  </a:lnTo>
                  <a:lnTo>
                    <a:pt x="65" y="21"/>
                  </a:lnTo>
                  <a:lnTo>
                    <a:pt x="67" y="25"/>
                  </a:lnTo>
                  <a:lnTo>
                    <a:pt x="74" y="27"/>
                  </a:lnTo>
                  <a:lnTo>
                    <a:pt x="82" y="29"/>
                  </a:lnTo>
                  <a:lnTo>
                    <a:pt x="84" y="31"/>
                  </a:lnTo>
                  <a:lnTo>
                    <a:pt x="86" y="34"/>
                  </a:lnTo>
                  <a:lnTo>
                    <a:pt x="94" y="36"/>
                  </a:lnTo>
                  <a:lnTo>
                    <a:pt x="101" y="38"/>
                  </a:lnTo>
                  <a:lnTo>
                    <a:pt x="103" y="40"/>
                  </a:lnTo>
                  <a:lnTo>
                    <a:pt x="105" y="44"/>
                  </a:lnTo>
                  <a:lnTo>
                    <a:pt x="117" y="46"/>
                  </a:lnTo>
                  <a:lnTo>
                    <a:pt x="130" y="48"/>
                  </a:lnTo>
                  <a:lnTo>
                    <a:pt x="132" y="52"/>
                  </a:lnTo>
                  <a:lnTo>
                    <a:pt x="134" y="54"/>
                  </a:lnTo>
                  <a:lnTo>
                    <a:pt x="141" y="56"/>
                  </a:lnTo>
                  <a:lnTo>
                    <a:pt x="149" y="57"/>
                  </a:lnTo>
                  <a:lnTo>
                    <a:pt x="151" y="59"/>
                  </a:lnTo>
                  <a:lnTo>
                    <a:pt x="153" y="63"/>
                  </a:lnTo>
                  <a:lnTo>
                    <a:pt x="155" y="69"/>
                  </a:lnTo>
                  <a:lnTo>
                    <a:pt x="159" y="79"/>
                  </a:lnTo>
                  <a:lnTo>
                    <a:pt x="161" y="80"/>
                  </a:lnTo>
                  <a:lnTo>
                    <a:pt x="163" y="82"/>
                  </a:lnTo>
                  <a:lnTo>
                    <a:pt x="163" y="102"/>
                  </a:lnTo>
                  <a:lnTo>
                    <a:pt x="163" y="121"/>
                  </a:lnTo>
                  <a:lnTo>
                    <a:pt x="161" y="123"/>
                  </a:lnTo>
                  <a:lnTo>
                    <a:pt x="159" y="127"/>
                  </a:lnTo>
                  <a:lnTo>
                    <a:pt x="155" y="123"/>
                  </a:lnTo>
                  <a:lnTo>
                    <a:pt x="153" y="121"/>
                  </a:lnTo>
                  <a:lnTo>
                    <a:pt x="141" y="119"/>
                  </a:lnTo>
                  <a:lnTo>
                    <a:pt x="130" y="117"/>
                  </a:lnTo>
                  <a:lnTo>
                    <a:pt x="126" y="113"/>
                  </a:lnTo>
                  <a:lnTo>
                    <a:pt x="124" y="111"/>
                  </a:lnTo>
                  <a:lnTo>
                    <a:pt x="115" y="111"/>
                  </a:lnTo>
                  <a:lnTo>
                    <a:pt x="105" y="111"/>
                  </a:lnTo>
                  <a:lnTo>
                    <a:pt x="103" y="113"/>
                  </a:lnTo>
                  <a:lnTo>
                    <a:pt x="101" y="117"/>
                  </a:lnTo>
                  <a:lnTo>
                    <a:pt x="97" y="119"/>
                  </a:lnTo>
                  <a:lnTo>
                    <a:pt x="95" y="121"/>
                  </a:lnTo>
                  <a:lnTo>
                    <a:pt x="94" y="123"/>
                  </a:lnTo>
                  <a:lnTo>
                    <a:pt x="92" y="127"/>
                  </a:lnTo>
                  <a:lnTo>
                    <a:pt x="86" y="127"/>
                  </a:lnTo>
                  <a:lnTo>
                    <a:pt x="82" y="127"/>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59" name="Freeform 326"/>
            <p:cNvSpPr>
              <a:spLocks/>
            </p:cNvSpPr>
            <p:nvPr>
              <p:custDataLst>
                <p:tags r:id="rId43"/>
              </p:custDataLst>
            </p:nvPr>
          </p:nvSpPr>
          <p:spPr bwMode="gray">
            <a:xfrm>
              <a:off x="1109663" y="4260666"/>
              <a:ext cx="346075" cy="334962"/>
            </a:xfrm>
            <a:custGeom>
              <a:avLst/>
              <a:gdLst>
                <a:gd name="T0" fmla="*/ 2147483647 w 223"/>
                <a:gd name="T1" fmla="*/ 2147483647 h 223"/>
                <a:gd name="T2" fmla="*/ 2147483647 w 223"/>
                <a:gd name="T3" fmla="*/ 2147483647 h 223"/>
                <a:gd name="T4" fmla="*/ 2147483647 w 223"/>
                <a:gd name="T5" fmla="*/ 2147483647 h 223"/>
                <a:gd name="T6" fmla="*/ 2147483647 w 223"/>
                <a:gd name="T7" fmla="*/ 2147483647 h 223"/>
                <a:gd name="T8" fmla="*/ 2147483647 w 223"/>
                <a:gd name="T9" fmla="*/ 2147483647 h 223"/>
                <a:gd name="T10" fmla="*/ 2147483647 w 223"/>
                <a:gd name="T11" fmla="*/ 2147483647 h 223"/>
                <a:gd name="T12" fmla="*/ 2147483647 w 223"/>
                <a:gd name="T13" fmla="*/ 2147483647 h 223"/>
                <a:gd name="T14" fmla="*/ 2147483647 w 223"/>
                <a:gd name="T15" fmla="*/ 2147483647 h 223"/>
                <a:gd name="T16" fmla="*/ 2147483647 w 223"/>
                <a:gd name="T17" fmla="*/ 2147483647 h 223"/>
                <a:gd name="T18" fmla="*/ 2147483647 w 223"/>
                <a:gd name="T19" fmla="*/ 2147483647 h 223"/>
                <a:gd name="T20" fmla="*/ 2147483647 w 223"/>
                <a:gd name="T21" fmla="*/ 2147483647 h 223"/>
                <a:gd name="T22" fmla="*/ 2147483647 w 223"/>
                <a:gd name="T23" fmla="*/ 2147483647 h 223"/>
                <a:gd name="T24" fmla="*/ 2147483647 w 223"/>
                <a:gd name="T25" fmla="*/ 2147483647 h 223"/>
                <a:gd name="T26" fmla="*/ 2147483647 w 223"/>
                <a:gd name="T27" fmla="*/ 2147483647 h 223"/>
                <a:gd name="T28" fmla="*/ 2147483647 w 223"/>
                <a:gd name="T29" fmla="*/ 2147483647 h 223"/>
                <a:gd name="T30" fmla="*/ 2147483647 w 223"/>
                <a:gd name="T31" fmla="*/ 2147483647 h 223"/>
                <a:gd name="T32" fmla="*/ 2147483647 w 223"/>
                <a:gd name="T33" fmla="*/ 2147483647 h 223"/>
                <a:gd name="T34" fmla="*/ 2147483647 w 223"/>
                <a:gd name="T35" fmla="*/ 2147483647 h 223"/>
                <a:gd name="T36" fmla="*/ 2147483647 w 223"/>
                <a:gd name="T37" fmla="*/ 2147483647 h 223"/>
                <a:gd name="T38" fmla="*/ 2147483647 w 223"/>
                <a:gd name="T39" fmla="*/ 2147483647 h 223"/>
                <a:gd name="T40" fmla="*/ 2147483647 w 223"/>
                <a:gd name="T41" fmla="*/ 2147483647 h 223"/>
                <a:gd name="T42" fmla="*/ 2147483647 w 223"/>
                <a:gd name="T43" fmla="*/ 2147483647 h 223"/>
                <a:gd name="T44" fmla="*/ 2147483647 w 223"/>
                <a:gd name="T45" fmla="*/ 2147483647 h 223"/>
                <a:gd name="T46" fmla="*/ 2147483647 w 223"/>
                <a:gd name="T47" fmla="*/ 2147483647 h 223"/>
                <a:gd name="T48" fmla="*/ 2147483647 w 223"/>
                <a:gd name="T49" fmla="*/ 0 h 223"/>
                <a:gd name="T50" fmla="*/ 2147483647 w 223"/>
                <a:gd name="T51" fmla="*/ 2147483647 h 223"/>
                <a:gd name="T52" fmla="*/ 2147483647 w 223"/>
                <a:gd name="T53" fmla="*/ 2147483647 h 223"/>
                <a:gd name="T54" fmla="*/ 2147483647 w 223"/>
                <a:gd name="T55" fmla="*/ 2147483647 h 223"/>
                <a:gd name="T56" fmla="*/ 2147483647 w 223"/>
                <a:gd name="T57" fmla="*/ 2147483647 h 223"/>
                <a:gd name="T58" fmla="*/ 2147483647 w 223"/>
                <a:gd name="T59" fmla="*/ 2147483647 h 223"/>
                <a:gd name="T60" fmla="*/ 2147483647 w 223"/>
                <a:gd name="T61" fmla="*/ 2147483647 h 223"/>
                <a:gd name="T62" fmla="*/ 2147483647 w 223"/>
                <a:gd name="T63" fmla="*/ 2147483647 h 223"/>
                <a:gd name="T64" fmla="*/ 2147483647 w 223"/>
                <a:gd name="T65" fmla="*/ 2147483647 h 223"/>
                <a:gd name="T66" fmla="*/ 2147483647 w 223"/>
                <a:gd name="T67" fmla="*/ 2147483647 h 223"/>
                <a:gd name="T68" fmla="*/ 2147483647 w 223"/>
                <a:gd name="T69" fmla="*/ 2147483647 h 223"/>
                <a:gd name="T70" fmla="*/ 2147483647 w 223"/>
                <a:gd name="T71" fmla="*/ 2147483647 h 223"/>
                <a:gd name="T72" fmla="*/ 2147483647 w 223"/>
                <a:gd name="T73" fmla="*/ 2147483647 h 223"/>
                <a:gd name="T74" fmla="*/ 2147483647 w 223"/>
                <a:gd name="T75" fmla="*/ 2147483647 h 223"/>
                <a:gd name="T76" fmla="*/ 2147483647 w 223"/>
                <a:gd name="T77" fmla="*/ 2147483647 h 223"/>
                <a:gd name="T78" fmla="*/ 2147483647 w 223"/>
                <a:gd name="T79" fmla="*/ 2147483647 h 223"/>
                <a:gd name="T80" fmla="*/ 2147483647 w 223"/>
                <a:gd name="T81" fmla="*/ 2147483647 h 223"/>
                <a:gd name="T82" fmla="*/ 2147483647 w 223"/>
                <a:gd name="T83" fmla="*/ 2147483647 h 223"/>
                <a:gd name="T84" fmla="*/ 2147483647 w 223"/>
                <a:gd name="T85" fmla="*/ 2147483647 h 223"/>
                <a:gd name="T86" fmla="*/ 2147483647 w 223"/>
                <a:gd name="T87" fmla="*/ 2147483647 h 223"/>
                <a:gd name="T88" fmla="*/ 2147483647 w 223"/>
                <a:gd name="T89" fmla="*/ 2147483647 h 223"/>
                <a:gd name="T90" fmla="*/ 2147483647 w 223"/>
                <a:gd name="T91" fmla="*/ 2147483647 h 223"/>
                <a:gd name="T92" fmla="*/ 2147483647 w 223"/>
                <a:gd name="T93" fmla="*/ 2147483647 h 223"/>
                <a:gd name="T94" fmla="*/ 2147483647 w 223"/>
                <a:gd name="T95" fmla="*/ 2147483647 h 223"/>
                <a:gd name="T96" fmla="*/ 2147483647 w 223"/>
                <a:gd name="T97" fmla="*/ 2147483647 h 223"/>
                <a:gd name="T98" fmla="*/ 2147483647 w 223"/>
                <a:gd name="T99" fmla="*/ 2147483647 h 223"/>
                <a:gd name="T100" fmla="*/ 2147483647 w 223"/>
                <a:gd name="T101" fmla="*/ 2147483647 h 223"/>
                <a:gd name="T102" fmla="*/ 2147483647 w 223"/>
                <a:gd name="T103" fmla="*/ 2147483647 h 223"/>
                <a:gd name="T104" fmla="*/ 2147483647 w 223"/>
                <a:gd name="T105" fmla="*/ 2147483647 h 223"/>
                <a:gd name="T106" fmla="*/ 2147483647 w 223"/>
                <a:gd name="T107" fmla="*/ 2147483647 h 223"/>
                <a:gd name="T108" fmla="*/ 2147483647 w 223"/>
                <a:gd name="T109" fmla="*/ 2147483647 h 223"/>
                <a:gd name="T110" fmla="*/ 2147483647 w 223"/>
                <a:gd name="T111" fmla="*/ 2147483647 h 223"/>
                <a:gd name="T112" fmla="*/ 2147483647 w 223"/>
                <a:gd name="T113" fmla="*/ 2147483647 h 223"/>
                <a:gd name="T114" fmla="*/ 2147483647 w 223"/>
                <a:gd name="T115" fmla="*/ 2147483647 h 223"/>
                <a:gd name="T116" fmla="*/ 2147483647 w 223"/>
                <a:gd name="T117" fmla="*/ 2147483647 h 223"/>
                <a:gd name="T118" fmla="*/ 2147483647 w 223"/>
                <a:gd name="T119" fmla="*/ 2147483647 h 223"/>
                <a:gd name="T120" fmla="*/ 2147483647 w 223"/>
                <a:gd name="T121" fmla="*/ 2147483647 h 22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23"/>
                <a:gd name="T184" fmla="*/ 0 h 223"/>
                <a:gd name="T185" fmla="*/ 223 w 223"/>
                <a:gd name="T186" fmla="*/ 223 h 22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23" h="223">
                  <a:moveTo>
                    <a:pt x="54" y="223"/>
                  </a:moveTo>
                  <a:lnTo>
                    <a:pt x="52" y="221"/>
                  </a:lnTo>
                  <a:lnTo>
                    <a:pt x="48" y="219"/>
                  </a:lnTo>
                  <a:lnTo>
                    <a:pt x="40" y="215"/>
                  </a:lnTo>
                  <a:lnTo>
                    <a:pt x="35" y="213"/>
                  </a:lnTo>
                  <a:lnTo>
                    <a:pt x="31" y="211"/>
                  </a:lnTo>
                  <a:lnTo>
                    <a:pt x="29" y="209"/>
                  </a:lnTo>
                  <a:lnTo>
                    <a:pt x="25" y="206"/>
                  </a:lnTo>
                  <a:lnTo>
                    <a:pt x="19" y="204"/>
                  </a:lnTo>
                  <a:lnTo>
                    <a:pt x="10" y="181"/>
                  </a:lnTo>
                  <a:lnTo>
                    <a:pt x="0" y="156"/>
                  </a:lnTo>
                  <a:lnTo>
                    <a:pt x="6" y="154"/>
                  </a:lnTo>
                  <a:lnTo>
                    <a:pt x="10" y="152"/>
                  </a:lnTo>
                  <a:lnTo>
                    <a:pt x="11" y="148"/>
                  </a:lnTo>
                  <a:lnTo>
                    <a:pt x="15" y="146"/>
                  </a:lnTo>
                  <a:lnTo>
                    <a:pt x="17" y="144"/>
                  </a:lnTo>
                  <a:lnTo>
                    <a:pt x="19" y="142"/>
                  </a:lnTo>
                  <a:lnTo>
                    <a:pt x="21" y="138"/>
                  </a:lnTo>
                  <a:lnTo>
                    <a:pt x="25" y="136"/>
                  </a:lnTo>
                  <a:lnTo>
                    <a:pt x="27" y="135"/>
                  </a:lnTo>
                  <a:lnTo>
                    <a:pt x="29" y="131"/>
                  </a:lnTo>
                  <a:lnTo>
                    <a:pt x="31" y="129"/>
                  </a:lnTo>
                  <a:lnTo>
                    <a:pt x="35" y="127"/>
                  </a:lnTo>
                  <a:lnTo>
                    <a:pt x="36" y="119"/>
                  </a:lnTo>
                  <a:lnTo>
                    <a:pt x="38" y="112"/>
                  </a:lnTo>
                  <a:lnTo>
                    <a:pt x="42" y="110"/>
                  </a:lnTo>
                  <a:lnTo>
                    <a:pt x="44" y="108"/>
                  </a:lnTo>
                  <a:lnTo>
                    <a:pt x="44" y="98"/>
                  </a:lnTo>
                  <a:lnTo>
                    <a:pt x="44" y="89"/>
                  </a:lnTo>
                  <a:lnTo>
                    <a:pt x="42" y="85"/>
                  </a:lnTo>
                  <a:lnTo>
                    <a:pt x="38" y="83"/>
                  </a:lnTo>
                  <a:lnTo>
                    <a:pt x="42" y="81"/>
                  </a:lnTo>
                  <a:lnTo>
                    <a:pt x="44" y="79"/>
                  </a:lnTo>
                  <a:lnTo>
                    <a:pt x="44" y="69"/>
                  </a:lnTo>
                  <a:lnTo>
                    <a:pt x="44" y="60"/>
                  </a:lnTo>
                  <a:lnTo>
                    <a:pt x="42" y="56"/>
                  </a:lnTo>
                  <a:lnTo>
                    <a:pt x="38" y="54"/>
                  </a:lnTo>
                  <a:lnTo>
                    <a:pt x="42" y="52"/>
                  </a:lnTo>
                  <a:lnTo>
                    <a:pt x="44" y="50"/>
                  </a:lnTo>
                  <a:lnTo>
                    <a:pt x="46" y="37"/>
                  </a:lnTo>
                  <a:lnTo>
                    <a:pt x="48" y="25"/>
                  </a:lnTo>
                  <a:lnTo>
                    <a:pt x="52" y="23"/>
                  </a:lnTo>
                  <a:lnTo>
                    <a:pt x="54" y="21"/>
                  </a:lnTo>
                  <a:lnTo>
                    <a:pt x="61" y="21"/>
                  </a:lnTo>
                  <a:lnTo>
                    <a:pt x="67" y="21"/>
                  </a:lnTo>
                  <a:lnTo>
                    <a:pt x="67" y="14"/>
                  </a:lnTo>
                  <a:lnTo>
                    <a:pt x="67" y="6"/>
                  </a:lnTo>
                  <a:lnTo>
                    <a:pt x="71" y="4"/>
                  </a:lnTo>
                  <a:lnTo>
                    <a:pt x="73" y="0"/>
                  </a:lnTo>
                  <a:lnTo>
                    <a:pt x="82" y="0"/>
                  </a:lnTo>
                  <a:lnTo>
                    <a:pt x="92" y="0"/>
                  </a:lnTo>
                  <a:lnTo>
                    <a:pt x="94" y="4"/>
                  </a:lnTo>
                  <a:lnTo>
                    <a:pt x="98" y="6"/>
                  </a:lnTo>
                  <a:lnTo>
                    <a:pt x="104" y="8"/>
                  </a:lnTo>
                  <a:lnTo>
                    <a:pt x="111" y="10"/>
                  </a:lnTo>
                  <a:lnTo>
                    <a:pt x="113" y="14"/>
                  </a:lnTo>
                  <a:lnTo>
                    <a:pt x="117" y="16"/>
                  </a:lnTo>
                  <a:lnTo>
                    <a:pt x="119" y="18"/>
                  </a:lnTo>
                  <a:lnTo>
                    <a:pt x="121" y="21"/>
                  </a:lnTo>
                  <a:lnTo>
                    <a:pt x="123" y="23"/>
                  </a:lnTo>
                  <a:lnTo>
                    <a:pt x="127" y="25"/>
                  </a:lnTo>
                  <a:lnTo>
                    <a:pt x="129" y="33"/>
                  </a:lnTo>
                  <a:lnTo>
                    <a:pt x="130" y="41"/>
                  </a:lnTo>
                  <a:lnTo>
                    <a:pt x="132" y="42"/>
                  </a:lnTo>
                  <a:lnTo>
                    <a:pt x="136" y="44"/>
                  </a:lnTo>
                  <a:lnTo>
                    <a:pt x="136" y="52"/>
                  </a:lnTo>
                  <a:lnTo>
                    <a:pt x="136" y="60"/>
                  </a:lnTo>
                  <a:lnTo>
                    <a:pt x="142" y="60"/>
                  </a:lnTo>
                  <a:lnTo>
                    <a:pt x="150" y="60"/>
                  </a:lnTo>
                  <a:lnTo>
                    <a:pt x="153" y="62"/>
                  </a:lnTo>
                  <a:lnTo>
                    <a:pt x="155" y="64"/>
                  </a:lnTo>
                  <a:lnTo>
                    <a:pt x="161" y="65"/>
                  </a:lnTo>
                  <a:lnTo>
                    <a:pt x="169" y="69"/>
                  </a:lnTo>
                  <a:lnTo>
                    <a:pt x="173" y="71"/>
                  </a:lnTo>
                  <a:lnTo>
                    <a:pt x="175" y="73"/>
                  </a:lnTo>
                  <a:lnTo>
                    <a:pt x="176" y="81"/>
                  </a:lnTo>
                  <a:lnTo>
                    <a:pt x="178" y="89"/>
                  </a:lnTo>
                  <a:lnTo>
                    <a:pt x="182" y="90"/>
                  </a:lnTo>
                  <a:lnTo>
                    <a:pt x="184" y="92"/>
                  </a:lnTo>
                  <a:lnTo>
                    <a:pt x="186" y="100"/>
                  </a:lnTo>
                  <a:lnTo>
                    <a:pt x="190" y="108"/>
                  </a:lnTo>
                  <a:lnTo>
                    <a:pt x="192" y="110"/>
                  </a:lnTo>
                  <a:lnTo>
                    <a:pt x="194" y="112"/>
                  </a:lnTo>
                  <a:lnTo>
                    <a:pt x="196" y="119"/>
                  </a:lnTo>
                  <a:lnTo>
                    <a:pt x="198" y="127"/>
                  </a:lnTo>
                  <a:lnTo>
                    <a:pt x="201" y="129"/>
                  </a:lnTo>
                  <a:lnTo>
                    <a:pt x="203" y="131"/>
                  </a:lnTo>
                  <a:lnTo>
                    <a:pt x="203" y="138"/>
                  </a:lnTo>
                  <a:lnTo>
                    <a:pt x="203" y="146"/>
                  </a:lnTo>
                  <a:lnTo>
                    <a:pt x="211" y="146"/>
                  </a:lnTo>
                  <a:lnTo>
                    <a:pt x="219" y="146"/>
                  </a:lnTo>
                  <a:lnTo>
                    <a:pt x="221" y="148"/>
                  </a:lnTo>
                  <a:lnTo>
                    <a:pt x="223" y="152"/>
                  </a:lnTo>
                  <a:lnTo>
                    <a:pt x="223" y="165"/>
                  </a:lnTo>
                  <a:lnTo>
                    <a:pt x="223" y="181"/>
                  </a:lnTo>
                  <a:lnTo>
                    <a:pt x="221" y="183"/>
                  </a:lnTo>
                  <a:lnTo>
                    <a:pt x="219" y="184"/>
                  </a:lnTo>
                  <a:lnTo>
                    <a:pt x="207" y="184"/>
                  </a:lnTo>
                  <a:lnTo>
                    <a:pt x="198" y="184"/>
                  </a:lnTo>
                  <a:lnTo>
                    <a:pt x="196" y="183"/>
                  </a:lnTo>
                  <a:lnTo>
                    <a:pt x="194" y="181"/>
                  </a:lnTo>
                  <a:lnTo>
                    <a:pt x="192" y="177"/>
                  </a:lnTo>
                  <a:lnTo>
                    <a:pt x="190" y="175"/>
                  </a:lnTo>
                  <a:lnTo>
                    <a:pt x="186" y="173"/>
                  </a:lnTo>
                  <a:lnTo>
                    <a:pt x="184" y="171"/>
                  </a:lnTo>
                  <a:lnTo>
                    <a:pt x="159" y="171"/>
                  </a:lnTo>
                  <a:lnTo>
                    <a:pt x="136" y="171"/>
                  </a:lnTo>
                  <a:lnTo>
                    <a:pt x="132" y="173"/>
                  </a:lnTo>
                  <a:lnTo>
                    <a:pt x="130" y="175"/>
                  </a:lnTo>
                  <a:lnTo>
                    <a:pt x="129" y="177"/>
                  </a:lnTo>
                  <a:lnTo>
                    <a:pt x="127" y="181"/>
                  </a:lnTo>
                  <a:lnTo>
                    <a:pt x="123" y="183"/>
                  </a:lnTo>
                  <a:lnTo>
                    <a:pt x="121" y="184"/>
                  </a:lnTo>
                  <a:lnTo>
                    <a:pt x="119" y="192"/>
                  </a:lnTo>
                  <a:lnTo>
                    <a:pt x="117" y="200"/>
                  </a:lnTo>
                  <a:lnTo>
                    <a:pt x="113" y="202"/>
                  </a:lnTo>
                  <a:lnTo>
                    <a:pt x="111" y="204"/>
                  </a:lnTo>
                  <a:lnTo>
                    <a:pt x="109" y="211"/>
                  </a:lnTo>
                  <a:lnTo>
                    <a:pt x="107" y="219"/>
                  </a:lnTo>
                  <a:lnTo>
                    <a:pt x="104" y="221"/>
                  </a:lnTo>
                  <a:lnTo>
                    <a:pt x="102" y="223"/>
                  </a:lnTo>
                  <a:lnTo>
                    <a:pt x="79" y="223"/>
                  </a:lnTo>
                  <a:lnTo>
                    <a:pt x="54" y="223"/>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60" name="Freeform 327"/>
            <p:cNvSpPr>
              <a:spLocks/>
            </p:cNvSpPr>
            <p:nvPr>
              <p:custDataLst>
                <p:tags r:id="rId44"/>
              </p:custDataLst>
            </p:nvPr>
          </p:nvSpPr>
          <p:spPr bwMode="gray">
            <a:xfrm>
              <a:off x="962025" y="4189228"/>
              <a:ext cx="204788" cy="304800"/>
            </a:xfrm>
            <a:custGeom>
              <a:avLst/>
              <a:gdLst>
                <a:gd name="T0" fmla="*/ 2147483647 w 134"/>
                <a:gd name="T1" fmla="*/ 2147483647 h 204"/>
                <a:gd name="T2" fmla="*/ 2147483647 w 134"/>
                <a:gd name="T3" fmla="*/ 2147483647 h 204"/>
                <a:gd name="T4" fmla="*/ 2147483647 w 134"/>
                <a:gd name="T5" fmla="*/ 2147483647 h 204"/>
                <a:gd name="T6" fmla="*/ 2147483647 w 134"/>
                <a:gd name="T7" fmla="*/ 2147483647 h 204"/>
                <a:gd name="T8" fmla="*/ 2147483647 w 134"/>
                <a:gd name="T9" fmla="*/ 2147483647 h 204"/>
                <a:gd name="T10" fmla="*/ 2147483647 w 134"/>
                <a:gd name="T11" fmla="*/ 2147483647 h 204"/>
                <a:gd name="T12" fmla="*/ 2147483647 w 134"/>
                <a:gd name="T13" fmla="*/ 2147483647 h 204"/>
                <a:gd name="T14" fmla="*/ 2147483647 w 134"/>
                <a:gd name="T15" fmla="*/ 2147483647 h 204"/>
                <a:gd name="T16" fmla="*/ 2147483647 w 134"/>
                <a:gd name="T17" fmla="*/ 2147483647 h 204"/>
                <a:gd name="T18" fmla="*/ 2147483647 w 134"/>
                <a:gd name="T19" fmla="*/ 2147483647 h 204"/>
                <a:gd name="T20" fmla="*/ 2147483647 w 134"/>
                <a:gd name="T21" fmla="*/ 2147483647 h 204"/>
                <a:gd name="T22" fmla="*/ 0 w 134"/>
                <a:gd name="T23" fmla="*/ 2147483647 h 204"/>
                <a:gd name="T24" fmla="*/ 0 w 134"/>
                <a:gd name="T25" fmla="*/ 2147483647 h 204"/>
                <a:gd name="T26" fmla="*/ 2147483647 w 134"/>
                <a:gd name="T27" fmla="*/ 2147483647 h 204"/>
                <a:gd name="T28" fmla="*/ 2147483647 w 134"/>
                <a:gd name="T29" fmla="*/ 0 h 204"/>
                <a:gd name="T30" fmla="*/ 2147483647 w 134"/>
                <a:gd name="T31" fmla="*/ 2147483647 h 204"/>
                <a:gd name="T32" fmla="*/ 2147483647 w 134"/>
                <a:gd name="T33" fmla="*/ 2147483647 h 204"/>
                <a:gd name="T34" fmla="*/ 2147483647 w 134"/>
                <a:gd name="T35" fmla="*/ 2147483647 h 204"/>
                <a:gd name="T36" fmla="*/ 2147483647 w 134"/>
                <a:gd name="T37" fmla="*/ 2147483647 h 204"/>
                <a:gd name="T38" fmla="*/ 2147483647 w 134"/>
                <a:gd name="T39" fmla="*/ 2147483647 h 204"/>
                <a:gd name="T40" fmla="*/ 2147483647 w 134"/>
                <a:gd name="T41" fmla="*/ 2147483647 h 204"/>
                <a:gd name="T42" fmla="*/ 2147483647 w 134"/>
                <a:gd name="T43" fmla="*/ 2147483647 h 204"/>
                <a:gd name="T44" fmla="*/ 2147483647 w 134"/>
                <a:gd name="T45" fmla="*/ 2147483647 h 204"/>
                <a:gd name="T46" fmla="*/ 2147483647 w 134"/>
                <a:gd name="T47" fmla="*/ 2147483647 h 204"/>
                <a:gd name="T48" fmla="*/ 2147483647 w 134"/>
                <a:gd name="T49" fmla="*/ 2147483647 h 204"/>
                <a:gd name="T50" fmla="*/ 2147483647 w 134"/>
                <a:gd name="T51" fmla="*/ 2147483647 h 204"/>
                <a:gd name="T52" fmla="*/ 2147483647 w 134"/>
                <a:gd name="T53" fmla="*/ 2147483647 h 204"/>
                <a:gd name="T54" fmla="*/ 2147483647 w 134"/>
                <a:gd name="T55" fmla="*/ 2147483647 h 204"/>
                <a:gd name="T56" fmla="*/ 2147483647 w 134"/>
                <a:gd name="T57" fmla="*/ 2147483647 h 204"/>
                <a:gd name="T58" fmla="*/ 2147483647 w 134"/>
                <a:gd name="T59" fmla="*/ 2147483647 h 204"/>
                <a:gd name="T60" fmla="*/ 2147483647 w 134"/>
                <a:gd name="T61" fmla="*/ 2147483647 h 204"/>
                <a:gd name="T62" fmla="*/ 2147483647 w 134"/>
                <a:gd name="T63" fmla="*/ 2147483647 h 204"/>
                <a:gd name="T64" fmla="*/ 2147483647 w 134"/>
                <a:gd name="T65" fmla="*/ 2147483647 h 204"/>
                <a:gd name="T66" fmla="*/ 2147483647 w 134"/>
                <a:gd name="T67" fmla="*/ 2147483647 h 204"/>
                <a:gd name="T68" fmla="*/ 2147483647 w 134"/>
                <a:gd name="T69" fmla="*/ 2147483647 h 204"/>
                <a:gd name="T70" fmla="*/ 2147483647 w 134"/>
                <a:gd name="T71" fmla="*/ 2147483647 h 204"/>
                <a:gd name="T72" fmla="*/ 2147483647 w 134"/>
                <a:gd name="T73" fmla="*/ 2147483647 h 204"/>
                <a:gd name="T74" fmla="*/ 2147483647 w 134"/>
                <a:gd name="T75" fmla="*/ 2147483647 h 204"/>
                <a:gd name="T76" fmla="*/ 2147483647 w 134"/>
                <a:gd name="T77" fmla="*/ 2147483647 h 204"/>
                <a:gd name="T78" fmla="*/ 2147483647 w 134"/>
                <a:gd name="T79" fmla="*/ 2147483647 h 204"/>
                <a:gd name="T80" fmla="*/ 2147483647 w 134"/>
                <a:gd name="T81" fmla="*/ 2147483647 h 204"/>
                <a:gd name="T82" fmla="*/ 2147483647 w 134"/>
                <a:gd name="T83" fmla="*/ 2147483647 h 204"/>
                <a:gd name="T84" fmla="*/ 2147483647 w 134"/>
                <a:gd name="T85" fmla="*/ 2147483647 h 204"/>
                <a:gd name="T86" fmla="*/ 2147483647 w 134"/>
                <a:gd name="T87" fmla="*/ 2147483647 h 204"/>
                <a:gd name="T88" fmla="*/ 2147483647 w 134"/>
                <a:gd name="T89" fmla="*/ 2147483647 h 204"/>
                <a:gd name="T90" fmla="*/ 2147483647 w 134"/>
                <a:gd name="T91" fmla="*/ 2147483647 h 204"/>
                <a:gd name="T92" fmla="*/ 2147483647 w 134"/>
                <a:gd name="T93" fmla="*/ 2147483647 h 20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34"/>
                <a:gd name="T142" fmla="*/ 0 h 204"/>
                <a:gd name="T143" fmla="*/ 134 w 134"/>
                <a:gd name="T144" fmla="*/ 204 h 20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34" h="204">
                  <a:moveTo>
                    <a:pt x="86" y="204"/>
                  </a:moveTo>
                  <a:lnTo>
                    <a:pt x="86" y="194"/>
                  </a:lnTo>
                  <a:lnTo>
                    <a:pt x="86" y="184"/>
                  </a:lnTo>
                  <a:lnTo>
                    <a:pt x="86" y="179"/>
                  </a:lnTo>
                  <a:lnTo>
                    <a:pt x="86" y="175"/>
                  </a:lnTo>
                  <a:lnTo>
                    <a:pt x="86" y="165"/>
                  </a:lnTo>
                  <a:lnTo>
                    <a:pt x="86" y="156"/>
                  </a:lnTo>
                  <a:lnTo>
                    <a:pt x="77" y="156"/>
                  </a:lnTo>
                  <a:lnTo>
                    <a:pt x="67" y="156"/>
                  </a:lnTo>
                  <a:lnTo>
                    <a:pt x="58" y="156"/>
                  </a:lnTo>
                  <a:lnTo>
                    <a:pt x="48" y="156"/>
                  </a:lnTo>
                  <a:lnTo>
                    <a:pt x="48" y="140"/>
                  </a:lnTo>
                  <a:lnTo>
                    <a:pt x="48" y="127"/>
                  </a:lnTo>
                  <a:lnTo>
                    <a:pt x="48" y="112"/>
                  </a:lnTo>
                  <a:lnTo>
                    <a:pt x="48" y="98"/>
                  </a:lnTo>
                  <a:lnTo>
                    <a:pt x="48" y="87"/>
                  </a:lnTo>
                  <a:lnTo>
                    <a:pt x="50" y="75"/>
                  </a:lnTo>
                  <a:lnTo>
                    <a:pt x="35" y="67"/>
                  </a:lnTo>
                  <a:lnTo>
                    <a:pt x="19" y="58"/>
                  </a:lnTo>
                  <a:lnTo>
                    <a:pt x="13" y="54"/>
                  </a:lnTo>
                  <a:lnTo>
                    <a:pt x="10" y="48"/>
                  </a:lnTo>
                  <a:lnTo>
                    <a:pt x="4" y="44"/>
                  </a:lnTo>
                  <a:lnTo>
                    <a:pt x="0" y="41"/>
                  </a:lnTo>
                  <a:lnTo>
                    <a:pt x="0" y="29"/>
                  </a:lnTo>
                  <a:lnTo>
                    <a:pt x="0" y="19"/>
                  </a:lnTo>
                  <a:lnTo>
                    <a:pt x="0" y="16"/>
                  </a:lnTo>
                  <a:lnTo>
                    <a:pt x="0" y="10"/>
                  </a:lnTo>
                  <a:lnTo>
                    <a:pt x="4" y="6"/>
                  </a:lnTo>
                  <a:lnTo>
                    <a:pt x="10" y="0"/>
                  </a:lnTo>
                  <a:lnTo>
                    <a:pt x="13" y="0"/>
                  </a:lnTo>
                  <a:lnTo>
                    <a:pt x="19" y="0"/>
                  </a:lnTo>
                  <a:lnTo>
                    <a:pt x="25" y="6"/>
                  </a:lnTo>
                  <a:lnTo>
                    <a:pt x="33" y="10"/>
                  </a:lnTo>
                  <a:lnTo>
                    <a:pt x="36" y="14"/>
                  </a:lnTo>
                  <a:lnTo>
                    <a:pt x="38" y="16"/>
                  </a:lnTo>
                  <a:lnTo>
                    <a:pt x="40" y="18"/>
                  </a:lnTo>
                  <a:lnTo>
                    <a:pt x="42" y="19"/>
                  </a:lnTo>
                  <a:lnTo>
                    <a:pt x="46" y="21"/>
                  </a:lnTo>
                  <a:lnTo>
                    <a:pt x="48" y="25"/>
                  </a:lnTo>
                  <a:lnTo>
                    <a:pt x="56" y="27"/>
                  </a:lnTo>
                  <a:lnTo>
                    <a:pt x="63" y="29"/>
                  </a:lnTo>
                  <a:lnTo>
                    <a:pt x="65" y="31"/>
                  </a:lnTo>
                  <a:lnTo>
                    <a:pt x="67" y="35"/>
                  </a:lnTo>
                  <a:lnTo>
                    <a:pt x="69" y="37"/>
                  </a:lnTo>
                  <a:lnTo>
                    <a:pt x="71" y="41"/>
                  </a:lnTo>
                  <a:lnTo>
                    <a:pt x="75" y="42"/>
                  </a:lnTo>
                  <a:lnTo>
                    <a:pt x="77" y="44"/>
                  </a:lnTo>
                  <a:lnTo>
                    <a:pt x="88" y="46"/>
                  </a:lnTo>
                  <a:lnTo>
                    <a:pt x="102" y="48"/>
                  </a:lnTo>
                  <a:lnTo>
                    <a:pt x="104" y="52"/>
                  </a:lnTo>
                  <a:lnTo>
                    <a:pt x="106" y="54"/>
                  </a:lnTo>
                  <a:lnTo>
                    <a:pt x="113" y="56"/>
                  </a:lnTo>
                  <a:lnTo>
                    <a:pt x="121" y="58"/>
                  </a:lnTo>
                  <a:lnTo>
                    <a:pt x="123" y="62"/>
                  </a:lnTo>
                  <a:lnTo>
                    <a:pt x="125" y="64"/>
                  </a:lnTo>
                  <a:lnTo>
                    <a:pt x="127" y="66"/>
                  </a:lnTo>
                  <a:lnTo>
                    <a:pt x="131" y="69"/>
                  </a:lnTo>
                  <a:lnTo>
                    <a:pt x="132" y="71"/>
                  </a:lnTo>
                  <a:lnTo>
                    <a:pt x="134" y="73"/>
                  </a:lnTo>
                  <a:lnTo>
                    <a:pt x="134" y="83"/>
                  </a:lnTo>
                  <a:lnTo>
                    <a:pt x="134" y="92"/>
                  </a:lnTo>
                  <a:lnTo>
                    <a:pt x="132" y="94"/>
                  </a:lnTo>
                  <a:lnTo>
                    <a:pt x="131" y="98"/>
                  </a:lnTo>
                  <a:lnTo>
                    <a:pt x="131" y="102"/>
                  </a:lnTo>
                  <a:lnTo>
                    <a:pt x="131" y="108"/>
                  </a:lnTo>
                  <a:lnTo>
                    <a:pt x="132" y="110"/>
                  </a:lnTo>
                  <a:lnTo>
                    <a:pt x="134" y="112"/>
                  </a:lnTo>
                  <a:lnTo>
                    <a:pt x="134" y="117"/>
                  </a:lnTo>
                  <a:lnTo>
                    <a:pt x="134" y="121"/>
                  </a:lnTo>
                  <a:lnTo>
                    <a:pt x="132" y="123"/>
                  </a:lnTo>
                  <a:lnTo>
                    <a:pt x="131" y="127"/>
                  </a:lnTo>
                  <a:lnTo>
                    <a:pt x="131" y="131"/>
                  </a:lnTo>
                  <a:lnTo>
                    <a:pt x="131" y="137"/>
                  </a:lnTo>
                  <a:lnTo>
                    <a:pt x="132" y="138"/>
                  </a:lnTo>
                  <a:lnTo>
                    <a:pt x="134" y="140"/>
                  </a:lnTo>
                  <a:lnTo>
                    <a:pt x="134" y="146"/>
                  </a:lnTo>
                  <a:lnTo>
                    <a:pt x="134" y="150"/>
                  </a:lnTo>
                  <a:lnTo>
                    <a:pt x="132" y="154"/>
                  </a:lnTo>
                  <a:lnTo>
                    <a:pt x="131" y="156"/>
                  </a:lnTo>
                  <a:lnTo>
                    <a:pt x="127" y="161"/>
                  </a:lnTo>
                  <a:lnTo>
                    <a:pt x="125" y="169"/>
                  </a:lnTo>
                  <a:lnTo>
                    <a:pt x="123" y="173"/>
                  </a:lnTo>
                  <a:lnTo>
                    <a:pt x="121" y="175"/>
                  </a:lnTo>
                  <a:lnTo>
                    <a:pt x="117" y="177"/>
                  </a:lnTo>
                  <a:lnTo>
                    <a:pt x="115" y="179"/>
                  </a:lnTo>
                  <a:lnTo>
                    <a:pt x="113" y="183"/>
                  </a:lnTo>
                  <a:lnTo>
                    <a:pt x="111" y="184"/>
                  </a:lnTo>
                  <a:lnTo>
                    <a:pt x="107" y="186"/>
                  </a:lnTo>
                  <a:lnTo>
                    <a:pt x="106" y="190"/>
                  </a:lnTo>
                  <a:lnTo>
                    <a:pt x="104" y="192"/>
                  </a:lnTo>
                  <a:lnTo>
                    <a:pt x="102" y="194"/>
                  </a:lnTo>
                  <a:lnTo>
                    <a:pt x="98" y="198"/>
                  </a:lnTo>
                  <a:lnTo>
                    <a:pt x="96" y="204"/>
                  </a:lnTo>
                  <a:lnTo>
                    <a:pt x="90" y="204"/>
                  </a:lnTo>
                  <a:lnTo>
                    <a:pt x="86" y="204"/>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61" name="Freeform 328"/>
            <p:cNvSpPr>
              <a:spLocks/>
            </p:cNvSpPr>
            <p:nvPr>
              <p:custDataLst>
                <p:tags r:id="rId45"/>
              </p:custDataLst>
            </p:nvPr>
          </p:nvSpPr>
          <p:spPr bwMode="gray">
            <a:xfrm>
              <a:off x="1381125" y="4216216"/>
              <a:ext cx="223838" cy="263525"/>
            </a:xfrm>
            <a:custGeom>
              <a:avLst/>
              <a:gdLst>
                <a:gd name="T0" fmla="*/ 2147483647 w 143"/>
                <a:gd name="T1" fmla="*/ 2147483647 h 175"/>
                <a:gd name="T2" fmla="*/ 2147483647 w 143"/>
                <a:gd name="T3" fmla="*/ 2147483647 h 175"/>
                <a:gd name="T4" fmla="*/ 2147483647 w 143"/>
                <a:gd name="T5" fmla="*/ 2147483647 h 175"/>
                <a:gd name="T6" fmla="*/ 2147483647 w 143"/>
                <a:gd name="T7" fmla="*/ 2147483647 h 175"/>
                <a:gd name="T8" fmla="*/ 2147483647 w 143"/>
                <a:gd name="T9" fmla="*/ 2147483647 h 175"/>
                <a:gd name="T10" fmla="*/ 2147483647 w 143"/>
                <a:gd name="T11" fmla="*/ 2147483647 h 175"/>
                <a:gd name="T12" fmla="*/ 2147483647 w 143"/>
                <a:gd name="T13" fmla="*/ 2147483647 h 175"/>
                <a:gd name="T14" fmla="*/ 2147483647 w 143"/>
                <a:gd name="T15" fmla="*/ 2147483647 h 175"/>
                <a:gd name="T16" fmla="*/ 2147483647 w 143"/>
                <a:gd name="T17" fmla="*/ 2147483647 h 175"/>
                <a:gd name="T18" fmla="*/ 2147483647 w 143"/>
                <a:gd name="T19" fmla="*/ 2147483647 h 175"/>
                <a:gd name="T20" fmla="*/ 2147483647 w 143"/>
                <a:gd name="T21" fmla="*/ 2147483647 h 175"/>
                <a:gd name="T22" fmla="*/ 2147483647 w 143"/>
                <a:gd name="T23" fmla="*/ 2147483647 h 175"/>
                <a:gd name="T24" fmla="*/ 2147483647 w 143"/>
                <a:gd name="T25" fmla="*/ 2147483647 h 175"/>
                <a:gd name="T26" fmla="*/ 2147483647 w 143"/>
                <a:gd name="T27" fmla="*/ 2147483647 h 175"/>
                <a:gd name="T28" fmla="*/ 2147483647 w 143"/>
                <a:gd name="T29" fmla="*/ 2147483647 h 175"/>
                <a:gd name="T30" fmla="*/ 2147483647 w 143"/>
                <a:gd name="T31" fmla="*/ 2147483647 h 175"/>
                <a:gd name="T32" fmla="*/ 2147483647 w 143"/>
                <a:gd name="T33" fmla="*/ 2147483647 h 175"/>
                <a:gd name="T34" fmla="*/ 2147483647 w 143"/>
                <a:gd name="T35" fmla="*/ 2147483647 h 175"/>
                <a:gd name="T36" fmla="*/ 2147483647 w 143"/>
                <a:gd name="T37" fmla="*/ 2147483647 h 175"/>
                <a:gd name="T38" fmla="*/ 2147483647 w 143"/>
                <a:gd name="T39" fmla="*/ 2147483647 h 175"/>
                <a:gd name="T40" fmla="*/ 2147483647 w 143"/>
                <a:gd name="T41" fmla="*/ 2147483647 h 175"/>
                <a:gd name="T42" fmla="*/ 2147483647 w 143"/>
                <a:gd name="T43" fmla="*/ 2147483647 h 175"/>
                <a:gd name="T44" fmla="*/ 2147483647 w 143"/>
                <a:gd name="T45" fmla="*/ 2147483647 h 175"/>
                <a:gd name="T46" fmla="*/ 2147483647 w 143"/>
                <a:gd name="T47" fmla="*/ 2147483647 h 175"/>
                <a:gd name="T48" fmla="*/ 2147483647 w 143"/>
                <a:gd name="T49" fmla="*/ 2147483647 h 175"/>
                <a:gd name="T50" fmla="*/ 2147483647 w 143"/>
                <a:gd name="T51" fmla="*/ 2147483647 h 175"/>
                <a:gd name="T52" fmla="*/ 2147483647 w 143"/>
                <a:gd name="T53" fmla="*/ 2147483647 h 175"/>
                <a:gd name="T54" fmla="*/ 2147483647 w 143"/>
                <a:gd name="T55" fmla="*/ 2147483647 h 175"/>
                <a:gd name="T56" fmla="*/ 2147483647 w 143"/>
                <a:gd name="T57" fmla="*/ 2147483647 h 175"/>
                <a:gd name="T58" fmla="*/ 2147483647 w 143"/>
                <a:gd name="T59" fmla="*/ 2147483647 h 175"/>
                <a:gd name="T60" fmla="*/ 2147483647 w 143"/>
                <a:gd name="T61" fmla="*/ 2147483647 h 175"/>
                <a:gd name="T62" fmla="*/ 2147483647 w 143"/>
                <a:gd name="T63" fmla="*/ 2147483647 h 175"/>
                <a:gd name="T64" fmla="*/ 2147483647 w 143"/>
                <a:gd name="T65" fmla="*/ 2147483647 h 175"/>
                <a:gd name="T66" fmla="*/ 2147483647 w 143"/>
                <a:gd name="T67" fmla="*/ 2147483647 h 175"/>
                <a:gd name="T68" fmla="*/ 2147483647 w 143"/>
                <a:gd name="T69" fmla="*/ 2147483647 h 175"/>
                <a:gd name="T70" fmla="*/ 2147483647 w 143"/>
                <a:gd name="T71" fmla="*/ 2147483647 h 175"/>
                <a:gd name="T72" fmla="*/ 2147483647 w 143"/>
                <a:gd name="T73" fmla="*/ 2147483647 h 175"/>
                <a:gd name="T74" fmla="*/ 2147483647 w 143"/>
                <a:gd name="T75" fmla="*/ 2147483647 h 17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3"/>
                <a:gd name="T115" fmla="*/ 0 h 175"/>
                <a:gd name="T116" fmla="*/ 143 w 143"/>
                <a:gd name="T117" fmla="*/ 175 h 17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3" h="175">
                  <a:moveTo>
                    <a:pt x="53" y="175"/>
                  </a:moveTo>
                  <a:lnTo>
                    <a:pt x="49" y="173"/>
                  </a:lnTo>
                  <a:lnTo>
                    <a:pt x="48" y="171"/>
                  </a:lnTo>
                  <a:lnTo>
                    <a:pt x="40" y="164"/>
                  </a:lnTo>
                  <a:lnTo>
                    <a:pt x="32" y="156"/>
                  </a:lnTo>
                  <a:lnTo>
                    <a:pt x="30" y="154"/>
                  </a:lnTo>
                  <a:lnTo>
                    <a:pt x="28" y="150"/>
                  </a:lnTo>
                  <a:lnTo>
                    <a:pt x="26" y="142"/>
                  </a:lnTo>
                  <a:lnTo>
                    <a:pt x="23" y="137"/>
                  </a:lnTo>
                  <a:lnTo>
                    <a:pt x="21" y="135"/>
                  </a:lnTo>
                  <a:lnTo>
                    <a:pt x="19" y="131"/>
                  </a:lnTo>
                  <a:lnTo>
                    <a:pt x="17" y="123"/>
                  </a:lnTo>
                  <a:lnTo>
                    <a:pt x="15" y="118"/>
                  </a:lnTo>
                  <a:lnTo>
                    <a:pt x="11" y="114"/>
                  </a:lnTo>
                  <a:lnTo>
                    <a:pt x="9" y="112"/>
                  </a:lnTo>
                  <a:lnTo>
                    <a:pt x="7" y="104"/>
                  </a:lnTo>
                  <a:lnTo>
                    <a:pt x="3" y="98"/>
                  </a:lnTo>
                  <a:lnTo>
                    <a:pt x="1" y="94"/>
                  </a:lnTo>
                  <a:lnTo>
                    <a:pt x="0" y="93"/>
                  </a:lnTo>
                  <a:lnTo>
                    <a:pt x="1" y="91"/>
                  </a:lnTo>
                  <a:lnTo>
                    <a:pt x="3" y="89"/>
                  </a:lnTo>
                  <a:lnTo>
                    <a:pt x="7" y="85"/>
                  </a:lnTo>
                  <a:lnTo>
                    <a:pt x="9" y="83"/>
                  </a:lnTo>
                  <a:lnTo>
                    <a:pt x="11" y="81"/>
                  </a:lnTo>
                  <a:lnTo>
                    <a:pt x="15" y="79"/>
                  </a:lnTo>
                  <a:lnTo>
                    <a:pt x="17" y="52"/>
                  </a:lnTo>
                  <a:lnTo>
                    <a:pt x="19" y="25"/>
                  </a:lnTo>
                  <a:lnTo>
                    <a:pt x="21" y="23"/>
                  </a:lnTo>
                  <a:lnTo>
                    <a:pt x="23" y="22"/>
                  </a:lnTo>
                  <a:lnTo>
                    <a:pt x="30" y="18"/>
                  </a:lnTo>
                  <a:lnTo>
                    <a:pt x="38" y="16"/>
                  </a:lnTo>
                  <a:lnTo>
                    <a:pt x="40" y="12"/>
                  </a:lnTo>
                  <a:lnTo>
                    <a:pt x="44" y="10"/>
                  </a:lnTo>
                  <a:lnTo>
                    <a:pt x="46" y="8"/>
                  </a:lnTo>
                  <a:lnTo>
                    <a:pt x="48" y="6"/>
                  </a:lnTo>
                  <a:lnTo>
                    <a:pt x="49" y="2"/>
                  </a:lnTo>
                  <a:lnTo>
                    <a:pt x="53" y="0"/>
                  </a:lnTo>
                  <a:lnTo>
                    <a:pt x="55" y="2"/>
                  </a:lnTo>
                  <a:lnTo>
                    <a:pt x="57" y="6"/>
                  </a:lnTo>
                  <a:lnTo>
                    <a:pt x="69" y="8"/>
                  </a:lnTo>
                  <a:lnTo>
                    <a:pt x="82" y="10"/>
                  </a:lnTo>
                  <a:lnTo>
                    <a:pt x="84" y="12"/>
                  </a:lnTo>
                  <a:lnTo>
                    <a:pt x="86" y="16"/>
                  </a:lnTo>
                  <a:lnTo>
                    <a:pt x="88" y="18"/>
                  </a:lnTo>
                  <a:lnTo>
                    <a:pt x="92" y="22"/>
                  </a:lnTo>
                  <a:lnTo>
                    <a:pt x="94" y="23"/>
                  </a:lnTo>
                  <a:lnTo>
                    <a:pt x="96" y="25"/>
                  </a:lnTo>
                  <a:lnTo>
                    <a:pt x="101" y="25"/>
                  </a:lnTo>
                  <a:lnTo>
                    <a:pt x="105" y="25"/>
                  </a:lnTo>
                  <a:lnTo>
                    <a:pt x="109" y="23"/>
                  </a:lnTo>
                  <a:lnTo>
                    <a:pt x="111" y="22"/>
                  </a:lnTo>
                  <a:lnTo>
                    <a:pt x="124" y="25"/>
                  </a:lnTo>
                  <a:lnTo>
                    <a:pt x="140" y="29"/>
                  </a:lnTo>
                  <a:lnTo>
                    <a:pt x="142" y="33"/>
                  </a:lnTo>
                  <a:lnTo>
                    <a:pt x="143" y="35"/>
                  </a:lnTo>
                  <a:lnTo>
                    <a:pt x="142" y="37"/>
                  </a:lnTo>
                  <a:lnTo>
                    <a:pt x="140" y="39"/>
                  </a:lnTo>
                  <a:lnTo>
                    <a:pt x="138" y="58"/>
                  </a:lnTo>
                  <a:lnTo>
                    <a:pt x="138" y="75"/>
                  </a:lnTo>
                  <a:lnTo>
                    <a:pt x="136" y="94"/>
                  </a:lnTo>
                  <a:lnTo>
                    <a:pt x="136" y="112"/>
                  </a:lnTo>
                  <a:lnTo>
                    <a:pt x="132" y="114"/>
                  </a:lnTo>
                  <a:lnTo>
                    <a:pt x="130" y="118"/>
                  </a:lnTo>
                  <a:lnTo>
                    <a:pt x="128" y="129"/>
                  </a:lnTo>
                  <a:lnTo>
                    <a:pt x="124" y="141"/>
                  </a:lnTo>
                  <a:lnTo>
                    <a:pt x="122" y="144"/>
                  </a:lnTo>
                  <a:lnTo>
                    <a:pt x="120" y="146"/>
                  </a:lnTo>
                  <a:lnTo>
                    <a:pt x="103" y="154"/>
                  </a:lnTo>
                  <a:lnTo>
                    <a:pt x="86" y="160"/>
                  </a:lnTo>
                  <a:lnTo>
                    <a:pt x="84" y="164"/>
                  </a:lnTo>
                  <a:lnTo>
                    <a:pt x="82" y="165"/>
                  </a:lnTo>
                  <a:lnTo>
                    <a:pt x="78" y="167"/>
                  </a:lnTo>
                  <a:lnTo>
                    <a:pt x="76" y="171"/>
                  </a:lnTo>
                  <a:lnTo>
                    <a:pt x="74" y="173"/>
                  </a:lnTo>
                  <a:lnTo>
                    <a:pt x="72" y="175"/>
                  </a:lnTo>
                  <a:lnTo>
                    <a:pt x="63" y="175"/>
                  </a:lnTo>
                  <a:lnTo>
                    <a:pt x="53" y="175"/>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62" name="Freeform 329"/>
            <p:cNvSpPr>
              <a:spLocks/>
            </p:cNvSpPr>
            <p:nvPr>
              <p:custDataLst>
                <p:tags r:id="rId46"/>
              </p:custDataLst>
            </p:nvPr>
          </p:nvSpPr>
          <p:spPr bwMode="gray">
            <a:xfrm>
              <a:off x="1212850" y="4132078"/>
              <a:ext cx="242888" cy="219075"/>
            </a:xfrm>
            <a:custGeom>
              <a:avLst/>
              <a:gdLst>
                <a:gd name="T0" fmla="*/ 2147483647 w 156"/>
                <a:gd name="T1" fmla="*/ 2147483647 h 146"/>
                <a:gd name="T2" fmla="*/ 2147483647 w 156"/>
                <a:gd name="T3" fmla="*/ 2147483647 h 146"/>
                <a:gd name="T4" fmla="*/ 2147483647 w 156"/>
                <a:gd name="T5" fmla="*/ 2147483647 h 146"/>
                <a:gd name="T6" fmla="*/ 2147483647 w 156"/>
                <a:gd name="T7" fmla="*/ 2147483647 h 146"/>
                <a:gd name="T8" fmla="*/ 2147483647 w 156"/>
                <a:gd name="T9" fmla="*/ 2147483647 h 146"/>
                <a:gd name="T10" fmla="*/ 2147483647 w 156"/>
                <a:gd name="T11" fmla="*/ 2147483647 h 146"/>
                <a:gd name="T12" fmla="*/ 2147483647 w 156"/>
                <a:gd name="T13" fmla="*/ 2147483647 h 146"/>
                <a:gd name="T14" fmla="*/ 2147483647 w 156"/>
                <a:gd name="T15" fmla="*/ 2147483647 h 146"/>
                <a:gd name="T16" fmla="*/ 2147483647 w 156"/>
                <a:gd name="T17" fmla="*/ 2147483647 h 146"/>
                <a:gd name="T18" fmla="*/ 2147483647 w 156"/>
                <a:gd name="T19" fmla="*/ 2147483647 h 146"/>
                <a:gd name="T20" fmla="*/ 2147483647 w 156"/>
                <a:gd name="T21" fmla="*/ 2147483647 h 146"/>
                <a:gd name="T22" fmla="*/ 0 w 156"/>
                <a:gd name="T23" fmla="*/ 2147483647 h 146"/>
                <a:gd name="T24" fmla="*/ 2147483647 w 156"/>
                <a:gd name="T25" fmla="*/ 2147483647 h 146"/>
                <a:gd name="T26" fmla="*/ 2147483647 w 156"/>
                <a:gd name="T27" fmla="*/ 2147483647 h 146"/>
                <a:gd name="T28" fmla="*/ 2147483647 w 156"/>
                <a:gd name="T29" fmla="*/ 2147483647 h 146"/>
                <a:gd name="T30" fmla="*/ 2147483647 w 156"/>
                <a:gd name="T31" fmla="*/ 2147483647 h 146"/>
                <a:gd name="T32" fmla="*/ 2147483647 w 156"/>
                <a:gd name="T33" fmla="*/ 2147483647 h 146"/>
                <a:gd name="T34" fmla="*/ 2147483647 w 156"/>
                <a:gd name="T35" fmla="*/ 2147483647 h 146"/>
                <a:gd name="T36" fmla="*/ 2147483647 w 156"/>
                <a:gd name="T37" fmla="*/ 2147483647 h 146"/>
                <a:gd name="T38" fmla="*/ 2147483647 w 156"/>
                <a:gd name="T39" fmla="*/ 2147483647 h 146"/>
                <a:gd name="T40" fmla="*/ 2147483647 w 156"/>
                <a:gd name="T41" fmla="*/ 2147483647 h 146"/>
                <a:gd name="T42" fmla="*/ 2147483647 w 156"/>
                <a:gd name="T43" fmla="*/ 2147483647 h 146"/>
                <a:gd name="T44" fmla="*/ 2147483647 w 156"/>
                <a:gd name="T45" fmla="*/ 2147483647 h 146"/>
                <a:gd name="T46" fmla="*/ 2147483647 w 156"/>
                <a:gd name="T47" fmla="*/ 2147483647 h 146"/>
                <a:gd name="T48" fmla="*/ 2147483647 w 156"/>
                <a:gd name="T49" fmla="*/ 0 h 146"/>
                <a:gd name="T50" fmla="*/ 2147483647 w 156"/>
                <a:gd name="T51" fmla="*/ 2147483647 h 146"/>
                <a:gd name="T52" fmla="*/ 2147483647 w 156"/>
                <a:gd name="T53" fmla="*/ 2147483647 h 146"/>
                <a:gd name="T54" fmla="*/ 2147483647 w 156"/>
                <a:gd name="T55" fmla="*/ 2147483647 h 146"/>
                <a:gd name="T56" fmla="*/ 2147483647 w 156"/>
                <a:gd name="T57" fmla="*/ 2147483647 h 146"/>
                <a:gd name="T58" fmla="*/ 2147483647 w 156"/>
                <a:gd name="T59" fmla="*/ 2147483647 h 146"/>
                <a:gd name="T60" fmla="*/ 2147483647 w 156"/>
                <a:gd name="T61" fmla="*/ 2147483647 h 146"/>
                <a:gd name="T62" fmla="*/ 2147483647 w 156"/>
                <a:gd name="T63" fmla="*/ 2147483647 h 146"/>
                <a:gd name="T64" fmla="*/ 2147483647 w 156"/>
                <a:gd name="T65" fmla="*/ 2147483647 h 146"/>
                <a:gd name="T66" fmla="*/ 2147483647 w 156"/>
                <a:gd name="T67" fmla="*/ 2147483647 h 146"/>
                <a:gd name="T68" fmla="*/ 2147483647 w 156"/>
                <a:gd name="T69" fmla="*/ 2147483647 h 146"/>
                <a:gd name="T70" fmla="*/ 2147483647 w 156"/>
                <a:gd name="T71" fmla="*/ 2147483647 h 146"/>
                <a:gd name="T72" fmla="*/ 2147483647 w 156"/>
                <a:gd name="T73" fmla="*/ 2147483647 h 146"/>
                <a:gd name="T74" fmla="*/ 2147483647 w 156"/>
                <a:gd name="T75" fmla="*/ 2147483647 h 146"/>
                <a:gd name="T76" fmla="*/ 2147483647 w 156"/>
                <a:gd name="T77" fmla="*/ 2147483647 h 14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56"/>
                <a:gd name="T118" fmla="*/ 0 h 146"/>
                <a:gd name="T119" fmla="*/ 156 w 156"/>
                <a:gd name="T120" fmla="*/ 146 h 14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56" h="146">
                  <a:moveTo>
                    <a:pt x="92" y="146"/>
                  </a:moveTo>
                  <a:lnTo>
                    <a:pt x="90" y="142"/>
                  </a:lnTo>
                  <a:lnTo>
                    <a:pt x="88" y="140"/>
                  </a:lnTo>
                  <a:lnTo>
                    <a:pt x="81" y="132"/>
                  </a:lnTo>
                  <a:lnTo>
                    <a:pt x="73" y="127"/>
                  </a:lnTo>
                  <a:lnTo>
                    <a:pt x="71" y="123"/>
                  </a:lnTo>
                  <a:lnTo>
                    <a:pt x="69" y="121"/>
                  </a:lnTo>
                  <a:lnTo>
                    <a:pt x="65" y="113"/>
                  </a:lnTo>
                  <a:lnTo>
                    <a:pt x="63" y="107"/>
                  </a:lnTo>
                  <a:lnTo>
                    <a:pt x="62" y="104"/>
                  </a:lnTo>
                  <a:lnTo>
                    <a:pt x="60" y="102"/>
                  </a:lnTo>
                  <a:lnTo>
                    <a:pt x="56" y="100"/>
                  </a:lnTo>
                  <a:lnTo>
                    <a:pt x="54" y="96"/>
                  </a:lnTo>
                  <a:lnTo>
                    <a:pt x="52" y="94"/>
                  </a:lnTo>
                  <a:lnTo>
                    <a:pt x="50" y="92"/>
                  </a:lnTo>
                  <a:lnTo>
                    <a:pt x="42" y="90"/>
                  </a:lnTo>
                  <a:lnTo>
                    <a:pt x="35" y="86"/>
                  </a:lnTo>
                  <a:lnTo>
                    <a:pt x="33" y="84"/>
                  </a:lnTo>
                  <a:lnTo>
                    <a:pt x="31" y="82"/>
                  </a:lnTo>
                  <a:lnTo>
                    <a:pt x="17" y="75"/>
                  </a:lnTo>
                  <a:lnTo>
                    <a:pt x="6" y="67"/>
                  </a:lnTo>
                  <a:lnTo>
                    <a:pt x="4" y="65"/>
                  </a:lnTo>
                  <a:lnTo>
                    <a:pt x="0" y="63"/>
                  </a:lnTo>
                  <a:lnTo>
                    <a:pt x="0" y="57"/>
                  </a:lnTo>
                  <a:lnTo>
                    <a:pt x="0" y="54"/>
                  </a:lnTo>
                  <a:lnTo>
                    <a:pt x="4" y="52"/>
                  </a:lnTo>
                  <a:lnTo>
                    <a:pt x="6" y="48"/>
                  </a:lnTo>
                  <a:lnTo>
                    <a:pt x="17" y="46"/>
                  </a:lnTo>
                  <a:lnTo>
                    <a:pt x="31" y="44"/>
                  </a:lnTo>
                  <a:lnTo>
                    <a:pt x="33" y="40"/>
                  </a:lnTo>
                  <a:lnTo>
                    <a:pt x="35" y="38"/>
                  </a:lnTo>
                  <a:lnTo>
                    <a:pt x="37" y="31"/>
                  </a:lnTo>
                  <a:lnTo>
                    <a:pt x="40" y="25"/>
                  </a:lnTo>
                  <a:lnTo>
                    <a:pt x="42" y="21"/>
                  </a:lnTo>
                  <a:lnTo>
                    <a:pt x="44" y="19"/>
                  </a:lnTo>
                  <a:lnTo>
                    <a:pt x="46" y="11"/>
                  </a:lnTo>
                  <a:lnTo>
                    <a:pt x="50" y="6"/>
                  </a:lnTo>
                  <a:lnTo>
                    <a:pt x="52" y="2"/>
                  </a:lnTo>
                  <a:lnTo>
                    <a:pt x="54" y="0"/>
                  </a:lnTo>
                  <a:lnTo>
                    <a:pt x="56" y="2"/>
                  </a:lnTo>
                  <a:lnTo>
                    <a:pt x="60" y="6"/>
                  </a:lnTo>
                  <a:lnTo>
                    <a:pt x="79" y="9"/>
                  </a:lnTo>
                  <a:lnTo>
                    <a:pt x="98" y="13"/>
                  </a:lnTo>
                  <a:lnTo>
                    <a:pt x="100" y="11"/>
                  </a:lnTo>
                  <a:lnTo>
                    <a:pt x="102" y="9"/>
                  </a:lnTo>
                  <a:lnTo>
                    <a:pt x="106" y="8"/>
                  </a:lnTo>
                  <a:lnTo>
                    <a:pt x="108" y="6"/>
                  </a:lnTo>
                  <a:lnTo>
                    <a:pt x="109" y="2"/>
                  </a:lnTo>
                  <a:lnTo>
                    <a:pt x="111" y="0"/>
                  </a:lnTo>
                  <a:lnTo>
                    <a:pt x="119" y="0"/>
                  </a:lnTo>
                  <a:lnTo>
                    <a:pt x="127" y="0"/>
                  </a:lnTo>
                  <a:lnTo>
                    <a:pt x="129" y="15"/>
                  </a:lnTo>
                  <a:lnTo>
                    <a:pt x="131" y="29"/>
                  </a:lnTo>
                  <a:lnTo>
                    <a:pt x="134" y="31"/>
                  </a:lnTo>
                  <a:lnTo>
                    <a:pt x="136" y="34"/>
                  </a:lnTo>
                  <a:lnTo>
                    <a:pt x="146" y="36"/>
                  </a:lnTo>
                  <a:lnTo>
                    <a:pt x="156" y="38"/>
                  </a:lnTo>
                  <a:lnTo>
                    <a:pt x="156" y="46"/>
                  </a:lnTo>
                  <a:lnTo>
                    <a:pt x="156" y="54"/>
                  </a:lnTo>
                  <a:lnTo>
                    <a:pt x="154" y="56"/>
                  </a:lnTo>
                  <a:lnTo>
                    <a:pt x="152" y="57"/>
                  </a:lnTo>
                  <a:lnTo>
                    <a:pt x="148" y="59"/>
                  </a:lnTo>
                  <a:lnTo>
                    <a:pt x="146" y="63"/>
                  </a:lnTo>
                  <a:lnTo>
                    <a:pt x="144" y="65"/>
                  </a:lnTo>
                  <a:lnTo>
                    <a:pt x="140" y="67"/>
                  </a:lnTo>
                  <a:lnTo>
                    <a:pt x="134" y="69"/>
                  </a:lnTo>
                  <a:lnTo>
                    <a:pt x="127" y="73"/>
                  </a:lnTo>
                  <a:lnTo>
                    <a:pt x="125" y="75"/>
                  </a:lnTo>
                  <a:lnTo>
                    <a:pt x="123" y="79"/>
                  </a:lnTo>
                  <a:lnTo>
                    <a:pt x="119" y="104"/>
                  </a:lnTo>
                  <a:lnTo>
                    <a:pt x="117" y="130"/>
                  </a:lnTo>
                  <a:lnTo>
                    <a:pt x="115" y="132"/>
                  </a:lnTo>
                  <a:lnTo>
                    <a:pt x="111" y="136"/>
                  </a:lnTo>
                  <a:lnTo>
                    <a:pt x="109" y="138"/>
                  </a:lnTo>
                  <a:lnTo>
                    <a:pt x="108" y="140"/>
                  </a:lnTo>
                  <a:lnTo>
                    <a:pt x="106" y="142"/>
                  </a:lnTo>
                  <a:lnTo>
                    <a:pt x="102" y="146"/>
                  </a:lnTo>
                  <a:lnTo>
                    <a:pt x="98" y="146"/>
                  </a:lnTo>
                  <a:lnTo>
                    <a:pt x="92" y="146"/>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63" name="Freeform 330"/>
            <p:cNvSpPr>
              <a:spLocks/>
            </p:cNvSpPr>
            <p:nvPr>
              <p:custDataLst>
                <p:tags r:id="rId47"/>
              </p:custDataLst>
            </p:nvPr>
          </p:nvSpPr>
          <p:spPr bwMode="gray">
            <a:xfrm>
              <a:off x="942975" y="4044766"/>
              <a:ext cx="269875" cy="247650"/>
            </a:xfrm>
            <a:custGeom>
              <a:avLst/>
              <a:gdLst>
                <a:gd name="T0" fmla="*/ 2147483647 w 173"/>
                <a:gd name="T1" fmla="*/ 2147483647 h 165"/>
                <a:gd name="T2" fmla="*/ 2147483647 w 173"/>
                <a:gd name="T3" fmla="*/ 2147483647 h 165"/>
                <a:gd name="T4" fmla="*/ 2147483647 w 173"/>
                <a:gd name="T5" fmla="*/ 2147483647 h 165"/>
                <a:gd name="T6" fmla="*/ 2147483647 w 173"/>
                <a:gd name="T7" fmla="*/ 2147483647 h 165"/>
                <a:gd name="T8" fmla="*/ 2147483647 w 173"/>
                <a:gd name="T9" fmla="*/ 2147483647 h 165"/>
                <a:gd name="T10" fmla="*/ 2147483647 w 173"/>
                <a:gd name="T11" fmla="*/ 2147483647 h 165"/>
                <a:gd name="T12" fmla="*/ 2147483647 w 173"/>
                <a:gd name="T13" fmla="*/ 2147483647 h 165"/>
                <a:gd name="T14" fmla="*/ 2147483647 w 173"/>
                <a:gd name="T15" fmla="*/ 2147483647 h 165"/>
                <a:gd name="T16" fmla="*/ 2147483647 w 173"/>
                <a:gd name="T17" fmla="*/ 2147483647 h 165"/>
                <a:gd name="T18" fmla="*/ 2147483647 w 173"/>
                <a:gd name="T19" fmla="*/ 2147483647 h 165"/>
                <a:gd name="T20" fmla="*/ 2147483647 w 173"/>
                <a:gd name="T21" fmla="*/ 2147483647 h 165"/>
                <a:gd name="T22" fmla="*/ 2147483647 w 173"/>
                <a:gd name="T23" fmla="*/ 2147483647 h 165"/>
                <a:gd name="T24" fmla="*/ 2147483647 w 173"/>
                <a:gd name="T25" fmla="*/ 2147483647 h 165"/>
                <a:gd name="T26" fmla="*/ 2147483647 w 173"/>
                <a:gd name="T27" fmla="*/ 2147483647 h 165"/>
                <a:gd name="T28" fmla="*/ 2147483647 w 173"/>
                <a:gd name="T29" fmla="*/ 2147483647 h 165"/>
                <a:gd name="T30" fmla="*/ 2147483647 w 173"/>
                <a:gd name="T31" fmla="*/ 2147483647 h 165"/>
                <a:gd name="T32" fmla="*/ 2147483647 w 173"/>
                <a:gd name="T33" fmla="*/ 2147483647 h 165"/>
                <a:gd name="T34" fmla="*/ 2147483647 w 173"/>
                <a:gd name="T35" fmla="*/ 2147483647 h 165"/>
                <a:gd name="T36" fmla="*/ 2147483647 w 173"/>
                <a:gd name="T37" fmla="*/ 2147483647 h 165"/>
                <a:gd name="T38" fmla="*/ 2147483647 w 173"/>
                <a:gd name="T39" fmla="*/ 2147483647 h 165"/>
                <a:gd name="T40" fmla="*/ 2147483647 w 173"/>
                <a:gd name="T41" fmla="*/ 2147483647 h 165"/>
                <a:gd name="T42" fmla="*/ 2147483647 w 173"/>
                <a:gd name="T43" fmla="*/ 2147483647 h 165"/>
                <a:gd name="T44" fmla="*/ 2147483647 w 173"/>
                <a:gd name="T45" fmla="*/ 2147483647 h 165"/>
                <a:gd name="T46" fmla="*/ 2147483647 w 173"/>
                <a:gd name="T47" fmla="*/ 0 h 165"/>
                <a:gd name="T48" fmla="*/ 2147483647 w 173"/>
                <a:gd name="T49" fmla="*/ 0 h 165"/>
                <a:gd name="T50" fmla="*/ 2147483647 w 173"/>
                <a:gd name="T51" fmla="*/ 2147483647 h 165"/>
                <a:gd name="T52" fmla="*/ 2147483647 w 173"/>
                <a:gd name="T53" fmla="*/ 2147483647 h 165"/>
                <a:gd name="T54" fmla="*/ 2147483647 w 173"/>
                <a:gd name="T55" fmla="*/ 2147483647 h 165"/>
                <a:gd name="T56" fmla="*/ 2147483647 w 173"/>
                <a:gd name="T57" fmla="*/ 2147483647 h 165"/>
                <a:gd name="T58" fmla="*/ 2147483647 w 173"/>
                <a:gd name="T59" fmla="*/ 2147483647 h 165"/>
                <a:gd name="T60" fmla="*/ 2147483647 w 173"/>
                <a:gd name="T61" fmla="*/ 2147483647 h 165"/>
                <a:gd name="T62" fmla="*/ 2147483647 w 173"/>
                <a:gd name="T63" fmla="*/ 2147483647 h 165"/>
                <a:gd name="T64" fmla="*/ 2147483647 w 173"/>
                <a:gd name="T65" fmla="*/ 2147483647 h 165"/>
                <a:gd name="T66" fmla="*/ 2147483647 w 173"/>
                <a:gd name="T67" fmla="*/ 2147483647 h 165"/>
                <a:gd name="T68" fmla="*/ 2147483647 w 173"/>
                <a:gd name="T69" fmla="*/ 2147483647 h 165"/>
                <a:gd name="T70" fmla="*/ 2147483647 w 173"/>
                <a:gd name="T71" fmla="*/ 2147483647 h 165"/>
                <a:gd name="T72" fmla="*/ 2147483647 w 173"/>
                <a:gd name="T73" fmla="*/ 2147483647 h 165"/>
                <a:gd name="T74" fmla="*/ 2147483647 w 173"/>
                <a:gd name="T75" fmla="*/ 2147483647 h 165"/>
                <a:gd name="T76" fmla="*/ 2147483647 w 173"/>
                <a:gd name="T77" fmla="*/ 2147483647 h 165"/>
                <a:gd name="T78" fmla="*/ 2147483647 w 173"/>
                <a:gd name="T79" fmla="*/ 2147483647 h 165"/>
                <a:gd name="T80" fmla="*/ 2147483647 w 173"/>
                <a:gd name="T81" fmla="*/ 2147483647 h 165"/>
                <a:gd name="T82" fmla="*/ 2147483647 w 173"/>
                <a:gd name="T83" fmla="*/ 2147483647 h 16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73"/>
                <a:gd name="T127" fmla="*/ 0 h 165"/>
                <a:gd name="T128" fmla="*/ 173 w 173"/>
                <a:gd name="T129" fmla="*/ 165 h 16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73" h="165">
                  <a:moveTo>
                    <a:pt x="150" y="165"/>
                  </a:moveTo>
                  <a:lnTo>
                    <a:pt x="148" y="162"/>
                  </a:lnTo>
                  <a:lnTo>
                    <a:pt x="144" y="160"/>
                  </a:lnTo>
                  <a:lnTo>
                    <a:pt x="142" y="158"/>
                  </a:lnTo>
                  <a:lnTo>
                    <a:pt x="141" y="154"/>
                  </a:lnTo>
                  <a:lnTo>
                    <a:pt x="137" y="152"/>
                  </a:lnTo>
                  <a:lnTo>
                    <a:pt x="135" y="150"/>
                  </a:lnTo>
                  <a:lnTo>
                    <a:pt x="127" y="148"/>
                  </a:lnTo>
                  <a:lnTo>
                    <a:pt x="121" y="144"/>
                  </a:lnTo>
                  <a:lnTo>
                    <a:pt x="117" y="142"/>
                  </a:lnTo>
                  <a:lnTo>
                    <a:pt x="116" y="140"/>
                  </a:lnTo>
                  <a:lnTo>
                    <a:pt x="104" y="138"/>
                  </a:lnTo>
                  <a:lnTo>
                    <a:pt x="93" y="137"/>
                  </a:lnTo>
                  <a:lnTo>
                    <a:pt x="89" y="133"/>
                  </a:lnTo>
                  <a:lnTo>
                    <a:pt x="87" y="131"/>
                  </a:lnTo>
                  <a:lnTo>
                    <a:pt x="85" y="127"/>
                  </a:lnTo>
                  <a:lnTo>
                    <a:pt x="81" y="125"/>
                  </a:lnTo>
                  <a:lnTo>
                    <a:pt x="79" y="123"/>
                  </a:lnTo>
                  <a:lnTo>
                    <a:pt x="77" y="121"/>
                  </a:lnTo>
                  <a:lnTo>
                    <a:pt x="70" y="117"/>
                  </a:lnTo>
                  <a:lnTo>
                    <a:pt x="64" y="115"/>
                  </a:lnTo>
                  <a:lnTo>
                    <a:pt x="60" y="114"/>
                  </a:lnTo>
                  <a:lnTo>
                    <a:pt x="58" y="112"/>
                  </a:lnTo>
                  <a:lnTo>
                    <a:pt x="56" y="110"/>
                  </a:lnTo>
                  <a:lnTo>
                    <a:pt x="52" y="106"/>
                  </a:lnTo>
                  <a:lnTo>
                    <a:pt x="50" y="104"/>
                  </a:lnTo>
                  <a:lnTo>
                    <a:pt x="48" y="102"/>
                  </a:lnTo>
                  <a:lnTo>
                    <a:pt x="39" y="98"/>
                  </a:lnTo>
                  <a:lnTo>
                    <a:pt x="29" y="96"/>
                  </a:lnTo>
                  <a:lnTo>
                    <a:pt x="29" y="92"/>
                  </a:lnTo>
                  <a:lnTo>
                    <a:pt x="29" y="87"/>
                  </a:lnTo>
                  <a:lnTo>
                    <a:pt x="22" y="73"/>
                  </a:lnTo>
                  <a:lnTo>
                    <a:pt x="14" y="58"/>
                  </a:lnTo>
                  <a:lnTo>
                    <a:pt x="6" y="43"/>
                  </a:lnTo>
                  <a:lnTo>
                    <a:pt x="0" y="29"/>
                  </a:lnTo>
                  <a:lnTo>
                    <a:pt x="4" y="29"/>
                  </a:lnTo>
                  <a:lnTo>
                    <a:pt x="10" y="29"/>
                  </a:lnTo>
                  <a:lnTo>
                    <a:pt x="10" y="23"/>
                  </a:lnTo>
                  <a:lnTo>
                    <a:pt x="10" y="20"/>
                  </a:lnTo>
                  <a:lnTo>
                    <a:pt x="10" y="14"/>
                  </a:lnTo>
                  <a:lnTo>
                    <a:pt x="10" y="10"/>
                  </a:lnTo>
                  <a:lnTo>
                    <a:pt x="14" y="10"/>
                  </a:lnTo>
                  <a:lnTo>
                    <a:pt x="20" y="10"/>
                  </a:lnTo>
                  <a:lnTo>
                    <a:pt x="23" y="10"/>
                  </a:lnTo>
                  <a:lnTo>
                    <a:pt x="29" y="10"/>
                  </a:lnTo>
                  <a:lnTo>
                    <a:pt x="33" y="4"/>
                  </a:lnTo>
                  <a:lnTo>
                    <a:pt x="39" y="0"/>
                  </a:lnTo>
                  <a:lnTo>
                    <a:pt x="43" y="0"/>
                  </a:lnTo>
                  <a:lnTo>
                    <a:pt x="48" y="0"/>
                  </a:lnTo>
                  <a:lnTo>
                    <a:pt x="75" y="0"/>
                  </a:lnTo>
                  <a:lnTo>
                    <a:pt x="102" y="0"/>
                  </a:lnTo>
                  <a:lnTo>
                    <a:pt x="104" y="2"/>
                  </a:lnTo>
                  <a:lnTo>
                    <a:pt x="106" y="4"/>
                  </a:lnTo>
                  <a:lnTo>
                    <a:pt x="108" y="18"/>
                  </a:lnTo>
                  <a:lnTo>
                    <a:pt x="112" y="29"/>
                  </a:lnTo>
                  <a:lnTo>
                    <a:pt x="114" y="31"/>
                  </a:lnTo>
                  <a:lnTo>
                    <a:pt x="116" y="33"/>
                  </a:lnTo>
                  <a:lnTo>
                    <a:pt x="123" y="37"/>
                  </a:lnTo>
                  <a:lnTo>
                    <a:pt x="131" y="39"/>
                  </a:lnTo>
                  <a:lnTo>
                    <a:pt x="133" y="41"/>
                  </a:lnTo>
                  <a:lnTo>
                    <a:pt x="135" y="43"/>
                  </a:lnTo>
                  <a:lnTo>
                    <a:pt x="137" y="50"/>
                  </a:lnTo>
                  <a:lnTo>
                    <a:pt x="141" y="58"/>
                  </a:lnTo>
                  <a:lnTo>
                    <a:pt x="142" y="60"/>
                  </a:lnTo>
                  <a:lnTo>
                    <a:pt x="144" y="64"/>
                  </a:lnTo>
                  <a:lnTo>
                    <a:pt x="148" y="79"/>
                  </a:lnTo>
                  <a:lnTo>
                    <a:pt x="150" y="96"/>
                  </a:lnTo>
                  <a:lnTo>
                    <a:pt x="152" y="98"/>
                  </a:lnTo>
                  <a:lnTo>
                    <a:pt x="154" y="102"/>
                  </a:lnTo>
                  <a:lnTo>
                    <a:pt x="158" y="104"/>
                  </a:lnTo>
                  <a:lnTo>
                    <a:pt x="160" y="106"/>
                  </a:lnTo>
                  <a:lnTo>
                    <a:pt x="162" y="110"/>
                  </a:lnTo>
                  <a:lnTo>
                    <a:pt x="164" y="112"/>
                  </a:lnTo>
                  <a:lnTo>
                    <a:pt x="165" y="119"/>
                  </a:lnTo>
                  <a:lnTo>
                    <a:pt x="169" y="125"/>
                  </a:lnTo>
                  <a:lnTo>
                    <a:pt x="171" y="127"/>
                  </a:lnTo>
                  <a:lnTo>
                    <a:pt x="173" y="131"/>
                  </a:lnTo>
                  <a:lnTo>
                    <a:pt x="173" y="135"/>
                  </a:lnTo>
                  <a:lnTo>
                    <a:pt x="173" y="140"/>
                  </a:lnTo>
                  <a:lnTo>
                    <a:pt x="171" y="142"/>
                  </a:lnTo>
                  <a:lnTo>
                    <a:pt x="169" y="144"/>
                  </a:lnTo>
                  <a:lnTo>
                    <a:pt x="162" y="152"/>
                  </a:lnTo>
                  <a:lnTo>
                    <a:pt x="154" y="160"/>
                  </a:lnTo>
                  <a:lnTo>
                    <a:pt x="152" y="162"/>
                  </a:lnTo>
                  <a:lnTo>
                    <a:pt x="150" y="165"/>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64" name="Freeform 331"/>
            <p:cNvSpPr>
              <a:spLocks/>
            </p:cNvSpPr>
            <p:nvPr>
              <p:custDataLst>
                <p:tags r:id="rId48"/>
              </p:custDataLst>
            </p:nvPr>
          </p:nvSpPr>
          <p:spPr bwMode="gray">
            <a:xfrm>
              <a:off x="1425575" y="4030478"/>
              <a:ext cx="285750" cy="230188"/>
            </a:xfrm>
            <a:custGeom>
              <a:avLst/>
              <a:gdLst>
                <a:gd name="T0" fmla="*/ 2147483647 w 185"/>
                <a:gd name="T1" fmla="*/ 2147483647 h 153"/>
                <a:gd name="T2" fmla="*/ 2147483647 w 185"/>
                <a:gd name="T3" fmla="*/ 2147483647 h 153"/>
                <a:gd name="T4" fmla="*/ 2147483647 w 185"/>
                <a:gd name="T5" fmla="*/ 2147483647 h 153"/>
                <a:gd name="T6" fmla="*/ 2147483647 w 185"/>
                <a:gd name="T7" fmla="*/ 2147483647 h 153"/>
                <a:gd name="T8" fmla="*/ 2147483647 w 185"/>
                <a:gd name="T9" fmla="*/ 2147483647 h 153"/>
                <a:gd name="T10" fmla="*/ 2147483647 w 185"/>
                <a:gd name="T11" fmla="*/ 2147483647 h 153"/>
                <a:gd name="T12" fmla="*/ 2147483647 w 185"/>
                <a:gd name="T13" fmla="*/ 2147483647 h 153"/>
                <a:gd name="T14" fmla="*/ 2147483647 w 185"/>
                <a:gd name="T15" fmla="*/ 2147483647 h 153"/>
                <a:gd name="T16" fmla="*/ 2147483647 w 185"/>
                <a:gd name="T17" fmla="*/ 2147483647 h 153"/>
                <a:gd name="T18" fmla="*/ 2147483647 w 185"/>
                <a:gd name="T19" fmla="*/ 2147483647 h 153"/>
                <a:gd name="T20" fmla="*/ 2147483647 w 185"/>
                <a:gd name="T21" fmla="*/ 2147483647 h 153"/>
                <a:gd name="T22" fmla="*/ 2147483647 w 185"/>
                <a:gd name="T23" fmla="*/ 2147483647 h 153"/>
                <a:gd name="T24" fmla="*/ 0 w 185"/>
                <a:gd name="T25" fmla="*/ 2147483647 h 153"/>
                <a:gd name="T26" fmla="*/ 2147483647 w 185"/>
                <a:gd name="T27" fmla="*/ 2147483647 h 153"/>
                <a:gd name="T28" fmla="*/ 2147483647 w 185"/>
                <a:gd name="T29" fmla="*/ 2147483647 h 153"/>
                <a:gd name="T30" fmla="*/ 2147483647 w 185"/>
                <a:gd name="T31" fmla="*/ 2147483647 h 153"/>
                <a:gd name="T32" fmla="*/ 2147483647 w 185"/>
                <a:gd name="T33" fmla="*/ 2147483647 h 153"/>
                <a:gd name="T34" fmla="*/ 2147483647 w 185"/>
                <a:gd name="T35" fmla="*/ 2147483647 h 153"/>
                <a:gd name="T36" fmla="*/ 2147483647 w 185"/>
                <a:gd name="T37" fmla="*/ 2147483647 h 153"/>
                <a:gd name="T38" fmla="*/ 2147483647 w 185"/>
                <a:gd name="T39" fmla="*/ 0 h 153"/>
                <a:gd name="T40" fmla="*/ 2147483647 w 185"/>
                <a:gd name="T41" fmla="*/ 2147483647 h 153"/>
                <a:gd name="T42" fmla="*/ 2147483647 w 185"/>
                <a:gd name="T43" fmla="*/ 2147483647 h 153"/>
                <a:gd name="T44" fmla="*/ 2147483647 w 185"/>
                <a:gd name="T45" fmla="*/ 2147483647 h 153"/>
                <a:gd name="T46" fmla="*/ 2147483647 w 185"/>
                <a:gd name="T47" fmla="*/ 2147483647 h 153"/>
                <a:gd name="T48" fmla="*/ 2147483647 w 185"/>
                <a:gd name="T49" fmla="*/ 2147483647 h 153"/>
                <a:gd name="T50" fmla="*/ 2147483647 w 185"/>
                <a:gd name="T51" fmla="*/ 2147483647 h 153"/>
                <a:gd name="T52" fmla="*/ 2147483647 w 185"/>
                <a:gd name="T53" fmla="*/ 2147483647 h 153"/>
                <a:gd name="T54" fmla="*/ 2147483647 w 185"/>
                <a:gd name="T55" fmla="*/ 2147483647 h 153"/>
                <a:gd name="T56" fmla="*/ 2147483647 w 185"/>
                <a:gd name="T57" fmla="*/ 2147483647 h 153"/>
                <a:gd name="T58" fmla="*/ 2147483647 w 185"/>
                <a:gd name="T59" fmla="*/ 2147483647 h 153"/>
                <a:gd name="T60" fmla="*/ 2147483647 w 185"/>
                <a:gd name="T61" fmla="*/ 2147483647 h 153"/>
                <a:gd name="T62" fmla="*/ 2147483647 w 185"/>
                <a:gd name="T63" fmla="*/ 2147483647 h 153"/>
                <a:gd name="T64" fmla="*/ 2147483647 w 185"/>
                <a:gd name="T65" fmla="*/ 2147483647 h 153"/>
                <a:gd name="T66" fmla="*/ 2147483647 w 185"/>
                <a:gd name="T67" fmla="*/ 2147483647 h 153"/>
                <a:gd name="T68" fmla="*/ 2147483647 w 185"/>
                <a:gd name="T69" fmla="*/ 2147483647 h 153"/>
                <a:gd name="T70" fmla="*/ 2147483647 w 185"/>
                <a:gd name="T71" fmla="*/ 2147483647 h 153"/>
                <a:gd name="T72" fmla="*/ 2147483647 w 185"/>
                <a:gd name="T73" fmla="*/ 2147483647 h 153"/>
                <a:gd name="T74" fmla="*/ 2147483647 w 185"/>
                <a:gd name="T75" fmla="*/ 2147483647 h 153"/>
                <a:gd name="T76" fmla="*/ 2147483647 w 185"/>
                <a:gd name="T77" fmla="*/ 2147483647 h 153"/>
                <a:gd name="T78" fmla="*/ 2147483647 w 185"/>
                <a:gd name="T79" fmla="*/ 2147483647 h 153"/>
                <a:gd name="T80" fmla="*/ 2147483647 w 185"/>
                <a:gd name="T81" fmla="*/ 2147483647 h 153"/>
                <a:gd name="T82" fmla="*/ 2147483647 w 185"/>
                <a:gd name="T83" fmla="*/ 2147483647 h 153"/>
                <a:gd name="T84" fmla="*/ 2147483647 w 185"/>
                <a:gd name="T85" fmla="*/ 2147483647 h 153"/>
                <a:gd name="T86" fmla="*/ 2147483647 w 185"/>
                <a:gd name="T87" fmla="*/ 2147483647 h 153"/>
                <a:gd name="T88" fmla="*/ 2147483647 w 185"/>
                <a:gd name="T89" fmla="*/ 2147483647 h 15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85"/>
                <a:gd name="T136" fmla="*/ 0 h 153"/>
                <a:gd name="T137" fmla="*/ 185 w 185"/>
                <a:gd name="T138" fmla="*/ 153 h 15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85" h="153">
                  <a:moveTo>
                    <a:pt x="121" y="153"/>
                  </a:moveTo>
                  <a:lnTo>
                    <a:pt x="119" y="151"/>
                  </a:lnTo>
                  <a:lnTo>
                    <a:pt x="115" y="149"/>
                  </a:lnTo>
                  <a:lnTo>
                    <a:pt x="115" y="142"/>
                  </a:lnTo>
                  <a:lnTo>
                    <a:pt x="115" y="134"/>
                  </a:lnTo>
                  <a:lnTo>
                    <a:pt x="96" y="136"/>
                  </a:lnTo>
                  <a:lnTo>
                    <a:pt x="77" y="140"/>
                  </a:lnTo>
                  <a:lnTo>
                    <a:pt x="75" y="142"/>
                  </a:lnTo>
                  <a:lnTo>
                    <a:pt x="73" y="146"/>
                  </a:lnTo>
                  <a:lnTo>
                    <a:pt x="71" y="142"/>
                  </a:lnTo>
                  <a:lnTo>
                    <a:pt x="68" y="140"/>
                  </a:lnTo>
                  <a:lnTo>
                    <a:pt x="66" y="136"/>
                  </a:lnTo>
                  <a:lnTo>
                    <a:pt x="64" y="134"/>
                  </a:lnTo>
                  <a:lnTo>
                    <a:pt x="60" y="132"/>
                  </a:lnTo>
                  <a:lnTo>
                    <a:pt x="58" y="130"/>
                  </a:lnTo>
                  <a:lnTo>
                    <a:pt x="46" y="126"/>
                  </a:lnTo>
                  <a:lnTo>
                    <a:pt x="35" y="124"/>
                  </a:lnTo>
                  <a:lnTo>
                    <a:pt x="31" y="123"/>
                  </a:lnTo>
                  <a:lnTo>
                    <a:pt x="29" y="121"/>
                  </a:lnTo>
                  <a:lnTo>
                    <a:pt x="29" y="109"/>
                  </a:lnTo>
                  <a:lnTo>
                    <a:pt x="29" y="96"/>
                  </a:lnTo>
                  <a:lnTo>
                    <a:pt x="18" y="96"/>
                  </a:lnTo>
                  <a:lnTo>
                    <a:pt x="4" y="96"/>
                  </a:lnTo>
                  <a:lnTo>
                    <a:pt x="2" y="94"/>
                  </a:lnTo>
                  <a:lnTo>
                    <a:pt x="0" y="92"/>
                  </a:lnTo>
                  <a:lnTo>
                    <a:pt x="0" y="67"/>
                  </a:lnTo>
                  <a:lnTo>
                    <a:pt x="0" y="42"/>
                  </a:lnTo>
                  <a:lnTo>
                    <a:pt x="2" y="40"/>
                  </a:lnTo>
                  <a:lnTo>
                    <a:pt x="4" y="38"/>
                  </a:lnTo>
                  <a:lnTo>
                    <a:pt x="8" y="30"/>
                  </a:lnTo>
                  <a:lnTo>
                    <a:pt x="10" y="23"/>
                  </a:lnTo>
                  <a:lnTo>
                    <a:pt x="12" y="21"/>
                  </a:lnTo>
                  <a:lnTo>
                    <a:pt x="16" y="19"/>
                  </a:lnTo>
                  <a:lnTo>
                    <a:pt x="20" y="13"/>
                  </a:lnTo>
                  <a:lnTo>
                    <a:pt x="25" y="7"/>
                  </a:lnTo>
                  <a:lnTo>
                    <a:pt x="52" y="5"/>
                  </a:lnTo>
                  <a:lnTo>
                    <a:pt x="77" y="4"/>
                  </a:lnTo>
                  <a:lnTo>
                    <a:pt x="81" y="2"/>
                  </a:lnTo>
                  <a:lnTo>
                    <a:pt x="83" y="0"/>
                  </a:lnTo>
                  <a:lnTo>
                    <a:pt x="87" y="0"/>
                  </a:lnTo>
                  <a:lnTo>
                    <a:pt x="92" y="0"/>
                  </a:lnTo>
                  <a:lnTo>
                    <a:pt x="94" y="2"/>
                  </a:lnTo>
                  <a:lnTo>
                    <a:pt x="96" y="4"/>
                  </a:lnTo>
                  <a:lnTo>
                    <a:pt x="100" y="7"/>
                  </a:lnTo>
                  <a:lnTo>
                    <a:pt x="106" y="7"/>
                  </a:lnTo>
                  <a:lnTo>
                    <a:pt x="114" y="7"/>
                  </a:lnTo>
                  <a:lnTo>
                    <a:pt x="115" y="4"/>
                  </a:lnTo>
                  <a:lnTo>
                    <a:pt x="119" y="2"/>
                  </a:lnTo>
                  <a:lnTo>
                    <a:pt x="121" y="0"/>
                  </a:lnTo>
                  <a:lnTo>
                    <a:pt x="131" y="4"/>
                  </a:lnTo>
                  <a:lnTo>
                    <a:pt x="140" y="9"/>
                  </a:lnTo>
                  <a:lnTo>
                    <a:pt x="142" y="11"/>
                  </a:lnTo>
                  <a:lnTo>
                    <a:pt x="146" y="13"/>
                  </a:lnTo>
                  <a:lnTo>
                    <a:pt x="148" y="15"/>
                  </a:lnTo>
                  <a:lnTo>
                    <a:pt x="150" y="19"/>
                  </a:lnTo>
                  <a:lnTo>
                    <a:pt x="152" y="21"/>
                  </a:lnTo>
                  <a:lnTo>
                    <a:pt x="156" y="23"/>
                  </a:lnTo>
                  <a:lnTo>
                    <a:pt x="158" y="27"/>
                  </a:lnTo>
                  <a:lnTo>
                    <a:pt x="160" y="29"/>
                  </a:lnTo>
                  <a:lnTo>
                    <a:pt x="162" y="30"/>
                  </a:lnTo>
                  <a:lnTo>
                    <a:pt x="165" y="32"/>
                  </a:lnTo>
                  <a:lnTo>
                    <a:pt x="167" y="40"/>
                  </a:lnTo>
                  <a:lnTo>
                    <a:pt x="169" y="48"/>
                  </a:lnTo>
                  <a:lnTo>
                    <a:pt x="171" y="50"/>
                  </a:lnTo>
                  <a:lnTo>
                    <a:pt x="175" y="52"/>
                  </a:lnTo>
                  <a:lnTo>
                    <a:pt x="177" y="65"/>
                  </a:lnTo>
                  <a:lnTo>
                    <a:pt x="179" y="76"/>
                  </a:lnTo>
                  <a:lnTo>
                    <a:pt x="181" y="78"/>
                  </a:lnTo>
                  <a:lnTo>
                    <a:pt x="185" y="80"/>
                  </a:lnTo>
                  <a:lnTo>
                    <a:pt x="185" y="96"/>
                  </a:lnTo>
                  <a:lnTo>
                    <a:pt x="185" y="111"/>
                  </a:lnTo>
                  <a:lnTo>
                    <a:pt x="181" y="113"/>
                  </a:lnTo>
                  <a:lnTo>
                    <a:pt x="179" y="115"/>
                  </a:lnTo>
                  <a:lnTo>
                    <a:pt x="177" y="119"/>
                  </a:lnTo>
                  <a:lnTo>
                    <a:pt x="175" y="121"/>
                  </a:lnTo>
                  <a:lnTo>
                    <a:pt x="171" y="123"/>
                  </a:lnTo>
                  <a:lnTo>
                    <a:pt x="169" y="124"/>
                  </a:lnTo>
                  <a:lnTo>
                    <a:pt x="167" y="126"/>
                  </a:lnTo>
                  <a:lnTo>
                    <a:pt x="165" y="130"/>
                  </a:lnTo>
                  <a:lnTo>
                    <a:pt x="162" y="132"/>
                  </a:lnTo>
                  <a:lnTo>
                    <a:pt x="160" y="134"/>
                  </a:lnTo>
                  <a:lnTo>
                    <a:pt x="158" y="136"/>
                  </a:lnTo>
                  <a:lnTo>
                    <a:pt x="156" y="140"/>
                  </a:lnTo>
                  <a:lnTo>
                    <a:pt x="152" y="142"/>
                  </a:lnTo>
                  <a:lnTo>
                    <a:pt x="150" y="146"/>
                  </a:lnTo>
                  <a:lnTo>
                    <a:pt x="142" y="147"/>
                  </a:lnTo>
                  <a:lnTo>
                    <a:pt x="137" y="149"/>
                  </a:lnTo>
                  <a:lnTo>
                    <a:pt x="133" y="151"/>
                  </a:lnTo>
                  <a:lnTo>
                    <a:pt x="131" y="153"/>
                  </a:lnTo>
                  <a:lnTo>
                    <a:pt x="127" y="153"/>
                  </a:lnTo>
                  <a:lnTo>
                    <a:pt x="121" y="153"/>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65" name="Freeform 332"/>
            <p:cNvSpPr>
              <a:spLocks/>
            </p:cNvSpPr>
            <p:nvPr>
              <p:custDataLst>
                <p:tags r:id="rId49"/>
              </p:custDataLst>
            </p:nvPr>
          </p:nvSpPr>
          <p:spPr bwMode="gray">
            <a:xfrm>
              <a:off x="1262063" y="3947928"/>
              <a:ext cx="193675" cy="196850"/>
            </a:xfrm>
            <a:custGeom>
              <a:avLst/>
              <a:gdLst>
                <a:gd name="T0" fmla="*/ 2147483647 w 126"/>
                <a:gd name="T1" fmla="*/ 2147483647 h 134"/>
                <a:gd name="T2" fmla="*/ 2147483647 w 126"/>
                <a:gd name="T3" fmla="*/ 2147483647 h 134"/>
                <a:gd name="T4" fmla="*/ 2147483647 w 126"/>
                <a:gd name="T5" fmla="*/ 2147483647 h 134"/>
                <a:gd name="T6" fmla="*/ 2147483647 w 126"/>
                <a:gd name="T7" fmla="*/ 2147483647 h 134"/>
                <a:gd name="T8" fmla="*/ 2147483647 w 126"/>
                <a:gd name="T9" fmla="*/ 2147483647 h 134"/>
                <a:gd name="T10" fmla="*/ 2147483647 w 126"/>
                <a:gd name="T11" fmla="*/ 2147483647 h 134"/>
                <a:gd name="T12" fmla="*/ 2147483647 w 126"/>
                <a:gd name="T13" fmla="*/ 2147483647 h 134"/>
                <a:gd name="T14" fmla="*/ 2147483647 w 126"/>
                <a:gd name="T15" fmla="*/ 2147483647 h 134"/>
                <a:gd name="T16" fmla="*/ 2147483647 w 126"/>
                <a:gd name="T17" fmla="*/ 2147483647 h 134"/>
                <a:gd name="T18" fmla="*/ 2147483647 w 126"/>
                <a:gd name="T19" fmla="*/ 2147483647 h 134"/>
                <a:gd name="T20" fmla="*/ 2147483647 w 126"/>
                <a:gd name="T21" fmla="*/ 2147483647 h 134"/>
                <a:gd name="T22" fmla="*/ 2147483647 w 126"/>
                <a:gd name="T23" fmla="*/ 2147483647 h 134"/>
                <a:gd name="T24" fmla="*/ 2147483647 w 126"/>
                <a:gd name="T25" fmla="*/ 2147483647 h 134"/>
                <a:gd name="T26" fmla="*/ 2147483647 w 126"/>
                <a:gd name="T27" fmla="*/ 2147483647 h 134"/>
                <a:gd name="T28" fmla="*/ 0 w 126"/>
                <a:gd name="T29" fmla="*/ 2147483647 h 134"/>
                <a:gd name="T30" fmla="*/ 2147483647 w 126"/>
                <a:gd name="T31" fmla="*/ 2147483647 h 134"/>
                <a:gd name="T32" fmla="*/ 2147483647 w 126"/>
                <a:gd name="T33" fmla="*/ 2147483647 h 134"/>
                <a:gd name="T34" fmla="*/ 2147483647 w 126"/>
                <a:gd name="T35" fmla="*/ 2147483647 h 134"/>
                <a:gd name="T36" fmla="*/ 2147483647 w 126"/>
                <a:gd name="T37" fmla="*/ 2147483647 h 134"/>
                <a:gd name="T38" fmla="*/ 2147483647 w 126"/>
                <a:gd name="T39" fmla="*/ 2147483647 h 134"/>
                <a:gd name="T40" fmla="*/ 2147483647 w 126"/>
                <a:gd name="T41" fmla="*/ 2147483647 h 134"/>
                <a:gd name="T42" fmla="*/ 2147483647 w 126"/>
                <a:gd name="T43" fmla="*/ 2147483647 h 134"/>
                <a:gd name="T44" fmla="*/ 2147483647 w 126"/>
                <a:gd name="T45" fmla="*/ 0 h 134"/>
                <a:gd name="T46" fmla="*/ 2147483647 w 126"/>
                <a:gd name="T47" fmla="*/ 0 h 134"/>
                <a:gd name="T48" fmla="*/ 2147483647 w 126"/>
                <a:gd name="T49" fmla="*/ 0 h 134"/>
                <a:gd name="T50" fmla="*/ 2147483647 w 126"/>
                <a:gd name="T51" fmla="*/ 0 h 134"/>
                <a:gd name="T52" fmla="*/ 2147483647 w 126"/>
                <a:gd name="T53" fmla="*/ 0 h 134"/>
                <a:gd name="T54" fmla="*/ 2147483647 w 126"/>
                <a:gd name="T55" fmla="*/ 2147483647 h 134"/>
                <a:gd name="T56" fmla="*/ 2147483647 w 126"/>
                <a:gd name="T57" fmla="*/ 2147483647 h 134"/>
                <a:gd name="T58" fmla="*/ 2147483647 w 126"/>
                <a:gd name="T59" fmla="*/ 2147483647 h 134"/>
                <a:gd name="T60" fmla="*/ 2147483647 w 126"/>
                <a:gd name="T61" fmla="*/ 2147483647 h 134"/>
                <a:gd name="T62" fmla="*/ 2147483647 w 126"/>
                <a:gd name="T63" fmla="*/ 2147483647 h 134"/>
                <a:gd name="T64" fmla="*/ 2147483647 w 126"/>
                <a:gd name="T65" fmla="*/ 2147483647 h 134"/>
                <a:gd name="T66" fmla="*/ 2147483647 w 126"/>
                <a:gd name="T67" fmla="*/ 2147483647 h 134"/>
                <a:gd name="T68" fmla="*/ 2147483647 w 126"/>
                <a:gd name="T69" fmla="*/ 2147483647 h 134"/>
                <a:gd name="T70" fmla="*/ 2147483647 w 126"/>
                <a:gd name="T71" fmla="*/ 2147483647 h 134"/>
                <a:gd name="T72" fmla="*/ 2147483647 w 126"/>
                <a:gd name="T73" fmla="*/ 2147483647 h 134"/>
                <a:gd name="T74" fmla="*/ 2147483647 w 126"/>
                <a:gd name="T75" fmla="*/ 2147483647 h 134"/>
                <a:gd name="T76" fmla="*/ 2147483647 w 126"/>
                <a:gd name="T77" fmla="*/ 2147483647 h 134"/>
                <a:gd name="T78" fmla="*/ 2147483647 w 126"/>
                <a:gd name="T79" fmla="*/ 2147483647 h 134"/>
                <a:gd name="T80" fmla="*/ 2147483647 w 126"/>
                <a:gd name="T81" fmla="*/ 2147483647 h 134"/>
                <a:gd name="T82" fmla="*/ 2147483647 w 126"/>
                <a:gd name="T83" fmla="*/ 2147483647 h 134"/>
                <a:gd name="T84" fmla="*/ 2147483647 w 126"/>
                <a:gd name="T85" fmla="*/ 2147483647 h 134"/>
                <a:gd name="T86" fmla="*/ 2147483647 w 126"/>
                <a:gd name="T87" fmla="*/ 2147483647 h 134"/>
                <a:gd name="T88" fmla="*/ 2147483647 w 126"/>
                <a:gd name="T89" fmla="*/ 2147483647 h 134"/>
                <a:gd name="T90" fmla="*/ 2147483647 w 126"/>
                <a:gd name="T91" fmla="*/ 2147483647 h 134"/>
                <a:gd name="T92" fmla="*/ 2147483647 w 126"/>
                <a:gd name="T93" fmla="*/ 2147483647 h 134"/>
                <a:gd name="T94" fmla="*/ 2147483647 w 126"/>
                <a:gd name="T95" fmla="*/ 2147483647 h 134"/>
                <a:gd name="T96" fmla="*/ 2147483647 w 126"/>
                <a:gd name="T97" fmla="*/ 2147483647 h 134"/>
                <a:gd name="T98" fmla="*/ 2147483647 w 126"/>
                <a:gd name="T99" fmla="*/ 2147483647 h 134"/>
                <a:gd name="T100" fmla="*/ 2147483647 w 126"/>
                <a:gd name="T101" fmla="*/ 2147483647 h 134"/>
                <a:gd name="T102" fmla="*/ 2147483647 w 126"/>
                <a:gd name="T103" fmla="*/ 2147483647 h 134"/>
                <a:gd name="T104" fmla="*/ 2147483647 w 126"/>
                <a:gd name="T105" fmla="*/ 2147483647 h 134"/>
                <a:gd name="T106" fmla="*/ 2147483647 w 126"/>
                <a:gd name="T107" fmla="*/ 2147483647 h 134"/>
                <a:gd name="T108" fmla="*/ 2147483647 w 126"/>
                <a:gd name="T109" fmla="*/ 2147483647 h 134"/>
                <a:gd name="T110" fmla="*/ 2147483647 w 126"/>
                <a:gd name="T111" fmla="*/ 2147483647 h 134"/>
                <a:gd name="T112" fmla="*/ 2147483647 w 126"/>
                <a:gd name="T113" fmla="*/ 2147483647 h 134"/>
                <a:gd name="T114" fmla="*/ 2147483647 w 126"/>
                <a:gd name="T115" fmla="*/ 2147483647 h 134"/>
                <a:gd name="T116" fmla="*/ 2147483647 w 126"/>
                <a:gd name="T117" fmla="*/ 2147483647 h 134"/>
                <a:gd name="T118" fmla="*/ 2147483647 w 126"/>
                <a:gd name="T119" fmla="*/ 2147483647 h 134"/>
                <a:gd name="T120" fmla="*/ 2147483647 w 126"/>
                <a:gd name="T121" fmla="*/ 2147483647 h 1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6"/>
                <a:gd name="T184" fmla="*/ 0 h 134"/>
                <a:gd name="T185" fmla="*/ 126 w 126"/>
                <a:gd name="T186" fmla="*/ 134 h 1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6" h="134">
                  <a:moveTo>
                    <a:pt x="32" y="125"/>
                  </a:moveTo>
                  <a:lnTo>
                    <a:pt x="31" y="123"/>
                  </a:lnTo>
                  <a:lnTo>
                    <a:pt x="29" y="121"/>
                  </a:lnTo>
                  <a:lnTo>
                    <a:pt x="25" y="104"/>
                  </a:lnTo>
                  <a:lnTo>
                    <a:pt x="23" y="87"/>
                  </a:lnTo>
                  <a:lnTo>
                    <a:pt x="21" y="85"/>
                  </a:lnTo>
                  <a:lnTo>
                    <a:pt x="19" y="81"/>
                  </a:lnTo>
                  <a:lnTo>
                    <a:pt x="15" y="69"/>
                  </a:lnTo>
                  <a:lnTo>
                    <a:pt x="13" y="58"/>
                  </a:lnTo>
                  <a:lnTo>
                    <a:pt x="11" y="54"/>
                  </a:lnTo>
                  <a:lnTo>
                    <a:pt x="9" y="52"/>
                  </a:lnTo>
                  <a:lnTo>
                    <a:pt x="6" y="44"/>
                  </a:lnTo>
                  <a:lnTo>
                    <a:pt x="4" y="39"/>
                  </a:lnTo>
                  <a:lnTo>
                    <a:pt x="2" y="35"/>
                  </a:lnTo>
                  <a:lnTo>
                    <a:pt x="0" y="33"/>
                  </a:lnTo>
                  <a:lnTo>
                    <a:pt x="4" y="23"/>
                  </a:lnTo>
                  <a:lnTo>
                    <a:pt x="9" y="14"/>
                  </a:lnTo>
                  <a:lnTo>
                    <a:pt x="11" y="12"/>
                  </a:lnTo>
                  <a:lnTo>
                    <a:pt x="13" y="10"/>
                  </a:lnTo>
                  <a:lnTo>
                    <a:pt x="15" y="6"/>
                  </a:lnTo>
                  <a:lnTo>
                    <a:pt x="19" y="4"/>
                  </a:lnTo>
                  <a:lnTo>
                    <a:pt x="21" y="2"/>
                  </a:lnTo>
                  <a:lnTo>
                    <a:pt x="23" y="0"/>
                  </a:lnTo>
                  <a:lnTo>
                    <a:pt x="42" y="0"/>
                  </a:lnTo>
                  <a:lnTo>
                    <a:pt x="61" y="0"/>
                  </a:lnTo>
                  <a:lnTo>
                    <a:pt x="80" y="0"/>
                  </a:lnTo>
                  <a:lnTo>
                    <a:pt x="100" y="0"/>
                  </a:lnTo>
                  <a:lnTo>
                    <a:pt x="103" y="2"/>
                  </a:lnTo>
                  <a:lnTo>
                    <a:pt x="105" y="4"/>
                  </a:lnTo>
                  <a:lnTo>
                    <a:pt x="107" y="6"/>
                  </a:lnTo>
                  <a:lnTo>
                    <a:pt x="109" y="10"/>
                  </a:lnTo>
                  <a:lnTo>
                    <a:pt x="113" y="12"/>
                  </a:lnTo>
                  <a:lnTo>
                    <a:pt x="115" y="14"/>
                  </a:lnTo>
                  <a:lnTo>
                    <a:pt x="117" y="16"/>
                  </a:lnTo>
                  <a:lnTo>
                    <a:pt x="121" y="19"/>
                  </a:lnTo>
                  <a:lnTo>
                    <a:pt x="123" y="21"/>
                  </a:lnTo>
                  <a:lnTo>
                    <a:pt x="125" y="23"/>
                  </a:lnTo>
                  <a:lnTo>
                    <a:pt x="125" y="40"/>
                  </a:lnTo>
                  <a:lnTo>
                    <a:pt x="126" y="58"/>
                  </a:lnTo>
                  <a:lnTo>
                    <a:pt x="121" y="65"/>
                  </a:lnTo>
                  <a:lnTo>
                    <a:pt x="115" y="71"/>
                  </a:lnTo>
                  <a:lnTo>
                    <a:pt x="113" y="73"/>
                  </a:lnTo>
                  <a:lnTo>
                    <a:pt x="109" y="77"/>
                  </a:lnTo>
                  <a:lnTo>
                    <a:pt x="107" y="83"/>
                  </a:lnTo>
                  <a:lnTo>
                    <a:pt x="105" y="90"/>
                  </a:lnTo>
                  <a:lnTo>
                    <a:pt x="103" y="94"/>
                  </a:lnTo>
                  <a:lnTo>
                    <a:pt x="100" y="96"/>
                  </a:lnTo>
                  <a:lnTo>
                    <a:pt x="98" y="106"/>
                  </a:lnTo>
                  <a:lnTo>
                    <a:pt x="96" y="115"/>
                  </a:lnTo>
                  <a:lnTo>
                    <a:pt x="84" y="115"/>
                  </a:lnTo>
                  <a:lnTo>
                    <a:pt x="78" y="115"/>
                  </a:lnTo>
                  <a:lnTo>
                    <a:pt x="77" y="117"/>
                  </a:lnTo>
                  <a:lnTo>
                    <a:pt x="77" y="121"/>
                  </a:lnTo>
                  <a:lnTo>
                    <a:pt x="75" y="123"/>
                  </a:lnTo>
                  <a:lnTo>
                    <a:pt x="71" y="125"/>
                  </a:lnTo>
                  <a:lnTo>
                    <a:pt x="69" y="127"/>
                  </a:lnTo>
                  <a:lnTo>
                    <a:pt x="67" y="131"/>
                  </a:lnTo>
                  <a:lnTo>
                    <a:pt x="65" y="133"/>
                  </a:lnTo>
                  <a:lnTo>
                    <a:pt x="61" y="134"/>
                  </a:lnTo>
                  <a:lnTo>
                    <a:pt x="48" y="129"/>
                  </a:lnTo>
                  <a:lnTo>
                    <a:pt x="32" y="125"/>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66" name="Freeform 333"/>
            <p:cNvSpPr>
              <a:spLocks/>
            </p:cNvSpPr>
            <p:nvPr>
              <p:custDataLst>
                <p:tags r:id="rId50"/>
              </p:custDataLst>
            </p:nvPr>
          </p:nvSpPr>
          <p:spPr bwMode="gray">
            <a:xfrm>
              <a:off x="1604963" y="3827278"/>
              <a:ext cx="238125" cy="274638"/>
            </a:xfrm>
            <a:custGeom>
              <a:avLst/>
              <a:gdLst>
                <a:gd name="T0" fmla="*/ 2147483647 w 156"/>
                <a:gd name="T1" fmla="*/ 2147483647 h 184"/>
                <a:gd name="T2" fmla="*/ 2147483647 w 156"/>
                <a:gd name="T3" fmla="*/ 2147483647 h 184"/>
                <a:gd name="T4" fmla="*/ 2147483647 w 156"/>
                <a:gd name="T5" fmla="*/ 2147483647 h 184"/>
                <a:gd name="T6" fmla="*/ 2147483647 w 156"/>
                <a:gd name="T7" fmla="*/ 2147483647 h 184"/>
                <a:gd name="T8" fmla="*/ 2147483647 w 156"/>
                <a:gd name="T9" fmla="*/ 2147483647 h 184"/>
                <a:gd name="T10" fmla="*/ 2147483647 w 156"/>
                <a:gd name="T11" fmla="*/ 2147483647 h 184"/>
                <a:gd name="T12" fmla="*/ 2147483647 w 156"/>
                <a:gd name="T13" fmla="*/ 2147483647 h 184"/>
                <a:gd name="T14" fmla="*/ 2147483647 w 156"/>
                <a:gd name="T15" fmla="*/ 2147483647 h 184"/>
                <a:gd name="T16" fmla="*/ 2147483647 w 156"/>
                <a:gd name="T17" fmla="*/ 2147483647 h 184"/>
                <a:gd name="T18" fmla="*/ 2147483647 w 156"/>
                <a:gd name="T19" fmla="*/ 2147483647 h 184"/>
                <a:gd name="T20" fmla="*/ 2147483647 w 156"/>
                <a:gd name="T21" fmla="*/ 2147483647 h 184"/>
                <a:gd name="T22" fmla="*/ 2147483647 w 156"/>
                <a:gd name="T23" fmla="*/ 2147483647 h 184"/>
                <a:gd name="T24" fmla="*/ 2147483647 w 156"/>
                <a:gd name="T25" fmla="*/ 2147483647 h 184"/>
                <a:gd name="T26" fmla="*/ 2147483647 w 156"/>
                <a:gd name="T27" fmla="*/ 2147483647 h 184"/>
                <a:gd name="T28" fmla="*/ 2147483647 w 156"/>
                <a:gd name="T29" fmla="*/ 2147483647 h 184"/>
                <a:gd name="T30" fmla="*/ 2147483647 w 156"/>
                <a:gd name="T31" fmla="*/ 2147483647 h 184"/>
                <a:gd name="T32" fmla="*/ 0 w 156"/>
                <a:gd name="T33" fmla="*/ 2147483647 h 184"/>
                <a:gd name="T34" fmla="*/ 2147483647 w 156"/>
                <a:gd name="T35" fmla="*/ 2147483647 h 184"/>
                <a:gd name="T36" fmla="*/ 2147483647 w 156"/>
                <a:gd name="T37" fmla="*/ 2147483647 h 184"/>
                <a:gd name="T38" fmla="*/ 2147483647 w 156"/>
                <a:gd name="T39" fmla="*/ 0 h 184"/>
                <a:gd name="T40" fmla="*/ 2147483647 w 156"/>
                <a:gd name="T41" fmla="*/ 2147483647 h 184"/>
                <a:gd name="T42" fmla="*/ 2147483647 w 156"/>
                <a:gd name="T43" fmla="*/ 2147483647 h 184"/>
                <a:gd name="T44" fmla="*/ 2147483647 w 156"/>
                <a:gd name="T45" fmla="*/ 2147483647 h 184"/>
                <a:gd name="T46" fmla="*/ 2147483647 w 156"/>
                <a:gd name="T47" fmla="*/ 2147483647 h 184"/>
                <a:gd name="T48" fmla="*/ 2147483647 w 156"/>
                <a:gd name="T49" fmla="*/ 2147483647 h 184"/>
                <a:gd name="T50" fmla="*/ 2147483647 w 156"/>
                <a:gd name="T51" fmla="*/ 2147483647 h 184"/>
                <a:gd name="T52" fmla="*/ 2147483647 w 156"/>
                <a:gd name="T53" fmla="*/ 2147483647 h 184"/>
                <a:gd name="T54" fmla="*/ 2147483647 w 156"/>
                <a:gd name="T55" fmla="*/ 2147483647 h 184"/>
                <a:gd name="T56" fmla="*/ 2147483647 w 156"/>
                <a:gd name="T57" fmla="*/ 2147483647 h 184"/>
                <a:gd name="T58" fmla="*/ 2147483647 w 156"/>
                <a:gd name="T59" fmla="*/ 2147483647 h 184"/>
                <a:gd name="T60" fmla="*/ 2147483647 w 156"/>
                <a:gd name="T61" fmla="*/ 2147483647 h 184"/>
                <a:gd name="T62" fmla="*/ 2147483647 w 156"/>
                <a:gd name="T63" fmla="*/ 2147483647 h 184"/>
                <a:gd name="T64" fmla="*/ 2147483647 w 156"/>
                <a:gd name="T65" fmla="*/ 2147483647 h 184"/>
                <a:gd name="T66" fmla="*/ 2147483647 w 156"/>
                <a:gd name="T67" fmla="*/ 2147483647 h 184"/>
                <a:gd name="T68" fmla="*/ 2147483647 w 156"/>
                <a:gd name="T69" fmla="*/ 2147483647 h 184"/>
                <a:gd name="T70" fmla="*/ 2147483647 w 156"/>
                <a:gd name="T71" fmla="*/ 2147483647 h 184"/>
                <a:gd name="T72" fmla="*/ 2147483647 w 156"/>
                <a:gd name="T73" fmla="*/ 2147483647 h 184"/>
                <a:gd name="T74" fmla="*/ 2147483647 w 156"/>
                <a:gd name="T75" fmla="*/ 2147483647 h 184"/>
                <a:gd name="T76" fmla="*/ 2147483647 w 156"/>
                <a:gd name="T77" fmla="*/ 2147483647 h 184"/>
                <a:gd name="T78" fmla="*/ 2147483647 w 156"/>
                <a:gd name="T79" fmla="*/ 2147483647 h 184"/>
                <a:gd name="T80" fmla="*/ 2147483647 w 156"/>
                <a:gd name="T81" fmla="*/ 2147483647 h 184"/>
                <a:gd name="T82" fmla="*/ 2147483647 w 156"/>
                <a:gd name="T83" fmla="*/ 2147483647 h 184"/>
                <a:gd name="T84" fmla="*/ 2147483647 w 156"/>
                <a:gd name="T85" fmla="*/ 2147483647 h 184"/>
                <a:gd name="T86" fmla="*/ 2147483647 w 156"/>
                <a:gd name="T87" fmla="*/ 2147483647 h 184"/>
                <a:gd name="T88" fmla="*/ 2147483647 w 156"/>
                <a:gd name="T89" fmla="*/ 2147483647 h 18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6"/>
                <a:gd name="T136" fmla="*/ 0 h 184"/>
                <a:gd name="T137" fmla="*/ 156 w 156"/>
                <a:gd name="T138" fmla="*/ 184 h 18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6" h="184">
                  <a:moveTo>
                    <a:pt x="64" y="184"/>
                  </a:moveTo>
                  <a:lnTo>
                    <a:pt x="62" y="182"/>
                  </a:lnTo>
                  <a:lnTo>
                    <a:pt x="60" y="178"/>
                  </a:lnTo>
                  <a:lnTo>
                    <a:pt x="56" y="172"/>
                  </a:lnTo>
                  <a:lnTo>
                    <a:pt x="54" y="165"/>
                  </a:lnTo>
                  <a:lnTo>
                    <a:pt x="52" y="163"/>
                  </a:lnTo>
                  <a:lnTo>
                    <a:pt x="50" y="159"/>
                  </a:lnTo>
                  <a:lnTo>
                    <a:pt x="47" y="157"/>
                  </a:lnTo>
                  <a:lnTo>
                    <a:pt x="45" y="155"/>
                  </a:lnTo>
                  <a:lnTo>
                    <a:pt x="43" y="151"/>
                  </a:lnTo>
                  <a:lnTo>
                    <a:pt x="41" y="149"/>
                  </a:lnTo>
                  <a:lnTo>
                    <a:pt x="37" y="147"/>
                  </a:lnTo>
                  <a:lnTo>
                    <a:pt x="35" y="145"/>
                  </a:lnTo>
                  <a:lnTo>
                    <a:pt x="33" y="143"/>
                  </a:lnTo>
                  <a:lnTo>
                    <a:pt x="31" y="140"/>
                  </a:lnTo>
                  <a:lnTo>
                    <a:pt x="25" y="130"/>
                  </a:lnTo>
                  <a:lnTo>
                    <a:pt x="22" y="120"/>
                  </a:lnTo>
                  <a:lnTo>
                    <a:pt x="23" y="118"/>
                  </a:lnTo>
                  <a:lnTo>
                    <a:pt x="25" y="117"/>
                  </a:lnTo>
                  <a:lnTo>
                    <a:pt x="29" y="111"/>
                  </a:lnTo>
                  <a:lnTo>
                    <a:pt x="29" y="97"/>
                  </a:lnTo>
                  <a:lnTo>
                    <a:pt x="29" y="84"/>
                  </a:lnTo>
                  <a:lnTo>
                    <a:pt x="25" y="78"/>
                  </a:lnTo>
                  <a:lnTo>
                    <a:pt x="23" y="74"/>
                  </a:lnTo>
                  <a:lnTo>
                    <a:pt x="22" y="72"/>
                  </a:lnTo>
                  <a:lnTo>
                    <a:pt x="18" y="65"/>
                  </a:lnTo>
                  <a:lnTo>
                    <a:pt x="16" y="57"/>
                  </a:lnTo>
                  <a:lnTo>
                    <a:pt x="14" y="55"/>
                  </a:lnTo>
                  <a:lnTo>
                    <a:pt x="10" y="53"/>
                  </a:lnTo>
                  <a:lnTo>
                    <a:pt x="8" y="46"/>
                  </a:lnTo>
                  <a:lnTo>
                    <a:pt x="6" y="38"/>
                  </a:lnTo>
                  <a:lnTo>
                    <a:pt x="4" y="36"/>
                  </a:lnTo>
                  <a:lnTo>
                    <a:pt x="0" y="34"/>
                  </a:lnTo>
                  <a:lnTo>
                    <a:pt x="0" y="28"/>
                  </a:lnTo>
                  <a:lnTo>
                    <a:pt x="0" y="24"/>
                  </a:lnTo>
                  <a:lnTo>
                    <a:pt x="4" y="23"/>
                  </a:lnTo>
                  <a:lnTo>
                    <a:pt x="6" y="19"/>
                  </a:lnTo>
                  <a:lnTo>
                    <a:pt x="8" y="9"/>
                  </a:lnTo>
                  <a:lnTo>
                    <a:pt x="10" y="0"/>
                  </a:lnTo>
                  <a:lnTo>
                    <a:pt x="20" y="0"/>
                  </a:lnTo>
                  <a:lnTo>
                    <a:pt x="31" y="0"/>
                  </a:lnTo>
                  <a:lnTo>
                    <a:pt x="33" y="9"/>
                  </a:lnTo>
                  <a:lnTo>
                    <a:pt x="35" y="19"/>
                  </a:lnTo>
                  <a:lnTo>
                    <a:pt x="37" y="23"/>
                  </a:lnTo>
                  <a:lnTo>
                    <a:pt x="41" y="24"/>
                  </a:lnTo>
                  <a:lnTo>
                    <a:pt x="50" y="24"/>
                  </a:lnTo>
                  <a:lnTo>
                    <a:pt x="60" y="24"/>
                  </a:lnTo>
                  <a:lnTo>
                    <a:pt x="62" y="23"/>
                  </a:lnTo>
                  <a:lnTo>
                    <a:pt x="64" y="19"/>
                  </a:lnTo>
                  <a:lnTo>
                    <a:pt x="70" y="38"/>
                  </a:lnTo>
                  <a:lnTo>
                    <a:pt x="73" y="57"/>
                  </a:lnTo>
                  <a:lnTo>
                    <a:pt x="77" y="61"/>
                  </a:lnTo>
                  <a:lnTo>
                    <a:pt x="79" y="63"/>
                  </a:lnTo>
                  <a:lnTo>
                    <a:pt x="91" y="65"/>
                  </a:lnTo>
                  <a:lnTo>
                    <a:pt x="104" y="67"/>
                  </a:lnTo>
                  <a:lnTo>
                    <a:pt x="106" y="71"/>
                  </a:lnTo>
                  <a:lnTo>
                    <a:pt x="108" y="72"/>
                  </a:lnTo>
                  <a:lnTo>
                    <a:pt x="110" y="80"/>
                  </a:lnTo>
                  <a:lnTo>
                    <a:pt x="112" y="88"/>
                  </a:lnTo>
                  <a:lnTo>
                    <a:pt x="116" y="90"/>
                  </a:lnTo>
                  <a:lnTo>
                    <a:pt x="118" y="92"/>
                  </a:lnTo>
                  <a:lnTo>
                    <a:pt x="119" y="99"/>
                  </a:lnTo>
                  <a:lnTo>
                    <a:pt x="121" y="107"/>
                  </a:lnTo>
                  <a:lnTo>
                    <a:pt x="125" y="109"/>
                  </a:lnTo>
                  <a:lnTo>
                    <a:pt x="127" y="111"/>
                  </a:lnTo>
                  <a:lnTo>
                    <a:pt x="129" y="113"/>
                  </a:lnTo>
                  <a:lnTo>
                    <a:pt x="133" y="117"/>
                  </a:lnTo>
                  <a:lnTo>
                    <a:pt x="135" y="118"/>
                  </a:lnTo>
                  <a:lnTo>
                    <a:pt x="137" y="120"/>
                  </a:lnTo>
                  <a:lnTo>
                    <a:pt x="139" y="122"/>
                  </a:lnTo>
                  <a:lnTo>
                    <a:pt x="142" y="126"/>
                  </a:lnTo>
                  <a:lnTo>
                    <a:pt x="144" y="128"/>
                  </a:lnTo>
                  <a:lnTo>
                    <a:pt x="146" y="130"/>
                  </a:lnTo>
                  <a:lnTo>
                    <a:pt x="150" y="140"/>
                  </a:lnTo>
                  <a:lnTo>
                    <a:pt x="156" y="149"/>
                  </a:lnTo>
                  <a:lnTo>
                    <a:pt x="154" y="151"/>
                  </a:lnTo>
                  <a:lnTo>
                    <a:pt x="152" y="155"/>
                  </a:lnTo>
                  <a:lnTo>
                    <a:pt x="139" y="157"/>
                  </a:lnTo>
                  <a:lnTo>
                    <a:pt x="127" y="159"/>
                  </a:lnTo>
                  <a:lnTo>
                    <a:pt x="125" y="163"/>
                  </a:lnTo>
                  <a:lnTo>
                    <a:pt x="121" y="165"/>
                  </a:lnTo>
                  <a:lnTo>
                    <a:pt x="110" y="166"/>
                  </a:lnTo>
                  <a:lnTo>
                    <a:pt x="98" y="168"/>
                  </a:lnTo>
                  <a:lnTo>
                    <a:pt x="94" y="172"/>
                  </a:lnTo>
                  <a:lnTo>
                    <a:pt x="93" y="174"/>
                  </a:lnTo>
                  <a:lnTo>
                    <a:pt x="87" y="176"/>
                  </a:lnTo>
                  <a:lnTo>
                    <a:pt x="79" y="178"/>
                  </a:lnTo>
                  <a:lnTo>
                    <a:pt x="77" y="182"/>
                  </a:lnTo>
                  <a:lnTo>
                    <a:pt x="73" y="184"/>
                  </a:lnTo>
                  <a:lnTo>
                    <a:pt x="70" y="184"/>
                  </a:lnTo>
                  <a:lnTo>
                    <a:pt x="64" y="184"/>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67" name="Freeform 334"/>
            <p:cNvSpPr>
              <a:spLocks/>
            </p:cNvSpPr>
            <p:nvPr>
              <p:custDataLst>
                <p:tags r:id="rId51"/>
              </p:custDataLst>
            </p:nvPr>
          </p:nvSpPr>
          <p:spPr bwMode="gray">
            <a:xfrm>
              <a:off x="1712913" y="3798703"/>
              <a:ext cx="265112" cy="238125"/>
            </a:xfrm>
            <a:custGeom>
              <a:avLst/>
              <a:gdLst>
                <a:gd name="T0" fmla="*/ 2147483647 w 171"/>
                <a:gd name="T1" fmla="*/ 2147483647 h 160"/>
                <a:gd name="T2" fmla="*/ 2147483647 w 171"/>
                <a:gd name="T3" fmla="*/ 2147483647 h 160"/>
                <a:gd name="T4" fmla="*/ 2147483647 w 171"/>
                <a:gd name="T5" fmla="*/ 2147483647 h 160"/>
                <a:gd name="T6" fmla="*/ 2147483647 w 171"/>
                <a:gd name="T7" fmla="*/ 2147483647 h 160"/>
                <a:gd name="T8" fmla="*/ 2147483647 w 171"/>
                <a:gd name="T9" fmla="*/ 2147483647 h 160"/>
                <a:gd name="T10" fmla="*/ 2147483647 w 171"/>
                <a:gd name="T11" fmla="*/ 2147483647 h 160"/>
                <a:gd name="T12" fmla="*/ 2147483647 w 171"/>
                <a:gd name="T13" fmla="*/ 2147483647 h 160"/>
                <a:gd name="T14" fmla="*/ 2147483647 w 171"/>
                <a:gd name="T15" fmla="*/ 2147483647 h 160"/>
                <a:gd name="T16" fmla="*/ 2147483647 w 171"/>
                <a:gd name="T17" fmla="*/ 2147483647 h 160"/>
                <a:gd name="T18" fmla="*/ 2147483647 w 171"/>
                <a:gd name="T19" fmla="*/ 2147483647 h 160"/>
                <a:gd name="T20" fmla="*/ 2147483647 w 171"/>
                <a:gd name="T21" fmla="*/ 2147483647 h 160"/>
                <a:gd name="T22" fmla="*/ 2147483647 w 171"/>
                <a:gd name="T23" fmla="*/ 2147483647 h 160"/>
                <a:gd name="T24" fmla="*/ 2147483647 w 171"/>
                <a:gd name="T25" fmla="*/ 2147483647 h 160"/>
                <a:gd name="T26" fmla="*/ 2147483647 w 171"/>
                <a:gd name="T27" fmla="*/ 2147483647 h 160"/>
                <a:gd name="T28" fmla="*/ 2147483647 w 171"/>
                <a:gd name="T29" fmla="*/ 2147483647 h 160"/>
                <a:gd name="T30" fmla="*/ 2147483647 w 171"/>
                <a:gd name="T31" fmla="*/ 2147483647 h 160"/>
                <a:gd name="T32" fmla="*/ 2147483647 w 171"/>
                <a:gd name="T33" fmla="*/ 2147483647 h 160"/>
                <a:gd name="T34" fmla="*/ 2147483647 w 171"/>
                <a:gd name="T35" fmla="*/ 2147483647 h 160"/>
                <a:gd name="T36" fmla="*/ 2147483647 w 171"/>
                <a:gd name="T37" fmla="*/ 2147483647 h 160"/>
                <a:gd name="T38" fmla="*/ 2147483647 w 171"/>
                <a:gd name="T39" fmla="*/ 2147483647 h 160"/>
                <a:gd name="T40" fmla="*/ 2147483647 w 171"/>
                <a:gd name="T41" fmla="*/ 2147483647 h 160"/>
                <a:gd name="T42" fmla="*/ 2147483647 w 171"/>
                <a:gd name="T43" fmla="*/ 2147483647 h 160"/>
                <a:gd name="T44" fmla="*/ 2147483647 w 171"/>
                <a:gd name="T45" fmla="*/ 0 h 160"/>
                <a:gd name="T46" fmla="*/ 2147483647 w 171"/>
                <a:gd name="T47" fmla="*/ 2147483647 h 160"/>
                <a:gd name="T48" fmla="*/ 2147483647 w 171"/>
                <a:gd name="T49" fmla="*/ 2147483647 h 160"/>
                <a:gd name="T50" fmla="*/ 2147483647 w 171"/>
                <a:gd name="T51" fmla="*/ 2147483647 h 160"/>
                <a:gd name="T52" fmla="*/ 2147483647 w 171"/>
                <a:gd name="T53" fmla="*/ 2147483647 h 160"/>
                <a:gd name="T54" fmla="*/ 2147483647 w 171"/>
                <a:gd name="T55" fmla="*/ 2147483647 h 160"/>
                <a:gd name="T56" fmla="*/ 2147483647 w 171"/>
                <a:gd name="T57" fmla="*/ 2147483647 h 160"/>
                <a:gd name="T58" fmla="*/ 2147483647 w 171"/>
                <a:gd name="T59" fmla="*/ 2147483647 h 160"/>
                <a:gd name="T60" fmla="*/ 2147483647 w 171"/>
                <a:gd name="T61" fmla="*/ 2147483647 h 160"/>
                <a:gd name="T62" fmla="*/ 2147483647 w 171"/>
                <a:gd name="T63" fmla="*/ 2147483647 h 160"/>
                <a:gd name="T64" fmla="*/ 2147483647 w 171"/>
                <a:gd name="T65" fmla="*/ 2147483647 h 160"/>
                <a:gd name="T66" fmla="*/ 2147483647 w 171"/>
                <a:gd name="T67" fmla="*/ 2147483647 h 160"/>
                <a:gd name="T68" fmla="*/ 2147483647 w 171"/>
                <a:gd name="T69" fmla="*/ 2147483647 h 160"/>
                <a:gd name="T70" fmla="*/ 2147483647 w 171"/>
                <a:gd name="T71" fmla="*/ 2147483647 h 160"/>
                <a:gd name="T72" fmla="*/ 2147483647 w 171"/>
                <a:gd name="T73" fmla="*/ 2147483647 h 160"/>
                <a:gd name="T74" fmla="*/ 2147483647 w 171"/>
                <a:gd name="T75" fmla="*/ 2147483647 h 160"/>
                <a:gd name="T76" fmla="*/ 2147483647 w 171"/>
                <a:gd name="T77" fmla="*/ 2147483647 h 160"/>
                <a:gd name="T78" fmla="*/ 2147483647 w 171"/>
                <a:gd name="T79" fmla="*/ 2147483647 h 160"/>
                <a:gd name="T80" fmla="*/ 2147483647 w 171"/>
                <a:gd name="T81" fmla="*/ 2147483647 h 160"/>
                <a:gd name="T82" fmla="*/ 2147483647 w 171"/>
                <a:gd name="T83" fmla="*/ 2147483647 h 160"/>
                <a:gd name="T84" fmla="*/ 2147483647 w 171"/>
                <a:gd name="T85" fmla="*/ 2147483647 h 160"/>
                <a:gd name="T86" fmla="*/ 2147483647 w 171"/>
                <a:gd name="T87" fmla="*/ 2147483647 h 160"/>
                <a:gd name="T88" fmla="*/ 2147483647 w 171"/>
                <a:gd name="T89" fmla="*/ 2147483647 h 160"/>
                <a:gd name="T90" fmla="*/ 2147483647 w 171"/>
                <a:gd name="T91" fmla="*/ 2147483647 h 160"/>
                <a:gd name="T92" fmla="*/ 2147483647 w 171"/>
                <a:gd name="T93" fmla="*/ 2147483647 h 160"/>
                <a:gd name="T94" fmla="*/ 2147483647 w 171"/>
                <a:gd name="T95" fmla="*/ 2147483647 h 160"/>
                <a:gd name="T96" fmla="*/ 2147483647 w 171"/>
                <a:gd name="T97" fmla="*/ 2147483647 h 160"/>
                <a:gd name="T98" fmla="*/ 2147483647 w 171"/>
                <a:gd name="T99" fmla="*/ 2147483647 h 160"/>
                <a:gd name="T100" fmla="*/ 2147483647 w 171"/>
                <a:gd name="T101" fmla="*/ 2147483647 h 16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71"/>
                <a:gd name="T154" fmla="*/ 0 h 160"/>
                <a:gd name="T155" fmla="*/ 171 w 171"/>
                <a:gd name="T156" fmla="*/ 160 h 16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71" h="160">
                  <a:moveTo>
                    <a:pt x="81" y="146"/>
                  </a:moveTo>
                  <a:lnTo>
                    <a:pt x="77" y="142"/>
                  </a:lnTo>
                  <a:lnTo>
                    <a:pt x="75" y="140"/>
                  </a:lnTo>
                  <a:lnTo>
                    <a:pt x="73" y="138"/>
                  </a:lnTo>
                  <a:lnTo>
                    <a:pt x="71" y="137"/>
                  </a:lnTo>
                  <a:lnTo>
                    <a:pt x="68" y="133"/>
                  </a:lnTo>
                  <a:lnTo>
                    <a:pt x="66" y="131"/>
                  </a:lnTo>
                  <a:lnTo>
                    <a:pt x="64" y="129"/>
                  </a:lnTo>
                  <a:lnTo>
                    <a:pt x="62" y="127"/>
                  </a:lnTo>
                  <a:lnTo>
                    <a:pt x="58" y="123"/>
                  </a:lnTo>
                  <a:lnTo>
                    <a:pt x="56" y="121"/>
                  </a:lnTo>
                  <a:lnTo>
                    <a:pt x="54" y="114"/>
                  </a:lnTo>
                  <a:lnTo>
                    <a:pt x="50" y="108"/>
                  </a:lnTo>
                  <a:lnTo>
                    <a:pt x="48" y="104"/>
                  </a:lnTo>
                  <a:lnTo>
                    <a:pt x="47" y="102"/>
                  </a:lnTo>
                  <a:lnTo>
                    <a:pt x="45" y="94"/>
                  </a:lnTo>
                  <a:lnTo>
                    <a:pt x="41" y="87"/>
                  </a:lnTo>
                  <a:lnTo>
                    <a:pt x="39" y="85"/>
                  </a:lnTo>
                  <a:lnTo>
                    <a:pt x="37" y="83"/>
                  </a:lnTo>
                  <a:lnTo>
                    <a:pt x="25" y="81"/>
                  </a:lnTo>
                  <a:lnTo>
                    <a:pt x="12" y="77"/>
                  </a:lnTo>
                  <a:lnTo>
                    <a:pt x="10" y="75"/>
                  </a:lnTo>
                  <a:lnTo>
                    <a:pt x="8" y="73"/>
                  </a:lnTo>
                  <a:lnTo>
                    <a:pt x="4" y="56"/>
                  </a:lnTo>
                  <a:lnTo>
                    <a:pt x="0" y="39"/>
                  </a:lnTo>
                  <a:lnTo>
                    <a:pt x="4" y="37"/>
                  </a:lnTo>
                  <a:lnTo>
                    <a:pt x="8" y="35"/>
                  </a:lnTo>
                  <a:lnTo>
                    <a:pt x="10" y="31"/>
                  </a:lnTo>
                  <a:lnTo>
                    <a:pt x="12" y="29"/>
                  </a:lnTo>
                  <a:lnTo>
                    <a:pt x="22" y="29"/>
                  </a:lnTo>
                  <a:lnTo>
                    <a:pt x="33" y="29"/>
                  </a:lnTo>
                  <a:lnTo>
                    <a:pt x="35" y="31"/>
                  </a:lnTo>
                  <a:lnTo>
                    <a:pt x="37" y="35"/>
                  </a:lnTo>
                  <a:lnTo>
                    <a:pt x="41" y="35"/>
                  </a:lnTo>
                  <a:lnTo>
                    <a:pt x="47" y="35"/>
                  </a:lnTo>
                  <a:lnTo>
                    <a:pt x="48" y="31"/>
                  </a:lnTo>
                  <a:lnTo>
                    <a:pt x="50" y="29"/>
                  </a:lnTo>
                  <a:lnTo>
                    <a:pt x="56" y="29"/>
                  </a:lnTo>
                  <a:lnTo>
                    <a:pt x="66" y="25"/>
                  </a:lnTo>
                  <a:lnTo>
                    <a:pt x="75" y="20"/>
                  </a:lnTo>
                  <a:lnTo>
                    <a:pt x="85" y="16"/>
                  </a:lnTo>
                  <a:lnTo>
                    <a:pt x="87" y="12"/>
                  </a:lnTo>
                  <a:lnTo>
                    <a:pt x="91" y="10"/>
                  </a:lnTo>
                  <a:lnTo>
                    <a:pt x="96" y="6"/>
                  </a:lnTo>
                  <a:lnTo>
                    <a:pt x="104" y="0"/>
                  </a:lnTo>
                  <a:lnTo>
                    <a:pt x="117" y="0"/>
                  </a:lnTo>
                  <a:lnTo>
                    <a:pt x="129" y="0"/>
                  </a:lnTo>
                  <a:lnTo>
                    <a:pt x="131" y="2"/>
                  </a:lnTo>
                  <a:lnTo>
                    <a:pt x="133" y="4"/>
                  </a:lnTo>
                  <a:lnTo>
                    <a:pt x="133" y="14"/>
                  </a:lnTo>
                  <a:lnTo>
                    <a:pt x="133" y="25"/>
                  </a:lnTo>
                  <a:lnTo>
                    <a:pt x="131" y="27"/>
                  </a:lnTo>
                  <a:lnTo>
                    <a:pt x="129" y="29"/>
                  </a:lnTo>
                  <a:lnTo>
                    <a:pt x="127" y="35"/>
                  </a:lnTo>
                  <a:lnTo>
                    <a:pt x="123" y="39"/>
                  </a:lnTo>
                  <a:lnTo>
                    <a:pt x="127" y="48"/>
                  </a:lnTo>
                  <a:lnTo>
                    <a:pt x="129" y="58"/>
                  </a:lnTo>
                  <a:lnTo>
                    <a:pt x="131" y="62"/>
                  </a:lnTo>
                  <a:lnTo>
                    <a:pt x="133" y="64"/>
                  </a:lnTo>
                  <a:lnTo>
                    <a:pt x="135" y="66"/>
                  </a:lnTo>
                  <a:lnTo>
                    <a:pt x="139" y="69"/>
                  </a:lnTo>
                  <a:lnTo>
                    <a:pt x="141" y="71"/>
                  </a:lnTo>
                  <a:lnTo>
                    <a:pt x="142" y="73"/>
                  </a:lnTo>
                  <a:lnTo>
                    <a:pt x="146" y="75"/>
                  </a:lnTo>
                  <a:lnTo>
                    <a:pt x="148" y="77"/>
                  </a:lnTo>
                  <a:lnTo>
                    <a:pt x="150" y="81"/>
                  </a:lnTo>
                  <a:lnTo>
                    <a:pt x="154" y="83"/>
                  </a:lnTo>
                  <a:lnTo>
                    <a:pt x="158" y="89"/>
                  </a:lnTo>
                  <a:lnTo>
                    <a:pt x="164" y="94"/>
                  </a:lnTo>
                  <a:lnTo>
                    <a:pt x="165" y="102"/>
                  </a:lnTo>
                  <a:lnTo>
                    <a:pt x="167" y="108"/>
                  </a:lnTo>
                  <a:lnTo>
                    <a:pt x="169" y="110"/>
                  </a:lnTo>
                  <a:lnTo>
                    <a:pt x="171" y="112"/>
                  </a:lnTo>
                  <a:lnTo>
                    <a:pt x="169" y="114"/>
                  </a:lnTo>
                  <a:lnTo>
                    <a:pt x="167" y="117"/>
                  </a:lnTo>
                  <a:lnTo>
                    <a:pt x="165" y="119"/>
                  </a:lnTo>
                  <a:lnTo>
                    <a:pt x="162" y="121"/>
                  </a:lnTo>
                  <a:lnTo>
                    <a:pt x="160" y="123"/>
                  </a:lnTo>
                  <a:lnTo>
                    <a:pt x="158" y="127"/>
                  </a:lnTo>
                  <a:lnTo>
                    <a:pt x="156" y="133"/>
                  </a:lnTo>
                  <a:lnTo>
                    <a:pt x="154" y="140"/>
                  </a:lnTo>
                  <a:lnTo>
                    <a:pt x="150" y="142"/>
                  </a:lnTo>
                  <a:lnTo>
                    <a:pt x="148" y="146"/>
                  </a:lnTo>
                  <a:lnTo>
                    <a:pt x="142" y="146"/>
                  </a:lnTo>
                  <a:lnTo>
                    <a:pt x="139" y="146"/>
                  </a:lnTo>
                  <a:lnTo>
                    <a:pt x="135" y="142"/>
                  </a:lnTo>
                  <a:lnTo>
                    <a:pt x="133" y="140"/>
                  </a:lnTo>
                  <a:lnTo>
                    <a:pt x="129" y="138"/>
                  </a:lnTo>
                  <a:lnTo>
                    <a:pt x="119" y="137"/>
                  </a:lnTo>
                  <a:lnTo>
                    <a:pt x="110" y="138"/>
                  </a:lnTo>
                  <a:lnTo>
                    <a:pt x="104" y="140"/>
                  </a:lnTo>
                  <a:lnTo>
                    <a:pt x="102" y="142"/>
                  </a:lnTo>
                  <a:lnTo>
                    <a:pt x="100" y="146"/>
                  </a:lnTo>
                  <a:lnTo>
                    <a:pt x="98" y="148"/>
                  </a:lnTo>
                  <a:lnTo>
                    <a:pt x="98" y="154"/>
                  </a:lnTo>
                  <a:lnTo>
                    <a:pt x="96" y="156"/>
                  </a:lnTo>
                  <a:lnTo>
                    <a:pt x="96" y="158"/>
                  </a:lnTo>
                  <a:lnTo>
                    <a:pt x="94" y="160"/>
                  </a:lnTo>
                  <a:lnTo>
                    <a:pt x="91" y="160"/>
                  </a:lnTo>
                  <a:lnTo>
                    <a:pt x="85" y="156"/>
                  </a:lnTo>
                  <a:lnTo>
                    <a:pt x="83" y="152"/>
                  </a:lnTo>
                  <a:lnTo>
                    <a:pt x="81" y="148"/>
                  </a:lnTo>
                  <a:lnTo>
                    <a:pt x="81" y="146"/>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68" name="Freeform 335"/>
            <p:cNvSpPr>
              <a:spLocks/>
            </p:cNvSpPr>
            <p:nvPr>
              <p:custDataLst>
                <p:tags r:id="rId52"/>
              </p:custDataLst>
            </p:nvPr>
          </p:nvSpPr>
          <p:spPr bwMode="gray">
            <a:xfrm>
              <a:off x="1919288" y="3741553"/>
              <a:ext cx="419100" cy="263525"/>
            </a:xfrm>
            <a:custGeom>
              <a:avLst/>
              <a:gdLst>
                <a:gd name="T0" fmla="*/ 2147483647 w 270"/>
                <a:gd name="T1" fmla="*/ 2147483647 h 175"/>
                <a:gd name="T2" fmla="*/ 2147483647 w 270"/>
                <a:gd name="T3" fmla="*/ 2147483647 h 175"/>
                <a:gd name="T4" fmla="*/ 2147483647 w 270"/>
                <a:gd name="T5" fmla="*/ 2147483647 h 175"/>
                <a:gd name="T6" fmla="*/ 2147483647 w 270"/>
                <a:gd name="T7" fmla="*/ 2147483647 h 175"/>
                <a:gd name="T8" fmla="*/ 2147483647 w 270"/>
                <a:gd name="T9" fmla="*/ 2147483647 h 175"/>
                <a:gd name="T10" fmla="*/ 2147483647 w 270"/>
                <a:gd name="T11" fmla="*/ 2147483647 h 175"/>
                <a:gd name="T12" fmla="*/ 2147483647 w 270"/>
                <a:gd name="T13" fmla="*/ 2147483647 h 175"/>
                <a:gd name="T14" fmla="*/ 2147483647 w 270"/>
                <a:gd name="T15" fmla="*/ 2147483647 h 175"/>
                <a:gd name="T16" fmla="*/ 2147483647 w 270"/>
                <a:gd name="T17" fmla="*/ 2147483647 h 175"/>
                <a:gd name="T18" fmla="*/ 2147483647 w 270"/>
                <a:gd name="T19" fmla="*/ 2147483647 h 175"/>
                <a:gd name="T20" fmla="*/ 2147483647 w 270"/>
                <a:gd name="T21" fmla="*/ 2147483647 h 175"/>
                <a:gd name="T22" fmla="*/ 0 w 270"/>
                <a:gd name="T23" fmla="*/ 2147483647 h 175"/>
                <a:gd name="T24" fmla="*/ 0 w 270"/>
                <a:gd name="T25" fmla="*/ 2147483647 h 175"/>
                <a:gd name="T26" fmla="*/ 2147483647 w 270"/>
                <a:gd name="T27" fmla="*/ 2147483647 h 175"/>
                <a:gd name="T28" fmla="*/ 2147483647 w 270"/>
                <a:gd name="T29" fmla="*/ 2147483647 h 175"/>
                <a:gd name="T30" fmla="*/ 0 w 270"/>
                <a:gd name="T31" fmla="*/ 2147483647 h 175"/>
                <a:gd name="T32" fmla="*/ 0 w 270"/>
                <a:gd name="T33" fmla="*/ 2147483647 h 175"/>
                <a:gd name="T34" fmla="*/ 2147483647 w 270"/>
                <a:gd name="T35" fmla="*/ 2147483647 h 175"/>
                <a:gd name="T36" fmla="*/ 2147483647 w 270"/>
                <a:gd name="T37" fmla="*/ 0 h 175"/>
                <a:gd name="T38" fmla="*/ 2147483647 w 270"/>
                <a:gd name="T39" fmla="*/ 0 h 175"/>
                <a:gd name="T40" fmla="*/ 2147483647 w 270"/>
                <a:gd name="T41" fmla="*/ 2147483647 h 175"/>
                <a:gd name="T42" fmla="*/ 2147483647 w 270"/>
                <a:gd name="T43" fmla="*/ 2147483647 h 175"/>
                <a:gd name="T44" fmla="*/ 2147483647 w 270"/>
                <a:gd name="T45" fmla="*/ 0 h 175"/>
                <a:gd name="T46" fmla="*/ 2147483647 w 270"/>
                <a:gd name="T47" fmla="*/ 2147483647 h 175"/>
                <a:gd name="T48" fmla="*/ 2147483647 w 270"/>
                <a:gd name="T49" fmla="*/ 2147483647 h 175"/>
                <a:gd name="T50" fmla="*/ 2147483647 w 270"/>
                <a:gd name="T51" fmla="*/ 2147483647 h 175"/>
                <a:gd name="T52" fmla="*/ 2147483647 w 270"/>
                <a:gd name="T53" fmla="*/ 2147483647 h 175"/>
                <a:gd name="T54" fmla="*/ 2147483647 w 270"/>
                <a:gd name="T55" fmla="*/ 2147483647 h 175"/>
                <a:gd name="T56" fmla="*/ 2147483647 w 270"/>
                <a:gd name="T57" fmla="*/ 2147483647 h 175"/>
                <a:gd name="T58" fmla="*/ 2147483647 w 270"/>
                <a:gd name="T59" fmla="*/ 2147483647 h 175"/>
                <a:gd name="T60" fmla="*/ 2147483647 w 270"/>
                <a:gd name="T61" fmla="*/ 2147483647 h 175"/>
                <a:gd name="T62" fmla="*/ 2147483647 w 270"/>
                <a:gd name="T63" fmla="*/ 2147483647 h 175"/>
                <a:gd name="T64" fmla="*/ 2147483647 w 270"/>
                <a:gd name="T65" fmla="*/ 2147483647 h 175"/>
                <a:gd name="T66" fmla="*/ 2147483647 w 270"/>
                <a:gd name="T67" fmla="*/ 2147483647 h 175"/>
                <a:gd name="T68" fmla="*/ 2147483647 w 270"/>
                <a:gd name="T69" fmla="*/ 2147483647 h 175"/>
                <a:gd name="T70" fmla="*/ 2147483647 w 270"/>
                <a:gd name="T71" fmla="*/ 2147483647 h 175"/>
                <a:gd name="T72" fmla="*/ 2147483647 w 270"/>
                <a:gd name="T73" fmla="*/ 2147483647 h 175"/>
                <a:gd name="T74" fmla="*/ 2147483647 w 270"/>
                <a:gd name="T75" fmla="*/ 2147483647 h 175"/>
                <a:gd name="T76" fmla="*/ 2147483647 w 270"/>
                <a:gd name="T77" fmla="*/ 2147483647 h 175"/>
                <a:gd name="T78" fmla="*/ 2147483647 w 270"/>
                <a:gd name="T79" fmla="*/ 2147483647 h 175"/>
                <a:gd name="T80" fmla="*/ 2147483647 w 270"/>
                <a:gd name="T81" fmla="*/ 2147483647 h 175"/>
                <a:gd name="T82" fmla="*/ 2147483647 w 270"/>
                <a:gd name="T83" fmla="*/ 2147483647 h 175"/>
                <a:gd name="T84" fmla="*/ 2147483647 w 270"/>
                <a:gd name="T85" fmla="*/ 2147483647 h 175"/>
                <a:gd name="T86" fmla="*/ 2147483647 w 270"/>
                <a:gd name="T87" fmla="*/ 2147483647 h 175"/>
                <a:gd name="T88" fmla="*/ 2147483647 w 270"/>
                <a:gd name="T89" fmla="*/ 2147483647 h 17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0"/>
                <a:gd name="T136" fmla="*/ 0 h 175"/>
                <a:gd name="T137" fmla="*/ 270 w 270"/>
                <a:gd name="T138" fmla="*/ 175 h 17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0" h="175">
                  <a:moveTo>
                    <a:pt x="149" y="175"/>
                  </a:moveTo>
                  <a:lnTo>
                    <a:pt x="148" y="171"/>
                  </a:lnTo>
                  <a:lnTo>
                    <a:pt x="146" y="169"/>
                  </a:lnTo>
                  <a:lnTo>
                    <a:pt x="144" y="167"/>
                  </a:lnTo>
                  <a:lnTo>
                    <a:pt x="140" y="165"/>
                  </a:lnTo>
                  <a:lnTo>
                    <a:pt x="138" y="161"/>
                  </a:lnTo>
                  <a:lnTo>
                    <a:pt x="136" y="159"/>
                  </a:lnTo>
                  <a:lnTo>
                    <a:pt x="134" y="157"/>
                  </a:lnTo>
                  <a:lnTo>
                    <a:pt x="130" y="155"/>
                  </a:lnTo>
                  <a:lnTo>
                    <a:pt x="128" y="152"/>
                  </a:lnTo>
                  <a:lnTo>
                    <a:pt x="126" y="150"/>
                  </a:lnTo>
                  <a:lnTo>
                    <a:pt x="117" y="150"/>
                  </a:lnTo>
                  <a:lnTo>
                    <a:pt x="107" y="150"/>
                  </a:lnTo>
                  <a:lnTo>
                    <a:pt x="105" y="152"/>
                  </a:lnTo>
                  <a:lnTo>
                    <a:pt x="102" y="155"/>
                  </a:lnTo>
                  <a:lnTo>
                    <a:pt x="88" y="152"/>
                  </a:lnTo>
                  <a:lnTo>
                    <a:pt x="73" y="150"/>
                  </a:lnTo>
                  <a:lnTo>
                    <a:pt x="59" y="148"/>
                  </a:lnTo>
                  <a:lnTo>
                    <a:pt x="44" y="146"/>
                  </a:lnTo>
                  <a:lnTo>
                    <a:pt x="42" y="142"/>
                  </a:lnTo>
                  <a:lnTo>
                    <a:pt x="38" y="140"/>
                  </a:lnTo>
                  <a:lnTo>
                    <a:pt x="36" y="130"/>
                  </a:lnTo>
                  <a:lnTo>
                    <a:pt x="34" y="125"/>
                  </a:lnTo>
                  <a:lnTo>
                    <a:pt x="31" y="121"/>
                  </a:lnTo>
                  <a:lnTo>
                    <a:pt x="25" y="115"/>
                  </a:lnTo>
                  <a:lnTo>
                    <a:pt x="23" y="113"/>
                  </a:lnTo>
                  <a:lnTo>
                    <a:pt x="21" y="111"/>
                  </a:lnTo>
                  <a:lnTo>
                    <a:pt x="17" y="109"/>
                  </a:lnTo>
                  <a:lnTo>
                    <a:pt x="15" y="107"/>
                  </a:lnTo>
                  <a:lnTo>
                    <a:pt x="13" y="104"/>
                  </a:lnTo>
                  <a:lnTo>
                    <a:pt x="9" y="102"/>
                  </a:lnTo>
                  <a:lnTo>
                    <a:pt x="8" y="100"/>
                  </a:lnTo>
                  <a:lnTo>
                    <a:pt x="6" y="96"/>
                  </a:lnTo>
                  <a:lnTo>
                    <a:pt x="2" y="94"/>
                  </a:lnTo>
                  <a:lnTo>
                    <a:pt x="0" y="92"/>
                  </a:lnTo>
                  <a:lnTo>
                    <a:pt x="0" y="84"/>
                  </a:lnTo>
                  <a:lnTo>
                    <a:pt x="0" y="77"/>
                  </a:lnTo>
                  <a:lnTo>
                    <a:pt x="0" y="75"/>
                  </a:lnTo>
                  <a:lnTo>
                    <a:pt x="0" y="73"/>
                  </a:lnTo>
                  <a:lnTo>
                    <a:pt x="2" y="69"/>
                  </a:lnTo>
                  <a:lnTo>
                    <a:pt x="6" y="67"/>
                  </a:lnTo>
                  <a:lnTo>
                    <a:pt x="8" y="63"/>
                  </a:lnTo>
                  <a:lnTo>
                    <a:pt x="9" y="54"/>
                  </a:lnTo>
                  <a:lnTo>
                    <a:pt x="8" y="42"/>
                  </a:lnTo>
                  <a:lnTo>
                    <a:pt x="6" y="38"/>
                  </a:lnTo>
                  <a:lnTo>
                    <a:pt x="2" y="36"/>
                  </a:lnTo>
                  <a:lnTo>
                    <a:pt x="0" y="34"/>
                  </a:lnTo>
                  <a:lnTo>
                    <a:pt x="0" y="31"/>
                  </a:lnTo>
                  <a:lnTo>
                    <a:pt x="0" y="29"/>
                  </a:lnTo>
                  <a:lnTo>
                    <a:pt x="0" y="27"/>
                  </a:lnTo>
                  <a:lnTo>
                    <a:pt x="0" y="25"/>
                  </a:lnTo>
                  <a:lnTo>
                    <a:pt x="2" y="21"/>
                  </a:lnTo>
                  <a:lnTo>
                    <a:pt x="6" y="19"/>
                  </a:lnTo>
                  <a:lnTo>
                    <a:pt x="8" y="10"/>
                  </a:lnTo>
                  <a:lnTo>
                    <a:pt x="9" y="0"/>
                  </a:lnTo>
                  <a:lnTo>
                    <a:pt x="25" y="0"/>
                  </a:lnTo>
                  <a:lnTo>
                    <a:pt x="38" y="0"/>
                  </a:lnTo>
                  <a:lnTo>
                    <a:pt x="44" y="0"/>
                  </a:lnTo>
                  <a:lnTo>
                    <a:pt x="50" y="0"/>
                  </a:lnTo>
                  <a:lnTo>
                    <a:pt x="54" y="0"/>
                  </a:lnTo>
                  <a:lnTo>
                    <a:pt x="59" y="0"/>
                  </a:lnTo>
                  <a:lnTo>
                    <a:pt x="59" y="4"/>
                  </a:lnTo>
                  <a:lnTo>
                    <a:pt x="59" y="10"/>
                  </a:lnTo>
                  <a:lnTo>
                    <a:pt x="73" y="10"/>
                  </a:lnTo>
                  <a:lnTo>
                    <a:pt x="88" y="10"/>
                  </a:lnTo>
                  <a:lnTo>
                    <a:pt x="88" y="4"/>
                  </a:lnTo>
                  <a:lnTo>
                    <a:pt x="88" y="0"/>
                  </a:lnTo>
                  <a:lnTo>
                    <a:pt x="92" y="0"/>
                  </a:lnTo>
                  <a:lnTo>
                    <a:pt x="98" y="0"/>
                  </a:lnTo>
                  <a:lnTo>
                    <a:pt x="100" y="4"/>
                  </a:lnTo>
                  <a:lnTo>
                    <a:pt x="102" y="10"/>
                  </a:lnTo>
                  <a:lnTo>
                    <a:pt x="105" y="11"/>
                  </a:lnTo>
                  <a:lnTo>
                    <a:pt x="107" y="13"/>
                  </a:lnTo>
                  <a:lnTo>
                    <a:pt x="109" y="17"/>
                  </a:lnTo>
                  <a:lnTo>
                    <a:pt x="111" y="19"/>
                  </a:lnTo>
                  <a:lnTo>
                    <a:pt x="113" y="21"/>
                  </a:lnTo>
                  <a:lnTo>
                    <a:pt x="117" y="25"/>
                  </a:lnTo>
                  <a:lnTo>
                    <a:pt x="119" y="27"/>
                  </a:lnTo>
                  <a:lnTo>
                    <a:pt x="121" y="29"/>
                  </a:lnTo>
                  <a:lnTo>
                    <a:pt x="123" y="31"/>
                  </a:lnTo>
                  <a:lnTo>
                    <a:pt x="126" y="34"/>
                  </a:lnTo>
                  <a:lnTo>
                    <a:pt x="128" y="36"/>
                  </a:lnTo>
                  <a:lnTo>
                    <a:pt x="130" y="38"/>
                  </a:lnTo>
                  <a:lnTo>
                    <a:pt x="134" y="40"/>
                  </a:lnTo>
                  <a:lnTo>
                    <a:pt x="136" y="42"/>
                  </a:lnTo>
                  <a:lnTo>
                    <a:pt x="138" y="46"/>
                  </a:lnTo>
                  <a:lnTo>
                    <a:pt x="140" y="48"/>
                  </a:lnTo>
                  <a:lnTo>
                    <a:pt x="144" y="50"/>
                  </a:lnTo>
                  <a:lnTo>
                    <a:pt x="146" y="54"/>
                  </a:lnTo>
                  <a:lnTo>
                    <a:pt x="148" y="56"/>
                  </a:lnTo>
                  <a:lnTo>
                    <a:pt x="149" y="58"/>
                  </a:lnTo>
                  <a:lnTo>
                    <a:pt x="153" y="59"/>
                  </a:lnTo>
                  <a:lnTo>
                    <a:pt x="155" y="63"/>
                  </a:lnTo>
                  <a:lnTo>
                    <a:pt x="157" y="65"/>
                  </a:lnTo>
                  <a:lnTo>
                    <a:pt x="161" y="67"/>
                  </a:lnTo>
                  <a:lnTo>
                    <a:pt x="163" y="69"/>
                  </a:lnTo>
                  <a:lnTo>
                    <a:pt x="165" y="73"/>
                  </a:lnTo>
                  <a:lnTo>
                    <a:pt x="173" y="75"/>
                  </a:lnTo>
                  <a:lnTo>
                    <a:pt x="180" y="77"/>
                  </a:lnTo>
                  <a:lnTo>
                    <a:pt x="182" y="81"/>
                  </a:lnTo>
                  <a:lnTo>
                    <a:pt x="184" y="82"/>
                  </a:lnTo>
                  <a:lnTo>
                    <a:pt x="192" y="84"/>
                  </a:lnTo>
                  <a:lnTo>
                    <a:pt x="199" y="86"/>
                  </a:lnTo>
                  <a:lnTo>
                    <a:pt x="201" y="88"/>
                  </a:lnTo>
                  <a:lnTo>
                    <a:pt x="203" y="92"/>
                  </a:lnTo>
                  <a:lnTo>
                    <a:pt x="211" y="94"/>
                  </a:lnTo>
                  <a:lnTo>
                    <a:pt x="228" y="96"/>
                  </a:lnTo>
                  <a:lnTo>
                    <a:pt x="245" y="94"/>
                  </a:lnTo>
                  <a:lnTo>
                    <a:pt x="253" y="92"/>
                  </a:lnTo>
                  <a:lnTo>
                    <a:pt x="255" y="88"/>
                  </a:lnTo>
                  <a:lnTo>
                    <a:pt x="257" y="86"/>
                  </a:lnTo>
                  <a:lnTo>
                    <a:pt x="259" y="79"/>
                  </a:lnTo>
                  <a:lnTo>
                    <a:pt x="261" y="73"/>
                  </a:lnTo>
                  <a:lnTo>
                    <a:pt x="265" y="69"/>
                  </a:lnTo>
                  <a:lnTo>
                    <a:pt x="267" y="67"/>
                  </a:lnTo>
                  <a:lnTo>
                    <a:pt x="268" y="88"/>
                  </a:lnTo>
                  <a:lnTo>
                    <a:pt x="270" y="111"/>
                  </a:lnTo>
                  <a:lnTo>
                    <a:pt x="268" y="113"/>
                  </a:lnTo>
                  <a:lnTo>
                    <a:pt x="267" y="115"/>
                  </a:lnTo>
                  <a:lnTo>
                    <a:pt x="265" y="129"/>
                  </a:lnTo>
                  <a:lnTo>
                    <a:pt x="261" y="140"/>
                  </a:lnTo>
                  <a:lnTo>
                    <a:pt x="259" y="142"/>
                  </a:lnTo>
                  <a:lnTo>
                    <a:pt x="257" y="146"/>
                  </a:lnTo>
                  <a:lnTo>
                    <a:pt x="255" y="148"/>
                  </a:lnTo>
                  <a:lnTo>
                    <a:pt x="253" y="150"/>
                  </a:lnTo>
                  <a:lnTo>
                    <a:pt x="249" y="152"/>
                  </a:lnTo>
                  <a:lnTo>
                    <a:pt x="247" y="155"/>
                  </a:lnTo>
                  <a:lnTo>
                    <a:pt x="220" y="157"/>
                  </a:lnTo>
                  <a:lnTo>
                    <a:pt x="194" y="159"/>
                  </a:lnTo>
                  <a:lnTo>
                    <a:pt x="192" y="161"/>
                  </a:lnTo>
                  <a:lnTo>
                    <a:pt x="190" y="165"/>
                  </a:lnTo>
                  <a:lnTo>
                    <a:pt x="186" y="167"/>
                  </a:lnTo>
                  <a:lnTo>
                    <a:pt x="184" y="169"/>
                  </a:lnTo>
                  <a:lnTo>
                    <a:pt x="182" y="171"/>
                  </a:lnTo>
                  <a:lnTo>
                    <a:pt x="180" y="175"/>
                  </a:lnTo>
                  <a:lnTo>
                    <a:pt x="165" y="175"/>
                  </a:lnTo>
                  <a:lnTo>
                    <a:pt x="149" y="175"/>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69" name="Freeform 336"/>
            <p:cNvSpPr>
              <a:spLocks/>
            </p:cNvSpPr>
            <p:nvPr>
              <p:custDataLst>
                <p:tags r:id="rId53"/>
              </p:custDataLst>
            </p:nvPr>
          </p:nvSpPr>
          <p:spPr bwMode="gray">
            <a:xfrm>
              <a:off x="1679575" y="3276416"/>
              <a:ext cx="766763" cy="593725"/>
            </a:xfrm>
            <a:custGeom>
              <a:avLst/>
              <a:gdLst>
                <a:gd name="T0" fmla="*/ 2147483647 w 493"/>
                <a:gd name="T1" fmla="*/ 2147483647 h 395"/>
                <a:gd name="T2" fmla="*/ 2147483647 w 493"/>
                <a:gd name="T3" fmla="*/ 2147483647 h 395"/>
                <a:gd name="T4" fmla="*/ 2147483647 w 493"/>
                <a:gd name="T5" fmla="*/ 2147483647 h 395"/>
                <a:gd name="T6" fmla="*/ 2147483647 w 493"/>
                <a:gd name="T7" fmla="*/ 2147483647 h 395"/>
                <a:gd name="T8" fmla="*/ 2147483647 w 493"/>
                <a:gd name="T9" fmla="*/ 2147483647 h 395"/>
                <a:gd name="T10" fmla="*/ 2147483647 w 493"/>
                <a:gd name="T11" fmla="*/ 2147483647 h 395"/>
                <a:gd name="T12" fmla="*/ 2147483647 w 493"/>
                <a:gd name="T13" fmla="*/ 2147483647 h 395"/>
                <a:gd name="T14" fmla="*/ 2147483647 w 493"/>
                <a:gd name="T15" fmla="*/ 2147483647 h 395"/>
                <a:gd name="T16" fmla="*/ 2147483647 w 493"/>
                <a:gd name="T17" fmla="*/ 2147483647 h 395"/>
                <a:gd name="T18" fmla="*/ 2147483647 w 493"/>
                <a:gd name="T19" fmla="*/ 2147483647 h 395"/>
                <a:gd name="T20" fmla="*/ 2147483647 w 493"/>
                <a:gd name="T21" fmla="*/ 2147483647 h 395"/>
                <a:gd name="T22" fmla="*/ 2147483647 w 493"/>
                <a:gd name="T23" fmla="*/ 2147483647 h 395"/>
                <a:gd name="T24" fmla="*/ 2147483647 w 493"/>
                <a:gd name="T25" fmla="*/ 2147483647 h 395"/>
                <a:gd name="T26" fmla="*/ 2147483647 w 493"/>
                <a:gd name="T27" fmla="*/ 2147483647 h 395"/>
                <a:gd name="T28" fmla="*/ 2147483647 w 493"/>
                <a:gd name="T29" fmla="*/ 2147483647 h 395"/>
                <a:gd name="T30" fmla="*/ 2147483647 w 493"/>
                <a:gd name="T31" fmla="*/ 2147483647 h 395"/>
                <a:gd name="T32" fmla="*/ 2147483647 w 493"/>
                <a:gd name="T33" fmla="*/ 2147483647 h 395"/>
                <a:gd name="T34" fmla="*/ 2147483647 w 493"/>
                <a:gd name="T35" fmla="*/ 2147483647 h 395"/>
                <a:gd name="T36" fmla="*/ 2147483647 w 493"/>
                <a:gd name="T37" fmla="*/ 2147483647 h 395"/>
                <a:gd name="T38" fmla="*/ 2147483647 w 493"/>
                <a:gd name="T39" fmla="*/ 2147483647 h 395"/>
                <a:gd name="T40" fmla="*/ 2147483647 w 493"/>
                <a:gd name="T41" fmla="*/ 2147483647 h 395"/>
                <a:gd name="T42" fmla="*/ 2147483647 w 493"/>
                <a:gd name="T43" fmla="*/ 2147483647 h 395"/>
                <a:gd name="T44" fmla="*/ 2147483647 w 493"/>
                <a:gd name="T45" fmla="*/ 2147483647 h 395"/>
                <a:gd name="T46" fmla="*/ 2147483647 w 493"/>
                <a:gd name="T47" fmla="*/ 2147483647 h 395"/>
                <a:gd name="T48" fmla="*/ 2147483647 w 493"/>
                <a:gd name="T49" fmla="*/ 2147483647 h 395"/>
                <a:gd name="T50" fmla="*/ 2147483647 w 493"/>
                <a:gd name="T51" fmla="*/ 2147483647 h 395"/>
                <a:gd name="T52" fmla="*/ 2147483647 w 493"/>
                <a:gd name="T53" fmla="*/ 2147483647 h 395"/>
                <a:gd name="T54" fmla="*/ 2147483647 w 493"/>
                <a:gd name="T55" fmla="*/ 2147483647 h 395"/>
                <a:gd name="T56" fmla="*/ 2147483647 w 493"/>
                <a:gd name="T57" fmla="*/ 2147483647 h 395"/>
                <a:gd name="T58" fmla="*/ 2147483647 w 493"/>
                <a:gd name="T59" fmla="*/ 2147483647 h 395"/>
                <a:gd name="T60" fmla="*/ 2147483647 w 493"/>
                <a:gd name="T61" fmla="*/ 2147483647 h 395"/>
                <a:gd name="T62" fmla="*/ 2147483647 w 493"/>
                <a:gd name="T63" fmla="*/ 2147483647 h 395"/>
                <a:gd name="T64" fmla="*/ 2147483647 w 493"/>
                <a:gd name="T65" fmla="*/ 2147483647 h 395"/>
                <a:gd name="T66" fmla="*/ 2147483647 w 493"/>
                <a:gd name="T67" fmla="*/ 2147483647 h 395"/>
                <a:gd name="T68" fmla="*/ 2147483647 w 493"/>
                <a:gd name="T69" fmla="*/ 2147483647 h 395"/>
                <a:gd name="T70" fmla="*/ 0 w 493"/>
                <a:gd name="T71" fmla="*/ 2147483647 h 395"/>
                <a:gd name="T72" fmla="*/ 2147483647 w 493"/>
                <a:gd name="T73" fmla="*/ 2147483647 h 395"/>
                <a:gd name="T74" fmla="*/ 2147483647 w 493"/>
                <a:gd name="T75" fmla="*/ 2147483647 h 395"/>
                <a:gd name="T76" fmla="*/ 2147483647 w 493"/>
                <a:gd name="T77" fmla="*/ 2147483647 h 395"/>
                <a:gd name="T78" fmla="*/ 2147483647 w 493"/>
                <a:gd name="T79" fmla="*/ 2147483647 h 395"/>
                <a:gd name="T80" fmla="*/ 2147483647 w 493"/>
                <a:gd name="T81" fmla="*/ 2147483647 h 395"/>
                <a:gd name="T82" fmla="*/ 2147483647 w 493"/>
                <a:gd name="T83" fmla="*/ 2147483647 h 395"/>
                <a:gd name="T84" fmla="*/ 2147483647 w 493"/>
                <a:gd name="T85" fmla="*/ 2147483647 h 395"/>
                <a:gd name="T86" fmla="*/ 2147483647 w 493"/>
                <a:gd name="T87" fmla="*/ 2147483647 h 395"/>
                <a:gd name="T88" fmla="*/ 2147483647 w 493"/>
                <a:gd name="T89" fmla="*/ 2147483647 h 395"/>
                <a:gd name="T90" fmla="*/ 2147483647 w 493"/>
                <a:gd name="T91" fmla="*/ 2147483647 h 395"/>
                <a:gd name="T92" fmla="*/ 2147483647 w 493"/>
                <a:gd name="T93" fmla="*/ 2147483647 h 395"/>
                <a:gd name="T94" fmla="*/ 2147483647 w 493"/>
                <a:gd name="T95" fmla="*/ 2147483647 h 395"/>
                <a:gd name="T96" fmla="*/ 2147483647 w 493"/>
                <a:gd name="T97" fmla="*/ 2147483647 h 395"/>
                <a:gd name="T98" fmla="*/ 2147483647 w 493"/>
                <a:gd name="T99" fmla="*/ 2147483647 h 395"/>
                <a:gd name="T100" fmla="*/ 2147483647 w 493"/>
                <a:gd name="T101" fmla="*/ 2147483647 h 395"/>
                <a:gd name="T102" fmla="*/ 2147483647 w 493"/>
                <a:gd name="T103" fmla="*/ 2147483647 h 395"/>
                <a:gd name="T104" fmla="*/ 2147483647 w 493"/>
                <a:gd name="T105" fmla="*/ 2147483647 h 395"/>
                <a:gd name="T106" fmla="*/ 2147483647 w 493"/>
                <a:gd name="T107" fmla="*/ 2147483647 h 395"/>
                <a:gd name="T108" fmla="*/ 2147483647 w 493"/>
                <a:gd name="T109" fmla="*/ 2147483647 h 395"/>
                <a:gd name="T110" fmla="*/ 2147483647 w 493"/>
                <a:gd name="T111" fmla="*/ 2147483647 h 395"/>
                <a:gd name="T112" fmla="*/ 2147483647 w 493"/>
                <a:gd name="T113" fmla="*/ 2147483647 h 395"/>
                <a:gd name="T114" fmla="*/ 2147483647 w 493"/>
                <a:gd name="T115" fmla="*/ 2147483647 h 395"/>
                <a:gd name="T116" fmla="*/ 2147483647 w 493"/>
                <a:gd name="T117" fmla="*/ 2147483647 h 395"/>
                <a:gd name="T118" fmla="*/ 2147483647 w 493"/>
                <a:gd name="T119" fmla="*/ 2147483647 h 3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93"/>
                <a:gd name="T181" fmla="*/ 0 h 395"/>
                <a:gd name="T182" fmla="*/ 493 w 493"/>
                <a:gd name="T183" fmla="*/ 395 h 3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93" h="395">
                  <a:moveTo>
                    <a:pt x="355" y="223"/>
                  </a:moveTo>
                  <a:lnTo>
                    <a:pt x="365" y="225"/>
                  </a:lnTo>
                  <a:lnTo>
                    <a:pt x="374" y="228"/>
                  </a:lnTo>
                  <a:lnTo>
                    <a:pt x="386" y="228"/>
                  </a:lnTo>
                  <a:lnTo>
                    <a:pt x="398" y="228"/>
                  </a:lnTo>
                  <a:lnTo>
                    <a:pt x="409" y="228"/>
                  </a:lnTo>
                  <a:lnTo>
                    <a:pt x="424" y="228"/>
                  </a:lnTo>
                  <a:lnTo>
                    <a:pt x="426" y="232"/>
                  </a:lnTo>
                  <a:lnTo>
                    <a:pt x="430" y="238"/>
                  </a:lnTo>
                  <a:lnTo>
                    <a:pt x="434" y="246"/>
                  </a:lnTo>
                  <a:lnTo>
                    <a:pt x="438" y="251"/>
                  </a:lnTo>
                  <a:lnTo>
                    <a:pt x="438" y="257"/>
                  </a:lnTo>
                  <a:lnTo>
                    <a:pt x="438" y="263"/>
                  </a:lnTo>
                  <a:lnTo>
                    <a:pt x="442" y="267"/>
                  </a:lnTo>
                  <a:lnTo>
                    <a:pt x="445" y="271"/>
                  </a:lnTo>
                  <a:lnTo>
                    <a:pt x="449" y="271"/>
                  </a:lnTo>
                  <a:lnTo>
                    <a:pt x="455" y="271"/>
                  </a:lnTo>
                  <a:lnTo>
                    <a:pt x="465" y="269"/>
                  </a:lnTo>
                  <a:lnTo>
                    <a:pt x="490" y="274"/>
                  </a:lnTo>
                  <a:lnTo>
                    <a:pt x="493" y="282"/>
                  </a:lnTo>
                  <a:lnTo>
                    <a:pt x="493" y="286"/>
                  </a:lnTo>
                  <a:lnTo>
                    <a:pt x="492" y="294"/>
                  </a:lnTo>
                  <a:lnTo>
                    <a:pt x="492" y="297"/>
                  </a:lnTo>
                  <a:lnTo>
                    <a:pt x="482" y="303"/>
                  </a:lnTo>
                  <a:lnTo>
                    <a:pt x="474" y="309"/>
                  </a:lnTo>
                  <a:lnTo>
                    <a:pt x="474" y="311"/>
                  </a:lnTo>
                  <a:lnTo>
                    <a:pt x="474" y="313"/>
                  </a:lnTo>
                  <a:lnTo>
                    <a:pt x="470" y="317"/>
                  </a:lnTo>
                  <a:lnTo>
                    <a:pt x="469" y="319"/>
                  </a:lnTo>
                  <a:lnTo>
                    <a:pt x="467" y="320"/>
                  </a:lnTo>
                  <a:lnTo>
                    <a:pt x="465" y="322"/>
                  </a:lnTo>
                  <a:lnTo>
                    <a:pt x="461" y="326"/>
                  </a:lnTo>
                  <a:lnTo>
                    <a:pt x="459" y="328"/>
                  </a:lnTo>
                  <a:lnTo>
                    <a:pt x="457" y="330"/>
                  </a:lnTo>
                  <a:lnTo>
                    <a:pt x="455" y="334"/>
                  </a:lnTo>
                  <a:lnTo>
                    <a:pt x="451" y="336"/>
                  </a:lnTo>
                  <a:lnTo>
                    <a:pt x="449" y="338"/>
                  </a:lnTo>
                  <a:lnTo>
                    <a:pt x="447" y="340"/>
                  </a:lnTo>
                  <a:lnTo>
                    <a:pt x="445" y="343"/>
                  </a:lnTo>
                  <a:lnTo>
                    <a:pt x="442" y="345"/>
                  </a:lnTo>
                  <a:lnTo>
                    <a:pt x="440" y="347"/>
                  </a:lnTo>
                  <a:lnTo>
                    <a:pt x="428" y="359"/>
                  </a:lnTo>
                  <a:lnTo>
                    <a:pt x="415" y="372"/>
                  </a:lnTo>
                  <a:lnTo>
                    <a:pt x="413" y="374"/>
                  </a:lnTo>
                  <a:lnTo>
                    <a:pt x="411" y="376"/>
                  </a:lnTo>
                  <a:lnTo>
                    <a:pt x="409" y="384"/>
                  </a:lnTo>
                  <a:lnTo>
                    <a:pt x="407" y="391"/>
                  </a:lnTo>
                  <a:lnTo>
                    <a:pt x="403" y="393"/>
                  </a:lnTo>
                  <a:lnTo>
                    <a:pt x="401" y="395"/>
                  </a:lnTo>
                  <a:lnTo>
                    <a:pt x="382" y="395"/>
                  </a:lnTo>
                  <a:lnTo>
                    <a:pt x="363" y="395"/>
                  </a:lnTo>
                  <a:lnTo>
                    <a:pt x="359" y="393"/>
                  </a:lnTo>
                  <a:lnTo>
                    <a:pt x="357" y="391"/>
                  </a:lnTo>
                  <a:lnTo>
                    <a:pt x="350" y="390"/>
                  </a:lnTo>
                  <a:lnTo>
                    <a:pt x="344" y="386"/>
                  </a:lnTo>
                  <a:lnTo>
                    <a:pt x="340" y="384"/>
                  </a:lnTo>
                  <a:lnTo>
                    <a:pt x="338" y="382"/>
                  </a:lnTo>
                  <a:lnTo>
                    <a:pt x="330" y="378"/>
                  </a:lnTo>
                  <a:lnTo>
                    <a:pt x="325" y="376"/>
                  </a:lnTo>
                  <a:lnTo>
                    <a:pt x="321" y="374"/>
                  </a:lnTo>
                  <a:lnTo>
                    <a:pt x="319" y="372"/>
                  </a:lnTo>
                  <a:lnTo>
                    <a:pt x="317" y="368"/>
                  </a:lnTo>
                  <a:lnTo>
                    <a:pt x="315" y="367"/>
                  </a:lnTo>
                  <a:lnTo>
                    <a:pt x="311" y="365"/>
                  </a:lnTo>
                  <a:lnTo>
                    <a:pt x="309" y="363"/>
                  </a:lnTo>
                  <a:lnTo>
                    <a:pt x="307" y="359"/>
                  </a:lnTo>
                  <a:lnTo>
                    <a:pt x="303" y="357"/>
                  </a:lnTo>
                  <a:lnTo>
                    <a:pt x="302" y="355"/>
                  </a:lnTo>
                  <a:lnTo>
                    <a:pt x="300" y="351"/>
                  </a:lnTo>
                  <a:lnTo>
                    <a:pt x="298" y="349"/>
                  </a:lnTo>
                  <a:lnTo>
                    <a:pt x="294" y="347"/>
                  </a:lnTo>
                  <a:lnTo>
                    <a:pt x="292" y="345"/>
                  </a:lnTo>
                  <a:lnTo>
                    <a:pt x="290" y="343"/>
                  </a:lnTo>
                  <a:lnTo>
                    <a:pt x="288" y="340"/>
                  </a:lnTo>
                  <a:lnTo>
                    <a:pt x="284" y="338"/>
                  </a:lnTo>
                  <a:lnTo>
                    <a:pt x="282" y="336"/>
                  </a:lnTo>
                  <a:lnTo>
                    <a:pt x="280" y="334"/>
                  </a:lnTo>
                  <a:lnTo>
                    <a:pt x="277" y="330"/>
                  </a:lnTo>
                  <a:lnTo>
                    <a:pt x="275" y="328"/>
                  </a:lnTo>
                  <a:lnTo>
                    <a:pt x="273" y="326"/>
                  </a:lnTo>
                  <a:lnTo>
                    <a:pt x="271" y="322"/>
                  </a:lnTo>
                  <a:lnTo>
                    <a:pt x="267" y="320"/>
                  </a:lnTo>
                  <a:lnTo>
                    <a:pt x="265" y="319"/>
                  </a:lnTo>
                  <a:lnTo>
                    <a:pt x="261" y="309"/>
                  </a:lnTo>
                  <a:lnTo>
                    <a:pt x="257" y="299"/>
                  </a:lnTo>
                  <a:lnTo>
                    <a:pt x="248" y="299"/>
                  </a:lnTo>
                  <a:lnTo>
                    <a:pt x="240" y="301"/>
                  </a:lnTo>
                  <a:lnTo>
                    <a:pt x="234" y="305"/>
                  </a:lnTo>
                  <a:lnTo>
                    <a:pt x="231" y="311"/>
                  </a:lnTo>
                  <a:lnTo>
                    <a:pt x="227" y="309"/>
                  </a:lnTo>
                  <a:lnTo>
                    <a:pt x="221" y="307"/>
                  </a:lnTo>
                  <a:lnTo>
                    <a:pt x="211" y="301"/>
                  </a:lnTo>
                  <a:lnTo>
                    <a:pt x="202" y="299"/>
                  </a:lnTo>
                  <a:lnTo>
                    <a:pt x="196" y="299"/>
                  </a:lnTo>
                  <a:lnTo>
                    <a:pt x="190" y="301"/>
                  </a:lnTo>
                  <a:lnTo>
                    <a:pt x="186" y="299"/>
                  </a:lnTo>
                  <a:lnTo>
                    <a:pt x="183" y="299"/>
                  </a:lnTo>
                  <a:lnTo>
                    <a:pt x="173" y="299"/>
                  </a:lnTo>
                  <a:lnTo>
                    <a:pt x="163" y="299"/>
                  </a:lnTo>
                  <a:lnTo>
                    <a:pt x="165" y="278"/>
                  </a:lnTo>
                  <a:lnTo>
                    <a:pt x="167" y="278"/>
                  </a:lnTo>
                  <a:lnTo>
                    <a:pt x="167" y="280"/>
                  </a:lnTo>
                  <a:lnTo>
                    <a:pt x="165" y="282"/>
                  </a:lnTo>
                  <a:lnTo>
                    <a:pt x="162" y="282"/>
                  </a:lnTo>
                  <a:lnTo>
                    <a:pt x="154" y="276"/>
                  </a:lnTo>
                  <a:lnTo>
                    <a:pt x="148" y="271"/>
                  </a:lnTo>
                  <a:lnTo>
                    <a:pt x="142" y="265"/>
                  </a:lnTo>
                  <a:lnTo>
                    <a:pt x="135" y="257"/>
                  </a:lnTo>
                  <a:lnTo>
                    <a:pt x="129" y="251"/>
                  </a:lnTo>
                  <a:lnTo>
                    <a:pt x="119" y="244"/>
                  </a:lnTo>
                  <a:lnTo>
                    <a:pt x="108" y="236"/>
                  </a:lnTo>
                  <a:lnTo>
                    <a:pt x="102" y="232"/>
                  </a:lnTo>
                  <a:lnTo>
                    <a:pt x="96" y="228"/>
                  </a:lnTo>
                  <a:lnTo>
                    <a:pt x="89" y="225"/>
                  </a:lnTo>
                  <a:lnTo>
                    <a:pt x="83" y="223"/>
                  </a:lnTo>
                  <a:lnTo>
                    <a:pt x="79" y="219"/>
                  </a:lnTo>
                  <a:lnTo>
                    <a:pt x="77" y="217"/>
                  </a:lnTo>
                  <a:lnTo>
                    <a:pt x="75" y="215"/>
                  </a:lnTo>
                  <a:lnTo>
                    <a:pt x="71" y="213"/>
                  </a:lnTo>
                  <a:lnTo>
                    <a:pt x="69" y="209"/>
                  </a:lnTo>
                  <a:lnTo>
                    <a:pt x="68" y="207"/>
                  </a:lnTo>
                  <a:lnTo>
                    <a:pt x="62" y="205"/>
                  </a:lnTo>
                  <a:lnTo>
                    <a:pt x="58" y="201"/>
                  </a:lnTo>
                  <a:lnTo>
                    <a:pt x="58" y="198"/>
                  </a:lnTo>
                  <a:lnTo>
                    <a:pt x="58" y="192"/>
                  </a:lnTo>
                  <a:lnTo>
                    <a:pt x="56" y="182"/>
                  </a:lnTo>
                  <a:lnTo>
                    <a:pt x="54" y="173"/>
                  </a:lnTo>
                  <a:lnTo>
                    <a:pt x="50" y="171"/>
                  </a:lnTo>
                  <a:lnTo>
                    <a:pt x="48" y="169"/>
                  </a:lnTo>
                  <a:lnTo>
                    <a:pt x="43" y="169"/>
                  </a:lnTo>
                  <a:lnTo>
                    <a:pt x="39" y="169"/>
                  </a:lnTo>
                  <a:lnTo>
                    <a:pt x="35" y="171"/>
                  </a:lnTo>
                  <a:lnTo>
                    <a:pt x="33" y="173"/>
                  </a:lnTo>
                  <a:lnTo>
                    <a:pt x="29" y="173"/>
                  </a:lnTo>
                  <a:lnTo>
                    <a:pt x="23" y="173"/>
                  </a:lnTo>
                  <a:lnTo>
                    <a:pt x="21" y="171"/>
                  </a:lnTo>
                  <a:lnTo>
                    <a:pt x="20" y="169"/>
                  </a:lnTo>
                  <a:lnTo>
                    <a:pt x="20" y="146"/>
                  </a:lnTo>
                  <a:lnTo>
                    <a:pt x="20" y="125"/>
                  </a:lnTo>
                  <a:lnTo>
                    <a:pt x="12" y="125"/>
                  </a:lnTo>
                  <a:lnTo>
                    <a:pt x="4" y="125"/>
                  </a:lnTo>
                  <a:lnTo>
                    <a:pt x="2" y="123"/>
                  </a:lnTo>
                  <a:lnTo>
                    <a:pt x="0" y="121"/>
                  </a:lnTo>
                  <a:lnTo>
                    <a:pt x="0" y="115"/>
                  </a:lnTo>
                  <a:lnTo>
                    <a:pt x="0" y="111"/>
                  </a:lnTo>
                  <a:lnTo>
                    <a:pt x="2" y="107"/>
                  </a:lnTo>
                  <a:lnTo>
                    <a:pt x="4" y="106"/>
                  </a:lnTo>
                  <a:lnTo>
                    <a:pt x="21" y="98"/>
                  </a:lnTo>
                  <a:lnTo>
                    <a:pt x="39" y="92"/>
                  </a:lnTo>
                  <a:lnTo>
                    <a:pt x="41" y="88"/>
                  </a:lnTo>
                  <a:lnTo>
                    <a:pt x="43" y="86"/>
                  </a:lnTo>
                  <a:lnTo>
                    <a:pt x="56" y="86"/>
                  </a:lnTo>
                  <a:lnTo>
                    <a:pt x="68" y="86"/>
                  </a:lnTo>
                  <a:lnTo>
                    <a:pt x="68" y="69"/>
                  </a:lnTo>
                  <a:lnTo>
                    <a:pt x="68" y="52"/>
                  </a:lnTo>
                  <a:lnTo>
                    <a:pt x="69" y="50"/>
                  </a:lnTo>
                  <a:lnTo>
                    <a:pt x="71" y="48"/>
                  </a:lnTo>
                  <a:lnTo>
                    <a:pt x="75" y="46"/>
                  </a:lnTo>
                  <a:lnTo>
                    <a:pt x="77" y="42"/>
                  </a:lnTo>
                  <a:lnTo>
                    <a:pt x="79" y="40"/>
                  </a:lnTo>
                  <a:lnTo>
                    <a:pt x="83" y="38"/>
                  </a:lnTo>
                  <a:lnTo>
                    <a:pt x="85" y="36"/>
                  </a:lnTo>
                  <a:lnTo>
                    <a:pt x="87" y="33"/>
                  </a:lnTo>
                  <a:lnTo>
                    <a:pt x="89" y="31"/>
                  </a:lnTo>
                  <a:lnTo>
                    <a:pt x="92" y="29"/>
                  </a:lnTo>
                  <a:lnTo>
                    <a:pt x="94" y="25"/>
                  </a:lnTo>
                  <a:lnTo>
                    <a:pt x="96" y="23"/>
                  </a:lnTo>
                  <a:lnTo>
                    <a:pt x="98" y="21"/>
                  </a:lnTo>
                  <a:lnTo>
                    <a:pt x="102" y="19"/>
                  </a:lnTo>
                  <a:lnTo>
                    <a:pt x="108" y="13"/>
                  </a:lnTo>
                  <a:lnTo>
                    <a:pt x="115" y="10"/>
                  </a:lnTo>
                  <a:lnTo>
                    <a:pt x="121" y="10"/>
                  </a:lnTo>
                  <a:lnTo>
                    <a:pt x="125" y="10"/>
                  </a:lnTo>
                  <a:lnTo>
                    <a:pt x="125" y="13"/>
                  </a:lnTo>
                  <a:lnTo>
                    <a:pt x="125" y="19"/>
                  </a:lnTo>
                  <a:lnTo>
                    <a:pt x="144" y="19"/>
                  </a:lnTo>
                  <a:lnTo>
                    <a:pt x="163" y="19"/>
                  </a:lnTo>
                  <a:lnTo>
                    <a:pt x="163" y="13"/>
                  </a:lnTo>
                  <a:lnTo>
                    <a:pt x="163" y="10"/>
                  </a:lnTo>
                  <a:lnTo>
                    <a:pt x="169" y="4"/>
                  </a:lnTo>
                  <a:lnTo>
                    <a:pt x="175" y="0"/>
                  </a:lnTo>
                  <a:lnTo>
                    <a:pt x="186" y="0"/>
                  </a:lnTo>
                  <a:lnTo>
                    <a:pt x="198" y="0"/>
                  </a:lnTo>
                  <a:lnTo>
                    <a:pt x="200" y="2"/>
                  </a:lnTo>
                  <a:lnTo>
                    <a:pt x="204" y="4"/>
                  </a:lnTo>
                  <a:lnTo>
                    <a:pt x="206" y="6"/>
                  </a:lnTo>
                  <a:lnTo>
                    <a:pt x="208" y="10"/>
                  </a:lnTo>
                  <a:lnTo>
                    <a:pt x="209" y="12"/>
                  </a:lnTo>
                  <a:lnTo>
                    <a:pt x="213" y="13"/>
                  </a:lnTo>
                  <a:lnTo>
                    <a:pt x="217" y="29"/>
                  </a:lnTo>
                  <a:lnTo>
                    <a:pt x="223" y="42"/>
                  </a:lnTo>
                  <a:lnTo>
                    <a:pt x="219" y="46"/>
                  </a:lnTo>
                  <a:lnTo>
                    <a:pt x="217" y="48"/>
                  </a:lnTo>
                  <a:lnTo>
                    <a:pt x="215" y="56"/>
                  </a:lnTo>
                  <a:lnTo>
                    <a:pt x="213" y="61"/>
                  </a:lnTo>
                  <a:lnTo>
                    <a:pt x="209" y="65"/>
                  </a:lnTo>
                  <a:lnTo>
                    <a:pt x="208" y="67"/>
                  </a:lnTo>
                  <a:lnTo>
                    <a:pt x="208" y="86"/>
                  </a:lnTo>
                  <a:lnTo>
                    <a:pt x="208" y="106"/>
                  </a:lnTo>
                  <a:lnTo>
                    <a:pt x="209" y="107"/>
                  </a:lnTo>
                  <a:lnTo>
                    <a:pt x="213" y="111"/>
                  </a:lnTo>
                  <a:lnTo>
                    <a:pt x="215" y="113"/>
                  </a:lnTo>
                  <a:lnTo>
                    <a:pt x="217" y="115"/>
                  </a:lnTo>
                  <a:lnTo>
                    <a:pt x="219" y="117"/>
                  </a:lnTo>
                  <a:lnTo>
                    <a:pt x="223" y="121"/>
                  </a:lnTo>
                  <a:lnTo>
                    <a:pt x="225" y="123"/>
                  </a:lnTo>
                  <a:lnTo>
                    <a:pt x="227" y="125"/>
                  </a:lnTo>
                  <a:lnTo>
                    <a:pt x="229" y="127"/>
                  </a:lnTo>
                  <a:lnTo>
                    <a:pt x="233" y="131"/>
                  </a:lnTo>
                  <a:lnTo>
                    <a:pt x="234" y="132"/>
                  </a:lnTo>
                  <a:lnTo>
                    <a:pt x="236" y="134"/>
                  </a:lnTo>
                  <a:lnTo>
                    <a:pt x="238" y="136"/>
                  </a:lnTo>
                  <a:lnTo>
                    <a:pt x="242" y="140"/>
                  </a:lnTo>
                  <a:lnTo>
                    <a:pt x="242" y="146"/>
                  </a:lnTo>
                  <a:lnTo>
                    <a:pt x="242" y="154"/>
                  </a:lnTo>
                  <a:lnTo>
                    <a:pt x="254" y="159"/>
                  </a:lnTo>
                  <a:lnTo>
                    <a:pt x="265" y="163"/>
                  </a:lnTo>
                  <a:lnTo>
                    <a:pt x="267" y="165"/>
                  </a:lnTo>
                  <a:lnTo>
                    <a:pt x="271" y="169"/>
                  </a:lnTo>
                  <a:lnTo>
                    <a:pt x="273" y="171"/>
                  </a:lnTo>
                  <a:lnTo>
                    <a:pt x="275" y="173"/>
                  </a:lnTo>
                  <a:lnTo>
                    <a:pt x="277" y="177"/>
                  </a:lnTo>
                  <a:lnTo>
                    <a:pt x="280" y="178"/>
                  </a:lnTo>
                  <a:lnTo>
                    <a:pt x="292" y="180"/>
                  </a:lnTo>
                  <a:lnTo>
                    <a:pt x="303" y="184"/>
                  </a:lnTo>
                  <a:lnTo>
                    <a:pt x="307" y="186"/>
                  </a:lnTo>
                  <a:lnTo>
                    <a:pt x="309" y="188"/>
                  </a:lnTo>
                  <a:lnTo>
                    <a:pt x="311" y="190"/>
                  </a:lnTo>
                  <a:lnTo>
                    <a:pt x="315" y="192"/>
                  </a:lnTo>
                  <a:lnTo>
                    <a:pt x="317" y="196"/>
                  </a:lnTo>
                  <a:lnTo>
                    <a:pt x="319" y="198"/>
                  </a:lnTo>
                  <a:lnTo>
                    <a:pt x="327" y="200"/>
                  </a:lnTo>
                  <a:lnTo>
                    <a:pt x="334" y="201"/>
                  </a:lnTo>
                  <a:lnTo>
                    <a:pt x="336" y="205"/>
                  </a:lnTo>
                  <a:lnTo>
                    <a:pt x="338" y="207"/>
                  </a:lnTo>
                  <a:lnTo>
                    <a:pt x="340" y="209"/>
                  </a:lnTo>
                  <a:lnTo>
                    <a:pt x="344" y="213"/>
                  </a:lnTo>
                  <a:lnTo>
                    <a:pt x="346" y="215"/>
                  </a:lnTo>
                  <a:lnTo>
                    <a:pt x="348" y="217"/>
                  </a:lnTo>
                  <a:lnTo>
                    <a:pt x="351" y="221"/>
                  </a:lnTo>
                  <a:lnTo>
                    <a:pt x="355" y="223"/>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70" name="Freeform 337"/>
            <p:cNvSpPr>
              <a:spLocks/>
            </p:cNvSpPr>
            <p:nvPr>
              <p:custDataLst>
                <p:tags r:id="rId54"/>
              </p:custDataLst>
            </p:nvPr>
          </p:nvSpPr>
          <p:spPr bwMode="gray">
            <a:xfrm>
              <a:off x="1905000" y="3839978"/>
              <a:ext cx="14288" cy="14288"/>
            </a:xfrm>
            <a:custGeom>
              <a:avLst/>
              <a:gdLst>
                <a:gd name="T0" fmla="*/ 0 w 10"/>
                <a:gd name="T1" fmla="*/ 2147483647 h 10"/>
                <a:gd name="T2" fmla="*/ 2147483647 w 10"/>
                <a:gd name="T3" fmla="*/ 2147483647 h 10"/>
                <a:gd name="T4" fmla="*/ 2147483647 w 10"/>
                <a:gd name="T5" fmla="*/ 0 h 10"/>
                <a:gd name="T6" fmla="*/ 2147483647 w 10"/>
                <a:gd name="T7" fmla="*/ 2147483647 h 10"/>
                <a:gd name="T8" fmla="*/ 2147483647 w 10"/>
                <a:gd name="T9" fmla="*/ 2147483647 h 10"/>
                <a:gd name="T10" fmla="*/ 2147483647 w 10"/>
                <a:gd name="T11" fmla="*/ 2147483647 h 10"/>
                <a:gd name="T12" fmla="*/ 2147483647 w 10"/>
                <a:gd name="T13" fmla="*/ 2147483647 h 10"/>
                <a:gd name="T14" fmla="*/ 2147483647 w 10"/>
                <a:gd name="T15" fmla="*/ 2147483647 h 10"/>
                <a:gd name="T16" fmla="*/ 0 w 10"/>
                <a:gd name="T17" fmla="*/ 2147483647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10"/>
                <a:gd name="T29" fmla="*/ 10 w 10"/>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10">
                  <a:moveTo>
                    <a:pt x="0" y="10"/>
                  </a:moveTo>
                  <a:lnTo>
                    <a:pt x="4" y="6"/>
                  </a:lnTo>
                  <a:lnTo>
                    <a:pt x="6" y="0"/>
                  </a:lnTo>
                  <a:lnTo>
                    <a:pt x="8" y="2"/>
                  </a:lnTo>
                  <a:lnTo>
                    <a:pt x="10" y="6"/>
                  </a:lnTo>
                  <a:lnTo>
                    <a:pt x="10" y="8"/>
                  </a:lnTo>
                  <a:lnTo>
                    <a:pt x="10" y="10"/>
                  </a:lnTo>
                  <a:lnTo>
                    <a:pt x="6" y="10"/>
                  </a:lnTo>
                  <a:lnTo>
                    <a:pt x="0" y="10"/>
                  </a:lnTo>
                  <a:close/>
                </a:path>
              </a:pathLst>
            </a:custGeom>
            <a:grpFill/>
            <a:ln w="12700">
              <a:solidFill>
                <a:schemeClr val="bg1"/>
              </a:solidFill>
              <a:round/>
              <a:headEnd/>
              <a:tailEnd/>
            </a:ln>
          </p:spPr>
          <p:txBody>
            <a:bodyPr/>
            <a:lstStyle/>
            <a:p>
              <a:pPr algn="ctr" defTabSz="685800" eaLnBrk="0" hangingPunct="0">
                <a:spcBef>
                  <a:spcPct val="50000"/>
                </a:spcBef>
                <a:buClrTx/>
              </a:pPr>
              <a:endParaRPr lang="en-US" sz="1350" kern="1200">
                <a:ea typeface="+mn-ea"/>
                <a:cs typeface="+mn-cs"/>
              </a:endParaRPr>
            </a:p>
          </p:txBody>
        </p:sp>
        <p:sp>
          <p:nvSpPr>
            <p:cNvPr id="71" name="Freeform 338"/>
            <p:cNvSpPr>
              <a:spLocks/>
            </p:cNvSpPr>
            <p:nvPr>
              <p:custDataLst>
                <p:tags r:id="rId55"/>
              </p:custDataLst>
            </p:nvPr>
          </p:nvSpPr>
          <p:spPr bwMode="gray">
            <a:xfrm>
              <a:off x="1109663" y="3959041"/>
              <a:ext cx="182562" cy="246062"/>
            </a:xfrm>
            <a:custGeom>
              <a:avLst/>
              <a:gdLst>
                <a:gd name="T0" fmla="*/ 2147483647 w 117"/>
                <a:gd name="T1" fmla="*/ 2147483647 h 163"/>
                <a:gd name="T2" fmla="*/ 2147483647 w 117"/>
                <a:gd name="T3" fmla="*/ 2147483647 h 163"/>
                <a:gd name="T4" fmla="*/ 2147483647 w 117"/>
                <a:gd name="T5" fmla="*/ 2147483647 h 163"/>
                <a:gd name="T6" fmla="*/ 2147483647 w 117"/>
                <a:gd name="T7" fmla="*/ 2147483647 h 163"/>
                <a:gd name="T8" fmla="*/ 2147483647 w 117"/>
                <a:gd name="T9" fmla="*/ 2147483647 h 163"/>
                <a:gd name="T10" fmla="*/ 2147483647 w 117"/>
                <a:gd name="T11" fmla="*/ 2147483647 h 163"/>
                <a:gd name="T12" fmla="*/ 2147483647 w 117"/>
                <a:gd name="T13" fmla="*/ 2147483647 h 163"/>
                <a:gd name="T14" fmla="*/ 2147483647 w 117"/>
                <a:gd name="T15" fmla="*/ 2147483647 h 163"/>
                <a:gd name="T16" fmla="*/ 2147483647 w 117"/>
                <a:gd name="T17" fmla="*/ 2147483647 h 163"/>
                <a:gd name="T18" fmla="*/ 2147483647 w 117"/>
                <a:gd name="T19" fmla="*/ 2147483647 h 163"/>
                <a:gd name="T20" fmla="*/ 2147483647 w 117"/>
                <a:gd name="T21" fmla="*/ 2147483647 h 163"/>
                <a:gd name="T22" fmla="*/ 0 w 117"/>
                <a:gd name="T23" fmla="*/ 2147483647 h 163"/>
                <a:gd name="T24" fmla="*/ 2147483647 w 117"/>
                <a:gd name="T25" fmla="*/ 2147483647 h 163"/>
                <a:gd name="T26" fmla="*/ 2147483647 w 117"/>
                <a:gd name="T27" fmla="*/ 2147483647 h 163"/>
                <a:gd name="T28" fmla="*/ 2147483647 w 117"/>
                <a:gd name="T29" fmla="*/ 2147483647 h 163"/>
                <a:gd name="T30" fmla="*/ 2147483647 w 117"/>
                <a:gd name="T31" fmla="*/ 2147483647 h 163"/>
                <a:gd name="T32" fmla="*/ 2147483647 w 117"/>
                <a:gd name="T33" fmla="*/ 2147483647 h 163"/>
                <a:gd name="T34" fmla="*/ 2147483647 w 117"/>
                <a:gd name="T35" fmla="*/ 2147483647 h 163"/>
                <a:gd name="T36" fmla="*/ 2147483647 w 117"/>
                <a:gd name="T37" fmla="*/ 2147483647 h 163"/>
                <a:gd name="T38" fmla="*/ 2147483647 w 117"/>
                <a:gd name="T39" fmla="*/ 2147483647 h 163"/>
                <a:gd name="T40" fmla="*/ 2147483647 w 117"/>
                <a:gd name="T41" fmla="*/ 2147483647 h 163"/>
                <a:gd name="T42" fmla="*/ 2147483647 w 117"/>
                <a:gd name="T43" fmla="*/ 2147483647 h 163"/>
                <a:gd name="T44" fmla="*/ 2147483647 w 117"/>
                <a:gd name="T45" fmla="*/ 2147483647 h 163"/>
                <a:gd name="T46" fmla="*/ 2147483647 w 117"/>
                <a:gd name="T47" fmla="*/ 2147483647 h 163"/>
                <a:gd name="T48" fmla="*/ 2147483647 w 117"/>
                <a:gd name="T49" fmla="*/ 2147483647 h 163"/>
                <a:gd name="T50" fmla="*/ 2147483647 w 117"/>
                <a:gd name="T51" fmla="*/ 2147483647 h 163"/>
                <a:gd name="T52" fmla="*/ 2147483647 w 117"/>
                <a:gd name="T53" fmla="*/ 2147483647 h 163"/>
                <a:gd name="T54" fmla="*/ 2147483647 w 117"/>
                <a:gd name="T55" fmla="*/ 2147483647 h 163"/>
                <a:gd name="T56" fmla="*/ 2147483647 w 117"/>
                <a:gd name="T57" fmla="*/ 2147483647 h 163"/>
                <a:gd name="T58" fmla="*/ 2147483647 w 117"/>
                <a:gd name="T59" fmla="*/ 2147483647 h 163"/>
                <a:gd name="T60" fmla="*/ 2147483647 w 117"/>
                <a:gd name="T61" fmla="*/ 2147483647 h 163"/>
                <a:gd name="T62" fmla="*/ 2147483647 w 117"/>
                <a:gd name="T63" fmla="*/ 2147483647 h 163"/>
                <a:gd name="T64" fmla="*/ 2147483647 w 117"/>
                <a:gd name="T65" fmla="*/ 2147483647 h 163"/>
                <a:gd name="T66" fmla="*/ 2147483647 w 117"/>
                <a:gd name="T67" fmla="*/ 2147483647 h 163"/>
                <a:gd name="T68" fmla="*/ 2147483647 w 117"/>
                <a:gd name="T69" fmla="*/ 2147483647 h 163"/>
                <a:gd name="T70" fmla="*/ 2147483647 w 117"/>
                <a:gd name="T71" fmla="*/ 2147483647 h 163"/>
                <a:gd name="T72" fmla="*/ 2147483647 w 117"/>
                <a:gd name="T73" fmla="*/ 2147483647 h 163"/>
                <a:gd name="T74" fmla="*/ 2147483647 w 117"/>
                <a:gd name="T75" fmla="*/ 2147483647 h 16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17"/>
                <a:gd name="T115" fmla="*/ 0 h 163"/>
                <a:gd name="T116" fmla="*/ 117 w 117"/>
                <a:gd name="T117" fmla="*/ 163 h 16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17" h="163">
                  <a:moveTo>
                    <a:pt x="63" y="163"/>
                  </a:moveTo>
                  <a:lnTo>
                    <a:pt x="59" y="161"/>
                  </a:lnTo>
                  <a:lnTo>
                    <a:pt x="58" y="159"/>
                  </a:lnTo>
                  <a:lnTo>
                    <a:pt x="56" y="155"/>
                  </a:lnTo>
                  <a:lnTo>
                    <a:pt x="54" y="153"/>
                  </a:lnTo>
                  <a:lnTo>
                    <a:pt x="52" y="151"/>
                  </a:lnTo>
                  <a:lnTo>
                    <a:pt x="48" y="149"/>
                  </a:lnTo>
                  <a:lnTo>
                    <a:pt x="46" y="132"/>
                  </a:lnTo>
                  <a:lnTo>
                    <a:pt x="44" y="115"/>
                  </a:lnTo>
                  <a:lnTo>
                    <a:pt x="42" y="113"/>
                  </a:lnTo>
                  <a:lnTo>
                    <a:pt x="38" y="111"/>
                  </a:lnTo>
                  <a:lnTo>
                    <a:pt x="36" y="103"/>
                  </a:lnTo>
                  <a:lnTo>
                    <a:pt x="35" y="96"/>
                  </a:lnTo>
                  <a:lnTo>
                    <a:pt x="31" y="94"/>
                  </a:lnTo>
                  <a:lnTo>
                    <a:pt x="29" y="90"/>
                  </a:lnTo>
                  <a:lnTo>
                    <a:pt x="21" y="88"/>
                  </a:lnTo>
                  <a:lnTo>
                    <a:pt x="15" y="86"/>
                  </a:lnTo>
                  <a:lnTo>
                    <a:pt x="11" y="84"/>
                  </a:lnTo>
                  <a:lnTo>
                    <a:pt x="10" y="80"/>
                  </a:lnTo>
                  <a:lnTo>
                    <a:pt x="8" y="69"/>
                  </a:lnTo>
                  <a:lnTo>
                    <a:pt x="6" y="57"/>
                  </a:lnTo>
                  <a:lnTo>
                    <a:pt x="2" y="55"/>
                  </a:lnTo>
                  <a:lnTo>
                    <a:pt x="0" y="52"/>
                  </a:lnTo>
                  <a:lnTo>
                    <a:pt x="0" y="42"/>
                  </a:lnTo>
                  <a:lnTo>
                    <a:pt x="0" y="32"/>
                  </a:lnTo>
                  <a:lnTo>
                    <a:pt x="2" y="30"/>
                  </a:lnTo>
                  <a:lnTo>
                    <a:pt x="6" y="29"/>
                  </a:lnTo>
                  <a:lnTo>
                    <a:pt x="8" y="25"/>
                  </a:lnTo>
                  <a:lnTo>
                    <a:pt x="10" y="23"/>
                  </a:lnTo>
                  <a:lnTo>
                    <a:pt x="11" y="21"/>
                  </a:lnTo>
                  <a:lnTo>
                    <a:pt x="15" y="19"/>
                  </a:lnTo>
                  <a:lnTo>
                    <a:pt x="21" y="15"/>
                  </a:lnTo>
                  <a:lnTo>
                    <a:pt x="29" y="13"/>
                  </a:lnTo>
                  <a:lnTo>
                    <a:pt x="31" y="11"/>
                  </a:lnTo>
                  <a:lnTo>
                    <a:pt x="35" y="9"/>
                  </a:lnTo>
                  <a:lnTo>
                    <a:pt x="36" y="6"/>
                  </a:lnTo>
                  <a:lnTo>
                    <a:pt x="38" y="4"/>
                  </a:lnTo>
                  <a:lnTo>
                    <a:pt x="42" y="2"/>
                  </a:lnTo>
                  <a:lnTo>
                    <a:pt x="44" y="0"/>
                  </a:lnTo>
                  <a:lnTo>
                    <a:pt x="46" y="2"/>
                  </a:lnTo>
                  <a:lnTo>
                    <a:pt x="48" y="4"/>
                  </a:lnTo>
                  <a:lnTo>
                    <a:pt x="50" y="7"/>
                  </a:lnTo>
                  <a:lnTo>
                    <a:pt x="54" y="7"/>
                  </a:lnTo>
                  <a:lnTo>
                    <a:pt x="65" y="9"/>
                  </a:lnTo>
                  <a:lnTo>
                    <a:pt x="86" y="9"/>
                  </a:lnTo>
                  <a:lnTo>
                    <a:pt x="90" y="11"/>
                  </a:lnTo>
                  <a:lnTo>
                    <a:pt x="94" y="15"/>
                  </a:lnTo>
                  <a:lnTo>
                    <a:pt x="92" y="19"/>
                  </a:lnTo>
                  <a:lnTo>
                    <a:pt x="90" y="23"/>
                  </a:lnTo>
                  <a:lnTo>
                    <a:pt x="90" y="27"/>
                  </a:lnTo>
                  <a:lnTo>
                    <a:pt x="92" y="29"/>
                  </a:lnTo>
                  <a:lnTo>
                    <a:pt x="94" y="30"/>
                  </a:lnTo>
                  <a:lnTo>
                    <a:pt x="98" y="32"/>
                  </a:lnTo>
                  <a:lnTo>
                    <a:pt x="100" y="40"/>
                  </a:lnTo>
                  <a:lnTo>
                    <a:pt x="102" y="48"/>
                  </a:lnTo>
                  <a:lnTo>
                    <a:pt x="104" y="50"/>
                  </a:lnTo>
                  <a:lnTo>
                    <a:pt x="107" y="52"/>
                  </a:lnTo>
                  <a:lnTo>
                    <a:pt x="109" y="65"/>
                  </a:lnTo>
                  <a:lnTo>
                    <a:pt x="111" y="77"/>
                  </a:lnTo>
                  <a:lnTo>
                    <a:pt x="113" y="78"/>
                  </a:lnTo>
                  <a:lnTo>
                    <a:pt x="117" y="80"/>
                  </a:lnTo>
                  <a:lnTo>
                    <a:pt x="117" y="96"/>
                  </a:lnTo>
                  <a:lnTo>
                    <a:pt x="117" y="111"/>
                  </a:lnTo>
                  <a:lnTo>
                    <a:pt x="113" y="113"/>
                  </a:lnTo>
                  <a:lnTo>
                    <a:pt x="111" y="115"/>
                  </a:lnTo>
                  <a:lnTo>
                    <a:pt x="109" y="123"/>
                  </a:lnTo>
                  <a:lnTo>
                    <a:pt x="107" y="128"/>
                  </a:lnTo>
                  <a:lnTo>
                    <a:pt x="104" y="132"/>
                  </a:lnTo>
                  <a:lnTo>
                    <a:pt x="102" y="134"/>
                  </a:lnTo>
                  <a:lnTo>
                    <a:pt x="100" y="142"/>
                  </a:lnTo>
                  <a:lnTo>
                    <a:pt x="98" y="149"/>
                  </a:lnTo>
                  <a:lnTo>
                    <a:pt x="94" y="151"/>
                  </a:lnTo>
                  <a:lnTo>
                    <a:pt x="92" y="153"/>
                  </a:lnTo>
                  <a:lnTo>
                    <a:pt x="81" y="155"/>
                  </a:lnTo>
                  <a:lnTo>
                    <a:pt x="67" y="159"/>
                  </a:lnTo>
                  <a:lnTo>
                    <a:pt x="65" y="161"/>
                  </a:lnTo>
                  <a:lnTo>
                    <a:pt x="63" y="163"/>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72" name="Freeform 339"/>
            <p:cNvSpPr>
              <a:spLocks/>
            </p:cNvSpPr>
            <p:nvPr>
              <p:custDataLst>
                <p:tags r:id="rId56"/>
              </p:custDataLst>
            </p:nvPr>
          </p:nvSpPr>
          <p:spPr bwMode="gray">
            <a:xfrm>
              <a:off x="1138238" y="3784416"/>
              <a:ext cx="288925" cy="179387"/>
            </a:xfrm>
            <a:custGeom>
              <a:avLst/>
              <a:gdLst>
                <a:gd name="T0" fmla="*/ 2147483647 w 186"/>
                <a:gd name="T1" fmla="*/ 2147483647 h 121"/>
                <a:gd name="T2" fmla="*/ 2147483647 w 186"/>
                <a:gd name="T3" fmla="*/ 2147483647 h 121"/>
                <a:gd name="T4" fmla="*/ 2147483647 w 186"/>
                <a:gd name="T5" fmla="*/ 2147483647 h 121"/>
                <a:gd name="T6" fmla="*/ 2147483647 w 186"/>
                <a:gd name="T7" fmla="*/ 2147483647 h 121"/>
                <a:gd name="T8" fmla="*/ 2147483647 w 186"/>
                <a:gd name="T9" fmla="*/ 2147483647 h 121"/>
                <a:gd name="T10" fmla="*/ 2147483647 w 186"/>
                <a:gd name="T11" fmla="*/ 2147483647 h 121"/>
                <a:gd name="T12" fmla="*/ 2147483647 w 186"/>
                <a:gd name="T13" fmla="*/ 2147483647 h 121"/>
                <a:gd name="T14" fmla="*/ 2147483647 w 186"/>
                <a:gd name="T15" fmla="*/ 2147483647 h 121"/>
                <a:gd name="T16" fmla="*/ 2147483647 w 186"/>
                <a:gd name="T17" fmla="*/ 2147483647 h 121"/>
                <a:gd name="T18" fmla="*/ 2147483647 w 186"/>
                <a:gd name="T19" fmla="*/ 2147483647 h 121"/>
                <a:gd name="T20" fmla="*/ 2147483647 w 186"/>
                <a:gd name="T21" fmla="*/ 2147483647 h 121"/>
                <a:gd name="T22" fmla="*/ 2147483647 w 186"/>
                <a:gd name="T23" fmla="*/ 2147483647 h 121"/>
                <a:gd name="T24" fmla="*/ 2147483647 w 186"/>
                <a:gd name="T25" fmla="*/ 2147483647 h 121"/>
                <a:gd name="T26" fmla="*/ 2147483647 w 186"/>
                <a:gd name="T27" fmla="*/ 2147483647 h 121"/>
                <a:gd name="T28" fmla="*/ 2147483647 w 186"/>
                <a:gd name="T29" fmla="*/ 2147483647 h 121"/>
                <a:gd name="T30" fmla="*/ 2147483647 w 186"/>
                <a:gd name="T31" fmla="*/ 2147483647 h 121"/>
                <a:gd name="T32" fmla="*/ 2147483647 w 186"/>
                <a:gd name="T33" fmla="*/ 2147483647 h 121"/>
                <a:gd name="T34" fmla="*/ 2147483647 w 186"/>
                <a:gd name="T35" fmla="*/ 2147483647 h 121"/>
                <a:gd name="T36" fmla="*/ 2147483647 w 186"/>
                <a:gd name="T37" fmla="*/ 2147483647 h 121"/>
                <a:gd name="T38" fmla="*/ 2147483647 w 186"/>
                <a:gd name="T39" fmla="*/ 2147483647 h 121"/>
                <a:gd name="T40" fmla="*/ 2147483647 w 186"/>
                <a:gd name="T41" fmla="*/ 2147483647 h 121"/>
                <a:gd name="T42" fmla="*/ 2147483647 w 186"/>
                <a:gd name="T43" fmla="*/ 0 h 121"/>
                <a:gd name="T44" fmla="*/ 2147483647 w 186"/>
                <a:gd name="T45" fmla="*/ 2147483647 h 121"/>
                <a:gd name="T46" fmla="*/ 2147483647 w 186"/>
                <a:gd name="T47" fmla="*/ 2147483647 h 121"/>
                <a:gd name="T48" fmla="*/ 2147483647 w 186"/>
                <a:gd name="T49" fmla="*/ 2147483647 h 121"/>
                <a:gd name="T50" fmla="*/ 2147483647 w 186"/>
                <a:gd name="T51" fmla="*/ 2147483647 h 121"/>
                <a:gd name="T52" fmla="*/ 2147483647 w 186"/>
                <a:gd name="T53" fmla="*/ 2147483647 h 121"/>
                <a:gd name="T54" fmla="*/ 2147483647 w 186"/>
                <a:gd name="T55" fmla="*/ 2147483647 h 121"/>
                <a:gd name="T56" fmla="*/ 2147483647 w 186"/>
                <a:gd name="T57" fmla="*/ 2147483647 h 121"/>
                <a:gd name="T58" fmla="*/ 2147483647 w 186"/>
                <a:gd name="T59" fmla="*/ 2147483647 h 121"/>
                <a:gd name="T60" fmla="*/ 2147483647 w 186"/>
                <a:gd name="T61" fmla="*/ 2147483647 h 121"/>
                <a:gd name="T62" fmla="*/ 2147483647 w 186"/>
                <a:gd name="T63" fmla="*/ 2147483647 h 121"/>
                <a:gd name="T64" fmla="*/ 2147483647 w 186"/>
                <a:gd name="T65" fmla="*/ 2147483647 h 121"/>
                <a:gd name="T66" fmla="*/ 2147483647 w 186"/>
                <a:gd name="T67" fmla="*/ 2147483647 h 121"/>
                <a:gd name="T68" fmla="*/ 2147483647 w 186"/>
                <a:gd name="T69" fmla="*/ 2147483647 h 121"/>
                <a:gd name="T70" fmla="*/ 2147483647 w 186"/>
                <a:gd name="T71" fmla="*/ 2147483647 h 121"/>
                <a:gd name="T72" fmla="*/ 2147483647 w 186"/>
                <a:gd name="T73" fmla="*/ 2147483647 h 121"/>
                <a:gd name="T74" fmla="*/ 2147483647 w 186"/>
                <a:gd name="T75" fmla="*/ 2147483647 h 121"/>
                <a:gd name="T76" fmla="*/ 2147483647 w 186"/>
                <a:gd name="T77" fmla="*/ 2147483647 h 12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86"/>
                <a:gd name="T118" fmla="*/ 0 h 121"/>
                <a:gd name="T119" fmla="*/ 186 w 186"/>
                <a:gd name="T120" fmla="*/ 121 h 12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86" h="121">
                  <a:moveTo>
                    <a:pt x="184" y="57"/>
                  </a:moveTo>
                  <a:lnTo>
                    <a:pt x="184" y="75"/>
                  </a:lnTo>
                  <a:lnTo>
                    <a:pt x="184" y="92"/>
                  </a:lnTo>
                  <a:lnTo>
                    <a:pt x="182" y="94"/>
                  </a:lnTo>
                  <a:lnTo>
                    <a:pt x="179" y="96"/>
                  </a:lnTo>
                  <a:lnTo>
                    <a:pt x="159" y="98"/>
                  </a:lnTo>
                  <a:lnTo>
                    <a:pt x="138" y="100"/>
                  </a:lnTo>
                  <a:lnTo>
                    <a:pt x="117" y="100"/>
                  </a:lnTo>
                  <a:lnTo>
                    <a:pt x="98" y="101"/>
                  </a:lnTo>
                  <a:lnTo>
                    <a:pt x="94" y="103"/>
                  </a:lnTo>
                  <a:lnTo>
                    <a:pt x="92" y="107"/>
                  </a:lnTo>
                  <a:lnTo>
                    <a:pt x="90" y="109"/>
                  </a:lnTo>
                  <a:lnTo>
                    <a:pt x="88" y="111"/>
                  </a:lnTo>
                  <a:lnTo>
                    <a:pt x="85" y="113"/>
                  </a:lnTo>
                  <a:lnTo>
                    <a:pt x="83" y="117"/>
                  </a:lnTo>
                  <a:lnTo>
                    <a:pt x="81" y="119"/>
                  </a:lnTo>
                  <a:lnTo>
                    <a:pt x="79" y="121"/>
                  </a:lnTo>
                  <a:lnTo>
                    <a:pt x="56" y="119"/>
                  </a:lnTo>
                  <a:lnTo>
                    <a:pt x="35" y="117"/>
                  </a:lnTo>
                  <a:lnTo>
                    <a:pt x="33" y="113"/>
                  </a:lnTo>
                  <a:lnTo>
                    <a:pt x="29" y="111"/>
                  </a:lnTo>
                  <a:lnTo>
                    <a:pt x="25" y="92"/>
                  </a:lnTo>
                  <a:lnTo>
                    <a:pt x="19" y="73"/>
                  </a:lnTo>
                  <a:lnTo>
                    <a:pt x="23" y="71"/>
                  </a:lnTo>
                  <a:lnTo>
                    <a:pt x="25" y="67"/>
                  </a:lnTo>
                  <a:lnTo>
                    <a:pt x="25" y="57"/>
                  </a:lnTo>
                  <a:lnTo>
                    <a:pt x="25" y="48"/>
                  </a:lnTo>
                  <a:lnTo>
                    <a:pt x="23" y="46"/>
                  </a:lnTo>
                  <a:lnTo>
                    <a:pt x="19" y="44"/>
                  </a:lnTo>
                  <a:lnTo>
                    <a:pt x="17" y="40"/>
                  </a:lnTo>
                  <a:lnTo>
                    <a:pt x="16" y="38"/>
                  </a:lnTo>
                  <a:lnTo>
                    <a:pt x="12" y="36"/>
                  </a:lnTo>
                  <a:lnTo>
                    <a:pt x="10" y="34"/>
                  </a:lnTo>
                  <a:lnTo>
                    <a:pt x="8" y="27"/>
                  </a:lnTo>
                  <a:lnTo>
                    <a:pt x="6" y="19"/>
                  </a:lnTo>
                  <a:lnTo>
                    <a:pt x="2" y="17"/>
                  </a:lnTo>
                  <a:lnTo>
                    <a:pt x="0" y="13"/>
                  </a:lnTo>
                  <a:lnTo>
                    <a:pt x="2" y="11"/>
                  </a:lnTo>
                  <a:lnTo>
                    <a:pt x="6" y="9"/>
                  </a:lnTo>
                  <a:lnTo>
                    <a:pt x="17" y="7"/>
                  </a:lnTo>
                  <a:lnTo>
                    <a:pt x="29" y="5"/>
                  </a:lnTo>
                  <a:lnTo>
                    <a:pt x="33" y="2"/>
                  </a:lnTo>
                  <a:lnTo>
                    <a:pt x="35" y="0"/>
                  </a:lnTo>
                  <a:lnTo>
                    <a:pt x="44" y="0"/>
                  </a:lnTo>
                  <a:lnTo>
                    <a:pt x="54" y="0"/>
                  </a:lnTo>
                  <a:lnTo>
                    <a:pt x="56" y="2"/>
                  </a:lnTo>
                  <a:lnTo>
                    <a:pt x="60" y="5"/>
                  </a:lnTo>
                  <a:lnTo>
                    <a:pt x="65" y="7"/>
                  </a:lnTo>
                  <a:lnTo>
                    <a:pt x="73" y="9"/>
                  </a:lnTo>
                  <a:lnTo>
                    <a:pt x="75" y="11"/>
                  </a:lnTo>
                  <a:lnTo>
                    <a:pt x="79" y="13"/>
                  </a:lnTo>
                  <a:lnTo>
                    <a:pt x="81" y="17"/>
                  </a:lnTo>
                  <a:lnTo>
                    <a:pt x="83" y="19"/>
                  </a:lnTo>
                  <a:lnTo>
                    <a:pt x="85" y="21"/>
                  </a:lnTo>
                  <a:lnTo>
                    <a:pt x="88" y="25"/>
                  </a:lnTo>
                  <a:lnTo>
                    <a:pt x="92" y="25"/>
                  </a:lnTo>
                  <a:lnTo>
                    <a:pt x="98" y="25"/>
                  </a:lnTo>
                  <a:lnTo>
                    <a:pt x="100" y="21"/>
                  </a:lnTo>
                  <a:lnTo>
                    <a:pt x="102" y="19"/>
                  </a:lnTo>
                  <a:lnTo>
                    <a:pt x="110" y="17"/>
                  </a:lnTo>
                  <a:lnTo>
                    <a:pt x="117" y="13"/>
                  </a:lnTo>
                  <a:lnTo>
                    <a:pt x="119" y="11"/>
                  </a:lnTo>
                  <a:lnTo>
                    <a:pt x="121" y="9"/>
                  </a:lnTo>
                  <a:lnTo>
                    <a:pt x="127" y="9"/>
                  </a:lnTo>
                  <a:lnTo>
                    <a:pt x="131" y="9"/>
                  </a:lnTo>
                  <a:lnTo>
                    <a:pt x="134" y="11"/>
                  </a:lnTo>
                  <a:lnTo>
                    <a:pt x="136" y="13"/>
                  </a:lnTo>
                  <a:lnTo>
                    <a:pt x="142" y="17"/>
                  </a:lnTo>
                  <a:lnTo>
                    <a:pt x="150" y="19"/>
                  </a:lnTo>
                  <a:lnTo>
                    <a:pt x="154" y="21"/>
                  </a:lnTo>
                  <a:lnTo>
                    <a:pt x="156" y="25"/>
                  </a:lnTo>
                  <a:lnTo>
                    <a:pt x="157" y="30"/>
                  </a:lnTo>
                  <a:lnTo>
                    <a:pt x="159" y="38"/>
                  </a:lnTo>
                  <a:lnTo>
                    <a:pt x="163" y="40"/>
                  </a:lnTo>
                  <a:lnTo>
                    <a:pt x="165" y="44"/>
                  </a:lnTo>
                  <a:lnTo>
                    <a:pt x="175" y="46"/>
                  </a:lnTo>
                  <a:lnTo>
                    <a:pt x="186" y="48"/>
                  </a:lnTo>
                  <a:lnTo>
                    <a:pt x="184" y="53"/>
                  </a:lnTo>
                  <a:lnTo>
                    <a:pt x="184" y="57"/>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73" name="Freeform 340"/>
            <p:cNvSpPr>
              <a:spLocks/>
            </p:cNvSpPr>
            <p:nvPr>
              <p:custDataLst>
                <p:tags r:id="rId57"/>
              </p:custDataLst>
            </p:nvPr>
          </p:nvSpPr>
          <p:spPr bwMode="gray">
            <a:xfrm>
              <a:off x="1350963" y="3714566"/>
              <a:ext cx="287337" cy="315912"/>
            </a:xfrm>
            <a:custGeom>
              <a:avLst/>
              <a:gdLst>
                <a:gd name="T0" fmla="*/ 2147483647 w 185"/>
                <a:gd name="T1" fmla="*/ 2147483647 h 213"/>
                <a:gd name="T2" fmla="*/ 2147483647 w 185"/>
                <a:gd name="T3" fmla="*/ 2147483647 h 213"/>
                <a:gd name="T4" fmla="*/ 2147483647 w 185"/>
                <a:gd name="T5" fmla="*/ 2147483647 h 213"/>
                <a:gd name="T6" fmla="*/ 2147483647 w 185"/>
                <a:gd name="T7" fmla="*/ 2147483647 h 213"/>
                <a:gd name="T8" fmla="*/ 2147483647 w 185"/>
                <a:gd name="T9" fmla="*/ 2147483647 h 213"/>
                <a:gd name="T10" fmla="*/ 2147483647 w 185"/>
                <a:gd name="T11" fmla="*/ 2147483647 h 213"/>
                <a:gd name="T12" fmla="*/ 2147483647 w 185"/>
                <a:gd name="T13" fmla="*/ 2147483647 h 213"/>
                <a:gd name="T14" fmla="*/ 2147483647 w 185"/>
                <a:gd name="T15" fmla="*/ 2147483647 h 213"/>
                <a:gd name="T16" fmla="*/ 2147483647 w 185"/>
                <a:gd name="T17" fmla="*/ 2147483647 h 213"/>
                <a:gd name="T18" fmla="*/ 2147483647 w 185"/>
                <a:gd name="T19" fmla="*/ 2147483647 h 213"/>
                <a:gd name="T20" fmla="*/ 2147483647 w 185"/>
                <a:gd name="T21" fmla="*/ 2147483647 h 213"/>
                <a:gd name="T22" fmla="*/ 2147483647 w 185"/>
                <a:gd name="T23" fmla="*/ 2147483647 h 213"/>
                <a:gd name="T24" fmla="*/ 2147483647 w 185"/>
                <a:gd name="T25" fmla="*/ 2147483647 h 213"/>
                <a:gd name="T26" fmla="*/ 2147483647 w 185"/>
                <a:gd name="T27" fmla="*/ 2147483647 h 213"/>
                <a:gd name="T28" fmla="*/ 2147483647 w 185"/>
                <a:gd name="T29" fmla="*/ 2147483647 h 213"/>
                <a:gd name="T30" fmla="*/ 2147483647 w 185"/>
                <a:gd name="T31" fmla="*/ 2147483647 h 213"/>
                <a:gd name="T32" fmla="*/ 2147483647 w 185"/>
                <a:gd name="T33" fmla="*/ 0 h 213"/>
                <a:gd name="T34" fmla="*/ 2147483647 w 185"/>
                <a:gd name="T35" fmla="*/ 2147483647 h 213"/>
                <a:gd name="T36" fmla="*/ 2147483647 w 185"/>
                <a:gd name="T37" fmla="*/ 2147483647 h 213"/>
                <a:gd name="T38" fmla="*/ 2147483647 w 185"/>
                <a:gd name="T39" fmla="*/ 2147483647 h 213"/>
                <a:gd name="T40" fmla="*/ 2147483647 w 185"/>
                <a:gd name="T41" fmla="*/ 2147483647 h 213"/>
                <a:gd name="T42" fmla="*/ 2147483647 w 185"/>
                <a:gd name="T43" fmla="*/ 2147483647 h 213"/>
                <a:gd name="T44" fmla="*/ 2147483647 w 185"/>
                <a:gd name="T45" fmla="*/ 2147483647 h 213"/>
                <a:gd name="T46" fmla="*/ 2147483647 w 185"/>
                <a:gd name="T47" fmla="*/ 2147483647 h 213"/>
                <a:gd name="T48" fmla="*/ 2147483647 w 185"/>
                <a:gd name="T49" fmla="*/ 2147483647 h 213"/>
                <a:gd name="T50" fmla="*/ 2147483647 w 185"/>
                <a:gd name="T51" fmla="*/ 2147483647 h 213"/>
                <a:gd name="T52" fmla="*/ 2147483647 w 185"/>
                <a:gd name="T53" fmla="*/ 2147483647 h 213"/>
                <a:gd name="T54" fmla="*/ 2147483647 w 185"/>
                <a:gd name="T55" fmla="*/ 2147483647 h 213"/>
                <a:gd name="T56" fmla="*/ 2147483647 w 185"/>
                <a:gd name="T57" fmla="*/ 2147483647 h 213"/>
                <a:gd name="T58" fmla="*/ 2147483647 w 185"/>
                <a:gd name="T59" fmla="*/ 2147483647 h 213"/>
                <a:gd name="T60" fmla="*/ 2147483647 w 185"/>
                <a:gd name="T61" fmla="*/ 2147483647 h 213"/>
                <a:gd name="T62" fmla="*/ 2147483647 w 185"/>
                <a:gd name="T63" fmla="*/ 2147483647 h 213"/>
                <a:gd name="T64" fmla="*/ 2147483647 w 185"/>
                <a:gd name="T65" fmla="*/ 2147483647 h 213"/>
                <a:gd name="T66" fmla="*/ 2147483647 w 185"/>
                <a:gd name="T67" fmla="*/ 2147483647 h 213"/>
                <a:gd name="T68" fmla="*/ 2147483647 w 185"/>
                <a:gd name="T69" fmla="*/ 2147483647 h 213"/>
                <a:gd name="T70" fmla="*/ 2147483647 w 185"/>
                <a:gd name="T71" fmla="*/ 2147483647 h 213"/>
                <a:gd name="T72" fmla="*/ 2147483647 w 185"/>
                <a:gd name="T73" fmla="*/ 2147483647 h 213"/>
                <a:gd name="T74" fmla="*/ 2147483647 w 185"/>
                <a:gd name="T75" fmla="*/ 2147483647 h 213"/>
                <a:gd name="T76" fmla="*/ 2147483647 w 185"/>
                <a:gd name="T77" fmla="*/ 2147483647 h 213"/>
                <a:gd name="T78" fmla="*/ 2147483647 w 185"/>
                <a:gd name="T79" fmla="*/ 2147483647 h 213"/>
                <a:gd name="T80" fmla="*/ 2147483647 w 185"/>
                <a:gd name="T81" fmla="*/ 2147483647 h 213"/>
                <a:gd name="T82" fmla="*/ 2147483647 w 185"/>
                <a:gd name="T83" fmla="*/ 2147483647 h 213"/>
                <a:gd name="T84" fmla="*/ 2147483647 w 185"/>
                <a:gd name="T85" fmla="*/ 2147483647 h 213"/>
                <a:gd name="T86" fmla="*/ 2147483647 w 185"/>
                <a:gd name="T87" fmla="*/ 2147483647 h 213"/>
                <a:gd name="T88" fmla="*/ 2147483647 w 185"/>
                <a:gd name="T89" fmla="*/ 2147483647 h 213"/>
                <a:gd name="T90" fmla="*/ 2147483647 w 185"/>
                <a:gd name="T91" fmla="*/ 2147483647 h 213"/>
                <a:gd name="T92" fmla="*/ 2147483647 w 185"/>
                <a:gd name="T93" fmla="*/ 2147483647 h 213"/>
                <a:gd name="T94" fmla="*/ 2147483647 w 185"/>
                <a:gd name="T95" fmla="*/ 2147483647 h 213"/>
                <a:gd name="T96" fmla="*/ 2147483647 w 185"/>
                <a:gd name="T97" fmla="*/ 2147483647 h 213"/>
                <a:gd name="T98" fmla="*/ 2147483647 w 185"/>
                <a:gd name="T99" fmla="*/ 2147483647 h 213"/>
                <a:gd name="T100" fmla="*/ 2147483647 w 185"/>
                <a:gd name="T101" fmla="*/ 2147483647 h 213"/>
                <a:gd name="T102" fmla="*/ 2147483647 w 185"/>
                <a:gd name="T103" fmla="*/ 2147483647 h 213"/>
                <a:gd name="T104" fmla="*/ 2147483647 w 185"/>
                <a:gd name="T105" fmla="*/ 2147483647 h 213"/>
                <a:gd name="T106" fmla="*/ 2147483647 w 185"/>
                <a:gd name="T107" fmla="*/ 2147483647 h 213"/>
                <a:gd name="T108" fmla="*/ 2147483647 w 185"/>
                <a:gd name="T109" fmla="*/ 2147483647 h 213"/>
                <a:gd name="T110" fmla="*/ 2147483647 w 185"/>
                <a:gd name="T111" fmla="*/ 2147483647 h 213"/>
                <a:gd name="T112" fmla="*/ 2147483647 w 185"/>
                <a:gd name="T113" fmla="*/ 2147483647 h 213"/>
                <a:gd name="T114" fmla="*/ 2147483647 w 185"/>
                <a:gd name="T115" fmla="*/ 2147483647 h 213"/>
                <a:gd name="T116" fmla="*/ 2147483647 w 185"/>
                <a:gd name="T117" fmla="*/ 2147483647 h 21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85"/>
                <a:gd name="T178" fmla="*/ 0 h 213"/>
                <a:gd name="T179" fmla="*/ 185 w 185"/>
                <a:gd name="T180" fmla="*/ 213 h 21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85" h="213">
                  <a:moveTo>
                    <a:pt x="58" y="96"/>
                  </a:moveTo>
                  <a:lnTo>
                    <a:pt x="56" y="92"/>
                  </a:lnTo>
                  <a:lnTo>
                    <a:pt x="56" y="90"/>
                  </a:lnTo>
                  <a:lnTo>
                    <a:pt x="54" y="88"/>
                  </a:lnTo>
                  <a:lnTo>
                    <a:pt x="50" y="88"/>
                  </a:lnTo>
                  <a:lnTo>
                    <a:pt x="45" y="86"/>
                  </a:lnTo>
                  <a:lnTo>
                    <a:pt x="35" y="86"/>
                  </a:lnTo>
                  <a:lnTo>
                    <a:pt x="31" y="84"/>
                  </a:lnTo>
                  <a:lnTo>
                    <a:pt x="29" y="82"/>
                  </a:lnTo>
                  <a:lnTo>
                    <a:pt x="27" y="75"/>
                  </a:lnTo>
                  <a:lnTo>
                    <a:pt x="23" y="67"/>
                  </a:lnTo>
                  <a:lnTo>
                    <a:pt x="21" y="65"/>
                  </a:lnTo>
                  <a:lnTo>
                    <a:pt x="20" y="61"/>
                  </a:lnTo>
                  <a:lnTo>
                    <a:pt x="12" y="59"/>
                  </a:lnTo>
                  <a:lnTo>
                    <a:pt x="4" y="57"/>
                  </a:lnTo>
                  <a:lnTo>
                    <a:pt x="2" y="55"/>
                  </a:lnTo>
                  <a:lnTo>
                    <a:pt x="0" y="53"/>
                  </a:lnTo>
                  <a:lnTo>
                    <a:pt x="2" y="50"/>
                  </a:lnTo>
                  <a:lnTo>
                    <a:pt x="4" y="48"/>
                  </a:lnTo>
                  <a:lnTo>
                    <a:pt x="8" y="46"/>
                  </a:lnTo>
                  <a:lnTo>
                    <a:pt x="10" y="44"/>
                  </a:lnTo>
                  <a:lnTo>
                    <a:pt x="12" y="40"/>
                  </a:lnTo>
                  <a:lnTo>
                    <a:pt x="14" y="38"/>
                  </a:lnTo>
                  <a:lnTo>
                    <a:pt x="18" y="30"/>
                  </a:lnTo>
                  <a:lnTo>
                    <a:pt x="20" y="23"/>
                  </a:lnTo>
                  <a:lnTo>
                    <a:pt x="21" y="21"/>
                  </a:lnTo>
                  <a:lnTo>
                    <a:pt x="23" y="19"/>
                  </a:lnTo>
                  <a:lnTo>
                    <a:pt x="31" y="19"/>
                  </a:lnTo>
                  <a:lnTo>
                    <a:pt x="39" y="19"/>
                  </a:lnTo>
                  <a:lnTo>
                    <a:pt x="39" y="11"/>
                  </a:lnTo>
                  <a:lnTo>
                    <a:pt x="39" y="4"/>
                  </a:lnTo>
                  <a:lnTo>
                    <a:pt x="41" y="2"/>
                  </a:lnTo>
                  <a:lnTo>
                    <a:pt x="43" y="0"/>
                  </a:lnTo>
                  <a:lnTo>
                    <a:pt x="62" y="0"/>
                  </a:lnTo>
                  <a:lnTo>
                    <a:pt x="83" y="0"/>
                  </a:lnTo>
                  <a:lnTo>
                    <a:pt x="85" y="2"/>
                  </a:lnTo>
                  <a:lnTo>
                    <a:pt x="87" y="4"/>
                  </a:lnTo>
                  <a:lnTo>
                    <a:pt x="89" y="7"/>
                  </a:lnTo>
                  <a:lnTo>
                    <a:pt x="92" y="9"/>
                  </a:lnTo>
                  <a:lnTo>
                    <a:pt x="94" y="11"/>
                  </a:lnTo>
                  <a:lnTo>
                    <a:pt x="96" y="15"/>
                  </a:lnTo>
                  <a:lnTo>
                    <a:pt x="110" y="17"/>
                  </a:lnTo>
                  <a:lnTo>
                    <a:pt x="121" y="19"/>
                  </a:lnTo>
                  <a:lnTo>
                    <a:pt x="123" y="21"/>
                  </a:lnTo>
                  <a:lnTo>
                    <a:pt x="125" y="23"/>
                  </a:lnTo>
                  <a:lnTo>
                    <a:pt x="131" y="21"/>
                  </a:lnTo>
                  <a:lnTo>
                    <a:pt x="135" y="19"/>
                  </a:lnTo>
                  <a:lnTo>
                    <a:pt x="144" y="19"/>
                  </a:lnTo>
                  <a:lnTo>
                    <a:pt x="156" y="19"/>
                  </a:lnTo>
                  <a:lnTo>
                    <a:pt x="156" y="21"/>
                  </a:lnTo>
                  <a:lnTo>
                    <a:pt x="156" y="23"/>
                  </a:lnTo>
                  <a:lnTo>
                    <a:pt x="152" y="27"/>
                  </a:lnTo>
                  <a:lnTo>
                    <a:pt x="150" y="29"/>
                  </a:lnTo>
                  <a:lnTo>
                    <a:pt x="152" y="30"/>
                  </a:lnTo>
                  <a:lnTo>
                    <a:pt x="156" y="32"/>
                  </a:lnTo>
                  <a:lnTo>
                    <a:pt x="158" y="30"/>
                  </a:lnTo>
                  <a:lnTo>
                    <a:pt x="160" y="29"/>
                  </a:lnTo>
                  <a:lnTo>
                    <a:pt x="162" y="30"/>
                  </a:lnTo>
                  <a:lnTo>
                    <a:pt x="163" y="32"/>
                  </a:lnTo>
                  <a:lnTo>
                    <a:pt x="171" y="36"/>
                  </a:lnTo>
                  <a:lnTo>
                    <a:pt x="179" y="38"/>
                  </a:lnTo>
                  <a:lnTo>
                    <a:pt x="181" y="40"/>
                  </a:lnTo>
                  <a:lnTo>
                    <a:pt x="185" y="44"/>
                  </a:lnTo>
                  <a:lnTo>
                    <a:pt x="185" y="55"/>
                  </a:lnTo>
                  <a:lnTo>
                    <a:pt x="185" y="67"/>
                  </a:lnTo>
                  <a:lnTo>
                    <a:pt x="173" y="67"/>
                  </a:lnTo>
                  <a:lnTo>
                    <a:pt x="163" y="67"/>
                  </a:lnTo>
                  <a:lnTo>
                    <a:pt x="163" y="80"/>
                  </a:lnTo>
                  <a:lnTo>
                    <a:pt x="163" y="92"/>
                  </a:lnTo>
                  <a:lnTo>
                    <a:pt x="162" y="94"/>
                  </a:lnTo>
                  <a:lnTo>
                    <a:pt x="160" y="96"/>
                  </a:lnTo>
                  <a:lnTo>
                    <a:pt x="160" y="105"/>
                  </a:lnTo>
                  <a:lnTo>
                    <a:pt x="160" y="115"/>
                  </a:lnTo>
                  <a:lnTo>
                    <a:pt x="162" y="119"/>
                  </a:lnTo>
                  <a:lnTo>
                    <a:pt x="163" y="121"/>
                  </a:lnTo>
                  <a:lnTo>
                    <a:pt x="167" y="126"/>
                  </a:lnTo>
                  <a:lnTo>
                    <a:pt x="169" y="134"/>
                  </a:lnTo>
                  <a:lnTo>
                    <a:pt x="171" y="138"/>
                  </a:lnTo>
                  <a:lnTo>
                    <a:pt x="173" y="140"/>
                  </a:lnTo>
                  <a:lnTo>
                    <a:pt x="177" y="148"/>
                  </a:lnTo>
                  <a:lnTo>
                    <a:pt x="179" y="155"/>
                  </a:lnTo>
                  <a:lnTo>
                    <a:pt x="181" y="157"/>
                  </a:lnTo>
                  <a:lnTo>
                    <a:pt x="185" y="159"/>
                  </a:lnTo>
                  <a:lnTo>
                    <a:pt x="185" y="174"/>
                  </a:lnTo>
                  <a:lnTo>
                    <a:pt x="185" y="188"/>
                  </a:lnTo>
                  <a:lnTo>
                    <a:pt x="181" y="190"/>
                  </a:lnTo>
                  <a:lnTo>
                    <a:pt x="179" y="194"/>
                  </a:lnTo>
                  <a:lnTo>
                    <a:pt x="171" y="199"/>
                  </a:lnTo>
                  <a:lnTo>
                    <a:pt x="163" y="207"/>
                  </a:lnTo>
                  <a:lnTo>
                    <a:pt x="162" y="209"/>
                  </a:lnTo>
                  <a:lnTo>
                    <a:pt x="160" y="213"/>
                  </a:lnTo>
                  <a:lnTo>
                    <a:pt x="154" y="213"/>
                  </a:lnTo>
                  <a:lnTo>
                    <a:pt x="150" y="213"/>
                  </a:lnTo>
                  <a:lnTo>
                    <a:pt x="148" y="209"/>
                  </a:lnTo>
                  <a:lnTo>
                    <a:pt x="144" y="207"/>
                  </a:lnTo>
                  <a:lnTo>
                    <a:pt x="135" y="207"/>
                  </a:lnTo>
                  <a:lnTo>
                    <a:pt x="125" y="207"/>
                  </a:lnTo>
                  <a:lnTo>
                    <a:pt x="123" y="209"/>
                  </a:lnTo>
                  <a:lnTo>
                    <a:pt x="121" y="213"/>
                  </a:lnTo>
                  <a:lnTo>
                    <a:pt x="98" y="213"/>
                  </a:lnTo>
                  <a:lnTo>
                    <a:pt x="77" y="213"/>
                  </a:lnTo>
                  <a:lnTo>
                    <a:pt x="75" y="194"/>
                  </a:lnTo>
                  <a:lnTo>
                    <a:pt x="73" y="174"/>
                  </a:lnTo>
                  <a:lnTo>
                    <a:pt x="69" y="171"/>
                  </a:lnTo>
                  <a:lnTo>
                    <a:pt x="68" y="169"/>
                  </a:lnTo>
                  <a:lnTo>
                    <a:pt x="66" y="167"/>
                  </a:lnTo>
                  <a:lnTo>
                    <a:pt x="64" y="165"/>
                  </a:lnTo>
                  <a:lnTo>
                    <a:pt x="60" y="161"/>
                  </a:lnTo>
                  <a:lnTo>
                    <a:pt x="58" y="159"/>
                  </a:lnTo>
                  <a:lnTo>
                    <a:pt x="56" y="157"/>
                  </a:lnTo>
                  <a:lnTo>
                    <a:pt x="52" y="155"/>
                  </a:lnTo>
                  <a:lnTo>
                    <a:pt x="50" y="151"/>
                  </a:lnTo>
                  <a:lnTo>
                    <a:pt x="48" y="149"/>
                  </a:lnTo>
                  <a:lnTo>
                    <a:pt x="50" y="148"/>
                  </a:lnTo>
                  <a:lnTo>
                    <a:pt x="52" y="144"/>
                  </a:lnTo>
                  <a:lnTo>
                    <a:pt x="56" y="124"/>
                  </a:lnTo>
                  <a:lnTo>
                    <a:pt x="58" y="105"/>
                  </a:lnTo>
                  <a:lnTo>
                    <a:pt x="58" y="101"/>
                  </a:lnTo>
                  <a:lnTo>
                    <a:pt x="58" y="96"/>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74" name="Freeform 341"/>
            <p:cNvSpPr>
              <a:spLocks/>
            </p:cNvSpPr>
            <p:nvPr>
              <p:custDataLst>
                <p:tags r:id="rId58"/>
              </p:custDataLst>
            </p:nvPr>
          </p:nvSpPr>
          <p:spPr bwMode="gray">
            <a:xfrm>
              <a:off x="900113" y="3784416"/>
              <a:ext cx="266700" cy="246062"/>
            </a:xfrm>
            <a:custGeom>
              <a:avLst/>
              <a:gdLst>
                <a:gd name="T0" fmla="*/ 2147483647 w 172"/>
                <a:gd name="T1" fmla="*/ 2147483647 h 165"/>
                <a:gd name="T2" fmla="*/ 2147483647 w 172"/>
                <a:gd name="T3" fmla="*/ 2147483647 h 165"/>
                <a:gd name="T4" fmla="*/ 2147483647 w 172"/>
                <a:gd name="T5" fmla="*/ 2147483647 h 165"/>
                <a:gd name="T6" fmla="*/ 2147483647 w 172"/>
                <a:gd name="T7" fmla="*/ 2147483647 h 165"/>
                <a:gd name="T8" fmla="*/ 2147483647 w 172"/>
                <a:gd name="T9" fmla="*/ 2147483647 h 165"/>
                <a:gd name="T10" fmla="*/ 2147483647 w 172"/>
                <a:gd name="T11" fmla="*/ 2147483647 h 165"/>
                <a:gd name="T12" fmla="*/ 2147483647 w 172"/>
                <a:gd name="T13" fmla="*/ 2147483647 h 165"/>
                <a:gd name="T14" fmla="*/ 2147483647 w 172"/>
                <a:gd name="T15" fmla="*/ 2147483647 h 165"/>
                <a:gd name="T16" fmla="*/ 2147483647 w 172"/>
                <a:gd name="T17" fmla="*/ 2147483647 h 165"/>
                <a:gd name="T18" fmla="*/ 2147483647 w 172"/>
                <a:gd name="T19" fmla="*/ 2147483647 h 165"/>
                <a:gd name="T20" fmla="*/ 0 w 172"/>
                <a:gd name="T21" fmla="*/ 2147483647 h 165"/>
                <a:gd name="T22" fmla="*/ 0 w 172"/>
                <a:gd name="T23" fmla="*/ 2147483647 h 165"/>
                <a:gd name="T24" fmla="*/ 2147483647 w 172"/>
                <a:gd name="T25" fmla="*/ 2147483647 h 165"/>
                <a:gd name="T26" fmla="*/ 2147483647 w 172"/>
                <a:gd name="T27" fmla="*/ 2147483647 h 165"/>
                <a:gd name="T28" fmla="*/ 2147483647 w 172"/>
                <a:gd name="T29" fmla="*/ 2147483647 h 165"/>
                <a:gd name="T30" fmla="*/ 2147483647 w 172"/>
                <a:gd name="T31" fmla="*/ 2147483647 h 165"/>
                <a:gd name="T32" fmla="*/ 2147483647 w 172"/>
                <a:gd name="T33" fmla="*/ 0 h 165"/>
                <a:gd name="T34" fmla="*/ 2147483647 w 172"/>
                <a:gd name="T35" fmla="*/ 2147483647 h 165"/>
                <a:gd name="T36" fmla="*/ 2147483647 w 172"/>
                <a:gd name="T37" fmla="*/ 2147483647 h 165"/>
                <a:gd name="T38" fmla="*/ 2147483647 w 172"/>
                <a:gd name="T39" fmla="*/ 2147483647 h 165"/>
                <a:gd name="T40" fmla="*/ 2147483647 w 172"/>
                <a:gd name="T41" fmla="*/ 2147483647 h 165"/>
                <a:gd name="T42" fmla="*/ 2147483647 w 172"/>
                <a:gd name="T43" fmla="*/ 2147483647 h 165"/>
                <a:gd name="T44" fmla="*/ 2147483647 w 172"/>
                <a:gd name="T45" fmla="*/ 2147483647 h 165"/>
                <a:gd name="T46" fmla="*/ 2147483647 w 172"/>
                <a:gd name="T47" fmla="*/ 2147483647 h 165"/>
                <a:gd name="T48" fmla="*/ 2147483647 w 172"/>
                <a:gd name="T49" fmla="*/ 2147483647 h 165"/>
                <a:gd name="T50" fmla="*/ 2147483647 w 172"/>
                <a:gd name="T51" fmla="*/ 2147483647 h 165"/>
                <a:gd name="T52" fmla="*/ 2147483647 w 172"/>
                <a:gd name="T53" fmla="*/ 2147483647 h 165"/>
                <a:gd name="T54" fmla="*/ 2147483647 w 172"/>
                <a:gd name="T55" fmla="*/ 2147483647 h 165"/>
                <a:gd name="T56" fmla="*/ 2147483647 w 172"/>
                <a:gd name="T57" fmla="*/ 2147483647 h 165"/>
                <a:gd name="T58" fmla="*/ 2147483647 w 172"/>
                <a:gd name="T59" fmla="*/ 2147483647 h 165"/>
                <a:gd name="T60" fmla="*/ 2147483647 w 172"/>
                <a:gd name="T61" fmla="*/ 2147483647 h 165"/>
                <a:gd name="T62" fmla="*/ 2147483647 w 172"/>
                <a:gd name="T63" fmla="*/ 2147483647 h 165"/>
                <a:gd name="T64" fmla="*/ 2147483647 w 172"/>
                <a:gd name="T65" fmla="*/ 2147483647 h 165"/>
                <a:gd name="T66" fmla="*/ 2147483647 w 172"/>
                <a:gd name="T67" fmla="*/ 2147483647 h 165"/>
                <a:gd name="T68" fmla="*/ 2147483647 w 172"/>
                <a:gd name="T69" fmla="*/ 2147483647 h 165"/>
                <a:gd name="T70" fmla="*/ 2147483647 w 172"/>
                <a:gd name="T71" fmla="*/ 2147483647 h 165"/>
                <a:gd name="T72" fmla="*/ 2147483647 w 172"/>
                <a:gd name="T73" fmla="*/ 2147483647 h 165"/>
                <a:gd name="T74" fmla="*/ 2147483647 w 172"/>
                <a:gd name="T75" fmla="*/ 2147483647 h 165"/>
                <a:gd name="T76" fmla="*/ 2147483647 w 172"/>
                <a:gd name="T77" fmla="*/ 2147483647 h 165"/>
                <a:gd name="T78" fmla="*/ 2147483647 w 172"/>
                <a:gd name="T79" fmla="*/ 2147483647 h 165"/>
                <a:gd name="T80" fmla="*/ 2147483647 w 172"/>
                <a:gd name="T81" fmla="*/ 2147483647 h 165"/>
                <a:gd name="T82" fmla="*/ 2147483647 w 172"/>
                <a:gd name="T83" fmla="*/ 2147483647 h 165"/>
                <a:gd name="T84" fmla="*/ 2147483647 w 172"/>
                <a:gd name="T85" fmla="*/ 2147483647 h 165"/>
                <a:gd name="T86" fmla="*/ 2147483647 w 172"/>
                <a:gd name="T87" fmla="*/ 2147483647 h 165"/>
                <a:gd name="T88" fmla="*/ 2147483647 w 172"/>
                <a:gd name="T89" fmla="*/ 2147483647 h 16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72"/>
                <a:gd name="T136" fmla="*/ 0 h 165"/>
                <a:gd name="T137" fmla="*/ 172 w 172"/>
                <a:gd name="T138" fmla="*/ 165 h 16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72" h="165">
                  <a:moveTo>
                    <a:pt x="67" y="165"/>
                  </a:moveTo>
                  <a:lnTo>
                    <a:pt x="67" y="159"/>
                  </a:lnTo>
                  <a:lnTo>
                    <a:pt x="67" y="155"/>
                  </a:lnTo>
                  <a:lnTo>
                    <a:pt x="71" y="155"/>
                  </a:lnTo>
                  <a:lnTo>
                    <a:pt x="76" y="155"/>
                  </a:lnTo>
                  <a:lnTo>
                    <a:pt x="76" y="136"/>
                  </a:lnTo>
                  <a:lnTo>
                    <a:pt x="76" y="117"/>
                  </a:lnTo>
                  <a:lnTo>
                    <a:pt x="71" y="117"/>
                  </a:lnTo>
                  <a:lnTo>
                    <a:pt x="67" y="117"/>
                  </a:lnTo>
                  <a:lnTo>
                    <a:pt x="67" y="105"/>
                  </a:lnTo>
                  <a:lnTo>
                    <a:pt x="69" y="94"/>
                  </a:lnTo>
                  <a:lnTo>
                    <a:pt x="57" y="86"/>
                  </a:lnTo>
                  <a:lnTo>
                    <a:pt x="48" y="80"/>
                  </a:lnTo>
                  <a:lnTo>
                    <a:pt x="42" y="71"/>
                  </a:lnTo>
                  <a:lnTo>
                    <a:pt x="38" y="57"/>
                  </a:lnTo>
                  <a:lnTo>
                    <a:pt x="28" y="57"/>
                  </a:lnTo>
                  <a:lnTo>
                    <a:pt x="19" y="57"/>
                  </a:lnTo>
                  <a:lnTo>
                    <a:pt x="11" y="57"/>
                  </a:lnTo>
                  <a:lnTo>
                    <a:pt x="4" y="57"/>
                  </a:lnTo>
                  <a:lnTo>
                    <a:pt x="2" y="55"/>
                  </a:lnTo>
                  <a:lnTo>
                    <a:pt x="0" y="53"/>
                  </a:lnTo>
                  <a:lnTo>
                    <a:pt x="0" y="52"/>
                  </a:lnTo>
                  <a:lnTo>
                    <a:pt x="0" y="48"/>
                  </a:lnTo>
                  <a:lnTo>
                    <a:pt x="0" y="44"/>
                  </a:lnTo>
                  <a:lnTo>
                    <a:pt x="0" y="38"/>
                  </a:lnTo>
                  <a:lnTo>
                    <a:pt x="4" y="34"/>
                  </a:lnTo>
                  <a:lnTo>
                    <a:pt x="9" y="29"/>
                  </a:lnTo>
                  <a:lnTo>
                    <a:pt x="13" y="25"/>
                  </a:lnTo>
                  <a:lnTo>
                    <a:pt x="19" y="19"/>
                  </a:lnTo>
                  <a:lnTo>
                    <a:pt x="23" y="15"/>
                  </a:lnTo>
                  <a:lnTo>
                    <a:pt x="28" y="9"/>
                  </a:lnTo>
                  <a:lnTo>
                    <a:pt x="28" y="4"/>
                  </a:lnTo>
                  <a:lnTo>
                    <a:pt x="28" y="0"/>
                  </a:lnTo>
                  <a:lnTo>
                    <a:pt x="38" y="0"/>
                  </a:lnTo>
                  <a:lnTo>
                    <a:pt x="48" y="0"/>
                  </a:lnTo>
                  <a:lnTo>
                    <a:pt x="57" y="9"/>
                  </a:lnTo>
                  <a:lnTo>
                    <a:pt x="67" y="19"/>
                  </a:lnTo>
                  <a:lnTo>
                    <a:pt x="67" y="25"/>
                  </a:lnTo>
                  <a:lnTo>
                    <a:pt x="67" y="29"/>
                  </a:lnTo>
                  <a:lnTo>
                    <a:pt x="80" y="25"/>
                  </a:lnTo>
                  <a:lnTo>
                    <a:pt x="96" y="19"/>
                  </a:lnTo>
                  <a:lnTo>
                    <a:pt x="99" y="19"/>
                  </a:lnTo>
                  <a:lnTo>
                    <a:pt x="105" y="19"/>
                  </a:lnTo>
                  <a:lnTo>
                    <a:pt x="105" y="25"/>
                  </a:lnTo>
                  <a:lnTo>
                    <a:pt x="105" y="29"/>
                  </a:lnTo>
                  <a:lnTo>
                    <a:pt x="122" y="29"/>
                  </a:lnTo>
                  <a:lnTo>
                    <a:pt x="130" y="29"/>
                  </a:lnTo>
                  <a:lnTo>
                    <a:pt x="134" y="27"/>
                  </a:lnTo>
                  <a:lnTo>
                    <a:pt x="134" y="25"/>
                  </a:lnTo>
                  <a:lnTo>
                    <a:pt x="136" y="21"/>
                  </a:lnTo>
                  <a:lnTo>
                    <a:pt x="140" y="19"/>
                  </a:lnTo>
                  <a:lnTo>
                    <a:pt x="144" y="19"/>
                  </a:lnTo>
                  <a:lnTo>
                    <a:pt x="149" y="19"/>
                  </a:lnTo>
                  <a:lnTo>
                    <a:pt x="151" y="21"/>
                  </a:lnTo>
                  <a:lnTo>
                    <a:pt x="153" y="25"/>
                  </a:lnTo>
                  <a:lnTo>
                    <a:pt x="155" y="30"/>
                  </a:lnTo>
                  <a:lnTo>
                    <a:pt x="159" y="38"/>
                  </a:lnTo>
                  <a:lnTo>
                    <a:pt x="161" y="40"/>
                  </a:lnTo>
                  <a:lnTo>
                    <a:pt x="163" y="44"/>
                  </a:lnTo>
                  <a:lnTo>
                    <a:pt x="165" y="46"/>
                  </a:lnTo>
                  <a:lnTo>
                    <a:pt x="169" y="48"/>
                  </a:lnTo>
                  <a:lnTo>
                    <a:pt x="170" y="52"/>
                  </a:lnTo>
                  <a:lnTo>
                    <a:pt x="172" y="53"/>
                  </a:lnTo>
                  <a:lnTo>
                    <a:pt x="172" y="57"/>
                  </a:lnTo>
                  <a:lnTo>
                    <a:pt x="172" y="63"/>
                  </a:lnTo>
                  <a:lnTo>
                    <a:pt x="170" y="65"/>
                  </a:lnTo>
                  <a:lnTo>
                    <a:pt x="169" y="67"/>
                  </a:lnTo>
                  <a:lnTo>
                    <a:pt x="170" y="90"/>
                  </a:lnTo>
                  <a:lnTo>
                    <a:pt x="172" y="111"/>
                  </a:lnTo>
                  <a:lnTo>
                    <a:pt x="170" y="113"/>
                  </a:lnTo>
                  <a:lnTo>
                    <a:pt x="169" y="117"/>
                  </a:lnTo>
                  <a:lnTo>
                    <a:pt x="165" y="119"/>
                  </a:lnTo>
                  <a:lnTo>
                    <a:pt x="163" y="121"/>
                  </a:lnTo>
                  <a:lnTo>
                    <a:pt x="161" y="123"/>
                  </a:lnTo>
                  <a:lnTo>
                    <a:pt x="159" y="126"/>
                  </a:lnTo>
                  <a:lnTo>
                    <a:pt x="151" y="128"/>
                  </a:lnTo>
                  <a:lnTo>
                    <a:pt x="144" y="130"/>
                  </a:lnTo>
                  <a:lnTo>
                    <a:pt x="142" y="132"/>
                  </a:lnTo>
                  <a:lnTo>
                    <a:pt x="140" y="136"/>
                  </a:lnTo>
                  <a:lnTo>
                    <a:pt x="136" y="138"/>
                  </a:lnTo>
                  <a:lnTo>
                    <a:pt x="134" y="140"/>
                  </a:lnTo>
                  <a:lnTo>
                    <a:pt x="132" y="142"/>
                  </a:lnTo>
                  <a:lnTo>
                    <a:pt x="130" y="146"/>
                  </a:lnTo>
                  <a:lnTo>
                    <a:pt x="126" y="146"/>
                  </a:lnTo>
                  <a:lnTo>
                    <a:pt x="124" y="147"/>
                  </a:lnTo>
                  <a:lnTo>
                    <a:pt x="124" y="153"/>
                  </a:lnTo>
                  <a:lnTo>
                    <a:pt x="124" y="165"/>
                  </a:lnTo>
                  <a:lnTo>
                    <a:pt x="99" y="165"/>
                  </a:lnTo>
                  <a:lnTo>
                    <a:pt x="76" y="165"/>
                  </a:lnTo>
                  <a:lnTo>
                    <a:pt x="71" y="165"/>
                  </a:lnTo>
                  <a:lnTo>
                    <a:pt x="67" y="165"/>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75" name="Freeform 342"/>
            <p:cNvSpPr>
              <a:spLocks/>
            </p:cNvSpPr>
            <p:nvPr>
              <p:custDataLst>
                <p:tags r:id="rId59"/>
              </p:custDataLst>
            </p:nvPr>
          </p:nvSpPr>
          <p:spPr bwMode="gray">
            <a:xfrm>
              <a:off x="1641475" y="3598678"/>
              <a:ext cx="295275" cy="255588"/>
            </a:xfrm>
            <a:custGeom>
              <a:avLst/>
              <a:gdLst>
                <a:gd name="T0" fmla="*/ 2147483647 w 186"/>
                <a:gd name="T1" fmla="*/ 2147483647 h 173"/>
                <a:gd name="T2" fmla="*/ 2147483647 w 186"/>
                <a:gd name="T3" fmla="*/ 2147483647 h 173"/>
                <a:gd name="T4" fmla="*/ 2147483647 w 186"/>
                <a:gd name="T5" fmla="*/ 2147483647 h 173"/>
                <a:gd name="T6" fmla="*/ 0 w 186"/>
                <a:gd name="T7" fmla="*/ 2147483647 h 173"/>
                <a:gd name="T8" fmla="*/ 2147483647 w 186"/>
                <a:gd name="T9" fmla="*/ 2147483647 h 173"/>
                <a:gd name="T10" fmla="*/ 2147483647 w 186"/>
                <a:gd name="T11" fmla="*/ 2147483647 h 173"/>
                <a:gd name="T12" fmla="*/ 2147483647 w 186"/>
                <a:gd name="T13" fmla="*/ 2147483647 h 173"/>
                <a:gd name="T14" fmla="*/ 2147483647 w 186"/>
                <a:gd name="T15" fmla="*/ 2147483647 h 173"/>
                <a:gd name="T16" fmla="*/ 2147483647 w 186"/>
                <a:gd name="T17" fmla="*/ 2147483647 h 173"/>
                <a:gd name="T18" fmla="*/ 2147483647 w 186"/>
                <a:gd name="T19" fmla="*/ 2147483647 h 173"/>
                <a:gd name="T20" fmla="*/ 2147483647 w 186"/>
                <a:gd name="T21" fmla="*/ 2147483647 h 173"/>
                <a:gd name="T22" fmla="*/ 2147483647 w 186"/>
                <a:gd name="T23" fmla="*/ 2147483647 h 173"/>
                <a:gd name="T24" fmla="*/ 2147483647 w 186"/>
                <a:gd name="T25" fmla="*/ 0 h 173"/>
                <a:gd name="T26" fmla="*/ 2147483647 w 186"/>
                <a:gd name="T27" fmla="*/ 2147483647 h 173"/>
                <a:gd name="T28" fmla="*/ 2147483647 w 186"/>
                <a:gd name="T29" fmla="*/ 2147483647 h 173"/>
                <a:gd name="T30" fmla="*/ 2147483647 w 186"/>
                <a:gd name="T31" fmla="*/ 2147483647 h 173"/>
                <a:gd name="T32" fmla="*/ 2147483647 w 186"/>
                <a:gd name="T33" fmla="*/ 2147483647 h 173"/>
                <a:gd name="T34" fmla="*/ 2147483647 w 186"/>
                <a:gd name="T35" fmla="*/ 2147483647 h 173"/>
                <a:gd name="T36" fmla="*/ 2147483647 w 186"/>
                <a:gd name="T37" fmla="*/ 2147483647 h 173"/>
                <a:gd name="T38" fmla="*/ 2147483647 w 186"/>
                <a:gd name="T39" fmla="*/ 2147483647 h 173"/>
                <a:gd name="T40" fmla="*/ 2147483647 w 186"/>
                <a:gd name="T41" fmla="*/ 2147483647 h 173"/>
                <a:gd name="T42" fmla="*/ 2147483647 w 186"/>
                <a:gd name="T43" fmla="*/ 2147483647 h 173"/>
                <a:gd name="T44" fmla="*/ 2147483647 w 186"/>
                <a:gd name="T45" fmla="*/ 2147483647 h 173"/>
                <a:gd name="T46" fmla="*/ 2147483647 w 186"/>
                <a:gd name="T47" fmla="*/ 2147483647 h 173"/>
                <a:gd name="T48" fmla="*/ 2147483647 w 186"/>
                <a:gd name="T49" fmla="*/ 2147483647 h 173"/>
                <a:gd name="T50" fmla="*/ 2147483647 w 186"/>
                <a:gd name="T51" fmla="*/ 2147483647 h 173"/>
                <a:gd name="T52" fmla="*/ 2147483647 w 186"/>
                <a:gd name="T53" fmla="*/ 2147483647 h 173"/>
                <a:gd name="T54" fmla="*/ 2147483647 w 186"/>
                <a:gd name="T55" fmla="*/ 2147483647 h 173"/>
                <a:gd name="T56" fmla="*/ 2147483647 w 186"/>
                <a:gd name="T57" fmla="*/ 2147483647 h 173"/>
                <a:gd name="T58" fmla="*/ 2147483647 w 186"/>
                <a:gd name="T59" fmla="*/ 2147483647 h 173"/>
                <a:gd name="T60" fmla="*/ 2147483647 w 186"/>
                <a:gd name="T61" fmla="*/ 2147483647 h 173"/>
                <a:gd name="T62" fmla="*/ 2147483647 w 186"/>
                <a:gd name="T63" fmla="*/ 2147483647 h 173"/>
                <a:gd name="T64" fmla="*/ 2147483647 w 186"/>
                <a:gd name="T65" fmla="*/ 2147483647 h 173"/>
                <a:gd name="T66" fmla="*/ 2147483647 w 186"/>
                <a:gd name="T67" fmla="*/ 2147483647 h 173"/>
                <a:gd name="T68" fmla="*/ 2147483647 w 186"/>
                <a:gd name="T69" fmla="*/ 2147483647 h 173"/>
                <a:gd name="T70" fmla="*/ 2147483647 w 186"/>
                <a:gd name="T71" fmla="*/ 2147483647 h 173"/>
                <a:gd name="T72" fmla="*/ 2147483647 w 186"/>
                <a:gd name="T73" fmla="*/ 2147483647 h 173"/>
                <a:gd name="T74" fmla="*/ 2147483647 w 186"/>
                <a:gd name="T75" fmla="*/ 2147483647 h 173"/>
                <a:gd name="T76" fmla="*/ 2147483647 w 186"/>
                <a:gd name="T77" fmla="*/ 2147483647 h 173"/>
                <a:gd name="T78" fmla="*/ 2147483647 w 186"/>
                <a:gd name="T79" fmla="*/ 2147483647 h 173"/>
                <a:gd name="T80" fmla="*/ 2147483647 w 186"/>
                <a:gd name="T81" fmla="*/ 2147483647 h 173"/>
                <a:gd name="T82" fmla="*/ 2147483647 w 186"/>
                <a:gd name="T83" fmla="*/ 2147483647 h 173"/>
                <a:gd name="T84" fmla="*/ 2147483647 w 186"/>
                <a:gd name="T85" fmla="*/ 2147483647 h 17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86"/>
                <a:gd name="T130" fmla="*/ 0 h 173"/>
                <a:gd name="T131" fmla="*/ 186 w 186"/>
                <a:gd name="T132" fmla="*/ 173 h 17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86" h="173">
                  <a:moveTo>
                    <a:pt x="18" y="173"/>
                  </a:moveTo>
                  <a:lnTo>
                    <a:pt x="16" y="171"/>
                  </a:lnTo>
                  <a:lnTo>
                    <a:pt x="14" y="169"/>
                  </a:lnTo>
                  <a:lnTo>
                    <a:pt x="8" y="152"/>
                  </a:lnTo>
                  <a:lnTo>
                    <a:pt x="4" y="140"/>
                  </a:lnTo>
                  <a:lnTo>
                    <a:pt x="2" y="136"/>
                  </a:lnTo>
                  <a:lnTo>
                    <a:pt x="0" y="130"/>
                  </a:lnTo>
                  <a:lnTo>
                    <a:pt x="0" y="127"/>
                  </a:lnTo>
                  <a:lnTo>
                    <a:pt x="2" y="119"/>
                  </a:lnTo>
                  <a:lnTo>
                    <a:pt x="4" y="117"/>
                  </a:lnTo>
                  <a:lnTo>
                    <a:pt x="6" y="113"/>
                  </a:lnTo>
                  <a:lnTo>
                    <a:pt x="8" y="111"/>
                  </a:lnTo>
                  <a:lnTo>
                    <a:pt x="12" y="111"/>
                  </a:lnTo>
                  <a:lnTo>
                    <a:pt x="18" y="104"/>
                  </a:lnTo>
                  <a:lnTo>
                    <a:pt x="23" y="96"/>
                  </a:lnTo>
                  <a:lnTo>
                    <a:pt x="37" y="86"/>
                  </a:lnTo>
                  <a:lnTo>
                    <a:pt x="43" y="83"/>
                  </a:lnTo>
                  <a:lnTo>
                    <a:pt x="44" y="81"/>
                  </a:lnTo>
                  <a:lnTo>
                    <a:pt x="50" y="71"/>
                  </a:lnTo>
                  <a:lnTo>
                    <a:pt x="54" y="65"/>
                  </a:lnTo>
                  <a:lnTo>
                    <a:pt x="60" y="58"/>
                  </a:lnTo>
                  <a:lnTo>
                    <a:pt x="66" y="50"/>
                  </a:lnTo>
                  <a:lnTo>
                    <a:pt x="69" y="36"/>
                  </a:lnTo>
                  <a:lnTo>
                    <a:pt x="75" y="17"/>
                  </a:lnTo>
                  <a:lnTo>
                    <a:pt x="81" y="0"/>
                  </a:lnTo>
                  <a:lnTo>
                    <a:pt x="83" y="0"/>
                  </a:lnTo>
                  <a:lnTo>
                    <a:pt x="85" y="0"/>
                  </a:lnTo>
                  <a:lnTo>
                    <a:pt x="89" y="2"/>
                  </a:lnTo>
                  <a:lnTo>
                    <a:pt x="91" y="4"/>
                  </a:lnTo>
                  <a:lnTo>
                    <a:pt x="92" y="6"/>
                  </a:lnTo>
                  <a:lnTo>
                    <a:pt x="94" y="10"/>
                  </a:lnTo>
                  <a:lnTo>
                    <a:pt x="98" y="12"/>
                  </a:lnTo>
                  <a:lnTo>
                    <a:pt x="100" y="13"/>
                  </a:lnTo>
                  <a:lnTo>
                    <a:pt x="104" y="15"/>
                  </a:lnTo>
                  <a:lnTo>
                    <a:pt x="110" y="19"/>
                  </a:lnTo>
                  <a:lnTo>
                    <a:pt x="114" y="21"/>
                  </a:lnTo>
                  <a:lnTo>
                    <a:pt x="117" y="23"/>
                  </a:lnTo>
                  <a:lnTo>
                    <a:pt x="123" y="27"/>
                  </a:lnTo>
                  <a:lnTo>
                    <a:pt x="127" y="33"/>
                  </a:lnTo>
                  <a:lnTo>
                    <a:pt x="135" y="38"/>
                  </a:lnTo>
                  <a:lnTo>
                    <a:pt x="140" y="46"/>
                  </a:lnTo>
                  <a:lnTo>
                    <a:pt x="146" y="48"/>
                  </a:lnTo>
                  <a:lnTo>
                    <a:pt x="152" y="54"/>
                  </a:lnTo>
                  <a:lnTo>
                    <a:pt x="158" y="58"/>
                  </a:lnTo>
                  <a:lnTo>
                    <a:pt x="165" y="63"/>
                  </a:lnTo>
                  <a:lnTo>
                    <a:pt x="169" y="65"/>
                  </a:lnTo>
                  <a:lnTo>
                    <a:pt x="173" y="69"/>
                  </a:lnTo>
                  <a:lnTo>
                    <a:pt x="177" y="71"/>
                  </a:lnTo>
                  <a:lnTo>
                    <a:pt x="181" y="75"/>
                  </a:lnTo>
                  <a:lnTo>
                    <a:pt x="183" y="79"/>
                  </a:lnTo>
                  <a:lnTo>
                    <a:pt x="186" y="84"/>
                  </a:lnTo>
                  <a:lnTo>
                    <a:pt x="183" y="84"/>
                  </a:lnTo>
                  <a:lnTo>
                    <a:pt x="171" y="88"/>
                  </a:lnTo>
                  <a:lnTo>
                    <a:pt x="167" y="92"/>
                  </a:lnTo>
                  <a:lnTo>
                    <a:pt x="165" y="94"/>
                  </a:lnTo>
                  <a:lnTo>
                    <a:pt x="169" y="96"/>
                  </a:lnTo>
                  <a:lnTo>
                    <a:pt x="177" y="96"/>
                  </a:lnTo>
                  <a:lnTo>
                    <a:pt x="177" y="104"/>
                  </a:lnTo>
                  <a:lnTo>
                    <a:pt x="177" y="109"/>
                  </a:lnTo>
                  <a:lnTo>
                    <a:pt x="175" y="113"/>
                  </a:lnTo>
                  <a:lnTo>
                    <a:pt x="173" y="115"/>
                  </a:lnTo>
                  <a:lnTo>
                    <a:pt x="165" y="119"/>
                  </a:lnTo>
                  <a:lnTo>
                    <a:pt x="158" y="125"/>
                  </a:lnTo>
                  <a:lnTo>
                    <a:pt x="154" y="125"/>
                  </a:lnTo>
                  <a:lnTo>
                    <a:pt x="148" y="125"/>
                  </a:lnTo>
                  <a:lnTo>
                    <a:pt x="138" y="125"/>
                  </a:lnTo>
                  <a:lnTo>
                    <a:pt x="129" y="125"/>
                  </a:lnTo>
                  <a:lnTo>
                    <a:pt x="129" y="132"/>
                  </a:lnTo>
                  <a:lnTo>
                    <a:pt x="129" y="138"/>
                  </a:lnTo>
                  <a:lnTo>
                    <a:pt x="127" y="142"/>
                  </a:lnTo>
                  <a:lnTo>
                    <a:pt x="125" y="144"/>
                  </a:lnTo>
                  <a:lnTo>
                    <a:pt x="108" y="152"/>
                  </a:lnTo>
                  <a:lnTo>
                    <a:pt x="91" y="159"/>
                  </a:lnTo>
                  <a:lnTo>
                    <a:pt x="89" y="161"/>
                  </a:lnTo>
                  <a:lnTo>
                    <a:pt x="85" y="163"/>
                  </a:lnTo>
                  <a:lnTo>
                    <a:pt x="83" y="161"/>
                  </a:lnTo>
                  <a:lnTo>
                    <a:pt x="81" y="159"/>
                  </a:lnTo>
                  <a:lnTo>
                    <a:pt x="66" y="159"/>
                  </a:lnTo>
                  <a:lnTo>
                    <a:pt x="52" y="159"/>
                  </a:lnTo>
                  <a:lnTo>
                    <a:pt x="50" y="161"/>
                  </a:lnTo>
                  <a:lnTo>
                    <a:pt x="46" y="163"/>
                  </a:lnTo>
                  <a:lnTo>
                    <a:pt x="39" y="165"/>
                  </a:lnTo>
                  <a:lnTo>
                    <a:pt x="33" y="169"/>
                  </a:lnTo>
                  <a:lnTo>
                    <a:pt x="29" y="171"/>
                  </a:lnTo>
                  <a:lnTo>
                    <a:pt x="27" y="173"/>
                  </a:lnTo>
                  <a:lnTo>
                    <a:pt x="23" y="173"/>
                  </a:lnTo>
                  <a:lnTo>
                    <a:pt x="18" y="173"/>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76" name="Freeform 343"/>
            <p:cNvSpPr>
              <a:spLocks/>
            </p:cNvSpPr>
            <p:nvPr>
              <p:custDataLst>
                <p:tags r:id="rId60"/>
              </p:custDataLst>
            </p:nvPr>
          </p:nvSpPr>
          <p:spPr bwMode="gray">
            <a:xfrm>
              <a:off x="1212850" y="3424053"/>
              <a:ext cx="544513" cy="338138"/>
            </a:xfrm>
            <a:custGeom>
              <a:avLst/>
              <a:gdLst>
                <a:gd name="T0" fmla="*/ 2147483647 w 349"/>
                <a:gd name="T1" fmla="*/ 2147483647 h 228"/>
                <a:gd name="T2" fmla="*/ 2147483647 w 349"/>
                <a:gd name="T3" fmla="*/ 2147483647 h 228"/>
                <a:gd name="T4" fmla="*/ 2147483647 w 349"/>
                <a:gd name="T5" fmla="*/ 2147483647 h 228"/>
                <a:gd name="T6" fmla="*/ 2147483647 w 349"/>
                <a:gd name="T7" fmla="*/ 2147483647 h 228"/>
                <a:gd name="T8" fmla="*/ 2147483647 w 349"/>
                <a:gd name="T9" fmla="*/ 2147483647 h 228"/>
                <a:gd name="T10" fmla="*/ 2147483647 w 349"/>
                <a:gd name="T11" fmla="*/ 2147483647 h 228"/>
                <a:gd name="T12" fmla="*/ 2147483647 w 349"/>
                <a:gd name="T13" fmla="*/ 2147483647 h 228"/>
                <a:gd name="T14" fmla="*/ 2147483647 w 349"/>
                <a:gd name="T15" fmla="*/ 2147483647 h 228"/>
                <a:gd name="T16" fmla="*/ 2147483647 w 349"/>
                <a:gd name="T17" fmla="*/ 2147483647 h 228"/>
                <a:gd name="T18" fmla="*/ 2147483647 w 349"/>
                <a:gd name="T19" fmla="*/ 2147483647 h 228"/>
                <a:gd name="T20" fmla="*/ 2147483647 w 349"/>
                <a:gd name="T21" fmla="*/ 2147483647 h 228"/>
                <a:gd name="T22" fmla="*/ 2147483647 w 349"/>
                <a:gd name="T23" fmla="*/ 2147483647 h 228"/>
                <a:gd name="T24" fmla="*/ 2147483647 w 349"/>
                <a:gd name="T25" fmla="*/ 2147483647 h 228"/>
                <a:gd name="T26" fmla="*/ 2147483647 w 349"/>
                <a:gd name="T27" fmla="*/ 2147483647 h 228"/>
                <a:gd name="T28" fmla="*/ 2147483647 w 349"/>
                <a:gd name="T29" fmla="*/ 2147483647 h 228"/>
                <a:gd name="T30" fmla="*/ 2147483647 w 349"/>
                <a:gd name="T31" fmla="*/ 2147483647 h 228"/>
                <a:gd name="T32" fmla="*/ 2147483647 w 349"/>
                <a:gd name="T33" fmla="*/ 2147483647 h 228"/>
                <a:gd name="T34" fmla="*/ 2147483647 w 349"/>
                <a:gd name="T35" fmla="*/ 2147483647 h 228"/>
                <a:gd name="T36" fmla="*/ 2147483647 w 349"/>
                <a:gd name="T37" fmla="*/ 2147483647 h 228"/>
                <a:gd name="T38" fmla="*/ 2147483647 w 349"/>
                <a:gd name="T39" fmla="*/ 2147483647 h 228"/>
                <a:gd name="T40" fmla="*/ 2147483647 w 349"/>
                <a:gd name="T41" fmla="*/ 2147483647 h 228"/>
                <a:gd name="T42" fmla="*/ 2147483647 w 349"/>
                <a:gd name="T43" fmla="*/ 2147483647 h 228"/>
                <a:gd name="T44" fmla="*/ 2147483647 w 349"/>
                <a:gd name="T45" fmla="*/ 2147483647 h 228"/>
                <a:gd name="T46" fmla="*/ 2147483647 w 349"/>
                <a:gd name="T47" fmla="*/ 2147483647 h 228"/>
                <a:gd name="T48" fmla="*/ 2147483647 w 349"/>
                <a:gd name="T49" fmla="*/ 2147483647 h 228"/>
                <a:gd name="T50" fmla="*/ 2147483647 w 349"/>
                <a:gd name="T51" fmla="*/ 2147483647 h 228"/>
                <a:gd name="T52" fmla="*/ 2147483647 w 349"/>
                <a:gd name="T53" fmla="*/ 2147483647 h 228"/>
                <a:gd name="T54" fmla="*/ 2147483647 w 349"/>
                <a:gd name="T55" fmla="*/ 2147483647 h 228"/>
                <a:gd name="T56" fmla="*/ 2147483647 w 349"/>
                <a:gd name="T57" fmla="*/ 2147483647 h 228"/>
                <a:gd name="T58" fmla="*/ 2147483647 w 349"/>
                <a:gd name="T59" fmla="*/ 2147483647 h 228"/>
                <a:gd name="T60" fmla="*/ 2147483647 w 349"/>
                <a:gd name="T61" fmla="*/ 2147483647 h 228"/>
                <a:gd name="T62" fmla="*/ 2147483647 w 349"/>
                <a:gd name="T63" fmla="*/ 2147483647 h 228"/>
                <a:gd name="T64" fmla="*/ 2147483647 w 349"/>
                <a:gd name="T65" fmla="*/ 2147483647 h 228"/>
                <a:gd name="T66" fmla="*/ 2147483647 w 349"/>
                <a:gd name="T67" fmla="*/ 2147483647 h 228"/>
                <a:gd name="T68" fmla="*/ 2147483647 w 349"/>
                <a:gd name="T69" fmla="*/ 2147483647 h 228"/>
                <a:gd name="T70" fmla="*/ 2147483647 w 349"/>
                <a:gd name="T71" fmla="*/ 2147483647 h 228"/>
                <a:gd name="T72" fmla="*/ 2147483647 w 349"/>
                <a:gd name="T73" fmla="*/ 2147483647 h 228"/>
                <a:gd name="T74" fmla="*/ 2147483647 w 349"/>
                <a:gd name="T75" fmla="*/ 2147483647 h 228"/>
                <a:gd name="T76" fmla="*/ 2147483647 w 349"/>
                <a:gd name="T77" fmla="*/ 2147483647 h 228"/>
                <a:gd name="T78" fmla="*/ 2147483647 w 349"/>
                <a:gd name="T79" fmla="*/ 2147483647 h 228"/>
                <a:gd name="T80" fmla="*/ 2147483647 w 349"/>
                <a:gd name="T81" fmla="*/ 2147483647 h 228"/>
                <a:gd name="T82" fmla="*/ 2147483647 w 349"/>
                <a:gd name="T83" fmla="*/ 2147483647 h 228"/>
                <a:gd name="T84" fmla="*/ 2147483647 w 349"/>
                <a:gd name="T85" fmla="*/ 2147483647 h 228"/>
                <a:gd name="T86" fmla="*/ 2147483647 w 349"/>
                <a:gd name="T87" fmla="*/ 2147483647 h 228"/>
                <a:gd name="T88" fmla="*/ 2147483647 w 349"/>
                <a:gd name="T89" fmla="*/ 2147483647 h 228"/>
                <a:gd name="T90" fmla="*/ 2147483647 w 349"/>
                <a:gd name="T91" fmla="*/ 2147483647 h 228"/>
                <a:gd name="T92" fmla="*/ 2147483647 w 349"/>
                <a:gd name="T93" fmla="*/ 2147483647 h 228"/>
                <a:gd name="T94" fmla="*/ 2147483647 w 349"/>
                <a:gd name="T95" fmla="*/ 2147483647 h 228"/>
                <a:gd name="T96" fmla="*/ 2147483647 w 349"/>
                <a:gd name="T97" fmla="*/ 2147483647 h 228"/>
                <a:gd name="T98" fmla="*/ 2147483647 w 349"/>
                <a:gd name="T99" fmla="*/ 2147483647 h 228"/>
                <a:gd name="T100" fmla="*/ 2147483647 w 349"/>
                <a:gd name="T101" fmla="*/ 2147483647 h 228"/>
                <a:gd name="T102" fmla="*/ 2147483647 w 349"/>
                <a:gd name="T103" fmla="*/ 2147483647 h 228"/>
                <a:gd name="T104" fmla="*/ 2147483647 w 349"/>
                <a:gd name="T105" fmla="*/ 2147483647 h 228"/>
                <a:gd name="T106" fmla="*/ 2147483647 w 349"/>
                <a:gd name="T107" fmla="*/ 2147483647 h 228"/>
                <a:gd name="T108" fmla="*/ 2147483647 w 349"/>
                <a:gd name="T109" fmla="*/ 2147483647 h 228"/>
                <a:gd name="T110" fmla="*/ 2147483647 w 349"/>
                <a:gd name="T111" fmla="*/ 2147483647 h 228"/>
                <a:gd name="T112" fmla="*/ 2147483647 w 349"/>
                <a:gd name="T113" fmla="*/ 2147483647 h 2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49"/>
                <a:gd name="T172" fmla="*/ 0 h 228"/>
                <a:gd name="T173" fmla="*/ 349 w 349"/>
                <a:gd name="T174" fmla="*/ 228 h 22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49" h="228">
                  <a:moveTo>
                    <a:pt x="219" y="213"/>
                  </a:moveTo>
                  <a:lnTo>
                    <a:pt x="217" y="211"/>
                  </a:lnTo>
                  <a:lnTo>
                    <a:pt x="213" y="209"/>
                  </a:lnTo>
                  <a:lnTo>
                    <a:pt x="202" y="205"/>
                  </a:lnTo>
                  <a:lnTo>
                    <a:pt x="190" y="203"/>
                  </a:lnTo>
                  <a:lnTo>
                    <a:pt x="186" y="201"/>
                  </a:lnTo>
                  <a:lnTo>
                    <a:pt x="184" y="198"/>
                  </a:lnTo>
                  <a:lnTo>
                    <a:pt x="182" y="196"/>
                  </a:lnTo>
                  <a:lnTo>
                    <a:pt x="180" y="194"/>
                  </a:lnTo>
                  <a:lnTo>
                    <a:pt x="177" y="190"/>
                  </a:lnTo>
                  <a:lnTo>
                    <a:pt x="175" y="188"/>
                  </a:lnTo>
                  <a:lnTo>
                    <a:pt x="171" y="182"/>
                  </a:lnTo>
                  <a:lnTo>
                    <a:pt x="167" y="176"/>
                  </a:lnTo>
                  <a:lnTo>
                    <a:pt x="150" y="180"/>
                  </a:lnTo>
                  <a:lnTo>
                    <a:pt x="131" y="184"/>
                  </a:lnTo>
                  <a:lnTo>
                    <a:pt x="129" y="182"/>
                  </a:lnTo>
                  <a:lnTo>
                    <a:pt x="127" y="178"/>
                  </a:lnTo>
                  <a:lnTo>
                    <a:pt x="125" y="176"/>
                  </a:lnTo>
                  <a:lnTo>
                    <a:pt x="123" y="175"/>
                  </a:lnTo>
                  <a:lnTo>
                    <a:pt x="119" y="173"/>
                  </a:lnTo>
                  <a:lnTo>
                    <a:pt x="117" y="169"/>
                  </a:lnTo>
                  <a:lnTo>
                    <a:pt x="115" y="161"/>
                  </a:lnTo>
                  <a:lnTo>
                    <a:pt x="111" y="155"/>
                  </a:lnTo>
                  <a:lnTo>
                    <a:pt x="109" y="152"/>
                  </a:lnTo>
                  <a:lnTo>
                    <a:pt x="108" y="150"/>
                  </a:lnTo>
                  <a:lnTo>
                    <a:pt x="92" y="146"/>
                  </a:lnTo>
                  <a:lnTo>
                    <a:pt x="75" y="142"/>
                  </a:lnTo>
                  <a:lnTo>
                    <a:pt x="60" y="140"/>
                  </a:lnTo>
                  <a:lnTo>
                    <a:pt x="44" y="136"/>
                  </a:lnTo>
                  <a:lnTo>
                    <a:pt x="42" y="132"/>
                  </a:lnTo>
                  <a:lnTo>
                    <a:pt x="40" y="130"/>
                  </a:lnTo>
                  <a:lnTo>
                    <a:pt x="37" y="123"/>
                  </a:lnTo>
                  <a:lnTo>
                    <a:pt x="35" y="117"/>
                  </a:lnTo>
                  <a:lnTo>
                    <a:pt x="33" y="113"/>
                  </a:lnTo>
                  <a:lnTo>
                    <a:pt x="31" y="111"/>
                  </a:lnTo>
                  <a:lnTo>
                    <a:pt x="27" y="109"/>
                  </a:lnTo>
                  <a:lnTo>
                    <a:pt x="25" y="105"/>
                  </a:lnTo>
                  <a:lnTo>
                    <a:pt x="23" y="104"/>
                  </a:lnTo>
                  <a:lnTo>
                    <a:pt x="19" y="102"/>
                  </a:lnTo>
                  <a:lnTo>
                    <a:pt x="17" y="100"/>
                  </a:lnTo>
                  <a:lnTo>
                    <a:pt x="15" y="96"/>
                  </a:lnTo>
                  <a:lnTo>
                    <a:pt x="14" y="94"/>
                  </a:lnTo>
                  <a:lnTo>
                    <a:pt x="12" y="92"/>
                  </a:lnTo>
                  <a:lnTo>
                    <a:pt x="8" y="84"/>
                  </a:lnTo>
                  <a:lnTo>
                    <a:pt x="6" y="77"/>
                  </a:lnTo>
                  <a:lnTo>
                    <a:pt x="4" y="75"/>
                  </a:lnTo>
                  <a:lnTo>
                    <a:pt x="0" y="73"/>
                  </a:lnTo>
                  <a:lnTo>
                    <a:pt x="4" y="69"/>
                  </a:lnTo>
                  <a:lnTo>
                    <a:pt x="6" y="67"/>
                  </a:lnTo>
                  <a:lnTo>
                    <a:pt x="14" y="65"/>
                  </a:lnTo>
                  <a:lnTo>
                    <a:pt x="19" y="63"/>
                  </a:lnTo>
                  <a:lnTo>
                    <a:pt x="23" y="61"/>
                  </a:lnTo>
                  <a:lnTo>
                    <a:pt x="25" y="58"/>
                  </a:lnTo>
                  <a:lnTo>
                    <a:pt x="27" y="56"/>
                  </a:lnTo>
                  <a:lnTo>
                    <a:pt x="31" y="54"/>
                  </a:lnTo>
                  <a:lnTo>
                    <a:pt x="33" y="50"/>
                  </a:lnTo>
                  <a:lnTo>
                    <a:pt x="35" y="48"/>
                  </a:lnTo>
                  <a:lnTo>
                    <a:pt x="37" y="27"/>
                  </a:lnTo>
                  <a:lnTo>
                    <a:pt x="40" y="6"/>
                  </a:lnTo>
                  <a:lnTo>
                    <a:pt x="42" y="2"/>
                  </a:lnTo>
                  <a:lnTo>
                    <a:pt x="44" y="0"/>
                  </a:lnTo>
                  <a:lnTo>
                    <a:pt x="46" y="2"/>
                  </a:lnTo>
                  <a:lnTo>
                    <a:pt x="50" y="6"/>
                  </a:lnTo>
                  <a:lnTo>
                    <a:pt x="56" y="8"/>
                  </a:lnTo>
                  <a:lnTo>
                    <a:pt x="63" y="10"/>
                  </a:lnTo>
                  <a:lnTo>
                    <a:pt x="65" y="11"/>
                  </a:lnTo>
                  <a:lnTo>
                    <a:pt x="69" y="15"/>
                  </a:lnTo>
                  <a:lnTo>
                    <a:pt x="75" y="17"/>
                  </a:lnTo>
                  <a:lnTo>
                    <a:pt x="83" y="19"/>
                  </a:lnTo>
                  <a:lnTo>
                    <a:pt x="86" y="21"/>
                  </a:lnTo>
                  <a:lnTo>
                    <a:pt x="88" y="25"/>
                  </a:lnTo>
                  <a:lnTo>
                    <a:pt x="106" y="27"/>
                  </a:lnTo>
                  <a:lnTo>
                    <a:pt x="123" y="29"/>
                  </a:lnTo>
                  <a:lnTo>
                    <a:pt x="125" y="31"/>
                  </a:lnTo>
                  <a:lnTo>
                    <a:pt x="127" y="35"/>
                  </a:lnTo>
                  <a:lnTo>
                    <a:pt x="134" y="36"/>
                  </a:lnTo>
                  <a:lnTo>
                    <a:pt x="140" y="38"/>
                  </a:lnTo>
                  <a:lnTo>
                    <a:pt x="144" y="40"/>
                  </a:lnTo>
                  <a:lnTo>
                    <a:pt x="146" y="44"/>
                  </a:lnTo>
                  <a:lnTo>
                    <a:pt x="156" y="44"/>
                  </a:lnTo>
                  <a:lnTo>
                    <a:pt x="165" y="44"/>
                  </a:lnTo>
                  <a:lnTo>
                    <a:pt x="167" y="40"/>
                  </a:lnTo>
                  <a:lnTo>
                    <a:pt x="171" y="38"/>
                  </a:lnTo>
                  <a:lnTo>
                    <a:pt x="177" y="36"/>
                  </a:lnTo>
                  <a:lnTo>
                    <a:pt x="184" y="35"/>
                  </a:lnTo>
                  <a:lnTo>
                    <a:pt x="186" y="31"/>
                  </a:lnTo>
                  <a:lnTo>
                    <a:pt x="190" y="29"/>
                  </a:lnTo>
                  <a:lnTo>
                    <a:pt x="204" y="29"/>
                  </a:lnTo>
                  <a:lnTo>
                    <a:pt x="219" y="29"/>
                  </a:lnTo>
                  <a:lnTo>
                    <a:pt x="221" y="31"/>
                  </a:lnTo>
                  <a:lnTo>
                    <a:pt x="223" y="35"/>
                  </a:lnTo>
                  <a:lnTo>
                    <a:pt x="225" y="36"/>
                  </a:lnTo>
                  <a:lnTo>
                    <a:pt x="228" y="38"/>
                  </a:lnTo>
                  <a:lnTo>
                    <a:pt x="230" y="40"/>
                  </a:lnTo>
                  <a:lnTo>
                    <a:pt x="232" y="44"/>
                  </a:lnTo>
                  <a:lnTo>
                    <a:pt x="232" y="50"/>
                  </a:lnTo>
                  <a:lnTo>
                    <a:pt x="232" y="58"/>
                  </a:lnTo>
                  <a:lnTo>
                    <a:pt x="246" y="58"/>
                  </a:lnTo>
                  <a:lnTo>
                    <a:pt x="257" y="58"/>
                  </a:lnTo>
                  <a:lnTo>
                    <a:pt x="259" y="61"/>
                  </a:lnTo>
                  <a:lnTo>
                    <a:pt x="261" y="63"/>
                  </a:lnTo>
                  <a:lnTo>
                    <a:pt x="267" y="63"/>
                  </a:lnTo>
                  <a:lnTo>
                    <a:pt x="273" y="63"/>
                  </a:lnTo>
                  <a:lnTo>
                    <a:pt x="274" y="61"/>
                  </a:lnTo>
                  <a:lnTo>
                    <a:pt x="276" y="58"/>
                  </a:lnTo>
                  <a:lnTo>
                    <a:pt x="278" y="61"/>
                  </a:lnTo>
                  <a:lnTo>
                    <a:pt x="282" y="63"/>
                  </a:lnTo>
                  <a:lnTo>
                    <a:pt x="288" y="65"/>
                  </a:lnTo>
                  <a:lnTo>
                    <a:pt x="296" y="67"/>
                  </a:lnTo>
                  <a:lnTo>
                    <a:pt x="298" y="69"/>
                  </a:lnTo>
                  <a:lnTo>
                    <a:pt x="301" y="73"/>
                  </a:lnTo>
                  <a:lnTo>
                    <a:pt x="307" y="75"/>
                  </a:lnTo>
                  <a:lnTo>
                    <a:pt x="315" y="77"/>
                  </a:lnTo>
                  <a:lnTo>
                    <a:pt x="317" y="81"/>
                  </a:lnTo>
                  <a:lnTo>
                    <a:pt x="321" y="82"/>
                  </a:lnTo>
                  <a:lnTo>
                    <a:pt x="322" y="84"/>
                  </a:lnTo>
                  <a:lnTo>
                    <a:pt x="330" y="86"/>
                  </a:lnTo>
                  <a:lnTo>
                    <a:pt x="336" y="84"/>
                  </a:lnTo>
                  <a:lnTo>
                    <a:pt x="340" y="82"/>
                  </a:lnTo>
                  <a:lnTo>
                    <a:pt x="342" y="81"/>
                  </a:lnTo>
                  <a:lnTo>
                    <a:pt x="344" y="77"/>
                  </a:lnTo>
                  <a:lnTo>
                    <a:pt x="345" y="81"/>
                  </a:lnTo>
                  <a:lnTo>
                    <a:pt x="349" y="82"/>
                  </a:lnTo>
                  <a:lnTo>
                    <a:pt x="349" y="88"/>
                  </a:lnTo>
                  <a:lnTo>
                    <a:pt x="349" y="96"/>
                  </a:lnTo>
                  <a:lnTo>
                    <a:pt x="349" y="100"/>
                  </a:lnTo>
                  <a:lnTo>
                    <a:pt x="349" y="104"/>
                  </a:lnTo>
                  <a:lnTo>
                    <a:pt x="347" y="105"/>
                  </a:lnTo>
                  <a:lnTo>
                    <a:pt x="347" y="111"/>
                  </a:lnTo>
                  <a:lnTo>
                    <a:pt x="347" y="115"/>
                  </a:lnTo>
                  <a:lnTo>
                    <a:pt x="347" y="121"/>
                  </a:lnTo>
                  <a:lnTo>
                    <a:pt x="347" y="125"/>
                  </a:lnTo>
                  <a:lnTo>
                    <a:pt x="345" y="130"/>
                  </a:lnTo>
                  <a:lnTo>
                    <a:pt x="344" y="136"/>
                  </a:lnTo>
                  <a:lnTo>
                    <a:pt x="342" y="144"/>
                  </a:lnTo>
                  <a:lnTo>
                    <a:pt x="342" y="150"/>
                  </a:lnTo>
                  <a:lnTo>
                    <a:pt x="340" y="157"/>
                  </a:lnTo>
                  <a:lnTo>
                    <a:pt x="336" y="163"/>
                  </a:lnTo>
                  <a:lnTo>
                    <a:pt x="332" y="169"/>
                  </a:lnTo>
                  <a:lnTo>
                    <a:pt x="328" y="171"/>
                  </a:lnTo>
                  <a:lnTo>
                    <a:pt x="326" y="175"/>
                  </a:lnTo>
                  <a:lnTo>
                    <a:pt x="324" y="178"/>
                  </a:lnTo>
                  <a:lnTo>
                    <a:pt x="322" y="182"/>
                  </a:lnTo>
                  <a:lnTo>
                    <a:pt x="322" y="184"/>
                  </a:lnTo>
                  <a:lnTo>
                    <a:pt x="321" y="188"/>
                  </a:lnTo>
                  <a:lnTo>
                    <a:pt x="317" y="190"/>
                  </a:lnTo>
                  <a:lnTo>
                    <a:pt x="313" y="192"/>
                  </a:lnTo>
                  <a:lnTo>
                    <a:pt x="309" y="194"/>
                  </a:lnTo>
                  <a:lnTo>
                    <a:pt x="307" y="198"/>
                  </a:lnTo>
                  <a:lnTo>
                    <a:pt x="301" y="203"/>
                  </a:lnTo>
                  <a:lnTo>
                    <a:pt x="298" y="207"/>
                  </a:lnTo>
                  <a:lnTo>
                    <a:pt x="292" y="211"/>
                  </a:lnTo>
                  <a:lnTo>
                    <a:pt x="286" y="217"/>
                  </a:lnTo>
                  <a:lnTo>
                    <a:pt x="282" y="221"/>
                  </a:lnTo>
                  <a:lnTo>
                    <a:pt x="278" y="226"/>
                  </a:lnTo>
                  <a:lnTo>
                    <a:pt x="276" y="228"/>
                  </a:lnTo>
                  <a:lnTo>
                    <a:pt x="274" y="228"/>
                  </a:lnTo>
                  <a:lnTo>
                    <a:pt x="273" y="228"/>
                  </a:lnTo>
                  <a:lnTo>
                    <a:pt x="271" y="224"/>
                  </a:lnTo>
                  <a:lnTo>
                    <a:pt x="265" y="223"/>
                  </a:lnTo>
                  <a:lnTo>
                    <a:pt x="259" y="223"/>
                  </a:lnTo>
                  <a:lnTo>
                    <a:pt x="253" y="215"/>
                  </a:lnTo>
                  <a:lnTo>
                    <a:pt x="253" y="219"/>
                  </a:lnTo>
                  <a:lnTo>
                    <a:pt x="250" y="217"/>
                  </a:lnTo>
                  <a:lnTo>
                    <a:pt x="244" y="213"/>
                  </a:lnTo>
                  <a:lnTo>
                    <a:pt x="234" y="213"/>
                  </a:lnTo>
                  <a:lnTo>
                    <a:pt x="223" y="213"/>
                  </a:lnTo>
                  <a:lnTo>
                    <a:pt x="221" y="213"/>
                  </a:lnTo>
                  <a:lnTo>
                    <a:pt x="219" y="213"/>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77" name="Freeform 344"/>
            <p:cNvSpPr>
              <a:spLocks/>
            </p:cNvSpPr>
            <p:nvPr>
              <p:custDataLst>
                <p:tags r:id="rId61"/>
              </p:custDataLst>
            </p:nvPr>
          </p:nvSpPr>
          <p:spPr bwMode="gray">
            <a:xfrm>
              <a:off x="2446338" y="3230378"/>
              <a:ext cx="1352550" cy="800100"/>
            </a:xfrm>
            <a:custGeom>
              <a:avLst/>
              <a:gdLst>
                <a:gd name="T0" fmla="*/ 2147483647 w 870"/>
                <a:gd name="T1" fmla="*/ 2147483647 h 534"/>
                <a:gd name="T2" fmla="*/ 2147483647 w 870"/>
                <a:gd name="T3" fmla="*/ 2147483647 h 534"/>
                <a:gd name="T4" fmla="*/ 2147483647 w 870"/>
                <a:gd name="T5" fmla="*/ 2147483647 h 534"/>
                <a:gd name="T6" fmla="*/ 2147483647 w 870"/>
                <a:gd name="T7" fmla="*/ 2147483647 h 534"/>
                <a:gd name="T8" fmla="*/ 2147483647 w 870"/>
                <a:gd name="T9" fmla="*/ 2147483647 h 534"/>
                <a:gd name="T10" fmla="*/ 2147483647 w 870"/>
                <a:gd name="T11" fmla="*/ 2147483647 h 534"/>
                <a:gd name="T12" fmla="*/ 2147483647 w 870"/>
                <a:gd name="T13" fmla="*/ 2147483647 h 534"/>
                <a:gd name="T14" fmla="*/ 2147483647 w 870"/>
                <a:gd name="T15" fmla="*/ 2147483647 h 534"/>
                <a:gd name="T16" fmla="*/ 2147483647 w 870"/>
                <a:gd name="T17" fmla="*/ 2147483647 h 534"/>
                <a:gd name="T18" fmla="*/ 2147483647 w 870"/>
                <a:gd name="T19" fmla="*/ 2147483647 h 534"/>
                <a:gd name="T20" fmla="*/ 2147483647 w 870"/>
                <a:gd name="T21" fmla="*/ 2147483647 h 534"/>
                <a:gd name="T22" fmla="*/ 2147483647 w 870"/>
                <a:gd name="T23" fmla="*/ 2147483647 h 534"/>
                <a:gd name="T24" fmla="*/ 2147483647 w 870"/>
                <a:gd name="T25" fmla="*/ 2147483647 h 534"/>
                <a:gd name="T26" fmla="*/ 2147483647 w 870"/>
                <a:gd name="T27" fmla="*/ 2147483647 h 534"/>
                <a:gd name="T28" fmla="*/ 2147483647 w 870"/>
                <a:gd name="T29" fmla="*/ 2147483647 h 534"/>
                <a:gd name="T30" fmla="*/ 2147483647 w 870"/>
                <a:gd name="T31" fmla="*/ 2147483647 h 534"/>
                <a:gd name="T32" fmla="*/ 2147483647 w 870"/>
                <a:gd name="T33" fmla="*/ 2147483647 h 534"/>
                <a:gd name="T34" fmla="*/ 2147483647 w 870"/>
                <a:gd name="T35" fmla="*/ 2147483647 h 534"/>
                <a:gd name="T36" fmla="*/ 2147483647 w 870"/>
                <a:gd name="T37" fmla="*/ 2147483647 h 534"/>
                <a:gd name="T38" fmla="*/ 2147483647 w 870"/>
                <a:gd name="T39" fmla="*/ 2147483647 h 534"/>
                <a:gd name="T40" fmla="*/ 2147483647 w 870"/>
                <a:gd name="T41" fmla="*/ 2147483647 h 534"/>
                <a:gd name="T42" fmla="*/ 2147483647 w 870"/>
                <a:gd name="T43" fmla="*/ 2147483647 h 534"/>
                <a:gd name="T44" fmla="*/ 2147483647 w 870"/>
                <a:gd name="T45" fmla="*/ 2147483647 h 534"/>
                <a:gd name="T46" fmla="*/ 2147483647 w 870"/>
                <a:gd name="T47" fmla="*/ 2147483647 h 534"/>
                <a:gd name="T48" fmla="*/ 2147483647 w 870"/>
                <a:gd name="T49" fmla="*/ 2147483647 h 534"/>
                <a:gd name="T50" fmla="*/ 2147483647 w 870"/>
                <a:gd name="T51" fmla="*/ 2147483647 h 534"/>
                <a:gd name="T52" fmla="*/ 2147483647 w 870"/>
                <a:gd name="T53" fmla="*/ 2147483647 h 534"/>
                <a:gd name="T54" fmla="*/ 2147483647 w 870"/>
                <a:gd name="T55" fmla="*/ 2147483647 h 534"/>
                <a:gd name="T56" fmla="*/ 2147483647 w 870"/>
                <a:gd name="T57" fmla="*/ 2147483647 h 534"/>
                <a:gd name="T58" fmla="*/ 2147483647 w 870"/>
                <a:gd name="T59" fmla="*/ 2147483647 h 534"/>
                <a:gd name="T60" fmla="*/ 2147483647 w 870"/>
                <a:gd name="T61" fmla="*/ 2147483647 h 534"/>
                <a:gd name="T62" fmla="*/ 2147483647 w 870"/>
                <a:gd name="T63" fmla="*/ 2147483647 h 534"/>
                <a:gd name="T64" fmla="*/ 2147483647 w 870"/>
                <a:gd name="T65" fmla="*/ 2147483647 h 534"/>
                <a:gd name="T66" fmla="*/ 2147483647 w 870"/>
                <a:gd name="T67" fmla="*/ 2147483647 h 534"/>
                <a:gd name="T68" fmla="*/ 2147483647 w 870"/>
                <a:gd name="T69" fmla="*/ 2147483647 h 534"/>
                <a:gd name="T70" fmla="*/ 2147483647 w 870"/>
                <a:gd name="T71" fmla="*/ 2147483647 h 534"/>
                <a:gd name="T72" fmla="*/ 2147483647 w 870"/>
                <a:gd name="T73" fmla="*/ 2147483647 h 534"/>
                <a:gd name="T74" fmla="*/ 2147483647 w 870"/>
                <a:gd name="T75" fmla="*/ 2147483647 h 534"/>
                <a:gd name="T76" fmla="*/ 2147483647 w 870"/>
                <a:gd name="T77" fmla="*/ 2147483647 h 534"/>
                <a:gd name="T78" fmla="*/ 2147483647 w 870"/>
                <a:gd name="T79" fmla="*/ 2147483647 h 534"/>
                <a:gd name="T80" fmla="*/ 2147483647 w 870"/>
                <a:gd name="T81" fmla="*/ 2147483647 h 534"/>
                <a:gd name="T82" fmla="*/ 2147483647 w 870"/>
                <a:gd name="T83" fmla="*/ 2147483647 h 534"/>
                <a:gd name="T84" fmla="*/ 2147483647 w 870"/>
                <a:gd name="T85" fmla="*/ 2147483647 h 534"/>
                <a:gd name="T86" fmla="*/ 2147483647 w 870"/>
                <a:gd name="T87" fmla="*/ 2147483647 h 534"/>
                <a:gd name="T88" fmla="*/ 2147483647 w 870"/>
                <a:gd name="T89" fmla="*/ 2147483647 h 534"/>
                <a:gd name="T90" fmla="*/ 2147483647 w 870"/>
                <a:gd name="T91" fmla="*/ 2147483647 h 534"/>
                <a:gd name="T92" fmla="*/ 2147483647 w 870"/>
                <a:gd name="T93" fmla="*/ 2147483647 h 534"/>
                <a:gd name="T94" fmla="*/ 2147483647 w 870"/>
                <a:gd name="T95" fmla="*/ 2147483647 h 534"/>
                <a:gd name="T96" fmla="*/ 2147483647 w 870"/>
                <a:gd name="T97" fmla="*/ 2147483647 h 534"/>
                <a:gd name="T98" fmla="*/ 2147483647 w 870"/>
                <a:gd name="T99" fmla="*/ 2147483647 h 534"/>
                <a:gd name="T100" fmla="*/ 2147483647 w 870"/>
                <a:gd name="T101" fmla="*/ 2147483647 h 534"/>
                <a:gd name="T102" fmla="*/ 2147483647 w 870"/>
                <a:gd name="T103" fmla="*/ 2147483647 h 534"/>
                <a:gd name="T104" fmla="*/ 2147483647 w 870"/>
                <a:gd name="T105" fmla="*/ 2147483647 h 534"/>
                <a:gd name="T106" fmla="*/ 2147483647 w 870"/>
                <a:gd name="T107" fmla="*/ 2147483647 h 534"/>
                <a:gd name="T108" fmla="*/ 2147483647 w 870"/>
                <a:gd name="T109" fmla="*/ 2147483647 h 534"/>
                <a:gd name="T110" fmla="*/ 2147483647 w 870"/>
                <a:gd name="T111" fmla="*/ 2147483647 h 534"/>
                <a:gd name="T112" fmla="*/ 2147483647 w 870"/>
                <a:gd name="T113" fmla="*/ 2147483647 h 534"/>
                <a:gd name="T114" fmla="*/ 2147483647 w 870"/>
                <a:gd name="T115" fmla="*/ 2147483647 h 534"/>
                <a:gd name="T116" fmla="*/ 2147483647 w 870"/>
                <a:gd name="T117" fmla="*/ 2147483647 h 534"/>
                <a:gd name="T118" fmla="*/ 2147483647 w 870"/>
                <a:gd name="T119" fmla="*/ 2147483647 h 53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0"/>
                <a:gd name="T181" fmla="*/ 0 h 534"/>
                <a:gd name="T182" fmla="*/ 870 w 870"/>
                <a:gd name="T183" fmla="*/ 534 h 53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0" h="534">
                  <a:moveTo>
                    <a:pt x="401" y="534"/>
                  </a:moveTo>
                  <a:lnTo>
                    <a:pt x="398" y="530"/>
                  </a:lnTo>
                  <a:lnTo>
                    <a:pt x="396" y="528"/>
                  </a:lnTo>
                  <a:lnTo>
                    <a:pt x="394" y="526"/>
                  </a:lnTo>
                  <a:lnTo>
                    <a:pt x="392" y="524"/>
                  </a:lnTo>
                  <a:lnTo>
                    <a:pt x="390" y="520"/>
                  </a:lnTo>
                  <a:lnTo>
                    <a:pt x="386" y="518"/>
                  </a:lnTo>
                  <a:lnTo>
                    <a:pt x="369" y="516"/>
                  </a:lnTo>
                  <a:lnTo>
                    <a:pt x="353" y="515"/>
                  </a:lnTo>
                  <a:lnTo>
                    <a:pt x="352" y="511"/>
                  </a:lnTo>
                  <a:lnTo>
                    <a:pt x="348" y="509"/>
                  </a:lnTo>
                  <a:lnTo>
                    <a:pt x="344" y="509"/>
                  </a:lnTo>
                  <a:lnTo>
                    <a:pt x="338" y="509"/>
                  </a:lnTo>
                  <a:lnTo>
                    <a:pt x="336" y="511"/>
                  </a:lnTo>
                  <a:lnTo>
                    <a:pt x="334" y="515"/>
                  </a:lnTo>
                  <a:lnTo>
                    <a:pt x="315" y="515"/>
                  </a:lnTo>
                  <a:lnTo>
                    <a:pt x="294" y="515"/>
                  </a:lnTo>
                  <a:lnTo>
                    <a:pt x="275" y="515"/>
                  </a:lnTo>
                  <a:lnTo>
                    <a:pt x="256" y="515"/>
                  </a:lnTo>
                  <a:lnTo>
                    <a:pt x="254" y="511"/>
                  </a:lnTo>
                  <a:lnTo>
                    <a:pt x="252" y="509"/>
                  </a:lnTo>
                  <a:lnTo>
                    <a:pt x="248" y="507"/>
                  </a:lnTo>
                  <a:lnTo>
                    <a:pt x="246" y="505"/>
                  </a:lnTo>
                  <a:lnTo>
                    <a:pt x="244" y="501"/>
                  </a:lnTo>
                  <a:lnTo>
                    <a:pt x="242" y="499"/>
                  </a:lnTo>
                  <a:lnTo>
                    <a:pt x="233" y="497"/>
                  </a:lnTo>
                  <a:lnTo>
                    <a:pt x="223" y="495"/>
                  </a:lnTo>
                  <a:lnTo>
                    <a:pt x="223" y="484"/>
                  </a:lnTo>
                  <a:lnTo>
                    <a:pt x="221" y="478"/>
                  </a:lnTo>
                  <a:lnTo>
                    <a:pt x="221" y="476"/>
                  </a:lnTo>
                  <a:lnTo>
                    <a:pt x="217" y="476"/>
                  </a:lnTo>
                  <a:lnTo>
                    <a:pt x="215" y="472"/>
                  </a:lnTo>
                  <a:lnTo>
                    <a:pt x="213" y="470"/>
                  </a:lnTo>
                  <a:lnTo>
                    <a:pt x="210" y="469"/>
                  </a:lnTo>
                  <a:lnTo>
                    <a:pt x="208" y="465"/>
                  </a:lnTo>
                  <a:lnTo>
                    <a:pt x="206" y="463"/>
                  </a:lnTo>
                  <a:lnTo>
                    <a:pt x="204" y="461"/>
                  </a:lnTo>
                  <a:lnTo>
                    <a:pt x="196" y="459"/>
                  </a:lnTo>
                  <a:lnTo>
                    <a:pt x="179" y="457"/>
                  </a:lnTo>
                  <a:lnTo>
                    <a:pt x="162" y="459"/>
                  </a:lnTo>
                  <a:lnTo>
                    <a:pt x="154" y="461"/>
                  </a:lnTo>
                  <a:lnTo>
                    <a:pt x="152" y="463"/>
                  </a:lnTo>
                  <a:lnTo>
                    <a:pt x="150" y="465"/>
                  </a:lnTo>
                  <a:lnTo>
                    <a:pt x="148" y="478"/>
                  </a:lnTo>
                  <a:lnTo>
                    <a:pt x="146" y="490"/>
                  </a:lnTo>
                  <a:lnTo>
                    <a:pt x="142" y="492"/>
                  </a:lnTo>
                  <a:lnTo>
                    <a:pt x="141" y="495"/>
                  </a:lnTo>
                  <a:lnTo>
                    <a:pt x="137" y="497"/>
                  </a:lnTo>
                  <a:lnTo>
                    <a:pt x="135" y="499"/>
                  </a:lnTo>
                  <a:lnTo>
                    <a:pt x="133" y="501"/>
                  </a:lnTo>
                  <a:lnTo>
                    <a:pt x="131" y="505"/>
                  </a:lnTo>
                  <a:lnTo>
                    <a:pt x="123" y="507"/>
                  </a:lnTo>
                  <a:lnTo>
                    <a:pt x="116" y="509"/>
                  </a:lnTo>
                  <a:lnTo>
                    <a:pt x="114" y="511"/>
                  </a:lnTo>
                  <a:lnTo>
                    <a:pt x="112" y="515"/>
                  </a:lnTo>
                  <a:lnTo>
                    <a:pt x="106" y="509"/>
                  </a:lnTo>
                  <a:lnTo>
                    <a:pt x="102" y="505"/>
                  </a:lnTo>
                  <a:lnTo>
                    <a:pt x="98" y="501"/>
                  </a:lnTo>
                  <a:lnTo>
                    <a:pt x="96" y="499"/>
                  </a:lnTo>
                  <a:lnTo>
                    <a:pt x="73" y="499"/>
                  </a:lnTo>
                  <a:lnTo>
                    <a:pt x="48" y="499"/>
                  </a:lnTo>
                  <a:lnTo>
                    <a:pt x="46" y="501"/>
                  </a:lnTo>
                  <a:lnTo>
                    <a:pt x="43" y="505"/>
                  </a:lnTo>
                  <a:lnTo>
                    <a:pt x="41" y="507"/>
                  </a:lnTo>
                  <a:lnTo>
                    <a:pt x="39" y="509"/>
                  </a:lnTo>
                  <a:lnTo>
                    <a:pt x="37" y="511"/>
                  </a:lnTo>
                  <a:lnTo>
                    <a:pt x="33" y="515"/>
                  </a:lnTo>
                  <a:lnTo>
                    <a:pt x="25" y="516"/>
                  </a:lnTo>
                  <a:lnTo>
                    <a:pt x="20" y="518"/>
                  </a:lnTo>
                  <a:lnTo>
                    <a:pt x="16" y="520"/>
                  </a:lnTo>
                  <a:lnTo>
                    <a:pt x="14" y="524"/>
                  </a:lnTo>
                  <a:lnTo>
                    <a:pt x="12" y="520"/>
                  </a:lnTo>
                  <a:lnTo>
                    <a:pt x="10" y="518"/>
                  </a:lnTo>
                  <a:lnTo>
                    <a:pt x="6" y="511"/>
                  </a:lnTo>
                  <a:lnTo>
                    <a:pt x="4" y="505"/>
                  </a:lnTo>
                  <a:lnTo>
                    <a:pt x="2" y="501"/>
                  </a:lnTo>
                  <a:lnTo>
                    <a:pt x="0" y="499"/>
                  </a:lnTo>
                  <a:lnTo>
                    <a:pt x="0" y="493"/>
                  </a:lnTo>
                  <a:lnTo>
                    <a:pt x="0" y="490"/>
                  </a:lnTo>
                  <a:lnTo>
                    <a:pt x="2" y="488"/>
                  </a:lnTo>
                  <a:lnTo>
                    <a:pt x="4" y="486"/>
                  </a:lnTo>
                  <a:lnTo>
                    <a:pt x="4" y="474"/>
                  </a:lnTo>
                  <a:lnTo>
                    <a:pt x="4" y="465"/>
                  </a:lnTo>
                  <a:lnTo>
                    <a:pt x="2" y="463"/>
                  </a:lnTo>
                  <a:lnTo>
                    <a:pt x="0" y="461"/>
                  </a:lnTo>
                  <a:lnTo>
                    <a:pt x="0" y="455"/>
                  </a:lnTo>
                  <a:lnTo>
                    <a:pt x="0" y="451"/>
                  </a:lnTo>
                  <a:lnTo>
                    <a:pt x="2" y="449"/>
                  </a:lnTo>
                  <a:lnTo>
                    <a:pt x="4" y="447"/>
                  </a:lnTo>
                  <a:lnTo>
                    <a:pt x="6" y="440"/>
                  </a:lnTo>
                  <a:lnTo>
                    <a:pt x="10" y="432"/>
                  </a:lnTo>
                  <a:lnTo>
                    <a:pt x="12" y="428"/>
                  </a:lnTo>
                  <a:lnTo>
                    <a:pt x="14" y="426"/>
                  </a:lnTo>
                  <a:lnTo>
                    <a:pt x="16" y="415"/>
                  </a:lnTo>
                  <a:lnTo>
                    <a:pt x="20" y="403"/>
                  </a:lnTo>
                  <a:lnTo>
                    <a:pt x="22" y="399"/>
                  </a:lnTo>
                  <a:lnTo>
                    <a:pt x="23" y="398"/>
                  </a:lnTo>
                  <a:lnTo>
                    <a:pt x="27" y="390"/>
                  </a:lnTo>
                  <a:lnTo>
                    <a:pt x="29" y="382"/>
                  </a:lnTo>
                  <a:lnTo>
                    <a:pt x="31" y="380"/>
                  </a:lnTo>
                  <a:lnTo>
                    <a:pt x="33" y="378"/>
                  </a:lnTo>
                  <a:lnTo>
                    <a:pt x="50" y="376"/>
                  </a:lnTo>
                  <a:lnTo>
                    <a:pt x="68" y="374"/>
                  </a:lnTo>
                  <a:lnTo>
                    <a:pt x="70" y="371"/>
                  </a:lnTo>
                  <a:lnTo>
                    <a:pt x="73" y="369"/>
                  </a:lnTo>
                  <a:lnTo>
                    <a:pt x="79" y="367"/>
                  </a:lnTo>
                  <a:lnTo>
                    <a:pt x="87" y="365"/>
                  </a:lnTo>
                  <a:lnTo>
                    <a:pt x="89" y="361"/>
                  </a:lnTo>
                  <a:lnTo>
                    <a:pt x="93" y="359"/>
                  </a:lnTo>
                  <a:lnTo>
                    <a:pt x="98" y="359"/>
                  </a:lnTo>
                  <a:lnTo>
                    <a:pt x="106" y="359"/>
                  </a:lnTo>
                  <a:lnTo>
                    <a:pt x="106" y="342"/>
                  </a:lnTo>
                  <a:lnTo>
                    <a:pt x="106" y="325"/>
                  </a:lnTo>
                  <a:lnTo>
                    <a:pt x="108" y="323"/>
                  </a:lnTo>
                  <a:lnTo>
                    <a:pt x="112" y="321"/>
                  </a:lnTo>
                  <a:lnTo>
                    <a:pt x="114" y="317"/>
                  </a:lnTo>
                  <a:lnTo>
                    <a:pt x="116" y="315"/>
                  </a:lnTo>
                  <a:lnTo>
                    <a:pt x="119" y="313"/>
                  </a:lnTo>
                  <a:lnTo>
                    <a:pt x="121" y="311"/>
                  </a:lnTo>
                  <a:lnTo>
                    <a:pt x="123" y="309"/>
                  </a:lnTo>
                  <a:lnTo>
                    <a:pt x="125" y="305"/>
                  </a:lnTo>
                  <a:lnTo>
                    <a:pt x="127" y="303"/>
                  </a:lnTo>
                  <a:lnTo>
                    <a:pt x="131" y="302"/>
                  </a:lnTo>
                  <a:lnTo>
                    <a:pt x="133" y="300"/>
                  </a:lnTo>
                  <a:lnTo>
                    <a:pt x="135" y="296"/>
                  </a:lnTo>
                  <a:lnTo>
                    <a:pt x="137" y="294"/>
                  </a:lnTo>
                  <a:lnTo>
                    <a:pt x="141" y="292"/>
                  </a:lnTo>
                  <a:lnTo>
                    <a:pt x="142" y="288"/>
                  </a:lnTo>
                  <a:lnTo>
                    <a:pt x="146" y="286"/>
                  </a:lnTo>
                  <a:lnTo>
                    <a:pt x="148" y="284"/>
                  </a:lnTo>
                  <a:lnTo>
                    <a:pt x="150" y="282"/>
                  </a:lnTo>
                  <a:lnTo>
                    <a:pt x="150" y="273"/>
                  </a:lnTo>
                  <a:lnTo>
                    <a:pt x="150" y="263"/>
                  </a:lnTo>
                  <a:lnTo>
                    <a:pt x="148" y="259"/>
                  </a:lnTo>
                  <a:lnTo>
                    <a:pt x="146" y="257"/>
                  </a:lnTo>
                  <a:lnTo>
                    <a:pt x="142" y="256"/>
                  </a:lnTo>
                  <a:lnTo>
                    <a:pt x="141" y="254"/>
                  </a:lnTo>
                  <a:lnTo>
                    <a:pt x="137" y="250"/>
                  </a:lnTo>
                  <a:lnTo>
                    <a:pt x="135" y="248"/>
                  </a:lnTo>
                  <a:lnTo>
                    <a:pt x="131" y="248"/>
                  </a:lnTo>
                  <a:lnTo>
                    <a:pt x="125" y="248"/>
                  </a:lnTo>
                  <a:lnTo>
                    <a:pt x="123" y="250"/>
                  </a:lnTo>
                  <a:lnTo>
                    <a:pt x="121" y="254"/>
                  </a:lnTo>
                  <a:lnTo>
                    <a:pt x="119" y="256"/>
                  </a:lnTo>
                  <a:lnTo>
                    <a:pt x="116" y="257"/>
                  </a:lnTo>
                  <a:lnTo>
                    <a:pt x="114" y="259"/>
                  </a:lnTo>
                  <a:lnTo>
                    <a:pt x="112" y="263"/>
                  </a:lnTo>
                  <a:lnTo>
                    <a:pt x="106" y="263"/>
                  </a:lnTo>
                  <a:lnTo>
                    <a:pt x="102" y="263"/>
                  </a:lnTo>
                  <a:lnTo>
                    <a:pt x="98" y="259"/>
                  </a:lnTo>
                  <a:lnTo>
                    <a:pt x="96" y="257"/>
                  </a:lnTo>
                  <a:lnTo>
                    <a:pt x="85" y="256"/>
                  </a:lnTo>
                  <a:lnTo>
                    <a:pt x="73" y="254"/>
                  </a:lnTo>
                  <a:lnTo>
                    <a:pt x="70" y="250"/>
                  </a:lnTo>
                  <a:lnTo>
                    <a:pt x="68" y="248"/>
                  </a:lnTo>
                  <a:lnTo>
                    <a:pt x="70" y="246"/>
                  </a:lnTo>
                  <a:lnTo>
                    <a:pt x="73" y="244"/>
                  </a:lnTo>
                  <a:lnTo>
                    <a:pt x="75" y="236"/>
                  </a:lnTo>
                  <a:lnTo>
                    <a:pt x="77" y="229"/>
                  </a:lnTo>
                  <a:lnTo>
                    <a:pt x="79" y="227"/>
                  </a:lnTo>
                  <a:lnTo>
                    <a:pt x="81" y="223"/>
                  </a:lnTo>
                  <a:lnTo>
                    <a:pt x="94" y="215"/>
                  </a:lnTo>
                  <a:lnTo>
                    <a:pt x="106" y="209"/>
                  </a:lnTo>
                  <a:lnTo>
                    <a:pt x="108" y="208"/>
                  </a:lnTo>
                  <a:lnTo>
                    <a:pt x="112" y="204"/>
                  </a:lnTo>
                  <a:lnTo>
                    <a:pt x="114" y="202"/>
                  </a:lnTo>
                  <a:lnTo>
                    <a:pt x="116" y="200"/>
                  </a:lnTo>
                  <a:lnTo>
                    <a:pt x="119" y="196"/>
                  </a:lnTo>
                  <a:lnTo>
                    <a:pt x="121" y="194"/>
                  </a:lnTo>
                  <a:lnTo>
                    <a:pt x="121" y="190"/>
                  </a:lnTo>
                  <a:lnTo>
                    <a:pt x="121" y="185"/>
                  </a:lnTo>
                  <a:lnTo>
                    <a:pt x="119" y="183"/>
                  </a:lnTo>
                  <a:lnTo>
                    <a:pt x="116" y="181"/>
                  </a:lnTo>
                  <a:lnTo>
                    <a:pt x="116" y="175"/>
                  </a:lnTo>
                  <a:lnTo>
                    <a:pt x="116" y="171"/>
                  </a:lnTo>
                  <a:lnTo>
                    <a:pt x="119" y="167"/>
                  </a:lnTo>
                  <a:lnTo>
                    <a:pt x="121" y="165"/>
                  </a:lnTo>
                  <a:lnTo>
                    <a:pt x="121" y="152"/>
                  </a:lnTo>
                  <a:lnTo>
                    <a:pt x="121" y="137"/>
                  </a:lnTo>
                  <a:lnTo>
                    <a:pt x="121" y="121"/>
                  </a:lnTo>
                  <a:lnTo>
                    <a:pt x="121" y="108"/>
                  </a:lnTo>
                  <a:lnTo>
                    <a:pt x="119" y="106"/>
                  </a:lnTo>
                  <a:lnTo>
                    <a:pt x="116" y="104"/>
                  </a:lnTo>
                  <a:lnTo>
                    <a:pt x="119" y="96"/>
                  </a:lnTo>
                  <a:lnTo>
                    <a:pt x="123" y="91"/>
                  </a:lnTo>
                  <a:lnTo>
                    <a:pt x="131" y="94"/>
                  </a:lnTo>
                  <a:lnTo>
                    <a:pt x="141" y="98"/>
                  </a:lnTo>
                  <a:lnTo>
                    <a:pt x="142" y="100"/>
                  </a:lnTo>
                  <a:lnTo>
                    <a:pt x="146" y="104"/>
                  </a:lnTo>
                  <a:lnTo>
                    <a:pt x="158" y="106"/>
                  </a:lnTo>
                  <a:lnTo>
                    <a:pt x="169" y="108"/>
                  </a:lnTo>
                  <a:lnTo>
                    <a:pt x="171" y="110"/>
                  </a:lnTo>
                  <a:lnTo>
                    <a:pt x="175" y="112"/>
                  </a:lnTo>
                  <a:lnTo>
                    <a:pt x="177" y="115"/>
                  </a:lnTo>
                  <a:lnTo>
                    <a:pt x="179" y="117"/>
                  </a:lnTo>
                  <a:lnTo>
                    <a:pt x="181" y="119"/>
                  </a:lnTo>
                  <a:lnTo>
                    <a:pt x="185" y="123"/>
                  </a:lnTo>
                  <a:lnTo>
                    <a:pt x="187" y="125"/>
                  </a:lnTo>
                  <a:lnTo>
                    <a:pt x="188" y="127"/>
                  </a:lnTo>
                  <a:lnTo>
                    <a:pt x="190" y="129"/>
                  </a:lnTo>
                  <a:lnTo>
                    <a:pt x="192" y="133"/>
                  </a:lnTo>
                  <a:lnTo>
                    <a:pt x="206" y="135"/>
                  </a:lnTo>
                  <a:lnTo>
                    <a:pt x="217" y="137"/>
                  </a:lnTo>
                  <a:lnTo>
                    <a:pt x="219" y="138"/>
                  </a:lnTo>
                  <a:lnTo>
                    <a:pt x="223" y="142"/>
                  </a:lnTo>
                  <a:lnTo>
                    <a:pt x="233" y="142"/>
                  </a:lnTo>
                  <a:lnTo>
                    <a:pt x="242" y="142"/>
                  </a:lnTo>
                  <a:lnTo>
                    <a:pt x="244" y="138"/>
                  </a:lnTo>
                  <a:lnTo>
                    <a:pt x="246" y="137"/>
                  </a:lnTo>
                  <a:lnTo>
                    <a:pt x="248" y="138"/>
                  </a:lnTo>
                  <a:lnTo>
                    <a:pt x="252" y="142"/>
                  </a:lnTo>
                  <a:lnTo>
                    <a:pt x="254" y="144"/>
                  </a:lnTo>
                  <a:lnTo>
                    <a:pt x="256" y="146"/>
                  </a:lnTo>
                  <a:lnTo>
                    <a:pt x="259" y="148"/>
                  </a:lnTo>
                  <a:lnTo>
                    <a:pt x="261" y="152"/>
                  </a:lnTo>
                  <a:lnTo>
                    <a:pt x="263" y="154"/>
                  </a:lnTo>
                  <a:lnTo>
                    <a:pt x="271" y="156"/>
                  </a:lnTo>
                  <a:lnTo>
                    <a:pt x="277" y="154"/>
                  </a:lnTo>
                  <a:lnTo>
                    <a:pt x="281" y="152"/>
                  </a:lnTo>
                  <a:lnTo>
                    <a:pt x="282" y="148"/>
                  </a:lnTo>
                  <a:lnTo>
                    <a:pt x="284" y="146"/>
                  </a:lnTo>
                  <a:lnTo>
                    <a:pt x="284" y="131"/>
                  </a:lnTo>
                  <a:lnTo>
                    <a:pt x="284" y="117"/>
                  </a:lnTo>
                  <a:lnTo>
                    <a:pt x="282" y="115"/>
                  </a:lnTo>
                  <a:lnTo>
                    <a:pt x="281" y="112"/>
                  </a:lnTo>
                  <a:lnTo>
                    <a:pt x="279" y="96"/>
                  </a:lnTo>
                  <a:lnTo>
                    <a:pt x="275" y="79"/>
                  </a:lnTo>
                  <a:lnTo>
                    <a:pt x="273" y="62"/>
                  </a:lnTo>
                  <a:lnTo>
                    <a:pt x="271" y="44"/>
                  </a:lnTo>
                  <a:lnTo>
                    <a:pt x="273" y="43"/>
                  </a:lnTo>
                  <a:lnTo>
                    <a:pt x="275" y="41"/>
                  </a:lnTo>
                  <a:lnTo>
                    <a:pt x="279" y="37"/>
                  </a:lnTo>
                  <a:lnTo>
                    <a:pt x="281" y="35"/>
                  </a:lnTo>
                  <a:lnTo>
                    <a:pt x="282" y="33"/>
                  </a:lnTo>
                  <a:lnTo>
                    <a:pt x="284" y="31"/>
                  </a:lnTo>
                  <a:lnTo>
                    <a:pt x="288" y="27"/>
                  </a:lnTo>
                  <a:lnTo>
                    <a:pt x="290" y="25"/>
                  </a:lnTo>
                  <a:lnTo>
                    <a:pt x="292" y="23"/>
                  </a:lnTo>
                  <a:lnTo>
                    <a:pt x="296" y="21"/>
                  </a:lnTo>
                  <a:lnTo>
                    <a:pt x="325" y="18"/>
                  </a:lnTo>
                  <a:lnTo>
                    <a:pt x="355" y="14"/>
                  </a:lnTo>
                  <a:lnTo>
                    <a:pt x="386" y="10"/>
                  </a:lnTo>
                  <a:lnTo>
                    <a:pt x="417" y="6"/>
                  </a:lnTo>
                  <a:lnTo>
                    <a:pt x="419" y="4"/>
                  </a:lnTo>
                  <a:lnTo>
                    <a:pt x="421" y="0"/>
                  </a:lnTo>
                  <a:lnTo>
                    <a:pt x="424" y="0"/>
                  </a:lnTo>
                  <a:lnTo>
                    <a:pt x="430" y="0"/>
                  </a:lnTo>
                  <a:lnTo>
                    <a:pt x="432" y="4"/>
                  </a:lnTo>
                  <a:lnTo>
                    <a:pt x="436" y="6"/>
                  </a:lnTo>
                  <a:lnTo>
                    <a:pt x="442" y="8"/>
                  </a:lnTo>
                  <a:lnTo>
                    <a:pt x="449" y="12"/>
                  </a:lnTo>
                  <a:lnTo>
                    <a:pt x="451" y="14"/>
                  </a:lnTo>
                  <a:lnTo>
                    <a:pt x="455" y="16"/>
                  </a:lnTo>
                  <a:lnTo>
                    <a:pt x="457" y="18"/>
                  </a:lnTo>
                  <a:lnTo>
                    <a:pt x="459" y="21"/>
                  </a:lnTo>
                  <a:lnTo>
                    <a:pt x="461" y="23"/>
                  </a:lnTo>
                  <a:lnTo>
                    <a:pt x="465" y="25"/>
                  </a:lnTo>
                  <a:lnTo>
                    <a:pt x="467" y="27"/>
                  </a:lnTo>
                  <a:lnTo>
                    <a:pt x="469" y="31"/>
                  </a:lnTo>
                  <a:lnTo>
                    <a:pt x="471" y="33"/>
                  </a:lnTo>
                  <a:lnTo>
                    <a:pt x="474" y="35"/>
                  </a:lnTo>
                  <a:lnTo>
                    <a:pt x="476" y="37"/>
                  </a:lnTo>
                  <a:lnTo>
                    <a:pt x="478" y="41"/>
                  </a:lnTo>
                  <a:lnTo>
                    <a:pt x="480" y="43"/>
                  </a:lnTo>
                  <a:lnTo>
                    <a:pt x="484" y="44"/>
                  </a:lnTo>
                  <a:lnTo>
                    <a:pt x="490" y="46"/>
                  </a:lnTo>
                  <a:lnTo>
                    <a:pt x="497" y="50"/>
                  </a:lnTo>
                  <a:lnTo>
                    <a:pt x="501" y="52"/>
                  </a:lnTo>
                  <a:lnTo>
                    <a:pt x="503" y="54"/>
                  </a:lnTo>
                  <a:lnTo>
                    <a:pt x="505" y="56"/>
                  </a:lnTo>
                  <a:lnTo>
                    <a:pt x="507" y="60"/>
                  </a:lnTo>
                  <a:lnTo>
                    <a:pt x="511" y="62"/>
                  </a:lnTo>
                  <a:lnTo>
                    <a:pt x="513" y="64"/>
                  </a:lnTo>
                  <a:lnTo>
                    <a:pt x="524" y="67"/>
                  </a:lnTo>
                  <a:lnTo>
                    <a:pt x="538" y="69"/>
                  </a:lnTo>
                  <a:lnTo>
                    <a:pt x="540" y="71"/>
                  </a:lnTo>
                  <a:lnTo>
                    <a:pt x="542" y="73"/>
                  </a:lnTo>
                  <a:lnTo>
                    <a:pt x="543" y="77"/>
                  </a:lnTo>
                  <a:lnTo>
                    <a:pt x="545" y="79"/>
                  </a:lnTo>
                  <a:lnTo>
                    <a:pt x="549" y="81"/>
                  </a:lnTo>
                  <a:lnTo>
                    <a:pt x="551" y="83"/>
                  </a:lnTo>
                  <a:lnTo>
                    <a:pt x="559" y="85"/>
                  </a:lnTo>
                  <a:lnTo>
                    <a:pt x="566" y="89"/>
                  </a:lnTo>
                  <a:lnTo>
                    <a:pt x="568" y="91"/>
                  </a:lnTo>
                  <a:lnTo>
                    <a:pt x="570" y="92"/>
                  </a:lnTo>
                  <a:lnTo>
                    <a:pt x="582" y="96"/>
                  </a:lnTo>
                  <a:lnTo>
                    <a:pt x="595" y="98"/>
                  </a:lnTo>
                  <a:lnTo>
                    <a:pt x="597" y="100"/>
                  </a:lnTo>
                  <a:lnTo>
                    <a:pt x="599" y="104"/>
                  </a:lnTo>
                  <a:lnTo>
                    <a:pt x="601" y="106"/>
                  </a:lnTo>
                  <a:lnTo>
                    <a:pt x="605" y="108"/>
                  </a:lnTo>
                  <a:lnTo>
                    <a:pt x="607" y="110"/>
                  </a:lnTo>
                  <a:lnTo>
                    <a:pt x="609" y="112"/>
                  </a:lnTo>
                  <a:lnTo>
                    <a:pt x="616" y="115"/>
                  </a:lnTo>
                  <a:lnTo>
                    <a:pt x="624" y="117"/>
                  </a:lnTo>
                  <a:lnTo>
                    <a:pt x="626" y="119"/>
                  </a:lnTo>
                  <a:lnTo>
                    <a:pt x="628" y="123"/>
                  </a:lnTo>
                  <a:lnTo>
                    <a:pt x="636" y="125"/>
                  </a:lnTo>
                  <a:lnTo>
                    <a:pt x="643" y="127"/>
                  </a:lnTo>
                  <a:lnTo>
                    <a:pt x="645" y="129"/>
                  </a:lnTo>
                  <a:lnTo>
                    <a:pt x="649" y="133"/>
                  </a:lnTo>
                  <a:lnTo>
                    <a:pt x="655" y="135"/>
                  </a:lnTo>
                  <a:lnTo>
                    <a:pt x="662" y="137"/>
                  </a:lnTo>
                  <a:lnTo>
                    <a:pt x="664" y="138"/>
                  </a:lnTo>
                  <a:lnTo>
                    <a:pt x="666" y="142"/>
                  </a:lnTo>
                  <a:lnTo>
                    <a:pt x="674" y="144"/>
                  </a:lnTo>
                  <a:lnTo>
                    <a:pt x="682" y="146"/>
                  </a:lnTo>
                  <a:lnTo>
                    <a:pt x="683" y="148"/>
                  </a:lnTo>
                  <a:lnTo>
                    <a:pt x="687" y="152"/>
                  </a:lnTo>
                  <a:lnTo>
                    <a:pt x="699" y="154"/>
                  </a:lnTo>
                  <a:lnTo>
                    <a:pt x="710" y="156"/>
                  </a:lnTo>
                  <a:lnTo>
                    <a:pt x="712" y="158"/>
                  </a:lnTo>
                  <a:lnTo>
                    <a:pt x="716" y="162"/>
                  </a:lnTo>
                  <a:lnTo>
                    <a:pt x="718" y="163"/>
                  </a:lnTo>
                  <a:lnTo>
                    <a:pt x="726" y="165"/>
                  </a:lnTo>
                  <a:lnTo>
                    <a:pt x="731" y="163"/>
                  </a:lnTo>
                  <a:lnTo>
                    <a:pt x="735" y="162"/>
                  </a:lnTo>
                  <a:lnTo>
                    <a:pt x="737" y="158"/>
                  </a:lnTo>
                  <a:lnTo>
                    <a:pt x="739" y="156"/>
                  </a:lnTo>
                  <a:lnTo>
                    <a:pt x="753" y="154"/>
                  </a:lnTo>
                  <a:lnTo>
                    <a:pt x="764" y="152"/>
                  </a:lnTo>
                  <a:lnTo>
                    <a:pt x="766" y="148"/>
                  </a:lnTo>
                  <a:lnTo>
                    <a:pt x="770" y="146"/>
                  </a:lnTo>
                  <a:lnTo>
                    <a:pt x="776" y="144"/>
                  </a:lnTo>
                  <a:lnTo>
                    <a:pt x="783" y="142"/>
                  </a:lnTo>
                  <a:lnTo>
                    <a:pt x="785" y="138"/>
                  </a:lnTo>
                  <a:lnTo>
                    <a:pt x="789" y="137"/>
                  </a:lnTo>
                  <a:lnTo>
                    <a:pt x="791" y="135"/>
                  </a:lnTo>
                  <a:lnTo>
                    <a:pt x="793" y="133"/>
                  </a:lnTo>
                  <a:lnTo>
                    <a:pt x="795" y="129"/>
                  </a:lnTo>
                  <a:lnTo>
                    <a:pt x="799" y="127"/>
                  </a:lnTo>
                  <a:lnTo>
                    <a:pt x="801" y="125"/>
                  </a:lnTo>
                  <a:lnTo>
                    <a:pt x="802" y="123"/>
                  </a:lnTo>
                  <a:lnTo>
                    <a:pt x="804" y="119"/>
                  </a:lnTo>
                  <a:lnTo>
                    <a:pt x="808" y="117"/>
                  </a:lnTo>
                  <a:lnTo>
                    <a:pt x="810" y="115"/>
                  </a:lnTo>
                  <a:lnTo>
                    <a:pt x="812" y="112"/>
                  </a:lnTo>
                  <a:lnTo>
                    <a:pt x="814" y="110"/>
                  </a:lnTo>
                  <a:lnTo>
                    <a:pt x="818" y="108"/>
                  </a:lnTo>
                  <a:lnTo>
                    <a:pt x="820" y="106"/>
                  </a:lnTo>
                  <a:lnTo>
                    <a:pt x="822" y="104"/>
                  </a:lnTo>
                  <a:lnTo>
                    <a:pt x="824" y="100"/>
                  </a:lnTo>
                  <a:lnTo>
                    <a:pt x="827" y="98"/>
                  </a:lnTo>
                  <a:lnTo>
                    <a:pt x="833" y="96"/>
                  </a:lnTo>
                  <a:lnTo>
                    <a:pt x="841" y="92"/>
                  </a:lnTo>
                  <a:lnTo>
                    <a:pt x="845" y="91"/>
                  </a:lnTo>
                  <a:lnTo>
                    <a:pt x="847" y="89"/>
                  </a:lnTo>
                  <a:lnTo>
                    <a:pt x="850" y="89"/>
                  </a:lnTo>
                  <a:lnTo>
                    <a:pt x="856" y="89"/>
                  </a:lnTo>
                  <a:lnTo>
                    <a:pt x="858" y="91"/>
                  </a:lnTo>
                  <a:lnTo>
                    <a:pt x="860" y="92"/>
                  </a:lnTo>
                  <a:lnTo>
                    <a:pt x="858" y="96"/>
                  </a:lnTo>
                  <a:lnTo>
                    <a:pt x="856" y="98"/>
                  </a:lnTo>
                  <a:lnTo>
                    <a:pt x="854" y="100"/>
                  </a:lnTo>
                  <a:lnTo>
                    <a:pt x="850" y="104"/>
                  </a:lnTo>
                  <a:lnTo>
                    <a:pt x="848" y="106"/>
                  </a:lnTo>
                  <a:lnTo>
                    <a:pt x="847" y="108"/>
                  </a:lnTo>
                  <a:lnTo>
                    <a:pt x="847" y="112"/>
                  </a:lnTo>
                  <a:lnTo>
                    <a:pt x="847" y="117"/>
                  </a:lnTo>
                  <a:lnTo>
                    <a:pt x="848" y="119"/>
                  </a:lnTo>
                  <a:lnTo>
                    <a:pt x="850" y="123"/>
                  </a:lnTo>
                  <a:lnTo>
                    <a:pt x="854" y="125"/>
                  </a:lnTo>
                  <a:lnTo>
                    <a:pt x="856" y="127"/>
                  </a:lnTo>
                  <a:lnTo>
                    <a:pt x="858" y="129"/>
                  </a:lnTo>
                  <a:lnTo>
                    <a:pt x="860" y="133"/>
                  </a:lnTo>
                  <a:lnTo>
                    <a:pt x="862" y="135"/>
                  </a:lnTo>
                  <a:lnTo>
                    <a:pt x="866" y="137"/>
                  </a:lnTo>
                  <a:lnTo>
                    <a:pt x="868" y="138"/>
                  </a:lnTo>
                  <a:lnTo>
                    <a:pt x="870" y="142"/>
                  </a:lnTo>
                  <a:lnTo>
                    <a:pt x="868" y="144"/>
                  </a:lnTo>
                  <a:lnTo>
                    <a:pt x="866" y="146"/>
                  </a:lnTo>
                  <a:lnTo>
                    <a:pt x="862" y="148"/>
                  </a:lnTo>
                  <a:lnTo>
                    <a:pt x="860" y="152"/>
                  </a:lnTo>
                  <a:lnTo>
                    <a:pt x="858" y="154"/>
                  </a:lnTo>
                  <a:lnTo>
                    <a:pt x="856" y="156"/>
                  </a:lnTo>
                  <a:lnTo>
                    <a:pt x="854" y="163"/>
                  </a:lnTo>
                  <a:lnTo>
                    <a:pt x="850" y="171"/>
                  </a:lnTo>
                  <a:lnTo>
                    <a:pt x="848" y="173"/>
                  </a:lnTo>
                  <a:lnTo>
                    <a:pt x="847" y="175"/>
                  </a:lnTo>
                  <a:lnTo>
                    <a:pt x="845" y="177"/>
                  </a:lnTo>
                  <a:lnTo>
                    <a:pt x="841" y="181"/>
                  </a:lnTo>
                  <a:lnTo>
                    <a:pt x="839" y="183"/>
                  </a:lnTo>
                  <a:lnTo>
                    <a:pt x="837" y="185"/>
                  </a:lnTo>
                  <a:lnTo>
                    <a:pt x="824" y="188"/>
                  </a:lnTo>
                  <a:lnTo>
                    <a:pt x="812" y="190"/>
                  </a:lnTo>
                  <a:lnTo>
                    <a:pt x="810" y="192"/>
                  </a:lnTo>
                  <a:lnTo>
                    <a:pt x="808" y="194"/>
                  </a:lnTo>
                  <a:lnTo>
                    <a:pt x="804" y="196"/>
                  </a:lnTo>
                  <a:lnTo>
                    <a:pt x="802" y="200"/>
                  </a:lnTo>
                  <a:lnTo>
                    <a:pt x="801" y="202"/>
                  </a:lnTo>
                  <a:lnTo>
                    <a:pt x="799" y="204"/>
                  </a:lnTo>
                  <a:lnTo>
                    <a:pt x="785" y="208"/>
                  </a:lnTo>
                  <a:lnTo>
                    <a:pt x="774" y="209"/>
                  </a:lnTo>
                  <a:lnTo>
                    <a:pt x="772" y="211"/>
                  </a:lnTo>
                  <a:lnTo>
                    <a:pt x="770" y="215"/>
                  </a:lnTo>
                  <a:lnTo>
                    <a:pt x="762" y="217"/>
                  </a:lnTo>
                  <a:lnTo>
                    <a:pt x="754" y="219"/>
                  </a:lnTo>
                  <a:lnTo>
                    <a:pt x="753" y="221"/>
                  </a:lnTo>
                  <a:lnTo>
                    <a:pt x="749" y="223"/>
                  </a:lnTo>
                  <a:lnTo>
                    <a:pt x="743" y="227"/>
                  </a:lnTo>
                  <a:lnTo>
                    <a:pt x="735" y="229"/>
                  </a:lnTo>
                  <a:lnTo>
                    <a:pt x="733" y="231"/>
                  </a:lnTo>
                  <a:lnTo>
                    <a:pt x="730" y="232"/>
                  </a:lnTo>
                  <a:lnTo>
                    <a:pt x="728" y="236"/>
                  </a:lnTo>
                  <a:lnTo>
                    <a:pt x="726" y="238"/>
                  </a:lnTo>
                  <a:lnTo>
                    <a:pt x="722" y="240"/>
                  </a:lnTo>
                  <a:lnTo>
                    <a:pt x="720" y="244"/>
                  </a:lnTo>
                  <a:lnTo>
                    <a:pt x="712" y="246"/>
                  </a:lnTo>
                  <a:lnTo>
                    <a:pt x="707" y="248"/>
                  </a:lnTo>
                  <a:lnTo>
                    <a:pt x="703" y="250"/>
                  </a:lnTo>
                  <a:lnTo>
                    <a:pt x="701" y="254"/>
                  </a:lnTo>
                  <a:lnTo>
                    <a:pt x="683" y="259"/>
                  </a:lnTo>
                  <a:lnTo>
                    <a:pt x="666" y="267"/>
                  </a:lnTo>
                  <a:lnTo>
                    <a:pt x="664" y="269"/>
                  </a:lnTo>
                  <a:lnTo>
                    <a:pt x="662" y="273"/>
                  </a:lnTo>
                  <a:lnTo>
                    <a:pt x="660" y="275"/>
                  </a:lnTo>
                  <a:lnTo>
                    <a:pt x="657" y="277"/>
                  </a:lnTo>
                  <a:lnTo>
                    <a:pt x="655" y="279"/>
                  </a:lnTo>
                  <a:lnTo>
                    <a:pt x="653" y="282"/>
                  </a:lnTo>
                  <a:lnTo>
                    <a:pt x="651" y="284"/>
                  </a:lnTo>
                  <a:lnTo>
                    <a:pt x="649" y="286"/>
                  </a:lnTo>
                  <a:lnTo>
                    <a:pt x="645" y="288"/>
                  </a:lnTo>
                  <a:lnTo>
                    <a:pt x="643" y="292"/>
                  </a:lnTo>
                  <a:lnTo>
                    <a:pt x="636" y="294"/>
                  </a:lnTo>
                  <a:lnTo>
                    <a:pt x="628" y="296"/>
                  </a:lnTo>
                  <a:lnTo>
                    <a:pt x="626" y="300"/>
                  </a:lnTo>
                  <a:lnTo>
                    <a:pt x="624" y="302"/>
                  </a:lnTo>
                  <a:lnTo>
                    <a:pt x="618" y="302"/>
                  </a:lnTo>
                  <a:lnTo>
                    <a:pt x="614" y="302"/>
                  </a:lnTo>
                  <a:lnTo>
                    <a:pt x="612" y="300"/>
                  </a:lnTo>
                  <a:lnTo>
                    <a:pt x="609" y="296"/>
                  </a:lnTo>
                  <a:lnTo>
                    <a:pt x="595" y="296"/>
                  </a:lnTo>
                  <a:lnTo>
                    <a:pt x="580" y="296"/>
                  </a:lnTo>
                  <a:lnTo>
                    <a:pt x="578" y="300"/>
                  </a:lnTo>
                  <a:lnTo>
                    <a:pt x="576" y="302"/>
                  </a:lnTo>
                  <a:lnTo>
                    <a:pt x="572" y="303"/>
                  </a:lnTo>
                  <a:lnTo>
                    <a:pt x="570" y="305"/>
                  </a:lnTo>
                  <a:lnTo>
                    <a:pt x="568" y="309"/>
                  </a:lnTo>
                  <a:lnTo>
                    <a:pt x="566" y="311"/>
                  </a:lnTo>
                  <a:lnTo>
                    <a:pt x="563" y="313"/>
                  </a:lnTo>
                  <a:lnTo>
                    <a:pt x="561" y="315"/>
                  </a:lnTo>
                  <a:lnTo>
                    <a:pt x="559" y="317"/>
                  </a:lnTo>
                  <a:lnTo>
                    <a:pt x="557" y="321"/>
                  </a:lnTo>
                  <a:lnTo>
                    <a:pt x="553" y="338"/>
                  </a:lnTo>
                  <a:lnTo>
                    <a:pt x="551" y="353"/>
                  </a:lnTo>
                  <a:lnTo>
                    <a:pt x="549" y="357"/>
                  </a:lnTo>
                  <a:lnTo>
                    <a:pt x="545" y="359"/>
                  </a:lnTo>
                  <a:lnTo>
                    <a:pt x="543" y="361"/>
                  </a:lnTo>
                  <a:lnTo>
                    <a:pt x="542" y="365"/>
                  </a:lnTo>
                  <a:lnTo>
                    <a:pt x="540" y="367"/>
                  </a:lnTo>
                  <a:lnTo>
                    <a:pt x="538" y="369"/>
                  </a:lnTo>
                  <a:lnTo>
                    <a:pt x="534" y="371"/>
                  </a:lnTo>
                  <a:lnTo>
                    <a:pt x="532" y="374"/>
                  </a:lnTo>
                  <a:lnTo>
                    <a:pt x="530" y="376"/>
                  </a:lnTo>
                  <a:lnTo>
                    <a:pt x="528" y="378"/>
                  </a:lnTo>
                  <a:lnTo>
                    <a:pt x="524" y="380"/>
                  </a:lnTo>
                  <a:lnTo>
                    <a:pt x="522" y="382"/>
                  </a:lnTo>
                  <a:lnTo>
                    <a:pt x="520" y="386"/>
                  </a:lnTo>
                  <a:lnTo>
                    <a:pt x="517" y="388"/>
                  </a:lnTo>
                  <a:lnTo>
                    <a:pt x="515" y="396"/>
                  </a:lnTo>
                  <a:lnTo>
                    <a:pt x="513" y="403"/>
                  </a:lnTo>
                  <a:lnTo>
                    <a:pt x="511" y="405"/>
                  </a:lnTo>
                  <a:lnTo>
                    <a:pt x="507" y="407"/>
                  </a:lnTo>
                  <a:lnTo>
                    <a:pt x="505" y="424"/>
                  </a:lnTo>
                  <a:lnTo>
                    <a:pt x="503" y="442"/>
                  </a:lnTo>
                  <a:lnTo>
                    <a:pt x="501" y="444"/>
                  </a:lnTo>
                  <a:lnTo>
                    <a:pt x="497" y="447"/>
                  </a:lnTo>
                  <a:lnTo>
                    <a:pt x="495" y="453"/>
                  </a:lnTo>
                  <a:lnTo>
                    <a:pt x="494" y="461"/>
                  </a:lnTo>
                  <a:lnTo>
                    <a:pt x="492" y="463"/>
                  </a:lnTo>
                  <a:lnTo>
                    <a:pt x="488" y="465"/>
                  </a:lnTo>
                  <a:lnTo>
                    <a:pt x="486" y="478"/>
                  </a:lnTo>
                  <a:lnTo>
                    <a:pt x="484" y="490"/>
                  </a:lnTo>
                  <a:lnTo>
                    <a:pt x="480" y="492"/>
                  </a:lnTo>
                  <a:lnTo>
                    <a:pt x="478" y="495"/>
                  </a:lnTo>
                  <a:lnTo>
                    <a:pt x="476" y="497"/>
                  </a:lnTo>
                  <a:lnTo>
                    <a:pt x="474" y="499"/>
                  </a:lnTo>
                  <a:lnTo>
                    <a:pt x="471" y="501"/>
                  </a:lnTo>
                  <a:lnTo>
                    <a:pt x="469" y="505"/>
                  </a:lnTo>
                  <a:lnTo>
                    <a:pt x="461" y="516"/>
                  </a:lnTo>
                  <a:lnTo>
                    <a:pt x="455" y="528"/>
                  </a:lnTo>
                  <a:lnTo>
                    <a:pt x="451" y="530"/>
                  </a:lnTo>
                  <a:lnTo>
                    <a:pt x="449" y="534"/>
                  </a:lnTo>
                  <a:lnTo>
                    <a:pt x="424" y="534"/>
                  </a:lnTo>
                  <a:lnTo>
                    <a:pt x="401" y="534"/>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78" name="Freeform 345"/>
            <p:cNvSpPr>
              <a:spLocks/>
            </p:cNvSpPr>
            <p:nvPr>
              <p:custDataLst>
                <p:tags r:id="rId62"/>
              </p:custDataLst>
            </p:nvPr>
          </p:nvSpPr>
          <p:spPr bwMode="gray">
            <a:xfrm>
              <a:off x="1047750" y="3539941"/>
              <a:ext cx="360363" cy="273050"/>
            </a:xfrm>
            <a:custGeom>
              <a:avLst/>
              <a:gdLst>
                <a:gd name="T0" fmla="*/ 2147483647 w 232"/>
                <a:gd name="T1" fmla="*/ 2147483647 h 184"/>
                <a:gd name="T2" fmla="*/ 0 w 232"/>
                <a:gd name="T3" fmla="*/ 2147483647 h 184"/>
                <a:gd name="T4" fmla="*/ 2147483647 w 232"/>
                <a:gd name="T5" fmla="*/ 2147483647 h 184"/>
                <a:gd name="T6" fmla="*/ 2147483647 w 232"/>
                <a:gd name="T7" fmla="*/ 2147483647 h 184"/>
                <a:gd name="T8" fmla="*/ 2147483647 w 232"/>
                <a:gd name="T9" fmla="*/ 2147483647 h 184"/>
                <a:gd name="T10" fmla="*/ 2147483647 w 232"/>
                <a:gd name="T11" fmla="*/ 2147483647 h 184"/>
                <a:gd name="T12" fmla="*/ 2147483647 w 232"/>
                <a:gd name="T13" fmla="*/ 2147483647 h 184"/>
                <a:gd name="T14" fmla="*/ 2147483647 w 232"/>
                <a:gd name="T15" fmla="*/ 2147483647 h 184"/>
                <a:gd name="T16" fmla="*/ 2147483647 w 232"/>
                <a:gd name="T17" fmla="*/ 2147483647 h 184"/>
                <a:gd name="T18" fmla="*/ 2147483647 w 232"/>
                <a:gd name="T19" fmla="*/ 2147483647 h 184"/>
                <a:gd name="T20" fmla="*/ 2147483647 w 232"/>
                <a:gd name="T21" fmla="*/ 2147483647 h 184"/>
                <a:gd name="T22" fmla="*/ 2147483647 w 232"/>
                <a:gd name="T23" fmla="*/ 2147483647 h 184"/>
                <a:gd name="T24" fmla="*/ 2147483647 w 232"/>
                <a:gd name="T25" fmla="*/ 2147483647 h 184"/>
                <a:gd name="T26" fmla="*/ 2147483647 w 232"/>
                <a:gd name="T27" fmla="*/ 0 h 184"/>
                <a:gd name="T28" fmla="*/ 2147483647 w 232"/>
                <a:gd name="T29" fmla="*/ 0 h 184"/>
                <a:gd name="T30" fmla="*/ 2147483647 w 232"/>
                <a:gd name="T31" fmla="*/ 2147483647 h 184"/>
                <a:gd name="T32" fmla="*/ 2147483647 w 232"/>
                <a:gd name="T33" fmla="*/ 2147483647 h 184"/>
                <a:gd name="T34" fmla="*/ 2147483647 w 232"/>
                <a:gd name="T35" fmla="*/ 2147483647 h 184"/>
                <a:gd name="T36" fmla="*/ 2147483647 w 232"/>
                <a:gd name="T37" fmla="*/ 2147483647 h 184"/>
                <a:gd name="T38" fmla="*/ 2147483647 w 232"/>
                <a:gd name="T39" fmla="*/ 2147483647 h 184"/>
                <a:gd name="T40" fmla="*/ 2147483647 w 232"/>
                <a:gd name="T41" fmla="*/ 2147483647 h 184"/>
                <a:gd name="T42" fmla="*/ 2147483647 w 232"/>
                <a:gd name="T43" fmla="*/ 2147483647 h 184"/>
                <a:gd name="T44" fmla="*/ 2147483647 w 232"/>
                <a:gd name="T45" fmla="*/ 2147483647 h 184"/>
                <a:gd name="T46" fmla="*/ 2147483647 w 232"/>
                <a:gd name="T47" fmla="*/ 2147483647 h 184"/>
                <a:gd name="T48" fmla="*/ 2147483647 w 232"/>
                <a:gd name="T49" fmla="*/ 2147483647 h 184"/>
                <a:gd name="T50" fmla="*/ 2147483647 w 232"/>
                <a:gd name="T51" fmla="*/ 2147483647 h 184"/>
                <a:gd name="T52" fmla="*/ 2147483647 w 232"/>
                <a:gd name="T53" fmla="*/ 2147483647 h 184"/>
                <a:gd name="T54" fmla="*/ 2147483647 w 232"/>
                <a:gd name="T55" fmla="*/ 2147483647 h 184"/>
                <a:gd name="T56" fmla="*/ 2147483647 w 232"/>
                <a:gd name="T57" fmla="*/ 2147483647 h 184"/>
                <a:gd name="T58" fmla="*/ 2147483647 w 232"/>
                <a:gd name="T59" fmla="*/ 2147483647 h 184"/>
                <a:gd name="T60" fmla="*/ 2147483647 w 232"/>
                <a:gd name="T61" fmla="*/ 2147483647 h 184"/>
                <a:gd name="T62" fmla="*/ 2147483647 w 232"/>
                <a:gd name="T63" fmla="*/ 2147483647 h 184"/>
                <a:gd name="T64" fmla="*/ 2147483647 w 232"/>
                <a:gd name="T65" fmla="*/ 2147483647 h 184"/>
                <a:gd name="T66" fmla="*/ 2147483647 w 232"/>
                <a:gd name="T67" fmla="*/ 2147483647 h 184"/>
                <a:gd name="T68" fmla="*/ 2147483647 w 232"/>
                <a:gd name="T69" fmla="*/ 2147483647 h 184"/>
                <a:gd name="T70" fmla="*/ 2147483647 w 232"/>
                <a:gd name="T71" fmla="*/ 2147483647 h 184"/>
                <a:gd name="T72" fmla="*/ 2147483647 w 232"/>
                <a:gd name="T73" fmla="*/ 2147483647 h 184"/>
                <a:gd name="T74" fmla="*/ 2147483647 w 232"/>
                <a:gd name="T75" fmla="*/ 2147483647 h 184"/>
                <a:gd name="T76" fmla="*/ 2147483647 w 232"/>
                <a:gd name="T77" fmla="*/ 2147483647 h 184"/>
                <a:gd name="T78" fmla="*/ 2147483647 w 232"/>
                <a:gd name="T79" fmla="*/ 2147483647 h 184"/>
                <a:gd name="T80" fmla="*/ 2147483647 w 232"/>
                <a:gd name="T81" fmla="*/ 2147483647 h 184"/>
                <a:gd name="T82" fmla="*/ 2147483647 w 232"/>
                <a:gd name="T83" fmla="*/ 2147483647 h 184"/>
                <a:gd name="T84" fmla="*/ 2147483647 w 232"/>
                <a:gd name="T85" fmla="*/ 2147483647 h 184"/>
                <a:gd name="T86" fmla="*/ 2147483647 w 232"/>
                <a:gd name="T87" fmla="*/ 2147483647 h 184"/>
                <a:gd name="T88" fmla="*/ 2147483647 w 232"/>
                <a:gd name="T89" fmla="*/ 2147483647 h 184"/>
                <a:gd name="T90" fmla="*/ 2147483647 w 232"/>
                <a:gd name="T91" fmla="*/ 2147483647 h 184"/>
                <a:gd name="T92" fmla="*/ 2147483647 w 232"/>
                <a:gd name="T93" fmla="*/ 2147483647 h 184"/>
                <a:gd name="T94" fmla="*/ 2147483647 w 232"/>
                <a:gd name="T95" fmla="*/ 2147483647 h 184"/>
                <a:gd name="T96" fmla="*/ 2147483647 w 232"/>
                <a:gd name="T97" fmla="*/ 2147483647 h 184"/>
                <a:gd name="T98" fmla="*/ 2147483647 w 232"/>
                <a:gd name="T99" fmla="*/ 2147483647 h 184"/>
                <a:gd name="T100" fmla="*/ 2147483647 w 232"/>
                <a:gd name="T101" fmla="*/ 2147483647 h 184"/>
                <a:gd name="T102" fmla="*/ 2147483647 w 232"/>
                <a:gd name="T103" fmla="*/ 2147483647 h 184"/>
                <a:gd name="T104" fmla="*/ 2147483647 w 232"/>
                <a:gd name="T105" fmla="*/ 2147483647 h 184"/>
                <a:gd name="T106" fmla="*/ 2147483647 w 232"/>
                <a:gd name="T107" fmla="*/ 2147483647 h 184"/>
                <a:gd name="T108" fmla="*/ 2147483647 w 232"/>
                <a:gd name="T109" fmla="*/ 2147483647 h 18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2"/>
                <a:gd name="T166" fmla="*/ 0 h 184"/>
                <a:gd name="T167" fmla="*/ 232 w 232"/>
                <a:gd name="T168" fmla="*/ 184 h 18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2" h="184">
                  <a:moveTo>
                    <a:pt x="9" y="184"/>
                  </a:moveTo>
                  <a:lnTo>
                    <a:pt x="3" y="180"/>
                  </a:lnTo>
                  <a:lnTo>
                    <a:pt x="0" y="174"/>
                  </a:lnTo>
                  <a:lnTo>
                    <a:pt x="0" y="169"/>
                  </a:lnTo>
                  <a:lnTo>
                    <a:pt x="0" y="165"/>
                  </a:lnTo>
                  <a:lnTo>
                    <a:pt x="2" y="149"/>
                  </a:lnTo>
                  <a:lnTo>
                    <a:pt x="3" y="136"/>
                  </a:lnTo>
                  <a:lnTo>
                    <a:pt x="7" y="121"/>
                  </a:lnTo>
                  <a:lnTo>
                    <a:pt x="9" y="107"/>
                  </a:lnTo>
                  <a:lnTo>
                    <a:pt x="9" y="101"/>
                  </a:lnTo>
                  <a:lnTo>
                    <a:pt x="9" y="98"/>
                  </a:lnTo>
                  <a:lnTo>
                    <a:pt x="9" y="82"/>
                  </a:lnTo>
                  <a:lnTo>
                    <a:pt x="9" y="69"/>
                  </a:lnTo>
                  <a:lnTo>
                    <a:pt x="9" y="59"/>
                  </a:lnTo>
                  <a:lnTo>
                    <a:pt x="9" y="50"/>
                  </a:lnTo>
                  <a:lnTo>
                    <a:pt x="19" y="44"/>
                  </a:lnTo>
                  <a:lnTo>
                    <a:pt x="28" y="40"/>
                  </a:lnTo>
                  <a:lnTo>
                    <a:pt x="32" y="40"/>
                  </a:lnTo>
                  <a:lnTo>
                    <a:pt x="38" y="40"/>
                  </a:lnTo>
                  <a:lnTo>
                    <a:pt x="44" y="28"/>
                  </a:lnTo>
                  <a:lnTo>
                    <a:pt x="48" y="19"/>
                  </a:lnTo>
                  <a:lnTo>
                    <a:pt x="53" y="19"/>
                  </a:lnTo>
                  <a:lnTo>
                    <a:pt x="57" y="19"/>
                  </a:lnTo>
                  <a:lnTo>
                    <a:pt x="57" y="15"/>
                  </a:lnTo>
                  <a:lnTo>
                    <a:pt x="57" y="11"/>
                  </a:lnTo>
                  <a:lnTo>
                    <a:pt x="63" y="5"/>
                  </a:lnTo>
                  <a:lnTo>
                    <a:pt x="67" y="0"/>
                  </a:lnTo>
                  <a:lnTo>
                    <a:pt x="76" y="0"/>
                  </a:lnTo>
                  <a:lnTo>
                    <a:pt x="86" y="0"/>
                  </a:lnTo>
                  <a:lnTo>
                    <a:pt x="94" y="0"/>
                  </a:lnTo>
                  <a:lnTo>
                    <a:pt x="101" y="0"/>
                  </a:lnTo>
                  <a:lnTo>
                    <a:pt x="103" y="4"/>
                  </a:lnTo>
                  <a:lnTo>
                    <a:pt x="105" y="5"/>
                  </a:lnTo>
                  <a:lnTo>
                    <a:pt x="109" y="11"/>
                  </a:lnTo>
                  <a:lnTo>
                    <a:pt x="111" y="19"/>
                  </a:lnTo>
                  <a:lnTo>
                    <a:pt x="113" y="23"/>
                  </a:lnTo>
                  <a:lnTo>
                    <a:pt x="117" y="25"/>
                  </a:lnTo>
                  <a:lnTo>
                    <a:pt x="119" y="27"/>
                  </a:lnTo>
                  <a:lnTo>
                    <a:pt x="120" y="28"/>
                  </a:lnTo>
                  <a:lnTo>
                    <a:pt x="122" y="32"/>
                  </a:lnTo>
                  <a:lnTo>
                    <a:pt x="124" y="34"/>
                  </a:lnTo>
                  <a:lnTo>
                    <a:pt x="128" y="36"/>
                  </a:lnTo>
                  <a:lnTo>
                    <a:pt x="130" y="40"/>
                  </a:lnTo>
                  <a:lnTo>
                    <a:pt x="132" y="42"/>
                  </a:lnTo>
                  <a:lnTo>
                    <a:pt x="136" y="44"/>
                  </a:lnTo>
                  <a:lnTo>
                    <a:pt x="138" y="52"/>
                  </a:lnTo>
                  <a:lnTo>
                    <a:pt x="140" y="59"/>
                  </a:lnTo>
                  <a:lnTo>
                    <a:pt x="142" y="61"/>
                  </a:lnTo>
                  <a:lnTo>
                    <a:pt x="145" y="63"/>
                  </a:lnTo>
                  <a:lnTo>
                    <a:pt x="149" y="67"/>
                  </a:lnTo>
                  <a:lnTo>
                    <a:pt x="157" y="71"/>
                  </a:lnTo>
                  <a:lnTo>
                    <a:pt x="174" y="73"/>
                  </a:lnTo>
                  <a:lnTo>
                    <a:pt x="207" y="78"/>
                  </a:lnTo>
                  <a:lnTo>
                    <a:pt x="211" y="80"/>
                  </a:lnTo>
                  <a:lnTo>
                    <a:pt x="213" y="82"/>
                  </a:lnTo>
                  <a:lnTo>
                    <a:pt x="214" y="90"/>
                  </a:lnTo>
                  <a:lnTo>
                    <a:pt x="216" y="98"/>
                  </a:lnTo>
                  <a:lnTo>
                    <a:pt x="220" y="99"/>
                  </a:lnTo>
                  <a:lnTo>
                    <a:pt x="222" y="101"/>
                  </a:lnTo>
                  <a:lnTo>
                    <a:pt x="224" y="105"/>
                  </a:lnTo>
                  <a:lnTo>
                    <a:pt x="228" y="107"/>
                  </a:lnTo>
                  <a:lnTo>
                    <a:pt x="230" y="109"/>
                  </a:lnTo>
                  <a:lnTo>
                    <a:pt x="232" y="111"/>
                  </a:lnTo>
                  <a:lnTo>
                    <a:pt x="230" y="113"/>
                  </a:lnTo>
                  <a:lnTo>
                    <a:pt x="228" y="117"/>
                  </a:lnTo>
                  <a:lnTo>
                    <a:pt x="220" y="124"/>
                  </a:lnTo>
                  <a:lnTo>
                    <a:pt x="213" y="132"/>
                  </a:lnTo>
                  <a:lnTo>
                    <a:pt x="211" y="134"/>
                  </a:lnTo>
                  <a:lnTo>
                    <a:pt x="207" y="136"/>
                  </a:lnTo>
                  <a:lnTo>
                    <a:pt x="205" y="144"/>
                  </a:lnTo>
                  <a:lnTo>
                    <a:pt x="203" y="149"/>
                  </a:lnTo>
                  <a:lnTo>
                    <a:pt x="201" y="153"/>
                  </a:lnTo>
                  <a:lnTo>
                    <a:pt x="197" y="155"/>
                  </a:lnTo>
                  <a:lnTo>
                    <a:pt x="195" y="157"/>
                  </a:lnTo>
                  <a:lnTo>
                    <a:pt x="193" y="161"/>
                  </a:lnTo>
                  <a:lnTo>
                    <a:pt x="191" y="163"/>
                  </a:lnTo>
                  <a:lnTo>
                    <a:pt x="188" y="165"/>
                  </a:lnTo>
                  <a:lnTo>
                    <a:pt x="180" y="167"/>
                  </a:lnTo>
                  <a:lnTo>
                    <a:pt x="174" y="170"/>
                  </a:lnTo>
                  <a:lnTo>
                    <a:pt x="170" y="172"/>
                  </a:lnTo>
                  <a:lnTo>
                    <a:pt x="168" y="174"/>
                  </a:lnTo>
                  <a:lnTo>
                    <a:pt x="161" y="176"/>
                  </a:lnTo>
                  <a:lnTo>
                    <a:pt x="155" y="178"/>
                  </a:lnTo>
                  <a:lnTo>
                    <a:pt x="151" y="182"/>
                  </a:lnTo>
                  <a:lnTo>
                    <a:pt x="149" y="184"/>
                  </a:lnTo>
                  <a:lnTo>
                    <a:pt x="147" y="182"/>
                  </a:lnTo>
                  <a:lnTo>
                    <a:pt x="145" y="178"/>
                  </a:lnTo>
                  <a:lnTo>
                    <a:pt x="142" y="176"/>
                  </a:lnTo>
                  <a:lnTo>
                    <a:pt x="140" y="174"/>
                  </a:lnTo>
                  <a:lnTo>
                    <a:pt x="138" y="172"/>
                  </a:lnTo>
                  <a:lnTo>
                    <a:pt x="136" y="170"/>
                  </a:lnTo>
                  <a:lnTo>
                    <a:pt x="128" y="167"/>
                  </a:lnTo>
                  <a:lnTo>
                    <a:pt x="120" y="165"/>
                  </a:lnTo>
                  <a:lnTo>
                    <a:pt x="119" y="163"/>
                  </a:lnTo>
                  <a:lnTo>
                    <a:pt x="117" y="161"/>
                  </a:lnTo>
                  <a:lnTo>
                    <a:pt x="111" y="157"/>
                  </a:lnTo>
                  <a:lnTo>
                    <a:pt x="101" y="157"/>
                  </a:lnTo>
                  <a:lnTo>
                    <a:pt x="92" y="157"/>
                  </a:lnTo>
                  <a:lnTo>
                    <a:pt x="86" y="161"/>
                  </a:lnTo>
                  <a:lnTo>
                    <a:pt x="84" y="163"/>
                  </a:lnTo>
                  <a:lnTo>
                    <a:pt x="82" y="165"/>
                  </a:lnTo>
                  <a:lnTo>
                    <a:pt x="71" y="167"/>
                  </a:lnTo>
                  <a:lnTo>
                    <a:pt x="57" y="170"/>
                  </a:lnTo>
                  <a:lnTo>
                    <a:pt x="55" y="172"/>
                  </a:lnTo>
                  <a:lnTo>
                    <a:pt x="53" y="174"/>
                  </a:lnTo>
                  <a:lnTo>
                    <a:pt x="46" y="176"/>
                  </a:lnTo>
                  <a:lnTo>
                    <a:pt x="38" y="178"/>
                  </a:lnTo>
                  <a:lnTo>
                    <a:pt x="36" y="182"/>
                  </a:lnTo>
                  <a:lnTo>
                    <a:pt x="34" y="184"/>
                  </a:lnTo>
                  <a:lnTo>
                    <a:pt x="21" y="184"/>
                  </a:lnTo>
                  <a:lnTo>
                    <a:pt x="9" y="184"/>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79" name="Freeform 346"/>
            <p:cNvSpPr>
              <a:spLocks/>
            </p:cNvSpPr>
            <p:nvPr>
              <p:custDataLst>
                <p:tags r:id="rId63"/>
              </p:custDataLst>
            </p:nvPr>
          </p:nvSpPr>
          <p:spPr bwMode="gray">
            <a:xfrm>
              <a:off x="1292225" y="3230378"/>
              <a:ext cx="395288" cy="292100"/>
            </a:xfrm>
            <a:custGeom>
              <a:avLst/>
              <a:gdLst>
                <a:gd name="T0" fmla="*/ 2147483647 w 255"/>
                <a:gd name="T1" fmla="*/ 2147483647 h 194"/>
                <a:gd name="T2" fmla="*/ 2147483647 w 255"/>
                <a:gd name="T3" fmla="*/ 2147483647 h 194"/>
                <a:gd name="T4" fmla="*/ 2147483647 w 255"/>
                <a:gd name="T5" fmla="*/ 2147483647 h 194"/>
                <a:gd name="T6" fmla="*/ 2147483647 w 255"/>
                <a:gd name="T7" fmla="*/ 2147483647 h 194"/>
                <a:gd name="T8" fmla="*/ 2147483647 w 255"/>
                <a:gd name="T9" fmla="*/ 2147483647 h 194"/>
                <a:gd name="T10" fmla="*/ 2147483647 w 255"/>
                <a:gd name="T11" fmla="*/ 2147483647 h 194"/>
                <a:gd name="T12" fmla="*/ 2147483647 w 255"/>
                <a:gd name="T13" fmla="*/ 2147483647 h 194"/>
                <a:gd name="T14" fmla="*/ 2147483647 w 255"/>
                <a:gd name="T15" fmla="*/ 2147483647 h 194"/>
                <a:gd name="T16" fmla="*/ 2147483647 w 255"/>
                <a:gd name="T17" fmla="*/ 2147483647 h 194"/>
                <a:gd name="T18" fmla="*/ 2147483647 w 255"/>
                <a:gd name="T19" fmla="*/ 2147483647 h 194"/>
                <a:gd name="T20" fmla="*/ 2147483647 w 255"/>
                <a:gd name="T21" fmla="*/ 2147483647 h 194"/>
                <a:gd name="T22" fmla="*/ 2147483647 w 255"/>
                <a:gd name="T23" fmla="*/ 2147483647 h 194"/>
                <a:gd name="T24" fmla="*/ 2147483647 w 255"/>
                <a:gd name="T25" fmla="*/ 2147483647 h 194"/>
                <a:gd name="T26" fmla="*/ 2147483647 w 255"/>
                <a:gd name="T27" fmla="*/ 2147483647 h 194"/>
                <a:gd name="T28" fmla="*/ 2147483647 w 255"/>
                <a:gd name="T29" fmla="*/ 2147483647 h 194"/>
                <a:gd name="T30" fmla="*/ 2147483647 w 255"/>
                <a:gd name="T31" fmla="*/ 2147483647 h 194"/>
                <a:gd name="T32" fmla="*/ 2147483647 w 255"/>
                <a:gd name="T33" fmla="*/ 2147483647 h 194"/>
                <a:gd name="T34" fmla="*/ 2147483647 w 255"/>
                <a:gd name="T35" fmla="*/ 2147483647 h 194"/>
                <a:gd name="T36" fmla="*/ 2147483647 w 255"/>
                <a:gd name="T37" fmla="*/ 2147483647 h 194"/>
                <a:gd name="T38" fmla="*/ 2147483647 w 255"/>
                <a:gd name="T39" fmla="*/ 2147483647 h 194"/>
                <a:gd name="T40" fmla="*/ 2147483647 w 255"/>
                <a:gd name="T41" fmla="*/ 2147483647 h 194"/>
                <a:gd name="T42" fmla="*/ 2147483647 w 255"/>
                <a:gd name="T43" fmla="*/ 2147483647 h 194"/>
                <a:gd name="T44" fmla="*/ 2147483647 w 255"/>
                <a:gd name="T45" fmla="*/ 2147483647 h 194"/>
                <a:gd name="T46" fmla="*/ 2147483647 w 255"/>
                <a:gd name="T47" fmla="*/ 2147483647 h 194"/>
                <a:gd name="T48" fmla="*/ 2147483647 w 255"/>
                <a:gd name="T49" fmla="*/ 2147483647 h 194"/>
                <a:gd name="T50" fmla="*/ 2147483647 w 255"/>
                <a:gd name="T51" fmla="*/ 2147483647 h 194"/>
                <a:gd name="T52" fmla="*/ 2147483647 w 255"/>
                <a:gd name="T53" fmla="*/ 2147483647 h 194"/>
                <a:gd name="T54" fmla="*/ 2147483647 w 255"/>
                <a:gd name="T55" fmla="*/ 2147483647 h 194"/>
                <a:gd name="T56" fmla="*/ 2147483647 w 255"/>
                <a:gd name="T57" fmla="*/ 2147483647 h 194"/>
                <a:gd name="T58" fmla="*/ 2147483647 w 255"/>
                <a:gd name="T59" fmla="*/ 2147483647 h 194"/>
                <a:gd name="T60" fmla="*/ 2147483647 w 255"/>
                <a:gd name="T61" fmla="*/ 2147483647 h 194"/>
                <a:gd name="T62" fmla="*/ 2147483647 w 255"/>
                <a:gd name="T63" fmla="*/ 2147483647 h 194"/>
                <a:gd name="T64" fmla="*/ 2147483647 w 255"/>
                <a:gd name="T65" fmla="*/ 2147483647 h 194"/>
                <a:gd name="T66" fmla="*/ 2147483647 w 255"/>
                <a:gd name="T67" fmla="*/ 2147483647 h 194"/>
                <a:gd name="T68" fmla="*/ 2147483647 w 255"/>
                <a:gd name="T69" fmla="*/ 2147483647 h 194"/>
                <a:gd name="T70" fmla="*/ 2147483647 w 255"/>
                <a:gd name="T71" fmla="*/ 2147483647 h 194"/>
                <a:gd name="T72" fmla="*/ 2147483647 w 255"/>
                <a:gd name="T73" fmla="*/ 2147483647 h 194"/>
                <a:gd name="T74" fmla="*/ 2147483647 w 255"/>
                <a:gd name="T75" fmla="*/ 2147483647 h 194"/>
                <a:gd name="T76" fmla="*/ 2147483647 w 255"/>
                <a:gd name="T77" fmla="*/ 2147483647 h 194"/>
                <a:gd name="T78" fmla="*/ 2147483647 w 255"/>
                <a:gd name="T79" fmla="*/ 2147483647 h 194"/>
                <a:gd name="T80" fmla="*/ 2147483647 w 255"/>
                <a:gd name="T81" fmla="*/ 2147483647 h 194"/>
                <a:gd name="T82" fmla="*/ 2147483647 w 255"/>
                <a:gd name="T83" fmla="*/ 0 h 194"/>
                <a:gd name="T84" fmla="*/ 2147483647 w 255"/>
                <a:gd name="T85" fmla="*/ 2147483647 h 194"/>
                <a:gd name="T86" fmla="*/ 2147483647 w 255"/>
                <a:gd name="T87" fmla="*/ 2147483647 h 194"/>
                <a:gd name="T88" fmla="*/ 2147483647 w 255"/>
                <a:gd name="T89" fmla="*/ 2147483647 h 194"/>
                <a:gd name="T90" fmla="*/ 2147483647 w 255"/>
                <a:gd name="T91" fmla="*/ 2147483647 h 194"/>
                <a:gd name="T92" fmla="*/ 2147483647 w 255"/>
                <a:gd name="T93" fmla="*/ 2147483647 h 194"/>
                <a:gd name="T94" fmla="*/ 2147483647 w 255"/>
                <a:gd name="T95" fmla="*/ 2147483647 h 194"/>
                <a:gd name="T96" fmla="*/ 2147483647 w 255"/>
                <a:gd name="T97" fmla="*/ 2147483647 h 194"/>
                <a:gd name="T98" fmla="*/ 2147483647 w 255"/>
                <a:gd name="T99" fmla="*/ 2147483647 h 194"/>
                <a:gd name="T100" fmla="*/ 2147483647 w 255"/>
                <a:gd name="T101" fmla="*/ 2147483647 h 194"/>
                <a:gd name="T102" fmla="*/ 2147483647 w 255"/>
                <a:gd name="T103" fmla="*/ 2147483647 h 194"/>
                <a:gd name="T104" fmla="*/ 2147483647 w 255"/>
                <a:gd name="T105" fmla="*/ 2147483647 h 194"/>
                <a:gd name="T106" fmla="*/ 2147483647 w 255"/>
                <a:gd name="T107" fmla="*/ 2147483647 h 194"/>
                <a:gd name="T108" fmla="*/ 2147483647 w 255"/>
                <a:gd name="T109" fmla="*/ 2147483647 h 194"/>
                <a:gd name="T110" fmla="*/ 2147483647 w 255"/>
                <a:gd name="T111" fmla="*/ 2147483647 h 194"/>
                <a:gd name="T112" fmla="*/ 2147483647 w 255"/>
                <a:gd name="T113" fmla="*/ 2147483647 h 194"/>
                <a:gd name="T114" fmla="*/ 2147483647 w 255"/>
                <a:gd name="T115" fmla="*/ 2147483647 h 194"/>
                <a:gd name="T116" fmla="*/ 2147483647 w 255"/>
                <a:gd name="T117" fmla="*/ 2147483647 h 194"/>
                <a:gd name="T118" fmla="*/ 2147483647 w 255"/>
                <a:gd name="T119" fmla="*/ 2147483647 h 194"/>
                <a:gd name="T120" fmla="*/ 2147483647 w 255"/>
                <a:gd name="T121" fmla="*/ 2147483647 h 194"/>
                <a:gd name="T122" fmla="*/ 2147483647 w 255"/>
                <a:gd name="T123" fmla="*/ 2147483647 h 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5"/>
                <a:gd name="T187" fmla="*/ 0 h 194"/>
                <a:gd name="T188" fmla="*/ 255 w 255"/>
                <a:gd name="T189" fmla="*/ 194 h 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5" h="194">
                  <a:moveTo>
                    <a:pt x="255" y="194"/>
                  </a:moveTo>
                  <a:lnTo>
                    <a:pt x="253" y="192"/>
                  </a:lnTo>
                  <a:lnTo>
                    <a:pt x="251" y="190"/>
                  </a:lnTo>
                  <a:lnTo>
                    <a:pt x="244" y="188"/>
                  </a:lnTo>
                  <a:lnTo>
                    <a:pt x="236" y="185"/>
                  </a:lnTo>
                  <a:lnTo>
                    <a:pt x="234" y="183"/>
                  </a:lnTo>
                  <a:lnTo>
                    <a:pt x="232" y="181"/>
                  </a:lnTo>
                  <a:lnTo>
                    <a:pt x="226" y="181"/>
                  </a:lnTo>
                  <a:lnTo>
                    <a:pt x="223" y="181"/>
                  </a:lnTo>
                  <a:lnTo>
                    <a:pt x="219" y="183"/>
                  </a:lnTo>
                  <a:lnTo>
                    <a:pt x="217" y="185"/>
                  </a:lnTo>
                  <a:lnTo>
                    <a:pt x="215" y="183"/>
                  </a:lnTo>
                  <a:lnTo>
                    <a:pt x="211" y="181"/>
                  </a:lnTo>
                  <a:lnTo>
                    <a:pt x="200" y="173"/>
                  </a:lnTo>
                  <a:lnTo>
                    <a:pt x="188" y="165"/>
                  </a:lnTo>
                  <a:lnTo>
                    <a:pt x="186" y="163"/>
                  </a:lnTo>
                  <a:lnTo>
                    <a:pt x="182" y="162"/>
                  </a:lnTo>
                  <a:lnTo>
                    <a:pt x="180" y="158"/>
                  </a:lnTo>
                  <a:lnTo>
                    <a:pt x="178" y="156"/>
                  </a:lnTo>
                  <a:lnTo>
                    <a:pt x="175" y="154"/>
                  </a:lnTo>
                  <a:lnTo>
                    <a:pt x="173" y="152"/>
                  </a:lnTo>
                  <a:lnTo>
                    <a:pt x="154" y="152"/>
                  </a:lnTo>
                  <a:lnTo>
                    <a:pt x="134" y="152"/>
                  </a:lnTo>
                  <a:lnTo>
                    <a:pt x="132" y="154"/>
                  </a:lnTo>
                  <a:lnTo>
                    <a:pt x="130" y="156"/>
                  </a:lnTo>
                  <a:lnTo>
                    <a:pt x="123" y="158"/>
                  </a:lnTo>
                  <a:lnTo>
                    <a:pt x="115" y="162"/>
                  </a:lnTo>
                  <a:lnTo>
                    <a:pt x="113" y="163"/>
                  </a:lnTo>
                  <a:lnTo>
                    <a:pt x="111" y="165"/>
                  </a:lnTo>
                  <a:lnTo>
                    <a:pt x="106" y="165"/>
                  </a:lnTo>
                  <a:lnTo>
                    <a:pt x="102" y="165"/>
                  </a:lnTo>
                  <a:lnTo>
                    <a:pt x="98" y="163"/>
                  </a:lnTo>
                  <a:lnTo>
                    <a:pt x="96" y="162"/>
                  </a:lnTo>
                  <a:lnTo>
                    <a:pt x="88" y="158"/>
                  </a:lnTo>
                  <a:lnTo>
                    <a:pt x="81" y="156"/>
                  </a:lnTo>
                  <a:lnTo>
                    <a:pt x="79" y="154"/>
                  </a:lnTo>
                  <a:lnTo>
                    <a:pt x="77" y="152"/>
                  </a:lnTo>
                  <a:lnTo>
                    <a:pt x="59" y="148"/>
                  </a:lnTo>
                  <a:lnTo>
                    <a:pt x="42" y="146"/>
                  </a:lnTo>
                  <a:lnTo>
                    <a:pt x="40" y="144"/>
                  </a:lnTo>
                  <a:lnTo>
                    <a:pt x="38" y="142"/>
                  </a:lnTo>
                  <a:lnTo>
                    <a:pt x="31" y="138"/>
                  </a:lnTo>
                  <a:lnTo>
                    <a:pt x="23" y="137"/>
                  </a:lnTo>
                  <a:lnTo>
                    <a:pt x="21" y="135"/>
                  </a:lnTo>
                  <a:lnTo>
                    <a:pt x="19" y="133"/>
                  </a:lnTo>
                  <a:lnTo>
                    <a:pt x="12" y="129"/>
                  </a:lnTo>
                  <a:lnTo>
                    <a:pt x="4" y="127"/>
                  </a:lnTo>
                  <a:lnTo>
                    <a:pt x="2" y="125"/>
                  </a:lnTo>
                  <a:lnTo>
                    <a:pt x="0" y="123"/>
                  </a:lnTo>
                  <a:lnTo>
                    <a:pt x="2" y="119"/>
                  </a:lnTo>
                  <a:lnTo>
                    <a:pt x="4" y="117"/>
                  </a:lnTo>
                  <a:lnTo>
                    <a:pt x="6" y="110"/>
                  </a:lnTo>
                  <a:lnTo>
                    <a:pt x="10" y="104"/>
                  </a:lnTo>
                  <a:lnTo>
                    <a:pt x="12" y="100"/>
                  </a:lnTo>
                  <a:lnTo>
                    <a:pt x="13" y="98"/>
                  </a:lnTo>
                  <a:lnTo>
                    <a:pt x="15" y="96"/>
                  </a:lnTo>
                  <a:lnTo>
                    <a:pt x="19" y="92"/>
                  </a:lnTo>
                  <a:lnTo>
                    <a:pt x="21" y="91"/>
                  </a:lnTo>
                  <a:lnTo>
                    <a:pt x="23" y="89"/>
                  </a:lnTo>
                  <a:lnTo>
                    <a:pt x="25" y="85"/>
                  </a:lnTo>
                  <a:lnTo>
                    <a:pt x="29" y="83"/>
                  </a:lnTo>
                  <a:lnTo>
                    <a:pt x="31" y="81"/>
                  </a:lnTo>
                  <a:lnTo>
                    <a:pt x="33" y="79"/>
                  </a:lnTo>
                  <a:lnTo>
                    <a:pt x="36" y="77"/>
                  </a:lnTo>
                  <a:lnTo>
                    <a:pt x="38" y="73"/>
                  </a:lnTo>
                  <a:lnTo>
                    <a:pt x="40" y="71"/>
                  </a:lnTo>
                  <a:lnTo>
                    <a:pt x="42" y="69"/>
                  </a:lnTo>
                  <a:lnTo>
                    <a:pt x="46" y="64"/>
                  </a:lnTo>
                  <a:lnTo>
                    <a:pt x="46" y="50"/>
                  </a:lnTo>
                  <a:lnTo>
                    <a:pt x="46" y="37"/>
                  </a:lnTo>
                  <a:lnTo>
                    <a:pt x="42" y="31"/>
                  </a:lnTo>
                  <a:lnTo>
                    <a:pt x="40" y="27"/>
                  </a:lnTo>
                  <a:lnTo>
                    <a:pt x="38" y="25"/>
                  </a:lnTo>
                  <a:lnTo>
                    <a:pt x="40" y="23"/>
                  </a:lnTo>
                  <a:lnTo>
                    <a:pt x="42" y="21"/>
                  </a:lnTo>
                  <a:lnTo>
                    <a:pt x="46" y="18"/>
                  </a:lnTo>
                  <a:lnTo>
                    <a:pt x="48" y="16"/>
                  </a:lnTo>
                  <a:lnTo>
                    <a:pt x="50" y="14"/>
                  </a:lnTo>
                  <a:lnTo>
                    <a:pt x="52" y="12"/>
                  </a:lnTo>
                  <a:lnTo>
                    <a:pt x="65" y="8"/>
                  </a:lnTo>
                  <a:lnTo>
                    <a:pt x="77" y="6"/>
                  </a:lnTo>
                  <a:lnTo>
                    <a:pt x="79" y="4"/>
                  </a:lnTo>
                  <a:lnTo>
                    <a:pt x="81" y="0"/>
                  </a:lnTo>
                  <a:lnTo>
                    <a:pt x="86" y="0"/>
                  </a:lnTo>
                  <a:lnTo>
                    <a:pt x="90" y="0"/>
                  </a:lnTo>
                  <a:lnTo>
                    <a:pt x="94" y="4"/>
                  </a:lnTo>
                  <a:lnTo>
                    <a:pt x="96" y="6"/>
                  </a:lnTo>
                  <a:lnTo>
                    <a:pt x="113" y="8"/>
                  </a:lnTo>
                  <a:lnTo>
                    <a:pt x="130" y="12"/>
                  </a:lnTo>
                  <a:lnTo>
                    <a:pt x="132" y="14"/>
                  </a:lnTo>
                  <a:lnTo>
                    <a:pt x="134" y="16"/>
                  </a:lnTo>
                  <a:lnTo>
                    <a:pt x="157" y="18"/>
                  </a:lnTo>
                  <a:lnTo>
                    <a:pt x="178" y="21"/>
                  </a:lnTo>
                  <a:lnTo>
                    <a:pt x="180" y="23"/>
                  </a:lnTo>
                  <a:lnTo>
                    <a:pt x="182" y="25"/>
                  </a:lnTo>
                  <a:lnTo>
                    <a:pt x="186" y="33"/>
                  </a:lnTo>
                  <a:lnTo>
                    <a:pt x="188" y="41"/>
                  </a:lnTo>
                  <a:lnTo>
                    <a:pt x="190" y="43"/>
                  </a:lnTo>
                  <a:lnTo>
                    <a:pt x="194" y="44"/>
                  </a:lnTo>
                  <a:lnTo>
                    <a:pt x="205" y="46"/>
                  </a:lnTo>
                  <a:lnTo>
                    <a:pt x="217" y="50"/>
                  </a:lnTo>
                  <a:lnTo>
                    <a:pt x="219" y="52"/>
                  </a:lnTo>
                  <a:lnTo>
                    <a:pt x="223" y="54"/>
                  </a:lnTo>
                  <a:lnTo>
                    <a:pt x="224" y="71"/>
                  </a:lnTo>
                  <a:lnTo>
                    <a:pt x="226" y="89"/>
                  </a:lnTo>
                  <a:lnTo>
                    <a:pt x="228" y="91"/>
                  </a:lnTo>
                  <a:lnTo>
                    <a:pt x="232" y="92"/>
                  </a:lnTo>
                  <a:lnTo>
                    <a:pt x="234" y="96"/>
                  </a:lnTo>
                  <a:lnTo>
                    <a:pt x="236" y="98"/>
                  </a:lnTo>
                  <a:lnTo>
                    <a:pt x="238" y="100"/>
                  </a:lnTo>
                  <a:lnTo>
                    <a:pt x="242" y="104"/>
                  </a:lnTo>
                  <a:lnTo>
                    <a:pt x="244" y="106"/>
                  </a:lnTo>
                  <a:lnTo>
                    <a:pt x="246" y="108"/>
                  </a:lnTo>
                  <a:lnTo>
                    <a:pt x="248" y="110"/>
                  </a:lnTo>
                  <a:lnTo>
                    <a:pt x="251" y="112"/>
                  </a:lnTo>
                  <a:lnTo>
                    <a:pt x="251" y="121"/>
                  </a:lnTo>
                  <a:lnTo>
                    <a:pt x="251" y="133"/>
                  </a:lnTo>
                  <a:lnTo>
                    <a:pt x="248" y="135"/>
                  </a:lnTo>
                  <a:lnTo>
                    <a:pt x="246" y="137"/>
                  </a:lnTo>
                  <a:lnTo>
                    <a:pt x="246" y="146"/>
                  </a:lnTo>
                  <a:lnTo>
                    <a:pt x="246" y="156"/>
                  </a:lnTo>
                  <a:lnTo>
                    <a:pt x="248" y="158"/>
                  </a:lnTo>
                  <a:lnTo>
                    <a:pt x="251" y="162"/>
                  </a:lnTo>
                  <a:lnTo>
                    <a:pt x="253" y="177"/>
                  </a:lnTo>
                  <a:lnTo>
                    <a:pt x="255" y="194"/>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80" name="Freeform 347"/>
            <p:cNvSpPr>
              <a:spLocks/>
            </p:cNvSpPr>
            <p:nvPr>
              <p:custDataLst>
                <p:tags r:id="rId64"/>
              </p:custDataLst>
            </p:nvPr>
          </p:nvSpPr>
          <p:spPr bwMode="gray">
            <a:xfrm>
              <a:off x="1093788" y="3076391"/>
              <a:ext cx="287337" cy="446087"/>
            </a:xfrm>
            <a:custGeom>
              <a:avLst/>
              <a:gdLst>
                <a:gd name="T0" fmla="*/ 2147483647 w 185"/>
                <a:gd name="T1" fmla="*/ 2147483647 h 299"/>
                <a:gd name="T2" fmla="*/ 2147483647 w 185"/>
                <a:gd name="T3" fmla="*/ 2147483647 h 299"/>
                <a:gd name="T4" fmla="*/ 2147483647 w 185"/>
                <a:gd name="T5" fmla="*/ 2147483647 h 299"/>
                <a:gd name="T6" fmla="*/ 2147483647 w 185"/>
                <a:gd name="T7" fmla="*/ 2147483647 h 299"/>
                <a:gd name="T8" fmla="*/ 2147483647 w 185"/>
                <a:gd name="T9" fmla="*/ 2147483647 h 299"/>
                <a:gd name="T10" fmla="*/ 2147483647 w 185"/>
                <a:gd name="T11" fmla="*/ 2147483647 h 299"/>
                <a:gd name="T12" fmla="*/ 2147483647 w 185"/>
                <a:gd name="T13" fmla="*/ 2147483647 h 299"/>
                <a:gd name="T14" fmla="*/ 2147483647 w 185"/>
                <a:gd name="T15" fmla="*/ 2147483647 h 299"/>
                <a:gd name="T16" fmla="*/ 2147483647 w 185"/>
                <a:gd name="T17" fmla="*/ 2147483647 h 299"/>
                <a:gd name="T18" fmla="*/ 2147483647 w 185"/>
                <a:gd name="T19" fmla="*/ 2147483647 h 299"/>
                <a:gd name="T20" fmla="*/ 2147483647 w 185"/>
                <a:gd name="T21" fmla="*/ 2147483647 h 299"/>
                <a:gd name="T22" fmla="*/ 2147483647 w 185"/>
                <a:gd name="T23" fmla="*/ 2147483647 h 299"/>
                <a:gd name="T24" fmla="*/ 2147483647 w 185"/>
                <a:gd name="T25" fmla="*/ 2147483647 h 299"/>
                <a:gd name="T26" fmla="*/ 2147483647 w 185"/>
                <a:gd name="T27" fmla="*/ 2147483647 h 299"/>
                <a:gd name="T28" fmla="*/ 2147483647 w 185"/>
                <a:gd name="T29" fmla="*/ 2147483647 h 299"/>
                <a:gd name="T30" fmla="*/ 2147483647 w 185"/>
                <a:gd name="T31" fmla="*/ 2147483647 h 299"/>
                <a:gd name="T32" fmla="*/ 2147483647 w 185"/>
                <a:gd name="T33" fmla="*/ 2147483647 h 299"/>
                <a:gd name="T34" fmla="*/ 2147483647 w 185"/>
                <a:gd name="T35" fmla="*/ 2147483647 h 299"/>
                <a:gd name="T36" fmla="*/ 2147483647 w 185"/>
                <a:gd name="T37" fmla="*/ 2147483647 h 299"/>
                <a:gd name="T38" fmla="*/ 2147483647 w 185"/>
                <a:gd name="T39" fmla="*/ 2147483647 h 299"/>
                <a:gd name="T40" fmla="*/ 2147483647 w 185"/>
                <a:gd name="T41" fmla="*/ 2147483647 h 299"/>
                <a:gd name="T42" fmla="*/ 2147483647 w 185"/>
                <a:gd name="T43" fmla="*/ 2147483647 h 299"/>
                <a:gd name="T44" fmla="*/ 2147483647 w 185"/>
                <a:gd name="T45" fmla="*/ 2147483647 h 299"/>
                <a:gd name="T46" fmla="*/ 2147483647 w 185"/>
                <a:gd name="T47" fmla="*/ 2147483647 h 299"/>
                <a:gd name="T48" fmla="*/ 2147483647 w 185"/>
                <a:gd name="T49" fmla="*/ 0 h 299"/>
                <a:gd name="T50" fmla="*/ 2147483647 w 185"/>
                <a:gd name="T51" fmla="*/ 2147483647 h 299"/>
                <a:gd name="T52" fmla="*/ 2147483647 w 185"/>
                <a:gd name="T53" fmla="*/ 2147483647 h 299"/>
                <a:gd name="T54" fmla="*/ 2147483647 w 185"/>
                <a:gd name="T55" fmla="*/ 2147483647 h 299"/>
                <a:gd name="T56" fmla="*/ 2147483647 w 185"/>
                <a:gd name="T57" fmla="*/ 2147483647 h 299"/>
                <a:gd name="T58" fmla="*/ 2147483647 w 185"/>
                <a:gd name="T59" fmla="*/ 2147483647 h 299"/>
                <a:gd name="T60" fmla="*/ 2147483647 w 185"/>
                <a:gd name="T61" fmla="*/ 2147483647 h 299"/>
                <a:gd name="T62" fmla="*/ 2147483647 w 185"/>
                <a:gd name="T63" fmla="*/ 2147483647 h 299"/>
                <a:gd name="T64" fmla="*/ 2147483647 w 185"/>
                <a:gd name="T65" fmla="*/ 2147483647 h 299"/>
                <a:gd name="T66" fmla="*/ 2147483647 w 185"/>
                <a:gd name="T67" fmla="*/ 2147483647 h 299"/>
                <a:gd name="T68" fmla="*/ 2147483647 w 185"/>
                <a:gd name="T69" fmla="*/ 2147483647 h 299"/>
                <a:gd name="T70" fmla="*/ 2147483647 w 185"/>
                <a:gd name="T71" fmla="*/ 2147483647 h 299"/>
                <a:gd name="T72" fmla="*/ 2147483647 w 185"/>
                <a:gd name="T73" fmla="*/ 2147483647 h 299"/>
                <a:gd name="T74" fmla="*/ 2147483647 w 185"/>
                <a:gd name="T75" fmla="*/ 2147483647 h 299"/>
                <a:gd name="T76" fmla="*/ 2147483647 w 185"/>
                <a:gd name="T77" fmla="*/ 2147483647 h 299"/>
                <a:gd name="T78" fmla="*/ 2147483647 w 185"/>
                <a:gd name="T79" fmla="*/ 2147483647 h 299"/>
                <a:gd name="T80" fmla="*/ 2147483647 w 185"/>
                <a:gd name="T81" fmla="*/ 2147483647 h 299"/>
                <a:gd name="T82" fmla="*/ 2147483647 w 185"/>
                <a:gd name="T83" fmla="*/ 2147483647 h 299"/>
                <a:gd name="T84" fmla="*/ 2147483647 w 185"/>
                <a:gd name="T85" fmla="*/ 2147483647 h 299"/>
                <a:gd name="T86" fmla="*/ 2147483647 w 185"/>
                <a:gd name="T87" fmla="*/ 2147483647 h 299"/>
                <a:gd name="T88" fmla="*/ 2147483647 w 185"/>
                <a:gd name="T89" fmla="*/ 2147483647 h 299"/>
                <a:gd name="T90" fmla="*/ 2147483647 w 185"/>
                <a:gd name="T91" fmla="*/ 2147483647 h 299"/>
                <a:gd name="T92" fmla="*/ 2147483647 w 185"/>
                <a:gd name="T93" fmla="*/ 2147483647 h 299"/>
                <a:gd name="T94" fmla="*/ 2147483647 w 185"/>
                <a:gd name="T95" fmla="*/ 2147483647 h 299"/>
                <a:gd name="T96" fmla="*/ 2147483647 w 185"/>
                <a:gd name="T97" fmla="*/ 2147483647 h 299"/>
                <a:gd name="T98" fmla="*/ 2147483647 w 185"/>
                <a:gd name="T99" fmla="*/ 2147483647 h 299"/>
                <a:gd name="T100" fmla="*/ 2147483647 w 185"/>
                <a:gd name="T101" fmla="*/ 2147483647 h 299"/>
                <a:gd name="T102" fmla="*/ 2147483647 w 185"/>
                <a:gd name="T103" fmla="*/ 2147483647 h 299"/>
                <a:gd name="T104" fmla="*/ 2147483647 w 185"/>
                <a:gd name="T105" fmla="*/ 2147483647 h 299"/>
                <a:gd name="T106" fmla="*/ 2147483647 w 185"/>
                <a:gd name="T107" fmla="*/ 2147483647 h 299"/>
                <a:gd name="T108" fmla="*/ 2147483647 w 185"/>
                <a:gd name="T109" fmla="*/ 2147483647 h 299"/>
                <a:gd name="T110" fmla="*/ 2147483647 w 185"/>
                <a:gd name="T111" fmla="*/ 2147483647 h 299"/>
                <a:gd name="T112" fmla="*/ 2147483647 w 185"/>
                <a:gd name="T113" fmla="*/ 2147483647 h 29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85"/>
                <a:gd name="T172" fmla="*/ 0 h 299"/>
                <a:gd name="T173" fmla="*/ 185 w 185"/>
                <a:gd name="T174" fmla="*/ 299 h 29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85" h="299">
                  <a:moveTo>
                    <a:pt x="29" y="261"/>
                  </a:moveTo>
                  <a:lnTo>
                    <a:pt x="33" y="259"/>
                  </a:lnTo>
                  <a:lnTo>
                    <a:pt x="31" y="257"/>
                  </a:lnTo>
                  <a:lnTo>
                    <a:pt x="27" y="255"/>
                  </a:lnTo>
                  <a:lnTo>
                    <a:pt x="20" y="251"/>
                  </a:lnTo>
                  <a:lnTo>
                    <a:pt x="18" y="251"/>
                  </a:lnTo>
                  <a:lnTo>
                    <a:pt x="16" y="249"/>
                  </a:lnTo>
                  <a:lnTo>
                    <a:pt x="16" y="247"/>
                  </a:lnTo>
                  <a:lnTo>
                    <a:pt x="14" y="242"/>
                  </a:lnTo>
                  <a:lnTo>
                    <a:pt x="8" y="219"/>
                  </a:lnTo>
                  <a:lnTo>
                    <a:pt x="0" y="174"/>
                  </a:lnTo>
                  <a:lnTo>
                    <a:pt x="4" y="169"/>
                  </a:lnTo>
                  <a:lnTo>
                    <a:pt x="10" y="165"/>
                  </a:lnTo>
                  <a:lnTo>
                    <a:pt x="16" y="159"/>
                  </a:lnTo>
                  <a:lnTo>
                    <a:pt x="20" y="155"/>
                  </a:lnTo>
                  <a:lnTo>
                    <a:pt x="20" y="146"/>
                  </a:lnTo>
                  <a:lnTo>
                    <a:pt x="20" y="136"/>
                  </a:lnTo>
                  <a:lnTo>
                    <a:pt x="25" y="136"/>
                  </a:lnTo>
                  <a:lnTo>
                    <a:pt x="29" y="136"/>
                  </a:lnTo>
                  <a:lnTo>
                    <a:pt x="35" y="130"/>
                  </a:lnTo>
                  <a:lnTo>
                    <a:pt x="39" y="126"/>
                  </a:lnTo>
                  <a:lnTo>
                    <a:pt x="45" y="121"/>
                  </a:lnTo>
                  <a:lnTo>
                    <a:pt x="48" y="117"/>
                  </a:lnTo>
                  <a:lnTo>
                    <a:pt x="54" y="111"/>
                  </a:lnTo>
                  <a:lnTo>
                    <a:pt x="58" y="105"/>
                  </a:lnTo>
                  <a:lnTo>
                    <a:pt x="64" y="101"/>
                  </a:lnTo>
                  <a:lnTo>
                    <a:pt x="68" y="96"/>
                  </a:lnTo>
                  <a:lnTo>
                    <a:pt x="68" y="92"/>
                  </a:lnTo>
                  <a:lnTo>
                    <a:pt x="68" y="88"/>
                  </a:lnTo>
                  <a:lnTo>
                    <a:pt x="68" y="82"/>
                  </a:lnTo>
                  <a:lnTo>
                    <a:pt x="68" y="77"/>
                  </a:lnTo>
                  <a:lnTo>
                    <a:pt x="77" y="73"/>
                  </a:lnTo>
                  <a:lnTo>
                    <a:pt x="89" y="67"/>
                  </a:lnTo>
                  <a:lnTo>
                    <a:pt x="92" y="63"/>
                  </a:lnTo>
                  <a:lnTo>
                    <a:pt x="96" y="57"/>
                  </a:lnTo>
                  <a:lnTo>
                    <a:pt x="102" y="54"/>
                  </a:lnTo>
                  <a:lnTo>
                    <a:pt x="108" y="48"/>
                  </a:lnTo>
                  <a:lnTo>
                    <a:pt x="112" y="44"/>
                  </a:lnTo>
                  <a:lnTo>
                    <a:pt x="117" y="38"/>
                  </a:lnTo>
                  <a:lnTo>
                    <a:pt x="117" y="34"/>
                  </a:lnTo>
                  <a:lnTo>
                    <a:pt x="117" y="29"/>
                  </a:lnTo>
                  <a:lnTo>
                    <a:pt x="117" y="25"/>
                  </a:lnTo>
                  <a:lnTo>
                    <a:pt x="117" y="19"/>
                  </a:lnTo>
                  <a:lnTo>
                    <a:pt x="121" y="19"/>
                  </a:lnTo>
                  <a:lnTo>
                    <a:pt x="127" y="19"/>
                  </a:lnTo>
                  <a:lnTo>
                    <a:pt x="131" y="13"/>
                  </a:lnTo>
                  <a:lnTo>
                    <a:pt x="137" y="9"/>
                  </a:lnTo>
                  <a:lnTo>
                    <a:pt x="140" y="6"/>
                  </a:lnTo>
                  <a:lnTo>
                    <a:pt x="146" y="0"/>
                  </a:lnTo>
                  <a:lnTo>
                    <a:pt x="156" y="0"/>
                  </a:lnTo>
                  <a:lnTo>
                    <a:pt x="165" y="0"/>
                  </a:lnTo>
                  <a:lnTo>
                    <a:pt x="169" y="6"/>
                  </a:lnTo>
                  <a:lnTo>
                    <a:pt x="175" y="9"/>
                  </a:lnTo>
                  <a:lnTo>
                    <a:pt x="175" y="13"/>
                  </a:lnTo>
                  <a:lnTo>
                    <a:pt x="175" y="19"/>
                  </a:lnTo>
                  <a:lnTo>
                    <a:pt x="177" y="25"/>
                  </a:lnTo>
                  <a:lnTo>
                    <a:pt x="179" y="29"/>
                  </a:lnTo>
                  <a:lnTo>
                    <a:pt x="183" y="31"/>
                  </a:lnTo>
                  <a:lnTo>
                    <a:pt x="185" y="34"/>
                  </a:lnTo>
                  <a:lnTo>
                    <a:pt x="183" y="54"/>
                  </a:lnTo>
                  <a:lnTo>
                    <a:pt x="179" y="73"/>
                  </a:lnTo>
                  <a:lnTo>
                    <a:pt x="177" y="92"/>
                  </a:lnTo>
                  <a:lnTo>
                    <a:pt x="175" y="111"/>
                  </a:lnTo>
                  <a:lnTo>
                    <a:pt x="173" y="113"/>
                  </a:lnTo>
                  <a:lnTo>
                    <a:pt x="169" y="117"/>
                  </a:lnTo>
                  <a:lnTo>
                    <a:pt x="167" y="119"/>
                  </a:lnTo>
                  <a:lnTo>
                    <a:pt x="165" y="121"/>
                  </a:lnTo>
                  <a:lnTo>
                    <a:pt x="163" y="123"/>
                  </a:lnTo>
                  <a:lnTo>
                    <a:pt x="160" y="126"/>
                  </a:lnTo>
                  <a:lnTo>
                    <a:pt x="160" y="130"/>
                  </a:lnTo>
                  <a:lnTo>
                    <a:pt x="160" y="136"/>
                  </a:lnTo>
                  <a:lnTo>
                    <a:pt x="163" y="138"/>
                  </a:lnTo>
                  <a:lnTo>
                    <a:pt x="165" y="140"/>
                  </a:lnTo>
                  <a:lnTo>
                    <a:pt x="165" y="155"/>
                  </a:lnTo>
                  <a:lnTo>
                    <a:pt x="165" y="169"/>
                  </a:lnTo>
                  <a:lnTo>
                    <a:pt x="163" y="172"/>
                  </a:lnTo>
                  <a:lnTo>
                    <a:pt x="160" y="174"/>
                  </a:lnTo>
                  <a:lnTo>
                    <a:pt x="158" y="176"/>
                  </a:lnTo>
                  <a:lnTo>
                    <a:pt x="156" y="178"/>
                  </a:lnTo>
                  <a:lnTo>
                    <a:pt x="152" y="182"/>
                  </a:lnTo>
                  <a:lnTo>
                    <a:pt x="150" y="184"/>
                  </a:lnTo>
                  <a:lnTo>
                    <a:pt x="148" y="186"/>
                  </a:lnTo>
                  <a:lnTo>
                    <a:pt x="146" y="188"/>
                  </a:lnTo>
                  <a:lnTo>
                    <a:pt x="142" y="190"/>
                  </a:lnTo>
                  <a:lnTo>
                    <a:pt x="140" y="194"/>
                  </a:lnTo>
                  <a:lnTo>
                    <a:pt x="139" y="196"/>
                  </a:lnTo>
                  <a:lnTo>
                    <a:pt x="137" y="197"/>
                  </a:lnTo>
                  <a:lnTo>
                    <a:pt x="133" y="201"/>
                  </a:lnTo>
                  <a:lnTo>
                    <a:pt x="131" y="203"/>
                  </a:lnTo>
                  <a:lnTo>
                    <a:pt x="129" y="211"/>
                  </a:lnTo>
                  <a:lnTo>
                    <a:pt x="127" y="217"/>
                  </a:lnTo>
                  <a:lnTo>
                    <a:pt x="123" y="220"/>
                  </a:lnTo>
                  <a:lnTo>
                    <a:pt x="121" y="222"/>
                  </a:lnTo>
                  <a:lnTo>
                    <a:pt x="119" y="224"/>
                  </a:lnTo>
                  <a:lnTo>
                    <a:pt x="117" y="228"/>
                  </a:lnTo>
                  <a:lnTo>
                    <a:pt x="114" y="230"/>
                  </a:lnTo>
                  <a:lnTo>
                    <a:pt x="112" y="232"/>
                  </a:lnTo>
                  <a:lnTo>
                    <a:pt x="110" y="253"/>
                  </a:lnTo>
                  <a:lnTo>
                    <a:pt x="108" y="276"/>
                  </a:lnTo>
                  <a:lnTo>
                    <a:pt x="104" y="278"/>
                  </a:lnTo>
                  <a:lnTo>
                    <a:pt x="102" y="280"/>
                  </a:lnTo>
                  <a:lnTo>
                    <a:pt x="100" y="282"/>
                  </a:lnTo>
                  <a:lnTo>
                    <a:pt x="96" y="286"/>
                  </a:lnTo>
                  <a:lnTo>
                    <a:pt x="94" y="288"/>
                  </a:lnTo>
                  <a:lnTo>
                    <a:pt x="92" y="290"/>
                  </a:lnTo>
                  <a:lnTo>
                    <a:pt x="85" y="293"/>
                  </a:lnTo>
                  <a:lnTo>
                    <a:pt x="77" y="295"/>
                  </a:lnTo>
                  <a:lnTo>
                    <a:pt x="75" y="297"/>
                  </a:lnTo>
                  <a:lnTo>
                    <a:pt x="73" y="299"/>
                  </a:lnTo>
                  <a:lnTo>
                    <a:pt x="66" y="299"/>
                  </a:lnTo>
                  <a:lnTo>
                    <a:pt x="58" y="299"/>
                  </a:lnTo>
                  <a:lnTo>
                    <a:pt x="50" y="293"/>
                  </a:lnTo>
                  <a:lnTo>
                    <a:pt x="45" y="288"/>
                  </a:lnTo>
                  <a:lnTo>
                    <a:pt x="39" y="278"/>
                  </a:lnTo>
                  <a:lnTo>
                    <a:pt x="29" y="261"/>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81" name="Freeform 348"/>
            <p:cNvSpPr>
              <a:spLocks/>
            </p:cNvSpPr>
            <p:nvPr>
              <p:custDataLst>
                <p:tags r:id="rId65"/>
              </p:custDataLst>
            </p:nvPr>
          </p:nvSpPr>
          <p:spPr bwMode="gray">
            <a:xfrm>
              <a:off x="1652588" y="2538228"/>
              <a:ext cx="612775" cy="765175"/>
            </a:xfrm>
            <a:custGeom>
              <a:avLst/>
              <a:gdLst>
                <a:gd name="T0" fmla="*/ 2147483647 w 395"/>
                <a:gd name="T1" fmla="*/ 2147483647 h 512"/>
                <a:gd name="T2" fmla="*/ 2147483647 w 395"/>
                <a:gd name="T3" fmla="*/ 2147483647 h 512"/>
                <a:gd name="T4" fmla="*/ 2147483647 w 395"/>
                <a:gd name="T5" fmla="*/ 2147483647 h 512"/>
                <a:gd name="T6" fmla="*/ 2147483647 w 395"/>
                <a:gd name="T7" fmla="*/ 2147483647 h 512"/>
                <a:gd name="T8" fmla="*/ 2147483647 w 395"/>
                <a:gd name="T9" fmla="*/ 2147483647 h 512"/>
                <a:gd name="T10" fmla="*/ 2147483647 w 395"/>
                <a:gd name="T11" fmla="*/ 2147483647 h 512"/>
                <a:gd name="T12" fmla="*/ 2147483647 w 395"/>
                <a:gd name="T13" fmla="*/ 2147483647 h 512"/>
                <a:gd name="T14" fmla="*/ 2147483647 w 395"/>
                <a:gd name="T15" fmla="*/ 0 h 512"/>
                <a:gd name="T16" fmla="*/ 2147483647 w 395"/>
                <a:gd name="T17" fmla="*/ 2147483647 h 512"/>
                <a:gd name="T18" fmla="*/ 2147483647 w 395"/>
                <a:gd name="T19" fmla="*/ 2147483647 h 512"/>
                <a:gd name="T20" fmla="*/ 2147483647 w 395"/>
                <a:gd name="T21" fmla="*/ 2147483647 h 512"/>
                <a:gd name="T22" fmla="*/ 2147483647 w 395"/>
                <a:gd name="T23" fmla="*/ 2147483647 h 512"/>
                <a:gd name="T24" fmla="*/ 2147483647 w 395"/>
                <a:gd name="T25" fmla="*/ 2147483647 h 512"/>
                <a:gd name="T26" fmla="*/ 2147483647 w 395"/>
                <a:gd name="T27" fmla="*/ 2147483647 h 512"/>
                <a:gd name="T28" fmla="*/ 2147483647 w 395"/>
                <a:gd name="T29" fmla="*/ 2147483647 h 512"/>
                <a:gd name="T30" fmla="*/ 2147483647 w 395"/>
                <a:gd name="T31" fmla="*/ 2147483647 h 512"/>
                <a:gd name="T32" fmla="*/ 2147483647 w 395"/>
                <a:gd name="T33" fmla="*/ 2147483647 h 512"/>
                <a:gd name="T34" fmla="*/ 2147483647 w 395"/>
                <a:gd name="T35" fmla="*/ 2147483647 h 512"/>
                <a:gd name="T36" fmla="*/ 2147483647 w 395"/>
                <a:gd name="T37" fmla="*/ 2147483647 h 512"/>
                <a:gd name="T38" fmla="*/ 2147483647 w 395"/>
                <a:gd name="T39" fmla="*/ 2147483647 h 512"/>
                <a:gd name="T40" fmla="*/ 2147483647 w 395"/>
                <a:gd name="T41" fmla="*/ 2147483647 h 512"/>
                <a:gd name="T42" fmla="*/ 2147483647 w 395"/>
                <a:gd name="T43" fmla="*/ 2147483647 h 512"/>
                <a:gd name="T44" fmla="*/ 2147483647 w 395"/>
                <a:gd name="T45" fmla="*/ 2147483647 h 512"/>
                <a:gd name="T46" fmla="*/ 2147483647 w 395"/>
                <a:gd name="T47" fmla="*/ 2147483647 h 512"/>
                <a:gd name="T48" fmla="*/ 2147483647 w 395"/>
                <a:gd name="T49" fmla="*/ 2147483647 h 512"/>
                <a:gd name="T50" fmla="*/ 0 w 395"/>
                <a:gd name="T51" fmla="*/ 2147483647 h 512"/>
                <a:gd name="T52" fmla="*/ 2147483647 w 395"/>
                <a:gd name="T53" fmla="*/ 2147483647 h 512"/>
                <a:gd name="T54" fmla="*/ 2147483647 w 395"/>
                <a:gd name="T55" fmla="*/ 2147483647 h 512"/>
                <a:gd name="T56" fmla="*/ 2147483647 w 395"/>
                <a:gd name="T57" fmla="*/ 2147483647 h 512"/>
                <a:gd name="T58" fmla="*/ 2147483647 w 395"/>
                <a:gd name="T59" fmla="*/ 2147483647 h 512"/>
                <a:gd name="T60" fmla="*/ 2147483647 w 395"/>
                <a:gd name="T61" fmla="*/ 2147483647 h 512"/>
                <a:gd name="T62" fmla="*/ 2147483647 w 395"/>
                <a:gd name="T63" fmla="*/ 2147483647 h 512"/>
                <a:gd name="T64" fmla="*/ 2147483647 w 395"/>
                <a:gd name="T65" fmla="*/ 2147483647 h 512"/>
                <a:gd name="T66" fmla="*/ 2147483647 w 395"/>
                <a:gd name="T67" fmla="*/ 2147483647 h 512"/>
                <a:gd name="T68" fmla="*/ 2147483647 w 395"/>
                <a:gd name="T69" fmla="*/ 2147483647 h 512"/>
                <a:gd name="T70" fmla="*/ 2147483647 w 395"/>
                <a:gd name="T71" fmla="*/ 2147483647 h 512"/>
                <a:gd name="T72" fmla="*/ 2147483647 w 395"/>
                <a:gd name="T73" fmla="*/ 2147483647 h 512"/>
                <a:gd name="T74" fmla="*/ 2147483647 w 395"/>
                <a:gd name="T75" fmla="*/ 2147483647 h 512"/>
                <a:gd name="T76" fmla="*/ 2147483647 w 395"/>
                <a:gd name="T77" fmla="*/ 2147483647 h 512"/>
                <a:gd name="T78" fmla="*/ 2147483647 w 395"/>
                <a:gd name="T79" fmla="*/ 2147483647 h 512"/>
                <a:gd name="T80" fmla="*/ 2147483647 w 395"/>
                <a:gd name="T81" fmla="*/ 2147483647 h 512"/>
                <a:gd name="T82" fmla="*/ 2147483647 w 395"/>
                <a:gd name="T83" fmla="*/ 2147483647 h 512"/>
                <a:gd name="T84" fmla="*/ 2147483647 w 395"/>
                <a:gd name="T85" fmla="*/ 2147483647 h 512"/>
                <a:gd name="T86" fmla="*/ 2147483647 w 395"/>
                <a:gd name="T87" fmla="*/ 2147483647 h 512"/>
                <a:gd name="T88" fmla="*/ 2147483647 w 395"/>
                <a:gd name="T89" fmla="*/ 2147483647 h 512"/>
                <a:gd name="T90" fmla="*/ 2147483647 w 395"/>
                <a:gd name="T91" fmla="*/ 2147483647 h 512"/>
                <a:gd name="T92" fmla="*/ 2147483647 w 395"/>
                <a:gd name="T93" fmla="*/ 2147483647 h 512"/>
                <a:gd name="T94" fmla="*/ 2147483647 w 395"/>
                <a:gd name="T95" fmla="*/ 2147483647 h 512"/>
                <a:gd name="T96" fmla="*/ 2147483647 w 395"/>
                <a:gd name="T97" fmla="*/ 2147483647 h 512"/>
                <a:gd name="T98" fmla="*/ 2147483647 w 395"/>
                <a:gd name="T99" fmla="*/ 2147483647 h 512"/>
                <a:gd name="T100" fmla="*/ 2147483647 w 395"/>
                <a:gd name="T101" fmla="*/ 2147483647 h 512"/>
                <a:gd name="T102" fmla="*/ 2147483647 w 395"/>
                <a:gd name="T103" fmla="*/ 2147483647 h 51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95"/>
                <a:gd name="T157" fmla="*/ 0 h 512"/>
                <a:gd name="T158" fmla="*/ 395 w 395"/>
                <a:gd name="T159" fmla="*/ 512 h 51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95" h="512">
                  <a:moveTo>
                    <a:pt x="311" y="330"/>
                  </a:moveTo>
                  <a:lnTo>
                    <a:pt x="321" y="330"/>
                  </a:lnTo>
                  <a:lnTo>
                    <a:pt x="328" y="330"/>
                  </a:lnTo>
                  <a:lnTo>
                    <a:pt x="326" y="303"/>
                  </a:lnTo>
                  <a:lnTo>
                    <a:pt x="326" y="276"/>
                  </a:lnTo>
                  <a:lnTo>
                    <a:pt x="324" y="249"/>
                  </a:lnTo>
                  <a:lnTo>
                    <a:pt x="322" y="223"/>
                  </a:lnTo>
                  <a:lnTo>
                    <a:pt x="347" y="186"/>
                  </a:lnTo>
                  <a:lnTo>
                    <a:pt x="370" y="157"/>
                  </a:lnTo>
                  <a:lnTo>
                    <a:pt x="378" y="144"/>
                  </a:lnTo>
                  <a:lnTo>
                    <a:pt x="386" y="127"/>
                  </a:lnTo>
                  <a:lnTo>
                    <a:pt x="392" y="106"/>
                  </a:lnTo>
                  <a:lnTo>
                    <a:pt x="395" y="79"/>
                  </a:lnTo>
                  <a:lnTo>
                    <a:pt x="395" y="77"/>
                  </a:lnTo>
                  <a:lnTo>
                    <a:pt x="395" y="73"/>
                  </a:lnTo>
                  <a:lnTo>
                    <a:pt x="393" y="71"/>
                  </a:lnTo>
                  <a:lnTo>
                    <a:pt x="392" y="69"/>
                  </a:lnTo>
                  <a:lnTo>
                    <a:pt x="388" y="52"/>
                  </a:lnTo>
                  <a:lnTo>
                    <a:pt x="386" y="35"/>
                  </a:lnTo>
                  <a:lnTo>
                    <a:pt x="384" y="33"/>
                  </a:lnTo>
                  <a:lnTo>
                    <a:pt x="382" y="31"/>
                  </a:lnTo>
                  <a:lnTo>
                    <a:pt x="374" y="27"/>
                  </a:lnTo>
                  <a:lnTo>
                    <a:pt x="367" y="25"/>
                  </a:lnTo>
                  <a:lnTo>
                    <a:pt x="365" y="23"/>
                  </a:lnTo>
                  <a:lnTo>
                    <a:pt x="363" y="21"/>
                  </a:lnTo>
                  <a:lnTo>
                    <a:pt x="359" y="17"/>
                  </a:lnTo>
                  <a:lnTo>
                    <a:pt x="357" y="15"/>
                  </a:lnTo>
                  <a:lnTo>
                    <a:pt x="355" y="13"/>
                  </a:lnTo>
                  <a:lnTo>
                    <a:pt x="353" y="12"/>
                  </a:lnTo>
                  <a:lnTo>
                    <a:pt x="349" y="6"/>
                  </a:lnTo>
                  <a:lnTo>
                    <a:pt x="347" y="0"/>
                  </a:lnTo>
                  <a:lnTo>
                    <a:pt x="342" y="0"/>
                  </a:lnTo>
                  <a:lnTo>
                    <a:pt x="338" y="0"/>
                  </a:lnTo>
                  <a:lnTo>
                    <a:pt x="332" y="0"/>
                  </a:lnTo>
                  <a:lnTo>
                    <a:pt x="328" y="0"/>
                  </a:lnTo>
                  <a:lnTo>
                    <a:pt x="322" y="6"/>
                  </a:lnTo>
                  <a:lnTo>
                    <a:pt x="319" y="12"/>
                  </a:lnTo>
                  <a:lnTo>
                    <a:pt x="319" y="21"/>
                  </a:lnTo>
                  <a:lnTo>
                    <a:pt x="319" y="31"/>
                  </a:lnTo>
                  <a:lnTo>
                    <a:pt x="313" y="31"/>
                  </a:lnTo>
                  <a:lnTo>
                    <a:pt x="309" y="31"/>
                  </a:lnTo>
                  <a:lnTo>
                    <a:pt x="303" y="31"/>
                  </a:lnTo>
                  <a:lnTo>
                    <a:pt x="299" y="31"/>
                  </a:lnTo>
                  <a:lnTo>
                    <a:pt x="299" y="35"/>
                  </a:lnTo>
                  <a:lnTo>
                    <a:pt x="299" y="40"/>
                  </a:lnTo>
                  <a:lnTo>
                    <a:pt x="294" y="40"/>
                  </a:lnTo>
                  <a:lnTo>
                    <a:pt x="290" y="40"/>
                  </a:lnTo>
                  <a:lnTo>
                    <a:pt x="284" y="40"/>
                  </a:lnTo>
                  <a:lnTo>
                    <a:pt x="280" y="40"/>
                  </a:lnTo>
                  <a:lnTo>
                    <a:pt x="275" y="44"/>
                  </a:lnTo>
                  <a:lnTo>
                    <a:pt x="271" y="50"/>
                  </a:lnTo>
                  <a:lnTo>
                    <a:pt x="265" y="54"/>
                  </a:lnTo>
                  <a:lnTo>
                    <a:pt x="261" y="59"/>
                  </a:lnTo>
                  <a:lnTo>
                    <a:pt x="255" y="69"/>
                  </a:lnTo>
                  <a:lnTo>
                    <a:pt x="252" y="79"/>
                  </a:lnTo>
                  <a:lnTo>
                    <a:pt x="246" y="79"/>
                  </a:lnTo>
                  <a:lnTo>
                    <a:pt x="242" y="79"/>
                  </a:lnTo>
                  <a:lnTo>
                    <a:pt x="242" y="83"/>
                  </a:lnTo>
                  <a:lnTo>
                    <a:pt x="242" y="88"/>
                  </a:lnTo>
                  <a:lnTo>
                    <a:pt x="236" y="92"/>
                  </a:lnTo>
                  <a:lnTo>
                    <a:pt x="232" y="98"/>
                  </a:lnTo>
                  <a:lnTo>
                    <a:pt x="227" y="107"/>
                  </a:lnTo>
                  <a:lnTo>
                    <a:pt x="223" y="117"/>
                  </a:lnTo>
                  <a:lnTo>
                    <a:pt x="217" y="123"/>
                  </a:lnTo>
                  <a:lnTo>
                    <a:pt x="211" y="127"/>
                  </a:lnTo>
                  <a:lnTo>
                    <a:pt x="211" y="132"/>
                  </a:lnTo>
                  <a:lnTo>
                    <a:pt x="211" y="136"/>
                  </a:lnTo>
                  <a:lnTo>
                    <a:pt x="204" y="152"/>
                  </a:lnTo>
                  <a:lnTo>
                    <a:pt x="194" y="165"/>
                  </a:lnTo>
                  <a:lnTo>
                    <a:pt x="188" y="171"/>
                  </a:lnTo>
                  <a:lnTo>
                    <a:pt x="182" y="175"/>
                  </a:lnTo>
                  <a:lnTo>
                    <a:pt x="179" y="180"/>
                  </a:lnTo>
                  <a:lnTo>
                    <a:pt x="173" y="184"/>
                  </a:lnTo>
                  <a:lnTo>
                    <a:pt x="169" y="184"/>
                  </a:lnTo>
                  <a:lnTo>
                    <a:pt x="163" y="184"/>
                  </a:lnTo>
                  <a:lnTo>
                    <a:pt x="163" y="190"/>
                  </a:lnTo>
                  <a:lnTo>
                    <a:pt x="163" y="194"/>
                  </a:lnTo>
                  <a:lnTo>
                    <a:pt x="163" y="213"/>
                  </a:lnTo>
                  <a:lnTo>
                    <a:pt x="163" y="232"/>
                  </a:lnTo>
                  <a:lnTo>
                    <a:pt x="163" y="238"/>
                  </a:lnTo>
                  <a:lnTo>
                    <a:pt x="163" y="244"/>
                  </a:lnTo>
                  <a:lnTo>
                    <a:pt x="159" y="248"/>
                  </a:lnTo>
                  <a:lnTo>
                    <a:pt x="154" y="253"/>
                  </a:lnTo>
                  <a:lnTo>
                    <a:pt x="150" y="257"/>
                  </a:lnTo>
                  <a:lnTo>
                    <a:pt x="144" y="263"/>
                  </a:lnTo>
                  <a:lnTo>
                    <a:pt x="140" y="263"/>
                  </a:lnTo>
                  <a:lnTo>
                    <a:pt x="134" y="263"/>
                  </a:lnTo>
                  <a:lnTo>
                    <a:pt x="131" y="267"/>
                  </a:lnTo>
                  <a:lnTo>
                    <a:pt x="125" y="272"/>
                  </a:lnTo>
                  <a:lnTo>
                    <a:pt x="111" y="272"/>
                  </a:lnTo>
                  <a:lnTo>
                    <a:pt x="96" y="272"/>
                  </a:lnTo>
                  <a:lnTo>
                    <a:pt x="90" y="276"/>
                  </a:lnTo>
                  <a:lnTo>
                    <a:pt x="87" y="282"/>
                  </a:lnTo>
                  <a:lnTo>
                    <a:pt x="77" y="282"/>
                  </a:lnTo>
                  <a:lnTo>
                    <a:pt x="67" y="282"/>
                  </a:lnTo>
                  <a:lnTo>
                    <a:pt x="62" y="282"/>
                  </a:lnTo>
                  <a:lnTo>
                    <a:pt x="58" y="282"/>
                  </a:lnTo>
                  <a:lnTo>
                    <a:pt x="48" y="282"/>
                  </a:lnTo>
                  <a:lnTo>
                    <a:pt x="39" y="282"/>
                  </a:lnTo>
                  <a:lnTo>
                    <a:pt x="33" y="282"/>
                  </a:lnTo>
                  <a:lnTo>
                    <a:pt x="29" y="282"/>
                  </a:lnTo>
                  <a:lnTo>
                    <a:pt x="14" y="282"/>
                  </a:lnTo>
                  <a:lnTo>
                    <a:pt x="0" y="282"/>
                  </a:lnTo>
                  <a:lnTo>
                    <a:pt x="0" y="286"/>
                  </a:lnTo>
                  <a:lnTo>
                    <a:pt x="0" y="292"/>
                  </a:lnTo>
                  <a:lnTo>
                    <a:pt x="4" y="295"/>
                  </a:lnTo>
                  <a:lnTo>
                    <a:pt x="10" y="301"/>
                  </a:lnTo>
                  <a:lnTo>
                    <a:pt x="10" y="305"/>
                  </a:lnTo>
                  <a:lnTo>
                    <a:pt x="10" y="311"/>
                  </a:lnTo>
                  <a:lnTo>
                    <a:pt x="14" y="311"/>
                  </a:lnTo>
                  <a:lnTo>
                    <a:pt x="19" y="311"/>
                  </a:lnTo>
                  <a:lnTo>
                    <a:pt x="29" y="305"/>
                  </a:lnTo>
                  <a:lnTo>
                    <a:pt x="39" y="301"/>
                  </a:lnTo>
                  <a:lnTo>
                    <a:pt x="52" y="305"/>
                  </a:lnTo>
                  <a:lnTo>
                    <a:pt x="67" y="311"/>
                  </a:lnTo>
                  <a:lnTo>
                    <a:pt x="71" y="311"/>
                  </a:lnTo>
                  <a:lnTo>
                    <a:pt x="77" y="311"/>
                  </a:lnTo>
                  <a:lnTo>
                    <a:pt x="81" y="315"/>
                  </a:lnTo>
                  <a:lnTo>
                    <a:pt x="87" y="320"/>
                  </a:lnTo>
                  <a:lnTo>
                    <a:pt x="81" y="330"/>
                  </a:lnTo>
                  <a:lnTo>
                    <a:pt x="77" y="340"/>
                  </a:lnTo>
                  <a:lnTo>
                    <a:pt x="71" y="340"/>
                  </a:lnTo>
                  <a:lnTo>
                    <a:pt x="67" y="340"/>
                  </a:lnTo>
                  <a:lnTo>
                    <a:pt x="65" y="355"/>
                  </a:lnTo>
                  <a:lnTo>
                    <a:pt x="67" y="366"/>
                  </a:lnTo>
                  <a:lnTo>
                    <a:pt x="67" y="370"/>
                  </a:lnTo>
                  <a:lnTo>
                    <a:pt x="65" y="374"/>
                  </a:lnTo>
                  <a:lnTo>
                    <a:pt x="63" y="380"/>
                  </a:lnTo>
                  <a:lnTo>
                    <a:pt x="65" y="384"/>
                  </a:lnTo>
                  <a:lnTo>
                    <a:pt x="69" y="388"/>
                  </a:lnTo>
                  <a:lnTo>
                    <a:pt x="67" y="391"/>
                  </a:lnTo>
                  <a:lnTo>
                    <a:pt x="65" y="395"/>
                  </a:lnTo>
                  <a:lnTo>
                    <a:pt x="62" y="397"/>
                  </a:lnTo>
                  <a:lnTo>
                    <a:pt x="58" y="401"/>
                  </a:lnTo>
                  <a:lnTo>
                    <a:pt x="56" y="405"/>
                  </a:lnTo>
                  <a:lnTo>
                    <a:pt x="58" y="411"/>
                  </a:lnTo>
                  <a:lnTo>
                    <a:pt x="65" y="416"/>
                  </a:lnTo>
                  <a:lnTo>
                    <a:pt x="58" y="420"/>
                  </a:lnTo>
                  <a:lnTo>
                    <a:pt x="52" y="426"/>
                  </a:lnTo>
                  <a:lnTo>
                    <a:pt x="60" y="432"/>
                  </a:lnTo>
                  <a:lnTo>
                    <a:pt x="73" y="437"/>
                  </a:lnTo>
                  <a:lnTo>
                    <a:pt x="77" y="439"/>
                  </a:lnTo>
                  <a:lnTo>
                    <a:pt x="81" y="443"/>
                  </a:lnTo>
                  <a:lnTo>
                    <a:pt x="88" y="443"/>
                  </a:lnTo>
                  <a:lnTo>
                    <a:pt x="96" y="445"/>
                  </a:lnTo>
                  <a:lnTo>
                    <a:pt x="100" y="443"/>
                  </a:lnTo>
                  <a:lnTo>
                    <a:pt x="106" y="443"/>
                  </a:lnTo>
                  <a:lnTo>
                    <a:pt x="108" y="439"/>
                  </a:lnTo>
                  <a:lnTo>
                    <a:pt x="110" y="436"/>
                  </a:lnTo>
                  <a:lnTo>
                    <a:pt x="115" y="436"/>
                  </a:lnTo>
                  <a:lnTo>
                    <a:pt x="119" y="436"/>
                  </a:lnTo>
                  <a:lnTo>
                    <a:pt x="127" y="443"/>
                  </a:lnTo>
                  <a:lnTo>
                    <a:pt x="134" y="451"/>
                  </a:lnTo>
                  <a:lnTo>
                    <a:pt x="144" y="459"/>
                  </a:lnTo>
                  <a:lnTo>
                    <a:pt x="152" y="466"/>
                  </a:lnTo>
                  <a:lnTo>
                    <a:pt x="156" y="470"/>
                  </a:lnTo>
                  <a:lnTo>
                    <a:pt x="156" y="474"/>
                  </a:lnTo>
                  <a:lnTo>
                    <a:pt x="152" y="482"/>
                  </a:lnTo>
                  <a:lnTo>
                    <a:pt x="148" y="487"/>
                  </a:lnTo>
                  <a:lnTo>
                    <a:pt x="148" y="491"/>
                  </a:lnTo>
                  <a:lnTo>
                    <a:pt x="148" y="493"/>
                  </a:lnTo>
                  <a:lnTo>
                    <a:pt x="146" y="499"/>
                  </a:lnTo>
                  <a:lnTo>
                    <a:pt x="146" y="503"/>
                  </a:lnTo>
                  <a:lnTo>
                    <a:pt x="150" y="508"/>
                  </a:lnTo>
                  <a:lnTo>
                    <a:pt x="157" y="510"/>
                  </a:lnTo>
                  <a:lnTo>
                    <a:pt x="167" y="512"/>
                  </a:lnTo>
                  <a:lnTo>
                    <a:pt x="179" y="510"/>
                  </a:lnTo>
                  <a:lnTo>
                    <a:pt x="181" y="507"/>
                  </a:lnTo>
                  <a:lnTo>
                    <a:pt x="182" y="503"/>
                  </a:lnTo>
                  <a:lnTo>
                    <a:pt x="188" y="499"/>
                  </a:lnTo>
                  <a:lnTo>
                    <a:pt x="194" y="493"/>
                  </a:lnTo>
                  <a:lnTo>
                    <a:pt x="211" y="493"/>
                  </a:lnTo>
                  <a:lnTo>
                    <a:pt x="221" y="495"/>
                  </a:lnTo>
                  <a:lnTo>
                    <a:pt x="227" y="499"/>
                  </a:lnTo>
                  <a:lnTo>
                    <a:pt x="236" y="505"/>
                  </a:lnTo>
                  <a:lnTo>
                    <a:pt x="246" y="505"/>
                  </a:lnTo>
                  <a:lnTo>
                    <a:pt x="255" y="505"/>
                  </a:lnTo>
                  <a:lnTo>
                    <a:pt x="257" y="501"/>
                  </a:lnTo>
                  <a:lnTo>
                    <a:pt x="261" y="499"/>
                  </a:lnTo>
                  <a:lnTo>
                    <a:pt x="263" y="491"/>
                  </a:lnTo>
                  <a:lnTo>
                    <a:pt x="265" y="485"/>
                  </a:lnTo>
                  <a:lnTo>
                    <a:pt x="267" y="482"/>
                  </a:lnTo>
                  <a:lnTo>
                    <a:pt x="271" y="480"/>
                  </a:lnTo>
                  <a:lnTo>
                    <a:pt x="273" y="478"/>
                  </a:lnTo>
                  <a:lnTo>
                    <a:pt x="275" y="476"/>
                  </a:lnTo>
                  <a:lnTo>
                    <a:pt x="278" y="472"/>
                  </a:lnTo>
                  <a:lnTo>
                    <a:pt x="280" y="470"/>
                  </a:lnTo>
                  <a:lnTo>
                    <a:pt x="282" y="462"/>
                  </a:lnTo>
                  <a:lnTo>
                    <a:pt x="284" y="455"/>
                  </a:lnTo>
                  <a:lnTo>
                    <a:pt x="286" y="453"/>
                  </a:lnTo>
                  <a:lnTo>
                    <a:pt x="290" y="451"/>
                  </a:lnTo>
                  <a:lnTo>
                    <a:pt x="292" y="449"/>
                  </a:lnTo>
                  <a:lnTo>
                    <a:pt x="294" y="447"/>
                  </a:lnTo>
                  <a:lnTo>
                    <a:pt x="296" y="443"/>
                  </a:lnTo>
                  <a:lnTo>
                    <a:pt x="299" y="441"/>
                  </a:lnTo>
                  <a:lnTo>
                    <a:pt x="296" y="439"/>
                  </a:lnTo>
                  <a:lnTo>
                    <a:pt x="294" y="436"/>
                  </a:lnTo>
                  <a:lnTo>
                    <a:pt x="292" y="434"/>
                  </a:lnTo>
                  <a:lnTo>
                    <a:pt x="290" y="432"/>
                  </a:lnTo>
                  <a:lnTo>
                    <a:pt x="286" y="428"/>
                  </a:lnTo>
                  <a:lnTo>
                    <a:pt x="284" y="426"/>
                  </a:lnTo>
                  <a:lnTo>
                    <a:pt x="282" y="416"/>
                  </a:lnTo>
                  <a:lnTo>
                    <a:pt x="280" y="407"/>
                  </a:lnTo>
                  <a:lnTo>
                    <a:pt x="280" y="403"/>
                  </a:lnTo>
                  <a:lnTo>
                    <a:pt x="280" y="397"/>
                  </a:lnTo>
                  <a:lnTo>
                    <a:pt x="284" y="386"/>
                  </a:lnTo>
                  <a:lnTo>
                    <a:pt x="296" y="365"/>
                  </a:lnTo>
                  <a:lnTo>
                    <a:pt x="307" y="342"/>
                  </a:lnTo>
                  <a:lnTo>
                    <a:pt x="311" y="330"/>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grpSp>
          <p:nvGrpSpPr>
            <p:cNvPr id="82" name="Group 173"/>
            <p:cNvGrpSpPr>
              <a:grpSpLocks/>
            </p:cNvGrpSpPr>
            <p:nvPr/>
          </p:nvGrpSpPr>
          <p:grpSpPr bwMode="gray">
            <a:xfrm>
              <a:off x="1381125" y="2943041"/>
              <a:ext cx="506413" cy="463550"/>
              <a:chOff x="1381125" y="3325813"/>
              <a:chExt cx="506413" cy="463550"/>
            </a:xfrm>
            <a:grpFill/>
          </p:grpSpPr>
          <p:sp>
            <p:nvSpPr>
              <p:cNvPr id="83" name="Freeform 82"/>
              <p:cNvSpPr>
                <a:spLocks/>
              </p:cNvSpPr>
              <p:nvPr/>
            </p:nvSpPr>
            <p:spPr bwMode="gray">
              <a:xfrm>
                <a:off x="1381125" y="3414713"/>
                <a:ext cx="506413" cy="374650"/>
              </a:xfrm>
              <a:custGeom>
                <a:avLst/>
                <a:gdLst/>
                <a:ahLst/>
                <a:cxnLst>
                  <a:cxn ang="0">
                    <a:pos x="193" y="238"/>
                  </a:cxn>
                  <a:cxn ang="0">
                    <a:pos x="186" y="230"/>
                  </a:cxn>
                  <a:cxn ang="0">
                    <a:pos x="178" y="223"/>
                  </a:cxn>
                  <a:cxn ang="0">
                    <a:pos x="170" y="200"/>
                  </a:cxn>
                  <a:cxn ang="0">
                    <a:pos x="165" y="178"/>
                  </a:cxn>
                  <a:cxn ang="0">
                    <a:pos x="138" y="171"/>
                  </a:cxn>
                  <a:cxn ang="0">
                    <a:pos x="130" y="155"/>
                  </a:cxn>
                  <a:cxn ang="0">
                    <a:pos x="103" y="148"/>
                  </a:cxn>
                  <a:cxn ang="0">
                    <a:pos x="76" y="140"/>
                  </a:cxn>
                  <a:cxn ang="0">
                    <a:pos x="40" y="132"/>
                  </a:cxn>
                  <a:cxn ang="0">
                    <a:pos x="28" y="127"/>
                  </a:cxn>
                  <a:cxn ang="0">
                    <a:pos x="17" y="132"/>
                  </a:cxn>
                  <a:cxn ang="0">
                    <a:pos x="11" y="134"/>
                  </a:cxn>
                  <a:cxn ang="0">
                    <a:pos x="7" y="102"/>
                  </a:cxn>
                  <a:cxn ang="0">
                    <a:pos x="0" y="54"/>
                  </a:cxn>
                  <a:cxn ang="0">
                    <a:pos x="0" y="42"/>
                  </a:cxn>
                  <a:cxn ang="0">
                    <a:pos x="0" y="29"/>
                  </a:cxn>
                  <a:cxn ang="0">
                    <a:pos x="13" y="25"/>
                  </a:cxn>
                  <a:cxn ang="0">
                    <a:pos x="28" y="10"/>
                  </a:cxn>
                  <a:cxn ang="0">
                    <a:pos x="32" y="0"/>
                  </a:cxn>
                  <a:cxn ang="0">
                    <a:pos x="57" y="10"/>
                  </a:cxn>
                  <a:cxn ang="0">
                    <a:pos x="76" y="25"/>
                  </a:cxn>
                  <a:cxn ang="0">
                    <a:pos x="76" y="48"/>
                  </a:cxn>
                  <a:cxn ang="0">
                    <a:pos x="109" y="71"/>
                  </a:cxn>
                  <a:cxn ang="0">
                    <a:pos x="143" y="58"/>
                  </a:cxn>
                  <a:cxn ang="0">
                    <a:pos x="140" y="83"/>
                  </a:cxn>
                  <a:cxn ang="0">
                    <a:pos x="143" y="96"/>
                  </a:cxn>
                  <a:cxn ang="0">
                    <a:pos x="163" y="111"/>
                  </a:cxn>
                  <a:cxn ang="0">
                    <a:pos x="178" y="125"/>
                  </a:cxn>
                  <a:cxn ang="0">
                    <a:pos x="203" y="115"/>
                  </a:cxn>
                  <a:cxn ang="0">
                    <a:pos x="222" y="96"/>
                  </a:cxn>
                  <a:cxn ang="0">
                    <a:pos x="228" y="98"/>
                  </a:cxn>
                  <a:cxn ang="0">
                    <a:pos x="247" y="106"/>
                  </a:cxn>
                  <a:cxn ang="0">
                    <a:pos x="255" y="113"/>
                  </a:cxn>
                  <a:cxn ang="0">
                    <a:pos x="280" y="111"/>
                  </a:cxn>
                  <a:cxn ang="0">
                    <a:pos x="289" y="106"/>
                  </a:cxn>
                  <a:cxn ang="0">
                    <a:pos x="299" y="111"/>
                  </a:cxn>
                  <a:cxn ang="0">
                    <a:pos x="307" y="119"/>
                  </a:cxn>
                  <a:cxn ang="0">
                    <a:pos x="314" y="125"/>
                  </a:cxn>
                  <a:cxn ang="0">
                    <a:pos x="324" y="132"/>
                  </a:cxn>
                  <a:cxn ang="0">
                    <a:pos x="328" y="155"/>
                  </a:cxn>
                  <a:cxn ang="0">
                    <a:pos x="314" y="169"/>
                  </a:cxn>
                  <a:cxn ang="0">
                    <a:pos x="289" y="178"/>
                  </a:cxn>
                  <a:cxn ang="0">
                    <a:pos x="282" y="186"/>
                  </a:cxn>
                  <a:cxn ang="0">
                    <a:pos x="276" y="194"/>
                  </a:cxn>
                  <a:cxn ang="0">
                    <a:pos x="268" y="201"/>
                  </a:cxn>
                  <a:cxn ang="0">
                    <a:pos x="261" y="207"/>
                  </a:cxn>
                  <a:cxn ang="0">
                    <a:pos x="253" y="226"/>
                  </a:cxn>
                  <a:cxn ang="0">
                    <a:pos x="232" y="246"/>
                  </a:cxn>
                  <a:cxn ang="0">
                    <a:pos x="213" y="246"/>
                  </a:cxn>
                </a:cxnLst>
                <a:rect l="0" t="0" r="r" b="b"/>
                <a:pathLst>
                  <a:path w="328" h="251">
                    <a:moveTo>
                      <a:pt x="197" y="242"/>
                    </a:moveTo>
                    <a:lnTo>
                      <a:pt x="195" y="240"/>
                    </a:lnTo>
                    <a:lnTo>
                      <a:pt x="193" y="238"/>
                    </a:lnTo>
                    <a:lnTo>
                      <a:pt x="190" y="234"/>
                    </a:lnTo>
                    <a:lnTo>
                      <a:pt x="188" y="232"/>
                    </a:lnTo>
                    <a:lnTo>
                      <a:pt x="186" y="230"/>
                    </a:lnTo>
                    <a:lnTo>
                      <a:pt x="184" y="226"/>
                    </a:lnTo>
                    <a:lnTo>
                      <a:pt x="180" y="225"/>
                    </a:lnTo>
                    <a:lnTo>
                      <a:pt x="178" y="223"/>
                    </a:lnTo>
                    <a:lnTo>
                      <a:pt x="176" y="219"/>
                    </a:lnTo>
                    <a:lnTo>
                      <a:pt x="174" y="217"/>
                    </a:lnTo>
                    <a:lnTo>
                      <a:pt x="170" y="200"/>
                    </a:lnTo>
                    <a:lnTo>
                      <a:pt x="168" y="184"/>
                    </a:lnTo>
                    <a:lnTo>
                      <a:pt x="166" y="180"/>
                    </a:lnTo>
                    <a:lnTo>
                      <a:pt x="165" y="178"/>
                    </a:lnTo>
                    <a:lnTo>
                      <a:pt x="151" y="177"/>
                    </a:lnTo>
                    <a:lnTo>
                      <a:pt x="140" y="175"/>
                    </a:lnTo>
                    <a:lnTo>
                      <a:pt x="138" y="171"/>
                    </a:lnTo>
                    <a:lnTo>
                      <a:pt x="136" y="169"/>
                    </a:lnTo>
                    <a:lnTo>
                      <a:pt x="132" y="161"/>
                    </a:lnTo>
                    <a:lnTo>
                      <a:pt x="130" y="155"/>
                    </a:lnTo>
                    <a:lnTo>
                      <a:pt x="128" y="152"/>
                    </a:lnTo>
                    <a:lnTo>
                      <a:pt x="124" y="150"/>
                    </a:lnTo>
                    <a:lnTo>
                      <a:pt x="103" y="148"/>
                    </a:lnTo>
                    <a:lnTo>
                      <a:pt x="82" y="146"/>
                    </a:lnTo>
                    <a:lnTo>
                      <a:pt x="78" y="142"/>
                    </a:lnTo>
                    <a:lnTo>
                      <a:pt x="76" y="140"/>
                    </a:lnTo>
                    <a:lnTo>
                      <a:pt x="59" y="138"/>
                    </a:lnTo>
                    <a:lnTo>
                      <a:pt x="44" y="134"/>
                    </a:lnTo>
                    <a:lnTo>
                      <a:pt x="40" y="132"/>
                    </a:lnTo>
                    <a:lnTo>
                      <a:pt x="38" y="130"/>
                    </a:lnTo>
                    <a:lnTo>
                      <a:pt x="36" y="129"/>
                    </a:lnTo>
                    <a:lnTo>
                      <a:pt x="28" y="127"/>
                    </a:lnTo>
                    <a:lnTo>
                      <a:pt x="23" y="129"/>
                    </a:lnTo>
                    <a:lnTo>
                      <a:pt x="19" y="130"/>
                    </a:lnTo>
                    <a:lnTo>
                      <a:pt x="17" y="132"/>
                    </a:lnTo>
                    <a:lnTo>
                      <a:pt x="15" y="134"/>
                    </a:lnTo>
                    <a:lnTo>
                      <a:pt x="13" y="134"/>
                    </a:lnTo>
                    <a:lnTo>
                      <a:pt x="11" y="134"/>
                    </a:lnTo>
                    <a:lnTo>
                      <a:pt x="9" y="130"/>
                    </a:lnTo>
                    <a:lnTo>
                      <a:pt x="9" y="125"/>
                    </a:lnTo>
                    <a:lnTo>
                      <a:pt x="7" y="102"/>
                    </a:lnTo>
                    <a:lnTo>
                      <a:pt x="3" y="58"/>
                    </a:lnTo>
                    <a:lnTo>
                      <a:pt x="1" y="56"/>
                    </a:lnTo>
                    <a:lnTo>
                      <a:pt x="0" y="54"/>
                    </a:lnTo>
                    <a:lnTo>
                      <a:pt x="0" y="50"/>
                    </a:lnTo>
                    <a:lnTo>
                      <a:pt x="0" y="48"/>
                    </a:lnTo>
                    <a:lnTo>
                      <a:pt x="0" y="42"/>
                    </a:lnTo>
                    <a:lnTo>
                      <a:pt x="0" y="38"/>
                    </a:lnTo>
                    <a:lnTo>
                      <a:pt x="0" y="35"/>
                    </a:lnTo>
                    <a:lnTo>
                      <a:pt x="0" y="29"/>
                    </a:lnTo>
                    <a:lnTo>
                      <a:pt x="3" y="29"/>
                    </a:lnTo>
                    <a:lnTo>
                      <a:pt x="9" y="29"/>
                    </a:lnTo>
                    <a:lnTo>
                      <a:pt x="13" y="25"/>
                    </a:lnTo>
                    <a:lnTo>
                      <a:pt x="19" y="19"/>
                    </a:lnTo>
                    <a:lnTo>
                      <a:pt x="23" y="13"/>
                    </a:lnTo>
                    <a:lnTo>
                      <a:pt x="28" y="10"/>
                    </a:lnTo>
                    <a:lnTo>
                      <a:pt x="28" y="4"/>
                    </a:lnTo>
                    <a:lnTo>
                      <a:pt x="28" y="0"/>
                    </a:lnTo>
                    <a:lnTo>
                      <a:pt x="32" y="0"/>
                    </a:lnTo>
                    <a:lnTo>
                      <a:pt x="38" y="0"/>
                    </a:lnTo>
                    <a:lnTo>
                      <a:pt x="48" y="4"/>
                    </a:lnTo>
                    <a:lnTo>
                      <a:pt x="57" y="10"/>
                    </a:lnTo>
                    <a:lnTo>
                      <a:pt x="67" y="13"/>
                    </a:lnTo>
                    <a:lnTo>
                      <a:pt x="76" y="19"/>
                    </a:lnTo>
                    <a:lnTo>
                      <a:pt x="76" y="25"/>
                    </a:lnTo>
                    <a:lnTo>
                      <a:pt x="76" y="29"/>
                    </a:lnTo>
                    <a:lnTo>
                      <a:pt x="76" y="38"/>
                    </a:lnTo>
                    <a:lnTo>
                      <a:pt x="76" y="48"/>
                    </a:lnTo>
                    <a:lnTo>
                      <a:pt x="84" y="60"/>
                    </a:lnTo>
                    <a:lnTo>
                      <a:pt x="94" y="71"/>
                    </a:lnTo>
                    <a:lnTo>
                      <a:pt x="109" y="71"/>
                    </a:lnTo>
                    <a:lnTo>
                      <a:pt x="120" y="71"/>
                    </a:lnTo>
                    <a:lnTo>
                      <a:pt x="132" y="67"/>
                    </a:lnTo>
                    <a:lnTo>
                      <a:pt x="143" y="58"/>
                    </a:lnTo>
                    <a:lnTo>
                      <a:pt x="143" y="67"/>
                    </a:lnTo>
                    <a:lnTo>
                      <a:pt x="143" y="77"/>
                    </a:lnTo>
                    <a:lnTo>
                      <a:pt x="140" y="83"/>
                    </a:lnTo>
                    <a:lnTo>
                      <a:pt x="136" y="86"/>
                    </a:lnTo>
                    <a:lnTo>
                      <a:pt x="140" y="92"/>
                    </a:lnTo>
                    <a:lnTo>
                      <a:pt x="143" y="96"/>
                    </a:lnTo>
                    <a:lnTo>
                      <a:pt x="149" y="102"/>
                    </a:lnTo>
                    <a:lnTo>
                      <a:pt x="153" y="106"/>
                    </a:lnTo>
                    <a:lnTo>
                      <a:pt x="163" y="111"/>
                    </a:lnTo>
                    <a:lnTo>
                      <a:pt x="174" y="117"/>
                    </a:lnTo>
                    <a:lnTo>
                      <a:pt x="174" y="121"/>
                    </a:lnTo>
                    <a:lnTo>
                      <a:pt x="178" y="125"/>
                    </a:lnTo>
                    <a:lnTo>
                      <a:pt x="186" y="125"/>
                    </a:lnTo>
                    <a:lnTo>
                      <a:pt x="203" y="125"/>
                    </a:lnTo>
                    <a:lnTo>
                      <a:pt x="203" y="115"/>
                    </a:lnTo>
                    <a:lnTo>
                      <a:pt x="203" y="106"/>
                    </a:lnTo>
                    <a:lnTo>
                      <a:pt x="213" y="102"/>
                    </a:lnTo>
                    <a:lnTo>
                      <a:pt x="222" y="96"/>
                    </a:lnTo>
                    <a:lnTo>
                      <a:pt x="224" y="96"/>
                    </a:lnTo>
                    <a:lnTo>
                      <a:pt x="226" y="96"/>
                    </a:lnTo>
                    <a:lnTo>
                      <a:pt x="228" y="98"/>
                    </a:lnTo>
                    <a:lnTo>
                      <a:pt x="232" y="102"/>
                    </a:lnTo>
                    <a:lnTo>
                      <a:pt x="237" y="104"/>
                    </a:lnTo>
                    <a:lnTo>
                      <a:pt x="247" y="106"/>
                    </a:lnTo>
                    <a:lnTo>
                      <a:pt x="249" y="109"/>
                    </a:lnTo>
                    <a:lnTo>
                      <a:pt x="251" y="111"/>
                    </a:lnTo>
                    <a:lnTo>
                      <a:pt x="255" y="113"/>
                    </a:lnTo>
                    <a:lnTo>
                      <a:pt x="264" y="115"/>
                    </a:lnTo>
                    <a:lnTo>
                      <a:pt x="276" y="113"/>
                    </a:lnTo>
                    <a:lnTo>
                      <a:pt x="280" y="111"/>
                    </a:lnTo>
                    <a:lnTo>
                      <a:pt x="282" y="109"/>
                    </a:lnTo>
                    <a:lnTo>
                      <a:pt x="285" y="106"/>
                    </a:lnTo>
                    <a:lnTo>
                      <a:pt x="289" y="106"/>
                    </a:lnTo>
                    <a:lnTo>
                      <a:pt x="295" y="106"/>
                    </a:lnTo>
                    <a:lnTo>
                      <a:pt x="297" y="109"/>
                    </a:lnTo>
                    <a:lnTo>
                      <a:pt x="299" y="111"/>
                    </a:lnTo>
                    <a:lnTo>
                      <a:pt x="301" y="113"/>
                    </a:lnTo>
                    <a:lnTo>
                      <a:pt x="305" y="117"/>
                    </a:lnTo>
                    <a:lnTo>
                      <a:pt x="307" y="119"/>
                    </a:lnTo>
                    <a:lnTo>
                      <a:pt x="308" y="121"/>
                    </a:lnTo>
                    <a:lnTo>
                      <a:pt x="310" y="123"/>
                    </a:lnTo>
                    <a:lnTo>
                      <a:pt x="314" y="125"/>
                    </a:lnTo>
                    <a:lnTo>
                      <a:pt x="316" y="129"/>
                    </a:lnTo>
                    <a:lnTo>
                      <a:pt x="318" y="130"/>
                    </a:lnTo>
                    <a:lnTo>
                      <a:pt x="324" y="132"/>
                    </a:lnTo>
                    <a:lnTo>
                      <a:pt x="328" y="134"/>
                    </a:lnTo>
                    <a:lnTo>
                      <a:pt x="328" y="144"/>
                    </a:lnTo>
                    <a:lnTo>
                      <a:pt x="328" y="155"/>
                    </a:lnTo>
                    <a:lnTo>
                      <a:pt x="324" y="159"/>
                    </a:lnTo>
                    <a:lnTo>
                      <a:pt x="318" y="165"/>
                    </a:lnTo>
                    <a:lnTo>
                      <a:pt x="314" y="169"/>
                    </a:lnTo>
                    <a:lnTo>
                      <a:pt x="308" y="175"/>
                    </a:lnTo>
                    <a:lnTo>
                      <a:pt x="299" y="177"/>
                    </a:lnTo>
                    <a:lnTo>
                      <a:pt x="289" y="178"/>
                    </a:lnTo>
                    <a:lnTo>
                      <a:pt x="287" y="180"/>
                    </a:lnTo>
                    <a:lnTo>
                      <a:pt x="285" y="184"/>
                    </a:lnTo>
                    <a:lnTo>
                      <a:pt x="282" y="186"/>
                    </a:lnTo>
                    <a:lnTo>
                      <a:pt x="280" y="188"/>
                    </a:lnTo>
                    <a:lnTo>
                      <a:pt x="278" y="190"/>
                    </a:lnTo>
                    <a:lnTo>
                      <a:pt x="276" y="194"/>
                    </a:lnTo>
                    <a:lnTo>
                      <a:pt x="272" y="196"/>
                    </a:lnTo>
                    <a:lnTo>
                      <a:pt x="270" y="198"/>
                    </a:lnTo>
                    <a:lnTo>
                      <a:pt x="268" y="201"/>
                    </a:lnTo>
                    <a:lnTo>
                      <a:pt x="264" y="203"/>
                    </a:lnTo>
                    <a:lnTo>
                      <a:pt x="262" y="205"/>
                    </a:lnTo>
                    <a:lnTo>
                      <a:pt x="261" y="207"/>
                    </a:lnTo>
                    <a:lnTo>
                      <a:pt x="259" y="211"/>
                    </a:lnTo>
                    <a:lnTo>
                      <a:pt x="255" y="213"/>
                    </a:lnTo>
                    <a:lnTo>
                      <a:pt x="253" y="226"/>
                    </a:lnTo>
                    <a:lnTo>
                      <a:pt x="251" y="242"/>
                    </a:lnTo>
                    <a:lnTo>
                      <a:pt x="241" y="244"/>
                    </a:lnTo>
                    <a:lnTo>
                      <a:pt x="232" y="246"/>
                    </a:lnTo>
                    <a:lnTo>
                      <a:pt x="228" y="249"/>
                    </a:lnTo>
                    <a:lnTo>
                      <a:pt x="226" y="251"/>
                    </a:lnTo>
                    <a:lnTo>
                      <a:pt x="213" y="246"/>
                    </a:lnTo>
                    <a:lnTo>
                      <a:pt x="197" y="242"/>
                    </a:lnTo>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84" name="Freeform 83"/>
              <p:cNvSpPr>
                <a:spLocks/>
              </p:cNvSpPr>
              <p:nvPr/>
            </p:nvSpPr>
            <p:spPr bwMode="gray">
              <a:xfrm>
                <a:off x="1528763" y="3325813"/>
                <a:ext cx="123825" cy="174625"/>
              </a:xfrm>
              <a:custGeom>
                <a:avLst/>
                <a:gdLst/>
                <a:ahLst/>
                <a:cxnLst>
                  <a:cxn ang="0">
                    <a:pos x="47" y="116"/>
                  </a:cxn>
                  <a:cxn ang="0">
                    <a:pos x="44" y="98"/>
                  </a:cxn>
                  <a:cxn ang="0">
                    <a:pos x="40" y="87"/>
                  </a:cxn>
                  <a:cxn ang="0">
                    <a:pos x="36" y="81"/>
                  </a:cxn>
                  <a:cxn ang="0">
                    <a:pos x="28" y="77"/>
                  </a:cxn>
                  <a:cxn ang="0">
                    <a:pos x="24" y="71"/>
                  </a:cxn>
                  <a:cxn ang="0">
                    <a:pos x="19" y="68"/>
                  </a:cxn>
                  <a:cxn ang="0">
                    <a:pos x="15" y="68"/>
                  </a:cxn>
                  <a:cxn ang="0">
                    <a:pos x="9" y="68"/>
                  </a:cxn>
                  <a:cxn ang="0">
                    <a:pos x="5" y="68"/>
                  </a:cxn>
                  <a:cxn ang="0">
                    <a:pos x="0" y="68"/>
                  </a:cxn>
                  <a:cxn ang="0">
                    <a:pos x="0" y="62"/>
                  </a:cxn>
                  <a:cxn ang="0">
                    <a:pos x="0" y="58"/>
                  </a:cxn>
                  <a:cxn ang="0">
                    <a:pos x="0" y="52"/>
                  </a:cxn>
                  <a:cxn ang="0">
                    <a:pos x="0" y="48"/>
                  </a:cxn>
                  <a:cxn ang="0">
                    <a:pos x="0" y="43"/>
                  </a:cxn>
                  <a:cxn ang="0">
                    <a:pos x="0" y="39"/>
                  </a:cxn>
                  <a:cxn ang="0">
                    <a:pos x="5" y="29"/>
                  </a:cxn>
                  <a:cxn ang="0">
                    <a:pos x="9" y="20"/>
                  </a:cxn>
                  <a:cxn ang="0">
                    <a:pos x="9" y="14"/>
                  </a:cxn>
                  <a:cxn ang="0">
                    <a:pos x="9" y="10"/>
                  </a:cxn>
                  <a:cxn ang="0">
                    <a:pos x="9" y="4"/>
                  </a:cxn>
                  <a:cxn ang="0">
                    <a:pos x="9" y="0"/>
                  </a:cxn>
                  <a:cxn ang="0">
                    <a:pos x="19" y="0"/>
                  </a:cxn>
                  <a:cxn ang="0">
                    <a:pos x="28" y="0"/>
                  </a:cxn>
                  <a:cxn ang="0">
                    <a:pos x="47" y="4"/>
                  </a:cxn>
                  <a:cxn ang="0">
                    <a:pos x="69" y="10"/>
                  </a:cxn>
                  <a:cxn ang="0">
                    <a:pos x="72" y="14"/>
                  </a:cxn>
                  <a:cxn ang="0">
                    <a:pos x="78" y="20"/>
                  </a:cxn>
                  <a:cxn ang="0">
                    <a:pos x="78" y="23"/>
                  </a:cxn>
                  <a:cxn ang="0">
                    <a:pos x="78" y="29"/>
                  </a:cxn>
                  <a:cxn ang="0">
                    <a:pos x="78" y="33"/>
                  </a:cxn>
                  <a:cxn ang="0">
                    <a:pos x="78" y="39"/>
                  </a:cxn>
                  <a:cxn ang="0">
                    <a:pos x="78" y="48"/>
                  </a:cxn>
                  <a:cxn ang="0">
                    <a:pos x="78" y="58"/>
                  </a:cxn>
                  <a:cxn ang="0">
                    <a:pos x="72" y="73"/>
                  </a:cxn>
                  <a:cxn ang="0">
                    <a:pos x="69" y="87"/>
                  </a:cxn>
                  <a:cxn ang="0">
                    <a:pos x="63" y="93"/>
                  </a:cxn>
                  <a:cxn ang="0">
                    <a:pos x="57" y="96"/>
                  </a:cxn>
                  <a:cxn ang="0">
                    <a:pos x="57" y="106"/>
                  </a:cxn>
                  <a:cxn ang="0">
                    <a:pos x="57" y="116"/>
                  </a:cxn>
                  <a:cxn ang="0">
                    <a:pos x="53" y="116"/>
                  </a:cxn>
                  <a:cxn ang="0">
                    <a:pos x="47" y="116"/>
                  </a:cxn>
                </a:cxnLst>
                <a:rect l="0" t="0" r="r" b="b"/>
                <a:pathLst>
                  <a:path w="78" h="116">
                    <a:moveTo>
                      <a:pt x="47" y="116"/>
                    </a:moveTo>
                    <a:lnTo>
                      <a:pt x="44" y="98"/>
                    </a:lnTo>
                    <a:lnTo>
                      <a:pt x="40" y="87"/>
                    </a:lnTo>
                    <a:lnTo>
                      <a:pt x="36" y="81"/>
                    </a:lnTo>
                    <a:lnTo>
                      <a:pt x="28" y="77"/>
                    </a:lnTo>
                    <a:lnTo>
                      <a:pt x="24" y="71"/>
                    </a:lnTo>
                    <a:lnTo>
                      <a:pt x="19" y="68"/>
                    </a:lnTo>
                    <a:lnTo>
                      <a:pt x="15" y="68"/>
                    </a:lnTo>
                    <a:lnTo>
                      <a:pt x="9" y="68"/>
                    </a:lnTo>
                    <a:lnTo>
                      <a:pt x="5" y="68"/>
                    </a:lnTo>
                    <a:lnTo>
                      <a:pt x="0" y="68"/>
                    </a:lnTo>
                    <a:lnTo>
                      <a:pt x="0" y="62"/>
                    </a:lnTo>
                    <a:lnTo>
                      <a:pt x="0" y="58"/>
                    </a:lnTo>
                    <a:lnTo>
                      <a:pt x="0" y="52"/>
                    </a:lnTo>
                    <a:lnTo>
                      <a:pt x="0" y="48"/>
                    </a:lnTo>
                    <a:lnTo>
                      <a:pt x="0" y="43"/>
                    </a:lnTo>
                    <a:lnTo>
                      <a:pt x="0" y="39"/>
                    </a:lnTo>
                    <a:lnTo>
                      <a:pt x="5" y="29"/>
                    </a:lnTo>
                    <a:lnTo>
                      <a:pt x="9" y="20"/>
                    </a:lnTo>
                    <a:lnTo>
                      <a:pt x="9" y="14"/>
                    </a:lnTo>
                    <a:lnTo>
                      <a:pt x="9" y="10"/>
                    </a:lnTo>
                    <a:lnTo>
                      <a:pt x="9" y="4"/>
                    </a:lnTo>
                    <a:lnTo>
                      <a:pt x="9" y="0"/>
                    </a:lnTo>
                    <a:lnTo>
                      <a:pt x="19" y="0"/>
                    </a:lnTo>
                    <a:lnTo>
                      <a:pt x="28" y="0"/>
                    </a:lnTo>
                    <a:lnTo>
                      <a:pt x="47" y="4"/>
                    </a:lnTo>
                    <a:lnTo>
                      <a:pt x="69" y="10"/>
                    </a:lnTo>
                    <a:lnTo>
                      <a:pt x="72" y="14"/>
                    </a:lnTo>
                    <a:lnTo>
                      <a:pt x="78" y="20"/>
                    </a:lnTo>
                    <a:lnTo>
                      <a:pt x="78" y="23"/>
                    </a:lnTo>
                    <a:lnTo>
                      <a:pt x="78" y="29"/>
                    </a:lnTo>
                    <a:lnTo>
                      <a:pt x="78" y="33"/>
                    </a:lnTo>
                    <a:lnTo>
                      <a:pt x="78" y="39"/>
                    </a:lnTo>
                    <a:lnTo>
                      <a:pt x="78" y="48"/>
                    </a:lnTo>
                    <a:lnTo>
                      <a:pt x="78" y="58"/>
                    </a:lnTo>
                    <a:lnTo>
                      <a:pt x="72" y="73"/>
                    </a:lnTo>
                    <a:lnTo>
                      <a:pt x="69" y="87"/>
                    </a:lnTo>
                    <a:lnTo>
                      <a:pt x="63" y="93"/>
                    </a:lnTo>
                    <a:lnTo>
                      <a:pt x="57" y="96"/>
                    </a:lnTo>
                    <a:lnTo>
                      <a:pt x="57" y="106"/>
                    </a:lnTo>
                    <a:lnTo>
                      <a:pt x="57" y="116"/>
                    </a:lnTo>
                    <a:lnTo>
                      <a:pt x="53" y="116"/>
                    </a:lnTo>
                    <a:lnTo>
                      <a:pt x="47" y="116"/>
                    </a:lnTo>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grpSp>
        <p:sp>
          <p:nvSpPr>
            <p:cNvPr id="85" name="Freeform 350"/>
            <p:cNvSpPr>
              <a:spLocks/>
            </p:cNvSpPr>
            <p:nvPr>
              <p:custDataLst>
                <p:tags r:id="rId66"/>
              </p:custDataLst>
            </p:nvPr>
          </p:nvSpPr>
          <p:spPr bwMode="gray">
            <a:xfrm>
              <a:off x="412750" y="2976378"/>
              <a:ext cx="120650" cy="92075"/>
            </a:xfrm>
            <a:custGeom>
              <a:avLst/>
              <a:gdLst>
                <a:gd name="T0" fmla="*/ 2147483647 w 77"/>
                <a:gd name="T1" fmla="*/ 2147483647 h 63"/>
                <a:gd name="T2" fmla="*/ 2147483647 w 77"/>
                <a:gd name="T3" fmla="*/ 2147483647 h 63"/>
                <a:gd name="T4" fmla="*/ 0 w 77"/>
                <a:gd name="T5" fmla="*/ 2147483647 h 63"/>
                <a:gd name="T6" fmla="*/ 2147483647 w 77"/>
                <a:gd name="T7" fmla="*/ 2147483647 h 63"/>
                <a:gd name="T8" fmla="*/ 2147483647 w 77"/>
                <a:gd name="T9" fmla="*/ 0 h 63"/>
                <a:gd name="T10" fmla="*/ 2147483647 w 77"/>
                <a:gd name="T11" fmla="*/ 0 h 63"/>
                <a:gd name="T12" fmla="*/ 2147483647 w 77"/>
                <a:gd name="T13" fmla="*/ 0 h 63"/>
                <a:gd name="T14" fmla="*/ 2147483647 w 77"/>
                <a:gd name="T15" fmla="*/ 0 h 63"/>
                <a:gd name="T16" fmla="*/ 2147483647 w 77"/>
                <a:gd name="T17" fmla="*/ 0 h 63"/>
                <a:gd name="T18" fmla="*/ 2147483647 w 77"/>
                <a:gd name="T19" fmla="*/ 2147483647 h 63"/>
                <a:gd name="T20" fmla="*/ 2147483647 w 77"/>
                <a:gd name="T21" fmla="*/ 2147483647 h 63"/>
                <a:gd name="T22" fmla="*/ 2147483647 w 77"/>
                <a:gd name="T23" fmla="*/ 2147483647 h 63"/>
                <a:gd name="T24" fmla="*/ 2147483647 w 77"/>
                <a:gd name="T25" fmla="*/ 2147483647 h 63"/>
                <a:gd name="T26" fmla="*/ 2147483647 w 77"/>
                <a:gd name="T27" fmla="*/ 2147483647 h 63"/>
                <a:gd name="T28" fmla="*/ 2147483647 w 77"/>
                <a:gd name="T29" fmla="*/ 2147483647 h 63"/>
                <a:gd name="T30" fmla="*/ 2147483647 w 77"/>
                <a:gd name="T31" fmla="*/ 2147483647 h 63"/>
                <a:gd name="T32" fmla="*/ 2147483647 w 77"/>
                <a:gd name="T33" fmla="*/ 2147483647 h 63"/>
                <a:gd name="T34" fmla="*/ 2147483647 w 77"/>
                <a:gd name="T35" fmla="*/ 2147483647 h 63"/>
                <a:gd name="T36" fmla="*/ 2147483647 w 77"/>
                <a:gd name="T37" fmla="*/ 2147483647 h 63"/>
                <a:gd name="T38" fmla="*/ 2147483647 w 77"/>
                <a:gd name="T39" fmla="*/ 2147483647 h 63"/>
                <a:gd name="T40" fmla="*/ 2147483647 w 77"/>
                <a:gd name="T41" fmla="*/ 2147483647 h 6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7"/>
                <a:gd name="T64" fmla="*/ 0 h 63"/>
                <a:gd name="T65" fmla="*/ 77 w 77"/>
                <a:gd name="T66" fmla="*/ 63 h 6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7" h="63">
                  <a:moveTo>
                    <a:pt x="19" y="48"/>
                  </a:moveTo>
                  <a:lnTo>
                    <a:pt x="10" y="28"/>
                  </a:lnTo>
                  <a:lnTo>
                    <a:pt x="0" y="9"/>
                  </a:lnTo>
                  <a:lnTo>
                    <a:pt x="4" y="3"/>
                  </a:lnTo>
                  <a:lnTo>
                    <a:pt x="10" y="0"/>
                  </a:lnTo>
                  <a:lnTo>
                    <a:pt x="14" y="0"/>
                  </a:lnTo>
                  <a:lnTo>
                    <a:pt x="19" y="0"/>
                  </a:lnTo>
                  <a:lnTo>
                    <a:pt x="29" y="0"/>
                  </a:lnTo>
                  <a:lnTo>
                    <a:pt x="39" y="0"/>
                  </a:lnTo>
                  <a:lnTo>
                    <a:pt x="39" y="11"/>
                  </a:lnTo>
                  <a:lnTo>
                    <a:pt x="41" y="17"/>
                  </a:lnTo>
                  <a:lnTo>
                    <a:pt x="43" y="19"/>
                  </a:lnTo>
                  <a:lnTo>
                    <a:pt x="48" y="19"/>
                  </a:lnTo>
                  <a:lnTo>
                    <a:pt x="62" y="28"/>
                  </a:lnTo>
                  <a:lnTo>
                    <a:pt x="77" y="38"/>
                  </a:lnTo>
                  <a:lnTo>
                    <a:pt x="77" y="42"/>
                  </a:lnTo>
                  <a:lnTo>
                    <a:pt x="77" y="48"/>
                  </a:lnTo>
                  <a:lnTo>
                    <a:pt x="66" y="55"/>
                  </a:lnTo>
                  <a:lnTo>
                    <a:pt x="52" y="63"/>
                  </a:lnTo>
                  <a:lnTo>
                    <a:pt x="37" y="55"/>
                  </a:lnTo>
                  <a:lnTo>
                    <a:pt x="19" y="48"/>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86" name="Freeform 351"/>
            <p:cNvSpPr>
              <a:spLocks/>
            </p:cNvSpPr>
            <p:nvPr>
              <p:custDataLst>
                <p:tags r:id="rId67"/>
              </p:custDataLst>
            </p:nvPr>
          </p:nvSpPr>
          <p:spPr bwMode="gray">
            <a:xfrm>
              <a:off x="2176463" y="2277878"/>
              <a:ext cx="471487" cy="623888"/>
            </a:xfrm>
            <a:custGeom>
              <a:avLst/>
              <a:gdLst>
                <a:gd name="T0" fmla="*/ 2147483647 w 303"/>
                <a:gd name="T1" fmla="*/ 2147483647 h 417"/>
                <a:gd name="T2" fmla="*/ 2147483647 w 303"/>
                <a:gd name="T3" fmla="*/ 2147483647 h 417"/>
                <a:gd name="T4" fmla="*/ 2147483647 w 303"/>
                <a:gd name="T5" fmla="*/ 2147483647 h 417"/>
                <a:gd name="T6" fmla="*/ 2147483647 w 303"/>
                <a:gd name="T7" fmla="*/ 2147483647 h 417"/>
                <a:gd name="T8" fmla="*/ 2147483647 w 303"/>
                <a:gd name="T9" fmla="*/ 2147483647 h 417"/>
                <a:gd name="T10" fmla="*/ 2147483647 w 303"/>
                <a:gd name="T11" fmla="*/ 2147483647 h 417"/>
                <a:gd name="T12" fmla="*/ 2147483647 w 303"/>
                <a:gd name="T13" fmla="*/ 2147483647 h 417"/>
                <a:gd name="T14" fmla="*/ 2147483647 w 303"/>
                <a:gd name="T15" fmla="*/ 2147483647 h 417"/>
                <a:gd name="T16" fmla="*/ 2147483647 w 303"/>
                <a:gd name="T17" fmla="*/ 2147483647 h 417"/>
                <a:gd name="T18" fmla="*/ 2147483647 w 303"/>
                <a:gd name="T19" fmla="*/ 2147483647 h 417"/>
                <a:gd name="T20" fmla="*/ 2147483647 w 303"/>
                <a:gd name="T21" fmla="*/ 2147483647 h 417"/>
                <a:gd name="T22" fmla="*/ 2147483647 w 303"/>
                <a:gd name="T23" fmla="*/ 2147483647 h 417"/>
                <a:gd name="T24" fmla="*/ 2147483647 w 303"/>
                <a:gd name="T25" fmla="*/ 2147483647 h 417"/>
                <a:gd name="T26" fmla="*/ 2147483647 w 303"/>
                <a:gd name="T27" fmla="*/ 2147483647 h 417"/>
                <a:gd name="T28" fmla="*/ 2147483647 w 303"/>
                <a:gd name="T29" fmla="*/ 2147483647 h 417"/>
                <a:gd name="T30" fmla="*/ 2147483647 w 303"/>
                <a:gd name="T31" fmla="*/ 2147483647 h 417"/>
                <a:gd name="T32" fmla="*/ 0 w 303"/>
                <a:gd name="T33" fmla="*/ 2147483647 h 417"/>
                <a:gd name="T34" fmla="*/ 2147483647 w 303"/>
                <a:gd name="T35" fmla="*/ 2147483647 h 417"/>
                <a:gd name="T36" fmla="*/ 2147483647 w 303"/>
                <a:gd name="T37" fmla="*/ 2147483647 h 417"/>
                <a:gd name="T38" fmla="*/ 2147483647 w 303"/>
                <a:gd name="T39" fmla="*/ 2147483647 h 417"/>
                <a:gd name="T40" fmla="*/ 2147483647 w 303"/>
                <a:gd name="T41" fmla="*/ 2147483647 h 417"/>
                <a:gd name="T42" fmla="*/ 2147483647 w 303"/>
                <a:gd name="T43" fmla="*/ 2147483647 h 417"/>
                <a:gd name="T44" fmla="*/ 2147483647 w 303"/>
                <a:gd name="T45" fmla="*/ 2147483647 h 417"/>
                <a:gd name="T46" fmla="*/ 2147483647 w 303"/>
                <a:gd name="T47" fmla="*/ 2147483647 h 417"/>
                <a:gd name="T48" fmla="*/ 2147483647 w 303"/>
                <a:gd name="T49" fmla="*/ 2147483647 h 417"/>
                <a:gd name="T50" fmla="*/ 2147483647 w 303"/>
                <a:gd name="T51" fmla="*/ 2147483647 h 417"/>
                <a:gd name="T52" fmla="*/ 2147483647 w 303"/>
                <a:gd name="T53" fmla="*/ 0 h 417"/>
                <a:gd name="T54" fmla="*/ 2147483647 w 303"/>
                <a:gd name="T55" fmla="*/ 0 h 417"/>
                <a:gd name="T56" fmla="*/ 2147483647 w 303"/>
                <a:gd name="T57" fmla="*/ 2147483647 h 417"/>
                <a:gd name="T58" fmla="*/ 2147483647 w 303"/>
                <a:gd name="T59" fmla="*/ 2147483647 h 417"/>
                <a:gd name="T60" fmla="*/ 2147483647 w 303"/>
                <a:gd name="T61" fmla="*/ 2147483647 h 417"/>
                <a:gd name="T62" fmla="*/ 2147483647 w 303"/>
                <a:gd name="T63" fmla="*/ 2147483647 h 417"/>
                <a:gd name="T64" fmla="*/ 2147483647 w 303"/>
                <a:gd name="T65" fmla="*/ 2147483647 h 417"/>
                <a:gd name="T66" fmla="*/ 2147483647 w 303"/>
                <a:gd name="T67" fmla="*/ 2147483647 h 417"/>
                <a:gd name="T68" fmla="*/ 2147483647 w 303"/>
                <a:gd name="T69" fmla="*/ 2147483647 h 417"/>
                <a:gd name="T70" fmla="*/ 2147483647 w 303"/>
                <a:gd name="T71" fmla="*/ 2147483647 h 417"/>
                <a:gd name="T72" fmla="*/ 2147483647 w 303"/>
                <a:gd name="T73" fmla="*/ 2147483647 h 417"/>
                <a:gd name="T74" fmla="*/ 2147483647 w 303"/>
                <a:gd name="T75" fmla="*/ 2147483647 h 417"/>
                <a:gd name="T76" fmla="*/ 2147483647 w 303"/>
                <a:gd name="T77" fmla="*/ 2147483647 h 417"/>
                <a:gd name="T78" fmla="*/ 2147483647 w 303"/>
                <a:gd name="T79" fmla="*/ 2147483647 h 417"/>
                <a:gd name="T80" fmla="*/ 2147483647 w 303"/>
                <a:gd name="T81" fmla="*/ 2147483647 h 417"/>
                <a:gd name="T82" fmla="*/ 2147483647 w 303"/>
                <a:gd name="T83" fmla="*/ 2147483647 h 417"/>
                <a:gd name="T84" fmla="*/ 2147483647 w 303"/>
                <a:gd name="T85" fmla="*/ 2147483647 h 41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3"/>
                <a:gd name="T130" fmla="*/ 0 h 417"/>
                <a:gd name="T131" fmla="*/ 303 w 303"/>
                <a:gd name="T132" fmla="*/ 417 h 41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3" h="417">
                  <a:moveTo>
                    <a:pt x="165" y="376"/>
                  </a:moveTo>
                  <a:lnTo>
                    <a:pt x="159" y="369"/>
                  </a:lnTo>
                  <a:lnTo>
                    <a:pt x="157" y="365"/>
                  </a:lnTo>
                  <a:lnTo>
                    <a:pt x="155" y="365"/>
                  </a:lnTo>
                  <a:lnTo>
                    <a:pt x="155" y="367"/>
                  </a:lnTo>
                  <a:lnTo>
                    <a:pt x="150" y="367"/>
                  </a:lnTo>
                  <a:lnTo>
                    <a:pt x="146" y="367"/>
                  </a:lnTo>
                  <a:lnTo>
                    <a:pt x="140" y="353"/>
                  </a:lnTo>
                  <a:lnTo>
                    <a:pt x="136" y="338"/>
                  </a:lnTo>
                  <a:lnTo>
                    <a:pt x="130" y="325"/>
                  </a:lnTo>
                  <a:lnTo>
                    <a:pt x="126" y="309"/>
                  </a:lnTo>
                  <a:lnTo>
                    <a:pt x="121" y="284"/>
                  </a:lnTo>
                  <a:lnTo>
                    <a:pt x="117" y="261"/>
                  </a:lnTo>
                  <a:lnTo>
                    <a:pt x="117" y="256"/>
                  </a:lnTo>
                  <a:lnTo>
                    <a:pt x="117" y="252"/>
                  </a:lnTo>
                  <a:lnTo>
                    <a:pt x="117" y="236"/>
                  </a:lnTo>
                  <a:lnTo>
                    <a:pt x="117" y="223"/>
                  </a:lnTo>
                  <a:lnTo>
                    <a:pt x="119" y="221"/>
                  </a:lnTo>
                  <a:lnTo>
                    <a:pt x="119" y="219"/>
                  </a:lnTo>
                  <a:lnTo>
                    <a:pt x="115" y="217"/>
                  </a:lnTo>
                  <a:lnTo>
                    <a:pt x="105" y="213"/>
                  </a:lnTo>
                  <a:lnTo>
                    <a:pt x="109" y="206"/>
                  </a:lnTo>
                  <a:lnTo>
                    <a:pt x="113" y="200"/>
                  </a:lnTo>
                  <a:lnTo>
                    <a:pt x="98" y="200"/>
                  </a:lnTo>
                  <a:lnTo>
                    <a:pt x="90" y="200"/>
                  </a:lnTo>
                  <a:lnTo>
                    <a:pt x="88" y="200"/>
                  </a:lnTo>
                  <a:lnTo>
                    <a:pt x="88" y="204"/>
                  </a:lnTo>
                  <a:lnTo>
                    <a:pt x="77" y="204"/>
                  </a:lnTo>
                  <a:lnTo>
                    <a:pt x="67" y="204"/>
                  </a:lnTo>
                  <a:lnTo>
                    <a:pt x="67" y="215"/>
                  </a:lnTo>
                  <a:lnTo>
                    <a:pt x="67" y="219"/>
                  </a:lnTo>
                  <a:lnTo>
                    <a:pt x="63" y="223"/>
                  </a:lnTo>
                  <a:lnTo>
                    <a:pt x="57" y="223"/>
                  </a:lnTo>
                  <a:lnTo>
                    <a:pt x="55" y="213"/>
                  </a:lnTo>
                  <a:lnTo>
                    <a:pt x="54" y="204"/>
                  </a:lnTo>
                  <a:lnTo>
                    <a:pt x="50" y="200"/>
                  </a:lnTo>
                  <a:lnTo>
                    <a:pt x="48" y="198"/>
                  </a:lnTo>
                  <a:lnTo>
                    <a:pt x="40" y="196"/>
                  </a:lnTo>
                  <a:lnTo>
                    <a:pt x="34" y="194"/>
                  </a:lnTo>
                  <a:lnTo>
                    <a:pt x="31" y="190"/>
                  </a:lnTo>
                  <a:lnTo>
                    <a:pt x="29" y="188"/>
                  </a:lnTo>
                  <a:lnTo>
                    <a:pt x="27" y="186"/>
                  </a:lnTo>
                  <a:lnTo>
                    <a:pt x="25" y="185"/>
                  </a:lnTo>
                  <a:lnTo>
                    <a:pt x="21" y="181"/>
                  </a:lnTo>
                  <a:lnTo>
                    <a:pt x="19" y="179"/>
                  </a:lnTo>
                  <a:lnTo>
                    <a:pt x="13" y="177"/>
                  </a:lnTo>
                  <a:lnTo>
                    <a:pt x="9" y="173"/>
                  </a:lnTo>
                  <a:lnTo>
                    <a:pt x="4" y="169"/>
                  </a:lnTo>
                  <a:lnTo>
                    <a:pt x="0" y="163"/>
                  </a:lnTo>
                  <a:lnTo>
                    <a:pt x="0" y="160"/>
                  </a:lnTo>
                  <a:lnTo>
                    <a:pt x="0" y="156"/>
                  </a:lnTo>
                  <a:lnTo>
                    <a:pt x="4" y="150"/>
                  </a:lnTo>
                  <a:lnTo>
                    <a:pt x="9" y="144"/>
                  </a:lnTo>
                  <a:lnTo>
                    <a:pt x="9" y="135"/>
                  </a:lnTo>
                  <a:lnTo>
                    <a:pt x="9" y="125"/>
                  </a:lnTo>
                  <a:lnTo>
                    <a:pt x="23" y="123"/>
                  </a:lnTo>
                  <a:lnTo>
                    <a:pt x="38" y="121"/>
                  </a:lnTo>
                  <a:lnTo>
                    <a:pt x="54" y="119"/>
                  </a:lnTo>
                  <a:lnTo>
                    <a:pt x="67" y="115"/>
                  </a:lnTo>
                  <a:lnTo>
                    <a:pt x="73" y="115"/>
                  </a:lnTo>
                  <a:lnTo>
                    <a:pt x="77" y="115"/>
                  </a:lnTo>
                  <a:lnTo>
                    <a:pt x="82" y="112"/>
                  </a:lnTo>
                  <a:lnTo>
                    <a:pt x="88" y="106"/>
                  </a:lnTo>
                  <a:lnTo>
                    <a:pt x="88" y="102"/>
                  </a:lnTo>
                  <a:lnTo>
                    <a:pt x="88" y="96"/>
                  </a:lnTo>
                  <a:lnTo>
                    <a:pt x="88" y="87"/>
                  </a:lnTo>
                  <a:lnTo>
                    <a:pt x="88" y="77"/>
                  </a:lnTo>
                  <a:lnTo>
                    <a:pt x="88" y="73"/>
                  </a:lnTo>
                  <a:lnTo>
                    <a:pt x="88" y="67"/>
                  </a:lnTo>
                  <a:lnTo>
                    <a:pt x="92" y="54"/>
                  </a:lnTo>
                  <a:lnTo>
                    <a:pt x="96" y="39"/>
                  </a:lnTo>
                  <a:lnTo>
                    <a:pt x="96" y="29"/>
                  </a:lnTo>
                  <a:lnTo>
                    <a:pt x="96" y="19"/>
                  </a:lnTo>
                  <a:lnTo>
                    <a:pt x="102" y="19"/>
                  </a:lnTo>
                  <a:lnTo>
                    <a:pt x="105" y="19"/>
                  </a:lnTo>
                  <a:lnTo>
                    <a:pt x="105" y="14"/>
                  </a:lnTo>
                  <a:lnTo>
                    <a:pt x="105" y="10"/>
                  </a:lnTo>
                  <a:lnTo>
                    <a:pt x="115" y="10"/>
                  </a:lnTo>
                  <a:lnTo>
                    <a:pt x="126" y="10"/>
                  </a:lnTo>
                  <a:lnTo>
                    <a:pt x="130" y="4"/>
                  </a:lnTo>
                  <a:lnTo>
                    <a:pt x="136" y="0"/>
                  </a:lnTo>
                  <a:lnTo>
                    <a:pt x="146" y="0"/>
                  </a:lnTo>
                  <a:lnTo>
                    <a:pt x="155" y="0"/>
                  </a:lnTo>
                  <a:lnTo>
                    <a:pt x="169" y="0"/>
                  </a:lnTo>
                  <a:lnTo>
                    <a:pt x="184" y="0"/>
                  </a:lnTo>
                  <a:lnTo>
                    <a:pt x="194" y="4"/>
                  </a:lnTo>
                  <a:lnTo>
                    <a:pt x="203" y="10"/>
                  </a:lnTo>
                  <a:lnTo>
                    <a:pt x="207" y="16"/>
                  </a:lnTo>
                  <a:lnTo>
                    <a:pt x="209" y="21"/>
                  </a:lnTo>
                  <a:lnTo>
                    <a:pt x="236" y="25"/>
                  </a:lnTo>
                  <a:lnTo>
                    <a:pt x="261" y="29"/>
                  </a:lnTo>
                  <a:lnTo>
                    <a:pt x="267" y="33"/>
                  </a:lnTo>
                  <a:lnTo>
                    <a:pt x="270" y="39"/>
                  </a:lnTo>
                  <a:lnTo>
                    <a:pt x="270" y="43"/>
                  </a:lnTo>
                  <a:lnTo>
                    <a:pt x="270" y="48"/>
                  </a:lnTo>
                  <a:lnTo>
                    <a:pt x="267" y="48"/>
                  </a:lnTo>
                  <a:lnTo>
                    <a:pt x="261" y="48"/>
                  </a:lnTo>
                  <a:lnTo>
                    <a:pt x="257" y="48"/>
                  </a:lnTo>
                  <a:lnTo>
                    <a:pt x="251" y="48"/>
                  </a:lnTo>
                  <a:lnTo>
                    <a:pt x="240" y="52"/>
                  </a:lnTo>
                  <a:lnTo>
                    <a:pt x="230" y="56"/>
                  </a:lnTo>
                  <a:lnTo>
                    <a:pt x="230" y="81"/>
                  </a:lnTo>
                  <a:lnTo>
                    <a:pt x="232" y="106"/>
                  </a:lnTo>
                  <a:lnTo>
                    <a:pt x="236" y="112"/>
                  </a:lnTo>
                  <a:lnTo>
                    <a:pt x="242" y="115"/>
                  </a:lnTo>
                  <a:lnTo>
                    <a:pt x="245" y="115"/>
                  </a:lnTo>
                  <a:lnTo>
                    <a:pt x="251" y="115"/>
                  </a:lnTo>
                  <a:lnTo>
                    <a:pt x="270" y="125"/>
                  </a:lnTo>
                  <a:lnTo>
                    <a:pt x="290" y="135"/>
                  </a:lnTo>
                  <a:lnTo>
                    <a:pt x="290" y="140"/>
                  </a:lnTo>
                  <a:lnTo>
                    <a:pt x="290" y="144"/>
                  </a:lnTo>
                  <a:lnTo>
                    <a:pt x="282" y="154"/>
                  </a:lnTo>
                  <a:lnTo>
                    <a:pt x="272" y="161"/>
                  </a:lnTo>
                  <a:lnTo>
                    <a:pt x="290" y="232"/>
                  </a:lnTo>
                  <a:lnTo>
                    <a:pt x="301" y="296"/>
                  </a:lnTo>
                  <a:lnTo>
                    <a:pt x="303" y="311"/>
                  </a:lnTo>
                  <a:lnTo>
                    <a:pt x="303" y="326"/>
                  </a:lnTo>
                  <a:lnTo>
                    <a:pt x="301" y="340"/>
                  </a:lnTo>
                  <a:lnTo>
                    <a:pt x="299" y="355"/>
                  </a:lnTo>
                  <a:lnTo>
                    <a:pt x="295" y="371"/>
                  </a:lnTo>
                  <a:lnTo>
                    <a:pt x="290" y="386"/>
                  </a:lnTo>
                  <a:lnTo>
                    <a:pt x="280" y="401"/>
                  </a:lnTo>
                  <a:lnTo>
                    <a:pt x="270" y="417"/>
                  </a:lnTo>
                  <a:lnTo>
                    <a:pt x="253" y="413"/>
                  </a:lnTo>
                  <a:lnTo>
                    <a:pt x="236" y="411"/>
                  </a:lnTo>
                  <a:lnTo>
                    <a:pt x="220" y="409"/>
                  </a:lnTo>
                  <a:lnTo>
                    <a:pt x="203" y="405"/>
                  </a:lnTo>
                  <a:lnTo>
                    <a:pt x="203" y="397"/>
                  </a:lnTo>
                  <a:lnTo>
                    <a:pt x="203" y="388"/>
                  </a:lnTo>
                  <a:lnTo>
                    <a:pt x="184" y="382"/>
                  </a:lnTo>
                  <a:lnTo>
                    <a:pt x="165" y="376"/>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87" name="Freeform 352"/>
            <p:cNvSpPr>
              <a:spLocks/>
            </p:cNvSpPr>
            <p:nvPr>
              <p:custDataLst>
                <p:tags r:id="rId68"/>
              </p:custDataLst>
            </p:nvPr>
          </p:nvSpPr>
          <p:spPr bwMode="gray">
            <a:xfrm>
              <a:off x="8559800" y="4798828"/>
              <a:ext cx="368300" cy="900113"/>
            </a:xfrm>
            <a:custGeom>
              <a:avLst/>
              <a:gdLst>
                <a:gd name="T0" fmla="*/ 2147483647 w 237"/>
                <a:gd name="T1" fmla="*/ 2147483647 h 601"/>
                <a:gd name="T2" fmla="*/ 2147483647 w 237"/>
                <a:gd name="T3" fmla="*/ 2147483647 h 601"/>
                <a:gd name="T4" fmla="*/ 0 w 237"/>
                <a:gd name="T5" fmla="*/ 2147483647 h 601"/>
                <a:gd name="T6" fmla="*/ 2147483647 w 237"/>
                <a:gd name="T7" fmla="*/ 2147483647 h 601"/>
                <a:gd name="T8" fmla="*/ 2147483647 w 237"/>
                <a:gd name="T9" fmla="*/ 2147483647 h 601"/>
                <a:gd name="T10" fmla="*/ 2147483647 w 237"/>
                <a:gd name="T11" fmla="*/ 2147483647 h 601"/>
                <a:gd name="T12" fmla="*/ 2147483647 w 237"/>
                <a:gd name="T13" fmla="*/ 2147483647 h 601"/>
                <a:gd name="T14" fmla="*/ 2147483647 w 237"/>
                <a:gd name="T15" fmla="*/ 2147483647 h 601"/>
                <a:gd name="T16" fmla="*/ 2147483647 w 237"/>
                <a:gd name="T17" fmla="*/ 2147483647 h 601"/>
                <a:gd name="T18" fmla="*/ 2147483647 w 237"/>
                <a:gd name="T19" fmla="*/ 2147483647 h 601"/>
                <a:gd name="T20" fmla="*/ 2147483647 w 237"/>
                <a:gd name="T21" fmla="*/ 2147483647 h 601"/>
                <a:gd name="T22" fmla="*/ 2147483647 w 237"/>
                <a:gd name="T23" fmla="*/ 2147483647 h 601"/>
                <a:gd name="T24" fmla="*/ 2147483647 w 237"/>
                <a:gd name="T25" fmla="*/ 2147483647 h 601"/>
                <a:gd name="T26" fmla="*/ 2147483647 w 237"/>
                <a:gd name="T27" fmla="*/ 2147483647 h 601"/>
                <a:gd name="T28" fmla="*/ 2147483647 w 237"/>
                <a:gd name="T29" fmla="*/ 2147483647 h 601"/>
                <a:gd name="T30" fmla="*/ 2147483647 w 237"/>
                <a:gd name="T31" fmla="*/ 2147483647 h 601"/>
                <a:gd name="T32" fmla="*/ 2147483647 w 237"/>
                <a:gd name="T33" fmla="*/ 2147483647 h 601"/>
                <a:gd name="T34" fmla="*/ 2147483647 w 237"/>
                <a:gd name="T35" fmla="*/ 2147483647 h 601"/>
                <a:gd name="T36" fmla="*/ 2147483647 w 237"/>
                <a:gd name="T37" fmla="*/ 2147483647 h 601"/>
                <a:gd name="T38" fmla="*/ 2147483647 w 237"/>
                <a:gd name="T39" fmla="*/ 2147483647 h 601"/>
                <a:gd name="T40" fmla="*/ 2147483647 w 237"/>
                <a:gd name="T41" fmla="*/ 2147483647 h 601"/>
                <a:gd name="T42" fmla="*/ 2147483647 w 237"/>
                <a:gd name="T43" fmla="*/ 2147483647 h 601"/>
                <a:gd name="T44" fmla="*/ 2147483647 w 237"/>
                <a:gd name="T45" fmla="*/ 2147483647 h 601"/>
                <a:gd name="T46" fmla="*/ 2147483647 w 237"/>
                <a:gd name="T47" fmla="*/ 2147483647 h 601"/>
                <a:gd name="T48" fmla="*/ 2147483647 w 237"/>
                <a:gd name="T49" fmla="*/ 2147483647 h 601"/>
                <a:gd name="T50" fmla="*/ 2147483647 w 237"/>
                <a:gd name="T51" fmla="*/ 2147483647 h 601"/>
                <a:gd name="T52" fmla="*/ 2147483647 w 237"/>
                <a:gd name="T53" fmla="*/ 2147483647 h 601"/>
                <a:gd name="T54" fmla="*/ 2147483647 w 237"/>
                <a:gd name="T55" fmla="*/ 2147483647 h 601"/>
                <a:gd name="T56" fmla="*/ 2147483647 w 237"/>
                <a:gd name="T57" fmla="*/ 2147483647 h 601"/>
                <a:gd name="T58" fmla="*/ 2147483647 w 237"/>
                <a:gd name="T59" fmla="*/ 2147483647 h 601"/>
                <a:gd name="T60" fmla="*/ 2147483647 w 237"/>
                <a:gd name="T61" fmla="*/ 2147483647 h 601"/>
                <a:gd name="T62" fmla="*/ 2147483647 w 237"/>
                <a:gd name="T63" fmla="*/ 2147483647 h 601"/>
                <a:gd name="T64" fmla="*/ 2147483647 w 237"/>
                <a:gd name="T65" fmla="*/ 2147483647 h 601"/>
                <a:gd name="T66" fmla="*/ 2147483647 w 237"/>
                <a:gd name="T67" fmla="*/ 2147483647 h 601"/>
                <a:gd name="T68" fmla="*/ 2147483647 w 237"/>
                <a:gd name="T69" fmla="*/ 0 h 601"/>
                <a:gd name="T70" fmla="*/ 2147483647 w 237"/>
                <a:gd name="T71" fmla="*/ 2147483647 h 601"/>
                <a:gd name="T72" fmla="*/ 2147483647 w 237"/>
                <a:gd name="T73" fmla="*/ 2147483647 h 601"/>
                <a:gd name="T74" fmla="*/ 2147483647 w 237"/>
                <a:gd name="T75" fmla="*/ 2147483647 h 601"/>
                <a:gd name="T76" fmla="*/ 2147483647 w 237"/>
                <a:gd name="T77" fmla="*/ 2147483647 h 601"/>
                <a:gd name="T78" fmla="*/ 2147483647 w 237"/>
                <a:gd name="T79" fmla="*/ 2147483647 h 601"/>
                <a:gd name="T80" fmla="*/ 2147483647 w 237"/>
                <a:gd name="T81" fmla="*/ 2147483647 h 601"/>
                <a:gd name="T82" fmla="*/ 2147483647 w 237"/>
                <a:gd name="T83" fmla="*/ 2147483647 h 601"/>
                <a:gd name="T84" fmla="*/ 2147483647 w 237"/>
                <a:gd name="T85" fmla="*/ 2147483647 h 601"/>
                <a:gd name="T86" fmla="*/ 2147483647 w 237"/>
                <a:gd name="T87" fmla="*/ 2147483647 h 601"/>
                <a:gd name="T88" fmla="*/ 2147483647 w 237"/>
                <a:gd name="T89" fmla="*/ 2147483647 h 601"/>
                <a:gd name="T90" fmla="*/ 2147483647 w 237"/>
                <a:gd name="T91" fmla="*/ 2147483647 h 601"/>
                <a:gd name="T92" fmla="*/ 2147483647 w 237"/>
                <a:gd name="T93" fmla="*/ 2147483647 h 601"/>
                <a:gd name="T94" fmla="*/ 2147483647 w 237"/>
                <a:gd name="T95" fmla="*/ 2147483647 h 601"/>
                <a:gd name="T96" fmla="*/ 2147483647 w 237"/>
                <a:gd name="T97" fmla="*/ 2147483647 h 60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37"/>
                <a:gd name="T148" fmla="*/ 0 h 601"/>
                <a:gd name="T149" fmla="*/ 237 w 237"/>
                <a:gd name="T150" fmla="*/ 601 h 60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37" h="601">
                  <a:moveTo>
                    <a:pt x="69" y="560"/>
                  </a:moveTo>
                  <a:lnTo>
                    <a:pt x="61" y="543"/>
                  </a:lnTo>
                  <a:lnTo>
                    <a:pt x="53" y="528"/>
                  </a:lnTo>
                  <a:lnTo>
                    <a:pt x="46" y="510"/>
                  </a:lnTo>
                  <a:lnTo>
                    <a:pt x="40" y="493"/>
                  </a:lnTo>
                  <a:lnTo>
                    <a:pt x="25" y="493"/>
                  </a:lnTo>
                  <a:lnTo>
                    <a:pt x="9" y="493"/>
                  </a:lnTo>
                  <a:lnTo>
                    <a:pt x="5" y="478"/>
                  </a:lnTo>
                  <a:lnTo>
                    <a:pt x="0" y="464"/>
                  </a:lnTo>
                  <a:lnTo>
                    <a:pt x="0" y="455"/>
                  </a:lnTo>
                  <a:lnTo>
                    <a:pt x="0" y="445"/>
                  </a:lnTo>
                  <a:lnTo>
                    <a:pt x="5" y="445"/>
                  </a:lnTo>
                  <a:lnTo>
                    <a:pt x="9" y="445"/>
                  </a:lnTo>
                  <a:lnTo>
                    <a:pt x="15" y="439"/>
                  </a:lnTo>
                  <a:lnTo>
                    <a:pt x="19" y="436"/>
                  </a:lnTo>
                  <a:lnTo>
                    <a:pt x="38" y="430"/>
                  </a:lnTo>
                  <a:lnTo>
                    <a:pt x="57" y="426"/>
                  </a:lnTo>
                  <a:lnTo>
                    <a:pt x="63" y="426"/>
                  </a:lnTo>
                  <a:lnTo>
                    <a:pt x="69" y="426"/>
                  </a:lnTo>
                  <a:lnTo>
                    <a:pt x="78" y="426"/>
                  </a:lnTo>
                  <a:lnTo>
                    <a:pt x="88" y="426"/>
                  </a:lnTo>
                  <a:lnTo>
                    <a:pt x="78" y="386"/>
                  </a:lnTo>
                  <a:lnTo>
                    <a:pt x="69" y="347"/>
                  </a:lnTo>
                  <a:lnTo>
                    <a:pt x="59" y="309"/>
                  </a:lnTo>
                  <a:lnTo>
                    <a:pt x="49" y="271"/>
                  </a:lnTo>
                  <a:lnTo>
                    <a:pt x="53" y="269"/>
                  </a:lnTo>
                  <a:lnTo>
                    <a:pt x="57" y="265"/>
                  </a:lnTo>
                  <a:lnTo>
                    <a:pt x="61" y="263"/>
                  </a:lnTo>
                  <a:lnTo>
                    <a:pt x="63" y="261"/>
                  </a:lnTo>
                  <a:lnTo>
                    <a:pt x="63" y="251"/>
                  </a:lnTo>
                  <a:lnTo>
                    <a:pt x="63" y="242"/>
                  </a:lnTo>
                  <a:lnTo>
                    <a:pt x="61" y="240"/>
                  </a:lnTo>
                  <a:lnTo>
                    <a:pt x="57" y="236"/>
                  </a:lnTo>
                  <a:lnTo>
                    <a:pt x="57" y="226"/>
                  </a:lnTo>
                  <a:lnTo>
                    <a:pt x="57" y="217"/>
                  </a:lnTo>
                  <a:lnTo>
                    <a:pt x="61" y="215"/>
                  </a:lnTo>
                  <a:lnTo>
                    <a:pt x="63" y="213"/>
                  </a:lnTo>
                  <a:lnTo>
                    <a:pt x="65" y="211"/>
                  </a:lnTo>
                  <a:lnTo>
                    <a:pt x="69" y="207"/>
                  </a:lnTo>
                  <a:lnTo>
                    <a:pt x="71" y="205"/>
                  </a:lnTo>
                  <a:lnTo>
                    <a:pt x="72" y="203"/>
                  </a:lnTo>
                  <a:lnTo>
                    <a:pt x="74" y="200"/>
                  </a:lnTo>
                  <a:lnTo>
                    <a:pt x="78" y="198"/>
                  </a:lnTo>
                  <a:lnTo>
                    <a:pt x="80" y="196"/>
                  </a:lnTo>
                  <a:lnTo>
                    <a:pt x="82" y="194"/>
                  </a:lnTo>
                  <a:lnTo>
                    <a:pt x="97" y="192"/>
                  </a:lnTo>
                  <a:lnTo>
                    <a:pt x="113" y="190"/>
                  </a:lnTo>
                  <a:lnTo>
                    <a:pt x="128" y="190"/>
                  </a:lnTo>
                  <a:lnTo>
                    <a:pt x="145" y="188"/>
                  </a:lnTo>
                  <a:lnTo>
                    <a:pt x="147" y="186"/>
                  </a:lnTo>
                  <a:lnTo>
                    <a:pt x="149" y="184"/>
                  </a:lnTo>
                  <a:lnTo>
                    <a:pt x="153" y="180"/>
                  </a:lnTo>
                  <a:lnTo>
                    <a:pt x="155" y="178"/>
                  </a:lnTo>
                  <a:lnTo>
                    <a:pt x="157" y="177"/>
                  </a:lnTo>
                  <a:lnTo>
                    <a:pt x="161" y="175"/>
                  </a:lnTo>
                  <a:lnTo>
                    <a:pt x="163" y="171"/>
                  </a:lnTo>
                  <a:lnTo>
                    <a:pt x="165" y="169"/>
                  </a:lnTo>
                  <a:lnTo>
                    <a:pt x="167" y="167"/>
                  </a:lnTo>
                  <a:lnTo>
                    <a:pt x="168" y="165"/>
                  </a:lnTo>
                  <a:lnTo>
                    <a:pt x="172" y="161"/>
                  </a:lnTo>
                  <a:lnTo>
                    <a:pt x="172" y="155"/>
                  </a:lnTo>
                  <a:lnTo>
                    <a:pt x="172" y="148"/>
                  </a:lnTo>
                  <a:lnTo>
                    <a:pt x="168" y="146"/>
                  </a:lnTo>
                  <a:lnTo>
                    <a:pt x="167" y="142"/>
                  </a:lnTo>
                  <a:lnTo>
                    <a:pt x="165" y="140"/>
                  </a:lnTo>
                  <a:lnTo>
                    <a:pt x="165" y="131"/>
                  </a:lnTo>
                  <a:lnTo>
                    <a:pt x="165" y="121"/>
                  </a:lnTo>
                  <a:lnTo>
                    <a:pt x="167" y="119"/>
                  </a:lnTo>
                  <a:lnTo>
                    <a:pt x="168" y="115"/>
                  </a:lnTo>
                  <a:lnTo>
                    <a:pt x="172" y="113"/>
                  </a:lnTo>
                  <a:lnTo>
                    <a:pt x="174" y="111"/>
                  </a:lnTo>
                  <a:lnTo>
                    <a:pt x="176" y="109"/>
                  </a:lnTo>
                  <a:lnTo>
                    <a:pt x="178" y="106"/>
                  </a:lnTo>
                  <a:lnTo>
                    <a:pt x="182" y="104"/>
                  </a:lnTo>
                  <a:lnTo>
                    <a:pt x="184" y="102"/>
                  </a:lnTo>
                  <a:lnTo>
                    <a:pt x="186" y="100"/>
                  </a:lnTo>
                  <a:lnTo>
                    <a:pt x="190" y="96"/>
                  </a:lnTo>
                  <a:lnTo>
                    <a:pt x="190" y="83"/>
                  </a:lnTo>
                  <a:lnTo>
                    <a:pt x="190" y="67"/>
                  </a:lnTo>
                  <a:lnTo>
                    <a:pt x="186" y="65"/>
                  </a:lnTo>
                  <a:lnTo>
                    <a:pt x="184" y="63"/>
                  </a:lnTo>
                  <a:lnTo>
                    <a:pt x="163" y="60"/>
                  </a:lnTo>
                  <a:lnTo>
                    <a:pt x="140" y="58"/>
                  </a:lnTo>
                  <a:lnTo>
                    <a:pt x="138" y="56"/>
                  </a:lnTo>
                  <a:lnTo>
                    <a:pt x="136" y="54"/>
                  </a:lnTo>
                  <a:lnTo>
                    <a:pt x="134" y="50"/>
                  </a:lnTo>
                  <a:lnTo>
                    <a:pt x="130" y="48"/>
                  </a:lnTo>
                  <a:lnTo>
                    <a:pt x="128" y="46"/>
                  </a:lnTo>
                  <a:lnTo>
                    <a:pt x="126" y="44"/>
                  </a:lnTo>
                  <a:lnTo>
                    <a:pt x="126" y="38"/>
                  </a:lnTo>
                  <a:lnTo>
                    <a:pt x="126" y="33"/>
                  </a:lnTo>
                  <a:lnTo>
                    <a:pt x="128" y="31"/>
                  </a:lnTo>
                  <a:lnTo>
                    <a:pt x="130" y="29"/>
                  </a:lnTo>
                  <a:lnTo>
                    <a:pt x="134" y="27"/>
                  </a:lnTo>
                  <a:lnTo>
                    <a:pt x="136" y="25"/>
                  </a:lnTo>
                  <a:lnTo>
                    <a:pt x="138" y="21"/>
                  </a:lnTo>
                  <a:lnTo>
                    <a:pt x="140" y="19"/>
                  </a:lnTo>
                  <a:lnTo>
                    <a:pt x="142" y="17"/>
                  </a:lnTo>
                  <a:lnTo>
                    <a:pt x="145" y="15"/>
                  </a:lnTo>
                  <a:lnTo>
                    <a:pt x="147" y="12"/>
                  </a:lnTo>
                  <a:lnTo>
                    <a:pt x="149" y="10"/>
                  </a:lnTo>
                  <a:lnTo>
                    <a:pt x="153" y="8"/>
                  </a:lnTo>
                  <a:lnTo>
                    <a:pt x="155" y="4"/>
                  </a:lnTo>
                  <a:lnTo>
                    <a:pt x="157" y="2"/>
                  </a:lnTo>
                  <a:lnTo>
                    <a:pt x="161" y="0"/>
                  </a:lnTo>
                  <a:lnTo>
                    <a:pt x="165" y="0"/>
                  </a:lnTo>
                  <a:lnTo>
                    <a:pt x="168" y="0"/>
                  </a:lnTo>
                  <a:lnTo>
                    <a:pt x="172" y="2"/>
                  </a:lnTo>
                  <a:lnTo>
                    <a:pt x="174" y="4"/>
                  </a:lnTo>
                  <a:lnTo>
                    <a:pt x="176" y="8"/>
                  </a:lnTo>
                  <a:lnTo>
                    <a:pt x="178" y="10"/>
                  </a:lnTo>
                  <a:lnTo>
                    <a:pt x="182" y="12"/>
                  </a:lnTo>
                  <a:lnTo>
                    <a:pt x="184" y="15"/>
                  </a:lnTo>
                  <a:lnTo>
                    <a:pt x="186" y="17"/>
                  </a:lnTo>
                  <a:lnTo>
                    <a:pt x="190" y="19"/>
                  </a:lnTo>
                  <a:lnTo>
                    <a:pt x="191" y="21"/>
                  </a:lnTo>
                  <a:lnTo>
                    <a:pt x="193" y="25"/>
                  </a:lnTo>
                  <a:lnTo>
                    <a:pt x="197" y="27"/>
                  </a:lnTo>
                  <a:lnTo>
                    <a:pt x="203" y="29"/>
                  </a:lnTo>
                  <a:lnTo>
                    <a:pt x="203" y="38"/>
                  </a:lnTo>
                  <a:lnTo>
                    <a:pt x="203" y="48"/>
                  </a:lnTo>
                  <a:lnTo>
                    <a:pt x="216" y="107"/>
                  </a:lnTo>
                  <a:lnTo>
                    <a:pt x="228" y="171"/>
                  </a:lnTo>
                  <a:lnTo>
                    <a:pt x="232" y="203"/>
                  </a:lnTo>
                  <a:lnTo>
                    <a:pt x="236" y="236"/>
                  </a:lnTo>
                  <a:lnTo>
                    <a:pt x="237" y="271"/>
                  </a:lnTo>
                  <a:lnTo>
                    <a:pt x="237" y="305"/>
                  </a:lnTo>
                  <a:lnTo>
                    <a:pt x="236" y="338"/>
                  </a:lnTo>
                  <a:lnTo>
                    <a:pt x="234" y="370"/>
                  </a:lnTo>
                  <a:lnTo>
                    <a:pt x="228" y="403"/>
                  </a:lnTo>
                  <a:lnTo>
                    <a:pt x="222" y="436"/>
                  </a:lnTo>
                  <a:lnTo>
                    <a:pt x="214" y="464"/>
                  </a:lnTo>
                  <a:lnTo>
                    <a:pt x="203" y="493"/>
                  </a:lnTo>
                  <a:lnTo>
                    <a:pt x="190" y="522"/>
                  </a:lnTo>
                  <a:lnTo>
                    <a:pt x="174" y="547"/>
                  </a:lnTo>
                  <a:lnTo>
                    <a:pt x="155" y="545"/>
                  </a:lnTo>
                  <a:lnTo>
                    <a:pt x="136" y="543"/>
                  </a:lnTo>
                  <a:lnTo>
                    <a:pt x="117" y="543"/>
                  </a:lnTo>
                  <a:lnTo>
                    <a:pt x="97" y="541"/>
                  </a:lnTo>
                  <a:lnTo>
                    <a:pt x="97" y="551"/>
                  </a:lnTo>
                  <a:lnTo>
                    <a:pt x="97" y="560"/>
                  </a:lnTo>
                  <a:lnTo>
                    <a:pt x="88" y="564"/>
                  </a:lnTo>
                  <a:lnTo>
                    <a:pt x="80" y="568"/>
                  </a:lnTo>
                  <a:lnTo>
                    <a:pt x="84" y="583"/>
                  </a:lnTo>
                  <a:lnTo>
                    <a:pt x="88" y="601"/>
                  </a:lnTo>
                  <a:lnTo>
                    <a:pt x="78" y="580"/>
                  </a:lnTo>
                  <a:lnTo>
                    <a:pt x="69" y="560"/>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88" name="Freeform 93"/>
            <p:cNvSpPr>
              <a:spLocks/>
            </p:cNvSpPr>
            <p:nvPr>
              <p:custDataLst>
                <p:tags r:id="rId69"/>
              </p:custDataLst>
            </p:nvPr>
          </p:nvSpPr>
          <p:spPr bwMode="gray">
            <a:xfrm>
              <a:off x="5740400" y="1857191"/>
              <a:ext cx="2295525" cy="2751137"/>
            </a:xfrm>
            <a:custGeom>
              <a:avLst/>
              <a:gdLst>
                <a:gd name="T0" fmla="*/ 2147483647 w 1479"/>
                <a:gd name="T1" fmla="*/ 2147483647 h 1836"/>
                <a:gd name="T2" fmla="*/ 2147483647 w 1479"/>
                <a:gd name="T3" fmla="*/ 2147483647 h 1836"/>
                <a:gd name="T4" fmla="*/ 2147483647 w 1479"/>
                <a:gd name="T5" fmla="*/ 2147483647 h 1836"/>
                <a:gd name="T6" fmla="*/ 2147483647 w 1479"/>
                <a:gd name="T7" fmla="*/ 2147483647 h 1836"/>
                <a:gd name="T8" fmla="*/ 2147483647 w 1479"/>
                <a:gd name="T9" fmla="*/ 2147483647 h 1836"/>
                <a:gd name="T10" fmla="*/ 2147483647 w 1479"/>
                <a:gd name="T11" fmla="*/ 2147483647 h 1836"/>
                <a:gd name="T12" fmla="*/ 2147483647 w 1479"/>
                <a:gd name="T13" fmla="*/ 2147483647 h 1836"/>
                <a:gd name="T14" fmla="*/ 2147483647 w 1479"/>
                <a:gd name="T15" fmla="*/ 2147483647 h 1836"/>
                <a:gd name="T16" fmla="*/ 2147483647 w 1479"/>
                <a:gd name="T17" fmla="*/ 2147483647 h 1836"/>
                <a:gd name="T18" fmla="*/ 2147483647 w 1479"/>
                <a:gd name="T19" fmla="*/ 2147483647 h 1836"/>
                <a:gd name="T20" fmla="*/ 2147483647 w 1479"/>
                <a:gd name="T21" fmla="*/ 2147483647 h 1836"/>
                <a:gd name="T22" fmla="*/ 2147483647 w 1479"/>
                <a:gd name="T23" fmla="*/ 2147483647 h 1836"/>
                <a:gd name="T24" fmla="*/ 2147483647 w 1479"/>
                <a:gd name="T25" fmla="*/ 2147483647 h 1836"/>
                <a:gd name="T26" fmla="*/ 2147483647 w 1479"/>
                <a:gd name="T27" fmla="*/ 2147483647 h 1836"/>
                <a:gd name="T28" fmla="*/ 2147483647 w 1479"/>
                <a:gd name="T29" fmla="*/ 2147483647 h 1836"/>
                <a:gd name="T30" fmla="*/ 2147483647 w 1479"/>
                <a:gd name="T31" fmla="*/ 2147483647 h 1836"/>
                <a:gd name="T32" fmla="*/ 2147483647 w 1479"/>
                <a:gd name="T33" fmla="*/ 2147483647 h 1836"/>
                <a:gd name="T34" fmla="*/ 2147483647 w 1479"/>
                <a:gd name="T35" fmla="*/ 2147483647 h 1836"/>
                <a:gd name="T36" fmla="*/ 2147483647 w 1479"/>
                <a:gd name="T37" fmla="*/ 2147483647 h 1836"/>
                <a:gd name="T38" fmla="*/ 2147483647 w 1479"/>
                <a:gd name="T39" fmla="*/ 2147483647 h 1836"/>
                <a:gd name="T40" fmla="*/ 2147483647 w 1479"/>
                <a:gd name="T41" fmla="*/ 2147483647 h 1836"/>
                <a:gd name="T42" fmla="*/ 2147483647 w 1479"/>
                <a:gd name="T43" fmla="*/ 2147483647 h 1836"/>
                <a:gd name="T44" fmla="*/ 2147483647 w 1479"/>
                <a:gd name="T45" fmla="*/ 2147483647 h 1836"/>
                <a:gd name="T46" fmla="*/ 2147483647 w 1479"/>
                <a:gd name="T47" fmla="*/ 2147483647 h 1836"/>
                <a:gd name="T48" fmla="*/ 2147483647 w 1479"/>
                <a:gd name="T49" fmla="*/ 2147483647 h 1836"/>
                <a:gd name="T50" fmla="*/ 2147483647 w 1479"/>
                <a:gd name="T51" fmla="*/ 2147483647 h 1836"/>
                <a:gd name="T52" fmla="*/ 2147483647 w 1479"/>
                <a:gd name="T53" fmla="*/ 2147483647 h 1836"/>
                <a:gd name="T54" fmla="*/ 2147483647 w 1479"/>
                <a:gd name="T55" fmla="*/ 2147483647 h 1836"/>
                <a:gd name="T56" fmla="*/ 2147483647 w 1479"/>
                <a:gd name="T57" fmla="*/ 2147483647 h 1836"/>
                <a:gd name="T58" fmla="*/ 2147483647 w 1479"/>
                <a:gd name="T59" fmla="*/ 2147483647 h 1836"/>
                <a:gd name="T60" fmla="*/ 2147483647 w 1479"/>
                <a:gd name="T61" fmla="*/ 2147483647 h 1836"/>
                <a:gd name="T62" fmla="*/ 2147483647 w 1479"/>
                <a:gd name="T63" fmla="*/ 2147483647 h 1836"/>
                <a:gd name="T64" fmla="*/ 2147483647 w 1479"/>
                <a:gd name="T65" fmla="*/ 2147483647 h 1836"/>
                <a:gd name="T66" fmla="*/ 2147483647 w 1479"/>
                <a:gd name="T67" fmla="*/ 2147483647 h 1836"/>
                <a:gd name="T68" fmla="*/ 2147483647 w 1479"/>
                <a:gd name="T69" fmla="*/ 2147483647 h 1836"/>
                <a:gd name="T70" fmla="*/ 2147483647 w 1479"/>
                <a:gd name="T71" fmla="*/ 2147483647 h 1836"/>
                <a:gd name="T72" fmla="*/ 2147483647 w 1479"/>
                <a:gd name="T73" fmla="*/ 2147483647 h 1836"/>
                <a:gd name="T74" fmla="*/ 2147483647 w 1479"/>
                <a:gd name="T75" fmla="*/ 2147483647 h 1836"/>
                <a:gd name="T76" fmla="*/ 2147483647 w 1479"/>
                <a:gd name="T77" fmla="*/ 2147483647 h 1836"/>
                <a:gd name="T78" fmla="*/ 2147483647 w 1479"/>
                <a:gd name="T79" fmla="*/ 2147483647 h 1836"/>
                <a:gd name="T80" fmla="*/ 2147483647 w 1479"/>
                <a:gd name="T81" fmla="*/ 2147483647 h 1836"/>
                <a:gd name="T82" fmla="*/ 2147483647 w 1479"/>
                <a:gd name="T83" fmla="*/ 2147483647 h 1836"/>
                <a:gd name="T84" fmla="*/ 2147483647 w 1479"/>
                <a:gd name="T85" fmla="*/ 2147483647 h 1836"/>
                <a:gd name="T86" fmla="*/ 2147483647 w 1479"/>
                <a:gd name="T87" fmla="*/ 2147483647 h 1836"/>
                <a:gd name="T88" fmla="*/ 2147483647 w 1479"/>
                <a:gd name="T89" fmla="*/ 2147483647 h 1836"/>
                <a:gd name="T90" fmla="*/ 2147483647 w 1479"/>
                <a:gd name="T91" fmla="*/ 2147483647 h 1836"/>
                <a:gd name="T92" fmla="*/ 2147483647 w 1479"/>
                <a:gd name="T93" fmla="*/ 2147483647 h 1836"/>
                <a:gd name="T94" fmla="*/ 2147483647 w 1479"/>
                <a:gd name="T95" fmla="*/ 2147483647 h 1836"/>
                <a:gd name="T96" fmla="*/ 2147483647 w 1479"/>
                <a:gd name="T97" fmla="*/ 2147483647 h 1836"/>
                <a:gd name="T98" fmla="*/ 2147483647 w 1479"/>
                <a:gd name="T99" fmla="*/ 2147483647 h 1836"/>
                <a:gd name="T100" fmla="*/ 2147483647 w 1479"/>
                <a:gd name="T101" fmla="*/ 2147483647 h 1836"/>
                <a:gd name="T102" fmla="*/ 2147483647 w 1479"/>
                <a:gd name="T103" fmla="*/ 2147483647 h 1836"/>
                <a:gd name="T104" fmla="*/ 2147483647 w 1479"/>
                <a:gd name="T105" fmla="*/ 2147483647 h 1836"/>
                <a:gd name="T106" fmla="*/ 2147483647 w 1479"/>
                <a:gd name="T107" fmla="*/ 2147483647 h 1836"/>
                <a:gd name="T108" fmla="*/ 2147483647 w 1479"/>
                <a:gd name="T109" fmla="*/ 2147483647 h 1836"/>
                <a:gd name="T110" fmla="*/ 2147483647 w 1479"/>
                <a:gd name="T111" fmla="*/ 2147483647 h 1836"/>
                <a:gd name="T112" fmla="*/ 2147483647 w 1479"/>
                <a:gd name="T113" fmla="*/ 2147483647 h 1836"/>
                <a:gd name="T114" fmla="*/ 2147483647 w 1479"/>
                <a:gd name="T115" fmla="*/ 2147483647 h 1836"/>
                <a:gd name="T116" fmla="*/ 2147483647 w 1479"/>
                <a:gd name="T117" fmla="*/ 2147483647 h 1836"/>
                <a:gd name="T118" fmla="*/ 2147483647 w 1479"/>
                <a:gd name="T119" fmla="*/ 2147483647 h 1836"/>
                <a:gd name="T120" fmla="*/ 2147483647 w 1479"/>
                <a:gd name="T121" fmla="*/ 2147483647 h 1836"/>
                <a:gd name="T122" fmla="*/ 2147483647 w 1479"/>
                <a:gd name="T123" fmla="*/ 2147483647 h 1836"/>
                <a:gd name="T124" fmla="*/ 2147483647 w 1479"/>
                <a:gd name="T125" fmla="*/ 2147483647 h 18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479"/>
                <a:gd name="T190" fmla="*/ 0 h 1836"/>
                <a:gd name="T191" fmla="*/ 1479 w 1479"/>
                <a:gd name="T192" fmla="*/ 1836 h 18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479" h="1836">
                  <a:moveTo>
                    <a:pt x="1410" y="831"/>
                  </a:moveTo>
                  <a:lnTo>
                    <a:pt x="1414" y="841"/>
                  </a:lnTo>
                  <a:lnTo>
                    <a:pt x="1416" y="850"/>
                  </a:lnTo>
                  <a:lnTo>
                    <a:pt x="1418" y="852"/>
                  </a:lnTo>
                  <a:lnTo>
                    <a:pt x="1421" y="856"/>
                  </a:lnTo>
                  <a:lnTo>
                    <a:pt x="1423" y="862"/>
                  </a:lnTo>
                  <a:lnTo>
                    <a:pt x="1425" y="869"/>
                  </a:lnTo>
                  <a:lnTo>
                    <a:pt x="1427" y="873"/>
                  </a:lnTo>
                  <a:lnTo>
                    <a:pt x="1431" y="875"/>
                  </a:lnTo>
                  <a:lnTo>
                    <a:pt x="1435" y="892"/>
                  </a:lnTo>
                  <a:lnTo>
                    <a:pt x="1441" y="908"/>
                  </a:lnTo>
                  <a:lnTo>
                    <a:pt x="1423" y="908"/>
                  </a:lnTo>
                  <a:lnTo>
                    <a:pt x="1414" y="910"/>
                  </a:lnTo>
                  <a:lnTo>
                    <a:pt x="1412" y="910"/>
                  </a:lnTo>
                  <a:lnTo>
                    <a:pt x="1410" y="913"/>
                  </a:lnTo>
                  <a:lnTo>
                    <a:pt x="1408" y="915"/>
                  </a:lnTo>
                  <a:lnTo>
                    <a:pt x="1406" y="917"/>
                  </a:lnTo>
                  <a:lnTo>
                    <a:pt x="1398" y="921"/>
                  </a:lnTo>
                  <a:lnTo>
                    <a:pt x="1393" y="923"/>
                  </a:lnTo>
                  <a:lnTo>
                    <a:pt x="1389" y="925"/>
                  </a:lnTo>
                  <a:lnTo>
                    <a:pt x="1387" y="929"/>
                  </a:lnTo>
                  <a:lnTo>
                    <a:pt x="1385" y="935"/>
                  </a:lnTo>
                  <a:lnTo>
                    <a:pt x="1381" y="942"/>
                  </a:lnTo>
                  <a:lnTo>
                    <a:pt x="1379" y="944"/>
                  </a:lnTo>
                  <a:lnTo>
                    <a:pt x="1377" y="948"/>
                  </a:lnTo>
                  <a:lnTo>
                    <a:pt x="1356" y="948"/>
                  </a:lnTo>
                  <a:lnTo>
                    <a:pt x="1335" y="950"/>
                  </a:lnTo>
                  <a:lnTo>
                    <a:pt x="1316" y="952"/>
                  </a:lnTo>
                  <a:lnTo>
                    <a:pt x="1295" y="952"/>
                  </a:lnTo>
                  <a:lnTo>
                    <a:pt x="1293" y="954"/>
                  </a:lnTo>
                  <a:lnTo>
                    <a:pt x="1289" y="958"/>
                  </a:lnTo>
                  <a:lnTo>
                    <a:pt x="1289" y="977"/>
                  </a:lnTo>
                  <a:lnTo>
                    <a:pt x="1289" y="996"/>
                  </a:lnTo>
                  <a:lnTo>
                    <a:pt x="1293" y="998"/>
                  </a:lnTo>
                  <a:lnTo>
                    <a:pt x="1295" y="1000"/>
                  </a:lnTo>
                  <a:lnTo>
                    <a:pt x="1297" y="1013"/>
                  </a:lnTo>
                  <a:lnTo>
                    <a:pt x="1300" y="1025"/>
                  </a:lnTo>
                  <a:lnTo>
                    <a:pt x="1302" y="1027"/>
                  </a:lnTo>
                  <a:lnTo>
                    <a:pt x="1304" y="1029"/>
                  </a:lnTo>
                  <a:lnTo>
                    <a:pt x="1304" y="1054"/>
                  </a:lnTo>
                  <a:lnTo>
                    <a:pt x="1304" y="1079"/>
                  </a:lnTo>
                  <a:lnTo>
                    <a:pt x="1302" y="1080"/>
                  </a:lnTo>
                  <a:lnTo>
                    <a:pt x="1300" y="1082"/>
                  </a:lnTo>
                  <a:lnTo>
                    <a:pt x="1300" y="1102"/>
                  </a:lnTo>
                  <a:lnTo>
                    <a:pt x="1300" y="1121"/>
                  </a:lnTo>
                  <a:lnTo>
                    <a:pt x="1302" y="1125"/>
                  </a:lnTo>
                  <a:lnTo>
                    <a:pt x="1304" y="1126"/>
                  </a:lnTo>
                  <a:lnTo>
                    <a:pt x="1306" y="1138"/>
                  </a:lnTo>
                  <a:lnTo>
                    <a:pt x="1310" y="1149"/>
                  </a:lnTo>
                  <a:lnTo>
                    <a:pt x="1312" y="1153"/>
                  </a:lnTo>
                  <a:lnTo>
                    <a:pt x="1314" y="1155"/>
                  </a:lnTo>
                  <a:lnTo>
                    <a:pt x="1316" y="1157"/>
                  </a:lnTo>
                  <a:lnTo>
                    <a:pt x="1320" y="1161"/>
                  </a:lnTo>
                  <a:lnTo>
                    <a:pt x="1322" y="1163"/>
                  </a:lnTo>
                  <a:lnTo>
                    <a:pt x="1323" y="1165"/>
                  </a:lnTo>
                  <a:lnTo>
                    <a:pt x="1325" y="1167"/>
                  </a:lnTo>
                  <a:lnTo>
                    <a:pt x="1329" y="1171"/>
                  </a:lnTo>
                  <a:lnTo>
                    <a:pt x="1331" y="1173"/>
                  </a:lnTo>
                  <a:lnTo>
                    <a:pt x="1333" y="1174"/>
                  </a:lnTo>
                  <a:lnTo>
                    <a:pt x="1335" y="1176"/>
                  </a:lnTo>
                  <a:lnTo>
                    <a:pt x="1339" y="1180"/>
                  </a:lnTo>
                  <a:lnTo>
                    <a:pt x="1341" y="1182"/>
                  </a:lnTo>
                  <a:lnTo>
                    <a:pt x="1343" y="1184"/>
                  </a:lnTo>
                  <a:lnTo>
                    <a:pt x="1348" y="1203"/>
                  </a:lnTo>
                  <a:lnTo>
                    <a:pt x="1352" y="1222"/>
                  </a:lnTo>
                  <a:lnTo>
                    <a:pt x="1350" y="1226"/>
                  </a:lnTo>
                  <a:lnTo>
                    <a:pt x="1348" y="1228"/>
                  </a:lnTo>
                  <a:lnTo>
                    <a:pt x="1345" y="1249"/>
                  </a:lnTo>
                  <a:lnTo>
                    <a:pt x="1343" y="1270"/>
                  </a:lnTo>
                  <a:lnTo>
                    <a:pt x="1341" y="1274"/>
                  </a:lnTo>
                  <a:lnTo>
                    <a:pt x="1339" y="1276"/>
                  </a:lnTo>
                  <a:lnTo>
                    <a:pt x="1335" y="1278"/>
                  </a:lnTo>
                  <a:lnTo>
                    <a:pt x="1333" y="1282"/>
                  </a:lnTo>
                  <a:lnTo>
                    <a:pt x="1331" y="1284"/>
                  </a:lnTo>
                  <a:lnTo>
                    <a:pt x="1329" y="1286"/>
                  </a:lnTo>
                  <a:lnTo>
                    <a:pt x="1318" y="1288"/>
                  </a:lnTo>
                  <a:lnTo>
                    <a:pt x="1304" y="1291"/>
                  </a:lnTo>
                  <a:lnTo>
                    <a:pt x="1302" y="1293"/>
                  </a:lnTo>
                  <a:lnTo>
                    <a:pt x="1300" y="1295"/>
                  </a:lnTo>
                  <a:lnTo>
                    <a:pt x="1297" y="1297"/>
                  </a:lnTo>
                  <a:lnTo>
                    <a:pt x="1295" y="1299"/>
                  </a:lnTo>
                  <a:lnTo>
                    <a:pt x="1293" y="1303"/>
                  </a:lnTo>
                  <a:lnTo>
                    <a:pt x="1289" y="1305"/>
                  </a:lnTo>
                  <a:lnTo>
                    <a:pt x="1287" y="1322"/>
                  </a:lnTo>
                  <a:lnTo>
                    <a:pt x="1285" y="1339"/>
                  </a:lnTo>
                  <a:lnTo>
                    <a:pt x="1283" y="1341"/>
                  </a:lnTo>
                  <a:lnTo>
                    <a:pt x="1281" y="1343"/>
                  </a:lnTo>
                  <a:lnTo>
                    <a:pt x="1274" y="1345"/>
                  </a:lnTo>
                  <a:lnTo>
                    <a:pt x="1266" y="1349"/>
                  </a:lnTo>
                  <a:lnTo>
                    <a:pt x="1264" y="1351"/>
                  </a:lnTo>
                  <a:lnTo>
                    <a:pt x="1260" y="1353"/>
                  </a:lnTo>
                  <a:lnTo>
                    <a:pt x="1258" y="1357"/>
                  </a:lnTo>
                  <a:lnTo>
                    <a:pt x="1256" y="1359"/>
                  </a:lnTo>
                  <a:lnTo>
                    <a:pt x="1254" y="1361"/>
                  </a:lnTo>
                  <a:lnTo>
                    <a:pt x="1251" y="1364"/>
                  </a:lnTo>
                  <a:lnTo>
                    <a:pt x="1249" y="1366"/>
                  </a:lnTo>
                  <a:lnTo>
                    <a:pt x="1247" y="1368"/>
                  </a:lnTo>
                  <a:lnTo>
                    <a:pt x="1245" y="1370"/>
                  </a:lnTo>
                  <a:lnTo>
                    <a:pt x="1243" y="1372"/>
                  </a:lnTo>
                  <a:lnTo>
                    <a:pt x="1233" y="1376"/>
                  </a:lnTo>
                  <a:lnTo>
                    <a:pt x="1228" y="1378"/>
                  </a:lnTo>
                  <a:lnTo>
                    <a:pt x="1224" y="1380"/>
                  </a:lnTo>
                  <a:lnTo>
                    <a:pt x="1222" y="1382"/>
                  </a:lnTo>
                  <a:lnTo>
                    <a:pt x="1222" y="1407"/>
                  </a:lnTo>
                  <a:lnTo>
                    <a:pt x="1222" y="1432"/>
                  </a:lnTo>
                  <a:lnTo>
                    <a:pt x="1224" y="1433"/>
                  </a:lnTo>
                  <a:lnTo>
                    <a:pt x="1228" y="1435"/>
                  </a:lnTo>
                  <a:lnTo>
                    <a:pt x="1228" y="1460"/>
                  </a:lnTo>
                  <a:lnTo>
                    <a:pt x="1228" y="1483"/>
                  </a:lnTo>
                  <a:lnTo>
                    <a:pt x="1224" y="1487"/>
                  </a:lnTo>
                  <a:lnTo>
                    <a:pt x="1222" y="1489"/>
                  </a:lnTo>
                  <a:lnTo>
                    <a:pt x="1214" y="1491"/>
                  </a:lnTo>
                  <a:lnTo>
                    <a:pt x="1208" y="1493"/>
                  </a:lnTo>
                  <a:lnTo>
                    <a:pt x="1214" y="1501"/>
                  </a:lnTo>
                  <a:lnTo>
                    <a:pt x="1222" y="1508"/>
                  </a:lnTo>
                  <a:lnTo>
                    <a:pt x="1224" y="1510"/>
                  </a:lnTo>
                  <a:lnTo>
                    <a:pt x="1228" y="1514"/>
                  </a:lnTo>
                  <a:lnTo>
                    <a:pt x="1233" y="1516"/>
                  </a:lnTo>
                  <a:lnTo>
                    <a:pt x="1243" y="1518"/>
                  </a:lnTo>
                  <a:lnTo>
                    <a:pt x="1245" y="1520"/>
                  </a:lnTo>
                  <a:lnTo>
                    <a:pt x="1247" y="1524"/>
                  </a:lnTo>
                  <a:lnTo>
                    <a:pt x="1251" y="1533"/>
                  </a:lnTo>
                  <a:lnTo>
                    <a:pt x="1256" y="1543"/>
                  </a:lnTo>
                  <a:lnTo>
                    <a:pt x="1254" y="1545"/>
                  </a:lnTo>
                  <a:lnTo>
                    <a:pt x="1251" y="1547"/>
                  </a:lnTo>
                  <a:lnTo>
                    <a:pt x="1251" y="1562"/>
                  </a:lnTo>
                  <a:lnTo>
                    <a:pt x="1251" y="1575"/>
                  </a:lnTo>
                  <a:lnTo>
                    <a:pt x="1254" y="1577"/>
                  </a:lnTo>
                  <a:lnTo>
                    <a:pt x="1256" y="1581"/>
                  </a:lnTo>
                  <a:lnTo>
                    <a:pt x="1264" y="1583"/>
                  </a:lnTo>
                  <a:lnTo>
                    <a:pt x="1272" y="1585"/>
                  </a:lnTo>
                  <a:lnTo>
                    <a:pt x="1274" y="1587"/>
                  </a:lnTo>
                  <a:lnTo>
                    <a:pt x="1276" y="1591"/>
                  </a:lnTo>
                  <a:lnTo>
                    <a:pt x="1283" y="1593"/>
                  </a:lnTo>
                  <a:lnTo>
                    <a:pt x="1289" y="1597"/>
                  </a:lnTo>
                  <a:lnTo>
                    <a:pt x="1293" y="1598"/>
                  </a:lnTo>
                  <a:lnTo>
                    <a:pt x="1295" y="1600"/>
                  </a:lnTo>
                  <a:lnTo>
                    <a:pt x="1297" y="1622"/>
                  </a:lnTo>
                  <a:lnTo>
                    <a:pt x="1300" y="1645"/>
                  </a:lnTo>
                  <a:lnTo>
                    <a:pt x="1302" y="1646"/>
                  </a:lnTo>
                  <a:lnTo>
                    <a:pt x="1304" y="1648"/>
                  </a:lnTo>
                  <a:lnTo>
                    <a:pt x="1306" y="1650"/>
                  </a:lnTo>
                  <a:lnTo>
                    <a:pt x="1310" y="1654"/>
                  </a:lnTo>
                  <a:lnTo>
                    <a:pt x="1312" y="1656"/>
                  </a:lnTo>
                  <a:lnTo>
                    <a:pt x="1314" y="1658"/>
                  </a:lnTo>
                  <a:lnTo>
                    <a:pt x="1316" y="1660"/>
                  </a:lnTo>
                  <a:lnTo>
                    <a:pt x="1320" y="1664"/>
                  </a:lnTo>
                  <a:lnTo>
                    <a:pt x="1322" y="1666"/>
                  </a:lnTo>
                  <a:lnTo>
                    <a:pt x="1323" y="1668"/>
                  </a:lnTo>
                  <a:lnTo>
                    <a:pt x="1323" y="1673"/>
                  </a:lnTo>
                  <a:lnTo>
                    <a:pt x="1323" y="1677"/>
                  </a:lnTo>
                  <a:lnTo>
                    <a:pt x="1322" y="1679"/>
                  </a:lnTo>
                  <a:lnTo>
                    <a:pt x="1320" y="1683"/>
                  </a:lnTo>
                  <a:lnTo>
                    <a:pt x="1306" y="1685"/>
                  </a:lnTo>
                  <a:lnTo>
                    <a:pt x="1295" y="1687"/>
                  </a:lnTo>
                  <a:lnTo>
                    <a:pt x="1293" y="1689"/>
                  </a:lnTo>
                  <a:lnTo>
                    <a:pt x="1289" y="1693"/>
                  </a:lnTo>
                  <a:lnTo>
                    <a:pt x="1277" y="1698"/>
                  </a:lnTo>
                  <a:lnTo>
                    <a:pt x="1266" y="1706"/>
                  </a:lnTo>
                  <a:lnTo>
                    <a:pt x="1264" y="1710"/>
                  </a:lnTo>
                  <a:lnTo>
                    <a:pt x="1260" y="1712"/>
                  </a:lnTo>
                  <a:lnTo>
                    <a:pt x="1258" y="1714"/>
                  </a:lnTo>
                  <a:lnTo>
                    <a:pt x="1256" y="1716"/>
                  </a:lnTo>
                  <a:lnTo>
                    <a:pt x="1254" y="1719"/>
                  </a:lnTo>
                  <a:lnTo>
                    <a:pt x="1251" y="1721"/>
                  </a:lnTo>
                  <a:lnTo>
                    <a:pt x="1249" y="1723"/>
                  </a:lnTo>
                  <a:lnTo>
                    <a:pt x="1247" y="1725"/>
                  </a:lnTo>
                  <a:lnTo>
                    <a:pt x="1245" y="1729"/>
                  </a:lnTo>
                  <a:lnTo>
                    <a:pt x="1243" y="1731"/>
                  </a:lnTo>
                  <a:lnTo>
                    <a:pt x="1239" y="1733"/>
                  </a:lnTo>
                  <a:lnTo>
                    <a:pt x="1237" y="1735"/>
                  </a:lnTo>
                  <a:lnTo>
                    <a:pt x="1233" y="1739"/>
                  </a:lnTo>
                  <a:lnTo>
                    <a:pt x="1231" y="1740"/>
                  </a:lnTo>
                  <a:lnTo>
                    <a:pt x="1229" y="1742"/>
                  </a:lnTo>
                  <a:lnTo>
                    <a:pt x="1228" y="1746"/>
                  </a:lnTo>
                  <a:lnTo>
                    <a:pt x="1224" y="1748"/>
                  </a:lnTo>
                  <a:lnTo>
                    <a:pt x="1222" y="1750"/>
                  </a:lnTo>
                  <a:lnTo>
                    <a:pt x="1220" y="1752"/>
                  </a:lnTo>
                  <a:lnTo>
                    <a:pt x="1218" y="1756"/>
                  </a:lnTo>
                  <a:lnTo>
                    <a:pt x="1216" y="1758"/>
                  </a:lnTo>
                  <a:lnTo>
                    <a:pt x="1212" y="1760"/>
                  </a:lnTo>
                  <a:lnTo>
                    <a:pt x="1201" y="1762"/>
                  </a:lnTo>
                  <a:lnTo>
                    <a:pt x="1189" y="1763"/>
                  </a:lnTo>
                  <a:lnTo>
                    <a:pt x="1185" y="1767"/>
                  </a:lnTo>
                  <a:lnTo>
                    <a:pt x="1183" y="1769"/>
                  </a:lnTo>
                  <a:lnTo>
                    <a:pt x="1176" y="1771"/>
                  </a:lnTo>
                  <a:lnTo>
                    <a:pt x="1170" y="1775"/>
                  </a:lnTo>
                  <a:lnTo>
                    <a:pt x="1166" y="1777"/>
                  </a:lnTo>
                  <a:lnTo>
                    <a:pt x="1164" y="1779"/>
                  </a:lnTo>
                  <a:lnTo>
                    <a:pt x="1162" y="1781"/>
                  </a:lnTo>
                  <a:lnTo>
                    <a:pt x="1160" y="1785"/>
                  </a:lnTo>
                  <a:lnTo>
                    <a:pt x="1157" y="1787"/>
                  </a:lnTo>
                  <a:lnTo>
                    <a:pt x="1155" y="1788"/>
                  </a:lnTo>
                  <a:lnTo>
                    <a:pt x="1153" y="1790"/>
                  </a:lnTo>
                  <a:lnTo>
                    <a:pt x="1149" y="1794"/>
                  </a:lnTo>
                  <a:lnTo>
                    <a:pt x="1147" y="1796"/>
                  </a:lnTo>
                  <a:lnTo>
                    <a:pt x="1145" y="1798"/>
                  </a:lnTo>
                  <a:lnTo>
                    <a:pt x="1137" y="1802"/>
                  </a:lnTo>
                  <a:lnTo>
                    <a:pt x="1130" y="1804"/>
                  </a:lnTo>
                  <a:lnTo>
                    <a:pt x="1128" y="1806"/>
                  </a:lnTo>
                  <a:lnTo>
                    <a:pt x="1126" y="1808"/>
                  </a:lnTo>
                  <a:lnTo>
                    <a:pt x="1114" y="1810"/>
                  </a:lnTo>
                  <a:lnTo>
                    <a:pt x="1101" y="1813"/>
                  </a:lnTo>
                  <a:lnTo>
                    <a:pt x="1099" y="1815"/>
                  </a:lnTo>
                  <a:lnTo>
                    <a:pt x="1097" y="1817"/>
                  </a:lnTo>
                  <a:lnTo>
                    <a:pt x="1080" y="1819"/>
                  </a:lnTo>
                  <a:lnTo>
                    <a:pt x="1063" y="1823"/>
                  </a:lnTo>
                  <a:lnTo>
                    <a:pt x="1061" y="1825"/>
                  </a:lnTo>
                  <a:lnTo>
                    <a:pt x="1059" y="1827"/>
                  </a:lnTo>
                  <a:lnTo>
                    <a:pt x="1049" y="1827"/>
                  </a:lnTo>
                  <a:lnTo>
                    <a:pt x="1040" y="1827"/>
                  </a:lnTo>
                  <a:lnTo>
                    <a:pt x="1036" y="1825"/>
                  </a:lnTo>
                  <a:lnTo>
                    <a:pt x="1034" y="1823"/>
                  </a:lnTo>
                  <a:lnTo>
                    <a:pt x="1026" y="1819"/>
                  </a:lnTo>
                  <a:lnTo>
                    <a:pt x="1018" y="1817"/>
                  </a:lnTo>
                  <a:lnTo>
                    <a:pt x="1017" y="1815"/>
                  </a:lnTo>
                  <a:lnTo>
                    <a:pt x="1015" y="1813"/>
                  </a:lnTo>
                  <a:lnTo>
                    <a:pt x="1007" y="1810"/>
                  </a:lnTo>
                  <a:lnTo>
                    <a:pt x="999" y="1808"/>
                  </a:lnTo>
                  <a:lnTo>
                    <a:pt x="997" y="1806"/>
                  </a:lnTo>
                  <a:lnTo>
                    <a:pt x="995" y="1804"/>
                  </a:lnTo>
                  <a:lnTo>
                    <a:pt x="990" y="1804"/>
                  </a:lnTo>
                  <a:lnTo>
                    <a:pt x="986" y="1804"/>
                  </a:lnTo>
                  <a:lnTo>
                    <a:pt x="984" y="1806"/>
                  </a:lnTo>
                  <a:lnTo>
                    <a:pt x="980" y="1808"/>
                  </a:lnTo>
                  <a:lnTo>
                    <a:pt x="965" y="1810"/>
                  </a:lnTo>
                  <a:lnTo>
                    <a:pt x="949" y="1810"/>
                  </a:lnTo>
                  <a:lnTo>
                    <a:pt x="934" y="1811"/>
                  </a:lnTo>
                  <a:lnTo>
                    <a:pt x="917" y="1813"/>
                  </a:lnTo>
                  <a:lnTo>
                    <a:pt x="915" y="1815"/>
                  </a:lnTo>
                  <a:lnTo>
                    <a:pt x="913" y="1817"/>
                  </a:lnTo>
                  <a:lnTo>
                    <a:pt x="898" y="1817"/>
                  </a:lnTo>
                  <a:lnTo>
                    <a:pt x="884" y="1817"/>
                  </a:lnTo>
                  <a:lnTo>
                    <a:pt x="880" y="1815"/>
                  </a:lnTo>
                  <a:lnTo>
                    <a:pt x="878" y="1813"/>
                  </a:lnTo>
                  <a:lnTo>
                    <a:pt x="869" y="1813"/>
                  </a:lnTo>
                  <a:lnTo>
                    <a:pt x="859" y="1813"/>
                  </a:lnTo>
                  <a:lnTo>
                    <a:pt x="857" y="1815"/>
                  </a:lnTo>
                  <a:lnTo>
                    <a:pt x="855" y="1817"/>
                  </a:lnTo>
                  <a:lnTo>
                    <a:pt x="848" y="1819"/>
                  </a:lnTo>
                  <a:lnTo>
                    <a:pt x="840" y="1823"/>
                  </a:lnTo>
                  <a:lnTo>
                    <a:pt x="838" y="1825"/>
                  </a:lnTo>
                  <a:lnTo>
                    <a:pt x="836" y="1827"/>
                  </a:lnTo>
                  <a:lnTo>
                    <a:pt x="832" y="1831"/>
                  </a:lnTo>
                  <a:lnTo>
                    <a:pt x="830" y="1833"/>
                  </a:lnTo>
                  <a:lnTo>
                    <a:pt x="828" y="1834"/>
                  </a:lnTo>
                  <a:lnTo>
                    <a:pt x="827" y="1836"/>
                  </a:lnTo>
                  <a:lnTo>
                    <a:pt x="817" y="1836"/>
                  </a:lnTo>
                  <a:lnTo>
                    <a:pt x="807" y="1836"/>
                  </a:lnTo>
                  <a:lnTo>
                    <a:pt x="804" y="1834"/>
                  </a:lnTo>
                  <a:lnTo>
                    <a:pt x="802" y="1833"/>
                  </a:lnTo>
                  <a:lnTo>
                    <a:pt x="800" y="1831"/>
                  </a:lnTo>
                  <a:lnTo>
                    <a:pt x="796" y="1827"/>
                  </a:lnTo>
                  <a:lnTo>
                    <a:pt x="794" y="1825"/>
                  </a:lnTo>
                  <a:lnTo>
                    <a:pt x="792" y="1823"/>
                  </a:lnTo>
                  <a:lnTo>
                    <a:pt x="790" y="1819"/>
                  </a:lnTo>
                  <a:lnTo>
                    <a:pt x="786" y="1817"/>
                  </a:lnTo>
                  <a:lnTo>
                    <a:pt x="784" y="1815"/>
                  </a:lnTo>
                  <a:lnTo>
                    <a:pt x="782" y="1813"/>
                  </a:lnTo>
                  <a:lnTo>
                    <a:pt x="781" y="1806"/>
                  </a:lnTo>
                  <a:lnTo>
                    <a:pt x="779" y="1798"/>
                  </a:lnTo>
                  <a:lnTo>
                    <a:pt x="775" y="1796"/>
                  </a:lnTo>
                  <a:lnTo>
                    <a:pt x="773" y="1794"/>
                  </a:lnTo>
                  <a:lnTo>
                    <a:pt x="771" y="1790"/>
                  </a:lnTo>
                  <a:lnTo>
                    <a:pt x="767" y="1788"/>
                  </a:lnTo>
                  <a:lnTo>
                    <a:pt x="765" y="1787"/>
                  </a:lnTo>
                  <a:lnTo>
                    <a:pt x="763" y="1785"/>
                  </a:lnTo>
                  <a:lnTo>
                    <a:pt x="759" y="1777"/>
                  </a:lnTo>
                  <a:lnTo>
                    <a:pt x="757" y="1769"/>
                  </a:lnTo>
                  <a:lnTo>
                    <a:pt x="756" y="1767"/>
                  </a:lnTo>
                  <a:lnTo>
                    <a:pt x="754" y="1763"/>
                  </a:lnTo>
                  <a:lnTo>
                    <a:pt x="752" y="1762"/>
                  </a:lnTo>
                  <a:lnTo>
                    <a:pt x="748" y="1760"/>
                  </a:lnTo>
                  <a:lnTo>
                    <a:pt x="746" y="1758"/>
                  </a:lnTo>
                  <a:lnTo>
                    <a:pt x="744" y="1756"/>
                  </a:lnTo>
                  <a:lnTo>
                    <a:pt x="740" y="1752"/>
                  </a:lnTo>
                  <a:lnTo>
                    <a:pt x="738" y="1750"/>
                  </a:lnTo>
                  <a:lnTo>
                    <a:pt x="736" y="1748"/>
                  </a:lnTo>
                  <a:lnTo>
                    <a:pt x="734" y="1746"/>
                  </a:lnTo>
                  <a:lnTo>
                    <a:pt x="727" y="1739"/>
                  </a:lnTo>
                  <a:lnTo>
                    <a:pt x="719" y="1731"/>
                  </a:lnTo>
                  <a:lnTo>
                    <a:pt x="717" y="1729"/>
                  </a:lnTo>
                  <a:lnTo>
                    <a:pt x="715" y="1725"/>
                  </a:lnTo>
                  <a:lnTo>
                    <a:pt x="711" y="1723"/>
                  </a:lnTo>
                  <a:lnTo>
                    <a:pt x="710" y="1721"/>
                  </a:lnTo>
                  <a:lnTo>
                    <a:pt x="708" y="1719"/>
                  </a:lnTo>
                  <a:lnTo>
                    <a:pt x="706" y="1716"/>
                  </a:lnTo>
                  <a:lnTo>
                    <a:pt x="702" y="1714"/>
                  </a:lnTo>
                  <a:lnTo>
                    <a:pt x="700" y="1712"/>
                  </a:lnTo>
                  <a:lnTo>
                    <a:pt x="698" y="1710"/>
                  </a:lnTo>
                  <a:lnTo>
                    <a:pt x="696" y="1706"/>
                  </a:lnTo>
                  <a:lnTo>
                    <a:pt x="692" y="1704"/>
                  </a:lnTo>
                  <a:lnTo>
                    <a:pt x="690" y="1702"/>
                  </a:lnTo>
                  <a:lnTo>
                    <a:pt x="688" y="1698"/>
                  </a:lnTo>
                  <a:lnTo>
                    <a:pt x="686" y="1696"/>
                  </a:lnTo>
                  <a:lnTo>
                    <a:pt x="683" y="1685"/>
                  </a:lnTo>
                  <a:lnTo>
                    <a:pt x="681" y="1673"/>
                  </a:lnTo>
                  <a:lnTo>
                    <a:pt x="679" y="1669"/>
                  </a:lnTo>
                  <a:lnTo>
                    <a:pt x="675" y="1668"/>
                  </a:lnTo>
                  <a:lnTo>
                    <a:pt x="671" y="1668"/>
                  </a:lnTo>
                  <a:lnTo>
                    <a:pt x="665" y="1668"/>
                  </a:lnTo>
                  <a:lnTo>
                    <a:pt x="663" y="1669"/>
                  </a:lnTo>
                  <a:lnTo>
                    <a:pt x="662" y="1673"/>
                  </a:lnTo>
                  <a:lnTo>
                    <a:pt x="660" y="1675"/>
                  </a:lnTo>
                  <a:lnTo>
                    <a:pt x="658" y="1677"/>
                  </a:lnTo>
                  <a:lnTo>
                    <a:pt x="654" y="1679"/>
                  </a:lnTo>
                  <a:lnTo>
                    <a:pt x="652" y="1683"/>
                  </a:lnTo>
                  <a:lnTo>
                    <a:pt x="648" y="1685"/>
                  </a:lnTo>
                  <a:lnTo>
                    <a:pt x="646" y="1687"/>
                  </a:lnTo>
                  <a:lnTo>
                    <a:pt x="644" y="1689"/>
                  </a:lnTo>
                  <a:lnTo>
                    <a:pt x="642" y="1693"/>
                  </a:lnTo>
                  <a:lnTo>
                    <a:pt x="637" y="1693"/>
                  </a:lnTo>
                  <a:lnTo>
                    <a:pt x="633" y="1693"/>
                  </a:lnTo>
                  <a:lnTo>
                    <a:pt x="631" y="1689"/>
                  </a:lnTo>
                  <a:lnTo>
                    <a:pt x="627" y="1687"/>
                  </a:lnTo>
                  <a:lnTo>
                    <a:pt x="625" y="1685"/>
                  </a:lnTo>
                  <a:lnTo>
                    <a:pt x="623" y="1683"/>
                  </a:lnTo>
                  <a:lnTo>
                    <a:pt x="619" y="1679"/>
                  </a:lnTo>
                  <a:lnTo>
                    <a:pt x="617" y="1677"/>
                  </a:lnTo>
                  <a:lnTo>
                    <a:pt x="616" y="1669"/>
                  </a:lnTo>
                  <a:lnTo>
                    <a:pt x="614" y="1664"/>
                  </a:lnTo>
                  <a:lnTo>
                    <a:pt x="610" y="1660"/>
                  </a:lnTo>
                  <a:lnTo>
                    <a:pt x="608" y="1658"/>
                  </a:lnTo>
                  <a:lnTo>
                    <a:pt x="606" y="1656"/>
                  </a:lnTo>
                  <a:lnTo>
                    <a:pt x="604" y="1654"/>
                  </a:lnTo>
                  <a:lnTo>
                    <a:pt x="600" y="1650"/>
                  </a:lnTo>
                  <a:lnTo>
                    <a:pt x="598" y="1648"/>
                  </a:lnTo>
                  <a:lnTo>
                    <a:pt x="596" y="1646"/>
                  </a:lnTo>
                  <a:lnTo>
                    <a:pt x="594" y="1645"/>
                  </a:lnTo>
                  <a:lnTo>
                    <a:pt x="591" y="1641"/>
                  </a:lnTo>
                  <a:lnTo>
                    <a:pt x="589" y="1639"/>
                  </a:lnTo>
                  <a:lnTo>
                    <a:pt x="581" y="1637"/>
                  </a:lnTo>
                  <a:lnTo>
                    <a:pt x="575" y="1635"/>
                  </a:lnTo>
                  <a:lnTo>
                    <a:pt x="571" y="1631"/>
                  </a:lnTo>
                  <a:lnTo>
                    <a:pt x="569" y="1629"/>
                  </a:lnTo>
                  <a:lnTo>
                    <a:pt x="560" y="1629"/>
                  </a:lnTo>
                  <a:lnTo>
                    <a:pt x="550" y="1629"/>
                  </a:lnTo>
                  <a:lnTo>
                    <a:pt x="548" y="1631"/>
                  </a:lnTo>
                  <a:lnTo>
                    <a:pt x="546" y="1635"/>
                  </a:lnTo>
                  <a:lnTo>
                    <a:pt x="533" y="1637"/>
                  </a:lnTo>
                  <a:lnTo>
                    <a:pt x="521" y="1639"/>
                  </a:lnTo>
                  <a:lnTo>
                    <a:pt x="520" y="1641"/>
                  </a:lnTo>
                  <a:lnTo>
                    <a:pt x="516" y="1645"/>
                  </a:lnTo>
                  <a:lnTo>
                    <a:pt x="514" y="1656"/>
                  </a:lnTo>
                  <a:lnTo>
                    <a:pt x="512" y="1668"/>
                  </a:lnTo>
                  <a:lnTo>
                    <a:pt x="510" y="1669"/>
                  </a:lnTo>
                  <a:lnTo>
                    <a:pt x="506" y="1673"/>
                  </a:lnTo>
                  <a:lnTo>
                    <a:pt x="504" y="1694"/>
                  </a:lnTo>
                  <a:lnTo>
                    <a:pt x="502" y="1716"/>
                  </a:lnTo>
                  <a:lnTo>
                    <a:pt x="498" y="1719"/>
                  </a:lnTo>
                  <a:lnTo>
                    <a:pt x="497" y="1721"/>
                  </a:lnTo>
                  <a:lnTo>
                    <a:pt x="495" y="1729"/>
                  </a:lnTo>
                  <a:lnTo>
                    <a:pt x="493" y="1735"/>
                  </a:lnTo>
                  <a:lnTo>
                    <a:pt x="489" y="1739"/>
                  </a:lnTo>
                  <a:lnTo>
                    <a:pt x="487" y="1740"/>
                  </a:lnTo>
                  <a:lnTo>
                    <a:pt x="485" y="1748"/>
                  </a:lnTo>
                  <a:lnTo>
                    <a:pt x="483" y="1756"/>
                  </a:lnTo>
                  <a:lnTo>
                    <a:pt x="479" y="1758"/>
                  </a:lnTo>
                  <a:lnTo>
                    <a:pt x="477" y="1760"/>
                  </a:lnTo>
                  <a:lnTo>
                    <a:pt x="475" y="1767"/>
                  </a:lnTo>
                  <a:lnTo>
                    <a:pt x="474" y="1775"/>
                  </a:lnTo>
                  <a:lnTo>
                    <a:pt x="470" y="1777"/>
                  </a:lnTo>
                  <a:lnTo>
                    <a:pt x="468" y="1779"/>
                  </a:lnTo>
                  <a:lnTo>
                    <a:pt x="466" y="1781"/>
                  </a:lnTo>
                  <a:lnTo>
                    <a:pt x="464" y="1785"/>
                  </a:lnTo>
                  <a:lnTo>
                    <a:pt x="460" y="1787"/>
                  </a:lnTo>
                  <a:lnTo>
                    <a:pt x="458" y="1788"/>
                  </a:lnTo>
                  <a:lnTo>
                    <a:pt x="452" y="1788"/>
                  </a:lnTo>
                  <a:lnTo>
                    <a:pt x="449" y="1788"/>
                  </a:lnTo>
                  <a:lnTo>
                    <a:pt x="447" y="1787"/>
                  </a:lnTo>
                  <a:lnTo>
                    <a:pt x="443" y="1785"/>
                  </a:lnTo>
                  <a:lnTo>
                    <a:pt x="441" y="1781"/>
                  </a:lnTo>
                  <a:lnTo>
                    <a:pt x="439" y="1779"/>
                  </a:lnTo>
                  <a:lnTo>
                    <a:pt x="437" y="1777"/>
                  </a:lnTo>
                  <a:lnTo>
                    <a:pt x="433" y="1775"/>
                  </a:lnTo>
                  <a:lnTo>
                    <a:pt x="429" y="1775"/>
                  </a:lnTo>
                  <a:lnTo>
                    <a:pt x="426" y="1775"/>
                  </a:lnTo>
                  <a:lnTo>
                    <a:pt x="422" y="1777"/>
                  </a:lnTo>
                  <a:lnTo>
                    <a:pt x="420" y="1779"/>
                  </a:lnTo>
                  <a:lnTo>
                    <a:pt x="412" y="1781"/>
                  </a:lnTo>
                  <a:lnTo>
                    <a:pt x="404" y="1785"/>
                  </a:lnTo>
                  <a:lnTo>
                    <a:pt x="403" y="1787"/>
                  </a:lnTo>
                  <a:lnTo>
                    <a:pt x="401" y="1788"/>
                  </a:lnTo>
                  <a:lnTo>
                    <a:pt x="399" y="1790"/>
                  </a:lnTo>
                  <a:lnTo>
                    <a:pt x="395" y="1794"/>
                  </a:lnTo>
                  <a:lnTo>
                    <a:pt x="393" y="1796"/>
                  </a:lnTo>
                  <a:lnTo>
                    <a:pt x="391" y="1798"/>
                  </a:lnTo>
                  <a:lnTo>
                    <a:pt x="389" y="1802"/>
                  </a:lnTo>
                  <a:lnTo>
                    <a:pt x="385" y="1804"/>
                  </a:lnTo>
                  <a:lnTo>
                    <a:pt x="383" y="1806"/>
                  </a:lnTo>
                  <a:lnTo>
                    <a:pt x="381" y="1808"/>
                  </a:lnTo>
                  <a:lnTo>
                    <a:pt x="378" y="1810"/>
                  </a:lnTo>
                  <a:lnTo>
                    <a:pt x="376" y="1813"/>
                  </a:lnTo>
                  <a:lnTo>
                    <a:pt x="374" y="1815"/>
                  </a:lnTo>
                  <a:lnTo>
                    <a:pt x="372" y="1817"/>
                  </a:lnTo>
                  <a:lnTo>
                    <a:pt x="368" y="1819"/>
                  </a:lnTo>
                  <a:lnTo>
                    <a:pt x="366" y="1823"/>
                  </a:lnTo>
                  <a:lnTo>
                    <a:pt x="364" y="1825"/>
                  </a:lnTo>
                  <a:lnTo>
                    <a:pt x="362" y="1827"/>
                  </a:lnTo>
                  <a:lnTo>
                    <a:pt x="355" y="1831"/>
                  </a:lnTo>
                  <a:lnTo>
                    <a:pt x="347" y="1833"/>
                  </a:lnTo>
                  <a:lnTo>
                    <a:pt x="345" y="1834"/>
                  </a:lnTo>
                  <a:lnTo>
                    <a:pt x="343" y="1836"/>
                  </a:lnTo>
                  <a:lnTo>
                    <a:pt x="337" y="1836"/>
                  </a:lnTo>
                  <a:lnTo>
                    <a:pt x="332" y="1836"/>
                  </a:lnTo>
                  <a:lnTo>
                    <a:pt x="330" y="1834"/>
                  </a:lnTo>
                  <a:lnTo>
                    <a:pt x="328" y="1833"/>
                  </a:lnTo>
                  <a:lnTo>
                    <a:pt x="326" y="1831"/>
                  </a:lnTo>
                  <a:lnTo>
                    <a:pt x="322" y="1827"/>
                  </a:lnTo>
                  <a:lnTo>
                    <a:pt x="320" y="1825"/>
                  </a:lnTo>
                  <a:lnTo>
                    <a:pt x="318" y="1823"/>
                  </a:lnTo>
                  <a:lnTo>
                    <a:pt x="318" y="1790"/>
                  </a:lnTo>
                  <a:lnTo>
                    <a:pt x="318" y="1760"/>
                  </a:lnTo>
                  <a:lnTo>
                    <a:pt x="318" y="1729"/>
                  </a:lnTo>
                  <a:lnTo>
                    <a:pt x="318" y="1696"/>
                  </a:lnTo>
                  <a:lnTo>
                    <a:pt x="320" y="1694"/>
                  </a:lnTo>
                  <a:lnTo>
                    <a:pt x="322" y="1693"/>
                  </a:lnTo>
                  <a:lnTo>
                    <a:pt x="326" y="1685"/>
                  </a:lnTo>
                  <a:lnTo>
                    <a:pt x="326" y="1673"/>
                  </a:lnTo>
                  <a:lnTo>
                    <a:pt x="326" y="1660"/>
                  </a:lnTo>
                  <a:lnTo>
                    <a:pt x="322" y="1654"/>
                  </a:lnTo>
                  <a:lnTo>
                    <a:pt x="320" y="1650"/>
                  </a:lnTo>
                  <a:lnTo>
                    <a:pt x="318" y="1648"/>
                  </a:lnTo>
                  <a:lnTo>
                    <a:pt x="310" y="1646"/>
                  </a:lnTo>
                  <a:lnTo>
                    <a:pt x="303" y="1645"/>
                  </a:lnTo>
                  <a:lnTo>
                    <a:pt x="301" y="1641"/>
                  </a:lnTo>
                  <a:lnTo>
                    <a:pt x="299" y="1639"/>
                  </a:lnTo>
                  <a:lnTo>
                    <a:pt x="295" y="1637"/>
                  </a:lnTo>
                  <a:lnTo>
                    <a:pt x="293" y="1635"/>
                  </a:lnTo>
                  <a:lnTo>
                    <a:pt x="291" y="1631"/>
                  </a:lnTo>
                  <a:lnTo>
                    <a:pt x="289" y="1629"/>
                  </a:lnTo>
                  <a:lnTo>
                    <a:pt x="287" y="1627"/>
                  </a:lnTo>
                  <a:lnTo>
                    <a:pt x="284" y="1625"/>
                  </a:lnTo>
                  <a:lnTo>
                    <a:pt x="282" y="1622"/>
                  </a:lnTo>
                  <a:lnTo>
                    <a:pt x="280" y="1620"/>
                  </a:lnTo>
                  <a:lnTo>
                    <a:pt x="278" y="1593"/>
                  </a:lnTo>
                  <a:lnTo>
                    <a:pt x="274" y="1566"/>
                  </a:lnTo>
                  <a:lnTo>
                    <a:pt x="272" y="1564"/>
                  </a:lnTo>
                  <a:lnTo>
                    <a:pt x="270" y="1562"/>
                  </a:lnTo>
                  <a:lnTo>
                    <a:pt x="262" y="1558"/>
                  </a:lnTo>
                  <a:lnTo>
                    <a:pt x="255" y="1556"/>
                  </a:lnTo>
                  <a:lnTo>
                    <a:pt x="253" y="1554"/>
                  </a:lnTo>
                  <a:lnTo>
                    <a:pt x="251" y="1552"/>
                  </a:lnTo>
                  <a:lnTo>
                    <a:pt x="247" y="1545"/>
                  </a:lnTo>
                  <a:lnTo>
                    <a:pt x="245" y="1537"/>
                  </a:lnTo>
                  <a:lnTo>
                    <a:pt x="243" y="1535"/>
                  </a:lnTo>
                  <a:lnTo>
                    <a:pt x="241" y="1531"/>
                  </a:lnTo>
                  <a:lnTo>
                    <a:pt x="238" y="1520"/>
                  </a:lnTo>
                  <a:lnTo>
                    <a:pt x="236" y="1508"/>
                  </a:lnTo>
                  <a:lnTo>
                    <a:pt x="234" y="1506"/>
                  </a:lnTo>
                  <a:lnTo>
                    <a:pt x="232" y="1503"/>
                  </a:lnTo>
                  <a:lnTo>
                    <a:pt x="228" y="1497"/>
                  </a:lnTo>
                  <a:lnTo>
                    <a:pt x="226" y="1489"/>
                  </a:lnTo>
                  <a:lnTo>
                    <a:pt x="224" y="1487"/>
                  </a:lnTo>
                  <a:lnTo>
                    <a:pt x="222" y="1483"/>
                  </a:lnTo>
                  <a:lnTo>
                    <a:pt x="218" y="1481"/>
                  </a:lnTo>
                  <a:lnTo>
                    <a:pt x="216" y="1480"/>
                  </a:lnTo>
                  <a:lnTo>
                    <a:pt x="215" y="1478"/>
                  </a:lnTo>
                  <a:lnTo>
                    <a:pt x="211" y="1474"/>
                  </a:lnTo>
                  <a:lnTo>
                    <a:pt x="199" y="1472"/>
                  </a:lnTo>
                  <a:lnTo>
                    <a:pt x="188" y="1470"/>
                  </a:lnTo>
                  <a:lnTo>
                    <a:pt x="186" y="1466"/>
                  </a:lnTo>
                  <a:lnTo>
                    <a:pt x="182" y="1464"/>
                  </a:lnTo>
                  <a:lnTo>
                    <a:pt x="182" y="1460"/>
                  </a:lnTo>
                  <a:lnTo>
                    <a:pt x="182" y="1455"/>
                  </a:lnTo>
                  <a:lnTo>
                    <a:pt x="186" y="1453"/>
                  </a:lnTo>
                  <a:lnTo>
                    <a:pt x="188" y="1451"/>
                  </a:lnTo>
                  <a:lnTo>
                    <a:pt x="188" y="1445"/>
                  </a:lnTo>
                  <a:lnTo>
                    <a:pt x="188" y="1441"/>
                  </a:lnTo>
                  <a:lnTo>
                    <a:pt x="186" y="1437"/>
                  </a:lnTo>
                  <a:lnTo>
                    <a:pt x="182" y="1435"/>
                  </a:lnTo>
                  <a:lnTo>
                    <a:pt x="178" y="1432"/>
                  </a:lnTo>
                  <a:lnTo>
                    <a:pt x="168" y="1428"/>
                  </a:lnTo>
                  <a:lnTo>
                    <a:pt x="151" y="1426"/>
                  </a:lnTo>
                  <a:lnTo>
                    <a:pt x="120" y="1422"/>
                  </a:lnTo>
                  <a:lnTo>
                    <a:pt x="117" y="1418"/>
                  </a:lnTo>
                  <a:lnTo>
                    <a:pt x="115" y="1416"/>
                  </a:lnTo>
                  <a:lnTo>
                    <a:pt x="96" y="1414"/>
                  </a:lnTo>
                  <a:lnTo>
                    <a:pt x="76" y="1412"/>
                  </a:lnTo>
                  <a:lnTo>
                    <a:pt x="76" y="1389"/>
                  </a:lnTo>
                  <a:lnTo>
                    <a:pt x="76" y="1368"/>
                  </a:lnTo>
                  <a:lnTo>
                    <a:pt x="78" y="1366"/>
                  </a:lnTo>
                  <a:lnTo>
                    <a:pt x="82" y="1364"/>
                  </a:lnTo>
                  <a:lnTo>
                    <a:pt x="84" y="1357"/>
                  </a:lnTo>
                  <a:lnTo>
                    <a:pt x="86" y="1349"/>
                  </a:lnTo>
                  <a:lnTo>
                    <a:pt x="88" y="1345"/>
                  </a:lnTo>
                  <a:lnTo>
                    <a:pt x="90" y="1343"/>
                  </a:lnTo>
                  <a:lnTo>
                    <a:pt x="94" y="1341"/>
                  </a:lnTo>
                  <a:lnTo>
                    <a:pt x="94" y="1334"/>
                  </a:lnTo>
                  <a:lnTo>
                    <a:pt x="94" y="1328"/>
                  </a:lnTo>
                  <a:lnTo>
                    <a:pt x="90" y="1324"/>
                  </a:lnTo>
                  <a:lnTo>
                    <a:pt x="88" y="1322"/>
                  </a:lnTo>
                  <a:lnTo>
                    <a:pt x="86" y="1320"/>
                  </a:lnTo>
                  <a:lnTo>
                    <a:pt x="84" y="1313"/>
                  </a:lnTo>
                  <a:lnTo>
                    <a:pt x="82" y="1305"/>
                  </a:lnTo>
                  <a:lnTo>
                    <a:pt x="78" y="1303"/>
                  </a:lnTo>
                  <a:lnTo>
                    <a:pt x="76" y="1299"/>
                  </a:lnTo>
                  <a:lnTo>
                    <a:pt x="74" y="1293"/>
                  </a:lnTo>
                  <a:lnTo>
                    <a:pt x="73" y="1286"/>
                  </a:lnTo>
                  <a:lnTo>
                    <a:pt x="69" y="1284"/>
                  </a:lnTo>
                  <a:lnTo>
                    <a:pt x="67" y="1282"/>
                  </a:lnTo>
                  <a:lnTo>
                    <a:pt x="63" y="1278"/>
                  </a:lnTo>
                  <a:lnTo>
                    <a:pt x="61" y="1276"/>
                  </a:lnTo>
                  <a:lnTo>
                    <a:pt x="59" y="1274"/>
                  </a:lnTo>
                  <a:lnTo>
                    <a:pt x="57" y="1270"/>
                  </a:lnTo>
                  <a:lnTo>
                    <a:pt x="55" y="1249"/>
                  </a:lnTo>
                  <a:lnTo>
                    <a:pt x="51" y="1228"/>
                  </a:lnTo>
                  <a:lnTo>
                    <a:pt x="50" y="1226"/>
                  </a:lnTo>
                  <a:lnTo>
                    <a:pt x="48" y="1222"/>
                  </a:lnTo>
                  <a:lnTo>
                    <a:pt x="40" y="1220"/>
                  </a:lnTo>
                  <a:lnTo>
                    <a:pt x="32" y="1219"/>
                  </a:lnTo>
                  <a:lnTo>
                    <a:pt x="30" y="1217"/>
                  </a:lnTo>
                  <a:lnTo>
                    <a:pt x="28" y="1213"/>
                  </a:lnTo>
                  <a:lnTo>
                    <a:pt x="28" y="1209"/>
                  </a:lnTo>
                  <a:lnTo>
                    <a:pt x="28" y="1203"/>
                  </a:lnTo>
                  <a:lnTo>
                    <a:pt x="30" y="1201"/>
                  </a:lnTo>
                  <a:lnTo>
                    <a:pt x="32" y="1199"/>
                  </a:lnTo>
                  <a:lnTo>
                    <a:pt x="34" y="1192"/>
                  </a:lnTo>
                  <a:lnTo>
                    <a:pt x="38" y="1184"/>
                  </a:lnTo>
                  <a:lnTo>
                    <a:pt x="40" y="1182"/>
                  </a:lnTo>
                  <a:lnTo>
                    <a:pt x="42" y="1180"/>
                  </a:lnTo>
                  <a:lnTo>
                    <a:pt x="46" y="1165"/>
                  </a:lnTo>
                  <a:lnTo>
                    <a:pt x="46" y="1132"/>
                  </a:lnTo>
                  <a:lnTo>
                    <a:pt x="46" y="1098"/>
                  </a:lnTo>
                  <a:lnTo>
                    <a:pt x="42" y="1082"/>
                  </a:lnTo>
                  <a:lnTo>
                    <a:pt x="40" y="1080"/>
                  </a:lnTo>
                  <a:lnTo>
                    <a:pt x="38" y="1079"/>
                  </a:lnTo>
                  <a:lnTo>
                    <a:pt x="36" y="1071"/>
                  </a:lnTo>
                  <a:lnTo>
                    <a:pt x="32" y="1063"/>
                  </a:lnTo>
                  <a:lnTo>
                    <a:pt x="26" y="1055"/>
                  </a:lnTo>
                  <a:lnTo>
                    <a:pt x="21" y="1048"/>
                  </a:lnTo>
                  <a:lnTo>
                    <a:pt x="21" y="1040"/>
                  </a:lnTo>
                  <a:lnTo>
                    <a:pt x="17" y="1036"/>
                  </a:lnTo>
                  <a:lnTo>
                    <a:pt x="9" y="1036"/>
                  </a:lnTo>
                  <a:lnTo>
                    <a:pt x="7" y="1036"/>
                  </a:lnTo>
                  <a:lnTo>
                    <a:pt x="5" y="1032"/>
                  </a:lnTo>
                  <a:lnTo>
                    <a:pt x="7" y="1029"/>
                  </a:lnTo>
                  <a:lnTo>
                    <a:pt x="11" y="1021"/>
                  </a:lnTo>
                  <a:lnTo>
                    <a:pt x="13" y="1015"/>
                  </a:lnTo>
                  <a:lnTo>
                    <a:pt x="7" y="1015"/>
                  </a:lnTo>
                  <a:lnTo>
                    <a:pt x="5" y="1015"/>
                  </a:lnTo>
                  <a:lnTo>
                    <a:pt x="5" y="1013"/>
                  </a:lnTo>
                  <a:lnTo>
                    <a:pt x="7" y="1011"/>
                  </a:lnTo>
                  <a:lnTo>
                    <a:pt x="11" y="1009"/>
                  </a:lnTo>
                  <a:lnTo>
                    <a:pt x="11" y="1008"/>
                  </a:lnTo>
                  <a:lnTo>
                    <a:pt x="5" y="1006"/>
                  </a:lnTo>
                  <a:lnTo>
                    <a:pt x="2" y="1006"/>
                  </a:lnTo>
                  <a:lnTo>
                    <a:pt x="0" y="1004"/>
                  </a:lnTo>
                  <a:lnTo>
                    <a:pt x="2" y="1004"/>
                  </a:lnTo>
                  <a:lnTo>
                    <a:pt x="3" y="1000"/>
                  </a:lnTo>
                  <a:lnTo>
                    <a:pt x="3" y="996"/>
                  </a:lnTo>
                  <a:lnTo>
                    <a:pt x="2" y="994"/>
                  </a:lnTo>
                  <a:lnTo>
                    <a:pt x="0" y="990"/>
                  </a:lnTo>
                  <a:lnTo>
                    <a:pt x="3" y="986"/>
                  </a:lnTo>
                  <a:lnTo>
                    <a:pt x="9" y="981"/>
                  </a:lnTo>
                  <a:lnTo>
                    <a:pt x="11" y="979"/>
                  </a:lnTo>
                  <a:lnTo>
                    <a:pt x="13" y="977"/>
                  </a:lnTo>
                  <a:lnTo>
                    <a:pt x="21" y="969"/>
                  </a:lnTo>
                  <a:lnTo>
                    <a:pt x="28" y="961"/>
                  </a:lnTo>
                  <a:lnTo>
                    <a:pt x="30" y="960"/>
                  </a:lnTo>
                  <a:lnTo>
                    <a:pt x="32" y="958"/>
                  </a:lnTo>
                  <a:lnTo>
                    <a:pt x="34" y="954"/>
                  </a:lnTo>
                  <a:lnTo>
                    <a:pt x="38" y="952"/>
                  </a:lnTo>
                  <a:lnTo>
                    <a:pt x="40" y="950"/>
                  </a:lnTo>
                  <a:lnTo>
                    <a:pt x="42" y="948"/>
                  </a:lnTo>
                  <a:lnTo>
                    <a:pt x="55" y="944"/>
                  </a:lnTo>
                  <a:lnTo>
                    <a:pt x="67" y="942"/>
                  </a:lnTo>
                  <a:lnTo>
                    <a:pt x="69" y="940"/>
                  </a:lnTo>
                  <a:lnTo>
                    <a:pt x="73" y="938"/>
                  </a:lnTo>
                  <a:lnTo>
                    <a:pt x="73" y="927"/>
                  </a:lnTo>
                  <a:lnTo>
                    <a:pt x="73" y="917"/>
                  </a:lnTo>
                  <a:lnTo>
                    <a:pt x="69" y="915"/>
                  </a:lnTo>
                  <a:lnTo>
                    <a:pt x="67" y="913"/>
                  </a:lnTo>
                  <a:lnTo>
                    <a:pt x="67" y="898"/>
                  </a:lnTo>
                  <a:lnTo>
                    <a:pt x="67" y="885"/>
                  </a:lnTo>
                  <a:lnTo>
                    <a:pt x="69" y="881"/>
                  </a:lnTo>
                  <a:lnTo>
                    <a:pt x="73" y="879"/>
                  </a:lnTo>
                  <a:lnTo>
                    <a:pt x="74" y="871"/>
                  </a:lnTo>
                  <a:lnTo>
                    <a:pt x="76" y="866"/>
                  </a:lnTo>
                  <a:lnTo>
                    <a:pt x="78" y="862"/>
                  </a:lnTo>
                  <a:lnTo>
                    <a:pt x="82" y="860"/>
                  </a:lnTo>
                  <a:lnTo>
                    <a:pt x="84" y="848"/>
                  </a:lnTo>
                  <a:lnTo>
                    <a:pt x="86" y="837"/>
                  </a:lnTo>
                  <a:lnTo>
                    <a:pt x="88" y="833"/>
                  </a:lnTo>
                  <a:lnTo>
                    <a:pt x="90" y="831"/>
                  </a:lnTo>
                  <a:lnTo>
                    <a:pt x="94" y="829"/>
                  </a:lnTo>
                  <a:lnTo>
                    <a:pt x="96" y="827"/>
                  </a:lnTo>
                  <a:lnTo>
                    <a:pt x="97" y="823"/>
                  </a:lnTo>
                  <a:lnTo>
                    <a:pt x="101" y="821"/>
                  </a:lnTo>
                  <a:lnTo>
                    <a:pt x="103" y="819"/>
                  </a:lnTo>
                  <a:lnTo>
                    <a:pt x="105" y="818"/>
                  </a:lnTo>
                  <a:lnTo>
                    <a:pt x="107" y="814"/>
                  </a:lnTo>
                  <a:lnTo>
                    <a:pt x="111" y="812"/>
                  </a:lnTo>
                  <a:lnTo>
                    <a:pt x="117" y="810"/>
                  </a:lnTo>
                  <a:lnTo>
                    <a:pt x="124" y="808"/>
                  </a:lnTo>
                  <a:lnTo>
                    <a:pt x="126" y="804"/>
                  </a:lnTo>
                  <a:lnTo>
                    <a:pt x="130" y="802"/>
                  </a:lnTo>
                  <a:lnTo>
                    <a:pt x="130" y="796"/>
                  </a:lnTo>
                  <a:lnTo>
                    <a:pt x="130" y="793"/>
                  </a:lnTo>
                  <a:lnTo>
                    <a:pt x="126" y="791"/>
                  </a:lnTo>
                  <a:lnTo>
                    <a:pt x="124" y="789"/>
                  </a:lnTo>
                  <a:lnTo>
                    <a:pt x="122" y="785"/>
                  </a:lnTo>
                  <a:lnTo>
                    <a:pt x="120" y="783"/>
                  </a:lnTo>
                  <a:lnTo>
                    <a:pt x="117" y="781"/>
                  </a:lnTo>
                  <a:lnTo>
                    <a:pt x="115" y="779"/>
                  </a:lnTo>
                  <a:lnTo>
                    <a:pt x="113" y="775"/>
                  </a:lnTo>
                  <a:lnTo>
                    <a:pt x="111" y="773"/>
                  </a:lnTo>
                  <a:lnTo>
                    <a:pt x="107" y="770"/>
                  </a:lnTo>
                  <a:lnTo>
                    <a:pt x="105" y="768"/>
                  </a:lnTo>
                  <a:lnTo>
                    <a:pt x="103" y="750"/>
                  </a:lnTo>
                  <a:lnTo>
                    <a:pt x="101" y="735"/>
                  </a:lnTo>
                  <a:lnTo>
                    <a:pt x="97" y="731"/>
                  </a:lnTo>
                  <a:lnTo>
                    <a:pt x="96" y="729"/>
                  </a:lnTo>
                  <a:lnTo>
                    <a:pt x="94" y="727"/>
                  </a:lnTo>
                  <a:lnTo>
                    <a:pt x="90" y="725"/>
                  </a:lnTo>
                  <a:lnTo>
                    <a:pt x="88" y="722"/>
                  </a:lnTo>
                  <a:lnTo>
                    <a:pt x="86" y="720"/>
                  </a:lnTo>
                  <a:lnTo>
                    <a:pt x="84" y="718"/>
                  </a:lnTo>
                  <a:lnTo>
                    <a:pt x="82" y="716"/>
                  </a:lnTo>
                  <a:lnTo>
                    <a:pt x="78" y="712"/>
                  </a:lnTo>
                  <a:lnTo>
                    <a:pt x="76" y="710"/>
                  </a:lnTo>
                  <a:lnTo>
                    <a:pt x="74" y="708"/>
                  </a:lnTo>
                  <a:lnTo>
                    <a:pt x="73" y="706"/>
                  </a:lnTo>
                  <a:lnTo>
                    <a:pt x="69" y="702"/>
                  </a:lnTo>
                  <a:lnTo>
                    <a:pt x="67" y="701"/>
                  </a:lnTo>
                  <a:lnTo>
                    <a:pt x="63" y="693"/>
                  </a:lnTo>
                  <a:lnTo>
                    <a:pt x="61" y="685"/>
                  </a:lnTo>
                  <a:lnTo>
                    <a:pt x="59" y="683"/>
                  </a:lnTo>
                  <a:lnTo>
                    <a:pt x="57" y="681"/>
                  </a:lnTo>
                  <a:lnTo>
                    <a:pt x="55" y="679"/>
                  </a:lnTo>
                  <a:lnTo>
                    <a:pt x="51" y="676"/>
                  </a:lnTo>
                  <a:lnTo>
                    <a:pt x="50" y="674"/>
                  </a:lnTo>
                  <a:lnTo>
                    <a:pt x="48" y="672"/>
                  </a:lnTo>
                  <a:lnTo>
                    <a:pt x="46" y="670"/>
                  </a:lnTo>
                  <a:lnTo>
                    <a:pt x="42" y="668"/>
                  </a:lnTo>
                  <a:lnTo>
                    <a:pt x="40" y="664"/>
                  </a:lnTo>
                  <a:lnTo>
                    <a:pt x="38" y="662"/>
                  </a:lnTo>
                  <a:lnTo>
                    <a:pt x="34" y="654"/>
                  </a:lnTo>
                  <a:lnTo>
                    <a:pt x="32" y="647"/>
                  </a:lnTo>
                  <a:lnTo>
                    <a:pt x="30" y="645"/>
                  </a:lnTo>
                  <a:lnTo>
                    <a:pt x="28" y="643"/>
                  </a:lnTo>
                  <a:lnTo>
                    <a:pt x="25" y="641"/>
                  </a:lnTo>
                  <a:lnTo>
                    <a:pt x="23" y="637"/>
                  </a:lnTo>
                  <a:lnTo>
                    <a:pt x="21" y="635"/>
                  </a:lnTo>
                  <a:lnTo>
                    <a:pt x="19" y="633"/>
                  </a:lnTo>
                  <a:lnTo>
                    <a:pt x="19" y="616"/>
                  </a:lnTo>
                  <a:lnTo>
                    <a:pt x="19" y="599"/>
                  </a:lnTo>
                  <a:lnTo>
                    <a:pt x="23" y="593"/>
                  </a:lnTo>
                  <a:lnTo>
                    <a:pt x="28" y="589"/>
                  </a:lnTo>
                  <a:lnTo>
                    <a:pt x="28" y="585"/>
                  </a:lnTo>
                  <a:lnTo>
                    <a:pt x="28" y="580"/>
                  </a:lnTo>
                  <a:lnTo>
                    <a:pt x="32" y="576"/>
                  </a:lnTo>
                  <a:lnTo>
                    <a:pt x="38" y="570"/>
                  </a:lnTo>
                  <a:lnTo>
                    <a:pt x="42" y="570"/>
                  </a:lnTo>
                  <a:lnTo>
                    <a:pt x="48" y="570"/>
                  </a:lnTo>
                  <a:lnTo>
                    <a:pt x="51" y="570"/>
                  </a:lnTo>
                  <a:lnTo>
                    <a:pt x="57" y="570"/>
                  </a:lnTo>
                  <a:lnTo>
                    <a:pt x="82" y="570"/>
                  </a:lnTo>
                  <a:lnTo>
                    <a:pt x="105" y="570"/>
                  </a:lnTo>
                  <a:lnTo>
                    <a:pt x="111" y="570"/>
                  </a:lnTo>
                  <a:lnTo>
                    <a:pt x="115" y="570"/>
                  </a:lnTo>
                  <a:lnTo>
                    <a:pt x="115" y="564"/>
                  </a:lnTo>
                  <a:lnTo>
                    <a:pt x="115" y="560"/>
                  </a:lnTo>
                  <a:lnTo>
                    <a:pt x="119" y="560"/>
                  </a:lnTo>
                  <a:lnTo>
                    <a:pt x="124" y="560"/>
                  </a:lnTo>
                  <a:lnTo>
                    <a:pt x="130" y="562"/>
                  </a:lnTo>
                  <a:lnTo>
                    <a:pt x="134" y="564"/>
                  </a:lnTo>
                  <a:lnTo>
                    <a:pt x="136" y="562"/>
                  </a:lnTo>
                  <a:lnTo>
                    <a:pt x="140" y="560"/>
                  </a:lnTo>
                  <a:lnTo>
                    <a:pt x="142" y="555"/>
                  </a:lnTo>
                  <a:lnTo>
                    <a:pt x="144" y="551"/>
                  </a:lnTo>
                  <a:lnTo>
                    <a:pt x="149" y="545"/>
                  </a:lnTo>
                  <a:lnTo>
                    <a:pt x="153" y="541"/>
                  </a:lnTo>
                  <a:lnTo>
                    <a:pt x="159" y="541"/>
                  </a:lnTo>
                  <a:lnTo>
                    <a:pt x="163" y="541"/>
                  </a:lnTo>
                  <a:lnTo>
                    <a:pt x="168" y="541"/>
                  </a:lnTo>
                  <a:lnTo>
                    <a:pt x="172" y="541"/>
                  </a:lnTo>
                  <a:lnTo>
                    <a:pt x="178" y="541"/>
                  </a:lnTo>
                  <a:lnTo>
                    <a:pt x="182" y="541"/>
                  </a:lnTo>
                  <a:lnTo>
                    <a:pt x="191" y="541"/>
                  </a:lnTo>
                  <a:lnTo>
                    <a:pt x="203" y="541"/>
                  </a:lnTo>
                  <a:lnTo>
                    <a:pt x="203" y="553"/>
                  </a:lnTo>
                  <a:lnTo>
                    <a:pt x="203" y="559"/>
                  </a:lnTo>
                  <a:lnTo>
                    <a:pt x="207" y="560"/>
                  </a:lnTo>
                  <a:lnTo>
                    <a:pt x="211" y="560"/>
                  </a:lnTo>
                  <a:lnTo>
                    <a:pt x="220" y="564"/>
                  </a:lnTo>
                  <a:lnTo>
                    <a:pt x="232" y="570"/>
                  </a:lnTo>
                  <a:lnTo>
                    <a:pt x="241" y="564"/>
                  </a:lnTo>
                  <a:lnTo>
                    <a:pt x="251" y="560"/>
                  </a:lnTo>
                  <a:lnTo>
                    <a:pt x="255" y="560"/>
                  </a:lnTo>
                  <a:lnTo>
                    <a:pt x="261" y="560"/>
                  </a:lnTo>
                  <a:lnTo>
                    <a:pt x="264" y="564"/>
                  </a:lnTo>
                  <a:lnTo>
                    <a:pt x="270" y="570"/>
                  </a:lnTo>
                  <a:lnTo>
                    <a:pt x="270" y="564"/>
                  </a:lnTo>
                  <a:lnTo>
                    <a:pt x="270" y="560"/>
                  </a:lnTo>
                  <a:lnTo>
                    <a:pt x="284" y="555"/>
                  </a:lnTo>
                  <a:lnTo>
                    <a:pt x="299" y="551"/>
                  </a:lnTo>
                  <a:lnTo>
                    <a:pt x="303" y="551"/>
                  </a:lnTo>
                  <a:lnTo>
                    <a:pt x="309" y="551"/>
                  </a:lnTo>
                  <a:lnTo>
                    <a:pt x="312" y="551"/>
                  </a:lnTo>
                  <a:lnTo>
                    <a:pt x="318" y="551"/>
                  </a:lnTo>
                  <a:lnTo>
                    <a:pt x="322" y="545"/>
                  </a:lnTo>
                  <a:lnTo>
                    <a:pt x="328" y="541"/>
                  </a:lnTo>
                  <a:lnTo>
                    <a:pt x="328" y="526"/>
                  </a:lnTo>
                  <a:lnTo>
                    <a:pt x="328" y="512"/>
                  </a:lnTo>
                  <a:lnTo>
                    <a:pt x="328" y="497"/>
                  </a:lnTo>
                  <a:lnTo>
                    <a:pt x="328" y="484"/>
                  </a:lnTo>
                  <a:lnTo>
                    <a:pt x="322" y="478"/>
                  </a:lnTo>
                  <a:lnTo>
                    <a:pt x="318" y="474"/>
                  </a:lnTo>
                  <a:lnTo>
                    <a:pt x="318" y="468"/>
                  </a:lnTo>
                  <a:lnTo>
                    <a:pt x="318" y="465"/>
                  </a:lnTo>
                  <a:lnTo>
                    <a:pt x="328" y="465"/>
                  </a:lnTo>
                  <a:lnTo>
                    <a:pt x="337" y="465"/>
                  </a:lnTo>
                  <a:lnTo>
                    <a:pt x="341" y="465"/>
                  </a:lnTo>
                  <a:lnTo>
                    <a:pt x="347" y="465"/>
                  </a:lnTo>
                  <a:lnTo>
                    <a:pt x="362" y="459"/>
                  </a:lnTo>
                  <a:lnTo>
                    <a:pt x="376" y="453"/>
                  </a:lnTo>
                  <a:lnTo>
                    <a:pt x="381" y="453"/>
                  </a:lnTo>
                  <a:lnTo>
                    <a:pt x="385" y="453"/>
                  </a:lnTo>
                  <a:lnTo>
                    <a:pt x="389" y="453"/>
                  </a:lnTo>
                  <a:lnTo>
                    <a:pt x="391" y="453"/>
                  </a:lnTo>
                  <a:lnTo>
                    <a:pt x="393" y="457"/>
                  </a:lnTo>
                  <a:lnTo>
                    <a:pt x="395" y="459"/>
                  </a:lnTo>
                  <a:lnTo>
                    <a:pt x="399" y="457"/>
                  </a:lnTo>
                  <a:lnTo>
                    <a:pt x="401" y="453"/>
                  </a:lnTo>
                  <a:lnTo>
                    <a:pt x="399" y="451"/>
                  </a:lnTo>
                  <a:lnTo>
                    <a:pt x="395" y="449"/>
                  </a:lnTo>
                  <a:lnTo>
                    <a:pt x="395" y="447"/>
                  </a:lnTo>
                  <a:lnTo>
                    <a:pt x="395" y="443"/>
                  </a:lnTo>
                  <a:lnTo>
                    <a:pt x="420" y="443"/>
                  </a:lnTo>
                  <a:lnTo>
                    <a:pt x="443" y="443"/>
                  </a:lnTo>
                  <a:lnTo>
                    <a:pt x="452" y="443"/>
                  </a:lnTo>
                  <a:lnTo>
                    <a:pt x="464" y="443"/>
                  </a:lnTo>
                  <a:lnTo>
                    <a:pt x="468" y="453"/>
                  </a:lnTo>
                  <a:lnTo>
                    <a:pt x="474" y="465"/>
                  </a:lnTo>
                  <a:lnTo>
                    <a:pt x="474" y="468"/>
                  </a:lnTo>
                  <a:lnTo>
                    <a:pt x="474" y="474"/>
                  </a:lnTo>
                  <a:lnTo>
                    <a:pt x="477" y="478"/>
                  </a:lnTo>
                  <a:lnTo>
                    <a:pt x="483" y="484"/>
                  </a:lnTo>
                  <a:lnTo>
                    <a:pt x="493" y="488"/>
                  </a:lnTo>
                  <a:lnTo>
                    <a:pt x="502" y="493"/>
                  </a:lnTo>
                  <a:lnTo>
                    <a:pt x="502" y="497"/>
                  </a:lnTo>
                  <a:lnTo>
                    <a:pt x="502" y="503"/>
                  </a:lnTo>
                  <a:lnTo>
                    <a:pt x="502" y="507"/>
                  </a:lnTo>
                  <a:lnTo>
                    <a:pt x="502" y="512"/>
                  </a:lnTo>
                  <a:lnTo>
                    <a:pt x="498" y="512"/>
                  </a:lnTo>
                  <a:lnTo>
                    <a:pt x="497" y="514"/>
                  </a:lnTo>
                  <a:lnTo>
                    <a:pt x="497" y="520"/>
                  </a:lnTo>
                  <a:lnTo>
                    <a:pt x="497" y="532"/>
                  </a:lnTo>
                  <a:lnTo>
                    <a:pt x="504" y="536"/>
                  </a:lnTo>
                  <a:lnTo>
                    <a:pt x="512" y="541"/>
                  </a:lnTo>
                  <a:lnTo>
                    <a:pt x="516" y="541"/>
                  </a:lnTo>
                  <a:lnTo>
                    <a:pt x="521" y="541"/>
                  </a:lnTo>
                  <a:lnTo>
                    <a:pt x="525" y="545"/>
                  </a:lnTo>
                  <a:lnTo>
                    <a:pt x="531" y="551"/>
                  </a:lnTo>
                  <a:lnTo>
                    <a:pt x="535" y="555"/>
                  </a:lnTo>
                  <a:lnTo>
                    <a:pt x="541" y="560"/>
                  </a:lnTo>
                  <a:lnTo>
                    <a:pt x="550" y="564"/>
                  </a:lnTo>
                  <a:lnTo>
                    <a:pt x="560" y="570"/>
                  </a:lnTo>
                  <a:lnTo>
                    <a:pt x="569" y="576"/>
                  </a:lnTo>
                  <a:lnTo>
                    <a:pt x="579" y="580"/>
                  </a:lnTo>
                  <a:lnTo>
                    <a:pt x="589" y="580"/>
                  </a:lnTo>
                  <a:lnTo>
                    <a:pt x="598" y="580"/>
                  </a:lnTo>
                  <a:lnTo>
                    <a:pt x="604" y="576"/>
                  </a:lnTo>
                  <a:lnTo>
                    <a:pt x="608" y="570"/>
                  </a:lnTo>
                  <a:lnTo>
                    <a:pt x="614" y="570"/>
                  </a:lnTo>
                  <a:lnTo>
                    <a:pt x="617" y="570"/>
                  </a:lnTo>
                  <a:lnTo>
                    <a:pt x="617" y="555"/>
                  </a:lnTo>
                  <a:lnTo>
                    <a:pt x="617" y="541"/>
                  </a:lnTo>
                  <a:lnTo>
                    <a:pt x="614" y="541"/>
                  </a:lnTo>
                  <a:lnTo>
                    <a:pt x="608" y="541"/>
                  </a:lnTo>
                  <a:lnTo>
                    <a:pt x="608" y="536"/>
                  </a:lnTo>
                  <a:lnTo>
                    <a:pt x="608" y="532"/>
                  </a:lnTo>
                  <a:lnTo>
                    <a:pt x="604" y="526"/>
                  </a:lnTo>
                  <a:lnTo>
                    <a:pt x="598" y="522"/>
                  </a:lnTo>
                  <a:lnTo>
                    <a:pt x="594" y="512"/>
                  </a:lnTo>
                  <a:lnTo>
                    <a:pt x="589" y="503"/>
                  </a:lnTo>
                  <a:lnTo>
                    <a:pt x="589" y="493"/>
                  </a:lnTo>
                  <a:lnTo>
                    <a:pt x="589" y="484"/>
                  </a:lnTo>
                  <a:lnTo>
                    <a:pt x="598" y="484"/>
                  </a:lnTo>
                  <a:lnTo>
                    <a:pt x="608" y="484"/>
                  </a:lnTo>
                  <a:lnTo>
                    <a:pt x="614" y="488"/>
                  </a:lnTo>
                  <a:lnTo>
                    <a:pt x="617" y="493"/>
                  </a:lnTo>
                  <a:lnTo>
                    <a:pt x="623" y="493"/>
                  </a:lnTo>
                  <a:lnTo>
                    <a:pt x="627" y="493"/>
                  </a:lnTo>
                  <a:lnTo>
                    <a:pt x="633" y="493"/>
                  </a:lnTo>
                  <a:lnTo>
                    <a:pt x="637" y="493"/>
                  </a:lnTo>
                  <a:lnTo>
                    <a:pt x="642" y="488"/>
                  </a:lnTo>
                  <a:lnTo>
                    <a:pt x="646" y="484"/>
                  </a:lnTo>
                  <a:lnTo>
                    <a:pt x="652" y="484"/>
                  </a:lnTo>
                  <a:lnTo>
                    <a:pt x="658" y="484"/>
                  </a:lnTo>
                  <a:lnTo>
                    <a:pt x="658" y="478"/>
                  </a:lnTo>
                  <a:lnTo>
                    <a:pt x="658" y="474"/>
                  </a:lnTo>
                  <a:lnTo>
                    <a:pt x="662" y="468"/>
                  </a:lnTo>
                  <a:lnTo>
                    <a:pt x="665" y="465"/>
                  </a:lnTo>
                  <a:lnTo>
                    <a:pt x="665" y="459"/>
                  </a:lnTo>
                  <a:lnTo>
                    <a:pt x="665" y="453"/>
                  </a:lnTo>
                  <a:lnTo>
                    <a:pt x="671" y="453"/>
                  </a:lnTo>
                  <a:lnTo>
                    <a:pt x="675" y="453"/>
                  </a:lnTo>
                  <a:lnTo>
                    <a:pt x="681" y="449"/>
                  </a:lnTo>
                  <a:lnTo>
                    <a:pt x="686" y="443"/>
                  </a:lnTo>
                  <a:lnTo>
                    <a:pt x="696" y="443"/>
                  </a:lnTo>
                  <a:lnTo>
                    <a:pt x="706" y="443"/>
                  </a:lnTo>
                  <a:lnTo>
                    <a:pt x="715" y="443"/>
                  </a:lnTo>
                  <a:lnTo>
                    <a:pt x="725" y="443"/>
                  </a:lnTo>
                  <a:lnTo>
                    <a:pt x="725" y="449"/>
                  </a:lnTo>
                  <a:lnTo>
                    <a:pt x="727" y="453"/>
                  </a:lnTo>
                  <a:lnTo>
                    <a:pt x="733" y="453"/>
                  </a:lnTo>
                  <a:lnTo>
                    <a:pt x="744" y="453"/>
                  </a:lnTo>
                  <a:lnTo>
                    <a:pt x="744" y="440"/>
                  </a:lnTo>
                  <a:lnTo>
                    <a:pt x="744" y="424"/>
                  </a:lnTo>
                  <a:lnTo>
                    <a:pt x="738" y="424"/>
                  </a:lnTo>
                  <a:lnTo>
                    <a:pt x="734" y="424"/>
                  </a:lnTo>
                  <a:lnTo>
                    <a:pt x="729" y="420"/>
                  </a:lnTo>
                  <a:lnTo>
                    <a:pt x="725" y="415"/>
                  </a:lnTo>
                  <a:lnTo>
                    <a:pt x="725" y="411"/>
                  </a:lnTo>
                  <a:lnTo>
                    <a:pt x="725" y="405"/>
                  </a:lnTo>
                  <a:lnTo>
                    <a:pt x="738" y="401"/>
                  </a:lnTo>
                  <a:lnTo>
                    <a:pt x="754" y="395"/>
                  </a:lnTo>
                  <a:lnTo>
                    <a:pt x="763" y="395"/>
                  </a:lnTo>
                  <a:lnTo>
                    <a:pt x="773" y="395"/>
                  </a:lnTo>
                  <a:lnTo>
                    <a:pt x="773" y="386"/>
                  </a:lnTo>
                  <a:lnTo>
                    <a:pt x="773" y="376"/>
                  </a:lnTo>
                  <a:lnTo>
                    <a:pt x="763" y="376"/>
                  </a:lnTo>
                  <a:lnTo>
                    <a:pt x="754" y="376"/>
                  </a:lnTo>
                  <a:lnTo>
                    <a:pt x="748" y="372"/>
                  </a:lnTo>
                  <a:lnTo>
                    <a:pt x="744" y="367"/>
                  </a:lnTo>
                  <a:lnTo>
                    <a:pt x="744" y="361"/>
                  </a:lnTo>
                  <a:lnTo>
                    <a:pt x="744" y="357"/>
                  </a:lnTo>
                  <a:lnTo>
                    <a:pt x="744" y="353"/>
                  </a:lnTo>
                  <a:lnTo>
                    <a:pt x="744" y="347"/>
                  </a:lnTo>
                  <a:lnTo>
                    <a:pt x="744" y="344"/>
                  </a:lnTo>
                  <a:lnTo>
                    <a:pt x="744" y="338"/>
                  </a:lnTo>
                  <a:lnTo>
                    <a:pt x="740" y="330"/>
                  </a:lnTo>
                  <a:lnTo>
                    <a:pt x="736" y="326"/>
                  </a:lnTo>
                  <a:lnTo>
                    <a:pt x="734" y="326"/>
                  </a:lnTo>
                  <a:lnTo>
                    <a:pt x="734" y="328"/>
                  </a:lnTo>
                  <a:lnTo>
                    <a:pt x="729" y="328"/>
                  </a:lnTo>
                  <a:lnTo>
                    <a:pt x="725" y="328"/>
                  </a:lnTo>
                  <a:lnTo>
                    <a:pt x="719" y="328"/>
                  </a:lnTo>
                  <a:lnTo>
                    <a:pt x="715" y="328"/>
                  </a:lnTo>
                  <a:lnTo>
                    <a:pt x="710" y="328"/>
                  </a:lnTo>
                  <a:lnTo>
                    <a:pt x="706" y="328"/>
                  </a:lnTo>
                  <a:lnTo>
                    <a:pt x="706" y="323"/>
                  </a:lnTo>
                  <a:lnTo>
                    <a:pt x="706" y="319"/>
                  </a:lnTo>
                  <a:lnTo>
                    <a:pt x="710" y="313"/>
                  </a:lnTo>
                  <a:lnTo>
                    <a:pt x="715" y="309"/>
                  </a:lnTo>
                  <a:lnTo>
                    <a:pt x="719" y="294"/>
                  </a:lnTo>
                  <a:lnTo>
                    <a:pt x="725" y="280"/>
                  </a:lnTo>
                  <a:lnTo>
                    <a:pt x="725" y="275"/>
                  </a:lnTo>
                  <a:lnTo>
                    <a:pt x="725" y="271"/>
                  </a:lnTo>
                  <a:lnTo>
                    <a:pt x="725" y="265"/>
                  </a:lnTo>
                  <a:lnTo>
                    <a:pt x="725" y="261"/>
                  </a:lnTo>
                  <a:lnTo>
                    <a:pt x="734" y="261"/>
                  </a:lnTo>
                  <a:lnTo>
                    <a:pt x="744" y="261"/>
                  </a:lnTo>
                  <a:lnTo>
                    <a:pt x="748" y="261"/>
                  </a:lnTo>
                  <a:lnTo>
                    <a:pt x="754" y="261"/>
                  </a:lnTo>
                  <a:lnTo>
                    <a:pt x="754" y="255"/>
                  </a:lnTo>
                  <a:lnTo>
                    <a:pt x="754" y="252"/>
                  </a:lnTo>
                  <a:lnTo>
                    <a:pt x="757" y="252"/>
                  </a:lnTo>
                  <a:lnTo>
                    <a:pt x="763" y="252"/>
                  </a:lnTo>
                  <a:lnTo>
                    <a:pt x="767" y="252"/>
                  </a:lnTo>
                  <a:lnTo>
                    <a:pt x="773" y="252"/>
                  </a:lnTo>
                  <a:lnTo>
                    <a:pt x="773" y="246"/>
                  </a:lnTo>
                  <a:lnTo>
                    <a:pt x="773" y="242"/>
                  </a:lnTo>
                  <a:lnTo>
                    <a:pt x="777" y="242"/>
                  </a:lnTo>
                  <a:lnTo>
                    <a:pt x="782" y="242"/>
                  </a:lnTo>
                  <a:lnTo>
                    <a:pt x="786" y="244"/>
                  </a:lnTo>
                  <a:lnTo>
                    <a:pt x="792" y="246"/>
                  </a:lnTo>
                  <a:lnTo>
                    <a:pt x="794" y="244"/>
                  </a:lnTo>
                  <a:lnTo>
                    <a:pt x="796" y="242"/>
                  </a:lnTo>
                  <a:lnTo>
                    <a:pt x="800" y="236"/>
                  </a:lnTo>
                  <a:lnTo>
                    <a:pt x="802" y="232"/>
                  </a:lnTo>
                  <a:lnTo>
                    <a:pt x="802" y="227"/>
                  </a:lnTo>
                  <a:lnTo>
                    <a:pt x="802" y="223"/>
                  </a:lnTo>
                  <a:lnTo>
                    <a:pt x="805" y="217"/>
                  </a:lnTo>
                  <a:lnTo>
                    <a:pt x="811" y="211"/>
                  </a:lnTo>
                  <a:lnTo>
                    <a:pt x="815" y="211"/>
                  </a:lnTo>
                  <a:lnTo>
                    <a:pt x="821" y="211"/>
                  </a:lnTo>
                  <a:lnTo>
                    <a:pt x="821" y="221"/>
                  </a:lnTo>
                  <a:lnTo>
                    <a:pt x="821" y="232"/>
                  </a:lnTo>
                  <a:lnTo>
                    <a:pt x="815" y="232"/>
                  </a:lnTo>
                  <a:lnTo>
                    <a:pt x="813" y="234"/>
                  </a:lnTo>
                  <a:lnTo>
                    <a:pt x="811" y="240"/>
                  </a:lnTo>
                  <a:lnTo>
                    <a:pt x="811" y="252"/>
                  </a:lnTo>
                  <a:lnTo>
                    <a:pt x="823" y="252"/>
                  </a:lnTo>
                  <a:lnTo>
                    <a:pt x="828" y="250"/>
                  </a:lnTo>
                  <a:lnTo>
                    <a:pt x="830" y="248"/>
                  </a:lnTo>
                  <a:lnTo>
                    <a:pt x="830" y="242"/>
                  </a:lnTo>
                  <a:lnTo>
                    <a:pt x="836" y="236"/>
                  </a:lnTo>
                  <a:lnTo>
                    <a:pt x="840" y="232"/>
                  </a:lnTo>
                  <a:lnTo>
                    <a:pt x="846" y="232"/>
                  </a:lnTo>
                  <a:lnTo>
                    <a:pt x="850" y="232"/>
                  </a:lnTo>
                  <a:lnTo>
                    <a:pt x="855" y="242"/>
                  </a:lnTo>
                  <a:lnTo>
                    <a:pt x="859" y="252"/>
                  </a:lnTo>
                  <a:lnTo>
                    <a:pt x="865" y="252"/>
                  </a:lnTo>
                  <a:lnTo>
                    <a:pt x="869" y="252"/>
                  </a:lnTo>
                  <a:lnTo>
                    <a:pt x="875" y="252"/>
                  </a:lnTo>
                  <a:lnTo>
                    <a:pt x="878" y="252"/>
                  </a:lnTo>
                  <a:lnTo>
                    <a:pt x="878" y="230"/>
                  </a:lnTo>
                  <a:lnTo>
                    <a:pt x="878" y="211"/>
                  </a:lnTo>
                  <a:lnTo>
                    <a:pt x="875" y="211"/>
                  </a:lnTo>
                  <a:lnTo>
                    <a:pt x="869" y="211"/>
                  </a:lnTo>
                  <a:lnTo>
                    <a:pt x="869" y="192"/>
                  </a:lnTo>
                  <a:lnTo>
                    <a:pt x="869" y="173"/>
                  </a:lnTo>
                  <a:lnTo>
                    <a:pt x="875" y="173"/>
                  </a:lnTo>
                  <a:lnTo>
                    <a:pt x="878" y="173"/>
                  </a:lnTo>
                  <a:lnTo>
                    <a:pt x="884" y="177"/>
                  </a:lnTo>
                  <a:lnTo>
                    <a:pt x="888" y="179"/>
                  </a:lnTo>
                  <a:lnTo>
                    <a:pt x="892" y="177"/>
                  </a:lnTo>
                  <a:lnTo>
                    <a:pt x="894" y="173"/>
                  </a:lnTo>
                  <a:lnTo>
                    <a:pt x="896" y="169"/>
                  </a:lnTo>
                  <a:lnTo>
                    <a:pt x="898" y="163"/>
                  </a:lnTo>
                  <a:lnTo>
                    <a:pt x="903" y="159"/>
                  </a:lnTo>
                  <a:lnTo>
                    <a:pt x="907" y="154"/>
                  </a:lnTo>
                  <a:lnTo>
                    <a:pt x="917" y="154"/>
                  </a:lnTo>
                  <a:lnTo>
                    <a:pt x="928" y="154"/>
                  </a:lnTo>
                  <a:lnTo>
                    <a:pt x="932" y="163"/>
                  </a:lnTo>
                  <a:lnTo>
                    <a:pt x="938" y="173"/>
                  </a:lnTo>
                  <a:lnTo>
                    <a:pt x="938" y="179"/>
                  </a:lnTo>
                  <a:lnTo>
                    <a:pt x="940" y="182"/>
                  </a:lnTo>
                  <a:lnTo>
                    <a:pt x="946" y="182"/>
                  </a:lnTo>
                  <a:lnTo>
                    <a:pt x="957" y="182"/>
                  </a:lnTo>
                  <a:lnTo>
                    <a:pt x="957" y="179"/>
                  </a:lnTo>
                  <a:lnTo>
                    <a:pt x="957" y="173"/>
                  </a:lnTo>
                  <a:lnTo>
                    <a:pt x="967" y="173"/>
                  </a:lnTo>
                  <a:lnTo>
                    <a:pt x="976" y="173"/>
                  </a:lnTo>
                  <a:lnTo>
                    <a:pt x="980" y="173"/>
                  </a:lnTo>
                  <a:lnTo>
                    <a:pt x="986" y="173"/>
                  </a:lnTo>
                  <a:lnTo>
                    <a:pt x="990" y="169"/>
                  </a:lnTo>
                  <a:lnTo>
                    <a:pt x="995" y="163"/>
                  </a:lnTo>
                  <a:lnTo>
                    <a:pt x="999" y="163"/>
                  </a:lnTo>
                  <a:lnTo>
                    <a:pt x="1005" y="163"/>
                  </a:lnTo>
                  <a:lnTo>
                    <a:pt x="1009" y="163"/>
                  </a:lnTo>
                  <a:lnTo>
                    <a:pt x="1015" y="163"/>
                  </a:lnTo>
                  <a:lnTo>
                    <a:pt x="1040" y="159"/>
                  </a:lnTo>
                  <a:lnTo>
                    <a:pt x="1063" y="154"/>
                  </a:lnTo>
                  <a:lnTo>
                    <a:pt x="1068" y="150"/>
                  </a:lnTo>
                  <a:lnTo>
                    <a:pt x="1072" y="144"/>
                  </a:lnTo>
                  <a:lnTo>
                    <a:pt x="1072" y="140"/>
                  </a:lnTo>
                  <a:lnTo>
                    <a:pt x="1072" y="134"/>
                  </a:lnTo>
                  <a:lnTo>
                    <a:pt x="1078" y="121"/>
                  </a:lnTo>
                  <a:lnTo>
                    <a:pt x="1082" y="106"/>
                  </a:lnTo>
                  <a:lnTo>
                    <a:pt x="1086" y="96"/>
                  </a:lnTo>
                  <a:lnTo>
                    <a:pt x="1091" y="87"/>
                  </a:lnTo>
                  <a:lnTo>
                    <a:pt x="1091" y="81"/>
                  </a:lnTo>
                  <a:lnTo>
                    <a:pt x="1091" y="77"/>
                  </a:lnTo>
                  <a:lnTo>
                    <a:pt x="1091" y="67"/>
                  </a:lnTo>
                  <a:lnTo>
                    <a:pt x="1091" y="58"/>
                  </a:lnTo>
                  <a:lnTo>
                    <a:pt x="1097" y="52"/>
                  </a:lnTo>
                  <a:lnTo>
                    <a:pt x="1101" y="48"/>
                  </a:lnTo>
                  <a:lnTo>
                    <a:pt x="1107" y="42"/>
                  </a:lnTo>
                  <a:lnTo>
                    <a:pt x="1111" y="39"/>
                  </a:lnTo>
                  <a:lnTo>
                    <a:pt x="1116" y="39"/>
                  </a:lnTo>
                  <a:lnTo>
                    <a:pt x="1120" y="39"/>
                  </a:lnTo>
                  <a:lnTo>
                    <a:pt x="1126" y="33"/>
                  </a:lnTo>
                  <a:lnTo>
                    <a:pt x="1130" y="29"/>
                  </a:lnTo>
                  <a:lnTo>
                    <a:pt x="1135" y="29"/>
                  </a:lnTo>
                  <a:lnTo>
                    <a:pt x="1139" y="29"/>
                  </a:lnTo>
                  <a:lnTo>
                    <a:pt x="1145" y="23"/>
                  </a:lnTo>
                  <a:lnTo>
                    <a:pt x="1149" y="19"/>
                  </a:lnTo>
                  <a:lnTo>
                    <a:pt x="1158" y="19"/>
                  </a:lnTo>
                  <a:lnTo>
                    <a:pt x="1170" y="19"/>
                  </a:lnTo>
                  <a:lnTo>
                    <a:pt x="1174" y="14"/>
                  </a:lnTo>
                  <a:lnTo>
                    <a:pt x="1178" y="10"/>
                  </a:lnTo>
                  <a:lnTo>
                    <a:pt x="1183" y="10"/>
                  </a:lnTo>
                  <a:lnTo>
                    <a:pt x="1189" y="10"/>
                  </a:lnTo>
                  <a:lnTo>
                    <a:pt x="1193" y="10"/>
                  </a:lnTo>
                  <a:lnTo>
                    <a:pt x="1199" y="10"/>
                  </a:lnTo>
                  <a:lnTo>
                    <a:pt x="1212" y="14"/>
                  </a:lnTo>
                  <a:lnTo>
                    <a:pt x="1228" y="19"/>
                  </a:lnTo>
                  <a:lnTo>
                    <a:pt x="1231" y="23"/>
                  </a:lnTo>
                  <a:lnTo>
                    <a:pt x="1237" y="29"/>
                  </a:lnTo>
                  <a:lnTo>
                    <a:pt x="1237" y="35"/>
                  </a:lnTo>
                  <a:lnTo>
                    <a:pt x="1239" y="37"/>
                  </a:lnTo>
                  <a:lnTo>
                    <a:pt x="1245" y="39"/>
                  </a:lnTo>
                  <a:lnTo>
                    <a:pt x="1256" y="39"/>
                  </a:lnTo>
                  <a:lnTo>
                    <a:pt x="1256" y="33"/>
                  </a:lnTo>
                  <a:lnTo>
                    <a:pt x="1256" y="29"/>
                  </a:lnTo>
                  <a:lnTo>
                    <a:pt x="1266" y="29"/>
                  </a:lnTo>
                  <a:lnTo>
                    <a:pt x="1276" y="29"/>
                  </a:lnTo>
                  <a:lnTo>
                    <a:pt x="1279" y="29"/>
                  </a:lnTo>
                  <a:lnTo>
                    <a:pt x="1285" y="29"/>
                  </a:lnTo>
                  <a:lnTo>
                    <a:pt x="1295" y="33"/>
                  </a:lnTo>
                  <a:lnTo>
                    <a:pt x="1304" y="39"/>
                  </a:lnTo>
                  <a:lnTo>
                    <a:pt x="1310" y="42"/>
                  </a:lnTo>
                  <a:lnTo>
                    <a:pt x="1314" y="48"/>
                  </a:lnTo>
                  <a:lnTo>
                    <a:pt x="1329" y="56"/>
                  </a:lnTo>
                  <a:lnTo>
                    <a:pt x="1347" y="65"/>
                  </a:lnTo>
                  <a:lnTo>
                    <a:pt x="1345" y="52"/>
                  </a:lnTo>
                  <a:lnTo>
                    <a:pt x="1343" y="39"/>
                  </a:lnTo>
                  <a:lnTo>
                    <a:pt x="1339" y="33"/>
                  </a:lnTo>
                  <a:lnTo>
                    <a:pt x="1333" y="29"/>
                  </a:lnTo>
                  <a:lnTo>
                    <a:pt x="1333" y="23"/>
                  </a:lnTo>
                  <a:lnTo>
                    <a:pt x="1333" y="19"/>
                  </a:lnTo>
                  <a:lnTo>
                    <a:pt x="1333" y="14"/>
                  </a:lnTo>
                  <a:lnTo>
                    <a:pt x="1333" y="10"/>
                  </a:lnTo>
                  <a:lnTo>
                    <a:pt x="1333" y="4"/>
                  </a:lnTo>
                  <a:lnTo>
                    <a:pt x="1333" y="0"/>
                  </a:lnTo>
                  <a:lnTo>
                    <a:pt x="1341" y="0"/>
                  </a:lnTo>
                  <a:lnTo>
                    <a:pt x="1348" y="0"/>
                  </a:lnTo>
                  <a:lnTo>
                    <a:pt x="1350" y="2"/>
                  </a:lnTo>
                  <a:lnTo>
                    <a:pt x="1352" y="4"/>
                  </a:lnTo>
                  <a:lnTo>
                    <a:pt x="1360" y="6"/>
                  </a:lnTo>
                  <a:lnTo>
                    <a:pt x="1368" y="10"/>
                  </a:lnTo>
                  <a:lnTo>
                    <a:pt x="1370" y="12"/>
                  </a:lnTo>
                  <a:lnTo>
                    <a:pt x="1371" y="14"/>
                  </a:lnTo>
                  <a:lnTo>
                    <a:pt x="1375" y="21"/>
                  </a:lnTo>
                  <a:lnTo>
                    <a:pt x="1377" y="29"/>
                  </a:lnTo>
                  <a:lnTo>
                    <a:pt x="1379" y="31"/>
                  </a:lnTo>
                  <a:lnTo>
                    <a:pt x="1381" y="33"/>
                  </a:lnTo>
                  <a:lnTo>
                    <a:pt x="1381" y="48"/>
                  </a:lnTo>
                  <a:lnTo>
                    <a:pt x="1381" y="62"/>
                  </a:lnTo>
                  <a:lnTo>
                    <a:pt x="1379" y="65"/>
                  </a:lnTo>
                  <a:lnTo>
                    <a:pt x="1377" y="67"/>
                  </a:lnTo>
                  <a:lnTo>
                    <a:pt x="1375" y="85"/>
                  </a:lnTo>
                  <a:lnTo>
                    <a:pt x="1371" y="100"/>
                  </a:lnTo>
                  <a:lnTo>
                    <a:pt x="1370" y="104"/>
                  </a:lnTo>
                  <a:lnTo>
                    <a:pt x="1368" y="106"/>
                  </a:lnTo>
                  <a:lnTo>
                    <a:pt x="1366" y="113"/>
                  </a:lnTo>
                  <a:lnTo>
                    <a:pt x="1362" y="121"/>
                  </a:lnTo>
                  <a:lnTo>
                    <a:pt x="1360" y="123"/>
                  </a:lnTo>
                  <a:lnTo>
                    <a:pt x="1358" y="125"/>
                  </a:lnTo>
                  <a:lnTo>
                    <a:pt x="1356" y="133"/>
                  </a:lnTo>
                  <a:lnTo>
                    <a:pt x="1352" y="140"/>
                  </a:lnTo>
                  <a:lnTo>
                    <a:pt x="1350" y="142"/>
                  </a:lnTo>
                  <a:lnTo>
                    <a:pt x="1348" y="144"/>
                  </a:lnTo>
                  <a:lnTo>
                    <a:pt x="1348" y="154"/>
                  </a:lnTo>
                  <a:lnTo>
                    <a:pt x="1348" y="163"/>
                  </a:lnTo>
                  <a:lnTo>
                    <a:pt x="1350" y="167"/>
                  </a:lnTo>
                  <a:lnTo>
                    <a:pt x="1352" y="169"/>
                  </a:lnTo>
                  <a:lnTo>
                    <a:pt x="1356" y="171"/>
                  </a:lnTo>
                  <a:lnTo>
                    <a:pt x="1358" y="173"/>
                  </a:lnTo>
                  <a:lnTo>
                    <a:pt x="1360" y="177"/>
                  </a:lnTo>
                  <a:lnTo>
                    <a:pt x="1362" y="179"/>
                  </a:lnTo>
                  <a:lnTo>
                    <a:pt x="1366" y="181"/>
                  </a:lnTo>
                  <a:lnTo>
                    <a:pt x="1368" y="182"/>
                  </a:lnTo>
                  <a:lnTo>
                    <a:pt x="1370" y="186"/>
                  </a:lnTo>
                  <a:lnTo>
                    <a:pt x="1371" y="188"/>
                  </a:lnTo>
                  <a:lnTo>
                    <a:pt x="1371" y="200"/>
                  </a:lnTo>
                  <a:lnTo>
                    <a:pt x="1371" y="211"/>
                  </a:lnTo>
                  <a:lnTo>
                    <a:pt x="1387" y="211"/>
                  </a:lnTo>
                  <a:lnTo>
                    <a:pt x="1404" y="211"/>
                  </a:lnTo>
                  <a:lnTo>
                    <a:pt x="1419" y="211"/>
                  </a:lnTo>
                  <a:lnTo>
                    <a:pt x="1435" y="211"/>
                  </a:lnTo>
                  <a:lnTo>
                    <a:pt x="1437" y="215"/>
                  </a:lnTo>
                  <a:lnTo>
                    <a:pt x="1441" y="217"/>
                  </a:lnTo>
                  <a:lnTo>
                    <a:pt x="1446" y="225"/>
                  </a:lnTo>
                  <a:lnTo>
                    <a:pt x="1454" y="232"/>
                  </a:lnTo>
                  <a:lnTo>
                    <a:pt x="1456" y="234"/>
                  </a:lnTo>
                  <a:lnTo>
                    <a:pt x="1460" y="236"/>
                  </a:lnTo>
                  <a:lnTo>
                    <a:pt x="1462" y="238"/>
                  </a:lnTo>
                  <a:lnTo>
                    <a:pt x="1464" y="242"/>
                  </a:lnTo>
                  <a:lnTo>
                    <a:pt x="1465" y="244"/>
                  </a:lnTo>
                  <a:lnTo>
                    <a:pt x="1469" y="246"/>
                  </a:lnTo>
                  <a:lnTo>
                    <a:pt x="1471" y="248"/>
                  </a:lnTo>
                  <a:lnTo>
                    <a:pt x="1473" y="252"/>
                  </a:lnTo>
                  <a:lnTo>
                    <a:pt x="1477" y="253"/>
                  </a:lnTo>
                  <a:lnTo>
                    <a:pt x="1479" y="255"/>
                  </a:lnTo>
                  <a:lnTo>
                    <a:pt x="1479" y="265"/>
                  </a:lnTo>
                  <a:lnTo>
                    <a:pt x="1479" y="275"/>
                  </a:lnTo>
                  <a:lnTo>
                    <a:pt x="1477" y="278"/>
                  </a:lnTo>
                  <a:lnTo>
                    <a:pt x="1473" y="280"/>
                  </a:lnTo>
                  <a:lnTo>
                    <a:pt x="1471" y="292"/>
                  </a:lnTo>
                  <a:lnTo>
                    <a:pt x="1469" y="303"/>
                  </a:lnTo>
                  <a:lnTo>
                    <a:pt x="1465" y="307"/>
                  </a:lnTo>
                  <a:lnTo>
                    <a:pt x="1464" y="309"/>
                  </a:lnTo>
                  <a:lnTo>
                    <a:pt x="1462" y="311"/>
                  </a:lnTo>
                  <a:lnTo>
                    <a:pt x="1460" y="315"/>
                  </a:lnTo>
                  <a:lnTo>
                    <a:pt x="1456" y="317"/>
                  </a:lnTo>
                  <a:lnTo>
                    <a:pt x="1454" y="319"/>
                  </a:lnTo>
                  <a:lnTo>
                    <a:pt x="1446" y="321"/>
                  </a:lnTo>
                  <a:lnTo>
                    <a:pt x="1441" y="324"/>
                  </a:lnTo>
                  <a:lnTo>
                    <a:pt x="1437" y="326"/>
                  </a:lnTo>
                  <a:lnTo>
                    <a:pt x="1435" y="328"/>
                  </a:lnTo>
                  <a:lnTo>
                    <a:pt x="1433" y="330"/>
                  </a:lnTo>
                  <a:lnTo>
                    <a:pt x="1431" y="332"/>
                  </a:lnTo>
                  <a:lnTo>
                    <a:pt x="1427" y="336"/>
                  </a:lnTo>
                  <a:lnTo>
                    <a:pt x="1425" y="338"/>
                  </a:lnTo>
                  <a:lnTo>
                    <a:pt x="1418" y="340"/>
                  </a:lnTo>
                  <a:lnTo>
                    <a:pt x="1410" y="344"/>
                  </a:lnTo>
                  <a:lnTo>
                    <a:pt x="1408" y="346"/>
                  </a:lnTo>
                  <a:lnTo>
                    <a:pt x="1406" y="347"/>
                  </a:lnTo>
                  <a:lnTo>
                    <a:pt x="1406" y="367"/>
                  </a:lnTo>
                  <a:lnTo>
                    <a:pt x="1406" y="386"/>
                  </a:lnTo>
                  <a:lnTo>
                    <a:pt x="1408" y="388"/>
                  </a:lnTo>
                  <a:lnTo>
                    <a:pt x="1410" y="392"/>
                  </a:lnTo>
                  <a:lnTo>
                    <a:pt x="1410" y="395"/>
                  </a:lnTo>
                  <a:lnTo>
                    <a:pt x="1410" y="401"/>
                  </a:lnTo>
                  <a:lnTo>
                    <a:pt x="1408" y="403"/>
                  </a:lnTo>
                  <a:lnTo>
                    <a:pt x="1406" y="405"/>
                  </a:lnTo>
                  <a:lnTo>
                    <a:pt x="1406" y="411"/>
                  </a:lnTo>
                  <a:lnTo>
                    <a:pt x="1406" y="415"/>
                  </a:lnTo>
                  <a:lnTo>
                    <a:pt x="1408" y="417"/>
                  </a:lnTo>
                  <a:lnTo>
                    <a:pt x="1410" y="420"/>
                  </a:lnTo>
                  <a:lnTo>
                    <a:pt x="1414" y="422"/>
                  </a:lnTo>
                  <a:lnTo>
                    <a:pt x="1416" y="424"/>
                  </a:lnTo>
                  <a:lnTo>
                    <a:pt x="1418" y="428"/>
                  </a:lnTo>
                  <a:lnTo>
                    <a:pt x="1421" y="430"/>
                  </a:lnTo>
                  <a:lnTo>
                    <a:pt x="1423" y="438"/>
                  </a:lnTo>
                  <a:lnTo>
                    <a:pt x="1425" y="443"/>
                  </a:lnTo>
                  <a:lnTo>
                    <a:pt x="1427" y="447"/>
                  </a:lnTo>
                  <a:lnTo>
                    <a:pt x="1431" y="449"/>
                  </a:lnTo>
                  <a:lnTo>
                    <a:pt x="1433" y="461"/>
                  </a:lnTo>
                  <a:lnTo>
                    <a:pt x="1435" y="474"/>
                  </a:lnTo>
                  <a:lnTo>
                    <a:pt x="1437" y="476"/>
                  </a:lnTo>
                  <a:lnTo>
                    <a:pt x="1441" y="478"/>
                  </a:lnTo>
                  <a:lnTo>
                    <a:pt x="1442" y="480"/>
                  </a:lnTo>
                  <a:lnTo>
                    <a:pt x="1444" y="484"/>
                  </a:lnTo>
                  <a:lnTo>
                    <a:pt x="1448" y="486"/>
                  </a:lnTo>
                  <a:lnTo>
                    <a:pt x="1450" y="488"/>
                  </a:lnTo>
                  <a:lnTo>
                    <a:pt x="1452" y="489"/>
                  </a:lnTo>
                  <a:lnTo>
                    <a:pt x="1454" y="493"/>
                  </a:lnTo>
                  <a:lnTo>
                    <a:pt x="1456" y="495"/>
                  </a:lnTo>
                  <a:lnTo>
                    <a:pt x="1460" y="497"/>
                  </a:lnTo>
                  <a:lnTo>
                    <a:pt x="1462" y="499"/>
                  </a:lnTo>
                  <a:lnTo>
                    <a:pt x="1464" y="503"/>
                  </a:lnTo>
                  <a:lnTo>
                    <a:pt x="1465" y="505"/>
                  </a:lnTo>
                  <a:lnTo>
                    <a:pt x="1469" y="507"/>
                  </a:lnTo>
                  <a:lnTo>
                    <a:pt x="1469" y="516"/>
                  </a:lnTo>
                  <a:lnTo>
                    <a:pt x="1469" y="526"/>
                  </a:lnTo>
                  <a:lnTo>
                    <a:pt x="1465" y="530"/>
                  </a:lnTo>
                  <a:lnTo>
                    <a:pt x="1464" y="532"/>
                  </a:lnTo>
                  <a:lnTo>
                    <a:pt x="1462" y="539"/>
                  </a:lnTo>
                  <a:lnTo>
                    <a:pt x="1460" y="547"/>
                  </a:lnTo>
                  <a:lnTo>
                    <a:pt x="1456" y="549"/>
                  </a:lnTo>
                  <a:lnTo>
                    <a:pt x="1454" y="551"/>
                  </a:lnTo>
                  <a:lnTo>
                    <a:pt x="1452" y="562"/>
                  </a:lnTo>
                  <a:lnTo>
                    <a:pt x="1450" y="576"/>
                  </a:lnTo>
                  <a:lnTo>
                    <a:pt x="1448" y="578"/>
                  </a:lnTo>
                  <a:lnTo>
                    <a:pt x="1444" y="580"/>
                  </a:lnTo>
                  <a:lnTo>
                    <a:pt x="1442" y="582"/>
                  </a:lnTo>
                  <a:lnTo>
                    <a:pt x="1441" y="585"/>
                  </a:lnTo>
                  <a:lnTo>
                    <a:pt x="1437" y="587"/>
                  </a:lnTo>
                  <a:lnTo>
                    <a:pt x="1435" y="589"/>
                  </a:lnTo>
                  <a:lnTo>
                    <a:pt x="1431" y="589"/>
                  </a:lnTo>
                  <a:lnTo>
                    <a:pt x="1425" y="589"/>
                  </a:lnTo>
                  <a:lnTo>
                    <a:pt x="1423" y="587"/>
                  </a:lnTo>
                  <a:lnTo>
                    <a:pt x="1421" y="585"/>
                  </a:lnTo>
                  <a:lnTo>
                    <a:pt x="1416" y="585"/>
                  </a:lnTo>
                  <a:lnTo>
                    <a:pt x="1410" y="585"/>
                  </a:lnTo>
                  <a:lnTo>
                    <a:pt x="1408" y="587"/>
                  </a:lnTo>
                  <a:lnTo>
                    <a:pt x="1406" y="589"/>
                  </a:lnTo>
                  <a:lnTo>
                    <a:pt x="1404" y="597"/>
                  </a:lnTo>
                  <a:lnTo>
                    <a:pt x="1402" y="605"/>
                  </a:lnTo>
                  <a:lnTo>
                    <a:pt x="1398" y="606"/>
                  </a:lnTo>
                  <a:lnTo>
                    <a:pt x="1396" y="608"/>
                  </a:lnTo>
                  <a:lnTo>
                    <a:pt x="1394" y="610"/>
                  </a:lnTo>
                  <a:lnTo>
                    <a:pt x="1393" y="614"/>
                  </a:lnTo>
                  <a:lnTo>
                    <a:pt x="1389" y="616"/>
                  </a:lnTo>
                  <a:lnTo>
                    <a:pt x="1387" y="618"/>
                  </a:lnTo>
                  <a:lnTo>
                    <a:pt x="1385" y="620"/>
                  </a:lnTo>
                  <a:lnTo>
                    <a:pt x="1381" y="624"/>
                  </a:lnTo>
                  <a:lnTo>
                    <a:pt x="1379" y="626"/>
                  </a:lnTo>
                  <a:lnTo>
                    <a:pt x="1377" y="628"/>
                  </a:lnTo>
                  <a:lnTo>
                    <a:pt x="1375" y="631"/>
                  </a:lnTo>
                  <a:lnTo>
                    <a:pt x="1373" y="637"/>
                  </a:lnTo>
                  <a:lnTo>
                    <a:pt x="1375" y="645"/>
                  </a:lnTo>
                  <a:lnTo>
                    <a:pt x="1377" y="647"/>
                  </a:lnTo>
                  <a:lnTo>
                    <a:pt x="1379" y="649"/>
                  </a:lnTo>
                  <a:lnTo>
                    <a:pt x="1381" y="653"/>
                  </a:lnTo>
                  <a:lnTo>
                    <a:pt x="1385" y="654"/>
                  </a:lnTo>
                  <a:lnTo>
                    <a:pt x="1387" y="656"/>
                  </a:lnTo>
                  <a:lnTo>
                    <a:pt x="1389" y="660"/>
                  </a:lnTo>
                  <a:lnTo>
                    <a:pt x="1393" y="662"/>
                  </a:lnTo>
                  <a:lnTo>
                    <a:pt x="1393" y="666"/>
                  </a:lnTo>
                  <a:lnTo>
                    <a:pt x="1393" y="672"/>
                  </a:lnTo>
                  <a:lnTo>
                    <a:pt x="1389" y="674"/>
                  </a:lnTo>
                  <a:lnTo>
                    <a:pt x="1387" y="676"/>
                  </a:lnTo>
                  <a:lnTo>
                    <a:pt x="1379" y="679"/>
                  </a:lnTo>
                  <a:lnTo>
                    <a:pt x="1371" y="681"/>
                  </a:lnTo>
                  <a:lnTo>
                    <a:pt x="1370" y="683"/>
                  </a:lnTo>
                  <a:lnTo>
                    <a:pt x="1368" y="685"/>
                  </a:lnTo>
                  <a:lnTo>
                    <a:pt x="1366" y="693"/>
                  </a:lnTo>
                  <a:lnTo>
                    <a:pt x="1362" y="701"/>
                  </a:lnTo>
                  <a:lnTo>
                    <a:pt x="1360" y="702"/>
                  </a:lnTo>
                  <a:lnTo>
                    <a:pt x="1358" y="706"/>
                  </a:lnTo>
                  <a:lnTo>
                    <a:pt x="1356" y="708"/>
                  </a:lnTo>
                  <a:lnTo>
                    <a:pt x="1352" y="710"/>
                  </a:lnTo>
                  <a:lnTo>
                    <a:pt x="1350" y="712"/>
                  </a:lnTo>
                  <a:lnTo>
                    <a:pt x="1348" y="716"/>
                  </a:lnTo>
                  <a:lnTo>
                    <a:pt x="1348" y="725"/>
                  </a:lnTo>
                  <a:lnTo>
                    <a:pt x="1348" y="735"/>
                  </a:lnTo>
                  <a:lnTo>
                    <a:pt x="1350" y="737"/>
                  </a:lnTo>
                  <a:lnTo>
                    <a:pt x="1352" y="739"/>
                  </a:lnTo>
                  <a:lnTo>
                    <a:pt x="1356" y="747"/>
                  </a:lnTo>
                  <a:lnTo>
                    <a:pt x="1358" y="754"/>
                  </a:lnTo>
                  <a:lnTo>
                    <a:pt x="1360" y="756"/>
                  </a:lnTo>
                  <a:lnTo>
                    <a:pt x="1362" y="758"/>
                  </a:lnTo>
                  <a:lnTo>
                    <a:pt x="1366" y="772"/>
                  </a:lnTo>
                  <a:lnTo>
                    <a:pt x="1368" y="783"/>
                  </a:lnTo>
                  <a:lnTo>
                    <a:pt x="1370" y="785"/>
                  </a:lnTo>
                  <a:lnTo>
                    <a:pt x="1371" y="789"/>
                  </a:lnTo>
                  <a:lnTo>
                    <a:pt x="1375" y="795"/>
                  </a:lnTo>
                  <a:lnTo>
                    <a:pt x="1377" y="802"/>
                  </a:lnTo>
                  <a:lnTo>
                    <a:pt x="1379" y="804"/>
                  </a:lnTo>
                  <a:lnTo>
                    <a:pt x="1381" y="808"/>
                  </a:lnTo>
                  <a:lnTo>
                    <a:pt x="1385" y="810"/>
                  </a:lnTo>
                  <a:lnTo>
                    <a:pt x="1387" y="812"/>
                  </a:lnTo>
                  <a:lnTo>
                    <a:pt x="1389" y="814"/>
                  </a:lnTo>
                  <a:lnTo>
                    <a:pt x="1393" y="818"/>
                  </a:lnTo>
                  <a:lnTo>
                    <a:pt x="1396" y="819"/>
                  </a:lnTo>
                  <a:lnTo>
                    <a:pt x="1402" y="821"/>
                  </a:lnTo>
                  <a:lnTo>
                    <a:pt x="1408" y="827"/>
                  </a:lnTo>
                  <a:lnTo>
                    <a:pt x="1410" y="831"/>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89" name="Freeform 95"/>
            <p:cNvSpPr>
              <a:spLocks/>
            </p:cNvSpPr>
            <p:nvPr>
              <p:custDataLst>
                <p:tags r:id="rId70"/>
              </p:custDataLst>
            </p:nvPr>
          </p:nvSpPr>
          <p:spPr bwMode="gray">
            <a:xfrm>
              <a:off x="7011988" y="4351153"/>
              <a:ext cx="1231900" cy="763588"/>
            </a:xfrm>
            <a:custGeom>
              <a:avLst/>
              <a:gdLst>
                <a:gd name="T0" fmla="*/ 2147483647 w 792"/>
                <a:gd name="T1" fmla="*/ 2147483647 h 510"/>
                <a:gd name="T2" fmla="*/ 2147483647 w 792"/>
                <a:gd name="T3" fmla="*/ 2147483647 h 510"/>
                <a:gd name="T4" fmla="*/ 2147483647 w 792"/>
                <a:gd name="T5" fmla="*/ 2147483647 h 510"/>
                <a:gd name="T6" fmla="*/ 2147483647 w 792"/>
                <a:gd name="T7" fmla="*/ 2147483647 h 510"/>
                <a:gd name="T8" fmla="*/ 2147483647 w 792"/>
                <a:gd name="T9" fmla="*/ 2147483647 h 510"/>
                <a:gd name="T10" fmla="*/ 2147483647 w 792"/>
                <a:gd name="T11" fmla="*/ 2147483647 h 510"/>
                <a:gd name="T12" fmla="*/ 2147483647 w 792"/>
                <a:gd name="T13" fmla="*/ 2147483647 h 510"/>
                <a:gd name="T14" fmla="*/ 2147483647 w 792"/>
                <a:gd name="T15" fmla="*/ 2147483647 h 510"/>
                <a:gd name="T16" fmla="*/ 2147483647 w 792"/>
                <a:gd name="T17" fmla="*/ 2147483647 h 510"/>
                <a:gd name="T18" fmla="*/ 2147483647 w 792"/>
                <a:gd name="T19" fmla="*/ 2147483647 h 510"/>
                <a:gd name="T20" fmla="*/ 2147483647 w 792"/>
                <a:gd name="T21" fmla="*/ 2147483647 h 510"/>
                <a:gd name="T22" fmla="*/ 2147483647 w 792"/>
                <a:gd name="T23" fmla="*/ 2147483647 h 510"/>
                <a:gd name="T24" fmla="*/ 2147483647 w 792"/>
                <a:gd name="T25" fmla="*/ 2147483647 h 510"/>
                <a:gd name="T26" fmla="*/ 2147483647 w 792"/>
                <a:gd name="T27" fmla="*/ 2147483647 h 510"/>
                <a:gd name="T28" fmla="*/ 2147483647 w 792"/>
                <a:gd name="T29" fmla="*/ 2147483647 h 510"/>
                <a:gd name="T30" fmla="*/ 2147483647 w 792"/>
                <a:gd name="T31" fmla="*/ 2147483647 h 510"/>
                <a:gd name="T32" fmla="*/ 2147483647 w 792"/>
                <a:gd name="T33" fmla="*/ 2147483647 h 510"/>
                <a:gd name="T34" fmla="*/ 2147483647 w 792"/>
                <a:gd name="T35" fmla="*/ 2147483647 h 510"/>
                <a:gd name="T36" fmla="*/ 2147483647 w 792"/>
                <a:gd name="T37" fmla="*/ 2147483647 h 510"/>
                <a:gd name="T38" fmla="*/ 2147483647 w 792"/>
                <a:gd name="T39" fmla="*/ 2147483647 h 510"/>
                <a:gd name="T40" fmla="*/ 2147483647 w 792"/>
                <a:gd name="T41" fmla="*/ 2147483647 h 510"/>
                <a:gd name="T42" fmla="*/ 2147483647 w 792"/>
                <a:gd name="T43" fmla="*/ 2147483647 h 510"/>
                <a:gd name="T44" fmla="*/ 2147483647 w 792"/>
                <a:gd name="T45" fmla="*/ 2147483647 h 510"/>
                <a:gd name="T46" fmla="*/ 2147483647 w 792"/>
                <a:gd name="T47" fmla="*/ 2147483647 h 510"/>
                <a:gd name="T48" fmla="*/ 2147483647 w 792"/>
                <a:gd name="T49" fmla="*/ 2147483647 h 510"/>
                <a:gd name="T50" fmla="*/ 2147483647 w 792"/>
                <a:gd name="T51" fmla="*/ 2147483647 h 510"/>
                <a:gd name="T52" fmla="*/ 2147483647 w 792"/>
                <a:gd name="T53" fmla="*/ 2147483647 h 510"/>
                <a:gd name="T54" fmla="*/ 2147483647 w 792"/>
                <a:gd name="T55" fmla="*/ 2147483647 h 510"/>
                <a:gd name="T56" fmla="*/ 2147483647 w 792"/>
                <a:gd name="T57" fmla="*/ 2147483647 h 510"/>
                <a:gd name="T58" fmla="*/ 2147483647 w 792"/>
                <a:gd name="T59" fmla="*/ 2147483647 h 510"/>
                <a:gd name="T60" fmla="*/ 2147483647 w 792"/>
                <a:gd name="T61" fmla="*/ 2147483647 h 510"/>
                <a:gd name="T62" fmla="*/ 2147483647 w 792"/>
                <a:gd name="T63" fmla="*/ 2147483647 h 510"/>
                <a:gd name="T64" fmla="*/ 2147483647 w 792"/>
                <a:gd name="T65" fmla="*/ 2147483647 h 510"/>
                <a:gd name="T66" fmla="*/ 2147483647 w 792"/>
                <a:gd name="T67" fmla="*/ 2147483647 h 510"/>
                <a:gd name="T68" fmla="*/ 2147483647 w 792"/>
                <a:gd name="T69" fmla="*/ 2147483647 h 510"/>
                <a:gd name="T70" fmla="*/ 2147483647 w 792"/>
                <a:gd name="T71" fmla="*/ 2147483647 h 510"/>
                <a:gd name="T72" fmla="*/ 2147483647 w 792"/>
                <a:gd name="T73" fmla="*/ 2147483647 h 510"/>
                <a:gd name="T74" fmla="*/ 2147483647 w 792"/>
                <a:gd name="T75" fmla="*/ 2147483647 h 510"/>
                <a:gd name="T76" fmla="*/ 2147483647 w 792"/>
                <a:gd name="T77" fmla="*/ 2147483647 h 510"/>
                <a:gd name="T78" fmla="*/ 2147483647 w 792"/>
                <a:gd name="T79" fmla="*/ 2147483647 h 510"/>
                <a:gd name="T80" fmla="*/ 2147483647 w 792"/>
                <a:gd name="T81" fmla="*/ 2147483647 h 510"/>
                <a:gd name="T82" fmla="*/ 2147483647 w 792"/>
                <a:gd name="T83" fmla="*/ 2147483647 h 510"/>
                <a:gd name="T84" fmla="*/ 2147483647 w 792"/>
                <a:gd name="T85" fmla="*/ 2147483647 h 510"/>
                <a:gd name="T86" fmla="*/ 2147483647 w 792"/>
                <a:gd name="T87" fmla="*/ 2147483647 h 510"/>
                <a:gd name="T88" fmla="*/ 2147483647 w 792"/>
                <a:gd name="T89" fmla="*/ 2147483647 h 510"/>
                <a:gd name="T90" fmla="*/ 2147483647 w 792"/>
                <a:gd name="T91" fmla="*/ 2147483647 h 510"/>
                <a:gd name="T92" fmla="*/ 2147483647 w 792"/>
                <a:gd name="T93" fmla="*/ 2147483647 h 510"/>
                <a:gd name="T94" fmla="*/ 2147483647 w 792"/>
                <a:gd name="T95" fmla="*/ 2147483647 h 510"/>
                <a:gd name="T96" fmla="*/ 2147483647 w 792"/>
                <a:gd name="T97" fmla="*/ 2147483647 h 510"/>
                <a:gd name="T98" fmla="*/ 2147483647 w 792"/>
                <a:gd name="T99" fmla="*/ 2147483647 h 510"/>
                <a:gd name="T100" fmla="*/ 2147483647 w 792"/>
                <a:gd name="T101" fmla="*/ 2147483647 h 510"/>
                <a:gd name="T102" fmla="*/ 2147483647 w 792"/>
                <a:gd name="T103" fmla="*/ 2147483647 h 510"/>
                <a:gd name="T104" fmla="*/ 2147483647 w 792"/>
                <a:gd name="T105" fmla="*/ 2147483647 h 510"/>
                <a:gd name="T106" fmla="*/ 2147483647 w 792"/>
                <a:gd name="T107" fmla="*/ 2147483647 h 510"/>
                <a:gd name="T108" fmla="*/ 2147483647 w 792"/>
                <a:gd name="T109" fmla="*/ 2147483647 h 510"/>
                <a:gd name="T110" fmla="*/ 2147483647 w 792"/>
                <a:gd name="T111" fmla="*/ 2147483647 h 510"/>
                <a:gd name="T112" fmla="*/ 2147483647 w 792"/>
                <a:gd name="T113" fmla="*/ 2147483647 h 510"/>
                <a:gd name="T114" fmla="*/ 2147483647 w 792"/>
                <a:gd name="T115" fmla="*/ 2147483647 h 510"/>
                <a:gd name="T116" fmla="*/ 2147483647 w 792"/>
                <a:gd name="T117" fmla="*/ 2147483647 h 510"/>
                <a:gd name="T118" fmla="*/ 2147483647 w 792"/>
                <a:gd name="T119" fmla="*/ 2147483647 h 5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92"/>
                <a:gd name="T181" fmla="*/ 0 h 510"/>
                <a:gd name="T182" fmla="*/ 792 w 792"/>
                <a:gd name="T183" fmla="*/ 510 h 5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92" h="510">
                  <a:moveTo>
                    <a:pt x="299" y="337"/>
                  </a:moveTo>
                  <a:lnTo>
                    <a:pt x="282" y="339"/>
                  </a:lnTo>
                  <a:lnTo>
                    <a:pt x="266" y="339"/>
                  </a:lnTo>
                  <a:lnTo>
                    <a:pt x="253" y="341"/>
                  </a:lnTo>
                  <a:lnTo>
                    <a:pt x="242" y="345"/>
                  </a:lnTo>
                  <a:lnTo>
                    <a:pt x="230" y="349"/>
                  </a:lnTo>
                  <a:lnTo>
                    <a:pt x="219" y="357"/>
                  </a:lnTo>
                  <a:lnTo>
                    <a:pt x="207" y="364"/>
                  </a:lnTo>
                  <a:lnTo>
                    <a:pt x="194" y="376"/>
                  </a:lnTo>
                  <a:lnTo>
                    <a:pt x="192" y="376"/>
                  </a:lnTo>
                  <a:lnTo>
                    <a:pt x="190" y="376"/>
                  </a:lnTo>
                  <a:lnTo>
                    <a:pt x="186" y="374"/>
                  </a:lnTo>
                  <a:lnTo>
                    <a:pt x="184" y="372"/>
                  </a:lnTo>
                  <a:lnTo>
                    <a:pt x="182" y="370"/>
                  </a:lnTo>
                  <a:lnTo>
                    <a:pt x="178" y="366"/>
                  </a:lnTo>
                  <a:lnTo>
                    <a:pt x="176" y="364"/>
                  </a:lnTo>
                  <a:lnTo>
                    <a:pt x="174" y="362"/>
                  </a:lnTo>
                  <a:lnTo>
                    <a:pt x="171" y="359"/>
                  </a:lnTo>
                  <a:lnTo>
                    <a:pt x="169" y="357"/>
                  </a:lnTo>
                  <a:lnTo>
                    <a:pt x="167" y="355"/>
                  </a:lnTo>
                  <a:lnTo>
                    <a:pt x="165" y="353"/>
                  </a:lnTo>
                  <a:lnTo>
                    <a:pt x="165" y="347"/>
                  </a:lnTo>
                  <a:lnTo>
                    <a:pt x="165" y="343"/>
                  </a:lnTo>
                  <a:lnTo>
                    <a:pt x="167" y="339"/>
                  </a:lnTo>
                  <a:lnTo>
                    <a:pt x="169" y="337"/>
                  </a:lnTo>
                  <a:lnTo>
                    <a:pt x="171" y="328"/>
                  </a:lnTo>
                  <a:lnTo>
                    <a:pt x="174" y="318"/>
                  </a:lnTo>
                  <a:lnTo>
                    <a:pt x="167" y="318"/>
                  </a:lnTo>
                  <a:lnTo>
                    <a:pt x="159" y="318"/>
                  </a:lnTo>
                  <a:lnTo>
                    <a:pt x="157" y="316"/>
                  </a:lnTo>
                  <a:lnTo>
                    <a:pt x="155" y="314"/>
                  </a:lnTo>
                  <a:lnTo>
                    <a:pt x="151" y="297"/>
                  </a:lnTo>
                  <a:lnTo>
                    <a:pt x="149" y="280"/>
                  </a:lnTo>
                  <a:lnTo>
                    <a:pt x="148" y="278"/>
                  </a:lnTo>
                  <a:lnTo>
                    <a:pt x="146" y="274"/>
                  </a:lnTo>
                  <a:lnTo>
                    <a:pt x="142" y="266"/>
                  </a:lnTo>
                  <a:lnTo>
                    <a:pt x="140" y="261"/>
                  </a:lnTo>
                  <a:lnTo>
                    <a:pt x="138" y="257"/>
                  </a:lnTo>
                  <a:lnTo>
                    <a:pt x="136" y="255"/>
                  </a:lnTo>
                  <a:lnTo>
                    <a:pt x="119" y="253"/>
                  </a:lnTo>
                  <a:lnTo>
                    <a:pt x="101" y="251"/>
                  </a:lnTo>
                  <a:lnTo>
                    <a:pt x="100" y="247"/>
                  </a:lnTo>
                  <a:lnTo>
                    <a:pt x="96" y="245"/>
                  </a:lnTo>
                  <a:lnTo>
                    <a:pt x="94" y="243"/>
                  </a:lnTo>
                  <a:lnTo>
                    <a:pt x="92" y="241"/>
                  </a:lnTo>
                  <a:lnTo>
                    <a:pt x="90" y="238"/>
                  </a:lnTo>
                  <a:lnTo>
                    <a:pt x="86" y="236"/>
                  </a:lnTo>
                  <a:lnTo>
                    <a:pt x="84" y="234"/>
                  </a:lnTo>
                  <a:lnTo>
                    <a:pt x="77" y="232"/>
                  </a:lnTo>
                  <a:lnTo>
                    <a:pt x="71" y="234"/>
                  </a:lnTo>
                  <a:lnTo>
                    <a:pt x="67" y="236"/>
                  </a:lnTo>
                  <a:lnTo>
                    <a:pt x="65" y="238"/>
                  </a:lnTo>
                  <a:lnTo>
                    <a:pt x="63" y="241"/>
                  </a:lnTo>
                  <a:lnTo>
                    <a:pt x="59" y="243"/>
                  </a:lnTo>
                  <a:lnTo>
                    <a:pt x="57" y="245"/>
                  </a:lnTo>
                  <a:lnTo>
                    <a:pt x="55" y="247"/>
                  </a:lnTo>
                  <a:lnTo>
                    <a:pt x="54" y="251"/>
                  </a:lnTo>
                  <a:lnTo>
                    <a:pt x="48" y="251"/>
                  </a:lnTo>
                  <a:lnTo>
                    <a:pt x="44" y="251"/>
                  </a:lnTo>
                  <a:lnTo>
                    <a:pt x="42" y="247"/>
                  </a:lnTo>
                  <a:lnTo>
                    <a:pt x="38" y="245"/>
                  </a:lnTo>
                  <a:lnTo>
                    <a:pt x="42" y="238"/>
                  </a:lnTo>
                  <a:lnTo>
                    <a:pt x="46" y="228"/>
                  </a:lnTo>
                  <a:lnTo>
                    <a:pt x="40" y="224"/>
                  </a:lnTo>
                  <a:lnTo>
                    <a:pt x="34" y="222"/>
                  </a:lnTo>
                  <a:lnTo>
                    <a:pt x="31" y="218"/>
                  </a:lnTo>
                  <a:lnTo>
                    <a:pt x="29" y="217"/>
                  </a:lnTo>
                  <a:lnTo>
                    <a:pt x="21" y="215"/>
                  </a:lnTo>
                  <a:lnTo>
                    <a:pt x="15" y="213"/>
                  </a:lnTo>
                  <a:lnTo>
                    <a:pt x="11" y="209"/>
                  </a:lnTo>
                  <a:lnTo>
                    <a:pt x="9" y="207"/>
                  </a:lnTo>
                  <a:lnTo>
                    <a:pt x="7" y="199"/>
                  </a:lnTo>
                  <a:lnTo>
                    <a:pt x="6" y="192"/>
                  </a:lnTo>
                  <a:lnTo>
                    <a:pt x="2" y="190"/>
                  </a:lnTo>
                  <a:lnTo>
                    <a:pt x="0" y="188"/>
                  </a:lnTo>
                  <a:lnTo>
                    <a:pt x="6" y="182"/>
                  </a:lnTo>
                  <a:lnTo>
                    <a:pt x="9" y="178"/>
                  </a:lnTo>
                  <a:lnTo>
                    <a:pt x="11" y="176"/>
                  </a:lnTo>
                  <a:lnTo>
                    <a:pt x="15" y="172"/>
                  </a:lnTo>
                  <a:lnTo>
                    <a:pt x="17" y="170"/>
                  </a:lnTo>
                  <a:lnTo>
                    <a:pt x="19" y="169"/>
                  </a:lnTo>
                  <a:lnTo>
                    <a:pt x="21" y="167"/>
                  </a:lnTo>
                  <a:lnTo>
                    <a:pt x="25" y="163"/>
                  </a:lnTo>
                  <a:lnTo>
                    <a:pt x="31" y="161"/>
                  </a:lnTo>
                  <a:lnTo>
                    <a:pt x="38" y="159"/>
                  </a:lnTo>
                  <a:lnTo>
                    <a:pt x="42" y="155"/>
                  </a:lnTo>
                  <a:lnTo>
                    <a:pt x="44" y="153"/>
                  </a:lnTo>
                  <a:lnTo>
                    <a:pt x="48" y="153"/>
                  </a:lnTo>
                  <a:lnTo>
                    <a:pt x="54" y="153"/>
                  </a:lnTo>
                  <a:lnTo>
                    <a:pt x="55" y="155"/>
                  </a:lnTo>
                  <a:lnTo>
                    <a:pt x="57" y="159"/>
                  </a:lnTo>
                  <a:lnTo>
                    <a:pt x="65" y="161"/>
                  </a:lnTo>
                  <a:lnTo>
                    <a:pt x="77" y="163"/>
                  </a:lnTo>
                  <a:lnTo>
                    <a:pt x="90" y="161"/>
                  </a:lnTo>
                  <a:lnTo>
                    <a:pt x="96" y="159"/>
                  </a:lnTo>
                  <a:lnTo>
                    <a:pt x="100" y="155"/>
                  </a:lnTo>
                  <a:lnTo>
                    <a:pt x="101" y="153"/>
                  </a:lnTo>
                  <a:lnTo>
                    <a:pt x="117" y="153"/>
                  </a:lnTo>
                  <a:lnTo>
                    <a:pt x="132" y="151"/>
                  </a:lnTo>
                  <a:lnTo>
                    <a:pt x="149" y="149"/>
                  </a:lnTo>
                  <a:lnTo>
                    <a:pt x="165" y="149"/>
                  </a:lnTo>
                  <a:lnTo>
                    <a:pt x="167" y="146"/>
                  </a:lnTo>
                  <a:lnTo>
                    <a:pt x="169" y="144"/>
                  </a:lnTo>
                  <a:lnTo>
                    <a:pt x="171" y="146"/>
                  </a:lnTo>
                  <a:lnTo>
                    <a:pt x="174" y="149"/>
                  </a:lnTo>
                  <a:lnTo>
                    <a:pt x="182" y="151"/>
                  </a:lnTo>
                  <a:lnTo>
                    <a:pt x="190" y="153"/>
                  </a:lnTo>
                  <a:lnTo>
                    <a:pt x="192" y="155"/>
                  </a:lnTo>
                  <a:lnTo>
                    <a:pt x="194" y="159"/>
                  </a:lnTo>
                  <a:lnTo>
                    <a:pt x="201" y="161"/>
                  </a:lnTo>
                  <a:lnTo>
                    <a:pt x="207" y="163"/>
                  </a:lnTo>
                  <a:lnTo>
                    <a:pt x="211" y="167"/>
                  </a:lnTo>
                  <a:lnTo>
                    <a:pt x="213" y="169"/>
                  </a:lnTo>
                  <a:lnTo>
                    <a:pt x="228" y="169"/>
                  </a:lnTo>
                  <a:lnTo>
                    <a:pt x="242" y="169"/>
                  </a:lnTo>
                  <a:lnTo>
                    <a:pt x="243" y="167"/>
                  </a:lnTo>
                  <a:lnTo>
                    <a:pt x="247" y="163"/>
                  </a:lnTo>
                  <a:lnTo>
                    <a:pt x="263" y="161"/>
                  </a:lnTo>
                  <a:lnTo>
                    <a:pt x="280" y="159"/>
                  </a:lnTo>
                  <a:lnTo>
                    <a:pt x="282" y="155"/>
                  </a:lnTo>
                  <a:lnTo>
                    <a:pt x="286" y="153"/>
                  </a:lnTo>
                  <a:lnTo>
                    <a:pt x="297" y="151"/>
                  </a:lnTo>
                  <a:lnTo>
                    <a:pt x="309" y="149"/>
                  </a:lnTo>
                  <a:lnTo>
                    <a:pt x="313" y="146"/>
                  </a:lnTo>
                  <a:lnTo>
                    <a:pt x="314" y="144"/>
                  </a:lnTo>
                  <a:lnTo>
                    <a:pt x="322" y="142"/>
                  </a:lnTo>
                  <a:lnTo>
                    <a:pt x="328" y="140"/>
                  </a:lnTo>
                  <a:lnTo>
                    <a:pt x="332" y="138"/>
                  </a:lnTo>
                  <a:lnTo>
                    <a:pt x="334" y="134"/>
                  </a:lnTo>
                  <a:lnTo>
                    <a:pt x="336" y="132"/>
                  </a:lnTo>
                  <a:lnTo>
                    <a:pt x="339" y="130"/>
                  </a:lnTo>
                  <a:lnTo>
                    <a:pt x="341" y="126"/>
                  </a:lnTo>
                  <a:lnTo>
                    <a:pt x="343" y="124"/>
                  </a:lnTo>
                  <a:lnTo>
                    <a:pt x="345" y="123"/>
                  </a:lnTo>
                  <a:lnTo>
                    <a:pt x="349" y="121"/>
                  </a:lnTo>
                  <a:lnTo>
                    <a:pt x="351" y="117"/>
                  </a:lnTo>
                  <a:lnTo>
                    <a:pt x="353" y="115"/>
                  </a:lnTo>
                  <a:lnTo>
                    <a:pt x="361" y="113"/>
                  </a:lnTo>
                  <a:lnTo>
                    <a:pt x="368" y="111"/>
                  </a:lnTo>
                  <a:lnTo>
                    <a:pt x="370" y="107"/>
                  </a:lnTo>
                  <a:lnTo>
                    <a:pt x="372" y="105"/>
                  </a:lnTo>
                  <a:lnTo>
                    <a:pt x="385" y="103"/>
                  </a:lnTo>
                  <a:lnTo>
                    <a:pt x="397" y="99"/>
                  </a:lnTo>
                  <a:lnTo>
                    <a:pt x="399" y="98"/>
                  </a:lnTo>
                  <a:lnTo>
                    <a:pt x="401" y="96"/>
                  </a:lnTo>
                  <a:lnTo>
                    <a:pt x="403" y="94"/>
                  </a:lnTo>
                  <a:lnTo>
                    <a:pt x="407" y="92"/>
                  </a:lnTo>
                  <a:lnTo>
                    <a:pt x="408" y="88"/>
                  </a:lnTo>
                  <a:lnTo>
                    <a:pt x="410" y="86"/>
                  </a:lnTo>
                  <a:lnTo>
                    <a:pt x="412" y="84"/>
                  </a:lnTo>
                  <a:lnTo>
                    <a:pt x="416" y="82"/>
                  </a:lnTo>
                  <a:lnTo>
                    <a:pt x="418" y="78"/>
                  </a:lnTo>
                  <a:lnTo>
                    <a:pt x="422" y="76"/>
                  </a:lnTo>
                  <a:lnTo>
                    <a:pt x="424" y="75"/>
                  </a:lnTo>
                  <a:lnTo>
                    <a:pt x="426" y="71"/>
                  </a:lnTo>
                  <a:lnTo>
                    <a:pt x="428" y="69"/>
                  </a:lnTo>
                  <a:lnTo>
                    <a:pt x="430" y="67"/>
                  </a:lnTo>
                  <a:lnTo>
                    <a:pt x="433" y="65"/>
                  </a:lnTo>
                  <a:lnTo>
                    <a:pt x="435" y="61"/>
                  </a:lnTo>
                  <a:lnTo>
                    <a:pt x="437" y="59"/>
                  </a:lnTo>
                  <a:lnTo>
                    <a:pt x="439" y="57"/>
                  </a:lnTo>
                  <a:lnTo>
                    <a:pt x="443" y="55"/>
                  </a:lnTo>
                  <a:lnTo>
                    <a:pt x="445" y="52"/>
                  </a:lnTo>
                  <a:lnTo>
                    <a:pt x="447" y="50"/>
                  </a:lnTo>
                  <a:lnTo>
                    <a:pt x="451" y="48"/>
                  </a:lnTo>
                  <a:lnTo>
                    <a:pt x="462" y="40"/>
                  </a:lnTo>
                  <a:lnTo>
                    <a:pt x="474" y="32"/>
                  </a:lnTo>
                  <a:lnTo>
                    <a:pt x="476" y="30"/>
                  </a:lnTo>
                  <a:lnTo>
                    <a:pt x="479" y="29"/>
                  </a:lnTo>
                  <a:lnTo>
                    <a:pt x="491" y="25"/>
                  </a:lnTo>
                  <a:lnTo>
                    <a:pt x="502" y="23"/>
                  </a:lnTo>
                  <a:lnTo>
                    <a:pt x="504" y="21"/>
                  </a:lnTo>
                  <a:lnTo>
                    <a:pt x="508" y="19"/>
                  </a:lnTo>
                  <a:lnTo>
                    <a:pt x="514" y="11"/>
                  </a:lnTo>
                  <a:lnTo>
                    <a:pt x="522" y="4"/>
                  </a:lnTo>
                  <a:lnTo>
                    <a:pt x="524" y="2"/>
                  </a:lnTo>
                  <a:lnTo>
                    <a:pt x="527" y="0"/>
                  </a:lnTo>
                  <a:lnTo>
                    <a:pt x="547" y="0"/>
                  </a:lnTo>
                  <a:lnTo>
                    <a:pt x="566" y="0"/>
                  </a:lnTo>
                  <a:lnTo>
                    <a:pt x="568" y="2"/>
                  </a:lnTo>
                  <a:lnTo>
                    <a:pt x="572" y="4"/>
                  </a:lnTo>
                  <a:lnTo>
                    <a:pt x="572" y="13"/>
                  </a:lnTo>
                  <a:lnTo>
                    <a:pt x="572" y="23"/>
                  </a:lnTo>
                  <a:lnTo>
                    <a:pt x="568" y="25"/>
                  </a:lnTo>
                  <a:lnTo>
                    <a:pt x="566" y="29"/>
                  </a:lnTo>
                  <a:lnTo>
                    <a:pt x="564" y="40"/>
                  </a:lnTo>
                  <a:lnTo>
                    <a:pt x="560" y="52"/>
                  </a:lnTo>
                  <a:lnTo>
                    <a:pt x="558" y="55"/>
                  </a:lnTo>
                  <a:lnTo>
                    <a:pt x="556" y="57"/>
                  </a:lnTo>
                  <a:lnTo>
                    <a:pt x="554" y="69"/>
                  </a:lnTo>
                  <a:lnTo>
                    <a:pt x="550" y="82"/>
                  </a:lnTo>
                  <a:lnTo>
                    <a:pt x="549" y="84"/>
                  </a:lnTo>
                  <a:lnTo>
                    <a:pt x="547" y="86"/>
                  </a:lnTo>
                  <a:lnTo>
                    <a:pt x="545" y="113"/>
                  </a:lnTo>
                  <a:lnTo>
                    <a:pt x="541" y="140"/>
                  </a:lnTo>
                  <a:lnTo>
                    <a:pt x="539" y="142"/>
                  </a:lnTo>
                  <a:lnTo>
                    <a:pt x="537" y="144"/>
                  </a:lnTo>
                  <a:lnTo>
                    <a:pt x="537" y="149"/>
                  </a:lnTo>
                  <a:lnTo>
                    <a:pt x="537" y="153"/>
                  </a:lnTo>
                  <a:lnTo>
                    <a:pt x="539" y="155"/>
                  </a:lnTo>
                  <a:lnTo>
                    <a:pt x="541" y="159"/>
                  </a:lnTo>
                  <a:lnTo>
                    <a:pt x="568" y="161"/>
                  </a:lnTo>
                  <a:lnTo>
                    <a:pt x="595" y="163"/>
                  </a:lnTo>
                  <a:lnTo>
                    <a:pt x="597" y="167"/>
                  </a:lnTo>
                  <a:lnTo>
                    <a:pt x="600" y="169"/>
                  </a:lnTo>
                  <a:lnTo>
                    <a:pt x="602" y="170"/>
                  </a:lnTo>
                  <a:lnTo>
                    <a:pt x="604" y="172"/>
                  </a:lnTo>
                  <a:lnTo>
                    <a:pt x="606" y="176"/>
                  </a:lnTo>
                  <a:lnTo>
                    <a:pt x="610" y="178"/>
                  </a:lnTo>
                  <a:lnTo>
                    <a:pt x="623" y="178"/>
                  </a:lnTo>
                  <a:lnTo>
                    <a:pt x="639" y="178"/>
                  </a:lnTo>
                  <a:lnTo>
                    <a:pt x="641" y="176"/>
                  </a:lnTo>
                  <a:lnTo>
                    <a:pt x="643" y="172"/>
                  </a:lnTo>
                  <a:lnTo>
                    <a:pt x="644" y="170"/>
                  </a:lnTo>
                  <a:lnTo>
                    <a:pt x="648" y="169"/>
                  </a:lnTo>
                  <a:lnTo>
                    <a:pt x="650" y="167"/>
                  </a:lnTo>
                  <a:lnTo>
                    <a:pt x="652" y="163"/>
                  </a:lnTo>
                  <a:lnTo>
                    <a:pt x="660" y="161"/>
                  </a:lnTo>
                  <a:lnTo>
                    <a:pt x="667" y="159"/>
                  </a:lnTo>
                  <a:lnTo>
                    <a:pt x="669" y="155"/>
                  </a:lnTo>
                  <a:lnTo>
                    <a:pt x="671" y="153"/>
                  </a:lnTo>
                  <a:lnTo>
                    <a:pt x="673" y="147"/>
                  </a:lnTo>
                  <a:lnTo>
                    <a:pt x="677" y="140"/>
                  </a:lnTo>
                  <a:lnTo>
                    <a:pt x="679" y="138"/>
                  </a:lnTo>
                  <a:lnTo>
                    <a:pt x="681" y="134"/>
                  </a:lnTo>
                  <a:lnTo>
                    <a:pt x="685" y="126"/>
                  </a:lnTo>
                  <a:lnTo>
                    <a:pt x="687" y="121"/>
                  </a:lnTo>
                  <a:lnTo>
                    <a:pt x="689" y="117"/>
                  </a:lnTo>
                  <a:lnTo>
                    <a:pt x="692" y="115"/>
                  </a:lnTo>
                  <a:lnTo>
                    <a:pt x="694" y="113"/>
                  </a:lnTo>
                  <a:lnTo>
                    <a:pt x="696" y="111"/>
                  </a:lnTo>
                  <a:lnTo>
                    <a:pt x="698" y="107"/>
                  </a:lnTo>
                  <a:lnTo>
                    <a:pt x="700" y="105"/>
                  </a:lnTo>
                  <a:lnTo>
                    <a:pt x="704" y="103"/>
                  </a:lnTo>
                  <a:lnTo>
                    <a:pt x="706" y="99"/>
                  </a:lnTo>
                  <a:lnTo>
                    <a:pt x="708" y="98"/>
                  </a:lnTo>
                  <a:lnTo>
                    <a:pt x="712" y="96"/>
                  </a:lnTo>
                  <a:lnTo>
                    <a:pt x="714" y="94"/>
                  </a:lnTo>
                  <a:lnTo>
                    <a:pt x="715" y="92"/>
                  </a:lnTo>
                  <a:lnTo>
                    <a:pt x="717" y="88"/>
                  </a:lnTo>
                  <a:lnTo>
                    <a:pt x="721" y="86"/>
                  </a:lnTo>
                  <a:lnTo>
                    <a:pt x="727" y="84"/>
                  </a:lnTo>
                  <a:lnTo>
                    <a:pt x="735" y="82"/>
                  </a:lnTo>
                  <a:lnTo>
                    <a:pt x="737" y="78"/>
                  </a:lnTo>
                  <a:lnTo>
                    <a:pt x="740" y="76"/>
                  </a:lnTo>
                  <a:lnTo>
                    <a:pt x="744" y="76"/>
                  </a:lnTo>
                  <a:lnTo>
                    <a:pt x="750" y="76"/>
                  </a:lnTo>
                  <a:lnTo>
                    <a:pt x="752" y="78"/>
                  </a:lnTo>
                  <a:lnTo>
                    <a:pt x="754" y="82"/>
                  </a:lnTo>
                  <a:lnTo>
                    <a:pt x="756" y="84"/>
                  </a:lnTo>
                  <a:lnTo>
                    <a:pt x="760" y="86"/>
                  </a:lnTo>
                  <a:lnTo>
                    <a:pt x="762" y="88"/>
                  </a:lnTo>
                  <a:lnTo>
                    <a:pt x="763" y="92"/>
                  </a:lnTo>
                  <a:lnTo>
                    <a:pt x="767" y="98"/>
                  </a:lnTo>
                  <a:lnTo>
                    <a:pt x="769" y="105"/>
                  </a:lnTo>
                  <a:lnTo>
                    <a:pt x="771" y="107"/>
                  </a:lnTo>
                  <a:lnTo>
                    <a:pt x="773" y="111"/>
                  </a:lnTo>
                  <a:lnTo>
                    <a:pt x="773" y="130"/>
                  </a:lnTo>
                  <a:lnTo>
                    <a:pt x="773" y="149"/>
                  </a:lnTo>
                  <a:lnTo>
                    <a:pt x="771" y="151"/>
                  </a:lnTo>
                  <a:lnTo>
                    <a:pt x="769" y="153"/>
                  </a:lnTo>
                  <a:lnTo>
                    <a:pt x="742" y="153"/>
                  </a:lnTo>
                  <a:lnTo>
                    <a:pt x="715" y="153"/>
                  </a:lnTo>
                  <a:lnTo>
                    <a:pt x="717" y="169"/>
                  </a:lnTo>
                  <a:lnTo>
                    <a:pt x="721" y="182"/>
                  </a:lnTo>
                  <a:lnTo>
                    <a:pt x="723" y="186"/>
                  </a:lnTo>
                  <a:lnTo>
                    <a:pt x="725" y="188"/>
                  </a:lnTo>
                  <a:lnTo>
                    <a:pt x="727" y="190"/>
                  </a:lnTo>
                  <a:lnTo>
                    <a:pt x="731" y="192"/>
                  </a:lnTo>
                  <a:lnTo>
                    <a:pt x="733" y="195"/>
                  </a:lnTo>
                  <a:lnTo>
                    <a:pt x="735" y="197"/>
                  </a:lnTo>
                  <a:lnTo>
                    <a:pt x="733" y="199"/>
                  </a:lnTo>
                  <a:lnTo>
                    <a:pt x="731" y="203"/>
                  </a:lnTo>
                  <a:lnTo>
                    <a:pt x="727" y="215"/>
                  </a:lnTo>
                  <a:lnTo>
                    <a:pt x="725" y="226"/>
                  </a:lnTo>
                  <a:lnTo>
                    <a:pt x="723" y="228"/>
                  </a:lnTo>
                  <a:lnTo>
                    <a:pt x="721" y="232"/>
                  </a:lnTo>
                  <a:lnTo>
                    <a:pt x="717" y="243"/>
                  </a:lnTo>
                  <a:lnTo>
                    <a:pt x="715" y="255"/>
                  </a:lnTo>
                  <a:lnTo>
                    <a:pt x="714" y="257"/>
                  </a:lnTo>
                  <a:lnTo>
                    <a:pt x="712" y="261"/>
                  </a:lnTo>
                  <a:lnTo>
                    <a:pt x="708" y="266"/>
                  </a:lnTo>
                  <a:lnTo>
                    <a:pt x="706" y="274"/>
                  </a:lnTo>
                  <a:lnTo>
                    <a:pt x="704" y="278"/>
                  </a:lnTo>
                  <a:lnTo>
                    <a:pt x="700" y="280"/>
                  </a:lnTo>
                  <a:lnTo>
                    <a:pt x="698" y="282"/>
                  </a:lnTo>
                  <a:lnTo>
                    <a:pt x="696" y="284"/>
                  </a:lnTo>
                  <a:lnTo>
                    <a:pt x="694" y="288"/>
                  </a:lnTo>
                  <a:lnTo>
                    <a:pt x="692" y="289"/>
                  </a:lnTo>
                  <a:lnTo>
                    <a:pt x="692" y="293"/>
                  </a:lnTo>
                  <a:lnTo>
                    <a:pt x="692" y="299"/>
                  </a:lnTo>
                  <a:lnTo>
                    <a:pt x="694" y="301"/>
                  </a:lnTo>
                  <a:lnTo>
                    <a:pt x="696" y="303"/>
                  </a:lnTo>
                  <a:lnTo>
                    <a:pt x="698" y="324"/>
                  </a:lnTo>
                  <a:lnTo>
                    <a:pt x="698" y="345"/>
                  </a:lnTo>
                  <a:lnTo>
                    <a:pt x="700" y="366"/>
                  </a:lnTo>
                  <a:lnTo>
                    <a:pt x="700" y="385"/>
                  </a:lnTo>
                  <a:lnTo>
                    <a:pt x="704" y="387"/>
                  </a:lnTo>
                  <a:lnTo>
                    <a:pt x="706" y="391"/>
                  </a:lnTo>
                  <a:lnTo>
                    <a:pt x="714" y="393"/>
                  </a:lnTo>
                  <a:lnTo>
                    <a:pt x="721" y="395"/>
                  </a:lnTo>
                  <a:lnTo>
                    <a:pt x="723" y="399"/>
                  </a:lnTo>
                  <a:lnTo>
                    <a:pt x="725" y="401"/>
                  </a:lnTo>
                  <a:lnTo>
                    <a:pt x="737" y="403"/>
                  </a:lnTo>
                  <a:lnTo>
                    <a:pt x="750" y="405"/>
                  </a:lnTo>
                  <a:lnTo>
                    <a:pt x="752" y="408"/>
                  </a:lnTo>
                  <a:lnTo>
                    <a:pt x="754" y="410"/>
                  </a:lnTo>
                  <a:lnTo>
                    <a:pt x="756" y="412"/>
                  </a:lnTo>
                  <a:lnTo>
                    <a:pt x="760" y="414"/>
                  </a:lnTo>
                  <a:lnTo>
                    <a:pt x="762" y="418"/>
                  </a:lnTo>
                  <a:lnTo>
                    <a:pt x="763" y="420"/>
                  </a:lnTo>
                  <a:lnTo>
                    <a:pt x="767" y="422"/>
                  </a:lnTo>
                  <a:lnTo>
                    <a:pt x="769" y="424"/>
                  </a:lnTo>
                  <a:lnTo>
                    <a:pt x="771" y="428"/>
                  </a:lnTo>
                  <a:lnTo>
                    <a:pt x="773" y="430"/>
                  </a:lnTo>
                  <a:lnTo>
                    <a:pt x="777" y="431"/>
                  </a:lnTo>
                  <a:lnTo>
                    <a:pt x="779" y="435"/>
                  </a:lnTo>
                  <a:lnTo>
                    <a:pt x="781" y="437"/>
                  </a:lnTo>
                  <a:lnTo>
                    <a:pt x="783" y="439"/>
                  </a:lnTo>
                  <a:lnTo>
                    <a:pt x="786" y="447"/>
                  </a:lnTo>
                  <a:lnTo>
                    <a:pt x="788" y="453"/>
                  </a:lnTo>
                  <a:lnTo>
                    <a:pt x="790" y="456"/>
                  </a:lnTo>
                  <a:lnTo>
                    <a:pt x="792" y="458"/>
                  </a:lnTo>
                  <a:lnTo>
                    <a:pt x="792" y="479"/>
                  </a:lnTo>
                  <a:lnTo>
                    <a:pt x="792" y="502"/>
                  </a:lnTo>
                  <a:lnTo>
                    <a:pt x="788" y="502"/>
                  </a:lnTo>
                  <a:lnTo>
                    <a:pt x="783" y="502"/>
                  </a:lnTo>
                  <a:lnTo>
                    <a:pt x="775" y="497"/>
                  </a:lnTo>
                  <a:lnTo>
                    <a:pt x="756" y="493"/>
                  </a:lnTo>
                  <a:lnTo>
                    <a:pt x="737" y="491"/>
                  </a:lnTo>
                  <a:lnTo>
                    <a:pt x="725" y="493"/>
                  </a:lnTo>
                  <a:lnTo>
                    <a:pt x="719" y="493"/>
                  </a:lnTo>
                  <a:lnTo>
                    <a:pt x="715" y="493"/>
                  </a:lnTo>
                  <a:lnTo>
                    <a:pt x="683" y="502"/>
                  </a:lnTo>
                  <a:lnTo>
                    <a:pt x="652" y="508"/>
                  </a:lnTo>
                  <a:lnTo>
                    <a:pt x="637" y="510"/>
                  </a:lnTo>
                  <a:lnTo>
                    <a:pt x="621" y="510"/>
                  </a:lnTo>
                  <a:lnTo>
                    <a:pt x="606" y="508"/>
                  </a:lnTo>
                  <a:lnTo>
                    <a:pt x="589" y="502"/>
                  </a:lnTo>
                  <a:lnTo>
                    <a:pt x="589" y="493"/>
                  </a:lnTo>
                  <a:lnTo>
                    <a:pt x="589" y="483"/>
                  </a:lnTo>
                  <a:lnTo>
                    <a:pt x="581" y="483"/>
                  </a:lnTo>
                  <a:lnTo>
                    <a:pt x="572" y="483"/>
                  </a:lnTo>
                  <a:lnTo>
                    <a:pt x="572" y="474"/>
                  </a:lnTo>
                  <a:lnTo>
                    <a:pt x="572" y="464"/>
                  </a:lnTo>
                  <a:lnTo>
                    <a:pt x="560" y="464"/>
                  </a:lnTo>
                  <a:lnTo>
                    <a:pt x="550" y="464"/>
                  </a:lnTo>
                  <a:lnTo>
                    <a:pt x="550" y="454"/>
                  </a:lnTo>
                  <a:lnTo>
                    <a:pt x="550" y="445"/>
                  </a:lnTo>
                  <a:lnTo>
                    <a:pt x="541" y="445"/>
                  </a:lnTo>
                  <a:lnTo>
                    <a:pt x="531" y="445"/>
                  </a:lnTo>
                  <a:lnTo>
                    <a:pt x="531" y="433"/>
                  </a:lnTo>
                  <a:lnTo>
                    <a:pt x="531" y="424"/>
                  </a:lnTo>
                  <a:lnTo>
                    <a:pt x="476" y="382"/>
                  </a:lnTo>
                  <a:lnTo>
                    <a:pt x="426" y="345"/>
                  </a:lnTo>
                  <a:lnTo>
                    <a:pt x="414" y="337"/>
                  </a:lnTo>
                  <a:lnTo>
                    <a:pt x="401" y="332"/>
                  </a:lnTo>
                  <a:lnTo>
                    <a:pt x="387" y="328"/>
                  </a:lnTo>
                  <a:lnTo>
                    <a:pt x="372" y="326"/>
                  </a:lnTo>
                  <a:lnTo>
                    <a:pt x="357" y="326"/>
                  </a:lnTo>
                  <a:lnTo>
                    <a:pt x="339" y="328"/>
                  </a:lnTo>
                  <a:lnTo>
                    <a:pt x="320" y="332"/>
                  </a:lnTo>
                  <a:lnTo>
                    <a:pt x="299" y="337"/>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90" name="Freeform 96"/>
            <p:cNvSpPr>
              <a:spLocks/>
            </p:cNvSpPr>
            <p:nvPr>
              <p:custDataLst>
                <p:tags r:id="rId71"/>
              </p:custDataLst>
            </p:nvPr>
          </p:nvSpPr>
          <p:spPr bwMode="gray">
            <a:xfrm>
              <a:off x="7645400" y="3133541"/>
              <a:ext cx="1228725" cy="2027237"/>
            </a:xfrm>
            <a:custGeom>
              <a:avLst/>
              <a:gdLst>
                <a:gd name="T0" fmla="*/ 2147483647 w 792"/>
                <a:gd name="T1" fmla="*/ 2147483647 h 1355"/>
                <a:gd name="T2" fmla="*/ 2147483647 w 792"/>
                <a:gd name="T3" fmla="*/ 2147483647 h 1355"/>
                <a:gd name="T4" fmla="*/ 2147483647 w 792"/>
                <a:gd name="T5" fmla="*/ 2147483647 h 1355"/>
                <a:gd name="T6" fmla="*/ 2147483647 w 792"/>
                <a:gd name="T7" fmla="*/ 2147483647 h 1355"/>
                <a:gd name="T8" fmla="*/ 2147483647 w 792"/>
                <a:gd name="T9" fmla="*/ 2147483647 h 1355"/>
                <a:gd name="T10" fmla="*/ 2147483647 w 792"/>
                <a:gd name="T11" fmla="*/ 2147483647 h 1355"/>
                <a:gd name="T12" fmla="*/ 2147483647 w 792"/>
                <a:gd name="T13" fmla="*/ 2147483647 h 1355"/>
                <a:gd name="T14" fmla="*/ 2147483647 w 792"/>
                <a:gd name="T15" fmla="*/ 2147483647 h 1355"/>
                <a:gd name="T16" fmla="*/ 2147483647 w 792"/>
                <a:gd name="T17" fmla="*/ 2147483647 h 1355"/>
                <a:gd name="T18" fmla="*/ 2147483647 w 792"/>
                <a:gd name="T19" fmla="*/ 2147483647 h 1355"/>
                <a:gd name="T20" fmla="*/ 2147483647 w 792"/>
                <a:gd name="T21" fmla="*/ 2147483647 h 1355"/>
                <a:gd name="T22" fmla="*/ 2147483647 w 792"/>
                <a:gd name="T23" fmla="*/ 2147483647 h 1355"/>
                <a:gd name="T24" fmla="*/ 2147483647 w 792"/>
                <a:gd name="T25" fmla="*/ 2147483647 h 1355"/>
                <a:gd name="T26" fmla="*/ 2147483647 w 792"/>
                <a:gd name="T27" fmla="*/ 2147483647 h 1355"/>
                <a:gd name="T28" fmla="*/ 2147483647 w 792"/>
                <a:gd name="T29" fmla="*/ 2147483647 h 1355"/>
                <a:gd name="T30" fmla="*/ 2147483647 w 792"/>
                <a:gd name="T31" fmla="*/ 2147483647 h 1355"/>
                <a:gd name="T32" fmla="*/ 2147483647 w 792"/>
                <a:gd name="T33" fmla="*/ 2147483647 h 1355"/>
                <a:gd name="T34" fmla="*/ 2147483647 w 792"/>
                <a:gd name="T35" fmla="*/ 2147483647 h 1355"/>
                <a:gd name="T36" fmla="*/ 2147483647 w 792"/>
                <a:gd name="T37" fmla="*/ 2147483647 h 1355"/>
                <a:gd name="T38" fmla="*/ 2147483647 w 792"/>
                <a:gd name="T39" fmla="*/ 2147483647 h 1355"/>
                <a:gd name="T40" fmla="*/ 0 w 792"/>
                <a:gd name="T41" fmla="*/ 2147483647 h 1355"/>
                <a:gd name="T42" fmla="*/ 0 w 792"/>
                <a:gd name="T43" fmla="*/ 2147483647 h 1355"/>
                <a:gd name="T44" fmla="*/ 2147483647 w 792"/>
                <a:gd name="T45" fmla="*/ 2147483647 h 1355"/>
                <a:gd name="T46" fmla="*/ 2147483647 w 792"/>
                <a:gd name="T47" fmla="*/ 2147483647 h 1355"/>
                <a:gd name="T48" fmla="*/ 2147483647 w 792"/>
                <a:gd name="T49" fmla="*/ 2147483647 h 1355"/>
                <a:gd name="T50" fmla="*/ 2147483647 w 792"/>
                <a:gd name="T51" fmla="*/ 2147483647 h 1355"/>
                <a:gd name="T52" fmla="*/ 2147483647 w 792"/>
                <a:gd name="T53" fmla="*/ 2147483647 h 1355"/>
                <a:gd name="T54" fmla="*/ 2147483647 w 792"/>
                <a:gd name="T55" fmla="*/ 2147483647 h 1355"/>
                <a:gd name="T56" fmla="*/ 2147483647 w 792"/>
                <a:gd name="T57" fmla="*/ 2147483647 h 1355"/>
                <a:gd name="T58" fmla="*/ 2147483647 w 792"/>
                <a:gd name="T59" fmla="*/ 2147483647 h 1355"/>
                <a:gd name="T60" fmla="*/ 2147483647 w 792"/>
                <a:gd name="T61" fmla="*/ 2147483647 h 1355"/>
                <a:gd name="T62" fmla="*/ 2147483647 w 792"/>
                <a:gd name="T63" fmla="*/ 2147483647 h 1355"/>
                <a:gd name="T64" fmla="*/ 2147483647 w 792"/>
                <a:gd name="T65" fmla="*/ 2147483647 h 1355"/>
                <a:gd name="T66" fmla="*/ 2147483647 w 792"/>
                <a:gd name="T67" fmla="*/ 2147483647 h 1355"/>
                <a:gd name="T68" fmla="*/ 2147483647 w 792"/>
                <a:gd name="T69" fmla="*/ 2147483647 h 1355"/>
                <a:gd name="T70" fmla="*/ 2147483647 w 792"/>
                <a:gd name="T71" fmla="*/ 2147483647 h 1355"/>
                <a:gd name="T72" fmla="*/ 2147483647 w 792"/>
                <a:gd name="T73" fmla="*/ 2147483647 h 1355"/>
                <a:gd name="T74" fmla="*/ 2147483647 w 792"/>
                <a:gd name="T75" fmla="*/ 2147483647 h 1355"/>
                <a:gd name="T76" fmla="*/ 2147483647 w 792"/>
                <a:gd name="T77" fmla="*/ 2147483647 h 1355"/>
                <a:gd name="T78" fmla="*/ 2147483647 w 792"/>
                <a:gd name="T79" fmla="*/ 2147483647 h 1355"/>
                <a:gd name="T80" fmla="*/ 2147483647 w 792"/>
                <a:gd name="T81" fmla="*/ 2147483647 h 1355"/>
                <a:gd name="T82" fmla="*/ 2147483647 w 792"/>
                <a:gd name="T83" fmla="*/ 2147483647 h 1355"/>
                <a:gd name="T84" fmla="*/ 2147483647 w 792"/>
                <a:gd name="T85" fmla="*/ 2147483647 h 1355"/>
                <a:gd name="T86" fmla="*/ 2147483647 w 792"/>
                <a:gd name="T87" fmla="*/ 2147483647 h 1355"/>
                <a:gd name="T88" fmla="*/ 2147483647 w 792"/>
                <a:gd name="T89" fmla="*/ 2147483647 h 1355"/>
                <a:gd name="T90" fmla="*/ 2147483647 w 792"/>
                <a:gd name="T91" fmla="*/ 2147483647 h 1355"/>
                <a:gd name="T92" fmla="*/ 2147483647 w 792"/>
                <a:gd name="T93" fmla="*/ 2147483647 h 1355"/>
                <a:gd name="T94" fmla="*/ 2147483647 w 792"/>
                <a:gd name="T95" fmla="*/ 2147483647 h 1355"/>
                <a:gd name="T96" fmla="*/ 2147483647 w 792"/>
                <a:gd name="T97" fmla="*/ 2147483647 h 1355"/>
                <a:gd name="T98" fmla="*/ 2147483647 w 792"/>
                <a:gd name="T99" fmla="*/ 2147483647 h 1355"/>
                <a:gd name="T100" fmla="*/ 2147483647 w 792"/>
                <a:gd name="T101" fmla="*/ 2147483647 h 1355"/>
                <a:gd name="T102" fmla="*/ 2147483647 w 792"/>
                <a:gd name="T103" fmla="*/ 2147483647 h 1355"/>
                <a:gd name="T104" fmla="*/ 2147483647 w 792"/>
                <a:gd name="T105" fmla="*/ 2147483647 h 1355"/>
                <a:gd name="T106" fmla="*/ 2147483647 w 792"/>
                <a:gd name="T107" fmla="*/ 2147483647 h 1355"/>
                <a:gd name="T108" fmla="*/ 2147483647 w 792"/>
                <a:gd name="T109" fmla="*/ 2147483647 h 1355"/>
                <a:gd name="T110" fmla="*/ 2147483647 w 792"/>
                <a:gd name="T111" fmla="*/ 2147483647 h 1355"/>
                <a:gd name="T112" fmla="*/ 2147483647 w 792"/>
                <a:gd name="T113" fmla="*/ 2147483647 h 1355"/>
                <a:gd name="T114" fmla="*/ 2147483647 w 792"/>
                <a:gd name="T115" fmla="*/ 2147483647 h 1355"/>
                <a:gd name="T116" fmla="*/ 2147483647 w 792"/>
                <a:gd name="T117" fmla="*/ 2147483647 h 135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92"/>
                <a:gd name="T178" fmla="*/ 0 h 1355"/>
                <a:gd name="T179" fmla="*/ 792 w 792"/>
                <a:gd name="T180" fmla="*/ 1355 h 135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92" h="1355">
                  <a:moveTo>
                    <a:pt x="608" y="1259"/>
                  </a:moveTo>
                  <a:lnTo>
                    <a:pt x="612" y="1255"/>
                  </a:lnTo>
                  <a:lnTo>
                    <a:pt x="615" y="1251"/>
                  </a:lnTo>
                  <a:lnTo>
                    <a:pt x="606" y="1240"/>
                  </a:lnTo>
                  <a:lnTo>
                    <a:pt x="598" y="1228"/>
                  </a:lnTo>
                  <a:lnTo>
                    <a:pt x="598" y="1224"/>
                  </a:lnTo>
                  <a:lnTo>
                    <a:pt x="598" y="1219"/>
                  </a:lnTo>
                  <a:lnTo>
                    <a:pt x="594" y="1215"/>
                  </a:lnTo>
                  <a:lnTo>
                    <a:pt x="589" y="1209"/>
                  </a:lnTo>
                  <a:lnTo>
                    <a:pt x="575" y="1209"/>
                  </a:lnTo>
                  <a:lnTo>
                    <a:pt x="560" y="1209"/>
                  </a:lnTo>
                  <a:lnTo>
                    <a:pt x="554" y="1215"/>
                  </a:lnTo>
                  <a:lnTo>
                    <a:pt x="550" y="1219"/>
                  </a:lnTo>
                  <a:lnTo>
                    <a:pt x="539" y="1222"/>
                  </a:lnTo>
                  <a:lnTo>
                    <a:pt x="533" y="1224"/>
                  </a:lnTo>
                  <a:lnTo>
                    <a:pt x="527" y="1230"/>
                  </a:lnTo>
                  <a:lnTo>
                    <a:pt x="521" y="1238"/>
                  </a:lnTo>
                  <a:lnTo>
                    <a:pt x="510" y="1238"/>
                  </a:lnTo>
                  <a:lnTo>
                    <a:pt x="496" y="1238"/>
                  </a:lnTo>
                  <a:lnTo>
                    <a:pt x="495" y="1236"/>
                  </a:lnTo>
                  <a:lnTo>
                    <a:pt x="493" y="1234"/>
                  </a:lnTo>
                  <a:lnTo>
                    <a:pt x="487" y="1232"/>
                  </a:lnTo>
                  <a:lnTo>
                    <a:pt x="473" y="1230"/>
                  </a:lnTo>
                  <a:lnTo>
                    <a:pt x="460" y="1232"/>
                  </a:lnTo>
                  <a:lnTo>
                    <a:pt x="454" y="1234"/>
                  </a:lnTo>
                  <a:lnTo>
                    <a:pt x="452" y="1236"/>
                  </a:lnTo>
                  <a:lnTo>
                    <a:pt x="449" y="1238"/>
                  </a:lnTo>
                  <a:lnTo>
                    <a:pt x="437" y="1242"/>
                  </a:lnTo>
                  <a:lnTo>
                    <a:pt x="425" y="1244"/>
                  </a:lnTo>
                  <a:lnTo>
                    <a:pt x="422" y="1245"/>
                  </a:lnTo>
                  <a:lnTo>
                    <a:pt x="420" y="1249"/>
                  </a:lnTo>
                  <a:lnTo>
                    <a:pt x="418" y="1249"/>
                  </a:lnTo>
                  <a:lnTo>
                    <a:pt x="416" y="1251"/>
                  </a:lnTo>
                  <a:lnTo>
                    <a:pt x="414" y="1257"/>
                  </a:lnTo>
                  <a:lnTo>
                    <a:pt x="414" y="1267"/>
                  </a:lnTo>
                  <a:lnTo>
                    <a:pt x="402" y="1267"/>
                  </a:lnTo>
                  <a:lnTo>
                    <a:pt x="391" y="1267"/>
                  </a:lnTo>
                  <a:lnTo>
                    <a:pt x="389" y="1265"/>
                  </a:lnTo>
                  <a:lnTo>
                    <a:pt x="385" y="1263"/>
                  </a:lnTo>
                  <a:lnTo>
                    <a:pt x="383" y="1255"/>
                  </a:lnTo>
                  <a:lnTo>
                    <a:pt x="381" y="1249"/>
                  </a:lnTo>
                  <a:lnTo>
                    <a:pt x="379" y="1245"/>
                  </a:lnTo>
                  <a:lnTo>
                    <a:pt x="376" y="1244"/>
                  </a:lnTo>
                  <a:lnTo>
                    <a:pt x="374" y="1242"/>
                  </a:lnTo>
                  <a:lnTo>
                    <a:pt x="372" y="1238"/>
                  </a:lnTo>
                  <a:lnTo>
                    <a:pt x="370" y="1236"/>
                  </a:lnTo>
                  <a:lnTo>
                    <a:pt x="366" y="1234"/>
                  </a:lnTo>
                  <a:lnTo>
                    <a:pt x="364" y="1232"/>
                  </a:lnTo>
                  <a:lnTo>
                    <a:pt x="362" y="1228"/>
                  </a:lnTo>
                  <a:lnTo>
                    <a:pt x="360" y="1226"/>
                  </a:lnTo>
                  <a:lnTo>
                    <a:pt x="356" y="1224"/>
                  </a:lnTo>
                  <a:lnTo>
                    <a:pt x="355" y="1222"/>
                  </a:lnTo>
                  <a:lnTo>
                    <a:pt x="353" y="1219"/>
                  </a:lnTo>
                  <a:lnTo>
                    <a:pt x="349" y="1217"/>
                  </a:lnTo>
                  <a:lnTo>
                    <a:pt x="347" y="1215"/>
                  </a:lnTo>
                  <a:lnTo>
                    <a:pt x="335" y="1213"/>
                  </a:lnTo>
                  <a:lnTo>
                    <a:pt x="324" y="1209"/>
                  </a:lnTo>
                  <a:lnTo>
                    <a:pt x="320" y="1207"/>
                  </a:lnTo>
                  <a:lnTo>
                    <a:pt x="318" y="1205"/>
                  </a:lnTo>
                  <a:lnTo>
                    <a:pt x="310" y="1201"/>
                  </a:lnTo>
                  <a:lnTo>
                    <a:pt x="305" y="1199"/>
                  </a:lnTo>
                  <a:lnTo>
                    <a:pt x="301" y="1197"/>
                  </a:lnTo>
                  <a:lnTo>
                    <a:pt x="299" y="1196"/>
                  </a:lnTo>
                  <a:lnTo>
                    <a:pt x="297" y="1174"/>
                  </a:lnTo>
                  <a:lnTo>
                    <a:pt x="297" y="1153"/>
                  </a:lnTo>
                  <a:lnTo>
                    <a:pt x="295" y="1134"/>
                  </a:lnTo>
                  <a:lnTo>
                    <a:pt x="293" y="1113"/>
                  </a:lnTo>
                  <a:lnTo>
                    <a:pt x="291" y="1111"/>
                  </a:lnTo>
                  <a:lnTo>
                    <a:pt x="289" y="1107"/>
                  </a:lnTo>
                  <a:lnTo>
                    <a:pt x="291" y="1105"/>
                  </a:lnTo>
                  <a:lnTo>
                    <a:pt x="293" y="1103"/>
                  </a:lnTo>
                  <a:lnTo>
                    <a:pt x="297" y="1102"/>
                  </a:lnTo>
                  <a:lnTo>
                    <a:pt x="299" y="1098"/>
                  </a:lnTo>
                  <a:lnTo>
                    <a:pt x="301" y="1096"/>
                  </a:lnTo>
                  <a:lnTo>
                    <a:pt x="305" y="1094"/>
                  </a:lnTo>
                  <a:lnTo>
                    <a:pt x="307" y="1086"/>
                  </a:lnTo>
                  <a:lnTo>
                    <a:pt x="308" y="1079"/>
                  </a:lnTo>
                  <a:lnTo>
                    <a:pt x="310" y="1077"/>
                  </a:lnTo>
                  <a:lnTo>
                    <a:pt x="314" y="1075"/>
                  </a:lnTo>
                  <a:lnTo>
                    <a:pt x="316" y="1061"/>
                  </a:lnTo>
                  <a:lnTo>
                    <a:pt x="318" y="1050"/>
                  </a:lnTo>
                  <a:lnTo>
                    <a:pt x="320" y="1048"/>
                  </a:lnTo>
                  <a:lnTo>
                    <a:pt x="324" y="1046"/>
                  </a:lnTo>
                  <a:lnTo>
                    <a:pt x="326" y="1032"/>
                  </a:lnTo>
                  <a:lnTo>
                    <a:pt x="328" y="1021"/>
                  </a:lnTo>
                  <a:lnTo>
                    <a:pt x="330" y="1019"/>
                  </a:lnTo>
                  <a:lnTo>
                    <a:pt x="333" y="1017"/>
                  </a:lnTo>
                  <a:lnTo>
                    <a:pt x="333" y="1011"/>
                  </a:lnTo>
                  <a:lnTo>
                    <a:pt x="333" y="1006"/>
                  </a:lnTo>
                  <a:lnTo>
                    <a:pt x="330" y="1004"/>
                  </a:lnTo>
                  <a:lnTo>
                    <a:pt x="328" y="1002"/>
                  </a:lnTo>
                  <a:lnTo>
                    <a:pt x="326" y="1000"/>
                  </a:lnTo>
                  <a:lnTo>
                    <a:pt x="324" y="996"/>
                  </a:lnTo>
                  <a:lnTo>
                    <a:pt x="320" y="994"/>
                  </a:lnTo>
                  <a:lnTo>
                    <a:pt x="318" y="992"/>
                  </a:lnTo>
                  <a:lnTo>
                    <a:pt x="318" y="984"/>
                  </a:lnTo>
                  <a:lnTo>
                    <a:pt x="318" y="977"/>
                  </a:lnTo>
                  <a:lnTo>
                    <a:pt x="347" y="977"/>
                  </a:lnTo>
                  <a:lnTo>
                    <a:pt x="360" y="977"/>
                  </a:lnTo>
                  <a:lnTo>
                    <a:pt x="364" y="977"/>
                  </a:lnTo>
                  <a:lnTo>
                    <a:pt x="366" y="975"/>
                  </a:lnTo>
                  <a:lnTo>
                    <a:pt x="366" y="973"/>
                  </a:lnTo>
                  <a:lnTo>
                    <a:pt x="370" y="969"/>
                  </a:lnTo>
                  <a:lnTo>
                    <a:pt x="372" y="967"/>
                  </a:lnTo>
                  <a:lnTo>
                    <a:pt x="372" y="944"/>
                  </a:lnTo>
                  <a:lnTo>
                    <a:pt x="372" y="919"/>
                  </a:lnTo>
                  <a:lnTo>
                    <a:pt x="370" y="917"/>
                  </a:lnTo>
                  <a:lnTo>
                    <a:pt x="366" y="913"/>
                  </a:lnTo>
                  <a:lnTo>
                    <a:pt x="364" y="908"/>
                  </a:lnTo>
                  <a:lnTo>
                    <a:pt x="362" y="900"/>
                  </a:lnTo>
                  <a:lnTo>
                    <a:pt x="360" y="898"/>
                  </a:lnTo>
                  <a:lnTo>
                    <a:pt x="356" y="896"/>
                  </a:lnTo>
                  <a:lnTo>
                    <a:pt x="355" y="892"/>
                  </a:lnTo>
                  <a:lnTo>
                    <a:pt x="353" y="890"/>
                  </a:lnTo>
                  <a:lnTo>
                    <a:pt x="349" y="889"/>
                  </a:lnTo>
                  <a:lnTo>
                    <a:pt x="347" y="885"/>
                  </a:lnTo>
                  <a:lnTo>
                    <a:pt x="337" y="885"/>
                  </a:lnTo>
                  <a:lnTo>
                    <a:pt x="328" y="885"/>
                  </a:lnTo>
                  <a:lnTo>
                    <a:pt x="326" y="889"/>
                  </a:lnTo>
                  <a:lnTo>
                    <a:pt x="324" y="890"/>
                  </a:lnTo>
                  <a:lnTo>
                    <a:pt x="316" y="892"/>
                  </a:lnTo>
                  <a:lnTo>
                    <a:pt x="308" y="896"/>
                  </a:lnTo>
                  <a:lnTo>
                    <a:pt x="307" y="898"/>
                  </a:lnTo>
                  <a:lnTo>
                    <a:pt x="305" y="900"/>
                  </a:lnTo>
                  <a:lnTo>
                    <a:pt x="301" y="902"/>
                  </a:lnTo>
                  <a:lnTo>
                    <a:pt x="299" y="906"/>
                  </a:lnTo>
                  <a:lnTo>
                    <a:pt x="297" y="908"/>
                  </a:lnTo>
                  <a:lnTo>
                    <a:pt x="293" y="910"/>
                  </a:lnTo>
                  <a:lnTo>
                    <a:pt x="291" y="912"/>
                  </a:lnTo>
                  <a:lnTo>
                    <a:pt x="289" y="913"/>
                  </a:lnTo>
                  <a:lnTo>
                    <a:pt x="287" y="917"/>
                  </a:lnTo>
                  <a:lnTo>
                    <a:pt x="285" y="919"/>
                  </a:lnTo>
                  <a:lnTo>
                    <a:pt x="282" y="921"/>
                  </a:lnTo>
                  <a:lnTo>
                    <a:pt x="280" y="925"/>
                  </a:lnTo>
                  <a:lnTo>
                    <a:pt x="278" y="927"/>
                  </a:lnTo>
                  <a:lnTo>
                    <a:pt x="274" y="929"/>
                  </a:lnTo>
                  <a:lnTo>
                    <a:pt x="272" y="937"/>
                  </a:lnTo>
                  <a:lnTo>
                    <a:pt x="270" y="944"/>
                  </a:lnTo>
                  <a:lnTo>
                    <a:pt x="266" y="946"/>
                  </a:lnTo>
                  <a:lnTo>
                    <a:pt x="264" y="948"/>
                  </a:lnTo>
                  <a:lnTo>
                    <a:pt x="262" y="956"/>
                  </a:lnTo>
                  <a:lnTo>
                    <a:pt x="260" y="963"/>
                  </a:lnTo>
                  <a:lnTo>
                    <a:pt x="259" y="965"/>
                  </a:lnTo>
                  <a:lnTo>
                    <a:pt x="255" y="967"/>
                  </a:lnTo>
                  <a:lnTo>
                    <a:pt x="247" y="969"/>
                  </a:lnTo>
                  <a:lnTo>
                    <a:pt x="241" y="973"/>
                  </a:lnTo>
                  <a:lnTo>
                    <a:pt x="237" y="975"/>
                  </a:lnTo>
                  <a:lnTo>
                    <a:pt x="236" y="977"/>
                  </a:lnTo>
                  <a:lnTo>
                    <a:pt x="234" y="981"/>
                  </a:lnTo>
                  <a:lnTo>
                    <a:pt x="232" y="983"/>
                  </a:lnTo>
                  <a:lnTo>
                    <a:pt x="228" y="984"/>
                  </a:lnTo>
                  <a:lnTo>
                    <a:pt x="226" y="986"/>
                  </a:lnTo>
                  <a:lnTo>
                    <a:pt x="216" y="986"/>
                  </a:lnTo>
                  <a:lnTo>
                    <a:pt x="207" y="986"/>
                  </a:lnTo>
                  <a:lnTo>
                    <a:pt x="205" y="984"/>
                  </a:lnTo>
                  <a:lnTo>
                    <a:pt x="203" y="983"/>
                  </a:lnTo>
                  <a:lnTo>
                    <a:pt x="199" y="981"/>
                  </a:lnTo>
                  <a:lnTo>
                    <a:pt x="197" y="977"/>
                  </a:lnTo>
                  <a:lnTo>
                    <a:pt x="195" y="975"/>
                  </a:lnTo>
                  <a:lnTo>
                    <a:pt x="193" y="973"/>
                  </a:lnTo>
                  <a:lnTo>
                    <a:pt x="166" y="969"/>
                  </a:lnTo>
                  <a:lnTo>
                    <a:pt x="140" y="967"/>
                  </a:lnTo>
                  <a:lnTo>
                    <a:pt x="138" y="965"/>
                  </a:lnTo>
                  <a:lnTo>
                    <a:pt x="134" y="963"/>
                  </a:lnTo>
                  <a:lnTo>
                    <a:pt x="138" y="960"/>
                  </a:lnTo>
                  <a:lnTo>
                    <a:pt x="140" y="958"/>
                  </a:lnTo>
                  <a:lnTo>
                    <a:pt x="142" y="931"/>
                  </a:lnTo>
                  <a:lnTo>
                    <a:pt x="143" y="906"/>
                  </a:lnTo>
                  <a:lnTo>
                    <a:pt x="147" y="902"/>
                  </a:lnTo>
                  <a:lnTo>
                    <a:pt x="149" y="900"/>
                  </a:lnTo>
                  <a:lnTo>
                    <a:pt x="151" y="889"/>
                  </a:lnTo>
                  <a:lnTo>
                    <a:pt x="153" y="875"/>
                  </a:lnTo>
                  <a:lnTo>
                    <a:pt x="157" y="873"/>
                  </a:lnTo>
                  <a:lnTo>
                    <a:pt x="159" y="871"/>
                  </a:lnTo>
                  <a:lnTo>
                    <a:pt x="161" y="860"/>
                  </a:lnTo>
                  <a:lnTo>
                    <a:pt x="165" y="846"/>
                  </a:lnTo>
                  <a:lnTo>
                    <a:pt x="166" y="844"/>
                  </a:lnTo>
                  <a:lnTo>
                    <a:pt x="168" y="843"/>
                  </a:lnTo>
                  <a:lnTo>
                    <a:pt x="170" y="837"/>
                  </a:lnTo>
                  <a:lnTo>
                    <a:pt x="172" y="827"/>
                  </a:lnTo>
                  <a:lnTo>
                    <a:pt x="170" y="818"/>
                  </a:lnTo>
                  <a:lnTo>
                    <a:pt x="168" y="814"/>
                  </a:lnTo>
                  <a:lnTo>
                    <a:pt x="166" y="810"/>
                  </a:lnTo>
                  <a:lnTo>
                    <a:pt x="165" y="808"/>
                  </a:lnTo>
                  <a:lnTo>
                    <a:pt x="157" y="806"/>
                  </a:lnTo>
                  <a:lnTo>
                    <a:pt x="140" y="804"/>
                  </a:lnTo>
                  <a:lnTo>
                    <a:pt x="122" y="806"/>
                  </a:lnTo>
                  <a:lnTo>
                    <a:pt x="115" y="808"/>
                  </a:lnTo>
                  <a:lnTo>
                    <a:pt x="113" y="810"/>
                  </a:lnTo>
                  <a:lnTo>
                    <a:pt x="111" y="814"/>
                  </a:lnTo>
                  <a:lnTo>
                    <a:pt x="105" y="814"/>
                  </a:lnTo>
                  <a:lnTo>
                    <a:pt x="101" y="814"/>
                  </a:lnTo>
                  <a:lnTo>
                    <a:pt x="97" y="810"/>
                  </a:lnTo>
                  <a:lnTo>
                    <a:pt x="95" y="808"/>
                  </a:lnTo>
                  <a:lnTo>
                    <a:pt x="94" y="806"/>
                  </a:lnTo>
                  <a:lnTo>
                    <a:pt x="92" y="804"/>
                  </a:lnTo>
                  <a:lnTo>
                    <a:pt x="88" y="800"/>
                  </a:lnTo>
                  <a:lnTo>
                    <a:pt x="86" y="798"/>
                  </a:lnTo>
                  <a:lnTo>
                    <a:pt x="84" y="796"/>
                  </a:lnTo>
                  <a:lnTo>
                    <a:pt x="82" y="795"/>
                  </a:lnTo>
                  <a:lnTo>
                    <a:pt x="78" y="791"/>
                  </a:lnTo>
                  <a:lnTo>
                    <a:pt x="76" y="789"/>
                  </a:lnTo>
                  <a:lnTo>
                    <a:pt x="74" y="768"/>
                  </a:lnTo>
                  <a:lnTo>
                    <a:pt x="72" y="747"/>
                  </a:lnTo>
                  <a:lnTo>
                    <a:pt x="69" y="743"/>
                  </a:lnTo>
                  <a:lnTo>
                    <a:pt x="67" y="741"/>
                  </a:lnTo>
                  <a:lnTo>
                    <a:pt x="59" y="737"/>
                  </a:lnTo>
                  <a:lnTo>
                    <a:pt x="53" y="735"/>
                  </a:lnTo>
                  <a:lnTo>
                    <a:pt x="49" y="733"/>
                  </a:lnTo>
                  <a:lnTo>
                    <a:pt x="48" y="731"/>
                  </a:lnTo>
                  <a:lnTo>
                    <a:pt x="40" y="727"/>
                  </a:lnTo>
                  <a:lnTo>
                    <a:pt x="32" y="725"/>
                  </a:lnTo>
                  <a:lnTo>
                    <a:pt x="30" y="724"/>
                  </a:lnTo>
                  <a:lnTo>
                    <a:pt x="28" y="722"/>
                  </a:lnTo>
                  <a:lnTo>
                    <a:pt x="28" y="712"/>
                  </a:lnTo>
                  <a:lnTo>
                    <a:pt x="28" y="702"/>
                  </a:lnTo>
                  <a:lnTo>
                    <a:pt x="30" y="699"/>
                  </a:lnTo>
                  <a:lnTo>
                    <a:pt x="32" y="697"/>
                  </a:lnTo>
                  <a:lnTo>
                    <a:pt x="36" y="697"/>
                  </a:lnTo>
                  <a:lnTo>
                    <a:pt x="38" y="693"/>
                  </a:lnTo>
                  <a:lnTo>
                    <a:pt x="38" y="685"/>
                  </a:lnTo>
                  <a:lnTo>
                    <a:pt x="38" y="668"/>
                  </a:lnTo>
                  <a:lnTo>
                    <a:pt x="30" y="668"/>
                  </a:lnTo>
                  <a:lnTo>
                    <a:pt x="23" y="668"/>
                  </a:lnTo>
                  <a:lnTo>
                    <a:pt x="21" y="666"/>
                  </a:lnTo>
                  <a:lnTo>
                    <a:pt x="19" y="664"/>
                  </a:lnTo>
                  <a:lnTo>
                    <a:pt x="11" y="660"/>
                  </a:lnTo>
                  <a:lnTo>
                    <a:pt x="3" y="658"/>
                  </a:lnTo>
                  <a:lnTo>
                    <a:pt x="1" y="656"/>
                  </a:lnTo>
                  <a:lnTo>
                    <a:pt x="0" y="653"/>
                  </a:lnTo>
                  <a:lnTo>
                    <a:pt x="0" y="649"/>
                  </a:lnTo>
                  <a:lnTo>
                    <a:pt x="0" y="643"/>
                  </a:lnTo>
                  <a:lnTo>
                    <a:pt x="1" y="641"/>
                  </a:lnTo>
                  <a:lnTo>
                    <a:pt x="3" y="639"/>
                  </a:lnTo>
                  <a:lnTo>
                    <a:pt x="3" y="624"/>
                  </a:lnTo>
                  <a:lnTo>
                    <a:pt x="3" y="610"/>
                  </a:lnTo>
                  <a:lnTo>
                    <a:pt x="3" y="595"/>
                  </a:lnTo>
                  <a:lnTo>
                    <a:pt x="3" y="582"/>
                  </a:lnTo>
                  <a:lnTo>
                    <a:pt x="1" y="578"/>
                  </a:lnTo>
                  <a:lnTo>
                    <a:pt x="0" y="576"/>
                  </a:lnTo>
                  <a:lnTo>
                    <a:pt x="0" y="557"/>
                  </a:lnTo>
                  <a:lnTo>
                    <a:pt x="0" y="537"/>
                  </a:lnTo>
                  <a:lnTo>
                    <a:pt x="1" y="536"/>
                  </a:lnTo>
                  <a:lnTo>
                    <a:pt x="3" y="532"/>
                  </a:lnTo>
                  <a:lnTo>
                    <a:pt x="11" y="530"/>
                  </a:lnTo>
                  <a:lnTo>
                    <a:pt x="19" y="528"/>
                  </a:lnTo>
                  <a:lnTo>
                    <a:pt x="21" y="526"/>
                  </a:lnTo>
                  <a:lnTo>
                    <a:pt x="23" y="522"/>
                  </a:lnTo>
                  <a:lnTo>
                    <a:pt x="26" y="520"/>
                  </a:lnTo>
                  <a:lnTo>
                    <a:pt x="28" y="518"/>
                  </a:lnTo>
                  <a:lnTo>
                    <a:pt x="30" y="516"/>
                  </a:lnTo>
                  <a:lnTo>
                    <a:pt x="32" y="514"/>
                  </a:lnTo>
                  <a:lnTo>
                    <a:pt x="36" y="511"/>
                  </a:lnTo>
                  <a:lnTo>
                    <a:pt x="38" y="509"/>
                  </a:lnTo>
                  <a:lnTo>
                    <a:pt x="40" y="507"/>
                  </a:lnTo>
                  <a:lnTo>
                    <a:pt x="44" y="503"/>
                  </a:lnTo>
                  <a:lnTo>
                    <a:pt x="49" y="501"/>
                  </a:lnTo>
                  <a:lnTo>
                    <a:pt x="57" y="499"/>
                  </a:lnTo>
                  <a:lnTo>
                    <a:pt x="59" y="495"/>
                  </a:lnTo>
                  <a:lnTo>
                    <a:pt x="61" y="493"/>
                  </a:lnTo>
                  <a:lnTo>
                    <a:pt x="65" y="476"/>
                  </a:lnTo>
                  <a:lnTo>
                    <a:pt x="67" y="461"/>
                  </a:lnTo>
                  <a:lnTo>
                    <a:pt x="69" y="457"/>
                  </a:lnTo>
                  <a:lnTo>
                    <a:pt x="72" y="455"/>
                  </a:lnTo>
                  <a:lnTo>
                    <a:pt x="74" y="453"/>
                  </a:lnTo>
                  <a:lnTo>
                    <a:pt x="76" y="449"/>
                  </a:lnTo>
                  <a:lnTo>
                    <a:pt x="78" y="447"/>
                  </a:lnTo>
                  <a:lnTo>
                    <a:pt x="82" y="445"/>
                  </a:lnTo>
                  <a:lnTo>
                    <a:pt x="94" y="443"/>
                  </a:lnTo>
                  <a:lnTo>
                    <a:pt x="105" y="441"/>
                  </a:lnTo>
                  <a:lnTo>
                    <a:pt x="107" y="438"/>
                  </a:lnTo>
                  <a:lnTo>
                    <a:pt x="111" y="436"/>
                  </a:lnTo>
                  <a:lnTo>
                    <a:pt x="113" y="434"/>
                  </a:lnTo>
                  <a:lnTo>
                    <a:pt x="115" y="432"/>
                  </a:lnTo>
                  <a:lnTo>
                    <a:pt x="117" y="428"/>
                  </a:lnTo>
                  <a:lnTo>
                    <a:pt x="120" y="426"/>
                  </a:lnTo>
                  <a:lnTo>
                    <a:pt x="122" y="405"/>
                  </a:lnTo>
                  <a:lnTo>
                    <a:pt x="124" y="382"/>
                  </a:lnTo>
                  <a:lnTo>
                    <a:pt x="128" y="380"/>
                  </a:lnTo>
                  <a:lnTo>
                    <a:pt x="130" y="378"/>
                  </a:lnTo>
                  <a:lnTo>
                    <a:pt x="132" y="353"/>
                  </a:lnTo>
                  <a:lnTo>
                    <a:pt x="134" y="330"/>
                  </a:lnTo>
                  <a:lnTo>
                    <a:pt x="126" y="330"/>
                  </a:lnTo>
                  <a:lnTo>
                    <a:pt x="120" y="330"/>
                  </a:lnTo>
                  <a:lnTo>
                    <a:pt x="117" y="326"/>
                  </a:lnTo>
                  <a:lnTo>
                    <a:pt x="115" y="324"/>
                  </a:lnTo>
                  <a:lnTo>
                    <a:pt x="113" y="323"/>
                  </a:lnTo>
                  <a:lnTo>
                    <a:pt x="111" y="321"/>
                  </a:lnTo>
                  <a:lnTo>
                    <a:pt x="107" y="317"/>
                  </a:lnTo>
                  <a:lnTo>
                    <a:pt x="105" y="315"/>
                  </a:lnTo>
                  <a:lnTo>
                    <a:pt x="103" y="313"/>
                  </a:lnTo>
                  <a:lnTo>
                    <a:pt x="101" y="311"/>
                  </a:lnTo>
                  <a:lnTo>
                    <a:pt x="97" y="307"/>
                  </a:lnTo>
                  <a:lnTo>
                    <a:pt x="95" y="305"/>
                  </a:lnTo>
                  <a:lnTo>
                    <a:pt x="94" y="303"/>
                  </a:lnTo>
                  <a:lnTo>
                    <a:pt x="92" y="299"/>
                  </a:lnTo>
                  <a:lnTo>
                    <a:pt x="88" y="298"/>
                  </a:lnTo>
                  <a:lnTo>
                    <a:pt x="86" y="296"/>
                  </a:lnTo>
                  <a:lnTo>
                    <a:pt x="84" y="284"/>
                  </a:lnTo>
                  <a:lnTo>
                    <a:pt x="82" y="271"/>
                  </a:lnTo>
                  <a:lnTo>
                    <a:pt x="78" y="269"/>
                  </a:lnTo>
                  <a:lnTo>
                    <a:pt x="76" y="267"/>
                  </a:lnTo>
                  <a:lnTo>
                    <a:pt x="76" y="252"/>
                  </a:lnTo>
                  <a:lnTo>
                    <a:pt x="76" y="238"/>
                  </a:lnTo>
                  <a:lnTo>
                    <a:pt x="78" y="234"/>
                  </a:lnTo>
                  <a:lnTo>
                    <a:pt x="82" y="232"/>
                  </a:lnTo>
                  <a:lnTo>
                    <a:pt x="82" y="219"/>
                  </a:lnTo>
                  <a:lnTo>
                    <a:pt x="82" y="204"/>
                  </a:lnTo>
                  <a:lnTo>
                    <a:pt x="82" y="188"/>
                  </a:lnTo>
                  <a:lnTo>
                    <a:pt x="82" y="175"/>
                  </a:lnTo>
                  <a:lnTo>
                    <a:pt x="78" y="173"/>
                  </a:lnTo>
                  <a:lnTo>
                    <a:pt x="76" y="171"/>
                  </a:lnTo>
                  <a:lnTo>
                    <a:pt x="74" y="158"/>
                  </a:lnTo>
                  <a:lnTo>
                    <a:pt x="72" y="146"/>
                  </a:lnTo>
                  <a:lnTo>
                    <a:pt x="69" y="144"/>
                  </a:lnTo>
                  <a:lnTo>
                    <a:pt x="67" y="140"/>
                  </a:lnTo>
                  <a:lnTo>
                    <a:pt x="67" y="127"/>
                  </a:lnTo>
                  <a:lnTo>
                    <a:pt x="67" y="111"/>
                  </a:lnTo>
                  <a:lnTo>
                    <a:pt x="69" y="110"/>
                  </a:lnTo>
                  <a:lnTo>
                    <a:pt x="72" y="108"/>
                  </a:lnTo>
                  <a:lnTo>
                    <a:pt x="92" y="106"/>
                  </a:lnTo>
                  <a:lnTo>
                    <a:pt x="113" y="104"/>
                  </a:lnTo>
                  <a:lnTo>
                    <a:pt x="134" y="104"/>
                  </a:lnTo>
                  <a:lnTo>
                    <a:pt x="153" y="102"/>
                  </a:lnTo>
                  <a:lnTo>
                    <a:pt x="157" y="100"/>
                  </a:lnTo>
                  <a:lnTo>
                    <a:pt x="159" y="98"/>
                  </a:lnTo>
                  <a:lnTo>
                    <a:pt x="161" y="90"/>
                  </a:lnTo>
                  <a:lnTo>
                    <a:pt x="165" y="83"/>
                  </a:lnTo>
                  <a:lnTo>
                    <a:pt x="166" y="81"/>
                  </a:lnTo>
                  <a:lnTo>
                    <a:pt x="168" y="79"/>
                  </a:lnTo>
                  <a:lnTo>
                    <a:pt x="176" y="75"/>
                  </a:lnTo>
                  <a:lnTo>
                    <a:pt x="182" y="73"/>
                  </a:lnTo>
                  <a:lnTo>
                    <a:pt x="186" y="71"/>
                  </a:lnTo>
                  <a:lnTo>
                    <a:pt x="188" y="67"/>
                  </a:lnTo>
                  <a:lnTo>
                    <a:pt x="205" y="67"/>
                  </a:lnTo>
                  <a:lnTo>
                    <a:pt x="222" y="67"/>
                  </a:lnTo>
                  <a:lnTo>
                    <a:pt x="218" y="56"/>
                  </a:lnTo>
                  <a:lnTo>
                    <a:pt x="214" y="44"/>
                  </a:lnTo>
                  <a:lnTo>
                    <a:pt x="211" y="37"/>
                  </a:lnTo>
                  <a:lnTo>
                    <a:pt x="209" y="27"/>
                  </a:lnTo>
                  <a:lnTo>
                    <a:pt x="216" y="25"/>
                  </a:lnTo>
                  <a:lnTo>
                    <a:pt x="222" y="25"/>
                  </a:lnTo>
                  <a:lnTo>
                    <a:pt x="224" y="23"/>
                  </a:lnTo>
                  <a:lnTo>
                    <a:pt x="226" y="19"/>
                  </a:lnTo>
                  <a:lnTo>
                    <a:pt x="228" y="17"/>
                  </a:lnTo>
                  <a:lnTo>
                    <a:pt x="232" y="16"/>
                  </a:lnTo>
                  <a:lnTo>
                    <a:pt x="234" y="12"/>
                  </a:lnTo>
                  <a:lnTo>
                    <a:pt x="236" y="10"/>
                  </a:lnTo>
                  <a:lnTo>
                    <a:pt x="237" y="8"/>
                  </a:lnTo>
                  <a:lnTo>
                    <a:pt x="241" y="6"/>
                  </a:lnTo>
                  <a:lnTo>
                    <a:pt x="243" y="2"/>
                  </a:lnTo>
                  <a:lnTo>
                    <a:pt x="245" y="0"/>
                  </a:lnTo>
                  <a:lnTo>
                    <a:pt x="249" y="2"/>
                  </a:lnTo>
                  <a:lnTo>
                    <a:pt x="251" y="6"/>
                  </a:lnTo>
                  <a:lnTo>
                    <a:pt x="268" y="8"/>
                  </a:lnTo>
                  <a:lnTo>
                    <a:pt x="285" y="10"/>
                  </a:lnTo>
                  <a:lnTo>
                    <a:pt x="287" y="12"/>
                  </a:lnTo>
                  <a:lnTo>
                    <a:pt x="289" y="16"/>
                  </a:lnTo>
                  <a:lnTo>
                    <a:pt x="291" y="17"/>
                  </a:lnTo>
                  <a:lnTo>
                    <a:pt x="293" y="19"/>
                  </a:lnTo>
                  <a:lnTo>
                    <a:pt x="297" y="23"/>
                  </a:lnTo>
                  <a:lnTo>
                    <a:pt x="299" y="25"/>
                  </a:lnTo>
                  <a:lnTo>
                    <a:pt x="301" y="27"/>
                  </a:lnTo>
                  <a:lnTo>
                    <a:pt x="305" y="29"/>
                  </a:lnTo>
                  <a:lnTo>
                    <a:pt x="307" y="31"/>
                  </a:lnTo>
                  <a:lnTo>
                    <a:pt x="308" y="35"/>
                  </a:lnTo>
                  <a:lnTo>
                    <a:pt x="310" y="42"/>
                  </a:lnTo>
                  <a:lnTo>
                    <a:pt x="314" y="50"/>
                  </a:lnTo>
                  <a:lnTo>
                    <a:pt x="316" y="52"/>
                  </a:lnTo>
                  <a:lnTo>
                    <a:pt x="318" y="54"/>
                  </a:lnTo>
                  <a:lnTo>
                    <a:pt x="318" y="63"/>
                  </a:lnTo>
                  <a:lnTo>
                    <a:pt x="318" y="73"/>
                  </a:lnTo>
                  <a:lnTo>
                    <a:pt x="316" y="75"/>
                  </a:lnTo>
                  <a:lnTo>
                    <a:pt x="314" y="79"/>
                  </a:lnTo>
                  <a:lnTo>
                    <a:pt x="314" y="88"/>
                  </a:lnTo>
                  <a:lnTo>
                    <a:pt x="314" y="98"/>
                  </a:lnTo>
                  <a:lnTo>
                    <a:pt x="316" y="100"/>
                  </a:lnTo>
                  <a:lnTo>
                    <a:pt x="318" y="102"/>
                  </a:lnTo>
                  <a:lnTo>
                    <a:pt x="339" y="104"/>
                  </a:lnTo>
                  <a:lnTo>
                    <a:pt x="362" y="108"/>
                  </a:lnTo>
                  <a:lnTo>
                    <a:pt x="364" y="110"/>
                  </a:lnTo>
                  <a:lnTo>
                    <a:pt x="366" y="111"/>
                  </a:lnTo>
                  <a:lnTo>
                    <a:pt x="381" y="113"/>
                  </a:lnTo>
                  <a:lnTo>
                    <a:pt x="397" y="117"/>
                  </a:lnTo>
                  <a:lnTo>
                    <a:pt x="391" y="131"/>
                  </a:lnTo>
                  <a:lnTo>
                    <a:pt x="385" y="146"/>
                  </a:lnTo>
                  <a:lnTo>
                    <a:pt x="368" y="156"/>
                  </a:lnTo>
                  <a:lnTo>
                    <a:pt x="351" y="165"/>
                  </a:lnTo>
                  <a:lnTo>
                    <a:pt x="335" y="177"/>
                  </a:lnTo>
                  <a:lnTo>
                    <a:pt x="324" y="188"/>
                  </a:lnTo>
                  <a:lnTo>
                    <a:pt x="312" y="200"/>
                  </a:lnTo>
                  <a:lnTo>
                    <a:pt x="303" y="213"/>
                  </a:lnTo>
                  <a:lnTo>
                    <a:pt x="295" y="227"/>
                  </a:lnTo>
                  <a:lnTo>
                    <a:pt x="287" y="242"/>
                  </a:lnTo>
                  <a:lnTo>
                    <a:pt x="284" y="257"/>
                  </a:lnTo>
                  <a:lnTo>
                    <a:pt x="280" y="273"/>
                  </a:lnTo>
                  <a:lnTo>
                    <a:pt x="278" y="290"/>
                  </a:lnTo>
                  <a:lnTo>
                    <a:pt x="276" y="307"/>
                  </a:lnTo>
                  <a:lnTo>
                    <a:pt x="276" y="324"/>
                  </a:lnTo>
                  <a:lnTo>
                    <a:pt x="278" y="344"/>
                  </a:lnTo>
                  <a:lnTo>
                    <a:pt x="280" y="363"/>
                  </a:lnTo>
                  <a:lnTo>
                    <a:pt x="284" y="382"/>
                  </a:lnTo>
                  <a:lnTo>
                    <a:pt x="278" y="478"/>
                  </a:lnTo>
                  <a:lnTo>
                    <a:pt x="272" y="555"/>
                  </a:lnTo>
                  <a:lnTo>
                    <a:pt x="266" y="614"/>
                  </a:lnTo>
                  <a:lnTo>
                    <a:pt x="262" y="658"/>
                  </a:lnTo>
                  <a:lnTo>
                    <a:pt x="259" y="693"/>
                  </a:lnTo>
                  <a:lnTo>
                    <a:pt x="257" y="720"/>
                  </a:lnTo>
                  <a:lnTo>
                    <a:pt x="257" y="743"/>
                  </a:lnTo>
                  <a:lnTo>
                    <a:pt x="255" y="764"/>
                  </a:lnTo>
                  <a:lnTo>
                    <a:pt x="262" y="764"/>
                  </a:lnTo>
                  <a:lnTo>
                    <a:pt x="270" y="764"/>
                  </a:lnTo>
                  <a:lnTo>
                    <a:pt x="274" y="764"/>
                  </a:lnTo>
                  <a:lnTo>
                    <a:pt x="280" y="764"/>
                  </a:lnTo>
                  <a:lnTo>
                    <a:pt x="280" y="773"/>
                  </a:lnTo>
                  <a:lnTo>
                    <a:pt x="280" y="785"/>
                  </a:lnTo>
                  <a:lnTo>
                    <a:pt x="295" y="785"/>
                  </a:lnTo>
                  <a:lnTo>
                    <a:pt x="308" y="785"/>
                  </a:lnTo>
                  <a:lnTo>
                    <a:pt x="308" y="779"/>
                  </a:lnTo>
                  <a:lnTo>
                    <a:pt x="308" y="775"/>
                  </a:lnTo>
                  <a:lnTo>
                    <a:pt x="312" y="775"/>
                  </a:lnTo>
                  <a:lnTo>
                    <a:pt x="318" y="775"/>
                  </a:lnTo>
                  <a:lnTo>
                    <a:pt x="322" y="770"/>
                  </a:lnTo>
                  <a:lnTo>
                    <a:pt x="328" y="764"/>
                  </a:lnTo>
                  <a:lnTo>
                    <a:pt x="333" y="764"/>
                  </a:lnTo>
                  <a:lnTo>
                    <a:pt x="337" y="764"/>
                  </a:lnTo>
                  <a:lnTo>
                    <a:pt x="343" y="764"/>
                  </a:lnTo>
                  <a:lnTo>
                    <a:pt x="347" y="764"/>
                  </a:lnTo>
                  <a:lnTo>
                    <a:pt x="347" y="760"/>
                  </a:lnTo>
                  <a:lnTo>
                    <a:pt x="347" y="754"/>
                  </a:lnTo>
                  <a:lnTo>
                    <a:pt x="356" y="754"/>
                  </a:lnTo>
                  <a:lnTo>
                    <a:pt x="366" y="754"/>
                  </a:lnTo>
                  <a:lnTo>
                    <a:pt x="372" y="760"/>
                  </a:lnTo>
                  <a:lnTo>
                    <a:pt x="376" y="764"/>
                  </a:lnTo>
                  <a:lnTo>
                    <a:pt x="381" y="773"/>
                  </a:lnTo>
                  <a:lnTo>
                    <a:pt x="385" y="785"/>
                  </a:lnTo>
                  <a:lnTo>
                    <a:pt x="387" y="795"/>
                  </a:lnTo>
                  <a:lnTo>
                    <a:pt x="387" y="800"/>
                  </a:lnTo>
                  <a:lnTo>
                    <a:pt x="391" y="802"/>
                  </a:lnTo>
                  <a:lnTo>
                    <a:pt x="397" y="804"/>
                  </a:lnTo>
                  <a:lnTo>
                    <a:pt x="397" y="795"/>
                  </a:lnTo>
                  <a:lnTo>
                    <a:pt x="397" y="785"/>
                  </a:lnTo>
                  <a:lnTo>
                    <a:pt x="401" y="779"/>
                  </a:lnTo>
                  <a:lnTo>
                    <a:pt x="406" y="775"/>
                  </a:lnTo>
                  <a:lnTo>
                    <a:pt x="410" y="775"/>
                  </a:lnTo>
                  <a:lnTo>
                    <a:pt x="414" y="775"/>
                  </a:lnTo>
                  <a:lnTo>
                    <a:pt x="420" y="779"/>
                  </a:lnTo>
                  <a:lnTo>
                    <a:pt x="425" y="785"/>
                  </a:lnTo>
                  <a:lnTo>
                    <a:pt x="435" y="789"/>
                  </a:lnTo>
                  <a:lnTo>
                    <a:pt x="445" y="795"/>
                  </a:lnTo>
                  <a:lnTo>
                    <a:pt x="449" y="789"/>
                  </a:lnTo>
                  <a:lnTo>
                    <a:pt x="454" y="785"/>
                  </a:lnTo>
                  <a:lnTo>
                    <a:pt x="454" y="779"/>
                  </a:lnTo>
                  <a:lnTo>
                    <a:pt x="454" y="775"/>
                  </a:lnTo>
                  <a:lnTo>
                    <a:pt x="458" y="775"/>
                  </a:lnTo>
                  <a:lnTo>
                    <a:pt x="464" y="775"/>
                  </a:lnTo>
                  <a:lnTo>
                    <a:pt x="464" y="754"/>
                  </a:lnTo>
                  <a:lnTo>
                    <a:pt x="464" y="735"/>
                  </a:lnTo>
                  <a:lnTo>
                    <a:pt x="458" y="735"/>
                  </a:lnTo>
                  <a:lnTo>
                    <a:pt x="454" y="735"/>
                  </a:lnTo>
                  <a:lnTo>
                    <a:pt x="454" y="722"/>
                  </a:lnTo>
                  <a:lnTo>
                    <a:pt x="454" y="706"/>
                  </a:lnTo>
                  <a:lnTo>
                    <a:pt x="458" y="702"/>
                  </a:lnTo>
                  <a:lnTo>
                    <a:pt x="464" y="697"/>
                  </a:lnTo>
                  <a:lnTo>
                    <a:pt x="464" y="693"/>
                  </a:lnTo>
                  <a:lnTo>
                    <a:pt x="464" y="687"/>
                  </a:lnTo>
                  <a:lnTo>
                    <a:pt x="468" y="687"/>
                  </a:lnTo>
                  <a:lnTo>
                    <a:pt x="473" y="687"/>
                  </a:lnTo>
                  <a:lnTo>
                    <a:pt x="475" y="687"/>
                  </a:lnTo>
                  <a:lnTo>
                    <a:pt x="477" y="687"/>
                  </a:lnTo>
                  <a:lnTo>
                    <a:pt x="481" y="689"/>
                  </a:lnTo>
                  <a:lnTo>
                    <a:pt x="483" y="693"/>
                  </a:lnTo>
                  <a:lnTo>
                    <a:pt x="485" y="689"/>
                  </a:lnTo>
                  <a:lnTo>
                    <a:pt x="487" y="687"/>
                  </a:lnTo>
                  <a:lnTo>
                    <a:pt x="485" y="685"/>
                  </a:lnTo>
                  <a:lnTo>
                    <a:pt x="483" y="681"/>
                  </a:lnTo>
                  <a:lnTo>
                    <a:pt x="483" y="679"/>
                  </a:lnTo>
                  <a:lnTo>
                    <a:pt x="483" y="677"/>
                  </a:lnTo>
                  <a:lnTo>
                    <a:pt x="496" y="677"/>
                  </a:lnTo>
                  <a:lnTo>
                    <a:pt x="512" y="677"/>
                  </a:lnTo>
                  <a:lnTo>
                    <a:pt x="516" y="677"/>
                  </a:lnTo>
                  <a:lnTo>
                    <a:pt x="521" y="677"/>
                  </a:lnTo>
                  <a:lnTo>
                    <a:pt x="531" y="677"/>
                  </a:lnTo>
                  <a:lnTo>
                    <a:pt x="541" y="677"/>
                  </a:lnTo>
                  <a:lnTo>
                    <a:pt x="556" y="679"/>
                  </a:lnTo>
                  <a:lnTo>
                    <a:pt x="569" y="683"/>
                  </a:lnTo>
                  <a:lnTo>
                    <a:pt x="585" y="685"/>
                  </a:lnTo>
                  <a:lnTo>
                    <a:pt x="598" y="687"/>
                  </a:lnTo>
                  <a:lnTo>
                    <a:pt x="598" y="693"/>
                  </a:lnTo>
                  <a:lnTo>
                    <a:pt x="598" y="697"/>
                  </a:lnTo>
                  <a:lnTo>
                    <a:pt x="594" y="702"/>
                  </a:lnTo>
                  <a:lnTo>
                    <a:pt x="589" y="706"/>
                  </a:lnTo>
                  <a:lnTo>
                    <a:pt x="585" y="712"/>
                  </a:lnTo>
                  <a:lnTo>
                    <a:pt x="579" y="716"/>
                  </a:lnTo>
                  <a:lnTo>
                    <a:pt x="585" y="722"/>
                  </a:lnTo>
                  <a:lnTo>
                    <a:pt x="589" y="725"/>
                  </a:lnTo>
                  <a:lnTo>
                    <a:pt x="598" y="725"/>
                  </a:lnTo>
                  <a:lnTo>
                    <a:pt x="608" y="725"/>
                  </a:lnTo>
                  <a:lnTo>
                    <a:pt x="614" y="731"/>
                  </a:lnTo>
                  <a:lnTo>
                    <a:pt x="617" y="735"/>
                  </a:lnTo>
                  <a:lnTo>
                    <a:pt x="623" y="735"/>
                  </a:lnTo>
                  <a:lnTo>
                    <a:pt x="629" y="735"/>
                  </a:lnTo>
                  <a:lnTo>
                    <a:pt x="633" y="741"/>
                  </a:lnTo>
                  <a:lnTo>
                    <a:pt x="638" y="747"/>
                  </a:lnTo>
                  <a:lnTo>
                    <a:pt x="642" y="750"/>
                  </a:lnTo>
                  <a:lnTo>
                    <a:pt x="646" y="754"/>
                  </a:lnTo>
                  <a:lnTo>
                    <a:pt x="646" y="760"/>
                  </a:lnTo>
                  <a:lnTo>
                    <a:pt x="646" y="764"/>
                  </a:lnTo>
                  <a:lnTo>
                    <a:pt x="652" y="770"/>
                  </a:lnTo>
                  <a:lnTo>
                    <a:pt x="658" y="775"/>
                  </a:lnTo>
                  <a:lnTo>
                    <a:pt x="658" y="779"/>
                  </a:lnTo>
                  <a:lnTo>
                    <a:pt x="658" y="785"/>
                  </a:lnTo>
                  <a:lnTo>
                    <a:pt x="654" y="785"/>
                  </a:lnTo>
                  <a:lnTo>
                    <a:pt x="652" y="791"/>
                  </a:lnTo>
                  <a:lnTo>
                    <a:pt x="652" y="796"/>
                  </a:lnTo>
                  <a:lnTo>
                    <a:pt x="656" y="804"/>
                  </a:lnTo>
                  <a:lnTo>
                    <a:pt x="660" y="812"/>
                  </a:lnTo>
                  <a:lnTo>
                    <a:pt x="665" y="821"/>
                  </a:lnTo>
                  <a:lnTo>
                    <a:pt x="671" y="827"/>
                  </a:lnTo>
                  <a:lnTo>
                    <a:pt x="677" y="833"/>
                  </a:lnTo>
                  <a:lnTo>
                    <a:pt x="681" y="833"/>
                  </a:lnTo>
                  <a:lnTo>
                    <a:pt x="686" y="833"/>
                  </a:lnTo>
                  <a:lnTo>
                    <a:pt x="686" y="837"/>
                  </a:lnTo>
                  <a:lnTo>
                    <a:pt x="686" y="843"/>
                  </a:lnTo>
                  <a:lnTo>
                    <a:pt x="683" y="844"/>
                  </a:lnTo>
                  <a:lnTo>
                    <a:pt x="679" y="848"/>
                  </a:lnTo>
                  <a:lnTo>
                    <a:pt x="686" y="860"/>
                  </a:lnTo>
                  <a:lnTo>
                    <a:pt x="696" y="871"/>
                  </a:lnTo>
                  <a:lnTo>
                    <a:pt x="700" y="875"/>
                  </a:lnTo>
                  <a:lnTo>
                    <a:pt x="706" y="881"/>
                  </a:lnTo>
                  <a:lnTo>
                    <a:pt x="709" y="881"/>
                  </a:lnTo>
                  <a:lnTo>
                    <a:pt x="715" y="881"/>
                  </a:lnTo>
                  <a:lnTo>
                    <a:pt x="715" y="885"/>
                  </a:lnTo>
                  <a:lnTo>
                    <a:pt x="715" y="890"/>
                  </a:lnTo>
                  <a:lnTo>
                    <a:pt x="719" y="894"/>
                  </a:lnTo>
                  <a:lnTo>
                    <a:pt x="725" y="900"/>
                  </a:lnTo>
                  <a:lnTo>
                    <a:pt x="729" y="904"/>
                  </a:lnTo>
                  <a:lnTo>
                    <a:pt x="734" y="910"/>
                  </a:lnTo>
                  <a:lnTo>
                    <a:pt x="738" y="915"/>
                  </a:lnTo>
                  <a:lnTo>
                    <a:pt x="744" y="919"/>
                  </a:lnTo>
                  <a:lnTo>
                    <a:pt x="748" y="925"/>
                  </a:lnTo>
                  <a:lnTo>
                    <a:pt x="754" y="929"/>
                  </a:lnTo>
                  <a:lnTo>
                    <a:pt x="754" y="935"/>
                  </a:lnTo>
                  <a:lnTo>
                    <a:pt x="754" y="938"/>
                  </a:lnTo>
                  <a:lnTo>
                    <a:pt x="757" y="944"/>
                  </a:lnTo>
                  <a:lnTo>
                    <a:pt x="763" y="948"/>
                  </a:lnTo>
                  <a:lnTo>
                    <a:pt x="769" y="954"/>
                  </a:lnTo>
                  <a:lnTo>
                    <a:pt x="773" y="958"/>
                  </a:lnTo>
                  <a:lnTo>
                    <a:pt x="777" y="967"/>
                  </a:lnTo>
                  <a:lnTo>
                    <a:pt x="782" y="977"/>
                  </a:lnTo>
                  <a:lnTo>
                    <a:pt x="782" y="983"/>
                  </a:lnTo>
                  <a:lnTo>
                    <a:pt x="782" y="986"/>
                  </a:lnTo>
                  <a:lnTo>
                    <a:pt x="786" y="992"/>
                  </a:lnTo>
                  <a:lnTo>
                    <a:pt x="792" y="996"/>
                  </a:lnTo>
                  <a:lnTo>
                    <a:pt x="792" y="1002"/>
                  </a:lnTo>
                  <a:lnTo>
                    <a:pt x="792" y="1006"/>
                  </a:lnTo>
                  <a:lnTo>
                    <a:pt x="790" y="1008"/>
                  </a:lnTo>
                  <a:lnTo>
                    <a:pt x="788" y="1008"/>
                  </a:lnTo>
                  <a:lnTo>
                    <a:pt x="788" y="1013"/>
                  </a:lnTo>
                  <a:lnTo>
                    <a:pt x="786" y="1021"/>
                  </a:lnTo>
                  <a:lnTo>
                    <a:pt x="784" y="1055"/>
                  </a:lnTo>
                  <a:lnTo>
                    <a:pt x="782" y="1123"/>
                  </a:lnTo>
                  <a:lnTo>
                    <a:pt x="780" y="1123"/>
                  </a:lnTo>
                  <a:lnTo>
                    <a:pt x="779" y="1123"/>
                  </a:lnTo>
                  <a:lnTo>
                    <a:pt x="775" y="1121"/>
                  </a:lnTo>
                  <a:lnTo>
                    <a:pt x="773" y="1117"/>
                  </a:lnTo>
                  <a:lnTo>
                    <a:pt x="771" y="1115"/>
                  </a:lnTo>
                  <a:lnTo>
                    <a:pt x="767" y="1113"/>
                  </a:lnTo>
                  <a:lnTo>
                    <a:pt x="765" y="1111"/>
                  </a:lnTo>
                  <a:lnTo>
                    <a:pt x="763" y="1107"/>
                  </a:lnTo>
                  <a:lnTo>
                    <a:pt x="754" y="1107"/>
                  </a:lnTo>
                  <a:lnTo>
                    <a:pt x="744" y="1107"/>
                  </a:lnTo>
                  <a:lnTo>
                    <a:pt x="742" y="1111"/>
                  </a:lnTo>
                  <a:lnTo>
                    <a:pt x="738" y="1113"/>
                  </a:lnTo>
                  <a:lnTo>
                    <a:pt x="736" y="1115"/>
                  </a:lnTo>
                  <a:lnTo>
                    <a:pt x="734" y="1117"/>
                  </a:lnTo>
                  <a:lnTo>
                    <a:pt x="731" y="1121"/>
                  </a:lnTo>
                  <a:lnTo>
                    <a:pt x="729" y="1123"/>
                  </a:lnTo>
                  <a:lnTo>
                    <a:pt x="727" y="1125"/>
                  </a:lnTo>
                  <a:lnTo>
                    <a:pt x="725" y="1128"/>
                  </a:lnTo>
                  <a:lnTo>
                    <a:pt x="723" y="1130"/>
                  </a:lnTo>
                  <a:lnTo>
                    <a:pt x="719" y="1132"/>
                  </a:lnTo>
                  <a:lnTo>
                    <a:pt x="717" y="1134"/>
                  </a:lnTo>
                  <a:lnTo>
                    <a:pt x="715" y="1138"/>
                  </a:lnTo>
                  <a:lnTo>
                    <a:pt x="711" y="1140"/>
                  </a:lnTo>
                  <a:lnTo>
                    <a:pt x="709" y="1142"/>
                  </a:lnTo>
                  <a:lnTo>
                    <a:pt x="709" y="1151"/>
                  </a:lnTo>
                  <a:lnTo>
                    <a:pt x="709" y="1161"/>
                  </a:lnTo>
                  <a:lnTo>
                    <a:pt x="711" y="1163"/>
                  </a:lnTo>
                  <a:lnTo>
                    <a:pt x="715" y="1167"/>
                  </a:lnTo>
                  <a:lnTo>
                    <a:pt x="717" y="1169"/>
                  </a:lnTo>
                  <a:lnTo>
                    <a:pt x="719" y="1171"/>
                  </a:lnTo>
                  <a:lnTo>
                    <a:pt x="723" y="1173"/>
                  </a:lnTo>
                  <a:lnTo>
                    <a:pt x="725" y="1176"/>
                  </a:lnTo>
                  <a:lnTo>
                    <a:pt x="746" y="1178"/>
                  </a:lnTo>
                  <a:lnTo>
                    <a:pt x="767" y="1180"/>
                  </a:lnTo>
                  <a:lnTo>
                    <a:pt x="771" y="1184"/>
                  </a:lnTo>
                  <a:lnTo>
                    <a:pt x="773" y="1186"/>
                  </a:lnTo>
                  <a:lnTo>
                    <a:pt x="773" y="1196"/>
                  </a:lnTo>
                  <a:lnTo>
                    <a:pt x="773" y="1205"/>
                  </a:lnTo>
                  <a:lnTo>
                    <a:pt x="771" y="1207"/>
                  </a:lnTo>
                  <a:lnTo>
                    <a:pt x="767" y="1209"/>
                  </a:lnTo>
                  <a:lnTo>
                    <a:pt x="765" y="1213"/>
                  </a:lnTo>
                  <a:lnTo>
                    <a:pt x="763" y="1215"/>
                  </a:lnTo>
                  <a:lnTo>
                    <a:pt x="761" y="1217"/>
                  </a:lnTo>
                  <a:lnTo>
                    <a:pt x="757" y="1219"/>
                  </a:lnTo>
                  <a:lnTo>
                    <a:pt x="756" y="1222"/>
                  </a:lnTo>
                  <a:lnTo>
                    <a:pt x="754" y="1224"/>
                  </a:lnTo>
                  <a:lnTo>
                    <a:pt x="752" y="1226"/>
                  </a:lnTo>
                  <a:lnTo>
                    <a:pt x="750" y="1228"/>
                  </a:lnTo>
                  <a:lnTo>
                    <a:pt x="746" y="1234"/>
                  </a:lnTo>
                  <a:lnTo>
                    <a:pt x="746" y="1244"/>
                  </a:lnTo>
                  <a:lnTo>
                    <a:pt x="746" y="1253"/>
                  </a:lnTo>
                  <a:lnTo>
                    <a:pt x="750" y="1259"/>
                  </a:lnTo>
                  <a:lnTo>
                    <a:pt x="752" y="1261"/>
                  </a:lnTo>
                  <a:lnTo>
                    <a:pt x="754" y="1263"/>
                  </a:lnTo>
                  <a:lnTo>
                    <a:pt x="754" y="1268"/>
                  </a:lnTo>
                  <a:lnTo>
                    <a:pt x="754" y="1272"/>
                  </a:lnTo>
                  <a:lnTo>
                    <a:pt x="752" y="1274"/>
                  </a:lnTo>
                  <a:lnTo>
                    <a:pt x="750" y="1278"/>
                  </a:lnTo>
                  <a:lnTo>
                    <a:pt x="746" y="1280"/>
                  </a:lnTo>
                  <a:lnTo>
                    <a:pt x="744" y="1282"/>
                  </a:lnTo>
                  <a:lnTo>
                    <a:pt x="742" y="1284"/>
                  </a:lnTo>
                  <a:lnTo>
                    <a:pt x="738" y="1288"/>
                  </a:lnTo>
                  <a:lnTo>
                    <a:pt x="736" y="1290"/>
                  </a:lnTo>
                  <a:lnTo>
                    <a:pt x="734" y="1291"/>
                  </a:lnTo>
                  <a:lnTo>
                    <a:pt x="731" y="1293"/>
                  </a:lnTo>
                  <a:lnTo>
                    <a:pt x="729" y="1297"/>
                  </a:lnTo>
                  <a:lnTo>
                    <a:pt x="713" y="1297"/>
                  </a:lnTo>
                  <a:lnTo>
                    <a:pt x="698" y="1299"/>
                  </a:lnTo>
                  <a:lnTo>
                    <a:pt x="683" y="1301"/>
                  </a:lnTo>
                  <a:lnTo>
                    <a:pt x="667" y="1301"/>
                  </a:lnTo>
                  <a:lnTo>
                    <a:pt x="663" y="1303"/>
                  </a:lnTo>
                  <a:lnTo>
                    <a:pt x="661" y="1307"/>
                  </a:lnTo>
                  <a:lnTo>
                    <a:pt x="660" y="1309"/>
                  </a:lnTo>
                  <a:lnTo>
                    <a:pt x="658" y="1311"/>
                  </a:lnTo>
                  <a:lnTo>
                    <a:pt x="654" y="1313"/>
                  </a:lnTo>
                  <a:lnTo>
                    <a:pt x="652" y="1316"/>
                  </a:lnTo>
                  <a:lnTo>
                    <a:pt x="650" y="1318"/>
                  </a:lnTo>
                  <a:lnTo>
                    <a:pt x="646" y="1320"/>
                  </a:lnTo>
                  <a:lnTo>
                    <a:pt x="644" y="1324"/>
                  </a:lnTo>
                  <a:lnTo>
                    <a:pt x="642" y="1326"/>
                  </a:lnTo>
                  <a:lnTo>
                    <a:pt x="640" y="1339"/>
                  </a:lnTo>
                  <a:lnTo>
                    <a:pt x="638" y="1355"/>
                  </a:lnTo>
                  <a:lnTo>
                    <a:pt x="633" y="1355"/>
                  </a:lnTo>
                  <a:lnTo>
                    <a:pt x="629" y="1355"/>
                  </a:lnTo>
                  <a:lnTo>
                    <a:pt x="629" y="1332"/>
                  </a:lnTo>
                  <a:lnTo>
                    <a:pt x="629" y="1311"/>
                  </a:lnTo>
                  <a:lnTo>
                    <a:pt x="629" y="1290"/>
                  </a:lnTo>
                  <a:lnTo>
                    <a:pt x="629" y="1267"/>
                  </a:lnTo>
                  <a:lnTo>
                    <a:pt x="617" y="1267"/>
                  </a:lnTo>
                  <a:lnTo>
                    <a:pt x="612" y="1267"/>
                  </a:lnTo>
                  <a:lnTo>
                    <a:pt x="608" y="1263"/>
                  </a:lnTo>
                  <a:lnTo>
                    <a:pt x="608" y="1259"/>
                  </a:lnTo>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91" name="Freeform 356"/>
            <p:cNvSpPr>
              <a:spLocks noChangeArrowheads="1"/>
            </p:cNvSpPr>
            <p:nvPr>
              <p:custDataLst>
                <p:tags r:id="rId72"/>
              </p:custDataLst>
            </p:nvPr>
          </p:nvSpPr>
          <p:spPr bwMode="gray">
            <a:xfrm>
              <a:off x="7807325" y="734828"/>
              <a:ext cx="1119188" cy="1498600"/>
            </a:xfrm>
            <a:custGeom>
              <a:avLst/>
              <a:gdLst>
                <a:gd name="T0" fmla="*/ 0 w 1168661"/>
                <a:gd name="T1" fmla="*/ 0 h 1565910"/>
                <a:gd name="T2" fmla="*/ 1168661 w 1168661"/>
                <a:gd name="T3" fmla="*/ 1565910 h 1565910"/>
              </a:gdLst>
              <a:ahLst/>
              <a:cxnLst/>
              <a:rect l="T0" t="T1" r="T2" b="T3"/>
              <a:pathLst>
                <a:path w="1168661" h="1565910">
                  <a:moveTo>
                    <a:pt x="10421" y="1154430"/>
                  </a:moveTo>
                  <a:cubicBezTo>
                    <a:pt x="12961" y="1151890"/>
                    <a:pt x="15769" y="1146976"/>
                    <a:pt x="18041" y="1143000"/>
                  </a:cubicBezTo>
                  <a:cubicBezTo>
                    <a:pt x="20859" y="1138069"/>
                    <a:pt x="23424" y="1132980"/>
                    <a:pt x="25661" y="1127760"/>
                  </a:cubicBezTo>
                  <a:cubicBezTo>
                    <a:pt x="28238" y="1121747"/>
                    <a:pt x="32263" y="1106687"/>
                    <a:pt x="33281" y="1101090"/>
                  </a:cubicBezTo>
                  <a:cubicBezTo>
                    <a:pt x="41433" y="1056251"/>
                    <a:pt x="31185" y="1091439"/>
                    <a:pt x="44711" y="1055370"/>
                  </a:cubicBezTo>
                  <a:cubicBezTo>
                    <a:pt x="46121" y="1051610"/>
                    <a:pt x="46111" y="1047153"/>
                    <a:pt x="48521" y="1043940"/>
                  </a:cubicBezTo>
                  <a:cubicBezTo>
                    <a:pt x="53909" y="1036756"/>
                    <a:pt x="62058" y="1031979"/>
                    <a:pt x="67571" y="1024890"/>
                  </a:cubicBezTo>
                  <a:cubicBezTo>
                    <a:pt x="71058" y="1020407"/>
                    <a:pt x="71594" y="1014046"/>
                    <a:pt x="75191" y="1009650"/>
                  </a:cubicBezTo>
                  <a:cubicBezTo>
                    <a:pt x="83152" y="999920"/>
                    <a:pt x="92971" y="991870"/>
                    <a:pt x="101861" y="982980"/>
                  </a:cubicBezTo>
                  <a:cubicBezTo>
                    <a:pt x="105671" y="979170"/>
                    <a:pt x="110302" y="976033"/>
                    <a:pt x="113291" y="971550"/>
                  </a:cubicBezTo>
                  <a:cubicBezTo>
                    <a:pt x="123900" y="955637"/>
                    <a:pt x="117673" y="963358"/>
                    <a:pt x="132341" y="948690"/>
                  </a:cubicBezTo>
                  <a:cubicBezTo>
                    <a:pt x="133611" y="944880"/>
                    <a:pt x="135280" y="941180"/>
                    <a:pt x="136151" y="937260"/>
                  </a:cubicBezTo>
                  <a:cubicBezTo>
                    <a:pt x="137827" y="929719"/>
                    <a:pt x="136506" y="921310"/>
                    <a:pt x="139961" y="914400"/>
                  </a:cubicBezTo>
                  <a:cubicBezTo>
                    <a:pt x="142009" y="910304"/>
                    <a:pt x="147295" y="908828"/>
                    <a:pt x="151391" y="906780"/>
                  </a:cubicBezTo>
                  <a:cubicBezTo>
                    <a:pt x="154983" y="904984"/>
                    <a:pt x="158925" y="903944"/>
                    <a:pt x="162821" y="902970"/>
                  </a:cubicBezTo>
                  <a:cubicBezTo>
                    <a:pt x="189122" y="896395"/>
                    <a:pt x="203566" y="897610"/>
                    <a:pt x="235211" y="895350"/>
                  </a:cubicBezTo>
                  <a:cubicBezTo>
                    <a:pt x="241038" y="891465"/>
                    <a:pt x="253514" y="885265"/>
                    <a:pt x="254261" y="876300"/>
                  </a:cubicBezTo>
                  <a:cubicBezTo>
                    <a:pt x="255682" y="859247"/>
                    <a:pt x="255853" y="839557"/>
                    <a:pt x="239021" y="830580"/>
                  </a:cubicBezTo>
                  <a:cubicBezTo>
                    <a:pt x="205418" y="812658"/>
                    <a:pt x="202393" y="813348"/>
                    <a:pt x="174251" y="807720"/>
                  </a:cubicBezTo>
                  <a:cubicBezTo>
                    <a:pt x="160512" y="799476"/>
                    <a:pt x="154016" y="794917"/>
                    <a:pt x="139961" y="788670"/>
                  </a:cubicBezTo>
                  <a:cubicBezTo>
                    <a:pt x="133711" y="785892"/>
                    <a:pt x="127261" y="783590"/>
                    <a:pt x="120911" y="781050"/>
                  </a:cubicBezTo>
                  <a:cubicBezTo>
                    <a:pt x="117101" y="777240"/>
                    <a:pt x="112470" y="774103"/>
                    <a:pt x="109481" y="769620"/>
                  </a:cubicBezTo>
                  <a:cubicBezTo>
                    <a:pt x="101910" y="758263"/>
                    <a:pt x="106508" y="737224"/>
                    <a:pt x="109481" y="727710"/>
                  </a:cubicBezTo>
                  <a:cubicBezTo>
                    <a:pt x="112869" y="716868"/>
                    <a:pt x="113945" y="700822"/>
                    <a:pt x="124721" y="697230"/>
                  </a:cubicBezTo>
                  <a:lnTo>
                    <a:pt x="136151" y="693420"/>
                  </a:lnTo>
                  <a:cubicBezTo>
                    <a:pt x="146828" y="680074"/>
                    <a:pt x="153637" y="670125"/>
                    <a:pt x="166631" y="659130"/>
                  </a:cubicBezTo>
                  <a:cubicBezTo>
                    <a:pt x="177685" y="649777"/>
                    <a:pt x="190682" y="642699"/>
                    <a:pt x="200921" y="632460"/>
                  </a:cubicBezTo>
                  <a:cubicBezTo>
                    <a:pt x="206001" y="627380"/>
                    <a:pt x="210791" y="621993"/>
                    <a:pt x="216161" y="617220"/>
                  </a:cubicBezTo>
                  <a:cubicBezTo>
                    <a:pt x="222239" y="611817"/>
                    <a:pt x="228705" y="606859"/>
                    <a:pt x="235211" y="601980"/>
                  </a:cubicBezTo>
                  <a:cubicBezTo>
                    <a:pt x="238874" y="599233"/>
                    <a:pt x="243123" y="597291"/>
                    <a:pt x="246641" y="594360"/>
                  </a:cubicBezTo>
                  <a:cubicBezTo>
                    <a:pt x="261307" y="582138"/>
                    <a:pt x="261575" y="575616"/>
                    <a:pt x="277121" y="560070"/>
                  </a:cubicBezTo>
                  <a:cubicBezTo>
                    <a:pt x="281611" y="555580"/>
                    <a:pt x="287871" y="553130"/>
                    <a:pt x="292361" y="548640"/>
                  </a:cubicBezTo>
                  <a:cubicBezTo>
                    <a:pt x="298111" y="542890"/>
                    <a:pt x="302085" y="535565"/>
                    <a:pt x="307601" y="529590"/>
                  </a:cubicBezTo>
                  <a:cubicBezTo>
                    <a:pt x="317347" y="519032"/>
                    <a:pt x="330111" y="511065"/>
                    <a:pt x="338081" y="499110"/>
                  </a:cubicBezTo>
                  <a:cubicBezTo>
                    <a:pt x="340621" y="495300"/>
                    <a:pt x="342721" y="491157"/>
                    <a:pt x="345701" y="487680"/>
                  </a:cubicBezTo>
                  <a:cubicBezTo>
                    <a:pt x="350376" y="482225"/>
                    <a:pt x="356630" y="478187"/>
                    <a:pt x="360941" y="472440"/>
                  </a:cubicBezTo>
                  <a:cubicBezTo>
                    <a:pt x="376634" y="451515"/>
                    <a:pt x="358734" y="460476"/>
                    <a:pt x="379991" y="453390"/>
                  </a:cubicBezTo>
                  <a:cubicBezTo>
                    <a:pt x="400311" y="422910"/>
                    <a:pt x="373641" y="459740"/>
                    <a:pt x="399041" y="434340"/>
                  </a:cubicBezTo>
                  <a:cubicBezTo>
                    <a:pt x="402279" y="431102"/>
                    <a:pt x="403646" y="426356"/>
                    <a:pt x="406661" y="422910"/>
                  </a:cubicBezTo>
                  <a:cubicBezTo>
                    <a:pt x="438701" y="386293"/>
                    <a:pt x="412517" y="418495"/>
                    <a:pt x="440951" y="392430"/>
                  </a:cubicBezTo>
                  <a:cubicBezTo>
                    <a:pt x="451543" y="382721"/>
                    <a:pt x="461271" y="372110"/>
                    <a:pt x="471431" y="361950"/>
                  </a:cubicBezTo>
                  <a:cubicBezTo>
                    <a:pt x="475241" y="358140"/>
                    <a:pt x="478378" y="353509"/>
                    <a:pt x="482861" y="350520"/>
                  </a:cubicBezTo>
                  <a:cubicBezTo>
                    <a:pt x="498664" y="339985"/>
                    <a:pt x="497132" y="342086"/>
                    <a:pt x="513341" y="323850"/>
                  </a:cubicBezTo>
                  <a:cubicBezTo>
                    <a:pt x="517560" y="319104"/>
                    <a:pt x="519950" y="312743"/>
                    <a:pt x="524771" y="308610"/>
                  </a:cubicBezTo>
                  <a:cubicBezTo>
                    <a:pt x="529083" y="304914"/>
                    <a:pt x="535141" y="303912"/>
                    <a:pt x="540011" y="300990"/>
                  </a:cubicBezTo>
                  <a:cubicBezTo>
                    <a:pt x="547864" y="296278"/>
                    <a:pt x="555368" y="291002"/>
                    <a:pt x="562871" y="285750"/>
                  </a:cubicBezTo>
                  <a:cubicBezTo>
                    <a:pt x="568073" y="282109"/>
                    <a:pt x="572598" y="277470"/>
                    <a:pt x="578111" y="274320"/>
                  </a:cubicBezTo>
                  <a:cubicBezTo>
                    <a:pt x="581598" y="272327"/>
                    <a:pt x="585949" y="272306"/>
                    <a:pt x="589541" y="270510"/>
                  </a:cubicBezTo>
                  <a:cubicBezTo>
                    <a:pt x="594365" y="268098"/>
                    <a:pt x="613795" y="253531"/>
                    <a:pt x="616211" y="251460"/>
                  </a:cubicBezTo>
                  <a:cubicBezTo>
                    <a:pt x="620302" y="247953"/>
                    <a:pt x="623158" y="243019"/>
                    <a:pt x="627641" y="240030"/>
                  </a:cubicBezTo>
                  <a:cubicBezTo>
                    <a:pt x="630983" y="237802"/>
                    <a:pt x="635479" y="238016"/>
                    <a:pt x="639071" y="236220"/>
                  </a:cubicBezTo>
                  <a:cubicBezTo>
                    <a:pt x="643167" y="234172"/>
                    <a:pt x="646691" y="231140"/>
                    <a:pt x="650501" y="228600"/>
                  </a:cubicBezTo>
                  <a:cubicBezTo>
                    <a:pt x="661931" y="229870"/>
                    <a:pt x="673291" y="232410"/>
                    <a:pt x="684791" y="232410"/>
                  </a:cubicBezTo>
                  <a:cubicBezTo>
                    <a:pt x="694531" y="232410"/>
                    <a:pt x="755938" y="226057"/>
                    <a:pt x="768611" y="224790"/>
                  </a:cubicBezTo>
                  <a:cubicBezTo>
                    <a:pt x="769881" y="220980"/>
                    <a:pt x="774487" y="216804"/>
                    <a:pt x="772421" y="213360"/>
                  </a:cubicBezTo>
                  <a:cubicBezTo>
                    <a:pt x="769499" y="208490"/>
                    <a:pt x="762621" y="207372"/>
                    <a:pt x="757181" y="205740"/>
                  </a:cubicBezTo>
                  <a:cubicBezTo>
                    <a:pt x="749782" y="203520"/>
                    <a:pt x="741922" y="203312"/>
                    <a:pt x="734321" y="201930"/>
                  </a:cubicBezTo>
                  <a:cubicBezTo>
                    <a:pt x="716586" y="198705"/>
                    <a:pt x="716338" y="198387"/>
                    <a:pt x="700031" y="194310"/>
                  </a:cubicBezTo>
                  <a:cubicBezTo>
                    <a:pt x="698761" y="190500"/>
                    <a:pt x="696221" y="186896"/>
                    <a:pt x="696221" y="182880"/>
                  </a:cubicBezTo>
                  <a:cubicBezTo>
                    <a:pt x="696221" y="176404"/>
                    <a:pt x="698327" y="170078"/>
                    <a:pt x="700031" y="163830"/>
                  </a:cubicBezTo>
                  <a:cubicBezTo>
                    <a:pt x="706908" y="138614"/>
                    <a:pt x="705006" y="144496"/>
                    <a:pt x="719081" y="125730"/>
                  </a:cubicBezTo>
                  <a:cubicBezTo>
                    <a:pt x="721621" y="118110"/>
                    <a:pt x="722246" y="109553"/>
                    <a:pt x="726701" y="102870"/>
                  </a:cubicBezTo>
                  <a:cubicBezTo>
                    <a:pt x="737321" y="86940"/>
                    <a:pt x="739942" y="79771"/>
                    <a:pt x="753371" y="68580"/>
                  </a:cubicBezTo>
                  <a:cubicBezTo>
                    <a:pt x="756889" y="65649"/>
                    <a:pt x="760991" y="63500"/>
                    <a:pt x="764801" y="60960"/>
                  </a:cubicBezTo>
                  <a:cubicBezTo>
                    <a:pt x="767341" y="57150"/>
                    <a:pt x="769441" y="53007"/>
                    <a:pt x="772421" y="49530"/>
                  </a:cubicBezTo>
                  <a:cubicBezTo>
                    <a:pt x="779503" y="41267"/>
                    <a:pt x="793093" y="28465"/>
                    <a:pt x="802901" y="22860"/>
                  </a:cubicBezTo>
                  <a:cubicBezTo>
                    <a:pt x="806388" y="20867"/>
                    <a:pt x="810739" y="20846"/>
                    <a:pt x="814331" y="19050"/>
                  </a:cubicBezTo>
                  <a:cubicBezTo>
                    <a:pt x="824940" y="13746"/>
                    <a:pt x="828765" y="8426"/>
                    <a:pt x="837191" y="0"/>
                  </a:cubicBezTo>
                  <a:cubicBezTo>
                    <a:pt x="845971" y="1463"/>
                    <a:pt x="862102" y="2930"/>
                    <a:pt x="871481" y="7620"/>
                  </a:cubicBezTo>
                  <a:cubicBezTo>
                    <a:pt x="901024" y="22392"/>
                    <a:pt x="865611" y="9473"/>
                    <a:pt x="894341" y="19050"/>
                  </a:cubicBezTo>
                  <a:cubicBezTo>
                    <a:pt x="898876" y="32656"/>
                    <a:pt x="900795" y="36431"/>
                    <a:pt x="901961" y="53340"/>
                  </a:cubicBezTo>
                  <a:cubicBezTo>
                    <a:pt x="903973" y="82508"/>
                    <a:pt x="885523" y="119878"/>
                    <a:pt x="905771" y="140970"/>
                  </a:cubicBezTo>
                  <a:cubicBezTo>
                    <a:pt x="926076" y="162121"/>
                    <a:pt x="993401" y="148590"/>
                    <a:pt x="993401" y="148590"/>
                  </a:cubicBezTo>
                  <a:cubicBezTo>
                    <a:pt x="1010014" y="154128"/>
                    <a:pt x="1015616" y="153767"/>
                    <a:pt x="1027691" y="163830"/>
                  </a:cubicBezTo>
                  <a:cubicBezTo>
                    <a:pt x="1031830" y="167279"/>
                    <a:pt x="1035311" y="171450"/>
                    <a:pt x="1039121" y="175260"/>
                  </a:cubicBezTo>
                  <a:cubicBezTo>
                    <a:pt x="1040391" y="179070"/>
                    <a:pt x="1041957" y="182794"/>
                    <a:pt x="1042931" y="186690"/>
                  </a:cubicBezTo>
                  <a:cubicBezTo>
                    <a:pt x="1048440" y="208726"/>
                    <a:pt x="1049606" y="222618"/>
                    <a:pt x="1042931" y="247650"/>
                  </a:cubicBezTo>
                  <a:cubicBezTo>
                    <a:pt x="1041295" y="253786"/>
                    <a:pt x="1035634" y="258069"/>
                    <a:pt x="1031501" y="262890"/>
                  </a:cubicBezTo>
                  <a:cubicBezTo>
                    <a:pt x="1019564" y="276817"/>
                    <a:pt x="1014410" y="278094"/>
                    <a:pt x="997211" y="289560"/>
                  </a:cubicBezTo>
                  <a:cubicBezTo>
                    <a:pt x="993401" y="292100"/>
                    <a:pt x="989444" y="294433"/>
                    <a:pt x="985781" y="297180"/>
                  </a:cubicBezTo>
                  <a:cubicBezTo>
                    <a:pt x="980701" y="300990"/>
                    <a:pt x="976054" y="305460"/>
                    <a:pt x="970541" y="308610"/>
                  </a:cubicBezTo>
                  <a:cubicBezTo>
                    <a:pt x="967054" y="310603"/>
                    <a:pt x="962921" y="311150"/>
                    <a:pt x="959111" y="312420"/>
                  </a:cubicBezTo>
                  <a:cubicBezTo>
                    <a:pt x="937397" y="334134"/>
                    <a:pt x="959304" y="316147"/>
                    <a:pt x="932441" y="327660"/>
                  </a:cubicBezTo>
                  <a:cubicBezTo>
                    <a:pt x="928232" y="329464"/>
                    <a:pt x="925107" y="333232"/>
                    <a:pt x="921011" y="335280"/>
                  </a:cubicBezTo>
                  <a:cubicBezTo>
                    <a:pt x="917419" y="337076"/>
                    <a:pt x="913391" y="337820"/>
                    <a:pt x="909581" y="339090"/>
                  </a:cubicBezTo>
                  <a:cubicBezTo>
                    <a:pt x="904501" y="342900"/>
                    <a:pt x="899543" y="346879"/>
                    <a:pt x="894341" y="350520"/>
                  </a:cubicBezTo>
                  <a:cubicBezTo>
                    <a:pt x="886838" y="355772"/>
                    <a:pt x="877957" y="359284"/>
                    <a:pt x="871481" y="365760"/>
                  </a:cubicBezTo>
                  <a:cubicBezTo>
                    <a:pt x="861383" y="375858"/>
                    <a:pt x="847800" y="386452"/>
                    <a:pt x="841001" y="400050"/>
                  </a:cubicBezTo>
                  <a:cubicBezTo>
                    <a:pt x="839205" y="403642"/>
                    <a:pt x="838461" y="407670"/>
                    <a:pt x="837191" y="411480"/>
                  </a:cubicBezTo>
                  <a:cubicBezTo>
                    <a:pt x="838461" y="422910"/>
                    <a:pt x="841001" y="434270"/>
                    <a:pt x="841001" y="445770"/>
                  </a:cubicBezTo>
                  <a:cubicBezTo>
                    <a:pt x="841001" y="452246"/>
                    <a:pt x="841337" y="459845"/>
                    <a:pt x="837191" y="464820"/>
                  </a:cubicBezTo>
                  <a:cubicBezTo>
                    <a:pt x="833839" y="468843"/>
                    <a:pt x="827171" y="468212"/>
                    <a:pt x="821951" y="468630"/>
                  </a:cubicBezTo>
                  <a:cubicBezTo>
                    <a:pt x="795336" y="470759"/>
                    <a:pt x="768611" y="471170"/>
                    <a:pt x="741941" y="472440"/>
                  </a:cubicBezTo>
                  <a:cubicBezTo>
                    <a:pt x="740671" y="476250"/>
                    <a:pt x="738131" y="479854"/>
                    <a:pt x="738131" y="483870"/>
                  </a:cubicBezTo>
                  <a:cubicBezTo>
                    <a:pt x="738131" y="489106"/>
                    <a:pt x="738493" y="495169"/>
                    <a:pt x="741941" y="499110"/>
                  </a:cubicBezTo>
                  <a:cubicBezTo>
                    <a:pt x="768055" y="528954"/>
                    <a:pt x="816786" y="516713"/>
                    <a:pt x="848621" y="518160"/>
                  </a:cubicBezTo>
                  <a:cubicBezTo>
                    <a:pt x="854195" y="526521"/>
                    <a:pt x="860638" y="535162"/>
                    <a:pt x="863861" y="544830"/>
                  </a:cubicBezTo>
                  <a:cubicBezTo>
                    <a:pt x="865909" y="550973"/>
                    <a:pt x="866100" y="557598"/>
                    <a:pt x="867671" y="563880"/>
                  </a:cubicBezTo>
                  <a:cubicBezTo>
                    <a:pt x="868645" y="567776"/>
                    <a:pt x="870424" y="571435"/>
                    <a:pt x="871481" y="575310"/>
                  </a:cubicBezTo>
                  <a:cubicBezTo>
                    <a:pt x="874237" y="585414"/>
                    <a:pt x="879101" y="605790"/>
                    <a:pt x="879101" y="605790"/>
                  </a:cubicBezTo>
                  <a:cubicBezTo>
                    <a:pt x="879005" y="607510"/>
                    <a:pt x="881840" y="665081"/>
                    <a:pt x="871481" y="685800"/>
                  </a:cubicBezTo>
                  <a:cubicBezTo>
                    <a:pt x="868169" y="692424"/>
                    <a:pt x="863115" y="698108"/>
                    <a:pt x="860051" y="704850"/>
                  </a:cubicBezTo>
                  <a:cubicBezTo>
                    <a:pt x="856727" y="712162"/>
                    <a:pt x="852431" y="727710"/>
                    <a:pt x="852431" y="727710"/>
                  </a:cubicBezTo>
                  <a:cubicBezTo>
                    <a:pt x="859151" y="754590"/>
                    <a:pt x="854706" y="758309"/>
                    <a:pt x="905771" y="735330"/>
                  </a:cubicBezTo>
                  <a:cubicBezTo>
                    <a:pt x="917236" y="730171"/>
                    <a:pt x="920768" y="713329"/>
                    <a:pt x="932441" y="708660"/>
                  </a:cubicBezTo>
                  <a:cubicBezTo>
                    <a:pt x="938791" y="706120"/>
                    <a:pt x="945003" y="703203"/>
                    <a:pt x="951491" y="701040"/>
                  </a:cubicBezTo>
                  <a:cubicBezTo>
                    <a:pt x="956459" y="699384"/>
                    <a:pt x="961619" y="698366"/>
                    <a:pt x="966731" y="697230"/>
                  </a:cubicBezTo>
                  <a:cubicBezTo>
                    <a:pt x="1013970" y="686732"/>
                    <a:pt x="1024992" y="690716"/>
                    <a:pt x="1096271" y="685800"/>
                  </a:cubicBezTo>
                  <a:cubicBezTo>
                    <a:pt x="1100081" y="684530"/>
                    <a:pt x="1104109" y="683786"/>
                    <a:pt x="1107701" y="681990"/>
                  </a:cubicBezTo>
                  <a:cubicBezTo>
                    <a:pt x="1137244" y="667218"/>
                    <a:pt x="1101831" y="680137"/>
                    <a:pt x="1130561" y="670560"/>
                  </a:cubicBezTo>
                  <a:cubicBezTo>
                    <a:pt x="1137081" y="672733"/>
                    <a:pt x="1149201" y="675659"/>
                    <a:pt x="1153421" y="681990"/>
                  </a:cubicBezTo>
                  <a:cubicBezTo>
                    <a:pt x="1156326" y="686347"/>
                    <a:pt x="1155792" y="692195"/>
                    <a:pt x="1157231" y="697230"/>
                  </a:cubicBezTo>
                  <a:cubicBezTo>
                    <a:pt x="1161175" y="711032"/>
                    <a:pt x="1160312" y="707567"/>
                    <a:pt x="1168661" y="720090"/>
                  </a:cubicBezTo>
                  <a:cubicBezTo>
                    <a:pt x="1167391" y="726440"/>
                    <a:pt x="1168328" y="733677"/>
                    <a:pt x="1164851" y="739140"/>
                  </a:cubicBezTo>
                  <a:cubicBezTo>
                    <a:pt x="1151013" y="760886"/>
                    <a:pt x="1147794" y="760066"/>
                    <a:pt x="1130561" y="765810"/>
                  </a:cubicBezTo>
                  <a:cubicBezTo>
                    <a:pt x="1128021" y="770890"/>
                    <a:pt x="1125863" y="776180"/>
                    <a:pt x="1122941" y="781050"/>
                  </a:cubicBezTo>
                  <a:cubicBezTo>
                    <a:pt x="1118229" y="788903"/>
                    <a:pt x="1110597" y="795222"/>
                    <a:pt x="1107701" y="803910"/>
                  </a:cubicBezTo>
                  <a:lnTo>
                    <a:pt x="1100081" y="826770"/>
                  </a:lnTo>
                  <a:cubicBezTo>
                    <a:pt x="1101351" y="855980"/>
                    <a:pt x="1101649" y="885249"/>
                    <a:pt x="1103891" y="914400"/>
                  </a:cubicBezTo>
                  <a:cubicBezTo>
                    <a:pt x="1104199" y="918404"/>
                    <a:pt x="1106830" y="921910"/>
                    <a:pt x="1107701" y="925830"/>
                  </a:cubicBezTo>
                  <a:cubicBezTo>
                    <a:pt x="1109377" y="933371"/>
                    <a:pt x="1109996" y="941115"/>
                    <a:pt x="1111511" y="948690"/>
                  </a:cubicBezTo>
                  <a:cubicBezTo>
                    <a:pt x="1112538" y="953825"/>
                    <a:pt x="1114185" y="958818"/>
                    <a:pt x="1115321" y="963930"/>
                  </a:cubicBezTo>
                  <a:cubicBezTo>
                    <a:pt x="1116726" y="970252"/>
                    <a:pt x="1117560" y="976698"/>
                    <a:pt x="1119131" y="982980"/>
                  </a:cubicBezTo>
                  <a:cubicBezTo>
                    <a:pt x="1130847" y="1029843"/>
                    <a:pt x="1112708" y="943245"/>
                    <a:pt x="1126751" y="1013460"/>
                  </a:cubicBezTo>
                  <a:cubicBezTo>
                    <a:pt x="1115351" y="1047661"/>
                    <a:pt x="1130996" y="1012517"/>
                    <a:pt x="1058171" y="1028700"/>
                  </a:cubicBezTo>
                  <a:cubicBezTo>
                    <a:pt x="1054251" y="1029571"/>
                    <a:pt x="1055494" y="1036277"/>
                    <a:pt x="1054361" y="1040130"/>
                  </a:cubicBezTo>
                  <a:cubicBezTo>
                    <a:pt x="1049143" y="1057870"/>
                    <a:pt x="1044969" y="1075927"/>
                    <a:pt x="1039121" y="1093470"/>
                  </a:cubicBezTo>
                  <a:cubicBezTo>
                    <a:pt x="1037851" y="1097280"/>
                    <a:pt x="1036893" y="1101209"/>
                    <a:pt x="1035311" y="1104900"/>
                  </a:cubicBezTo>
                  <a:cubicBezTo>
                    <a:pt x="1029510" y="1118435"/>
                    <a:pt x="1027724" y="1120091"/>
                    <a:pt x="1020071" y="1131570"/>
                  </a:cubicBezTo>
                  <a:cubicBezTo>
                    <a:pt x="1011458" y="1174637"/>
                    <a:pt x="1021501" y="1121558"/>
                    <a:pt x="1012451" y="1184910"/>
                  </a:cubicBezTo>
                  <a:cubicBezTo>
                    <a:pt x="1007770" y="1217677"/>
                    <a:pt x="1010741" y="1191752"/>
                    <a:pt x="1004831" y="1215390"/>
                  </a:cubicBezTo>
                  <a:cubicBezTo>
                    <a:pt x="1004410" y="1217074"/>
                    <a:pt x="1001582" y="1244507"/>
                    <a:pt x="993401" y="1245870"/>
                  </a:cubicBezTo>
                  <a:cubicBezTo>
                    <a:pt x="965813" y="1250468"/>
                    <a:pt x="937521" y="1248410"/>
                    <a:pt x="909581" y="1249680"/>
                  </a:cubicBezTo>
                  <a:cubicBezTo>
                    <a:pt x="905771" y="1250950"/>
                    <a:pt x="900991" y="1250650"/>
                    <a:pt x="898151" y="1253490"/>
                  </a:cubicBezTo>
                  <a:cubicBezTo>
                    <a:pt x="877831" y="1273810"/>
                    <a:pt x="913391" y="1258570"/>
                    <a:pt x="882911" y="1268730"/>
                  </a:cubicBezTo>
                  <a:cubicBezTo>
                    <a:pt x="849506" y="1260379"/>
                    <a:pt x="882270" y="1271899"/>
                    <a:pt x="841001" y="1230630"/>
                  </a:cubicBezTo>
                  <a:cubicBezTo>
                    <a:pt x="831128" y="1220757"/>
                    <a:pt x="817495" y="1203637"/>
                    <a:pt x="802901" y="1196340"/>
                  </a:cubicBezTo>
                  <a:cubicBezTo>
                    <a:pt x="799309" y="1194544"/>
                    <a:pt x="795281" y="1193800"/>
                    <a:pt x="791471" y="1192530"/>
                  </a:cubicBezTo>
                  <a:cubicBezTo>
                    <a:pt x="762456" y="1199784"/>
                    <a:pt x="780915" y="1193998"/>
                    <a:pt x="738131" y="1215390"/>
                  </a:cubicBezTo>
                  <a:cubicBezTo>
                    <a:pt x="730511" y="1217930"/>
                    <a:pt x="723063" y="1221062"/>
                    <a:pt x="715271" y="1223010"/>
                  </a:cubicBezTo>
                  <a:cubicBezTo>
                    <a:pt x="693749" y="1228391"/>
                    <a:pt x="705166" y="1225793"/>
                    <a:pt x="680981" y="1230630"/>
                  </a:cubicBezTo>
                  <a:cubicBezTo>
                    <a:pt x="659265" y="1252346"/>
                    <a:pt x="669726" y="1239892"/>
                    <a:pt x="650501" y="1268730"/>
                  </a:cubicBezTo>
                  <a:cubicBezTo>
                    <a:pt x="647961" y="1272540"/>
                    <a:pt x="644329" y="1275816"/>
                    <a:pt x="642881" y="1280160"/>
                  </a:cubicBezTo>
                  <a:cubicBezTo>
                    <a:pt x="641611" y="1283970"/>
                    <a:pt x="641299" y="1288248"/>
                    <a:pt x="639071" y="1291590"/>
                  </a:cubicBezTo>
                  <a:cubicBezTo>
                    <a:pt x="602800" y="1345997"/>
                    <a:pt x="634516" y="1292548"/>
                    <a:pt x="608591" y="1325880"/>
                  </a:cubicBezTo>
                  <a:cubicBezTo>
                    <a:pt x="585185" y="1355974"/>
                    <a:pt x="604653" y="1343089"/>
                    <a:pt x="578111" y="1356360"/>
                  </a:cubicBezTo>
                  <a:cubicBezTo>
                    <a:pt x="559192" y="1384739"/>
                    <a:pt x="583507" y="1349884"/>
                    <a:pt x="559061" y="1379220"/>
                  </a:cubicBezTo>
                  <a:cubicBezTo>
                    <a:pt x="556130" y="1382738"/>
                    <a:pt x="553981" y="1386840"/>
                    <a:pt x="551441" y="1390650"/>
                  </a:cubicBezTo>
                  <a:cubicBezTo>
                    <a:pt x="550171" y="1395730"/>
                    <a:pt x="549694" y="1401077"/>
                    <a:pt x="547631" y="1405890"/>
                  </a:cubicBezTo>
                  <a:cubicBezTo>
                    <a:pt x="545827" y="1410099"/>
                    <a:pt x="541619" y="1413033"/>
                    <a:pt x="540011" y="1417320"/>
                  </a:cubicBezTo>
                  <a:cubicBezTo>
                    <a:pt x="537737" y="1423383"/>
                    <a:pt x="538475" y="1430307"/>
                    <a:pt x="536201" y="1436370"/>
                  </a:cubicBezTo>
                  <a:cubicBezTo>
                    <a:pt x="534593" y="1440657"/>
                    <a:pt x="530629" y="1443704"/>
                    <a:pt x="528581" y="1447800"/>
                  </a:cubicBezTo>
                  <a:cubicBezTo>
                    <a:pt x="511119" y="1482724"/>
                    <a:pt x="532013" y="1452114"/>
                    <a:pt x="509531" y="1482090"/>
                  </a:cubicBezTo>
                  <a:cubicBezTo>
                    <a:pt x="508261" y="1485900"/>
                    <a:pt x="508561" y="1490680"/>
                    <a:pt x="505721" y="1493520"/>
                  </a:cubicBezTo>
                  <a:cubicBezTo>
                    <a:pt x="502881" y="1496360"/>
                    <a:pt x="498153" y="1496227"/>
                    <a:pt x="494291" y="1497330"/>
                  </a:cubicBezTo>
                  <a:cubicBezTo>
                    <a:pt x="474712" y="1502924"/>
                    <a:pt x="473308" y="1501858"/>
                    <a:pt x="448571" y="1504950"/>
                  </a:cubicBezTo>
                  <a:cubicBezTo>
                    <a:pt x="444761" y="1506220"/>
                    <a:pt x="440733" y="1506964"/>
                    <a:pt x="437141" y="1508760"/>
                  </a:cubicBezTo>
                  <a:cubicBezTo>
                    <a:pt x="420839" y="1516911"/>
                    <a:pt x="426879" y="1521816"/>
                    <a:pt x="402851" y="1524000"/>
                  </a:cubicBezTo>
                  <a:lnTo>
                    <a:pt x="360941" y="1527810"/>
                  </a:lnTo>
                  <a:cubicBezTo>
                    <a:pt x="340788" y="1534528"/>
                    <a:pt x="356155" y="1530066"/>
                    <a:pt x="326651" y="1535430"/>
                  </a:cubicBezTo>
                  <a:cubicBezTo>
                    <a:pt x="288252" y="1542412"/>
                    <a:pt x="328745" y="1536597"/>
                    <a:pt x="277121" y="1543050"/>
                  </a:cubicBezTo>
                  <a:cubicBezTo>
                    <a:pt x="269501" y="1548130"/>
                    <a:pt x="262949" y="1555394"/>
                    <a:pt x="254261" y="1558290"/>
                  </a:cubicBezTo>
                  <a:lnTo>
                    <a:pt x="231401" y="1565910"/>
                  </a:lnTo>
                  <a:cubicBezTo>
                    <a:pt x="228302" y="1556614"/>
                    <a:pt x="227357" y="1550436"/>
                    <a:pt x="219971" y="1543050"/>
                  </a:cubicBezTo>
                  <a:cubicBezTo>
                    <a:pt x="216733" y="1539812"/>
                    <a:pt x="212351" y="1537970"/>
                    <a:pt x="208541" y="1535430"/>
                  </a:cubicBezTo>
                  <a:cubicBezTo>
                    <a:pt x="188221" y="1504950"/>
                    <a:pt x="214891" y="1541780"/>
                    <a:pt x="189491" y="1516380"/>
                  </a:cubicBezTo>
                  <a:cubicBezTo>
                    <a:pt x="186253" y="1513142"/>
                    <a:pt x="186404" y="1505598"/>
                    <a:pt x="181871" y="1504950"/>
                  </a:cubicBezTo>
                  <a:cubicBezTo>
                    <a:pt x="149159" y="1500277"/>
                    <a:pt x="115831" y="1502410"/>
                    <a:pt x="82811" y="1501140"/>
                  </a:cubicBezTo>
                  <a:cubicBezTo>
                    <a:pt x="79001" y="1499870"/>
                    <a:pt x="74221" y="1500170"/>
                    <a:pt x="71381" y="1497330"/>
                  </a:cubicBezTo>
                  <a:cubicBezTo>
                    <a:pt x="68541" y="1494490"/>
                    <a:pt x="68289" y="1489851"/>
                    <a:pt x="67571" y="1485900"/>
                  </a:cubicBezTo>
                  <a:cubicBezTo>
                    <a:pt x="65739" y="1475826"/>
                    <a:pt x="67564" y="1464927"/>
                    <a:pt x="63761" y="1455420"/>
                  </a:cubicBezTo>
                  <a:cubicBezTo>
                    <a:pt x="62060" y="1451168"/>
                    <a:pt x="56141" y="1450340"/>
                    <a:pt x="52331" y="1447800"/>
                  </a:cubicBezTo>
                  <a:cubicBezTo>
                    <a:pt x="49335" y="1443306"/>
                    <a:pt x="40150" y="1431700"/>
                    <a:pt x="40901" y="1424940"/>
                  </a:cubicBezTo>
                  <a:cubicBezTo>
                    <a:pt x="41788" y="1416957"/>
                    <a:pt x="48521" y="1402080"/>
                    <a:pt x="48521" y="1402080"/>
                  </a:cubicBezTo>
                  <a:cubicBezTo>
                    <a:pt x="49791" y="1391920"/>
                    <a:pt x="49637" y="1381478"/>
                    <a:pt x="52331" y="1371600"/>
                  </a:cubicBezTo>
                  <a:cubicBezTo>
                    <a:pt x="53536" y="1367182"/>
                    <a:pt x="57679" y="1364146"/>
                    <a:pt x="59951" y="1360170"/>
                  </a:cubicBezTo>
                  <a:cubicBezTo>
                    <a:pt x="62769" y="1355239"/>
                    <a:pt x="64649" y="1349800"/>
                    <a:pt x="67571" y="1344930"/>
                  </a:cubicBezTo>
                  <a:cubicBezTo>
                    <a:pt x="72283" y="1337077"/>
                    <a:pt x="82811" y="1322070"/>
                    <a:pt x="82811" y="1322070"/>
                  </a:cubicBezTo>
                  <a:cubicBezTo>
                    <a:pt x="84081" y="1316990"/>
                    <a:pt x="85182" y="1311865"/>
                    <a:pt x="86621" y="1306830"/>
                  </a:cubicBezTo>
                  <a:cubicBezTo>
                    <a:pt x="87724" y="1302968"/>
                    <a:pt x="90431" y="1299416"/>
                    <a:pt x="90431" y="1295400"/>
                  </a:cubicBezTo>
                  <a:cubicBezTo>
                    <a:pt x="90431" y="1281372"/>
                    <a:pt x="87697" y="1267476"/>
                    <a:pt x="86621" y="1253490"/>
                  </a:cubicBezTo>
                  <a:cubicBezTo>
                    <a:pt x="85157" y="1234454"/>
                    <a:pt x="86953" y="1214978"/>
                    <a:pt x="82811" y="1196340"/>
                  </a:cubicBezTo>
                  <a:cubicBezTo>
                    <a:pt x="81642" y="1191080"/>
                    <a:pt x="74830" y="1189049"/>
                    <a:pt x="71381" y="1184910"/>
                  </a:cubicBezTo>
                  <a:cubicBezTo>
                    <a:pt x="60495" y="1171847"/>
                    <a:pt x="68297" y="1173843"/>
                    <a:pt x="52331" y="1165860"/>
                  </a:cubicBezTo>
                  <a:cubicBezTo>
                    <a:pt x="37913" y="1158651"/>
                    <a:pt x="15913" y="1160425"/>
                    <a:pt x="2801" y="1158240"/>
                  </a:cubicBezTo>
                  <a:cubicBezTo>
                    <a:pt x="0" y="1157773"/>
                    <a:pt x="7881" y="1156970"/>
                    <a:pt x="10421" y="1154430"/>
                  </a:cubicBezTo>
                  <a:close/>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92" name="Freeform 357"/>
            <p:cNvSpPr>
              <a:spLocks noChangeArrowheads="1"/>
            </p:cNvSpPr>
            <p:nvPr>
              <p:custDataLst>
                <p:tags r:id="rId73"/>
              </p:custDataLst>
            </p:nvPr>
          </p:nvSpPr>
          <p:spPr bwMode="gray">
            <a:xfrm>
              <a:off x="7848600" y="2158816"/>
              <a:ext cx="795338" cy="1147762"/>
            </a:xfrm>
            <a:custGeom>
              <a:avLst/>
              <a:gdLst>
                <a:gd name="T0" fmla="*/ 0 w 832722"/>
                <a:gd name="T1" fmla="*/ 0 h 1199594"/>
                <a:gd name="T2" fmla="*/ 832722 w 832722"/>
                <a:gd name="T3" fmla="*/ 1199594 h 1199594"/>
              </a:gdLst>
              <a:ahLst/>
              <a:cxnLst/>
              <a:rect l="T0" t="T1" r="T2" b="T3"/>
              <a:pathLst>
                <a:path w="832722" h="1199594">
                  <a:moveTo>
                    <a:pt x="209550" y="85169"/>
                  </a:moveTo>
                  <a:cubicBezTo>
                    <a:pt x="214312" y="83185"/>
                    <a:pt x="206637" y="86417"/>
                    <a:pt x="242887" y="70881"/>
                  </a:cubicBezTo>
                  <a:cubicBezTo>
                    <a:pt x="249110" y="68214"/>
                    <a:pt x="252845" y="68132"/>
                    <a:pt x="259556" y="66119"/>
                  </a:cubicBezTo>
                  <a:cubicBezTo>
                    <a:pt x="264364" y="64676"/>
                    <a:pt x="269081" y="62944"/>
                    <a:pt x="273843" y="61356"/>
                  </a:cubicBezTo>
                  <a:cubicBezTo>
                    <a:pt x="276224" y="60562"/>
                    <a:pt x="278511" y="59388"/>
                    <a:pt x="280987" y="58975"/>
                  </a:cubicBezTo>
                  <a:cubicBezTo>
                    <a:pt x="285750" y="58181"/>
                    <a:pt x="290540" y="57541"/>
                    <a:pt x="295275" y="56594"/>
                  </a:cubicBezTo>
                  <a:cubicBezTo>
                    <a:pt x="302261" y="55197"/>
                    <a:pt x="309587" y="52424"/>
                    <a:pt x="316706" y="51831"/>
                  </a:cubicBezTo>
                  <a:cubicBezTo>
                    <a:pt x="331756" y="50577"/>
                    <a:pt x="346869" y="50244"/>
                    <a:pt x="361950" y="49450"/>
                  </a:cubicBezTo>
                  <a:cubicBezTo>
                    <a:pt x="384091" y="43915"/>
                    <a:pt x="356545" y="50532"/>
                    <a:pt x="385762" y="44688"/>
                  </a:cubicBezTo>
                  <a:cubicBezTo>
                    <a:pt x="388971" y="44046"/>
                    <a:pt x="392078" y="42948"/>
                    <a:pt x="395287" y="42306"/>
                  </a:cubicBezTo>
                  <a:cubicBezTo>
                    <a:pt x="421185" y="37126"/>
                    <a:pt x="398455" y="42660"/>
                    <a:pt x="421481" y="37544"/>
                  </a:cubicBezTo>
                  <a:cubicBezTo>
                    <a:pt x="438242" y="33820"/>
                    <a:pt x="424219" y="36762"/>
                    <a:pt x="438150" y="32781"/>
                  </a:cubicBezTo>
                  <a:cubicBezTo>
                    <a:pt x="441297" y="31882"/>
                    <a:pt x="444500" y="31194"/>
                    <a:pt x="447675" y="30400"/>
                  </a:cubicBezTo>
                  <a:cubicBezTo>
                    <a:pt x="450850" y="28019"/>
                    <a:pt x="453650" y="25031"/>
                    <a:pt x="457200" y="23256"/>
                  </a:cubicBezTo>
                  <a:cubicBezTo>
                    <a:pt x="461690" y="21011"/>
                    <a:pt x="471487" y="18494"/>
                    <a:pt x="471487" y="18494"/>
                  </a:cubicBezTo>
                  <a:cubicBezTo>
                    <a:pt x="473868" y="16906"/>
                    <a:pt x="476071" y="15011"/>
                    <a:pt x="478631" y="13731"/>
                  </a:cubicBezTo>
                  <a:cubicBezTo>
                    <a:pt x="480876" y="12608"/>
                    <a:pt x="483686" y="12742"/>
                    <a:pt x="485775" y="11350"/>
                  </a:cubicBezTo>
                  <a:cubicBezTo>
                    <a:pt x="502799" y="0"/>
                    <a:pt x="482297" y="6861"/>
                    <a:pt x="502443" y="1825"/>
                  </a:cubicBezTo>
                  <a:cubicBezTo>
                    <a:pt x="512762" y="2619"/>
                    <a:pt x="523177" y="2592"/>
                    <a:pt x="533400" y="4206"/>
                  </a:cubicBezTo>
                  <a:cubicBezTo>
                    <a:pt x="538359" y="4989"/>
                    <a:pt x="547687" y="8969"/>
                    <a:pt x="547687" y="8969"/>
                  </a:cubicBezTo>
                  <a:cubicBezTo>
                    <a:pt x="549275" y="12144"/>
                    <a:pt x="551052" y="15231"/>
                    <a:pt x="552450" y="18494"/>
                  </a:cubicBezTo>
                  <a:cubicBezTo>
                    <a:pt x="553439" y="20801"/>
                    <a:pt x="553709" y="23393"/>
                    <a:pt x="554831" y="25638"/>
                  </a:cubicBezTo>
                  <a:cubicBezTo>
                    <a:pt x="558146" y="32268"/>
                    <a:pt x="561471" y="34659"/>
                    <a:pt x="566737" y="39925"/>
                  </a:cubicBezTo>
                  <a:cubicBezTo>
                    <a:pt x="570485" y="51171"/>
                    <a:pt x="566527" y="44907"/>
                    <a:pt x="578643" y="51831"/>
                  </a:cubicBezTo>
                  <a:cubicBezTo>
                    <a:pt x="581128" y="53251"/>
                    <a:pt x="583227" y="55314"/>
                    <a:pt x="585787" y="56594"/>
                  </a:cubicBezTo>
                  <a:cubicBezTo>
                    <a:pt x="594367" y="60884"/>
                    <a:pt x="609919" y="60674"/>
                    <a:pt x="616743" y="61356"/>
                  </a:cubicBezTo>
                  <a:cubicBezTo>
                    <a:pt x="621506" y="64531"/>
                    <a:pt x="628905" y="65566"/>
                    <a:pt x="631031" y="70881"/>
                  </a:cubicBezTo>
                  <a:cubicBezTo>
                    <a:pt x="637043" y="85915"/>
                    <a:pt x="632770" y="79766"/>
                    <a:pt x="642937" y="89931"/>
                  </a:cubicBezTo>
                  <a:cubicBezTo>
                    <a:pt x="644525" y="94694"/>
                    <a:pt x="646990" y="99249"/>
                    <a:pt x="647700" y="104219"/>
                  </a:cubicBezTo>
                  <a:cubicBezTo>
                    <a:pt x="648494" y="109775"/>
                    <a:pt x="647996" y="115677"/>
                    <a:pt x="650081" y="120888"/>
                  </a:cubicBezTo>
                  <a:cubicBezTo>
                    <a:pt x="651332" y="124015"/>
                    <a:pt x="653900" y="127499"/>
                    <a:pt x="657225" y="128031"/>
                  </a:cubicBezTo>
                  <a:cubicBezTo>
                    <a:pt x="674486" y="130793"/>
                    <a:pt x="692150" y="129619"/>
                    <a:pt x="709612" y="130413"/>
                  </a:cubicBezTo>
                  <a:cubicBezTo>
                    <a:pt x="711993" y="132794"/>
                    <a:pt x="714564" y="134999"/>
                    <a:pt x="716756" y="137556"/>
                  </a:cubicBezTo>
                  <a:cubicBezTo>
                    <a:pt x="719339" y="140569"/>
                    <a:pt x="721094" y="144275"/>
                    <a:pt x="723900" y="147081"/>
                  </a:cubicBezTo>
                  <a:cubicBezTo>
                    <a:pt x="728274" y="151455"/>
                    <a:pt x="735582" y="153490"/>
                    <a:pt x="740568" y="156606"/>
                  </a:cubicBezTo>
                  <a:cubicBezTo>
                    <a:pt x="743934" y="158709"/>
                    <a:pt x="746864" y="161443"/>
                    <a:pt x="750093" y="163750"/>
                  </a:cubicBezTo>
                  <a:cubicBezTo>
                    <a:pt x="761697" y="172039"/>
                    <a:pt x="753262" y="164539"/>
                    <a:pt x="764381" y="175656"/>
                  </a:cubicBezTo>
                  <a:cubicBezTo>
                    <a:pt x="769565" y="186024"/>
                    <a:pt x="770622" y="189124"/>
                    <a:pt x="778668" y="199469"/>
                  </a:cubicBezTo>
                  <a:cubicBezTo>
                    <a:pt x="780736" y="202127"/>
                    <a:pt x="783854" y="203873"/>
                    <a:pt x="785812" y="206613"/>
                  </a:cubicBezTo>
                  <a:cubicBezTo>
                    <a:pt x="801484" y="228553"/>
                    <a:pt x="779146" y="204709"/>
                    <a:pt x="797718" y="223281"/>
                  </a:cubicBezTo>
                  <a:cubicBezTo>
                    <a:pt x="798512" y="225662"/>
                    <a:pt x="798977" y="228180"/>
                    <a:pt x="800100" y="230425"/>
                  </a:cubicBezTo>
                  <a:cubicBezTo>
                    <a:pt x="802233" y="234692"/>
                    <a:pt x="809843" y="243849"/>
                    <a:pt x="812006" y="247094"/>
                  </a:cubicBezTo>
                  <a:cubicBezTo>
                    <a:pt x="816160" y="253325"/>
                    <a:pt x="823912" y="266144"/>
                    <a:pt x="823912" y="266144"/>
                  </a:cubicBezTo>
                  <a:cubicBezTo>
                    <a:pt x="828883" y="325795"/>
                    <a:pt x="822631" y="305159"/>
                    <a:pt x="831056" y="330438"/>
                  </a:cubicBezTo>
                  <a:cubicBezTo>
                    <a:pt x="830262" y="355044"/>
                    <a:pt x="832722" y="379972"/>
                    <a:pt x="828675" y="404256"/>
                  </a:cubicBezTo>
                  <a:cubicBezTo>
                    <a:pt x="828137" y="407484"/>
                    <a:pt x="822285" y="402815"/>
                    <a:pt x="819150" y="401875"/>
                  </a:cubicBezTo>
                  <a:cubicBezTo>
                    <a:pt x="814341" y="400433"/>
                    <a:pt x="809785" y="398098"/>
                    <a:pt x="804862" y="397113"/>
                  </a:cubicBezTo>
                  <a:lnTo>
                    <a:pt x="792956" y="394731"/>
                  </a:lnTo>
                  <a:cubicBezTo>
                    <a:pt x="788206" y="393867"/>
                    <a:pt x="783403" y="393297"/>
                    <a:pt x="778668" y="392350"/>
                  </a:cubicBezTo>
                  <a:cubicBezTo>
                    <a:pt x="775459" y="391708"/>
                    <a:pt x="772318" y="390763"/>
                    <a:pt x="769143" y="389969"/>
                  </a:cubicBezTo>
                  <a:cubicBezTo>
                    <a:pt x="756913" y="359392"/>
                    <a:pt x="772805" y="397293"/>
                    <a:pt x="757237" y="366156"/>
                  </a:cubicBezTo>
                  <a:cubicBezTo>
                    <a:pt x="756115" y="363911"/>
                    <a:pt x="756248" y="361101"/>
                    <a:pt x="754856" y="359013"/>
                  </a:cubicBezTo>
                  <a:cubicBezTo>
                    <a:pt x="752988" y="356211"/>
                    <a:pt x="749868" y="354456"/>
                    <a:pt x="747712" y="351869"/>
                  </a:cubicBezTo>
                  <a:cubicBezTo>
                    <a:pt x="739427" y="341926"/>
                    <a:pt x="747534" y="346253"/>
                    <a:pt x="735806" y="342344"/>
                  </a:cubicBezTo>
                  <a:cubicBezTo>
                    <a:pt x="731043" y="343138"/>
                    <a:pt x="726231" y="343678"/>
                    <a:pt x="721518" y="344725"/>
                  </a:cubicBezTo>
                  <a:cubicBezTo>
                    <a:pt x="719068" y="345269"/>
                    <a:pt x="716303" y="345499"/>
                    <a:pt x="714375" y="347106"/>
                  </a:cubicBezTo>
                  <a:cubicBezTo>
                    <a:pt x="708167" y="352279"/>
                    <a:pt x="706264" y="359514"/>
                    <a:pt x="702468" y="366156"/>
                  </a:cubicBezTo>
                  <a:cubicBezTo>
                    <a:pt x="696733" y="376192"/>
                    <a:pt x="698676" y="371170"/>
                    <a:pt x="690562" y="380444"/>
                  </a:cubicBezTo>
                  <a:cubicBezTo>
                    <a:pt x="687215" y="384269"/>
                    <a:pt x="684212" y="388381"/>
                    <a:pt x="681037" y="392350"/>
                  </a:cubicBezTo>
                  <a:cubicBezTo>
                    <a:pt x="679450" y="396319"/>
                    <a:pt x="678351" y="400520"/>
                    <a:pt x="676275" y="404256"/>
                  </a:cubicBezTo>
                  <a:cubicBezTo>
                    <a:pt x="674348" y="407725"/>
                    <a:pt x="671438" y="410552"/>
                    <a:pt x="669131" y="413781"/>
                  </a:cubicBezTo>
                  <a:cubicBezTo>
                    <a:pt x="663520" y="421636"/>
                    <a:pt x="664257" y="421146"/>
                    <a:pt x="659606" y="430450"/>
                  </a:cubicBezTo>
                  <a:cubicBezTo>
                    <a:pt x="658958" y="433692"/>
                    <a:pt x="656287" y="448031"/>
                    <a:pt x="654843" y="451881"/>
                  </a:cubicBezTo>
                  <a:cubicBezTo>
                    <a:pt x="653597" y="455205"/>
                    <a:pt x="651668" y="458231"/>
                    <a:pt x="650081" y="461406"/>
                  </a:cubicBezTo>
                  <a:cubicBezTo>
                    <a:pt x="649287" y="466169"/>
                    <a:pt x="649227" y="471113"/>
                    <a:pt x="647700" y="475694"/>
                  </a:cubicBezTo>
                  <a:cubicBezTo>
                    <a:pt x="646795" y="478409"/>
                    <a:pt x="644357" y="480353"/>
                    <a:pt x="642937" y="482838"/>
                  </a:cubicBezTo>
                  <a:cubicBezTo>
                    <a:pt x="641176" y="485920"/>
                    <a:pt x="639762" y="489188"/>
                    <a:pt x="638175" y="492363"/>
                  </a:cubicBezTo>
                  <a:cubicBezTo>
                    <a:pt x="638969" y="511413"/>
                    <a:pt x="638594" y="530548"/>
                    <a:pt x="640556" y="549513"/>
                  </a:cubicBezTo>
                  <a:cubicBezTo>
                    <a:pt x="640996" y="553765"/>
                    <a:pt x="644692" y="557191"/>
                    <a:pt x="645318" y="561419"/>
                  </a:cubicBezTo>
                  <a:cubicBezTo>
                    <a:pt x="658196" y="648341"/>
                    <a:pt x="644369" y="590958"/>
                    <a:pt x="652462" y="623331"/>
                  </a:cubicBezTo>
                  <a:cubicBezTo>
                    <a:pt x="654644" y="664788"/>
                    <a:pt x="652554" y="666560"/>
                    <a:pt x="661987" y="704294"/>
                  </a:cubicBezTo>
                  <a:cubicBezTo>
                    <a:pt x="662751" y="707352"/>
                    <a:pt x="665040" y="717543"/>
                    <a:pt x="666750" y="720963"/>
                  </a:cubicBezTo>
                  <a:cubicBezTo>
                    <a:pt x="668030" y="723522"/>
                    <a:pt x="670232" y="725547"/>
                    <a:pt x="671512" y="728106"/>
                  </a:cubicBezTo>
                  <a:cubicBezTo>
                    <a:pt x="673424" y="731929"/>
                    <a:pt x="673651" y="736639"/>
                    <a:pt x="676275" y="740013"/>
                  </a:cubicBezTo>
                  <a:cubicBezTo>
                    <a:pt x="682679" y="748247"/>
                    <a:pt x="688309" y="748453"/>
                    <a:pt x="695325" y="754300"/>
                  </a:cubicBezTo>
                  <a:cubicBezTo>
                    <a:pt x="697912" y="756456"/>
                    <a:pt x="699911" y="759252"/>
                    <a:pt x="702468" y="761444"/>
                  </a:cubicBezTo>
                  <a:cubicBezTo>
                    <a:pt x="705481" y="764027"/>
                    <a:pt x="709187" y="765782"/>
                    <a:pt x="711993" y="768588"/>
                  </a:cubicBezTo>
                  <a:cubicBezTo>
                    <a:pt x="714017" y="770612"/>
                    <a:pt x="714732" y="773707"/>
                    <a:pt x="716756" y="775731"/>
                  </a:cubicBezTo>
                  <a:cubicBezTo>
                    <a:pt x="719562" y="778537"/>
                    <a:pt x="723268" y="780292"/>
                    <a:pt x="726281" y="782875"/>
                  </a:cubicBezTo>
                  <a:cubicBezTo>
                    <a:pt x="737632" y="792604"/>
                    <a:pt x="728418" y="788350"/>
                    <a:pt x="740568" y="792400"/>
                  </a:cubicBezTo>
                  <a:cubicBezTo>
                    <a:pt x="752573" y="791066"/>
                    <a:pt x="763459" y="791785"/>
                    <a:pt x="773906" y="785256"/>
                  </a:cubicBezTo>
                  <a:cubicBezTo>
                    <a:pt x="776762" y="783471"/>
                    <a:pt x="778106" y="779748"/>
                    <a:pt x="781050" y="778113"/>
                  </a:cubicBezTo>
                  <a:cubicBezTo>
                    <a:pt x="785438" y="775675"/>
                    <a:pt x="795337" y="773350"/>
                    <a:pt x="795337" y="773350"/>
                  </a:cubicBezTo>
                  <a:cubicBezTo>
                    <a:pt x="798512" y="774144"/>
                    <a:pt x="802377" y="773601"/>
                    <a:pt x="804862" y="775731"/>
                  </a:cubicBezTo>
                  <a:cubicBezTo>
                    <a:pt x="817040" y="786169"/>
                    <a:pt x="811616" y="786959"/>
                    <a:pt x="807243" y="797163"/>
                  </a:cubicBezTo>
                  <a:cubicBezTo>
                    <a:pt x="806254" y="799470"/>
                    <a:pt x="805984" y="802061"/>
                    <a:pt x="804862" y="804306"/>
                  </a:cubicBezTo>
                  <a:cubicBezTo>
                    <a:pt x="803509" y="807013"/>
                    <a:pt x="794037" y="819894"/>
                    <a:pt x="792956" y="820975"/>
                  </a:cubicBezTo>
                  <a:cubicBezTo>
                    <a:pt x="790150" y="823781"/>
                    <a:pt x="786606" y="825738"/>
                    <a:pt x="783431" y="828119"/>
                  </a:cubicBezTo>
                  <a:cubicBezTo>
                    <a:pt x="771612" y="857664"/>
                    <a:pt x="786237" y="827623"/>
                    <a:pt x="771525" y="844788"/>
                  </a:cubicBezTo>
                  <a:cubicBezTo>
                    <a:pt x="768513" y="848302"/>
                    <a:pt x="766948" y="852843"/>
                    <a:pt x="764381" y="856694"/>
                  </a:cubicBezTo>
                  <a:cubicBezTo>
                    <a:pt x="762179" y="859996"/>
                    <a:pt x="759340" y="862853"/>
                    <a:pt x="757237" y="866219"/>
                  </a:cubicBezTo>
                  <a:cubicBezTo>
                    <a:pt x="755356" y="869229"/>
                    <a:pt x="754236" y="872662"/>
                    <a:pt x="752475" y="875744"/>
                  </a:cubicBezTo>
                  <a:cubicBezTo>
                    <a:pt x="751055" y="878229"/>
                    <a:pt x="749300" y="880507"/>
                    <a:pt x="747712" y="882888"/>
                  </a:cubicBezTo>
                  <a:cubicBezTo>
                    <a:pt x="746918" y="894794"/>
                    <a:pt x="746649" y="906747"/>
                    <a:pt x="745331" y="918606"/>
                  </a:cubicBezTo>
                  <a:cubicBezTo>
                    <a:pt x="745054" y="921101"/>
                    <a:pt x="743671" y="923346"/>
                    <a:pt x="742950" y="925750"/>
                  </a:cubicBezTo>
                  <a:cubicBezTo>
                    <a:pt x="741289" y="931285"/>
                    <a:pt x="739886" y="936896"/>
                    <a:pt x="738187" y="942419"/>
                  </a:cubicBezTo>
                  <a:cubicBezTo>
                    <a:pt x="736711" y="947217"/>
                    <a:pt x="735012" y="951944"/>
                    <a:pt x="733425" y="956706"/>
                  </a:cubicBezTo>
                  <a:lnTo>
                    <a:pt x="731043" y="963850"/>
                  </a:lnTo>
                  <a:cubicBezTo>
                    <a:pt x="726036" y="1008918"/>
                    <a:pt x="731436" y="969026"/>
                    <a:pt x="726281" y="994806"/>
                  </a:cubicBezTo>
                  <a:cubicBezTo>
                    <a:pt x="725334" y="999541"/>
                    <a:pt x="725071" y="1004410"/>
                    <a:pt x="723900" y="1009094"/>
                  </a:cubicBezTo>
                  <a:cubicBezTo>
                    <a:pt x="722682" y="1013964"/>
                    <a:pt x="723899" y="1021793"/>
                    <a:pt x="719137" y="1023381"/>
                  </a:cubicBezTo>
                  <a:cubicBezTo>
                    <a:pt x="701172" y="1029371"/>
                    <a:pt x="723322" y="1021289"/>
                    <a:pt x="704850" y="1030525"/>
                  </a:cubicBezTo>
                  <a:cubicBezTo>
                    <a:pt x="702605" y="1031647"/>
                    <a:pt x="700087" y="1032112"/>
                    <a:pt x="697706" y="1032906"/>
                  </a:cubicBezTo>
                  <a:cubicBezTo>
                    <a:pt x="690562" y="1032112"/>
                    <a:pt x="683094" y="1032798"/>
                    <a:pt x="676275" y="1030525"/>
                  </a:cubicBezTo>
                  <a:cubicBezTo>
                    <a:pt x="673080" y="1029460"/>
                    <a:pt x="671718" y="1025537"/>
                    <a:pt x="669131" y="1023381"/>
                  </a:cubicBezTo>
                  <a:cubicBezTo>
                    <a:pt x="666932" y="1021549"/>
                    <a:pt x="664368" y="1020206"/>
                    <a:pt x="661987" y="1018619"/>
                  </a:cubicBezTo>
                  <a:cubicBezTo>
                    <a:pt x="661193" y="1016238"/>
                    <a:pt x="659606" y="1013985"/>
                    <a:pt x="659606" y="1011475"/>
                  </a:cubicBezTo>
                  <a:cubicBezTo>
                    <a:pt x="659606" y="998642"/>
                    <a:pt x="660999" y="998670"/>
                    <a:pt x="666750" y="990044"/>
                  </a:cubicBezTo>
                  <a:cubicBezTo>
                    <a:pt x="665162" y="984488"/>
                    <a:pt x="664794" y="978426"/>
                    <a:pt x="661987" y="973375"/>
                  </a:cubicBezTo>
                  <a:cubicBezTo>
                    <a:pt x="659335" y="968602"/>
                    <a:pt x="649368" y="967244"/>
                    <a:pt x="645318" y="966231"/>
                  </a:cubicBezTo>
                  <a:cubicBezTo>
                    <a:pt x="604843" y="977797"/>
                    <a:pt x="659885" y="963331"/>
                    <a:pt x="592931" y="973375"/>
                  </a:cubicBezTo>
                  <a:cubicBezTo>
                    <a:pt x="587597" y="974175"/>
                    <a:pt x="578403" y="979132"/>
                    <a:pt x="573881" y="982900"/>
                  </a:cubicBezTo>
                  <a:cubicBezTo>
                    <a:pt x="571294" y="985056"/>
                    <a:pt x="569118" y="987663"/>
                    <a:pt x="566737" y="990044"/>
                  </a:cubicBezTo>
                  <a:cubicBezTo>
                    <a:pt x="565943" y="993219"/>
                    <a:pt x="565645" y="996561"/>
                    <a:pt x="564356" y="999569"/>
                  </a:cubicBezTo>
                  <a:cubicBezTo>
                    <a:pt x="563229" y="1002200"/>
                    <a:pt x="561013" y="1004228"/>
                    <a:pt x="559593" y="1006713"/>
                  </a:cubicBezTo>
                  <a:cubicBezTo>
                    <a:pt x="549132" y="1025020"/>
                    <a:pt x="561348" y="1007548"/>
                    <a:pt x="547687" y="1025763"/>
                  </a:cubicBezTo>
                  <a:cubicBezTo>
                    <a:pt x="546893" y="1028144"/>
                    <a:pt x="545850" y="1030456"/>
                    <a:pt x="545306" y="1032906"/>
                  </a:cubicBezTo>
                  <a:cubicBezTo>
                    <a:pt x="544259" y="1037619"/>
                    <a:pt x="544312" y="1042569"/>
                    <a:pt x="542925" y="1047194"/>
                  </a:cubicBezTo>
                  <a:cubicBezTo>
                    <a:pt x="541905" y="1050594"/>
                    <a:pt x="539560" y="1053456"/>
                    <a:pt x="538162" y="1056719"/>
                  </a:cubicBezTo>
                  <a:cubicBezTo>
                    <a:pt x="537173" y="1059026"/>
                    <a:pt x="536575" y="1061482"/>
                    <a:pt x="535781" y="1063863"/>
                  </a:cubicBezTo>
                  <a:cubicBezTo>
                    <a:pt x="538314" y="1076529"/>
                    <a:pt x="540543" y="1085661"/>
                    <a:pt x="540543" y="1099581"/>
                  </a:cubicBezTo>
                  <a:cubicBezTo>
                    <a:pt x="540543" y="1102091"/>
                    <a:pt x="539151" y="1104418"/>
                    <a:pt x="538162" y="1106725"/>
                  </a:cubicBezTo>
                  <a:cubicBezTo>
                    <a:pt x="536764" y="1109988"/>
                    <a:pt x="536240" y="1114120"/>
                    <a:pt x="533400" y="1116250"/>
                  </a:cubicBezTo>
                  <a:cubicBezTo>
                    <a:pt x="529384" y="1119262"/>
                    <a:pt x="519112" y="1121013"/>
                    <a:pt x="519112" y="1121013"/>
                  </a:cubicBezTo>
                  <a:cubicBezTo>
                    <a:pt x="516731" y="1123394"/>
                    <a:pt x="514574" y="1126024"/>
                    <a:pt x="511968" y="1128156"/>
                  </a:cubicBezTo>
                  <a:cubicBezTo>
                    <a:pt x="504178" y="1134529"/>
                    <a:pt x="491000" y="1144594"/>
                    <a:pt x="481012" y="1149588"/>
                  </a:cubicBezTo>
                  <a:cubicBezTo>
                    <a:pt x="478767" y="1150711"/>
                    <a:pt x="476249" y="1151175"/>
                    <a:pt x="473868" y="1151969"/>
                  </a:cubicBezTo>
                  <a:cubicBezTo>
                    <a:pt x="460773" y="1160699"/>
                    <a:pt x="471884" y="1151969"/>
                    <a:pt x="461962" y="1163875"/>
                  </a:cubicBezTo>
                  <a:cubicBezTo>
                    <a:pt x="459806" y="1166462"/>
                    <a:pt x="456886" y="1168361"/>
                    <a:pt x="454818" y="1171019"/>
                  </a:cubicBezTo>
                  <a:cubicBezTo>
                    <a:pt x="451304" y="1175537"/>
                    <a:pt x="448468" y="1180544"/>
                    <a:pt x="445293" y="1185306"/>
                  </a:cubicBezTo>
                  <a:cubicBezTo>
                    <a:pt x="443706" y="1187687"/>
                    <a:pt x="443246" y="1191545"/>
                    <a:pt x="440531" y="1192450"/>
                  </a:cubicBezTo>
                  <a:lnTo>
                    <a:pt x="433387" y="1194831"/>
                  </a:lnTo>
                  <a:cubicBezTo>
                    <a:pt x="431006" y="1196419"/>
                    <a:pt x="429105" y="1199594"/>
                    <a:pt x="426243" y="1199594"/>
                  </a:cubicBezTo>
                  <a:cubicBezTo>
                    <a:pt x="421223" y="1199594"/>
                    <a:pt x="416718" y="1196419"/>
                    <a:pt x="411956" y="1194831"/>
                  </a:cubicBezTo>
                  <a:lnTo>
                    <a:pt x="404812" y="1192450"/>
                  </a:lnTo>
                  <a:cubicBezTo>
                    <a:pt x="402431" y="1191656"/>
                    <a:pt x="400163" y="1190346"/>
                    <a:pt x="397668" y="1190069"/>
                  </a:cubicBezTo>
                  <a:lnTo>
                    <a:pt x="376237" y="1187688"/>
                  </a:lnTo>
                  <a:cubicBezTo>
                    <a:pt x="371475" y="1186100"/>
                    <a:pt x="366127" y="1185709"/>
                    <a:pt x="361950" y="1182925"/>
                  </a:cubicBezTo>
                  <a:cubicBezTo>
                    <a:pt x="357043" y="1179654"/>
                    <a:pt x="353727" y="1176539"/>
                    <a:pt x="347662" y="1175781"/>
                  </a:cubicBezTo>
                  <a:cubicBezTo>
                    <a:pt x="337393" y="1174497"/>
                    <a:pt x="327025" y="1174194"/>
                    <a:pt x="316706" y="1173400"/>
                  </a:cubicBezTo>
                  <a:cubicBezTo>
                    <a:pt x="312963" y="1170905"/>
                    <a:pt x="305367" y="1167165"/>
                    <a:pt x="304800" y="1161494"/>
                  </a:cubicBezTo>
                  <a:cubicBezTo>
                    <a:pt x="304435" y="1157840"/>
                    <a:pt x="306793" y="1143218"/>
                    <a:pt x="309562" y="1137681"/>
                  </a:cubicBezTo>
                  <a:cubicBezTo>
                    <a:pt x="310842" y="1135121"/>
                    <a:pt x="312737" y="1132919"/>
                    <a:pt x="314325" y="1130538"/>
                  </a:cubicBezTo>
                  <a:cubicBezTo>
                    <a:pt x="311220" y="1102601"/>
                    <a:pt x="313686" y="1116079"/>
                    <a:pt x="307181" y="1090056"/>
                  </a:cubicBezTo>
                  <a:cubicBezTo>
                    <a:pt x="306416" y="1086996"/>
                    <a:pt x="304129" y="1076810"/>
                    <a:pt x="302418" y="1073388"/>
                  </a:cubicBezTo>
                  <a:cubicBezTo>
                    <a:pt x="297981" y="1064515"/>
                    <a:pt x="297099" y="1067005"/>
                    <a:pt x="290512" y="1059100"/>
                  </a:cubicBezTo>
                  <a:cubicBezTo>
                    <a:pt x="288680" y="1056901"/>
                    <a:pt x="287582" y="1054155"/>
                    <a:pt x="285750" y="1051956"/>
                  </a:cubicBezTo>
                  <a:cubicBezTo>
                    <a:pt x="278757" y="1043565"/>
                    <a:pt x="274271" y="1041924"/>
                    <a:pt x="264318" y="1035288"/>
                  </a:cubicBezTo>
                  <a:lnTo>
                    <a:pt x="257175" y="1030525"/>
                  </a:lnTo>
                  <a:cubicBezTo>
                    <a:pt x="252678" y="1027527"/>
                    <a:pt x="248592" y="1023900"/>
                    <a:pt x="242887" y="1023381"/>
                  </a:cubicBezTo>
                  <a:cubicBezTo>
                    <a:pt x="227847" y="1022014"/>
                    <a:pt x="212724" y="1021794"/>
                    <a:pt x="197643" y="1021000"/>
                  </a:cubicBezTo>
                  <a:cubicBezTo>
                    <a:pt x="190318" y="1018558"/>
                    <a:pt x="187062" y="1016161"/>
                    <a:pt x="178593" y="1021000"/>
                  </a:cubicBezTo>
                  <a:cubicBezTo>
                    <a:pt x="176108" y="1022420"/>
                    <a:pt x="175855" y="1026120"/>
                    <a:pt x="173831" y="1028144"/>
                  </a:cubicBezTo>
                  <a:cubicBezTo>
                    <a:pt x="171807" y="1030168"/>
                    <a:pt x="169247" y="1031626"/>
                    <a:pt x="166687" y="1032906"/>
                  </a:cubicBezTo>
                  <a:cubicBezTo>
                    <a:pt x="160034" y="1036233"/>
                    <a:pt x="149026" y="1036790"/>
                    <a:pt x="142875" y="1037669"/>
                  </a:cubicBezTo>
                  <a:cubicBezTo>
                    <a:pt x="137318" y="1054337"/>
                    <a:pt x="142874" y="1053543"/>
                    <a:pt x="130968" y="1049575"/>
                  </a:cubicBezTo>
                  <a:lnTo>
                    <a:pt x="121443" y="1035288"/>
                  </a:lnTo>
                  <a:cubicBezTo>
                    <a:pt x="119856" y="1032907"/>
                    <a:pt x="117586" y="1030859"/>
                    <a:pt x="116681" y="1028144"/>
                  </a:cubicBezTo>
                  <a:cubicBezTo>
                    <a:pt x="115887" y="1025763"/>
                    <a:pt x="115907" y="1022928"/>
                    <a:pt x="114300" y="1021000"/>
                  </a:cubicBezTo>
                  <a:cubicBezTo>
                    <a:pt x="103444" y="1007972"/>
                    <a:pt x="102293" y="1020691"/>
                    <a:pt x="95250" y="999569"/>
                  </a:cubicBezTo>
                  <a:cubicBezTo>
                    <a:pt x="94456" y="997188"/>
                    <a:pt x="93477" y="994860"/>
                    <a:pt x="92868" y="992425"/>
                  </a:cubicBezTo>
                  <a:cubicBezTo>
                    <a:pt x="91886" y="988499"/>
                    <a:pt x="92297" y="984139"/>
                    <a:pt x="90487" y="980519"/>
                  </a:cubicBezTo>
                  <a:cubicBezTo>
                    <a:pt x="88732" y="977008"/>
                    <a:pt x="79847" y="970437"/>
                    <a:pt x="76200" y="968613"/>
                  </a:cubicBezTo>
                  <a:cubicBezTo>
                    <a:pt x="73955" y="967490"/>
                    <a:pt x="71250" y="967450"/>
                    <a:pt x="69056" y="966231"/>
                  </a:cubicBezTo>
                  <a:cubicBezTo>
                    <a:pt x="64052" y="963451"/>
                    <a:pt x="54768" y="956706"/>
                    <a:pt x="54768" y="956706"/>
                  </a:cubicBezTo>
                  <a:cubicBezTo>
                    <a:pt x="51593" y="951944"/>
                    <a:pt x="47803" y="947538"/>
                    <a:pt x="45243" y="942419"/>
                  </a:cubicBezTo>
                  <a:cubicBezTo>
                    <a:pt x="42068" y="936069"/>
                    <a:pt x="37963" y="930104"/>
                    <a:pt x="35718" y="923369"/>
                  </a:cubicBezTo>
                  <a:cubicBezTo>
                    <a:pt x="32432" y="913510"/>
                    <a:pt x="34729" y="918314"/>
                    <a:pt x="28575" y="909081"/>
                  </a:cubicBezTo>
                  <a:cubicBezTo>
                    <a:pt x="24975" y="894685"/>
                    <a:pt x="27228" y="902662"/>
                    <a:pt x="21431" y="885269"/>
                  </a:cubicBezTo>
                  <a:cubicBezTo>
                    <a:pt x="21429" y="885264"/>
                    <a:pt x="16671" y="870985"/>
                    <a:pt x="16668" y="870981"/>
                  </a:cubicBezTo>
                  <a:cubicBezTo>
                    <a:pt x="10038" y="861036"/>
                    <a:pt x="13929" y="865861"/>
                    <a:pt x="4762" y="856694"/>
                  </a:cubicBezTo>
                  <a:cubicBezTo>
                    <a:pt x="1037" y="845516"/>
                    <a:pt x="0" y="844069"/>
                    <a:pt x="0" y="828119"/>
                  </a:cubicBezTo>
                  <a:cubicBezTo>
                    <a:pt x="0" y="823291"/>
                    <a:pt x="524" y="818288"/>
                    <a:pt x="2381" y="813831"/>
                  </a:cubicBezTo>
                  <a:cubicBezTo>
                    <a:pt x="4582" y="808548"/>
                    <a:pt x="8731" y="804306"/>
                    <a:pt x="11906" y="799544"/>
                  </a:cubicBezTo>
                  <a:cubicBezTo>
                    <a:pt x="13493" y="797163"/>
                    <a:pt x="15763" y="795115"/>
                    <a:pt x="16668" y="792400"/>
                  </a:cubicBezTo>
                  <a:cubicBezTo>
                    <a:pt x="17462" y="790019"/>
                    <a:pt x="18360" y="787670"/>
                    <a:pt x="19050" y="785256"/>
                  </a:cubicBezTo>
                  <a:cubicBezTo>
                    <a:pt x="19949" y="782109"/>
                    <a:pt x="19807" y="778572"/>
                    <a:pt x="21431" y="775731"/>
                  </a:cubicBezTo>
                  <a:cubicBezTo>
                    <a:pt x="23102" y="772807"/>
                    <a:pt x="25917" y="770655"/>
                    <a:pt x="28575" y="768588"/>
                  </a:cubicBezTo>
                  <a:cubicBezTo>
                    <a:pt x="33093" y="765074"/>
                    <a:pt x="38100" y="762238"/>
                    <a:pt x="42862" y="759063"/>
                  </a:cubicBezTo>
                  <a:lnTo>
                    <a:pt x="57150" y="749538"/>
                  </a:lnTo>
                  <a:lnTo>
                    <a:pt x="64293" y="744775"/>
                  </a:lnTo>
                  <a:lnTo>
                    <a:pt x="71437" y="740013"/>
                  </a:lnTo>
                  <a:cubicBezTo>
                    <a:pt x="73025" y="737632"/>
                    <a:pt x="76761" y="735676"/>
                    <a:pt x="76200" y="732869"/>
                  </a:cubicBezTo>
                  <a:cubicBezTo>
                    <a:pt x="75639" y="730062"/>
                    <a:pt x="70941" y="730260"/>
                    <a:pt x="69056" y="728106"/>
                  </a:cubicBezTo>
                  <a:cubicBezTo>
                    <a:pt x="65287" y="723799"/>
                    <a:pt x="62965" y="718398"/>
                    <a:pt x="59531" y="713819"/>
                  </a:cubicBezTo>
                  <a:lnTo>
                    <a:pt x="52387" y="704294"/>
                  </a:lnTo>
                  <a:cubicBezTo>
                    <a:pt x="50800" y="699531"/>
                    <a:pt x="46408" y="694876"/>
                    <a:pt x="47625" y="690006"/>
                  </a:cubicBezTo>
                  <a:cubicBezTo>
                    <a:pt x="48419" y="686831"/>
                    <a:pt x="48717" y="683489"/>
                    <a:pt x="50006" y="680481"/>
                  </a:cubicBezTo>
                  <a:cubicBezTo>
                    <a:pt x="51605" y="676749"/>
                    <a:pt x="58665" y="668049"/>
                    <a:pt x="61912" y="666194"/>
                  </a:cubicBezTo>
                  <a:cubicBezTo>
                    <a:pt x="64754" y="664570"/>
                    <a:pt x="68262" y="664607"/>
                    <a:pt x="71437" y="663813"/>
                  </a:cubicBezTo>
                  <a:cubicBezTo>
                    <a:pt x="74434" y="661815"/>
                    <a:pt x="84734" y="655622"/>
                    <a:pt x="85725" y="651906"/>
                  </a:cubicBezTo>
                  <a:cubicBezTo>
                    <a:pt x="87475" y="645345"/>
                    <a:pt x="80413" y="621187"/>
                    <a:pt x="95250" y="618569"/>
                  </a:cubicBezTo>
                  <a:cubicBezTo>
                    <a:pt x="106221" y="616633"/>
                    <a:pt x="117475" y="616982"/>
                    <a:pt x="128587" y="616188"/>
                  </a:cubicBezTo>
                  <a:cubicBezTo>
                    <a:pt x="148480" y="602926"/>
                    <a:pt x="138826" y="610711"/>
                    <a:pt x="157162" y="592375"/>
                  </a:cubicBezTo>
                  <a:lnTo>
                    <a:pt x="164306" y="585231"/>
                  </a:lnTo>
                  <a:cubicBezTo>
                    <a:pt x="165100" y="582850"/>
                    <a:pt x="166027" y="580509"/>
                    <a:pt x="166687" y="578088"/>
                  </a:cubicBezTo>
                  <a:cubicBezTo>
                    <a:pt x="168409" y="571773"/>
                    <a:pt x="169380" y="565248"/>
                    <a:pt x="171450" y="559038"/>
                  </a:cubicBezTo>
                  <a:lnTo>
                    <a:pt x="176212" y="544750"/>
                  </a:lnTo>
                  <a:cubicBezTo>
                    <a:pt x="176214" y="544745"/>
                    <a:pt x="180971" y="530468"/>
                    <a:pt x="180975" y="530463"/>
                  </a:cubicBezTo>
                  <a:cubicBezTo>
                    <a:pt x="182562" y="528082"/>
                    <a:pt x="184575" y="525934"/>
                    <a:pt x="185737" y="523319"/>
                  </a:cubicBezTo>
                  <a:cubicBezTo>
                    <a:pt x="187776" y="518731"/>
                    <a:pt x="190500" y="509031"/>
                    <a:pt x="190500" y="509031"/>
                  </a:cubicBezTo>
                  <a:cubicBezTo>
                    <a:pt x="189706" y="497919"/>
                    <a:pt x="190054" y="486665"/>
                    <a:pt x="188118" y="475694"/>
                  </a:cubicBezTo>
                  <a:cubicBezTo>
                    <a:pt x="187324" y="471192"/>
                    <a:pt x="178513" y="464167"/>
                    <a:pt x="176212" y="461406"/>
                  </a:cubicBezTo>
                  <a:cubicBezTo>
                    <a:pt x="174380" y="459208"/>
                    <a:pt x="173282" y="456461"/>
                    <a:pt x="171450" y="454263"/>
                  </a:cubicBezTo>
                  <a:cubicBezTo>
                    <a:pt x="169294" y="451676"/>
                    <a:pt x="166462" y="449706"/>
                    <a:pt x="164306" y="447119"/>
                  </a:cubicBezTo>
                  <a:cubicBezTo>
                    <a:pt x="162474" y="444920"/>
                    <a:pt x="161567" y="441999"/>
                    <a:pt x="159543" y="439975"/>
                  </a:cubicBezTo>
                  <a:cubicBezTo>
                    <a:pt x="157520" y="437952"/>
                    <a:pt x="154781" y="436800"/>
                    <a:pt x="152400" y="435213"/>
                  </a:cubicBezTo>
                  <a:cubicBezTo>
                    <a:pt x="151606" y="432038"/>
                    <a:pt x="151895" y="428369"/>
                    <a:pt x="150018" y="425688"/>
                  </a:cubicBezTo>
                  <a:cubicBezTo>
                    <a:pt x="146156" y="420170"/>
                    <a:pt x="135731" y="411400"/>
                    <a:pt x="135731" y="411400"/>
                  </a:cubicBezTo>
                  <a:cubicBezTo>
                    <a:pt x="129746" y="393443"/>
                    <a:pt x="137820" y="415577"/>
                    <a:pt x="128587" y="397113"/>
                  </a:cubicBezTo>
                  <a:cubicBezTo>
                    <a:pt x="127464" y="394868"/>
                    <a:pt x="126896" y="392383"/>
                    <a:pt x="126206" y="389969"/>
                  </a:cubicBezTo>
                  <a:cubicBezTo>
                    <a:pt x="125307" y="386822"/>
                    <a:pt x="125702" y="383125"/>
                    <a:pt x="123825" y="380444"/>
                  </a:cubicBezTo>
                  <a:cubicBezTo>
                    <a:pt x="119963" y="374926"/>
                    <a:pt x="109537" y="366156"/>
                    <a:pt x="109537" y="366156"/>
                  </a:cubicBezTo>
                  <a:cubicBezTo>
                    <a:pt x="107950" y="362981"/>
                    <a:pt x="106838" y="359519"/>
                    <a:pt x="104775" y="356631"/>
                  </a:cubicBezTo>
                  <a:cubicBezTo>
                    <a:pt x="102818" y="353891"/>
                    <a:pt x="99266" y="352432"/>
                    <a:pt x="97631" y="349488"/>
                  </a:cubicBezTo>
                  <a:cubicBezTo>
                    <a:pt x="95193" y="345100"/>
                    <a:pt x="94456" y="339963"/>
                    <a:pt x="92868" y="335200"/>
                  </a:cubicBezTo>
                  <a:lnTo>
                    <a:pt x="90487" y="328056"/>
                  </a:lnTo>
                  <a:cubicBezTo>
                    <a:pt x="89693" y="312975"/>
                    <a:pt x="89414" y="297858"/>
                    <a:pt x="88106" y="282813"/>
                  </a:cubicBezTo>
                  <a:cubicBezTo>
                    <a:pt x="87823" y="279553"/>
                    <a:pt x="85725" y="276561"/>
                    <a:pt x="85725" y="273288"/>
                  </a:cubicBezTo>
                  <a:cubicBezTo>
                    <a:pt x="85725" y="261355"/>
                    <a:pt x="86144" y="249339"/>
                    <a:pt x="88106" y="237569"/>
                  </a:cubicBezTo>
                  <a:cubicBezTo>
                    <a:pt x="88576" y="234746"/>
                    <a:pt x="90714" y="232310"/>
                    <a:pt x="92868" y="230425"/>
                  </a:cubicBezTo>
                  <a:cubicBezTo>
                    <a:pt x="97176" y="226656"/>
                    <a:pt x="102577" y="224334"/>
                    <a:pt x="107156" y="220900"/>
                  </a:cubicBezTo>
                  <a:cubicBezTo>
                    <a:pt x="113506" y="216138"/>
                    <a:pt x="119107" y="210163"/>
                    <a:pt x="126206" y="206613"/>
                  </a:cubicBezTo>
                  <a:lnTo>
                    <a:pt x="145256" y="197088"/>
                  </a:lnTo>
                  <a:cubicBezTo>
                    <a:pt x="152771" y="193330"/>
                    <a:pt x="163322" y="188546"/>
                    <a:pt x="169068" y="182800"/>
                  </a:cubicBezTo>
                  <a:cubicBezTo>
                    <a:pt x="171449" y="180419"/>
                    <a:pt x="173606" y="177789"/>
                    <a:pt x="176212" y="175656"/>
                  </a:cubicBezTo>
                  <a:cubicBezTo>
                    <a:pt x="182355" y="170630"/>
                    <a:pt x="195262" y="161369"/>
                    <a:pt x="195262" y="161369"/>
                  </a:cubicBezTo>
                  <a:cubicBezTo>
                    <a:pt x="197147" y="155712"/>
                    <a:pt x="199029" y="150673"/>
                    <a:pt x="200025" y="144700"/>
                  </a:cubicBezTo>
                  <a:cubicBezTo>
                    <a:pt x="201077" y="138388"/>
                    <a:pt x="201433" y="131975"/>
                    <a:pt x="202406" y="125650"/>
                  </a:cubicBezTo>
                  <a:cubicBezTo>
                    <a:pt x="203021" y="121650"/>
                    <a:pt x="203993" y="117713"/>
                    <a:pt x="204787" y="113744"/>
                  </a:cubicBezTo>
                  <a:cubicBezTo>
                    <a:pt x="205581" y="105013"/>
                    <a:pt x="204590" y="95930"/>
                    <a:pt x="207168" y="87550"/>
                  </a:cubicBezTo>
                  <a:cubicBezTo>
                    <a:pt x="208010" y="84815"/>
                    <a:pt x="211571" y="83610"/>
                    <a:pt x="214312" y="82788"/>
                  </a:cubicBezTo>
                  <a:cubicBezTo>
                    <a:pt x="247212" y="72918"/>
                    <a:pt x="204788" y="87153"/>
                    <a:pt x="209550" y="85169"/>
                  </a:cubicBezTo>
                  <a:close/>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93" name="Freeform 358"/>
            <p:cNvSpPr>
              <a:spLocks noChangeArrowheads="1"/>
            </p:cNvSpPr>
            <p:nvPr>
              <p:custDataLst>
                <p:tags r:id="rId74"/>
              </p:custDataLst>
            </p:nvPr>
          </p:nvSpPr>
          <p:spPr bwMode="gray">
            <a:xfrm>
              <a:off x="8320088" y="1722253"/>
              <a:ext cx="1133475" cy="1728788"/>
            </a:xfrm>
            <a:custGeom>
              <a:avLst/>
              <a:gdLst>
                <a:gd name="T0" fmla="*/ 0 w 1184627"/>
                <a:gd name="T1" fmla="*/ 0 h 1806875"/>
                <a:gd name="T2" fmla="*/ 1184627 w 1184627"/>
                <a:gd name="T3" fmla="*/ 1806875 h 1806875"/>
              </a:gdLst>
              <a:ahLst/>
              <a:cxnLst/>
              <a:rect l="T0" t="T1" r="T2" b="T3"/>
              <a:pathLst>
                <a:path w="1184627" h="1806875">
                  <a:moveTo>
                    <a:pt x="593725" y="10054"/>
                  </a:moveTo>
                  <a:cubicBezTo>
                    <a:pt x="596371" y="20108"/>
                    <a:pt x="593471" y="31349"/>
                    <a:pt x="603250" y="67204"/>
                  </a:cubicBezTo>
                  <a:cubicBezTo>
                    <a:pt x="604398" y="71414"/>
                    <a:pt x="605226" y="75708"/>
                    <a:pt x="606425" y="79904"/>
                  </a:cubicBezTo>
                  <a:cubicBezTo>
                    <a:pt x="607344" y="83122"/>
                    <a:pt x="608681" y="86211"/>
                    <a:pt x="609600" y="89429"/>
                  </a:cubicBezTo>
                  <a:cubicBezTo>
                    <a:pt x="610799" y="93625"/>
                    <a:pt x="611056" y="98118"/>
                    <a:pt x="612775" y="102129"/>
                  </a:cubicBezTo>
                  <a:cubicBezTo>
                    <a:pt x="614278" y="105636"/>
                    <a:pt x="617008" y="108479"/>
                    <a:pt x="619125" y="111654"/>
                  </a:cubicBezTo>
                  <a:cubicBezTo>
                    <a:pt x="620779" y="119925"/>
                    <a:pt x="622913" y="131902"/>
                    <a:pt x="625475" y="140229"/>
                  </a:cubicBezTo>
                  <a:cubicBezTo>
                    <a:pt x="628428" y="149825"/>
                    <a:pt x="631825" y="159279"/>
                    <a:pt x="635000" y="168804"/>
                  </a:cubicBezTo>
                  <a:cubicBezTo>
                    <a:pt x="636058" y="171979"/>
                    <a:pt x="637519" y="175047"/>
                    <a:pt x="638175" y="178329"/>
                  </a:cubicBezTo>
                  <a:cubicBezTo>
                    <a:pt x="647886" y="226885"/>
                    <a:pt x="632992" y="150406"/>
                    <a:pt x="644525" y="219604"/>
                  </a:cubicBezTo>
                  <a:cubicBezTo>
                    <a:pt x="646299" y="230250"/>
                    <a:pt x="649349" y="240670"/>
                    <a:pt x="650875" y="251354"/>
                  </a:cubicBezTo>
                  <a:cubicBezTo>
                    <a:pt x="653308" y="268384"/>
                    <a:pt x="655436" y="285609"/>
                    <a:pt x="660400" y="302154"/>
                  </a:cubicBezTo>
                  <a:cubicBezTo>
                    <a:pt x="662323" y="308565"/>
                    <a:pt x="666750" y="321204"/>
                    <a:pt x="666750" y="321204"/>
                  </a:cubicBezTo>
                  <a:cubicBezTo>
                    <a:pt x="667808" y="328612"/>
                    <a:pt x="668457" y="336091"/>
                    <a:pt x="669925" y="343429"/>
                  </a:cubicBezTo>
                  <a:cubicBezTo>
                    <a:pt x="670581" y="346711"/>
                    <a:pt x="674822" y="350084"/>
                    <a:pt x="673100" y="352954"/>
                  </a:cubicBezTo>
                  <a:cubicBezTo>
                    <a:pt x="670665" y="357013"/>
                    <a:pt x="664096" y="356347"/>
                    <a:pt x="660400" y="359304"/>
                  </a:cubicBezTo>
                  <a:cubicBezTo>
                    <a:pt x="653388" y="364914"/>
                    <a:pt x="647700" y="372004"/>
                    <a:pt x="641350" y="378354"/>
                  </a:cubicBezTo>
                  <a:cubicBezTo>
                    <a:pt x="638175" y="381529"/>
                    <a:pt x="635561" y="385388"/>
                    <a:pt x="631825" y="387879"/>
                  </a:cubicBezTo>
                  <a:lnTo>
                    <a:pt x="622300" y="394229"/>
                  </a:lnTo>
                  <a:cubicBezTo>
                    <a:pt x="621242" y="398462"/>
                    <a:pt x="620324" y="402733"/>
                    <a:pt x="619125" y="406929"/>
                  </a:cubicBezTo>
                  <a:cubicBezTo>
                    <a:pt x="618206" y="410147"/>
                    <a:pt x="616676" y="413187"/>
                    <a:pt x="615950" y="416454"/>
                  </a:cubicBezTo>
                  <a:cubicBezTo>
                    <a:pt x="614553" y="422738"/>
                    <a:pt x="614038" y="429191"/>
                    <a:pt x="612775" y="435504"/>
                  </a:cubicBezTo>
                  <a:cubicBezTo>
                    <a:pt x="610782" y="445471"/>
                    <a:pt x="609451" y="448651"/>
                    <a:pt x="606425" y="457729"/>
                  </a:cubicBezTo>
                  <a:cubicBezTo>
                    <a:pt x="605367" y="465137"/>
                    <a:pt x="603250" y="472470"/>
                    <a:pt x="603250" y="479954"/>
                  </a:cubicBezTo>
                  <a:cubicBezTo>
                    <a:pt x="603250" y="503574"/>
                    <a:pt x="606295" y="527124"/>
                    <a:pt x="612775" y="549804"/>
                  </a:cubicBezTo>
                  <a:cubicBezTo>
                    <a:pt x="613694" y="553022"/>
                    <a:pt x="614892" y="556154"/>
                    <a:pt x="615950" y="559329"/>
                  </a:cubicBezTo>
                  <a:cubicBezTo>
                    <a:pt x="613833" y="565679"/>
                    <a:pt x="615047" y="574488"/>
                    <a:pt x="609600" y="578379"/>
                  </a:cubicBezTo>
                  <a:cubicBezTo>
                    <a:pt x="605209" y="581516"/>
                    <a:pt x="599034" y="576169"/>
                    <a:pt x="593725" y="575204"/>
                  </a:cubicBezTo>
                  <a:cubicBezTo>
                    <a:pt x="565181" y="570014"/>
                    <a:pt x="584438" y="574470"/>
                    <a:pt x="561975" y="568854"/>
                  </a:cubicBezTo>
                  <a:cubicBezTo>
                    <a:pt x="540441" y="554498"/>
                    <a:pt x="560783" y="567662"/>
                    <a:pt x="568325" y="575204"/>
                  </a:cubicBezTo>
                  <a:cubicBezTo>
                    <a:pt x="571023" y="577902"/>
                    <a:pt x="572558" y="581554"/>
                    <a:pt x="574675" y="584729"/>
                  </a:cubicBezTo>
                  <a:cubicBezTo>
                    <a:pt x="575733" y="588962"/>
                    <a:pt x="578024" y="593069"/>
                    <a:pt x="577850" y="597429"/>
                  </a:cubicBezTo>
                  <a:cubicBezTo>
                    <a:pt x="576958" y="619737"/>
                    <a:pt x="576915" y="642445"/>
                    <a:pt x="571500" y="664104"/>
                  </a:cubicBezTo>
                  <a:cubicBezTo>
                    <a:pt x="570442" y="668337"/>
                    <a:pt x="569857" y="672718"/>
                    <a:pt x="568325" y="676804"/>
                  </a:cubicBezTo>
                  <a:cubicBezTo>
                    <a:pt x="565388" y="684637"/>
                    <a:pt x="560473" y="692242"/>
                    <a:pt x="555625" y="699029"/>
                  </a:cubicBezTo>
                  <a:cubicBezTo>
                    <a:pt x="552549" y="703335"/>
                    <a:pt x="548905" y="707242"/>
                    <a:pt x="546100" y="711729"/>
                  </a:cubicBezTo>
                  <a:cubicBezTo>
                    <a:pt x="543592" y="715743"/>
                    <a:pt x="541867" y="720196"/>
                    <a:pt x="539750" y="724429"/>
                  </a:cubicBezTo>
                  <a:cubicBezTo>
                    <a:pt x="539885" y="725506"/>
                    <a:pt x="541582" y="752577"/>
                    <a:pt x="546100" y="759354"/>
                  </a:cubicBezTo>
                  <a:cubicBezTo>
                    <a:pt x="548591" y="763090"/>
                    <a:pt x="552450" y="765704"/>
                    <a:pt x="555625" y="768879"/>
                  </a:cubicBezTo>
                  <a:cubicBezTo>
                    <a:pt x="557742" y="774171"/>
                    <a:pt x="559043" y="779867"/>
                    <a:pt x="561975" y="784754"/>
                  </a:cubicBezTo>
                  <a:cubicBezTo>
                    <a:pt x="576727" y="809341"/>
                    <a:pt x="570382" y="792388"/>
                    <a:pt x="584200" y="810154"/>
                  </a:cubicBezTo>
                  <a:cubicBezTo>
                    <a:pt x="588885" y="816178"/>
                    <a:pt x="590941" y="824436"/>
                    <a:pt x="596900" y="829204"/>
                  </a:cubicBezTo>
                  <a:cubicBezTo>
                    <a:pt x="605478" y="836066"/>
                    <a:pt x="615142" y="842839"/>
                    <a:pt x="622300" y="851429"/>
                  </a:cubicBezTo>
                  <a:cubicBezTo>
                    <a:pt x="644402" y="877951"/>
                    <a:pt x="610348" y="842652"/>
                    <a:pt x="638175" y="870479"/>
                  </a:cubicBezTo>
                  <a:cubicBezTo>
                    <a:pt x="639233" y="874712"/>
                    <a:pt x="639399" y="879276"/>
                    <a:pt x="641350" y="883179"/>
                  </a:cubicBezTo>
                  <a:cubicBezTo>
                    <a:pt x="643717" y="887912"/>
                    <a:pt x="647431" y="891861"/>
                    <a:pt x="650875" y="895879"/>
                  </a:cubicBezTo>
                  <a:cubicBezTo>
                    <a:pt x="658715" y="905025"/>
                    <a:pt x="668701" y="912729"/>
                    <a:pt x="679450" y="918104"/>
                  </a:cubicBezTo>
                  <a:lnTo>
                    <a:pt x="692150" y="924454"/>
                  </a:lnTo>
                  <a:cubicBezTo>
                    <a:pt x="703048" y="920821"/>
                    <a:pt x="704764" y="921365"/>
                    <a:pt x="714375" y="911754"/>
                  </a:cubicBezTo>
                  <a:cubicBezTo>
                    <a:pt x="718117" y="908012"/>
                    <a:pt x="720158" y="902796"/>
                    <a:pt x="723900" y="899054"/>
                  </a:cubicBezTo>
                  <a:cubicBezTo>
                    <a:pt x="733794" y="889160"/>
                    <a:pt x="749299" y="888471"/>
                    <a:pt x="762000" y="886354"/>
                  </a:cubicBezTo>
                  <a:cubicBezTo>
                    <a:pt x="768350" y="887412"/>
                    <a:pt x="775694" y="885958"/>
                    <a:pt x="781050" y="889529"/>
                  </a:cubicBezTo>
                  <a:cubicBezTo>
                    <a:pt x="790951" y="896130"/>
                    <a:pt x="789353" y="906136"/>
                    <a:pt x="793750" y="914929"/>
                  </a:cubicBezTo>
                  <a:cubicBezTo>
                    <a:pt x="797649" y="922727"/>
                    <a:pt x="804517" y="930666"/>
                    <a:pt x="812800" y="933979"/>
                  </a:cubicBezTo>
                  <a:cubicBezTo>
                    <a:pt x="818777" y="936370"/>
                    <a:pt x="825462" y="936356"/>
                    <a:pt x="831850" y="937154"/>
                  </a:cubicBezTo>
                  <a:cubicBezTo>
                    <a:pt x="839899" y="938160"/>
                    <a:pt x="888734" y="942387"/>
                    <a:pt x="908050" y="946679"/>
                  </a:cubicBezTo>
                  <a:cubicBezTo>
                    <a:pt x="911317" y="947405"/>
                    <a:pt x="914400" y="948796"/>
                    <a:pt x="917575" y="949854"/>
                  </a:cubicBezTo>
                  <a:cubicBezTo>
                    <a:pt x="919692" y="953029"/>
                    <a:pt x="923504" y="955586"/>
                    <a:pt x="923925" y="959379"/>
                  </a:cubicBezTo>
                  <a:cubicBezTo>
                    <a:pt x="924636" y="965777"/>
                    <a:pt x="921936" y="972102"/>
                    <a:pt x="920750" y="978429"/>
                  </a:cubicBezTo>
                  <a:cubicBezTo>
                    <a:pt x="909331" y="1039329"/>
                    <a:pt x="918445" y="985911"/>
                    <a:pt x="911225" y="1029229"/>
                  </a:cubicBezTo>
                  <a:cubicBezTo>
                    <a:pt x="913430" y="1071119"/>
                    <a:pt x="909776" y="1074958"/>
                    <a:pt x="917575" y="1102254"/>
                  </a:cubicBezTo>
                  <a:cubicBezTo>
                    <a:pt x="918494" y="1105472"/>
                    <a:pt x="918894" y="1108994"/>
                    <a:pt x="920750" y="1111779"/>
                  </a:cubicBezTo>
                  <a:cubicBezTo>
                    <a:pt x="924477" y="1117369"/>
                    <a:pt x="948259" y="1136433"/>
                    <a:pt x="949325" y="1137179"/>
                  </a:cubicBezTo>
                  <a:cubicBezTo>
                    <a:pt x="953202" y="1139893"/>
                    <a:pt x="957433" y="1142381"/>
                    <a:pt x="962025" y="1143529"/>
                  </a:cubicBezTo>
                  <a:cubicBezTo>
                    <a:pt x="974516" y="1146652"/>
                    <a:pt x="987500" y="1147354"/>
                    <a:pt x="1000125" y="1149879"/>
                  </a:cubicBezTo>
                  <a:cubicBezTo>
                    <a:pt x="1003407" y="1150535"/>
                    <a:pt x="1006657" y="1151557"/>
                    <a:pt x="1009650" y="1153054"/>
                  </a:cubicBezTo>
                  <a:cubicBezTo>
                    <a:pt x="1013063" y="1154761"/>
                    <a:pt x="1016000" y="1157287"/>
                    <a:pt x="1019175" y="1159404"/>
                  </a:cubicBezTo>
                  <a:cubicBezTo>
                    <a:pt x="1021292" y="1163637"/>
                    <a:pt x="1024028" y="1167614"/>
                    <a:pt x="1025525" y="1172104"/>
                  </a:cubicBezTo>
                  <a:cubicBezTo>
                    <a:pt x="1028285" y="1180383"/>
                    <a:pt x="1029115" y="1189225"/>
                    <a:pt x="1031875" y="1197504"/>
                  </a:cubicBezTo>
                  <a:lnTo>
                    <a:pt x="1035050" y="1207029"/>
                  </a:lnTo>
                  <a:cubicBezTo>
                    <a:pt x="1029502" y="1245864"/>
                    <a:pt x="1036299" y="1215019"/>
                    <a:pt x="1025525" y="1241954"/>
                  </a:cubicBezTo>
                  <a:cubicBezTo>
                    <a:pt x="1023039" y="1248169"/>
                    <a:pt x="1019175" y="1261004"/>
                    <a:pt x="1019175" y="1261004"/>
                  </a:cubicBezTo>
                  <a:cubicBezTo>
                    <a:pt x="1020233" y="1290637"/>
                    <a:pt x="1016885" y="1320760"/>
                    <a:pt x="1022350" y="1349904"/>
                  </a:cubicBezTo>
                  <a:cubicBezTo>
                    <a:pt x="1023599" y="1356565"/>
                    <a:pt x="1032478" y="1359012"/>
                    <a:pt x="1038225" y="1362604"/>
                  </a:cubicBezTo>
                  <a:cubicBezTo>
                    <a:pt x="1042063" y="1365003"/>
                    <a:pt x="1057316" y="1367779"/>
                    <a:pt x="1060450" y="1368954"/>
                  </a:cubicBezTo>
                  <a:cubicBezTo>
                    <a:pt x="1064882" y="1370616"/>
                    <a:pt x="1068917" y="1373187"/>
                    <a:pt x="1073150" y="1375304"/>
                  </a:cubicBezTo>
                  <a:cubicBezTo>
                    <a:pt x="1075267" y="1379537"/>
                    <a:pt x="1077578" y="1383679"/>
                    <a:pt x="1079500" y="1388004"/>
                  </a:cubicBezTo>
                  <a:cubicBezTo>
                    <a:pt x="1081815" y="1393212"/>
                    <a:pt x="1083301" y="1398781"/>
                    <a:pt x="1085850" y="1403879"/>
                  </a:cubicBezTo>
                  <a:cubicBezTo>
                    <a:pt x="1090270" y="1412720"/>
                    <a:pt x="1094703" y="1415907"/>
                    <a:pt x="1101725" y="1422929"/>
                  </a:cubicBezTo>
                  <a:cubicBezTo>
                    <a:pt x="1100667" y="1432454"/>
                    <a:pt x="1098550" y="1441920"/>
                    <a:pt x="1098550" y="1451504"/>
                  </a:cubicBezTo>
                  <a:cubicBezTo>
                    <a:pt x="1098550" y="1458988"/>
                    <a:pt x="1100587" y="1466332"/>
                    <a:pt x="1101725" y="1473729"/>
                  </a:cubicBezTo>
                  <a:cubicBezTo>
                    <a:pt x="1104918" y="1494484"/>
                    <a:pt x="1103141" y="1487502"/>
                    <a:pt x="1108075" y="1502304"/>
                  </a:cubicBezTo>
                  <a:cubicBezTo>
                    <a:pt x="1109133" y="1513946"/>
                    <a:pt x="1110026" y="1525604"/>
                    <a:pt x="1111250" y="1537229"/>
                  </a:cubicBezTo>
                  <a:cubicBezTo>
                    <a:pt x="1112126" y="1545547"/>
                    <a:pt x="1112791" y="1562537"/>
                    <a:pt x="1117600" y="1572154"/>
                  </a:cubicBezTo>
                  <a:cubicBezTo>
                    <a:pt x="1119307" y="1575567"/>
                    <a:pt x="1122057" y="1578366"/>
                    <a:pt x="1123950" y="1581679"/>
                  </a:cubicBezTo>
                  <a:cubicBezTo>
                    <a:pt x="1131587" y="1595044"/>
                    <a:pt x="1129840" y="1598410"/>
                    <a:pt x="1143000" y="1610254"/>
                  </a:cubicBezTo>
                  <a:cubicBezTo>
                    <a:pt x="1153373" y="1619589"/>
                    <a:pt x="1165014" y="1622743"/>
                    <a:pt x="1174750" y="1632479"/>
                  </a:cubicBezTo>
                  <a:cubicBezTo>
                    <a:pt x="1177448" y="1635177"/>
                    <a:pt x="1178983" y="1638829"/>
                    <a:pt x="1181100" y="1642004"/>
                  </a:cubicBezTo>
                  <a:cubicBezTo>
                    <a:pt x="1180042" y="1694921"/>
                    <a:pt x="1184627" y="1748253"/>
                    <a:pt x="1177925" y="1800754"/>
                  </a:cubicBezTo>
                  <a:cubicBezTo>
                    <a:pt x="1177144" y="1806875"/>
                    <a:pt x="1167445" y="1794226"/>
                    <a:pt x="1162050" y="1791229"/>
                  </a:cubicBezTo>
                  <a:cubicBezTo>
                    <a:pt x="1157913" y="1788930"/>
                    <a:pt x="1153331" y="1787438"/>
                    <a:pt x="1149350" y="1784879"/>
                  </a:cubicBezTo>
                  <a:cubicBezTo>
                    <a:pt x="1118446" y="1765012"/>
                    <a:pt x="1122853" y="1762726"/>
                    <a:pt x="1092200" y="1749954"/>
                  </a:cubicBezTo>
                  <a:cubicBezTo>
                    <a:pt x="1088172" y="1748276"/>
                    <a:pt x="1083733" y="1747837"/>
                    <a:pt x="1079500" y="1746779"/>
                  </a:cubicBezTo>
                  <a:cubicBezTo>
                    <a:pt x="1073150" y="1742546"/>
                    <a:pt x="1067150" y="1737733"/>
                    <a:pt x="1060450" y="1734079"/>
                  </a:cubicBezTo>
                  <a:cubicBezTo>
                    <a:pt x="1025419" y="1714971"/>
                    <a:pt x="1061931" y="1739413"/>
                    <a:pt x="1031875" y="1721379"/>
                  </a:cubicBezTo>
                  <a:cubicBezTo>
                    <a:pt x="1025331" y="1717452"/>
                    <a:pt x="1019264" y="1712776"/>
                    <a:pt x="1012825" y="1708679"/>
                  </a:cubicBezTo>
                  <a:cubicBezTo>
                    <a:pt x="977923" y="1686469"/>
                    <a:pt x="1013950" y="1709775"/>
                    <a:pt x="984250" y="1692804"/>
                  </a:cubicBezTo>
                  <a:cubicBezTo>
                    <a:pt x="980937" y="1690911"/>
                    <a:pt x="978038" y="1688347"/>
                    <a:pt x="974725" y="1686454"/>
                  </a:cubicBezTo>
                  <a:cubicBezTo>
                    <a:pt x="963740" y="1680177"/>
                    <a:pt x="963186" y="1680491"/>
                    <a:pt x="952500" y="1676929"/>
                  </a:cubicBezTo>
                  <a:cubicBezTo>
                    <a:pt x="939744" y="1666724"/>
                    <a:pt x="935207" y="1661933"/>
                    <a:pt x="920750" y="1654704"/>
                  </a:cubicBezTo>
                  <a:cubicBezTo>
                    <a:pt x="915652" y="1652155"/>
                    <a:pt x="910063" y="1650712"/>
                    <a:pt x="904875" y="1648354"/>
                  </a:cubicBezTo>
                  <a:cubicBezTo>
                    <a:pt x="889666" y="1641441"/>
                    <a:pt x="883776" y="1637813"/>
                    <a:pt x="869950" y="1629304"/>
                  </a:cubicBezTo>
                  <a:cubicBezTo>
                    <a:pt x="861447" y="1624071"/>
                    <a:pt x="852346" y="1619666"/>
                    <a:pt x="844550" y="1613429"/>
                  </a:cubicBezTo>
                  <a:cubicBezTo>
                    <a:pt x="839258" y="1609196"/>
                    <a:pt x="834314" y="1604488"/>
                    <a:pt x="828675" y="1600729"/>
                  </a:cubicBezTo>
                  <a:cubicBezTo>
                    <a:pt x="820828" y="1595498"/>
                    <a:pt x="814917" y="1594026"/>
                    <a:pt x="806450" y="1591204"/>
                  </a:cubicBezTo>
                  <a:cubicBezTo>
                    <a:pt x="802217" y="1588029"/>
                    <a:pt x="798237" y="1584484"/>
                    <a:pt x="793750" y="1581679"/>
                  </a:cubicBezTo>
                  <a:cubicBezTo>
                    <a:pt x="784130" y="1575667"/>
                    <a:pt x="775597" y="1573611"/>
                    <a:pt x="765175" y="1568979"/>
                  </a:cubicBezTo>
                  <a:cubicBezTo>
                    <a:pt x="760850" y="1567057"/>
                    <a:pt x="756584" y="1564977"/>
                    <a:pt x="752475" y="1562629"/>
                  </a:cubicBezTo>
                  <a:cubicBezTo>
                    <a:pt x="749162" y="1560736"/>
                    <a:pt x="746003" y="1558569"/>
                    <a:pt x="742950" y="1556279"/>
                  </a:cubicBezTo>
                  <a:cubicBezTo>
                    <a:pt x="737529" y="1552213"/>
                    <a:pt x="732886" y="1547066"/>
                    <a:pt x="727075" y="1543579"/>
                  </a:cubicBezTo>
                  <a:cubicBezTo>
                    <a:pt x="722188" y="1540647"/>
                    <a:pt x="716492" y="1539346"/>
                    <a:pt x="711200" y="1537229"/>
                  </a:cubicBezTo>
                  <a:cubicBezTo>
                    <a:pt x="687183" y="1505207"/>
                    <a:pt x="717748" y="1544713"/>
                    <a:pt x="688975" y="1511829"/>
                  </a:cubicBezTo>
                  <a:cubicBezTo>
                    <a:pt x="685490" y="1507847"/>
                    <a:pt x="683192" y="1502871"/>
                    <a:pt x="679450" y="1499129"/>
                  </a:cubicBezTo>
                  <a:cubicBezTo>
                    <a:pt x="675708" y="1495387"/>
                    <a:pt x="670768" y="1493048"/>
                    <a:pt x="666750" y="1489604"/>
                  </a:cubicBezTo>
                  <a:cubicBezTo>
                    <a:pt x="657463" y="1481644"/>
                    <a:pt x="655229" y="1477417"/>
                    <a:pt x="647700" y="1467379"/>
                  </a:cubicBezTo>
                  <a:cubicBezTo>
                    <a:pt x="644336" y="1457286"/>
                    <a:pt x="642998" y="1450977"/>
                    <a:pt x="635000" y="1441979"/>
                  </a:cubicBezTo>
                  <a:cubicBezTo>
                    <a:pt x="630498" y="1436914"/>
                    <a:pt x="624417" y="1433512"/>
                    <a:pt x="619125" y="1429279"/>
                  </a:cubicBezTo>
                  <a:cubicBezTo>
                    <a:pt x="618067" y="1425046"/>
                    <a:pt x="617901" y="1420482"/>
                    <a:pt x="615950" y="1416579"/>
                  </a:cubicBezTo>
                  <a:cubicBezTo>
                    <a:pt x="613583" y="1411846"/>
                    <a:pt x="609230" y="1408366"/>
                    <a:pt x="606425" y="1403879"/>
                  </a:cubicBezTo>
                  <a:cubicBezTo>
                    <a:pt x="603917" y="1399865"/>
                    <a:pt x="602192" y="1395412"/>
                    <a:pt x="600075" y="1391179"/>
                  </a:cubicBezTo>
                  <a:cubicBezTo>
                    <a:pt x="599017" y="1381654"/>
                    <a:pt x="597696" y="1372155"/>
                    <a:pt x="596900" y="1362604"/>
                  </a:cubicBezTo>
                  <a:cubicBezTo>
                    <a:pt x="596870" y="1362246"/>
                    <a:pt x="595657" y="1312722"/>
                    <a:pt x="590550" y="1299104"/>
                  </a:cubicBezTo>
                  <a:cubicBezTo>
                    <a:pt x="587046" y="1289759"/>
                    <a:pt x="575450" y="1281629"/>
                    <a:pt x="568325" y="1276879"/>
                  </a:cubicBezTo>
                  <a:cubicBezTo>
                    <a:pt x="557058" y="1269368"/>
                    <a:pt x="553129" y="1270030"/>
                    <a:pt x="539750" y="1267354"/>
                  </a:cubicBezTo>
                  <a:cubicBezTo>
                    <a:pt x="538730" y="1266334"/>
                    <a:pt x="523195" y="1252044"/>
                    <a:pt x="523875" y="1248304"/>
                  </a:cubicBezTo>
                  <a:cubicBezTo>
                    <a:pt x="525568" y="1238991"/>
                    <a:pt x="532342" y="1231371"/>
                    <a:pt x="536575" y="1222904"/>
                  </a:cubicBezTo>
                  <a:cubicBezTo>
                    <a:pt x="554254" y="1187546"/>
                    <a:pt x="533131" y="1232087"/>
                    <a:pt x="546100" y="1197504"/>
                  </a:cubicBezTo>
                  <a:cubicBezTo>
                    <a:pt x="547762" y="1193072"/>
                    <a:pt x="550333" y="1189037"/>
                    <a:pt x="552450" y="1184804"/>
                  </a:cubicBezTo>
                  <a:cubicBezTo>
                    <a:pt x="551392" y="1168929"/>
                    <a:pt x="552960" y="1152657"/>
                    <a:pt x="549275" y="1137179"/>
                  </a:cubicBezTo>
                  <a:cubicBezTo>
                    <a:pt x="547507" y="1129755"/>
                    <a:pt x="538988" y="1125369"/>
                    <a:pt x="536575" y="1118129"/>
                  </a:cubicBezTo>
                  <a:lnTo>
                    <a:pt x="530225" y="1099079"/>
                  </a:lnTo>
                  <a:cubicBezTo>
                    <a:pt x="525378" y="1074846"/>
                    <a:pt x="524000" y="1069726"/>
                    <a:pt x="520700" y="1048279"/>
                  </a:cubicBezTo>
                  <a:cubicBezTo>
                    <a:pt x="519562" y="1040882"/>
                    <a:pt x="518864" y="1033417"/>
                    <a:pt x="517525" y="1026054"/>
                  </a:cubicBezTo>
                  <a:cubicBezTo>
                    <a:pt x="516100" y="1018216"/>
                    <a:pt x="509159" y="995767"/>
                    <a:pt x="508000" y="991129"/>
                  </a:cubicBezTo>
                  <a:cubicBezTo>
                    <a:pt x="507096" y="987513"/>
                    <a:pt x="503606" y="967117"/>
                    <a:pt x="501650" y="962554"/>
                  </a:cubicBezTo>
                  <a:cubicBezTo>
                    <a:pt x="500147" y="959047"/>
                    <a:pt x="497417" y="956204"/>
                    <a:pt x="495300" y="953029"/>
                  </a:cubicBezTo>
                  <a:cubicBezTo>
                    <a:pt x="492587" y="942176"/>
                    <a:pt x="487069" y="912814"/>
                    <a:pt x="479425" y="899054"/>
                  </a:cubicBezTo>
                  <a:cubicBezTo>
                    <a:pt x="468652" y="879662"/>
                    <a:pt x="464339" y="889511"/>
                    <a:pt x="457200" y="860954"/>
                  </a:cubicBezTo>
                  <a:cubicBezTo>
                    <a:pt x="449925" y="831852"/>
                    <a:pt x="455691" y="842816"/>
                    <a:pt x="444500" y="826029"/>
                  </a:cubicBezTo>
                  <a:cubicBezTo>
                    <a:pt x="443442" y="820737"/>
                    <a:pt x="442146" y="815488"/>
                    <a:pt x="441325" y="810154"/>
                  </a:cubicBezTo>
                  <a:cubicBezTo>
                    <a:pt x="440028" y="801721"/>
                    <a:pt x="439722" y="793140"/>
                    <a:pt x="438150" y="784754"/>
                  </a:cubicBezTo>
                  <a:cubicBezTo>
                    <a:pt x="433335" y="759073"/>
                    <a:pt x="430951" y="763563"/>
                    <a:pt x="428625" y="740304"/>
                  </a:cubicBezTo>
                  <a:cubicBezTo>
                    <a:pt x="426089" y="714942"/>
                    <a:pt x="426010" y="689317"/>
                    <a:pt x="422275" y="664104"/>
                  </a:cubicBezTo>
                  <a:cubicBezTo>
                    <a:pt x="421716" y="660329"/>
                    <a:pt x="417632" y="657992"/>
                    <a:pt x="415925" y="654579"/>
                  </a:cubicBezTo>
                  <a:cubicBezTo>
                    <a:pt x="414428" y="651586"/>
                    <a:pt x="414841" y="647667"/>
                    <a:pt x="412750" y="645054"/>
                  </a:cubicBezTo>
                  <a:cubicBezTo>
                    <a:pt x="372238" y="594414"/>
                    <a:pt x="404920" y="638007"/>
                    <a:pt x="381000" y="616479"/>
                  </a:cubicBezTo>
                  <a:cubicBezTo>
                    <a:pt x="351981" y="590362"/>
                    <a:pt x="366615" y="601853"/>
                    <a:pt x="346075" y="578379"/>
                  </a:cubicBezTo>
                  <a:cubicBezTo>
                    <a:pt x="343118" y="575000"/>
                    <a:pt x="339425" y="572303"/>
                    <a:pt x="336550" y="568854"/>
                  </a:cubicBezTo>
                  <a:cubicBezTo>
                    <a:pt x="334107" y="565923"/>
                    <a:pt x="332643" y="562260"/>
                    <a:pt x="330200" y="559329"/>
                  </a:cubicBezTo>
                  <a:cubicBezTo>
                    <a:pt x="309828" y="534883"/>
                    <a:pt x="330091" y="563928"/>
                    <a:pt x="314325" y="540279"/>
                  </a:cubicBezTo>
                  <a:cubicBezTo>
                    <a:pt x="318813" y="517840"/>
                    <a:pt x="315793" y="529524"/>
                    <a:pt x="323850" y="505354"/>
                  </a:cubicBezTo>
                  <a:lnTo>
                    <a:pt x="327025" y="495829"/>
                  </a:lnTo>
                  <a:cubicBezTo>
                    <a:pt x="325967" y="489479"/>
                    <a:pt x="328040" y="481667"/>
                    <a:pt x="323850" y="476779"/>
                  </a:cubicBezTo>
                  <a:cubicBezTo>
                    <a:pt x="320338" y="472682"/>
                    <a:pt x="313284" y="474569"/>
                    <a:pt x="307975" y="473604"/>
                  </a:cubicBezTo>
                  <a:cubicBezTo>
                    <a:pt x="283389" y="469134"/>
                    <a:pt x="296194" y="472852"/>
                    <a:pt x="279400" y="467254"/>
                  </a:cubicBezTo>
                  <a:cubicBezTo>
                    <a:pt x="276225" y="471487"/>
                    <a:pt x="273319" y="475936"/>
                    <a:pt x="269875" y="479954"/>
                  </a:cubicBezTo>
                  <a:cubicBezTo>
                    <a:pt x="266953" y="483363"/>
                    <a:pt x="263107" y="485935"/>
                    <a:pt x="260350" y="489479"/>
                  </a:cubicBezTo>
                  <a:cubicBezTo>
                    <a:pt x="253168" y="498713"/>
                    <a:pt x="246013" y="510233"/>
                    <a:pt x="241300" y="521229"/>
                  </a:cubicBezTo>
                  <a:cubicBezTo>
                    <a:pt x="239982" y="524305"/>
                    <a:pt x="239183" y="527579"/>
                    <a:pt x="238125" y="530754"/>
                  </a:cubicBezTo>
                  <a:cubicBezTo>
                    <a:pt x="239183" y="539221"/>
                    <a:pt x="238018" y="548278"/>
                    <a:pt x="241300" y="556154"/>
                  </a:cubicBezTo>
                  <a:cubicBezTo>
                    <a:pt x="243603" y="561680"/>
                    <a:pt x="249211" y="565262"/>
                    <a:pt x="254000" y="568854"/>
                  </a:cubicBezTo>
                  <a:cubicBezTo>
                    <a:pt x="257786" y="571694"/>
                    <a:pt x="262350" y="573340"/>
                    <a:pt x="266700" y="575204"/>
                  </a:cubicBezTo>
                  <a:cubicBezTo>
                    <a:pt x="273077" y="577937"/>
                    <a:pt x="282480" y="579943"/>
                    <a:pt x="288925" y="581554"/>
                  </a:cubicBezTo>
                  <a:cubicBezTo>
                    <a:pt x="293158" y="584729"/>
                    <a:pt x="298237" y="587014"/>
                    <a:pt x="301625" y="591079"/>
                  </a:cubicBezTo>
                  <a:cubicBezTo>
                    <a:pt x="303768" y="593650"/>
                    <a:pt x="303303" y="597611"/>
                    <a:pt x="304800" y="600604"/>
                  </a:cubicBezTo>
                  <a:cubicBezTo>
                    <a:pt x="306507" y="604017"/>
                    <a:pt x="309443" y="606716"/>
                    <a:pt x="311150" y="610129"/>
                  </a:cubicBezTo>
                  <a:cubicBezTo>
                    <a:pt x="314779" y="617387"/>
                    <a:pt x="315689" y="628283"/>
                    <a:pt x="317500" y="635529"/>
                  </a:cubicBezTo>
                  <a:cubicBezTo>
                    <a:pt x="318312" y="638776"/>
                    <a:pt x="319617" y="641879"/>
                    <a:pt x="320675" y="645054"/>
                  </a:cubicBezTo>
                  <a:cubicBezTo>
                    <a:pt x="322049" y="654674"/>
                    <a:pt x="327412" y="676223"/>
                    <a:pt x="320675" y="686329"/>
                  </a:cubicBezTo>
                  <a:cubicBezTo>
                    <a:pt x="318819" y="689114"/>
                    <a:pt x="319356" y="679589"/>
                    <a:pt x="317500" y="676804"/>
                  </a:cubicBezTo>
                  <a:cubicBezTo>
                    <a:pt x="315009" y="673068"/>
                    <a:pt x="310850" y="670728"/>
                    <a:pt x="307975" y="667279"/>
                  </a:cubicBezTo>
                  <a:cubicBezTo>
                    <a:pt x="305532" y="664348"/>
                    <a:pt x="304068" y="660685"/>
                    <a:pt x="301625" y="657754"/>
                  </a:cubicBezTo>
                  <a:cubicBezTo>
                    <a:pt x="298750" y="654305"/>
                    <a:pt x="294975" y="651678"/>
                    <a:pt x="292100" y="648229"/>
                  </a:cubicBezTo>
                  <a:cubicBezTo>
                    <a:pt x="289657" y="645298"/>
                    <a:pt x="288448" y="641402"/>
                    <a:pt x="285750" y="638704"/>
                  </a:cubicBezTo>
                  <a:cubicBezTo>
                    <a:pt x="283052" y="636006"/>
                    <a:pt x="279400" y="634471"/>
                    <a:pt x="276225" y="632354"/>
                  </a:cubicBezTo>
                  <a:cubicBezTo>
                    <a:pt x="270044" y="613811"/>
                    <a:pt x="277886" y="630840"/>
                    <a:pt x="263525" y="616479"/>
                  </a:cubicBezTo>
                  <a:cubicBezTo>
                    <a:pt x="251811" y="604765"/>
                    <a:pt x="263254" y="607832"/>
                    <a:pt x="247650" y="597429"/>
                  </a:cubicBezTo>
                  <a:cubicBezTo>
                    <a:pt x="244865" y="595573"/>
                    <a:pt x="241118" y="595751"/>
                    <a:pt x="238125" y="594254"/>
                  </a:cubicBezTo>
                  <a:cubicBezTo>
                    <a:pt x="234712" y="592547"/>
                    <a:pt x="232013" y="589611"/>
                    <a:pt x="228600" y="587904"/>
                  </a:cubicBezTo>
                  <a:cubicBezTo>
                    <a:pt x="217158" y="582183"/>
                    <a:pt x="196431" y="582465"/>
                    <a:pt x="187325" y="581554"/>
                  </a:cubicBezTo>
                  <a:cubicBezTo>
                    <a:pt x="184150" y="580496"/>
                    <a:pt x="180585" y="580235"/>
                    <a:pt x="177800" y="578379"/>
                  </a:cubicBezTo>
                  <a:cubicBezTo>
                    <a:pt x="170756" y="573683"/>
                    <a:pt x="157377" y="555210"/>
                    <a:pt x="155575" y="549804"/>
                  </a:cubicBezTo>
                  <a:cubicBezTo>
                    <a:pt x="152993" y="542057"/>
                    <a:pt x="152205" y="536909"/>
                    <a:pt x="146050" y="530754"/>
                  </a:cubicBezTo>
                  <a:cubicBezTo>
                    <a:pt x="143352" y="528056"/>
                    <a:pt x="139700" y="526521"/>
                    <a:pt x="136525" y="524404"/>
                  </a:cubicBezTo>
                  <a:cubicBezTo>
                    <a:pt x="132058" y="517704"/>
                    <a:pt x="127727" y="509857"/>
                    <a:pt x="120650" y="505354"/>
                  </a:cubicBezTo>
                  <a:cubicBezTo>
                    <a:pt x="112664" y="500272"/>
                    <a:pt x="103126" y="497905"/>
                    <a:pt x="95250" y="492654"/>
                  </a:cubicBezTo>
                  <a:cubicBezTo>
                    <a:pt x="71601" y="476888"/>
                    <a:pt x="100646" y="497151"/>
                    <a:pt x="76200" y="476779"/>
                  </a:cubicBezTo>
                  <a:cubicBezTo>
                    <a:pt x="73269" y="474336"/>
                    <a:pt x="69850" y="472546"/>
                    <a:pt x="66675" y="470429"/>
                  </a:cubicBezTo>
                  <a:cubicBezTo>
                    <a:pt x="64558" y="467254"/>
                    <a:pt x="63197" y="463417"/>
                    <a:pt x="60325" y="460904"/>
                  </a:cubicBezTo>
                  <a:cubicBezTo>
                    <a:pt x="54582" y="455878"/>
                    <a:pt x="47625" y="452437"/>
                    <a:pt x="41275" y="448204"/>
                  </a:cubicBezTo>
                  <a:cubicBezTo>
                    <a:pt x="38100" y="446087"/>
                    <a:pt x="35370" y="443061"/>
                    <a:pt x="31750" y="441854"/>
                  </a:cubicBezTo>
                  <a:cubicBezTo>
                    <a:pt x="8560" y="434124"/>
                    <a:pt x="19194" y="437127"/>
                    <a:pt x="0" y="432329"/>
                  </a:cubicBezTo>
                  <a:cubicBezTo>
                    <a:pt x="236" y="431386"/>
                    <a:pt x="4672" y="412262"/>
                    <a:pt x="6350" y="410104"/>
                  </a:cubicBezTo>
                  <a:cubicBezTo>
                    <a:pt x="11863" y="403015"/>
                    <a:pt x="25400" y="391054"/>
                    <a:pt x="25400" y="391054"/>
                  </a:cubicBezTo>
                  <a:lnTo>
                    <a:pt x="31750" y="372004"/>
                  </a:lnTo>
                  <a:cubicBezTo>
                    <a:pt x="32808" y="368829"/>
                    <a:pt x="32558" y="364846"/>
                    <a:pt x="34925" y="362479"/>
                  </a:cubicBezTo>
                  <a:cubicBezTo>
                    <a:pt x="52981" y="344423"/>
                    <a:pt x="35595" y="358969"/>
                    <a:pt x="53975" y="349779"/>
                  </a:cubicBezTo>
                  <a:cubicBezTo>
                    <a:pt x="78594" y="337469"/>
                    <a:pt x="49084" y="348234"/>
                    <a:pt x="73025" y="340254"/>
                  </a:cubicBezTo>
                  <a:cubicBezTo>
                    <a:pt x="76200" y="336021"/>
                    <a:pt x="78808" y="331296"/>
                    <a:pt x="82550" y="327554"/>
                  </a:cubicBezTo>
                  <a:cubicBezTo>
                    <a:pt x="106539" y="303565"/>
                    <a:pt x="85019" y="333551"/>
                    <a:pt x="104775" y="305329"/>
                  </a:cubicBezTo>
                  <a:cubicBezTo>
                    <a:pt x="109152" y="299077"/>
                    <a:pt x="113242" y="292629"/>
                    <a:pt x="117475" y="286279"/>
                  </a:cubicBezTo>
                  <a:lnTo>
                    <a:pt x="123825" y="276754"/>
                  </a:lnTo>
                  <a:cubicBezTo>
                    <a:pt x="132224" y="243159"/>
                    <a:pt x="120821" y="282720"/>
                    <a:pt x="133350" y="254529"/>
                  </a:cubicBezTo>
                  <a:cubicBezTo>
                    <a:pt x="136068" y="248412"/>
                    <a:pt x="134131" y="239192"/>
                    <a:pt x="139700" y="235479"/>
                  </a:cubicBezTo>
                  <a:lnTo>
                    <a:pt x="158750" y="222779"/>
                  </a:lnTo>
                  <a:cubicBezTo>
                    <a:pt x="161925" y="220662"/>
                    <a:pt x="164655" y="217636"/>
                    <a:pt x="168275" y="216429"/>
                  </a:cubicBezTo>
                  <a:lnTo>
                    <a:pt x="187325" y="210079"/>
                  </a:lnTo>
                  <a:cubicBezTo>
                    <a:pt x="190500" y="209021"/>
                    <a:pt x="193857" y="208401"/>
                    <a:pt x="196850" y="206904"/>
                  </a:cubicBezTo>
                  <a:cubicBezTo>
                    <a:pt x="201083" y="204787"/>
                    <a:pt x="205491" y="202989"/>
                    <a:pt x="209550" y="200554"/>
                  </a:cubicBezTo>
                  <a:cubicBezTo>
                    <a:pt x="236843" y="184178"/>
                    <a:pt x="218966" y="191065"/>
                    <a:pt x="238125" y="184679"/>
                  </a:cubicBezTo>
                  <a:cubicBezTo>
                    <a:pt x="252942" y="185737"/>
                    <a:pt x="268115" y="184452"/>
                    <a:pt x="282575" y="187854"/>
                  </a:cubicBezTo>
                  <a:cubicBezTo>
                    <a:pt x="293383" y="190397"/>
                    <a:pt x="291488" y="200087"/>
                    <a:pt x="295275" y="206904"/>
                  </a:cubicBezTo>
                  <a:cubicBezTo>
                    <a:pt x="298981" y="213575"/>
                    <a:pt x="305562" y="218714"/>
                    <a:pt x="307975" y="225954"/>
                  </a:cubicBezTo>
                  <a:cubicBezTo>
                    <a:pt x="309033" y="229129"/>
                    <a:pt x="309294" y="232694"/>
                    <a:pt x="311150" y="235479"/>
                  </a:cubicBezTo>
                  <a:cubicBezTo>
                    <a:pt x="313641" y="239215"/>
                    <a:pt x="316750" y="242823"/>
                    <a:pt x="320675" y="245004"/>
                  </a:cubicBezTo>
                  <a:cubicBezTo>
                    <a:pt x="326526" y="248255"/>
                    <a:pt x="339725" y="251354"/>
                    <a:pt x="339725" y="251354"/>
                  </a:cubicBezTo>
                  <a:cubicBezTo>
                    <a:pt x="347133" y="250296"/>
                    <a:pt x="355002" y="250958"/>
                    <a:pt x="361950" y="248179"/>
                  </a:cubicBezTo>
                  <a:cubicBezTo>
                    <a:pt x="382420" y="239991"/>
                    <a:pt x="360821" y="237313"/>
                    <a:pt x="381000" y="235479"/>
                  </a:cubicBezTo>
                  <a:cubicBezTo>
                    <a:pt x="401053" y="233656"/>
                    <a:pt x="421217" y="233362"/>
                    <a:pt x="441325" y="232304"/>
                  </a:cubicBezTo>
                  <a:cubicBezTo>
                    <a:pt x="444500" y="230187"/>
                    <a:pt x="447998" y="228489"/>
                    <a:pt x="450850" y="225954"/>
                  </a:cubicBezTo>
                  <a:cubicBezTo>
                    <a:pt x="457562" y="219988"/>
                    <a:pt x="469900" y="206904"/>
                    <a:pt x="469900" y="206904"/>
                  </a:cubicBezTo>
                  <a:cubicBezTo>
                    <a:pt x="470958" y="203729"/>
                    <a:pt x="471450" y="200305"/>
                    <a:pt x="473075" y="197379"/>
                  </a:cubicBezTo>
                  <a:cubicBezTo>
                    <a:pt x="476781" y="190708"/>
                    <a:pt x="481542" y="184679"/>
                    <a:pt x="485775" y="178329"/>
                  </a:cubicBezTo>
                  <a:cubicBezTo>
                    <a:pt x="487892" y="175154"/>
                    <a:pt x="489427" y="171502"/>
                    <a:pt x="492125" y="168804"/>
                  </a:cubicBezTo>
                  <a:lnTo>
                    <a:pt x="501650" y="159279"/>
                  </a:lnTo>
                  <a:cubicBezTo>
                    <a:pt x="502708" y="144462"/>
                    <a:pt x="503089" y="129582"/>
                    <a:pt x="504825" y="114829"/>
                  </a:cubicBezTo>
                  <a:cubicBezTo>
                    <a:pt x="505216" y="111505"/>
                    <a:pt x="507630" y="108630"/>
                    <a:pt x="508000" y="105304"/>
                  </a:cubicBezTo>
                  <a:cubicBezTo>
                    <a:pt x="509757" y="89491"/>
                    <a:pt x="509509" y="73502"/>
                    <a:pt x="511175" y="57679"/>
                  </a:cubicBezTo>
                  <a:cubicBezTo>
                    <a:pt x="512002" y="49821"/>
                    <a:pt x="515393" y="42915"/>
                    <a:pt x="517525" y="35454"/>
                  </a:cubicBezTo>
                  <a:cubicBezTo>
                    <a:pt x="518724" y="31258"/>
                    <a:pt x="518749" y="26657"/>
                    <a:pt x="520700" y="22754"/>
                  </a:cubicBezTo>
                  <a:cubicBezTo>
                    <a:pt x="524113" y="15928"/>
                    <a:pt x="533400" y="3704"/>
                    <a:pt x="533400" y="3704"/>
                  </a:cubicBezTo>
                  <a:cubicBezTo>
                    <a:pt x="551392" y="4762"/>
                    <a:pt x="569552" y="4205"/>
                    <a:pt x="587375" y="6879"/>
                  </a:cubicBezTo>
                  <a:cubicBezTo>
                    <a:pt x="591149" y="7445"/>
                    <a:pt x="591079" y="0"/>
                    <a:pt x="593725" y="10054"/>
                  </a:cubicBezTo>
                  <a:close/>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94" name="Freeform 359"/>
            <p:cNvSpPr>
              <a:spLocks noChangeArrowheads="1"/>
            </p:cNvSpPr>
            <p:nvPr>
              <p:custDataLst>
                <p:tags r:id="rId75"/>
              </p:custDataLst>
            </p:nvPr>
          </p:nvSpPr>
          <p:spPr bwMode="gray">
            <a:xfrm>
              <a:off x="8559800" y="3986028"/>
              <a:ext cx="731838" cy="838200"/>
            </a:xfrm>
            <a:custGeom>
              <a:avLst/>
              <a:gdLst>
                <a:gd name="T0" fmla="*/ 0 w 765001"/>
                <a:gd name="T1" fmla="*/ 0 h 876121"/>
                <a:gd name="T2" fmla="*/ 765001 w 765001"/>
                <a:gd name="T3" fmla="*/ 876121 h 876121"/>
              </a:gdLst>
              <a:ahLst/>
              <a:cxnLst/>
              <a:rect l="T0" t="T1" r="T2" b="T3"/>
              <a:pathLst>
                <a:path w="765001" h="876121">
                  <a:moveTo>
                    <a:pt x="25400" y="174625"/>
                  </a:moveTo>
                  <a:cubicBezTo>
                    <a:pt x="26458" y="174096"/>
                    <a:pt x="38511" y="162760"/>
                    <a:pt x="47625" y="146050"/>
                  </a:cubicBezTo>
                  <a:cubicBezTo>
                    <a:pt x="50354" y="141047"/>
                    <a:pt x="51858" y="135467"/>
                    <a:pt x="53975" y="130175"/>
                  </a:cubicBezTo>
                  <a:cubicBezTo>
                    <a:pt x="49758" y="94332"/>
                    <a:pt x="59499" y="81053"/>
                    <a:pt x="34925" y="63500"/>
                  </a:cubicBezTo>
                  <a:cubicBezTo>
                    <a:pt x="32202" y="61555"/>
                    <a:pt x="28575" y="61383"/>
                    <a:pt x="25400" y="60325"/>
                  </a:cubicBezTo>
                  <a:cubicBezTo>
                    <a:pt x="89" y="35014"/>
                    <a:pt x="5716" y="48264"/>
                    <a:pt x="0" y="25400"/>
                  </a:cubicBezTo>
                  <a:cubicBezTo>
                    <a:pt x="1058" y="21167"/>
                    <a:pt x="1010" y="16489"/>
                    <a:pt x="3175" y="12700"/>
                  </a:cubicBezTo>
                  <a:cubicBezTo>
                    <a:pt x="10061" y="650"/>
                    <a:pt x="16055" y="2504"/>
                    <a:pt x="28575" y="0"/>
                  </a:cubicBezTo>
                  <a:cubicBezTo>
                    <a:pt x="34925" y="1058"/>
                    <a:pt x="41648" y="784"/>
                    <a:pt x="47625" y="3175"/>
                  </a:cubicBezTo>
                  <a:cubicBezTo>
                    <a:pt x="52538" y="5140"/>
                    <a:pt x="56343" y="9215"/>
                    <a:pt x="60325" y="12700"/>
                  </a:cubicBezTo>
                  <a:cubicBezTo>
                    <a:pt x="64831" y="16642"/>
                    <a:pt x="69704" y="20419"/>
                    <a:pt x="73025" y="25400"/>
                  </a:cubicBezTo>
                  <a:cubicBezTo>
                    <a:pt x="80263" y="36257"/>
                    <a:pt x="83364" y="50162"/>
                    <a:pt x="92075" y="60325"/>
                  </a:cubicBezTo>
                  <a:cubicBezTo>
                    <a:pt x="106369" y="77002"/>
                    <a:pt x="100806" y="69850"/>
                    <a:pt x="117475" y="79375"/>
                  </a:cubicBezTo>
                  <a:cubicBezTo>
                    <a:pt x="139668" y="92057"/>
                    <a:pt x="111619" y="79572"/>
                    <a:pt x="142875" y="92075"/>
                  </a:cubicBezTo>
                  <a:cubicBezTo>
                    <a:pt x="146050" y="95250"/>
                    <a:pt x="148951" y="98725"/>
                    <a:pt x="152400" y="101600"/>
                  </a:cubicBezTo>
                  <a:cubicBezTo>
                    <a:pt x="155331" y="104043"/>
                    <a:pt x="159358" y="105126"/>
                    <a:pt x="161925" y="107950"/>
                  </a:cubicBezTo>
                  <a:cubicBezTo>
                    <a:pt x="170042" y="116879"/>
                    <a:pt x="184150" y="136525"/>
                    <a:pt x="184150" y="136525"/>
                  </a:cubicBezTo>
                  <a:cubicBezTo>
                    <a:pt x="185208" y="139700"/>
                    <a:pt x="185828" y="143057"/>
                    <a:pt x="187325" y="146050"/>
                  </a:cubicBezTo>
                  <a:cubicBezTo>
                    <a:pt x="191650" y="154700"/>
                    <a:pt x="207466" y="172521"/>
                    <a:pt x="212725" y="174625"/>
                  </a:cubicBezTo>
                  <a:cubicBezTo>
                    <a:pt x="231707" y="182218"/>
                    <a:pt x="223193" y="179173"/>
                    <a:pt x="238125" y="184150"/>
                  </a:cubicBezTo>
                  <a:cubicBezTo>
                    <a:pt x="274354" y="220379"/>
                    <a:pt x="228546" y="175768"/>
                    <a:pt x="263525" y="206375"/>
                  </a:cubicBezTo>
                  <a:cubicBezTo>
                    <a:pt x="268031" y="210317"/>
                    <a:pt x="271719" y="215133"/>
                    <a:pt x="276225" y="219075"/>
                  </a:cubicBezTo>
                  <a:cubicBezTo>
                    <a:pt x="279432" y="221881"/>
                    <a:pt x="293569" y="232161"/>
                    <a:pt x="298450" y="234950"/>
                  </a:cubicBezTo>
                  <a:cubicBezTo>
                    <a:pt x="302559" y="237298"/>
                    <a:pt x="306800" y="239436"/>
                    <a:pt x="311150" y="241300"/>
                  </a:cubicBezTo>
                  <a:cubicBezTo>
                    <a:pt x="323003" y="246380"/>
                    <a:pt x="320739" y="242401"/>
                    <a:pt x="333375" y="250825"/>
                  </a:cubicBezTo>
                  <a:cubicBezTo>
                    <a:pt x="342181" y="256696"/>
                    <a:pt x="350308" y="263525"/>
                    <a:pt x="358775" y="269875"/>
                  </a:cubicBezTo>
                  <a:cubicBezTo>
                    <a:pt x="361651" y="272032"/>
                    <a:pt x="376357" y="283429"/>
                    <a:pt x="381000" y="285750"/>
                  </a:cubicBezTo>
                  <a:cubicBezTo>
                    <a:pt x="393272" y="291886"/>
                    <a:pt x="395408" y="291153"/>
                    <a:pt x="406400" y="295275"/>
                  </a:cubicBezTo>
                  <a:cubicBezTo>
                    <a:pt x="411736" y="297276"/>
                    <a:pt x="416919" y="299677"/>
                    <a:pt x="422275" y="301625"/>
                  </a:cubicBezTo>
                  <a:cubicBezTo>
                    <a:pt x="428565" y="303912"/>
                    <a:pt x="434975" y="305858"/>
                    <a:pt x="441325" y="307975"/>
                  </a:cubicBezTo>
                  <a:cubicBezTo>
                    <a:pt x="444500" y="309033"/>
                    <a:pt x="447857" y="309653"/>
                    <a:pt x="450850" y="311150"/>
                  </a:cubicBezTo>
                  <a:cubicBezTo>
                    <a:pt x="455083" y="313267"/>
                    <a:pt x="459441" y="315152"/>
                    <a:pt x="463550" y="317500"/>
                  </a:cubicBezTo>
                  <a:cubicBezTo>
                    <a:pt x="479493" y="326610"/>
                    <a:pt x="466586" y="321976"/>
                    <a:pt x="485775" y="330200"/>
                  </a:cubicBezTo>
                  <a:cubicBezTo>
                    <a:pt x="496139" y="334642"/>
                    <a:pt x="497470" y="332203"/>
                    <a:pt x="508000" y="339725"/>
                  </a:cubicBezTo>
                  <a:cubicBezTo>
                    <a:pt x="518019" y="346882"/>
                    <a:pt x="518658" y="352859"/>
                    <a:pt x="527050" y="361950"/>
                  </a:cubicBezTo>
                  <a:cubicBezTo>
                    <a:pt x="536187" y="371848"/>
                    <a:pt x="555625" y="390525"/>
                    <a:pt x="555625" y="390525"/>
                  </a:cubicBezTo>
                  <a:cubicBezTo>
                    <a:pt x="511831" y="419721"/>
                    <a:pt x="556784" y="389243"/>
                    <a:pt x="523875" y="412750"/>
                  </a:cubicBezTo>
                  <a:cubicBezTo>
                    <a:pt x="520770" y="414968"/>
                    <a:pt x="517247" y="416617"/>
                    <a:pt x="514350" y="419100"/>
                  </a:cubicBezTo>
                  <a:cubicBezTo>
                    <a:pt x="489719" y="440213"/>
                    <a:pt x="510856" y="423176"/>
                    <a:pt x="495300" y="441325"/>
                  </a:cubicBezTo>
                  <a:cubicBezTo>
                    <a:pt x="472549" y="467868"/>
                    <a:pt x="491543" y="439120"/>
                    <a:pt x="473075" y="469900"/>
                  </a:cubicBezTo>
                  <a:cubicBezTo>
                    <a:pt x="474638" y="479279"/>
                    <a:pt x="476267" y="492177"/>
                    <a:pt x="479425" y="501650"/>
                  </a:cubicBezTo>
                  <a:cubicBezTo>
                    <a:pt x="486135" y="521780"/>
                    <a:pt x="484491" y="511444"/>
                    <a:pt x="488950" y="527050"/>
                  </a:cubicBezTo>
                  <a:cubicBezTo>
                    <a:pt x="495259" y="549131"/>
                    <a:pt x="489502" y="533262"/>
                    <a:pt x="495300" y="565150"/>
                  </a:cubicBezTo>
                  <a:cubicBezTo>
                    <a:pt x="495899" y="568443"/>
                    <a:pt x="496619" y="571890"/>
                    <a:pt x="498475" y="574675"/>
                  </a:cubicBezTo>
                  <a:cubicBezTo>
                    <a:pt x="516671" y="601968"/>
                    <a:pt x="514238" y="598404"/>
                    <a:pt x="533400" y="612775"/>
                  </a:cubicBezTo>
                  <a:cubicBezTo>
                    <a:pt x="540564" y="634267"/>
                    <a:pt x="530469" y="612449"/>
                    <a:pt x="546100" y="625475"/>
                  </a:cubicBezTo>
                  <a:cubicBezTo>
                    <a:pt x="550165" y="628863"/>
                    <a:pt x="551883" y="634433"/>
                    <a:pt x="555625" y="638175"/>
                  </a:cubicBezTo>
                  <a:cubicBezTo>
                    <a:pt x="558323" y="640873"/>
                    <a:pt x="562219" y="642082"/>
                    <a:pt x="565150" y="644525"/>
                  </a:cubicBezTo>
                  <a:cubicBezTo>
                    <a:pt x="581005" y="657738"/>
                    <a:pt x="567461" y="651645"/>
                    <a:pt x="584200" y="657225"/>
                  </a:cubicBezTo>
                  <a:cubicBezTo>
                    <a:pt x="606255" y="673766"/>
                    <a:pt x="587186" y="660648"/>
                    <a:pt x="609600" y="673100"/>
                  </a:cubicBezTo>
                  <a:cubicBezTo>
                    <a:pt x="614995" y="676097"/>
                    <a:pt x="619857" y="680071"/>
                    <a:pt x="625475" y="682625"/>
                  </a:cubicBezTo>
                  <a:cubicBezTo>
                    <a:pt x="631569" y="685395"/>
                    <a:pt x="638310" y="686489"/>
                    <a:pt x="644525" y="688975"/>
                  </a:cubicBezTo>
                  <a:cubicBezTo>
                    <a:pt x="648919" y="690733"/>
                    <a:pt x="652916" y="693366"/>
                    <a:pt x="657225" y="695325"/>
                  </a:cubicBezTo>
                  <a:cubicBezTo>
                    <a:pt x="664563" y="698660"/>
                    <a:pt x="672112" y="701515"/>
                    <a:pt x="679450" y="704850"/>
                  </a:cubicBezTo>
                  <a:cubicBezTo>
                    <a:pt x="683759" y="706809"/>
                    <a:pt x="687584" y="709955"/>
                    <a:pt x="692150" y="711200"/>
                  </a:cubicBezTo>
                  <a:cubicBezTo>
                    <a:pt x="699370" y="713169"/>
                    <a:pt x="706993" y="713145"/>
                    <a:pt x="714375" y="714375"/>
                  </a:cubicBezTo>
                  <a:cubicBezTo>
                    <a:pt x="719698" y="715262"/>
                    <a:pt x="724958" y="716492"/>
                    <a:pt x="730250" y="717550"/>
                  </a:cubicBezTo>
                  <a:cubicBezTo>
                    <a:pt x="735542" y="720725"/>
                    <a:pt x="741440" y="723059"/>
                    <a:pt x="746125" y="727075"/>
                  </a:cubicBezTo>
                  <a:cubicBezTo>
                    <a:pt x="751870" y="731999"/>
                    <a:pt x="753428" y="739458"/>
                    <a:pt x="755650" y="746125"/>
                  </a:cubicBezTo>
                  <a:cubicBezTo>
                    <a:pt x="748248" y="812747"/>
                    <a:pt x="765001" y="747823"/>
                    <a:pt x="663575" y="777875"/>
                  </a:cubicBezTo>
                  <a:cubicBezTo>
                    <a:pt x="656400" y="780001"/>
                    <a:pt x="663653" y="793287"/>
                    <a:pt x="666750" y="800100"/>
                  </a:cubicBezTo>
                  <a:cubicBezTo>
                    <a:pt x="669227" y="805550"/>
                    <a:pt x="675508" y="808294"/>
                    <a:pt x="679450" y="812800"/>
                  </a:cubicBezTo>
                  <a:cubicBezTo>
                    <a:pt x="684963" y="819101"/>
                    <a:pt x="690583" y="827913"/>
                    <a:pt x="695325" y="835025"/>
                  </a:cubicBezTo>
                  <a:cubicBezTo>
                    <a:pt x="694267" y="846667"/>
                    <a:pt x="700416" y="861684"/>
                    <a:pt x="692150" y="869950"/>
                  </a:cubicBezTo>
                  <a:cubicBezTo>
                    <a:pt x="685979" y="876121"/>
                    <a:pt x="674896" y="866733"/>
                    <a:pt x="666750" y="863600"/>
                  </a:cubicBezTo>
                  <a:cubicBezTo>
                    <a:pt x="655377" y="859226"/>
                    <a:pt x="651203" y="853099"/>
                    <a:pt x="641350" y="847725"/>
                  </a:cubicBezTo>
                  <a:cubicBezTo>
                    <a:pt x="633040" y="843192"/>
                    <a:pt x="622643" y="841718"/>
                    <a:pt x="615950" y="835025"/>
                  </a:cubicBezTo>
                  <a:lnTo>
                    <a:pt x="593725" y="812800"/>
                  </a:lnTo>
                  <a:lnTo>
                    <a:pt x="584200" y="803275"/>
                  </a:lnTo>
                  <a:cubicBezTo>
                    <a:pt x="572134" y="773110"/>
                    <a:pt x="585069" y="799404"/>
                    <a:pt x="568325" y="777875"/>
                  </a:cubicBezTo>
                  <a:cubicBezTo>
                    <a:pt x="558954" y="765827"/>
                    <a:pt x="552083" y="751986"/>
                    <a:pt x="542925" y="739775"/>
                  </a:cubicBezTo>
                  <a:cubicBezTo>
                    <a:pt x="539750" y="735542"/>
                    <a:pt x="536205" y="731562"/>
                    <a:pt x="533400" y="727075"/>
                  </a:cubicBezTo>
                  <a:cubicBezTo>
                    <a:pt x="530892" y="723061"/>
                    <a:pt x="529349" y="718512"/>
                    <a:pt x="527050" y="714375"/>
                  </a:cubicBezTo>
                  <a:cubicBezTo>
                    <a:pt x="524053" y="708980"/>
                    <a:pt x="520079" y="704118"/>
                    <a:pt x="517525" y="698500"/>
                  </a:cubicBezTo>
                  <a:cubicBezTo>
                    <a:pt x="514755" y="692406"/>
                    <a:pt x="514168" y="685437"/>
                    <a:pt x="511175" y="679450"/>
                  </a:cubicBezTo>
                  <a:cubicBezTo>
                    <a:pt x="496454" y="650008"/>
                    <a:pt x="491553" y="661754"/>
                    <a:pt x="466725" y="628650"/>
                  </a:cubicBezTo>
                  <a:cubicBezTo>
                    <a:pt x="463550" y="624417"/>
                    <a:pt x="460644" y="619968"/>
                    <a:pt x="457200" y="615950"/>
                  </a:cubicBezTo>
                  <a:cubicBezTo>
                    <a:pt x="454278" y="612541"/>
                    <a:pt x="450597" y="609834"/>
                    <a:pt x="447675" y="606425"/>
                  </a:cubicBezTo>
                  <a:cubicBezTo>
                    <a:pt x="444231" y="602407"/>
                    <a:pt x="441635" y="597707"/>
                    <a:pt x="438150" y="593725"/>
                  </a:cubicBezTo>
                  <a:cubicBezTo>
                    <a:pt x="434208" y="589219"/>
                    <a:pt x="429392" y="585531"/>
                    <a:pt x="425450" y="581025"/>
                  </a:cubicBezTo>
                  <a:cubicBezTo>
                    <a:pt x="421965" y="577043"/>
                    <a:pt x="419803" y="571926"/>
                    <a:pt x="415925" y="568325"/>
                  </a:cubicBezTo>
                  <a:cubicBezTo>
                    <a:pt x="404903" y="558090"/>
                    <a:pt x="381000" y="539750"/>
                    <a:pt x="381000" y="539750"/>
                  </a:cubicBezTo>
                  <a:cubicBezTo>
                    <a:pt x="365705" y="514259"/>
                    <a:pt x="374406" y="527317"/>
                    <a:pt x="349250" y="495300"/>
                  </a:cubicBezTo>
                  <a:cubicBezTo>
                    <a:pt x="345063" y="489971"/>
                    <a:pt x="336550" y="479425"/>
                    <a:pt x="336550" y="479425"/>
                  </a:cubicBezTo>
                  <a:cubicBezTo>
                    <a:pt x="334433" y="473075"/>
                    <a:pt x="333451" y="466226"/>
                    <a:pt x="330200" y="460375"/>
                  </a:cubicBezTo>
                  <a:cubicBezTo>
                    <a:pt x="328019" y="456450"/>
                    <a:pt x="323632" y="454229"/>
                    <a:pt x="320675" y="450850"/>
                  </a:cubicBezTo>
                  <a:cubicBezTo>
                    <a:pt x="316213" y="445750"/>
                    <a:pt x="311527" y="440746"/>
                    <a:pt x="307975" y="434975"/>
                  </a:cubicBezTo>
                  <a:cubicBezTo>
                    <a:pt x="291879" y="408819"/>
                    <a:pt x="299460" y="407410"/>
                    <a:pt x="276225" y="384175"/>
                  </a:cubicBezTo>
                  <a:cubicBezTo>
                    <a:pt x="266379" y="374329"/>
                    <a:pt x="262485" y="369237"/>
                    <a:pt x="250825" y="361950"/>
                  </a:cubicBezTo>
                  <a:cubicBezTo>
                    <a:pt x="233820" y="351322"/>
                    <a:pt x="224623" y="354798"/>
                    <a:pt x="206375" y="336550"/>
                  </a:cubicBezTo>
                  <a:cubicBezTo>
                    <a:pt x="203200" y="333375"/>
                    <a:pt x="200259" y="329947"/>
                    <a:pt x="196850" y="327025"/>
                  </a:cubicBezTo>
                  <a:cubicBezTo>
                    <a:pt x="186474" y="318131"/>
                    <a:pt x="184676" y="318329"/>
                    <a:pt x="174625" y="311150"/>
                  </a:cubicBezTo>
                  <a:cubicBezTo>
                    <a:pt x="147058" y="291459"/>
                    <a:pt x="174848" y="310240"/>
                    <a:pt x="152400" y="295275"/>
                  </a:cubicBezTo>
                  <a:cubicBezTo>
                    <a:pt x="150283" y="292100"/>
                    <a:pt x="148981" y="288193"/>
                    <a:pt x="146050" y="285750"/>
                  </a:cubicBezTo>
                  <a:cubicBezTo>
                    <a:pt x="115870" y="260600"/>
                    <a:pt x="151388" y="300613"/>
                    <a:pt x="120650" y="269875"/>
                  </a:cubicBezTo>
                  <a:cubicBezTo>
                    <a:pt x="116908" y="266133"/>
                    <a:pt x="115080" y="260691"/>
                    <a:pt x="111125" y="257175"/>
                  </a:cubicBezTo>
                  <a:cubicBezTo>
                    <a:pt x="105421" y="252105"/>
                    <a:pt x="92075" y="244475"/>
                    <a:pt x="92075" y="244475"/>
                  </a:cubicBezTo>
                  <a:lnTo>
                    <a:pt x="79375" y="225425"/>
                  </a:lnTo>
                  <a:cubicBezTo>
                    <a:pt x="77258" y="222250"/>
                    <a:pt x="75723" y="218598"/>
                    <a:pt x="73025" y="215900"/>
                  </a:cubicBezTo>
                  <a:cubicBezTo>
                    <a:pt x="51277" y="194152"/>
                    <a:pt x="61447" y="201831"/>
                    <a:pt x="44450" y="190500"/>
                  </a:cubicBezTo>
                  <a:cubicBezTo>
                    <a:pt x="33858" y="174612"/>
                    <a:pt x="33099" y="177840"/>
                    <a:pt x="41275" y="149225"/>
                  </a:cubicBezTo>
                  <a:cubicBezTo>
                    <a:pt x="42729" y="144137"/>
                    <a:pt x="24342" y="175154"/>
                    <a:pt x="25400" y="174625"/>
                  </a:cubicBezTo>
                  <a:close/>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104" name="Freeform 192"/>
            <p:cNvSpPr>
              <a:spLocks noChangeArrowheads="1"/>
            </p:cNvSpPr>
            <p:nvPr>
              <p:custDataLst>
                <p:tags r:id="rId76"/>
              </p:custDataLst>
            </p:nvPr>
          </p:nvSpPr>
          <p:spPr bwMode="gray">
            <a:xfrm>
              <a:off x="642938" y="4863916"/>
              <a:ext cx="138112" cy="214312"/>
            </a:xfrm>
            <a:custGeom>
              <a:avLst/>
              <a:gdLst>
                <a:gd name="T0" fmla="*/ 28353 w 138370"/>
                <a:gd name="T1" fmla="*/ 204787 h 214312"/>
                <a:gd name="T2" fmla="*/ 51768 w 138370"/>
                <a:gd name="T3" fmla="*/ 176212 h 214312"/>
                <a:gd name="T4" fmla="*/ 65818 w 138370"/>
                <a:gd name="T5" fmla="*/ 166687 h 214312"/>
                <a:gd name="T6" fmla="*/ 70501 w 138370"/>
                <a:gd name="T7" fmla="*/ 152400 h 214312"/>
                <a:gd name="T8" fmla="*/ 75184 w 138370"/>
                <a:gd name="T9" fmla="*/ 166687 h 214312"/>
                <a:gd name="T10" fmla="*/ 84551 w 138370"/>
                <a:gd name="T11" fmla="*/ 185737 h 214312"/>
                <a:gd name="T12" fmla="*/ 103284 w 138370"/>
                <a:gd name="T13" fmla="*/ 214312 h 214312"/>
                <a:gd name="T14" fmla="*/ 117332 w 138370"/>
                <a:gd name="T15" fmla="*/ 209550 h 214312"/>
                <a:gd name="T16" fmla="*/ 136064 w 138370"/>
                <a:gd name="T17" fmla="*/ 180975 h 214312"/>
                <a:gd name="T18" fmla="*/ 131383 w 138370"/>
                <a:gd name="T19" fmla="*/ 104775 h 214312"/>
                <a:gd name="T20" fmla="*/ 117332 w 138370"/>
                <a:gd name="T21" fmla="*/ 57150 h 214312"/>
                <a:gd name="T22" fmla="*/ 107966 w 138370"/>
                <a:gd name="T23" fmla="*/ 28575 h 214312"/>
                <a:gd name="T24" fmla="*/ 75184 w 138370"/>
                <a:gd name="T25" fmla="*/ 14287 h 214312"/>
                <a:gd name="T26" fmla="*/ 47086 w 138370"/>
                <a:gd name="T27" fmla="*/ 0 h 214312"/>
                <a:gd name="T28" fmla="*/ 33035 w 138370"/>
                <a:gd name="T29" fmla="*/ 4762 h 214312"/>
                <a:gd name="T30" fmla="*/ 28353 w 138370"/>
                <a:gd name="T31" fmla="*/ 19050 h 214312"/>
                <a:gd name="T32" fmla="*/ 61135 w 138370"/>
                <a:gd name="T33" fmla="*/ 38100 h 214312"/>
                <a:gd name="T34" fmla="*/ 75184 w 138370"/>
                <a:gd name="T35" fmla="*/ 47625 h 214312"/>
                <a:gd name="T36" fmla="*/ 61135 w 138370"/>
                <a:gd name="T37" fmla="*/ 95250 h 214312"/>
                <a:gd name="T38" fmla="*/ 56452 w 138370"/>
                <a:gd name="T39" fmla="*/ 109537 h 214312"/>
                <a:gd name="T40" fmla="*/ 23669 w 138370"/>
                <a:gd name="T41" fmla="*/ 119062 h 214312"/>
                <a:gd name="T42" fmla="*/ 9621 w 138370"/>
                <a:gd name="T43" fmla="*/ 133350 h 214312"/>
                <a:gd name="T44" fmla="*/ 9621 w 138370"/>
                <a:gd name="T45" fmla="*/ 190500 h 214312"/>
                <a:gd name="T46" fmla="*/ 28353 w 138370"/>
                <a:gd name="T47" fmla="*/ 204787 h 21431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38370"/>
                <a:gd name="T73" fmla="*/ 0 h 214312"/>
                <a:gd name="T74" fmla="*/ 138370 w 138370"/>
                <a:gd name="T75" fmla="*/ 214312 h 21431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38370" h="214312">
                  <a:moveTo>
                    <a:pt x="28833" y="204787"/>
                  </a:moveTo>
                  <a:cubicBezTo>
                    <a:pt x="35977" y="202406"/>
                    <a:pt x="38896" y="187669"/>
                    <a:pt x="52645" y="176212"/>
                  </a:cubicBezTo>
                  <a:cubicBezTo>
                    <a:pt x="57042" y="172548"/>
                    <a:pt x="62170" y="169862"/>
                    <a:pt x="66933" y="166687"/>
                  </a:cubicBezTo>
                  <a:cubicBezTo>
                    <a:pt x="68520" y="161925"/>
                    <a:pt x="66675" y="152400"/>
                    <a:pt x="71695" y="152400"/>
                  </a:cubicBezTo>
                  <a:cubicBezTo>
                    <a:pt x="76715" y="152400"/>
                    <a:pt x="74480" y="162073"/>
                    <a:pt x="76458" y="166687"/>
                  </a:cubicBezTo>
                  <a:cubicBezTo>
                    <a:pt x="79255" y="173212"/>
                    <a:pt x="82330" y="179649"/>
                    <a:pt x="85983" y="185737"/>
                  </a:cubicBezTo>
                  <a:cubicBezTo>
                    <a:pt x="91873" y="195553"/>
                    <a:pt x="105033" y="214312"/>
                    <a:pt x="105033" y="214312"/>
                  </a:cubicBezTo>
                  <a:cubicBezTo>
                    <a:pt x="109795" y="212725"/>
                    <a:pt x="115770" y="213100"/>
                    <a:pt x="119320" y="209550"/>
                  </a:cubicBezTo>
                  <a:cubicBezTo>
                    <a:pt x="127415" y="201455"/>
                    <a:pt x="138370" y="180975"/>
                    <a:pt x="138370" y="180975"/>
                  </a:cubicBezTo>
                  <a:cubicBezTo>
                    <a:pt x="136783" y="155575"/>
                    <a:pt x="136140" y="130098"/>
                    <a:pt x="133608" y="104775"/>
                  </a:cubicBezTo>
                  <a:cubicBezTo>
                    <a:pt x="132580" y="94496"/>
                    <a:pt x="121450" y="63540"/>
                    <a:pt x="119320" y="57150"/>
                  </a:cubicBezTo>
                  <a:cubicBezTo>
                    <a:pt x="119319" y="57148"/>
                    <a:pt x="109797" y="28577"/>
                    <a:pt x="109795" y="28575"/>
                  </a:cubicBezTo>
                  <a:cubicBezTo>
                    <a:pt x="90062" y="15419"/>
                    <a:pt x="101061" y="20438"/>
                    <a:pt x="76458" y="14287"/>
                  </a:cubicBezTo>
                  <a:cubicBezTo>
                    <a:pt x="69234" y="9471"/>
                    <a:pt x="57742" y="0"/>
                    <a:pt x="47883" y="0"/>
                  </a:cubicBezTo>
                  <a:cubicBezTo>
                    <a:pt x="42863" y="0"/>
                    <a:pt x="38358" y="3175"/>
                    <a:pt x="33595" y="4762"/>
                  </a:cubicBezTo>
                  <a:cubicBezTo>
                    <a:pt x="32008" y="9525"/>
                    <a:pt x="28008" y="14098"/>
                    <a:pt x="28833" y="19050"/>
                  </a:cubicBezTo>
                  <a:cubicBezTo>
                    <a:pt x="31974" y="37897"/>
                    <a:pt x="48123" y="35290"/>
                    <a:pt x="62170" y="38100"/>
                  </a:cubicBezTo>
                  <a:cubicBezTo>
                    <a:pt x="66933" y="41275"/>
                    <a:pt x="75216" y="42037"/>
                    <a:pt x="76458" y="47625"/>
                  </a:cubicBezTo>
                  <a:cubicBezTo>
                    <a:pt x="81565" y="70608"/>
                    <a:pt x="72476" y="79791"/>
                    <a:pt x="62170" y="95250"/>
                  </a:cubicBezTo>
                  <a:cubicBezTo>
                    <a:pt x="60583" y="100012"/>
                    <a:pt x="60958" y="105987"/>
                    <a:pt x="57408" y="109537"/>
                  </a:cubicBezTo>
                  <a:cubicBezTo>
                    <a:pt x="55129" y="111816"/>
                    <a:pt x="24237" y="119020"/>
                    <a:pt x="24070" y="119062"/>
                  </a:cubicBezTo>
                  <a:cubicBezTo>
                    <a:pt x="19308" y="123825"/>
                    <a:pt x="13519" y="127746"/>
                    <a:pt x="9783" y="133350"/>
                  </a:cubicBezTo>
                  <a:cubicBezTo>
                    <a:pt x="0" y="148024"/>
                    <a:pt x="5820" y="180593"/>
                    <a:pt x="9783" y="190500"/>
                  </a:cubicBezTo>
                  <a:cubicBezTo>
                    <a:pt x="12089" y="196266"/>
                    <a:pt x="21689" y="207168"/>
                    <a:pt x="28833" y="204787"/>
                  </a:cubicBezTo>
                  <a:close/>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105" name="Freeform 129"/>
            <p:cNvSpPr>
              <a:spLocks noChangeArrowheads="1"/>
            </p:cNvSpPr>
            <p:nvPr>
              <p:custDataLst>
                <p:tags r:id="rId77"/>
              </p:custDataLst>
            </p:nvPr>
          </p:nvSpPr>
          <p:spPr bwMode="gray">
            <a:xfrm>
              <a:off x="8234363" y="4957578"/>
              <a:ext cx="390525" cy="381000"/>
            </a:xfrm>
            <a:custGeom>
              <a:avLst/>
              <a:gdLst>
                <a:gd name="T0" fmla="*/ 0 w 389784"/>
                <a:gd name="T1" fmla="*/ 0 h 381000"/>
                <a:gd name="T2" fmla="*/ 389784 w 389784"/>
                <a:gd name="T3" fmla="*/ 381000 h 381000"/>
              </a:gdLst>
              <a:ahLst/>
              <a:cxnLst/>
              <a:rect l="T0" t="T1" r="T2" b="T3"/>
              <a:pathLst>
                <a:path w="389784" h="381000">
                  <a:moveTo>
                    <a:pt x="14298" y="154782"/>
                  </a:moveTo>
                  <a:cubicBezTo>
                    <a:pt x="14695" y="152401"/>
                    <a:pt x="16428" y="148520"/>
                    <a:pt x="16679" y="145257"/>
                  </a:cubicBezTo>
                  <a:cubicBezTo>
                    <a:pt x="21757" y="79243"/>
                    <a:pt x="0" y="93990"/>
                    <a:pt x="59542" y="90488"/>
                  </a:cubicBezTo>
                  <a:cubicBezTo>
                    <a:pt x="60362" y="83925"/>
                    <a:pt x="60634" y="71634"/>
                    <a:pt x="64304" y="64294"/>
                  </a:cubicBezTo>
                  <a:cubicBezTo>
                    <a:pt x="65584" y="61734"/>
                    <a:pt x="66832" y="58938"/>
                    <a:pt x="69067" y="57150"/>
                  </a:cubicBezTo>
                  <a:cubicBezTo>
                    <a:pt x="71027" y="55582"/>
                    <a:pt x="73730" y="55151"/>
                    <a:pt x="76211" y="54769"/>
                  </a:cubicBezTo>
                  <a:cubicBezTo>
                    <a:pt x="84095" y="53556"/>
                    <a:pt x="92086" y="53182"/>
                    <a:pt x="100023" y="52388"/>
                  </a:cubicBezTo>
                  <a:cubicBezTo>
                    <a:pt x="111343" y="44840"/>
                    <a:pt x="104452" y="48530"/>
                    <a:pt x="121454" y="42863"/>
                  </a:cubicBezTo>
                  <a:lnTo>
                    <a:pt x="128598" y="40482"/>
                  </a:lnTo>
                  <a:cubicBezTo>
                    <a:pt x="143547" y="30515"/>
                    <a:pt x="133382" y="35153"/>
                    <a:pt x="164317" y="38100"/>
                  </a:cubicBezTo>
                  <a:cubicBezTo>
                    <a:pt x="182303" y="39813"/>
                    <a:pt x="185678" y="40472"/>
                    <a:pt x="202417" y="42863"/>
                  </a:cubicBezTo>
                  <a:cubicBezTo>
                    <a:pt x="211199" y="45790"/>
                    <a:pt x="210650" y="46920"/>
                    <a:pt x="221467" y="42863"/>
                  </a:cubicBezTo>
                  <a:cubicBezTo>
                    <a:pt x="224147" y="41858"/>
                    <a:pt x="226051" y="39380"/>
                    <a:pt x="228611" y="38100"/>
                  </a:cubicBezTo>
                  <a:cubicBezTo>
                    <a:pt x="239350" y="32730"/>
                    <a:pt x="232661" y="39487"/>
                    <a:pt x="242898" y="30957"/>
                  </a:cubicBezTo>
                  <a:cubicBezTo>
                    <a:pt x="245485" y="28801"/>
                    <a:pt x="247384" y="25881"/>
                    <a:pt x="250042" y="23813"/>
                  </a:cubicBezTo>
                  <a:cubicBezTo>
                    <a:pt x="254560" y="20299"/>
                    <a:pt x="259567" y="17463"/>
                    <a:pt x="264329" y="14288"/>
                  </a:cubicBezTo>
                  <a:cubicBezTo>
                    <a:pt x="266710" y="12700"/>
                    <a:pt x="269449" y="11549"/>
                    <a:pt x="271473" y="9525"/>
                  </a:cubicBezTo>
                  <a:cubicBezTo>
                    <a:pt x="273854" y="7144"/>
                    <a:pt x="275452" y="3533"/>
                    <a:pt x="278617" y="2382"/>
                  </a:cubicBezTo>
                  <a:cubicBezTo>
                    <a:pt x="284631" y="195"/>
                    <a:pt x="291317" y="794"/>
                    <a:pt x="297667" y="0"/>
                  </a:cubicBezTo>
                  <a:cubicBezTo>
                    <a:pt x="305604" y="794"/>
                    <a:pt x="313595" y="1169"/>
                    <a:pt x="321479" y="2382"/>
                  </a:cubicBezTo>
                  <a:cubicBezTo>
                    <a:pt x="323960" y="2764"/>
                    <a:pt x="326663" y="3195"/>
                    <a:pt x="328623" y="4763"/>
                  </a:cubicBezTo>
                  <a:cubicBezTo>
                    <a:pt x="330858" y="6551"/>
                    <a:pt x="331798" y="9526"/>
                    <a:pt x="333386" y="11907"/>
                  </a:cubicBezTo>
                  <a:cubicBezTo>
                    <a:pt x="334180" y="16669"/>
                    <a:pt x="333608" y="21876"/>
                    <a:pt x="335767" y="26194"/>
                  </a:cubicBezTo>
                  <a:cubicBezTo>
                    <a:pt x="337047" y="28754"/>
                    <a:pt x="340712" y="29125"/>
                    <a:pt x="342911" y="30957"/>
                  </a:cubicBezTo>
                  <a:cubicBezTo>
                    <a:pt x="349786" y="36686"/>
                    <a:pt x="350134" y="38220"/>
                    <a:pt x="354817" y="45244"/>
                  </a:cubicBezTo>
                  <a:cubicBezTo>
                    <a:pt x="356404" y="50007"/>
                    <a:pt x="361166" y="54769"/>
                    <a:pt x="359579" y="59532"/>
                  </a:cubicBezTo>
                  <a:lnTo>
                    <a:pt x="354817" y="73819"/>
                  </a:lnTo>
                  <a:cubicBezTo>
                    <a:pt x="355611" y="77788"/>
                    <a:pt x="354953" y="82357"/>
                    <a:pt x="357198" y="85725"/>
                  </a:cubicBezTo>
                  <a:cubicBezTo>
                    <a:pt x="358590" y="87814"/>
                    <a:pt x="361907" y="87498"/>
                    <a:pt x="364342" y="88107"/>
                  </a:cubicBezTo>
                  <a:cubicBezTo>
                    <a:pt x="368268" y="89089"/>
                    <a:pt x="372279" y="89694"/>
                    <a:pt x="376248" y="90488"/>
                  </a:cubicBezTo>
                  <a:cubicBezTo>
                    <a:pt x="389784" y="131091"/>
                    <a:pt x="378326" y="92159"/>
                    <a:pt x="383392" y="183357"/>
                  </a:cubicBezTo>
                  <a:cubicBezTo>
                    <a:pt x="383531" y="185863"/>
                    <a:pt x="385084" y="188087"/>
                    <a:pt x="385773" y="190500"/>
                  </a:cubicBezTo>
                  <a:cubicBezTo>
                    <a:pt x="386672" y="193647"/>
                    <a:pt x="387360" y="196850"/>
                    <a:pt x="388154" y="200025"/>
                  </a:cubicBezTo>
                  <a:cubicBezTo>
                    <a:pt x="387360" y="207963"/>
                    <a:pt x="388119" y="216213"/>
                    <a:pt x="385773" y="223838"/>
                  </a:cubicBezTo>
                  <a:cubicBezTo>
                    <a:pt x="384240" y="228820"/>
                    <a:pt x="374944" y="232670"/>
                    <a:pt x="371486" y="235744"/>
                  </a:cubicBezTo>
                  <a:cubicBezTo>
                    <a:pt x="366452" y="240219"/>
                    <a:pt x="363222" y="247020"/>
                    <a:pt x="357198" y="250032"/>
                  </a:cubicBezTo>
                  <a:cubicBezTo>
                    <a:pt x="354023" y="251619"/>
                    <a:pt x="350755" y="253033"/>
                    <a:pt x="347673" y="254794"/>
                  </a:cubicBezTo>
                  <a:cubicBezTo>
                    <a:pt x="345188" y="256214"/>
                    <a:pt x="343089" y="258277"/>
                    <a:pt x="340529" y="259557"/>
                  </a:cubicBezTo>
                  <a:cubicBezTo>
                    <a:pt x="338284" y="260679"/>
                    <a:pt x="335767" y="261144"/>
                    <a:pt x="333386" y="261938"/>
                  </a:cubicBezTo>
                  <a:cubicBezTo>
                    <a:pt x="317752" y="277572"/>
                    <a:pt x="334475" y="262004"/>
                    <a:pt x="302429" y="283369"/>
                  </a:cubicBezTo>
                  <a:cubicBezTo>
                    <a:pt x="297667" y="286544"/>
                    <a:pt x="292189" y="288847"/>
                    <a:pt x="288142" y="292894"/>
                  </a:cubicBezTo>
                  <a:cubicBezTo>
                    <a:pt x="285761" y="295275"/>
                    <a:pt x="283555" y="297846"/>
                    <a:pt x="280998" y="300038"/>
                  </a:cubicBezTo>
                  <a:cubicBezTo>
                    <a:pt x="277985" y="302621"/>
                    <a:pt x="274279" y="304376"/>
                    <a:pt x="271473" y="307182"/>
                  </a:cubicBezTo>
                  <a:cubicBezTo>
                    <a:pt x="250581" y="328074"/>
                    <a:pt x="288318" y="298119"/>
                    <a:pt x="257186" y="321469"/>
                  </a:cubicBezTo>
                  <a:cubicBezTo>
                    <a:pt x="251803" y="337612"/>
                    <a:pt x="259406" y="318360"/>
                    <a:pt x="245279" y="338138"/>
                  </a:cubicBezTo>
                  <a:cubicBezTo>
                    <a:pt x="243820" y="340181"/>
                    <a:pt x="244117" y="343088"/>
                    <a:pt x="242898" y="345282"/>
                  </a:cubicBezTo>
                  <a:cubicBezTo>
                    <a:pt x="240118" y="350285"/>
                    <a:pt x="233373" y="359569"/>
                    <a:pt x="233373" y="359569"/>
                  </a:cubicBezTo>
                  <a:cubicBezTo>
                    <a:pt x="231551" y="366857"/>
                    <a:pt x="231711" y="370756"/>
                    <a:pt x="226229" y="376238"/>
                  </a:cubicBezTo>
                  <a:cubicBezTo>
                    <a:pt x="224206" y="378261"/>
                    <a:pt x="221467" y="379413"/>
                    <a:pt x="219086" y="381000"/>
                  </a:cubicBezTo>
                  <a:cubicBezTo>
                    <a:pt x="213530" y="380206"/>
                    <a:pt x="207886" y="379881"/>
                    <a:pt x="202417" y="378619"/>
                  </a:cubicBezTo>
                  <a:cubicBezTo>
                    <a:pt x="171243" y="371426"/>
                    <a:pt x="200143" y="376264"/>
                    <a:pt x="180986" y="371475"/>
                  </a:cubicBezTo>
                  <a:cubicBezTo>
                    <a:pt x="177811" y="370681"/>
                    <a:pt x="174608" y="369993"/>
                    <a:pt x="171461" y="369094"/>
                  </a:cubicBezTo>
                  <a:cubicBezTo>
                    <a:pt x="164923" y="367226"/>
                    <a:pt x="158709" y="364470"/>
                    <a:pt x="152411" y="361950"/>
                  </a:cubicBezTo>
                  <a:cubicBezTo>
                    <a:pt x="131531" y="341073"/>
                    <a:pt x="158023" y="366628"/>
                    <a:pt x="138123" y="350044"/>
                  </a:cubicBezTo>
                  <a:cubicBezTo>
                    <a:pt x="130783" y="343927"/>
                    <a:pt x="116378" y="325603"/>
                    <a:pt x="114311" y="321469"/>
                  </a:cubicBezTo>
                  <a:cubicBezTo>
                    <a:pt x="112723" y="318294"/>
                    <a:pt x="110946" y="315207"/>
                    <a:pt x="109548" y="311944"/>
                  </a:cubicBezTo>
                  <a:cubicBezTo>
                    <a:pt x="108559" y="309637"/>
                    <a:pt x="108386" y="306994"/>
                    <a:pt x="107167" y="304800"/>
                  </a:cubicBezTo>
                  <a:cubicBezTo>
                    <a:pt x="104387" y="299797"/>
                    <a:pt x="100817" y="295275"/>
                    <a:pt x="97642" y="290513"/>
                  </a:cubicBezTo>
                  <a:cubicBezTo>
                    <a:pt x="96054" y="288132"/>
                    <a:pt x="94351" y="285823"/>
                    <a:pt x="92879" y="283369"/>
                  </a:cubicBezTo>
                  <a:cubicBezTo>
                    <a:pt x="90498" y="279400"/>
                    <a:pt x="88303" y="275314"/>
                    <a:pt x="85736" y="271463"/>
                  </a:cubicBezTo>
                  <a:cubicBezTo>
                    <a:pt x="83535" y="268161"/>
                    <a:pt x="80899" y="265167"/>
                    <a:pt x="78592" y="261938"/>
                  </a:cubicBezTo>
                  <a:cubicBezTo>
                    <a:pt x="76928" y="259609"/>
                    <a:pt x="75417" y="257175"/>
                    <a:pt x="73829" y="254794"/>
                  </a:cubicBezTo>
                  <a:cubicBezTo>
                    <a:pt x="73131" y="251302"/>
                    <a:pt x="71379" y="239982"/>
                    <a:pt x="69067" y="235744"/>
                  </a:cubicBezTo>
                  <a:cubicBezTo>
                    <a:pt x="65481" y="229170"/>
                    <a:pt x="63151" y="221187"/>
                    <a:pt x="57161" y="216694"/>
                  </a:cubicBezTo>
                  <a:lnTo>
                    <a:pt x="47636" y="209550"/>
                  </a:lnTo>
                  <a:cubicBezTo>
                    <a:pt x="45173" y="202163"/>
                    <a:pt x="44903" y="200235"/>
                    <a:pt x="40492" y="192882"/>
                  </a:cubicBezTo>
                  <a:cubicBezTo>
                    <a:pt x="37547" y="187974"/>
                    <a:pt x="32777" y="184024"/>
                    <a:pt x="30967" y="178594"/>
                  </a:cubicBezTo>
                  <a:cubicBezTo>
                    <a:pt x="30173" y="176213"/>
                    <a:pt x="30154" y="173410"/>
                    <a:pt x="28586" y="171450"/>
                  </a:cubicBezTo>
                  <a:cubicBezTo>
                    <a:pt x="26798" y="169215"/>
                    <a:pt x="23641" y="168520"/>
                    <a:pt x="21442" y="166688"/>
                  </a:cubicBezTo>
                  <a:cubicBezTo>
                    <a:pt x="18855" y="164532"/>
                    <a:pt x="16679" y="161925"/>
                    <a:pt x="14298" y="159544"/>
                  </a:cubicBezTo>
                  <a:cubicBezTo>
                    <a:pt x="17064" y="148479"/>
                    <a:pt x="13901" y="157163"/>
                    <a:pt x="14298" y="154782"/>
                  </a:cubicBezTo>
                  <a:close/>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106" name="Freeform 131"/>
            <p:cNvSpPr>
              <a:spLocks noChangeArrowheads="1"/>
            </p:cNvSpPr>
            <p:nvPr>
              <p:custDataLst>
                <p:tags r:id="rId78"/>
              </p:custDataLst>
            </p:nvPr>
          </p:nvSpPr>
          <p:spPr bwMode="gray">
            <a:xfrm>
              <a:off x="1500188" y="3050991"/>
              <a:ext cx="96837" cy="84137"/>
            </a:xfrm>
            <a:custGeom>
              <a:avLst/>
              <a:gdLst>
                <a:gd name="T0" fmla="*/ 29748 w 96538"/>
                <a:gd name="T1" fmla="*/ 747 h 84078"/>
                <a:gd name="T2" fmla="*/ 47099 w 96538"/>
                <a:gd name="T3" fmla="*/ 3142 h 84078"/>
                <a:gd name="T4" fmla="*/ 54535 w 96538"/>
                <a:gd name="T5" fmla="*/ 5549 h 84078"/>
                <a:gd name="T6" fmla="*/ 69410 w 96538"/>
                <a:gd name="T7" fmla="*/ 7956 h 84078"/>
                <a:gd name="T8" fmla="*/ 76846 w 96538"/>
                <a:gd name="T9" fmla="*/ 12758 h 84078"/>
                <a:gd name="T10" fmla="*/ 84283 w 96538"/>
                <a:gd name="T11" fmla="*/ 27175 h 84078"/>
                <a:gd name="T12" fmla="*/ 91720 w 96538"/>
                <a:gd name="T13" fmla="*/ 34384 h 84078"/>
                <a:gd name="T14" fmla="*/ 96679 w 96538"/>
                <a:gd name="T15" fmla="*/ 48801 h 84078"/>
                <a:gd name="T16" fmla="*/ 99157 w 96538"/>
                <a:gd name="T17" fmla="*/ 56010 h 84078"/>
                <a:gd name="T18" fmla="*/ 96679 w 96538"/>
                <a:gd name="T19" fmla="*/ 75237 h 84078"/>
                <a:gd name="T20" fmla="*/ 66930 w 96538"/>
                <a:gd name="T21" fmla="*/ 82446 h 84078"/>
                <a:gd name="T22" fmla="*/ 59495 w 96538"/>
                <a:gd name="T23" fmla="*/ 84845 h 84078"/>
                <a:gd name="T24" fmla="*/ 29748 w 96538"/>
                <a:gd name="T25" fmla="*/ 77636 h 84078"/>
                <a:gd name="T26" fmla="*/ 22310 w 96538"/>
                <a:gd name="T27" fmla="*/ 75237 h 84078"/>
                <a:gd name="T28" fmla="*/ 14873 w 96538"/>
                <a:gd name="T29" fmla="*/ 72835 h 84078"/>
                <a:gd name="T30" fmla="*/ 4957 w 96538"/>
                <a:gd name="T31" fmla="*/ 60817 h 84078"/>
                <a:gd name="T32" fmla="*/ 0 w 96538"/>
                <a:gd name="T33" fmla="*/ 44000 h 84078"/>
                <a:gd name="T34" fmla="*/ 2479 w 96538"/>
                <a:gd name="T35" fmla="*/ 22374 h 84078"/>
                <a:gd name="T36" fmla="*/ 4957 w 96538"/>
                <a:gd name="T37" fmla="*/ 15165 h 84078"/>
                <a:gd name="T38" fmla="*/ 12394 w 96538"/>
                <a:gd name="T39" fmla="*/ 10350 h 84078"/>
                <a:gd name="T40" fmla="*/ 22310 w 96538"/>
                <a:gd name="T41" fmla="*/ 5549 h 84078"/>
                <a:gd name="T42" fmla="*/ 29748 w 96538"/>
                <a:gd name="T43" fmla="*/ 747 h 8407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6538"/>
                <a:gd name="T67" fmla="*/ 0 h 84078"/>
                <a:gd name="T68" fmla="*/ 96538 w 96538"/>
                <a:gd name="T69" fmla="*/ 84078 h 8407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6538" h="84078">
                  <a:moveTo>
                    <a:pt x="28575" y="734"/>
                  </a:moveTo>
                  <a:cubicBezTo>
                    <a:pt x="32544" y="337"/>
                    <a:pt x="39740" y="2015"/>
                    <a:pt x="45243" y="3116"/>
                  </a:cubicBezTo>
                  <a:cubicBezTo>
                    <a:pt x="47704" y="3608"/>
                    <a:pt x="49937" y="4953"/>
                    <a:pt x="52387" y="5497"/>
                  </a:cubicBezTo>
                  <a:cubicBezTo>
                    <a:pt x="57100" y="6544"/>
                    <a:pt x="61912" y="7084"/>
                    <a:pt x="66675" y="7878"/>
                  </a:cubicBezTo>
                  <a:cubicBezTo>
                    <a:pt x="69056" y="9466"/>
                    <a:pt x="71794" y="10617"/>
                    <a:pt x="73818" y="12641"/>
                  </a:cubicBezTo>
                  <a:cubicBezTo>
                    <a:pt x="85063" y="23886"/>
                    <a:pt x="73212" y="15303"/>
                    <a:pt x="80962" y="26928"/>
                  </a:cubicBezTo>
                  <a:cubicBezTo>
                    <a:pt x="82830" y="29730"/>
                    <a:pt x="85725" y="31691"/>
                    <a:pt x="88106" y="34072"/>
                  </a:cubicBezTo>
                  <a:lnTo>
                    <a:pt x="92868" y="48359"/>
                  </a:lnTo>
                  <a:lnTo>
                    <a:pt x="95250" y="55503"/>
                  </a:lnTo>
                  <a:cubicBezTo>
                    <a:pt x="94456" y="61853"/>
                    <a:pt x="96538" y="69310"/>
                    <a:pt x="92868" y="74553"/>
                  </a:cubicBezTo>
                  <a:cubicBezTo>
                    <a:pt x="90375" y="78114"/>
                    <a:pt x="67783" y="81115"/>
                    <a:pt x="64293" y="81697"/>
                  </a:cubicBezTo>
                  <a:cubicBezTo>
                    <a:pt x="61912" y="82491"/>
                    <a:pt x="59660" y="84078"/>
                    <a:pt x="57150" y="84078"/>
                  </a:cubicBezTo>
                  <a:cubicBezTo>
                    <a:pt x="47527" y="84078"/>
                    <a:pt x="37444" y="79891"/>
                    <a:pt x="28575" y="76934"/>
                  </a:cubicBezTo>
                  <a:lnTo>
                    <a:pt x="21431" y="74553"/>
                  </a:lnTo>
                  <a:lnTo>
                    <a:pt x="14287" y="72172"/>
                  </a:lnTo>
                  <a:cubicBezTo>
                    <a:pt x="8302" y="54215"/>
                    <a:pt x="17072" y="75653"/>
                    <a:pt x="4762" y="60266"/>
                  </a:cubicBezTo>
                  <a:cubicBezTo>
                    <a:pt x="3520" y="58714"/>
                    <a:pt x="155" y="44219"/>
                    <a:pt x="0" y="43597"/>
                  </a:cubicBezTo>
                  <a:cubicBezTo>
                    <a:pt x="794" y="36453"/>
                    <a:pt x="1199" y="29256"/>
                    <a:pt x="2381" y="22166"/>
                  </a:cubicBezTo>
                  <a:cubicBezTo>
                    <a:pt x="2794" y="19690"/>
                    <a:pt x="3194" y="16982"/>
                    <a:pt x="4762" y="15022"/>
                  </a:cubicBezTo>
                  <a:cubicBezTo>
                    <a:pt x="6550" y="12787"/>
                    <a:pt x="9421" y="11679"/>
                    <a:pt x="11906" y="10259"/>
                  </a:cubicBezTo>
                  <a:cubicBezTo>
                    <a:pt x="14988" y="8498"/>
                    <a:pt x="18031" y="6517"/>
                    <a:pt x="21431" y="5497"/>
                  </a:cubicBezTo>
                  <a:cubicBezTo>
                    <a:pt x="39758" y="0"/>
                    <a:pt x="24606" y="1131"/>
                    <a:pt x="28575" y="734"/>
                  </a:cubicBezTo>
                  <a:close/>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107" name="Freeform 132"/>
            <p:cNvSpPr>
              <a:spLocks noChangeArrowheads="1"/>
            </p:cNvSpPr>
            <p:nvPr>
              <p:custDataLst>
                <p:tags r:id="rId79"/>
              </p:custDataLst>
            </p:nvPr>
          </p:nvSpPr>
          <p:spPr bwMode="gray">
            <a:xfrm>
              <a:off x="1466850" y="3846328"/>
              <a:ext cx="82550" cy="88900"/>
            </a:xfrm>
            <a:custGeom>
              <a:avLst/>
              <a:gdLst>
                <a:gd name="T0" fmla="*/ 34197 w 81962"/>
                <a:gd name="T1" fmla="*/ 0 h 88938"/>
                <a:gd name="T2" fmla="*/ 13292 w 81962"/>
                <a:gd name="T3" fmla="*/ 12635 h 88938"/>
                <a:gd name="T4" fmla="*/ 13292 w 81962"/>
                <a:gd name="T5" fmla="*/ 63149 h 88938"/>
                <a:gd name="T6" fmla="*/ 20256 w 81962"/>
                <a:gd name="T7" fmla="*/ 82095 h 88938"/>
                <a:gd name="T8" fmla="*/ 41165 w 81962"/>
                <a:gd name="T9" fmla="*/ 88406 h 88938"/>
                <a:gd name="T10" fmla="*/ 82973 w 81962"/>
                <a:gd name="T11" fmla="*/ 82095 h 88938"/>
                <a:gd name="T12" fmla="*/ 89944 w 81962"/>
                <a:gd name="T13" fmla="*/ 63149 h 88938"/>
                <a:gd name="T14" fmla="*/ 62074 w 81962"/>
                <a:gd name="T15" fmla="*/ 18946 h 88938"/>
                <a:gd name="T16" fmla="*/ 48133 w 81962"/>
                <a:gd name="T17" fmla="*/ 0 h 88938"/>
                <a:gd name="T18" fmla="*/ 34197 w 81962"/>
                <a:gd name="T19" fmla="*/ 0 h 889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962"/>
                <a:gd name="T31" fmla="*/ 0 h 88938"/>
                <a:gd name="T32" fmla="*/ 81962 w 81962"/>
                <a:gd name="T33" fmla="*/ 88938 h 8893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962" h="88938">
                  <a:moveTo>
                    <a:pt x="31162" y="0"/>
                  </a:moveTo>
                  <a:cubicBezTo>
                    <a:pt x="24812" y="4233"/>
                    <a:pt x="16880" y="6741"/>
                    <a:pt x="12112" y="12700"/>
                  </a:cubicBezTo>
                  <a:cubicBezTo>
                    <a:pt x="0" y="27840"/>
                    <a:pt x="8237" y="48001"/>
                    <a:pt x="12112" y="63500"/>
                  </a:cubicBezTo>
                  <a:cubicBezTo>
                    <a:pt x="13735" y="69994"/>
                    <a:pt x="13729" y="77817"/>
                    <a:pt x="18462" y="82550"/>
                  </a:cubicBezTo>
                  <a:cubicBezTo>
                    <a:pt x="23195" y="87283"/>
                    <a:pt x="31162" y="86783"/>
                    <a:pt x="37512" y="88900"/>
                  </a:cubicBezTo>
                  <a:cubicBezTo>
                    <a:pt x="50212" y="86783"/>
                    <a:pt x="64433" y="88938"/>
                    <a:pt x="75612" y="82550"/>
                  </a:cubicBezTo>
                  <a:cubicBezTo>
                    <a:pt x="81424" y="79229"/>
                    <a:pt x="81962" y="70193"/>
                    <a:pt x="81962" y="63500"/>
                  </a:cubicBezTo>
                  <a:cubicBezTo>
                    <a:pt x="81962" y="34719"/>
                    <a:pt x="73008" y="38785"/>
                    <a:pt x="56562" y="19050"/>
                  </a:cubicBezTo>
                  <a:cubicBezTo>
                    <a:pt x="51676" y="13187"/>
                    <a:pt x="48095" y="6350"/>
                    <a:pt x="43862" y="0"/>
                  </a:cubicBezTo>
                  <a:lnTo>
                    <a:pt x="31162" y="0"/>
                  </a:lnTo>
                  <a:close/>
                </a:path>
              </a:pathLst>
            </a:custGeom>
            <a:grpFill/>
            <a:ln w="12700">
              <a:solidFill>
                <a:schemeClr val="bg1"/>
              </a:solidFill>
              <a:round/>
              <a:headEnd/>
              <a:tailEnd/>
            </a:ln>
          </p:spPr>
          <p:txBody>
            <a:bodyPr/>
            <a:lstStyle/>
            <a:p>
              <a:pPr defTabSz="685800">
                <a:buClrTx/>
              </a:pPr>
              <a:endParaRPr lang="en-US" sz="1350" kern="1200">
                <a:solidFill>
                  <a:prstClr val="black"/>
                </a:solidFill>
                <a:ea typeface="+mn-ea"/>
                <a:cs typeface="+mn-cs"/>
              </a:endParaRPr>
            </a:p>
          </p:txBody>
        </p:sp>
      </p:grpSp>
      <p:sp>
        <p:nvSpPr>
          <p:cNvPr id="103" name="Rectangle 3"/>
          <p:cNvSpPr>
            <a:spLocks noChangeArrowheads="1"/>
          </p:cNvSpPr>
          <p:nvPr/>
        </p:nvSpPr>
        <p:spPr bwMode="auto">
          <a:xfrm>
            <a:off x="5337545" y="1"/>
            <a:ext cx="2663456" cy="600164"/>
          </a:xfrm>
          <a:prstGeom prst="rect">
            <a:avLst/>
          </a:prstGeom>
          <a:solidFill>
            <a:schemeClr val="accent6"/>
          </a:solidFill>
          <a:ln w="6350" algn="ctr">
            <a:solidFill>
              <a:schemeClr val="bg1"/>
            </a:solidFill>
            <a:miter lim="800000"/>
            <a:headEnd/>
            <a:tailEnd/>
          </a:ln>
        </p:spPr>
        <p:txBody>
          <a:bodyPr wrap="square" tIns="68580" bIns="68580">
            <a:spAutoFit/>
          </a:bodyPr>
          <a:lstStyle/>
          <a:p>
            <a:pPr defTabSz="685800">
              <a:buClrTx/>
              <a:defRPr/>
            </a:pPr>
            <a:r>
              <a:rPr lang="en-US" altLang="ja-JP" sz="750" kern="1200" dirty="0">
                <a:solidFill>
                  <a:srgbClr val="313131"/>
                </a:solidFill>
                <a:ea typeface="ＭＳ Ｐゴシック" pitchFamily="50" charset="-128"/>
                <a:cs typeface="+mn-cs"/>
              </a:rPr>
              <a:t>Tip! Click once to select the entire map, and again to select one or more regions within it</a:t>
            </a:r>
            <a:br>
              <a:rPr lang="en-US" altLang="ja-JP" sz="750" kern="1200" dirty="0">
                <a:solidFill>
                  <a:srgbClr val="313131"/>
                </a:solidFill>
                <a:ea typeface="ＭＳ Ｐゴシック" pitchFamily="50" charset="-128"/>
                <a:cs typeface="+mn-cs"/>
              </a:rPr>
            </a:br>
            <a:r>
              <a:rPr lang="en-US" altLang="ja-JP" sz="750" kern="1200" dirty="0">
                <a:solidFill>
                  <a:srgbClr val="313131"/>
                </a:solidFill>
                <a:ea typeface="ＭＳ Ｐゴシック" pitchFamily="50" charset="-128"/>
                <a:cs typeface="+mn-cs"/>
              </a:rPr>
              <a:t>Country/regional maps are a representative sample – more will be added</a:t>
            </a:r>
            <a:endParaRPr lang="en-US" sz="750" kern="1200" dirty="0">
              <a:solidFill>
                <a:srgbClr val="313131"/>
              </a:solidFill>
              <a:ea typeface="ＭＳ Ｐゴシック" pitchFamily="50" charset="-128"/>
              <a:cs typeface="+mn-cs"/>
            </a:endParaRPr>
          </a:p>
        </p:txBody>
      </p:sp>
      <p:sp>
        <p:nvSpPr>
          <p:cNvPr id="109" name="TextBox 108"/>
          <p:cNvSpPr txBox="1"/>
          <p:nvPr/>
        </p:nvSpPr>
        <p:spPr>
          <a:xfrm>
            <a:off x="5337546" y="733425"/>
            <a:ext cx="2663455" cy="1107996"/>
          </a:xfrm>
          <a:prstGeom prst="rect">
            <a:avLst/>
          </a:prstGeom>
          <a:solidFill>
            <a:srgbClr val="ED1B2F"/>
          </a:solidFill>
        </p:spPr>
        <p:txBody>
          <a:bodyPr wrap="square" lIns="68580" tIns="68580" rIns="68580" bIns="68580" rtlCol="0">
            <a:spAutoFit/>
          </a:bodyPr>
          <a:lstStyle/>
          <a:p>
            <a:pPr defTabSz="685800">
              <a:buClrTx/>
            </a:pPr>
            <a:r>
              <a:rPr lang="en-US" sz="1050" kern="1200" dirty="0">
                <a:solidFill>
                  <a:prstClr val="white"/>
                </a:solidFill>
                <a:ea typeface="+mn-ea"/>
                <a:cs typeface="+mn-cs"/>
              </a:rPr>
              <a:t>Maps are for directional purposes only and are not intended to be exact renditions of country borders. For specific information about country borders and maps, please contact the local member firm.</a:t>
            </a:r>
          </a:p>
        </p:txBody>
      </p:sp>
    </p:spTree>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825" name="Title 1"/>
          <p:cNvSpPr>
            <a:spLocks noGrp="1"/>
          </p:cNvSpPr>
          <p:nvPr>
            <p:ph type="title"/>
          </p:nvPr>
        </p:nvSpPr>
        <p:spPr/>
        <p:txBody>
          <a:bodyPr/>
          <a:lstStyle/>
          <a:p>
            <a:r>
              <a:rPr lang="en-US" dirty="0"/>
              <a:t>Maps </a:t>
            </a:r>
            <a:br>
              <a:rPr lang="en-US" dirty="0"/>
            </a:br>
            <a:r>
              <a:rPr lang="en-US" dirty="0">
                <a:solidFill>
                  <a:srgbClr val="575757"/>
                </a:solidFill>
              </a:rPr>
              <a:t>Tunisia and Greece</a:t>
            </a:r>
          </a:p>
        </p:txBody>
      </p:sp>
      <p:grpSp>
        <p:nvGrpSpPr>
          <p:cNvPr id="14" name="Group 8"/>
          <p:cNvGrpSpPr>
            <a:grpSpLocks/>
          </p:cNvGrpSpPr>
          <p:nvPr/>
        </p:nvGrpSpPr>
        <p:grpSpPr bwMode="gray">
          <a:xfrm>
            <a:off x="4866989" y="1350155"/>
            <a:ext cx="2606025" cy="2976590"/>
            <a:chOff x="3598" y="1166"/>
            <a:chExt cx="2296" cy="2324"/>
          </a:xfrm>
          <a:solidFill>
            <a:srgbClr val="00A1DE"/>
          </a:solidFill>
        </p:grpSpPr>
        <p:sp>
          <p:nvSpPr>
            <p:cNvPr id="15" name="Freeform 9"/>
            <p:cNvSpPr>
              <a:spLocks/>
            </p:cNvSpPr>
            <p:nvPr/>
          </p:nvSpPr>
          <p:spPr bwMode="gray">
            <a:xfrm>
              <a:off x="4597" y="3240"/>
              <a:ext cx="773" cy="250"/>
            </a:xfrm>
            <a:custGeom>
              <a:avLst/>
              <a:gdLst>
                <a:gd name="T0" fmla="*/ 705 w 705"/>
                <a:gd name="T1" fmla="*/ 137 h 229"/>
                <a:gd name="T2" fmla="*/ 688 w 705"/>
                <a:gd name="T3" fmla="*/ 192 h 229"/>
                <a:gd name="T4" fmla="*/ 652 w 705"/>
                <a:gd name="T5" fmla="*/ 196 h 229"/>
                <a:gd name="T6" fmla="*/ 630 w 705"/>
                <a:gd name="T7" fmla="*/ 189 h 229"/>
                <a:gd name="T8" fmla="*/ 600 w 705"/>
                <a:gd name="T9" fmla="*/ 194 h 229"/>
                <a:gd name="T10" fmla="*/ 567 w 705"/>
                <a:gd name="T11" fmla="*/ 194 h 229"/>
                <a:gd name="T12" fmla="*/ 549 w 705"/>
                <a:gd name="T13" fmla="*/ 196 h 229"/>
                <a:gd name="T14" fmla="*/ 517 w 705"/>
                <a:gd name="T15" fmla="*/ 205 h 229"/>
                <a:gd name="T16" fmla="*/ 474 w 705"/>
                <a:gd name="T17" fmla="*/ 206 h 229"/>
                <a:gd name="T18" fmla="*/ 439 w 705"/>
                <a:gd name="T19" fmla="*/ 208 h 229"/>
                <a:gd name="T20" fmla="*/ 419 w 705"/>
                <a:gd name="T21" fmla="*/ 220 h 229"/>
                <a:gd name="T22" fmla="*/ 381 w 705"/>
                <a:gd name="T23" fmla="*/ 224 h 229"/>
                <a:gd name="T24" fmla="*/ 345 w 705"/>
                <a:gd name="T25" fmla="*/ 228 h 229"/>
                <a:gd name="T26" fmla="*/ 314 w 705"/>
                <a:gd name="T27" fmla="*/ 197 h 229"/>
                <a:gd name="T28" fmla="*/ 272 w 705"/>
                <a:gd name="T29" fmla="*/ 167 h 229"/>
                <a:gd name="T30" fmla="*/ 243 w 705"/>
                <a:gd name="T31" fmla="*/ 158 h 229"/>
                <a:gd name="T32" fmla="*/ 214 w 705"/>
                <a:gd name="T33" fmla="*/ 152 h 229"/>
                <a:gd name="T34" fmla="*/ 184 w 705"/>
                <a:gd name="T35" fmla="*/ 152 h 229"/>
                <a:gd name="T36" fmla="*/ 158 w 705"/>
                <a:gd name="T37" fmla="*/ 145 h 229"/>
                <a:gd name="T38" fmla="*/ 126 w 705"/>
                <a:gd name="T39" fmla="*/ 140 h 229"/>
                <a:gd name="T40" fmla="*/ 92 w 705"/>
                <a:gd name="T41" fmla="*/ 132 h 229"/>
                <a:gd name="T42" fmla="*/ 76 w 705"/>
                <a:gd name="T43" fmla="*/ 131 h 229"/>
                <a:gd name="T44" fmla="*/ 40 w 705"/>
                <a:gd name="T45" fmla="*/ 137 h 229"/>
                <a:gd name="T46" fmla="*/ 17 w 705"/>
                <a:gd name="T47" fmla="*/ 133 h 229"/>
                <a:gd name="T48" fmla="*/ 2 w 705"/>
                <a:gd name="T49" fmla="*/ 101 h 229"/>
                <a:gd name="T50" fmla="*/ 11 w 705"/>
                <a:gd name="T51" fmla="*/ 61 h 229"/>
                <a:gd name="T52" fmla="*/ 22 w 705"/>
                <a:gd name="T53" fmla="*/ 35 h 229"/>
                <a:gd name="T54" fmla="*/ 42 w 705"/>
                <a:gd name="T55" fmla="*/ 52 h 229"/>
                <a:gd name="T56" fmla="*/ 58 w 705"/>
                <a:gd name="T57" fmla="*/ 25 h 229"/>
                <a:gd name="T58" fmla="*/ 58 w 705"/>
                <a:gd name="T59" fmla="*/ 2 h 229"/>
                <a:gd name="T60" fmla="*/ 78 w 705"/>
                <a:gd name="T61" fmla="*/ 29 h 229"/>
                <a:gd name="T62" fmla="*/ 105 w 705"/>
                <a:gd name="T63" fmla="*/ 38 h 229"/>
                <a:gd name="T64" fmla="*/ 128 w 705"/>
                <a:gd name="T65" fmla="*/ 35 h 229"/>
                <a:gd name="T66" fmla="*/ 164 w 705"/>
                <a:gd name="T67" fmla="*/ 15 h 229"/>
                <a:gd name="T68" fmla="*/ 153 w 705"/>
                <a:gd name="T69" fmla="*/ 56 h 229"/>
                <a:gd name="T70" fmla="*/ 182 w 705"/>
                <a:gd name="T71" fmla="*/ 53 h 229"/>
                <a:gd name="T72" fmla="*/ 194 w 705"/>
                <a:gd name="T73" fmla="*/ 77 h 229"/>
                <a:gd name="T74" fmla="*/ 217 w 705"/>
                <a:gd name="T75" fmla="*/ 97 h 229"/>
                <a:gd name="T76" fmla="*/ 257 w 705"/>
                <a:gd name="T77" fmla="*/ 86 h 229"/>
                <a:gd name="T78" fmla="*/ 282 w 705"/>
                <a:gd name="T79" fmla="*/ 82 h 229"/>
                <a:gd name="T80" fmla="*/ 314 w 705"/>
                <a:gd name="T81" fmla="*/ 71 h 229"/>
                <a:gd name="T82" fmla="*/ 366 w 705"/>
                <a:gd name="T83" fmla="*/ 77 h 229"/>
                <a:gd name="T84" fmla="*/ 403 w 705"/>
                <a:gd name="T85" fmla="*/ 90 h 229"/>
                <a:gd name="T86" fmla="*/ 433 w 705"/>
                <a:gd name="T87" fmla="*/ 91 h 229"/>
                <a:gd name="T88" fmla="*/ 464 w 705"/>
                <a:gd name="T89" fmla="*/ 94 h 229"/>
                <a:gd name="T90" fmla="*/ 499 w 705"/>
                <a:gd name="T91" fmla="*/ 108 h 229"/>
                <a:gd name="T92" fmla="*/ 529 w 705"/>
                <a:gd name="T93" fmla="*/ 99 h 229"/>
                <a:gd name="T94" fmla="*/ 556 w 705"/>
                <a:gd name="T95" fmla="*/ 94 h 229"/>
                <a:gd name="T96" fmla="*/ 569 w 705"/>
                <a:gd name="T97" fmla="*/ 113 h 229"/>
                <a:gd name="T98" fmla="*/ 561 w 705"/>
                <a:gd name="T99" fmla="*/ 145 h 229"/>
                <a:gd name="T100" fmla="*/ 587 w 705"/>
                <a:gd name="T101" fmla="*/ 152 h 229"/>
                <a:gd name="T102" fmla="*/ 628 w 705"/>
                <a:gd name="T103" fmla="*/ 135 h 229"/>
                <a:gd name="T104" fmla="*/ 656 w 705"/>
                <a:gd name="T105" fmla="*/ 126 h 229"/>
                <a:gd name="T106" fmla="*/ 684 w 705"/>
                <a:gd name="T107" fmla="*/ 128 h 2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05"/>
                <a:gd name="T163" fmla="*/ 0 h 229"/>
                <a:gd name="T164" fmla="*/ 705 w 705"/>
                <a:gd name="T165" fmla="*/ 229 h 22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05" h="229">
                  <a:moveTo>
                    <a:pt x="688" y="113"/>
                  </a:moveTo>
                  <a:lnTo>
                    <a:pt x="690" y="114"/>
                  </a:lnTo>
                  <a:lnTo>
                    <a:pt x="697" y="118"/>
                  </a:lnTo>
                  <a:lnTo>
                    <a:pt x="703" y="125"/>
                  </a:lnTo>
                  <a:lnTo>
                    <a:pt x="705" y="137"/>
                  </a:lnTo>
                  <a:lnTo>
                    <a:pt x="703" y="153"/>
                  </a:lnTo>
                  <a:lnTo>
                    <a:pt x="698" y="171"/>
                  </a:lnTo>
                  <a:lnTo>
                    <a:pt x="693" y="186"/>
                  </a:lnTo>
                  <a:lnTo>
                    <a:pt x="691" y="192"/>
                  </a:lnTo>
                  <a:lnTo>
                    <a:pt x="688" y="192"/>
                  </a:lnTo>
                  <a:lnTo>
                    <a:pt x="680" y="192"/>
                  </a:lnTo>
                  <a:lnTo>
                    <a:pt x="669" y="193"/>
                  </a:lnTo>
                  <a:lnTo>
                    <a:pt x="660" y="196"/>
                  </a:lnTo>
                  <a:lnTo>
                    <a:pt x="656" y="196"/>
                  </a:lnTo>
                  <a:lnTo>
                    <a:pt x="652" y="196"/>
                  </a:lnTo>
                  <a:lnTo>
                    <a:pt x="648" y="194"/>
                  </a:lnTo>
                  <a:lnTo>
                    <a:pt x="644" y="192"/>
                  </a:lnTo>
                  <a:lnTo>
                    <a:pt x="639" y="190"/>
                  </a:lnTo>
                  <a:lnTo>
                    <a:pt x="635" y="189"/>
                  </a:lnTo>
                  <a:lnTo>
                    <a:pt x="630" y="189"/>
                  </a:lnTo>
                  <a:lnTo>
                    <a:pt x="624" y="189"/>
                  </a:lnTo>
                  <a:lnTo>
                    <a:pt x="618" y="190"/>
                  </a:lnTo>
                  <a:lnTo>
                    <a:pt x="613" y="192"/>
                  </a:lnTo>
                  <a:lnTo>
                    <a:pt x="606" y="193"/>
                  </a:lnTo>
                  <a:lnTo>
                    <a:pt x="600" y="194"/>
                  </a:lnTo>
                  <a:lnTo>
                    <a:pt x="593" y="196"/>
                  </a:lnTo>
                  <a:lnTo>
                    <a:pt x="586" y="197"/>
                  </a:lnTo>
                  <a:lnTo>
                    <a:pt x="579" y="197"/>
                  </a:lnTo>
                  <a:lnTo>
                    <a:pt x="572" y="196"/>
                  </a:lnTo>
                  <a:lnTo>
                    <a:pt x="567" y="194"/>
                  </a:lnTo>
                  <a:lnTo>
                    <a:pt x="563" y="193"/>
                  </a:lnTo>
                  <a:lnTo>
                    <a:pt x="560" y="193"/>
                  </a:lnTo>
                  <a:lnTo>
                    <a:pt x="556" y="193"/>
                  </a:lnTo>
                  <a:lnTo>
                    <a:pt x="553" y="194"/>
                  </a:lnTo>
                  <a:lnTo>
                    <a:pt x="549" y="196"/>
                  </a:lnTo>
                  <a:lnTo>
                    <a:pt x="545" y="197"/>
                  </a:lnTo>
                  <a:lnTo>
                    <a:pt x="538" y="199"/>
                  </a:lnTo>
                  <a:lnTo>
                    <a:pt x="530" y="201"/>
                  </a:lnTo>
                  <a:lnTo>
                    <a:pt x="524" y="202"/>
                  </a:lnTo>
                  <a:lnTo>
                    <a:pt x="517" y="205"/>
                  </a:lnTo>
                  <a:lnTo>
                    <a:pt x="511" y="205"/>
                  </a:lnTo>
                  <a:lnTo>
                    <a:pt x="504" y="206"/>
                  </a:lnTo>
                  <a:lnTo>
                    <a:pt x="496" y="206"/>
                  </a:lnTo>
                  <a:lnTo>
                    <a:pt x="486" y="206"/>
                  </a:lnTo>
                  <a:lnTo>
                    <a:pt x="474" y="206"/>
                  </a:lnTo>
                  <a:lnTo>
                    <a:pt x="463" y="206"/>
                  </a:lnTo>
                  <a:lnTo>
                    <a:pt x="455" y="206"/>
                  </a:lnTo>
                  <a:lnTo>
                    <a:pt x="448" y="206"/>
                  </a:lnTo>
                  <a:lnTo>
                    <a:pt x="443" y="207"/>
                  </a:lnTo>
                  <a:lnTo>
                    <a:pt x="439" y="208"/>
                  </a:lnTo>
                  <a:lnTo>
                    <a:pt x="435" y="209"/>
                  </a:lnTo>
                  <a:lnTo>
                    <a:pt x="432" y="212"/>
                  </a:lnTo>
                  <a:lnTo>
                    <a:pt x="428" y="214"/>
                  </a:lnTo>
                  <a:lnTo>
                    <a:pt x="423" y="217"/>
                  </a:lnTo>
                  <a:lnTo>
                    <a:pt x="419" y="220"/>
                  </a:lnTo>
                  <a:lnTo>
                    <a:pt x="413" y="221"/>
                  </a:lnTo>
                  <a:lnTo>
                    <a:pt x="404" y="221"/>
                  </a:lnTo>
                  <a:lnTo>
                    <a:pt x="397" y="221"/>
                  </a:lnTo>
                  <a:lnTo>
                    <a:pt x="389" y="222"/>
                  </a:lnTo>
                  <a:lnTo>
                    <a:pt x="381" y="224"/>
                  </a:lnTo>
                  <a:lnTo>
                    <a:pt x="373" y="226"/>
                  </a:lnTo>
                  <a:lnTo>
                    <a:pt x="365" y="227"/>
                  </a:lnTo>
                  <a:lnTo>
                    <a:pt x="358" y="228"/>
                  </a:lnTo>
                  <a:lnTo>
                    <a:pt x="351" y="229"/>
                  </a:lnTo>
                  <a:lnTo>
                    <a:pt x="345" y="228"/>
                  </a:lnTo>
                  <a:lnTo>
                    <a:pt x="335" y="226"/>
                  </a:lnTo>
                  <a:lnTo>
                    <a:pt x="327" y="223"/>
                  </a:lnTo>
                  <a:lnTo>
                    <a:pt x="320" y="219"/>
                  </a:lnTo>
                  <a:lnTo>
                    <a:pt x="317" y="209"/>
                  </a:lnTo>
                  <a:lnTo>
                    <a:pt x="314" y="197"/>
                  </a:lnTo>
                  <a:lnTo>
                    <a:pt x="312" y="183"/>
                  </a:lnTo>
                  <a:lnTo>
                    <a:pt x="304" y="173"/>
                  </a:lnTo>
                  <a:lnTo>
                    <a:pt x="289" y="168"/>
                  </a:lnTo>
                  <a:lnTo>
                    <a:pt x="280" y="168"/>
                  </a:lnTo>
                  <a:lnTo>
                    <a:pt x="272" y="167"/>
                  </a:lnTo>
                  <a:lnTo>
                    <a:pt x="266" y="164"/>
                  </a:lnTo>
                  <a:lnTo>
                    <a:pt x="260" y="162"/>
                  </a:lnTo>
                  <a:lnTo>
                    <a:pt x="256" y="161"/>
                  </a:lnTo>
                  <a:lnTo>
                    <a:pt x="250" y="159"/>
                  </a:lnTo>
                  <a:lnTo>
                    <a:pt x="243" y="158"/>
                  </a:lnTo>
                  <a:lnTo>
                    <a:pt x="236" y="158"/>
                  </a:lnTo>
                  <a:lnTo>
                    <a:pt x="229" y="156"/>
                  </a:lnTo>
                  <a:lnTo>
                    <a:pt x="223" y="155"/>
                  </a:lnTo>
                  <a:lnTo>
                    <a:pt x="217" y="154"/>
                  </a:lnTo>
                  <a:lnTo>
                    <a:pt x="214" y="152"/>
                  </a:lnTo>
                  <a:lnTo>
                    <a:pt x="209" y="149"/>
                  </a:lnTo>
                  <a:lnTo>
                    <a:pt x="204" y="148"/>
                  </a:lnTo>
                  <a:lnTo>
                    <a:pt x="198" y="149"/>
                  </a:lnTo>
                  <a:lnTo>
                    <a:pt x="191" y="151"/>
                  </a:lnTo>
                  <a:lnTo>
                    <a:pt x="184" y="152"/>
                  </a:lnTo>
                  <a:lnTo>
                    <a:pt x="177" y="152"/>
                  </a:lnTo>
                  <a:lnTo>
                    <a:pt x="173" y="151"/>
                  </a:lnTo>
                  <a:lnTo>
                    <a:pt x="167" y="148"/>
                  </a:lnTo>
                  <a:lnTo>
                    <a:pt x="162" y="146"/>
                  </a:lnTo>
                  <a:lnTo>
                    <a:pt x="158" y="145"/>
                  </a:lnTo>
                  <a:lnTo>
                    <a:pt x="152" y="144"/>
                  </a:lnTo>
                  <a:lnTo>
                    <a:pt x="146" y="144"/>
                  </a:lnTo>
                  <a:lnTo>
                    <a:pt x="136" y="145"/>
                  </a:lnTo>
                  <a:lnTo>
                    <a:pt x="131" y="143"/>
                  </a:lnTo>
                  <a:lnTo>
                    <a:pt x="126" y="140"/>
                  </a:lnTo>
                  <a:lnTo>
                    <a:pt x="117" y="137"/>
                  </a:lnTo>
                  <a:lnTo>
                    <a:pt x="110" y="136"/>
                  </a:lnTo>
                  <a:lnTo>
                    <a:pt x="105" y="135"/>
                  </a:lnTo>
                  <a:lnTo>
                    <a:pt x="98" y="133"/>
                  </a:lnTo>
                  <a:lnTo>
                    <a:pt x="92" y="132"/>
                  </a:lnTo>
                  <a:lnTo>
                    <a:pt x="86" y="131"/>
                  </a:lnTo>
                  <a:lnTo>
                    <a:pt x="83" y="131"/>
                  </a:lnTo>
                  <a:lnTo>
                    <a:pt x="80" y="130"/>
                  </a:lnTo>
                  <a:lnTo>
                    <a:pt x="79" y="130"/>
                  </a:lnTo>
                  <a:lnTo>
                    <a:pt x="76" y="131"/>
                  </a:lnTo>
                  <a:lnTo>
                    <a:pt x="68" y="133"/>
                  </a:lnTo>
                  <a:lnTo>
                    <a:pt x="57" y="136"/>
                  </a:lnTo>
                  <a:lnTo>
                    <a:pt x="48" y="137"/>
                  </a:lnTo>
                  <a:lnTo>
                    <a:pt x="44" y="137"/>
                  </a:lnTo>
                  <a:lnTo>
                    <a:pt x="40" y="137"/>
                  </a:lnTo>
                  <a:lnTo>
                    <a:pt x="35" y="137"/>
                  </a:lnTo>
                  <a:lnTo>
                    <a:pt x="31" y="137"/>
                  </a:lnTo>
                  <a:lnTo>
                    <a:pt x="26" y="137"/>
                  </a:lnTo>
                  <a:lnTo>
                    <a:pt x="23" y="136"/>
                  </a:lnTo>
                  <a:lnTo>
                    <a:pt x="17" y="133"/>
                  </a:lnTo>
                  <a:lnTo>
                    <a:pt x="12" y="130"/>
                  </a:lnTo>
                  <a:lnTo>
                    <a:pt x="4" y="123"/>
                  </a:lnTo>
                  <a:lnTo>
                    <a:pt x="1" y="117"/>
                  </a:lnTo>
                  <a:lnTo>
                    <a:pt x="0" y="110"/>
                  </a:lnTo>
                  <a:lnTo>
                    <a:pt x="2" y="101"/>
                  </a:lnTo>
                  <a:lnTo>
                    <a:pt x="5" y="90"/>
                  </a:lnTo>
                  <a:lnTo>
                    <a:pt x="9" y="77"/>
                  </a:lnTo>
                  <a:lnTo>
                    <a:pt x="11" y="67"/>
                  </a:lnTo>
                  <a:lnTo>
                    <a:pt x="12" y="63"/>
                  </a:lnTo>
                  <a:lnTo>
                    <a:pt x="11" y="61"/>
                  </a:lnTo>
                  <a:lnTo>
                    <a:pt x="10" y="55"/>
                  </a:lnTo>
                  <a:lnTo>
                    <a:pt x="9" y="47"/>
                  </a:lnTo>
                  <a:lnTo>
                    <a:pt x="12" y="39"/>
                  </a:lnTo>
                  <a:lnTo>
                    <a:pt x="17" y="34"/>
                  </a:lnTo>
                  <a:lnTo>
                    <a:pt x="22" y="35"/>
                  </a:lnTo>
                  <a:lnTo>
                    <a:pt x="25" y="38"/>
                  </a:lnTo>
                  <a:lnTo>
                    <a:pt x="26" y="39"/>
                  </a:lnTo>
                  <a:lnTo>
                    <a:pt x="29" y="42"/>
                  </a:lnTo>
                  <a:lnTo>
                    <a:pt x="34" y="48"/>
                  </a:lnTo>
                  <a:lnTo>
                    <a:pt x="42" y="52"/>
                  </a:lnTo>
                  <a:lnTo>
                    <a:pt x="48" y="49"/>
                  </a:lnTo>
                  <a:lnTo>
                    <a:pt x="55" y="44"/>
                  </a:lnTo>
                  <a:lnTo>
                    <a:pt x="61" y="39"/>
                  </a:lnTo>
                  <a:lnTo>
                    <a:pt x="64" y="33"/>
                  </a:lnTo>
                  <a:lnTo>
                    <a:pt x="58" y="25"/>
                  </a:lnTo>
                  <a:lnTo>
                    <a:pt x="50" y="15"/>
                  </a:lnTo>
                  <a:lnTo>
                    <a:pt x="48" y="6"/>
                  </a:lnTo>
                  <a:lnTo>
                    <a:pt x="49" y="0"/>
                  </a:lnTo>
                  <a:lnTo>
                    <a:pt x="55" y="0"/>
                  </a:lnTo>
                  <a:lnTo>
                    <a:pt x="58" y="2"/>
                  </a:lnTo>
                  <a:lnTo>
                    <a:pt x="62" y="7"/>
                  </a:lnTo>
                  <a:lnTo>
                    <a:pt x="65" y="11"/>
                  </a:lnTo>
                  <a:lnTo>
                    <a:pt x="70" y="17"/>
                  </a:lnTo>
                  <a:lnTo>
                    <a:pt x="73" y="24"/>
                  </a:lnTo>
                  <a:lnTo>
                    <a:pt x="78" y="29"/>
                  </a:lnTo>
                  <a:lnTo>
                    <a:pt x="84" y="33"/>
                  </a:lnTo>
                  <a:lnTo>
                    <a:pt x="90" y="35"/>
                  </a:lnTo>
                  <a:lnTo>
                    <a:pt x="95" y="37"/>
                  </a:lnTo>
                  <a:lnTo>
                    <a:pt x="100" y="38"/>
                  </a:lnTo>
                  <a:lnTo>
                    <a:pt x="105" y="38"/>
                  </a:lnTo>
                  <a:lnTo>
                    <a:pt x="109" y="38"/>
                  </a:lnTo>
                  <a:lnTo>
                    <a:pt x="113" y="38"/>
                  </a:lnTo>
                  <a:lnTo>
                    <a:pt x="117" y="38"/>
                  </a:lnTo>
                  <a:lnTo>
                    <a:pt x="122" y="37"/>
                  </a:lnTo>
                  <a:lnTo>
                    <a:pt x="128" y="35"/>
                  </a:lnTo>
                  <a:lnTo>
                    <a:pt x="140" y="32"/>
                  </a:lnTo>
                  <a:lnTo>
                    <a:pt x="150" y="26"/>
                  </a:lnTo>
                  <a:lnTo>
                    <a:pt x="156" y="20"/>
                  </a:lnTo>
                  <a:lnTo>
                    <a:pt x="160" y="15"/>
                  </a:lnTo>
                  <a:lnTo>
                    <a:pt x="164" y="15"/>
                  </a:lnTo>
                  <a:lnTo>
                    <a:pt x="171" y="22"/>
                  </a:lnTo>
                  <a:lnTo>
                    <a:pt x="174" y="32"/>
                  </a:lnTo>
                  <a:lnTo>
                    <a:pt x="167" y="42"/>
                  </a:lnTo>
                  <a:lnTo>
                    <a:pt x="158" y="50"/>
                  </a:lnTo>
                  <a:lnTo>
                    <a:pt x="153" y="56"/>
                  </a:lnTo>
                  <a:lnTo>
                    <a:pt x="155" y="61"/>
                  </a:lnTo>
                  <a:lnTo>
                    <a:pt x="163" y="63"/>
                  </a:lnTo>
                  <a:lnTo>
                    <a:pt x="171" y="61"/>
                  </a:lnTo>
                  <a:lnTo>
                    <a:pt x="177" y="56"/>
                  </a:lnTo>
                  <a:lnTo>
                    <a:pt x="182" y="53"/>
                  </a:lnTo>
                  <a:lnTo>
                    <a:pt x="188" y="53"/>
                  </a:lnTo>
                  <a:lnTo>
                    <a:pt x="193" y="56"/>
                  </a:lnTo>
                  <a:lnTo>
                    <a:pt x="197" y="62"/>
                  </a:lnTo>
                  <a:lnTo>
                    <a:pt x="197" y="69"/>
                  </a:lnTo>
                  <a:lnTo>
                    <a:pt x="194" y="77"/>
                  </a:lnTo>
                  <a:lnTo>
                    <a:pt x="193" y="85"/>
                  </a:lnTo>
                  <a:lnTo>
                    <a:pt x="193" y="91"/>
                  </a:lnTo>
                  <a:lnTo>
                    <a:pt x="198" y="95"/>
                  </a:lnTo>
                  <a:lnTo>
                    <a:pt x="208" y="98"/>
                  </a:lnTo>
                  <a:lnTo>
                    <a:pt x="217" y="97"/>
                  </a:lnTo>
                  <a:lnTo>
                    <a:pt x="221" y="92"/>
                  </a:lnTo>
                  <a:lnTo>
                    <a:pt x="227" y="88"/>
                  </a:lnTo>
                  <a:lnTo>
                    <a:pt x="241" y="87"/>
                  </a:lnTo>
                  <a:lnTo>
                    <a:pt x="249" y="87"/>
                  </a:lnTo>
                  <a:lnTo>
                    <a:pt x="257" y="86"/>
                  </a:lnTo>
                  <a:lnTo>
                    <a:pt x="262" y="86"/>
                  </a:lnTo>
                  <a:lnTo>
                    <a:pt x="268" y="85"/>
                  </a:lnTo>
                  <a:lnTo>
                    <a:pt x="273" y="84"/>
                  </a:lnTo>
                  <a:lnTo>
                    <a:pt x="277" y="83"/>
                  </a:lnTo>
                  <a:lnTo>
                    <a:pt x="282" y="82"/>
                  </a:lnTo>
                  <a:lnTo>
                    <a:pt x="285" y="80"/>
                  </a:lnTo>
                  <a:lnTo>
                    <a:pt x="290" y="79"/>
                  </a:lnTo>
                  <a:lnTo>
                    <a:pt x="297" y="77"/>
                  </a:lnTo>
                  <a:lnTo>
                    <a:pt x="305" y="73"/>
                  </a:lnTo>
                  <a:lnTo>
                    <a:pt x="314" y="71"/>
                  </a:lnTo>
                  <a:lnTo>
                    <a:pt x="323" y="70"/>
                  </a:lnTo>
                  <a:lnTo>
                    <a:pt x="334" y="70"/>
                  </a:lnTo>
                  <a:lnTo>
                    <a:pt x="345" y="71"/>
                  </a:lnTo>
                  <a:lnTo>
                    <a:pt x="356" y="73"/>
                  </a:lnTo>
                  <a:lnTo>
                    <a:pt x="366" y="77"/>
                  </a:lnTo>
                  <a:lnTo>
                    <a:pt x="374" y="80"/>
                  </a:lnTo>
                  <a:lnTo>
                    <a:pt x="383" y="84"/>
                  </a:lnTo>
                  <a:lnTo>
                    <a:pt x="390" y="86"/>
                  </a:lnTo>
                  <a:lnTo>
                    <a:pt x="397" y="88"/>
                  </a:lnTo>
                  <a:lnTo>
                    <a:pt x="403" y="90"/>
                  </a:lnTo>
                  <a:lnTo>
                    <a:pt x="409" y="91"/>
                  </a:lnTo>
                  <a:lnTo>
                    <a:pt x="415" y="91"/>
                  </a:lnTo>
                  <a:lnTo>
                    <a:pt x="420" y="91"/>
                  </a:lnTo>
                  <a:lnTo>
                    <a:pt x="426" y="91"/>
                  </a:lnTo>
                  <a:lnTo>
                    <a:pt x="433" y="91"/>
                  </a:lnTo>
                  <a:lnTo>
                    <a:pt x="440" y="91"/>
                  </a:lnTo>
                  <a:lnTo>
                    <a:pt x="446" y="92"/>
                  </a:lnTo>
                  <a:lnTo>
                    <a:pt x="453" y="92"/>
                  </a:lnTo>
                  <a:lnTo>
                    <a:pt x="458" y="93"/>
                  </a:lnTo>
                  <a:lnTo>
                    <a:pt x="464" y="94"/>
                  </a:lnTo>
                  <a:lnTo>
                    <a:pt x="470" y="97"/>
                  </a:lnTo>
                  <a:lnTo>
                    <a:pt x="477" y="99"/>
                  </a:lnTo>
                  <a:lnTo>
                    <a:pt x="484" y="102"/>
                  </a:lnTo>
                  <a:lnTo>
                    <a:pt x="492" y="106"/>
                  </a:lnTo>
                  <a:lnTo>
                    <a:pt x="499" y="108"/>
                  </a:lnTo>
                  <a:lnTo>
                    <a:pt x="506" y="109"/>
                  </a:lnTo>
                  <a:lnTo>
                    <a:pt x="511" y="110"/>
                  </a:lnTo>
                  <a:lnTo>
                    <a:pt x="516" y="108"/>
                  </a:lnTo>
                  <a:lnTo>
                    <a:pt x="523" y="103"/>
                  </a:lnTo>
                  <a:lnTo>
                    <a:pt x="529" y="99"/>
                  </a:lnTo>
                  <a:lnTo>
                    <a:pt x="534" y="95"/>
                  </a:lnTo>
                  <a:lnTo>
                    <a:pt x="541" y="94"/>
                  </a:lnTo>
                  <a:lnTo>
                    <a:pt x="546" y="94"/>
                  </a:lnTo>
                  <a:lnTo>
                    <a:pt x="550" y="94"/>
                  </a:lnTo>
                  <a:lnTo>
                    <a:pt x="556" y="94"/>
                  </a:lnTo>
                  <a:lnTo>
                    <a:pt x="562" y="95"/>
                  </a:lnTo>
                  <a:lnTo>
                    <a:pt x="565" y="98"/>
                  </a:lnTo>
                  <a:lnTo>
                    <a:pt x="569" y="100"/>
                  </a:lnTo>
                  <a:lnTo>
                    <a:pt x="570" y="106"/>
                  </a:lnTo>
                  <a:lnTo>
                    <a:pt x="569" y="113"/>
                  </a:lnTo>
                  <a:lnTo>
                    <a:pt x="565" y="122"/>
                  </a:lnTo>
                  <a:lnTo>
                    <a:pt x="563" y="124"/>
                  </a:lnTo>
                  <a:lnTo>
                    <a:pt x="562" y="125"/>
                  </a:lnTo>
                  <a:lnTo>
                    <a:pt x="562" y="133"/>
                  </a:lnTo>
                  <a:lnTo>
                    <a:pt x="561" y="145"/>
                  </a:lnTo>
                  <a:lnTo>
                    <a:pt x="561" y="154"/>
                  </a:lnTo>
                  <a:lnTo>
                    <a:pt x="563" y="159"/>
                  </a:lnTo>
                  <a:lnTo>
                    <a:pt x="572" y="161"/>
                  </a:lnTo>
                  <a:lnTo>
                    <a:pt x="582" y="159"/>
                  </a:lnTo>
                  <a:lnTo>
                    <a:pt x="587" y="152"/>
                  </a:lnTo>
                  <a:lnTo>
                    <a:pt x="592" y="145"/>
                  </a:lnTo>
                  <a:lnTo>
                    <a:pt x="600" y="140"/>
                  </a:lnTo>
                  <a:lnTo>
                    <a:pt x="610" y="138"/>
                  </a:lnTo>
                  <a:lnTo>
                    <a:pt x="621" y="136"/>
                  </a:lnTo>
                  <a:lnTo>
                    <a:pt x="628" y="135"/>
                  </a:lnTo>
                  <a:lnTo>
                    <a:pt x="631" y="133"/>
                  </a:lnTo>
                  <a:lnTo>
                    <a:pt x="632" y="131"/>
                  </a:lnTo>
                  <a:lnTo>
                    <a:pt x="637" y="128"/>
                  </a:lnTo>
                  <a:lnTo>
                    <a:pt x="645" y="124"/>
                  </a:lnTo>
                  <a:lnTo>
                    <a:pt x="656" y="126"/>
                  </a:lnTo>
                  <a:lnTo>
                    <a:pt x="663" y="129"/>
                  </a:lnTo>
                  <a:lnTo>
                    <a:pt x="669" y="130"/>
                  </a:lnTo>
                  <a:lnTo>
                    <a:pt x="675" y="131"/>
                  </a:lnTo>
                  <a:lnTo>
                    <a:pt x="680" y="130"/>
                  </a:lnTo>
                  <a:lnTo>
                    <a:pt x="684" y="128"/>
                  </a:lnTo>
                  <a:lnTo>
                    <a:pt x="686" y="124"/>
                  </a:lnTo>
                  <a:lnTo>
                    <a:pt x="688" y="120"/>
                  </a:lnTo>
                  <a:lnTo>
                    <a:pt x="688" y="113"/>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6" name="Freeform 10"/>
            <p:cNvSpPr>
              <a:spLocks/>
            </p:cNvSpPr>
            <p:nvPr/>
          </p:nvSpPr>
          <p:spPr bwMode="gray">
            <a:xfrm>
              <a:off x="4440" y="2088"/>
              <a:ext cx="449" cy="370"/>
            </a:xfrm>
            <a:custGeom>
              <a:avLst/>
              <a:gdLst>
                <a:gd name="T0" fmla="*/ 379 w 409"/>
                <a:gd name="T1" fmla="*/ 273 h 339"/>
                <a:gd name="T2" fmla="*/ 397 w 409"/>
                <a:gd name="T3" fmla="*/ 278 h 339"/>
                <a:gd name="T4" fmla="*/ 409 w 409"/>
                <a:gd name="T5" fmla="*/ 290 h 339"/>
                <a:gd name="T6" fmla="*/ 409 w 409"/>
                <a:gd name="T7" fmla="*/ 315 h 339"/>
                <a:gd name="T8" fmla="*/ 402 w 409"/>
                <a:gd name="T9" fmla="*/ 334 h 339"/>
                <a:gd name="T10" fmla="*/ 370 w 409"/>
                <a:gd name="T11" fmla="*/ 335 h 339"/>
                <a:gd name="T12" fmla="*/ 360 w 409"/>
                <a:gd name="T13" fmla="*/ 325 h 339"/>
                <a:gd name="T14" fmla="*/ 327 w 409"/>
                <a:gd name="T15" fmla="*/ 304 h 339"/>
                <a:gd name="T16" fmla="*/ 318 w 409"/>
                <a:gd name="T17" fmla="*/ 288 h 339"/>
                <a:gd name="T18" fmla="*/ 307 w 409"/>
                <a:gd name="T19" fmla="*/ 262 h 339"/>
                <a:gd name="T20" fmla="*/ 291 w 409"/>
                <a:gd name="T21" fmla="*/ 241 h 339"/>
                <a:gd name="T22" fmla="*/ 282 w 409"/>
                <a:gd name="T23" fmla="*/ 220 h 339"/>
                <a:gd name="T24" fmla="*/ 254 w 409"/>
                <a:gd name="T25" fmla="*/ 210 h 339"/>
                <a:gd name="T26" fmla="*/ 228 w 409"/>
                <a:gd name="T27" fmla="*/ 210 h 339"/>
                <a:gd name="T28" fmla="*/ 207 w 409"/>
                <a:gd name="T29" fmla="*/ 205 h 339"/>
                <a:gd name="T30" fmla="*/ 182 w 409"/>
                <a:gd name="T31" fmla="*/ 179 h 339"/>
                <a:gd name="T32" fmla="*/ 179 w 409"/>
                <a:gd name="T33" fmla="*/ 168 h 339"/>
                <a:gd name="T34" fmla="*/ 169 w 409"/>
                <a:gd name="T35" fmla="*/ 157 h 339"/>
                <a:gd name="T36" fmla="*/ 152 w 409"/>
                <a:gd name="T37" fmla="*/ 139 h 339"/>
                <a:gd name="T38" fmla="*/ 136 w 409"/>
                <a:gd name="T39" fmla="*/ 121 h 339"/>
                <a:gd name="T40" fmla="*/ 107 w 409"/>
                <a:gd name="T41" fmla="*/ 96 h 339"/>
                <a:gd name="T42" fmla="*/ 87 w 409"/>
                <a:gd name="T43" fmla="*/ 81 h 339"/>
                <a:gd name="T44" fmla="*/ 68 w 409"/>
                <a:gd name="T45" fmla="*/ 73 h 339"/>
                <a:gd name="T46" fmla="*/ 43 w 409"/>
                <a:gd name="T47" fmla="*/ 70 h 339"/>
                <a:gd name="T48" fmla="*/ 30 w 409"/>
                <a:gd name="T49" fmla="*/ 65 h 339"/>
                <a:gd name="T50" fmla="*/ 10 w 409"/>
                <a:gd name="T51" fmla="*/ 65 h 339"/>
                <a:gd name="T52" fmla="*/ 0 w 409"/>
                <a:gd name="T53" fmla="*/ 63 h 339"/>
                <a:gd name="T54" fmla="*/ 14 w 409"/>
                <a:gd name="T55" fmla="*/ 50 h 339"/>
                <a:gd name="T56" fmla="*/ 32 w 409"/>
                <a:gd name="T57" fmla="*/ 40 h 339"/>
                <a:gd name="T58" fmla="*/ 45 w 409"/>
                <a:gd name="T59" fmla="*/ 33 h 339"/>
                <a:gd name="T60" fmla="*/ 58 w 409"/>
                <a:gd name="T61" fmla="*/ 25 h 339"/>
                <a:gd name="T62" fmla="*/ 73 w 409"/>
                <a:gd name="T63" fmla="*/ 13 h 339"/>
                <a:gd name="T64" fmla="*/ 90 w 409"/>
                <a:gd name="T65" fmla="*/ 1 h 339"/>
                <a:gd name="T66" fmla="*/ 106 w 409"/>
                <a:gd name="T67" fmla="*/ 5 h 339"/>
                <a:gd name="T68" fmla="*/ 126 w 409"/>
                <a:gd name="T69" fmla="*/ 37 h 339"/>
                <a:gd name="T70" fmla="*/ 135 w 409"/>
                <a:gd name="T71" fmla="*/ 55 h 339"/>
                <a:gd name="T72" fmla="*/ 152 w 409"/>
                <a:gd name="T73" fmla="*/ 74 h 339"/>
                <a:gd name="T74" fmla="*/ 174 w 409"/>
                <a:gd name="T75" fmla="*/ 89 h 339"/>
                <a:gd name="T76" fmla="*/ 192 w 409"/>
                <a:gd name="T77" fmla="*/ 95 h 339"/>
                <a:gd name="T78" fmla="*/ 202 w 409"/>
                <a:gd name="T79" fmla="*/ 96 h 339"/>
                <a:gd name="T80" fmla="*/ 214 w 409"/>
                <a:gd name="T81" fmla="*/ 107 h 339"/>
                <a:gd name="T82" fmla="*/ 228 w 409"/>
                <a:gd name="T83" fmla="*/ 114 h 339"/>
                <a:gd name="T84" fmla="*/ 247 w 409"/>
                <a:gd name="T85" fmla="*/ 116 h 339"/>
                <a:gd name="T86" fmla="*/ 270 w 409"/>
                <a:gd name="T87" fmla="*/ 115 h 339"/>
                <a:gd name="T88" fmla="*/ 294 w 409"/>
                <a:gd name="T89" fmla="*/ 114 h 339"/>
                <a:gd name="T90" fmla="*/ 304 w 409"/>
                <a:gd name="T91" fmla="*/ 123 h 339"/>
                <a:gd name="T92" fmla="*/ 300 w 409"/>
                <a:gd name="T93" fmla="*/ 154 h 339"/>
                <a:gd name="T94" fmla="*/ 318 w 409"/>
                <a:gd name="T95" fmla="*/ 179 h 339"/>
                <a:gd name="T96" fmla="*/ 318 w 409"/>
                <a:gd name="T97" fmla="*/ 206 h 339"/>
                <a:gd name="T98" fmla="*/ 321 w 409"/>
                <a:gd name="T99" fmla="*/ 230 h 339"/>
                <a:gd name="T100" fmla="*/ 334 w 409"/>
                <a:gd name="T101" fmla="*/ 256 h 339"/>
                <a:gd name="T102" fmla="*/ 361 w 409"/>
                <a:gd name="T103" fmla="*/ 273 h 33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09"/>
                <a:gd name="T157" fmla="*/ 0 h 339"/>
                <a:gd name="T158" fmla="*/ 409 w 409"/>
                <a:gd name="T159" fmla="*/ 339 h 33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09" h="339">
                  <a:moveTo>
                    <a:pt x="373" y="273"/>
                  </a:moveTo>
                  <a:lnTo>
                    <a:pt x="374" y="273"/>
                  </a:lnTo>
                  <a:lnTo>
                    <a:pt x="379" y="273"/>
                  </a:lnTo>
                  <a:lnTo>
                    <a:pt x="385" y="274"/>
                  </a:lnTo>
                  <a:lnTo>
                    <a:pt x="391" y="275"/>
                  </a:lnTo>
                  <a:lnTo>
                    <a:pt x="397" y="278"/>
                  </a:lnTo>
                  <a:lnTo>
                    <a:pt x="403" y="280"/>
                  </a:lnTo>
                  <a:lnTo>
                    <a:pt x="408" y="285"/>
                  </a:lnTo>
                  <a:lnTo>
                    <a:pt x="409" y="290"/>
                  </a:lnTo>
                  <a:lnTo>
                    <a:pt x="409" y="301"/>
                  </a:lnTo>
                  <a:lnTo>
                    <a:pt x="409" y="309"/>
                  </a:lnTo>
                  <a:lnTo>
                    <a:pt x="409" y="315"/>
                  </a:lnTo>
                  <a:lnTo>
                    <a:pt x="409" y="321"/>
                  </a:lnTo>
                  <a:lnTo>
                    <a:pt x="406" y="328"/>
                  </a:lnTo>
                  <a:lnTo>
                    <a:pt x="402" y="334"/>
                  </a:lnTo>
                  <a:lnTo>
                    <a:pt x="397" y="338"/>
                  </a:lnTo>
                  <a:lnTo>
                    <a:pt x="395" y="339"/>
                  </a:lnTo>
                  <a:lnTo>
                    <a:pt x="370" y="335"/>
                  </a:lnTo>
                  <a:lnTo>
                    <a:pt x="370" y="334"/>
                  </a:lnTo>
                  <a:lnTo>
                    <a:pt x="367" y="332"/>
                  </a:lnTo>
                  <a:lnTo>
                    <a:pt x="360" y="325"/>
                  </a:lnTo>
                  <a:lnTo>
                    <a:pt x="349" y="315"/>
                  </a:lnTo>
                  <a:lnTo>
                    <a:pt x="336" y="306"/>
                  </a:lnTo>
                  <a:lnTo>
                    <a:pt x="327" y="304"/>
                  </a:lnTo>
                  <a:lnTo>
                    <a:pt x="321" y="303"/>
                  </a:lnTo>
                  <a:lnTo>
                    <a:pt x="318" y="297"/>
                  </a:lnTo>
                  <a:lnTo>
                    <a:pt x="318" y="288"/>
                  </a:lnTo>
                  <a:lnTo>
                    <a:pt x="320" y="280"/>
                  </a:lnTo>
                  <a:lnTo>
                    <a:pt x="319" y="272"/>
                  </a:lnTo>
                  <a:lnTo>
                    <a:pt x="307" y="262"/>
                  </a:lnTo>
                  <a:lnTo>
                    <a:pt x="299" y="256"/>
                  </a:lnTo>
                  <a:lnTo>
                    <a:pt x="295" y="249"/>
                  </a:lnTo>
                  <a:lnTo>
                    <a:pt x="291" y="241"/>
                  </a:lnTo>
                  <a:lnTo>
                    <a:pt x="289" y="234"/>
                  </a:lnTo>
                  <a:lnTo>
                    <a:pt x="285" y="226"/>
                  </a:lnTo>
                  <a:lnTo>
                    <a:pt x="282" y="220"/>
                  </a:lnTo>
                  <a:lnTo>
                    <a:pt x="275" y="214"/>
                  </a:lnTo>
                  <a:lnTo>
                    <a:pt x="265" y="211"/>
                  </a:lnTo>
                  <a:lnTo>
                    <a:pt x="254" y="210"/>
                  </a:lnTo>
                  <a:lnTo>
                    <a:pt x="244" y="209"/>
                  </a:lnTo>
                  <a:lnTo>
                    <a:pt x="236" y="209"/>
                  </a:lnTo>
                  <a:lnTo>
                    <a:pt x="228" y="210"/>
                  </a:lnTo>
                  <a:lnTo>
                    <a:pt x="221" y="210"/>
                  </a:lnTo>
                  <a:lnTo>
                    <a:pt x="214" y="209"/>
                  </a:lnTo>
                  <a:lnTo>
                    <a:pt x="207" y="205"/>
                  </a:lnTo>
                  <a:lnTo>
                    <a:pt x="199" y="200"/>
                  </a:lnTo>
                  <a:lnTo>
                    <a:pt x="186" y="188"/>
                  </a:lnTo>
                  <a:lnTo>
                    <a:pt x="182" y="179"/>
                  </a:lnTo>
                  <a:lnTo>
                    <a:pt x="181" y="172"/>
                  </a:lnTo>
                  <a:lnTo>
                    <a:pt x="181" y="169"/>
                  </a:lnTo>
                  <a:lnTo>
                    <a:pt x="179" y="168"/>
                  </a:lnTo>
                  <a:lnTo>
                    <a:pt x="177" y="166"/>
                  </a:lnTo>
                  <a:lnTo>
                    <a:pt x="174" y="161"/>
                  </a:lnTo>
                  <a:lnTo>
                    <a:pt x="169" y="157"/>
                  </a:lnTo>
                  <a:lnTo>
                    <a:pt x="163" y="151"/>
                  </a:lnTo>
                  <a:lnTo>
                    <a:pt x="158" y="145"/>
                  </a:lnTo>
                  <a:lnTo>
                    <a:pt x="152" y="139"/>
                  </a:lnTo>
                  <a:lnTo>
                    <a:pt x="146" y="134"/>
                  </a:lnTo>
                  <a:lnTo>
                    <a:pt x="139" y="126"/>
                  </a:lnTo>
                  <a:lnTo>
                    <a:pt x="136" y="121"/>
                  </a:lnTo>
                  <a:lnTo>
                    <a:pt x="130" y="114"/>
                  </a:lnTo>
                  <a:lnTo>
                    <a:pt x="116" y="103"/>
                  </a:lnTo>
                  <a:lnTo>
                    <a:pt x="107" y="96"/>
                  </a:lnTo>
                  <a:lnTo>
                    <a:pt x="99" y="90"/>
                  </a:lnTo>
                  <a:lnTo>
                    <a:pt x="93" y="84"/>
                  </a:lnTo>
                  <a:lnTo>
                    <a:pt x="87" y="81"/>
                  </a:lnTo>
                  <a:lnTo>
                    <a:pt x="82" y="77"/>
                  </a:lnTo>
                  <a:lnTo>
                    <a:pt x="76" y="75"/>
                  </a:lnTo>
                  <a:lnTo>
                    <a:pt x="68" y="73"/>
                  </a:lnTo>
                  <a:lnTo>
                    <a:pt x="60" y="71"/>
                  </a:lnTo>
                  <a:lnTo>
                    <a:pt x="48" y="70"/>
                  </a:lnTo>
                  <a:lnTo>
                    <a:pt x="43" y="70"/>
                  </a:lnTo>
                  <a:lnTo>
                    <a:pt x="41" y="70"/>
                  </a:lnTo>
                  <a:lnTo>
                    <a:pt x="35" y="67"/>
                  </a:lnTo>
                  <a:lnTo>
                    <a:pt x="30" y="65"/>
                  </a:lnTo>
                  <a:lnTo>
                    <a:pt x="23" y="65"/>
                  </a:lnTo>
                  <a:lnTo>
                    <a:pt x="17" y="65"/>
                  </a:lnTo>
                  <a:lnTo>
                    <a:pt x="10" y="65"/>
                  </a:lnTo>
                  <a:lnTo>
                    <a:pt x="5" y="66"/>
                  </a:lnTo>
                  <a:lnTo>
                    <a:pt x="1" y="65"/>
                  </a:lnTo>
                  <a:lnTo>
                    <a:pt x="0" y="63"/>
                  </a:lnTo>
                  <a:lnTo>
                    <a:pt x="1" y="60"/>
                  </a:lnTo>
                  <a:lnTo>
                    <a:pt x="7" y="54"/>
                  </a:lnTo>
                  <a:lnTo>
                    <a:pt x="14" y="50"/>
                  </a:lnTo>
                  <a:lnTo>
                    <a:pt x="20" y="47"/>
                  </a:lnTo>
                  <a:lnTo>
                    <a:pt x="29" y="43"/>
                  </a:lnTo>
                  <a:lnTo>
                    <a:pt x="32" y="40"/>
                  </a:lnTo>
                  <a:lnTo>
                    <a:pt x="37" y="38"/>
                  </a:lnTo>
                  <a:lnTo>
                    <a:pt x="40" y="36"/>
                  </a:lnTo>
                  <a:lnTo>
                    <a:pt x="45" y="33"/>
                  </a:lnTo>
                  <a:lnTo>
                    <a:pt x="49" y="31"/>
                  </a:lnTo>
                  <a:lnTo>
                    <a:pt x="54" y="29"/>
                  </a:lnTo>
                  <a:lnTo>
                    <a:pt x="58" y="25"/>
                  </a:lnTo>
                  <a:lnTo>
                    <a:pt x="63" y="22"/>
                  </a:lnTo>
                  <a:lnTo>
                    <a:pt x="69" y="17"/>
                  </a:lnTo>
                  <a:lnTo>
                    <a:pt x="73" y="13"/>
                  </a:lnTo>
                  <a:lnTo>
                    <a:pt x="79" y="8"/>
                  </a:lnTo>
                  <a:lnTo>
                    <a:pt x="85" y="5"/>
                  </a:lnTo>
                  <a:lnTo>
                    <a:pt x="90" y="1"/>
                  </a:lnTo>
                  <a:lnTo>
                    <a:pt x="95" y="0"/>
                  </a:lnTo>
                  <a:lnTo>
                    <a:pt x="100" y="1"/>
                  </a:lnTo>
                  <a:lnTo>
                    <a:pt x="106" y="5"/>
                  </a:lnTo>
                  <a:lnTo>
                    <a:pt x="115" y="15"/>
                  </a:lnTo>
                  <a:lnTo>
                    <a:pt x="122" y="27"/>
                  </a:lnTo>
                  <a:lnTo>
                    <a:pt x="126" y="37"/>
                  </a:lnTo>
                  <a:lnTo>
                    <a:pt x="129" y="46"/>
                  </a:lnTo>
                  <a:lnTo>
                    <a:pt x="131" y="51"/>
                  </a:lnTo>
                  <a:lnTo>
                    <a:pt x="135" y="55"/>
                  </a:lnTo>
                  <a:lnTo>
                    <a:pt x="139" y="61"/>
                  </a:lnTo>
                  <a:lnTo>
                    <a:pt x="145" y="67"/>
                  </a:lnTo>
                  <a:lnTo>
                    <a:pt x="152" y="74"/>
                  </a:lnTo>
                  <a:lnTo>
                    <a:pt x="159" y="80"/>
                  </a:lnTo>
                  <a:lnTo>
                    <a:pt x="166" y="84"/>
                  </a:lnTo>
                  <a:lnTo>
                    <a:pt x="174" y="89"/>
                  </a:lnTo>
                  <a:lnTo>
                    <a:pt x="181" y="92"/>
                  </a:lnTo>
                  <a:lnTo>
                    <a:pt x="188" y="93"/>
                  </a:lnTo>
                  <a:lnTo>
                    <a:pt x="192" y="95"/>
                  </a:lnTo>
                  <a:lnTo>
                    <a:pt x="196" y="95"/>
                  </a:lnTo>
                  <a:lnTo>
                    <a:pt x="199" y="95"/>
                  </a:lnTo>
                  <a:lnTo>
                    <a:pt x="202" y="96"/>
                  </a:lnTo>
                  <a:lnTo>
                    <a:pt x="206" y="98"/>
                  </a:lnTo>
                  <a:lnTo>
                    <a:pt x="209" y="103"/>
                  </a:lnTo>
                  <a:lnTo>
                    <a:pt x="214" y="107"/>
                  </a:lnTo>
                  <a:lnTo>
                    <a:pt x="217" y="111"/>
                  </a:lnTo>
                  <a:lnTo>
                    <a:pt x="223" y="113"/>
                  </a:lnTo>
                  <a:lnTo>
                    <a:pt x="228" y="114"/>
                  </a:lnTo>
                  <a:lnTo>
                    <a:pt x="234" y="115"/>
                  </a:lnTo>
                  <a:lnTo>
                    <a:pt x="241" y="116"/>
                  </a:lnTo>
                  <a:lnTo>
                    <a:pt x="247" y="116"/>
                  </a:lnTo>
                  <a:lnTo>
                    <a:pt x="254" y="116"/>
                  </a:lnTo>
                  <a:lnTo>
                    <a:pt x="262" y="116"/>
                  </a:lnTo>
                  <a:lnTo>
                    <a:pt x="270" y="115"/>
                  </a:lnTo>
                  <a:lnTo>
                    <a:pt x="280" y="114"/>
                  </a:lnTo>
                  <a:lnTo>
                    <a:pt x="287" y="113"/>
                  </a:lnTo>
                  <a:lnTo>
                    <a:pt x="294" y="114"/>
                  </a:lnTo>
                  <a:lnTo>
                    <a:pt x="299" y="115"/>
                  </a:lnTo>
                  <a:lnTo>
                    <a:pt x="303" y="118"/>
                  </a:lnTo>
                  <a:lnTo>
                    <a:pt x="304" y="123"/>
                  </a:lnTo>
                  <a:lnTo>
                    <a:pt x="303" y="136"/>
                  </a:lnTo>
                  <a:lnTo>
                    <a:pt x="300" y="146"/>
                  </a:lnTo>
                  <a:lnTo>
                    <a:pt x="300" y="154"/>
                  </a:lnTo>
                  <a:lnTo>
                    <a:pt x="307" y="161"/>
                  </a:lnTo>
                  <a:lnTo>
                    <a:pt x="314" y="169"/>
                  </a:lnTo>
                  <a:lnTo>
                    <a:pt x="318" y="179"/>
                  </a:lnTo>
                  <a:lnTo>
                    <a:pt x="318" y="188"/>
                  </a:lnTo>
                  <a:lnTo>
                    <a:pt x="318" y="197"/>
                  </a:lnTo>
                  <a:lnTo>
                    <a:pt x="318" y="206"/>
                  </a:lnTo>
                  <a:lnTo>
                    <a:pt x="320" y="218"/>
                  </a:lnTo>
                  <a:lnTo>
                    <a:pt x="321" y="227"/>
                  </a:lnTo>
                  <a:lnTo>
                    <a:pt x="321" y="230"/>
                  </a:lnTo>
                  <a:lnTo>
                    <a:pt x="323" y="234"/>
                  </a:lnTo>
                  <a:lnTo>
                    <a:pt x="328" y="244"/>
                  </a:lnTo>
                  <a:lnTo>
                    <a:pt x="334" y="256"/>
                  </a:lnTo>
                  <a:lnTo>
                    <a:pt x="342" y="266"/>
                  </a:lnTo>
                  <a:lnTo>
                    <a:pt x="351" y="272"/>
                  </a:lnTo>
                  <a:lnTo>
                    <a:pt x="361" y="273"/>
                  </a:lnTo>
                  <a:lnTo>
                    <a:pt x="370" y="273"/>
                  </a:lnTo>
                  <a:lnTo>
                    <a:pt x="373" y="273"/>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7" name="Freeform 11"/>
            <p:cNvSpPr>
              <a:spLocks/>
            </p:cNvSpPr>
            <p:nvPr/>
          </p:nvSpPr>
          <p:spPr bwMode="gray">
            <a:xfrm>
              <a:off x="3964" y="2327"/>
              <a:ext cx="651" cy="659"/>
            </a:xfrm>
            <a:custGeom>
              <a:avLst/>
              <a:gdLst>
                <a:gd name="T0" fmla="*/ 151 w 595"/>
                <a:gd name="T1" fmla="*/ 34 h 601"/>
                <a:gd name="T2" fmla="*/ 119 w 595"/>
                <a:gd name="T3" fmla="*/ 48 h 601"/>
                <a:gd name="T4" fmla="*/ 81 w 595"/>
                <a:gd name="T5" fmla="*/ 42 h 601"/>
                <a:gd name="T6" fmla="*/ 61 w 595"/>
                <a:gd name="T7" fmla="*/ 70 h 601"/>
                <a:gd name="T8" fmla="*/ 27 w 595"/>
                <a:gd name="T9" fmla="*/ 110 h 601"/>
                <a:gd name="T10" fmla="*/ 6 w 595"/>
                <a:gd name="T11" fmla="*/ 145 h 601"/>
                <a:gd name="T12" fmla="*/ 35 w 595"/>
                <a:gd name="T13" fmla="*/ 166 h 601"/>
                <a:gd name="T14" fmla="*/ 60 w 595"/>
                <a:gd name="T15" fmla="*/ 202 h 601"/>
                <a:gd name="T16" fmla="*/ 96 w 595"/>
                <a:gd name="T17" fmla="*/ 232 h 601"/>
                <a:gd name="T18" fmla="*/ 126 w 595"/>
                <a:gd name="T19" fmla="*/ 272 h 601"/>
                <a:gd name="T20" fmla="*/ 103 w 595"/>
                <a:gd name="T21" fmla="*/ 348 h 601"/>
                <a:gd name="T22" fmla="*/ 134 w 595"/>
                <a:gd name="T23" fmla="*/ 427 h 601"/>
                <a:gd name="T24" fmla="*/ 152 w 595"/>
                <a:gd name="T25" fmla="*/ 471 h 601"/>
                <a:gd name="T26" fmla="*/ 191 w 595"/>
                <a:gd name="T27" fmla="*/ 488 h 601"/>
                <a:gd name="T28" fmla="*/ 198 w 595"/>
                <a:gd name="T29" fmla="*/ 431 h 601"/>
                <a:gd name="T30" fmla="*/ 241 w 595"/>
                <a:gd name="T31" fmla="*/ 413 h 601"/>
                <a:gd name="T32" fmla="*/ 267 w 595"/>
                <a:gd name="T33" fmla="*/ 456 h 601"/>
                <a:gd name="T34" fmla="*/ 289 w 595"/>
                <a:gd name="T35" fmla="*/ 485 h 601"/>
                <a:gd name="T36" fmla="*/ 296 w 595"/>
                <a:gd name="T37" fmla="*/ 546 h 601"/>
                <a:gd name="T38" fmla="*/ 330 w 595"/>
                <a:gd name="T39" fmla="*/ 596 h 601"/>
                <a:gd name="T40" fmla="*/ 327 w 595"/>
                <a:gd name="T41" fmla="*/ 534 h 601"/>
                <a:gd name="T42" fmla="*/ 353 w 595"/>
                <a:gd name="T43" fmla="*/ 485 h 601"/>
                <a:gd name="T44" fmla="*/ 393 w 595"/>
                <a:gd name="T45" fmla="*/ 479 h 601"/>
                <a:gd name="T46" fmla="*/ 412 w 595"/>
                <a:gd name="T47" fmla="*/ 510 h 601"/>
                <a:gd name="T48" fmla="*/ 446 w 595"/>
                <a:gd name="T49" fmla="*/ 562 h 601"/>
                <a:gd name="T50" fmla="*/ 482 w 595"/>
                <a:gd name="T51" fmla="*/ 590 h 601"/>
                <a:gd name="T52" fmla="*/ 513 w 595"/>
                <a:gd name="T53" fmla="*/ 595 h 601"/>
                <a:gd name="T54" fmla="*/ 491 w 595"/>
                <a:gd name="T55" fmla="*/ 562 h 601"/>
                <a:gd name="T56" fmla="*/ 467 w 595"/>
                <a:gd name="T57" fmla="*/ 534 h 601"/>
                <a:gd name="T58" fmla="*/ 471 w 595"/>
                <a:gd name="T59" fmla="*/ 499 h 601"/>
                <a:gd name="T60" fmla="*/ 467 w 595"/>
                <a:gd name="T61" fmla="*/ 447 h 601"/>
                <a:gd name="T62" fmla="*/ 459 w 595"/>
                <a:gd name="T63" fmla="*/ 395 h 601"/>
                <a:gd name="T64" fmla="*/ 438 w 595"/>
                <a:gd name="T65" fmla="*/ 352 h 601"/>
                <a:gd name="T66" fmla="*/ 415 w 595"/>
                <a:gd name="T67" fmla="*/ 313 h 601"/>
                <a:gd name="T68" fmla="*/ 388 w 595"/>
                <a:gd name="T69" fmla="*/ 247 h 601"/>
                <a:gd name="T70" fmla="*/ 412 w 595"/>
                <a:gd name="T71" fmla="*/ 249 h 601"/>
                <a:gd name="T72" fmla="*/ 437 w 595"/>
                <a:gd name="T73" fmla="*/ 255 h 601"/>
                <a:gd name="T74" fmla="*/ 461 w 595"/>
                <a:gd name="T75" fmla="*/ 269 h 601"/>
                <a:gd name="T76" fmla="*/ 490 w 595"/>
                <a:gd name="T77" fmla="*/ 303 h 601"/>
                <a:gd name="T78" fmla="*/ 507 w 595"/>
                <a:gd name="T79" fmla="*/ 314 h 601"/>
                <a:gd name="T80" fmla="*/ 549 w 595"/>
                <a:gd name="T81" fmla="*/ 296 h 601"/>
                <a:gd name="T82" fmla="*/ 592 w 595"/>
                <a:gd name="T83" fmla="*/ 285 h 601"/>
                <a:gd name="T84" fmla="*/ 594 w 595"/>
                <a:gd name="T85" fmla="*/ 267 h 601"/>
                <a:gd name="T86" fmla="*/ 550 w 595"/>
                <a:gd name="T87" fmla="*/ 253 h 601"/>
                <a:gd name="T88" fmla="*/ 522 w 595"/>
                <a:gd name="T89" fmla="*/ 251 h 601"/>
                <a:gd name="T90" fmla="*/ 503 w 595"/>
                <a:gd name="T91" fmla="*/ 201 h 601"/>
                <a:gd name="T92" fmla="*/ 483 w 595"/>
                <a:gd name="T93" fmla="*/ 162 h 601"/>
                <a:gd name="T94" fmla="*/ 462 w 595"/>
                <a:gd name="T95" fmla="*/ 133 h 601"/>
                <a:gd name="T96" fmla="*/ 425 w 595"/>
                <a:gd name="T97" fmla="*/ 125 h 601"/>
                <a:gd name="T98" fmla="*/ 391 w 595"/>
                <a:gd name="T99" fmla="*/ 97 h 601"/>
                <a:gd name="T100" fmla="*/ 352 w 595"/>
                <a:gd name="T101" fmla="*/ 72 h 601"/>
                <a:gd name="T102" fmla="*/ 326 w 595"/>
                <a:gd name="T103" fmla="*/ 72 h 601"/>
                <a:gd name="T104" fmla="*/ 293 w 595"/>
                <a:gd name="T105" fmla="*/ 44 h 601"/>
                <a:gd name="T106" fmla="*/ 255 w 595"/>
                <a:gd name="T107" fmla="*/ 40 h 601"/>
                <a:gd name="T108" fmla="*/ 233 w 595"/>
                <a:gd name="T109" fmla="*/ 16 h 601"/>
                <a:gd name="T110" fmla="*/ 209 w 595"/>
                <a:gd name="T111" fmla="*/ 3 h 60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95"/>
                <a:gd name="T169" fmla="*/ 0 h 601"/>
                <a:gd name="T170" fmla="*/ 595 w 595"/>
                <a:gd name="T171" fmla="*/ 601 h 60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95" h="601">
                  <a:moveTo>
                    <a:pt x="198" y="0"/>
                  </a:moveTo>
                  <a:lnTo>
                    <a:pt x="167" y="6"/>
                  </a:lnTo>
                  <a:lnTo>
                    <a:pt x="165" y="10"/>
                  </a:lnTo>
                  <a:lnTo>
                    <a:pt x="159" y="22"/>
                  </a:lnTo>
                  <a:lnTo>
                    <a:pt x="151" y="34"/>
                  </a:lnTo>
                  <a:lnTo>
                    <a:pt x="143" y="44"/>
                  </a:lnTo>
                  <a:lnTo>
                    <a:pt x="138" y="46"/>
                  </a:lnTo>
                  <a:lnTo>
                    <a:pt x="133" y="48"/>
                  </a:lnTo>
                  <a:lnTo>
                    <a:pt x="126" y="48"/>
                  </a:lnTo>
                  <a:lnTo>
                    <a:pt x="119" y="48"/>
                  </a:lnTo>
                  <a:lnTo>
                    <a:pt x="112" y="48"/>
                  </a:lnTo>
                  <a:lnTo>
                    <a:pt x="104" y="47"/>
                  </a:lnTo>
                  <a:lnTo>
                    <a:pt x="97" y="45"/>
                  </a:lnTo>
                  <a:lnTo>
                    <a:pt x="90" y="44"/>
                  </a:lnTo>
                  <a:lnTo>
                    <a:pt x="81" y="42"/>
                  </a:lnTo>
                  <a:lnTo>
                    <a:pt x="76" y="46"/>
                  </a:lnTo>
                  <a:lnTo>
                    <a:pt x="73" y="52"/>
                  </a:lnTo>
                  <a:lnTo>
                    <a:pt x="69" y="59"/>
                  </a:lnTo>
                  <a:lnTo>
                    <a:pt x="66" y="63"/>
                  </a:lnTo>
                  <a:lnTo>
                    <a:pt x="61" y="70"/>
                  </a:lnTo>
                  <a:lnTo>
                    <a:pt x="55" y="79"/>
                  </a:lnTo>
                  <a:lnTo>
                    <a:pt x="49" y="87"/>
                  </a:lnTo>
                  <a:lnTo>
                    <a:pt x="42" y="97"/>
                  </a:lnTo>
                  <a:lnTo>
                    <a:pt x="35" y="103"/>
                  </a:lnTo>
                  <a:lnTo>
                    <a:pt x="27" y="110"/>
                  </a:lnTo>
                  <a:lnTo>
                    <a:pt x="20" y="114"/>
                  </a:lnTo>
                  <a:lnTo>
                    <a:pt x="8" y="121"/>
                  </a:lnTo>
                  <a:lnTo>
                    <a:pt x="1" y="129"/>
                  </a:lnTo>
                  <a:lnTo>
                    <a:pt x="0" y="138"/>
                  </a:lnTo>
                  <a:lnTo>
                    <a:pt x="6" y="145"/>
                  </a:lnTo>
                  <a:lnTo>
                    <a:pt x="12" y="148"/>
                  </a:lnTo>
                  <a:lnTo>
                    <a:pt x="17" y="152"/>
                  </a:lnTo>
                  <a:lnTo>
                    <a:pt x="23" y="156"/>
                  </a:lnTo>
                  <a:lnTo>
                    <a:pt x="29" y="161"/>
                  </a:lnTo>
                  <a:lnTo>
                    <a:pt x="35" y="166"/>
                  </a:lnTo>
                  <a:lnTo>
                    <a:pt x="39" y="170"/>
                  </a:lnTo>
                  <a:lnTo>
                    <a:pt x="44" y="176"/>
                  </a:lnTo>
                  <a:lnTo>
                    <a:pt x="49" y="181"/>
                  </a:lnTo>
                  <a:lnTo>
                    <a:pt x="54" y="191"/>
                  </a:lnTo>
                  <a:lnTo>
                    <a:pt x="60" y="202"/>
                  </a:lnTo>
                  <a:lnTo>
                    <a:pt x="66" y="212"/>
                  </a:lnTo>
                  <a:lnTo>
                    <a:pt x="76" y="219"/>
                  </a:lnTo>
                  <a:lnTo>
                    <a:pt x="83" y="222"/>
                  </a:lnTo>
                  <a:lnTo>
                    <a:pt x="89" y="227"/>
                  </a:lnTo>
                  <a:lnTo>
                    <a:pt x="96" y="232"/>
                  </a:lnTo>
                  <a:lnTo>
                    <a:pt x="102" y="239"/>
                  </a:lnTo>
                  <a:lnTo>
                    <a:pt x="108" y="247"/>
                  </a:lnTo>
                  <a:lnTo>
                    <a:pt x="114" y="255"/>
                  </a:lnTo>
                  <a:lnTo>
                    <a:pt x="120" y="264"/>
                  </a:lnTo>
                  <a:lnTo>
                    <a:pt x="126" y="272"/>
                  </a:lnTo>
                  <a:lnTo>
                    <a:pt x="134" y="288"/>
                  </a:lnTo>
                  <a:lnTo>
                    <a:pt x="137" y="305"/>
                  </a:lnTo>
                  <a:lnTo>
                    <a:pt x="133" y="321"/>
                  </a:lnTo>
                  <a:lnTo>
                    <a:pt x="118" y="334"/>
                  </a:lnTo>
                  <a:lnTo>
                    <a:pt x="103" y="348"/>
                  </a:lnTo>
                  <a:lnTo>
                    <a:pt x="99" y="365"/>
                  </a:lnTo>
                  <a:lnTo>
                    <a:pt x="104" y="383"/>
                  </a:lnTo>
                  <a:lnTo>
                    <a:pt x="114" y="401"/>
                  </a:lnTo>
                  <a:lnTo>
                    <a:pt x="126" y="414"/>
                  </a:lnTo>
                  <a:lnTo>
                    <a:pt x="134" y="427"/>
                  </a:lnTo>
                  <a:lnTo>
                    <a:pt x="137" y="439"/>
                  </a:lnTo>
                  <a:lnTo>
                    <a:pt x="136" y="450"/>
                  </a:lnTo>
                  <a:lnTo>
                    <a:pt x="137" y="459"/>
                  </a:lnTo>
                  <a:lnTo>
                    <a:pt x="143" y="467"/>
                  </a:lnTo>
                  <a:lnTo>
                    <a:pt x="152" y="471"/>
                  </a:lnTo>
                  <a:lnTo>
                    <a:pt x="160" y="471"/>
                  </a:lnTo>
                  <a:lnTo>
                    <a:pt x="167" y="474"/>
                  </a:lnTo>
                  <a:lnTo>
                    <a:pt x="174" y="485"/>
                  </a:lnTo>
                  <a:lnTo>
                    <a:pt x="182" y="493"/>
                  </a:lnTo>
                  <a:lnTo>
                    <a:pt x="191" y="488"/>
                  </a:lnTo>
                  <a:lnTo>
                    <a:pt x="198" y="475"/>
                  </a:lnTo>
                  <a:lnTo>
                    <a:pt x="201" y="464"/>
                  </a:lnTo>
                  <a:lnTo>
                    <a:pt x="200" y="454"/>
                  </a:lnTo>
                  <a:lnTo>
                    <a:pt x="198" y="442"/>
                  </a:lnTo>
                  <a:lnTo>
                    <a:pt x="198" y="431"/>
                  </a:lnTo>
                  <a:lnTo>
                    <a:pt x="200" y="418"/>
                  </a:lnTo>
                  <a:lnTo>
                    <a:pt x="205" y="410"/>
                  </a:lnTo>
                  <a:lnTo>
                    <a:pt x="219" y="408"/>
                  </a:lnTo>
                  <a:lnTo>
                    <a:pt x="233" y="410"/>
                  </a:lnTo>
                  <a:lnTo>
                    <a:pt x="241" y="413"/>
                  </a:lnTo>
                  <a:lnTo>
                    <a:pt x="246" y="421"/>
                  </a:lnTo>
                  <a:lnTo>
                    <a:pt x="251" y="435"/>
                  </a:lnTo>
                  <a:lnTo>
                    <a:pt x="256" y="443"/>
                  </a:lnTo>
                  <a:lnTo>
                    <a:pt x="262" y="450"/>
                  </a:lnTo>
                  <a:lnTo>
                    <a:pt x="267" y="456"/>
                  </a:lnTo>
                  <a:lnTo>
                    <a:pt x="274" y="461"/>
                  </a:lnTo>
                  <a:lnTo>
                    <a:pt x="280" y="465"/>
                  </a:lnTo>
                  <a:lnTo>
                    <a:pt x="285" y="471"/>
                  </a:lnTo>
                  <a:lnTo>
                    <a:pt x="288" y="477"/>
                  </a:lnTo>
                  <a:lnTo>
                    <a:pt x="289" y="485"/>
                  </a:lnTo>
                  <a:lnTo>
                    <a:pt x="292" y="500"/>
                  </a:lnTo>
                  <a:lnTo>
                    <a:pt x="296" y="511"/>
                  </a:lnTo>
                  <a:lnTo>
                    <a:pt x="300" y="522"/>
                  </a:lnTo>
                  <a:lnTo>
                    <a:pt x="300" y="533"/>
                  </a:lnTo>
                  <a:lnTo>
                    <a:pt x="296" y="546"/>
                  </a:lnTo>
                  <a:lnTo>
                    <a:pt x="293" y="556"/>
                  </a:lnTo>
                  <a:lnTo>
                    <a:pt x="296" y="568"/>
                  </a:lnTo>
                  <a:lnTo>
                    <a:pt x="310" y="583"/>
                  </a:lnTo>
                  <a:lnTo>
                    <a:pt x="325" y="595"/>
                  </a:lnTo>
                  <a:lnTo>
                    <a:pt x="330" y="596"/>
                  </a:lnTo>
                  <a:lnTo>
                    <a:pt x="330" y="588"/>
                  </a:lnTo>
                  <a:lnTo>
                    <a:pt x="329" y="572"/>
                  </a:lnTo>
                  <a:lnTo>
                    <a:pt x="327" y="554"/>
                  </a:lnTo>
                  <a:lnTo>
                    <a:pt x="326" y="542"/>
                  </a:lnTo>
                  <a:lnTo>
                    <a:pt x="327" y="534"/>
                  </a:lnTo>
                  <a:lnTo>
                    <a:pt x="332" y="526"/>
                  </a:lnTo>
                  <a:lnTo>
                    <a:pt x="337" y="516"/>
                  </a:lnTo>
                  <a:lnTo>
                    <a:pt x="338" y="503"/>
                  </a:lnTo>
                  <a:lnTo>
                    <a:pt x="341" y="492"/>
                  </a:lnTo>
                  <a:lnTo>
                    <a:pt x="353" y="485"/>
                  </a:lnTo>
                  <a:lnTo>
                    <a:pt x="362" y="484"/>
                  </a:lnTo>
                  <a:lnTo>
                    <a:pt x="370" y="481"/>
                  </a:lnTo>
                  <a:lnTo>
                    <a:pt x="379" y="479"/>
                  </a:lnTo>
                  <a:lnTo>
                    <a:pt x="386" y="478"/>
                  </a:lnTo>
                  <a:lnTo>
                    <a:pt x="393" y="479"/>
                  </a:lnTo>
                  <a:lnTo>
                    <a:pt x="399" y="481"/>
                  </a:lnTo>
                  <a:lnTo>
                    <a:pt x="402" y="487"/>
                  </a:lnTo>
                  <a:lnTo>
                    <a:pt x="405" y="495"/>
                  </a:lnTo>
                  <a:lnTo>
                    <a:pt x="407" y="508"/>
                  </a:lnTo>
                  <a:lnTo>
                    <a:pt x="412" y="510"/>
                  </a:lnTo>
                  <a:lnTo>
                    <a:pt x="418" y="512"/>
                  </a:lnTo>
                  <a:lnTo>
                    <a:pt x="430" y="523"/>
                  </a:lnTo>
                  <a:lnTo>
                    <a:pt x="439" y="540"/>
                  </a:lnTo>
                  <a:lnTo>
                    <a:pt x="443" y="553"/>
                  </a:lnTo>
                  <a:lnTo>
                    <a:pt x="446" y="562"/>
                  </a:lnTo>
                  <a:lnTo>
                    <a:pt x="454" y="569"/>
                  </a:lnTo>
                  <a:lnTo>
                    <a:pt x="463" y="571"/>
                  </a:lnTo>
                  <a:lnTo>
                    <a:pt x="467" y="572"/>
                  </a:lnTo>
                  <a:lnTo>
                    <a:pt x="471" y="577"/>
                  </a:lnTo>
                  <a:lnTo>
                    <a:pt x="482" y="590"/>
                  </a:lnTo>
                  <a:lnTo>
                    <a:pt x="490" y="596"/>
                  </a:lnTo>
                  <a:lnTo>
                    <a:pt x="498" y="601"/>
                  </a:lnTo>
                  <a:lnTo>
                    <a:pt x="505" y="601"/>
                  </a:lnTo>
                  <a:lnTo>
                    <a:pt x="509" y="600"/>
                  </a:lnTo>
                  <a:lnTo>
                    <a:pt x="513" y="595"/>
                  </a:lnTo>
                  <a:lnTo>
                    <a:pt x="514" y="590"/>
                  </a:lnTo>
                  <a:lnTo>
                    <a:pt x="512" y="584"/>
                  </a:lnTo>
                  <a:lnTo>
                    <a:pt x="506" y="576"/>
                  </a:lnTo>
                  <a:lnTo>
                    <a:pt x="498" y="569"/>
                  </a:lnTo>
                  <a:lnTo>
                    <a:pt x="491" y="562"/>
                  </a:lnTo>
                  <a:lnTo>
                    <a:pt x="484" y="556"/>
                  </a:lnTo>
                  <a:lnTo>
                    <a:pt x="478" y="552"/>
                  </a:lnTo>
                  <a:lnTo>
                    <a:pt x="474" y="546"/>
                  </a:lnTo>
                  <a:lnTo>
                    <a:pt x="469" y="540"/>
                  </a:lnTo>
                  <a:lnTo>
                    <a:pt x="467" y="534"/>
                  </a:lnTo>
                  <a:lnTo>
                    <a:pt x="465" y="526"/>
                  </a:lnTo>
                  <a:lnTo>
                    <a:pt x="462" y="514"/>
                  </a:lnTo>
                  <a:lnTo>
                    <a:pt x="461" y="505"/>
                  </a:lnTo>
                  <a:lnTo>
                    <a:pt x="465" y="501"/>
                  </a:lnTo>
                  <a:lnTo>
                    <a:pt x="471" y="499"/>
                  </a:lnTo>
                  <a:lnTo>
                    <a:pt x="478" y="493"/>
                  </a:lnTo>
                  <a:lnTo>
                    <a:pt x="481" y="482"/>
                  </a:lnTo>
                  <a:lnTo>
                    <a:pt x="477" y="471"/>
                  </a:lnTo>
                  <a:lnTo>
                    <a:pt x="471" y="457"/>
                  </a:lnTo>
                  <a:lnTo>
                    <a:pt x="467" y="447"/>
                  </a:lnTo>
                  <a:lnTo>
                    <a:pt x="467" y="440"/>
                  </a:lnTo>
                  <a:lnTo>
                    <a:pt x="466" y="431"/>
                  </a:lnTo>
                  <a:lnTo>
                    <a:pt x="461" y="411"/>
                  </a:lnTo>
                  <a:lnTo>
                    <a:pt x="458" y="396"/>
                  </a:lnTo>
                  <a:lnTo>
                    <a:pt x="459" y="395"/>
                  </a:lnTo>
                  <a:lnTo>
                    <a:pt x="458" y="393"/>
                  </a:lnTo>
                  <a:lnTo>
                    <a:pt x="451" y="376"/>
                  </a:lnTo>
                  <a:lnTo>
                    <a:pt x="445" y="365"/>
                  </a:lnTo>
                  <a:lnTo>
                    <a:pt x="441" y="357"/>
                  </a:lnTo>
                  <a:lnTo>
                    <a:pt x="438" y="352"/>
                  </a:lnTo>
                  <a:lnTo>
                    <a:pt x="435" y="349"/>
                  </a:lnTo>
                  <a:lnTo>
                    <a:pt x="431" y="344"/>
                  </a:lnTo>
                  <a:lnTo>
                    <a:pt x="428" y="338"/>
                  </a:lnTo>
                  <a:lnTo>
                    <a:pt x="422" y="328"/>
                  </a:lnTo>
                  <a:lnTo>
                    <a:pt x="415" y="313"/>
                  </a:lnTo>
                  <a:lnTo>
                    <a:pt x="407" y="296"/>
                  </a:lnTo>
                  <a:lnTo>
                    <a:pt x="401" y="280"/>
                  </a:lnTo>
                  <a:lnTo>
                    <a:pt x="395" y="267"/>
                  </a:lnTo>
                  <a:lnTo>
                    <a:pt x="391" y="255"/>
                  </a:lnTo>
                  <a:lnTo>
                    <a:pt x="388" y="247"/>
                  </a:lnTo>
                  <a:lnTo>
                    <a:pt x="388" y="243"/>
                  </a:lnTo>
                  <a:lnTo>
                    <a:pt x="392" y="241"/>
                  </a:lnTo>
                  <a:lnTo>
                    <a:pt x="398" y="243"/>
                  </a:lnTo>
                  <a:lnTo>
                    <a:pt x="405" y="246"/>
                  </a:lnTo>
                  <a:lnTo>
                    <a:pt x="412" y="249"/>
                  </a:lnTo>
                  <a:lnTo>
                    <a:pt x="417" y="251"/>
                  </a:lnTo>
                  <a:lnTo>
                    <a:pt x="423" y="252"/>
                  </a:lnTo>
                  <a:lnTo>
                    <a:pt x="428" y="253"/>
                  </a:lnTo>
                  <a:lnTo>
                    <a:pt x="432" y="254"/>
                  </a:lnTo>
                  <a:lnTo>
                    <a:pt x="437" y="255"/>
                  </a:lnTo>
                  <a:lnTo>
                    <a:pt x="440" y="258"/>
                  </a:lnTo>
                  <a:lnTo>
                    <a:pt x="445" y="260"/>
                  </a:lnTo>
                  <a:lnTo>
                    <a:pt x="450" y="264"/>
                  </a:lnTo>
                  <a:lnTo>
                    <a:pt x="455" y="266"/>
                  </a:lnTo>
                  <a:lnTo>
                    <a:pt x="461" y="269"/>
                  </a:lnTo>
                  <a:lnTo>
                    <a:pt x="467" y="273"/>
                  </a:lnTo>
                  <a:lnTo>
                    <a:pt x="473" y="277"/>
                  </a:lnTo>
                  <a:lnTo>
                    <a:pt x="477" y="283"/>
                  </a:lnTo>
                  <a:lnTo>
                    <a:pt x="482" y="289"/>
                  </a:lnTo>
                  <a:lnTo>
                    <a:pt x="490" y="303"/>
                  </a:lnTo>
                  <a:lnTo>
                    <a:pt x="496" y="318"/>
                  </a:lnTo>
                  <a:lnTo>
                    <a:pt x="500" y="329"/>
                  </a:lnTo>
                  <a:lnTo>
                    <a:pt x="503" y="334"/>
                  </a:lnTo>
                  <a:lnTo>
                    <a:pt x="504" y="328"/>
                  </a:lnTo>
                  <a:lnTo>
                    <a:pt x="507" y="314"/>
                  </a:lnTo>
                  <a:lnTo>
                    <a:pt x="513" y="302"/>
                  </a:lnTo>
                  <a:lnTo>
                    <a:pt x="521" y="296"/>
                  </a:lnTo>
                  <a:lnTo>
                    <a:pt x="527" y="296"/>
                  </a:lnTo>
                  <a:lnTo>
                    <a:pt x="537" y="296"/>
                  </a:lnTo>
                  <a:lnTo>
                    <a:pt x="549" y="296"/>
                  </a:lnTo>
                  <a:lnTo>
                    <a:pt x="562" y="296"/>
                  </a:lnTo>
                  <a:lnTo>
                    <a:pt x="574" y="295"/>
                  </a:lnTo>
                  <a:lnTo>
                    <a:pt x="584" y="292"/>
                  </a:lnTo>
                  <a:lnTo>
                    <a:pt x="591" y="290"/>
                  </a:lnTo>
                  <a:lnTo>
                    <a:pt x="592" y="285"/>
                  </a:lnTo>
                  <a:lnTo>
                    <a:pt x="592" y="281"/>
                  </a:lnTo>
                  <a:lnTo>
                    <a:pt x="594" y="276"/>
                  </a:lnTo>
                  <a:lnTo>
                    <a:pt x="595" y="274"/>
                  </a:lnTo>
                  <a:lnTo>
                    <a:pt x="595" y="270"/>
                  </a:lnTo>
                  <a:lnTo>
                    <a:pt x="594" y="267"/>
                  </a:lnTo>
                  <a:lnTo>
                    <a:pt x="590" y="265"/>
                  </a:lnTo>
                  <a:lnTo>
                    <a:pt x="583" y="261"/>
                  </a:lnTo>
                  <a:lnTo>
                    <a:pt x="572" y="258"/>
                  </a:lnTo>
                  <a:lnTo>
                    <a:pt x="559" y="254"/>
                  </a:lnTo>
                  <a:lnTo>
                    <a:pt x="550" y="253"/>
                  </a:lnTo>
                  <a:lnTo>
                    <a:pt x="543" y="253"/>
                  </a:lnTo>
                  <a:lnTo>
                    <a:pt x="537" y="253"/>
                  </a:lnTo>
                  <a:lnTo>
                    <a:pt x="532" y="253"/>
                  </a:lnTo>
                  <a:lnTo>
                    <a:pt x="528" y="253"/>
                  </a:lnTo>
                  <a:lnTo>
                    <a:pt x="522" y="251"/>
                  </a:lnTo>
                  <a:lnTo>
                    <a:pt x="516" y="246"/>
                  </a:lnTo>
                  <a:lnTo>
                    <a:pt x="508" y="236"/>
                  </a:lnTo>
                  <a:lnTo>
                    <a:pt x="507" y="223"/>
                  </a:lnTo>
                  <a:lnTo>
                    <a:pt x="507" y="212"/>
                  </a:lnTo>
                  <a:lnTo>
                    <a:pt x="503" y="201"/>
                  </a:lnTo>
                  <a:lnTo>
                    <a:pt x="498" y="191"/>
                  </a:lnTo>
                  <a:lnTo>
                    <a:pt x="499" y="179"/>
                  </a:lnTo>
                  <a:lnTo>
                    <a:pt x="498" y="170"/>
                  </a:lnTo>
                  <a:lnTo>
                    <a:pt x="492" y="163"/>
                  </a:lnTo>
                  <a:lnTo>
                    <a:pt x="483" y="162"/>
                  </a:lnTo>
                  <a:lnTo>
                    <a:pt x="476" y="164"/>
                  </a:lnTo>
                  <a:lnTo>
                    <a:pt x="471" y="166"/>
                  </a:lnTo>
                  <a:lnTo>
                    <a:pt x="468" y="160"/>
                  </a:lnTo>
                  <a:lnTo>
                    <a:pt x="466" y="147"/>
                  </a:lnTo>
                  <a:lnTo>
                    <a:pt x="462" y="133"/>
                  </a:lnTo>
                  <a:lnTo>
                    <a:pt x="455" y="124"/>
                  </a:lnTo>
                  <a:lnTo>
                    <a:pt x="444" y="124"/>
                  </a:lnTo>
                  <a:lnTo>
                    <a:pt x="433" y="128"/>
                  </a:lnTo>
                  <a:lnTo>
                    <a:pt x="429" y="128"/>
                  </a:lnTo>
                  <a:lnTo>
                    <a:pt x="425" y="125"/>
                  </a:lnTo>
                  <a:lnTo>
                    <a:pt x="418" y="121"/>
                  </a:lnTo>
                  <a:lnTo>
                    <a:pt x="409" y="116"/>
                  </a:lnTo>
                  <a:lnTo>
                    <a:pt x="402" y="111"/>
                  </a:lnTo>
                  <a:lnTo>
                    <a:pt x="397" y="105"/>
                  </a:lnTo>
                  <a:lnTo>
                    <a:pt x="391" y="97"/>
                  </a:lnTo>
                  <a:lnTo>
                    <a:pt x="386" y="87"/>
                  </a:lnTo>
                  <a:lnTo>
                    <a:pt x="382" y="79"/>
                  </a:lnTo>
                  <a:lnTo>
                    <a:pt x="373" y="75"/>
                  </a:lnTo>
                  <a:lnTo>
                    <a:pt x="360" y="72"/>
                  </a:lnTo>
                  <a:lnTo>
                    <a:pt x="352" y="72"/>
                  </a:lnTo>
                  <a:lnTo>
                    <a:pt x="346" y="72"/>
                  </a:lnTo>
                  <a:lnTo>
                    <a:pt x="340" y="73"/>
                  </a:lnTo>
                  <a:lnTo>
                    <a:pt x="335" y="73"/>
                  </a:lnTo>
                  <a:lnTo>
                    <a:pt x="331" y="73"/>
                  </a:lnTo>
                  <a:lnTo>
                    <a:pt x="326" y="72"/>
                  </a:lnTo>
                  <a:lnTo>
                    <a:pt x="320" y="71"/>
                  </a:lnTo>
                  <a:lnTo>
                    <a:pt x="314" y="69"/>
                  </a:lnTo>
                  <a:lnTo>
                    <a:pt x="302" y="61"/>
                  </a:lnTo>
                  <a:lnTo>
                    <a:pt x="297" y="50"/>
                  </a:lnTo>
                  <a:lnTo>
                    <a:pt x="293" y="44"/>
                  </a:lnTo>
                  <a:lnTo>
                    <a:pt x="286" y="44"/>
                  </a:lnTo>
                  <a:lnTo>
                    <a:pt x="277" y="49"/>
                  </a:lnTo>
                  <a:lnTo>
                    <a:pt x="269" y="52"/>
                  </a:lnTo>
                  <a:lnTo>
                    <a:pt x="262" y="49"/>
                  </a:lnTo>
                  <a:lnTo>
                    <a:pt x="255" y="40"/>
                  </a:lnTo>
                  <a:lnTo>
                    <a:pt x="247" y="29"/>
                  </a:lnTo>
                  <a:lnTo>
                    <a:pt x="241" y="22"/>
                  </a:lnTo>
                  <a:lnTo>
                    <a:pt x="236" y="17"/>
                  </a:lnTo>
                  <a:lnTo>
                    <a:pt x="234" y="16"/>
                  </a:lnTo>
                  <a:lnTo>
                    <a:pt x="233" y="16"/>
                  </a:lnTo>
                  <a:lnTo>
                    <a:pt x="229" y="14"/>
                  </a:lnTo>
                  <a:lnTo>
                    <a:pt x="226" y="11"/>
                  </a:lnTo>
                  <a:lnTo>
                    <a:pt x="220" y="9"/>
                  </a:lnTo>
                  <a:lnTo>
                    <a:pt x="214" y="7"/>
                  </a:lnTo>
                  <a:lnTo>
                    <a:pt x="209" y="3"/>
                  </a:lnTo>
                  <a:lnTo>
                    <a:pt x="203" y="1"/>
                  </a:lnTo>
                  <a:lnTo>
                    <a:pt x="198"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8" name="Freeform 12"/>
            <p:cNvSpPr>
              <a:spLocks/>
            </p:cNvSpPr>
            <p:nvPr/>
          </p:nvSpPr>
          <p:spPr bwMode="gray">
            <a:xfrm>
              <a:off x="3690" y="1166"/>
              <a:ext cx="1724" cy="1397"/>
            </a:xfrm>
            <a:custGeom>
              <a:avLst/>
              <a:gdLst>
                <a:gd name="T0" fmla="*/ 902 w 1573"/>
                <a:gd name="T1" fmla="*/ 479 h 1276"/>
                <a:gd name="T2" fmla="*/ 937 w 1573"/>
                <a:gd name="T3" fmla="*/ 560 h 1276"/>
                <a:gd name="T4" fmla="*/ 839 w 1573"/>
                <a:gd name="T5" fmla="*/ 472 h 1276"/>
                <a:gd name="T6" fmla="*/ 742 w 1573"/>
                <a:gd name="T7" fmla="*/ 450 h 1276"/>
                <a:gd name="T8" fmla="*/ 710 w 1573"/>
                <a:gd name="T9" fmla="*/ 371 h 1276"/>
                <a:gd name="T10" fmla="*/ 632 w 1573"/>
                <a:gd name="T11" fmla="*/ 460 h 1276"/>
                <a:gd name="T12" fmla="*/ 686 w 1573"/>
                <a:gd name="T13" fmla="*/ 630 h 1276"/>
                <a:gd name="T14" fmla="*/ 781 w 1573"/>
                <a:gd name="T15" fmla="*/ 764 h 1276"/>
                <a:gd name="T16" fmla="*/ 758 w 1573"/>
                <a:gd name="T17" fmla="*/ 787 h 1276"/>
                <a:gd name="T18" fmla="*/ 690 w 1573"/>
                <a:gd name="T19" fmla="*/ 766 h 1276"/>
                <a:gd name="T20" fmla="*/ 714 w 1573"/>
                <a:gd name="T21" fmla="*/ 867 h 1276"/>
                <a:gd name="T22" fmla="*/ 650 w 1573"/>
                <a:gd name="T23" fmla="*/ 894 h 1276"/>
                <a:gd name="T24" fmla="*/ 640 w 1573"/>
                <a:gd name="T25" fmla="*/ 911 h 1276"/>
                <a:gd name="T26" fmla="*/ 727 w 1573"/>
                <a:gd name="T27" fmla="*/ 948 h 1276"/>
                <a:gd name="T28" fmla="*/ 801 w 1573"/>
                <a:gd name="T29" fmla="*/ 1015 h 1276"/>
                <a:gd name="T30" fmla="*/ 898 w 1573"/>
                <a:gd name="T31" fmla="*/ 1070 h 1276"/>
                <a:gd name="T32" fmla="*/ 957 w 1573"/>
                <a:gd name="T33" fmla="*/ 1099 h 1276"/>
                <a:gd name="T34" fmla="*/ 976 w 1573"/>
                <a:gd name="T35" fmla="*/ 1237 h 1276"/>
                <a:gd name="T36" fmla="*/ 901 w 1573"/>
                <a:gd name="T37" fmla="*/ 1223 h 1276"/>
                <a:gd name="T38" fmla="*/ 828 w 1573"/>
                <a:gd name="T39" fmla="*/ 1201 h 1276"/>
                <a:gd name="T40" fmla="*/ 749 w 1573"/>
                <a:gd name="T41" fmla="*/ 1189 h 1276"/>
                <a:gd name="T42" fmla="*/ 696 w 1573"/>
                <a:gd name="T43" fmla="*/ 1171 h 1276"/>
                <a:gd name="T44" fmla="*/ 742 w 1573"/>
                <a:gd name="T45" fmla="*/ 1144 h 1276"/>
                <a:gd name="T46" fmla="*/ 699 w 1573"/>
                <a:gd name="T47" fmla="*/ 1098 h 1276"/>
                <a:gd name="T48" fmla="*/ 610 w 1573"/>
                <a:gd name="T49" fmla="*/ 1059 h 1276"/>
                <a:gd name="T50" fmla="*/ 519 w 1573"/>
                <a:gd name="T51" fmla="*/ 1060 h 1276"/>
                <a:gd name="T52" fmla="*/ 427 w 1573"/>
                <a:gd name="T53" fmla="*/ 1045 h 1276"/>
                <a:gd name="T54" fmla="*/ 330 w 1573"/>
                <a:gd name="T55" fmla="*/ 1037 h 1276"/>
                <a:gd name="T56" fmla="*/ 247 w 1573"/>
                <a:gd name="T57" fmla="*/ 1022 h 1276"/>
                <a:gd name="T58" fmla="*/ 178 w 1573"/>
                <a:gd name="T59" fmla="*/ 913 h 1276"/>
                <a:gd name="T60" fmla="*/ 242 w 1573"/>
                <a:gd name="T61" fmla="*/ 881 h 1276"/>
                <a:gd name="T62" fmla="*/ 225 w 1573"/>
                <a:gd name="T63" fmla="*/ 842 h 1276"/>
                <a:gd name="T64" fmla="*/ 126 w 1573"/>
                <a:gd name="T65" fmla="*/ 795 h 1276"/>
                <a:gd name="T66" fmla="*/ 59 w 1573"/>
                <a:gd name="T67" fmla="*/ 722 h 1276"/>
                <a:gd name="T68" fmla="*/ 0 w 1573"/>
                <a:gd name="T69" fmla="*/ 601 h 1276"/>
                <a:gd name="T70" fmla="*/ 83 w 1573"/>
                <a:gd name="T71" fmla="*/ 558 h 1276"/>
                <a:gd name="T72" fmla="*/ 157 w 1573"/>
                <a:gd name="T73" fmla="*/ 506 h 1276"/>
                <a:gd name="T74" fmla="*/ 225 w 1573"/>
                <a:gd name="T75" fmla="*/ 384 h 1276"/>
                <a:gd name="T76" fmla="*/ 279 w 1573"/>
                <a:gd name="T77" fmla="*/ 271 h 1276"/>
                <a:gd name="T78" fmla="*/ 391 w 1573"/>
                <a:gd name="T79" fmla="*/ 259 h 1276"/>
                <a:gd name="T80" fmla="*/ 462 w 1573"/>
                <a:gd name="T81" fmla="*/ 219 h 1276"/>
                <a:gd name="T82" fmla="*/ 552 w 1573"/>
                <a:gd name="T83" fmla="*/ 177 h 1276"/>
                <a:gd name="T84" fmla="*/ 665 w 1573"/>
                <a:gd name="T85" fmla="*/ 151 h 1276"/>
                <a:gd name="T86" fmla="*/ 775 w 1573"/>
                <a:gd name="T87" fmla="*/ 126 h 1276"/>
                <a:gd name="T88" fmla="*/ 875 w 1573"/>
                <a:gd name="T89" fmla="*/ 122 h 1276"/>
                <a:gd name="T90" fmla="*/ 992 w 1573"/>
                <a:gd name="T91" fmla="*/ 70 h 1276"/>
                <a:gd name="T92" fmla="*/ 1072 w 1573"/>
                <a:gd name="T93" fmla="*/ 62 h 1276"/>
                <a:gd name="T94" fmla="*/ 1150 w 1573"/>
                <a:gd name="T95" fmla="*/ 107 h 1276"/>
                <a:gd name="T96" fmla="*/ 1261 w 1573"/>
                <a:gd name="T97" fmla="*/ 157 h 1276"/>
                <a:gd name="T98" fmla="*/ 1367 w 1573"/>
                <a:gd name="T99" fmla="*/ 141 h 1276"/>
                <a:gd name="T100" fmla="*/ 1456 w 1573"/>
                <a:gd name="T101" fmla="*/ 123 h 1276"/>
                <a:gd name="T102" fmla="*/ 1456 w 1573"/>
                <a:gd name="T103" fmla="*/ 1 h 1276"/>
                <a:gd name="T104" fmla="*/ 1553 w 1573"/>
                <a:gd name="T105" fmla="*/ 41 h 1276"/>
                <a:gd name="T106" fmla="*/ 1520 w 1573"/>
                <a:gd name="T107" fmla="*/ 147 h 1276"/>
                <a:gd name="T108" fmla="*/ 1477 w 1573"/>
                <a:gd name="T109" fmla="*/ 279 h 1276"/>
                <a:gd name="T110" fmla="*/ 1397 w 1573"/>
                <a:gd name="T111" fmla="*/ 285 h 1276"/>
                <a:gd name="T112" fmla="*/ 1273 w 1573"/>
                <a:gd name="T113" fmla="*/ 255 h 1276"/>
                <a:gd name="T114" fmla="*/ 1226 w 1573"/>
                <a:gd name="T115" fmla="*/ 232 h 1276"/>
                <a:gd name="T116" fmla="*/ 1150 w 1573"/>
                <a:gd name="T117" fmla="*/ 267 h 1276"/>
                <a:gd name="T118" fmla="*/ 1090 w 1573"/>
                <a:gd name="T119" fmla="*/ 266 h 1276"/>
                <a:gd name="T120" fmla="*/ 990 w 1573"/>
                <a:gd name="T121" fmla="*/ 319 h 1276"/>
                <a:gd name="T122" fmla="*/ 905 w 1573"/>
                <a:gd name="T123" fmla="*/ 316 h 1276"/>
                <a:gd name="T124" fmla="*/ 928 w 1573"/>
                <a:gd name="T125" fmla="*/ 389 h 127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573"/>
                <a:gd name="T190" fmla="*/ 0 h 1276"/>
                <a:gd name="T191" fmla="*/ 1573 w 1573"/>
                <a:gd name="T192" fmla="*/ 1276 h 127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573" h="1276">
                  <a:moveTo>
                    <a:pt x="922" y="431"/>
                  </a:moveTo>
                  <a:lnTo>
                    <a:pt x="921" y="431"/>
                  </a:lnTo>
                  <a:lnTo>
                    <a:pt x="916" y="432"/>
                  </a:lnTo>
                  <a:lnTo>
                    <a:pt x="911" y="433"/>
                  </a:lnTo>
                  <a:lnTo>
                    <a:pt x="905" y="435"/>
                  </a:lnTo>
                  <a:lnTo>
                    <a:pt x="898" y="438"/>
                  </a:lnTo>
                  <a:lnTo>
                    <a:pt x="891" y="441"/>
                  </a:lnTo>
                  <a:lnTo>
                    <a:pt x="886" y="445"/>
                  </a:lnTo>
                  <a:lnTo>
                    <a:pt x="884" y="448"/>
                  </a:lnTo>
                  <a:lnTo>
                    <a:pt x="883" y="456"/>
                  </a:lnTo>
                  <a:lnTo>
                    <a:pt x="886" y="463"/>
                  </a:lnTo>
                  <a:lnTo>
                    <a:pt x="891" y="470"/>
                  </a:lnTo>
                  <a:lnTo>
                    <a:pt x="898" y="476"/>
                  </a:lnTo>
                  <a:lnTo>
                    <a:pt x="902" y="479"/>
                  </a:lnTo>
                  <a:lnTo>
                    <a:pt x="907" y="483"/>
                  </a:lnTo>
                  <a:lnTo>
                    <a:pt x="913" y="487"/>
                  </a:lnTo>
                  <a:lnTo>
                    <a:pt x="919" y="491"/>
                  </a:lnTo>
                  <a:lnTo>
                    <a:pt x="924" y="495"/>
                  </a:lnTo>
                  <a:lnTo>
                    <a:pt x="930" y="500"/>
                  </a:lnTo>
                  <a:lnTo>
                    <a:pt x="935" y="503"/>
                  </a:lnTo>
                  <a:lnTo>
                    <a:pt x="939" y="507"/>
                  </a:lnTo>
                  <a:lnTo>
                    <a:pt x="947" y="518"/>
                  </a:lnTo>
                  <a:lnTo>
                    <a:pt x="954" y="537"/>
                  </a:lnTo>
                  <a:lnTo>
                    <a:pt x="957" y="554"/>
                  </a:lnTo>
                  <a:lnTo>
                    <a:pt x="953" y="563"/>
                  </a:lnTo>
                  <a:lnTo>
                    <a:pt x="949" y="563"/>
                  </a:lnTo>
                  <a:lnTo>
                    <a:pt x="943" y="562"/>
                  </a:lnTo>
                  <a:lnTo>
                    <a:pt x="937" y="560"/>
                  </a:lnTo>
                  <a:lnTo>
                    <a:pt x="930" y="556"/>
                  </a:lnTo>
                  <a:lnTo>
                    <a:pt x="924" y="553"/>
                  </a:lnTo>
                  <a:lnTo>
                    <a:pt x="920" y="549"/>
                  </a:lnTo>
                  <a:lnTo>
                    <a:pt x="916" y="547"/>
                  </a:lnTo>
                  <a:lnTo>
                    <a:pt x="915" y="546"/>
                  </a:lnTo>
                  <a:lnTo>
                    <a:pt x="898" y="507"/>
                  </a:lnTo>
                  <a:lnTo>
                    <a:pt x="897" y="502"/>
                  </a:lnTo>
                  <a:lnTo>
                    <a:pt x="892" y="491"/>
                  </a:lnTo>
                  <a:lnTo>
                    <a:pt x="885" y="480"/>
                  </a:lnTo>
                  <a:lnTo>
                    <a:pt x="874" y="476"/>
                  </a:lnTo>
                  <a:lnTo>
                    <a:pt x="866" y="476"/>
                  </a:lnTo>
                  <a:lnTo>
                    <a:pt x="858" y="475"/>
                  </a:lnTo>
                  <a:lnTo>
                    <a:pt x="847" y="473"/>
                  </a:lnTo>
                  <a:lnTo>
                    <a:pt x="839" y="472"/>
                  </a:lnTo>
                  <a:lnTo>
                    <a:pt x="830" y="471"/>
                  </a:lnTo>
                  <a:lnTo>
                    <a:pt x="823" y="470"/>
                  </a:lnTo>
                  <a:lnTo>
                    <a:pt x="818" y="469"/>
                  </a:lnTo>
                  <a:lnTo>
                    <a:pt x="817" y="469"/>
                  </a:lnTo>
                  <a:lnTo>
                    <a:pt x="814" y="470"/>
                  </a:lnTo>
                  <a:lnTo>
                    <a:pt x="806" y="473"/>
                  </a:lnTo>
                  <a:lnTo>
                    <a:pt x="796" y="476"/>
                  </a:lnTo>
                  <a:lnTo>
                    <a:pt x="787" y="476"/>
                  </a:lnTo>
                  <a:lnTo>
                    <a:pt x="783" y="473"/>
                  </a:lnTo>
                  <a:lnTo>
                    <a:pt x="776" y="470"/>
                  </a:lnTo>
                  <a:lnTo>
                    <a:pt x="768" y="467"/>
                  </a:lnTo>
                  <a:lnTo>
                    <a:pt x="760" y="461"/>
                  </a:lnTo>
                  <a:lnTo>
                    <a:pt x="750" y="456"/>
                  </a:lnTo>
                  <a:lnTo>
                    <a:pt x="742" y="450"/>
                  </a:lnTo>
                  <a:lnTo>
                    <a:pt x="735" y="446"/>
                  </a:lnTo>
                  <a:lnTo>
                    <a:pt x="731" y="441"/>
                  </a:lnTo>
                  <a:lnTo>
                    <a:pt x="724" y="435"/>
                  </a:lnTo>
                  <a:lnTo>
                    <a:pt x="719" y="431"/>
                  </a:lnTo>
                  <a:lnTo>
                    <a:pt x="714" y="429"/>
                  </a:lnTo>
                  <a:lnTo>
                    <a:pt x="707" y="424"/>
                  </a:lnTo>
                  <a:lnTo>
                    <a:pt x="699" y="418"/>
                  </a:lnTo>
                  <a:lnTo>
                    <a:pt x="692" y="412"/>
                  </a:lnTo>
                  <a:lnTo>
                    <a:pt x="689" y="404"/>
                  </a:lnTo>
                  <a:lnTo>
                    <a:pt x="693" y="395"/>
                  </a:lnTo>
                  <a:lnTo>
                    <a:pt x="701" y="387"/>
                  </a:lnTo>
                  <a:lnTo>
                    <a:pt x="707" y="382"/>
                  </a:lnTo>
                  <a:lnTo>
                    <a:pt x="710" y="379"/>
                  </a:lnTo>
                  <a:lnTo>
                    <a:pt x="710" y="371"/>
                  </a:lnTo>
                  <a:lnTo>
                    <a:pt x="707" y="359"/>
                  </a:lnTo>
                  <a:lnTo>
                    <a:pt x="701" y="350"/>
                  </a:lnTo>
                  <a:lnTo>
                    <a:pt x="694" y="347"/>
                  </a:lnTo>
                  <a:lnTo>
                    <a:pt x="686" y="354"/>
                  </a:lnTo>
                  <a:lnTo>
                    <a:pt x="677" y="366"/>
                  </a:lnTo>
                  <a:lnTo>
                    <a:pt x="666" y="376"/>
                  </a:lnTo>
                  <a:lnTo>
                    <a:pt x="657" y="382"/>
                  </a:lnTo>
                  <a:lnTo>
                    <a:pt x="654" y="385"/>
                  </a:lnTo>
                  <a:lnTo>
                    <a:pt x="649" y="387"/>
                  </a:lnTo>
                  <a:lnTo>
                    <a:pt x="641" y="394"/>
                  </a:lnTo>
                  <a:lnTo>
                    <a:pt x="633" y="405"/>
                  </a:lnTo>
                  <a:lnTo>
                    <a:pt x="633" y="420"/>
                  </a:lnTo>
                  <a:lnTo>
                    <a:pt x="635" y="439"/>
                  </a:lnTo>
                  <a:lnTo>
                    <a:pt x="632" y="460"/>
                  </a:lnTo>
                  <a:lnTo>
                    <a:pt x="625" y="480"/>
                  </a:lnTo>
                  <a:lnTo>
                    <a:pt x="619" y="496"/>
                  </a:lnTo>
                  <a:lnTo>
                    <a:pt x="618" y="513"/>
                  </a:lnTo>
                  <a:lnTo>
                    <a:pt x="622" y="530"/>
                  </a:lnTo>
                  <a:lnTo>
                    <a:pt x="632" y="548"/>
                  </a:lnTo>
                  <a:lnTo>
                    <a:pt x="643" y="563"/>
                  </a:lnTo>
                  <a:lnTo>
                    <a:pt x="650" y="570"/>
                  </a:lnTo>
                  <a:lnTo>
                    <a:pt x="657" y="577"/>
                  </a:lnTo>
                  <a:lnTo>
                    <a:pt x="664" y="585"/>
                  </a:lnTo>
                  <a:lnTo>
                    <a:pt x="671" y="593"/>
                  </a:lnTo>
                  <a:lnTo>
                    <a:pt x="677" y="602"/>
                  </a:lnTo>
                  <a:lnTo>
                    <a:pt x="681" y="612"/>
                  </a:lnTo>
                  <a:lnTo>
                    <a:pt x="685" y="621"/>
                  </a:lnTo>
                  <a:lnTo>
                    <a:pt x="686" y="630"/>
                  </a:lnTo>
                  <a:lnTo>
                    <a:pt x="687" y="649"/>
                  </a:lnTo>
                  <a:lnTo>
                    <a:pt x="692" y="666"/>
                  </a:lnTo>
                  <a:lnTo>
                    <a:pt x="699" y="680"/>
                  </a:lnTo>
                  <a:lnTo>
                    <a:pt x="710" y="689"/>
                  </a:lnTo>
                  <a:lnTo>
                    <a:pt x="717" y="692"/>
                  </a:lnTo>
                  <a:lnTo>
                    <a:pt x="725" y="699"/>
                  </a:lnTo>
                  <a:lnTo>
                    <a:pt x="733" y="707"/>
                  </a:lnTo>
                  <a:lnTo>
                    <a:pt x="742" y="716"/>
                  </a:lnTo>
                  <a:lnTo>
                    <a:pt x="750" y="727"/>
                  </a:lnTo>
                  <a:lnTo>
                    <a:pt x="758" y="736"/>
                  </a:lnTo>
                  <a:lnTo>
                    <a:pt x="765" y="745"/>
                  </a:lnTo>
                  <a:lnTo>
                    <a:pt x="770" y="752"/>
                  </a:lnTo>
                  <a:lnTo>
                    <a:pt x="775" y="758"/>
                  </a:lnTo>
                  <a:lnTo>
                    <a:pt x="781" y="764"/>
                  </a:lnTo>
                  <a:lnTo>
                    <a:pt x="787" y="769"/>
                  </a:lnTo>
                  <a:lnTo>
                    <a:pt x="794" y="774"/>
                  </a:lnTo>
                  <a:lnTo>
                    <a:pt x="799" y="780"/>
                  </a:lnTo>
                  <a:lnTo>
                    <a:pt x="801" y="786"/>
                  </a:lnTo>
                  <a:lnTo>
                    <a:pt x="801" y="791"/>
                  </a:lnTo>
                  <a:lnTo>
                    <a:pt x="798" y="797"/>
                  </a:lnTo>
                  <a:lnTo>
                    <a:pt x="791" y="806"/>
                  </a:lnTo>
                  <a:lnTo>
                    <a:pt x="791" y="810"/>
                  </a:lnTo>
                  <a:lnTo>
                    <a:pt x="790" y="812"/>
                  </a:lnTo>
                  <a:lnTo>
                    <a:pt x="780" y="816"/>
                  </a:lnTo>
                  <a:lnTo>
                    <a:pt x="769" y="816"/>
                  </a:lnTo>
                  <a:lnTo>
                    <a:pt x="764" y="807"/>
                  </a:lnTo>
                  <a:lnTo>
                    <a:pt x="762" y="797"/>
                  </a:lnTo>
                  <a:lnTo>
                    <a:pt x="758" y="787"/>
                  </a:lnTo>
                  <a:lnTo>
                    <a:pt x="756" y="783"/>
                  </a:lnTo>
                  <a:lnTo>
                    <a:pt x="753" y="779"/>
                  </a:lnTo>
                  <a:lnTo>
                    <a:pt x="749" y="774"/>
                  </a:lnTo>
                  <a:lnTo>
                    <a:pt x="745" y="771"/>
                  </a:lnTo>
                  <a:lnTo>
                    <a:pt x="741" y="767"/>
                  </a:lnTo>
                  <a:lnTo>
                    <a:pt x="735" y="765"/>
                  </a:lnTo>
                  <a:lnTo>
                    <a:pt x="730" y="764"/>
                  </a:lnTo>
                  <a:lnTo>
                    <a:pt x="724" y="763"/>
                  </a:lnTo>
                  <a:lnTo>
                    <a:pt x="718" y="763"/>
                  </a:lnTo>
                  <a:lnTo>
                    <a:pt x="711" y="763"/>
                  </a:lnTo>
                  <a:lnTo>
                    <a:pt x="705" y="763"/>
                  </a:lnTo>
                  <a:lnTo>
                    <a:pt x="701" y="764"/>
                  </a:lnTo>
                  <a:lnTo>
                    <a:pt x="695" y="764"/>
                  </a:lnTo>
                  <a:lnTo>
                    <a:pt x="690" y="766"/>
                  </a:lnTo>
                  <a:lnTo>
                    <a:pt x="687" y="767"/>
                  </a:lnTo>
                  <a:lnTo>
                    <a:pt x="682" y="769"/>
                  </a:lnTo>
                  <a:lnTo>
                    <a:pt x="675" y="775"/>
                  </a:lnTo>
                  <a:lnTo>
                    <a:pt x="673" y="782"/>
                  </a:lnTo>
                  <a:lnTo>
                    <a:pt x="674" y="789"/>
                  </a:lnTo>
                  <a:lnTo>
                    <a:pt x="682" y="797"/>
                  </a:lnTo>
                  <a:lnTo>
                    <a:pt x="693" y="809"/>
                  </a:lnTo>
                  <a:lnTo>
                    <a:pt x="702" y="822"/>
                  </a:lnTo>
                  <a:lnTo>
                    <a:pt x="708" y="834"/>
                  </a:lnTo>
                  <a:lnTo>
                    <a:pt x="710" y="840"/>
                  </a:lnTo>
                  <a:lnTo>
                    <a:pt x="710" y="842"/>
                  </a:lnTo>
                  <a:lnTo>
                    <a:pt x="712" y="847"/>
                  </a:lnTo>
                  <a:lnTo>
                    <a:pt x="714" y="856"/>
                  </a:lnTo>
                  <a:lnTo>
                    <a:pt x="714" y="867"/>
                  </a:lnTo>
                  <a:lnTo>
                    <a:pt x="712" y="873"/>
                  </a:lnTo>
                  <a:lnTo>
                    <a:pt x="710" y="875"/>
                  </a:lnTo>
                  <a:lnTo>
                    <a:pt x="707" y="878"/>
                  </a:lnTo>
                  <a:lnTo>
                    <a:pt x="703" y="879"/>
                  </a:lnTo>
                  <a:lnTo>
                    <a:pt x="697" y="879"/>
                  </a:lnTo>
                  <a:lnTo>
                    <a:pt x="692" y="880"/>
                  </a:lnTo>
                  <a:lnTo>
                    <a:pt x="686" y="881"/>
                  </a:lnTo>
                  <a:lnTo>
                    <a:pt x="679" y="885"/>
                  </a:lnTo>
                  <a:lnTo>
                    <a:pt x="673" y="888"/>
                  </a:lnTo>
                  <a:lnTo>
                    <a:pt x="667" y="890"/>
                  </a:lnTo>
                  <a:lnTo>
                    <a:pt x="663" y="893"/>
                  </a:lnTo>
                  <a:lnTo>
                    <a:pt x="659" y="893"/>
                  </a:lnTo>
                  <a:lnTo>
                    <a:pt x="655" y="894"/>
                  </a:lnTo>
                  <a:lnTo>
                    <a:pt x="650" y="894"/>
                  </a:lnTo>
                  <a:lnTo>
                    <a:pt x="646" y="893"/>
                  </a:lnTo>
                  <a:lnTo>
                    <a:pt x="640" y="892"/>
                  </a:lnTo>
                  <a:lnTo>
                    <a:pt x="633" y="890"/>
                  </a:lnTo>
                  <a:lnTo>
                    <a:pt x="626" y="890"/>
                  </a:lnTo>
                  <a:lnTo>
                    <a:pt x="620" y="892"/>
                  </a:lnTo>
                  <a:lnTo>
                    <a:pt x="614" y="893"/>
                  </a:lnTo>
                  <a:lnTo>
                    <a:pt x="611" y="895"/>
                  </a:lnTo>
                  <a:lnTo>
                    <a:pt x="610" y="898"/>
                  </a:lnTo>
                  <a:lnTo>
                    <a:pt x="611" y="902"/>
                  </a:lnTo>
                  <a:lnTo>
                    <a:pt x="616" y="905"/>
                  </a:lnTo>
                  <a:lnTo>
                    <a:pt x="622" y="909"/>
                  </a:lnTo>
                  <a:lnTo>
                    <a:pt x="628" y="910"/>
                  </a:lnTo>
                  <a:lnTo>
                    <a:pt x="634" y="911"/>
                  </a:lnTo>
                  <a:lnTo>
                    <a:pt x="640" y="911"/>
                  </a:lnTo>
                  <a:lnTo>
                    <a:pt x="646" y="912"/>
                  </a:lnTo>
                  <a:lnTo>
                    <a:pt x="650" y="913"/>
                  </a:lnTo>
                  <a:lnTo>
                    <a:pt x="654" y="916"/>
                  </a:lnTo>
                  <a:lnTo>
                    <a:pt x="657" y="920"/>
                  </a:lnTo>
                  <a:lnTo>
                    <a:pt x="662" y="925"/>
                  </a:lnTo>
                  <a:lnTo>
                    <a:pt x="667" y="927"/>
                  </a:lnTo>
                  <a:lnTo>
                    <a:pt x="677" y="928"/>
                  </a:lnTo>
                  <a:lnTo>
                    <a:pt x="686" y="928"/>
                  </a:lnTo>
                  <a:lnTo>
                    <a:pt x="695" y="930"/>
                  </a:lnTo>
                  <a:lnTo>
                    <a:pt x="704" y="931"/>
                  </a:lnTo>
                  <a:lnTo>
                    <a:pt x="711" y="933"/>
                  </a:lnTo>
                  <a:lnTo>
                    <a:pt x="717" y="938"/>
                  </a:lnTo>
                  <a:lnTo>
                    <a:pt x="722" y="942"/>
                  </a:lnTo>
                  <a:lnTo>
                    <a:pt x="727" y="948"/>
                  </a:lnTo>
                  <a:lnTo>
                    <a:pt x="733" y="953"/>
                  </a:lnTo>
                  <a:lnTo>
                    <a:pt x="740" y="956"/>
                  </a:lnTo>
                  <a:lnTo>
                    <a:pt x="746" y="961"/>
                  </a:lnTo>
                  <a:lnTo>
                    <a:pt x="750" y="963"/>
                  </a:lnTo>
                  <a:lnTo>
                    <a:pt x="754" y="964"/>
                  </a:lnTo>
                  <a:lnTo>
                    <a:pt x="755" y="965"/>
                  </a:lnTo>
                  <a:lnTo>
                    <a:pt x="758" y="964"/>
                  </a:lnTo>
                  <a:lnTo>
                    <a:pt x="767" y="962"/>
                  </a:lnTo>
                  <a:lnTo>
                    <a:pt x="777" y="966"/>
                  </a:lnTo>
                  <a:lnTo>
                    <a:pt x="787" y="983"/>
                  </a:lnTo>
                  <a:lnTo>
                    <a:pt x="791" y="1002"/>
                  </a:lnTo>
                  <a:lnTo>
                    <a:pt x="787" y="1013"/>
                  </a:lnTo>
                  <a:lnTo>
                    <a:pt x="787" y="1016"/>
                  </a:lnTo>
                  <a:lnTo>
                    <a:pt x="801" y="1015"/>
                  </a:lnTo>
                  <a:lnTo>
                    <a:pt x="811" y="1014"/>
                  </a:lnTo>
                  <a:lnTo>
                    <a:pt x="821" y="1011"/>
                  </a:lnTo>
                  <a:lnTo>
                    <a:pt x="830" y="1010"/>
                  </a:lnTo>
                  <a:lnTo>
                    <a:pt x="837" y="1009"/>
                  </a:lnTo>
                  <a:lnTo>
                    <a:pt x="843" y="1009"/>
                  </a:lnTo>
                  <a:lnTo>
                    <a:pt x="847" y="1011"/>
                  </a:lnTo>
                  <a:lnTo>
                    <a:pt x="849" y="1015"/>
                  </a:lnTo>
                  <a:lnTo>
                    <a:pt x="852" y="1022"/>
                  </a:lnTo>
                  <a:lnTo>
                    <a:pt x="855" y="1039"/>
                  </a:lnTo>
                  <a:lnTo>
                    <a:pt x="861" y="1056"/>
                  </a:lnTo>
                  <a:lnTo>
                    <a:pt x="870" y="1069"/>
                  </a:lnTo>
                  <a:lnTo>
                    <a:pt x="884" y="1072"/>
                  </a:lnTo>
                  <a:lnTo>
                    <a:pt x="891" y="1071"/>
                  </a:lnTo>
                  <a:lnTo>
                    <a:pt x="898" y="1070"/>
                  </a:lnTo>
                  <a:lnTo>
                    <a:pt x="904" y="1069"/>
                  </a:lnTo>
                  <a:lnTo>
                    <a:pt x="908" y="1068"/>
                  </a:lnTo>
                  <a:lnTo>
                    <a:pt x="912" y="1068"/>
                  </a:lnTo>
                  <a:lnTo>
                    <a:pt x="915" y="1068"/>
                  </a:lnTo>
                  <a:lnTo>
                    <a:pt x="917" y="1070"/>
                  </a:lnTo>
                  <a:lnTo>
                    <a:pt x="919" y="1072"/>
                  </a:lnTo>
                  <a:lnTo>
                    <a:pt x="923" y="1077"/>
                  </a:lnTo>
                  <a:lnTo>
                    <a:pt x="929" y="1077"/>
                  </a:lnTo>
                  <a:lnTo>
                    <a:pt x="935" y="1078"/>
                  </a:lnTo>
                  <a:lnTo>
                    <a:pt x="939" y="1086"/>
                  </a:lnTo>
                  <a:lnTo>
                    <a:pt x="942" y="1092"/>
                  </a:lnTo>
                  <a:lnTo>
                    <a:pt x="946" y="1095"/>
                  </a:lnTo>
                  <a:lnTo>
                    <a:pt x="952" y="1098"/>
                  </a:lnTo>
                  <a:lnTo>
                    <a:pt x="957" y="1099"/>
                  </a:lnTo>
                  <a:lnTo>
                    <a:pt x="962" y="1101"/>
                  </a:lnTo>
                  <a:lnTo>
                    <a:pt x="965" y="1105"/>
                  </a:lnTo>
                  <a:lnTo>
                    <a:pt x="966" y="1110"/>
                  </a:lnTo>
                  <a:lnTo>
                    <a:pt x="964" y="1119"/>
                  </a:lnTo>
                  <a:lnTo>
                    <a:pt x="957" y="1131"/>
                  </a:lnTo>
                  <a:lnTo>
                    <a:pt x="951" y="1137"/>
                  </a:lnTo>
                  <a:lnTo>
                    <a:pt x="949" y="1144"/>
                  </a:lnTo>
                  <a:lnTo>
                    <a:pt x="953" y="1157"/>
                  </a:lnTo>
                  <a:lnTo>
                    <a:pt x="958" y="1174"/>
                  </a:lnTo>
                  <a:lnTo>
                    <a:pt x="960" y="1188"/>
                  </a:lnTo>
                  <a:lnTo>
                    <a:pt x="962" y="1201"/>
                  </a:lnTo>
                  <a:lnTo>
                    <a:pt x="967" y="1213"/>
                  </a:lnTo>
                  <a:lnTo>
                    <a:pt x="974" y="1224"/>
                  </a:lnTo>
                  <a:lnTo>
                    <a:pt x="976" y="1237"/>
                  </a:lnTo>
                  <a:lnTo>
                    <a:pt x="977" y="1249"/>
                  </a:lnTo>
                  <a:lnTo>
                    <a:pt x="975" y="1258"/>
                  </a:lnTo>
                  <a:lnTo>
                    <a:pt x="974" y="1266"/>
                  </a:lnTo>
                  <a:lnTo>
                    <a:pt x="973" y="1273"/>
                  </a:lnTo>
                  <a:lnTo>
                    <a:pt x="968" y="1276"/>
                  </a:lnTo>
                  <a:lnTo>
                    <a:pt x="957" y="1275"/>
                  </a:lnTo>
                  <a:lnTo>
                    <a:pt x="944" y="1269"/>
                  </a:lnTo>
                  <a:lnTo>
                    <a:pt x="936" y="1264"/>
                  </a:lnTo>
                  <a:lnTo>
                    <a:pt x="931" y="1257"/>
                  </a:lnTo>
                  <a:lnTo>
                    <a:pt x="929" y="1248"/>
                  </a:lnTo>
                  <a:lnTo>
                    <a:pt x="923" y="1238"/>
                  </a:lnTo>
                  <a:lnTo>
                    <a:pt x="914" y="1230"/>
                  </a:lnTo>
                  <a:lnTo>
                    <a:pt x="905" y="1226"/>
                  </a:lnTo>
                  <a:lnTo>
                    <a:pt x="901" y="1223"/>
                  </a:lnTo>
                  <a:lnTo>
                    <a:pt x="877" y="1195"/>
                  </a:lnTo>
                  <a:lnTo>
                    <a:pt x="859" y="1181"/>
                  </a:lnTo>
                  <a:lnTo>
                    <a:pt x="860" y="1177"/>
                  </a:lnTo>
                  <a:lnTo>
                    <a:pt x="860" y="1168"/>
                  </a:lnTo>
                  <a:lnTo>
                    <a:pt x="858" y="1160"/>
                  </a:lnTo>
                  <a:lnTo>
                    <a:pt x="848" y="1157"/>
                  </a:lnTo>
                  <a:lnTo>
                    <a:pt x="839" y="1158"/>
                  </a:lnTo>
                  <a:lnTo>
                    <a:pt x="837" y="1160"/>
                  </a:lnTo>
                  <a:lnTo>
                    <a:pt x="837" y="1166"/>
                  </a:lnTo>
                  <a:lnTo>
                    <a:pt x="838" y="1174"/>
                  </a:lnTo>
                  <a:lnTo>
                    <a:pt x="838" y="1184"/>
                  </a:lnTo>
                  <a:lnTo>
                    <a:pt x="837" y="1192"/>
                  </a:lnTo>
                  <a:lnTo>
                    <a:pt x="833" y="1199"/>
                  </a:lnTo>
                  <a:lnTo>
                    <a:pt x="828" y="1201"/>
                  </a:lnTo>
                  <a:lnTo>
                    <a:pt x="824" y="1200"/>
                  </a:lnTo>
                  <a:lnTo>
                    <a:pt x="821" y="1197"/>
                  </a:lnTo>
                  <a:lnTo>
                    <a:pt x="817" y="1191"/>
                  </a:lnTo>
                  <a:lnTo>
                    <a:pt x="814" y="1185"/>
                  </a:lnTo>
                  <a:lnTo>
                    <a:pt x="809" y="1181"/>
                  </a:lnTo>
                  <a:lnTo>
                    <a:pt x="803" y="1175"/>
                  </a:lnTo>
                  <a:lnTo>
                    <a:pt x="796" y="1171"/>
                  </a:lnTo>
                  <a:lnTo>
                    <a:pt x="787" y="1170"/>
                  </a:lnTo>
                  <a:lnTo>
                    <a:pt x="777" y="1171"/>
                  </a:lnTo>
                  <a:lnTo>
                    <a:pt x="769" y="1174"/>
                  </a:lnTo>
                  <a:lnTo>
                    <a:pt x="763" y="1177"/>
                  </a:lnTo>
                  <a:lnTo>
                    <a:pt x="757" y="1181"/>
                  </a:lnTo>
                  <a:lnTo>
                    <a:pt x="753" y="1185"/>
                  </a:lnTo>
                  <a:lnTo>
                    <a:pt x="749" y="1189"/>
                  </a:lnTo>
                  <a:lnTo>
                    <a:pt x="745" y="1192"/>
                  </a:lnTo>
                  <a:lnTo>
                    <a:pt x="741" y="1195"/>
                  </a:lnTo>
                  <a:lnTo>
                    <a:pt x="737" y="1196"/>
                  </a:lnTo>
                  <a:lnTo>
                    <a:pt x="732" y="1196"/>
                  </a:lnTo>
                  <a:lnTo>
                    <a:pt x="726" y="1196"/>
                  </a:lnTo>
                  <a:lnTo>
                    <a:pt x="720" y="1196"/>
                  </a:lnTo>
                  <a:lnTo>
                    <a:pt x="715" y="1196"/>
                  </a:lnTo>
                  <a:lnTo>
                    <a:pt x="710" y="1195"/>
                  </a:lnTo>
                  <a:lnTo>
                    <a:pt x="708" y="1195"/>
                  </a:lnTo>
                  <a:lnTo>
                    <a:pt x="707" y="1195"/>
                  </a:lnTo>
                  <a:lnTo>
                    <a:pt x="693" y="1184"/>
                  </a:lnTo>
                  <a:lnTo>
                    <a:pt x="694" y="1182"/>
                  </a:lnTo>
                  <a:lnTo>
                    <a:pt x="695" y="1177"/>
                  </a:lnTo>
                  <a:lnTo>
                    <a:pt x="696" y="1171"/>
                  </a:lnTo>
                  <a:lnTo>
                    <a:pt x="693" y="1163"/>
                  </a:lnTo>
                  <a:lnTo>
                    <a:pt x="688" y="1157"/>
                  </a:lnTo>
                  <a:lnTo>
                    <a:pt x="686" y="1150"/>
                  </a:lnTo>
                  <a:lnTo>
                    <a:pt x="687" y="1145"/>
                  </a:lnTo>
                  <a:lnTo>
                    <a:pt x="693" y="1139"/>
                  </a:lnTo>
                  <a:lnTo>
                    <a:pt x="696" y="1138"/>
                  </a:lnTo>
                  <a:lnTo>
                    <a:pt x="701" y="1138"/>
                  </a:lnTo>
                  <a:lnTo>
                    <a:pt x="705" y="1140"/>
                  </a:lnTo>
                  <a:lnTo>
                    <a:pt x="710" y="1143"/>
                  </a:lnTo>
                  <a:lnTo>
                    <a:pt x="715" y="1145"/>
                  </a:lnTo>
                  <a:lnTo>
                    <a:pt x="720" y="1147"/>
                  </a:lnTo>
                  <a:lnTo>
                    <a:pt x="727" y="1147"/>
                  </a:lnTo>
                  <a:lnTo>
                    <a:pt x="734" y="1146"/>
                  </a:lnTo>
                  <a:lnTo>
                    <a:pt x="742" y="1144"/>
                  </a:lnTo>
                  <a:lnTo>
                    <a:pt x="749" y="1143"/>
                  </a:lnTo>
                  <a:lnTo>
                    <a:pt x="756" y="1142"/>
                  </a:lnTo>
                  <a:lnTo>
                    <a:pt x="761" y="1140"/>
                  </a:lnTo>
                  <a:lnTo>
                    <a:pt x="764" y="1138"/>
                  </a:lnTo>
                  <a:lnTo>
                    <a:pt x="765" y="1135"/>
                  </a:lnTo>
                  <a:lnTo>
                    <a:pt x="763" y="1130"/>
                  </a:lnTo>
                  <a:lnTo>
                    <a:pt x="758" y="1122"/>
                  </a:lnTo>
                  <a:lnTo>
                    <a:pt x="752" y="1114"/>
                  </a:lnTo>
                  <a:lnTo>
                    <a:pt x="743" y="1108"/>
                  </a:lnTo>
                  <a:lnTo>
                    <a:pt x="735" y="1104"/>
                  </a:lnTo>
                  <a:lnTo>
                    <a:pt x="726" y="1101"/>
                  </a:lnTo>
                  <a:lnTo>
                    <a:pt x="717" y="1099"/>
                  </a:lnTo>
                  <a:lnTo>
                    <a:pt x="708" y="1099"/>
                  </a:lnTo>
                  <a:lnTo>
                    <a:pt x="699" y="1098"/>
                  </a:lnTo>
                  <a:lnTo>
                    <a:pt x="689" y="1097"/>
                  </a:lnTo>
                  <a:lnTo>
                    <a:pt x="681" y="1095"/>
                  </a:lnTo>
                  <a:lnTo>
                    <a:pt x="675" y="1095"/>
                  </a:lnTo>
                  <a:lnTo>
                    <a:pt x="672" y="1095"/>
                  </a:lnTo>
                  <a:lnTo>
                    <a:pt x="670" y="1095"/>
                  </a:lnTo>
                  <a:lnTo>
                    <a:pt x="666" y="1094"/>
                  </a:lnTo>
                  <a:lnTo>
                    <a:pt x="662" y="1092"/>
                  </a:lnTo>
                  <a:lnTo>
                    <a:pt x="656" y="1087"/>
                  </a:lnTo>
                  <a:lnTo>
                    <a:pt x="647" y="1079"/>
                  </a:lnTo>
                  <a:lnTo>
                    <a:pt x="633" y="1064"/>
                  </a:lnTo>
                  <a:lnTo>
                    <a:pt x="628" y="1055"/>
                  </a:lnTo>
                  <a:lnTo>
                    <a:pt x="625" y="1053"/>
                  </a:lnTo>
                  <a:lnTo>
                    <a:pt x="619" y="1056"/>
                  </a:lnTo>
                  <a:lnTo>
                    <a:pt x="610" y="1059"/>
                  </a:lnTo>
                  <a:lnTo>
                    <a:pt x="604" y="1055"/>
                  </a:lnTo>
                  <a:lnTo>
                    <a:pt x="597" y="1049"/>
                  </a:lnTo>
                  <a:lnTo>
                    <a:pt x="588" y="1042"/>
                  </a:lnTo>
                  <a:lnTo>
                    <a:pt x="580" y="1040"/>
                  </a:lnTo>
                  <a:lnTo>
                    <a:pt x="575" y="1041"/>
                  </a:lnTo>
                  <a:lnTo>
                    <a:pt x="571" y="1046"/>
                  </a:lnTo>
                  <a:lnTo>
                    <a:pt x="563" y="1053"/>
                  </a:lnTo>
                  <a:lnTo>
                    <a:pt x="557" y="1056"/>
                  </a:lnTo>
                  <a:lnTo>
                    <a:pt x="552" y="1059"/>
                  </a:lnTo>
                  <a:lnTo>
                    <a:pt x="546" y="1061"/>
                  </a:lnTo>
                  <a:lnTo>
                    <a:pt x="541" y="1062"/>
                  </a:lnTo>
                  <a:lnTo>
                    <a:pt x="534" y="1062"/>
                  </a:lnTo>
                  <a:lnTo>
                    <a:pt x="527" y="1061"/>
                  </a:lnTo>
                  <a:lnTo>
                    <a:pt x="519" y="1060"/>
                  </a:lnTo>
                  <a:lnTo>
                    <a:pt x="511" y="1056"/>
                  </a:lnTo>
                  <a:lnTo>
                    <a:pt x="503" y="1053"/>
                  </a:lnTo>
                  <a:lnTo>
                    <a:pt x="497" y="1048"/>
                  </a:lnTo>
                  <a:lnTo>
                    <a:pt x="492" y="1045"/>
                  </a:lnTo>
                  <a:lnTo>
                    <a:pt x="489" y="1041"/>
                  </a:lnTo>
                  <a:lnTo>
                    <a:pt x="485" y="1039"/>
                  </a:lnTo>
                  <a:lnTo>
                    <a:pt x="481" y="1038"/>
                  </a:lnTo>
                  <a:lnTo>
                    <a:pt x="475" y="1038"/>
                  </a:lnTo>
                  <a:lnTo>
                    <a:pt x="468" y="1039"/>
                  </a:lnTo>
                  <a:lnTo>
                    <a:pt x="460" y="1041"/>
                  </a:lnTo>
                  <a:lnTo>
                    <a:pt x="452" y="1042"/>
                  </a:lnTo>
                  <a:lnTo>
                    <a:pt x="443" y="1044"/>
                  </a:lnTo>
                  <a:lnTo>
                    <a:pt x="435" y="1044"/>
                  </a:lnTo>
                  <a:lnTo>
                    <a:pt x="427" y="1045"/>
                  </a:lnTo>
                  <a:lnTo>
                    <a:pt x="420" y="1046"/>
                  </a:lnTo>
                  <a:lnTo>
                    <a:pt x="414" y="1047"/>
                  </a:lnTo>
                  <a:lnTo>
                    <a:pt x="409" y="1049"/>
                  </a:lnTo>
                  <a:lnTo>
                    <a:pt x="405" y="1052"/>
                  </a:lnTo>
                  <a:lnTo>
                    <a:pt x="398" y="1054"/>
                  </a:lnTo>
                  <a:lnTo>
                    <a:pt x="391" y="1056"/>
                  </a:lnTo>
                  <a:lnTo>
                    <a:pt x="382" y="1057"/>
                  </a:lnTo>
                  <a:lnTo>
                    <a:pt x="374" y="1059"/>
                  </a:lnTo>
                  <a:lnTo>
                    <a:pt x="364" y="1057"/>
                  </a:lnTo>
                  <a:lnTo>
                    <a:pt x="356" y="1056"/>
                  </a:lnTo>
                  <a:lnTo>
                    <a:pt x="349" y="1053"/>
                  </a:lnTo>
                  <a:lnTo>
                    <a:pt x="340" y="1047"/>
                  </a:lnTo>
                  <a:lnTo>
                    <a:pt x="334" y="1042"/>
                  </a:lnTo>
                  <a:lnTo>
                    <a:pt x="330" y="1037"/>
                  </a:lnTo>
                  <a:lnTo>
                    <a:pt x="322" y="1029"/>
                  </a:lnTo>
                  <a:lnTo>
                    <a:pt x="313" y="1019"/>
                  </a:lnTo>
                  <a:lnTo>
                    <a:pt x="304" y="1013"/>
                  </a:lnTo>
                  <a:lnTo>
                    <a:pt x="300" y="1011"/>
                  </a:lnTo>
                  <a:lnTo>
                    <a:pt x="298" y="1018"/>
                  </a:lnTo>
                  <a:lnTo>
                    <a:pt x="298" y="1029"/>
                  </a:lnTo>
                  <a:lnTo>
                    <a:pt x="296" y="1040"/>
                  </a:lnTo>
                  <a:lnTo>
                    <a:pt x="292" y="1049"/>
                  </a:lnTo>
                  <a:lnTo>
                    <a:pt x="280" y="1056"/>
                  </a:lnTo>
                  <a:lnTo>
                    <a:pt x="266" y="1059"/>
                  </a:lnTo>
                  <a:lnTo>
                    <a:pt x="257" y="1056"/>
                  </a:lnTo>
                  <a:lnTo>
                    <a:pt x="251" y="1048"/>
                  </a:lnTo>
                  <a:lnTo>
                    <a:pt x="248" y="1036"/>
                  </a:lnTo>
                  <a:lnTo>
                    <a:pt x="247" y="1022"/>
                  </a:lnTo>
                  <a:lnTo>
                    <a:pt x="247" y="1010"/>
                  </a:lnTo>
                  <a:lnTo>
                    <a:pt x="246" y="1000"/>
                  </a:lnTo>
                  <a:lnTo>
                    <a:pt x="241" y="989"/>
                  </a:lnTo>
                  <a:lnTo>
                    <a:pt x="234" y="979"/>
                  </a:lnTo>
                  <a:lnTo>
                    <a:pt x="228" y="966"/>
                  </a:lnTo>
                  <a:lnTo>
                    <a:pt x="223" y="955"/>
                  </a:lnTo>
                  <a:lnTo>
                    <a:pt x="213" y="945"/>
                  </a:lnTo>
                  <a:lnTo>
                    <a:pt x="208" y="934"/>
                  </a:lnTo>
                  <a:lnTo>
                    <a:pt x="207" y="924"/>
                  </a:lnTo>
                  <a:lnTo>
                    <a:pt x="204" y="918"/>
                  </a:lnTo>
                  <a:lnTo>
                    <a:pt x="196" y="917"/>
                  </a:lnTo>
                  <a:lnTo>
                    <a:pt x="189" y="917"/>
                  </a:lnTo>
                  <a:lnTo>
                    <a:pt x="184" y="916"/>
                  </a:lnTo>
                  <a:lnTo>
                    <a:pt x="178" y="913"/>
                  </a:lnTo>
                  <a:lnTo>
                    <a:pt x="174" y="909"/>
                  </a:lnTo>
                  <a:lnTo>
                    <a:pt x="171" y="905"/>
                  </a:lnTo>
                  <a:lnTo>
                    <a:pt x="170" y="901"/>
                  </a:lnTo>
                  <a:lnTo>
                    <a:pt x="171" y="896"/>
                  </a:lnTo>
                  <a:lnTo>
                    <a:pt x="175" y="892"/>
                  </a:lnTo>
                  <a:lnTo>
                    <a:pt x="184" y="886"/>
                  </a:lnTo>
                  <a:lnTo>
                    <a:pt x="189" y="882"/>
                  </a:lnTo>
                  <a:lnTo>
                    <a:pt x="196" y="880"/>
                  </a:lnTo>
                  <a:lnTo>
                    <a:pt x="207" y="878"/>
                  </a:lnTo>
                  <a:lnTo>
                    <a:pt x="213" y="877"/>
                  </a:lnTo>
                  <a:lnTo>
                    <a:pt x="220" y="878"/>
                  </a:lnTo>
                  <a:lnTo>
                    <a:pt x="227" y="878"/>
                  </a:lnTo>
                  <a:lnTo>
                    <a:pt x="235" y="879"/>
                  </a:lnTo>
                  <a:lnTo>
                    <a:pt x="242" y="881"/>
                  </a:lnTo>
                  <a:lnTo>
                    <a:pt x="248" y="881"/>
                  </a:lnTo>
                  <a:lnTo>
                    <a:pt x="254" y="882"/>
                  </a:lnTo>
                  <a:lnTo>
                    <a:pt x="258" y="881"/>
                  </a:lnTo>
                  <a:lnTo>
                    <a:pt x="265" y="878"/>
                  </a:lnTo>
                  <a:lnTo>
                    <a:pt x="270" y="871"/>
                  </a:lnTo>
                  <a:lnTo>
                    <a:pt x="271" y="863"/>
                  </a:lnTo>
                  <a:lnTo>
                    <a:pt x="265" y="854"/>
                  </a:lnTo>
                  <a:lnTo>
                    <a:pt x="261" y="849"/>
                  </a:lnTo>
                  <a:lnTo>
                    <a:pt x="256" y="847"/>
                  </a:lnTo>
                  <a:lnTo>
                    <a:pt x="251" y="846"/>
                  </a:lnTo>
                  <a:lnTo>
                    <a:pt x="245" y="844"/>
                  </a:lnTo>
                  <a:lnTo>
                    <a:pt x="239" y="843"/>
                  </a:lnTo>
                  <a:lnTo>
                    <a:pt x="232" y="843"/>
                  </a:lnTo>
                  <a:lnTo>
                    <a:pt x="225" y="842"/>
                  </a:lnTo>
                  <a:lnTo>
                    <a:pt x="217" y="840"/>
                  </a:lnTo>
                  <a:lnTo>
                    <a:pt x="208" y="835"/>
                  </a:lnTo>
                  <a:lnTo>
                    <a:pt x="204" y="833"/>
                  </a:lnTo>
                  <a:lnTo>
                    <a:pt x="200" y="833"/>
                  </a:lnTo>
                  <a:lnTo>
                    <a:pt x="186" y="836"/>
                  </a:lnTo>
                  <a:lnTo>
                    <a:pt x="177" y="839"/>
                  </a:lnTo>
                  <a:lnTo>
                    <a:pt x="169" y="839"/>
                  </a:lnTo>
                  <a:lnTo>
                    <a:pt x="163" y="836"/>
                  </a:lnTo>
                  <a:lnTo>
                    <a:pt x="158" y="834"/>
                  </a:lnTo>
                  <a:lnTo>
                    <a:pt x="152" y="828"/>
                  </a:lnTo>
                  <a:lnTo>
                    <a:pt x="148" y="822"/>
                  </a:lnTo>
                  <a:lnTo>
                    <a:pt x="141" y="814"/>
                  </a:lnTo>
                  <a:lnTo>
                    <a:pt x="133" y="804"/>
                  </a:lnTo>
                  <a:lnTo>
                    <a:pt x="126" y="795"/>
                  </a:lnTo>
                  <a:lnTo>
                    <a:pt x="121" y="787"/>
                  </a:lnTo>
                  <a:lnTo>
                    <a:pt x="118" y="781"/>
                  </a:lnTo>
                  <a:lnTo>
                    <a:pt x="117" y="776"/>
                  </a:lnTo>
                  <a:lnTo>
                    <a:pt x="114" y="772"/>
                  </a:lnTo>
                  <a:lnTo>
                    <a:pt x="111" y="768"/>
                  </a:lnTo>
                  <a:lnTo>
                    <a:pt x="104" y="764"/>
                  </a:lnTo>
                  <a:lnTo>
                    <a:pt x="95" y="759"/>
                  </a:lnTo>
                  <a:lnTo>
                    <a:pt x="84" y="755"/>
                  </a:lnTo>
                  <a:lnTo>
                    <a:pt x="75" y="750"/>
                  </a:lnTo>
                  <a:lnTo>
                    <a:pt x="69" y="745"/>
                  </a:lnTo>
                  <a:lnTo>
                    <a:pt x="65" y="741"/>
                  </a:lnTo>
                  <a:lnTo>
                    <a:pt x="61" y="735"/>
                  </a:lnTo>
                  <a:lnTo>
                    <a:pt x="60" y="729"/>
                  </a:lnTo>
                  <a:lnTo>
                    <a:pt x="59" y="722"/>
                  </a:lnTo>
                  <a:lnTo>
                    <a:pt x="59" y="714"/>
                  </a:lnTo>
                  <a:lnTo>
                    <a:pt x="60" y="693"/>
                  </a:lnTo>
                  <a:lnTo>
                    <a:pt x="60" y="674"/>
                  </a:lnTo>
                  <a:lnTo>
                    <a:pt x="56" y="657"/>
                  </a:lnTo>
                  <a:lnTo>
                    <a:pt x="45" y="647"/>
                  </a:lnTo>
                  <a:lnTo>
                    <a:pt x="37" y="644"/>
                  </a:lnTo>
                  <a:lnTo>
                    <a:pt x="29" y="640"/>
                  </a:lnTo>
                  <a:lnTo>
                    <a:pt x="22" y="637"/>
                  </a:lnTo>
                  <a:lnTo>
                    <a:pt x="15" y="632"/>
                  </a:lnTo>
                  <a:lnTo>
                    <a:pt x="10" y="629"/>
                  </a:lnTo>
                  <a:lnTo>
                    <a:pt x="5" y="625"/>
                  </a:lnTo>
                  <a:lnTo>
                    <a:pt x="1" y="624"/>
                  </a:lnTo>
                  <a:lnTo>
                    <a:pt x="0" y="623"/>
                  </a:lnTo>
                  <a:lnTo>
                    <a:pt x="0" y="601"/>
                  </a:lnTo>
                  <a:lnTo>
                    <a:pt x="1" y="602"/>
                  </a:lnTo>
                  <a:lnTo>
                    <a:pt x="4" y="607"/>
                  </a:lnTo>
                  <a:lnTo>
                    <a:pt x="8" y="612"/>
                  </a:lnTo>
                  <a:lnTo>
                    <a:pt x="15" y="617"/>
                  </a:lnTo>
                  <a:lnTo>
                    <a:pt x="23" y="623"/>
                  </a:lnTo>
                  <a:lnTo>
                    <a:pt x="34" y="627"/>
                  </a:lnTo>
                  <a:lnTo>
                    <a:pt x="45" y="629"/>
                  </a:lnTo>
                  <a:lnTo>
                    <a:pt x="59" y="627"/>
                  </a:lnTo>
                  <a:lnTo>
                    <a:pt x="84" y="591"/>
                  </a:lnTo>
                  <a:lnTo>
                    <a:pt x="87" y="587"/>
                  </a:lnTo>
                  <a:lnTo>
                    <a:pt x="91" y="579"/>
                  </a:lnTo>
                  <a:lnTo>
                    <a:pt x="95" y="570"/>
                  </a:lnTo>
                  <a:lnTo>
                    <a:pt x="91" y="563"/>
                  </a:lnTo>
                  <a:lnTo>
                    <a:pt x="83" y="558"/>
                  </a:lnTo>
                  <a:lnTo>
                    <a:pt x="76" y="553"/>
                  </a:lnTo>
                  <a:lnTo>
                    <a:pt x="75" y="546"/>
                  </a:lnTo>
                  <a:lnTo>
                    <a:pt x="81" y="539"/>
                  </a:lnTo>
                  <a:lnTo>
                    <a:pt x="86" y="534"/>
                  </a:lnTo>
                  <a:lnTo>
                    <a:pt x="90" y="529"/>
                  </a:lnTo>
                  <a:lnTo>
                    <a:pt x="94" y="522"/>
                  </a:lnTo>
                  <a:lnTo>
                    <a:pt x="98" y="516"/>
                  </a:lnTo>
                  <a:lnTo>
                    <a:pt x="104" y="510"/>
                  </a:lnTo>
                  <a:lnTo>
                    <a:pt x="111" y="506"/>
                  </a:lnTo>
                  <a:lnTo>
                    <a:pt x="119" y="503"/>
                  </a:lnTo>
                  <a:lnTo>
                    <a:pt x="129" y="503"/>
                  </a:lnTo>
                  <a:lnTo>
                    <a:pt x="140" y="505"/>
                  </a:lnTo>
                  <a:lnTo>
                    <a:pt x="149" y="506"/>
                  </a:lnTo>
                  <a:lnTo>
                    <a:pt x="157" y="506"/>
                  </a:lnTo>
                  <a:lnTo>
                    <a:pt x="163" y="506"/>
                  </a:lnTo>
                  <a:lnTo>
                    <a:pt x="166" y="503"/>
                  </a:lnTo>
                  <a:lnTo>
                    <a:pt x="170" y="501"/>
                  </a:lnTo>
                  <a:lnTo>
                    <a:pt x="172" y="496"/>
                  </a:lnTo>
                  <a:lnTo>
                    <a:pt x="172" y="490"/>
                  </a:lnTo>
                  <a:lnTo>
                    <a:pt x="175" y="472"/>
                  </a:lnTo>
                  <a:lnTo>
                    <a:pt x="185" y="453"/>
                  </a:lnTo>
                  <a:lnTo>
                    <a:pt x="194" y="434"/>
                  </a:lnTo>
                  <a:lnTo>
                    <a:pt x="200" y="417"/>
                  </a:lnTo>
                  <a:lnTo>
                    <a:pt x="202" y="402"/>
                  </a:lnTo>
                  <a:lnTo>
                    <a:pt x="203" y="392"/>
                  </a:lnTo>
                  <a:lnTo>
                    <a:pt x="208" y="385"/>
                  </a:lnTo>
                  <a:lnTo>
                    <a:pt x="217" y="385"/>
                  </a:lnTo>
                  <a:lnTo>
                    <a:pt x="225" y="384"/>
                  </a:lnTo>
                  <a:lnTo>
                    <a:pt x="233" y="379"/>
                  </a:lnTo>
                  <a:lnTo>
                    <a:pt x="242" y="372"/>
                  </a:lnTo>
                  <a:lnTo>
                    <a:pt x="251" y="363"/>
                  </a:lnTo>
                  <a:lnTo>
                    <a:pt x="258" y="354"/>
                  </a:lnTo>
                  <a:lnTo>
                    <a:pt x="264" y="343"/>
                  </a:lnTo>
                  <a:lnTo>
                    <a:pt x="265" y="334"/>
                  </a:lnTo>
                  <a:lnTo>
                    <a:pt x="262" y="326"/>
                  </a:lnTo>
                  <a:lnTo>
                    <a:pt x="251" y="311"/>
                  </a:lnTo>
                  <a:lnTo>
                    <a:pt x="246" y="297"/>
                  </a:lnTo>
                  <a:lnTo>
                    <a:pt x="246" y="285"/>
                  </a:lnTo>
                  <a:lnTo>
                    <a:pt x="255" y="276"/>
                  </a:lnTo>
                  <a:lnTo>
                    <a:pt x="263" y="274"/>
                  </a:lnTo>
                  <a:lnTo>
                    <a:pt x="271" y="272"/>
                  </a:lnTo>
                  <a:lnTo>
                    <a:pt x="279" y="271"/>
                  </a:lnTo>
                  <a:lnTo>
                    <a:pt x="287" y="270"/>
                  </a:lnTo>
                  <a:lnTo>
                    <a:pt x="294" y="268"/>
                  </a:lnTo>
                  <a:lnTo>
                    <a:pt x="301" y="268"/>
                  </a:lnTo>
                  <a:lnTo>
                    <a:pt x="308" y="268"/>
                  </a:lnTo>
                  <a:lnTo>
                    <a:pt x="315" y="270"/>
                  </a:lnTo>
                  <a:lnTo>
                    <a:pt x="322" y="270"/>
                  </a:lnTo>
                  <a:lnTo>
                    <a:pt x="329" y="267"/>
                  </a:lnTo>
                  <a:lnTo>
                    <a:pt x="336" y="263"/>
                  </a:lnTo>
                  <a:lnTo>
                    <a:pt x="344" y="259"/>
                  </a:lnTo>
                  <a:lnTo>
                    <a:pt x="353" y="255"/>
                  </a:lnTo>
                  <a:lnTo>
                    <a:pt x="362" y="252"/>
                  </a:lnTo>
                  <a:lnTo>
                    <a:pt x="371" y="252"/>
                  </a:lnTo>
                  <a:lnTo>
                    <a:pt x="382" y="256"/>
                  </a:lnTo>
                  <a:lnTo>
                    <a:pt x="391" y="259"/>
                  </a:lnTo>
                  <a:lnTo>
                    <a:pt x="399" y="259"/>
                  </a:lnTo>
                  <a:lnTo>
                    <a:pt x="405" y="257"/>
                  </a:lnTo>
                  <a:lnTo>
                    <a:pt x="409" y="253"/>
                  </a:lnTo>
                  <a:lnTo>
                    <a:pt x="414" y="250"/>
                  </a:lnTo>
                  <a:lnTo>
                    <a:pt x="419" y="247"/>
                  </a:lnTo>
                  <a:lnTo>
                    <a:pt x="424" y="243"/>
                  </a:lnTo>
                  <a:lnTo>
                    <a:pt x="430" y="242"/>
                  </a:lnTo>
                  <a:lnTo>
                    <a:pt x="436" y="241"/>
                  </a:lnTo>
                  <a:lnTo>
                    <a:pt x="442" y="240"/>
                  </a:lnTo>
                  <a:lnTo>
                    <a:pt x="447" y="237"/>
                  </a:lnTo>
                  <a:lnTo>
                    <a:pt x="451" y="233"/>
                  </a:lnTo>
                  <a:lnTo>
                    <a:pt x="455" y="229"/>
                  </a:lnTo>
                  <a:lnTo>
                    <a:pt x="459" y="225"/>
                  </a:lnTo>
                  <a:lnTo>
                    <a:pt x="462" y="219"/>
                  </a:lnTo>
                  <a:lnTo>
                    <a:pt x="465" y="214"/>
                  </a:lnTo>
                  <a:lnTo>
                    <a:pt x="469" y="208"/>
                  </a:lnTo>
                  <a:lnTo>
                    <a:pt x="475" y="204"/>
                  </a:lnTo>
                  <a:lnTo>
                    <a:pt x="483" y="199"/>
                  </a:lnTo>
                  <a:lnTo>
                    <a:pt x="491" y="196"/>
                  </a:lnTo>
                  <a:lnTo>
                    <a:pt x="500" y="192"/>
                  </a:lnTo>
                  <a:lnTo>
                    <a:pt x="510" y="189"/>
                  </a:lnTo>
                  <a:lnTo>
                    <a:pt x="518" y="187"/>
                  </a:lnTo>
                  <a:lnTo>
                    <a:pt x="525" y="185"/>
                  </a:lnTo>
                  <a:lnTo>
                    <a:pt x="530" y="184"/>
                  </a:lnTo>
                  <a:lnTo>
                    <a:pt x="536" y="182"/>
                  </a:lnTo>
                  <a:lnTo>
                    <a:pt x="542" y="180"/>
                  </a:lnTo>
                  <a:lnTo>
                    <a:pt x="548" y="179"/>
                  </a:lnTo>
                  <a:lnTo>
                    <a:pt x="552" y="177"/>
                  </a:lnTo>
                  <a:lnTo>
                    <a:pt x="558" y="177"/>
                  </a:lnTo>
                  <a:lnTo>
                    <a:pt x="564" y="179"/>
                  </a:lnTo>
                  <a:lnTo>
                    <a:pt x="571" y="182"/>
                  </a:lnTo>
                  <a:lnTo>
                    <a:pt x="579" y="185"/>
                  </a:lnTo>
                  <a:lnTo>
                    <a:pt x="589" y="189"/>
                  </a:lnTo>
                  <a:lnTo>
                    <a:pt x="601" y="192"/>
                  </a:lnTo>
                  <a:lnTo>
                    <a:pt x="614" y="194"/>
                  </a:lnTo>
                  <a:lnTo>
                    <a:pt x="627" y="194"/>
                  </a:lnTo>
                  <a:lnTo>
                    <a:pt x="639" y="191"/>
                  </a:lnTo>
                  <a:lnTo>
                    <a:pt x="649" y="187"/>
                  </a:lnTo>
                  <a:lnTo>
                    <a:pt x="657" y="179"/>
                  </a:lnTo>
                  <a:lnTo>
                    <a:pt x="662" y="169"/>
                  </a:lnTo>
                  <a:lnTo>
                    <a:pt x="664" y="160"/>
                  </a:lnTo>
                  <a:lnTo>
                    <a:pt x="665" y="151"/>
                  </a:lnTo>
                  <a:lnTo>
                    <a:pt x="666" y="143"/>
                  </a:lnTo>
                  <a:lnTo>
                    <a:pt x="670" y="136"/>
                  </a:lnTo>
                  <a:lnTo>
                    <a:pt x="674" y="131"/>
                  </a:lnTo>
                  <a:lnTo>
                    <a:pt x="685" y="129"/>
                  </a:lnTo>
                  <a:lnTo>
                    <a:pt x="700" y="130"/>
                  </a:lnTo>
                  <a:lnTo>
                    <a:pt x="717" y="132"/>
                  </a:lnTo>
                  <a:lnTo>
                    <a:pt x="731" y="135"/>
                  </a:lnTo>
                  <a:lnTo>
                    <a:pt x="743" y="137"/>
                  </a:lnTo>
                  <a:lnTo>
                    <a:pt x="754" y="138"/>
                  </a:lnTo>
                  <a:lnTo>
                    <a:pt x="762" y="138"/>
                  </a:lnTo>
                  <a:lnTo>
                    <a:pt x="768" y="137"/>
                  </a:lnTo>
                  <a:lnTo>
                    <a:pt x="771" y="135"/>
                  </a:lnTo>
                  <a:lnTo>
                    <a:pt x="773" y="130"/>
                  </a:lnTo>
                  <a:lnTo>
                    <a:pt x="775" y="126"/>
                  </a:lnTo>
                  <a:lnTo>
                    <a:pt x="775" y="121"/>
                  </a:lnTo>
                  <a:lnTo>
                    <a:pt x="776" y="116"/>
                  </a:lnTo>
                  <a:lnTo>
                    <a:pt x="778" y="113"/>
                  </a:lnTo>
                  <a:lnTo>
                    <a:pt x="783" y="111"/>
                  </a:lnTo>
                  <a:lnTo>
                    <a:pt x="790" y="109"/>
                  </a:lnTo>
                  <a:lnTo>
                    <a:pt x="800" y="109"/>
                  </a:lnTo>
                  <a:lnTo>
                    <a:pt x="814" y="112"/>
                  </a:lnTo>
                  <a:lnTo>
                    <a:pt x="829" y="115"/>
                  </a:lnTo>
                  <a:lnTo>
                    <a:pt x="840" y="117"/>
                  </a:lnTo>
                  <a:lnTo>
                    <a:pt x="849" y="120"/>
                  </a:lnTo>
                  <a:lnTo>
                    <a:pt x="858" y="121"/>
                  </a:lnTo>
                  <a:lnTo>
                    <a:pt x="863" y="122"/>
                  </a:lnTo>
                  <a:lnTo>
                    <a:pt x="869" y="122"/>
                  </a:lnTo>
                  <a:lnTo>
                    <a:pt x="875" y="122"/>
                  </a:lnTo>
                  <a:lnTo>
                    <a:pt x="881" y="120"/>
                  </a:lnTo>
                  <a:lnTo>
                    <a:pt x="887" y="116"/>
                  </a:lnTo>
                  <a:lnTo>
                    <a:pt x="893" y="113"/>
                  </a:lnTo>
                  <a:lnTo>
                    <a:pt x="900" y="108"/>
                  </a:lnTo>
                  <a:lnTo>
                    <a:pt x="908" y="104"/>
                  </a:lnTo>
                  <a:lnTo>
                    <a:pt x="915" y="99"/>
                  </a:lnTo>
                  <a:lnTo>
                    <a:pt x="924" y="96"/>
                  </a:lnTo>
                  <a:lnTo>
                    <a:pt x="932" y="93"/>
                  </a:lnTo>
                  <a:lnTo>
                    <a:pt x="943" y="91"/>
                  </a:lnTo>
                  <a:lnTo>
                    <a:pt x="960" y="86"/>
                  </a:lnTo>
                  <a:lnTo>
                    <a:pt x="969" y="81"/>
                  </a:lnTo>
                  <a:lnTo>
                    <a:pt x="974" y="76"/>
                  </a:lnTo>
                  <a:lnTo>
                    <a:pt x="975" y="74"/>
                  </a:lnTo>
                  <a:lnTo>
                    <a:pt x="992" y="70"/>
                  </a:lnTo>
                  <a:lnTo>
                    <a:pt x="993" y="70"/>
                  </a:lnTo>
                  <a:lnTo>
                    <a:pt x="996" y="69"/>
                  </a:lnTo>
                  <a:lnTo>
                    <a:pt x="999" y="67"/>
                  </a:lnTo>
                  <a:lnTo>
                    <a:pt x="1005" y="66"/>
                  </a:lnTo>
                  <a:lnTo>
                    <a:pt x="1010" y="65"/>
                  </a:lnTo>
                  <a:lnTo>
                    <a:pt x="1015" y="65"/>
                  </a:lnTo>
                  <a:lnTo>
                    <a:pt x="1021" y="65"/>
                  </a:lnTo>
                  <a:lnTo>
                    <a:pt x="1027" y="67"/>
                  </a:lnTo>
                  <a:lnTo>
                    <a:pt x="1033" y="68"/>
                  </a:lnTo>
                  <a:lnTo>
                    <a:pt x="1040" y="68"/>
                  </a:lnTo>
                  <a:lnTo>
                    <a:pt x="1048" y="67"/>
                  </a:lnTo>
                  <a:lnTo>
                    <a:pt x="1057" y="65"/>
                  </a:lnTo>
                  <a:lnTo>
                    <a:pt x="1065" y="63"/>
                  </a:lnTo>
                  <a:lnTo>
                    <a:pt x="1072" y="62"/>
                  </a:lnTo>
                  <a:lnTo>
                    <a:pt x="1079" y="62"/>
                  </a:lnTo>
                  <a:lnTo>
                    <a:pt x="1083" y="63"/>
                  </a:lnTo>
                  <a:lnTo>
                    <a:pt x="1088" y="71"/>
                  </a:lnTo>
                  <a:lnTo>
                    <a:pt x="1090" y="82"/>
                  </a:lnTo>
                  <a:lnTo>
                    <a:pt x="1095" y="91"/>
                  </a:lnTo>
                  <a:lnTo>
                    <a:pt x="1108" y="94"/>
                  </a:lnTo>
                  <a:lnTo>
                    <a:pt x="1121" y="98"/>
                  </a:lnTo>
                  <a:lnTo>
                    <a:pt x="1128" y="105"/>
                  </a:lnTo>
                  <a:lnTo>
                    <a:pt x="1132" y="113"/>
                  </a:lnTo>
                  <a:lnTo>
                    <a:pt x="1132" y="116"/>
                  </a:lnTo>
                  <a:lnTo>
                    <a:pt x="1133" y="115"/>
                  </a:lnTo>
                  <a:lnTo>
                    <a:pt x="1136" y="113"/>
                  </a:lnTo>
                  <a:lnTo>
                    <a:pt x="1142" y="111"/>
                  </a:lnTo>
                  <a:lnTo>
                    <a:pt x="1150" y="107"/>
                  </a:lnTo>
                  <a:lnTo>
                    <a:pt x="1157" y="106"/>
                  </a:lnTo>
                  <a:lnTo>
                    <a:pt x="1166" y="105"/>
                  </a:lnTo>
                  <a:lnTo>
                    <a:pt x="1174" y="107"/>
                  </a:lnTo>
                  <a:lnTo>
                    <a:pt x="1181" y="112"/>
                  </a:lnTo>
                  <a:lnTo>
                    <a:pt x="1188" y="119"/>
                  </a:lnTo>
                  <a:lnTo>
                    <a:pt x="1196" y="124"/>
                  </a:lnTo>
                  <a:lnTo>
                    <a:pt x="1205" y="129"/>
                  </a:lnTo>
                  <a:lnTo>
                    <a:pt x="1215" y="135"/>
                  </a:lnTo>
                  <a:lnTo>
                    <a:pt x="1223" y="139"/>
                  </a:lnTo>
                  <a:lnTo>
                    <a:pt x="1232" y="143"/>
                  </a:lnTo>
                  <a:lnTo>
                    <a:pt x="1240" y="147"/>
                  </a:lnTo>
                  <a:lnTo>
                    <a:pt x="1247" y="151"/>
                  </a:lnTo>
                  <a:lnTo>
                    <a:pt x="1254" y="154"/>
                  </a:lnTo>
                  <a:lnTo>
                    <a:pt x="1261" y="157"/>
                  </a:lnTo>
                  <a:lnTo>
                    <a:pt x="1268" y="158"/>
                  </a:lnTo>
                  <a:lnTo>
                    <a:pt x="1275" y="158"/>
                  </a:lnTo>
                  <a:lnTo>
                    <a:pt x="1282" y="157"/>
                  </a:lnTo>
                  <a:lnTo>
                    <a:pt x="1288" y="156"/>
                  </a:lnTo>
                  <a:lnTo>
                    <a:pt x="1294" y="153"/>
                  </a:lnTo>
                  <a:lnTo>
                    <a:pt x="1300" y="151"/>
                  </a:lnTo>
                  <a:lnTo>
                    <a:pt x="1307" y="149"/>
                  </a:lnTo>
                  <a:lnTo>
                    <a:pt x="1316" y="146"/>
                  </a:lnTo>
                  <a:lnTo>
                    <a:pt x="1328" y="145"/>
                  </a:lnTo>
                  <a:lnTo>
                    <a:pt x="1339" y="143"/>
                  </a:lnTo>
                  <a:lnTo>
                    <a:pt x="1350" y="142"/>
                  </a:lnTo>
                  <a:lnTo>
                    <a:pt x="1359" y="142"/>
                  </a:lnTo>
                  <a:lnTo>
                    <a:pt x="1364" y="141"/>
                  </a:lnTo>
                  <a:lnTo>
                    <a:pt x="1367" y="141"/>
                  </a:lnTo>
                  <a:lnTo>
                    <a:pt x="1369" y="137"/>
                  </a:lnTo>
                  <a:lnTo>
                    <a:pt x="1374" y="130"/>
                  </a:lnTo>
                  <a:lnTo>
                    <a:pt x="1382" y="128"/>
                  </a:lnTo>
                  <a:lnTo>
                    <a:pt x="1391" y="134"/>
                  </a:lnTo>
                  <a:lnTo>
                    <a:pt x="1397" y="138"/>
                  </a:lnTo>
                  <a:lnTo>
                    <a:pt x="1401" y="139"/>
                  </a:lnTo>
                  <a:lnTo>
                    <a:pt x="1407" y="139"/>
                  </a:lnTo>
                  <a:lnTo>
                    <a:pt x="1414" y="136"/>
                  </a:lnTo>
                  <a:lnTo>
                    <a:pt x="1420" y="132"/>
                  </a:lnTo>
                  <a:lnTo>
                    <a:pt x="1426" y="129"/>
                  </a:lnTo>
                  <a:lnTo>
                    <a:pt x="1430" y="126"/>
                  </a:lnTo>
                  <a:lnTo>
                    <a:pt x="1436" y="123"/>
                  </a:lnTo>
                  <a:lnTo>
                    <a:pt x="1446" y="122"/>
                  </a:lnTo>
                  <a:lnTo>
                    <a:pt x="1456" y="123"/>
                  </a:lnTo>
                  <a:lnTo>
                    <a:pt x="1461" y="121"/>
                  </a:lnTo>
                  <a:lnTo>
                    <a:pt x="1464" y="112"/>
                  </a:lnTo>
                  <a:lnTo>
                    <a:pt x="1464" y="97"/>
                  </a:lnTo>
                  <a:lnTo>
                    <a:pt x="1462" y="81"/>
                  </a:lnTo>
                  <a:lnTo>
                    <a:pt x="1458" y="66"/>
                  </a:lnTo>
                  <a:lnTo>
                    <a:pt x="1450" y="53"/>
                  </a:lnTo>
                  <a:lnTo>
                    <a:pt x="1441" y="45"/>
                  </a:lnTo>
                  <a:lnTo>
                    <a:pt x="1435" y="39"/>
                  </a:lnTo>
                  <a:lnTo>
                    <a:pt x="1431" y="33"/>
                  </a:lnTo>
                  <a:lnTo>
                    <a:pt x="1432" y="25"/>
                  </a:lnTo>
                  <a:lnTo>
                    <a:pt x="1435" y="17"/>
                  </a:lnTo>
                  <a:lnTo>
                    <a:pt x="1439" y="10"/>
                  </a:lnTo>
                  <a:lnTo>
                    <a:pt x="1446" y="5"/>
                  </a:lnTo>
                  <a:lnTo>
                    <a:pt x="1456" y="1"/>
                  </a:lnTo>
                  <a:lnTo>
                    <a:pt x="1459" y="0"/>
                  </a:lnTo>
                  <a:lnTo>
                    <a:pt x="1464" y="0"/>
                  </a:lnTo>
                  <a:lnTo>
                    <a:pt x="1469" y="0"/>
                  </a:lnTo>
                  <a:lnTo>
                    <a:pt x="1475" y="0"/>
                  </a:lnTo>
                  <a:lnTo>
                    <a:pt x="1485" y="2"/>
                  </a:lnTo>
                  <a:lnTo>
                    <a:pt x="1498" y="6"/>
                  </a:lnTo>
                  <a:lnTo>
                    <a:pt x="1510" y="9"/>
                  </a:lnTo>
                  <a:lnTo>
                    <a:pt x="1520" y="14"/>
                  </a:lnTo>
                  <a:lnTo>
                    <a:pt x="1529" y="18"/>
                  </a:lnTo>
                  <a:lnTo>
                    <a:pt x="1537" y="22"/>
                  </a:lnTo>
                  <a:lnTo>
                    <a:pt x="1542" y="24"/>
                  </a:lnTo>
                  <a:lnTo>
                    <a:pt x="1544" y="25"/>
                  </a:lnTo>
                  <a:lnTo>
                    <a:pt x="1547" y="30"/>
                  </a:lnTo>
                  <a:lnTo>
                    <a:pt x="1553" y="41"/>
                  </a:lnTo>
                  <a:lnTo>
                    <a:pt x="1563" y="56"/>
                  </a:lnTo>
                  <a:lnTo>
                    <a:pt x="1570" y="70"/>
                  </a:lnTo>
                  <a:lnTo>
                    <a:pt x="1573" y="85"/>
                  </a:lnTo>
                  <a:lnTo>
                    <a:pt x="1573" y="101"/>
                  </a:lnTo>
                  <a:lnTo>
                    <a:pt x="1568" y="116"/>
                  </a:lnTo>
                  <a:lnTo>
                    <a:pt x="1562" y="123"/>
                  </a:lnTo>
                  <a:lnTo>
                    <a:pt x="1558" y="126"/>
                  </a:lnTo>
                  <a:lnTo>
                    <a:pt x="1553" y="128"/>
                  </a:lnTo>
                  <a:lnTo>
                    <a:pt x="1549" y="130"/>
                  </a:lnTo>
                  <a:lnTo>
                    <a:pt x="1544" y="134"/>
                  </a:lnTo>
                  <a:lnTo>
                    <a:pt x="1540" y="138"/>
                  </a:lnTo>
                  <a:lnTo>
                    <a:pt x="1534" y="142"/>
                  </a:lnTo>
                  <a:lnTo>
                    <a:pt x="1527" y="144"/>
                  </a:lnTo>
                  <a:lnTo>
                    <a:pt x="1520" y="147"/>
                  </a:lnTo>
                  <a:lnTo>
                    <a:pt x="1507" y="153"/>
                  </a:lnTo>
                  <a:lnTo>
                    <a:pt x="1500" y="160"/>
                  </a:lnTo>
                  <a:lnTo>
                    <a:pt x="1497" y="167"/>
                  </a:lnTo>
                  <a:lnTo>
                    <a:pt x="1496" y="175"/>
                  </a:lnTo>
                  <a:lnTo>
                    <a:pt x="1497" y="185"/>
                  </a:lnTo>
                  <a:lnTo>
                    <a:pt x="1502" y="198"/>
                  </a:lnTo>
                  <a:lnTo>
                    <a:pt x="1505" y="212"/>
                  </a:lnTo>
                  <a:lnTo>
                    <a:pt x="1506" y="225"/>
                  </a:lnTo>
                  <a:lnTo>
                    <a:pt x="1504" y="235"/>
                  </a:lnTo>
                  <a:lnTo>
                    <a:pt x="1498" y="247"/>
                  </a:lnTo>
                  <a:lnTo>
                    <a:pt x="1491" y="257"/>
                  </a:lnTo>
                  <a:lnTo>
                    <a:pt x="1485" y="266"/>
                  </a:lnTo>
                  <a:lnTo>
                    <a:pt x="1482" y="271"/>
                  </a:lnTo>
                  <a:lnTo>
                    <a:pt x="1477" y="279"/>
                  </a:lnTo>
                  <a:lnTo>
                    <a:pt x="1473" y="287"/>
                  </a:lnTo>
                  <a:lnTo>
                    <a:pt x="1467" y="295"/>
                  </a:lnTo>
                  <a:lnTo>
                    <a:pt x="1461" y="303"/>
                  </a:lnTo>
                  <a:lnTo>
                    <a:pt x="1456" y="310"/>
                  </a:lnTo>
                  <a:lnTo>
                    <a:pt x="1451" y="314"/>
                  </a:lnTo>
                  <a:lnTo>
                    <a:pt x="1446" y="316"/>
                  </a:lnTo>
                  <a:lnTo>
                    <a:pt x="1439" y="312"/>
                  </a:lnTo>
                  <a:lnTo>
                    <a:pt x="1432" y="305"/>
                  </a:lnTo>
                  <a:lnTo>
                    <a:pt x="1424" y="297"/>
                  </a:lnTo>
                  <a:lnTo>
                    <a:pt x="1415" y="290"/>
                  </a:lnTo>
                  <a:lnTo>
                    <a:pt x="1411" y="288"/>
                  </a:lnTo>
                  <a:lnTo>
                    <a:pt x="1406" y="287"/>
                  </a:lnTo>
                  <a:lnTo>
                    <a:pt x="1401" y="285"/>
                  </a:lnTo>
                  <a:lnTo>
                    <a:pt x="1397" y="285"/>
                  </a:lnTo>
                  <a:lnTo>
                    <a:pt x="1391" y="283"/>
                  </a:lnTo>
                  <a:lnTo>
                    <a:pt x="1385" y="283"/>
                  </a:lnTo>
                  <a:lnTo>
                    <a:pt x="1378" y="283"/>
                  </a:lnTo>
                  <a:lnTo>
                    <a:pt x="1370" y="283"/>
                  </a:lnTo>
                  <a:lnTo>
                    <a:pt x="1361" y="283"/>
                  </a:lnTo>
                  <a:lnTo>
                    <a:pt x="1351" y="281"/>
                  </a:lnTo>
                  <a:lnTo>
                    <a:pt x="1340" y="280"/>
                  </a:lnTo>
                  <a:lnTo>
                    <a:pt x="1330" y="276"/>
                  </a:lnTo>
                  <a:lnTo>
                    <a:pt x="1320" y="274"/>
                  </a:lnTo>
                  <a:lnTo>
                    <a:pt x="1309" y="271"/>
                  </a:lnTo>
                  <a:lnTo>
                    <a:pt x="1299" y="266"/>
                  </a:lnTo>
                  <a:lnTo>
                    <a:pt x="1290" y="263"/>
                  </a:lnTo>
                  <a:lnTo>
                    <a:pt x="1280" y="259"/>
                  </a:lnTo>
                  <a:lnTo>
                    <a:pt x="1273" y="255"/>
                  </a:lnTo>
                  <a:lnTo>
                    <a:pt x="1267" y="252"/>
                  </a:lnTo>
                  <a:lnTo>
                    <a:pt x="1261" y="249"/>
                  </a:lnTo>
                  <a:lnTo>
                    <a:pt x="1255" y="248"/>
                  </a:lnTo>
                  <a:lnTo>
                    <a:pt x="1250" y="247"/>
                  </a:lnTo>
                  <a:lnTo>
                    <a:pt x="1245" y="247"/>
                  </a:lnTo>
                  <a:lnTo>
                    <a:pt x="1240" y="249"/>
                  </a:lnTo>
                  <a:lnTo>
                    <a:pt x="1232" y="252"/>
                  </a:lnTo>
                  <a:lnTo>
                    <a:pt x="1229" y="255"/>
                  </a:lnTo>
                  <a:lnTo>
                    <a:pt x="1226" y="256"/>
                  </a:lnTo>
                  <a:lnTo>
                    <a:pt x="1226" y="253"/>
                  </a:lnTo>
                  <a:lnTo>
                    <a:pt x="1226" y="248"/>
                  </a:lnTo>
                  <a:lnTo>
                    <a:pt x="1226" y="240"/>
                  </a:lnTo>
                  <a:lnTo>
                    <a:pt x="1226" y="232"/>
                  </a:lnTo>
                  <a:lnTo>
                    <a:pt x="1224" y="222"/>
                  </a:lnTo>
                  <a:lnTo>
                    <a:pt x="1217" y="213"/>
                  </a:lnTo>
                  <a:lnTo>
                    <a:pt x="1209" y="211"/>
                  </a:lnTo>
                  <a:lnTo>
                    <a:pt x="1202" y="221"/>
                  </a:lnTo>
                  <a:lnTo>
                    <a:pt x="1200" y="229"/>
                  </a:lnTo>
                  <a:lnTo>
                    <a:pt x="1197" y="237"/>
                  </a:lnTo>
                  <a:lnTo>
                    <a:pt x="1194" y="244"/>
                  </a:lnTo>
                  <a:lnTo>
                    <a:pt x="1191" y="250"/>
                  </a:lnTo>
                  <a:lnTo>
                    <a:pt x="1186" y="255"/>
                  </a:lnTo>
                  <a:lnTo>
                    <a:pt x="1180" y="258"/>
                  </a:lnTo>
                  <a:lnTo>
                    <a:pt x="1172" y="260"/>
                  </a:lnTo>
                  <a:lnTo>
                    <a:pt x="1163" y="263"/>
                  </a:lnTo>
                  <a:lnTo>
                    <a:pt x="1155" y="265"/>
                  </a:lnTo>
                  <a:lnTo>
                    <a:pt x="1150" y="267"/>
                  </a:lnTo>
                  <a:lnTo>
                    <a:pt x="1148" y="272"/>
                  </a:lnTo>
                  <a:lnTo>
                    <a:pt x="1147" y="275"/>
                  </a:lnTo>
                  <a:lnTo>
                    <a:pt x="1146" y="279"/>
                  </a:lnTo>
                  <a:lnTo>
                    <a:pt x="1143" y="282"/>
                  </a:lnTo>
                  <a:lnTo>
                    <a:pt x="1138" y="283"/>
                  </a:lnTo>
                  <a:lnTo>
                    <a:pt x="1128" y="283"/>
                  </a:lnTo>
                  <a:lnTo>
                    <a:pt x="1118" y="281"/>
                  </a:lnTo>
                  <a:lnTo>
                    <a:pt x="1109" y="279"/>
                  </a:lnTo>
                  <a:lnTo>
                    <a:pt x="1103" y="276"/>
                  </a:lnTo>
                  <a:lnTo>
                    <a:pt x="1097" y="273"/>
                  </a:lnTo>
                  <a:lnTo>
                    <a:pt x="1094" y="271"/>
                  </a:lnTo>
                  <a:lnTo>
                    <a:pt x="1091" y="268"/>
                  </a:lnTo>
                  <a:lnTo>
                    <a:pt x="1090" y="267"/>
                  </a:lnTo>
                  <a:lnTo>
                    <a:pt x="1090" y="266"/>
                  </a:lnTo>
                  <a:lnTo>
                    <a:pt x="1089" y="263"/>
                  </a:lnTo>
                  <a:lnTo>
                    <a:pt x="1085" y="256"/>
                  </a:lnTo>
                  <a:lnTo>
                    <a:pt x="1075" y="251"/>
                  </a:lnTo>
                  <a:lnTo>
                    <a:pt x="1058" y="256"/>
                  </a:lnTo>
                  <a:lnTo>
                    <a:pt x="1042" y="264"/>
                  </a:lnTo>
                  <a:lnTo>
                    <a:pt x="1034" y="270"/>
                  </a:lnTo>
                  <a:lnTo>
                    <a:pt x="1029" y="275"/>
                  </a:lnTo>
                  <a:lnTo>
                    <a:pt x="1027" y="283"/>
                  </a:lnTo>
                  <a:lnTo>
                    <a:pt x="1023" y="294"/>
                  </a:lnTo>
                  <a:lnTo>
                    <a:pt x="1019" y="303"/>
                  </a:lnTo>
                  <a:lnTo>
                    <a:pt x="1011" y="311"/>
                  </a:lnTo>
                  <a:lnTo>
                    <a:pt x="999" y="316"/>
                  </a:lnTo>
                  <a:lnTo>
                    <a:pt x="993" y="317"/>
                  </a:lnTo>
                  <a:lnTo>
                    <a:pt x="990" y="319"/>
                  </a:lnTo>
                  <a:lnTo>
                    <a:pt x="987" y="321"/>
                  </a:lnTo>
                  <a:lnTo>
                    <a:pt x="983" y="324"/>
                  </a:lnTo>
                  <a:lnTo>
                    <a:pt x="980" y="325"/>
                  </a:lnTo>
                  <a:lnTo>
                    <a:pt x="976" y="326"/>
                  </a:lnTo>
                  <a:lnTo>
                    <a:pt x="970" y="327"/>
                  </a:lnTo>
                  <a:lnTo>
                    <a:pt x="964" y="326"/>
                  </a:lnTo>
                  <a:lnTo>
                    <a:pt x="955" y="324"/>
                  </a:lnTo>
                  <a:lnTo>
                    <a:pt x="949" y="321"/>
                  </a:lnTo>
                  <a:lnTo>
                    <a:pt x="942" y="319"/>
                  </a:lnTo>
                  <a:lnTo>
                    <a:pt x="935" y="317"/>
                  </a:lnTo>
                  <a:lnTo>
                    <a:pt x="927" y="314"/>
                  </a:lnTo>
                  <a:lnTo>
                    <a:pt x="920" y="313"/>
                  </a:lnTo>
                  <a:lnTo>
                    <a:pt x="913" y="313"/>
                  </a:lnTo>
                  <a:lnTo>
                    <a:pt x="905" y="316"/>
                  </a:lnTo>
                  <a:lnTo>
                    <a:pt x="891" y="320"/>
                  </a:lnTo>
                  <a:lnTo>
                    <a:pt x="884" y="324"/>
                  </a:lnTo>
                  <a:lnTo>
                    <a:pt x="884" y="331"/>
                  </a:lnTo>
                  <a:lnTo>
                    <a:pt x="894" y="343"/>
                  </a:lnTo>
                  <a:lnTo>
                    <a:pt x="902" y="351"/>
                  </a:lnTo>
                  <a:lnTo>
                    <a:pt x="909" y="358"/>
                  </a:lnTo>
                  <a:lnTo>
                    <a:pt x="915" y="365"/>
                  </a:lnTo>
                  <a:lnTo>
                    <a:pt x="921" y="372"/>
                  </a:lnTo>
                  <a:lnTo>
                    <a:pt x="926" y="377"/>
                  </a:lnTo>
                  <a:lnTo>
                    <a:pt x="929" y="381"/>
                  </a:lnTo>
                  <a:lnTo>
                    <a:pt x="931" y="384"/>
                  </a:lnTo>
                  <a:lnTo>
                    <a:pt x="932" y="385"/>
                  </a:lnTo>
                  <a:lnTo>
                    <a:pt x="931" y="386"/>
                  </a:lnTo>
                  <a:lnTo>
                    <a:pt x="928" y="389"/>
                  </a:lnTo>
                  <a:lnTo>
                    <a:pt x="923" y="396"/>
                  </a:lnTo>
                  <a:lnTo>
                    <a:pt x="922" y="409"/>
                  </a:lnTo>
                  <a:lnTo>
                    <a:pt x="922" y="422"/>
                  </a:lnTo>
                  <a:lnTo>
                    <a:pt x="922" y="429"/>
                  </a:lnTo>
                  <a:lnTo>
                    <a:pt x="922" y="431"/>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9" name="Freeform 13"/>
            <p:cNvSpPr>
              <a:spLocks/>
            </p:cNvSpPr>
            <p:nvPr/>
          </p:nvSpPr>
          <p:spPr bwMode="gray">
            <a:xfrm>
              <a:off x="4266" y="3065"/>
              <a:ext cx="5" cy="4"/>
            </a:xfrm>
            <a:custGeom>
              <a:avLst/>
              <a:gdLst>
                <a:gd name="T0" fmla="*/ 2 w 2"/>
                <a:gd name="T1" fmla="*/ 2 h 2"/>
                <a:gd name="T2" fmla="*/ 1 w 2"/>
                <a:gd name="T3" fmla="*/ 1 h 2"/>
                <a:gd name="T4" fmla="*/ 1 w 2"/>
                <a:gd name="T5" fmla="*/ 1 h 2"/>
                <a:gd name="T6" fmla="*/ 1 w 2"/>
                <a:gd name="T7" fmla="*/ 1 h 2"/>
                <a:gd name="T8" fmla="*/ 0 w 2"/>
                <a:gd name="T9" fmla="*/ 0 h 2"/>
                <a:gd name="T10" fmla="*/ 1 w 2"/>
                <a:gd name="T11" fmla="*/ 1 h 2"/>
                <a:gd name="T12" fmla="*/ 1 w 2"/>
                <a:gd name="T13" fmla="*/ 1 h 2"/>
                <a:gd name="T14" fmla="*/ 1 w 2"/>
                <a:gd name="T15" fmla="*/ 2 h 2"/>
                <a:gd name="T16" fmla="*/ 2 w 2"/>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2" y="2"/>
                  </a:moveTo>
                  <a:lnTo>
                    <a:pt x="1" y="1"/>
                  </a:lnTo>
                  <a:lnTo>
                    <a:pt x="0" y="0"/>
                  </a:lnTo>
                  <a:lnTo>
                    <a:pt x="1" y="1"/>
                  </a:lnTo>
                  <a:lnTo>
                    <a:pt x="1" y="2"/>
                  </a:lnTo>
                  <a:lnTo>
                    <a:pt x="2" y="2"/>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0" name="Freeform 14"/>
            <p:cNvSpPr>
              <a:spLocks/>
            </p:cNvSpPr>
            <p:nvPr/>
          </p:nvSpPr>
          <p:spPr bwMode="gray">
            <a:xfrm>
              <a:off x="5524" y="3302"/>
              <a:ext cx="41" cy="30"/>
            </a:xfrm>
            <a:custGeom>
              <a:avLst/>
              <a:gdLst>
                <a:gd name="T0" fmla="*/ 35 w 37"/>
                <a:gd name="T1" fmla="*/ 0 h 28"/>
                <a:gd name="T2" fmla="*/ 36 w 37"/>
                <a:gd name="T3" fmla="*/ 2 h 28"/>
                <a:gd name="T4" fmla="*/ 37 w 37"/>
                <a:gd name="T5" fmla="*/ 7 h 28"/>
                <a:gd name="T6" fmla="*/ 35 w 37"/>
                <a:gd name="T7" fmla="*/ 12 h 28"/>
                <a:gd name="T8" fmla="*/ 28 w 37"/>
                <a:gd name="T9" fmla="*/ 14 h 28"/>
                <a:gd name="T10" fmla="*/ 18 w 37"/>
                <a:gd name="T11" fmla="*/ 16 h 28"/>
                <a:gd name="T12" fmla="*/ 10 w 37"/>
                <a:gd name="T13" fmla="*/ 21 h 28"/>
                <a:gd name="T14" fmla="*/ 3 w 37"/>
                <a:gd name="T15" fmla="*/ 26 h 28"/>
                <a:gd name="T16" fmla="*/ 0 w 37"/>
                <a:gd name="T17" fmla="*/ 28 h 28"/>
                <a:gd name="T18" fmla="*/ 4 w 37"/>
                <a:gd name="T19" fmla="*/ 11 h 28"/>
                <a:gd name="T20" fmla="*/ 7 w 37"/>
                <a:gd name="T21" fmla="*/ 9 h 28"/>
                <a:gd name="T22" fmla="*/ 15 w 37"/>
                <a:gd name="T23" fmla="*/ 5 h 28"/>
                <a:gd name="T24" fmla="*/ 26 w 37"/>
                <a:gd name="T25" fmla="*/ 1 h 28"/>
                <a:gd name="T26" fmla="*/ 35 w 37"/>
                <a:gd name="T27" fmla="*/ 0 h 2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7"/>
                <a:gd name="T43" fmla="*/ 0 h 28"/>
                <a:gd name="T44" fmla="*/ 37 w 37"/>
                <a:gd name="T45" fmla="*/ 28 h 2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7" h="28">
                  <a:moveTo>
                    <a:pt x="35" y="0"/>
                  </a:moveTo>
                  <a:lnTo>
                    <a:pt x="36" y="2"/>
                  </a:lnTo>
                  <a:lnTo>
                    <a:pt x="37" y="7"/>
                  </a:lnTo>
                  <a:lnTo>
                    <a:pt x="35" y="12"/>
                  </a:lnTo>
                  <a:lnTo>
                    <a:pt x="28" y="14"/>
                  </a:lnTo>
                  <a:lnTo>
                    <a:pt x="18" y="16"/>
                  </a:lnTo>
                  <a:lnTo>
                    <a:pt x="10" y="21"/>
                  </a:lnTo>
                  <a:lnTo>
                    <a:pt x="3" y="26"/>
                  </a:lnTo>
                  <a:lnTo>
                    <a:pt x="0" y="28"/>
                  </a:lnTo>
                  <a:lnTo>
                    <a:pt x="4" y="11"/>
                  </a:lnTo>
                  <a:lnTo>
                    <a:pt x="7" y="9"/>
                  </a:lnTo>
                  <a:lnTo>
                    <a:pt x="15" y="5"/>
                  </a:lnTo>
                  <a:lnTo>
                    <a:pt x="26" y="1"/>
                  </a:lnTo>
                  <a:lnTo>
                    <a:pt x="35"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1" name="Freeform 15"/>
            <p:cNvSpPr>
              <a:spLocks/>
            </p:cNvSpPr>
            <p:nvPr/>
          </p:nvSpPr>
          <p:spPr bwMode="gray">
            <a:xfrm>
              <a:off x="5576" y="3172"/>
              <a:ext cx="49" cy="125"/>
            </a:xfrm>
            <a:custGeom>
              <a:avLst/>
              <a:gdLst>
                <a:gd name="T0" fmla="*/ 35 w 43"/>
                <a:gd name="T1" fmla="*/ 80 h 115"/>
                <a:gd name="T2" fmla="*/ 38 w 43"/>
                <a:gd name="T3" fmla="*/ 82 h 115"/>
                <a:gd name="T4" fmla="*/ 41 w 43"/>
                <a:gd name="T5" fmla="*/ 88 h 115"/>
                <a:gd name="T6" fmla="*/ 43 w 43"/>
                <a:gd name="T7" fmla="*/ 95 h 115"/>
                <a:gd name="T8" fmla="*/ 39 w 43"/>
                <a:gd name="T9" fmla="*/ 101 h 115"/>
                <a:gd name="T10" fmla="*/ 31 w 43"/>
                <a:gd name="T11" fmla="*/ 106 h 115"/>
                <a:gd name="T12" fmla="*/ 25 w 43"/>
                <a:gd name="T13" fmla="*/ 110 h 115"/>
                <a:gd name="T14" fmla="*/ 20 w 43"/>
                <a:gd name="T15" fmla="*/ 114 h 115"/>
                <a:gd name="T16" fmla="*/ 18 w 43"/>
                <a:gd name="T17" fmla="*/ 115 h 115"/>
                <a:gd name="T18" fmla="*/ 17 w 43"/>
                <a:gd name="T19" fmla="*/ 109 h 115"/>
                <a:gd name="T20" fmla="*/ 15 w 43"/>
                <a:gd name="T21" fmla="*/ 96 h 115"/>
                <a:gd name="T22" fmla="*/ 11 w 43"/>
                <a:gd name="T23" fmla="*/ 82 h 115"/>
                <a:gd name="T24" fmla="*/ 4 w 43"/>
                <a:gd name="T25" fmla="*/ 73 h 115"/>
                <a:gd name="T26" fmla="*/ 0 w 43"/>
                <a:gd name="T27" fmla="*/ 66 h 115"/>
                <a:gd name="T28" fmla="*/ 1 w 43"/>
                <a:gd name="T29" fmla="*/ 59 h 115"/>
                <a:gd name="T30" fmla="*/ 3 w 43"/>
                <a:gd name="T31" fmla="*/ 54 h 115"/>
                <a:gd name="T32" fmla="*/ 4 w 43"/>
                <a:gd name="T33" fmla="*/ 51 h 115"/>
                <a:gd name="T34" fmla="*/ 8 w 43"/>
                <a:gd name="T35" fmla="*/ 46 h 115"/>
                <a:gd name="T36" fmla="*/ 16 w 43"/>
                <a:gd name="T37" fmla="*/ 33 h 115"/>
                <a:gd name="T38" fmla="*/ 23 w 43"/>
                <a:gd name="T39" fmla="*/ 18 h 115"/>
                <a:gd name="T40" fmla="*/ 25 w 43"/>
                <a:gd name="T41" fmla="*/ 6 h 115"/>
                <a:gd name="T42" fmla="*/ 26 w 43"/>
                <a:gd name="T43" fmla="*/ 1 h 115"/>
                <a:gd name="T44" fmla="*/ 32 w 43"/>
                <a:gd name="T45" fmla="*/ 0 h 115"/>
                <a:gd name="T46" fmla="*/ 38 w 43"/>
                <a:gd name="T47" fmla="*/ 3 h 115"/>
                <a:gd name="T48" fmla="*/ 39 w 43"/>
                <a:gd name="T49" fmla="*/ 13 h 115"/>
                <a:gd name="T50" fmla="*/ 35 w 43"/>
                <a:gd name="T51" fmla="*/ 27 h 115"/>
                <a:gd name="T52" fmla="*/ 31 w 43"/>
                <a:gd name="T53" fmla="*/ 42 h 115"/>
                <a:gd name="T54" fmla="*/ 26 w 43"/>
                <a:gd name="T55" fmla="*/ 54 h 115"/>
                <a:gd name="T56" fmla="*/ 25 w 43"/>
                <a:gd name="T57" fmla="*/ 58 h 115"/>
                <a:gd name="T58" fmla="*/ 35 w 43"/>
                <a:gd name="T59" fmla="*/ 80 h 11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3"/>
                <a:gd name="T91" fmla="*/ 0 h 115"/>
                <a:gd name="T92" fmla="*/ 43 w 43"/>
                <a:gd name="T93" fmla="*/ 115 h 11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3" h="115">
                  <a:moveTo>
                    <a:pt x="35" y="80"/>
                  </a:moveTo>
                  <a:lnTo>
                    <a:pt x="38" y="82"/>
                  </a:lnTo>
                  <a:lnTo>
                    <a:pt x="41" y="88"/>
                  </a:lnTo>
                  <a:lnTo>
                    <a:pt x="43" y="95"/>
                  </a:lnTo>
                  <a:lnTo>
                    <a:pt x="39" y="101"/>
                  </a:lnTo>
                  <a:lnTo>
                    <a:pt x="31" y="106"/>
                  </a:lnTo>
                  <a:lnTo>
                    <a:pt x="25" y="110"/>
                  </a:lnTo>
                  <a:lnTo>
                    <a:pt x="20" y="114"/>
                  </a:lnTo>
                  <a:lnTo>
                    <a:pt x="18" y="115"/>
                  </a:lnTo>
                  <a:lnTo>
                    <a:pt x="17" y="109"/>
                  </a:lnTo>
                  <a:lnTo>
                    <a:pt x="15" y="96"/>
                  </a:lnTo>
                  <a:lnTo>
                    <a:pt x="11" y="82"/>
                  </a:lnTo>
                  <a:lnTo>
                    <a:pt x="4" y="73"/>
                  </a:lnTo>
                  <a:lnTo>
                    <a:pt x="0" y="66"/>
                  </a:lnTo>
                  <a:lnTo>
                    <a:pt x="1" y="59"/>
                  </a:lnTo>
                  <a:lnTo>
                    <a:pt x="3" y="54"/>
                  </a:lnTo>
                  <a:lnTo>
                    <a:pt x="4" y="51"/>
                  </a:lnTo>
                  <a:lnTo>
                    <a:pt x="8" y="46"/>
                  </a:lnTo>
                  <a:lnTo>
                    <a:pt x="16" y="33"/>
                  </a:lnTo>
                  <a:lnTo>
                    <a:pt x="23" y="18"/>
                  </a:lnTo>
                  <a:lnTo>
                    <a:pt x="25" y="6"/>
                  </a:lnTo>
                  <a:lnTo>
                    <a:pt x="26" y="1"/>
                  </a:lnTo>
                  <a:lnTo>
                    <a:pt x="32" y="0"/>
                  </a:lnTo>
                  <a:lnTo>
                    <a:pt x="38" y="3"/>
                  </a:lnTo>
                  <a:lnTo>
                    <a:pt x="39" y="13"/>
                  </a:lnTo>
                  <a:lnTo>
                    <a:pt x="35" y="27"/>
                  </a:lnTo>
                  <a:lnTo>
                    <a:pt x="31" y="42"/>
                  </a:lnTo>
                  <a:lnTo>
                    <a:pt x="26" y="54"/>
                  </a:lnTo>
                  <a:lnTo>
                    <a:pt x="25" y="58"/>
                  </a:lnTo>
                  <a:lnTo>
                    <a:pt x="35" y="8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2" name="Freeform 16"/>
            <p:cNvSpPr>
              <a:spLocks/>
            </p:cNvSpPr>
            <p:nvPr/>
          </p:nvSpPr>
          <p:spPr bwMode="gray">
            <a:xfrm>
              <a:off x="5752" y="2949"/>
              <a:ext cx="142" cy="188"/>
            </a:xfrm>
            <a:custGeom>
              <a:avLst/>
              <a:gdLst>
                <a:gd name="T0" fmla="*/ 39 w 129"/>
                <a:gd name="T1" fmla="*/ 160 h 171"/>
                <a:gd name="T2" fmla="*/ 21 w 129"/>
                <a:gd name="T3" fmla="*/ 171 h 171"/>
                <a:gd name="T4" fmla="*/ 6 w 129"/>
                <a:gd name="T5" fmla="*/ 165 h 171"/>
                <a:gd name="T6" fmla="*/ 2 w 129"/>
                <a:gd name="T7" fmla="*/ 152 h 171"/>
                <a:gd name="T8" fmla="*/ 8 w 129"/>
                <a:gd name="T9" fmla="*/ 133 h 171"/>
                <a:gd name="T10" fmla="*/ 9 w 129"/>
                <a:gd name="T11" fmla="*/ 117 h 171"/>
                <a:gd name="T12" fmla="*/ 0 w 129"/>
                <a:gd name="T13" fmla="*/ 105 h 171"/>
                <a:gd name="T14" fmla="*/ 3 w 129"/>
                <a:gd name="T15" fmla="*/ 87 h 171"/>
                <a:gd name="T16" fmla="*/ 7 w 129"/>
                <a:gd name="T17" fmla="*/ 77 h 171"/>
                <a:gd name="T18" fmla="*/ 22 w 129"/>
                <a:gd name="T19" fmla="*/ 47 h 171"/>
                <a:gd name="T20" fmla="*/ 38 w 129"/>
                <a:gd name="T21" fmla="*/ 37 h 171"/>
                <a:gd name="T22" fmla="*/ 48 w 129"/>
                <a:gd name="T23" fmla="*/ 32 h 171"/>
                <a:gd name="T24" fmla="*/ 59 w 129"/>
                <a:gd name="T25" fmla="*/ 26 h 171"/>
                <a:gd name="T26" fmla="*/ 69 w 129"/>
                <a:gd name="T27" fmla="*/ 19 h 171"/>
                <a:gd name="T28" fmla="*/ 79 w 129"/>
                <a:gd name="T29" fmla="*/ 14 h 171"/>
                <a:gd name="T30" fmla="*/ 92 w 129"/>
                <a:gd name="T31" fmla="*/ 7 h 171"/>
                <a:gd name="T32" fmla="*/ 106 w 129"/>
                <a:gd name="T33" fmla="*/ 1 h 171"/>
                <a:gd name="T34" fmla="*/ 117 w 129"/>
                <a:gd name="T35" fmla="*/ 1 h 171"/>
                <a:gd name="T36" fmla="*/ 126 w 129"/>
                <a:gd name="T37" fmla="*/ 6 h 171"/>
                <a:gd name="T38" fmla="*/ 128 w 129"/>
                <a:gd name="T39" fmla="*/ 9 h 171"/>
                <a:gd name="T40" fmla="*/ 129 w 129"/>
                <a:gd name="T41" fmla="*/ 11 h 171"/>
                <a:gd name="T42" fmla="*/ 129 w 129"/>
                <a:gd name="T43" fmla="*/ 12 h 171"/>
                <a:gd name="T44" fmla="*/ 128 w 129"/>
                <a:gd name="T45" fmla="*/ 18 h 171"/>
                <a:gd name="T46" fmla="*/ 122 w 129"/>
                <a:gd name="T47" fmla="*/ 29 h 171"/>
                <a:gd name="T48" fmla="*/ 115 w 129"/>
                <a:gd name="T49" fmla="*/ 45 h 171"/>
                <a:gd name="T50" fmla="*/ 105 w 129"/>
                <a:gd name="T51" fmla="*/ 68 h 171"/>
                <a:gd name="T52" fmla="*/ 101 w 129"/>
                <a:gd name="T53" fmla="*/ 75 h 171"/>
                <a:gd name="T54" fmla="*/ 93 w 129"/>
                <a:gd name="T55" fmla="*/ 90 h 171"/>
                <a:gd name="T56" fmla="*/ 92 w 129"/>
                <a:gd name="T57" fmla="*/ 106 h 171"/>
                <a:gd name="T58" fmla="*/ 96 w 129"/>
                <a:gd name="T59" fmla="*/ 120 h 171"/>
                <a:gd name="T60" fmla="*/ 91 w 129"/>
                <a:gd name="T61" fmla="*/ 121 h 171"/>
                <a:gd name="T62" fmla="*/ 71 w 129"/>
                <a:gd name="T63" fmla="*/ 117 h 171"/>
                <a:gd name="T64" fmla="*/ 58 w 129"/>
                <a:gd name="T65" fmla="*/ 131 h 171"/>
                <a:gd name="T66" fmla="*/ 45 w 129"/>
                <a:gd name="T67" fmla="*/ 153 h 17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9"/>
                <a:gd name="T103" fmla="*/ 0 h 171"/>
                <a:gd name="T104" fmla="*/ 129 w 129"/>
                <a:gd name="T105" fmla="*/ 171 h 17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9" h="171">
                  <a:moveTo>
                    <a:pt x="43" y="156"/>
                  </a:moveTo>
                  <a:lnTo>
                    <a:pt x="39" y="160"/>
                  </a:lnTo>
                  <a:lnTo>
                    <a:pt x="31" y="166"/>
                  </a:lnTo>
                  <a:lnTo>
                    <a:pt x="21" y="171"/>
                  </a:lnTo>
                  <a:lnTo>
                    <a:pt x="11" y="170"/>
                  </a:lnTo>
                  <a:lnTo>
                    <a:pt x="6" y="165"/>
                  </a:lnTo>
                  <a:lnTo>
                    <a:pt x="3" y="159"/>
                  </a:lnTo>
                  <a:lnTo>
                    <a:pt x="2" y="152"/>
                  </a:lnTo>
                  <a:lnTo>
                    <a:pt x="5" y="143"/>
                  </a:lnTo>
                  <a:lnTo>
                    <a:pt x="8" y="133"/>
                  </a:lnTo>
                  <a:lnTo>
                    <a:pt x="10" y="124"/>
                  </a:lnTo>
                  <a:lnTo>
                    <a:pt x="9" y="117"/>
                  </a:lnTo>
                  <a:lnTo>
                    <a:pt x="5" y="112"/>
                  </a:lnTo>
                  <a:lnTo>
                    <a:pt x="0" y="105"/>
                  </a:lnTo>
                  <a:lnTo>
                    <a:pt x="1" y="95"/>
                  </a:lnTo>
                  <a:lnTo>
                    <a:pt x="3" y="87"/>
                  </a:lnTo>
                  <a:lnTo>
                    <a:pt x="5" y="84"/>
                  </a:lnTo>
                  <a:lnTo>
                    <a:pt x="7" y="77"/>
                  </a:lnTo>
                  <a:lnTo>
                    <a:pt x="14" y="62"/>
                  </a:lnTo>
                  <a:lnTo>
                    <a:pt x="22" y="47"/>
                  </a:lnTo>
                  <a:lnTo>
                    <a:pt x="32" y="38"/>
                  </a:lnTo>
                  <a:lnTo>
                    <a:pt x="38" y="37"/>
                  </a:lnTo>
                  <a:lnTo>
                    <a:pt x="43" y="34"/>
                  </a:lnTo>
                  <a:lnTo>
                    <a:pt x="48" y="32"/>
                  </a:lnTo>
                  <a:lnTo>
                    <a:pt x="53" y="29"/>
                  </a:lnTo>
                  <a:lnTo>
                    <a:pt x="59" y="26"/>
                  </a:lnTo>
                  <a:lnTo>
                    <a:pt x="63" y="23"/>
                  </a:lnTo>
                  <a:lnTo>
                    <a:pt x="69" y="19"/>
                  </a:lnTo>
                  <a:lnTo>
                    <a:pt x="74" y="17"/>
                  </a:lnTo>
                  <a:lnTo>
                    <a:pt x="79" y="14"/>
                  </a:lnTo>
                  <a:lnTo>
                    <a:pt x="86" y="10"/>
                  </a:lnTo>
                  <a:lnTo>
                    <a:pt x="92" y="7"/>
                  </a:lnTo>
                  <a:lnTo>
                    <a:pt x="99" y="3"/>
                  </a:lnTo>
                  <a:lnTo>
                    <a:pt x="106" y="1"/>
                  </a:lnTo>
                  <a:lnTo>
                    <a:pt x="112" y="0"/>
                  </a:lnTo>
                  <a:lnTo>
                    <a:pt x="117" y="1"/>
                  </a:lnTo>
                  <a:lnTo>
                    <a:pt x="123" y="3"/>
                  </a:lnTo>
                  <a:lnTo>
                    <a:pt x="126" y="6"/>
                  </a:lnTo>
                  <a:lnTo>
                    <a:pt x="127" y="7"/>
                  </a:lnTo>
                  <a:lnTo>
                    <a:pt x="128" y="9"/>
                  </a:lnTo>
                  <a:lnTo>
                    <a:pt x="129" y="11"/>
                  </a:lnTo>
                  <a:lnTo>
                    <a:pt x="129" y="12"/>
                  </a:lnTo>
                  <a:lnTo>
                    <a:pt x="129" y="14"/>
                  </a:lnTo>
                  <a:lnTo>
                    <a:pt x="128" y="18"/>
                  </a:lnTo>
                  <a:lnTo>
                    <a:pt x="126" y="24"/>
                  </a:lnTo>
                  <a:lnTo>
                    <a:pt x="122" y="29"/>
                  </a:lnTo>
                  <a:lnTo>
                    <a:pt x="120" y="34"/>
                  </a:lnTo>
                  <a:lnTo>
                    <a:pt x="115" y="45"/>
                  </a:lnTo>
                  <a:lnTo>
                    <a:pt x="109" y="57"/>
                  </a:lnTo>
                  <a:lnTo>
                    <a:pt x="105" y="68"/>
                  </a:lnTo>
                  <a:lnTo>
                    <a:pt x="103" y="72"/>
                  </a:lnTo>
                  <a:lnTo>
                    <a:pt x="101" y="75"/>
                  </a:lnTo>
                  <a:lnTo>
                    <a:pt x="98" y="82"/>
                  </a:lnTo>
                  <a:lnTo>
                    <a:pt x="93" y="90"/>
                  </a:lnTo>
                  <a:lnTo>
                    <a:pt x="92" y="98"/>
                  </a:lnTo>
                  <a:lnTo>
                    <a:pt x="92" y="106"/>
                  </a:lnTo>
                  <a:lnTo>
                    <a:pt x="94" y="114"/>
                  </a:lnTo>
                  <a:lnTo>
                    <a:pt x="96" y="120"/>
                  </a:lnTo>
                  <a:lnTo>
                    <a:pt x="96" y="122"/>
                  </a:lnTo>
                  <a:lnTo>
                    <a:pt x="91" y="121"/>
                  </a:lnTo>
                  <a:lnTo>
                    <a:pt x="82" y="118"/>
                  </a:lnTo>
                  <a:lnTo>
                    <a:pt x="71" y="117"/>
                  </a:lnTo>
                  <a:lnTo>
                    <a:pt x="63" y="122"/>
                  </a:lnTo>
                  <a:lnTo>
                    <a:pt x="58" y="131"/>
                  </a:lnTo>
                  <a:lnTo>
                    <a:pt x="51" y="143"/>
                  </a:lnTo>
                  <a:lnTo>
                    <a:pt x="45" y="153"/>
                  </a:lnTo>
                  <a:lnTo>
                    <a:pt x="43" y="156"/>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3" name="Freeform 17"/>
            <p:cNvSpPr>
              <a:spLocks/>
            </p:cNvSpPr>
            <p:nvPr/>
          </p:nvSpPr>
          <p:spPr bwMode="gray">
            <a:xfrm>
              <a:off x="5710" y="3019"/>
              <a:ext cx="15" cy="20"/>
            </a:xfrm>
            <a:custGeom>
              <a:avLst/>
              <a:gdLst>
                <a:gd name="T0" fmla="*/ 4 w 15"/>
                <a:gd name="T1" fmla="*/ 0 h 18"/>
                <a:gd name="T2" fmla="*/ 7 w 15"/>
                <a:gd name="T3" fmla="*/ 2 h 18"/>
                <a:gd name="T4" fmla="*/ 12 w 15"/>
                <a:gd name="T5" fmla="*/ 6 h 18"/>
                <a:gd name="T6" fmla="*/ 15 w 15"/>
                <a:gd name="T7" fmla="*/ 13 h 18"/>
                <a:gd name="T8" fmla="*/ 11 w 15"/>
                <a:gd name="T9" fmla="*/ 18 h 18"/>
                <a:gd name="T10" fmla="*/ 4 w 15"/>
                <a:gd name="T11" fmla="*/ 18 h 18"/>
                <a:gd name="T12" fmla="*/ 0 w 15"/>
                <a:gd name="T13" fmla="*/ 12 h 18"/>
                <a:gd name="T14" fmla="*/ 0 w 15"/>
                <a:gd name="T15" fmla="*/ 3 h 18"/>
                <a:gd name="T16" fmla="*/ 4 w 15"/>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8"/>
                <a:gd name="T29" fmla="*/ 15 w 15"/>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8">
                  <a:moveTo>
                    <a:pt x="4" y="0"/>
                  </a:moveTo>
                  <a:lnTo>
                    <a:pt x="7" y="2"/>
                  </a:lnTo>
                  <a:lnTo>
                    <a:pt x="12" y="6"/>
                  </a:lnTo>
                  <a:lnTo>
                    <a:pt x="15" y="13"/>
                  </a:lnTo>
                  <a:lnTo>
                    <a:pt x="11" y="18"/>
                  </a:lnTo>
                  <a:lnTo>
                    <a:pt x="4" y="18"/>
                  </a:lnTo>
                  <a:lnTo>
                    <a:pt x="0" y="12"/>
                  </a:lnTo>
                  <a:lnTo>
                    <a:pt x="0" y="3"/>
                  </a:lnTo>
                  <a:lnTo>
                    <a:pt x="4"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4" name="Freeform 18"/>
            <p:cNvSpPr>
              <a:spLocks/>
            </p:cNvSpPr>
            <p:nvPr/>
          </p:nvSpPr>
          <p:spPr bwMode="gray">
            <a:xfrm>
              <a:off x="5765" y="2892"/>
              <a:ext cx="24" cy="20"/>
            </a:xfrm>
            <a:custGeom>
              <a:avLst/>
              <a:gdLst>
                <a:gd name="T0" fmla="*/ 18 w 21"/>
                <a:gd name="T1" fmla="*/ 0 h 17"/>
                <a:gd name="T2" fmla="*/ 19 w 21"/>
                <a:gd name="T3" fmla="*/ 2 h 17"/>
                <a:gd name="T4" fmla="*/ 21 w 21"/>
                <a:gd name="T5" fmla="*/ 7 h 17"/>
                <a:gd name="T6" fmla="*/ 21 w 21"/>
                <a:gd name="T7" fmla="*/ 12 h 17"/>
                <a:gd name="T8" fmla="*/ 14 w 21"/>
                <a:gd name="T9" fmla="*/ 17 h 17"/>
                <a:gd name="T10" fmla="*/ 5 w 21"/>
                <a:gd name="T11" fmla="*/ 16 h 17"/>
                <a:gd name="T12" fmla="*/ 0 w 21"/>
                <a:gd name="T13" fmla="*/ 11 h 17"/>
                <a:gd name="T14" fmla="*/ 4 w 21"/>
                <a:gd name="T15" fmla="*/ 4 h 17"/>
                <a:gd name="T16" fmla="*/ 18 w 21"/>
                <a:gd name="T17" fmla="*/ 0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7"/>
                <a:gd name="T29" fmla="*/ 21 w 21"/>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7">
                  <a:moveTo>
                    <a:pt x="18" y="0"/>
                  </a:moveTo>
                  <a:lnTo>
                    <a:pt x="19" y="2"/>
                  </a:lnTo>
                  <a:lnTo>
                    <a:pt x="21" y="7"/>
                  </a:lnTo>
                  <a:lnTo>
                    <a:pt x="21" y="12"/>
                  </a:lnTo>
                  <a:lnTo>
                    <a:pt x="14" y="17"/>
                  </a:lnTo>
                  <a:lnTo>
                    <a:pt x="5" y="16"/>
                  </a:lnTo>
                  <a:lnTo>
                    <a:pt x="0" y="11"/>
                  </a:lnTo>
                  <a:lnTo>
                    <a:pt x="4" y="4"/>
                  </a:lnTo>
                  <a:lnTo>
                    <a:pt x="18"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5" name="Freeform 19"/>
            <p:cNvSpPr>
              <a:spLocks/>
            </p:cNvSpPr>
            <p:nvPr/>
          </p:nvSpPr>
          <p:spPr bwMode="gray">
            <a:xfrm>
              <a:off x="5662" y="2824"/>
              <a:ext cx="155" cy="59"/>
            </a:xfrm>
            <a:custGeom>
              <a:avLst/>
              <a:gdLst>
                <a:gd name="T0" fmla="*/ 143 w 143"/>
                <a:gd name="T1" fmla="*/ 13 h 55"/>
                <a:gd name="T2" fmla="*/ 141 w 143"/>
                <a:gd name="T3" fmla="*/ 13 h 55"/>
                <a:gd name="T4" fmla="*/ 134 w 143"/>
                <a:gd name="T5" fmla="*/ 15 h 55"/>
                <a:gd name="T6" fmla="*/ 124 w 143"/>
                <a:gd name="T7" fmla="*/ 17 h 55"/>
                <a:gd name="T8" fmla="*/ 112 w 143"/>
                <a:gd name="T9" fmla="*/ 17 h 55"/>
                <a:gd name="T10" fmla="*/ 101 w 143"/>
                <a:gd name="T11" fmla="*/ 17 h 55"/>
                <a:gd name="T12" fmla="*/ 96 w 143"/>
                <a:gd name="T13" fmla="*/ 16 h 55"/>
                <a:gd name="T14" fmla="*/ 90 w 143"/>
                <a:gd name="T15" fmla="*/ 17 h 55"/>
                <a:gd name="T16" fmla="*/ 84 w 143"/>
                <a:gd name="T17" fmla="*/ 20 h 55"/>
                <a:gd name="T18" fmla="*/ 76 w 143"/>
                <a:gd name="T19" fmla="*/ 27 h 55"/>
                <a:gd name="T20" fmla="*/ 70 w 143"/>
                <a:gd name="T21" fmla="*/ 35 h 55"/>
                <a:gd name="T22" fmla="*/ 66 w 143"/>
                <a:gd name="T23" fmla="*/ 42 h 55"/>
                <a:gd name="T24" fmla="*/ 63 w 143"/>
                <a:gd name="T25" fmla="*/ 45 h 55"/>
                <a:gd name="T26" fmla="*/ 63 w 143"/>
                <a:gd name="T27" fmla="*/ 46 h 55"/>
                <a:gd name="T28" fmla="*/ 60 w 143"/>
                <a:gd name="T29" fmla="*/ 49 h 55"/>
                <a:gd name="T30" fmla="*/ 54 w 143"/>
                <a:gd name="T31" fmla="*/ 54 h 55"/>
                <a:gd name="T32" fmla="*/ 41 w 143"/>
                <a:gd name="T33" fmla="*/ 55 h 55"/>
                <a:gd name="T34" fmla="*/ 33 w 143"/>
                <a:gd name="T35" fmla="*/ 55 h 55"/>
                <a:gd name="T36" fmla="*/ 27 w 143"/>
                <a:gd name="T37" fmla="*/ 55 h 55"/>
                <a:gd name="T38" fmla="*/ 20 w 143"/>
                <a:gd name="T39" fmla="*/ 55 h 55"/>
                <a:gd name="T40" fmla="*/ 13 w 143"/>
                <a:gd name="T41" fmla="*/ 55 h 55"/>
                <a:gd name="T42" fmla="*/ 8 w 143"/>
                <a:gd name="T43" fmla="*/ 55 h 55"/>
                <a:gd name="T44" fmla="*/ 3 w 143"/>
                <a:gd name="T45" fmla="*/ 55 h 55"/>
                <a:gd name="T46" fmla="*/ 1 w 143"/>
                <a:gd name="T47" fmla="*/ 55 h 55"/>
                <a:gd name="T48" fmla="*/ 0 w 143"/>
                <a:gd name="T49" fmla="*/ 55 h 55"/>
                <a:gd name="T50" fmla="*/ 7 w 143"/>
                <a:gd name="T51" fmla="*/ 27 h 55"/>
                <a:gd name="T52" fmla="*/ 9 w 143"/>
                <a:gd name="T53" fmla="*/ 26 h 55"/>
                <a:gd name="T54" fmla="*/ 14 w 143"/>
                <a:gd name="T55" fmla="*/ 24 h 55"/>
                <a:gd name="T56" fmla="*/ 22 w 143"/>
                <a:gd name="T57" fmla="*/ 21 h 55"/>
                <a:gd name="T58" fmla="*/ 31 w 143"/>
                <a:gd name="T59" fmla="*/ 20 h 55"/>
                <a:gd name="T60" fmla="*/ 38 w 143"/>
                <a:gd name="T61" fmla="*/ 18 h 55"/>
                <a:gd name="T62" fmla="*/ 41 w 143"/>
                <a:gd name="T63" fmla="*/ 12 h 55"/>
                <a:gd name="T64" fmla="*/ 46 w 143"/>
                <a:gd name="T65" fmla="*/ 8 h 55"/>
                <a:gd name="T66" fmla="*/ 55 w 143"/>
                <a:gd name="T67" fmla="*/ 7 h 55"/>
                <a:gd name="T68" fmla="*/ 62 w 143"/>
                <a:gd name="T69" fmla="*/ 8 h 55"/>
                <a:gd name="T70" fmla="*/ 69 w 143"/>
                <a:gd name="T71" fmla="*/ 8 h 55"/>
                <a:gd name="T72" fmla="*/ 76 w 143"/>
                <a:gd name="T73" fmla="*/ 8 h 55"/>
                <a:gd name="T74" fmla="*/ 82 w 143"/>
                <a:gd name="T75" fmla="*/ 8 h 55"/>
                <a:gd name="T76" fmla="*/ 86 w 143"/>
                <a:gd name="T77" fmla="*/ 8 h 55"/>
                <a:gd name="T78" fmla="*/ 91 w 143"/>
                <a:gd name="T79" fmla="*/ 7 h 55"/>
                <a:gd name="T80" fmla="*/ 93 w 143"/>
                <a:gd name="T81" fmla="*/ 7 h 55"/>
                <a:gd name="T82" fmla="*/ 94 w 143"/>
                <a:gd name="T83" fmla="*/ 7 h 55"/>
                <a:gd name="T84" fmla="*/ 96 w 143"/>
                <a:gd name="T85" fmla="*/ 5 h 55"/>
                <a:gd name="T86" fmla="*/ 98 w 143"/>
                <a:gd name="T87" fmla="*/ 2 h 55"/>
                <a:gd name="T88" fmla="*/ 104 w 143"/>
                <a:gd name="T89" fmla="*/ 0 h 55"/>
                <a:gd name="T90" fmla="*/ 112 w 143"/>
                <a:gd name="T91" fmla="*/ 0 h 55"/>
                <a:gd name="T92" fmla="*/ 122 w 143"/>
                <a:gd name="T93" fmla="*/ 3 h 55"/>
                <a:gd name="T94" fmla="*/ 133 w 143"/>
                <a:gd name="T95" fmla="*/ 8 h 55"/>
                <a:gd name="T96" fmla="*/ 139 w 143"/>
                <a:gd name="T97" fmla="*/ 12 h 55"/>
                <a:gd name="T98" fmla="*/ 143 w 143"/>
                <a:gd name="T99" fmla="*/ 13 h 5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43"/>
                <a:gd name="T151" fmla="*/ 0 h 55"/>
                <a:gd name="T152" fmla="*/ 143 w 143"/>
                <a:gd name="T153" fmla="*/ 55 h 5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43" h="55">
                  <a:moveTo>
                    <a:pt x="143" y="13"/>
                  </a:moveTo>
                  <a:lnTo>
                    <a:pt x="141" y="13"/>
                  </a:lnTo>
                  <a:lnTo>
                    <a:pt x="134" y="15"/>
                  </a:lnTo>
                  <a:lnTo>
                    <a:pt x="124" y="17"/>
                  </a:lnTo>
                  <a:lnTo>
                    <a:pt x="112" y="17"/>
                  </a:lnTo>
                  <a:lnTo>
                    <a:pt x="101" y="17"/>
                  </a:lnTo>
                  <a:lnTo>
                    <a:pt x="96" y="16"/>
                  </a:lnTo>
                  <a:lnTo>
                    <a:pt x="90" y="17"/>
                  </a:lnTo>
                  <a:lnTo>
                    <a:pt x="84" y="20"/>
                  </a:lnTo>
                  <a:lnTo>
                    <a:pt x="76" y="27"/>
                  </a:lnTo>
                  <a:lnTo>
                    <a:pt x="70" y="35"/>
                  </a:lnTo>
                  <a:lnTo>
                    <a:pt x="66" y="42"/>
                  </a:lnTo>
                  <a:lnTo>
                    <a:pt x="63" y="45"/>
                  </a:lnTo>
                  <a:lnTo>
                    <a:pt x="63" y="46"/>
                  </a:lnTo>
                  <a:lnTo>
                    <a:pt x="60" y="49"/>
                  </a:lnTo>
                  <a:lnTo>
                    <a:pt x="54" y="54"/>
                  </a:lnTo>
                  <a:lnTo>
                    <a:pt x="41" y="55"/>
                  </a:lnTo>
                  <a:lnTo>
                    <a:pt x="33" y="55"/>
                  </a:lnTo>
                  <a:lnTo>
                    <a:pt x="27" y="55"/>
                  </a:lnTo>
                  <a:lnTo>
                    <a:pt x="20" y="55"/>
                  </a:lnTo>
                  <a:lnTo>
                    <a:pt x="13" y="55"/>
                  </a:lnTo>
                  <a:lnTo>
                    <a:pt x="8" y="55"/>
                  </a:lnTo>
                  <a:lnTo>
                    <a:pt x="3" y="55"/>
                  </a:lnTo>
                  <a:lnTo>
                    <a:pt x="1" y="55"/>
                  </a:lnTo>
                  <a:lnTo>
                    <a:pt x="0" y="55"/>
                  </a:lnTo>
                  <a:lnTo>
                    <a:pt x="7" y="27"/>
                  </a:lnTo>
                  <a:lnTo>
                    <a:pt x="9" y="26"/>
                  </a:lnTo>
                  <a:lnTo>
                    <a:pt x="14" y="24"/>
                  </a:lnTo>
                  <a:lnTo>
                    <a:pt x="22" y="21"/>
                  </a:lnTo>
                  <a:lnTo>
                    <a:pt x="31" y="20"/>
                  </a:lnTo>
                  <a:lnTo>
                    <a:pt x="38" y="18"/>
                  </a:lnTo>
                  <a:lnTo>
                    <a:pt x="41" y="12"/>
                  </a:lnTo>
                  <a:lnTo>
                    <a:pt x="46" y="8"/>
                  </a:lnTo>
                  <a:lnTo>
                    <a:pt x="55" y="7"/>
                  </a:lnTo>
                  <a:lnTo>
                    <a:pt x="62" y="8"/>
                  </a:lnTo>
                  <a:lnTo>
                    <a:pt x="69" y="8"/>
                  </a:lnTo>
                  <a:lnTo>
                    <a:pt x="76" y="8"/>
                  </a:lnTo>
                  <a:lnTo>
                    <a:pt x="82" y="8"/>
                  </a:lnTo>
                  <a:lnTo>
                    <a:pt x="86" y="8"/>
                  </a:lnTo>
                  <a:lnTo>
                    <a:pt x="91" y="7"/>
                  </a:lnTo>
                  <a:lnTo>
                    <a:pt x="93" y="7"/>
                  </a:lnTo>
                  <a:lnTo>
                    <a:pt x="94" y="7"/>
                  </a:lnTo>
                  <a:lnTo>
                    <a:pt x="96" y="5"/>
                  </a:lnTo>
                  <a:lnTo>
                    <a:pt x="98" y="2"/>
                  </a:lnTo>
                  <a:lnTo>
                    <a:pt x="104" y="0"/>
                  </a:lnTo>
                  <a:lnTo>
                    <a:pt x="112" y="0"/>
                  </a:lnTo>
                  <a:lnTo>
                    <a:pt x="122" y="3"/>
                  </a:lnTo>
                  <a:lnTo>
                    <a:pt x="133" y="8"/>
                  </a:lnTo>
                  <a:lnTo>
                    <a:pt x="139" y="12"/>
                  </a:lnTo>
                  <a:lnTo>
                    <a:pt x="143" y="13"/>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6" name="Freeform 20"/>
            <p:cNvSpPr>
              <a:spLocks/>
            </p:cNvSpPr>
            <p:nvPr/>
          </p:nvSpPr>
          <p:spPr bwMode="gray">
            <a:xfrm>
              <a:off x="5640" y="2949"/>
              <a:ext cx="22" cy="31"/>
            </a:xfrm>
            <a:custGeom>
              <a:avLst/>
              <a:gdLst>
                <a:gd name="T0" fmla="*/ 18 w 21"/>
                <a:gd name="T1" fmla="*/ 0 h 27"/>
                <a:gd name="T2" fmla="*/ 14 w 21"/>
                <a:gd name="T3" fmla="*/ 0 h 27"/>
                <a:gd name="T4" fmla="*/ 6 w 21"/>
                <a:gd name="T5" fmla="*/ 1 h 27"/>
                <a:gd name="T6" fmla="*/ 0 w 21"/>
                <a:gd name="T7" fmla="*/ 4 h 27"/>
                <a:gd name="T8" fmla="*/ 0 w 21"/>
                <a:gd name="T9" fmla="*/ 10 h 27"/>
                <a:gd name="T10" fmla="*/ 6 w 21"/>
                <a:gd name="T11" fmla="*/ 17 h 27"/>
                <a:gd name="T12" fmla="*/ 13 w 21"/>
                <a:gd name="T13" fmla="*/ 23 h 27"/>
                <a:gd name="T14" fmla="*/ 19 w 21"/>
                <a:gd name="T15" fmla="*/ 26 h 27"/>
                <a:gd name="T16" fmla="*/ 21 w 21"/>
                <a:gd name="T17" fmla="*/ 27 h 27"/>
                <a:gd name="T18" fmla="*/ 18 w 21"/>
                <a:gd name="T19" fmla="*/ 0 h 2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
                <a:gd name="T31" fmla="*/ 0 h 27"/>
                <a:gd name="T32" fmla="*/ 21 w 21"/>
                <a:gd name="T33" fmla="*/ 27 h 2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 h="27">
                  <a:moveTo>
                    <a:pt x="18" y="0"/>
                  </a:moveTo>
                  <a:lnTo>
                    <a:pt x="14" y="0"/>
                  </a:lnTo>
                  <a:lnTo>
                    <a:pt x="6" y="1"/>
                  </a:lnTo>
                  <a:lnTo>
                    <a:pt x="0" y="4"/>
                  </a:lnTo>
                  <a:lnTo>
                    <a:pt x="0" y="10"/>
                  </a:lnTo>
                  <a:lnTo>
                    <a:pt x="6" y="17"/>
                  </a:lnTo>
                  <a:lnTo>
                    <a:pt x="13" y="23"/>
                  </a:lnTo>
                  <a:lnTo>
                    <a:pt x="19" y="26"/>
                  </a:lnTo>
                  <a:lnTo>
                    <a:pt x="21" y="27"/>
                  </a:lnTo>
                  <a:lnTo>
                    <a:pt x="18"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7" name="Freeform 21"/>
            <p:cNvSpPr>
              <a:spLocks/>
            </p:cNvSpPr>
            <p:nvPr/>
          </p:nvSpPr>
          <p:spPr bwMode="gray">
            <a:xfrm>
              <a:off x="5585" y="2896"/>
              <a:ext cx="31" cy="22"/>
            </a:xfrm>
            <a:custGeom>
              <a:avLst/>
              <a:gdLst>
                <a:gd name="T0" fmla="*/ 27 w 27"/>
                <a:gd name="T1" fmla="*/ 18 h 21"/>
                <a:gd name="T2" fmla="*/ 25 w 27"/>
                <a:gd name="T3" fmla="*/ 19 h 21"/>
                <a:gd name="T4" fmla="*/ 20 w 27"/>
                <a:gd name="T5" fmla="*/ 20 h 21"/>
                <a:gd name="T6" fmla="*/ 15 w 27"/>
                <a:gd name="T7" fmla="*/ 21 h 21"/>
                <a:gd name="T8" fmla="*/ 7 w 27"/>
                <a:gd name="T9" fmla="*/ 18 h 21"/>
                <a:gd name="T10" fmla="*/ 1 w 27"/>
                <a:gd name="T11" fmla="*/ 12 h 21"/>
                <a:gd name="T12" fmla="*/ 0 w 27"/>
                <a:gd name="T13" fmla="*/ 6 h 21"/>
                <a:gd name="T14" fmla="*/ 2 w 27"/>
                <a:gd name="T15" fmla="*/ 1 h 21"/>
                <a:gd name="T16" fmla="*/ 10 w 27"/>
                <a:gd name="T17" fmla="*/ 0 h 21"/>
                <a:gd name="T18" fmla="*/ 18 w 27"/>
                <a:gd name="T19" fmla="*/ 3 h 21"/>
                <a:gd name="T20" fmla="*/ 24 w 27"/>
                <a:gd name="T21" fmla="*/ 8 h 21"/>
                <a:gd name="T22" fmla="*/ 26 w 27"/>
                <a:gd name="T23" fmla="*/ 15 h 21"/>
                <a:gd name="T24" fmla="*/ 27 w 27"/>
                <a:gd name="T25" fmla="*/ 18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
                <a:gd name="T40" fmla="*/ 0 h 21"/>
                <a:gd name="T41" fmla="*/ 27 w 27"/>
                <a:gd name="T42" fmla="*/ 21 h 2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 h="21">
                  <a:moveTo>
                    <a:pt x="27" y="18"/>
                  </a:moveTo>
                  <a:lnTo>
                    <a:pt x="25" y="19"/>
                  </a:lnTo>
                  <a:lnTo>
                    <a:pt x="20" y="20"/>
                  </a:lnTo>
                  <a:lnTo>
                    <a:pt x="15" y="21"/>
                  </a:lnTo>
                  <a:lnTo>
                    <a:pt x="7" y="18"/>
                  </a:lnTo>
                  <a:lnTo>
                    <a:pt x="1" y="12"/>
                  </a:lnTo>
                  <a:lnTo>
                    <a:pt x="0" y="6"/>
                  </a:lnTo>
                  <a:lnTo>
                    <a:pt x="2" y="1"/>
                  </a:lnTo>
                  <a:lnTo>
                    <a:pt x="10" y="0"/>
                  </a:lnTo>
                  <a:lnTo>
                    <a:pt x="18" y="3"/>
                  </a:lnTo>
                  <a:lnTo>
                    <a:pt x="24" y="8"/>
                  </a:lnTo>
                  <a:lnTo>
                    <a:pt x="26" y="15"/>
                  </a:lnTo>
                  <a:lnTo>
                    <a:pt x="27" y="18"/>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8" name="Freeform 22"/>
            <p:cNvSpPr>
              <a:spLocks/>
            </p:cNvSpPr>
            <p:nvPr/>
          </p:nvSpPr>
          <p:spPr bwMode="gray">
            <a:xfrm>
              <a:off x="5528" y="2800"/>
              <a:ext cx="118" cy="66"/>
            </a:xfrm>
            <a:custGeom>
              <a:avLst/>
              <a:gdLst>
                <a:gd name="T0" fmla="*/ 108 w 108"/>
                <a:gd name="T1" fmla="*/ 0 h 60"/>
                <a:gd name="T2" fmla="*/ 107 w 108"/>
                <a:gd name="T3" fmla="*/ 2 h 60"/>
                <a:gd name="T4" fmla="*/ 105 w 108"/>
                <a:gd name="T5" fmla="*/ 8 h 60"/>
                <a:gd name="T6" fmla="*/ 98 w 108"/>
                <a:gd name="T7" fmla="*/ 15 h 60"/>
                <a:gd name="T8" fmla="*/ 87 w 108"/>
                <a:gd name="T9" fmla="*/ 22 h 60"/>
                <a:gd name="T10" fmla="*/ 81 w 108"/>
                <a:gd name="T11" fmla="*/ 24 h 60"/>
                <a:gd name="T12" fmla="*/ 75 w 108"/>
                <a:gd name="T13" fmla="*/ 26 h 60"/>
                <a:gd name="T14" fmla="*/ 68 w 108"/>
                <a:gd name="T15" fmla="*/ 30 h 60"/>
                <a:gd name="T16" fmla="*/ 63 w 108"/>
                <a:gd name="T17" fmla="*/ 32 h 60"/>
                <a:gd name="T18" fmla="*/ 57 w 108"/>
                <a:gd name="T19" fmla="*/ 34 h 60"/>
                <a:gd name="T20" fmla="*/ 52 w 108"/>
                <a:gd name="T21" fmla="*/ 37 h 60"/>
                <a:gd name="T22" fmla="*/ 47 w 108"/>
                <a:gd name="T23" fmla="*/ 40 h 60"/>
                <a:gd name="T24" fmla="*/ 41 w 108"/>
                <a:gd name="T25" fmla="*/ 42 h 60"/>
                <a:gd name="T26" fmla="*/ 31 w 108"/>
                <a:gd name="T27" fmla="*/ 48 h 60"/>
                <a:gd name="T28" fmla="*/ 23 w 108"/>
                <a:gd name="T29" fmla="*/ 54 h 60"/>
                <a:gd name="T30" fmla="*/ 16 w 108"/>
                <a:gd name="T31" fmla="*/ 57 h 60"/>
                <a:gd name="T32" fmla="*/ 14 w 108"/>
                <a:gd name="T33" fmla="*/ 60 h 60"/>
                <a:gd name="T34" fmla="*/ 0 w 108"/>
                <a:gd name="T35" fmla="*/ 49 h 60"/>
                <a:gd name="T36" fmla="*/ 2 w 108"/>
                <a:gd name="T37" fmla="*/ 48 h 60"/>
                <a:gd name="T38" fmla="*/ 8 w 108"/>
                <a:gd name="T39" fmla="*/ 46 h 60"/>
                <a:gd name="T40" fmla="*/ 16 w 108"/>
                <a:gd name="T41" fmla="*/ 40 h 60"/>
                <a:gd name="T42" fmla="*/ 24 w 108"/>
                <a:gd name="T43" fmla="*/ 32 h 60"/>
                <a:gd name="T44" fmla="*/ 31 w 108"/>
                <a:gd name="T45" fmla="*/ 23 h 60"/>
                <a:gd name="T46" fmla="*/ 37 w 108"/>
                <a:gd name="T47" fmla="*/ 16 h 60"/>
                <a:gd name="T48" fmla="*/ 43 w 108"/>
                <a:gd name="T49" fmla="*/ 11 h 60"/>
                <a:gd name="T50" fmla="*/ 52 w 108"/>
                <a:gd name="T51" fmla="*/ 10 h 60"/>
                <a:gd name="T52" fmla="*/ 59 w 108"/>
                <a:gd name="T53" fmla="*/ 10 h 60"/>
                <a:gd name="T54" fmla="*/ 67 w 108"/>
                <a:gd name="T55" fmla="*/ 9 h 60"/>
                <a:gd name="T56" fmla="*/ 76 w 108"/>
                <a:gd name="T57" fmla="*/ 7 h 60"/>
                <a:gd name="T58" fmla="*/ 85 w 108"/>
                <a:gd name="T59" fmla="*/ 4 h 60"/>
                <a:gd name="T60" fmla="*/ 94 w 108"/>
                <a:gd name="T61" fmla="*/ 3 h 60"/>
                <a:gd name="T62" fmla="*/ 101 w 108"/>
                <a:gd name="T63" fmla="*/ 1 h 60"/>
                <a:gd name="T64" fmla="*/ 106 w 108"/>
                <a:gd name="T65" fmla="*/ 0 h 60"/>
                <a:gd name="T66" fmla="*/ 108 w 108"/>
                <a:gd name="T67" fmla="*/ 0 h 6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8"/>
                <a:gd name="T103" fmla="*/ 0 h 60"/>
                <a:gd name="T104" fmla="*/ 108 w 108"/>
                <a:gd name="T105" fmla="*/ 60 h 6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8" h="60">
                  <a:moveTo>
                    <a:pt x="108" y="0"/>
                  </a:moveTo>
                  <a:lnTo>
                    <a:pt x="107" y="2"/>
                  </a:lnTo>
                  <a:lnTo>
                    <a:pt x="105" y="8"/>
                  </a:lnTo>
                  <a:lnTo>
                    <a:pt x="98" y="15"/>
                  </a:lnTo>
                  <a:lnTo>
                    <a:pt x="87" y="22"/>
                  </a:lnTo>
                  <a:lnTo>
                    <a:pt x="81" y="24"/>
                  </a:lnTo>
                  <a:lnTo>
                    <a:pt x="75" y="26"/>
                  </a:lnTo>
                  <a:lnTo>
                    <a:pt x="68" y="30"/>
                  </a:lnTo>
                  <a:lnTo>
                    <a:pt x="63" y="32"/>
                  </a:lnTo>
                  <a:lnTo>
                    <a:pt x="57" y="34"/>
                  </a:lnTo>
                  <a:lnTo>
                    <a:pt x="52" y="37"/>
                  </a:lnTo>
                  <a:lnTo>
                    <a:pt x="47" y="40"/>
                  </a:lnTo>
                  <a:lnTo>
                    <a:pt x="41" y="42"/>
                  </a:lnTo>
                  <a:lnTo>
                    <a:pt x="31" y="48"/>
                  </a:lnTo>
                  <a:lnTo>
                    <a:pt x="23" y="54"/>
                  </a:lnTo>
                  <a:lnTo>
                    <a:pt x="16" y="57"/>
                  </a:lnTo>
                  <a:lnTo>
                    <a:pt x="14" y="60"/>
                  </a:lnTo>
                  <a:lnTo>
                    <a:pt x="0" y="49"/>
                  </a:lnTo>
                  <a:lnTo>
                    <a:pt x="2" y="48"/>
                  </a:lnTo>
                  <a:lnTo>
                    <a:pt x="8" y="46"/>
                  </a:lnTo>
                  <a:lnTo>
                    <a:pt x="16" y="40"/>
                  </a:lnTo>
                  <a:lnTo>
                    <a:pt x="24" y="32"/>
                  </a:lnTo>
                  <a:lnTo>
                    <a:pt x="31" y="23"/>
                  </a:lnTo>
                  <a:lnTo>
                    <a:pt x="37" y="16"/>
                  </a:lnTo>
                  <a:lnTo>
                    <a:pt x="43" y="11"/>
                  </a:lnTo>
                  <a:lnTo>
                    <a:pt x="52" y="10"/>
                  </a:lnTo>
                  <a:lnTo>
                    <a:pt x="59" y="10"/>
                  </a:lnTo>
                  <a:lnTo>
                    <a:pt x="67" y="9"/>
                  </a:lnTo>
                  <a:lnTo>
                    <a:pt x="76" y="7"/>
                  </a:lnTo>
                  <a:lnTo>
                    <a:pt x="85" y="4"/>
                  </a:lnTo>
                  <a:lnTo>
                    <a:pt x="94" y="3"/>
                  </a:lnTo>
                  <a:lnTo>
                    <a:pt x="101" y="1"/>
                  </a:lnTo>
                  <a:lnTo>
                    <a:pt x="106" y="0"/>
                  </a:lnTo>
                  <a:lnTo>
                    <a:pt x="108"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29" name="Freeform 23"/>
            <p:cNvSpPr>
              <a:spLocks/>
            </p:cNvSpPr>
            <p:nvPr/>
          </p:nvSpPr>
          <p:spPr bwMode="gray">
            <a:xfrm>
              <a:off x="5386" y="2888"/>
              <a:ext cx="20" cy="39"/>
            </a:xfrm>
            <a:custGeom>
              <a:avLst/>
              <a:gdLst>
                <a:gd name="T0" fmla="*/ 3 w 18"/>
                <a:gd name="T1" fmla="*/ 0 h 36"/>
                <a:gd name="T2" fmla="*/ 18 w 18"/>
                <a:gd name="T3" fmla="*/ 18 h 36"/>
                <a:gd name="T4" fmla="*/ 0 w 18"/>
                <a:gd name="T5" fmla="*/ 36 h 36"/>
                <a:gd name="T6" fmla="*/ 3 w 18"/>
                <a:gd name="T7" fmla="*/ 0 h 36"/>
                <a:gd name="T8" fmla="*/ 0 60000 65536"/>
                <a:gd name="T9" fmla="*/ 0 60000 65536"/>
                <a:gd name="T10" fmla="*/ 0 60000 65536"/>
                <a:gd name="T11" fmla="*/ 0 60000 65536"/>
                <a:gd name="T12" fmla="*/ 0 w 18"/>
                <a:gd name="T13" fmla="*/ 0 h 36"/>
                <a:gd name="T14" fmla="*/ 18 w 18"/>
                <a:gd name="T15" fmla="*/ 36 h 36"/>
              </a:gdLst>
              <a:ahLst/>
              <a:cxnLst>
                <a:cxn ang="T8">
                  <a:pos x="T0" y="T1"/>
                </a:cxn>
                <a:cxn ang="T9">
                  <a:pos x="T2" y="T3"/>
                </a:cxn>
                <a:cxn ang="T10">
                  <a:pos x="T4" y="T5"/>
                </a:cxn>
                <a:cxn ang="T11">
                  <a:pos x="T6" y="T7"/>
                </a:cxn>
              </a:cxnLst>
              <a:rect l="T12" t="T13" r="T14" b="T15"/>
              <a:pathLst>
                <a:path w="18" h="36">
                  <a:moveTo>
                    <a:pt x="3" y="0"/>
                  </a:moveTo>
                  <a:lnTo>
                    <a:pt x="18" y="18"/>
                  </a:lnTo>
                  <a:lnTo>
                    <a:pt x="0" y="36"/>
                  </a:lnTo>
                  <a:lnTo>
                    <a:pt x="3"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30" name="Freeform 24"/>
            <p:cNvSpPr>
              <a:spLocks/>
            </p:cNvSpPr>
            <p:nvPr/>
          </p:nvSpPr>
          <p:spPr bwMode="gray">
            <a:xfrm>
              <a:off x="5344" y="2914"/>
              <a:ext cx="26" cy="20"/>
            </a:xfrm>
            <a:custGeom>
              <a:avLst/>
              <a:gdLst>
                <a:gd name="T0" fmla="*/ 0 w 24"/>
                <a:gd name="T1" fmla="*/ 0 h 18"/>
                <a:gd name="T2" fmla="*/ 24 w 24"/>
                <a:gd name="T3" fmla="*/ 6 h 18"/>
                <a:gd name="T4" fmla="*/ 24 w 24"/>
                <a:gd name="T5" fmla="*/ 9 h 18"/>
                <a:gd name="T6" fmla="*/ 23 w 24"/>
                <a:gd name="T7" fmla="*/ 12 h 18"/>
                <a:gd name="T8" fmla="*/ 19 w 24"/>
                <a:gd name="T9" fmla="*/ 16 h 18"/>
                <a:gd name="T10" fmla="*/ 13 w 24"/>
                <a:gd name="T11" fmla="*/ 18 h 18"/>
                <a:gd name="T12" fmla="*/ 7 w 24"/>
                <a:gd name="T13" fmla="*/ 15 h 18"/>
                <a:gd name="T14" fmla="*/ 3 w 24"/>
                <a:gd name="T15" fmla="*/ 9 h 18"/>
                <a:gd name="T16" fmla="*/ 1 w 24"/>
                <a:gd name="T17" fmla="*/ 2 h 18"/>
                <a:gd name="T18" fmla="*/ 0 w 24"/>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
                <a:gd name="T31" fmla="*/ 0 h 18"/>
                <a:gd name="T32" fmla="*/ 24 w 24"/>
                <a:gd name="T33" fmla="*/ 18 h 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 h="18">
                  <a:moveTo>
                    <a:pt x="0" y="0"/>
                  </a:moveTo>
                  <a:lnTo>
                    <a:pt x="24" y="6"/>
                  </a:lnTo>
                  <a:lnTo>
                    <a:pt x="24" y="9"/>
                  </a:lnTo>
                  <a:lnTo>
                    <a:pt x="23" y="12"/>
                  </a:lnTo>
                  <a:lnTo>
                    <a:pt x="19" y="16"/>
                  </a:lnTo>
                  <a:lnTo>
                    <a:pt x="13" y="18"/>
                  </a:lnTo>
                  <a:lnTo>
                    <a:pt x="7" y="15"/>
                  </a:lnTo>
                  <a:lnTo>
                    <a:pt x="3" y="9"/>
                  </a:lnTo>
                  <a:lnTo>
                    <a:pt x="1" y="2"/>
                  </a:lnTo>
                  <a:lnTo>
                    <a:pt x="0"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31" name="Freeform 25"/>
            <p:cNvSpPr>
              <a:spLocks/>
            </p:cNvSpPr>
            <p:nvPr/>
          </p:nvSpPr>
          <p:spPr bwMode="gray">
            <a:xfrm>
              <a:off x="5206" y="2980"/>
              <a:ext cx="26" cy="26"/>
            </a:xfrm>
            <a:custGeom>
              <a:avLst/>
              <a:gdLst>
                <a:gd name="T0" fmla="*/ 10 w 23"/>
                <a:gd name="T1" fmla="*/ 0 h 25"/>
                <a:gd name="T2" fmla="*/ 14 w 23"/>
                <a:gd name="T3" fmla="*/ 4 h 25"/>
                <a:gd name="T4" fmla="*/ 20 w 23"/>
                <a:gd name="T5" fmla="*/ 12 h 25"/>
                <a:gd name="T6" fmla="*/ 23 w 23"/>
                <a:gd name="T7" fmla="*/ 21 h 25"/>
                <a:gd name="T8" fmla="*/ 21 w 23"/>
                <a:gd name="T9" fmla="*/ 25 h 25"/>
                <a:gd name="T10" fmla="*/ 13 w 23"/>
                <a:gd name="T11" fmla="*/ 23 h 25"/>
                <a:gd name="T12" fmla="*/ 7 w 23"/>
                <a:gd name="T13" fmla="*/ 21 h 25"/>
                <a:gd name="T14" fmla="*/ 2 w 23"/>
                <a:gd name="T15" fmla="*/ 19 h 25"/>
                <a:gd name="T16" fmla="*/ 0 w 23"/>
                <a:gd name="T17" fmla="*/ 18 h 25"/>
                <a:gd name="T18" fmla="*/ 10 w 23"/>
                <a:gd name="T19" fmla="*/ 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25"/>
                <a:gd name="T32" fmla="*/ 23 w 2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25">
                  <a:moveTo>
                    <a:pt x="10" y="0"/>
                  </a:moveTo>
                  <a:lnTo>
                    <a:pt x="14" y="4"/>
                  </a:lnTo>
                  <a:lnTo>
                    <a:pt x="20" y="12"/>
                  </a:lnTo>
                  <a:lnTo>
                    <a:pt x="23" y="21"/>
                  </a:lnTo>
                  <a:lnTo>
                    <a:pt x="21" y="25"/>
                  </a:lnTo>
                  <a:lnTo>
                    <a:pt x="13" y="23"/>
                  </a:lnTo>
                  <a:lnTo>
                    <a:pt x="7" y="21"/>
                  </a:lnTo>
                  <a:lnTo>
                    <a:pt x="2" y="19"/>
                  </a:lnTo>
                  <a:lnTo>
                    <a:pt x="0" y="18"/>
                  </a:lnTo>
                  <a:lnTo>
                    <a:pt x="10"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32" name="Freeform 26"/>
            <p:cNvSpPr>
              <a:spLocks/>
            </p:cNvSpPr>
            <p:nvPr/>
          </p:nvSpPr>
          <p:spPr bwMode="gray">
            <a:xfrm>
              <a:off x="5119" y="2964"/>
              <a:ext cx="26" cy="42"/>
            </a:xfrm>
            <a:custGeom>
              <a:avLst/>
              <a:gdLst>
                <a:gd name="T0" fmla="*/ 5 w 23"/>
                <a:gd name="T1" fmla="*/ 0 h 38"/>
                <a:gd name="T2" fmla="*/ 8 w 23"/>
                <a:gd name="T3" fmla="*/ 2 h 38"/>
                <a:gd name="T4" fmla="*/ 15 w 23"/>
                <a:gd name="T5" fmla="*/ 8 h 38"/>
                <a:gd name="T6" fmla="*/ 20 w 23"/>
                <a:gd name="T7" fmla="*/ 17 h 38"/>
                <a:gd name="T8" fmla="*/ 23 w 23"/>
                <a:gd name="T9" fmla="*/ 27 h 38"/>
                <a:gd name="T10" fmla="*/ 21 w 23"/>
                <a:gd name="T11" fmla="*/ 34 h 38"/>
                <a:gd name="T12" fmla="*/ 19 w 23"/>
                <a:gd name="T13" fmla="*/ 38 h 38"/>
                <a:gd name="T14" fmla="*/ 16 w 23"/>
                <a:gd name="T15" fmla="*/ 38 h 38"/>
                <a:gd name="T16" fmla="*/ 9 w 23"/>
                <a:gd name="T17" fmla="*/ 38 h 38"/>
                <a:gd name="T18" fmla="*/ 4 w 23"/>
                <a:gd name="T19" fmla="*/ 35 h 38"/>
                <a:gd name="T20" fmla="*/ 3 w 23"/>
                <a:gd name="T21" fmla="*/ 28 h 38"/>
                <a:gd name="T22" fmla="*/ 4 w 23"/>
                <a:gd name="T23" fmla="*/ 23 h 38"/>
                <a:gd name="T24" fmla="*/ 5 w 23"/>
                <a:gd name="T25" fmla="*/ 20 h 38"/>
                <a:gd name="T26" fmla="*/ 3 w 23"/>
                <a:gd name="T27" fmla="*/ 18 h 38"/>
                <a:gd name="T28" fmla="*/ 1 w 23"/>
                <a:gd name="T29" fmla="*/ 12 h 38"/>
                <a:gd name="T30" fmla="*/ 0 w 23"/>
                <a:gd name="T31" fmla="*/ 5 h 38"/>
                <a:gd name="T32" fmla="*/ 5 w 23"/>
                <a:gd name="T33" fmla="*/ 0 h 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3"/>
                <a:gd name="T52" fmla="*/ 0 h 38"/>
                <a:gd name="T53" fmla="*/ 23 w 23"/>
                <a:gd name="T54" fmla="*/ 38 h 3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3" h="38">
                  <a:moveTo>
                    <a:pt x="5" y="0"/>
                  </a:moveTo>
                  <a:lnTo>
                    <a:pt x="8" y="2"/>
                  </a:lnTo>
                  <a:lnTo>
                    <a:pt x="15" y="8"/>
                  </a:lnTo>
                  <a:lnTo>
                    <a:pt x="20" y="17"/>
                  </a:lnTo>
                  <a:lnTo>
                    <a:pt x="23" y="27"/>
                  </a:lnTo>
                  <a:lnTo>
                    <a:pt x="21" y="34"/>
                  </a:lnTo>
                  <a:lnTo>
                    <a:pt x="19" y="38"/>
                  </a:lnTo>
                  <a:lnTo>
                    <a:pt x="16" y="38"/>
                  </a:lnTo>
                  <a:lnTo>
                    <a:pt x="9" y="38"/>
                  </a:lnTo>
                  <a:lnTo>
                    <a:pt x="4" y="35"/>
                  </a:lnTo>
                  <a:lnTo>
                    <a:pt x="3" y="28"/>
                  </a:lnTo>
                  <a:lnTo>
                    <a:pt x="4" y="23"/>
                  </a:lnTo>
                  <a:lnTo>
                    <a:pt x="5" y="20"/>
                  </a:lnTo>
                  <a:lnTo>
                    <a:pt x="3" y="18"/>
                  </a:lnTo>
                  <a:lnTo>
                    <a:pt x="1" y="12"/>
                  </a:lnTo>
                  <a:lnTo>
                    <a:pt x="0" y="5"/>
                  </a:lnTo>
                  <a:lnTo>
                    <a:pt x="5"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33" name="Freeform 27"/>
            <p:cNvSpPr>
              <a:spLocks/>
            </p:cNvSpPr>
            <p:nvPr/>
          </p:nvSpPr>
          <p:spPr bwMode="gray">
            <a:xfrm>
              <a:off x="5270" y="2800"/>
              <a:ext cx="19" cy="15"/>
            </a:xfrm>
            <a:custGeom>
              <a:avLst/>
              <a:gdLst>
                <a:gd name="T0" fmla="*/ 17 w 17"/>
                <a:gd name="T1" fmla="*/ 7 h 14"/>
                <a:gd name="T2" fmla="*/ 15 w 17"/>
                <a:gd name="T3" fmla="*/ 4 h 14"/>
                <a:gd name="T4" fmla="*/ 10 w 17"/>
                <a:gd name="T5" fmla="*/ 1 h 14"/>
                <a:gd name="T6" fmla="*/ 4 w 17"/>
                <a:gd name="T7" fmla="*/ 0 h 14"/>
                <a:gd name="T8" fmla="*/ 0 w 17"/>
                <a:gd name="T9" fmla="*/ 3 h 14"/>
                <a:gd name="T10" fmla="*/ 2 w 17"/>
                <a:gd name="T11" fmla="*/ 10 h 14"/>
                <a:gd name="T12" fmla="*/ 9 w 17"/>
                <a:gd name="T13" fmla="*/ 14 h 14"/>
                <a:gd name="T14" fmla="*/ 16 w 17"/>
                <a:gd name="T15" fmla="*/ 12 h 14"/>
                <a:gd name="T16" fmla="*/ 17 w 17"/>
                <a:gd name="T17" fmla="*/ 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4"/>
                <a:gd name="T29" fmla="*/ 17 w 17"/>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4">
                  <a:moveTo>
                    <a:pt x="17" y="7"/>
                  </a:moveTo>
                  <a:lnTo>
                    <a:pt x="15" y="4"/>
                  </a:lnTo>
                  <a:lnTo>
                    <a:pt x="10" y="1"/>
                  </a:lnTo>
                  <a:lnTo>
                    <a:pt x="4" y="0"/>
                  </a:lnTo>
                  <a:lnTo>
                    <a:pt x="0" y="3"/>
                  </a:lnTo>
                  <a:lnTo>
                    <a:pt x="2" y="10"/>
                  </a:lnTo>
                  <a:lnTo>
                    <a:pt x="9" y="14"/>
                  </a:lnTo>
                  <a:lnTo>
                    <a:pt x="16" y="12"/>
                  </a:lnTo>
                  <a:lnTo>
                    <a:pt x="17" y="7"/>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34" name="Freeform 28"/>
            <p:cNvSpPr>
              <a:spLocks/>
            </p:cNvSpPr>
            <p:nvPr/>
          </p:nvSpPr>
          <p:spPr bwMode="gray">
            <a:xfrm>
              <a:off x="5318" y="2252"/>
              <a:ext cx="22" cy="14"/>
            </a:xfrm>
            <a:custGeom>
              <a:avLst/>
              <a:gdLst>
                <a:gd name="T0" fmla="*/ 18 w 18"/>
                <a:gd name="T1" fmla="*/ 7 h 12"/>
                <a:gd name="T2" fmla="*/ 16 w 18"/>
                <a:gd name="T3" fmla="*/ 4 h 12"/>
                <a:gd name="T4" fmla="*/ 10 w 18"/>
                <a:gd name="T5" fmla="*/ 1 h 12"/>
                <a:gd name="T6" fmla="*/ 4 w 18"/>
                <a:gd name="T7" fmla="*/ 0 h 12"/>
                <a:gd name="T8" fmla="*/ 0 w 18"/>
                <a:gd name="T9" fmla="*/ 3 h 12"/>
                <a:gd name="T10" fmla="*/ 2 w 18"/>
                <a:gd name="T11" fmla="*/ 10 h 12"/>
                <a:gd name="T12" fmla="*/ 9 w 18"/>
                <a:gd name="T13" fmla="*/ 12 h 12"/>
                <a:gd name="T14" fmla="*/ 16 w 18"/>
                <a:gd name="T15" fmla="*/ 12 h 12"/>
                <a:gd name="T16" fmla="*/ 18 w 18"/>
                <a:gd name="T17" fmla="*/ 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2"/>
                <a:gd name="T29" fmla="*/ 18 w 18"/>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2">
                  <a:moveTo>
                    <a:pt x="18" y="7"/>
                  </a:moveTo>
                  <a:lnTo>
                    <a:pt x="16" y="4"/>
                  </a:lnTo>
                  <a:lnTo>
                    <a:pt x="10" y="1"/>
                  </a:lnTo>
                  <a:lnTo>
                    <a:pt x="4" y="0"/>
                  </a:lnTo>
                  <a:lnTo>
                    <a:pt x="0" y="3"/>
                  </a:lnTo>
                  <a:lnTo>
                    <a:pt x="2" y="10"/>
                  </a:lnTo>
                  <a:lnTo>
                    <a:pt x="9" y="12"/>
                  </a:lnTo>
                  <a:lnTo>
                    <a:pt x="16" y="12"/>
                  </a:lnTo>
                  <a:lnTo>
                    <a:pt x="18" y="7"/>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35" name="Freeform 29"/>
            <p:cNvSpPr>
              <a:spLocks/>
            </p:cNvSpPr>
            <p:nvPr/>
          </p:nvSpPr>
          <p:spPr bwMode="gray">
            <a:xfrm>
              <a:off x="4746" y="1985"/>
              <a:ext cx="18" cy="13"/>
            </a:xfrm>
            <a:custGeom>
              <a:avLst/>
              <a:gdLst>
                <a:gd name="T0" fmla="*/ 17 w 17"/>
                <a:gd name="T1" fmla="*/ 7 h 12"/>
                <a:gd name="T2" fmla="*/ 15 w 17"/>
                <a:gd name="T3" fmla="*/ 4 h 12"/>
                <a:gd name="T4" fmla="*/ 10 w 17"/>
                <a:gd name="T5" fmla="*/ 1 h 12"/>
                <a:gd name="T6" fmla="*/ 4 w 17"/>
                <a:gd name="T7" fmla="*/ 0 h 12"/>
                <a:gd name="T8" fmla="*/ 0 w 17"/>
                <a:gd name="T9" fmla="*/ 3 h 12"/>
                <a:gd name="T10" fmla="*/ 2 w 17"/>
                <a:gd name="T11" fmla="*/ 10 h 12"/>
                <a:gd name="T12" fmla="*/ 9 w 17"/>
                <a:gd name="T13" fmla="*/ 12 h 12"/>
                <a:gd name="T14" fmla="*/ 16 w 17"/>
                <a:gd name="T15" fmla="*/ 12 h 12"/>
                <a:gd name="T16" fmla="*/ 17 w 17"/>
                <a:gd name="T17" fmla="*/ 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2"/>
                <a:gd name="T29" fmla="*/ 17 w 17"/>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2">
                  <a:moveTo>
                    <a:pt x="17" y="7"/>
                  </a:moveTo>
                  <a:lnTo>
                    <a:pt x="15" y="4"/>
                  </a:lnTo>
                  <a:lnTo>
                    <a:pt x="10" y="1"/>
                  </a:lnTo>
                  <a:lnTo>
                    <a:pt x="4" y="0"/>
                  </a:lnTo>
                  <a:lnTo>
                    <a:pt x="0" y="3"/>
                  </a:lnTo>
                  <a:lnTo>
                    <a:pt x="2" y="10"/>
                  </a:lnTo>
                  <a:lnTo>
                    <a:pt x="9" y="12"/>
                  </a:lnTo>
                  <a:lnTo>
                    <a:pt x="16" y="12"/>
                  </a:lnTo>
                  <a:lnTo>
                    <a:pt x="17" y="7"/>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36" name="Freeform 30"/>
            <p:cNvSpPr>
              <a:spLocks/>
            </p:cNvSpPr>
            <p:nvPr/>
          </p:nvSpPr>
          <p:spPr bwMode="gray">
            <a:xfrm>
              <a:off x="4926" y="2566"/>
              <a:ext cx="20" cy="15"/>
            </a:xfrm>
            <a:custGeom>
              <a:avLst/>
              <a:gdLst>
                <a:gd name="T0" fmla="*/ 18 w 18"/>
                <a:gd name="T1" fmla="*/ 7 h 12"/>
                <a:gd name="T2" fmla="*/ 15 w 18"/>
                <a:gd name="T3" fmla="*/ 4 h 12"/>
                <a:gd name="T4" fmla="*/ 11 w 18"/>
                <a:gd name="T5" fmla="*/ 1 h 12"/>
                <a:gd name="T6" fmla="*/ 5 w 18"/>
                <a:gd name="T7" fmla="*/ 0 h 12"/>
                <a:gd name="T8" fmla="*/ 0 w 18"/>
                <a:gd name="T9" fmla="*/ 3 h 12"/>
                <a:gd name="T10" fmla="*/ 3 w 18"/>
                <a:gd name="T11" fmla="*/ 10 h 12"/>
                <a:gd name="T12" fmla="*/ 10 w 18"/>
                <a:gd name="T13" fmla="*/ 12 h 12"/>
                <a:gd name="T14" fmla="*/ 16 w 18"/>
                <a:gd name="T15" fmla="*/ 12 h 12"/>
                <a:gd name="T16" fmla="*/ 18 w 18"/>
                <a:gd name="T17" fmla="*/ 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2"/>
                <a:gd name="T29" fmla="*/ 18 w 18"/>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2">
                  <a:moveTo>
                    <a:pt x="18" y="7"/>
                  </a:moveTo>
                  <a:lnTo>
                    <a:pt x="15" y="4"/>
                  </a:lnTo>
                  <a:lnTo>
                    <a:pt x="11" y="1"/>
                  </a:lnTo>
                  <a:lnTo>
                    <a:pt x="5" y="0"/>
                  </a:lnTo>
                  <a:lnTo>
                    <a:pt x="0" y="3"/>
                  </a:lnTo>
                  <a:lnTo>
                    <a:pt x="3" y="10"/>
                  </a:lnTo>
                  <a:lnTo>
                    <a:pt x="10" y="12"/>
                  </a:lnTo>
                  <a:lnTo>
                    <a:pt x="16" y="12"/>
                  </a:lnTo>
                  <a:lnTo>
                    <a:pt x="18" y="7"/>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37" name="Freeform 31"/>
            <p:cNvSpPr>
              <a:spLocks/>
            </p:cNvSpPr>
            <p:nvPr/>
          </p:nvSpPr>
          <p:spPr bwMode="gray">
            <a:xfrm>
              <a:off x="4770" y="2533"/>
              <a:ext cx="18" cy="15"/>
            </a:xfrm>
            <a:custGeom>
              <a:avLst/>
              <a:gdLst>
                <a:gd name="T0" fmla="*/ 18 w 18"/>
                <a:gd name="T1" fmla="*/ 8 h 13"/>
                <a:gd name="T2" fmla="*/ 15 w 18"/>
                <a:gd name="T3" fmla="*/ 5 h 13"/>
                <a:gd name="T4" fmla="*/ 11 w 18"/>
                <a:gd name="T5" fmla="*/ 2 h 13"/>
                <a:gd name="T6" fmla="*/ 5 w 18"/>
                <a:gd name="T7" fmla="*/ 0 h 13"/>
                <a:gd name="T8" fmla="*/ 0 w 18"/>
                <a:gd name="T9" fmla="*/ 4 h 13"/>
                <a:gd name="T10" fmla="*/ 3 w 18"/>
                <a:gd name="T11" fmla="*/ 11 h 13"/>
                <a:gd name="T12" fmla="*/ 10 w 18"/>
                <a:gd name="T13" fmla="*/ 13 h 13"/>
                <a:gd name="T14" fmla="*/ 17 w 18"/>
                <a:gd name="T15" fmla="*/ 13 h 13"/>
                <a:gd name="T16" fmla="*/ 18 w 18"/>
                <a:gd name="T17" fmla="*/ 8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3"/>
                <a:gd name="T29" fmla="*/ 18 w 18"/>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3">
                  <a:moveTo>
                    <a:pt x="18" y="8"/>
                  </a:moveTo>
                  <a:lnTo>
                    <a:pt x="15" y="5"/>
                  </a:lnTo>
                  <a:lnTo>
                    <a:pt x="11" y="2"/>
                  </a:lnTo>
                  <a:lnTo>
                    <a:pt x="5" y="0"/>
                  </a:lnTo>
                  <a:lnTo>
                    <a:pt x="0" y="4"/>
                  </a:lnTo>
                  <a:lnTo>
                    <a:pt x="3" y="11"/>
                  </a:lnTo>
                  <a:lnTo>
                    <a:pt x="10" y="13"/>
                  </a:lnTo>
                  <a:lnTo>
                    <a:pt x="17" y="13"/>
                  </a:lnTo>
                  <a:lnTo>
                    <a:pt x="18" y="8"/>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38" name="Freeform 32"/>
            <p:cNvSpPr>
              <a:spLocks/>
            </p:cNvSpPr>
            <p:nvPr/>
          </p:nvSpPr>
          <p:spPr bwMode="gray">
            <a:xfrm>
              <a:off x="4797" y="2436"/>
              <a:ext cx="17" cy="16"/>
            </a:xfrm>
            <a:custGeom>
              <a:avLst/>
              <a:gdLst>
                <a:gd name="T0" fmla="*/ 17 w 17"/>
                <a:gd name="T1" fmla="*/ 7 h 14"/>
                <a:gd name="T2" fmla="*/ 15 w 17"/>
                <a:gd name="T3" fmla="*/ 5 h 14"/>
                <a:gd name="T4" fmla="*/ 10 w 17"/>
                <a:gd name="T5" fmla="*/ 1 h 14"/>
                <a:gd name="T6" fmla="*/ 4 w 17"/>
                <a:gd name="T7" fmla="*/ 0 h 14"/>
                <a:gd name="T8" fmla="*/ 0 w 17"/>
                <a:gd name="T9" fmla="*/ 3 h 14"/>
                <a:gd name="T10" fmla="*/ 2 w 17"/>
                <a:gd name="T11" fmla="*/ 10 h 14"/>
                <a:gd name="T12" fmla="*/ 9 w 17"/>
                <a:gd name="T13" fmla="*/ 14 h 14"/>
                <a:gd name="T14" fmla="*/ 16 w 17"/>
                <a:gd name="T15" fmla="*/ 13 h 14"/>
                <a:gd name="T16" fmla="*/ 17 w 17"/>
                <a:gd name="T17" fmla="*/ 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4"/>
                <a:gd name="T29" fmla="*/ 17 w 17"/>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4">
                  <a:moveTo>
                    <a:pt x="17" y="7"/>
                  </a:moveTo>
                  <a:lnTo>
                    <a:pt x="15" y="5"/>
                  </a:lnTo>
                  <a:lnTo>
                    <a:pt x="10" y="1"/>
                  </a:lnTo>
                  <a:lnTo>
                    <a:pt x="4" y="0"/>
                  </a:lnTo>
                  <a:lnTo>
                    <a:pt x="0" y="3"/>
                  </a:lnTo>
                  <a:lnTo>
                    <a:pt x="2" y="10"/>
                  </a:lnTo>
                  <a:lnTo>
                    <a:pt x="9" y="14"/>
                  </a:lnTo>
                  <a:lnTo>
                    <a:pt x="16" y="13"/>
                  </a:lnTo>
                  <a:lnTo>
                    <a:pt x="17" y="7"/>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39" name="Freeform 33"/>
            <p:cNvSpPr>
              <a:spLocks/>
            </p:cNvSpPr>
            <p:nvPr/>
          </p:nvSpPr>
          <p:spPr bwMode="gray">
            <a:xfrm>
              <a:off x="3907" y="2209"/>
              <a:ext cx="11" cy="17"/>
            </a:xfrm>
            <a:custGeom>
              <a:avLst/>
              <a:gdLst>
                <a:gd name="T0" fmla="*/ 10 w 12"/>
                <a:gd name="T1" fmla="*/ 18 h 18"/>
                <a:gd name="T2" fmla="*/ 11 w 12"/>
                <a:gd name="T3" fmla="*/ 14 h 18"/>
                <a:gd name="T4" fmla="*/ 12 w 12"/>
                <a:gd name="T5" fmla="*/ 9 h 18"/>
                <a:gd name="T6" fmla="*/ 11 w 12"/>
                <a:gd name="T7" fmla="*/ 2 h 18"/>
                <a:gd name="T8" fmla="*/ 5 w 12"/>
                <a:gd name="T9" fmla="*/ 0 h 18"/>
                <a:gd name="T10" fmla="*/ 0 w 12"/>
                <a:gd name="T11" fmla="*/ 5 h 18"/>
                <a:gd name="T12" fmla="*/ 0 w 12"/>
                <a:gd name="T13" fmla="*/ 12 h 18"/>
                <a:gd name="T14" fmla="*/ 4 w 12"/>
                <a:gd name="T15" fmla="*/ 18 h 18"/>
                <a:gd name="T16" fmla="*/ 10 w 12"/>
                <a:gd name="T17" fmla="*/ 18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8"/>
                <a:gd name="T29" fmla="*/ 12 w 12"/>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8">
                  <a:moveTo>
                    <a:pt x="10" y="18"/>
                  </a:moveTo>
                  <a:lnTo>
                    <a:pt x="11" y="14"/>
                  </a:lnTo>
                  <a:lnTo>
                    <a:pt x="12" y="9"/>
                  </a:lnTo>
                  <a:lnTo>
                    <a:pt x="11" y="2"/>
                  </a:lnTo>
                  <a:lnTo>
                    <a:pt x="5" y="0"/>
                  </a:lnTo>
                  <a:lnTo>
                    <a:pt x="0" y="5"/>
                  </a:lnTo>
                  <a:lnTo>
                    <a:pt x="0" y="12"/>
                  </a:lnTo>
                  <a:lnTo>
                    <a:pt x="4" y="18"/>
                  </a:lnTo>
                  <a:lnTo>
                    <a:pt x="10" y="18"/>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40" name="Freeform 34"/>
            <p:cNvSpPr>
              <a:spLocks/>
            </p:cNvSpPr>
            <p:nvPr/>
          </p:nvSpPr>
          <p:spPr bwMode="gray">
            <a:xfrm>
              <a:off x="5357" y="3337"/>
              <a:ext cx="18" cy="15"/>
            </a:xfrm>
            <a:custGeom>
              <a:avLst/>
              <a:gdLst>
                <a:gd name="T0" fmla="*/ 17 w 17"/>
                <a:gd name="T1" fmla="*/ 7 h 13"/>
                <a:gd name="T2" fmla="*/ 15 w 17"/>
                <a:gd name="T3" fmla="*/ 5 h 13"/>
                <a:gd name="T4" fmla="*/ 11 w 17"/>
                <a:gd name="T5" fmla="*/ 2 h 13"/>
                <a:gd name="T6" fmla="*/ 5 w 17"/>
                <a:gd name="T7" fmla="*/ 0 h 13"/>
                <a:gd name="T8" fmla="*/ 0 w 17"/>
                <a:gd name="T9" fmla="*/ 4 h 13"/>
                <a:gd name="T10" fmla="*/ 2 w 17"/>
                <a:gd name="T11" fmla="*/ 11 h 13"/>
                <a:gd name="T12" fmla="*/ 9 w 17"/>
                <a:gd name="T13" fmla="*/ 13 h 13"/>
                <a:gd name="T14" fmla="*/ 16 w 17"/>
                <a:gd name="T15" fmla="*/ 13 h 13"/>
                <a:gd name="T16" fmla="*/ 17 w 17"/>
                <a:gd name="T17" fmla="*/ 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3"/>
                <a:gd name="T29" fmla="*/ 17 w 17"/>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3">
                  <a:moveTo>
                    <a:pt x="17" y="7"/>
                  </a:moveTo>
                  <a:lnTo>
                    <a:pt x="15" y="5"/>
                  </a:lnTo>
                  <a:lnTo>
                    <a:pt x="11" y="2"/>
                  </a:lnTo>
                  <a:lnTo>
                    <a:pt x="5" y="0"/>
                  </a:lnTo>
                  <a:lnTo>
                    <a:pt x="0" y="4"/>
                  </a:lnTo>
                  <a:lnTo>
                    <a:pt x="2" y="11"/>
                  </a:lnTo>
                  <a:lnTo>
                    <a:pt x="9" y="13"/>
                  </a:lnTo>
                  <a:lnTo>
                    <a:pt x="16" y="13"/>
                  </a:lnTo>
                  <a:lnTo>
                    <a:pt x="17" y="7"/>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41" name="Freeform 35"/>
            <p:cNvSpPr>
              <a:spLocks/>
            </p:cNvSpPr>
            <p:nvPr/>
          </p:nvSpPr>
          <p:spPr bwMode="gray">
            <a:xfrm>
              <a:off x="5611" y="3148"/>
              <a:ext cx="20" cy="13"/>
            </a:xfrm>
            <a:custGeom>
              <a:avLst/>
              <a:gdLst>
                <a:gd name="T0" fmla="*/ 17 w 17"/>
                <a:gd name="T1" fmla="*/ 7 h 12"/>
                <a:gd name="T2" fmla="*/ 15 w 17"/>
                <a:gd name="T3" fmla="*/ 4 h 12"/>
                <a:gd name="T4" fmla="*/ 10 w 17"/>
                <a:gd name="T5" fmla="*/ 1 h 12"/>
                <a:gd name="T6" fmla="*/ 5 w 17"/>
                <a:gd name="T7" fmla="*/ 0 h 12"/>
                <a:gd name="T8" fmla="*/ 0 w 17"/>
                <a:gd name="T9" fmla="*/ 3 h 12"/>
                <a:gd name="T10" fmla="*/ 2 w 17"/>
                <a:gd name="T11" fmla="*/ 10 h 12"/>
                <a:gd name="T12" fmla="*/ 9 w 17"/>
                <a:gd name="T13" fmla="*/ 12 h 12"/>
                <a:gd name="T14" fmla="*/ 16 w 17"/>
                <a:gd name="T15" fmla="*/ 12 h 12"/>
                <a:gd name="T16" fmla="*/ 17 w 17"/>
                <a:gd name="T17" fmla="*/ 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2"/>
                <a:gd name="T29" fmla="*/ 17 w 17"/>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2">
                  <a:moveTo>
                    <a:pt x="17" y="7"/>
                  </a:moveTo>
                  <a:lnTo>
                    <a:pt x="15" y="4"/>
                  </a:lnTo>
                  <a:lnTo>
                    <a:pt x="10" y="1"/>
                  </a:lnTo>
                  <a:lnTo>
                    <a:pt x="5" y="0"/>
                  </a:lnTo>
                  <a:lnTo>
                    <a:pt x="0" y="3"/>
                  </a:lnTo>
                  <a:lnTo>
                    <a:pt x="2" y="10"/>
                  </a:lnTo>
                  <a:lnTo>
                    <a:pt x="9" y="12"/>
                  </a:lnTo>
                  <a:lnTo>
                    <a:pt x="16" y="12"/>
                  </a:lnTo>
                  <a:lnTo>
                    <a:pt x="17" y="7"/>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42" name="Freeform 36"/>
            <p:cNvSpPr>
              <a:spLocks/>
            </p:cNvSpPr>
            <p:nvPr/>
          </p:nvSpPr>
          <p:spPr bwMode="gray">
            <a:xfrm>
              <a:off x="4538" y="3157"/>
              <a:ext cx="20" cy="13"/>
            </a:xfrm>
            <a:custGeom>
              <a:avLst/>
              <a:gdLst>
                <a:gd name="T0" fmla="*/ 19 w 19"/>
                <a:gd name="T1" fmla="*/ 7 h 12"/>
                <a:gd name="T2" fmla="*/ 17 w 19"/>
                <a:gd name="T3" fmla="*/ 4 h 12"/>
                <a:gd name="T4" fmla="*/ 11 w 19"/>
                <a:gd name="T5" fmla="*/ 1 h 12"/>
                <a:gd name="T6" fmla="*/ 5 w 19"/>
                <a:gd name="T7" fmla="*/ 0 h 12"/>
                <a:gd name="T8" fmla="*/ 0 w 19"/>
                <a:gd name="T9" fmla="*/ 3 h 12"/>
                <a:gd name="T10" fmla="*/ 3 w 19"/>
                <a:gd name="T11" fmla="*/ 10 h 12"/>
                <a:gd name="T12" fmla="*/ 10 w 19"/>
                <a:gd name="T13" fmla="*/ 12 h 12"/>
                <a:gd name="T14" fmla="*/ 17 w 19"/>
                <a:gd name="T15" fmla="*/ 12 h 12"/>
                <a:gd name="T16" fmla="*/ 19 w 19"/>
                <a:gd name="T17" fmla="*/ 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2"/>
                <a:gd name="T29" fmla="*/ 19 w 19"/>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2">
                  <a:moveTo>
                    <a:pt x="19" y="7"/>
                  </a:moveTo>
                  <a:lnTo>
                    <a:pt x="17" y="4"/>
                  </a:lnTo>
                  <a:lnTo>
                    <a:pt x="11" y="1"/>
                  </a:lnTo>
                  <a:lnTo>
                    <a:pt x="5" y="0"/>
                  </a:lnTo>
                  <a:lnTo>
                    <a:pt x="0" y="3"/>
                  </a:lnTo>
                  <a:lnTo>
                    <a:pt x="3" y="10"/>
                  </a:lnTo>
                  <a:lnTo>
                    <a:pt x="10" y="12"/>
                  </a:lnTo>
                  <a:lnTo>
                    <a:pt x="17" y="12"/>
                  </a:lnTo>
                  <a:lnTo>
                    <a:pt x="19" y="7"/>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43" name="Freeform 37"/>
            <p:cNvSpPr>
              <a:spLocks/>
            </p:cNvSpPr>
            <p:nvPr/>
          </p:nvSpPr>
          <p:spPr bwMode="gray">
            <a:xfrm>
              <a:off x="5414" y="2651"/>
              <a:ext cx="18" cy="15"/>
            </a:xfrm>
            <a:custGeom>
              <a:avLst/>
              <a:gdLst>
                <a:gd name="T0" fmla="*/ 17 w 17"/>
                <a:gd name="T1" fmla="*/ 7 h 13"/>
                <a:gd name="T2" fmla="*/ 15 w 17"/>
                <a:gd name="T3" fmla="*/ 5 h 13"/>
                <a:gd name="T4" fmla="*/ 10 w 17"/>
                <a:gd name="T5" fmla="*/ 1 h 13"/>
                <a:gd name="T6" fmla="*/ 5 w 17"/>
                <a:gd name="T7" fmla="*/ 0 h 13"/>
                <a:gd name="T8" fmla="*/ 0 w 17"/>
                <a:gd name="T9" fmla="*/ 3 h 13"/>
                <a:gd name="T10" fmla="*/ 2 w 17"/>
                <a:gd name="T11" fmla="*/ 10 h 13"/>
                <a:gd name="T12" fmla="*/ 9 w 17"/>
                <a:gd name="T13" fmla="*/ 13 h 13"/>
                <a:gd name="T14" fmla="*/ 16 w 17"/>
                <a:gd name="T15" fmla="*/ 13 h 13"/>
                <a:gd name="T16" fmla="*/ 17 w 17"/>
                <a:gd name="T17" fmla="*/ 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3"/>
                <a:gd name="T29" fmla="*/ 17 w 17"/>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3">
                  <a:moveTo>
                    <a:pt x="17" y="7"/>
                  </a:moveTo>
                  <a:lnTo>
                    <a:pt x="15" y="5"/>
                  </a:lnTo>
                  <a:lnTo>
                    <a:pt x="10" y="1"/>
                  </a:lnTo>
                  <a:lnTo>
                    <a:pt x="5" y="0"/>
                  </a:lnTo>
                  <a:lnTo>
                    <a:pt x="0" y="3"/>
                  </a:lnTo>
                  <a:lnTo>
                    <a:pt x="2" y="10"/>
                  </a:lnTo>
                  <a:lnTo>
                    <a:pt x="9" y="13"/>
                  </a:lnTo>
                  <a:lnTo>
                    <a:pt x="16" y="13"/>
                  </a:lnTo>
                  <a:lnTo>
                    <a:pt x="17" y="7"/>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44" name="Freeform 38"/>
            <p:cNvSpPr>
              <a:spLocks/>
            </p:cNvSpPr>
            <p:nvPr/>
          </p:nvSpPr>
          <p:spPr bwMode="gray">
            <a:xfrm>
              <a:off x="5222" y="2824"/>
              <a:ext cx="41" cy="37"/>
            </a:xfrm>
            <a:custGeom>
              <a:avLst/>
              <a:gdLst>
                <a:gd name="T0" fmla="*/ 38 w 38"/>
                <a:gd name="T1" fmla="*/ 10 h 34"/>
                <a:gd name="T2" fmla="*/ 28 w 38"/>
                <a:gd name="T3" fmla="*/ 0 h 34"/>
                <a:gd name="T4" fmla="*/ 10 w 38"/>
                <a:gd name="T5" fmla="*/ 17 h 34"/>
                <a:gd name="T6" fmla="*/ 8 w 38"/>
                <a:gd name="T7" fmla="*/ 19 h 34"/>
                <a:gd name="T8" fmla="*/ 3 w 38"/>
                <a:gd name="T9" fmla="*/ 25 h 34"/>
                <a:gd name="T10" fmla="*/ 0 w 38"/>
                <a:gd name="T11" fmla="*/ 32 h 34"/>
                <a:gd name="T12" fmla="*/ 3 w 38"/>
                <a:gd name="T13" fmla="*/ 34 h 34"/>
                <a:gd name="T14" fmla="*/ 8 w 38"/>
                <a:gd name="T15" fmla="*/ 33 h 34"/>
                <a:gd name="T16" fmla="*/ 13 w 38"/>
                <a:gd name="T17" fmla="*/ 31 h 34"/>
                <a:gd name="T18" fmla="*/ 18 w 38"/>
                <a:gd name="T19" fmla="*/ 26 h 34"/>
                <a:gd name="T20" fmla="*/ 24 w 38"/>
                <a:gd name="T21" fmla="*/ 21 h 34"/>
                <a:gd name="T22" fmla="*/ 30 w 38"/>
                <a:gd name="T23" fmla="*/ 18 h 34"/>
                <a:gd name="T24" fmla="*/ 34 w 38"/>
                <a:gd name="T25" fmla="*/ 13 h 34"/>
                <a:gd name="T26" fmla="*/ 37 w 38"/>
                <a:gd name="T27" fmla="*/ 11 h 34"/>
                <a:gd name="T28" fmla="*/ 38 w 38"/>
                <a:gd name="T29" fmla="*/ 10 h 3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
                <a:gd name="T46" fmla="*/ 0 h 34"/>
                <a:gd name="T47" fmla="*/ 38 w 38"/>
                <a:gd name="T48" fmla="*/ 34 h 3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 h="34">
                  <a:moveTo>
                    <a:pt x="38" y="10"/>
                  </a:moveTo>
                  <a:lnTo>
                    <a:pt x="28" y="0"/>
                  </a:lnTo>
                  <a:lnTo>
                    <a:pt x="10" y="17"/>
                  </a:lnTo>
                  <a:lnTo>
                    <a:pt x="8" y="19"/>
                  </a:lnTo>
                  <a:lnTo>
                    <a:pt x="3" y="25"/>
                  </a:lnTo>
                  <a:lnTo>
                    <a:pt x="0" y="32"/>
                  </a:lnTo>
                  <a:lnTo>
                    <a:pt x="3" y="34"/>
                  </a:lnTo>
                  <a:lnTo>
                    <a:pt x="8" y="33"/>
                  </a:lnTo>
                  <a:lnTo>
                    <a:pt x="13" y="31"/>
                  </a:lnTo>
                  <a:lnTo>
                    <a:pt x="18" y="26"/>
                  </a:lnTo>
                  <a:lnTo>
                    <a:pt x="24" y="21"/>
                  </a:lnTo>
                  <a:lnTo>
                    <a:pt x="30" y="18"/>
                  </a:lnTo>
                  <a:lnTo>
                    <a:pt x="34" y="13"/>
                  </a:lnTo>
                  <a:lnTo>
                    <a:pt x="37" y="11"/>
                  </a:lnTo>
                  <a:lnTo>
                    <a:pt x="38" y="1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45" name="Freeform 39"/>
            <p:cNvSpPr>
              <a:spLocks/>
            </p:cNvSpPr>
            <p:nvPr/>
          </p:nvSpPr>
          <p:spPr bwMode="gray">
            <a:xfrm>
              <a:off x="5528" y="2765"/>
              <a:ext cx="31" cy="22"/>
            </a:xfrm>
            <a:custGeom>
              <a:avLst/>
              <a:gdLst>
                <a:gd name="T0" fmla="*/ 28 w 28"/>
                <a:gd name="T1" fmla="*/ 13 h 19"/>
                <a:gd name="T2" fmla="*/ 25 w 28"/>
                <a:gd name="T3" fmla="*/ 11 h 19"/>
                <a:gd name="T4" fmla="*/ 19 w 28"/>
                <a:gd name="T5" fmla="*/ 5 h 19"/>
                <a:gd name="T6" fmla="*/ 11 w 28"/>
                <a:gd name="T7" fmla="*/ 1 h 19"/>
                <a:gd name="T8" fmla="*/ 3 w 28"/>
                <a:gd name="T9" fmla="*/ 0 h 19"/>
                <a:gd name="T10" fmla="*/ 1 w 28"/>
                <a:gd name="T11" fmla="*/ 2 h 19"/>
                <a:gd name="T12" fmla="*/ 0 w 28"/>
                <a:gd name="T13" fmla="*/ 5 h 19"/>
                <a:gd name="T14" fmla="*/ 2 w 28"/>
                <a:gd name="T15" fmla="*/ 10 h 19"/>
                <a:gd name="T16" fmla="*/ 6 w 28"/>
                <a:gd name="T17" fmla="*/ 15 h 19"/>
                <a:gd name="T18" fmla="*/ 9 w 28"/>
                <a:gd name="T19" fmla="*/ 18 h 19"/>
                <a:gd name="T20" fmla="*/ 15 w 28"/>
                <a:gd name="T21" fmla="*/ 19 h 19"/>
                <a:gd name="T22" fmla="*/ 21 w 28"/>
                <a:gd name="T23" fmla="*/ 18 h 19"/>
                <a:gd name="T24" fmla="*/ 28 w 28"/>
                <a:gd name="T25" fmla="*/ 13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19"/>
                <a:gd name="T41" fmla="*/ 28 w 28"/>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19">
                  <a:moveTo>
                    <a:pt x="28" y="13"/>
                  </a:moveTo>
                  <a:lnTo>
                    <a:pt x="25" y="11"/>
                  </a:lnTo>
                  <a:lnTo>
                    <a:pt x="19" y="5"/>
                  </a:lnTo>
                  <a:lnTo>
                    <a:pt x="11" y="1"/>
                  </a:lnTo>
                  <a:lnTo>
                    <a:pt x="3" y="0"/>
                  </a:lnTo>
                  <a:lnTo>
                    <a:pt x="1" y="2"/>
                  </a:lnTo>
                  <a:lnTo>
                    <a:pt x="0" y="5"/>
                  </a:lnTo>
                  <a:lnTo>
                    <a:pt x="2" y="10"/>
                  </a:lnTo>
                  <a:lnTo>
                    <a:pt x="6" y="15"/>
                  </a:lnTo>
                  <a:lnTo>
                    <a:pt x="9" y="18"/>
                  </a:lnTo>
                  <a:lnTo>
                    <a:pt x="15" y="19"/>
                  </a:lnTo>
                  <a:lnTo>
                    <a:pt x="21" y="18"/>
                  </a:lnTo>
                  <a:lnTo>
                    <a:pt x="28" y="13"/>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46" name="Freeform 40"/>
            <p:cNvSpPr>
              <a:spLocks/>
            </p:cNvSpPr>
            <p:nvPr/>
          </p:nvSpPr>
          <p:spPr bwMode="gray">
            <a:xfrm>
              <a:off x="5480" y="2704"/>
              <a:ext cx="48" cy="43"/>
            </a:xfrm>
            <a:custGeom>
              <a:avLst/>
              <a:gdLst>
                <a:gd name="T0" fmla="*/ 44 w 44"/>
                <a:gd name="T1" fmla="*/ 40 h 40"/>
                <a:gd name="T2" fmla="*/ 42 w 44"/>
                <a:gd name="T3" fmla="*/ 36 h 40"/>
                <a:gd name="T4" fmla="*/ 37 w 44"/>
                <a:gd name="T5" fmla="*/ 25 h 40"/>
                <a:gd name="T6" fmla="*/ 29 w 44"/>
                <a:gd name="T7" fmla="*/ 14 h 40"/>
                <a:gd name="T8" fmla="*/ 19 w 44"/>
                <a:gd name="T9" fmla="*/ 6 h 40"/>
                <a:gd name="T10" fmla="*/ 9 w 44"/>
                <a:gd name="T11" fmla="*/ 1 h 40"/>
                <a:gd name="T12" fmla="*/ 2 w 44"/>
                <a:gd name="T13" fmla="*/ 0 h 40"/>
                <a:gd name="T14" fmla="*/ 0 w 44"/>
                <a:gd name="T15" fmla="*/ 5 h 40"/>
                <a:gd name="T16" fmla="*/ 5 w 44"/>
                <a:gd name="T17" fmla="*/ 13 h 40"/>
                <a:gd name="T18" fmla="*/ 9 w 44"/>
                <a:gd name="T19" fmla="*/ 17 h 40"/>
                <a:gd name="T20" fmla="*/ 15 w 44"/>
                <a:gd name="T21" fmla="*/ 23 h 40"/>
                <a:gd name="T22" fmla="*/ 22 w 44"/>
                <a:gd name="T23" fmla="*/ 28 h 40"/>
                <a:gd name="T24" fmla="*/ 28 w 44"/>
                <a:gd name="T25" fmla="*/ 31 h 40"/>
                <a:gd name="T26" fmla="*/ 35 w 44"/>
                <a:gd name="T27" fmla="*/ 36 h 40"/>
                <a:gd name="T28" fmla="*/ 39 w 44"/>
                <a:gd name="T29" fmla="*/ 38 h 40"/>
                <a:gd name="T30" fmla="*/ 43 w 44"/>
                <a:gd name="T31" fmla="*/ 39 h 40"/>
                <a:gd name="T32" fmla="*/ 44 w 44"/>
                <a:gd name="T33" fmla="*/ 40 h 4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4"/>
                <a:gd name="T52" fmla="*/ 0 h 40"/>
                <a:gd name="T53" fmla="*/ 44 w 44"/>
                <a:gd name="T54" fmla="*/ 40 h 4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4" h="40">
                  <a:moveTo>
                    <a:pt x="44" y="40"/>
                  </a:moveTo>
                  <a:lnTo>
                    <a:pt x="42" y="36"/>
                  </a:lnTo>
                  <a:lnTo>
                    <a:pt x="37" y="25"/>
                  </a:lnTo>
                  <a:lnTo>
                    <a:pt x="29" y="14"/>
                  </a:lnTo>
                  <a:lnTo>
                    <a:pt x="19" y="6"/>
                  </a:lnTo>
                  <a:lnTo>
                    <a:pt x="9" y="1"/>
                  </a:lnTo>
                  <a:lnTo>
                    <a:pt x="2" y="0"/>
                  </a:lnTo>
                  <a:lnTo>
                    <a:pt x="0" y="5"/>
                  </a:lnTo>
                  <a:lnTo>
                    <a:pt x="5" y="13"/>
                  </a:lnTo>
                  <a:lnTo>
                    <a:pt x="9" y="17"/>
                  </a:lnTo>
                  <a:lnTo>
                    <a:pt x="15" y="23"/>
                  </a:lnTo>
                  <a:lnTo>
                    <a:pt x="22" y="28"/>
                  </a:lnTo>
                  <a:lnTo>
                    <a:pt x="28" y="31"/>
                  </a:lnTo>
                  <a:lnTo>
                    <a:pt x="35" y="36"/>
                  </a:lnTo>
                  <a:lnTo>
                    <a:pt x="39" y="38"/>
                  </a:lnTo>
                  <a:lnTo>
                    <a:pt x="43" y="39"/>
                  </a:lnTo>
                  <a:lnTo>
                    <a:pt x="44" y="4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47" name="Freeform 41"/>
            <p:cNvSpPr>
              <a:spLocks/>
            </p:cNvSpPr>
            <p:nvPr/>
          </p:nvSpPr>
          <p:spPr bwMode="gray">
            <a:xfrm>
              <a:off x="5110" y="2708"/>
              <a:ext cx="59" cy="92"/>
            </a:xfrm>
            <a:custGeom>
              <a:avLst/>
              <a:gdLst>
                <a:gd name="T0" fmla="*/ 43 w 56"/>
                <a:gd name="T1" fmla="*/ 0 h 83"/>
                <a:gd name="T2" fmla="*/ 53 w 56"/>
                <a:gd name="T3" fmla="*/ 27 h 83"/>
                <a:gd name="T4" fmla="*/ 55 w 56"/>
                <a:gd name="T5" fmla="*/ 31 h 83"/>
                <a:gd name="T6" fmla="*/ 56 w 56"/>
                <a:gd name="T7" fmla="*/ 38 h 83"/>
                <a:gd name="T8" fmla="*/ 55 w 56"/>
                <a:gd name="T9" fmla="*/ 48 h 83"/>
                <a:gd name="T10" fmla="*/ 50 w 56"/>
                <a:gd name="T11" fmla="*/ 59 h 83"/>
                <a:gd name="T12" fmla="*/ 45 w 56"/>
                <a:gd name="T13" fmla="*/ 68 h 83"/>
                <a:gd name="T14" fmla="*/ 42 w 56"/>
                <a:gd name="T15" fmla="*/ 75 h 83"/>
                <a:gd name="T16" fmla="*/ 38 w 56"/>
                <a:gd name="T17" fmla="*/ 79 h 83"/>
                <a:gd name="T18" fmla="*/ 29 w 56"/>
                <a:gd name="T19" fmla="*/ 83 h 83"/>
                <a:gd name="T20" fmla="*/ 18 w 56"/>
                <a:gd name="T21" fmla="*/ 83 h 83"/>
                <a:gd name="T22" fmla="*/ 8 w 56"/>
                <a:gd name="T23" fmla="*/ 79 h 83"/>
                <a:gd name="T24" fmla="*/ 4 w 56"/>
                <a:gd name="T25" fmla="*/ 71 h 83"/>
                <a:gd name="T26" fmla="*/ 2 w 56"/>
                <a:gd name="T27" fmla="*/ 62 h 83"/>
                <a:gd name="T28" fmla="*/ 0 w 56"/>
                <a:gd name="T29" fmla="*/ 52 h 83"/>
                <a:gd name="T30" fmla="*/ 0 w 56"/>
                <a:gd name="T31" fmla="*/ 41 h 83"/>
                <a:gd name="T32" fmla="*/ 3 w 56"/>
                <a:gd name="T33" fmla="*/ 32 h 83"/>
                <a:gd name="T34" fmla="*/ 12 w 56"/>
                <a:gd name="T35" fmla="*/ 24 h 83"/>
                <a:gd name="T36" fmla="*/ 25 w 56"/>
                <a:gd name="T37" fmla="*/ 16 h 83"/>
                <a:gd name="T38" fmla="*/ 34 w 56"/>
                <a:gd name="T39" fmla="*/ 8 h 83"/>
                <a:gd name="T40" fmla="*/ 41 w 56"/>
                <a:gd name="T41" fmla="*/ 2 h 83"/>
                <a:gd name="T42" fmla="*/ 43 w 56"/>
                <a:gd name="T43" fmla="*/ 0 h 8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6"/>
                <a:gd name="T67" fmla="*/ 0 h 83"/>
                <a:gd name="T68" fmla="*/ 56 w 56"/>
                <a:gd name="T69" fmla="*/ 83 h 8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6" h="83">
                  <a:moveTo>
                    <a:pt x="43" y="0"/>
                  </a:moveTo>
                  <a:lnTo>
                    <a:pt x="53" y="27"/>
                  </a:lnTo>
                  <a:lnTo>
                    <a:pt x="55" y="31"/>
                  </a:lnTo>
                  <a:lnTo>
                    <a:pt x="56" y="38"/>
                  </a:lnTo>
                  <a:lnTo>
                    <a:pt x="55" y="48"/>
                  </a:lnTo>
                  <a:lnTo>
                    <a:pt x="50" y="59"/>
                  </a:lnTo>
                  <a:lnTo>
                    <a:pt x="45" y="68"/>
                  </a:lnTo>
                  <a:lnTo>
                    <a:pt x="42" y="75"/>
                  </a:lnTo>
                  <a:lnTo>
                    <a:pt x="38" y="79"/>
                  </a:lnTo>
                  <a:lnTo>
                    <a:pt x="29" y="83"/>
                  </a:lnTo>
                  <a:lnTo>
                    <a:pt x="18" y="83"/>
                  </a:lnTo>
                  <a:lnTo>
                    <a:pt x="8" y="79"/>
                  </a:lnTo>
                  <a:lnTo>
                    <a:pt x="4" y="71"/>
                  </a:lnTo>
                  <a:lnTo>
                    <a:pt x="2" y="62"/>
                  </a:lnTo>
                  <a:lnTo>
                    <a:pt x="0" y="52"/>
                  </a:lnTo>
                  <a:lnTo>
                    <a:pt x="0" y="41"/>
                  </a:lnTo>
                  <a:lnTo>
                    <a:pt x="3" y="32"/>
                  </a:lnTo>
                  <a:lnTo>
                    <a:pt x="12" y="24"/>
                  </a:lnTo>
                  <a:lnTo>
                    <a:pt x="25" y="16"/>
                  </a:lnTo>
                  <a:lnTo>
                    <a:pt x="34" y="8"/>
                  </a:lnTo>
                  <a:lnTo>
                    <a:pt x="41" y="2"/>
                  </a:lnTo>
                  <a:lnTo>
                    <a:pt x="43"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48" name="Freeform 42"/>
            <p:cNvSpPr>
              <a:spLocks/>
            </p:cNvSpPr>
            <p:nvPr/>
          </p:nvSpPr>
          <p:spPr bwMode="gray">
            <a:xfrm>
              <a:off x="5084" y="2855"/>
              <a:ext cx="30" cy="41"/>
            </a:xfrm>
            <a:custGeom>
              <a:avLst/>
              <a:gdLst>
                <a:gd name="T0" fmla="*/ 29 w 29"/>
                <a:gd name="T1" fmla="*/ 11 h 39"/>
                <a:gd name="T2" fmla="*/ 5 w 29"/>
                <a:gd name="T3" fmla="*/ 0 h 39"/>
                <a:gd name="T4" fmla="*/ 4 w 29"/>
                <a:gd name="T5" fmla="*/ 1 h 39"/>
                <a:gd name="T6" fmla="*/ 1 w 29"/>
                <a:gd name="T7" fmla="*/ 4 h 39"/>
                <a:gd name="T8" fmla="*/ 0 w 29"/>
                <a:gd name="T9" fmla="*/ 9 h 39"/>
                <a:gd name="T10" fmla="*/ 1 w 29"/>
                <a:gd name="T11" fmla="*/ 18 h 39"/>
                <a:gd name="T12" fmla="*/ 4 w 29"/>
                <a:gd name="T13" fmla="*/ 28 h 39"/>
                <a:gd name="T14" fmla="*/ 6 w 29"/>
                <a:gd name="T15" fmla="*/ 36 h 39"/>
                <a:gd name="T16" fmla="*/ 9 w 29"/>
                <a:gd name="T17" fmla="*/ 39 h 39"/>
                <a:gd name="T18" fmla="*/ 15 w 29"/>
                <a:gd name="T19" fmla="*/ 38 h 39"/>
                <a:gd name="T20" fmla="*/ 22 w 29"/>
                <a:gd name="T21" fmla="*/ 31 h 39"/>
                <a:gd name="T22" fmla="*/ 26 w 29"/>
                <a:gd name="T23" fmla="*/ 22 h 39"/>
                <a:gd name="T24" fmla="*/ 28 w 29"/>
                <a:gd name="T25" fmla="*/ 14 h 39"/>
                <a:gd name="T26" fmla="*/ 29 w 29"/>
                <a:gd name="T27" fmla="*/ 11 h 3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9"/>
                <a:gd name="T43" fmla="*/ 0 h 39"/>
                <a:gd name="T44" fmla="*/ 29 w 29"/>
                <a:gd name="T45" fmla="*/ 39 h 3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9" h="39">
                  <a:moveTo>
                    <a:pt x="29" y="11"/>
                  </a:moveTo>
                  <a:lnTo>
                    <a:pt x="5" y="0"/>
                  </a:lnTo>
                  <a:lnTo>
                    <a:pt x="4" y="1"/>
                  </a:lnTo>
                  <a:lnTo>
                    <a:pt x="1" y="4"/>
                  </a:lnTo>
                  <a:lnTo>
                    <a:pt x="0" y="9"/>
                  </a:lnTo>
                  <a:lnTo>
                    <a:pt x="1" y="18"/>
                  </a:lnTo>
                  <a:lnTo>
                    <a:pt x="4" y="28"/>
                  </a:lnTo>
                  <a:lnTo>
                    <a:pt x="6" y="36"/>
                  </a:lnTo>
                  <a:lnTo>
                    <a:pt x="9" y="39"/>
                  </a:lnTo>
                  <a:lnTo>
                    <a:pt x="15" y="38"/>
                  </a:lnTo>
                  <a:lnTo>
                    <a:pt x="22" y="31"/>
                  </a:lnTo>
                  <a:lnTo>
                    <a:pt x="26" y="22"/>
                  </a:lnTo>
                  <a:lnTo>
                    <a:pt x="28" y="14"/>
                  </a:lnTo>
                  <a:lnTo>
                    <a:pt x="29" y="11"/>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49" name="Freeform 43"/>
            <p:cNvSpPr>
              <a:spLocks/>
            </p:cNvSpPr>
            <p:nvPr/>
          </p:nvSpPr>
          <p:spPr bwMode="gray">
            <a:xfrm>
              <a:off x="5038" y="2741"/>
              <a:ext cx="41" cy="44"/>
            </a:xfrm>
            <a:custGeom>
              <a:avLst/>
              <a:gdLst>
                <a:gd name="T0" fmla="*/ 39 w 39"/>
                <a:gd name="T1" fmla="*/ 19 h 40"/>
                <a:gd name="T2" fmla="*/ 39 w 39"/>
                <a:gd name="T3" fmla="*/ 23 h 40"/>
                <a:gd name="T4" fmla="*/ 39 w 39"/>
                <a:gd name="T5" fmla="*/ 30 h 40"/>
                <a:gd name="T6" fmla="*/ 34 w 39"/>
                <a:gd name="T7" fmla="*/ 36 h 40"/>
                <a:gd name="T8" fmla="*/ 24 w 39"/>
                <a:gd name="T9" fmla="*/ 40 h 40"/>
                <a:gd name="T10" fmla="*/ 14 w 39"/>
                <a:gd name="T11" fmla="*/ 40 h 40"/>
                <a:gd name="T12" fmla="*/ 9 w 39"/>
                <a:gd name="T13" fmla="*/ 40 h 40"/>
                <a:gd name="T14" fmla="*/ 7 w 39"/>
                <a:gd name="T15" fmla="*/ 40 h 40"/>
                <a:gd name="T16" fmla="*/ 7 w 39"/>
                <a:gd name="T17" fmla="*/ 40 h 40"/>
                <a:gd name="T18" fmla="*/ 4 w 39"/>
                <a:gd name="T19" fmla="*/ 36 h 40"/>
                <a:gd name="T20" fmla="*/ 1 w 39"/>
                <a:gd name="T21" fmla="*/ 27 h 40"/>
                <a:gd name="T22" fmla="*/ 0 w 39"/>
                <a:gd name="T23" fmla="*/ 17 h 40"/>
                <a:gd name="T24" fmla="*/ 3 w 39"/>
                <a:gd name="T25" fmla="*/ 9 h 40"/>
                <a:gd name="T26" fmla="*/ 9 w 39"/>
                <a:gd name="T27" fmla="*/ 3 h 40"/>
                <a:gd name="T28" fmla="*/ 12 w 39"/>
                <a:gd name="T29" fmla="*/ 0 h 40"/>
                <a:gd name="T30" fmla="*/ 16 w 39"/>
                <a:gd name="T31" fmla="*/ 0 h 40"/>
                <a:gd name="T32" fmla="*/ 24 w 39"/>
                <a:gd name="T33" fmla="*/ 5 h 40"/>
                <a:gd name="T34" fmla="*/ 33 w 39"/>
                <a:gd name="T35" fmla="*/ 13 h 40"/>
                <a:gd name="T36" fmla="*/ 37 w 39"/>
                <a:gd name="T37" fmla="*/ 17 h 40"/>
                <a:gd name="T38" fmla="*/ 39 w 39"/>
                <a:gd name="T39" fmla="*/ 19 h 40"/>
                <a:gd name="T40" fmla="*/ 39 w 39"/>
                <a:gd name="T41" fmla="*/ 19 h 4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9"/>
                <a:gd name="T64" fmla="*/ 0 h 40"/>
                <a:gd name="T65" fmla="*/ 39 w 39"/>
                <a:gd name="T66" fmla="*/ 40 h 4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9" h="40">
                  <a:moveTo>
                    <a:pt x="39" y="19"/>
                  </a:moveTo>
                  <a:lnTo>
                    <a:pt x="39" y="23"/>
                  </a:lnTo>
                  <a:lnTo>
                    <a:pt x="39" y="30"/>
                  </a:lnTo>
                  <a:lnTo>
                    <a:pt x="34" y="36"/>
                  </a:lnTo>
                  <a:lnTo>
                    <a:pt x="24" y="40"/>
                  </a:lnTo>
                  <a:lnTo>
                    <a:pt x="14" y="40"/>
                  </a:lnTo>
                  <a:lnTo>
                    <a:pt x="9" y="40"/>
                  </a:lnTo>
                  <a:lnTo>
                    <a:pt x="7" y="40"/>
                  </a:lnTo>
                  <a:lnTo>
                    <a:pt x="4" y="36"/>
                  </a:lnTo>
                  <a:lnTo>
                    <a:pt x="1" y="27"/>
                  </a:lnTo>
                  <a:lnTo>
                    <a:pt x="0" y="17"/>
                  </a:lnTo>
                  <a:lnTo>
                    <a:pt x="3" y="9"/>
                  </a:lnTo>
                  <a:lnTo>
                    <a:pt x="9" y="3"/>
                  </a:lnTo>
                  <a:lnTo>
                    <a:pt x="12" y="0"/>
                  </a:lnTo>
                  <a:lnTo>
                    <a:pt x="16" y="0"/>
                  </a:lnTo>
                  <a:lnTo>
                    <a:pt x="24" y="5"/>
                  </a:lnTo>
                  <a:lnTo>
                    <a:pt x="33" y="13"/>
                  </a:lnTo>
                  <a:lnTo>
                    <a:pt x="37" y="17"/>
                  </a:lnTo>
                  <a:lnTo>
                    <a:pt x="39" y="19"/>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50" name="Freeform 44"/>
            <p:cNvSpPr>
              <a:spLocks/>
            </p:cNvSpPr>
            <p:nvPr/>
          </p:nvSpPr>
          <p:spPr bwMode="gray">
            <a:xfrm>
              <a:off x="5011" y="2780"/>
              <a:ext cx="22" cy="24"/>
            </a:xfrm>
            <a:custGeom>
              <a:avLst/>
              <a:gdLst>
                <a:gd name="T0" fmla="*/ 18 w 20"/>
                <a:gd name="T1" fmla="*/ 4 h 21"/>
                <a:gd name="T2" fmla="*/ 19 w 20"/>
                <a:gd name="T3" fmla="*/ 6 h 21"/>
                <a:gd name="T4" fmla="*/ 20 w 20"/>
                <a:gd name="T5" fmla="*/ 12 h 21"/>
                <a:gd name="T6" fmla="*/ 19 w 20"/>
                <a:gd name="T7" fmla="*/ 19 h 21"/>
                <a:gd name="T8" fmla="*/ 14 w 20"/>
                <a:gd name="T9" fmla="*/ 21 h 21"/>
                <a:gd name="T10" fmla="*/ 7 w 20"/>
                <a:gd name="T11" fmla="*/ 19 h 21"/>
                <a:gd name="T12" fmla="*/ 4 w 20"/>
                <a:gd name="T13" fmla="*/ 14 h 21"/>
                <a:gd name="T14" fmla="*/ 2 w 20"/>
                <a:gd name="T15" fmla="*/ 10 h 21"/>
                <a:gd name="T16" fmla="*/ 0 w 20"/>
                <a:gd name="T17" fmla="*/ 7 h 21"/>
                <a:gd name="T18" fmla="*/ 2 w 20"/>
                <a:gd name="T19" fmla="*/ 5 h 21"/>
                <a:gd name="T20" fmla="*/ 5 w 20"/>
                <a:gd name="T21" fmla="*/ 2 h 21"/>
                <a:gd name="T22" fmla="*/ 11 w 20"/>
                <a:gd name="T23" fmla="*/ 0 h 21"/>
                <a:gd name="T24" fmla="*/ 18 w 20"/>
                <a:gd name="T25" fmla="*/ 4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21"/>
                <a:gd name="T41" fmla="*/ 20 w 20"/>
                <a:gd name="T42" fmla="*/ 21 h 2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21">
                  <a:moveTo>
                    <a:pt x="18" y="4"/>
                  </a:moveTo>
                  <a:lnTo>
                    <a:pt x="19" y="6"/>
                  </a:lnTo>
                  <a:lnTo>
                    <a:pt x="20" y="12"/>
                  </a:lnTo>
                  <a:lnTo>
                    <a:pt x="19" y="19"/>
                  </a:lnTo>
                  <a:lnTo>
                    <a:pt x="14" y="21"/>
                  </a:lnTo>
                  <a:lnTo>
                    <a:pt x="7" y="19"/>
                  </a:lnTo>
                  <a:lnTo>
                    <a:pt x="4" y="14"/>
                  </a:lnTo>
                  <a:lnTo>
                    <a:pt x="2" y="10"/>
                  </a:lnTo>
                  <a:lnTo>
                    <a:pt x="0" y="7"/>
                  </a:lnTo>
                  <a:lnTo>
                    <a:pt x="2" y="5"/>
                  </a:lnTo>
                  <a:lnTo>
                    <a:pt x="5" y="2"/>
                  </a:lnTo>
                  <a:lnTo>
                    <a:pt x="11" y="0"/>
                  </a:lnTo>
                  <a:lnTo>
                    <a:pt x="18" y="4"/>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51" name="Freeform 45"/>
            <p:cNvSpPr>
              <a:spLocks/>
            </p:cNvSpPr>
            <p:nvPr/>
          </p:nvSpPr>
          <p:spPr bwMode="gray">
            <a:xfrm>
              <a:off x="4904" y="2774"/>
              <a:ext cx="37" cy="30"/>
            </a:xfrm>
            <a:custGeom>
              <a:avLst/>
              <a:gdLst>
                <a:gd name="T0" fmla="*/ 33 w 33"/>
                <a:gd name="T1" fmla="*/ 20 h 27"/>
                <a:gd name="T2" fmla="*/ 33 w 33"/>
                <a:gd name="T3" fmla="*/ 21 h 27"/>
                <a:gd name="T4" fmla="*/ 32 w 33"/>
                <a:gd name="T5" fmla="*/ 25 h 27"/>
                <a:gd name="T6" fmla="*/ 27 w 33"/>
                <a:gd name="T7" fmla="*/ 27 h 27"/>
                <a:gd name="T8" fmla="*/ 19 w 33"/>
                <a:gd name="T9" fmla="*/ 27 h 27"/>
                <a:gd name="T10" fmla="*/ 9 w 33"/>
                <a:gd name="T11" fmla="*/ 21 h 27"/>
                <a:gd name="T12" fmla="*/ 2 w 33"/>
                <a:gd name="T13" fmla="*/ 12 h 27"/>
                <a:gd name="T14" fmla="*/ 0 w 33"/>
                <a:gd name="T15" fmla="*/ 3 h 27"/>
                <a:gd name="T16" fmla="*/ 5 w 33"/>
                <a:gd name="T17" fmla="*/ 0 h 27"/>
                <a:gd name="T18" fmla="*/ 14 w 33"/>
                <a:gd name="T19" fmla="*/ 0 h 27"/>
                <a:gd name="T20" fmla="*/ 18 w 33"/>
                <a:gd name="T21" fmla="*/ 0 h 27"/>
                <a:gd name="T22" fmla="*/ 19 w 33"/>
                <a:gd name="T23" fmla="*/ 0 h 27"/>
                <a:gd name="T24" fmla="*/ 19 w 33"/>
                <a:gd name="T25" fmla="*/ 0 h 27"/>
                <a:gd name="T26" fmla="*/ 33 w 33"/>
                <a:gd name="T27" fmla="*/ 2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27"/>
                <a:gd name="T44" fmla="*/ 33 w 33"/>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27">
                  <a:moveTo>
                    <a:pt x="33" y="20"/>
                  </a:moveTo>
                  <a:lnTo>
                    <a:pt x="33" y="21"/>
                  </a:lnTo>
                  <a:lnTo>
                    <a:pt x="32" y="25"/>
                  </a:lnTo>
                  <a:lnTo>
                    <a:pt x="27" y="27"/>
                  </a:lnTo>
                  <a:lnTo>
                    <a:pt x="19" y="27"/>
                  </a:lnTo>
                  <a:lnTo>
                    <a:pt x="9" y="21"/>
                  </a:lnTo>
                  <a:lnTo>
                    <a:pt x="2" y="12"/>
                  </a:lnTo>
                  <a:lnTo>
                    <a:pt x="0" y="3"/>
                  </a:lnTo>
                  <a:lnTo>
                    <a:pt x="5" y="0"/>
                  </a:lnTo>
                  <a:lnTo>
                    <a:pt x="14" y="0"/>
                  </a:lnTo>
                  <a:lnTo>
                    <a:pt x="18" y="0"/>
                  </a:lnTo>
                  <a:lnTo>
                    <a:pt x="19" y="0"/>
                  </a:lnTo>
                  <a:lnTo>
                    <a:pt x="33" y="2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52" name="Freeform 46"/>
            <p:cNvSpPr>
              <a:spLocks/>
            </p:cNvSpPr>
            <p:nvPr/>
          </p:nvSpPr>
          <p:spPr bwMode="gray">
            <a:xfrm>
              <a:off x="4873" y="2839"/>
              <a:ext cx="35" cy="16"/>
            </a:xfrm>
            <a:custGeom>
              <a:avLst/>
              <a:gdLst>
                <a:gd name="T0" fmla="*/ 31 w 31"/>
                <a:gd name="T1" fmla="*/ 11 h 14"/>
                <a:gd name="T2" fmla="*/ 29 w 31"/>
                <a:gd name="T3" fmla="*/ 8 h 14"/>
                <a:gd name="T4" fmla="*/ 23 w 31"/>
                <a:gd name="T5" fmla="*/ 4 h 14"/>
                <a:gd name="T6" fmla="*/ 14 w 31"/>
                <a:gd name="T7" fmla="*/ 0 h 14"/>
                <a:gd name="T8" fmla="*/ 0 w 31"/>
                <a:gd name="T9" fmla="*/ 4 h 14"/>
                <a:gd name="T10" fmla="*/ 3 w 31"/>
                <a:gd name="T11" fmla="*/ 6 h 14"/>
                <a:gd name="T12" fmla="*/ 13 w 31"/>
                <a:gd name="T13" fmla="*/ 11 h 14"/>
                <a:gd name="T14" fmla="*/ 23 w 31"/>
                <a:gd name="T15" fmla="*/ 14 h 14"/>
                <a:gd name="T16" fmla="*/ 31 w 31"/>
                <a:gd name="T17" fmla="*/ 11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1"/>
                <a:gd name="T28" fmla="*/ 0 h 14"/>
                <a:gd name="T29" fmla="*/ 31 w 31"/>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1" h="14">
                  <a:moveTo>
                    <a:pt x="31" y="11"/>
                  </a:moveTo>
                  <a:lnTo>
                    <a:pt x="29" y="8"/>
                  </a:lnTo>
                  <a:lnTo>
                    <a:pt x="23" y="4"/>
                  </a:lnTo>
                  <a:lnTo>
                    <a:pt x="14" y="0"/>
                  </a:lnTo>
                  <a:lnTo>
                    <a:pt x="0" y="4"/>
                  </a:lnTo>
                  <a:lnTo>
                    <a:pt x="3" y="6"/>
                  </a:lnTo>
                  <a:lnTo>
                    <a:pt x="13" y="11"/>
                  </a:lnTo>
                  <a:lnTo>
                    <a:pt x="23" y="14"/>
                  </a:lnTo>
                  <a:lnTo>
                    <a:pt x="31" y="11"/>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53" name="Freeform 47"/>
            <p:cNvSpPr>
              <a:spLocks/>
            </p:cNvSpPr>
            <p:nvPr/>
          </p:nvSpPr>
          <p:spPr bwMode="gray">
            <a:xfrm>
              <a:off x="4827" y="2861"/>
              <a:ext cx="62" cy="49"/>
            </a:xfrm>
            <a:custGeom>
              <a:avLst/>
              <a:gdLst>
                <a:gd name="T0" fmla="*/ 53 w 58"/>
                <a:gd name="T1" fmla="*/ 0 h 44"/>
                <a:gd name="T2" fmla="*/ 54 w 58"/>
                <a:gd name="T3" fmla="*/ 2 h 44"/>
                <a:gd name="T4" fmla="*/ 57 w 58"/>
                <a:gd name="T5" fmla="*/ 9 h 44"/>
                <a:gd name="T6" fmla="*/ 58 w 58"/>
                <a:gd name="T7" fmla="*/ 17 h 44"/>
                <a:gd name="T8" fmla="*/ 53 w 58"/>
                <a:gd name="T9" fmla="*/ 24 h 44"/>
                <a:gd name="T10" fmla="*/ 45 w 58"/>
                <a:gd name="T11" fmla="*/ 29 h 44"/>
                <a:gd name="T12" fmla="*/ 39 w 58"/>
                <a:gd name="T13" fmla="*/ 32 h 44"/>
                <a:gd name="T14" fmla="*/ 35 w 58"/>
                <a:gd name="T15" fmla="*/ 34 h 44"/>
                <a:gd name="T16" fmla="*/ 33 w 58"/>
                <a:gd name="T17" fmla="*/ 35 h 44"/>
                <a:gd name="T18" fmla="*/ 31 w 58"/>
                <a:gd name="T19" fmla="*/ 37 h 44"/>
                <a:gd name="T20" fmla="*/ 27 w 58"/>
                <a:gd name="T21" fmla="*/ 40 h 44"/>
                <a:gd name="T22" fmla="*/ 21 w 58"/>
                <a:gd name="T23" fmla="*/ 44 h 44"/>
                <a:gd name="T24" fmla="*/ 14 w 58"/>
                <a:gd name="T25" fmla="*/ 42 h 44"/>
                <a:gd name="T26" fmla="*/ 9 w 58"/>
                <a:gd name="T27" fmla="*/ 40 h 44"/>
                <a:gd name="T28" fmla="*/ 7 w 58"/>
                <a:gd name="T29" fmla="*/ 42 h 44"/>
                <a:gd name="T30" fmla="*/ 7 w 58"/>
                <a:gd name="T31" fmla="*/ 42 h 44"/>
                <a:gd name="T32" fmla="*/ 4 w 58"/>
                <a:gd name="T33" fmla="*/ 35 h 44"/>
                <a:gd name="T34" fmla="*/ 0 w 58"/>
                <a:gd name="T35" fmla="*/ 23 h 44"/>
                <a:gd name="T36" fmla="*/ 0 w 58"/>
                <a:gd name="T37" fmla="*/ 14 h 44"/>
                <a:gd name="T38" fmla="*/ 4 w 58"/>
                <a:gd name="T39" fmla="*/ 9 h 44"/>
                <a:gd name="T40" fmla="*/ 11 w 58"/>
                <a:gd name="T41" fmla="*/ 11 h 44"/>
                <a:gd name="T42" fmla="*/ 15 w 58"/>
                <a:gd name="T43" fmla="*/ 17 h 44"/>
                <a:gd name="T44" fmla="*/ 18 w 58"/>
                <a:gd name="T45" fmla="*/ 23 h 44"/>
                <a:gd name="T46" fmla="*/ 18 w 58"/>
                <a:gd name="T47" fmla="*/ 24 h 44"/>
                <a:gd name="T48" fmla="*/ 21 w 58"/>
                <a:gd name="T49" fmla="*/ 17 h 44"/>
                <a:gd name="T50" fmla="*/ 29 w 58"/>
                <a:gd name="T51" fmla="*/ 7 h 44"/>
                <a:gd name="T52" fmla="*/ 39 w 58"/>
                <a:gd name="T53" fmla="*/ 2 h 44"/>
                <a:gd name="T54" fmla="*/ 49 w 58"/>
                <a:gd name="T55" fmla="*/ 0 h 44"/>
                <a:gd name="T56" fmla="*/ 53 w 58"/>
                <a:gd name="T57" fmla="*/ 0 h 4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8"/>
                <a:gd name="T88" fmla="*/ 0 h 44"/>
                <a:gd name="T89" fmla="*/ 58 w 58"/>
                <a:gd name="T90" fmla="*/ 44 h 4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8" h="44">
                  <a:moveTo>
                    <a:pt x="53" y="0"/>
                  </a:moveTo>
                  <a:lnTo>
                    <a:pt x="54" y="2"/>
                  </a:lnTo>
                  <a:lnTo>
                    <a:pt x="57" y="9"/>
                  </a:lnTo>
                  <a:lnTo>
                    <a:pt x="58" y="17"/>
                  </a:lnTo>
                  <a:lnTo>
                    <a:pt x="53" y="24"/>
                  </a:lnTo>
                  <a:lnTo>
                    <a:pt x="45" y="29"/>
                  </a:lnTo>
                  <a:lnTo>
                    <a:pt x="39" y="32"/>
                  </a:lnTo>
                  <a:lnTo>
                    <a:pt x="35" y="34"/>
                  </a:lnTo>
                  <a:lnTo>
                    <a:pt x="33" y="35"/>
                  </a:lnTo>
                  <a:lnTo>
                    <a:pt x="31" y="37"/>
                  </a:lnTo>
                  <a:lnTo>
                    <a:pt x="27" y="40"/>
                  </a:lnTo>
                  <a:lnTo>
                    <a:pt x="21" y="44"/>
                  </a:lnTo>
                  <a:lnTo>
                    <a:pt x="14" y="42"/>
                  </a:lnTo>
                  <a:lnTo>
                    <a:pt x="9" y="40"/>
                  </a:lnTo>
                  <a:lnTo>
                    <a:pt x="7" y="42"/>
                  </a:lnTo>
                  <a:lnTo>
                    <a:pt x="4" y="35"/>
                  </a:lnTo>
                  <a:lnTo>
                    <a:pt x="0" y="23"/>
                  </a:lnTo>
                  <a:lnTo>
                    <a:pt x="0" y="14"/>
                  </a:lnTo>
                  <a:lnTo>
                    <a:pt x="4" y="9"/>
                  </a:lnTo>
                  <a:lnTo>
                    <a:pt x="11" y="11"/>
                  </a:lnTo>
                  <a:lnTo>
                    <a:pt x="15" y="17"/>
                  </a:lnTo>
                  <a:lnTo>
                    <a:pt x="18" y="23"/>
                  </a:lnTo>
                  <a:lnTo>
                    <a:pt x="18" y="24"/>
                  </a:lnTo>
                  <a:lnTo>
                    <a:pt x="21" y="17"/>
                  </a:lnTo>
                  <a:lnTo>
                    <a:pt x="29" y="7"/>
                  </a:lnTo>
                  <a:lnTo>
                    <a:pt x="39" y="2"/>
                  </a:lnTo>
                  <a:lnTo>
                    <a:pt x="49" y="0"/>
                  </a:lnTo>
                  <a:lnTo>
                    <a:pt x="53"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54" name="Freeform 48"/>
            <p:cNvSpPr>
              <a:spLocks/>
            </p:cNvSpPr>
            <p:nvPr/>
          </p:nvSpPr>
          <p:spPr bwMode="gray">
            <a:xfrm>
              <a:off x="5425" y="2491"/>
              <a:ext cx="134" cy="64"/>
            </a:xfrm>
            <a:custGeom>
              <a:avLst/>
              <a:gdLst>
                <a:gd name="T0" fmla="*/ 76 w 124"/>
                <a:gd name="T1" fmla="*/ 48 h 58"/>
                <a:gd name="T2" fmla="*/ 75 w 124"/>
                <a:gd name="T3" fmla="*/ 49 h 58"/>
                <a:gd name="T4" fmla="*/ 72 w 124"/>
                <a:gd name="T5" fmla="*/ 52 h 58"/>
                <a:gd name="T6" fmla="*/ 66 w 124"/>
                <a:gd name="T7" fmla="*/ 57 h 58"/>
                <a:gd name="T8" fmla="*/ 59 w 124"/>
                <a:gd name="T9" fmla="*/ 58 h 58"/>
                <a:gd name="T10" fmla="*/ 55 w 124"/>
                <a:gd name="T11" fmla="*/ 56 h 58"/>
                <a:gd name="T12" fmla="*/ 52 w 124"/>
                <a:gd name="T13" fmla="*/ 51 h 58"/>
                <a:gd name="T14" fmla="*/ 46 w 124"/>
                <a:gd name="T15" fmla="*/ 47 h 58"/>
                <a:gd name="T16" fmla="*/ 32 w 124"/>
                <a:gd name="T17" fmla="*/ 44 h 58"/>
                <a:gd name="T18" fmla="*/ 15 w 124"/>
                <a:gd name="T19" fmla="*/ 42 h 58"/>
                <a:gd name="T20" fmla="*/ 6 w 124"/>
                <a:gd name="T21" fmla="*/ 38 h 58"/>
                <a:gd name="T22" fmla="*/ 2 w 124"/>
                <a:gd name="T23" fmla="*/ 33 h 58"/>
                <a:gd name="T24" fmla="*/ 0 w 124"/>
                <a:gd name="T25" fmla="*/ 31 h 58"/>
                <a:gd name="T26" fmla="*/ 0 w 124"/>
                <a:gd name="T27" fmla="*/ 29 h 58"/>
                <a:gd name="T28" fmla="*/ 3 w 124"/>
                <a:gd name="T29" fmla="*/ 28 h 58"/>
                <a:gd name="T30" fmla="*/ 7 w 124"/>
                <a:gd name="T31" fmla="*/ 25 h 58"/>
                <a:gd name="T32" fmla="*/ 18 w 124"/>
                <a:gd name="T33" fmla="*/ 20 h 58"/>
                <a:gd name="T34" fmla="*/ 23 w 124"/>
                <a:gd name="T35" fmla="*/ 17 h 58"/>
                <a:gd name="T36" fmla="*/ 28 w 124"/>
                <a:gd name="T37" fmla="*/ 13 h 58"/>
                <a:gd name="T38" fmla="*/ 33 w 124"/>
                <a:gd name="T39" fmla="*/ 9 h 58"/>
                <a:gd name="T40" fmla="*/ 37 w 124"/>
                <a:gd name="T41" fmla="*/ 4 h 58"/>
                <a:gd name="T42" fmla="*/ 42 w 124"/>
                <a:gd name="T43" fmla="*/ 2 h 58"/>
                <a:gd name="T44" fmla="*/ 46 w 124"/>
                <a:gd name="T45" fmla="*/ 0 h 58"/>
                <a:gd name="T46" fmla="*/ 52 w 124"/>
                <a:gd name="T47" fmla="*/ 1 h 58"/>
                <a:gd name="T48" fmla="*/ 59 w 124"/>
                <a:gd name="T49" fmla="*/ 3 h 58"/>
                <a:gd name="T50" fmla="*/ 71 w 124"/>
                <a:gd name="T51" fmla="*/ 10 h 58"/>
                <a:gd name="T52" fmla="*/ 75 w 124"/>
                <a:gd name="T53" fmla="*/ 13 h 58"/>
                <a:gd name="T54" fmla="*/ 80 w 124"/>
                <a:gd name="T55" fmla="*/ 16 h 58"/>
                <a:gd name="T56" fmla="*/ 91 w 124"/>
                <a:gd name="T57" fmla="*/ 17 h 58"/>
                <a:gd name="T58" fmla="*/ 99 w 124"/>
                <a:gd name="T59" fmla="*/ 17 h 58"/>
                <a:gd name="T60" fmla="*/ 106 w 124"/>
                <a:gd name="T61" fmla="*/ 18 h 58"/>
                <a:gd name="T62" fmla="*/ 113 w 124"/>
                <a:gd name="T63" fmla="*/ 19 h 58"/>
                <a:gd name="T64" fmla="*/ 119 w 124"/>
                <a:gd name="T65" fmla="*/ 21 h 58"/>
                <a:gd name="T66" fmla="*/ 123 w 124"/>
                <a:gd name="T67" fmla="*/ 24 h 58"/>
                <a:gd name="T68" fmla="*/ 124 w 124"/>
                <a:gd name="T69" fmla="*/ 27 h 58"/>
                <a:gd name="T70" fmla="*/ 121 w 124"/>
                <a:gd name="T71" fmla="*/ 31 h 58"/>
                <a:gd name="T72" fmla="*/ 116 w 124"/>
                <a:gd name="T73" fmla="*/ 34 h 58"/>
                <a:gd name="T74" fmla="*/ 108 w 124"/>
                <a:gd name="T75" fmla="*/ 38 h 58"/>
                <a:gd name="T76" fmla="*/ 101 w 124"/>
                <a:gd name="T77" fmla="*/ 41 h 58"/>
                <a:gd name="T78" fmla="*/ 94 w 124"/>
                <a:gd name="T79" fmla="*/ 43 h 58"/>
                <a:gd name="T80" fmla="*/ 88 w 124"/>
                <a:gd name="T81" fmla="*/ 44 h 58"/>
                <a:gd name="T82" fmla="*/ 83 w 124"/>
                <a:gd name="T83" fmla="*/ 47 h 58"/>
                <a:gd name="T84" fmla="*/ 80 w 124"/>
                <a:gd name="T85" fmla="*/ 47 h 58"/>
                <a:gd name="T86" fmla="*/ 78 w 124"/>
                <a:gd name="T87" fmla="*/ 48 h 58"/>
                <a:gd name="T88" fmla="*/ 76 w 124"/>
                <a:gd name="T89" fmla="*/ 48 h 5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4"/>
                <a:gd name="T136" fmla="*/ 0 h 58"/>
                <a:gd name="T137" fmla="*/ 124 w 124"/>
                <a:gd name="T138" fmla="*/ 58 h 5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4" h="58">
                  <a:moveTo>
                    <a:pt x="76" y="48"/>
                  </a:moveTo>
                  <a:lnTo>
                    <a:pt x="75" y="49"/>
                  </a:lnTo>
                  <a:lnTo>
                    <a:pt x="72" y="52"/>
                  </a:lnTo>
                  <a:lnTo>
                    <a:pt x="66" y="57"/>
                  </a:lnTo>
                  <a:lnTo>
                    <a:pt x="59" y="58"/>
                  </a:lnTo>
                  <a:lnTo>
                    <a:pt x="55" y="56"/>
                  </a:lnTo>
                  <a:lnTo>
                    <a:pt x="52" y="51"/>
                  </a:lnTo>
                  <a:lnTo>
                    <a:pt x="46" y="47"/>
                  </a:lnTo>
                  <a:lnTo>
                    <a:pt x="32" y="44"/>
                  </a:lnTo>
                  <a:lnTo>
                    <a:pt x="15" y="42"/>
                  </a:lnTo>
                  <a:lnTo>
                    <a:pt x="6" y="38"/>
                  </a:lnTo>
                  <a:lnTo>
                    <a:pt x="2" y="33"/>
                  </a:lnTo>
                  <a:lnTo>
                    <a:pt x="0" y="31"/>
                  </a:lnTo>
                  <a:lnTo>
                    <a:pt x="0" y="29"/>
                  </a:lnTo>
                  <a:lnTo>
                    <a:pt x="3" y="28"/>
                  </a:lnTo>
                  <a:lnTo>
                    <a:pt x="7" y="25"/>
                  </a:lnTo>
                  <a:lnTo>
                    <a:pt x="18" y="20"/>
                  </a:lnTo>
                  <a:lnTo>
                    <a:pt x="23" y="17"/>
                  </a:lnTo>
                  <a:lnTo>
                    <a:pt x="28" y="13"/>
                  </a:lnTo>
                  <a:lnTo>
                    <a:pt x="33" y="9"/>
                  </a:lnTo>
                  <a:lnTo>
                    <a:pt x="37" y="4"/>
                  </a:lnTo>
                  <a:lnTo>
                    <a:pt x="42" y="2"/>
                  </a:lnTo>
                  <a:lnTo>
                    <a:pt x="46" y="0"/>
                  </a:lnTo>
                  <a:lnTo>
                    <a:pt x="52" y="1"/>
                  </a:lnTo>
                  <a:lnTo>
                    <a:pt x="59" y="3"/>
                  </a:lnTo>
                  <a:lnTo>
                    <a:pt x="71" y="10"/>
                  </a:lnTo>
                  <a:lnTo>
                    <a:pt x="75" y="13"/>
                  </a:lnTo>
                  <a:lnTo>
                    <a:pt x="80" y="16"/>
                  </a:lnTo>
                  <a:lnTo>
                    <a:pt x="91" y="17"/>
                  </a:lnTo>
                  <a:lnTo>
                    <a:pt x="99" y="17"/>
                  </a:lnTo>
                  <a:lnTo>
                    <a:pt x="106" y="18"/>
                  </a:lnTo>
                  <a:lnTo>
                    <a:pt x="113" y="19"/>
                  </a:lnTo>
                  <a:lnTo>
                    <a:pt x="119" y="21"/>
                  </a:lnTo>
                  <a:lnTo>
                    <a:pt x="123" y="24"/>
                  </a:lnTo>
                  <a:lnTo>
                    <a:pt x="124" y="27"/>
                  </a:lnTo>
                  <a:lnTo>
                    <a:pt x="121" y="31"/>
                  </a:lnTo>
                  <a:lnTo>
                    <a:pt x="116" y="34"/>
                  </a:lnTo>
                  <a:lnTo>
                    <a:pt x="108" y="38"/>
                  </a:lnTo>
                  <a:lnTo>
                    <a:pt x="101" y="41"/>
                  </a:lnTo>
                  <a:lnTo>
                    <a:pt x="94" y="43"/>
                  </a:lnTo>
                  <a:lnTo>
                    <a:pt x="88" y="44"/>
                  </a:lnTo>
                  <a:lnTo>
                    <a:pt x="83" y="47"/>
                  </a:lnTo>
                  <a:lnTo>
                    <a:pt x="80" y="47"/>
                  </a:lnTo>
                  <a:lnTo>
                    <a:pt x="78" y="48"/>
                  </a:lnTo>
                  <a:lnTo>
                    <a:pt x="76" y="48"/>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55" name="Freeform 49"/>
            <p:cNvSpPr>
              <a:spLocks/>
            </p:cNvSpPr>
            <p:nvPr/>
          </p:nvSpPr>
          <p:spPr bwMode="gray">
            <a:xfrm>
              <a:off x="5263" y="2537"/>
              <a:ext cx="103" cy="72"/>
            </a:xfrm>
            <a:custGeom>
              <a:avLst/>
              <a:gdLst>
                <a:gd name="T0" fmla="*/ 91 w 93"/>
                <a:gd name="T1" fmla="*/ 6 h 66"/>
                <a:gd name="T2" fmla="*/ 92 w 93"/>
                <a:gd name="T3" fmla="*/ 8 h 66"/>
                <a:gd name="T4" fmla="*/ 93 w 93"/>
                <a:gd name="T5" fmla="*/ 15 h 66"/>
                <a:gd name="T6" fmla="*/ 91 w 93"/>
                <a:gd name="T7" fmla="*/ 23 h 66"/>
                <a:gd name="T8" fmla="*/ 84 w 93"/>
                <a:gd name="T9" fmla="*/ 30 h 66"/>
                <a:gd name="T10" fmla="*/ 79 w 93"/>
                <a:gd name="T11" fmla="*/ 32 h 66"/>
                <a:gd name="T12" fmla="*/ 75 w 93"/>
                <a:gd name="T13" fmla="*/ 35 h 66"/>
                <a:gd name="T14" fmla="*/ 70 w 93"/>
                <a:gd name="T15" fmla="*/ 36 h 66"/>
                <a:gd name="T16" fmla="*/ 66 w 93"/>
                <a:gd name="T17" fmla="*/ 37 h 66"/>
                <a:gd name="T18" fmla="*/ 61 w 93"/>
                <a:gd name="T19" fmla="*/ 38 h 66"/>
                <a:gd name="T20" fmla="*/ 58 w 93"/>
                <a:gd name="T21" fmla="*/ 39 h 66"/>
                <a:gd name="T22" fmla="*/ 53 w 93"/>
                <a:gd name="T23" fmla="*/ 42 h 66"/>
                <a:gd name="T24" fmla="*/ 49 w 93"/>
                <a:gd name="T25" fmla="*/ 44 h 66"/>
                <a:gd name="T26" fmla="*/ 41 w 93"/>
                <a:gd name="T27" fmla="*/ 50 h 66"/>
                <a:gd name="T28" fmla="*/ 33 w 93"/>
                <a:gd name="T29" fmla="*/ 58 h 66"/>
                <a:gd name="T30" fmla="*/ 26 w 93"/>
                <a:gd name="T31" fmla="*/ 63 h 66"/>
                <a:gd name="T32" fmla="*/ 24 w 93"/>
                <a:gd name="T33" fmla="*/ 66 h 66"/>
                <a:gd name="T34" fmla="*/ 0 w 93"/>
                <a:gd name="T35" fmla="*/ 59 h 66"/>
                <a:gd name="T36" fmla="*/ 1 w 93"/>
                <a:gd name="T37" fmla="*/ 57 h 66"/>
                <a:gd name="T38" fmla="*/ 6 w 93"/>
                <a:gd name="T39" fmla="*/ 50 h 66"/>
                <a:gd name="T40" fmla="*/ 10 w 93"/>
                <a:gd name="T41" fmla="*/ 42 h 66"/>
                <a:gd name="T42" fmla="*/ 14 w 93"/>
                <a:gd name="T43" fmla="*/ 34 h 66"/>
                <a:gd name="T44" fmla="*/ 18 w 93"/>
                <a:gd name="T45" fmla="*/ 27 h 66"/>
                <a:gd name="T46" fmla="*/ 25 w 93"/>
                <a:gd name="T47" fmla="*/ 23 h 66"/>
                <a:gd name="T48" fmla="*/ 34 w 93"/>
                <a:gd name="T49" fmla="*/ 21 h 66"/>
                <a:gd name="T50" fmla="*/ 43 w 93"/>
                <a:gd name="T51" fmla="*/ 20 h 66"/>
                <a:gd name="T52" fmla="*/ 47 w 93"/>
                <a:gd name="T53" fmla="*/ 20 h 66"/>
                <a:gd name="T54" fmla="*/ 53 w 93"/>
                <a:gd name="T55" fmla="*/ 21 h 66"/>
                <a:gd name="T56" fmla="*/ 59 w 93"/>
                <a:gd name="T57" fmla="*/ 22 h 66"/>
                <a:gd name="T58" fmla="*/ 66 w 93"/>
                <a:gd name="T59" fmla="*/ 22 h 66"/>
                <a:gd name="T60" fmla="*/ 70 w 93"/>
                <a:gd name="T61" fmla="*/ 22 h 66"/>
                <a:gd name="T62" fmla="*/ 75 w 93"/>
                <a:gd name="T63" fmla="*/ 20 h 66"/>
                <a:gd name="T64" fmla="*/ 77 w 93"/>
                <a:gd name="T65" fmla="*/ 16 h 66"/>
                <a:gd name="T66" fmla="*/ 77 w 93"/>
                <a:gd name="T67" fmla="*/ 9 h 66"/>
                <a:gd name="T68" fmla="*/ 78 w 93"/>
                <a:gd name="T69" fmla="*/ 0 h 66"/>
                <a:gd name="T70" fmla="*/ 83 w 93"/>
                <a:gd name="T71" fmla="*/ 0 h 66"/>
                <a:gd name="T72" fmla="*/ 89 w 93"/>
                <a:gd name="T73" fmla="*/ 4 h 66"/>
                <a:gd name="T74" fmla="*/ 91 w 93"/>
                <a:gd name="T75" fmla="*/ 6 h 6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3"/>
                <a:gd name="T115" fmla="*/ 0 h 66"/>
                <a:gd name="T116" fmla="*/ 93 w 93"/>
                <a:gd name="T117" fmla="*/ 66 h 6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3" h="66">
                  <a:moveTo>
                    <a:pt x="91" y="6"/>
                  </a:moveTo>
                  <a:lnTo>
                    <a:pt x="92" y="8"/>
                  </a:lnTo>
                  <a:lnTo>
                    <a:pt x="93" y="15"/>
                  </a:lnTo>
                  <a:lnTo>
                    <a:pt x="91" y="23"/>
                  </a:lnTo>
                  <a:lnTo>
                    <a:pt x="84" y="30"/>
                  </a:lnTo>
                  <a:lnTo>
                    <a:pt x="79" y="32"/>
                  </a:lnTo>
                  <a:lnTo>
                    <a:pt x="75" y="35"/>
                  </a:lnTo>
                  <a:lnTo>
                    <a:pt x="70" y="36"/>
                  </a:lnTo>
                  <a:lnTo>
                    <a:pt x="66" y="37"/>
                  </a:lnTo>
                  <a:lnTo>
                    <a:pt x="61" y="38"/>
                  </a:lnTo>
                  <a:lnTo>
                    <a:pt x="58" y="39"/>
                  </a:lnTo>
                  <a:lnTo>
                    <a:pt x="53" y="42"/>
                  </a:lnTo>
                  <a:lnTo>
                    <a:pt x="49" y="44"/>
                  </a:lnTo>
                  <a:lnTo>
                    <a:pt x="41" y="50"/>
                  </a:lnTo>
                  <a:lnTo>
                    <a:pt x="33" y="58"/>
                  </a:lnTo>
                  <a:lnTo>
                    <a:pt x="26" y="63"/>
                  </a:lnTo>
                  <a:lnTo>
                    <a:pt x="24" y="66"/>
                  </a:lnTo>
                  <a:lnTo>
                    <a:pt x="0" y="59"/>
                  </a:lnTo>
                  <a:lnTo>
                    <a:pt x="1" y="57"/>
                  </a:lnTo>
                  <a:lnTo>
                    <a:pt x="6" y="50"/>
                  </a:lnTo>
                  <a:lnTo>
                    <a:pt x="10" y="42"/>
                  </a:lnTo>
                  <a:lnTo>
                    <a:pt x="14" y="34"/>
                  </a:lnTo>
                  <a:lnTo>
                    <a:pt x="18" y="27"/>
                  </a:lnTo>
                  <a:lnTo>
                    <a:pt x="25" y="23"/>
                  </a:lnTo>
                  <a:lnTo>
                    <a:pt x="34" y="21"/>
                  </a:lnTo>
                  <a:lnTo>
                    <a:pt x="43" y="20"/>
                  </a:lnTo>
                  <a:lnTo>
                    <a:pt x="47" y="20"/>
                  </a:lnTo>
                  <a:lnTo>
                    <a:pt x="53" y="21"/>
                  </a:lnTo>
                  <a:lnTo>
                    <a:pt x="59" y="22"/>
                  </a:lnTo>
                  <a:lnTo>
                    <a:pt x="66" y="22"/>
                  </a:lnTo>
                  <a:lnTo>
                    <a:pt x="70" y="22"/>
                  </a:lnTo>
                  <a:lnTo>
                    <a:pt x="75" y="20"/>
                  </a:lnTo>
                  <a:lnTo>
                    <a:pt x="77" y="16"/>
                  </a:lnTo>
                  <a:lnTo>
                    <a:pt x="77" y="9"/>
                  </a:lnTo>
                  <a:lnTo>
                    <a:pt x="78" y="0"/>
                  </a:lnTo>
                  <a:lnTo>
                    <a:pt x="83" y="0"/>
                  </a:lnTo>
                  <a:lnTo>
                    <a:pt x="89" y="4"/>
                  </a:lnTo>
                  <a:lnTo>
                    <a:pt x="91" y="6"/>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56" name="Freeform 50"/>
            <p:cNvSpPr>
              <a:spLocks/>
            </p:cNvSpPr>
            <p:nvPr/>
          </p:nvSpPr>
          <p:spPr bwMode="gray">
            <a:xfrm>
              <a:off x="5219" y="2239"/>
              <a:ext cx="90" cy="143"/>
            </a:xfrm>
            <a:custGeom>
              <a:avLst/>
              <a:gdLst>
                <a:gd name="T0" fmla="*/ 79 w 81"/>
                <a:gd name="T1" fmla="*/ 63 h 130"/>
                <a:gd name="T2" fmla="*/ 80 w 81"/>
                <a:gd name="T3" fmla="*/ 68 h 130"/>
                <a:gd name="T4" fmla="*/ 81 w 81"/>
                <a:gd name="T5" fmla="*/ 78 h 130"/>
                <a:gd name="T6" fmla="*/ 80 w 81"/>
                <a:gd name="T7" fmla="*/ 90 h 130"/>
                <a:gd name="T8" fmla="*/ 76 w 81"/>
                <a:gd name="T9" fmla="*/ 100 h 130"/>
                <a:gd name="T10" fmla="*/ 70 w 81"/>
                <a:gd name="T11" fmla="*/ 108 h 130"/>
                <a:gd name="T12" fmla="*/ 65 w 81"/>
                <a:gd name="T13" fmla="*/ 115 h 130"/>
                <a:gd name="T14" fmla="*/ 62 w 81"/>
                <a:gd name="T15" fmla="*/ 121 h 130"/>
                <a:gd name="T16" fmla="*/ 54 w 81"/>
                <a:gd name="T17" fmla="*/ 125 h 130"/>
                <a:gd name="T18" fmla="*/ 45 w 81"/>
                <a:gd name="T19" fmla="*/ 128 h 130"/>
                <a:gd name="T20" fmla="*/ 36 w 81"/>
                <a:gd name="T21" fmla="*/ 130 h 130"/>
                <a:gd name="T22" fmla="*/ 30 w 81"/>
                <a:gd name="T23" fmla="*/ 130 h 130"/>
                <a:gd name="T24" fmla="*/ 23 w 81"/>
                <a:gd name="T25" fmla="*/ 125 h 130"/>
                <a:gd name="T26" fmla="*/ 17 w 81"/>
                <a:gd name="T27" fmla="*/ 115 h 130"/>
                <a:gd name="T28" fmla="*/ 15 w 81"/>
                <a:gd name="T29" fmla="*/ 105 h 130"/>
                <a:gd name="T30" fmla="*/ 17 w 81"/>
                <a:gd name="T31" fmla="*/ 97 h 130"/>
                <a:gd name="T32" fmla="*/ 23 w 81"/>
                <a:gd name="T33" fmla="*/ 93 h 130"/>
                <a:gd name="T34" fmla="*/ 30 w 81"/>
                <a:gd name="T35" fmla="*/ 93 h 130"/>
                <a:gd name="T36" fmla="*/ 33 w 81"/>
                <a:gd name="T37" fmla="*/ 93 h 130"/>
                <a:gd name="T38" fmla="*/ 35 w 81"/>
                <a:gd name="T39" fmla="*/ 90 h 130"/>
                <a:gd name="T40" fmla="*/ 36 w 81"/>
                <a:gd name="T41" fmla="*/ 81 h 130"/>
                <a:gd name="T42" fmla="*/ 35 w 81"/>
                <a:gd name="T43" fmla="*/ 69 h 130"/>
                <a:gd name="T44" fmla="*/ 33 w 81"/>
                <a:gd name="T45" fmla="*/ 60 h 130"/>
                <a:gd name="T46" fmla="*/ 31 w 81"/>
                <a:gd name="T47" fmla="*/ 55 h 130"/>
                <a:gd name="T48" fmla="*/ 30 w 81"/>
                <a:gd name="T49" fmla="*/ 53 h 130"/>
                <a:gd name="T50" fmla="*/ 30 w 81"/>
                <a:gd name="T51" fmla="*/ 52 h 130"/>
                <a:gd name="T52" fmla="*/ 30 w 81"/>
                <a:gd name="T53" fmla="*/ 49 h 130"/>
                <a:gd name="T54" fmla="*/ 28 w 81"/>
                <a:gd name="T55" fmla="*/ 44 h 130"/>
                <a:gd name="T56" fmla="*/ 23 w 81"/>
                <a:gd name="T57" fmla="*/ 39 h 130"/>
                <a:gd name="T58" fmla="*/ 18 w 81"/>
                <a:gd name="T59" fmla="*/ 36 h 130"/>
                <a:gd name="T60" fmla="*/ 12 w 81"/>
                <a:gd name="T61" fmla="*/ 32 h 130"/>
                <a:gd name="T62" fmla="*/ 8 w 81"/>
                <a:gd name="T63" fmla="*/ 27 h 130"/>
                <a:gd name="T64" fmla="*/ 3 w 81"/>
                <a:gd name="T65" fmla="*/ 22 h 130"/>
                <a:gd name="T66" fmla="*/ 0 w 81"/>
                <a:gd name="T67" fmla="*/ 17 h 130"/>
                <a:gd name="T68" fmla="*/ 0 w 81"/>
                <a:gd name="T69" fmla="*/ 13 h 130"/>
                <a:gd name="T70" fmla="*/ 2 w 81"/>
                <a:gd name="T71" fmla="*/ 9 h 130"/>
                <a:gd name="T72" fmla="*/ 9 w 81"/>
                <a:gd name="T73" fmla="*/ 7 h 130"/>
                <a:gd name="T74" fmla="*/ 18 w 81"/>
                <a:gd name="T75" fmla="*/ 6 h 130"/>
                <a:gd name="T76" fmla="*/ 27 w 81"/>
                <a:gd name="T77" fmla="*/ 4 h 130"/>
                <a:gd name="T78" fmla="*/ 35 w 81"/>
                <a:gd name="T79" fmla="*/ 2 h 130"/>
                <a:gd name="T80" fmla="*/ 43 w 81"/>
                <a:gd name="T81" fmla="*/ 0 h 130"/>
                <a:gd name="T82" fmla="*/ 50 w 81"/>
                <a:gd name="T83" fmla="*/ 0 h 130"/>
                <a:gd name="T84" fmla="*/ 57 w 81"/>
                <a:gd name="T85" fmla="*/ 1 h 130"/>
                <a:gd name="T86" fmla="*/ 63 w 81"/>
                <a:gd name="T87" fmla="*/ 2 h 130"/>
                <a:gd name="T88" fmla="*/ 68 w 81"/>
                <a:gd name="T89" fmla="*/ 7 h 130"/>
                <a:gd name="T90" fmla="*/ 73 w 81"/>
                <a:gd name="T91" fmla="*/ 16 h 130"/>
                <a:gd name="T92" fmla="*/ 76 w 81"/>
                <a:gd name="T93" fmla="*/ 24 h 130"/>
                <a:gd name="T94" fmla="*/ 74 w 81"/>
                <a:gd name="T95" fmla="*/ 31 h 130"/>
                <a:gd name="T96" fmla="*/ 72 w 81"/>
                <a:gd name="T97" fmla="*/ 39 h 130"/>
                <a:gd name="T98" fmla="*/ 71 w 81"/>
                <a:gd name="T99" fmla="*/ 47 h 130"/>
                <a:gd name="T100" fmla="*/ 74 w 81"/>
                <a:gd name="T101" fmla="*/ 55 h 130"/>
                <a:gd name="T102" fmla="*/ 78 w 81"/>
                <a:gd name="T103" fmla="*/ 61 h 130"/>
                <a:gd name="T104" fmla="*/ 79 w 81"/>
                <a:gd name="T105" fmla="*/ 63 h 13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1"/>
                <a:gd name="T160" fmla="*/ 0 h 130"/>
                <a:gd name="T161" fmla="*/ 81 w 81"/>
                <a:gd name="T162" fmla="*/ 130 h 13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1" h="130">
                  <a:moveTo>
                    <a:pt x="79" y="63"/>
                  </a:moveTo>
                  <a:lnTo>
                    <a:pt x="80" y="68"/>
                  </a:lnTo>
                  <a:lnTo>
                    <a:pt x="81" y="78"/>
                  </a:lnTo>
                  <a:lnTo>
                    <a:pt x="80" y="90"/>
                  </a:lnTo>
                  <a:lnTo>
                    <a:pt x="76" y="100"/>
                  </a:lnTo>
                  <a:lnTo>
                    <a:pt x="70" y="108"/>
                  </a:lnTo>
                  <a:lnTo>
                    <a:pt x="65" y="115"/>
                  </a:lnTo>
                  <a:lnTo>
                    <a:pt x="62" y="121"/>
                  </a:lnTo>
                  <a:lnTo>
                    <a:pt x="54" y="125"/>
                  </a:lnTo>
                  <a:lnTo>
                    <a:pt x="45" y="128"/>
                  </a:lnTo>
                  <a:lnTo>
                    <a:pt x="36" y="130"/>
                  </a:lnTo>
                  <a:lnTo>
                    <a:pt x="30" y="130"/>
                  </a:lnTo>
                  <a:lnTo>
                    <a:pt x="23" y="125"/>
                  </a:lnTo>
                  <a:lnTo>
                    <a:pt x="17" y="115"/>
                  </a:lnTo>
                  <a:lnTo>
                    <a:pt x="15" y="105"/>
                  </a:lnTo>
                  <a:lnTo>
                    <a:pt x="17" y="97"/>
                  </a:lnTo>
                  <a:lnTo>
                    <a:pt x="23" y="93"/>
                  </a:lnTo>
                  <a:lnTo>
                    <a:pt x="30" y="93"/>
                  </a:lnTo>
                  <a:lnTo>
                    <a:pt x="33" y="93"/>
                  </a:lnTo>
                  <a:lnTo>
                    <a:pt x="35" y="90"/>
                  </a:lnTo>
                  <a:lnTo>
                    <a:pt x="36" y="81"/>
                  </a:lnTo>
                  <a:lnTo>
                    <a:pt x="35" y="69"/>
                  </a:lnTo>
                  <a:lnTo>
                    <a:pt x="33" y="60"/>
                  </a:lnTo>
                  <a:lnTo>
                    <a:pt x="31" y="55"/>
                  </a:lnTo>
                  <a:lnTo>
                    <a:pt x="30" y="53"/>
                  </a:lnTo>
                  <a:lnTo>
                    <a:pt x="30" y="52"/>
                  </a:lnTo>
                  <a:lnTo>
                    <a:pt x="30" y="49"/>
                  </a:lnTo>
                  <a:lnTo>
                    <a:pt x="28" y="44"/>
                  </a:lnTo>
                  <a:lnTo>
                    <a:pt x="23" y="39"/>
                  </a:lnTo>
                  <a:lnTo>
                    <a:pt x="18" y="36"/>
                  </a:lnTo>
                  <a:lnTo>
                    <a:pt x="12" y="32"/>
                  </a:lnTo>
                  <a:lnTo>
                    <a:pt x="8" y="27"/>
                  </a:lnTo>
                  <a:lnTo>
                    <a:pt x="3" y="22"/>
                  </a:lnTo>
                  <a:lnTo>
                    <a:pt x="0" y="17"/>
                  </a:lnTo>
                  <a:lnTo>
                    <a:pt x="0" y="13"/>
                  </a:lnTo>
                  <a:lnTo>
                    <a:pt x="2" y="9"/>
                  </a:lnTo>
                  <a:lnTo>
                    <a:pt x="9" y="7"/>
                  </a:lnTo>
                  <a:lnTo>
                    <a:pt x="18" y="6"/>
                  </a:lnTo>
                  <a:lnTo>
                    <a:pt x="27" y="4"/>
                  </a:lnTo>
                  <a:lnTo>
                    <a:pt x="35" y="2"/>
                  </a:lnTo>
                  <a:lnTo>
                    <a:pt x="43" y="0"/>
                  </a:lnTo>
                  <a:lnTo>
                    <a:pt x="50" y="0"/>
                  </a:lnTo>
                  <a:lnTo>
                    <a:pt x="57" y="1"/>
                  </a:lnTo>
                  <a:lnTo>
                    <a:pt x="63" y="2"/>
                  </a:lnTo>
                  <a:lnTo>
                    <a:pt x="68" y="7"/>
                  </a:lnTo>
                  <a:lnTo>
                    <a:pt x="73" y="16"/>
                  </a:lnTo>
                  <a:lnTo>
                    <a:pt x="76" y="24"/>
                  </a:lnTo>
                  <a:lnTo>
                    <a:pt x="74" y="31"/>
                  </a:lnTo>
                  <a:lnTo>
                    <a:pt x="72" y="39"/>
                  </a:lnTo>
                  <a:lnTo>
                    <a:pt x="71" y="47"/>
                  </a:lnTo>
                  <a:lnTo>
                    <a:pt x="74" y="55"/>
                  </a:lnTo>
                  <a:lnTo>
                    <a:pt x="78" y="61"/>
                  </a:lnTo>
                  <a:lnTo>
                    <a:pt x="79" y="63"/>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57" name="Freeform 51"/>
            <p:cNvSpPr>
              <a:spLocks/>
            </p:cNvSpPr>
            <p:nvPr/>
          </p:nvSpPr>
          <p:spPr bwMode="gray">
            <a:xfrm>
              <a:off x="5088" y="2609"/>
              <a:ext cx="39" cy="38"/>
            </a:xfrm>
            <a:custGeom>
              <a:avLst/>
              <a:gdLst>
                <a:gd name="T0" fmla="*/ 27 w 37"/>
                <a:gd name="T1" fmla="*/ 0 h 34"/>
                <a:gd name="T2" fmla="*/ 30 w 37"/>
                <a:gd name="T3" fmla="*/ 4 h 34"/>
                <a:gd name="T4" fmla="*/ 34 w 37"/>
                <a:gd name="T5" fmla="*/ 14 h 34"/>
                <a:gd name="T6" fmla="*/ 37 w 37"/>
                <a:gd name="T7" fmla="*/ 25 h 34"/>
                <a:gd name="T8" fmla="*/ 31 w 37"/>
                <a:gd name="T9" fmla="*/ 31 h 34"/>
                <a:gd name="T10" fmla="*/ 23 w 37"/>
                <a:gd name="T11" fmla="*/ 33 h 34"/>
                <a:gd name="T12" fmla="*/ 19 w 37"/>
                <a:gd name="T13" fmla="*/ 34 h 34"/>
                <a:gd name="T14" fmla="*/ 17 w 37"/>
                <a:gd name="T15" fmla="*/ 34 h 34"/>
                <a:gd name="T16" fmla="*/ 17 w 37"/>
                <a:gd name="T17" fmla="*/ 34 h 34"/>
                <a:gd name="T18" fmla="*/ 0 w 37"/>
                <a:gd name="T19" fmla="*/ 17 h 34"/>
                <a:gd name="T20" fmla="*/ 14 w 37"/>
                <a:gd name="T21" fmla="*/ 10 h 34"/>
                <a:gd name="T22" fmla="*/ 27 w 37"/>
                <a:gd name="T23" fmla="*/ 0 h 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7"/>
                <a:gd name="T37" fmla="*/ 0 h 34"/>
                <a:gd name="T38" fmla="*/ 37 w 37"/>
                <a:gd name="T39" fmla="*/ 34 h 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7" h="34">
                  <a:moveTo>
                    <a:pt x="27" y="0"/>
                  </a:moveTo>
                  <a:lnTo>
                    <a:pt x="30" y="4"/>
                  </a:lnTo>
                  <a:lnTo>
                    <a:pt x="34" y="14"/>
                  </a:lnTo>
                  <a:lnTo>
                    <a:pt x="37" y="25"/>
                  </a:lnTo>
                  <a:lnTo>
                    <a:pt x="31" y="31"/>
                  </a:lnTo>
                  <a:lnTo>
                    <a:pt x="23" y="33"/>
                  </a:lnTo>
                  <a:lnTo>
                    <a:pt x="19" y="34"/>
                  </a:lnTo>
                  <a:lnTo>
                    <a:pt x="17" y="34"/>
                  </a:lnTo>
                  <a:lnTo>
                    <a:pt x="0" y="17"/>
                  </a:lnTo>
                  <a:lnTo>
                    <a:pt x="14" y="10"/>
                  </a:lnTo>
                  <a:lnTo>
                    <a:pt x="27"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58" name="Freeform 52"/>
            <p:cNvSpPr>
              <a:spLocks/>
            </p:cNvSpPr>
            <p:nvPr/>
          </p:nvSpPr>
          <p:spPr bwMode="gray">
            <a:xfrm>
              <a:off x="5055" y="2636"/>
              <a:ext cx="20" cy="22"/>
            </a:xfrm>
            <a:custGeom>
              <a:avLst/>
              <a:gdLst>
                <a:gd name="T0" fmla="*/ 11 w 17"/>
                <a:gd name="T1" fmla="*/ 1 h 20"/>
                <a:gd name="T2" fmla="*/ 14 w 17"/>
                <a:gd name="T3" fmla="*/ 6 h 20"/>
                <a:gd name="T4" fmla="*/ 16 w 17"/>
                <a:gd name="T5" fmla="*/ 11 h 20"/>
                <a:gd name="T6" fmla="*/ 17 w 17"/>
                <a:gd name="T7" fmla="*/ 17 h 20"/>
                <a:gd name="T8" fmla="*/ 14 w 17"/>
                <a:gd name="T9" fmla="*/ 20 h 20"/>
                <a:gd name="T10" fmla="*/ 8 w 17"/>
                <a:gd name="T11" fmla="*/ 20 h 20"/>
                <a:gd name="T12" fmla="*/ 3 w 17"/>
                <a:gd name="T13" fmla="*/ 16 h 20"/>
                <a:gd name="T14" fmla="*/ 1 w 17"/>
                <a:gd name="T15" fmla="*/ 13 h 20"/>
                <a:gd name="T16" fmla="*/ 0 w 17"/>
                <a:gd name="T17" fmla="*/ 7 h 20"/>
                <a:gd name="T18" fmla="*/ 2 w 17"/>
                <a:gd name="T19" fmla="*/ 2 h 20"/>
                <a:gd name="T20" fmla="*/ 6 w 17"/>
                <a:gd name="T21" fmla="*/ 0 h 20"/>
                <a:gd name="T22" fmla="*/ 9 w 17"/>
                <a:gd name="T23" fmla="*/ 0 h 20"/>
                <a:gd name="T24" fmla="*/ 11 w 17"/>
                <a:gd name="T25" fmla="*/ 1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
                <a:gd name="T40" fmla="*/ 0 h 20"/>
                <a:gd name="T41" fmla="*/ 17 w 17"/>
                <a:gd name="T42" fmla="*/ 20 h 2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 h="20">
                  <a:moveTo>
                    <a:pt x="11" y="1"/>
                  </a:moveTo>
                  <a:lnTo>
                    <a:pt x="14" y="6"/>
                  </a:lnTo>
                  <a:lnTo>
                    <a:pt x="16" y="11"/>
                  </a:lnTo>
                  <a:lnTo>
                    <a:pt x="17" y="17"/>
                  </a:lnTo>
                  <a:lnTo>
                    <a:pt x="14" y="20"/>
                  </a:lnTo>
                  <a:lnTo>
                    <a:pt x="8" y="20"/>
                  </a:lnTo>
                  <a:lnTo>
                    <a:pt x="3" y="16"/>
                  </a:lnTo>
                  <a:lnTo>
                    <a:pt x="1" y="13"/>
                  </a:lnTo>
                  <a:lnTo>
                    <a:pt x="0" y="7"/>
                  </a:lnTo>
                  <a:lnTo>
                    <a:pt x="2" y="2"/>
                  </a:lnTo>
                  <a:lnTo>
                    <a:pt x="6" y="0"/>
                  </a:lnTo>
                  <a:lnTo>
                    <a:pt x="9" y="0"/>
                  </a:lnTo>
                  <a:lnTo>
                    <a:pt x="11" y="1"/>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59" name="Freeform 53"/>
            <p:cNvSpPr>
              <a:spLocks/>
            </p:cNvSpPr>
            <p:nvPr/>
          </p:nvSpPr>
          <p:spPr bwMode="gray">
            <a:xfrm>
              <a:off x="4972" y="2625"/>
              <a:ext cx="22" cy="39"/>
            </a:xfrm>
            <a:custGeom>
              <a:avLst/>
              <a:gdLst>
                <a:gd name="T0" fmla="*/ 15 w 21"/>
                <a:gd name="T1" fmla="*/ 0 h 36"/>
                <a:gd name="T2" fmla="*/ 16 w 21"/>
                <a:gd name="T3" fmla="*/ 2 h 36"/>
                <a:gd name="T4" fmla="*/ 19 w 21"/>
                <a:gd name="T5" fmla="*/ 8 h 36"/>
                <a:gd name="T6" fmla="*/ 21 w 21"/>
                <a:gd name="T7" fmla="*/ 17 h 36"/>
                <a:gd name="T8" fmla="*/ 18 w 21"/>
                <a:gd name="T9" fmla="*/ 27 h 36"/>
                <a:gd name="T10" fmla="*/ 14 w 21"/>
                <a:gd name="T11" fmla="*/ 34 h 36"/>
                <a:gd name="T12" fmla="*/ 8 w 21"/>
                <a:gd name="T13" fmla="*/ 36 h 36"/>
                <a:gd name="T14" fmla="*/ 4 w 21"/>
                <a:gd name="T15" fmla="*/ 33 h 36"/>
                <a:gd name="T16" fmla="*/ 1 w 21"/>
                <a:gd name="T17" fmla="*/ 27 h 36"/>
                <a:gd name="T18" fmla="*/ 0 w 21"/>
                <a:gd name="T19" fmla="*/ 18 h 36"/>
                <a:gd name="T20" fmla="*/ 2 w 21"/>
                <a:gd name="T21" fmla="*/ 7 h 36"/>
                <a:gd name="T22" fmla="*/ 8 w 21"/>
                <a:gd name="T23" fmla="*/ 0 h 36"/>
                <a:gd name="T24" fmla="*/ 15 w 21"/>
                <a:gd name="T25" fmla="*/ 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36"/>
                <a:gd name="T41" fmla="*/ 21 w 21"/>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36">
                  <a:moveTo>
                    <a:pt x="15" y="0"/>
                  </a:moveTo>
                  <a:lnTo>
                    <a:pt x="16" y="2"/>
                  </a:lnTo>
                  <a:lnTo>
                    <a:pt x="19" y="8"/>
                  </a:lnTo>
                  <a:lnTo>
                    <a:pt x="21" y="17"/>
                  </a:lnTo>
                  <a:lnTo>
                    <a:pt x="18" y="27"/>
                  </a:lnTo>
                  <a:lnTo>
                    <a:pt x="14" y="34"/>
                  </a:lnTo>
                  <a:lnTo>
                    <a:pt x="8" y="36"/>
                  </a:lnTo>
                  <a:lnTo>
                    <a:pt x="4" y="33"/>
                  </a:lnTo>
                  <a:lnTo>
                    <a:pt x="1" y="27"/>
                  </a:lnTo>
                  <a:lnTo>
                    <a:pt x="0" y="18"/>
                  </a:lnTo>
                  <a:lnTo>
                    <a:pt x="2" y="7"/>
                  </a:lnTo>
                  <a:lnTo>
                    <a:pt x="8" y="0"/>
                  </a:lnTo>
                  <a:lnTo>
                    <a:pt x="15"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60" name="Freeform 54"/>
            <p:cNvSpPr>
              <a:spLocks/>
            </p:cNvSpPr>
            <p:nvPr/>
          </p:nvSpPr>
          <p:spPr bwMode="gray">
            <a:xfrm>
              <a:off x="5011" y="2559"/>
              <a:ext cx="53" cy="33"/>
            </a:xfrm>
            <a:custGeom>
              <a:avLst/>
              <a:gdLst>
                <a:gd name="T0" fmla="*/ 49 w 49"/>
                <a:gd name="T1" fmla="*/ 14 h 31"/>
                <a:gd name="T2" fmla="*/ 48 w 49"/>
                <a:gd name="T3" fmla="*/ 12 h 31"/>
                <a:gd name="T4" fmla="*/ 43 w 49"/>
                <a:gd name="T5" fmla="*/ 11 h 31"/>
                <a:gd name="T6" fmla="*/ 37 w 49"/>
                <a:gd name="T7" fmla="*/ 9 h 31"/>
                <a:gd name="T8" fmla="*/ 30 w 49"/>
                <a:gd name="T9" fmla="*/ 7 h 31"/>
                <a:gd name="T10" fmla="*/ 22 w 49"/>
                <a:gd name="T11" fmla="*/ 4 h 31"/>
                <a:gd name="T12" fmla="*/ 15 w 49"/>
                <a:gd name="T13" fmla="*/ 2 h 31"/>
                <a:gd name="T14" fmla="*/ 9 w 49"/>
                <a:gd name="T15" fmla="*/ 1 h 31"/>
                <a:gd name="T16" fmla="*/ 4 w 49"/>
                <a:gd name="T17" fmla="*/ 0 h 31"/>
                <a:gd name="T18" fmla="*/ 0 w 49"/>
                <a:gd name="T19" fmla="*/ 2 h 31"/>
                <a:gd name="T20" fmla="*/ 3 w 49"/>
                <a:gd name="T21" fmla="*/ 8 h 31"/>
                <a:gd name="T22" fmla="*/ 10 w 49"/>
                <a:gd name="T23" fmla="*/ 15 h 31"/>
                <a:gd name="T24" fmla="*/ 18 w 49"/>
                <a:gd name="T25" fmla="*/ 20 h 31"/>
                <a:gd name="T26" fmla="*/ 27 w 49"/>
                <a:gd name="T27" fmla="*/ 25 h 31"/>
                <a:gd name="T28" fmla="*/ 35 w 49"/>
                <a:gd name="T29" fmla="*/ 29 h 31"/>
                <a:gd name="T30" fmla="*/ 43 w 49"/>
                <a:gd name="T31" fmla="*/ 30 h 31"/>
                <a:gd name="T32" fmla="*/ 45 w 49"/>
                <a:gd name="T33" fmla="*/ 31 h 31"/>
                <a:gd name="T34" fmla="*/ 49 w 49"/>
                <a:gd name="T35" fmla="*/ 14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9"/>
                <a:gd name="T55" fmla="*/ 0 h 31"/>
                <a:gd name="T56" fmla="*/ 49 w 49"/>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9" h="31">
                  <a:moveTo>
                    <a:pt x="49" y="14"/>
                  </a:moveTo>
                  <a:lnTo>
                    <a:pt x="48" y="12"/>
                  </a:lnTo>
                  <a:lnTo>
                    <a:pt x="43" y="11"/>
                  </a:lnTo>
                  <a:lnTo>
                    <a:pt x="37" y="9"/>
                  </a:lnTo>
                  <a:lnTo>
                    <a:pt x="30" y="7"/>
                  </a:lnTo>
                  <a:lnTo>
                    <a:pt x="22" y="4"/>
                  </a:lnTo>
                  <a:lnTo>
                    <a:pt x="15" y="2"/>
                  </a:lnTo>
                  <a:lnTo>
                    <a:pt x="9" y="1"/>
                  </a:lnTo>
                  <a:lnTo>
                    <a:pt x="4" y="0"/>
                  </a:lnTo>
                  <a:lnTo>
                    <a:pt x="0" y="2"/>
                  </a:lnTo>
                  <a:lnTo>
                    <a:pt x="3" y="8"/>
                  </a:lnTo>
                  <a:lnTo>
                    <a:pt x="10" y="15"/>
                  </a:lnTo>
                  <a:lnTo>
                    <a:pt x="18" y="20"/>
                  </a:lnTo>
                  <a:lnTo>
                    <a:pt x="27" y="25"/>
                  </a:lnTo>
                  <a:lnTo>
                    <a:pt x="35" y="29"/>
                  </a:lnTo>
                  <a:lnTo>
                    <a:pt x="43" y="30"/>
                  </a:lnTo>
                  <a:lnTo>
                    <a:pt x="45" y="31"/>
                  </a:lnTo>
                  <a:lnTo>
                    <a:pt x="49" y="14"/>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61" name="Freeform 55"/>
            <p:cNvSpPr>
              <a:spLocks/>
            </p:cNvSpPr>
            <p:nvPr/>
          </p:nvSpPr>
          <p:spPr bwMode="gray">
            <a:xfrm>
              <a:off x="4849" y="2717"/>
              <a:ext cx="35" cy="22"/>
            </a:xfrm>
            <a:custGeom>
              <a:avLst/>
              <a:gdLst>
                <a:gd name="T0" fmla="*/ 32 w 32"/>
                <a:gd name="T1" fmla="*/ 2 h 19"/>
                <a:gd name="T2" fmla="*/ 18 w 32"/>
                <a:gd name="T3" fmla="*/ 19 h 19"/>
                <a:gd name="T4" fmla="*/ 0 w 32"/>
                <a:gd name="T5" fmla="*/ 9 h 19"/>
                <a:gd name="T6" fmla="*/ 2 w 32"/>
                <a:gd name="T7" fmla="*/ 7 h 19"/>
                <a:gd name="T8" fmla="*/ 9 w 32"/>
                <a:gd name="T9" fmla="*/ 3 h 19"/>
                <a:gd name="T10" fmla="*/ 20 w 32"/>
                <a:gd name="T11" fmla="*/ 0 h 19"/>
                <a:gd name="T12" fmla="*/ 32 w 32"/>
                <a:gd name="T13" fmla="*/ 2 h 19"/>
                <a:gd name="T14" fmla="*/ 0 60000 65536"/>
                <a:gd name="T15" fmla="*/ 0 60000 65536"/>
                <a:gd name="T16" fmla="*/ 0 60000 65536"/>
                <a:gd name="T17" fmla="*/ 0 60000 65536"/>
                <a:gd name="T18" fmla="*/ 0 60000 65536"/>
                <a:gd name="T19" fmla="*/ 0 60000 65536"/>
                <a:gd name="T20" fmla="*/ 0 60000 65536"/>
                <a:gd name="T21" fmla="*/ 0 w 32"/>
                <a:gd name="T22" fmla="*/ 0 h 19"/>
                <a:gd name="T23" fmla="*/ 32 w 32"/>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19">
                  <a:moveTo>
                    <a:pt x="32" y="2"/>
                  </a:moveTo>
                  <a:lnTo>
                    <a:pt x="18" y="19"/>
                  </a:lnTo>
                  <a:lnTo>
                    <a:pt x="0" y="9"/>
                  </a:lnTo>
                  <a:lnTo>
                    <a:pt x="2" y="7"/>
                  </a:lnTo>
                  <a:lnTo>
                    <a:pt x="9" y="3"/>
                  </a:lnTo>
                  <a:lnTo>
                    <a:pt x="20" y="0"/>
                  </a:lnTo>
                  <a:lnTo>
                    <a:pt x="32" y="2"/>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62" name="Freeform 56"/>
            <p:cNvSpPr>
              <a:spLocks/>
            </p:cNvSpPr>
            <p:nvPr/>
          </p:nvSpPr>
          <p:spPr bwMode="gray">
            <a:xfrm>
              <a:off x="4845" y="2631"/>
              <a:ext cx="17" cy="40"/>
            </a:xfrm>
            <a:custGeom>
              <a:avLst/>
              <a:gdLst>
                <a:gd name="T0" fmla="*/ 10 w 16"/>
                <a:gd name="T1" fmla="*/ 0 h 34"/>
                <a:gd name="T2" fmla="*/ 11 w 16"/>
                <a:gd name="T3" fmla="*/ 2 h 34"/>
                <a:gd name="T4" fmla="*/ 13 w 16"/>
                <a:gd name="T5" fmla="*/ 6 h 34"/>
                <a:gd name="T6" fmla="*/ 16 w 16"/>
                <a:gd name="T7" fmla="*/ 14 h 34"/>
                <a:gd name="T8" fmla="*/ 15 w 16"/>
                <a:gd name="T9" fmla="*/ 24 h 34"/>
                <a:gd name="T10" fmla="*/ 10 w 16"/>
                <a:gd name="T11" fmla="*/ 31 h 34"/>
                <a:gd name="T12" fmla="*/ 5 w 16"/>
                <a:gd name="T13" fmla="*/ 34 h 34"/>
                <a:gd name="T14" fmla="*/ 1 w 16"/>
                <a:gd name="T15" fmla="*/ 34 h 34"/>
                <a:gd name="T16" fmla="*/ 0 w 16"/>
                <a:gd name="T17" fmla="*/ 34 h 34"/>
                <a:gd name="T18" fmla="*/ 0 w 16"/>
                <a:gd name="T19" fmla="*/ 28 h 34"/>
                <a:gd name="T20" fmla="*/ 0 w 16"/>
                <a:gd name="T21" fmla="*/ 17 h 34"/>
                <a:gd name="T22" fmla="*/ 3 w 16"/>
                <a:gd name="T23" fmla="*/ 5 h 34"/>
                <a:gd name="T24" fmla="*/ 10 w 16"/>
                <a:gd name="T25" fmla="*/ 0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34"/>
                <a:gd name="T41" fmla="*/ 16 w 16"/>
                <a:gd name="T42" fmla="*/ 34 h 3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34">
                  <a:moveTo>
                    <a:pt x="10" y="0"/>
                  </a:moveTo>
                  <a:lnTo>
                    <a:pt x="11" y="2"/>
                  </a:lnTo>
                  <a:lnTo>
                    <a:pt x="13" y="6"/>
                  </a:lnTo>
                  <a:lnTo>
                    <a:pt x="16" y="14"/>
                  </a:lnTo>
                  <a:lnTo>
                    <a:pt x="15" y="24"/>
                  </a:lnTo>
                  <a:lnTo>
                    <a:pt x="10" y="31"/>
                  </a:lnTo>
                  <a:lnTo>
                    <a:pt x="5" y="34"/>
                  </a:lnTo>
                  <a:lnTo>
                    <a:pt x="1" y="34"/>
                  </a:lnTo>
                  <a:lnTo>
                    <a:pt x="0" y="34"/>
                  </a:lnTo>
                  <a:lnTo>
                    <a:pt x="0" y="28"/>
                  </a:lnTo>
                  <a:lnTo>
                    <a:pt x="0" y="17"/>
                  </a:lnTo>
                  <a:lnTo>
                    <a:pt x="3" y="5"/>
                  </a:lnTo>
                  <a:lnTo>
                    <a:pt x="10"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63" name="Freeform 57"/>
            <p:cNvSpPr>
              <a:spLocks/>
            </p:cNvSpPr>
            <p:nvPr/>
          </p:nvSpPr>
          <p:spPr bwMode="gray">
            <a:xfrm>
              <a:off x="4803" y="2557"/>
              <a:ext cx="37" cy="48"/>
            </a:xfrm>
            <a:custGeom>
              <a:avLst/>
              <a:gdLst>
                <a:gd name="T0" fmla="*/ 29 w 35"/>
                <a:gd name="T1" fmla="*/ 3 h 45"/>
                <a:gd name="T2" fmla="*/ 31 w 35"/>
                <a:gd name="T3" fmla="*/ 5 h 45"/>
                <a:gd name="T4" fmla="*/ 35 w 35"/>
                <a:gd name="T5" fmla="*/ 11 h 45"/>
                <a:gd name="T6" fmla="*/ 35 w 35"/>
                <a:gd name="T7" fmla="*/ 19 h 45"/>
                <a:gd name="T8" fmla="*/ 29 w 35"/>
                <a:gd name="T9" fmla="*/ 27 h 45"/>
                <a:gd name="T10" fmla="*/ 20 w 35"/>
                <a:gd name="T11" fmla="*/ 34 h 45"/>
                <a:gd name="T12" fmla="*/ 12 w 35"/>
                <a:gd name="T13" fmla="*/ 40 h 45"/>
                <a:gd name="T14" fmla="*/ 7 w 35"/>
                <a:gd name="T15" fmla="*/ 44 h 45"/>
                <a:gd name="T16" fmla="*/ 5 w 35"/>
                <a:gd name="T17" fmla="*/ 45 h 45"/>
                <a:gd name="T18" fmla="*/ 4 w 35"/>
                <a:gd name="T19" fmla="*/ 42 h 45"/>
                <a:gd name="T20" fmla="*/ 2 w 35"/>
                <a:gd name="T21" fmla="*/ 35 h 45"/>
                <a:gd name="T22" fmla="*/ 0 w 35"/>
                <a:gd name="T23" fmla="*/ 27 h 45"/>
                <a:gd name="T24" fmla="*/ 5 w 35"/>
                <a:gd name="T25" fmla="*/ 20 h 45"/>
                <a:gd name="T26" fmla="*/ 11 w 35"/>
                <a:gd name="T27" fmla="*/ 13 h 45"/>
                <a:gd name="T28" fmla="*/ 15 w 35"/>
                <a:gd name="T29" fmla="*/ 5 h 45"/>
                <a:gd name="T30" fmla="*/ 21 w 35"/>
                <a:gd name="T31" fmla="*/ 0 h 45"/>
                <a:gd name="T32" fmla="*/ 29 w 35"/>
                <a:gd name="T33" fmla="*/ 3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
                <a:gd name="T52" fmla="*/ 0 h 45"/>
                <a:gd name="T53" fmla="*/ 35 w 35"/>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 h="45">
                  <a:moveTo>
                    <a:pt x="29" y="3"/>
                  </a:moveTo>
                  <a:lnTo>
                    <a:pt x="31" y="5"/>
                  </a:lnTo>
                  <a:lnTo>
                    <a:pt x="35" y="11"/>
                  </a:lnTo>
                  <a:lnTo>
                    <a:pt x="35" y="19"/>
                  </a:lnTo>
                  <a:lnTo>
                    <a:pt x="29" y="27"/>
                  </a:lnTo>
                  <a:lnTo>
                    <a:pt x="20" y="34"/>
                  </a:lnTo>
                  <a:lnTo>
                    <a:pt x="12" y="40"/>
                  </a:lnTo>
                  <a:lnTo>
                    <a:pt x="7" y="44"/>
                  </a:lnTo>
                  <a:lnTo>
                    <a:pt x="5" y="45"/>
                  </a:lnTo>
                  <a:lnTo>
                    <a:pt x="4" y="42"/>
                  </a:lnTo>
                  <a:lnTo>
                    <a:pt x="2" y="35"/>
                  </a:lnTo>
                  <a:lnTo>
                    <a:pt x="0" y="27"/>
                  </a:lnTo>
                  <a:lnTo>
                    <a:pt x="5" y="20"/>
                  </a:lnTo>
                  <a:lnTo>
                    <a:pt x="11" y="13"/>
                  </a:lnTo>
                  <a:lnTo>
                    <a:pt x="15" y="5"/>
                  </a:lnTo>
                  <a:lnTo>
                    <a:pt x="21" y="0"/>
                  </a:lnTo>
                  <a:lnTo>
                    <a:pt x="29" y="3"/>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64" name="Freeform 58"/>
            <p:cNvSpPr>
              <a:spLocks/>
            </p:cNvSpPr>
            <p:nvPr/>
          </p:nvSpPr>
          <p:spPr bwMode="gray">
            <a:xfrm>
              <a:off x="4917" y="2441"/>
              <a:ext cx="94" cy="107"/>
            </a:xfrm>
            <a:custGeom>
              <a:avLst/>
              <a:gdLst>
                <a:gd name="T0" fmla="*/ 86 w 86"/>
                <a:gd name="T1" fmla="*/ 78 h 98"/>
                <a:gd name="T2" fmla="*/ 73 w 86"/>
                <a:gd name="T3" fmla="*/ 98 h 98"/>
                <a:gd name="T4" fmla="*/ 44 w 86"/>
                <a:gd name="T5" fmla="*/ 88 h 98"/>
                <a:gd name="T6" fmla="*/ 45 w 86"/>
                <a:gd name="T7" fmla="*/ 86 h 98"/>
                <a:gd name="T8" fmla="*/ 47 w 86"/>
                <a:gd name="T9" fmla="*/ 80 h 98"/>
                <a:gd name="T10" fmla="*/ 44 w 86"/>
                <a:gd name="T11" fmla="*/ 72 h 98"/>
                <a:gd name="T12" fmla="*/ 33 w 86"/>
                <a:gd name="T13" fmla="*/ 64 h 98"/>
                <a:gd name="T14" fmla="*/ 22 w 86"/>
                <a:gd name="T15" fmla="*/ 56 h 98"/>
                <a:gd name="T16" fmla="*/ 16 w 86"/>
                <a:gd name="T17" fmla="*/ 47 h 98"/>
                <a:gd name="T18" fmla="*/ 12 w 86"/>
                <a:gd name="T19" fmla="*/ 38 h 98"/>
                <a:gd name="T20" fmla="*/ 6 w 86"/>
                <a:gd name="T21" fmla="*/ 32 h 98"/>
                <a:gd name="T22" fmla="*/ 0 w 86"/>
                <a:gd name="T23" fmla="*/ 23 h 98"/>
                <a:gd name="T24" fmla="*/ 0 w 86"/>
                <a:gd name="T25" fmla="*/ 12 h 98"/>
                <a:gd name="T26" fmla="*/ 5 w 86"/>
                <a:gd name="T27" fmla="*/ 3 h 98"/>
                <a:gd name="T28" fmla="*/ 13 w 86"/>
                <a:gd name="T29" fmla="*/ 0 h 98"/>
                <a:gd name="T30" fmla="*/ 21 w 86"/>
                <a:gd name="T31" fmla="*/ 6 h 98"/>
                <a:gd name="T32" fmla="*/ 27 w 86"/>
                <a:gd name="T33" fmla="*/ 14 h 98"/>
                <a:gd name="T34" fmla="*/ 33 w 86"/>
                <a:gd name="T35" fmla="*/ 22 h 98"/>
                <a:gd name="T36" fmla="*/ 44 w 86"/>
                <a:gd name="T37" fmla="*/ 28 h 98"/>
                <a:gd name="T38" fmla="*/ 51 w 86"/>
                <a:gd name="T39" fmla="*/ 29 h 98"/>
                <a:gd name="T40" fmla="*/ 58 w 86"/>
                <a:gd name="T41" fmla="*/ 30 h 98"/>
                <a:gd name="T42" fmla="*/ 63 w 86"/>
                <a:gd name="T43" fmla="*/ 32 h 98"/>
                <a:gd name="T44" fmla="*/ 69 w 86"/>
                <a:gd name="T45" fmla="*/ 33 h 98"/>
                <a:gd name="T46" fmla="*/ 73 w 86"/>
                <a:gd name="T47" fmla="*/ 34 h 98"/>
                <a:gd name="T48" fmla="*/ 75 w 86"/>
                <a:gd name="T49" fmla="*/ 36 h 98"/>
                <a:gd name="T50" fmla="*/ 75 w 86"/>
                <a:gd name="T51" fmla="*/ 38 h 98"/>
                <a:gd name="T52" fmla="*/ 73 w 86"/>
                <a:gd name="T53" fmla="*/ 42 h 98"/>
                <a:gd name="T54" fmla="*/ 66 w 86"/>
                <a:gd name="T55" fmla="*/ 48 h 98"/>
                <a:gd name="T56" fmla="*/ 61 w 86"/>
                <a:gd name="T57" fmla="*/ 52 h 98"/>
                <a:gd name="T58" fmla="*/ 61 w 86"/>
                <a:gd name="T59" fmla="*/ 56 h 98"/>
                <a:gd name="T60" fmla="*/ 69 w 86"/>
                <a:gd name="T61" fmla="*/ 64 h 98"/>
                <a:gd name="T62" fmla="*/ 80 w 86"/>
                <a:gd name="T63" fmla="*/ 72 h 98"/>
                <a:gd name="T64" fmla="*/ 84 w 86"/>
                <a:gd name="T65" fmla="*/ 75 h 98"/>
                <a:gd name="T66" fmla="*/ 86 w 86"/>
                <a:gd name="T67" fmla="*/ 78 h 98"/>
                <a:gd name="T68" fmla="*/ 86 w 86"/>
                <a:gd name="T69" fmla="*/ 78 h 9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6"/>
                <a:gd name="T106" fmla="*/ 0 h 98"/>
                <a:gd name="T107" fmla="*/ 86 w 86"/>
                <a:gd name="T108" fmla="*/ 98 h 9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6" h="98">
                  <a:moveTo>
                    <a:pt x="86" y="78"/>
                  </a:moveTo>
                  <a:lnTo>
                    <a:pt x="73" y="98"/>
                  </a:lnTo>
                  <a:lnTo>
                    <a:pt x="44" y="88"/>
                  </a:lnTo>
                  <a:lnTo>
                    <a:pt x="45" y="86"/>
                  </a:lnTo>
                  <a:lnTo>
                    <a:pt x="47" y="80"/>
                  </a:lnTo>
                  <a:lnTo>
                    <a:pt x="44" y="72"/>
                  </a:lnTo>
                  <a:lnTo>
                    <a:pt x="33" y="64"/>
                  </a:lnTo>
                  <a:lnTo>
                    <a:pt x="22" y="56"/>
                  </a:lnTo>
                  <a:lnTo>
                    <a:pt x="16" y="47"/>
                  </a:lnTo>
                  <a:lnTo>
                    <a:pt x="12" y="38"/>
                  </a:lnTo>
                  <a:lnTo>
                    <a:pt x="6" y="32"/>
                  </a:lnTo>
                  <a:lnTo>
                    <a:pt x="0" y="23"/>
                  </a:lnTo>
                  <a:lnTo>
                    <a:pt x="0" y="12"/>
                  </a:lnTo>
                  <a:lnTo>
                    <a:pt x="5" y="3"/>
                  </a:lnTo>
                  <a:lnTo>
                    <a:pt x="13" y="0"/>
                  </a:lnTo>
                  <a:lnTo>
                    <a:pt x="21" y="6"/>
                  </a:lnTo>
                  <a:lnTo>
                    <a:pt x="27" y="14"/>
                  </a:lnTo>
                  <a:lnTo>
                    <a:pt x="33" y="22"/>
                  </a:lnTo>
                  <a:lnTo>
                    <a:pt x="44" y="28"/>
                  </a:lnTo>
                  <a:lnTo>
                    <a:pt x="51" y="29"/>
                  </a:lnTo>
                  <a:lnTo>
                    <a:pt x="58" y="30"/>
                  </a:lnTo>
                  <a:lnTo>
                    <a:pt x="63" y="32"/>
                  </a:lnTo>
                  <a:lnTo>
                    <a:pt x="69" y="33"/>
                  </a:lnTo>
                  <a:lnTo>
                    <a:pt x="73" y="34"/>
                  </a:lnTo>
                  <a:lnTo>
                    <a:pt x="75" y="36"/>
                  </a:lnTo>
                  <a:lnTo>
                    <a:pt x="75" y="38"/>
                  </a:lnTo>
                  <a:lnTo>
                    <a:pt x="73" y="42"/>
                  </a:lnTo>
                  <a:lnTo>
                    <a:pt x="66" y="48"/>
                  </a:lnTo>
                  <a:lnTo>
                    <a:pt x="61" y="52"/>
                  </a:lnTo>
                  <a:lnTo>
                    <a:pt x="61" y="56"/>
                  </a:lnTo>
                  <a:lnTo>
                    <a:pt x="69" y="64"/>
                  </a:lnTo>
                  <a:lnTo>
                    <a:pt x="80" y="72"/>
                  </a:lnTo>
                  <a:lnTo>
                    <a:pt x="84" y="75"/>
                  </a:lnTo>
                  <a:lnTo>
                    <a:pt x="86" y="78"/>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65" name="Freeform 59"/>
            <p:cNvSpPr>
              <a:spLocks/>
            </p:cNvSpPr>
            <p:nvPr/>
          </p:nvSpPr>
          <p:spPr bwMode="gray">
            <a:xfrm>
              <a:off x="5224" y="1974"/>
              <a:ext cx="208" cy="134"/>
            </a:xfrm>
            <a:custGeom>
              <a:avLst/>
              <a:gdLst>
                <a:gd name="T0" fmla="*/ 182 w 191"/>
                <a:gd name="T1" fmla="*/ 109 h 123"/>
                <a:gd name="T2" fmla="*/ 169 w 191"/>
                <a:gd name="T3" fmla="*/ 106 h 123"/>
                <a:gd name="T4" fmla="*/ 159 w 191"/>
                <a:gd name="T5" fmla="*/ 118 h 123"/>
                <a:gd name="T6" fmla="*/ 152 w 191"/>
                <a:gd name="T7" fmla="*/ 122 h 123"/>
                <a:gd name="T8" fmla="*/ 143 w 191"/>
                <a:gd name="T9" fmla="*/ 123 h 123"/>
                <a:gd name="T10" fmla="*/ 133 w 191"/>
                <a:gd name="T11" fmla="*/ 123 h 123"/>
                <a:gd name="T12" fmla="*/ 123 w 191"/>
                <a:gd name="T13" fmla="*/ 123 h 123"/>
                <a:gd name="T14" fmla="*/ 114 w 191"/>
                <a:gd name="T15" fmla="*/ 121 h 123"/>
                <a:gd name="T16" fmla="*/ 104 w 191"/>
                <a:gd name="T17" fmla="*/ 118 h 123"/>
                <a:gd name="T18" fmla="*/ 91 w 191"/>
                <a:gd name="T19" fmla="*/ 114 h 123"/>
                <a:gd name="T20" fmla="*/ 75 w 191"/>
                <a:gd name="T21" fmla="*/ 112 h 123"/>
                <a:gd name="T22" fmla="*/ 65 w 191"/>
                <a:gd name="T23" fmla="*/ 109 h 123"/>
                <a:gd name="T24" fmla="*/ 59 w 191"/>
                <a:gd name="T25" fmla="*/ 104 h 123"/>
                <a:gd name="T26" fmla="*/ 51 w 191"/>
                <a:gd name="T27" fmla="*/ 97 h 123"/>
                <a:gd name="T28" fmla="*/ 37 w 191"/>
                <a:gd name="T29" fmla="*/ 88 h 123"/>
                <a:gd name="T30" fmla="*/ 24 w 191"/>
                <a:gd name="T31" fmla="*/ 81 h 123"/>
                <a:gd name="T32" fmla="*/ 15 w 191"/>
                <a:gd name="T33" fmla="*/ 77 h 123"/>
                <a:gd name="T34" fmla="*/ 10 w 191"/>
                <a:gd name="T35" fmla="*/ 75 h 123"/>
                <a:gd name="T36" fmla="*/ 7 w 191"/>
                <a:gd name="T37" fmla="*/ 70 h 123"/>
                <a:gd name="T38" fmla="*/ 0 w 191"/>
                <a:gd name="T39" fmla="*/ 50 h 123"/>
                <a:gd name="T40" fmla="*/ 12 w 191"/>
                <a:gd name="T41" fmla="*/ 36 h 123"/>
                <a:gd name="T42" fmla="*/ 28 w 191"/>
                <a:gd name="T43" fmla="*/ 32 h 123"/>
                <a:gd name="T44" fmla="*/ 44 w 191"/>
                <a:gd name="T45" fmla="*/ 29 h 123"/>
                <a:gd name="T46" fmla="*/ 58 w 191"/>
                <a:gd name="T47" fmla="*/ 26 h 123"/>
                <a:gd name="T48" fmla="*/ 63 w 191"/>
                <a:gd name="T49" fmla="*/ 18 h 123"/>
                <a:gd name="T50" fmla="*/ 69 w 191"/>
                <a:gd name="T51" fmla="*/ 9 h 123"/>
                <a:gd name="T52" fmla="*/ 75 w 191"/>
                <a:gd name="T53" fmla="*/ 3 h 123"/>
                <a:gd name="T54" fmla="*/ 88 w 191"/>
                <a:gd name="T55" fmla="*/ 0 h 123"/>
                <a:gd name="T56" fmla="*/ 106 w 191"/>
                <a:gd name="T57" fmla="*/ 4 h 123"/>
                <a:gd name="T58" fmla="*/ 119 w 191"/>
                <a:gd name="T59" fmla="*/ 9 h 123"/>
                <a:gd name="T60" fmla="*/ 127 w 191"/>
                <a:gd name="T61" fmla="*/ 15 h 123"/>
                <a:gd name="T62" fmla="*/ 130 w 191"/>
                <a:gd name="T63" fmla="*/ 22 h 123"/>
                <a:gd name="T64" fmla="*/ 133 w 191"/>
                <a:gd name="T65" fmla="*/ 32 h 123"/>
                <a:gd name="T66" fmla="*/ 137 w 191"/>
                <a:gd name="T67" fmla="*/ 43 h 123"/>
                <a:gd name="T68" fmla="*/ 153 w 191"/>
                <a:gd name="T69" fmla="*/ 57 h 123"/>
                <a:gd name="T70" fmla="*/ 159 w 191"/>
                <a:gd name="T71" fmla="*/ 68 h 123"/>
                <a:gd name="T72" fmla="*/ 167 w 191"/>
                <a:gd name="T73" fmla="*/ 79 h 123"/>
                <a:gd name="T74" fmla="*/ 179 w 191"/>
                <a:gd name="T75" fmla="*/ 85 h 123"/>
                <a:gd name="T76" fmla="*/ 189 w 191"/>
                <a:gd name="T77" fmla="*/ 92 h 123"/>
                <a:gd name="T78" fmla="*/ 190 w 191"/>
                <a:gd name="T79" fmla="*/ 103 h 12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91"/>
                <a:gd name="T121" fmla="*/ 0 h 123"/>
                <a:gd name="T122" fmla="*/ 191 w 191"/>
                <a:gd name="T123" fmla="*/ 123 h 12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91" h="123">
                  <a:moveTo>
                    <a:pt x="184" y="110"/>
                  </a:moveTo>
                  <a:lnTo>
                    <a:pt x="182" y="109"/>
                  </a:lnTo>
                  <a:lnTo>
                    <a:pt x="176" y="106"/>
                  </a:lnTo>
                  <a:lnTo>
                    <a:pt x="169" y="106"/>
                  </a:lnTo>
                  <a:lnTo>
                    <a:pt x="163" y="113"/>
                  </a:lnTo>
                  <a:lnTo>
                    <a:pt x="159" y="118"/>
                  </a:lnTo>
                  <a:lnTo>
                    <a:pt x="156" y="120"/>
                  </a:lnTo>
                  <a:lnTo>
                    <a:pt x="152" y="122"/>
                  </a:lnTo>
                  <a:lnTo>
                    <a:pt x="148" y="123"/>
                  </a:lnTo>
                  <a:lnTo>
                    <a:pt x="143" y="123"/>
                  </a:lnTo>
                  <a:lnTo>
                    <a:pt x="138" y="123"/>
                  </a:lnTo>
                  <a:lnTo>
                    <a:pt x="133" y="123"/>
                  </a:lnTo>
                  <a:lnTo>
                    <a:pt x="128" y="123"/>
                  </a:lnTo>
                  <a:lnTo>
                    <a:pt x="123" y="123"/>
                  </a:lnTo>
                  <a:lnTo>
                    <a:pt x="119" y="122"/>
                  </a:lnTo>
                  <a:lnTo>
                    <a:pt x="114" y="121"/>
                  </a:lnTo>
                  <a:lnTo>
                    <a:pt x="110" y="120"/>
                  </a:lnTo>
                  <a:lnTo>
                    <a:pt x="104" y="118"/>
                  </a:lnTo>
                  <a:lnTo>
                    <a:pt x="98" y="117"/>
                  </a:lnTo>
                  <a:lnTo>
                    <a:pt x="91" y="114"/>
                  </a:lnTo>
                  <a:lnTo>
                    <a:pt x="83" y="113"/>
                  </a:lnTo>
                  <a:lnTo>
                    <a:pt x="75" y="112"/>
                  </a:lnTo>
                  <a:lnTo>
                    <a:pt x="69" y="111"/>
                  </a:lnTo>
                  <a:lnTo>
                    <a:pt x="65" y="109"/>
                  </a:lnTo>
                  <a:lnTo>
                    <a:pt x="62" y="106"/>
                  </a:lnTo>
                  <a:lnTo>
                    <a:pt x="59" y="104"/>
                  </a:lnTo>
                  <a:lnTo>
                    <a:pt x="55" y="100"/>
                  </a:lnTo>
                  <a:lnTo>
                    <a:pt x="51" y="97"/>
                  </a:lnTo>
                  <a:lnTo>
                    <a:pt x="44" y="92"/>
                  </a:lnTo>
                  <a:lnTo>
                    <a:pt x="37" y="88"/>
                  </a:lnTo>
                  <a:lnTo>
                    <a:pt x="30" y="84"/>
                  </a:lnTo>
                  <a:lnTo>
                    <a:pt x="24" y="81"/>
                  </a:lnTo>
                  <a:lnTo>
                    <a:pt x="18" y="79"/>
                  </a:lnTo>
                  <a:lnTo>
                    <a:pt x="15" y="77"/>
                  </a:lnTo>
                  <a:lnTo>
                    <a:pt x="12" y="76"/>
                  </a:lnTo>
                  <a:lnTo>
                    <a:pt x="10" y="75"/>
                  </a:lnTo>
                  <a:lnTo>
                    <a:pt x="9" y="75"/>
                  </a:lnTo>
                  <a:lnTo>
                    <a:pt x="7" y="70"/>
                  </a:lnTo>
                  <a:lnTo>
                    <a:pt x="2" y="61"/>
                  </a:lnTo>
                  <a:lnTo>
                    <a:pt x="0" y="50"/>
                  </a:lnTo>
                  <a:lnTo>
                    <a:pt x="6" y="39"/>
                  </a:lnTo>
                  <a:lnTo>
                    <a:pt x="12" y="36"/>
                  </a:lnTo>
                  <a:lnTo>
                    <a:pt x="20" y="34"/>
                  </a:lnTo>
                  <a:lnTo>
                    <a:pt x="28" y="32"/>
                  </a:lnTo>
                  <a:lnTo>
                    <a:pt x="36" y="30"/>
                  </a:lnTo>
                  <a:lnTo>
                    <a:pt x="44" y="29"/>
                  </a:lnTo>
                  <a:lnTo>
                    <a:pt x="52" y="28"/>
                  </a:lnTo>
                  <a:lnTo>
                    <a:pt x="58" y="26"/>
                  </a:lnTo>
                  <a:lnTo>
                    <a:pt x="61" y="22"/>
                  </a:lnTo>
                  <a:lnTo>
                    <a:pt x="63" y="18"/>
                  </a:lnTo>
                  <a:lnTo>
                    <a:pt x="66" y="14"/>
                  </a:lnTo>
                  <a:lnTo>
                    <a:pt x="69" y="9"/>
                  </a:lnTo>
                  <a:lnTo>
                    <a:pt x="71" y="5"/>
                  </a:lnTo>
                  <a:lnTo>
                    <a:pt x="75" y="3"/>
                  </a:lnTo>
                  <a:lnTo>
                    <a:pt x="81" y="0"/>
                  </a:lnTo>
                  <a:lnTo>
                    <a:pt x="88" y="0"/>
                  </a:lnTo>
                  <a:lnTo>
                    <a:pt x="97" y="1"/>
                  </a:lnTo>
                  <a:lnTo>
                    <a:pt x="106" y="4"/>
                  </a:lnTo>
                  <a:lnTo>
                    <a:pt x="113" y="7"/>
                  </a:lnTo>
                  <a:lnTo>
                    <a:pt x="119" y="9"/>
                  </a:lnTo>
                  <a:lnTo>
                    <a:pt x="123" y="12"/>
                  </a:lnTo>
                  <a:lnTo>
                    <a:pt x="127" y="15"/>
                  </a:lnTo>
                  <a:lnTo>
                    <a:pt x="128" y="19"/>
                  </a:lnTo>
                  <a:lnTo>
                    <a:pt x="130" y="22"/>
                  </a:lnTo>
                  <a:lnTo>
                    <a:pt x="131" y="26"/>
                  </a:lnTo>
                  <a:lnTo>
                    <a:pt x="133" y="32"/>
                  </a:lnTo>
                  <a:lnTo>
                    <a:pt x="135" y="37"/>
                  </a:lnTo>
                  <a:lnTo>
                    <a:pt x="137" y="43"/>
                  </a:lnTo>
                  <a:lnTo>
                    <a:pt x="145" y="50"/>
                  </a:lnTo>
                  <a:lnTo>
                    <a:pt x="153" y="57"/>
                  </a:lnTo>
                  <a:lnTo>
                    <a:pt x="157" y="62"/>
                  </a:lnTo>
                  <a:lnTo>
                    <a:pt x="159" y="68"/>
                  </a:lnTo>
                  <a:lnTo>
                    <a:pt x="163" y="75"/>
                  </a:lnTo>
                  <a:lnTo>
                    <a:pt x="167" y="79"/>
                  </a:lnTo>
                  <a:lnTo>
                    <a:pt x="172" y="82"/>
                  </a:lnTo>
                  <a:lnTo>
                    <a:pt x="179" y="85"/>
                  </a:lnTo>
                  <a:lnTo>
                    <a:pt x="184" y="89"/>
                  </a:lnTo>
                  <a:lnTo>
                    <a:pt x="189" y="92"/>
                  </a:lnTo>
                  <a:lnTo>
                    <a:pt x="191" y="97"/>
                  </a:lnTo>
                  <a:lnTo>
                    <a:pt x="190" y="103"/>
                  </a:lnTo>
                  <a:lnTo>
                    <a:pt x="184" y="11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66" name="Freeform 60"/>
            <p:cNvSpPr>
              <a:spLocks/>
            </p:cNvSpPr>
            <p:nvPr/>
          </p:nvSpPr>
          <p:spPr bwMode="gray">
            <a:xfrm>
              <a:off x="4440" y="2999"/>
              <a:ext cx="43" cy="73"/>
            </a:xfrm>
            <a:custGeom>
              <a:avLst/>
              <a:gdLst>
                <a:gd name="T0" fmla="*/ 8 w 39"/>
                <a:gd name="T1" fmla="*/ 0 h 67"/>
                <a:gd name="T2" fmla="*/ 9 w 39"/>
                <a:gd name="T3" fmla="*/ 1 h 67"/>
                <a:gd name="T4" fmla="*/ 11 w 39"/>
                <a:gd name="T5" fmla="*/ 4 h 67"/>
                <a:gd name="T6" fmla="*/ 17 w 39"/>
                <a:gd name="T7" fmla="*/ 9 h 67"/>
                <a:gd name="T8" fmla="*/ 25 w 39"/>
                <a:gd name="T9" fmla="*/ 14 h 67"/>
                <a:gd name="T10" fmla="*/ 33 w 39"/>
                <a:gd name="T11" fmla="*/ 20 h 67"/>
                <a:gd name="T12" fmla="*/ 38 w 39"/>
                <a:gd name="T13" fmla="*/ 29 h 67"/>
                <a:gd name="T14" fmla="*/ 39 w 39"/>
                <a:gd name="T15" fmla="*/ 35 h 67"/>
                <a:gd name="T16" fmla="*/ 39 w 39"/>
                <a:gd name="T17" fmla="*/ 39 h 67"/>
                <a:gd name="T18" fmla="*/ 38 w 39"/>
                <a:gd name="T19" fmla="*/ 44 h 67"/>
                <a:gd name="T20" fmla="*/ 34 w 39"/>
                <a:gd name="T21" fmla="*/ 53 h 67"/>
                <a:gd name="T22" fmla="*/ 29 w 39"/>
                <a:gd name="T23" fmla="*/ 62 h 67"/>
                <a:gd name="T24" fmla="*/ 22 w 39"/>
                <a:gd name="T25" fmla="*/ 67 h 67"/>
                <a:gd name="T26" fmla="*/ 15 w 39"/>
                <a:gd name="T27" fmla="*/ 64 h 67"/>
                <a:gd name="T28" fmla="*/ 9 w 39"/>
                <a:gd name="T29" fmla="*/ 58 h 67"/>
                <a:gd name="T30" fmla="*/ 4 w 39"/>
                <a:gd name="T31" fmla="*/ 50 h 67"/>
                <a:gd name="T32" fmla="*/ 1 w 39"/>
                <a:gd name="T33" fmla="*/ 42 h 67"/>
                <a:gd name="T34" fmla="*/ 0 w 39"/>
                <a:gd name="T35" fmla="*/ 34 h 67"/>
                <a:gd name="T36" fmla="*/ 0 w 39"/>
                <a:gd name="T37" fmla="*/ 26 h 67"/>
                <a:gd name="T38" fmla="*/ 1 w 39"/>
                <a:gd name="T39" fmla="*/ 19 h 67"/>
                <a:gd name="T40" fmla="*/ 1 w 39"/>
                <a:gd name="T41" fmla="*/ 17 h 67"/>
                <a:gd name="T42" fmla="*/ 0 w 39"/>
                <a:gd name="T43" fmla="*/ 15 h 67"/>
                <a:gd name="T44" fmla="*/ 0 w 39"/>
                <a:gd name="T45" fmla="*/ 10 h 67"/>
                <a:gd name="T46" fmla="*/ 1 w 39"/>
                <a:gd name="T47" fmla="*/ 4 h 67"/>
                <a:gd name="T48" fmla="*/ 8 w 39"/>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9"/>
                <a:gd name="T76" fmla="*/ 0 h 67"/>
                <a:gd name="T77" fmla="*/ 39 w 39"/>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9" h="67">
                  <a:moveTo>
                    <a:pt x="8" y="0"/>
                  </a:moveTo>
                  <a:lnTo>
                    <a:pt x="9" y="1"/>
                  </a:lnTo>
                  <a:lnTo>
                    <a:pt x="11" y="4"/>
                  </a:lnTo>
                  <a:lnTo>
                    <a:pt x="17" y="9"/>
                  </a:lnTo>
                  <a:lnTo>
                    <a:pt x="25" y="14"/>
                  </a:lnTo>
                  <a:lnTo>
                    <a:pt x="33" y="20"/>
                  </a:lnTo>
                  <a:lnTo>
                    <a:pt x="38" y="29"/>
                  </a:lnTo>
                  <a:lnTo>
                    <a:pt x="39" y="35"/>
                  </a:lnTo>
                  <a:lnTo>
                    <a:pt x="39" y="39"/>
                  </a:lnTo>
                  <a:lnTo>
                    <a:pt x="38" y="44"/>
                  </a:lnTo>
                  <a:lnTo>
                    <a:pt x="34" y="53"/>
                  </a:lnTo>
                  <a:lnTo>
                    <a:pt x="29" y="62"/>
                  </a:lnTo>
                  <a:lnTo>
                    <a:pt x="22" y="67"/>
                  </a:lnTo>
                  <a:lnTo>
                    <a:pt x="15" y="64"/>
                  </a:lnTo>
                  <a:lnTo>
                    <a:pt x="9" y="58"/>
                  </a:lnTo>
                  <a:lnTo>
                    <a:pt x="4" y="50"/>
                  </a:lnTo>
                  <a:lnTo>
                    <a:pt x="1" y="42"/>
                  </a:lnTo>
                  <a:lnTo>
                    <a:pt x="0" y="34"/>
                  </a:lnTo>
                  <a:lnTo>
                    <a:pt x="0" y="26"/>
                  </a:lnTo>
                  <a:lnTo>
                    <a:pt x="1" y="19"/>
                  </a:lnTo>
                  <a:lnTo>
                    <a:pt x="1" y="17"/>
                  </a:lnTo>
                  <a:lnTo>
                    <a:pt x="0" y="15"/>
                  </a:lnTo>
                  <a:lnTo>
                    <a:pt x="0" y="10"/>
                  </a:lnTo>
                  <a:lnTo>
                    <a:pt x="1" y="4"/>
                  </a:lnTo>
                  <a:lnTo>
                    <a:pt x="8"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67" name="Freeform 61"/>
            <p:cNvSpPr>
              <a:spLocks/>
            </p:cNvSpPr>
            <p:nvPr/>
          </p:nvSpPr>
          <p:spPr bwMode="gray">
            <a:xfrm>
              <a:off x="3831" y="2452"/>
              <a:ext cx="76" cy="96"/>
            </a:xfrm>
            <a:custGeom>
              <a:avLst/>
              <a:gdLst>
                <a:gd name="T0" fmla="*/ 58 w 69"/>
                <a:gd name="T1" fmla="*/ 26 h 87"/>
                <a:gd name="T2" fmla="*/ 61 w 69"/>
                <a:gd name="T3" fmla="*/ 30 h 87"/>
                <a:gd name="T4" fmla="*/ 67 w 69"/>
                <a:gd name="T5" fmla="*/ 39 h 87"/>
                <a:gd name="T6" fmla="*/ 69 w 69"/>
                <a:gd name="T7" fmla="*/ 49 h 87"/>
                <a:gd name="T8" fmla="*/ 65 w 69"/>
                <a:gd name="T9" fmla="*/ 59 h 87"/>
                <a:gd name="T10" fmla="*/ 58 w 69"/>
                <a:gd name="T11" fmla="*/ 66 h 87"/>
                <a:gd name="T12" fmla="*/ 54 w 69"/>
                <a:gd name="T13" fmla="*/ 70 h 87"/>
                <a:gd name="T14" fmla="*/ 54 w 69"/>
                <a:gd name="T15" fmla="*/ 76 h 87"/>
                <a:gd name="T16" fmla="*/ 54 w 69"/>
                <a:gd name="T17" fmla="*/ 83 h 87"/>
                <a:gd name="T18" fmla="*/ 53 w 69"/>
                <a:gd name="T19" fmla="*/ 87 h 87"/>
                <a:gd name="T20" fmla="*/ 51 w 69"/>
                <a:gd name="T21" fmla="*/ 87 h 87"/>
                <a:gd name="T22" fmla="*/ 44 w 69"/>
                <a:gd name="T23" fmla="*/ 83 h 87"/>
                <a:gd name="T24" fmla="*/ 32 w 69"/>
                <a:gd name="T25" fmla="*/ 73 h 87"/>
                <a:gd name="T26" fmla="*/ 21 w 69"/>
                <a:gd name="T27" fmla="*/ 63 h 87"/>
                <a:gd name="T28" fmla="*/ 14 w 69"/>
                <a:gd name="T29" fmla="*/ 59 h 87"/>
                <a:gd name="T30" fmla="*/ 8 w 69"/>
                <a:gd name="T31" fmla="*/ 54 h 87"/>
                <a:gd name="T32" fmla="*/ 5 w 69"/>
                <a:gd name="T33" fmla="*/ 45 h 87"/>
                <a:gd name="T34" fmla="*/ 1 w 69"/>
                <a:gd name="T35" fmla="*/ 32 h 87"/>
                <a:gd name="T36" fmla="*/ 0 w 69"/>
                <a:gd name="T37" fmla="*/ 21 h 87"/>
                <a:gd name="T38" fmla="*/ 0 w 69"/>
                <a:gd name="T39" fmla="*/ 13 h 87"/>
                <a:gd name="T40" fmla="*/ 5 w 69"/>
                <a:gd name="T41" fmla="*/ 6 h 87"/>
                <a:gd name="T42" fmla="*/ 12 w 69"/>
                <a:gd name="T43" fmla="*/ 1 h 87"/>
                <a:gd name="T44" fmla="*/ 17 w 69"/>
                <a:gd name="T45" fmla="*/ 0 h 87"/>
                <a:gd name="T46" fmla="*/ 22 w 69"/>
                <a:gd name="T47" fmla="*/ 3 h 87"/>
                <a:gd name="T48" fmla="*/ 26 w 69"/>
                <a:gd name="T49" fmla="*/ 13 h 87"/>
                <a:gd name="T50" fmla="*/ 32 w 69"/>
                <a:gd name="T51" fmla="*/ 22 h 87"/>
                <a:gd name="T52" fmla="*/ 43 w 69"/>
                <a:gd name="T53" fmla="*/ 26 h 87"/>
                <a:gd name="T54" fmla="*/ 53 w 69"/>
                <a:gd name="T55" fmla="*/ 26 h 87"/>
                <a:gd name="T56" fmla="*/ 58 w 69"/>
                <a:gd name="T57" fmla="*/ 26 h 8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9"/>
                <a:gd name="T88" fmla="*/ 0 h 87"/>
                <a:gd name="T89" fmla="*/ 69 w 69"/>
                <a:gd name="T90" fmla="*/ 87 h 8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9" h="87">
                  <a:moveTo>
                    <a:pt x="58" y="26"/>
                  </a:moveTo>
                  <a:lnTo>
                    <a:pt x="61" y="30"/>
                  </a:lnTo>
                  <a:lnTo>
                    <a:pt x="67" y="39"/>
                  </a:lnTo>
                  <a:lnTo>
                    <a:pt x="69" y="49"/>
                  </a:lnTo>
                  <a:lnTo>
                    <a:pt x="65" y="59"/>
                  </a:lnTo>
                  <a:lnTo>
                    <a:pt x="58" y="66"/>
                  </a:lnTo>
                  <a:lnTo>
                    <a:pt x="54" y="70"/>
                  </a:lnTo>
                  <a:lnTo>
                    <a:pt x="54" y="76"/>
                  </a:lnTo>
                  <a:lnTo>
                    <a:pt x="54" y="83"/>
                  </a:lnTo>
                  <a:lnTo>
                    <a:pt x="53" y="87"/>
                  </a:lnTo>
                  <a:lnTo>
                    <a:pt x="51" y="87"/>
                  </a:lnTo>
                  <a:lnTo>
                    <a:pt x="44" y="83"/>
                  </a:lnTo>
                  <a:lnTo>
                    <a:pt x="32" y="73"/>
                  </a:lnTo>
                  <a:lnTo>
                    <a:pt x="21" y="63"/>
                  </a:lnTo>
                  <a:lnTo>
                    <a:pt x="14" y="59"/>
                  </a:lnTo>
                  <a:lnTo>
                    <a:pt x="8" y="54"/>
                  </a:lnTo>
                  <a:lnTo>
                    <a:pt x="5" y="45"/>
                  </a:lnTo>
                  <a:lnTo>
                    <a:pt x="1" y="32"/>
                  </a:lnTo>
                  <a:lnTo>
                    <a:pt x="0" y="21"/>
                  </a:lnTo>
                  <a:lnTo>
                    <a:pt x="0" y="13"/>
                  </a:lnTo>
                  <a:lnTo>
                    <a:pt x="5" y="6"/>
                  </a:lnTo>
                  <a:lnTo>
                    <a:pt x="12" y="1"/>
                  </a:lnTo>
                  <a:lnTo>
                    <a:pt x="17" y="0"/>
                  </a:lnTo>
                  <a:lnTo>
                    <a:pt x="22" y="3"/>
                  </a:lnTo>
                  <a:lnTo>
                    <a:pt x="26" y="13"/>
                  </a:lnTo>
                  <a:lnTo>
                    <a:pt x="32" y="22"/>
                  </a:lnTo>
                  <a:lnTo>
                    <a:pt x="43" y="26"/>
                  </a:lnTo>
                  <a:lnTo>
                    <a:pt x="53" y="26"/>
                  </a:lnTo>
                  <a:lnTo>
                    <a:pt x="58" y="26"/>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68" name="Freeform 62"/>
            <p:cNvSpPr>
              <a:spLocks/>
            </p:cNvSpPr>
            <p:nvPr/>
          </p:nvSpPr>
          <p:spPr bwMode="gray">
            <a:xfrm>
              <a:off x="3763" y="2277"/>
              <a:ext cx="127" cy="129"/>
            </a:xfrm>
            <a:custGeom>
              <a:avLst/>
              <a:gdLst>
                <a:gd name="T0" fmla="*/ 88 w 115"/>
                <a:gd name="T1" fmla="*/ 68 h 117"/>
                <a:gd name="T2" fmla="*/ 92 w 115"/>
                <a:gd name="T3" fmla="*/ 70 h 117"/>
                <a:gd name="T4" fmla="*/ 98 w 115"/>
                <a:gd name="T5" fmla="*/ 74 h 117"/>
                <a:gd name="T6" fmla="*/ 103 w 115"/>
                <a:gd name="T7" fmla="*/ 79 h 117"/>
                <a:gd name="T8" fmla="*/ 108 w 115"/>
                <a:gd name="T9" fmla="*/ 85 h 117"/>
                <a:gd name="T10" fmla="*/ 112 w 115"/>
                <a:gd name="T11" fmla="*/ 91 h 117"/>
                <a:gd name="T12" fmla="*/ 115 w 115"/>
                <a:gd name="T13" fmla="*/ 97 h 117"/>
                <a:gd name="T14" fmla="*/ 115 w 115"/>
                <a:gd name="T15" fmla="*/ 102 h 117"/>
                <a:gd name="T16" fmla="*/ 113 w 115"/>
                <a:gd name="T17" fmla="*/ 107 h 117"/>
                <a:gd name="T18" fmla="*/ 106 w 115"/>
                <a:gd name="T19" fmla="*/ 114 h 117"/>
                <a:gd name="T20" fmla="*/ 99 w 115"/>
                <a:gd name="T21" fmla="*/ 117 h 117"/>
                <a:gd name="T22" fmla="*/ 93 w 115"/>
                <a:gd name="T23" fmla="*/ 117 h 117"/>
                <a:gd name="T24" fmla="*/ 84 w 115"/>
                <a:gd name="T25" fmla="*/ 114 h 117"/>
                <a:gd name="T26" fmla="*/ 79 w 115"/>
                <a:gd name="T27" fmla="*/ 112 h 117"/>
                <a:gd name="T28" fmla="*/ 75 w 115"/>
                <a:gd name="T29" fmla="*/ 112 h 117"/>
                <a:gd name="T30" fmla="*/ 70 w 115"/>
                <a:gd name="T31" fmla="*/ 112 h 117"/>
                <a:gd name="T32" fmla="*/ 67 w 115"/>
                <a:gd name="T33" fmla="*/ 112 h 117"/>
                <a:gd name="T34" fmla="*/ 63 w 115"/>
                <a:gd name="T35" fmla="*/ 112 h 117"/>
                <a:gd name="T36" fmla="*/ 59 w 115"/>
                <a:gd name="T37" fmla="*/ 112 h 117"/>
                <a:gd name="T38" fmla="*/ 54 w 115"/>
                <a:gd name="T39" fmla="*/ 110 h 117"/>
                <a:gd name="T40" fmla="*/ 50 w 115"/>
                <a:gd name="T41" fmla="*/ 107 h 117"/>
                <a:gd name="T42" fmla="*/ 41 w 115"/>
                <a:gd name="T43" fmla="*/ 101 h 117"/>
                <a:gd name="T44" fmla="*/ 39 w 115"/>
                <a:gd name="T45" fmla="*/ 98 h 117"/>
                <a:gd name="T46" fmla="*/ 37 w 115"/>
                <a:gd name="T47" fmla="*/ 92 h 117"/>
                <a:gd name="T48" fmla="*/ 36 w 115"/>
                <a:gd name="T49" fmla="*/ 82 h 117"/>
                <a:gd name="T50" fmla="*/ 32 w 115"/>
                <a:gd name="T51" fmla="*/ 69 h 117"/>
                <a:gd name="T52" fmla="*/ 28 w 115"/>
                <a:gd name="T53" fmla="*/ 61 h 117"/>
                <a:gd name="T54" fmla="*/ 23 w 115"/>
                <a:gd name="T55" fmla="*/ 57 h 117"/>
                <a:gd name="T56" fmla="*/ 22 w 115"/>
                <a:gd name="T57" fmla="*/ 64 h 117"/>
                <a:gd name="T58" fmla="*/ 25 w 115"/>
                <a:gd name="T59" fmla="*/ 74 h 117"/>
                <a:gd name="T60" fmla="*/ 30 w 115"/>
                <a:gd name="T61" fmla="*/ 78 h 117"/>
                <a:gd name="T62" fmla="*/ 31 w 115"/>
                <a:gd name="T63" fmla="*/ 79 h 117"/>
                <a:gd name="T64" fmla="*/ 22 w 115"/>
                <a:gd name="T65" fmla="*/ 82 h 117"/>
                <a:gd name="T66" fmla="*/ 9 w 115"/>
                <a:gd name="T67" fmla="*/ 83 h 117"/>
                <a:gd name="T68" fmla="*/ 2 w 115"/>
                <a:gd name="T69" fmla="*/ 80 h 117"/>
                <a:gd name="T70" fmla="*/ 0 w 115"/>
                <a:gd name="T71" fmla="*/ 75 h 117"/>
                <a:gd name="T72" fmla="*/ 0 w 115"/>
                <a:gd name="T73" fmla="*/ 64 h 117"/>
                <a:gd name="T74" fmla="*/ 3 w 115"/>
                <a:gd name="T75" fmla="*/ 53 h 117"/>
                <a:gd name="T76" fmla="*/ 9 w 115"/>
                <a:gd name="T77" fmla="*/ 41 h 117"/>
                <a:gd name="T78" fmla="*/ 16 w 115"/>
                <a:gd name="T79" fmla="*/ 34 h 117"/>
                <a:gd name="T80" fmla="*/ 18 w 115"/>
                <a:gd name="T81" fmla="*/ 31 h 117"/>
                <a:gd name="T82" fmla="*/ 21 w 115"/>
                <a:gd name="T83" fmla="*/ 34 h 117"/>
                <a:gd name="T84" fmla="*/ 28 w 115"/>
                <a:gd name="T85" fmla="*/ 40 h 117"/>
                <a:gd name="T86" fmla="*/ 35 w 115"/>
                <a:gd name="T87" fmla="*/ 44 h 117"/>
                <a:gd name="T88" fmla="*/ 39 w 115"/>
                <a:gd name="T89" fmla="*/ 38 h 117"/>
                <a:gd name="T90" fmla="*/ 43 w 115"/>
                <a:gd name="T91" fmla="*/ 25 h 117"/>
                <a:gd name="T92" fmla="*/ 47 w 115"/>
                <a:gd name="T93" fmla="*/ 13 h 117"/>
                <a:gd name="T94" fmla="*/ 52 w 115"/>
                <a:gd name="T95" fmla="*/ 3 h 117"/>
                <a:gd name="T96" fmla="*/ 53 w 115"/>
                <a:gd name="T97" fmla="*/ 0 h 117"/>
                <a:gd name="T98" fmla="*/ 55 w 115"/>
                <a:gd name="T99" fmla="*/ 4 h 117"/>
                <a:gd name="T100" fmla="*/ 60 w 115"/>
                <a:gd name="T101" fmla="*/ 17 h 117"/>
                <a:gd name="T102" fmla="*/ 65 w 115"/>
                <a:gd name="T103" fmla="*/ 32 h 117"/>
                <a:gd name="T104" fmla="*/ 67 w 115"/>
                <a:gd name="T105" fmla="*/ 45 h 117"/>
                <a:gd name="T106" fmla="*/ 70 w 115"/>
                <a:gd name="T107" fmla="*/ 54 h 117"/>
                <a:gd name="T108" fmla="*/ 77 w 115"/>
                <a:gd name="T109" fmla="*/ 61 h 117"/>
                <a:gd name="T110" fmla="*/ 84 w 115"/>
                <a:gd name="T111" fmla="*/ 65 h 117"/>
                <a:gd name="T112" fmla="*/ 88 w 115"/>
                <a:gd name="T113" fmla="*/ 68 h 11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5"/>
                <a:gd name="T172" fmla="*/ 0 h 117"/>
                <a:gd name="T173" fmla="*/ 115 w 115"/>
                <a:gd name="T174" fmla="*/ 117 h 11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5" h="117">
                  <a:moveTo>
                    <a:pt x="88" y="68"/>
                  </a:moveTo>
                  <a:lnTo>
                    <a:pt x="92" y="70"/>
                  </a:lnTo>
                  <a:lnTo>
                    <a:pt x="98" y="74"/>
                  </a:lnTo>
                  <a:lnTo>
                    <a:pt x="103" y="79"/>
                  </a:lnTo>
                  <a:lnTo>
                    <a:pt x="108" y="85"/>
                  </a:lnTo>
                  <a:lnTo>
                    <a:pt x="112" y="91"/>
                  </a:lnTo>
                  <a:lnTo>
                    <a:pt x="115" y="97"/>
                  </a:lnTo>
                  <a:lnTo>
                    <a:pt x="115" y="102"/>
                  </a:lnTo>
                  <a:lnTo>
                    <a:pt x="113" y="107"/>
                  </a:lnTo>
                  <a:lnTo>
                    <a:pt x="106" y="114"/>
                  </a:lnTo>
                  <a:lnTo>
                    <a:pt x="99" y="117"/>
                  </a:lnTo>
                  <a:lnTo>
                    <a:pt x="93" y="117"/>
                  </a:lnTo>
                  <a:lnTo>
                    <a:pt x="84" y="114"/>
                  </a:lnTo>
                  <a:lnTo>
                    <a:pt x="79" y="112"/>
                  </a:lnTo>
                  <a:lnTo>
                    <a:pt x="75" y="112"/>
                  </a:lnTo>
                  <a:lnTo>
                    <a:pt x="70" y="112"/>
                  </a:lnTo>
                  <a:lnTo>
                    <a:pt x="67" y="112"/>
                  </a:lnTo>
                  <a:lnTo>
                    <a:pt x="63" y="112"/>
                  </a:lnTo>
                  <a:lnTo>
                    <a:pt x="59" y="112"/>
                  </a:lnTo>
                  <a:lnTo>
                    <a:pt x="54" y="110"/>
                  </a:lnTo>
                  <a:lnTo>
                    <a:pt x="50" y="107"/>
                  </a:lnTo>
                  <a:lnTo>
                    <a:pt x="41" y="101"/>
                  </a:lnTo>
                  <a:lnTo>
                    <a:pt x="39" y="98"/>
                  </a:lnTo>
                  <a:lnTo>
                    <a:pt x="37" y="92"/>
                  </a:lnTo>
                  <a:lnTo>
                    <a:pt x="36" y="82"/>
                  </a:lnTo>
                  <a:lnTo>
                    <a:pt x="32" y="69"/>
                  </a:lnTo>
                  <a:lnTo>
                    <a:pt x="28" y="61"/>
                  </a:lnTo>
                  <a:lnTo>
                    <a:pt x="23" y="57"/>
                  </a:lnTo>
                  <a:lnTo>
                    <a:pt x="22" y="64"/>
                  </a:lnTo>
                  <a:lnTo>
                    <a:pt x="25" y="74"/>
                  </a:lnTo>
                  <a:lnTo>
                    <a:pt x="30" y="78"/>
                  </a:lnTo>
                  <a:lnTo>
                    <a:pt x="31" y="79"/>
                  </a:lnTo>
                  <a:lnTo>
                    <a:pt x="22" y="82"/>
                  </a:lnTo>
                  <a:lnTo>
                    <a:pt x="9" y="83"/>
                  </a:lnTo>
                  <a:lnTo>
                    <a:pt x="2" y="80"/>
                  </a:lnTo>
                  <a:lnTo>
                    <a:pt x="0" y="75"/>
                  </a:lnTo>
                  <a:lnTo>
                    <a:pt x="0" y="64"/>
                  </a:lnTo>
                  <a:lnTo>
                    <a:pt x="3" y="53"/>
                  </a:lnTo>
                  <a:lnTo>
                    <a:pt x="9" y="41"/>
                  </a:lnTo>
                  <a:lnTo>
                    <a:pt x="16" y="34"/>
                  </a:lnTo>
                  <a:lnTo>
                    <a:pt x="18" y="31"/>
                  </a:lnTo>
                  <a:lnTo>
                    <a:pt x="21" y="34"/>
                  </a:lnTo>
                  <a:lnTo>
                    <a:pt x="28" y="40"/>
                  </a:lnTo>
                  <a:lnTo>
                    <a:pt x="35" y="44"/>
                  </a:lnTo>
                  <a:lnTo>
                    <a:pt x="39" y="38"/>
                  </a:lnTo>
                  <a:lnTo>
                    <a:pt x="43" y="25"/>
                  </a:lnTo>
                  <a:lnTo>
                    <a:pt x="47" y="13"/>
                  </a:lnTo>
                  <a:lnTo>
                    <a:pt x="52" y="3"/>
                  </a:lnTo>
                  <a:lnTo>
                    <a:pt x="53" y="0"/>
                  </a:lnTo>
                  <a:lnTo>
                    <a:pt x="55" y="4"/>
                  </a:lnTo>
                  <a:lnTo>
                    <a:pt x="60" y="17"/>
                  </a:lnTo>
                  <a:lnTo>
                    <a:pt x="65" y="32"/>
                  </a:lnTo>
                  <a:lnTo>
                    <a:pt x="67" y="45"/>
                  </a:lnTo>
                  <a:lnTo>
                    <a:pt x="70" y="54"/>
                  </a:lnTo>
                  <a:lnTo>
                    <a:pt x="77" y="61"/>
                  </a:lnTo>
                  <a:lnTo>
                    <a:pt x="84" y="65"/>
                  </a:lnTo>
                  <a:lnTo>
                    <a:pt x="88" y="68"/>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69" name="Freeform 63"/>
            <p:cNvSpPr>
              <a:spLocks/>
            </p:cNvSpPr>
            <p:nvPr/>
          </p:nvSpPr>
          <p:spPr bwMode="gray">
            <a:xfrm>
              <a:off x="3824" y="2145"/>
              <a:ext cx="59" cy="81"/>
            </a:xfrm>
            <a:custGeom>
              <a:avLst/>
              <a:gdLst>
                <a:gd name="T0" fmla="*/ 46 w 56"/>
                <a:gd name="T1" fmla="*/ 68 h 75"/>
                <a:gd name="T2" fmla="*/ 22 w 56"/>
                <a:gd name="T3" fmla="*/ 75 h 75"/>
                <a:gd name="T4" fmla="*/ 21 w 56"/>
                <a:gd name="T5" fmla="*/ 74 h 75"/>
                <a:gd name="T6" fmla="*/ 19 w 56"/>
                <a:gd name="T7" fmla="*/ 71 h 75"/>
                <a:gd name="T8" fmla="*/ 15 w 56"/>
                <a:gd name="T9" fmla="*/ 69 h 75"/>
                <a:gd name="T10" fmla="*/ 8 w 56"/>
                <a:gd name="T11" fmla="*/ 68 h 75"/>
                <a:gd name="T12" fmla="*/ 3 w 56"/>
                <a:gd name="T13" fmla="*/ 67 h 75"/>
                <a:gd name="T14" fmla="*/ 0 w 56"/>
                <a:gd name="T15" fmla="*/ 64 h 75"/>
                <a:gd name="T16" fmla="*/ 1 w 56"/>
                <a:gd name="T17" fmla="*/ 57 h 75"/>
                <a:gd name="T18" fmla="*/ 5 w 56"/>
                <a:gd name="T19" fmla="*/ 47 h 75"/>
                <a:gd name="T20" fmla="*/ 11 w 56"/>
                <a:gd name="T21" fmla="*/ 33 h 75"/>
                <a:gd name="T22" fmla="*/ 16 w 56"/>
                <a:gd name="T23" fmla="*/ 19 h 75"/>
                <a:gd name="T24" fmla="*/ 21 w 56"/>
                <a:gd name="T25" fmla="*/ 9 h 75"/>
                <a:gd name="T26" fmla="*/ 22 w 56"/>
                <a:gd name="T27" fmla="*/ 4 h 75"/>
                <a:gd name="T28" fmla="*/ 23 w 56"/>
                <a:gd name="T29" fmla="*/ 2 h 75"/>
                <a:gd name="T30" fmla="*/ 28 w 56"/>
                <a:gd name="T31" fmla="*/ 0 h 75"/>
                <a:gd name="T32" fmla="*/ 33 w 56"/>
                <a:gd name="T33" fmla="*/ 1 h 75"/>
                <a:gd name="T34" fmla="*/ 36 w 56"/>
                <a:gd name="T35" fmla="*/ 11 h 75"/>
                <a:gd name="T36" fmla="*/ 38 w 56"/>
                <a:gd name="T37" fmla="*/ 19 h 75"/>
                <a:gd name="T38" fmla="*/ 43 w 56"/>
                <a:gd name="T39" fmla="*/ 29 h 75"/>
                <a:gd name="T40" fmla="*/ 48 w 56"/>
                <a:gd name="T41" fmla="*/ 37 h 75"/>
                <a:gd name="T42" fmla="*/ 52 w 56"/>
                <a:gd name="T43" fmla="*/ 45 h 75"/>
                <a:gd name="T44" fmla="*/ 56 w 56"/>
                <a:gd name="T45" fmla="*/ 53 h 75"/>
                <a:gd name="T46" fmla="*/ 56 w 56"/>
                <a:gd name="T47" fmla="*/ 59 h 75"/>
                <a:gd name="T48" fmla="*/ 53 w 56"/>
                <a:gd name="T49" fmla="*/ 64 h 75"/>
                <a:gd name="T50" fmla="*/ 46 w 56"/>
                <a:gd name="T51" fmla="*/ 68 h 7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6"/>
                <a:gd name="T79" fmla="*/ 0 h 75"/>
                <a:gd name="T80" fmla="*/ 56 w 56"/>
                <a:gd name="T81" fmla="*/ 75 h 7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6" h="75">
                  <a:moveTo>
                    <a:pt x="46" y="68"/>
                  </a:moveTo>
                  <a:lnTo>
                    <a:pt x="22" y="75"/>
                  </a:lnTo>
                  <a:lnTo>
                    <a:pt x="21" y="74"/>
                  </a:lnTo>
                  <a:lnTo>
                    <a:pt x="19" y="71"/>
                  </a:lnTo>
                  <a:lnTo>
                    <a:pt x="15" y="69"/>
                  </a:lnTo>
                  <a:lnTo>
                    <a:pt x="8" y="68"/>
                  </a:lnTo>
                  <a:lnTo>
                    <a:pt x="3" y="67"/>
                  </a:lnTo>
                  <a:lnTo>
                    <a:pt x="0" y="64"/>
                  </a:lnTo>
                  <a:lnTo>
                    <a:pt x="1" y="57"/>
                  </a:lnTo>
                  <a:lnTo>
                    <a:pt x="5" y="47"/>
                  </a:lnTo>
                  <a:lnTo>
                    <a:pt x="11" y="33"/>
                  </a:lnTo>
                  <a:lnTo>
                    <a:pt x="16" y="19"/>
                  </a:lnTo>
                  <a:lnTo>
                    <a:pt x="21" y="9"/>
                  </a:lnTo>
                  <a:lnTo>
                    <a:pt x="22" y="4"/>
                  </a:lnTo>
                  <a:lnTo>
                    <a:pt x="23" y="2"/>
                  </a:lnTo>
                  <a:lnTo>
                    <a:pt x="28" y="0"/>
                  </a:lnTo>
                  <a:lnTo>
                    <a:pt x="33" y="1"/>
                  </a:lnTo>
                  <a:lnTo>
                    <a:pt x="36" y="11"/>
                  </a:lnTo>
                  <a:lnTo>
                    <a:pt x="38" y="19"/>
                  </a:lnTo>
                  <a:lnTo>
                    <a:pt x="43" y="29"/>
                  </a:lnTo>
                  <a:lnTo>
                    <a:pt x="48" y="37"/>
                  </a:lnTo>
                  <a:lnTo>
                    <a:pt x="52" y="45"/>
                  </a:lnTo>
                  <a:lnTo>
                    <a:pt x="56" y="53"/>
                  </a:lnTo>
                  <a:lnTo>
                    <a:pt x="56" y="59"/>
                  </a:lnTo>
                  <a:lnTo>
                    <a:pt x="53" y="64"/>
                  </a:lnTo>
                  <a:lnTo>
                    <a:pt x="46" y="68"/>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70" name="Freeform 64"/>
            <p:cNvSpPr>
              <a:spLocks/>
            </p:cNvSpPr>
            <p:nvPr/>
          </p:nvSpPr>
          <p:spPr bwMode="gray">
            <a:xfrm>
              <a:off x="3598" y="1803"/>
              <a:ext cx="119" cy="156"/>
            </a:xfrm>
            <a:custGeom>
              <a:avLst/>
              <a:gdLst>
                <a:gd name="T0" fmla="*/ 109 w 109"/>
                <a:gd name="T1" fmla="*/ 139 h 142"/>
                <a:gd name="T2" fmla="*/ 102 w 109"/>
                <a:gd name="T3" fmla="*/ 142 h 142"/>
                <a:gd name="T4" fmla="*/ 80 w 109"/>
                <a:gd name="T5" fmla="*/ 130 h 142"/>
                <a:gd name="T6" fmla="*/ 69 w 109"/>
                <a:gd name="T7" fmla="*/ 127 h 142"/>
                <a:gd name="T8" fmla="*/ 64 w 109"/>
                <a:gd name="T9" fmla="*/ 124 h 142"/>
                <a:gd name="T10" fmla="*/ 57 w 109"/>
                <a:gd name="T11" fmla="*/ 117 h 142"/>
                <a:gd name="T12" fmla="*/ 46 w 109"/>
                <a:gd name="T13" fmla="*/ 95 h 142"/>
                <a:gd name="T14" fmla="*/ 43 w 109"/>
                <a:gd name="T15" fmla="*/ 82 h 142"/>
                <a:gd name="T16" fmla="*/ 28 w 109"/>
                <a:gd name="T17" fmla="*/ 70 h 142"/>
                <a:gd name="T18" fmla="*/ 15 w 109"/>
                <a:gd name="T19" fmla="*/ 61 h 142"/>
                <a:gd name="T20" fmla="*/ 5 w 109"/>
                <a:gd name="T21" fmla="*/ 49 h 142"/>
                <a:gd name="T22" fmla="*/ 0 w 109"/>
                <a:gd name="T23" fmla="*/ 37 h 142"/>
                <a:gd name="T24" fmla="*/ 3 w 109"/>
                <a:gd name="T25" fmla="*/ 16 h 142"/>
                <a:gd name="T26" fmla="*/ 11 w 109"/>
                <a:gd name="T27" fmla="*/ 0 h 142"/>
                <a:gd name="T28" fmla="*/ 34 w 109"/>
                <a:gd name="T29" fmla="*/ 3 h 142"/>
                <a:gd name="T30" fmla="*/ 51 w 109"/>
                <a:gd name="T31" fmla="*/ 3 h 142"/>
                <a:gd name="T32" fmla="*/ 65 w 109"/>
                <a:gd name="T33" fmla="*/ 3 h 142"/>
                <a:gd name="T34" fmla="*/ 73 w 109"/>
                <a:gd name="T35" fmla="*/ 7 h 142"/>
                <a:gd name="T36" fmla="*/ 75 w 109"/>
                <a:gd name="T37" fmla="*/ 21 h 142"/>
                <a:gd name="T38" fmla="*/ 74 w 109"/>
                <a:gd name="T39" fmla="*/ 34 h 142"/>
                <a:gd name="T40" fmla="*/ 61 w 109"/>
                <a:gd name="T41" fmla="*/ 37 h 142"/>
                <a:gd name="T42" fmla="*/ 47 w 109"/>
                <a:gd name="T43" fmla="*/ 37 h 142"/>
                <a:gd name="T44" fmla="*/ 37 w 109"/>
                <a:gd name="T45" fmla="*/ 39 h 142"/>
                <a:gd name="T46" fmla="*/ 35 w 109"/>
                <a:gd name="T47" fmla="*/ 45 h 142"/>
                <a:gd name="T48" fmla="*/ 49 w 109"/>
                <a:gd name="T49" fmla="*/ 57 h 142"/>
                <a:gd name="T50" fmla="*/ 66 w 109"/>
                <a:gd name="T51" fmla="*/ 59 h 142"/>
                <a:gd name="T52" fmla="*/ 65 w 109"/>
                <a:gd name="T53" fmla="*/ 81 h 142"/>
                <a:gd name="T54" fmla="*/ 65 w 109"/>
                <a:gd name="T55" fmla="*/ 97 h 142"/>
                <a:gd name="T56" fmla="*/ 75 w 109"/>
                <a:gd name="T57" fmla="*/ 106 h 142"/>
                <a:gd name="T58" fmla="*/ 87 w 109"/>
                <a:gd name="T59" fmla="*/ 113 h 142"/>
                <a:gd name="T60" fmla="*/ 99 w 109"/>
                <a:gd name="T61" fmla="*/ 122 h 142"/>
                <a:gd name="T62" fmla="*/ 107 w 109"/>
                <a:gd name="T63" fmla="*/ 132 h 14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9"/>
                <a:gd name="T97" fmla="*/ 0 h 142"/>
                <a:gd name="T98" fmla="*/ 109 w 109"/>
                <a:gd name="T99" fmla="*/ 142 h 14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9" h="142">
                  <a:moveTo>
                    <a:pt x="109" y="138"/>
                  </a:moveTo>
                  <a:lnTo>
                    <a:pt x="109" y="139"/>
                  </a:lnTo>
                  <a:lnTo>
                    <a:pt x="107" y="142"/>
                  </a:lnTo>
                  <a:lnTo>
                    <a:pt x="102" y="142"/>
                  </a:lnTo>
                  <a:lnTo>
                    <a:pt x="88" y="135"/>
                  </a:lnTo>
                  <a:lnTo>
                    <a:pt x="80" y="130"/>
                  </a:lnTo>
                  <a:lnTo>
                    <a:pt x="74" y="128"/>
                  </a:lnTo>
                  <a:lnTo>
                    <a:pt x="69" y="127"/>
                  </a:lnTo>
                  <a:lnTo>
                    <a:pt x="67" y="125"/>
                  </a:lnTo>
                  <a:lnTo>
                    <a:pt x="64" y="124"/>
                  </a:lnTo>
                  <a:lnTo>
                    <a:pt x="60" y="122"/>
                  </a:lnTo>
                  <a:lnTo>
                    <a:pt x="57" y="117"/>
                  </a:lnTo>
                  <a:lnTo>
                    <a:pt x="52" y="109"/>
                  </a:lnTo>
                  <a:lnTo>
                    <a:pt x="46" y="95"/>
                  </a:lnTo>
                  <a:lnTo>
                    <a:pt x="45" y="86"/>
                  </a:lnTo>
                  <a:lnTo>
                    <a:pt x="43" y="82"/>
                  </a:lnTo>
                  <a:lnTo>
                    <a:pt x="35" y="75"/>
                  </a:lnTo>
                  <a:lnTo>
                    <a:pt x="28" y="70"/>
                  </a:lnTo>
                  <a:lnTo>
                    <a:pt x="22" y="66"/>
                  </a:lnTo>
                  <a:lnTo>
                    <a:pt x="15" y="61"/>
                  </a:lnTo>
                  <a:lnTo>
                    <a:pt x="9" y="55"/>
                  </a:lnTo>
                  <a:lnTo>
                    <a:pt x="5" y="49"/>
                  </a:lnTo>
                  <a:lnTo>
                    <a:pt x="1" y="42"/>
                  </a:lnTo>
                  <a:lnTo>
                    <a:pt x="0" y="37"/>
                  </a:lnTo>
                  <a:lnTo>
                    <a:pt x="0" y="30"/>
                  </a:lnTo>
                  <a:lnTo>
                    <a:pt x="3" y="16"/>
                  </a:lnTo>
                  <a:lnTo>
                    <a:pt x="5" y="6"/>
                  </a:lnTo>
                  <a:lnTo>
                    <a:pt x="11" y="0"/>
                  </a:lnTo>
                  <a:lnTo>
                    <a:pt x="24" y="1"/>
                  </a:lnTo>
                  <a:lnTo>
                    <a:pt x="34" y="3"/>
                  </a:lnTo>
                  <a:lnTo>
                    <a:pt x="43" y="3"/>
                  </a:lnTo>
                  <a:lnTo>
                    <a:pt x="51" y="3"/>
                  </a:lnTo>
                  <a:lnTo>
                    <a:pt x="58" y="3"/>
                  </a:lnTo>
                  <a:lnTo>
                    <a:pt x="65" y="3"/>
                  </a:lnTo>
                  <a:lnTo>
                    <a:pt x="69" y="4"/>
                  </a:lnTo>
                  <a:lnTo>
                    <a:pt x="73" y="7"/>
                  </a:lnTo>
                  <a:lnTo>
                    <a:pt x="74" y="11"/>
                  </a:lnTo>
                  <a:lnTo>
                    <a:pt x="75" y="21"/>
                  </a:lnTo>
                  <a:lnTo>
                    <a:pt x="76" y="29"/>
                  </a:lnTo>
                  <a:lnTo>
                    <a:pt x="74" y="34"/>
                  </a:lnTo>
                  <a:lnTo>
                    <a:pt x="67" y="37"/>
                  </a:lnTo>
                  <a:lnTo>
                    <a:pt x="61" y="37"/>
                  </a:lnTo>
                  <a:lnTo>
                    <a:pt x="54" y="37"/>
                  </a:lnTo>
                  <a:lnTo>
                    <a:pt x="47" y="37"/>
                  </a:lnTo>
                  <a:lnTo>
                    <a:pt x="42" y="37"/>
                  </a:lnTo>
                  <a:lnTo>
                    <a:pt x="37" y="39"/>
                  </a:lnTo>
                  <a:lnTo>
                    <a:pt x="35" y="41"/>
                  </a:lnTo>
                  <a:lnTo>
                    <a:pt x="35" y="45"/>
                  </a:lnTo>
                  <a:lnTo>
                    <a:pt x="38" y="51"/>
                  </a:lnTo>
                  <a:lnTo>
                    <a:pt x="49" y="57"/>
                  </a:lnTo>
                  <a:lnTo>
                    <a:pt x="59" y="57"/>
                  </a:lnTo>
                  <a:lnTo>
                    <a:pt x="66" y="59"/>
                  </a:lnTo>
                  <a:lnTo>
                    <a:pt x="67" y="68"/>
                  </a:lnTo>
                  <a:lnTo>
                    <a:pt x="65" y="81"/>
                  </a:lnTo>
                  <a:lnTo>
                    <a:pt x="64" y="90"/>
                  </a:lnTo>
                  <a:lnTo>
                    <a:pt x="65" y="97"/>
                  </a:lnTo>
                  <a:lnTo>
                    <a:pt x="70" y="102"/>
                  </a:lnTo>
                  <a:lnTo>
                    <a:pt x="75" y="106"/>
                  </a:lnTo>
                  <a:lnTo>
                    <a:pt x="81" y="109"/>
                  </a:lnTo>
                  <a:lnTo>
                    <a:pt x="87" y="113"/>
                  </a:lnTo>
                  <a:lnTo>
                    <a:pt x="94" y="117"/>
                  </a:lnTo>
                  <a:lnTo>
                    <a:pt x="99" y="122"/>
                  </a:lnTo>
                  <a:lnTo>
                    <a:pt x="104" y="128"/>
                  </a:lnTo>
                  <a:lnTo>
                    <a:pt x="107" y="132"/>
                  </a:lnTo>
                  <a:lnTo>
                    <a:pt x="109" y="138"/>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71" name="Freeform 65"/>
            <p:cNvSpPr>
              <a:spLocks/>
            </p:cNvSpPr>
            <p:nvPr/>
          </p:nvSpPr>
          <p:spPr bwMode="gray">
            <a:xfrm>
              <a:off x="4847" y="2117"/>
              <a:ext cx="70" cy="74"/>
            </a:xfrm>
            <a:custGeom>
              <a:avLst/>
              <a:gdLst>
                <a:gd name="T0" fmla="*/ 61 w 62"/>
                <a:gd name="T1" fmla="*/ 51 h 66"/>
                <a:gd name="T2" fmla="*/ 62 w 62"/>
                <a:gd name="T3" fmla="*/ 55 h 66"/>
                <a:gd name="T4" fmla="*/ 62 w 62"/>
                <a:gd name="T5" fmla="*/ 61 h 66"/>
                <a:gd name="T6" fmla="*/ 60 w 62"/>
                <a:gd name="T7" fmla="*/ 66 h 66"/>
                <a:gd name="T8" fmla="*/ 51 w 62"/>
                <a:gd name="T9" fmla="*/ 65 h 66"/>
                <a:gd name="T10" fmla="*/ 40 w 62"/>
                <a:gd name="T11" fmla="*/ 59 h 66"/>
                <a:gd name="T12" fmla="*/ 33 w 62"/>
                <a:gd name="T13" fmla="*/ 53 h 66"/>
                <a:gd name="T14" fmla="*/ 31 w 62"/>
                <a:gd name="T15" fmla="*/ 47 h 66"/>
                <a:gd name="T16" fmla="*/ 30 w 62"/>
                <a:gd name="T17" fmla="*/ 44 h 66"/>
                <a:gd name="T18" fmla="*/ 29 w 62"/>
                <a:gd name="T19" fmla="*/ 42 h 66"/>
                <a:gd name="T20" fmla="*/ 26 w 62"/>
                <a:gd name="T21" fmla="*/ 39 h 66"/>
                <a:gd name="T22" fmla="*/ 23 w 62"/>
                <a:gd name="T23" fmla="*/ 35 h 66"/>
                <a:gd name="T24" fmla="*/ 16 w 62"/>
                <a:gd name="T25" fmla="*/ 33 h 66"/>
                <a:gd name="T26" fmla="*/ 8 w 62"/>
                <a:gd name="T27" fmla="*/ 33 h 66"/>
                <a:gd name="T28" fmla="*/ 3 w 62"/>
                <a:gd name="T29" fmla="*/ 31 h 66"/>
                <a:gd name="T30" fmla="*/ 0 w 62"/>
                <a:gd name="T31" fmla="*/ 27 h 66"/>
                <a:gd name="T32" fmla="*/ 1 w 62"/>
                <a:gd name="T33" fmla="*/ 19 h 66"/>
                <a:gd name="T34" fmla="*/ 3 w 62"/>
                <a:gd name="T35" fmla="*/ 10 h 66"/>
                <a:gd name="T36" fmla="*/ 7 w 62"/>
                <a:gd name="T37" fmla="*/ 3 h 66"/>
                <a:gd name="T38" fmla="*/ 13 w 62"/>
                <a:gd name="T39" fmla="*/ 0 h 66"/>
                <a:gd name="T40" fmla="*/ 19 w 62"/>
                <a:gd name="T41" fmla="*/ 2 h 66"/>
                <a:gd name="T42" fmla="*/ 28 w 62"/>
                <a:gd name="T43" fmla="*/ 5 h 66"/>
                <a:gd name="T44" fmla="*/ 33 w 62"/>
                <a:gd name="T45" fmla="*/ 8 h 66"/>
                <a:gd name="T46" fmla="*/ 37 w 62"/>
                <a:gd name="T47" fmla="*/ 11 h 66"/>
                <a:gd name="T48" fmla="*/ 37 w 62"/>
                <a:gd name="T49" fmla="*/ 19 h 66"/>
                <a:gd name="T50" fmla="*/ 39 w 62"/>
                <a:gd name="T51" fmla="*/ 28 h 66"/>
                <a:gd name="T52" fmla="*/ 47 w 62"/>
                <a:gd name="T53" fmla="*/ 36 h 66"/>
                <a:gd name="T54" fmla="*/ 56 w 62"/>
                <a:gd name="T55" fmla="*/ 43 h 66"/>
                <a:gd name="T56" fmla="*/ 61 w 62"/>
                <a:gd name="T57" fmla="*/ 51 h 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2"/>
                <a:gd name="T88" fmla="*/ 0 h 66"/>
                <a:gd name="T89" fmla="*/ 62 w 62"/>
                <a:gd name="T90" fmla="*/ 66 h 6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2" h="66">
                  <a:moveTo>
                    <a:pt x="61" y="51"/>
                  </a:moveTo>
                  <a:lnTo>
                    <a:pt x="62" y="55"/>
                  </a:lnTo>
                  <a:lnTo>
                    <a:pt x="62" y="61"/>
                  </a:lnTo>
                  <a:lnTo>
                    <a:pt x="60" y="66"/>
                  </a:lnTo>
                  <a:lnTo>
                    <a:pt x="51" y="65"/>
                  </a:lnTo>
                  <a:lnTo>
                    <a:pt x="40" y="59"/>
                  </a:lnTo>
                  <a:lnTo>
                    <a:pt x="33" y="53"/>
                  </a:lnTo>
                  <a:lnTo>
                    <a:pt x="31" y="47"/>
                  </a:lnTo>
                  <a:lnTo>
                    <a:pt x="30" y="44"/>
                  </a:lnTo>
                  <a:lnTo>
                    <a:pt x="29" y="42"/>
                  </a:lnTo>
                  <a:lnTo>
                    <a:pt x="26" y="39"/>
                  </a:lnTo>
                  <a:lnTo>
                    <a:pt x="23" y="35"/>
                  </a:lnTo>
                  <a:lnTo>
                    <a:pt x="16" y="33"/>
                  </a:lnTo>
                  <a:lnTo>
                    <a:pt x="8" y="33"/>
                  </a:lnTo>
                  <a:lnTo>
                    <a:pt x="3" y="31"/>
                  </a:lnTo>
                  <a:lnTo>
                    <a:pt x="0" y="27"/>
                  </a:lnTo>
                  <a:lnTo>
                    <a:pt x="1" y="19"/>
                  </a:lnTo>
                  <a:lnTo>
                    <a:pt x="3" y="10"/>
                  </a:lnTo>
                  <a:lnTo>
                    <a:pt x="7" y="3"/>
                  </a:lnTo>
                  <a:lnTo>
                    <a:pt x="13" y="0"/>
                  </a:lnTo>
                  <a:lnTo>
                    <a:pt x="19" y="2"/>
                  </a:lnTo>
                  <a:lnTo>
                    <a:pt x="28" y="5"/>
                  </a:lnTo>
                  <a:lnTo>
                    <a:pt x="33" y="8"/>
                  </a:lnTo>
                  <a:lnTo>
                    <a:pt x="37" y="11"/>
                  </a:lnTo>
                  <a:lnTo>
                    <a:pt x="37" y="19"/>
                  </a:lnTo>
                  <a:lnTo>
                    <a:pt x="39" y="28"/>
                  </a:lnTo>
                  <a:lnTo>
                    <a:pt x="47" y="36"/>
                  </a:lnTo>
                  <a:lnTo>
                    <a:pt x="56" y="43"/>
                  </a:lnTo>
                  <a:lnTo>
                    <a:pt x="61" y="51"/>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72" name="Freeform 66"/>
            <p:cNvSpPr>
              <a:spLocks/>
            </p:cNvSpPr>
            <p:nvPr/>
          </p:nvSpPr>
          <p:spPr bwMode="gray">
            <a:xfrm>
              <a:off x="4696" y="2020"/>
              <a:ext cx="35" cy="27"/>
            </a:xfrm>
            <a:custGeom>
              <a:avLst/>
              <a:gdLst>
                <a:gd name="T0" fmla="*/ 31 w 31"/>
                <a:gd name="T1" fmla="*/ 2 h 23"/>
                <a:gd name="T2" fmla="*/ 30 w 31"/>
                <a:gd name="T3" fmla="*/ 3 h 23"/>
                <a:gd name="T4" fmla="*/ 26 w 31"/>
                <a:gd name="T5" fmla="*/ 6 h 23"/>
                <a:gd name="T6" fmla="*/ 21 w 31"/>
                <a:gd name="T7" fmla="*/ 9 h 23"/>
                <a:gd name="T8" fmla="*/ 17 w 31"/>
                <a:gd name="T9" fmla="*/ 16 h 23"/>
                <a:gd name="T10" fmla="*/ 11 w 31"/>
                <a:gd name="T11" fmla="*/ 22 h 23"/>
                <a:gd name="T12" fmla="*/ 5 w 31"/>
                <a:gd name="T13" fmla="*/ 23 h 23"/>
                <a:gd name="T14" fmla="*/ 2 w 31"/>
                <a:gd name="T15" fmla="*/ 23 h 23"/>
                <a:gd name="T16" fmla="*/ 0 w 31"/>
                <a:gd name="T17" fmla="*/ 23 h 23"/>
                <a:gd name="T18" fmla="*/ 3 w 31"/>
                <a:gd name="T19" fmla="*/ 17 h 23"/>
                <a:gd name="T20" fmla="*/ 10 w 31"/>
                <a:gd name="T21" fmla="*/ 7 h 23"/>
                <a:gd name="T22" fmla="*/ 20 w 31"/>
                <a:gd name="T23" fmla="*/ 0 h 23"/>
                <a:gd name="T24" fmla="*/ 31 w 31"/>
                <a:gd name="T25" fmla="*/ 2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1"/>
                <a:gd name="T40" fmla="*/ 0 h 23"/>
                <a:gd name="T41" fmla="*/ 31 w 31"/>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1" h="23">
                  <a:moveTo>
                    <a:pt x="31" y="2"/>
                  </a:moveTo>
                  <a:lnTo>
                    <a:pt x="30" y="3"/>
                  </a:lnTo>
                  <a:lnTo>
                    <a:pt x="26" y="6"/>
                  </a:lnTo>
                  <a:lnTo>
                    <a:pt x="21" y="9"/>
                  </a:lnTo>
                  <a:lnTo>
                    <a:pt x="17" y="16"/>
                  </a:lnTo>
                  <a:lnTo>
                    <a:pt x="11" y="22"/>
                  </a:lnTo>
                  <a:lnTo>
                    <a:pt x="5" y="23"/>
                  </a:lnTo>
                  <a:lnTo>
                    <a:pt x="2" y="23"/>
                  </a:lnTo>
                  <a:lnTo>
                    <a:pt x="0" y="23"/>
                  </a:lnTo>
                  <a:lnTo>
                    <a:pt x="3" y="17"/>
                  </a:lnTo>
                  <a:lnTo>
                    <a:pt x="10" y="7"/>
                  </a:lnTo>
                  <a:lnTo>
                    <a:pt x="20" y="0"/>
                  </a:lnTo>
                  <a:lnTo>
                    <a:pt x="31" y="2"/>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73" name="Freeform 67"/>
            <p:cNvSpPr>
              <a:spLocks/>
            </p:cNvSpPr>
            <p:nvPr/>
          </p:nvSpPr>
          <p:spPr bwMode="gray">
            <a:xfrm>
              <a:off x="4634" y="2051"/>
              <a:ext cx="46" cy="31"/>
            </a:xfrm>
            <a:custGeom>
              <a:avLst/>
              <a:gdLst>
                <a:gd name="T0" fmla="*/ 43 w 43"/>
                <a:gd name="T1" fmla="*/ 12 h 29"/>
                <a:gd name="T2" fmla="*/ 43 w 43"/>
                <a:gd name="T3" fmla="*/ 14 h 29"/>
                <a:gd name="T4" fmla="*/ 43 w 43"/>
                <a:gd name="T5" fmla="*/ 20 h 29"/>
                <a:gd name="T6" fmla="*/ 38 w 43"/>
                <a:gd name="T7" fmla="*/ 27 h 29"/>
                <a:gd name="T8" fmla="*/ 29 w 43"/>
                <a:gd name="T9" fmla="*/ 29 h 29"/>
                <a:gd name="T10" fmla="*/ 17 w 43"/>
                <a:gd name="T11" fmla="*/ 28 h 29"/>
                <a:gd name="T12" fmla="*/ 9 w 43"/>
                <a:gd name="T13" fmla="*/ 24 h 29"/>
                <a:gd name="T14" fmla="*/ 5 w 43"/>
                <a:gd name="T15" fmla="*/ 20 h 29"/>
                <a:gd name="T16" fmla="*/ 4 w 43"/>
                <a:gd name="T17" fmla="*/ 19 h 29"/>
                <a:gd name="T18" fmla="*/ 0 w 43"/>
                <a:gd name="T19" fmla="*/ 0 h 29"/>
                <a:gd name="T20" fmla="*/ 43 w 43"/>
                <a:gd name="T21" fmla="*/ 12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3"/>
                <a:gd name="T34" fmla="*/ 0 h 29"/>
                <a:gd name="T35" fmla="*/ 43 w 43"/>
                <a:gd name="T36" fmla="*/ 29 h 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3" h="29">
                  <a:moveTo>
                    <a:pt x="43" y="12"/>
                  </a:moveTo>
                  <a:lnTo>
                    <a:pt x="43" y="14"/>
                  </a:lnTo>
                  <a:lnTo>
                    <a:pt x="43" y="20"/>
                  </a:lnTo>
                  <a:lnTo>
                    <a:pt x="38" y="27"/>
                  </a:lnTo>
                  <a:lnTo>
                    <a:pt x="29" y="29"/>
                  </a:lnTo>
                  <a:lnTo>
                    <a:pt x="17" y="28"/>
                  </a:lnTo>
                  <a:lnTo>
                    <a:pt x="9" y="24"/>
                  </a:lnTo>
                  <a:lnTo>
                    <a:pt x="5" y="20"/>
                  </a:lnTo>
                  <a:lnTo>
                    <a:pt x="4" y="19"/>
                  </a:lnTo>
                  <a:lnTo>
                    <a:pt x="0" y="0"/>
                  </a:lnTo>
                  <a:lnTo>
                    <a:pt x="43" y="12"/>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74" name="Freeform 68"/>
            <p:cNvSpPr>
              <a:spLocks/>
            </p:cNvSpPr>
            <p:nvPr/>
          </p:nvSpPr>
          <p:spPr bwMode="gray">
            <a:xfrm>
              <a:off x="4580" y="2036"/>
              <a:ext cx="24" cy="35"/>
            </a:xfrm>
            <a:custGeom>
              <a:avLst/>
              <a:gdLst>
                <a:gd name="T0" fmla="*/ 23 w 23"/>
                <a:gd name="T1" fmla="*/ 0 h 32"/>
                <a:gd name="T2" fmla="*/ 13 w 23"/>
                <a:gd name="T3" fmla="*/ 32 h 32"/>
                <a:gd name="T4" fmla="*/ 0 w 23"/>
                <a:gd name="T5" fmla="*/ 18 h 32"/>
                <a:gd name="T6" fmla="*/ 23 w 23"/>
                <a:gd name="T7" fmla="*/ 0 h 32"/>
                <a:gd name="T8" fmla="*/ 0 60000 65536"/>
                <a:gd name="T9" fmla="*/ 0 60000 65536"/>
                <a:gd name="T10" fmla="*/ 0 60000 65536"/>
                <a:gd name="T11" fmla="*/ 0 60000 65536"/>
                <a:gd name="T12" fmla="*/ 0 w 23"/>
                <a:gd name="T13" fmla="*/ 0 h 32"/>
                <a:gd name="T14" fmla="*/ 23 w 23"/>
                <a:gd name="T15" fmla="*/ 32 h 32"/>
              </a:gdLst>
              <a:ahLst/>
              <a:cxnLst>
                <a:cxn ang="T8">
                  <a:pos x="T0" y="T1"/>
                </a:cxn>
                <a:cxn ang="T9">
                  <a:pos x="T2" y="T3"/>
                </a:cxn>
                <a:cxn ang="T10">
                  <a:pos x="T4" y="T5"/>
                </a:cxn>
                <a:cxn ang="T11">
                  <a:pos x="T6" y="T7"/>
                </a:cxn>
              </a:cxnLst>
              <a:rect l="T12" t="T13" r="T14" b="T15"/>
              <a:pathLst>
                <a:path w="23" h="32">
                  <a:moveTo>
                    <a:pt x="23" y="0"/>
                  </a:moveTo>
                  <a:lnTo>
                    <a:pt x="13" y="32"/>
                  </a:lnTo>
                  <a:lnTo>
                    <a:pt x="0" y="18"/>
                  </a:lnTo>
                  <a:lnTo>
                    <a:pt x="23"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75" name="Freeform 69"/>
            <p:cNvSpPr>
              <a:spLocks/>
            </p:cNvSpPr>
            <p:nvPr/>
          </p:nvSpPr>
          <p:spPr bwMode="gray">
            <a:xfrm>
              <a:off x="4985" y="1913"/>
              <a:ext cx="28" cy="31"/>
            </a:xfrm>
            <a:custGeom>
              <a:avLst/>
              <a:gdLst>
                <a:gd name="T0" fmla="*/ 28 w 28"/>
                <a:gd name="T1" fmla="*/ 0 h 28"/>
                <a:gd name="T2" fmla="*/ 28 w 28"/>
                <a:gd name="T3" fmla="*/ 3 h 28"/>
                <a:gd name="T4" fmla="*/ 28 w 28"/>
                <a:gd name="T5" fmla="*/ 10 h 28"/>
                <a:gd name="T6" fmla="*/ 27 w 28"/>
                <a:gd name="T7" fmla="*/ 18 h 28"/>
                <a:gd name="T8" fmla="*/ 21 w 28"/>
                <a:gd name="T9" fmla="*/ 24 h 28"/>
                <a:gd name="T10" fmla="*/ 13 w 28"/>
                <a:gd name="T11" fmla="*/ 26 h 28"/>
                <a:gd name="T12" fmla="*/ 7 w 28"/>
                <a:gd name="T13" fmla="*/ 28 h 28"/>
                <a:gd name="T14" fmla="*/ 3 w 28"/>
                <a:gd name="T15" fmla="*/ 28 h 28"/>
                <a:gd name="T16" fmla="*/ 0 w 28"/>
                <a:gd name="T17" fmla="*/ 28 h 28"/>
                <a:gd name="T18" fmla="*/ 3 w 28"/>
                <a:gd name="T19" fmla="*/ 23 h 28"/>
                <a:gd name="T20" fmla="*/ 7 w 28"/>
                <a:gd name="T21" fmla="*/ 14 h 28"/>
                <a:gd name="T22" fmla="*/ 16 w 28"/>
                <a:gd name="T23" fmla="*/ 5 h 28"/>
                <a:gd name="T24" fmla="*/ 28 w 28"/>
                <a:gd name="T25" fmla="*/ 0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28"/>
                <a:gd name="T41" fmla="*/ 28 w 28"/>
                <a:gd name="T42" fmla="*/ 28 h 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28">
                  <a:moveTo>
                    <a:pt x="28" y="0"/>
                  </a:moveTo>
                  <a:lnTo>
                    <a:pt x="28" y="3"/>
                  </a:lnTo>
                  <a:lnTo>
                    <a:pt x="28" y="10"/>
                  </a:lnTo>
                  <a:lnTo>
                    <a:pt x="27" y="18"/>
                  </a:lnTo>
                  <a:lnTo>
                    <a:pt x="21" y="24"/>
                  </a:lnTo>
                  <a:lnTo>
                    <a:pt x="13" y="26"/>
                  </a:lnTo>
                  <a:lnTo>
                    <a:pt x="7" y="28"/>
                  </a:lnTo>
                  <a:lnTo>
                    <a:pt x="3" y="28"/>
                  </a:lnTo>
                  <a:lnTo>
                    <a:pt x="0" y="28"/>
                  </a:lnTo>
                  <a:lnTo>
                    <a:pt x="3" y="23"/>
                  </a:lnTo>
                  <a:lnTo>
                    <a:pt x="7" y="14"/>
                  </a:lnTo>
                  <a:lnTo>
                    <a:pt x="16" y="5"/>
                  </a:lnTo>
                  <a:lnTo>
                    <a:pt x="28"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76" name="Freeform 70"/>
            <p:cNvSpPr>
              <a:spLocks/>
            </p:cNvSpPr>
            <p:nvPr/>
          </p:nvSpPr>
          <p:spPr bwMode="gray">
            <a:xfrm>
              <a:off x="5000" y="1757"/>
              <a:ext cx="110" cy="84"/>
            </a:xfrm>
            <a:custGeom>
              <a:avLst/>
              <a:gdLst>
                <a:gd name="T0" fmla="*/ 102 w 102"/>
                <a:gd name="T1" fmla="*/ 0 h 77"/>
                <a:gd name="T2" fmla="*/ 99 w 102"/>
                <a:gd name="T3" fmla="*/ 4 h 77"/>
                <a:gd name="T4" fmla="*/ 95 w 102"/>
                <a:gd name="T5" fmla="*/ 14 h 77"/>
                <a:gd name="T6" fmla="*/ 89 w 102"/>
                <a:gd name="T7" fmla="*/ 27 h 77"/>
                <a:gd name="T8" fmla="*/ 84 w 102"/>
                <a:gd name="T9" fmla="*/ 38 h 77"/>
                <a:gd name="T10" fmla="*/ 82 w 102"/>
                <a:gd name="T11" fmla="*/ 50 h 77"/>
                <a:gd name="T12" fmla="*/ 80 w 102"/>
                <a:gd name="T13" fmla="*/ 61 h 77"/>
                <a:gd name="T14" fmla="*/ 78 w 102"/>
                <a:gd name="T15" fmla="*/ 70 h 77"/>
                <a:gd name="T16" fmla="*/ 77 w 102"/>
                <a:gd name="T17" fmla="*/ 74 h 77"/>
                <a:gd name="T18" fmla="*/ 75 w 102"/>
                <a:gd name="T19" fmla="*/ 74 h 77"/>
                <a:gd name="T20" fmla="*/ 70 w 102"/>
                <a:gd name="T21" fmla="*/ 72 h 77"/>
                <a:gd name="T22" fmla="*/ 65 w 102"/>
                <a:gd name="T23" fmla="*/ 68 h 77"/>
                <a:gd name="T24" fmla="*/ 62 w 102"/>
                <a:gd name="T25" fmla="*/ 59 h 77"/>
                <a:gd name="T26" fmla="*/ 60 w 102"/>
                <a:gd name="T27" fmla="*/ 51 h 77"/>
                <a:gd name="T28" fmla="*/ 55 w 102"/>
                <a:gd name="T29" fmla="*/ 45 h 77"/>
                <a:gd name="T30" fmla="*/ 51 w 102"/>
                <a:gd name="T31" fmla="*/ 43 h 77"/>
                <a:gd name="T32" fmla="*/ 49 w 102"/>
                <a:gd name="T33" fmla="*/ 42 h 77"/>
                <a:gd name="T34" fmla="*/ 50 w 102"/>
                <a:gd name="T35" fmla="*/ 45 h 77"/>
                <a:gd name="T36" fmla="*/ 52 w 102"/>
                <a:gd name="T37" fmla="*/ 54 h 77"/>
                <a:gd name="T38" fmla="*/ 52 w 102"/>
                <a:gd name="T39" fmla="*/ 66 h 77"/>
                <a:gd name="T40" fmla="*/ 45 w 102"/>
                <a:gd name="T41" fmla="*/ 74 h 77"/>
                <a:gd name="T42" fmla="*/ 37 w 102"/>
                <a:gd name="T43" fmla="*/ 77 h 77"/>
                <a:gd name="T44" fmla="*/ 34 w 102"/>
                <a:gd name="T45" fmla="*/ 77 h 77"/>
                <a:gd name="T46" fmla="*/ 30 w 102"/>
                <a:gd name="T47" fmla="*/ 73 h 77"/>
                <a:gd name="T48" fmla="*/ 24 w 102"/>
                <a:gd name="T49" fmla="*/ 62 h 77"/>
                <a:gd name="T50" fmla="*/ 20 w 102"/>
                <a:gd name="T51" fmla="*/ 52 h 77"/>
                <a:gd name="T52" fmla="*/ 20 w 102"/>
                <a:gd name="T53" fmla="*/ 44 h 77"/>
                <a:gd name="T54" fmla="*/ 19 w 102"/>
                <a:gd name="T55" fmla="*/ 38 h 77"/>
                <a:gd name="T56" fmla="*/ 14 w 102"/>
                <a:gd name="T57" fmla="*/ 31 h 77"/>
                <a:gd name="T58" fmla="*/ 6 w 102"/>
                <a:gd name="T59" fmla="*/ 22 h 77"/>
                <a:gd name="T60" fmla="*/ 0 w 102"/>
                <a:gd name="T61" fmla="*/ 14 h 77"/>
                <a:gd name="T62" fmla="*/ 1 w 102"/>
                <a:gd name="T63" fmla="*/ 8 h 77"/>
                <a:gd name="T64" fmla="*/ 10 w 102"/>
                <a:gd name="T65" fmla="*/ 7 h 77"/>
                <a:gd name="T66" fmla="*/ 22 w 102"/>
                <a:gd name="T67" fmla="*/ 9 h 77"/>
                <a:gd name="T68" fmla="*/ 29 w 102"/>
                <a:gd name="T69" fmla="*/ 12 h 77"/>
                <a:gd name="T70" fmla="*/ 34 w 102"/>
                <a:gd name="T71" fmla="*/ 13 h 77"/>
                <a:gd name="T72" fmla="*/ 42 w 102"/>
                <a:gd name="T73" fmla="*/ 14 h 77"/>
                <a:gd name="T74" fmla="*/ 46 w 102"/>
                <a:gd name="T75" fmla="*/ 14 h 77"/>
                <a:gd name="T76" fmla="*/ 46 w 102"/>
                <a:gd name="T77" fmla="*/ 13 h 77"/>
                <a:gd name="T78" fmla="*/ 46 w 102"/>
                <a:gd name="T79" fmla="*/ 13 h 77"/>
                <a:gd name="T80" fmla="*/ 55 w 102"/>
                <a:gd name="T81" fmla="*/ 14 h 77"/>
                <a:gd name="T82" fmla="*/ 62 w 102"/>
                <a:gd name="T83" fmla="*/ 14 h 77"/>
                <a:gd name="T84" fmla="*/ 69 w 102"/>
                <a:gd name="T85" fmla="*/ 13 h 77"/>
                <a:gd name="T86" fmla="*/ 74 w 102"/>
                <a:gd name="T87" fmla="*/ 10 h 77"/>
                <a:gd name="T88" fmla="*/ 78 w 102"/>
                <a:gd name="T89" fmla="*/ 7 h 77"/>
                <a:gd name="T90" fmla="*/ 83 w 102"/>
                <a:gd name="T91" fmla="*/ 4 h 77"/>
                <a:gd name="T92" fmla="*/ 89 w 102"/>
                <a:gd name="T93" fmla="*/ 1 h 77"/>
                <a:gd name="T94" fmla="*/ 95 w 102"/>
                <a:gd name="T95" fmla="*/ 0 h 77"/>
                <a:gd name="T96" fmla="*/ 102 w 102"/>
                <a:gd name="T97" fmla="*/ 0 h 7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02"/>
                <a:gd name="T148" fmla="*/ 0 h 77"/>
                <a:gd name="T149" fmla="*/ 102 w 102"/>
                <a:gd name="T150" fmla="*/ 77 h 7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02" h="77">
                  <a:moveTo>
                    <a:pt x="102" y="0"/>
                  </a:moveTo>
                  <a:lnTo>
                    <a:pt x="99" y="4"/>
                  </a:lnTo>
                  <a:lnTo>
                    <a:pt x="95" y="14"/>
                  </a:lnTo>
                  <a:lnTo>
                    <a:pt x="89" y="27"/>
                  </a:lnTo>
                  <a:lnTo>
                    <a:pt x="84" y="38"/>
                  </a:lnTo>
                  <a:lnTo>
                    <a:pt x="82" y="50"/>
                  </a:lnTo>
                  <a:lnTo>
                    <a:pt x="80" y="61"/>
                  </a:lnTo>
                  <a:lnTo>
                    <a:pt x="78" y="70"/>
                  </a:lnTo>
                  <a:lnTo>
                    <a:pt x="77" y="74"/>
                  </a:lnTo>
                  <a:lnTo>
                    <a:pt x="75" y="74"/>
                  </a:lnTo>
                  <a:lnTo>
                    <a:pt x="70" y="72"/>
                  </a:lnTo>
                  <a:lnTo>
                    <a:pt x="65" y="68"/>
                  </a:lnTo>
                  <a:lnTo>
                    <a:pt x="62" y="59"/>
                  </a:lnTo>
                  <a:lnTo>
                    <a:pt x="60" y="51"/>
                  </a:lnTo>
                  <a:lnTo>
                    <a:pt x="55" y="45"/>
                  </a:lnTo>
                  <a:lnTo>
                    <a:pt x="51" y="43"/>
                  </a:lnTo>
                  <a:lnTo>
                    <a:pt x="49" y="42"/>
                  </a:lnTo>
                  <a:lnTo>
                    <a:pt x="50" y="45"/>
                  </a:lnTo>
                  <a:lnTo>
                    <a:pt x="52" y="54"/>
                  </a:lnTo>
                  <a:lnTo>
                    <a:pt x="52" y="66"/>
                  </a:lnTo>
                  <a:lnTo>
                    <a:pt x="45" y="74"/>
                  </a:lnTo>
                  <a:lnTo>
                    <a:pt x="37" y="77"/>
                  </a:lnTo>
                  <a:lnTo>
                    <a:pt x="34" y="77"/>
                  </a:lnTo>
                  <a:lnTo>
                    <a:pt x="30" y="73"/>
                  </a:lnTo>
                  <a:lnTo>
                    <a:pt x="24" y="62"/>
                  </a:lnTo>
                  <a:lnTo>
                    <a:pt x="20" y="52"/>
                  </a:lnTo>
                  <a:lnTo>
                    <a:pt x="20" y="44"/>
                  </a:lnTo>
                  <a:lnTo>
                    <a:pt x="19" y="38"/>
                  </a:lnTo>
                  <a:lnTo>
                    <a:pt x="14" y="31"/>
                  </a:lnTo>
                  <a:lnTo>
                    <a:pt x="6" y="22"/>
                  </a:lnTo>
                  <a:lnTo>
                    <a:pt x="0" y="14"/>
                  </a:lnTo>
                  <a:lnTo>
                    <a:pt x="1" y="8"/>
                  </a:lnTo>
                  <a:lnTo>
                    <a:pt x="10" y="7"/>
                  </a:lnTo>
                  <a:lnTo>
                    <a:pt x="22" y="9"/>
                  </a:lnTo>
                  <a:lnTo>
                    <a:pt x="29" y="12"/>
                  </a:lnTo>
                  <a:lnTo>
                    <a:pt x="34" y="13"/>
                  </a:lnTo>
                  <a:lnTo>
                    <a:pt x="42" y="14"/>
                  </a:lnTo>
                  <a:lnTo>
                    <a:pt x="46" y="14"/>
                  </a:lnTo>
                  <a:lnTo>
                    <a:pt x="46" y="13"/>
                  </a:lnTo>
                  <a:lnTo>
                    <a:pt x="55" y="14"/>
                  </a:lnTo>
                  <a:lnTo>
                    <a:pt x="62" y="14"/>
                  </a:lnTo>
                  <a:lnTo>
                    <a:pt x="69" y="13"/>
                  </a:lnTo>
                  <a:lnTo>
                    <a:pt x="74" y="10"/>
                  </a:lnTo>
                  <a:lnTo>
                    <a:pt x="78" y="7"/>
                  </a:lnTo>
                  <a:lnTo>
                    <a:pt x="83" y="4"/>
                  </a:lnTo>
                  <a:lnTo>
                    <a:pt x="89" y="1"/>
                  </a:lnTo>
                  <a:lnTo>
                    <a:pt x="95" y="0"/>
                  </a:lnTo>
                  <a:lnTo>
                    <a:pt x="102"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77" name="Freeform 71"/>
            <p:cNvSpPr>
              <a:spLocks/>
            </p:cNvSpPr>
            <p:nvPr/>
          </p:nvSpPr>
          <p:spPr bwMode="gray">
            <a:xfrm>
              <a:off x="5110" y="1591"/>
              <a:ext cx="70" cy="39"/>
            </a:xfrm>
            <a:custGeom>
              <a:avLst/>
              <a:gdLst>
                <a:gd name="T0" fmla="*/ 58 w 63"/>
                <a:gd name="T1" fmla="*/ 36 h 36"/>
                <a:gd name="T2" fmla="*/ 57 w 63"/>
                <a:gd name="T3" fmla="*/ 36 h 36"/>
                <a:gd name="T4" fmla="*/ 55 w 63"/>
                <a:gd name="T5" fmla="*/ 36 h 36"/>
                <a:gd name="T6" fmla="*/ 51 w 63"/>
                <a:gd name="T7" fmla="*/ 36 h 36"/>
                <a:gd name="T8" fmla="*/ 48 w 63"/>
                <a:gd name="T9" fmla="*/ 35 h 36"/>
                <a:gd name="T10" fmla="*/ 42 w 63"/>
                <a:gd name="T11" fmla="*/ 35 h 36"/>
                <a:gd name="T12" fmla="*/ 36 w 63"/>
                <a:gd name="T13" fmla="*/ 32 h 36"/>
                <a:gd name="T14" fmla="*/ 31 w 63"/>
                <a:gd name="T15" fmla="*/ 31 h 36"/>
                <a:gd name="T16" fmla="*/ 24 w 63"/>
                <a:gd name="T17" fmla="*/ 29 h 36"/>
                <a:gd name="T18" fmla="*/ 12 w 63"/>
                <a:gd name="T19" fmla="*/ 23 h 36"/>
                <a:gd name="T20" fmla="*/ 5 w 63"/>
                <a:gd name="T21" fmla="*/ 16 h 36"/>
                <a:gd name="T22" fmla="*/ 1 w 63"/>
                <a:gd name="T23" fmla="*/ 13 h 36"/>
                <a:gd name="T24" fmla="*/ 0 w 63"/>
                <a:gd name="T25" fmla="*/ 11 h 36"/>
                <a:gd name="T26" fmla="*/ 1 w 63"/>
                <a:gd name="T27" fmla="*/ 8 h 36"/>
                <a:gd name="T28" fmla="*/ 5 w 63"/>
                <a:gd name="T29" fmla="*/ 4 h 36"/>
                <a:gd name="T30" fmla="*/ 12 w 63"/>
                <a:gd name="T31" fmla="*/ 0 h 36"/>
                <a:gd name="T32" fmla="*/ 24 w 63"/>
                <a:gd name="T33" fmla="*/ 0 h 36"/>
                <a:gd name="T34" fmla="*/ 31 w 63"/>
                <a:gd name="T35" fmla="*/ 2 h 36"/>
                <a:gd name="T36" fmla="*/ 39 w 63"/>
                <a:gd name="T37" fmla="*/ 5 h 36"/>
                <a:gd name="T38" fmla="*/ 47 w 63"/>
                <a:gd name="T39" fmla="*/ 9 h 36"/>
                <a:gd name="T40" fmla="*/ 55 w 63"/>
                <a:gd name="T41" fmla="*/ 14 h 36"/>
                <a:gd name="T42" fmla="*/ 59 w 63"/>
                <a:gd name="T43" fmla="*/ 19 h 36"/>
                <a:gd name="T44" fmla="*/ 63 w 63"/>
                <a:gd name="T45" fmla="*/ 24 h 36"/>
                <a:gd name="T46" fmla="*/ 63 w 63"/>
                <a:gd name="T47" fmla="*/ 30 h 36"/>
                <a:gd name="T48" fmla="*/ 58 w 63"/>
                <a:gd name="T49" fmla="*/ 36 h 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3"/>
                <a:gd name="T76" fmla="*/ 0 h 36"/>
                <a:gd name="T77" fmla="*/ 63 w 63"/>
                <a:gd name="T78" fmla="*/ 36 h 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3" h="36">
                  <a:moveTo>
                    <a:pt x="58" y="36"/>
                  </a:moveTo>
                  <a:lnTo>
                    <a:pt x="57" y="36"/>
                  </a:lnTo>
                  <a:lnTo>
                    <a:pt x="55" y="36"/>
                  </a:lnTo>
                  <a:lnTo>
                    <a:pt x="51" y="36"/>
                  </a:lnTo>
                  <a:lnTo>
                    <a:pt x="48" y="35"/>
                  </a:lnTo>
                  <a:lnTo>
                    <a:pt x="42" y="35"/>
                  </a:lnTo>
                  <a:lnTo>
                    <a:pt x="36" y="32"/>
                  </a:lnTo>
                  <a:lnTo>
                    <a:pt x="31" y="31"/>
                  </a:lnTo>
                  <a:lnTo>
                    <a:pt x="24" y="29"/>
                  </a:lnTo>
                  <a:lnTo>
                    <a:pt x="12" y="23"/>
                  </a:lnTo>
                  <a:lnTo>
                    <a:pt x="5" y="16"/>
                  </a:lnTo>
                  <a:lnTo>
                    <a:pt x="1" y="13"/>
                  </a:lnTo>
                  <a:lnTo>
                    <a:pt x="0" y="11"/>
                  </a:lnTo>
                  <a:lnTo>
                    <a:pt x="1" y="8"/>
                  </a:lnTo>
                  <a:lnTo>
                    <a:pt x="5" y="4"/>
                  </a:lnTo>
                  <a:lnTo>
                    <a:pt x="12" y="0"/>
                  </a:lnTo>
                  <a:lnTo>
                    <a:pt x="24" y="0"/>
                  </a:lnTo>
                  <a:lnTo>
                    <a:pt x="31" y="2"/>
                  </a:lnTo>
                  <a:lnTo>
                    <a:pt x="39" y="5"/>
                  </a:lnTo>
                  <a:lnTo>
                    <a:pt x="47" y="9"/>
                  </a:lnTo>
                  <a:lnTo>
                    <a:pt x="55" y="14"/>
                  </a:lnTo>
                  <a:lnTo>
                    <a:pt x="59" y="19"/>
                  </a:lnTo>
                  <a:lnTo>
                    <a:pt x="63" y="24"/>
                  </a:lnTo>
                  <a:lnTo>
                    <a:pt x="63" y="30"/>
                  </a:lnTo>
                  <a:lnTo>
                    <a:pt x="58" y="36"/>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78" name="Freeform 72"/>
            <p:cNvSpPr>
              <a:spLocks/>
            </p:cNvSpPr>
            <p:nvPr/>
          </p:nvSpPr>
          <p:spPr bwMode="gray">
            <a:xfrm>
              <a:off x="4862" y="1501"/>
              <a:ext cx="81" cy="61"/>
            </a:xfrm>
            <a:custGeom>
              <a:avLst/>
              <a:gdLst>
                <a:gd name="T0" fmla="*/ 64 w 73"/>
                <a:gd name="T1" fmla="*/ 13 h 57"/>
                <a:gd name="T2" fmla="*/ 62 w 73"/>
                <a:gd name="T3" fmla="*/ 12 h 57"/>
                <a:gd name="T4" fmla="*/ 54 w 73"/>
                <a:gd name="T5" fmla="*/ 8 h 57"/>
                <a:gd name="T6" fmla="*/ 46 w 73"/>
                <a:gd name="T7" fmla="*/ 5 h 57"/>
                <a:gd name="T8" fmla="*/ 37 w 73"/>
                <a:gd name="T9" fmla="*/ 2 h 57"/>
                <a:gd name="T10" fmla="*/ 30 w 73"/>
                <a:gd name="T11" fmla="*/ 0 h 57"/>
                <a:gd name="T12" fmla="*/ 25 w 73"/>
                <a:gd name="T13" fmla="*/ 2 h 57"/>
                <a:gd name="T14" fmla="*/ 19 w 73"/>
                <a:gd name="T15" fmla="*/ 6 h 57"/>
                <a:gd name="T16" fmla="*/ 12 w 73"/>
                <a:gd name="T17" fmla="*/ 13 h 57"/>
                <a:gd name="T18" fmla="*/ 5 w 73"/>
                <a:gd name="T19" fmla="*/ 21 h 57"/>
                <a:gd name="T20" fmla="*/ 1 w 73"/>
                <a:gd name="T21" fmla="*/ 30 h 57"/>
                <a:gd name="T22" fmla="*/ 0 w 73"/>
                <a:gd name="T23" fmla="*/ 38 h 57"/>
                <a:gd name="T24" fmla="*/ 5 w 73"/>
                <a:gd name="T25" fmla="*/ 44 h 57"/>
                <a:gd name="T26" fmla="*/ 12 w 73"/>
                <a:gd name="T27" fmla="*/ 46 h 57"/>
                <a:gd name="T28" fmla="*/ 19 w 73"/>
                <a:gd name="T29" fmla="*/ 46 h 57"/>
                <a:gd name="T30" fmla="*/ 24 w 73"/>
                <a:gd name="T31" fmla="*/ 46 h 57"/>
                <a:gd name="T32" fmla="*/ 30 w 73"/>
                <a:gd name="T33" fmla="*/ 51 h 57"/>
                <a:gd name="T34" fmla="*/ 38 w 73"/>
                <a:gd name="T35" fmla="*/ 56 h 57"/>
                <a:gd name="T36" fmla="*/ 48 w 73"/>
                <a:gd name="T37" fmla="*/ 57 h 57"/>
                <a:gd name="T38" fmla="*/ 57 w 73"/>
                <a:gd name="T39" fmla="*/ 56 h 57"/>
                <a:gd name="T40" fmla="*/ 61 w 73"/>
                <a:gd name="T41" fmla="*/ 55 h 57"/>
                <a:gd name="T42" fmla="*/ 60 w 73"/>
                <a:gd name="T43" fmla="*/ 52 h 57"/>
                <a:gd name="T44" fmla="*/ 57 w 73"/>
                <a:gd name="T45" fmla="*/ 46 h 57"/>
                <a:gd name="T46" fmla="*/ 56 w 73"/>
                <a:gd name="T47" fmla="*/ 40 h 57"/>
                <a:gd name="T48" fmla="*/ 61 w 73"/>
                <a:gd name="T49" fmla="*/ 34 h 57"/>
                <a:gd name="T50" fmla="*/ 68 w 73"/>
                <a:gd name="T51" fmla="*/ 29 h 57"/>
                <a:gd name="T52" fmla="*/ 73 w 73"/>
                <a:gd name="T53" fmla="*/ 25 h 57"/>
                <a:gd name="T54" fmla="*/ 72 w 73"/>
                <a:gd name="T55" fmla="*/ 20 h 57"/>
                <a:gd name="T56" fmla="*/ 64 w 73"/>
                <a:gd name="T57" fmla="*/ 13 h 5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3"/>
                <a:gd name="T88" fmla="*/ 0 h 57"/>
                <a:gd name="T89" fmla="*/ 73 w 73"/>
                <a:gd name="T90" fmla="*/ 57 h 5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3" h="57">
                  <a:moveTo>
                    <a:pt x="64" y="13"/>
                  </a:moveTo>
                  <a:lnTo>
                    <a:pt x="62" y="12"/>
                  </a:lnTo>
                  <a:lnTo>
                    <a:pt x="54" y="8"/>
                  </a:lnTo>
                  <a:lnTo>
                    <a:pt x="46" y="5"/>
                  </a:lnTo>
                  <a:lnTo>
                    <a:pt x="37" y="2"/>
                  </a:lnTo>
                  <a:lnTo>
                    <a:pt x="30" y="0"/>
                  </a:lnTo>
                  <a:lnTo>
                    <a:pt x="25" y="2"/>
                  </a:lnTo>
                  <a:lnTo>
                    <a:pt x="19" y="6"/>
                  </a:lnTo>
                  <a:lnTo>
                    <a:pt x="12" y="13"/>
                  </a:lnTo>
                  <a:lnTo>
                    <a:pt x="5" y="21"/>
                  </a:lnTo>
                  <a:lnTo>
                    <a:pt x="1" y="30"/>
                  </a:lnTo>
                  <a:lnTo>
                    <a:pt x="0" y="38"/>
                  </a:lnTo>
                  <a:lnTo>
                    <a:pt x="5" y="44"/>
                  </a:lnTo>
                  <a:lnTo>
                    <a:pt x="12" y="46"/>
                  </a:lnTo>
                  <a:lnTo>
                    <a:pt x="19" y="46"/>
                  </a:lnTo>
                  <a:lnTo>
                    <a:pt x="24" y="46"/>
                  </a:lnTo>
                  <a:lnTo>
                    <a:pt x="30" y="51"/>
                  </a:lnTo>
                  <a:lnTo>
                    <a:pt x="38" y="56"/>
                  </a:lnTo>
                  <a:lnTo>
                    <a:pt x="48" y="57"/>
                  </a:lnTo>
                  <a:lnTo>
                    <a:pt x="57" y="56"/>
                  </a:lnTo>
                  <a:lnTo>
                    <a:pt x="61" y="55"/>
                  </a:lnTo>
                  <a:lnTo>
                    <a:pt x="60" y="52"/>
                  </a:lnTo>
                  <a:lnTo>
                    <a:pt x="57" y="46"/>
                  </a:lnTo>
                  <a:lnTo>
                    <a:pt x="56" y="40"/>
                  </a:lnTo>
                  <a:lnTo>
                    <a:pt x="61" y="34"/>
                  </a:lnTo>
                  <a:lnTo>
                    <a:pt x="68" y="29"/>
                  </a:lnTo>
                  <a:lnTo>
                    <a:pt x="73" y="25"/>
                  </a:lnTo>
                  <a:lnTo>
                    <a:pt x="72" y="20"/>
                  </a:lnTo>
                  <a:lnTo>
                    <a:pt x="64" y="13"/>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79" name="Freeform 73"/>
            <p:cNvSpPr>
              <a:spLocks/>
            </p:cNvSpPr>
            <p:nvPr/>
          </p:nvSpPr>
          <p:spPr bwMode="gray">
            <a:xfrm>
              <a:off x="4711" y="1635"/>
              <a:ext cx="127" cy="85"/>
            </a:xfrm>
            <a:custGeom>
              <a:avLst/>
              <a:gdLst>
                <a:gd name="T0" fmla="*/ 116 w 116"/>
                <a:gd name="T1" fmla="*/ 69 h 79"/>
                <a:gd name="T2" fmla="*/ 113 w 116"/>
                <a:gd name="T3" fmla="*/ 72 h 79"/>
                <a:gd name="T4" fmla="*/ 109 w 116"/>
                <a:gd name="T5" fmla="*/ 75 h 79"/>
                <a:gd name="T6" fmla="*/ 103 w 116"/>
                <a:gd name="T7" fmla="*/ 79 h 79"/>
                <a:gd name="T8" fmla="*/ 95 w 116"/>
                <a:gd name="T9" fmla="*/ 76 h 79"/>
                <a:gd name="T10" fmla="*/ 88 w 116"/>
                <a:gd name="T11" fmla="*/ 71 h 79"/>
                <a:gd name="T12" fmla="*/ 82 w 116"/>
                <a:gd name="T13" fmla="*/ 63 h 79"/>
                <a:gd name="T14" fmla="*/ 76 w 116"/>
                <a:gd name="T15" fmla="*/ 54 h 79"/>
                <a:gd name="T16" fmla="*/ 67 w 116"/>
                <a:gd name="T17" fmla="*/ 49 h 79"/>
                <a:gd name="T18" fmla="*/ 61 w 116"/>
                <a:gd name="T19" fmla="*/ 46 h 79"/>
                <a:gd name="T20" fmla="*/ 57 w 116"/>
                <a:gd name="T21" fmla="*/ 43 h 79"/>
                <a:gd name="T22" fmla="*/ 51 w 116"/>
                <a:gd name="T23" fmla="*/ 40 h 79"/>
                <a:gd name="T24" fmla="*/ 47 w 116"/>
                <a:gd name="T25" fmla="*/ 36 h 79"/>
                <a:gd name="T26" fmla="*/ 41 w 116"/>
                <a:gd name="T27" fmla="*/ 33 h 79"/>
                <a:gd name="T28" fmla="*/ 36 w 116"/>
                <a:gd name="T29" fmla="*/ 29 h 79"/>
                <a:gd name="T30" fmla="*/ 30 w 116"/>
                <a:gd name="T31" fmla="*/ 25 h 79"/>
                <a:gd name="T32" fmla="*/ 25 w 116"/>
                <a:gd name="T33" fmla="*/ 21 h 79"/>
                <a:gd name="T34" fmla="*/ 15 w 116"/>
                <a:gd name="T35" fmla="*/ 13 h 79"/>
                <a:gd name="T36" fmla="*/ 7 w 116"/>
                <a:gd name="T37" fmla="*/ 7 h 79"/>
                <a:gd name="T38" fmla="*/ 3 w 116"/>
                <a:gd name="T39" fmla="*/ 3 h 79"/>
                <a:gd name="T40" fmla="*/ 0 w 116"/>
                <a:gd name="T41" fmla="*/ 0 h 79"/>
                <a:gd name="T42" fmla="*/ 4 w 116"/>
                <a:gd name="T43" fmla="*/ 2 h 79"/>
                <a:gd name="T44" fmla="*/ 11 w 116"/>
                <a:gd name="T45" fmla="*/ 3 h 79"/>
                <a:gd name="T46" fmla="*/ 21 w 116"/>
                <a:gd name="T47" fmla="*/ 5 h 79"/>
                <a:gd name="T48" fmla="*/ 32 w 116"/>
                <a:gd name="T49" fmla="*/ 7 h 79"/>
                <a:gd name="T50" fmla="*/ 37 w 116"/>
                <a:gd name="T51" fmla="*/ 8 h 79"/>
                <a:gd name="T52" fmla="*/ 43 w 116"/>
                <a:gd name="T53" fmla="*/ 8 h 79"/>
                <a:gd name="T54" fmla="*/ 49 w 116"/>
                <a:gd name="T55" fmla="*/ 8 h 79"/>
                <a:gd name="T56" fmla="*/ 55 w 116"/>
                <a:gd name="T57" fmla="*/ 8 h 79"/>
                <a:gd name="T58" fmla="*/ 59 w 116"/>
                <a:gd name="T59" fmla="*/ 8 h 79"/>
                <a:gd name="T60" fmla="*/ 64 w 116"/>
                <a:gd name="T61" fmla="*/ 10 h 79"/>
                <a:gd name="T62" fmla="*/ 67 w 116"/>
                <a:gd name="T63" fmla="*/ 11 h 79"/>
                <a:gd name="T64" fmla="*/ 71 w 116"/>
                <a:gd name="T65" fmla="*/ 14 h 79"/>
                <a:gd name="T66" fmla="*/ 75 w 116"/>
                <a:gd name="T67" fmla="*/ 22 h 79"/>
                <a:gd name="T68" fmla="*/ 79 w 116"/>
                <a:gd name="T69" fmla="*/ 28 h 79"/>
                <a:gd name="T70" fmla="*/ 80 w 116"/>
                <a:gd name="T71" fmla="*/ 33 h 79"/>
                <a:gd name="T72" fmla="*/ 81 w 116"/>
                <a:gd name="T73" fmla="*/ 35 h 79"/>
                <a:gd name="T74" fmla="*/ 82 w 116"/>
                <a:gd name="T75" fmla="*/ 36 h 79"/>
                <a:gd name="T76" fmla="*/ 86 w 116"/>
                <a:gd name="T77" fmla="*/ 38 h 79"/>
                <a:gd name="T78" fmla="*/ 90 w 116"/>
                <a:gd name="T79" fmla="*/ 42 h 79"/>
                <a:gd name="T80" fmla="*/ 96 w 116"/>
                <a:gd name="T81" fmla="*/ 45 h 79"/>
                <a:gd name="T82" fmla="*/ 102 w 116"/>
                <a:gd name="T83" fmla="*/ 51 h 79"/>
                <a:gd name="T84" fmla="*/ 108 w 116"/>
                <a:gd name="T85" fmla="*/ 57 h 79"/>
                <a:gd name="T86" fmla="*/ 112 w 116"/>
                <a:gd name="T87" fmla="*/ 63 h 79"/>
                <a:gd name="T88" fmla="*/ 116 w 116"/>
                <a:gd name="T89" fmla="*/ 69 h 7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16"/>
                <a:gd name="T136" fmla="*/ 0 h 79"/>
                <a:gd name="T137" fmla="*/ 116 w 116"/>
                <a:gd name="T138" fmla="*/ 79 h 7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16" h="79">
                  <a:moveTo>
                    <a:pt x="116" y="69"/>
                  </a:moveTo>
                  <a:lnTo>
                    <a:pt x="113" y="72"/>
                  </a:lnTo>
                  <a:lnTo>
                    <a:pt x="109" y="75"/>
                  </a:lnTo>
                  <a:lnTo>
                    <a:pt x="103" y="79"/>
                  </a:lnTo>
                  <a:lnTo>
                    <a:pt x="95" y="76"/>
                  </a:lnTo>
                  <a:lnTo>
                    <a:pt x="88" y="71"/>
                  </a:lnTo>
                  <a:lnTo>
                    <a:pt x="82" y="63"/>
                  </a:lnTo>
                  <a:lnTo>
                    <a:pt x="76" y="54"/>
                  </a:lnTo>
                  <a:lnTo>
                    <a:pt x="67" y="49"/>
                  </a:lnTo>
                  <a:lnTo>
                    <a:pt x="61" y="46"/>
                  </a:lnTo>
                  <a:lnTo>
                    <a:pt x="57" y="43"/>
                  </a:lnTo>
                  <a:lnTo>
                    <a:pt x="51" y="40"/>
                  </a:lnTo>
                  <a:lnTo>
                    <a:pt x="47" y="36"/>
                  </a:lnTo>
                  <a:lnTo>
                    <a:pt x="41" y="33"/>
                  </a:lnTo>
                  <a:lnTo>
                    <a:pt x="36" y="29"/>
                  </a:lnTo>
                  <a:lnTo>
                    <a:pt x="30" y="25"/>
                  </a:lnTo>
                  <a:lnTo>
                    <a:pt x="25" y="21"/>
                  </a:lnTo>
                  <a:lnTo>
                    <a:pt x="15" y="13"/>
                  </a:lnTo>
                  <a:lnTo>
                    <a:pt x="7" y="7"/>
                  </a:lnTo>
                  <a:lnTo>
                    <a:pt x="3" y="3"/>
                  </a:lnTo>
                  <a:lnTo>
                    <a:pt x="0" y="0"/>
                  </a:lnTo>
                  <a:lnTo>
                    <a:pt x="4" y="2"/>
                  </a:lnTo>
                  <a:lnTo>
                    <a:pt x="11" y="3"/>
                  </a:lnTo>
                  <a:lnTo>
                    <a:pt x="21" y="5"/>
                  </a:lnTo>
                  <a:lnTo>
                    <a:pt x="32" y="7"/>
                  </a:lnTo>
                  <a:lnTo>
                    <a:pt x="37" y="8"/>
                  </a:lnTo>
                  <a:lnTo>
                    <a:pt x="43" y="8"/>
                  </a:lnTo>
                  <a:lnTo>
                    <a:pt x="49" y="8"/>
                  </a:lnTo>
                  <a:lnTo>
                    <a:pt x="55" y="8"/>
                  </a:lnTo>
                  <a:lnTo>
                    <a:pt x="59" y="8"/>
                  </a:lnTo>
                  <a:lnTo>
                    <a:pt x="64" y="10"/>
                  </a:lnTo>
                  <a:lnTo>
                    <a:pt x="67" y="11"/>
                  </a:lnTo>
                  <a:lnTo>
                    <a:pt x="71" y="14"/>
                  </a:lnTo>
                  <a:lnTo>
                    <a:pt x="75" y="22"/>
                  </a:lnTo>
                  <a:lnTo>
                    <a:pt x="79" y="28"/>
                  </a:lnTo>
                  <a:lnTo>
                    <a:pt x="80" y="33"/>
                  </a:lnTo>
                  <a:lnTo>
                    <a:pt x="81" y="35"/>
                  </a:lnTo>
                  <a:lnTo>
                    <a:pt x="82" y="36"/>
                  </a:lnTo>
                  <a:lnTo>
                    <a:pt x="86" y="38"/>
                  </a:lnTo>
                  <a:lnTo>
                    <a:pt x="90" y="42"/>
                  </a:lnTo>
                  <a:lnTo>
                    <a:pt x="96" y="45"/>
                  </a:lnTo>
                  <a:lnTo>
                    <a:pt x="102" y="51"/>
                  </a:lnTo>
                  <a:lnTo>
                    <a:pt x="108" y="57"/>
                  </a:lnTo>
                  <a:lnTo>
                    <a:pt x="112" y="63"/>
                  </a:lnTo>
                  <a:lnTo>
                    <a:pt x="116" y="69"/>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80" name="Freeform 74"/>
            <p:cNvSpPr>
              <a:spLocks/>
            </p:cNvSpPr>
            <p:nvPr/>
          </p:nvSpPr>
          <p:spPr bwMode="gray">
            <a:xfrm>
              <a:off x="4549" y="1709"/>
              <a:ext cx="116" cy="92"/>
            </a:xfrm>
            <a:custGeom>
              <a:avLst/>
              <a:gdLst>
                <a:gd name="T0" fmla="*/ 106 w 106"/>
                <a:gd name="T1" fmla="*/ 74 h 83"/>
                <a:gd name="T2" fmla="*/ 104 w 106"/>
                <a:gd name="T3" fmla="*/ 74 h 83"/>
                <a:gd name="T4" fmla="*/ 99 w 106"/>
                <a:gd name="T5" fmla="*/ 73 h 83"/>
                <a:gd name="T6" fmla="*/ 90 w 106"/>
                <a:gd name="T7" fmla="*/ 70 h 83"/>
                <a:gd name="T8" fmla="*/ 77 w 106"/>
                <a:gd name="T9" fmla="*/ 64 h 83"/>
                <a:gd name="T10" fmla="*/ 66 w 106"/>
                <a:gd name="T11" fmla="*/ 56 h 83"/>
                <a:gd name="T12" fmla="*/ 58 w 106"/>
                <a:gd name="T13" fmla="*/ 48 h 83"/>
                <a:gd name="T14" fmla="*/ 52 w 106"/>
                <a:gd name="T15" fmla="*/ 41 h 83"/>
                <a:gd name="T16" fmla="*/ 46 w 106"/>
                <a:gd name="T17" fmla="*/ 33 h 83"/>
                <a:gd name="T18" fmla="*/ 43 w 106"/>
                <a:gd name="T19" fmla="*/ 28 h 83"/>
                <a:gd name="T20" fmla="*/ 38 w 106"/>
                <a:gd name="T21" fmla="*/ 24 h 83"/>
                <a:gd name="T22" fmla="*/ 32 w 106"/>
                <a:gd name="T23" fmla="*/ 19 h 83"/>
                <a:gd name="T24" fmla="*/ 25 w 106"/>
                <a:gd name="T25" fmla="*/ 14 h 83"/>
                <a:gd name="T26" fmla="*/ 18 w 106"/>
                <a:gd name="T27" fmla="*/ 10 h 83"/>
                <a:gd name="T28" fmla="*/ 13 w 106"/>
                <a:gd name="T29" fmla="*/ 5 h 83"/>
                <a:gd name="T30" fmla="*/ 7 w 106"/>
                <a:gd name="T31" fmla="*/ 3 h 83"/>
                <a:gd name="T32" fmla="*/ 2 w 106"/>
                <a:gd name="T33" fmla="*/ 0 h 83"/>
                <a:gd name="T34" fmla="*/ 0 w 106"/>
                <a:gd name="T35" fmla="*/ 3 h 83"/>
                <a:gd name="T36" fmla="*/ 3 w 106"/>
                <a:gd name="T37" fmla="*/ 11 h 83"/>
                <a:gd name="T38" fmla="*/ 9 w 106"/>
                <a:gd name="T39" fmla="*/ 22 h 83"/>
                <a:gd name="T40" fmla="*/ 13 w 106"/>
                <a:gd name="T41" fmla="*/ 33 h 83"/>
                <a:gd name="T42" fmla="*/ 13 w 106"/>
                <a:gd name="T43" fmla="*/ 41 h 83"/>
                <a:gd name="T44" fmla="*/ 15 w 106"/>
                <a:gd name="T45" fmla="*/ 50 h 83"/>
                <a:gd name="T46" fmla="*/ 18 w 106"/>
                <a:gd name="T47" fmla="*/ 58 h 83"/>
                <a:gd name="T48" fmla="*/ 26 w 106"/>
                <a:gd name="T49" fmla="*/ 64 h 83"/>
                <a:gd name="T50" fmla="*/ 35 w 106"/>
                <a:gd name="T51" fmla="*/ 67 h 83"/>
                <a:gd name="T52" fmla="*/ 43 w 106"/>
                <a:gd name="T53" fmla="*/ 68 h 83"/>
                <a:gd name="T54" fmla="*/ 51 w 106"/>
                <a:gd name="T55" fmla="*/ 71 h 83"/>
                <a:gd name="T56" fmla="*/ 60 w 106"/>
                <a:gd name="T57" fmla="*/ 74 h 83"/>
                <a:gd name="T58" fmla="*/ 66 w 106"/>
                <a:gd name="T59" fmla="*/ 77 h 83"/>
                <a:gd name="T60" fmla="*/ 71 w 106"/>
                <a:gd name="T61" fmla="*/ 80 h 83"/>
                <a:gd name="T62" fmla="*/ 78 w 106"/>
                <a:gd name="T63" fmla="*/ 82 h 83"/>
                <a:gd name="T64" fmla="*/ 85 w 106"/>
                <a:gd name="T65" fmla="*/ 83 h 83"/>
                <a:gd name="T66" fmla="*/ 92 w 106"/>
                <a:gd name="T67" fmla="*/ 83 h 83"/>
                <a:gd name="T68" fmla="*/ 98 w 106"/>
                <a:gd name="T69" fmla="*/ 82 h 83"/>
                <a:gd name="T70" fmla="*/ 102 w 106"/>
                <a:gd name="T71" fmla="*/ 80 h 83"/>
                <a:gd name="T72" fmla="*/ 106 w 106"/>
                <a:gd name="T73" fmla="*/ 74 h 8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6"/>
                <a:gd name="T112" fmla="*/ 0 h 83"/>
                <a:gd name="T113" fmla="*/ 106 w 106"/>
                <a:gd name="T114" fmla="*/ 83 h 8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6" h="83">
                  <a:moveTo>
                    <a:pt x="106" y="74"/>
                  </a:moveTo>
                  <a:lnTo>
                    <a:pt x="104" y="74"/>
                  </a:lnTo>
                  <a:lnTo>
                    <a:pt x="99" y="73"/>
                  </a:lnTo>
                  <a:lnTo>
                    <a:pt x="90" y="70"/>
                  </a:lnTo>
                  <a:lnTo>
                    <a:pt x="77" y="64"/>
                  </a:lnTo>
                  <a:lnTo>
                    <a:pt x="66" y="56"/>
                  </a:lnTo>
                  <a:lnTo>
                    <a:pt x="58" y="48"/>
                  </a:lnTo>
                  <a:lnTo>
                    <a:pt x="52" y="41"/>
                  </a:lnTo>
                  <a:lnTo>
                    <a:pt x="46" y="33"/>
                  </a:lnTo>
                  <a:lnTo>
                    <a:pt x="43" y="28"/>
                  </a:lnTo>
                  <a:lnTo>
                    <a:pt x="38" y="24"/>
                  </a:lnTo>
                  <a:lnTo>
                    <a:pt x="32" y="19"/>
                  </a:lnTo>
                  <a:lnTo>
                    <a:pt x="25" y="14"/>
                  </a:lnTo>
                  <a:lnTo>
                    <a:pt x="18" y="10"/>
                  </a:lnTo>
                  <a:lnTo>
                    <a:pt x="13" y="5"/>
                  </a:lnTo>
                  <a:lnTo>
                    <a:pt x="7" y="3"/>
                  </a:lnTo>
                  <a:lnTo>
                    <a:pt x="2" y="0"/>
                  </a:lnTo>
                  <a:lnTo>
                    <a:pt x="0" y="3"/>
                  </a:lnTo>
                  <a:lnTo>
                    <a:pt x="3" y="11"/>
                  </a:lnTo>
                  <a:lnTo>
                    <a:pt x="9" y="22"/>
                  </a:lnTo>
                  <a:lnTo>
                    <a:pt x="13" y="33"/>
                  </a:lnTo>
                  <a:lnTo>
                    <a:pt x="13" y="41"/>
                  </a:lnTo>
                  <a:lnTo>
                    <a:pt x="15" y="50"/>
                  </a:lnTo>
                  <a:lnTo>
                    <a:pt x="18" y="58"/>
                  </a:lnTo>
                  <a:lnTo>
                    <a:pt x="26" y="64"/>
                  </a:lnTo>
                  <a:lnTo>
                    <a:pt x="35" y="67"/>
                  </a:lnTo>
                  <a:lnTo>
                    <a:pt x="43" y="68"/>
                  </a:lnTo>
                  <a:lnTo>
                    <a:pt x="51" y="71"/>
                  </a:lnTo>
                  <a:lnTo>
                    <a:pt x="60" y="74"/>
                  </a:lnTo>
                  <a:lnTo>
                    <a:pt x="66" y="77"/>
                  </a:lnTo>
                  <a:lnTo>
                    <a:pt x="71" y="80"/>
                  </a:lnTo>
                  <a:lnTo>
                    <a:pt x="78" y="82"/>
                  </a:lnTo>
                  <a:lnTo>
                    <a:pt x="85" y="83"/>
                  </a:lnTo>
                  <a:lnTo>
                    <a:pt x="92" y="83"/>
                  </a:lnTo>
                  <a:lnTo>
                    <a:pt x="98" y="82"/>
                  </a:lnTo>
                  <a:lnTo>
                    <a:pt x="102" y="80"/>
                  </a:lnTo>
                  <a:lnTo>
                    <a:pt x="106" y="74"/>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81" name="Freeform 75"/>
            <p:cNvSpPr>
              <a:spLocks/>
            </p:cNvSpPr>
            <p:nvPr/>
          </p:nvSpPr>
          <p:spPr bwMode="gray">
            <a:xfrm>
              <a:off x="4580" y="2524"/>
              <a:ext cx="24" cy="35"/>
            </a:xfrm>
            <a:custGeom>
              <a:avLst/>
              <a:gdLst>
                <a:gd name="T0" fmla="*/ 17 w 23"/>
                <a:gd name="T1" fmla="*/ 31 h 31"/>
                <a:gd name="T2" fmla="*/ 23 w 23"/>
                <a:gd name="T3" fmla="*/ 13 h 31"/>
                <a:gd name="T4" fmla="*/ 20 w 23"/>
                <a:gd name="T5" fmla="*/ 0 h 31"/>
                <a:gd name="T6" fmla="*/ 17 w 23"/>
                <a:gd name="T7" fmla="*/ 0 h 31"/>
                <a:gd name="T8" fmla="*/ 11 w 23"/>
                <a:gd name="T9" fmla="*/ 1 h 31"/>
                <a:gd name="T10" fmla="*/ 4 w 23"/>
                <a:gd name="T11" fmla="*/ 5 h 31"/>
                <a:gd name="T12" fmla="*/ 0 w 23"/>
                <a:gd name="T13" fmla="*/ 13 h 31"/>
                <a:gd name="T14" fmla="*/ 3 w 23"/>
                <a:gd name="T15" fmla="*/ 21 h 31"/>
                <a:gd name="T16" fmla="*/ 9 w 23"/>
                <a:gd name="T17" fmla="*/ 27 h 31"/>
                <a:gd name="T18" fmla="*/ 14 w 23"/>
                <a:gd name="T19" fmla="*/ 30 h 31"/>
                <a:gd name="T20" fmla="*/ 17 w 23"/>
                <a:gd name="T21" fmla="*/ 3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
                <a:gd name="T34" fmla="*/ 0 h 31"/>
                <a:gd name="T35" fmla="*/ 23 w 2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 h="31">
                  <a:moveTo>
                    <a:pt x="17" y="31"/>
                  </a:moveTo>
                  <a:lnTo>
                    <a:pt x="23" y="13"/>
                  </a:lnTo>
                  <a:lnTo>
                    <a:pt x="20" y="0"/>
                  </a:lnTo>
                  <a:lnTo>
                    <a:pt x="17" y="0"/>
                  </a:lnTo>
                  <a:lnTo>
                    <a:pt x="11" y="1"/>
                  </a:lnTo>
                  <a:lnTo>
                    <a:pt x="4" y="5"/>
                  </a:lnTo>
                  <a:lnTo>
                    <a:pt x="0" y="13"/>
                  </a:lnTo>
                  <a:lnTo>
                    <a:pt x="3" y="21"/>
                  </a:lnTo>
                  <a:lnTo>
                    <a:pt x="9" y="27"/>
                  </a:lnTo>
                  <a:lnTo>
                    <a:pt x="14" y="30"/>
                  </a:lnTo>
                  <a:lnTo>
                    <a:pt x="17" y="31"/>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82" name="Freeform 76"/>
            <p:cNvSpPr>
              <a:spLocks/>
            </p:cNvSpPr>
            <p:nvPr/>
          </p:nvSpPr>
          <p:spPr bwMode="gray">
            <a:xfrm>
              <a:off x="4556" y="2570"/>
              <a:ext cx="26" cy="20"/>
            </a:xfrm>
            <a:custGeom>
              <a:avLst/>
              <a:gdLst>
                <a:gd name="T0" fmla="*/ 23 w 23"/>
                <a:gd name="T1" fmla="*/ 0 h 17"/>
                <a:gd name="T2" fmla="*/ 17 w 23"/>
                <a:gd name="T3" fmla="*/ 17 h 17"/>
                <a:gd name="T4" fmla="*/ 0 w 23"/>
                <a:gd name="T5" fmla="*/ 10 h 17"/>
                <a:gd name="T6" fmla="*/ 2 w 23"/>
                <a:gd name="T7" fmla="*/ 8 h 17"/>
                <a:gd name="T8" fmla="*/ 8 w 23"/>
                <a:gd name="T9" fmla="*/ 4 h 17"/>
                <a:gd name="T10" fmla="*/ 16 w 23"/>
                <a:gd name="T11" fmla="*/ 0 h 17"/>
                <a:gd name="T12" fmla="*/ 23 w 23"/>
                <a:gd name="T13" fmla="*/ 0 h 17"/>
                <a:gd name="T14" fmla="*/ 0 60000 65536"/>
                <a:gd name="T15" fmla="*/ 0 60000 65536"/>
                <a:gd name="T16" fmla="*/ 0 60000 65536"/>
                <a:gd name="T17" fmla="*/ 0 60000 65536"/>
                <a:gd name="T18" fmla="*/ 0 60000 65536"/>
                <a:gd name="T19" fmla="*/ 0 60000 65536"/>
                <a:gd name="T20" fmla="*/ 0 60000 65536"/>
                <a:gd name="T21" fmla="*/ 0 w 23"/>
                <a:gd name="T22" fmla="*/ 0 h 17"/>
                <a:gd name="T23" fmla="*/ 23 w 23"/>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17">
                  <a:moveTo>
                    <a:pt x="23" y="0"/>
                  </a:moveTo>
                  <a:lnTo>
                    <a:pt x="17" y="17"/>
                  </a:lnTo>
                  <a:lnTo>
                    <a:pt x="0" y="10"/>
                  </a:lnTo>
                  <a:lnTo>
                    <a:pt x="2" y="8"/>
                  </a:lnTo>
                  <a:lnTo>
                    <a:pt x="8" y="4"/>
                  </a:lnTo>
                  <a:lnTo>
                    <a:pt x="16" y="0"/>
                  </a:lnTo>
                  <a:lnTo>
                    <a:pt x="23"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83" name="Freeform 77"/>
            <p:cNvSpPr>
              <a:spLocks/>
            </p:cNvSpPr>
            <p:nvPr/>
          </p:nvSpPr>
          <p:spPr bwMode="gray">
            <a:xfrm>
              <a:off x="3844" y="2268"/>
              <a:ext cx="17" cy="22"/>
            </a:xfrm>
            <a:custGeom>
              <a:avLst/>
              <a:gdLst>
                <a:gd name="T0" fmla="*/ 14 w 16"/>
                <a:gd name="T1" fmla="*/ 0 h 18"/>
                <a:gd name="T2" fmla="*/ 0 w 16"/>
                <a:gd name="T3" fmla="*/ 4 h 18"/>
                <a:gd name="T4" fmla="*/ 0 w 16"/>
                <a:gd name="T5" fmla="*/ 7 h 18"/>
                <a:gd name="T6" fmla="*/ 1 w 16"/>
                <a:gd name="T7" fmla="*/ 12 h 18"/>
                <a:gd name="T8" fmla="*/ 4 w 16"/>
                <a:gd name="T9" fmla="*/ 17 h 18"/>
                <a:gd name="T10" fmla="*/ 10 w 16"/>
                <a:gd name="T11" fmla="*/ 18 h 18"/>
                <a:gd name="T12" fmla="*/ 15 w 16"/>
                <a:gd name="T13" fmla="*/ 14 h 18"/>
                <a:gd name="T14" fmla="*/ 16 w 16"/>
                <a:gd name="T15" fmla="*/ 8 h 18"/>
                <a:gd name="T16" fmla="*/ 15 w 16"/>
                <a:gd name="T17" fmla="*/ 2 h 18"/>
                <a:gd name="T18" fmla="*/ 14 w 16"/>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
                <a:gd name="T31" fmla="*/ 0 h 18"/>
                <a:gd name="T32" fmla="*/ 16 w 16"/>
                <a:gd name="T33" fmla="*/ 18 h 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 h="18">
                  <a:moveTo>
                    <a:pt x="14" y="0"/>
                  </a:moveTo>
                  <a:lnTo>
                    <a:pt x="0" y="4"/>
                  </a:lnTo>
                  <a:lnTo>
                    <a:pt x="0" y="7"/>
                  </a:lnTo>
                  <a:lnTo>
                    <a:pt x="1" y="12"/>
                  </a:lnTo>
                  <a:lnTo>
                    <a:pt x="4" y="17"/>
                  </a:lnTo>
                  <a:lnTo>
                    <a:pt x="10" y="18"/>
                  </a:lnTo>
                  <a:lnTo>
                    <a:pt x="15" y="14"/>
                  </a:lnTo>
                  <a:lnTo>
                    <a:pt x="16" y="8"/>
                  </a:lnTo>
                  <a:lnTo>
                    <a:pt x="15" y="2"/>
                  </a:lnTo>
                  <a:lnTo>
                    <a:pt x="14"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84" name="Freeform 78"/>
            <p:cNvSpPr>
              <a:spLocks/>
            </p:cNvSpPr>
            <p:nvPr/>
          </p:nvSpPr>
          <p:spPr bwMode="gray">
            <a:xfrm>
              <a:off x="3855" y="2303"/>
              <a:ext cx="15" cy="24"/>
            </a:xfrm>
            <a:custGeom>
              <a:avLst/>
              <a:gdLst>
                <a:gd name="T0" fmla="*/ 14 w 14"/>
                <a:gd name="T1" fmla="*/ 4 h 22"/>
                <a:gd name="T2" fmla="*/ 10 w 14"/>
                <a:gd name="T3" fmla="*/ 22 h 22"/>
                <a:gd name="T4" fmla="*/ 0 w 14"/>
                <a:gd name="T5" fmla="*/ 4 h 22"/>
                <a:gd name="T6" fmla="*/ 1 w 14"/>
                <a:gd name="T7" fmla="*/ 3 h 22"/>
                <a:gd name="T8" fmla="*/ 5 w 14"/>
                <a:gd name="T9" fmla="*/ 1 h 22"/>
                <a:gd name="T10" fmla="*/ 9 w 14"/>
                <a:gd name="T11" fmla="*/ 0 h 22"/>
                <a:gd name="T12" fmla="*/ 14 w 14"/>
                <a:gd name="T13" fmla="*/ 4 h 22"/>
                <a:gd name="T14" fmla="*/ 0 60000 65536"/>
                <a:gd name="T15" fmla="*/ 0 60000 65536"/>
                <a:gd name="T16" fmla="*/ 0 60000 65536"/>
                <a:gd name="T17" fmla="*/ 0 60000 65536"/>
                <a:gd name="T18" fmla="*/ 0 60000 65536"/>
                <a:gd name="T19" fmla="*/ 0 60000 65536"/>
                <a:gd name="T20" fmla="*/ 0 60000 65536"/>
                <a:gd name="T21" fmla="*/ 0 w 14"/>
                <a:gd name="T22" fmla="*/ 0 h 22"/>
                <a:gd name="T23" fmla="*/ 14 w 14"/>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2">
                  <a:moveTo>
                    <a:pt x="14" y="4"/>
                  </a:moveTo>
                  <a:lnTo>
                    <a:pt x="10" y="22"/>
                  </a:lnTo>
                  <a:lnTo>
                    <a:pt x="0" y="4"/>
                  </a:lnTo>
                  <a:lnTo>
                    <a:pt x="1" y="3"/>
                  </a:lnTo>
                  <a:lnTo>
                    <a:pt x="5" y="1"/>
                  </a:lnTo>
                  <a:lnTo>
                    <a:pt x="9" y="0"/>
                  </a:lnTo>
                  <a:lnTo>
                    <a:pt x="14" y="4"/>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85" name="Freeform 79"/>
            <p:cNvSpPr>
              <a:spLocks/>
            </p:cNvSpPr>
            <p:nvPr/>
          </p:nvSpPr>
          <p:spPr bwMode="gray">
            <a:xfrm>
              <a:off x="3721" y="2001"/>
              <a:ext cx="20" cy="26"/>
            </a:xfrm>
            <a:custGeom>
              <a:avLst/>
              <a:gdLst>
                <a:gd name="T0" fmla="*/ 7 w 17"/>
                <a:gd name="T1" fmla="*/ 0 h 24"/>
                <a:gd name="T2" fmla="*/ 9 w 17"/>
                <a:gd name="T3" fmla="*/ 1 h 24"/>
                <a:gd name="T4" fmla="*/ 14 w 17"/>
                <a:gd name="T5" fmla="*/ 5 h 24"/>
                <a:gd name="T6" fmla="*/ 17 w 17"/>
                <a:gd name="T7" fmla="*/ 11 h 24"/>
                <a:gd name="T8" fmla="*/ 14 w 17"/>
                <a:gd name="T9" fmla="*/ 17 h 24"/>
                <a:gd name="T10" fmla="*/ 8 w 17"/>
                <a:gd name="T11" fmla="*/ 20 h 24"/>
                <a:gd name="T12" fmla="*/ 5 w 17"/>
                <a:gd name="T13" fmla="*/ 23 h 24"/>
                <a:gd name="T14" fmla="*/ 3 w 17"/>
                <a:gd name="T15" fmla="*/ 24 h 24"/>
                <a:gd name="T16" fmla="*/ 3 w 17"/>
                <a:gd name="T17" fmla="*/ 24 h 24"/>
                <a:gd name="T18" fmla="*/ 2 w 17"/>
                <a:gd name="T19" fmla="*/ 20 h 24"/>
                <a:gd name="T20" fmla="*/ 0 w 17"/>
                <a:gd name="T21" fmla="*/ 11 h 24"/>
                <a:gd name="T22" fmla="*/ 0 w 17"/>
                <a:gd name="T23" fmla="*/ 3 h 24"/>
                <a:gd name="T24" fmla="*/ 7 w 17"/>
                <a:gd name="T25" fmla="*/ 0 h 2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
                <a:gd name="T40" fmla="*/ 0 h 24"/>
                <a:gd name="T41" fmla="*/ 17 w 17"/>
                <a:gd name="T42" fmla="*/ 24 h 2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 h="24">
                  <a:moveTo>
                    <a:pt x="7" y="0"/>
                  </a:moveTo>
                  <a:lnTo>
                    <a:pt x="9" y="1"/>
                  </a:lnTo>
                  <a:lnTo>
                    <a:pt x="14" y="5"/>
                  </a:lnTo>
                  <a:lnTo>
                    <a:pt x="17" y="11"/>
                  </a:lnTo>
                  <a:lnTo>
                    <a:pt x="14" y="17"/>
                  </a:lnTo>
                  <a:lnTo>
                    <a:pt x="8" y="20"/>
                  </a:lnTo>
                  <a:lnTo>
                    <a:pt x="5" y="23"/>
                  </a:lnTo>
                  <a:lnTo>
                    <a:pt x="3" y="24"/>
                  </a:lnTo>
                  <a:lnTo>
                    <a:pt x="2" y="20"/>
                  </a:lnTo>
                  <a:lnTo>
                    <a:pt x="0" y="11"/>
                  </a:lnTo>
                  <a:lnTo>
                    <a:pt x="0" y="3"/>
                  </a:lnTo>
                  <a:lnTo>
                    <a:pt x="7"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86" name="Freeform 80"/>
            <p:cNvSpPr>
              <a:spLocks/>
            </p:cNvSpPr>
            <p:nvPr/>
          </p:nvSpPr>
          <p:spPr bwMode="gray">
            <a:xfrm>
              <a:off x="4792" y="2842"/>
              <a:ext cx="13" cy="13"/>
            </a:xfrm>
            <a:custGeom>
              <a:avLst/>
              <a:gdLst>
                <a:gd name="T0" fmla="*/ 8 w 13"/>
                <a:gd name="T1" fmla="*/ 0 h 11"/>
                <a:gd name="T2" fmla="*/ 9 w 13"/>
                <a:gd name="T3" fmla="*/ 1 h 11"/>
                <a:gd name="T4" fmla="*/ 13 w 13"/>
                <a:gd name="T5" fmla="*/ 3 h 11"/>
                <a:gd name="T6" fmla="*/ 13 w 13"/>
                <a:gd name="T7" fmla="*/ 8 h 11"/>
                <a:gd name="T8" fmla="*/ 8 w 13"/>
                <a:gd name="T9" fmla="*/ 11 h 11"/>
                <a:gd name="T10" fmla="*/ 1 w 13"/>
                <a:gd name="T11" fmla="*/ 11 h 11"/>
                <a:gd name="T12" fmla="*/ 0 w 13"/>
                <a:gd name="T13" fmla="*/ 8 h 11"/>
                <a:gd name="T14" fmla="*/ 2 w 13"/>
                <a:gd name="T15" fmla="*/ 3 h 11"/>
                <a:gd name="T16" fmla="*/ 8 w 13"/>
                <a:gd name="T17" fmla="*/ 0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1"/>
                <a:gd name="T29" fmla="*/ 13 w 13"/>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1">
                  <a:moveTo>
                    <a:pt x="8" y="0"/>
                  </a:moveTo>
                  <a:lnTo>
                    <a:pt x="9" y="1"/>
                  </a:lnTo>
                  <a:lnTo>
                    <a:pt x="13" y="3"/>
                  </a:lnTo>
                  <a:lnTo>
                    <a:pt x="13" y="8"/>
                  </a:lnTo>
                  <a:lnTo>
                    <a:pt x="8" y="11"/>
                  </a:lnTo>
                  <a:lnTo>
                    <a:pt x="1" y="11"/>
                  </a:lnTo>
                  <a:lnTo>
                    <a:pt x="0" y="8"/>
                  </a:lnTo>
                  <a:lnTo>
                    <a:pt x="2" y="3"/>
                  </a:lnTo>
                  <a:lnTo>
                    <a:pt x="8"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87" name="Freeform 81"/>
            <p:cNvSpPr>
              <a:spLocks/>
            </p:cNvSpPr>
            <p:nvPr/>
          </p:nvSpPr>
          <p:spPr bwMode="gray">
            <a:xfrm>
              <a:off x="5307" y="2916"/>
              <a:ext cx="13" cy="13"/>
            </a:xfrm>
            <a:custGeom>
              <a:avLst/>
              <a:gdLst>
                <a:gd name="T0" fmla="*/ 8 w 13"/>
                <a:gd name="T1" fmla="*/ 0 h 11"/>
                <a:gd name="T2" fmla="*/ 9 w 13"/>
                <a:gd name="T3" fmla="*/ 1 h 11"/>
                <a:gd name="T4" fmla="*/ 13 w 13"/>
                <a:gd name="T5" fmla="*/ 3 h 11"/>
                <a:gd name="T6" fmla="*/ 13 w 13"/>
                <a:gd name="T7" fmla="*/ 7 h 11"/>
                <a:gd name="T8" fmla="*/ 8 w 13"/>
                <a:gd name="T9" fmla="*/ 10 h 11"/>
                <a:gd name="T10" fmla="*/ 1 w 13"/>
                <a:gd name="T11" fmla="*/ 11 h 11"/>
                <a:gd name="T12" fmla="*/ 0 w 13"/>
                <a:gd name="T13" fmla="*/ 8 h 11"/>
                <a:gd name="T14" fmla="*/ 2 w 13"/>
                <a:gd name="T15" fmla="*/ 3 h 11"/>
                <a:gd name="T16" fmla="*/ 8 w 13"/>
                <a:gd name="T17" fmla="*/ 0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1"/>
                <a:gd name="T29" fmla="*/ 13 w 13"/>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1">
                  <a:moveTo>
                    <a:pt x="8" y="0"/>
                  </a:moveTo>
                  <a:lnTo>
                    <a:pt x="9" y="1"/>
                  </a:lnTo>
                  <a:lnTo>
                    <a:pt x="13" y="3"/>
                  </a:lnTo>
                  <a:lnTo>
                    <a:pt x="13" y="7"/>
                  </a:lnTo>
                  <a:lnTo>
                    <a:pt x="8" y="10"/>
                  </a:lnTo>
                  <a:lnTo>
                    <a:pt x="1" y="11"/>
                  </a:lnTo>
                  <a:lnTo>
                    <a:pt x="0" y="8"/>
                  </a:lnTo>
                  <a:lnTo>
                    <a:pt x="2" y="3"/>
                  </a:lnTo>
                  <a:lnTo>
                    <a:pt x="8"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88" name="Freeform 82"/>
            <p:cNvSpPr>
              <a:spLocks/>
            </p:cNvSpPr>
            <p:nvPr/>
          </p:nvSpPr>
          <p:spPr bwMode="gray">
            <a:xfrm>
              <a:off x="5116" y="2829"/>
              <a:ext cx="14" cy="13"/>
            </a:xfrm>
            <a:custGeom>
              <a:avLst/>
              <a:gdLst>
                <a:gd name="T0" fmla="*/ 8 w 13"/>
                <a:gd name="T1" fmla="*/ 0 h 12"/>
                <a:gd name="T2" fmla="*/ 9 w 13"/>
                <a:gd name="T3" fmla="*/ 1 h 12"/>
                <a:gd name="T4" fmla="*/ 13 w 13"/>
                <a:gd name="T5" fmla="*/ 4 h 12"/>
                <a:gd name="T6" fmla="*/ 13 w 13"/>
                <a:gd name="T7" fmla="*/ 7 h 12"/>
                <a:gd name="T8" fmla="*/ 8 w 13"/>
                <a:gd name="T9" fmla="*/ 11 h 12"/>
                <a:gd name="T10" fmla="*/ 1 w 13"/>
                <a:gd name="T11" fmla="*/ 12 h 12"/>
                <a:gd name="T12" fmla="*/ 0 w 13"/>
                <a:gd name="T13" fmla="*/ 8 h 12"/>
                <a:gd name="T14" fmla="*/ 2 w 13"/>
                <a:gd name="T15" fmla="*/ 4 h 12"/>
                <a:gd name="T16" fmla="*/ 8 w 13"/>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2"/>
                <a:gd name="T29" fmla="*/ 13 w 13"/>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2">
                  <a:moveTo>
                    <a:pt x="8" y="0"/>
                  </a:moveTo>
                  <a:lnTo>
                    <a:pt x="9" y="1"/>
                  </a:lnTo>
                  <a:lnTo>
                    <a:pt x="13" y="4"/>
                  </a:lnTo>
                  <a:lnTo>
                    <a:pt x="13" y="7"/>
                  </a:lnTo>
                  <a:lnTo>
                    <a:pt x="8" y="11"/>
                  </a:lnTo>
                  <a:lnTo>
                    <a:pt x="1" y="12"/>
                  </a:lnTo>
                  <a:lnTo>
                    <a:pt x="0" y="8"/>
                  </a:lnTo>
                  <a:lnTo>
                    <a:pt x="2" y="4"/>
                  </a:lnTo>
                  <a:lnTo>
                    <a:pt x="8"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89" name="Freeform 83"/>
            <p:cNvSpPr>
              <a:spLocks/>
            </p:cNvSpPr>
            <p:nvPr/>
          </p:nvSpPr>
          <p:spPr bwMode="gray">
            <a:xfrm>
              <a:off x="5456" y="2988"/>
              <a:ext cx="13" cy="11"/>
            </a:xfrm>
            <a:custGeom>
              <a:avLst/>
              <a:gdLst>
                <a:gd name="T0" fmla="*/ 8 w 13"/>
                <a:gd name="T1" fmla="*/ 0 h 11"/>
                <a:gd name="T2" fmla="*/ 9 w 13"/>
                <a:gd name="T3" fmla="*/ 2 h 11"/>
                <a:gd name="T4" fmla="*/ 13 w 13"/>
                <a:gd name="T5" fmla="*/ 4 h 11"/>
                <a:gd name="T6" fmla="*/ 13 w 13"/>
                <a:gd name="T7" fmla="*/ 7 h 11"/>
                <a:gd name="T8" fmla="*/ 8 w 13"/>
                <a:gd name="T9" fmla="*/ 11 h 11"/>
                <a:gd name="T10" fmla="*/ 1 w 13"/>
                <a:gd name="T11" fmla="*/ 11 h 11"/>
                <a:gd name="T12" fmla="*/ 0 w 13"/>
                <a:gd name="T13" fmla="*/ 7 h 11"/>
                <a:gd name="T14" fmla="*/ 2 w 13"/>
                <a:gd name="T15" fmla="*/ 3 h 11"/>
                <a:gd name="T16" fmla="*/ 8 w 13"/>
                <a:gd name="T17" fmla="*/ 0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1"/>
                <a:gd name="T29" fmla="*/ 13 w 13"/>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1">
                  <a:moveTo>
                    <a:pt x="8" y="0"/>
                  </a:moveTo>
                  <a:lnTo>
                    <a:pt x="9" y="2"/>
                  </a:lnTo>
                  <a:lnTo>
                    <a:pt x="13" y="4"/>
                  </a:lnTo>
                  <a:lnTo>
                    <a:pt x="13" y="7"/>
                  </a:lnTo>
                  <a:lnTo>
                    <a:pt x="8" y="11"/>
                  </a:lnTo>
                  <a:lnTo>
                    <a:pt x="1" y="11"/>
                  </a:lnTo>
                  <a:lnTo>
                    <a:pt x="0" y="7"/>
                  </a:lnTo>
                  <a:lnTo>
                    <a:pt x="2" y="3"/>
                  </a:lnTo>
                  <a:lnTo>
                    <a:pt x="8"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90" name="Freeform 84"/>
            <p:cNvSpPr>
              <a:spLocks/>
            </p:cNvSpPr>
            <p:nvPr/>
          </p:nvSpPr>
          <p:spPr bwMode="gray">
            <a:xfrm>
              <a:off x="5390" y="2758"/>
              <a:ext cx="13" cy="11"/>
            </a:xfrm>
            <a:custGeom>
              <a:avLst/>
              <a:gdLst>
                <a:gd name="T0" fmla="*/ 8 w 13"/>
                <a:gd name="T1" fmla="*/ 0 h 10"/>
                <a:gd name="T2" fmla="*/ 10 w 13"/>
                <a:gd name="T3" fmla="*/ 1 h 10"/>
                <a:gd name="T4" fmla="*/ 13 w 13"/>
                <a:gd name="T5" fmla="*/ 3 h 10"/>
                <a:gd name="T6" fmla="*/ 13 w 13"/>
                <a:gd name="T7" fmla="*/ 7 h 10"/>
                <a:gd name="T8" fmla="*/ 8 w 13"/>
                <a:gd name="T9" fmla="*/ 10 h 10"/>
                <a:gd name="T10" fmla="*/ 1 w 13"/>
                <a:gd name="T11" fmla="*/ 10 h 10"/>
                <a:gd name="T12" fmla="*/ 0 w 13"/>
                <a:gd name="T13" fmla="*/ 7 h 10"/>
                <a:gd name="T14" fmla="*/ 4 w 13"/>
                <a:gd name="T15" fmla="*/ 2 h 10"/>
                <a:gd name="T16" fmla="*/ 8 w 13"/>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0"/>
                <a:gd name="T29" fmla="*/ 13 w 13"/>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0">
                  <a:moveTo>
                    <a:pt x="8" y="0"/>
                  </a:moveTo>
                  <a:lnTo>
                    <a:pt x="10" y="1"/>
                  </a:lnTo>
                  <a:lnTo>
                    <a:pt x="13" y="3"/>
                  </a:lnTo>
                  <a:lnTo>
                    <a:pt x="13" y="7"/>
                  </a:lnTo>
                  <a:lnTo>
                    <a:pt x="8" y="10"/>
                  </a:lnTo>
                  <a:lnTo>
                    <a:pt x="1" y="10"/>
                  </a:lnTo>
                  <a:lnTo>
                    <a:pt x="0" y="7"/>
                  </a:lnTo>
                  <a:lnTo>
                    <a:pt x="4" y="2"/>
                  </a:lnTo>
                  <a:lnTo>
                    <a:pt x="8"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91" name="Freeform 85"/>
            <p:cNvSpPr>
              <a:spLocks/>
            </p:cNvSpPr>
            <p:nvPr/>
          </p:nvSpPr>
          <p:spPr bwMode="gray">
            <a:xfrm>
              <a:off x="5217" y="2732"/>
              <a:ext cx="13" cy="13"/>
            </a:xfrm>
            <a:custGeom>
              <a:avLst/>
              <a:gdLst>
                <a:gd name="T0" fmla="*/ 8 w 13"/>
                <a:gd name="T1" fmla="*/ 0 h 10"/>
                <a:gd name="T2" fmla="*/ 10 w 13"/>
                <a:gd name="T3" fmla="*/ 1 h 10"/>
                <a:gd name="T4" fmla="*/ 13 w 13"/>
                <a:gd name="T5" fmla="*/ 3 h 10"/>
                <a:gd name="T6" fmla="*/ 13 w 13"/>
                <a:gd name="T7" fmla="*/ 7 h 10"/>
                <a:gd name="T8" fmla="*/ 8 w 13"/>
                <a:gd name="T9" fmla="*/ 10 h 10"/>
                <a:gd name="T10" fmla="*/ 1 w 13"/>
                <a:gd name="T11" fmla="*/ 10 h 10"/>
                <a:gd name="T12" fmla="*/ 0 w 13"/>
                <a:gd name="T13" fmla="*/ 7 h 10"/>
                <a:gd name="T14" fmla="*/ 3 w 13"/>
                <a:gd name="T15" fmla="*/ 2 h 10"/>
                <a:gd name="T16" fmla="*/ 8 w 13"/>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0"/>
                <a:gd name="T29" fmla="*/ 13 w 13"/>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0">
                  <a:moveTo>
                    <a:pt x="8" y="0"/>
                  </a:moveTo>
                  <a:lnTo>
                    <a:pt x="10" y="1"/>
                  </a:lnTo>
                  <a:lnTo>
                    <a:pt x="13" y="3"/>
                  </a:lnTo>
                  <a:lnTo>
                    <a:pt x="13" y="7"/>
                  </a:lnTo>
                  <a:lnTo>
                    <a:pt x="8" y="10"/>
                  </a:lnTo>
                  <a:lnTo>
                    <a:pt x="1" y="10"/>
                  </a:lnTo>
                  <a:lnTo>
                    <a:pt x="0" y="7"/>
                  </a:lnTo>
                  <a:lnTo>
                    <a:pt x="3" y="2"/>
                  </a:lnTo>
                  <a:lnTo>
                    <a:pt x="8"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92" name="Freeform 86"/>
            <p:cNvSpPr>
              <a:spLocks/>
            </p:cNvSpPr>
            <p:nvPr/>
          </p:nvSpPr>
          <p:spPr bwMode="gray">
            <a:xfrm>
              <a:off x="5460" y="2638"/>
              <a:ext cx="13" cy="13"/>
            </a:xfrm>
            <a:custGeom>
              <a:avLst/>
              <a:gdLst>
                <a:gd name="T0" fmla="*/ 7 w 12"/>
                <a:gd name="T1" fmla="*/ 0 h 12"/>
                <a:gd name="T2" fmla="*/ 9 w 12"/>
                <a:gd name="T3" fmla="*/ 1 h 12"/>
                <a:gd name="T4" fmla="*/ 11 w 12"/>
                <a:gd name="T5" fmla="*/ 4 h 12"/>
                <a:gd name="T6" fmla="*/ 12 w 12"/>
                <a:gd name="T7" fmla="*/ 7 h 12"/>
                <a:gd name="T8" fmla="*/ 7 w 12"/>
                <a:gd name="T9" fmla="*/ 11 h 12"/>
                <a:gd name="T10" fmla="*/ 1 w 12"/>
                <a:gd name="T11" fmla="*/ 12 h 12"/>
                <a:gd name="T12" fmla="*/ 0 w 12"/>
                <a:gd name="T13" fmla="*/ 8 h 12"/>
                <a:gd name="T14" fmla="*/ 2 w 12"/>
                <a:gd name="T15" fmla="*/ 4 h 12"/>
                <a:gd name="T16" fmla="*/ 7 w 12"/>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2"/>
                <a:gd name="T29" fmla="*/ 12 w 12"/>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2">
                  <a:moveTo>
                    <a:pt x="7" y="0"/>
                  </a:moveTo>
                  <a:lnTo>
                    <a:pt x="9" y="1"/>
                  </a:lnTo>
                  <a:lnTo>
                    <a:pt x="11" y="4"/>
                  </a:lnTo>
                  <a:lnTo>
                    <a:pt x="12" y="7"/>
                  </a:lnTo>
                  <a:lnTo>
                    <a:pt x="7" y="11"/>
                  </a:lnTo>
                  <a:lnTo>
                    <a:pt x="1" y="12"/>
                  </a:lnTo>
                  <a:lnTo>
                    <a:pt x="0" y="8"/>
                  </a:lnTo>
                  <a:lnTo>
                    <a:pt x="2" y="4"/>
                  </a:lnTo>
                  <a:lnTo>
                    <a:pt x="7"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93" name="Freeform 87"/>
            <p:cNvSpPr>
              <a:spLocks/>
            </p:cNvSpPr>
            <p:nvPr/>
          </p:nvSpPr>
          <p:spPr bwMode="gray">
            <a:xfrm>
              <a:off x="5243" y="2811"/>
              <a:ext cx="22" cy="13"/>
            </a:xfrm>
            <a:custGeom>
              <a:avLst/>
              <a:gdLst>
                <a:gd name="T0" fmla="*/ 13 w 18"/>
                <a:gd name="T1" fmla="*/ 0 h 12"/>
                <a:gd name="T2" fmla="*/ 12 w 18"/>
                <a:gd name="T3" fmla="*/ 0 h 12"/>
                <a:gd name="T4" fmla="*/ 11 w 18"/>
                <a:gd name="T5" fmla="*/ 1 h 12"/>
                <a:gd name="T6" fmla="*/ 10 w 18"/>
                <a:gd name="T7" fmla="*/ 1 h 12"/>
                <a:gd name="T8" fmla="*/ 9 w 18"/>
                <a:gd name="T9" fmla="*/ 2 h 12"/>
                <a:gd name="T10" fmla="*/ 8 w 18"/>
                <a:gd name="T11" fmla="*/ 1 h 12"/>
                <a:gd name="T12" fmla="*/ 8 w 18"/>
                <a:gd name="T13" fmla="*/ 1 h 12"/>
                <a:gd name="T14" fmla="*/ 7 w 18"/>
                <a:gd name="T15" fmla="*/ 0 h 12"/>
                <a:gd name="T16" fmla="*/ 7 w 18"/>
                <a:gd name="T17" fmla="*/ 0 h 12"/>
                <a:gd name="T18" fmla="*/ 2 w 18"/>
                <a:gd name="T19" fmla="*/ 4 h 12"/>
                <a:gd name="T20" fmla="*/ 0 w 18"/>
                <a:gd name="T21" fmla="*/ 8 h 12"/>
                <a:gd name="T22" fmla="*/ 1 w 18"/>
                <a:gd name="T23" fmla="*/ 12 h 12"/>
                <a:gd name="T24" fmla="*/ 7 w 18"/>
                <a:gd name="T25" fmla="*/ 12 h 12"/>
                <a:gd name="T26" fmla="*/ 7 w 18"/>
                <a:gd name="T27" fmla="*/ 10 h 12"/>
                <a:gd name="T28" fmla="*/ 7 w 18"/>
                <a:gd name="T29" fmla="*/ 10 h 12"/>
                <a:gd name="T30" fmla="*/ 7 w 18"/>
                <a:gd name="T31" fmla="*/ 10 h 12"/>
                <a:gd name="T32" fmla="*/ 8 w 18"/>
                <a:gd name="T33" fmla="*/ 10 h 12"/>
                <a:gd name="T34" fmla="*/ 9 w 18"/>
                <a:gd name="T35" fmla="*/ 12 h 12"/>
                <a:gd name="T36" fmla="*/ 10 w 18"/>
                <a:gd name="T37" fmla="*/ 12 h 12"/>
                <a:gd name="T38" fmla="*/ 11 w 18"/>
                <a:gd name="T39" fmla="*/ 12 h 12"/>
                <a:gd name="T40" fmla="*/ 13 w 18"/>
                <a:gd name="T41" fmla="*/ 10 h 12"/>
                <a:gd name="T42" fmla="*/ 18 w 18"/>
                <a:gd name="T43" fmla="*/ 7 h 12"/>
                <a:gd name="T44" fmla="*/ 18 w 18"/>
                <a:gd name="T45" fmla="*/ 4 h 12"/>
                <a:gd name="T46" fmla="*/ 15 w 18"/>
                <a:gd name="T47" fmla="*/ 1 h 12"/>
                <a:gd name="T48" fmla="*/ 13 w 18"/>
                <a:gd name="T49" fmla="*/ 0 h 1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8"/>
                <a:gd name="T76" fmla="*/ 0 h 12"/>
                <a:gd name="T77" fmla="*/ 18 w 18"/>
                <a:gd name="T78" fmla="*/ 12 h 1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8" h="12">
                  <a:moveTo>
                    <a:pt x="13" y="0"/>
                  </a:moveTo>
                  <a:lnTo>
                    <a:pt x="12" y="0"/>
                  </a:lnTo>
                  <a:lnTo>
                    <a:pt x="11" y="1"/>
                  </a:lnTo>
                  <a:lnTo>
                    <a:pt x="10" y="1"/>
                  </a:lnTo>
                  <a:lnTo>
                    <a:pt x="9" y="2"/>
                  </a:lnTo>
                  <a:lnTo>
                    <a:pt x="8" y="1"/>
                  </a:lnTo>
                  <a:lnTo>
                    <a:pt x="7" y="0"/>
                  </a:lnTo>
                  <a:lnTo>
                    <a:pt x="2" y="4"/>
                  </a:lnTo>
                  <a:lnTo>
                    <a:pt x="0" y="8"/>
                  </a:lnTo>
                  <a:lnTo>
                    <a:pt x="1" y="12"/>
                  </a:lnTo>
                  <a:lnTo>
                    <a:pt x="7" y="12"/>
                  </a:lnTo>
                  <a:lnTo>
                    <a:pt x="7" y="10"/>
                  </a:lnTo>
                  <a:lnTo>
                    <a:pt x="8" y="10"/>
                  </a:lnTo>
                  <a:lnTo>
                    <a:pt x="9" y="12"/>
                  </a:lnTo>
                  <a:lnTo>
                    <a:pt x="10" y="12"/>
                  </a:lnTo>
                  <a:lnTo>
                    <a:pt x="11" y="12"/>
                  </a:lnTo>
                  <a:lnTo>
                    <a:pt x="13" y="10"/>
                  </a:lnTo>
                  <a:lnTo>
                    <a:pt x="18" y="7"/>
                  </a:lnTo>
                  <a:lnTo>
                    <a:pt x="18" y="4"/>
                  </a:lnTo>
                  <a:lnTo>
                    <a:pt x="15" y="1"/>
                  </a:lnTo>
                  <a:lnTo>
                    <a:pt x="13"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94" name="Freeform 88"/>
            <p:cNvSpPr>
              <a:spLocks/>
            </p:cNvSpPr>
            <p:nvPr/>
          </p:nvSpPr>
          <p:spPr bwMode="gray">
            <a:xfrm>
              <a:off x="5572" y="2780"/>
              <a:ext cx="13" cy="11"/>
            </a:xfrm>
            <a:custGeom>
              <a:avLst/>
              <a:gdLst>
                <a:gd name="T0" fmla="*/ 8 w 13"/>
                <a:gd name="T1" fmla="*/ 0 h 11"/>
                <a:gd name="T2" fmla="*/ 9 w 13"/>
                <a:gd name="T3" fmla="*/ 2 h 11"/>
                <a:gd name="T4" fmla="*/ 13 w 13"/>
                <a:gd name="T5" fmla="*/ 4 h 11"/>
                <a:gd name="T6" fmla="*/ 13 w 13"/>
                <a:gd name="T7" fmla="*/ 7 h 11"/>
                <a:gd name="T8" fmla="*/ 8 w 13"/>
                <a:gd name="T9" fmla="*/ 11 h 11"/>
                <a:gd name="T10" fmla="*/ 1 w 13"/>
                <a:gd name="T11" fmla="*/ 11 h 11"/>
                <a:gd name="T12" fmla="*/ 0 w 13"/>
                <a:gd name="T13" fmla="*/ 7 h 11"/>
                <a:gd name="T14" fmla="*/ 3 w 13"/>
                <a:gd name="T15" fmla="*/ 3 h 11"/>
                <a:gd name="T16" fmla="*/ 8 w 13"/>
                <a:gd name="T17" fmla="*/ 0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1"/>
                <a:gd name="T29" fmla="*/ 13 w 13"/>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1">
                  <a:moveTo>
                    <a:pt x="8" y="0"/>
                  </a:moveTo>
                  <a:lnTo>
                    <a:pt x="9" y="2"/>
                  </a:lnTo>
                  <a:lnTo>
                    <a:pt x="13" y="4"/>
                  </a:lnTo>
                  <a:lnTo>
                    <a:pt x="13" y="7"/>
                  </a:lnTo>
                  <a:lnTo>
                    <a:pt x="8" y="11"/>
                  </a:lnTo>
                  <a:lnTo>
                    <a:pt x="1" y="11"/>
                  </a:lnTo>
                  <a:lnTo>
                    <a:pt x="0" y="7"/>
                  </a:lnTo>
                  <a:lnTo>
                    <a:pt x="3" y="3"/>
                  </a:lnTo>
                  <a:lnTo>
                    <a:pt x="8"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95" name="Freeform 89"/>
            <p:cNvSpPr>
              <a:spLocks/>
            </p:cNvSpPr>
            <p:nvPr/>
          </p:nvSpPr>
          <p:spPr bwMode="gray">
            <a:xfrm>
              <a:off x="5390" y="2570"/>
              <a:ext cx="11" cy="11"/>
            </a:xfrm>
            <a:custGeom>
              <a:avLst/>
              <a:gdLst>
                <a:gd name="T0" fmla="*/ 7 w 12"/>
                <a:gd name="T1" fmla="*/ 0 h 10"/>
                <a:gd name="T2" fmla="*/ 8 w 12"/>
                <a:gd name="T3" fmla="*/ 1 h 10"/>
                <a:gd name="T4" fmla="*/ 12 w 12"/>
                <a:gd name="T5" fmla="*/ 4 h 10"/>
                <a:gd name="T6" fmla="*/ 12 w 12"/>
                <a:gd name="T7" fmla="*/ 7 h 10"/>
                <a:gd name="T8" fmla="*/ 7 w 12"/>
                <a:gd name="T9" fmla="*/ 10 h 10"/>
                <a:gd name="T10" fmla="*/ 1 w 12"/>
                <a:gd name="T11" fmla="*/ 10 h 10"/>
                <a:gd name="T12" fmla="*/ 0 w 12"/>
                <a:gd name="T13" fmla="*/ 7 h 10"/>
                <a:gd name="T14" fmla="*/ 2 w 12"/>
                <a:gd name="T15" fmla="*/ 2 h 10"/>
                <a:gd name="T16" fmla="*/ 7 w 12"/>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0"/>
                <a:gd name="T29" fmla="*/ 12 w 12"/>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0">
                  <a:moveTo>
                    <a:pt x="7" y="0"/>
                  </a:moveTo>
                  <a:lnTo>
                    <a:pt x="8" y="1"/>
                  </a:lnTo>
                  <a:lnTo>
                    <a:pt x="12" y="4"/>
                  </a:lnTo>
                  <a:lnTo>
                    <a:pt x="12" y="7"/>
                  </a:lnTo>
                  <a:lnTo>
                    <a:pt x="7" y="10"/>
                  </a:lnTo>
                  <a:lnTo>
                    <a:pt x="1" y="10"/>
                  </a:lnTo>
                  <a:lnTo>
                    <a:pt x="0" y="7"/>
                  </a:lnTo>
                  <a:lnTo>
                    <a:pt x="2" y="2"/>
                  </a:lnTo>
                  <a:lnTo>
                    <a:pt x="7"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96" name="Freeform 90"/>
            <p:cNvSpPr>
              <a:spLocks/>
            </p:cNvSpPr>
            <p:nvPr/>
          </p:nvSpPr>
          <p:spPr bwMode="gray">
            <a:xfrm>
              <a:off x="5029" y="2872"/>
              <a:ext cx="15" cy="31"/>
            </a:xfrm>
            <a:custGeom>
              <a:avLst/>
              <a:gdLst>
                <a:gd name="T0" fmla="*/ 15 w 15"/>
                <a:gd name="T1" fmla="*/ 0 h 27"/>
                <a:gd name="T2" fmla="*/ 11 w 15"/>
                <a:gd name="T3" fmla="*/ 3 h 27"/>
                <a:gd name="T4" fmla="*/ 4 w 15"/>
                <a:gd name="T5" fmla="*/ 11 h 27"/>
                <a:gd name="T6" fmla="*/ 0 w 15"/>
                <a:gd name="T7" fmla="*/ 20 h 27"/>
                <a:gd name="T8" fmla="*/ 4 w 15"/>
                <a:gd name="T9" fmla="*/ 27 h 27"/>
                <a:gd name="T10" fmla="*/ 11 w 15"/>
                <a:gd name="T11" fmla="*/ 26 h 27"/>
                <a:gd name="T12" fmla="*/ 15 w 15"/>
                <a:gd name="T13" fmla="*/ 16 h 27"/>
                <a:gd name="T14" fmla="*/ 15 w 15"/>
                <a:gd name="T15" fmla="*/ 5 h 27"/>
                <a:gd name="T16" fmla="*/ 15 w 15"/>
                <a:gd name="T17" fmla="*/ 0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27"/>
                <a:gd name="T29" fmla="*/ 15 w 15"/>
                <a:gd name="T30" fmla="*/ 27 h 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27">
                  <a:moveTo>
                    <a:pt x="15" y="0"/>
                  </a:moveTo>
                  <a:lnTo>
                    <a:pt x="11" y="3"/>
                  </a:lnTo>
                  <a:lnTo>
                    <a:pt x="4" y="11"/>
                  </a:lnTo>
                  <a:lnTo>
                    <a:pt x="0" y="20"/>
                  </a:lnTo>
                  <a:lnTo>
                    <a:pt x="4" y="27"/>
                  </a:lnTo>
                  <a:lnTo>
                    <a:pt x="11" y="26"/>
                  </a:lnTo>
                  <a:lnTo>
                    <a:pt x="15" y="16"/>
                  </a:lnTo>
                  <a:lnTo>
                    <a:pt x="15" y="5"/>
                  </a:lnTo>
                  <a:lnTo>
                    <a:pt x="15" y="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97" name="Freeform 91"/>
            <p:cNvSpPr>
              <a:spLocks/>
            </p:cNvSpPr>
            <p:nvPr/>
          </p:nvSpPr>
          <p:spPr bwMode="gray">
            <a:xfrm>
              <a:off x="4488" y="2057"/>
              <a:ext cx="26" cy="22"/>
            </a:xfrm>
            <a:custGeom>
              <a:avLst/>
              <a:gdLst>
                <a:gd name="T0" fmla="*/ 24 w 24"/>
                <a:gd name="T1" fmla="*/ 7 h 21"/>
                <a:gd name="T2" fmla="*/ 22 w 24"/>
                <a:gd name="T3" fmla="*/ 5 h 21"/>
                <a:gd name="T4" fmla="*/ 18 w 24"/>
                <a:gd name="T5" fmla="*/ 1 h 21"/>
                <a:gd name="T6" fmla="*/ 12 w 24"/>
                <a:gd name="T7" fmla="*/ 0 h 21"/>
                <a:gd name="T8" fmla="*/ 5 w 24"/>
                <a:gd name="T9" fmla="*/ 3 h 21"/>
                <a:gd name="T10" fmla="*/ 0 w 24"/>
                <a:gd name="T11" fmla="*/ 8 h 21"/>
                <a:gd name="T12" fmla="*/ 2 w 24"/>
                <a:gd name="T13" fmla="*/ 14 h 21"/>
                <a:gd name="T14" fmla="*/ 4 w 24"/>
                <a:gd name="T15" fmla="*/ 18 h 21"/>
                <a:gd name="T16" fmla="*/ 5 w 24"/>
                <a:gd name="T17" fmla="*/ 20 h 21"/>
                <a:gd name="T18" fmla="*/ 9 w 24"/>
                <a:gd name="T19" fmla="*/ 21 h 21"/>
                <a:gd name="T20" fmla="*/ 14 w 24"/>
                <a:gd name="T21" fmla="*/ 21 h 21"/>
                <a:gd name="T22" fmla="*/ 21 w 24"/>
                <a:gd name="T23" fmla="*/ 18 h 21"/>
                <a:gd name="T24" fmla="*/ 24 w 24"/>
                <a:gd name="T25" fmla="*/ 7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
                <a:gd name="T40" fmla="*/ 0 h 21"/>
                <a:gd name="T41" fmla="*/ 24 w 24"/>
                <a:gd name="T42" fmla="*/ 21 h 2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 h="21">
                  <a:moveTo>
                    <a:pt x="24" y="7"/>
                  </a:moveTo>
                  <a:lnTo>
                    <a:pt x="22" y="5"/>
                  </a:lnTo>
                  <a:lnTo>
                    <a:pt x="18" y="1"/>
                  </a:lnTo>
                  <a:lnTo>
                    <a:pt x="12" y="0"/>
                  </a:lnTo>
                  <a:lnTo>
                    <a:pt x="5" y="3"/>
                  </a:lnTo>
                  <a:lnTo>
                    <a:pt x="0" y="8"/>
                  </a:lnTo>
                  <a:lnTo>
                    <a:pt x="2" y="14"/>
                  </a:lnTo>
                  <a:lnTo>
                    <a:pt x="4" y="18"/>
                  </a:lnTo>
                  <a:lnTo>
                    <a:pt x="5" y="20"/>
                  </a:lnTo>
                  <a:lnTo>
                    <a:pt x="9" y="21"/>
                  </a:lnTo>
                  <a:lnTo>
                    <a:pt x="14" y="21"/>
                  </a:lnTo>
                  <a:lnTo>
                    <a:pt x="21" y="18"/>
                  </a:lnTo>
                  <a:lnTo>
                    <a:pt x="24" y="7"/>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98" name="Freeform 92"/>
            <p:cNvSpPr>
              <a:spLocks/>
            </p:cNvSpPr>
            <p:nvPr/>
          </p:nvSpPr>
          <p:spPr bwMode="gray">
            <a:xfrm>
              <a:off x="4963" y="2899"/>
              <a:ext cx="33" cy="15"/>
            </a:xfrm>
            <a:custGeom>
              <a:avLst/>
              <a:gdLst>
                <a:gd name="T0" fmla="*/ 29 w 29"/>
                <a:gd name="T1" fmla="*/ 10 h 14"/>
                <a:gd name="T2" fmla="*/ 8 w 29"/>
                <a:gd name="T3" fmla="*/ 0 h 14"/>
                <a:gd name="T4" fmla="*/ 0 w 29"/>
                <a:gd name="T5" fmla="*/ 10 h 14"/>
                <a:gd name="T6" fmla="*/ 3 w 29"/>
                <a:gd name="T7" fmla="*/ 11 h 14"/>
                <a:gd name="T8" fmla="*/ 10 w 29"/>
                <a:gd name="T9" fmla="*/ 12 h 14"/>
                <a:gd name="T10" fmla="*/ 19 w 29"/>
                <a:gd name="T11" fmla="*/ 14 h 14"/>
                <a:gd name="T12" fmla="*/ 29 w 29"/>
                <a:gd name="T13" fmla="*/ 10 h 14"/>
                <a:gd name="T14" fmla="*/ 0 60000 65536"/>
                <a:gd name="T15" fmla="*/ 0 60000 65536"/>
                <a:gd name="T16" fmla="*/ 0 60000 65536"/>
                <a:gd name="T17" fmla="*/ 0 60000 65536"/>
                <a:gd name="T18" fmla="*/ 0 60000 65536"/>
                <a:gd name="T19" fmla="*/ 0 60000 65536"/>
                <a:gd name="T20" fmla="*/ 0 60000 65536"/>
                <a:gd name="T21" fmla="*/ 0 w 29"/>
                <a:gd name="T22" fmla="*/ 0 h 14"/>
                <a:gd name="T23" fmla="*/ 29 w 29"/>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14">
                  <a:moveTo>
                    <a:pt x="29" y="10"/>
                  </a:moveTo>
                  <a:lnTo>
                    <a:pt x="8" y="0"/>
                  </a:lnTo>
                  <a:lnTo>
                    <a:pt x="0" y="10"/>
                  </a:lnTo>
                  <a:lnTo>
                    <a:pt x="3" y="11"/>
                  </a:lnTo>
                  <a:lnTo>
                    <a:pt x="10" y="12"/>
                  </a:lnTo>
                  <a:lnTo>
                    <a:pt x="19" y="14"/>
                  </a:lnTo>
                  <a:lnTo>
                    <a:pt x="29" y="10"/>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99" name="Freeform 93"/>
            <p:cNvSpPr>
              <a:spLocks/>
            </p:cNvSpPr>
            <p:nvPr/>
          </p:nvSpPr>
          <p:spPr bwMode="gray">
            <a:xfrm>
              <a:off x="5136" y="2239"/>
              <a:ext cx="24" cy="22"/>
            </a:xfrm>
            <a:custGeom>
              <a:avLst/>
              <a:gdLst>
                <a:gd name="T0" fmla="*/ 23 w 23"/>
                <a:gd name="T1" fmla="*/ 21 h 21"/>
                <a:gd name="T2" fmla="*/ 23 w 23"/>
                <a:gd name="T3" fmla="*/ 17 h 21"/>
                <a:gd name="T4" fmla="*/ 21 w 23"/>
                <a:gd name="T5" fmla="*/ 10 h 21"/>
                <a:gd name="T6" fmla="*/ 19 w 23"/>
                <a:gd name="T7" fmla="*/ 4 h 21"/>
                <a:gd name="T8" fmla="*/ 13 w 23"/>
                <a:gd name="T9" fmla="*/ 0 h 21"/>
                <a:gd name="T10" fmla="*/ 6 w 23"/>
                <a:gd name="T11" fmla="*/ 0 h 21"/>
                <a:gd name="T12" fmla="*/ 2 w 23"/>
                <a:gd name="T13" fmla="*/ 0 h 21"/>
                <a:gd name="T14" fmla="*/ 0 w 23"/>
                <a:gd name="T15" fmla="*/ 0 h 21"/>
                <a:gd name="T16" fmla="*/ 0 w 23"/>
                <a:gd name="T17" fmla="*/ 4 h 21"/>
                <a:gd name="T18" fmla="*/ 3 w 23"/>
                <a:gd name="T19" fmla="*/ 8 h 21"/>
                <a:gd name="T20" fmla="*/ 10 w 23"/>
                <a:gd name="T21" fmla="*/ 12 h 21"/>
                <a:gd name="T22" fmla="*/ 17 w 23"/>
                <a:gd name="T23" fmla="*/ 16 h 21"/>
                <a:gd name="T24" fmla="*/ 23 w 23"/>
                <a:gd name="T25" fmla="*/ 21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21"/>
                <a:gd name="T41" fmla="*/ 23 w 23"/>
                <a:gd name="T42" fmla="*/ 21 h 2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21">
                  <a:moveTo>
                    <a:pt x="23" y="21"/>
                  </a:moveTo>
                  <a:lnTo>
                    <a:pt x="23" y="17"/>
                  </a:lnTo>
                  <a:lnTo>
                    <a:pt x="21" y="10"/>
                  </a:lnTo>
                  <a:lnTo>
                    <a:pt x="19" y="4"/>
                  </a:lnTo>
                  <a:lnTo>
                    <a:pt x="13" y="0"/>
                  </a:lnTo>
                  <a:lnTo>
                    <a:pt x="6" y="0"/>
                  </a:lnTo>
                  <a:lnTo>
                    <a:pt x="2" y="0"/>
                  </a:lnTo>
                  <a:lnTo>
                    <a:pt x="0" y="0"/>
                  </a:lnTo>
                  <a:lnTo>
                    <a:pt x="0" y="4"/>
                  </a:lnTo>
                  <a:lnTo>
                    <a:pt x="3" y="8"/>
                  </a:lnTo>
                  <a:lnTo>
                    <a:pt x="10" y="12"/>
                  </a:lnTo>
                  <a:lnTo>
                    <a:pt x="17" y="16"/>
                  </a:lnTo>
                  <a:lnTo>
                    <a:pt x="23" y="21"/>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grpSp>
      <p:grpSp>
        <p:nvGrpSpPr>
          <p:cNvPr id="102" name="Group 101"/>
          <p:cNvGrpSpPr/>
          <p:nvPr/>
        </p:nvGrpSpPr>
        <p:grpSpPr bwMode="gray">
          <a:xfrm>
            <a:off x="2158589" y="1578769"/>
            <a:ext cx="1622181" cy="3223022"/>
            <a:chOff x="5557039" y="1749425"/>
            <a:chExt cx="2343150" cy="4297363"/>
          </a:xfrm>
          <a:solidFill>
            <a:srgbClr val="00A1DE"/>
          </a:solidFill>
        </p:grpSpPr>
        <p:sp>
          <p:nvSpPr>
            <p:cNvPr id="103" name="Freeform 18"/>
            <p:cNvSpPr>
              <a:spLocks noChangeArrowheads="1"/>
            </p:cNvSpPr>
            <p:nvPr/>
          </p:nvSpPr>
          <p:spPr bwMode="gray">
            <a:xfrm>
              <a:off x="6757189" y="1884363"/>
              <a:ext cx="488950" cy="409575"/>
            </a:xfrm>
            <a:custGeom>
              <a:avLst/>
              <a:gdLst>
                <a:gd name="T0" fmla="*/ 0 w 340519"/>
                <a:gd name="T1" fmla="*/ 0 h 285080"/>
                <a:gd name="T2" fmla="*/ 340519 w 340519"/>
                <a:gd name="T3" fmla="*/ 285080 h 285080"/>
              </a:gdLst>
              <a:ahLst/>
              <a:cxnLst/>
              <a:rect l="T0" t="T1" r="T2" b="T3"/>
              <a:pathLst>
                <a:path w="340519" h="285080">
                  <a:moveTo>
                    <a:pt x="252412" y="917"/>
                  </a:moveTo>
                  <a:cubicBezTo>
                    <a:pt x="246062" y="1314"/>
                    <a:pt x="220912" y="0"/>
                    <a:pt x="209550" y="5680"/>
                  </a:cubicBezTo>
                  <a:cubicBezTo>
                    <a:pt x="206990" y="6960"/>
                    <a:pt x="204787" y="8855"/>
                    <a:pt x="202406" y="10442"/>
                  </a:cubicBezTo>
                  <a:cubicBezTo>
                    <a:pt x="191013" y="27532"/>
                    <a:pt x="196928" y="20683"/>
                    <a:pt x="185737" y="31874"/>
                  </a:cubicBezTo>
                  <a:lnTo>
                    <a:pt x="178594" y="53305"/>
                  </a:lnTo>
                  <a:cubicBezTo>
                    <a:pt x="177800" y="55686"/>
                    <a:pt x="177987" y="58674"/>
                    <a:pt x="176212" y="60449"/>
                  </a:cubicBezTo>
                  <a:cubicBezTo>
                    <a:pt x="173831" y="62830"/>
                    <a:pt x="171225" y="65005"/>
                    <a:pt x="169069" y="67592"/>
                  </a:cubicBezTo>
                  <a:cubicBezTo>
                    <a:pt x="160784" y="77534"/>
                    <a:pt x="168889" y="73208"/>
                    <a:pt x="157162" y="77117"/>
                  </a:cubicBezTo>
                  <a:cubicBezTo>
                    <a:pt x="151902" y="76741"/>
                    <a:pt x="127504" y="77766"/>
                    <a:pt x="116681" y="72355"/>
                  </a:cubicBezTo>
                  <a:cubicBezTo>
                    <a:pt x="114121" y="71075"/>
                    <a:pt x="111918" y="69180"/>
                    <a:pt x="109537" y="67592"/>
                  </a:cubicBezTo>
                  <a:cubicBezTo>
                    <a:pt x="89925" y="74130"/>
                    <a:pt x="100220" y="71645"/>
                    <a:pt x="78581" y="74736"/>
                  </a:cubicBezTo>
                  <a:lnTo>
                    <a:pt x="57150" y="81880"/>
                  </a:lnTo>
                  <a:cubicBezTo>
                    <a:pt x="54769" y="82674"/>
                    <a:pt x="52251" y="83138"/>
                    <a:pt x="50006" y="84261"/>
                  </a:cubicBezTo>
                  <a:cubicBezTo>
                    <a:pt x="46831" y="85849"/>
                    <a:pt x="43906" y="88090"/>
                    <a:pt x="40481" y="89024"/>
                  </a:cubicBezTo>
                  <a:cubicBezTo>
                    <a:pt x="35066" y="90501"/>
                    <a:pt x="29368" y="90611"/>
                    <a:pt x="23812" y="91405"/>
                  </a:cubicBezTo>
                  <a:cubicBezTo>
                    <a:pt x="21431" y="93786"/>
                    <a:pt x="19327" y="96482"/>
                    <a:pt x="16669" y="98549"/>
                  </a:cubicBezTo>
                  <a:cubicBezTo>
                    <a:pt x="12151" y="102063"/>
                    <a:pt x="2381" y="108074"/>
                    <a:pt x="2381" y="108074"/>
                  </a:cubicBezTo>
                  <a:cubicBezTo>
                    <a:pt x="1587" y="110455"/>
                    <a:pt x="0" y="112707"/>
                    <a:pt x="0" y="115217"/>
                  </a:cubicBezTo>
                  <a:cubicBezTo>
                    <a:pt x="0" y="119265"/>
                    <a:pt x="136" y="123756"/>
                    <a:pt x="2381" y="127124"/>
                  </a:cubicBezTo>
                  <a:cubicBezTo>
                    <a:pt x="3773" y="129213"/>
                    <a:pt x="7111" y="128815"/>
                    <a:pt x="9525" y="129505"/>
                  </a:cubicBezTo>
                  <a:cubicBezTo>
                    <a:pt x="14287" y="133870"/>
                    <a:pt x="26194" y="148158"/>
                    <a:pt x="30956" y="153317"/>
                  </a:cubicBezTo>
                  <a:cubicBezTo>
                    <a:pt x="33112" y="155904"/>
                    <a:pt x="34973" y="159210"/>
                    <a:pt x="38100" y="160461"/>
                  </a:cubicBezTo>
                  <a:cubicBezTo>
                    <a:pt x="43311" y="162545"/>
                    <a:pt x="49213" y="162048"/>
                    <a:pt x="54769" y="162842"/>
                  </a:cubicBezTo>
                  <a:cubicBezTo>
                    <a:pt x="65148" y="166302"/>
                    <a:pt x="68654" y="166079"/>
                    <a:pt x="76200" y="172367"/>
                  </a:cubicBezTo>
                  <a:cubicBezTo>
                    <a:pt x="78787" y="174523"/>
                    <a:pt x="81276" y="176853"/>
                    <a:pt x="83344" y="179511"/>
                  </a:cubicBezTo>
                  <a:cubicBezTo>
                    <a:pt x="86858" y="184029"/>
                    <a:pt x="92869" y="193799"/>
                    <a:pt x="92869" y="193799"/>
                  </a:cubicBezTo>
                  <a:cubicBezTo>
                    <a:pt x="93663" y="196180"/>
                    <a:pt x="94031" y="198748"/>
                    <a:pt x="95250" y="200942"/>
                  </a:cubicBezTo>
                  <a:cubicBezTo>
                    <a:pt x="98030" y="205946"/>
                    <a:pt x="104775" y="215230"/>
                    <a:pt x="104775" y="215230"/>
                  </a:cubicBezTo>
                  <a:cubicBezTo>
                    <a:pt x="105569" y="219992"/>
                    <a:pt x="105629" y="224937"/>
                    <a:pt x="107156" y="229517"/>
                  </a:cubicBezTo>
                  <a:cubicBezTo>
                    <a:pt x="108061" y="232232"/>
                    <a:pt x="110639" y="234101"/>
                    <a:pt x="111919" y="236661"/>
                  </a:cubicBezTo>
                  <a:cubicBezTo>
                    <a:pt x="113042" y="238906"/>
                    <a:pt x="113506" y="241424"/>
                    <a:pt x="114300" y="243805"/>
                  </a:cubicBezTo>
                  <a:cubicBezTo>
                    <a:pt x="134536" y="230313"/>
                    <a:pt x="103199" y="252529"/>
                    <a:pt x="130969" y="224755"/>
                  </a:cubicBezTo>
                  <a:cubicBezTo>
                    <a:pt x="140136" y="215587"/>
                    <a:pt x="135310" y="219479"/>
                    <a:pt x="145256" y="212849"/>
                  </a:cubicBezTo>
                  <a:cubicBezTo>
                    <a:pt x="146050" y="210468"/>
                    <a:pt x="147028" y="208140"/>
                    <a:pt x="147637" y="205705"/>
                  </a:cubicBezTo>
                  <a:cubicBezTo>
                    <a:pt x="148619" y="201779"/>
                    <a:pt x="147774" y="197167"/>
                    <a:pt x="150019" y="193799"/>
                  </a:cubicBezTo>
                  <a:cubicBezTo>
                    <a:pt x="151411" y="191711"/>
                    <a:pt x="154781" y="192211"/>
                    <a:pt x="157162" y="191417"/>
                  </a:cubicBezTo>
                  <a:lnTo>
                    <a:pt x="178594" y="215230"/>
                  </a:lnTo>
                  <a:cubicBezTo>
                    <a:pt x="180522" y="216837"/>
                    <a:pt x="183249" y="217279"/>
                    <a:pt x="185737" y="217611"/>
                  </a:cubicBezTo>
                  <a:cubicBezTo>
                    <a:pt x="195211" y="218874"/>
                    <a:pt x="204787" y="219198"/>
                    <a:pt x="214312" y="219992"/>
                  </a:cubicBezTo>
                  <a:cubicBezTo>
                    <a:pt x="219075" y="223167"/>
                    <a:pt x="226790" y="224087"/>
                    <a:pt x="228600" y="229517"/>
                  </a:cubicBezTo>
                  <a:lnTo>
                    <a:pt x="233362" y="243805"/>
                  </a:lnTo>
                  <a:cubicBezTo>
                    <a:pt x="235060" y="248899"/>
                    <a:pt x="236163" y="254292"/>
                    <a:pt x="240506" y="258092"/>
                  </a:cubicBezTo>
                  <a:cubicBezTo>
                    <a:pt x="244814" y="261861"/>
                    <a:pt x="250031" y="264442"/>
                    <a:pt x="254794" y="267617"/>
                  </a:cubicBezTo>
                  <a:lnTo>
                    <a:pt x="269081" y="277142"/>
                  </a:lnTo>
                  <a:lnTo>
                    <a:pt x="283369" y="281905"/>
                  </a:lnTo>
                  <a:lnTo>
                    <a:pt x="290512" y="284286"/>
                  </a:lnTo>
                  <a:cubicBezTo>
                    <a:pt x="299088" y="282857"/>
                    <a:pt x="307181" y="285080"/>
                    <a:pt x="309562" y="274761"/>
                  </a:cubicBezTo>
                  <a:cubicBezTo>
                    <a:pt x="311356" y="266988"/>
                    <a:pt x="310816" y="258846"/>
                    <a:pt x="311944" y="250949"/>
                  </a:cubicBezTo>
                  <a:cubicBezTo>
                    <a:pt x="312407" y="247709"/>
                    <a:pt x="313385" y="244559"/>
                    <a:pt x="314325" y="241424"/>
                  </a:cubicBezTo>
                  <a:cubicBezTo>
                    <a:pt x="314349" y="241344"/>
                    <a:pt x="320265" y="223603"/>
                    <a:pt x="321469" y="219992"/>
                  </a:cubicBezTo>
                  <a:lnTo>
                    <a:pt x="326231" y="205705"/>
                  </a:lnTo>
                  <a:cubicBezTo>
                    <a:pt x="327025" y="203324"/>
                    <a:pt x="326837" y="200336"/>
                    <a:pt x="328612" y="198561"/>
                  </a:cubicBezTo>
                  <a:cubicBezTo>
                    <a:pt x="337780" y="189393"/>
                    <a:pt x="333888" y="194219"/>
                    <a:pt x="340519" y="184274"/>
                  </a:cubicBezTo>
                  <a:cubicBezTo>
                    <a:pt x="339725" y="179511"/>
                    <a:pt x="340296" y="174305"/>
                    <a:pt x="338137" y="169986"/>
                  </a:cubicBezTo>
                  <a:cubicBezTo>
                    <a:pt x="335863" y="165438"/>
                    <a:pt x="327605" y="164720"/>
                    <a:pt x="323850" y="162842"/>
                  </a:cubicBezTo>
                  <a:cubicBezTo>
                    <a:pt x="321290" y="161562"/>
                    <a:pt x="319321" y="159242"/>
                    <a:pt x="316706" y="158080"/>
                  </a:cubicBezTo>
                  <a:cubicBezTo>
                    <a:pt x="302268" y="151663"/>
                    <a:pt x="303111" y="154264"/>
                    <a:pt x="288131" y="150936"/>
                  </a:cubicBezTo>
                  <a:cubicBezTo>
                    <a:pt x="285681" y="150392"/>
                    <a:pt x="283448" y="149047"/>
                    <a:pt x="280987" y="148555"/>
                  </a:cubicBezTo>
                  <a:cubicBezTo>
                    <a:pt x="275484" y="147454"/>
                    <a:pt x="269875" y="146968"/>
                    <a:pt x="264319" y="146174"/>
                  </a:cubicBezTo>
                  <a:cubicBezTo>
                    <a:pt x="262731" y="143793"/>
                    <a:pt x="261580" y="141054"/>
                    <a:pt x="259556" y="139030"/>
                  </a:cubicBezTo>
                  <a:cubicBezTo>
                    <a:pt x="257532" y="137006"/>
                    <a:pt x="253033" y="137061"/>
                    <a:pt x="252412" y="134267"/>
                  </a:cubicBezTo>
                  <a:cubicBezTo>
                    <a:pt x="251195" y="128788"/>
                    <a:pt x="254000" y="123155"/>
                    <a:pt x="254794" y="117599"/>
                  </a:cubicBezTo>
                  <a:cubicBezTo>
                    <a:pt x="262731" y="118393"/>
                    <a:pt x="270992" y="117601"/>
                    <a:pt x="278606" y="119980"/>
                  </a:cubicBezTo>
                  <a:cubicBezTo>
                    <a:pt x="284069" y="121687"/>
                    <a:pt x="292894" y="129505"/>
                    <a:pt x="292894" y="129505"/>
                  </a:cubicBezTo>
                  <a:cubicBezTo>
                    <a:pt x="301238" y="126724"/>
                    <a:pt x="300938" y="128007"/>
                    <a:pt x="307181" y="119980"/>
                  </a:cubicBezTo>
                  <a:cubicBezTo>
                    <a:pt x="310695" y="115462"/>
                    <a:pt x="316706" y="105692"/>
                    <a:pt x="316706" y="105692"/>
                  </a:cubicBezTo>
                  <a:cubicBezTo>
                    <a:pt x="304008" y="86646"/>
                    <a:pt x="320674" y="109660"/>
                    <a:pt x="304800" y="93786"/>
                  </a:cubicBezTo>
                  <a:cubicBezTo>
                    <a:pt x="298503" y="87489"/>
                    <a:pt x="301669" y="84374"/>
                    <a:pt x="292894" y="79499"/>
                  </a:cubicBezTo>
                  <a:cubicBezTo>
                    <a:pt x="286094" y="75721"/>
                    <a:pt x="274397" y="73894"/>
                    <a:pt x="266700" y="72355"/>
                  </a:cubicBezTo>
                  <a:cubicBezTo>
                    <a:pt x="264319" y="69974"/>
                    <a:pt x="261424" y="68013"/>
                    <a:pt x="259556" y="65211"/>
                  </a:cubicBezTo>
                  <a:cubicBezTo>
                    <a:pt x="258164" y="63122"/>
                    <a:pt x="258394" y="60261"/>
                    <a:pt x="257175" y="58067"/>
                  </a:cubicBezTo>
                  <a:cubicBezTo>
                    <a:pt x="254395" y="53064"/>
                    <a:pt x="250825" y="48542"/>
                    <a:pt x="247650" y="43780"/>
                  </a:cubicBezTo>
                  <a:lnTo>
                    <a:pt x="242887" y="36636"/>
                  </a:lnTo>
                  <a:cubicBezTo>
                    <a:pt x="244091" y="24597"/>
                    <a:pt x="243951" y="14397"/>
                    <a:pt x="247650" y="3299"/>
                  </a:cubicBezTo>
                  <a:cubicBezTo>
                    <a:pt x="248211" y="1615"/>
                    <a:pt x="258762" y="520"/>
                    <a:pt x="252412" y="917"/>
                  </a:cubicBez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04" name="Freeform 19"/>
            <p:cNvSpPr>
              <a:spLocks noChangeArrowheads="1"/>
            </p:cNvSpPr>
            <p:nvPr/>
          </p:nvSpPr>
          <p:spPr bwMode="gray">
            <a:xfrm>
              <a:off x="5955501" y="1858963"/>
              <a:ext cx="958850" cy="1025525"/>
            </a:xfrm>
            <a:custGeom>
              <a:avLst/>
              <a:gdLst>
                <a:gd name="T0" fmla="*/ 0 w 668561"/>
                <a:gd name="T1" fmla="*/ 0 h 714375"/>
                <a:gd name="T2" fmla="*/ 668561 w 668561"/>
                <a:gd name="T3" fmla="*/ 714375 h 714375"/>
              </a:gdLst>
              <a:ahLst/>
              <a:cxnLst/>
              <a:rect l="T0" t="T1" r="T2" b="T3"/>
              <a:pathLst>
                <a:path w="668561" h="714375">
                  <a:moveTo>
                    <a:pt x="556643" y="138113"/>
                  </a:moveTo>
                  <a:cubicBezTo>
                    <a:pt x="549481" y="140500"/>
                    <a:pt x="548512" y="140127"/>
                    <a:pt x="542355" y="145257"/>
                  </a:cubicBezTo>
                  <a:cubicBezTo>
                    <a:pt x="539768" y="147413"/>
                    <a:pt x="538135" y="150729"/>
                    <a:pt x="535211" y="152400"/>
                  </a:cubicBezTo>
                  <a:cubicBezTo>
                    <a:pt x="532369" y="154024"/>
                    <a:pt x="528861" y="153988"/>
                    <a:pt x="525686" y="154782"/>
                  </a:cubicBezTo>
                  <a:cubicBezTo>
                    <a:pt x="523305" y="156369"/>
                    <a:pt x="520566" y="157521"/>
                    <a:pt x="518543" y="159544"/>
                  </a:cubicBezTo>
                  <a:cubicBezTo>
                    <a:pt x="516519" y="161568"/>
                    <a:pt x="516207" y="165171"/>
                    <a:pt x="513780" y="166688"/>
                  </a:cubicBezTo>
                  <a:cubicBezTo>
                    <a:pt x="509523" y="169349"/>
                    <a:pt x="499493" y="171450"/>
                    <a:pt x="499493" y="171450"/>
                  </a:cubicBezTo>
                  <a:cubicBezTo>
                    <a:pt x="494730" y="168275"/>
                    <a:pt x="488380" y="166688"/>
                    <a:pt x="485205" y="161925"/>
                  </a:cubicBezTo>
                  <a:cubicBezTo>
                    <a:pt x="479051" y="152693"/>
                    <a:pt x="483158" y="155687"/>
                    <a:pt x="473299" y="152400"/>
                  </a:cubicBezTo>
                  <a:cubicBezTo>
                    <a:pt x="452411" y="131515"/>
                    <a:pt x="478918" y="157085"/>
                    <a:pt x="459011" y="140494"/>
                  </a:cubicBezTo>
                  <a:cubicBezTo>
                    <a:pt x="435602" y="120985"/>
                    <a:pt x="465840" y="144940"/>
                    <a:pt x="447105" y="126207"/>
                  </a:cubicBezTo>
                  <a:cubicBezTo>
                    <a:pt x="445081" y="124183"/>
                    <a:pt x="442342" y="123032"/>
                    <a:pt x="439961" y="121444"/>
                  </a:cubicBezTo>
                  <a:cubicBezTo>
                    <a:pt x="438374" y="119063"/>
                    <a:pt x="436479" y="116860"/>
                    <a:pt x="435199" y="114300"/>
                  </a:cubicBezTo>
                  <a:cubicBezTo>
                    <a:pt x="434077" y="112055"/>
                    <a:pt x="434210" y="109245"/>
                    <a:pt x="432818" y="107157"/>
                  </a:cubicBezTo>
                  <a:cubicBezTo>
                    <a:pt x="430950" y="104355"/>
                    <a:pt x="428055" y="102394"/>
                    <a:pt x="425674" y="100013"/>
                  </a:cubicBezTo>
                  <a:cubicBezTo>
                    <a:pt x="424880" y="97632"/>
                    <a:pt x="424512" y="95063"/>
                    <a:pt x="423293" y="92869"/>
                  </a:cubicBezTo>
                  <a:cubicBezTo>
                    <a:pt x="420513" y="87866"/>
                    <a:pt x="415578" y="84012"/>
                    <a:pt x="413768" y="78582"/>
                  </a:cubicBezTo>
                  <a:cubicBezTo>
                    <a:pt x="412974" y="76201"/>
                    <a:pt x="412605" y="73632"/>
                    <a:pt x="411386" y="71438"/>
                  </a:cubicBezTo>
                  <a:cubicBezTo>
                    <a:pt x="405891" y="61547"/>
                    <a:pt x="403815" y="56936"/>
                    <a:pt x="394718" y="52388"/>
                  </a:cubicBezTo>
                  <a:cubicBezTo>
                    <a:pt x="392473" y="51266"/>
                    <a:pt x="389955" y="50801"/>
                    <a:pt x="387574" y="50007"/>
                  </a:cubicBezTo>
                  <a:cubicBezTo>
                    <a:pt x="385193" y="48419"/>
                    <a:pt x="382218" y="47479"/>
                    <a:pt x="380430" y="45244"/>
                  </a:cubicBezTo>
                  <a:cubicBezTo>
                    <a:pt x="371194" y="33699"/>
                    <a:pt x="386491" y="40914"/>
                    <a:pt x="370905" y="35719"/>
                  </a:cubicBezTo>
                  <a:cubicBezTo>
                    <a:pt x="368524" y="33338"/>
                    <a:pt x="365629" y="31377"/>
                    <a:pt x="363761" y="28575"/>
                  </a:cubicBezTo>
                  <a:cubicBezTo>
                    <a:pt x="362369" y="26487"/>
                    <a:pt x="361793" y="23908"/>
                    <a:pt x="361380" y="21432"/>
                  </a:cubicBezTo>
                  <a:cubicBezTo>
                    <a:pt x="360198" y="14342"/>
                    <a:pt x="359793" y="7144"/>
                    <a:pt x="358999" y="0"/>
                  </a:cubicBezTo>
                  <a:cubicBezTo>
                    <a:pt x="356618" y="794"/>
                    <a:pt x="354049" y="1163"/>
                    <a:pt x="351855" y="2382"/>
                  </a:cubicBezTo>
                  <a:cubicBezTo>
                    <a:pt x="346852" y="5162"/>
                    <a:pt x="342998" y="10097"/>
                    <a:pt x="337568" y="11907"/>
                  </a:cubicBezTo>
                  <a:cubicBezTo>
                    <a:pt x="327709" y="15193"/>
                    <a:pt x="332513" y="12896"/>
                    <a:pt x="323280" y="19050"/>
                  </a:cubicBezTo>
                  <a:cubicBezTo>
                    <a:pt x="312168" y="35719"/>
                    <a:pt x="318518" y="30163"/>
                    <a:pt x="306611" y="38100"/>
                  </a:cubicBezTo>
                  <a:cubicBezTo>
                    <a:pt x="293915" y="57146"/>
                    <a:pt x="310577" y="34135"/>
                    <a:pt x="294705" y="50007"/>
                  </a:cubicBezTo>
                  <a:cubicBezTo>
                    <a:pt x="278830" y="65882"/>
                    <a:pt x="301851" y="49211"/>
                    <a:pt x="282799" y="61913"/>
                  </a:cubicBezTo>
                  <a:cubicBezTo>
                    <a:pt x="281211" y="64294"/>
                    <a:pt x="280463" y="67540"/>
                    <a:pt x="278036" y="69057"/>
                  </a:cubicBezTo>
                  <a:cubicBezTo>
                    <a:pt x="264445" y="77551"/>
                    <a:pt x="228078" y="75800"/>
                    <a:pt x="220886" y="76200"/>
                  </a:cubicBezTo>
                  <a:cubicBezTo>
                    <a:pt x="215330" y="76994"/>
                    <a:pt x="209687" y="77320"/>
                    <a:pt x="204218" y="78582"/>
                  </a:cubicBezTo>
                  <a:cubicBezTo>
                    <a:pt x="199326" y="79711"/>
                    <a:pt x="189930" y="83344"/>
                    <a:pt x="189930" y="83344"/>
                  </a:cubicBezTo>
                  <a:cubicBezTo>
                    <a:pt x="187549" y="85725"/>
                    <a:pt x="184654" y="87686"/>
                    <a:pt x="182786" y="90488"/>
                  </a:cubicBezTo>
                  <a:cubicBezTo>
                    <a:pt x="178575" y="96805"/>
                    <a:pt x="180833" y="100323"/>
                    <a:pt x="182786" y="107157"/>
                  </a:cubicBezTo>
                  <a:cubicBezTo>
                    <a:pt x="183476" y="109570"/>
                    <a:pt x="184374" y="111919"/>
                    <a:pt x="185168" y="114300"/>
                  </a:cubicBezTo>
                  <a:cubicBezTo>
                    <a:pt x="184374" y="120650"/>
                    <a:pt x="183931" y="127054"/>
                    <a:pt x="182786" y="133350"/>
                  </a:cubicBezTo>
                  <a:cubicBezTo>
                    <a:pt x="182337" y="135820"/>
                    <a:pt x="181973" y="138534"/>
                    <a:pt x="180405" y="140494"/>
                  </a:cubicBezTo>
                  <a:cubicBezTo>
                    <a:pt x="178617" y="142729"/>
                    <a:pt x="175642" y="143669"/>
                    <a:pt x="173261" y="145257"/>
                  </a:cubicBezTo>
                  <a:cubicBezTo>
                    <a:pt x="165714" y="156577"/>
                    <a:pt x="171214" y="151495"/>
                    <a:pt x="154211" y="157163"/>
                  </a:cubicBezTo>
                  <a:lnTo>
                    <a:pt x="147068" y="159544"/>
                  </a:lnTo>
                  <a:lnTo>
                    <a:pt x="139924" y="161925"/>
                  </a:lnTo>
                  <a:cubicBezTo>
                    <a:pt x="137543" y="163513"/>
                    <a:pt x="135340" y="165408"/>
                    <a:pt x="132780" y="166688"/>
                  </a:cubicBezTo>
                  <a:cubicBezTo>
                    <a:pt x="130535" y="167811"/>
                    <a:pt x="127411" y="167294"/>
                    <a:pt x="125636" y="169069"/>
                  </a:cubicBezTo>
                  <a:cubicBezTo>
                    <a:pt x="121589" y="173116"/>
                    <a:pt x="116111" y="183357"/>
                    <a:pt x="116111" y="183357"/>
                  </a:cubicBezTo>
                  <a:cubicBezTo>
                    <a:pt x="110128" y="201307"/>
                    <a:pt x="118198" y="179184"/>
                    <a:pt x="108968" y="197644"/>
                  </a:cubicBezTo>
                  <a:cubicBezTo>
                    <a:pt x="105761" y="204058"/>
                    <a:pt x="107887" y="206627"/>
                    <a:pt x="101824" y="211932"/>
                  </a:cubicBezTo>
                  <a:cubicBezTo>
                    <a:pt x="97516" y="215701"/>
                    <a:pt x="91583" y="217410"/>
                    <a:pt x="87536" y="221457"/>
                  </a:cubicBezTo>
                  <a:cubicBezTo>
                    <a:pt x="82209" y="226784"/>
                    <a:pt x="73227" y="236700"/>
                    <a:pt x="66105" y="238125"/>
                  </a:cubicBezTo>
                  <a:cubicBezTo>
                    <a:pt x="45151" y="242317"/>
                    <a:pt x="63121" y="238951"/>
                    <a:pt x="37530" y="242888"/>
                  </a:cubicBezTo>
                  <a:cubicBezTo>
                    <a:pt x="24331" y="244918"/>
                    <a:pt x="23718" y="245174"/>
                    <a:pt x="11336" y="247650"/>
                  </a:cubicBezTo>
                  <a:cubicBezTo>
                    <a:pt x="8161" y="252413"/>
                    <a:pt x="0" y="256508"/>
                    <a:pt x="1811" y="261938"/>
                  </a:cubicBezTo>
                  <a:cubicBezTo>
                    <a:pt x="3748" y="267747"/>
                    <a:pt x="4340" y="271610"/>
                    <a:pt x="8955" y="276225"/>
                  </a:cubicBezTo>
                  <a:cubicBezTo>
                    <a:pt x="10979" y="278249"/>
                    <a:pt x="13539" y="279708"/>
                    <a:pt x="16099" y="280988"/>
                  </a:cubicBezTo>
                  <a:cubicBezTo>
                    <a:pt x="18344" y="282111"/>
                    <a:pt x="20862" y="282575"/>
                    <a:pt x="23243" y="283369"/>
                  </a:cubicBezTo>
                  <a:cubicBezTo>
                    <a:pt x="24037" y="285750"/>
                    <a:pt x="23849" y="288738"/>
                    <a:pt x="25624" y="290513"/>
                  </a:cubicBezTo>
                  <a:cubicBezTo>
                    <a:pt x="27399" y="292288"/>
                    <a:pt x="30273" y="292617"/>
                    <a:pt x="32768" y="292894"/>
                  </a:cubicBezTo>
                  <a:cubicBezTo>
                    <a:pt x="44627" y="294212"/>
                    <a:pt x="56580" y="294481"/>
                    <a:pt x="68486" y="295275"/>
                  </a:cubicBezTo>
                  <a:cubicBezTo>
                    <a:pt x="70867" y="296069"/>
                    <a:pt x="73541" y="296265"/>
                    <a:pt x="75630" y="297657"/>
                  </a:cubicBezTo>
                  <a:cubicBezTo>
                    <a:pt x="90400" y="307503"/>
                    <a:pt x="83848" y="318558"/>
                    <a:pt x="80393" y="338138"/>
                  </a:cubicBezTo>
                  <a:cubicBezTo>
                    <a:pt x="79896" y="340957"/>
                    <a:pt x="77218" y="342901"/>
                    <a:pt x="75630" y="345282"/>
                  </a:cubicBezTo>
                  <a:lnTo>
                    <a:pt x="61343" y="388144"/>
                  </a:lnTo>
                  <a:cubicBezTo>
                    <a:pt x="60549" y="390525"/>
                    <a:pt x="59570" y="392853"/>
                    <a:pt x="58961" y="395288"/>
                  </a:cubicBezTo>
                  <a:lnTo>
                    <a:pt x="54199" y="414338"/>
                  </a:lnTo>
                  <a:cubicBezTo>
                    <a:pt x="53405" y="423069"/>
                    <a:pt x="52401" y="431784"/>
                    <a:pt x="51818" y="440532"/>
                  </a:cubicBezTo>
                  <a:cubicBezTo>
                    <a:pt x="50813" y="455600"/>
                    <a:pt x="52398" y="470966"/>
                    <a:pt x="49436" y="485775"/>
                  </a:cubicBezTo>
                  <a:cubicBezTo>
                    <a:pt x="48313" y="491388"/>
                    <a:pt x="43086" y="495300"/>
                    <a:pt x="39911" y="500063"/>
                  </a:cubicBezTo>
                  <a:lnTo>
                    <a:pt x="35149" y="507207"/>
                  </a:lnTo>
                  <a:cubicBezTo>
                    <a:pt x="35439" y="516770"/>
                    <a:pt x="32733" y="571375"/>
                    <a:pt x="39911" y="597694"/>
                  </a:cubicBezTo>
                  <a:cubicBezTo>
                    <a:pt x="80820" y="621523"/>
                    <a:pt x="60946" y="620316"/>
                    <a:pt x="66105" y="626269"/>
                  </a:cubicBezTo>
                  <a:cubicBezTo>
                    <a:pt x="67693" y="628650"/>
                    <a:pt x="69588" y="630853"/>
                    <a:pt x="70868" y="633413"/>
                  </a:cubicBezTo>
                  <a:cubicBezTo>
                    <a:pt x="73308" y="638293"/>
                    <a:pt x="74725" y="647937"/>
                    <a:pt x="75630" y="652463"/>
                  </a:cubicBezTo>
                  <a:cubicBezTo>
                    <a:pt x="81980" y="651669"/>
                    <a:pt x="88506" y="651766"/>
                    <a:pt x="94680" y="650082"/>
                  </a:cubicBezTo>
                  <a:cubicBezTo>
                    <a:pt x="106902" y="646749"/>
                    <a:pt x="98298" y="645559"/>
                    <a:pt x="104205" y="638175"/>
                  </a:cubicBezTo>
                  <a:cubicBezTo>
                    <a:pt x="107562" y="633979"/>
                    <a:pt x="113788" y="632600"/>
                    <a:pt x="118493" y="631032"/>
                  </a:cubicBezTo>
                  <a:cubicBezTo>
                    <a:pt x="125637" y="631826"/>
                    <a:pt x="133169" y="630957"/>
                    <a:pt x="139924" y="633413"/>
                  </a:cubicBezTo>
                  <a:cubicBezTo>
                    <a:pt x="142614" y="634391"/>
                    <a:pt x="142451" y="638769"/>
                    <a:pt x="144686" y="640557"/>
                  </a:cubicBezTo>
                  <a:cubicBezTo>
                    <a:pt x="146646" y="642125"/>
                    <a:pt x="149449" y="642144"/>
                    <a:pt x="151830" y="642938"/>
                  </a:cubicBezTo>
                  <a:cubicBezTo>
                    <a:pt x="158974" y="642144"/>
                    <a:pt x="166506" y="643013"/>
                    <a:pt x="173261" y="640557"/>
                  </a:cubicBezTo>
                  <a:cubicBezTo>
                    <a:pt x="176589" y="639347"/>
                    <a:pt x="179598" y="629093"/>
                    <a:pt x="180405" y="626269"/>
                  </a:cubicBezTo>
                  <a:cubicBezTo>
                    <a:pt x="181526" y="622343"/>
                    <a:pt x="185550" y="603790"/>
                    <a:pt x="187549" y="602457"/>
                  </a:cubicBezTo>
                  <a:lnTo>
                    <a:pt x="194693" y="597694"/>
                  </a:lnTo>
                  <a:cubicBezTo>
                    <a:pt x="196280" y="595313"/>
                    <a:pt x="197431" y="592574"/>
                    <a:pt x="199455" y="590550"/>
                  </a:cubicBezTo>
                  <a:cubicBezTo>
                    <a:pt x="204070" y="585935"/>
                    <a:pt x="207934" y="585343"/>
                    <a:pt x="213743" y="583407"/>
                  </a:cubicBezTo>
                  <a:cubicBezTo>
                    <a:pt x="247854" y="589092"/>
                    <a:pt x="232759" y="586803"/>
                    <a:pt x="258986" y="590550"/>
                  </a:cubicBezTo>
                  <a:cubicBezTo>
                    <a:pt x="263749" y="593725"/>
                    <a:pt x="267844" y="598265"/>
                    <a:pt x="273274" y="600075"/>
                  </a:cubicBezTo>
                  <a:cubicBezTo>
                    <a:pt x="290666" y="605873"/>
                    <a:pt x="282691" y="603621"/>
                    <a:pt x="297086" y="607219"/>
                  </a:cubicBezTo>
                  <a:cubicBezTo>
                    <a:pt x="297880" y="609600"/>
                    <a:pt x="297054" y="613673"/>
                    <a:pt x="299468" y="614363"/>
                  </a:cubicBezTo>
                  <a:cubicBezTo>
                    <a:pt x="309419" y="617206"/>
                    <a:pt x="320155" y="615460"/>
                    <a:pt x="330424" y="616744"/>
                  </a:cubicBezTo>
                  <a:cubicBezTo>
                    <a:pt x="332915" y="617055"/>
                    <a:pt x="335187" y="618331"/>
                    <a:pt x="337568" y="619125"/>
                  </a:cubicBezTo>
                  <a:cubicBezTo>
                    <a:pt x="339927" y="626202"/>
                    <a:pt x="341431" y="634895"/>
                    <a:pt x="347093" y="640557"/>
                  </a:cubicBezTo>
                  <a:cubicBezTo>
                    <a:pt x="349116" y="642580"/>
                    <a:pt x="351621" y="644157"/>
                    <a:pt x="354236" y="645319"/>
                  </a:cubicBezTo>
                  <a:cubicBezTo>
                    <a:pt x="358824" y="647358"/>
                    <a:pt x="368524" y="650082"/>
                    <a:pt x="368524" y="650082"/>
                  </a:cubicBezTo>
                  <a:cubicBezTo>
                    <a:pt x="370905" y="652463"/>
                    <a:pt x="372866" y="655357"/>
                    <a:pt x="375668" y="657225"/>
                  </a:cubicBezTo>
                  <a:cubicBezTo>
                    <a:pt x="377756" y="658617"/>
                    <a:pt x="380361" y="659062"/>
                    <a:pt x="382811" y="659607"/>
                  </a:cubicBezTo>
                  <a:cubicBezTo>
                    <a:pt x="407970" y="665199"/>
                    <a:pt x="388154" y="659007"/>
                    <a:pt x="404243" y="664369"/>
                  </a:cubicBezTo>
                  <a:cubicBezTo>
                    <a:pt x="406624" y="666750"/>
                    <a:pt x="408442" y="669878"/>
                    <a:pt x="411386" y="671513"/>
                  </a:cubicBezTo>
                  <a:cubicBezTo>
                    <a:pt x="415774" y="673951"/>
                    <a:pt x="425674" y="676275"/>
                    <a:pt x="425674" y="676275"/>
                  </a:cubicBezTo>
                  <a:cubicBezTo>
                    <a:pt x="430436" y="679450"/>
                    <a:pt x="434531" y="683990"/>
                    <a:pt x="439961" y="685800"/>
                  </a:cubicBezTo>
                  <a:lnTo>
                    <a:pt x="454249" y="690563"/>
                  </a:lnTo>
                  <a:cubicBezTo>
                    <a:pt x="456630" y="692944"/>
                    <a:pt x="459525" y="694905"/>
                    <a:pt x="461393" y="697707"/>
                  </a:cubicBezTo>
                  <a:cubicBezTo>
                    <a:pt x="462760" y="699757"/>
                    <a:pt x="465837" y="713105"/>
                    <a:pt x="466155" y="714375"/>
                  </a:cubicBezTo>
                  <a:cubicBezTo>
                    <a:pt x="461418" y="704056"/>
                    <a:pt x="486939" y="713901"/>
                    <a:pt x="497111" y="711994"/>
                  </a:cubicBezTo>
                  <a:cubicBezTo>
                    <a:pt x="499924" y="711467"/>
                    <a:pt x="501695" y="708512"/>
                    <a:pt x="504255" y="707232"/>
                  </a:cubicBezTo>
                  <a:cubicBezTo>
                    <a:pt x="506500" y="706109"/>
                    <a:pt x="509018" y="705644"/>
                    <a:pt x="511399" y="704850"/>
                  </a:cubicBezTo>
                  <a:cubicBezTo>
                    <a:pt x="510605" y="700881"/>
                    <a:pt x="510000" y="696870"/>
                    <a:pt x="509018" y="692944"/>
                  </a:cubicBezTo>
                  <a:cubicBezTo>
                    <a:pt x="508409" y="690509"/>
                    <a:pt x="508411" y="687575"/>
                    <a:pt x="506636" y="685800"/>
                  </a:cubicBezTo>
                  <a:cubicBezTo>
                    <a:pt x="502589" y="681753"/>
                    <a:pt x="496396" y="680322"/>
                    <a:pt x="492349" y="676275"/>
                  </a:cubicBezTo>
                  <a:lnTo>
                    <a:pt x="478061" y="661988"/>
                  </a:lnTo>
                  <a:cubicBezTo>
                    <a:pt x="477267" y="659607"/>
                    <a:pt x="476370" y="657258"/>
                    <a:pt x="475680" y="654844"/>
                  </a:cubicBezTo>
                  <a:cubicBezTo>
                    <a:pt x="474781" y="651697"/>
                    <a:pt x="475176" y="648000"/>
                    <a:pt x="473299" y="645319"/>
                  </a:cubicBezTo>
                  <a:cubicBezTo>
                    <a:pt x="466165" y="635128"/>
                    <a:pt x="460715" y="632168"/>
                    <a:pt x="451868" y="626269"/>
                  </a:cubicBezTo>
                  <a:cubicBezTo>
                    <a:pt x="448711" y="621533"/>
                    <a:pt x="443571" y="617897"/>
                    <a:pt x="449486" y="611982"/>
                  </a:cubicBezTo>
                  <a:cubicBezTo>
                    <a:pt x="451261" y="610207"/>
                    <a:pt x="454249" y="610394"/>
                    <a:pt x="456630" y="609600"/>
                  </a:cubicBezTo>
                  <a:cubicBezTo>
                    <a:pt x="459805" y="610394"/>
                    <a:pt x="463147" y="610693"/>
                    <a:pt x="466155" y="611982"/>
                  </a:cubicBezTo>
                  <a:cubicBezTo>
                    <a:pt x="468785" y="613109"/>
                    <a:pt x="470440" y="616608"/>
                    <a:pt x="473299" y="616744"/>
                  </a:cubicBezTo>
                  <a:lnTo>
                    <a:pt x="516161" y="614363"/>
                  </a:lnTo>
                  <a:cubicBezTo>
                    <a:pt x="532224" y="598300"/>
                    <a:pt x="524059" y="602205"/>
                    <a:pt x="537593" y="597694"/>
                  </a:cubicBezTo>
                  <a:cubicBezTo>
                    <a:pt x="539180" y="595313"/>
                    <a:pt x="542355" y="593412"/>
                    <a:pt x="542355" y="590550"/>
                  </a:cubicBezTo>
                  <a:cubicBezTo>
                    <a:pt x="542355" y="585259"/>
                    <a:pt x="533623" y="580760"/>
                    <a:pt x="530449" y="578644"/>
                  </a:cubicBezTo>
                  <a:cubicBezTo>
                    <a:pt x="528861" y="576263"/>
                    <a:pt x="526966" y="574060"/>
                    <a:pt x="525686" y="571500"/>
                  </a:cubicBezTo>
                  <a:cubicBezTo>
                    <a:pt x="520292" y="560712"/>
                    <a:pt x="523919" y="550533"/>
                    <a:pt x="525686" y="538163"/>
                  </a:cubicBezTo>
                  <a:cubicBezTo>
                    <a:pt x="526331" y="533646"/>
                    <a:pt x="529688" y="527017"/>
                    <a:pt x="532830" y="523875"/>
                  </a:cubicBezTo>
                  <a:cubicBezTo>
                    <a:pt x="534854" y="521851"/>
                    <a:pt x="537593" y="520700"/>
                    <a:pt x="539974" y="519113"/>
                  </a:cubicBezTo>
                  <a:cubicBezTo>
                    <a:pt x="545517" y="510798"/>
                    <a:pt x="548893" y="503710"/>
                    <a:pt x="556643" y="497682"/>
                  </a:cubicBezTo>
                  <a:cubicBezTo>
                    <a:pt x="561161" y="494168"/>
                    <a:pt x="565811" y="490717"/>
                    <a:pt x="570930" y="488157"/>
                  </a:cubicBezTo>
                  <a:cubicBezTo>
                    <a:pt x="574105" y="486569"/>
                    <a:pt x="576974" y="484090"/>
                    <a:pt x="580455" y="483394"/>
                  </a:cubicBezTo>
                  <a:cubicBezTo>
                    <a:pt x="589052" y="481675"/>
                    <a:pt x="597918" y="481807"/>
                    <a:pt x="606649" y="481013"/>
                  </a:cubicBezTo>
                  <a:cubicBezTo>
                    <a:pt x="610702" y="478311"/>
                    <a:pt x="620368" y="472057"/>
                    <a:pt x="623318" y="469107"/>
                  </a:cubicBezTo>
                  <a:cubicBezTo>
                    <a:pt x="625342" y="467083"/>
                    <a:pt x="626493" y="464344"/>
                    <a:pt x="628080" y="461963"/>
                  </a:cubicBezTo>
                  <a:cubicBezTo>
                    <a:pt x="628874" y="457994"/>
                    <a:pt x="629396" y="453962"/>
                    <a:pt x="630461" y="450057"/>
                  </a:cubicBezTo>
                  <a:cubicBezTo>
                    <a:pt x="631782" y="445214"/>
                    <a:pt x="635224" y="435769"/>
                    <a:pt x="635224" y="435769"/>
                  </a:cubicBezTo>
                  <a:cubicBezTo>
                    <a:pt x="634430" y="432594"/>
                    <a:pt x="634658" y="428967"/>
                    <a:pt x="632843" y="426244"/>
                  </a:cubicBezTo>
                  <a:cubicBezTo>
                    <a:pt x="629555" y="421312"/>
                    <a:pt x="620952" y="420295"/>
                    <a:pt x="616174" y="419100"/>
                  </a:cubicBezTo>
                  <a:cubicBezTo>
                    <a:pt x="613793" y="416719"/>
                    <a:pt x="611954" y="413628"/>
                    <a:pt x="609030" y="411957"/>
                  </a:cubicBezTo>
                  <a:cubicBezTo>
                    <a:pt x="606188" y="410333"/>
                    <a:pt x="602652" y="410474"/>
                    <a:pt x="599505" y="409575"/>
                  </a:cubicBezTo>
                  <a:cubicBezTo>
                    <a:pt x="597091" y="408885"/>
                    <a:pt x="594668" y="408183"/>
                    <a:pt x="592361" y="407194"/>
                  </a:cubicBezTo>
                  <a:cubicBezTo>
                    <a:pt x="589098" y="405796"/>
                    <a:pt x="586099" y="403830"/>
                    <a:pt x="582836" y="402432"/>
                  </a:cubicBezTo>
                  <a:cubicBezTo>
                    <a:pt x="569037" y="396518"/>
                    <a:pt x="582275" y="404437"/>
                    <a:pt x="568549" y="395288"/>
                  </a:cubicBezTo>
                  <a:cubicBezTo>
                    <a:pt x="566961" y="392907"/>
                    <a:pt x="564256" y="390967"/>
                    <a:pt x="563786" y="388144"/>
                  </a:cubicBezTo>
                  <a:cubicBezTo>
                    <a:pt x="563373" y="385668"/>
                    <a:pt x="564600" y="382960"/>
                    <a:pt x="566168" y="381000"/>
                  </a:cubicBezTo>
                  <a:cubicBezTo>
                    <a:pt x="572171" y="373496"/>
                    <a:pt x="584928" y="374786"/>
                    <a:pt x="592361" y="373857"/>
                  </a:cubicBezTo>
                  <a:cubicBezTo>
                    <a:pt x="594742" y="373063"/>
                    <a:pt x="597416" y="372867"/>
                    <a:pt x="599505" y="371475"/>
                  </a:cubicBezTo>
                  <a:cubicBezTo>
                    <a:pt x="602307" y="369607"/>
                    <a:pt x="604062" y="366488"/>
                    <a:pt x="606649" y="364332"/>
                  </a:cubicBezTo>
                  <a:cubicBezTo>
                    <a:pt x="608848" y="362500"/>
                    <a:pt x="611412" y="361157"/>
                    <a:pt x="613793" y="359569"/>
                  </a:cubicBezTo>
                  <a:cubicBezTo>
                    <a:pt x="615778" y="351629"/>
                    <a:pt x="617201" y="341874"/>
                    <a:pt x="623318" y="335757"/>
                  </a:cubicBezTo>
                  <a:cubicBezTo>
                    <a:pt x="625342" y="333733"/>
                    <a:pt x="628080" y="332582"/>
                    <a:pt x="630461" y="330994"/>
                  </a:cubicBezTo>
                  <a:cubicBezTo>
                    <a:pt x="629667" y="325438"/>
                    <a:pt x="629693" y="319701"/>
                    <a:pt x="628080" y="314325"/>
                  </a:cubicBezTo>
                  <a:cubicBezTo>
                    <a:pt x="627258" y="311584"/>
                    <a:pt x="623723" y="310015"/>
                    <a:pt x="623318" y="307182"/>
                  </a:cubicBezTo>
                  <a:cubicBezTo>
                    <a:pt x="622855" y="303942"/>
                    <a:pt x="624075" y="300499"/>
                    <a:pt x="625699" y="297657"/>
                  </a:cubicBezTo>
                  <a:cubicBezTo>
                    <a:pt x="628519" y="292722"/>
                    <a:pt x="635435" y="288785"/>
                    <a:pt x="639986" y="285750"/>
                  </a:cubicBezTo>
                  <a:cubicBezTo>
                    <a:pt x="641574" y="283369"/>
                    <a:pt x="642725" y="280631"/>
                    <a:pt x="644749" y="278607"/>
                  </a:cubicBezTo>
                  <a:cubicBezTo>
                    <a:pt x="646773" y="276583"/>
                    <a:pt x="650105" y="276079"/>
                    <a:pt x="651893" y="273844"/>
                  </a:cubicBezTo>
                  <a:cubicBezTo>
                    <a:pt x="653461" y="271884"/>
                    <a:pt x="652499" y="268475"/>
                    <a:pt x="654274" y="266700"/>
                  </a:cubicBezTo>
                  <a:cubicBezTo>
                    <a:pt x="658321" y="262653"/>
                    <a:pt x="668561" y="257175"/>
                    <a:pt x="668561" y="257175"/>
                  </a:cubicBezTo>
                  <a:cubicBezTo>
                    <a:pt x="667767" y="251619"/>
                    <a:pt x="668195" y="245745"/>
                    <a:pt x="666180" y="240507"/>
                  </a:cubicBezTo>
                  <a:cubicBezTo>
                    <a:pt x="664125" y="235165"/>
                    <a:pt x="656655" y="226219"/>
                    <a:pt x="656655" y="226219"/>
                  </a:cubicBezTo>
                  <a:cubicBezTo>
                    <a:pt x="655214" y="219013"/>
                    <a:pt x="655458" y="212372"/>
                    <a:pt x="649511" y="207169"/>
                  </a:cubicBezTo>
                  <a:cubicBezTo>
                    <a:pt x="645204" y="203400"/>
                    <a:pt x="635224" y="197644"/>
                    <a:pt x="635224" y="197644"/>
                  </a:cubicBezTo>
                  <a:cubicBezTo>
                    <a:pt x="633636" y="195263"/>
                    <a:pt x="632696" y="192288"/>
                    <a:pt x="630461" y="190500"/>
                  </a:cubicBezTo>
                  <a:cubicBezTo>
                    <a:pt x="628501" y="188932"/>
                    <a:pt x="625563" y="189241"/>
                    <a:pt x="623318" y="188119"/>
                  </a:cubicBezTo>
                  <a:cubicBezTo>
                    <a:pt x="620758" y="186839"/>
                    <a:pt x="618734" y="184637"/>
                    <a:pt x="616174" y="183357"/>
                  </a:cubicBezTo>
                  <a:cubicBezTo>
                    <a:pt x="608192" y="179366"/>
                    <a:pt x="594401" y="179350"/>
                    <a:pt x="587599" y="178594"/>
                  </a:cubicBezTo>
                  <a:cubicBezTo>
                    <a:pt x="567360" y="165103"/>
                    <a:pt x="598708" y="187322"/>
                    <a:pt x="570930" y="159544"/>
                  </a:cubicBezTo>
                  <a:lnTo>
                    <a:pt x="556643" y="138113"/>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05" name="Freeform 104"/>
            <p:cNvSpPr/>
            <p:nvPr/>
          </p:nvSpPr>
          <p:spPr bwMode="gray">
            <a:xfrm>
              <a:off x="6458739" y="1749425"/>
              <a:ext cx="693737" cy="350838"/>
            </a:xfrm>
            <a:custGeom>
              <a:avLst/>
              <a:gdLst>
                <a:gd name="connsiteX0" fmla="*/ 10696 w 483338"/>
                <a:gd name="connsiteY0" fmla="*/ 72203 h 239512"/>
                <a:gd name="connsiteX1" fmla="*/ 17840 w 483338"/>
                <a:gd name="connsiteY1" fmla="*/ 74584 h 239512"/>
                <a:gd name="connsiteX2" fmla="*/ 55940 w 483338"/>
                <a:gd name="connsiteY2" fmla="*/ 69822 h 239512"/>
                <a:gd name="connsiteX3" fmla="*/ 70227 w 483338"/>
                <a:gd name="connsiteY3" fmla="*/ 65059 h 239512"/>
                <a:gd name="connsiteX4" fmla="*/ 77371 w 483338"/>
                <a:gd name="connsiteY4" fmla="*/ 60297 h 239512"/>
                <a:gd name="connsiteX5" fmla="*/ 86896 w 483338"/>
                <a:gd name="connsiteY5" fmla="*/ 57915 h 239512"/>
                <a:gd name="connsiteX6" fmla="*/ 108327 w 483338"/>
                <a:gd name="connsiteY6" fmla="*/ 50772 h 239512"/>
                <a:gd name="connsiteX7" fmla="*/ 115471 w 483338"/>
                <a:gd name="connsiteY7" fmla="*/ 48390 h 239512"/>
                <a:gd name="connsiteX8" fmla="*/ 146427 w 483338"/>
                <a:gd name="connsiteY8" fmla="*/ 46009 h 239512"/>
                <a:gd name="connsiteX9" fmla="*/ 167859 w 483338"/>
                <a:gd name="connsiteY9" fmla="*/ 38865 h 239512"/>
                <a:gd name="connsiteX10" fmla="*/ 175002 w 483338"/>
                <a:gd name="connsiteY10" fmla="*/ 36484 h 239512"/>
                <a:gd name="connsiteX11" fmla="*/ 196434 w 483338"/>
                <a:gd name="connsiteY11" fmla="*/ 22197 h 239512"/>
                <a:gd name="connsiteX12" fmla="*/ 203577 w 483338"/>
                <a:gd name="connsiteY12" fmla="*/ 17434 h 239512"/>
                <a:gd name="connsiteX13" fmla="*/ 244059 w 483338"/>
                <a:gd name="connsiteY13" fmla="*/ 10290 h 239512"/>
                <a:gd name="connsiteX14" fmla="*/ 310734 w 483338"/>
                <a:gd name="connsiteY14" fmla="*/ 7909 h 239512"/>
                <a:gd name="connsiteX15" fmla="*/ 317877 w 483338"/>
                <a:gd name="connsiteY15" fmla="*/ 12672 h 239512"/>
                <a:gd name="connsiteX16" fmla="*/ 325021 w 483338"/>
                <a:gd name="connsiteY16" fmla="*/ 15053 h 239512"/>
                <a:gd name="connsiteX17" fmla="*/ 327402 w 483338"/>
                <a:gd name="connsiteY17" fmla="*/ 22197 h 239512"/>
                <a:gd name="connsiteX18" fmla="*/ 317877 w 483338"/>
                <a:gd name="connsiteY18" fmla="*/ 36484 h 239512"/>
                <a:gd name="connsiteX19" fmla="*/ 303590 w 483338"/>
                <a:gd name="connsiteY19" fmla="*/ 41247 h 239512"/>
                <a:gd name="connsiteX20" fmla="*/ 298827 w 483338"/>
                <a:gd name="connsiteY20" fmla="*/ 48390 h 239512"/>
                <a:gd name="connsiteX21" fmla="*/ 294065 w 483338"/>
                <a:gd name="connsiteY21" fmla="*/ 62678 h 239512"/>
                <a:gd name="connsiteX22" fmla="*/ 296446 w 483338"/>
                <a:gd name="connsiteY22" fmla="*/ 72203 h 239512"/>
                <a:gd name="connsiteX23" fmla="*/ 303590 w 483338"/>
                <a:gd name="connsiteY23" fmla="*/ 74584 h 239512"/>
                <a:gd name="connsiteX24" fmla="*/ 310734 w 483338"/>
                <a:gd name="connsiteY24" fmla="*/ 79347 h 239512"/>
                <a:gd name="connsiteX25" fmla="*/ 344071 w 483338"/>
                <a:gd name="connsiteY25" fmla="*/ 76965 h 239512"/>
                <a:gd name="connsiteX26" fmla="*/ 348834 w 483338"/>
                <a:gd name="connsiteY26" fmla="*/ 69822 h 239512"/>
                <a:gd name="connsiteX27" fmla="*/ 327402 w 483338"/>
                <a:gd name="connsiteY27" fmla="*/ 57915 h 239512"/>
                <a:gd name="connsiteX28" fmla="*/ 325021 w 483338"/>
                <a:gd name="connsiteY28" fmla="*/ 50772 h 239512"/>
                <a:gd name="connsiteX29" fmla="*/ 334546 w 483338"/>
                <a:gd name="connsiteY29" fmla="*/ 43628 h 239512"/>
                <a:gd name="connsiteX30" fmla="*/ 358359 w 483338"/>
                <a:gd name="connsiteY30" fmla="*/ 36484 h 239512"/>
                <a:gd name="connsiteX31" fmla="*/ 427415 w 483338"/>
                <a:gd name="connsiteY31" fmla="*/ 43628 h 239512"/>
                <a:gd name="connsiteX32" fmla="*/ 427415 w 483338"/>
                <a:gd name="connsiteY32" fmla="*/ 43628 h 239512"/>
                <a:gd name="connsiteX33" fmla="*/ 460752 w 483338"/>
                <a:gd name="connsiteY33" fmla="*/ 50772 h 239512"/>
                <a:gd name="connsiteX34" fmla="*/ 470277 w 483338"/>
                <a:gd name="connsiteY34" fmla="*/ 53153 h 239512"/>
                <a:gd name="connsiteX35" fmla="*/ 477421 w 483338"/>
                <a:gd name="connsiteY35" fmla="*/ 60297 h 239512"/>
                <a:gd name="connsiteX36" fmla="*/ 482184 w 483338"/>
                <a:gd name="connsiteY36" fmla="*/ 67440 h 239512"/>
                <a:gd name="connsiteX37" fmla="*/ 472659 w 483338"/>
                <a:gd name="connsiteY37" fmla="*/ 76965 h 239512"/>
                <a:gd name="connsiteX38" fmla="*/ 436940 w 483338"/>
                <a:gd name="connsiteY38" fmla="*/ 79347 h 239512"/>
                <a:gd name="connsiteX39" fmla="*/ 441702 w 483338"/>
                <a:gd name="connsiteY39" fmla="*/ 86490 h 239512"/>
                <a:gd name="connsiteX40" fmla="*/ 451227 w 483338"/>
                <a:gd name="connsiteY40" fmla="*/ 88872 h 239512"/>
                <a:gd name="connsiteX41" fmla="*/ 458371 w 483338"/>
                <a:gd name="connsiteY41" fmla="*/ 91253 h 239512"/>
                <a:gd name="connsiteX42" fmla="*/ 417890 w 483338"/>
                <a:gd name="connsiteY42" fmla="*/ 103159 h 239512"/>
                <a:gd name="connsiteX43" fmla="*/ 410746 w 483338"/>
                <a:gd name="connsiteY43" fmla="*/ 105540 h 239512"/>
                <a:gd name="connsiteX44" fmla="*/ 398840 w 483338"/>
                <a:gd name="connsiteY44" fmla="*/ 117447 h 239512"/>
                <a:gd name="connsiteX45" fmla="*/ 394077 w 483338"/>
                <a:gd name="connsiteY45" fmla="*/ 131734 h 239512"/>
                <a:gd name="connsiteX46" fmla="*/ 377409 w 483338"/>
                <a:gd name="connsiteY46" fmla="*/ 153165 h 239512"/>
                <a:gd name="connsiteX47" fmla="*/ 375027 w 483338"/>
                <a:gd name="connsiteY47" fmla="*/ 160309 h 239512"/>
                <a:gd name="connsiteX48" fmla="*/ 360740 w 483338"/>
                <a:gd name="connsiteY48" fmla="*/ 172215 h 239512"/>
                <a:gd name="connsiteX49" fmla="*/ 353596 w 483338"/>
                <a:gd name="connsiteY49" fmla="*/ 174597 h 239512"/>
                <a:gd name="connsiteX50" fmla="*/ 332165 w 483338"/>
                <a:gd name="connsiteY50" fmla="*/ 172215 h 239512"/>
                <a:gd name="connsiteX51" fmla="*/ 325021 w 483338"/>
                <a:gd name="connsiteY51" fmla="*/ 169834 h 239512"/>
                <a:gd name="connsiteX52" fmla="*/ 272634 w 483338"/>
                <a:gd name="connsiteY52" fmla="*/ 172215 h 239512"/>
                <a:gd name="connsiteX53" fmla="*/ 265490 w 483338"/>
                <a:gd name="connsiteY53" fmla="*/ 174597 h 239512"/>
                <a:gd name="connsiteX54" fmla="*/ 241677 w 483338"/>
                <a:gd name="connsiteY54" fmla="*/ 181740 h 239512"/>
                <a:gd name="connsiteX55" fmla="*/ 232152 w 483338"/>
                <a:gd name="connsiteY55" fmla="*/ 186503 h 239512"/>
                <a:gd name="connsiteX56" fmla="*/ 217865 w 483338"/>
                <a:gd name="connsiteY56" fmla="*/ 191265 h 239512"/>
                <a:gd name="connsiteX57" fmla="*/ 205959 w 483338"/>
                <a:gd name="connsiteY57" fmla="*/ 203172 h 239512"/>
                <a:gd name="connsiteX58" fmla="*/ 201196 w 483338"/>
                <a:gd name="connsiteY58" fmla="*/ 210315 h 239512"/>
                <a:gd name="connsiteX59" fmla="*/ 194052 w 483338"/>
                <a:gd name="connsiteY59" fmla="*/ 215078 h 239512"/>
                <a:gd name="connsiteX60" fmla="*/ 186909 w 483338"/>
                <a:gd name="connsiteY60" fmla="*/ 222222 h 239512"/>
                <a:gd name="connsiteX61" fmla="*/ 177384 w 483338"/>
                <a:gd name="connsiteY61" fmla="*/ 224603 h 239512"/>
                <a:gd name="connsiteX62" fmla="*/ 170240 w 483338"/>
                <a:gd name="connsiteY62" fmla="*/ 226984 h 239512"/>
                <a:gd name="connsiteX63" fmla="*/ 153571 w 483338"/>
                <a:gd name="connsiteY63" fmla="*/ 236509 h 239512"/>
                <a:gd name="connsiteX64" fmla="*/ 146427 w 483338"/>
                <a:gd name="connsiteY64" fmla="*/ 238890 h 239512"/>
                <a:gd name="connsiteX65" fmla="*/ 129759 w 483338"/>
                <a:gd name="connsiteY65" fmla="*/ 236509 h 239512"/>
                <a:gd name="connsiteX66" fmla="*/ 127377 w 483338"/>
                <a:gd name="connsiteY66" fmla="*/ 229365 h 239512"/>
                <a:gd name="connsiteX67" fmla="*/ 120234 w 483338"/>
                <a:gd name="connsiteY67" fmla="*/ 224603 h 239512"/>
                <a:gd name="connsiteX68" fmla="*/ 105946 w 483338"/>
                <a:gd name="connsiteY68" fmla="*/ 210315 h 239512"/>
                <a:gd name="connsiteX69" fmla="*/ 94040 w 483338"/>
                <a:gd name="connsiteY69" fmla="*/ 198409 h 239512"/>
                <a:gd name="connsiteX70" fmla="*/ 82134 w 483338"/>
                <a:gd name="connsiteY70" fmla="*/ 186503 h 239512"/>
                <a:gd name="connsiteX71" fmla="*/ 77371 w 483338"/>
                <a:gd name="connsiteY71" fmla="*/ 179359 h 239512"/>
                <a:gd name="connsiteX72" fmla="*/ 70227 w 483338"/>
                <a:gd name="connsiteY72" fmla="*/ 172215 h 239512"/>
                <a:gd name="connsiteX73" fmla="*/ 58321 w 483338"/>
                <a:gd name="connsiteY73" fmla="*/ 160309 h 239512"/>
                <a:gd name="connsiteX74" fmla="*/ 53559 w 483338"/>
                <a:gd name="connsiteY74" fmla="*/ 153165 h 239512"/>
                <a:gd name="connsiteX75" fmla="*/ 46415 w 483338"/>
                <a:gd name="connsiteY75" fmla="*/ 146022 h 239512"/>
                <a:gd name="connsiteX76" fmla="*/ 34509 w 483338"/>
                <a:gd name="connsiteY76" fmla="*/ 124590 h 239512"/>
                <a:gd name="connsiteX77" fmla="*/ 13077 w 483338"/>
                <a:gd name="connsiteY77" fmla="*/ 107922 h 239512"/>
                <a:gd name="connsiteX78" fmla="*/ 8315 w 483338"/>
                <a:gd name="connsiteY78" fmla="*/ 98397 h 239512"/>
                <a:gd name="connsiteX79" fmla="*/ 1171 w 483338"/>
                <a:gd name="connsiteY79" fmla="*/ 93634 h 239512"/>
                <a:gd name="connsiteX80" fmla="*/ 3552 w 483338"/>
                <a:gd name="connsiteY80" fmla="*/ 79347 h 239512"/>
                <a:gd name="connsiteX81" fmla="*/ 10696 w 483338"/>
                <a:gd name="connsiteY81" fmla="*/ 72203 h 239512"/>
                <a:gd name="connsiteX0" fmla="*/ 10696 w 483338"/>
                <a:gd name="connsiteY0" fmla="*/ 72203 h 239512"/>
                <a:gd name="connsiteX1" fmla="*/ 17840 w 483338"/>
                <a:gd name="connsiteY1" fmla="*/ 74584 h 239512"/>
                <a:gd name="connsiteX2" fmla="*/ 55940 w 483338"/>
                <a:gd name="connsiteY2" fmla="*/ 69822 h 239512"/>
                <a:gd name="connsiteX3" fmla="*/ 70227 w 483338"/>
                <a:gd name="connsiteY3" fmla="*/ 65059 h 239512"/>
                <a:gd name="connsiteX4" fmla="*/ 77371 w 483338"/>
                <a:gd name="connsiteY4" fmla="*/ 60297 h 239512"/>
                <a:gd name="connsiteX5" fmla="*/ 86896 w 483338"/>
                <a:gd name="connsiteY5" fmla="*/ 57915 h 239512"/>
                <a:gd name="connsiteX6" fmla="*/ 108327 w 483338"/>
                <a:gd name="connsiteY6" fmla="*/ 50772 h 239512"/>
                <a:gd name="connsiteX7" fmla="*/ 115471 w 483338"/>
                <a:gd name="connsiteY7" fmla="*/ 48390 h 239512"/>
                <a:gd name="connsiteX8" fmla="*/ 146427 w 483338"/>
                <a:gd name="connsiteY8" fmla="*/ 46009 h 239512"/>
                <a:gd name="connsiteX9" fmla="*/ 167859 w 483338"/>
                <a:gd name="connsiteY9" fmla="*/ 38865 h 239512"/>
                <a:gd name="connsiteX10" fmla="*/ 175002 w 483338"/>
                <a:gd name="connsiteY10" fmla="*/ 36484 h 239512"/>
                <a:gd name="connsiteX11" fmla="*/ 196434 w 483338"/>
                <a:gd name="connsiteY11" fmla="*/ 22197 h 239512"/>
                <a:gd name="connsiteX12" fmla="*/ 203577 w 483338"/>
                <a:gd name="connsiteY12" fmla="*/ 17434 h 239512"/>
                <a:gd name="connsiteX13" fmla="*/ 244059 w 483338"/>
                <a:gd name="connsiteY13" fmla="*/ 10290 h 239512"/>
                <a:gd name="connsiteX14" fmla="*/ 310734 w 483338"/>
                <a:gd name="connsiteY14" fmla="*/ 7909 h 239512"/>
                <a:gd name="connsiteX15" fmla="*/ 317877 w 483338"/>
                <a:gd name="connsiteY15" fmla="*/ 12672 h 239512"/>
                <a:gd name="connsiteX16" fmla="*/ 325021 w 483338"/>
                <a:gd name="connsiteY16" fmla="*/ 15053 h 239512"/>
                <a:gd name="connsiteX17" fmla="*/ 327402 w 483338"/>
                <a:gd name="connsiteY17" fmla="*/ 22197 h 239512"/>
                <a:gd name="connsiteX18" fmla="*/ 317877 w 483338"/>
                <a:gd name="connsiteY18" fmla="*/ 36484 h 239512"/>
                <a:gd name="connsiteX19" fmla="*/ 303590 w 483338"/>
                <a:gd name="connsiteY19" fmla="*/ 41247 h 239512"/>
                <a:gd name="connsiteX20" fmla="*/ 298827 w 483338"/>
                <a:gd name="connsiteY20" fmla="*/ 48390 h 239512"/>
                <a:gd name="connsiteX21" fmla="*/ 294065 w 483338"/>
                <a:gd name="connsiteY21" fmla="*/ 62678 h 239512"/>
                <a:gd name="connsiteX22" fmla="*/ 296446 w 483338"/>
                <a:gd name="connsiteY22" fmla="*/ 72203 h 239512"/>
                <a:gd name="connsiteX23" fmla="*/ 303590 w 483338"/>
                <a:gd name="connsiteY23" fmla="*/ 74584 h 239512"/>
                <a:gd name="connsiteX24" fmla="*/ 310734 w 483338"/>
                <a:gd name="connsiteY24" fmla="*/ 79347 h 239512"/>
                <a:gd name="connsiteX25" fmla="*/ 344071 w 483338"/>
                <a:gd name="connsiteY25" fmla="*/ 76965 h 239512"/>
                <a:gd name="connsiteX26" fmla="*/ 348834 w 483338"/>
                <a:gd name="connsiteY26" fmla="*/ 69822 h 239512"/>
                <a:gd name="connsiteX27" fmla="*/ 327402 w 483338"/>
                <a:gd name="connsiteY27" fmla="*/ 57915 h 239512"/>
                <a:gd name="connsiteX28" fmla="*/ 325021 w 483338"/>
                <a:gd name="connsiteY28" fmla="*/ 50772 h 239512"/>
                <a:gd name="connsiteX29" fmla="*/ 334546 w 483338"/>
                <a:gd name="connsiteY29" fmla="*/ 43628 h 239512"/>
                <a:gd name="connsiteX30" fmla="*/ 358359 w 483338"/>
                <a:gd name="connsiteY30" fmla="*/ 36484 h 239512"/>
                <a:gd name="connsiteX31" fmla="*/ 427415 w 483338"/>
                <a:gd name="connsiteY31" fmla="*/ 43628 h 239512"/>
                <a:gd name="connsiteX32" fmla="*/ 427415 w 483338"/>
                <a:gd name="connsiteY32" fmla="*/ 43628 h 239512"/>
                <a:gd name="connsiteX33" fmla="*/ 460752 w 483338"/>
                <a:gd name="connsiteY33" fmla="*/ 50772 h 239512"/>
                <a:gd name="connsiteX34" fmla="*/ 470277 w 483338"/>
                <a:gd name="connsiteY34" fmla="*/ 53153 h 239512"/>
                <a:gd name="connsiteX35" fmla="*/ 477421 w 483338"/>
                <a:gd name="connsiteY35" fmla="*/ 60297 h 239512"/>
                <a:gd name="connsiteX36" fmla="*/ 482184 w 483338"/>
                <a:gd name="connsiteY36" fmla="*/ 67440 h 239512"/>
                <a:gd name="connsiteX37" fmla="*/ 472659 w 483338"/>
                <a:gd name="connsiteY37" fmla="*/ 76965 h 239512"/>
                <a:gd name="connsiteX38" fmla="*/ 436940 w 483338"/>
                <a:gd name="connsiteY38" fmla="*/ 79347 h 239512"/>
                <a:gd name="connsiteX39" fmla="*/ 441702 w 483338"/>
                <a:gd name="connsiteY39" fmla="*/ 86490 h 239512"/>
                <a:gd name="connsiteX40" fmla="*/ 451227 w 483338"/>
                <a:gd name="connsiteY40" fmla="*/ 88872 h 239512"/>
                <a:gd name="connsiteX41" fmla="*/ 458371 w 483338"/>
                <a:gd name="connsiteY41" fmla="*/ 91253 h 239512"/>
                <a:gd name="connsiteX42" fmla="*/ 417890 w 483338"/>
                <a:gd name="connsiteY42" fmla="*/ 103159 h 239512"/>
                <a:gd name="connsiteX43" fmla="*/ 410746 w 483338"/>
                <a:gd name="connsiteY43" fmla="*/ 105540 h 239512"/>
                <a:gd name="connsiteX44" fmla="*/ 398840 w 483338"/>
                <a:gd name="connsiteY44" fmla="*/ 117447 h 239512"/>
                <a:gd name="connsiteX45" fmla="*/ 394077 w 483338"/>
                <a:gd name="connsiteY45" fmla="*/ 131734 h 239512"/>
                <a:gd name="connsiteX46" fmla="*/ 377409 w 483338"/>
                <a:gd name="connsiteY46" fmla="*/ 153165 h 239512"/>
                <a:gd name="connsiteX47" fmla="*/ 375027 w 483338"/>
                <a:gd name="connsiteY47" fmla="*/ 160309 h 239512"/>
                <a:gd name="connsiteX48" fmla="*/ 360740 w 483338"/>
                <a:gd name="connsiteY48" fmla="*/ 172215 h 239512"/>
                <a:gd name="connsiteX49" fmla="*/ 353596 w 483338"/>
                <a:gd name="connsiteY49" fmla="*/ 174597 h 239512"/>
                <a:gd name="connsiteX50" fmla="*/ 332165 w 483338"/>
                <a:gd name="connsiteY50" fmla="*/ 172215 h 239512"/>
                <a:gd name="connsiteX51" fmla="*/ 325021 w 483338"/>
                <a:gd name="connsiteY51" fmla="*/ 169834 h 239512"/>
                <a:gd name="connsiteX52" fmla="*/ 272634 w 483338"/>
                <a:gd name="connsiteY52" fmla="*/ 172215 h 239512"/>
                <a:gd name="connsiteX53" fmla="*/ 265490 w 483338"/>
                <a:gd name="connsiteY53" fmla="*/ 174597 h 239512"/>
                <a:gd name="connsiteX54" fmla="*/ 241677 w 483338"/>
                <a:gd name="connsiteY54" fmla="*/ 181740 h 239512"/>
                <a:gd name="connsiteX55" fmla="*/ 232152 w 483338"/>
                <a:gd name="connsiteY55" fmla="*/ 186503 h 239512"/>
                <a:gd name="connsiteX56" fmla="*/ 217865 w 483338"/>
                <a:gd name="connsiteY56" fmla="*/ 191265 h 239512"/>
                <a:gd name="connsiteX57" fmla="*/ 205959 w 483338"/>
                <a:gd name="connsiteY57" fmla="*/ 203172 h 239512"/>
                <a:gd name="connsiteX58" fmla="*/ 201196 w 483338"/>
                <a:gd name="connsiteY58" fmla="*/ 210315 h 239512"/>
                <a:gd name="connsiteX59" fmla="*/ 194052 w 483338"/>
                <a:gd name="connsiteY59" fmla="*/ 215078 h 239512"/>
                <a:gd name="connsiteX60" fmla="*/ 186909 w 483338"/>
                <a:gd name="connsiteY60" fmla="*/ 222222 h 239512"/>
                <a:gd name="connsiteX61" fmla="*/ 177384 w 483338"/>
                <a:gd name="connsiteY61" fmla="*/ 224603 h 239512"/>
                <a:gd name="connsiteX62" fmla="*/ 170240 w 483338"/>
                <a:gd name="connsiteY62" fmla="*/ 226984 h 239512"/>
                <a:gd name="connsiteX63" fmla="*/ 153571 w 483338"/>
                <a:gd name="connsiteY63" fmla="*/ 236509 h 239512"/>
                <a:gd name="connsiteX64" fmla="*/ 146427 w 483338"/>
                <a:gd name="connsiteY64" fmla="*/ 238890 h 239512"/>
                <a:gd name="connsiteX65" fmla="*/ 129759 w 483338"/>
                <a:gd name="connsiteY65" fmla="*/ 236509 h 239512"/>
                <a:gd name="connsiteX66" fmla="*/ 127377 w 483338"/>
                <a:gd name="connsiteY66" fmla="*/ 229365 h 239512"/>
                <a:gd name="connsiteX67" fmla="*/ 120234 w 483338"/>
                <a:gd name="connsiteY67" fmla="*/ 224603 h 239512"/>
                <a:gd name="connsiteX68" fmla="*/ 105946 w 483338"/>
                <a:gd name="connsiteY68" fmla="*/ 210315 h 239512"/>
                <a:gd name="connsiteX69" fmla="*/ 94040 w 483338"/>
                <a:gd name="connsiteY69" fmla="*/ 198409 h 239512"/>
                <a:gd name="connsiteX70" fmla="*/ 82134 w 483338"/>
                <a:gd name="connsiteY70" fmla="*/ 186503 h 239512"/>
                <a:gd name="connsiteX71" fmla="*/ 77371 w 483338"/>
                <a:gd name="connsiteY71" fmla="*/ 179359 h 239512"/>
                <a:gd name="connsiteX72" fmla="*/ 70227 w 483338"/>
                <a:gd name="connsiteY72" fmla="*/ 172215 h 239512"/>
                <a:gd name="connsiteX73" fmla="*/ 58321 w 483338"/>
                <a:gd name="connsiteY73" fmla="*/ 160309 h 239512"/>
                <a:gd name="connsiteX74" fmla="*/ 53559 w 483338"/>
                <a:gd name="connsiteY74" fmla="*/ 153165 h 239512"/>
                <a:gd name="connsiteX75" fmla="*/ 46415 w 483338"/>
                <a:gd name="connsiteY75" fmla="*/ 146022 h 239512"/>
                <a:gd name="connsiteX76" fmla="*/ 34509 w 483338"/>
                <a:gd name="connsiteY76" fmla="*/ 124590 h 239512"/>
                <a:gd name="connsiteX77" fmla="*/ 13077 w 483338"/>
                <a:gd name="connsiteY77" fmla="*/ 107922 h 239512"/>
                <a:gd name="connsiteX78" fmla="*/ 8315 w 483338"/>
                <a:gd name="connsiteY78" fmla="*/ 98397 h 239512"/>
                <a:gd name="connsiteX79" fmla="*/ 1171 w 483338"/>
                <a:gd name="connsiteY79" fmla="*/ 93634 h 239512"/>
                <a:gd name="connsiteX80" fmla="*/ 3552 w 483338"/>
                <a:gd name="connsiteY80" fmla="*/ 79347 h 239512"/>
                <a:gd name="connsiteX81" fmla="*/ 10696 w 483338"/>
                <a:gd name="connsiteY81" fmla="*/ 72203 h 239512"/>
                <a:gd name="connsiteX0" fmla="*/ 10696 w 483338"/>
                <a:gd name="connsiteY0" fmla="*/ 72203 h 239019"/>
                <a:gd name="connsiteX1" fmla="*/ 17840 w 483338"/>
                <a:gd name="connsiteY1" fmla="*/ 74584 h 239019"/>
                <a:gd name="connsiteX2" fmla="*/ 55940 w 483338"/>
                <a:gd name="connsiteY2" fmla="*/ 69822 h 239019"/>
                <a:gd name="connsiteX3" fmla="*/ 70227 w 483338"/>
                <a:gd name="connsiteY3" fmla="*/ 65059 h 239019"/>
                <a:gd name="connsiteX4" fmla="*/ 77371 w 483338"/>
                <a:gd name="connsiteY4" fmla="*/ 60297 h 239019"/>
                <a:gd name="connsiteX5" fmla="*/ 86896 w 483338"/>
                <a:gd name="connsiteY5" fmla="*/ 57915 h 239019"/>
                <a:gd name="connsiteX6" fmla="*/ 108327 w 483338"/>
                <a:gd name="connsiteY6" fmla="*/ 50772 h 239019"/>
                <a:gd name="connsiteX7" fmla="*/ 115471 w 483338"/>
                <a:gd name="connsiteY7" fmla="*/ 48390 h 239019"/>
                <a:gd name="connsiteX8" fmla="*/ 146427 w 483338"/>
                <a:gd name="connsiteY8" fmla="*/ 46009 h 239019"/>
                <a:gd name="connsiteX9" fmla="*/ 167859 w 483338"/>
                <a:gd name="connsiteY9" fmla="*/ 38865 h 239019"/>
                <a:gd name="connsiteX10" fmla="*/ 175002 w 483338"/>
                <a:gd name="connsiteY10" fmla="*/ 36484 h 239019"/>
                <a:gd name="connsiteX11" fmla="*/ 196434 w 483338"/>
                <a:gd name="connsiteY11" fmla="*/ 22197 h 239019"/>
                <a:gd name="connsiteX12" fmla="*/ 203577 w 483338"/>
                <a:gd name="connsiteY12" fmla="*/ 17434 h 239019"/>
                <a:gd name="connsiteX13" fmla="*/ 244059 w 483338"/>
                <a:gd name="connsiteY13" fmla="*/ 10290 h 239019"/>
                <a:gd name="connsiteX14" fmla="*/ 310734 w 483338"/>
                <a:gd name="connsiteY14" fmla="*/ 7909 h 239019"/>
                <a:gd name="connsiteX15" fmla="*/ 317877 w 483338"/>
                <a:gd name="connsiteY15" fmla="*/ 12672 h 239019"/>
                <a:gd name="connsiteX16" fmla="*/ 325021 w 483338"/>
                <a:gd name="connsiteY16" fmla="*/ 15053 h 239019"/>
                <a:gd name="connsiteX17" fmla="*/ 327402 w 483338"/>
                <a:gd name="connsiteY17" fmla="*/ 22197 h 239019"/>
                <a:gd name="connsiteX18" fmla="*/ 317877 w 483338"/>
                <a:gd name="connsiteY18" fmla="*/ 36484 h 239019"/>
                <a:gd name="connsiteX19" fmla="*/ 303590 w 483338"/>
                <a:gd name="connsiteY19" fmla="*/ 41247 h 239019"/>
                <a:gd name="connsiteX20" fmla="*/ 298827 w 483338"/>
                <a:gd name="connsiteY20" fmla="*/ 48390 h 239019"/>
                <a:gd name="connsiteX21" fmla="*/ 294065 w 483338"/>
                <a:gd name="connsiteY21" fmla="*/ 62678 h 239019"/>
                <a:gd name="connsiteX22" fmla="*/ 296446 w 483338"/>
                <a:gd name="connsiteY22" fmla="*/ 72203 h 239019"/>
                <a:gd name="connsiteX23" fmla="*/ 303590 w 483338"/>
                <a:gd name="connsiteY23" fmla="*/ 74584 h 239019"/>
                <a:gd name="connsiteX24" fmla="*/ 310734 w 483338"/>
                <a:gd name="connsiteY24" fmla="*/ 79347 h 239019"/>
                <a:gd name="connsiteX25" fmla="*/ 344071 w 483338"/>
                <a:gd name="connsiteY25" fmla="*/ 76965 h 239019"/>
                <a:gd name="connsiteX26" fmla="*/ 348834 w 483338"/>
                <a:gd name="connsiteY26" fmla="*/ 69822 h 239019"/>
                <a:gd name="connsiteX27" fmla="*/ 327402 w 483338"/>
                <a:gd name="connsiteY27" fmla="*/ 57915 h 239019"/>
                <a:gd name="connsiteX28" fmla="*/ 325021 w 483338"/>
                <a:gd name="connsiteY28" fmla="*/ 50772 h 239019"/>
                <a:gd name="connsiteX29" fmla="*/ 334546 w 483338"/>
                <a:gd name="connsiteY29" fmla="*/ 43628 h 239019"/>
                <a:gd name="connsiteX30" fmla="*/ 358359 w 483338"/>
                <a:gd name="connsiteY30" fmla="*/ 36484 h 239019"/>
                <a:gd name="connsiteX31" fmla="*/ 427415 w 483338"/>
                <a:gd name="connsiteY31" fmla="*/ 43628 h 239019"/>
                <a:gd name="connsiteX32" fmla="*/ 427415 w 483338"/>
                <a:gd name="connsiteY32" fmla="*/ 43628 h 239019"/>
                <a:gd name="connsiteX33" fmla="*/ 460752 w 483338"/>
                <a:gd name="connsiteY33" fmla="*/ 50772 h 239019"/>
                <a:gd name="connsiteX34" fmla="*/ 470277 w 483338"/>
                <a:gd name="connsiteY34" fmla="*/ 53153 h 239019"/>
                <a:gd name="connsiteX35" fmla="*/ 477421 w 483338"/>
                <a:gd name="connsiteY35" fmla="*/ 60297 h 239019"/>
                <a:gd name="connsiteX36" fmla="*/ 482184 w 483338"/>
                <a:gd name="connsiteY36" fmla="*/ 67440 h 239019"/>
                <a:gd name="connsiteX37" fmla="*/ 472659 w 483338"/>
                <a:gd name="connsiteY37" fmla="*/ 76965 h 239019"/>
                <a:gd name="connsiteX38" fmla="*/ 436940 w 483338"/>
                <a:gd name="connsiteY38" fmla="*/ 79347 h 239019"/>
                <a:gd name="connsiteX39" fmla="*/ 441702 w 483338"/>
                <a:gd name="connsiteY39" fmla="*/ 86490 h 239019"/>
                <a:gd name="connsiteX40" fmla="*/ 451227 w 483338"/>
                <a:gd name="connsiteY40" fmla="*/ 88872 h 239019"/>
                <a:gd name="connsiteX41" fmla="*/ 458371 w 483338"/>
                <a:gd name="connsiteY41" fmla="*/ 91253 h 239019"/>
                <a:gd name="connsiteX42" fmla="*/ 417890 w 483338"/>
                <a:gd name="connsiteY42" fmla="*/ 103159 h 239019"/>
                <a:gd name="connsiteX43" fmla="*/ 410746 w 483338"/>
                <a:gd name="connsiteY43" fmla="*/ 105540 h 239019"/>
                <a:gd name="connsiteX44" fmla="*/ 398840 w 483338"/>
                <a:gd name="connsiteY44" fmla="*/ 117447 h 239019"/>
                <a:gd name="connsiteX45" fmla="*/ 394077 w 483338"/>
                <a:gd name="connsiteY45" fmla="*/ 131734 h 239019"/>
                <a:gd name="connsiteX46" fmla="*/ 377409 w 483338"/>
                <a:gd name="connsiteY46" fmla="*/ 153165 h 239019"/>
                <a:gd name="connsiteX47" fmla="*/ 375027 w 483338"/>
                <a:gd name="connsiteY47" fmla="*/ 160309 h 239019"/>
                <a:gd name="connsiteX48" fmla="*/ 360740 w 483338"/>
                <a:gd name="connsiteY48" fmla="*/ 172215 h 239019"/>
                <a:gd name="connsiteX49" fmla="*/ 353596 w 483338"/>
                <a:gd name="connsiteY49" fmla="*/ 174597 h 239019"/>
                <a:gd name="connsiteX50" fmla="*/ 332165 w 483338"/>
                <a:gd name="connsiteY50" fmla="*/ 172215 h 239019"/>
                <a:gd name="connsiteX51" fmla="*/ 325021 w 483338"/>
                <a:gd name="connsiteY51" fmla="*/ 169834 h 239019"/>
                <a:gd name="connsiteX52" fmla="*/ 272634 w 483338"/>
                <a:gd name="connsiteY52" fmla="*/ 172215 h 239019"/>
                <a:gd name="connsiteX53" fmla="*/ 265490 w 483338"/>
                <a:gd name="connsiteY53" fmla="*/ 174597 h 239019"/>
                <a:gd name="connsiteX54" fmla="*/ 241677 w 483338"/>
                <a:gd name="connsiteY54" fmla="*/ 181740 h 239019"/>
                <a:gd name="connsiteX55" fmla="*/ 232152 w 483338"/>
                <a:gd name="connsiteY55" fmla="*/ 186503 h 239019"/>
                <a:gd name="connsiteX56" fmla="*/ 217865 w 483338"/>
                <a:gd name="connsiteY56" fmla="*/ 191265 h 239019"/>
                <a:gd name="connsiteX57" fmla="*/ 205959 w 483338"/>
                <a:gd name="connsiteY57" fmla="*/ 203172 h 239019"/>
                <a:gd name="connsiteX58" fmla="*/ 201196 w 483338"/>
                <a:gd name="connsiteY58" fmla="*/ 210315 h 239019"/>
                <a:gd name="connsiteX59" fmla="*/ 194052 w 483338"/>
                <a:gd name="connsiteY59" fmla="*/ 215078 h 239019"/>
                <a:gd name="connsiteX60" fmla="*/ 186909 w 483338"/>
                <a:gd name="connsiteY60" fmla="*/ 222222 h 239019"/>
                <a:gd name="connsiteX61" fmla="*/ 177384 w 483338"/>
                <a:gd name="connsiteY61" fmla="*/ 224603 h 239019"/>
                <a:gd name="connsiteX62" fmla="*/ 170240 w 483338"/>
                <a:gd name="connsiteY62" fmla="*/ 226984 h 239019"/>
                <a:gd name="connsiteX63" fmla="*/ 170240 w 483338"/>
                <a:gd name="connsiteY63" fmla="*/ 229365 h 239019"/>
                <a:gd name="connsiteX64" fmla="*/ 153571 w 483338"/>
                <a:gd name="connsiteY64" fmla="*/ 236509 h 239019"/>
                <a:gd name="connsiteX65" fmla="*/ 146427 w 483338"/>
                <a:gd name="connsiteY65" fmla="*/ 238890 h 239019"/>
                <a:gd name="connsiteX66" fmla="*/ 129759 w 483338"/>
                <a:gd name="connsiteY66" fmla="*/ 236509 h 239019"/>
                <a:gd name="connsiteX67" fmla="*/ 127377 w 483338"/>
                <a:gd name="connsiteY67" fmla="*/ 229365 h 239019"/>
                <a:gd name="connsiteX68" fmla="*/ 120234 w 483338"/>
                <a:gd name="connsiteY68" fmla="*/ 224603 h 239019"/>
                <a:gd name="connsiteX69" fmla="*/ 105946 w 483338"/>
                <a:gd name="connsiteY69" fmla="*/ 210315 h 239019"/>
                <a:gd name="connsiteX70" fmla="*/ 94040 w 483338"/>
                <a:gd name="connsiteY70" fmla="*/ 198409 h 239019"/>
                <a:gd name="connsiteX71" fmla="*/ 82134 w 483338"/>
                <a:gd name="connsiteY71" fmla="*/ 186503 h 239019"/>
                <a:gd name="connsiteX72" fmla="*/ 77371 w 483338"/>
                <a:gd name="connsiteY72" fmla="*/ 179359 h 239019"/>
                <a:gd name="connsiteX73" fmla="*/ 70227 w 483338"/>
                <a:gd name="connsiteY73" fmla="*/ 172215 h 239019"/>
                <a:gd name="connsiteX74" fmla="*/ 58321 w 483338"/>
                <a:gd name="connsiteY74" fmla="*/ 160309 h 239019"/>
                <a:gd name="connsiteX75" fmla="*/ 53559 w 483338"/>
                <a:gd name="connsiteY75" fmla="*/ 153165 h 239019"/>
                <a:gd name="connsiteX76" fmla="*/ 46415 w 483338"/>
                <a:gd name="connsiteY76" fmla="*/ 146022 h 239019"/>
                <a:gd name="connsiteX77" fmla="*/ 34509 w 483338"/>
                <a:gd name="connsiteY77" fmla="*/ 124590 h 239019"/>
                <a:gd name="connsiteX78" fmla="*/ 13077 w 483338"/>
                <a:gd name="connsiteY78" fmla="*/ 107922 h 239019"/>
                <a:gd name="connsiteX79" fmla="*/ 8315 w 483338"/>
                <a:gd name="connsiteY79" fmla="*/ 98397 h 239019"/>
                <a:gd name="connsiteX80" fmla="*/ 1171 w 483338"/>
                <a:gd name="connsiteY80" fmla="*/ 93634 h 239019"/>
                <a:gd name="connsiteX81" fmla="*/ 3552 w 483338"/>
                <a:gd name="connsiteY81" fmla="*/ 79347 h 239019"/>
                <a:gd name="connsiteX82" fmla="*/ 10696 w 483338"/>
                <a:gd name="connsiteY82" fmla="*/ 72203 h 239019"/>
                <a:gd name="connsiteX0" fmla="*/ 10696 w 483338"/>
                <a:gd name="connsiteY0" fmla="*/ 72203 h 239019"/>
                <a:gd name="connsiteX1" fmla="*/ 17840 w 483338"/>
                <a:gd name="connsiteY1" fmla="*/ 74584 h 239019"/>
                <a:gd name="connsiteX2" fmla="*/ 55940 w 483338"/>
                <a:gd name="connsiteY2" fmla="*/ 69822 h 239019"/>
                <a:gd name="connsiteX3" fmla="*/ 70227 w 483338"/>
                <a:gd name="connsiteY3" fmla="*/ 65059 h 239019"/>
                <a:gd name="connsiteX4" fmla="*/ 77371 w 483338"/>
                <a:gd name="connsiteY4" fmla="*/ 60297 h 239019"/>
                <a:gd name="connsiteX5" fmla="*/ 86896 w 483338"/>
                <a:gd name="connsiteY5" fmla="*/ 57915 h 239019"/>
                <a:gd name="connsiteX6" fmla="*/ 108327 w 483338"/>
                <a:gd name="connsiteY6" fmla="*/ 50772 h 239019"/>
                <a:gd name="connsiteX7" fmla="*/ 115471 w 483338"/>
                <a:gd name="connsiteY7" fmla="*/ 48390 h 239019"/>
                <a:gd name="connsiteX8" fmla="*/ 146427 w 483338"/>
                <a:gd name="connsiteY8" fmla="*/ 46009 h 239019"/>
                <a:gd name="connsiteX9" fmla="*/ 167859 w 483338"/>
                <a:gd name="connsiteY9" fmla="*/ 38865 h 239019"/>
                <a:gd name="connsiteX10" fmla="*/ 175002 w 483338"/>
                <a:gd name="connsiteY10" fmla="*/ 36484 h 239019"/>
                <a:gd name="connsiteX11" fmla="*/ 196434 w 483338"/>
                <a:gd name="connsiteY11" fmla="*/ 22197 h 239019"/>
                <a:gd name="connsiteX12" fmla="*/ 203577 w 483338"/>
                <a:gd name="connsiteY12" fmla="*/ 17434 h 239019"/>
                <a:gd name="connsiteX13" fmla="*/ 244059 w 483338"/>
                <a:gd name="connsiteY13" fmla="*/ 10290 h 239019"/>
                <a:gd name="connsiteX14" fmla="*/ 310734 w 483338"/>
                <a:gd name="connsiteY14" fmla="*/ 7909 h 239019"/>
                <a:gd name="connsiteX15" fmla="*/ 317877 w 483338"/>
                <a:gd name="connsiteY15" fmla="*/ 12672 h 239019"/>
                <a:gd name="connsiteX16" fmla="*/ 325021 w 483338"/>
                <a:gd name="connsiteY16" fmla="*/ 15053 h 239019"/>
                <a:gd name="connsiteX17" fmla="*/ 327402 w 483338"/>
                <a:gd name="connsiteY17" fmla="*/ 22197 h 239019"/>
                <a:gd name="connsiteX18" fmla="*/ 317877 w 483338"/>
                <a:gd name="connsiteY18" fmla="*/ 36484 h 239019"/>
                <a:gd name="connsiteX19" fmla="*/ 303590 w 483338"/>
                <a:gd name="connsiteY19" fmla="*/ 41247 h 239019"/>
                <a:gd name="connsiteX20" fmla="*/ 298827 w 483338"/>
                <a:gd name="connsiteY20" fmla="*/ 48390 h 239019"/>
                <a:gd name="connsiteX21" fmla="*/ 294065 w 483338"/>
                <a:gd name="connsiteY21" fmla="*/ 62678 h 239019"/>
                <a:gd name="connsiteX22" fmla="*/ 296446 w 483338"/>
                <a:gd name="connsiteY22" fmla="*/ 72203 h 239019"/>
                <a:gd name="connsiteX23" fmla="*/ 303590 w 483338"/>
                <a:gd name="connsiteY23" fmla="*/ 74584 h 239019"/>
                <a:gd name="connsiteX24" fmla="*/ 310734 w 483338"/>
                <a:gd name="connsiteY24" fmla="*/ 79347 h 239019"/>
                <a:gd name="connsiteX25" fmla="*/ 344071 w 483338"/>
                <a:gd name="connsiteY25" fmla="*/ 76965 h 239019"/>
                <a:gd name="connsiteX26" fmla="*/ 348834 w 483338"/>
                <a:gd name="connsiteY26" fmla="*/ 69822 h 239019"/>
                <a:gd name="connsiteX27" fmla="*/ 327402 w 483338"/>
                <a:gd name="connsiteY27" fmla="*/ 57915 h 239019"/>
                <a:gd name="connsiteX28" fmla="*/ 325021 w 483338"/>
                <a:gd name="connsiteY28" fmla="*/ 50772 h 239019"/>
                <a:gd name="connsiteX29" fmla="*/ 334546 w 483338"/>
                <a:gd name="connsiteY29" fmla="*/ 43628 h 239019"/>
                <a:gd name="connsiteX30" fmla="*/ 358359 w 483338"/>
                <a:gd name="connsiteY30" fmla="*/ 36484 h 239019"/>
                <a:gd name="connsiteX31" fmla="*/ 427415 w 483338"/>
                <a:gd name="connsiteY31" fmla="*/ 43628 h 239019"/>
                <a:gd name="connsiteX32" fmla="*/ 427415 w 483338"/>
                <a:gd name="connsiteY32" fmla="*/ 43628 h 239019"/>
                <a:gd name="connsiteX33" fmla="*/ 460752 w 483338"/>
                <a:gd name="connsiteY33" fmla="*/ 50772 h 239019"/>
                <a:gd name="connsiteX34" fmla="*/ 470277 w 483338"/>
                <a:gd name="connsiteY34" fmla="*/ 53153 h 239019"/>
                <a:gd name="connsiteX35" fmla="*/ 477421 w 483338"/>
                <a:gd name="connsiteY35" fmla="*/ 60297 h 239019"/>
                <a:gd name="connsiteX36" fmla="*/ 482184 w 483338"/>
                <a:gd name="connsiteY36" fmla="*/ 67440 h 239019"/>
                <a:gd name="connsiteX37" fmla="*/ 472659 w 483338"/>
                <a:gd name="connsiteY37" fmla="*/ 76965 h 239019"/>
                <a:gd name="connsiteX38" fmla="*/ 436940 w 483338"/>
                <a:gd name="connsiteY38" fmla="*/ 79347 h 239019"/>
                <a:gd name="connsiteX39" fmla="*/ 441702 w 483338"/>
                <a:gd name="connsiteY39" fmla="*/ 86490 h 239019"/>
                <a:gd name="connsiteX40" fmla="*/ 451227 w 483338"/>
                <a:gd name="connsiteY40" fmla="*/ 88872 h 239019"/>
                <a:gd name="connsiteX41" fmla="*/ 458371 w 483338"/>
                <a:gd name="connsiteY41" fmla="*/ 91253 h 239019"/>
                <a:gd name="connsiteX42" fmla="*/ 417890 w 483338"/>
                <a:gd name="connsiteY42" fmla="*/ 103159 h 239019"/>
                <a:gd name="connsiteX43" fmla="*/ 410746 w 483338"/>
                <a:gd name="connsiteY43" fmla="*/ 105540 h 239019"/>
                <a:gd name="connsiteX44" fmla="*/ 398840 w 483338"/>
                <a:gd name="connsiteY44" fmla="*/ 117447 h 239019"/>
                <a:gd name="connsiteX45" fmla="*/ 394077 w 483338"/>
                <a:gd name="connsiteY45" fmla="*/ 131734 h 239019"/>
                <a:gd name="connsiteX46" fmla="*/ 377409 w 483338"/>
                <a:gd name="connsiteY46" fmla="*/ 153165 h 239019"/>
                <a:gd name="connsiteX47" fmla="*/ 375027 w 483338"/>
                <a:gd name="connsiteY47" fmla="*/ 160309 h 239019"/>
                <a:gd name="connsiteX48" fmla="*/ 360740 w 483338"/>
                <a:gd name="connsiteY48" fmla="*/ 172215 h 239019"/>
                <a:gd name="connsiteX49" fmla="*/ 353596 w 483338"/>
                <a:gd name="connsiteY49" fmla="*/ 174597 h 239019"/>
                <a:gd name="connsiteX50" fmla="*/ 332165 w 483338"/>
                <a:gd name="connsiteY50" fmla="*/ 172215 h 239019"/>
                <a:gd name="connsiteX51" fmla="*/ 325021 w 483338"/>
                <a:gd name="connsiteY51" fmla="*/ 169834 h 239019"/>
                <a:gd name="connsiteX52" fmla="*/ 272634 w 483338"/>
                <a:gd name="connsiteY52" fmla="*/ 172215 h 239019"/>
                <a:gd name="connsiteX53" fmla="*/ 265490 w 483338"/>
                <a:gd name="connsiteY53" fmla="*/ 174597 h 239019"/>
                <a:gd name="connsiteX54" fmla="*/ 241677 w 483338"/>
                <a:gd name="connsiteY54" fmla="*/ 181740 h 239019"/>
                <a:gd name="connsiteX55" fmla="*/ 232152 w 483338"/>
                <a:gd name="connsiteY55" fmla="*/ 186503 h 239019"/>
                <a:gd name="connsiteX56" fmla="*/ 217865 w 483338"/>
                <a:gd name="connsiteY56" fmla="*/ 191265 h 239019"/>
                <a:gd name="connsiteX57" fmla="*/ 205959 w 483338"/>
                <a:gd name="connsiteY57" fmla="*/ 203172 h 239019"/>
                <a:gd name="connsiteX58" fmla="*/ 201196 w 483338"/>
                <a:gd name="connsiteY58" fmla="*/ 210315 h 239019"/>
                <a:gd name="connsiteX59" fmla="*/ 194052 w 483338"/>
                <a:gd name="connsiteY59" fmla="*/ 215078 h 239019"/>
                <a:gd name="connsiteX60" fmla="*/ 186909 w 483338"/>
                <a:gd name="connsiteY60" fmla="*/ 222222 h 239019"/>
                <a:gd name="connsiteX61" fmla="*/ 177384 w 483338"/>
                <a:gd name="connsiteY61" fmla="*/ 224603 h 239019"/>
                <a:gd name="connsiteX62" fmla="*/ 170240 w 483338"/>
                <a:gd name="connsiteY62" fmla="*/ 226984 h 239019"/>
                <a:gd name="connsiteX63" fmla="*/ 170240 w 483338"/>
                <a:gd name="connsiteY63" fmla="*/ 229365 h 239019"/>
                <a:gd name="connsiteX64" fmla="*/ 153571 w 483338"/>
                <a:gd name="connsiteY64" fmla="*/ 236509 h 239019"/>
                <a:gd name="connsiteX65" fmla="*/ 146427 w 483338"/>
                <a:gd name="connsiteY65" fmla="*/ 238890 h 239019"/>
                <a:gd name="connsiteX66" fmla="*/ 129759 w 483338"/>
                <a:gd name="connsiteY66" fmla="*/ 236509 h 239019"/>
                <a:gd name="connsiteX67" fmla="*/ 127377 w 483338"/>
                <a:gd name="connsiteY67" fmla="*/ 229365 h 239019"/>
                <a:gd name="connsiteX68" fmla="*/ 120234 w 483338"/>
                <a:gd name="connsiteY68" fmla="*/ 224603 h 239019"/>
                <a:gd name="connsiteX69" fmla="*/ 105946 w 483338"/>
                <a:gd name="connsiteY69" fmla="*/ 210315 h 239019"/>
                <a:gd name="connsiteX70" fmla="*/ 94040 w 483338"/>
                <a:gd name="connsiteY70" fmla="*/ 198409 h 239019"/>
                <a:gd name="connsiteX71" fmla="*/ 82134 w 483338"/>
                <a:gd name="connsiteY71" fmla="*/ 186503 h 239019"/>
                <a:gd name="connsiteX72" fmla="*/ 77371 w 483338"/>
                <a:gd name="connsiteY72" fmla="*/ 179359 h 239019"/>
                <a:gd name="connsiteX73" fmla="*/ 70227 w 483338"/>
                <a:gd name="connsiteY73" fmla="*/ 172215 h 239019"/>
                <a:gd name="connsiteX74" fmla="*/ 58321 w 483338"/>
                <a:gd name="connsiteY74" fmla="*/ 160309 h 239019"/>
                <a:gd name="connsiteX75" fmla="*/ 53559 w 483338"/>
                <a:gd name="connsiteY75" fmla="*/ 153165 h 239019"/>
                <a:gd name="connsiteX76" fmla="*/ 46415 w 483338"/>
                <a:gd name="connsiteY76" fmla="*/ 146022 h 239019"/>
                <a:gd name="connsiteX77" fmla="*/ 34509 w 483338"/>
                <a:gd name="connsiteY77" fmla="*/ 124590 h 239019"/>
                <a:gd name="connsiteX78" fmla="*/ 13077 w 483338"/>
                <a:gd name="connsiteY78" fmla="*/ 107922 h 239019"/>
                <a:gd name="connsiteX79" fmla="*/ 8315 w 483338"/>
                <a:gd name="connsiteY79" fmla="*/ 98397 h 239019"/>
                <a:gd name="connsiteX80" fmla="*/ 1171 w 483338"/>
                <a:gd name="connsiteY80" fmla="*/ 93634 h 239019"/>
                <a:gd name="connsiteX81" fmla="*/ 3552 w 483338"/>
                <a:gd name="connsiteY81" fmla="*/ 79347 h 239019"/>
                <a:gd name="connsiteX82" fmla="*/ 10696 w 483338"/>
                <a:gd name="connsiteY82" fmla="*/ 72203 h 239019"/>
                <a:gd name="connsiteX0" fmla="*/ 10696 w 483338"/>
                <a:gd name="connsiteY0" fmla="*/ 72203 h 245112"/>
                <a:gd name="connsiteX1" fmla="*/ 17840 w 483338"/>
                <a:gd name="connsiteY1" fmla="*/ 74584 h 245112"/>
                <a:gd name="connsiteX2" fmla="*/ 55940 w 483338"/>
                <a:gd name="connsiteY2" fmla="*/ 69822 h 245112"/>
                <a:gd name="connsiteX3" fmla="*/ 70227 w 483338"/>
                <a:gd name="connsiteY3" fmla="*/ 65059 h 245112"/>
                <a:gd name="connsiteX4" fmla="*/ 77371 w 483338"/>
                <a:gd name="connsiteY4" fmla="*/ 60297 h 245112"/>
                <a:gd name="connsiteX5" fmla="*/ 86896 w 483338"/>
                <a:gd name="connsiteY5" fmla="*/ 57915 h 245112"/>
                <a:gd name="connsiteX6" fmla="*/ 108327 w 483338"/>
                <a:gd name="connsiteY6" fmla="*/ 50772 h 245112"/>
                <a:gd name="connsiteX7" fmla="*/ 115471 w 483338"/>
                <a:gd name="connsiteY7" fmla="*/ 48390 h 245112"/>
                <a:gd name="connsiteX8" fmla="*/ 146427 w 483338"/>
                <a:gd name="connsiteY8" fmla="*/ 46009 h 245112"/>
                <a:gd name="connsiteX9" fmla="*/ 167859 w 483338"/>
                <a:gd name="connsiteY9" fmla="*/ 38865 h 245112"/>
                <a:gd name="connsiteX10" fmla="*/ 175002 w 483338"/>
                <a:gd name="connsiteY10" fmla="*/ 36484 h 245112"/>
                <a:gd name="connsiteX11" fmla="*/ 196434 w 483338"/>
                <a:gd name="connsiteY11" fmla="*/ 22197 h 245112"/>
                <a:gd name="connsiteX12" fmla="*/ 203577 w 483338"/>
                <a:gd name="connsiteY12" fmla="*/ 17434 h 245112"/>
                <a:gd name="connsiteX13" fmla="*/ 244059 w 483338"/>
                <a:gd name="connsiteY13" fmla="*/ 10290 h 245112"/>
                <a:gd name="connsiteX14" fmla="*/ 310734 w 483338"/>
                <a:gd name="connsiteY14" fmla="*/ 7909 h 245112"/>
                <a:gd name="connsiteX15" fmla="*/ 317877 w 483338"/>
                <a:gd name="connsiteY15" fmla="*/ 12672 h 245112"/>
                <a:gd name="connsiteX16" fmla="*/ 325021 w 483338"/>
                <a:gd name="connsiteY16" fmla="*/ 15053 h 245112"/>
                <a:gd name="connsiteX17" fmla="*/ 327402 w 483338"/>
                <a:gd name="connsiteY17" fmla="*/ 22197 h 245112"/>
                <a:gd name="connsiteX18" fmla="*/ 317877 w 483338"/>
                <a:gd name="connsiteY18" fmla="*/ 36484 h 245112"/>
                <a:gd name="connsiteX19" fmla="*/ 303590 w 483338"/>
                <a:gd name="connsiteY19" fmla="*/ 41247 h 245112"/>
                <a:gd name="connsiteX20" fmla="*/ 298827 w 483338"/>
                <a:gd name="connsiteY20" fmla="*/ 48390 h 245112"/>
                <a:gd name="connsiteX21" fmla="*/ 294065 w 483338"/>
                <a:gd name="connsiteY21" fmla="*/ 62678 h 245112"/>
                <a:gd name="connsiteX22" fmla="*/ 296446 w 483338"/>
                <a:gd name="connsiteY22" fmla="*/ 72203 h 245112"/>
                <a:gd name="connsiteX23" fmla="*/ 303590 w 483338"/>
                <a:gd name="connsiteY23" fmla="*/ 74584 h 245112"/>
                <a:gd name="connsiteX24" fmla="*/ 310734 w 483338"/>
                <a:gd name="connsiteY24" fmla="*/ 79347 h 245112"/>
                <a:gd name="connsiteX25" fmla="*/ 344071 w 483338"/>
                <a:gd name="connsiteY25" fmla="*/ 76965 h 245112"/>
                <a:gd name="connsiteX26" fmla="*/ 348834 w 483338"/>
                <a:gd name="connsiteY26" fmla="*/ 69822 h 245112"/>
                <a:gd name="connsiteX27" fmla="*/ 327402 w 483338"/>
                <a:gd name="connsiteY27" fmla="*/ 57915 h 245112"/>
                <a:gd name="connsiteX28" fmla="*/ 325021 w 483338"/>
                <a:gd name="connsiteY28" fmla="*/ 50772 h 245112"/>
                <a:gd name="connsiteX29" fmla="*/ 334546 w 483338"/>
                <a:gd name="connsiteY29" fmla="*/ 43628 h 245112"/>
                <a:gd name="connsiteX30" fmla="*/ 358359 w 483338"/>
                <a:gd name="connsiteY30" fmla="*/ 36484 h 245112"/>
                <a:gd name="connsiteX31" fmla="*/ 427415 w 483338"/>
                <a:gd name="connsiteY31" fmla="*/ 43628 h 245112"/>
                <a:gd name="connsiteX32" fmla="*/ 427415 w 483338"/>
                <a:gd name="connsiteY32" fmla="*/ 43628 h 245112"/>
                <a:gd name="connsiteX33" fmla="*/ 460752 w 483338"/>
                <a:gd name="connsiteY33" fmla="*/ 50772 h 245112"/>
                <a:gd name="connsiteX34" fmla="*/ 470277 w 483338"/>
                <a:gd name="connsiteY34" fmla="*/ 53153 h 245112"/>
                <a:gd name="connsiteX35" fmla="*/ 477421 w 483338"/>
                <a:gd name="connsiteY35" fmla="*/ 60297 h 245112"/>
                <a:gd name="connsiteX36" fmla="*/ 482184 w 483338"/>
                <a:gd name="connsiteY36" fmla="*/ 67440 h 245112"/>
                <a:gd name="connsiteX37" fmla="*/ 472659 w 483338"/>
                <a:gd name="connsiteY37" fmla="*/ 76965 h 245112"/>
                <a:gd name="connsiteX38" fmla="*/ 436940 w 483338"/>
                <a:gd name="connsiteY38" fmla="*/ 79347 h 245112"/>
                <a:gd name="connsiteX39" fmla="*/ 441702 w 483338"/>
                <a:gd name="connsiteY39" fmla="*/ 86490 h 245112"/>
                <a:gd name="connsiteX40" fmla="*/ 451227 w 483338"/>
                <a:gd name="connsiteY40" fmla="*/ 88872 h 245112"/>
                <a:gd name="connsiteX41" fmla="*/ 458371 w 483338"/>
                <a:gd name="connsiteY41" fmla="*/ 91253 h 245112"/>
                <a:gd name="connsiteX42" fmla="*/ 417890 w 483338"/>
                <a:gd name="connsiteY42" fmla="*/ 103159 h 245112"/>
                <a:gd name="connsiteX43" fmla="*/ 410746 w 483338"/>
                <a:gd name="connsiteY43" fmla="*/ 105540 h 245112"/>
                <a:gd name="connsiteX44" fmla="*/ 398840 w 483338"/>
                <a:gd name="connsiteY44" fmla="*/ 117447 h 245112"/>
                <a:gd name="connsiteX45" fmla="*/ 394077 w 483338"/>
                <a:gd name="connsiteY45" fmla="*/ 131734 h 245112"/>
                <a:gd name="connsiteX46" fmla="*/ 377409 w 483338"/>
                <a:gd name="connsiteY46" fmla="*/ 153165 h 245112"/>
                <a:gd name="connsiteX47" fmla="*/ 375027 w 483338"/>
                <a:gd name="connsiteY47" fmla="*/ 160309 h 245112"/>
                <a:gd name="connsiteX48" fmla="*/ 360740 w 483338"/>
                <a:gd name="connsiteY48" fmla="*/ 172215 h 245112"/>
                <a:gd name="connsiteX49" fmla="*/ 353596 w 483338"/>
                <a:gd name="connsiteY49" fmla="*/ 174597 h 245112"/>
                <a:gd name="connsiteX50" fmla="*/ 332165 w 483338"/>
                <a:gd name="connsiteY50" fmla="*/ 172215 h 245112"/>
                <a:gd name="connsiteX51" fmla="*/ 325021 w 483338"/>
                <a:gd name="connsiteY51" fmla="*/ 169834 h 245112"/>
                <a:gd name="connsiteX52" fmla="*/ 272634 w 483338"/>
                <a:gd name="connsiteY52" fmla="*/ 172215 h 245112"/>
                <a:gd name="connsiteX53" fmla="*/ 265490 w 483338"/>
                <a:gd name="connsiteY53" fmla="*/ 174597 h 245112"/>
                <a:gd name="connsiteX54" fmla="*/ 241677 w 483338"/>
                <a:gd name="connsiteY54" fmla="*/ 181740 h 245112"/>
                <a:gd name="connsiteX55" fmla="*/ 232152 w 483338"/>
                <a:gd name="connsiteY55" fmla="*/ 186503 h 245112"/>
                <a:gd name="connsiteX56" fmla="*/ 217865 w 483338"/>
                <a:gd name="connsiteY56" fmla="*/ 191265 h 245112"/>
                <a:gd name="connsiteX57" fmla="*/ 205959 w 483338"/>
                <a:gd name="connsiteY57" fmla="*/ 203172 h 245112"/>
                <a:gd name="connsiteX58" fmla="*/ 201196 w 483338"/>
                <a:gd name="connsiteY58" fmla="*/ 210315 h 245112"/>
                <a:gd name="connsiteX59" fmla="*/ 194052 w 483338"/>
                <a:gd name="connsiteY59" fmla="*/ 215078 h 245112"/>
                <a:gd name="connsiteX60" fmla="*/ 186909 w 483338"/>
                <a:gd name="connsiteY60" fmla="*/ 222222 h 245112"/>
                <a:gd name="connsiteX61" fmla="*/ 177384 w 483338"/>
                <a:gd name="connsiteY61" fmla="*/ 224603 h 245112"/>
                <a:gd name="connsiteX62" fmla="*/ 170240 w 483338"/>
                <a:gd name="connsiteY62" fmla="*/ 226984 h 245112"/>
                <a:gd name="connsiteX63" fmla="*/ 170240 w 483338"/>
                <a:gd name="connsiteY63" fmla="*/ 229365 h 245112"/>
                <a:gd name="connsiteX64" fmla="*/ 153571 w 483338"/>
                <a:gd name="connsiteY64" fmla="*/ 236509 h 245112"/>
                <a:gd name="connsiteX65" fmla="*/ 146427 w 483338"/>
                <a:gd name="connsiteY65" fmla="*/ 238890 h 245112"/>
                <a:gd name="connsiteX66" fmla="*/ 129759 w 483338"/>
                <a:gd name="connsiteY66" fmla="*/ 236509 h 245112"/>
                <a:gd name="connsiteX67" fmla="*/ 127377 w 483338"/>
                <a:gd name="connsiteY67" fmla="*/ 229365 h 245112"/>
                <a:gd name="connsiteX68" fmla="*/ 120234 w 483338"/>
                <a:gd name="connsiteY68" fmla="*/ 224603 h 245112"/>
                <a:gd name="connsiteX69" fmla="*/ 105946 w 483338"/>
                <a:gd name="connsiteY69" fmla="*/ 210315 h 245112"/>
                <a:gd name="connsiteX70" fmla="*/ 94040 w 483338"/>
                <a:gd name="connsiteY70" fmla="*/ 198409 h 245112"/>
                <a:gd name="connsiteX71" fmla="*/ 82134 w 483338"/>
                <a:gd name="connsiteY71" fmla="*/ 186503 h 245112"/>
                <a:gd name="connsiteX72" fmla="*/ 77371 w 483338"/>
                <a:gd name="connsiteY72" fmla="*/ 179359 h 245112"/>
                <a:gd name="connsiteX73" fmla="*/ 70227 w 483338"/>
                <a:gd name="connsiteY73" fmla="*/ 172215 h 245112"/>
                <a:gd name="connsiteX74" fmla="*/ 58321 w 483338"/>
                <a:gd name="connsiteY74" fmla="*/ 160309 h 245112"/>
                <a:gd name="connsiteX75" fmla="*/ 53559 w 483338"/>
                <a:gd name="connsiteY75" fmla="*/ 153165 h 245112"/>
                <a:gd name="connsiteX76" fmla="*/ 46415 w 483338"/>
                <a:gd name="connsiteY76" fmla="*/ 146022 h 245112"/>
                <a:gd name="connsiteX77" fmla="*/ 34509 w 483338"/>
                <a:gd name="connsiteY77" fmla="*/ 124590 h 245112"/>
                <a:gd name="connsiteX78" fmla="*/ 13077 w 483338"/>
                <a:gd name="connsiteY78" fmla="*/ 107922 h 245112"/>
                <a:gd name="connsiteX79" fmla="*/ 8315 w 483338"/>
                <a:gd name="connsiteY79" fmla="*/ 98397 h 245112"/>
                <a:gd name="connsiteX80" fmla="*/ 1171 w 483338"/>
                <a:gd name="connsiteY80" fmla="*/ 93634 h 245112"/>
                <a:gd name="connsiteX81" fmla="*/ 3552 w 483338"/>
                <a:gd name="connsiteY81" fmla="*/ 79347 h 245112"/>
                <a:gd name="connsiteX82" fmla="*/ 10696 w 483338"/>
                <a:gd name="connsiteY82" fmla="*/ 72203 h 245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83338" h="245112">
                  <a:moveTo>
                    <a:pt x="10696" y="72203"/>
                  </a:moveTo>
                  <a:cubicBezTo>
                    <a:pt x="13077" y="71409"/>
                    <a:pt x="15330" y="74584"/>
                    <a:pt x="17840" y="74584"/>
                  </a:cubicBezTo>
                  <a:cubicBezTo>
                    <a:pt x="31677" y="74584"/>
                    <a:pt x="43305" y="73613"/>
                    <a:pt x="55940" y="69822"/>
                  </a:cubicBezTo>
                  <a:cubicBezTo>
                    <a:pt x="60748" y="68379"/>
                    <a:pt x="66050" y="67843"/>
                    <a:pt x="70227" y="65059"/>
                  </a:cubicBezTo>
                  <a:cubicBezTo>
                    <a:pt x="72608" y="63472"/>
                    <a:pt x="74741" y="61424"/>
                    <a:pt x="77371" y="60297"/>
                  </a:cubicBezTo>
                  <a:cubicBezTo>
                    <a:pt x="80379" y="59008"/>
                    <a:pt x="83761" y="58855"/>
                    <a:pt x="86896" y="57915"/>
                  </a:cubicBezTo>
                  <a:cubicBezTo>
                    <a:pt x="86909" y="57911"/>
                    <a:pt x="104748" y="51965"/>
                    <a:pt x="108327" y="50772"/>
                  </a:cubicBezTo>
                  <a:cubicBezTo>
                    <a:pt x="110708" y="49978"/>
                    <a:pt x="112968" y="48583"/>
                    <a:pt x="115471" y="48390"/>
                  </a:cubicBezTo>
                  <a:lnTo>
                    <a:pt x="146427" y="46009"/>
                  </a:lnTo>
                  <a:lnTo>
                    <a:pt x="167859" y="38865"/>
                  </a:lnTo>
                  <a:cubicBezTo>
                    <a:pt x="170240" y="38071"/>
                    <a:pt x="172914" y="37876"/>
                    <a:pt x="175002" y="36484"/>
                  </a:cubicBezTo>
                  <a:lnTo>
                    <a:pt x="196434" y="22197"/>
                  </a:lnTo>
                  <a:cubicBezTo>
                    <a:pt x="198815" y="20610"/>
                    <a:pt x="200862" y="18339"/>
                    <a:pt x="203577" y="17434"/>
                  </a:cubicBezTo>
                  <a:cubicBezTo>
                    <a:pt x="226183" y="9900"/>
                    <a:pt x="212865" y="13127"/>
                    <a:pt x="244059" y="10290"/>
                  </a:cubicBezTo>
                  <a:cubicBezTo>
                    <a:pt x="274930" y="0"/>
                    <a:pt x="253331" y="5300"/>
                    <a:pt x="310734" y="7909"/>
                  </a:cubicBezTo>
                  <a:cubicBezTo>
                    <a:pt x="313115" y="9497"/>
                    <a:pt x="315317" y="11392"/>
                    <a:pt x="317877" y="12672"/>
                  </a:cubicBezTo>
                  <a:cubicBezTo>
                    <a:pt x="320122" y="13795"/>
                    <a:pt x="323246" y="13278"/>
                    <a:pt x="325021" y="15053"/>
                  </a:cubicBezTo>
                  <a:cubicBezTo>
                    <a:pt x="326796" y="16828"/>
                    <a:pt x="326608" y="19816"/>
                    <a:pt x="327402" y="22197"/>
                  </a:cubicBezTo>
                  <a:cubicBezTo>
                    <a:pt x="325032" y="31679"/>
                    <a:pt x="327128" y="32372"/>
                    <a:pt x="317877" y="36484"/>
                  </a:cubicBezTo>
                  <a:cubicBezTo>
                    <a:pt x="313290" y="38523"/>
                    <a:pt x="303590" y="41247"/>
                    <a:pt x="303590" y="41247"/>
                  </a:cubicBezTo>
                  <a:cubicBezTo>
                    <a:pt x="302002" y="43628"/>
                    <a:pt x="299989" y="45775"/>
                    <a:pt x="298827" y="48390"/>
                  </a:cubicBezTo>
                  <a:cubicBezTo>
                    <a:pt x="296788" y="52978"/>
                    <a:pt x="294065" y="62678"/>
                    <a:pt x="294065" y="62678"/>
                  </a:cubicBezTo>
                  <a:cubicBezTo>
                    <a:pt x="294859" y="65853"/>
                    <a:pt x="294402" y="69647"/>
                    <a:pt x="296446" y="72203"/>
                  </a:cubicBezTo>
                  <a:cubicBezTo>
                    <a:pt x="298014" y="74163"/>
                    <a:pt x="301345" y="73461"/>
                    <a:pt x="303590" y="74584"/>
                  </a:cubicBezTo>
                  <a:cubicBezTo>
                    <a:pt x="306150" y="75864"/>
                    <a:pt x="308353" y="77759"/>
                    <a:pt x="310734" y="79347"/>
                  </a:cubicBezTo>
                  <a:cubicBezTo>
                    <a:pt x="321846" y="78553"/>
                    <a:pt x="333263" y="79667"/>
                    <a:pt x="344071" y="76965"/>
                  </a:cubicBezTo>
                  <a:cubicBezTo>
                    <a:pt x="346847" y="76271"/>
                    <a:pt x="350254" y="72307"/>
                    <a:pt x="348834" y="69822"/>
                  </a:cubicBezTo>
                  <a:cubicBezTo>
                    <a:pt x="344982" y="63081"/>
                    <a:pt x="334484" y="60276"/>
                    <a:pt x="327402" y="57915"/>
                  </a:cubicBezTo>
                  <a:cubicBezTo>
                    <a:pt x="326608" y="55534"/>
                    <a:pt x="323899" y="53017"/>
                    <a:pt x="325021" y="50772"/>
                  </a:cubicBezTo>
                  <a:cubicBezTo>
                    <a:pt x="326796" y="47222"/>
                    <a:pt x="330996" y="45403"/>
                    <a:pt x="334546" y="43628"/>
                  </a:cubicBezTo>
                  <a:cubicBezTo>
                    <a:pt x="340346" y="40728"/>
                    <a:pt x="351521" y="38193"/>
                    <a:pt x="358359" y="36484"/>
                  </a:cubicBezTo>
                  <a:cubicBezTo>
                    <a:pt x="418143" y="39083"/>
                    <a:pt x="395792" y="33086"/>
                    <a:pt x="427415" y="43628"/>
                  </a:cubicBezTo>
                  <a:lnTo>
                    <a:pt x="427415" y="43628"/>
                  </a:lnTo>
                  <a:cubicBezTo>
                    <a:pt x="448162" y="47086"/>
                    <a:pt x="437013" y="44837"/>
                    <a:pt x="460752" y="50772"/>
                  </a:cubicBezTo>
                  <a:lnTo>
                    <a:pt x="470277" y="53153"/>
                  </a:lnTo>
                  <a:cubicBezTo>
                    <a:pt x="472658" y="55534"/>
                    <a:pt x="475265" y="57710"/>
                    <a:pt x="477421" y="60297"/>
                  </a:cubicBezTo>
                  <a:cubicBezTo>
                    <a:pt x="479253" y="62495"/>
                    <a:pt x="481714" y="64617"/>
                    <a:pt x="482184" y="67440"/>
                  </a:cubicBezTo>
                  <a:cubicBezTo>
                    <a:pt x="483338" y="74367"/>
                    <a:pt x="477854" y="76388"/>
                    <a:pt x="472659" y="76965"/>
                  </a:cubicBezTo>
                  <a:cubicBezTo>
                    <a:pt x="460799" y="78283"/>
                    <a:pt x="448846" y="78553"/>
                    <a:pt x="436940" y="79347"/>
                  </a:cubicBezTo>
                  <a:cubicBezTo>
                    <a:pt x="438527" y="81728"/>
                    <a:pt x="439321" y="84903"/>
                    <a:pt x="441702" y="86490"/>
                  </a:cubicBezTo>
                  <a:cubicBezTo>
                    <a:pt x="444425" y="88305"/>
                    <a:pt x="448080" y="87973"/>
                    <a:pt x="451227" y="88872"/>
                  </a:cubicBezTo>
                  <a:cubicBezTo>
                    <a:pt x="453641" y="89562"/>
                    <a:pt x="455990" y="90459"/>
                    <a:pt x="458371" y="91253"/>
                  </a:cubicBezTo>
                  <a:cubicBezTo>
                    <a:pt x="436789" y="105641"/>
                    <a:pt x="449784" y="100260"/>
                    <a:pt x="417890" y="103159"/>
                  </a:cubicBezTo>
                  <a:cubicBezTo>
                    <a:pt x="415509" y="103953"/>
                    <a:pt x="412991" y="104417"/>
                    <a:pt x="410746" y="105540"/>
                  </a:cubicBezTo>
                  <a:cubicBezTo>
                    <a:pt x="404849" y="108489"/>
                    <a:pt x="401562" y="111323"/>
                    <a:pt x="398840" y="117447"/>
                  </a:cubicBezTo>
                  <a:cubicBezTo>
                    <a:pt x="396801" y="122034"/>
                    <a:pt x="397626" y="128184"/>
                    <a:pt x="394077" y="131734"/>
                  </a:cubicBezTo>
                  <a:cubicBezTo>
                    <a:pt x="387914" y="137898"/>
                    <a:pt x="380258" y="144622"/>
                    <a:pt x="377409" y="153165"/>
                  </a:cubicBezTo>
                  <a:cubicBezTo>
                    <a:pt x="376615" y="155546"/>
                    <a:pt x="376419" y="158220"/>
                    <a:pt x="375027" y="160309"/>
                  </a:cubicBezTo>
                  <a:cubicBezTo>
                    <a:pt x="372392" y="164262"/>
                    <a:pt x="365135" y="170017"/>
                    <a:pt x="360740" y="172215"/>
                  </a:cubicBezTo>
                  <a:cubicBezTo>
                    <a:pt x="358495" y="173338"/>
                    <a:pt x="355977" y="173803"/>
                    <a:pt x="353596" y="174597"/>
                  </a:cubicBezTo>
                  <a:cubicBezTo>
                    <a:pt x="346452" y="173803"/>
                    <a:pt x="339255" y="173397"/>
                    <a:pt x="332165" y="172215"/>
                  </a:cubicBezTo>
                  <a:cubicBezTo>
                    <a:pt x="329689" y="171802"/>
                    <a:pt x="327531" y="169834"/>
                    <a:pt x="325021" y="169834"/>
                  </a:cubicBezTo>
                  <a:cubicBezTo>
                    <a:pt x="307541" y="169834"/>
                    <a:pt x="290096" y="171421"/>
                    <a:pt x="272634" y="172215"/>
                  </a:cubicBezTo>
                  <a:cubicBezTo>
                    <a:pt x="270253" y="173009"/>
                    <a:pt x="267904" y="173907"/>
                    <a:pt x="265490" y="174597"/>
                  </a:cubicBezTo>
                  <a:cubicBezTo>
                    <a:pt x="257515" y="176876"/>
                    <a:pt x="249221" y="177968"/>
                    <a:pt x="241677" y="181740"/>
                  </a:cubicBezTo>
                  <a:cubicBezTo>
                    <a:pt x="238502" y="183328"/>
                    <a:pt x="235448" y="185185"/>
                    <a:pt x="232152" y="186503"/>
                  </a:cubicBezTo>
                  <a:cubicBezTo>
                    <a:pt x="227491" y="188367"/>
                    <a:pt x="217865" y="191265"/>
                    <a:pt x="217865" y="191265"/>
                  </a:cubicBezTo>
                  <a:cubicBezTo>
                    <a:pt x="205166" y="210313"/>
                    <a:pt x="221831" y="187300"/>
                    <a:pt x="205959" y="203172"/>
                  </a:cubicBezTo>
                  <a:cubicBezTo>
                    <a:pt x="203935" y="205196"/>
                    <a:pt x="203220" y="208291"/>
                    <a:pt x="201196" y="210315"/>
                  </a:cubicBezTo>
                  <a:cubicBezTo>
                    <a:pt x="199172" y="212339"/>
                    <a:pt x="196251" y="213246"/>
                    <a:pt x="194052" y="215078"/>
                  </a:cubicBezTo>
                  <a:cubicBezTo>
                    <a:pt x="191465" y="217234"/>
                    <a:pt x="189833" y="220551"/>
                    <a:pt x="186909" y="222222"/>
                  </a:cubicBezTo>
                  <a:cubicBezTo>
                    <a:pt x="184068" y="223846"/>
                    <a:pt x="180531" y="223704"/>
                    <a:pt x="177384" y="224603"/>
                  </a:cubicBezTo>
                  <a:cubicBezTo>
                    <a:pt x="174970" y="225293"/>
                    <a:pt x="172547" y="225995"/>
                    <a:pt x="170240" y="226984"/>
                  </a:cubicBezTo>
                  <a:cubicBezTo>
                    <a:pt x="169050" y="227778"/>
                    <a:pt x="173018" y="227778"/>
                    <a:pt x="170240" y="229365"/>
                  </a:cubicBezTo>
                  <a:cubicBezTo>
                    <a:pt x="167462" y="230952"/>
                    <a:pt x="157540" y="234922"/>
                    <a:pt x="153571" y="236509"/>
                  </a:cubicBezTo>
                  <a:cubicBezTo>
                    <a:pt x="151326" y="237631"/>
                    <a:pt x="145658" y="245112"/>
                    <a:pt x="146427" y="238890"/>
                  </a:cubicBezTo>
                  <a:cubicBezTo>
                    <a:pt x="140871" y="238096"/>
                    <a:pt x="134779" y="239019"/>
                    <a:pt x="129759" y="236509"/>
                  </a:cubicBezTo>
                  <a:cubicBezTo>
                    <a:pt x="127514" y="235386"/>
                    <a:pt x="128945" y="231325"/>
                    <a:pt x="127377" y="229365"/>
                  </a:cubicBezTo>
                  <a:cubicBezTo>
                    <a:pt x="125589" y="227130"/>
                    <a:pt x="122615" y="226190"/>
                    <a:pt x="120234" y="224603"/>
                  </a:cubicBezTo>
                  <a:cubicBezTo>
                    <a:pt x="109009" y="207767"/>
                    <a:pt x="123669" y="228038"/>
                    <a:pt x="105946" y="210315"/>
                  </a:cubicBezTo>
                  <a:cubicBezTo>
                    <a:pt x="90071" y="194440"/>
                    <a:pt x="113092" y="211111"/>
                    <a:pt x="94040" y="198409"/>
                  </a:cubicBezTo>
                  <a:cubicBezTo>
                    <a:pt x="81338" y="179357"/>
                    <a:pt x="98009" y="202378"/>
                    <a:pt x="82134" y="186503"/>
                  </a:cubicBezTo>
                  <a:cubicBezTo>
                    <a:pt x="80110" y="184479"/>
                    <a:pt x="79203" y="181558"/>
                    <a:pt x="77371" y="179359"/>
                  </a:cubicBezTo>
                  <a:cubicBezTo>
                    <a:pt x="75215" y="176772"/>
                    <a:pt x="72383" y="174802"/>
                    <a:pt x="70227" y="172215"/>
                  </a:cubicBezTo>
                  <a:cubicBezTo>
                    <a:pt x="60305" y="160309"/>
                    <a:pt x="71419" y="169041"/>
                    <a:pt x="58321" y="160309"/>
                  </a:cubicBezTo>
                  <a:cubicBezTo>
                    <a:pt x="56734" y="157928"/>
                    <a:pt x="55391" y="155364"/>
                    <a:pt x="53559" y="153165"/>
                  </a:cubicBezTo>
                  <a:cubicBezTo>
                    <a:pt x="51403" y="150578"/>
                    <a:pt x="48283" y="148824"/>
                    <a:pt x="46415" y="146022"/>
                  </a:cubicBezTo>
                  <a:cubicBezTo>
                    <a:pt x="39466" y="135599"/>
                    <a:pt x="51716" y="136061"/>
                    <a:pt x="34509" y="124590"/>
                  </a:cubicBezTo>
                  <a:cubicBezTo>
                    <a:pt x="17419" y="113197"/>
                    <a:pt x="24269" y="119112"/>
                    <a:pt x="13077" y="107922"/>
                  </a:cubicBezTo>
                  <a:cubicBezTo>
                    <a:pt x="11490" y="104747"/>
                    <a:pt x="10587" y="101124"/>
                    <a:pt x="8315" y="98397"/>
                  </a:cubicBezTo>
                  <a:cubicBezTo>
                    <a:pt x="6483" y="96198"/>
                    <a:pt x="1865" y="96411"/>
                    <a:pt x="1171" y="93634"/>
                  </a:cubicBezTo>
                  <a:cubicBezTo>
                    <a:pt x="0" y="88950"/>
                    <a:pt x="1157" y="83539"/>
                    <a:pt x="3552" y="79347"/>
                  </a:cubicBezTo>
                  <a:cubicBezTo>
                    <a:pt x="11449" y="65527"/>
                    <a:pt x="8315" y="72997"/>
                    <a:pt x="10696" y="72203"/>
                  </a:cubicBez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06" name="Freeform 105"/>
            <p:cNvSpPr/>
            <p:nvPr/>
          </p:nvSpPr>
          <p:spPr bwMode="gray">
            <a:xfrm>
              <a:off x="6763539" y="1903413"/>
              <a:ext cx="871537" cy="652462"/>
            </a:xfrm>
            <a:custGeom>
              <a:avLst/>
              <a:gdLst>
                <a:gd name="connsiteX0" fmla="*/ 340815 w 607755"/>
                <a:gd name="connsiteY0" fmla="*/ 154781 h 454818"/>
                <a:gd name="connsiteX1" fmla="*/ 362246 w 607755"/>
                <a:gd name="connsiteY1" fmla="*/ 142875 h 454818"/>
                <a:gd name="connsiteX2" fmla="*/ 369390 w 607755"/>
                <a:gd name="connsiteY2" fmla="*/ 138112 h 454818"/>
                <a:gd name="connsiteX3" fmla="*/ 383678 w 607755"/>
                <a:gd name="connsiteY3" fmla="*/ 135731 h 454818"/>
                <a:gd name="connsiteX4" fmla="*/ 388440 w 607755"/>
                <a:gd name="connsiteY4" fmla="*/ 114300 h 454818"/>
                <a:gd name="connsiteX5" fmla="*/ 393203 w 607755"/>
                <a:gd name="connsiteY5" fmla="*/ 107156 h 454818"/>
                <a:gd name="connsiteX6" fmla="*/ 400346 w 607755"/>
                <a:gd name="connsiteY6" fmla="*/ 90487 h 454818"/>
                <a:gd name="connsiteX7" fmla="*/ 445590 w 607755"/>
                <a:gd name="connsiteY7" fmla="*/ 83343 h 454818"/>
                <a:gd name="connsiteX8" fmla="*/ 459878 w 607755"/>
                <a:gd name="connsiteY8" fmla="*/ 76200 h 454818"/>
                <a:gd name="connsiteX9" fmla="*/ 474165 w 607755"/>
                <a:gd name="connsiteY9" fmla="*/ 71437 h 454818"/>
                <a:gd name="connsiteX10" fmla="*/ 481309 w 607755"/>
                <a:gd name="connsiteY10" fmla="*/ 66675 h 454818"/>
                <a:gd name="connsiteX11" fmla="*/ 502740 w 607755"/>
                <a:gd name="connsiteY11" fmla="*/ 54768 h 454818"/>
                <a:gd name="connsiteX12" fmla="*/ 514646 w 607755"/>
                <a:gd name="connsiteY12" fmla="*/ 40481 h 454818"/>
                <a:gd name="connsiteX13" fmla="*/ 521790 w 607755"/>
                <a:gd name="connsiteY13" fmla="*/ 33337 h 454818"/>
                <a:gd name="connsiteX14" fmla="*/ 531315 w 607755"/>
                <a:gd name="connsiteY14" fmla="*/ 19050 h 454818"/>
                <a:gd name="connsiteX15" fmla="*/ 547984 w 607755"/>
                <a:gd name="connsiteY15" fmla="*/ 11906 h 454818"/>
                <a:gd name="connsiteX16" fmla="*/ 562271 w 607755"/>
                <a:gd name="connsiteY16" fmla="*/ 7143 h 454818"/>
                <a:gd name="connsiteX17" fmla="*/ 576559 w 607755"/>
                <a:gd name="connsiteY17" fmla="*/ 2381 h 454818"/>
                <a:gd name="connsiteX18" fmla="*/ 583703 w 607755"/>
                <a:gd name="connsiteY18" fmla="*/ 0 h 454818"/>
                <a:gd name="connsiteX19" fmla="*/ 590846 w 607755"/>
                <a:gd name="connsiteY19" fmla="*/ 2381 h 454818"/>
                <a:gd name="connsiteX20" fmla="*/ 597990 w 607755"/>
                <a:gd name="connsiteY20" fmla="*/ 33337 h 454818"/>
                <a:gd name="connsiteX21" fmla="*/ 602753 w 607755"/>
                <a:gd name="connsiteY21" fmla="*/ 50006 h 454818"/>
                <a:gd name="connsiteX22" fmla="*/ 607515 w 607755"/>
                <a:gd name="connsiteY22" fmla="*/ 57150 h 454818"/>
                <a:gd name="connsiteX23" fmla="*/ 605134 w 607755"/>
                <a:gd name="connsiteY23" fmla="*/ 95250 h 454818"/>
                <a:gd name="connsiteX24" fmla="*/ 590846 w 607755"/>
                <a:gd name="connsiteY24" fmla="*/ 107156 h 454818"/>
                <a:gd name="connsiteX25" fmla="*/ 569415 w 607755"/>
                <a:gd name="connsiteY25" fmla="*/ 126206 h 454818"/>
                <a:gd name="connsiteX26" fmla="*/ 562271 w 607755"/>
                <a:gd name="connsiteY26" fmla="*/ 140493 h 454818"/>
                <a:gd name="connsiteX27" fmla="*/ 555128 w 607755"/>
                <a:gd name="connsiteY27" fmla="*/ 142875 h 454818"/>
                <a:gd name="connsiteX28" fmla="*/ 536078 w 607755"/>
                <a:gd name="connsiteY28" fmla="*/ 171450 h 454818"/>
                <a:gd name="connsiteX29" fmla="*/ 526553 w 607755"/>
                <a:gd name="connsiteY29" fmla="*/ 185737 h 454818"/>
                <a:gd name="connsiteX30" fmla="*/ 519409 w 607755"/>
                <a:gd name="connsiteY30" fmla="*/ 207168 h 454818"/>
                <a:gd name="connsiteX31" fmla="*/ 517028 w 607755"/>
                <a:gd name="connsiteY31" fmla="*/ 214312 h 454818"/>
                <a:gd name="connsiteX32" fmla="*/ 512265 w 607755"/>
                <a:gd name="connsiteY32" fmla="*/ 221456 h 454818"/>
                <a:gd name="connsiteX33" fmla="*/ 502740 w 607755"/>
                <a:gd name="connsiteY33" fmla="*/ 233362 h 454818"/>
                <a:gd name="connsiteX34" fmla="*/ 493215 w 607755"/>
                <a:gd name="connsiteY34" fmla="*/ 247650 h 454818"/>
                <a:gd name="connsiteX35" fmla="*/ 490834 w 607755"/>
                <a:gd name="connsiteY35" fmla="*/ 261937 h 454818"/>
                <a:gd name="connsiteX36" fmla="*/ 474165 w 607755"/>
                <a:gd name="connsiteY36" fmla="*/ 269081 h 454818"/>
                <a:gd name="connsiteX37" fmla="*/ 459878 w 607755"/>
                <a:gd name="connsiteY37" fmla="*/ 273843 h 454818"/>
                <a:gd name="connsiteX38" fmla="*/ 452734 w 607755"/>
                <a:gd name="connsiteY38" fmla="*/ 276225 h 454818"/>
                <a:gd name="connsiteX39" fmla="*/ 443209 w 607755"/>
                <a:gd name="connsiteY39" fmla="*/ 278606 h 454818"/>
                <a:gd name="connsiteX40" fmla="*/ 436065 w 607755"/>
                <a:gd name="connsiteY40" fmla="*/ 280987 h 454818"/>
                <a:gd name="connsiteX41" fmla="*/ 412253 w 607755"/>
                <a:gd name="connsiteY41" fmla="*/ 283368 h 454818"/>
                <a:gd name="connsiteX42" fmla="*/ 395584 w 607755"/>
                <a:gd name="connsiteY42" fmla="*/ 290512 h 454818"/>
                <a:gd name="connsiteX43" fmla="*/ 388440 w 607755"/>
                <a:gd name="connsiteY43" fmla="*/ 295275 h 454818"/>
                <a:gd name="connsiteX44" fmla="*/ 371771 w 607755"/>
                <a:gd name="connsiteY44" fmla="*/ 300037 h 454818"/>
                <a:gd name="connsiteX45" fmla="*/ 309859 w 607755"/>
                <a:gd name="connsiteY45" fmla="*/ 302418 h 454818"/>
                <a:gd name="connsiteX46" fmla="*/ 312240 w 607755"/>
                <a:gd name="connsiteY46" fmla="*/ 352425 h 454818"/>
                <a:gd name="connsiteX47" fmla="*/ 307478 w 607755"/>
                <a:gd name="connsiteY47" fmla="*/ 359568 h 454818"/>
                <a:gd name="connsiteX48" fmla="*/ 300334 w 607755"/>
                <a:gd name="connsiteY48" fmla="*/ 364331 h 454818"/>
                <a:gd name="connsiteX49" fmla="*/ 276521 w 607755"/>
                <a:gd name="connsiteY49" fmla="*/ 381000 h 454818"/>
                <a:gd name="connsiteX50" fmla="*/ 269378 w 607755"/>
                <a:gd name="connsiteY50" fmla="*/ 385762 h 454818"/>
                <a:gd name="connsiteX51" fmla="*/ 264615 w 607755"/>
                <a:gd name="connsiteY51" fmla="*/ 392906 h 454818"/>
                <a:gd name="connsiteX52" fmla="*/ 257471 w 607755"/>
                <a:gd name="connsiteY52" fmla="*/ 395287 h 454818"/>
                <a:gd name="connsiteX53" fmla="*/ 243184 w 607755"/>
                <a:gd name="connsiteY53" fmla="*/ 402431 h 454818"/>
                <a:gd name="connsiteX54" fmla="*/ 236040 w 607755"/>
                <a:gd name="connsiteY54" fmla="*/ 407193 h 454818"/>
                <a:gd name="connsiteX55" fmla="*/ 214609 w 607755"/>
                <a:gd name="connsiteY55" fmla="*/ 411956 h 454818"/>
                <a:gd name="connsiteX56" fmla="*/ 207465 w 607755"/>
                <a:gd name="connsiteY56" fmla="*/ 416718 h 454818"/>
                <a:gd name="connsiteX57" fmla="*/ 202703 w 607755"/>
                <a:gd name="connsiteY57" fmla="*/ 433387 h 454818"/>
                <a:gd name="connsiteX58" fmla="*/ 178890 w 607755"/>
                <a:gd name="connsiteY58" fmla="*/ 454818 h 454818"/>
                <a:gd name="connsiteX59" fmla="*/ 159840 w 607755"/>
                <a:gd name="connsiteY59" fmla="*/ 450056 h 454818"/>
                <a:gd name="connsiteX60" fmla="*/ 145553 w 607755"/>
                <a:gd name="connsiteY60" fmla="*/ 440531 h 454818"/>
                <a:gd name="connsiteX61" fmla="*/ 138409 w 607755"/>
                <a:gd name="connsiteY61" fmla="*/ 435768 h 454818"/>
                <a:gd name="connsiteX62" fmla="*/ 124121 w 607755"/>
                <a:gd name="connsiteY62" fmla="*/ 428625 h 454818"/>
                <a:gd name="connsiteX63" fmla="*/ 52684 w 607755"/>
                <a:gd name="connsiteY63" fmla="*/ 426243 h 454818"/>
                <a:gd name="connsiteX64" fmla="*/ 55065 w 607755"/>
                <a:gd name="connsiteY64" fmla="*/ 419100 h 454818"/>
                <a:gd name="connsiteX65" fmla="*/ 69353 w 607755"/>
                <a:gd name="connsiteY65" fmla="*/ 407193 h 454818"/>
                <a:gd name="connsiteX66" fmla="*/ 64590 w 607755"/>
                <a:gd name="connsiteY66" fmla="*/ 392906 h 454818"/>
                <a:gd name="connsiteX67" fmla="*/ 36015 w 607755"/>
                <a:gd name="connsiteY67" fmla="*/ 385762 h 454818"/>
                <a:gd name="connsiteX68" fmla="*/ 26490 w 607755"/>
                <a:gd name="connsiteY68" fmla="*/ 383381 h 454818"/>
                <a:gd name="connsiteX69" fmla="*/ 12203 w 607755"/>
                <a:gd name="connsiteY69" fmla="*/ 369093 h 454818"/>
                <a:gd name="connsiteX70" fmla="*/ 2678 w 607755"/>
                <a:gd name="connsiteY70" fmla="*/ 364331 h 454818"/>
                <a:gd name="connsiteX71" fmla="*/ 12203 w 607755"/>
                <a:gd name="connsiteY71" fmla="*/ 347662 h 454818"/>
                <a:gd name="connsiteX72" fmla="*/ 26490 w 607755"/>
                <a:gd name="connsiteY72" fmla="*/ 338137 h 454818"/>
                <a:gd name="connsiteX73" fmla="*/ 33634 w 607755"/>
                <a:gd name="connsiteY73" fmla="*/ 333375 h 454818"/>
                <a:gd name="connsiteX74" fmla="*/ 45540 w 607755"/>
                <a:gd name="connsiteY74" fmla="*/ 321468 h 454818"/>
                <a:gd name="connsiteX75" fmla="*/ 50303 w 607755"/>
                <a:gd name="connsiteY75" fmla="*/ 314325 h 454818"/>
                <a:gd name="connsiteX76" fmla="*/ 66971 w 607755"/>
                <a:gd name="connsiteY76" fmla="*/ 290512 h 454818"/>
                <a:gd name="connsiteX77" fmla="*/ 69353 w 607755"/>
                <a:gd name="connsiteY77" fmla="*/ 283368 h 454818"/>
                <a:gd name="connsiteX78" fmla="*/ 62209 w 607755"/>
                <a:gd name="connsiteY78" fmla="*/ 269081 h 454818"/>
                <a:gd name="connsiteX79" fmla="*/ 66971 w 607755"/>
                <a:gd name="connsiteY79" fmla="*/ 254793 h 454818"/>
                <a:gd name="connsiteX80" fmla="*/ 74115 w 607755"/>
                <a:gd name="connsiteY80" fmla="*/ 252412 h 454818"/>
                <a:gd name="connsiteX81" fmla="*/ 86021 w 607755"/>
                <a:gd name="connsiteY81" fmla="*/ 240506 h 454818"/>
                <a:gd name="connsiteX82" fmla="*/ 90784 w 607755"/>
                <a:gd name="connsiteY82" fmla="*/ 233362 h 454818"/>
                <a:gd name="connsiteX83" fmla="*/ 112215 w 607755"/>
                <a:gd name="connsiteY83" fmla="*/ 216693 h 454818"/>
                <a:gd name="connsiteX84" fmla="*/ 119359 w 607755"/>
                <a:gd name="connsiteY84" fmla="*/ 214312 h 454818"/>
                <a:gd name="connsiteX85" fmla="*/ 126503 w 607755"/>
                <a:gd name="connsiteY85" fmla="*/ 207168 h 454818"/>
                <a:gd name="connsiteX86" fmla="*/ 131265 w 607755"/>
                <a:gd name="connsiteY86" fmla="*/ 200025 h 454818"/>
                <a:gd name="connsiteX87" fmla="*/ 138409 w 607755"/>
                <a:gd name="connsiteY87" fmla="*/ 195262 h 454818"/>
                <a:gd name="connsiteX88" fmla="*/ 140790 w 607755"/>
                <a:gd name="connsiteY88" fmla="*/ 188118 h 454818"/>
                <a:gd name="connsiteX89" fmla="*/ 157459 w 607755"/>
                <a:gd name="connsiteY89" fmla="*/ 188118 h 454818"/>
                <a:gd name="connsiteX90" fmla="*/ 164603 w 607755"/>
                <a:gd name="connsiteY90" fmla="*/ 197643 h 454818"/>
                <a:gd name="connsiteX91" fmla="*/ 174128 w 607755"/>
                <a:gd name="connsiteY91" fmla="*/ 202406 h 454818"/>
                <a:gd name="connsiteX92" fmla="*/ 209846 w 607755"/>
                <a:gd name="connsiteY92" fmla="*/ 207168 h 454818"/>
                <a:gd name="connsiteX93" fmla="*/ 216990 w 607755"/>
                <a:gd name="connsiteY93" fmla="*/ 214312 h 454818"/>
                <a:gd name="connsiteX94" fmla="*/ 228896 w 607755"/>
                <a:gd name="connsiteY94" fmla="*/ 226218 h 454818"/>
                <a:gd name="connsiteX95" fmla="*/ 231278 w 607755"/>
                <a:gd name="connsiteY95" fmla="*/ 233362 h 454818"/>
                <a:gd name="connsiteX96" fmla="*/ 236040 w 607755"/>
                <a:gd name="connsiteY96" fmla="*/ 240506 h 454818"/>
                <a:gd name="connsiteX97" fmla="*/ 243184 w 607755"/>
                <a:gd name="connsiteY97" fmla="*/ 254793 h 454818"/>
                <a:gd name="connsiteX98" fmla="*/ 250328 w 607755"/>
                <a:gd name="connsiteY98" fmla="*/ 259556 h 454818"/>
                <a:gd name="connsiteX99" fmla="*/ 264615 w 607755"/>
                <a:gd name="connsiteY99" fmla="*/ 264318 h 454818"/>
                <a:gd name="connsiteX100" fmla="*/ 312240 w 607755"/>
                <a:gd name="connsiteY100" fmla="*/ 254793 h 454818"/>
                <a:gd name="connsiteX101" fmla="*/ 314621 w 607755"/>
                <a:gd name="connsiteY101" fmla="*/ 233362 h 454818"/>
                <a:gd name="connsiteX102" fmla="*/ 317003 w 607755"/>
                <a:gd name="connsiteY102" fmla="*/ 226218 h 454818"/>
                <a:gd name="connsiteX103" fmla="*/ 324146 w 607755"/>
                <a:gd name="connsiteY103" fmla="*/ 192881 h 454818"/>
                <a:gd name="connsiteX104" fmla="*/ 328909 w 607755"/>
                <a:gd name="connsiteY104" fmla="*/ 185737 h 454818"/>
                <a:gd name="connsiteX105" fmla="*/ 333671 w 607755"/>
                <a:gd name="connsiteY105" fmla="*/ 161925 h 454818"/>
                <a:gd name="connsiteX106" fmla="*/ 336053 w 607755"/>
                <a:gd name="connsiteY106" fmla="*/ 154781 h 454818"/>
                <a:gd name="connsiteX107" fmla="*/ 340815 w 607755"/>
                <a:gd name="connsiteY107" fmla="*/ 154781 h 454818"/>
                <a:gd name="connsiteX0" fmla="*/ 340815 w 607755"/>
                <a:gd name="connsiteY0" fmla="*/ 154781 h 454818"/>
                <a:gd name="connsiteX1" fmla="*/ 362246 w 607755"/>
                <a:gd name="connsiteY1" fmla="*/ 142875 h 454818"/>
                <a:gd name="connsiteX2" fmla="*/ 369390 w 607755"/>
                <a:gd name="connsiteY2" fmla="*/ 138112 h 454818"/>
                <a:gd name="connsiteX3" fmla="*/ 383678 w 607755"/>
                <a:gd name="connsiteY3" fmla="*/ 135731 h 454818"/>
                <a:gd name="connsiteX4" fmla="*/ 388440 w 607755"/>
                <a:gd name="connsiteY4" fmla="*/ 114300 h 454818"/>
                <a:gd name="connsiteX5" fmla="*/ 393203 w 607755"/>
                <a:gd name="connsiteY5" fmla="*/ 107156 h 454818"/>
                <a:gd name="connsiteX6" fmla="*/ 400346 w 607755"/>
                <a:gd name="connsiteY6" fmla="*/ 90487 h 454818"/>
                <a:gd name="connsiteX7" fmla="*/ 445590 w 607755"/>
                <a:gd name="connsiteY7" fmla="*/ 83343 h 454818"/>
                <a:gd name="connsiteX8" fmla="*/ 459878 w 607755"/>
                <a:gd name="connsiteY8" fmla="*/ 76200 h 454818"/>
                <a:gd name="connsiteX9" fmla="*/ 474165 w 607755"/>
                <a:gd name="connsiteY9" fmla="*/ 71437 h 454818"/>
                <a:gd name="connsiteX10" fmla="*/ 481309 w 607755"/>
                <a:gd name="connsiteY10" fmla="*/ 66675 h 454818"/>
                <a:gd name="connsiteX11" fmla="*/ 502740 w 607755"/>
                <a:gd name="connsiteY11" fmla="*/ 54768 h 454818"/>
                <a:gd name="connsiteX12" fmla="*/ 514646 w 607755"/>
                <a:gd name="connsiteY12" fmla="*/ 40481 h 454818"/>
                <a:gd name="connsiteX13" fmla="*/ 521790 w 607755"/>
                <a:gd name="connsiteY13" fmla="*/ 33337 h 454818"/>
                <a:gd name="connsiteX14" fmla="*/ 531315 w 607755"/>
                <a:gd name="connsiteY14" fmla="*/ 19050 h 454818"/>
                <a:gd name="connsiteX15" fmla="*/ 547984 w 607755"/>
                <a:gd name="connsiteY15" fmla="*/ 11906 h 454818"/>
                <a:gd name="connsiteX16" fmla="*/ 562271 w 607755"/>
                <a:gd name="connsiteY16" fmla="*/ 7143 h 454818"/>
                <a:gd name="connsiteX17" fmla="*/ 576559 w 607755"/>
                <a:gd name="connsiteY17" fmla="*/ 2381 h 454818"/>
                <a:gd name="connsiteX18" fmla="*/ 583703 w 607755"/>
                <a:gd name="connsiteY18" fmla="*/ 0 h 454818"/>
                <a:gd name="connsiteX19" fmla="*/ 590846 w 607755"/>
                <a:gd name="connsiteY19" fmla="*/ 2381 h 454818"/>
                <a:gd name="connsiteX20" fmla="*/ 597990 w 607755"/>
                <a:gd name="connsiteY20" fmla="*/ 33337 h 454818"/>
                <a:gd name="connsiteX21" fmla="*/ 602753 w 607755"/>
                <a:gd name="connsiteY21" fmla="*/ 50006 h 454818"/>
                <a:gd name="connsiteX22" fmla="*/ 607515 w 607755"/>
                <a:gd name="connsiteY22" fmla="*/ 57150 h 454818"/>
                <a:gd name="connsiteX23" fmla="*/ 605134 w 607755"/>
                <a:gd name="connsiteY23" fmla="*/ 95250 h 454818"/>
                <a:gd name="connsiteX24" fmla="*/ 590846 w 607755"/>
                <a:gd name="connsiteY24" fmla="*/ 107156 h 454818"/>
                <a:gd name="connsiteX25" fmla="*/ 569415 w 607755"/>
                <a:gd name="connsiteY25" fmla="*/ 126206 h 454818"/>
                <a:gd name="connsiteX26" fmla="*/ 562271 w 607755"/>
                <a:gd name="connsiteY26" fmla="*/ 140493 h 454818"/>
                <a:gd name="connsiteX27" fmla="*/ 555128 w 607755"/>
                <a:gd name="connsiteY27" fmla="*/ 142875 h 454818"/>
                <a:gd name="connsiteX28" fmla="*/ 536078 w 607755"/>
                <a:gd name="connsiteY28" fmla="*/ 171450 h 454818"/>
                <a:gd name="connsiteX29" fmla="*/ 526553 w 607755"/>
                <a:gd name="connsiteY29" fmla="*/ 185737 h 454818"/>
                <a:gd name="connsiteX30" fmla="*/ 519409 w 607755"/>
                <a:gd name="connsiteY30" fmla="*/ 207168 h 454818"/>
                <a:gd name="connsiteX31" fmla="*/ 517028 w 607755"/>
                <a:gd name="connsiteY31" fmla="*/ 214312 h 454818"/>
                <a:gd name="connsiteX32" fmla="*/ 512265 w 607755"/>
                <a:gd name="connsiteY32" fmla="*/ 221456 h 454818"/>
                <a:gd name="connsiteX33" fmla="*/ 502740 w 607755"/>
                <a:gd name="connsiteY33" fmla="*/ 233362 h 454818"/>
                <a:gd name="connsiteX34" fmla="*/ 493215 w 607755"/>
                <a:gd name="connsiteY34" fmla="*/ 247650 h 454818"/>
                <a:gd name="connsiteX35" fmla="*/ 490834 w 607755"/>
                <a:gd name="connsiteY35" fmla="*/ 261937 h 454818"/>
                <a:gd name="connsiteX36" fmla="*/ 474165 w 607755"/>
                <a:gd name="connsiteY36" fmla="*/ 269081 h 454818"/>
                <a:gd name="connsiteX37" fmla="*/ 459878 w 607755"/>
                <a:gd name="connsiteY37" fmla="*/ 273843 h 454818"/>
                <a:gd name="connsiteX38" fmla="*/ 452734 w 607755"/>
                <a:gd name="connsiteY38" fmla="*/ 276225 h 454818"/>
                <a:gd name="connsiteX39" fmla="*/ 443209 w 607755"/>
                <a:gd name="connsiteY39" fmla="*/ 278606 h 454818"/>
                <a:gd name="connsiteX40" fmla="*/ 436065 w 607755"/>
                <a:gd name="connsiteY40" fmla="*/ 280987 h 454818"/>
                <a:gd name="connsiteX41" fmla="*/ 412253 w 607755"/>
                <a:gd name="connsiteY41" fmla="*/ 283368 h 454818"/>
                <a:gd name="connsiteX42" fmla="*/ 395584 w 607755"/>
                <a:gd name="connsiteY42" fmla="*/ 290512 h 454818"/>
                <a:gd name="connsiteX43" fmla="*/ 388440 w 607755"/>
                <a:gd name="connsiteY43" fmla="*/ 295275 h 454818"/>
                <a:gd name="connsiteX44" fmla="*/ 371771 w 607755"/>
                <a:gd name="connsiteY44" fmla="*/ 300037 h 454818"/>
                <a:gd name="connsiteX45" fmla="*/ 309859 w 607755"/>
                <a:gd name="connsiteY45" fmla="*/ 302418 h 454818"/>
                <a:gd name="connsiteX46" fmla="*/ 312240 w 607755"/>
                <a:gd name="connsiteY46" fmla="*/ 352425 h 454818"/>
                <a:gd name="connsiteX47" fmla="*/ 307478 w 607755"/>
                <a:gd name="connsiteY47" fmla="*/ 359568 h 454818"/>
                <a:gd name="connsiteX48" fmla="*/ 300334 w 607755"/>
                <a:gd name="connsiteY48" fmla="*/ 364331 h 454818"/>
                <a:gd name="connsiteX49" fmla="*/ 276521 w 607755"/>
                <a:gd name="connsiteY49" fmla="*/ 381000 h 454818"/>
                <a:gd name="connsiteX50" fmla="*/ 269378 w 607755"/>
                <a:gd name="connsiteY50" fmla="*/ 385762 h 454818"/>
                <a:gd name="connsiteX51" fmla="*/ 264615 w 607755"/>
                <a:gd name="connsiteY51" fmla="*/ 392906 h 454818"/>
                <a:gd name="connsiteX52" fmla="*/ 257471 w 607755"/>
                <a:gd name="connsiteY52" fmla="*/ 395287 h 454818"/>
                <a:gd name="connsiteX53" fmla="*/ 243184 w 607755"/>
                <a:gd name="connsiteY53" fmla="*/ 402431 h 454818"/>
                <a:gd name="connsiteX54" fmla="*/ 236040 w 607755"/>
                <a:gd name="connsiteY54" fmla="*/ 407193 h 454818"/>
                <a:gd name="connsiteX55" fmla="*/ 214609 w 607755"/>
                <a:gd name="connsiteY55" fmla="*/ 411956 h 454818"/>
                <a:gd name="connsiteX56" fmla="*/ 207465 w 607755"/>
                <a:gd name="connsiteY56" fmla="*/ 416718 h 454818"/>
                <a:gd name="connsiteX57" fmla="*/ 202703 w 607755"/>
                <a:gd name="connsiteY57" fmla="*/ 433387 h 454818"/>
                <a:gd name="connsiteX58" fmla="*/ 178890 w 607755"/>
                <a:gd name="connsiteY58" fmla="*/ 454818 h 454818"/>
                <a:gd name="connsiteX59" fmla="*/ 159840 w 607755"/>
                <a:gd name="connsiteY59" fmla="*/ 450056 h 454818"/>
                <a:gd name="connsiteX60" fmla="*/ 145553 w 607755"/>
                <a:gd name="connsiteY60" fmla="*/ 440531 h 454818"/>
                <a:gd name="connsiteX61" fmla="*/ 138409 w 607755"/>
                <a:gd name="connsiteY61" fmla="*/ 435768 h 454818"/>
                <a:gd name="connsiteX62" fmla="*/ 124121 w 607755"/>
                <a:gd name="connsiteY62" fmla="*/ 428625 h 454818"/>
                <a:gd name="connsiteX63" fmla="*/ 52684 w 607755"/>
                <a:gd name="connsiteY63" fmla="*/ 426243 h 454818"/>
                <a:gd name="connsiteX64" fmla="*/ 55065 w 607755"/>
                <a:gd name="connsiteY64" fmla="*/ 419100 h 454818"/>
                <a:gd name="connsiteX65" fmla="*/ 69353 w 607755"/>
                <a:gd name="connsiteY65" fmla="*/ 407193 h 454818"/>
                <a:gd name="connsiteX66" fmla="*/ 64590 w 607755"/>
                <a:gd name="connsiteY66" fmla="*/ 392906 h 454818"/>
                <a:gd name="connsiteX67" fmla="*/ 36015 w 607755"/>
                <a:gd name="connsiteY67" fmla="*/ 385762 h 454818"/>
                <a:gd name="connsiteX68" fmla="*/ 26490 w 607755"/>
                <a:gd name="connsiteY68" fmla="*/ 383381 h 454818"/>
                <a:gd name="connsiteX69" fmla="*/ 12203 w 607755"/>
                <a:gd name="connsiteY69" fmla="*/ 369093 h 454818"/>
                <a:gd name="connsiteX70" fmla="*/ 2678 w 607755"/>
                <a:gd name="connsiteY70" fmla="*/ 364331 h 454818"/>
                <a:gd name="connsiteX71" fmla="*/ 12203 w 607755"/>
                <a:gd name="connsiteY71" fmla="*/ 347662 h 454818"/>
                <a:gd name="connsiteX72" fmla="*/ 26490 w 607755"/>
                <a:gd name="connsiteY72" fmla="*/ 338137 h 454818"/>
                <a:gd name="connsiteX73" fmla="*/ 33634 w 607755"/>
                <a:gd name="connsiteY73" fmla="*/ 333375 h 454818"/>
                <a:gd name="connsiteX74" fmla="*/ 45540 w 607755"/>
                <a:gd name="connsiteY74" fmla="*/ 321468 h 454818"/>
                <a:gd name="connsiteX75" fmla="*/ 66971 w 607755"/>
                <a:gd name="connsiteY75" fmla="*/ 290512 h 454818"/>
                <a:gd name="connsiteX76" fmla="*/ 69353 w 607755"/>
                <a:gd name="connsiteY76" fmla="*/ 283368 h 454818"/>
                <a:gd name="connsiteX77" fmla="*/ 62209 w 607755"/>
                <a:gd name="connsiteY77" fmla="*/ 269081 h 454818"/>
                <a:gd name="connsiteX78" fmla="*/ 66971 w 607755"/>
                <a:gd name="connsiteY78" fmla="*/ 254793 h 454818"/>
                <a:gd name="connsiteX79" fmla="*/ 74115 w 607755"/>
                <a:gd name="connsiteY79" fmla="*/ 252412 h 454818"/>
                <a:gd name="connsiteX80" fmla="*/ 86021 w 607755"/>
                <a:gd name="connsiteY80" fmla="*/ 240506 h 454818"/>
                <a:gd name="connsiteX81" fmla="*/ 90784 w 607755"/>
                <a:gd name="connsiteY81" fmla="*/ 233362 h 454818"/>
                <a:gd name="connsiteX82" fmla="*/ 112215 w 607755"/>
                <a:gd name="connsiteY82" fmla="*/ 216693 h 454818"/>
                <a:gd name="connsiteX83" fmla="*/ 119359 w 607755"/>
                <a:gd name="connsiteY83" fmla="*/ 214312 h 454818"/>
                <a:gd name="connsiteX84" fmla="*/ 126503 w 607755"/>
                <a:gd name="connsiteY84" fmla="*/ 207168 h 454818"/>
                <a:gd name="connsiteX85" fmla="*/ 131265 w 607755"/>
                <a:gd name="connsiteY85" fmla="*/ 200025 h 454818"/>
                <a:gd name="connsiteX86" fmla="*/ 138409 w 607755"/>
                <a:gd name="connsiteY86" fmla="*/ 195262 h 454818"/>
                <a:gd name="connsiteX87" fmla="*/ 140790 w 607755"/>
                <a:gd name="connsiteY87" fmla="*/ 188118 h 454818"/>
                <a:gd name="connsiteX88" fmla="*/ 157459 w 607755"/>
                <a:gd name="connsiteY88" fmla="*/ 188118 h 454818"/>
                <a:gd name="connsiteX89" fmla="*/ 164603 w 607755"/>
                <a:gd name="connsiteY89" fmla="*/ 197643 h 454818"/>
                <a:gd name="connsiteX90" fmla="*/ 174128 w 607755"/>
                <a:gd name="connsiteY90" fmla="*/ 202406 h 454818"/>
                <a:gd name="connsiteX91" fmla="*/ 209846 w 607755"/>
                <a:gd name="connsiteY91" fmla="*/ 207168 h 454818"/>
                <a:gd name="connsiteX92" fmla="*/ 216990 w 607755"/>
                <a:gd name="connsiteY92" fmla="*/ 214312 h 454818"/>
                <a:gd name="connsiteX93" fmla="*/ 228896 w 607755"/>
                <a:gd name="connsiteY93" fmla="*/ 226218 h 454818"/>
                <a:gd name="connsiteX94" fmla="*/ 231278 w 607755"/>
                <a:gd name="connsiteY94" fmla="*/ 233362 h 454818"/>
                <a:gd name="connsiteX95" fmla="*/ 236040 w 607755"/>
                <a:gd name="connsiteY95" fmla="*/ 240506 h 454818"/>
                <a:gd name="connsiteX96" fmla="*/ 243184 w 607755"/>
                <a:gd name="connsiteY96" fmla="*/ 254793 h 454818"/>
                <a:gd name="connsiteX97" fmla="*/ 250328 w 607755"/>
                <a:gd name="connsiteY97" fmla="*/ 259556 h 454818"/>
                <a:gd name="connsiteX98" fmla="*/ 264615 w 607755"/>
                <a:gd name="connsiteY98" fmla="*/ 264318 h 454818"/>
                <a:gd name="connsiteX99" fmla="*/ 312240 w 607755"/>
                <a:gd name="connsiteY99" fmla="*/ 254793 h 454818"/>
                <a:gd name="connsiteX100" fmla="*/ 314621 w 607755"/>
                <a:gd name="connsiteY100" fmla="*/ 233362 h 454818"/>
                <a:gd name="connsiteX101" fmla="*/ 317003 w 607755"/>
                <a:gd name="connsiteY101" fmla="*/ 226218 h 454818"/>
                <a:gd name="connsiteX102" fmla="*/ 324146 w 607755"/>
                <a:gd name="connsiteY102" fmla="*/ 192881 h 454818"/>
                <a:gd name="connsiteX103" fmla="*/ 328909 w 607755"/>
                <a:gd name="connsiteY103" fmla="*/ 185737 h 454818"/>
                <a:gd name="connsiteX104" fmla="*/ 333671 w 607755"/>
                <a:gd name="connsiteY104" fmla="*/ 161925 h 454818"/>
                <a:gd name="connsiteX105" fmla="*/ 336053 w 607755"/>
                <a:gd name="connsiteY105" fmla="*/ 154781 h 454818"/>
                <a:gd name="connsiteX106" fmla="*/ 340815 w 607755"/>
                <a:gd name="connsiteY106" fmla="*/ 154781 h 454818"/>
                <a:gd name="connsiteX0" fmla="*/ 340815 w 607755"/>
                <a:gd name="connsiteY0" fmla="*/ 154781 h 454818"/>
                <a:gd name="connsiteX1" fmla="*/ 362246 w 607755"/>
                <a:gd name="connsiteY1" fmla="*/ 142875 h 454818"/>
                <a:gd name="connsiteX2" fmla="*/ 369390 w 607755"/>
                <a:gd name="connsiteY2" fmla="*/ 138112 h 454818"/>
                <a:gd name="connsiteX3" fmla="*/ 383678 w 607755"/>
                <a:gd name="connsiteY3" fmla="*/ 135731 h 454818"/>
                <a:gd name="connsiteX4" fmla="*/ 388440 w 607755"/>
                <a:gd name="connsiteY4" fmla="*/ 114300 h 454818"/>
                <a:gd name="connsiteX5" fmla="*/ 393203 w 607755"/>
                <a:gd name="connsiteY5" fmla="*/ 107156 h 454818"/>
                <a:gd name="connsiteX6" fmla="*/ 400346 w 607755"/>
                <a:gd name="connsiteY6" fmla="*/ 90487 h 454818"/>
                <a:gd name="connsiteX7" fmla="*/ 445590 w 607755"/>
                <a:gd name="connsiteY7" fmla="*/ 83343 h 454818"/>
                <a:gd name="connsiteX8" fmla="*/ 459878 w 607755"/>
                <a:gd name="connsiteY8" fmla="*/ 76200 h 454818"/>
                <a:gd name="connsiteX9" fmla="*/ 474165 w 607755"/>
                <a:gd name="connsiteY9" fmla="*/ 71437 h 454818"/>
                <a:gd name="connsiteX10" fmla="*/ 481309 w 607755"/>
                <a:gd name="connsiteY10" fmla="*/ 66675 h 454818"/>
                <a:gd name="connsiteX11" fmla="*/ 502740 w 607755"/>
                <a:gd name="connsiteY11" fmla="*/ 54768 h 454818"/>
                <a:gd name="connsiteX12" fmla="*/ 514646 w 607755"/>
                <a:gd name="connsiteY12" fmla="*/ 40481 h 454818"/>
                <a:gd name="connsiteX13" fmla="*/ 521790 w 607755"/>
                <a:gd name="connsiteY13" fmla="*/ 33337 h 454818"/>
                <a:gd name="connsiteX14" fmla="*/ 531315 w 607755"/>
                <a:gd name="connsiteY14" fmla="*/ 19050 h 454818"/>
                <a:gd name="connsiteX15" fmla="*/ 547984 w 607755"/>
                <a:gd name="connsiteY15" fmla="*/ 11906 h 454818"/>
                <a:gd name="connsiteX16" fmla="*/ 562271 w 607755"/>
                <a:gd name="connsiteY16" fmla="*/ 7143 h 454818"/>
                <a:gd name="connsiteX17" fmla="*/ 576559 w 607755"/>
                <a:gd name="connsiteY17" fmla="*/ 2381 h 454818"/>
                <a:gd name="connsiteX18" fmla="*/ 583703 w 607755"/>
                <a:gd name="connsiteY18" fmla="*/ 0 h 454818"/>
                <a:gd name="connsiteX19" fmla="*/ 590846 w 607755"/>
                <a:gd name="connsiteY19" fmla="*/ 2381 h 454818"/>
                <a:gd name="connsiteX20" fmla="*/ 597990 w 607755"/>
                <a:gd name="connsiteY20" fmla="*/ 33337 h 454818"/>
                <a:gd name="connsiteX21" fmla="*/ 602753 w 607755"/>
                <a:gd name="connsiteY21" fmla="*/ 50006 h 454818"/>
                <a:gd name="connsiteX22" fmla="*/ 607515 w 607755"/>
                <a:gd name="connsiteY22" fmla="*/ 57150 h 454818"/>
                <a:gd name="connsiteX23" fmla="*/ 605134 w 607755"/>
                <a:gd name="connsiteY23" fmla="*/ 95250 h 454818"/>
                <a:gd name="connsiteX24" fmla="*/ 590846 w 607755"/>
                <a:gd name="connsiteY24" fmla="*/ 107156 h 454818"/>
                <a:gd name="connsiteX25" fmla="*/ 569415 w 607755"/>
                <a:gd name="connsiteY25" fmla="*/ 126206 h 454818"/>
                <a:gd name="connsiteX26" fmla="*/ 562271 w 607755"/>
                <a:gd name="connsiteY26" fmla="*/ 140493 h 454818"/>
                <a:gd name="connsiteX27" fmla="*/ 555128 w 607755"/>
                <a:gd name="connsiteY27" fmla="*/ 142875 h 454818"/>
                <a:gd name="connsiteX28" fmla="*/ 536078 w 607755"/>
                <a:gd name="connsiteY28" fmla="*/ 171450 h 454818"/>
                <a:gd name="connsiteX29" fmla="*/ 526553 w 607755"/>
                <a:gd name="connsiteY29" fmla="*/ 185737 h 454818"/>
                <a:gd name="connsiteX30" fmla="*/ 519409 w 607755"/>
                <a:gd name="connsiteY30" fmla="*/ 207168 h 454818"/>
                <a:gd name="connsiteX31" fmla="*/ 517028 w 607755"/>
                <a:gd name="connsiteY31" fmla="*/ 214312 h 454818"/>
                <a:gd name="connsiteX32" fmla="*/ 512265 w 607755"/>
                <a:gd name="connsiteY32" fmla="*/ 221456 h 454818"/>
                <a:gd name="connsiteX33" fmla="*/ 502740 w 607755"/>
                <a:gd name="connsiteY33" fmla="*/ 233362 h 454818"/>
                <a:gd name="connsiteX34" fmla="*/ 493215 w 607755"/>
                <a:gd name="connsiteY34" fmla="*/ 247650 h 454818"/>
                <a:gd name="connsiteX35" fmla="*/ 490834 w 607755"/>
                <a:gd name="connsiteY35" fmla="*/ 261937 h 454818"/>
                <a:gd name="connsiteX36" fmla="*/ 474165 w 607755"/>
                <a:gd name="connsiteY36" fmla="*/ 269081 h 454818"/>
                <a:gd name="connsiteX37" fmla="*/ 459878 w 607755"/>
                <a:gd name="connsiteY37" fmla="*/ 273843 h 454818"/>
                <a:gd name="connsiteX38" fmla="*/ 452734 w 607755"/>
                <a:gd name="connsiteY38" fmla="*/ 276225 h 454818"/>
                <a:gd name="connsiteX39" fmla="*/ 443209 w 607755"/>
                <a:gd name="connsiteY39" fmla="*/ 278606 h 454818"/>
                <a:gd name="connsiteX40" fmla="*/ 436065 w 607755"/>
                <a:gd name="connsiteY40" fmla="*/ 280987 h 454818"/>
                <a:gd name="connsiteX41" fmla="*/ 412253 w 607755"/>
                <a:gd name="connsiteY41" fmla="*/ 283368 h 454818"/>
                <a:gd name="connsiteX42" fmla="*/ 395584 w 607755"/>
                <a:gd name="connsiteY42" fmla="*/ 290512 h 454818"/>
                <a:gd name="connsiteX43" fmla="*/ 388440 w 607755"/>
                <a:gd name="connsiteY43" fmla="*/ 295275 h 454818"/>
                <a:gd name="connsiteX44" fmla="*/ 371771 w 607755"/>
                <a:gd name="connsiteY44" fmla="*/ 300037 h 454818"/>
                <a:gd name="connsiteX45" fmla="*/ 309859 w 607755"/>
                <a:gd name="connsiteY45" fmla="*/ 302418 h 454818"/>
                <a:gd name="connsiteX46" fmla="*/ 312240 w 607755"/>
                <a:gd name="connsiteY46" fmla="*/ 352425 h 454818"/>
                <a:gd name="connsiteX47" fmla="*/ 307478 w 607755"/>
                <a:gd name="connsiteY47" fmla="*/ 359568 h 454818"/>
                <a:gd name="connsiteX48" fmla="*/ 300334 w 607755"/>
                <a:gd name="connsiteY48" fmla="*/ 364331 h 454818"/>
                <a:gd name="connsiteX49" fmla="*/ 276521 w 607755"/>
                <a:gd name="connsiteY49" fmla="*/ 381000 h 454818"/>
                <a:gd name="connsiteX50" fmla="*/ 269378 w 607755"/>
                <a:gd name="connsiteY50" fmla="*/ 385762 h 454818"/>
                <a:gd name="connsiteX51" fmla="*/ 264615 w 607755"/>
                <a:gd name="connsiteY51" fmla="*/ 392906 h 454818"/>
                <a:gd name="connsiteX52" fmla="*/ 257471 w 607755"/>
                <a:gd name="connsiteY52" fmla="*/ 395287 h 454818"/>
                <a:gd name="connsiteX53" fmla="*/ 243184 w 607755"/>
                <a:gd name="connsiteY53" fmla="*/ 402431 h 454818"/>
                <a:gd name="connsiteX54" fmla="*/ 236040 w 607755"/>
                <a:gd name="connsiteY54" fmla="*/ 407193 h 454818"/>
                <a:gd name="connsiteX55" fmla="*/ 214609 w 607755"/>
                <a:gd name="connsiteY55" fmla="*/ 411956 h 454818"/>
                <a:gd name="connsiteX56" fmla="*/ 207465 w 607755"/>
                <a:gd name="connsiteY56" fmla="*/ 416718 h 454818"/>
                <a:gd name="connsiteX57" fmla="*/ 202703 w 607755"/>
                <a:gd name="connsiteY57" fmla="*/ 433387 h 454818"/>
                <a:gd name="connsiteX58" fmla="*/ 178890 w 607755"/>
                <a:gd name="connsiteY58" fmla="*/ 454818 h 454818"/>
                <a:gd name="connsiteX59" fmla="*/ 159840 w 607755"/>
                <a:gd name="connsiteY59" fmla="*/ 450056 h 454818"/>
                <a:gd name="connsiteX60" fmla="*/ 145553 w 607755"/>
                <a:gd name="connsiteY60" fmla="*/ 440531 h 454818"/>
                <a:gd name="connsiteX61" fmla="*/ 138409 w 607755"/>
                <a:gd name="connsiteY61" fmla="*/ 435768 h 454818"/>
                <a:gd name="connsiteX62" fmla="*/ 124121 w 607755"/>
                <a:gd name="connsiteY62" fmla="*/ 428625 h 454818"/>
                <a:gd name="connsiteX63" fmla="*/ 52684 w 607755"/>
                <a:gd name="connsiteY63" fmla="*/ 426243 h 454818"/>
                <a:gd name="connsiteX64" fmla="*/ 55065 w 607755"/>
                <a:gd name="connsiteY64" fmla="*/ 419100 h 454818"/>
                <a:gd name="connsiteX65" fmla="*/ 69353 w 607755"/>
                <a:gd name="connsiteY65" fmla="*/ 407193 h 454818"/>
                <a:gd name="connsiteX66" fmla="*/ 64590 w 607755"/>
                <a:gd name="connsiteY66" fmla="*/ 392906 h 454818"/>
                <a:gd name="connsiteX67" fmla="*/ 36015 w 607755"/>
                <a:gd name="connsiteY67" fmla="*/ 385762 h 454818"/>
                <a:gd name="connsiteX68" fmla="*/ 26490 w 607755"/>
                <a:gd name="connsiteY68" fmla="*/ 383381 h 454818"/>
                <a:gd name="connsiteX69" fmla="*/ 12203 w 607755"/>
                <a:gd name="connsiteY69" fmla="*/ 369093 h 454818"/>
                <a:gd name="connsiteX70" fmla="*/ 2678 w 607755"/>
                <a:gd name="connsiteY70" fmla="*/ 364331 h 454818"/>
                <a:gd name="connsiteX71" fmla="*/ 12203 w 607755"/>
                <a:gd name="connsiteY71" fmla="*/ 347662 h 454818"/>
                <a:gd name="connsiteX72" fmla="*/ 26490 w 607755"/>
                <a:gd name="connsiteY72" fmla="*/ 338137 h 454818"/>
                <a:gd name="connsiteX73" fmla="*/ 33634 w 607755"/>
                <a:gd name="connsiteY73" fmla="*/ 333375 h 454818"/>
                <a:gd name="connsiteX74" fmla="*/ 45540 w 607755"/>
                <a:gd name="connsiteY74" fmla="*/ 321468 h 454818"/>
                <a:gd name="connsiteX75" fmla="*/ 66971 w 607755"/>
                <a:gd name="connsiteY75" fmla="*/ 290512 h 454818"/>
                <a:gd name="connsiteX76" fmla="*/ 69353 w 607755"/>
                <a:gd name="connsiteY76" fmla="*/ 283368 h 454818"/>
                <a:gd name="connsiteX77" fmla="*/ 62209 w 607755"/>
                <a:gd name="connsiteY77" fmla="*/ 269081 h 454818"/>
                <a:gd name="connsiteX78" fmla="*/ 66971 w 607755"/>
                <a:gd name="connsiteY78" fmla="*/ 254793 h 454818"/>
                <a:gd name="connsiteX79" fmla="*/ 74115 w 607755"/>
                <a:gd name="connsiteY79" fmla="*/ 252412 h 454818"/>
                <a:gd name="connsiteX80" fmla="*/ 86021 w 607755"/>
                <a:gd name="connsiteY80" fmla="*/ 240506 h 454818"/>
                <a:gd name="connsiteX81" fmla="*/ 90784 w 607755"/>
                <a:gd name="connsiteY81" fmla="*/ 233362 h 454818"/>
                <a:gd name="connsiteX82" fmla="*/ 112215 w 607755"/>
                <a:gd name="connsiteY82" fmla="*/ 216693 h 454818"/>
                <a:gd name="connsiteX83" fmla="*/ 119359 w 607755"/>
                <a:gd name="connsiteY83" fmla="*/ 214312 h 454818"/>
                <a:gd name="connsiteX84" fmla="*/ 126503 w 607755"/>
                <a:gd name="connsiteY84" fmla="*/ 207168 h 454818"/>
                <a:gd name="connsiteX85" fmla="*/ 131265 w 607755"/>
                <a:gd name="connsiteY85" fmla="*/ 200025 h 454818"/>
                <a:gd name="connsiteX86" fmla="*/ 138409 w 607755"/>
                <a:gd name="connsiteY86" fmla="*/ 195262 h 454818"/>
                <a:gd name="connsiteX87" fmla="*/ 140790 w 607755"/>
                <a:gd name="connsiteY87" fmla="*/ 188118 h 454818"/>
                <a:gd name="connsiteX88" fmla="*/ 157459 w 607755"/>
                <a:gd name="connsiteY88" fmla="*/ 188118 h 454818"/>
                <a:gd name="connsiteX89" fmla="*/ 164603 w 607755"/>
                <a:gd name="connsiteY89" fmla="*/ 197643 h 454818"/>
                <a:gd name="connsiteX90" fmla="*/ 174128 w 607755"/>
                <a:gd name="connsiteY90" fmla="*/ 202406 h 454818"/>
                <a:gd name="connsiteX91" fmla="*/ 209846 w 607755"/>
                <a:gd name="connsiteY91" fmla="*/ 207168 h 454818"/>
                <a:gd name="connsiteX92" fmla="*/ 216990 w 607755"/>
                <a:gd name="connsiteY92" fmla="*/ 214312 h 454818"/>
                <a:gd name="connsiteX93" fmla="*/ 228896 w 607755"/>
                <a:gd name="connsiteY93" fmla="*/ 226218 h 454818"/>
                <a:gd name="connsiteX94" fmla="*/ 231278 w 607755"/>
                <a:gd name="connsiteY94" fmla="*/ 233362 h 454818"/>
                <a:gd name="connsiteX95" fmla="*/ 236040 w 607755"/>
                <a:gd name="connsiteY95" fmla="*/ 240506 h 454818"/>
                <a:gd name="connsiteX96" fmla="*/ 243184 w 607755"/>
                <a:gd name="connsiteY96" fmla="*/ 254793 h 454818"/>
                <a:gd name="connsiteX97" fmla="*/ 250328 w 607755"/>
                <a:gd name="connsiteY97" fmla="*/ 259556 h 454818"/>
                <a:gd name="connsiteX98" fmla="*/ 264615 w 607755"/>
                <a:gd name="connsiteY98" fmla="*/ 264318 h 454818"/>
                <a:gd name="connsiteX99" fmla="*/ 312240 w 607755"/>
                <a:gd name="connsiteY99" fmla="*/ 254793 h 454818"/>
                <a:gd name="connsiteX100" fmla="*/ 314621 w 607755"/>
                <a:gd name="connsiteY100" fmla="*/ 233362 h 454818"/>
                <a:gd name="connsiteX101" fmla="*/ 317003 w 607755"/>
                <a:gd name="connsiteY101" fmla="*/ 226218 h 454818"/>
                <a:gd name="connsiteX102" fmla="*/ 324146 w 607755"/>
                <a:gd name="connsiteY102" fmla="*/ 192881 h 454818"/>
                <a:gd name="connsiteX103" fmla="*/ 328909 w 607755"/>
                <a:gd name="connsiteY103" fmla="*/ 185737 h 454818"/>
                <a:gd name="connsiteX104" fmla="*/ 333671 w 607755"/>
                <a:gd name="connsiteY104" fmla="*/ 161925 h 454818"/>
                <a:gd name="connsiteX105" fmla="*/ 336053 w 607755"/>
                <a:gd name="connsiteY105" fmla="*/ 154781 h 454818"/>
                <a:gd name="connsiteX106" fmla="*/ 340815 w 607755"/>
                <a:gd name="connsiteY106" fmla="*/ 154781 h 454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607755" h="454818">
                  <a:moveTo>
                    <a:pt x="340815" y="154781"/>
                  </a:moveTo>
                  <a:cubicBezTo>
                    <a:pt x="345180" y="152797"/>
                    <a:pt x="345871" y="153792"/>
                    <a:pt x="362246" y="142875"/>
                  </a:cubicBezTo>
                  <a:cubicBezTo>
                    <a:pt x="364627" y="141287"/>
                    <a:pt x="366567" y="138582"/>
                    <a:pt x="369390" y="138112"/>
                  </a:cubicBezTo>
                  <a:lnTo>
                    <a:pt x="383678" y="135731"/>
                  </a:lnTo>
                  <a:cubicBezTo>
                    <a:pt x="384102" y="133613"/>
                    <a:pt x="387179" y="117242"/>
                    <a:pt x="388440" y="114300"/>
                  </a:cubicBezTo>
                  <a:cubicBezTo>
                    <a:pt x="389567" y="111669"/>
                    <a:pt x="391615" y="109537"/>
                    <a:pt x="393203" y="107156"/>
                  </a:cubicBezTo>
                  <a:cubicBezTo>
                    <a:pt x="394328" y="102656"/>
                    <a:pt x="395474" y="93532"/>
                    <a:pt x="400346" y="90487"/>
                  </a:cubicBezTo>
                  <a:cubicBezTo>
                    <a:pt x="411621" y="83440"/>
                    <a:pt x="436079" y="84075"/>
                    <a:pt x="445590" y="83343"/>
                  </a:cubicBezTo>
                  <a:cubicBezTo>
                    <a:pt x="471630" y="74664"/>
                    <a:pt x="432197" y="88503"/>
                    <a:pt x="459878" y="76200"/>
                  </a:cubicBezTo>
                  <a:cubicBezTo>
                    <a:pt x="464465" y="74161"/>
                    <a:pt x="469988" y="74221"/>
                    <a:pt x="474165" y="71437"/>
                  </a:cubicBezTo>
                  <a:cubicBezTo>
                    <a:pt x="476546" y="69850"/>
                    <a:pt x="478749" y="67955"/>
                    <a:pt x="481309" y="66675"/>
                  </a:cubicBezTo>
                  <a:cubicBezTo>
                    <a:pt x="493286" y="60686"/>
                    <a:pt x="487725" y="69781"/>
                    <a:pt x="502740" y="54768"/>
                  </a:cubicBezTo>
                  <a:cubicBezTo>
                    <a:pt x="523603" y="33908"/>
                    <a:pt x="498077" y="60365"/>
                    <a:pt x="514646" y="40481"/>
                  </a:cubicBezTo>
                  <a:cubicBezTo>
                    <a:pt x="516802" y="37894"/>
                    <a:pt x="519722" y="35995"/>
                    <a:pt x="521790" y="33337"/>
                  </a:cubicBezTo>
                  <a:cubicBezTo>
                    <a:pt x="525304" y="28819"/>
                    <a:pt x="525885" y="20860"/>
                    <a:pt x="531315" y="19050"/>
                  </a:cubicBezTo>
                  <a:cubicBezTo>
                    <a:pt x="554320" y="11380"/>
                    <a:pt x="518547" y="23681"/>
                    <a:pt x="547984" y="11906"/>
                  </a:cubicBezTo>
                  <a:cubicBezTo>
                    <a:pt x="552645" y="10042"/>
                    <a:pt x="557509" y="8731"/>
                    <a:pt x="562271" y="7143"/>
                  </a:cubicBezTo>
                  <a:lnTo>
                    <a:pt x="576559" y="2381"/>
                  </a:lnTo>
                  <a:lnTo>
                    <a:pt x="583703" y="0"/>
                  </a:lnTo>
                  <a:cubicBezTo>
                    <a:pt x="586084" y="794"/>
                    <a:pt x="588886" y="813"/>
                    <a:pt x="590846" y="2381"/>
                  </a:cubicBezTo>
                  <a:cubicBezTo>
                    <a:pt x="599460" y="9272"/>
                    <a:pt x="596925" y="25880"/>
                    <a:pt x="597990" y="33337"/>
                  </a:cubicBezTo>
                  <a:cubicBezTo>
                    <a:pt x="598296" y="35478"/>
                    <a:pt x="601394" y="47289"/>
                    <a:pt x="602753" y="50006"/>
                  </a:cubicBezTo>
                  <a:cubicBezTo>
                    <a:pt x="604033" y="52566"/>
                    <a:pt x="605928" y="54769"/>
                    <a:pt x="607515" y="57150"/>
                  </a:cubicBezTo>
                  <a:cubicBezTo>
                    <a:pt x="606721" y="69850"/>
                    <a:pt x="607755" y="82798"/>
                    <a:pt x="605134" y="95250"/>
                  </a:cubicBezTo>
                  <a:cubicBezTo>
                    <a:pt x="604197" y="99700"/>
                    <a:pt x="593796" y="104534"/>
                    <a:pt x="590846" y="107156"/>
                  </a:cubicBezTo>
                  <a:cubicBezTo>
                    <a:pt x="566379" y="128904"/>
                    <a:pt x="585629" y="115396"/>
                    <a:pt x="569415" y="126206"/>
                  </a:cubicBezTo>
                  <a:cubicBezTo>
                    <a:pt x="567846" y="130914"/>
                    <a:pt x="566469" y="137134"/>
                    <a:pt x="562271" y="140493"/>
                  </a:cubicBezTo>
                  <a:cubicBezTo>
                    <a:pt x="560311" y="142061"/>
                    <a:pt x="557509" y="142081"/>
                    <a:pt x="555128" y="142875"/>
                  </a:cubicBezTo>
                  <a:lnTo>
                    <a:pt x="536078" y="171450"/>
                  </a:lnTo>
                  <a:lnTo>
                    <a:pt x="526553" y="185737"/>
                  </a:lnTo>
                  <a:lnTo>
                    <a:pt x="519409" y="207168"/>
                  </a:lnTo>
                  <a:cubicBezTo>
                    <a:pt x="518615" y="209549"/>
                    <a:pt x="518420" y="212224"/>
                    <a:pt x="517028" y="214312"/>
                  </a:cubicBezTo>
                  <a:lnTo>
                    <a:pt x="512265" y="221456"/>
                  </a:lnTo>
                  <a:cubicBezTo>
                    <a:pt x="506903" y="237545"/>
                    <a:pt x="514340" y="220105"/>
                    <a:pt x="502740" y="233362"/>
                  </a:cubicBezTo>
                  <a:cubicBezTo>
                    <a:pt x="498971" y="237670"/>
                    <a:pt x="493215" y="247650"/>
                    <a:pt x="493215" y="247650"/>
                  </a:cubicBezTo>
                  <a:cubicBezTo>
                    <a:pt x="492421" y="252412"/>
                    <a:pt x="492993" y="257619"/>
                    <a:pt x="490834" y="261937"/>
                  </a:cubicBezTo>
                  <a:cubicBezTo>
                    <a:pt x="488389" y="266827"/>
                    <a:pt x="477980" y="267937"/>
                    <a:pt x="474165" y="269081"/>
                  </a:cubicBezTo>
                  <a:cubicBezTo>
                    <a:pt x="469357" y="270523"/>
                    <a:pt x="464640" y="272256"/>
                    <a:pt x="459878" y="273843"/>
                  </a:cubicBezTo>
                  <a:cubicBezTo>
                    <a:pt x="457497" y="274637"/>
                    <a:pt x="455169" y="275616"/>
                    <a:pt x="452734" y="276225"/>
                  </a:cubicBezTo>
                  <a:cubicBezTo>
                    <a:pt x="449559" y="277019"/>
                    <a:pt x="446356" y="277707"/>
                    <a:pt x="443209" y="278606"/>
                  </a:cubicBezTo>
                  <a:cubicBezTo>
                    <a:pt x="440795" y="279296"/>
                    <a:pt x="438546" y="280605"/>
                    <a:pt x="436065" y="280987"/>
                  </a:cubicBezTo>
                  <a:cubicBezTo>
                    <a:pt x="428181" y="282200"/>
                    <a:pt x="420190" y="282574"/>
                    <a:pt x="412253" y="283368"/>
                  </a:cubicBezTo>
                  <a:cubicBezTo>
                    <a:pt x="404241" y="286039"/>
                    <a:pt x="403819" y="285806"/>
                    <a:pt x="395584" y="290512"/>
                  </a:cubicBezTo>
                  <a:cubicBezTo>
                    <a:pt x="393099" y="291932"/>
                    <a:pt x="391000" y="293995"/>
                    <a:pt x="388440" y="295275"/>
                  </a:cubicBezTo>
                  <a:cubicBezTo>
                    <a:pt x="386015" y="296488"/>
                    <a:pt x="373531" y="299920"/>
                    <a:pt x="371771" y="300037"/>
                  </a:cubicBezTo>
                  <a:cubicBezTo>
                    <a:pt x="351164" y="301411"/>
                    <a:pt x="330496" y="301624"/>
                    <a:pt x="309859" y="302418"/>
                  </a:cubicBezTo>
                  <a:cubicBezTo>
                    <a:pt x="317252" y="324599"/>
                    <a:pt x="317670" y="319843"/>
                    <a:pt x="312240" y="352425"/>
                  </a:cubicBezTo>
                  <a:cubicBezTo>
                    <a:pt x="311770" y="355248"/>
                    <a:pt x="309501" y="357545"/>
                    <a:pt x="307478" y="359568"/>
                  </a:cubicBezTo>
                  <a:cubicBezTo>
                    <a:pt x="305454" y="361592"/>
                    <a:pt x="302715" y="362743"/>
                    <a:pt x="300334" y="364331"/>
                  </a:cubicBezTo>
                  <a:cubicBezTo>
                    <a:pt x="288131" y="382635"/>
                    <a:pt x="296455" y="377677"/>
                    <a:pt x="276521" y="381000"/>
                  </a:cubicBezTo>
                  <a:cubicBezTo>
                    <a:pt x="274140" y="382587"/>
                    <a:pt x="271401" y="383739"/>
                    <a:pt x="269378" y="385762"/>
                  </a:cubicBezTo>
                  <a:cubicBezTo>
                    <a:pt x="267354" y="387786"/>
                    <a:pt x="266850" y="391118"/>
                    <a:pt x="264615" y="392906"/>
                  </a:cubicBezTo>
                  <a:cubicBezTo>
                    <a:pt x="262655" y="394474"/>
                    <a:pt x="259852" y="394493"/>
                    <a:pt x="257471" y="395287"/>
                  </a:cubicBezTo>
                  <a:cubicBezTo>
                    <a:pt x="237015" y="408927"/>
                    <a:pt x="262888" y="392580"/>
                    <a:pt x="243184" y="402431"/>
                  </a:cubicBezTo>
                  <a:cubicBezTo>
                    <a:pt x="240624" y="403711"/>
                    <a:pt x="238600" y="405913"/>
                    <a:pt x="236040" y="407193"/>
                  </a:cubicBezTo>
                  <a:cubicBezTo>
                    <a:pt x="230174" y="410126"/>
                    <a:pt x="220104" y="411040"/>
                    <a:pt x="214609" y="411956"/>
                  </a:cubicBezTo>
                  <a:cubicBezTo>
                    <a:pt x="212228" y="413543"/>
                    <a:pt x="209053" y="414337"/>
                    <a:pt x="207465" y="416718"/>
                  </a:cubicBezTo>
                  <a:cubicBezTo>
                    <a:pt x="205225" y="420078"/>
                    <a:pt x="205544" y="429735"/>
                    <a:pt x="202703" y="433387"/>
                  </a:cubicBezTo>
                  <a:cubicBezTo>
                    <a:pt x="194725" y="443645"/>
                    <a:pt x="188432" y="447662"/>
                    <a:pt x="178890" y="454818"/>
                  </a:cubicBezTo>
                  <a:cubicBezTo>
                    <a:pt x="175593" y="454159"/>
                    <a:pt x="163958" y="452344"/>
                    <a:pt x="159840" y="450056"/>
                  </a:cubicBezTo>
                  <a:cubicBezTo>
                    <a:pt x="154837" y="447276"/>
                    <a:pt x="150315" y="443706"/>
                    <a:pt x="145553" y="440531"/>
                  </a:cubicBezTo>
                  <a:lnTo>
                    <a:pt x="138409" y="435768"/>
                  </a:lnTo>
                  <a:cubicBezTo>
                    <a:pt x="134235" y="432985"/>
                    <a:pt x="129543" y="428954"/>
                    <a:pt x="124121" y="428625"/>
                  </a:cubicBezTo>
                  <a:cubicBezTo>
                    <a:pt x="100339" y="427184"/>
                    <a:pt x="76496" y="427037"/>
                    <a:pt x="52684" y="426243"/>
                  </a:cubicBezTo>
                  <a:cubicBezTo>
                    <a:pt x="53478" y="423862"/>
                    <a:pt x="53673" y="421188"/>
                    <a:pt x="55065" y="419100"/>
                  </a:cubicBezTo>
                  <a:cubicBezTo>
                    <a:pt x="58732" y="413600"/>
                    <a:pt x="64082" y="410707"/>
                    <a:pt x="69353" y="407193"/>
                  </a:cubicBezTo>
                  <a:cubicBezTo>
                    <a:pt x="67765" y="402431"/>
                    <a:pt x="67251" y="397163"/>
                    <a:pt x="64590" y="392906"/>
                  </a:cubicBezTo>
                  <a:cubicBezTo>
                    <a:pt x="59692" y="385070"/>
                    <a:pt x="39631" y="386164"/>
                    <a:pt x="36015" y="385762"/>
                  </a:cubicBezTo>
                  <a:cubicBezTo>
                    <a:pt x="32840" y="384968"/>
                    <a:pt x="29171" y="385258"/>
                    <a:pt x="26490" y="383381"/>
                  </a:cubicBezTo>
                  <a:cubicBezTo>
                    <a:pt x="20972" y="379519"/>
                    <a:pt x="18227" y="372105"/>
                    <a:pt x="12203" y="369093"/>
                  </a:cubicBezTo>
                  <a:lnTo>
                    <a:pt x="2678" y="364331"/>
                  </a:lnTo>
                  <a:cubicBezTo>
                    <a:pt x="6392" y="342043"/>
                    <a:pt x="0" y="354441"/>
                    <a:pt x="12203" y="347662"/>
                  </a:cubicBezTo>
                  <a:cubicBezTo>
                    <a:pt x="17206" y="344882"/>
                    <a:pt x="21728" y="341312"/>
                    <a:pt x="26490" y="338137"/>
                  </a:cubicBezTo>
                  <a:lnTo>
                    <a:pt x="33634" y="333375"/>
                  </a:lnTo>
                  <a:cubicBezTo>
                    <a:pt x="46327" y="314333"/>
                    <a:pt x="29671" y="337336"/>
                    <a:pt x="45540" y="321468"/>
                  </a:cubicBezTo>
                  <a:cubicBezTo>
                    <a:pt x="51096" y="314324"/>
                    <a:pt x="63002" y="296862"/>
                    <a:pt x="66971" y="290512"/>
                  </a:cubicBezTo>
                  <a:lnTo>
                    <a:pt x="69353" y="283368"/>
                  </a:lnTo>
                  <a:cubicBezTo>
                    <a:pt x="67479" y="280558"/>
                    <a:pt x="61739" y="273308"/>
                    <a:pt x="62209" y="269081"/>
                  </a:cubicBezTo>
                  <a:cubicBezTo>
                    <a:pt x="62763" y="264091"/>
                    <a:pt x="62208" y="256380"/>
                    <a:pt x="66971" y="254793"/>
                  </a:cubicBezTo>
                  <a:lnTo>
                    <a:pt x="74115" y="252412"/>
                  </a:lnTo>
                  <a:cubicBezTo>
                    <a:pt x="86817" y="233360"/>
                    <a:pt x="70146" y="256381"/>
                    <a:pt x="86021" y="240506"/>
                  </a:cubicBezTo>
                  <a:cubicBezTo>
                    <a:pt x="88045" y="238482"/>
                    <a:pt x="88952" y="235561"/>
                    <a:pt x="90784" y="233362"/>
                  </a:cubicBezTo>
                  <a:cubicBezTo>
                    <a:pt x="95525" y="227673"/>
                    <a:pt x="106088" y="218735"/>
                    <a:pt x="112215" y="216693"/>
                  </a:cubicBezTo>
                  <a:lnTo>
                    <a:pt x="119359" y="214312"/>
                  </a:lnTo>
                  <a:cubicBezTo>
                    <a:pt x="121740" y="211931"/>
                    <a:pt x="124347" y="209755"/>
                    <a:pt x="126503" y="207168"/>
                  </a:cubicBezTo>
                  <a:cubicBezTo>
                    <a:pt x="128335" y="204970"/>
                    <a:pt x="129242" y="202048"/>
                    <a:pt x="131265" y="200025"/>
                  </a:cubicBezTo>
                  <a:cubicBezTo>
                    <a:pt x="133289" y="198001"/>
                    <a:pt x="136028" y="196850"/>
                    <a:pt x="138409" y="195262"/>
                  </a:cubicBezTo>
                  <a:cubicBezTo>
                    <a:pt x="139203" y="192881"/>
                    <a:pt x="139015" y="189893"/>
                    <a:pt x="140790" y="188118"/>
                  </a:cubicBezTo>
                  <a:cubicBezTo>
                    <a:pt x="145572" y="183336"/>
                    <a:pt x="152626" y="186910"/>
                    <a:pt x="157459" y="188118"/>
                  </a:cubicBezTo>
                  <a:cubicBezTo>
                    <a:pt x="159840" y="191293"/>
                    <a:pt x="161590" y="195060"/>
                    <a:pt x="164603" y="197643"/>
                  </a:cubicBezTo>
                  <a:cubicBezTo>
                    <a:pt x="167298" y="199953"/>
                    <a:pt x="170865" y="201008"/>
                    <a:pt x="174128" y="202406"/>
                  </a:cubicBezTo>
                  <a:cubicBezTo>
                    <a:pt x="185866" y="207437"/>
                    <a:pt x="195804" y="205998"/>
                    <a:pt x="209846" y="207168"/>
                  </a:cubicBezTo>
                  <a:cubicBezTo>
                    <a:pt x="212227" y="209549"/>
                    <a:pt x="214403" y="212156"/>
                    <a:pt x="216990" y="214312"/>
                  </a:cubicBezTo>
                  <a:cubicBezTo>
                    <a:pt x="225154" y="221116"/>
                    <a:pt x="223907" y="216240"/>
                    <a:pt x="228896" y="226218"/>
                  </a:cubicBezTo>
                  <a:cubicBezTo>
                    <a:pt x="230019" y="228463"/>
                    <a:pt x="230155" y="231117"/>
                    <a:pt x="231278" y="233362"/>
                  </a:cubicBezTo>
                  <a:cubicBezTo>
                    <a:pt x="232558" y="235922"/>
                    <a:pt x="234760" y="237946"/>
                    <a:pt x="236040" y="240506"/>
                  </a:cubicBezTo>
                  <a:cubicBezTo>
                    <a:pt x="239914" y="248254"/>
                    <a:pt x="236358" y="247968"/>
                    <a:pt x="243184" y="254793"/>
                  </a:cubicBezTo>
                  <a:cubicBezTo>
                    <a:pt x="245208" y="256817"/>
                    <a:pt x="247713" y="258394"/>
                    <a:pt x="250328" y="259556"/>
                  </a:cubicBezTo>
                  <a:cubicBezTo>
                    <a:pt x="254915" y="261595"/>
                    <a:pt x="264615" y="264318"/>
                    <a:pt x="264615" y="264318"/>
                  </a:cubicBezTo>
                  <a:cubicBezTo>
                    <a:pt x="290648" y="262948"/>
                    <a:pt x="308693" y="276074"/>
                    <a:pt x="312240" y="254793"/>
                  </a:cubicBezTo>
                  <a:cubicBezTo>
                    <a:pt x="313422" y="247703"/>
                    <a:pt x="313439" y="240452"/>
                    <a:pt x="314621" y="233362"/>
                  </a:cubicBezTo>
                  <a:cubicBezTo>
                    <a:pt x="315034" y="230886"/>
                    <a:pt x="316209" y="228599"/>
                    <a:pt x="317003" y="226218"/>
                  </a:cubicBezTo>
                  <a:cubicBezTo>
                    <a:pt x="318010" y="218159"/>
                    <a:pt x="318926" y="200710"/>
                    <a:pt x="324146" y="192881"/>
                  </a:cubicBezTo>
                  <a:lnTo>
                    <a:pt x="328909" y="185737"/>
                  </a:lnTo>
                  <a:cubicBezTo>
                    <a:pt x="330779" y="174517"/>
                    <a:pt x="330830" y="171866"/>
                    <a:pt x="333671" y="161925"/>
                  </a:cubicBezTo>
                  <a:cubicBezTo>
                    <a:pt x="334361" y="159511"/>
                    <a:pt x="334547" y="156789"/>
                    <a:pt x="336053" y="154781"/>
                  </a:cubicBezTo>
                  <a:cubicBezTo>
                    <a:pt x="337118" y="153361"/>
                    <a:pt x="336450" y="156765"/>
                    <a:pt x="340815" y="154781"/>
                  </a:cubicBez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07" name="Freeform 23"/>
            <p:cNvSpPr>
              <a:spLocks noChangeArrowheads="1"/>
            </p:cNvSpPr>
            <p:nvPr/>
          </p:nvSpPr>
          <p:spPr bwMode="gray">
            <a:xfrm>
              <a:off x="6839739" y="2330450"/>
              <a:ext cx="812800" cy="1346200"/>
            </a:xfrm>
            <a:custGeom>
              <a:avLst/>
              <a:gdLst>
                <a:gd name="T0" fmla="*/ 0 w 566737"/>
                <a:gd name="T1" fmla="*/ 0 h 938741"/>
                <a:gd name="T2" fmla="*/ 566737 w 566737"/>
                <a:gd name="T3" fmla="*/ 938741 h 938741"/>
              </a:gdLst>
              <a:ahLst/>
              <a:cxnLst/>
              <a:rect l="T0" t="T1" r="T2" b="T3"/>
              <a:pathLst>
                <a:path w="566737" h="938741">
                  <a:moveTo>
                    <a:pt x="261937" y="529"/>
                  </a:moveTo>
                  <a:cubicBezTo>
                    <a:pt x="281781" y="1323"/>
                    <a:pt x="301824" y="0"/>
                    <a:pt x="321469" y="2910"/>
                  </a:cubicBezTo>
                  <a:cubicBezTo>
                    <a:pt x="332529" y="4549"/>
                    <a:pt x="323108" y="15559"/>
                    <a:pt x="321469" y="17198"/>
                  </a:cubicBezTo>
                  <a:cubicBezTo>
                    <a:pt x="319445" y="19222"/>
                    <a:pt x="316706" y="20373"/>
                    <a:pt x="314325" y="21960"/>
                  </a:cubicBezTo>
                  <a:cubicBezTo>
                    <a:pt x="308657" y="38963"/>
                    <a:pt x="312347" y="32071"/>
                    <a:pt x="304800" y="43391"/>
                  </a:cubicBezTo>
                  <a:cubicBezTo>
                    <a:pt x="304006" y="45772"/>
                    <a:pt x="303542" y="48290"/>
                    <a:pt x="302419" y="50535"/>
                  </a:cubicBezTo>
                  <a:cubicBezTo>
                    <a:pt x="301139" y="53095"/>
                    <a:pt x="298783" y="55048"/>
                    <a:pt x="297656" y="57679"/>
                  </a:cubicBezTo>
                  <a:cubicBezTo>
                    <a:pt x="296367" y="60687"/>
                    <a:pt x="296069" y="64029"/>
                    <a:pt x="295275" y="67204"/>
                  </a:cubicBezTo>
                  <a:cubicBezTo>
                    <a:pt x="297818" y="146059"/>
                    <a:pt x="289870" y="117664"/>
                    <a:pt x="302419" y="155310"/>
                  </a:cubicBezTo>
                  <a:cubicBezTo>
                    <a:pt x="334981" y="202141"/>
                    <a:pt x="317897" y="183488"/>
                    <a:pt x="323850" y="191029"/>
                  </a:cubicBezTo>
                  <a:cubicBezTo>
                    <a:pt x="328368" y="194543"/>
                    <a:pt x="338137" y="200554"/>
                    <a:pt x="338137" y="200554"/>
                  </a:cubicBezTo>
                  <a:cubicBezTo>
                    <a:pt x="349250" y="217222"/>
                    <a:pt x="342900" y="211666"/>
                    <a:pt x="354806" y="219604"/>
                  </a:cubicBezTo>
                  <a:cubicBezTo>
                    <a:pt x="356394" y="221985"/>
                    <a:pt x="358289" y="224188"/>
                    <a:pt x="359569" y="226748"/>
                  </a:cubicBezTo>
                  <a:cubicBezTo>
                    <a:pt x="360691" y="228993"/>
                    <a:pt x="360409" y="231910"/>
                    <a:pt x="361950" y="233891"/>
                  </a:cubicBezTo>
                  <a:cubicBezTo>
                    <a:pt x="371312" y="245928"/>
                    <a:pt x="372344" y="247550"/>
                    <a:pt x="383381" y="250560"/>
                  </a:cubicBezTo>
                  <a:cubicBezTo>
                    <a:pt x="389696" y="252282"/>
                    <a:pt x="396221" y="253253"/>
                    <a:pt x="402431" y="255323"/>
                  </a:cubicBezTo>
                  <a:lnTo>
                    <a:pt x="416719" y="260085"/>
                  </a:lnTo>
                  <a:cubicBezTo>
                    <a:pt x="419100" y="262466"/>
                    <a:pt x="421706" y="264642"/>
                    <a:pt x="423862" y="267229"/>
                  </a:cubicBezTo>
                  <a:cubicBezTo>
                    <a:pt x="425694" y="269428"/>
                    <a:pt x="426793" y="272174"/>
                    <a:pt x="428625" y="274373"/>
                  </a:cubicBezTo>
                  <a:cubicBezTo>
                    <a:pt x="431430" y="277739"/>
                    <a:pt x="438374" y="284577"/>
                    <a:pt x="442912" y="286279"/>
                  </a:cubicBezTo>
                  <a:cubicBezTo>
                    <a:pt x="446702" y="287700"/>
                    <a:pt x="450868" y="287782"/>
                    <a:pt x="454819" y="288660"/>
                  </a:cubicBezTo>
                  <a:cubicBezTo>
                    <a:pt x="458014" y="289370"/>
                    <a:pt x="461169" y="290247"/>
                    <a:pt x="464344" y="291041"/>
                  </a:cubicBezTo>
                  <a:cubicBezTo>
                    <a:pt x="478362" y="298051"/>
                    <a:pt x="470497" y="294679"/>
                    <a:pt x="488156" y="300566"/>
                  </a:cubicBezTo>
                  <a:lnTo>
                    <a:pt x="502444" y="305329"/>
                  </a:lnTo>
                  <a:cubicBezTo>
                    <a:pt x="506413" y="306123"/>
                    <a:pt x="510445" y="306645"/>
                    <a:pt x="514350" y="307710"/>
                  </a:cubicBezTo>
                  <a:cubicBezTo>
                    <a:pt x="519193" y="309031"/>
                    <a:pt x="528637" y="312473"/>
                    <a:pt x="528637" y="312473"/>
                  </a:cubicBezTo>
                  <a:cubicBezTo>
                    <a:pt x="527843" y="321204"/>
                    <a:pt x="528093" y="330094"/>
                    <a:pt x="526256" y="338666"/>
                  </a:cubicBezTo>
                  <a:cubicBezTo>
                    <a:pt x="525656" y="341464"/>
                    <a:pt x="521849" y="342970"/>
                    <a:pt x="521494" y="345810"/>
                  </a:cubicBezTo>
                  <a:cubicBezTo>
                    <a:pt x="521446" y="346194"/>
                    <a:pt x="524407" y="362549"/>
                    <a:pt x="526256" y="364860"/>
                  </a:cubicBezTo>
                  <a:cubicBezTo>
                    <a:pt x="528044" y="367095"/>
                    <a:pt x="531019" y="368035"/>
                    <a:pt x="533400" y="369623"/>
                  </a:cubicBezTo>
                  <a:cubicBezTo>
                    <a:pt x="534194" y="372004"/>
                    <a:pt x="535781" y="374256"/>
                    <a:pt x="535781" y="376766"/>
                  </a:cubicBezTo>
                  <a:cubicBezTo>
                    <a:pt x="535781" y="392090"/>
                    <a:pt x="535093" y="390896"/>
                    <a:pt x="528637" y="400579"/>
                  </a:cubicBezTo>
                  <a:cubicBezTo>
                    <a:pt x="526758" y="406216"/>
                    <a:pt x="523875" y="413883"/>
                    <a:pt x="523875" y="419629"/>
                  </a:cubicBezTo>
                  <a:cubicBezTo>
                    <a:pt x="523875" y="426817"/>
                    <a:pt x="525240" y="433945"/>
                    <a:pt x="526256" y="441060"/>
                  </a:cubicBezTo>
                  <a:cubicBezTo>
                    <a:pt x="528267" y="455140"/>
                    <a:pt x="525332" y="451864"/>
                    <a:pt x="535781" y="455348"/>
                  </a:cubicBezTo>
                  <a:cubicBezTo>
                    <a:pt x="542418" y="465303"/>
                    <a:pt x="544057" y="469786"/>
                    <a:pt x="552450" y="476779"/>
                  </a:cubicBezTo>
                  <a:cubicBezTo>
                    <a:pt x="554649" y="478611"/>
                    <a:pt x="557034" y="480261"/>
                    <a:pt x="559594" y="481541"/>
                  </a:cubicBezTo>
                  <a:cubicBezTo>
                    <a:pt x="561839" y="482664"/>
                    <a:pt x="564356" y="483129"/>
                    <a:pt x="566737" y="483923"/>
                  </a:cubicBezTo>
                  <a:cubicBezTo>
                    <a:pt x="565150" y="486304"/>
                    <a:pt x="563807" y="488868"/>
                    <a:pt x="561975" y="491066"/>
                  </a:cubicBezTo>
                  <a:cubicBezTo>
                    <a:pt x="559819" y="493653"/>
                    <a:pt x="556466" y="495266"/>
                    <a:pt x="554831" y="498210"/>
                  </a:cubicBezTo>
                  <a:cubicBezTo>
                    <a:pt x="547622" y="511187"/>
                    <a:pt x="555658" y="512757"/>
                    <a:pt x="542925" y="514879"/>
                  </a:cubicBezTo>
                  <a:cubicBezTo>
                    <a:pt x="535835" y="516061"/>
                    <a:pt x="528638" y="516466"/>
                    <a:pt x="521494" y="517260"/>
                  </a:cubicBezTo>
                  <a:cubicBezTo>
                    <a:pt x="514458" y="538367"/>
                    <a:pt x="516177" y="526558"/>
                    <a:pt x="519112" y="552979"/>
                  </a:cubicBezTo>
                  <a:cubicBezTo>
                    <a:pt x="512178" y="559914"/>
                    <a:pt x="511556" y="558407"/>
                    <a:pt x="509587" y="567266"/>
                  </a:cubicBezTo>
                  <a:cubicBezTo>
                    <a:pt x="508463" y="572325"/>
                    <a:pt x="506568" y="591717"/>
                    <a:pt x="502444" y="595841"/>
                  </a:cubicBezTo>
                  <a:lnTo>
                    <a:pt x="495300" y="602985"/>
                  </a:lnTo>
                  <a:cubicBezTo>
                    <a:pt x="494506" y="605366"/>
                    <a:pt x="494487" y="608169"/>
                    <a:pt x="492919" y="610129"/>
                  </a:cubicBezTo>
                  <a:cubicBezTo>
                    <a:pt x="491131" y="612364"/>
                    <a:pt x="487974" y="613059"/>
                    <a:pt x="485775" y="614891"/>
                  </a:cubicBezTo>
                  <a:cubicBezTo>
                    <a:pt x="467432" y="630176"/>
                    <a:pt x="489231" y="614968"/>
                    <a:pt x="471487" y="626798"/>
                  </a:cubicBezTo>
                  <a:cubicBezTo>
                    <a:pt x="469900" y="629179"/>
                    <a:pt x="468005" y="631381"/>
                    <a:pt x="466725" y="633941"/>
                  </a:cubicBezTo>
                  <a:cubicBezTo>
                    <a:pt x="465603" y="636186"/>
                    <a:pt x="465563" y="638891"/>
                    <a:pt x="464344" y="641085"/>
                  </a:cubicBezTo>
                  <a:cubicBezTo>
                    <a:pt x="449027" y="668658"/>
                    <a:pt x="461176" y="645159"/>
                    <a:pt x="447675" y="662516"/>
                  </a:cubicBezTo>
                  <a:cubicBezTo>
                    <a:pt x="432715" y="681750"/>
                    <a:pt x="444837" y="672347"/>
                    <a:pt x="431006" y="681566"/>
                  </a:cubicBezTo>
                  <a:cubicBezTo>
                    <a:pt x="426453" y="695228"/>
                    <a:pt x="431886" y="682477"/>
                    <a:pt x="421481" y="695854"/>
                  </a:cubicBezTo>
                  <a:cubicBezTo>
                    <a:pt x="417967" y="700372"/>
                    <a:pt x="415131" y="705379"/>
                    <a:pt x="411956" y="710141"/>
                  </a:cubicBezTo>
                  <a:lnTo>
                    <a:pt x="407194" y="717285"/>
                  </a:lnTo>
                  <a:cubicBezTo>
                    <a:pt x="403541" y="731894"/>
                    <a:pt x="407981" y="736902"/>
                    <a:pt x="395287" y="738716"/>
                  </a:cubicBezTo>
                  <a:cubicBezTo>
                    <a:pt x="386608" y="739956"/>
                    <a:pt x="377825" y="740304"/>
                    <a:pt x="369094" y="741098"/>
                  </a:cubicBezTo>
                  <a:cubicBezTo>
                    <a:pt x="362381" y="743335"/>
                    <a:pt x="358860" y="743325"/>
                    <a:pt x="354806" y="750623"/>
                  </a:cubicBezTo>
                  <a:cubicBezTo>
                    <a:pt x="351444" y="756675"/>
                    <a:pt x="349168" y="776315"/>
                    <a:pt x="340519" y="779198"/>
                  </a:cubicBezTo>
                  <a:lnTo>
                    <a:pt x="311944" y="788723"/>
                  </a:lnTo>
                  <a:cubicBezTo>
                    <a:pt x="309563" y="789517"/>
                    <a:pt x="306889" y="789712"/>
                    <a:pt x="304800" y="791104"/>
                  </a:cubicBezTo>
                  <a:cubicBezTo>
                    <a:pt x="288424" y="802021"/>
                    <a:pt x="295942" y="798819"/>
                    <a:pt x="283369" y="803010"/>
                  </a:cubicBezTo>
                  <a:cubicBezTo>
                    <a:pt x="276347" y="807691"/>
                    <a:pt x="274808" y="808043"/>
                    <a:pt x="269081" y="814916"/>
                  </a:cubicBezTo>
                  <a:cubicBezTo>
                    <a:pt x="267249" y="817115"/>
                    <a:pt x="265599" y="819500"/>
                    <a:pt x="264319" y="822060"/>
                  </a:cubicBezTo>
                  <a:cubicBezTo>
                    <a:pt x="263196" y="824305"/>
                    <a:pt x="263712" y="827429"/>
                    <a:pt x="261937" y="829204"/>
                  </a:cubicBezTo>
                  <a:cubicBezTo>
                    <a:pt x="260162" y="830979"/>
                    <a:pt x="257175" y="830791"/>
                    <a:pt x="254794" y="831585"/>
                  </a:cubicBezTo>
                  <a:cubicBezTo>
                    <a:pt x="252413" y="833966"/>
                    <a:pt x="250452" y="836861"/>
                    <a:pt x="247650" y="838729"/>
                  </a:cubicBezTo>
                  <a:cubicBezTo>
                    <a:pt x="245561" y="840121"/>
                    <a:pt x="242751" y="839987"/>
                    <a:pt x="240506" y="841110"/>
                  </a:cubicBezTo>
                  <a:cubicBezTo>
                    <a:pt x="224060" y="849333"/>
                    <a:pt x="243662" y="843298"/>
                    <a:pt x="223837" y="848254"/>
                  </a:cubicBezTo>
                  <a:cubicBezTo>
                    <a:pt x="221456" y="849841"/>
                    <a:pt x="219309" y="851854"/>
                    <a:pt x="216694" y="853016"/>
                  </a:cubicBezTo>
                  <a:cubicBezTo>
                    <a:pt x="209237" y="856330"/>
                    <a:pt x="200800" y="858181"/>
                    <a:pt x="192881" y="860160"/>
                  </a:cubicBezTo>
                  <a:lnTo>
                    <a:pt x="178594" y="869685"/>
                  </a:lnTo>
                  <a:cubicBezTo>
                    <a:pt x="176213" y="871273"/>
                    <a:pt x="174165" y="873543"/>
                    <a:pt x="171450" y="874448"/>
                  </a:cubicBezTo>
                  <a:lnTo>
                    <a:pt x="157162" y="879210"/>
                  </a:lnTo>
                  <a:cubicBezTo>
                    <a:pt x="154781" y="880798"/>
                    <a:pt x="152579" y="882693"/>
                    <a:pt x="150019" y="883973"/>
                  </a:cubicBezTo>
                  <a:cubicBezTo>
                    <a:pt x="147774" y="885096"/>
                    <a:pt x="144964" y="884962"/>
                    <a:pt x="142875" y="886354"/>
                  </a:cubicBezTo>
                  <a:cubicBezTo>
                    <a:pt x="135048" y="891572"/>
                    <a:pt x="136460" y="894052"/>
                    <a:pt x="130969" y="900641"/>
                  </a:cubicBezTo>
                  <a:cubicBezTo>
                    <a:pt x="128813" y="903228"/>
                    <a:pt x="126206" y="905404"/>
                    <a:pt x="123825" y="907785"/>
                  </a:cubicBezTo>
                  <a:cubicBezTo>
                    <a:pt x="121344" y="915230"/>
                    <a:pt x="118938" y="924537"/>
                    <a:pt x="111919" y="929216"/>
                  </a:cubicBezTo>
                  <a:lnTo>
                    <a:pt x="97631" y="938741"/>
                  </a:lnTo>
                  <a:cubicBezTo>
                    <a:pt x="96044" y="936360"/>
                    <a:pt x="95526" y="932661"/>
                    <a:pt x="92869" y="931598"/>
                  </a:cubicBezTo>
                  <a:cubicBezTo>
                    <a:pt x="89788" y="930366"/>
                    <a:pt x="80086" y="937738"/>
                    <a:pt x="78581" y="938741"/>
                  </a:cubicBezTo>
                  <a:cubicBezTo>
                    <a:pt x="76200" y="937154"/>
                    <a:pt x="73461" y="936003"/>
                    <a:pt x="71437" y="933979"/>
                  </a:cubicBezTo>
                  <a:cubicBezTo>
                    <a:pt x="69413" y="931955"/>
                    <a:pt x="68910" y="928623"/>
                    <a:pt x="66675" y="926835"/>
                  </a:cubicBezTo>
                  <a:cubicBezTo>
                    <a:pt x="64715" y="925267"/>
                    <a:pt x="61912" y="925248"/>
                    <a:pt x="59531" y="924454"/>
                  </a:cubicBezTo>
                  <a:cubicBezTo>
                    <a:pt x="57944" y="922073"/>
                    <a:pt x="57254" y="918730"/>
                    <a:pt x="54769" y="917310"/>
                  </a:cubicBezTo>
                  <a:cubicBezTo>
                    <a:pt x="51255" y="915302"/>
                    <a:pt x="46813" y="915807"/>
                    <a:pt x="42862" y="914929"/>
                  </a:cubicBezTo>
                  <a:cubicBezTo>
                    <a:pt x="20303" y="909916"/>
                    <a:pt x="47585" y="913736"/>
                    <a:pt x="4762" y="910166"/>
                  </a:cubicBezTo>
                  <a:cubicBezTo>
                    <a:pt x="8835" y="897950"/>
                    <a:pt x="11867" y="897375"/>
                    <a:pt x="7144" y="886354"/>
                  </a:cubicBezTo>
                  <a:cubicBezTo>
                    <a:pt x="6017" y="883723"/>
                    <a:pt x="3969" y="881591"/>
                    <a:pt x="2381" y="879210"/>
                  </a:cubicBezTo>
                  <a:cubicBezTo>
                    <a:pt x="1587" y="876829"/>
                    <a:pt x="0" y="874576"/>
                    <a:pt x="0" y="872066"/>
                  </a:cubicBezTo>
                  <a:cubicBezTo>
                    <a:pt x="0" y="859501"/>
                    <a:pt x="6250" y="859962"/>
                    <a:pt x="16669" y="853016"/>
                  </a:cubicBezTo>
                  <a:cubicBezTo>
                    <a:pt x="19050" y="851429"/>
                    <a:pt x="21097" y="849159"/>
                    <a:pt x="23812" y="848254"/>
                  </a:cubicBezTo>
                  <a:cubicBezTo>
                    <a:pt x="26193" y="847460"/>
                    <a:pt x="28510" y="846437"/>
                    <a:pt x="30956" y="845873"/>
                  </a:cubicBezTo>
                  <a:cubicBezTo>
                    <a:pt x="38844" y="844053"/>
                    <a:pt x="47089" y="843670"/>
                    <a:pt x="54769" y="841110"/>
                  </a:cubicBezTo>
                  <a:lnTo>
                    <a:pt x="69056" y="836348"/>
                  </a:lnTo>
                  <a:lnTo>
                    <a:pt x="83344" y="826823"/>
                  </a:lnTo>
                  <a:cubicBezTo>
                    <a:pt x="85725" y="825236"/>
                    <a:pt x="87772" y="822965"/>
                    <a:pt x="90487" y="822060"/>
                  </a:cubicBezTo>
                  <a:lnTo>
                    <a:pt x="111919" y="814916"/>
                  </a:lnTo>
                  <a:cubicBezTo>
                    <a:pt x="114300" y="814122"/>
                    <a:pt x="116974" y="813927"/>
                    <a:pt x="119062" y="812535"/>
                  </a:cubicBezTo>
                  <a:lnTo>
                    <a:pt x="126206" y="807773"/>
                  </a:lnTo>
                  <a:cubicBezTo>
                    <a:pt x="127000" y="805392"/>
                    <a:pt x="127019" y="802589"/>
                    <a:pt x="128587" y="800629"/>
                  </a:cubicBezTo>
                  <a:cubicBezTo>
                    <a:pt x="140897" y="785241"/>
                    <a:pt x="132127" y="806678"/>
                    <a:pt x="138112" y="788723"/>
                  </a:cubicBezTo>
                  <a:cubicBezTo>
                    <a:pt x="127195" y="772347"/>
                    <a:pt x="134017" y="776245"/>
                    <a:pt x="121444" y="772054"/>
                  </a:cubicBezTo>
                  <a:lnTo>
                    <a:pt x="107156" y="762529"/>
                  </a:lnTo>
                  <a:cubicBezTo>
                    <a:pt x="104775" y="760941"/>
                    <a:pt x="102727" y="758671"/>
                    <a:pt x="100012" y="757766"/>
                  </a:cubicBezTo>
                  <a:cubicBezTo>
                    <a:pt x="92553" y="755280"/>
                    <a:pt x="84120" y="752063"/>
                    <a:pt x="76200" y="750623"/>
                  </a:cubicBezTo>
                  <a:cubicBezTo>
                    <a:pt x="70678" y="749619"/>
                    <a:pt x="65078" y="749095"/>
                    <a:pt x="59531" y="748241"/>
                  </a:cubicBezTo>
                  <a:cubicBezTo>
                    <a:pt x="54759" y="747507"/>
                    <a:pt x="50006" y="746654"/>
                    <a:pt x="45244" y="745860"/>
                  </a:cubicBezTo>
                  <a:cubicBezTo>
                    <a:pt x="42863" y="743479"/>
                    <a:pt x="39968" y="741518"/>
                    <a:pt x="38100" y="738716"/>
                  </a:cubicBezTo>
                  <a:cubicBezTo>
                    <a:pt x="40084" y="730382"/>
                    <a:pt x="47625" y="713317"/>
                    <a:pt x="57150" y="695854"/>
                  </a:cubicBezTo>
                  <a:cubicBezTo>
                    <a:pt x="65881" y="683948"/>
                    <a:pt x="87709" y="645054"/>
                    <a:pt x="95250" y="633941"/>
                  </a:cubicBezTo>
                  <a:lnTo>
                    <a:pt x="102394" y="629179"/>
                  </a:lnTo>
                  <a:cubicBezTo>
                    <a:pt x="111073" y="603139"/>
                    <a:pt x="97234" y="642572"/>
                    <a:pt x="109537" y="614891"/>
                  </a:cubicBezTo>
                  <a:cubicBezTo>
                    <a:pt x="111576" y="610304"/>
                    <a:pt x="112712" y="605366"/>
                    <a:pt x="114300" y="600604"/>
                  </a:cubicBezTo>
                  <a:cubicBezTo>
                    <a:pt x="115094" y="598223"/>
                    <a:pt x="115289" y="595548"/>
                    <a:pt x="116681" y="593460"/>
                  </a:cubicBezTo>
                  <a:lnTo>
                    <a:pt x="121444" y="586316"/>
                  </a:lnTo>
                  <a:cubicBezTo>
                    <a:pt x="127000" y="569648"/>
                    <a:pt x="121444" y="573616"/>
                    <a:pt x="133350" y="569648"/>
                  </a:cubicBezTo>
                  <a:cubicBezTo>
                    <a:pt x="135731" y="567267"/>
                    <a:pt x="137907" y="564660"/>
                    <a:pt x="140494" y="562504"/>
                  </a:cubicBezTo>
                  <a:cubicBezTo>
                    <a:pt x="142692" y="560672"/>
                    <a:pt x="145753" y="559895"/>
                    <a:pt x="147637" y="557741"/>
                  </a:cubicBezTo>
                  <a:cubicBezTo>
                    <a:pt x="169859" y="532343"/>
                    <a:pt x="142877" y="552978"/>
                    <a:pt x="171450" y="533929"/>
                  </a:cubicBezTo>
                  <a:lnTo>
                    <a:pt x="192881" y="519641"/>
                  </a:lnTo>
                  <a:lnTo>
                    <a:pt x="200025" y="514879"/>
                  </a:lnTo>
                  <a:cubicBezTo>
                    <a:pt x="201612" y="512498"/>
                    <a:pt x="204787" y="510597"/>
                    <a:pt x="204787" y="507735"/>
                  </a:cubicBezTo>
                  <a:cubicBezTo>
                    <a:pt x="204787" y="494057"/>
                    <a:pt x="199666" y="494446"/>
                    <a:pt x="192881" y="486304"/>
                  </a:cubicBezTo>
                  <a:cubicBezTo>
                    <a:pt x="187753" y="480151"/>
                    <a:pt x="188124" y="479174"/>
                    <a:pt x="185737" y="472016"/>
                  </a:cubicBezTo>
                  <a:cubicBezTo>
                    <a:pt x="186531" y="443441"/>
                    <a:pt x="186655" y="414840"/>
                    <a:pt x="188119" y="386291"/>
                  </a:cubicBezTo>
                  <a:cubicBezTo>
                    <a:pt x="188248" y="383785"/>
                    <a:pt x="189378" y="381393"/>
                    <a:pt x="190500" y="379148"/>
                  </a:cubicBezTo>
                  <a:cubicBezTo>
                    <a:pt x="194079" y="371989"/>
                    <a:pt x="204814" y="360873"/>
                    <a:pt x="209550" y="357716"/>
                  </a:cubicBezTo>
                  <a:lnTo>
                    <a:pt x="216694" y="352954"/>
                  </a:lnTo>
                  <a:cubicBezTo>
                    <a:pt x="219869" y="348191"/>
                    <a:pt x="227608" y="344219"/>
                    <a:pt x="226219" y="338666"/>
                  </a:cubicBezTo>
                  <a:cubicBezTo>
                    <a:pt x="225425" y="335491"/>
                    <a:pt x="225301" y="332068"/>
                    <a:pt x="223837" y="329141"/>
                  </a:cubicBezTo>
                  <a:cubicBezTo>
                    <a:pt x="214811" y="311090"/>
                    <a:pt x="216967" y="319468"/>
                    <a:pt x="207169" y="307710"/>
                  </a:cubicBezTo>
                  <a:cubicBezTo>
                    <a:pt x="205337" y="305511"/>
                    <a:pt x="203994" y="302947"/>
                    <a:pt x="202406" y="300566"/>
                  </a:cubicBezTo>
                  <a:lnTo>
                    <a:pt x="192881" y="271991"/>
                  </a:lnTo>
                  <a:cubicBezTo>
                    <a:pt x="192087" y="269610"/>
                    <a:pt x="192588" y="266240"/>
                    <a:pt x="190500" y="264848"/>
                  </a:cubicBezTo>
                  <a:lnTo>
                    <a:pt x="183356" y="260085"/>
                  </a:lnTo>
                  <a:cubicBezTo>
                    <a:pt x="181769" y="257704"/>
                    <a:pt x="179874" y="255501"/>
                    <a:pt x="178594" y="252941"/>
                  </a:cubicBezTo>
                  <a:cubicBezTo>
                    <a:pt x="173375" y="242504"/>
                    <a:pt x="176205" y="230750"/>
                    <a:pt x="178594" y="219604"/>
                  </a:cubicBezTo>
                  <a:cubicBezTo>
                    <a:pt x="179194" y="216806"/>
                    <a:pt x="181202" y="214345"/>
                    <a:pt x="183356" y="212460"/>
                  </a:cubicBezTo>
                  <a:cubicBezTo>
                    <a:pt x="187664" y="208691"/>
                    <a:pt x="192881" y="206110"/>
                    <a:pt x="197644" y="202935"/>
                  </a:cubicBezTo>
                  <a:lnTo>
                    <a:pt x="204787" y="198173"/>
                  </a:lnTo>
                  <a:cubicBezTo>
                    <a:pt x="214967" y="182904"/>
                    <a:pt x="210940" y="192126"/>
                    <a:pt x="207169" y="160073"/>
                  </a:cubicBezTo>
                  <a:cubicBezTo>
                    <a:pt x="206575" y="155024"/>
                    <a:pt x="204432" y="146929"/>
                    <a:pt x="200025" y="143404"/>
                  </a:cubicBezTo>
                  <a:cubicBezTo>
                    <a:pt x="198065" y="141836"/>
                    <a:pt x="195351" y="141472"/>
                    <a:pt x="192881" y="141023"/>
                  </a:cubicBezTo>
                  <a:cubicBezTo>
                    <a:pt x="186585" y="139878"/>
                    <a:pt x="180181" y="139435"/>
                    <a:pt x="173831" y="138641"/>
                  </a:cubicBezTo>
                  <a:cubicBezTo>
                    <a:pt x="173037" y="136260"/>
                    <a:pt x="171173" y="133992"/>
                    <a:pt x="171450" y="131498"/>
                  </a:cubicBezTo>
                  <a:cubicBezTo>
                    <a:pt x="172859" y="118818"/>
                    <a:pt x="174462" y="117530"/>
                    <a:pt x="183356" y="112448"/>
                  </a:cubicBezTo>
                  <a:cubicBezTo>
                    <a:pt x="186438" y="110687"/>
                    <a:pt x="189799" y="109446"/>
                    <a:pt x="192881" y="107685"/>
                  </a:cubicBezTo>
                  <a:cubicBezTo>
                    <a:pt x="206629" y="99829"/>
                    <a:pt x="193527" y="106390"/>
                    <a:pt x="207169" y="95779"/>
                  </a:cubicBezTo>
                  <a:cubicBezTo>
                    <a:pt x="211687" y="92265"/>
                    <a:pt x="216694" y="89429"/>
                    <a:pt x="221456" y="86254"/>
                  </a:cubicBezTo>
                  <a:lnTo>
                    <a:pt x="228600" y="81491"/>
                  </a:lnTo>
                  <a:cubicBezTo>
                    <a:pt x="230187" y="79110"/>
                    <a:pt x="231208" y="76232"/>
                    <a:pt x="233362" y="74348"/>
                  </a:cubicBezTo>
                  <a:cubicBezTo>
                    <a:pt x="237670" y="70579"/>
                    <a:pt x="247650" y="64823"/>
                    <a:pt x="247650" y="64823"/>
                  </a:cubicBezTo>
                  <a:cubicBezTo>
                    <a:pt x="248444" y="62442"/>
                    <a:pt x="248908" y="59924"/>
                    <a:pt x="250031" y="57679"/>
                  </a:cubicBezTo>
                  <a:cubicBezTo>
                    <a:pt x="254348" y="49046"/>
                    <a:pt x="259556" y="48537"/>
                    <a:pt x="259556" y="36248"/>
                  </a:cubicBezTo>
                  <a:lnTo>
                    <a:pt x="261937" y="529"/>
                  </a:ln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08" name="Freeform 107"/>
            <p:cNvSpPr/>
            <p:nvPr/>
          </p:nvSpPr>
          <p:spPr bwMode="gray">
            <a:xfrm>
              <a:off x="6044401" y="3600450"/>
              <a:ext cx="1855788" cy="2446338"/>
            </a:xfrm>
            <a:custGeom>
              <a:avLst/>
              <a:gdLst>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65900 w 1293444"/>
                <a:gd name="connsiteY51" fmla="*/ 454025 h 1704975"/>
                <a:gd name="connsiteX52" fmla="*/ 1207175 w 1293444"/>
                <a:gd name="connsiteY52" fmla="*/ 457200 h 1704975"/>
                <a:gd name="connsiteX53" fmla="*/ 1216700 w 1293444"/>
                <a:gd name="connsiteY53" fmla="*/ 463550 h 1704975"/>
                <a:gd name="connsiteX54" fmla="*/ 1270675 w 1293444"/>
                <a:gd name="connsiteY54" fmla="*/ 469900 h 1704975"/>
                <a:gd name="connsiteX55" fmla="*/ 1277025 w 1293444"/>
                <a:gd name="connsiteY55" fmla="*/ 479425 h 1704975"/>
                <a:gd name="connsiteX56" fmla="*/ 1273850 w 1293444"/>
                <a:gd name="connsiteY56" fmla="*/ 488950 h 1704975"/>
                <a:gd name="connsiteX57" fmla="*/ 1270675 w 1293444"/>
                <a:gd name="connsiteY57" fmla="*/ 511175 h 1704975"/>
                <a:gd name="connsiteX58" fmla="*/ 1264325 w 1293444"/>
                <a:gd name="connsiteY58" fmla="*/ 530225 h 1704975"/>
                <a:gd name="connsiteX59" fmla="*/ 1261150 w 1293444"/>
                <a:gd name="connsiteY59" fmla="*/ 539750 h 1704975"/>
                <a:gd name="connsiteX60" fmla="*/ 1254800 w 1293444"/>
                <a:gd name="connsiteY60" fmla="*/ 571500 h 1704975"/>
                <a:gd name="connsiteX61" fmla="*/ 1254800 w 1293444"/>
                <a:gd name="connsiteY61" fmla="*/ 692150 h 1704975"/>
                <a:gd name="connsiteX62" fmla="*/ 1257975 w 1293444"/>
                <a:gd name="connsiteY62" fmla="*/ 714375 h 1704975"/>
                <a:gd name="connsiteX63" fmla="*/ 1261150 w 1293444"/>
                <a:gd name="connsiteY63" fmla="*/ 723900 h 1704975"/>
                <a:gd name="connsiteX64" fmla="*/ 1273850 w 1293444"/>
                <a:gd name="connsiteY64" fmla="*/ 727075 h 1704975"/>
                <a:gd name="connsiteX65" fmla="*/ 1292900 w 1293444"/>
                <a:gd name="connsiteY65" fmla="*/ 739775 h 1704975"/>
                <a:gd name="connsiteX66" fmla="*/ 1289725 w 1293444"/>
                <a:gd name="connsiteY66" fmla="*/ 784225 h 1704975"/>
                <a:gd name="connsiteX67" fmla="*/ 1273850 w 1293444"/>
                <a:gd name="connsiteY67" fmla="*/ 800100 h 1704975"/>
                <a:gd name="connsiteX68" fmla="*/ 1264325 w 1293444"/>
                <a:gd name="connsiteY68" fmla="*/ 809625 h 1704975"/>
                <a:gd name="connsiteX69" fmla="*/ 1219875 w 1293444"/>
                <a:gd name="connsiteY69" fmla="*/ 819150 h 1704975"/>
                <a:gd name="connsiteX70" fmla="*/ 1200825 w 1293444"/>
                <a:gd name="connsiteY70" fmla="*/ 825500 h 1704975"/>
                <a:gd name="connsiteX71" fmla="*/ 1181775 w 1293444"/>
                <a:gd name="connsiteY71" fmla="*/ 838200 h 1704975"/>
                <a:gd name="connsiteX72" fmla="*/ 1172250 w 1293444"/>
                <a:gd name="connsiteY72" fmla="*/ 844550 h 1704975"/>
                <a:gd name="connsiteX73" fmla="*/ 1153200 w 1293444"/>
                <a:gd name="connsiteY73" fmla="*/ 850900 h 1704975"/>
                <a:gd name="connsiteX74" fmla="*/ 1140500 w 1293444"/>
                <a:gd name="connsiteY74" fmla="*/ 857250 h 1704975"/>
                <a:gd name="connsiteX75" fmla="*/ 1130975 w 1293444"/>
                <a:gd name="connsiteY75" fmla="*/ 863600 h 1704975"/>
                <a:gd name="connsiteX76" fmla="*/ 1105575 w 1293444"/>
                <a:gd name="connsiteY76" fmla="*/ 866775 h 1704975"/>
                <a:gd name="connsiteX77" fmla="*/ 1086525 w 1293444"/>
                <a:gd name="connsiteY77" fmla="*/ 873125 h 1704975"/>
                <a:gd name="connsiteX78" fmla="*/ 1077000 w 1293444"/>
                <a:gd name="connsiteY78" fmla="*/ 879475 h 1704975"/>
                <a:gd name="connsiteX79" fmla="*/ 1057950 w 1293444"/>
                <a:gd name="connsiteY79" fmla="*/ 885825 h 1704975"/>
                <a:gd name="connsiteX80" fmla="*/ 1048425 w 1293444"/>
                <a:gd name="connsiteY80" fmla="*/ 889000 h 1704975"/>
                <a:gd name="connsiteX81" fmla="*/ 1029375 w 1293444"/>
                <a:gd name="connsiteY81" fmla="*/ 908050 h 1704975"/>
                <a:gd name="connsiteX82" fmla="*/ 1010325 w 1293444"/>
                <a:gd name="connsiteY82" fmla="*/ 914400 h 1704975"/>
                <a:gd name="connsiteX83" fmla="*/ 1003975 w 1293444"/>
                <a:gd name="connsiteY83" fmla="*/ 923925 h 1704975"/>
                <a:gd name="connsiteX84" fmla="*/ 994450 w 1293444"/>
                <a:gd name="connsiteY84" fmla="*/ 933450 h 1704975"/>
                <a:gd name="connsiteX85" fmla="*/ 991275 w 1293444"/>
                <a:gd name="connsiteY85" fmla="*/ 942975 h 1704975"/>
                <a:gd name="connsiteX86" fmla="*/ 988100 w 1293444"/>
                <a:gd name="connsiteY86" fmla="*/ 962025 h 1704975"/>
                <a:gd name="connsiteX87" fmla="*/ 969050 w 1293444"/>
                <a:gd name="connsiteY87" fmla="*/ 968375 h 1704975"/>
                <a:gd name="connsiteX88" fmla="*/ 950000 w 1293444"/>
                <a:gd name="connsiteY88" fmla="*/ 981075 h 1704975"/>
                <a:gd name="connsiteX89" fmla="*/ 940475 w 1293444"/>
                <a:gd name="connsiteY89" fmla="*/ 987425 h 1704975"/>
                <a:gd name="connsiteX90" fmla="*/ 930950 w 1293444"/>
                <a:gd name="connsiteY90" fmla="*/ 1006475 h 1704975"/>
                <a:gd name="connsiteX91" fmla="*/ 924600 w 1293444"/>
                <a:gd name="connsiteY91" fmla="*/ 1016000 h 1704975"/>
                <a:gd name="connsiteX92" fmla="*/ 921425 w 1293444"/>
                <a:gd name="connsiteY92" fmla="*/ 1025525 h 1704975"/>
                <a:gd name="connsiteX93" fmla="*/ 905550 w 1293444"/>
                <a:gd name="connsiteY93" fmla="*/ 1044575 h 1704975"/>
                <a:gd name="connsiteX94" fmla="*/ 896025 w 1293444"/>
                <a:gd name="connsiteY94" fmla="*/ 1063625 h 1704975"/>
                <a:gd name="connsiteX95" fmla="*/ 867450 w 1293444"/>
                <a:gd name="connsiteY95" fmla="*/ 1085850 h 1704975"/>
                <a:gd name="connsiteX96" fmla="*/ 848400 w 1293444"/>
                <a:gd name="connsiteY96" fmla="*/ 1095375 h 1704975"/>
                <a:gd name="connsiteX97" fmla="*/ 813475 w 1293444"/>
                <a:gd name="connsiteY97" fmla="*/ 1092200 h 1704975"/>
                <a:gd name="connsiteX98" fmla="*/ 772200 w 1293444"/>
                <a:gd name="connsiteY98" fmla="*/ 1098550 h 1704975"/>
                <a:gd name="connsiteX99" fmla="*/ 759500 w 1293444"/>
                <a:gd name="connsiteY99" fmla="*/ 1127125 h 1704975"/>
                <a:gd name="connsiteX100" fmla="*/ 756325 w 1293444"/>
                <a:gd name="connsiteY100" fmla="*/ 1136650 h 1704975"/>
                <a:gd name="connsiteX101" fmla="*/ 740450 w 1293444"/>
                <a:gd name="connsiteY101" fmla="*/ 1155700 h 1704975"/>
                <a:gd name="connsiteX102" fmla="*/ 718225 w 1293444"/>
                <a:gd name="connsiteY102" fmla="*/ 1181100 h 1704975"/>
                <a:gd name="connsiteX103" fmla="*/ 721400 w 1293444"/>
                <a:gd name="connsiteY103" fmla="*/ 1238250 h 1704975"/>
                <a:gd name="connsiteX104" fmla="*/ 727750 w 1293444"/>
                <a:gd name="connsiteY104" fmla="*/ 1247775 h 1704975"/>
                <a:gd name="connsiteX105" fmla="*/ 730925 w 1293444"/>
                <a:gd name="connsiteY105" fmla="*/ 1257300 h 1704975"/>
                <a:gd name="connsiteX106" fmla="*/ 740450 w 1293444"/>
                <a:gd name="connsiteY106" fmla="*/ 1276350 h 1704975"/>
                <a:gd name="connsiteX107" fmla="*/ 743625 w 1293444"/>
                <a:gd name="connsiteY107" fmla="*/ 1320800 h 1704975"/>
                <a:gd name="connsiteX108" fmla="*/ 746800 w 1293444"/>
                <a:gd name="connsiteY108" fmla="*/ 1330325 h 1704975"/>
                <a:gd name="connsiteX109" fmla="*/ 756325 w 1293444"/>
                <a:gd name="connsiteY109" fmla="*/ 1336675 h 1704975"/>
                <a:gd name="connsiteX110" fmla="*/ 762675 w 1293444"/>
                <a:gd name="connsiteY110" fmla="*/ 1346200 h 1704975"/>
                <a:gd name="connsiteX111" fmla="*/ 769025 w 1293444"/>
                <a:gd name="connsiteY111" fmla="*/ 1393825 h 1704975"/>
                <a:gd name="connsiteX112" fmla="*/ 775375 w 1293444"/>
                <a:gd name="connsiteY112" fmla="*/ 1412875 h 1704975"/>
                <a:gd name="connsiteX113" fmla="*/ 781725 w 1293444"/>
                <a:gd name="connsiteY113" fmla="*/ 1435100 h 1704975"/>
                <a:gd name="connsiteX114" fmla="*/ 772200 w 1293444"/>
                <a:gd name="connsiteY114" fmla="*/ 1460500 h 1704975"/>
                <a:gd name="connsiteX115" fmla="*/ 762675 w 1293444"/>
                <a:gd name="connsiteY115" fmla="*/ 1466850 h 1704975"/>
                <a:gd name="connsiteX116" fmla="*/ 753150 w 1293444"/>
                <a:gd name="connsiteY116" fmla="*/ 1485900 h 1704975"/>
                <a:gd name="connsiteX117" fmla="*/ 749975 w 1293444"/>
                <a:gd name="connsiteY117" fmla="*/ 1514475 h 1704975"/>
                <a:gd name="connsiteX118" fmla="*/ 740450 w 1293444"/>
                <a:gd name="connsiteY118" fmla="*/ 1520825 h 1704975"/>
                <a:gd name="connsiteX119" fmla="*/ 730925 w 1293444"/>
                <a:gd name="connsiteY119" fmla="*/ 1530350 h 1704975"/>
                <a:gd name="connsiteX120" fmla="*/ 718225 w 1293444"/>
                <a:gd name="connsiteY120" fmla="*/ 1549400 h 1704975"/>
                <a:gd name="connsiteX121" fmla="*/ 711875 w 1293444"/>
                <a:gd name="connsiteY121" fmla="*/ 1558925 h 1704975"/>
                <a:gd name="connsiteX122" fmla="*/ 702350 w 1293444"/>
                <a:gd name="connsiteY122" fmla="*/ 1568450 h 1704975"/>
                <a:gd name="connsiteX123" fmla="*/ 699175 w 1293444"/>
                <a:gd name="connsiteY123" fmla="*/ 1577975 h 1704975"/>
                <a:gd name="connsiteX124" fmla="*/ 686475 w 1293444"/>
                <a:gd name="connsiteY124" fmla="*/ 1597025 h 1704975"/>
                <a:gd name="connsiteX125" fmla="*/ 676950 w 1293444"/>
                <a:gd name="connsiteY125" fmla="*/ 1616075 h 1704975"/>
                <a:gd name="connsiteX126" fmla="*/ 667425 w 1293444"/>
                <a:gd name="connsiteY126" fmla="*/ 1619250 h 1704975"/>
                <a:gd name="connsiteX127" fmla="*/ 648375 w 1293444"/>
                <a:gd name="connsiteY127" fmla="*/ 1631950 h 1704975"/>
                <a:gd name="connsiteX128" fmla="*/ 638850 w 1293444"/>
                <a:gd name="connsiteY128" fmla="*/ 1638300 h 1704975"/>
                <a:gd name="connsiteX129" fmla="*/ 607100 w 1293444"/>
                <a:gd name="connsiteY129" fmla="*/ 1676400 h 1704975"/>
                <a:gd name="connsiteX130" fmla="*/ 556300 w 1293444"/>
                <a:gd name="connsiteY130" fmla="*/ 1679575 h 1704975"/>
                <a:gd name="connsiteX131" fmla="*/ 537250 w 1293444"/>
                <a:gd name="connsiteY131" fmla="*/ 1685925 h 1704975"/>
                <a:gd name="connsiteX132" fmla="*/ 515025 w 1293444"/>
                <a:gd name="connsiteY132" fmla="*/ 1698625 h 1704975"/>
                <a:gd name="connsiteX133" fmla="*/ 495975 w 1293444"/>
                <a:gd name="connsiteY133" fmla="*/ 1704975 h 1704975"/>
                <a:gd name="connsiteX134" fmla="*/ 476925 w 1293444"/>
                <a:gd name="connsiteY134" fmla="*/ 1701800 h 1704975"/>
                <a:gd name="connsiteX135" fmla="*/ 470575 w 1293444"/>
                <a:gd name="connsiteY135" fmla="*/ 1692275 h 1704975"/>
                <a:gd name="connsiteX136" fmla="*/ 467400 w 1293444"/>
                <a:gd name="connsiteY136" fmla="*/ 1660525 h 1704975"/>
                <a:gd name="connsiteX137" fmla="*/ 457875 w 1293444"/>
                <a:gd name="connsiteY137" fmla="*/ 1641475 h 1704975"/>
                <a:gd name="connsiteX138" fmla="*/ 448350 w 1293444"/>
                <a:gd name="connsiteY138" fmla="*/ 1635125 h 1704975"/>
                <a:gd name="connsiteX139" fmla="*/ 445175 w 1293444"/>
                <a:gd name="connsiteY139" fmla="*/ 1625600 h 1704975"/>
                <a:gd name="connsiteX140" fmla="*/ 435650 w 1293444"/>
                <a:gd name="connsiteY140" fmla="*/ 1606550 h 1704975"/>
                <a:gd name="connsiteX141" fmla="*/ 432475 w 1293444"/>
                <a:gd name="connsiteY141" fmla="*/ 1495425 h 1704975"/>
                <a:gd name="connsiteX142" fmla="*/ 429300 w 1293444"/>
                <a:gd name="connsiteY142" fmla="*/ 1485900 h 1704975"/>
                <a:gd name="connsiteX143" fmla="*/ 426125 w 1293444"/>
                <a:gd name="connsiteY143" fmla="*/ 1473200 h 1704975"/>
                <a:gd name="connsiteX144" fmla="*/ 419775 w 1293444"/>
                <a:gd name="connsiteY144" fmla="*/ 1463675 h 1704975"/>
                <a:gd name="connsiteX145" fmla="*/ 416600 w 1293444"/>
                <a:gd name="connsiteY145" fmla="*/ 1454150 h 1704975"/>
                <a:gd name="connsiteX146" fmla="*/ 403900 w 1293444"/>
                <a:gd name="connsiteY146" fmla="*/ 1435100 h 1704975"/>
                <a:gd name="connsiteX147" fmla="*/ 397550 w 1293444"/>
                <a:gd name="connsiteY147" fmla="*/ 1416050 h 1704975"/>
                <a:gd name="connsiteX148" fmla="*/ 394375 w 1293444"/>
                <a:gd name="connsiteY148" fmla="*/ 1381125 h 1704975"/>
                <a:gd name="connsiteX149" fmla="*/ 391200 w 1293444"/>
                <a:gd name="connsiteY149" fmla="*/ 1368425 h 1704975"/>
                <a:gd name="connsiteX150" fmla="*/ 388025 w 1293444"/>
                <a:gd name="connsiteY150" fmla="*/ 1352550 h 1704975"/>
                <a:gd name="connsiteX151" fmla="*/ 381675 w 1293444"/>
                <a:gd name="connsiteY151" fmla="*/ 1333500 h 1704975"/>
                <a:gd name="connsiteX152" fmla="*/ 378500 w 1293444"/>
                <a:gd name="connsiteY152" fmla="*/ 1323975 h 1704975"/>
                <a:gd name="connsiteX153" fmla="*/ 375325 w 1293444"/>
                <a:gd name="connsiteY153" fmla="*/ 1308100 h 1704975"/>
                <a:gd name="connsiteX154" fmla="*/ 368975 w 1293444"/>
                <a:gd name="connsiteY154" fmla="*/ 1289050 h 1704975"/>
                <a:gd name="connsiteX155" fmla="*/ 362625 w 1293444"/>
                <a:gd name="connsiteY155" fmla="*/ 1260475 h 1704975"/>
                <a:gd name="connsiteX156" fmla="*/ 359450 w 1293444"/>
                <a:gd name="connsiteY156" fmla="*/ 1231900 h 1704975"/>
                <a:gd name="connsiteX157" fmla="*/ 349925 w 1293444"/>
                <a:gd name="connsiteY157" fmla="*/ 1196975 h 1704975"/>
                <a:gd name="connsiteX158" fmla="*/ 340400 w 1293444"/>
                <a:gd name="connsiteY158" fmla="*/ 1155700 h 1704975"/>
                <a:gd name="connsiteX159" fmla="*/ 334050 w 1293444"/>
                <a:gd name="connsiteY159" fmla="*/ 1130300 h 1704975"/>
                <a:gd name="connsiteX160" fmla="*/ 327700 w 1293444"/>
                <a:gd name="connsiteY160" fmla="*/ 1104900 h 1704975"/>
                <a:gd name="connsiteX161" fmla="*/ 324525 w 1293444"/>
                <a:gd name="connsiteY161" fmla="*/ 1092200 h 1704975"/>
                <a:gd name="connsiteX162" fmla="*/ 318175 w 1293444"/>
                <a:gd name="connsiteY162" fmla="*/ 1050925 h 1704975"/>
                <a:gd name="connsiteX163" fmla="*/ 315000 w 1293444"/>
                <a:gd name="connsiteY163" fmla="*/ 1031875 h 1704975"/>
                <a:gd name="connsiteX164" fmla="*/ 311825 w 1293444"/>
                <a:gd name="connsiteY164" fmla="*/ 1022350 h 1704975"/>
                <a:gd name="connsiteX165" fmla="*/ 308650 w 1293444"/>
                <a:gd name="connsiteY165" fmla="*/ 1006475 h 1704975"/>
                <a:gd name="connsiteX166" fmla="*/ 302300 w 1293444"/>
                <a:gd name="connsiteY166" fmla="*/ 987425 h 1704975"/>
                <a:gd name="connsiteX167" fmla="*/ 299125 w 1293444"/>
                <a:gd name="connsiteY167" fmla="*/ 974725 h 1704975"/>
                <a:gd name="connsiteX168" fmla="*/ 292775 w 1293444"/>
                <a:gd name="connsiteY168" fmla="*/ 955675 h 1704975"/>
                <a:gd name="connsiteX169" fmla="*/ 289600 w 1293444"/>
                <a:gd name="connsiteY169" fmla="*/ 946150 h 1704975"/>
                <a:gd name="connsiteX170" fmla="*/ 280075 w 1293444"/>
                <a:gd name="connsiteY170" fmla="*/ 923925 h 1704975"/>
                <a:gd name="connsiteX171" fmla="*/ 261025 w 1293444"/>
                <a:gd name="connsiteY171" fmla="*/ 908050 h 1704975"/>
                <a:gd name="connsiteX172" fmla="*/ 241975 w 1293444"/>
                <a:gd name="connsiteY172" fmla="*/ 901700 h 1704975"/>
                <a:gd name="connsiteX173" fmla="*/ 222925 w 1293444"/>
                <a:gd name="connsiteY173" fmla="*/ 889000 h 1704975"/>
                <a:gd name="connsiteX174" fmla="*/ 213400 w 1293444"/>
                <a:gd name="connsiteY174" fmla="*/ 885825 h 1704975"/>
                <a:gd name="connsiteX175" fmla="*/ 194350 w 1293444"/>
                <a:gd name="connsiteY175" fmla="*/ 873125 h 1704975"/>
                <a:gd name="connsiteX176" fmla="*/ 175300 w 1293444"/>
                <a:gd name="connsiteY176" fmla="*/ 860425 h 1704975"/>
                <a:gd name="connsiteX177" fmla="*/ 162600 w 1293444"/>
                <a:gd name="connsiteY177" fmla="*/ 850900 h 1704975"/>
                <a:gd name="connsiteX178" fmla="*/ 153075 w 1293444"/>
                <a:gd name="connsiteY178" fmla="*/ 847725 h 1704975"/>
                <a:gd name="connsiteX179" fmla="*/ 134025 w 1293444"/>
                <a:gd name="connsiteY179" fmla="*/ 835025 h 1704975"/>
                <a:gd name="connsiteX180" fmla="*/ 114975 w 1293444"/>
                <a:gd name="connsiteY180" fmla="*/ 822325 h 1704975"/>
                <a:gd name="connsiteX181" fmla="*/ 105450 w 1293444"/>
                <a:gd name="connsiteY181" fmla="*/ 815975 h 1704975"/>
                <a:gd name="connsiteX182" fmla="*/ 95925 w 1293444"/>
                <a:gd name="connsiteY182" fmla="*/ 812800 h 1704975"/>
                <a:gd name="connsiteX183" fmla="*/ 64175 w 1293444"/>
                <a:gd name="connsiteY183" fmla="*/ 790575 h 1704975"/>
                <a:gd name="connsiteX184" fmla="*/ 54650 w 1293444"/>
                <a:gd name="connsiteY184" fmla="*/ 787400 h 1704975"/>
                <a:gd name="connsiteX185" fmla="*/ 38775 w 1293444"/>
                <a:gd name="connsiteY185" fmla="*/ 771525 h 1704975"/>
                <a:gd name="connsiteX186" fmla="*/ 29250 w 1293444"/>
                <a:gd name="connsiteY186" fmla="*/ 762000 h 1704975"/>
                <a:gd name="connsiteX187" fmla="*/ 19725 w 1293444"/>
                <a:gd name="connsiteY187" fmla="*/ 758825 h 1704975"/>
                <a:gd name="connsiteX188" fmla="*/ 675 w 1293444"/>
                <a:gd name="connsiteY188" fmla="*/ 746125 h 1704975"/>
                <a:gd name="connsiteX189" fmla="*/ 51475 w 1293444"/>
                <a:gd name="connsiteY189" fmla="*/ 739775 h 1704975"/>
                <a:gd name="connsiteX190" fmla="*/ 67350 w 1293444"/>
                <a:gd name="connsiteY190" fmla="*/ 736600 h 1704975"/>
                <a:gd name="connsiteX191" fmla="*/ 102275 w 1293444"/>
                <a:gd name="connsiteY191" fmla="*/ 733425 h 1704975"/>
                <a:gd name="connsiteX192" fmla="*/ 130850 w 1293444"/>
                <a:gd name="connsiteY192" fmla="*/ 727075 h 1704975"/>
                <a:gd name="connsiteX193" fmla="*/ 149900 w 1293444"/>
                <a:gd name="connsiteY193" fmla="*/ 723900 h 1704975"/>
                <a:gd name="connsiteX194" fmla="*/ 159425 w 1293444"/>
                <a:gd name="connsiteY194" fmla="*/ 720725 h 1704975"/>
                <a:gd name="connsiteX195" fmla="*/ 175300 w 1293444"/>
                <a:gd name="connsiteY195" fmla="*/ 717550 h 1704975"/>
                <a:gd name="connsiteX196" fmla="*/ 194350 w 1293444"/>
                <a:gd name="connsiteY196" fmla="*/ 711200 h 1704975"/>
                <a:gd name="connsiteX197" fmla="*/ 222925 w 1293444"/>
                <a:gd name="connsiteY197" fmla="*/ 701675 h 1704975"/>
                <a:gd name="connsiteX198" fmla="*/ 232450 w 1293444"/>
                <a:gd name="connsiteY198" fmla="*/ 698500 h 1704975"/>
                <a:gd name="connsiteX199" fmla="*/ 241975 w 1293444"/>
                <a:gd name="connsiteY199" fmla="*/ 695325 h 1704975"/>
                <a:gd name="connsiteX200" fmla="*/ 381675 w 1293444"/>
                <a:gd name="connsiteY200" fmla="*/ 688975 h 1704975"/>
                <a:gd name="connsiteX201" fmla="*/ 397550 w 1293444"/>
                <a:gd name="connsiteY201" fmla="*/ 685800 h 1704975"/>
                <a:gd name="connsiteX202" fmla="*/ 407075 w 1293444"/>
                <a:gd name="connsiteY202" fmla="*/ 682625 h 1704975"/>
                <a:gd name="connsiteX203" fmla="*/ 419775 w 1293444"/>
                <a:gd name="connsiteY203" fmla="*/ 679450 h 1704975"/>
                <a:gd name="connsiteX204" fmla="*/ 438825 w 1293444"/>
                <a:gd name="connsiteY204" fmla="*/ 673100 h 1704975"/>
                <a:gd name="connsiteX205" fmla="*/ 467400 w 1293444"/>
                <a:gd name="connsiteY205" fmla="*/ 663575 h 1704975"/>
                <a:gd name="connsiteX206" fmla="*/ 495975 w 1293444"/>
                <a:gd name="connsiteY206" fmla="*/ 654050 h 1704975"/>
                <a:gd name="connsiteX207" fmla="*/ 505500 w 1293444"/>
                <a:gd name="connsiteY207" fmla="*/ 650875 h 1704975"/>
                <a:gd name="connsiteX208" fmla="*/ 527725 w 1293444"/>
                <a:gd name="connsiteY208" fmla="*/ 641350 h 1704975"/>
                <a:gd name="connsiteX209" fmla="*/ 537250 w 1293444"/>
                <a:gd name="connsiteY209" fmla="*/ 635000 h 1704975"/>
                <a:gd name="connsiteX210" fmla="*/ 546775 w 1293444"/>
                <a:gd name="connsiteY210" fmla="*/ 631825 h 1704975"/>
                <a:gd name="connsiteX211" fmla="*/ 559475 w 1293444"/>
                <a:gd name="connsiteY211" fmla="*/ 625475 h 1704975"/>
                <a:gd name="connsiteX212" fmla="*/ 578525 w 1293444"/>
                <a:gd name="connsiteY212" fmla="*/ 657225 h 1704975"/>
                <a:gd name="connsiteX213" fmla="*/ 588050 w 1293444"/>
                <a:gd name="connsiteY213" fmla="*/ 660400 h 1704975"/>
                <a:gd name="connsiteX214" fmla="*/ 607100 w 1293444"/>
                <a:gd name="connsiteY214" fmla="*/ 673100 h 1704975"/>
                <a:gd name="connsiteX215" fmla="*/ 626150 w 1293444"/>
                <a:gd name="connsiteY215" fmla="*/ 679450 h 1704975"/>
                <a:gd name="connsiteX216" fmla="*/ 635675 w 1293444"/>
                <a:gd name="connsiteY216" fmla="*/ 685800 h 1704975"/>
                <a:gd name="connsiteX217" fmla="*/ 654725 w 1293444"/>
                <a:gd name="connsiteY217" fmla="*/ 692150 h 1704975"/>
                <a:gd name="connsiteX218" fmla="*/ 645200 w 1293444"/>
                <a:gd name="connsiteY218" fmla="*/ 682625 h 1704975"/>
                <a:gd name="connsiteX219" fmla="*/ 635675 w 1293444"/>
                <a:gd name="connsiteY219" fmla="*/ 676275 h 1704975"/>
                <a:gd name="connsiteX220" fmla="*/ 632500 w 1293444"/>
                <a:gd name="connsiteY220" fmla="*/ 666750 h 1704975"/>
                <a:gd name="connsiteX221" fmla="*/ 635675 w 1293444"/>
                <a:gd name="connsiteY221" fmla="*/ 590550 h 1704975"/>
                <a:gd name="connsiteX222" fmla="*/ 642025 w 1293444"/>
                <a:gd name="connsiteY222" fmla="*/ 571500 h 1704975"/>
                <a:gd name="connsiteX223" fmla="*/ 648375 w 1293444"/>
                <a:gd name="connsiteY223" fmla="*/ 561975 h 1704975"/>
                <a:gd name="connsiteX224" fmla="*/ 638850 w 1293444"/>
                <a:gd name="connsiteY224" fmla="*/ 536575 h 1704975"/>
                <a:gd name="connsiteX225" fmla="*/ 629325 w 1293444"/>
                <a:gd name="connsiteY225" fmla="*/ 533400 h 1704975"/>
                <a:gd name="connsiteX226" fmla="*/ 626150 w 1293444"/>
                <a:gd name="connsiteY226" fmla="*/ 523875 h 1704975"/>
                <a:gd name="connsiteX227" fmla="*/ 632500 w 1293444"/>
                <a:gd name="connsiteY227" fmla="*/ 498475 h 1704975"/>
                <a:gd name="connsiteX228" fmla="*/ 635675 w 1293444"/>
                <a:gd name="connsiteY228" fmla="*/ 485775 h 1704975"/>
                <a:gd name="connsiteX229" fmla="*/ 626150 w 1293444"/>
                <a:gd name="connsiteY229" fmla="*/ 463550 h 1704975"/>
                <a:gd name="connsiteX230" fmla="*/ 616625 w 1293444"/>
                <a:gd name="connsiteY230" fmla="*/ 460375 h 1704975"/>
                <a:gd name="connsiteX231" fmla="*/ 607100 w 1293444"/>
                <a:gd name="connsiteY231" fmla="*/ 454025 h 1704975"/>
                <a:gd name="connsiteX232" fmla="*/ 591225 w 1293444"/>
                <a:gd name="connsiteY232" fmla="*/ 450850 h 1704975"/>
                <a:gd name="connsiteX233" fmla="*/ 569000 w 1293444"/>
                <a:gd name="connsiteY233" fmla="*/ 441325 h 1704975"/>
                <a:gd name="connsiteX234" fmla="*/ 546775 w 1293444"/>
                <a:gd name="connsiteY234" fmla="*/ 415925 h 1704975"/>
                <a:gd name="connsiteX235" fmla="*/ 540425 w 1293444"/>
                <a:gd name="connsiteY235" fmla="*/ 406400 h 1704975"/>
                <a:gd name="connsiteX236" fmla="*/ 530900 w 1293444"/>
                <a:gd name="connsiteY236" fmla="*/ 400050 h 1704975"/>
                <a:gd name="connsiteX237" fmla="*/ 508675 w 1293444"/>
                <a:gd name="connsiteY237" fmla="*/ 374650 h 1704975"/>
                <a:gd name="connsiteX238" fmla="*/ 502325 w 1293444"/>
                <a:gd name="connsiteY238" fmla="*/ 365125 h 1704975"/>
                <a:gd name="connsiteX239" fmla="*/ 483275 w 1293444"/>
                <a:gd name="connsiteY239" fmla="*/ 346075 h 1704975"/>
                <a:gd name="connsiteX240" fmla="*/ 486450 w 1293444"/>
                <a:gd name="connsiteY240" fmla="*/ 333375 h 1704975"/>
                <a:gd name="connsiteX241" fmla="*/ 492800 w 1293444"/>
                <a:gd name="connsiteY241" fmla="*/ 314325 h 1704975"/>
                <a:gd name="connsiteX242" fmla="*/ 489625 w 1293444"/>
                <a:gd name="connsiteY242" fmla="*/ 292100 h 1704975"/>
                <a:gd name="connsiteX243" fmla="*/ 461050 w 1293444"/>
                <a:gd name="connsiteY243" fmla="*/ 266700 h 1704975"/>
                <a:gd name="connsiteX244" fmla="*/ 435650 w 1293444"/>
                <a:gd name="connsiteY244" fmla="*/ 254000 h 1704975"/>
                <a:gd name="connsiteX245" fmla="*/ 413425 w 1293444"/>
                <a:gd name="connsiteY245" fmla="*/ 238125 h 1704975"/>
                <a:gd name="connsiteX246" fmla="*/ 403900 w 1293444"/>
                <a:gd name="connsiteY246" fmla="*/ 231775 h 1704975"/>
                <a:gd name="connsiteX247" fmla="*/ 388025 w 1293444"/>
                <a:gd name="connsiteY247" fmla="*/ 212725 h 1704975"/>
                <a:gd name="connsiteX248" fmla="*/ 372150 w 1293444"/>
                <a:gd name="connsiteY248" fmla="*/ 196850 h 1704975"/>
                <a:gd name="connsiteX249" fmla="*/ 365800 w 1293444"/>
                <a:gd name="connsiteY249" fmla="*/ 177800 h 1704975"/>
                <a:gd name="connsiteX250" fmla="*/ 359450 w 1293444"/>
                <a:gd name="connsiteY250" fmla="*/ 149225 h 1704975"/>
                <a:gd name="connsiteX251" fmla="*/ 362625 w 1293444"/>
                <a:gd name="connsiteY251" fmla="*/ 114300 h 1704975"/>
                <a:gd name="connsiteX252" fmla="*/ 368975 w 1293444"/>
                <a:gd name="connsiteY252" fmla="*/ 104775 h 1704975"/>
                <a:gd name="connsiteX253" fmla="*/ 375325 w 1293444"/>
                <a:gd name="connsiteY253"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48350 w 1293444"/>
                <a:gd name="connsiteY139" fmla="*/ 1635125 h 1704975"/>
                <a:gd name="connsiteX140" fmla="*/ 445175 w 1293444"/>
                <a:gd name="connsiteY140" fmla="*/ 1625600 h 1704975"/>
                <a:gd name="connsiteX141" fmla="*/ 435650 w 1293444"/>
                <a:gd name="connsiteY141" fmla="*/ 1606550 h 1704975"/>
                <a:gd name="connsiteX142" fmla="*/ 432475 w 1293444"/>
                <a:gd name="connsiteY142" fmla="*/ 1495425 h 1704975"/>
                <a:gd name="connsiteX143" fmla="*/ 429300 w 1293444"/>
                <a:gd name="connsiteY143" fmla="*/ 1485900 h 1704975"/>
                <a:gd name="connsiteX144" fmla="*/ 426125 w 1293444"/>
                <a:gd name="connsiteY144" fmla="*/ 1473200 h 1704975"/>
                <a:gd name="connsiteX145" fmla="*/ 419775 w 1293444"/>
                <a:gd name="connsiteY145" fmla="*/ 1463675 h 1704975"/>
                <a:gd name="connsiteX146" fmla="*/ 416600 w 1293444"/>
                <a:gd name="connsiteY146" fmla="*/ 1454150 h 1704975"/>
                <a:gd name="connsiteX147" fmla="*/ 403900 w 1293444"/>
                <a:gd name="connsiteY147" fmla="*/ 1435100 h 1704975"/>
                <a:gd name="connsiteX148" fmla="*/ 397550 w 1293444"/>
                <a:gd name="connsiteY148" fmla="*/ 1416050 h 1704975"/>
                <a:gd name="connsiteX149" fmla="*/ 394375 w 1293444"/>
                <a:gd name="connsiteY149" fmla="*/ 1381125 h 1704975"/>
                <a:gd name="connsiteX150" fmla="*/ 391200 w 1293444"/>
                <a:gd name="connsiteY150" fmla="*/ 1368425 h 1704975"/>
                <a:gd name="connsiteX151" fmla="*/ 388025 w 1293444"/>
                <a:gd name="connsiteY151" fmla="*/ 1352550 h 1704975"/>
                <a:gd name="connsiteX152" fmla="*/ 381675 w 1293444"/>
                <a:gd name="connsiteY152" fmla="*/ 1333500 h 1704975"/>
                <a:gd name="connsiteX153" fmla="*/ 378500 w 1293444"/>
                <a:gd name="connsiteY153" fmla="*/ 1323975 h 1704975"/>
                <a:gd name="connsiteX154" fmla="*/ 375325 w 1293444"/>
                <a:gd name="connsiteY154" fmla="*/ 1308100 h 1704975"/>
                <a:gd name="connsiteX155" fmla="*/ 368975 w 1293444"/>
                <a:gd name="connsiteY155" fmla="*/ 1289050 h 1704975"/>
                <a:gd name="connsiteX156" fmla="*/ 362625 w 1293444"/>
                <a:gd name="connsiteY156" fmla="*/ 1260475 h 1704975"/>
                <a:gd name="connsiteX157" fmla="*/ 359450 w 1293444"/>
                <a:gd name="connsiteY157" fmla="*/ 1231900 h 1704975"/>
                <a:gd name="connsiteX158" fmla="*/ 349925 w 1293444"/>
                <a:gd name="connsiteY158" fmla="*/ 1196975 h 1704975"/>
                <a:gd name="connsiteX159" fmla="*/ 340400 w 1293444"/>
                <a:gd name="connsiteY159" fmla="*/ 1155700 h 1704975"/>
                <a:gd name="connsiteX160" fmla="*/ 334050 w 1293444"/>
                <a:gd name="connsiteY160" fmla="*/ 1130300 h 1704975"/>
                <a:gd name="connsiteX161" fmla="*/ 327700 w 1293444"/>
                <a:gd name="connsiteY161" fmla="*/ 1104900 h 1704975"/>
                <a:gd name="connsiteX162" fmla="*/ 324525 w 1293444"/>
                <a:gd name="connsiteY162" fmla="*/ 1092200 h 1704975"/>
                <a:gd name="connsiteX163" fmla="*/ 318175 w 1293444"/>
                <a:gd name="connsiteY163" fmla="*/ 1050925 h 1704975"/>
                <a:gd name="connsiteX164" fmla="*/ 315000 w 1293444"/>
                <a:gd name="connsiteY164" fmla="*/ 1031875 h 1704975"/>
                <a:gd name="connsiteX165" fmla="*/ 311825 w 1293444"/>
                <a:gd name="connsiteY165" fmla="*/ 1022350 h 1704975"/>
                <a:gd name="connsiteX166" fmla="*/ 308650 w 1293444"/>
                <a:gd name="connsiteY166" fmla="*/ 1006475 h 1704975"/>
                <a:gd name="connsiteX167" fmla="*/ 302300 w 1293444"/>
                <a:gd name="connsiteY167" fmla="*/ 987425 h 1704975"/>
                <a:gd name="connsiteX168" fmla="*/ 299125 w 1293444"/>
                <a:gd name="connsiteY168" fmla="*/ 974725 h 1704975"/>
                <a:gd name="connsiteX169" fmla="*/ 292775 w 1293444"/>
                <a:gd name="connsiteY169" fmla="*/ 955675 h 1704975"/>
                <a:gd name="connsiteX170" fmla="*/ 289600 w 1293444"/>
                <a:gd name="connsiteY170" fmla="*/ 946150 h 1704975"/>
                <a:gd name="connsiteX171" fmla="*/ 280075 w 1293444"/>
                <a:gd name="connsiteY171" fmla="*/ 923925 h 1704975"/>
                <a:gd name="connsiteX172" fmla="*/ 261025 w 1293444"/>
                <a:gd name="connsiteY172" fmla="*/ 908050 h 1704975"/>
                <a:gd name="connsiteX173" fmla="*/ 241975 w 1293444"/>
                <a:gd name="connsiteY173" fmla="*/ 901700 h 1704975"/>
                <a:gd name="connsiteX174" fmla="*/ 222925 w 1293444"/>
                <a:gd name="connsiteY174" fmla="*/ 889000 h 1704975"/>
                <a:gd name="connsiteX175" fmla="*/ 213400 w 1293444"/>
                <a:gd name="connsiteY175" fmla="*/ 885825 h 1704975"/>
                <a:gd name="connsiteX176" fmla="*/ 194350 w 1293444"/>
                <a:gd name="connsiteY176" fmla="*/ 873125 h 1704975"/>
                <a:gd name="connsiteX177" fmla="*/ 175300 w 1293444"/>
                <a:gd name="connsiteY177" fmla="*/ 860425 h 1704975"/>
                <a:gd name="connsiteX178" fmla="*/ 162600 w 1293444"/>
                <a:gd name="connsiteY178" fmla="*/ 850900 h 1704975"/>
                <a:gd name="connsiteX179" fmla="*/ 153075 w 1293444"/>
                <a:gd name="connsiteY179" fmla="*/ 847725 h 1704975"/>
                <a:gd name="connsiteX180" fmla="*/ 134025 w 1293444"/>
                <a:gd name="connsiteY180" fmla="*/ 835025 h 1704975"/>
                <a:gd name="connsiteX181" fmla="*/ 114975 w 1293444"/>
                <a:gd name="connsiteY181" fmla="*/ 822325 h 1704975"/>
                <a:gd name="connsiteX182" fmla="*/ 105450 w 1293444"/>
                <a:gd name="connsiteY182" fmla="*/ 815975 h 1704975"/>
                <a:gd name="connsiteX183" fmla="*/ 95925 w 1293444"/>
                <a:gd name="connsiteY183" fmla="*/ 812800 h 1704975"/>
                <a:gd name="connsiteX184" fmla="*/ 64175 w 1293444"/>
                <a:gd name="connsiteY184" fmla="*/ 790575 h 1704975"/>
                <a:gd name="connsiteX185" fmla="*/ 54650 w 1293444"/>
                <a:gd name="connsiteY185" fmla="*/ 787400 h 1704975"/>
                <a:gd name="connsiteX186" fmla="*/ 38775 w 1293444"/>
                <a:gd name="connsiteY186" fmla="*/ 771525 h 1704975"/>
                <a:gd name="connsiteX187" fmla="*/ 29250 w 1293444"/>
                <a:gd name="connsiteY187" fmla="*/ 762000 h 1704975"/>
                <a:gd name="connsiteX188" fmla="*/ 19725 w 1293444"/>
                <a:gd name="connsiteY188" fmla="*/ 758825 h 1704975"/>
                <a:gd name="connsiteX189" fmla="*/ 675 w 1293444"/>
                <a:gd name="connsiteY189" fmla="*/ 746125 h 1704975"/>
                <a:gd name="connsiteX190" fmla="*/ 51475 w 1293444"/>
                <a:gd name="connsiteY190" fmla="*/ 739775 h 1704975"/>
                <a:gd name="connsiteX191" fmla="*/ 67350 w 1293444"/>
                <a:gd name="connsiteY191" fmla="*/ 736600 h 1704975"/>
                <a:gd name="connsiteX192" fmla="*/ 102275 w 1293444"/>
                <a:gd name="connsiteY192" fmla="*/ 733425 h 1704975"/>
                <a:gd name="connsiteX193" fmla="*/ 130850 w 1293444"/>
                <a:gd name="connsiteY193" fmla="*/ 727075 h 1704975"/>
                <a:gd name="connsiteX194" fmla="*/ 149900 w 1293444"/>
                <a:gd name="connsiteY194" fmla="*/ 723900 h 1704975"/>
                <a:gd name="connsiteX195" fmla="*/ 159425 w 1293444"/>
                <a:gd name="connsiteY195" fmla="*/ 720725 h 1704975"/>
                <a:gd name="connsiteX196" fmla="*/ 175300 w 1293444"/>
                <a:gd name="connsiteY196" fmla="*/ 717550 h 1704975"/>
                <a:gd name="connsiteX197" fmla="*/ 194350 w 1293444"/>
                <a:gd name="connsiteY197" fmla="*/ 711200 h 1704975"/>
                <a:gd name="connsiteX198" fmla="*/ 222925 w 1293444"/>
                <a:gd name="connsiteY198" fmla="*/ 701675 h 1704975"/>
                <a:gd name="connsiteX199" fmla="*/ 232450 w 1293444"/>
                <a:gd name="connsiteY199" fmla="*/ 698500 h 1704975"/>
                <a:gd name="connsiteX200" fmla="*/ 241975 w 1293444"/>
                <a:gd name="connsiteY200" fmla="*/ 695325 h 1704975"/>
                <a:gd name="connsiteX201" fmla="*/ 381675 w 1293444"/>
                <a:gd name="connsiteY201" fmla="*/ 688975 h 1704975"/>
                <a:gd name="connsiteX202" fmla="*/ 397550 w 1293444"/>
                <a:gd name="connsiteY202" fmla="*/ 685800 h 1704975"/>
                <a:gd name="connsiteX203" fmla="*/ 407075 w 1293444"/>
                <a:gd name="connsiteY203" fmla="*/ 682625 h 1704975"/>
                <a:gd name="connsiteX204" fmla="*/ 419775 w 1293444"/>
                <a:gd name="connsiteY204" fmla="*/ 679450 h 1704975"/>
                <a:gd name="connsiteX205" fmla="*/ 438825 w 1293444"/>
                <a:gd name="connsiteY205" fmla="*/ 673100 h 1704975"/>
                <a:gd name="connsiteX206" fmla="*/ 467400 w 1293444"/>
                <a:gd name="connsiteY206" fmla="*/ 663575 h 1704975"/>
                <a:gd name="connsiteX207" fmla="*/ 495975 w 1293444"/>
                <a:gd name="connsiteY207" fmla="*/ 654050 h 1704975"/>
                <a:gd name="connsiteX208" fmla="*/ 505500 w 1293444"/>
                <a:gd name="connsiteY208" fmla="*/ 650875 h 1704975"/>
                <a:gd name="connsiteX209" fmla="*/ 527725 w 1293444"/>
                <a:gd name="connsiteY209" fmla="*/ 641350 h 1704975"/>
                <a:gd name="connsiteX210" fmla="*/ 537250 w 1293444"/>
                <a:gd name="connsiteY210" fmla="*/ 635000 h 1704975"/>
                <a:gd name="connsiteX211" fmla="*/ 546775 w 1293444"/>
                <a:gd name="connsiteY211" fmla="*/ 631825 h 1704975"/>
                <a:gd name="connsiteX212" fmla="*/ 559475 w 1293444"/>
                <a:gd name="connsiteY212" fmla="*/ 625475 h 1704975"/>
                <a:gd name="connsiteX213" fmla="*/ 578525 w 1293444"/>
                <a:gd name="connsiteY213" fmla="*/ 657225 h 1704975"/>
                <a:gd name="connsiteX214" fmla="*/ 588050 w 1293444"/>
                <a:gd name="connsiteY214" fmla="*/ 660400 h 1704975"/>
                <a:gd name="connsiteX215" fmla="*/ 607100 w 1293444"/>
                <a:gd name="connsiteY215" fmla="*/ 673100 h 1704975"/>
                <a:gd name="connsiteX216" fmla="*/ 626150 w 1293444"/>
                <a:gd name="connsiteY216" fmla="*/ 679450 h 1704975"/>
                <a:gd name="connsiteX217" fmla="*/ 635675 w 1293444"/>
                <a:gd name="connsiteY217" fmla="*/ 685800 h 1704975"/>
                <a:gd name="connsiteX218" fmla="*/ 654725 w 1293444"/>
                <a:gd name="connsiteY218" fmla="*/ 692150 h 1704975"/>
                <a:gd name="connsiteX219" fmla="*/ 645200 w 1293444"/>
                <a:gd name="connsiteY219" fmla="*/ 682625 h 1704975"/>
                <a:gd name="connsiteX220" fmla="*/ 635675 w 1293444"/>
                <a:gd name="connsiteY220" fmla="*/ 676275 h 1704975"/>
                <a:gd name="connsiteX221" fmla="*/ 632500 w 1293444"/>
                <a:gd name="connsiteY221" fmla="*/ 666750 h 1704975"/>
                <a:gd name="connsiteX222" fmla="*/ 635675 w 1293444"/>
                <a:gd name="connsiteY222" fmla="*/ 590550 h 1704975"/>
                <a:gd name="connsiteX223" fmla="*/ 642025 w 1293444"/>
                <a:gd name="connsiteY223" fmla="*/ 571500 h 1704975"/>
                <a:gd name="connsiteX224" fmla="*/ 648375 w 1293444"/>
                <a:gd name="connsiteY224" fmla="*/ 561975 h 1704975"/>
                <a:gd name="connsiteX225" fmla="*/ 638850 w 1293444"/>
                <a:gd name="connsiteY225" fmla="*/ 536575 h 1704975"/>
                <a:gd name="connsiteX226" fmla="*/ 629325 w 1293444"/>
                <a:gd name="connsiteY226" fmla="*/ 533400 h 1704975"/>
                <a:gd name="connsiteX227" fmla="*/ 626150 w 1293444"/>
                <a:gd name="connsiteY227" fmla="*/ 523875 h 1704975"/>
                <a:gd name="connsiteX228" fmla="*/ 632500 w 1293444"/>
                <a:gd name="connsiteY228" fmla="*/ 498475 h 1704975"/>
                <a:gd name="connsiteX229" fmla="*/ 635675 w 1293444"/>
                <a:gd name="connsiteY229" fmla="*/ 485775 h 1704975"/>
                <a:gd name="connsiteX230" fmla="*/ 626150 w 1293444"/>
                <a:gd name="connsiteY230" fmla="*/ 463550 h 1704975"/>
                <a:gd name="connsiteX231" fmla="*/ 616625 w 1293444"/>
                <a:gd name="connsiteY231" fmla="*/ 460375 h 1704975"/>
                <a:gd name="connsiteX232" fmla="*/ 607100 w 1293444"/>
                <a:gd name="connsiteY232" fmla="*/ 454025 h 1704975"/>
                <a:gd name="connsiteX233" fmla="*/ 591225 w 1293444"/>
                <a:gd name="connsiteY233" fmla="*/ 450850 h 1704975"/>
                <a:gd name="connsiteX234" fmla="*/ 569000 w 1293444"/>
                <a:gd name="connsiteY234" fmla="*/ 441325 h 1704975"/>
                <a:gd name="connsiteX235" fmla="*/ 546775 w 1293444"/>
                <a:gd name="connsiteY235" fmla="*/ 415925 h 1704975"/>
                <a:gd name="connsiteX236" fmla="*/ 540425 w 1293444"/>
                <a:gd name="connsiteY236" fmla="*/ 406400 h 1704975"/>
                <a:gd name="connsiteX237" fmla="*/ 530900 w 1293444"/>
                <a:gd name="connsiteY237" fmla="*/ 400050 h 1704975"/>
                <a:gd name="connsiteX238" fmla="*/ 508675 w 1293444"/>
                <a:gd name="connsiteY238" fmla="*/ 374650 h 1704975"/>
                <a:gd name="connsiteX239" fmla="*/ 502325 w 1293444"/>
                <a:gd name="connsiteY239" fmla="*/ 365125 h 1704975"/>
                <a:gd name="connsiteX240" fmla="*/ 483275 w 1293444"/>
                <a:gd name="connsiteY240" fmla="*/ 346075 h 1704975"/>
                <a:gd name="connsiteX241" fmla="*/ 486450 w 1293444"/>
                <a:gd name="connsiteY241" fmla="*/ 333375 h 1704975"/>
                <a:gd name="connsiteX242" fmla="*/ 492800 w 1293444"/>
                <a:gd name="connsiteY242" fmla="*/ 314325 h 1704975"/>
                <a:gd name="connsiteX243" fmla="*/ 489625 w 1293444"/>
                <a:gd name="connsiteY243" fmla="*/ 292100 h 1704975"/>
                <a:gd name="connsiteX244" fmla="*/ 461050 w 1293444"/>
                <a:gd name="connsiteY244" fmla="*/ 266700 h 1704975"/>
                <a:gd name="connsiteX245" fmla="*/ 435650 w 1293444"/>
                <a:gd name="connsiteY245" fmla="*/ 254000 h 1704975"/>
                <a:gd name="connsiteX246" fmla="*/ 413425 w 1293444"/>
                <a:gd name="connsiteY246" fmla="*/ 238125 h 1704975"/>
                <a:gd name="connsiteX247" fmla="*/ 403900 w 1293444"/>
                <a:gd name="connsiteY247" fmla="*/ 231775 h 1704975"/>
                <a:gd name="connsiteX248" fmla="*/ 388025 w 1293444"/>
                <a:gd name="connsiteY248" fmla="*/ 212725 h 1704975"/>
                <a:gd name="connsiteX249" fmla="*/ 372150 w 1293444"/>
                <a:gd name="connsiteY249" fmla="*/ 196850 h 1704975"/>
                <a:gd name="connsiteX250" fmla="*/ 365800 w 1293444"/>
                <a:gd name="connsiteY250" fmla="*/ 177800 h 1704975"/>
                <a:gd name="connsiteX251" fmla="*/ 359450 w 1293444"/>
                <a:gd name="connsiteY251" fmla="*/ 149225 h 1704975"/>
                <a:gd name="connsiteX252" fmla="*/ 362625 w 1293444"/>
                <a:gd name="connsiteY252" fmla="*/ 114300 h 1704975"/>
                <a:gd name="connsiteX253" fmla="*/ 368975 w 1293444"/>
                <a:gd name="connsiteY253" fmla="*/ 104775 h 1704975"/>
                <a:gd name="connsiteX254" fmla="*/ 375325 w 1293444"/>
                <a:gd name="connsiteY254"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65900 w 1293444"/>
                <a:gd name="connsiteY53" fmla="*/ 454025 h 1704975"/>
                <a:gd name="connsiteX54" fmla="*/ 1207175 w 1293444"/>
                <a:gd name="connsiteY54" fmla="*/ 457200 h 1704975"/>
                <a:gd name="connsiteX55" fmla="*/ 1216700 w 1293444"/>
                <a:gd name="connsiteY55" fmla="*/ 463550 h 1704975"/>
                <a:gd name="connsiteX56" fmla="*/ 1270675 w 1293444"/>
                <a:gd name="connsiteY56" fmla="*/ 469900 h 1704975"/>
                <a:gd name="connsiteX57" fmla="*/ 1277025 w 1293444"/>
                <a:gd name="connsiteY57" fmla="*/ 479425 h 1704975"/>
                <a:gd name="connsiteX58" fmla="*/ 1273850 w 1293444"/>
                <a:gd name="connsiteY58" fmla="*/ 488950 h 1704975"/>
                <a:gd name="connsiteX59" fmla="*/ 1270675 w 1293444"/>
                <a:gd name="connsiteY59" fmla="*/ 511175 h 1704975"/>
                <a:gd name="connsiteX60" fmla="*/ 1264325 w 1293444"/>
                <a:gd name="connsiteY60" fmla="*/ 530225 h 1704975"/>
                <a:gd name="connsiteX61" fmla="*/ 1261150 w 1293444"/>
                <a:gd name="connsiteY61" fmla="*/ 539750 h 1704975"/>
                <a:gd name="connsiteX62" fmla="*/ 1254800 w 1293444"/>
                <a:gd name="connsiteY62" fmla="*/ 571500 h 1704975"/>
                <a:gd name="connsiteX63" fmla="*/ 1254800 w 1293444"/>
                <a:gd name="connsiteY63" fmla="*/ 692150 h 1704975"/>
                <a:gd name="connsiteX64" fmla="*/ 1257975 w 1293444"/>
                <a:gd name="connsiteY64" fmla="*/ 714375 h 1704975"/>
                <a:gd name="connsiteX65" fmla="*/ 1261150 w 1293444"/>
                <a:gd name="connsiteY65" fmla="*/ 723900 h 1704975"/>
                <a:gd name="connsiteX66" fmla="*/ 1273850 w 1293444"/>
                <a:gd name="connsiteY66" fmla="*/ 727075 h 1704975"/>
                <a:gd name="connsiteX67" fmla="*/ 1292900 w 1293444"/>
                <a:gd name="connsiteY67" fmla="*/ 739775 h 1704975"/>
                <a:gd name="connsiteX68" fmla="*/ 1289725 w 1293444"/>
                <a:gd name="connsiteY68" fmla="*/ 784225 h 1704975"/>
                <a:gd name="connsiteX69" fmla="*/ 1273850 w 1293444"/>
                <a:gd name="connsiteY69" fmla="*/ 800100 h 1704975"/>
                <a:gd name="connsiteX70" fmla="*/ 1264325 w 1293444"/>
                <a:gd name="connsiteY70" fmla="*/ 809625 h 1704975"/>
                <a:gd name="connsiteX71" fmla="*/ 1219875 w 1293444"/>
                <a:gd name="connsiteY71" fmla="*/ 819150 h 1704975"/>
                <a:gd name="connsiteX72" fmla="*/ 1200825 w 1293444"/>
                <a:gd name="connsiteY72" fmla="*/ 825500 h 1704975"/>
                <a:gd name="connsiteX73" fmla="*/ 1181775 w 1293444"/>
                <a:gd name="connsiteY73" fmla="*/ 838200 h 1704975"/>
                <a:gd name="connsiteX74" fmla="*/ 1172250 w 1293444"/>
                <a:gd name="connsiteY74" fmla="*/ 844550 h 1704975"/>
                <a:gd name="connsiteX75" fmla="*/ 1153200 w 1293444"/>
                <a:gd name="connsiteY75" fmla="*/ 850900 h 1704975"/>
                <a:gd name="connsiteX76" fmla="*/ 1140500 w 1293444"/>
                <a:gd name="connsiteY76" fmla="*/ 857250 h 1704975"/>
                <a:gd name="connsiteX77" fmla="*/ 1130975 w 1293444"/>
                <a:gd name="connsiteY77" fmla="*/ 863600 h 1704975"/>
                <a:gd name="connsiteX78" fmla="*/ 1105575 w 1293444"/>
                <a:gd name="connsiteY78" fmla="*/ 866775 h 1704975"/>
                <a:gd name="connsiteX79" fmla="*/ 1086525 w 1293444"/>
                <a:gd name="connsiteY79" fmla="*/ 873125 h 1704975"/>
                <a:gd name="connsiteX80" fmla="*/ 1077000 w 1293444"/>
                <a:gd name="connsiteY80" fmla="*/ 879475 h 1704975"/>
                <a:gd name="connsiteX81" fmla="*/ 1057950 w 1293444"/>
                <a:gd name="connsiteY81" fmla="*/ 885825 h 1704975"/>
                <a:gd name="connsiteX82" fmla="*/ 1048425 w 1293444"/>
                <a:gd name="connsiteY82" fmla="*/ 889000 h 1704975"/>
                <a:gd name="connsiteX83" fmla="*/ 1029375 w 1293444"/>
                <a:gd name="connsiteY83" fmla="*/ 908050 h 1704975"/>
                <a:gd name="connsiteX84" fmla="*/ 1010325 w 1293444"/>
                <a:gd name="connsiteY84" fmla="*/ 914400 h 1704975"/>
                <a:gd name="connsiteX85" fmla="*/ 1003975 w 1293444"/>
                <a:gd name="connsiteY85" fmla="*/ 923925 h 1704975"/>
                <a:gd name="connsiteX86" fmla="*/ 994450 w 1293444"/>
                <a:gd name="connsiteY86" fmla="*/ 933450 h 1704975"/>
                <a:gd name="connsiteX87" fmla="*/ 991275 w 1293444"/>
                <a:gd name="connsiteY87" fmla="*/ 942975 h 1704975"/>
                <a:gd name="connsiteX88" fmla="*/ 988100 w 1293444"/>
                <a:gd name="connsiteY88" fmla="*/ 962025 h 1704975"/>
                <a:gd name="connsiteX89" fmla="*/ 969050 w 1293444"/>
                <a:gd name="connsiteY89" fmla="*/ 968375 h 1704975"/>
                <a:gd name="connsiteX90" fmla="*/ 950000 w 1293444"/>
                <a:gd name="connsiteY90" fmla="*/ 981075 h 1704975"/>
                <a:gd name="connsiteX91" fmla="*/ 940475 w 1293444"/>
                <a:gd name="connsiteY91" fmla="*/ 987425 h 1704975"/>
                <a:gd name="connsiteX92" fmla="*/ 930950 w 1293444"/>
                <a:gd name="connsiteY92" fmla="*/ 1006475 h 1704975"/>
                <a:gd name="connsiteX93" fmla="*/ 924600 w 1293444"/>
                <a:gd name="connsiteY93" fmla="*/ 1016000 h 1704975"/>
                <a:gd name="connsiteX94" fmla="*/ 921425 w 1293444"/>
                <a:gd name="connsiteY94" fmla="*/ 1025525 h 1704975"/>
                <a:gd name="connsiteX95" fmla="*/ 905550 w 1293444"/>
                <a:gd name="connsiteY95" fmla="*/ 1044575 h 1704975"/>
                <a:gd name="connsiteX96" fmla="*/ 896025 w 1293444"/>
                <a:gd name="connsiteY96" fmla="*/ 1063625 h 1704975"/>
                <a:gd name="connsiteX97" fmla="*/ 867450 w 1293444"/>
                <a:gd name="connsiteY97" fmla="*/ 1085850 h 1704975"/>
                <a:gd name="connsiteX98" fmla="*/ 848400 w 1293444"/>
                <a:gd name="connsiteY98" fmla="*/ 1095375 h 1704975"/>
                <a:gd name="connsiteX99" fmla="*/ 813475 w 1293444"/>
                <a:gd name="connsiteY99" fmla="*/ 1092200 h 1704975"/>
                <a:gd name="connsiteX100" fmla="*/ 772200 w 1293444"/>
                <a:gd name="connsiteY100" fmla="*/ 1098550 h 1704975"/>
                <a:gd name="connsiteX101" fmla="*/ 759500 w 1293444"/>
                <a:gd name="connsiteY101" fmla="*/ 1127125 h 1704975"/>
                <a:gd name="connsiteX102" fmla="*/ 756325 w 1293444"/>
                <a:gd name="connsiteY102" fmla="*/ 1136650 h 1704975"/>
                <a:gd name="connsiteX103" fmla="*/ 740450 w 1293444"/>
                <a:gd name="connsiteY103" fmla="*/ 1155700 h 1704975"/>
                <a:gd name="connsiteX104" fmla="*/ 718225 w 1293444"/>
                <a:gd name="connsiteY104" fmla="*/ 1181100 h 1704975"/>
                <a:gd name="connsiteX105" fmla="*/ 721400 w 1293444"/>
                <a:gd name="connsiteY105" fmla="*/ 1238250 h 1704975"/>
                <a:gd name="connsiteX106" fmla="*/ 727750 w 1293444"/>
                <a:gd name="connsiteY106" fmla="*/ 1247775 h 1704975"/>
                <a:gd name="connsiteX107" fmla="*/ 730925 w 1293444"/>
                <a:gd name="connsiteY107" fmla="*/ 1257300 h 1704975"/>
                <a:gd name="connsiteX108" fmla="*/ 740450 w 1293444"/>
                <a:gd name="connsiteY108" fmla="*/ 1276350 h 1704975"/>
                <a:gd name="connsiteX109" fmla="*/ 743625 w 1293444"/>
                <a:gd name="connsiteY109" fmla="*/ 1320800 h 1704975"/>
                <a:gd name="connsiteX110" fmla="*/ 746800 w 1293444"/>
                <a:gd name="connsiteY110" fmla="*/ 1330325 h 1704975"/>
                <a:gd name="connsiteX111" fmla="*/ 756325 w 1293444"/>
                <a:gd name="connsiteY111" fmla="*/ 1336675 h 1704975"/>
                <a:gd name="connsiteX112" fmla="*/ 762675 w 1293444"/>
                <a:gd name="connsiteY112" fmla="*/ 1346200 h 1704975"/>
                <a:gd name="connsiteX113" fmla="*/ 769025 w 1293444"/>
                <a:gd name="connsiteY113" fmla="*/ 1393825 h 1704975"/>
                <a:gd name="connsiteX114" fmla="*/ 775375 w 1293444"/>
                <a:gd name="connsiteY114" fmla="*/ 1412875 h 1704975"/>
                <a:gd name="connsiteX115" fmla="*/ 781725 w 1293444"/>
                <a:gd name="connsiteY115" fmla="*/ 1435100 h 1704975"/>
                <a:gd name="connsiteX116" fmla="*/ 772200 w 1293444"/>
                <a:gd name="connsiteY116" fmla="*/ 1460500 h 1704975"/>
                <a:gd name="connsiteX117" fmla="*/ 762675 w 1293444"/>
                <a:gd name="connsiteY117" fmla="*/ 1466850 h 1704975"/>
                <a:gd name="connsiteX118" fmla="*/ 753150 w 1293444"/>
                <a:gd name="connsiteY118" fmla="*/ 1485900 h 1704975"/>
                <a:gd name="connsiteX119" fmla="*/ 749975 w 1293444"/>
                <a:gd name="connsiteY119" fmla="*/ 1514475 h 1704975"/>
                <a:gd name="connsiteX120" fmla="*/ 740450 w 1293444"/>
                <a:gd name="connsiteY120" fmla="*/ 1520825 h 1704975"/>
                <a:gd name="connsiteX121" fmla="*/ 730925 w 1293444"/>
                <a:gd name="connsiteY121" fmla="*/ 1530350 h 1704975"/>
                <a:gd name="connsiteX122" fmla="*/ 718225 w 1293444"/>
                <a:gd name="connsiteY122" fmla="*/ 1549400 h 1704975"/>
                <a:gd name="connsiteX123" fmla="*/ 711875 w 1293444"/>
                <a:gd name="connsiteY123" fmla="*/ 1558925 h 1704975"/>
                <a:gd name="connsiteX124" fmla="*/ 702350 w 1293444"/>
                <a:gd name="connsiteY124" fmla="*/ 1568450 h 1704975"/>
                <a:gd name="connsiteX125" fmla="*/ 699175 w 1293444"/>
                <a:gd name="connsiteY125" fmla="*/ 1577975 h 1704975"/>
                <a:gd name="connsiteX126" fmla="*/ 686475 w 1293444"/>
                <a:gd name="connsiteY126" fmla="*/ 1597025 h 1704975"/>
                <a:gd name="connsiteX127" fmla="*/ 676950 w 1293444"/>
                <a:gd name="connsiteY127" fmla="*/ 1616075 h 1704975"/>
                <a:gd name="connsiteX128" fmla="*/ 667425 w 1293444"/>
                <a:gd name="connsiteY128" fmla="*/ 1619250 h 1704975"/>
                <a:gd name="connsiteX129" fmla="*/ 648375 w 1293444"/>
                <a:gd name="connsiteY129" fmla="*/ 1631950 h 1704975"/>
                <a:gd name="connsiteX130" fmla="*/ 638850 w 1293444"/>
                <a:gd name="connsiteY130" fmla="*/ 1638300 h 1704975"/>
                <a:gd name="connsiteX131" fmla="*/ 607100 w 1293444"/>
                <a:gd name="connsiteY131" fmla="*/ 1676400 h 1704975"/>
                <a:gd name="connsiteX132" fmla="*/ 556300 w 1293444"/>
                <a:gd name="connsiteY132" fmla="*/ 1679575 h 1704975"/>
                <a:gd name="connsiteX133" fmla="*/ 537250 w 1293444"/>
                <a:gd name="connsiteY133" fmla="*/ 1685925 h 1704975"/>
                <a:gd name="connsiteX134" fmla="*/ 515025 w 1293444"/>
                <a:gd name="connsiteY134" fmla="*/ 1698625 h 1704975"/>
                <a:gd name="connsiteX135" fmla="*/ 495975 w 1293444"/>
                <a:gd name="connsiteY135" fmla="*/ 1704975 h 1704975"/>
                <a:gd name="connsiteX136" fmla="*/ 476925 w 1293444"/>
                <a:gd name="connsiteY136" fmla="*/ 1701800 h 1704975"/>
                <a:gd name="connsiteX137" fmla="*/ 470575 w 1293444"/>
                <a:gd name="connsiteY137" fmla="*/ 1692275 h 1704975"/>
                <a:gd name="connsiteX138" fmla="*/ 467400 w 1293444"/>
                <a:gd name="connsiteY138" fmla="*/ 1660525 h 1704975"/>
                <a:gd name="connsiteX139" fmla="*/ 457875 w 1293444"/>
                <a:gd name="connsiteY139" fmla="*/ 1641475 h 1704975"/>
                <a:gd name="connsiteX140" fmla="*/ 448350 w 1293444"/>
                <a:gd name="connsiteY140" fmla="*/ 1635125 h 1704975"/>
                <a:gd name="connsiteX141" fmla="*/ 445175 w 1293444"/>
                <a:gd name="connsiteY141" fmla="*/ 1625600 h 1704975"/>
                <a:gd name="connsiteX142" fmla="*/ 435650 w 1293444"/>
                <a:gd name="connsiteY142" fmla="*/ 1606550 h 1704975"/>
                <a:gd name="connsiteX143" fmla="*/ 432475 w 1293444"/>
                <a:gd name="connsiteY143" fmla="*/ 1495425 h 1704975"/>
                <a:gd name="connsiteX144" fmla="*/ 429300 w 1293444"/>
                <a:gd name="connsiteY144" fmla="*/ 1485900 h 1704975"/>
                <a:gd name="connsiteX145" fmla="*/ 426125 w 1293444"/>
                <a:gd name="connsiteY145" fmla="*/ 1473200 h 1704975"/>
                <a:gd name="connsiteX146" fmla="*/ 419775 w 1293444"/>
                <a:gd name="connsiteY146" fmla="*/ 1463675 h 1704975"/>
                <a:gd name="connsiteX147" fmla="*/ 416600 w 1293444"/>
                <a:gd name="connsiteY147" fmla="*/ 1454150 h 1704975"/>
                <a:gd name="connsiteX148" fmla="*/ 403900 w 1293444"/>
                <a:gd name="connsiteY148" fmla="*/ 1435100 h 1704975"/>
                <a:gd name="connsiteX149" fmla="*/ 397550 w 1293444"/>
                <a:gd name="connsiteY149" fmla="*/ 1416050 h 1704975"/>
                <a:gd name="connsiteX150" fmla="*/ 394375 w 1293444"/>
                <a:gd name="connsiteY150" fmla="*/ 1381125 h 1704975"/>
                <a:gd name="connsiteX151" fmla="*/ 391200 w 1293444"/>
                <a:gd name="connsiteY151" fmla="*/ 1368425 h 1704975"/>
                <a:gd name="connsiteX152" fmla="*/ 388025 w 1293444"/>
                <a:gd name="connsiteY152" fmla="*/ 1352550 h 1704975"/>
                <a:gd name="connsiteX153" fmla="*/ 381675 w 1293444"/>
                <a:gd name="connsiteY153" fmla="*/ 1333500 h 1704975"/>
                <a:gd name="connsiteX154" fmla="*/ 378500 w 1293444"/>
                <a:gd name="connsiteY154" fmla="*/ 1323975 h 1704975"/>
                <a:gd name="connsiteX155" fmla="*/ 375325 w 1293444"/>
                <a:gd name="connsiteY155" fmla="*/ 1308100 h 1704975"/>
                <a:gd name="connsiteX156" fmla="*/ 368975 w 1293444"/>
                <a:gd name="connsiteY156" fmla="*/ 1289050 h 1704975"/>
                <a:gd name="connsiteX157" fmla="*/ 362625 w 1293444"/>
                <a:gd name="connsiteY157" fmla="*/ 1260475 h 1704975"/>
                <a:gd name="connsiteX158" fmla="*/ 359450 w 1293444"/>
                <a:gd name="connsiteY158" fmla="*/ 1231900 h 1704975"/>
                <a:gd name="connsiteX159" fmla="*/ 349925 w 1293444"/>
                <a:gd name="connsiteY159" fmla="*/ 1196975 h 1704975"/>
                <a:gd name="connsiteX160" fmla="*/ 340400 w 1293444"/>
                <a:gd name="connsiteY160" fmla="*/ 1155700 h 1704975"/>
                <a:gd name="connsiteX161" fmla="*/ 334050 w 1293444"/>
                <a:gd name="connsiteY161" fmla="*/ 1130300 h 1704975"/>
                <a:gd name="connsiteX162" fmla="*/ 327700 w 1293444"/>
                <a:gd name="connsiteY162" fmla="*/ 1104900 h 1704975"/>
                <a:gd name="connsiteX163" fmla="*/ 324525 w 1293444"/>
                <a:gd name="connsiteY163" fmla="*/ 1092200 h 1704975"/>
                <a:gd name="connsiteX164" fmla="*/ 318175 w 1293444"/>
                <a:gd name="connsiteY164" fmla="*/ 1050925 h 1704975"/>
                <a:gd name="connsiteX165" fmla="*/ 315000 w 1293444"/>
                <a:gd name="connsiteY165" fmla="*/ 1031875 h 1704975"/>
                <a:gd name="connsiteX166" fmla="*/ 311825 w 1293444"/>
                <a:gd name="connsiteY166" fmla="*/ 1022350 h 1704975"/>
                <a:gd name="connsiteX167" fmla="*/ 308650 w 1293444"/>
                <a:gd name="connsiteY167" fmla="*/ 1006475 h 1704975"/>
                <a:gd name="connsiteX168" fmla="*/ 302300 w 1293444"/>
                <a:gd name="connsiteY168" fmla="*/ 987425 h 1704975"/>
                <a:gd name="connsiteX169" fmla="*/ 299125 w 1293444"/>
                <a:gd name="connsiteY169" fmla="*/ 974725 h 1704975"/>
                <a:gd name="connsiteX170" fmla="*/ 292775 w 1293444"/>
                <a:gd name="connsiteY170" fmla="*/ 955675 h 1704975"/>
                <a:gd name="connsiteX171" fmla="*/ 289600 w 1293444"/>
                <a:gd name="connsiteY171" fmla="*/ 946150 h 1704975"/>
                <a:gd name="connsiteX172" fmla="*/ 280075 w 1293444"/>
                <a:gd name="connsiteY172" fmla="*/ 923925 h 1704975"/>
                <a:gd name="connsiteX173" fmla="*/ 261025 w 1293444"/>
                <a:gd name="connsiteY173" fmla="*/ 908050 h 1704975"/>
                <a:gd name="connsiteX174" fmla="*/ 241975 w 1293444"/>
                <a:gd name="connsiteY174" fmla="*/ 901700 h 1704975"/>
                <a:gd name="connsiteX175" fmla="*/ 222925 w 1293444"/>
                <a:gd name="connsiteY175" fmla="*/ 889000 h 1704975"/>
                <a:gd name="connsiteX176" fmla="*/ 213400 w 1293444"/>
                <a:gd name="connsiteY176" fmla="*/ 885825 h 1704975"/>
                <a:gd name="connsiteX177" fmla="*/ 194350 w 1293444"/>
                <a:gd name="connsiteY177" fmla="*/ 873125 h 1704975"/>
                <a:gd name="connsiteX178" fmla="*/ 175300 w 1293444"/>
                <a:gd name="connsiteY178" fmla="*/ 860425 h 1704975"/>
                <a:gd name="connsiteX179" fmla="*/ 162600 w 1293444"/>
                <a:gd name="connsiteY179" fmla="*/ 850900 h 1704975"/>
                <a:gd name="connsiteX180" fmla="*/ 153075 w 1293444"/>
                <a:gd name="connsiteY180" fmla="*/ 847725 h 1704975"/>
                <a:gd name="connsiteX181" fmla="*/ 134025 w 1293444"/>
                <a:gd name="connsiteY181" fmla="*/ 835025 h 1704975"/>
                <a:gd name="connsiteX182" fmla="*/ 114975 w 1293444"/>
                <a:gd name="connsiteY182" fmla="*/ 822325 h 1704975"/>
                <a:gd name="connsiteX183" fmla="*/ 105450 w 1293444"/>
                <a:gd name="connsiteY183" fmla="*/ 815975 h 1704975"/>
                <a:gd name="connsiteX184" fmla="*/ 95925 w 1293444"/>
                <a:gd name="connsiteY184" fmla="*/ 812800 h 1704975"/>
                <a:gd name="connsiteX185" fmla="*/ 64175 w 1293444"/>
                <a:gd name="connsiteY185" fmla="*/ 790575 h 1704975"/>
                <a:gd name="connsiteX186" fmla="*/ 54650 w 1293444"/>
                <a:gd name="connsiteY186" fmla="*/ 787400 h 1704975"/>
                <a:gd name="connsiteX187" fmla="*/ 38775 w 1293444"/>
                <a:gd name="connsiteY187" fmla="*/ 771525 h 1704975"/>
                <a:gd name="connsiteX188" fmla="*/ 29250 w 1293444"/>
                <a:gd name="connsiteY188" fmla="*/ 762000 h 1704975"/>
                <a:gd name="connsiteX189" fmla="*/ 19725 w 1293444"/>
                <a:gd name="connsiteY189" fmla="*/ 758825 h 1704975"/>
                <a:gd name="connsiteX190" fmla="*/ 675 w 1293444"/>
                <a:gd name="connsiteY190" fmla="*/ 746125 h 1704975"/>
                <a:gd name="connsiteX191" fmla="*/ 51475 w 1293444"/>
                <a:gd name="connsiteY191" fmla="*/ 739775 h 1704975"/>
                <a:gd name="connsiteX192" fmla="*/ 67350 w 1293444"/>
                <a:gd name="connsiteY192" fmla="*/ 736600 h 1704975"/>
                <a:gd name="connsiteX193" fmla="*/ 102275 w 1293444"/>
                <a:gd name="connsiteY193" fmla="*/ 733425 h 1704975"/>
                <a:gd name="connsiteX194" fmla="*/ 130850 w 1293444"/>
                <a:gd name="connsiteY194" fmla="*/ 727075 h 1704975"/>
                <a:gd name="connsiteX195" fmla="*/ 149900 w 1293444"/>
                <a:gd name="connsiteY195" fmla="*/ 723900 h 1704975"/>
                <a:gd name="connsiteX196" fmla="*/ 159425 w 1293444"/>
                <a:gd name="connsiteY196" fmla="*/ 720725 h 1704975"/>
                <a:gd name="connsiteX197" fmla="*/ 175300 w 1293444"/>
                <a:gd name="connsiteY197" fmla="*/ 717550 h 1704975"/>
                <a:gd name="connsiteX198" fmla="*/ 194350 w 1293444"/>
                <a:gd name="connsiteY198" fmla="*/ 711200 h 1704975"/>
                <a:gd name="connsiteX199" fmla="*/ 222925 w 1293444"/>
                <a:gd name="connsiteY199" fmla="*/ 701675 h 1704975"/>
                <a:gd name="connsiteX200" fmla="*/ 232450 w 1293444"/>
                <a:gd name="connsiteY200" fmla="*/ 698500 h 1704975"/>
                <a:gd name="connsiteX201" fmla="*/ 241975 w 1293444"/>
                <a:gd name="connsiteY201" fmla="*/ 695325 h 1704975"/>
                <a:gd name="connsiteX202" fmla="*/ 381675 w 1293444"/>
                <a:gd name="connsiteY202" fmla="*/ 688975 h 1704975"/>
                <a:gd name="connsiteX203" fmla="*/ 397550 w 1293444"/>
                <a:gd name="connsiteY203" fmla="*/ 685800 h 1704975"/>
                <a:gd name="connsiteX204" fmla="*/ 407075 w 1293444"/>
                <a:gd name="connsiteY204" fmla="*/ 682625 h 1704975"/>
                <a:gd name="connsiteX205" fmla="*/ 419775 w 1293444"/>
                <a:gd name="connsiteY205" fmla="*/ 679450 h 1704975"/>
                <a:gd name="connsiteX206" fmla="*/ 438825 w 1293444"/>
                <a:gd name="connsiteY206" fmla="*/ 673100 h 1704975"/>
                <a:gd name="connsiteX207" fmla="*/ 467400 w 1293444"/>
                <a:gd name="connsiteY207" fmla="*/ 663575 h 1704975"/>
                <a:gd name="connsiteX208" fmla="*/ 495975 w 1293444"/>
                <a:gd name="connsiteY208" fmla="*/ 654050 h 1704975"/>
                <a:gd name="connsiteX209" fmla="*/ 505500 w 1293444"/>
                <a:gd name="connsiteY209" fmla="*/ 650875 h 1704975"/>
                <a:gd name="connsiteX210" fmla="*/ 527725 w 1293444"/>
                <a:gd name="connsiteY210" fmla="*/ 641350 h 1704975"/>
                <a:gd name="connsiteX211" fmla="*/ 537250 w 1293444"/>
                <a:gd name="connsiteY211" fmla="*/ 635000 h 1704975"/>
                <a:gd name="connsiteX212" fmla="*/ 546775 w 1293444"/>
                <a:gd name="connsiteY212" fmla="*/ 631825 h 1704975"/>
                <a:gd name="connsiteX213" fmla="*/ 559475 w 1293444"/>
                <a:gd name="connsiteY213" fmla="*/ 625475 h 1704975"/>
                <a:gd name="connsiteX214" fmla="*/ 578525 w 1293444"/>
                <a:gd name="connsiteY214" fmla="*/ 657225 h 1704975"/>
                <a:gd name="connsiteX215" fmla="*/ 588050 w 1293444"/>
                <a:gd name="connsiteY215" fmla="*/ 660400 h 1704975"/>
                <a:gd name="connsiteX216" fmla="*/ 607100 w 1293444"/>
                <a:gd name="connsiteY216" fmla="*/ 673100 h 1704975"/>
                <a:gd name="connsiteX217" fmla="*/ 626150 w 1293444"/>
                <a:gd name="connsiteY217" fmla="*/ 679450 h 1704975"/>
                <a:gd name="connsiteX218" fmla="*/ 635675 w 1293444"/>
                <a:gd name="connsiteY218" fmla="*/ 685800 h 1704975"/>
                <a:gd name="connsiteX219" fmla="*/ 654725 w 1293444"/>
                <a:gd name="connsiteY219" fmla="*/ 692150 h 1704975"/>
                <a:gd name="connsiteX220" fmla="*/ 645200 w 1293444"/>
                <a:gd name="connsiteY220" fmla="*/ 682625 h 1704975"/>
                <a:gd name="connsiteX221" fmla="*/ 635675 w 1293444"/>
                <a:gd name="connsiteY221" fmla="*/ 676275 h 1704975"/>
                <a:gd name="connsiteX222" fmla="*/ 632500 w 1293444"/>
                <a:gd name="connsiteY222" fmla="*/ 666750 h 1704975"/>
                <a:gd name="connsiteX223" fmla="*/ 635675 w 1293444"/>
                <a:gd name="connsiteY223" fmla="*/ 590550 h 1704975"/>
                <a:gd name="connsiteX224" fmla="*/ 642025 w 1293444"/>
                <a:gd name="connsiteY224" fmla="*/ 571500 h 1704975"/>
                <a:gd name="connsiteX225" fmla="*/ 648375 w 1293444"/>
                <a:gd name="connsiteY225" fmla="*/ 561975 h 1704975"/>
                <a:gd name="connsiteX226" fmla="*/ 638850 w 1293444"/>
                <a:gd name="connsiteY226" fmla="*/ 536575 h 1704975"/>
                <a:gd name="connsiteX227" fmla="*/ 629325 w 1293444"/>
                <a:gd name="connsiteY227" fmla="*/ 533400 h 1704975"/>
                <a:gd name="connsiteX228" fmla="*/ 626150 w 1293444"/>
                <a:gd name="connsiteY228" fmla="*/ 523875 h 1704975"/>
                <a:gd name="connsiteX229" fmla="*/ 632500 w 1293444"/>
                <a:gd name="connsiteY229" fmla="*/ 498475 h 1704975"/>
                <a:gd name="connsiteX230" fmla="*/ 635675 w 1293444"/>
                <a:gd name="connsiteY230" fmla="*/ 485775 h 1704975"/>
                <a:gd name="connsiteX231" fmla="*/ 626150 w 1293444"/>
                <a:gd name="connsiteY231" fmla="*/ 463550 h 1704975"/>
                <a:gd name="connsiteX232" fmla="*/ 616625 w 1293444"/>
                <a:gd name="connsiteY232" fmla="*/ 460375 h 1704975"/>
                <a:gd name="connsiteX233" fmla="*/ 607100 w 1293444"/>
                <a:gd name="connsiteY233" fmla="*/ 454025 h 1704975"/>
                <a:gd name="connsiteX234" fmla="*/ 591225 w 1293444"/>
                <a:gd name="connsiteY234" fmla="*/ 450850 h 1704975"/>
                <a:gd name="connsiteX235" fmla="*/ 569000 w 1293444"/>
                <a:gd name="connsiteY235" fmla="*/ 441325 h 1704975"/>
                <a:gd name="connsiteX236" fmla="*/ 546775 w 1293444"/>
                <a:gd name="connsiteY236" fmla="*/ 415925 h 1704975"/>
                <a:gd name="connsiteX237" fmla="*/ 540425 w 1293444"/>
                <a:gd name="connsiteY237" fmla="*/ 406400 h 1704975"/>
                <a:gd name="connsiteX238" fmla="*/ 530900 w 1293444"/>
                <a:gd name="connsiteY238" fmla="*/ 400050 h 1704975"/>
                <a:gd name="connsiteX239" fmla="*/ 508675 w 1293444"/>
                <a:gd name="connsiteY239" fmla="*/ 374650 h 1704975"/>
                <a:gd name="connsiteX240" fmla="*/ 502325 w 1293444"/>
                <a:gd name="connsiteY240" fmla="*/ 365125 h 1704975"/>
                <a:gd name="connsiteX241" fmla="*/ 483275 w 1293444"/>
                <a:gd name="connsiteY241" fmla="*/ 346075 h 1704975"/>
                <a:gd name="connsiteX242" fmla="*/ 486450 w 1293444"/>
                <a:gd name="connsiteY242" fmla="*/ 333375 h 1704975"/>
                <a:gd name="connsiteX243" fmla="*/ 492800 w 1293444"/>
                <a:gd name="connsiteY243" fmla="*/ 314325 h 1704975"/>
                <a:gd name="connsiteX244" fmla="*/ 489625 w 1293444"/>
                <a:gd name="connsiteY244" fmla="*/ 292100 h 1704975"/>
                <a:gd name="connsiteX245" fmla="*/ 461050 w 1293444"/>
                <a:gd name="connsiteY245" fmla="*/ 266700 h 1704975"/>
                <a:gd name="connsiteX246" fmla="*/ 435650 w 1293444"/>
                <a:gd name="connsiteY246" fmla="*/ 254000 h 1704975"/>
                <a:gd name="connsiteX247" fmla="*/ 413425 w 1293444"/>
                <a:gd name="connsiteY247" fmla="*/ 238125 h 1704975"/>
                <a:gd name="connsiteX248" fmla="*/ 403900 w 1293444"/>
                <a:gd name="connsiteY248" fmla="*/ 231775 h 1704975"/>
                <a:gd name="connsiteX249" fmla="*/ 388025 w 1293444"/>
                <a:gd name="connsiteY249" fmla="*/ 212725 h 1704975"/>
                <a:gd name="connsiteX250" fmla="*/ 372150 w 1293444"/>
                <a:gd name="connsiteY250" fmla="*/ 196850 h 1704975"/>
                <a:gd name="connsiteX251" fmla="*/ 365800 w 1293444"/>
                <a:gd name="connsiteY251" fmla="*/ 177800 h 1704975"/>
                <a:gd name="connsiteX252" fmla="*/ 359450 w 1293444"/>
                <a:gd name="connsiteY252" fmla="*/ 149225 h 1704975"/>
                <a:gd name="connsiteX253" fmla="*/ 362625 w 1293444"/>
                <a:gd name="connsiteY253" fmla="*/ 114300 h 1704975"/>
                <a:gd name="connsiteX254" fmla="*/ 368975 w 1293444"/>
                <a:gd name="connsiteY254" fmla="*/ 104775 h 1704975"/>
                <a:gd name="connsiteX255" fmla="*/ 375325 w 1293444"/>
                <a:gd name="connsiteY255"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65900 w 1293444"/>
                <a:gd name="connsiteY53" fmla="*/ 454025 h 1704975"/>
                <a:gd name="connsiteX54" fmla="*/ 1207175 w 1293444"/>
                <a:gd name="connsiteY54" fmla="*/ 457200 h 1704975"/>
                <a:gd name="connsiteX55" fmla="*/ 1216700 w 1293444"/>
                <a:gd name="connsiteY55" fmla="*/ 463550 h 1704975"/>
                <a:gd name="connsiteX56" fmla="*/ 1270675 w 1293444"/>
                <a:gd name="connsiteY56" fmla="*/ 469900 h 1704975"/>
                <a:gd name="connsiteX57" fmla="*/ 1277025 w 1293444"/>
                <a:gd name="connsiteY57" fmla="*/ 479425 h 1704975"/>
                <a:gd name="connsiteX58" fmla="*/ 1273850 w 1293444"/>
                <a:gd name="connsiteY58" fmla="*/ 488950 h 1704975"/>
                <a:gd name="connsiteX59" fmla="*/ 1270675 w 1293444"/>
                <a:gd name="connsiteY59" fmla="*/ 511175 h 1704975"/>
                <a:gd name="connsiteX60" fmla="*/ 1264325 w 1293444"/>
                <a:gd name="connsiteY60" fmla="*/ 530225 h 1704975"/>
                <a:gd name="connsiteX61" fmla="*/ 1261150 w 1293444"/>
                <a:gd name="connsiteY61" fmla="*/ 539750 h 1704975"/>
                <a:gd name="connsiteX62" fmla="*/ 1254800 w 1293444"/>
                <a:gd name="connsiteY62" fmla="*/ 571500 h 1704975"/>
                <a:gd name="connsiteX63" fmla="*/ 1254800 w 1293444"/>
                <a:gd name="connsiteY63" fmla="*/ 692150 h 1704975"/>
                <a:gd name="connsiteX64" fmla="*/ 1257975 w 1293444"/>
                <a:gd name="connsiteY64" fmla="*/ 714375 h 1704975"/>
                <a:gd name="connsiteX65" fmla="*/ 1261150 w 1293444"/>
                <a:gd name="connsiteY65" fmla="*/ 723900 h 1704975"/>
                <a:gd name="connsiteX66" fmla="*/ 1273850 w 1293444"/>
                <a:gd name="connsiteY66" fmla="*/ 727075 h 1704975"/>
                <a:gd name="connsiteX67" fmla="*/ 1292900 w 1293444"/>
                <a:gd name="connsiteY67" fmla="*/ 739775 h 1704975"/>
                <a:gd name="connsiteX68" fmla="*/ 1289725 w 1293444"/>
                <a:gd name="connsiteY68" fmla="*/ 784225 h 1704975"/>
                <a:gd name="connsiteX69" fmla="*/ 1273850 w 1293444"/>
                <a:gd name="connsiteY69" fmla="*/ 800100 h 1704975"/>
                <a:gd name="connsiteX70" fmla="*/ 1264325 w 1293444"/>
                <a:gd name="connsiteY70" fmla="*/ 809625 h 1704975"/>
                <a:gd name="connsiteX71" fmla="*/ 1219875 w 1293444"/>
                <a:gd name="connsiteY71" fmla="*/ 819150 h 1704975"/>
                <a:gd name="connsiteX72" fmla="*/ 1200825 w 1293444"/>
                <a:gd name="connsiteY72" fmla="*/ 825500 h 1704975"/>
                <a:gd name="connsiteX73" fmla="*/ 1181775 w 1293444"/>
                <a:gd name="connsiteY73" fmla="*/ 838200 h 1704975"/>
                <a:gd name="connsiteX74" fmla="*/ 1172250 w 1293444"/>
                <a:gd name="connsiteY74" fmla="*/ 844550 h 1704975"/>
                <a:gd name="connsiteX75" fmla="*/ 1153200 w 1293444"/>
                <a:gd name="connsiteY75" fmla="*/ 850900 h 1704975"/>
                <a:gd name="connsiteX76" fmla="*/ 1140500 w 1293444"/>
                <a:gd name="connsiteY76" fmla="*/ 857250 h 1704975"/>
                <a:gd name="connsiteX77" fmla="*/ 1130975 w 1293444"/>
                <a:gd name="connsiteY77" fmla="*/ 863600 h 1704975"/>
                <a:gd name="connsiteX78" fmla="*/ 1105575 w 1293444"/>
                <a:gd name="connsiteY78" fmla="*/ 866775 h 1704975"/>
                <a:gd name="connsiteX79" fmla="*/ 1086525 w 1293444"/>
                <a:gd name="connsiteY79" fmla="*/ 873125 h 1704975"/>
                <a:gd name="connsiteX80" fmla="*/ 1077000 w 1293444"/>
                <a:gd name="connsiteY80" fmla="*/ 879475 h 1704975"/>
                <a:gd name="connsiteX81" fmla="*/ 1057950 w 1293444"/>
                <a:gd name="connsiteY81" fmla="*/ 885825 h 1704975"/>
                <a:gd name="connsiteX82" fmla="*/ 1048425 w 1293444"/>
                <a:gd name="connsiteY82" fmla="*/ 889000 h 1704975"/>
                <a:gd name="connsiteX83" fmla="*/ 1029375 w 1293444"/>
                <a:gd name="connsiteY83" fmla="*/ 908050 h 1704975"/>
                <a:gd name="connsiteX84" fmla="*/ 1010325 w 1293444"/>
                <a:gd name="connsiteY84" fmla="*/ 914400 h 1704975"/>
                <a:gd name="connsiteX85" fmla="*/ 1003975 w 1293444"/>
                <a:gd name="connsiteY85" fmla="*/ 923925 h 1704975"/>
                <a:gd name="connsiteX86" fmla="*/ 994450 w 1293444"/>
                <a:gd name="connsiteY86" fmla="*/ 933450 h 1704975"/>
                <a:gd name="connsiteX87" fmla="*/ 991275 w 1293444"/>
                <a:gd name="connsiteY87" fmla="*/ 942975 h 1704975"/>
                <a:gd name="connsiteX88" fmla="*/ 988100 w 1293444"/>
                <a:gd name="connsiteY88" fmla="*/ 962025 h 1704975"/>
                <a:gd name="connsiteX89" fmla="*/ 969050 w 1293444"/>
                <a:gd name="connsiteY89" fmla="*/ 968375 h 1704975"/>
                <a:gd name="connsiteX90" fmla="*/ 950000 w 1293444"/>
                <a:gd name="connsiteY90" fmla="*/ 981075 h 1704975"/>
                <a:gd name="connsiteX91" fmla="*/ 940475 w 1293444"/>
                <a:gd name="connsiteY91" fmla="*/ 987425 h 1704975"/>
                <a:gd name="connsiteX92" fmla="*/ 930950 w 1293444"/>
                <a:gd name="connsiteY92" fmla="*/ 1006475 h 1704975"/>
                <a:gd name="connsiteX93" fmla="*/ 924600 w 1293444"/>
                <a:gd name="connsiteY93" fmla="*/ 1016000 h 1704975"/>
                <a:gd name="connsiteX94" fmla="*/ 921425 w 1293444"/>
                <a:gd name="connsiteY94" fmla="*/ 1025525 h 1704975"/>
                <a:gd name="connsiteX95" fmla="*/ 905550 w 1293444"/>
                <a:gd name="connsiteY95" fmla="*/ 1044575 h 1704975"/>
                <a:gd name="connsiteX96" fmla="*/ 896025 w 1293444"/>
                <a:gd name="connsiteY96" fmla="*/ 1063625 h 1704975"/>
                <a:gd name="connsiteX97" fmla="*/ 867450 w 1293444"/>
                <a:gd name="connsiteY97" fmla="*/ 1085850 h 1704975"/>
                <a:gd name="connsiteX98" fmla="*/ 848400 w 1293444"/>
                <a:gd name="connsiteY98" fmla="*/ 1095375 h 1704975"/>
                <a:gd name="connsiteX99" fmla="*/ 813475 w 1293444"/>
                <a:gd name="connsiteY99" fmla="*/ 1092200 h 1704975"/>
                <a:gd name="connsiteX100" fmla="*/ 772200 w 1293444"/>
                <a:gd name="connsiteY100" fmla="*/ 1098550 h 1704975"/>
                <a:gd name="connsiteX101" fmla="*/ 759500 w 1293444"/>
                <a:gd name="connsiteY101" fmla="*/ 1127125 h 1704975"/>
                <a:gd name="connsiteX102" fmla="*/ 756325 w 1293444"/>
                <a:gd name="connsiteY102" fmla="*/ 1136650 h 1704975"/>
                <a:gd name="connsiteX103" fmla="*/ 740450 w 1293444"/>
                <a:gd name="connsiteY103" fmla="*/ 1155700 h 1704975"/>
                <a:gd name="connsiteX104" fmla="*/ 718225 w 1293444"/>
                <a:gd name="connsiteY104" fmla="*/ 1181100 h 1704975"/>
                <a:gd name="connsiteX105" fmla="*/ 721400 w 1293444"/>
                <a:gd name="connsiteY105" fmla="*/ 1238250 h 1704975"/>
                <a:gd name="connsiteX106" fmla="*/ 727750 w 1293444"/>
                <a:gd name="connsiteY106" fmla="*/ 1247775 h 1704975"/>
                <a:gd name="connsiteX107" fmla="*/ 730925 w 1293444"/>
                <a:gd name="connsiteY107" fmla="*/ 1257300 h 1704975"/>
                <a:gd name="connsiteX108" fmla="*/ 740450 w 1293444"/>
                <a:gd name="connsiteY108" fmla="*/ 1276350 h 1704975"/>
                <a:gd name="connsiteX109" fmla="*/ 743625 w 1293444"/>
                <a:gd name="connsiteY109" fmla="*/ 1320800 h 1704975"/>
                <a:gd name="connsiteX110" fmla="*/ 746800 w 1293444"/>
                <a:gd name="connsiteY110" fmla="*/ 1330325 h 1704975"/>
                <a:gd name="connsiteX111" fmla="*/ 756325 w 1293444"/>
                <a:gd name="connsiteY111" fmla="*/ 1336675 h 1704975"/>
                <a:gd name="connsiteX112" fmla="*/ 762675 w 1293444"/>
                <a:gd name="connsiteY112" fmla="*/ 1346200 h 1704975"/>
                <a:gd name="connsiteX113" fmla="*/ 769025 w 1293444"/>
                <a:gd name="connsiteY113" fmla="*/ 1393825 h 1704975"/>
                <a:gd name="connsiteX114" fmla="*/ 775375 w 1293444"/>
                <a:gd name="connsiteY114" fmla="*/ 1412875 h 1704975"/>
                <a:gd name="connsiteX115" fmla="*/ 781725 w 1293444"/>
                <a:gd name="connsiteY115" fmla="*/ 1435100 h 1704975"/>
                <a:gd name="connsiteX116" fmla="*/ 772200 w 1293444"/>
                <a:gd name="connsiteY116" fmla="*/ 1460500 h 1704975"/>
                <a:gd name="connsiteX117" fmla="*/ 762675 w 1293444"/>
                <a:gd name="connsiteY117" fmla="*/ 1466850 h 1704975"/>
                <a:gd name="connsiteX118" fmla="*/ 753150 w 1293444"/>
                <a:gd name="connsiteY118" fmla="*/ 1485900 h 1704975"/>
                <a:gd name="connsiteX119" fmla="*/ 749975 w 1293444"/>
                <a:gd name="connsiteY119" fmla="*/ 1514475 h 1704975"/>
                <a:gd name="connsiteX120" fmla="*/ 740450 w 1293444"/>
                <a:gd name="connsiteY120" fmla="*/ 1520825 h 1704975"/>
                <a:gd name="connsiteX121" fmla="*/ 730925 w 1293444"/>
                <a:gd name="connsiteY121" fmla="*/ 1530350 h 1704975"/>
                <a:gd name="connsiteX122" fmla="*/ 718225 w 1293444"/>
                <a:gd name="connsiteY122" fmla="*/ 1549400 h 1704975"/>
                <a:gd name="connsiteX123" fmla="*/ 711875 w 1293444"/>
                <a:gd name="connsiteY123" fmla="*/ 1558925 h 1704975"/>
                <a:gd name="connsiteX124" fmla="*/ 702350 w 1293444"/>
                <a:gd name="connsiteY124" fmla="*/ 1568450 h 1704975"/>
                <a:gd name="connsiteX125" fmla="*/ 699175 w 1293444"/>
                <a:gd name="connsiteY125" fmla="*/ 1577975 h 1704975"/>
                <a:gd name="connsiteX126" fmla="*/ 686475 w 1293444"/>
                <a:gd name="connsiteY126" fmla="*/ 1597025 h 1704975"/>
                <a:gd name="connsiteX127" fmla="*/ 676950 w 1293444"/>
                <a:gd name="connsiteY127" fmla="*/ 1616075 h 1704975"/>
                <a:gd name="connsiteX128" fmla="*/ 667425 w 1293444"/>
                <a:gd name="connsiteY128" fmla="*/ 1619250 h 1704975"/>
                <a:gd name="connsiteX129" fmla="*/ 648375 w 1293444"/>
                <a:gd name="connsiteY129" fmla="*/ 1631950 h 1704975"/>
                <a:gd name="connsiteX130" fmla="*/ 638850 w 1293444"/>
                <a:gd name="connsiteY130" fmla="*/ 1638300 h 1704975"/>
                <a:gd name="connsiteX131" fmla="*/ 607100 w 1293444"/>
                <a:gd name="connsiteY131" fmla="*/ 1676400 h 1704975"/>
                <a:gd name="connsiteX132" fmla="*/ 556300 w 1293444"/>
                <a:gd name="connsiteY132" fmla="*/ 1679575 h 1704975"/>
                <a:gd name="connsiteX133" fmla="*/ 537250 w 1293444"/>
                <a:gd name="connsiteY133" fmla="*/ 1685925 h 1704975"/>
                <a:gd name="connsiteX134" fmla="*/ 515025 w 1293444"/>
                <a:gd name="connsiteY134" fmla="*/ 1698625 h 1704975"/>
                <a:gd name="connsiteX135" fmla="*/ 495975 w 1293444"/>
                <a:gd name="connsiteY135" fmla="*/ 1704975 h 1704975"/>
                <a:gd name="connsiteX136" fmla="*/ 476925 w 1293444"/>
                <a:gd name="connsiteY136" fmla="*/ 1701800 h 1704975"/>
                <a:gd name="connsiteX137" fmla="*/ 470575 w 1293444"/>
                <a:gd name="connsiteY137" fmla="*/ 1692275 h 1704975"/>
                <a:gd name="connsiteX138" fmla="*/ 467400 w 1293444"/>
                <a:gd name="connsiteY138" fmla="*/ 1660525 h 1704975"/>
                <a:gd name="connsiteX139" fmla="*/ 457875 w 1293444"/>
                <a:gd name="connsiteY139" fmla="*/ 1641475 h 1704975"/>
                <a:gd name="connsiteX140" fmla="*/ 448350 w 1293444"/>
                <a:gd name="connsiteY140" fmla="*/ 1635125 h 1704975"/>
                <a:gd name="connsiteX141" fmla="*/ 445175 w 1293444"/>
                <a:gd name="connsiteY141" fmla="*/ 1625600 h 1704975"/>
                <a:gd name="connsiteX142" fmla="*/ 435650 w 1293444"/>
                <a:gd name="connsiteY142" fmla="*/ 1606550 h 1704975"/>
                <a:gd name="connsiteX143" fmla="*/ 432475 w 1293444"/>
                <a:gd name="connsiteY143" fmla="*/ 1495425 h 1704975"/>
                <a:gd name="connsiteX144" fmla="*/ 429300 w 1293444"/>
                <a:gd name="connsiteY144" fmla="*/ 1485900 h 1704975"/>
                <a:gd name="connsiteX145" fmla="*/ 426125 w 1293444"/>
                <a:gd name="connsiteY145" fmla="*/ 1473200 h 1704975"/>
                <a:gd name="connsiteX146" fmla="*/ 419775 w 1293444"/>
                <a:gd name="connsiteY146" fmla="*/ 1463675 h 1704975"/>
                <a:gd name="connsiteX147" fmla="*/ 416600 w 1293444"/>
                <a:gd name="connsiteY147" fmla="*/ 1454150 h 1704975"/>
                <a:gd name="connsiteX148" fmla="*/ 403900 w 1293444"/>
                <a:gd name="connsiteY148" fmla="*/ 1435100 h 1704975"/>
                <a:gd name="connsiteX149" fmla="*/ 397550 w 1293444"/>
                <a:gd name="connsiteY149" fmla="*/ 1416050 h 1704975"/>
                <a:gd name="connsiteX150" fmla="*/ 394375 w 1293444"/>
                <a:gd name="connsiteY150" fmla="*/ 1381125 h 1704975"/>
                <a:gd name="connsiteX151" fmla="*/ 391200 w 1293444"/>
                <a:gd name="connsiteY151" fmla="*/ 1368425 h 1704975"/>
                <a:gd name="connsiteX152" fmla="*/ 388025 w 1293444"/>
                <a:gd name="connsiteY152" fmla="*/ 1352550 h 1704975"/>
                <a:gd name="connsiteX153" fmla="*/ 381675 w 1293444"/>
                <a:gd name="connsiteY153" fmla="*/ 1333500 h 1704975"/>
                <a:gd name="connsiteX154" fmla="*/ 378500 w 1293444"/>
                <a:gd name="connsiteY154" fmla="*/ 1323975 h 1704975"/>
                <a:gd name="connsiteX155" fmla="*/ 375325 w 1293444"/>
                <a:gd name="connsiteY155" fmla="*/ 1308100 h 1704975"/>
                <a:gd name="connsiteX156" fmla="*/ 368975 w 1293444"/>
                <a:gd name="connsiteY156" fmla="*/ 1289050 h 1704975"/>
                <a:gd name="connsiteX157" fmla="*/ 362625 w 1293444"/>
                <a:gd name="connsiteY157" fmla="*/ 1260475 h 1704975"/>
                <a:gd name="connsiteX158" fmla="*/ 359450 w 1293444"/>
                <a:gd name="connsiteY158" fmla="*/ 1231900 h 1704975"/>
                <a:gd name="connsiteX159" fmla="*/ 349925 w 1293444"/>
                <a:gd name="connsiteY159" fmla="*/ 1196975 h 1704975"/>
                <a:gd name="connsiteX160" fmla="*/ 340400 w 1293444"/>
                <a:gd name="connsiteY160" fmla="*/ 1155700 h 1704975"/>
                <a:gd name="connsiteX161" fmla="*/ 334050 w 1293444"/>
                <a:gd name="connsiteY161" fmla="*/ 1130300 h 1704975"/>
                <a:gd name="connsiteX162" fmla="*/ 327700 w 1293444"/>
                <a:gd name="connsiteY162" fmla="*/ 1104900 h 1704975"/>
                <a:gd name="connsiteX163" fmla="*/ 324525 w 1293444"/>
                <a:gd name="connsiteY163" fmla="*/ 1092200 h 1704975"/>
                <a:gd name="connsiteX164" fmla="*/ 318175 w 1293444"/>
                <a:gd name="connsiteY164" fmla="*/ 1050925 h 1704975"/>
                <a:gd name="connsiteX165" fmla="*/ 315000 w 1293444"/>
                <a:gd name="connsiteY165" fmla="*/ 1031875 h 1704975"/>
                <a:gd name="connsiteX166" fmla="*/ 311825 w 1293444"/>
                <a:gd name="connsiteY166" fmla="*/ 1022350 h 1704975"/>
                <a:gd name="connsiteX167" fmla="*/ 308650 w 1293444"/>
                <a:gd name="connsiteY167" fmla="*/ 1006475 h 1704975"/>
                <a:gd name="connsiteX168" fmla="*/ 302300 w 1293444"/>
                <a:gd name="connsiteY168" fmla="*/ 987425 h 1704975"/>
                <a:gd name="connsiteX169" fmla="*/ 299125 w 1293444"/>
                <a:gd name="connsiteY169" fmla="*/ 974725 h 1704975"/>
                <a:gd name="connsiteX170" fmla="*/ 292775 w 1293444"/>
                <a:gd name="connsiteY170" fmla="*/ 955675 h 1704975"/>
                <a:gd name="connsiteX171" fmla="*/ 289600 w 1293444"/>
                <a:gd name="connsiteY171" fmla="*/ 946150 h 1704975"/>
                <a:gd name="connsiteX172" fmla="*/ 280075 w 1293444"/>
                <a:gd name="connsiteY172" fmla="*/ 923925 h 1704975"/>
                <a:gd name="connsiteX173" fmla="*/ 261025 w 1293444"/>
                <a:gd name="connsiteY173" fmla="*/ 908050 h 1704975"/>
                <a:gd name="connsiteX174" fmla="*/ 241975 w 1293444"/>
                <a:gd name="connsiteY174" fmla="*/ 901700 h 1704975"/>
                <a:gd name="connsiteX175" fmla="*/ 222925 w 1293444"/>
                <a:gd name="connsiteY175" fmla="*/ 889000 h 1704975"/>
                <a:gd name="connsiteX176" fmla="*/ 213400 w 1293444"/>
                <a:gd name="connsiteY176" fmla="*/ 885825 h 1704975"/>
                <a:gd name="connsiteX177" fmla="*/ 194350 w 1293444"/>
                <a:gd name="connsiteY177" fmla="*/ 873125 h 1704975"/>
                <a:gd name="connsiteX178" fmla="*/ 175300 w 1293444"/>
                <a:gd name="connsiteY178" fmla="*/ 860425 h 1704975"/>
                <a:gd name="connsiteX179" fmla="*/ 162600 w 1293444"/>
                <a:gd name="connsiteY179" fmla="*/ 850900 h 1704975"/>
                <a:gd name="connsiteX180" fmla="*/ 153075 w 1293444"/>
                <a:gd name="connsiteY180" fmla="*/ 847725 h 1704975"/>
                <a:gd name="connsiteX181" fmla="*/ 134025 w 1293444"/>
                <a:gd name="connsiteY181" fmla="*/ 835025 h 1704975"/>
                <a:gd name="connsiteX182" fmla="*/ 114975 w 1293444"/>
                <a:gd name="connsiteY182" fmla="*/ 822325 h 1704975"/>
                <a:gd name="connsiteX183" fmla="*/ 105450 w 1293444"/>
                <a:gd name="connsiteY183" fmla="*/ 815975 h 1704975"/>
                <a:gd name="connsiteX184" fmla="*/ 95925 w 1293444"/>
                <a:gd name="connsiteY184" fmla="*/ 812800 h 1704975"/>
                <a:gd name="connsiteX185" fmla="*/ 64175 w 1293444"/>
                <a:gd name="connsiteY185" fmla="*/ 790575 h 1704975"/>
                <a:gd name="connsiteX186" fmla="*/ 54650 w 1293444"/>
                <a:gd name="connsiteY186" fmla="*/ 787400 h 1704975"/>
                <a:gd name="connsiteX187" fmla="*/ 38775 w 1293444"/>
                <a:gd name="connsiteY187" fmla="*/ 771525 h 1704975"/>
                <a:gd name="connsiteX188" fmla="*/ 29250 w 1293444"/>
                <a:gd name="connsiteY188" fmla="*/ 762000 h 1704975"/>
                <a:gd name="connsiteX189" fmla="*/ 19725 w 1293444"/>
                <a:gd name="connsiteY189" fmla="*/ 758825 h 1704975"/>
                <a:gd name="connsiteX190" fmla="*/ 675 w 1293444"/>
                <a:gd name="connsiteY190" fmla="*/ 746125 h 1704975"/>
                <a:gd name="connsiteX191" fmla="*/ 51475 w 1293444"/>
                <a:gd name="connsiteY191" fmla="*/ 739775 h 1704975"/>
                <a:gd name="connsiteX192" fmla="*/ 67350 w 1293444"/>
                <a:gd name="connsiteY192" fmla="*/ 736600 h 1704975"/>
                <a:gd name="connsiteX193" fmla="*/ 102275 w 1293444"/>
                <a:gd name="connsiteY193" fmla="*/ 733425 h 1704975"/>
                <a:gd name="connsiteX194" fmla="*/ 130850 w 1293444"/>
                <a:gd name="connsiteY194" fmla="*/ 727075 h 1704975"/>
                <a:gd name="connsiteX195" fmla="*/ 149900 w 1293444"/>
                <a:gd name="connsiteY195" fmla="*/ 723900 h 1704975"/>
                <a:gd name="connsiteX196" fmla="*/ 159425 w 1293444"/>
                <a:gd name="connsiteY196" fmla="*/ 720725 h 1704975"/>
                <a:gd name="connsiteX197" fmla="*/ 175300 w 1293444"/>
                <a:gd name="connsiteY197" fmla="*/ 717550 h 1704975"/>
                <a:gd name="connsiteX198" fmla="*/ 194350 w 1293444"/>
                <a:gd name="connsiteY198" fmla="*/ 711200 h 1704975"/>
                <a:gd name="connsiteX199" fmla="*/ 222925 w 1293444"/>
                <a:gd name="connsiteY199" fmla="*/ 701675 h 1704975"/>
                <a:gd name="connsiteX200" fmla="*/ 232450 w 1293444"/>
                <a:gd name="connsiteY200" fmla="*/ 698500 h 1704975"/>
                <a:gd name="connsiteX201" fmla="*/ 241975 w 1293444"/>
                <a:gd name="connsiteY201" fmla="*/ 695325 h 1704975"/>
                <a:gd name="connsiteX202" fmla="*/ 381675 w 1293444"/>
                <a:gd name="connsiteY202" fmla="*/ 688975 h 1704975"/>
                <a:gd name="connsiteX203" fmla="*/ 397550 w 1293444"/>
                <a:gd name="connsiteY203" fmla="*/ 685800 h 1704975"/>
                <a:gd name="connsiteX204" fmla="*/ 407075 w 1293444"/>
                <a:gd name="connsiteY204" fmla="*/ 682625 h 1704975"/>
                <a:gd name="connsiteX205" fmla="*/ 419775 w 1293444"/>
                <a:gd name="connsiteY205" fmla="*/ 679450 h 1704975"/>
                <a:gd name="connsiteX206" fmla="*/ 438825 w 1293444"/>
                <a:gd name="connsiteY206" fmla="*/ 673100 h 1704975"/>
                <a:gd name="connsiteX207" fmla="*/ 467400 w 1293444"/>
                <a:gd name="connsiteY207" fmla="*/ 663575 h 1704975"/>
                <a:gd name="connsiteX208" fmla="*/ 495975 w 1293444"/>
                <a:gd name="connsiteY208" fmla="*/ 654050 h 1704975"/>
                <a:gd name="connsiteX209" fmla="*/ 505500 w 1293444"/>
                <a:gd name="connsiteY209" fmla="*/ 650875 h 1704975"/>
                <a:gd name="connsiteX210" fmla="*/ 527725 w 1293444"/>
                <a:gd name="connsiteY210" fmla="*/ 641350 h 1704975"/>
                <a:gd name="connsiteX211" fmla="*/ 537250 w 1293444"/>
                <a:gd name="connsiteY211" fmla="*/ 635000 h 1704975"/>
                <a:gd name="connsiteX212" fmla="*/ 546775 w 1293444"/>
                <a:gd name="connsiteY212" fmla="*/ 631825 h 1704975"/>
                <a:gd name="connsiteX213" fmla="*/ 559475 w 1293444"/>
                <a:gd name="connsiteY213" fmla="*/ 625475 h 1704975"/>
                <a:gd name="connsiteX214" fmla="*/ 578525 w 1293444"/>
                <a:gd name="connsiteY214" fmla="*/ 657225 h 1704975"/>
                <a:gd name="connsiteX215" fmla="*/ 588050 w 1293444"/>
                <a:gd name="connsiteY215" fmla="*/ 660400 h 1704975"/>
                <a:gd name="connsiteX216" fmla="*/ 607100 w 1293444"/>
                <a:gd name="connsiteY216" fmla="*/ 673100 h 1704975"/>
                <a:gd name="connsiteX217" fmla="*/ 626150 w 1293444"/>
                <a:gd name="connsiteY217" fmla="*/ 679450 h 1704975"/>
                <a:gd name="connsiteX218" fmla="*/ 635675 w 1293444"/>
                <a:gd name="connsiteY218" fmla="*/ 685800 h 1704975"/>
                <a:gd name="connsiteX219" fmla="*/ 654725 w 1293444"/>
                <a:gd name="connsiteY219" fmla="*/ 692150 h 1704975"/>
                <a:gd name="connsiteX220" fmla="*/ 645200 w 1293444"/>
                <a:gd name="connsiteY220" fmla="*/ 682625 h 1704975"/>
                <a:gd name="connsiteX221" fmla="*/ 635675 w 1293444"/>
                <a:gd name="connsiteY221" fmla="*/ 676275 h 1704975"/>
                <a:gd name="connsiteX222" fmla="*/ 632500 w 1293444"/>
                <a:gd name="connsiteY222" fmla="*/ 666750 h 1704975"/>
                <a:gd name="connsiteX223" fmla="*/ 635675 w 1293444"/>
                <a:gd name="connsiteY223" fmla="*/ 590550 h 1704975"/>
                <a:gd name="connsiteX224" fmla="*/ 642025 w 1293444"/>
                <a:gd name="connsiteY224" fmla="*/ 571500 h 1704975"/>
                <a:gd name="connsiteX225" fmla="*/ 648375 w 1293444"/>
                <a:gd name="connsiteY225" fmla="*/ 561975 h 1704975"/>
                <a:gd name="connsiteX226" fmla="*/ 638850 w 1293444"/>
                <a:gd name="connsiteY226" fmla="*/ 536575 h 1704975"/>
                <a:gd name="connsiteX227" fmla="*/ 629325 w 1293444"/>
                <a:gd name="connsiteY227" fmla="*/ 533400 h 1704975"/>
                <a:gd name="connsiteX228" fmla="*/ 626150 w 1293444"/>
                <a:gd name="connsiteY228" fmla="*/ 523875 h 1704975"/>
                <a:gd name="connsiteX229" fmla="*/ 632500 w 1293444"/>
                <a:gd name="connsiteY229" fmla="*/ 498475 h 1704975"/>
                <a:gd name="connsiteX230" fmla="*/ 635675 w 1293444"/>
                <a:gd name="connsiteY230" fmla="*/ 485775 h 1704975"/>
                <a:gd name="connsiteX231" fmla="*/ 626150 w 1293444"/>
                <a:gd name="connsiteY231" fmla="*/ 463550 h 1704975"/>
                <a:gd name="connsiteX232" fmla="*/ 616625 w 1293444"/>
                <a:gd name="connsiteY232" fmla="*/ 460375 h 1704975"/>
                <a:gd name="connsiteX233" fmla="*/ 607100 w 1293444"/>
                <a:gd name="connsiteY233" fmla="*/ 454025 h 1704975"/>
                <a:gd name="connsiteX234" fmla="*/ 591225 w 1293444"/>
                <a:gd name="connsiteY234" fmla="*/ 450850 h 1704975"/>
                <a:gd name="connsiteX235" fmla="*/ 569000 w 1293444"/>
                <a:gd name="connsiteY235" fmla="*/ 441325 h 1704975"/>
                <a:gd name="connsiteX236" fmla="*/ 546775 w 1293444"/>
                <a:gd name="connsiteY236" fmla="*/ 415925 h 1704975"/>
                <a:gd name="connsiteX237" fmla="*/ 540425 w 1293444"/>
                <a:gd name="connsiteY237" fmla="*/ 406400 h 1704975"/>
                <a:gd name="connsiteX238" fmla="*/ 530900 w 1293444"/>
                <a:gd name="connsiteY238" fmla="*/ 400050 h 1704975"/>
                <a:gd name="connsiteX239" fmla="*/ 508675 w 1293444"/>
                <a:gd name="connsiteY239" fmla="*/ 374650 h 1704975"/>
                <a:gd name="connsiteX240" fmla="*/ 502325 w 1293444"/>
                <a:gd name="connsiteY240" fmla="*/ 365125 h 1704975"/>
                <a:gd name="connsiteX241" fmla="*/ 483275 w 1293444"/>
                <a:gd name="connsiteY241" fmla="*/ 346075 h 1704975"/>
                <a:gd name="connsiteX242" fmla="*/ 486450 w 1293444"/>
                <a:gd name="connsiteY242" fmla="*/ 333375 h 1704975"/>
                <a:gd name="connsiteX243" fmla="*/ 492800 w 1293444"/>
                <a:gd name="connsiteY243" fmla="*/ 314325 h 1704975"/>
                <a:gd name="connsiteX244" fmla="*/ 489625 w 1293444"/>
                <a:gd name="connsiteY244" fmla="*/ 292100 h 1704975"/>
                <a:gd name="connsiteX245" fmla="*/ 461050 w 1293444"/>
                <a:gd name="connsiteY245" fmla="*/ 266700 h 1704975"/>
                <a:gd name="connsiteX246" fmla="*/ 435650 w 1293444"/>
                <a:gd name="connsiteY246" fmla="*/ 254000 h 1704975"/>
                <a:gd name="connsiteX247" fmla="*/ 413425 w 1293444"/>
                <a:gd name="connsiteY247" fmla="*/ 238125 h 1704975"/>
                <a:gd name="connsiteX248" fmla="*/ 403900 w 1293444"/>
                <a:gd name="connsiteY248" fmla="*/ 231775 h 1704975"/>
                <a:gd name="connsiteX249" fmla="*/ 388025 w 1293444"/>
                <a:gd name="connsiteY249" fmla="*/ 212725 h 1704975"/>
                <a:gd name="connsiteX250" fmla="*/ 372150 w 1293444"/>
                <a:gd name="connsiteY250" fmla="*/ 196850 h 1704975"/>
                <a:gd name="connsiteX251" fmla="*/ 365800 w 1293444"/>
                <a:gd name="connsiteY251" fmla="*/ 177800 h 1704975"/>
                <a:gd name="connsiteX252" fmla="*/ 359450 w 1293444"/>
                <a:gd name="connsiteY252" fmla="*/ 149225 h 1704975"/>
                <a:gd name="connsiteX253" fmla="*/ 362625 w 1293444"/>
                <a:gd name="connsiteY253" fmla="*/ 114300 h 1704975"/>
                <a:gd name="connsiteX254" fmla="*/ 368975 w 1293444"/>
                <a:gd name="connsiteY254" fmla="*/ 104775 h 1704975"/>
                <a:gd name="connsiteX255" fmla="*/ 375325 w 1293444"/>
                <a:gd name="connsiteY255"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65900 w 1293444"/>
                <a:gd name="connsiteY53" fmla="*/ 454025 h 1704975"/>
                <a:gd name="connsiteX54" fmla="*/ 1207175 w 1293444"/>
                <a:gd name="connsiteY54" fmla="*/ 457200 h 1704975"/>
                <a:gd name="connsiteX55" fmla="*/ 1216700 w 1293444"/>
                <a:gd name="connsiteY55" fmla="*/ 463550 h 1704975"/>
                <a:gd name="connsiteX56" fmla="*/ 1270675 w 1293444"/>
                <a:gd name="connsiteY56" fmla="*/ 469900 h 1704975"/>
                <a:gd name="connsiteX57" fmla="*/ 1277025 w 1293444"/>
                <a:gd name="connsiteY57" fmla="*/ 479425 h 1704975"/>
                <a:gd name="connsiteX58" fmla="*/ 1273850 w 1293444"/>
                <a:gd name="connsiteY58" fmla="*/ 488950 h 1704975"/>
                <a:gd name="connsiteX59" fmla="*/ 1270675 w 1293444"/>
                <a:gd name="connsiteY59" fmla="*/ 511175 h 1704975"/>
                <a:gd name="connsiteX60" fmla="*/ 1264325 w 1293444"/>
                <a:gd name="connsiteY60" fmla="*/ 530225 h 1704975"/>
                <a:gd name="connsiteX61" fmla="*/ 1261150 w 1293444"/>
                <a:gd name="connsiteY61" fmla="*/ 539750 h 1704975"/>
                <a:gd name="connsiteX62" fmla="*/ 1254800 w 1293444"/>
                <a:gd name="connsiteY62" fmla="*/ 571500 h 1704975"/>
                <a:gd name="connsiteX63" fmla="*/ 1254800 w 1293444"/>
                <a:gd name="connsiteY63" fmla="*/ 692150 h 1704975"/>
                <a:gd name="connsiteX64" fmla="*/ 1257975 w 1293444"/>
                <a:gd name="connsiteY64" fmla="*/ 714375 h 1704975"/>
                <a:gd name="connsiteX65" fmla="*/ 1261150 w 1293444"/>
                <a:gd name="connsiteY65" fmla="*/ 723900 h 1704975"/>
                <a:gd name="connsiteX66" fmla="*/ 1273850 w 1293444"/>
                <a:gd name="connsiteY66" fmla="*/ 727075 h 1704975"/>
                <a:gd name="connsiteX67" fmla="*/ 1292900 w 1293444"/>
                <a:gd name="connsiteY67" fmla="*/ 739775 h 1704975"/>
                <a:gd name="connsiteX68" fmla="*/ 1289725 w 1293444"/>
                <a:gd name="connsiteY68" fmla="*/ 784225 h 1704975"/>
                <a:gd name="connsiteX69" fmla="*/ 1273850 w 1293444"/>
                <a:gd name="connsiteY69" fmla="*/ 800100 h 1704975"/>
                <a:gd name="connsiteX70" fmla="*/ 1264325 w 1293444"/>
                <a:gd name="connsiteY70" fmla="*/ 809625 h 1704975"/>
                <a:gd name="connsiteX71" fmla="*/ 1219875 w 1293444"/>
                <a:gd name="connsiteY71" fmla="*/ 819150 h 1704975"/>
                <a:gd name="connsiteX72" fmla="*/ 1200825 w 1293444"/>
                <a:gd name="connsiteY72" fmla="*/ 825500 h 1704975"/>
                <a:gd name="connsiteX73" fmla="*/ 1181775 w 1293444"/>
                <a:gd name="connsiteY73" fmla="*/ 838200 h 1704975"/>
                <a:gd name="connsiteX74" fmla="*/ 1172250 w 1293444"/>
                <a:gd name="connsiteY74" fmla="*/ 844550 h 1704975"/>
                <a:gd name="connsiteX75" fmla="*/ 1153200 w 1293444"/>
                <a:gd name="connsiteY75" fmla="*/ 850900 h 1704975"/>
                <a:gd name="connsiteX76" fmla="*/ 1140500 w 1293444"/>
                <a:gd name="connsiteY76" fmla="*/ 857250 h 1704975"/>
                <a:gd name="connsiteX77" fmla="*/ 1130975 w 1293444"/>
                <a:gd name="connsiteY77" fmla="*/ 863600 h 1704975"/>
                <a:gd name="connsiteX78" fmla="*/ 1105575 w 1293444"/>
                <a:gd name="connsiteY78" fmla="*/ 866775 h 1704975"/>
                <a:gd name="connsiteX79" fmla="*/ 1086525 w 1293444"/>
                <a:gd name="connsiteY79" fmla="*/ 873125 h 1704975"/>
                <a:gd name="connsiteX80" fmla="*/ 1077000 w 1293444"/>
                <a:gd name="connsiteY80" fmla="*/ 879475 h 1704975"/>
                <a:gd name="connsiteX81" fmla="*/ 1057950 w 1293444"/>
                <a:gd name="connsiteY81" fmla="*/ 885825 h 1704975"/>
                <a:gd name="connsiteX82" fmla="*/ 1048425 w 1293444"/>
                <a:gd name="connsiteY82" fmla="*/ 889000 h 1704975"/>
                <a:gd name="connsiteX83" fmla="*/ 1029375 w 1293444"/>
                <a:gd name="connsiteY83" fmla="*/ 908050 h 1704975"/>
                <a:gd name="connsiteX84" fmla="*/ 1010325 w 1293444"/>
                <a:gd name="connsiteY84" fmla="*/ 914400 h 1704975"/>
                <a:gd name="connsiteX85" fmla="*/ 1003975 w 1293444"/>
                <a:gd name="connsiteY85" fmla="*/ 923925 h 1704975"/>
                <a:gd name="connsiteX86" fmla="*/ 994450 w 1293444"/>
                <a:gd name="connsiteY86" fmla="*/ 933450 h 1704975"/>
                <a:gd name="connsiteX87" fmla="*/ 991275 w 1293444"/>
                <a:gd name="connsiteY87" fmla="*/ 942975 h 1704975"/>
                <a:gd name="connsiteX88" fmla="*/ 988100 w 1293444"/>
                <a:gd name="connsiteY88" fmla="*/ 962025 h 1704975"/>
                <a:gd name="connsiteX89" fmla="*/ 969050 w 1293444"/>
                <a:gd name="connsiteY89" fmla="*/ 968375 h 1704975"/>
                <a:gd name="connsiteX90" fmla="*/ 950000 w 1293444"/>
                <a:gd name="connsiteY90" fmla="*/ 981075 h 1704975"/>
                <a:gd name="connsiteX91" fmla="*/ 940475 w 1293444"/>
                <a:gd name="connsiteY91" fmla="*/ 987425 h 1704975"/>
                <a:gd name="connsiteX92" fmla="*/ 930950 w 1293444"/>
                <a:gd name="connsiteY92" fmla="*/ 1006475 h 1704975"/>
                <a:gd name="connsiteX93" fmla="*/ 924600 w 1293444"/>
                <a:gd name="connsiteY93" fmla="*/ 1016000 h 1704975"/>
                <a:gd name="connsiteX94" fmla="*/ 921425 w 1293444"/>
                <a:gd name="connsiteY94" fmla="*/ 1025525 h 1704975"/>
                <a:gd name="connsiteX95" fmla="*/ 905550 w 1293444"/>
                <a:gd name="connsiteY95" fmla="*/ 1044575 h 1704975"/>
                <a:gd name="connsiteX96" fmla="*/ 896025 w 1293444"/>
                <a:gd name="connsiteY96" fmla="*/ 1063625 h 1704975"/>
                <a:gd name="connsiteX97" fmla="*/ 867450 w 1293444"/>
                <a:gd name="connsiteY97" fmla="*/ 1085850 h 1704975"/>
                <a:gd name="connsiteX98" fmla="*/ 848400 w 1293444"/>
                <a:gd name="connsiteY98" fmla="*/ 1095375 h 1704975"/>
                <a:gd name="connsiteX99" fmla="*/ 813475 w 1293444"/>
                <a:gd name="connsiteY99" fmla="*/ 1092200 h 1704975"/>
                <a:gd name="connsiteX100" fmla="*/ 772200 w 1293444"/>
                <a:gd name="connsiteY100" fmla="*/ 1098550 h 1704975"/>
                <a:gd name="connsiteX101" fmla="*/ 759500 w 1293444"/>
                <a:gd name="connsiteY101" fmla="*/ 1127125 h 1704975"/>
                <a:gd name="connsiteX102" fmla="*/ 756325 w 1293444"/>
                <a:gd name="connsiteY102" fmla="*/ 1136650 h 1704975"/>
                <a:gd name="connsiteX103" fmla="*/ 740450 w 1293444"/>
                <a:gd name="connsiteY103" fmla="*/ 1155700 h 1704975"/>
                <a:gd name="connsiteX104" fmla="*/ 718225 w 1293444"/>
                <a:gd name="connsiteY104" fmla="*/ 1181100 h 1704975"/>
                <a:gd name="connsiteX105" fmla="*/ 721400 w 1293444"/>
                <a:gd name="connsiteY105" fmla="*/ 1238250 h 1704975"/>
                <a:gd name="connsiteX106" fmla="*/ 727750 w 1293444"/>
                <a:gd name="connsiteY106" fmla="*/ 1247775 h 1704975"/>
                <a:gd name="connsiteX107" fmla="*/ 730925 w 1293444"/>
                <a:gd name="connsiteY107" fmla="*/ 1257300 h 1704975"/>
                <a:gd name="connsiteX108" fmla="*/ 740450 w 1293444"/>
                <a:gd name="connsiteY108" fmla="*/ 1276350 h 1704975"/>
                <a:gd name="connsiteX109" fmla="*/ 743625 w 1293444"/>
                <a:gd name="connsiteY109" fmla="*/ 1320800 h 1704975"/>
                <a:gd name="connsiteX110" fmla="*/ 746800 w 1293444"/>
                <a:gd name="connsiteY110" fmla="*/ 1330325 h 1704975"/>
                <a:gd name="connsiteX111" fmla="*/ 756325 w 1293444"/>
                <a:gd name="connsiteY111" fmla="*/ 1336675 h 1704975"/>
                <a:gd name="connsiteX112" fmla="*/ 762675 w 1293444"/>
                <a:gd name="connsiteY112" fmla="*/ 1346200 h 1704975"/>
                <a:gd name="connsiteX113" fmla="*/ 769025 w 1293444"/>
                <a:gd name="connsiteY113" fmla="*/ 1393825 h 1704975"/>
                <a:gd name="connsiteX114" fmla="*/ 775375 w 1293444"/>
                <a:gd name="connsiteY114" fmla="*/ 1412875 h 1704975"/>
                <a:gd name="connsiteX115" fmla="*/ 781725 w 1293444"/>
                <a:gd name="connsiteY115" fmla="*/ 1435100 h 1704975"/>
                <a:gd name="connsiteX116" fmla="*/ 772200 w 1293444"/>
                <a:gd name="connsiteY116" fmla="*/ 1460500 h 1704975"/>
                <a:gd name="connsiteX117" fmla="*/ 762675 w 1293444"/>
                <a:gd name="connsiteY117" fmla="*/ 1466850 h 1704975"/>
                <a:gd name="connsiteX118" fmla="*/ 753150 w 1293444"/>
                <a:gd name="connsiteY118" fmla="*/ 1485900 h 1704975"/>
                <a:gd name="connsiteX119" fmla="*/ 749975 w 1293444"/>
                <a:gd name="connsiteY119" fmla="*/ 1514475 h 1704975"/>
                <a:gd name="connsiteX120" fmla="*/ 740450 w 1293444"/>
                <a:gd name="connsiteY120" fmla="*/ 1520825 h 1704975"/>
                <a:gd name="connsiteX121" fmla="*/ 730925 w 1293444"/>
                <a:gd name="connsiteY121" fmla="*/ 1530350 h 1704975"/>
                <a:gd name="connsiteX122" fmla="*/ 718225 w 1293444"/>
                <a:gd name="connsiteY122" fmla="*/ 1549400 h 1704975"/>
                <a:gd name="connsiteX123" fmla="*/ 711875 w 1293444"/>
                <a:gd name="connsiteY123" fmla="*/ 1558925 h 1704975"/>
                <a:gd name="connsiteX124" fmla="*/ 702350 w 1293444"/>
                <a:gd name="connsiteY124" fmla="*/ 1568450 h 1704975"/>
                <a:gd name="connsiteX125" fmla="*/ 699175 w 1293444"/>
                <a:gd name="connsiteY125" fmla="*/ 1577975 h 1704975"/>
                <a:gd name="connsiteX126" fmla="*/ 686475 w 1293444"/>
                <a:gd name="connsiteY126" fmla="*/ 1597025 h 1704975"/>
                <a:gd name="connsiteX127" fmla="*/ 676950 w 1293444"/>
                <a:gd name="connsiteY127" fmla="*/ 1616075 h 1704975"/>
                <a:gd name="connsiteX128" fmla="*/ 667425 w 1293444"/>
                <a:gd name="connsiteY128" fmla="*/ 1619250 h 1704975"/>
                <a:gd name="connsiteX129" fmla="*/ 648375 w 1293444"/>
                <a:gd name="connsiteY129" fmla="*/ 1631950 h 1704975"/>
                <a:gd name="connsiteX130" fmla="*/ 638850 w 1293444"/>
                <a:gd name="connsiteY130" fmla="*/ 1638300 h 1704975"/>
                <a:gd name="connsiteX131" fmla="*/ 607100 w 1293444"/>
                <a:gd name="connsiteY131" fmla="*/ 1676400 h 1704975"/>
                <a:gd name="connsiteX132" fmla="*/ 556300 w 1293444"/>
                <a:gd name="connsiteY132" fmla="*/ 1679575 h 1704975"/>
                <a:gd name="connsiteX133" fmla="*/ 537250 w 1293444"/>
                <a:gd name="connsiteY133" fmla="*/ 1685925 h 1704975"/>
                <a:gd name="connsiteX134" fmla="*/ 515025 w 1293444"/>
                <a:gd name="connsiteY134" fmla="*/ 1698625 h 1704975"/>
                <a:gd name="connsiteX135" fmla="*/ 495975 w 1293444"/>
                <a:gd name="connsiteY135" fmla="*/ 1704975 h 1704975"/>
                <a:gd name="connsiteX136" fmla="*/ 476925 w 1293444"/>
                <a:gd name="connsiteY136" fmla="*/ 1701800 h 1704975"/>
                <a:gd name="connsiteX137" fmla="*/ 470575 w 1293444"/>
                <a:gd name="connsiteY137" fmla="*/ 1692275 h 1704975"/>
                <a:gd name="connsiteX138" fmla="*/ 467400 w 1293444"/>
                <a:gd name="connsiteY138" fmla="*/ 1660525 h 1704975"/>
                <a:gd name="connsiteX139" fmla="*/ 457875 w 1293444"/>
                <a:gd name="connsiteY139" fmla="*/ 1641475 h 1704975"/>
                <a:gd name="connsiteX140" fmla="*/ 448350 w 1293444"/>
                <a:gd name="connsiteY140" fmla="*/ 1635125 h 1704975"/>
                <a:gd name="connsiteX141" fmla="*/ 445175 w 1293444"/>
                <a:gd name="connsiteY141" fmla="*/ 1625600 h 1704975"/>
                <a:gd name="connsiteX142" fmla="*/ 435650 w 1293444"/>
                <a:gd name="connsiteY142" fmla="*/ 1606550 h 1704975"/>
                <a:gd name="connsiteX143" fmla="*/ 432475 w 1293444"/>
                <a:gd name="connsiteY143" fmla="*/ 1495425 h 1704975"/>
                <a:gd name="connsiteX144" fmla="*/ 429300 w 1293444"/>
                <a:gd name="connsiteY144" fmla="*/ 1485900 h 1704975"/>
                <a:gd name="connsiteX145" fmla="*/ 426125 w 1293444"/>
                <a:gd name="connsiteY145" fmla="*/ 1473200 h 1704975"/>
                <a:gd name="connsiteX146" fmla="*/ 419775 w 1293444"/>
                <a:gd name="connsiteY146" fmla="*/ 1463675 h 1704975"/>
                <a:gd name="connsiteX147" fmla="*/ 416600 w 1293444"/>
                <a:gd name="connsiteY147" fmla="*/ 1454150 h 1704975"/>
                <a:gd name="connsiteX148" fmla="*/ 403900 w 1293444"/>
                <a:gd name="connsiteY148" fmla="*/ 1435100 h 1704975"/>
                <a:gd name="connsiteX149" fmla="*/ 397550 w 1293444"/>
                <a:gd name="connsiteY149" fmla="*/ 1416050 h 1704975"/>
                <a:gd name="connsiteX150" fmla="*/ 394375 w 1293444"/>
                <a:gd name="connsiteY150" fmla="*/ 1381125 h 1704975"/>
                <a:gd name="connsiteX151" fmla="*/ 391200 w 1293444"/>
                <a:gd name="connsiteY151" fmla="*/ 1368425 h 1704975"/>
                <a:gd name="connsiteX152" fmla="*/ 388025 w 1293444"/>
                <a:gd name="connsiteY152" fmla="*/ 1352550 h 1704975"/>
                <a:gd name="connsiteX153" fmla="*/ 381675 w 1293444"/>
                <a:gd name="connsiteY153" fmla="*/ 1333500 h 1704975"/>
                <a:gd name="connsiteX154" fmla="*/ 378500 w 1293444"/>
                <a:gd name="connsiteY154" fmla="*/ 1323975 h 1704975"/>
                <a:gd name="connsiteX155" fmla="*/ 375325 w 1293444"/>
                <a:gd name="connsiteY155" fmla="*/ 1308100 h 1704975"/>
                <a:gd name="connsiteX156" fmla="*/ 368975 w 1293444"/>
                <a:gd name="connsiteY156" fmla="*/ 1289050 h 1704975"/>
                <a:gd name="connsiteX157" fmla="*/ 362625 w 1293444"/>
                <a:gd name="connsiteY157" fmla="*/ 1260475 h 1704975"/>
                <a:gd name="connsiteX158" fmla="*/ 359450 w 1293444"/>
                <a:gd name="connsiteY158" fmla="*/ 1231900 h 1704975"/>
                <a:gd name="connsiteX159" fmla="*/ 349925 w 1293444"/>
                <a:gd name="connsiteY159" fmla="*/ 1196975 h 1704975"/>
                <a:gd name="connsiteX160" fmla="*/ 340400 w 1293444"/>
                <a:gd name="connsiteY160" fmla="*/ 1155700 h 1704975"/>
                <a:gd name="connsiteX161" fmla="*/ 334050 w 1293444"/>
                <a:gd name="connsiteY161" fmla="*/ 1130300 h 1704975"/>
                <a:gd name="connsiteX162" fmla="*/ 327700 w 1293444"/>
                <a:gd name="connsiteY162" fmla="*/ 1104900 h 1704975"/>
                <a:gd name="connsiteX163" fmla="*/ 324525 w 1293444"/>
                <a:gd name="connsiteY163" fmla="*/ 1092200 h 1704975"/>
                <a:gd name="connsiteX164" fmla="*/ 318175 w 1293444"/>
                <a:gd name="connsiteY164" fmla="*/ 1050925 h 1704975"/>
                <a:gd name="connsiteX165" fmla="*/ 315000 w 1293444"/>
                <a:gd name="connsiteY165" fmla="*/ 1031875 h 1704975"/>
                <a:gd name="connsiteX166" fmla="*/ 311825 w 1293444"/>
                <a:gd name="connsiteY166" fmla="*/ 1022350 h 1704975"/>
                <a:gd name="connsiteX167" fmla="*/ 308650 w 1293444"/>
                <a:gd name="connsiteY167" fmla="*/ 1006475 h 1704975"/>
                <a:gd name="connsiteX168" fmla="*/ 302300 w 1293444"/>
                <a:gd name="connsiteY168" fmla="*/ 987425 h 1704975"/>
                <a:gd name="connsiteX169" fmla="*/ 299125 w 1293444"/>
                <a:gd name="connsiteY169" fmla="*/ 974725 h 1704975"/>
                <a:gd name="connsiteX170" fmla="*/ 292775 w 1293444"/>
                <a:gd name="connsiteY170" fmla="*/ 955675 h 1704975"/>
                <a:gd name="connsiteX171" fmla="*/ 289600 w 1293444"/>
                <a:gd name="connsiteY171" fmla="*/ 946150 h 1704975"/>
                <a:gd name="connsiteX172" fmla="*/ 280075 w 1293444"/>
                <a:gd name="connsiteY172" fmla="*/ 923925 h 1704975"/>
                <a:gd name="connsiteX173" fmla="*/ 261025 w 1293444"/>
                <a:gd name="connsiteY173" fmla="*/ 908050 h 1704975"/>
                <a:gd name="connsiteX174" fmla="*/ 241975 w 1293444"/>
                <a:gd name="connsiteY174" fmla="*/ 901700 h 1704975"/>
                <a:gd name="connsiteX175" fmla="*/ 222925 w 1293444"/>
                <a:gd name="connsiteY175" fmla="*/ 889000 h 1704975"/>
                <a:gd name="connsiteX176" fmla="*/ 213400 w 1293444"/>
                <a:gd name="connsiteY176" fmla="*/ 885825 h 1704975"/>
                <a:gd name="connsiteX177" fmla="*/ 194350 w 1293444"/>
                <a:gd name="connsiteY177" fmla="*/ 873125 h 1704975"/>
                <a:gd name="connsiteX178" fmla="*/ 175300 w 1293444"/>
                <a:gd name="connsiteY178" fmla="*/ 860425 h 1704975"/>
                <a:gd name="connsiteX179" fmla="*/ 162600 w 1293444"/>
                <a:gd name="connsiteY179" fmla="*/ 850900 h 1704975"/>
                <a:gd name="connsiteX180" fmla="*/ 153075 w 1293444"/>
                <a:gd name="connsiteY180" fmla="*/ 847725 h 1704975"/>
                <a:gd name="connsiteX181" fmla="*/ 134025 w 1293444"/>
                <a:gd name="connsiteY181" fmla="*/ 835025 h 1704975"/>
                <a:gd name="connsiteX182" fmla="*/ 114975 w 1293444"/>
                <a:gd name="connsiteY182" fmla="*/ 822325 h 1704975"/>
                <a:gd name="connsiteX183" fmla="*/ 105450 w 1293444"/>
                <a:gd name="connsiteY183" fmla="*/ 815975 h 1704975"/>
                <a:gd name="connsiteX184" fmla="*/ 95925 w 1293444"/>
                <a:gd name="connsiteY184" fmla="*/ 812800 h 1704975"/>
                <a:gd name="connsiteX185" fmla="*/ 64175 w 1293444"/>
                <a:gd name="connsiteY185" fmla="*/ 790575 h 1704975"/>
                <a:gd name="connsiteX186" fmla="*/ 54650 w 1293444"/>
                <a:gd name="connsiteY186" fmla="*/ 787400 h 1704975"/>
                <a:gd name="connsiteX187" fmla="*/ 38775 w 1293444"/>
                <a:gd name="connsiteY187" fmla="*/ 771525 h 1704975"/>
                <a:gd name="connsiteX188" fmla="*/ 29250 w 1293444"/>
                <a:gd name="connsiteY188" fmla="*/ 762000 h 1704975"/>
                <a:gd name="connsiteX189" fmla="*/ 19725 w 1293444"/>
                <a:gd name="connsiteY189" fmla="*/ 758825 h 1704975"/>
                <a:gd name="connsiteX190" fmla="*/ 675 w 1293444"/>
                <a:gd name="connsiteY190" fmla="*/ 746125 h 1704975"/>
                <a:gd name="connsiteX191" fmla="*/ 51475 w 1293444"/>
                <a:gd name="connsiteY191" fmla="*/ 739775 h 1704975"/>
                <a:gd name="connsiteX192" fmla="*/ 67350 w 1293444"/>
                <a:gd name="connsiteY192" fmla="*/ 736600 h 1704975"/>
                <a:gd name="connsiteX193" fmla="*/ 102275 w 1293444"/>
                <a:gd name="connsiteY193" fmla="*/ 733425 h 1704975"/>
                <a:gd name="connsiteX194" fmla="*/ 130850 w 1293444"/>
                <a:gd name="connsiteY194" fmla="*/ 727075 h 1704975"/>
                <a:gd name="connsiteX195" fmla="*/ 149900 w 1293444"/>
                <a:gd name="connsiteY195" fmla="*/ 723900 h 1704975"/>
                <a:gd name="connsiteX196" fmla="*/ 159425 w 1293444"/>
                <a:gd name="connsiteY196" fmla="*/ 720725 h 1704975"/>
                <a:gd name="connsiteX197" fmla="*/ 175300 w 1293444"/>
                <a:gd name="connsiteY197" fmla="*/ 717550 h 1704975"/>
                <a:gd name="connsiteX198" fmla="*/ 194350 w 1293444"/>
                <a:gd name="connsiteY198" fmla="*/ 711200 h 1704975"/>
                <a:gd name="connsiteX199" fmla="*/ 222925 w 1293444"/>
                <a:gd name="connsiteY199" fmla="*/ 701675 h 1704975"/>
                <a:gd name="connsiteX200" fmla="*/ 232450 w 1293444"/>
                <a:gd name="connsiteY200" fmla="*/ 698500 h 1704975"/>
                <a:gd name="connsiteX201" fmla="*/ 241975 w 1293444"/>
                <a:gd name="connsiteY201" fmla="*/ 695325 h 1704975"/>
                <a:gd name="connsiteX202" fmla="*/ 381675 w 1293444"/>
                <a:gd name="connsiteY202" fmla="*/ 688975 h 1704975"/>
                <a:gd name="connsiteX203" fmla="*/ 397550 w 1293444"/>
                <a:gd name="connsiteY203" fmla="*/ 685800 h 1704975"/>
                <a:gd name="connsiteX204" fmla="*/ 407075 w 1293444"/>
                <a:gd name="connsiteY204" fmla="*/ 682625 h 1704975"/>
                <a:gd name="connsiteX205" fmla="*/ 419775 w 1293444"/>
                <a:gd name="connsiteY205" fmla="*/ 679450 h 1704975"/>
                <a:gd name="connsiteX206" fmla="*/ 438825 w 1293444"/>
                <a:gd name="connsiteY206" fmla="*/ 673100 h 1704975"/>
                <a:gd name="connsiteX207" fmla="*/ 467400 w 1293444"/>
                <a:gd name="connsiteY207" fmla="*/ 663575 h 1704975"/>
                <a:gd name="connsiteX208" fmla="*/ 495975 w 1293444"/>
                <a:gd name="connsiteY208" fmla="*/ 654050 h 1704975"/>
                <a:gd name="connsiteX209" fmla="*/ 505500 w 1293444"/>
                <a:gd name="connsiteY209" fmla="*/ 650875 h 1704975"/>
                <a:gd name="connsiteX210" fmla="*/ 527725 w 1293444"/>
                <a:gd name="connsiteY210" fmla="*/ 641350 h 1704975"/>
                <a:gd name="connsiteX211" fmla="*/ 537250 w 1293444"/>
                <a:gd name="connsiteY211" fmla="*/ 635000 h 1704975"/>
                <a:gd name="connsiteX212" fmla="*/ 546775 w 1293444"/>
                <a:gd name="connsiteY212" fmla="*/ 631825 h 1704975"/>
                <a:gd name="connsiteX213" fmla="*/ 559475 w 1293444"/>
                <a:gd name="connsiteY213" fmla="*/ 625475 h 1704975"/>
                <a:gd name="connsiteX214" fmla="*/ 578525 w 1293444"/>
                <a:gd name="connsiteY214" fmla="*/ 657225 h 1704975"/>
                <a:gd name="connsiteX215" fmla="*/ 588050 w 1293444"/>
                <a:gd name="connsiteY215" fmla="*/ 660400 h 1704975"/>
                <a:gd name="connsiteX216" fmla="*/ 607100 w 1293444"/>
                <a:gd name="connsiteY216" fmla="*/ 673100 h 1704975"/>
                <a:gd name="connsiteX217" fmla="*/ 626150 w 1293444"/>
                <a:gd name="connsiteY217" fmla="*/ 679450 h 1704975"/>
                <a:gd name="connsiteX218" fmla="*/ 635675 w 1293444"/>
                <a:gd name="connsiteY218" fmla="*/ 685800 h 1704975"/>
                <a:gd name="connsiteX219" fmla="*/ 654725 w 1293444"/>
                <a:gd name="connsiteY219" fmla="*/ 692150 h 1704975"/>
                <a:gd name="connsiteX220" fmla="*/ 645200 w 1293444"/>
                <a:gd name="connsiteY220" fmla="*/ 682625 h 1704975"/>
                <a:gd name="connsiteX221" fmla="*/ 635675 w 1293444"/>
                <a:gd name="connsiteY221" fmla="*/ 676275 h 1704975"/>
                <a:gd name="connsiteX222" fmla="*/ 632500 w 1293444"/>
                <a:gd name="connsiteY222" fmla="*/ 666750 h 1704975"/>
                <a:gd name="connsiteX223" fmla="*/ 635675 w 1293444"/>
                <a:gd name="connsiteY223" fmla="*/ 590550 h 1704975"/>
                <a:gd name="connsiteX224" fmla="*/ 642025 w 1293444"/>
                <a:gd name="connsiteY224" fmla="*/ 571500 h 1704975"/>
                <a:gd name="connsiteX225" fmla="*/ 648375 w 1293444"/>
                <a:gd name="connsiteY225" fmla="*/ 561975 h 1704975"/>
                <a:gd name="connsiteX226" fmla="*/ 638850 w 1293444"/>
                <a:gd name="connsiteY226" fmla="*/ 536575 h 1704975"/>
                <a:gd name="connsiteX227" fmla="*/ 629325 w 1293444"/>
                <a:gd name="connsiteY227" fmla="*/ 533400 h 1704975"/>
                <a:gd name="connsiteX228" fmla="*/ 626150 w 1293444"/>
                <a:gd name="connsiteY228" fmla="*/ 523875 h 1704975"/>
                <a:gd name="connsiteX229" fmla="*/ 632500 w 1293444"/>
                <a:gd name="connsiteY229" fmla="*/ 498475 h 1704975"/>
                <a:gd name="connsiteX230" fmla="*/ 635675 w 1293444"/>
                <a:gd name="connsiteY230" fmla="*/ 485775 h 1704975"/>
                <a:gd name="connsiteX231" fmla="*/ 626150 w 1293444"/>
                <a:gd name="connsiteY231" fmla="*/ 463550 h 1704975"/>
                <a:gd name="connsiteX232" fmla="*/ 616625 w 1293444"/>
                <a:gd name="connsiteY232" fmla="*/ 460375 h 1704975"/>
                <a:gd name="connsiteX233" fmla="*/ 607100 w 1293444"/>
                <a:gd name="connsiteY233" fmla="*/ 454025 h 1704975"/>
                <a:gd name="connsiteX234" fmla="*/ 591225 w 1293444"/>
                <a:gd name="connsiteY234" fmla="*/ 450850 h 1704975"/>
                <a:gd name="connsiteX235" fmla="*/ 569000 w 1293444"/>
                <a:gd name="connsiteY235" fmla="*/ 441325 h 1704975"/>
                <a:gd name="connsiteX236" fmla="*/ 546775 w 1293444"/>
                <a:gd name="connsiteY236" fmla="*/ 415925 h 1704975"/>
                <a:gd name="connsiteX237" fmla="*/ 540425 w 1293444"/>
                <a:gd name="connsiteY237" fmla="*/ 406400 h 1704975"/>
                <a:gd name="connsiteX238" fmla="*/ 530900 w 1293444"/>
                <a:gd name="connsiteY238" fmla="*/ 400050 h 1704975"/>
                <a:gd name="connsiteX239" fmla="*/ 508675 w 1293444"/>
                <a:gd name="connsiteY239" fmla="*/ 374650 h 1704975"/>
                <a:gd name="connsiteX240" fmla="*/ 502325 w 1293444"/>
                <a:gd name="connsiteY240" fmla="*/ 365125 h 1704975"/>
                <a:gd name="connsiteX241" fmla="*/ 483275 w 1293444"/>
                <a:gd name="connsiteY241" fmla="*/ 346075 h 1704975"/>
                <a:gd name="connsiteX242" fmla="*/ 486450 w 1293444"/>
                <a:gd name="connsiteY242" fmla="*/ 333375 h 1704975"/>
                <a:gd name="connsiteX243" fmla="*/ 492800 w 1293444"/>
                <a:gd name="connsiteY243" fmla="*/ 314325 h 1704975"/>
                <a:gd name="connsiteX244" fmla="*/ 489625 w 1293444"/>
                <a:gd name="connsiteY244" fmla="*/ 292100 h 1704975"/>
                <a:gd name="connsiteX245" fmla="*/ 461050 w 1293444"/>
                <a:gd name="connsiteY245" fmla="*/ 266700 h 1704975"/>
                <a:gd name="connsiteX246" fmla="*/ 435650 w 1293444"/>
                <a:gd name="connsiteY246" fmla="*/ 254000 h 1704975"/>
                <a:gd name="connsiteX247" fmla="*/ 413425 w 1293444"/>
                <a:gd name="connsiteY247" fmla="*/ 238125 h 1704975"/>
                <a:gd name="connsiteX248" fmla="*/ 403900 w 1293444"/>
                <a:gd name="connsiteY248" fmla="*/ 231775 h 1704975"/>
                <a:gd name="connsiteX249" fmla="*/ 388025 w 1293444"/>
                <a:gd name="connsiteY249" fmla="*/ 212725 h 1704975"/>
                <a:gd name="connsiteX250" fmla="*/ 372150 w 1293444"/>
                <a:gd name="connsiteY250" fmla="*/ 196850 h 1704975"/>
                <a:gd name="connsiteX251" fmla="*/ 365800 w 1293444"/>
                <a:gd name="connsiteY251" fmla="*/ 177800 h 1704975"/>
                <a:gd name="connsiteX252" fmla="*/ 359450 w 1293444"/>
                <a:gd name="connsiteY252" fmla="*/ 149225 h 1704975"/>
                <a:gd name="connsiteX253" fmla="*/ 362625 w 1293444"/>
                <a:gd name="connsiteY253" fmla="*/ 114300 h 1704975"/>
                <a:gd name="connsiteX254" fmla="*/ 368975 w 1293444"/>
                <a:gd name="connsiteY254" fmla="*/ 104775 h 1704975"/>
                <a:gd name="connsiteX255" fmla="*/ 375325 w 1293444"/>
                <a:gd name="connsiteY255"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65900 w 1293444"/>
                <a:gd name="connsiteY53" fmla="*/ 454025 h 1704975"/>
                <a:gd name="connsiteX54" fmla="*/ 1207175 w 1293444"/>
                <a:gd name="connsiteY54" fmla="*/ 457200 h 1704975"/>
                <a:gd name="connsiteX55" fmla="*/ 1216700 w 1293444"/>
                <a:gd name="connsiteY55" fmla="*/ 463550 h 1704975"/>
                <a:gd name="connsiteX56" fmla="*/ 1270675 w 1293444"/>
                <a:gd name="connsiteY56" fmla="*/ 469900 h 1704975"/>
                <a:gd name="connsiteX57" fmla="*/ 1277025 w 1293444"/>
                <a:gd name="connsiteY57" fmla="*/ 479425 h 1704975"/>
                <a:gd name="connsiteX58" fmla="*/ 1273850 w 1293444"/>
                <a:gd name="connsiteY58" fmla="*/ 488950 h 1704975"/>
                <a:gd name="connsiteX59" fmla="*/ 1270675 w 1293444"/>
                <a:gd name="connsiteY59" fmla="*/ 511175 h 1704975"/>
                <a:gd name="connsiteX60" fmla="*/ 1264325 w 1293444"/>
                <a:gd name="connsiteY60" fmla="*/ 530225 h 1704975"/>
                <a:gd name="connsiteX61" fmla="*/ 1261150 w 1293444"/>
                <a:gd name="connsiteY61" fmla="*/ 539750 h 1704975"/>
                <a:gd name="connsiteX62" fmla="*/ 1254800 w 1293444"/>
                <a:gd name="connsiteY62" fmla="*/ 571500 h 1704975"/>
                <a:gd name="connsiteX63" fmla="*/ 1254800 w 1293444"/>
                <a:gd name="connsiteY63" fmla="*/ 692150 h 1704975"/>
                <a:gd name="connsiteX64" fmla="*/ 1257975 w 1293444"/>
                <a:gd name="connsiteY64" fmla="*/ 714375 h 1704975"/>
                <a:gd name="connsiteX65" fmla="*/ 1261150 w 1293444"/>
                <a:gd name="connsiteY65" fmla="*/ 723900 h 1704975"/>
                <a:gd name="connsiteX66" fmla="*/ 1273850 w 1293444"/>
                <a:gd name="connsiteY66" fmla="*/ 727075 h 1704975"/>
                <a:gd name="connsiteX67" fmla="*/ 1292900 w 1293444"/>
                <a:gd name="connsiteY67" fmla="*/ 739775 h 1704975"/>
                <a:gd name="connsiteX68" fmla="*/ 1289725 w 1293444"/>
                <a:gd name="connsiteY68" fmla="*/ 784225 h 1704975"/>
                <a:gd name="connsiteX69" fmla="*/ 1273850 w 1293444"/>
                <a:gd name="connsiteY69" fmla="*/ 800100 h 1704975"/>
                <a:gd name="connsiteX70" fmla="*/ 1264325 w 1293444"/>
                <a:gd name="connsiteY70" fmla="*/ 809625 h 1704975"/>
                <a:gd name="connsiteX71" fmla="*/ 1219875 w 1293444"/>
                <a:gd name="connsiteY71" fmla="*/ 819150 h 1704975"/>
                <a:gd name="connsiteX72" fmla="*/ 1200825 w 1293444"/>
                <a:gd name="connsiteY72" fmla="*/ 825500 h 1704975"/>
                <a:gd name="connsiteX73" fmla="*/ 1181775 w 1293444"/>
                <a:gd name="connsiteY73" fmla="*/ 838200 h 1704975"/>
                <a:gd name="connsiteX74" fmla="*/ 1172250 w 1293444"/>
                <a:gd name="connsiteY74" fmla="*/ 844550 h 1704975"/>
                <a:gd name="connsiteX75" fmla="*/ 1153200 w 1293444"/>
                <a:gd name="connsiteY75" fmla="*/ 850900 h 1704975"/>
                <a:gd name="connsiteX76" fmla="*/ 1140500 w 1293444"/>
                <a:gd name="connsiteY76" fmla="*/ 857250 h 1704975"/>
                <a:gd name="connsiteX77" fmla="*/ 1130975 w 1293444"/>
                <a:gd name="connsiteY77" fmla="*/ 863600 h 1704975"/>
                <a:gd name="connsiteX78" fmla="*/ 1105575 w 1293444"/>
                <a:gd name="connsiteY78" fmla="*/ 866775 h 1704975"/>
                <a:gd name="connsiteX79" fmla="*/ 1086525 w 1293444"/>
                <a:gd name="connsiteY79" fmla="*/ 873125 h 1704975"/>
                <a:gd name="connsiteX80" fmla="*/ 1077000 w 1293444"/>
                <a:gd name="connsiteY80" fmla="*/ 879475 h 1704975"/>
                <a:gd name="connsiteX81" fmla="*/ 1057950 w 1293444"/>
                <a:gd name="connsiteY81" fmla="*/ 885825 h 1704975"/>
                <a:gd name="connsiteX82" fmla="*/ 1048425 w 1293444"/>
                <a:gd name="connsiteY82" fmla="*/ 889000 h 1704975"/>
                <a:gd name="connsiteX83" fmla="*/ 1029375 w 1293444"/>
                <a:gd name="connsiteY83" fmla="*/ 908050 h 1704975"/>
                <a:gd name="connsiteX84" fmla="*/ 1010325 w 1293444"/>
                <a:gd name="connsiteY84" fmla="*/ 914400 h 1704975"/>
                <a:gd name="connsiteX85" fmla="*/ 1003975 w 1293444"/>
                <a:gd name="connsiteY85" fmla="*/ 923925 h 1704975"/>
                <a:gd name="connsiteX86" fmla="*/ 994450 w 1293444"/>
                <a:gd name="connsiteY86" fmla="*/ 933450 h 1704975"/>
                <a:gd name="connsiteX87" fmla="*/ 991275 w 1293444"/>
                <a:gd name="connsiteY87" fmla="*/ 942975 h 1704975"/>
                <a:gd name="connsiteX88" fmla="*/ 988100 w 1293444"/>
                <a:gd name="connsiteY88" fmla="*/ 962025 h 1704975"/>
                <a:gd name="connsiteX89" fmla="*/ 969050 w 1293444"/>
                <a:gd name="connsiteY89" fmla="*/ 968375 h 1704975"/>
                <a:gd name="connsiteX90" fmla="*/ 950000 w 1293444"/>
                <a:gd name="connsiteY90" fmla="*/ 981075 h 1704975"/>
                <a:gd name="connsiteX91" fmla="*/ 940475 w 1293444"/>
                <a:gd name="connsiteY91" fmla="*/ 987425 h 1704975"/>
                <a:gd name="connsiteX92" fmla="*/ 930950 w 1293444"/>
                <a:gd name="connsiteY92" fmla="*/ 1006475 h 1704975"/>
                <a:gd name="connsiteX93" fmla="*/ 924600 w 1293444"/>
                <a:gd name="connsiteY93" fmla="*/ 1016000 h 1704975"/>
                <a:gd name="connsiteX94" fmla="*/ 921425 w 1293444"/>
                <a:gd name="connsiteY94" fmla="*/ 1025525 h 1704975"/>
                <a:gd name="connsiteX95" fmla="*/ 905550 w 1293444"/>
                <a:gd name="connsiteY95" fmla="*/ 1044575 h 1704975"/>
                <a:gd name="connsiteX96" fmla="*/ 896025 w 1293444"/>
                <a:gd name="connsiteY96" fmla="*/ 1063625 h 1704975"/>
                <a:gd name="connsiteX97" fmla="*/ 867450 w 1293444"/>
                <a:gd name="connsiteY97" fmla="*/ 1085850 h 1704975"/>
                <a:gd name="connsiteX98" fmla="*/ 848400 w 1293444"/>
                <a:gd name="connsiteY98" fmla="*/ 1095375 h 1704975"/>
                <a:gd name="connsiteX99" fmla="*/ 813475 w 1293444"/>
                <a:gd name="connsiteY99" fmla="*/ 1092200 h 1704975"/>
                <a:gd name="connsiteX100" fmla="*/ 772200 w 1293444"/>
                <a:gd name="connsiteY100" fmla="*/ 1098550 h 1704975"/>
                <a:gd name="connsiteX101" fmla="*/ 759500 w 1293444"/>
                <a:gd name="connsiteY101" fmla="*/ 1127125 h 1704975"/>
                <a:gd name="connsiteX102" fmla="*/ 756325 w 1293444"/>
                <a:gd name="connsiteY102" fmla="*/ 1136650 h 1704975"/>
                <a:gd name="connsiteX103" fmla="*/ 740450 w 1293444"/>
                <a:gd name="connsiteY103" fmla="*/ 1155700 h 1704975"/>
                <a:gd name="connsiteX104" fmla="*/ 718225 w 1293444"/>
                <a:gd name="connsiteY104" fmla="*/ 1181100 h 1704975"/>
                <a:gd name="connsiteX105" fmla="*/ 721400 w 1293444"/>
                <a:gd name="connsiteY105" fmla="*/ 1238250 h 1704975"/>
                <a:gd name="connsiteX106" fmla="*/ 727750 w 1293444"/>
                <a:gd name="connsiteY106" fmla="*/ 1247775 h 1704975"/>
                <a:gd name="connsiteX107" fmla="*/ 730925 w 1293444"/>
                <a:gd name="connsiteY107" fmla="*/ 1257300 h 1704975"/>
                <a:gd name="connsiteX108" fmla="*/ 740450 w 1293444"/>
                <a:gd name="connsiteY108" fmla="*/ 1276350 h 1704975"/>
                <a:gd name="connsiteX109" fmla="*/ 743625 w 1293444"/>
                <a:gd name="connsiteY109" fmla="*/ 1320800 h 1704975"/>
                <a:gd name="connsiteX110" fmla="*/ 746800 w 1293444"/>
                <a:gd name="connsiteY110" fmla="*/ 1330325 h 1704975"/>
                <a:gd name="connsiteX111" fmla="*/ 756325 w 1293444"/>
                <a:gd name="connsiteY111" fmla="*/ 1336675 h 1704975"/>
                <a:gd name="connsiteX112" fmla="*/ 762675 w 1293444"/>
                <a:gd name="connsiteY112" fmla="*/ 1346200 h 1704975"/>
                <a:gd name="connsiteX113" fmla="*/ 769025 w 1293444"/>
                <a:gd name="connsiteY113" fmla="*/ 1393825 h 1704975"/>
                <a:gd name="connsiteX114" fmla="*/ 775375 w 1293444"/>
                <a:gd name="connsiteY114" fmla="*/ 1412875 h 1704975"/>
                <a:gd name="connsiteX115" fmla="*/ 781725 w 1293444"/>
                <a:gd name="connsiteY115" fmla="*/ 1435100 h 1704975"/>
                <a:gd name="connsiteX116" fmla="*/ 772200 w 1293444"/>
                <a:gd name="connsiteY116" fmla="*/ 1460500 h 1704975"/>
                <a:gd name="connsiteX117" fmla="*/ 762675 w 1293444"/>
                <a:gd name="connsiteY117" fmla="*/ 1466850 h 1704975"/>
                <a:gd name="connsiteX118" fmla="*/ 753150 w 1293444"/>
                <a:gd name="connsiteY118" fmla="*/ 1485900 h 1704975"/>
                <a:gd name="connsiteX119" fmla="*/ 749975 w 1293444"/>
                <a:gd name="connsiteY119" fmla="*/ 1514475 h 1704975"/>
                <a:gd name="connsiteX120" fmla="*/ 740450 w 1293444"/>
                <a:gd name="connsiteY120" fmla="*/ 1520825 h 1704975"/>
                <a:gd name="connsiteX121" fmla="*/ 730925 w 1293444"/>
                <a:gd name="connsiteY121" fmla="*/ 1530350 h 1704975"/>
                <a:gd name="connsiteX122" fmla="*/ 718225 w 1293444"/>
                <a:gd name="connsiteY122" fmla="*/ 1549400 h 1704975"/>
                <a:gd name="connsiteX123" fmla="*/ 711875 w 1293444"/>
                <a:gd name="connsiteY123" fmla="*/ 1558925 h 1704975"/>
                <a:gd name="connsiteX124" fmla="*/ 702350 w 1293444"/>
                <a:gd name="connsiteY124" fmla="*/ 1568450 h 1704975"/>
                <a:gd name="connsiteX125" fmla="*/ 699175 w 1293444"/>
                <a:gd name="connsiteY125" fmla="*/ 1577975 h 1704975"/>
                <a:gd name="connsiteX126" fmla="*/ 686475 w 1293444"/>
                <a:gd name="connsiteY126" fmla="*/ 1597025 h 1704975"/>
                <a:gd name="connsiteX127" fmla="*/ 676950 w 1293444"/>
                <a:gd name="connsiteY127" fmla="*/ 1616075 h 1704975"/>
                <a:gd name="connsiteX128" fmla="*/ 667425 w 1293444"/>
                <a:gd name="connsiteY128" fmla="*/ 1619250 h 1704975"/>
                <a:gd name="connsiteX129" fmla="*/ 648375 w 1293444"/>
                <a:gd name="connsiteY129" fmla="*/ 1631950 h 1704975"/>
                <a:gd name="connsiteX130" fmla="*/ 638850 w 1293444"/>
                <a:gd name="connsiteY130" fmla="*/ 1638300 h 1704975"/>
                <a:gd name="connsiteX131" fmla="*/ 607100 w 1293444"/>
                <a:gd name="connsiteY131" fmla="*/ 1676400 h 1704975"/>
                <a:gd name="connsiteX132" fmla="*/ 556300 w 1293444"/>
                <a:gd name="connsiteY132" fmla="*/ 1679575 h 1704975"/>
                <a:gd name="connsiteX133" fmla="*/ 537250 w 1293444"/>
                <a:gd name="connsiteY133" fmla="*/ 1685925 h 1704975"/>
                <a:gd name="connsiteX134" fmla="*/ 515025 w 1293444"/>
                <a:gd name="connsiteY134" fmla="*/ 1698625 h 1704975"/>
                <a:gd name="connsiteX135" fmla="*/ 495975 w 1293444"/>
                <a:gd name="connsiteY135" fmla="*/ 1704975 h 1704975"/>
                <a:gd name="connsiteX136" fmla="*/ 476925 w 1293444"/>
                <a:gd name="connsiteY136" fmla="*/ 1701800 h 1704975"/>
                <a:gd name="connsiteX137" fmla="*/ 470575 w 1293444"/>
                <a:gd name="connsiteY137" fmla="*/ 1692275 h 1704975"/>
                <a:gd name="connsiteX138" fmla="*/ 467400 w 1293444"/>
                <a:gd name="connsiteY138" fmla="*/ 1660525 h 1704975"/>
                <a:gd name="connsiteX139" fmla="*/ 457875 w 1293444"/>
                <a:gd name="connsiteY139" fmla="*/ 1641475 h 1704975"/>
                <a:gd name="connsiteX140" fmla="*/ 448350 w 1293444"/>
                <a:gd name="connsiteY140" fmla="*/ 1635125 h 1704975"/>
                <a:gd name="connsiteX141" fmla="*/ 445175 w 1293444"/>
                <a:gd name="connsiteY141" fmla="*/ 1625600 h 1704975"/>
                <a:gd name="connsiteX142" fmla="*/ 435650 w 1293444"/>
                <a:gd name="connsiteY142" fmla="*/ 1606550 h 1704975"/>
                <a:gd name="connsiteX143" fmla="*/ 432475 w 1293444"/>
                <a:gd name="connsiteY143" fmla="*/ 1495425 h 1704975"/>
                <a:gd name="connsiteX144" fmla="*/ 429300 w 1293444"/>
                <a:gd name="connsiteY144" fmla="*/ 1485900 h 1704975"/>
                <a:gd name="connsiteX145" fmla="*/ 426125 w 1293444"/>
                <a:gd name="connsiteY145" fmla="*/ 1473200 h 1704975"/>
                <a:gd name="connsiteX146" fmla="*/ 419775 w 1293444"/>
                <a:gd name="connsiteY146" fmla="*/ 1463675 h 1704975"/>
                <a:gd name="connsiteX147" fmla="*/ 416600 w 1293444"/>
                <a:gd name="connsiteY147" fmla="*/ 1454150 h 1704975"/>
                <a:gd name="connsiteX148" fmla="*/ 403900 w 1293444"/>
                <a:gd name="connsiteY148" fmla="*/ 1435100 h 1704975"/>
                <a:gd name="connsiteX149" fmla="*/ 397550 w 1293444"/>
                <a:gd name="connsiteY149" fmla="*/ 1416050 h 1704975"/>
                <a:gd name="connsiteX150" fmla="*/ 394375 w 1293444"/>
                <a:gd name="connsiteY150" fmla="*/ 1381125 h 1704975"/>
                <a:gd name="connsiteX151" fmla="*/ 391200 w 1293444"/>
                <a:gd name="connsiteY151" fmla="*/ 1368425 h 1704975"/>
                <a:gd name="connsiteX152" fmla="*/ 388025 w 1293444"/>
                <a:gd name="connsiteY152" fmla="*/ 1352550 h 1704975"/>
                <a:gd name="connsiteX153" fmla="*/ 381675 w 1293444"/>
                <a:gd name="connsiteY153" fmla="*/ 1333500 h 1704975"/>
                <a:gd name="connsiteX154" fmla="*/ 378500 w 1293444"/>
                <a:gd name="connsiteY154" fmla="*/ 1323975 h 1704975"/>
                <a:gd name="connsiteX155" fmla="*/ 375325 w 1293444"/>
                <a:gd name="connsiteY155" fmla="*/ 1308100 h 1704975"/>
                <a:gd name="connsiteX156" fmla="*/ 368975 w 1293444"/>
                <a:gd name="connsiteY156" fmla="*/ 1289050 h 1704975"/>
                <a:gd name="connsiteX157" fmla="*/ 362625 w 1293444"/>
                <a:gd name="connsiteY157" fmla="*/ 1260475 h 1704975"/>
                <a:gd name="connsiteX158" fmla="*/ 359450 w 1293444"/>
                <a:gd name="connsiteY158" fmla="*/ 1231900 h 1704975"/>
                <a:gd name="connsiteX159" fmla="*/ 349925 w 1293444"/>
                <a:gd name="connsiteY159" fmla="*/ 1196975 h 1704975"/>
                <a:gd name="connsiteX160" fmla="*/ 340400 w 1293444"/>
                <a:gd name="connsiteY160" fmla="*/ 1155700 h 1704975"/>
                <a:gd name="connsiteX161" fmla="*/ 334050 w 1293444"/>
                <a:gd name="connsiteY161" fmla="*/ 1130300 h 1704975"/>
                <a:gd name="connsiteX162" fmla="*/ 327700 w 1293444"/>
                <a:gd name="connsiteY162" fmla="*/ 1104900 h 1704975"/>
                <a:gd name="connsiteX163" fmla="*/ 324525 w 1293444"/>
                <a:gd name="connsiteY163" fmla="*/ 1092200 h 1704975"/>
                <a:gd name="connsiteX164" fmla="*/ 318175 w 1293444"/>
                <a:gd name="connsiteY164" fmla="*/ 1050925 h 1704975"/>
                <a:gd name="connsiteX165" fmla="*/ 315000 w 1293444"/>
                <a:gd name="connsiteY165" fmla="*/ 1031875 h 1704975"/>
                <a:gd name="connsiteX166" fmla="*/ 311825 w 1293444"/>
                <a:gd name="connsiteY166" fmla="*/ 1022350 h 1704975"/>
                <a:gd name="connsiteX167" fmla="*/ 308650 w 1293444"/>
                <a:gd name="connsiteY167" fmla="*/ 1006475 h 1704975"/>
                <a:gd name="connsiteX168" fmla="*/ 302300 w 1293444"/>
                <a:gd name="connsiteY168" fmla="*/ 987425 h 1704975"/>
                <a:gd name="connsiteX169" fmla="*/ 299125 w 1293444"/>
                <a:gd name="connsiteY169" fmla="*/ 974725 h 1704975"/>
                <a:gd name="connsiteX170" fmla="*/ 292775 w 1293444"/>
                <a:gd name="connsiteY170" fmla="*/ 955675 h 1704975"/>
                <a:gd name="connsiteX171" fmla="*/ 289600 w 1293444"/>
                <a:gd name="connsiteY171" fmla="*/ 946150 h 1704975"/>
                <a:gd name="connsiteX172" fmla="*/ 280075 w 1293444"/>
                <a:gd name="connsiteY172" fmla="*/ 923925 h 1704975"/>
                <a:gd name="connsiteX173" fmla="*/ 261025 w 1293444"/>
                <a:gd name="connsiteY173" fmla="*/ 908050 h 1704975"/>
                <a:gd name="connsiteX174" fmla="*/ 241975 w 1293444"/>
                <a:gd name="connsiteY174" fmla="*/ 901700 h 1704975"/>
                <a:gd name="connsiteX175" fmla="*/ 222925 w 1293444"/>
                <a:gd name="connsiteY175" fmla="*/ 889000 h 1704975"/>
                <a:gd name="connsiteX176" fmla="*/ 213400 w 1293444"/>
                <a:gd name="connsiteY176" fmla="*/ 885825 h 1704975"/>
                <a:gd name="connsiteX177" fmla="*/ 194350 w 1293444"/>
                <a:gd name="connsiteY177" fmla="*/ 873125 h 1704975"/>
                <a:gd name="connsiteX178" fmla="*/ 175300 w 1293444"/>
                <a:gd name="connsiteY178" fmla="*/ 860425 h 1704975"/>
                <a:gd name="connsiteX179" fmla="*/ 162600 w 1293444"/>
                <a:gd name="connsiteY179" fmla="*/ 850900 h 1704975"/>
                <a:gd name="connsiteX180" fmla="*/ 153075 w 1293444"/>
                <a:gd name="connsiteY180" fmla="*/ 847725 h 1704975"/>
                <a:gd name="connsiteX181" fmla="*/ 134025 w 1293444"/>
                <a:gd name="connsiteY181" fmla="*/ 835025 h 1704975"/>
                <a:gd name="connsiteX182" fmla="*/ 114975 w 1293444"/>
                <a:gd name="connsiteY182" fmla="*/ 822325 h 1704975"/>
                <a:gd name="connsiteX183" fmla="*/ 105450 w 1293444"/>
                <a:gd name="connsiteY183" fmla="*/ 815975 h 1704975"/>
                <a:gd name="connsiteX184" fmla="*/ 95925 w 1293444"/>
                <a:gd name="connsiteY184" fmla="*/ 812800 h 1704975"/>
                <a:gd name="connsiteX185" fmla="*/ 64175 w 1293444"/>
                <a:gd name="connsiteY185" fmla="*/ 790575 h 1704975"/>
                <a:gd name="connsiteX186" fmla="*/ 54650 w 1293444"/>
                <a:gd name="connsiteY186" fmla="*/ 787400 h 1704975"/>
                <a:gd name="connsiteX187" fmla="*/ 38775 w 1293444"/>
                <a:gd name="connsiteY187" fmla="*/ 771525 h 1704975"/>
                <a:gd name="connsiteX188" fmla="*/ 29250 w 1293444"/>
                <a:gd name="connsiteY188" fmla="*/ 762000 h 1704975"/>
                <a:gd name="connsiteX189" fmla="*/ 19725 w 1293444"/>
                <a:gd name="connsiteY189" fmla="*/ 758825 h 1704975"/>
                <a:gd name="connsiteX190" fmla="*/ 675 w 1293444"/>
                <a:gd name="connsiteY190" fmla="*/ 746125 h 1704975"/>
                <a:gd name="connsiteX191" fmla="*/ 51475 w 1293444"/>
                <a:gd name="connsiteY191" fmla="*/ 739775 h 1704975"/>
                <a:gd name="connsiteX192" fmla="*/ 67350 w 1293444"/>
                <a:gd name="connsiteY192" fmla="*/ 736600 h 1704975"/>
                <a:gd name="connsiteX193" fmla="*/ 102275 w 1293444"/>
                <a:gd name="connsiteY193" fmla="*/ 733425 h 1704975"/>
                <a:gd name="connsiteX194" fmla="*/ 130850 w 1293444"/>
                <a:gd name="connsiteY194" fmla="*/ 727075 h 1704975"/>
                <a:gd name="connsiteX195" fmla="*/ 149900 w 1293444"/>
                <a:gd name="connsiteY195" fmla="*/ 723900 h 1704975"/>
                <a:gd name="connsiteX196" fmla="*/ 159425 w 1293444"/>
                <a:gd name="connsiteY196" fmla="*/ 720725 h 1704975"/>
                <a:gd name="connsiteX197" fmla="*/ 175300 w 1293444"/>
                <a:gd name="connsiteY197" fmla="*/ 717550 h 1704975"/>
                <a:gd name="connsiteX198" fmla="*/ 194350 w 1293444"/>
                <a:gd name="connsiteY198" fmla="*/ 711200 h 1704975"/>
                <a:gd name="connsiteX199" fmla="*/ 222925 w 1293444"/>
                <a:gd name="connsiteY199" fmla="*/ 701675 h 1704975"/>
                <a:gd name="connsiteX200" fmla="*/ 232450 w 1293444"/>
                <a:gd name="connsiteY200" fmla="*/ 698500 h 1704975"/>
                <a:gd name="connsiteX201" fmla="*/ 241975 w 1293444"/>
                <a:gd name="connsiteY201" fmla="*/ 695325 h 1704975"/>
                <a:gd name="connsiteX202" fmla="*/ 381675 w 1293444"/>
                <a:gd name="connsiteY202" fmla="*/ 688975 h 1704975"/>
                <a:gd name="connsiteX203" fmla="*/ 397550 w 1293444"/>
                <a:gd name="connsiteY203" fmla="*/ 685800 h 1704975"/>
                <a:gd name="connsiteX204" fmla="*/ 407075 w 1293444"/>
                <a:gd name="connsiteY204" fmla="*/ 682625 h 1704975"/>
                <a:gd name="connsiteX205" fmla="*/ 419775 w 1293444"/>
                <a:gd name="connsiteY205" fmla="*/ 679450 h 1704975"/>
                <a:gd name="connsiteX206" fmla="*/ 438825 w 1293444"/>
                <a:gd name="connsiteY206" fmla="*/ 673100 h 1704975"/>
                <a:gd name="connsiteX207" fmla="*/ 467400 w 1293444"/>
                <a:gd name="connsiteY207" fmla="*/ 663575 h 1704975"/>
                <a:gd name="connsiteX208" fmla="*/ 495975 w 1293444"/>
                <a:gd name="connsiteY208" fmla="*/ 654050 h 1704975"/>
                <a:gd name="connsiteX209" fmla="*/ 505500 w 1293444"/>
                <a:gd name="connsiteY209" fmla="*/ 650875 h 1704975"/>
                <a:gd name="connsiteX210" fmla="*/ 527725 w 1293444"/>
                <a:gd name="connsiteY210" fmla="*/ 641350 h 1704975"/>
                <a:gd name="connsiteX211" fmla="*/ 537250 w 1293444"/>
                <a:gd name="connsiteY211" fmla="*/ 635000 h 1704975"/>
                <a:gd name="connsiteX212" fmla="*/ 546775 w 1293444"/>
                <a:gd name="connsiteY212" fmla="*/ 631825 h 1704975"/>
                <a:gd name="connsiteX213" fmla="*/ 559475 w 1293444"/>
                <a:gd name="connsiteY213" fmla="*/ 625475 h 1704975"/>
                <a:gd name="connsiteX214" fmla="*/ 578525 w 1293444"/>
                <a:gd name="connsiteY214" fmla="*/ 657225 h 1704975"/>
                <a:gd name="connsiteX215" fmla="*/ 588050 w 1293444"/>
                <a:gd name="connsiteY215" fmla="*/ 660400 h 1704975"/>
                <a:gd name="connsiteX216" fmla="*/ 607100 w 1293444"/>
                <a:gd name="connsiteY216" fmla="*/ 673100 h 1704975"/>
                <a:gd name="connsiteX217" fmla="*/ 626150 w 1293444"/>
                <a:gd name="connsiteY217" fmla="*/ 679450 h 1704975"/>
                <a:gd name="connsiteX218" fmla="*/ 635675 w 1293444"/>
                <a:gd name="connsiteY218" fmla="*/ 685800 h 1704975"/>
                <a:gd name="connsiteX219" fmla="*/ 654725 w 1293444"/>
                <a:gd name="connsiteY219" fmla="*/ 692150 h 1704975"/>
                <a:gd name="connsiteX220" fmla="*/ 645200 w 1293444"/>
                <a:gd name="connsiteY220" fmla="*/ 682625 h 1704975"/>
                <a:gd name="connsiteX221" fmla="*/ 635675 w 1293444"/>
                <a:gd name="connsiteY221" fmla="*/ 676275 h 1704975"/>
                <a:gd name="connsiteX222" fmla="*/ 632500 w 1293444"/>
                <a:gd name="connsiteY222" fmla="*/ 666750 h 1704975"/>
                <a:gd name="connsiteX223" fmla="*/ 635675 w 1293444"/>
                <a:gd name="connsiteY223" fmla="*/ 590550 h 1704975"/>
                <a:gd name="connsiteX224" fmla="*/ 642025 w 1293444"/>
                <a:gd name="connsiteY224" fmla="*/ 571500 h 1704975"/>
                <a:gd name="connsiteX225" fmla="*/ 648375 w 1293444"/>
                <a:gd name="connsiteY225" fmla="*/ 561975 h 1704975"/>
                <a:gd name="connsiteX226" fmla="*/ 638850 w 1293444"/>
                <a:gd name="connsiteY226" fmla="*/ 536575 h 1704975"/>
                <a:gd name="connsiteX227" fmla="*/ 629325 w 1293444"/>
                <a:gd name="connsiteY227" fmla="*/ 533400 h 1704975"/>
                <a:gd name="connsiteX228" fmla="*/ 626150 w 1293444"/>
                <a:gd name="connsiteY228" fmla="*/ 523875 h 1704975"/>
                <a:gd name="connsiteX229" fmla="*/ 632500 w 1293444"/>
                <a:gd name="connsiteY229" fmla="*/ 498475 h 1704975"/>
                <a:gd name="connsiteX230" fmla="*/ 635675 w 1293444"/>
                <a:gd name="connsiteY230" fmla="*/ 485775 h 1704975"/>
                <a:gd name="connsiteX231" fmla="*/ 626150 w 1293444"/>
                <a:gd name="connsiteY231" fmla="*/ 463550 h 1704975"/>
                <a:gd name="connsiteX232" fmla="*/ 616625 w 1293444"/>
                <a:gd name="connsiteY232" fmla="*/ 460375 h 1704975"/>
                <a:gd name="connsiteX233" fmla="*/ 607100 w 1293444"/>
                <a:gd name="connsiteY233" fmla="*/ 454025 h 1704975"/>
                <a:gd name="connsiteX234" fmla="*/ 591225 w 1293444"/>
                <a:gd name="connsiteY234" fmla="*/ 450850 h 1704975"/>
                <a:gd name="connsiteX235" fmla="*/ 569000 w 1293444"/>
                <a:gd name="connsiteY235" fmla="*/ 441325 h 1704975"/>
                <a:gd name="connsiteX236" fmla="*/ 546775 w 1293444"/>
                <a:gd name="connsiteY236" fmla="*/ 415925 h 1704975"/>
                <a:gd name="connsiteX237" fmla="*/ 540425 w 1293444"/>
                <a:gd name="connsiteY237" fmla="*/ 406400 h 1704975"/>
                <a:gd name="connsiteX238" fmla="*/ 530900 w 1293444"/>
                <a:gd name="connsiteY238" fmla="*/ 400050 h 1704975"/>
                <a:gd name="connsiteX239" fmla="*/ 508675 w 1293444"/>
                <a:gd name="connsiteY239" fmla="*/ 374650 h 1704975"/>
                <a:gd name="connsiteX240" fmla="*/ 502325 w 1293444"/>
                <a:gd name="connsiteY240" fmla="*/ 365125 h 1704975"/>
                <a:gd name="connsiteX241" fmla="*/ 483275 w 1293444"/>
                <a:gd name="connsiteY241" fmla="*/ 346075 h 1704975"/>
                <a:gd name="connsiteX242" fmla="*/ 486450 w 1293444"/>
                <a:gd name="connsiteY242" fmla="*/ 333375 h 1704975"/>
                <a:gd name="connsiteX243" fmla="*/ 492800 w 1293444"/>
                <a:gd name="connsiteY243" fmla="*/ 314325 h 1704975"/>
                <a:gd name="connsiteX244" fmla="*/ 489625 w 1293444"/>
                <a:gd name="connsiteY244" fmla="*/ 292100 h 1704975"/>
                <a:gd name="connsiteX245" fmla="*/ 461050 w 1293444"/>
                <a:gd name="connsiteY245" fmla="*/ 266700 h 1704975"/>
                <a:gd name="connsiteX246" fmla="*/ 435650 w 1293444"/>
                <a:gd name="connsiteY246" fmla="*/ 254000 h 1704975"/>
                <a:gd name="connsiteX247" fmla="*/ 413425 w 1293444"/>
                <a:gd name="connsiteY247" fmla="*/ 238125 h 1704975"/>
                <a:gd name="connsiteX248" fmla="*/ 403900 w 1293444"/>
                <a:gd name="connsiteY248" fmla="*/ 231775 h 1704975"/>
                <a:gd name="connsiteX249" fmla="*/ 388025 w 1293444"/>
                <a:gd name="connsiteY249" fmla="*/ 212725 h 1704975"/>
                <a:gd name="connsiteX250" fmla="*/ 372150 w 1293444"/>
                <a:gd name="connsiteY250" fmla="*/ 196850 h 1704975"/>
                <a:gd name="connsiteX251" fmla="*/ 365800 w 1293444"/>
                <a:gd name="connsiteY251" fmla="*/ 177800 h 1704975"/>
                <a:gd name="connsiteX252" fmla="*/ 359450 w 1293444"/>
                <a:gd name="connsiteY252" fmla="*/ 149225 h 1704975"/>
                <a:gd name="connsiteX253" fmla="*/ 362625 w 1293444"/>
                <a:gd name="connsiteY253" fmla="*/ 114300 h 1704975"/>
                <a:gd name="connsiteX254" fmla="*/ 368975 w 1293444"/>
                <a:gd name="connsiteY254" fmla="*/ 104775 h 1704975"/>
                <a:gd name="connsiteX255" fmla="*/ 375325 w 1293444"/>
                <a:gd name="connsiteY255"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43675 w 1293444"/>
                <a:gd name="connsiteY53" fmla="*/ 393700 h 1704975"/>
                <a:gd name="connsiteX54" fmla="*/ 1165900 w 1293444"/>
                <a:gd name="connsiteY54" fmla="*/ 454025 h 1704975"/>
                <a:gd name="connsiteX55" fmla="*/ 1207175 w 1293444"/>
                <a:gd name="connsiteY55" fmla="*/ 457200 h 1704975"/>
                <a:gd name="connsiteX56" fmla="*/ 1216700 w 1293444"/>
                <a:gd name="connsiteY56" fmla="*/ 463550 h 1704975"/>
                <a:gd name="connsiteX57" fmla="*/ 1270675 w 1293444"/>
                <a:gd name="connsiteY57" fmla="*/ 469900 h 1704975"/>
                <a:gd name="connsiteX58" fmla="*/ 1277025 w 1293444"/>
                <a:gd name="connsiteY58" fmla="*/ 479425 h 1704975"/>
                <a:gd name="connsiteX59" fmla="*/ 1273850 w 1293444"/>
                <a:gd name="connsiteY59" fmla="*/ 488950 h 1704975"/>
                <a:gd name="connsiteX60" fmla="*/ 1270675 w 1293444"/>
                <a:gd name="connsiteY60" fmla="*/ 511175 h 1704975"/>
                <a:gd name="connsiteX61" fmla="*/ 1264325 w 1293444"/>
                <a:gd name="connsiteY61" fmla="*/ 530225 h 1704975"/>
                <a:gd name="connsiteX62" fmla="*/ 1261150 w 1293444"/>
                <a:gd name="connsiteY62" fmla="*/ 539750 h 1704975"/>
                <a:gd name="connsiteX63" fmla="*/ 1254800 w 1293444"/>
                <a:gd name="connsiteY63" fmla="*/ 571500 h 1704975"/>
                <a:gd name="connsiteX64" fmla="*/ 1254800 w 1293444"/>
                <a:gd name="connsiteY64" fmla="*/ 692150 h 1704975"/>
                <a:gd name="connsiteX65" fmla="*/ 1257975 w 1293444"/>
                <a:gd name="connsiteY65" fmla="*/ 714375 h 1704975"/>
                <a:gd name="connsiteX66" fmla="*/ 1261150 w 1293444"/>
                <a:gd name="connsiteY66" fmla="*/ 723900 h 1704975"/>
                <a:gd name="connsiteX67" fmla="*/ 1273850 w 1293444"/>
                <a:gd name="connsiteY67" fmla="*/ 727075 h 1704975"/>
                <a:gd name="connsiteX68" fmla="*/ 1292900 w 1293444"/>
                <a:gd name="connsiteY68" fmla="*/ 739775 h 1704975"/>
                <a:gd name="connsiteX69" fmla="*/ 1289725 w 1293444"/>
                <a:gd name="connsiteY69" fmla="*/ 784225 h 1704975"/>
                <a:gd name="connsiteX70" fmla="*/ 1273850 w 1293444"/>
                <a:gd name="connsiteY70" fmla="*/ 800100 h 1704975"/>
                <a:gd name="connsiteX71" fmla="*/ 1264325 w 1293444"/>
                <a:gd name="connsiteY71" fmla="*/ 809625 h 1704975"/>
                <a:gd name="connsiteX72" fmla="*/ 1219875 w 1293444"/>
                <a:gd name="connsiteY72" fmla="*/ 819150 h 1704975"/>
                <a:gd name="connsiteX73" fmla="*/ 1200825 w 1293444"/>
                <a:gd name="connsiteY73" fmla="*/ 825500 h 1704975"/>
                <a:gd name="connsiteX74" fmla="*/ 1181775 w 1293444"/>
                <a:gd name="connsiteY74" fmla="*/ 838200 h 1704975"/>
                <a:gd name="connsiteX75" fmla="*/ 1172250 w 1293444"/>
                <a:gd name="connsiteY75" fmla="*/ 844550 h 1704975"/>
                <a:gd name="connsiteX76" fmla="*/ 1153200 w 1293444"/>
                <a:gd name="connsiteY76" fmla="*/ 850900 h 1704975"/>
                <a:gd name="connsiteX77" fmla="*/ 1140500 w 1293444"/>
                <a:gd name="connsiteY77" fmla="*/ 857250 h 1704975"/>
                <a:gd name="connsiteX78" fmla="*/ 1130975 w 1293444"/>
                <a:gd name="connsiteY78" fmla="*/ 863600 h 1704975"/>
                <a:gd name="connsiteX79" fmla="*/ 1105575 w 1293444"/>
                <a:gd name="connsiteY79" fmla="*/ 866775 h 1704975"/>
                <a:gd name="connsiteX80" fmla="*/ 1086525 w 1293444"/>
                <a:gd name="connsiteY80" fmla="*/ 873125 h 1704975"/>
                <a:gd name="connsiteX81" fmla="*/ 1077000 w 1293444"/>
                <a:gd name="connsiteY81" fmla="*/ 879475 h 1704975"/>
                <a:gd name="connsiteX82" fmla="*/ 1057950 w 1293444"/>
                <a:gd name="connsiteY82" fmla="*/ 885825 h 1704975"/>
                <a:gd name="connsiteX83" fmla="*/ 1048425 w 1293444"/>
                <a:gd name="connsiteY83" fmla="*/ 889000 h 1704975"/>
                <a:gd name="connsiteX84" fmla="*/ 1029375 w 1293444"/>
                <a:gd name="connsiteY84" fmla="*/ 908050 h 1704975"/>
                <a:gd name="connsiteX85" fmla="*/ 1010325 w 1293444"/>
                <a:gd name="connsiteY85" fmla="*/ 914400 h 1704975"/>
                <a:gd name="connsiteX86" fmla="*/ 1003975 w 1293444"/>
                <a:gd name="connsiteY86" fmla="*/ 923925 h 1704975"/>
                <a:gd name="connsiteX87" fmla="*/ 994450 w 1293444"/>
                <a:gd name="connsiteY87" fmla="*/ 933450 h 1704975"/>
                <a:gd name="connsiteX88" fmla="*/ 991275 w 1293444"/>
                <a:gd name="connsiteY88" fmla="*/ 942975 h 1704975"/>
                <a:gd name="connsiteX89" fmla="*/ 988100 w 1293444"/>
                <a:gd name="connsiteY89" fmla="*/ 962025 h 1704975"/>
                <a:gd name="connsiteX90" fmla="*/ 969050 w 1293444"/>
                <a:gd name="connsiteY90" fmla="*/ 968375 h 1704975"/>
                <a:gd name="connsiteX91" fmla="*/ 950000 w 1293444"/>
                <a:gd name="connsiteY91" fmla="*/ 981075 h 1704975"/>
                <a:gd name="connsiteX92" fmla="*/ 940475 w 1293444"/>
                <a:gd name="connsiteY92" fmla="*/ 987425 h 1704975"/>
                <a:gd name="connsiteX93" fmla="*/ 930950 w 1293444"/>
                <a:gd name="connsiteY93" fmla="*/ 1006475 h 1704975"/>
                <a:gd name="connsiteX94" fmla="*/ 924600 w 1293444"/>
                <a:gd name="connsiteY94" fmla="*/ 1016000 h 1704975"/>
                <a:gd name="connsiteX95" fmla="*/ 921425 w 1293444"/>
                <a:gd name="connsiteY95" fmla="*/ 1025525 h 1704975"/>
                <a:gd name="connsiteX96" fmla="*/ 905550 w 1293444"/>
                <a:gd name="connsiteY96" fmla="*/ 1044575 h 1704975"/>
                <a:gd name="connsiteX97" fmla="*/ 896025 w 1293444"/>
                <a:gd name="connsiteY97" fmla="*/ 1063625 h 1704975"/>
                <a:gd name="connsiteX98" fmla="*/ 867450 w 1293444"/>
                <a:gd name="connsiteY98" fmla="*/ 1085850 h 1704975"/>
                <a:gd name="connsiteX99" fmla="*/ 848400 w 1293444"/>
                <a:gd name="connsiteY99" fmla="*/ 1095375 h 1704975"/>
                <a:gd name="connsiteX100" fmla="*/ 813475 w 1293444"/>
                <a:gd name="connsiteY100" fmla="*/ 1092200 h 1704975"/>
                <a:gd name="connsiteX101" fmla="*/ 772200 w 1293444"/>
                <a:gd name="connsiteY101" fmla="*/ 1098550 h 1704975"/>
                <a:gd name="connsiteX102" fmla="*/ 759500 w 1293444"/>
                <a:gd name="connsiteY102" fmla="*/ 1127125 h 1704975"/>
                <a:gd name="connsiteX103" fmla="*/ 756325 w 1293444"/>
                <a:gd name="connsiteY103" fmla="*/ 1136650 h 1704975"/>
                <a:gd name="connsiteX104" fmla="*/ 740450 w 1293444"/>
                <a:gd name="connsiteY104" fmla="*/ 1155700 h 1704975"/>
                <a:gd name="connsiteX105" fmla="*/ 718225 w 1293444"/>
                <a:gd name="connsiteY105" fmla="*/ 1181100 h 1704975"/>
                <a:gd name="connsiteX106" fmla="*/ 721400 w 1293444"/>
                <a:gd name="connsiteY106" fmla="*/ 1238250 h 1704975"/>
                <a:gd name="connsiteX107" fmla="*/ 727750 w 1293444"/>
                <a:gd name="connsiteY107" fmla="*/ 1247775 h 1704975"/>
                <a:gd name="connsiteX108" fmla="*/ 730925 w 1293444"/>
                <a:gd name="connsiteY108" fmla="*/ 1257300 h 1704975"/>
                <a:gd name="connsiteX109" fmla="*/ 740450 w 1293444"/>
                <a:gd name="connsiteY109" fmla="*/ 1276350 h 1704975"/>
                <a:gd name="connsiteX110" fmla="*/ 743625 w 1293444"/>
                <a:gd name="connsiteY110" fmla="*/ 1320800 h 1704975"/>
                <a:gd name="connsiteX111" fmla="*/ 746800 w 1293444"/>
                <a:gd name="connsiteY111" fmla="*/ 1330325 h 1704975"/>
                <a:gd name="connsiteX112" fmla="*/ 756325 w 1293444"/>
                <a:gd name="connsiteY112" fmla="*/ 1336675 h 1704975"/>
                <a:gd name="connsiteX113" fmla="*/ 762675 w 1293444"/>
                <a:gd name="connsiteY113" fmla="*/ 1346200 h 1704975"/>
                <a:gd name="connsiteX114" fmla="*/ 769025 w 1293444"/>
                <a:gd name="connsiteY114" fmla="*/ 1393825 h 1704975"/>
                <a:gd name="connsiteX115" fmla="*/ 775375 w 1293444"/>
                <a:gd name="connsiteY115" fmla="*/ 1412875 h 1704975"/>
                <a:gd name="connsiteX116" fmla="*/ 781725 w 1293444"/>
                <a:gd name="connsiteY116" fmla="*/ 1435100 h 1704975"/>
                <a:gd name="connsiteX117" fmla="*/ 772200 w 1293444"/>
                <a:gd name="connsiteY117" fmla="*/ 1460500 h 1704975"/>
                <a:gd name="connsiteX118" fmla="*/ 762675 w 1293444"/>
                <a:gd name="connsiteY118" fmla="*/ 1466850 h 1704975"/>
                <a:gd name="connsiteX119" fmla="*/ 753150 w 1293444"/>
                <a:gd name="connsiteY119" fmla="*/ 1485900 h 1704975"/>
                <a:gd name="connsiteX120" fmla="*/ 749975 w 1293444"/>
                <a:gd name="connsiteY120" fmla="*/ 1514475 h 1704975"/>
                <a:gd name="connsiteX121" fmla="*/ 740450 w 1293444"/>
                <a:gd name="connsiteY121" fmla="*/ 1520825 h 1704975"/>
                <a:gd name="connsiteX122" fmla="*/ 730925 w 1293444"/>
                <a:gd name="connsiteY122" fmla="*/ 1530350 h 1704975"/>
                <a:gd name="connsiteX123" fmla="*/ 718225 w 1293444"/>
                <a:gd name="connsiteY123" fmla="*/ 1549400 h 1704975"/>
                <a:gd name="connsiteX124" fmla="*/ 711875 w 1293444"/>
                <a:gd name="connsiteY124" fmla="*/ 1558925 h 1704975"/>
                <a:gd name="connsiteX125" fmla="*/ 702350 w 1293444"/>
                <a:gd name="connsiteY125" fmla="*/ 1568450 h 1704975"/>
                <a:gd name="connsiteX126" fmla="*/ 699175 w 1293444"/>
                <a:gd name="connsiteY126" fmla="*/ 1577975 h 1704975"/>
                <a:gd name="connsiteX127" fmla="*/ 686475 w 1293444"/>
                <a:gd name="connsiteY127" fmla="*/ 1597025 h 1704975"/>
                <a:gd name="connsiteX128" fmla="*/ 676950 w 1293444"/>
                <a:gd name="connsiteY128" fmla="*/ 1616075 h 1704975"/>
                <a:gd name="connsiteX129" fmla="*/ 667425 w 1293444"/>
                <a:gd name="connsiteY129" fmla="*/ 1619250 h 1704975"/>
                <a:gd name="connsiteX130" fmla="*/ 648375 w 1293444"/>
                <a:gd name="connsiteY130" fmla="*/ 1631950 h 1704975"/>
                <a:gd name="connsiteX131" fmla="*/ 638850 w 1293444"/>
                <a:gd name="connsiteY131" fmla="*/ 1638300 h 1704975"/>
                <a:gd name="connsiteX132" fmla="*/ 607100 w 1293444"/>
                <a:gd name="connsiteY132" fmla="*/ 1676400 h 1704975"/>
                <a:gd name="connsiteX133" fmla="*/ 556300 w 1293444"/>
                <a:gd name="connsiteY133" fmla="*/ 1679575 h 1704975"/>
                <a:gd name="connsiteX134" fmla="*/ 537250 w 1293444"/>
                <a:gd name="connsiteY134" fmla="*/ 1685925 h 1704975"/>
                <a:gd name="connsiteX135" fmla="*/ 515025 w 1293444"/>
                <a:gd name="connsiteY135" fmla="*/ 1698625 h 1704975"/>
                <a:gd name="connsiteX136" fmla="*/ 495975 w 1293444"/>
                <a:gd name="connsiteY136" fmla="*/ 1704975 h 1704975"/>
                <a:gd name="connsiteX137" fmla="*/ 476925 w 1293444"/>
                <a:gd name="connsiteY137" fmla="*/ 1701800 h 1704975"/>
                <a:gd name="connsiteX138" fmla="*/ 470575 w 1293444"/>
                <a:gd name="connsiteY138" fmla="*/ 1692275 h 1704975"/>
                <a:gd name="connsiteX139" fmla="*/ 467400 w 1293444"/>
                <a:gd name="connsiteY139" fmla="*/ 1660525 h 1704975"/>
                <a:gd name="connsiteX140" fmla="*/ 457875 w 1293444"/>
                <a:gd name="connsiteY140" fmla="*/ 1641475 h 1704975"/>
                <a:gd name="connsiteX141" fmla="*/ 448350 w 1293444"/>
                <a:gd name="connsiteY141" fmla="*/ 1635125 h 1704975"/>
                <a:gd name="connsiteX142" fmla="*/ 445175 w 1293444"/>
                <a:gd name="connsiteY142" fmla="*/ 1625600 h 1704975"/>
                <a:gd name="connsiteX143" fmla="*/ 435650 w 1293444"/>
                <a:gd name="connsiteY143" fmla="*/ 1606550 h 1704975"/>
                <a:gd name="connsiteX144" fmla="*/ 432475 w 1293444"/>
                <a:gd name="connsiteY144" fmla="*/ 1495425 h 1704975"/>
                <a:gd name="connsiteX145" fmla="*/ 429300 w 1293444"/>
                <a:gd name="connsiteY145" fmla="*/ 1485900 h 1704975"/>
                <a:gd name="connsiteX146" fmla="*/ 426125 w 1293444"/>
                <a:gd name="connsiteY146" fmla="*/ 1473200 h 1704975"/>
                <a:gd name="connsiteX147" fmla="*/ 419775 w 1293444"/>
                <a:gd name="connsiteY147" fmla="*/ 1463675 h 1704975"/>
                <a:gd name="connsiteX148" fmla="*/ 416600 w 1293444"/>
                <a:gd name="connsiteY148" fmla="*/ 1454150 h 1704975"/>
                <a:gd name="connsiteX149" fmla="*/ 403900 w 1293444"/>
                <a:gd name="connsiteY149" fmla="*/ 1435100 h 1704975"/>
                <a:gd name="connsiteX150" fmla="*/ 397550 w 1293444"/>
                <a:gd name="connsiteY150" fmla="*/ 1416050 h 1704975"/>
                <a:gd name="connsiteX151" fmla="*/ 394375 w 1293444"/>
                <a:gd name="connsiteY151" fmla="*/ 1381125 h 1704975"/>
                <a:gd name="connsiteX152" fmla="*/ 391200 w 1293444"/>
                <a:gd name="connsiteY152" fmla="*/ 1368425 h 1704975"/>
                <a:gd name="connsiteX153" fmla="*/ 388025 w 1293444"/>
                <a:gd name="connsiteY153" fmla="*/ 1352550 h 1704975"/>
                <a:gd name="connsiteX154" fmla="*/ 381675 w 1293444"/>
                <a:gd name="connsiteY154" fmla="*/ 1333500 h 1704975"/>
                <a:gd name="connsiteX155" fmla="*/ 378500 w 1293444"/>
                <a:gd name="connsiteY155" fmla="*/ 1323975 h 1704975"/>
                <a:gd name="connsiteX156" fmla="*/ 375325 w 1293444"/>
                <a:gd name="connsiteY156" fmla="*/ 1308100 h 1704975"/>
                <a:gd name="connsiteX157" fmla="*/ 368975 w 1293444"/>
                <a:gd name="connsiteY157" fmla="*/ 1289050 h 1704975"/>
                <a:gd name="connsiteX158" fmla="*/ 362625 w 1293444"/>
                <a:gd name="connsiteY158" fmla="*/ 1260475 h 1704975"/>
                <a:gd name="connsiteX159" fmla="*/ 359450 w 1293444"/>
                <a:gd name="connsiteY159" fmla="*/ 1231900 h 1704975"/>
                <a:gd name="connsiteX160" fmla="*/ 349925 w 1293444"/>
                <a:gd name="connsiteY160" fmla="*/ 1196975 h 1704975"/>
                <a:gd name="connsiteX161" fmla="*/ 340400 w 1293444"/>
                <a:gd name="connsiteY161" fmla="*/ 1155700 h 1704975"/>
                <a:gd name="connsiteX162" fmla="*/ 334050 w 1293444"/>
                <a:gd name="connsiteY162" fmla="*/ 1130300 h 1704975"/>
                <a:gd name="connsiteX163" fmla="*/ 327700 w 1293444"/>
                <a:gd name="connsiteY163" fmla="*/ 1104900 h 1704975"/>
                <a:gd name="connsiteX164" fmla="*/ 324525 w 1293444"/>
                <a:gd name="connsiteY164" fmla="*/ 1092200 h 1704975"/>
                <a:gd name="connsiteX165" fmla="*/ 318175 w 1293444"/>
                <a:gd name="connsiteY165" fmla="*/ 1050925 h 1704975"/>
                <a:gd name="connsiteX166" fmla="*/ 315000 w 1293444"/>
                <a:gd name="connsiteY166" fmla="*/ 1031875 h 1704975"/>
                <a:gd name="connsiteX167" fmla="*/ 311825 w 1293444"/>
                <a:gd name="connsiteY167" fmla="*/ 1022350 h 1704975"/>
                <a:gd name="connsiteX168" fmla="*/ 308650 w 1293444"/>
                <a:gd name="connsiteY168" fmla="*/ 1006475 h 1704975"/>
                <a:gd name="connsiteX169" fmla="*/ 302300 w 1293444"/>
                <a:gd name="connsiteY169" fmla="*/ 987425 h 1704975"/>
                <a:gd name="connsiteX170" fmla="*/ 299125 w 1293444"/>
                <a:gd name="connsiteY170" fmla="*/ 974725 h 1704975"/>
                <a:gd name="connsiteX171" fmla="*/ 292775 w 1293444"/>
                <a:gd name="connsiteY171" fmla="*/ 955675 h 1704975"/>
                <a:gd name="connsiteX172" fmla="*/ 289600 w 1293444"/>
                <a:gd name="connsiteY172" fmla="*/ 946150 h 1704975"/>
                <a:gd name="connsiteX173" fmla="*/ 280075 w 1293444"/>
                <a:gd name="connsiteY173" fmla="*/ 923925 h 1704975"/>
                <a:gd name="connsiteX174" fmla="*/ 261025 w 1293444"/>
                <a:gd name="connsiteY174" fmla="*/ 908050 h 1704975"/>
                <a:gd name="connsiteX175" fmla="*/ 241975 w 1293444"/>
                <a:gd name="connsiteY175" fmla="*/ 901700 h 1704975"/>
                <a:gd name="connsiteX176" fmla="*/ 222925 w 1293444"/>
                <a:gd name="connsiteY176" fmla="*/ 889000 h 1704975"/>
                <a:gd name="connsiteX177" fmla="*/ 213400 w 1293444"/>
                <a:gd name="connsiteY177" fmla="*/ 885825 h 1704975"/>
                <a:gd name="connsiteX178" fmla="*/ 194350 w 1293444"/>
                <a:gd name="connsiteY178" fmla="*/ 873125 h 1704975"/>
                <a:gd name="connsiteX179" fmla="*/ 175300 w 1293444"/>
                <a:gd name="connsiteY179" fmla="*/ 860425 h 1704975"/>
                <a:gd name="connsiteX180" fmla="*/ 162600 w 1293444"/>
                <a:gd name="connsiteY180" fmla="*/ 850900 h 1704975"/>
                <a:gd name="connsiteX181" fmla="*/ 153075 w 1293444"/>
                <a:gd name="connsiteY181" fmla="*/ 847725 h 1704975"/>
                <a:gd name="connsiteX182" fmla="*/ 134025 w 1293444"/>
                <a:gd name="connsiteY182" fmla="*/ 835025 h 1704975"/>
                <a:gd name="connsiteX183" fmla="*/ 114975 w 1293444"/>
                <a:gd name="connsiteY183" fmla="*/ 822325 h 1704975"/>
                <a:gd name="connsiteX184" fmla="*/ 105450 w 1293444"/>
                <a:gd name="connsiteY184" fmla="*/ 815975 h 1704975"/>
                <a:gd name="connsiteX185" fmla="*/ 95925 w 1293444"/>
                <a:gd name="connsiteY185" fmla="*/ 812800 h 1704975"/>
                <a:gd name="connsiteX186" fmla="*/ 64175 w 1293444"/>
                <a:gd name="connsiteY186" fmla="*/ 790575 h 1704975"/>
                <a:gd name="connsiteX187" fmla="*/ 54650 w 1293444"/>
                <a:gd name="connsiteY187" fmla="*/ 787400 h 1704975"/>
                <a:gd name="connsiteX188" fmla="*/ 38775 w 1293444"/>
                <a:gd name="connsiteY188" fmla="*/ 771525 h 1704975"/>
                <a:gd name="connsiteX189" fmla="*/ 29250 w 1293444"/>
                <a:gd name="connsiteY189" fmla="*/ 762000 h 1704975"/>
                <a:gd name="connsiteX190" fmla="*/ 19725 w 1293444"/>
                <a:gd name="connsiteY190" fmla="*/ 758825 h 1704975"/>
                <a:gd name="connsiteX191" fmla="*/ 675 w 1293444"/>
                <a:gd name="connsiteY191" fmla="*/ 746125 h 1704975"/>
                <a:gd name="connsiteX192" fmla="*/ 51475 w 1293444"/>
                <a:gd name="connsiteY192" fmla="*/ 739775 h 1704975"/>
                <a:gd name="connsiteX193" fmla="*/ 67350 w 1293444"/>
                <a:gd name="connsiteY193" fmla="*/ 736600 h 1704975"/>
                <a:gd name="connsiteX194" fmla="*/ 102275 w 1293444"/>
                <a:gd name="connsiteY194" fmla="*/ 733425 h 1704975"/>
                <a:gd name="connsiteX195" fmla="*/ 130850 w 1293444"/>
                <a:gd name="connsiteY195" fmla="*/ 727075 h 1704975"/>
                <a:gd name="connsiteX196" fmla="*/ 149900 w 1293444"/>
                <a:gd name="connsiteY196" fmla="*/ 723900 h 1704975"/>
                <a:gd name="connsiteX197" fmla="*/ 159425 w 1293444"/>
                <a:gd name="connsiteY197" fmla="*/ 720725 h 1704975"/>
                <a:gd name="connsiteX198" fmla="*/ 175300 w 1293444"/>
                <a:gd name="connsiteY198" fmla="*/ 717550 h 1704975"/>
                <a:gd name="connsiteX199" fmla="*/ 194350 w 1293444"/>
                <a:gd name="connsiteY199" fmla="*/ 711200 h 1704975"/>
                <a:gd name="connsiteX200" fmla="*/ 222925 w 1293444"/>
                <a:gd name="connsiteY200" fmla="*/ 701675 h 1704975"/>
                <a:gd name="connsiteX201" fmla="*/ 232450 w 1293444"/>
                <a:gd name="connsiteY201" fmla="*/ 698500 h 1704975"/>
                <a:gd name="connsiteX202" fmla="*/ 241975 w 1293444"/>
                <a:gd name="connsiteY202" fmla="*/ 695325 h 1704975"/>
                <a:gd name="connsiteX203" fmla="*/ 381675 w 1293444"/>
                <a:gd name="connsiteY203" fmla="*/ 688975 h 1704975"/>
                <a:gd name="connsiteX204" fmla="*/ 397550 w 1293444"/>
                <a:gd name="connsiteY204" fmla="*/ 685800 h 1704975"/>
                <a:gd name="connsiteX205" fmla="*/ 407075 w 1293444"/>
                <a:gd name="connsiteY205" fmla="*/ 682625 h 1704975"/>
                <a:gd name="connsiteX206" fmla="*/ 419775 w 1293444"/>
                <a:gd name="connsiteY206" fmla="*/ 679450 h 1704975"/>
                <a:gd name="connsiteX207" fmla="*/ 438825 w 1293444"/>
                <a:gd name="connsiteY207" fmla="*/ 673100 h 1704975"/>
                <a:gd name="connsiteX208" fmla="*/ 467400 w 1293444"/>
                <a:gd name="connsiteY208" fmla="*/ 663575 h 1704975"/>
                <a:gd name="connsiteX209" fmla="*/ 495975 w 1293444"/>
                <a:gd name="connsiteY209" fmla="*/ 654050 h 1704975"/>
                <a:gd name="connsiteX210" fmla="*/ 505500 w 1293444"/>
                <a:gd name="connsiteY210" fmla="*/ 650875 h 1704975"/>
                <a:gd name="connsiteX211" fmla="*/ 527725 w 1293444"/>
                <a:gd name="connsiteY211" fmla="*/ 641350 h 1704975"/>
                <a:gd name="connsiteX212" fmla="*/ 537250 w 1293444"/>
                <a:gd name="connsiteY212" fmla="*/ 635000 h 1704975"/>
                <a:gd name="connsiteX213" fmla="*/ 546775 w 1293444"/>
                <a:gd name="connsiteY213" fmla="*/ 631825 h 1704975"/>
                <a:gd name="connsiteX214" fmla="*/ 559475 w 1293444"/>
                <a:gd name="connsiteY214" fmla="*/ 625475 h 1704975"/>
                <a:gd name="connsiteX215" fmla="*/ 578525 w 1293444"/>
                <a:gd name="connsiteY215" fmla="*/ 657225 h 1704975"/>
                <a:gd name="connsiteX216" fmla="*/ 588050 w 1293444"/>
                <a:gd name="connsiteY216" fmla="*/ 660400 h 1704975"/>
                <a:gd name="connsiteX217" fmla="*/ 607100 w 1293444"/>
                <a:gd name="connsiteY217" fmla="*/ 673100 h 1704975"/>
                <a:gd name="connsiteX218" fmla="*/ 626150 w 1293444"/>
                <a:gd name="connsiteY218" fmla="*/ 679450 h 1704975"/>
                <a:gd name="connsiteX219" fmla="*/ 635675 w 1293444"/>
                <a:gd name="connsiteY219" fmla="*/ 685800 h 1704975"/>
                <a:gd name="connsiteX220" fmla="*/ 654725 w 1293444"/>
                <a:gd name="connsiteY220" fmla="*/ 692150 h 1704975"/>
                <a:gd name="connsiteX221" fmla="*/ 645200 w 1293444"/>
                <a:gd name="connsiteY221" fmla="*/ 682625 h 1704975"/>
                <a:gd name="connsiteX222" fmla="*/ 635675 w 1293444"/>
                <a:gd name="connsiteY222" fmla="*/ 676275 h 1704975"/>
                <a:gd name="connsiteX223" fmla="*/ 632500 w 1293444"/>
                <a:gd name="connsiteY223" fmla="*/ 666750 h 1704975"/>
                <a:gd name="connsiteX224" fmla="*/ 635675 w 1293444"/>
                <a:gd name="connsiteY224" fmla="*/ 590550 h 1704975"/>
                <a:gd name="connsiteX225" fmla="*/ 642025 w 1293444"/>
                <a:gd name="connsiteY225" fmla="*/ 571500 h 1704975"/>
                <a:gd name="connsiteX226" fmla="*/ 648375 w 1293444"/>
                <a:gd name="connsiteY226" fmla="*/ 561975 h 1704975"/>
                <a:gd name="connsiteX227" fmla="*/ 638850 w 1293444"/>
                <a:gd name="connsiteY227" fmla="*/ 536575 h 1704975"/>
                <a:gd name="connsiteX228" fmla="*/ 629325 w 1293444"/>
                <a:gd name="connsiteY228" fmla="*/ 533400 h 1704975"/>
                <a:gd name="connsiteX229" fmla="*/ 626150 w 1293444"/>
                <a:gd name="connsiteY229" fmla="*/ 523875 h 1704975"/>
                <a:gd name="connsiteX230" fmla="*/ 632500 w 1293444"/>
                <a:gd name="connsiteY230" fmla="*/ 498475 h 1704975"/>
                <a:gd name="connsiteX231" fmla="*/ 635675 w 1293444"/>
                <a:gd name="connsiteY231" fmla="*/ 485775 h 1704975"/>
                <a:gd name="connsiteX232" fmla="*/ 626150 w 1293444"/>
                <a:gd name="connsiteY232" fmla="*/ 463550 h 1704975"/>
                <a:gd name="connsiteX233" fmla="*/ 616625 w 1293444"/>
                <a:gd name="connsiteY233" fmla="*/ 460375 h 1704975"/>
                <a:gd name="connsiteX234" fmla="*/ 607100 w 1293444"/>
                <a:gd name="connsiteY234" fmla="*/ 454025 h 1704975"/>
                <a:gd name="connsiteX235" fmla="*/ 591225 w 1293444"/>
                <a:gd name="connsiteY235" fmla="*/ 450850 h 1704975"/>
                <a:gd name="connsiteX236" fmla="*/ 569000 w 1293444"/>
                <a:gd name="connsiteY236" fmla="*/ 441325 h 1704975"/>
                <a:gd name="connsiteX237" fmla="*/ 546775 w 1293444"/>
                <a:gd name="connsiteY237" fmla="*/ 415925 h 1704975"/>
                <a:gd name="connsiteX238" fmla="*/ 540425 w 1293444"/>
                <a:gd name="connsiteY238" fmla="*/ 406400 h 1704975"/>
                <a:gd name="connsiteX239" fmla="*/ 530900 w 1293444"/>
                <a:gd name="connsiteY239" fmla="*/ 400050 h 1704975"/>
                <a:gd name="connsiteX240" fmla="*/ 508675 w 1293444"/>
                <a:gd name="connsiteY240" fmla="*/ 374650 h 1704975"/>
                <a:gd name="connsiteX241" fmla="*/ 502325 w 1293444"/>
                <a:gd name="connsiteY241" fmla="*/ 365125 h 1704975"/>
                <a:gd name="connsiteX242" fmla="*/ 483275 w 1293444"/>
                <a:gd name="connsiteY242" fmla="*/ 346075 h 1704975"/>
                <a:gd name="connsiteX243" fmla="*/ 486450 w 1293444"/>
                <a:gd name="connsiteY243" fmla="*/ 333375 h 1704975"/>
                <a:gd name="connsiteX244" fmla="*/ 492800 w 1293444"/>
                <a:gd name="connsiteY244" fmla="*/ 314325 h 1704975"/>
                <a:gd name="connsiteX245" fmla="*/ 489625 w 1293444"/>
                <a:gd name="connsiteY245" fmla="*/ 292100 h 1704975"/>
                <a:gd name="connsiteX246" fmla="*/ 461050 w 1293444"/>
                <a:gd name="connsiteY246" fmla="*/ 266700 h 1704975"/>
                <a:gd name="connsiteX247" fmla="*/ 435650 w 1293444"/>
                <a:gd name="connsiteY247" fmla="*/ 254000 h 1704975"/>
                <a:gd name="connsiteX248" fmla="*/ 413425 w 1293444"/>
                <a:gd name="connsiteY248" fmla="*/ 238125 h 1704975"/>
                <a:gd name="connsiteX249" fmla="*/ 403900 w 1293444"/>
                <a:gd name="connsiteY249" fmla="*/ 231775 h 1704975"/>
                <a:gd name="connsiteX250" fmla="*/ 388025 w 1293444"/>
                <a:gd name="connsiteY250" fmla="*/ 212725 h 1704975"/>
                <a:gd name="connsiteX251" fmla="*/ 372150 w 1293444"/>
                <a:gd name="connsiteY251" fmla="*/ 196850 h 1704975"/>
                <a:gd name="connsiteX252" fmla="*/ 365800 w 1293444"/>
                <a:gd name="connsiteY252" fmla="*/ 177800 h 1704975"/>
                <a:gd name="connsiteX253" fmla="*/ 359450 w 1293444"/>
                <a:gd name="connsiteY253" fmla="*/ 149225 h 1704975"/>
                <a:gd name="connsiteX254" fmla="*/ 362625 w 1293444"/>
                <a:gd name="connsiteY254" fmla="*/ 114300 h 1704975"/>
                <a:gd name="connsiteX255" fmla="*/ 368975 w 1293444"/>
                <a:gd name="connsiteY255" fmla="*/ 104775 h 1704975"/>
                <a:gd name="connsiteX256" fmla="*/ 375325 w 1293444"/>
                <a:gd name="connsiteY256"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43675 w 1293444"/>
                <a:gd name="connsiteY53" fmla="*/ 393700 h 1704975"/>
                <a:gd name="connsiteX54" fmla="*/ 1165900 w 1293444"/>
                <a:gd name="connsiteY54" fmla="*/ 454025 h 1704975"/>
                <a:gd name="connsiteX55" fmla="*/ 1207175 w 1293444"/>
                <a:gd name="connsiteY55" fmla="*/ 457200 h 1704975"/>
                <a:gd name="connsiteX56" fmla="*/ 1216700 w 1293444"/>
                <a:gd name="connsiteY56" fmla="*/ 463550 h 1704975"/>
                <a:gd name="connsiteX57" fmla="*/ 1270675 w 1293444"/>
                <a:gd name="connsiteY57" fmla="*/ 469900 h 1704975"/>
                <a:gd name="connsiteX58" fmla="*/ 1277025 w 1293444"/>
                <a:gd name="connsiteY58" fmla="*/ 479425 h 1704975"/>
                <a:gd name="connsiteX59" fmla="*/ 1273850 w 1293444"/>
                <a:gd name="connsiteY59" fmla="*/ 488950 h 1704975"/>
                <a:gd name="connsiteX60" fmla="*/ 1270675 w 1293444"/>
                <a:gd name="connsiteY60" fmla="*/ 511175 h 1704975"/>
                <a:gd name="connsiteX61" fmla="*/ 1264325 w 1293444"/>
                <a:gd name="connsiteY61" fmla="*/ 530225 h 1704975"/>
                <a:gd name="connsiteX62" fmla="*/ 1261150 w 1293444"/>
                <a:gd name="connsiteY62" fmla="*/ 539750 h 1704975"/>
                <a:gd name="connsiteX63" fmla="*/ 1254800 w 1293444"/>
                <a:gd name="connsiteY63" fmla="*/ 571500 h 1704975"/>
                <a:gd name="connsiteX64" fmla="*/ 1254800 w 1293444"/>
                <a:gd name="connsiteY64" fmla="*/ 692150 h 1704975"/>
                <a:gd name="connsiteX65" fmla="*/ 1257975 w 1293444"/>
                <a:gd name="connsiteY65" fmla="*/ 714375 h 1704975"/>
                <a:gd name="connsiteX66" fmla="*/ 1261150 w 1293444"/>
                <a:gd name="connsiteY66" fmla="*/ 723900 h 1704975"/>
                <a:gd name="connsiteX67" fmla="*/ 1273850 w 1293444"/>
                <a:gd name="connsiteY67" fmla="*/ 727075 h 1704975"/>
                <a:gd name="connsiteX68" fmla="*/ 1292900 w 1293444"/>
                <a:gd name="connsiteY68" fmla="*/ 739775 h 1704975"/>
                <a:gd name="connsiteX69" fmla="*/ 1289725 w 1293444"/>
                <a:gd name="connsiteY69" fmla="*/ 784225 h 1704975"/>
                <a:gd name="connsiteX70" fmla="*/ 1273850 w 1293444"/>
                <a:gd name="connsiteY70" fmla="*/ 800100 h 1704975"/>
                <a:gd name="connsiteX71" fmla="*/ 1264325 w 1293444"/>
                <a:gd name="connsiteY71" fmla="*/ 809625 h 1704975"/>
                <a:gd name="connsiteX72" fmla="*/ 1219875 w 1293444"/>
                <a:gd name="connsiteY72" fmla="*/ 819150 h 1704975"/>
                <a:gd name="connsiteX73" fmla="*/ 1200825 w 1293444"/>
                <a:gd name="connsiteY73" fmla="*/ 825500 h 1704975"/>
                <a:gd name="connsiteX74" fmla="*/ 1181775 w 1293444"/>
                <a:gd name="connsiteY74" fmla="*/ 838200 h 1704975"/>
                <a:gd name="connsiteX75" fmla="*/ 1172250 w 1293444"/>
                <a:gd name="connsiteY75" fmla="*/ 844550 h 1704975"/>
                <a:gd name="connsiteX76" fmla="*/ 1153200 w 1293444"/>
                <a:gd name="connsiteY76" fmla="*/ 850900 h 1704975"/>
                <a:gd name="connsiteX77" fmla="*/ 1140500 w 1293444"/>
                <a:gd name="connsiteY77" fmla="*/ 857250 h 1704975"/>
                <a:gd name="connsiteX78" fmla="*/ 1130975 w 1293444"/>
                <a:gd name="connsiteY78" fmla="*/ 863600 h 1704975"/>
                <a:gd name="connsiteX79" fmla="*/ 1105575 w 1293444"/>
                <a:gd name="connsiteY79" fmla="*/ 866775 h 1704975"/>
                <a:gd name="connsiteX80" fmla="*/ 1086525 w 1293444"/>
                <a:gd name="connsiteY80" fmla="*/ 873125 h 1704975"/>
                <a:gd name="connsiteX81" fmla="*/ 1077000 w 1293444"/>
                <a:gd name="connsiteY81" fmla="*/ 879475 h 1704975"/>
                <a:gd name="connsiteX82" fmla="*/ 1057950 w 1293444"/>
                <a:gd name="connsiteY82" fmla="*/ 885825 h 1704975"/>
                <a:gd name="connsiteX83" fmla="*/ 1048425 w 1293444"/>
                <a:gd name="connsiteY83" fmla="*/ 889000 h 1704975"/>
                <a:gd name="connsiteX84" fmla="*/ 1029375 w 1293444"/>
                <a:gd name="connsiteY84" fmla="*/ 908050 h 1704975"/>
                <a:gd name="connsiteX85" fmla="*/ 1010325 w 1293444"/>
                <a:gd name="connsiteY85" fmla="*/ 914400 h 1704975"/>
                <a:gd name="connsiteX86" fmla="*/ 1003975 w 1293444"/>
                <a:gd name="connsiteY86" fmla="*/ 923925 h 1704975"/>
                <a:gd name="connsiteX87" fmla="*/ 994450 w 1293444"/>
                <a:gd name="connsiteY87" fmla="*/ 933450 h 1704975"/>
                <a:gd name="connsiteX88" fmla="*/ 991275 w 1293444"/>
                <a:gd name="connsiteY88" fmla="*/ 942975 h 1704975"/>
                <a:gd name="connsiteX89" fmla="*/ 988100 w 1293444"/>
                <a:gd name="connsiteY89" fmla="*/ 962025 h 1704975"/>
                <a:gd name="connsiteX90" fmla="*/ 969050 w 1293444"/>
                <a:gd name="connsiteY90" fmla="*/ 968375 h 1704975"/>
                <a:gd name="connsiteX91" fmla="*/ 950000 w 1293444"/>
                <a:gd name="connsiteY91" fmla="*/ 981075 h 1704975"/>
                <a:gd name="connsiteX92" fmla="*/ 940475 w 1293444"/>
                <a:gd name="connsiteY92" fmla="*/ 987425 h 1704975"/>
                <a:gd name="connsiteX93" fmla="*/ 930950 w 1293444"/>
                <a:gd name="connsiteY93" fmla="*/ 1006475 h 1704975"/>
                <a:gd name="connsiteX94" fmla="*/ 924600 w 1293444"/>
                <a:gd name="connsiteY94" fmla="*/ 1016000 h 1704975"/>
                <a:gd name="connsiteX95" fmla="*/ 921425 w 1293444"/>
                <a:gd name="connsiteY95" fmla="*/ 1025525 h 1704975"/>
                <a:gd name="connsiteX96" fmla="*/ 905550 w 1293444"/>
                <a:gd name="connsiteY96" fmla="*/ 1044575 h 1704975"/>
                <a:gd name="connsiteX97" fmla="*/ 896025 w 1293444"/>
                <a:gd name="connsiteY97" fmla="*/ 1063625 h 1704975"/>
                <a:gd name="connsiteX98" fmla="*/ 867450 w 1293444"/>
                <a:gd name="connsiteY98" fmla="*/ 1085850 h 1704975"/>
                <a:gd name="connsiteX99" fmla="*/ 848400 w 1293444"/>
                <a:gd name="connsiteY99" fmla="*/ 1095375 h 1704975"/>
                <a:gd name="connsiteX100" fmla="*/ 813475 w 1293444"/>
                <a:gd name="connsiteY100" fmla="*/ 1092200 h 1704975"/>
                <a:gd name="connsiteX101" fmla="*/ 772200 w 1293444"/>
                <a:gd name="connsiteY101" fmla="*/ 1098550 h 1704975"/>
                <a:gd name="connsiteX102" fmla="*/ 759500 w 1293444"/>
                <a:gd name="connsiteY102" fmla="*/ 1127125 h 1704975"/>
                <a:gd name="connsiteX103" fmla="*/ 756325 w 1293444"/>
                <a:gd name="connsiteY103" fmla="*/ 1136650 h 1704975"/>
                <a:gd name="connsiteX104" fmla="*/ 740450 w 1293444"/>
                <a:gd name="connsiteY104" fmla="*/ 1155700 h 1704975"/>
                <a:gd name="connsiteX105" fmla="*/ 718225 w 1293444"/>
                <a:gd name="connsiteY105" fmla="*/ 1181100 h 1704975"/>
                <a:gd name="connsiteX106" fmla="*/ 721400 w 1293444"/>
                <a:gd name="connsiteY106" fmla="*/ 1238250 h 1704975"/>
                <a:gd name="connsiteX107" fmla="*/ 727750 w 1293444"/>
                <a:gd name="connsiteY107" fmla="*/ 1247775 h 1704975"/>
                <a:gd name="connsiteX108" fmla="*/ 730925 w 1293444"/>
                <a:gd name="connsiteY108" fmla="*/ 1257300 h 1704975"/>
                <a:gd name="connsiteX109" fmla="*/ 740450 w 1293444"/>
                <a:gd name="connsiteY109" fmla="*/ 1276350 h 1704975"/>
                <a:gd name="connsiteX110" fmla="*/ 743625 w 1293444"/>
                <a:gd name="connsiteY110" fmla="*/ 1320800 h 1704975"/>
                <a:gd name="connsiteX111" fmla="*/ 746800 w 1293444"/>
                <a:gd name="connsiteY111" fmla="*/ 1330325 h 1704975"/>
                <a:gd name="connsiteX112" fmla="*/ 756325 w 1293444"/>
                <a:gd name="connsiteY112" fmla="*/ 1336675 h 1704975"/>
                <a:gd name="connsiteX113" fmla="*/ 762675 w 1293444"/>
                <a:gd name="connsiteY113" fmla="*/ 1346200 h 1704975"/>
                <a:gd name="connsiteX114" fmla="*/ 769025 w 1293444"/>
                <a:gd name="connsiteY114" fmla="*/ 1393825 h 1704975"/>
                <a:gd name="connsiteX115" fmla="*/ 775375 w 1293444"/>
                <a:gd name="connsiteY115" fmla="*/ 1412875 h 1704975"/>
                <a:gd name="connsiteX116" fmla="*/ 781725 w 1293444"/>
                <a:gd name="connsiteY116" fmla="*/ 1435100 h 1704975"/>
                <a:gd name="connsiteX117" fmla="*/ 772200 w 1293444"/>
                <a:gd name="connsiteY117" fmla="*/ 1460500 h 1704975"/>
                <a:gd name="connsiteX118" fmla="*/ 762675 w 1293444"/>
                <a:gd name="connsiteY118" fmla="*/ 1466850 h 1704975"/>
                <a:gd name="connsiteX119" fmla="*/ 753150 w 1293444"/>
                <a:gd name="connsiteY119" fmla="*/ 1485900 h 1704975"/>
                <a:gd name="connsiteX120" fmla="*/ 749975 w 1293444"/>
                <a:gd name="connsiteY120" fmla="*/ 1514475 h 1704975"/>
                <a:gd name="connsiteX121" fmla="*/ 740450 w 1293444"/>
                <a:gd name="connsiteY121" fmla="*/ 1520825 h 1704975"/>
                <a:gd name="connsiteX122" fmla="*/ 730925 w 1293444"/>
                <a:gd name="connsiteY122" fmla="*/ 1530350 h 1704975"/>
                <a:gd name="connsiteX123" fmla="*/ 718225 w 1293444"/>
                <a:gd name="connsiteY123" fmla="*/ 1549400 h 1704975"/>
                <a:gd name="connsiteX124" fmla="*/ 711875 w 1293444"/>
                <a:gd name="connsiteY124" fmla="*/ 1558925 h 1704975"/>
                <a:gd name="connsiteX125" fmla="*/ 702350 w 1293444"/>
                <a:gd name="connsiteY125" fmla="*/ 1568450 h 1704975"/>
                <a:gd name="connsiteX126" fmla="*/ 699175 w 1293444"/>
                <a:gd name="connsiteY126" fmla="*/ 1577975 h 1704975"/>
                <a:gd name="connsiteX127" fmla="*/ 686475 w 1293444"/>
                <a:gd name="connsiteY127" fmla="*/ 1597025 h 1704975"/>
                <a:gd name="connsiteX128" fmla="*/ 676950 w 1293444"/>
                <a:gd name="connsiteY128" fmla="*/ 1616075 h 1704975"/>
                <a:gd name="connsiteX129" fmla="*/ 667425 w 1293444"/>
                <a:gd name="connsiteY129" fmla="*/ 1619250 h 1704975"/>
                <a:gd name="connsiteX130" fmla="*/ 648375 w 1293444"/>
                <a:gd name="connsiteY130" fmla="*/ 1631950 h 1704975"/>
                <a:gd name="connsiteX131" fmla="*/ 638850 w 1293444"/>
                <a:gd name="connsiteY131" fmla="*/ 1638300 h 1704975"/>
                <a:gd name="connsiteX132" fmla="*/ 607100 w 1293444"/>
                <a:gd name="connsiteY132" fmla="*/ 1676400 h 1704975"/>
                <a:gd name="connsiteX133" fmla="*/ 556300 w 1293444"/>
                <a:gd name="connsiteY133" fmla="*/ 1679575 h 1704975"/>
                <a:gd name="connsiteX134" fmla="*/ 537250 w 1293444"/>
                <a:gd name="connsiteY134" fmla="*/ 1685925 h 1704975"/>
                <a:gd name="connsiteX135" fmla="*/ 515025 w 1293444"/>
                <a:gd name="connsiteY135" fmla="*/ 1698625 h 1704975"/>
                <a:gd name="connsiteX136" fmla="*/ 495975 w 1293444"/>
                <a:gd name="connsiteY136" fmla="*/ 1704975 h 1704975"/>
                <a:gd name="connsiteX137" fmla="*/ 476925 w 1293444"/>
                <a:gd name="connsiteY137" fmla="*/ 1701800 h 1704975"/>
                <a:gd name="connsiteX138" fmla="*/ 470575 w 1293444"/>
                <a:gd name="connsiteY138" fmla="*/ 1692275 h 1704975"/>
                <a:gd name="connsiteX139" fmla="*/ 467400 w 1293444"/>
                <a:gd name="connsiteY139" fmla="*/ 1660525 h 1704975"/>
                <a:gd name="connsiteX140" fmla="*/ 457875 w 1293444"/>
                <a:gd name="connsiteY140" fmla="*/ 1641475 h 1704975"/>
                <a:gd name="connsiteX141" fmla="*/ 448350 w 1293444"/>
                <a:gd name="connsiteY141" fmla="*/ 1635125 h 1704975"/>
                <a:gd name="connsiteX142" fmla="*/ 445175 w 1293444"/>
                <a:gd name="connsiteY142" fmla="*/ 1625600 h 1704975"/>
                <a:gd name="connsiteX143" fmla="*/ 435650 w 1293444"/>
                <a:gd name="connsiteY143" fmla="*/ 1606550 h 1704975"/>
                <a:gd name="connsiteX144" fmla="*/ 432475 w 1293444"/>
                <a:gd name="connsiteY144" fmla="*/ 1495425 h 1704975"/>
                <a:gd name="connsiteX145" fmla="*/ 429300 w 1293444"/>
                <a:gd name="connsiteY145" fmla="*/ 1485900 h 1704975"/>
                <a:gd name="connsiteX146" fmla="*/ 426125 w 1293444"/>
                <a:gd name="connsiteY146" fmla="*/ 1473200 h 1704975"/>
                <a:gd name="connsiteX147" fmla="*/ 419775 w 1293444"/>
                <a:gd name="connsiteY147" fmla="*/ 1463675 h 1704975"/>
                <a:gd name="connsiteX148" fmla="*/ 416600 w 1293444"/>
                <a:gd name="connsiteY148" fmla="*/ 1454150 h 1704975"/>
                <a:gd name="connsiteX149" fmla="*/ 403900 w 1293444"/>
                <a:gd name="connsiteY149" fmla="*/ 1435100 h 1704975"/>
                <a:gd name="connsiteX150" fmla="*/ 397550 w 1293444"/>
                <a:gd name="connsiteY150" fmla="*/ 1416050 h 1704975"/>
                <a:gd name="connsiteX151" fmla="*/ 394375 w 1293444"/>
                <a:gd name="connsiteY151" fmla="*/ 1381125 h 1704975"/>
                <a:gd name="connsiteX152" fmla="*/ 391200 w 1293444"/>
                <a:gd name="connsiteY152" fmla="*/ 1368425 h 1704975"/>
                <a:gd name="connsiteX153" fmla="*/ 388025 w 1293444"/>
                <a:gd name="connsiteY153" fmla="*/ 1352550 h 1704975"/>
                <a:gd name="connsiteX154" fmla="*/ 381675 w 1293444"/>
                <a:gd name="connsiteY154" fmla="*/ 1333500 h 1704975"/>
                <a:gd name="connsiteX155" fmla="*/ 378500 w 1293444"/>
                <a:gd name="connsiteY155" fmla="*/ 1323975 h 1704975"/>
                <a:gd name="connsiteX156" fmla="*/ 375325 w 1293444"/>
                <a:gd name="connsiteY156" fmla="*/ 1308100 h 1704975"/>
                <a:gd name="connsiteX157" fmla="*/ 368975 w 1293444"/>
                <a:gd name="connsiteY157" fmla="*/ 1289050 h 1704975"/>
                <a:gd name="connsiteX158" fmla="*/ 362625 w 1293444"/>
                <a:gd name="connsiteY158" fmla="*/ 1260475 h 1704975"/>
                <a:gd name="connsiteX159" fmla="*/ 359450 w 1293444"/>
                <a:gd name="connsiteY159" fmla="*/ 1231900 h 1704975"/>
                <a:gd name="connsiteX160" fmla="*/ 349925 w 1293444"/>
                <a:gd name="connsiteY160" fmla="*/ 1196975 h 1704975"/>
                <a:gd name="connsiteX161" fmla="*/ 340400 w 1293444"/>
                <a:gd name="connsiteY161" fmla="*/ 1155700 h 1704975"/>
                <a:gd name="connsiteX162" fmla="*/ 334050 w 1293444"/>
                <a:gd name="connsiteY162" fmla="*/ 1130300 h 1704975"/>
                <a:gd name="connsiteX163" fmla="*/ 327700 w 1293444"/>
                <a:gd name="connsiteY163" fmla="*/ 1104900 h 1704975"/>
                <a:gd name="connsiteX164" fmla="*/ 324525 w 1293444"/>
                <a:gd name="connsiteY164" fmla="*/ 1092200 h 1704975"/>
                <a:gd name="connsiteX165" fmla="*/ 318175 w 1293444"/>
                <a:gd name="connsiteY165" fmla="*/ 1050925 h 1704975"/>
                <a:gd name="connsiteX166" fmla="*/ 315000 w 1293444"/>
                <a:gd name="connsiteY166" fmla="*/ 1031875 h 1704975"/>
                <a:gd name="connsiteX167" fmla="*/ 311825 w 1293444"/>
                <a:gd name="connsiteY167" fmla="*/ 1022350 h 1704975"/>
                <a:gd name="connsiteX168" fmla="*/ 308650 w 1293444"/>
                <a:gd name="connsiteY168" fmla="*/ 1006475 h 1704975"/>
                <a:gd name="connsiteX169" fmla="*/ 302300 w 1293444"/>
                <a:gd name="connsiteY169" fmla="*/ 987425 h 1704975"/>
                <a:gd name="connsiteX170" fmla="*/ 299125 w 1293444"/>
                <a:gd name="connsiteY170" fmla="*/ 974725 h 1704975"/>
                <a:gd name="connsiteX171" fmla="*/ 292775 w 1293444"/>
                <a:gd name="connsiteY171" fmla="*/ 955675 h 1704975"/>
                <a:gd name="connsiteX172" fmla="*/ 289600 w 1293444"/>
                <a:gd name="connsiteY172" fmla="*/ 946150 h 1704975"/>
                <a:gd name="connsiteX173" fmla="*/ 280075 w 1293444"/>
                <a:gd name="connsiteY173" fmla="*/ 923925 h 1704975"/>
                <a:gd name="connsiteX174" fmla="*/ 261025 w 1293444"/>
                <a:gd name="connsiteY174" fmla="*/ 908050 h 1704975"/>
                <a:gd name="connsiteX175" fmla="*/ 241975 w 1293444"/>
                <a:gd name="connsiteY175" fmla="*/ 901700 h 1704975"/>
                <a:gd name="connsiteX176" fmla="*/ 222925 w 1293444"/>
                <a:gd name="connsiteY176" fmla="*/ 889000 h 1704975"/>
                <a:gd name="connsiteX177" fmla="*/ 213400 w 1293444"/>
                <a:gd name="connsiteY177" fmla="*/ 885825 h 1704975"/>
                <a:gd name="connsiteX178" fmla="*/ 194350 w 1293444"/>
                <a:gd name="connsiteY178" fmla="*/ 873125 h 1704975"/>
                <a:gd name="connsiteX179" fmla="*/ 175300 w 1293444"/>
                <a:gd name="connsiteY179" fmla="*/ 860425 h 1704975"/>
                <a:gd name="connsiteX180" fmla="*/ 162600 w 1293444"/>
                <a:gd name="connsiteY180" fmla="*/ 850900 h 1704975"/>
                <a:gd name="connsiteX181" fmla="*/ 153075 w 1293444"/>
                <a:gd name="connsiteY181" fmla="*/ 847725 h 1704975"/>
                <a:gd name="connsiteX182" fmla="*/ 134025 w 1293444"/>
                <a:gd name="connsiteY182" fmla="*/ 835025 h 1704975"/>
                <a:gd name="connsiteX183" fmla="*/ 114975 w 1293444"/>
                <a:gd name="connsiteY183" fmla="*/ 822325 h 1704975"/>
                <a:gd name="connsiteX184" fmla="*/ 105450 w 1293444"/>
                <a:gd name="connsiteY184" fmla="*/ 815975 h 1704975"/>
                <a:gd name="connsiteX185" fmla="*/ 95925 w 1293444"/>
                <a:gd name="connsiteY185" fmla="*/ 812800 h 1704975"/>
                <a:gd name="connsiteX186" fmla="*/ 64175 w 1293444"/>
                <a:gd name="connsiteY186" fmla="*/ 790575 h 1704975"/>
                <a:gd name="connsiteX187" fmla="*/ 54650 w 1293444"/>
                <a:gd name="connsiteY187" fmla="*/ 787400 h 1704975"/>
                <a:gd name="connsiteX188" fmla="*/ 38775 w 1293444"/>
                <a:gd name="connsiteY188" fmla="*/ 771525 h 1704975"/>
                <a:gd name="connsiteX189" fmla="*/ 29250 w 1293444"/>
                <a:gd name="connsiteY189" fmla="*/ 762000 h 1704975"/>
                <a:gd name="connsiteX190" fmla="*/ 19725 w 1293444"/>
                <a:gd name="connsiteY190" fmla="*/ 758825 h 1704975"/>
                <a:gd name="connsiteX191" fmla="*/ 675 w 1293444"/>
                <a:gd name="connsiteY191" fmla="*/ 746125 h 1704975"/>
                <a:gd name="connsiteX192" fmla="*/ 51475 w 1293444"/>
                <a:gd name="connsiteY192" fmla="*/ 739775 h 1704975"/>
                <a:gd name="connsiteX193" fmla="*/ 67350 w 1293444"/>
                <a:gd name="connsiteY193" fmla="*/ 736600 h 1704975"/>
                <a:gd name="connsiteX194" fmla="*/ 102275 w 1293444"/>
                <a:gd name="connsiteY194" fmla="*/ 733425 h 1704975"/>
                <a:gd name="connsiteX195" fmla="*/ 130850 w 1293444"/>
                <a:gd name="connsiteY195" fmla="*/ 727075 h 1704975"/>
                <a:gd name="connsiteX196" fmla="*/ 149900 w 1293444"/>
                <a:gd name="connsiteY196" fmla="*/ 723900 h 1704975"/>
                <a:gd name="connsiteX197" fmla="*/ 159425 w 1293444"/>
                <a:gd name="connsiteY197" fmla="*/ 720725 h 1704975"/>
                <a:gd name="connsiteX198" fmla="*/ 175300 w 1293444"/>
                <a:gd name="connsiteY198" fmla="*/ 717550 h 1704975"/>
                <a:gd name="connsiteX199" fmla="*/ 194350 w 1293444"/>
                <a:gd name="connsiteY199" fmla="*/ 711200 h 1704975"/>
                <a:gd name="connsiteX200" fmla="*/ 222925 w 1293444"/>
                <a:gd name="connsiteY200" fmla="*/ 701675 h 1704975"/>
                <a:gd name="connsiteX201" fmla="*/ 232450 w 1293444"/>
                <a:gd name="connsiteY201" fmla="*/ 698500 h 1704975"/>
                <a:gd name="connsiteX202" fmla="*/ 241975 w 1293444"/>
                <a:gd name="connsiteY202" fmla="*/ 695325 h 1704975"/>
                <a:gd name="connsiteX203" fmla="*/ 381675 w 1293444"/>
                <a:gd name="connsiteY203" fmla="*/ 688975 h 1704975"/>
                <a:gd name="connsiteX204" fmla="*/ 397550 w 1293444"/>
                <a:gd name="connsiteY204" fmla="*/ 685800 h 1704975"/>
                <a:gd name="connsiteX205" fmla="*/ 407075 w 1293444"/>
                <a:gd name="connsiteY205" fmla="*/ 682625 h 1704975"/>
                <a:gd name="connsiteX206" fmla="*/ 419775 w 1293444"/>
                <a:gd name="connsiteY206" fmla="*/ 679450 h 1704975"/>
                <a:gd name="connsiteX207" fmla="*/ 438825 w 1293444"/>
                <a:gd name="connsiteY207" fmla="*/ 673100 h 1704975"/>
                <a:gd name="connsiteX208" fmla="*/ 467400 w 1293444"/>
                <a:gd name="connsiteY208" fmla="*/ 663575 h 1704975"/>
                <a:gd name="connsiteX209" fmla="*/ 495975 w 1293444"/>
                <a:gd name="connsiteY209" fmla="*/ 654050 h 1704975"/>
                <a:gd name="connsiteX210" fmla="*/ 505500 w 1293444"/>
                <a:gd name="connsiteY210" fmla="*/ 650875 h 1704975"/>
                <a:gd name="connsiteX211" fmla="*/ 527725 w 1293444"/>
                <a:gd name="connsiteY211" fmla="*/ 641350 h 1704975"/>
                <a:gd name="connsiteX212" fmla="*/ 537250 w 1293444"/>
                <a:gd name="connsiteY212" fmla="*/ 635000 h 1704975"/>
                <a:gd name="connsiteX213" fmla="*/ 546775 w 1293444"/>
                <a:gd name="connsiteY213" fmla="*/ 631825 h 1704975"/>
                <a:gd name="connsiteX214" fmla="*/ 559475 w 1293444"/>
                <a:gd name="connsiteY214" fmla="*/ 625475 h 1704975"/>
                <a:gd name="connsiteX215" fmla="*/ 578525 w 1293444"/>
                <a:gd name="connsiteY215" fmla="*/ 657225 h 1704975"/>
                <a:gd name="connsiteX216" fmla="*/ 588050 w 1293444"/>
                <a:gd name="connsiteY216" fmla="*/ 660400 h 1704975"/>
                <a:gd name="connsiteX217" fmla="*/ 607100 w 1293444"/>
                <a:gd name="connsiteY217" fmla="*/ 673100 h 1704975"/>
                <a:gd name="connsiteX218" fmla="*/ 626150 w 1293444"/>
                <a:gd name="connsiteY218" fmla="*/ 679450 h 1704975"/>
                <a:gd name="connsiteX219" fmla="*/ 635675 w 1293444"/>
                <a:gd name="connsiteY219" fmla="*/ 685800 h 1704975"/>
                <a:gd name="connsiteX220" fmla="*/ 654725 w 1293444"/>
                <a:gd name="connsiteY220" fmla="*/ 692150 h 1704975"/>
                <a:gd name="connsiteX221" fmla="*/ 645200 w 1293444"/>
                <a:gd name="connsiteY221" fmla="*/ 682625 h 1704975"/>
                <a:gd name="connsiteX222" fmla="*/ 635675 w 1293444"/>
                <a:gd name="connsiteY222" fmla="*/ 676275 h 1704975"/>
                <a:gd name="connsiteX223" fmla="*/ 632500 w 1293444"/>
                <a:gd name="connsiteY223" fmla="*/ 666750 h 1704975"/>
                <a:gd name="connsiteX224" fmla="*/ 635675 w 1293444"/>
                <a:gd name="connsiteY224" fmla="*/ 590550 h 1704975"/>
                <a:gd name="connsiteX225" fmla="*/ 642025 w 1293444"/>
                <a:gd name="connsiteY225" fmla="*/ 571500 h 1704975"/>
                <a:gd name="connsiteX226" fmla="*/ 648375 w 1293444"/>
                <a:gd name="connsiteY226" fmla="*/ 561975 h 1704975"/>
                <a:gd name="connsiteX227" fmla="*/ 638850 w 1293444"/>
                <a:gd name="connsiteY227" fmla="*/ 536575 h 1704975"/>
                <a:gd name="connsiteX228" fmla="*/ 629325 w 1293444"/>
                <a:gd name="connsiteY228" fmla="*/ 533400 h 1704975"/>
                <a:gd name="connsiteX229" fmla="*/ 626150 w 1293444"/>
                <a:gd name="connsiteY229" fmla="*/ 523875 h 1704975"/>
                <a:gd name="connsiteX230" fmla="*/ 632500 w 1293444"/>
                <a:gd name="connsiteY230" fmla="*/ 498475 h 1704975"/>
                <a:gd name="connsiteX231" fmla="*/ 635675 w 1293444"/>
                <a:gd name="connsiteY231" fmla="*/ 485775 h 1704975"/>
                <a:gd name="connsiteX232" fmla="*/ 626150 w 1293444"/>
                <a:gd name="connsiteY232" fmla="*/ 463550 h 1704975"/>
                <a:gd name="connsiteX233" fmla="*/ 616625 w 1293444"/>
                <a:gd name="connsiteY233" fmla="*/ 460375 h 1704975"/>
                <a:gd name="connsiteX234" fmla="*/ 607100 w 1293444"/>
                <a:gd name="connsiteY234" fmla="*/ 454025 h 1704975"/>
                <a:gd name="connsiteX235" fmla="*/ 591225 w 1293444"/>
                <a:gd name="connsiteY235" fmla="*/ 450850 h 1704975"/>
                <a:gd name="connsiteX236" fmla="*/ 569000 w 1293444"/>
                <a:gd name="connsiteY236" fmla="*/ 441325 h 1704975"/>
                <a:gd name="connsiteX237" fmla="*/ 546775 w 1293444"/>
                <a:gd name="connsiteY237" fmla="*/ 415925 h 1704975"/>
                <a:gd name="connsiteX238" fmla="*/ 540425 w 1293444"/>
                <a:gd name="connsiteY238" fmla="*/ 406400 h 1704975"/>
                <a:gd name="connsiteX239" fmla="*/ 530900 w 1293444"/>
                <a:gd name="connsiteY239" fmla="*/ 400050 h 1704975"/>
                <a:gd name="connsiteX240" fmla="*/ 508675 w 1293444"/>
                <a:gd name="connsiteY240" fmla="*/ 374650 h 1704975"/>
                <a:gd name="connsiteX241" fmla="*/ 502325 w 1293444"/>
                <a:gd name="connsiteY241" fmla="*/ 365125 h 1704975"/>
                <a:gd name="connsiteX242" fmla="*/ 483275 w 1293444"/>
                <a:gd name="connsiteY242" fmla="*/ 346075 h 1704975"/>
                <a:gd name="connsiteX243" fmla="*/ 486450 w 1293444"/>
                <a:gd name="connsiteY243" fmla="*/ 333375 h 1704975"/>
                <a:gd name="connsiteX244" fmla="*/ 492800 w 1293444"/>
                <a:gd name="connsiteY244" fmla="*/ 314325 h 1704975"/>
                <a:gd name="connsiteX245" fmla="*/ 489625 w 1293444"/>
                <a:gd name="connsiteY245" fmla="*/ 292100 h 1704975"/>
                <a:gd name="connsiteX246" fmla="*/ 461050 w 1293444"/>
                <a:gd name="connsiteY246" fmla="*/ 266700 h 1704975"/>
                <a:gd name="connsiteX247" fmla="*/ 435650 w 1293444"/>
                <a:gd name="connsiteY247" fmla="*/ 254000 h 1704975"/>
                <a:gd name="connsiteX248" fmla="*/ 413425 w 1293444"/>
                <a:gd name="connsiteY248" fmla="*/ 238125 h 1704975"/>
                <a:gd name="connsiteX249" fmla="*/ 403900 w 1293444"/>
                <a:gd name="connsiteY249" fmla="*/ 231775 h 1704975"/>
                <a:gd name="connsiteX250" fmla="*/ 388025 w 1293444"/>
                <a:gd name="connsiteY250" fmla="*/ 212725 h 1704975"/>
                <a:gd name="connsiteX251" fmla="*/ 372150 w 1293444"/>
                <a:gd name="connsiteY251" fmla="*/ 196850 h 1704975"/>
                <a:gd name="connsiteX252" fmla="*/ 365800 w 1293444"/>
                <a:gd name="connsiteY252" fmla="*/ 177800 h 1704975"/>
                <a:gd name="connsiteX253" fmla="*/ 359450 w 1293444"/>
                <a:gd name="connsiteY253" fmla="*/ 149225 h 1704975"/>
                <a:gd name="connsiteX254" fmla="*/ 362625 w 1293444"/>
                <a:gd name="connsiteY254" fmla="*/ 114300 h 1704975"/>
                <a:gd name="connsiteX255" fmla="*/ 368975 w 1293444"/>
                <a:gd name="connsiteY255" fmla="*/ 104775 h 1704975"/>
                <a:gd name="connsiteX256" fmla="*/ 375325 w 1293444"/>
                <a:gd name="connsiteY256"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43675 w 1293444"/>
                <a:gd name="connsiteY53" fmla="*/ 393700 h 1704975"/>
                <a:gd name="connsiteX54" fmla="*/ 1165900 w 1293444"/>
                <a:gd name="connsiteY54" fmla="*/ 454025 h 1704975"/>
                <a:gd name="connsiteX55" fmla="*/ 1207175 w 1293444"/>
                <a:gd name="connsiteY55" fmla="*/ 457200 h 1704975"/>
                <a:gd name="connsiteX56" fmla="*/ 1216700 w 1293444"/>
                <a:gd name="connsiteY56" fmla="*/ 463550 h 1704975"/>
                <a:gd name="connsiteX57" fmla="*/ 1270675 w 1293444"/>
                <a:gd name="connsiteY57" fmla="*/ 469900 h 1704975"/>
                <a:gd name="connsiteX58" fmla="*/ 1277025 w 1293444"/>
                <a:gd name="connsiteY58" fmla="*/ 479425 h 1704975"/>
                <a:gd name="connsiteX59" fmla="*/ 1273850 w 1293444"/>
                <a:gd name="connsiteY59" fmla="*/ 488950 h 1704975"/>
                <a:gd name="connsiteX60" fmla="*/ 1270675 w 1293444"/>
                <a:gd name="connsiteY60" fmla="*/ 511175 h 1704975"/>
                <a:gd name="connsiteX61" fmla="*/ 1264325 w 1293444"/>
                <a:gd name="connsiteY61" fmla="*/ 530225 h 1704975"/>
                <a:gd name="connsiteX62" fmla="*/ 1261150 w 1293444"/>
                <a:gd name="connsiteY62" fmla="*/ 539750 h 1704975"/>
                <a:gd name="connsiteX63" fmla="*/ 1254800 w 1293444"/>
                <a:gd name="connsiteY63" fmla="*/ 571500 h 1704975"/>
                <a:gd name="connsiteX64" fmla="*/ 1254800 w 1293444"/>
                <a:gd name="connsiteY64" fmla="*/ 692150 h 1704975"/>
                <a:gd name="connsiteX65" fmla="*/ 1257975 w 1293444"/>
                <a:gd name="connsiteY65" fmla="*/ 714375 h 1704975"/>
                <a:gd name="connsiteX66" fmla="*/ 1261150 w 1293444"/>
                <a:gd name="connsiteY66" fmla="*/ 723900 h 1704975"/>
                <a:gd name="connsiteX67" fmla="*/ 1273850 w 1293444"/>
                <a:gd name="connsiteY67" fmla="*/ 727075 h 1704975"/>
                <a:gd name="connsiteX68" fmla="*/ 1292900 w 1293444"/>
                <a:gd name="connsiteY68" fmla="*/ 739775 h 1704975"/>
                <a:gd name="connsiteX69" fmla="*/ 1289725 w 1293444"/>
                <a:gd name="connsiteY69" fmla="*/ 784225 h 1704975"/>
                <a:gd name="connsiteX70" fmla="*/ 1273850 w 1293444"/>
                <a:gd name="connsiteY70" fmla="*/ 800100 h 1704975"/>
                <a:gd name="connsiteX71" fmla="*/ 1264325 w 1293444"/>
                <a:gd name="connsiteY71" fmla="*/ 809625 h 1704975"/>
                <a:gd name="connsiteX72" fmla="*/ 1219875 w 1293444"/>
                <a:gd name="connsiteY72" fmla="*/ 819150 h 1704975"/>
                <a:gd name="connsiteX73" fmla="*/ 1200825 w 1293444"/>
                <a:gd name="connsiteY73" fmla="*/ 825500 h 1704975"/>
                <a:gd name="connsiteX74" fmla="*/ 1181775 w 1293444"/>
                <a:gd name="connsiteY74" fmla="*/ 838200 h 1704975"/>
                <a:gd name="connsiteX75" fmla="*/ 1172250 w 1293444"/>
                <a:gd name="connsiteY75" fmla="*/ 844550 h 1704975"/>
                <a:gd name="connsiteX76" fmla="*/ 1153200 w 1293444"/>
                <a:gd name="connsiteY76" fmla="*/ 850900 h 1704975"/>
                <a:gd name="connsiteX77" fmla="*/ 1140500 w 1293444"/>
                <a:gd name="connsiteY77" fmla="*/ 857250 h 1704975"/>
                <a:gd name="connsiteX78" fmla="*/ 1130975 w 1293444"/>
                <a:gd name="connsiteY78" fmla="*/ 863600 h 1704975"/>
                <a:gd name="connsiteX79" fmla="*/ 1105575 w 1293444"/>
                <a:gd name="connsiteY79" fmla="*/ 866775 h 1704975"/>
                <a:gd name="connsiteX80" fmla="*/ 1086525 w 1293444"/>
                <a:gd name="connsiteY80" fmla="*/ 873125 h 1704975"/>
                <a:gd name="connsiteX81" fmla="*/ 1077000 w 1293444"/>
                <a:gd name="connsiteY81" fmla="*/ 879475 h 1704975"/>
                <a:gd name="connsiteX82" fmla="*/ 1057950 w 1293444"/>
                <a:gd name="connsiteY82" fmla="*/ 885825 h 1704975"/>
                <a:gd name="connsiteX83" fmla="*/ 1048425 w 1293444"/>
                <a:gd name="connsiteY83" fmla="*/ 889000 h 1704975"/>
                <a:gd name="connsiteX84" fmla="*/ 1029375 w 1293444"/>
                <a:gd name="connsiteY84" fmla="*/ 908050 h 1704975"/>
                <a:gd name="connsiteX85" fmla="*/ 1010325 w 1293444"/>
                <a:gd name="connsiteY85" fmla="*/ 914400 h 1704975"/>
                <a:gd name="connsiteX86" fmla="*/ 1003975 w 1293444"/>
                <a:gd name="connsiteY86" fmla="*/ 923925 h 1704975"/>
                <a:gd name="connsiteX87" fmla="*/ 994450 w 1293444"/>
                <a:gd name="connsiteY87" fmla="*/ 933450 h 1704975"/>
                <a:gd name="connsiteX88" fmla="*/ 991275 w 1293444"/>
                <a:gd name="connsiteY88" fmla="*/ 942975 h 1704975"/>
                <a:gd name="connsiteX89" fmla="*/ 988100 w 1293444"/>
                <a:gd name="connsiteY89" fmla="*/ 962025 h 1704975"/>
                <a:gd name="connsiteX90" fmla="*/ 969050 w 1293444"/>
                <a:gd name="connsiteY90" fmla="*/ 968375 h 1704975"/>
                <a:gd name="connsiteX91" fmla="*/ 950000 w 1293444"/>
                <a:gd name="connsiteY91" fmla="*/ 981075 h 1704975"/>
                <a:gd name="connsiteX92" fmla="*/ 940475 w 1293444"/>
                <a:gd name="connsiteY92" fmla="*/ 987425 h 1704975"/>
                <a:gd name="connsiteX93" fmla="*/ 930950 w 1293444"/>
                <a:gd name="connsiteY93" fmla="*/ 1006475 h 1704975"/>
                <a:gd name="connsiteX94" fmla="*/ 924600 w 1293444"/>
                <a:gd name="connsiteY94" fmla="*/ 1016000 h 1704975"/>
                <a:gd name="connsiteX95" fmla="*/ 921425 w 1293444"/>
                <a:gd name="connsiteY95" fmla="*/ 1025525 h 1704975"/>
                <a:gd name="connsiteX96" fmla="*/ 905550 w 1293444"/>
                <a:gd name="connsiteY96" fmla="*/ 1044575 h 1704975"/>
                <a:gd name="connsiteX97" fmla="*/ 896025 w 1293444"/>
                <a:gd name="connsiteY97" fmla="*/ 1063625 h 1704975"/>
                <a:gd name="connsiteX98" fmla="*/ 867450 w 1293444"/>
                <a:gd name="connsiteY98" fmla="*/ 1085850 h 1704975"/>
                <a:gd name="connsiteX99" fmla="*/ 848400 w 1293444"/>
                <a:gd name="connsiteY99" fmla="*/ 1095375 h 1704975"/>
                <a:gd name="connsiteX100" fmla="*/ 813475 w 1293444"/>
                <a:gd name="connsiteY100" fmla="*/ 1092200 h 1704975"/>
                <a:gd name="connsiteX101" fmla="*/ 772200 w 1293444"/>
                <a:gd name="connsiteY101" fmla="*/ 1098550 h 1704975"/>
                <a:gd name="connsiteX102" fmla="*/ 759500 w 1293444"/>
                <a:gd name="connsiteY102" fmla="*/ 1127125 h 1704975"/>
                <a:gd name="connsiteX103" fmla="*/ 756325 w 1293444"/>
                <a:gd name="connsiteY103" fmla="*/ 1136650 h 1704975"/>
                <a:gd name="connsiteX104" fmla="*/ 740450 w 1293444"/>
                <a:gd name="connsiteY104" fmla="*/ 1155700 h 1704975"/>
                <a:gd name="connsiteX105" fmla="*/ 718225 w 1293444"/>
                <a:gd name="connsiteY105" fmla="*/ 1181100 h 1704975"/>
                <a:gd name="connsiteX106" fmla="*/ 721400 w 1293444"/>
                <a:gd name="connsiteY106" fmla="*/ 1238250 h 1704975"/>
                <a:gd name="connsiteX107" fmla="*/ 727750 w 1293444"/>
                <a:gd name="connsiteY107" fmla="*/ 1247775 h 1704975"/>
                <a:gd name="connsiteX108" fmla="*/ 730925 w 1293444"/>
                <a:gd name="connsiteY108" fmla="*/ 1257300 h 1704975"/>
                <a:gd name="connsiteX109" fmla="*/ 740450 w 1293444"/>
                <a:gd name="connsiteY109" fmla="*/ 1276350 h 1704975"/>
                <a:gd name="connsiteX110" fmla="*/ 743625 w 1293444"/>
                <a:gd name="connsiteY110" fmla="*/ 1320800 h 1704975"/>
                <a:gd name="connsiteX111" fmla="*/ 746800 w 1293444"/>
                <a:gd name="connsiteY111" fmla="*/ 1330325 h 1704975"/>
                <a:gd name="connsiteX112" fmla="*/ 756325 w 1293444"/>
                <a:gd name="connsiteY112" fmla="*/ 1336675 h 1704975"/>
                <a:gd name="connsiteX113" fmla="*/ 762675 w 1293444"/>
                <a:gd name="connsiteY113" fmla="*/ 1346200 h 1704975"/>
                <a:gd name="connsiteX114" fmla="*/ 769025 w 1293444"/>
                <a:gd name="connsiteY114" fmla="*/ 1393825 h 1704975"/>
                <a:gd name="connsiteX115" fmla="*/ 775375 w 1293444"/>
                <a:gd name="connsiteY115" fmla="*/ 1412875 h 1704975"/>
                <a:gd name="connsiteX116" fmla="*/ 781725 w 1293444"/>
                <a:gd name="connsiteY116" fmla="*/ 1435100 h 1704975"/>
                <a:gd name="connsiteX117" fmla="*/ 772200 w 1293444"/>
                <a:gd name="connsiteY117" fmla="*/ 1460500 h 1704975"/>
                <a:gd name="connsiteX118" fmla="*/ 762675 w 1293444"/>
                <a:gd name="connsiteY118" fmla="*/ 1466850 h 1704975"/>
                <a:gd name="connsiteX119" fmla="*/ 753150 w 1293444"/>
                <a:gd name="connsiteY119" fmla="*/ 1485900 h 1704975"/>
                <a:gd name="connsiteX120" fmla="*/ 749975 w 1293444"/>
                <a:gd name="connsiteY120" fmla="*/ 1514475 h 1704975"/>
                <a:gd name="connsiteX121" fmla="*/ 740450 w 1293444"/>
                <a:gd name="connsiteY121" fmla="*/ 1520825 h 1704975"/>
                <a:gd name="connsiteX122" fmla="*/ 730925 w 1293444"/>
                <a:gd name="connsiteY122" fmla="*/ 1530350 h 1704975"/>
                <a:gd name="connsiteX123" fmla="*/ 718225 w 1293444"/>
                <a:gd name="connsiteY123" fmla="*/ 1549400 h 1704975"/>
                <a:gd name="connsiteX124" fmla="*/ 711875 w 1293444"/>
                <a:gd name="connsiteY124" fmla="*/ 1558925 h 1704975"/>
                <a:gd name="connsiteX125" fmla="*/ 702350 w 1293444"/>
                <a:gd name="connsiteY125" fmla="*/ 1568450 h 1704975"/>
                <a:gd name="connsiteX126" fmla="*/ 699175 w 1293444"/>
                <a:gd name="connsiteY126" fmla="*/ 1577975 h 1704975"/>
                <a:gd name="connsiteX127" fmla="*/ 686475 w 1293444"/>
                <a:gd name="connsiteY127" fmla="*/ 1597025 h 1704975"/>
                <a:gd name="connsiteX128" fmla="*/ 676950 w 1293444"/>
                <a:gd name="connsiteY128" fmla="*/ 1616075 h 1704975"/>
                <a:gd name="connsiteX129" fmla="*/ 667425 w 1293444"/>
                <a:gd name="connsiteY129" fmla="*/ 1619250 h 1704975"/>
                <a:gd name="connsiteX130" fmla="*/ 648375 w 1293444"/>
                <a:gd name="connsiteY130" fmla="*/ 1631950 h 1704975"/>
                <a:gd name="connsiteX131" fmla="*/ 638850 w 1293444"/>
                <a:gd name="connsiteY131" fmla="*/ 1638300 h 1704975"/>
                <a:gd name="connsiteX132" fmla="*/ 607100 w 1293444"/>
                <a:gd name="connsiteY132" fmla="*/ 1676400 h 1704975"/>
                <a:gd name="connsiteX133" fmla="*/ 556300 w 1293444"/>
                <a:gd name="connsiteY133" fmla="*/ 1679575 h 1704975"/>
                <a:gd name="connsiteX134" fmla="*/ 537250 w 1293444"/>
                <a:gd name="connsiteY134" fmla="*/ 1685925 h 1704975"/>
                <a:gd name="connsiteX135" fmla="*/ 515025 w 1293444"/>
                <a:gd name="connsiteY135" fmla="*/ 1698625 h 1704975"/>
                <a:gd name="connsiteX136" fmla="*/ 495975 w 1293444"/>
                <a:gd name="connsiteY136" fmla="*/ 1704975 h 1704975"/>
                <a:gd name="connsiteX137" fmla="*/ 476925 w 1293444"/>
                <a:gd name="connsiteY137" fmla="*/ 1701800 h 1704975"/>
                <a:gd name="connsiteX138" fmla="*/ 470575 w 1293444"/>
                <a:gd name="connsiteY138" fmla="*/ 1692275 h 1704975"/>
                <a:gd name="connsiteX139" fmla="*/ 467400 w 1293444"/>
                <a:gd name="connsiteY139" fmla="*/ 1660525 h 1704975"/>
                <a:gd name="connsiteX140" fmla="*/ 457875 w 1293444"/>
                <a:gd name="connsiteY140" fmla="*/ 1641475 h 1704975"/>
                <a:gd name="connsiteX141" fmla="*/ 448350 w 1293444"/>
                <a:gd name="connsiteY141" fmla="*/ 1635125 h 1704975"/>
                <a:gd name="connsiteX142" fmla="*/ 445175 w 1293444"/>
                <a:gd name="connsiteY142" fmla="*/ 1625600 h 1704975"/>
                <a:gd name="connsiteX143" fmla="*/ 435650 w 1293444"/>
                <a:gd name="connsiteY143" fmla="*/ 1606550 h 1704975"/>
                <a:gd name="connsiteX144" fmla="*/ 432475 w 1293444"/>
                <a:gd name="connsiteY144" fmla="*/ 1495425 h 1704975"/>
                <a:gd name="connsiteX145" fmla="*/ 429300 w 1293444"/>
                <a:gd name="connsiteY145" fmla="*/ 1485900 h 1704975"/>
                <a:gd name="connsiteX146" fmla="*/ 426125 w 1293444"/>
                <a:gd name="connsiteY146" fmla="*/ 1473200 h 1704975"/>
                <a:gd name="connsiteX147" fmla="*/ 419775 w 1293444"/>
                <a:gd name="connsiteY147" fmla="*/ 1463675 h 1704975"/>
                <a:gd name="connsiteX148" fmla="*/ 416600 w 1293444"/>
                <a:gd name="connsiteY148" fmla="*/ 1454150 h 1704975"/>
                <a:gd name="connsiteX149" fmla="*/ 403900 w 1293444"/>
                <a:gd name="connsiteY149" fmla="*/ 1435100 h 1704975"/>
                <a:gd name="connsiteX150" fmla="*/ 397550 w 1293444"/>
                <a:gd name="connsiteY150" fmla="*/ 1416050 h 1704975"/>
                <a:gd name="connsiteX151" fmla="*/ 394375 w 1293444"/>
                <a:gd name="connsiteY151" fmla="*/ 1381125 h 1704975"/>
                <a:gd name="connsiteX152" fmla="*/ 391200 w 1293444"/>
                <a:gd name="connsiteY152" fmla="*/ 1368425 h 1704975"/>
                <a:gd name="connsiteX153" fmla="*/ 388025 w 1293444"/>
                <a:gd name="connsiteY153" fmla="*/ 1352550 h 1704975"/>
                <a:gd name="connsiteX154" fmla="*/ 381675 w 1293444"/>
                <a:gd name="connsiteY154" fmla="*/ 1333500 h 1704975"/>
                <a:gd name="connsiteX155" fmla="*/ 378500 w 1293444"/>
                <a:gd name="connsiteY155" fmla="*/ 1323975 h 1704975"/>
                <a:gd name="connsiteX156" fmla="*/ 375325 w 1293444"/>
                <a:gd name="connsiteY156" fmla="*/ 1308100 h 1704975"/>
                <a:gd name="connsiteX157" fmla="*/ 368975 w 1293444"/>
                <a:gd name="connsiteY157" fmla="*/ 1289050 h 1704975"/>
                <a:gd name="connsiteX158" fmla="*/ 362625 w 1293444"/>
                <a:gd name="connsiteY158" fmla="*/ 1260475 h 1704975"/>
                <a:gd name="connsiteX159" fmla="*/ 359450 w 1293444"/>
                <a:gd name="connsiteY159" fmla="*/ 1231900 h 1704975"/>
                <a:gd name="connsiteX160" fmla="*/ 349925 w 1293444"/>
                <a:gd name="connsiteY160" fmla="*/ 1196975 h 1704975"/>
                <a:gd name="connsiteX161" fmla="*/ 340400 w 1293444"/>
                <a:gd name="connsiteY161" fmla="*/ 1155700 h 1704975"/>
                <a:gd name="connsiteX162" fmla="*/ 334050 w 1293444"/>
                <a:gd name="connsiteY162" fmla="*/ 1130300 h 1704975"/>
                <a:gd name="connsiteX163" fmla="*/ 327700 w 1293444"/>
                <a:gd name="connsiteY163" fmla="*/ 1104900 h 1704975"/>
                <a:gd name="connsiteX164" fmla="*/ 324525 w 1293444"/>
                <a:gd name="connsiteY164" fmla="*/ 1092200 h 1704975"/>
                <a:gd name="connsiteX165" fmla="*/ 318175 w 1293444"/>
                <a:gd name="connsiteY165" fmla="*/ 1050925 h 1704975"/>
                <a:gd name="connsiteX166" fmla="*/ 315000 w 1293444"/>
                <a:gd name="connsiteY166" fmla="*/ 1031875 h 1704975"/>
                <a:gd name="connsiteX167" fmla="*/ 311825 w 1293444"/>
                <a:gd name="connsiteY167" fmla="*/ 1022350 h 1704975"/>
                <a:gd name="connsiteX168" fmla="*/ 308650 w 1293444"/>
                <a:gd name="connsiteY168" fmla="*/ 1006475 h 1704975"/>
                <a:gd name="connsiteX169" fmla="*/ 302300 w 1293444"/>
                <a:gd name="connsiteY169" fmla="*/ 987425 h 1704975"/>
                <a:gd name="connsiteX170" fmla="*/ 299125 w 1293444"/>
                <a:gd name="connsiteY170" fmla="*/ 974725 h 1704975"/>
                <a:gd name="connsiteX171" fmla="*/ 292775 w 1293444"/>
                <a:gd name="connsiteY171" fmla="*/ 955675 h 1704975"/>
                <a:gd name="connsiteX172" fmla="*/ 289600 w 1293444"/>
                <a:gd name="connsiteY172" fmla="*/ 946150 h 1704975"/>
                <a:gd name="connsiteX173" fmla="*/ 280075 w 1293444"/>
                <a:gd name="connsiteY173" fmla="*/ 923925 h 1704975"/>
                <a:gd name="connsiteX174" fmla="*/ 261025 w 1293444"/>
                <a:gd name="connsiteY174" fmla="*/ 908050 h 1704975"/>
                <a:gd name="connsiteX175" fmla="*/ 241975 w 1293444"/>
                <a:gd name="connsiteY175" fmla="*/ 901700 h 1704975"/>
                <a:gd name="connsiteX176" fmla="*/ 222925 w 1293444"/>
                <a:gd name="connsiteY176" fmla="*/ 889000 h 1704975"/>
                <a:gd name="connsiteX177" fmla="*/ 213400 w 1293444"/>
                <a:gd name="connsiteY177" fmla="*/ 885825 h 1704975"/>
                <a:gd name="connsiteX178" fmla="*/ 194350 w 1293444"/>
                <a:gd name="connsiteY178" fmla="*/ 873125 h 1704975"/>
                <a:gd name="connsiteX179" fmla="*/ 175300 w 1293444"/>
                <a:gd name="connsiteY179" fmla="*/ 860425 h 1704975"/>
                <a:gd name="connsiteX180" fmla="*/ 162600 w 1293444"/>
                <a:gd name="connsiteY180" fmla="*/ 850900 h 1704975"/>
                <a:gd name="connsiteX181" fmla="*/ 153075 w 1293444"/>
                <a:gd name="connsiteY181" fmla="*/ 847725 h 1704975"/>
                <a:gd name="connsiteX182" fmla="*/ 134025 w 1293444"/>
                <a:gd name="connsiteY182" fmla="*/ 835025 h 1704975"/>
                <a:gd name="connsiteX183" fmla="*/ 114975 w 1293444"/>
                <a:gd name="connsiteY183" fmla="*/ 822325 h 1704975"/>
                <a:gd name="connsiteX184" fmla="*/ 105450 w 1293444"/>
                <a:gd name="connsiteY184" fmla="*/ 815975 h 1704975"/>
                <a:gd name="connsiteX185" fmla="*/ 95925 w 1293444"/>
                <a:gd name="connsiteY185" fmla="*/ 812800 h 1704975"/>
                <a:gd name="connsiteX186" fmla="*/ 64175 w 1293444"/>
                <a:gd name="connsiteY186" fmla="*/ 790575 h 1704975"/>
                <a:gd name="connsiteX187" fmla="*/ 54650 w 1293444"/>
                <a:gd name="connsiteY187" fmla="*/ 787400 h 1704975"/>
                <a:gd name="connsiteX188" fmla="*/ 38775 w 1293444"/>
                <a:gd name="connsiteY188" fmla="*/ 771525 h 1704975"/>
                <a:gd name="connsiteX189" fmla="*/ 29250 w 1293444"/>
                <a:gd name="connsiteY189" fmla="*/ 762000 h 1704975"/>
                <a:gd name="connsiteX190" fmla="*/ 19725 w 1293444"/>
                <a:gd name="connsiteY190" fmla="*/ 758825 h 1704975"/>
                <a:gd name="connsiteX191" fmla="*/ 675 w 1293444"/>
                <a:gd name="connsiteY191" fmla="*/ 746125 h 1704975"/>
                <a:gd name="connsiteX192" fmla="*/ 51475 w 1293444"/>
                <a:gd name="connsiteY192" fmla="*/ 739775 h 1704975"/>
                <a:gd name="connsiteX193" fmla="*/ 67350 w 1293444"/>
                <a:gd name="connsiteY193" fmla="*/ 736600 h 1704975"/>
                <a:gd name="connsiteX194" fmla="*/ 102275 w 1293444"/>
                <a:gd name="connsiteY194" fmla="*/ 733425 h 1704975"/>
                <a:gd name="connsiteX195" fmla="*/ 130850 w 1293444"/>
                <a:gd name="connsiteY195" fmla="*/ 727075 h 1704975"/>
                <a:gd name="connsiteX196" fmla="*/ 149900 w 1293444"/>
                <a:gd name="connsiteY196" fmla="*/ 723900 h 1704975"/>
                <a:gd name="connsiteX197" fmla="*/ 159425 w 1293444"/>
                <a:gd name="connsiteY197" fmla="*/ 720725 h 1704975"/>
                <a:gd name="connsiteX198" fmla="*/ 175300 w 1293444"/>
                <a:gd name="connsiteY198" fmla="*/ 717550 h 1704975"/>
                <a:gd name="connsiteX199" fmla="*/ 194350 w 1293444"/>
                <a:gd name="connsiteY199" fmla="*/ 711200 h 1704975"/>
                <a:gd name="connsiteX200" fmla="*/ 222925 w 1293444"/>
                <a:gd name="connsiteY200" fmla="*/ 701675 h 1704975"/>
                <a:gd name="connsiteX201" fmla="*/ 232450 w 1293444"/>
                <a:gd name="connsiteY201" fmla="*/ 698500 h 1704975"/>
                <a:gd name="connsiteX202" fmla="*/ 241975 w 1293444"/>
                <a:gd name="connsiteY202" fmla="*/ 695325 h 1704975"/>
                <a:gd name="connsiteX203" fmla="*/ 381675 w 1293444"/>
                <a:gd name="connsiteY203" fmla="*/ 688975 h 1704975"/>
                <a:gd name="connsiteX204" fmla="*/ 397550 w 1293444"/>
                <a:gd name="connsiteY204" fmla="*/ 685800 h 1704975"/>
                <a:gd name="connsiteX205" fmla="*/ 407075 w 1293444"/>
                <a:gd name="connsiteY205" fmla="*/ 682625 h 1704975"/>
                <a:gd name="connsiteX206" fmla="*/ 419775 w 1293444"/>
                <a:gd name="connsiteY206" fmla="*/ 679450 h 1704975"/>
                <a:gd name="connsiteX207" fmla="*/ 438825 w 1293444"/>
                <a:gd name="connsiteY207" fmla="*/ 673100 h 1704975"/>
                <a:gd name="connsiteX208" fmla="*/ 467400 w 1293444"/>
                <a:gd name="connsiteY208" fmla="*/ 663575 h 1704975"/>
                <a:gd name="connsiteX209" fmla="*/ 495975 w 1293444"/>
                <a:gd name="connsiteY209" fmla="*/ 654050 h 1704975"/>
                <a:gd name="connsiteX210" fmla="*/ 505500 w 1293444"/>
                <a:gd name="connsiteY210" fmla="*/ 650875 h 1704975"/>
                <a:gd name="connsiteX211" fmla="*/ 527725 w 1293444"/>
                <a:gd name="connsiteY211" fmla="*/ 641350 h 1704975"/>
                <a:gd name="connsiteX212" fmla="*/ 537250 w 1293444"/>
                <a:gd name="connsiteY212" fmla="*/ 635000 h 1704975"/>
                <a:gd name="connsiteX213" fmla="*/ 546775 w 1293444"/>
                <a:gd name="connsiteY213" fmla="*/ 631825 h 1704975"/>
                <a:gd name="connsiteX214" fmla="*/ 559475 w 1293444"/>
                <a:gd name="connsiteY214" fmla="*/ 625475 h 1704975"/>
                <a:gd name="connsiteX215" fmla="*/ 578525 w 1293444"/>
                <a:gd name="connsiteY215" fmla="*/ 657225 h 1704975"/>
                <a:gd name="connsiteX216" fmla="*/ 588050 w 1293444"/>
                <a:gd name="connsiteY216" fmla="*/ 660400 h 1704975"/>
                <a:gd name="connsiteX217" fmla="*/ 607100 w 1293444"/>
                <a:gd name="connsiteY217" fmla="*/ 673100 h 1704975"/>
                <a:gd name="connsiteX218" fmla="*/ 626150 w 1293444"/>
                <a:gd name="connsiteY218" fmla="*/ 679450 h 1704975"/>
                <a:gd name="connsiteX219" fmla="*/ 635675 w 1293444"/>
                <a:gd name="connsiteY219" fmla="*/ 685800 h 1704975"/>
                <a:gd name="connsiteX220" fmla="*/ 654725 w 1293444"/>
                <a:gd name="connsiteY220" fmla="*/ 692150 h 1704975"/>
                <a:gd name="connsiteX221" fmla="*/ 645200 w 1293444"/>
                <a:gd name="connsiteY221" fmla="*/ 682625 h 1704975"/>
                <a:gd name="connsiteX222" fmla="*/ 635675 w 1293444"/>
                <a:gd name="connsiteY222" fmla="*/ 676275 h 1704975"/>
                <a:gd name="connsiteX223" fmla="*/ 632500 w 1293444"/>
                <a:gd name="connsiteY223" fmla="*/ 666750 h 1704975"/>
                <a:gd name="connsiteX224" fmla="*/ 635675 w 1293444"/>
                <a:gd name="connsiteY224" fmla="*/ 590550 h 1704975"/>
                <a:gd name="connsiteX225" fmla="*/ 642025 w 1293444"/>
                <a:gd name="connsiteY225" fmla="*/ 571500 h 1704975"/>
                <a:gd name="connsiteX226" fmla="*/ 648375 w 1293444"/>
                <a:gd name="connsiteY226" fmla="*/ 561975 h 1704975"/>
                <a:gd name="connsiteX227" fmla="*/ 638850 w 1293444"/>
                <a:gd name="connsiteY227" fmla="*/ 536575 h 1704975"/>
                <a:gd name="connsiteX228" fmla="*/ 629325 w 1293444"/>
                <a:gd name="connsiteY228" fmla="*/ 533400 h 1704975"/>
                <a:gd name="connsiteX229" fmla="*/ 626150 w 1293444"/>
                <a:gd name="connsiteY229" fmla="*/ 523875 h 1704975"/>
                <a:gd name="connsiteX230" fmla="*/ 632500 w 1293444"/>
                <a:gd name="connsiteY230" fmla="*/ 498475 h 1704975"/>
                <a:gd name="connsiteX231" fmla="*/ 635675 w 1293444"/>
                <a:gd name="connsiteY231" fmla="*/ 485775 h 1704975"/>
                <a:gd name="connsiteX232" fmla="*/ 626150 w 1293444"/>
                <a:gd name="connsiteY232" fmla="*/ 463550 h 1704975"/>
                <a:gd name="connsiteX233" fmla="*/ 616625 w 1293444"/>
                <a:gd name="connsiteY233" fmla="*/ 460375 h 1704975"/>
                <a:gd name="connsiteX234" fmla="*/ 607100 w 1293444"/>
                <a:gd name="connsiteY234" fmla="*/ 454025 h 1704975"/>
                <a:gd name="connsiteX235" fmla="*/ 591225 w 1293444"/>
                <a:gd name="connsiteY235" fmla="*/ 450850 h 1704975"/>
                <a:gd name="connsiteX236" fmla="*/ 569000 w 1293444"/>
                <a:gd name="connsiteY236" fmla="*/ 441325 h 1704975"/>
                <a:gd name="connsiteX237" fmla="*/ 546775 w 1293444"/>
                <a:gd name="connsiteY237" fmla="*/ 415925 h 1704975"/>
                <a:gd name="connsiteX238" fmla="*/ 540425 w 1293444"/>
                <a:gd name="connsiteY238" fmla="*/ 406400 h 1704975"/>
                <a:gd name="connsiteX239" fmla="*/ 530900 w 1293444"/>
                <a:gd name="connsiteY239" fmla="*/ 400050 h 1704975"/>
                <a:gd name="connsiteX240" fmla="*/ 508675 w 1293444"/>
                <a:gd name="connsiteY240" fmla="*/ 374650 h 1704975"/>
                <a:gd name="connsiteX241" fmla="*/ 502325 w 1293444"/>
                <a:gd name="connsiteY241" fmla="*/ 365125 h 1704975"/>
                <a:gd name="connsiteX242" fmla="*/ 483275 w 1293444"/>
                <a:gd name="connsiteY242" fmla="*/ 346075 h 1704975"/>
                <a:gd name="connsiteX243" fmla="*/ 486450 w 1293444"/>
                <a:gd name="connsiteY243" fmla="*/ 333375 h 1704975"/>
                <a:gd name="connsiteX244" fmla="*/ 492800 w 1293444"/>
                <a:gd name="connsiteY244" fmla="*/ 314325 h 1704975"/>
                <a:gd name="connsiteX245" fmla="*/ 489625 w 1293444"/>
                <a:gd name="connsiteY245" fmla="*/ 292100 h 1704975"/>
                <a:gd name="connsiteX246" fmla="*/ 461050 w 1293444"/>
                <a:gd name="connsiteY246" fmla="*/ 266700 h 1704975"/>
                <a:gd name="connsiteX247" fmla="*/ 435650 w 1293444"/>
                <a:gd name="connsiteY247" fmla="*/ 254000 h 1704975"/>
                <a:gd name="connsiteX248" fmla="*/ 413425 w 1293444"/>
                <a:gd name="connsiteY248" fmla="*/ 238125 h 1704975"/>
                <a:gd name="connsiteX249" fmla="*/ 403900 w 1293444"/>
                <a:gd name="connsiteY249" fmla="*/ 231775 h 1704975"/>
                <a:gd name="connsiteX250" fmla="*/ 388025 w 1293444"/>
                <a:gd name="connsiteY250" fmla="*/ 212725 h 1704975"/>
                <a:gd name="connsiteX251" fmla="*/ 372150 w 1293444"/>
                <a:gd name="connsiteY251" fmla="*/ 196850 h 1704975"/>
                <a:gd name="connsiteX252" fmla="*/ 365800 w 1293444"/>
                <a:gd name="connsiteY252" fmla="*/ 177800 h 1704975"/>
                <a:gd name="connsiteX253" fmla="*/ 359450 w 1293444"/>
                <a:gd name="connsiteY253" fmla="*/ 149225 h 1704975"/>
                <a:gd name="connsiteX254" fmla="*/ 362625 w 1293444"/>
                <a:gd name="connsiteY254" fmla="*/ 114300 h 1704975"/>
                <a:gd name="connsiteX255" fmla="*/ 368975 w 1293444"/>
                <a:gd name="connsiteY255" fmla="*/ 104775 h 1704975"/>
                <a:gd name="connsiteX256" fmla="*/ 375325 w 1293444"/>
                <a:gd name="connsiteY256"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43675 w 1293444"/>
                <a:gd name="connsiteY53" fmla="*/ 393700 h 1704975"/>
                <a:gd name="connsiteX54" fmla="*/ 1134150 w 1293444"/>
                <a:gd name="connsiteY54" fmla="*/ 396875 h 1704975"/>
                <a:gd name="connsiteX55" fmla="*/ 1165900 w 1293444"/>
                <a:gd name="connsiteY55" fmla="*/ 454025 h 1704975"/>
                <a:gd name="connsiteX56" fmla="*/ 1207175 w 1293444"/>
                <a:gd name="connsiteY56" fmla="*/ 457200 h 1704975"/>
                <a:gd name="connsiteX57" fmla="*/ 1216700 w 1293444"/>
                <a:gd name="connsiteY57" fmla="*/ 463550 h 1704975"/>
                <a:gd name="connsiteX58" fmla="*/ 1270675 w 1293444"/>
                <a:gd name="connsiteY58" fmla="*/ 469900 h 1704975"/>
                <a:gd name="connsiteX59" fmla="*/ 1277025 w 1293444"/>
                <a:gd name="connsiteY59" fmla="*/ 479425 h 1704975"/>
                <a:gd name="connsiteX60" fmla="*/ 1273850 w 1293444"/>
                <a:gd name="connsiteY60" fmla="*/ 488950 h 1704975"/>
                <a:gd name="connsiteX61" fmla="*/ 1270675 w 1293444"/>
                <a:gd name="connsiteY61" fmla="*/ 511175 h 1704975"/>
                <a:gd name="connsiteX62" fmla="*/ 1264325 w 1293444"/>
                <a:gd name="connsiteY62" fmla="*/ 530225 h 1704975"/>
                <a:gd name="connsiteX63" fmla="*/ 1261150 w 1293444"/>
                <a:gd name="connsiteY63" fmla="*/ 539750 h 1704975"/>
                <a:gd name="connsiteX64" fmla="*/ 1254800 w 1293444"/>
                <a:gd name="connsiteY64" fmla="*/ 571500 h 1704975"/>
                <a:gd name="connsiteX65" fmla="*/ 1254800 w 1293444"/>
                <a:gd name="connsiteY65" fmla="*/ 692150 h 1704975"/>
                <a:gd name="connsiteX66" fmla="*/ 1257975 w 1293444"/>
                <a:gd name="connsiteY66" fmla="*/ 714375 h 1704975"/>
                <a:gd name="connsiteX67" fmla="*/ 1261150 w 1293444"/>
                <a:gd name="connsiteY67" fmla="*/ 723900 h 1704975"/>
                <a:gd name="connsiteX68" fmla="*/ 1273850 w 1293444"/>
                <a:gd name="connsiteY68" fmla="*/ 727075 h 1704975"/>
                <a:gd name="connsiteX69" fmla="*/ 1292900 w 1293444"/>
                <a:gd name="connsiteY69" fmla="*/ 739775 h 1704975"/>
                <a:gd name="connsiteX70" fmla="*/ 1289725 w 1293444"/>
                <a:gd name="connsiteY70" fmla="*/ 784225 h 1704975"/>
                <a:gd name="connsiteX71" fmla="*/ 1273850 w 1293444"/>
                <a:gd name="connsiteY71" fmla="*/ 800100 h 1704975"/>
                <a:gd name="connsiteX72" fmla="*/ 1264325 w 1293444"/>
                <a:gd name="connsiteY72" fmla="*/ 809625 h 1704975"/>
                <a:gd name="connsiteX73" fmla="*/ 1219875 w 1293444"/>
                <a:gd name="connsiteY73" fmla="*/ 819150 h 1704975"/>
                <a:gd name="connsiteX74" fmla="*/ 1200825 w 1293444"/>
                <a:gd name="connsiteY74" fmla="*/ 825500 h 1704975"/>
                <a:gd name="connsiteX75" fmla="*/ 1181775 w 1293444"/>
                <a:gd name="connsiteY75" fmla="*/ 838200 h 1704975"/>
                <a:gd name="connsiteX76" fmla="*/ 1172250 w 1293444"/>
                <a:gd name="connsiteY76" fmla="*/ 844550 h 1704975"/>
                <a:gd name="connsiteX77" fmla="*/ 1153200 w 1293444"/>
                <a:gd name="connsiteY77" fmla="*/ 850900 h 1704975"/>
                <a:gd name="connsiteX78" fmla="*/ 1140500 w 1293444"/>
                <a:gd name="connsiteY78" fmla="*/ 857250 h 1704975"/>
                <a:gd name="connsiteX79" fmla="*/ 1130975 w 1293444"/>
                <a:gd name="connsiteY79" fmla="*/ 863600 h 1704975"/>
                <a:gd name="connsiteX80" fmla="*/ 1105575 w 1293444"/>
                <a:gd name="connsiteY80" fmla="*/ 866775 h 1704975"/>
                <a:gd name="connsiteX81" fmla="*/ 1086525 w 1293444"/>
                <a:gd name="connsiteY81" fmla="*/ 873125 h 1704975"/>
                <a:gd name="connsiteX82" fmla="*/ 1077000 w 1293444"/>
                <a:gd name="connsiteY82" fmla="*/ 879475 h 1704975"/>
                <a:gd name="connsiteX83" fmla="*/ 1057950 w 1293444"/>
                <a:gd name="connsiteY83" fmla="*/ 885825 h 1704975"/>
                <a:gd name="connsiteX84" fmla="*/ 1048425 w 1293444"/>
                <a:gd name="connsiteY84" fmla="*/ 889000 h 1704975"/>
                <a:gd name="connsiteX85" fmla="*/ 1029375 w 1293444"/>
                <a:gd name="connsiteY85" fmla="*/ 908050 h 1704975"/>
                <a:gd name="connsiteX86" fmla="*/ 1010325 w 1293444"/>
                <a:gd name="connsiteY86" fmla="*/ 914400 h 1704975"/>
                <a:gd name="connsiteX87" fmla="*/ 1003975 w 1293444"/>
                <a:gd name="connsiteY87" fmla="*/ 923925 h 1704975"/>
                <a:gd name="connsiteX88" fmla="*/ 994450 w 1293444"/>
                <a:gd name="connsiteY88" fmla="*/ 933450 h 1704975"/>
                <a:gd name="connsiteX89" fmla="*/ 991275 w 1293444"/>
                <a:gd name="connsiteY89" fmla="*/ 942975 h 1704975"/>
                <a:gd name="connsiteX90" fmla="*/ 988100 w 1293444"/>
                <a:gd name="connsiteY90" fmla="*/ 962025 h 1704975"/>
                <a:gd name="connsiteX91" fmla="*/ 969050 w 1293444"/>
                <a:gd name="connsiteY91" fmla="*/ 968375 h 1704975"/>
                <a:gd name="connsiteX92" fmla="*/ 950000 w 1293444"/>
                <a:gd name="connsiteY92" fmla="*/ 981075 h 1704975"/>
                <a:gd name="connsiteX93" fmla="*/ 940475 w 1293444"/>
                <a:gd name="connsiteY93" fmla="*/ 987425 h 1704975"/>
                <a:gd name="connsiteX94" fmla="*/ 930950 w 1293444"/>
                <a:gd name="connsiteY94" fmla="*/ 1006475 h 1704975"/>
                <a:gd name="connsiteX95" fmla="*/ 924600 w 1293444"/>
                <a:gd name="connsiteY95" fmla="*/ 1016000 h 1704975"/>
                <a:gd name="connsiteX96" fmla="*/ 921425 w 1293444"/>
                <a:gd name="connsiteY96" fmla="*/ 1025525 h 1704975"/>
                <a:gd name="connsiteX97" fmla="*/ 905550 w 1293444"/>
                <a:gd name="connsiteY97" fmla="*/ 1044575 h 1704975"/>
                <a:gd name="connsiteX98" fmla="*/ 896025 w 1293444"/>
                <a:gd name="connsiteY98" fmla="*/ 1063625 h 1704975"/>
                <a:gd name="connsiteX99" fmla="*/ 867450 w 1293444"/>
                <a:gd name="connsiteY99" fmla="*/ 1085850 h 1704975"/>
                <a:gd name="connsiteX100" fmla="*/ 848400 w 1293444"/>
                <a:gd name="connsiteY100" fmla="*/ 1095375 h 1704975"/>
                <a:gd name="connsiteX101" fmla="*/ 813475 w 1293444"/>
                <a:gd name="connsiteY101" fmla="*/ 1092200 h 1704975"/>
                <a:gd name="connsiteX102" fmla="*/ 772200 w 1293444"/>
                <a:gd name="connsiteY102" fmla="*/ 1098550 h 1704975"/>
                <a:gd name="connsiteX103" fmla="*/ 759500 w 1293444"/>
                <a:gd name="connsiteY103" fmla="*/ 1127125 h 1704975"/>
                <a:gd name="connsiteX104" fmla="*/ 756325 w 1293444"/>
                <a:gd name="connsiteY104" fmla="*/ 1136650 h 1704975"/>
                <a:gd name="connsiteX105" fmla="*/ 740450 w 1293444"/>
                <a:gd name="connsiteY105" fmla="*/ 1155700 h 1704975"/>
                <a:gd name="connsiteX106" fmla="*/ 718225 w 1293444"/>
                <a:gd name="connsiteY106" fmla="*/ 1181100 h 1704975"/>
                <a:gd name="connsiteX107" fmla="*/ 721400 w 1293444"/>
                <a:gd name="connsiteY107" fmla="*/ 1238250 h 1704975"/>
                <a:gd name="connsiteX108" fmla="*/ 727750 w 1293444"/>
                <a:gd name="connsiteY108" fmla="*/ 1247775 h 1704975"/>
                <a:gd name="connsiteX109" fmla="*/ 730925 w 1293444"/>
                <a:gd name="connsiteY109" fmla="*/ 1257300 h 1704975"/>
                <a:gd name="connsiteX110" fmla="*/ 740450 w 1293444"/>
                <a:gd name="connsiteY110" fmla="*/ 1276350 h 1704975"/>
                <a:gd name="connsiteX111" fmla="*/ 743625 w 1293444"/>
                <a:gd name="connsiteY111" fmla="*/ 1320800 h 1704975"/>
                <a:gd name="connsiteX112" fmla="*/ 746800 w 1293444"/>
                <a:gd name="connsiteY112" fmla="*/ 1330325 h 1704975"/>
                <a:gd name="connsiteX113" fmla="*/ 756325 w 1293444"/>
                <a:gd name="connsiteY113" fmla="*/ 1336675 h 1704975"/>
                <a:gd name="connsiteX114" fmla="*/ 762675 w 1293444"/>
                <a:gd name="connsiteY114" fmla="*/ 1346200 h 1704975"/>
                <a:gd name="connsiteX115" fmla="*/ 769025 w 1293444"/>
                <a:gd name="connsiteY115" fmla="*/ 1393825 h 1704975"/>
                <a:gd name="connsiteX116" fmla="*/ 775375 w 1293444"/>
                <a:gd name="connsiteY116" fmla="*/ 1412875 h 1704975"/>
                <a:gd name="connsiteX117" fmla="*/ 781725 w 1293444"/>
                <a:gd name="connsiteY117" fmla="*/ 1435100 h 1704975"/>
                <a:gd name="connsiteX118" fmla="*/ 772200 w 1293444"/>
                <a:gd name="connsiteY118" fmla="*/ 1460500 h 1704975"/>
                <a:gd name="connsiteX119" fmla="*/ 762675 w 1293444"/>
                <a:gd name="connsiteY119" fmla="*/ 1466850 h 1704975"/>
                <a:gd name="connsiteX120" fmla="*/ 753150 w 1293444"/>
                <a:gd name="connsiteY120" fmla="*/ 1485900 h 1704975"/>
                <a:gd name="connsiteX121" fmla="*/ 749975 w 1293444"/>
                <a:gd name="connsiteY121" fmla="*/ 1514475 h 1704975"/>
                <a:gd name="connsiteX122" fmla="*/ 740450 w 1293444"/>
                <a:gd name="connsiteY122" fmla="*/ 1520825 h 1704975"/>
                <a:gd name="connsiteX123" fmla="*/ 730925 w 1293444"/>
                <a:gd name="connsiteY123" fmla="*/ 1530350 h 1704975"/>
                <a:gd name="connsiteX124" fmla="*/ 718225 w 1293444"/>
                <a:gd name="connsiteY124" fmla="*/ 1549400 h 1704975"/>
                <a:gd name="connsiteX125" fmla="*/ 711875 w 1293444"/>
                <a:gd name="connsiteY125" fmla="*/ 1558925 h 1704975"/>
                <a:gd name="connsiteX126" fmla="*/ 702350 w 1293444"/>
                <a:gd name="connsiteY126" fmla="*/ 1568450 h 1704975"/>
                <a:gd name="connsiteX127" fmla="*/ 699175 w 1293444"/>
                <a:gd name="connsiteY127" fmla="*/ 1577975 h 1704975"/>
                <a:gd name="connsiteX128" fmla="*/ 686475 w 1293444"/>
                <a:gd name="connsiteY128" fmla="*/ 1597025 h 1704975"/>
                <a:gd name="connsiteX129" fmla="*/ 676950 w 1293444"/>
                <a:gd name="connsiteY129" fmla="*/ 1616075 h 1704975"/>
                <a:gd name="connsiteX130" fmla="*/ 667425 w 1293444"/>
                <a:gd name="connsiteY130" fmla="*/ 1619250 h 1704975"/>
                <a:gd name="connsiteX131" fmla="*/ 648375 w 1293444"/>
                <a:gd name="connsiteY131" fmla="*/ 1631950 h 1704975"/>
                <a:gd name="connsiteX132" fmla="*/ 638850 w 1293444"/>
                <a:gd name="connsiteY132" fmla="*/ 1638300 h 1704975"/>
                <a:gd name="connsiteX133" fmla="*/ 607100 w 1293444"/>
                <a:gd name="connsiteY133" fmla="*/ 1676400 h 1704975"/>
                <a:gd name="connsiteX134" fmla="*/ 556300 w 1293444"/>
                <a:gd name="connsiteY134" fmla="*/ 1679575 h 1704975"/>
                <a:gd name="connsiteX135" fmla="*/ 537250 w 1293444"/>
                <a:gd name="connsiteY135" fmla="*/ 1685925 h 1704975"/>
                <a:gd name="connsiteX136" fmla="*/ 515025 w 1293444"/>
                <a:gd name="connsiteY136" fmla="*/ 1698625 h 1704975"/>
                <a:gd name="connsiteX137" fmla="*/ 495975 w 1293444"/>
                <a:gd name="connsiteY137" fmla="*/ 1704975 h 1704975"/>
                <a:gd name="connsiteX138" fmla="*/ 476925 w 1293444"/>
                <a:gd name="connsiteY138" fmla="*/ 1701800 h 1704975"/>
                <a:gd name="connsiteX139" fmla="*/ 470575 w 1293444"/>
                <a:gd name="connsiteY139" fmla="*/ 1692275 h 1704975"/>
                <a:gd name="connsiteX140" fmla="*/ 467400 w 1293444"/>
                <a:gd name="connsiteY140" fmla="*/ 1660525 h 1704975"/>
                <a:gd name="connsiteX141" fmla="*/ 457875 w 1293444"/>
                <a:gd name="connsiteY141" fmla="*/ 1641475 h 1704975"/>
                <a:gd name="connsiteX142" fmla="*/ 448350 w 1293444"/>
                <a:gd name="connsiteY142" fmla="*/ 1635125 h 1704975"/>
                <a:gd name="connsiteX143" fmla="*/ 445175 w 1293444"/>
                <a:gd name="connsiteY143" fmla="*/ 1625600 h 1704975"/>
                <a:gd name="connsiteX144" fmla="*/ 435650 w 1293444"/>
                <a:gd name="connsiteY144" fmla="*/ 1606550 h 1704975"/>
                <a:gd name="connsiteX145" fmla="*/ 432475 w 1293444"/>
                <a:gd name="connsiteY145" fmla="*/ 1495425 h 1704975"/>
                <a:gd name="connsiteX146" fmla="*/ 429300 w 1293444"/>
                <a:gd name="connsiteY146" fmla="*/ 1485900 h 1704975"/>
                <a:gd name="connsiteX147" fmla="*/ 426125 w 1293444"/>
                <a:gd name="connsiteY147" fmla="*/ 1473200 h 1704975"/>
                <a:gd name="connsiteX148" fmla="*/ 419775 w 1293444"/>
                <a:gd name="connsiteY148" fmla="*/ 1463675 h 1704975"/>
                <a:gd name="connsiteX149" fmla="*/ 416600 w 1293444"/>
                <a:gd name="connsiteY149" fmla="*/ 1454150 h 1704975"/>
                <a:gd name="connsiteX150" fmla="*/ 403900 w 1293444"/>
                <a:gd name="connsiteY150" fmla="*/ 1435100 h 1704975"/>
                <a:gd name="connsiteX151" fmla="*/ 397550 w 1293444"/>
                <a:gd name="connsiteY151" fmla="*/ 1416050 h 1704975"/>
                <a:gd name="connsiteX152" fmla="*/ 394375 w 1293444"/>
                <a:gd name="connsiteY152" fmla="*/ 1381125 h 1704975"/>
                <a:gd name="connsiteX153" fmla="*/ 391200 w 1293444"/>
                <a:gd name="connsiteY153" fmla="*/ 1368425 h 1704975"/>
                <a:gd name="connsiteX154" fmla="*/ 388025 w 1293444"/>
                <a:gd name="connsiteY154" fmla="*/ 1352550 h 1704975"/>
                <a:gd name="connsiteX155" fmla="*/ 381675 w 1293444"/>
                <a:gd name="connsiteY155" fmla="*/ 1333500 h 1704975"/>
                <a:gd name="connsiteX156" fmla="*/ 378500 w 1293444"/>
                <a:gd name="connsiteY156" fmla="*/ 1323975 h 1704975"/>
                <a:gd name="connsiteX157" fmla="*/ 375325 w 1293444"/>
                <a:gd name="connsiteY157" fmla="*/ 1308100 h 1704975"/>
                <a:gd name="connsiteX158" fmla="*/ 368975 w 1293444"/>
                <a:gd name="connsiteY158" fmla="*/ 1289050 h 1704975"/>
                <a:gd name="connsiteX159" fmla="*/ 362625 w 1293444"/>
                <a:gd name="connsiteY159" fmla="*/ 1260475 h 1704975"/>
                <a:gd name="connsiteX160" fmla="*/ 359450 w 1293444"/>
                <a:gd name="connsiteY160" fmla="*/ 1231900 h 1704975"/>
                <a:gd name="connsiteX161" fmla="*/ 349925 w 1293444"/>
                <a:gd name="connsiteY161" fmla="*/ 1196975 h 1704975"/>
                <a:gd name="connsiteX162" fmla="*/ 340400 w 1293444"/>
                <a:gd name="connsiteY162" fmla="*/ 1155700 h 1704975"/>
                <a:gd name="connsiteX163" fmla="*/ 334050 w 1293444"/>
                <a:gd name="connsiteY163" fmla="*/ 1130300 h 1704975"/>
                <a:gd name="connsiteX164" fmla="*/ 327700 w 1293444"/>
                <a:gd name="connsiteY164" fmla="*/ 1104900 h 1704975"/>
                <a:gd name="connsiteX165" fmla="*/ 324525 w 1293444"/>
                <a:gd name="connsiteY165" fmla="*/ 1092200 h 1704975"/>
                <a:gd name="connsiteX166" fmla="*/ 318175 w 1293444"/>
                <a:gd name="connsiteY166" fmla="*/ 1050925 h 1704975"/>
                <a:gd name="connsiteX167" fmla="*/ 315000 w 1293444"/>
                <a:gd name="connsiteY167" fmla="*/ 1031875 h 1704975"/>
                <a:gd name="connsiteX168" fmla="*/ 311825 w 1293444"/>
                <a:gd name="connsiteY168" fmla="*/ 1022350 h 1704975"/>
                <a:gd name="connsiteX169" fmla="*/ 308650 w 1293444"/>
                <a:gd name="connsiteY169" fmla="*/ 1006475 h 1704975"/>
                <a:gd name="connsiteX170" fmla="*/ 302300 w 1293444"/>
                <a:gd name="connsiteY170" fmla="*/ 987425 h 1704975"/>
                <a:gd name="connsiteX171" fmla="*/ 299125 w 1293444"/>
                <a:gd name="connsiteY171" fmla="*/ 974725 h 1704975"/>
                <a:gd name="connsiteX172" fmla="*/ 292775 w 1293444"/>
                <a:gd name="connsiteY172" fmla="*/ 955675 h 1704975"/>
                <a:gd name="connsiteX173" fmla="*/ 289600 w 1293444"/>
                <a:gd name="connsiteY173" fmla="*/ 946150 h 1704975"/>
                <a:gd name="connsiteX174" fmla="*/ 280075 w 1293444"/>
                <a:gd name="connsiteY174" fmla="*/ 923925 h 1704975"/>
                <a:gd name="connsiteX175" fmla="*/ 261025 w 1293444"/>
                <a:gd name="connsiteY175" fmla="*/ 908050 h 1704975"/>
                <a:gd name="connsiteX176" fmla="*/ 241975 w 1293444"/>
                <a:gd name="connsiteY176" fmla="*/ 901700 h 1704975"/>
                <a:gd name="connsiteX177" fmla="*/ 222925 w 1293444"/>
                <a:gd name="connsiteY177" fmla="*/ 889000 h 1704975"/>
                <a:gd name="connsiteX178" fmla="*/ 213400 w 1293444"/>
                <a:gd name="connsiteY178" fmla="*/ 885825 h 1704975"/>
                <a:gd name="connsiteX179" fmla="*/ 194350 w 1293444"/>
                <a:gd name="connsiteY179" fmla="*/ 873125 h 1704975"/>
                <a:gd name="connsiteX180" fmla="*/ 175300 w 1293444"/>
                <a:gd name="connsiteY180" fmla="*/ 860425 h 1704975"/>
                <a:gd name="connsiteX181" fmla="*/ 162600 w 1293444"/>
                <a:gd name="connsiteY181" fmla="*/ 850900 h 1704975"/>
                <a:gd name="connsiteX182" fmla="*/ 153075 w 1293444"/>
                <a:gd name="connsiteY182" fmla="*/ 847725 h 1704975"/>
                <a:gd name="connsiteX183" fmla="*/ 134025 w 1293444"/>
                <a:gd name="connsiteY183" fmla="*/ 835025 h 1704975"/>
                <a:gd name="connsiteX184" fmla="*/ 114975 w 1293444"/>
                <a:gd name="connsiteY184" fmla="*/ 822325 h 1704975"/>
                <a:gd name="connsiteX185" fmla="*/ 105450 w 1293444"/>
                <a:gd name="connsiteY185" fmla="*/ 815975 h 1704975"/>
                <a:gd name="connsiteX186" fmla="*/ 95925 w 1293444"/>
                <a:gd name="connsiteY186" fmla="*/ 812800 h 1704975"/>
                <a:gd name="connsiteX187" fmla="*/ 64175 w 1293444"/>
                <a:gd name="connsiteY187" fmla="*/ 790575 h 1704975"/>
                <a:gd name="connsiteX188" fmla="*/ 54650 w 1293444"/>
                <a:gd name="connsiteY188" fmla="*/ 787400 h 1704975"/>
                <a:gd name="connsiteX189" fmla="*/ 38775 w 1293444"/>
                <a:gd name="connsiteY189" fmla="*/ 771525 h 1704975"/>
                <a:gd name="connsiteX190" fmla="*/ 29250 w 1293444"/>
                <a:gd name="connsiteY190" fmla="*/ 762000 h 1704975"/>
                <a:gd name="connsiteX191" fmla="*/ 19725 w 1293444"/>
                <a:gd name="connsiteY191" fmla="*/ 758825 h 1704975"/>
                <a:gd name="connsiteX192" fmla="*/ 675 w 1293444"/>
                <a:gd name="connsiteY192" fmla="*/ 746125 h 1704975"/>
                <a:gd name="connsiteX193" fmla="*/ 51475 w 1293444"/>
                <a:gd name="connsiteY193" fmla="*/ 739775 h 1704975"/>
                <a:gd name="connsiteX194" fmla="*/ 67350 w 1293444"/>
                <a:gd name="connsiteY194" fmla="*/ 736600 h 1704975"/>
                <a:gd name="connsiteX195" fmla="*/ 102275 w 1293444"/>
                <a:gd name="connsiteY195" fmla="*/ 733425 h 1704975"/>
                <a:gd name="connsiteX196" fmla="*/ 130850 w 1293444"/>
                <a:gd name="connsiteY196" fmla="*/ 727075 h 1704975"/>
                <a:gd name="connsiteX197" fmla="*/ 149900 w 1293444"/>
                <a:gd name="connsiteY197" fmla="*/ 723900 h 1704975"/>
                <a:gd name="connsiteX198" fmla="*/ 159425 w 1293444"/>
                <a:gd name="connsiteY198" fmla="*/ 720725 h 1704975"/>
                <a:gd name="connsiteX199" fmla="*/ 175300 w 1293444"/>
                <a:gd name="connsiteY199" fmla="*/ 717550 h 1704975"/>
                <a:gd name="connsiteX200" fmla="*/ 194350 w 1293444"/>
                <a:gd name="connsiteY200" fmla="*/ 711200 h 1704975"/>
                <a:gd name="connsiteX201" fmla="*/ 222925 w 1293444"/>
                <a:gd name="connsiteY201" fmla="*/ 701675 h 1704975"/>
                <a:gd name="connsiteX202" fmla="*/ 232450 w 1293444"/>
                <a:gd name="connsiteY202" fmla="*/ 698500 h 1704975"/>
                <a:gd name="connsiteX203" fmla="*/ 241975 w 1293444"/>
                <a:gd name="connsiteY203" fmla="*/ 695325 h 1704975"/>
                <a:gd name="connsiteX204" fmla="*/ 381675 w 1293444"/>
                <a:gd name="connsiteY204" fmla="*/ 688975 h 1704975"/>
                <a:gd name="connsiteX205" fmla="*/ 397550 w 1293444"/>
                <a:gd name="connsiteY205" fmla="*/ 685800 h 1704975"/>
                <a:gd name="connsiteX206" fmla="*/ 407075 w 1293444"/>
                <a:gd name="connsiteY206" fmla="*/ 682625 h 1704975"/>
                <a:gd name="connsiteX207" fmla="*/ 419775 w 1293444"/>
                <a:gd name="connsiteY207" fmla="*/ 679450 h 1704975"/>
                <a:gd name="connsiteX208" fmla="*/ 438825 w 1293444"/>
                <a:gd name="connsiteY208" fmla="*/ 673100 h 1704975"/>
                <a:gd name="connsiteX209" fmla="*/ 467400 w 1293444"/>
                <a:gd name="connsiteY209" fmla="*/ 663575 h 1704975"/>
                <a:gd name="connsiteX210" fmla="*/ 495975 w 1293444"/>
                <a:gd name="connsiteY210" fmla="*/ 654050 h 1704975"/>
                <a:gd name="connsiteX211" fmla="*/ 505500 w 1293444"/>
                <a:gd name="connsiteY211" fmla="*/ 650875 h 1704975"/>
                <a:gd name="connsiteX212" fmla="*/ 527725 w 1293444"/>
                <a:gd name="connsiteY212" fmla="*/ 641350 h 1704975"/>
                <a:gd name="connsiteX213" fmla="*/ 537250 w 1293444"/>
                <a:gd name="connsiteY213" fmla="*/ 635000 h 1704975"/>
                <a:gd name="connsiteX214" fmla="*/ 546775 w 1293444"/>
                <a:gd name="connsiteY214" fmla="*/ 631825 h 1704975"/>
                <a:gd name="connsiteX215" fmla="*/ 559475 w 1293444"/>
                <a:gd name="connsiteY215" fmla="*/ 625475 h 1704975"/>
                <a:gd name="connsiteX216" fmla="*/ 578525 w 1293444"/>
                <a:gd name="connsiteY216" fmla="*/ 657225 h 1704975"/>
                <a:gd name="connsiteX217" fmla="*/ 588050 w 1293444"/>
                <a:gd name="connsiteY217" fmla="*/ 660400 h 1704975"/>
                <a:gd name="connsiteX218" fmla="*/ 607100 w 1293444"/>
                <a:gd name="connsiteY218" fmla="*/ 673100 h 1704975"/>
                <a:gd name="connsiteX219" fmla="*/ 626150 w 1293444"/>
                <a:gd name="connsiteY219" fmla="*/ 679450 h 1704975"/>
                <a:gd name="connsiteX220" fmla="*/ 635675 w 1293444"/>
                <a:gd name="connsiteY220" fmla="*/ 685800 h 1704975"/>
                <a:gd name="connsiteX221" fmla="*/ 654725 w 1293444"/>
                <a:gd name="connsiteY221" fmla="*/ 692150 h 1704975"/>
                <a:gd name="connsiteX222" fmla="*/ 645200 w 1293444"/>
                <a:gd name="connsiteY222" fmla="*/ 682625 h 1704975"/>
                <a:gd name="connsiteX223" fmla="*/ 635675 w 1293444"/>
                <a:gd name="connsiteY223" fmla="*/ 676275 h 1704975"/>
                <a:gd name="connsiteX224" fmla="*/ 632500 w 1293444"/>
                <a:gd name="connsiteY224" fmla="*/ 666750 h 1704975"/>
                <a:gd name="connsiteX225" fmla="*/ 635675 w 1293444"/>
                <a:gd name="connsiteY225" fmla="*/ 590550 h 1704975"/>
                <a:gd name="connsiteX226" fmla="*/ 642025 w 1293444"/>
                <a:gd name="connsiteY226" fmla="*/ 571500 h 1704975"/>
                <a:gd name="connsiteX227" fmla="*/ 648375 w 1293444"/>
                <a:gd name="connsiteY227" fmla="*/ 561975 h 1704975"/>
                <a:gd name="connsiteX228" fmla="*/ 638850 w 1293444"/>
                <a:gd name="connsiteY228" fmla="*/ 536575 h 1704975"/>
                <a:gd name="connsiteX229" fmla="*/ 629325 w 1293444"/>
                <a:gd name="connsiteY229" fmla="*/ 533400 h 1704975"/>
                <a:gd name="connsiteX230" fmla="*/ 626150 w 1293444"/>
                <a:gd name="connsiteY230" fmla="*/ 523875 h 1704975"/>
                <a:gd name="connsiteX231" fmla="*/ 632500 w 1293444"/>
                <a:gd name="connsiteY231" fmla="*/ 498475 h 1704975"/>
                <a:gd name="connsiteX232" fmla="*/ 635675 w 1293444"/>
                <a:gd name="connsiteY232" fmla="*/ 485775 h 1704975"/>
                <a:gd name="connsiteX233" fmla="*/ 626150 w 1293444"/>
                <a:gd name="connsiteY233" fmla="*/ 463550 h 1704975"/>
                <a:gd name="connsiteX234" fmla="*/ 616625 w 1293444"/>
                <a:gd name="connsiteY234" fmla="*/ 460375 h 1704975"/>
                <a:gd name="connsiteX235" fmla="*/ 607100 w 1293444"/>
                <a:gd name="connsiteY235" fmla="*/ 454025 h 1704975"/>
                <a:gd name="connsiteX236" fmla="*/ 591225 w 1293444"/>
                <a:gd name="connsiteY236" fmla="*/ 450850 h 1704975"/>
                <a:gd name="connsiteX237" fmla="*/ 569000 w 1293444"/>
                <a:gd name="connsiteY237" fmla="*/ 441325 h 1704975"/>
                <a:gd name="connsiteX238" fmla="*/ 546775 w 1293444"/>
                <a:gd name="connsiteY238" fmla="*/ 415925 h 1704975"/>
                <a:gd name="connsiteX239" fmla="*/ 540425 w 1293444"/>
                <a:gd name="connsiteY239" fmla="*/ 406400 h 1704975"/>
                <a:gd name="connsiteX240" fmla="*/ 530900 w 1293444"/>
                <a:gd name="connsiteY240" fmla="*/ 400050 h 1704975"/>
                <a:gd name="connsiteX241" fmla="*/ 508675 w 1293444"/>
                <a:gd name="connsiteY241" fmla="*/ 374650 h 1704975"/>
                <a:gd name="connsiteX242" fmla="*/ 502325 w 1293444"/>
                <a:gd name="connsiteY242" fmla="*/ 365125 h 1704975"/>
                <a:gd name="connsiteX243" fmla="*/ 483275 w 1293444"/>
                <a:gd name="connsiteY243" fmla="*/ 346075 h 1704975"/>
                <a:gd name="connsiteX244" fmla="*/ 486450 w 1293444"/>
                <a:gd name="connsiteY244" fmla="*/ 333375 h 1704975"/>
                <a:gd name="connsiteX245" fmla="*/ 492800 w 1293444"/>
                <a:gd name="connsiteY245" fmla="*/ 314325 h 1704975"/>
                <a:gd name="connsiteX246" fmla="*/ 489625 w 1293444"/>
                <a:gd name="connsiteY246" fmla="*/ 292100 h 1704975"/>
                <a:gd name="connsiteX247" fmla="*/ 461050 w 1293444"/>
                <a:gd name="connsiteY247" fmla="*/ 266700 h 1704975"/>
                <a:gd name="connsiteX248" fmla="*/ 435650 w 1293444"/>
                <a:gd name="connsiteY248" fmla="*/ 254000 h 1704975"/>
                <a:gd name="connsiteX249" fmla="*/ 413425 w 1293444"/>
                <a:gd name="connsiteY249" fmla="*/ 238125 h 1704975"/>
                <a:gd name="connsiteX250" fmla="*/ 403900 w 1293444"/>
                <a:gd name="connsiteY250" fmla="*/ 231775 h 1704975"/>
                <a:gd name="connsiteX251" fmla="*/ 388025 w 1293444"/>
                <a:gd name="connsiteY251" fmla="*/ 212725 h 1704975"/>
                <a:gd name="connsiteX252" fmla="*/ 372150 w 1293444"/>
                <a:gd name="connsiteY252" fmla="*/ 196850 h 1704975"/>
                <a:gd name="connsiteX253" fmla="*/ 365800 w 1293444"/>
                <a:gd name="connsiteY253" fmla="*/ 177800 h 1704975"/>
                <a:gd name="connsiteX254" fmla="*/ 359450 w 1293444"/>
                <a:gd name="connsiteY254" fmla="*/ 149225 h 1704975"/>
                <a:gd name="connsiteX255" fmla="*/ 362625 w 1293444"/>
                <a:gd name="connsiteY255" fmla="*/ 114300 h 1704975"/>
                <a:gd name="connsiteX256" fmla="*/ 368975 w 1293444"/>
                <a:gd name="connsiteY256" fmla="*/ 104775 h 1704975"/>
                <a:gd name="connsiteX257" fmla="*/ 375325 w 1293444"/>
                <a:gd name="connsiteY257"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43675 w 1293444"/>
                <a:gd name="connsiteY53" fmla="*/ 393700 h 1704975"/>
                <a:gd name="connsiteX54" fmla="*/ 1134150 w 1293444"/>
                <a:gd name="connsiteY54" fmla="*/ 396875 h 1704975"/>
                <a:gd name="connsiteX55" fmla="*/ 1165900 w 1293444"/>
                <a:gd name="connsiteY55" fmla="*/ 454025 h 1704975"/>
                <a:gd name="connsiteX56" fmla="*/ 1207175 w 1293444"/>
                <a:gd name="connsiteY56" fmla="*/ 457200 h 1704975"/>
                <a:gd name="connsiteX57" fmla="*/ 1216700 w 1293444"/>
                <a:gd name="connsiteY57" fmla="*/ 463550 h 1704975"/>
                <a:gd name="connsiteX58" fmla="*/ 1270675 w 1293444"/>
                <a:gd name="connsiteY58" fmla="*/ 469900 h 1704975"/>
                <a:gd name="connsiteX59" fmla="*/ 1277025 w 1293444"/>
                <a:gd name="connsiteY59" fmla="*/ 479425 h 1704975"/>
                <a:gd name="connsiteX60" fmla="*/ 1273850 w 1293444"/>
                <a:gd name="connsiteY60" fmla="*/ 488950 h 1704975"/>
                <a:gd name="connsiteX61" fmla="*/ 1270675 w 1293444"/>
                <a:gd name="connsiteY61" fmla="*/ 511175 h 1704975"/>
                <a:gd name="connsiteX62" fmla="*/ 1264325 w 1293444"/>
                <a:gd name="connsiteY62" fmla="*/ 530225 h 1704975"/>
                <a:gd name="connsiteX63" fmla="*/ 1261150 w 1293444"/>
                <a:gd name="connsiteY63" fmla="*/ 539750 h 1704975"/>
                <a:gd name="connsiteX64" fmla="*/ 1254800 w 1293444"/>
                <a:gd name="connsiteY64" fmla="*/ 571500 h 1704975"/>
                <a:gd name="connsiteX65" fmla="*/ 1254800 w 1293444"/>
                <a:gd name="connsiteY65" fmla="*/ 692150 h 1704975"/>
                <a:gd name="connsiteX66" fmla="*/ 1257975 w 1293444"/>
                <a:gd name="connsiteY66" fmla="*/ 714375 h 1704975"/>
                <a:gd name="connsiteX67" fmla="*/ 1261150 w 1293444"/>
                <a:gd name="connsiteY67" fmla="*/ 723900 h 1704975"/>
                <a:gd name="connsiteX68" fmla="*/ 1273850 w 1293444"/>
                <a:gd name="connsiteY68" fmla="*/ 727075 h 1704975"/>
                <a:gd name="connsiteX69" fmla="*/ 1292900 w 1293444"/>
                <a:gd name="connsiteY69" fmla="*/ 739775 h 1704975"/>
                <a:gd name="connsiteX70" fmla="*/ 1289725 w 1293444"/>
                <a:gd name="connsiteY70" fmla="*/ 784225 h 1704975"/>
                <a:gd name="connsiteX71" fmla="*/ 1273850 w 1293444"/>
                <a:gd name="connsiteY71" fmla="*/ 800100 h 1704975"/>
                <a:gd name="connsiteX72" fmla="*/ 1264325 w 1293444"/>
                <a:gd name="connsiteY72" fmla="*/ 809625 h 1704975"/>
                <a:gd name="connsiteX73" fmla="*/ 1219875 w 1293444"/>
                <a:gd name="connsiteY73" fmla="*/ 819150 h 1704975"/>
                <a:gd name="connsiteX74" fmla="*/ 1200825 w 1293444"/>
                <a:gd name="connsiteY74" fmla="*/ 825500 h 1704975"/>
                <a:gd name="connsiteX75" fmla="*/ 1181775 w 1293444"/>
                <a:gd name="connsiteY75" fmla="*/ 838200 h 1704975"/>
                <a:gd name="connsiteX76" fmla="*/ 1172250 w 1293444"/>
                <a:gd name="connsiteY76" fmla="*/ 844550 h 1704975"/>
                <a:gd name="connsiteX77" fmla="*/ 1153200 w 1293444"/>
                <a:gd name="connsiteY77" fmla="*/ 850900 h 1704975"/>
                <a:gd name="connsiteX78" fmla="*/ 1140500 w 1293444"/>
                <a:gd name="connsiteY78" fmla="*/ 857250 h 1704975"/>
                <a:gd name="connsiteX79" fmla="*/ 1130975 w 1293444"/>
                <a:gd name="connsiteY79" fmla="*/ 863600 h 1704975"/>
                <a:gd name="connsiteX80" fmla="*/ 1105575 w 1293444"/>
                <a:gd name="connsiteY80" fmla="*/ 866775 h 1704975"/>
                <a:gd name="connsiteX81" fmla="*/ 1086525 w 1293444"/>
                <a:gd name="connsiteY81" fmla="*/ 873125 h 1704975"/>
                <a:gd name="connsiteX82" fmla="*/ 1077000 w 1293444"/>
                <a:gd name="connsiteY82" fmla="*/ 879475 h 1704975"/>
                <a:gd name="connsiteX83" fmla="*/ 1057950 w 1293444"/>
                <a:gd name="connsiteY83" fmla="*/ 885825 h 1704975"/>
                <a:gd name="connsiteX84" fmla="*/ 1048425 w 1293444"/>
                <a:gd name="connsiteY84" fmla="*/ 889000 h 1704975"/>
                <a:gd name="connsiteX85" fmla="*/ 1029375 w 1293444"/>
                <a:gd name="connsiteY85" fmla="*/ 908050 h 1704975"/>
                <a:gd name="connsiteX86" fmla="*/ 1010325 w 1293444"/>
                <a:gd name="connsiteY86" fmla="*/ 914400 h 1704975"/>
                <a:gd name="connsiteX87" fmla="*/ 1003975 w 1293444"/>
                <a:gd name="connsiteY87" fmla="*/ 923925 h 1704975"/>
                <a:gd name="connsiteX88" fmla="*/ 994450 w 1293444"/>
                <a:gd name="connsiteY88" fmla="*/ 933450 h 1704975"/>
                <a:gd name="connsiteX89" fmla="*/ 991275 w 1293444"/>
                <a:gd name="connsiteY89" fmla="*/ 942975 h 1704975"/>
                <a:gd name="connsiteX90" fmla="*/ 988100 w 1293444"/>
                <a:gd name="connsiteY90" fmla="*/ 962025 h 1704975"/>
                <a:gd name="connsiteX91" fmla="*/ 969050 w 1293444"/>
                <a:gd name="connsiteY91" fmla="*/ 968375 h 1704975"/>
                <a:gd name="connsiteX92" fmla="*/ 950000 w 1293444"/>
                <a:gd name="connsiteY92" fmla="*/ 981075 h 1704975"/>
                <a:gd name="connsiteX93" fmla="*/ 940475 w 1293444"/>
                <a:gd name="connsiteY93" fmla="*/ 987425 h 1704975"/>
                <a:gd name="connsiteX94" fmla="*/ 930950 w 1293444"/>
                <a:gd name="connsiteY94" fmla="*/ 1006475 h 1704975"/>
                <a:gd name="connsiteX95" fmla="*/ 924600 w 1293444"/>
                <a:gd name="connsiteY95" fmla="*/ 1016000 h 1704975"/>
                <a:gd name="connsiteX96" fmla="*/ 921425 w 1293444"/>
                <a:gd name="connsiteY96" fmla="*/ 1025525 h 1704975"/>
                <a:gd name="connsiteX97" fmla="*/ 905550 w 1293444"/>
                <a:gd name="connsiteY97" fmla="*/ 1044575 h 1704975"/>
                <a:gd name="connsiteX98" fmla="*/ 896025 w 1293444"/>
                <a:gd name="connsiteY98" fmla="*/ 1063625 h 1704975"/>
                <a:gd name="connsiteX99" fmla="*/ 867450 w 1293444"/>
                <a:gd name="connsiteY99" fmla="*/ 1085850 h 1704975"/>
                <a:gd name="connsiteX100" fmla="*/ 848400 w 1293444"/>
                <a:gd name="connsiteY100" fmla="*/ 1095375 h 1704975"/>
                <a:gd name="connsiteX101" fmla="*/ 813475 w 1293444"/>
                <a:gd name="connsiteY101" fmla="*/ 1092200 h 1704975"/>
                <a:gd name="connsiteX102" fmla="*/ 772200 w 1293444"/>
                <a:gd name="connsiteY102" fmla="*/ 1098550 h 1704975"/>
                <a:gd name="connsiteX103" fmla="*/ 759500 w 1293444"/>
                <a:gd name="connsiteY103" fmla="*/ 1127125 h 1704975"/>
                <a:gd name="connsiteX104" fmla="*/ 756325 w 1293444"/>
                <a:gd name="connsiteY104" fmla="*/ 1136650 h 1704975"/>
                <a:gd name="connsiteX105" fmla="*/ 740450 w 1293444"/>
                <a:gd name="connsiteY105" fmla="*/ 1155700 h 1704975"/>
                <a:gd name="connsiteX106" fmla="*/ 718225 w 1293444"/>
                <a:gd name="connsiteY106" fmla="*/ 1181100 h 1704975"/>
                <a:gd name="connsiteX107" fmla="*/ 721400 w 1293444"/>
                <a:gd name="connsiteY107" fmla="*/ 1238250 h 1704975"/>
                <a:gd name="connsiteX108" fmla="*/ 727750 w 1293444"/>
                <a:gd name="connsiteY108" fmla="*/ 1247775 h 1704975"/>
                <a:gd name="connsiteX109" fmla="*/ 730925 w 1293444"/>
                <a:gd name="connsiteY109" fmla="*/ 1257300 h 1704975"/>
                <a:gd name="connsiteX110" fmla="*/ 740450 w 1293444"/>
                <a:gd name="connsiteY110" fmla="*/ 1276350 h 1704975"/>
                <a:gd name="connsiteX111" fmla="*/ 743625 w 1293444"/>
                <a:gd name="connsiteY111" fmla="*/ 1320800 h 1704975"/>
                <a:gd name="connsiteX112" fmla="*/ 746800 w 1293444"/>
                <a:gd name="connsiteY112" fmla="*/ 1330325 h 1704975"/>
                <a:gd name="connsiteX113" fmla="*/ 756325 w 1293444"/>
                <a:gd name="connsiteY113" fmla="*/ 1336675 h 1704975"/>
                <a:gd name="connsiteX114" fmla="*/ 762675 w 1293444"/>
                <a:gd name="connsiteY114" fmla="*/ 1346200 h 1704975"/>
                <a:gd name="connsiteX115" fmla="*/ 769025 w 1293444"/>
                <a:gd name="connsiteY115" fmla="*/ 1393825 h 1704975"/>
                <a:gd name="connsiteX116" fmla="*/ 775375 w 1293444"/>
                <a:gd name="connsiteY116" fmla="*/ 1412875 h 1704975"/>
                <a:gd name="connsiteX117" fmla="*/ 781725 w 1293444"/>
                <a:gd name="connsiteY117" fmla="*/ 1435100 h 1704975"/>
                <a:gd name="connsiteX118" fmla="*/ 772200 w 1293444"/>
                <a:gd name="connsiteY118" fmla="*/ 1460500 h 1704975"/>
                <a:gd name="connsiteX119" fmla="*/ 762675 w 1293444"/>
                <a:gd name="connsiteY119" fmla="*/ 1466850 h 1704975"/>
                <a:gd name="connsiteX120" fmla="*/ 753150 w 1293444"/>
                <a:gd name="connsiteY120" fmla="*/ 1485900 h 1704975"/>
                <a:gd name="connsiteX121" fmla="*/ 749975 w 1293444"/>
                <a:gd name="connsiteY121" fmla="*/ 1514475 h 1704975"/>
                <a:gd name="connsiteX122" fmla="*/ 740450 w 1293444"/>
                <a:gd name="connsiteY122" fmla="*/ 1520825 h 1704975"/>
                <a:gd name="connsiteX123" fmla="*/ 730925 w 1293444"/>
                <a:gd name="connsiteY123" fmla="*/ 1530350 h 1704975"/>
                <a:gd name="connsiteX124" fmla="*/ 718225 w 1293444"/>
                <a:gd name="connsiteY124" fmla="*/ 1549400 h 1704975"/>
                <a:gd name="connsiteX125" fmla="*/ 711875 w 1293444"/>
                <a:gd name="connsiteY125" fmla="*/ 1558925 h 1704975"/>
                <a:gd name="connsiteX126" fmla="*/ 702350 w 1293444"/>
                <a:gd name="connsiteY126" fmla="*/ 1568450 h 1704975"/>
                <a:gd name="connsiteX127" fmla="*/ 699175 w 1293444"/>
                <a:gd name="connsiteY127" fmla="*/ 1577975 h 1704975"/>
                <a:gd name="connsiteX128" fmla="*/ 686475 w 1293444"/>
                <a:gd name="connsiteY128" fmla="*/ 1597025 h 1704975"/>
                <a:gd name="connsiteX129" fmla="*/ 676950 w 1293444"/>
                <a:gd name="connsiteY129" fmla="*/ 1616075 h 1704975"/>
                <a:gd name="connsiteX130" fmla="*/ 667425 w 1293444"/>
                <a:gd name="connsiteY130" fmla="*/ 1619250 h 1704975"/>
                <a:gd name="connsiteX131" fmla="*/ 648375 w 1293444"/>
                <a:gd name="connsiteY131" fmla="*/ 1631950 h 1704975"/>
                <a:gd name="connsiteX132" fmla="*/ 638850 w 1293444"/>
                <a:gd name="connsiteY132" fmla="*/ 1638300 h 1704975"/>
                <a:gd name="connsiteX133" fmla="*/ 607100 w 1293444"/>
                <a:gd name="connsiteY133" fmla="*/ 1676400 h 1704975"/>
                <a:gd name="connsiteX134" fmla="*/ 556300 w 1293444"/>
                <a:gd name="connsiteY134" fmla="*/ 1679575 h 1704975"/>
                <a:gd name="connsiteX135" fmla="*/ 537250 w 1293444"/>
                <a:gd name="connsiteY135" fmla="*/ 1685925 h 1704975"/>
                <a:gd name="connsiteX136" fmla="*/ 515025 w 1293444"/>
                <a:gd name="connsiteY136" fmla="*/ 1698625 h 1704975"/>
                <a:gd name="connsiteX137" fmla="*/ 495975 w 1293444"/>
                <a:gd name="connsiteY137" fmla="*/ 1704975 h 1704975"/>
                <a:gd name="connsiteX138" fmla="*/ 476925 w 1293444"/>
                <a:gd name="connsiteY138" fmla="*/ 1701800 h 1704975"/>
                <a:gd name="connsiteX139" fmla="*/ 470575 w 1293444"/>
                <a:gd name="connsiteY139" fmla="*/ 1692275 h 1704975"/>
                <a:gd name="connsiteX140" fmla="*/ 467400 w 1293444"/>
                <a:gd name="connsiteY140" fmla="*/ 1660525 h 1704975"/>
                <a:gd name="connsiteX141" fmla="*/ 457875 w 1293444"/>
                <a:gd name="connsiteY141" fmla="*/ 1641475 h 1704975"/>
                <a:gd name="connsiteX142" fmla="*/ 448350 w 1293444"/>
                <a:gd name="connsiteY142" fmla="*/ 1635125 h 1704975"/>
                <a:gd name="connsiteX143" fmla="*/ 445175 w 1293444"/>
                <a:gd name="connsiteY143" fmla="*/ 1625600 h 1704975"/>
                <a:gd name="connsiteX144" fmla="*/ 435650 w 1293444"/>
                <a:gd name="connsiteY144" fmla="*/ 1606550 h 1704975"/>
                <a:gd name="connsiteX145" fmla="*/ 432475 w 1293444"/>
                <a:gd name="connsiteY145" fmla="*/ 1495425 h 1704975"/>
                <a:gd name="connsiteX146" fmla="*/ 429300 w 1293444"/>
                <a:gd name="connsiteY146" fmla="*/ 1485900 h 1704975"/>
                <a:gd name="connsiteX147" fmla="*/ 426125 w 1293444"/>
                <a:gd name="connsiteY147" fmla="*/ 1473200 h 1704975"/>
                <a:gd name="connsiteX148" fmla="*/ 419775 w 1293444"/>
                <a:gd name="connsiteY148" fmla="*/ 1463675 h 1704975"/>
                <a:gd name="connsiteX149" fmla="*/ 416600 w 1293444"/>
                <a:gd name="connsiteY149" fmla="*/ 1454150 h 1704975"/>
                <a:gd name="connsiteX150" fmla="*/ 403900 w 1293444"/>
                <a:gd name="connsiteY150" fmla="*/ 1435100 h 1704975"/>
                <a:gd name="connsiteX151" fmla="*/ 397550 w 1293444"/>
                <a:gd name="connsiteY151" fmla="*/ 1416050 h 1704975"/>
                <a:gd name="connsiteX152" fmla="*/ 394375 w 1293444"/>
                <a:gd name="connsiteY152" fmla="*/ 1381125 h 1704975"/>
                <a:gd name="connsiteX153" fmla="*/ 391200 w 1293444"/>
                <a:gd name="connsiteY153" fmla="*/ 1368425 h 1704975"/>
                <a:gd name="connsiteX154" fmla="*/ 388025 w 1293444"/>
                <a:gd name="connsiteY154" fmla="*/ 1352550 h 1704975"/>
                <a:gd name="connsiteX155" fmla="*/ 381675 w 1293444"/>
                <a:gd name="connsiteY155" fmla="*/ 1333500 h 1704975"/>
                <a:gd name="connsiteX156" fmla="*/ 378500 w 1293444"/>
                <a:gd name="connsiteY156" fmla="*/ 1323975 h 1704975"/>
                <a:gd name="connsiteX157" fmla="*/ 375325 w 1293444"/>
                <a:gd name="connsiteY157" fmla="*/ 1308100 h 1704975"/>
                <a:gd name="connsiteX158" fmla="*/ 368975 w 1293444"/>
                <a:gd name="connsiteY158" fmla="*/ 1289050 h 1704975"/>
                <a:gd name="connsiteX159" fmla="*/ 362625 w 1293444"/>
                <a:gd name="connsiteY159" fmla="*/ 1260475 h 1704975"/>
                <a:gd name="connsiteX160" fmla="*/ 359450 w 1293444"/>
                <a:gd name="connsiteY160" fmla="*/ 1231900 h 1704975"/>
                <a:gd name="connsiteX161" fmla="*/ 349925 w 1293444"/>
                <a:gd name="connsiteY161" fmla="*/ 1196975 h 1704975"/>
                <a:gd name="connsiteX162" fmla="*/ 340400 w 1293444"/>
                <a:gd name="connsiteY162" fmla="*/ 1155700 h 1704975"/>
                <a:gd name="connsiteX163" fmla="*/ 334050 w 1293444"/>
                <a:gd name="connsiteY163" fmla="*/ 1130300 h 1704975"/>
                <a:gd name="connsiteX164" fmla="*/ 327700 w 1293444"/>
                <a:gd name="connsiteY164" fmla="*/ 1104900 h 1704975"/>
                <a:gd name="connsiteX165" fmla="*/ 324525 w 1293444"/>
                <a:gd name="connsiteY165" fmla="*/ 1092200 h 1704975"/>
                <a:gd name="connsiteX166" fmla="*/ 318175 w 1293444"/>
                <a:gd name="connsiteY166" fmla="*/ 1050925 h 1704975"/>
                <a:gd name="connsiteX167" fmla="*/ 315000 w 1293444"/>
                <a:gd name="connsiteY167" fmla="*/ 1031875 h 1704975"/>
                <a:gd name="connsiteX168" fmla="*/ 311825 w 1293444"/>
                <a:gd name="connsiteY168" fmla="*/ 1022350 h 1704975"/>
                <a:gd name="connsiteX169" fmla="*/ 308650 w 1293444"/>
                <a:gd name="connsiteY169" fmla="*/ 1006475 h 1704975"/>
                <a:gd name="connsiteX170" fmla="*/ 302300 w 1293444"/>
                <a:gd name="connsiteY170" fmla="*/ 987425 h 1704975"/>
                <a:gd name="connsiteX171" fmla="*/ 299125 w 1293444"/>
                <a:gd name="connsiteY171" fmla="*/ 974725 h 1704975"/>
                <a:gd name="connsiteX172" fmla="*/ 292775 w 1293444"/>
                <a:gd name="connsiteY172" fmla="*/ 955675 h 1704975"/>
                <a:gd name="connsiteX173" fmla="*/ 289600 w 1293444"/>
                <a:gd name="connsiteY173" fmla="*/ 946150 h 1704975"/>
                <a:gd name="connsiteX174" fmla="*/ 280075 w 1293444"/>
                <a:gd name="connsiteY174" fmla="*/ 923925 h 1704975"/>
                <a:gd name="connsiteX175" fmla="*/ 261025 w 1293444"/>
                <a:gd name="connsiteY175" fmla="*/ 908050 h 1704975"/>
                <a:gd name="connsiteX176" fmla="*/ 241975 w 1293444"/>
                <a:gd name="connsiteY176" fmla="*/ 901700 h 1704975"/>
                <a:gd name="connsiteX177" fmla="*/ 222925 w 1293444"/>
                <a:gd name="connsiteY177" fmla="*/ 889000 h 1704975"/>
                <a:gd name="connsiteX178" fmla="*/ 213400 w 1293444"/>
                <a:gd name="connsiteY178" fmla="*/ 885825 h 1704975"/>
                <a:gd name="connsiteX179" fmla="*/ 194350 w 1293444"/>
                <a:gd name="connsiteY179" fmla="*/ 873125 h 1704975"/>
                <a:gd name="connsiteX180" fmla="*/ 175300 w 1293444"/>
                <a:gd name="connsiteY180" fmla="*/ 860425 h 1704975"/>
                <a:gd name="connsiteX181" fmla="*/ 162600 w 1293444"/>
                <a:gd name="connsiteY181" fmla="*/ 850900 h 1704975"/>
                <a:gd name="connsiteX182" fmla="*/ 153075 w 1293444"/>
                <a:gd name="connsiteY182" fmla="*/ 847725 h 1704975"/>
                <a:gd name="connsiteX183" fmla="*/ 134025 w 1293444"/>
                <a:gd name="connsiteY183" fmla="*/ 835025 h 1704975"/>
                <a:gd name="connsiteX184" fmla="*/ 114975 w 1293444"/>
                <a:gd name="connsiteY184" fmla="*/ 822325 h 1704975"/>
                <a:gd name="connsiteX185" fmla="*/ 105450 w 1293444"/>
                <a:gd name="connsiteY185" fmla="*/ 815975 h 1704975"/>
                <a:gd name="connsiteX186" fmla="*/ 95925 w 1293444"/>
                <a:gd name="connsiteY186" fmla="*/ 812800 h 1704975"/>
                <a:gd name="connsiteX187" fmla="*/ 64175 w 1293444"/>
                <a:gd name="connsiteY187" fmla="*/ 790575 h 1704975"/>
                <a:gd name="connsiteX188" fmla="*/ 54650 w 1293444"/>
                <a:gd name="connsiteY188" fmla="*/ 787400 h 1704975"/>
                <a:gd name="connsiteX189" fmla="*/ 38775 w 1293444"/>
                <a:gd name="connsiteY189" fmla="*/ 771525 h 1704975"/>
                <a:gd name="connsiteX190" fmla="*/ 29250 w 1293444"/>
                <a:gd name="connsiteY190" fmla="*/ 762000 h 1704975"/>
                <a:gd name="connsiteX191" fmla="*/ 19725 w 1293444"/>
                <a:gd name="connsiteY191" fmla="*/ 758825 h 1704975"/>
                <a:gd name="connsiteX192" fmla="*/ 675 w 1293444"/>
                <a:gd name="connsiteY192" fmla="*/ 746125 h 1704975"/>
                <a:gd name="connsiteX193" fmla="*/ 51475 w 1293444"/>
                <a:gd name="connsiteY193" fmla="*/ 739775 h 1704975"/>
                <a:gd name="connsiteX194" fmla="*/ 67350 w 1293444"/>
                <a:gd name="connsiteY194" fmla="*/ 736600 h 1704975"/>
                <a:gd name="connsiteX195" fmla="*/ 102275 w 1293444"/>
                <a:gd name="connsiteY195" fmla="*/ 733425 h 1704975"/>
                <a:gd name="connsiteX196" fmla="*/ 130850 w 1293444"/>
                <a:gd name="connsiteY196" fmla="*/ 727075 h 1704975"/>
                <a:gd name="connsiteX197" fmla="*/ 149900 w 1293444"/>
                <a:gd name="connsiteY197" fmla="*/ 723900 h 1704975"/>
                <a:gd name="connsiteX198" fmla="*/ 159425 w 1293444"/>
                <a:gd name="connsiteY198" fmla="*/ 720725 h 1704975"/>
                <a:gd name="connsiteX199" fmla="*/ 175300 w 1293444"/>
                <a:gd name="connsiteY199" fmla="*/ 717550 h 1704975"/>
                <a:gd name="connsiteX200" fmla="*/ 194350 w 1293444"/>
                <a:gd name="connsiteY200" fmla="*/ 711200 h 1704975"/>
                <a:gd name="connsiteX201" fmla="*/ 222925 w 1293444"/>
                <a:gd name="connsiteY201" fmla="*/ 701675 h 1704975"/>
                <a:gd name="connsiteX202" fmla="*/ 232450 w 1293444"/>
                <a:gd name="connsiteY202" fmla="*/ 698500 h 1704975"/>
                <a:gd name="connsiteX203" fmla="*/ 241975 w 1293444"/>
                <a:gd name="connsiteY203" fmla="*/ 695325 h 1704975"/>
                <a:gd name="connsiteX204" fmla="*/ 381675 w 1293444"/>
                <a:gd name="connsiteY204" fmla="*/ 688975 h 1704975"/>
                <a:gd name="connsiteX205" fmla="*/ 397550 w 1293444"/>
                <a:gd name="connsiteY205" fmla="*/ 685800 h 1704975"/>
                <a:gd name="connsiteX206" fmla="*/ 407075 w 1293444"/>
                <a:gd name="connsiteY206" fmla="*/ 682625 h 1704975"/>
                <a:gd name="connsiteX207" fmla="*/ 419775 w 1293444"/>
                <a:gd name="connsiteY207" fmla="*/ 679450 h 1704975"/>
                <a:gd name="connsiteX208" fmla="*/ 438825 w 1293444"/>
                <a:gd name="connsiteY208" fmla="*/ 673100 h 1704975"/>
                <a:gd name="connsiteX209" fmla="*/ 467400 w 1293444"/>
                <a:gd name="connsiteY209" fmla="*/ 663575 h 1704975"/>
                <a:gd name="connsiteX210" fmla="*/ 495975 w 1293444"/>
                <a:gd name="connsiteY210" fmla="*/ 654050 h 1704975"/>
                <a:gd name="connsiteX211" fmla="*/ 505500 w 1293444"/>
                <a:gd name="connsiteY211" fmla="*/ 650875 h 1704975"/>
                <a:gd name="connsiteX212" fmla="*/ 527725 w 1293444"/>
                <a:gd name="connsiteY212" fmla="*/ 641350 h 1704975"/>
                <a:gd name="connsiteX213" fmla="*/ 537250 w 1293444"/>
                <a:gd name="connsiteY213" fmla="*/ 635000 h 1704975"/>
                <a:gd name="connsiteX214" fmla="*/ 546775 w 1293444"/>
                <a:gd name="connsiteY214" fmla="*/ 631825 h 1704975"/>
                <a:gd name="connsiteX215" fmla="*/ 559475 w 1293444"/>
                <a:gd name="connsiteY215" fmla="*/ 625475 h 1704975"/>
                <a:gd name="connsiteX216" fmla="*/ 578525 w 1293444"/>
                <a:gd name="connsiteY216" fmla="*/ 657225 h 1704975"/>
                <a:gd name="connsiteX217" fmla="*/ 588050 w 1293444"/>
                <a:gd name="connsiteY217" fmla="*/ 660400 h 1704975"/>
                <a:gd name="connsiteX218" fmla="*/ 607100 w 1293444"/>
                <a:gd name="connsiteY218" fmla="*/ 673100 h 1704975"/>
                <a:gd name="connsiteX219" fmla="*/ 626150 w 1293444"/>
                <a:gd name="connsiteY219" fmla="*/ 679450 h 1704975"/>
                <a:gd name="connsiteX220" fmla="*/ 635675 w 1293444"/>
                <a:gd name="connsiteY220" fmla="*/ 685800 h 1704975"/>
                <a:gd name="connsiteX221" fmla="*/ 654725 w 1293444"/>
                <a:gd name="connsiteY221" fmla="*/ 692150 h 1704975"/>
                <a:gd name="connsiteX222" fmla="*/ 645200 w 1293444"/>
                <a:gd name="connsiteY222" fmla="*/ 682625 h 1704975"/>
                <a:gd name="connsiteX223" fmla="*/ 635675 w 1293444"/>
                <a:gd name="connsiteY223" fmla="*/ 676275 h 1704975"/>
                <a:gd name="connsiteX224" fmla="*/ 632500 w 1293444"/>
                <a:gd name="connsiteY224" fmla="*/ 666750 h 1704975"/>
                <a:gd name="connsiteX225" fmla="*/ 635675 w 1293444"/>
                <a:gd name="connsiteY225" fmla="*/ 590550 h 1704975"/>
                <a:gd name="connsiteX226" fmla="*/ 642025 w 1293444"/>
                <a:gd name="connsiteY226" fmla="*/ 571500 h 1704975"/>
                <a:gd name="connsiteX227" fmla="*/ 648375 w 1293444"/>
                <a:gd name="connsiteY227" fmla="*/ 561975 h 1704975"/>
                <a:gd name="connsiteX228" fmla="*/ 638850 w 1293444"/>
                <a:gd name="connsiteY228" fmla="*/ 536575 h 1704975"/>
                <a:gd name="connsiteX229" fmla="*/ 629325 w 1293444"/>
                <a:gd name="connsiteY229" fmla="*/ 533400 h 1704975"/>
                <a:gd name="connsiteX230" fmla="*/ 626150 w 1293444"/>
                <a:gd name="connsiteY230" fmla="*/ 523875 h 1704975"/>
                <a:gd name="connsiteX231" fmla="*/ 632500 w 1293444"/>
                <a:gd name="connsiteY231" fmla="*/ 498475 h 1704975"/>
                <a:gd name="connsiteX232" fmla="*/ 635675 w 1293444"/>
                <a:gd name="connsiteY232" fmla="*/ 485775 h 1704975"/>
                <a:gd name="connsiteX233" fmla="*/ 626150 w 1293444"/>
                <a:gd name="connsiteY233" fmla="*/ 463550 h 1704975"/>
                <a:gd name="connsiteX234" fmla="*/ 616625 w 1293444"/>
                <a:gd name="connsiteY234" fmla="*/ 460375 h 1704975"/>
                <a:gd name="connsiteX235" fmla="*/ 607100 w 1293444"/>
                <a:gd name="connsiteY235" fmla="*/ 454025 h 1704975"/>
                <a:gd name="connsiteX236" fmla="*/ 591225 w 1293444"/>
                <a:gd name="connsiteY236" fmla="*/ 450850 h 1704975"/>
                <a:gd name="connsiteX237" fmla="*/ 569000 w 1293444"/>
                <a:gd name="connsiteY237" fmla="*/ 441325 h 1704975"/>
                <a:gd name="connsiteX238" fmla="*/ 546775 w 1293444"/>
                <a:gd name="connsiteY238" fmla="*/ 415925 h 1704975"/>
                <a:gd name="connsiteX239" fmla="*/ 540425 w 1293444"/>
                <a:gd name="connsiteY239" fmla="*/ 406400 h 1704975"/>
                <a:gd name="connsiteX240" fmla="*/ 530900 w 1293444"/>
                <a:gd name="connsiteY240" fmla="*/ 400050 h 1704975"/>
                <a:gd name="connsiteX241" fmla="*/ 508675 w 1293444"/>
                <a:gd name="connsiteY241" fmla="*/ 374650 h 1704975"/>
                <a:gd name="connsiteX242" fmla="*/ 502325 w 1293444"/>
                <a:gd name="connsiteY242" fmla="*/ 365125 h 1704975"/>
                <a:gd name="connsiteX243" fmla="*/ 483275 w 1293444"/>
                <a:gd name="connsiteY243" fmla="*/ 346075 h 1704975"/>
                <a:gd name="connsiteX244" fmla="*/ 486450 w 1293444"/>
                <a:gd name="connsiteY244" fmla="*/ 333375 h 1704975"/>
                <a:gd name="connsiteX245" fmla="*/ 492800 w 1293444"/>
                <a:gd name="connsiteY245" fmla="*/ 314325 h 1704975"/>
                <a:gd name="connsiteX246" fmla="*/ 489625 w 1293444"/>
                <a:gd name="connsiteY246" fmla="*/ 292100 h 1704975"/>
                <a:gd name="connsiteX247" fmla="*/ 461050 w 1293444"/>
                <a:gd name="connsiteY247" fmla="*/ 266700 h 1704975"/>
                <a:gd name="connsiteX248" fmla="*/ 435650 w 1293444"/>
                <a:gd name="connsiteY248" fmla="*/ 254000 h 1704975"/>
                <a:gd name="connsiteX249" fmla="*/ 413425 w 1293444"/>
                <a:gd name="connsiteY249" fmla="*/ 238125 h 1704975"/>
                <a:gd name="connsiteX250" fmla="*/ 403900 w 1293444"/>
                <a:gd name="connsiteY250" fmla="*/ 231775 h 1704975"/>
                <a:gd name="connsiteX251" fmla="*/ 388025 w 1293444"/>
                <a:gd name="connsiteY251" fmla="*/ 212725 h 1704975"/>
                <a:gd name="connsiteX252" fmla="*/ 372150 w 1293444"/>
                <a:gd name="connsiteY252" fmla="*/ 196850 h 1704975"/>
                <a:gd name="connsiteX253" fmla="*/ 365800 w 1293444"/>
                <a:gd name="connsiteY253" fmla="*/ 177800 h 1704975"/>
                <a:gd name="connsiteX254" fmla="*/ 359450 w 1293444"/>
                <a:gd name="connsiteY254" fmla="*/ 149225 h 1704975"/>
                <a:gd name="connsiteX255" fmla="*/ 362625 w 1293444"/>
                <a:gd name="connsiteY255" fmla="*/ 114300 h 1704975"/>
                <a:gd name="connsiteX256" fmla="*/ 368975 w 1293444"/>
                <a:gd name="connsiteY256" fmla="*/ 104775 h 1704975"/>
                <a:gd name="connsiteX257" fmla="*/ 375325 w 1293444"/>
                <a:gd name="connsiteY257"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057881 w 1293444"/>
                <a:gd name="connsiteY53" fmla="*/ 393700 h 1704975"/>
                <a:gd name="connsiteX54" fmla="*/ 1134150 w 1293444"/>
                <a:gd name="connsiteY54" fmla="*/ 396875 h 1704975"/>
                <a:gd name="connsiteX55" fmla="*/ 1165900 w 1293444"/>
                <a:gd name="connsiteY55" fmla="*/ 454025 h 1704975"/>
                <a:gd name="connsiteX56" fmla="*/ 1207175 w 1293444"/>
                <a:gd name="connsiteY56" fmla="*/ 457200 h 1704975"/>
                <a:gd name="connsiteX57" fmla="*/ 1216700 w 1293444"/>
                <a:gd name="connsiteY57" fmla="*/ 463550 h 1704975"/>
                <a:gd name="connsiteX58" fmla="*/ 1270675 w 1293444"/>
                <a:gd name="connsiteY58" fmla="*/ 469900 h 1704975"/>
                <a:gd name="connsiteX59" fmla="*/ 1277025 w 1293444"/>
                <a:gd name="connsiteY59" fmla="*/ 479425 h 1704975"/>
                <a:gd name="connsiteX60" fmla="*/ 1273850 w 1293444"/>
                <a:gd name="connsiteY60" fmla="*/ 488950 h 1704975"/>
                <a:gd name="connsiteX61" fmla="*/ 1270675 w 1293444"/>
                <a:gd name="connsiteY61" fmla="*/ 511175 h 1704975"/>
                <a:gd name="connsiteX62" fmla="*/ 1264325 w 1293444"/>
                <a:gd name="connsiteY62" fmla="*/ 530225 h 1704975"/>
                <a:gd name="connsiteX63" fmla="*/ 1261150 w 1293444"/>
                <a:gd name="connsiteY63" fmla="*/ 539750 h 1704975"/>
                <a:gd name="connsiteX64" fmla="*/ 1254800 w 1293444"/>
                <a:gd name="connsiteY64" fmla="*/ 571500 h 1704975"/>
                <a:gd name="connsiteX65" fmla="*/ 1254800 w 1293444"/>
                <a:gd name="connsiteY65" fmla="*/ 692150 h 1704975"/>
                <a:gd name="connsiteX66" fmla="*/ 1257975 w 1293444"/>
                <a:gd name="connsiteY66" fmla="*/ 714375 h 1704975"/>
                <a:gd name="connsiteX67" fmla="*/ 1261150 w 1293444"/>
                <a:gd name="connsiteY67" fmla="*/ 723900 h 1704975"/>
                <a:gd name="connsiteX68" fmla="*/ 1273850 w 1293444"/>
                <a:gd name="connsiteY68" fmla="*/ 727075 h 1704975"/>
                <a:gd name="connsiteX69" fmla="*/ 1292900 w 1293444"/>
                <a:gd name="connsiteY69" fmla="*/ 739775 h 1704975"/>
                <a:gd name="connsiteX70" fmla="*/ 1289725 w 1293444"/>
                <a:gd name="connsiteY70" fmla="*/ 784225 h 1704975"/>
                <a:gd name="connsiteX71" fmla="*/ 1273850 w 1293444"/>
                <a:gd name="connsiteY71" fmla="*/ 800100 h 1704975"/>
                <a:gd name="connsiteX72" fmla="*/ 1264325 w 1293444"/>
                <a:gd name="connsiteY72" fmla="*/ 809625 h 1704975"/>
                <a:gd name="connsiteX73" fmla="*/ 1219875 w 1293444"/>
                <a:gd name="connsiteY73" fmla="*/ 819150 h 1704975"/>
                <a:gd name="connsiteX74" fmla="*/ 1200825 w 1293444"/>
                <a:gd name="connsiteY74" fmla="*/ 825500 h 1704975"/>
                <a:gd name="connsiteX75" fmla="*/ 1181775 w 1293444"/>
                <a:gd name="connsiteY75" fmla="*/ 838200 h 1704975"/>
                <a:gd name="connsiteX76" fmla="*/ 1172250 w 1293444"/>
                <a:gd name="connsiteY76" fmla="*/ 844550 h 1704975"/>
                <a:gd name="connsiteX77" fmla="*/ 1153200 w 1293444"/>
                <a:gd name="connsiteY77" fmla="*/ 850900 h 1704975"/>
                <a:gd name="connsiteX78" fmla="*/ 1140500 w 1293444"/>
                <a:gd name="connsiteY78" fmla="*/ 857250 h 1704975"/>
                <a:gd name="connsiteX79" fmla="*/ 1130975 w 1293444"/>
                <a:gd name="connsiteY79" fmla="*/ 863600 h 1704975"/>
                <a:gd name="connsiteX80" fmla="*/ 1105575 w 1293444"/>
                <a:gd name="connsiteY80" fmla="*/ 866775 h 1704975"/>
                <a:gd name="connsiteX81" fmla="*/ 1086525 w 1293444"/>
                <a:gd name="connsiteY81" fmla="*/ 873125 h 1704975"/>
                <a:gd name="connsiteX82" fmla="*/ 1077000 w 1293444"/>
                <a:gd name="connsiteY82" fmla="*/ 879475 h 1704975"/>
                <a:gd name="connsiteX83" fmla="*/ 1057950 w 1293444"/>
                <a:gd name="connsiteY83" fmla="*/ 885825 h 1704975"/>
                <a:gd name="connsiteX84" fmla="*/ 1048425 w 1293444"/>
                <a:gd name="connsiteY84" fmla="*/ 889000 h 1704975"/>
                <a:gd name="connsiteX85" fmla="*/ 1029375 w 1293444"/>
                <a:gd name="connsiteY85" fmla="*/ 908050 h 1704975"/>
                <a:gd name="connsiteX86" fmla="*/ 1010325 w 1293444"/>
                <a:gd name="connsiteY86" fmla="*/ 914400 h 1704975"/>
                <a:gd name="connsiteX87" fmla="*/ 1003975 w 1293444"/>
                <a:gd name="connsiteY87" fmla="*/ 923925 h 1704975"/>
                <a:gd name="connsiteX88" fmla="*/ 994450 w 1293444"/>
                <a:gd name="connsiteY88" fmla="*/ 933450 h 1704975"/>
                <a:gd name="connsiteX89" fmla="*/ 991275 w 1293444"/>
                <a:gd name="connsiteY89" fmla="*/ 942975 h 1704975"/>
                <a:gd name="connsiteX90" fmla="*/ 988100 w 1293444"/>
                <a:gd name="connsiteY90" fmla="*/ 962025 h 1704975"/>
                <a:gd name="connsiteX91" fmla="*/ 969050 w 1293444"/>
                <a:gd name="connsiteY91" fmla="*/ 968375 h 1704975"/>
                <a:gd name="connsiteX92" fmla="*/ 950000 w 1293444"/>
                <a:gd name="connsiteY92" fmla="*/ 981075 h 1704975"/>
                <a:gd name="connsiteX93" fmla="*/ 940475 w 1293444"/>
                <a:gd name="connsiteY93" fmla="*/ 987425 h 1704975"/>
                <a:gd name="connsiteX94" fmla="*/ 930950 w 1293444"/>
                <a:gd name="connsiteY94" fmla="*/ 1006475 h 1704975"/>
                <a:gd name="connsiteX95" fmla="*/ 924600 w 1293444"/>
                <a:gd name="connsiteY95" fmla="*/ 1016000 h 1704975"/>
                <a:gd name="connsiteX96" fmla="*/ 921425 w 1293444"/>
                <a:gd name="connsiteY96" fmla="*/ 1025525 h 1704975"/>
                <a:gd name="connsiteX97" fmla="*/ 905550 w 1293444"/>
                <a:gd name="connsiteY97" fmla="*/ 1044575 h 1704975"/>
                <a:gd name="connsiteX98" fmla="*/ 896025 w 1293444"/>
                <a:gd name="connsiteY98" fmla="*/ 1063625 h 1704975"/>
                <a:gd name="connsiteX99" fmla="*/ 867450 w 1293444"/>
                <a:gd name="connsiteY99" fmla="*/ 1085850 h 1704975"/>
                <a:gd name="connsiteX100" fmla="*/ 848400 w 1293444"/>
                <a:gd name="connsiteY100" fmla="*/ 1095375 h 1704975"/>
                <a:gd name="connsiteX101" fmla="*/ 813475 w 1293444"/>
                <a:gd name="connsiteY101" fmla="*/ 1092200 h 1704975"/>
                <a:gd name="connsiteX102" fmla="*/ 772200 w 1293444"/>
                <a:gd name="connsiteY102" fmla="*/ 1098550 h 1704975"/>
                <a:gd name="connsiteX103" fmla="*/ 759500 w 1293444"/>
                <a:gd name="connsiteY103" fmla="*/ 1127125 h 1704975"/>
                <a:gd name="connsiteX104" fmla="*/ 756325 w 1293444"/>
                <a:gd name="connsiteY104" fmla="*/ 1136650 h 1704975"/>
                <a:gd name="connsiteX105" fmla="*/ 740450 w 1293444"/>
                <a:gd name="connsiteY105" fmla="*/ 1155700 h 1704975"/>
                <a:gd name="connsiteX106" fmla="*/ 718225 w 1293444"/>
                <a:gd name="connsiteY106" fmla="*/ 1181100 h 1704975"/>
                <a:gd name="connsiteX107" fmla="*/ 721400 w 1293444"/>
                <a:gd name="connsiteY107" fmla="*/ 1238250 h 1704975"/>
                <a:gd name="connsiteX108" fmla="*/ 727750 w 1293444"/>
                <a:gd name="connsiteY108" fmla="*/ 1247775 h 1704975"/>
                <a:gd name="connsiteX109" fmla="*/ 730925 w 1293444"/>
                <a:gd name="connsiteY109" fmla="*/ 1257300 h 1704975"/>
                <a:gd name="connsiteX110" fmla="*/ 740450 w 1293444"/>
                <a:gd name="connsiteY110" fmla="*/ 1276350 h 1704975"/>
                <a:gd name="connsiteX111" fmla="*/ 743625 w 1293444"/>
                <a:gd name="connsiteY111" fmla="*/ 1320800 h 1704975"/>
                <a:gd name="connsiteX112" fmla="*/ 746800 w 1293444"/>
                <a:gd name="connsiteY112" fmla="*/ 1330325 h 1704975"/>
                <a:gd name="connsiteX113" fmla="*/ 756325 w 1293444"/>
                <a:gd name="connsiteY113" fmla="*/ 1336675 h 1704975"/>
                <a:gd name="connsiteX114" fmla="*/ 762675 w 1293444"/>
                <a:gd name="connsiteY114" fmla="*/ 1346200 h 1704975"/>
                <a:gd name="connsiteX115" fmla="*/ 769025 w 1293444"/>
                <a:gd name="connsiteY115" fmla="*/ 1393825 h 1704975"/>
                <a:gd name="connsiteX116" fmla="*/ 775375 w 1293444"/>
                <a:gd name="connsiteY116" fmla="*/ 1412875 h 1704975"/>
                <a:gd name="connsiteX117" fmla="*/ 781725 w 1293444"/>
                <a:gd name="connsiteY117" fmla="*/ 1435100 h 1704975"/>
                <a:gd name="connsiteX118" fmla="*/ 772200 w 1293444"/>
                <a:gd name="connsiteY118" fmla="*/ 1460500 h 1704975"/>
                <a:gd name="connsiteX119" fmla="*/ 762675 w 1293444"/>
                <a:gd name="connsiteY119" fmla="*/ 1466850 h 1704975"/>
                <a:gd name="connsiteX120" fmla="*/ 753150 w 1293444"/>
                <a:gd name="connsiteY120" fmla="*/ 1485900 h 1704975"/>
                <a:gd name="connsiteX121" fmla="*/ 749975 w 1293444"/>
                <a:gd name="connsiteY121" fmla="*/ 1514475 h 1704975"/>
                <a:gd name="connsiteX122" fmla="*/ 740450 w 1293444"/>
                <a:gd name="connsiteY122" fmla="*/ 1520825 h 1704975"/>
                <a:gd name="connsiteX123" fmla="*/ 730925 w 1293444"/>
                <a:gd name="connsiteY123" fmla="*/ 1530350 h 1704975"/>
                <a:gd name="connsiteX124" fmla="*/ 718225 w 1293444"/>
                <a:gd name="connsiteY124" fmla="*/ 1549400 h 1704975"/>
                <a:gd name="connsiteX125" fmla="*/ 711875 w 1293444"/>
                <a:gd name="connsiteY125" fmla="*/ 1558925 h 1704975"/>
                <a:gd name="connsiteX126" fmla="*/ 702350 w 1293444"/>
                <a:gd name="connsiteY126" fmla="*/ 1568450 h 1704975"/>
                <a:gd name="connsiteX127" fmla="*/ 699175 w 1293444"/>
                <a:gd name="connsiteY127" fmla="*/ 1577975 h 1704975"/>
                <a:gd name="connsiteX128" fmla="*/ 686475 w 1293444"/>
                <a:gd name="connsiteY128" fmla="*/ 1597025 h 1704975"/>
                <a:gd name="connsiteX129" fmla="*/ 676950 w 1293444"/>
                <a:gd name="connsiteY129" fmla="*/ 1616075 h 1704975"/>
                <a:gd name="connsiteX130" fmla="*/ 667425 w 1293444"/>
                <a:gd name="connsiteY130" fmla="*/ 1619250 h 1704975"/>
                <a:gd name="connsiteX131" fmla="*/ 648375 w 1293444"/>
                <a:gd name="connsiteY131" fmla="*/ 1631950 h 1704975"/>
                <a:gd name="connsiteX132" fmla="*/ 638850 w 1293444"/>
                <a:gd name="connsiteY132" fmla="*/ 1638300 h 1704975"/>
                <a:gd name="connsiteX133" fmla="*/ 607100 w 1293444"/>
                <a:gd name="connsiteY133" fmla="*/ 1676400 h 1704975"/>
                <a:gd name="connsiteX134" fmla="*/ 556300 w 1293444"/>
                <a:gd name="connsiteY134" fmla="*/ 1679575 h 1704975"/>
                <a:gd name="connsiteX135" fmla="*/ 537250 w 1293444"/>
                <a:gd name="connsiteY135" fmla="*/ 1685925 h 1704975"/>
                <a:gd name="connsiteX136" fmla="*/ 515025 w 1293444"/>
                <a:gd name="connsiteY136" fmla="*/ 1698625 h 1704975"/>
                <a:gd name="connsiteX137" fmla="*/ 495975 w 1293444"/>
                <a:gd name="connsiteY137" fmla="*/ 1704975 h 1704975"/>
                <a:gd name="connsiteX138" fmla="*/ 476925 w 1293444"/>
                <a:gd name="connsiteY138" fmla="*/ 1701800 h 1704975"/>
                <a:gd name="connsiteX139" fmla="*/ 470575 w 1293444"/>
                <a:gd name="connsiteY139" fmla="*/ 1692275 h 1704975"/>
                <a:gd name="connsiteX140" fmla="*/ 467400 w 1293444"/>
                <a:gd name="connsiteY140" fmla="*/ 1660525 h 1704975"/>
                <a:gd name="connsiteX141" fmla="*/ 457875 w 1293444"/>
                <a:gd name="connsiteY141" fmla="*/ 1641475 h 1704975"/>
                <a:gd name="connsiteX142" fmla="*/ 448350 w 1293444"/>
                <a:gd name="connsiteY142" fmla="*/ 1635125 h 1704975"/>
                <a:gd name="connsiteX143" fmla="*/ 445175 w 1293444"/>
                <a:gd name="connsiteY143" fmla="*/ 1625600 h 1704975"/>
                <a:gd name="connsiteX144" fmla="*/ 435650 w 1293444"/>
                <a:gd name="connsiteY144" fmla="*/ 1606550 h 1704975"/>
                <a:gd name="connsiteX145" fmla="*/ 432475 w 1293444"/>
                <a:gd name="connsiteY145" fmla="*/ 1495425 h 1704975"/>
                <a:gd name="connsiteX146" fmla="*/ 429300 w 1293444"/>
                <a:gd name="connsiteY146" fmla="*/ 1485900 h 1704975"/>
                <a:gd name="connsiteX147" fmla="*/ 426125 w 1293444"/>
                <a:gd name="connsiteY147" fmla="*/ 1473200 h 1704975"/>
                <a:gd name="connsiteX148" fmla="*/ 419775 w 1293444"/>
                <a:gd name="connsiteY148" fmla="*/ 1463675 h 1704975"/>
                <a:gd name="connsiteX149" fmla="*/ 416600 w 1293444"/>
                <a:gd name="connsiteY149" fmla="*/ 1454150 h 1704975"/>
                <a:gd name="connsiteX150" fmla="*/ 403900 w 1293444"/>
                <a:gd name="connsiteY150" fmla="*/ 1435100 h 1704975"/>
                <a:gd name="connsiteX151" fmla="*/ 397550 w 1293444"/>
                <a:gd name="connsiteY151" fmla="*/ 1416050 h 1704975"/>
                <a:gd name="connsiteX152" fmla="*/ 394375 w 1293444"/>
                <a:gd name="connsiteY152" fmla="*/ 1381125 h 1704975"/>
                <a:gd name="connsiteX153" fmla="*/ 391200 w 1293444"/>
                <a:gd name="connsiteY153" fmla="*/ 1368425 h 1704975"/>
                <a:gd name="connsiteX154" fmla="*/ 388025 w 1293444"/>
                <a:gd name="connsiteY154" fmla="*/ 1352550 h 1704975"/>
                <a:gd name="connsiteX155" fmla="*/ 381675 w 1293444"/>
                <a:gd name="connsiteY155" fmla="*/ 1333500 h 1704975"/>
                <a:gd name="connsiteX156" fmla="*/ 378500 w 1293444"/>
                <a:gd name="connsiteY156" fmla="*/ 1323975 h 1704975"/>
                <a:gd name="connsiteX157" fmla="*/ 375325 w 1293444"/>
                <a:gd name="connsiteY157" fmla="*/ 1308100 h 1704975"/>
                <a:gd name="connsiteX158" fmla="*/ 368975 w 1293444"/>
                <a:gd name="connsiteY158" fmla="*/ 1289050 h 1704975"/>
                <a:gd name="connsiteX159" fmla="*/ 362625 w 1293444"/>
                <a:gd name="connsiteY159" fmla="*/ 1260475 h 1704975"/>
                <a:gd name="connsiteX160" fmla="*/ 359450 w 1293444"/>
                <a:gd name="connsiteY160" fmla="*/ 1231900 h 1704975"/>
                <a:gd name="connsiteX161" fmla="*/ 349925 w 1293444"/>
                <a:gd name="connsiteY161" fmla="*/ 1196975 h 1704975"/>
                <a:gd name="connsiteX162" fmla="*/ 340400 w 1293444"/>
                <a:gd name="connsiteY162" fmla="*/ 1155700 h 1704975"/>
                <a:gd name="connsiteX163" fmla="*/ 334050 w 1293444"/>
                <a:gd name="connsiteY163" fmla="*/ 1130300 h 1704975"/>
                <a:gd name="connsiteX164" fmla="*/ 327700 w 1293444"/>
                <a:gd name="connsiteY164" fmla="*/ 1104900 h 1704975"/>
                <a:gd name="connsiteX165" fmla="*/ 324525 w 1293444"/>
                <a:gd name="connsiteY165" fmla="*/ 1092200 h 1704975"/>
                <a:gd name="connsiteX166" fmla="*/ 318175 w 1293444"/>
                <a:gd name="connsiteY166" fmla="*/ 1050925 h 1704975"/>
                <a:gd name="connsiteX167" fmla="*/ 315000 w 1293444"/>
                <a:gd name="connsiteY167" fmla="*/ 1031875 h 1704975"/>
                <a:gd name="connsiteX168" fmla="*/ 311825 w 1293444"/>
                <a:gd name="connsiteY168" fmla="*/ 1022350 h 1704975"/>
                <a:gd name="connsiteX169" fmla="*/ 308650 w 1293444"/>
                <a:gd name="connsiteY169" fmla="*/ 1006475 h 1704975"/>
                <a:gd name="connsiteX170" fmla="*/ 302300 w 1293444"/>
                <a:gd name="connsiteY170" fmla="*/ 987425 h 1704975"/>
                <a:gd name="connsiteX171" fmla="*/ 299125 w 1293444"/>
                <a:gd name="connsiteY171" fmla="*/ 974725 h 1704975"/>
                <a:gd name="connsiteX172" fmla="*/ 292775 w 1293444"/>
                <a:gd name="connsiteY172" fmla="*/ 955675 h 1704975"/>
                <a:gd name="connsiteX173" fmla="*/ 289600 w 1293444"/>
                <a:gd name="connsiteY173" fmla="*/ 946150 h 1704975"/>
                <a:gd name="connsiteX174" fmla="*/ 280075 w 1293444"/>
                <a:gd name="connsiteY174" fmla="*/ 923925 h 1704975"/>
                <a:gd name="connsiteX175" fmla="*/ 261025 w 1293444"/>
                <a:gd name="connsiteY175" fmla="*/ 908050 h 1704975"/>
                <a:gd name="connsiteX176" fmla="*/ 241975 w 1293444"/>
                <a:gd name="connsiteY176" fmla="*/ 901700 h 1704975"/>
                <a:gd name="connsiteX177" fmla="*/ 222925 w 1293444"/>
                <a:gd name="connsiteY177" fmla="*/ 889000 h 1704975"/>
                <a:gd name="connsiteX178" fmla="*/ 213400 w 1293444"/>
                <a:gd name="connsiteY178" fmla="*/ 885825 h 1704975"/>
                <a:gd name="connsiteX179" fmla="*/ 194350 w 1293444"/>
                <a:gd name="connsiteY179" fmla="*/ 873125 h 1704975"/>
                <a:gd name="connsiteX180" fmla="*/ 175300 w 1293444"/>
                <a:gd name="connsiteY180" fmla="*/ 860425 h 1704975"/>
                <a:gd name="connsiteX181" fmla="*/ 162600 w 1293444"/>
                <a:gd name="connsiteY181" fmla="*/ 850900 h 1704975"/>
                <a:gd name="connsiteX182" fmla="*/ 153075 w 1293444"/>
                <a:gd name="connsiteY182" fmla="*/ 847725 h 1704975"/>
                <a:gd name="connsiteX183" fmla="*/ 134025 w 1293444"/>
                <a:gd name="connsiteY183" fmla="*/ 835025 h 1704975"/>
                <a:gd name="connsiteX184" fmla="*/ 114975 w 1293444"/>
                <a:gd name="connsiteY184" fmla="*/ 822325 h 1704975"/>
                <a:gd name="connsiteX185" fmla="*/ 105450 w 1293444"/>
                <a:gd name="connsiteY185" fmla="*/ 815975 h 1704975"/>
                <a:gd name="connsiteX186" fmla="*/ 95925 w 1293444"/>
                <a:gd name="connsiteY186" fmla="*/ 812800 h 1704975"/>
                <a:gd name="connsiteX187" fmla="*/ 64175 w 1293444"/>
                <a:gd name="connsiteY187" fmla="*/ 790575 h 1704975"/>
                <a:gd name="connsiteX188" fmla="*/ 54650 w 1293444"/>
                <a:gd name="connsiteY188" fmla="*/ 787400 h 1704975"/>
                <a:gd name="connsiteX189" fmla="*/ 38775 w 1293444"/>
                <a:gd name="connsiteY189" fmla="*/ 771525 h 1704975"/>
                <a:gd name="connsiteX190" fmla="*/ 29250 w 1293444"/>
                <a:gd name="connsiteY190" fmla="*/ 762000 h 1704975"/>
                <a:gd name="connsiteX191" fmla="*/ 19725 w 1293444"/>
                <a:gd name="connsiteY191" fmla="*/ 758825 h 1704975"/>
                <a:gd name="connsiteX192" fmla="*/ 675 w 1293444"/>
                <a:gd name="connsiteY192" fmla="*/ 746125 h 1704975"/>
                <a:gd name="connsiteX193" fmla="*/ 51475 w 1293444"/>
                <a:gd name="connsiteY193" fmla="*/ 739775 h 1704975"/>
                <a:gd name="connsiteX194" fmla="*/ 67350 w 1293444"/>
                <a:gd name="connsiteY194" fmla="*/ 736600 h 1704975"/>
                <a:gd name="connsiteX195" fmla="*/ 102275 w 1293444"/>
                <a:gd name="connsiteY195" fmla="*/ 733425 h 1704975"/>
                <a:gd name="connsiteX196" fmla="*/ 130850 w 1293444"/>
                <a:gd name="connsiteY196" fmla="*/ 727075 h 1704975"/>
                <a:gd name="connsiteX197" fmla="*/ 149900 w 1293444"/>
                <a:gd name="connsiteY197" fmla="*/ 723900 h 1704975"/>
                <a:gd name="connsiteX198" fmla="*/ 159425 w 1293444"/>
                <a:gd name="connsiteY198" fmla="*/ 720725 h 1704975"/>
                <a:gd name="connsiteX199" fmla="*/ 175300 w 1293444"/>
                <a:gd name="connsiteY199" fmla="*/ 717550 h 1704975"/>
                <a:gd name="connsiteX200" fmla="*/ 194350 w 1293444"/>
                <a:gd name="connsiteY200" fmla="*/ 711200 h 1704975"/>
                <a:gd name="connsiteX201" fmla="*/ 222925 w 1293444"/>
                <a:gd name="connsiteY201" fmla="*/ 701675 h 1704975"/>
                <a:gd name="connsiteX202" fmla="*/ 232450 w 1293444"/>
                <a:gd name="connsiteY202" fmla="*/ 698500 h 1704975"/>
                <a:gd name="connsiteX203" fmla="*/ 241975 w 1293444"/>
                <a:gd name="connsiteY203" fmla="*/ 695325 h 1704975"/>
                <a:gd name="connsiteX204" fmla="*/ 381675 w 1293444"/>
                <a:gd name="connsiteY204" fmla="*/ 688975 h 1704975"/>
                <a:gd name="connsiteX205" fmla="*/ 397550 w 1293444"/>
                <a:gd name="connsiteY205" fmla="*/ 685800 h 1704975"/>
                <a:gd name="connsiteX206" fmla="*/ 407075 w 1293444"/>
                <a:gd name="connsiteY206" fmla="*/ 682625 h 1704975"/>
                <a:gd name="connsiteX207" fmla="*/ 419775 w 1293444"/>
                <a:gd name="connsiteY207" fmla="*/ 679450 h 1704975"/>
                <a:gd name="connsiteX208" fmla="*/ 438825 w 1293444"/>
                <a:gd name="connsiteY208" fmla="*/ 673100 h 1704975"/>
                <a:gd name="connsiteX209" fmla="*/ 467400 w 1293444"/>
                <a:gd name="connsiteY209" fmla="*/ 663575 h 1704975"/>
                <a:gd name="connsiteX210" fmla="*/ 495975 w 1293444"/>
                <a:gd name="connsiteY210" fmla="*/ 654050 h 1704975"/>
                <a:gd name="connsiteX211" fmla="*/ 505500 w 1293444"/>
                <a:gd name="connsiteY211" fmla="*/ 650875 h 1704975"/>
                <a:gd name="connsiteX212" fmla="*/ 527725 w 1293444"/>
                <a:gd name="connsiteY212" fmla="*/ 641350 h 1704975"/>
                <a:gd name="connsiteX213" fmla="*/ 537250 w 1293444"/>
                <a:gd name="connsiteY213" fmla="*/ 635000 h 1704975"/>
                <a:gd name="connsiteX214" fmla="*/ 546775 w 1293444"/>
                <a:gd name="connsiteY214" fmla="*/ 631825 h 1704975"/>
                <a:gd name="connsiteX215" fmla="*/ 559475 w 1293444"/>
                <a:gd name="connsiteY215" fmla="*/ 625475 h 1704975"/>
                <a:gd name="connsiteX216" fmla="*/ 578525 w 1293444"/>
                <a:gd name="connsiteY216" fmla="*/ 657225 h 1704975"/>
                <a:gd name="connsiteX217" fmla="*/ 588050 w 1293444"/>
                <a:gd name="connsiteY217" fmla="*/ 660400 h 1704975"/>
                <a:gd name="connsiteX218" fmla="*/ 607100 w 1293444"/>
                <a:gd name="connsiteY218" fmla="*/ 673100 h 1704975"/>
                <a:gd name="connsiteX219" fmla="*/ 626150 w 1293444"/>
                <a:gd name="connsiteY219" fmla="*/ 679450 h 1704975"/>
                <a:gd name="connsiteX220" fmla="*/ 635675 w 1293444"/>
                <a:gd name="connsiteY220" fmla="*/ 685800 h 1704975"/>
                <a:gd name="connsiteX221" fmla="*/ 654725 w 1293444"/>
                <a:gd name="connsiteY221" fmla="*/ 692150 h 1704975"/>
                <a:gd name="connsiteX222" fmla="*/ 645200 w 1293444"/>
                <a:gd name="connsiteY222" fmla="*/ 682625 h 1704975"/>
                <a:gd name="connsiteX223" fmla="*/ 635675 w 1293444"/>
                <a:gd name="connsiteY223" fmla="*/ 676275 h 1704975"/>
                <a:gd name="connsiteX224" fmla="*/ 632500 w 1293444"/>
                <a:gd name="connsiteY224" fmla="*/ 666750 h 1704975"/>
                <a:gd name="connsiteX225" fmla="*/ 635675 w 1293444"/>
                <a:gd name="connsiteY225" fmla="*/ 590550 h 1704975"/>
                <a:gd name="connsiteX226" fmla="*/ 642025 w 1293444"/>
                <a:gd name="connsiteY226" fmla="*/ 571500 h 1704975"/>
                <a:gd name="connsiteX227" fmla="*/ 648375 w 1293444"/>
                <a:gd name="connsiteY227" fmla="*/ 561975 h 1704975"/>
                <a:gd name="connsiteX228" fmla="*/ 638850 w 1293444"/>
                <a:gd name="connsiteY228" fmla="*/ 536575 h 1704975"/>
                <a:gd name="connsiteX229" fmla="*/ 629325 w 1293444"/>
                <a:gd name="connsiteY229" fmla="*/ 533400 h 1704975"/>
                <a:gd name="connsiteX230" fmla="*/ 626150 w 1293444"/>
                <a:gd name="connsiteY230" fmla="*/ 523875 h 1704975"/>
                <a:gd name="connsiteX231" fmla="*/ 632500 w 1293444"/>
                <a:gd name="connsiteY231" fmla="*/ 498475 h 1704975"/>
                <a:gd name="connsiteX232" fmla="*/ 635675 w 1293444"/>
                <a:gd name="connsiteY232" fmla="*/ 485775 h 1704975"/>
                <a:gd name="connsiteX233" fmla="*/ 626150 w 1293444"/>
                <a:gd name="connsiteY233" fmla="*/ 463550 h 1704975"/>
                <a:gd name="connsiteX234" fmla="*/ 616625 w 1293444"/>
                <a:gd name="connsiteY234" fmla="*/ 460375 h 1704975"/>
                <a:gd name="connsiteX235" fmla="*/ 607100 w 1293444"/>
                <a:gd name="connsiteY235" fmla="*/ 454025 h 1704975"/>
                <a:gd name="connsiteX236" fmla="*/ 591225 w 1293444"/>
                <a:gd name="connsiteY236" fmla="*/ 450850 h 1704975"/>
                <a:gd name="connsiteX237" fmla="*/ 569000 w 1293444"/>
                <a:gd name="connsiteY237" fmla="*/ 441325 h 1704975"/>
                <a:gd name="connsiteX238" fmla="*/ 546775 w 1293444"/>
                <a:gd name="connsiteY238" fmla="*/ 415925 h 1704975"/>
                <a:gd name="connsiteX239" fmla="*/ 540425 w 1293444"/>
                <a:gd name="connsiteY239" fmla="*/ 406400 h 1704975"/>
                <a:gd name="connsiteX240" fmla="*/ 530900 w 1293444"/>
                <a:gd name="connsiteY240" fmla="*/ 400050 h 1704975"/>
                <a:gd name="connsiteX241" fmla="*/ 508675 w 1293444"/>
                <a:gd name="connsiteY241" fmla="*/ 374650 h 1704975"/>
                <a:gd name="connsiteX242" fmla="*/ 502325 w 1293444"/>
                <a:gd name="connsiteY242" fmla="*/ 365125 h 1704975"/>
                <a:gd name="connsiteX243" fmla="*/ 483275 w 1293444"/>
                <a:gd name="connsiteY243" fmla="*/ 346075 h 1704975"/>
                <a:gd name="connsiteX244" fmla="*/ 486450 w 1293444"/>
                <a:gd name="connsiteY244" fmla="*/ 333375 h 1704975"/>
                <a:gd name="connsiteX245" fmla="*/ 492800 w 1293444"/>
                <a:gd name="connsiteY245" fmla="*/ 314325 h 1704975"/>
                <a:gd name="connsiteX246" fmla="*/ 489625 w 1293444"/>
                <a:gd name="connsiteY246" fmla="*/ 292100 h 1704975"/>
                <a:gd name="connsiteX247" fmla="*/ 461050 w 1293444"/>
                <a:gd name="connsiteY247" fmla="*/ 266700 h 1704975"/>
                <a:gd name="connsiteX248" fmla="*/ 435650 w 1293444"/>
                <a:gd name="connsiteY248" fmla="*/ 254000 h 1704975"/>
                <a:gd name="connsiteX249" fmla="*/ 413425 w 1293444"/>
                <a:gd name="connsiteY249" fmla="*/ 238125 h 1704975"/>
                <a:gd name="connsiteX250" fmla="*/ 403900 w 1293444"/>
                <a:gd name="connsiteY250" fmla="*/ 231775 h 1704975"/>
                <a:gd name="connsiteX251" fmla="*/ 388025 w 1293444"/>
                <a:gd name="connsiteY251" fmla="*/ 212725 h 1704975"/>
                <a:gd name="connsiteX252" fmla="*/ 372150 w 1293444"/>
                <a:gd name="connsiteY252" fmla="*/ 196850 h 1704975"/>
                <a:gd name="connsiteX253" fmla="*/ 365800 w 1293444"/>
                <a:gd name="connsiteY253" fmla="*/ 177800 h 1704975"/>
                <a:gd name="connsiteX254" fmla="*/ 359450 w 1293444"/>
                <a:gd name="connsiteY254" fmla="*/ 149225 h 1704975"/>
                <a:gd name="connsiteX255" fmla="*/ 362625 w 1293444"/>
                <a:gd name="connsiteY255" fmla="*/ 114300 h 1704975"/>
                <a:gd name="connsiteX256" fmla="*/ 368975 w 1293444"/>
                <a:gd name="connsiteY256" fmla="*/ 104775 h 1704975"/>
                <a:gd name="connsiteX257" fmla="*/ 375325 w 1293444"/>
                <a:gd name="connsiteY257"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34150 w 1293444"/>
                <a:gd name="connsiteY53" fmla="*/ 396875 h 1704975"/>
                <a:gd name="connsiteX54" fmla="*/ 1165900 w 1293444"/>
                <a:gd name="connsiteY54" fmla="*/ 454025 h 1704975"/>
                <a:gd name="connsiteX55" fmla="*/ 1207175 w 1293444"/>
                <a:gd name="connsiteY55" fmla="*/ 457200 h 1704975"/>
                <a:gd name="connsiteX56" fmla="*/ 1216700 w 1293444"/>
                <a:gd name="connsiteY56" fmla="*/ 463550 h 1704975"/>
                <a:gd name="connsiteX57" fmla="*/ 1270675 w 1293444"/>
                <a:gd name="connsiteY57" fmla="*/ 469900 h 1704975"/>
                <a:gd name="connsiteX58" fmla="*/ 1277025 w 1293444"/>
                <a:gd name="connsiteY58" fmla="*/ 479425 h 1704975"/>
                <a:gd name="connsiteX59" fmla="*/ 1273850 w 1293444"/>
                <a:gd name="connsiteY59" fmla="*/ 488950 h 1704975"/>
                <a:gd name="connsiteX60" fmla="*/ 1270675 w 1293444"/>
                <a:gd name="connsiteY60" fmla="*/ 511175 h 1704975"/>
                <a:gd name="connsiteX61" fmla="*/ 1264325 w 1293444"/>
                <a:gd name="connsiteY61" fmla="*/ 530225 h 1704975"/>
                <a:gd name="connsiteX62" fmla="*/ 1261150 w 1293444"/>
                <a:gd name="connsiteY62" fmla="*/ 539750 h 1704975"/>
                <a:gd name="connsiteX63" fmla="*/ 1254800 w 1293444"/>
                <a:gd name="connsiteY63" fmla="*/ 571500 h 1704975"/>
                <a:gd name="connsiteX64" fmla="*/ 1254800 w 1293444"/>
                <a:gd name="connsiteY64" fmla="*/ 692150 h 1704975"/>
                <a:gd name="connsiteX65" fmla="*/ 1257975 w 1293444"/>
                <a:gd name="connsiteY65" fmla="*/ 714375 h 1704975"/>
                <a:gd name="connsiteX66" fmla="*/ 1261150 w 1293444"/>
                <a:gd name="connsiteY66" fmla="*/ 723900 h 1704975"/>
                <a:gd name="connsiteX67" fmla="*/ 1273850 w 1293444"/>
                <a:gd name="connsiteY67" fmla="*/ 727075 h 1704975"/>
                <a:gd name="connsiteX68" fmla="*/ 1292900 w 1293444"/>
                <a:gd name="connsiteY68" fmla="*/ 739775 h 1704975"/>
                <a:gd name="connsiteX69" fmla="*/ 1289725 w 1293444"/>
                <a:gd name="connsiteY69" fmla="*/ 784225 h 1704975"/>
                <a:gd name="connsiteX70" fmla="*/ 1273850 w 1293444"/>
                <a:gd name="connsiteY70" fmla="*/ 800100 h 1704975"/>
                <a:gd name="connsiteX71" fmla="*/ 1264325 w 1293444"/>
                <a:gd name="connsiteY71" fmla="*/ 809625 h 1704975"/>
                <a:gd name="connsiteX72" fmla="*/ 1219875 w 1293444"/>
                <a:gd name="connsiteY72" fmla="*/ 819150 h 1704975"/>
                <a:gd name="connsiteX73" fmla="*/ 1200825 w 1293444"/>
                <a:gd name="connsiteY73" fmla="*/ 825500 h 1704975"/>
                <a:gd name="connsiteX74" fmla="*/ 1181775 w 1293444"/>
                <a:gd name="connsiteY74" fmla="*/ 838200 h 1704975"/>
                <a:gd name="connsiteX75" fmla="*/ 1172250 w 1293444"/>
                <a:gd name="connsiteY75" fmla="*/ 844550 h 1704975"/>
                <a:gd name="connsiteX76" fmla="*/ 1153200 w 1293444"/>
                <a:gd name="connsiteY76" fmla="*/ 850900 h 1704975"/>
                <a:gd name="connsiteX77" fmla="*/ 1140500 w 1293444"/>
                <a:gd name="connsiteY77" fmla="*/ 857250 h 1704975"/>
                <a:gd name="connsiteX78" fmla="*/ 1130975 w 1293444"/>
                <a:gd name="connsiteY78" fmla="*/ 863600 h 1704975"/>
                <a:gd name="connsiteX79" fmla="*/ 1105575 w 1293444"/>
                <a:gd name="connsiteY79" fmla="*/ 866775 h 1704975"/>
                <a:gd name="connsiteX80" fmla="*/ 1086525 w 1293444"/>
                <a:gd name="connsiteY80" fmla="*/ 873125 h 1704975"/>
                <a:gd name="connsiteX81" fmla="*/ 1077000 w 1293444"/>
                <a:gd name="connsiteY81" fmla="*/ 879475 h 1704975"/>
                <a:gd name="connsiteX82" fmla="*/ 1057950 w 1293444"/>
                <a:gd name="connsiteY82" fmla="*/ 885825 h 1704975"/>
                <a:gd name="connsiteX83" fmla="*/ 1048425 w 1293444"/>
                <a:gd name="connsiteY83" fmla="*/ 889000 h 1704975"/>
                <a:gd name="connsiteX84" fmla="*/ 1029375 w 1293444"/>
                <a:gd name="connsiteY84" fmla="*/ 908050 h 1704975"/>
                <a:gd name="connsiteX85" fmla="*/ 1010325 w 1293444"/>
                <a:gd name="connsiteY85" fmla="*/ 914400 h 1704975"/>
                <a:gd name="connsiteX86" fmla="*/ 1003975 w 1293444"/>
                <a:gd name="connsiteY86" fmla="*/ 923925 h 1704975"/>
                <a:gd name="connsiteX87" fmla="*/ 994450 w 1293444"/>
                <a:gd name="connsiteY87" fmla="*/ 933450 h 1704975"/>
                <a:gd name="connsiteX88" fmla="*/ 991275 w 1293444"/>
                <a:gd name="connsiteY88" fmla="*/ 942975 h 1704975"/>
                <a:gd name="connsiteX89" fmla="*/ 988100 w 1293444"/>
                <a:gd name="connsiteY89" fmla="*/ 962025 h 1704975"/>
                <a:gd name="connsiteX90" fmla="*/ 969050 w 1293444"/>
                <a:gd name="connsiteY90" fmla="*/ 968375 h 1704975"/>
                <a:gd name="connsiteX91" fmla="*/ 950000 w 1293444"/>
                <a:gd name="connsiteY91" fmla="*/ 981075 h 1704975"/>
                <a:gd name="connsiteX92" fmla="*/ 940475 w 1293444"/>
                <a:gd name="connsiteY92" fmla="*/ 987425 h 1704975"/>
                <a:gd name="connsiteX93" fmla="*/ 930950 w 1293444"/>
                <a:gd name="connsiteY93" fmla="*/ 1006475 h 1704975"/>
                <a:gd name="connsiteX94" fmla="*/ 924600 w 1293444"/>
                <a:gd name="connsiteY94" fmla="*/ 1016000 h 1704975"/>
                <a:gd name="connsiteX95" fmla="*/ 921425 w 1293444"/>
                <a:gd name="connsiteY95" fmla="*/ 1025525 h 1704975"/>
                <a:gd name="connsiteX96" fmla="*/ 905550 w 1293444"/>
                <a:gd name="connsiteY96" fmla="*/ 1044575 h 1704975"/>
                <a:gd name="connsiteX97" fmla="*/ 896025 w 1293444"/>
                <a:gd name="connsiteY97" fmla="*/ 1063625 h 1704975"/>
                <a:gd name="connsiteX98" fmla="*/ 867450 w 1293444"/>
                <a:gd name="connsiteY98" fmla="*/ 1085850 h 1704975"/>
                <a:gd name="connsiteX99" fmla="*/ 848400 w 1293444"/>
                <a:gd name="connsiteY99" fmla="*/ 1095375 h 1704975"/>
                <a:gd name="connsiteX100" fmla="*/ 813475 w 1293444"/>
                <a:gd name="connsiteY100" fmla="*/ 1092200 h 1704975"/>
                <a:gd name="connsiteX101" fmla="*/ 772200 w 1293444"/>
                <a:gd name="connsiteY101" fmla="*/ 1098550 h 1704975"/>
                <a:gd name="connsiteX102" fmla="*/ 759500 w 1293444"/>
                <a:gd name="connsiteY102" fmla="*/ 1127125 h 1704975"/>
                <a:gd name="connsiteX103" fmla="*/ 756325 w 1293444"/>
                <a:gd name="connsiteY103" fmla="*/ 1136650 h 1704975"/>
                <a:gd name="connsiteX104" fmla="*/ 740450 w 1293444"/>
                <a:gd name="connsiteY104" fmla="*/ 1155700 h 1704975"/>
                <a:gd name="connsiteX105" fmla="*/ 718225 w 1293444"/>
                <a:gd name="connsiteY105" fmla="*/ 1181100 h 1704975"/>
                <a:gd name="connsiteX106" fmla="*/ 721400 w 1293444"/>
                <a:gd name="connsiteY106" fmla="*/ 1238250 h 1704975"/>
                <a:gd name="connsiteX107" fmla="*/ 727750 w 1293444"/>
                <a:gd name="connsiteY107" fmla="*/ 1247775 h 1704975"/>
                <a:gd name="connsiteX108" fmla="*/ 730925 w 1293444"/>
                <a:gd name="connsiteY108" fmla="*/ 1257300 h 1704975"/>
                <a:gd name="connsiteX109" fmla="*/ 740450 w 1293444"/>
                <a:gd name="connsiteY109" fmla="*/ 1276350 h 1704975"/>
                <a:gd name="connsiteX110" fmla="*/ 743625 w 1293444"/>
                <a:gd name="connsiteY110" fmla="*/ 1320800 h 1704975"/>
                <a:gd name="connsiteX111" fmla="*/ 746800 w 1293444"/>
                <a:gd name="connsiteY111" fmla="*/ 1330325 h 1704975"/>
                <a:gd name="connsiteX112" fmla="*/ 756325 w 1293444"/>
                <a:gd name="connsiteY112" fmla="*/ 1336675 h 1704975"/>
                <a:gd name="connsiteX113" fmla="*/ 762675 w 1293444"/>
                <a:gd name="connsiteY113" fmla="*/ 1346200 h 1704975"/>
                <a:gd name="connsiteX114" fmla="*/ 769025 w 1293444"/>
                <a:gd name="connsiteY114" fmla="*/ 1393825 h 1704975"/>
                <a:gd name="connsiteX115" fmla="*/ 775375 w 1293444"/>
                <a:gd name="connsiteY115" fmla="*/ 1412875 h 1704975"/>
                <a:gd name="connsiteX116" fmla="*/ 781725 w 1293444"/>
                <a:gd name="connsiteY116" fmla="*/ 1435100 h 1704975"/>
                <a:gd name="connsiteX117" fmla="*/ 772200 w 1293444"/>
                <a:gd name="connsiteY117" fmla="*/ 1460500 h 1704975"/>
                <a:gd name="connsiteX118" fmla="*/ 762675 w 1293444"/>
                <a:gd name="connsiteY118" fmla="*/ 1466850 h 1704975"/>
                <a:gd name="connsiteX119" fmla="*/ 753150 w 1293444"/>
                <a:gd name="connsiteY119" fmla="*/ 1485900 h 1704975"/>
                <a:gd name="connsiteX120" fmla="*/ 749975 w 1293444"/>
                <a:gd name="connsiteY120" fmla="*/ 1514475 h 1704975"/>
                <a:gd name="connsiteX121" fmla="*/ 740450 w 1293444"/>
                <a:gd name="connsiteY121" fmla="*/ 1520825 h 1704975"/>
                <a:gd name="connsiteX122" fmla="*/ 730925 w 1293444"/>
                <a:gd name="connsiteY122" fmla="*/ 1530350 h 1704975"/>
                <a:gd name="connsiteX123" fmla="*/ 718225 w 1293444"/>
                <a:gd name="connsiteY123" fmla="*/ 1549400 h 1704975"/>
                <a:gd name="connsiteX124" fmla="*/ 711875 w 1293444"/>
                <a:gd name="connsiteY124" fmla="*/ 1558925 h 1704975"/>
                <a:gd name="connsiteX125" fmla="*/ 702350 w 1293444"/>
                <a:gd name="connsiteY125" fmla="*/ 1568450 h 1704975"/>
                <a:gd name="connsiteX126" fmla="*/ 699175 w 1293444"/>
                <a:gd name="connsiteY126" fmla="*/ 1577975 h 1704975"/>
                <a:gd name="connsiteX127" fmla="*/ 686475 w 1293444"/>
                <a:gd name="connsiteY127" fmla="*/ 1597025 h 1704975"/>
                <a:gd name="connsiteX128" fmla="*/ 676950 w 1293444"/>
                <a:gd name="connsiteY128" fmla="*/ 1616075 h 1704975"/>
                <a:gd name="connsiteX129" fmla="*/ 667425 w 1293444"/>
                <a:gd name="connsiteY129" fmla="*/ 1619250 h 1704975"/>
                <a:gd name="connsiteX130" fmla="*/ 648375 w 1293444"/>
                <a:gd name="connsiteY130" fmla="*/ 1631950 h 1704975"/>
                <a:gd name="connsiteX131" fmla="*/ 638850 w 1293444"/>
                <a:gd name="connsiteY131" fmla="*/ 1638300 h 1704975"/>
                <a:gd name="connsiteX132" fmla="*/ 607100 w 1293444"/>
                <a:gd name="connsiteY132" fmla="*/ 1676400 h 1704975"/>
                <a:gd name="connsiteX133" fmla="*/ 556300 w 1293444"/>
                <a:gd name="connsiteY133" fmla="*/ 1679575 h 1704975"/>
                <a:gd name="connsiteX134" fmla="*/ 537250 w 1293444"/>
                <a:gd name="connsiteY134" fmla="*/ 1685925 h 1704975"/>
                <a:gd name="connsiteX135" fmla="*/ 515025 w 1293444"/>
                <a:gd name="connsiteY135" fmla="*/ 1698625 h 1704975"/>
                <a:gd name="connsiteX136" fmla="*/ 495975 w 1293444"/>
                <a:gd name="connsiteY136" fmla="*/ 1704975 h 1704975"/>
                <a:gd name="connsiteX137" fmla="*/ 476925 w 1293444"/>
                <a:gd name="connsiteY137" fmla="*/ 1701800 h 1704975"/>
                <a:gd name="connsiteX138" fmla="*/ 470575 w 1293444"/>
                <a:gd name="connsiteY138" fmla="*/ 1692275 h 1704975"/>
                <a:gd name="connsiteX139" fmla="*/ 467400 w 1293444"/>
                <a:gd name="connsiteY139" fmla="*/ 1660525 h 1704975"/>
                <a:gd name="connsiteX140" fmla="*/ 457875 w 1293444"/>
                <a:gd name="connsiteY140" fmla="*/ 1641475 h 1704975"/>
                <a:gd name="connsiteX141" fmla="*/ 448350 w 1293444"/>
                <a:gd name="connsiteY141" fmla="*/ 1635125 h 1704975"/>
                <a:gd name="connsiteX142" fmla="*/ 445175 w 1293444"/>
                <a:gd name="connsiteY142" fmla="*/ 1625600 h 1704975"/>
                <a:gd name="connsiteX143" fmla="*/ 435650 w 1293444"/>
                <a:gd name="connsiteY143" fmla="*/ 1606550 h 1704975"/>
                <a:gd name="connsiteX144" fmla="*/ 432475 w 1293444"/>
                <a:gd name="connsiteY144" fmla="*/ 1495425 h 1704975"/>
                <a:gd name="connsiteX145" fmla="*/ 429300 w 1293444"/>
                <a:gd name="connsiteY145" fmla="*/ 1485900 h 1704975"/>
                <a:gd name="connsiteX146" fmla="*/ 426125 w 1293444"/>
                <a:gd name="connsiteY146" fmla="*/ 1473200 h 1704975"/>
                <a:gd name="connsiteX147" fmla="*/ 419775 w 1293444"/>
                <a:gd name="connsiteY147" fmla="*/ 1463675 h 1704975"/>
                <a:gd name="connsiteX148" fmla="*/ 416600 w 1293444"/>
                <a:gd name="connsiteY148" fmla="*/ 1454150 h 1704975"/>
                <a:gd name="connsiteX149" fmla="*/ 403900 w 1293444"/>
                <a:gd name="connsiteY149" fmla="*/ 1435100 h 1704975"/>
                <a:gd name="connsiteX150" fmla="*/ 397550 w 1293444"/>
                <a:gd name="connsiteY150" fmla="*/ 1416050 h 1704975"/>
                <a:gd name="connsiteX151" fmla="*/ 394375 w 1293444"/>
                <a:gd name="connsiteY151" fmla="*/ 1381125 h 1704975"/>
                <a:gd name="connsiteX152" fmla="*/ 391200 w 1293444"/>
                <a:gd name="connsiteY152" fmla="*/ 1368425 h 1704975"/>
                <a:gd name="connsiteX153" fmla="*/ 388025 w 1293444"/>
                <a:gd name="connsiteY153" fmla="*/ 1352550 h 1704975"/>
                <a:gd name="connsiteX154" fmla="*/ 381675 w 1293444"/>
                <a:gd name="connsiteY154" fmla="*/ 1333500 h 1704975"/>
                <a:gd name="connsiteX155" fmla="*/ 378500 w 1293444"/>
                <a:gd name="connsiteY155" fmla="*/ 1323975 h 1704975"/>
                <a:gd name="connsiteX156" fmla="*/ 375325 w 1293444"/>
                <a:gd name="connsiteY156" fmla="*/ 1308100 h 1704975"/>
                <a:gd name="connsiteX157" fmla="*/ 368975 w 1293444"/>
                <a:gd name="connsiteY157" fmla="*/ 1289050 h 1704975"/>
                <a:gd name="connsiteX158" fmla="*/ 362625 w 1293444"/>
                <a:gd name="connsiteY158" fmla="*/ 1260475 h 1704975"/>
                <a:gd name="connsiteX159" fmla="*/ 359450 w 1293444"/>
                <a:gd name="connsiteY159" fmla="*/ 1231900 h 1704975"/>
                <a:gd name="connsiteX160" fmla="*/ 349925 w 1293444"/>
                <a:gd name="connsiteY160" fmla="*/ 1196975 h 1704975"/>
                <a:gd name="connsiteX161" fmla="*/ 340400 w 1293444"/>
                <a:gd name="connsiteY161" fmla="*/ 1155700 h 1704975"/>
                <a:gd name="connsiteX162" fmla="*/ 334050 w 1293444"/>
                <a:gd name="connsiteY162" fmla="*/ 1130300 h 1704975"/>
                <a:gd name="connsiteX163" fmla="*/ 327700 w 1293444"/>
                <a:gd name="connsiteY163" fmla="*/ 1104900 h 1704975"/>
                <a:gd name="connsiteX164" fmla="*/ 324525 w 1293444"/>
                <a:gd name="connsiteY164" fmla="*/ 1092200 h 1704975"/>
                <a:gd name="connsiteX165" fmla="*/ 318175 w 1293444"/>
                <a:gd name="connsiteY165" fmla="*/ 1050925 h 1704975"/>
                <a:gd name="connsiteX166" fmla="*/ 315000 w 1293444"/>
                <a:gd name="connsiteY166" fmla="*/ 1031875 h 1704975"/>
                <a:gd name="connsiteX167" fmla="*/ 311825 w 1293444"/>
                <a:gd name="connsiteY167" fmla="*/ 1022350 h 1704975"/>
                <a:gd name="connsiteX168" fmla="*/ 308650 w 1293444"/>
                <a:gd name="connsiteY168" fmla="*/ 1006475 h 1704975"/>
                <a:gd name="connsiteX169" fmla="*/ 302300 w 1293444"/>
                <a:gd name="connsiteY169" fmla="*/ 987425 h 1704975"/>
                <a:gd name="connsiteX170" fmla="*/ 299125 w 1293444"/>
                <a:gd name="connsiteY170" fmla="*/ 974725 h 1704975"/>
                <a:gd name="connsiteX171" fmla="*/ 292775 w 1293444"/>
                <a:gd name="connsiteY171" fmla="*/ 955675 h 1704975"/>
                <a:gd name="connsiteX172" fmla="*/ 289600 w 1293444"/>
                <a:gd name="connsiteY172" fmla="*/ 946150 h 1704975"/>
                <a:gd name="connsiteX173" fmla="*/ 280075 w 1293444"/>
                <a:gd name="connsiteY173" fmla="*/ 923925 h 1704975"/>
                <a:gd name="connsiteX174" fmla="*/ 261025 w 1293444"/>
                <a:gd name="connsiteY174" fmla="*/ 908050 h 1704975"/>
                <a:gd name="connsiteX175" fmla="*/ 241975 w 1293444"/>
                <a:gd name="connsiteY175" fmla="*/ 901700 h 1704975"/>
                <a:gd name="connsiteX176" fmla="*/ 222925 w 1293444"/>
                <a:gd name="connsiteY176" fmla="*/ 889000 h 1704975"/>
                <a:gd name="connsiteX177" fmla="*/ 213400 w 1293444"/>
                <a:gd name="connsiteY177" fmla="*/ 885825 h 1704975"/>
                <a:gd name="connsiteX178" fmla="*/ 194350 w 1293444"/>
                <a:gd name="connsiteY178" fmla="*/ 873125 h 1704975"/>
                <a:gd name="connsiteX179" fmla="*/ 175300 w 1293444"/>
                <a:gd name="connsiteY179" fmla="*/ 860425 h 1704975"/>
                <a:gd name="connsiteX180" fmla="*/ 162600 w 1293444"/>
                <a:gd name="connsiteY180" fmla="*/ 850900 h 1704975"/>
                <a:gd name="connsiteX181" fmla="*/ 153075 w 1293444"/>
                <a:gd name="connsiteY181" fmla="*/ 847725 h 1704975"/>
                <a:gd name="connsiteX182" fmla="*/ 134025 w 1293444"/>
                <a:gd name="connsiteY182" fmla="*/ 835025 h 1704975"/>
                <a:gd name="connsiteX183" fmla="*/ 114975 w 1293444"/>
                <a:gd name="connsiteY183" fmla="*/ 822325 h 1704975"/>
                <a:gd name="connsiteX184" fmla="*/ 105450 w 1293444"/>
                <a:gd name="connsiteY184" fmla="*/ 815975 h 1704975"/>
                <a:gd name="connsiteX185" fmla="*/ 95925 w 1293444"/>
                <a:gd name="connsiteY185" fmla="*/ 812800 h 1704975"/>
                <a:gd name="connsiteX186" fmla="*/ 64175 w 1293444"/>
                <a:gd name="connsiteY186" fmla="*/ 790575 h 1704975"/>
                <a:gd name="connsiteX187" fmla="*/ 54650 w 1293444"/>
                <a:gd name="connsiteY187" fmla="*/ 787400 h 1704975"/>
                <a:gd name="connsiteX188" fmla="*/ 38775 w 1293444"/>
                <a:gd name="connsiteY188" fmla="*/ 771525 h 1704975"/>
                <a:gd name="connsiteX189" fmla="*/ 29250 w 1293444"/>
                <a:gd name="connsiteY189" fmla="*/ 762000 h 1704975"/>
                <a:gd name="connsiteX190" fmla="*/ 19725 w 1293444"/>
                <a:gd name="connsiteY190" fmla="*/ 758825 h 1704975"/>
                <a:gd name="connsiteX191" fmla="*/ 675 w 1293444"/>
                <a:gd name="connsiteY191" fmla="*/ 746125 h 1704975"/>
                <a:gd name="connsiteX192" fmla="*/ 51475 w 1293444"/>
                <a:gd name="connsiteY192" fmla="*/ 739775 h 1704975"/>
                <a:gd name="connsiteX193" fmla="*/ 67350 w 1293444"/>
                <a:gd name="connsiteY193" fmla="*/ 736600 h 1704975"/>
                <a:gd name="connsiteX194" fmla="*/ 102275 w 1293444"/>
                <a:gd name="connsiteY194" fmla="*/ 733425 h 1704975"/>
                <a:gd name="connsiteX195" fmla="*/ 130850 w 1293444"/>
                <a:gd name="connsiteY195" fmla="*/ 727075 h 1704975"/>
                <a:gd name="connsiteX196" fmla="*/ 149900 w 1293444"/>
                <a:gd name="connsiteY196" fmla="*/ 723900 h 1704975"/>
                <a:gd name="connsiteX197" fmla="*/ 159425 w 1293444"/>
                <a:gd name="connsiteY197" fmla="*/ 720725 h 1704975"/>
                <a:gd name="connsiteX198" fmla="*/ 175300 w 1293444"/>
                <a:gd name="connsiteY198" fmla="*/ 717550 h 1704975"/>
                <a:gd name="connsiteX199" fmla="*/ 194350 w 1293444"/>
                <a:gd name="connsiteY199" fmla="*/ 711200 h 1704975"/>
                <a:gd name="connsiteX200" fmla="*/ 222925 w 1293444"/>
                <a:gd name="connsiteY200" fmla="*/ 701675 h 1704975"/>
                <a:gd name="connsiteX201" fmla="*/ 232450 w 1293444"/>
                <a:gd name="connsiteY201" fmla="*/ 698500 h 1704975"/>
                <a:gd name="connsiteX202" fmla="*/ 241975 w 1293444"/>
                <a:gd name="connsiteY202" fmla="*/ 695325 h 1704975"/>
                <a:gd name="connsiteX203" fmla="*/ 381675 w 1293444"/>
                <a:gd name="connsiteY203" fmla="*/ 688975 h 1704975"/>
                <a:gd name="connsiteX204" fmla="*/ 397550 w 1293444"/>
                <a:gd name="connsiteY204" fmla="*/ 685800 h 1704975"/>
                <a:gd name="connsiteX205" fmla="*/ 407075 w 1293444"/>
                <a:gd name="connsiteY205" fmla="*/ 682625 h 1704975"/>
                <a:gd name="connsiteX206" fmla="*/ 419775 w 1293444"/>
                <a:gd name="connsiteY206" fmla="*/ 679450 h 1704975"/>
                <a:gd name="connsiteX207" fmla="*/ 438825 w 1293444"/>
                <a:gd name="connsiteY207" fmla="*/ 673100 h 1704975"/>
                <a:gd name="connsiteX208" fmla="*/ 467400 w 1293444"/>
                <a:gd name="connsiteY208" fmla="*/ 663575 h 1704975"/>
                <a:gd name="connsiteX209" fmla="*/ 495975 w 1293444"/>
                <a:gd name="connsiteY209" fmla="*/ 654050 h 1704975"/>
                <a:gd name="connsiteX210" fmla="*/ 505500 w 1293444"/>
                <a:gd name="connsiteY210" fmla="*/ 650875 h 1704975"/>
                <a:gd name="connsiteX211" fmla="*/ 527725 w 1293444"/>
                <a:gd name="connsiteY211" fmla="*/ 641350 h 1704975"/>
                <a:gd name="connsiteX212" fmla="*/ 537250 w 1293444"/>
                <a:gd name="connsiteY212" fmla="*/ 635000 h 1704975"/>
                <a:gd name="connsiteX213" fmla="*/ 546775 w 1293444"/>
                <a:gd name="connsiteY213" fmla="*/ 631825 h 1704975"/>
                <a:gd name="connsiteX214" fmla="*/ 559475 w 1293444"/>
                <a:gd name="connsiteY214" fmla="*/ 625475 h 1704975"/>
                <a:gd name="connsiteX215" fmla="*/ 578525 w 1293444"/>
                <a:gd name="connsiteY215" fmla="*/ 657225 h 1704975"/>
                <a:gd name="connsiteX216" fmla="*/ 588050 w 1293444"/>
                <a:gd name="connsiteY216" fmla="*/ 660400 h 1704975"/>
                <a:gd name="connsiteX217" fmla="*/ 607100 w 1293444"/>
                <a:gd name="connsiteY217" fmla="*/ 673100 h 1704975"/>
                <a:gd name="connsiteX218" fmla="*/ 626150 w 1293444"/>
                <a:gd name="connsiteY218" fmla="*/ 679450 h 1704975"/>
                <a:gd name="connsiteX219" fmla="*/ 635675 w 1293444"/>
                <a:gd name="connsiteY219" fmla="*/ 685800 h 1704975"/>
                <a:gd name="connsiteX220" fmla="*/ 654725 w 1293444"/>
                <a:gd name="connsiteY220" fmla="*/ 692150 h 1704975"/>
                <a:gd name="connsiteX221" fmla="*/ 645200 w 1293444"/>
                <a:gd name="connsiteY221" fmla="*/ 682625 h 1704975"/>
                <a:gd name="connsiteX222" fmla="*/ 635675 w 1293444"/>
                <a:gd name="connsiteY222" fmla="*/ 676275 h 1704975"/>
                <a:gd name="connsiteX223" fmla="*/ 632500 w 1293444"/>
                <a:gd name="connsiteY223" fmla="*/ 666750 h 1704975"/>
                <a:gd name="connsiteX224" fmla="*/ 635675 w 1293444"/>
                <a:gd name="connsiteY224" fmla="*/ 590550 h 1704975"/>
                <a:gd name="connsiteX225" fmla="*/ 642025 w 1293444"/>
                <a:gd name="connsiteY225" fmla="*/ 571500 h 1704975"/>
                <a:gd name="connsiteX226" fmla="*/ 648375 w 1293444"/>
                <a:gd name="connsiteY226" fmla="*/ 561975 h 1704975"/>
                <a:gd name="connsiteX227" fmla="*/ 638850 w 1293444"/>
                <a:gd name="connsiteY227" fmla="*/ 536575 h 1704975"/>
                <a:gd name="connsiteX228" fmla="*/ 629325 w 1293444"/>
                <a:gd name="connsiteY228" fmla="*/ 533400 h 1704975"/>
                <a:gd name="connsiteX229" fmla="*/ 626150 w 1293444"/>
                <a:gd name="connsiteY229" fmla="*/ 523875 h 1704975"/>
                <a:gd name="connsiteX230" fmla="*/ 632500 w 1293444"/>
                <a:gd name="connsiteY230" fmla="*/ 498475 h 1704975"/>
                <a:gd name="connsiteX231" fmla="*/ 635675 w 1293444"/>
                <a:gd name="connsiteY231" fmla="*/ 485775 h 1704975"/>
                <a:gd name="connsiteX232" fmla="*/ 626150 w 1293444"/>
                <a:gd name="connsiteY232" fmla="*/ 463550 h 1704975"/>
                <a:gd name="connsiteX233" fmla="*/ 616625 w 1293444"/>
                <a:gd name="connsiteY233" fmla="*/ 460375 h 1704975"/>
                <a:gd name="connsiteX234" fmla="*/ 607100 w 1293444"/>
                <a:gd name="connsiteY234" fmla="*/ 454025 h 1704975"/>
                <a:gd name="connsiteX235" fmla="*/ 591225 w 1293444"/>
                <a:gd name="connsiteY235" fmla="*/ 450850 h 1704975"/>
                <a:gd name="connsiteX236" fmla="*/ 569000 w 1293444"/>
                <a:gd name="connsiteY236" fmla="*/ 441325 h 1704975"/>
                <a:gd name="connsiteX237" fmla="*/ 546775 w 1293444"/>
                <a:gd name="connsiteY237" fmla="*/ 415925 h 1704975"/>
                <a:gd name="connsiteX238" fmla="*/ 540425 w 1293444"/>
                <a:gd name="connsiteY238" fmla="*/ 406400 h 1704975"/>
                <a:gd name="connsiteX239" fmla="*/ 530900 w 1293444"/>
                <a:gd name="connsiteY239" fmla="*/ 400050 h 1704975"/>
                <a:gd name="connsiteX240" fmla="*/ 508675 w 1293444"/>
                <a:gd name="connsiteY240" fmla="*/ 374650 h 1704975"/>
                <a:gd name="connsiteX241" fmla="*/ 502325 w 1293444"/>
                <a:gd name="connsiteY241" fmla="*/ 365125 h 1704975"/>
                <a:gd name="connsiteX242" fmla="*/ 483275 w 1293444"/>
                <a:gd name="connsiteY242" fmla="*/ 346075 h 1704975"/>
                <a:gd name="connsiteX243" fmla="*/ 486450 w 1293444"/>
                <a:gd name="connsiteY243" fmla="*/ 333375 h 1704975"/>
                <a:gd name="connsiteX244" fmla="*/ 492800 w 1293444"/>
                <a:gd name="connsiteY244" fmla="*/ 314325 h 1704975"/>
                <a:gd name="connsiteX245" fmla="*/ 489625 w 1293444"/>
                <a:gd name="connsiteY245" fmla="*/ 292100 h 1704975"/>
                <a:gd name="connsiteX246" fmla="*/ 461050 w 1293444"/>
                <a:gd name="connsiteY246" fmla="*/ 266700 h 1704975"/>
                <a:gd name="connsiteX247" fmla="*/ 435650 w 1293444"/>
                <a:gd name="connsiteY247" fmla="*/ 254000 h 1704975"/>
                <a:gd name="connsiteX248" fmla="*/ 413425 w 1293444"/>
                <a:gd name="connsiteY248" fmla="*/ 238125 h 1704975"/>
                <a:gd name="connsiteX249" fmla="*/ 403900 w 1293444"/>
                <a:gd name="connsiteY249" fmla="*/ 231775 h 1704975"/>
                <a:gd name="connsiteX250" fmla="*/ 388025 w 1293444"/>
                <a:gd name="connsiteY250" fmla="*/ 212725 h 1704975"/>
                <a:gd name="connsiteX251" fmla="*/ 372150 w 1293444"/>
                <a:gd name="connsiteY251" fmla="*/ 196850 h 1704975"/>
                <a:gd name="connsiteX252" fmla="*/ 365800 w 1293444"/>
                <a:gd name="connsiteY252" fmla="*/ 177800 h 1704975"/>
                <a:gd name="connsiteX253" fmla="*/ 359450 w 1293444"/>
                <a:gd name="connsiteY253" fmla="*/ 149225 h 1704975"/>
                <a:gd name="connsiteX254" fmla="*/ 362625 w 1293444"/>
                <a:gd name="connsiteY254" fmla="*/ 114300 h 1704975"/>
                <a:gd name="connsiteX255" fmla="*/ 368975 w 1293444"/>
                <a:gd name="connsiteY255" fmla="*/ 104775 h 1704975"/>
                <a:gd name="connsiteX256" fmla="*/ 375325 w 1293444"/>
                <a:gd name="connsiteY256"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65900 w 1293444"/>
                <a:gd name="connsiteY53" fmla="*/ 454025 h 1704975"/>
                <a:gd name="connsiteX54" fmla="*/ 1207175 w 1293444"/>
                <a:gd name="connsiteY54" fmla="*/ 457200 h 1704975"/>
                <a:gd name="connsiteX55" fmla="*/ 1216700 w 1293444"/>
                <a:gd name="connsiteY55" fmla="*/ 463550 h 1704975"/>
                <a:gd name="connsiteX56" fmla="*/ 1270675 w 1293444"/>
                <a:gd name="connsiteY56" fmla="*/ 469900 h 1704975"/>
                <a:gd name="connsiteX57" fmla="*/ 1277025 w 1293444"/>
                <a:gd name="connsiteY57" fmla="*/ 479425 h 1704975"/>
                <a:gd name="connsiteX58" fmla="*/ 1273850 w 1293444"/>
                <a:gd name="connsiteY58" fmla="*/ 488950 h 1704975"/>
                <a:gd name="connsiteX59" fmla="*/ 1270675 w 1293444"/>
                <a:gd name="connsiteY59" fmla="*/ 511175 h 1704975"/>
                <a:gd name="connsiteX60" fmla="*/ 1264325 w 1293444"/>
                <a:gd name="connsiteY60" fmla="*/ 530225 h 1704975"/>
                <a:gd name="connsiteX61" fmla="*/ 1261150 w 1293444"/>
                <a:gd name="connsiteY61" fmla="*/ 539750 h 1704975"/>
                <a:gd name="connsiteX62" fmla="*/ 1254800 w 1293444"/>
                <a:gd name="connsiteY62" fmla="*/ 571500 h 1704975"/>
                <a:gd name="connsiteX63" fmla="*/ 1254800 w 1293444"/>
                <a:gd name="connsiteY63" fmla="*/ 692150 h 1704975"/>
                <a:gd name="connsiteX64" fmla="*/ 1257975 w 1293444"/>
                <a:gd name="connsiteY64" fmla="*/ 714375 h 1704975"/>
                <a:gd name="connsiteX65" fmla="*/ 1261150 w 1293444"/>
                <a:gd name="connsiteY65" fmla="*/ 723900 h 1704975"/>
                <a:gd name="connsiteX66" fmla="*/ 1273850 w 1293444"/>
                <a:gd name="connsiteY66" fmla="*/ 727075 h 1704975"/>
                <a:gd name="connsiteX67" fmla="*/ 1292900 w 1293444"/>
                <a:gd name="connsiteY67" fmla="*/ 739775 h 1704975"/>
                <a:gd name="connsiteX68" fmla="*/ 1289725 w 1293444"/>
                <a:gd name="connsiteY68" fmla="*/ 784225 h 1704975"/>
                <a:gd name="connsiteX69" fmla="*/ 1273850 w 1293444"/>
                <a:gd name="connsiteY69" fmla="*/ 800100 h 1704975"/>
                <a:gd name="connsiteX70" fmla="*/ 1264325 w 1293444"/>
                <a:gd name="connsiteY70" fmla="*/ 809625 h 1704975"/>
                <a:gd name="connsiteX71" fmla="*/ 1219875 w 1293444"/>
                <a:gd name="connsiteY71" fmla="*/ 819150 h 1704975"/>
                <a:gd name="connsiteX72" fmla="*/ 1200825 w 1293444"/>
                <a:gd name="connsiteY72" fmla="*/ 825500 h 1704975"/>
                <a:gd name="connsiteX73" fmla="*/ 1181775 w 1293444"/>
                <a:gd name="connsiteY73" fmla="*/ 838200 h 1704975"/>
                <a:gd name="connsiteX74" fmla="*/ 1172250 w 1293444"/>
                <a:gd name="connsiteY74" fmla="*/ 844550 h 1704975"/>
                <a:gd name="connsiteX75" fmla="*/ 1153200 w 1293444"/>
                <a:gd name="connsiteY75" fmla="*/ 850900 h 1704975"/>
                <a:gd name="connsiteX76" fmla="*/ 1140500 w 1293444"/>
                <a:gd name="connsiteY76" fmla="*/ 857250 h 1704975"/>
                <a:gd name="connsiteX77" fmla="*/ 1130975 w 1293444"/>
                <a:gd name="connsiteY77" fmla="*/ 863600 h 1704975"/>
                <a:gd name="connsiteX78" fmla="*/ 1105575 w 1293444"/>
                <a:gd name="connsiteY78" fmla="*/ 866775 h 1704975"/>
                <a:gd name="connsiteX79" fmla="*/ 1086525 w 1293444"/>
                <a:gd name="connsiteY79" fmla="*/ 873125 h 1704975"/>
                <a:gd name="connsiteX80" fmla="*/ 1077000 w 1293444"/>
                <a:gd name="connsiteY80" fmla="*/ 879475 h 1704975"/>
                <a:gd name="connsiteX81" fmla="*/ 1057950 w 1293444"/>
                <a:gd name="connsiteY81" fmla="*/ 885825 h 1704975"/>
                <a:gd name="connsiteX82" fmla="*/ 1048425 w 1293444"/>
                <a:gd name="connsiteY82" fmla="*/ 889000 h 1704975"/>
                <a:gd name="connsiteX83" fmla="*/ 1029375 w 1293444"/>
                <a:gd name="connsiteY83" fmla="*/ 908050 h 1704975"/>
                <a:gd name="connsiteX84" fmla="*/ 1010325 w 1293444"/>
                <a:gd name="connsiteY84" fmla="*/ 914400 h 1704975"/>
                <a:gd name="connsiteX85" fmla="*/ 1003975 w 1293444"/>
                <a:gd name="connsiteY85" fmla="*/ 923925 h 1704975"/>
                <a:gd name="connsiteX86" fmla="*/ 994450 w 1293444"/>
                <a:gd name="connsiteY86" fmla="*/ 933450 h 1704975"/>
                <a:gd name="connsiteX87" fmla="*/ 991275 w 1293444"/>
                <a:gd name="connsiteY87" fmla="*/ 942975 h 1704975"/>
                <a:gd name="connsiteX88" fmla="*/ 988100 w 1293444"/>
                <a:gd name="connsiteY88" fmla="*/ 962025 h 1704975"/>
                <a:gd name="connsiteX89" fmla="*/ 969050 w 1293444"/>
                <a:gd name="connsiteY89" fmla="*/ 968375 h 1704975"/>
                <a:gd name="connsiteX90" fmla="*/ 950000 w 1293444"/>
                <a:gd name="connsiteY90" fmla="*/ 981075 h 1704975"/>
                <a:gd name="connsiteX91" fmla="*/ 940475 w 1293444"/>
                <a:gd name="connsiteY91" fmla="*/ 987425 h 1704975"/>
                <a:gd name="connsiteX92" fmla="*/ 930950 w 1293444"/>
                <a:gd name="connsiteY92" fmla="*/ 1006475 h 1704975"/>
                <a:gd name="connsiteX93" fmla="*/ 924600 w 1293444"/>
                <a:gd name="connsiteY93" fmla="*/ 1016000 h 1704975"/>
                <a:gd name="connsiteX94" fmla="*/ 921425 w 1293444"/>
                <a:gd name="connsiteY94" fmla="*/ 1025525 h 1704975"/>
                <a:gd name="connsiteX95" fmla="*/ 905550 w 1293444"/>
                <a:gd name="connsiteY95" fmla="*/ 1044575 h 1704975"/>
                <a:gd name="connsiteX96" fmla="*/ 896025 w 1293444"/>
                <a:gd name="connsiteY96" fmla="*/ 1063625 h 1704975"/>
                <a:gd name="connsiteX97" fmla="*/ 867450 w 1293444"/>
                <a:gd name="connsiteY97" fmla="*/ 1085850 h 1704975"/>
                <a:gd name="connsiteX98" fmla="*/ 848400 w 1293444"/>
                <a:gd name="connsiteY98" fmla="*/ 1095375 h 1704975"/>
                <a:gd name="connsiteX99" fmla="*/ 813475 w 1293444"/>
                <a:gd name="connsiteY99" fmla="*/ 1092200 h 1704975"/>
                <a:gd name="connsiteX100" fmla="*/ 772200 w 1293444"/>
                <a:gd name="connsiteY100" fmla="*/ 1098550 h 1704975"/>
                <a:gd name="connsiteX101" fmla="*/ 759500 w 1293444"/>
                <a:gd name="connsiteY101" fmla="*/ 1127125 h 1704975"/>
                <a:gd name="connsiteX102" fmla="*/ 756325 w 1293444"/>
                <a:gd name="connsiteY102" fmla="*/ 1136650 h 1704975"/>
                <a:gd name="connsiteX103" fmla="*/ 740450 w 1293444"/>
                <a:gd name="connsiteY103" fmla="*/ 1155700 h 1704975"/>
                <a:gd name="connsiteX104" fmla="*/ 718225 w 1293444"/>
                <a:gd name="connsiteY104" fmla="*/ 1181100 h 1704975"/>
                <a:gd name="connsiteX105" fmla="*/ 721400 w 1293444"/>
                <a:gd name="connsiteY105" fmla="*/ 1238250 h 1704975"/>
                <a:gd name="connsiteX106" fmla="*/ 727750 w 1293444"/>
                <a:gd name="connsiteY106" fmla="*/ 1247775 h 1704975"/>
                <a:gd name="connsiteX107" fmla="*/ 730925 w 1293444"/>
                <a:gd name="connsiteY107" fmla="*/ 1257300 h 1704975"/>
                <a:gd name="connsiteX108" fmla="*/ 740450 w 1293444"/>
                <a:gd name="connsiteY108" fmla="*/ 1276350 h 1704975"/>
                <a:gd name="connsiteX109" fmla="*/ 743625 w 1293444"/>
                <a:gd name="connsiteY109" fmla="*/ 1320800 h 1704975"/>
                <a:gd name="connsiteX110" fmla="*/ 746800 w 1293444"/>
                <a:gd name="connsiteY110" fmla="*/ 1330325 h 1704975"/>
                <a:gd name="connsiteX111" fmla="*/ 756325 w 1293444"/>
                <a:gd name="connsiteY111" fmla="*/ 1336675 h 1704975"/>
                <a:gd name="connsiteX112" fmla="*/ 762675 w 1293444"/>
                <a:gd name="connsiteY112" fmla="*/ 1346200 h 1704975"/>
                <a:gd name="connsiteX113" fmla="*/ 769025 w 1293444"/>
                <a:gd name="connsiteY113" fmla="*/ 1393825 h 1704975"/>
                <a:gd name="connsiteX114" fmla="*/ 775375 w 1293444"/>
                <a:gd name="connsiteY114" fmla="*/ 1412875 h 1704975"/>
                <a:gd name="connsiteX115" fmla="*/ 781725 w 1293444"/>
                <a:gd name="connsiteY115" fmla="*/ 1435100 h 1704975"/>
                <a:gd name="connsiteX116" fmla="*/ 772200 w 1293444"/>
                <a:gd name="connsiteY116" fmla="*/ 1460500 h 1704975"/>
                <a:gd name="connsiteX117" fmla="*/ 762675 w 1293444"/>
                <a:gd name="connsiteY117" fmla="*/ 1466850 h 1704975"/>
                <a:gd name="connsiteX118" fmla="*/ 753150 w 1293444"/>
                <a:gd name="connsiteY118" fmla="*/ 1485900 h 1704975"/>
                <a:gd name="connsiteX119" fmla="*/ 749975 w 1293444"/>
                <a:gd name="connsiteY119" fmla="*/ 1514475 h 1704975"/>
                <a:gd name="connsiteX120" fmla="*/ 740450 w 1293444"/>
                <a:gd name="connsiteY120" fmla="*/ 1520825 h 1704975"/>
                <a:gd name="connsiteX121" fmla="*/ 730925 w 1293444"/>
                <a:gd name="connsiteY121" fmla="*/ 1530350 h 1704975"/>
                <a:gd name="connsiteX122" fmla="*/ 718225 w 1293444"/>
                <a:gd name="connsiteY122" fmla="*/ 1549400 h 1704975"/>
                <a:gd name="connsiteX123" fmla="*/ 711875 w 1293444"/>
                <a:gd name="connsiteY123" fmla="*/ 1558925 h 1704975"/>
                <a:gd name="connsiteX124" fmla="*/ 702350 w 1293444"/>
                <a:gd name="connsiteY124" fmla="*/ 1568450 h 1704975"/>
                <a:gd name="connsiteX125" fmla="*/ 699175 w 1293444"/>
                <a:gd name="connsiteY125" fmla="*/ 1577975 h 1704975"/>
                <a:gd name="connsiteX126" fmla="*/ 686475 w 1293444"/>
                <a:gd name="connsiteY126" fmla="*/ 1597025 h 1704975"/>
                <a:gd name="connsiteX127" fmla="*/ 676950 w 1293444"/>
                <a:gd name="connsiteY127" fmla="*/ 1616075 h 1704975"/>
                <a:gd name="connsiteX128" fmla="*/ 667425 w 1293444"/>
                <a:gd name="connsiteY128" fmla="*/ 1619250 h 1704975"/>
                <a:gd name="connsiteX129" fmla="*/ 648375 w 1293444"/>
                <a:gd name="connsiteY129" fmla="*/ 1631950 h 1704975"/>
                <a:gd name="connsiteX130" fmla="*/ 638850 w 1293444"/>
                <a:gd name="connsiteY130" fmla="*/ 1638300 h 1704975"/>
                <a:gd name="connsiteX131" fmla="*/ 607100 w 1293444"/>
                <a:gd name="connsiteY131" fmla="*/ 1676400 h 1704975"/>
                <a:gd name="connsiteX132" fmla="*/ 556300 w 1293444"/>
                <a:gd name="connsiteY132" fmla="*/ 1679575 h 1704975"/>
                <a:gd name="connsiteX133" fmla="*/ 537250 w 1293444"/>
                <a:gd name="connsiteY133" fmla="*/ 1685925 h 1704975"/>
                <a:gd name="connsiteX134" fmla="*/ 515025 w 1293444"/>
                <a:gd name="connsiteY134" fmla="*/ 1698625 h 1704975"/>
                <a:gd name="connsiteX135" fmla="*/ 495975 w 1293444"/>
                <a:gd name="connsiteY135" fmla="*/ 1704975 h 1704975"/>
                <a:gd name="connsiteX136" fmla="*/ 476925 w 1293444"/>
                <a:gd name="connsiteY136" fmla="*/ 1701800 h 1704975"/>
                <a:gd name="connsiteX137" fmla="*/ 470575 w 1293444"/>
                <a:gd name="connsiteY137" fmla="*/ 1692275 h 1704975"/>
                <a:gd name="connsiteX138" fmla="*/ 467400 w 1293444"/>
                <a:gd name="connsiteY138" fmla="*/ 1660525 h 1704975"/>
                <a:gd name="connsiteX139" fmla="*/ 457875 w 1293444"/>
                <a:gd name="connsiteY139" fmla="*/ 1641475 h 1704975"/>
                <a:gd name="connsiteX140" fmla="*/ 448350 w 1293444"/>
                <a:gd name="connsiteY140" fmla="*/ 1635125 h 1704975"/>
                <a:gd name="connsiteX141" fmla="*/ 445175 w 1293444"/>
                <a:gd name="connsiteY141" fmla="*/ 1625600 h 1704975"/>
                <a:gd name="connsiteX142" fmla="*/ 435650 w 1293444"/>
                <a:gd name="connsiteY142" fmla="*/ 1606550 h 1704975"/>
                <a:gd name="connsiteX143" fmla="*/ 432475 w 1293444"/>
                <a:gd name="connsiteY143" fmla="*/ 1495425 h 1704975"/>
                <a:gd name="connsiteX144" fmla="*/ 429300 w 1293444"/>
                <a:gd name="connsiteY144" fmla="*/ 1485900 h 1704975"/>
                <a:gd name="connsiteX145" fmla="*/ 426125 w 1293444"/>
                <a:gd name="connsiteY145" fmla="*/ 1473200 h 1704975"/>
                <a:gd name="connsiteX146" fmla="*/ 419775 w 1293444"/>
                <a:gd name="connsiteY146" fmla="*/ 1463675 h 1704975"/>
                <a:gd name="connsiteX147" fmla="*/ 416600 w 1293444"/>
                <a:gd name="connsiteY147" fmla="*/ 1454150 h 1704975"/>
                <a:gd name="connsiteX148" fmla="*/ 403900 w 1293444"/>
                <a:gd name="connsiteY148" fmla="*/ 1435100 h 1704975"/>
                <a:gd name="connsiteX149" fmla="*/ 397550 w 1293444"/>
                <a:gd name="connsiteY149" fmla="*/ 1416050 h 1704975"/>
                <a:gd name="connsiteX150" fmla="*/ 394375 w 1293444"/>
                <a:gd name="connsiteY150" fmla="*/ 1381125 h 1704975"/>
                <a:gd name="connsiteX151" fmla="*/ 391200 w 1293444"/>
                <a:gd name="connsiteY151" fmla="*/ 1368425 h 1704975"/>
                <a:gd name="connsiteX152" fmla="*/ 388025 w 1293444"/>
                <a:gd name="connsiteY152" fmla="*/ 1352550 h 1704975"/>
                <a:gd name="connsiteX153" fmla="*/ 381675 w 1293444"/>
                <a:gd name="connsiteY153" fmla="*/ 1333500 h 1704975"/>
                <a:gd name="connsiteX154" fmla="*/ 378500 w 1293444"/>
                <a:gd name="connsiteY154" fmla="*/ 1323975 h 1704975"/>
                <a:gd name="connsiteX155" fmla="*/ 375325 w 1293444"/>
                <a:gd name="connsiteY155" fmla="*/ 1308100 h 1704975"/>
                <a:gd name="connsiteX156" fmla="*/ 368975 w 1293444"/>
                <a:gd name="connsiteY156" fmla="*/ 1289050 h 1704975"/>
                <a:gd name="connsiteX157" fmla="*/ 362625 w 1293444"/>
                <a:gd name="connsiteY157" fmla="*/ 1260475 h 1704975"/>
                <a:gd name="connsiteX158" fmla="*/ 359450 w 1293444"/>
                <a:gd name="connsiteY158" fmla="*/ 1231900 h 1704975"/>
                <a:gd name="connsiteX159" fmla="*/ 349925 w 1293444"/>
                <a:gd name="connsiteY159" fmla="*/ 1196975 h 1704975"/>
                <a:gd name="connsiteX160" fmla="*/ 340400 w 1293444"/>
                <a:gd name="connsiteY160" fmla="*/ 1155700 h 1704975"/>
                <a:gd name="connsiteX161" fmla="*/ 334050 w 1293444"/>
                <a:gd name="connsiteY161" fmla="*/ 1130300 h 1704975"/>
                <a:gd name="connsiteX162" fmla="*/ 327700 w 1293444"/>
                <a:gd name="connsiteY162" fmla="*/ 1104900 h 1704975"/>
                <a:gd name="connsiteX163" fmla="*/ 324525 w 1293444"/>
                <a:gd name="connsiteY163" fmla="*/ 1092200 h 1704975"/>
                <a:gd name="connsiteX164" fmla="*/ 318175 w 1293444"/>
                <a:gd name="connsiteY164" fmla="*/ 1050925 h 1704975"/>
                <a:gd name="connsiteX165" fmla="*/ 315000 w 1293444"/>
                <a:gd name="connsiteY165" fmla="*/ 1031875 h 1704975"/>
                <a:gd name="connsiteX166" fmla="*/ 311825 w 1293444"/>
                <a:gd name="connsiteY166" fmla="*/ 1022350 h 1704975"/>
                <a:gd name="connsiteX167" fmla="*/ 308650 w 1293444"/>
                <a:gd name="connsiteY167" fmla="*/ 1006475 h 1704975"/>
                <a:gd name="connsiteX168" fmla="*/ 302300 w 1293444"/>
                <a:gd name="connsiteY168" fmla="*/ 987425 h 1704975"/>
                <a:gd name="connsiteX169" fmla="*/ 299125 w 1293444"/>
                <a:gd name="connsiteY169" fmla="*/ 974725 h 1704975"/>
                <a:gd name="connsiteX170" fmla="*/ 292775 w 1293444"/>
                <a:gd name="connsiteY170" fmla="*/ 955675 h 1704975"/>
                <a:gd name="connsiteX171" fmla="*/ 289600 w 1293444"/>
                <a:gd name="connsiteY171" fmla="*/ 946150 h 1704975"/>
                <a:gd name="connsiteX172" fmla="*/ 280075 w 1293444"/>
                <a:gd name="connsiteY172" fmla="*/ 923925 h 1704975"/>
                <a:gd name="connsiteX173" fmla="*/ 261025 w 1293444"/>
                <a:gd name="connsiteY173" fmla="*/ 908050 h 1704975"/>
                <a:gd name="connsiteX174" fmla="*/ 241975 w 1293444"/>
                <a:gd name="connsiteY174" fmla="*/ 901700 h 1704975"/>
                <a:gd name="connsiteX175" fmla="*/ 222925 w 1293444"/>
                <a:gd name="connsiteY175" fmla="*/ 889000 h 1704975"/>
                <a:gd name="connsiteX176" fmla="*/ 213400 w 1293444"/>
                <a:gd name="connsiteY176" fmla="*/ 885825 h 1704975"/>
                <a:gd name="connsiteX177" fmla="*/ 194350 w 1293444"/>
                <a:gd name="connsiteY177" fmla="*/ 873125 h 1704975"/>
                <a:gd name="connsiteX178" fmla="*/ 175300 w 1293444"/>
                <a:gd name="connsiteY178" fmla="*/ 860425 h 1704975"/>
                <a:gd name="connsiteX179" fmla="*/ 162600 w 1293444"/>
                <a:gd name="connsiteY179" fmla="*/ 850900 h 1704975"/>
                <a:gd name="connsiteX180" fmla="*/ 153075 w 1293444"/>
                <a:gd name="connsiteY180" fmla="*/ 847725 h 1704975"/>
                <a:gd name="connsiteX181" fmla="*/ 134025 w 1293444"/>
                <a:gd name="connsiteY181" fmla="*/ 835025 h 1704975"/>
                <a:gd name="connsiteX182" fmla="*/ 114975 w 1293444"/>
                <a:gd name="connsiteY182" fmla="*/ 822325 h 1704975"/>
                <a:gd name="connsiteX183" fmla="*/ 105450 w 1293444"/>
                <a:gd name="connsiteY183" fmla="*/ 815975 h 1704975"/>
                <a:gd name="connsiteX184" fmla="*/ 95925 w 1293444"/>
                <a:gd name="connsiteY184" fmla="*/ 812800 h 1704975"/>
                <a:gd name="connsiteX185" fmla="*/ 64175 w 1293444"/>
                <a:gd name="connsiteY185" fmla="*/ 790575 h 1704975"/>
                <a:gd name="connsiteX186" fmla="*/ 54650 w 1293444"/>
                <a:gd name="connsiteY186" fmla="*/ 787400 h 1704975"/>
                <a:gd name="connsiteX187" fmla="*/ 38775 w 1293444"/>
                <a:gd name="connsiteY187" fmla="*/ 771525 h 1704975"/>
                <a:gd name="connsiteX188" fmla="*/ 29250 w 1293444"/>
                <a:gd name="connsiteY188" fmla="*/ 762000 h 1704975"/>
                <a:gd name="connsiteX189" fmla="*/ 19725 w 1293444"/>
                <a:gd name="connsiteY189" fmla="*/ 758825 h 1704975"/>
                <a:gd name="connsiteX190" fmla="*/ 675 w 1293444"/>
                <a:gd name="connsiteY190" fmla="*/ 746125 h 1704975"/>
                <a:gd name="connsiteX191" fmla="*/ 51475 w 1293444"/>
                <a:gd name="connsiteY191" fmla="*/ 739775 h 1704975"/>
                <a:gd name="connsiteX192" fmla="*/ 67350 w 1293444"/>
                <a:gd name="connsiteY192" fmla="*/ 736600 h 1704975"/>
                <a:gd name="connsiteX193" fmla="*/ 102275 w 1293444"/>
                <a:gd name="connsiteY193" fmla="*/ 733425 h 1704975"/>
                <a:gd name="connsiteX194" fmla="*/ 130850 w 1293444"/>
                <a:gd name="connsiteY194" fmla="*/ 727075 h 1704975"/>
                <a:gd name="connsiteX195" fmla="*/ 149900 w 1293444"/>
                <a:gd name="connsiteY195" fmla="*/ 723900 h 1704975"/>
                <a:gd name="connsiteX196" fmla="*/ 159425 w 1293444"/>
                <a:gd name="connsiteY196" fmla="*/ 720725 h 1704975"/>
                <a:gd name="connsiteX197" fmla="*/ 175300 w 1293444"/>
                <a:gd name="connsiteY197" fmla="*/ 717550 h 1704975"/>
                <a:gd name="connsiteX198" fmla="*/ 194350 w 1293444"/>
                <a:gd name="connsiteY198" fmla="*/ 711200 h 1704975"/>
                <a:gd name="connsiteX199" fmla="*/ 222925 w 1293444"/>
                <a:gd name="connsiteY199" fmla="*/ 701675 h 1704975"/>
                <a:gd name="connsiteX200" fmla="*/ 232450 w 1293444"/>
                <a:gd name="connsiteY200" fmla="*/ 698500 h 1704975"/>
                <a:gd name="connsiteX201" fmla="*/ 241975 w 1293444"/>
                <a:gd name="connsiteY201" fmla="*/ 695325 h 1704975"/>
                <a:gd name="connsiteX202" fmla="*/ 381675 w 1293444"/>
                <a:gd name="connsiteY202" fmla="*/ 688975 h 1704975"/>
                <a:gd name="connsiteX203" fmla="*/ 397550 w 1293444"/>
                <a:gd name="connsiteY203" fmla="*/ 685800 h 1704975"/>
                <a:gd name="connsiteX204" fmla="*/ 407075 w 1293444"/>
                <a:gd name="connsiteY204" fmla="*/ 682625 h 1704975"/>
                <a:gd name="connsiteX205" fmla="*/ 419775 w 1293444"/>
                <a:gd name="connsiteY205" fmla="*/ 679450 h 1704975"/>
                <a:gd name="connsiteX206" fmla="*/ 438825 w 1293444"/>
                <a:gd name="connsiteY206" fmla="*/ 673100 h 1704975"/>
                <a:gd name="connsiteX207" fmla="*/ 467400 w 1293444"/>
                <a:gd name="connsiteY207" fmla="*/ 663575 h 1704975"/>
                <a:gd name="connsiteX208" fmla="*/ 495975 w 1293444"/>
                <a:gd name="connsiteY208" fmla="*/ 654050 h 1704975"/>
                <a:gd name="connsiteX209" fmla="*/ 505500 w 1293444"/>
                <a:gd name="connsiteY209" fmla="*/ 650875 h 1704975"/>
                <a:gd name="connsiteX210" fmla="*/ 527725 w 1293444"/>
                <a:gd name="connsiteY210" fmla="*/ 641350 h 1704975"/>
                <a:gd name="connsiteX211" fmla="*/ 537250 w 1293444"/>
                <a:gd name="connsiteY211" fmla="*/ 635000 h 1704975"/>
                <a:gd name="connsiteX212" fmla="*/ 546775 w 1293444"/>
                <a:gd name="connsiteY212" fmla="*/ 631825 h 1704975"/>
                <a:gd name="connsiteX213" fmla="*/ 559475 w 1293444"/>
                <a:gd name="connsiteY213" fmla="*/ 625475 h 1704975"/>
                <a:gd name="connsiteX214" fmla="*/ 578525 w 1293444"/>
                <a:gd name="connsiteY214" fmla="*/ 657225 h 1704975"/>
                <a:gd name="connsiteX215" fmla="*/ 588050 w 1293444"/>
                <a:gd name="connsiteY215" fmla="*/ 660400 h 1704975"/>
                <a:gd name="connsiteX216" fmla="*/ 607100 w 1293444"/>
                <a:gd name="connsiteY216" fmla="*/ 673100 h 1704975"/>
                <a:gd name="connsiteX217" fmla="*/ 626150 w 1293444"/>
                <a:gd name="connsiteY217" fmla="*/ 679450 h 1704975"/>
                <a:gd name="connsiteX218" fmla="*/ 635675 w 1293444"/>
                <a:gd name="connsiteY218" fmla="*/ 685800 h 1704975"/>
                <a:gd name="connsiteX219" fmla="*/ 654725 w 1293444"/>
                <a:gd name="connsiteY219" fmla="*/ 692150 h 1704975"/>
                <a:gd name="connsiteX220" fmla="*/ 645200 w 1293444"/>
                <a:gd name="connsiteY220" fmla="*/ 682625 h 1704975"/>
                <a:gd name="connsiteX221" fmla="*/ 635675 w 1293444"/>
                <a:gd name="connsiteY221" fmla="*/ 676275 h 1704975"/>
                <a:gd name="connsiteX222" fmla="*/ 632500 w 1293444"/>
                <a:gd name="connsiteY222" fmla="*/ 666750 h 1704975"/>
                <a:gd name="connsiteX223" fmla="*/ 635675 w 1293444"/>
                <a:gd name="connsiteY223" fmla="*/ 590550 h 1704975"/>
                <a:gd name="connsiteX224" fmla="*/ 642025 w 1293444"/>
                <a:gd name="connsiteY224" fmla="*/ 571500 h 1704975"/>
                <a:gd name="connsiteX225" fmla="*/ 648375 w 1293444"/>
                <a:gd name="connsiteY225" fmla="*/ 561975 h 1704975"/>
                <a:gd name="connsiteX226" fmla="*/ 638850 w 1293444"/>
                <a:gd name="connsiteY226" fmla="*/ 536575 h 1704975"/>
                <a:gd name="connsiteX227" fmla="*/ 629325 w 1293444"/>
                <a:gd name="connsiteY227" fmla="*/ 533400 h 1704975"/>
                <a:gd name="connsiteX228" fmla="*/ 626150 w 1293444"/>
                <a:gd name="connsiteY228" fmla="*/ 523875 h 1704975"/>
                <a:gd name="connsiteX229" fmla="*/ 632500 w 1293444"/>
                <a:gd name="connsiteY229" fmla="*/ 498475 h 1704975"/>
                <a:gd name="connsiteX230" fmla="*/ 635675 w 1293444"/>
                <a:gd name="connsiteY230" fmla="*/ 485775 h 1704975"/>
                <a:gd name="connsiteX231" fmla="*/ 626150 w 1293444"/>
                <a:gd name="connsiteY231" fmla="*/ 463550 h 1704975"/>
                <a:gd name="connsiteX232" fmla="*/ 616625 w 1293444"/>
                <a:gd name="connsiteY232" fmla="*/ 460375 h 1704975"/>
                <a:gd name="connsiteX233" fmla="*/ 607100 w 1293444"/>
                <a:gd name="connsiteY233" fmla="*/ 454025 h 1704975"/>
                <a:gd name="connsiteX234" fmla="*/ 591225 w 1293444"/>
                <a:gd name="connsiteY234" fmla="*/ 450850 h 1704975"/>
                <a:gd name="connsiteX235" fmla="*/ 569000 w 1293444"/>
                <a:gd name="connsiteY235" fmla="*/ 441325 h 1704975"/>
                <a:gd name="connsiteX236" fmla="*/ 546775 w 1293444"/>
                <a:gd name="connsiteY236" fmla="*/ 415925 h 1704975"/>
                <a:gd name="connsiteX237" fmla="*/ 540425 w 1293444"/>
                <a:gd name="connsiteY237" fmla="*/ 406400 h 1704975"/>
                <a:gd name="connsiteX238" fmla="*/ 530900 w 1293444"/>
                <a:gd name="connsiteY238" fmla="*/ 400050 h 1704975"/>
                <a:gd name="connsiteX239" fmla="*/ 508675 w 1293444"/>
                <a:gd name="connsiteY239" fmla="*/ 374650 h 1704975"/>
                <a:gd name="connsiteX240" fmla="*/ 502325 w 1293444"/>
                <a:gd name="connsiteY240" fmla="*/ 365125 h 1704975"/>
                <a:gd name="connsiteX241" fmla="*/ 483275 w 1293444"/>
                <a:gd name="connsiteY241" fmla="*/ 346075 h 1704975"/>
                <a:gd name="connsiteX242" fmla="*/ 486450 w 1293444"/>
                <a:gd name="connsiteY242" fmla="*/ 333375 h 1704975"/>
                <a:gd name="connsiteX243" fmla="*/ 492800 w 1293444"/>
                <a:gd name="connsiteY243" fmla="*/ 314325 h 1704975"/>
                <a:gd name="connsiteX244" fmla="*/ 489625 w 1293444"/>
                <a:gd name="connsiteY244" fmla="*/ 292100 h 1704975"/>
                <a:gd name="connsiteX245" fmla="*/ 461050 w 1293444"/>
                <a:gd name="connsiteY245" fmla="*/ 266700 h 1704975"/>
                <a:gd name="connsiteX246" fmla="*/ 435650 w 1293444"/>
                <a:gd name="connsiteY246" fmla="*/ 254000 h 1704975"/>
                <a:gd name="connsiteX247" fmla="*/ 413425 w 1293444"/>
                <a:gd name="connsiteY247" fmla="*/ 238125 h 1704975"/>
                <a:gd name="connsiteX248" fmla="*/ 403900 w 1293444"/>
                <a:gd name="connsiteY248" fmla="*/ 231775 h 1704975"/>
                <a:gd name="connsiteX249" fmla="*/ 388025 w 1293444"/>
                <a:gd name="connsiteY249" fmla="*/ 212725 h 1704975"/>
                <a:gd name="connsiteX250" fmla="*/ 372150 w 1293444"/>
                <a:gd name="connsiteY250" fmla="*/ 196850 h 1704975"/>
                <a:gd name="connsiteX251" fmla="*/ 365800 w 1293444"/>
                <a:gd name="connsiteY251" fmla="*/ 177800 h 1704975"/>
                <a:gd name="connsiteX252" fmla="*/ 359450 w 1293444"/>
                <a:gd name="connsiteY252" fmla="*/ 149225 h 1704975"/>
                <a:gd name="connsiteX253" fmla="*/ 362625 w 1293444"/>
                <a:gd name="connsiteY253" fmla="*/ 114300 h 1704975"/>
                <a:gd name="connsiteX254" fmla="*/ 368975 w 1293444"/>
                <a:gd name="connsiteY254" fmla="*/ 104775 h 1704975"/>
                <a:gd name="connsiteX255" fmla="*/ 375325 w 1293444"/>
                <a:gd name="connsiteY255"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40500 w 1293444"/>
                <a:gd name="connsiteY53" fmla="*/ 393700 h 1704975"/>
                <a:gd name="connsiteX54" fmla="*/ 1165900 w 1293444"/>
                <a:gd name="connsiteY54" fmla="*/ 454025 h 1704975"/>
                <a:gd name="connsiteX55" fmla="*/ 1207175 w 1293444"/>
                <a:gd name="connsiteY55" fmla="*/ 457200 h 1704975"/>
                <a:gd name="connsiteX56" fmla="*/ 1216700 w 1293444"/>
                <a:gd name="connsiteY56" fmla="*/ 463550 h 1704975"/>
                <a:gd name="connsiteX57" fmla="*/ 1270675 w 1293444"/>
                <a:gd name="connsiteY57" fmla="*/ 469900 h 1704975"/>
                <a:gd name="connsiteX58" fmla="*/ 1277025 w 1293444"/>
                <a:gd name="connsiteY58" fmla="*/ 479425 h 1704975"/>
                <a:gd name="connsiteX59" fmla="*/ 1273850 w 1293444"/>
                <a:gd name="connsiteY59" fmla="*/ 488950 h 1704975"/>
                <a:gd name="connsiteX60" fmla="*/ 1270675 w 1293444"/>
                <a:gd name="connsiteY60" fmla="*/ 511175 h 1704975"/>
                <a:gd name="connsiteX61" fmla="*/ 1264325 w 1293444"/>
                <a:gd name="connsiteY61" fmla="*/ 530225 h 1704975"/>
                <a:gd name="connsiteX62" fmla="*/ 1261150 w 1293444"/>
                <a:gd name="connsiteY62" fmla="*/ 539750 h 1704975"/>
                <a:gd name="connsiteX63" fmla="*/ 1254800 w 1293444"/>
                <a:gd name="connsiteY63" fmla="*/ 571500 h 1704975"/>
                <a:gd name="connsiteX64" fmla="*/ 1254800 w 1293444"/>
                <a:gd name="connsiteY64" fmla="*/ 692150 h 1704975"/>
                <a:gd name="connsiteX65" fmla="*/ 1257975 w 1293444"/>
                <a:gd name="connsiteY65" fmla="*/ 714375 h 1704975"/>
                <a:gd name="connsiteX66" fmla="*/ 1261150 w 1293444"/>
                <a:gd name="connsiteY66" fmla="*/ 723900 h 1704975"/>
                <a:gd name="connsiteX67" fmla="*/ 1273850 w 1293444"/>
                <a:gd name="connsiteY67" fmla="*/ 727075 h 1704975"/>
                <a:gd name="connsiteX68" fmla="*/ 1292900 w 1293444"/>
                <a:gd name="connsiteY68" fmla="*/ 739775 h 1704975"/>
                <a:gd name="connsiteX69" fmla="*/ 1289725 w 1293444"/>
                <a:gd name="connsiteY69" fmla="*/ 784225 h 1704975"/>
                <a:gd name="connsiteX70" fmla="*/ 1273850 w 1293444"/>
                <a:gd name="connsiteY70" fmla="*/ 800100 h 1704975"/>
                <a:gd name="connsiteX71" fmla="*/ 1264325 w 1293444"/>
                <a:gd name="connsiteY71" fmla="*/ 809625 h 1704975"/>
                <a:gd name="connsiteX72" fmla="*/ 1219875 w 1293444"/>
                <a:gd name="connsiteY72" fmla="*/ 819150 h 1704975"/>
                <a:gd name="connsiteX73" fmla="*/ 1200825 w 1293444"/>
                <a:gd name="connsiteY73" fmla="*/ 825500 h 1704975"/>
                <a:gd name="connsiteX74" fmla="*/ 1181775 w 1293444"/>
                <a:gd name="connsiteY74" fmla="*/ 838200 h 1704975"/>
                <a:gd name="connsiteX75" fmla="*/ 1172250 w 1293444"/>
                <a:gd name="connsiteY75" fmla="*/ 844550 h 1704975"/>
                <a:gd name="connsiteX76" fmla="*/ 1153200 w 1293444"/>
                <a:gd name="connsiteY76" fmla="*/ 850900 h 1704975"/>
                <a:gd name="connsiteX77" fmla="*/ 1140500 w 1293444"/>
                <a:gd name="connsiteY77" fmla="*/ 857250 h 1704975"/>
                <a:gd name="connsiteX78" fmla="*/ 1130975 w 1293444"/>
                <a:gd name="connsiteY78" fmla="*/ 863600 h 1704975"/>
                <a:gd name="connsiteX79" fmla="*/ 1105575 w 1293444"/>
                <a:gd name="connsiteY79" fmla="*/ 866775 h 1704975"/>
                <a:gd name="connsiteX80" fmla="*/ 1086525 w 1293444"/>
                <a:gd name="connsiteY80" fmla="*/ 873125 h 1704975"/>
                <a:gd name="connsiteX81" fmla="*/ 1077000 w 1293444"/>
                <a:gd name="connsiteY81" fmla="*/ 879475 h 1704975"/>
                <a:gd name="connsiteX82" fmla="*/ 1057950 w 1293444"/>
                <a:gd name="connsiteY82" fmla="*/ 885825 h 1704975"/>
                <a:gd name="connsiteX83" fmla="*/ 1048425 w 1293444"/>
                <a:gd name="connsiteY83" fmla="*/ 889000 h 1704975"/>
                <a:gd name="connsiteX84" fmla="*/ 1029375 w 1293444"/>
                <a:gd name="connsiteY84" fmla="*/ 908050 h 1704975"/>
                <a:gd name="connsiteX85" fmla="*/ 1010325 w 1293444"/>
                <a:gd name="connsiteY85" fmla="*/ 914400 h 1704975"/>
                <a:gd name="connsiteX86" fmla="*/ 1003975 w 1293444"/>
                <a:gd name="connsiteY86" fmla="*/ 923925 h 1704975"/>
                <a:gd name="connsiteX87" fmla="*/ 994450 w 1293444"/>
                <a:gd name="connsiteY87" fmla="*/ 933450 h 1704975"/>
                <a:gd name="connsiteX88" fmla="*/ 991275 w 1293444"/>
                <a:gd name="connsiteY88" fmla="*/ 942975 h 1704975"/>
                <a:gd name="connsiteX89" fmla="*/ 988100 w 1293444"/>
                <a:gd name="connsiteY89" fmla="*/ 962025 h 1704975"/>
                <a:gd name="connsiteX90" fmla="*/ 969050 w 1293444"/>
                <a:gd name="connsiteY90" fmla="*/ 968375 h 1704975"/>
                <a:gd name="connsiteX91" fmla="*/ 950000 w 1293444"/>
                <a:gd name="connsiteY91" fmla="*/ 981075 h 1704975"/>
                <a:gd name="connsiteX92" fmla="*/ 940475 w 1293444"/>
                <a:gd name="connsiteY92" fmla="*/ 987425 h 1704975"/>
                <a:gd name="connsiteX93" fmla="*/ 930950 w 1293444"/>
                <a:gd name="connsiteY93" fmla="*/ 1006475 h 1704975"/>
                <a:gd name="connsiteX94" fmla="*/ 924600 w 1293444"/>
                <a:gd name="connsiteY94" fmla="*/ 1016000 h 1704975"/>
                <a:gd name="connsiteX95" fmla="*/ 921425 w 1293444"/>
                <a:gd name="connsiteY95" fmla="*/ 1025525 h 1704975"/>
                <a:gd name="connsiteX96" fmla="*/ 905550 w 1293444"/>
                <a:gd name="connsiteY96" fmla="*/ 1044575 h 1704975"/>
                <a:gd name="connsiteX97" fmla="*/ 896025 w 1293444"/>
                <a:gd name="connsiteY97" fmla="*/ 1063625 h 1704975"/>
                <a:gd name="connsiteX98" fmla="*/ 867450 w 1293444"/>
                <a:gd name="connsiteY98" fmla="*/ 1085850 h 1704975"/>
                <a:gd name="connsiteX99" fmla="*/ 848400 w 1293444"/>
                <a:gd name="connsiteY99" fmla="*/ 1095375 h 1704975"/>
                <a:gd name="connsiteX100" fmla="*/ 813475 w 1293444"/>
                <a:gd name="connsiteY100" fmla="*/ 1092200 h 1704975"/>
                <a:gd name="connsiteX101" fmla="*/ 772200 w 1293444"/>
                <a:gd name="connsiteY101" fmla="*/ 1098550 h 1704975"/>
                <a:gd name="connsiteX102" fmla="*/ 759500 w 1293444"/>
                <a:gd name="connsiteY102" fmla="*/ 1127125 h 1704975"/>
                <a:gd name="connsiteX103" fmla="*/ 756325 w 1293444"/>
                <a:gd name="connsiteY103" fmla="*/ 1136650 h 1704975"/>
                <a:gd name="connsiteX104" fmla="*/ 740450 w 1293444"/>
                <a:gd name="connsiteY104" fmla="*/ 1155700 h 1704975"/>
                <a:gd name="connsiteX105" fmla="*/ 718225 w 1293444"/>
                <a:gd name="connsiteY105" fmla="*/ 1181100 h 1704975"/>
                <a:gd name="connsiteX106" fmla="*/ 721400 w 1293444"/>
                <a:gd name="connsiteY106" fmla="*/ 1238250 h 1704975"/>
                <a:gd name="connsiteX107" fmla="*/ 727750 w 1293444"/>
                <a:gd name="connsiteY107" fmla="*/ 1247775 h 1704975"/>
                <a:gd name="connsiteX108" fmla="*/ 730925 w 1293444"/>
                <a:gd name="connsiteY108" fmla="*/ 1257300 h 1704975"/>
                <a:gd name="connsiteX109" fmla="*/ 740450 w 1293444"/>
                <a:gd name="connsiteY109" fmla="*/ 1276350 h 1704975"/>
                <a:gd name="connsiteX110" fmla="*/ 743625 w 1293444"/>
                <a:gd name="connsiteY110" fmla="*/ 1320800 h 1704975"/>
                <a:gd name="connsiteX111" fmla="*/ 746800 w 1293444"/>
                <a:gd name="connsiteY111" fmla="*/ 1330325 h 1704975"/>
                <a:gd name="connsiteX112" fmla="*/ 756325 w 1293444"/>
                <a:gd name="connsiteY112" fmla="*/ 1336675 h 1704975"/>
                <a:gd name="connsiteX113" fmla="*/ 762675 w 1293444"/>
                <a:gd name="connsiteY113" fmla="*/ 1346200 h 1704975"/>
                <a:gd name="connsiteX114" fmla="*/ 769025 w 1293444"/>
                <a:gd name="connsiteY114" fmla="*/ 1393825 h 1704975"/>
                <a:gd name="connsiteX115" fmla="*/ 775375 w 1293444"/>
                <a:gd name="connsiteY115" fmla="*/ 1412875 h 1704975"/>
                <a:gd name="connsiteX116" fmla="*/ 781725 w 1293444"/>
                <a:gd name="connsiteY116" fmla="*/ 1435100 h 1704975"/>
                <a:gd name="connsiteX117" fmla="*/ 772200 w 1293444"/>
                <a:gd name="connsiteY117" fmla="*/ 1460500 h 1704975"/>
                <a:gd name="connsiteX118" fmla="*/ 762675 w 1293444"/>
                <a:gd name="connsiteY118" fmla="*/ 1466850 h 1704975"/>
                <a:gd name="connsiteX119" fmla="*/ 753150 w 1293444"/>
                <a:gd name="connsiteY119" fmla="*/ 1485900 h 1704975"/>
                <a:gd name="connsiteX120" fmla="*/ 749975 w 1293444"/>
                <a:gd name="connsiteY120" fmla="*/ 1514475 h 1704975"/>
                <a:gd name="connsiteX121" fmla="*/ 740450 w 1293444"/>
                <a:gd name="connsiteY121" fmla="*/ 1520825 h 1704975"/>
                <a:gd name="connsiteX122" fmla="*/ 730925 w 1293444"/>
                <a:gd name="connsiteY122" fmla="*/ 1530350 h 1704975"/>
                <a:gd name="connsiteX123" fmla="*/ 718225 w 1293444"/>
                <a:gd name="connsiteY123" fmla="*/ 1549400 h 1704975"/>
                <a:gd name="connsiteX124" fmla="*/ 711875 w 1293444"/>
                <a:gd name="connsiteY124" fmla="*/ 1558925 h 1704975"/>
                <a:gd name="connsiteX125" fmla="*/ 702350 w 1293444"/>
                <a:gd name="connsiteY125" fmla="*/ 1568450 h 1704975"/>
                <a:gd name="connsiteX126" fmla="*/ 699175 w 1293444"/>
                <a:gd name="connsiteY126" fmla="*/ 1577975 h 1704975"/>
                <a:gd name="connsiteX127" fmla="*/ 686475 w 1293444"/>
                <a:gd name="connsiteY127" fmla="*/ 1597025 h 1704975"/>
                <a:gd name="connsiteX128" fmla="*/ 676950 w 1293444"/>
                <a:gd name="connsiteY128" fmla="*/ 1616075 h 1704975"/>
                <a:gd name="connsiteX129" fmla="*/ 667425 w 1293444"/>
                <a:gd name="connsiteY129" fmla="*/ 1619250 h 1704975"/>
                <a:gd name="connsiteX130" fmla="*/ 648375 w 1293444"/>
                <a:gd name="connsiteY130" fmla="*/ 1631950 h 1704975"/>
                <a:gd name="connsiteX131" fmla="*/ 638850 w 1293444"/>
                <a:gd name="connsiteY131" fmla="*/ 1638300 h 1704975"/>
                <a:gd name="connsiteX132" fmla="*/ 607100 w 1293444"/>
                <a:gd name="connsiteY132" fmla="*/ 1676400 h 1704975"/>
                <a:gd name="connsiteX133" fmla="*/ 556300 w 1293444"/>
                <a:gd name="connsiteY133" fmla="*/ 1679575 h 1704975"/>
                <a:gd name="connsiteX134" fmla="*/ 537250 w 1293444"/>
                <a:gd name="connsiteY134" fmla="*/ 1685925 h 1704975"/>
                <a:gd name="connsiteX135" fmla="*/ 515025 w 1293444"/>
                <a:gd name="connsiteY135" fmla="*/ 1698625 h 1704975"/>
                <a:gd name="connsiteX136" fmla="*/ 495975 w 1293444"/>
                <a:gd name="connsiteY136" fmla="*/ 1704975 h 1704975"/>
                <a:gd name="connsiteX137" fmla="*/ 476925 w 1293444"/>
                <a:gd name="connsiteY137" fmla="*/ 1701800 h 1704975"/>
                <a:gd name="connsiteX138" fmla="*/ 470575 w 1293444"/>
                <a:gd name="connsiteY138" fmla="*/ 1692275 h 1704975"/>
                <a:gd name="connsiteX139" fmla="*/ 467400 w 1293444"/>
                <a:gd name="connsiteY139" fmla="*/ 1660525 h 1704975"/>
                <a:gd name="connsiteX140" fmla="*/ 457875 w 1293444"/>
                <a:gd name="connsiteY140" fmla="*/ 1641475 h 1704975"/>
                <a:gd name="connsiteX141" fmla="*/ 448350 w 1293444"/>
                <a:gd name="connsiteY141" fmla="*/ 1635125 h 1704975"/>
                <a:gd name="connsiteX142" fmla="*/ 445175 w 1293444"/>
                <a:gd name="connsiteY142" fmla="*/ 1625600 h 1704975"/>
                <a:gd name="connsiteX143" fmla="*/ 435650 w 1293444"/>
                <a:gd name="connsiteY143" fmla="*/ 1606550 h 1704975"/>
                <a:gd name="connsiteX144" fmla="*/ 432475 w 1293444"/>
                <a:gd name="connsiteY144" fmla="*/ 1495425 h 1704975"/>
                <a:gd name="connsiteX145" fmla="*/ 429300 w 1293444"/>
                <a:gd name="connsiteY145" fmla="*/ 1485900 h 1704975"/>
                <a:gd name="connsiteX146" fmla="*/ 426125 w 1293444"/>
                <a:gd name="connsiteY146" fmla="*/ 1473200 h 1704975"/>
                <a:gd name="connsiteX147" fmla="*/ 419775 w 1293444"/>
                <a:gd name="connsiteY147" fmla="*/ 1463675 h 1704975"/>
                <a:gd name="connsiteX148" fmla="*/ 416600 w 1293444"/>
                <a:gd name="connsiteY148" fmla="*/ 1454150 h 1704975"/>
                <a:gd name="connsiteX149" fmla="*/ 403900 w 1293444"/>
                <a:gd name="connsiteY149" fmla="*/ 1435100 h 1704975"/>
                <a:gd name="connsiteX150" fmla="*/ 397550 w 1293444"/>
                <a:gd name="connsiteY150" fmla="*/ 1416050 h 1704975"/>
                <a:gd name="connsiteX151" fmla="*/ 394375 w 1293444"/>
                <a:gd name="connsiteY151" fmla="*/ 1381125 h 1704975"/>
                <a:gd name="connsiteX152" fmla="*/ 391200 w 1293444"/>
                <a:gd name="connsiteY152" fmla="*/ 1368425 h 1704975"/>
                <a:gd name="connsiteX153" fmla="*/ 388025 w 1293444"/>
                <a:gd name="connsiteY153" fmla="*/ 1352550 h 1704975"/>
                <a:gd name="connsiteX154" fmla="*/ 381675 w 1293444"/>
                <a:gd name="connsiteY154" fmla="*/ 1333500 h 1704975"/>
                <a:gd name="connsiteX155" fmla="*/ 378500 w 1293444"/>
                <a:gd name="connsiteY155" fmla="*/ 1323975 h 1704975"/>
                <a:gd name="connsiteX156" fmla="*/ 375325 w 1293444"/>
                <a:gd name="connsiteY156" fmla="*/ 1308100 h 1704975"/>
                <a:gd name="connsiteX157" fmla="*/ 368975 w 1293444"/>
                <a:gd name="connsiteY157" fmla="*/ 1289050 h 1704975"/>
                <a:gd name="connsiteX158" fmla="*/ 362625 w 1293444"/>
                <a:gd name="connsiteY158" fmla="*/ 1260475 h 1704975"/>
                <a:gd name="connsiteX159" fmla="*/ 359450 w 1293444"/>
                <a:gd name="connsiteY159" fmla="*/ 1231900 h 1704975"/>
                <a:gd name="connsiteX160" fmla="*/ 349925 w 1293444"/>
                <a:gd name="connsiteY160" fmla="*/ 1196975 h 1704975"/>
                <a:gd name="connsiteX161" fmla="*/ 340400 w 1293444"/>
                <a:gd name="connsiteY161" fmla="*/ 1155700 h 1704975"/>
                <a:gd name="connsiteX162" fmla="*/ 334050 w 1293444"/>
                <a:gd name="connsiteY162" fmla="*/ 1130300 h 1704975"/>
                <a:gd name="connsiteX163" fmla="*/ 327700 w 1293444"/>
                <a:gd name="connsiteY163" fmla="*/ 1104900 h 1704975"/>
                <a:gd name="connsiteX164" fmla="*/ 324525 w 1293444"/>
                <a:gd name="connsiteY164" fmla="*/ 1092200 h 1704975"/>
                <a:gd name="connsiteX165" fmla="*/ 318175 w 1293444"/>
                <a:gd name="connsiteY165" fmla="*/ 1050925 h 1704975"/>
                <a:gd name="connsiteX166" fmla="*/ 315000 w 1293444"/>
                <a:gd name="connsiteY166" fmla="*/ 1031875 h 1704975"/>
                <a:gd name="connsiteX167" fmla="*/ 311825 w 1293444"/>
                <a:gd name="connsiteY167" fmla="*/ 1022350 h 1704975"/>
                <a:gd name="connsiteX168" fmla="*/ 308650 w 1293444"/>
                <a:gd name="connsiteY168" fmla="*/ 1006475 h 1704975"/>
                <a:gd name="connsiteX169" fmla="*/ 302300 w 1293444"/>
                <a:gd name="connsiteY169" fmla="*/ 987425 h 1704975"/>
                <a:gd name="connsiteX170" fmla="*/ 299125 w 1293444"/>
                <a:gd name="connsiteY170" fmla="*/ 974725 h 1704975"/>
                <a:gd name="connsiteX171" fmla="*/ 292775 w 1293444"/>
                <a:gd name="connsiteY171" fmla="*/ 955675 h 1704975"/>
                <a:gd name="connsiteX172" fmla="*/ 289600 w 1293444"/>
                <a:gd name="connsiteY172" fmla="*/ 946150 h 1704975"/>
                <a:gd name="connsiteX173" fmla="*/ 280075 w 1293444"/>
                <a:gd name="connsiteY173" fmla="*/ 923925 h 1704975"/>
                <a:gd name="connsiteX174" fmla="*/ 261025 w 1293444"/>
                <a:gd name="connsiteY174" fmla="*/ 908050 h 1704975"/>
                <a:gd name="connsiteX175" fmla="*/ 241975 w 1293444"/>
                <a:gd name="connsiteY175" fmla="*/ 901700 h 1704975"/>
                <a:gd name="connsiteX176" fmla="*/ 222925 w 1293444"/>
                <a:gd name="connsiteY176" fmla="*/ 889000 h 1704975"/>
                <a:gd name="connsiteX177" fmla="*/ 213400 w 1293444"/>
                <a:gd name="connsiteY177" fmla="*/ 885825 h 1704975"/>
                <a:gd name="connsiteX178" fmla="*/ 194350 w 1293444"/>
                <a:gd name="connsiteY178" fmla="*/ 873125 h 1704975"/>
                <a:gd name="connsiteX179" fmla="*/ 175300 w 1293444"/>
                <a:gd name="connsiteY179" fmla="*/ 860425 h 1704975"/>
                <a:gd name="connsiteX180" fmla="*/ 162600 w 1293444"/>
                <a:gd name="connsiteY180" fmla="*/ 850900 h 1704975"/>
                <a:gd name="connsiteX181" fmla="*/ 153075 w 1293444"/>
                <a:gd name="connsiteY181" fmla="*/ 847725 h 1704975"/>
                <a:gd name="connsiteX182" fmla="*/ 134025 w 1293444"/>
                <a:gd name="connsiteY182" fmla="*/ 835025 h 1704975"/>
                <a:gd name="connsiteX183" fmla="*/ 114975 w 1293444"/>
                <a:gd name="connsiteY183" fmla="*/ 822325 h 1704975"/>
                <a:gd name="connsiteX184" fmla="*/ 105450 w 1293444"/>
                <a:gd name="connsiteY184" fmla="*/ 815975 h 1704975"/>
                <a:gd name="connsiteX185" fmla="*/ 95925 w 1293444"/>
                <a:gd name="connsiteY185" fmla="*/ 812800 h 1704975"/>
                <a:gd name="connsiteX186" fmla="*/ 64175 w 1293444"/>
                <a:gd name="connsiteY186" fmla="*/ 790575 h 1704975"/>
                <a:gd name="connsiteX187" fmla="*/ 54650 w 1293444"/>
                <a:gd name="connsiteY187" fmla="*/ 787400 h 1704975"/>
                <a:gd name="connsiteX188" fmla="*/ 38775 w 1293444"/>
                <a:gd name="connsiteY188" fmla="*/ 771525 h 1704975"/>
                <a:gd name="connsiteX189" fmla="*/ 29250 w 1293444"/>
                <a:gd name="connsiteY189" fmla="*/ 762000 h 1704975"/>
                <a:gd name="connsiteX190" fmla="*/ 19725 w 1293444"/>
                <a:gd name="connsiteY190" fmla="*/ 758825 h 1704975"/>
                <a:gd name="connsiteX191" fmla="*/ 675 w 1293444"/>
                <a:gd name="connsiteY191" fmla="*/ 746125 h 1704975"/>
                <a:gd name="connsiteX192" fmla="*/ 51475 w 1293444"/>
                <a:gd name="connsiteY192" fmla="*/ 739775 h 1704975"/>
                <a:gd name="connsiteX193" fmla="*/ 67350 w 1293444"/>
                <a:gd name="connsiteY193" fmla="*/ 736600 h 1704975"/>
                <a:gd name="connsiteX194" fmla="*/ 102275 w 1293444"/>
                <a:gd name="connsiteY194" fmla="*/ 733425 h 1704975"/>
                <a:gd name="connsiteX195" fmla="*/ 130850 w 1293444"/>
                <a:gd name="connsiteY195" fmla="*/ 727075 h 1704975"/>
                <a:gd name="connsiteX196" fmla="*/ 149900 w 1293444"/>
                <a:gd name="connsiteY196" fmla="*/ 723900 h 1704975"/>
                <a:gd name="connsiteX197" fmla="*/ 159425 w 1293444"/>
                <a:gd name="connsiteY197" fmla="*/ 720725 h 1704975"/>
                <a:gd name="connsiteX198" fmla="*/ 175300 w 1293444"/>
                <a:gd name="connsiteY198" fmla="*/ 717550 h 1704975"/>
                <a:gd name="connsiteX199" fmla="*/ 194350 w 1293444"/>
                <a:gd name="connsiteY199" fmla="*/ 711200 h 1704975"/>
                <a:gd name="connsiteX200" fmla="*/ 222925 w 1293444"/>
                <a:gd name="connsiteY200" fmla="*/ 701675 h 1704975"/>
                <a:gd name="connsiteX201" fmla="*/ 232450 w 1293444"/>
                <a:gd name="connsiteY201" fmla="*/ 698500 h 1704975"/>
                <a:gd name="connsiteX202" fmla="*/ 241975 w 1293444"/>
                <a:gd name="connsiteY202" fmla="*/ 695325 h 1704975"/>
                <a:gd name="connsiteX203" fmla="*/ 381675 w 1293444"/>
                <a:gd name="connsiteY203" fmla="*/ 688975 h 1704975"/>
                <a:gd name="connsiteX204" fmla="*/ 397550 w 1293444"/>
                <a:gd name="connsiteY204" fmla="*/ 685800 h 1704975"/>
                <a:gd name="connsiteX205" fmla="*/ 407075 w 1293444"/>
                <a:gd name="connsiteY205" fmla="*/ 682625 h 1704975"/>
                <a:gd name="connsiteX206" fmla="*/ 419775 w 1293444"/>
                <a:gd name="connsiteY206" fmla="*/ 679450 h 1704975"/>
                <a:gd name="connsiteX207" fmla="*/ 438825 w 1293444"/>
                <a:gd name="connsiteY207" fmla="*/ 673100 h 1704975"/>
                <a:gd name="connsiteX208" fmla="*/ 467400 w 1293444"/>
                <a:gd name="connsiteY208" fmla="*/ 663575 h 1704975"/>
                <a:gd name="connsiteX209" fmla="*/ 495975 w 1293444"/>
                <a:gd name="connsiteY209" fmla="*/ 654050 h 1704975"/>
                <a:gd name="connsiteX210" fmla="*/ 505500 w 1293444"/>
                <a:gd name="connsiteY210" fmla="*/ 650875 h 1704975"/>
                <a:gd name="connsiteX211" fmla="*/ 527725 w 1293444"/>
                <a:gd name="connsiteY211" fmla="*/ 641350 h 1704975"/>
                <a:gd name="connsiteX212" fmla="*/ 537250 w 1293444"/>
                <a:gd name="connsiteY212" fmla="*/ 635000 h 1704975"/>
                <a:gd name="connsiteX213" fmla="*/ 546775 w 1293444"/>
                <a:gd name="connsiteY213" fmla="*/ 631825 h 1704975"/>
                <a:gd name="connsiteX214" fmla="*/ 559475 w 1293444"/>
                <a:gd name="connsiteY214" fmla="*/ 625475 h 1704975"/>
                <a:gd name="connsiteX215" fmla="*/ 578525 w 1293444"/>
                <a:gd name="connsiteY215" fmla="*/ 657225 h 1704975"/>
                <a:gd name="connsiteX216" fmla="*/ 588050 w 1293444"/>
                <a:gd name="connsiteY216" fmla="*/ 660400 h 1704975"/>
                <a:gd name="connsiteX217" fmla="*/ 607100 w 1293444"/>
                <a:gd name="connsiteY217" fmla="*/ 673100 h 1704975"/>
                <a:gd name="connsiteX218" fmla="*/ 626150 w 1293444"/>
                <a:gd name="connsiteY218" fmla="*/ 679450 h 1704975"/>
                <a:gd name="connsiteX219" fmla="*/ 635675 w 1293444"/>
                <a:gd name="connsiteY219" fmla="*/ 685800 h 1704975"/>
                <a:gd name="connsiteX220" fmla="*/ 654725 w 1293444"/>
                <a:gd name="connsiteY220" fmla="*/ 692150 h 1704975"/>
                <a:gd name="connsiteX221" fmla="*/ 645200 w 1293444"/>
                <a:gd name="connsiteY221" fmla="*/ 682625 h 1704975"/>
                <a:gd name="connsiteX222" fmla="*/ 635675 w 1293444"/>
                <a:gd name="connsiteY222" fmla="*/ 676275 h 1704975"/>
                <a:gd name="connsiteX223" fmla="*/ 632500 w 1293444"/>
                <a:gd name="connsiteY223" fmla="*/ 666750 h 1704975"/>
                <a:gd name="connsiteX224" fmla="*/ 635675 w 1293444"/>
                <a:gd name="connsiteY224" fmla="*/ 590550 h 1704975"/>
                <a:gd name="connsiteX225" fmla="*/ 642025 w 1293444"/>
                <a:gd name="connsiteY225" fmla="*/ 571500 h 1704975"/>
                <a:gd name="connsiteX226" fmla="*/ 648375 w 1293444"/>
                <a:gd name="connsiteY226" fmla="*/ 561975 h 1704975"/>
                <a:gd name="connsiteX227" fmla="*/ 638850 w 1293444"/>
                <a:gd name="connsiteY227" fmla="*/ 536575 h 1704975"/>
                <a:gd name="connsiteX228" fmla="*/ 629325 w 1293444"/>
                <a:gd name="connsiteY228" fmla="*/ 533400 h 1704975"/>
                <a:gd name="connsiteX229" fmla="*/ 626150 w 1293444"/>
                <a:gd name="connsiteY229" fmla="*/ 523875 h 1704975"/>
                <a:gd name="connsiteX230" fmla="*/ 632500 w 1293444"/>
                <a:gd name="connsiteY230" fmla="*/ 498475 h 1704975"/>
                <a:gd name="connsiteX231" fmla="*/ 635675 w 1293444"/>
                <a:gd name="connsiteY231" fmla="*/ 485775 h 1704975"/>
                <a:gd name="connsiteX232" fmla="*/ 626150 w 1293444"/>
                <a:gd name="connsiteY232" fmla="*/ 463550 h 1704975"/>
                <a:gd name="connsiteX233" fmla="*/ 616625 w 1293444"/>
                <a:gd name="connsiteY233" fmla="*/ 460375 h 1704975"/>
                <a:gd name="connsiteX234" fmla="*/ 607100 w 1293444"/>
                <a:gd name="connsiteY234" fmla="*/ 454025 h 1704975"/>
                <a:gd name="connsiteX235" fmla="*/ 591225 w 1293444"/>
                <a:gd name="connsiteY235" fmla="*/ 450850 h 1704975"/>
                <a:gd name="connsiteX236" fmla="*/ 569000 w 1293444"/>
                <a:gd name="connsiteY236" fmla="*/ 441325 h 1704975"/>
                <a:gd name="connsiteX237" fmla="*/ 546775 w 1293444"/>
                <a:gd name="connsiteY237" fmla="*/ 415925 h 1704975"/>
                <a:gd name="connsiteX238" fmla="*/ 540425 w 1293444"/>
                <a:gd name="connsiteY238" fmla="*/ 406400 h 1704975"/>
                <a:gd name="connsiteX239" fmla="*/ 530900 w 1293444"/>
                <a:gd name="connsiteY239" fmla="*/ 400050 h 1704975"/>
                <a:gd name="connsiteX240" fmla="*/ 508675 w 1293444"/>
                <a:gd name="connsiteY240" fmla="*/ 374650 h 1704975"/>
                <a:gd name="connsiteX241" fmla="*/ 502325 w 1293444"/>
                <a:gd name="connsiteY241" fmla="*/ 365125 h 1704975"/>
                <a:gd name="connsiteX242" fmla="*/ 483275 w 1293444"/>
                <a:gd name="connsiteY242" fmla="*/ 346075 h 1704975"/>
                <a:gd name="connsiteX243" fmla="*/ 486450 w 1293444"/>
                <a:gd name="connsiteY243" fmla="*/ 333375 h 1704975"/>
                <a:gd name="connsiteX244" fmla="*/ 492800 w 1293444"/>
                <a:gd name="connsiteY244" fmla="*/ 314325 h 1704975"/>
                <a:gd name="connsiteX245" fmla="*/ 489625 w 1293444"/>
                <a:gd name="connsiteY245" fmla="*/ 292100 h 1704975"/>
                <a:gd name="connsiteX246" fmla="*/ 461050 w 1293444"/>
                <a:gd name="connsiteY246" fmla="*/ 266700 h 1704975"/>
                <a:gd name="connsiteX247" fmla="*/ 435650 w 1293444"/>
                <a:gd name="connsiteY247" fmla="*/ 254000 h 1704975"/>
                <a:gd name="connsiteX248" fmla="*/ 413425 w 1293444"/>
                <a:gd name="connsiteY248" fmla="*/ 238125 h 1704975"/>
                <a:gd name="connsiteX249" fmla="*/ 403900 w 1293444"/>
                <a:gd name="connsiteY249" fmla="*/ 231775 h 1704975"/>
                <a:gd name="connsiteX250" fmla="*/ 388025 w 1293444"/>
                <a:gd name="connsiteY250" fmla="*/ 212725 h 1704975"/>
                <a:gd name="connsiteX251" fmla="*/ 372150 w 1293444"/>
                <a:gd name="connsiteY251" fmla="*/ 196850 h 1704975"/>
                <a:gd name="connsiteX252" fmla="*/ 365800 w 1293444"/>
                <a:gd name="connsiteY252" fmla="*/ 177800 h 1704975"/>
                <a:gd name="connsiteX253" fmla="*/ 359450 w 1293444"/>
                <a:gd name="connsiteY253" fmla="*/ 149225 h 1704975"/>
                <a:gd name="connsiteX254" fmla="*/ 362625 w 1293444"/>
                <a:gd name="connsiteY254" fmla="*/ 114300 h 1704975"/>
                <a:gd name="connsiteX255" fmla="*/ 368975 w 1293444"/>
                <a:gd name="connsiteY255" fmla="*/ 104775 h 1704975"/>
                <a:gd name="connsiteX256" fmla="*/ 375325 w 1293444"/>
                <a:gd name="connsiteY256"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40500 w 1293444"/>
                <a:gd name="connsiteY53" fmla="*/ 393700 h 1704975"/>
                <a:gd name="connsiteX54" fmla="*/ 1165900 w 1293444"/>
                <a:gd name="connsiteY54" fmla="*/ 454025 h 1704975"/>
                <a:gd name="connsiteX55" fmla="*/ 1207175 w 1293444"/>
                <a:gd name="connsiteY55" fmla="*/ 457200 h 1704975"/>
                <a:gd name="connsiteX56" fmla="*/ 1216700 w 1293444"/>
                <a:gd name="connsiteY56" fmla="*/ 463550 h 1704975"/>
                <a:gd name="connsiteX57" fmla="*/ 1270675 w 1293444"/>
                <a:gd name="connsiteY57" fmla="*/ 469900 h 1704975"/>
                <a:gd name="connsiteX58" fmla="*/ 1277025 w 1293444"/>
                <a:gd name="connsiteY58" fmla="*/ 479425 h 1704975"/>
                <a:gd name="connsiteX59" fmla="*/ 1273850 w 1293444"/>
                <a:gd name="connsiteY59" fmla="*/ 488950 h 1704975"/>
                <a:gd name="connsiteX60" fmla="*/ 1270675 w 1293444"/>
                <a:gd name="connsiteY60" fmla="*/ 511175 h 1704975"/>
                <a:gd name="connsiteX61" fmla="*/ 1264325 w 1293444"/>
                <a:gd name="connsiteY61" fmla="*/ 530225 h 1704975"/>
                <a:gd name="connsiteX62" fmla="*/ 1261150 w 1293444"/>
                <a:gd name="connsiteY62" fmla="*/ 539750 h 1704975"/>
                <a:gd name="connsiteX63" fmla="*/ 1254800 w 1293444"/>
                <a:gd name="connsiteY63" fmla="*/ 571500 h 1704975"/>
                <a:gd name="connsiteX64" fmla="*/ 1254800 w 1293444"/>
                <a:gd name="connsiteY64" fmla="*/ 692150 h 1704975"/>
                <a:gd name="connsiteX65" fmla="*/ 1257975 w 1293444"/>
                <a:gd name="connsiteY65" fmla="*/ 714375 h 1704975"/>
                <a:gd name="connsiteX66" fmla="*/ 1261150 w 1293444"/>
                <a:gd name="connsiteY66" fmla="*/ 723900 h 1704975"/>
                <a:gd name="connsiteX67" fmla="*/ 1273850 w 1293444"/>
                <a:gd name="connsiteY67" fmla="*/ 727075 h 1704975"/>
                <a:gd name="connsiteX68" fmla="*/ 1292900 w 1293444"/>
                <a:gd name="connsiteY68" fmla="*/ 739775 h 1704975"/>
                <a:gd name="connsiteX69" fmla="*/ 1289725 w 1293444"/>
                <a:gd name="connsiteY69" fmla="*/ 784225 h 1704975"/>
                <a:gd name="connsiteX70" fmla="*/ 1273850 w 1293444"/>
                <a:gd name="connsiteY70" fmla="*/ 800100 h 1704975"/>
                <a:gd name="connsiteX71" fmla="*/ 1264325 w 1293444"/>
                <a:gd name="connsiteY71" fmla="*/ 809625 h 1704975"/>
                <a:gd name="connsiteX72" fmla="*/ 1219875 w 1293444"/>
                <a:gd name="connsiteY72" fmla="*/ 819150 h 1704975"/>
                <a:gd name="connsiteX73" fmla="*/ 1200825 w 1293444"/>
                <a:gd name="connsiteY73" fmla="*/ 825500 h 1704975"/>
                <a:gd name="connsiteX74" fmla="*/ 1181775 w 1293444"/>
                <a:gd name="connsiteY74" fmla="*/ 838200 h 1704975"/>
                <a:gd name="connsiteX75" fmla="*/ 1172250 w 1293444"/>
                <a:gd name="connsiteY75" fmla="*/ 844550 h 1704975"/>
                <a:gd name="connsiteX76" fmla="*/ 1153200 w 1293444"/>
                <a:gd name="connsiteY76" fmla="*/ 850900 h 1704975"/>
                <a:gd name="connsiteX77" fmla="*/ 1140500 w 1293444"/>
                <a:gd name="connsiteY77" fmla="*/ 857250 h 1704975"/>
                <a:gd name="connsiteX78" fmla="*/ 1130975 w 1293444"/>
                <a:gd name="connsiteY78" fmla="*/ 863600 h 1704975"/>
                <a:gd name="connsiteX79" fmla="*/ 1105575 w 1293444"/>
                <a:gd name="connsiteY79" fmla="*/ 866775 h 1704975"/>
                <a:gd name="connsiteX80" fmla="*/ 1086525 w 1293444"/>
                <a:gd name="connsiteY80" fmla="*/ 873125 h 1704975"/>
                <a:gd name="connsiteX81" fmla="*/ 1077000 w 1293444"/>
                <a:gd name="connsiteY81" fmla="*/ 879475 h 1704975"/>
                <a:gd name="connsiteX82" fmla="*/ 1057950 w 1293444"/>
                <a:gd name="connsiteY82" fmla="*/ 885825 h 1704975"/>
                <a:gd name="connsiteX83" fmla="*/ 1048425 w 1293444"/>
                <a:gd name="connsiteY83" fmla="*/ 889000 h 1704975"/>
                <a:gd name="connsiteX84" fmla="*/ 1029375 w 1293444"/>
                <a:gd name="connsiteY84" fmla="*/ 908050 h 1704975"/>
                <a:gd name="connsiteX85" fmla="*/ 1010325 w 1293444"/>
                <a:gd name="connsiteY85" fmla="*/ 914400 h 1704975"/>
                <a:gd name="connsiteX86" fmla="*/ 1003975 w 1293444"/>
                <a:gd name="connsiteY86" fmla="*/ 923925 h 1704975"/>
                <a:gd name="connsiteX87" fmla="*/ 994450 w 1293444"/>
                <a:gd name="connsiteY87" fmla="*/ 933450 h 1704975"/>
                <a:gd name="connsiteX88" fmla="*/ 991275 w 1293444"/>
                <a:gd name="connsiteY88" fmla="*/ 942975 h 1704975"/>
                <a:gd name="connsiteX89" fmla="*/ 988100 w 1293444"/>
                <a:gd name="connsiteY89" fmla="*/ 962025 h 1704975"/>
                <a:gd name="connsiteX90" fmla="*/ 969050 w 1293444"/>
                <a:gd name="connsiteY90" fmla="*/ 968375 h 1704975"/>
                <a:gd name="connsiteX91" fmla="*/ 950000 w 1293444"/>
                <a:gd name="connsiteY91" fmla="*/ 981075 h 1704975"/>
                <a:gd name="connsiteX92" fmla="*/ 940475 w 1293444"/>
                <a:gd name="connsiteY92" fmla="*/ 987425 h 1704975"/>
                <a:gd name="connsiteX93" fmla="*/ 930950 w 1293444"/>
                <a:gd name="connsiteY93" fmla="*/ 1006475 h 1704975"/>
                <a:gd name="connsiteX94" fmla="*/ 924600 w 1293444"/>
                <a:gd name="connsiteY94" fmla="*/ 1016000 h 1704975"/>
                <a:gd name="connsiteX95" fmla="*/ 921425 w 1293444"/>
                <a:gd name="connsiteY95" fmla="*/ 1025525 h 1704975"/>
                <a:gd name="connsiteX96" fmla="*/ 905550 w 1293444"/>
                <a:gd name="connsiteY96" fmla="*/ 1044575 h 1704975"/>
                <a:gd name="connsiteX97" fmla="*/ 896025 w 1293444"/>
                <a:gd name="connsiteY97" fmla="*/ 1063625 h 1704975"/>
                <a:gd name="connsiteX98" fmla="*/ 867450 w 1293444"/>
                <a:gd name="connsiteY98" fmla="*/ 1085850 h 1704975"/>
                <a:gd name="connsiteX99" fmla="*/ 848400 w 1293444"/>
                <a:gd name="connsiteY99" fmla="*/ 1095375 h 1704975"/>
                <a:gd name="connsiteX100" fmla="*/ 813475 w 1293444"/>
                <a:gd name="connsiteY100" fmla="*/ 1092200 h 1704975"/>
                <a:gd name="connsiteX101" fmla="*/ 772200 w 1293444"/>
                <a:gd name="connsiteY101" fmla="*/ 1098550 h 1704975"/>
                <a:gd name="connsiteX102" fmla="*/ 759500 w 1293444"/>
                <a:gd name="connsiteY102" fmla="*/ 1127125 h 1704975"/>
                <a:gd name="connsiteX103" fmla="*/ 756325 w 1293444"/>
                <a:gd name="connsiteY103" fmla="*/ 1136650 h 1704975"/>
                <a:gd name="connsiteX104" fmla="*/ 740450 w 1293444"/>
                <a:gd name="connsiteY104" fmla="*/ 1155700 h 1704975"/>
                <a:gd name="connsiteX105" fmla="*/ 718225 w 1293444"/>
                <a:gd name="connsiteY105" fmla="*/ 1181100 h 1704975"/>
                <a:gd name="connsiteX106" fmla="*/ 721400 w 1293444"/>
                <a:gd name="connsiteY106" fmla="*/ 1238250 h 1704975"/>
                <a:gd name="connsiteX107" fmla="*/ 727750 w 1293444"/>
                <a:gd name="connsiteY107" fmla="*/ 1247775 h 1704975"/>
                <a:gd name="connsiteX108" fmla="*/ 730925 w 1293444"/>
                <a:gd name="connsiteY108" fmla="*/ 1257300 h 1704975"/>
                <a:gd name="connsiteX109" fmla="*/ 740450 w 1293444"/>
                <a:gd name="connsiteY109" fmla="*/ 1276350 h 1704975"/>
                <a:gd name="connsiteX110" fmla="*/ 743625 w 1293444"/>
                <a:gd name="connsiteY110" fmla="*/ 1320800 h 1704975"/>
                <a:gd name="connsiteX111" fmla="*/ 746800 w 1293444"/>
                <a:gd name="connsiteY111" fmla="*/ 1330325 h 1704975"/>
                <a:gd name="connsiteX112" fmla="*/ 756325 w 1293444"/>
                <a:gd name="connsiteY112" fmla="*/ 1336675 h 1704975"/>
                <a:gd name="connsiteX113" fmla="*/ 762675 w 1293444"/>
                <a:gd name="connsiteY113" fmla="*/ 1346200 h 1704975"/>
                <a:gd name="connsiteX114" fmla="*/ 769025 w 1293444"/>
                <a:gd name="connsiteY114" fmla="*/ 1393825 h 1704975"/>
                <a:gd name="connsiteX115" fmla="*/ 775375 w 1293444"/>
                <a:gd name="connsiteY115" fmla="*/ 1412875 h 1704975"/>
                <a:gd name="connsiteX116" fmla="*/ 781725 w 1293444"/>
                <a:gd name="connsiteY116" fmla="*/ 1435100 h 1704975"/>
                <a:gd name="connsiteX117" fmla="*/ 772200 w 1293444"/>
                <a:gd name="connsiteY117" fmla="*/ 1460500 h 1704975"/>
                <a:gd name="connsiteX118" fmla="*/ 762675 w 1293444"/>
                <a:gd name="connsiteY118" fmla="*/ 1466850 h 1704975"/>
                <a:gd name="connsiteX119" fmla="*/ 753150 w 1293444"/>
                <a:gd name="connsiteY119" fmla="*/ 1485900 h 1704975"/>
                <a:gd name="connsiteX120" fmla="*/ 749975 w 1293444"/>
                <a:gd name="connsiteY120" fmla="*/ 1514475 h 1704975"/>
                <a:gd name="connsiteX121" fmla="*/ 740450 w 1293444"/>
                <a:gd name="connsiteY121" fmla="*/ 1520825 h 1704975"/>
                <a:gd name="connsiteX122" fmla="*/ 730925 w 1293444"/>
                <a:gd name="connsiteY122" fmla="*/ 1530350 h 1704975"/>
                <a:gd name="connsiteX123" fmla="*/ 718225 w 1293444"/>
                <a:gd name="connsiteY123" fmla="*/ 1549400 h 1704975"/>
                <a:gd name="connsiteX124" fmla="*/ 711875 w 1293444"/>
                <a:gd name="connsiteY124" fmla="*/ 1558925 h 1704975"/>
                <a:gd name="connsiteX125" fmla="*/ 702350 w 1293444"/>
                <a:gd name="connsiteY125" fmla="*/ 1568450 h 1704975"/>
                <a:gd name="connsiteX126" fmla="*/ 699175 w 1293444"/>
                <a:gd name="connsiteY126" fmla="*/ 1577975 h 1704975"/>
                <a:gd name="connsiteX127" fmla="*/ 686475 w 1293444"/>
                <a:gd name="connsiteY127" fmla="*/ 1597025 h 1704975"/>
                <a:gd name="connsiteX128" fmla="*/ 676950 w 1293444"/>
                <a:gd name="connsiteY128" fmla="*/ 1616075 h 1704975"/>
                <a:gd name="connsiteX129" fmla="*/ 667425 w 1293444"/>
                <a:gd name="connsiteY129" fmla="*/ 1619250 h 1704975"/>
                <a:gd name="connsiteX130" fmla="*/ 648375 w 1293444"/>
                <a:gd name="connsiteY130" fmla="*/ 1631950 h 1704975"/>
                <a:gd name="connsiteX131" fmla="*/ 638850 w 1293444"/>
                <a:gd name="connsiteY131" fmla="*/ 1638300 h 1704975"/>
                <a:gd name="connsiteX132" fmla="*/ 607100 w 1293444"/>
                <a:gd name="connsiteY132" fmla="*/ 1676400 h 1704975"/>
                <a:gd name="connsiteX133" fmla="*/ 556300 w 1293444"/>
                <a:gd name="connsiteY133" fmla="*/ 1679575 h 1704975"/>
                <a:gd name="connsiteX134" fmla="*/ 537250 w 1293444"/>
                <a:gd name="connsiteY134" fmla="*/ 1685925 h 1704975"/>
                <a:gd name="connsiteX135" fmla="*/ 515025 w 1293444"/>
                <a:gd name="connsiteY135" fmla="*/ 1698625 h 1704975"/>
                <a:gd name="connsiteX136" fmla="*/ 495975 w 1293444"/>
                <a:gd name="connsiteY136" fmla="*/ 1704975 h 1704975"/>
                <a:gd name="connsiteX137" fmla="*/ 476925 w 1293444"/>
                <a:gd name="connsiteY137" fmla="*/ 1701800 h 1704975"/>
                <a:gd name="connsiteX138" fmla="*/ 470575 w 1293444"/>
                <a:gd name="connsiteY138" fmla="*/ 1692275 h 1704975"/>
                <a:gd name="connsiteX139" fmla="*/ 467400 w 1293444"/>
                <a:gd name="connsiteY139" fmla="*/ 1660525 h 1704975"/>
                <a:gd name="connsiteX140" fmla="*/ 457875 w 1293444"/>
                <a:gd name="connsiteY140" fmla="*/ 1641475 h 1704975"/>
                <a:gd name="connsiteX141" fmla="*/ 448350 w 1293444"/>
                <a:gd name="connsiteY141" fmla="*/ 1635125 h 1704975"/>
                <a:gd name="connsiteX142" fmla="*/ 445175 w 1293444"/>
                <a:gd name="connsiteY142" fmla="*/ 1625600 h 1704975"/>
                <a:gd name="connsiteX143" fmla="*/ 435650 w 1293444"/>
                <a:gd name="connsiteY143" fmla="*/ 1606550 h 1704975"/>
                <a:gd name="connsiteX144" fmla="*/ 432475 w 1293444"/>
                <a:gd name="connsiteY144" fmla="*/ 1495425 h 1704975"/>
                <a:gd name="connsiteX145" fmla="*/ 429300 w 1293444"/>
                <a:gd name="connsiteY145" fmla="*/ 1485900 h 1704975"/>
                <a:gd name="connsiteX146" fmla="*/ 426125 w 1293444"/>
                <a:gd name="connsiteY146" fmla="*/ 1473200 h 1704975"/>
                <a:gd name="connsiteX147" fmla="*/ 419775 w 1293444"/>
                <a:gd name="connsiteY147" fmla="*/ 1463675 h 1704975"/>
                <a:gd name="connsiteX148" fmla="*/ 416600 w 1293444"/>
                <a:gd name="connsiteY148" fmla="*/ 1454150 h 1704975"/>
                <a:gd name="connsiteX149" fmla="*/ 403900 w 1293444"/>
                <a:gd name="connsiteY149" fmla="*/ 1435100 h 1704975"/>
                <a:gd name="connsiteX150" fmla="*/ 397550 w 1293444"/>
                <a:gd name="connsiteY150" fmla="*/ 1416050 h 1704975"/>
                <a:gd name="connsiteX151" fmla="*/ 394375 w 1293444"/>
                <a:gd name="connsiteY151" fmla="*/ 1381125 h 1704975"/>
                <a:gd name="connsiteX152" fmla="*/ 391200 w 1293444"/>
                <a:gd name="connsiteY152" fmla="*/ 1368425 h 1704975"/>
                <a:gd name="connsiteX153" fmla="*/ 388025 w 1293444"/>
                <a:gd name="connsiteY153" fmla="*/ 1352550 h 1704975"/>
                <a:gd name="connsiteX154" fmla="*/ 381675 w 1293444"/>
                <a:gd name="connsiteY154" fmla="*/ 1333500 h 1704975"/>
                <a:gd name="connsiteX155" fmla="*/ 378500 w 1293444"/>
                <a:gd name="connsiteY155" fmla="*/ 1323975 h 1704975"/>
                <a:gd name="connsiteX156" fmla="*/ 375325 w 1293444"/>
                <a:gd name="connsiteY156" fmla="*/ 1308100 h 1704975"/>
                <a:gd name="connsiteX157" fmla="*/ 368975 w 1293444"/>
                <a:gd name="connsiteY157" fmla="*/ 1289050 h 1704975"/>
                <a:gd name="connsiteX158" fmla="*/ 362625 w 1293444"/>
                <a:gd name="connsiteY158" fmla="*/ 1260475 h 1704975"/>
                <a:gd name="connsiteX159" fmla="*/ 359450 w 1293444"/>
                <a:gd name="connsiteY159" fmla="*/ 1231900 h 1704975"/>
                <a:gd name="connsiteX160" fmla="*/ 349925 w 1293444"/>
                <a:gd name="connsiteY160" fmla="*/ 1196975 h 1704975"/>
                <a:gd name="connsiteX161" fmla="*/ 340400 w 1293444"/>
                <a:gd name="connsiteY161" fmla="*/ 1155700 h 1704975"/>
                <a:gd name="connsiteX162" fmla="*/ 334050 w 1293444"/>
                <a:gd name="connsiteY162" fmla="*/ 1130300 h 1704975"/>
                <a:gd name="connsiteX163" fmla="*/ 327700 w 1293444"/>
                <a:gd name="connsiteY163" fmla="*/ 1104900 h 1704975"/>
                <a:gd name="connsiteX164" fmla="*/ 324525 w 1293444"/>
                <a:gd name="connsiteY164" fmla="*/ 1092200 h 1704975"/>
                <a:gd name="connsiteX165" fmla="*/ 318175 w 1293444"/>
                <a:gd name="connsiteY165" fmla="*/ 1050925 h 1704975"/>
                <a:gd name="connsiteX166" fmla="*/ 315000 w 1293444"/>
                <a:gd name="connsiteY166" fmla="*/ 1031875 h 1704975"/>
                <a:gd name="connsiteX167" fmla="*/ 311825 w 1293444"/>
                <a:gd name="connsiteY167" fmla="*/ 1022350 h 1704975"/>
                <a:gd name="connsiteX168" fmla="*/ 308650 w 1293444"/>
                <a:gd name="connsiteY168" fmla="*/ 1006475 h 1704975"/>
                <a:gd name="connsiteX169" fmla="*/ 302300 w 1293444"/>
                <a:gd name="connsiteY169" fmla="*/ 987425 h 1704975"/>
                <a:gd name="connsiteX170" fmla="*/ 299125 w 1293444"/>
                <a:gd name="connsiteY170" fmla="*/ 974725 h 1704975"/>
                <a:gd name="connsiteX171" fmla="*/ 292775 w 1293444"/>
                <a:gd name="connsiteY171" fmla="*/ 955675 h 1704975"/>
                <a:gd name="connsiteX172" fmla="*/ 289600 w 1293444"/>
                <a:gd name="connsiteY172" fmla="*/ 946150 h 1704975"/>
                <a:gd name="connsiteX173" fmla="*/ 280075 w 1293444"/>
                <a:gd name="connsiteY173" fmla="*/ 923925 h 1704975"/>
                <a:gd name="connsiteX174" fmla="*/ 261025 w 1293444"/>
                <a:gd name="connsiteY174" fmla="*/ 908050 h 1704975"/>
                <a:gd name="connsiteX175" fmla="*/ 241975 w 1293444"/>
                <a:gd name="connsiteY175" fmla="*/ 901700 h 1704975"/>
                <a:gd name="connsiteX176" fmla="*/ 222925 w 1293444"/>
                <a:gd name="connsiteY176" fmla="*/ 889000 h 1704975"/>
                <a:gd name="connsiteX177" fmla="*/ 213400 w 1293444"/>
                <a:gd name="connsiteY177" fmla="*/ 885825 h 1704975"/>
                <a:gd name="connsiteX178" fmla="*/ 194350 w 1293444"/>
                <a:gd name="connsiteY178" fmla="*/ 873125 h 1704975"/>
                <a:gd name="connsiteX179" fmla="*/ 175300 w 1293444"/>
                <a:gd name="connsiteY179" fmla="*/ 860425 h 1704975"/>
                <a:gd name="connsiteX180" fmla="*/ 162600 w 1293444"/>
                <a:gd name="connsiteY180" fmla="*/ 850900 h 1704975"/>
                <a:gd name="connsiteX181" fmla="*/ 153075 w 1293444"/>
                <a:gd name="connsiteY181" fmla="*/ 847725 h 1704975"/>
                <a:gd name="connsiteX182" fmla="*/ 134025 w 1293444"/>
                <a:gd name="connsiteY182" fmla="*/ 835025 h 1704975"/>
                <a:gd name="connsiteX183" fmla="*/ 114975 w 1293444"/>
                <a:gd name="connsiteY183" fmla="*/ 822325 h 1704975"/>
                <a:gd name="connsiteX184" fmla="*/ 105450 w 1293444"/>
                <a:gd name="connsiteY184" fmla="*/ 815975 h 1704975"/>
                <a:gd name="connsiteX185" fmla="*/ 95925 w 1293444"/>
                <a:gd name="connsiteY185" fmla="*/ 812800 h 1704975"/>
                <a:gd name="connsiteX186" fmla="*/ 64175 w 1293444"/>
                <a:gd name="connsiteY186" fmla="*/ 790575 h 1704975"/>
                <a:gd name="connsiteX187" fmla="*/ 54650 w 1293444"/>
                <a:gd name="connsiteY187" fmla="*/ 787400 h 1704975"/>
                <a:gd name="connsiteX188" fmla="*/ 38775 w 1293444"/>
                <a:gd name="connsiteY188" fmla="*/ 771525 h 1704975"/>
                <a:gd name="connsiteX189" fmla="*/ 29250 w 1293444"/>
                <a:gd name="connsiteY189" fmla="*/ 762000 h 1704975"/>
                <a:gd name="connsiteX190" fmla="*/ 19725 w 1293444"/>
                <a:gd name="connsiteY190" fmla="*/ 758825 h 1704975"/>
                <a:gd name="connsiteX191" fmla="*/ 675 w 1293444"/>
                <a:gd name="connsiteY191" fmla="*/ 746125 h 1704975"/>
                <a:gd name="connsiteX192" fmla="*/ 51475 w 1293444"/>
                <a:gd name="connsiteY192" fmla="*/ 739775 h 1704975"/>
                <a:gd name="connsiteX193" fmla="*/ 67350 w 1293444"/>
                <a:gd name="connsiteY193" fmla="*/ 736600 h 1704975"/>
                <a:gd name="connsiteX194" fmla="*/ 102275 w 1293444"/>
                <a:gd name="connsiteY194" fmla="*/ 733425 h 1704975"/>
                <a:gd name="connsiteX195" fmla="*/ 130850 w 1293444"/>
                <a:gd name="connsiteY195" fmla="*/ 727075 h 1704975"/>
                <a:gd name="connsiteX196" fmla="*/ 149900 w 1293444"/>
                <a:gd name="connsiteY196" fmla="*/ 723900 h 1704975"/>
                <a:gd name="connsiteX197" fmla="*/ 159425 w 1293444"/>
                <a:gd name="connsiteY197" fmla="*/ 720725 h 1704975"/>
                <a:gd name="connsiteX198" fmla="*/ 175300 w 1293444"/>
                <a:gd name="connsiteY198" fmla="*/ 717550 h 1704975"/>
                <a:gd name="connsiteX199" fmla="*/ 194350 w 1293444"/>
                <a:gd name="connsiteY199" fmla="*/ 711200 h 1704975"/>
                <a:gd name="connsiteX200" fmla="*/ 222925 w 1293444"/>
                <a:gd name="connsiteY200" fmla="*/ 701675 h 1704975"/>
                <a:gd name="connsiteX201" fmla="*/ 232450 w 1293444"/>
                <a:gd name="connsiteY201" fmla="*/ 698500 h 1704975"/>
                <a:gd name="connsiteX202" fmla="*/ 241975 w 1293444"/>
                <a:gd name="connsiteY202" fmla="*/ 695325 h 1704975"/>
                <a:gd name="connsiteX203" fmla="*/ 381675 w 1293444"/>
                <a:gd name="connsiteY203" fmla="*/ 688975 h 1704975"/>
                <a:gd name="connsiteX204" fmla="*/ 397550 w 1293444"/>
                <a:gd name="connsiteY204" fmla="*/ 685800 h 1704975"/>
                <a:gd name="connsiteX205" fmla="*/ 407075 w 1293444"/>
                <a:gd name="connsiteY205" fmla="*/ 682625 h 1704975"/>
                <a:gd name="connsiteX206" fmla="*/ 419775 w 1293444"/>
                <a:gd name="connsiteY206" fmla="*/ 679450 h 1704975"/>
                <a:gd name="connsiteX207" fmla="*/ 438825 w 1293444"/>
                <a:gd name="connsiteY207" fmla="*/ 673100 h 1704975"/>
                <a:gd name="connsiteX208" fmla="*/ 467400 w 1293444"/>
                <a:gd name="connsiteY208" fmla="*/ 663575 h 1704975"/>
                <a:gd name="connsiteX209" fmla="*/ 495975 w 1293444"/>
                <a:gd name="connsiteY209" fmla="*/ 654050 h 1704975"/>
                <a:gd name="connsiteX210" fmla="*/ 505500 w 1293444"/>
                <a:gd name="connsiteY210" fmla="*/ 650875 h 1704975"/>
                <a:gd name="connsiteX211" fmla="*/ 527725 w 1293444"/>
                <a:gd name="connsiteY211" fmla="*/ 641350 h 1704975"/>
                <a:gd name="connsiteX212" fmla="*/ 537250 w 1293444"/>
                <a:gd name="connsiteY212" fmla="*/ 635000 h 1704975"/>
                <a:gd name="connsiteX213" fmla="*/ 546775 w 1293444"/>
                <a:gd name="connsiteY213" fmla="*/ 631825 h 1704975"/>
                <a:gd name="connsiteX214" fmla="*/ 559475 w 1293444"/>
                <a:gd name="connsiteY214" fmla="*/ 625475 h 1704975"/>
                <a:gd name="connsiteX215" fmla="*/ 578525 w 1293444"/>
                <a:gd name="connsiteY215" fmla="*/ 657225 h 1704975"/>
                <a:gd name="connsiteX216" fmla="*/ 588050 w 1293444"/>
                <a:gd name="connsiteY216" fmla="*/ 660400 h 1704975"/>
                <a:gd name="connsiteX217" fmla="*/ 607100 w 1293444"/>
                <a:gd name="connsiteY217" fmla="*/ 673100 h 1704975"/>
                <a:gd name="connsiteX218" fmla="*/ 626150 w 1293444"/>
                <a:gd name="connsiteY218" fmla="*/ 679450 h 1704975"/>
                <a:gd name="connsiteX219" fmla="*/ 635675 w 1293444"/>
                <a:gd name="connsiteY219" fmla="*/ 685800 h 1704975"/>
                <a:gd name="connsiteX220" fmla="*/ 654725 w 1293444"/>
                <a:gd name="connsiteY220" fmla="*/ 692150 h 1704975"/>
                <a:gd name="connsiteX221" fmla="*/ 645200 w 1293444"/>
                <a:gd name="connsiteY221" fmla="*/ 682625 h 1704975"/>
                <a:gd name="connsiteX222" fmla="*/ 635675 w 1293444"/>
                <a:gd name="connsiteY222" fmla="*/ 676275 h 1704975"/>
                <a:gd name="connsiteX223" fmla="*/ 632500 w 1293444"/>
                <a:gd name="connsiteY223" fmla="*/ 666750 h 1704975"/>
                <a:gd name="connsiteX224" fmla="*/ 635675 w 1293444"/>
                <a:gd name="connsiteY224" fmla="*/ 590550 h 1704975"/>
                <a:gd name="connsiteX225" fmla="*/ 642025 w 1293444"/>
                <a:gd name="connsiteY225" fmla="*/ 571500 h 1704975"/>
                <a:gd name="connsiteX226" fmla="*/ 648375 w 1293444"/>
                <a:gd name="connsiteY226" fmla="*/ 561975 h 1704975"/>
                <a:gd name="connsiteX227" fmla="*/ 638850 w 1293444"/>
                <a:gd name="connsiteY227" fmla="*/ 536575 h 1704975"/>
                <a:gd name="connsiteX228" fmla="*/ 629325 w 1293444"/>
                <a:gd name="connsiteY228" fmla="*/ 533400 h 1704975"/>
                <a:gd name="connsiteX229" fmla="*/ 626150 w 1293444"/>
                <a:gd name="connsiteY229" fmla="*/ 523875 h 1704975"/>
                <a:gd name="connsiteX230" fmla="*/ 632500 w 1293444"/>
                <a:gd name="connsiteY230" fmla="*/ 498475 h 1704975"/>
                <a:gd name="connsiteX231" fmla="*/ 635675 w 1293444"/>
                <a:gd name="connsiteY231" fmla="*/ 485775 h 1704975"/>
                <a:gd name="connsiteX232" fmla="*/ 626150 w 1293444"/>
                <a:gd name="connsiteY232" fmla="*/ 463550 h 1704975"/>
                <a:gd name="connsiteX233" fmla="*/ 616625 w 1293444"/>
                <a:gd name="connsiteY233" fmla="*/ 460375 h 1704975"/>
                <a:gd name="connsiteX234" fmla="*/ 607100 w 1293444"/>
                <a:gd name="connsiteY234" fmla="*/ 454025 h 1704975"/>
                <a:gd name="connsiteX235" fmla="*/ 591225 w 1293444"/>
                <a:gd name="connsiteY235" fmla="*/ 450850 h 1704975"/>
                <a:gd name="connsiteX236" fmla="*/ 569000 w 1293444"/>
                <a:gd name="connsiteY236" fmla="*/ 441325 h 1704975"/>
                <a:gd name="connsiteX237" fmla="*/ 546775 w 1293444"/>
                <a:gd name="connsiteY237" fmla="*/ 415925 h 1704975"/>
                <a:gd name="connsiteX238" fmla="*/ 540425 w 1293444"/>
                <a:gd name="connsiteY238" fmla="*/ 406400 h 1704975"/>
                <a:gd name="connsiteX239" fmla="*/ 530900 w 1293444"/>
                <a:gd name="connsiteY239" fmla="*/ 400050 h 1704975"/>
                <a:gd name="connsiteX240" fmla="*/ 508675 w 1293444"/>
                <a:gd name="connsiteY240" fmla="*/ 374650 h 1704975"/>
                <a:gd name="connsiteX241" fmla="*/ 502325 w 1293444"/>
                <a:gd name="connsiteY241" fmla="*/ 365125 h 1704975"/>
                <a:gd name="connsiteX242" fmla="*/ 483275 w 1293444"/>
                <a:gd name="connsiteY242" fmla="*/ 346075 h 1704975"/>
                <a:gd name="connsiteX243" fmla="*/ 486450 w 1293444"/>
                <a:gd name="connsiteY243" fmla="*/ 333375 h 1704975"/>
                <a:gd name="connsiteX244" fmla="*/ 492800 w 1293444"/>
                <a:gd name="connsiteY244" fmla="*/ 314325 h 1704975"/>
                <a:gd name="connsiteX245" fmla="*/ 489625 w 1293444"/>
                <a:gd name="connsiteY245" fmla="*/ 292100 h 1704975"/>
                <a:gd name="connsiteX246" fmla="*/ 461050 w 1293444"/>
                <a:gd name="connsiteY246" fmla="*/ 266700 h 1704975"/>
                <a:gd name="connsiteX247" fmla="*/ 435650 w 1293444"/>
                <a:gd name="connsiteY247" fmla="*/ 254000 h 1704975"/>
                <a:gd name="connsiteX248" fmla="*/ 413425 w 1293444"/>
                <a:gd name="connsiteY248" fmla="*/ 238125 h 1704975"/>
                <a:gd name="connsiteX249" fmla="*/ 403900 w 1293444"/>
                <a:gd name="connsiteY249" fmla="*/ 231775 h 1704975"/>
                <a:gd name="connsiteX250" fmla="*/ 388025 w 1293444"/>
                <a:gd name="connsiteY250" fmla="*/ 212725 h 1704975"/>
                <a:gd name="connsiteX251" fmla="*/ 372150 w 1293444"/>
                <a:gd name="connsiteY251" fmla="*/ 196850 h 1704975"/>
                <a:gd name="connsiteX252" fmla="*/ 365800 w 1293444"/>
                <a:gd name="connsiteY252" fmla="*/ 177800 h 1704975"/>
                <a:gd name="connsiteX253" fmla="*/ 359450 w 1293444"/>
                <a:gd name="connsiteY253" fmla="*/ 149225 h 1704975"/>
                <a:gd name="connsiteX254" fmla="*/ 362625 w 1293444"/>
                <a:gd name="connsiteY254" fmla="*/ 114300 h 1704975"/>
                <a:gd name="connsiteX255" fmla="*/ 368975 w 1293444"/>
                <a:gd name="connsiteY255" fmla="*/ 104775 h 1704975"/>
                <a:gd name="connsiteX256" fmla="*/ 375325 w 1293444"/>
                <a:gd name="connsiteY256"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65900 w 1293444"/>
                <a:gd name="connsiteY53" fmla="*/ 454025 h 1704975"/>
                <a:gd name="connsiteX54" fmla="*/ 1207175 w 1293444"/>
                <a:gd name="connsiteY54" fmla="*/ 457200 h 1704975"/>
                <a:gd name="connsiteX55" fmla="*/ 1216700 w 1293444"/>
                <a:gd name="connsiteY55" fmla="*/ 463550 h 1704975"/>
                <a:gd name="connsiteX56" fmla="*/ 1270675 w 1293444"/>
                <a:gd name="connsiteY56" fmla="*/ 469900 h 1704975"/>
                <a:gd name="connsiteX57" fmla="*/ 1277025 w 1293444"/>
                <a:gd name="connsiteY57" fmla="*/ 479425 h 1704975"/>
                <a:gd name="connsiteX58" fmla="*/ 1273850 w 1293444"/>
                <a:gd name="connsiteY58" fmla="*/ 488950 h 1704975"/>
                <a:gd name="connsiteX59" fmla="*/ 1270675 w 1293444"/>
                <a:gd name="connsiteY59" fmla="*/ 511175 h 1704975"/>
                <a:gd name="connsiteX60" fmla="*/ 1264325 w 1293444"/>
                <a:gd name="connsiteY60" fmla="*/ 530225 h 1704975"/>
                <a:gd name="connsiteX61" fmla="*/ 1261150 w 1293444"/>
                <a:gd name="connsiteY61" fmla="*/ 539750 h 1704975"/>
                <a:gd name="connsiteX62" fmla="*/ 1254800 w 1293444"/>
                <a:gd name="connsiteY62" fmla="*/ 571500 h 1704975"/>
                <a:gd name="connsiteX63" fmla="*/ 1254800 w 1293444"/>
                <a:gd name="connsiteY63" fmla="*/ 692150 h 1704975"/>
                <a:gd name="connsiteX64" fmla="*/ 1257975 w 1293444"/>
                <a:gd name="connsiteY64" fmla="*/ 714375 h 1704975"/>
                <a:gd name="connsiteX65" fmla="*/ 1261150 w 1293444"/>
                <a:gd name="connsiteY65" fmla="*/ 723900 h 1704975"/>
                <a:gd name="connsiteX66" fmla="*/ 1273850 w 1293444"/>
                <a:gd name="connsiteY66" fmla="*/ 727075 h 1704975"/>
                <a:gd name="connsiteX67" fmla="*/ 1292900 w 1293444"/>
                <a:gd name="connsiteY67" fmla="*/ 739775 h 1704975"/>
                <a:gd name="connsiteX68" fmla="*/ 1289725 w 1293444"/>
                <a:gd name="connsiteY68" fmla="*/ 784225 h 1704975"/>
                <a:gd name="connsiteX69" fmla="*/ 1273850 w 1293444"/>
                <a:gd name="connsiteY69" fmla="*/ 800100 h 1704975"/>
                <a:gd name="connsiteX70" fmla="*/ 1264325 w 1293444"/>
                <a:gd name="connsiteY70" fmla="*/ 809625 h 1704975"/>
                <a:gd name="connsiteX71" fmla="*/ 1219875 w 1293444"/>
                <a:gd name="connsiteY71" fmla="*/ 819150 h 1704975"/>
                <a:gd name="connsiteX72" fmla="*/ 1200825 w 1293444"/>
                <a:gd name="connsiteY72" fmla="*/ 825500 h 1704975"/>
                <a:gd name="connsiteX73" fmla="*/ 1181775 w 1293444"/>
                <a:gd name="connsiteY73" fmla="*/ 838200 h 1704975"/>
                <a:gd name="connsiteX74" fmla="*/ 1172250 w 1293444"/>
                <a:gd name="connsiteY74" fmla="*/ 844550 h 1704975"/>
                <a:gd name="connsiteX75" fmla="*/ 1153200 w 1293444"/>
                <a:gd name="connsiteY75" fmla="*/ 850900 h 1704975"/>
                <a:gd name="connsiteX76" fmla="*/ 1140500 w 1293444"/>
                <a:gd name="connsiteY76" fmla="*/ 857250 h 1704975"/>
                <a:gd name="connsiteX77" fmla="*/ 1130975 w 1293444"/>
                <a:gd name="connsiteY77" fmla="*/ 863600 h 1704975"/>
                <a:gd name="connsiteX78" fmla="*/ 1105575 w 1293444"/>
                <a:gd name="connsiteY78" fmla="*/ 866775 h 1704975"/>
                <a:gd name="connsiteX79" fmla="*/ 1086525 w 1293444"/>
                <a:gd name="connsiteY79" fmla="*/ 873125 h 1704975"/>
                <a:gd name="connsiteX80" fmla="*/ 1077000 w 1293444"/>
                <a:gd name="connsiteY80" fmla="*/ 879475 h 1704975"/>
                <a:gd name="connsiteX81" fmla="*/ 1057950 w 1293444"/>
                <a:gd name="connsiteY81" fmla="*/ 885825 h 1704975"/>
                <a:gd name="connsiteX82" fmla="*/ 1048425 w 1293444"/>
                <a:gd name="connsiteY82" fmla="*/ 889000 h 1704975"/>
                <a:gd name="connsiteX83" fmla="*/ 1029375 w 1293444"/>
                <a:gd name="connsiteY83" fmla="*/ 908050 h 1704975"/>
                <a:gd name="connsiteX84" fmla="*/ 1010325 w 1293444"/>
                <a:gd name="connsiteY84" fmla="*/ 914400 h 1704975"/>
                <a:gd name="connsiteX85" fmla="*/ 1003975 w 1293444"/>
                <a:gd name="connsiteY85" fmla="*/ 923925 h 1704975"/>
                <a:gd name="connsiteX86" fmla="*/ 994450 w 1293444"/>
                <a:gd name="connsiteY86" fmla="*/ 933450 h 1704975"/>
                <a:gd name="connsiteX87" fmla="*/ 991275 w 1293444"/>
                <a:gd name="connsiteY87" fmla="*/ 942975 h 1704975"/>
                <a:gd name="connsiteX88" fmla="*/ 988100 w 1293444"/>
                <a:gd name="connsiteY88" fmla="*/ 962025 h 1704975"/>
                <a:gd name="connsiteX89" fmla="*/ 969050 w 1293444"/>
                <a:gd name="connsiteY89" fmla="*/ 968375 h 1704975"/>
                <a:gd name="connsiteX90" fmla="*/ 950000 w 1293444"/>
                <a:gd name="connsiteY90" fmla="*/ 981075 h 1704975"/>
                <a:gd name="connsiteX91" fmla="*/ 940475 w 1293444"/>
                <a:gd name="connsiteY91" fmla="*/ 987425 h 1704975"/>
                <a:gd name="connsiteX92" fmla="*/ 930950 w 1293444"/>
                <a:gd name="connsiteY92" fmla="*/ 1006475 h 1704975"/>
                <a:gd name="connsiteX93" fmla="*/ 924600 w 1293444"/>
                <a:gd name="connsiteY93" fmla="*/ 1016000 h 1704975"/>
                <a:gd name="connsiteX94" fmla="*/ 921425 w 1293444"/>
                <a:gd name="connsiteY94" fmla="*/ 1025525 h 1704975"/>
                <a:gd name="connsiteX95" fmla="*/ 905550 w 1293444"/>
                <a:gd name="connsiteY95" fmla="*/ 1044575 h 1704975"/>
                <a:gd name="connsiteX96" fmla="*/ 896025 w 1293444"/>
                <a:gd name="connsiteY96" fmla="*/ 1063625 h 1704975"/>
                <a:gd name="connsiteX97" fmla="*/ 867450 w 1293444"/>
                <a:gd name="connsiteY97" fmla="*/ 1085850 h 1704975"/>
                <a:gd name="connsiteX98" fmla="*/ 848400 w 1293444"/>
                <a:gd name="connsiteY98" fmla="*/ 1095375 h 1704975"/>
                <a:gd name="connsiteX99" fmla="*/ 813475 w 1293444"/>
                <a:gd name="connsiteY99" fmla="*/ 1092200 h 1704975"/>
                <a:gd name="connsiteX100" fmla="*/ 772200 w 1293444"/>
                <a:gd name="connsiteY100" fmla="*/ 1098550 h 1704975"/>
                <a:gd name="connsiteX101" fmla="*/ 759500 w 1293444"/>
                <a:gd name="connsiteY101" fmla="*/ 1127125 h 1704975"/>
                <a:gd name="connsiteX102" fmla="*/ 756325 w 1293444"/>
                <a:gd name="connsiteY102" fmla="*/ 1136650 h 1704975"/>
                <a:gd name="connsiteX103" fmla="*/ 740450 w 1293444"/>
                <a:gd name="connsiteY103" fmla="*/ 1155700 h 1704975"/>
                <a:gd name="connsiteX104" fmla="*/ 718225 w 1293444"/>
                <a:gd name="connsiteY104" fmla="*/ 1181100 h 1704975"/>
                <a:gd name="connsiteX105" fmla="*/ 721400 w 1293444"/>
                <a:gd name="connsiteY105" fmla="*/ 1238250 h 1704975"/>
                <a:gd name="connsiteX106" fmla="*/ 727750 w 1293444"/>
                <a:gd name="connsiteY106" fmla="*/ 1247775 h 1704975"/>
                <a:gd name="connsiteX107" fmla="*/ 730925 w 1293444"/>
                <a:gd name="connsiteY107" fmla="*/ 1257300 h 1704975"/>
                <a:gd name="connsiteX108" fmla="*/ 740450 w 1293444"/>
                <a:gd name="connsiteY108" fmla="*/ 1276350 h 1704975"/>
                <a:gd name="connsiteX109" fmla="*/ 743625 w 1293444"/>
                <a:gd name="connsiteY109" fmla="*/ 1320800 h 1704975"/>
                <a:gd name="connsiteX110" fmla="*/ 746800 w 1293444"/>
                <a:gd name="connsiteY110" fmla="*/ 1330325 h 1704975"/>
                <a:gd name="connsiteX111" fmla="*/ 756325 w 1293444"/>
                <a:gd name="connsiteY111" fmla="*/ 1336675 h 1704975"/>
                <a:gd name="connsiteX112" fmla="*/ 762675 w 1293444"/>
                <a:gd name="connsiteY112" fmla="*/ 1346200 h 1704975"/>
                <a:gd name="connsiteX113" fmla="*/ 769025 w 1293444"/>
                <a:gd name="connsiteY113" fmla="*/ 1393825 h 1704975"/>
                <a:gd name="connsiteX114" fmla="*/ 775375 w 1293444"/>
                <a:gd name="connsiteY114" fmla="*/ 1412875 h 1704975"/>
                <a:gd name="connsiteX115" fmla="*/ 781725 w 1293444"/>
                <a:gd name="connsiteY115" fmla="*/ 1435100 h 1704975"/>
                <a:gd name="connsiteX116" fmla="*/ 772200 w 1293444"/>
                <a:gd name="connsiteY116" fmla="*/ 1460500 h 1704975"/>
                <a:gd name="connsiteX117" fmla="*/ 762675 w 1293444"/>
                <a:gd name="connsiteY117" fmla="*/ 1466850 h 1704975"/>
                <a:gd name="connsiteX118" fmla="*/ 753150 w 1293444"/>
                <a:gd name="connsiteY118" fmla="*/ 1485900 h 1704975"/>
                <a:gd name="connsiteX119" fmla="*/ 749975 w 1293444"/>
                <a:gd name="connsiteY119" fmla="*/ 1514475 h 1704975"/>
                <a:gd name="connsiteX120" fmla="*/ 740450 w 1293444"/>
                <a:gd name="connsiteY120" fmla="*/ 1520825 h 1704975"/>
                <a:gd name="connsiteX121" fmla="*/ 730925 w 1293444"/>
                <a:gd name="connsiteY121" fmla="*/ 1530350 h 1704975"/>
                <a:gd name="connsiteX122" fmla="*/ 718225 w 1293444"/>
                <a:gd name="connsiteY122" fmla="*/ 1549400 h 1704975"/>
                <a:gd name="connsiteX123" fmla="*/ 711875 w 1293444"/>
                <a:gd name="connsiteY123" fmla="*/ 1558925 h 1704975"/>
                <a:gd name="connsiteX124" fmla="*/ 702350 w 1293444"/>
                <a:gd name="connsiteY124" fmla="*/ 1568450 h 1704975"/>
                <a:gd name="connsiteX125" fmla="*/ 699175 w 1293444"/>
                <a:gd name="connsiteY125" fmla="*/ 1577975 h 1704975"/>
                <a:gd name="connsiteX126" fmla="*/ 686475 w 1293444"/>
                <a:gd name="connsiteY126" fmla="*/ 1597025 h 1704975"/>
                <a:gd name="connsiteX127" fmla="*/ 676950 w 1293444"/>
                <a:gd name="connsiteY127" fmla="*/ 1616075 h 1704975"/>
                <a:gd name="connsiteX128" fmla="*/ 667425 w 1293444"/>
                <a:gd name="connsiteY128" fmla="*/ 1619250 h 1704975"/>
                <a:gd name="connsiteX129" fmla="*/ 648375 w 1293444"/>
                <a:gd name="connsiteY129" fmla="*/ 1631950 h 1704975"/>
                <a:gd name="connsiteX130" fmla="*/ 638850 w 1293444"/>
                <a:gd name="connsiteY130" fmla="*/ 1638300 h 1704975"/>
                <a:gd name="connsiteX131" fmla="*/ 607100 w 1293444"/>
                <a:gd name="connsiteY131" fmla="*/ 1676400 h 1704975"/>
                <a:gd name="connsiteX132" fmla="*/ 556300 w 1293444"/>
                <a:gd name="connsiteY132" fmla="*/ 1679575 h 1704975"/>
                <a:gd name="connsiteX133" fmla="*/ 537250 w 1293444"/>
                <a:gd name="connsiteY133" fmla="*/ 1685925 h 1704975"/>
                <a:gd name="connsiteX134" fmla="*/ 515025 w 1293444"/>
                <a:gd name="connsiteY134" fmla="*/ 1698625 h 1704975"/>
                <a:gd name="connsiteX135" fmla="*/ 495975 w 1293444"/>
                <a:gd name="connsiteY135" fmla="*/ 1704975 h 1704975"/>
                <a:gd name="connsiteX136" fmla="*/ 476925 w 1293444"/>
                <a:gd name="connsiteY136" fmla="*/ 1701800 h 1704975"/>
                <a:gd name="connsiteX137" fmla="*/ 470575 w 1293444"/>
                <a:gd name="connsiteY137" fmla="*/ 1692275 h 1704975"/>
                <a:gd name="connsiteX138" fmla="*/ 467400 w 1293444"/>
                <a:gd name="connsiteY138" fmla="*/ 1660525 h 1704975"/>
                <a:gd name="connsiteX139" fmla="*/ 457875 w 1293444"/>
                <a:gd name="connsiteY139" fmla="*/ 1641475 h 1704975"/>
                <a:gd name="connsiteX140" fmla="*/ 448350 w 1293444"/>
                <a:gd name="connsiteY140" fmla="*/ 1635125 h 1704975"/>
                <a:gd name="connsiteX141" fmla="*/ 445175 w 1293444"/>
                <a:gd name="connsiteY141" fmla="*/ 1625600 h 1704975"/>
                <a:gd name="connsiteX142" fmla="*/ 435650 w 1293444"/>
                <a:gd name="connsiteY142" fmla="*/ 1606550 h 1704975"/>
                <a:gd name="connsiteX143" fmla="*/ 432475 w 1293444"/>
                <a:gd name="connsiteY143" fmla="*/ 1495425 h 1704975"/>
                <a:gd name="connsiteX144" fmla="*/ 429300 w 1293444"/>
                <a:gd name="connsiteY144" fmla="*/ 1485900 h 1704975"/>
                <a:gd name="connsiteX145" fmla="*/ 426125 w 1293444"/>
                <a:gd name="connsiteY145" fmla="*/ 1473200 h 1704975"/>
                <a:gd name="connsiteX146" fmla="*/ 419775 w 1293444"/>
                <a:gd name="connsiteY146" fmla="*/ 1463675 h 1704975"/>
                <a:gd name="connsiteX147" fmla="*/ 416600 w 1293444"/>
                <a:gd name="connsiteY147" fmla="*/ 1454150 h 1704975"/>
                <a:gd name="connsiteX148" fmla="*/ 403900 w 1293444"/>
                <a:gd name="connsiteY148" fmla="*/ 1435100 h 1704975"/>
                <a:gd name="connsiteX149" fmla="*/ 397550 w 1293444"/>
                <a:gd name="connsiteY149" fmla="*/ 1416050 h 1704975"/>
                <a:gd name="connsiteX150" fmla="*/ 394375 w 1293444"/>
                <a:gd name="connsiteY150" fmla="*/ 1381125 h 1704975"/>
                <a:gd name="connsiteX151" fmla="*/ 391200 w 1293444"/>
                <a:gd name="connsiteY151" fmla="*/ 1368425 h 1704975"/>
                <a:gd name="connsiteX152" fmla="*/ 388025 w 1293444"/>
                <a:gd name="connsiteY152" fmla="*/ 1352550 h 1704975"/>
                <a:gd name="connsiteX153" fmla="*/ 381675 w 1293444"/>
                <a:gd name="connsiteY153" fmla="*/ 1333500 h 1704975"/>
                <a:gd name="connsiteX154" fmla="*/ 378500 w 1293444"/>
                <a:gd name="connsiteY154" fmla="*/ 1323975 h 1704975"/>
                <a:gd name="connsiteX155" fmla="*/ 375325 w 1293444"/>
                <a:gd name="connsiteY155" fmla="*/ 1308100 h 1704975"/>
                <a:gd name="connsiteX156" fmla="*/ 368975 w 1293444"/>
                <a:gd name="connsiteY156" fmla="*/ 1289050 h 1704975"/>
                <a:gd name="connsiteX157" fmla="*/ 362625 w 1293444"/>
                <a:gd name="connsiteY157" fmla="*/ 1260475 h 1704975"/>
                <a:gd name="connsiteX158" fmla="*/ 359450 w 1293444"/>
                <a:gd name="connsiteY158" fmla="*/ 1231900 h 1704975"/>
                <a:gd name="connsiteX159" fmla="*/ 349925 w 1293444"/>
                <a:gd name="connsiteY159" fmla="*/ 1196975 h 1704975"/>
                <a:gd name="connsiteX160" fmla="*/ 340400 w 1293444"/>
                <a:gd name="connsiteY160" fmla="*/ 1155700 h 1704975"/>
                <a:gd name="connsiteX161" fmla="*/ 334050 w 1293444"/>
                <a:gd name="connsiteY161" fmla="*/ 1130300 h 1704975"/>
                <a:gd name="connsiteX162" fmla="*/ 327700 w 1293444"/>
                <a:gd name="connsiteY162" fmla="*/ 1104900 h 1704975"/>
                <a:gd name="connsiteX163" fmla="*/ 324525 w 1293444"/>
                <a:gd name="connsiteY163" fmla="*/ 1092200 h 1704975"/>
                <a:gd name="connsiteX164" fmla="*/ 318175 w 1293444"/>
                <a:gd name="connsiteY164" fmla="*/ 1050925 h 1704975"/>
                <a:gd name="connsiteX165" fmla="*/ 315000 w 1293444"/>
                <a:gd name="connsiteY165" fmla="*/ 1031875 h 1704975"/>
                <a:gd name="connsiteX166" fmla="*/ 311825 w 1293444"/>
                <a:gd name="connsiteY166" fmla="*/ 1022350 h 1704975"/>
                <a:gd name="connsiteX167" fmla="*/ 308650 w 1293444"/>
                <a:gd name="connsiteY167" fmla="*/ 1006475 h 1704975"/>
                <a:gd name="connsiteX168" fmla="*/ 302300 w 1293444"/>
                <a:gd name="connsiteY168" fmla="*/ 987425 h 1704975"/>
                <a:gd name="connsiteX169" fmla="*/ 299125 w 1293444"/>
                <a:gd name="connsiteY169" fmla="*/ 974725 h 1704975"/>
                <a:gd name="connsiteX170" fmla="*/ 292775 w 1293444"/>
                <a:gd name="connsiteY170" fmla="*/ 955675 h 1704975"/>
                <a:gd name="connsiteX171" fmla="*/ 289600 w 1293444"/>
                <a:gd name="connsiteY171" fmla="*/ 946150 h 1704975"/>
                <a:gd name="connsiteX172" fmla="*/ 280075 w 1293444"/>
                <a:gd name="connsiteY172" fmla="*/ 923925 h 1704975"/>
                <a:gd name="connsiteX173" fmla="*/ 261025 w 1293444"/>
                <a:gd name="connsiteY173" fmla="*/ 908050 h 1704975"/>
                <a:gd name="connsiteX174" fmla="*/ 241975 w 1293444"/>
                <a:gd name="connsiteY174" fmla="*/ 901700 h 1704975"/>
                <a:gd name="connsiteX175" fmla="*/ 222925 w 1293444"/>
                <a:gd name="connsiteY175" fmla="*/ 889000 h 1704975"/>
                <a:gd name="connsiteX176" fmla="*/ 213400 w 1293444"/>
                <a:gd name="connsiteY176" fmla="*/ 885825 h 1704975"/>
                <a:gd name="connsiteX177" fmla="*/ 194350 w 1293444"/>
                <a:gd name="connsiteY177" fmla="*/ 873125 h 1704975"/>
                <a:gd name="connsiteX178" fmla="*/ 175300 w 1293444"/>
                <a:gd name="connsiteY178" fmla="*/ 860425 h 1704975"/>
                <a:gd name="connsiteX179" fmla="*/ 162600 w 1293444"/>
                <a:gd name="connsiteY179" fmla="*/ 850900 h 1704975"/>
                <a:gd name="connsiteX180" fmla="*/ 153075 w 1293444"/>
                <a:gd name="connsiteY180" fmla="*/ 847725 h 1704975"/>
                <a:gd name="connsiteX181" fmla="*/ 134025 w 1293444"/>
                <a:gd name="connsiteY181" fmla="*/ 835025 h 1704975"/>
                <a:gd name="connsiteX182" fmla="*/ 114975 w 1293444"/>
                <a:gd name="connsiteY182" fmla="*/ 822325 h 1704975"/>
                <a:gd name="connsiteX183" fmla="*/ 105450 w 1293444"/>
                <a:gd name="connsiteY183" fmla="*/ 815975 h 1704975"/>
                <a:gd name="connsiteX184" fmla="*/ 95925 w 1293444"/>
                <a:gd name="connsiteY184" fmla="*/ 812800 h 1704975"/>
                <a:gd name="connsiteX185" fmla="*/ 64175 w 1293444"/>
                <a:gd name="connsiteY185" fmla="*/ 790575 h 1704975"/>
                <a:gd name="connsiteX186" fmla="*/ 54650 w 1293444"/>
                <a:gd name="connsiteY186" fmla="*/ 787400 h 1704975"/>
                <a:gd name="connsiteX187" fmla="*/ 38775 w 1293444"/>
                <a:gd name="connsiteY187" fmla="*/ 771525 h 1704975"/>
                <a:gd name="connsiteX188" fmla="*/ 29250 w 1293444"/>
                <a:gd name="connsiteY188" fmla="*/ 762000 h 1704975"/>
                <a:gd name="connsiteX189" fmla="*/ 19725 w 1293444"/>
                <a:gd name="connsiteY189" fmla="*/ 758825 h 1704975"/>
                <a:gd name="connsiteX190" fmla="*/ 675 w 1293444"/>
                <a:gd name="connsiteY190" fmla="*/ 746125 h 1704975"/>
                <a:gd name="connsiteX191" fmla="*/ 51475 w 1293444"/>
                <a:gd name="connsiteY191" fmla="*/ 739775 h 1704975"/>
                <a:gd name="connsiteX192" fmla="*/ 67350 w 1293444"/>
                <a:gd name="connsiteY192" fmla="*/ 736600 h 1704975"/>
                <a:gd name="connsiteX193" fmla="*/ 102275 w 1293444"/>
                <a:gd name="connsiteY193" fmla="*/ 733425 h 1704975"/>
                <a:gd name="connsiteX194" fmla="*/ 130850 w 1293444"/>
                <a:gd name="connsiteY194" fmla="*/ 727075 h 1704975"/>
                <a:gd name="connsiteX195" fmla="*/ 149900 w 1293444"/>
                <a:gd name="connsiteY195" fmla="*/ 723900 h 1704975"/>
                <a:gd name="connsiteX196" fmla="*/ 159425 w 1293444"/>
                <a:gd name="connsiteY196" fmla="*/ 720725 h 1704975"/>
                <a:gd name="connsiteX197" fmla="*/ 175300 w 1293444"/>
                <a:gd name="connsiteY197" fmla="*/ 717550 h 1704975"/>
                <a:gd name="connsiteX198" fmla="*/ 194350 w 1293444"/>
                <a:gd name="connsiteY198" fmla="*/ 711200 h 1704975"/>
                <a:gd name="connsiteX199" fmla="*/ 222925 w 1293444"/>
                <a:gd name="connsiteY199" fmla="*/ 701675 h 1704975"/>
                <a:gd name="connsiteX200" fmla="*/ 232450 w 1293444"/>
                <a:gd name="connsiteY200" fmla="*/ 698500 h 1704975"/>
                <a:gd name="connsiteX201" fmla="*/ 241975 w 1293444"/>
                <a:gd name="connsiteY201" fmla="*/ 695325 h 1704975"/>
                <a:gd name="connsiteX202" fmla="*/ 381675 w 1293444"/>
                <a:gd name="connsiteY202" fmla="*/ 688975 h 1704975"/>
                <a:gd name="connsiteX203" fmla="*/ 397550 w 1293444"/>
                <a:gd name="connsiteY203" fmla="*/ 685800 h 1704975"/>
                <a:gd name="connsiteX204" fmla="*/ 407075 w 1293444"/>
                <a:gd name="connsiteY204" fmla="*/ 682625 h 1704975"/>
                <a:gd name="connsiteX205" fmla="*/ 419775 w 1293444"/>
                <a:gd name="connsiteY205" fmla="*/ 679450 h 1704975"/>
                <a:gd name="connsiteX206" fmla="*/ 438825 w 1293444"/>
                <a:gd name="connsiteY206" fmla="*/ 673100 h 1704975"/>
                <a:gd name="connsiteX207" fmla="*/ 467400 w 1293444"/>
                <a:gd name="connsiteY207" fmla="*/ 663575 h 1704975"/>
                <a:gd name="connsiteX208" fmla="*/ 495975 w 1293444"/>
                <a:gd name="connsiteY208" fmla="*/ 654050 h 1704975"/>
                <a:gd name="connsiteX209" fmla="*/ 505500 w 1293444"/>
                <a:gd name="connsiteY209" fmla="*/ 650875 h 1704975"/>
                <a:gd name="connsiteX210" fmla="*/ 527725 w 1293444"/>
                <a:gd name="connsiteY210" fmla="*/ 641350 h 1704975"/>
                <a:gd name="connsiteX211" fmla="*/ 537250 w 1293444"/>
                <a:gd name="connsiteY211" fmla="*/ 635000 h 1704975"/>
                <a:gd name="connsiteX212" fmla="*/ 546775 w 1293444"/>
                <a:gd name="connsiteY212" fmla="*/ 631825 h 1704975"/>
                <a:gd name="connsiteX213" fmla="*/ 559475 w 1293444"/>
                <a:gd name="connsiteY213" fmla="*/ 625475 h 1704975"/>
                <a:gd name="connsiteX214" fmla="*/ 578525 w 1293444"/>
                <a:gd name="connsiteY214" fmla="*/ 657225 h 1704975"/>
                <a:gd name="connsiteX215" fmla="*/ 588050 w 1293444"/>
                <a:gd name="connsiteY215" fmla="*/ 660400 h 1704975"/>
                <a:gd name="connsiteX216" fmla="*/ 607100 w 1293444"/>
                <a:gd name="connsiteY216" fmla="*/ 673100 h 1704975"/>
                <a:gd name="connsiteX217" fmla="*/ 626150 w 1293444"/>
                <a:gd name="connsiteY217" fmla="*/ 679450 h 1704975"/>
                <a:gd name="connsiteX218" fmla="*/ 635675 w 1293444"/>
                <a:gd name="connsiteY218" fmla="*/ 685800 h 1704975"/>
                <a:gd name="connsiteX219" fmla="*/ 654725 w 1293444"/>
                <a:gd name="connsiteY219" fmla="*/ 692150 h 1704975"/>
                <a:gd name="connsiteX220" fmla="*/ 645200 w 1293444"/>
                <a:gd name="connsiteY220" fmla="*/ 682625 h 1704975"/>
                <a:gd name="connsiteX221" fmla="*/ 635675 w 1293444"/>
                <a:gd name="connsiteY221" fmla="*/ 676275 h 1704975"/>
                <a:gd name="connsiteX222" fmla="*/ 632500 w 1293444"/>
                <a:gd name="connsiteY222" fmla="*/ 666750 h 1704975"/>
                <a:gd name="connsiteX223" fmla="*/ 635675 w 1293444"/>
                <a:gd name="connsiteY223" fmla="*/ 590550 h 1704975"/>
                <a:gd name="connsiteX224" fmla="*/ 642025 w 1293444"/>
                <a:gd name="connsiteY224" fmla="*/ 571500 h 1704975"/>
                <a:gd name="connsiteX225" fmla="*/ 648375 w 1293444"/>
                <a:gd name="connsiteY225" fmla="*/ 561975 h 1704975"/>
                <a:gd name="connsiteX226" fmla="*/ 638850 w 1293444"/>
                <a:gd name="connsiteY226" fmla="*/ 536575 h 1704975"/>
                <a:gd name="connsiteX227" fmla="*/ 629325 w 1293444"/>
                <a:gd name="connsiteY227" fmla="*/ 533400 h 1704975"/>
                <a:gd name="connsiteX228" fmla="*/ 626150 w 1293444"/>
                <a:gd name="connsiteY228" fmla="*/ 523875 h 1704975"/>
                <a:gd name="connsiteX229" fmla="*/ 632500 w 1293444"/>
                <a:gd name="connsiteY229" fmla="*/ 498475 h 1704975"/>
                <a:gd name="connsiteX230" fmla="*/ 635675 w 1293444"/>
                <a:gd name="connsiteY230" fmla="*/ 485775 h 1704975"/>
                <a:gd name="connsiteX231" fmla="*/ 626150 w 1293444"/>
                <a:gd name="connsiteY231" fmla="*/ 463550 h 1704975"/>
                <a:gd name="connsiteX232" fmla="*/ 616625 w 1293444"/>
                <a:gd name="connsiteY232" fmla="*/ 460375 h 1704975"/>
                <a:gd name="connsiteX233" fmla="*/ 607100 w 1293444"/>
                <a:gd name="connsiteY233" fmla="*/ 454025 h 1704975"/>
                <a:gd name="connsiteX234" fmla="*/ 591225 w 1293444"/>
                <a:gd name="connsiteY234" fmla="*/ 450850 h 1704975"/>
                <a:gd name="connsiteX235" fmla="*/ 569000 w 1293444"/>
                <a:gd name="connsiteY235" fmla="*/ 441325 h 1704975"/>
                <a:gd name="connsiteX236" fmla="*/ 546775 w 1293444"/>
                <a:gd name="connsiteY236" fmla="*/ 415925 h 1704975"/>
                <a:gd name="connsiteX237" fmla="*/ 540425 w 1293444"/>
                <a:gd name="connsiteY237" fmla="*/ 406400 h 1704975"/>
                <a:gd name="connsiteX238" fmla="*/ 530900 w 1293444"/>
                <a:gd name="connsiteY238" fmla="*/ 400050 h 1704975"/>
                <a:gd name="connsiteX239" fmla="*/ 508675 w 1293444"/>
                <a:gd name="connsiteY239" fmla="*/ 374650 h 1704975"/>
                <a:gd name="connsiteX240" fmla="*/ 502325 w 1293444"/>
                <a:gd name="connsiteY240" fmla="*/ 365125 h 1704975"/>
                <a:gd name="connsiteX241" fmla="*/ 483275 w 1293444"/>
                <a:gd name="connsiteY241" fmla="*/ 346075 h 1704975"/>
                <a:gd name="connsiteX242" fmla="*/ 486450 w 1293444"/>
                <a:gd name="connsiteY242" fmla="*/ 333375 h 1704975"/>
                <a:gd name="connsiteX243" fmla="*/ 492800 w 1293444"/>
                <a:gd name="connsiteY243" fmla="*/ 314325 h 1704975"/>
                <a:gd name="connsiteX244" fmla="*/ 489625 w 1293444"/>
                <a:gd name="connsiteY244" fmla="*/ 292100 h 1704975"/>
                <a:gd name="connsiteX245" fmla="*/ 461050 w 1293444"/>
                <a:gd name="connsiteY245" fmla="*/ 266700 h 1704975"/>
                <a:gd name="connsiteX246" fmla="*/ 435650 w 1293444"/>
                <a:gd name="connsiteY246" fmla="*/ 254000 h 1704975"/>
                <a:gd name="connsiteX247" fmla="*/ 413425 w 1293444"/>
                <a:gd name="connsiteY247" fmla="*/ 238125 h 1704975"/>
                <a:gd name="connsiteX248" fmla="*/ 403900 w 1293444"/>
                <a:gd name="connsiteY248" fmla="*/ 231775 h 1704975"/>
                <a:gd name="connsiteX249" fmla="*/ 388025 w 1293444"/>
                <a:gd name="connsiteY249" fmla="*/ 212725 h 1704975"/>
                <a:gd name="connsiteX250" fmla="*/ 372150 w 1293444"/>
                <a:gd name="connsiteY250" fmla="*/ 196850 h 1704975"/>
                <a:gd name="connsiteX251" fmla="*/ 365800 w 1293444"/>
                <a:gd name="connsiteY251" fmla="*/ 177800 h 1704975"/>
                <a:gd name="connsiteX252" fmla="*/ 359450 w 1293444"/>
                <a:gd name="connsiteY252" fmla="*/ 149225 h 1704975"/>
                <a:gd name="connsiteX253" fmla="*/ 362625 w 1293444"/>
                <a:gd name="connsiteY253" fmla="*/ 114300 h 1704975"/>
                <a:gd name="connsiteX254" fmla="*/ 368975 w 1293444"/>
                <a:gd name="connsiteY254" fmla="*/ 104775 h 1704975"/>
                <a:gd name="connsiteX255" fmla="*/ 375325 w 1293444"/>
                <a:gd name="connsiteY255"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48350 w 1293444"/>
                <a:gd name="connsiteY139" fmla="*/ 1635125 h 1704975"/>
                <a:gd name="connsiteX140" fmla="*/ 445175 w 1293444"/>
                <a:gd name="connsiteY140" fmla="*/ 1625600 h 1704975"/>
                <a:gd name="connsiteX141" fmla="*/ 435650 w 1293444"/>
                <a:gd name="connsiteY141" fmla="*/ 1606550 h 1704975"/>
                <a:gd name="connsiteX142" fmla="*/ 432475 w 1293444"/>
                <a:gd name="connsiteY142" fmla="*/ 1495425 h 1704975"/>
                <a:gd name="connsiteX143" fmla="*/ 429300 w 1293444"/>
                <a:gd name="connsiteY143" fmla="*/ 1485900 h 1704975"/>
                <a:gd name="connsiteX144" fmla="*/ 426125 w 1293444"/>
                <a:gd name="connsiteY144" fmla="*/ 1473200 h 1704975"/>
                <a:gd name="connsiteX145" fmla="*/ 419775 w 1293444"/>
                <a:gd name="connsiteY145" fmla="*/ 1463675 h 1704975"/>
                <a:gd name="connsiteX146" fmla="*/ 416600 w 1293444"/>
                <a:gd name="connsiteY146" fmla="*/ 1454150 h 1704975"/>
                <a:gd name="connsiteX147" fmla="*/ 403900 w 1293444"/>
                <a:gd name="connsiteY147" fmla="*/ 1435100 h 1704975"/>
                <a:gd name="connsiteX148" fmla="*/ 397550 w 1293444"/>
                <a:gd name="connsiteY148" fmla="*/ 1416050 h 1704975"/>
                <a:gd name="connsiteX149" fmla="*/ 394375 w 1293444"/>
                <a:gd name="connsiteY149" fmla="*/ 1381125 h 1704975"/>
                <a:gd name="connsiteX150" fmla="*/ 391200 w 1293444"/>
                <a:gd name="connsiteY150" fmla="*/ 1368425 h 1704975"/>
                <a:gd name="connsiteX151" fmla="*/ 388025 w 1293444"/>
                <a:gd name="connsiteY151" fmla="*/ 1352550 h 1704975"/>
                <a:gd name="connsiteX152" fmla="*/ 381675 w 1293444"/>
                <a:gd name="connsiteY152" fmla="*/ 1333500 h 1704975"/>
                <a:gd name="connsiteX153" fmla="*/ 378500 w 1293444"/>
                <a:gd name="connsiteY153" fmla="*/ 1323975 h 1704975"/>
                <a:gd name="connsiteX154" fmla="*/ 375325 w 1293444"/>
                <a:gd name="connsiteY154" fmla="*/ 1308100 h 1704975"/>
                <a:gd name="connsiteX155" fmla="*/ 368975 w 1293444"/>
                <a:gd name="connsiteY155" fmla="*/ 1289050 h 1704975"/>
                <a:gd name="connsiteX156" fmla="*/ 362625 w 1293444"/>
                <a:gd name="connsiteY156" fmla="*/ 1260475 h 1704975"/>
                <a:gd name="connsiteX157" fmla="*/ 359450 w 1293444"/>
                <a:gd name="connsiteY157" fmla="*/ 1231900 h 1704975"/>
                <a:gd name="connsiteX158" fmla="*/ 349925 w 1293444"/>
                <a:gd name="connsiteY158" fmla="*/ 1196975 h 1704975"/>
                <a:gd name="connsiteX159" fmla="*/ 340400 w 1293444"/>
                <a:gd name="connsiteY159" fmla="*/ 1155700 h 1704975"/>
                <a:gd name="connsiteX160" fmla="*/ 334050 w 1293444"/>
                <a:gd name="connsiteY160" fmla="*/ 1130300 h 1704975"/>
                <a:gd name="connsiteX161" fmla="*/ 327700 w 1293444"/>
                <a:gd name="connsiteY161" fmla="*/ 1104900 h 1704975"/>
                <a:gd name="connsiteX162" fmla="*/ 324525 w 1293444"/>
                <a:gd name="connsiteY162" fmla="*/ 1092200 h 1704975"/>
                <a:gd name="connsiteX163" fmla="*/ 318175 w 1293444"/>
                <a:gd name="connsiteY163" fmla="*/ 1050925 h 1704975"/>
                <a:gd name="connsiteX164" fmla="*/ 315000 w 1293444"/>
                <a:gd name="connsiteY164" fmla="*/ 1031875 h 1704975"/>
                <a:gd name="connsiteX165" fmla="*/ 311825 w 1293444"/>
                <a:gd name="connsiteY165" fmla="*/ 1022350 h 1704975"/>
                <a:gd name="connsiteX166" fmla="*/ 308650 w 1293444"/>
                <a:gd name="connsiteY166" fmla="*/ 1006475 h 1704975"/>
                <a:gd name="connsiteX167" fmla="*/ 302300 w 1293444"/>
                <a:gd name="connsiteY167" fmla="*/ 987425 h 1704975"/>
                <a:gd name="connsiteX168" fmla="*/ 299125 w 1293444"/>
                <a:gd name="connsiteY168" fmla="*/ 974725 h 1704975"/>
                <a:gd name="connsiteX169" fmla="*/ 292775 w 1293444"/>
                <a:gd name="connsiteY169" fmla="*/ 955675 h 1704975"/>
                <a:gd name="connsiteX170" fmla="*/ 289600 w 1293444"/>
                <a:gd name="connsiteY170" fmla="*/ 946150 h 1704975"/>
                <a:gd name="connsiteX171" fmla="*/ 280075 w 1293444"/>
                <a:gd name="connsiteY171" fmla="*/ 923925 h 1704975"/>
                <a:gd name="connsiteX172" fmla="*/ 261025 w 1293444"/>
                <a:gd name="connsiteY172" fmla="*/ 908050 h 1704975"/>
                <a:gd name="connsiteX173" fmla="*/ 241975 w 1293444"/>
                <a:gd name="connsiteY173" fmla="*/ 901700 h 1704975"/>
                <a:gd name="connsiteX174" fmla="*/ 222925 w 1293444"/>
                <a:gd name="connsiteY174" fmla="*/ 889000 h 1704975"/>
                <a:gd name="connsiteX175" fmla="*/ 213400 w 1293444"/>
                <a:gd name="connsiteY175" fmla="*/ 885825 h 1704975"/>
                <a:gd name="connsiteX176" fmla="*/ 194350 w 1293444"/>
                <a:gd name="connsiteY176" fmla="*/ 873125 h 1704975"/>
                <a:gd name="connsiteX177" fmla="*/ 175300 w 1293444"/>
                <a:gd name="connsiteY177" fmla="*/ 860425 h 1704975"/>
                <a:gd name="connsiteX178" fmla="*/ 162600 w 1293444"/>
                <a:gd name="connsiteY178" fmla="*/ 850900 h 1704975"/>
                <a:gd name="connsiteX179" fmla="*/ 153075 w 1293444"/>
                <a:gd name="connsiteY179" fmla="*/ 847725 h 1704975"/>
                <a:gd name="connsiteX180" fmla="*/ 134025 w 1293444"/>
                <a:gd name="connsiteY180" fmla="*/ 835025 h 1704975"/>
                <a:gd name="connsiteX181" fmla="*/ 114975 w 1293444"/>
                <a:gd name="connsiteY181" fmla="*/ 822325 h 1704975"/>
                <a:gd name="connsiteX182" fmla="*/ 105450 w 1293444"/>
                <a:gd name="connsiteY182" fmla="*/ 815975 h 1704975"/>
                <a:gd name="connsiteX183" fmla="*/ 95925 w 1293444"/>
                <a:gd name="connsiteY183" fmla="*/ 812800 h 1704975"/>
                <a:gd name="connsiteX184" fmla="*/ 64175 w 1293444"/>
                <a:gd name="connsiteY184" fmla="*/ 790575 h 1704975"/>
                <a:gd name="connsiteX185" fmla="*/ 54650 w 1293444"/>
                <a:gd name="connsiteY185" fmla="*/ 787400 h 1704975"/>
                <a:gd name="connsiteX186" fmla="*/ 38775 w 1293444"/>
                <a:gd name="connsiteY186" fmla="*/ 771525 h 1704975"/>
                <a:gd name="connsiteX187" fmla="*/ 29250 w 1293444"/>
                <a:gd name="connsiteY187" fmla="*/ 762000 h 1704975"/>
                <a:gd name="connsiteX188" fmla="*/ 19725 w 1293444"/>
                <a:gd name="connsiteY188" fmla="*/ 758825 h 1704975"/>
                <a:gd name="connsiteX189" fmla="*/ 675 w 1293444"/>
                <a:gd name="connsiteY189" fmla="*/ 746125 h 1704975"/>
                <a:gd name="connsiteX190" fmla="*/ 51475 w 1293444"/>
                <a:gd name="connsiteY190" fmla="*/ 739775 h 1704975"/>
                <a:gd name="connsiteX191" fmla="*/ 67350 w 1293444"/>
                <a:gd name="connsiteY191" fmla="*/ 736600 h 1704975"/>
                <a:gd name="connsiteX192" fmla="*/ 102275 w 1293444"/>
                <a:gd name="connsiteY192" fmla="*/ 733425 h 1704975"/>
                <a:gd name="connsiteX193" fmla="*/ 130850 w 1293444"/>
                <a:gd name="connsiteY193" fmla="*/ 727075 h 1704975"/>
                <a:gd name="connsiteX194" fmla="*/ 149900 w 1293444"/>
                <a:gd name="connsiteY194" fmla="*/ 723900 h 1704975"/>
                <a:gd name="connsiteX195" fmla="*/ 159425 w 1293444"/>
                <a:gd name="connsiteY195" fmla="*/ 720725 h 1704975"/>
                <a:gd name="connsiteX196" fmla="*/ 175300 w 1293444"/>
                <a:gd name="connsiteY196" fmla="*/ 717550 h 1704975"/>
                <a:gd name="connsiteX197" fmla="*/ 194350 w 1293444"/>
                <a:gd name="connsiteY197" fmla="*/ 711200 h 1704975"/>
                <a:gd name="connsiteX198" fmla="*/ 222925 w 1293444"/>
                <a:gd name="connsiteY198" fmla="*/ 701675 h 1704975"/>
                <a:gd name="connsiteX199" fmla="*/ 232450 w 1293444"/>
                <a:gd name="connsiteY199" fmla="*/ 698500 h 1704975"/>
                <a:gd name="connsiteX200" fmla="*/ 241975 w 1293444"/>
                <a:gd name="connsiteY200" fmla="*/ 695325 h 1704975"/>
                <a:gd name="connsiteX201" fmla="*/ 381675 w 1293444"/>
                <a:gd name="connsiteY201" fmla="*/ 688975 h 1704975"/>
                <a:gd name="connsiteX202" fmla="*/ 397550 w 1293444"/>
                <a:gd name="connsiteY202" fmla="*/ 685800 h 1704975"/>
                <a:gd name="connsiteX203" fmla="*/ 407075 w 1293444"/>
                <a:gd name="connsiteY203" fmla="*/ 682625 h 1704975"/>
                <a:gd name="connsiteX204" fmla="*/ 419775 w 1293444"/>
                <a:gd name="connsiteY204" fmla="*/ 679450 h 1704975"/>
                <a:gd name="connsiteX205" fmla="*/ 438825 w 1293444"/>
                <a:gd name="connsiteY205" fmla="*/ 673100 h 1704975"/>
                <a:gd name="connsiteX206" fmla="*/ 467400 w 1293444"/>
                <a:gd name="connsiteY206" fmla="*/ 663575 h 1704975"/>
                <a:gd name="connsiteX207" fmla="*/ 495975 w 1293444"/>
                <a:gd name="connsiteY207" fmla="*/ 654050 h 1704975"/>
                <a:gd name="connsiteX208" fmla="*/ 505500 w 1293444"/>
                <a:gd name="connsiteY208" fmla="*/ 650875 h 1704975"/>
                <a:gd name="connsiteX209" fmla="*/ 527725 w 1293444"/>
                <a:gd name="connsiteY209" fmla="*/ 641350 h 1704975"/>
                <a:gd name="connsiteX210" fmla="*/ 537250 w 1293444"/>
                <a:gd name="connsiteY210" fmla="*/ 635000 h 1704975"/>
                <a:gd name="connsiteX211" fmla="*/ 546775 w 1293444"/>
                <a:gd name="connsiteY211" fmla="*/ 631825 h 1704975"/>
                <a:gd name="connsiteX212" fmla="*/ 559475 w 1293444"/>
                <a:gd name="connsiteY212" fmla="*/ 625475 h 1704975"/>
                <a:gd name="connsiteX213" fmla="*/ 578525 w 1293444"/>
                <a:gd name="connsiteY213" fmla="*/ 657225 h 1704975"/>
                <a:gd name="connsiteX214" fmla="*/ 588050 w 1293444"/>
                <a:gd name="connsiteY214" fmla="*/ 660400 h 1704975"/>
                <a:gd name="connsiteX215" fmla="*/ 607100 w 1293444"/>
                <a:gd name="connsiteY215" fmla="*/ 673100 h 1704975"/>
                <a:gd name="connsiteX216" fmla="*/ 626150 w 1293444"/>
                <a:gd name="connsiteY216" fmla="*/ 679450 h 1704975"/>
                <a:gd name="connsiteX217" fmla="*/ 635675 w 1293444"/>
                <a:gd name="connsiteY217" fmla="*/ 685800 h 1704975"/>
                <a:gd name="connsiteX218" fmla="*/ 654725 w 1293444"/>
                <a:gd name="connsiteY218" fmla="*/ 692150 h 1704975"/>
                <a:gd name="connsiteX219" fmla="*/ 645200 w 1293444"/>
                <a:gd name="connsiteY219" fmla="*/ 682625 h 1704975"/>
                <a:gd name="connsiteX220" fmla="*/ 635675 w 1293444"/>
                <a:gd name="connsiteY220" fmla="*/ 676275 h 1704975"/>
                <a:gd name="connsiteX221" fmla="*/ 632500 w 1293444"/>
                <a:gd name="connsiteY221" fmla="*/ 666750 h 1704975"/>
                <a:gd name="connsiteX222" fmla="*/ 635675 w 1293444"/>
                <a:gd name="connsiteY222" fmla="*/ 590550 h 1704975"/>
                <a:gd name="connsiteX223" fmla="*/ 642025 w 1293444"/>
                <a:gd name="connsiteY223" fmla="*/ 571500 h 1704975"/>
                <a:gd name="connsiteX224" fmla="*/ 648375 w 1293444"/>
                <a:gd name="connsiteY224" fmla="*/ 561975 h 1704975"/>
                <a:gd name="connsiteX225" fmla="*/ 638850 w 1293444"/>
                <a:gd name="connsiteY225" fmla="*/ 536575 h 1704975"/>
                <a:gd name="connsiteX226" fmla="*/ 629325 w 1293444"/>
                <a:gd name="connsiteY226" fmla="*/ 533400 h 1704975"/>
                <a:gd name="connsiteX227" fmla="*/ 626150 w 1293444"/>
                <a:gd name="connsiteY227" fmla="*/ 523875 h 1704975"/>
                <a:gd name="connsiteX228" fmla="*/ 632500 w 1293444"/>
                <a:gd name="connsiteY228" fmla="*/ 498475 h 1704975"/>
                <a:gd name="connsiteX229" fmla="*/ 635675 w 1293444"/>
                <a:gd name="connsiteY229" fmla="*/ 485775 h 1704975"/>
                <a:gd name="connsiteX230" fmla="*/ 626150 w 1293444"/>
                <a:gd name="connsiteY230" fmla="*/ 463550 h 1704975"/>
                <a:gd name="connsiteX231" fmla="*/ 616625 w 1293444"/>
                <a:gd name="connsiteY231" fmla="*/ 460375 h 1704975"/>
                <a:gd name="connsiteX232" fmla="*/ 607100 w 1293444"/>
                <a:gd name="connsiteY232" fmla="*/ 454025 h 1704975"/>
                <a:gd name="connsiteX233" fmla="*/ 591225 w 1293444"/>
                <a:gd name="connsiteY233" fmla="*/ 450850 h 1704975"/>
                <a:gd name="connsiteX234" fmla="*/ 569000 w 1293444"/>
                <a:gd name="connsiteY234" fmla="*/ 441325 h 1704975"/>
                <a:gd name="connsiteX235" fmla="*/ 546775 w 1293444"/>
                <a:gd name="connsiteY235" fmla="*/ 415925 h 1704975"/>
                <a:gd name="connsiteX236" fmla="*/ 540425 w 1293444"/>
                <a:gd name="connsiteY236" fmla="*/ 406400 h 1704975"/>
                <a:gd name="connsiteX237" fmla="*/ 530900 w 1293444"/>
                <a:gd name="connsiteY237" fmla="*/ 400050 h 1704975"/>
                <a:gd name="connsiteX238" fmla="*/ 508675 w 1293444"/>
                <a:gd name="connsiteY238" fmla="*/ 374650 h 1704975"/>
                <a:gd name="connsiteX239" fmla="*/ 502325 w 1293444"/>
                <a:gd name="connsiteY239" fmla="*/ 365125 h 1704975"/>
                <a:gd name="connsiteX240" fmla="*/ 483275 w 1293444"/>
                <a:gd name="connsiteY240" fmla="*/ 346075 h 1704975"/>
                <a:gd name="connsiteX241" fmla="*/ 486450 w 1293444"/>
                <a:gd name="connsiteY241" fmla="*/ 333375 h 1704975"/>
                <a:gd name="connsiteX242" fmla="*/ 492800 w 1293444"/>
                <a:gd name="connsiteY242" fmla="*/ 314325 h 1704975"/>
                <a:gd name="connsiteX243" fmla="*/ 489625 w 1293444"/>
                <a:gd name="connsiteY243" fmla="*/ 292100 h 1704975"/>
                <a:gd name="connsiteX244" fmla="*/ 461050 w 1293444"/>
                <a:gd name="connsiteY244" fmla="*/ 266700 h 1704975"/>
                <a:gd name="connsiteX245" fmla="*/ 435650 w 1293444"/>
                <a:gd name="connsiteY245" fmla="*/ 254000 h 1704975"/>
                <a:gd name="connsiteX246" fmla="*/ 413425 w 1293444"/>
                <a:gd name="connsiteY246" fmla="*/ 238125 h 1704975"/>
                <a:gd name="connsiteX247" fmla="*/ 403900 w 1293444"/>
                <a:gd name="connsiteY247" fmla="*/ 231775 h 1704975"/>
                <a:gd name="connsiteX248" fmla="*/ 388025 w 1293444"/>
                <a:gd name="connsiteY248" fmla="*/ 212725 h 1704975"/>
                <a:gd name="connsiteX249" fmla="*/ 372150 w 1293444"/>
                <a:gd name="connsiteY249" fmla="*/ 196850 h 1704975"/>
                <a:gd name="connsiteX250" fmla="*/ 365800 w 1293444"/>
                <a:gd name="connsiteY250" fmla="*/ 177800 h 1704975"/>
                <a:gd name="connsiteX251" fmla="*/ 359450 w 1293444"/>
                <a:gd name="connsiteY251" fmla="*/ 149225 h 1704975"/>
                <a:gd name="connsiteX252" fmla="*/ 362625 w 1293444"/>
                <a:gd name="connsiteY252" fmla="*/ 114300 h 1704975"/>
                <a:gd name="connsiteX253" fmla="*/ 368975 w 1293444"/>
                <a:gd name="connsiteY253" fmla="*/ 104775 h 1704975"/>
                <a:gd name="connsiteX254" fmla="*/ 375325 w 1293444"/>
                <a:gd name="connsiteY254"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65900 w 1293444"/>
                <a:gd name="connsiteY51" fmla="*/ 454025 h 1704975"/>
                <a:gd name="connsiteX52" fmla="*/ 1207175 w 1293444"/>
                <a:gd name="connsiteY52" fmla="*/ 457200 h 1704975"/>
                <a:gd name="connsiteX53" fmla="*/ 1216700 w 1293444"/>
                <a:gd name="connsiteY53" fmla="*/ 463550 h 1704975"/>
                <a:gd name="connsiteX54" fmla="*/ 1270675 w 1293444"/>
                <a:gd name="connsiteY54" fmla="*/ 469900 h 1704975"/>
                <a:gd name="connsiteX55" fmla="*/ 1277025 w 1293444"/>
                <a:gd name="connsiteY55" fmla="*/ 479425 h 1704975"/>
                <a:gd name="connsiteX56" fmla="*/ 1273850 w 1293444"/>
                <a:gd name="connsiteY56" fmla="*/ 488950 h 1704975"/>
                <a:gd name="connsiteX57" fmla="*/ 1270675 w 1293444"/>
                <a:gd name="connsiteY57" fmla="*/ 511175 h 1704975"/>
                <a:gd name="connsiteX58" fmla="*/ 1264325 w 1293444"/>
                <a:gd name="connsiteY58" fmla="*/ 530225 h 1704975"/>
                <a:gd name="connsiteX59" fmla="*/ 1261150 w 1293444"/>
                <a:gd name="connsiteY59" fmla="*/ 539750 h 1704975"/>
                <a:gd name="connsiteX60" fmla="*/ 1254800 w 1293444"/>
                <a:gd name="connsiteY60" fmla="*/ 571500 h 1704975"/>
                <a:gd name="connsiteX61" fmla="*/ 1254800 w 1293444"/>
                <a:gd name="connsiteY61" fmla="*/ 692150 h 1704975"/>
                <a:gd name="connsiteX62" fmla="*/ 1257975 w 1293444"/>
                <a:gd name="connsiteY62" fmla="*/ 714375 h 1704975"/>
                <a:gd name="connsiteX63" fmla="*/ 1261150 w 1293444"/>
                <a:gd name="connsiteY63" fmla="*/ 723900 h 1704975"/>
                <a:gd name="connsiteX64" fmla="*/ 1273850 w 1293444"/>
                <a:gd name="connsiteY64" fmla="*/ 727075 h 1704975"/>
                <a:gd name="connsiteX65" fmla="*/ 1292900 w 1293444"/>
                <a:gd name="connsiteY65" fmla="*/ 739775 h 1704975"/>
                <a:gd name="connsiteX66" fmla="*/ 1289725 w 1293444"/>
                <a:gd name="connsiteY66" fmla="*/ 784225 h 1704975"/>
                <a:gd name="connsiteX67" fmla="*/ 1273850 w 1293444"/>
                <a:gd name="connsiteY67" fmla="*/ 800100 h 1704975"/>
                <a:gd name="connsiteX68" fmla="*/ 1264325 w 1293444"/>
                <a:gd name="connsiteY68" fmla="*/ 809625 h 1704975"/>
                <a:gd name="connsiteX69" fmla="*/ 1219875 w 1293444"/>
                <a:gd name="connsiteY69" fmla="*/ 819150 h 1704975"/>
                <a:gd name="connsiteX70" fmla="*/ 1200825 w 1293444"/>
                <a:gd name="connsiteY70" fmla="*/ 825500 h 1704975"/>
                <a:gd name="connsiteX71" fmla="*/ 1181775 w 1293444"/>
                <a:gd name="connsiteY71" fmla="*/ 838200 h 1704975"/>
                <a:gd name="connsiteX72" fmla="*/ 1172250 w 1293444"/>
                <a:gd name="connsiteY72" fmla="*/ 844550 h 1704975"/>
                <a:gd name="connsiteX73" fmla="*/ 1153200 w 1293444"/>
                <a:gd name="connsiteY73" fmla="*/ 850900 h 1704975"/>
                <a:gd name="connsiteX74" fmla="*/ 1140500 w 1293444"/>
                <a:gd name="connsiteY74" fmla="*/ 857250 h 1704975"/>
                <a:gd name="connsiteX75" fmla="*/ 1130975 w 1293444"/>
                <a:gd name="connsiteY75" fmla="*/ 863600 h 1704975"/>
                <a:gd name="connsiteX76" fmla="*/ 1105575 w 1293444"/>
                <a:gd name="connsiteY76" fmla="*/ 866775 h 1704975"/>
                <a:gd name="connsiteX77" fmla="*/ 1086525 w 1293444"/>
                <a:gd name="connsiteY77" fmla="*/ 873125 h 1704975"/>
                <a:gd name="connsiteX78" fmla="*/ 1077000 w 1293444"/>
                <a:gd name="connsiteY78" fmla="*/ 879475 h 1704975"/>
                <a:gd name="connsiteX79" fmla="*/ 1057950 w 1293444"/>
                <a:gd name="connsiteY79" fmla="*/ 885825 h 1704975"/>
                <a:gd name="connsiteX80" fmla="*/ 1048425 w 1293444"/>
                <a:gd name="connsiteY80" fmla="*/ 889000 h 1704975"/>
                <a:gd name="connsiteX81" fmla="*/ 1029375 w 1293444"/>
                <a:gd name="connsiteY81" fmla="*/ 908050 h 1704975"/>
                <a:gd name="connsiteX82" fmla="*/ 1010325 w 1293444"/>
                <a:gd name="connsiteY82" fmla="*/ 914400 h 1704975"/>
                <a:gd name="connsiteX83" fmla="*/ 1003975 w 1293444"/>
                <a:gd name="connsiteY83" fmla="*/ 923925 h 1704975"/>
                <a:gd name="connsiteX84" fmla="*/ 994450 w 1293444"/>
                <a:gd name="connsiteY84" fmla="*/ 933450 h 1704975"/>
                <a:gd name="connsiteX85" fmla="*/ 991275 w 1293444"/>
                <a:gd name="connsiteY85" fmla="*/ 942975 h 1704975"/>
                <a:gd name="connsiteX86" fmla="*/ 988100 w 1293444"/>
                <a:gd name="connsiteY86" fmla="*/ 962025 h 1704975"/>
                <a:gd name="connsiteX87" fmla="*/ 969050 w 1293444"/>
                <a:gd name="connsiteY87" fmla="*/ 968375 h 1704975"/>
                <a:gd name="connsiteX88" fmla="*/ 950000 w 1293444"/>
                <a:gd name="connsiteY88" fmla="*/ 981075 h 1704975"/>
                <a:gd name="connsiteX89" fmla="*/ 940475 w 1293444"/>
                <a:gd name="connsiteY89" fmla="*/ 987425 h 1704975"/>
                <a:gd name="connsiteX90" fmla="*/ 930950 w 1293444"/>
                <a:gd name="connsiteY90" fmla="*/ 1006475 h 1704975"/>
                <a:gd name="connsiteX91" fmla="*/ 924600 w 1293444"/>
                <a:gd name="connsiteY91" fmla="*/ 1016000 h 1704975"/>
                <a:gd name="connsiteX92" fmla="*/ 921425 w 1293444"/>
                <a:gd name="connsiteY92" fmla="*/ 1025525 h 1704975"/>
                <a:gd name="connsiteX93" fmla="*/ 905550 w 1293444"/>
                <a:gd name="connsiteY93" fmla="*/ 1044575 h 1704975"/>
                <a:gd name="connsiteX94" fmla="*/ 896025 w 1293444"/>
                <a:gd name="connsiteY94" fmla="*/ 1063625 h 1704975"/>
                <a:gd name="connsiteX95" fmla="*/ 867450 w 1293444"/>
                <a:gd name="connsiteY95" fmla="*/ 1085850 h 1704975"/>
                <a:gd name="connsiteX96" fmla="*/ 848400 w 1293444"/>
                <a:gd name="connsiteY96" fmla="*/ 1095375 h 1704975"/>
                <a:gd name="connsiteX97" fmla="*/ 813475 w 1293444"/>
                <a:gd name="connsiteY97" fmla="*/ 1092200 h 1704975"/>
                <a:gd name="connsiteX98" fmla="*/ 772200 w 1293444"/>
                <a:gd name="connsiteY98" fmla="*/ 1098550 h 1704975"/>
                <a:gd name="connsiteX99" fmla="*/ 759500 w 1293444"/>
                <a:gd name="connsiteY99" fmla="*/ 1127125 h 1704975"/>
                <a:gd name="connsiteX100" fmla="*/ 756325 w 1293444"/>
                <a:gd name="connsiteY100" fmla="*/ 1136650 h 1704975"/>
                <a:gd name="connsiteX101" fmla="*/ 740450 w 1293444"/>
                <a:gd name="connsiteY101" fmla="*/ 1155700 h 1704975"/>
                <a:gd name="connsiteX102" fmla="*/ 718225 w 1293444"/>
                <a:gd name="connsiteY102" fmla="*/ 1181100 h 1704975"/>
                <a:gd name="connsiteX103" fmla="*/ 721400 w 1293444"/>
                <a:gd name="connsiteY103" fmla="*/ 1238250 h 1704975"/>
                <a:gd name="connsiteX104" fmla="*/ 727750 w 1293444"/>
                <a:gd name="connsiteY104" fmla="*/ 1247775 h 1704975"/>
                <a:gd name="connsiteX105" fmla="*/ 730925 w 1293444"/>
                <a:gd name="connsiteY105" fmla="*/ 1257300 h 1704975"/>
                <a:gd name="connsiteX106" fmla="*/ 740450 w 1293444"/>
                <a:gd name="connsiteY106" fmla="*/ 1276350 h 1704975"/>
                <a:gd name="connsiteX107" fmla="*/ 743625 w 1293444"/>
                <a:gd name="connsiteY107" fmla="*/ 1320800 h 1704975"/>
                <a:gd name="connsiteX108" fmla="*/ 746800 w 1293444"/>
                <a:gd name="connsiteY108" fmla="*/ 1330325 h 1704975"/>
                <a:gd name="connsiteX109" fmla="*/ 756325 w 1293444"/>
                <a:gd name="connsiteY109" fmla="*/ 1336675 h 1704975"/>
                <a:gd name="connsiteX110" fmla="*/ 762675 w 1293444"/>
                <a:gd name="connsiteY110" fmla="*/ 1346200 h 1704975"/>
                <a:gd name="connsiteX111" fmla="*/ 769025 w 1293444"/>
                <a:gd name="connsiteY111" fmla="*/ 1393825 h 1704975"/>
                <a:gd name="connsiteX112" fmla="*/ 775375 w 1293444"/>
                <a:gd name="connsiteY112" fmla="*/ 1412875 h 1704975"/>
                <a:gd name="connsiteX113" fmla="*/ 781725 w 1293444"/>
                <a:gd name="connsiteY113" fmla="*/ 1435100 h 1704975"/>
                <a:gd name="connsiteX114" fmla="*/ 772200 w 1293444"/>
                <a:gd name="connsiteY114" fmla="*/ 1460500 h 1704975"/>
                <a:gd name="connsiteX115" fmla="*/ 762675 w 1293444"/>
                <a:gd name="connsiteY115" fmla="*/ 1466850 h 1704975"/>
                <a:gd name="connsiteX116" fmla="*/ 753150 w 1293444"/>
                <a:gd name="connsiteY116" fmla="*/ 1485900 h 1704975"/>
                <a:gd name="connsiteX117" fmla="*/ 749975 w 1293444"/>
                <a:gd name="connsiteY117" fmla="*/ 1514475 h 1704975"/>
                <a:gd name="connsiteX118" fmla="*/ 740450 w 1293444"/>
                <a:gd name="connsiteY118" fmla="*/ 1520825 h 1704975"/>
                <a:gd name="connsiteX119" fmla="*/ 730925 w 1293444"/>
                <a:gd name="connsiteY119" fmla="*/ 1530350 h 1704975"/>
                <a:gd name="connsiteX120" fmla="*/ 718225 w 1293444"/>
                <a:gd name="connsiteY120" fmla="*/ 1549400 h 1704975"/>
                <a:gd name="connsiteX121" fmla="*/ 711875 w 1293444"/>
                <a:gd name="connsiteY121" fmla="*/ 1558925 h 1704975"/>
                <a:gd name="connsiteX122" fmla="*/ 702350 w 1293444"/>
                <a:gd name="connsiteY122" fmla="*/ 1568450 h 1704975"/>
                <a:gd name="connsiteX123" fmla="*/ 699175 w 1293444"/>
                <a:gd name="connsiteY123" fmla="*/ 1577975 h 1704975"/>
                <a:gd name="connsiteX124" fmla="*/ 686475 w 1293444"/>
                <a:gd name="connsiteY124" fmla="*/ 1597025 h 1704975"/>
                <a:gd name="connsiteX125" fmla="*/ 676950 w 1293444"/>
                <a:gd name="connsiteY125" fmla="*/ 1616075 h 1704975"/>
                <a:gd name="connsiteX126" fmla="*/ 667425 w 1293444"/>
                <a:gd name="connsiteY126" fmla="*/ 1619250 h 1704975"/>
                <a:gd name="connsiteX127" fmla="*/ 648375 w 1293444"/>
                <a:gd name="connsiteY127" fmla="*/ 1631950 h 1704975"/>
                <a:gd name="connsiteX128" fmla="*/ 638850 w 1293444"/>
                <a:gd name="connsiteY128" fmla="*/ 1638300 h 1704975"/>
                <a:gd name="connsiteX129" fmla="*/ 607100 w 1293444"/>
                <a:gd name="connsiteY129" fmla="*/ 1676400 h 1704975"/>
                <a:gd name="connsiteX130" fmla="*/ 556300 w 1293444"/>
                <a:gd name="connsiteY130" fmla="*/ 1679575 h 1704975"/>
                <a:gd name="connsiteX131" fmla="*/ 537250 w 1293444"/>
                <a:gd name="connsiteY131" fmla="*/ 1685925 h 1704975"/>
                <a:gd name="connsiteX132" fmla="*/ 515025 w 1293444"/>
                <a:gd name="connsiteY132" fmla="*/ 1698625 h 1704975"/>
                <a:gd name="connsiteX133" fmla="*/ 495975 w 1293444"/>
                <a:gd name="connsiteY133" fmla="*/ 1704975 h 1704975"/>
                <a:gd name="connsiteX134" fmla="*/ 476925 w 1293444"/>
                <a:gd name="connsiteY134" fmla="*/ 1701800 h 1704975"/>
                <a:gd name="connsiteX135" fmla="*/ 470575 w 1293444"/>
                <a:gd name="connsiteY135" fmla="*/ 1692275 h 1704975"/>
                <a:gd name="connsiteX136" fmla="*/ 467400 w 1293444"/>
                <a:gd name="connsiteY136" fmla="*/ 1660525 h 1704975"/>
                <a:gd name="connsiteX137" fmla="*/ 457875 w 1293444"/>
                <a:gd name="connsiteY137" fmla="*/ 1641475 h 1704975"/>
                <a:gd name="connsiteX138" fmla="*/ 448350 w 1293444"/>
                <a:gd name="connsiteY138" fmla="*/ 1635125 h 1704975"/>
                <a:gd name="connsiteX139" fmla="*/ 445175 w 1293444"/>
                <a:gd name="connsiteY139" fmla="*/ 1625600 h 1704975"/>
                <a:gd name="connsiteX140" fmla="*/ 435650 w 1293444"/>
                <a:gd name="connsiteY140" fmla="*/ 1606550 h 1704975"/>
                <a:gd name="connsiteX141" fmla="*/ 432475 w 1293444"/>
                <a:gd name="connsiteY141" fmla="*/ 1495425 h 1704975"/>
                <a:gd name="connsiteX142" fmla="*/ 429300 w 1293444"/>
                <a:gd name="connsiteY142" fmla="*/ 1485900 h 1704975"/>
                <a:gd name="connsiteX143" fmla="*/ 426125 w 1293444"/>
                <a:gd name="connsiteY143" fmla="*/ 1473200 h 1704975"/>
                <a:gd name="connsiteX144" fmla="*/ 419775 w 1293444"/>
                <a:gd name="connsiteY144" fmla="*/ 1463675 h 1704975"/>
                <a:gd name="connsiteX145" fmla="*/ 416600 w 1293444"/>
                <a:gd name="connsiteY145" fmla="*/ 1454150 h 1704975"/>
                <a:gd name="connsiteX146" fmla="*/ 403900 w 1293444"/>
                <a:gd name="connsiteY146" fmla="*/ 1435100 h 1704975"/>
                <a:gd name="connsiteX147" fmla="*/ 397550 w 1293444"/>
                <a:gd name="connsiteY147" fmla="*/ 1416050 h 1704975"/>
                <a:gd name="connsiteX148" fmla="*/ 394375 w 1293444"/>
                <a:gd name="connsiteY148" fmla="*/ 1381125 h 1704975"/>
                <a:gd name="connsiteX149" fmla="*/ 391200 w 1293444"/>
                <a:gd name="connsiteY149" fmla="*/ 1368425 h 1704975"/>
                <a:gd name="connsiteX150" fmla="*/ 388025 w 1293444"/>
                <a:gd name="connsiteY150" fmla="*/ 1352550 h 1704975"/>
                <a:gd name="connsiteX151" fmla="*/ 381675 w 1293444"/>
                <a:gd name="connsiteY151" fmla="*/ 1333500 h 1704975"/>
                <a:gd name="connsiteX152" fmla="*/ 378500 w 1293444"/>
                <a:gd name="connsiteY152" fmla="*/ 1323975 h 1704975"/>
                <a:gd name="connsiteX153" fmla="*/ 375325 w 1293444"/>
                <a:gd name="connsiteY153" fmla="*/ 1308100 h 1704975"/>
                <a:gd name="connsiteX154" fmla="*/ 368975 w 1293444"/>
                <a:gd name="connsiteY154" fmla="*/ 1289050 h 1704975"/>
                <a:gd name="connsiteX155" fmla="*/ 362625 w 1293444"/>
                <a:gd name="connsiteY155" fmla="*/ 1260475 h 1704975"/>
                <a:gd name="connsiteX156" fmla="*/ 359450 w 1293444"/>
                <a:gd name="connsiteY156" fmla="*/ 1231900 h 1704975"/>
                <a:gd name="connsiteX157" fmla="*/ 349925 w 1293444"/>
                <a:gd name="connsiteY157" fmla="*/ 1196975 h 1704975"/>
                <a:gd name="connsiteX158" fmla="*/ 340400 w 1293444"/>
                <a:gd name="connsiteY158" fmla="*/ 1155700 h 1704975"/>
                <a:gd name="connsiteX159" fmla="*/ 334050 w 1293444"/>
                <a:gd name="connsiteY159" fmla="*/ 1130300 h 1704975"/>
                <a:gd name="connsiteX160" fmla="*/ 327700 w 1293444"/>
                <a:gd name="connsiteY160" fmla="*/ 1104900 h 1704975"/>
                <a:gd name="connsiteX161" fmla="*/ 324525 w 1293444"/>
                <a:gd name="connsiteY161" fmla="*/ 1092200 h 1704975"/>
                <a:gd name="connsiteX162" fmla="*/ 318175 w 1293444"/>
                <a:gd name="connsiteY162" fmla="*/ 1050925 h 1704975"/>
                <a:gd name="connsiteX163" fmla="*/ 315000 w 1293444"/>
                <a:gd name="connsiteY163" fmla="*/ 1031875 h 1704975"/>
                <a:gd name="connsiteX164" fmla="*/ 311825 w 1293444"/>
                <a:gd name="connsiteY164" fmla="*/ 1022350 h 1704975"/>
                <a:gd name="connsiteX165" fmla="*/ 308650 w 1293444"/>
                <a:gd name="connsiteY165" fmla="*/ 1006475 h 1704975"/>
                <a:gd name="connsiteX166" fmla="*/ 302300 w 1293444"/>
                <a:gd name="connsiteY166" fmla="*/ 987425 h 1704975"/>
                <a:gd name="connsiteX167" fmla="*/ 299125 w 1293444"/>
                <a:gd name="connsiteY167" fmla="*/ 974725 h 1704975"/>
                <a:gd name="connsiteX168" fmla="*/ 292775 w 1293444"/>
                <a:gd name="connsiteY168" fmla="*/ 955675 h 1704975"/>
                <a:gd name="connsiteX169" fmla="*/ 289600 w 1293444"/>
                <a:gd name="connsiteY169" fmla="*/ 946150 h 1704975"/>
                <a:gd name="connsiteX170" fmla="*/ 280075 w 1293444"/>
                <a:gd name="connsiteY170" fmla="*/ 923925 h 1704975"/>
                <a:gd name="connsiteX171" fmla="*/ 261025 w 1293444"/>
                <a:gd name="connsiteY171" fmla="*/ 908050 h 1704975"/>
                <a:gd name="connsiteX172" fmla="*/ 241975 w 1293444"/>
                <a:gd name="connsiteY172" fmla="*/ 901700 h 1704975"/>
                <a:gd name="connsiteX173" fmla="*/ 222925 w 1293444"/>
                <a:gd name="connsiteY173" fmla="*/ 889000 h 1704975"/>
                <a:gd name="connsiteX174" fmla="*/ 213400 w 1293444"/>
                <a:gd name="connsiteY174" fmla="*/ 885825 h 1704975"/>
                <a:gd name="connsiteX175" fmla="*/ 194350 w 1293444"/>
                <a:gd name="connsiteY175" fmla="*/ 873125 h 1704975"/>
                <a:gd name="connsiteX176" fmla="*/ 175300 w 1293444"/>
                <a:gd name="connsiteY176" fmla="*/ 860425 h 1704975"/>
                <a:gd name="connsiteX177" fmla="*/ 162600 w 1293444"/>
                <a:gd name="connsiteY177" fmla="*/ 850900 h 1704975"/>
                <a:gd name="connsiteX178" fmla="*/ 153075 w 1293444"/>
                <a:gd name="connsiteY178" fmla="*/ 847725 h 1704975"/>
                <a:gd name="connsiteX179" fmla="*/ 134025 w 1293444"/>
                <a:gd name="connsiteY179" fmla="*/ 835025 h 1704975"/>
                <a:gd name="connsiteX180" fmla="*/ 114975 w 1293444"/>
                <a:gd name="connsiteY180" fmla="*/ 822325 h 1704975"/>
                <a:gd name="connsiteX181" fmla="*/ 105450 w 1293444"/>
                <a:gd name="connsiteY181" fmla="*/ 815975 h 1704975"/>
                <a:gd name="connsiteX182" fmla="*/ 95925 w 1293444"/>
                <a:gd name="connsiteY182" fmla="*/ 812800 h 1704975"/>
                <a:gd name="connsiteX183" fmla="*/ 64175 w 1293444"/>
                <a:gd name="connsiteY183" fmla="*/ 790575 h 1704975"/>
                <a:gd name="connsiteX184" fmla="*/ 54650 w 1293444"/>
                <a:gd name="connsiteY184" fmla="*/ 787400 h 1704975"/>
                <a:gd name="connsiteX185" fmla="*/ 38775 w 1293444"/>
                <a:gd name="connsiteY185" fmla="*/ 771525 h 1704975"/>
                <a:gd name="connsiteX186" fmla="*/ 29250 w 1293444"/>
                <a:gd name="connsiteY186" fmla="*/ 762000 h 1704975"/>
                <a:gd name="connsiteX187" fmla="*/ 19725 w 1293444"/>
                <a:gd name="connsiteY187" fmla="*/ 758825 h 1704975"/>
                <a:gd name="connsiteX188" fmla="*/ 675 w 1293444"/>
                <a:gd name="connsiteY188" fmla="*/ 746125 h 1704975"/>
                <a:gd name="connsiteX189" fmla="*/ 51475 w 1293444"/>
                <a:gd name="connsiteY189" fmla="*/ 739775 h 1704975"/>
                <a:gd name="connsiteX190" fmla="*/ 67350 w 1293444"/>
                <a:gd name="connsiteY190" fmla="*/ 736600 h 1704975"/>
                <a:gd name="connsiteX191" fmla="*/ 102275 w 1293444"/>
                <a:gd name="connsiteY191" fmla="*/ 733425 h 1704975"/>
                <a:gd name="connsiteX192" fmla="*/ 130850 w 1293444"/>
                <a:gd name="connsiteY192" fmla="*/ 727075 h 1704975"/>
                <a:gd name="connsiteX193" fmla="*/ 149900 w 1293444"/>
                <a:gd name="connsiteY193" fmla="*/ 723900 h 1704975"/>
                <a:gd name="connsiteX194" fmla="*/ 159425 w 1293444"/>
                <a:gd name="connsiteY194" fmla="*/ 720725 h 1704975"/>
                <a:gd name="connsiteX195" fmla="*/ 175300 w 1293444"/>
                <a:gd name="connsiteY195" fmla="*/ 717550 h 1704975"/>
                <a:gd name="connsiteX196" fmla="*/ 194350 w 1293444"/>
                <a:gd name="connsiteY196" fmla="*/ 711200 h 1704975"/>
                <a:gd name="connsiteX197" fmla="*/ 222925 w 1293444"/>
                <a:gd name="connsiteY197" fmla="*/ 701675 h 1704975"/>
                <a:gd name="connsiteX198" fmla="*/ 232450 w 1293444"/>
                <a:gd name="connsiteY198" fmla="*/ 698500 h 1704975"/>
                <a:gd name="connsiteX199" fmla="*/ 241975 w 1293444"/>
                <a:gd name="connsiteY199" fmla="*/ 695325 h 1704975"/>
                <a:gd name="connsiteX200" fmla="*/ 381675 w 1293444"/>
                <a:gd name="connsiteY200" fmla="*/ 688975 h 1704975"/>
                <a:gd name="connsiteX201" fmla="*/ 397550 w 1293444"/>
                <a:gd name="connsiteY201" fmla="*/ 685800 h 1704975"/>
                <a:gd name="connsiteX202" fmla="*/ 407075 w 1293444"/>
                <a:gd name="connsiteY202" fmla="*/ 682625 h 1704975"/>
                <a:gd name="connsiteX203" fmla="*/ 419775 w 1293444"/>
                <a:gd name="connsiteY203" fmla="*/ 679450 h 1704975"/>
                <a:gd name="connsiteX204" fmla="*/ 438825 w 1293444"/>
                <a:gd name="connsiteY204" fmla="*/ 673100 h 1704975"/>
                <a:gd name="connsiteX205" fmla="*/ 467400 w 1293444"/>
                <a:gd name="connsiteY205" fmla="*/ 663575 h 1704975"/>
                <a:gd name="connsiteX206" fmla="*/ 495975 w 1293444"/>
                <a:gd name="connsiteY206" fmla="*/ 654050 h 1704975"/>
                <a:gd name="connsiteX207" fmla="*/ 505500 w 1293444"/>
                <a:gd name="connsiteY207" fmla="*/ 650875 h 1704975"/>
                <a:gd name="connsiteX208" fmla="*/ 527725 w 1293444"/>
                <a:gd name="connsiteY208" fmla="*/ 641350 h 1704975"/>
                <a:gd name="connsiteX209" fmla="*/ 537250 w 1293444"/>
                <a:gd name="connsiteY209" fmla="*/ 635000 h 1704975"/>
                <a:gd name="connsiteX210" fmla="*/ 546775 w 1293444"/>
                <a:gd name="connsiteY210" fmla="*/ 631825 h 1704975"/>
                <a:gd name="connsiteX211" fmla="*/ 559475 w 1293444"/>
                <a:gd name="connsiteY211" fmla="*/ 625475 h 1704975"/>
                <a:gd name="connsiteX212" fmla="*/ 578525 w 1293444"/>
                <a:gd name="connsiteY212" fmla="*/ 657225 h 1704975"/>
                <a:gd name="connsiteX213" fmla="*/ 588050 w 1293444"/>
                <a:gd name="connsiteY213" fmla="*/ 660400 h 1704975"/>
                <a:gd name="connsiteX214" fmla="*/ 607100 w 1293444"/>
                <a:gd name="connsiteY214" fmla="*/ 673100 h 1704975"/>
                <a:gd name="connsiteX215" fmla="*/ 626150 w 1293444"/>
                <a:gd name="connsiteY215" fmla="*/ 679450 h 1704975"/>
                <a:gd name="connsiteX216" fmla="*/ 635675 w 1293444"/>
                <a:gd name="connsiteY216" fmla="*/ 685800 h 1704975"/>
                <a:gd name="connsiteX217" fmla="*/ 654725 w 1293444"/>
                <a:gd name="connsiteY217" fmla="*/ 692150 h 1704975"/>
                <a:gd name="connsiteX218" fmla="*/ 645200 w 1293444"/>
                <a:gd name="connsiteY218" fmla="*/ 682625 h 1704975"/>
                <a:gd name="connsiteX219" fmla="*/ 635675 w 1293444"/>
                <a:gd name="connsiteY219" fmla="*/ 676275 h 1704975"/>
                <a:gd name="connsiteX220" fmla="*/ 632500 w 1293444"/>
                <a:gd name="connsiteY220" fmla="*/ 666750 h 1704975"/>
                <a:gd name="connsiteX221" fmla="*/ 635675 w 1293444"/>
                <a:gd name="connsiteY221" fmla="*/ 590550 h 1704975"/>
                <a:gd name="connsiteX222" fmla="*/ 642025 w 1293444"/>
                <a:gd name="connsiteY222" fmla="*/ 571500 h 1704975"/>
                <a:gd name="connsiteX223" fmla="*/ 648375 w 1293444"/>
                <a:gd name="connsiteY223" fmla="*/ 561975 h 1704975"/>
                <a:gd name="connsiteX224" fmla="*/ 638850 w 1293444"/>
                <a:gd name="connsiteY224" fmla="*/ 536575 h 1704975"/>
                <a:gd name="connsiteX225" fmla="*/ 629325 w 1293444"/>
                <a:gd name="connsiteY225" fmla="*/ 533400 h 1704975"/>
                <a:gd name="connsiteX226" fmla="*/ 626150 w 1293444"/>
                <a:gd name="connsiteY226" fmla="*/ 523875 h 1704975"/>
                <a:gd name="connsiteX227" fmla="*/ 632500 w 1293444"/>
                <a:gd name="connsiteY227" fmla="*/ 498475 h 1704975"/>
                <a:gd name="connsiteX228" fmla="*/ 635675 w 1293444"/>
                <a:gd name="connsiteY228" fmla="*/ 485775 h 1704975"/>
                <a:gd name="connsiteX229" fmla="*/ 626150 w 1293444"/>
                <a:gd name="connsiteY229" fmla="*/ 463550 h 1704975"/>
                <a:gd name="connsiteX230" fmla="*/ 616625 w 1293444"/>
                <a:gd name="connsiteY230" fmla="*/ 460375 h 1704975"/>
                <a:gd name="connsiteX231" fmla="*/ 607100 w 1293444"/>
                <a:gd name="connsiteY231" fmla="*/ 454025 h 1704975"/>
                <a:gd name="connsiteX232" fmla="*/ 591225 w 1293444"/>
                <a:gd name="connsiteY232" fmla="*/ 450850 h 1704975"/>
                <a:gd name="connsiteX233" fmla="*/ 569000 w 1293444"/>
                <a:gd name="connsiteY233" fmla="*/ 441325 h 1704975"/>
                <a:gd name="connsiteX234" fmla="*/ 546775 w 1293444"/>
                <a:gd name="connsiteY234" fmla="*/ 415925 h 1704975"/>
                <a:gd name="connsiteX235" fmla="*/ 540425 w 1293444"/>
                <a:gd name="connsiteY235" fmla="*/ 406400 h 1704975"/>
                <a:gd name="connsiteX236" fmla="*/ 530900 w 1293444"/>
                <a:gd name="connsiteY236" fmla="*/ 400050 h 1704975"/>
                <a:gd name="connsiteX237" fmla="*/ 508675 w 1293444"/>
                <a:gd name="connsiteY237" fmla="*/ 374650 h 1704975"/>
                <a:gd name="connsiteX238" fmla="*/ 502325 w 1293444"/>
                <a:gd name="connsiteY238" fmla="*/ 365125 h 1704975"/>
                <a:gd name="connsiteX239" fmla="*/ 483275 w 1293444"/>
                <a:gd name="connsiteY239" fmla="*/ 346075 h 1704975"/>
                <a:gd name="connsiteX240" fmla="*/ 486450 w 1293444"/>
                <a:gd name="connsiteY240" fmla="*/ 333375 h 1704975"/>
                <a:gd name="connsiteX241" fmla="*/ 492800 w 1293444"/>
                <a:gd name="connsiteY241" fmla="*/ 314325 h 1704975"/>
                <a:gd name="connsiteX242" fmla="*/ 489625 w 1293444"/>
                <a:gd name="connsiteY242" fmla="*/ 292100 h 1704975"/>
                <a:gd name="connsiteX243" fmla="*/ 461050 w 1293444"/>
                <a:gd name="connsiteY243" fmla="*/ 266700 h 1704975"/>
                <a:gd name="connsiteX244" fmla="*/ 435650 w 1293444"/>
                <a:gd name="connsiteY244" fmla="*/ 254000 h 1704975"/>
                <a:gd name="connsiteX245" fmla="*/ 413425 w 1293444"/>
                <a:gd name="connsiteY245" fmla="*/ 238125 h 1704975"/>
                <a:gd name="connsiteX246" fmla="*/ 403900 w 1293444"/>
                <a:gd name="connsiteY246" fmla="*/ 231775 h 1704975"/>
                <a:gd name="connsiteX247" fmla="*/ 388025 w 1293444"/>
                <a:gd name="connsiteY247" fmla="*/ 212725 h 1704975"/>
                <a:gd name="connsiteX248" fmla="*/ 372150 w 1293444"/>
                <a:gd name="connsiteY248" fmla="*/ 196850 h 1704975"/>
                <a:gd name="connsiteX249" fmla="*/ 365800 w 1293444"/>
                <a:gd name="connsiteY249" fmla="*/ 177800 h 1704975"/>
                <a:gd name="connsiteX250" fmla="*/ 359450 w 1293444"/>
                <a:gd name="connsiteY250" fmla="*/ 149225 h 1704975"/>
                <a:gd name="connsiteX251" fmla="*/ 362625 w 1293444"/>
                <a:gd name="connsiteY251" fmla="*/ 114300 h 1704975"/>
                <a:gd name="connsiteX252" fmla="*/ 368975 w 1293444"/>
                <a:gd name="connsiteY252" fmla="*/ 104775 h 1704975"/>
                <a:gd name="connsiteX253" fmla="*/ 375325 w 1293444"/>
                <a:gd name="connsiteY253"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384175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48350 w 1293444"/>
                <a:gd name="connsiteY139" fmla="*/ 1635125 h 1704975"/>
                <a:gd name="connsiteX140" fmla="*/ 445175 w 1293444"/>
                <a:gd name="connsiteY140" fmla="*/ 1625600 h 1704975"/>
                <a:gd name="connsiteX141" fmla="*/ 435650 w 1293444"/>
                <a:gd name="connsiteY141" fmla="*/ 1606550 h 1704975"/>
                <a:gd name="connsiteX142" fmla="*/ 432475 w 1293444"/>
                <a:gd name="connsiteY142" fmla="*/ 1495425 h 1704975"/>
                <a:gd name="connsiteX143" fmla="*/ 429300 w 1293444"/>
                <a:gd name="connsiteY143" fmla="*/ 1485900 h 1704975"/>
                <a:gd name="connsiteX144" fmla="*/ 426125 w 1293444"/>
                <a:gd name="connsiteY144" fmla="*/ 1473200 h 1704975"/>
                <a:gd name="connsiteX145" fmla="*/ 419775 w 1293444"/>
                <a:gd name="connsiteY145" fmla="*/ 1463675 h 1704975"/>
                <a:gd name="connsiteX146" fmla="*/ 416600 w 1293444"/>
                <a:gd name="connsiteY146" fmla="*/ 1454150 h 1704975"/>
                <a:gd name="connsiteX147" fmla="*/ 403900 w 1293444"/>
                <a:gd name="connsiteY147" fmla="*/ 1435100 h 1704975"/>
                <a:gd name="connsiteX148" fmla="*/ 397550 w 1293444"/>
                <a:gd name="connsiteY148" fmla="*/ 1416050 h 1704975"/>
                <a:gd name="connsiteX149" fmla="*/ 394375 w 1293444"/>
                <a:gd name="connsiteY149" fmla="*/ 1381125 h 1704975"/>
                <a:gd name="connsiteX150" fmla="*/ 391200 w 1293444"/>
                <a:gd name="connsiteY150" fmla="*/ 1368425 h 1704975"/>
                <a:gd name="connsiteX151" fmla="*/ 388025 w 1293444"/>
                <a:gd name="connsiteY151" fmla="*/ 1352550 h 1704975"/>
                <a:gd name="connsiteX152" fmla="*/ 381675 w 1293444"/>
                <a:gd name="connsiteY152" fmla="*/ 1333500 h 1704975"/>
                <a:gd name="connsiteX153" fmla="*/ 378500 w 1293444"/>
                <a:gd name="connsiteY153" fmla="*/ 1323975 h 1704975"/>
                <a:gd name="connsiteX154" fmla="*/ 375325 w 1293444"/>
                <a:gd name="connsiteY154" fmla="*/ 1308100 h 1704975"/>
                <a:gd name="connsiteX155" fmla="*/ 368975 w 1293444"/>
                <a:gd name="connsiteY155" fmla="*/ 1289050 h 1704975"/>
                <a:gd name="connsiteX156" fmla="*/ 362625 w 1293444"/>
                <a:gd name="connsiteY156" fmla="*/ 1260475 h 1704975"/>
                <a:gd name="connsiteX157" fmla="*/ 359450 w 1293444"/>
                <a:gd name="connsiteY157" fmla="*/ 1231900 h 1704975"/>
                <a:gd name="connsiteX158" fmla="*/ 349925 w 1293444"/>
                <a:gd name="connsiteY158" fmla="*/ 1196975 h 1704975"/>
                <a:gd name="connsiteX159" fmla="*/ 340400 w 1293444"/>
                <a:gd name="connsiteY159" fmla="*/ 1155700 h 1704975"/>
                <a:gd name="connsiteX160" fmla="*/ 334050 w 1293444"/>
                <a:gd name="connsiteY160" fmla="*/ 1130300 h 1704975"/>
                <a:gd name="connsiteX161" fmla="*/ 327700 w 1293444"/>
                <a:gd name="connsiteY161" fmla="*/ 1104900 h 1704975"/>
                <a:gd name="connsiteX162" fmla="*/ 324525 w 1293444"/>
                <a:gd name="connsiteY162" fmla="*/ 1092200 h 1704975"/>
                <a:gd name="connsiteX163" fmla="*/ 318175 w 1293444"/>
                <a:gd name="connsiteY163" fmla="*/ 1050925 h 1704975"/>
                <a:gd name="connsiteX164" fmla="*/ 315000 w 1293444"/>
                <a:gd name="connsiteY164" fmla="*/ 1031875 h 1704975"/>
                <a:gd name="connsiteX165" fmla="*/ 311825 w 1293444"/>
                <a:gd name="connsiteY165" fmla="*/ 1022350 h 1704975"/>
                <a:gd name="connsiteX166" fmla="*/ 308650 w 1293444"/>
                <a:gd name="connsiteY166" fmla="*/ 1006475 h 1704975"/>
                <a:gd name="connsiteX167" fmla="*/ 302300 w 1293444"/>
                <a:gd name="connsiteY167" fmla="*/ 987425 h 1704975"/>
                <a:gd name="connsiteX168" fmla="*/ 299125 w 1293444"/>
                <a:gd name="connsiteY168" fmla="*/ 974725 h 1704975"/>
                <a:gd name="connsiteX169" fmla="*/ 292775 w 1293444"/>
                <a:gd name="connsiteY169" fmla="*/ 955675 h 1704975"/>
                <a:gd name="connsiteX170" fmla="*/ 289600 w 1293444"/>
                <a:gd name="connsiteY170" fmla="*/ 946150 h 1704975"/>
                <a:gd name="connsiteX171" fmla="*/ 280075 w 1293444"/>
                <a:gd name="connsiteY171" fmla="*/ 923925 h 1704975"/>
                <a:gd name="connsiteX172" fmla="*/ 261025 w 1293444"/>
                <a:gd name="connsiteY172" fmla="*/ 908050 h 1704975"/>
                <a:gd name="connsiteX173" fmla="*/ 241975 w 1293444"/>
                <a:gd name="connsiteY173" fmla="*/ 901700 h 1704975"/>
                <a:gd name="connsiteX174" fmla="*/ 222925 w 1293444"/>
                <a:gd name="connsiteY174" fmla="*/ 889000 h 1704975"/>
                <a:gd name="connsiteX175" fmla="*/ 213400 w 1293444"/>
                <a:gd name="connsiteY175" fmla="*/ 885825 h 1704975"/>
                <a:gd name="connsiteX176" fmla="*/ 194350 w 1293444"/>
                <a:gd name="connsiteY176" fmla="*/ 873125 h 1704975"/>
                <a:gd name="connsiteX177" fmla="*/ 175300 w 1293444"/>
                <a:gd name="connsiteY177" fmla="*/ 860425 h 1704975"/>
                <a:gd name="connsiteX178" fmla="*/ 162600 w 1293444"/>
                <a:gd name="connsiteY178" fmla="*/ 850900 h 1704975"/>
                <a:gd name="connsiteX179" fmla="*/ 153075 w 1293444"/>
                <a:gd name="connsiteY179" fmla="*/ 847725 h 1704975"/>
                <a:gd name="connsiteX180" fmla="*/ 134025 w 1293444"/>
                <a:gd name="connsiteY180" fmla="*/ 835025 h 1704975"/>
                <a:gd name="connsiteX181" fmla="*/ 114975 w 1293444"/>
                <a:gd name="connsiteY181" fmla="*/ 822325 h 1704975"/>
                <a:gd name="connsiteX182" fmla="*/ 105450 w 1293444"/>
                <a:gd name="connsiteY182" fmla="*/ 815975 h 1704975"/>
                <a:gd name="connsiteX183" fmla="*/ 95925 w 1293444"/>
                <a:gd name="connsiteY183" fmla="*/ 812800 h 1704975"/>
                <a:gd name="connsiteX184" fmla="*/ 64175 w 1293444"/>
                <a:gd name="connsiteY184" fmla="*/ 790575 h 1704975"/>
                <a:gd name="connsiteX185" fmla="*/ 54650 w 1293444"/>
                <a:gd name="connsiteY185" fmla="*/ 787400 h 1704975"/>
                <a:gd name="connsiteX186" fmla="*/ 38775 w 1293444"/>
                <a:gd name="connsiteY186" fmla="*/ 771525 h 1704975"/>
                <a:gd name="connsiteX187" fmla="*/ 29250 w 1293444"/>
                <a:gd name="connsiteY187" fmla="*/ 762000 h 1704975"/>
                <a:gd name="connsiteX188" fmla="*/ 19725 w 1293444"/>
                <a:gd name="connsiteY188" fmla="*/ 758825 h 1704975"/>
                <a:gd name="connsiteX189" fmla="*/ 675 w 1293444"/>
                <a:gd name="connsiteY189" fmla="*/ 746125 h 1704975"/>
                <a:gd name="connsiteX190" fmla="*/ 51475 w 1293444"/>
                <a:gd name="connsiteY190" fmla="*/ 739775 h 1704975"/>
                <a:gd name="connsiteX191" fmla="*/ 67350 w 1293444"/>
                <a:gd name="connsiteY191" fmla="*/ 736600 h 1704975"/>
                <a:gd name="connsiteX192" fmla="*/ 102275 w 1293444"/>
                <a:gd name="connsiteY192" fmla="*/ 733425 h 1704975"/>
                <a:gd name="connsiteX193" fmla="*/ 130850 w 1293444"/>
                <a:gd name="connsiteY193" fmla="*/ 727075 h 1704975"/>
                <a:gd name="connsiteX194" fmla="*/ 149900 w 1293444"/>
                <a:gd name="connsiteY194" fmla="*/ 723900 h 1704975"/>
                <a:gd name="connsiteX195" fmla="*/ 159425 w 1293444"/>
                <a:gd name="connsiteY195" fmla="*/ 720725 h 1704975"/>
                <a:gd name="connsiteX196" fmla="*/ 175300 w 1293444"/>
                <a:gd name="connsiteY196" fmla="*/ 717550 h 1704975"/>
                <a:gd name="connsiteX197" fmla="*/ 194350 w 1293444"/>
                <a:gd name="connsiteY197" fmla="*/ 711200 h 1704975"/>
                <a:gd name="connsiteX198" fmla="*/ 222925 w 1293444"/>
                <a:gd name="connsiteY198" fmla="*/ 701675 h 1704975"/>
                <a:gd name="connsiteX199" fmla="*/ 232450 w 1293444"/>
                <a:gd name="connsiteY199" fmla="*/ 698500 h 1704975"/>
                <a:gd name="connsiteX200" fmla="*/ 241975 w 1293444"/>
                <a:gd name="connsiteY200" fmla="*/ 695325 h 1704975"/>
                <a:gd name="connsiteX201" fmla="*/ 381675 w 1293444"/>
                <a:gd name="connsiteY201" fmla="*/ 688975 h 1704975"/>
                <a:gd name="connsiteX202" fmla="*/ 397550 w 1293444"/>
                <a:gd name="connsiteY202" fmla="*/ 685800 h 1704975"/>
                <a:gd name="connsiteX203" fmla="*/ 407075 w 1293444"/>
                <a:gd name="connsiteY203" fmla="*/ 682625 h 1704975"/>
                <a:gd name="connsiteX204" fmla="*/ 419775 w 1293444"/>
                <a:gd name="connsiteY204" fmla="*/ 679450 h 1704975"/>
                <a:gd name="connsiteX205" fmla="*/ 438825 w 1293444"/>
                <a:gd name="connsiteY205" fmla="*/ 673100 h 1704975"/>
                <a:gd name="connsiteX206" fmla="*/ 467400 w 1293444"/>
                <a:gd name="connsiteY206" fmla="*/ 663575 h 1704975"/>
                <a:gd name="connsiteX207" fmla="*/ 495975 w 1293444"/>
                <a:gd name="connsiteY207" fmla="*/ 654050 h 1704975"/>
                <a:gd name="connsiteX208" fmla="*/ 505500 w 1293444"/>
                <a:gd name="connsiteY208" fmla="*/ 650875 h 1704975"/>
                <a:gd name="connsiteX209" fmla="*/ 527725 w 1293444"/>
                <a:gd name="connsiteY209" fmla="*/ 641350 h 1704975"/>
                <a:gd name="connsiteX210" fmla="*/ 537250 w 1293444"/>
                <a:gd name="connsiteY210" fmla="*/ 635000 h 1704975"/>
                <a:gd name="connsiteX211" fmla="*/ 546775 w 1293444"/>
                <a:gd name="connsiteY211" fmla="*/ 631825 h 1704975"/>
                <a:gd name="connsiteX212" fmla="*/ 559475 w 1293444"/>
                <a:gd name="connsiteY212" fmla="*/ 625475 h 1704975"/>
                <a:gd name="connsiteX213" fmla="*/ 578525 w 1293444"/>
                <a:gd name="connsiteY213" fmla="*/ 657225 h 1704975"/>
                <a:gd name="connsiteX214" fmla="*/ 588050 w 1293444"/>
                <a:gd name="connsiteY214" fmla="*/ 660400 h 1704975"/>
                <a:gd name="connsiteX215" fmla="*/ 607100 w 1293444"/>
                <a:gd name="connsiteY215" fmla="*/ 673100 h 1704975"/>
                <a:gd name="connsiteX216" fmla="*/ 626150 w 1293444"/>
                <a:gd name="connsiteY216" fmla="*/ 679450 h 1704975"/>
                <a:gd name="connsiteX217" fmla="*/ 635675 w 1293444"/>
                <a:gd name="connsiteY217" fmla="*/ 685800 h 1704975"/>
                <a:gd name="connsiteX218" fmla="*/ 654725 w 1293444"/>
                <a:gd name="connsiteY218" fmla="*/ 692150 h 1704975"/>
                <a:gd name="connsiteX219" fmla="*/ 645200 w 1293444"/>
                <a:gd name="connsiteY219" fmla="*/ 682625 h 1704975"/>
                <a:gd name="connsiteX220" fmla="*/ 635675 w 1293444"/>
                <a:gd name="connsiteY220" fmla="*/ 676275 h 1704975"/>
                <a:gd name="connsiteX221" fmla="*/ 632500 w 1293444"/>
                <a:gd name="connsiteY221" fmla="*/ 666750 h 1704975"/>
                <a:gd name="connsiteX222" fmla="*/ 635675 w 1293444"/>
                <a:gd name="connsiteY222" fmla="*/ 590550 h 1704975"/>
                <a:gd name="connsiteX223" fmla="*/ 642025 w 1293444"/>
                <a:gd name="connsiteY223" fmla="*/ 571500 h 1704975"/>
                <a:gd name="connsiteX224" fmla="*/ 648375 w 1293444"/>
                <a:gd name="connsiteY224" fmla="*/ 561975 h 1704975"/>
                <a:gd name="connsiteX225" fmla="*/ 638850 w 1293444"/>
                <a:gd name="connsiteY225" fmla="*/ 536575 h 1704975"/>
                <a:gd name="connsiteX226" fmla="*/ 629325 w 1293444"/>
                <a:gd name="connsiteY226" fmla="*/ 533400 h 1704975"/>
                <a:gd name="connsiteX227" fmla="*/ 626150 w 1293444"/>
                <a:gd name="connsiteY227" fmla="*/ 523875 h 1704975"/>
                <a:gd name="connsiteX228" fmla="*/ 632500 w 1293444"/>
                <a:gd name="connsiteY228" fmla="*/ 498475 h 1704975"/>
                <a:gd name="connsiteX229" fmla="*/ 635675 w 1293444"/>
                <a:gd name="connsiteY229" fmla="*/ 485775 h 1704975"/>
                <a:gd name="connsiteX230" fmla="*/ 626150 w 1293444"/>
                <a:gd name="connsiteY230" fmla="*/ 463550 h 1704975"/>
                <a:gd name="connsiteX231" fmla="*/ 616625 w 1293444"/>
                <a:gd name="connsiteY231" fmla="*/ 460375 h 1704975"/>
                <a:gd name="connsiteX232" fmla="*/ 607100 w 1293444"/>
                <a:gd name="connsiteY232" fmla="*/ 454025 h 1704975"/>
                <a:gd name="connsiteX233" fmla="*/ 591225 w 1293444"/>
                <a:gd name="connsiteY233" fmla="*/ 450850 h 1704975"/>
                <a:gd name="connsiteX234" fmla="*/ 569000 w 1293444"/>
                <a:gd name="connsiteY234" fmla="*/ 441325 h 1704975"/>
                <a:gd name="connsiteX235" fmla="*/ 546775 w 1293444"/>
                <a:gd name="connsiteY235" fmla="*/ 415925 h 1704975"/>
                <a:gd name="connsiteX236" fmla="*/ 540425 w 1293444"/>
                <a:gd name="connsiteY236" fmla="*/ 406400 h 1704975"/>
                <a:gd name="connsiteX237" fmla="*/ 530900 w 1293444"/>
                <a:gd name="connsiteY237" fmla="*/ 400050 h 1704975"/>
                <a:gd name="connsiteX238" fmla="*/ 508675 w 1293444"/>
                <a:gd name="connsiteY238" fmla="*/ 374650 h 1704975"/>
                <a:gd name="connsiteX239" fmla="*/ 502325 w 1293444"/>
                <a:gd name="connsiteY239" fmla="*/ 365125 h 1704975"/>
                <a:gd name="connsiteX240" fmla="*/ 483275 w 1293444"/>
                <a:gd name="connsiteY240" fmla="*/ 346075 h 1704975"/>
                <a:gd name="connsiteX241" fmla="*/ 486450 w 1293444"/>
                <a:gd name="connsiteY241" fmla="*/ 333375 h 1704975"/>
                <a:gd name="connsiteX242" fmla="*/ 492800 w 1293444"/>
                <a:gd name="connsiteY242" fmla="*/ 314325 h 1704975"/>
                <a:gd name="connsiteX243" fmla="*/ 489625 w 1293444"/>
                <a:gd name="connsiteY243" fmla="*/ 292100 h 1704975"/>
                <a:gd name="connsiteX244" fmla="*/ 461050 w 1293444"/>
                <a:gd name="connsiteY244" fmla="*/ 266700 h 1704975"/>
                <a:gd name="connsiteX245" fmla="*/ 435650 w 1293444"/>
                <a:gd name="connsiteY245" fmla="*/ 254000 h 1704975"/>
                <a:gd name="connsiteX246" fmla="*/ 413425 w 1293444"/>
                <a:gd name="connsiteY246" fmla="*/ 238125 h 1704975"/>
                <a:gd name="connsiteX247" fmla="*/ 403900 w 1293444"/>
                <a:gd name="connsiteY247" fmla="*/ 231775 h 1704975"/>
                <a:gd name="connsiteX248" fmla="*/ 388025 w 1293444"/>
                <a:gd name="connsiteY248" fmla="*/ 212725 h 1704975"/>
                <a:gd name="connsiteX249" fmla="*/ 372150 w 1293444"/>
                <a:gd name="connsiteY249" fmla="*/ 196850 h 1704975"/>
                <a:gd name="connsiteX250" fmla="*/ 365800 w 1293444"/>
                <a:gd name="connsiteY250" fmla="*/ 177800 h 1704975"/>
                <a:gd name="connsiteX251" fmla="*/ 359450 w 1293444"/>
                <a:gd name="connsiteY251" fmla="*/ 149225 h 1704975"/>
                <a:gd name="connsiteX252" fmla="*/ 362625 w 1293444"/>
                <a:gd name="connsiteY252" fmla="*/ 114300 h 1704975"/>
                <a:gd name="connsiteX253" fmla="*/ 368975 w 1293444"/>
                <a:gd name="connsiteY253" fmla="*/ 104775 h 1704975"/>
                <a:gd name="connsiteX254" fmla="*/ 375325 w 1293444"/>
                <a:gd name="connsiteY254"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384175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48350 w 1293444"/>
                <a:gd name="connsiteY139" fmla="*/ 1635125 h 1704975"/>
                <a:gd name="connsiteX140" fmla="*/ 445175 w 1293444"/>
                <a:gd name="connsiteY140" fmla="*/ 1625600 h 1704975"/>
                <a:gd name="connsiteX141" fmla="*/ 435650 w 1293444"/>
                <a:gd name="connsiteY141" fmla="*/ 1606550 h 1704975"/>
                <a:gd name="connsiteX142" fmla="*/ 432475 w 1293444"/>
                <a:gd name="connsiteY142" fmla="*/ 1495425 h 1704975"/>
                <a:gd name="connsiteX143" fmla="*/ 429300 w 1293444"/>
                <a:gd name="connsiteY143" fmla="*/ 1485900 h 1704975"/>
                <a:gd name="connsiteX144" fmla="*/ 426125 w 1293444"/>
                <a:gd name="connsiteY144" fmla="*/ 1473200 h 1704975"/>
                <a:gd name="connsiteX145" fmla="*/ 419775 w 1293444"/>
                <a:gd name="connsiteY145" fmla="*/ 1463675 h 1704975"/>
                <a:gd name="connsiteX146" fmla="*/ 416600 w 1293444"/>
                <a:gd name="connsiteY146" fmla="*/ 1454150 h 1704975"/>
                <a:gd name="connsiteX147" fmla="*/ 403900 w 1293444"/>
                <a:gd name="connsiteY147" fmla="*/ 1435100 h 1704975"/>
                <a:gd name="connsiteX148" fmla="*/ 397550 w 1293444"/>
                <a:gd name="connsiteY148" fmla="*/ 1416050 h 1704975"/>
                <a:gd name="connsiteX149" fmla="*/ 394375 w 1293444"/>
                <a:gd name="connsiteY149" fmla="*/ 1381125 h 1704975"/>
                <a:gd name="connsiteX150" fmla="*/ 391200 w 1293444"/>
                <a:gd name="connsiteY150" fmla="*/ 1368425 h 1704975"/>
                <a:gd name="connsiteX151" fmla="*/ 388025 w 1293444"/>
                <a:gd name="connsiteY151" fmla="*/ 1352550 h 1704975"/>
                <a:gd name="connsiteX152" fmla="*/ 381675 w 1293444"/>
                <a:gd name="connsiteY152" fmla="*/ 1333500 h 1704975"/>
                <a:gd name="connsiteX153" fmla="*/ 378500 w 1293444"/>
                <a:gd name="connsiteY153" fmla="*/ 1323975 h 1704975"/>
                <a:gd name="connsiteX154" fmla="*/ 375325 w 1293444"/>
                <a:gd name="connsiteY154" fmla="*/ 1308100 h 1704975"/>
                <a:gd name="connsiteX155" fmla="*/ 368975 w 1293444"/>
                <a:gd name="connsiteY155" fmla="*/ 1289050 h 1704975"/>
                <a:gd name="connsiteX156" fmla="*/ 362625 w 1293444"/>
                <a:gd name="connsiteY156" fmla="*/ 1260475 h 1704975"/>
                <a:gd name="connsiteX157" fmla="*/ 359450 w 1293444"/>
                <a:gd name="connsiteY157" fmla="*/ 1231900 h 1704975"/>
                <a:gd name="connsiteX158" fmla="*/ 349925 w 1293444"/>
                <a:gd name="connsiteY158" fmla="*/ 1196975 h 1704975"/>
                <a:gd name="connsiteX159" fmla="*/ 340400 w 1293444"/>
                <a:gd name="connsiteY159" fmla="*/ 1155700 h 1704975"/>
                <a:gd name="connsiteX160" fmla="*/ 334050 w 1293444"/>
                <a:gd name="connsiteY160" fmla="*/ 1130300 h 1704975"/>
                <a:gd name="connsiteX161" fmla="*/ 327700 w 1293444"/>
                <a:gd name="connsiteY161" fmla="*/ 1104900 h 1704975"/>
                <a:gd name="connsiteX162" fmla="*/ 324525 w 1293444"/>
                <a:gd name="connsiteY162" fmla="*/ 1092200 h 1704975"/>
                <a:gd name="connsiteX163" fmla="*/ 318175 w 1293444"/>
                <a:gd name="connsiteY163" fmla="*/ 1050925 h 1704975"/>
                <a:gd name="connsiteX164" fmla="*/ 315000 w 1293444"/>
                <a:gd name="connsiteY164" fmla="*/ 1031875 h 1704975"/>
                <a:gd name="connsiteX165" fmla="*/ 311825 w 1293444"/>
                <a:gd name="connsiteY165" fmla="*/ 1022350 h 1704975"/>
                <a:gd name="connsiteX166" fmla="*/ 308650 w 1293444"/>
                <a:gd name="connsiteY166" fmla="*/ 1006475 h 1704975"/>
                <a:gd name="connsiteX167" fmla="*/ 302300 w 1293444"/>
                <a:gd name="connsiteY167" fmla="*/ 987425 h 1704975"/>
                <a:gd name="connsiteX168" fmla="*/ 299125 w 1293444"/>
                <a:gd name="connsiteY168" fmla="*/ 974725 h 1704975"/>
                <a:gd name="connsiteX169" fmla="*/ 292775 w 1293444"/>
                <a:gd name="connsiteY169" fmla="*/ 955675 h 1704975"/>
                <a:gd name="connsiteX170" fmla="*/ 289600 w 1293444"/>
                <a:gd name="connsiteY170" fmla="*/ 946150 h 1704975"/>
                <a:gd name="connsiteX171" fmla="*/ 280075 w 1293444"/>
                <a:gd name="connsiteY171" fmla="*/ 923925 h 1704975"/>
                <a:gd name="connsiteX172" fmla="*/ 261025 w 1293444"/>
                <a:gd name="connsiteY172" fmla="*/ 908050 h 1704975"/>
                <a:gd name="connsiteX173" fmla="*/ 241975 w 1293444"/>
                <a:gd name="connsiteY173" fmla="*/ 901700 h 1704975"/>
                <a:gd name="connsiteX174" fmla="*/ 222925 w 1293444"/>
                <a:gd name="connsiteY174" fmla="*/ 889000 h 1704975"/>
                <a:gd name="connsiteX175" fmla="*/ 213400 w 1293444"/>
                <a:gd name="connsiteY175" fmla="*/ 885825 h 1704975"/>
                <a:gd name="connsiteX176" fmla="*/ 194350 w 1293444"/>
                <a:gd name="connsiteY176" fmla="*/ 873125 h 1704975"/>
                <a:gd name="connsiteX177" fmla="*/ 175300 w 1293444"/>
                <a:gd name="connsiteY177" fmla="*/ 860425 h 1704975"/>
                <a:gd name="connsiteX178" fmla="*/ 162600 w 1293444"/>
                <a:gd name="connsiteY178" fmla="*/ 850900 h 1704975"/>
                <a:gd name="connsiteX179" fmla="*/ 153075 w 1293444"/>
                <a:gd name="connsiteY179" fmla="*/ 847725 h 1704975"/>
                <a:gd name="connsiteX180" fmla="*/ 134025 w 1293444"/>
                <a:gd name="connsiteY180" fmla="*/ 835025 h 1704975"/>
                <a:gd name="connsiteX181" fmla="*/ 114975 w 1293444"/>
                <a:gd name="connsiteY181" fmla="*/ 822325 h 1704975"/>
                <a:gd name="connsiteX182" fmla="*/ 105450 w 1293444"/>
                <a:gd name="connsiteY182" fmla="*/ 815975 h 1704975"/>
                <a:gd name="connsiteX183" fmla="*/ 95925 w 1293444"/>
                <a:gd name="connsiteY183" fmla="*/ 812800 h 1704975"/>
                <a:gd name="connsiteX184" fmla="*/ 64175 w 1293444"/>
                <a:gd name="connsiteY184" fmla="*/ 790575 h 1704975"/>
                <a:gd name="connsiteX185" fmla="*/ 54650 w 1293444"/>
                <a:gd name="connsiteY185" fmla="*/ 787400 h 1704975"/>
                <a:gd name="connsiteX186" fmla="*/ 38775 w 1293444"/>
                <a:gd name="connsiteY186" fmla="*/ 771525 h 1704975"/>
                <a:gd name="connsiteX187" fmla="*/ 29250 w 1293444"/>
                <a:gd name="connsiteY187" fmla="*/ 762000 h 1704975"/>
                <a:gd name="connsiteX188" fmla="*/ 19725 w 1293444"/>
                <a:gd name="connsiteY188" fmla="*/ 758825 h 1704975"/>
                <a:gd name="connsiteX189" fmla="*/ 675 w 1293444"/>
                <a:gd name="connsiteY189" fmla="*/ 746125 h 1704975"/>
                <a:gd name="connsiteX190" fmla="*/ 51475 w 1293444"/>
                <a:gd name="connsiteY190" fmla="*/ 739775 h 1704975"/>
                <a:gd name="connsiteX191" fmla="*/ 67350 w 1293444"/>
                <a:gd name="connsiteY191" fmla="*/ 736600 h 1704975"/>
                <a:gd name="connsiteX192" fmla="*/ 102275 w 1293444"/>
                <a:gd name="connsiteY192" fmla="*/ 733425 h 1704975"/>
                <a:gd name="connsiteX193" fmla="*/ 130850 w 1293444"/>
                <a:gd name="connsiteY193" fmla="*/ 727075 h 1704975"/>
                <a:gd name="connsiteX194" fmla="*/ 149900 w 1293444"/>
                <a:gd name="connsiteY194" fmla="*/ 723900 h 1704975"/>
                <a:gd name="connsiteX195" fmla="*/ 159425 w 1293444"/>
                <a:gd name="connsiteY195" fmla="*/ 720725 h 1704975"/>
                <a:gd name="connsiteX196" fmla="*/ 175300 w 1293444"/>
                <a:gd name="connsiteY196" fmla="*/ 717550 h 1704975"/>
                <a:gd name="connsiteX197" fmla="*/ 194350 w 1293444"/>
                <a:gd name="connsiteY197" fmla="*/ 711200 h 1704975"/>
                <a:gd name="connsiteX198" fmla="*/ 222925 w 1293444"/>
                <a:gd name="connsiteY198" fmla="*/ 701675 h 1704975"/>
                <a:gd name="connsiteX199" fmla="*/ 232450 w 1293444"/>
                <a:gd name="connsiteY199" fmla="*/ 698500 h 1704975"/>
                <a:gd name="connsiteX200" fmla="*/ 241975 w 1293444"/>
                <a:gd name="connsiteY200" fmla="*/ 695325 h 1704975"/>
                <a:gd name="connsiteX201" fmla="*/ 381675 w 1293444"/>
                <a:gd name="connsiteY201" fmla="*/ 688975 h 1704975"/>
                <a:gd name="connsiteX202" fmla="*/ 397550 w 1293444"/>
                <a:gd name="connsiteY202" fmla="*/ 685800 h 1704975"/>
                <a:gd name="connsiteX203" fmla="*/ 407075 w 1293444"/>
                <a:gd name="connsiteY203" fmla="*/ 682625 h 1704975"/>
                <a:gd name="connsiteX204" fmla="*/ 419775 w 1293444"/>
                <a:gd name="connsiteY204" fmla="*/ 679450 h 1704975"/>
                <a:gd name="connsiteX205" fmla="*/ 438825 w 1293444"/>
                <a:gd name="connsiteY205" fmla="*/ 673100 h 1704975"/>
                <a:gd name="connsiteX206" fmla="*/ 467400 w 1293444"/>
                <a:gd name="connsiteY206" fmla="*/ 663575 h 1704975"/>
                <a:gd name="connsiteX207" fmla="*/ 495975 w 1293444"/>
                <a:gd name="connsiteY207" fmla="*/ 654050 h 1704975"/>
                <a:gd name="connsiteX208" fmla="*/ 505500 w 1293444"/>
                <a:gd name="connsiteY208" fmla="*/ 650875 h 1704975"/>
                <a:gd name="connsiteX209" fmla="*/ 527725 w 1293444"/>
                <a:gd name="connsiteY209" fmla="*/ 641350 h 1704975"/>
                <a:gd name="connsiteX210" fmla="*/ 537250 w 1293444"/>
                <a:gd name="connsiteY210" fmla="*/ 635000 h 1704975"/>
                <a:gd name="connsiteX211" fmla="*/ 546775 w 1293444"/>
                <a:gd name="connsiteY211" fmla="*/ 631825 h 1704975"/>
                <a:gd name="connsiteX212" fmla="*/ 559475 w 1293444"/>
                <a:gd name="connsiteY212" fmla="*/ 625475 h 1704975"/>
                <a:gd name="connsiteX213" fmla="*/ 578525 w 1293444"/>
                <a:gd name="connsiteY213" fmla="*/ 657225 h 1704975"/>
                <a:gd name="connsiteX214" fmla="*/ 588050 w 1293444"/>
                <a:gd name="connsiteY214" fmla="*/ 660400 h 1704975"/>
                <a:gd name="connsiteX215" fmla="*/ 607100 w 1293444"/>
                <a:gd name="connsiteY215" fmla="*/ 673100 h 1704975"/>
                <a:gd name="connsiteX216" fmla="*/ 626150 w 1293444"/>
                <a:gd name="connsiteY216" fmla="*/ 679450 h 1704975"/>
                <a:gd name="connsiteX217" fmla="*/ 635675 w 1293444"/>
                <a:gd name="connsiteY217" fmla="*/ 685800 h 1704975"/>
                <a:gd name="connsiteX218" fmla="*/ 654725 w 1293444"/>
                <a:gd name="connsiteY218" fmla="*/ 692150 h 1704975"/>
                <a:gd name="connsiteX219" fmla="*/ 645200 w 1293444"/>
                <a:gd name="connsiteY219" fmla="*/ 682625 h 1704975"/>
                <a:gd name="connsiteX220" fmla="*/ 635675 w 1293444"/>
                <a:gd name="connsiteY220" fmla="*/ 676275 h 1704975"/>
                <a:gd name="connsiteX221" fmla="*/ 632500 w 1293444"/>
                <a:gd name="connsiteY221" fmla="*/ 666750 h 1704975"/>
                <a:gd name="connsiteX222" fmla="*/ 635675 w 1293444"/>
                <a:gd name="connsiteY222" fmla="*/ 590550 h 1704975"/>
                <a:gd name="connsiteX223" fmla="*/ 642025 w 1293444"/>
                <a:gd name="connsiteY223" fmla="*/ 571500 h 1704975"/>
                <a:gd name="connsiteX224" fmla="*/ 648375 w 1293444"/>
                <a:gd name="connsiteY224" fmla="*/ 561975 h 1704975"/>
                <a:gd name="connsiteX225" fmla="*/ 638850 w 1293444"/>
                <a:gd name="connsiteY225" fmla="*/ 536575 h 1704975"/>
                <a:gd name="connsiteX226" fmla="*/ 629325 w 1293444"/>
                <a:gd name="connsiteY226" fmla="*/ 533400 h 1704975"/>
                <a:gd name="connsiteX227" fmla="*/ 626150 w 1293444"/>
                <a:gd name="connsiteY227" fmla="*/ 523875 h 1704975"/>
                <a:gd name="connsiteX228" fmla="*/ 632500 w 1293444"/>
                <a:gd name="connsiteY228" fmla="*/ 498475 h 1704975"/>
                <a:gd name="connsiteX229" fmla="*/ 635675 w 1293444"/>
                <a:gd name="connsiteY229" fmla="*/ 485775 h 1704975"/>
                <a:gd name="connsiteX230" fmla="*/ 626150 w 1293444"/>
                <a:gd name="connsiteY230" fmla="*/ 463550 h 1704975"/>
                <a:gd name="connsiteX231" fmla="*/ 616625 w 1293444"/>
                <a:gd name="connsiteY231" fmla="*/ 460375 h 1704975"/>
                <a:gd name="connsiteX232" fmla="*/ 607100 w 1293444"/>
                <a:gd name="connsiteY232" fmla="*/ 454025 h 1704975"/>
                <a:gd name="connsiteX233" fmla="*/ 591225 w 1293444"/>
                <a:gd name="connsiteY233" fmla="*/ 450850 h 1704975"/>
                <a:gd name="connsiteX234" fmla="*/ 569000 w 1293444"/>
                <a:gd name="connsiteY234" fmla="*/ 441325 h 1704975"/>
                <a:gd name="connsiteX235" fmla="*/ 546775 w 1293444"/>
                <a:gd name="connsiteY235" fmla="*/ 415925 h 1704975"/>
                <a:gd name="connsiteX236" fmla="*/ 540425 w 1293444"/>
                <a:gd name="connsiteY236" fmla="*/ 406400 h 1704975"/>
                <a:gd name="connsiteX237" fmla="*/ 530900 w 1293444"/>
                <a:gd name="connsiteY237" fmla="*/ 400050 h 1704975"/>
                <a:gd name="connsiteX238" fmla="*/ 508675 w 1293444"/>
                <a:gd name="connsiteY238" fmla="*/ 374650 h 1704975"/>
                <a:gd name="connsiteX239" fmla="*/ 502325 w 1293444"/>
                <a:gd name="connsiteY239" fmla="*/ 365125 h 1704975"/>
                <a:gd name="connsiteX240" fmla="*/ 483275 w 1293444"/>
                <a:gd name="connsiteY240" fmla="*/ 346075 h 1704975"/>
                <a:gd name="connsiteX241" fmla="*/ 486450 w 1293444"/>
                <a:gd name="connsiteY241" fmla="*/ 333375 h 1704975"/>
                <a:gd name="connsiteX242" fmla="*/ 492800 w 1293444"/>
                <a:gd name="connsiteY242" fmla="*/ 314325 h 1704975"/>
                <a:gd name="connsiteX243" fmla="*/ 489625 w 1293444"/>
                <a:gd name="connsiteY243" fmla="*/ 292100 h 1704975"/>
                <a:gd name="connsiteX244" fmla="*/ 461050 w 1293444"/>
                <a:gd name="connsiteY244" fmla="*/ 266700 h 1704975"/>
                <a:gd name="connsiteX245" fmla="*/ 435650 w 1293444"/>
                <a:gd name="connsiteY245" fmla="*/ 254000 h 1704975"/>
                <a:gd name="connsiteX246" fmla="*/ 413425 w 1293444"/>
                <a:gd name="connsiteY246" fmla="*/ 238125 h 1704975"/>
                <a:gd name="connsiteX247" fmla="*/ 403900 w 1293444"/>
                <a:gd name="connsiteY247" fmla="*/ 231775 h 1704975"/>
                <a:gd name="connsiteX248" fmla="*/ 388025 w 1293444"/>
                <a:gd name="connsiteY248" fmla="*/ 212725 h 1704975"/>
                <a:gd name="connsiteX249" fmla="*/ 372150 w 1293444"/>
                <a:gd name="connsiteY249" fmla="*/ 196850 h 1704975"/>
                <a:gd name="connsiteX250" fmla="*/ 365800 w 1293444"/>
                <a:gd name="connsiteY250" fmla="*/ 177800 h 1704975"/>
                <a:gd name="connsiteX251" fmla="*/ 359450 w 1293444"/>
                <a:gd name="connsiteY251" fmla="*/ 149225 h 1704975"/>
                <a:gd name="connsiteX252" fmla="*/ 362625 w 1293444"/>
                <a:gd name="connsiteY252" fmla="*/ 114300 h 1704975"/>
                <a:gd name="connsiteX253" fmla="*/ 368975 w 1293444"/>
                <a:gd name="connsiteY253" fmla="*/ 104775 h 1704975"/>
                <a:gd name="connsiteX254" fmla="*/ 375325 w 1293444"/>
                <a:gd name="connsiteY254" fmla="*/ 38100 h 1704975"/>
                <a:gd name="connsiteX0" fmla="*/ 375325 w 1528115"/>
                <a:gd name="connsiteY0" fmla="*/ 38100 h 1704975"/>
                <a:gd name="connsiteX1" fmla="*/ 410250 w 1528115"/>
                <a:gd name="connsiteY1" fmla="*/ 28575 h 1704975"/>
                <a:gd name="connsiteX2" fmla="*/ 419775 w 1528115"/>
                <a:gd name="connsiteY2" fmla="*/ 31750 h 1704975"/>
                <a:gd name="connsiteX3" fmla="*/ 464225 w 1528115"/>
                <a:gd name="connsiteY3" fmla="*/ 28575 h 1704975"/>
                <a:gd name="connsiteX4" fmla="*/ 483275 w 1528115"/>
                <a:gd name="connsiteY4" fmla="*/ 15875 h 1704975"/>
                <a:gd name="connsiteX5" fmla="*/ 502325 w 1528115"/>
                <a:gd name="connsiteY5" fmla="*/ 9525 h 1704975"/>
                <a:gd name="connsiteX6" fmla="*/ 502325 w 1528115"/>
                <a:gd name="connsiteY6" fmla="*/ 9525 h 1704975"/>
                <a:gd name="connsiteX7" fmla="*/ 518200 w 1528115"/>
                <a:gd name="connsiteY7" fmla="*/ 6350 h 1704975"/>
                <a:gd name="connsiteX8" fmla="*/ 537250 w 1528115"/>
                <a:gd name="connsiteY8" fmla="*/ 0 h 1704975"/>
                <a:gd name="connsiteX9" fmla="*/ 549950 w 1528115"/>
                <a:gd name="connsiteY9" fmla="*/ 19050 h 1704975"/>
                <a:gd name="connsiteX10" fmla="*/ 581700 w 1528115"/>
                <a:gd name="connsiteY10" fmla="*/ 28575 h 1704975"/>
                <a:gd name="connsiteX11" fmla="*/ 597575 w 1528115"/>
                <a:gd name="connsiteY11" fmla="*/ 31750 h 1704975"/>
                <a:gd name="connsiteX12" fmla="*/ 616625 w 1528115"/>
                <a:gd name="connsiteY12" fmla="*/ 38100 h 1704975"/>
                <a:gd name="connsiteX13" fmla="*/ 657900 w 1528115"/>
                <a:gd name="connsiteY13" fmla="*/ 50800 h 1704975"/>
                <a:gd name="connsiteX14" fmla="*/ 667425 w 1528115"/>
                <a:gd name="connsiteY14" fmla="*/ 69850 h 1704975"/>
                <a:gd name="connsiteX15" fmla="*/ 670600 w 1528115"/>
                <a:gd name="connsiteY15" fmla="*/ 104775 h 1704975"/>
                <a:gd name="connsiteX16" fmla="*/ 673775 w 1528115"/>
                <a:gd name="connsiteY16" fmla="*/ 114300 h 1704975"/>
                <a:gd name="connsiteX17" fmla="*/ 683300 w 1528115"/>
                <a:gd name="connsiteY17" fmla="*/ 120650 h 1704975"/>
                <a:gd name="connsiteX18" fmla="*/ 696000 w 1528115"/>
                <a:gd name="connsiteY18" fmla="*/ 139700 h 1704975"/>
                <a:gd name="connsiteX19" fmla="*/ 708700 w 1528115"/>
                <a:gd name="connsiteY19" fmla="*/ 168275 h 1704975"/>
                <a:gd name="connsiteX20" fmla="*/ 718225 w 1528115"/>
                <a:gd name="connsiteY20" fmla="*/ 174625 h 1704975"/>
                <a:gd name="connsiteX21" fmla="*/ 721400 w 1528115"/>
                <a:gd name="connsiteY21" fmla="*/ 184150 h 1704975"/>
                <a:gd name="connsiteX22" fmla="*/ 740450 w 1528115"/>
                <a:gd name="connsiteY22" fmla="*/ 196850 h 1704975"/>
                <a:gd name="connsiteX23" fmla="*/ 753150 w 1528115"/>
                <a:gd name="connsiteY23" fmla="*/ 215900 h 1704975"/>
                <a:gd name="connsiteX24" fmla="*/ 772200 w 1528115"/>
                <a:gd name="connsiteY24" fmla="*/ 231775 h 1704975"/>
                <a:gd name="connsiteX25" fmla="*/ 791250 w 1528115"/>
                <a:gd name="connsiteY25" fmla="*/ 244475 h 1704975"/>
                <a:gd name="connsiteX26" fmla="*/ 800775 w 1528115"/>
                <a:gd name="connsiteY26" fmla="*/ 250825 h 1704975"/>
                <a:gd name="connsiteX27" fmla="*/ 819825 w 1528115"/>
                <a:gd name="connsiteY27" fmla="*/ 257175 h 1704975"/>
                <a:gd name="connsiteX28" fmla="*/ 838875 w 1528115"/>
                <a:gd name="connsiteY28" fmla="*/ 266700 h 1704975"/>
                <a:gd name="connsiteX29" fmla="*/ 857925 w 1528115"/>
                <a:gd name="connsiteY29" fmla="*/ 276225 h 1704975"/>
                <a:gd name="connsiteX30" fmla="*/ 880150 w 1528115"/>
                <a:gd name="connsiteY30" fmla="*/ 269875 h 1704975"/>
                <a:gd name="connsiteX31" fmla="*/ 889675 w 1528115"/>
                <a:gd name="connsiteY31" fmla="*/ 263525 h 1704975"/>
                <a:gd name="connsiteX32" fmla="*/ 921425 w 1528115"/>
                <a:gd name="connsiteY32" fmla="*/ 254000 h 1704975"/>
                <a:gd name="connsiteX33" fmla="*/ 930950 w 1528115"/>
                <a:gd name="connsiteY33" fmla="*/ 250825 h 1704975"/>
                <a:gd name="connsiteX34" fmla="*/ 950000 w 1528115"/>
                <a:gd name="connsiteY34" fmla="*/ 254000 h 1704975"/>
                <a:gd name="connsiteX35" fmla="*/ 953175 w 1528115"/>
                <a:gd name="connsiteY35" fmla="*/ 263525 h 1704975"/>
                <a:gd name="connsiteX36" fmla="*/ 943650 w 1528115"/>
                <a:gd name="connsiteY36" fmla="*/ 317500 h 1704975"/>
                <a:gd name="connsiteX37" fmla="*/ 946825 w 1528115"/>
                <a:gd name="connsiteY37" fmla="*/ 330200 h 1704975"/>
                <a:gd name="connsiteX38" fmla="*/ 965875 w 1528115"/>
                <a:gd name="connsiteY38" fmla="*/ 339725 h 1704975"/>
                <a:gd name="connsiteX39" fmla="*/ 981750 w 1528115"/>
                <a:gd name="connsiteY39" fmla="*/ 336550 h 1704975"/>
                <a:gd name="connsiteX40" fmla="*/ 991275 w 1528115"/>
                <a:gd name="connsiteY40" fmla="*/ 330200 h 1704975"/>
                <a:gd name="connsiteX41" fmla="*/ 1000800 w 1528115"/>
                <a:gd name="connsiteY41" fmla="*/ 327025 h 1704975"/>
                <a:gd name="connsiteX42" fmla="*/ 1010325 w 1528115"/>
                <a:gd name="connsiteY42" fmla="*/ 320675 h 1704975"/>
                <a:gd name="connsiteX43" fmla="*/ 1029375 w 1528115"/>
                <a:gd name="connsiteY43" fmla="*/ 311150 h 1704975"/>
                <a:gd name="connsiteX44" fmla="*/ 1032550 w 1528115"/>
                <a:gd name="connsiteY44" fmla="*/ 301625 h 1704975"/>
                <a:gd name="connsiteX45" fmla="*/ 1026200 w 1528115"/>
                <a:gd name="connsiteY45" fmla="*/ 292100 h 1704975"/>
                <a:gd name="connsiteX46" fmla="*/ 1038900 w 1528115"/>
                <a:gd name="connsiteY46" fmla="*/ 279400 h 1704975"/>
                <a:gd name="connsiteX47" fmla="*/ 1083350 w 1528115"/>
                <a:gd name="connsiteY47" fmla="*/ 282575 h 1704975"/>
                <a:gd name="connsiteX48" fmla="*/ 1096050 w 1528115"/>
                <a:gd name="connsiteY48" fmla="*/ 307975 h 1704975"/>
                <a:gd name="connsiteX49" fmla="*/ 1105575 w 1528115"/>
                <a:gd name="connsiteY49" fmla="*/ 314325 h 1704975"/>
                <a:gd name="connsiteX50" fmla="*/ 1111925 w 1528115"/>
                <a:gd name="connsiteY50" fmla="*/ 327025 h 1704975"/>
                <a:gd name="connsiteX51" fmla="*/ 1134150 w 1528115"/>
                <a:gd name="connsiteY51" fmla="*/ 384175 h 1704975"/>
                <a:gd name="connsiteX52" fmla="*/ 1165900 w 1528115"/>
                <a:gd name="connsiteY52" fmla="*/ 454025 h 1704975"/>
                <a:gd name="connsiteX53" fmla="*/ 1207175 w 1528115"/>
                <a:gd name="connsiteY53" fmla="*/ 457200 h 1704975"/>
                <a:gd name="connsiteX54" fmla="*/ 1216700 w 1528115"/>
                <a:gd name="connsiteY54" fmla="*/ 463550 h 1704975"/>
                <a:gd name="connsiteX55" fmla="*/ 1270675 w 1528115"/>
                <a:gd name="connsiteY55" fmla="*/ 469900 h 1704975"/>
                <a:gd name="connsiteX56" fmla="*/ 1277025 w 1528115"/>
                <a:gd name="connsiteY56" fmla="*/ 479425 h 1704975"/>
                <a:gd name="connsiteX57" fmla="*/ 1273850 w 1528115"/>
                <a:gd name="connsiteY57" fmla="*/ 488950 h 1704975"/>
                <a:gd name="connsiteX58" fmla="*/ 1270675 w 1528115"/>
                <a:gd name="connsiteY58" fmla="*/ 511175 h 1704975"/>
                <a:gd name="connsiteX59" fmla="*/ 1264325 w 1528115"/>
                <a:gd name="connsiteY59" fmla="*/ 530225 h 1704975"/>
                <a:gd name="connsiteX60" fmla="*/ 1261150 w 1528115"/>
                <a:gd name="connsiteY60" fmla="*/ 539750 h 1704975"/>
                <a:gd name="connsiteX61" fmla="*/ 1254800 w 1528115"/>
                <a:gd name="connsiteY61" fmla="*/ 571500 h 1704975"/>
                <a:gd name="connsiteX62" fmla="*/ 1254800 w 1528115"/>
                <a:gd name="connsiteY62" fmla="*/ 692150 h 1704975"/>
                <a:gd name="connsiteX63" fmla="*/ 1257975 w 1528115"/>
                <a:gd name="connsiteY63" fmla="*/ 714375 h 1704975"/>
                <a:gd name="connsiteX64" fmla="*/ 1261150 w 1528115"/>
                <a:gd name="connsiteY64" fmla="*/ 723900 h 1704975"/>
                <a:gd name="connsiteX65" fmla="*/ 1273850 w 1528115"/>
                <a:gd name="connsiteY65" fmla="*/ 727075 h 1704975"/>
                <a:gd name="connsiteX66" fmla="*/ 1292900 w 1528115"/>
                <a:gd name="connsiteY66" fmla="*/ 739775 h 1704975"/>
                <a:gd name="connsiteX67" fmla="*/ 1289725 w 1528115"/>
                <a:gd name="connsiteY67" fmla="*/ 784225 h 1704975"/>
                <a:gd name="connsiteX68" fmla="*/ 1273850 w 1528115"/>
                <a:gd name="connsiteY68" fmla="*/ 800100 h 1704975"/>
                <a:gd name="connsiteX69" fmla="*/ 1264325 w 1528115"/>
                <a:gd name="connsiteY69" fmla="*/ 809625 h 1704975"/>
                <a:gd name="connsiteX70" fmla="*/ 1219875 w 1528115"/>
                <a:gd name="connsiteY70" fmla="*/ 819150 h 1704975"/>
                <a:gd name="connsiteX71" fmla="*/ 1200825 w 1528115"/>
                <a:gd name="connsiteY71" fmla="*/ 825500 h 1704975"/>
                <a:gd name="connsiteX72" fmla="*/ 1181775 w 1528115"/>
                <a:gd name="connsiteY72" fmla="*/ 838200 h 1704975"/>
                <a:gd name="connsiteX73" fmla="*/ 1172250 w 1528115"/>
                <a:gd name="connsiteY73" fmla="*/ 844550 h 1704975"/>
                <a:gd name="connsiteX74" fmla="*/ 1153200 w 1528115"/>
                <a:gd name="connsiteY74" fmla="*/ 850900 h 1704975"/>
                <a:gd name="connsiteX75" fmla="*/ 1140500 w 1528115"/>
                <a:gd name="connsiteY75" fmla="*/ 857250 h 1704975"/>
                <a:gd name="connsiteX76" fmla="*/ 1130975 w 1528115"/>
                <a:gd name="connsiteY76" fmla="*/ 863600 h 1704975"/>
                <a:gd name="connsiteX77" fmla="*/ 1105575 w 1528115"/>
                <a:gd name="connsiteY77" fmla="*/ 866775 h 1704975"/>
                <a:gd name="connsiteX78" fmla="*/ 1086525 w 1528115"/>
                <a:gd name="connsiteY78" fmla="*/ 873125 h 1704975"/>
                <a:gd name="connsiteX79" fmla="*/ 1077000 w 1528115"/>
                <a:gd name="connsiteY79" fmla="*/ 879475 h 1704975"/>
                <a:gd name="connsiteX80" fmla="*/ 1057950 w 1528115"/>
                <a:gd name="connsiteY80" fmla="*/ 885825 h 1704975"/>
                <a:gd name="connsiteX81" fmla="*/ 1048425 w 1528115"/>
                <a:gd name="connsiteY81" fmla="*/ 889000 h 1704975"/>
                <a:gd name="connsiteX82" fmla="*/ 1029375 w 1528115"/>
                <a:gd name="connsiteY82" fmla="*/ 908050 h 1704975"/>
                <a:gd name="connsiteX83" fmla="*/ 1010325 w 1528115"/>
                <a:gd name="connsiteY83" fmla="*/ 914400 h 1704975"/>
                <a:gd name="connsiteX84" fmla="*/ 1003975 w 1528115"/>
                <a:gd name="connsiteY84" fmla="*/ 923925 h 1704975"/>
                <a:gd name="connsiteX85" fmla="*/ 994450 w 1528115"/>
                <a:gd name="connsiteY85" fmla="*/ 933450 h 1704975"/>
                <a:gd name="connsiteX86" fmla="*/ 991275 w 1528115"/>
                <a:gd name="connsiteY86" fmla="*/ 942975 h 1704975"/>
                <a:gd name="connsiteX87" fmla="*/ 988100 w 1528115"/>
                <a:gd name="connsiteY87" fmla="*/ 962025 h 1704975"/>
                <a:gd name="connsiteX88" fmla="*/ 969050 w 1528115"/>
                <a:gd name="connsiteY88" fmla="*/ 968375 h 1704975"/>
                <a:gd name="connsiteX89" fmla="*/ 950000 w 1528115"/>
                <a:gd name="connsiteY89" fmla="*/ 981075 h 1704975"/>
                <a:gd name="connsiteX90" fmla="*/ 940475 w 1528115"/>
                <a:gd name="connsiteY90" fmla="*/ 987425 h 1704975"/>
                <a:gd name="connsiteX91" fmla="*/ 930950 w 1528115"/>
                <a:gd name="connsiteY91" fmla="*/ 1006475 h 1704975"/>
                <a:gd name="connsiteX92" fmla="*/ 924600 w 1528115"/>
                <a:gd name="connsiteY92" fmla="*/ 1016000 h 1704975"/>
                <a:gd name="connsiteX93" fmla="*/ 921425 w 1528115"/>
                <a:gd name="connsiteY93" fmla="*/ 1025525 h 1704975"/>
                <a:gd name="connsiteX94" fmla="*/ 905550 w 1528115"/>
                <a:gd name="connsiteY94" fmla="*/ 1044575 h 1704975"/>
                <a:gd name="connsiteX95" fmla="*/ 896025 w 1528115"/>
                <a:gd name="connsiteY95" fmla="*/ 1063625 h 1704975"/>
                <a:gd name="connsiteX96" fmla="*/ 867450 w 1528115"/>
                <a:gd name="connsiteY96" fmla="*/ 1085850 h 1704975"/>
                <a:gd name="connsiteX97" fmla="*/ 848400 w 1528115"/>
                <a:gd name="connsiteY97" fmla="*/ 1095375 h 1704975"/>
                <a:gd name="connsiteX98" fmla="*/ 813475 w 1528115"/>
                <a:gd name="connsiteY98" fmla="*/ 1092200 h 1704975"/>
                <a:gd name="connsiteX99" fmla="*/ 772200 w 1528115"/>
                <a:gd name="connsiteY99" fmla="*/ 1098550 h 1704975"/>
                <a:gd name="connsiteX100" fmla="*/ 759500 w 1528115"/>
                <a:gd name="connsiteY100" fmla="*/ 1127125 h 1704975"/>
                <a:gd name="connsiteX101" fmla="*/ 756325 w 1528115"/>
                <a:gd name="connsiteY101" fmla="*/ 1136650 h 1704975"/>
                <a:gd name="connsiteX102" fmla="*/ 740450 w 1528115"/>
                <a:gd name="connsiteY102" fmla="*/ 1155700 h 1704975"/>
                <a:gd name="connsiteX103" fmla="*/ 718225 w 1528115"/>
                <a:gd name="connsiteY103" fmla="*/ 1181100 h 1704975"/>
                <a:gd name="connsiteX104" fmla="*/ 721400 w 1528115"/>
                <a:gd name="connsiteY104" fmla="*/ 1238250 h 1704975"/>
                <a:gd name="connsiteX105" fmla="*/ 727750 w 1528115"/>
                <a:gd name="connsiteY105" fmla="*/ 1247775 h 1704975"/>
                <a:gd name="connsiteX106" fmla="*/ 730925 w 1528115"/>
                <a:gd name="connsiteY106" fmla="*/ 1257300 h 1704975"/>
                <a:gd name="connsiteX107" fmla="*/ 740450 w 1528115"/>
                <a:gd name="connsiteY107" fmla="*/ 1276350 h 1704975"/>
                <a:gd name="connsiteX108" fmla="*/ 743625 w 1528115"/>
                <a:gd name="connsiteY108" fmla="*/ 1320800 h 1704975"/>
                <a:gd name="connsiteX109" fmla="*/ 746800 w 1528115"/>
                <a:gd name="connsiteY109" fmla="*/ 1330325 h 1704975"/>
                <a:gd name="connsiteX110" fmla="*/ 756325 w 1528115"/>
                <a:gd name="connsiteY110" fmla="*/ 1336675 h 1704975"/>
                <a:gd name="connsiteX111" fmla="*/ 762675 w 1528115"/>
                <a:gd name="connsiteY111" fmla="*/ 1346200 h 1704975"/>
                <a:gd name="connsiteX112" fmla="*/ 769025 w 1528115"/>
                <a:gd name="connsiteY112" fmla="*/ 1393825 h 1704975"/>
                <a:gd name="connsiteX113" fmla="*/ 775375 w 1528115"/>
                <a:gd name="connsiteY113" fmla="*/ 1412875 h 1704975"/>
                <a:gd name="connsiteX114" fmla="*/ 781725 w 1528115"/>
                <a:gd name="connsiteY114" fmla="*/ 1435100 h 1704975"/>
                <a:gd name="connsiteX115" fmla="*/ 772200 w 1528115"/>
                <a:gd name="connsiteY115" fmla="*/ 1460500 h 1704975"/>
                <a:gd name="connsiteX116" fmla="*/ 762675 w 1528115"/>
                <a:gd name="connsiteY116" fmla="*/ 1466850 h 1704975"/>
                <a:gd name="connsiteX117" fmla="*/ 753150 w 1528115"/>
                <a:gd name="connsiteY117" fmla="*/ 1485900 h 1704975"/>
                <a:gd name="connsiteX118" fmla="*/ 749975 w 1528115"/>
                <a:gd name="connsiteY118" fmla="*/ 1514475 h 1704975"/>
                <a:gd name="connsiteX119" fmla="*/ 740450 w 1528115"/>
                <a:gd name="connsiteY119" fmla="*/ 1520825 h 1704975"/>
                <a:gd name="connsiteX120" fmla="*/ 730925 w 1528115"/>
                <a:gd name="connsiteY120" fmla="*/ 1530350 h 1704975"/>
                <a:gd name="connsiteX121" fmla="*/ 718225 w 1528115"/>
                <a:gd name="connsiteY121" fmla="*/ 1549400 h 1704975"/>
                <a:gd name="connsiteX122" fmla="*/ 711875 w 1528115"/>
                <a:gd name="connsiteY122" fmla="*/ 1558925 h 1704975"/>
                <a:gd name="connsiteX123" fmla="*/ 702350 w 1528115"/>
                <a:gd name="connsiteY123" fmla="*/ 1568450 h 1704975"/>
                <a:gd name="connsiteX124" fmla="*/ 699175 w 1528115"/>
                <a:gd name="connsiteY124" fmla="*/ 1577975 h 1704975"/>
                <a:gd name="connsiteX125" fmla="*/ 686475 w 1528115"/>
                <a:gd name="connsiteY125" fmla="*/ 1597025 h 1704975"/>
                <a:gd name="connsiteX126" fmla="*/ 676950 w 1528115"/>
                <a:gd name="connsiteY126" fmla="*/ 1616075 h 1704975"/>
                <a:gd name="connsiteX127" fmla="*/ 667425 w 1528115"/>
                <a:gd name="connsiteY127" fmla="*/ 1619250 h 1704975"/>
                <a:gd name="connsiteX128" fmla="*/ 648375 w 1528115"/>
                <a:gd name="connsiteY128" fmla="*/ 1631950 h 1704975"/>
                <a:gd name="connsiteX129" fmla="*/ 638850 w 1528115"/>
                <a:gd name="connsiteY129" fmla="*/ 1638300 h 1704975"/>
                <a:gd name="connsiteX130" fmla="*/ 607100 w 1528115"/>
                <a:gd name="connsiteY130" fmla="*/ 1676400 h 1704975"/>
                <a:gd name="connsiteX131" fmla="*/ 556300 w 1528115"/>
                <a:gd name="connsiteY131" fmla="*/ 1679575 h 1704975"/>
                <a:gd name="connsiteX132" fmla="*/ 537250 w 1528115"/>
                <a:gd name="connsiteY132" fmla="*/ 1685925 h 1704975"/>
                <a:gd name="connsiteX133" fmla="*/ 515025 w 1528115"/>
                <a:gd name="connsiteY133" fmla="*/ 1698625 h 1704975"/>
                <a:gd name="connsiteX134" fmla="*/ 495975 w 1528115"/>
                <a:gd name="connsiteY134" fmla="*/ 1704975 h 1704975"/>
                <a:gd name="connsiteX135" fmla="*/ 476925 w 1528115"/>
                <a:gd name="connsiteY135" fmla="*/ 1701800 h 1704975"/>
                <a:gd name="connsiteX136" fmla="*/ 470575 w 1528115"/>
                <a:gd name="connsiteY136" fmla="*/ 1692275 h 1704975"/>
                <a:gd name="connsiteX137" fmla="*/ 467400 w 1528115"/>
                <a:gd name="connsiteY137" fmla="*/ 1660525 h 1704975"/>
                <a:gd name="connsiteX138" fmla="*/ 457875 w 1528115"/>
                <a:gd name="connsiteY138" fmla="*/ 1641475 h 1704975"/>
                <a:gd name="connsiteX139" fmla="*/ 448350 w 1528115"/>
                <a:gd name="connsiteY139" fmla="*/ 1635125 h 1704975"/>
                <a:gd name="connsiteX140" fmla="*/ 445175 w 1528115"/>
                <a:gd name="connsiteY140" fmla="*/ 1625600 h 1704975"/>
                <a:gd name="connsiteX141" fmla="*/ 435650 w 1528115"/>
                <a:gd name="connsiteY141" fmla="*/ 1606550 h 1704975"/>
                <a:gd name="connsiteX142" fmla="*/ 432475 w 1528115"/>
                <a:gd name="connsiteY142" fmla="*/ 1495425 h 1704975"/>
                <a:gd name="connsiteX143" fmla="*/ 429300 w 1528115"/>
                <a:gd name="connsiteY143" fmla="*/ 1485900 h 1704975"/>
                <a:gd name="connsiteX144" fmla="*/ 426125 w 1528115"/>
                <a:gd name="connsiteY144" fmla="*/ 1473200 h 1704975"/>
                <a:gd name="connsiteX145" fmla="*/ 419775 w 1528115"/>
                <a:gd name="connsiteY145" fmla="*/ 1463675 h 1704975"/>
                <a:gd name="connsiteX146" fmla="*/ 416600 w 1528115"/>
                <a:gd name="connsiteY146" fmla="*/ 1454150 h 1704975"/>
                <a:gd name="connsiteX147" fmla="*/ 403900 w 1528115"/>
                <a:gd name="connsiteY147" fmla="*/ 1435100 h 1704975"/>
                <a:gd name="connsiteX148" fmla="*/ 397550 w 1528115"/>
                <a:gd name="connsiteY148" fmla="*/ 1416050 h 1704975"/>
                <a:gd name="connsiteX149" fmla="*/ 394375 w 1528115"/>
                <a:gd name="connsiteY149" fmla="*/ 1381125 h 1704975"/>
                <a:gd name="connsiteX150" fmla="*/ 391200 w 1528115"/>
                <a:gd name="connsiteY150" fmla="*/ 1368425 h 1704975"/>
                <a:gd name="connsiteX151" fmla="*/ 388025 w 1528115"/>
                <a:gd name="connsiteY151" fmla="*/ 1352550 h 1704975"/>
                <a:gd name="connsiteX152" fmla="*/ 381675 w 1528115"/>
                <a:gd name="connsiteY152" fmla="*/ 1333500 h 1704975"/>
                <a:gd name="connsiteX153" fmla="*/ 378500 w 1528115"/>
                <a:gd name="connsiteY153" fmla="*/ 1323975 h 1704975"/>
                <a:gd name="connsiteX154" fmla="*/ 375325 w 1528115"/>
                <a:gd name="connsiteY154" fmla="*/ 1308100 h 1704975"/>
                <a:gd name="connsiteX155" fmla="*/ 368975 w 1528115"/>
                <a:gd name="connsiteY155" fmla="*/ 1289050 h 1704975"/>
                <a:gd name="connsiteX156" fmla="*/ 362625 w 1528115"/>
                <a:gd name="connsiteY156" fmla="*/ 1260475 h 1704975"/>
                <a:gd name="connsiteX157" fmla="*/ 359450 w 1528115"/>
                <a:gd name="connsiteY157" fmla="*/ 1231900 h 1704975"/>
                <a:gd name="connsiteX158" fmla="*/ 349925 w 1528115"/>
                <a:gd name="connsiteY158" fmla="*/ 1196975 h 1704975"/>
                <a:gd name="connsiteX159" fmla="*/ 340400 w 1528115"/>
                <a:gd name="connsiteY159" fmla="*/ 1155700 h 1704975"/>
                <a:gd name="connsiteX160" fmla="*/ 334050 w 1528115"/>
                <a:gd name="connsiteY160" fmla="*/ 1130300 h 1704975"/>
                <a:gd name="connsiteX161" fmla="*/ 327700 w 1528115"/>
                <a:gd name="connsiteY161" fmla="*/ 1104900 h 1704975"/>
                <a:gd name="connsiteX162" fmla="*/ 324525 w 1528115"/>
                <a:gd name="connsiteY162" fmla="*/ 1092200 h 1704975"/>
                <a:gd name="connsiteX163" fmla="*/ 318175 w 1528115"/>
                <a:gd name="connsiteY163" fmla="*/ 1050925 h 1704975"/>
                <a:gd name="connsiteX164" fmla="*/ 315000 w 1528115"/>
                <a:gd name="connsiteY164" fmla="*/ 1031875 h 1704975"/>
                <a:gd name="connsiteX165" fmla="*/ 311825 w 1528115"/>
                <a:gd name="connsiteY165" fmla="*/ 1022350 h 1704975"/>
                <a:gd name="connsiteX166" fmla="*/ 308650 w 1528115"/>
                <a:gd name="connsiteY166" fmla="*/ 1006475 h 1704975"/>
                <a:gd name="connsiteX167" fmla="*/ 302300 w 1528115"/>
                <a:gd name="connsiteY167" fmla="*/ 987425 h 1704975"/>
                <a:gd name="connsiteX168" fmla="*/ 299125 w 1528115"/>
                <a:gd name="connsiteY168" fmla="*/ 974725 h 1704975"/>
                <a:gd name="connsiteX169" fmla="*/ 292775 w 1528115"/>
                <a:gd name="connsiteY169" fmla="*/ 955675 h 1704975"/>
                <a:gd name="connsiteX170" fmla="*/ 289600 w 1528115"/>
                <a:gd name="connsiteY170" fmla="*/ 946150 h 1704975"/>
                <a:gd name="connsiteX171" fmla="*/ 280075 w 1528115"/>
                <a:gd name="connsiteY171" fmla="*/ 923925 h 1704975"/>
                <a:gd name="connsiteX172" fmla="*/ 261025 w 1528115"/>
                <a:gd name="connsiteY172" fmla="*/ 908050 h 1704975"/>
                <a:gd name="connsiteX173" fmla="*/ 241975 w 1528115"/>
                <a:gd name="connsiteY173" fmla="*/ 901700 h 1704975"/>
                <a:gd name="connsiteX174" fmla="*/ 222925 w 1528115"/>
                <a:gd name="connsiteY174" fmla="*/ 889000 h 1704975"/>
                <a:gd name="connsiteX175" fmla="*/ 213400 w 1528115"/>
                <a:gd name="connsiteY175" fmla="*/ 885825 h 1704975"/>
                <a:gd name="connsiteX176" fmla="*/ 194350 w 1528115"/>
                <a:gd name="connsiteY176" fmla="*/ 873125 h 1704975"/>
                <a:gd name="connsiteX177" fmla="*/ 175300 w 1528115"/>
                <a:gd name="connsiteY177" fmla="*/ 860425 h 1704975"/>
                <a:gd name="connsiteX178" fmla="*/ 162600 w 1528115"/>
                <a:gd name="connsiteY178" fmla="*/ 850900 h 1704975"/>
                <a:gd name="connsiteX179" fmla="*/ 153075 w 1528115"/>
                <a:gd name="connsiteY179" fmla="*/ 847725 h 1704975"/>
                <a:gd name="connsiteX180" fmla="*/ 134025 w 1528115"/>
                <a:gd name="connsiteY180" fmla="*/ 835025 h 1704975"/>
                <a:gd name="connsiteX181" fmla="*/ 114975 w 1528115"/>
                <a:gd name="connsiteY181" fmla="*/ 822325 h 1704975"/>
                <a:gd name="connsiteX182" fmla="*/ 105450 w 1528115"/>
                <a:gd name="connsiteY182" fmla="*/ 815975 h 1704975"/>
                <a:gd name="connsiteX183" fmla="*/ 95925 w 1528115"/>
                <a:gd name="connsiteY183" fmla="*/ 812800 h 1704975"/>
                <a:gd name="connsiteX184" fmla="*/ 64175 w 1528115"/>
                <a:gd name="connsiteY184" fmla="*/ 790575 h 1704975"/>
                <a:gd name="connsiteX185" fmla="*/ 54650 w 1528115"/>
                <a:gd name="connsiteY185" fmla="*/ 787400 h 1704975"/>
                <a:gd name="connsiteX186" fmla="*/ 38775 w 1528115"/>
                <a:gd name="connsiteY186" fmla="*/ 771525 h 1704975"/>
                <a:gd name="connsiteX187" fmla="*/ 29250 w 1528115"/>
                <a:gd name="connsiteY187" fmla="*/ 762000 h 1704975"/>
                <a:gd name="connsiteX188" fmla="*/ 19725 w 1528115"/>
                <a:gd name="connsiteY188" fmla="*/ 758825 h 1704975"/>
                <a:gd name="connsiteX189" fmla="*/ 675 w 1528115"/>
                <a:gd name="connsiteY189" fmla="*/ 746125 h 1704975"/>
                <a:gd name="connsiteX190" fmla="*/ 51475 w 1528115"/>
                <a:gd name="connsiteY190" fmla="*/ 739775 h 1704975"/>
                <a:gd name="connsiteX191" fmla="*/ 67350 w 1528115"/>
                <a:gd name="connsiteY191" fmla="*/ 736600 h 1704975"/>
                <a:gd name="connsiteX192" fmla="*/ 102275 w 1528115"/>
                <a:gd name="connsiteY192" fmla="*/ 733425 h 1704975"/>
                <a:gd name="connsiteX193" fmla="*/ 130850 w 1528115"/>
                <a:gd name="connsiteY193" fmla="*/ 727075 h 1704975"/>
                <a:gd name="connsiteX194" fmla="*/ 149900 w 1528115"/>
                <a:gd name="connsiteY194" fmla="*/ 723900 h 1704975"/>
                <a:gd name="connsiteX195" fmla="*/ 159425 w 1528115"/>
                <a:gd name="connsiteY195" fmla="*/ 720725 h 1704975"/>
                <a:gd name="connsiteX196" fmla="*/ 175300 w 1528115"/>
                <a:gd name="connsiteY196" fmla="*/ 717550 h 1704975"/>
                <a:gd name="connsiteX197" fmla="*/ 194350 w 1528115"/>
                <a:gd name="connsiteY197" fmla="*/ 711200 h 1704975"/>
                <a:gd name="connsiteX198" fmla="*/ 222925 w 1528115"/>
                <a:gd name="connsiteY198" fmla="*/ 701675 h 1704975"/>
                <a:gd name="connsiteX199" fmla="*/ 232450 w 1528115"/>
                <a:gd name="connsiteY199" fmla="*/ 698500 h 1704975"/>
                <a:gd name="connsiteX200" fmla="*/ 241975 w 1528115"/>
                <a:gd name="connsiteY200" fmla="*/ 695325 h 1704975"/>
                <a:gd name="connsiteX201" fmla="*/ 381675 w 1528115"/>
                <a:gd name="connsiteY201" fmla="*/ 688975 h 1704975"/>
                <a:gd name="connsiteX202" fmla="*/ 397550 w 1528115"/>
                <a:gd name="connsiteY202" fmla="*/ 685800 h 1704975"/>
                <a:gd name="connsiteX203" fmla="*/ 407075 w 1528115"/>
                <a:gd name="connsiteY203" fmla="*/ 682625 h 1704975"/>
                <a:gd name="connsiteX204" fmla="*/ 419775 w 1528115"/>
                <a:gd name="connsiteY204" fmla="*/ 679450 h 1704975"/>
                <a:gd name="connsiteX205" fmla="*/ 438825 w 1528115"/>
                <a:gd name="connsiteY205" fmla="*/ 673100 h 1704975"/>
                <a:gd name="connsiteX206" fmla="*/ 467400 w 1528115"/>
                <a:gd name="connsiteY206" fmla="*/ 663575 h 1704975"/>
                <a:gd name="connsiteX207" fmla="*/ 495975 w 1528115"/>
                <a:gd name="connsiteY207" fmla="*/ 654050 h 1704975"/>
                <a:gd name="connsiteX208" fmla="*/ 505500 w 1528115"/>
                <a:gd name="connsiteY208" fmla="*/ 650875 h 1704975"/>
                <a:gd name="connsiteX209" fmla="*/ 527725 w 1528115"/>
                <a:gd name="connsiteY209" fmla="*/ 641350 h 1704975"/>
                <a:gd name="connsiteX210" fmla="*/ 537250 w 1528115"/>
                <a:gd name="connsiteY210" fmla="*/ 635000 h 1704975"/>
                <a:gd name="connsiteX211" fmla="*/ 546775 w 1528115"/>
                <a:gd name="connsiteY211" fmla="*/ 631825 h 1704975"/>
                <a:gd name="connsiteX212" fmla="*/ 559475 w 1528115"/>
                <a:gd name="connsiteY212" fmla="*/ 625475 h 1704975"/>
                <a:gd name="connsiteX213" fmla="*/ 578525 w 1528115"/>
                <a:gd name="connsiteY213" fmla="*/ 657225 h 1704975"/>
                <a:gd name="connsiteX214" fmla="*/ 588050 w 1528115"/>
                <a:gd name="connsiteY214" fmla="*/ 660400 h 1704975"/>
                <a:gd name="connsiteX215" fmla="*/ 607100 w 1528115"/>
                <a:gd name="connsiteY215" fmla="*/ 673100 h 1704975"/>
                <a:gd name="connsiteX216" fmla="*/ 626150 w 1528115"/>
                <a:gd name="connsiteY216" fmla="*/ 679450 h 1704975"/>
                <a:gd name="connsiteX217" fmla="*/ 635675 w 1528115"/>
                <a:gd name="connsiteY217" fmla="*/ 685800 h 1704975"/>
                <a:gd name="connsiteX218" fmla="*/ 654725 w 1528115"/>
                <a:gd name="connsiteY218" fmla="*/ 692150 h 1704975"/>
                <a:gd name="connsiteX219" fmla="*/ 645200 w 1528115"/>
                <a:gd name="connsiteY219" fmla="*/ 682625 h 1704975"/>
                <a:gd name="connsiteX220" fmla="*/ 635675 w 1528115"/>
                <a:gd name="connsiteY220" fmla="*/ 676275 h 1704975"/>
                <a:gd name="connsiteX221" fmla="*/ 632500 w 1528115"/>
                <a:gd name="connsiteY221" fmla="*/ 666750 h 1704975"/>
                <a:gd name="connsiteX222" fmla="*/ 635675 w 1528115"/>
                <a:gd name="connsiteY222" fmla="*/ 590550 h 1704975"/>
                <a:gd name="connsiteX223" fmla="*/ 642025 w 1528115"/>
                <a:gd name="connsiteY223" fmla="*/ 571500 h 1704975"/>
                <a:gd name="connsiteX224" fmla="*/ 648375 w 1528115"/>
                <a:gd name="connsiteY224" fmla="*/ 561975 h 1704975"/>
                <a:gd name="connsiteX225" fmla="*/ 638850 w 1528115"/>
                <a:gd name="connsiteY225" fmla="*/ 536575 h 1704975"/>
                <a:gd name="connsiteX226" fmla="*/ 629325 w 1528115"/>
                <a:gd name="connsiteY226" fmla="*/ 533400 h 1704975"/>
                <a:gd name="connsiteX227" fmla="*/ 626150 w 1528115"/>
                <a:gd name="connsiteY227" fmla="*/ 523875 h 1704975"/>
                <a:gd name="connsiteX228" fmla="*/ 632500 w 1528115"/>
                <a:gd name="connsiteY228" fmla="*/ 498475 h 1704975"/>
                <a:gd name="connsiteX229" fmla="*/ 635675 w 1528115"/>
                <a:gd name="connsiteY229" fmla="*/ 485775 h 1704975"/>
                <a:gd name="connsiteX230" fmla="*/ 626150 w 1528115"/>
                <a:gd name="connsiteY230" fmla="*/ 463550 h 1704975"/>
                <a:gd name="connsiteX231" fmla="*/ 616625 w 1528115"/>
                <a:gd name="connsiteY231" fmla="*/ 460375 h 1704975"/>
                <a:gd name="connsiteX232" fmla="*/ 607100 w 1528115"/>
                <a:gd name="connsiteY232" fmla="*/ 454025 h 1704975"/>
                <a:gd name="connsiteX233" fmla="*/ 591225 w 1528115"/>
                <a:gd name="connsiteY233" fmla="*/ 450850 h 1704975"/>
                <a:gd name="connsiteX234" fmla="*/ 569000 w 1528115"/>
                <a:gd name="connsiteY234" fmla="*/ 441325 h 1704975"/>
                <a:gd name="connsiteX235" fmla="*/ 546775 w 1528115"/>
                <a:gd name="connsiteY235" fmla="*/ 415925 h 1704975"/>
                <a:gd name="connsiteX236" fmla="*/ 540425 w 1528115"/>
                <a:gd name="connsiteY236" fmla="*/ 406400 h 1704975"/>
                <a:gd name="connsiteX237" fmla="*/ 530900 w 1528115"/>
                <a:gd name="connsiteY237" fmla="*/ 400050 h 1704975"/>
                <a:gd name="connsiteX238" fmla="*/ 508675 w 1528115"/>
                <a:gd name="connsiteY238" fmla="*/ 374650 h 1704975"/>
                <a:gd name="connsiteX239" fmla="*/ 502325 w 1528115"/>
                <a:gd name="connsiteY239" fmla="*/ 365125 h 1704975"/>
                <a:gd name="connsiteX240" fmla="*/ 483275 w 1528115"/>
                <a:gd name="connsiteY240" fmla="*/ 346075 h 1704975"/>
                <a:gd name="connsiteX241" fmla="*/ 486450 w 1528115"/>
                <a:gd name="connsiteY241" fmla="*/ 333375 h 1704975"/>
                <a:gd name="connsiteX242" fmla="*/ 492800 w 1528115"/>
                <a:gd name="connsiteY242" fmla="*/ 314325 h 1704975"/>
                <a:gd name="connsiteX243" fmla="*/ 489625 w 1528115"/>
                <a:gd name="connsiteY243" fmla="*/ 292100 h 1704975"/>
                <a:gd name="connsiteX244" fmla="*/ 461050 w 1528115"/>
                <a:gd name="connsiteY244" fmla="*/ 266700 h 1704975"/>
                <a:gd name="connsiteX245" fmla="*/ 435650 w 1528115"/>
                <a:gd name="connsiteY245" fmla="*/ 254000 h 1704975"/>
                <a:gd name="connsiteX246" fmla="*/ 413425 w 1528115"/>
                <a:gd name="connsiteY246" fmla="*/ 238125 h 1704975"/>
                <a:gd name="connsiteX247" fmla="*/ 403900 w 1528115"/>
                <a:gd name="connsiteY247" fmla="*/ 231775 h 1704975"/>
                <a:gd name="connsiteX248" fmla="*/ 388025 w 1528115"/>
                <a:gd name="connsiteY248" fmla="*/ 212725 h 1704975"/>
                <a:gd name="connsiteX249" fmla="*/ 372150 w 1528115"/>
                <a:gd name="connsiteY249" fmla="*/ 196850 h 1704975"/>
                <a:gd name="connsiteX250" fmla="*/ 365800 w 1528115"/>
                <a:gd name="connsiteY250" fmla="*/ 177800 h 1704975"/>
                <a:gd name="connsiteX251" fmla="*/ 359450 w 1528115"/>
                <a:gd name="connsiteY251" fmla="*/ 149225 h 1704975"/>
                <a:gd name="connsiteX252" fmla="*/ 362625 w 1528115"/>
                <a:gd name="connsiteY252" fmla="*/ 114300 h 1704975"/>
                <a:gd name="connsiteX253" fmla="*/ 368975 w 1528115"/>
                <a:gd name="connsiteY253" fmla="*/ 104775 h 1704975"/>
                <a:gd name="connsiteX254" fmla="*/ 375325 w 1528115"/>
                <a:gd name="connsiteY254" fmla="*/ 38100 h 1704975"/>
                <a:gd name="connsiteX0" fmla="*/ 375325 w 1528115"/>
                <a:gd name="connsiteY0" fmla="*/ 38100 h 1704975"/>
                <a:gd name="connsiteX1" fmla="*/ 410250 w 1528115"/>
                <a:gd name="connsiteY1" fmla="*/ 28575 h 1704975"/>
                <a:gd name="connsiteX2" fmla="*/ 419775 w 1528115"/>
                <a:gd name="connsiteY2" fmla="*/ 31750 h 1704975"/>
                <a:gd name="connsiteX3" fmla="*/ 464225 w 1528115"/>
                <a:gd name="connsiteY3" fmla="*/ 28575 h 1704975"/>
                <a:gd name="connsiteX4" fmla="*/ 483275 w 1528115"/>
                <a:gd name="connsiteY4" fmla="*/ 15875 h 1704975"/>
                <a:gd name="connsiteX5" fmla="*/ 502325 w 1528115"/>
                <a:gd name="connsiteY5" fmla="*/ 9525 h 1704975"/>
                <a:gd name="connsiteX6" fmla="*/ 502325 w 1528115"/>
                <a:gd name="connsiteY6" fmla="*/ 9525 h 1704975"/>
                <a:gd name="connsiteX7" fmla="*/ 518200 w 1528115"/>
                <a:gd name="connsiteY7" fmla="*/ 6350 h 1704975"/>
                <a:gd name="connsiteX8" fmla="*/ 537250 w 1528115"/>
                <a:gd name="connsiteY8" fmla="*/ 0 h 1704975"/>
                <a:gd name="connsiteX9" fmla="*/ 549950 w 1528115"/>
                <a:gd name="connsiteY9" fmla="*/ 19050 h 1704975"/>
                <a:gd name="connsiteX10" fmla="*/ 581700 w 1528115"/>
                <a:gd name="connsiteY10" fmla="*/ 28575 h 1704975"/>
                <a:gd name="connsiteX11" fmla="*/ 597575 w 1528115"/>
                <a:gd name="connsiteY11" fmla="*/ 31750 h 1704975"/>
                <a:gd name="connsiteX12" fmla="*/ 616625 w 1528115"/>
                <a:gd name="connsiteY12" fmla="*/ 38100 h 1704975"/>
                <a:gd name="connsiteX13" fmla="*/ 657900 w 1528115"/>
                <a:gd name="connsiteY13" fmla="*/ 50800 h 1704975"/>
                <a:gd name="connsiteX14" fmla="*/ 667425 w 1528115"/>
                <a:gd name="connsiteY14" fmla="*/ 69850 h 1704975"/>
                <a:gd name="connsiteX15" fmla="*/ 670600 w 1528115"/>
                <a:gd name="connsiteY15" fmla="*/ 104775 h 1704975"/>
                <a:gd name="connsiteX16" fmla="*/ 673775 w 1528115"/>
                <a:gd name="connsiteY16" fmla="*/ 114300 h 1704975"/>
                <a:gd name="connsiteX17" fmla="*/ 683300 w 1528115"/>
                <a:gd name="connsiteY17" fmla="*/ 120650 h 1704975"/>
                <a:gd name="connsiteX18" fmla="*/ 696000 w 1528115"/>
                <a:gd name="connsiteY18" fmla="*/ 139700 h 1704975"/>
                <a:gd name="connsiteX19" fmla="*/ 708700 w 1528115"/>
                <a:gd name="connsiteY19" fmla="*/ 168275 h 1704975"/>
                <a:gd name="connsiteX20" fmla="*/ 718225 w 1528115"/>
                <a:gd name="connsiteY20" fmla="*/ 174625 h 1704975"/>
                <a:gd name="connsiteX21" fmla="*/ 721400 w 1528115"/>
                <a:gd name="connsiteY21" fmla="*/ 184150 h 1704975"/>
                <a:gd name="connsiteX22" fmla="*/ 740450 w 1528115"/>
                <a:gd name="connsiteY22" fmla="*/ 196850 h 1704975"/>
                <a:gd name="connsiteX23" fmla="*/ 753150 w 1528115"/>
                <a:gd name="connsiteY23" fmla="*/ 215900 h 1704975"/>
                <a:gd name="connsiteX24" fmla="*/ 772200 w 1528115"/>
                <a:gd name="connsiteY24" fmla="*/ 231775 h 1704975"/>
                <a:gd name="connsiteX25" fmla="*/ 791250 w 1528115"/>
                <a:gd name="connsiteY25" fmla="*/ 244475 h 1704975"/>
                <a:gd name="connsiteX26" fmla="*/ 800775 w 1528115"/>
                <a:gd name="connsiteY26" fmla="*/ 250825 h 1704975"/>
                <a:gd name="connsiteX27" fmla="*/ 819825 w 1528115"/>
                <a:gd name="connsiteY27" fmla="*/ 257175 h 1704975"/>
                <a:gd name="connsiteX28" fmla="*/ 838875 w 1528115"/>
                <a:gd name="connsiteY28" fmla="*/ 266700 h 1704975"/>
                <a:gd name="connsiteX29" fmla="*/ 857925 w 1528115"/>
                <a:gd name="connsiteY29" fmla="*/ 276225 h 1704975"/>
                <a:gd name="connsiteX30" fmla="*/ 880150 w 1528115"/>
                <a:gd name="connsiteY30" fmla="*/ 269875 h 1704975"/>
                <a:gd name="connsiteX31" fmla="*/ 889675 w 1528115"/>
                <a:gd name="connsiteY31" fmla="*/ 263525 h 1704975"/>
                <a:gd name="connsiteX32" fmla="*/ 921425 w 1528115"/>
                <a:gd name="connsiteY32" fmla="*/ 254000 h 1704975"/>
                <a:gd name="connsiteX33" fmla="*/ 930950 w 1528115"/>
                <a:gd name="connsiteY33" fmla="*/ 250825 h 1704975"/>
                <a:gd name="connsiteX34" fmla="*/ 950000 w 1528115"/>
                <a:gd name="connsiteY34" fmla="*/ 254000 h 1704975"/>
                <a:gd name="connsiteX35" fmla="*/ 953175 w 1528115"/>
                <a:gd name="connsiteY35" fmla="*/ 263525 h 1704975"/>
                <a:gd name="connsiteX36" fmla="*/ 943650 w 1528115"/>
                <a:gd name="connsiteY36" fmla="*/ 317500 h 1704975"/>
                <a:gd name="connsiteX37" fmla="*/ 946825 w 1528115"/>
                <a:gd name="connsiteY37" fmla="*/ 330200 h 1704975"/>
                <a:gd name="connsiteX38" fmla="*/ 965875 w 1528115"/>
                <a:gd name="connsiteY38" fmla="*/ 339725 h 1704975"/>
                <a:gd name="connsiteX39" fmla="*/ 981750 w 1528115"/>
                <a:gd name="connsiteY39" fmla="*/ 336550 h 1704975"/>
                <a:gd name="connsiteX40" fmla="*/ 991275 w 1528115"/>
                <a:gd name="connsiteY40" fmla="*/ 330200 h 1704975"/>
                <a:gd name="connsiteX41" fmla="*/ 1000800 w 1528115"/>
                <a:gd name="connsiteY41" fmla="*/ 327025 h 1704975"/>
                <a:gd name="connsiteX42" fmla="*/ 1010325 w 1528115"/>
                <a:gd name="connsiteY42" fmla="*/ 320675 h 1704975"/>
                <a:gd name="connsiteX43" fmla="*/ 1029375 w 1528115"/>
                <a:gd name="connsiteY43" fmla="*/ 311150 h 1704975"/>
                <a:gd name="connsiteX44" fmla="*/ 1032550 w 1528115"/>
                <a:gd name="connsiteY44" fmla="*/ 301625 h 1704975"/>
                <a:gd name="connsiteX45" fmla="*/ 1026200 w 1528115"/>
                <a:gd name="connsiteY45" fmla="*/ 292100 h 1704975"/>
                <a:gd name="connsiteX46" fmla="*/ 1038900 w 1528115"/>
                <a:gd name="connsiteY46" fmla="*/ 279400 h 1704975"/>
                <a:gd name="connsiteX47" fmla="*/ 1083350 w 1528115"/>
                <a:gd name="connsiteY47" fmla="*/ 282575 h 1704975"/>
                <a:gd name="connsiteX48" fmla="*/ 1096050 w 1528115"/>
                <a:gd name="connsiteY48" fmla="*/ 307975 h 1704975"/>
                <a:gd name="connsiteX49" fmla="*/ 1105575 w 1528115"/>
                <a:gd name="connsiteY49" fmla="*/ 314325 h 1704975"/>
                <a:gd name="connsiteX50" fmla="*/ 1111925 w 1528115"/>
                <a:gd name="connsiteY50" fmla="*/ 327025 h 1704975"/>
                <a:gd name="connsiteX51" fmla="*/ 1134150 w 1528115"/>
                <a:gd name="connsiteY51" fmla="*/ 453979 h 1704975"/>
                <a:gd name="connsiteX52" fmla="*/ 1165900 w 1528115"/>
                <a:gd name="connsiteY52" fmla="*/ 454025 h 1704975"/>
                <a:gd name="connsiteX53" fmla="*/ 1207175 w 1528115"/>
                <a:gd name="connsiteY53" fmla="*/ 457200 h 1704975"/>
                <a:gd name="connsiteX54" fmla="*/ 1216700 w 1528115"/>
                <a:gd name="connsiteY54" fmla="*/ 463550 h 1704975"/>
                <a:gd name="connsiteX55" fmla="*/ 1270675 w 1528115"/>
                <a:gd name="connsiteY55" fmla="*/ 469900 h 1704975"/>
                <a:gd name="connsiteX56" fmla="*/ 1277025 w 1528115"/>
                <a:gd name="connsiteY56" fmla="*/ 479425 h 1704975"/>
                <a:gd name="connsiteX57" fmla="*/ 1273850 w 1528115"/>
                <a:gd name="connsiteY57" fmla="*/ 488950 h 1704975"/>
                <a:gd name="connsiteX58" fmla="*/ 1270675 w 1528115"/>
                <a:gd name="connsiteY58" fmla="*/ 511175 h 1704975"/>
                <a:gd name="connsiteX59" fmla="*/ 1264325 w 1528115"/>
                <a:gd name="connsiteY59" fmla="*/ 530225 h 1704975"/>
                <a:gd name="connsiteX60" fmla="*/ 1261150 w 1528115"/>
                <a:gd name="connsiteY60" fmla="*/ 539750 h 1704975"/>
                <a:gd name="connsiteX61" fmla="*/ 1254800 w 1528115"/>
                <a:gd name="connsiteY61" fmla="*/ 571500 h 1704975"/>
                <a:gd name="connsiteX62" fmla="*/ 1254800 w 1528115"/>
                <a:gd name="connsiteY62" fmla="*/ 692150 h 1704975"/>
                <a:gd name="connsiteX63" fmla="*/ 1257975 w 1528115"/>
                <a:gd name="connsiteY63" fmla="*/ 714375 h 1704975"/>
                <a:gd name="connsiteX64" fmla="*/ 1261150 w 1528115"/>
                <a:gd name="connsiteY64" fmla="*/ 723900 h 1704975"/>
                <a:gd name="connsiteX65" fmla="*/ 1273850 w 1528115"/>
                <a:gd name="connsiteY65" fmla="*/ 727075 h 1704975"/>
                <a:gd name="connsiteX66" fmla="*/ 1292900 w 1528115"/>
                <a:gd name="connsiteY66" fmla="*/ 739775 h 1704975"/>
                <a:gd name="connsiteX67" fmla="*/ 1289725 w 1528115"/>
                <a:gd name="connsiteY67" fmla="*/ 784225 h 1704975"/>
                <a:gd name="connsiteX68" fmla="*/ 1273850 w 1528115"/>
                <a:gd name="connsiteY68" fmla="*/ 800100 h 1704975"/>
                <a:gd name="connsiteX69" fmla="*/ 1264325 w 1528115"/>
                <a:gd name="connsiteY69" fmla="*/ 809625 h 1704975"/>
                <a:gd name="connsiteX70" fmla="*/ 1219875 w 1528115"/>
                <a:gd name="connsiteY70" fmla="*/ 819150 h 1704975"/>
                <a:gd name="connsiteX71" fmla="*/ 1200825 w 1528115"/>
                <a:gd name="connsiteY71" fmla="*/ 825500 h 1704975"/>
                <a:gd name="connsiteX72" fmla="*/ 1181775 w 1528115"/>
                <a:gd name="connsiteY72" fmla="*/ 838200 h 1704975"/>
                <a:gd name="connsiteX73" fmla="*/ 1172250 w 1528115"/>
                <a:gd name="connsiteY73" fmla="*/ 844550 h 1704975"/>
                <a:gd name="connsiteX74" fmla="*/ 1153200 w 1528115"/>
                <a:gd name="connsiteY74" fmla="*/ 850900 h 1704975"/>
                <a:gd name="connsiteX75" fmla="*/ 1140500 w 1528115"/>
                <a:gd name="connsiteY75" fmla="*/ 857250 h 1704975"/>
                <a:gd name="connsiteX76" fmla="*/ 1130975 w 1528115"/>
                <a:gd name="connsiteY76" fmla="*/ 863600 h 1704975"/>
                <a:gd name="connsiteX77" fmla="*/ 1105575 w 1528115"/>
                <a:gd name="connsiteY77" fmla="*/ 866775 h 1704975"/>
                <a:gd name="connsiteX78" fmla="*/ 1086525 w 1528115"/>
                <a:gd name="connsiteY78" fmla="*/ 873125 h 1704975"/>
                <a:gd name="connsiteX79" fmla="*/ 1077000 w 1528115"/>
                <a:gd name="connsiteY79" fmla="*/ 879475 h 1704975"/>
                <a:gd name="connsiteX80" fmla="*/ 1057950 w 1528115"/>
                <a:gd name="connsiteY80" fmla="*/ 885825 h 1704975"/>
                <a:gd name="connsiteX81" fmla="*/ 1048425 w 1528115"/>
                <a:gd name="connsiteY81" fmla="*/ 889000 h 1704975"/>
                <a:gd name="connsiteX82" fmla="*/ 1029375 w 1528115"/>
                <a:gd name="connsiteY82" fmla="*/ 908050 h 1704975"/>
                <a:gd name="connsiteX83" fmla="*/ 1010325 w 1528115"/>
                <a:gd name="connsiteY83" fmla="*/ 914400 h 1704975"/>
                <a:gd name="connsiteX84" fmla="*/ 1003975 w 1528115"/>
                <a:gd name="connsiteY84" fmla="*/ 923925 h 1704975"/>
                <a:gd name="connsiteX85" fmla="*/ 994450 w 1528115"/>
                <a:gd name="connsiteY85" fmla="*/ 933450 h 1704975"/>
                <a:gd name="connsiteX86" fmla="*/ 991275 w 1528115"/>
                <a:gd name="connsiteY86" fmla="*/ 942975 h 1704975"/>
                <a:gd name="connsiteX87" fmla="*/ 988100 w 1528115"/>
                <a:gd name="connsiteY87" fmla="*/ 962025 h 1704975"/>
                <a:gd name="connsiteX88" fmla="*/ 969050 w 1528115"/>
                <a:gd name="connsiteY88" fmla="*/ 968375 h 1704975"/>
                <a:gd name="connsiteX89" fmla="*/ 950000 w 1528115"/>
                <a:gd name="connsiteY89" fmla="*/ 981075 h 1704975"/>
                <a:gd name="connsiteX90" fmla="*/ 940475 w 1528115"/>
                <a:gd name="connsiteY90" fmla="*/ 987425 h 1704975"/>
                <a:gd name="connsiteX91" fmla="*/ 930950 w 1528115"/>
                <a:gd name="connsiteY91" fmla="*/ 1006475 h 1704975"/>
                <a:gd name="connsiteX92" fmla="*/ 924600 w 1528115"/>
                <a:gd name="connsiteY92" fmla="*/ 1016000 h 1704975"/>
                <a:gd name="connsiteX93" fmla="*/ 921425 w 1528115"/>
                <a:gd name="connsiteY93" fmla="*/ 1025525 h 1704975"/>
                <a:gd name="connsiteX94" fmla="*/ 905550 w 1528115"/>
                <a:gd name="connsiteY94" fmla="*/ 1044575 h 1704975"/>
                <a:gd name="connsiteX95" fmla="*/ 896025 w 1528115"/>
                <a:gd name="connsiteY95" fmla="*/ 1063625 h 1704975"/>
                <a:gd name="connsiteX96" fmla="*/ 867450 w 1528115"/>
                <a:gd name="connsiteY96" fmla="*/ 1085850 h 1704975"/>
                <a:gd name="connsiteX97" fmla="*/ 848400 w 1528115"/>
                <a:gd name="connsiteY97" fmla="*/ 1095375 h 1704975"/>
                <a:gd name="connsiteX98" fmla="*/ 813475 w 1528115"/>
                <a:gd name="connsiteY98" fmla="*/ 1092200 h 1704975"/>
                <a:gd name="connsiteX99" fmla="*/ 772200 w 1528115"/>
                <a:gd name="connsiteY99" fmla="*/ 1098550 h 1704975"/>
                <a:gd name="connsiteX100" fmla="*/ 759500 w 1528115"/>
                <a:gd name="connsiteY100" fmla="*/ 1127125 h 1704975"/>
                <a:gd name="connsiteX101" fmla="*/ 756325 w 1528115"/>
                <a:gd name="connsiteY101" fmla="*/ 1136650 h 1704975"/>
                <a:gd name="connsiteX102" fmla="*/ 740450 w 1528115"/>
                <a:gd name="connsiteY102" fmla="*/ 1155700 h 1704975"/>
                <a:gd name="connsiteX103" fmla="*/ 718225 w 1528115"/>
                <a:gd name="connsiteY103" fmla="*/ 1181100 h 1704975"/>
                <a:gd name="connsiteX104" fmla="*/ 721400 w 1528115"/>
                <a:gd name="connsiteY104" fmla="*/ 1238250 h 1704975"/>
                <a:gd name="connsiteX105" fmla="*/ 727750 w 1528115"/>
                <a:gd name="connsiteY105" fmla="*/ 1247775 h 1704975"/>
                <a:gd name="connsiteX106" fmla="*/ 730925 w 1528115"/>
                <a:gd name="connsiteY106" fmla="*/ 1257300 h 1704975"/>
                <a:gd name="connsiteX107" fmla="*/ 740450 w 1528115"/>
                <a:gd name="connsiteY107" fmla="*/ 1276350 h 1704975"/>
                <a:gd name="connsiteX108" fmla="*/ 743625 w 1528115"/>
                <a:gd name="connsiteY108" fmla="*/ 1320800 h 1704975"/>
                <a:gd name="connsiteX109" fmla="*/ 746800 w 1528115"/>
                <a:gd name="connsiteY109" fmla="*/ 1330325 h 1704975"/>
                <a:gd name="connsiteX110" fmla="*/ 756325 w 1528115"/>
                <a:gd name="connsiteY110" fmla="*/ 1336675 h 1704975"/>
                <a:gd name="connsiteX111" fmla="*/ 762675 w 1528115"/>
                <a:gd name="connsiteY111" fmla="*/ 1346200 h 1704975"/>
                <a:gd name="connsiteX112" fmla="*/ 769025 w 1528115"/>
                <a:gd name="connsiteY112" fmla="*/ 1393825 h 1704975"/>
                <a:gd name="connsiteX113" fmla="*/ 775375 w 1528115"/>
                <a:gd name="connsiteY113" fmla="*/ 1412875 h 1704975"/>
                <a:gd name="connsiteX114" fmla="*/ 781725 w 1528115"/>
                <a:gd name="connsiteY114" fmla="*/ 1435100 h 1704975"/>
                <a:gd name="connsiteX115" fmla="*/ 772200 w 1528115"/>
                <a:gd name="connsiteY115" fmla="*/ 1460500 h 1704975"/>
                <a:gd name="connsiteX116" fmla="*/ 762675 w 1528115"/>
                <a:gd name="connsiteY116" fmla="*/ 1466850 h 1704975"/>
                <a:gd name="connsiteX117" fmla="*/ 753150 w 1528115"/>
                <a:gd name="connsiteY117" fmla="*/ 1485900 h 1704975"/>
                <a:gd name="connsiteX118" fmla="*/ 749975 w 1528115"/>
                <a:gd name="connsiteY118" fmla="*/ 1514475 h 1704975"/>
                <a:gd name="connsiteX119" fmla="*/ 740450 w 1528115"/>
                <a:gd name="connsiteY119" fmla="*/ 1520825 h 1704975"/>
                <a:gd name="connsiteX120" fmla="*/ 730925 w 1528115"/>
                <a:gd name="connsiteY120" fmla="*/ 1530350 h 1704975"/>
                <a:gd name="connsiteX121" fmla="*/ 718225 w 1528115"/>
                <a:gd name="connsiteY121" fmla="*/ 1549400 h 1704975"/>
                <a:gd name="connsiteX122" fmla="*/ 711875 w 1528115"/>
                <a:gd name="connsiteY122" fmla="*/ 1558925 h 1704975"/>
                <a:gd name="connsiteX123" fmla="*/ 702350 w 1528115"/>
                <a:gd name="connsiteY123" fmla="*/ 1568450 h 1704975"/>
                <a:gd name="connsiteX124" fmla="*/ 699175 w 1528115"/>
                <a:gd name="connsiteY124" fmla="*/ 1577975 h 1704975"/>
                <a:gd name="connsiteX125" fmla="*/ 686475 w 1528115"/>
                <a:gd name="connsiteY125" fmla="*/ 1597025 h 1704975"/>
                <a:gd name="connsiteX126" fmla="*/ 676950 w 1528115"/>
                <a:gd name="connsiteY126" fmla="*/ 1616075 h 1704975"/>
                <a:gd name="connsiteX127" fmla="*/ 667425 w 1528115"/>
                <a:gd name="connsiteY127" fmla="*/ 1619250 h 1704975"/>
                <a:gd name="connsiteX128" fmla="*/ 648375 w 1528115"/>
                <a:gd name="connsiteY128" fmla="*/ 1631950 h 1704975"/>
                <a:gd name="connsiteX129" fmla="*/ 638850 w 1528115"/>
                <a:gd name="connsiteY129" fmla="*/ 1638300 h 1704975"/>
                <a:gd name="connsiteX130" fmla="*/ 607100 w 1528115"/>
                <a:gd name="connsiteY130" fmla="*/ 1676400 h 1704975"/>
                <a:gd name="connsiteX131" fmla="*/ 556300 w 1528115"/>
                <a:gd name="connsiteY131" fmla="*/ 1679575 h 1704975"/>
                <a:gd name="connsiteX132" fmla="*/ 537250 w 1528115"/>
                <a:gd name="connsiteY132" fmla="*/ 1685925 h 1704975"/>
                <a:gd name="connsiteX133" fmla="*/ 515025 w 1528115"/>
                <a:gd name="connsiteY133" fmla="*/ 1698625 h 1704975"/>
                <a:gd name="connsiteX134" fmla="*/ 495975 w 1528115"/>
                <a:gd name="connsiteY134" fmla="*/ 1704975 h 1704975"/>
                <a:gd name="connsiteX135" fmla="*/ 476925 w 1528115"/>
                <a:gd name="connsiteY135" fmla="*/ 1701800 h 1704975"/>
                <a:gd name="connsiteX136" fmla="*/ 470575 w 1528115"/>
                <a:gd name="connsiteY136" fmla="*/ 1692275 h 1704975"/>
                <a:gd name="connsiteX137" fmla="*/ 467400 w 1528115"/>
                <a:gd name="connsiteY137" fmla="*/ 1660525 h 1704975"/>
                <a:gd name="connsiteX138" fmla="*/ 457875 w 1528115"/>
                <a:gd name="connsiteY138" fmla="*/ 1641475 h 1704975"/>
                <a:gd name="connsiteX139" fmla="*/ 448350 w 1528115"/>
                <a:gd name="connsiteY139" fmla="*/ 1635125 h 1704975"/>
                <a:gd name="connsiteX140" fmla="*/ 445175 w 1528115"/>
                <a:gd name="connsiteY140" fmla="*/ 1625600 h 1704975"/>
                <a:gd name="connsiteX141" fmla="*/ 435650 w 1528115"/>
                <a:gd name="connsiteY141" fmla="*/ 1606550 h 1704975"/>
                <a:gd name="connsiteX142" fmla="*/ 432475 w 1528115"/>
                <a:gd name="connsiteY142" fmla="*/ 1495425 h 1704975"/>
                <a:gd name="connsiteX143" fmla="*/ 429300 w 1528115"/>
                <a:gd name="connsiteY143" fmla="*/ 1485900 h 1704975"/>
                <a:gd name="connsiteX144" fmla="*/ 426125 w 1528115"/>
                <a:gd name="connsiteY144" fmla="*/ 1473200 h 1704975"/>
                <a:gd name="connsiteX145" fmla="*/ 419775 w 1528115"/>
                <a:gd name="connsiteY145" fmla="*/ 1463675 h 1704975"/>
                <a:gd name="connsiteX146" fmla="*/ 416600 w 1528115"/>
                <a:gd name="connsiteY146" fmla="*/ 1454150 h 1704975"/>
                <a:gd name="connsiteX147" fmla="*/ 403900 w 1528115"/>
                <a:gd name="connsiteY147" fmla="*/ 1435100 h 1704975"/>
                <a:gd name="connsiteX148" fmla="*/ 397550 w 1528115"/>
                <a:gd name="connsiteY148" fmla="*/ 1416050 h 1704975"/>
                <a:gd name="connsiteX149" fmla="*/ 394375 w 1528115"/>
                <a:gd name="connsiteY149" fmla="*/ 1381125 h 1704975"/>
                <a:gd name="connsiteX150" fmla="*/ 391200 w 1528115"/>
                <a:gd name="connsiteY150" fmla="*/ 1368425 h 1704975"/>
                <a:gd name="connsiteX151" fmla="*/ 388025 w 1528115"/>
                <a:gd name="connsiteY151" fmla="*/ 1352550 h 1704975"/>
                <a:gd name="connsiteX152" fmla="*/ 381675 w 1528115"/>
                <a:gd name="connsiteY152" fmla="*/ 1333500 h 1704975"/>
                <a:gd name="connsiteX153" fmla="*/ 378500 w 1528115"/>
                <a:gd name="connsiteY153" fmla="*/ 1323975 h 1704975"/>
                <a:gd name="connsiteX154" fmla="*/ 375325 w 1528115"/>
                <a:gd name="connsiteY154" fmla="*/ 1308100 h 1704975"/>
                <a:gd name="connsiteX155" fmla="*/ 368975 w 1528115"/>
                <a:gd name="connsiteY155" fmla="*/ 1289050 h 1704975"/>
                <a:gd name="connsiteX156" fmla="*/ 362625 w 1528115"/>
                <a:gd name="connsiteY156" fmla="*/ 1260475 h 1704975"/>
                <a:gd name="connsiteX157" fmla="*/ 359450 w 1528115"/>
                <a:gd name="connsiteY157" fmla="*/ 1231900 h 1704975"/>
                <a:gd name="connsiteX158" fmla="*/ 349925 w 1528115"/>
                <a:gd name="connsiteY158" fmla="*/ 1196975 h 1704975"/>
                <a:gd name="connsiteX159" fmla="*/ 340400 w 1528115"/>
                <a:gd name="connsiteY159" fmla="*/ 1155700 h 1704975"/>
                <a:gd name="connsiteX160" fmla="*/ 334050 w 1528115"/>
                <a:gd name="connsiteY160" fmla="*/ 1130300 h 1704975"/>
                <a:gd name="connsiteX161" fmla="*/ 327700 w 1528115"/>
                <a:gd name="connsiteY161" fmla="*/ 1104900 h 1704975"/>
                <a:gd name="connsiteX162" fmla="*/ 324525 w 1528115"/>
                <a:gd name="connsiteY162" fmla="*/ 1092200 h 1704975"/>
                <a:gd name="connsiteX163" fmla="*/ 318175 w 1528115"/>
                <a:gd name="connsiteY163" fmla="*/ 1050925 h 1704975"/>
                <a:gd name="connsiteX164" fmla="*/ 315000 w 1528115"/>
                <a:gd name="connsiteY164" fmla="*/ 1031875 h 1704975"/>
                <a:gd name="connsiteX165" fmla="*/ 311825 w 1528115"/>
                <a:gd name="connsiteY165" fmla="*/ 1022350 h 1704975"/>
                <a:gd name="connsiteX166" fmla="*/ 308650 w 1528115"/>
                <a:gd name="connsiteY166" fmla="*/ 1006475 h 1704975"/>
                <a:gd name="connsiteX167" fmla="*/ 302300 w 1528115"/>
                <a:gd name="connsiteY167" fmla="*/ 987425 h 1704975"/>
                <a:gd name="connsiteX168" fmla="*/ 299125 w 1528115"/>
                <a:gd name="connsiteY168" fmla="*/ 974725 h 1704975"/>
                <a:gd name="connsiteX169" fmla="*/ 292775 w 1528115"/>
                <a:gd name="connsiteY169" fmla="*/ 955675 h 1704975"/>
                <a:gd name="connsiteX170" fmla="*/ 289600 w 1528115"/>
                <a:gd name="connsiteY170" fmla="*/ 946150 h 1704975"/>
                <a:gd name="connsiteX171" fmla="*/ 280075 w 1528115"/>
                <a:gd name="connsiteY171" fmla="*/ 923925 h 1704975"/>
                <a:gd name="connsiteX172" fmla="*/ 261025 w 1528115"/>
                <a:gd name="connsiteY172" fmla="*/ 908050 h 1704975"/>
                <a:gd name="connsiteX173" fmla="*/ 241975 w 1528115"/>
                <a:gd name="connsiteY173" fmla="*/ 901700 h 1704975"/>
                <a:gd name="connsiteX174" fmla="*/ 222925 w 1528115"/>
                <a:gd name="connsiteY174" fmla="*/ 889000 h 1704975"/>
                <a:gd name="connsiteX175" fmla="*/ 213400 w 1528115"/>
                <a:gd name="connsiteY175" fmla="*/ 885825 h 1704975"/>
                <a:gd name="connsiteX176" fmla="*/ 194350 w 1528115"/>
                <a:gd name="connsiteY176" fmla="*/ 873125 h 1704975"/>
                <a:gd name="connsiteX177" fmla="*/ 175300 w 1528115"/>
                <a:gd name="connsiteY177" fmla="*/ 860425 h 1704975"/>
                <a:gd name="connsiteX178" fmla="*/ 162600 w 1528115"/>
                <a:gd name="connsiteY178" fmla="*/ 850900 h 1704975"/>
                <a:gd name="connsiteX179" fmla="*/ 153075 w 1528115"/>
                <a:gd name="connsiteY179" fmla="*/ 847725 h 1704975"/>
                <a:gd name="connsiteX180" fmla="*/ 134025 w 1528115"/>
                <a:gd name="connsiteY180" fmla="*/ 835025 h 1704975"/>
                <a:gd name="connsiteX181" fmla="*/ 114975 w 1528115"/>
                <a:gd name="connsiteY181" fmla="*/ 822325 h 1704975"/>
                <a:gd name="connsiteX182" fmla="*/ 105450 w 1528115"/>
                <a:gd name="connsiteY182" fmla="*/ 815975 h 1704975"/>
                <a:gd name="connsiteX183" fmla="*/ 95925 w 1528115"/>
                <a:gd name="connsiteY183" fmla="*/ 812800 h 1704975"/>
                <a:gd name="connsiteX184" fmla="*/ 64175 w 1528115"/>
                <a:gd name="connsiteY184" fmla="*/ 790575 h 1704975"/>
                <a:gd name="connsiteX185" fmla="*/ 54650 w 1528115"/>
                <a:gd name="connsiteY185" fmla="*/ 787400 h 1704975"/>
                <a:gd name="connsiteX186" fmla="*/ 38775 w 1528115"/>
                <a:gd name="connsiteY186" fmla="*/ 771525 h 1704975"/>
                <a:gd name="connsiteX187" fmla="*/ 29250 w 1528115"/>
                <a:gd name="connsiteY187" fmla="*/ 762000 h 1704975"/>
                <a:gd name="connsiteX188" fmla="*/ 19725 w 1528115"/>
                <a:gd name="connsiteY188" fmla="*/ 758825 h 1704975"/>
                <a:gd name="connsiteX189" fmla="*/ 675 w 1528115"/>
                <a:gd name="connsiteY189" fmla="*/ 746125 h 1704975"/>
                <a:gd name="connsiteX190" fmla="*/ 51475 w 1528115"/>
                <a:gd name="connsiteY190" fmla="*/ 739775 h 1704975"/>
                <a:gd name="connsiteX191" fmla="*/ 67350 w 1528115"/>
                <a:gd name="connsiteY191" fmla="*/ 736600 h 1704975"/>
                <a:gd name="connsiteX192" fmla="*/ 102275 w 1528115"/>
                <a:gd name="connsiteY192" fmla="*/ 733425 h 1704975"/>
                <a:gd name="connsiteX193" fmla="*/ 130850 w 1528115"/>
                <a:gd name="connsiteY193" fmla="*/ 727075 h 1704975"/>
                <a:gd name="connsiteX194" fmla="*/ 149900 w 1528115"/>
                <a:gd name="connsiteY194" fmla="*/ 723900 h 1704975"/>
                <a:gd name="connsiteX195" fmla="*/ 159425 w 1528115"/>
                <a:gd name="connsiteY195" fmla="*/ 720725 h 1704975"/>
                <a:gd name="connsiteX196" fmla="*/ 175300 w 1528115"/>
                <a:gd name="connsiteY196" fmla="*/ 717550 h 1704975"/>
                <a:gd name="connsiteX197" fmla="*/ 194350 w 1528115"/>
                <a:gd name="connsiteY197" fmla="*/ 711200 h 1704975"/>
                <a:gd name="connsiteX198" fmla="*/ 222925 w 1528115"/>
                <a:gd name="connsiteY198" fmla="*/ 701675 h 1704975"/>
                <a:gd name="connsiteX199" fmla="*/ 232450 w 1528115"/>
                <a:gd name="connsiteY199" fmla="*/ 698500 h 1704975"/>
                <a:gd name="connsiteX200" fmla="*/ 241975 w 1528115"/>
                <a:gd name="connsiteY200" fmla="*/ 695325 h 1704975"/>
                <a:gd name="connsiteX201" fmla="*/ 381675 w 1528115"/>
                <a:gd name="connsiteY201" fmla="*/ 688975 h 1704975"/>
                <a:gd name="connsiteX202" fmla="*/ 397550 w 1528115"/>
                <a:gd name="connsiteY202" fmla="*/ 685800 h 1704975"/>
                <a:gd name="connsiteX203" fmla="*/ 407075 w 1528115"/>
                <a:gd name="connsiteY203" fmla="*/ 682625 h 1704975"/>
                <a:gd name="connsiteX204" fmla="*/ 419775 w 1528115"/>
                <a:gd name="connsiteY204" fmla="*/ 679450 h 1704975"/>
                <a:gd name="connsiteX205" fmla="*/ 438825 w 1528115"/>
                <a:gd name="connsiteY205" fmla="*/ 673100 h 1704975"/>
                <a:gd name="connsiteX206" fmla="*/ 467400 w 1528115"/>
                <a:gd name="connsiteY206" fmla="*/ 663575 h 1704975"/>
                <a:gd name="connsiteX207" fmla="*/ 495975 w 1528115"/>
                <a:gd name="connsiteY207" fmla="*/ 654050 h 1704975"/>
                <a:gd name="connsiteX208" fmla="*/ 505500 w 1528115"/>
                <a:gd name="connsiteY208" fmla="*/ 650875 h 1704975"/>
                <a:gd name="connsiteX209" fmla="*/ 527725 w 1528115"/>
                <a:gd name="connsiteY209" fmla="*/ 641350 h 1704975"/>
                <a:gd name="connsiteX210" fmla="*/ 537250 w 1528115"/>
                <a:gd name="connsiteY210" fmla="*/ 635000 h 1704975"/>
                <a:gd name="connsiteX211" fmla="*/ 546775 w 1528115"/>
                <a:gd name="connsiteY211" fmla="*/ 631825 h 1704975"/>
                <a:gd name="connsiteX212" fmla="*/ 559475 w 1528115"/>
                <a:gd name="connsiteY212" fmla="*/ 625475 h 1704975"/>
                <a:gd name="connsiteX213" fmla="*/ 578525 w 1528115"/>
                <a:gd name="connsiteY213" fmla="*/ 657225 h 1704975"/>
                <a:gd name="connsiteX214" fmla="*/ 588050 w 1528115"/>
                <a:gd name="connsiteY214" fmla="*/ 660400 h 1704975"/>
                <a:gd name="connsiteX215" fmla="*/ 607100 w 1528115"/>
                <a:gd name="connsiteY215" fmla="*/ 673100 h 1704975"/>
                <a:gd name="connsiteX216" fmla="*/ 626150 w 1528115"/>
                <a:gd name="connsiteY216" fmla="*/ 679450 h 1704975"/>
                <a:gd name="connsiteX217" fmla="*/ 635675 w 1528115"/>
                <a:gd name="connsiteY217" fmla="*/ 685800 h 1704975"/>
                <a:gd name="connsiteX218" fmla="*/ 654725 w 1528115"/>
                <a:gd name="connsiteY218" fmla="*/ 692150 h 1704975"/>
                <a:gd name="connsiteX219" fmla="*/ 645200 w 1528115"/>
                <a:gd name="connsiteY219" fmla="*/ 682625 h 1704975"/>
                <a:gd name="connsiteX220" fmla="*/ 635675 w 1528115"/>
                <a:gd name="connsiteY220" fmla="*/ 676275 h 1704975"/>
                <a:gd name="connsiteX221" fmla="*/ 632500 w 1528115"/>
                <a:gd name="connsiteY221" fmla="*/ 666750 h 1704975"/>
                <a:gd name="connsiteX222" fmla="*/ 635675 w 1528115"/>
                <a:gd name="connsiteY222" fmla="*/ 590550 h 1704975"/>
                <a:gd name="connsiteX223" fmla="*/ 642025 w 1528115"/>
                <a:gd name="connsiteY223" fmla="*/ 571500 h 1704975"/>
                <a:gd name="connsiteX224" fmla="*/ 648375 w 1528115"/>
                <a:gd name="connsiteY224" fmla="*/ 561975 h 1704975"/>
                <a:gd name="connsiteX225" fmla="*/ 638850 w 1528115"/>
                <a:gd name="connsiteY225" fmla="*/ 536575 h 1704975"/>
                <a:gd name="connsiteX226" fmla="*/ 629325 w 1528115"/>
                <a:gd name="connsiteY226" fmla="*/ 533400 h 1704975"/>
                <a:gd name="connsiteX227" fmla="*/ 626150 w 1528115"/>
                <a:gd name="connsiteY227" fmla="*/ 523875 h 1704975"/>
                <a:gd name="connsiteX228" fmla="*/ 632500 w 1528115"/>
                <a:gd name="connsiteY228" fmla="*/ 498475 h 1704975"/>
                <a:gd name="connsiteX229" fmla="*/ 635675 w 1528115"/>
                <a:gd name="connsiteY229" fmla="*/ 485775 h 1704975"/>
                <a:gd name="connsiteX230" fmla="*/ 626150 w 1528115"/>
                <a:gd name="connsiteY230" fmla="*/ 463550 h 1704975"/>
                <a:gd name="connsiteX231" fmla="*/ 616625 w 1528115"/>
                <a:gd name="connsiteY231" fmla="*/ 460375 h 1704975"/>
                <a:gd name="connsiteX232" fmla="*/ 607100 w 1528115"/>
                <a:gd name="connsiteY232" fmla="*/ 454025 h 1704975"/>
                <a:gd name="connsiteX233" fmla="*/ 591225 w 1528115"/>
                <a:gd name="connsiteY233" fmla="*/ 450850 h 1704975"/>
                <a:gd name="connsiteX234" fmla="*/ 569000 w 1528115"/>
                <a:gd name="connsiteY234" fmla="*/ 441325 h 1704975"/>
                <a:gd name="connsiteX235" fmla="*/ 546775 w 1528115"/>
                <a:gd name="connsiteY235" fmla="*/ 415925 h 1704975"/>
                <a:gd name="connsiteX236" fmla="*/ 540425 w 1528115"/>
                <a:gd name="connsiteY236" fmla="*/ 406400 h 1704975"/>
                <a:gd name="connsiteX237" fmla="*/ 530900 w 1528115"/>
                <a:gd name="connsiteY237" fmla="*/ 400050 h 1704975"/>
                <a:gd name="connsiteX238" fmla="*/ 508675 w 1528115"/>
                <a:gd name="connsiteY238" fmla="*/ 374650 h 1704975"/>
                <a:gd name="connsiteX239" fmla="*/ 502325 w 1528115"/>
                <a:gd name="connsiteY239" fmla="*/ 365125 h 1704975"/>
                <a:gd name="connsiteX240" fmla="*/ 483275 w 1528115"/>
                <a:gd name="connsiteY240" fmla="*/ 346075 h 1704975"/>
                <a:gd name="connsiteX241" fmla="*/ 486450 w 1528115"/>
                <a:gd name="connsiteY241" fmla="*/ 333375 h 1704975"/>
                <a:gd name="connsiteX242" fmla="*/ 492800 w 1528115"/>
                <a:gd name="connsiteY242" fmla="*/ 314325 h 1704975"/>
                <a:gd name="connsiteX243" fmla="*/ 489625 w 1528115"/>
                <a:gd name="connsiteY243" fmla="*/ 292100 h 1704975"/>
                <a:gd name="connsiteX244" fmla="*/ 461050 w 1528115"/>
                <a:gd name="connsiteY244" fmla="*/ 266700 h 1704975"/>
                <a:gd name="connsiteX245" fmla="*/ 435650 w 1528115"/>
                <a:gd name="connsiteY245" fmla="*/ 254000 h 1704975"/>
                <a:gd name="connsiteX246" fmla="*/ 413425 w 1528115"/>
                <a:gd name="connsiteY246" fmla="*/ 238125 h 1704975"/>
                <a:gd name="connsiteX247" fmla="*/ 403900 w 1528115"/>
                <a:gd name="connsiteY247" fmla="*/ 231775 h 1704975"/>
                <a:gd name="connsiteX248" fmla="*/ 388025 w 1528115"/>
                <a:gd name="connsiteY248" fmla="*/ 212725 h 1704975"/>
                <a:gd name="connsiteX249" fmla="*/ 372150 w 1528115"/>
                <a:gd name="connsiteY249" fmla="*/ 196850 h 1704975"/>
                <a:gd name="connsiteX250" fmla="*/ 365800 w 1528115"/>
                <a:gd name="connsiteY250" fmla="*/ 177800 h 1704975"/>
                <a:gd name="connsiteX251" fmla="*/ 359450 w 1528115"/>
                <a:gd name="connsiteY251" fmla="*/ 149225 h 1704975"/>
                <a:gd name="connsiteX252" fmla="*/ 362625 w 1528115"/>
                <a:gd name="connsiteY252" fmla="*/ 114300 h 1704975"/>
                <a:gd name="connsiteX253" fmla="*/ 368975 w 1528115"/>
                <a:gd name="connsiteY253" fmla="*/ 104775 h 1704975"/>
                <a:gd name="connsiteX254" fmla="*/ 375325 w 1528115"/>
                <a:gd name="connsiteY254" fmla="*/ 38100 h 1704975"/>
                <a:gd name="connsiteX0" fmla="*/ 375325 w 1528115"/>
                <a:gd name="connsiteY0" fmla="*/ 38100 h 1704975"/>
                <a:gd name="connsiteX1" fmla="*/ 410250 w 1528115"/>
                <a:gd name="connsiteY1" fmla="*/ 28575 h 1704975"/>
                <a:gd name="connsiteX2" fmla="*/ 419775 w 1528115"/>
                <a:gd name="connsiteY2" fmla="*/ 31750 h 1704975"/>
                <a:gd name="connsiteX3" fmla="*/ 464225 w 1528115"/>
                <a:gd name="connsiteY3" fmla="*/ 28575 h 1704975"/>
                <a:gd name="connsiteX4" fmla="*/ 483275 w 1528115"/>
                <a:gd name="connsiteY4" fmla="*/ 15875 h 1704975"/>
                <a:gd name="connsiteX5" fmla="*/ 502325 w 1528115"/>
                <a:gd name="connsiteY5" fmla="*/ 9525 h 1704975"/>
                <a:gd name="connsiteX6" fmla="*/ 502325 w 1528115"/>
                <a:gd name="connsiteY6" fmla="*/ 9525 h 1704975"/>
                <a:gd name="connsiteX7" fmla="*/ 518200 w 1528115"/>
                <a:gd name="connsiteY7" fmla="*/ 6350 h 1704975"/>
                <a:gd name="connsiteX8" fmla="*/ 537250 w 1528115"/>
                <a:gd name="connsiteY8" fmla="*/ 0 h 1704975"/>
                <a:gd name="connsiteX9" fmla="*/ 549950 w 1528115"/>
                <a:gd name="connsiteY9" fmla="*/ 19050 h 1704975"/>
                <a:gd name="connsiteX10" fmla="*/ 581700 w 1528115"/>
                <a:gd name="connsiteY10" fmla="*/ 28575 h 1704975"/>
                <a:gd name="connsiteX11" fmla="*/ 597575 w 1528115"/>
                <a:gd name="connsiteY11" fmla="*/ 31750 h 1704975"/>
                <a:gd name="connsiteX12" fmla="*/ 616625 w 1528115"/>
                <a:gd name="connsiteY12" fmla="*/ 38100 h 1704975"/>
                <a:gd name="connsiteX13" fmla="*/ 657900 w 1528115"/>
                <a:gd name="connsiteY13" fmla="*/ 50800 h 1704975"/>
                <a:gd name="connsiteX14" fmla="*/ 667425 w 1528115"/>
                <a:gd name="connsiteY14" fmla="*/ 69850 h 1704975"/>
                <a:gd name="connsiteX15" fmla="*/ 670600 w 1528115"/>
                <a:gd name="connsiteY15" fmla="*/ 104775 h 1704975"/>
                <a:gd name="connsiteX16" fmla="*/ 673775 w 1528115"/>
                <a:gd name="connsiteY16" fmla="*/ 114300 h 1704975"/>
                <a:gd name="connsiteX17" fmla="*/ 683300 w 1528115"/>
                <a:gd name="connsiteY17" fmla="*/ 120650 h 1704975"/>
                <a:gd name="connsiteX18" fmla="*/ 696000 w 1528115"/>
                <a:gd name="connsiteY18" fmla="*/ 139700 h 1704975"/>
                <a:gd name="connsiteX19" fmla="*/ 708700 w 1528115"/>
                <a:gd name="connsiteY19" fmla="*/ 168275 h 1704975"/>
                <a:gd name="connsiteX20" fmla="*/ 718225 w 1528115"/>
                <a:gd name="connsiteY20" fmla="*/ 174625 h 1704975"/>
                <a:gd name="connsiteX21" fmla="*/ 721400 w 1528115"/>
                <a:gd name="connsiteY21" fmla="*/ 184150 h 1704975"/>
                <a:gd name="connsiteX22" fmla="*/ 740450 w 1528115"/>
                <a:gd name="connsiteY22" fmla="*/ 196850 h 1704975"/>
                <a:gd name="connsiteX23" fmla="*/ 753150 w 1528115"/>
                <a:gd name="connsiteY23" fmla="*/ 215900 h 1704975"/>
                <a:gd name="connsiteX24" fmla="*/ 772200 w 1528115"/>
                <a:gd name="connsiteY24" fmla="*/ 231775 h 1704975"/>
                <a:gd name="connsiteX25" fmla="*/ 791250 w 1528115"/>
                <a:gd name="connsiteY25" fmla="*/ 244475 h 1704975"/>
                <a:gd name="connsiteX26" fmla="*/ 800775 w 1528115"/>
                <a:gd name="connsiteY26" fmla="*/ 250825 h 1704975"/>
                <a:gd name="connsiteX27" fmla="*/ 819825 w 1528115"/>
                <a:gd name="connsiteY27" fmla="*/ 257175 h 1704975"/>
                <a:gd name="connsiteX28" fmla="*/ 838875 w 1528115"/>
                <a:gd name="connsiteY28" fmla="*/ 266700 h 1704975"/>
                <a:gd name="connsiteX29" fmla="*/ 857925 w 1528115"/>
                <a:gd name="connsiteY29" fmla="*/ 276225 h 1704975"/>
                <a:gd name="connsiteX30" fmla="*/ 880150 w 1528115"/>
                <a:gd name="connsiteY30" fmla="*/ 269875 h 1704975"/>
                <a:gd name="connsiteX31" fmla="*/ 889675 w 1528115"/>
                <a:gd name="connsiteY31" fmla="*/ 263525 h 1704975"/>
                <a:gd name="connsiteX32" fmla="*/ 921425 w 1528115"/>
                <a:gd name="connsiteY32" fmla="*/ 254000 h 1704975"/>
                <a:gd name="connsiteX33" fmla="*/ 930950 w 1528115"/>
                <a:gd name="connsiteY33" fmla="*/ 250825 h 1704975"/>
                <a:gd name="connsiteX34" fmla="*/ 950000 w 1528115"/>
                <a:gd name="connsiteY34" fmla="*/ 254000 h 1704975"/>
                <a:gd name="connsiteX35" fmla="*/ 953175 w 1528115"/>
                <a:gd name="connsiteY35" fmla="*/ 263525 h 1704975"/>
                <a:gd name="connsiteX36" fmla="*/ 943650 w 1528115"/>
                <a:gd name="connsiteY36" fmla="*/ 317500 h 1704975"/>
                <a:gd name="connsiteX37" fmla="*/ 946825 w 1528115"/>
                <a:gd name="connsiteY37" fmla="*/ 330200 h 1704975"/>
                <a:gd name="connsiteX38" fmla="*/ 965875 w 1528115"/>
                <a:gd name="connsiteY38" fmla="*/ 339725 h 1704975"/>
                <a:gd name="connsiteX39" fmla="*/ 981750 w 1528115"/>
                <a:gd name="connsiteY39" fmla="*/ 336550 h 1704975"/>
                <a:gd name="connsiteX40" fmla="*/ 991275 w 1528115"/>
                <a:gd name="connsiteY40" fmla="*/ 330200 h 1704975"/>
                <a:gd name="connsiteX41" fmla="*/ 1000800 w 1528115"/>
                <a:gd name="connsiteY41" fmla="*/ 327025 h 1704975"/>
                <a:gd name="connsiteX42" fmla="*/ 1010325 w 1528115"/>
                <a:gd name="connsiteY42" fmla="*/ 320675 h 1704975"/>
                <a:gd name="connsiteX43" fmla="*/ 1029375 w 1528115"/>
                <a:gd name="connsiteY43" fmla="*/ 311150 h 1704975"/>
                <a:gd name="connsiteX44" fmla="*/ 1032550 w 1528115"/>
                <a:gd name="connsiteY44" fmla="*/ 301625 h 1704975"/>
                <a:gd name="connsiteX45" fmla="*/ 1026200 w 1528115"/>
                <a:gd name="connsiteY45" fmla="*/ 292100 h 1704975"/>
                <a:gd name="connsiteX46" fmla="*/ 1038900 w 1528115"/>
                <a:gd name="connsiteY46" fmla="*/ 279400 h 1704975"/>
                <a:gd name="connsiteX47" fmla="*/ 1083350 w 1528115"/>
                <a:gd name="connsiteY47" fmla="*/ 282575 h 1704975"/>
                <a:gd name="connsiteX48" fmla="*/ 1096050 w 1528115"/>
                <a:gd name="connsiteY48" fmla="*/ 307975 h 1704975"/>
                <a:gd name="connsiteX49" fmla="*/ 1105575 w 1528115"/>
                <a:gd name="connsiteY49" fmla="*/ 314325 h 1704975"/>
                <a:gd name="connsiteX50" fmla="*/ 1111925 w 1528115"/>
                <a:gd name="connsiteY50" fmla="*/ 327025 h 1704975"/>
                <a:gd name="connsiteX51" fmla="*/ 1134150 w 1528115"/>
                <a:gd name="connsiteY51" fmla="*/ 453979 h 1704975"/>
                <a:gd name="connsiteX52" fmla="*/ 1165900 w 1528115"/>
                <a:gd name="connsiteY52" fmla="*/ 454025 h 1704975"/>
                <a:gd name="connsiteX53" fmla="*/ 1207175 w 1528115"/>
                <a:gd name="connsiteY53" fmla="*/ 457200 h 1704975"/>
                <a:gd name="connsiteX54" fmla="*/ 1216700 w 1528115"/>
                <a:gd name="connsiteY54" fmla="*/ 463550 h 1704975"/>
                <a:gd name="connsiteX55" fmla="*/ 1270675 w 1528115"/>
                <a:gd name="connsiteY55" fmla="*/ 469900 h 1704975"/>
                <a:gd name="connsiteX56" fmla="*/ 1277025 w 1528115"/>
                <a:gd name="connsiteY56" fmla="*/ 479425 h 1704975"/>
                <a:gd name="connsiteX57" fmla="*/ 1273850 w 1528115"/>
                <a:gd name="connsiteY57" fmla="*/ 488950 h 1704975"/>
                <a:gd name="connsiteX58" fmla="*/ 1270675 w 1528115"/>
                <a:gd name="connsiteY58" fmla="*/ 511175 h 1704975"/>
                <a:gd name="connsiteX59" fmla="*/ 1264325 w 1528115"/>
                <a:gd name="connsiteY59" fmla="*/ 530225 h 1704975"/>
                <a:gd name="connsiteX60" fmla="*/ 1261150 w 1528115"/>
                <a:gd name="connsiteY60" fmla="*/ 539750 h 1704975"/>
                <a:gd name="connsiteX61" fmla="*/ 1254800 w 1528115"/>
                <a:gd name="connsiteY61" fmla="*/ 571500 h 1704975"/>
                <a:gd name="connsiteX62" fmla="*/ 1254800 w 1528115"/>
                <a:gd name="connsiteY62" fmla="*/ 692150 h 1704975"/>
                <a:gd name="connsiteX63" fmla="*/ 1257975 w 1528115"/>
                <a:gd name="connsiteY63" fmla="*/ 714375 h 1704975"/>
                <a:gd name="connsiteX64" fmla="*/ 1261150 w 1528115"/>
                <a:gd name="connsiteY64" fmla="*/ 723900 h 1704975"/>
                <a:gd name="connsiteX65" fmla="*/ 1273850 w 1528115"/>
                <a:gd name="connsiteY65" fmla="*/ 727075 h 1704975"/>
                <a:gd name="connsiteX66" fmla="*/ 1292900 w 1528115"/>
                <a:gd name="connsiteY66" fmla="*/ 739775 h 1704975"/>
                <a:gd name="connsiteX67" fmla="*/ 1289725 w 1528115"/>
                <a:gd name="connsiteY67" fmla="*/ 784225 h 1704975"/>
                <a:gd name="connsiteX68" fmla="*/ 1273850 w 1528115"/>
                <a:gd name="connsiteY68" fmla="*/ 800100 h 1704975"/>
                <a:gd name="connsiteX69" fmla="*/ 1264325 w 1528115"/>
                <a:gd name="connsiteY69" fmla="*/ 809625 h 1704975"/>
                <a:gd name="connsiteX70" fmla="*/ 1219875 w 1528115"/>
                <a:gd name="connsiteY70" fmla="*/ 819150 h 1704975"/>
                <a:gd name="connsiteX71" fmla="*/ 1200825 w 1528115"/>
                <a:gd name="connsiteY71" fmla="*/ 825500 h 1704975"/>
                <a:gd name="connsiteX72" fmla="*/ 1181775 w 1528115"/>
                <a:gd name="connsiteY72" fmla="*/ 838200 h 1704975"/>
                <a:gd name="connsiteX73" fmla="*/ 1172250 w 1528115"/>
                <a:gd name="connsiteY73" fmla="*/ 844550 h 1704975"/>
                <a:gd name="connsiteX74" fmla="*/ 1153200 w 1528115"/>
                <a:gd name="connsiteY74" fmla="*/ 850900 h 1704975"/>
                <a:gd name="connsiteX75" fmla="*/ 1140500 w 1528115"/>
                <a:gd name="connsiteY75" fmla="*/ 857250 h 1704975"/>
                <a:gd name="connsiteX76" fmla="*/ 1130975 w 1528115"/>
                <a:gd name="connsiteY76" fmla="*/ 863600 h 1704975"/>
                <a:gd name="connsiteX77" fmla="*/ 1105575 w 1528115"/>
                <a:gd name="connsiteY77" fmla="*/ 866775 h 1704975"/>
                <a:gd name="connsiteX78" fmla="*/ 1086525 w 1528115"/>
                <a:gd name="connsiteY78" fmla="*/ 873125 h 1704975"/>
                <a:gd name="connsiteX79" fmla="*/ 1077000 w 1528115"/>
                <a:gd name="connsiteY79" fmla="*/ 879475 h 1704975"/>
                <a:gd name="connsiteX80" fmla="*/ 1057950 w 1528115"/>
                <a:gd name="connsiteY80" fmla="*/ 885825 h 1704975"/>
                <a:gd name="connsiteX81" fmla="*/ 1048425 w 1528115"/>
                <a:gd name="connsiteY81" fmla="*/ 889000 h 1704975"/>
                <a:gd name="connsiteX82" fmla="*/ 1029375 w 1528115"/>
                <a:gd name="connsiteY82" fmla="*/ 908050 h 1704975"/>
                <a:gd name="connsiteX83" fmla="*/ 1010325 w 1528115"/>
                <a:gd name="connsiteY83" fmla="*/ 914400 h 1704975"/>
                <a:gd name="connsiteX84" fmla="*/ 1003975 w 1528115"/>
                <a:gd name="connsiteY84" fmla="*/ 923925 h 1704975"/>
                <a:gd name="connsiteX85" fmla="*/ 994450 w 1528115"/>
                <a:gd name="connsiteY85" fmla="*/ 933450 h 1704975"/>
                <a:gd name="connsiteX86" fmla="*/ 991275 w 1528115"/>
                <a:gd name="connsiteY86" fmla="*/ 942975 h 1704975"/>
                <a:gd name="connsiteX87" fmla="*/ 988100 w 1528115"/>
                <a:gd name="connsiteY87" fmla="*/ 962025 h 1704975"/>
                <a:gd name="connsiteX88" fmla="*/ 969050 w 1528115"/>
                <a:gd name="connsiteY88" fmla="*/ 968375 h 1704975"/>
                <a:gd name="connsiteX89" fmla="*/ 950000 w 1528115"/>
                <a:gd name="connsiteY89" fmla="*/ 981075 h 1704975"/>
                <a:gd name="connsiteX90" fmla="*/ 940475 w 1528115"/>
                <a:gd name="connsiteY90" fmla="*/ 987425 h 1704975"/>
                <a:gd name="connsiteX91" fmla="*/ 930950 w 1528115"/>
                <a:gd name="connsiteY91" fmla="*/ 1006475 h 1704975"/>
                <a:gd name="connsiteX92" fmla="*/ 924600 w 1528115"/>
                <a:gd name="connsiteY92" fmla="*/ 1016000 h 1704975"/>
                <a:gd name="connsiteX93" fmla="*/ 921425 w 1528115"/>
                <a:gd name="connsiteY93" fmla="*/ 1025525 h 1704975"/>
                <a:gd name="connsiteX94" fmla="*/ 905550 w 1528115"/>
                <a:gd name="connsiteY94" fmla="*/ 1044575 h 1704975"/>
                <a:gd name="connsiteX95" fmla="*/ 896025 w 1528115"/>
                <a:gd name="connsiteY95" fmla="*/ 1063625 h 1704975"/>
                <a:gd name="connsiteX96" fmla="*/ 867450 w 1528115"/>
                <a:gd name="connsiteY96" fmla="*/ 1085850 h 1704975"/>
                <a:gd name="connsiteX97" fmla="*/ 848400 w 1528115"/>
                <a:gd name="connsiteY97" fmla="*/ 1095375 h 1704975"/>
                <a:gd name="connsiteX98" fmla="*/ 813475 w 1528115"/>
                <a:gd name="connsiteY98" fmla="*/ 1092200 h 1704975"/>
                <a:gd name="connsiteX99" fmla="*/ 772200 w 1528115"/>
                <a:gd name="connsiteY99" fmla="*/ 1098550 h 1704975"/>
                <a:gd name="connsiteX100" fmla="*/ 759500 w 1528115"/>
                <a:gd name="connsiteY100" fmla="*/ 1127125 h 1704975"/>
                <a:gd name="connsiteX101" fmla="*/ 756325 w 1528115"/>
                <a:gd name="connsiteY101" fmla="*/ 1136650 h 1704975"/>
                <a:gd name="connsiteX102" fmla="*/ 740450 w 1528115"/>
                <a:gd name="connsiteY102" fmla="*/ 1155700 h 1704975"/>
                <a:gd name="connsiteX103" fmla="*/ 718225 w 1528115"/>
                <a:gd name="connsiteY103" fmla="*/ 1181100 h 1704975"/>
                <a:gd name="connsiteX104" fmla="*/ 721400 w 1528115"/>
                <a:gd name="connsiteY104" fmla="*/ 1238250 h 1704975"/>
                <a:gd name="connsiteX105" fmla="*/ 727750 w 1528115"/>
                <a:gd name="connsiteY105" fmla="*/ 1247775 h 1704975"/>
                <a:gd name="connsiteX106" fmla="*/ 730925 w 1528115"/>
                <a:gd name="connsiteY106" fmla="*/ 1257300 h 1704975"/>
                <a:gd name="connsiteX107" fmla="*/ 740450 w 1528115"/>
                <a:gd name="connsiteY107" fmla="*/ 1276350 h 1704975"/>
                <a:gd name="connsiteX108" fmla="*/ 743625 w 1528115"/>
                <a:gd name="connsiteY108" fmla="*/ 1320800 h 1704975"/>
                <a:gd name="connsiteX109" fmla="*/ 746800 w 1528115"/>
                <a:gd name="connsiteY109" fmla="*/ 1330325 h 1704975"/>
                <a:gd name="connsiteX110" fmla="*/ 756325 w 1528115"/>
                <a:gd name="connsiteY110" fmla="*/ 1336675 h 1704975"/>
                <a:gd name="connsiteX111" fmla="*/ 762675 w 1528115"/>
                <a:gd name="connsiteY111" fmla="*/ 1346200 h 1704975"/>
                <a:gd name="connsiteX112" fmla="*/ 769025 w 1528115"/>
                <a:gd name="connsiteY112" fmla="*/ 1393825 h 1704975"/>
                <a:gd name="connsiteX113" fmla="*/ 775375 w 1528115"/>
                <a:gd name="connsiteY113" fmla="*/ 1412875 h 1704975"/>
                <a:gd name="connsiteX114" fmla="*/ 781725 w 1528115"/>
                <a:gd name="connsiteY114" fmla="*/ 1435100 h 1704975"/>
                <a:gd name="connsiteX115" fmla="*/ 772200 w 1528115"/>
                <a:gd name="connsiteY115" fmla="*/ 1460500 h 1704975"/>
                <a:gd name="connsiteX116" fmla="*/ 762675 w 1528115"/>
                <a:gd name="connsiteY116" fmla="*/ 1466850 h 1704975"/>
                <a:gd name="connsiteX117" fmla="*/ 753150 w 1528115"/>
                <a:gd name="connsiteY117" fmla="*/ 1485900 h 1704975"/>
                <a:gd name="connsiteX118" fmla="*/ 749975 w 1528115"/>
                <a:gd name="connsiteY118" fmla="*/ 1514475 h 1704975"/>
                <a:gd name="connsiteX119" fmla="*/ 740450 w 1528115"/>
                <a:gd name="connsiteY119" fmla="*/ 1520825 h 1704975"/>
                <a:gd name="connsiteX120" fmla="*/ 730925 w 1528115"/>
                <a:gd name="connsiteY120" fmla="*/ 1530350 h 1704975"/>
                <a:gd name="connsiteX121" fmla="*/ 718225 w 1528115"/>
                <a:gd name="connsiteY121" fmla="*/ 1549400 h 1704975"/>
                <a:gd name="connsiteX122" fmla="*/ 711875 w 1528115"/>
                <a:gd name="connsiteY122" fmla="*/ 1558925 h 1704975"/>
                <a:gd name="connsiteX123" fmla="*/ 702350 w 1528115"/>
                <a:gd name="connsiteY123" fmla="*/ 1568450 h 1704975"/>
                <a:gd name="connsiteX124" fmla="*/ 699175 w 1528115"/>
                <a:gd name="connsiteY124" fmla="*/ 1577975 h 1704975"/>
                <a:gd name="connsiteX125" fmla="*/ 686475 w 1528115"/>
                <a:gd name="connsiteY125" fmla="*/ 1597025 h 1704975"/>
                <a:gd name="connsiteX126" fmla="*/ 676950 w 1528115"/>
                <a:gd name="connsiteY126" fmla="*/ 1616075 h 1704975"/>
                <a:gd name="connsiteX127" fmla="*/ 667425 w 1528115"/>
                <a:gd name="connsiteY127" fmla="*/ 1619250 h 1704975"/>
                <a:gd name="connsiteX128" fmla="*/ 648375 w 1528115"/>
                <a:gd name="connsiteY128" fmla="*/ 1631950 h 1704975"/>
                <a:gd name="connsiteX129" fmla="*/ 638850 w 1528115"/>
                <a:gd name="connsiteY129" fmla="*/ 1638300 h 1704975"/>
                <a:gd name="connsiteX130" fmla="*/ 607100 w 1528115"/>
                <a:gd name="connsiteY130" fmla="*/ 1676400 h 1704975"/>
                <a:gd name="connsiteX131" fmla="*/ 556300 w 1528115"/>
                <a:gd name="connsiteY131" fmla="*/ 1679575 h 1704975"/>
                <a:gd name="connsiteX132" fmla="*/ 537250 w 1528115"/>
                <a:gd name="connsiteY132" fmla="*/ 1685925 h 1704975"/>
                <a:gd name="connsiteX133" fmla="*/ 515025 w 1528115"/>
                <a:gd name="connsiteY133" fmla="*/ 1698625 h 1704975"/>
                <a:gd name="connsiteX134" fmla="*/ 495975 w 1528115"/>
                <a:gd name="connsiteY134" fmla="*/ 1704975 h 1704975"/>
                <a:gd name="connsiteX135" fmla="*/ 476925 w 1528115"/>
                <a:gd name="connsiteY135" fmla="*/ 1701800 h 1704975"/>
                <a:gd name="connsiteX136" fmla="*/ 470575 w 1528115"/>
                <a:gd name="connsiteY136" fmla="*/ 1692275 h 1704975"/>
                <a:gd name="connsiteX137" fmla="*/ 467400 w 1528115"/>
                <a:gd name="connsiteY137" fmla="*/ 1660525 h 1704975"/>
                <a:gd name="connsiteX138" fmla="*/ 457875 w 1528115"/>
                <a:gd name="connsiteY138" fmla="*/ 1641475 h 1704975"/>
                <a:gd name="connsiteX139" fmla="*/ 448350 w 1528115"/>
                <a:gd name="connsiteY139" fmla="*/ 1635125 h 1704975"/>
                <a:gd name="connsiteX140" fmla="*/ 445175 w 1528115"/>
                <a:gd name="connsiteY140" fmla="*/ 1625600 h 1704975"/>
                <a:gd name="connsiteX141" fmla="*/ 435650 w 1528115"/>
                <a:gd name="connsiteY141" fmla="*/ 1606550 h 1704975"/>
                <a:gd name="connsiteX142" fmla="*/ 432475 w 1528115"/>
                <a:gd name="connsiteY142" fmla="*/ 1495425 h 1704975"/>
                <a:gd name="connsiteX143" fmla="*/ 429300 w 1528115"/>
                <a:gd name="connsiteY143" fmla="*/ 1485900 h 1704975"/>
                <a:gd name="connsiteX144" fmla="*/ 426125 w 1528115"/>
                <a:gd name="connsiteY144" fmla="*/ 1473200 h 1704975"/>
                <a:gd name="connsiteX145" fmla="*/ 419775 w 1528115"/>
                <a:gd name="connsiteY145" fmla="*/ 1463675 h 1704975"/>
                <a:gd name="connsiteX146" fmla="*/ 416600 w 1528115"/>
                <a:gd name="connsiteY146" fmla="*/ 1454150 h 1704975"/>
                <a:gd name="connsiteX147" fmla="*/ 403900 w 1528115"/>
                <a:gd name="connsiteY147" fmla="*/ 1435100 h 1704975"/>
                <a:gd name="connsiteX148" fmla="*/ 397550 w 1528115"/>
                <a:gd name="connsiteY148" fmla="*/ 1416050 h 1704975"/>
                <a:gd name="connsiteX149" fmla="*/ 394375 w 1528115"/>
                <a:gd name="connsiteY149" fmla="*/ 1381125 h 1704975"/>
                <a:gd name="connsiteX150" fmla="*/ 391200 w 1528115"/>
                <a:gd name="connsiteY150" fmla="*/ 1368425 h 1704975"/>
                <a:gd name="connsiteX151" fmla="*/ 388025 w 1528115"/>
                <a:gd name="connsiteY151" fmla="*/ 1352550 h 1704975"/>
                <a:gd name="connsiteX152" fmla="*/ 381675 w 1528115"/>
                <a:gd name="connsiteY152" fmla="*/ 1333500 h 1704975"/>
                <a:gd name="connsiteX153" fmla="*/ 378500 w 1528115"/>
                <a:gd name="connsiteY153" fmla="*/ 1323975 h 1704975"/>
                <a:gd name="connsiteX154" fmla="*/ 375325 w 1528115"/>
                <a:gd name="connsiteY154" fmla="*/ 1308100 h 1704975"/>
                <a:gd name="connsiteX155" fmla="*/ 368975 w 1528115"/>
                <a:gd name="connsiteY155" fmla="*/ 1289050 h 1704975"/>
                <a:gd name="connsiteX156" fmla="*/ 362625 w 1528115"/>
                <a:gd name="connsiteY156" fmla="*/ 1260475 h 1704975"/>
                <a:gd name="connsiteX157" fmla="*/ 359450 w 1528115"/>
                <a:gd name="connsiteY157" fmla="*/ 1231900 h 1704975"/>
                <a:gd name="connsiteX158" fmla="*/ 349925 w 1528115"/>
                <a:gd name="connsiteY158" fmla="*/ 1196975 h 1704975"/>
                <a:gd name="connsiteX159" fmla="*/ 340400 w 1528115"/>
                <a:gd name="connsiteY159" fmla="*/ 1155700 h 1704975"/>
                <a:gd name="connsiteX160" fmla="*/ 334050 w 1528115"/>
                <a:gd name="connsiteY160" fmla="*/ 1130300 h 1704975"/>
                <a:gd name="connsiteX161" fmla="*/ 327700 w 1528115"/>
                <a:gd name="connsiteY161" fmla="*/ 1104900 h 1704975"/>
                <a:gd name="connsiteX162" fmla="*/ 324525 w 1528115"/>
                <a:gd name="connsiteY162" fmla="*/ 1092200 h 1704975"/>
                <a:gd name="connsiteX163" fmla="*/ 318175 w 1528115"/>
                <a:gd name="connsiteY163" fmla="*/ 1050925 h 1704975"/>
                <a:gd name="connsiteX164" fmla="*/ 315000 w 1528115"/>
                <a:gd name="connsiteY164" fmla="*/ 1031875 h 1704975"/>
                <a:gd name="connsiteX165" fmla="*/ 311825 w 1528115"/>
                <a:gd name="connsiteY165" fmla="*/ 1022350 h 1704975"/>
                <a:gd name="connsiteX166" fmla="*/ 308650 w 1528115"/>
                <a:gd name="connsiteY166" fmla="*/ 1006475 h 1704975"/>
                <a:gd name="connsiteX167" fmla="*/ 302300 w 1528115"/>
                <a:gd name="connsiteY167" fmla="*/ 987425 h 1704975"/>
                <a:gd name="connsiteX168" fmla="*/ 299125 w 1528115"/>
                <a:gd name="connsiteY168" fmla="*/ 974725 h 1704975"/>
                <a:gd name="connsiteX169" fmla="*/ 292775 w 1528115"/>
                <a:gd name="connsiteY169" fmla="*/ 955675 h 1704975"/>
                <a:gd name="connsiteX170" fmla="*/ 289600 w 1528115"/>
                <a:gd name="connsiteY170" fmla="*/ 946150 h 1704975"/>
                <a:gd name="connsiteX171" fmla="*/ 280075 w 1528115"/>
                <a:gd name="connsiteY171" fmla="*/ 923925 h 1704975"/>
                <a:gd name="connsiteX172" fmla="*/ 261025 w 1528115"/>
                <a:gd name="connsiteY172" fmla="*/ 908050 h 1704975"/>
                <a:gd name="connsiteX173" fmla="*/ 241975 w 1528115"/>
                <a:gd name="connsiteY173" fmla="*/ 901700 h 1704975"/>
                <a:gd name="connsiteX174" fmla="*/ 222925 w 1528115"/>
                <a:gd name="connsiteY174" fmla="*/ 889000 h 1704975"/>
                <a:gd name="connsiteX175" fmla="*/ 213400 w 1528115"/>
                <a:gd name="connsiteY175" fmla="*/ 885825 h 1704975"/>
                <a:gd name="connsiteX176" fmla="*/ 194350 w 1528115"/>
                <a:gd name="connsiteY176" fmla="*/ 873125 h 1704975"/>
                <a:gd name="connsiteX177" fmla="*/ 175300 w 1528115"/>
                <a:gd name="connsiteY177" fmla="*/ 860425 h 1704975"/>
                <a:gd name="connsiteX178" fmla="*/ 162600 w 1528115"/>
                <a:gd name="connsiteY178" fmla="*/ 850900 h 1704975"/>
                <a:gd name="connsiteX179" fmla="*/ 153075 w 1528115"/>
                <a:gd name="connsiteY179" fmla="*/ 847725 h 1704975"/>
                <a:gd name="connsiteX180" fmla="*/ 134025 w 1528115"/>
                <a:gd name="connsiteY180" fmla="*/ 835025 h 1704975"/>
                <a:gd name="connsiteX181" fmla="*/ 114975 w 1528115"/>
                <a:gd name="connsiteY181" fmla="*/ 822325 h 1704975"/>
                <a:gd name="connsiteX182" fmla="*/ 105450 w 1528115"/>
                <a:gd name="connsiteY182" fmla="*/ 815975 h 1704975"/>
                <a:gd name="connsiteX183" fmla="*/ 95925 w 1528115"/>
                <a:gd name="connsiteY183" fmla="*/ 812800 h 1704975"/>
                <a:gd name="connsiteX184" fmla="*/ 64175 w 1528115"/>
                <a:gd name="connsiteY184" fmla="*/ 790575 h 1704975"/>
                <a:gd name="connsiteX185" fmla="*/ 54650 w 1528115"/>
                <a:gd name="connsiteY185" fmla="*/ 787400 h 1704975"/>
                <a:gd name="connsiteX186" fmla="*/ 38775 w 1528115"/>
                <a:gd name="connsiteY186" fmla="*/ 771525 h 1704975"/>
                <a:gd name="connsiteX187" fmla="*/ 29250 w 1528115"/>
                <a:gd name="connsiteY187" fmla="*/ 762000 h 1704975"/>
                <a:gd name="connsiteX188" fmla="*/ 19725 w 1528115"/>
                <a:gd name="connsiteY188" fmla="*/ 758825 h 1704975"/>
                <a:gd name="connsiteX189" fmla="*/ 675 w 1528115"/>
                <a:gd name="connsiteY189" fmla="*/ 746125 h 1704975"/>
                <a:gd name="connsiteX190" fmla="*/ 51475 w 1528115"/>
                <a:gd name="connsiteY190" fmla="*/ 739775 h 1704975"/>
                <a:gd name="connsiteX191" fmla="*/ 67350 w 1528115"/>
                <a:gd name="connsiteY191" fmla="*/ 736600 h 1704975"/>
                <a:gd name="connsiteX192" fmla="*/ 102275 w 1528115"/>
                <a:gd name="connsiteY192" fmla="*/ 733425 h 1704975"/>
                <a:gd name="connsiteX193" fmla="*/ 130850 w 1528115"/>
                <a:gd name="connsiteY193" fmla="*/ 727075 h 1704975"/>
                <a:gd name="connsiteX194" fmla="*/ 149900 w 1528115"/>
                <a:gd name="connsiteY194" fmla="*/ 723900 h 1704975"/>
                <a:gd name="connsiteX195" fmla="*/ 159425 w 1528115"/>
                <a:gd name="connsiteY195" fmla="*/ 720725 h 1704975"/>
                <a:gd name="connsiteX196" fmla="*/ 175300 w 1528115"/>
                <a:gd name="connsiteY196" fmla="*/ 717550 h 1704975"/>
                <a:gd name="connsiteX197" fmla="*/ 194350 w 1528115"/>
                <a:gd name="connsiteY197" fmla="*/ 711200 h 1704975"/>
                <a:gd name="connsiteX198" fmla="*/ 222925 w 1528115"/>
                <a:gd name="connsiteY198" fmla="*/ 701675 h 1704975"/>
                <a:gd name="connsiteX199" fmla="*/ 232450 w 1528115"/>
                <a:gd name="connsiteY199" fmla="*/ 698500 h 1704975"/>
                <a:gd name="connsiteX200" fmla="*/ 241975 w 1528115"/>
                <a:gd name="connsiteY200" fmla="*/ 695325 h 1704975"/>
                <a:gd name="connsiteX201" fmla="*/ 381675 w 1528115"/>
                <a:gd name="connsiteY201" fmla="*/ 688975 h 1704975"/>
                <a:gd name="connsiteX202" fmla="*/ 397550 w 1528115"/>
                <a:gd name="connsiteY202" fmla="*/ 685800 h 1704975"/>
                <a:gd name="connsiteX203" fmla="*/ 407075 w 1528115"/>
                <a:gd name="connsiteY203" fmla="*/ 682625 h 1704975"/>
                <a:gd name="connsiteX204" fmla="*/ 419775 w 1528115"/>
                <a:gd name="connsiteY204" fmla="*/ 679450 h 1704975"/>
                <a:gd name="connsiteX205" fmla="*/ 438825 w 1528115"/>
                <a:gd name="connsiteY205" fmla="*/ 673100 h 1704975"/>
                <a:gd name="connsiteX206" fmla="*/ 467400 w 1528115"/>
                <a:gd name="connsiteY206" fmla="*/ 663575 h 1704975"/>
                <a:gd name="connsiteX207" fmla="*/ 495975 w 1528115"/>
                <a:gd name="connsiteY207" fmla="*/ 654050 h 1704975"/>
                <a:gd name="connsiteX208" fmla="*/ 505500 w 1528115"/>
                <a:gd name="connsiteY208" fmla="*/ 650875 h 1704975"/>
                <a:gd name="connsiteX209" fmla="*/ 527725 w 1528115"/>
                <a:gd name="connsiteY209" fmla="*/ 641350 h 1704975"/>
                <a:gd name="connsiteX210" fmla="*/ 537250 w 1528115"/>
                <a:gd name="connsiteY210" fmla="*/ 635000 h 1704975"/>
                <a:gd name="connsiteX211" fmla="*/ 546775 w 1528115"/>
                <a:gd name="connsiteY211" fmla="*/ 631825 h 1704975"/>
                <a:gd name="connsiteX212" fmla="*/ 559475 w 1528115"/>
                <a:gd name="connsiteY212" fmla="*/ 625475 h 1704975"/>
                <a:gd name="connsiteX213" fmla="*/ 578525 w 1528115"/>
                <a:gd name="connsiteY213" fmla="*/ 657225 h 1704975"/>
                <a:gd name="connsiteX214" fmla="*/ 588050 w 1528115"/>
                <a:gd name="connsiteY214" fmla="*/ 660400 h 1704975"/>
                <a:gd name="connsiteX215" fmla="*/ 607100 w 1528115"/>
                <a:gd name="connsiteY215" fmla="*/ 673100 h 1704975"/>
                <a:gd name="connsiteX216" fmla="*/ 626150 w 1528115"/>
                <a:gd name="connsiteY216" fmla="*/ 679450 h 1704975"/>
                <a:gd name="connsiteX217" fmla="*/ 635675 w 1528115"/>
                <a:gd name="connsiteY217" fmla="*/ 685800 h 1704975"/>
                <a:gd name="connsiteX218" fmla="*/ 654725 w 1528115"/>
                <a:gd name="connsiteY218" fmla="*/ 692150 h 1704975"/>
                <a:gd name="connsiteX219" fmla="*/ 645200 w 1528115"/>
                <a:gd name="connsiteY219" fmla="*/ 682625 h 1704975"/>
                <a:gd name="connsiteX220" fmla="*/ 635675 w 1528115"/>
                <a:gd name="connsiteY220" fmla="*/ 676275 h 1704975"/>
                <a:gd name="connsiteX221" fmla="*/ 632500 w 1528115"/>
                <a:gd name="connsiteY221" fmla="*/ 666750 h 1704975"/>
                <a:gd name="connsiteX222" fmla="*/ 635675 w 1528115"/>
                <a:gd name="connsiteY222" fmla="*/ 590550 h 1704975"/>
                <a:gd name="connsiteX223" fmla="*/ 642025 w 1528115"/>
                <a:gd name="connsiteY223" fmla="*/ 571500 h 1704975"/>
                <a:gd name="connsiteX224" fmla="*/ 648375 w 1528115"/>
                <a:gd name="connsiteY224" fmla="*/ 561975 h 1704975"/>
                <a:gd name="connsiteX225" fmla="*/ 638850 w 1528115"/>
                <a:gd name="connsiteY225" fmla="*/ 536575 h 1704975"/>
                <a:gd name="connsiteX226" fmla="*/ 629325 w 1528115"/>
                <a:gd name="connsiteY226" fmla="*/ 533400 h 1704975"/>
                <a:gd name="connsiteX227" fmla="*/ 626150 w 1528115"/>
                <a:gd name="connsiteY227" fmla="*/ 523875 h 1704975"/>
                <a:gd name="connsiteX228" fmla="*/ 632500 w 1528115"/>
                <a:gd name="connsiteY228" fmla="*/ 498475 h 1704975"/>
                <a:gd name="connsiteX229" fmla="*/ 635675 w 1528115"/>
                <a:gd name="connsiteY229" fmla="*/ 485775 h 1704975"/>
                <a:gd name="connsiteX230" fmla="*/ 626150 w 1528115"/>
                <a:gd name="connsiteY230" fmla="*/ 463550 h 1704975"/>
                <a:gd name="connsiteX231" fmla="*/ 616625 w 1528115"/>
                <a:gd name="connsiteY231" fmla="*/ 460375 h 1704975"/>
                <a:gd name="connsiteX232" fmla="*/ 607100 w 1528115"/>
                <a:gd name="connsiteY232" fmla="*/ 454025 h 1704975"/>
                <a:gd name="connsiteX233" fmla="*/ 591225 w 1528115"/>
                <a:gd name="connsiteY233" fmla="*/ 450850 h 1704975"/>
                <a:gd name="connsiteX234" fmla="*/ 569000 w 1528115"/>
                <a:gd name="connsiteY234" fmla="*/ 441325 h 1704975"/>
                <a:gd name="connsiteX235" fmla="*/ 546775 w 1528115"/>
                <a:gd name="connsiteY235" fmla="*/ 415925 h 1704975"/>
                <a:gd name="connsiteX236" fmla="*/ 540425 w 1528115"/>
                <a:gd name="connsiteY236" fmla="*/ 406400 h 1704975"/>
                <a:gd name="connsiteX237" fmla="*/ 530900 w 1528115"/>
                <a:gd name="connsiteY237" fmla="*/ 400050 h 1704975"/>
                <a:gd name="connsiteX238" fmla="*/ 508675 w 1528115"/>
                <a:gd name="connsiteY238" fmla="*/ 374650 h 1704975"/>
                <a:gd name="connsiteX239" fmla="*/ 502325 w 1528115"/>
                <a:gd name="connsiteY239" fmla="*/ 365125 h 1704975"/>
                <a:gd name="connsiteX240" fmla="*/ 483275 w 1528115"/>
                <a:gd name="connsiteY240" fmla="*/ 346075 h 1704975"/>
                <a:gd name="connsiteX241" fmla="*/ 486450 w 1528115"/>
                <a:gd name="connsiteY241" fmla="*/ 333375 h 1704975"/>
                <a:gd name="connsiteX242" fmla="*/ 492800 w 1528115"/>
                <a:gd name="connsiteY242" fmla="*/ 314325 h 1704975"/>
                <a:gd name="connsiteX243" fmla="*/ 489625 w 1528115"/>
                <a:gd name="connsiteY243" fmla="*/ 292100 h 1704975"/>
                <a:gd name="connsiteX244" fmla="*/ 461050 w 1528115"/>
                <a:gd name="connsiteY244" fmla="*/ 266700 h 1704975"/>
                <a:gd name="connsiteX245" fmla="*/ 435650 w 1528115"/>
                <a:gd name="connsiteY245" fmla="*/ 254000 h 1704975"/>
                <a:gd name="connsiteX246" fmla="*/ 413425 w 1528115"/>
                <a:gd name="connsiteY246" fmla="*/ 238125 h 1704975"/>
                <a:gd name="connsiteX247" fmla="*/ 403900 w 1528115"/>
                <a:gd name="connsiteY247" fmla="*/ 231775 h 1704975"/>
                <a:gd name="connsiteX248" fmla="*/ 388025 w 1528115"/>
                <a:gd name="connsiteY248" fmla="*/ 212725 h 1704975"/>
                <a:gd name="connsiteX249" fmla="*/ 372150 w 1528115"/>
                <a:gd name="connsiteY249" fmla="*/ 196850 h 1704975"/>
                <a:gd name="connsiteX250" fmla="*/ 365800 w 1528115"/>
                <a:gd name="connsiteY250" fmla="*/ 177800 h 1704975"/>
                <a:gd name="connsiteX251" fmla="*/ 359450 w 1528115"/>
                <a:gd name="connsiteY251" fmla="*/ 149225 h 1704975"/>
                <a:gd name="connsiteX252" fmla="*/ 362625 w 1528115"/>
                <a:gd name="connsiteY252" fmla="*/ 114300 h 1704975"/>
                <a:gd name="connsiteX253" fmla="*/ 368975 w 1528115"/>
                <a:gd name="connsiteY253" fmla="*/ 104775 h 1704975"/>
                <a:gd name="connsiteX254" fmla="*/ 375325 w 1528115"/>
                <a:gd name="connsiteY254"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48350 w 1293444"/>
                <a:gd name="connsiteY139" fmla="*/ 1635125 h 1704975"/>
                <a:gd name="connsiteX140" fmla="*/ 445175 w 1293444"/>
                <a:gd name="connsiteY140" fmla="*/ 1625600 h 1704975"/>
                <a:gd name="connsiteX141" fmla="*/ 435650 w 1293444"/>
                <a:gd name="connsiteY141" fmla="*/ 1606550 h 1704975"/>
                <a:gd name="connsiteX142" fmla="*/ 432475 w 1293444"/>
                <a:gd name="connsiteY142" fmla="*/ 1495425 h 1704975"/>
                <a:gd name="connsiteX143" fmla="*/ 429300 w 1293444"/>
                <a:gd name="connsiteY143" fmla="*/ 1485900 h 1704975"/>
                <a:gd name="connsiteX144" fmla="*/ 426125 w 1293444"/>
                <a:gd name="connsiteY144" fmla="*/ 1473200 h 1704975"/>
                <a:gd name="connsiteX145" fmla="*/ 419775 w 1293444"/>
                <a:gd name="connsiteY145" fmla="*/ 1463675 h 1704975"/>
                <a:gd name="connsiteX146" fmla="*/ 416600 w 1293444"/>
                <a:gd name="connsiteY146" fmla="*/ 1454150 h 1704975"/>
                <a:gd name="connsiteX147" fmla="*/ 403900 w 1293444"/>
                <a:gd name="connsiteY147" fmla="*/ 1435100 h 1704975"/>
                <a:gd name="connsiteX148" fmla="*/ 397550 w 1293444"/>
                <a:gd name="connsiteY148" fmla="*/ 1416050 h 1704975"/>
                <a:gd name="connsiteX149" fmla="*/ 394375 w 1293444"/>
                <a:gd name="connsiteY149" fmla="*/ 1381125 h 1704975"/>
                <a:gd name="connsiteX150" fmla="*/ 391200 w 1293444"/>
                <a:gd name="connsiteY150" fmla="*/ 1368425 h 1704975"/>
                <a:gd name="connsiteX151" fmla="*/ 388025 w 1293444"/>
                <a:gd name="connsiteY151" fmla="*/ 1352550 h 1704975"/>
                <a:gd name="connsiteX152" fmla="*/ 381675 w 1293444"/>
                <a:gd name="connsiteY152" fmla="*/ 1333500 h 1704975"/>
                <a:gd name="connsiteX153" fmla="*/ 378500 w 1293444"/>
                <a:gd name="connsiteY153" fmla="*/ 1323975 h 1704975"/>
                <a:gd name="connsiteX154" fmla="*/ 375325 w 1293444"/>
                <a:gd name="connsiteY154" fmla="*/ 1308100 h 1704975"/>
                <a:gd name="connsiteX155" fmla="*/ 368975 w 1293444"/>
                <a:gd name="connsiteY155" fmla="*/ 1289050 h 1704975"/>
                <a:gd name="connsiteX156" fmla="*/ 362625 w 1293444"/>
                <a:gd name="connsiteY156" fmla="*/ 1260475 h 1704975"/>
                <a:gd name="connsiteX157" fmla="*/ 359450 w 1293444"/>
                <a:gd name="connsiteY157" fmla="*/ 1231900 h 1704975"/>
                <a:gd name="connsiteX158" fmla="*/ 349925 w 1293444"/>
                <a:gd name="connsiteY158" fmla="*/ 1196975 h 1704975"/>
                <a:gd name="connsiteX159" fmla="*/ 340400 w 1293444"/>
                <a:gd name="connsiteY159" fmla="*/ 1155700 h 1704975"/>
                <a:gd name="connsiteX160" fmla="*/ 334050 w 1293444"/>
                <a:gd name="connsiteY160" fmla="*/ 1130300 h 1704975"/>
                <a:gd name="connsiteX161" fmla="*/ 327700 w 1293444"/>
                <a:gd name="connsiteY161" fmla="*/ 1104900 h 1704975"/>
                <a:gd name="connsiteX162" fmla="*/ 324525 w 1293444"/>
                <a:gd name="connsiteY162" fmla="*/ 1092200 h 1704975"/>
                <a:gd name="connsiteX163" fmla="*/ 318175 w 1293444"/>
                <a:gd name="connsiteY163" fmla="*/ 1050925 h 1704975"/>
                <a:gd name="connsiteX164" fmla="*/ 315000 w 1293444"/>
                <a:gd name="connsiteY164" fmla="*/ 1031875 h 1704975"/>
                <a:gd name="connsiteX165" fmla="*/ 311825 w 1293444"/>
                <a:gd name="connsiteY165" fmla="*/ 1022350 h 1704975"/>
                <a:gd name="connsiteX166" fmla="*/ 308650 w 1293444"/>
                <a:gd name="connsiteY166" fmla="*/ 1006475 h 1704975"/>
                <a:gd name="connsiteX167" fmla="*/ 302300 w 1293444"/>
                <a:gd name="connsiteY167" fmla="*/ 987425 h 1704975"/>
                <a:gd name="connsiteX168" fmla="*/ 299125 w 1293444"/>
                <a:gd name="connsiteY168" fmla="*/ 974725 h 1704975"/>
                <a:gd name="connsiteX169" fmla="*/ 292775 w 1293444"/>
                <a:gd name="connsiteY169" fmla="*/ 955675 h 1704975"/>
                <a:gd name="connsiteX170" fmla="*/ 289600 w 1293444"/>
                <a:gd name="connsiteY170" fmla="*/ 946150 h 1704975"/>
                <a:gd name="connsiteX171" fmla="*/ 280075 w 1293444"/>
                <a:gd name="connsiteY171" fmla="*/ 923925 h 1704975"/>
                <a:gd name="connsiteX172" fmla="*/ 261025 w 1293444"/>
                <a:gd name="connsiteY172" fmla="*/ 908050 h 1704975"/>
                <a:gd name="connsiteX173" fmla="*/ 241975 w 1293444"/>
                <a:gd name="connsiteY173" fmla="*/ 901700 h 1704975"/>
                <a:gd name="connsiteX174" fmla="*/ 222925 w 1293444"/>
                <a:gd name="connsiteY174" fmla="*/ 889000 h 1704975"/>
                <a:gd name="connsiteX175" fmla="*/ 213400 w 1293444"/>
                <a:gd name="connsiteY175" fmla="*/ 885825 h 1704975"/>
                <a:gd name="connsiteX176" fmla="*/ 194350 w 1293444"/>
                <a:gd name="connsiteY176" fmla="*/ 873125 h 1704975"/>
                <a:gd name="connsiteX177" fmla="*/ 175300 w 1293444"/>
                <a:gd name="connsiteY177" fmla="*/ 860425 h 1704975"/>
                <a:gd name="connsiteX178" fmla="*/ 162600 w 1293444"/>
                <a:gd name="connsiteY178" fmla="*/ 850900 h 1704975"/>
                <a:gd name="connsiteX179" fmla="*/ 153075 w 1293444"/>
                <a:gd name="connsiteY179" fmla="*/ 847725 h 1704975"/>
                <a:gd name="connsiteX180" fmla="*/ 134025 w 1293444"/>
                <a:gd name="connsiteY180" fmla="*/ 835025 h 1704975"/>
                <a:gd name="connsiteX181" fmla="*/ 114975 w 1293444"/>
                <a:gd name="connsiteY181" fmla="*/ 822325 h 1704975"/>
                <a:gd name="connsiteX182" fmla="*/ 105450 w 1293444"/>
                <a:gd name="connsiteY182" fmla="*/ 815975 h 1704975"/>
                <a:gd name="connsiteX183" fmla="*/ 95925 w 1293444"/>
                <a:gd name="connsiteY183" fmla="*/ 812800 h 1704975"/>
                <a:gd name="connsiteX184" fmla="*/ 64175 w 1293444"/>
                <a:gd name="connsiteY184" fmla="*/ 790575 h 1704975"/>
                <a:gd name="connsiteX185" fmla="*/ 54650 w 1293444"/>
                <a:gd name="connsiteY185" fmla="*/ 787400 h 1704975"/>
                <a:gd name="connsiteX186" fmla="*/ 38775 w 1293444"/>
                <a:gd name="connsiteY186" fmla="*/ 771525 h 1704975"/>
                <a:gd name="connsiteX187" fmla="*/ 29250 w 1293444"/>
                <a:gd name="connsiteY187" fmla="*/ 762000 h 1704975"/>
                <a:gd name="connsiteX188" fmla="*/ 19725 w 1293444"/>
                <a:gd name="connsiteY188" fmla="*/ 758825 h 1704975"/>
                <a:gd name="connsiteX189" fmla="*/ 675 w 1293444"/>
                <a:gd name="connsiteY189" fmla="*/ 746125 h 1704975"/>
                <a:gd name="connsiteX190" fmla="*/ 51475 w 1293444"/>
                <a:gd name="connsiteY190" fmla="*/ 739775 h 1704975"/>
                <a:gd name="connsiteX191" fmla="*/ 67350 w 1293444"/>
                <a:gd name="connsiteY191" fmla="*/ 736600 h 1704975"/>
                <a:gd name="connsiteX192" fmla="*/ 102275 w 1293444"/>
                <a:gd name="connsiteY192" fmla="*/ 733425 h 1704975"/>
                <a:gd name="connsiteX193" fmla="*/ 130850 w 1293444"/>
                <a:gd name="connsiteY193" fmla="*/ 727075 h 1704975"/>
                <a:gd name="connsiteX194" fmla="*/ 149900 w 1293444"/>
                <a:gd name="connsiteY194" fmla="*/ 723900 h 1704975"/>
                <a:gd name="connsiteX195" fmla="*/ 159425 w 1293444"/>
                <a:gd name="connsiteY195" fmla="*/ 720725 h 1704975"/>
                <a:gd name="connsiteX196" fmla="*/ 175300 w 1293444"/>
                <a:gd name="connsiteY196" fmla="*/ 717550 h 1704975"/>
                <a:gd name="connsiteX197" fmla="*/ 194350 w 1293444"/>
                <a:gd name="connsiteY197" fmla="*/ 711200 h 1704975"/>
                <a:gd name="connsiteX198" fmla="*/ 222925 w 1293444"/>
                <a:gd name="connsiteY198" fmla="*/ 701675 h 1704975"/>
                <a:gd name="connsiteX199" fmla="*/ 232450 w 1293444"/>
                <a:gd name="connsiteY199" fmla="*/ 698500 h 1704975"/>
                <a:gd name="connsiteX200" fmla="*/ 241975 w 1293444"/>
                <a:gd name="connsiteY200" fmla="*/ 695325 h 1704975"/>
                <a:gd name="connsiteX201" fmla="*/ 381675 w 1293444"/>
                <a:gd name="connsiteY201" fmla="*/ 688975 h 1704975"/>
                <a:gd name="connsiteX202" fmla="*/ 397550 w 1293444"/>
                <a:gd name="connsiteY202" fmla="*/ 685800 h 1704975"/>
                <a:gd name="connsiteX203" fmla="*/ 407075 w 1293444"/>
                <a:gd name="connsiteY203" fmla="*/ 682625 h 1704975"/>
                <a:gd name="connsiteX204" fmla="*/ 419775 w 1293444"/>
                <a:gd name="connsiteY204" fmla="*/ 679450 h 1704975"/>
                <a:gd name="connsiteX205" fmla="*/ 438825 w 1293444"/>
                <a:gd name="connsiteY205" fmla="*/ 673100 h 1704975"/>
                <a:gd name="connsiteX206" fmla="*/ 467400 w 1293444"/>
                <a:gd name="connsiteY206" fmla="*/ 663575 h 1704975"/>
                <a:gd name="connsiteX207" fmla="*/ 495975 w 1293444"/>
                <a:gd name="connsiteY207" fmla="*/ 654050 h 1704975"/>
                <a:gd name="connsiteX208" fmla="*/ 505500 w 1293444"/>
                <a:gd name="connsiteY208" fmla="*/ 650875 h 1704975"/>
                <a:gd name="connsiteX209" fmla="*/ 527725 w 1293444"/>
                <a:gd name="connsiteY209" fmla="*/ 641350 h 1704975"/>
                <a:gd name="connsiteX210" fmla="*/ 537250 w 1293444"/>
                <a:gd name="connsiteY210" fmla="*/ 635000 h 1704975"/>
                <a:gd name="connsiteX211" fmla="*/ 546775 w 1293444"/>
                <a:gd name="connsiteY211" fmla="*/ 631825 h 1704975"/>
                <a:gd name="connsiteX212" fmla="*/ 559475 w 1293444"/>
                <a:gd name="connsiteY212" fmla="*/ 625475 h 1704975"/>
                <a:gd name="connsiteX213" fmla="*/ 578525 w 1293444"/>
                <a:gd name="connsiteY213" fmla="*/ 657225 h 1704975"/>
                <a:gd name="connsiteX214" fmla="*/ 588050 w 1293444"/>
                <a:gd name="connsiteY214" fmla="*/ 660400 h 1704975"/>
                <a:gd name="connsiteX215" fmla="*/ 607100 w 1293444"/>
                <a:gd name="connsiteY215" fmla="*/ 673100 h 1704975"/>
                <a:gd name="connsiteX216" fmla="*/ 626150 w 1293444"/>
                <a:gd name="connsiteY216" fmla="*/ 679450 h 1704975"/>
                <a:gd name="connsiteX217" fmla="*/ 635675 w 1293444"/>
                <a:gd name="connsiteY217" fmla="*/ 685800 h 1704975"/>
                <a:gd name="connsiteX218" fmla="*/ 654725 w 1293444"/>
                <a:gd name="connsiteY218" fmla="*/ 692150 h 1704975"/>
                <a:gd name="connsiteX219" fmla="*/ 645200 w 1293444"/>
                <a:gd name="connsiteY219" fmla="*/ 682625 h 1704975"/>
                <a:gd name="connsiteX220" fmla="*/ 635675 w 1293444"/>
                <a:gd name="connsiteY220" fmla="*/ 676275 h 1704975"/>
                <a:gd name="connsiteX221" fmla="*/ 632500 w 1293444"/>
                <a:gd name="connsiteY221" fmla="*/ 666750 h 1704975"/>
                <a:gd name="connsiteX222" fmla="*/ 635675 w 1293444"/>
                <a:gd name="connsiteY222" fmla="*/ 590550 h 1704975"/>
                <a:gd name="connsiteX223" fmla="*/ 642025 w 1293444"/>
                <a:gd name="connsiteY223" fmla="*/ 571500 h 1704975"/>
                <a:gd name="connsiteX224" fmla="*/ 648375 w 1293444"/>
                <a:gd name="connsiteY224" fmla="*/ 561975 h 1704975"/>
                <a:gd name="connsiteX225" fmla="*/ 638850 w 1293444"/>
                <a:gd name="connsiteY225" fmla="*/ 536575 h 1704975"/>
                <a:gd name="connsiteX226" fmla="*/ 629325 w 1293444"/>
                <a:gd name="connsiteY226" fmla="*/ 533400 h 1704975"/>
                <a:gd name="connsiteX227" fmla="*/ 626150 w 1293444"/>
                <a:gd name="connsiteY227" fmla="*/ 523875 h 1704975"/>
                <a:gd name="connsiteX228" fmla="*/ 632500 w 1293444"/>
                <a:gd name="connsiteY228" fmla="*/ 498475 h 1704975"/>
                <a:gd name="connsiteX229" fmla="*/ 635675 w 1293444"/>
                <a:gd name="connsiteY229" fmla="*/ 485775 h 1704975"/>
                <a:gd name="connsiteX230" fmla="*/ 626150 w 1293444"/>
                <a:gd name="connsiteY230" fmla="*/ 463550 h 1704975"/>
                <a:gd name="connsiteX231" fmla="*/ 616625 w 1293444"/>
                <a:gd name="connsiteY231" fmla="*/ 460375 h 1704975"/>
                <a:gd name="connsiteX232" fmla="*/ 607100 w 1293444"/>
                <a:gd name="connsiteY232" fmla="*/ 454025 h 1704975"/>
                <a:gd name="connsiteX233" fmla="*/ 591225 w 1293444"/>
                <a:gd name="connsiteY233" fmla="*/ 450850 h 1704975"/>
                <a:gd name="connsiteX234" fmla="*/ 569000 w 1293444"/>
                <a:gd name="connsiteY234" fmla="*/ 441325 h 1704975"/>
                <a:gd name="connsiteX235" fmla="*/ 546775 w 1293444"/>
                <a:gd name="connsiteY235" fmla="*/ 415925 h 1704975"/>
                <a:gd name="connsiteX236" fmla="*/ 540425 w 1293444"/>
                <a:gd name="connsiteY236" fmla="*/ 406400 h 1704975"/>
                <a:gd name="connsiteX237" fmla="*/ 530900 w 1293444"/>
                <a:gd name="connsiteY237" fmla="*/ 400050 h 1704975"/>
                <a:gd name="connsiteX238" fmla="*/ 508675 w 1293444"/>
                <a:gd name="connsiteY238" fmla="*/ 374650 h 1704975"/>
                <a:gd name="connsiteX239" fmla="*/ 502325 w 1293444"/>
                <a:gd name="connsiteY239" fmla="*/ 365125 h 1704975"/>
                <a:gd name="connsiteX240" fmla="*/ 483275 w 1293444"/>
                <a:gd name="connsiteY240" fmla="*/ 346075 h 1704975"/>
                <a:gd name="connsiteX241" fmla="*/ 486450 w 1293444"/>
                <a:gd name="connsiteY241" fmla="*/ 333375 h 1704975"/>
                <a:gd name="connsiteX242" fmla="*/ 492800 w 1293444"/>
                <a:gd name="connsiteY242" fmla="*/ 314325 h 1704975"/>
                <a:gd name="connsiteX243" fmla="*/ 489625 w 1293444"/>
                <a:gd name="connsiteY243" fmla="*/ 292100 h 1704975"/>
                <a:gd name="connsiteX244" fmla="*/ 461050 w 1293444"/>
                <a:gd name="connsiteY244" fmla="*/ 266700 h 1704975"/>
                <a:gd name="connsiteX245" fmla="*/ 435650 w 1293444"/>
                <a:gd name="connsiteY245" fmla="*/ 254000 h 1704975"/>
                <a:gd name="connsiteX246" fmla="*/ 413425 w 1293444"/>
                <a:gd name="connsiteY246" fmla="*/ 238125 h 1704975"/>
                <a:gd name="connsiteX247" fmla="*/ 403900 w 1293444"/>
                <a:gd name="connsiteY247" fmla="*/ 231775 h 1704975"/>
                <a:gd name="connsiteX248" fmla="*/ 388025 w 1293444"/>
                <a:gd name="connsiteY248" fmla="*/ 212725 h 1704975"/>
                <a:gd name="connsiteX249" fmla="*/ 372150 w 1293444"/>
                <a:gd name="connsiteY249" fmla="*/ 196850 h 1704975"/>
                <a:gd name="connsiteX250" fmla="*/ 365800 w 1293444"/>
                <a:gd name="connsiteY250" fmla="*/ 177800 h 1704975"/>
                <a:gd name="connsiteX251" fmla="*/ 359450 w 1293444"/>
                <a:gd name="connsiteY251" fmla="*/ 149225 h 1704975"/>
                <a:gd name="connsiteX252" fmla="*/ 362625 w 1293444"/>
                <a:gd name="connsiteY252" fmla="*/ 114300 h 1704975"/>
                <a:gd name="connsiteX253" fmla="*/ 368975 w 1293444"/>
                <a:gd name="connsiteY253" fmla="*/ 104775 h 1704975"/>
                <a:gd name="connsiteX254" fmla="*/ 375325 w 1293444"/>
                <a:gd name="connsiteY254"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48350 w 1293444"/>
                <a:gd name="connsiteY139" fmla="*/ 1635125 h 1704975"/>
                <a:gd name="connsiteX140" fmla="*/ 445175 w 1293444"/>
                <a:gd name="connsiteY140" fmla="*/ 1625600 h 1704975"/>
                <a:gd name="connsiteX141" fmla="*/ 432475 w 1293444"/>
                <a:gd name="connsiteY141" fmla="*/ 1495425 h 1704975"/>
                <a:gd name="connsiteX142" fmla="*/ 429300 w 1293444"/>
                <a:gd name="connsiteY142" fmla="*/ 1485900 h 1704975"/>
                <a:gd name="connsiteX143" fmla="*/ 426125 w 1293444"/>
                <a:gd name="connsiteY143" fmla="*/ 1473200 h 1704975"/>
                <a:gd name="connsiteX144" fmla="*/ 419775 w 1293444"/>
                <a:gd name="connsiteY144" fmla="*/ 1463675 h 1704975"/>
                <a:gd name="connsiteX145" fmla="*/ 416600 w 1293444"/>
                <a:gd name="connsiteY145" fmla="*/ 1454150 h 1704975"/>
                <a:gd name="connsiteX146" fmla="*/ 403900 w 1293444"/>
                <a:gd name="connsiteY146" fmla="*/ 1435100 h 1704975"/>
                <a:gd name="connsiteX147" fmla="*/ 397550 w 1293444"/>
                <a:gd name="connsiteY147" fmla="*/ 1416050 h 1704975"/>
                <a:gd name="connsiteX148" fmla="*/ 394375 w 1293444"/>
                <a:gd name="connsiteY148" fmla="*/ 1381125 h 1704975"/>
                <a:gd name="connsiteX149" fmla="*/ 391200 w 1293444"/>
                <a:gd name="connsiteY149" fmla="*/ 1368425 h 1704975"/>
                <a:gd name="connsiteX150" fmla="*/ 388025 w 1293444"/>
                <a:gd name="connsiteY150" fmla="*/ 1352550 h 1704975"/>
                <a:gd name="connsiteX151" fmla="*/ 381675 w 1293444"/>
                <a:gd name="connsiteY151" fmla="*/ 1333500 h 1704975"/>
                <a:gd name="connsiteX152" fmla="*/ 378500 w 1293444"/>
                <a:gd name="connsiteY152" fmla="*/ 1323975 h 1704975"/>
                <a:gd name="connsiteX153" fmla="*/ 375325 w 1293444"/>
                <a:gd name="connsiteY153" fmla="*/ 1308100 h 1704975"/>
                <a:gd name="connsiteX154" fmla="*/ 368975 w 1293444"/>
                <a:gd name="connsiteY154" fmla="*/ 1289050 h 1704975"/>
                <a:gd name="connsiteX155" fmla="*/ 362625 w 1293444"/>
                <a:gd name="connsiteY155" fmla="*/ 1260475 h 1704975"/>
                <a:gd name="connsiteX156" fmla="*/ 359450 w 1293444"/>
                <a:gd name="connsiteY156" fmla="*/ 1231900 h 1704975"/>
                <a:gd name="connsiteX157" fmla="*/ 349925 w 1293444"/>
                <a:gd name="connsiteY157" fmla="*/ 1196975 h 1704975"/>
                <a:gd name="connsiteX158" fmla="*/ 340400 w 1293444"/>
                <a:gd name="connsiteY158" fmla="*/ 1155700 h 1704975"/>
                <a:gd name="connsiteX159" fmla="*/ 334050 w 1293444"/>
                <a:gd name="connsiteY159" fmla="*/ 1130300 h 1704975"/>
                <a:gd name="connsiteX160" fmla="*/ 327700 w 1293444"/>
                <a:gd name="connsiteY160" fmla="*/ 1104900 h 1704975"/>
                <a:gd name="connsiteX161" fmla="*/ 324525 w 1293444"/>
                <a:gd name="connsiteY161" fmla="*/ 1092200 h 1704975"/>
                <a:gd name="connsiteX162" fmla="*/ 318175 w 1293444"/>
                <a:gd name="connsiteY162" fmla="*/ 1050925 h 1704975"/>
                <a:gd name="connsiteX163" fmla="*/ 315000 w 1293444"/>
                <a:gd name="connsiteY163" fmla="*/ 1031875 h 1704975"/>
                <a:gd name="connsiteX164" fmla="*/ 311825 w 1293444"/>
                <a:gd name="connsiteY164" fmla="*/ 1022350 h 1704975"/>
                <a:gd name="connsiteX165" fmla="*/ 308650 w 1293444"/>
                <a:gd name="connsiteY165" fmla="*/ 1006475 h 1704975"/>
                <a:gd name="connsiteX166" fmla="*/ 302300 w 1293444"/>
                <a:gd name="connsiteY166" fmla="*/ 987425 h 1704975"/>
                <a:gd name="connsiteX167" fmla="*/ 299125 w 1293444"/>
                <a:gd name="connsiteY167" fmla="*/ 974725 h 1704975"/>
                <a:gd name="connsiteX168" fmla="*/ 292775 w 1293444"/>
                <a:gd name="connsiteY168" fmla="*/ 955675 h 1704975"/>
                <a:gd name="connsiteX169" fmla="*/ 289600 w 1293444"/>
                <a:gd name="connsiteY169" fmla="*/ 946150 h 1704975"/>
                <a:gd name="connsiteX170" fmla="*/ 280075 w 1293444"/>
                <a:gd name="connsiteY170" fmla="*/ 923925 h 1704975"/>
                <a:gd name="connsiteX171" fmla="*/ 261025 w 1293444"/>
                <a:gd name="connsiteY171" fmla="*/ 908050 h 1704975"/>
                <a:gd name="connsiteX172" fmla="*/ 241975 w 1293444"/>
                <a:gd name="connsiteY172" fmla="*/ 901700 h 1704975"/>
                <a:gd name="connsiteX173" fmla="*/ 222925 w 1293444"/>
                <a:gd name="connsiteY173" fmla="*/ 889000 h 1704975"/>
                <a:gd name="connsiteX174" fmla="*/ 213400 w 1293444"/>
                <a:gd name="connsiteY174" fmla="*/ 885825 h 1704975"/>
                <a:gd name="connsiteX175" fmla="*/ 194350 w 1293444"/>
                <a:gd name="connsiteY175" fmla="*/ 873125 h 1704975"/>
                <a:gd name="connsiteX176" fmla="*/ 175300 w 1293444"/>
                <a:gd name="connsiteY176" fmla="*/ 860425 h 1704975"/>
                <a:gd name="connsiteX177" fmla="*/ 162600 w 1293444"/>
                <a:gd name="connsiteY177" fmla="*/ 850900 h 1704975"/>
                <a:gd name="connsiteX178" fmla="*/ 153075 w 1293444"/>
                <a:gd name="connsiteY178" fmla="*/ 847725 h 1704975"/>
                <a:gd name="connsiteX179" fmla="*/ 134025 w 1293444"/>
                <a:gd name="connsiteY179" fmla="*/ 835025 h 1704975"/>
                <a:gd name="connsiteX180" fmla="*/ 114975 w 1293444"/>
                <a:gd name="connsiteY180" fmla="*/ 822325 h 1704975"/>
                <a:gd name="connsiteX181" fmla="*/ 105450 w 1293444"/>
                <a:gd name="connsiteY181" fmla="*/ 815975 h 1704975"/>
                <a:gd name="connsiteX182" fmla="*/ 95925 w 1293444"/>
                <a:gd name="connsiteY182" fmla="*/ 812800 h 1704975"/>
                <a:gd name="connsiteX183" fmla="*/ 64175 w 1293444"/>
                <a:gd name="connsiteY183" fmla="*/ 790575 h 1704975"/>
                <a:gd name="connsiteX184" fmla="*/ 54650 w 1293444"/>
                <a:gd name="connsiteY184" fmla="*/ 787400 h 1704975"/>
                <a:gd name="connsiteX185" fmla="*/ 38775 w 1293444"/>
                <a:gd name="connsiteY185" fmla="*/ 771525 h 1704975"/>
                <a:gd name="connsiteX186" fmla="*/ 29250 w 1293444"/>
                <a:gd name="connsiteY186" fmla="*/ 762000 h 1704975"/>
                <a:gd name="connsiteX187" fmla="*/ 19725 w 1293444"/>
                <a:gd name="connsiteY187" fmla="*/ 758825 h 1704975"/>
                <a:gd name="connsiteX188" fmla="*/ 675 w 1293444"/>
                <a:gd name="connsiteY188" fmla="*/ 746125 h 1704975"/>
                <a:gd name="connsiteX189" fmla="*/ 51475 w 1293444"/>
                <a:gd name="connsiteY189" fmla="*/ 739775 h 1704975"/>
                <a:gd name="connsiteX190" fmla="*/ 67350 w 1293444"/>
                <a:gd name="connsiteY190" fmla="*/ 736600 h 1704975"/>
                <a:gd name="connsiteX191" fmla="*/ 102275 w 1293444"/>
                <a:gd name="connsiteY191" fmla="*/ 733425 h 1704975"/>
                <a:gd name="connsiteX192" fmla="*/ 130850 w 1293444"/>
                <a:gd name="connsiteY192" fmla="*/ 727075 h 1704975"/>
                <a:gd name="connsiteX193" fmla="*/ 149900 w 1293444"/>
                <a:gd name="connsiteY193" fmla="*/ 723900 h 1704975"/>
                <a:gd name="connsiteX194" fmla="*/ 159425 w 1293444"/>
                <a:gd name="connsiteY194" fmla="*/ 720725 h 1704975"/>
                <a:gd name="connsiteX195" fmla="*/ 175300 w 1293444"/>
                <a:gd name="connsiteY195" fmla="*/ 717550 h 1704975"/>
                <a:gd name="connsiteX196" fmla="*/ 194350 w 1293444"/>
                <a:gd name="connsiteY196" fmla="*/ 711200 h 1704975"/>
                <a:gd name="connsiteX197" fmla="*/ 222925 w 1293444"/>
                <a:gd name="connsiteY197" fmla="*/ 701675 h 1704975"/>
                <a:gd name="connsiteX198" fmla="*/ 232450 w 1293444"/>
                <a:gd name="connsiteY198" fmla="*/ 698500 h 1704975"/>
                <a:gd name="connsiteX199" fmla="*/ 241975 w 1293444"/>
                <a:gd name="connsiteY199" fmla="*/ 695325 h 1704975"/>
                <a:gd name="connsiteX200" fmla="*/ 381675 w 1293444"/>
                <a:gd name="connsiteY200" fmla="*/ 688975 h 1704975"/>
                <a:gd name="connsiteX201" fmla="*/ 397550 w 1293444"/>
                <a:gd name="connsiteY201" fmla="*/ 685800 h 1704975"/>
                <a:gd name="connsiteX202" fmla="*/ 407075 w 1293444"/>
                <a:gd name="connsiteY202" fmla="*/ 682625 h 1704975"/>
                <a:gd name="connsiteX203" fmla="*/ 419775 w 1293444"/>
                <a:gd name="connsiteY203" fmla="*/ 679450 h 1704975"/>
                <a:gd name="connsiteX204" fmla="*/ 438825 w 1293444"/>
                <a:gd name="connsiteY204" fmla="*/ 673100 h 1704975"/>
                <a:gd name="connsiteX205" fmla="*/ 467400 w 1293444"/>
                <a:gd name="connsiteY205" fmla="*/ 663575 h 1704975"/>
                <a:gd name="connsiteX206" fmla="*/ 495975 w 1293444"/>
                <a:gd name="connsiteY206" fmla="*/ 654050 h 1704975"/>
                <a:gd name="connsiteX207" fmla="*/ 505500 w 1293444"/>
                <a:gd name="connsiteY207" fmla="*/ 650875 h 1704975"/>
                <a:gd name="connsiteX208" fmla="*/ 527725 w 1293444"/>
                <a:gd name="connsiteY208" fmla="*/ 641350 h 1704975"/>
                <a:gd name="connsiteX209" fmla="*/ 537250 w 1293444"/>
                <a:gd name="connsiteY209" fmla="*/ 635000 h 1704975"/>
                <a:gd name="connsiteX210" fmla="*/ 546775 w 1293444"/>
                <a:gd name="connsiteY210" fmla="*/ 631825 h 1704975"/>
                <a:gd name="connsiteX211" fmla="*/ 559475 w 1293444"/>
                <a:gd name="connsiteY211" fmla="*/ 625475 h 1704975"/>
                <a:gd name="connsiteX212" fmla="*/ 578525 w 1293444"/>
                <a:gd name="connsiteY212" fmla="*/ 657225 h 1704975"/>
                <a:gd name="connsiteX213" fmla="*/ 588050 w 1293444"/>
                <a:gd name="connsiteY213" fmla="*/ 660400 h 1704975"/>
                <a:gd name="connsiteX214" fmla="*/ 607100 w 1293444"/>
                <a:gd name="connsiteY214" fmla="*/ 673100 h 1704975"/>
                <a:gd name="connsiteX215" fmla="*/ 626150 w 1293444"/>
                <a:gd name="connsiteY215" fmla="*/ 679450 h 1704975"/>
                <a:gd name="connsiteX216" fmla="*/ 635675 w 1293444"/>
                <a:gd name="connsiteY216" fmla="*/ 685800 h 1704975"/>
                <a:gd name="connsiteX217" fmla="*/ 654725 w 1293444"/>
                <a:gd name="connsiteY217" fmla="*/ 692150 h 1704975"/>
                <a:gd name="connsiteX218" fmla="*/ 645200 w 1293444"/>
                <a:gd name="connsiteY218" fmla="*/ 682625 h 1704975"/>
                <a:gd name="connsiteX219" fmla="*/ 635675 w 1293444"/>
                <a:gd name="connsiteY219" fmla="*/ 676275 h 1704975"/>
                <a:gd name="connsiteX220" fmla="*/ 632500 w 1293444"/>
                <a:gd name="connsiteY220" fmla="*/ 666750 h 1704975"/>
                <a:gd name="connsiteX221" fmla="*/ 635675 w 1293444"/>
                <a:gd name="connsiteY221" fmla="*/ 590550 h 1704975"/>
                <a:gd name="connsiteX222" fmla="*/ 642025 w 1293444"/>
                <a:gd name="connsiteY222" fmla="*/ 571500 h 1704975"/>
                <a:gd name="connsiteX223" fmla="*/ 648375 w 1293444"/>
                <a:gd name="connsiteY223" fmla="*/ 561975 h 1704975"/>
                <a:gd name="connsiteX224" fmla="*/ 638850 w 1293444"/>
                <a:gd name="connsiteY224" fmla="*/ 536575 h 1704975"/>
                <a:gd name="connsiteX225" fmla="*/ 629325 w 1293444"/>
                <a:gd name="connsiteY225" fmla="*/ 533400 h 1704975"/>
                <a:gd name="connsiteX226" fmla="*/ 626150 w 1293444"/>
                <a:gd name="connsiteY226" fmla="*/ 523875 h 1704975"/>
                <a:gd name="connsiteX227" fmla="*/ 632500 w 1293444"/>
                <a:gd name="connsiteY227" fmla="*/ 498475 h 1704975"/>
                <a:gd name="connsiteX228" fmla="*/ 635675 w 1293444"/>
                <a:gd name="connsiteY228" fmla="*/ 485775 h 1704975"/>
                <a:gd name="connsiteX229" fmla="*/ 626150 w 1293444"/>
                <a:gd name="connsiteY229" fmla="*/ 463550 h 1704975"/>
                <a:gd name="connsiteX230" fmla="*/ 616625 w 1293444"/>
                <a:gd name="connsiteY230" fmla="*/ 460375 h 1704975"/>
                <a:gd name="connsiteX231" fmla="*/ 607100 w 1293444"/>
                <a:gd name="connsiteY231" fmla="*/ 454025 h 1704975"/>
                <a:gd name="connsiteX232" fmla="*/ 591225 w 1293444"/>
                <a:gd name="connsiteY232" fmla="*/ 450850 h 1704975"/>
                <a:gd name="connsiteX233" fmla="*/ 569000 w 1293444"/>
                <a:gd name="connsiteY233" fmla="*/ 441325 h 1704975"/>
                <a:gd name="connsiteX234" fmla="*/ 546775 w 1293444"/>
                <a:gd name="connsiteY234" fmla="*/ 415925 h 1704975"/>
                <a:gd name="connsiteX235" fmla="*/ 540425 w 1293444"/>
                <a:gd name="connsiteY235" fmla="*/ 406400 h 1704975"/>
                <a:gd name="connsiteX236" fmla="*/ 530900 w 1293444"/>
                <a:gd name="connsiteY236" fmla="*/ 400050 h 1704975"/>
                <a:gd name="connsiteX237" fmla="*/ 508675 w 1293444"/>
                <a:gd name="connsiteY237" fmla="*/ 374650 h 1704975"/>
                <a:gd name="connsiteX238" fmla="*/ 502325 w 1293444"/>
                <a:gd name="connsiteY238" fmla="*/ 365125 h 1704975"/>
                <a:gd name="connsiteX239" fmla="*/ 483275 w 1293444"/>
                <a:gd name="connsiteY239" fmla="*/ 346075 h 1704975"/>
                <a:gd name="connsiteX240" fmla="*/ 486450 w 1293444"/>
                <a:gd name="connsiteY240" fmla="*/ 333375 h 1704975"/>
                <a:gd name="connsiteX241" fmla="*/ 492800 w 1293444"/>
                <a:gd name="connsiteY241" fmla="*/ 314325 h 1704975"/>
                <a:gd name="connsiteX242" fmla="*/ 489625 w 1293444"/>
                <a:gd name="connsiteY242" fmla="*/ 292100 h 1704975"/>
                <a:gd name="connsiteX243" fmla="*/ 461050 w 1293444"/>
                <a:gd name="connsiteY243" fmla="*/ 266700 h 1704975"/>
                <a:gd name="connsiteX244" fmla="*/ 435650 w 1293444"/>
                <a:gd name="connsiteY244" fmla="*/ 254000 h 1704975"/>
                <a:gd name="connsiteX245" fmla="*/ 413425 w 1293444"/>
                <a:gd name="connsiteY245" fmla="*/ 238125 h 1704975"/>
                <a:gd name="connsiteX246" fmla="*/ 403900 w 1293444"/>
                <a:gd name="connsiteY246" fmla="*/ 231775 h 1704975"/>
                <a:gd name="connsiteX247" fmla="*/ 388025 w 1293444"/>
                <a:gd name="connsiteY247" fmla="*/ 212725 h 1704975"/>
                <a:gd name="connsiteX248" fmla="*/ 372150 w 1293444"/>
                <a:gd name="connsiteY248" fmla="*/ 196850 h 1704975"/>
                <a:gd name="connsiteX249" fmla="*/ 365800 w 1293444"/>
                <a:gd name="connsiteY249" fmla="*/ 177800 h 1704975"/>
                <a:gd name="connsiteX250" fmla="*/ 359450 w 1293444"/>
                <a:gd name="connsiteY250" fmla="*/ 149225 h 1704975"/>
                <a:gd name="connsiteX251" fmla="*/ 362625 w 1293444"/>
                <a:gd name="connsiteY251" fmla="*/ 114300 h 1704975"/>
                <a:gd name="connsiteX252" fmla="*/ 368975 w 1293444"/>
                <a:gd name="connsiteY252" fmla="*/ 104775 h 1704975"/>
                <a:gd name="connsiteX253" fmla="*/ 375325 w 1293444"/>
                <a:gd name="connsiteY253"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48350 w 1293444"/>
                <a:gd name="connsiteY139" fmla="*/ 1635125 h 1704975"/>
                <a:gd name="connsiteX140" fmla="*/ 432475 w 1293444"/>
                <a:gd name="connsiteY140" fmla="*/ 1495425 h 1704975"/>
                <a:gd name="connsiteX141" fmla="*/ 429300 w 1293444"/>
                <a:gd name="connsiteY141" fmla="*/ 1485900 h 1704975"/>
                <a:gd name="connsiteX142" fmla="*/ 426125 w 1293444"/>
                <a:gd name="connsiteY142" fmla="*/ 1473200 h 1704975"/>
                <a:gd name="connsiteX143" fmla="*/ 419775 w 1293444"/>
                <a:gd name="connsiteY143" fmla="*/ 1463675 h 1704975"/>
                <a:gd name="connsiteX144" fmla="*/ 416600 w 1293444"/>
                <a:gd name="connsiteY144" fmla="*/ 1454150 h 1704975"/>
                <a:gd name="connsiteX145" fmla="*/ 403900 w 1293444"/>
                <a:gd name="connsiteY145" fmla="*/ 1435100 h 1704975"/>
                <a:gd name="connsiteX146" fmla="*/ 397550 w 1293444"/>
                <a:gd name="connsiteY146" fmla="*/ 1416050 h 1704975"/>
                <a:gd name="connsiteX147" fmla="*/ 394375 w 1293444"/>
                <a:gd name="connsiteY147" fmla="*/ 1381125 h 1704975"/>
                <a:gd name="connsiteX148" fmla="*/ 391200 w 1293444"/>
                <a:gd name="connsiteY148" fmla="*/ 1368425 h 1704975"/>
                <a:gd name="connsiteX149" fmla="*/ 388025 w 1293444"/>
                <a:gd name="connsiteY149" fmla="*/ 1352550 h 1704975"/>
                <a:gd name="connsiteX150" fmla="*/ 381675 w 1293444"/>
                <a:gd name="connsiteY150" fmla="*/ 1333500 h 1704975"/>
                <a:gd name="connsiteX151" fmla="*/ 378500 w 1293444"/>
                <a:gd name="connsiteY151" fmla="*/ 1323975 h 1704975"/>
                <a:gd name="connsiteX152" fmla="*/ 375325 w 1293444"/>
                <a:gd name="connsiteY152" fmla="*/ 1308100 h 1704975"/>
                <a:gd name="connsiteX153" fmla="*/ 368975 w 1293444"/>
                <a:gd name="connsiteY153" fmla="*/ 1289050 h 1704975"/>
                <a:gd name="connsiteX154" fmla="*/ 362625 w 1293444"/>
                <a:gd name="connsiteY154" fmla="*/ 1260475 h 1704975"/>
                <a:gd name="connsiteX155" fmla="*/ 359450 w 1293444"/>
                <a:gd name="connsiteY155" fmla="*/ 1231900 h 1704975"/>
                <a:gd name="connsiteX156" fmla="*/ 349925 w 1293444"/>
                <a:gd name="connsiteY156" fmla="*/ 1196975 h 1704975"/>
                <a:gd name="connsiteX157" fmla="*/ 340400 w 1293444"/>
                <a:gd name="connsiteY157" fmla="*/ 1155700 h 1704975"/>
                <a:gd name="connsiteX158" fmla="*/ 334050 w 1293444"/>
                <a:gd name="connsiteY158" fmla="*/ 1130300 h 1704975"/>
                <a:gd name="connsiteX159" fmla="*/ 327700 w 1293444"/>
                <a:gd name="connsiteY159" fmla="*/ 1104900 h 1704975"/>
                <a:gd name="connsiteX160" fmla="*/ 324525 w 1293444"/>
                <a:gd name="connsiteY160" fmla="*/ 1092200 h 1704975"/>
                <a:gd name="connsiteX161" fmla="*/ 318175 w 1293444"/>
                <a:gd name="connsiteY161" fmla="*/ 1050925 h 1704975"/>
                <a:gd name="connsiteX162" fmla="*/ 315000 w 1293444"/>
                <a:gd name="connsiteY162" fmla="*/ 1031875 h 1704975"/>
                <a:gd name="connsiteX163" fmla="*/ 311825 w 1293444"/>
                <a:gd name="connsiteY163" fmla="*/ 1022350 h 1704975"/>
                <a:gd name="connsiteX164" fmla="*/ 308650 w 1293444"/>
                <a:gd name="connsiteY164" fmla="*/ 1006475 h 1704975"/>
                <a:gd name="connsiteX165" fmla="*/ 302300 w 1293444"/>
                <a:gd name="connsiteY165" fmla="*/ 987425 h 1704975"/>
                <a:gd name="connsiteX166" fmla="*/ 299125 w 1293444"/>
                <a:gd name="connsiteY166" fmla="*/ 974725 h 1704975"/>
                <a:gd name="connsiteX167" fmla="*/ 292775 w 1293444"/>
                <a:gd name="connsiteY167" fmla="*/ 955675 h 1704975"/>
                <a:gd name="connsiteX168" fmla="*/ 289600 w 1293444"/>
                <a:gd name="connsiteY168" fmla="*/ 946150 h 1704975"/>
                <a:gd name="connsiteX169" fmla="*/ 280075 w 1293444"/>
                <a:gd name="connsiteY169" fmla="*/ 923925 h 1704975"/>
                <a:gd name="connsiteX170" fmla="*/ 261025 w 1293444"/>
                <a:gd name="connsiteY170" fmla="*/ 908050 h 1704975"/>
                <a:gd name="connsiteX171" fmla="*/ 241975 w 1293444"/>
                <a:gd name="connsiteY171" fmla="*/ 901700 h 1704975"/>
                <a:gd name="connsiteX172" fmla="*/ 222925 w 1293444"/>
                <a:gd name="connsiteY172" fmla="*/ 889000 h 1704975"/>
                <a:gd name="connsiteX173" fmla="*/ 213400 w 1293444"/>
                <a:gd name="connsiteY173" fmla="*/ 885825 h 1704975"/>
                <a:gd name="connsiteX174" fmla="*/ 194350 w 1293444"/>
                <a:gd name="connsiteY174" fmla="*/ 873125 h 1704975"/>
                <a:gd name="connsiteX175" fmla="*/ 175300 w 1293444"/>
                <a:gd name="connsiteY175" fmla="*/ 860425 h 1704975"/>
                <a:gd name="connsiteX176" fmla="*/ 162600 w 1293444"/>
                <a:gd name="connsiteY176" fmla="*/ 850900 h 1704975"/>
                <a:gd name="connsiteX177" fmla="*/ 153075 w 1293444"/>
                <a:gd name="connsiteY177" fmla="*/ 847725 h 1704975"/>
                <a:gd name="connsiteX178" fmla="*/ 134025 w 1293444"/>
                <a:gd name="connsiteY178" fmla="*/ 835025 h 1704975"/>
                <a:gd name="connsiteX179" fmla="*/ 114975 w 1293444"/>
                <a:gd name="connsiteY179" fmla="*/ 822325 h 1704975"/>
                <a:gd name="connsiteX180" fmla="*/ 105450 w 1293444"/>
                <a:gd name="connsiteY180" fmla="*/ 815975 h 1704975"/>
                <a:gd name="connsiteX181" fmla="*/ 95925 w 1293444"/>
                <a:gd name="connsiteY181" fmla="*/ 812800 h 1704975"/>
                <a:gd name="connsiteX182" fmla="*/ 64175 w 1293444"/>
                <a:gd name="connsiteY182" fmla="*/ 790575 h 1704975"/>
                <a:gd name="connsiteX183" fmla="*/ 54650 w 1293444"/>
                <a:gd name="connsiteY183" fmla="*/ 787400 h 1704975"/>
                <a:gd name="connsiteX184" fmla="*/ 38775 w 1293444"/>
                <a:gd name="connsiteY184" fmla="*/ 771525 h 1704975"/>
                <a:gd name="connsiteX185" fmla="*/ 29250 w 1293444"/>
                <a:gd name="connsiteY185" fmla="*/ 762000 h 1704975"/>
                <a:gd name="connsiteX186" fmla="*/ 19725 w 1293444"/>
                <a:gd name="connsiteY186" fmla="*/ 758825 h 1704975"/>
                <a:gd name="connsiteX187" fmla="*/ 675 w 1293444"/>
                <a:gd name="connsiteY187" fmla="*/ 746125 h 1704975"/>
                <a:gd name="connsiteX188" fmla="*/ 51475 w 1293444"/>
                <a:gd name="connsiteY188" fmla="*/ 739775 h 1704975"/>
                <a:gd name="connsiteX189" fmla="*/ 67350 w 1293444"/>
                <a:gd name="connsiteY189" fmla="*/ 736600 h 1704975"/>
                <a:gd name="connsiteX190" fmla="*/ 102275 w 1293444"/>
                <a:gd name="connsiteY190" fmla="*/ 733425 h 1704975"/>
                <a:gd name="connsiteX191" fmla="*/ 130850 w 1293444"/>
                <a:gd name="connsiteY191" fmla="*/ 727075 h 1704975"/>
                <a:gd name="connsiteX192" fmla="*/ 149900 w 1293444"/>
                <a:gd name="connsiteY192" fmla="*/ 723900 h 1704975"/>
                <a:gd name="connsiteX193" fmla="*/ 159425 w 1293444"/>
                <a:gd name="connsiteY193" fmla="*/ 720725 h 1704975"/>
                <a:gd name="connsiteX194" fmla="*/ 175300 w 1293444"/>
                <a:gd name="connsiteY194" fmla="*/ 717550 h 1704975"/>
                <a:gd name="connsiteX195" fmla="*/ 194350 w 1293444"/>
                <a:gd name="connsiteY195" fmla="*/ 711200 h 1704975"/>
                <a:gd name="connsiteX196" fmla="*/ 222925 w 1293444"/>
                <a:gd name="connsiteY196" fmla="*/ 701675 h 1704975"/>
                <a:gd name="connsiteX197" fmla="*/ 232450 w 1293444"/>
                <a:gd name="connsiteY197" fmla="*/ 698500 h 1704975"/>
                <a:gd name="connsiteX198" fmla="*/ 241975 w 1293444"/>
                <a:gd name="connsiteY198" fmla="*/ 695325 h 1704975"/>
                <a:gd name="connsiteX199" fmla="*/ 381675 w 1293444"/>
                <a:gd name="connsiteY199" fmla="*/ 688975 h 1704975"/>
                <a:gd name="connsiteX200" fmla="*/ 397550 w 1293444"/>
                <a:gd name="connsiteY200" fmla="*/ 685800 h 1704975"/>
                <a:gd name="connsiteX201" fmla="*/ 407075 w 1293444"/>
                <a:gd name="connsiteY201" fmla="*/ 682625 h 1704975"/>
                <a:gd name="connsiteX202" fmla="*/ 419775 w 1293444"/>
                <a:gd name="connsiteY202" fmla="*/ 679450 h 1704975"/>
                <a:gd name="connsiteX203" fmla="*/ 438825 w 1293444"/>
                <a:gd name="connsiteY203" fmla="*/ 673100 h 1704975"/>
                <a:gd name="connsiteX204" fmla="*/ 467400 w 1293444"/>
                <a:gd name="connsiteY204" fmla="*/ 663575 h 1704975"/>
                <a:gd name="connsiteX205" fmla="*/ 495975 w 1293444"/>
                <a:gd name="connsiteY205" fmla="*/ 654050 h 1704975"/>
                <a:gd name="connsiteX206" fmla="*/ 505500 w 1293444"/>
                <a:gd name="connsiteY206" fmla="*/ 650875 h 1704975"/>
                <a:gd name="connsiteX207" fmla="*/ 527725 w 1293444"/>
                <a:gd name="connsiteY207" fmla="*/ 641350 h 1704975"/>
                <a:gd name="connsiteX208" fmla="*/ 537250 w 1293444"/>
                <a:gd name="connsiteY208" fmla="*/ 635000 h 1704975"/>
                <a:gd name="connsiteX209" fmla="*/ 546775 w 1293444"/>
                <a:gd name="connsiteY209" fmla="*/ 631825 h 1704975"/>
                <a:gd name="connsiteX210" fmla="*/ 559475 w 1293444"/>
                <a:gd name="connsiteY210" fmla="*/ 625475 h 1704975"/>
                <a:gd name="connsiteX211" fmla="*/ 578525 w 1293444"/>
                <a:gd name="connsiteY211" fmla="*/ 657225 h 1704975"/>
                <a:gd name="connsiteX212" fmla="*/ 588050 w 1293444"/>
                <a:gd name="connsiteY212" fmla="*/ 660400 h 1704975"/>
                <a:gd name="connsiteX213" fmla="*/ 607100 w 1293444"/>
                <a:gd name="connsiteY213" fmla="*/ 673100 h 1704975"/>
                <a:gd name="connsiteX214" fmla="*/ 626150 w 1293444"/>
                <a:gd name="connsiteY214" fmla="*/ 679450 h 1704975"/>
                <a:gd name="connsiteX215" fmla="*/ 635675 w 1293444"/>
                <a:gd name="connsiteY215" fmla="*/ 685800 h 1704975"/>
                <a:gd name="connsiteX216" fmla="*/ 654725 w 1293444"/>
                <a:gd name="connsiteY216" fmla="*/ 692150 h 1704975"/>
                <a:gd name="connsiteX217" fmla="*/ 645200 w 1293444"/>
                <a:gd name="connsiteY217" fmla="*/ 682625 h 1704975"/>
                <a:gd name="connsiteX218" fmla="*/ 635675 w 1293444"/>
                <a:gd name="connsiteY218" fmla="*/ 676275 h 1704975"/>
                <a:gd name="connsiteX219" fmla="*/ 632500 w 1293444"/>
                <a:gd name="connsiteY219" fmla="*/ 666750 h 1704975"/>
                <a:gd name="connsiteX220" fmla="*/ 635675 w 1293444"/>
                <a:gd name="connsiteY220" fmla="*/ 590550 h 1704975"/>
                <a:gd name="connsiteX221" fmla="*/ 642025 w 1293444"/>
                <a:gd name="connsiteY221" fmla="*/ 571500 h 1704975"/>
                <a:gd name="connsiteX222" fmla="*/ 648375 w 1293444"/>
                <a:gd name="connsiteY222" fmla="*/ 561975 h 1704975"/>
                <a:gd name="connsiteX223" fmla="*/ 638850 w 1293444"/>
                <a:gd name="connsiteY223" fmla="*/ 536575 h 1704975"/>
                <a:gd name="connsiteX224" fmla="*/ 629325 w 1293444"/>
                <a:gd name="connsiteY224" fmla="*/ 533400 h 1704975"/>
                <a:gd name="connsiteX225" fmla="*/ 626150 w 1293444"/>
                <a:gd name="connsiteY225" fmla="*/ 523875 h 1704975"/>
                <a:gd name="connsiteX226" fmla="*/ 632500 w 1293444"/>
                <a:gd name="connsiteY226" fmla="*/ 498475 h 1704975"/>
                <a:gd name="connsiteX227" fmla="*/ 635675 w 1293444"/>
                <a:gd name="connsiteY227" fmla="*/ 485775 h 1704975"/>
                <a:gd name="connsiteX228" fmla="*/ 626150 w 1293444"/>
                <a:gd name="connsiteY228" fmla="*/ 463550 h 1704975"/>
                <a:gd name="connsiteX229" fmla="*/ 616625 w 1293444"/>
                <a:gd name="connsiteY229" fmla="*/ 460375 h 1704975"/>
                <a:gd name="connsiteX230" fmla="*/ 607100 w 1293444"/>
                <a:gd name="connsiteY230" fmla="*/ 454025 h 1704975"/>
                <a:gd name="connsiteX231" fmla="*/ 591225 w 1293444"/>
                <a:gd name="connsiteY231" fmla="*/ 450850 h 1704975"/>
                <a:gd name="connsiteX232" fmla="*/ 569000 w 1293444"/>
                <a:gd name="connsiteY232" fmla="*/ 441325 h 1704975"/>
                <a:gd name="connsiteX233" fmla="*/ 546775 w 1293444"/>
                <a:gd name="connsiteY233" fmla="*/ 415925 h 1704975"/>
                <a:gd name="connsiteX234" fmla="*/ 540425 w 1293444"/>
                <a:gd name="connsiteY234" fmla="*/ 406400 h 1704975"/>
                <a:gd name="connsiteX235" fmla="*/ 530900 w 1293444"/>
                <a:gd name="connsiteY235" fmla="*/ 400050 h 1704975"/>
                <a:gd name="connsiteX236" fmla="*/ 508675 w 1293444"/>
                <a:gd name="connsiteY236" fmla="*/ 374650 h 1704975"/>
                <a:gd name="connsiteX237" fmla="*/ 502325 w 1293444"/>
                <a:gd name="connsiteY237" fmla="*/ 365125 h 1704975"/>
                <a:gd name="connsiteX238" fmla="*/ 483275 w 1293444"/>
                <a:gd name="connsiteY238" fmla="*/ 346075 h 1704975"/>
                <a:gd name="connsiteX239" fmla="*/ 486450 w 1293444"/>
                <a:gd name="connsiteY239" fmla="*/ 333375 h 1704975"/>
                <a:gd name="connsiteX240" fmla="*/ 492800 w 1293444"/>
                <a:gd name="connsiteY240" fmla="*/ 314325 h 1704975"/>
                <a:gd name="connsiteX241" fmla="*/ 489625 w 1293444"/>
                <a:gd name="connsiteY241" fmla="*/ 292100 h 1704975"/>
                <a:gd name="connsiteX242" fmla="*/ 461050 w 1293444"/>
                <a:gd name="connsiteY242" fmla="*/ 266700 h 1704975"/>
                <a:gd name="connsiteX243" fmla="*/ 435650 w 1293444"/>
                <a:gd name="connsiteY243" fmla="*/ 254000 h 1704975"/>
                <a:gd name="connsiteX244" fmla="*/ 413425 w 1293444"/>
                <a:gd name="connsiteY244" fmla="*/ 238125 h 1704975"/>
                <a:gd name="connsiteX245" fmla="*/ 403900 w 1293444"/>
                <a:gd name="connsiteY245" fmla="*/ 231775 h 1704975"/>
                <a:gd name="connsiteX246" fmla="*/ 388025 w 1293444"/>
                <a:gd name="connsiteY246" fmla="*/ 212725 h 1704975"/>
                <a:gd name="connsiteX247" fmla="*/ 372150 w 1293444"/>
                <a:gd name="connsiteY247" fmla="*/ 196850 h 1704975"/>
                <a:gd name="connsiteX248" fmla="*/ 365800 w 1293444"/>
                <a:gd name="connsiteY248" fmla="*/ 177800 h 1704975"/>
                <a:gd name="connsiteX249" fmla="*/ 359450 w 1293444"/>
                <a:gd name="connsiteY249" fmla="*/ 149225 h 1704975"/>
                <a:gd name="connsiteX250" fmla="*/ 362625 w 1293444"/>
                <a:gd name="connsiteY250" fmla="*/ 114300 h 1704975"/>
                <a:gd name="connsiteX251" fmla="*/ 368975 w 1293444"/>
                <a:gd name="connsiteY251" fmla="*/ 104775 h 1704975"/>
                <a:gd name="connsiteX252" fmla="*/ 375325 w 1293444"/>
                <a:gd name="connsiteY252"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32475 w 1293444"/>
                <a:gd name="connsiteY139" fmla="*/ 1495425 h 1704975"/>
                <a:gd name="connsiteX140" fmla="*/ 429300 w 1293444"/>
                <a:gd name="connsiteY140" fmla="*/ 1485900 h 1704975"/>
                <a:gd name="connsiteX141" fmla="*/ 426125 w 1293444"/>
                <a:gd name="connsiteY141" fmla="*/ 1473200 h 1704975"/>
                <a:gd name="connsiteX142" fmla="*/ 419775 w 1293444"/>
                <a:gd name="connsiteY142" fmla="*/ 1463675 h 1704975"/>
                <a:gd name="connsiteX143" fmla="*/ 416600 w 1293444"/>
                <a:gd name="connsiteY143" fmla="*/ 1454150 h 1704975"/>
                <a:gd name="connsiteX144" fmla="*/ 403900 w 1293444"/>
                <a:gd name="connsiteY144" fmla="*/ 1435100 h 1704975"/>
                <a:gd name="connsiteX145" fmla="*/ 397550 w 1293444"/>
                <a:gd name="connsiteY145" fmla="*/ 1416050 h 1704975"/>
                <a:gd name="connsiteX146" fmla="*/ 394375 w 1293444"/>
                <a:gd name="connsiteY146" fmla="*/ 1381125 h 1704975"/>
                <a:gd name="connsiteX147" fmla="*/ 391200 w 1293444"/>
                <a:gd name="connsiteY147" fmla="*/ 1368425 h 1704975"/>
                <a:gd name="connsiteX148" fmla="*/ 388025 w 1293444"/>
                <a:gd name="connsiteY148" fmla="*/ 1352550 h 1704975"/>
                <a:gd name="connsiteX149" fmla="*/ 381675 w 1293444"/>
                <a:gd name="connsiteY149" fmla="*/ 1333500 h 1704975"/>
                <a:gd name="connsiteX150" fmla="*/ 378500 w 1293444"/>
                <a:gd name="connsiteY150" fmla="*/ 1323975 h 1704975"/>
                <a:gd name="connsiteX151" fmla="*/ 375325 w 1293444"/>
                <a:gd name="connsiteY151" fmla="*/ 1308100 h 1704975"/>
                <a:gd name="connsiteX152" fmla="*/ 368975 w 1293444"/>
                <a:gd name="connsiteY152" fmla="*/ 1289050 h 1704975"/>
                <a:gd name="connsiteX153" fmla="*/ 362625 w 1293444"/>
                <a:gd name="connsiteY153" fmla="*/ 1260475 h 1704975"/>
                <a:gd name="connsiteX154" fmla="*/ 359450 w 1293444"/>
                <a:gd name="connsiteY154" fmla="*/ 1231900 h 1704975"/>
                <a:gd name="connsiteX155" fmla="*/ 349925 w 1293444"/>
                <a:gd name="connsiteY155" fmla="*/ 1196975 h 1704975"/>
                <a:gd name="connsiteX156" fmla="*/ 340400 w 1293444"/>
                <a:gd name="connsiteY156" fmla="*/ 1155700 h 1704975"/>
                <a:gd name="connsiteX157" fmla="*/ 334050 w 1293444"/>
                <a:gd name="connsiteY157" fmla="*/ 1130300 h 1704975"/>
                <a:gd name="connsiteX158" fmla="*/ 327700 w 1293444"/>
                <a:gd name="connsiteY158" fmla="*/ 1104900 h 1704975"/>
                <a:gd name="connsiteX159" fmla="*/ 324525 w 1293444"/>
                <a:gd name="connsiteY159" fmla="*/ 1092200 h 1704975"/>
                <a:gd name="connsiteX160" fmla="*/ 318175 w 1293444"/>
                <a:gd name="connsiteY160" fmla="*/ 1050925 h 1704975"/>
                <a:gd name="connsiteX161" fmla="*/ 315000 w 1293444"/>
                <a:gd name="connsiteY161" fmla="*/ 1031875 h 1704975"/>
                <a:gd name="connsiteX162" fmla="*/ 311825 w 1293444"/>
                <a:gd name="connsiteY162" fmla="*/ 1022350 h 1704975"/>
                <a:gd name="connsiteX163" fmla="*/ 308650 w 1293444"/>
                <a:gd name="connsiteY163" fmla="*/ 1006475 h 1704975"/>
                <a:gd name="connsiteX164" fmla="*/ 302300 w 1293444"/>
                <a:gd name="connsiteY164" fmla="*/ 987425 h 1704975"/>
                <a:gd name="connsiteX165" fmla="*/ 299125 w 1293444"/>
                <a:gd name="connsiteY165" fmla="*/ 974725 h 1704975"/>
                <a:gd name="connsiteX166" fmla="*/ 292775 w 1293444"/>
                <a:gd name="connsiteY166" fmla="*/ 955675 h 1704975"/>
                <a:gd name="connsiteX167" fmla="*/ 289600 w 1293444"/>
                <a:gd name="connsiteY167" fmla="*/ 946150 h 1704975"/>
                <a:gd name="connsiteX168" fmla="*/ 280075 w 1293444"/>
                <a:gd name="connsiteY168" fmla="*/ 923925 h 1704975"/>
                <a:gd name="connsiteX169" fmla="*/ 261025 w 1293444"/>
                <a:gd name="connsiteY169" fmla="*/ 908050 h 1704975"/>
                <a:gd name="connsiteX170" fmla="*/ 241975 w 1293444"/>
                <a:gd name="connsiteY170" fmla="*/ 901700 h 1704975"/>
                <a:gd name="connsiteX171" fmla="*/ 222925 w 1293444"/>
                <a:gd name="connsiteY171" fmla="*/ 889000 h 1704975"/>
                <a:gd name="connsiteX172" fmla="*/ 213400 w 1293444"/>
                <a:gd name="connsiteY172" fmla="*/ 885825 h 1704975"/>
                <a:gd name="connsiteX173" fmla="*/ 194350 w 1293444"/>
                <a:gd name="connsiteY173" fmla="*/ 873125 h 1704975"/>
                <a:gd name="connsiteX174" fmla="*/ 175300 w 1293444"/>
                <a:gd name="connsiteY174" fmla="*/ 860425 h 1704975"/>
                <a:gd name="connsiteX175" fmla="*/ 162600 w 1293444"/>
                <a:gd name="connsiteY175" fmla="*/ 850900 h 1704975"/>
                <a:gd name="connsiteX176" fmla="*/ 153075 w 1293444"/>
                <a:gd name="connsiteY176" fmla="*/ 847725 h 1704975"/>
                <a:gd name="connsiteX177" fmla="*/ 134025 w 1293444"/>
                <a:gd name="connsiteY177" fmla="*/ 835025 h 1704975"/>
                <a:gd name="connsiteX178" fmla="*/ 114975 w 1293444"/>
                <a:gd name="connsiteY178" fmla="*/ 822325 h 1704975"/>
                <a:gd name="connsiteX179" fmla="*/ 105450 w 1293444"/>
                <a:gd name="connsiteY179" fmla="*/ 815975 h 1704975"/>
                <a:gd name="connsiteX180" fmla="*/ 95925 w 1293444"/>
                <a:gd name="connsiteY180" fmla="*/ 812800 h 1704975"/>
                <a:gd name="connsiteX181" fmla="*/ 64175 w 1293444"/>
                <a:gd name="connsiteY181" fmla="*/ 790575 h 1704975"/>
                <a:gd name="connsiteX182" fmla="*/ 54650 w 1293444"/>
                <a:gd name="connsiteY182" fmla="*/ 787400 h 1704975"/>
                <a:gd name="connsiteX183" fmla="*/ 38775 w 1293444"/>
                <a:gd name="connsiteY183" fmla="*/ 771525 h 1704975"/>
                <a:gd name="connsiteX184" fmla="*/ 29250 w 1293444"/>
                <a:gd name="connsiteY184" fmla="*/ 762000 h 1704975"/>
                <a:gd name="connsiteX185" fmla="*/ 19725 w 1293444"/>
                <a:gd name="connsiteY185" fmla="*/ 758825 h 1704975"/>
                <a:gd name="connsiteX186" fmla="*/ 675 w 1293444"/>
                <a:gd name="connsiteY186" fmla="*/ 746125 h 1704975"/>
                <a:gd name="connsiteX187" fmla="*/ 51475 w 1293444"/>
                <a:gd name="connsiteY187" fmla="*/ 739775 h 1704975"/>
                <a:gd name="connsiteX188" fmla="*/ 67350 w 1293444"/>
                <a:gd name="connsiteY188" fmla="*/ 736600 h 1704975"/>
                <a:gd name="connsiteX189" fmla="*/ 102275 w 1293444"/>
                <a:gd name="connsiteY189" fmla="*/ 733425 h 1704975"/>
                <a:gd name="connsiteX190" fmla="*/ 130850 w 1293444"/>
                <a:gd name="connsiteY190" fmla="*/ 727075 h 1704975"/>
                <a:gd name="connsiteX191" fmla="*/ 149900 w 1293444"/>
                <a:gd name="connsiteY191" fmla="*/ 723900 h 1704975"/>
                <a:gd name="connsiteX192" fmla="*/ 159425 w 1293444"/>
                <a:gd name="connsiteY192" fmla="*/ 720725 h 1704975"/>
                <a:gd name="connsiteX193" fmla="*/ 175300 w 1293444"/>
                <a:gd name="connsiteY193" fmla="*/ 717550 h 1704975"/>
                <a:gd name="connsiteX194" fmla="*/ 194350 w 1293444"/>
                <a:gd name="connsiteY194" fmla="*/ 711200 h 1704975"/>
                <a:gd name="connsiteX195" fmla="*/ 222925 w 1293444"/>
                <a:gd name="connsiteY195" fmla="*/ 701675 h 1704975"/>
                <a:gd name="connsiteX196" fmla="*/ 232450 w 1293444"/>
                <a:gd name="connsiteY196" fmla="*/ 698500 h 1704975"/>
                <a:gd name="connsiteX197" fmla="*/ 241975 w 1293444"/>
                <a:gd name="connsiteY197" fmla="*/ 695325 h 1704975"/>
                <a:gd name="connsiteX198" fmla="*/ 381675 w 1293444"/>
                <a:gd name="connsiteY198" fmla="*/ 688975 h 1704975"/>
                <a:gd name="connsiteX199" fmla="*/ 397550 w 1293444"/>
                <a:gd name="connsiteY199" fmla="*/ 685800 h 1704975"/>
                <a:gd name="connsiteX200" fmla="*/ 407075 w 1293444"/>
                <a:gd name="connsiteY200" fmla="*/ 682625 h 1704975"/>
                <a:gd name="connsiteX201" fmla="*/ 419775 w 1293444"/>
                <a:gd name="connsiteY201" fmla="*/ 679450 h 1704975"/>
                <a:gd name="connsiteX202" fmla="*/ 438825 w 1293444"/>
                <a:gd name="connsiteY202" fmla="*/ 673100 h 1704975"/>
                <a:gd name="connsiteX203" fmla="*/ 467400 w 1293444"/>
                <a:gd name="connsiteY203" fmla="*/ 663575 h 1704975"/>
                <a:gd name="connsiteX204" fmla="*/ 495975 w 1293444"/>
                <a:gd name="connsiteY204" fmla="*/ 654050 h 1704975"/>
                <a:gd name="connsiteX205" fmla="*/ 505500 w 1293444"/>
                <a:gd name="connsiteY205" fmla="*/ 650875 h 1704975"/>
                <a:gd name="connsiteX206" fmla="*/ 527725 w 1293444"/>
                <a:gd name="connsiteY206" fmla="*/ 641350 h 1704975"/>
                <a:gd name="connsiteX207" fmla="*/ 537250 w 1293444"/>
                <a:gd name="connsiteY207" fmla="*/ 635000 h 1704975"/>
                <a:gd name="connsiteX208" fmla="*/ 546775 w 1293444"/>
                <a:gd name="connsiteY208" fmla="*/ 631825 h 1704975"/>
                <a:gd name="connsiteX209" fmla="*/ 559475 w 1293444"/>
                <a:gd name="connsiteY209" fmla="*/ 625475 h 1704975"/>
                <a:gd name="connsiteX210" fmla="*/ 578525 w 1293444"/>
                <a:gd name="connsiteY210" fmla="*/ 657225 h 1704975"/>
                <a:gd name="connsiteX211" fmla="*/ 588050 w 1293444"/>
                <a:gd name="connsiteY211" fmla="*/ 660400 h 1704975"/>
                <a:gd name="connsiteX212" fmla="*/ 607100 w 1293444"/>
                <a:gd name="connsiteY212" fmla="*/ 673100 h 1704975"/>
                <a:gd name="connsiteX213" fmla="*/ 626150 w 1293444"/>
                <a:gd name="connsiteY213" fmla="*/ 679450 h 1704975"/>
                <a:gd name="connsiteX214" fmla="*/ 635675 w 1293444"/>
                <a:gd name="connsiteY214" fmla="*/ 685800 h 1704975"/>
                <a:gd name="connsiteX215" fmla="*/ 654725 w 1293444"/>
                <a:gd name="connsiteY215" fmla="*/ 692150 h 1704975"/>
                <a:gd name="connsiteX216" fmla="*/ 645200 w 1293444"/>
                <a:gd name="connsiteY216" fmla="*/ 682625 h 1704975"/>
                <a:gd name="connsiteX217" fmla="*/ 635675 w 1293444"/>
                <a:gd name="connsiteY217" fmla="*/ 676275 h 1704975"/>
                <a:gd name="connsiteX218" fmla="*/ 632500 w 1293444"/>
                <a:gd name="connsiteY218" fmla="*/ 666750 h 1704975"/>
                <a:gd name="connsiteX219" fmla="*/ 635675 w 1293444"/>
                <a:gd name="connsiteY219" fmla="*/ 590550 h 1704975"/>
                <a:gd name="connsiteX220" fmla="*/ 642025 w 1293444"/>
                <a:gd name="connsiteY220" fmla="*/ 571500 h 1704975"/>
                <a:gd name="connsiteX221" fmla="*/ 648375 w 1293444"/>
                <a:gd name="connsiteY221" fmla="*/ 561975 h 1704975"/>
                <a:gd name="connsiteX222" fmla="*/ 638850 w 1293444"/>
                <a:gd name="connsiteY222" fmla="*/ 536575 h 1704975"/>
                <a:gd name="connsiteX223" fmla="*/ 629325 w 1293444"/>
                <a:gd name="connsiteY223" fmla="*/ 533400 h 1704975"/>
                <a:gd name="connsiteX224" fmla="*/ 626150 w 1293444"/>
                <a:gd name="connsiteY224" fmla="*/ 523875 h 1704975"/>
                <a:gd name="connsiteX225" fmla="*/ 632500 w 1293444"/>
                <a:gd name="connsiteY225" fmla="*/ 498475 h 1704975"/>
                <a:gd name="connsiteX226" fmla="*/ 635675 w 1293444"/>
                <a:gd name="connsiteY226" fmla="*/ 485775 h 1704975"/>
                <a:gd name="connsiteX227" fmla="*/ 626150 w 1293444"/>
                <a:gd name="connsiteY227" fmla="*/ 463550 h 1704975"/>
                <a:gd name="connsiteX228" fmla="*/ 616625 w 1293444"/>
                <a:gd name="connsiteY228" fmla="*/ 460375 h 1704975"/>
                <a:gd name="connsiteX229" fmla="*/ 607100 w 1293444"/>
                <a:gd name="connsiteY229" fmla="*/ 454025 h 1704975"/>
                <a:gd name="connsiteX230" fmla="*/ 591225 w 1293444"/>
                <a:gd name="connsiteY230" fmla="*/ 450850 h 1704975"/>
                <a:gd name="connsiteX231" fmla="*/ 569000 w 1293444"/>
                <a:gd name="connsiteY231" fmla="*/ 441325 h 1704975"/>
                <a:gd name="connsiteX232" fmla="*/ 546775 w 1293444"/>
                <a:gd name="connsiteY232" fmla="*/ 415925 h 1704975"/>
                <a:gd name="connsiteX233" fmla="*/ 540425 w 1293444"/>
                <a:gd name="connsiteY233" fmla="*/ 406400 h 1704975"/>
                <a:gd name="connsiteX234" fmla="*/ 530900 w 1293444"/>
                <a:gd name="connsiteY234" fmla="*/ 400050 h 1704975"/>
                <a:gd name="connsiteX235" fmla="*/ 508675 w 1293444"/>
                <a:gd name="connsiteY235" fmla="*/ 374650 h 1704975"/>
                <a:gd name="connsiteX236" fmla="*/ 502325 w 1293444"/>
                <a:gd name="connsiteY236" fmla="*/ 365125 h 1704975"/>
                <a:gd name="connsiteX237" fmla="*/ 483275 w 1293444"/>
                <a:gd name="connsiteY237" fmla="*/ 346075 h 1704975"/>
                <a:gd name="connsiteX238" fmla="*/ 486450 w 1293444"/>
                <a:gd name="connsiteY238" fmla="*/ 333375 h 1704975"/>
                <a:gd name="connsiteX239" fmla="*/ 492800 w 1293444"/>
                <a:gd name="connsiteY239" fmla="*/ 314325 h 1704975"/>
                <a:gd name="connsiteX240" fmla="*/ 489625 w 1293444"/>
                <a:gd name="connsiteY240" fmla="*/ 292100 h 1704975"/>
                <a:gd name="connsiteX241" fmla="*/ 461050 w 1293444"/>
                <a:gd name="connsiteY241" fmla="*/ 266700 h 1704975"/>
                <a:gd name="connsiteX242" fmla="*/ 435650 w 1293444"/>
                <a:gd name="connsiteY242" fmla="*/ 254000 h 1704975"/>
                <a:gd name="connsiteX243" fmla="*/ 413425 w 1293444"/>
                <a:gd name="connsiteY243" fmla="*/ 238125 h 1704975"/>
                <a:gd name="connsiteX244" fmla="*/ 403900 w 1293444"/>
                <a:gd name="connsiteY244" fmla="*/ 231775 h 1704975"/>
                <a:gd name="connsiteX245" fmla="*/ 388025 w 1293444"/>
                <a:gd name="connsiteY245" fmla="*/ 212725 h 1704975"/>
                <a:gd name="connsiteX246" fmla="*/ 372150 w 1293444"/>
                <a:gd name="connsiteY246" fmla="*/ 196850 h 1704975"/>
                <a:gd name="connsiteX247" fmla="*/ 365800 w 1293444"/>
                <a:gd name="connsiteY247" fmla="*/ 177800 h 1704975"/>
                <a:gd name="connsiteX248" fmla="*/ 359450 w 1293444"/>
                <a:gd name="connsiteY248" fmla="*/ 149225 h 1704975"/>
                <a:gd name="connsiteX249" fmla="*/ 362625 w 1293444"/>
                <a:gd name="connsiteY249" fmla="*/ 114300 h 1704975"/>
                <a:gd name="connsiteX250" fmla="*/ 368975 w 1293444"/>
                <a:gd name="connsiteY250" fmla="*/ 104775 h 1704975"/>
                <a:gd name="connsiteX251" fmla="*/ 375325 w 1293444"/>
                <a:gd name="connsiteY251"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32475 w 1293444"/>
                <a:gd name="connsiteY139" fmla="*/ 1495425 h 1704975"/>
                <a:gd name="connsiteX140" fmla="*/ 429300 w 1293444"/>
                <a:gd name="connsiteY140" fmla="*/ 1485900 h 1704975"/>
                <a:gd name="connsiteX141" fmla="*/ 426125 w 1293444"/>
                <a:gd name="connsiteY141" fmla="*/ 1473200 h 1704975"/>
                <a:gd name="connsiteX142" fmla="*/ 419775 w 1293444"/>
                <a:gd name="connsiteY142" fmla="*/ 1463675 h 1704975"/>
                <a:gd name="connsiteX143" fmla="*/ 416600 w 1293444"/>
                <a:gd name="connsiteY143" fmla="*/ 1454150 h 1704975"/>
                <a:gd name="connsiteX144" fmla="*/ 403900 w 1293444"/>
                <a:gd name="connsiteY144" fmla="*/ 1435100 h 1704975"/>
                <a:gd name="connsiteX145" fmla="*/ 397550 w 1293444"/>
                <a:gd name="connsiteY145" fmla="*/ 1416050 h 1704975"/>
                <a:gd name="connsiteX146" fmla="*/ 394375 w 1293444"/>
                <a:gd name="connsiteY146" fmla="*/ 1381125 h 1704975"/>
                <a:gd name="connsiteX147" fmla="*/ 391200 w 1293444"/>
                <a:gd name="connsiteY147" fmla="*/ 1368425 h 1704975"/>
                <a:gd name="connsiteX148" fmla="*/ 388025 w 1293444"/>
                <a:gd name="connsiteY148" fmla="*/ 1352550 h 1704975"/>
                <a:gd name="connsiteX149" fmla="*/ 381675 w 1293444"/>
                <a:gd name="connsiteY149" fmla="*/ 1333500 h 1704975"/>
                <a:gd name="connsiteX150" fmla="*/ 378500 w 1293444"/>
                <a:gd name="connsiteY150" fmla="*/ 1323975 h 1704975"/>
                <a:gd name="connsiteX151" fmla="*/ 375325 w 1293444"/>
                <a:gd name="connsiteY151" fmla="*/ 1308100 h 1704975"/>
                <a:gd name="connsiteX152" fmla="*/ 368975 w 1293444"/>
                <a:gd name="connsiteY152" fmla="*/ 1289050 h 1704975"/>
                <a:gd name="connsiteX153" fmla="*/ 362625 w 1293444"/>
                <a:gd name="connsiteY153" fmla="*/ 1260475 h 1704975"/>
                <a:gd name="connsiteX154" fmla="*/ 359450 w 1293444"/>
                <a:gd name="connsiteY154" fmla="*/ 1231900 h 1704975"/>
                <a:gd name="connsiteX155" fmla="*/ 349925 w 1293444"/>
                <a:gd name="connsiteY155" fmla="*/ 1196975 h 1704975"/>
                <a:gd name="connsiteX156" fmla="*/ 340400 w 1293444"/>
                <a:gd name="connsiteY156" fmla="*/ 1155700 h 1704975"/>
                <a:gd name="connsiteX157" fmla="*/ 334050 w 1293444"/>
                <a:gd name="connsiteY157" fmla="*/ 1130300 h 1704975"/>
                <a:gd name="connsiteX158" fmla="*/ 327700 w 1293444"/>
                <a:gd name="connsiteY158" fmla="*/ 1104900 h 1704975"/>
                <a:gd name="connsiteX159" fmla="*/ 324525 w 1293444"/>
                <a:gd name="connsiteY159" fmla="*/ 1092200 h 1704975"/>
                <a:gd name="connsiteX160" fmla="*/ 318175 w 1293444"/>
                <a:gd name="connsiteY160" fmla="*/ 1050925 h 1704975"/>
                <a:gd name="connsiteX161" fmla="*/ 315000 w 1293444"/>
                <a:gd name="connsiteY161" fmla="*/ 1031875 h 1704975"/>
                <a:gd name="connsiteX162" fmla="*/ 311825 w 1293444"/>
                <a:gd name="connsiteY162" fmla="*/ 1022350 h 1704975"/>
                <a:gd name="connsiteX163" fmla="*/ 308650 w 1293444"/>
                <a:gd name="connsiteY163" fmla="*/ 1006475 h 1704975"/>
                <a:gd name="connsiteX164" fmla="*/ 302300 w 1293444"/>
                <a:gd name="connsiteY164" fmla="*/ 987425 h 1704975"/>
                <a:gd name="connsiteX165" fmla="*/ 299125 w 1293444"/>
                <a:gd name="connsiteY165" fmla="*/ 974725 h 1704975"/>
                <a:gd name="connsiteX166" fmla="*/ 292775 w 1293444"/>
                <a:gd name="connsiteY166" fmla="*/ 955675 h 1704975"/>
                <a:gd name="connsiteX167" fmla="*/ 289600 w 1293444"/>
                <a:gd name="connsiteY167" fmla="*/ 946150 h 1704975"/>
                <a:gd name="connsiteX168" fmla="*/ 280075 w 1293444"/>
                <a:gd name="connsiteY168" fmla="*/ 923925 h 1704975"/>
                <a:gd name="connsiteX169" fmla="*/ 261025 w 1293444"/>
                <a:gd name="connsiteY169" fmla="*/ 908050 h 1704975"/>
                <a:gd name="connsiteX170" fmla="*/ 241975 w 1293444"/>
                <a:gd name="connsiteY170" fmla="*/ 901700 h 1704975"/>
                <a:gd name="connsiteX171" fmla="*/ 222925 w 1293444"/>
                <a:gd name="connsiteY171" fmla="*/ 889000 h 1704975"/>
                <a:gd name="connsiteX172" fmla="*/ 213400 w 1293444"/>
                <a:gd name="connsiteY172" fmla="*/ 885825 h 1704975"/>
                <a:gd name="connsiteX173" fmla="*/ 194350 w 1293444"/>
                <a:gd name="connsiteY173" fmla="*/ 873125 h 1704975"/>
                <a:gd name="connsiteX174" fmla="*/ 175300 w 1293444"/>
                <a:gd name="connsiteY174" fmla="*/ 860425 h 1704975"/>
                <a:gd name="connsiteX175" fmla="*/ 162600 w 1293444"/>
                <a:gd name="connsiteY175" fmla="*/ 850900 h 1704975"/>
                <a:gd name="connsiteX176" fmla="*/ 153075 w 1293444"/>
                <a:gd name="connsiteY176" fmla="*/ 847725 h 1704975"/>
                <a:gd name="connsiteX177" fmla="*/ 134025 w 1293444"/>
                <a:gd name="connsiteY177" fmla="*/ 835025 h 1704975"/>
                <a:gd name="connsiteX178" fmla="*/ 114975 w 1293444"/>
                <a:gd name="connsiteY178" fmla="*/ 822325 h 1704975"/>
                <a:gd name="connsiteX179" fmla="*/ 105450 w 1293444"/>
                <a:gd name="connsiteY179" fmla="*/ 815975 h 1704975"/>
                <a:gd name="connsiteX180" fmla="*/ 95925 w 1293444"/>
                <a:gd name="connsiteY180" fmla="*/ 812800 h 1704975"/>
                <a:gd name="connsiteX181" fmla="*/ 64175 w 1293444"/>
                <a:gd name="connsiteY181" fmla="*/ 790575 h 1704975"/>
                <a:gd name="connsiteX182" fmla="*/ 54650 w 1293444"/>
                <a:gd name="connsiteY182" fmla="*/ 787400 h 1704975"/>
                <a:gd name="connsiteX183" fmla="*/ 38775 w 1293444"/>
                <a:gd name="connsiteY183" fmla="*/ 771525 h 1704975"/>
                <a:gd name="connsiteX184" fmla="*/ 29250 w 1293444"/>
                <a:gd name="connsiteY184" fmla="*/ 762000 h 1704975"/>
                <a:gd name="connsiteX185" fmla="*/ 19725 w 1293444"/>
                <a:gd name="connsiteY185" fmla="*/ 758825 h 1704975"/>
                <a:gd name="connsiteX186" fmla="*/ 675 w 1293444"/>
                <a:gd name="connsiteY186" fmla="*/ 746125 h 1704975"/>
                <a:gd name="connsiteX187" fmla="*/ 51475 w 1293444"/>
                <a:gd name="connsiteY187" fmla="*/ 739775 h 1704975"/>
                <a:gd name="connsiteX188" fmla="*/ 67350 w 1293444"/>
                <a:gd name="connsiteY188" fmla="*/ 736600 h 1704975"/>
                <a:gd name="connsiteX189" fmla="*/ 102275 w 1293444"/>
                <a:gd name="connsiteY189" fmla="*/ 733425 h 1704975"/>
                <a:gd name="connsiteX190" fmla="*/ 130850 w 1293444"/>
                <a:gd name="connsiteY190" fmla="*/ 727075 h 1704975"/>
                <a:gd name="connsiteX191" fmla="*/ 149900 w 1293444"/>
                <a:gd name="connsiteY191" fmla="*/ 723900 h 1704975"/>
                <a:gd name="connsiteX192" fmla="*/ 159425 w 1293444"/>
                <a:gd name="connsiteY192" fmla="*/ 720725 h 1704975"/>
                <a:gd name="connsiteX193" fmla="*/ 175300 w 1293444"/>
                <a:gd name="connsiteY193" fmla="*/ 717550 h 1704975"/>
                <a:gd name="connsiteX194" fmla="*/ 194350 w 1293444"/>
                <a:gd name="connsiteY194" fmla="*/ 711200 h 1704975"/>
                <a:gd name="connsiteX195" fmla="*/ 222925 w 1293444"/>
                <a:gd name="connsiteY195" fmla="*/ 701675 h 1704975"/>
                <a:gd name="connsiteX196" fmla="*/ 232450 w 1293444"/>
                <a:gd name="connsiteY196" fmla="*/ 698500 h 1704975"/>
                <a:gd name="connsiteX197" fmla="*/ 241975 w 1293444"/>
                <a:gd name="connsiteY197" fmla="*/ 695325 h 1704975"/>
                <a:gd name="connsiteX198" fmla="*/ 381675 w 1293444"/>
                <a:gd name="connsiteY198" fmla="*/ 688975 h 1704975"/>
                <a:gd name="connsiteX199" fmla="*/ 397550 w 1293444"/>
                <a:gd name="connsiteY199" fmla="*/ 685800 h 1704975"/>
                <a:gd name="connsiteX200" fmla="*/ 407075 w 1293444"/>
                <a:gd name="connsiteY200" fmla="*/ 682625 h 1704975"/>
                <a:gd name="connsiteX201" fmla="*/ 419775 w 1293444"/>
                <a:gd name="connsiteY201" fmla="*/ 679450 h 1704975"/>
                <a:gd name="connsiteX202" fmla="*/ 438825 w 1293444"/>
                <a:gd name="connsiteY202" fmla="*/ 673100 h 1704975"/>
                <a:gd name="connsiteX203" fmla="*/ 467400 w 1293444"/>
                <a:gd name="connsiteY203" fmla="*/ 663575 h 1704975"/>
                <a:gd name="connsiteX204" fmla="*/ 495975 w 1293444"/>
                <a:gd name="connsiteY204" fmla="*/ 654050 h 1704975"/>
                <a:gd name="connsiteX205" fmla="*/ 505500 w 1293444"/>
                <a:gd name="connsiteY205" fmla="*/ 650875 h 1704975"/>
                <a:gd name="connsiteX206" fmla="*/ 527725 w 1293444"/>
                <a:gd name="connsiteY206" fmla="*/ 641350 h 1704975"/>
                <a:gd name="connsiteX207" fmla="*/ 537250 w 1293444"/>
                <a:gd name="connsiteY207" fmla="*/ 635000 h 1704975"/>
                <a:gd name="connsiteX208" fmla="*/ 546775 w 1293444"/>
                <a:gd name="connsiteY208" fmla="*/ 631825 h 1704975"/>
                <a:gd name="connsiteX209" fmla="*/ 559475 w 1293444"/>
                <a:gd name="connsiteY209" fmla="*/ 625475 h 1704975"/>
                <a:gd name="connsiteX210" fmla="*/ 578525 w 1293444"/>
                <a:gd name="connsiteY210" fmla="*/ 657225 h 1704975"/>
                <a:gd name="connsiteX211" fmla="*/ 588050 w 1293444"/>
                <a:gd name="connsiteY211" fmla="*/ 660400 h 1704975"/>
                <a:gd name="connsiteX212" fmla="*/ 607100 w 1293444"/>
                <a:gd name="connsiteY212" fmla="*/ 673100 h 1704975"/>
                <a:gd name="connsiteX213" fmla="*/ 626150 w 1293444"/>
                <a:gd name="connsiteY213" fmla="*/ 679450 h 1704975"/>
                <a:gd name="connsiteX214" fmla="*/ 635675 w 1293444"/>
                <a:gd name="connsiteY214" fmla="*/ 685800 h 1704975"/>
                <a:gd name="connsiteX215" fmla="*/ 654725 w 1293444"/>
                <a:gd name="connsiteY215" fmla="*/ 692150 h 1704975"/>
                <a:gd name="connsiteX216" fmla="*/ 645200 w 1293444"/>
                <a:gd name="connsiteY216" fmla="*/ 682625 h 1704975"/>
                <a:gd name="connsiteX217" fmla="*/ 635675 w 1293444"/>
                <a:gd name="connsiteY217" fmla="*/ 676275 h 1704975"/>
                <a:gd name="connsiteX218" fmla="*/ 632500 w 1293444"/>
                <a:gd name="connsiteY218" fmla="*/ 666750 h 1704975"/>
                <a:gd name="connsiteX219" fmla="*/ 635675 w 1293444"/>
                <a:gd name="connsiteY219" fmla="*/ 590550 h 1704975"/>
                <a:gd name="connsiteX220" fmla="*/ 642025 w 1293444"/>
                <a:gd name="connsiteY220" fmla="*/ 571500 h 1704975"/>
                <a:gd name="connsiteX221" fmla="*/ 648375 w 1293444"/>
                <a:gd name="connsiteY221" fmla="*/ 561975 h 1704975"/>
                <a:gd name="connsiteX222" fmla="*/ 638850 w 1293444"/>
                <a:gd name="connsiteY222" fmla="*/ 536575 h 1704975"/>
                <a:gd name="connsiteX223" fmla="*/ 629325 w 1293444"/>
                <a:gd name="connsiteY223" fmla="*/ 533400 h 1704975"/>
                <a:gd name="connsiteX224" fmla="*/ 626150 w 1293444"/>
                <a:gd name="connsiteY224" fmla="*/ 523875 h 1704975"/>
                <a:gd name="connsiteX225" fmla="*/ 632500 w 1293444"/>
                <a:gd name="connsiteY225" fmla="*/ 498475 h 1704975"/>
                <a:gd name="connsiteX226" fmla="*/ 635675 w 1293444"/>
                <a:gd name="connsiteY226" fmla="*/ 485775 h 1704975"/>
                <a:gd name="connsiteX227" fmla="*/ 626150 w 1293444"/>
                <a:gd name="connsiteY227" fmla="*/ 463550 h 1704975"/>
                <a:gd name="connsiteX228" fmla="*/ 616625 w 1293444"/>
                <a:gd name="connsiteY228" fmla="*/ 460375 h 1704975"/>
                <a:gd name="connsiteX229" fmla="*/ 607100 w 1293444"/>
                <a:gd name="connsiteY229" fmla="*/ 454025 h 1704975"/>
                <a:gd name="connsiteX230" fmla="*/ 591225 w 1293444"/>
                <a:gd name="connsiteY230" fmla="*/ 450850 h 1704975"/>
                <a:gd name="connsiteX231" fmla="*/ 569000 w 1293444"/>
                <a:gd name="connsiteY231" fmla="*/ 441325 h 1704975"/>
                <a:gd name="connsiteX232" fmla="*/ 546775 w 1293444"/>
                <a:gd name="connsiteY232" fmla="*/ 415925 h 1704975"/>
                <a:gd name="connsiteX233" fmla="*/ 540425 w 1293444"/>
                <a:gd name="connsiteY233" fmla="*/ 406400 h 1704975"/>
                <a:gd name="connsiteX234" fmla="*/ 530900 w 1293444"/>
                <a:gd name="connsiteY234" fmla="*/ 400050 h 1704975"/>
                <a:gd name="connsiteX235" fmla="*/ 508675 w 1293444"/>
                <a:gd name="connsiteY235" fmla="*/ 374650 h 1704975"/>
                <a:gd name="connsiteX236" fmla="*/ 502325 w 1293444"/>
                <a:gd name="connsiteY236" fmla="*/ 365125 h 1704975"/>
                <a:gd name="connsiteX237" fmla="*/ 483275 w 1293444"/>
                <a:gd name="connsiteY237" fmla="*/ 346075 h 1704975"/>
                <a:gd name="connsiteX238" fmla="*/ 486450 w 1293444"/>
                <a:gd name="connsiteY238" fmla="*/ 333375 h 1704975"/>
                <a:gd name="connsiteX239" fmla="*/ 492800 w 1293444"/>
                <a:gd name="connsiteY239" fmla="*/ 314325 h 1704975"/>
                <a:gd name="connsiteX240" fmla="*/ 489625 w 1293444"/>
                <a:gd name="connsiteY240" fmla="*/ 292100 h 1704975"/>
                <a:gd name="connsiteX241" fmla="*/ 461050 w 1293444"/>
                <a:gd name="connsiteY241" fmla="*/ 266700 h 1704975"/>
                <a:gd name="connsiteX242" fmla="*/ 435650 w 1293444"/>
                <a:gd name="connsiteY242" fmla="*/ 254000 h 1704975"/>
                <a:gd name="connsiteX243" fmla="*/ 413425 w 1293444"/>
                <a:gd name="connsiteY243" fmla="*/ 238125 h 1704975"/>
                <a:gd name="connsiteX244" fmla="*/ 403900 w 1293444"/>
                <a:gd name="connsiteY244" fmla="*/ 231775 h 1704975"/>
                <a:gd name="connsiteX245" fmla="*/ 388025 w 1293444"/>
                <a:gd name="connsiteY245" fmla="*/ 212725 h 1704975"/>
                <a:gd name="connsiteX246" fmla="*/ 372150 w 1293444"/>
                <a:gd name="connsiteY246" fmla="*/ 196850 h 1704975"/>
                <a:gd name="connsiteX247" fmla="*/ 359450 w 1293444"/>
                <a:gd name="connsiteY247" fmla="*/ 149225 h 1704975"/>
                <a:gd name="connsiteX248" fmla="*/ 362625 w 1293444"/>
                <a:gd name="connsiteY248" fmla="*/ 114300 h 1704975"/>
                <a:gd name="connsiteX249" fmla="*/ 368975 w 1293444"/>
                <a:gd name="connsiteY249" fmla="*/ 104775 h 1704975"/>
                <a:gd name="connsiteX250" fmla="*/ 375325 w 1293444"/>
                <a:gd name="connsiteY250"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32475 w 1293444"/>
                <a:gd name="connsiteY139" fmla="*/ 1495425 h 1704975"/>
                <a:gd name="connsiteX140" fmla="*/ 429300 w 1293444"/>
                <a:gd name="connsiteY140" fmla="*/ 1485900 h 1704975"/>
                <a:gd name="connsiteX141" fmla="*/ 426125 w 1293444"/>
                <a:gd name="connsiteY141" fmla="*/ 1473200 h 1704975"/>
                <a:gd name="connsiteX142" fmla="*/ 419775 w 1293444"/>
                <a:gd name="connsiteY142" fmla="*/ 1463675 h 1704975"/>
                <a:gd name="connsiteX143" fmla="*/ 416600 w 1293444"/>
                <a:gd name="connsiteY143" fmla="*/ 1454150 h 1704975"/>
                <a:gd name="connsiteX144" fmla="*/ 403900 w 1293444"/>
                <a:gd name="connsiteY144" fmla="*/ 1435100 h 1704975"/>
                <a:gd name="connsiteX145" fmla="*/ 397550 w 1293444"/>
                <a:gd name="connsiteY145" fmla="*/ 1416050 h 1704975"/>
                <a:gd name="connsiteX146" fmla="*/ 394375 w 1293444"/>
                <a:gd name="connsiteY146" fmla="*/ 1381125 h 1704975"/>
                <a:gd name="connsiteX147" fmla="*/ 391200 w 1293444"/>
                <a:gd name="connsiteY147" fmla="*/ 1368425 h 1704975"/>
                <a:gd name="connsiteX148" fmla="*/ 388025 w 1293444"/>
                <a:gd name="connsiteY148" fmla="*/ 1352550 h 1704975"/>
                <a:gd name="connsiteX149" fmla="*/ 381675 w 1293444"/>
                <a:gd name="connsiteY149" fmla="*/ 1333500 h 1704975"/>
                <a:gd name="connsiteX150" fmla="*/ 378500 w 1293444"/>
                <a:gd name="connsiteY150" fmla="*/ 1323975 h 1704975"/>
                <a:gd name="connsiteX151" fmla="*/ 375325 w 1293444"/>
                <a:gd name="connsiteY151" fmla="*/ 1308100 h 1704975"/>
                <a:gd name="connsiteX152" fmla="*/ 368975 w 1293444"/>
                <a:gd name="connsiteY152" fmla="*/ 1289050 h 1704975"/>
                <a:gd name="connsiteX153" fmla="*/ 362625 w 1293444"/>
                <a:gd name="connsiteY153" fmla="*/ 1260475 h 1704975"/>
                <a:gd name="connsiteX154" fmla="*/ 359450 w 1293444"/>
                <a:gd name="connsiteY154" fmla="*/ 1231900 h 1704975"/>
                <a:gd name="connsiteX155" fmla="*/ 349925 w 1293444"/>
                <a:gd name="connsiteY155" fmla="*/ 1196975 h 1704975"/>
                <a:gd name="connsiteX156" fmla="*/ 340400 w 1293444"/>
                <a:gd name="connsiteY156" fmla="*/ 1155700 h 1704975"/>
                <a:gd name="connsiteX157" fmla="*/ 334050 w 1293444"/>
                <a:gd name="connsiteY157" fmla="*/ 1130300 h 1704975"/>
                <a:gd name="connsiteX158" fmla="*/ 327700 w 1293444"/>
                <a:gd name="connsiteY158" fmla="*/ 1104900 h 1704975"/>
                <a:gd name="connsiteX159" fmla="*/ 324525 w 1293444"/>
                <a:gd name="connsiteY159" fmla="*/ 1092200 h 1704975"/>
                <a:gd name="connsiteX160" fmla="*/ 318175 w 1293444"/>
                <a:gd name="connsiteY160" fmla="*/ 1050925 h 1704975"/>
                <a:gd name="connsiteX161" fmla="*/ 315000 w 1293444"/>
                <a:gd name="connsiteY161" fmla="*/ 1031875 h 1704975"/>
                <a:gd name="connsiteX162" fmla="*/ 311825 w 1293444"/>
                <a:gd name="connsiteY162" fmla="*/ 1022350 h 1704975"/>
                <a:gd name="connsiteX163" fmla="*/ 308650 w 1293444"/>
                <a:gd name="connsiteY163" fmla="*/ 1006475 h 1704975"/>
                <a:gd name="connsiteX164" fmla="*/ 302300 w 1293444"/>
                <a:gd name="connsiteY164" fmla="*/ 987425 h 1704975"/>
                <a:gd name="connsiteX165" fmla="*/ 299125 w 1293444"/>
                <a:gd name="connsiteY165" fmla="*/ 974725 h 1704975"/>
                <a:gd name="connsiteX166" fmla="*/ 292775 w 1293444"/>
                <a:gd name="connsiteY166" fmla="*/ 955675 h 1704975"/>
                <a:gd name="connsiteX167" fmla="*/ 289600 w 1293444"/>
                <a:gd name="connsiteY167" fmla="*/ 946150 h 1704975"/>
                <a:gd name="connsiteX168" fmla="*/ 280075 w 1293444"/>
                <a:gd name="connsiteY168" fmla="*/ 923925 h 1704975"/>
                <a:gd name="connsiteX169" fmla="*/ 261025 w 1293444"/>
                <a:gd name="connsiteY169" fmla="*/ 908050 h 1704975"/>
                <a:gd name="connsiteX170" fmla="*/ 241975 w 1293444"/>
                <a:gd name="connsiteY170" fmla="*/ 901700 h 1704975"/>
                <a:gd name="connsiteX171" fmla="*/ 222925 w 1293444"/>
                <a:gd name="connsiteY171" fmla="*/ 889000 h 1704975"/>
                <a:gd name="connsiteX172" fmla="*/ 213400 w 1293444"/>
                <a:gd name="connsiteY172" fmla="*/ 885825 h 1704975"/>
                <a:gd name="connsiteX173" fmla="*/ 194350 w 1293444"/>
                <a:gd name="connsiteY173" fmla="*/ 873125 h 1704975"/>
                <a:gd name="connsiteX174" fmla="*/ 175300 w 1293444"/>
                <a:gd name="connsiteY174" fmla="*/ 860425 h 1704975"/>
                <a:gd name="connsiteX175" fmla="*/ 162600 w 1293444"/>
                <a:gd name="connsiteY175" fmla="*/ 850900 h 1704975"/>
                <a:gd name="connsiteX176" fmla="*/ 153075 w 1293444"/>
                <a:gd name="connsiteY176" fmla="*/ 847725 h 1704975"/>
                <a:gd name="connsiteX177" fmla="*/ 134025 w 1293444"/>
                <a:gd name="connsiteY177" fmla="*/ 835025 h 1704975"/>
                <a:gd name="connsiteX178" fmla="*/ 114975 w 1293444"/>
                <a:gd name="connsiteY178" fmla="*/ 822325 h 1704975"/>
                <a:gd name="connsiteX179" fmla="*/ 105450 w 1293444"/>
                <a:gd name="connsiteY179" fmla="*/ 815975 h 1704975"/>
                <a:gd name="connsiteX180" fmla="*/ 95925 w 1293444"/>
                <a:gd name="connsiteY180" fmla="*/ 812800 h 1704975"/>
                <a:gd name="connsiteX181" fmla="*/ 64175 w 1293444"/>
                <a:gd name="connsiteY181" fmla="*/ 790575 h 1704975"/>
                <a:gd name="connsiteX182" fmla="*/ 54650 w 1293444"/>
                <a:gd name="connsiteY182" fmla="*/ 787400 h 1704975"/>
                <a:gd name="connsiteX183" fmla="*/ 38775 w 1293444"/>
                <a:gd name="connsiteY183" fmla="*/ 771525 h 1704975"/>
                <a:gd name="connsiteX184" fmla="*/ 29250 w 1293444"/>
                <a:gd name="connsiteY184" fmla="*/ 762000 h 1704975"/>
                <a:gd name="connsiteX185" fmla="*/ 19725 w 1293444"/>
                <a:gd name="connsiteY185" fmla="*/ 758825 h 1704975"/>
                <a:gd name="connsiteX186" fmla="*/ 675 w 1293444"/>
                <a:gd name="connsiteY186" fmla="*/ 746125 h 1704975"/>
                <a:gd name="connsiteX187" fmla="*/ 51475 w 1293444"/>
                <a:gd name="connsiteY187" fmla="*/ 739775 h 1704975"/>
                <a:gd name="connsiteX188" fmla="*/ 67350 w 1293444"/>
                <a:gd name="connsiteY188" fmla="*/ 736600 h 1704975"/>
                <a:gd name="connsiteX189" fmla="*/ 102275 w 1293444"/>
                <a:gd name="connsiteY189" fmla="*/ 733425 h 1704975"/>
                <a:gd name="connsiteX190" fmla="*/ 130850 w 1293444"/>
                <a:gd name="connsiteY190" fmla="*/ 727075 h 1704975"/>
                <a:gd name="connsiteX191" fmla="*/ 149900 w 1293444"/>
                <a:gd name="connsiteY191" fmla="*/ 723900 h 1704975"/>
                <a:gd name="connsiteX192" fmla="*/ 159425 w 1293444"/>
                <a:gd name="connsiteY192" fmla="*/ 720725 h 1704975"/>
                <a:gd name="connsiteX193" fmla="*/ 175300 w 1293444"/>
                <a:gd name="connsiteY193" fmla="*/ 717550 h 1704975"/>
                <a:gd name="connsiteX194" fmla="*/ 194350 w 1293444"/>
                <a:gd name="connsiteY194" fmla="*/ 711200 h 1704975"/>
                <a:gd name="connsiteX195" fmla="*/ 222925 w 1293444"/>
                <a:gd name="connsiteY195" fmla="*/ 701675 h 1704975"/>
                <a:gd name="connsiteX196" fmla="*/ 232450 w 1293444"/>
                <a:gd name="connsiteY196" fmla="*/ 698500 h 1704975"/>
                <a:gd name="connsiteX197" fmla="*/ 241975 w 1293444"/>
                <a:gd name="connsiteY197" fmla="*/ 695325 h 1704975"/>
                <a:gd name="connsiteX198" fmla="*/ 381675 w 1293444"/>
                <a:gd name="connsiteY198" fmla="*/ 688975 h 1704975"/>
                <a:gd name="connsiteX199" fmla="*/ 397550 w 1293444"/>
                <a:gd name="connsiteY199" fmla="*/ 685800 h 1704975"/>
                <a:gd name="connsiteX200" fmla="*/ 407075 w 1293444"/>
                <a:gd name="connsiteY200" fmla="*/ 682625 h 1704975"/>
                <a:gd name="connsiteX201" fmla="*/ 419775 w 1293444"/>
                <a:gd name="connsiteY201" fmla="*/ 679450 h 1704975"/>
                <a:gd name="connsiteX202" fmla="*/ 438825 w 1293444"/>
                <a:gd name="connsiteY202" fmla="*/ 673100 h 1704975"/>
                <a:gd name="connsiteX203" fmla="*/ 467400 w 1293444"/>
                <a:gd name="connsiteY203" fmla="*/ 663575 h 1704975"/>
                <a:gd name="connsiteX204" fmla="*/ 495975 w 1293444"/>
                <a:gd name="connsiteY204" fmla="*/ 654050 h 1704975"/>
                <a:gd name="connsiteX205" fmla="*/ 505500 w 1293444"/>
                <a:gd name="connsiteY205" fmla="*/ 650875 h 1704975"/>
                <a:gd name="connsiteX206" fmla="*/ 527725 w 1293444"/>
                <a:gd name="connsiteY206" fmla="*/ 641350 h 1704975"/>
                <a:gd name="connsiteX207" fmla="*/ 537250 w 1293444"/>
                <a:gd name="connsiteY207" fmla="*/ 635000 h 1704975"/>
                <a:gd name="connsiteX208" fmla="*/ 546775 w 1293444"/>
                <a:gd name="connsiteY208" fmla="*/ 631825 h 1704975"/>
                <a:gd name="connsiteX209" fmla="*/ 559475 w 1293444"/>
                <a:gd name="connsiteY209" fmla="*/ 625475 h 1704975"/>
                <a:gd name="connsiteX210" fmla="*/ 578525 w 1293444"/>
                <a:gd name="connsiteY210" fmla="*/ 657225 h 1704975"/>
                <a:gd name="connsiteX211" fmla="*/ 588050 w 1293444"/>
                <a:gd name="connsiteY211" fmla="*/ 660400 h 1704975"/>
                <a:gd name="connsiteX212" fmla="*/ 607100 w 1293444"/>
                <a:gd name="connsiteY212" fmla="*/ 673100 h 1704975"/>
                <a:gd name="connsiteX213" fmla="*/ 626150 w 1293444"/>
                <a:gd name="connsiteY213" fmla="*/ 679450 h 1704975"/>
                <a:gd name="connsiteX214" fmla="*/ 635675 w 1293444"/>
                <a:gd name="connsiteY214" fmla="*/ 685800 h 1704975"/>
                <a:gd name="connsiteX215" fmla="*/ 654725 w 1293444"/>
                <a:gd name="connsiteY215" fmla="*/ 692150 h 1704975"/>
                <a:gd name="connsiteX216" fmla="*/ 645200 w 1293444"/>
                <a:gd name="connsiteY216" fmla="*/ 682625 h 1704975"/>
                <a:gd name="connsiteX217" fmla="*/ 635675 w 1293444"/>
                <a:gd name="connsiteY217" fmla="*/ 676275 h 1704975"/>
                <a:gd name="connsiteX218" fmla="*/ 632500 w 1293444"/>
                <a:gd name="connsiteY218" fmla="*/ 666750 h 1704975"/>
                <a:gd name="connsiteX219" fmla="*/ 635675 w 1293444"/>
                <a:gd name="connsiteY219" fmla="*/ 590550 h 1704975"/>
                <a:gd name="connsiteX220" fmla="*/ 642025 w 1293444"/>
                <a:gd name="connsiteY220" fmla="*/ 571500 h 1704975"/>
                <a:gd name="connsiteX221" fmla="*/ 648375 w 1293444"/>
                <a:gd name="connsiteY221" fmla="*/ 561975 h 1704975"/>
                <a:gd name="connsiteX222" fmla="*/ 638850 w 1293444"/>
                <a:gd name="connsiteY222" fmla="*/ 536575 h 1704975"/>
                <a:gd name="connsiteX223" fmla="*/ 629325 w 1293444"/>
                <a:gd name="connsiteY223" fmla="*/ 533400 h 1704975"/>
                <a:gd name="connsiteX224" fmla="*/ 626150 w 1293444"/>
                <a:gd name="connsiteY224" fmla="*/ 523875 h 1704975"/>
                <a:gd name="connsiteX225" fmla="*/ 632500 w 1293444"/>
                <a:gd name="connsiteY225" fmla="*/ 498475 h 1704975"/>
                <a:gd name="connsiteX226" fmla="*/ 635675 w 1293444"/>
                <a:gd name="connsiteY226" fmla="*/ 485775 h 1704975"/>
                <a:gd name="connsiteX227" fmla="*/ 626150 w 1293444"/>
                <a:gd name="connsiteY227" fmla="*/ 463550 h 1704975"/>
                <a:gd name="connsiteX228" fmla="*/ 616625 w 1293444"/>
                <a:gd name="connsiteY228" fmla="*/ 460375 h 1704975"/>
                <a:gd name="connsiteX229" fmla="*/ 607100 w 1293444"/>
                <a:gd name="connsiteY229" fmla="*/ 454025 h 1704975"/>
                <a:gd name="connsiteX230" fmla="*/ 591225 w 1293444"/>
                <a:gd name="connsiteY230" fmla="*/ 450850 h 1704975"/>
                <a:gd name="connsiteX231" fmla="*/ 569000 w 1293444"/>
                <a:gd name="connsiteY231" fmla="*/ 441325 h 1704975"/>
                <a:gd name="connsiteX232" fmla="*/ 546775 w 1293444"/>
                <a:gd name="connsiteY232" fmla="*/ 415925 h 1704975"/>
                <a:gd name="connsiteX233" fmla="*/ 540425 w 1293444"/>
                <a:gd name="connsiteY233" fmla="*/ 406400 h 1704975"/>
                <a:gd name="connsiteX234" fmla="*/ 530900 w 1293444"/>
                <a:gd name="connsiteY234" fmla="*/ 400050 h 1704975"/>
                <a:gd name="connsiteX235" fmla="*/ 508675 w 1293444"/>
                <a:gd name="connsiteY235" fmla="*/ 374650 h 1704975"/>
                <a:gd name="connsiteX236" fmla="*/ 502325 w 1293444"/>
                <a:gd name="connsiteY236" fmla="*/ 365125 h 1704975"/>
                <a:gd name="connsiteX237" fmla="*/ 483275 w 1293444"/>
                <a:gd name="connsiteY237" fmla="*/ 346075 h 1704975"/>
                <a:gd name="connsiteX238" fmla="*/ 486450 w 1293444"/>
                <a:gd name="connsiteY238" fmla="*/ 333375 h 1704975"/>
                <a:gd name="connsiteX239" fmla="*/ 492800 w 1293444"/>
                <a:gd name="connsiteY239" fmla="*/ 314325 h 1704975"/>
                <a:gd name="connsiteX240" fmla="*/ 489625 w 1293444"/>
                <a:gd name="connsiteY240" fmla="*/ 292100 h 1704975"/>
                <a:gd name="connsiteX241" fmla="*/ 461050 w 1293444"/>
                <a:gd name="connsiteY241" fmla="*/ 266700 h 1704975"/>
                <a:gd name="connsiteX242" fmla="*/ 435650 w 1293444"/>
                <a:gd name="connsiteY242" fmla="*/ 254000 h 1704975"/>
                <a:gd name="connsiteX243" fmla="*/ 413425 w 1293444"/>
                <a:gd name="connsiteY243" fmla="*/ 238125 h 1704975"/>
                <a:gd name="connsiteX244" fmla="*/ 403900 w 1293444"/>
                <a:gd name="connsiteY244" fmla="*/ 231775 h 1704975"/>
                <a:gd name="connsiteX245" fmla="*/ 388025 w 1293444"/>
                <a:gd name="connsiteY245" fmla="*/ 212725 h 1704975"/>
                <a:gd name="connsiteX246" fmla="*/ 372150 w 1293444"/>
                <a:gd name="connsiteY246" fmla="*/ 196850 h 1704975"/>
                <a:gd name="connsiteX247" fmla="*/ 362625 w 1293444"/>
                <a:gd name="connsiteY247" fmla="*/ 114300 h 1704975"/>
                <a:gd name="connsiteX248" fmla="*/ 368975 w 1293444"/>
                <a:gd name="connsiteY248" fmla="*/ 104775 h 1704975"/>
                <a:gd name="connsiteX249" fmla="*/ 375325 w 1293444"/>
                <a:gd name="connsiteY249"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32475 w 1293444"/>
                <a:gd name="connsiteY139" fmla="*/ 1495425 h 1704975"/>
                <a:gd name="connsiteX140" fmla="*/ 429300 w 1293444"/>
                <a:gd name="connsiteY140" fmla="*/ 1485900 h 1704975"/>
                <a:gd name="connsiteX141" fmla="*/ 426125 w 1293444"/>
                <a:gd name="connsiteY141" fmla="*/ 1473200 h 1704975"/>
                <a:gd name="connsiteX142" fmla="*/ 419775 w 1293444"/>
                <a:gd name="connsiteY142" fmla="*/ 1463675 h 1704975"/>
                <a:gd name="connsiteX143" fmla="*/ 416600 w 1293444"/>
                <a:gd name="connsiteY143" fmla="*/ 1454150 h 1704975"/>
                <a:gd name="connsiteX144" fmla="*/ 403900 w 1293444"/>
                <a:gd name="connsiteY144" fmla="*/ 1435100 h 1704975"/>
                <a:gd name="connsiteX145" fmla="*/ 397550 w 1293444"/>
                <a:gd name="connsiteY145" fmla="*/ 1416050 h 1704975"/>
                <a:gd name="connsiteX146" fmla="*/ 394375 w 1293444"/>
                <a:gd name="connsiteY146" fmla="*/ 1381125 h 1704975"/>
                <a:gd name="connsiteX147" fmla="*/ 391200 w 1293444"/>
                <a:gd name="connsiteY147" fmla="*/ 1368425 h 1704975"/>
                <a:gd name="connsiteX148" fmla="*/ 388025 w 1293444"/>
                <a:gd name="connsiteY148" fmla="*/ 1352550 h 1704975"/>
                <a:gd name="connsiteX149" fmla="*/ 381675 w 1293444"/>
                <a:gd name="connsiteY149" fmla="*/ 1333500 h 1704975"/>
                <a:gd name="connsiteX150" fmla="*/ 378500 w 1293444"/>
                <a:gd name="connsiteY150" fmla="*/ 1323975 h 1704975"/>
                <a:gd name="connsiteX151" fmla="*/ 375325 w 1293444"/>
                <a:gd name="connsiteY151" fmla="*/ 1308100 h 1704975"/>
                <a:gd name="connsiteX152" fmla="*/ 368975 w 1293444"/>
                <a:gd name="connsiteY152" fmla="*/ 1289050 h 1704975"/>
                <a:gd name="connsiteX153" fmla="*/ 362625 w 1293444"/>
                <a:gd name="connsiteY153" fmla="*/ 1260475 h 1704975"/>
                <a:gd name="connsiteX154" fmla="*/ 359450 w 1293444"/>
                <a:gd name="connsiteY154" fmla="*/ 1231900 h 1704975"/>
                <a:gd name="connsiteX155" fmla="*/ 349925 w 1293444"/>
                <a:gd name="connsiteY155" fmla="*/ 1196975 h 1704975"/>
                <a:gd name="connsiteX156" fmla="*/ 340400 w 1293444"/>
                <a:gd name="connsiteY156" fmla="*/ 1155700 h 1704975"/>
                <a:gd name="connsiteX157" fmla="*/ 334050 w 1293444"/>
                <a:gd name="connsiteY157" fmla="*/ 1130300 h 1704975"/>
                <a:gd name="connsiteX158" fmla="*/ 327700 w 1293444"/>
                <a:gd name="connsiteY158" fmla="*/ 1104900 h 1704975"/>
                <a:gd name="connsiteX159" fmla="*/ 324525 w 1293444"/>
                <a:gd name="connsiteY159" fmla="*/ 1092200 h 1704975"/>
                <a:gd name="connsiteX160" fmla="*/ 318175 w 1293444"/>
                <a:gd name="connsiteY160" fmla="*/ 1050925 h 1704975"/>
                <a:gd name="connsiteX161" fmla="*/ 315000 w 1293444"/>
                <a:gd name="connsiteY161" fmla="*/ 1031875 h 1704975"/>
                <a:gd name="connsiteX162" fmla="*/ 311825 w 1293444"/>
                <a:gd name="connsiteY162" fmla="*/ 1022350 h 1704975"/>
                <a:gd name="connsiteX163" fmla="*/ 308650 w 1293444"/>
                <a:gd name="connsiteY163" fmla="*/ 1006475 h 1704975"/>
                <a:gd name="connsiteX164" fmla="*/ 302300 w 1293444"/>
                <a:gd name="connsiteY164" fmla="*/ 987425 h 1704975"/>
                <a:gd name="connsiteX165" fmla="*/ 299125 w 1293444"/>
                <a:gd name="connsiteY165" fmla="*/ 974725 h 1704975"/>
                <a:gd name="connsiteX166" fmla="*/ 292775 w 1293444"/>
                <a:gd name="connsiteY166" fmla="*/ 955675 h 1704975"/>
                <a:gd name="connsiteX167" fmla="*/ 289600 w 1293444"/>
                <a:gd name="connsiteY167" fmla="*/ 946150 h 1704975"/>
                <a:gd name="connsiteX168" fmla="*/ 280075 w 1293444"/>
                <a:gd name="connsiteY168" fmla="*/ 923925 h 1704975"/>
                <a:gd name="connsiteX169" fmla="*/ 261025 w 1293444"/>
                <a:gd name="connsiteY169" fmla="*/ 908050 h 1704975"/>
                <a:gd name="connsiteX170" fmla="*/ 241975 w 1293444"/>
                <a:gd name="connsiteY170" fmla="*/ 901700 h 1704975"/>
                <a:gd name="connsiteX171" fmla="*/ 222925 w 1293444"/>
                <a:gd name="connsiteY171" fmla="*/ 889000 h 1704975"/>
                <a:gd name="connsiteX172" fmla="*/ 213400 w 1293444"/>
                <a:gd name="connsiteY172" fmla="*/ 885825 h 1704975"/>
                <a:gd name="connsiteX173" fmla="*/ 194350 w 1293444"/>
                <a:gd name="connsiteY173" fmla="*/ 873125 h 1704975"/>
                <a:gd name="connsiteX174" fmla="*/ 175300 w 1293444"/>
                <a:gd name="connsiteY174" fmla="*/ 860425 h 1704975"/>
                <a:gd name="connsiteX175" fmla="*/ 162600 w 1293444"/>
                <a:gd name="connsiteY175" fmla="*/ 850900 h 1704975"/>
                <a:gd name="connsiteX176" fmla="*/ 153075 w 1293444"/>
                <a:gd name="connsiteY176" fmla="*/ 847725 h 1704975"/>
                <a:gd name="connsiteX177" fmla="*/ 134025 w 1293444"/>
                <a:gd name="connsiteY177" fmla="*/ 835025 h 1704975"/>
                <a:gd name="connsiteX178" fmla="*/ 114975 w 1293444"/>
                <a:gd name="connsiteY178" fmla="*/ 822325 h 1704975"/>
                <a:gd name="connsiteX179" fmla="*/ 105450 w 1293444"/>
                <a:gd name="connsiteY179" fmla="*/ 815975 h 1704975"/>
                <a:gd name="connsiteX180" fmla="*/ 95925 w 1293444"/>
                <a:gd name="connsiteY180" fmla="*/ 812800 h 1704975"/>
                <a:gd name="connsiteX181" fmla="*/ 64175 w 1293444"/>
                <a:gd name="connsiteY181" fmla="*/ 790575 h 1704975"/>
                <a:gd name="connsiteX182" fmla="*/ 54650 w 1293444"/>
                <a:gd name="connsiteY182" fmla="*/ 787400 h 1704975"/>
                <a:gd name="connsiteX183" fmla="*/ 38775 w 1293444"/>
                <a:gd name="connsiteY183" fmla="*/ 771525 h 1704975"/>
                <a:gd name="connsiteX184" fmla="*/ 29250 w 1293444"/>
                <a:gd name="connsiteY184" fmla="*/ 762000 h 1704975"/>
                <a:gd name="connsiteX185" fmla="*/ 19725 w 1293444"/>
                <a:gd name="connsiteY185" fmla="*/ 758825 h 1704975"/>
                <a:gd name="connsiteX186" fmla="*/ 675 w 1293444"/>
                <a:gd name="connsiteY186" fmla="*/ 746125 h 1704975"/>
                <a:gd name="connsiteX187" fmla="*/ 51475 w 1293444"/>
                <a:gd name="connsiteY187" fmla="*/ 739775 h 1704975"/>
                <a:gd name="connsiteX188" fmla="*/ 67350 w 1293444"/>
                <a:gd name="connsiteY188" fmla="*/ 736600 h 1704975"/>
                <a:gd name="connsiteX189" fmla="*/ 102275 w 1293444"/>
                <a:gd name="connsiteY189" fmla="*/ 733425 h 1704975"/>
                <a:gd name="connsiteX190" fmla="*/ 130850 w 1293444"/>
                <a:gd name="connsiteY190" fmla="*/ 727075 h 1704975"/>
                <a:gd name="connsiteX191" fmla="*/ 149900 w 1293444"/>
                <a:gd name="connsiteY191" fmla="*/ 723900 h 1704975"/>
                <a:gd name="connsiteX192" fmla="*/ 159425 w 1293444"/>
                <a:gd name="connsiteY192" fmla="*/ 720725 h 1704975"/>
                <a:gd name="connsiteX193" fmla="*/ 175300 w 1293444"/>
                <a:gd name="connsiteY193" fmla="*/ 717550 h 1704975"/>
                <a:gd name="connsiteX194" fmla="*/ 194350 w 1293444"/>
                <a:gd name="connsiteY194" fmla="*/ 711200 h 1704975"/>
                <a:gd name="connsiteX195" fmla="*/ 222925 w 1293444"/>
                <a:gd name="connsiteY195" fmla="*/ 701675 h 1704975"/>
                <a:gd name="connsiteX196" fmla="*/ 232450 w 1293444"/>
                <a:gd name="connsiteY196" fmla="*/ 698500 h 1704975"/>
                <a:gd name="connsiteX197" fmla="*/ 241975 w 1293444"/>
                <a:gd name="connsiteY197" fmla="*/ 695325 h 1704975"/>
                <a:gd name="connsiteX198" fmla="*/ 381675 w 1293444"/>
                <a:gd name="connsiteY198" fmla="*/ 688975 h 1704975"/>
                <a:gd name="connsiteX199" fmla="*/ 397550 w 1293444"/>
                <a:gd name="connsiteY199" fmla="*/ 685800 h 1704975"/>
                <a:gd name="connsiteX200" fmla="*/ 407075 w 1293444"/>
                <a:gd name="connsiteY200" fmla="*/ 682625 h 1704975"/>
                <a:gd name="connsiteX201" fmla="*/ 419775 w 1293444"/>
                <a:gd name="connsiteY201" fmla="*/ 679450 h 1704975"/>
                <a:gd name="connsiteX202" fmla="*/ 438825 w 1293444"/>
                <a:gd name="connsiteY202" fmla="*/ 673100 h 1704975"/>
                <a:gd name="connsiteX203" fmla="*/ 467400 w 1293444"/>
                <a:gd name="connsiteY203" fmla="*/ 663575 h 1704975"/>
                <a:gd name="connsiteX204" fmla="*/ 495975 w 1293444"/>
                <a:gd name="connsiteY204" fmla="*/ 654050 h 1704975"/>
                <a:gd name="connsiteX205" fmla="*/ 505500 w 1293444"/>
                <a:gd name="connsiteY205" fmla="*/ 650875 h 1704975"/>
                <a:gd name="connsiteX206" fmla="*/ 527725 w 1293444"/>
                <a:gd name="connsiteY206" fmla="*/ 641350 h 1704975"/>
                <a:gd name="connsiteX207" fmla="*/ 537250 w 1293444"/>
                <a:gd name="connsiteY207" fmla="*/ 635000 h 1704975"/>
                <a:gd name="connsiteX208" fmla="*/ 546775 w 1293444"/>
                <a:gd name="connsiteY208" fmla="*/ 631825 h 1704975"/>
                <a:gd name="connsiteX209" fmla="*/ 559475 w 1293444"/>
                <a:gd name="connsiteY209" fmla="*/ 625475 h 1704975"/>
                <a:gd name="connsiteX210" fmla="*/ 578525 w 1293444"/>
                <a:gd name="connsiteY210" fmla="*/ 657225 h 1704975"/>
                <a:gd name="connsiteX211" fmla="*/ 588050 w 1293444"/>
                <a:gd name="connsiteY211" fmla="*/ 660400 h 1704975"/>
                <a:gd name="connsiteX212" fmla="*/ 607100 w 1293444"/>
                <a:gd name="connsiteY212" fmla="*/ 673100 h 1704975"/>
                <a:gd name="connsiteX213" fmla="*/ 626150 w 1293444"/>
                <a:gd name="connsiteY213" fmla="*/ 679450 h 1704975"/>
                <a:gd name="connsiteX214" fmla="*/ 635675 w 1293444"/>
                <a:gd name="connsiteY214" fmla="*/ 685800 h 1704975"/>
                <a:gd name="connsiteX215" fmla="*/ 654725 w 1293444"/>
                <a:gd name="connsiteY215" fmla="*/ 692150 h 1704975"/>
                <a:gd name="connsiteX216" fmla="*/ 645200 w 1293444"/>
                <a:gd name="connsiteY216" fmla="*/ 682625 h 1704975"/>
                <a:gd name="connsiteX217" fmla="*/ 635675 w 1293444"/>
                <a:gd name="connsiteY217" fmla="*/ 676275 h 1704975"/>
                <a:gd name="connsiteX218" fmla="*/ 632500 w 1293444"/>
                <a:gd name="connsiteY218" fmla="*/ 666750 h 1704975"/>
                <a:gd name="connsiteX219" fmla="*/ 635675 w 1293444"/>
                <a:gd name="connsiteY219" fmla="*/ 590550 h 1704975"/>
                <a:gd name="connsiteX220" fmla="*/ 642025 w 1293444"/>
                <a:gd name="connsiteY220" fmla="*/ 571500 h 1704975"/>
                <a:gd name="connsiteX221" fmla="*/ 648375 w 1293444"/>
                <a:gd name="connsiteY221" fmla="*/ 561975 h 1704975"/>
                <a:gd name="connsiteX222" fmla="*/ 638850 w 1293444"/>
                <a:gd name="connsiteY222" fmla="*/ 536575 h 1704975"/>
                <a:gd name="connsiteX223" fmla="*/ 629325 w 1293444"/>
                <a:gd name="connsiteY223" fmla="*/ 533400 h 1704975"/>
                <a:gd name="connsiteX224" fmla="*/ 626150 w 1293444"/>
                <a:gd name="connsiteY224" fmla="*/ 523875 h 1704975"/>
                <a:gd name="connsiteX225" fmla="*/ 632500 w 1293444"/>
                <a:gd name="connsiteY225" fmla="*/ 498475 h 1704975"/>
                <a:gd name="connsiteX226" fmla="*/ 635675 w 1293444"/>
                <a:gd name="connsiteY226" fmla="*/ 485775 h 1704975"/>
                <a:gd name="connsiteX227" fmla="*/ 626150 w 1293444"/>
                <a:gd name="connsiteY227" fmla="*/ 463550 h 1704975"/>
                <a:gd name="connsiteX228" fmla="*/ 616625 w 1293444"/>
                <a:gd name="connsiteY228" fmla="*/ 460375 h 1704975"/>
                <a:gd name="connsiteX229" fmla="*/ 607100 w 1293444"/>
                <a:gd name="connsiteY229" fmla="*/ 454025 h 1704975"/>
                <a:gd name="connsiteX230" fmla="*/ 591225 w 1293444"/>
                <a:gd name="connsiteY230" fmla="*/ 450850 h 1704975"/>
                <a:gd name="connsiteX231" fmla="*/ 569000 w 1293444"/>
                <a:gd name="connsiteY231" fmla="*/ 441325 h 1704975"/>
                <a:gd name="connsiteX232" fmla="*/ 546775 w 1293444"/>
                <a:gd name="connsiteY232" fmla="*/ 415925 h 1704975"/>
                <a:gd name="connsiteX233" fmla="*/ 540425 w 1293444"/>
                <a:gd name="connsiteY233" fmla="*/ 406400 h 1704975"/>
                <a:gd name="connsiteX234" fmla="*/ 530900 w 1293444"/>
                <a:gd name="connsiteY234" fmla="*/ 400050 h 1704975"/>
                <a:gd name="connsiteX235" fmla="*/ 508675 w 1293444"/>
                <a:gd name="connsiteY235" fmla="*/ 374650 h 1704975"/>
                <a:gd name="connsiteX236" fmla="*/ 502325 w 1293444"/>
                <a:gd name="connsiteY236" fmla="*/ 365125 h 1704975"/>
                <a:gd name="connsiteX237" fmla="*/ 483275 w 1293444"/>
                <a:gd name="connsiteY237" fmla="*/ 346075 h 1704975"/>
                <a:gd name="connsiteX238" fmla="*/ 486450 w 1293444"/>
                <a:gd name="connsiteY238" fmla="*/ 333375 h 1704975"/>
                <a:gd name="connsiteX239" fmla="*/ 492800 w 1293444"/>
                <a:gd name="connsiteY239" fmla="*/ 314325 h 1704975"/>
                <a:gd name="connsiteX240" fmla="*/ 489625 w 1293444"/>
                <a:gd name="connsiteY240" fmla="*/ 292100 h 1704975"/>
                <a:gd name="connsiteX241" fmla="*/ 461050 w 1293444"/>
                <a:gd name="connsiteY241" fmla="*/ 266700 h 1704975"/>
                <a:gd name="connsiteX242" fmla="*/ 435650 w 1293444"/>
                <a:gd name="connsiteY242" fmla="*/ 254000 h 1704975"/>
                <a:gd name="connsiteX243" fmla="*/ 413425 w 1293444"/>
                <a:gd name="connsiteY243" fmla="*/ 238125 h 1704975"/>
                <a:gd name="connsiteX244" fmla="*/ 403900 w 1293444"/>
                <a:gd name="connsiteY244" fmla="*/ 231775 h 1704975"/>
                <a:gd name="connsiteX245" fmla="*/ 388025 w 1293444"/>
                <a:gd name="connsiteY245" fmla="*/ 212725 h 1704975"/>
                <a:gd name="connsiteX246" fmla="*/ 362625 w 1293444"/>
                <a:gd name="connsiteY246" fmla="*/ 114300 h 1704975"/>
                <a:gd name="connsiteX247" fmla="*/ 368975 w 1293444"/>
                <a:gd name="connsiteY247" fmla="*/ 104775 h 1704975"/>
                <a:gd name="connsiteX248" fmla="*/ 375325 w 1293444"/>
                <a:gd name="connsiteY248"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32475 w 1293444"/>
                <a:gd name="connsiteY139" fmla="*/ 1495425 h 1704975"/>
                <a:gd name="connsiteX140" fmla="*/ 429300 w 1293444"/>
                <a:gd name="connsiteY140" fmla="*/ 1485900 h 1704975"/>
                <a:gd name="connsiteX141" fmla="*/ 426125 w 1293444"/>
                <a:gd name="connsiteY141" fmla="*/ 1473200 h 1704975"/>
                <a:gd name="connsiteX142" fmla="*/ 419775 w 1293444"/>
                <a:gd name="connsiteY142" fmla="*/ 1463675 h 1704975"/>
                <a:gd name="connsiteX143" fmla="*/ 416600 w 1293444"/>
                <a:gd name="connsiteY143" fmla="*/ 1454150 h 1704975"/>
                <a:gd name="connsiteX144" fmla="*/ 403900 w 1293444"/>
                <a:gd name="connsiteY144" fmla="*/ 1435100 h 1704975"/>
                <a:gd name="connsiteX145" fmla="*/ 397550 w 1293444"/>
                <a:gd name="connsiteY145" fmla="*/ 1416050 h 1704975"/>
                <a:gd name="connsiteX146" fmla="*/ 394375 w 1293444"/>
                <a:gd name="connsiteY146" fmla="*/ 1381125 h 1704975"/>
                <a:gd name="connsiteX147" fmla="*/ 391200 w 1293444"/>
                <a:gd name="connsiteY147" fmla="*/ 1368425 h 1704975"/>
                <a:gd name="connsiteX148" fmla="*/ 388025 w 1293444"/>
                <a:gd name="connsiteY148" fmla="*/ 1352550 h 1704975"/>
                <a:gd name="connsiteX149" fmla="*/ 381675 w 1293444"/>
                <a:gd name="connsiteY149" fmla="*/ 1333500 h 1704975"/>
                <a:gd name="connsiteX150" fmla="*/ 378500 w 1293444"/>
                <a:gd name="connsiteY150" fmla="*/ 1323975 h 1704975"/>
                <a:gd name="connsiteX151" fmla="*/ 375325 w 1293444"/>
                <a:gd name="connsiteY151" fmla="*/ 1308100 h 1704975"/>
                <a:gd name="connsiteX152" fmla="*/ 368975 w 1293444"/>
                <a:gd name="connsiteY152" fmla="*/ 1289050 h 1704975"/>
                <a:gd name="connsiteX153" fmla="*/ 362625 w 1293444"/>
                <a:gd name="connsiteY153" fmla="*/ 1260475 h 1704975"/>
                <a:gd name="connsiteX154" fmla="*/ 359450 w 1293444"/>
                <a:gd name="connsiteY154" fmla="*/ 1231900 h 1704975"/>
                <a:gd name="connsiteX155" fmla="*/ 349925 w 1293444"/>
                <a:gd name="connsiteY155" fmla="*/ 1196975 h 1704975"/>
                <a:gd name="connsiteX156" fmla="*/ 340400 w 1293444"/>
                <a:gd name="connsiteY156" fmla="*/ 1155700 h 1704975"/>
                <a:gd name="connsiteX157" fmla="*/ 334050 w 1293444"/>
                <a:gd name="connsiteY157" fmla="*/ 1130300 h 1704975"/>
                <a:gd name="connsiteX158" fmla="*/ 327700 w 1293444"/>
                <a:gd name="connsiteY158" fmla="*/ 1104900 h 1704975"/>
                <a:gd name="connsiteX159" fmla="*/ 324525 w 1293444"/>
                <a:gd name="connsiteY159" fmla="*/ 1092200 h 1704975"/>
                <a:gd name="connsiteX160" fmla="*/ 318175 w 1293444"/>
                <a:gd name="connsiteY160" fmla="*/ 1050925 h 1704975"/>
                <a:gd name="connsiteX161" fmla="*/ 315000 w 1293444"/>
                <a:gd name="connsiteY161" fmla="*/ 1031875 h 1704975"/>
                <a:gd name="connsiteX162" fmla="*/ 311825 w 1293444"/>
                <a:gd name="connsiteY162" fmla="*/ 1022350 h 1704975"/>
                <a:gd name="connsiteX163" fmla="*/ 308650 w 1293444"/>
                <a:gd name="connsiteY163" fmla="*/ 1006475 h 1704975"/>
                <a:gd name="connsiteX164" fmla="*/ 302300 w 1293444"/>
                <a:gd name="connsiteY164" fmla="*/ 987425 h 1704975"/>
                <a:gd name="connsiteX165" fmla="*/ 299125 w 1293444"/>
                <a:gd name="connsiteY165" fmla="*/ 974725 h 1704975"/>
                <a:gd name="connsiteX166" fmla="*/ 292775 w 1293444"/>
                <a:gd name="connsiteY166" fmla="*/ 955675 h 1704975"/>
                <a:gd name="connsiteX167" fmla="*/ 289600 w 1293444"/>
                <a:gd name="connsiteY167" fmla="*/ 946150 h 1704975"/>
                <a:gd name="connsiteX168" fmla="*/ 280075 w 1293444"/>
                <a:gd name="connsiteY168" fmla="*/ 923925 h 1704975"/>
                <a:gd name="connsiteX169" fmla="*/ 261025 w 1293444"/>
                <a:gd name="connsiteY169" fmla="*/ 908050 h 1704975"/>
                <a:gd name="connsiteX170" fmla="*/ 241975 w 1293444"/>
                <a:gd name="connsiteY170" fmla="*/ 901700 h 1704975"/>
                <a:gd name="connsiteX171" fmla="*/ 222925 w 1293444"/>
                <a:gd name="connsiteY171" fmla="*/ 889000 h 1704975"/>
                <a:gd name="connsiteX172" fmla="*/ 213400 w 1293444"/>
                <a:gd name="connsiteY172" fmla="*/ 885825 h 1704975"/>
                <a:gd name="connsiteX173" fmla="*/ 194350 w 1293444"/>
                <a:gd name="connsiteY173" fmla="*/ 873125 h 1704975"/>
                <a:gd name="connsiteX174" fmla="*/ 175300 w 1293444"/>
                <a:gd name="connsiteY174" fmla="*/ 860425 h 1704975"/>
                <a:gd name="connsiteX175" fmla="*/ 162600 w 1293444"/>
                <a:gd name="connsiteY175" fmla="*/ 850900 h 1704975"/>
                <a:gd name="connsiteX176" fmla="*/ 153075 w 1293444"/>
                <a:gd name="connsiteY176" fmla="*/ 847725 h 1704975"/>
                <a:gd name="connsiteX177" fmla="*/ 134025 w 1293444"/>
                <a:gd name="connsiteY177" fmla="*/ 835025 h 1704975"/>
                <a:gd name="connsiteX178" fmla="*/ 114975 w 1293444"/>
                <a:gd name="connsiteY178" fmla="*/ 822325 h 1704975"/>
                <a:gd name="connsiteX179" fmla="*/ 105450 w 1293444"/>
                <a:gd name="connsiteY179" fmla="*/ 815975 h 1704975"/>
                <a:gd name="connsiteX180" fmla="*/ 95925 w 1293444"/>
                <a:gd name="connsiteY180" fmla="*/ 812800 h 1704975"/>
                <a:gd name="connsiteX181" fmla="*/ 64175 w 1293444"/>
                <a:gd name="connsiteY181" fmla="*/ 790575 h 1704975"/>
                <a:gd name="connsiteX182" fmla="*/ 54650 w 1293444"/>
                <a:gd name="connsiteY182" fmla="*/ 787400 h 1704975"/>
                <a:gd name="connsiteX183" fmla="*/ 38775 w 1293444"/>
                <a:gd name="connsiteY183" fmla="*/ 771525 h 1704975"/>
                <a:gd name="connsiteX184" fmla="*/ 29250 w 1293444"/>
                <a:gd name="connsiteY184" fmla="*/ 762000 h 1704975"/>
                <a:gd name="connsiteX185" fmla="*/ 19725 w 1293444"/>
                <a:gd name="connsiteY185" fmla="*/ 758825 h 1704975"/>
                <a:gd name="connsiteX186" fmla="*/ 675 w 1293444"/>
                <a:gd name="connsiteY186" fmla="*/ 746125 h 1704975"/>
                <a:gd name="connsiteX187" fmla="*/ 51475 w 1293444"/>
                <a:gd name="connsiteY187" fmla="*/ 739775 h 1704975"/>
                <a:gd name="connsiteX188" fmla="*/ 67350 w 1293444"/>
                <a:gd name="connsiteY188" fmla="*/ 736600 h 1704975"/>
                <a:gd name="connsiteX189" fmla="*/ 102275 w 1293444"/>
                <a:gd name="connsiteY189" fmla="*/ 733425 h 1704975"/>
                <a:gd name="connsiteX190" fmla="*/ 130850 w 1293444"/>
                <a:gd name="connsiteY190" fmla="*/ 727075 h 1704975"/>
                <a:gd name="connsiteX191" fmla="*/ 149900 w 1293444"/>
                <a:gd name="connsiteY191" fmla="*/ 723900 h 1704975"/>
                <a:gd name="connsiteX192" fmla="*/ 159425 w 1293444"/>
                <a:gd name="connsiteY192" fmla="*/ 720725 h 1704975"/>
                <a:gd name="connsiteX193" fmla="*/ 175300 w 1293444"/>
                <a:gd name="connsiteY193" fmla="*/ 717550 h 1704975"/>
                <a:gd name="connsiteX194" fmla="*/ 194350 w 1293444"/>
                <a:gd name="connsiteY194" fmla="*/ 711200 h 1704975"/>
                <a:gd name="connsiteX195" fmla="*/ 222925 w 1293444"/>
                <a:gd name="connsiteY195" fmla="*/ 701675 h 1704975"/>
                <a:gd name="connsiteX196" fmla="*/ 232450 w 1293444"/>
                <a:gd name="connsiteY196" fmla="*/ 698500 h 1704975"/>
                <a:gd name="connsiteX197" fmla="*/ 241975 w 1293444"/>
                <a:gd name="connsiteY197" fmla="*/ 695325 h 1704975"/>
                <a:gd name="connsiteX198" fmla="*/ 381675 w 1293444"/>
                <a:gd name="connsiteY198" fmla="*/ 688975 h 1704975"/>
                <a:gd name="connsiteX199" fmla="*/ 397550 w 1293444"/>
                <a:gd name="connsiteY199" fmla="*/ 685800 h 1704975"/>
                <a:gd name="connsiteX200" fmla="*/ 407075 w 1293444"/>
                <a:gd name="connsiteY200" fmla="*/ 682625 h 1704975"/>
                <a:gd name="connsiteX201" fmla="*/ 419775 w 1293444"/>
                <a:gd name="connsiteY201" fmla="*/ 679450 h 1704975"/>
                <a:gd name="connsiteX202" fmla="*/ 438825 w 1293444"/>
                <a:gd name="connsiteY202" fmla="*/ 673100 h 1704975"/>
                <a:gd name="connsiteX203" fmla="*/ 467400 w 1293444"/>
                <a:gd name="connsiteY203" fmla="*/ 663575 h 1704975"/>
                <a:gd name="connsiteX204" fmla="*/ 495975 w 1293444"/>
                <a:gd name="connsiteY204" fmla="*/ 654050 h 1704975"/>
                <a:gd name="connsiteX205" fmla="*/ 505500 w 1293444"/>
                <a:gd name="connsiteY205" fmla="*/ 650875 h 1704975"/>
                <a:gd name="connsiteX206" fmla="*/ 527725 w 1293444"/>
                <a:gd name="connsiteY206" fmla="*/ 641350 h 1704975"/>
                <a:gd name="connsiteX207" fmla="*/ 537250 w 1293444"/>
                <a:gd name="connsiteY207" fmla="*/ 635000 h 1704975"/>
                <a:gd name="connsiteX208" fmla="*/ 546775 w 1293444"/>
                <a:gd name="connsiteY208" fmla="*/ 631825 h 1704975"/>
                <a:gd name="connsiteX209" fmla="*/ 559475 w 1293444"/>
                <a:gd name="connsiteY209" fmla="*/ 625475 h 1704975"/>
                <a:gd name="connsiteX210" fmla="*/ 578525 w 1293444"/>
                <a:gd name="connsiteY210" fmla="*/ 657225 h 1704975"/>
                <a:gd name="connsiteX211" fmla="*/ 588050 w 1293444"/>
                <a:gd name="connsiteY211" fmla="*/ 660400 h 1704975"/>
                <a:gd name="connsiteX212" fmla="*/ 607100 w 1293444"/>
                <a:gd name="connsiteY212" fmla="*/ 673100 h 1704975"/>
                <a:gd name="connsiteX213" fmla="*/ 626150 w 1293444"/>
                <a:gd name="connsiteY213" fmla="*/ 679450 h 1704975"/>
                <a:gd name="connsiteX214" fmla="*/ 635675 w 1293444"/>
                <a:gd name="connsiteY214" fmla="*/ 685800 h 1704975"/>
                <a:gd name="connsiteX215" fmla="*/ 654725 w 1293444"/>
                <a:gd name="connsiteY215" fmla="*/ 692150 h 1704975"/>
                <a:gd name="connsiteX216" fmla="*/ 645200 w 1293444"/>
                <a:gd name="connsiteY216" fmla="*/ 682625 h 1704975"/>
                <a:gd name="connsiteX217" fmla="*/ 635675 w 1293444"/>
                <a:gd name="connsiteY217" fmla="*/ 676275 h 1704975"/>
                <a:gd name="connsiteX218" fmla="*/ 632500 w 1293444"/>
                <a:gd name="connsiteY218" fmla="*/ 666750 h 1704975"/>
                <a:gd name="connsiteX219" fmla="*/ 635675 w 1293444"/>
                <a:gd name="connsiteY219" fmla="*/ 590550 h 1704975"/>
                <a:gd name="connsiteX220" fmla="*/ 642025 w 1293444"/>
                <a:gd name="connsiteY220" fmla="*/ 571500 h 1704975"/>
                <a:gd name="connsiteX221" fmla="*/ 648375 w 1293444"/>
                <a:gd name="connsiteY221" fmla="*/ 561975 h 1704975"/>
                <a:gd name="connsiteX222" fmla="*/ 638850 w 1293444"/>
                <a:gd name="connsiteY222" fmla="*/ 536575 h 1704975"/>
                <a:gd name="connsiteX223" fmla="*/ 629325 w 1293444"/>
                <a:gd name="connsiteY223" fmla="*/ 533400 h 1704975"/>
                <a:gd name="connsiteX224" fmla="*/ 626150 w 1293444"/>
                <a:gd name="connsiteY224" fmla="*/ 523875 h 1704975"/>
                <a:gd name="connsiteX225" fmla="*/ 632500 w 1293444"/>
                <a:gd name="connsiteY225" fmla="*/ 498475 h 1704975"/>
                <a:gd name="connsiteX226" fmla="*/ 635675 w 1293444"/>
                <a:gd name="connsiteY226" fmla="*/ 485775 h 1704975"/>
                <a:gd name="connsiteX227" fmla="*/ 626150 w 1293444"/>
                <a:gd name="connsiteY227" fmla="*/ 463550 h 1704975"/>
                <a:gd name="connsiteX228" fmla="*/ 616625 w 1293444"/>
                <a:gd name="connsiteY228" fmla="*/ 460375 h 1704975"/>
                <a:gd name="connsiteX229" fmla="*/ 607100 w 1293444"/>
                <a:gd name="connsiteY229" fmla="*/ 454025 h 1704975"/>
                <a:gd name="connsiteX230" fmla="*/ 591225 w 1293444"/>
                <a:gd name="connsiteY230" fmla="*/ 450850 h 1704975"/>
                <a:gd name="connsiteX231" fmla="*/ 569000 w 1293444"/>
                <a:gd name="connsiteY231" fmla="*/ 441325 h 1704975"/>
                <a:gd name="connsiteX232" fmla="*/ 546775 w 1293444"/>
                <a:gd name="connsiteY232" fmla="*/ 415925 h 1704975"/>
                <a:gd name="connsiteX233" fmla="*/ 540425 w 1293444"/>
                <a:gd name="connsiteY233" fmla="*/ 406400 h 1704975"/>
                <a:gd name="connsiteX234" fmla="*/ 530900 w 1293444"/>
                <a:gd name="connsiteY234" fmla="*/ 400050 h 1704975"/>
                <a:gd name="connsiteX235" fmla="*/ 508675 w 1293444"/>
                <a:gd name="connsiteY235" fmla="*/ 374650 h 1704975"/>
                <a:gd name="connsiteX236" fmla="*/ 502325 w 1293444"/>
                <a:gd name="connsiteY236" fmla="*/ 365125 h 1704975"/>
                <a:gd name="connsiteX237" fmla="*/ 483275 w 1293444"/>
                <a:gd name="connsiteY237" fmla="*/ 346075 h 1704975"/>
                <a:gd name="connsiteX238" fmla="*/ 486450 w 1293444"/>
                <a:gd name="connsiteY238" fmla="*/ 333375 h 1704975"/>
                <a:gd name="connsiteX239" fmla="*/ 492800 w 1293444"/>
                <a:gd name="connsiteY239" fmla="*/ 314325 h 1704975"/>
                <a:gd name="connsiteX240" fmla="*/ 489625 w 1293444"/>
                <a:gd name="connsiteY240" fmla="*/ 292100 h 1704975"/>
                <a:gd name="connsiteX241" fmla="*/ 461050 w 1293444"/>
                <a:gd name="connsiteY241" fmla="*/ 266700 h 1704975"/>
                <a:gd name="connsiteX242" fmla="*/ 435650 w 1293444"/>
                <a:gd name="connsiteY242" fmla="*/ 254000 h 1704975"/>
                <a:gd name="connsiteX243" fmla="*/ 413425 w 1293444"/>
                <a:gd name="connsiteY243" fmla="*/ 238125 h 1704975"/>
                <a:gd name="connsiteX244" fmla="*/ 403900 w 1293444"/>
                <a:gd name="connsiteY244" fmla="*/ 231775 h 1704975"/>
                <a:gd name="connsiteX245" fmla="*/ 362625 w 1293444"/>
                <a:gd name="connsiteY245" fmla="*/ 114300 h 1704975"/>
                <a:gd name="connsiteX246" fmla="*/ 368975 w 1293444"/>
                <a:gd name="connsiteY246" fmla="*/ 104775 h 1704975"/>
                <a:gd name="connsiteX247" fmla="*/ 375325 w 1293444"/>
                <a:gd name="connsiteY247"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32475 w 1293444"/>
                <a:gd name="connsiteY139" fmla="*/ 1495425 h 1704975"/>
                <a:gd name="connsiteX140" fmla="*/ 429300 w 1293444"/>
                <a:gd name="connsiteY140" fmla="*/ 1485900 h 1704975"/>
                <a:gd name="connsiteX141" fmla="*/ 426125 w 1293444"/>
                <a:gd name="connsiteY141" fmla="*/ 1473200 h 1704975"/>
                <a:gd name="connsiteX142" fmla="*/ 419775 w 1293444"/>
                <a:gd name="connsiteY142" fmla="*/ 1463675 h 1704975"/>
                <a:gd name="connsiteX143" fmla="*/ 416600 w 1293444"/>
                <a:gd name="connsiteY143" fmla="*/ 1454150 h 1704975"/>
                <a:gd name="connsiteX144" fmla="*/ 403900 w 1293444"/>
                <a:gd name="connsiteY144" fmla="*/ 1435100 h 1704975"/>
                <a:gd name="connsiteX145" fmla="*/ 397550 w 1293444"/>
                <a:gd name="connsiteY145" fmla="*/ 1416050 h 1704975"/>
                <a:gd name="connsiteX146" fmla="*/ 394375 w 1293444"/>
                <a:gd name="connsiteY146" fmla="*/ 1381125 h 1704975"/>
                <a:gd name="connsiteX147" fmla="*/ 391200 w 1293444"/>
                <a:gd name="connsiteY147" fmla="*/ 1368425 h 1704975"/>
                <a:gd name="connsiteX148" fmla="*/ 388025 w 1293444"/>
                <a:gd name="connsiteY148" fmla="*/ 1352550 h 1704975"/>
                <a:gd name="connsiteX149" fmla="*/ 381675 w 1293444"/>
                <a:gd name="connsiteY149" fmla="*/ 1333500 h 1704975"/>
                <a:gd name="connsiteX150" fmla="*/ 378500 w 1293444"/>
                <a:gd name="connsiteY150" fmla="*/ 1323975 h 1704975"/>
                <a:gd name="connsiteX151" fmla="*/ 375325 w 1293444"/>
                <a:gd name="connsiteY151" fmla="*/ 1308100 h 1704975"/>
                <a:gd name="connsiteX152" fmla="*/ 368975 w 1293444"/>
                <a:gd name="connsiteY152" fmla="*/ 1289050 h 1704975"/>
                <a:gd name="connsiteX153" fmla="*/ 362625 w 1293444"/>
                <a:gd name="connsiteY153" fmla="*/ 1260475 h 1704975"/>
                <a:gd name="connsiteX154" fmla="*/ 359450 w 1293444"/>
                <a:gd name="connsiteY154" fmla="*/ 1231900 h 1704975"/>
                <a:gd name="connsiteX155" fmla="*/ 349925 w 1293444"/>
                <a:gd name="connsiteY155" fmla="*/ 1196975 h 1704975"/>
                <a:gd name="connsiteX156" fmla="*/ 340400 w 1293444"/>
                <a:gd name="connsiteY156" fmla="*/ 1155700 h 1704975"/>
                <a:gd name="connsiteX157" fmla="*/ 334050 w 1293444"/>
                <a:gd name="connsiteY157" fmla="*/ 1130300 h 1704975"/>
                <a:gd name="connsiteX158" fmla="*/ 327700 w 1293444"/>
                <a:gd name="connsiteY158" fmla="*/ 1104900 h 1704975"/>
                <a:gd name="connsiteX159" fmla="*/ 324525 w 1293444"/>
                <a:gd name="connsiteY159" fmla="*/ 1092200 h 1704975"/>
                <a:gd name="connsiteX160" fmla="*/ 318175 w 1293444"/>
                <a:gd name="connsiteY160" fmla="*/ 1050925 h 1704975"/>
                <a:gd name="connsiteX161" fmla="*/ 315000 w 1293444"/>
                <a:gd name="connsiteY161" fmla="*/ 1031875 h 1704975"/>
                <a:gd name="connsiteX162" fmla="*/ 311825 w 1293444"/>
                <a:gd name="connsiteY162" fmla="*/ 1022350 h 1704975"/>
                <a:gd name="connsiteX163" fmla="*/ 308650 w 1293444"/>
                <a:gd name="connsiteY163" fmla="*/ 1006475 h 1704975"/>
                <a:gd name="connsiteX164" fmla="*/ 302300 w 1293444"/>
                <a:gd name="connsiteY164" fmla="*/ 987425 h 1704975"/>
                <a:gd name="connsiteX165" fmla="*/ 299125 w 1293444"/>
                <a:gd name="connsiteY165" fmla="*/ 974725 h 1704975"/>
                <a:gd name="connsiteX166" fmla="*/ 292775 w 1293444"/>
                <a:gd name="connsiteY166" fmla="*/ 955675 h 1704975"/>
                <a:gd name="connsiteX167" fmla="*/ 289600 w 1293444"/>
                <a:gd name="connsiteY167" fmla="*/ 946150 h 1704975"/>
                <a:gd name="connsiteX168" fmla="*/ 280075 w 1293444"/>
                <a:gd name="connsiteY168" fmla="*/ 923925 h 1704975"/>
                <a:gd name="connsiteX169" fmla="*/ 261025 w 1293444"/>
                <a:gd name="connsiteY169" fmla="*/ 908050 h 1704975"/>
                <a:gd name="connsiteX170" fmla="*/ 241975 w 1293444"/>
                <a:gd name="connsiteY170" fmla="*/ 901700 h 1704975"/>
                <a:gd name="connsiteX171" fmla="*/ 222925 w 1293444"/>
                <a:gd name="connsiteY171" fmla="*/ 889000 h 1704975"/>
                <a:gd name="connsiteX172" fmla="*/ 213400 w 1293444"/>
                <a:gd name="connsiteY172" fmla="*/ 885825 h 1704975"/>
                <a:gd name="connsiteX173" fmla="*/ 194350 w 1293444"/>
                <a:gd name="connsiteY173" fmla="*/ 873125 h 1704975"/>
                <a:gd name="connsiteX174" fmla="*/ 175300 w 1293444"/>
                <a:gd name="connsiteY174" fmla="*/ 860425 h 1704975"/>
                <a:gd name="connsiteX175" fmla="*/ 162600 w 1293444"/>
                <a:gd name="connsiteY175" fmla="*/ 850900 h 1704975"/>
                <a:gd name="connsiteX176" fmla="*/ 153075 w 1293444"/>
                <a:gd name="connsiteY176" fmla="*/ 847725 h 1704975"/>
                <a:gd name="connsiteX177" fmla="*/ 134025 w 1293444"/>
                <a:gd name="connsiteY177" fmla="*/ 835025 h 1704975"/>
                <a:gd name="connsiteX178" fmla="*/ 114975 w 1293444"/>
                <a:gd name="connsiteY178" fmla="*/ 822325 h 1704975"/>
                <a:gd name="connsiteX179" fmla="*/ 105450 w 1293444"/>
                <a:gd name="connsiteY179" fmla="*/ 815975 h 1704975"/>
                <a:gd name="connsiteX180" fmla="*/ 95925 w 1293444"/>
                <a:gd name="connsiteY180" fmla="*/ 812800 h 1704975"/>
                <a:gd name="connsiteX181" fmla="*/ 64175 w 1293444"/>
                <a:gd name="connsiteY181" fmla="*/ 790575 h 1704975"/>
                <a:gd name="connsiteX182" fmla="*/ 54650 w 1293444"/>
                <a:gd name="connsiteY182" fmla="*/ 787400 h 1704975"/>
                <a:gd name="connsiteX183" fmla="*/ 38775 w 1293444"/>
                <a:gd name="connsiteY183" fmla="*/ 771525 h 1704975"/>
                <a:gd name="connsiteX184" fmla="*/ 29250 w 1293444"/>
                <a:gd name="connsiteY184" fmla="*/ 762000 h 1704975"/>
                <a:gd name="connsiteX185" fmla="*/ 19725 w 1293444"/>
                <a:gd name="connsiteY185" fmla="*/ 758825 h 1704975"/>
                <a:gd name="connsiteX186" fmla="*/ 675 w 1293444"/>
                <a:gd name="connsiteY186" fmla="*/ 746125 h 1704975"/>
                <a:gd name="connsiteX187" fmla="*/ 51475 w 1293444"/>
                <a:gd name="connsiteY187" fmla="*/ 739775 h 1704975"/>
                <a:gd name="connsiteX188" fmla="*/ 67350 w 1293444"/>
                <a:gd name="connsiteY188" fmla="*/ 736600 h 1704975"/>
                <a:gd name="connsiteX189" fmla="*/ 102275 w 1293444"/>
                <a:gd name="connsiteY189" fmla="*/ 733425 h 1704975"/>
                <a:gd name="connsiteX190" fmla="*/ 130850 w 1293444"/>
                <a:gd name="connsiteY190" fmla="*/ 727075 h 1704975"/>
                <a:gd name="connsiteX191" fmla="*/ 149900 w 1293444"/>
                <a:gd name="connsiteY191" fmla="*/ 723900 h 1704975"/>
                <a:gd name="connsiteX192" fmla="*/ 159425 w 1293444"/>
                <a:gd name="connsiteY192" fmla="*/ 720725 h 1704975"/>
                <a:gd name="connsiteX193" fmla="*/ 175300 w 1293444"/>
                <a:gd name="connsiteY193" fmla="*/ 717550 h 1704975"/>
                <a:gd name="connsiteX194" fmla="*/ 194350 w 1293444"/>
                <a:gd name="connsiteY194" fmla="*/ 711200 h 1704975"/>
                <a:gd name="connsiteX195" fmla="*/ 222925 w 1293444"/>
                <a:gd name="connsiteY195" fmla="*/ 701675 h 1704975"/>
                <a:gd name="connsiteX196" fmla="*/ 232450 w 1293444"/>
                <a:gd name="connsiteY196" fmla="*/ 698500 h 1704975"/>
                <a:gd name="connsiteX197" fmla="*/ 241975 w 1293444"/>
                <a:gd name="connsiteY197" fmla="*/ 695325 h 1704975"/>
                <a:gd name="connsiteX198" fmla="*/ 381675 w 1293444"/>
                <a:gd name="connsiteY198" fmla="*/ 688975 h 1704975"/>
                <a:gd name="connsiteX199" fmla="*/ 397550 w 1293444"/>
                <a:gd name="connsiteY199" fmla="*/ 685800 h 1704975"/>
                <a:gd name="connsiteX200" fmla="*/ 407075 w 1293444"/>
                <a:gd name="connsiteY200" fmla="*/ 682625 h 1704975"/>
                <a:gd name="connsiteX201" fmla="*/ 419775 w 1293444"/>
                <a:gd name="connsiteY201" fmla="*/ 679450 h 1704975"/>
                <a:gd name="connsiteX202" fmla="*/ 438825 w 1293444"/>
                <a:gd name="connsiteY202" fmla="*/ 673100 h 1704975"/>
                <a:gd name="connsiteX203" fmla="*/ 467400 w 1293444"/>
                <a:gd name="connsiteY203" fmla="*/ 663575 h 1704975"/>
                <a:gd name="connsiteX204" fmla="*/ 495975 w 1293444"/>
                <a:gd name="connsiteY204" fmla="*/ 654050 h 1704975"/>
                <a:gd name="connsiteX205" fmla="*/ 505500 w 1293444"/>
                <a:gd name="connsiteY205" fmla="*/ 650875 h 1704975"/>
                <a:gd name="connsiteX206" fmla="*/ 527725 w 1293444"/>
                <a:gd name="connsiteY206" fmla="*/ 641350 h 1704975"/>
                <a:gd name="connsiteX207" fmla="*/ 537250 w 1293444"/>
                <a:gd name="connsiteY207" fmla="*/ 635000 h 1704975"/>
                <a:gd name="connsiteX208" fmla="*/ 546775 w 1293444"/>
                <a:gd name="connsiteY208" fmla="*/ 631825 h 1704975"/>
                <a:gd name="connsiteX209" fmla="*/ 559475 w 1293444"/>
                <a:gd name="connsiteY209" fmla="*/ 625475 h 1704975"/>
                <a:gd name="connsiteX210" fmla="*/ 578525 w 1293444"/>
                <a:gd name="connsiteY210" fmla="*/ 657225 h 1704975"/>
                <a:gd name="connsiteX211" fmla="*/ 588050 w 1293444"/>
                <a:gd name="connsiteY211" fmla="*/ 660400 h 1704975"/>
                <a:gd name="connsiteX212" fmla="*/ 607100 w 1293444"/>
                <a:gd name="connsiteY212" fmla="*/ 673100 h 1704975"/>
                <a:gd name="connsiteX213" fmla="*/ 626150 w 1293444"/>
                <a:gd name="connsiteY213" fmla="*/ 679450 h 1704975"/>
                <a:gd name="connsiteX214" fmla="*/ 635675 w 1293444"/>
                <a:gd name="connsiteY214" fmla="*/ 685800 h 1704975"/>
                <a:gd name="connsiteX215" fmla="*/ 654725 w 1293444"/>
                <a:gd name="connsiteY215" fmla="*/ 692150 h 1704975"/>
                <a:gd name="connsiteX216" fmla="*/ 635675 w 1293444"/>
                <a:gd name="connsiteY216" fmla="*/ 676275 h 1704975"/>
                <a:gd name="connsiteX217" fmla="*/ 632500 w 1293444"/>
                <a:gd name="connsiteY217" fmla="*/ 666750 h 1704975"/>
                <a:gd name="connsiteX218" fmla="*/ 635675 w 1293444"/>
                <a:gd name="connsiteY218" fmla="*/ 590550 h 1704975"/>
                <a:gd name="connsiteX219" fmla="*/ 642025 w 1293444"/>
                <a:gd name="connsiteY219" fmla="*/ 571500 h 1704975"/>
                <a:gd name="connsiteX220" fmla="*/ 648375 w 1293444"/>
                <a:gd name="connsiteY220" fmla="*/ 561975 h 1704975"/>
                <a:gd name="connsiteX221" fmla="*/ 638850 w 1293444"/>
                <a:gd name="connsiteY221" fmla="*/ 536575 h 1704975"/>
                <a:gd name="connsiteX222" fmla="*/ 629325 w 1293444"/>
                <a:gd name="connsiteY222" fmla="*/ 533400 h 1704975"/>
                <a:gd name="connsiteX223" fmla="*/ 626150 w 1293444"/>
                <a:gd name="connsiteY223" fmla="*/ 523875 h 1704975"/>
                <a:gd name="connsiteX224" fmla="*/ 632500 w 1293444"/>
                <a:gd name="connsiteY224" fmla="*/ 498475 h 1704975"/>
                <a:gd name="connsiteX225" fmla="*/ 635675 w 1293444"/>
                <a:gd name="connsiteY225" fmla="*/ 485775 h 1704975"/>
                <a:gd name="connsiteX226" fmla="*/ 626150 w 1293444"/>
                <a:gd name="connsiteY226" fmla="*/ 463550 h 1704975"/>
                <a:gd name="connsiteX227" fmla="*/ 616625 w 1293444"/>
                <a:gd name="connsiteY227" fmla="*/ 460375 h 1704975"/>
                <a:gd name="connsiteX228" fmla="*/ 607100 w 1293444"/>
                <a:gd name="connsiteY228" fmla="*/ 454025 h 1704975"/>
                <a:gd name="connsiteX229" fmla="*/ 591225 w 1293444"/>
                <a:gd name="connsiteY229" fmla="*/ 450850 h 1704975"/>
                <a:gd name="connsiteX230" fmla="*/ 569000 w 1293444"/>
                <a:gd name="connsiteY230" fmla="*/ 441325 h 1704975"/>
                <a:gd name="connsiteX231" fmla="*/ 546775 w 1293444"/>
                <a:gd name="connsiteY231" fmla="*/ 415925 h 1704975"/>
                <a:gd name="connsiteX232" fmla="*/ 540425 w 1293444"/>
                <a:gd name="connsiteY232" fmla="*/ 406400 h 1704975"/>
                <a:gd name="connsiteX233" fmla="*/ 530900 w 1293444"/>
                <a:gd name="connsiteY233" fmla="*/ 400050 h 1704975"/>
                <a:gd name="connsiteX234" fmla="*/ 508675 w 1293444"/>
                <a:gd name="connsiteY234" fmla="*/ 374650 h 1704975"/>
                <a:gd name="connsiteX235" fmla="*/ 502325 w 1293444"/>
                <a:gd name="connsiteY235" fmla="*/ 365125 h 1704975"/>
                <a:gd name="connsiteX236" fmla="*/ 483275 w 1293444"/>
                <a:gd name="connsiteY236" fmla="*/ 346075 h 1704975"/>
                <a:gd name="connsiteX237" fmla="*/ 486450 w 1293444"/>
                <a:gd name="connsiteY237" fmla="*/ 333375 h 1704975"/>
                <a:gd name="connsiteX238" fmla="*/ 492800 w 1293444"/>
                <a:gd name="connsiteY238" fmla="*/ 314325 h 1704975"/>
                <a:gd name="connsiteX239" fmla="*/ 489625 w 1293444"/>
                <a:gd name="connsiteY239" fmla="*/ 292100 h 1704975"/>
                <a:gd name="connsiteX240" fmla="*/ 461050 w 1293444"/>
                <a:gd name="connsiteY240" fmla="*/ 266700 h 1704975"/>
                <a:gd name="connsiteX241" fmla="*/ 435650 w 1293444"/>
                <a:gd name="connsiteY241" fmla="*/ 254000 h 1704975"/>
                <a:gd name="connsiteX242" fmla="*/ 413425 w 1293444"/>
                <a:gd name="connsiteY242" fmla="*/ 238125 h 1704975"/>
                <a:gd name="connsiteX243" fmla="*/ 403900 w 1293444"/>
                <a:gd name="connsiteY243" fmla="*/ 231775 h 1704975"/>
                <a:gd name="connsiteX244" fmla="*/ 362625 w 1293444"/>
                <a:gd name="connsiteY244" fmla="*/ 114300 h 1704975"/>
                <a:gd name="connsiteX245" fmla="*/ 368975 w 1293444"/>
                <a:gd name="connsiteY245" fmla="*/ 104775 h 1704975"/>
                <a:gd name="connsiteX246" fmla="*/ 375325 w 1293444"/>
                <a:gd name="connsiteY246"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32475 w 1293444"/>
                <a:gd name="connsiteY139" fmla="*/ 1495425 h 1704975"/>
                <a:gd name="connsiteX140" fmla="*/ 429300 w 1293444"/>
                <a:gd name="connsiteY140" fmla="*/ 1485900 h 1704975"/>
                <a:gd name="connsiteX141" fmla="*/ 426125 w 1293444"/>
                <a:gd name="connsiteY141" fmla="*/ 1473200 h 1704975"/>
                <a:gd name="connsiteX142" fmla="*/ 419775 w 1293444"/>
                <a:gd name="connsiteY142" fmla="*/ 1463675 h 1704975"/>
                <a:gd name="connsiteX143" fmla="*/ 416600 w 1293444"/>
                <a:gd name="connsiteY143" fmla="*/ 1454150 h 1704975"/>
                <a:gd name="connsiteX144" fmla="*/ 403900 w 1293444"/>
                <a:gd name="connsiteY144" fmla="*/ 1435100 h 1704975"/>
                <a:gd name="connsiteX145" fmla="*/ 394375 w 1293444"/>
                <a:gd name="connsiteY145" fmla="*/ 1381125 h 1704975"/>
                <a:gd name="connsiteX146" fmla="*/ 391200 w 1293444"/>
                <a:gd name="connsiteY146" fmla="*/ 1368425 h 1704975"/>
                <a:gd name="connsiteX147" fmla="*/ 388025 w 1293444"/>
                <a:gd name="connsiteY147" fmla="*/ 1352550 h 1704975"/>
                <a:gd name="connsiteX148" fmla="*/ 381675 w 1293444"/>
                <a:gd name="connsiteY148" fmla="*/ 1333500 h 1704975"/>
                <a:gd name="connsiteX149" fmla="*/ 378500 w 1293444"/>
                <a:gd name="connsiteY149" fmla="*/ 1323975 h 1704975"/>
                <a:gd name="connsiteX150" fmla="*/ 375325 w 1293444"/>
                <a:gd name="connsiteY150" fmla="*/ 1308100 h 1704975"/>
                <a:gd name="connsiteX151" fmla="*/ 368975 w 1293444"/>
                <a:gd name="connsiteY151" fmla="*/ 1289050 h 1704975"/>
                <a:gd name="connsiteX152" fmla="*/ 362625 w 1293444"/>
                <a:gd name="connsiteY152" fmla="*/ 1260475 h 1704975"/>
                <a:gd name="connsiteX153" fmla="*/ 359450 w 1293444"/>
                <a:gd name="connsiteY153" fmla="*/ 1231900 h 1704975"/>
                <a:gd name="connsiteX154" fmla="*/ 349925 w 1293444"/>
                <a:gd name="connsiteY154" fmla="*/ 1196975 h 1704975"/>
                <a:gd name="connsiteX155" fmla="*/ 340400 w 1293444"/>
                <a:gd name="connsiteY155" fmla="*/ 1155700 h 1704975"/>
                <a:gd name="connsiteX156" fmla="*/ 334050 w 1293444"/>
                <a:gd name="connsiteY156" fmla="*/ 1130300 h 1704975"/>
                <a:gd name="connsiteX157" fmla="*/ 327700 w 1293444"/>
                <a:gd name="connsiteY157" fmla="*/ 1104900 h 1704975"/>
                <a:gd name="connsiteX158" fmla="*/ 324525 w 1293444"/>
                <a:gd name="connsiteY158" fmla="*/ 1092200 h 1704975"/>
                <a:gd name="connsiteX159" fmla="*/ 318175 w 1293444"/>
                <a:gd name="connsiteY159" fmla="*/ 1050925 h 1704975"/>
                <a:gd name="connsiteX160" fmla="*/ 315000 w 1293444"/>
                <a:gd name="connsiteY160" fmla="*/ 1031875 h 1704975"/>
                <a:gd name="connsiteX161" fmla="*/ 311825 w 1293444"/>
                <a:gd name="connsiteY161" fmla="*/ 1022350 h 1704975"/>
                <a:gd name="connsiteX162" fmla="*/ 308650 w 1293444"/>
                <a:gd name="connsiteY162" fmla="*/ 1006475 h 1704975"/>
                <a:gd name="connsiteX163" fmla="*/ 302300 w 1293444"/>
                <a:gd name="connsiteY163" fmla="*/ 987425 h 1704975"/>
                <a:gd name="connsiteX164" fmla="*/ 299125 w 1293444"/>
                <a:gd name="connsiteY164" fmla="*/ 974725 h 1704975"/>
                <a:gd name="connsiteX165" fmla="*/ 292775 w 1293444"/>
                <a:gd name="connsiteY165" fmla="*/ 955675 h 1704975"/>
                <a:gd name="connsiteX166" fmla="*/ 289600 w 1293444"/>
                <a:gd name="connsiteY166" fmla="*/ 946150 h 1704975"/>
                <a:gd name="connsiteX167" fmla="*/ 280075 w 1293444"/>
                <a:gd name="connsiteY167" fmla="*/ 923925 h 1704975"/>
                <a:gd name="connsiteX168" fmla="*/ 261025 w 1293444"/>
                <a:gd name="connsiteY168" fmla="*/ 908050 h 1704975"/>
                <a:gd name="connsiteX169" fmla="*/ 241975 w 1293444"/>
                <a:gd name="connsiteY169" fmla="*/ 901700 h 1704975"/>
                <a:gd name="connsiteX170" fmla="*/ 222925 w 1293444"/>
                <a:gd name="connsiteY170" fmla="*/ 889000 h 1704975"/>
                <a:gd name="connsiteX171" fmla="*/ 213400 w 1293444"/>
                <a:gd name="connsiteY171" fmla="*/ 885825 h 1704975"/>
                <a:gd name="connsiteX172" fmla="*/ 194350 w 1293444"/>
                <a:gd name="connsiteY172" fmla="*/ 873125 h 1704975"/>
                <a:gd name="connsiteX173" fmla="*/ 175300 w 1293444"/>
                <a:gd name="connsiteY173" fmla="*/ 860425 h 1704975"/>
                <a:gd name="connsiteX174" fmla="*/ 162600 w 1293444"/>
                <a:gd name="connsiteY174" fmla="*/ 850900 h 1704975"/>
                <a:gd name="connsiteX175" fmla="*/ 153075 w 1293444"/>
                <a:gd name="connsiteY175" fmla="*/ 847725 h 1704975"/>
                <a:gd name="connsiteX176" fmla="*/ 134025 w 1293444"/>
                <a:gd name="connsiteY176" fmla="*/ 835025 h 1704975"/>
                <a:gd name="connsiteX177" fmla="*/ 114975 w 1293444"/>
                <a:gd name="connsiteY177" fmla="*/ 822325 h 1704975"/>
                <a:gd name="connsiteX178" fmla="*/ 105450 w 1293444"/>
                <a:gd name="connsiteY178" fmla="*/ 815975 h 1704975"/>
                <a:gd name="connsiteX179" fmla="*/ 95925 w 1293444"/>
                <a:gd name="connsiteY179" fmla="*/ 812800 h 1704975"/>
                <a:gd name="connsiteX180" fmla="*/ 64175 w 1293444"/>
                <a:gd name="connsiteY180" fmla="*/ 790575 h 1704975"/>
                <a:gd name="connsiteX181" fmla="*/ 54650 w 1293444"/>
                <a:gd name="connsiteY181" fmla="*/ 787400 h 1704975"/>
                <a:gd name="connsiteX182" fmla="*/ 38775 w 1293444"/>
                <a:gd name="connsiteY182" fmla="*/ 771525 h 1704975"/>
                <a:gd name="connsiteX183" fmla="*/ 29250 w 1293444"/>
                <a:gd name="connsiteY183" fmla="*/ 762000 h 1704975"/>
                <a:gd name="connsiteX184" fmla="*/ 19725 w 1293444"/>
                <a:gd name="connsiteY184" fmla="*/ 758825 h 1704975"/>
                <a:gd name="connsiteX185" fmla="*/ 675 w 1293444"/>
                <a:gd name="connsiteY185" fmla="*/ 746125 h 1704975"/>
                <a:gd name="connsiteX186" fmla="*/ 51475 w 1293444"/>
                <a:gd name="connsiteY186" fmla="*/ 739775 h 1704975"/>
                <a:gd name="connsiteX187" fmla="*/ 67350 w 1293444"/>
                <a:gd name="connsiteY187" fmla="*/ 736600 h 1704975"/>
                <a:gd name="connsiteX188" fmla="*/ 102275 w 1293444"/>
                <a:gd name="connsiteY188" fmla="*/ 733425 h 1704975"/>
                <a:gd name="connsiteX189" fmla="*/ 130850 w 1293444"/>
                <a:gd name="connsiteY189" fmla="*/ 727075 h 1704975"/>
                <a:gd name="connsiteX190" fmla="*/ 149900 w 1293444"/>
                <a:gd name="connsiteY190" fmla="*/ 723900 h 1704975"/>
                <a:gd name="connsiteX191" fmla="*/ 159425 w 1293444"/>
                <a:gd name="connsiteY191" fmla="*/ 720725 h 1704975"/>
                <a:gd name="connsiteX192" fmla="*/ 175300 w 1293444"/>
                <a:gd name="connsiteY192" fmla="*/ 717550 h 1704975"/>
                <a:gd name="connsiteX193" fmla="*/ 194350 w 1293444"/>
                <a:gd name="connsiteY193" fmla="*/ 711200 h 1704975"/>
                <a:gd name="connsiteX194" fmla="*/ 222925 w 1293444"/>
                <a:gd name="connsiteY194" fmla="*/ 701675 h 1704975"/>
                <a:gd name="connsiteX195" fmla="*/ 232450 w 1293444"/>
                <a:gd name="connsiteY195" fmla="*/ 698500 h 1704975"/>
                <a:gd name="connsiteX196" fmla="*/ 241975 w 1293444"/>
                <a:gd name="connsiteY196" fmla="*/ 695325 h 1704975"/>
                <a:gd name="connsiteX197" fmla="*/ 381675 w 1293444"/>
                <a:gd name="connsiteY197" fmla="*/ 688975 h 1704975"/>
                <a:gd name="connsiteX198" fmla="*/ 397550 w 1293444"/>
                <a:gd name="connsiteY198" fmla="*/ 685800 h 1704975"/>
                <a:gd name="connsiteX199" fmla="*/ 407075 w 1293444"/>
                <a:gd name="connsiteY199" fmla="*/ 682625 h 1704975"/>
                <a:gd name="connsiteX200" fmla="*/ 419775 w 1293444"/>
                <a:gd name="connsiteY200" fmla="*/ 679450 h 1704975"/>
                <a:gd name="connsiteX201" fmla="*/ 438825 w 1293444"/>
                <a:gd name="connsiteY201" fmla="*/ 673100 h 1704975"/>
                <a:gd name="connsiteX202" fmla="*/ 467400 w 1293444"/>
                <a:gd name="connsiteY202" fmla="*/ 663575 h 1704975"/>
                <a:gd name="connsiteX203" fmla="*/ 495975 w 1293444"/>
                <a:gd name="connsiteY203" fmla="*/ 654050 h 1704975"/>
                <a:gd name="connsiteX204" fmla="*/ 505500 w 1293444"/>
                <a:gd name="connsiteY204" fmla="*/ 650875 h 1704975"/>
                <a:gd name="connsiteX205" fmla="*/ 527725 w 1293444"/>
                <a:gd name="connsiteY205" fmla="*/ 641350 h 1704975"/>
                <a:gd name="connsiteX206" fmla="*/ 537250 w 1293444"/>
                <a:gd name="connsiteY206" fmla="*/ 635000 h 1704975"/>
                <a:gd name="connsiteX207" fmla="*/ 546775 w 1293444"/>
                <a:gd name="connsiteY207" fmla="*/ 631825 h 1704975"/>
                <a:gd name="connsiteX208" fmla="*/ 559475 w 1293444"/>
                <a:gd name="connsiteY208" fmla="*/ 625475 h 1704975"/>
                <a:gd name="connsiteX209" fmla="*/ 578525 w 1293444"/>
                <a:gd name="connsiteY209" fmla="*/ 657225 h 1704975"/>
                <a:gd name="connsiteX210" fmla="*/ 588050 w 1293444"/>
                <a:gd name="connsiteY210" fmla="*/ 660400 h 1704975"/>
                <a:gd name="connsiteX211" fmla="*/ 607100 w 1293444"/>
                <a:gd name="connsiteY211" fmla="*/ 673100 h 1704975"/>
                <a:gd name="connsiteX212" fmla="*/ 626150 w 1293444"/>
                <a:gd name="connsiteY212" fmla="*/ 679450 h 1704975"/>
                <a:gd name="connsiteX213" fmla="*/ 635675 w 1293444"/>
                <a:gd name="connsiteY213" fmla="*/ 685800 h 1704975"/>
                <a:gd name="connsiteX214" fmla="*/ 654725 w 1293444"/>
                <a:gd name="connsiteY214" fmla="*/ 692150 h 1704975"/>
                <a:gd name="connsiteX215" fmla="*/ 635675 w 1293444"/>
                <a:gd name="connsiteY215" fmla="*/ 676275 h 1704975"/>
                <a:gd name="connsiteX216" fmla="*/ 632500 w 1293444"/>
                <a:gd name="connsiteY216" fmla="*/ 666750 h 1704975"/>
                <a:gd name="connsiteX217" fmla="*/ 635675 w 1293444"/>
                <a:gd name="connsiteY217" fmla="*/ 590550 h 1704975"/>
                <a:gd name="connsiteX218" fmla="*/ 642025 w 1293444"/>
                <a:gd name="connsiteY218" fmla="*/ 571500 h 1704975"/>
                <a:gd name="connsiteX219" fmla="*/ 648375 w 1293444"/>
                <a:gd name="connsiteY219" fmla="*/ 561975 h 1704975"/>
                <a:gd name="connsiteX220" fmla="*/ 638850 w 1293444"/>
                <a:gd name="connsiteY220" fmla="*/ 536575 h 1704975"/>
                <a:gd name="connsiteX221" fmla="*/ 629325 w 1293444"/>
                <a:gd name="connsiteY221" fmla="*/ 533400 h 1704975"/>
                <a:gd name="connsiteX222" fmla="*/ 626150 w 1293444"/>
                <a:gd name="connsiteY222" fmla="*/ 523875 h 1704975"/>
                <a:gd name="connsiteX223" fmla="*/ 632500 w 1293444"/>
                <a:gd name="connsiteY223" fmla="*/ 498475 h 1704975"/>
                <a:gd name="connsiteX224" fmla="*/ 635675 w 1293444"/>
                <a:gd name="connsiteY224" fmla="*/ 485775 h 1704975"/>
                <a:gd name="connsiteX225" fmla="*/ 626150 w 1293444"/>
                <a:gd name="connsiteY225" fmla="*/ 463550 h 1704975"/>
                <a:gd name="connsiteX226" fmla="*/ 616625 w 1293444"/>
                <a:gd name="connsiteY226" fmla="*/ 460375 h 1704975"/>
                <a:gd name="connsiteX227" fmla="*/ 607100 w 1293444"/>
                <a:gd name="connsiteY227" fmla="*/ 454025 h 1704975"/>
                <a:gd name="connsiteX228" fmla="*/ 591225 w 1293444"/>
                <a:gd name="connsiteY228" fmla="*/ 450850 h 1704975"/>
                <a:gd name="connsiteX229" fmla="*/ 569000 w 1293444"/>
                <a:gd name="connsiteY229" fmla="*/ 441325 h 1704975"/>
                <a:gd name="connsiteX230" fmla="*/ 546775 w 1293444"/>
                <a:gd name="connsiteY230" fmla="*/ 415925 h 1704975"/>
                <a:gd name="connsiteX231" fmla="*/ 540425 w 1293444"/>
                <a:gd name="connsiteY231" fmla="*/ 406400 h 1704975"/>
                <a:gd name="connsiteX232" fmla="*/ 530900 w 1293444"/>
                <a:gd name="connsiteY232" fmla="*/ 400050 h 1704975"/>
                <a:gd name="connsiteX233" fmla="*/ 508675 w 1293444"/>
                <a:gd name="connsiteY233" fmla="*/ 374650 h 1704975"/>
                <a:gd name="connsiteX234" fmla="*/ 502325 w 1293444"/>
                <a:gd name="connsiteY234" fmla="*/ 365125 h 1704975"/>
                <a:gd name="connsiteX235" fmla="*/ 483275 w 1293444"/>
                <a:gd name="connsiteY235" fmla="*/ 346075 h 1704975"/>
                <a:gd name="connsiteX236" fmla="*/ 486450 w 1293444"/>
                <a:gd name="connsiteY236" fmla="*/ 333375 h 1704975"/>
                <a:gd name="connsiteX237" fmla="*/ 492800 w 1293444"/>
                <a:gd name="connsiteY237" fmla="*/ 314325 h 1704975"/>
                <a:gd name="connsiteX238" fmla="*/ 489625 w 1293444"/>
                <a:gd name="connsiteY238" fmla="*/ 292100 h 1704975"/>
                <a:gd name="connsiteX239" fmla="*/ 461050 w 1293444"/>
                <a:gd name="connsiteY239" fmla="*/ 266700 h 1704975"/>
                <a:gd name="connsiteX240" fmla="*/ 435650 w 1293444"/>
                <a:gd name="connsiteY240" fmla="*/ 254000 h 1704975"/>
                <a:gd name="connsiteX241" fmla="*/ 413425 w 1293444"/>
                <a:gd name="connsiteY241" fmla="*/ 238125 h 1704975"/>
                <a:gd name="connsiteX242" fmla="*/ 403900 w 1293444"/>
                <a:gd name="connsiteY242" fmla="*/ 231775 h 1704975"/>
                <a:gd name="connsiteX243" fmla="*/ 362625 w 1293444"/>
                <a:gd name="connsiteY243" fmla="*/ 114300 h 1704975"/>
                <a:gd name="connsiteX244" fmla="*/ 368975 w 1293444"/>
                <a:gd name="connsiteY244" fmla="*/ 104775 h 1704975"/>
                <a:gd name="connsiteX245" fmla="*/ 375325 w 1293444"/>
                <a:gd name="connsiteY245"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32475 w 1293444"/>
                <a:gd name="connsiteY139" fmla="*/ 1495425 h 1704975"/>
                <a:gd name="connsiteX140" fmla="*/ 429300 w 1293444"/>
                <a:gd name="connsiteY140" fmla="*/ 1485900 h 1704975"/>
                <a:gd name="connsiteX141" fmla="*/ 426125 w 1293444"/>
                <a:gd name="connsiteY141" fmla="*/ 1473200 h 1704975"/>
                <a:gd name="connsiteX142" fmla="*/ 419775 w 1293444"/>
                <a:gd name="connsiteY142" fmla="*/ 1463675 h 1704975"/>
                <a:gd name="connsiteX143" fmla="*/ 416600 w 1293444"/>
                <a:gd name="connsiteY143" fmla="*/ 1454150 h 1704975"/>
                <a:gd name="connsiteX144" fmla="*/ 394375 w 1293444"/>
                <a:gd name="connsiteY144" fmla="*/ 1381125 h 1704975"/>
                <a:gd name="connsiteX145" fmla="*/ 391200 w 1293444"/>
                <a:gd name="connsiteY145" fmla="*/ 1368425 h 1704975"/>
                <a:gd name="connsiteX146" fmla="*/ 388025 w 1293444"/>
                <a:gd name="connsiteY146" fmla="*/ 1352550 h 1704975"/>
                <a:gd name="connsiteX147" fmla="*/ 381675 w 1293444"/>
                <a:gd name="connsiteY147" fmla="*/ 1333500 h 1704975"/>
                <a:gd name="connsiteX148" fmla="*/ 378500 w 1293444"/>
                <a:gd name="connsiteY148" fmla="*/ 1323975 h 1704975"/>
                <a:gd name="connsiteX149" fmla="*/ 375325 w 1293444"/>
                <a:gd name="connsiteY149" fmla="*/ 1308100 h 1704975"/>
                <a:gd name="connsiteX150" fmla="*/ 368975 w 1293444"/>
                <a:gd name="connsiteY150" fmla="*/ 1289050 h 1704975"/>
                <a:gd name="connsiteX151" fmla="*/ 362625 w 1293444"/>
                <a:gd name="connsiteY151" fmla="*/ 1260475 h 1704975"/>
                <a:gd name="connsiteX152" fmla="*/ 359450 w 1293444"/>
                <a:gd name="connsiteY152" fmla="*/ 1231900 h 1704975"/>
                <a:gd name="connsiteX153" fmla="*/ 349925 w 1293444"/>
                <a:gd name="connsiteY153" fmla="*/ 1196975 h 1704975"/>
                <a:gd name="connsiteX154" fmla="*/ 340400 w 1293444"/>
                <a:gd name="connsiteY154" fmla="*/ 1155700 h 1704975"/>
                <a:gd name="connsiteX155" fmla="*/ 334050 w 1293444"/>
                <a:gd name="connsiteY155" fmla="*/ 1130300 h 1704975"/>
                <a:gd name="connsiteX156" fmla="*/ 327700 w 1293444"/>
                <a:gd name="connsiteY156" fmla="*/ 1104900 h 1704975"/>
                <a:gd name="connsiteX157" fmla="*/ 324525 w 1293444"/>
                <a:gd name="connsiteY157" fmla="*/ 1092200 h 1704975"/>
                <a:gd name="connsiteX158" fmla="*/ 318175 w 1293444"/>
                <a:gd name="connsiteY158" fmla="*/ 1050925 h 1704975"/>
                <a:gd name="connsiteX159" fmla="*/ 315000 w 1293444"/>
                <a:gd name="connsiteY159" fmla="*/ 1031875 h 1704975"/>
                <a:gd name="connsiteX160" fmla="*/ 311825 w 1293444"/>
                <a:gd name="connsiteY160" fmla="*/ 1022350 h 1704975"/>
                <a:gd name="connsiteX161" fmla="*/ 308650 w 1293444"/>
                <a:gd name="connsiteY161" fmla="*/ 1006475 h 1704975"/>
                <a:gd name="connsiteX162" fmla="*/ 302300 w 1293444"/>
                <a:gd name="connsiteY162" fmla="*/ 987425 h 1704975"/>
                <a:gd name="connsiteX163" fmla="*/ 299125 w 1293444"/>
                <a:gd name="connsiteY163" fmla="*/ 974725 h 1704975"/>
                <a:gd name="connsiteX164" fmla="*/ 292775 w 1293444"/>
                <a:gd name="connsiteY164" fmla="*/ 955675 h 1704975"/>
                <a:gd name="connsiteX165" fmla="*/ 289600 w 1293444"/>
                <a:gd name="connsiteY165" fmla="*/ 946150 h 1704975"/>
                <a:gd name="connsiteX166" fmla="*/ 280075 w 1293444"/>
                <a:gd name="connsiteY166" fmla="*/ 923925 h 1704975"/>
                <a:gd name="connsiteX167" fmla="*/ 261025 w 1293444"/>
                <a:gd name="connsiteY167" fmla="*/ 908050 h 1704975"/>
                <a:gd name="connsiteX168" fmla="*/ 241975 w 1293444"/>
                <a:gd name="connsiteY168" fmla="*/ 901700 h 1704975"/>
                <a:gd name="connsiteX169" fmla="*/ 222925 w 1293444"/>
                <a:gd name="connsiteY169" fmla="*/ 889000 h 1704975"/>
                <a:gd name="connsiteX170" fmla="*/ 213400 w 1293444"/>
                <a:gd name="connsiteY170" fmla="*/ 885825 h 1704975"/>
                <a:gd name="connsiteX171" fmla="*/ 194350 w 1293444"/>
                <a:gd name="connsiteY171" fmla="*/ 873125 h 1704975"/>
                <a:gd name="connsiteX172" fmla="*/ 175300 w 1293444"/>
                <a:gd name="connsiteY172" fmla="*/ 860425 h 1704975"/>
                <a:gd name="connsiteX173" fmla="*/ 162600 w 1293444"/>
                <a:gd name="connsiteY173" fmla="*/ 850900 h 1704975"/>
                <a:gd name="connsiteX174" fmla="*/ 153075 w 1293444"/>
                <a:gd name="connsiteY174" fmla="*/ 847725 h 1704975"/>
                <a:gd name="connsiteX175" fmla="*/ 134025 w 1293444"/>
                <a:gd name="connsiteY175" fmla="*/ 835025 h 1704975"/>
                <a:gd name="connsiteX176" fmla="*/ 114975 w 1293444"/>
                <a:gd name="connsiteY176" fmla="*/ 822325 h 1704975"/>
                <a:gd name="connsiteX177" fmla="*/ 105450 w 1293444"/>
                <a:gd name="connsiteY177" fmla="*/ 815975 h 1704975"/>
                <a:gd name="connsiteX178" fmla="*/ 95925 w 1293444"/>
                <a:gd name="connsiteY178" fmla="*/ 812800 h 1704975"/>
                <a:gd name="connsiteX179" fmla="*/ 64175 w 1293444"/>
                <a:gd name="connsiteY179" fmla="*/ 790575 h 1704975"/>
                <a:gd name="connsiteX180" fmla="*/ 54650 w 1293444"/>
                <a:gd name="connsiteY180" fmla="*/ 787400 h 1704975"/>
                <a:gd name="connsiteX181" fmla="*/ 38775 w 1293444"/>
                <a:gd name="connsiteY181" fmla="*/ 771525 h 1704975"/>
                <a:gd name="connsiteX182" fmla="*/ 29250 w 1293444"/>
                <a:gd name="connsiteY182" fmla="*/ 762000 h 1704975"/>
                <a:gd name="connsiteX183" fmla="*/ 19725 w 1293444"/>
                <a:gd name="connsiteY183" fmla="*/ 758825 h 1704975"/>
                <a:gd name="connsiteX184" fmla="*/ 675 w 1293444"/>
                <a:gd name="connsiteY184" fmla="*/ 746125 h 1704975"/>
                <a:gd name="connsiteX185" fmla="*/ 51475 w 1293444"/>
                <a:gd name="connsiteY185" fmla="*/ 739775 h 1704975"/>
                <a:gd name="connsiteX186" fmla="*/ 67350 w 1293444"/>
                <a:gd name="connsiteY186" fmla="*/ 736600 h 1704975"/>
                <a:gd name="connsiteX187" fmla="*/ 102275 w 1293444"/>
                <a:gd name="connsiteY187" fmla="*/ 733425 h 1704975"/>
                <a:gd name="connsiteX188" fmla="*/ 130850 w 1293444"/>
                <a:gd name="connsiteY188" fmla="*/ 727075 h 1704975"/>
                <a:gd name="connsiteX189" fmla="*/ 149900 w 1293444"/>
                <a:gd name="connsiteY189" fmla="*/ 723900 h 1704975"/>
                <a:gd name="connsiteX190" fmla="*/ 159425 w 1293444"/>
                <a:gd name="connsiteY190" fmla="*/ 720725 h 1704975"/>
                <a:gd name="connsiteX191" fmla="*/ 175300 w 1293444"/>
                <a:gd name="connsiteY191" fmla="*/ 717550 h 1704975"/>
                <a:gd name="connsiteX192" fmla="*/ 194350 w 1293444"/>
                <a:gd name="connsiteY192" fmla="*/ 711200 h 1704975"/>
                <a:gd name="connsiteX193" fmla="*/ 222925 w 1293444"/>
                <a:gd name="connsiteY193" fmla="*/ 701675 h 1704975"/>
                <a:gd name="connsiteX194" fmla="*/ 232450 w 1293444"/>
                <a:gd name="connsiteY194" fmla="*/ 698500 h 1704975"/>
                <a:gd name="connsiteX195" fmla="*/ 241975 w 1293444"/>
                <a:gd name="connsiteY195" fmla="*/ 695325 h 1704975"/>
                <a:gd name="connsiteX196" fmla="*/ 381675 w 1293444"/>
                <a:gd name="connsiteY196" fmla="*/ 688975 h 1704975"/>
                <a:gd name="connsiteX197" fmla="*/ 397550 w 1293444"/>
                <a:gd name="connsiteY197" fmla="*/ 685800 h 1704975"/>
                <a:gd name="connsiteX198" fmla="*/ 407075 w 1293444"/>
                <a:gd name="connsiteY198" fmla="*/ 682625 h 1704975"/>
                <a:gd name="connsiteX199" fmla="*/ 419775 w 1293444"/>
                <a:gd name="connsiteY199" fmla="*/ 679450 h 1704975"/>
                <a:gd name="connsiteX200" fmla="*/ 438825 w 1293444"/>
                <a:gd name="connsiteY200" fmla="*/ 673100 h 1704975"/>
                <a:gd name="connsiteX201" fmla="*/ 467400 w 1293444"/>
                <a:gd name="connsiteY201" fmla="*/ 663575 h 1704975"/>
                <a:gd name="connsiteX202" fmla="*/ 495975 w 1293444"/>
                <a:gd name="connsiteY202" fmla="*/ 654050 h 1704975"/>
                <a:gd name="connsiteX203" fmla="*/ 505500 w 1293444"/>
                <a:gd name="connsiteY203" fmla="*/ 650875 h 1704975"/>
                <a:gd name="connsiteX204" fmla="*/ 527725 w 1293444"/>
                <a:gd name="connsiteY204" fmla="*/ 641350 h 1704975"/>
                <a:gd name="connsiteX205" fmla="*/ 537250 w 1293444"/>
                <a:gd name="connsiteY205" fmla="*/ 635000 h 1704975"/>
                <a:gd name="connsiteX206" fmla="*/ 546775 w 1293444"/>
                <a:gd name="connsiteY206" fmla="*/ 631825 h 1704975"/>
                <a:gd name="connsiteX207" fmla="*/ 559475 w 1293444"/>
                <a:gd name="connsiteY207" fmla="*/ 625475 h 1704975"/>
                <a:gd name="connsiteX208" fmla="*/ 578525 w 1293444"/>
                <a:gd name="connsiteY208" fmla="*/ 657225 h 1704975"/>
                <a:gd name="connsiteX209" fmla="*/ 588050 w 1293444"/>
                <a:gd name="connsiteY209" fmla="*/ 660400 h 1704975"/>
                <a:gd name="connsiteX210" fmla="*/ 607100 w 1293444"/>
                <a:gd name="connsiteY210" fmla="*/ 673100 h 1704975"/>
                <a:gd name="connsiteX211" fmla="*/ 626150 w 1293444"/>
                <a:gd name="connsiteY211" fmla="*/ 679450 h 1704975"/>
                <a:gd name="connsiteX212" fmla="*/ 635675 w 1293444"/>
                <a:gd name="connsiteY212" fmla="*/ 685800 h 1704975"/>
                <a:gd name="connsiteX213" fmla="*/ 654725 w 1293444"/>
                <a:gd name="connsiteY213" fmla="*/ 692150 h 1704975"/>
                <a:gd name="connsiteX214" fmla="*/ 635675 w 1293444"/>
                <a:gd name="connsiteY214" fmla="*/ 676275 h 1704975"/>
                <a:gd name="connsiteX215" fmla="*/ 632500 w 1293444"/>
                <a:gd name="connsiteY215" fmla="*/ 666750 h 1704975"/>
                <a:gd name="connsiteX216" fmla="*/ 635675 w 1293444"/>
                <a:gd name="connsiteY216" fmla="*/ 590550 h 1704975"/>
                <a:gd name="connsiteX217" fmla="*/ 642025 w 1293444"/>
                <a:gd name="connsiteY217" fmla="*/ 571500 h 1704975"/>
                <a:gd name="connsiteX218" fmla="*/ 648375 w 1293444"/>
                <a:gd name="connsiteY218" fmla="*/ 561975 h 1704975"/>
                <a:gd name="connsiteX219" fmla="*/ 638850 w 1293444"/>
                <a:gd name="connsiteY219" fmla="*/ 536575 h 1704975"/>
                <a:gd name="connsiteX220" fmla="*/ 629325 w 1293444"/>
                <a:gd name="connsiteY220" fmla="*/ 533400 h 1704975"/>
                <a:gd name="connsiteX221" fmla="*/ 626150 w 1293444"/>
                <a:gd name="connsiteY221" fmla="*/ 523875 h 1704975"/>
                <a:gd name="connsiteX222" fmla="*/ 632500 w 1293444"/>
                <a:gd name="connsiteY222" fmla="*/ 498475 h 1704975"/>
                <a:gd name="connsiteX223" fmla="*/ 635675 w 1293444"/>
                <a:gd name="connsiteY223" fmla="*/ 485775 h 1704975"/>
                <a:gd name="connsiteX224" fmla="*/ 626150 w 1293444"/>
                <a:gd name="connsiteY224" fmla="*/ 463550 h 1704975"/>
                <a:gd name="connsiteX225" fmla="*/ 616625 w 1293444"/>
                <a:gd name="connsiteY225" fmla="*/ 460375 h 1704975"/>
                <a:gd name="connsiteX226" fmla="*/ 607100 w 1293444"/>
                <a:gd name="connsiteY226" fmla="*/ 454025 h 1704975"/>
                <a:gd name="connsiteX227" fmla="*/ 591225 w 1293444"/>
                <a:gd name="connsiteY227" fmla="*/ 450850 h 1704975"/>
                <a:gd name="connsiteX228" fmla="*/ 569000 w 1293444"/>
                <a:gd name="connsiteY228" fmla="*/ 441325 h 1704975"/>
                <a:gd name="connsiteX229" fmla="*/ 546775 w 1293444"/>
                <a:gd name="connsiteY229" fmla="*/ 415925 h 1704975"/>
                <a:gd name="connsiteX230" fmla="*/ 540425 w 1293444"/>
                <a:gd name="connsiteY230" fmla="*/ 406400 h 1704975"/>
                <a:gd name="connsiteX231" fmla="*/ 530900 w 1293444"/>
                <a:gd name="connsiteY231" fmla="*/ 400050 h 1704975"/>
                <a:gd name="connsiteX232" fmla="*/ 508675 w 1293444"/>
                <a:gd name="connsiteY232" fmla="*/ 374650 h 1704975"/>
                <a:gd name="connsiteX233" fmla="*/ 502325 w 1293444"/>
                <a:gd name="connsiteY233" fmla="*/ 365125 h 1704975"/>
                <a:gd name="connsiteX234" fmla="*/ 483275 w 1293444"/>
                <a:gd name="connsiteY234" fmla="*/ 346075 h 1704975"/>
                <a:gd name="connsiteX235" fmla="*/ 486450 w 1293444"/>
                <a:gd name="connsiteY235" fmla="*/ 333375 h 1704975"/>
                <a:gd name="connsiteX236" fmla="*/ 492800 w 1293444"/>
                <a:gd name="connsiteY236" fmla="*/ 314325 h 1704975"/>
                <a:gd name="connsiteX237" fmla="*/ 489625 w 1293444"/>
                <a:gd name="connsiteY237" fmla="*/ 292100 h 1704975"/>
                <a:gd name="connsiteX238" fmla="*/ 461050 w 1293444"/>
                <a:gd name="connsiteY238" fmla="*/ 266700 h 1704975"/>
                <a:gd name="connsiteX239" fmla="*/ 435650 w 1293444"/>
                <a:gd name="connsiteY239" fmla="*/ 254000 h 1704975"/>
                <a:gd name="connsiteX240" fmla="*/ 413425 w 1293444"/>
                <a:gd name="connsiteY240" fmla="*/ 238125 h 1704975"/>
                <a:gd name="connsiteX241" fmla="*/ 403900 w 1293444"/>
                <a:gd name="connsiteY241" fmla="*/ 231775 h 1704975"/>
                <a:gd name="connsiteX242" fmla="*/ 362625 w 1293444"/>
                <a:gd name="connsiteY242" fmla="*/ 114300 h 1704975"/>
                <a:gd name="connsiteX243" fmla="*/ 368975 w 1293444"/>
                <a:gd name="connsiteY243" fmla="*/ 104775 h 1704975"/>
                <a:gd name="connsiteX244" fmla="*/ 375325 w 1293444"/>
                <a:gd name="connsiteY244"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67425 w 1293444"/>
                <a:gd name="connsiteY126" fmla="*/ 1619250 h 1704975"/>
                <a:gd name="connsiteX127" fmla="*/ 648375 w 1293444"/>
                <a:gd name="connsiteY127" fmla="*/ 1631950 h 1704975"/>
                <a:gd name="connsiteX128" fmla="*/ 638850 w 1293444"/>
                <a:gd name="connsiteY128" fmla="*/ 1638300 h 1704975"/>
                <a:gd name="connsiteX129" fmla="*/ 607100 w 1293444"/>
                <a:gd name="connsiteY129" fmla="*/ 1676400 h 1704975"/>
                <a:gd name="connsiteX130" fmla="*/ 556300 w 1293444"/>
                <a:gd name="connsiteY130" fmla="*/ 1679575 h 1704975"/>
                <a:gd name="connsiteX131" fmla="*/ 537250 w 1293444"/>
                <a:gd name="connsiteY131" fmla="*/ 1685925 h 1704975"/>
                <a:gd name="connsiteX132" fmla="*/ 515025 w 1293444"/>
                <a:gd name="connsiteY132" fmla="*/ 1698625 h 1704975"/>
                <a:gd name="connsiteX133" fmla="*/ 495975 w 1293444"/>
                <a:gd name="connsiteY133" fmla="*/ 1704975 h 1704975"/>
                <a:gd name="connsiteX134" fmla="*/ 476925 w 1293444"/>
                <a:gd name="connsiteY134" fmla="*/ 1701800 h 1704975"/>
                <a:gd name="connsiteX135" fmla="*/ 470575 w 1293444"/>
                <a:gd name="connsiteY135" fmla="*/ 1692275 h 1704975"/>
                <a:gd name="connsiteX136" fmla="*/ 467400 w 1293444"/>
                <a:gd name="connsiteY136" fmla="*/ 1660525 h 1704975"/>
                <a:gd name="connsiteX137" fmla="*/ 457875 w 1293444"/>
                <a:gd name="connsiteY137" fmla="*/ 1641475 h 1704975"/>
                <a:gd name="connsiteX138" fmla="*/ 432475 w 1293444"/>
                <a:gd name="connsiteY138" fmla="*/ 1495425 h 1704975"/>
                <a:gd name="connsiteX139" fmla="*/ 429300 w 1293444"/>
                <a:gd name="connsiteY139" fmla="*/ 1485900 h 1704975"/>
                <a:gd name="connsiteX140" fmla="*/ 426125 w 1293444"/>
                <a:gd name="connsiteY140" fmla="*/ 1473200 h 1704975"/>
                <a:gd name="connsiteX141" fmla="*/ 419775 w 1293444"/>
                <a:gd name="connsiteY141" fmla="*/ 1463675 h 1704975"/>
                <a:gd name="connsiteX142" fmla="*/ 416600 w 1293444"/>
                <a:gd name="connsiteY142" fmla="*/ 1454150 h 1704975"/>
                <a:gd name="connsiteX143" fmla="*/ 394375 w 1293444"/>
                <a:gd name="connsiteY143" fmla="*/ 1381125 h 1704975"/>
                <a:gd name="connsiteX144" fmla="*/ 391200 w 1293444"/>
                <a:gd name="connsiteY144" fmla="*/ 1368425 h 1704975"/>
                <a:gd name="connsiteX145" fmla="*/ 388025 w 1293444"/>
                <a:gd name="connsiteY145" fmla="*/ 1352550 h 1704975"/>
                <a:gd name="connsiteX146" fmla="*/ 381675 w 1293444"/>
                <a:gd name="connsiteY146" fmla="*/ 1333500 h 1704975"/>
                <a:gd name="connsiteX147" fmla="*/ 378500 w 1293444"/>
                <a:gd name="connsiteY147" fmla="*/ 1323975 h 1704975"/>
                <a:gd name="connsiteX148" fmla="*/ 375325 w 1293444"/>
                <a:gd name="connsiteY148" fmla="*/ 1308100 h 1704975"/>
                <a:gd name="connsiteX149" fmla="*/ 368975 w 1293444"/>
                <a:gd name="connsiteY149" fmla="*/ 1289050 h 1704975"/>
                <a:gd name="connsiteX150" fmla="*/ 362625 w 1293444"/>
                <a:gd name="connsiteY150" fmla="*/ 1260475 h 1704975"/>
                <a:gd name="connsiteX151" fmla="*/ 359450 w 1293444"/>
                <a:gd name="connsiteY151" fmla="*/ 1231900 h 1704975"/>
                <a:gd name="connsiteX152" fmla="*/ 349925 w 1293444"/>
                <a:gd name="connsiteY152" fmla="*/ 1196975 h 1704975"/>
                <a:gd name="connsiteX153" fmla="*/ 340400 w 1293444"/>
                <a:gd name="connsiteY153" fmla="*/ 1155700 h 1704975"/>
                <a:gd name="connsiteX154" fmla="*/ 334050 w 1293444"/>
                <a:gd name="connsiteY154" fmla="*/ 1130300 h 1704975"/>
                <a:gd name="connsiteX155" fmla="*/ 327700 w 1293444"/>
                <a:gd name="connsiteY155" fmla="*/ 1104900 h 1704975"/>
                <a:gd name="connsiteX156" fmla="*/ 324525 w 1293444"/>
                <a:gd name="connsiteY156" fmla="*/ 1092200 h 1704975"/>
                <a:gd name="connsiteX157" fmla="*/ 318175 w 1293444"/>
                <a:gd name="connsiteY157" fmla="*/ 1050925 h 1704975"/>
                <a:gd name="connsiteX158" fmla="*/ 315000 w 1293444"/>
                <a:gd name="connsiteY158" fmla="*/ 1031875 h 1704975"/>
                <a:gd name="connsiteX159" fmla="*/ 311825 w 1293444"/>
                <a:gd name="connsiteY159" fmla="*/ 1022350 h 1704975"/>
                <a:gd name="connsiteX160" fmla="*/ 308650 w 1293444"/>
                <a:gd name="connsiteY160" fmla="*/ 1006475 h 1704975"/>
                <a:gd name="connsiteX161" fmla="*/ 302300 w 1293444"/>
                <a:gd name="connsiteY161" fmla="*/ 987425 h 1704975"/>
                <a:gd name="connsiteX162" fmla="*/ 299125 w 1293444"/>
                <a:gd name="connsiteY162" fmla="*/ 974725 h 1704975"/>
                <a:gd name="connsiteX163" fmla="*/ 292775 w 1293444"/>
                <a:gd name="connsiteY163" fmla="*/ 955675 h 1704975"/>
                <a:gd name="connsiteX164" fmla="*/ 289600 w 1293444"/>
                <a:gd name="connsiteY164" fmla="*/ 946150 h 1704975"/>
                <a:gd name="connsiteX165" fmla="*/ 280075 w 1293444"/>
                <a:gd name="connsiteY165" fmla="*/ 923925 h 1704975"/>
                <a:gd name="connsiteX166" fmla="*/ 261025 w 1293444"/>
                <a:gd name="connsiteY166" fmla="*/ 908050 h 1704975"/>
                <a:gd name="connsiteX167" fmla="*/ 241975 w 1293444"/>
                <a:gd name="connsiteY167" fmla="*/ 901700 h 1704975"/>
                <a:gd name="connsiteX168" fmla="*/ 222925 w 1293444"/>
                <a:gd name="connsiteY168" fmla="*/ 889000 h 1704975"/>
                <a:gd name="connsiteX169" fmla="*/ 213400 w 1293444"/>
                <a:gd name="connsiteY169" fmla="*/ 885825 h 1704975"/>
                <a:gd name="connsiteX170" fmla="*/ 194350 w 1293444"/>
                <a:gd name="connsiteY170" fmla="*/ 873125 h 1704975"/>
                <a:gd name="connsiteX171" fmla="*/ 175300 w 1293444"/>
                <a:gd name="connsiteY171" fmla="*/ 860425 h 1704975"/>
                <a:gd name="connsiteX172" fmla="*/ 162600 w 1293444"/>
                <a:gd name="connsiteY172" fmla="*/ 850900 h 1704975"/>
                <a:gd name="connsiteX173" fmla="*/ 153075 w 1293444"/>
                <a:gd name="connsiteY173" fmla="*/ 847725 h 1704975"/>
                <a:gd name="connsiteX174" fmla="*/ 134025 w 1293444"/>
                <a:gd name="connsiteY174" fmla="*/ 835025 h 1704975"/>
                <a:gd name="connsiteX175" fmla="*/ 114975 w 1293444"/>
                <a:gd name="connsiteY175" fmla="*/ 822325 h 1704975"/>
                <a:gd name="connsiteX176" fmla="*/ 105450 w 1293444"/>
                <a:gd name="connsiteY176" fmla="*/ 815975 h 1704975"/>
                <a:gd name="connsiteX177" fmla="*/ 95925 w 1293444"/>
                <a:gd name="connsiteY177" fmla="*/ 812800 h 1704975"/>
                <a:gd name="connsiteX178" fmla="*/ 64175 w 1293444"/>
                <a:gd name="connsiteY178" fmla="*/ 790575 h 1704975"/>
                <a:gd name="connsiteX179" fmla="*/ 54650 w 1293444"/>
                <a:gd name="connsiteY179" fmla="*/ 787400 h 1704975"/>
                <a:gd name="connsiteX180" fmla="*/ 38775 w 1293444"/>
                <a:gd name="connsiteY180" fmla="*/ 771525 h 1704975"/>
                <a:gd name="connsiteX181" fmla="*/ 29250 w 1293444"/>
                <a:gd name="connsiteY181" fmla="*/ 762000 h 1704975"/>
                <a:gd name="connsiteX182" fmla="*/ 19725 w 1293444"/>
                <a:gd name="connsiteY182" fmla="*/ 758825 h 1704975"/>
                <a:gd name="connsiteX183" fmla="*/ 675 w 1293444"/>
                <a:gd name="connsiteY183" fmla="*/ 746125 h 1704975"/>
                <a:gd name="connsiteX184" fmla="*/ 51475 w 1293444"/>
                <a:gd name="connsiteY184" fmla="*/ 739775 h 1704975"/>
                <a:gd name="connsiteX185" fmla="*/ 67350 w 1293444"/>
                <a:gd name="connsiteY185" fmla="*/ 736600 h 1704975"/>
                <a:gd name="connsiteX186" fmla="*/ 102275 w 1293444"/>
                <a:gd name="connsiteY186" fmla="*/ 733425 h 1704975"/>
                <a:gd name="connsiteX187" fmla="*/ 130850 w 1293444"/>
                <a:gd name="connsiteY187" fmla="*/ 727075 h 1704975"/>
                <a:gd name="connsiteX188" fmla="*/ 149900 w 1293444"/>
                <a:gd name="connsiteY188" fmla="*/ 723900 h 1704975"/>
                <a:gd name="connsiteX189" fmla="*/ 159425 w 1293444"/>
                <a:gd name="connsiteY189" fmla="*/ 720725 h 1704975"/>
                <a:gd name="connsiteX190" fmla="*/ 175300 w 1293444"/>
                <a:gd name="connsiteY190" fmla="*/ 717550 h 1704975"/>
                <a:gd name="connsiteX191" fmla="*/ 194350 w 1293444"/>
                <a:gd name="connsiteY191" fmla="*/ 711200 h 1704975"/>
                <a:gd name="connsiteX192" fmla="*/ 222925 w 1293444"/>
                <a:gd name="connsiteY192" fmla="*/ 701675 h 1704975"/>
                <a:gd name="connsiteX193" fmla="*/ 232450 w 1293444"/>
                <a:gd name="connsiteY193" fmla="*/ 698500 h 1704975"/>
                <a:gd name="connsiteX194" fmla="*/ 241975 w 1293444"/>
                <a:gd name="connsiteY194" fmla="*/ 695325 h 1704975"/>
                <a:gd name="connsiteX195" fmla="*/ 381675 w 1293444"/>
                <a:gd name="connsiteY195" fmla="*/ 688975 h 1704975"/>
                <a:gd name="connsiteX196" fmla="*/ 397550 w 1293444"/>
                <a:gd name="connsiteY196" fmla="*/ 685800 h 1704975"/>
                <a:gd name="connsiteX197" fmla="*/ 407075 w 1293444"/>
                <a:gd name="connsiteY197" fmla="*/ 682625 h 1704975"/>
                <a:gd name="connsiteX198" fmla="*/ 419775 w 1293444"/>
                <a:gd name="connsiteY198" fmla="*/ 679450 h 1704975"/>
                <a:gd name="connsiteX199" fmla="*/ 438825 w 1293444"/>
                <a:gd name="connsiteY199" fmla="*/ 673100 h 1704975"/>
                <a:gd name="connsiteX200" fmla="*/ 467400 w 1293444"/>
                <a:gd name="connsiteY200" fmla="*/ 663575 h 1704975"/>
                <a:gd name="connsiteX201" fmla="*/ 495975 w 1293444"/>
                <a:gd name="connsiteY201" fmla="*/ 654050 h 1704975"/>
                <a:gd name="connsiteX202" fmla="*/ 505500 w 1293444"/>
                <a:gd name="connsiteY202" fmla="*/ 650875 h 1704975"/>
                <a:gd name="connsiteX203" fmla="*/ 527725 w 1293444"/>
                <a:gd name="connsiteY203" fmla="*/ 641350 h 1704975"/>
                <a:gd name="connsiteX204" fmla="*/ 537250 w 1293444"/>
                <a:gd name="connsiteY204" fmla="*/ 635000 h 1704975"/>
                <a:gd name="connsiteX205" fmla="*/ 546775 w 1293444"/>
                <a:gd name="connsiteY205" fmla="*/ 631825 h 1704975"/>
                <a:gd name="connsiteX206" fmla="*/ 559475 w 1293444"/>
                <a:gd name="connsiteY206" fmla="*/ 625475 h 1704975"/>
                <a:gd name="connsiteX207" fmla="*/ 578525 w 1293444"/>
                <a:gd name="connsiteY207" fmla="*/ 657225 h 1704975"/>
                <a:gd name="connsiteX208" fmla="*/ 588050 w 1293444"/>
                <a:gd name="connsiteY208" fmla="*/ 660400 h 1704975"/>
                <a:gd name="connsiteX209" fmla="*/ 607100 w 1293444"/>
                <a:gd name="connsiteY209" fmla="*/ 673100 h 1704975"/>
                <a:gd name="connsiteX210" fmla="*/ 626150 w 1293444"/>
                <a:gd name="connsiteY210" fmla="*/ 679450 h 1704975"/>
                <a:gd name="connsiteX211" fmla="*/ 635675 w 1293444"/>
                <a:gd name="connsiteY211" fmla="*/ 685800 h 1704975"/>
                <a:gd name="connsiteX212" fmla="*/ 654725 w 1293444"/>
                <a:gd name="connsiteY212" fmla="*/ 692150 h 1704975"/>
                <a:gd name="connsiteX213" fmla="*/ 635675 w 1293444"/>
                <a:gd name="connsiteY213" fmla="*/ 676275 h 1704975"/>
                <a:gd name="connsiteX214" fmla="*/ 632500 w 1293444"/>
                <a:gd name="connsiteY214" fmla="*/ 666750 h 1704975"/>
                <a:gd name="connsiteX215" fmla="*/ 635675 w 1293444"/>
                <a:gd name="connsiteY215" fmla="*/ 590550 h 1704975"/>
                <a:gd name="connsiteX216" fmla="*/ 642025 w 1293444"/>
                <a:gd name="connsiteY216" fmla="*/ 571500 h 1704975"/>
                <a:gd name="connsiteX217" fmla="*/ 648375 w 1293444"/>
                <a:gd name="connsiteY217" fmla="*/ 561975 h 1704975"/>
                <a:gd name="connsiteX218" fmla="*/ 638850 w 1293444"/>
                <a:gd name="connsiteY218" fmla="*/ 536575 h 1704975"/>
                <a:gd name="connsiteX219" fmla="*/ 629325 w 1293444"/>
                <a:gd name="connsiteY219" fmla="*/ 533400 h 1704975"/>
                <a:gd name="connsiteX220" fmla="*/ 626150 w 1293444"/>
                <a:gd name="connsiteY220" fmla="*/ 523875 h 1704975"/>
                <a:gd name="connsiteX221" fmla="*/ 632500 w 1293444"/>
                <a:gd name="connsiteY221" fmla="*/ 498475 h 1704975"/>
                <a:gd name="connsiteX222" fmla="*/ 635675 w 1293444"/>
                <a:gd name="connsiteY222" fmla="*/ 485775 h 1704975"/>
                <a:gd name="connsiteX223" fmla="*/ 626150 w 1293444"/>
                <a:gd name="connsiteY223" fmla="*/ 463550 h 1704975"/>
                <a:gd name="connsiteX224" fmla="*/ 616625 w 1293444"/>
                <a:gd name="connsiteY224" fmla="*/ 460375 h 1704975"/>
                <a:gd name="connsiteX225" fmla="*/ 607100 w 1293444"/>
                <a:gd name="connsiteY225" fmla="*/ 454025 h 1704975"/>
                <a:gd name="connsiteX226" fmla="*/ 591225 w 1293444"/>
                <a:gd name="connsiteY226" fmla="*/ 450850 h 1704975"/>
                <a:gd name="connsiteX227" fmla="*/ 569000 w 1293444"/>
                <a:gd name="connsiteY227" fmla="*/ 441325 h 1704975"/>
                <a:gd name="connsiteX228" fmla="*/ 546775 w 1293444"/>
                <a:gd name="connsiteY228" fmla="*/ 415925 h 1704975"/>
                <a:gd name="connsiteX229" fmla="*/ 540425 w 1293444"/>
                <a:gd name="connsiteY229" fmla="*/ 406400 h 1704975"/>
                <a:gd name="connsiteX230" fmla="*/ 530900 w 1293444"/>
                <a:gd name="connsiteY230" fmla="*/ 400050 h 1704975"/>
                <a:gd name="connsiteX231" fmla="*/ 508675 w 1293444"/>
                <a:gd name="connsiteY231" fmla="*/ 374650 h 1704975"/>
                <a:gd name="connsiteX232" fmla="*/ 502325 w 1293444"/>
                <a:gd name="connsiteY232" fmla="*/ 365125 h 1704975"/>
                <a:gd name="connsiteX233" fmla="*/ 483275 w 1293444"/>
                <a:gd name="connsiteY233" fmla="*/ 346075 h 1704975"/>
                <a:gd name="connsiteX234" fmla="*/ 486450 w 1293444"/>
                <a:gd name="connsiteY234" fmla="*/ 333375 h 1704975"/>
                <a:gd name="connsiteX235" fmla="*/ 492800 w 1293444"/>
                <a:gd name="connsiteY235" fmla="*/ 314325 h 1704975"/>
                <a:gd name="connsiteX236" fmla="*/ 489625 w 1293444"/>
                <a:gd name="connsiteY236" fmla="*/ 292100 h 1704975"/>
                <a:gd name="connsiteX237" fmla="*/ 461050 w 1293444"/>
                <a:gd name="connsiteY237" fmla="*/ 266700 h 1704975"/>
                <a:gd name="connsiteX238" fmla="*/ 435650 w 1293444"/>
                <a:gd name="connsiteY238" fmla="*/ 254000 h 1704975"/>
                <a:gd name="connsiteX239" fmla="*/ 413425 w 1293444"/>
                <a:gd name="connsiteY239" fmla="*/ 238125 h 1704975"/>
                <a:gd name="connsiteX240" fmla="*/ 403900 w 1293444"/>
                <a:gd name="connsiteY240" fmla="*/ 231775 h 1704975"/>
                <a:gd name="connsiteX241" fmla="*/ 362625 w 1293444"/>
                <a:gd name="connsiteY241" fmla="*/ 114300 h 1704975"/>
                <a:gd name="connsiteX242" fmla="*/ 368975 w 1293444"/>
                <a:gd name="connsiteY242" fmla="*/ 104775 h 1704975"/>
                <a:gd name="connsiteX243" fmla="*/ 375325 w 1293444"/>
                <a:gd name="connsiteY243"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48375 w 1293444"/>
                <a:gd name="connsiteY126" fmla="*/ 1631950 h 1704975"/>
                <a:gd name="connsiteX127" fmla="*/ 638850 w 1293444"/>
                <a:gd name="connsiteY127" fmla="*/ 1638300 h 1704975"/>
                <a:gd name="connsiteX128" fmla="*/ 607100 w 1293444"/>
                <a:gd name="connsiteY128" fmla="*/ 1676400 h 1704975"/>
                <a:gd name="connsiteX129" fmla="*/ 556300 w 1293444"/>
                <a:gd name="connsiteY129" fmla="*/ 1679575 h 1704975"/>
                <a:gd name="connsiteX130" fmla="*/ 537250 w 1293444"/>
                <a:gd name="connsiteY130" fmla="*/ 1685925 h 1704975"/>
                <a:gd name="connsiteX131" fmla="*/ 515025 w 1293444"/>
                <a:gd name="connsiteY131" fmla="*/ 1698625 h 1704975"/>
                <a:gd name="connsiteX132" fmla="*/ 495975 w 1293444"/>
                <a:gd name="connsiteY132" fmla="*/ 1704975 h 1704975"/>
                <a:gd name="connsiteX133" fmla="*/ 476925 w 1293444"/>
                <a:gd name="connsiteY133" fmla="*/ 1701800 h 1704975"/>
                <a:gd name="connsiteX134" fmla="*/ 470575 w 1293444"/>
                <a:gd name="connsiteY134" fmla="*/ 1692275 h 1704975"/>
                <a:gd name="connsiteX135" fmla="*/ 467400 w 1293444"/>
                <a:gd name="connsiteY135" fmla="*/ 1660525 h 1704975"/>
                <a:gd name="connsiteX136" fmla="*/ 457875 w 1293444"/>
                <a:gd name="connsiteY136" fmla="*/ 1641475 h 1704975"/>
                <a:gd name="connsiteX137" fmla="*/ 432475 w 1293444"/>
                <a:gd name="connsiteY137" fmla="*/ 1495425 h 1704975"/>
                <a:gd name="connsiteX138" fmla="*/ 429300 w 1293444"/>
                <a:gd name="connsiteY138" fmla="*/ 1485900 h 1704975"/>
                <a:gd name="connsiteX139" fmla="*/ 426125 w 1293444"/>
                <a:gd name="connsiteY139" fmla="*/ 1473200 h 1704975"/>
                <a:gd name="connsiteX140" fmla="*/ 419775 w 1293444"/>
                <a:gd name="connsiteY140" fmla="*/ 1463675 h 1704975"/>
                <a:gd name="connsiteX141" fmla="*/ 416600 w 1293444"/>
                <a:gd name="connsiteY141" fmla="*/ 1454150 h 1704975"/>
                <a:gd name="connsiteX142" fmla="*/ 394375 w 1293444"/>
                <a:gd name="connsiteY142" fmla="*/ 1381125 h 1704975"/>
                <a:gd name="connsiteX143" fmla="*/ 391200 w 1293444"/>
                <a:gd name="connsiteY143" fmla="*/ 1368425 h 1704975"/>
                <a:gd name="connsiteX144" fmla="*/ 388025 w 1293444"/>
                <a:gd name="connsiteY144" fmla="*/ 1352550 h 1704975"/>
                <a:gd name="connsiteX145" fmla="*/ 381675 w 1293444"/>
                <a:gd name="connsiteY145" fmla="*/ 1333500 h 1704975"/>
                <a:gd name="connsiteX146" fmla="*/ 378500 w 1293444"/>
                <a:gd name="connsiteY146" fmla="*/ 1323975 h 1704975"/>
                <a:gd name="connsiteX147" fmla="*/ 375325 w 1293444"/>
                <a:gd name="connsiteY147" fmla="*/ 1308100 h 1704975"/>
                <a:gd name="connsiteX148" fmla="*/ 368975 w 1293444"/>
                <a:gd name="connsiteY148" fmla="*/ 1289050 h 1704975"/>
                <a:gd name="connsiteX149" fmla="*/ 362625 w 1293444"/>
                <a:gd name="connsiteY149" fmla="*/ 1260475 h 1704975"/>
                <a:gd name="connsiteX150" fmla="*/ 359450 w 1293444"/>
                <a:gd name="connsiteY150" fmla="*/ 1231900 h 1704975"/>
                <a:gd name="connsiteX151" fmla="*/ 349925 w 1293444"/>
                <a:gd name="connsiteY151" fmla="*/ 1196975 h 1704975"/>
                <a:gd name="connsiteX152" fmla="*/ 340400 w 1293444"/>
                <a:gd name="connsiteY152" fmla="*/ 1155700 h 1704975"/>
                <a:gd name="connsiteX153" fmla="*/ 334050 w 1293444"/>
                <a:gd name="connsiteY153" fmla="*/ 1130300 h 1704975"/>
                <a:gd name="connsiteX154" fmla="*/ 327700 w 1293444"/>
                <a:gd name="connsiteY154" fmla="*/ 1104900 h 1704975"/>
                <a:gd name="connsiteX155" fmla="*/ 324525 w 1293444"/>
                <a:gd name="connsiteY155" fmla="*/ 1092200 h 1704975"/>
                <a:gd name="connsiteX156" fmla="*/ 318175 w 1293444"/>
                <a:gd name="connsiteY156" fmla="*/ 1050925 h 1704975"/>
                <a:gd name="connsiteX157" fmla="*/ 315000 w 1293444"/>
                <a:gd name="connsiteY157" fmla="*/ 1031875 h 1704975"/>
                <a:gd name="connsiteX158" fmla="*/ 311825 w 1293444"/>
                <a:gd name="connsiteY158" fmla="*/ 1022350 h 1704975"/>
                <a:gd name="connsiteX159" fmla="*/ 308650 w 1293444"/>
                <a:gd name="connsiteY159" fmla="*/ 1006475 h 1704975"/>
                <a:gd name="connsiteX160" fmla="*/ 302300 w 1293444"/>
                <a:gd name="connsiteY160" fmla="*/ 987425 h 1704975"/>
                <a:gd name="connsiteX161" fmla="*/ 299125 w 1293444"/>
                <a:gd name="connsiteY161" fmla="*/ 974725 h 1704975"/>
                <a:gd name="connsiteX162" fmla="*/ 292775 w 1293444"/>
                <a:gd name="connsiteY162" fmla="*/ 955675 h 1704975"/>
                <a:gd name="connsiteX163" fmla="*/ 289600 w 1293444"/>
                <a:gd name="connsiteY163" fmla="*/ 946150 h 1704975"/>
                <a:gd name="connsiteX164" fmla="*/ 280075 w 1293444"/>
                <a:gd name="connsiteY164" fmla="*/ 923925 h 1704975"/>
                <a:gd name="connsiteX165" fmla="*/ 261025 w 1293444"/>
                <a:gd name="connsiteY165" fmla="*/ 908050 h 1704975"/>
                <a:gd name="connsiteX166" fmla="*/ 241975 w 1293444"/>
                <a:gd name="connsiteY166" fmla="*/ 901700 h 1704975"/>
                <a:gd name="connsiteX167" fmla="*/ 222925 w 1293444"/>
                <a:gd name="connsiteY167" fmla="*/ 889000 h 1704975"/>
                <a:gd name="connsiteX168" fmla="*/ 213400 w 1293444"/>
                <a:gd name="connsiteY168" fmla="*/ 885825 h 1704975"/>
                <a:gd name="connsiteX169" fmla="*/ 194350 w 1293444"/>
                <a:gd name="connsiteY169" fmla="*/ 873125 h 1704975"/>
                <a:gd name="connsiteX170" fmla="*/ 175300 w 1293444"/>
                <a:gd name="connsiteY170" fmla="*/ 860425 h 1704975"/>
                <a:gd name="connsiteX171" fmla="*/ 162600 w 1293444"/>
                <a:gd name="connsiteY171" fmla="*/ 850900 h 1704975"/>
                <a:gd name="connsiteX172" fmla="*/ 153075 w 1293444"/>
                <a:gd name="connsiteY172" fmla="*/ 847725 h 1704975"/>
                <a:gd name="connsiteX173" fmla="*/ 134025 w 1293444"/>
                <a:gd name="connsiteY173" fmla="*/ 835025 h 1704975"/>
                <a:gd name="connsiteX174" fmla="*/ 114975 w 1293444"/>
                <a:gd name="connsiteY174" fmla="*/ 822325 h 1704975"/>
                <a:gd name="connsiteX175" fmla="*/ 105450 w 1293444"/>
                <a:gd name="connsiteY175" fmla="*/ 815975 h 1704975"/>
                <a:gd name="connsiteX176" fmla="*/ 95925 w 1293444"/>
                <a:gd name="connsiteY176" fmla="*/ 812800 h 1704975"/>
                <a:gd name="connsiteX177" fmla="*/ 64175 w 1293444"/>
                <a:gd name="connsiteY177" fmla="*/ 790575 h 1704975"/>
                <a:gd name="connsiteX178" fmla="*/ 54650 w 1293444"/>
                <a:gd name="connsiteY178" fmla="*/ 787400 h 1704975"/>
                <a:gd name="connsiteX179" fmla="*/ 38775 w 1293444"/>
                <a:gd name="connsiteY179" fmla="*/ 771525 h 1704975"/>
                <a:gd name="connsiteX180" fmla="*/ 29250 w 1293444"/>
                <a:gd name="connsiteY180" fmla="*/ 762000 h 1704975"/>
                <a:gd name="connsiteX181" fmla="*/ 19725 w 1293444"/>
                <a:gd name="connsiteY181" fmla="*/ 758825 h 1704975"/>
                <a:gd name="connsiteX182" fmla="*/ 675 w 1293444"/>
                <a:gd name="connsiteY182" fmla="*/ 746125 h 1704975"/>
                <a:gd name="connsiteX183" fmla="*/ 51475 w 1293444"/>
                <a:gd name="connsiteY183" fmla="*/ 739775 h 1704975"/>
                <a:gd name="connsiteX184" fmla="*/ 67350 w 1293444"/>
                <a:gd name="connsiteY184" fmla="*/ 736600 h 1704975"/>
                <a:gd name="connsiteX185" fmla="*/ 102275 w 1293444"/>
                <a:gd name="connsiteY185" fmla="*/ 733425 h 1704975"/>
                <a:gd name="connsiteX186" fmla="*/ 130850 w 1293444"/>
                <a:gd name="connsiteY186" fmla="*/ 727075 h 1704975"/>
                <a:gd name="connsiteX187" fmla="*/ 149900 w 1293444"/>
                <a:gd name="connsiteY187" fmla="*/ 723900 h 1704975"/>
                <a:gd name="connsiteX188" fmla="*/ 159425 w 1293444"/>
                <a:gd name="connsiteY188" fmla="*/ 720725 h 1704975"/>
                <a:gd name="connsiteX189" fmla="*/ 175300 w 1293444"/>
                <a:gd name="connsiteY189" fmla="*/ 717550 h 1704975"/>
                <a:gd name="connsiteX190" fmla="*/ 194350 w 1293444"/>
                <a:gd name="connsiteY190" fmla="*/ 711200 h 1704975"/>
                <a:gd name="connsiteX191" fmla="*/ 222925 w 1293444"/>
                <a:gd name="connsiteY191" fmla="*/ 701675 h 1704975"/>
                <a:gd name="connsiteX192" fmla="*/ 232450 w 1293444"/>
                <a:gd name="connsiteY192" fmla="*/ 698500 h 1704975"/>
                <a:gd name="connsiteX193" fmla="*/ 241975 w 1293444"/>
                <a:gd name="connsiteY193" fmla="*/ 695325 h 1704975"/>
                <a:gd name="connsiteX194" fmla="*/ 381675 w 1293444"/>
                <a:gd name="connsiteY194" fmla="*/ 688975 h 1704975"/>
                <a:gd name="connsiteX195" fmla="*/ 397550 w 1293444"/>
                <a:gd name="connsiteY195" fmla="*/ 685800 h 1704975"/>
                <a:gd name="connsiteX196" fmla="*/ 407075 w 1293444"/>
                <a:gd name="connsiteY196" fmla="*/ 682625 h 1704975"/>
                <a:gd name="connsiteX197" fmla="*/ 419775 w 1293444"/>
                <a:gd name="connsiteY197" fmla="*/ 679450 h 1704975"/>
                <a:gd name="connsiteX198" fmla="*/ 438825 w 1293444"/>
                <a:gd name="connsiteY198" fmla="*/ 673100 h 1704975"/>
                <a:gd name="connsiteX199" fmla="*/ 467400 w 1293444"/>
                <a:gd name="connsiteY199" fmla="*/ 663575 h 1704975"/>
                <a:gd name="connsiteX200" fmla="*/ 495975 w 1293444"/>
                <a:gd name="connsiteY200" fmla="*/ 654050 h 1704975"/>
                <a:gd name="connsiteX201" fmla="*/ 505500 w 1293444"/>
                <a:gd name="connsiteY201" fmla="*/ 650875 h 1704975"/>
                <a:gd name="connsiteX202" fmla="*/ 527725 w 1293444"/>
                <a:gd name="connsiteY202" fmla="*/ 641350 h 1704975"/>
                <a:gd name="connsiteX203" fmla="*/ 537250 w 1293444"/>
                <a:gd name="connsiteY203" fmla="*/ 635000 h 1704975"/>
                <a:gd name="connsiteX204" fmla="*/ 546775 w 1293444"/>
                <a:gd name="connsiteY204" fmla="*/ 631825 h 1704975"/>
                <a:gd name="connsiteX205" fmla="*/ 559475 w 1293444"/>
                <a:gd name="connsiteY205" fmla="*/ 625475 h 1704975"/>
                <a:gd name="connsiteX206" fmla="*/ 578525 w 1293444"/>
                <a:gd name="connsiteY206" fmla="*/ 657225 h 1704975"/>
                <a:gd name="connsiteX207" fmla="*/ 588050 w 1293444"/>
                <a:gd name="connsiteY207" fmla="*/ 660400 h 1704975"/>
                <a:gd name="connsiteX208" fmla="*/ 607100 w 1293444"/>
                <a:gd name="connsiteY208" fmla="*/ 673100 h 1704975"/>
                <a:gd name="connsiteX209" fmla="*/ 626150 w 1293444"/>
                <a:gd name="connsiteY209" fmla="*/ 679450 h 1704975"/>
                <a:gd name="connsiteX210" fmla="*/ 635675 w 1293444"/>
                <a:gd name="connsiteY210" fmla="*/ 685800 h 1704975"/>
                <a:gd name="connsiteX211" fmla="*/ 654725 w 1293444"/>
                <a:gd name="connsiteY211" fmla="*/ 692150 h 1704975"/>
                <a:gd name="connsiteX212" fmla="*/ 635675 w 1293444"/>
                <a:gd name="connsiteY212" fmla="*/ 676275 h 1704975"/>
                <a:gd name="connsiteX213" fmla="*/ 632500 w 1293444"/>
                <a:gd name="connsiteY213" fmla="*/ 666750 h 1704975"/>
                <a:gd name="connsiteX214" fmla="*/ 635675 w 1293444"/>
                <a:gd name="connsiteY214" fmla="*/ 590550 h 1704975"/>
                <a:gd name="connsiteX215" fmla="*/ 642025 w 1293444"/>
                <a:gd name="connsiteY215" fmla="*/ 571500 h 1704975"/>
                <a:gd name="connsiteX216" fmla="*/ 648375 w 1293444"/>
                <a:gd name="connsiteY216" fmla="*/ 561975 h 1704975"/>
                <a:gd name="connsiteX217" fmla="*/ 638850 w 1293444"/>
                <a:gd name="connsiteY217" fmla="*/ 536575 h 1704975"/>
                <a:gd name="connsiteX218" fmla="*/ 629325 w 1293444"/>
                <a:gd name="connsiteY218" fmla="*/ 533400 h 1704975"/>
                <a:gd name="connsiteX219" fmla="*/ 626150 w 1293444"/>
                <a:gd name="connsiteY219" fmla="*/ 523875 h 1704975"/>
                <a:gd name="connsiteX220" fmla="*/ 632500 w 1293444"/>
                <a:gd name="connsiteY220" fmla="*/ 498475 h 1704975"/>
                <a:gd name="connsiteX221" fmla="*/ 635675 w 1293444"/>
                <a:gd name="connsiteY221" fmla="*/ 485775 h 1704975"/>
                <a:gd name="connsiteX222" fmla="*/ 626150 w 1293444"/>
                <a:gd name="connsiteY222" fmla="*/ 463550 h 1704975"/>
                <a:gd name="connsiteX223" fmla="*/ 616625 w 1293444"/>
                <a:gd name="connsiteY223" fmla="*/ 460375 h 1704975"/>
                <a:gd name="connsiteX224" fmla="*/ 607100 w 1293444"/>
                <a:gd name="connsiteY224" fmla="*/ 454025 h 1704975"/>
                <a:gd name="connsiteX225" fmla="*/ 591225 w 1293444"/>
                <a:gd name="connsiteY225" fmla="*/ 450850 h 1704975"/>
                <a:gd name="connsiteX226" fmla="*/ 569000 w 1293444"/>
                <a:gd name="connsiteY226" fmla="*/ 441325 h 1704975"/>
                <a:gd name="connsiteX227" fmla="*/ 546775 w 1293444"/>
                <a:gd name="connsiteY227" fmla="*/ 415925 h 1704975"/>
                <a:gd name="connsiteX228" fmla="*/ 540425 w 1293444"/>
                <a:gd name="connsiteY228" fmla="*/ 406400 h 1704975"/>
                <a:gd name="connsiteX229" fmla="*/ 530900 w 1293444"/>
                <a:gd name="connsiteY229" fmla="*/ 400050 h 1704975"/>
                <a:gd name="connsiteX230" fmla="*/ 508675 w 1293444"/>
                <a:gd name="connsiteY230" fmla="*/ 374650 h 1704975"/>
                <a:gd name="connsiteX231" fmla="*/ 502325 w 1293444"/>
                <a:gd name="connsiteY231" fmla="*/ 365125 h 1704975"/>
                <a:gd name="connsiteX232" fmla="*/ 483275 w 1293444"/>
                <a:gd name="connsiteY232" fmla="*/ 346075 h 1704975"/>
                <a:gd name="connsiteX233" fmla="*/ 486450 w 1293444"/>
                <a:gd name="connsiteY233" fmla="*/ 333375 h 1704975"/>
                <a:gd name="connsiteX234" fmla="*/ 492800 w 1293444"/>
                <a:gd name="connsiteY234" fmla="*/ 314325 h 1704975"/>
                <a:gd name="connsiteX235" fmla="*/ 489625 w 1293444"/>
                <a:gd name="connsiteY235" fmla="*/ 292100 h 1704975"/>
                <a:gd name="connsiteX236" fmla="*/ 461050 w 1293444"/>
                <a:gd name="connsiteY236" fmla="*/ 266700 h 1704975"/>
                <a:gd name="connsiteX237" fmla="*/ 435650 w 1293444"/>
                <a:gd name="connsiteY237" fmla="*/ 254000 h 1704975"/>
                <a:gd name="connsiteX238" fmla="*/ 413425 w 1293444"/>
                <a:gd name="connsiteY238" fmla="*/ 238125 h 1704975"/>
                <a:gd name="connsiteX239" fmla="*/ 403900 w 1293444"/>
                <a:gd name="connsiteY239" fmla="*/ 231775 h 1704975"/>
                <a:gd name="connsiteX240" fmla="*/ 362625 w 1293444"/>
                <a:gd name="connsiteY240" fmla="*/ 114300 h 1704975"/>
                <a:gd name="connsiteX241" fmla="*/ 368975 w 1293444"/>
                <a:gd name="connsiteY241" fmla="*/ 104775 h 1704975"/>
                <a:gd name="connsiteX242" fmla="*/ 375325 w 1293444"/>
                <a:gd name="connsiteY242"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9025 w 1293444"/>
                <a:gd name="connsiteY111" fmla="*/ 1393825 h 1704975"/>
                <a:gd name="connsiteX112" fmla="*/ 775375 w 1293444"/>
                <a:gd name="connsiteY112" fmla="*/ 1412875 h 1704975"/>
                <a:gd name="connsiteX113" fmla="*/ 781725 w 1293444"/>
                <a:gd name="connsiteY113" fmla="*/ 1435100 h 1704975"/>
                <a:gd name="connsiteX114" fmla="*/ 772200 w 1293444"/>
                <a:gd name="connsiteY114" fmla="*/ 1460500 h 1704975"/>
                <a:gd name="connsiteX115" fmla="*/ 762675 w 1293444"/>
                <a:gd name="connsiteY115" fmla="*/ 1466850 h 1704975"/>
                <a:gd name="connsiteX116" fmla="*/ 753150 w 1293444"/>
                <a:gd name="connsiteY116" fmla="*/ 1485900 h 1704975"/>
                <a:gd name="connsiteX117" fmla="*/ 749975 w 1293444"/>
                <a:gd name="connsiteY117" fmla="*/ 1514475 h 1704975"/>
                <a:gd name="connsiteX118" fmla="*/ 740450 w 1293444"/>
                <a:gd name="connsiteY118" fmla="*/ 1520825 h 1704975"/>
                <a:gd name="connsiteX119" fmla="*/ 730925 w 1293444"/>
                <a:gd name="connsiteY119" fmla="*/ 1530350 h 1704975"/>
                <a:gd name="connsiteX120" fmla="*/ 718225 w 1293444"/>
                <a:gd name="connsiteY120" fmla="*/ 1549400 h 1704975"/>
                <a:gd name="connsiteX121" fmla="*/ 711875 w 1293444"/>
                <a:gd name="connsiteY121" fmla="*/ 1558925 h 1704975"/>
                <a:gd name="connsiteX122" fmla="*/ 702350 w 1293444"/>
                <a:gd name="connsiteY122" fmla="*/ 1568450 h 1704975"/>
                <a:gd name="connsiteX123" fmla="*/ 699175 w 1293444"/>
                <a:gd name="connsiteY123" fmla="*/ 1577975 h 1704975"/>
                <a:gd name="connsiteX124" fmla="*/ 686475 w 1293444"/>
                <a:gd name="connsiteY124" fmla="*/ 1597025 h 1704975"/>
                <a:gd name="connsiteX125" fmla="*/ 648375 w 1293444"/>
                <a:gd name="connsiteY125" fmla="*/ 1631950 h 1704975"/>
                <a:gd name="connsiteX126" fmla="*/ 638850 w 1293444"/>
                <a:gd name="connsiteY126" fmla="*/ 1638300 h 1704975"/>
                <a:gd name="connsiteX127" fmla="*/ 607100 w 1293444"/>
                <a:gd name="connsiteY127" fmla="*/ 1676400 h 1704975"/>
                <a:gd name="connsiteX128" fmla="*/ 556300 w 1293444"/>
                <a:gd name="connsiteY128" fmla="*/ 1679575 h 1704975"/>
                <a:gd name="connsiteX129" fmla="*/ 537250 w 1293444"/>
                <a:gd name="connsiteY129" fmla="*/ 1685925 h 1704975"/>
                <a:gd name="connsiteX130" fmla="*/ 515025 w 1293444"/>
                <a:gd name="connsiteY130" fmla="*/ 1698625 h 1704975"/>
                <a:gd name="connsiteX131" fmla="*/ 495975 w 1293444"/>
                <a:gd name="connsiteY131" fmla="*/ 1704975 h 1704975"/>
                <a:gd name="connsiteX132" fmla="*/ 476925 w 1293444"/>
                <a:gd name="connsiteY132" fmla="*/ 1701800 h 1704975"/>
                <a:gd name="connsiteX133" fmla="*/ 470575 w 1293444"/>
                <a:gd name="connsiteY133" fmla="*/ 1692275 h 1704975"/>
                <a:gd name="connsiteX134" fmla="*/ 467400 w 1293444"/>
                <a:gd name="connsiteY134" fmla="*/ 1660525 h 1704975"/>
                <a:gd name="connsiteX135" fmla="*/ 457875 w 1293444"/>
                <a:gd name="connsiteY135" fmla="*/ 1641475 h 1704975"/>
                <a:gd name="connsiteX136" fmla="*/ 432475 w 1293444"/>
                <a:gd name="connsiteY136" fmla="*/ 1495425 h 1704975"/>
                <a:gd name="connsiteX137" fmla="*/ 429300 w 1293444"/>
                <a:gd name="connsiteY137" fmla="*/ 1485900 h 1704975"/>
                <a:gd name="connsiteX138" fmla="*/ 426125 w 1293444"/>
                <a:gd name="connsiteY138" fmla="*/ 1473200 h 1704975"/>
                <a:gd name="connsiteX139" fmla="*/ 419775 w 1293444"/>
                <a:gd name="connsiteY139" fmla="*/ 1463675 h 1704975"/>
                <a:gd name="connsiteX140" fmla="*/ 416600 w 1293444"/>
                <a:gd name="connsiteY140" fmla="*/ 1454150 h 1704975"/>
                <a:gd name="connsiteX141" fmla="*/ 394375 w 1293444"/>
                <a:gd name="connsiteY141" fmla="*/ 1381125 h 1704975"/>
                <a:gd name="connsiteX142" fmla="*/ 391200 w 1293444"/>
                <a:gd name="connsiteY142" fmla="*/ 1368425 h 1704975"/>
                <a:gd name="connsiteX143" fmla="*/ 388025 w 1293444"/>
                <a:gd name="connsiteY143" fmla="*/ 1352550 h 1704975"/>
                <a:gd name="connsiteX144" fmla="*/ 381675 w 1293444"/>
                <a:gd name="connsiteY144" fmla="*/ 1333500 h 1704975"/>
                <a:gd name="connsiteX145" fmla="*/ 378500 w 1293444"/>
                <a:gd name="connsiteY145" fmla="*/ 1323975 h 1704975"/>
                <a:gd name="connsiteX146" fmla="*/ 375325 w 1293444"/>
                <a:gd name="connsiteY146" fmla="*/ 1308100 h 1704975"/>
                <a:gd name="connsiteX147" fmla="*/ 368975 w 1293444"/>
                <a:gd name="connsiteY147" fmla="*/ 1289050 h 1704975"/>
                <a:gd name="connsiteX148" fmla="*/ 362625 w 1293444"/>
                <a:gd name="connsiteY148" fmla="*/ 1260475 h 1704975"/>
                <a:gd name="connsiteX149" fmla="*/ 359450 w 1293444"/>
                <a:gd name="connsiteY149" fmla="*/ 1231900 h 1704975"/>
                <a:gd name="connsiteX150" fmla="*/ 349925 w 1293444"/>
                <a:gd name="connsiteY150" fmla="*/ 1196975 h 1704975"/>
                <a:gd name="connsiteX151" fmla="*/ 340400 w 1293444"/>
                <a:gd name="connsiteY151" fmla="*/ 1155700 h 1704975"/>
                <a:gd name="connsiteX152" fmla="*/ 334050 w 1293444"/>
                <a:gd name="connsiteY152" fmla="*/ 1130300 h 1704975"/>
                <a:gd name="connsiteX153" fmla="*/ 327700 w 1293444"/>
                <a:gd name="connsiteY153" fmla="*/ 1104900 h 1704975"/>
                <a:gd name="connsiteX154" fmla="*/ 324525 w 1293444"/>
                <a:gd name="connsiteY154" fmla="*/ 1092200 h 1704975"/>
                <a:gd name="connsiteX155" fmla="*/ 318175 w 1293444"/>
                <a:gd name="connsiteY155" fmla="*/ 1050925 h 1704975"/>
                <a:gd name="connsiteX156" fmla="*/ 315000 w 1293444"/>
                <a:gd name="connsiteY156" fmla="*/ 1031875 h 1704975"/>
                <a:gd name="connsiteX157" fmla="*/ 311825 w 1293444"/>
                <a:gd name="connsiteY157" fmla="*/ 1022350 h 1704975"/>
                <a:gd name="connsiteX158" fmla="*/ 308650 w 1293444"/>
                <a:gd name="connsiteY158" fmla="*/ 1006475 h 1704975"/>
                <a:gd name="connsiteX159" fmla="*/ 302300 w 1293444"/>
                <a:gd name="connsiteY159" fmla="*/ 987425 h 1704975"/>
                <a:gd name="connsiteX160" fmla="*/ 299125 w 1293444"/>
                <a:gd name="connsiteY160" fmla="*/ 974725 h 1704975"/>
                <a:gd name="connsiteX161" fmla="*/ 292775 w 1293444"/>
                <a:gd name="connsiteY161" fmla="*/ 955675 h 1704975"/>
                <a:gd name="connsiteX162" fmla="*/ 289600 w 1293444"/>
                <a:gd name="connsiteY162" fmla="*/ 946150 h 1704975"/>
                <a:gd name="connsiteX163" fmla="*/ 280075 w 1293444"/>
                <a:gd name="connsiteY163" fmla="*/ 923925 h 1704975"/>
                <a:gd name="connsiteX164" fmla="*/ 261025 w 1293444"/>
                <a:gd name="connsiteY164" fmla="*/ 908050 h 1704975"/>
                <a:gd name="connsiteX165" fmla="*/ 241975 w 1293444"/>
                <a:gd name="connsiteY165" fmla="*/ 901700 h 1704975"/>
                <a:gd name="connsiteX166" fmla="*/ 222925 w 1293444"/>
                <a:gd name="connsiteY166" fmla="*/ 889000 h 1704975"/>
                <a:gd name="connsiteX167" fmla="*/ 213400 w 1293444"/>
                <a:gd name="connsiteY167" fmla="*/ 885825 h 1704975"/>
                <a:gd name="connsiteX168" fmla="*/ 194350 w 1293444"/>
                <a:gd name="connsiteY168" fmla="*/ 873125 h 1704975"/>
                <a:gd name="connsiteX169" fmla="*/ 175300 w 1293444"/>
                <a:gd name="connsiteY169" fmla="*/ 860425 h 1704975"/>
                <a:gd name="connsiteX170" fmla="*/ 162600 w 1293444"/>
                <a:gd name="connsiteY170" fmla="*/ 850900 h 1704975"/>
                <a:gd name="connsiteX171" fmla="*/ 153075 w 1293444"/>
                <a:gd name="connsiteY171" fmla="*/ 847725 h 1704975"/>
                <a:gd name="connsiteX172" fmla="*/ 134025 w 1293444"/>
                <a:gd name="connsiteY172" fmla="*/ 835025 h 1704975"/>
                <a:gd name="connsiteX173" fmla="*/ 114975 w 1293444"/>
                <a:gd name="connsiteY173" fmla="*/ 822325 h 1704975"/>
                <a:gd name="connsiteX174" fmla="*/ 105450 w 1293444"/>
                <a:gd name="connsiteY174" fmla="*/ 815975 h 1704975"/>
                <a:gd name="connsiteX175" fmla="*/ 95925 w 1293444"/>
                <a:gd name="connsiteY175" fmla="*/ 812800 h 1704975"/>
                <a:gd name="connsiteX176" fmla="*/ 64175 w 1293444"/>
                <a:gd name="connsiteY176" fmla="*/ 790575 h 1704975"/>
                <a:gd name="connsiteX177" fmla="*/ 54650 w 1293444"/>
                <a:gd name="connsiteY177" fmla="*/ 787400 h 1704975"/>
                <a:gd name="connsiteX178" fmla="*/ 38775 w 1293444"/>
                <a:gd name="connsiteY178" fmla="*/ 771525 h 1704975"/>
                <a:gd name="connsiteX179" fmla="*/ 29250 w 1293444"/>
                <a:gd name="connsiteY179" fmla="*/ 762000 h 1704975"/>
                <a:gd name="connsiteX180" fmla="*/ 19725 w 1293444"/>
                <a:gd name="connsiteY180" fmla="*/ 758825 h 1704975"/>
                <a:gd name="connsiteX181" fmla="*/ 675 w 1293444"/>
                <a:gd name="connsiteY181" fmla="*/ 746125 h 1704975"/>
                <a:gd name="connsiteX182" fmla="*/ 51475 w 1293444"/>
                <a:gd name="connsiteY182" fmla="*/ 739775 h 1704975"/>
                <a:gd name="connsiteX183" fmla="*/ 67350 w 1293444"/>
                <a:gd name="connsiteY183" fmla="*/ 736600 h 1704975"/>
                <a:gd name="connsiteX184" fmla="*/ 102275 w 1293444"/>
                <a:gd name="connsiteY184" fmla="*/ 733425 h 1704975"/>
                <a:gd name="connsiteX185" fmla="*/ 130850 w 1293444"/>
                <a:gd name="connsiteY185" fmla="*/ 727075 h 1704975"/>
                <a:gd name="connsiteX186" fmla="*/ 149900 w 1293444"/>
                <a:gd name="connsiteY186" fmla="*/ 723900 h 1704975"/>
                <a:gd name="connsiteX187" fmla="*/ 159425 w 1293444"/>
                <a:gd name="connsiteY187" fmla="*/ 720725 h 1704975"/>
                <a:gd name="connsiteX188" fmla="*/ 175300 w 1293444"/>
                <a:gd name="connsiteY188" fmla="*/ 717550 h 1704975"/>
                <a:gd name="connsiteX189" fmla="*/ 194350 w 1293444"/>
                <a:gd name="connsiteY189" fmla="*/ 711200 h 1704975"/>
                <a:gd name="connsiteX190" fmla="*/ 222925 w 1293444"/>
                <a:gd name="connsiteY190" fmla="*/ 701675 h 1704975"/>
                <a:gd name="connsiteX191" fmla="*/ 232450 w 1293444"/>
                <a:gd name="connsiteY191" fmla="*/ 698500 h 1704975"/>
                <a:gd name="connsiteX192" fmla="*/ 241975 w 1293444"/>
                <a:gd name="connsiteY192" fmla="*/ 695325 h 1704975"/>
                <a:gd name="connsiteX193" fmla="*/ 381675 w 1293444"/>
                <a:gd name="connsiteY193" fmla="*/ 688975 h 1704975"/>
                <a:gd name="connsiteX194" fmla="*/ 397550 w 1293444"/>
                <a:gd name="connsiteY194" fmla="*/ 685800 h 1704975"/>
                <a:gd name="connsiteX195" fmla="*/ 407075 w 1293444"/>
                <a:gd name="connsiteY195" fmla="*/ 682625 h 1704975"/>
                <a:gd name="connsiteX196" fmla="*/ 419775 w 1293444"/>
                <a:gd name="connsiteY196" fmla="*/ 679450 h 1704975"/>
                <a:gd name="connsiteX197" fmla="*/ 438825 w 1293444"/>
                <a:gd name="connsiteY197" fmla="*/ 673100 h 1704975"/>
                <a:gd name="connsiteX198" fmla="*/ 467400 w 1293444"/>
                <a:gd name="connsiteY198" fmla="*/ 663575 h 1704975"/>
                <a:gd name="connsiteX199" fmla="*/ 495975 w 1293444"/>
                <a:gd name="connsiteY199" fmla="*/ 654050 h 1704975"/>
                <a:gd name="connsiteX200" fmla="*/ 505500 w 1293444"/>
                <a:gd name="connsiteY200" fmla="*/ 650875 h 1704975"/>
                <a:gd name="connsiteX201" fmla="*/ 527725 w 1293444"/>
                <a:gd name="connsiteY201" fmla="*/ 641350 h 1704975"/>
                <a:gd name="connsiteX202" fmla="*/ 537250 w 1293444"/>
                <a:gd name="connsiteY202" fmla="*/ 635000 h 1704975"/>
                <a:gd name="connsiteX203" fmla="*/ 546775 w 1293444"/>
                <a:gd name="connsiteY203" fmla="*/ 631825 h 1704975"/>
                <a:gd name="connsiteX204" fmla="*/ 559475 w 1293444"/>
                <a:gd name="connsiteY204" fmla="*/ 625475 h 1704975"/>
                <a:gd name="connsiteX205" fmla="*/ 578525 w 1293444"/>
                <a:gd name="connsiteY205" fmla="*/ 657225 h 1704975"/>
                <a:gd name="connsiteX206" fmla="*/ 588050 w 1293444"/>
                <a:gd name="connsiteY206" fmla="*/ 660400 h 1704975"/>
                <a:gd name="connsiteX207" fmla="*/ 607100 w 1293444"/>
                <a:gd name="connsiteY207" fmla="*/ 673100 h 1704975"/>
                <a:gd name="connsiteX208" fmla="*/ 626150 w 1293444"/>
                <a:gd name="connsiteY208" fmla="*/ 679450 h 1704975"/>
                <a:gd name="connsiteX209" fmla="*/ 635675 w 1293444"/>
                <a:gd name="connsiteY209" fmla="*/ 685800 h 1704975"/>
                <a:gd name="connsiteX210" fmla="*/ 654725 w 1293444"/>
                <a:gd name="connsiteY210" fmla="*/ 692150 h 1704975"/>
                <a:gd name="connsiteX211" fmla="*/ 635675 w 1293444"/>
                <a:gd name="connsiteY211" fmla="*/ 676275 h 1704975"/>
                <a:gd name="connsiteX212" fmla="*/ 632500 w 1293444"/>
                <a:gd name="connsiteY212" fmla="*/ 666750 h 1704975"/>
                <a:gd name="connsiteX213" fmla="*/ 635675 w 1293444"/>
                <a:gd name="connsiteY213" fmla="*/ 590550 h 1704975"/>
                <a:gd name="connsiteX214" fmla="*/ 642025 w 1293444"/>
                <a:gd name="connsiteY214" fmla="*/ 571500 h 1704975"/>
                <a:gd name="connsiteX215" fmla="*/ 648375 w 1293444"/>
                <a:gd name="connsiteY215" fmla="*/ 561975 h 1704975"/>
                <a:gd name="connsiteX216" fmla="*/ 638850 w 1293444"/>
                <a:gd name="connsiteY216" fmla="*/ 536575 h 1704975"/>
                <a:gd name="connsiteX217" fmla="*/ 629325 w 1293444"/>
                <a:gd name="connsiteY217" fmla="*/ 533400 h 1704975"/>
                <a:gd name="connsiteX218" fmla="*/ 626150 w 1293444"/>
                <a:gd name="connsiteY218" fmla="*/ 523875 h 1704975"/>
                <a:gd name="connsiteX219" fmla="*/ 632500 w 1293444"/>
                <a:gd name="connsiteY219" fmla="*/ 498475 h 1704975"/>
                <a:gd name="connsiteX220" fmla="*/ 635675 w 1293444"/>
                <a:gd name="connsiteY220" fmla="*/ 485775 h 1704975"/>
                <a:gd name="connsiteX221" fmla="*/ 626150 w 1293444"/>
                <a:gd name="connsiteY221" fmla="*/ 463550 h 1704975"/>
                <a:gd name="connsiteX222" fmla="*/ 616625 w 1293444"/>
                <a:gd name="connsiteY222" fmla="*/ 460375 h 1704975"/>
                <a:gd name="connsiteX223" fmla="*/ 607100 w 1293444"/>
                <a:gd name="connsiteY223" fmla="*/ 454025 h 1704975"/>
                <a:gd name="connsiteX224" fmla="*/ 591225 w 1293444"/>
                <a:gd name="connsiteY224" fmla="*/ 450850 h 1704975"/>
                <a:gd name="connsiteX225" fmla="*/ 569000 w 1293444"/>
                <a:gd name="connsiteY225" fmla="*/ 441325 h 1704975"/>
                <a:gd name="connsiteX226" fmla="*/ 546775 w 1293444"/>
                <a:gd name="connsiteY226" fmla="*/ 415925 h 1704975"/>
                <a:gd name="connsiteX227" fmla="*/ 540425 w 1293444"/>
                <a:gd name="connsiteY227" fmla="*/ 406400 h 1704975"/>
                <a:gd name="connsiteX228" fmla="*/ 530900 w 1293444"/>
                <a:gd name="connsiteY228" fmla="*/ 400050 h 1704975"/>
                <a:gd name="connsiteX229" fmla="*/ 508675 w 1293444"/>
                <a:gd name="connsiteY229" fmla="*/ 374650 h 1704975"/>
                <a:gd name="connsiteX230" fmla="*/ 502325 w 1293444"/>
                <a:gd name="connsiteY230" fmla="*/ 365125 h 1704975"/>
                <a:gd name="connsiteX231" fmla="*/ 483275 w 1293444"/>
                <a:gd name="connsiteY231" fmla="*/ 346075 h 1704975"/>
                <a:gd name="connsiteX232" fmla="*/ 486450 w 1293444"/>
                <a:gd name="connsiteY232" fmla="*/ 333375 h 1704975"/>
                <a:gd name="connsiteX233" fmla="*/ 492800 w 1293444"/>
                <a:gd name="connsiteY233" fmla="*/ 314325 h 1704975"/>
                <a:gd name="connsiteX234" fmla="*/ 489625 w 1293444"/>
                <a:gd name="connsiteY234" fmla="*/ 292100 h 1704975"/>
                <a:gd name="connsiteX235" fmla="*/ 461050 w 1293444"/>
                <a:gd name="connsiteY235" fmla="*/ 266700 h 1704975"/>
                <a:gd name="connsiteX236" fmla="*/ 435650 w 1293444"/>
                <a:gd name="connsiteY236" fmla="*/ 254000 h 1704975"/>
                <a:gd name="connsiteX237" fmla="*/ 413425 w 1293444"/>
                <a:gd name="connsiteY237" fmla="*/ 238125 h 1704975"/>
                <a:gd name="connsiteX238" fmla="*/ 403900 w 1293444"/>
                <a:gd name="connsiteY238" fmla="*/ 231775 h 1704975"/>
                <a:gd name="connsiteX239" fmla="*/ 362625 w 1293444"/>
                <a:gd name="connsiteY239" fmla="*/ 114300 h 1704975"/>
                <a:gd name="connsiteX240" fmla="*/ 368975 w 1293444"/>
                <a:gd name="connsiteY240" fmla="*/ 104775 h 1704975"/>
                <a:gd name="connsiteX241" fmla="*/ 375325 w 1293444"/>
                <a:gd name="connsiteY241"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69025 w 1293444"/>
                <a:gd name="connsiteY110" fmla="*/ 1393825 h 1704975"/>
                <a:gd name="connsiteX111" fmla="*/ 775375 w 1293444"/>
                <a:gd name="connsiteY111" fmla="*/ 1412875 h 1704975"/>
                <a:gd name="connsiteX112" fmla="*/ 781725 w 1293444"/>
                <a:gd name="connsiteY112" fmla="*/ 1435100 h 1704975"/>
                <a:gd name="connsiteX113" fmla="*/ 772200 w 1293444"/>
                <a:gd name="connsiteY113" fmla="*/ 1460500 h 1704975"/>
                <a:gd name="connsiteX114" fmla="*/ 762675 w 1293444"/>
                <a:gd name="connsiteY114" fmla="*/ 1466850 h 1704975"/>
                <a:gd name="connsiteX115" fmla="*/ 753150 w 1293444"/>
                <a:gd name="connsiteY115" fmla="*/ 1485900 h 1704975"/>
                <a:gd name="connsiteX116" fmla="*/ 749975 w 1293444"/>
                <a:gd name="connsiteY116" fmla="*/ 1514475 h 1704975"/>
                <a:gd name="connsiteX117" fmla="*/ 740450 w 1293444"/>
                <a:gd name="connsiteY117" fmla="*/ 1520825 h 1704975"/>
                <a:gd name="connsiteX118" fmla="*/ 730925 w 1293444"/>
                <a:gd name="connsiteY118" fmla="*/ 1530350 h 1704975"/>
                <a:gd name="connsiteX119" fmla="*/ 718225 w 1293444"/>
                <a:gd name="connsiteY119" fmla="*/ 1549400 h 1704975"/>
                <a:gd name="connsiteX120" fmla="*/ 711875 w 1293444"/>
                <a:gd name="connsiteY120" fmla="*/ 1558925 h 1704975"/>
                <a:gd name="connsiteX121" fmla="*/ 702350 w 1293444"/>
                <a:gd name="connsiteY121" fmla="*/ 1568450 h 1704975"/>
                <a:gd name="connsiteX122" fmla="*/ 699175 w 1293444"/>
                <a:gd name="connsiteY122" fmla="*/ 1577975 h 1704975"/>
                <a:gd name="connsiteX123" fmla="*/ 686475 w 1293444"/>
                <a:gd name="connsiteY123" fmla="*/ 1597025 h 1704975"/>
                <a:gd name="connsiteX124" fmla="*/ 648375 w 1293444"/>
                <a:gd name="connsiteY124" fmla="*/ 1631950 h 1704975"/>
                <a:gd name="connsiteX125" fmla="*/ 638850 w 1293444"/>
                <a:gd name="connsiteY125" fmla="*/ 1638300 h 1704975"/>
                <a:gd name="connsiteX126" fmla="*/ 607100 w 1293444"/>
                <a:gd name="connsiteY126" fmla="*/ 1676400 h 1704975"/>
                <a:gd name="connsiteX127" fmla="*/ 556300 w 1293444"/>
                <a:gd name="connsiteY127" fmla="*/ 1679575 h 1704975"/>
                <a:gd name="connsiteX128" fmla="*/ 537250 w 1293444"/>
                <a:gd name="connsiteY128" fmla="*/ 1685925 h 1704975"/>
                <a:gd name="connsiteX129" fmla="*/ 515025 w 1293444"/>
                <a:gd name="connsiteY129" fmla="*/ 1698625 h 1704975"/>
                <a:gd name="connsiteX130" fmla="*/ 495975 w 1293444"/>
                <a:gd name="connsiteY130" fmla="*/ 1704975 h 1704975"/>
                <a:gd name="connsiteX131" fmla="*/ 476925 w 1293444"/>
                <a:gd name="connsiteY131" fmla="*/ 1701800 h 1704975"/>
                <a:gd name="connsiteX132" fmla="*/ 470575 w 1293444"/>
                <a:gd name="connsiteY132" fmla="*/ 1692275 h 1704975"/>
                <a:gd name="connsiteX133" fmla="*/ 467400 w 1293444"/>
                <a:gd name="connsiteY133" fmla="*/ 1660525 h 1704975"/>
                <a:gd name="connsiteX134" fmla="*/ 457875 w 1293444"/>
                <a:gd name="connsiteY134" fmla="*/ 1641475 h 1704975"/>
                <a:gd name="connsiteX135" fmla="*/ 432475 w 1293444"/>
                <a:gd name="connsiteY135" fmla="*/ 1495425 h 1704975"/>
                <a:gd name="connsiteX136" fmla="*/ 429300 w 1293444"/>
                <a:gd name="connsiteY136" fmla="*/ 1485900 h 1704975"/>
                <a:gd name="connsiteX137" fmla="*/ 426125 w 1293444"/>
                <a:gd name="connsiteY137" fmla="*/ 1473200 h 1704975"/>
                <a:gd name="connsiteX138" fmla="*/ 419775 w 1293444"/>
                <a:gd name="connsiteY138" fmla="*/ 1463675 h 1704975"/>
                <a:gd name="connsiteX139" fmla="*/ 416600 w 1293444"/>
                <a:gd name="connsiteY139" fmla="*/ 1454150 h 1704975"/>
                <a:gd name="connsiteX140" fmla="*/ 394375 w 1293444"/>
                <a:gd name="connsiteY140" fmla="*/ 1381125 h 1704975"/>
                <a:gd name="connsiteX141" fmla="*/ 391200 w 1293444"/>
                <a:gd name="connsiteY141" fmla="*/ 1368425 h 1704975"/>
                <a:gd name="connsiteX142" fmla="*/ 388025 w 1293444"/>
                <a:gd name="connsiteY142" fmla="*/ 1352550 h 1704975"/>
                <a:gd name="connsiteX143" fmla="*/ 381675 w 1293444"/>
                <a:gd name="connsiteY143" fmla="*/ 1333500 h 1704975"/>
                <a:gd name="connsiteX144" fmla="*/ 378500 w 1293444"/>
                <a:gd name="connsiteY144" fmla="*/ 1323975 h 1704975"/>
                <a:gd name="connsiteX145" fmla="*/ 375325 w 1293444"/>
                <a:gd name="connsiteY145" fmla="*/ 1308100 h 1704975"/>
                <a:gd name="connsiteX146" fmla="*/ 368975 w 1293444"/>
                <a:gd name="connsiteY146" fmla="*/ 1289050 h 1704975"/>
                <a:gd name="connsiteX147" fmla="*/ 362625 w 1293444"/>
                <a:gd name="connsiteY147" fmla="*/ 1260475 h 1704975"/>
                <a:gd name="connsiteX148" fmla="*/ 359450 w 1293444"/>
                <a:gd name="connsiteY148" fmla="*/ 1231900 h 1704975"/>
                <a:gd name="connsiteX149" fmla="*/ 349925 w 1293444"/>
                <a:gd name="connsiteY149" fmla="*/ 1196975 h 1704975"/>
                <a:gd name="connsiteX150" fmla="*/ 340400 w 1293444"/>
                <a:gd name="connsiteY150" fmla="*/ 1155700 h 1704975"/>
                <a:gd name="connsiteX151" fmla="*/ 334050 w 1293444"/>
                <a:gd name="connsiteY151" fmla="*/ 1130300 h 1704975"/>
                <a:gd name="connsiteX152" fmla="*/ 327700 w 1293444"/>
                <a:gd name="connsiteY152" fmla="*/ 1104900 h 1704975"/>
                <a:gd name="connsiteX153" fmla="*/ 324525 w 1293444"/>
                <a:gd name="connsiteY153" fmla="*/ 1092200 h 1704975"/>
                <a:gd name="connsiteX154" fmla="*/ 318175 w 1293444"/>
                <a:gd name="connsiteY154" fmla="*/ 1050925 h 1704975"/>
                <a:gd name="connsiteX155" fmla="*/ 315000 w 1293444"/>
                <a:gd name="connsiteY155" fmla="*/ 1031875 h 1704975"/>
                <a:gd name="connsiteX156" fmla="*/ 311825 w 1293444"/>
                <a:gd name="connsiteY156" fmla="*/ 1022350 h 1704975"/>
                <a:gd name="connsiteX157" fmla="*/ 308650 w 1293444"/>
                <a:gd name="connsiteY157" fmla="*/ 1006475 h 1704975"/>
                <a:gd name="connsiteX158" fmla="*/ 302300 w 1293444"/>
                <a:gd name="connsiteY158" fmla="*/ 987425 h 1704975"/>
                <a:gd name="connsiteX159" fmla="*/ 299125 w 1293444"/>
                <a:gd name="connsiteY159" fmla="*/ 974725 h 1704975"/>
                <a:gd name="connsiteX160" fmla="*/ 292775 w 1293444"/>
                <a:gd name="connsiteY160" fmla="*/ 955675 h 1704975"/>
                <a:gd name="connsiteX161" fmla="*/ 289600 w 1293444"/>
                <a:gd name="connsiteY161" fmla="*/ 946150 h 1704975"/>
                <a:gd name="connsiteX162" fmla="*/ 280075 w 1293444"/>
                <a:gd name="connsiteY162" fmla="*/ 923925 h 1704975"/>
                <a:gd name="connsiteX163" fmla="*/ 261025 w 1293444"/>
                <a:gd name="connsiteY163" fmla="*/ 908050 h 1704975"/>
                <a:gd name="connsiteX164" fmla="*/ 241975 w 1293444"/>
                <a:gd name="connsiteY164" fmla="*/ 901700 h 1704975"/>
                <a:gd name="connsiteX165" fmla="*/ 222925 w 1293444"/>
                <a:gd name="connsiteY165" fmla="*/ 889000 h 1704975"/>
                <a:gd name="connsiteX166" fmla="*/ 213400 w 1293444"/>
                <a:gd name="connsiteY166" fmla="*/ 885825 h 1704975"/>
                <a:gd name="connsiteX167" fmla="*/ 194350 w 1293444"/>
                <a:gd name="connsiteY167" fmla="*/ 873125 h 1704975"/>
                <a:gd name="connsiteX168" fmla="*/ 175300 w 1293444"/>
                <a:gd name="connsiteY168" fmla="*/ 860425 h 1704975"/>
                <a:gd name="connsiteX169" fmla="*/ 162600 w 1293444"/>
                <a:gd name="connsiteY169" fmla="*/ 850900 h 1704975"/>
                <a:gd name="connsiteX170" fmla="*/ 153075 w 1293444"/>
                <a:gd name="connsiteY170" fmla="*/ 847725 h 1704975"/>
                <a:gd name="connsiteX171" fmla="*/ 134025 w 1293444"/>
                <a:gd name="connsiteY171" fmla="*/ 835025 h 1704975"/>
                <a:gd name="connsiteX172" fmla="*/ 114975 w 1293444"/>
                <a:gd name="connsiteY172" fmla="*/ 822325 h 1704975"/>
                <a:gd name="connsiteX173" fmla="*/ 105450 w 1293444"/>
                <a:gd name="connsiteY173" fmla="*/ 815975 h 1704975"/>
                <a:gd name="connsiteX174" fmla="*/ 95925 w 1293444"/>
                <a:gd name="connsiteY174" fmla="*/ 812800 h 1704975"/>
                <a:gd name="connsiteX175" fmla="*/ 64175 w 1293444"/>
                <a:gd name="connsiteY175" fmla="*/ 790575 h 1704975"/>
                <a:gd name="connsiteX176" fmla="*/ 54650 w 1293444"/>
                <a:gd name="connsiteY176" fmla="*/ 787400 h 1704975"/>
                <a:gd name="connsiteX177" fmla="*/ 38775 w 1293444"/>
                <a:gd name="connsiteY177" fmla="*/ 771525 h 1704975"/>
                <a:gd name="connsiteX178" fmla="*/ 29250 w 1293444"/>
                <a:gd name="connsiteY178" fmla="*/ 762000 h 1704975"/>
                <a:gd name="connsiteX179" fmla="*/ 19725 w 1293444"/>
                <a:gd name="connsiteY179" fmla="*/ 758825 h 1704975"/>
                <a:gd name="connsiteX180" fmla="*/ 675 w 1293444"/>
                <a:gd name="connsiteY180" fmla="*/ 746125 h 1704975"/>
                <a:gd name="connsiteX181" fmla="*/ 51475 w 1293444"/>
                <a:gd name="connsiteY181" fmla="*/ 739775 h 1704975"/>
                <a:gd name="connsiteX182" fmla="*/ 67350 w 1293444"/>
                <a:gd name="connsiteY182" fmla="*/ 736600 h 1704975"/>
                <a:gd name="connsiteX183" fmla="*/ 102275 w 1293444"/>
                <a:gd name="connsiteY183" fmla="*/ 733425 h 1704975"/>
                <a:gd name="connsiteX184" fmla="*/ 130850 w 1293444"/>
                <a:gd name="connsiteY184" fmla="*/ 727075 h 1704975"/>
                <a:gd name="connsiteX185" fmla="*/ 149900 w 1293444"/>
                <a:gd name="connsiteY185" fmla="*/ 723900 h 1704975"/>
                <a:gd name="connsiteX186" fmla="*/ 159425 w 1293444"/>
                <a:gd name="connsiteY186" fmla="*/ 720725 h 1704975"/>
                <a:gd name="connsiteX187" fmla="*/ 175300 w 1293444"/>
                <a:gd name="connsiteY187" fmla="*/ 717550 h 1704975"/>
                <a:gd name="connsiteX188" fmla="*/ 194350 w 1293444"/>
                <a:gd name="connsiteY188" fmla="*/ 711200 h 1704975"/>
                <a:gd name="connsiteX189" fmla="*/ 222925 w 1293444"/>
                <a:gd name="connsiteY189" fmla="*/ 701675 h 1704975"/>
                <a:gd name="connsiteX190" fmla="*/ 232450 w 1293444"/>
                <a:gd name="connsiteY190" fmla="*/ 698500 h 1704975"/>
                <a:gd name="connsiteX191" fmla="*/ 241975 w 1293444"/>
                <a:gd name="connsiteY191" fmla="*/ 695325 h 1704975"/>
                <a:gd name="connsiteX192" fmla="*/ 381675 w 1293444"/>
                <a:gd name="connsiteY192" fmla="*/ 688975 h 1704975"/>
                <a:gd name="connsiteX193" fmla="*/ 397550 w 1293444"/>
                <a:gd name="connsiteY193" fmla="*/ 685800 h 1704975"/>
                <a:gd name="connsiteX194" fmla="*/ 407075 w 1293444"/>
                <a:gd name="connsiteY194" fmla="*/ 682625 h 1704975"/>
                <a:gd name="connsiteX195" fmla="*/ 419775 w 1293444"/>
                <a:gd name="connsiteY195" fmla="*/ 679450 h 1704975"/>
                <a:gd name="connsiteX196" fmla="*/ 438825 w 1293444"/>
                <a:gd name="connsiteY196" fmla="*/ 673100 h 1704975"/>
                <a:gd name="connsiteX197" fmla="*/ 467400 w 1293444"/>
                <a:gd name="connsiteY197" fmla="*/ 663575 h 1704975"/>
                <a:gd name="connsiteX198" fmla="*/ 495975 w 1293444"/>
                <a:gd name="connsiteY198" fmla="*/ 654050 h 1704975"/>
                <a:gd name="connsiteX199" fmla="*/ 505500 w 1293444"/>
                <a:gd name="connsiteY199" fmla="*/ 650875 h 1704975"/>
                <a:gd name="connsiteX200" fmla="*/ 527725 w 1293444"/>
                <a:gd name="connsiteY200" fmla="*/ 641350 h 1704975"/>
                <a:gd name="connsiteX201" fmla="*/ 537250 w 1293444"/>
                <a:gd name="connsiteY201" fmla="*/ 635000 h 1704975"/>
                <a:gd name="connsiteX202" fmla="*/ 546775 w 1293444"/>
                <a:gd name="connsiteY202" fmla="*/ 631825 h 1704975"/>
                <a:gd name="connsiteX203" fmla="*/ 559475 w 1293444"/>
                <a:gd name="connsiteY203" fmla="*/ 625475 h 1704975"/>
                <a:gd name="connsiteX204" fmla="*/ 578525 w 1293444"/>
                <a:gd name="connsiteY204" fmla="*/ 657225 h 1704975"/>
                <a:gd name="connsiteX205" fmla="*/ 588050 w 1293444"/>
                <a:gd name="connsiteY205" fmla="*/ 660400 h 1704975"/>
                <a:gd name="connsiteX206" fmla="*/ 607100 w 1293444"/>
                <a:gd name="connsiteY206" fmla="*/ 673100 h 1704975"/>
                <a:gd name="connsiteX207" fmla="*/ 626150 w 1293444"/>
                <a:gd name="connsiteY207" fmla="*/ 679450 h 1704975"/>
                <a:gd name="connsiteX208" fmla="*/ 635675 w 1293444"/>
                <a:gd name="connsiteY208" fmla="*/ 685800 h 1704975"/>
                <a:gd name="connsiteX209" fmla="*/ 654725 w 1293444"/>
                <a:gd name="connsiteY209" fmla="*/ 692150 h 1704975"/>
                <a:gd name="connsiteX210" fmla="*/ 635675 w 1293444"/>
                <a:gd name="connsiteY210" fmla="*/ 676275 h 1704975"/>
                <a:gd name="connsiteX211" fmla="*/ 632500 w 1293444"/>
                <a:gd name="connsiteY211" fmla="*/ 666750 h 1704975"/>
                <a:gd name="connsiteX212" fmla="*/ 635675 w 1293444"/>
                <a:gd name="connsiteY212" fmla="*/ 590550 h 1704975"/>
                <a:gd name="connsiteX213" fmla="*/ 642025 w 1293444"/>
                <a:gd name="connsiteY213" fmla="*/ 571500 h 1704975"/>
                <a:gd name="connsiteX214" fmla="*/ 648375 w 1293444"/>
                <a:gd name="connsiteY214" fmla="*/ 561975 h 1704975"/>
                <a:gd name="connsiteX215" fmla="*/ 638850 w 1293444"/>
                <a:gd name="connsiteY215" fmla="*/ 536575 h 1704975"/>
                <a:gd name="connsiteX216" fmla="*/ 629325 w 1293444"/>
                <a:gd name="connsiteY216" fmla="*/ 533400 h 1704975"/>
                <a:gd name="connsiteX217" fmla="*/ 626150 w 1293444"/>
                <a:gd name="connsiteY217" fmla="*/ 523875 h 1704975"/>
                <a:gd name="connsiteX218" fmla="*/ 632500 w 1293444"/>
                <a:gd name="connsiteY218" fmla="*/ 498475 h 1704975"/>
                <a:gd name="connsiteX219" fmla="*/ 635675 w 1293444"/>
                <a:gd name="connsiteY219" fmla="*/ 485775 h 1704975"/>
                <a:gd name="connsiteX220" fmla="*/ 626150 w 1293444"/>
                <a:gd name="connsiteY220" fmla="*/ 463550 h 1704975"/>
                <a:gd name="connsiteX221" fmla="*/ 616625 w 1293444"/>
                <a:gd name="connsiteY221" fmla="*/ 460375 h 1704975"/>
                <a:gd name="connsiteX222" fmla="*/ 607100 w 1293444"/>
                <a:gd name="connsiteY222" fmla="*/ 454025 h 1704975"/>
                <a:gd name="connsiteX223" fmla="*/ 591225 w 1293444"/>
                <a:gd name="connsiteY223" fmla="*/ 450850 h 1704975"/>
                <a:gd name="connsiteX224" fmla="*/ 569000 w 1293444"/>
                <a:gd name="connsiteY224" fmla="*/ 441325 h 1704975"/>
                <a:gd name="connsiteX225" fmla="*/ 546775 w 1293444"/>
                <a:gd name="connsiteY225" fmla="*/ 415925 h 1704975"/>
                <a:gd name="connsiteX226" fmla="*/ 540425 w 1293444"/>
                <a:gd name="connsiteY226" fmla="*/ 406400 h 1704975"/>
                <a:gd name="connsiteX227" fmla="*/ 530900 w 1293444"/>
                <a:gd name="connsiteY227" fmla="*/ 400050 h 1704975"/>
                <a:gd name="connsiteX228" fmla="*/ 508675 w 1293444"/>
                <a:gd name="connsiteY228" fmla="*/ 374650 h 1704975"/>
                <a:gd name="connsiteX229" fmla="*/ 502325 w 1293444"/>
                <a:gd name="connsiteY229" fmla="*/ 365125 h 1704975"/>
                <a:gd name="connsiteX230" fmla="*/ 483275 w 1293444"/>
                <a:gd name="connsiteY230" fmla="*/ 346075 h 1704975"/>
                <a:gd name="connsiteX231" fmla="*/ 486450 w 1293444"/>
                <a:gd name="connsiteY231" fmla="*/ 333375 h 1704975"/>
                <a:gd name="connsiteX232" fmla="*/ 492800 w 1293444"/>
                <a:gd name="connsiteY232" fmla="*/ 314325 h 1704975"/>
                <a:gd name="connsiteX233" fmla="*/ 489625 w 1293444"/>
                <a:gd name="connsiteY233" fmla="*/ 292100 h 1704975"/>
                <a:gd name="connsiteX234" fmla="*/ 461050 w 1293444"/>
                <a:gd name="connsiteY234" fmla="*/ 266700 h 1704975"/>
                <a:gd name="connsiteX235" fmla="*/ 435650 w 1293444"/>
                <a:gd name="connsiteY235" fmla="*/ 254000 h 1704975"/>
                <a:gd name="connsiteX236" fmla="*/ 413425 w 1293444"/>
                <a:gd name="connsiteY236" fmla="*/ 238125 h 1704975"/>
                <a:gd name="connsiteX237" fmla="*/ 403900 w 1293444"/>
                <a:gd name="connsiteY237" fmla="*/ 231775 h 1704975"/>
                <a:gd name="connsiteX238" fmla="*/ 362625 w 1293444"/>
                <a:gd name="connsiteY238" fmla="*/ 114300 h 1704975"/>
                <a:gd name="connsiteX239" fmla="*/ 368975 w 1293444"/>
                <a:gd name="connsiteY239" fmla="*/ 104775 h 1704975"/>
                <a:gd name="connsiteX240" fmla="*/ 375325 w 1293444"/>
                <a:gd name="connsiteY240"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69025 w 1293444"/>
                <a:gd name="connsiteY109" fmla="*/ 1393825 h 1704975"/>
                <a:gd name="connsiteX110" fmla="*/ 775375 w 1293444"/>
                <a:gd name="connsiteY110" fmla="*/ 1412875 h 1704975"/>
                <a:gd name="connsiteX111" fmla="*/ 781725 w 1293444"/>
                <a:gd name="connsiteY111" fmla="*/ 1435100 h 1704975"/>
                <a:gd name="connsiteX112" fmla="*/ 772200 w 1293444"/>
                <a:gd name="connsiteY112" fmla="*/ 1460500 h 1704975"/>
                <a:gd name="connsiteX113" fmla="*/ 762675 w 1293444"/>
                <a:gd name="connsiteY113" fmla="*/ 1466850 h 1704975"/>
                <a:gd name="connsiteX114" fmla="*/ 753150 w 1293444"/>
                <a:gd name="connsiteY114" fmla="*/ 1485900 h 1704975"/>
                <a:gd name="connsiteX115" fmla="*/ 749975 w 1293444"/>
                <a:gd name="connsiteY115" fmla="*/ 1514475 h 1704975"/>
                <a:gd name="connsiteX116" fmla="*/ 740450 w 1293444"/>
                <a:gd name="connsiteY116" fmla="*/ 1520825 h 1704975"/>
                <a:gd name="connsiteX117" fmla="*/ 730925 w 1293444"/>
                <a:gd name="connsiteY117" fmla="*/ 1530350 h 1704975"/>
                <a:gd name="connsiteX118" fmla="*/ 718225 w 1293444"/>
                <a:gd name="connsiteY118" fmla="*/ 1549400 h 1704975"/>
                <a:gd name="connsiteX119" fmla="*/ 711875 w 1293444"/>
                <a:gd name="connsiteY119" fmla="*/ 1558925 h 1704975"/>
                <a:gd name="connsiteX120" fmla="*/ 702350 w 1293444"/>
                <a:gd name="connsiteY120" fmla="*/ 1568450 h 1704975"/>
                <a:gd name="connsiteX121" fmla="*/ 699175 w 1293444"/>
                <a:gd name="connsiteY121" fmla="*/ 1577975 h 1704975"/>
                <a:gd name="connsiteX122" fmla="*/ 686475 w 1293444"/>
                <a:gd name="connsiteY122" fmla="*/ 1597025 h 1704975"/>
                <a:gd name="connsiteX123" fmla="*/ 648375 w 1293444"/>
                <a:gd name="connsiteY123" fmla="*/ 1631950 h 1704975"/>
                <a:gd name="connsiteX124" fmla="*/ 638850 w 1293444"/>
                <a:gd name="connsiteY124" fmla="*/ 1638300 h 1704975"/>
                <a:gd name="connsiteX125" fmla="*/ 607100 w 1293444"/>
                <a:gd name="connsiteY125" fmla="*/ 1676400 h 1704975"/>
                <a:gd name="connsiteX126" fmla="*/ 556300 w 1293444"/>
                <a:gd name="connsiteY126" fmla="*/ 1679575 h 1704975"/>
                <a:gd name="connsiteX127" fmla="*/ 537250 w 1293444"/>
                <a:gd name="connsiteY127" fmla="*/ 1685925 h 1704975"/>
                <a:gd name="connsiteX128" fmla="*/ 515025 w 1293444"/>
                <a:gd name="connsiteY128" fmla="*/ 1698625 h 1704975"/>
                <a:gd name="connsiteX129" fmla="*/ 495975 w 1293444"/>
                <a:gd name="connsiteY129" fmla="*/ 1704975 h 1704975"/>
                <a:gd name="connsiteX130" fmla="*/ 476925 w 1293444"/>
                <a:gd name="connsiteY130" fmla="*/ 1701800 h 1704975"/>
                <a:gd name="connsiteX131" fmla="*/ 470575 w 1293444"/>
                <a:gd name="connsiteY131" fmla="*/ 1692275 h 1704975"/>
                <a:gd name="connsiteX132" fmla="*/ 467400 w 1293444"/>
                <a:gd name="connsiteY132" fmla="*/ 1660525 h 1704975"/>
                <a:gd name="connsiteX133" fmla="*/ 457875 w 1293444"/>
                <a:gd name="connsiteY133" fmla="*/ 1641475 h 1704975"/>
                <a:gd name="connsiteX134" fmla="*/ 432475 w 1293444"/>
                <a:gd name="connsiteY134" fmla="*/ 1495425 h 1704975"/>
                <a:gd name="connsiteX135" fmla="*/ 429300 w 1293444"/>
                <a:gd name="connsiteY135" fmla="*/ 1485900 h 1704975"/>
                <a:gd name="connsiteX136" fmla="*/ 426125 w 1293444"/>
                <a:gd name="connsiteY136" fmla="*/ 1473200 h 1704975"/>
                <a:gd name="connsiteX137" fmla="*/ 419775 w 1293444"/>
                <a:gd name="connsiteY137" fmla="*/ 1463675 h 1704975"/>
                <a:gd name="connsiteX138" fmla="*/ 416600 w 1293444"/>
                <a:gd name="connsiteY138" fmla="*/ 1454150 h 1704975"/>
                <a:gd name="connsiteX139" fmla="*/ 394375 w 1293444"/>
                <a:gd name="connsiteY139" fmla="*/ 1381125 h 1704975"/>
                <a:gd name="connsiteX140" fmla="*/ 391200 w 1293444"/>
                <a:gd name="connsiteY140" fmla="*/ 1368425 h 1704975"/>
                <a:gd name="connsiteX141" fmla="*/ 388025 w 1293444"/>
                <a:gd name="connsiteY141" fmla="*/ 1352550 h 1704975"/>
                <a:gd name="connsiteX142" fmla="*/ 381675 w 1293444"/>
                <a:gd name="connsiteY142" fmla="*/ 1333500 h 1704975"/>
                <a:gd name="connsiteX143" fmla="*/ 378500 w 1293444"/>
                <a:gd name="connsiteY143" fmla="*/ 1323975 h 1704975"/>
                <a:gd name="connsiteX144" fmla="*/ 375325 w 1293444"/>
                <a:gd name="connsiteY144" fmla="*/ 1308100 h 1704975"/>
                <a:gd name="connsiteX145" fmla="*/ 368975 w 1293444"/>
                <a:gd name="connsiteY145" fmla="*/ 1289050 h 1704975"/>
                <a:gd name="connsiteX146" fmla="*/ 362625 w 1293444"/>
                <a:gd name="connsiteY146" fmla="*/ 1260475 h 1704975"/>
                <a:gd name="connsiteX147" fmla="*/ 359450 w 1293444"/>
                <a:gd name="connsiteY147" fmla="*/ 1231900 h 1704975"/>
                <a:gd name="connsiteX148" fmla="*/ 349925 w 1293444"/>
                <a:gd name="connsiteY148" fmla="*/ 1196975 h 1704975"/>
                <a:gd name="connsiteX149" fmla="*/ 340400 w 1293444"/>
                <a:gd name="connsiteY149" fmla="*/ 1155700 h 1704975"/>
                <a:gd name="connsiteX150" fmla="*/ 334050 w 1293444"/>
                <a:gd name="connsiteY150" fmla="*/ 1130300 h 1704975"/>
                <a:gd name="connsiteX151" fmla="*/ 327700 w 1293444"/>
                <a:gd name="connsiteY151" fmla="*/ 1104900 h 1704975"/>
                <a:gd name="connsiteX152" fmla="*/ 324525 w 1293444"/>
                <a:gd name="connsiteY152" fmla="*/ 1092200 h 1704975"/>
                <a:gd name="connsiteX153" fmla="*/ 318175 w 1293444"/>
                <a:gd name="connsiteY153" fmla="*/ 1050925 h 1704975"/>
                <a:gd name="connsiteX154" fmla="*/ 315000 w 1293444"/>
                <a:gd name="connsiteY154" fmla="*/ 1031875 h 1704975"/>
                <a:gd name="connsiteX155" fmla="*/ 311825 w 1293444"/>
                <a:gd name="connsiteY155" fmla="*/ 1022350 h 1704975"/>
                <a:gd name="connsiteX156" fmla="*/ 308650 w 1293444"/>
                <a:gd name="connsiteY156" fmla="*/ 1006475 h 1704975"/>
                <a:gd name="connsiteX157" fmla="*/ 302300 w 1293444"/>
                <a:gd name="connsiteY157" fmla="*/ 987425 h 1704975"/>
                <a:gd name="connsiteX158" fmla="*/ 299125 w 1293444"/>
                <a:gd name="connsiteY158" fmla="*/ 974725 h 1704975"/>
                <a:gd name="connsiteX159" fmla="*/ 292775 w 1293444"/>
                <a:gd name="connsiteY159" fmla="*/ 955675 h 1704975"/>
                <a:gd name="connsiteX160" fmla="*/ 289600 w 1293444"/>
                <a:gd name="connsiteY160" fmla="*/ 946150 h 1704975"/>
                <a:gd name="connsiteX161" fmla="*/ 280075 w 1293444"/>
                <a:gd name="connsiteY161" fmla="*/ 923925 h 1704975"/>
                <a:gd name="connsiteX162" fmla="*/ 261025 w 1293444"/>
                <a:gd name="connsiteY162" fmla="*/ 908050 h 1704975"/>
                <a:gd name="connsiteX163" fmla="*/ 241975 w 1293444"/>
                <a:gd name="connsiteY163" fmla="*/ 901700 h 1704975"/>
                <a:gd name="connsiteX164" fmla="*/ 222925 w 1293444"/>
                <a:gd name="connsiteY164" fmla="*/ 889000 h 1704975"/>
                <a:gd name="connsiteX165" fmla="*/ 213400 w 1293444"/>
                <a:gd name="connsiteY165" fmla="*/ 885825 h 1704975"/>
                <a:gd name="connsiteX166" fmla="*/ 194350 w 1293444"/>
                <a:gd name="connsiteY166" fmla="*/ 873125 h 1704975"/>
                <a:gd name="connsiteX167" fmla="*/ 175300 w 1293444"/>
                <a:gd name="connsiteY167" fmla="*/ 860425 h 1704975"/>
                <a:gd name="connsiteX168" fmla="*/ 162600 w 1293444"/>
                <a:gd name="connsiteY168" fmla="*/ 850900 h 1704975"/>
                <a:gd name="connsiteX169" fmla="*/ 153075 w 1293444"/>
                <a:gd name="connsiteY169" fmla="*/ 847725 h 1704975"/>
                <a:gd name="connsiteX170" fmla="*/ 134025 w 1293444"/>
                <a:gd name="connsiteY170" fmla="*/ 835025 h 1704975"/>
                <a:gd name="connsiteX171" fmla="*/ 114975 w 1293444"/>
                <a:gd name="connsiteY171" fmla="*/ 822325 h 1704975"/>
                <a:gd name="connsiteX172" fmla="*/ 105450 w 1293444"/>
                <a:gd name="connsiteY172" fmla="*/ 815975 h 1704975"/>
                <a:gd name="connsiteX173" fmla="*/ 95925 w 1293444"/>
                <a:gd name="connsiteY173" fmla="*/ 812800 h 1704975"/>
                <a:gd name="connsiteX174" fmla="*/ 64175 w 1293444"/>
                <a:gd name="connsiteY174" fmla="*/ 790575 h 1704975"/>
                <a:gd name="connsiteX175" fmla="*/ 54650 w 1293444"/>
                <a:gd name="connsiteY175" fmla="*/ 787400 h 1704975"/>
                <a:gd name="connsiteX176" fmla="*/ 38775 w 1293444"/>
                <a:gd name="connsiteY176" fmla="*/ 771525 h 1704975"/>
                <a:gd name="connsiteX177" fmla="*/ 29250 w 1293444"/>
                <a:gd name="connsiteY177" fmla="*/ 762000 h 1704975"/>
                <a:gd name="connsiteX178" fmla="*/ 19725 w 1293444"/>
                <a:gd name="connsiteY178" fmla="*/ 758825 h 1704975"/>
                <a:gd name="connsiteX179" fmla="*/ 675 w 1293444"/>
                <a:gd name="connsiteY179" fmla="*/ 746125 h 1704975"/>
                <a:gd name="connsiteX180" fmla="*/ 51475 w 1293444"/>
                <a:gd name="connsiteY180" fmla="*/ 739775 h 1704975"/>
                <a:gd name="connsiteX181" fmla="*/ 67350 w 1293444"/>
                <a:gd name="connsiteY181" fmla="*/ 736600 h 1704975"/>
                <a:gd name="connsiteX182" fmla="*/ 102275 w 1293444"/>
                <a:gd name="connsiteY182" fmla="*/ 733425 h 1704975"/>
                <a:gd name="connsiteX183" fmla="*/ 130850 w 1293444"/>
                <a:gd name="connsiteY183" fmla="*/ 727075 h 1704975"/>
                <a:gd name="connsiteX184" fmla="*/ 149900 w 1293444"/>
                <a:gd name="connsiteY184" fmla="*/ 723900 h 1704975"/>
                <a:gd name="connsiteX185" fmla="*/ 159425 w 1293444"/>
                <a:gd name="connsiteY185" fmla="*/ 720725 h 1704975"/>
                <a:gd name="connsiteX186" fmla="*/ 175300 w 1293444"/>
                <a:gd name="connsiteY186" fmla="*/ 717550 h 1704975"/>
                <a:gd name="connsiteX187" fmla="*/ 194350 w 1293444"/>
                <a:gd name="connsiteY187" fmla="*/ 711200 h 1704975"/>
                <a:gd name="connsiteX188" fmla="*/ 222925 w 1293444"/>
                <a:gd name="connsiteY188" fmla="*/ 701675 h 1704975"/>
                <a:gd name="connsiteX189" fmla="*/ 232450 w 1293444"/>
                <a:gd name="connsiteY189" fmla="*/ 698500 h 1704975"/>
                <a:gd name="connsiteX190" fmla="*/ 241975 w 1293444"/>
                <a:gd name="connsiteY190" fmla="*/ 695325 h 1704975"/>
                <a:gd name="connsiteX191" fmla="*/ 381675 w 1293444"/>
                <a:gd name="connsiteY191" fmla="*/ 688975 h 1704975"/>
                <a:gd name="connsiteX192" fmla="*/ 397550 w 1293444"/>
                <a:gd name="connsiteY192" fmla="*/ 685800 h 1704975"/>
                <a:gd name="connsiteX193" fmla="*/ 407075 w 1293444"/>
                <a:gd name="connsiteY193" fmla="*/ 682625 h 1704975"/>
                <a:gd name="connsiteX194" fmla="*/ 419775 w 1293444"/>
                <a:gd name="connsiteY194" fmla="*/ 679450 h 1704975"/>
                <a:gd name="connsiteX195" fmla="*/ 438825 w 1293444"/>
                <a:gd name="connsiteY195" fmla="*/ 673100 h 1704975"/>
                <a:gd name="connsiteX196" fmla="*/ 467400 w 1293444"/>
                <a:gd name="connsiteY196" fmla="*/ 663575 h 1704975"/>
                <a:gd name="connsiteX197" fmla="*/ 495975 w 1293444"/>
                <a:gd name="connsiteY197" fmla="*/ 654050 h 1704975"/>
                <a:gd name="connsiteX198" fmla="*/ 505500 w 1293444"/>
                <a:gd name="connsiteY198" fmla="*/ 650875 h 1704975"/>
                <a:gd name="connsiteX199" fmla="*/ 527725 w 1293444"/>
                <a:gd name="connsiteY199" fmla="*/ 641350 h 1704975"/>
                <a:gd name="connsiteX200" fmla="*/ 537250 w 1293444"/>
                <a:gd name="connsiteY200" fmla="*/ 635000 h 1704975"/>
                <a:gd name="connsiteX201" fmla="*/ 546775 w 1293444"/>
                <a:gd name="connsiteY201" fmla="*/ 631825 h 1704975"/>
                <a:gd name="connsiteX202" fmla="*/ 559475 w 1293444"/>
                <a:gd name="connsiteY202" fmla="*/ 625475 h 1704975"/>
                <a:gd name="connsiteX203" fmla="*/ 578525 w 1293444"/>
                <a:gd name="connsiteY203" fmla="*/ 657225 h 1704975"/>
                <a:gd name="connsiteX204" fmla="*/ 588050 w 1293444"/>
                <a:gd name="connsiteY204" fmla="*/ 660400 h 1704975"/>
                <a:gd name="connsiteX205" fmla="*/ 607100 w 1293444"/>
                <a:gd name="connsiteY205" fmla="*/ 673100 h 1704975"/>
                <a:gd name="connsiteX206" fmla="*/ 626150 w 1293444"/>
                <a:gd name="connsiteY206" fmla="*/ 679450 h 1704975"/>
                <a:gd name="connsiteX207" fmla="*/ 635675 w 1293444"/>
                <a:gd name="connsiteY207" fmla="*/ 685800 h 1704975"/>
                <a:gd name="connsiteX208" fmla="*/ 654725 w 1293444"/>
                <a:gd name="connsiteY208" fmla="*/ 692150 h 1704975"/>
                <a:gd name="connsiteX209" fmla="*/ 635675 w 1293444"/>
                <a:gd name="connsiteY209" fmla="*/ 676275 h 1704975"/>
                <a:gd name="connsiteX210" fmla="*/ 632500 w 1293444"/>
                <a:gd name="connsiteY210" fmla="*/ 666750 h 1704975"/>
                <a:gd name="connsiteX211" fmla="*/ 635675 w 1293444"/>
                <a:gd name="connsiteY211" fmla="*/ 590550 h 1704975"/>
                <a:gd name="connsiteX212" fmla="*/ 642025 w 1293444"/>
                <a:gd name="connsiteY212" fmla="*/ 571500 h 1704975"/>
                <a:gd name="connsiteX213" fmla="*/ 648375 w 1293444"/>
                <a:gd name="connsiteY213" fmla="*/ 561975 h 1704975"/>
                <a:gd name="connsiteX214" fmla="*/ 638850 w 1293444"/>
                <a:gd name="connsiteY214" fmla="*/ 536575 h 1704975"/>
                <a:gd name="connsiteX215" fmla="*/ 629325 w 1293444"/>
                <a:gd name="connsiteY215" fmla="*/ 533400 h 1704975"/>
                <a:gd name="connsiteX216" fmla="*/ 626150 w 1293444"/>
                <a:gd name="connsiteY216" fmla="*/ 523875 h 1704975"/>
                <a:gd name="connsiteX217" fmla="*/ 632500 w 1293444"/>
                <a:gd name="connsiteY217" fmla="*/ 498475 h 1704975"/>
                <a:gd name="connsiteX218" fmla="*/ 635675 w 1293444"/>
                <a:gd name="connsiteY218" fmla="*/ 485775 h 1704975"/>
                <a:gd name="connsiteX219" fmla="*/ 626150 w 1293444"/>
                <a:gd name="connsiteY219" fmla="*/ 463550 h 1704975"/>
                <a:gd name="connsiteX220" fmla="*/ 616625 w 1293444"/>
                <a:gd name="connsiteY220" fmla="*/ 460375 h 1704975"/>
                <a:gd name="connsiteX221" fmla="*/ 607100 w 1293444"/>
                <a:gd name="connsiteY221" fmla="*/ 454025 h 1704975"/>
                <a:gd name="connsiteX222" fmla="*/ 591225 w 1293444"/>
                <a:gd name="connsiteY222" fmla="*/ 450850 h 1704975"/>
                <a:gd name="connsiteX223" fmla="*/ 569000 w 1293444"/>
                <a:gd name="connsiteY223" fmla="*/ 441325 h 1704975"/>
                <a:gd name="connsiteX224" fmla="*/ 546775 w 1293444"/>
                <a:gd name="connsiteY224" fmla="*/ 415925 h 1704975"/>
                <a:gd name="connsiteX225" fmla="*/ 540425 w 1293444"/>
                <a:gd name="connsiteY225" fmla="*/ 406400 h 1704975"/>
                <a:gd name="connsiteX226" fmla="*/ 530900 w 1293444"/>
                <a:gd name="connsiteY226" fmla="*/ 400050 h 1704975"/>
                <a:gd name="connsiteX227" fmla="*/ 508675 w 1293444"/>
                <a:gd name="connsiteY227" fmla="*/ 374650 h 1704975"/>
                <a:gd name="connsiteX228" fmla="*/ 502325 w 1293444"/>
                <a:gd name="connsiteY228" fmla="*/ 365125 h 1704975"/>
                <a:gd name="connsiteX229" fmla="*/ 483275 w 1293444"/>
                <a:gd name="connsiteY229" fmla="*/ 346075 h 1704975"/>
                <a:gd name="connsiteX230" fmla="*/ 486450 w 1293444"/>
                <a:gd name="connsiteY230" fmla="*/ 333375 h 1704975"/>
                <a:gd name="connsiteX231" fmla="*/ 492800 w 1293444"/>
                <a:gd name="connsiteY231" fmla="*/ 314325 h 1704975"/>
                <a:gd name="connsiteX232" fmla="*/ 489625 w 1293444"/>
                <a:gd name="connsiteY232" fmla="*/ 292100 h 1704975"/>
                <a:gd name="connsiteX233" fmla="*/ 461050 w 1293444"/>
                <a:gd name="connsiteY233" fmla="*/ 266700 h 1704975"/>
                <a:gd name="connsiteX234" fmla="*/ 435650 w 1293444"/>
                <a:gd name="connsiteY234" fmla="*/ 254000 h 1704975"/>
                <a:gd name="connsiteX235" fmla="*/ 413425 w 1293444"/>
                <a:gd name="connsiteY235" fmla="*/ 238125 h 1704975"/>
                <a:gd name="connsiteX236" fmla="*/ 403900 w 1293444"/>
                <a:gd name="connsiteY236" fmla="*/ 231775 h 1704975"/>
                <a:gd name="connsiteX237" fmla="*/ 362625 w 1293444"/>
                <a:gd name="connsiteY237" fmla="*/ 114300 h 1704975"/>
                <a:gd name="connsiteX238" fmla="*/ 368975 w 1293444"/>
                <a:gd name="connsiteY238" fmla="*/ 104775 h 1704975"/>
                <a:gd name="connsiteX239" fmla="*/ 375325 w 1293444"/>
                <a:gd name="connsiteY239"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69025 w 1293444"/>
                <a:gd name="connsiteY108" fmla="*/ 1393825 h 1704975"/>
                <a:gd name="connsiteX109" fmla="*/ 775375 w 1293444"/>
                <a:gd name="connsiteY109" fmla="*/ 1412875 h 1704975"/>
                <a:gd name="connsiteX110" fmla="*/ 781725 w 1293444"/>
                <a:gd name="connsiteY110" fmla="*/ 1435100 h 1704975"/>
                <a:gd name="connsiteX111" fmla="*/ 772200 w 1293444"/>
                <a:gd name="connsiteY111" fmla="*/ 1460500 h 1704975"/>
                <a:gd name="connsiteX112" fmla="*/ 762675 w 1293444"/>
                <a:gd name="connsiteY112" fmla="*/ 1466850 h 1704975"/>
                <a:gd name="connsiteX113" fmla="*/ 753150 w 1293444"/>
                <a:gd name="connsiteY113" fmla="*/ 1485900 h 1704975"/>
                <a:gd name="connsiteX114" fmla="*/ 749975 w 1293444"/>
                <a:gd name="connsiteY114" fmla="*/ 1514475 h 1704975"/>
                <a:gd name="connsiteX115" fmla="*/ 740450 w 1293444"/>
                <a:gd name="connsiteY115" fmla="*/ 1520825 h 1704975"/>
                <a:gd name="connsiteX116" fmla="*/ 730925 w 1293444"/>
                <a:gd name="connsiteY116" fmla="*/ 1530350 h 1704975"/>
                <a:gd name="connsiteX117" fmla="*/ 718225 w 1293444"/>
                <a:gd name="connsiteY117" fmla="*/ 1549400 h 1704975"/>
                <a:gd name="connsiteX118" fmla="*/ 711875 w 1293444"/>
                <a:gd name="connsiteY118" fmla="*/ 1558925 h 1704975"/>
                <a:gd name="connsiteX119" fmla="*/ 702350 w 1293444"/>
                <a:gd name="connsiteY119" fmla="*/ 1568450 h 1704975"/>
                <a:gd name="connsiteX120" fmla="*/ 699175 w 1293444"/>
                <a:gd name="connsiteY120" fmla="*/ 1577975 h 1704975"/>
                <a:gd name="connsiteX121" fmla="*/ 686475 w 1293444"/>
                <a:gd name="connsiteY121" fmla="*/ 1597025 h 1704975"/>
                <a:gd name="connsiteX122" fmla="*/ 648375 w 1293444"/>
                <a:gd name="connsiteY122" fmla="*/ 1631950 h 1704975"/>
                <a:gd name="connsiteX123" fmla="*/ 638850 w 1293444"/>
                <a:gd name="connsiteY123" fmla="*/ 1638300 h 1704975"/>
                <a:gd name="connsiteX124" fmla="*/ 607100 w 1293444"/>
                <a:gd name="connsiteY124" fmla="*/ 1676400 h 1704975"/>
                <a:gd name="connsiteX125" fmla="*/ 556300 w 1293444"/>
                <a:gd name="connsiteY125" fmla="*/ 1679575 h 1704975"/>
                <a:gd name="connsiteX126" fmla="*/ 537250 w 1293444"/>
                <a:gd name="connsiteY126" fmla="*/ 1685925 h 1704975"/>
                <a:gd name="connsiteX127" fmla="*/ 515025 w 1293444"/>
                <a:gd name="connsiteY127" fmla="*/ 1698625 h 1704975"/>
                <a:gd name="connsiteX128" fmla="*/ 495975 w 1293444"/>
                <a:gd name="connsiteY128" fmla="*/ 1704975 h 1704975"/>
                <a:gd name="connsiteX129" fmla="*/ 476925 w 1293444"/>
                <a:gd name="connsiteY129" fmla="*/ 1701800 h 1704975"/>
                <a:gd name="connsiteX130" fmla="*/ 470575 w 1293444"/>
                <a:gd name="connsiteY130" fmla="*/ 1692275 h 1704975"/>
                <a:gd name="connsiteX131" fmla="*/ 467400 w 1293444"/>
                <a:gd name="connsiteY131" fmla="*/ 1660525 h 1704975"/>
                <a:gd name="connsiteX132" fmla="*/ 457875 w 1293444"/>
                <a:gd name="connsiteY132" fmla="*/ 1641475 h 1704975"/>
                <a:gd name="connsiteX133" fmla="*/ 432475 w 1293444"/>
                <a:gd name="connsiteY133" fmla="*/ 1495425 h 1704975"/>
                <a:gd name="connsiteX134" fmla="*/ 429300 w 1293444"/>
                <a:gd name="connsiteY134" fmla="*/ 1485900 h 1704975"/>
                <a:gd name="connsiteX135" fmla="*/ 426125 w 1293444"/>
                <a:gd name="connsiteY135" fmla="*/ 1473200 h 1704975"/>
                <a:gd name="connsiteX136" fmla="*/ 419775 w 1293444"/>
                <a:gd name="connsiteY136" fmla="*/ 1463675 h 1704975"/>
                <a:gd name="connsiteX137" fmla="*/ 416600 w 1293444"/>
                <a:gd name="connsiteY137" fmla="*/ 1454150 h 1704975"/>
                <a:gd name="connsiteX138" fmla="*/ 394375 w 1293444"/>
                <a:gd name="connsiteY138" fmla="*/ 1381125 h 1704975"/>
                <a:gd name="connsiteX139" fmla="*/ 391200 w 1293444"/>
                <a:gd name="connsiteY139" fmla="*/ 1368425 h 1704975"/>
                <a:gd name="connsiteX140" fmla="*/ 388025 w 1293444"/>
                <a:gd name="connsiteY140" fmla="*/ 1352550 h 1704975"/>
                <a:gd name="connsiteX141" fmla="*/ 381675 w 1293444"/>
                <a:gd name="connsiteY141" fmla="*/ 1333500 h 1704975"/>
                <a:gd name="connsiteX142" fmla="*/ 378500 w 1293444"/>
                <a:gd name="connsiteY142" fmla="*/ 1323975 h 1704975"/>
                <a:gd name="connsiteX143" fmla="*/ 375325 w 1293444"/>
                <a:gd name="connsiteY143" fmla="*/ 1308100 h 1704975"/>
                <a:gd name="connsiteX144" fmla="*/ 368975 w 1293444"/>
                <a:gd name="connsiteY144" fmla="*/ 1289050 h 1704975"/>
                <a:gd name="connsiteX145" fmla="*/ 362625 w 1293444"/>
                <a:gd name="connsiteY145" fmla="*/ 1260475 h 1704975"/>
                <a:gd name="connsiteX146" fmla="*/ 359450 w 1293444"/>
                <a:gd name="connsiteY146" fmla="*/ 1231900 h 1704975"/>
                <a:gd name="connsiteX147" fmla="*/ 349925 w 1293444"/>
                <a:gd name="connsiteY147" fmla="*/ 1196975 h 1704975"/>
                <a:gd name="connsiteX148" fmla="*/ 340400 w 1293444"/>
                <a:gd name="connsiteY148" fmla="*/ 1155700 h 1704975"/>
                <a:gd name="connsiteX149" fmla="*/ 334050 w 1293444"/>
                <a:gd name="connsiteY149" fmla="*/ 1130300 h 1704975"/>
                <a:gd name="connsiteX150" fmla="*/ 327700 w 1293444"/>
                <a:gd name="connsiteY150" fmla="*/ 1104900 h 1704975"/>
                <a:gd name="connsiteX151" fmla="*/ 324525 w 1293444"/>
                <a:gd name="connsiteY151" fmla="*/ 1092200 h 1704975"/>
                <a:gd name="connsiteX152" fmla="*/ 318175 w 1293444"/>
                <a:gd name="connsiteY152" fmla="*/ 1050925 h 1704975"/>
                <a:gd name="connsiteX153" fmla="*/ 315000 w 1293444"/>
                <a:gd name="connsiteY153" fmla="*/ 1031875 h 1704975"/>
                <a:gd name="connsiteX154" fmla="*/ 311825 w 1293444"/>
                <a:gd name="connsiteY154" fmla="*/ 1022350 h 1704975"/>
                <a:gd name="connsiteX155" fmla="*/ 308650 w 1293444"/>
                <a:gd name="connsiteY155" fmla="*/ 1006475 h 1704975"/>
                <a:gd name="connsiteX156" fmla="*/ 302300 w 1293444"/>
                <a:gd name="connsiteY156" fmla="*/ 987425 h 1704975"/>
                <a:gd name="connsiteX157" fmla="*/ 299125 w 1293444"/>
                <a:gd name="connsiteY157" fmla="*/ 974725 h 1704975"/>
                <a:gd name="connsiteX158" fmla="*/ 292775 w 1293444"/>
                <a:gd name="connsiteY158" fmla="*/ 955675 h 1704975"/>
                <a:gd name="connsiteX159" fmla="*/ 289600 w 1293444"/>
                <a:gd name="connsiteY159" fmla="*/ 946150 h 1704975"/>
                <a:gd name="connsiteX160" fmla="*/ 280075 w 1293444"/>
                <a:gd name="connsiteY160" fmla="*/ 923925 h 1704975"/>
                <a:gd name="connsiteX161" fmla="*/ 261025 w 1293444"/>
                <a:gd name="connsiteY161" fmla="*/ 908050 h 1704975"/>
                <a:gd name="connsiteX162" fmla="*/ 241975 w 1293444"/>
                <a:gd name="connsiteY162" fmla="*/ 901700 h 1704975"/>
                <a:gd name="connsiteX163" fmla="*/ 222925 w 1293444"/>
                <a:gd name="connsiteY163" fmla="*/ 889000 h 1704975"/>
                <a:gd name="connsiteX164" fmla="*/ 213400 w 1293444"/>
                <a:gd name="connsiteY164" fmla="*/ 885825 h 1704975"/>
                <a:gd name="connsiteX165" fmla="*/ 194350 w 1293444"/>
                <a:gd name="connsiteY165" fmla="*/ 873125 h 1704975"/>
                <a:gd name="connsiteX166" fmla="*/ 175300 w 1293444"/>
                <a:gd name="connsiteY166" fmla="*/ 860425 h 1704975"/>
                <a:gd name="connsiteX167" fmla="*/ 162600 w 1293444"/>
                <a:gd name="connsiteY167" fmla="*/ 850900 h 1704975"/>
                <a:gd name="connsiteX168" fmla="*/ 153075 w 1293444"/>
                <a:gd name="connsiteY168" fmla="*/ 847725 h 1704975"/>
                <a:gd name="connsiteX169" fmla="*/ 134025 w 1293444"/>
                <a:gd name="connsiteY169" fmla="*/ 835025 h 1704975"/>
                <a:gd name="connsiteX170" fmla="*/ 114975 w 1293444"/>
                <a:gd name="connsiteY170" fmla="*/ 822325 h 1704975"/>
                <a:gd name="connsiteX171" fmla="*/ 105450 w 1293444"/>
                <a:gd name="connsiteY171" fmla="*/ 815975 h 1704975"/>
                <a:gd name="connsiteX172" fmla="*/ 95925 w 1293444"/>
                <a:gd name="connsiteY172" fmla="*/ 812800 h 1704975"/>
                <a:gd name="connsiteX173" fmla="*/ 64175 w 1293444"/>
                <a:gd name="connsiteY173" fmla="*/ 790575 h 1704975"/>
                <a:gd name="connsiteX174" fmla="*/ 54650 w 1293444"/>
                <a:gd name="connsiteY174" fmla="*/ 787400 h 1704975"/>
                <a:gd name="connsiteX175" fmla="*/ 38775 w 1293444"/>
                <a:gd name="connsiteY175" fmla="*/ 771525 h 1704975"/>
                <a:gd name="connsiteX176" fmla="*/ 29250 w 1293444"/>
                <a:gd name="connsiteY176" fmla="*/ 762000 h 1704975"/>
                <a:gd name="connsiteX177" fmla="*/ 19725 w 1293444"/>
                <a:gd name="connsiteY177" fmla="*/ 758825 h 1704975"/>
                <a:gd name="connsiteX178" fmla="*/ 675 w 1293444"/>
                <a:gd name="connsiteY178" fmla="*/ 746125 h 1704975"/>
                <a:gd name="connsiteX179" fmla="*/ 51475 w 1293444"/>
                <a:gd name="connsiteY179" fmla="*/ 739775 h 1704975"/>
                <a:gd name="connsiteX180" fmla="*/ 67350 w 1293444"/>
                <a:gd name="connsiteY180" fmla="*/ 736600 h 1704975"/>
                <a:gd name="connsiteX181" fmla="*/ 102275 w 1293444"/>
                <a:gd name="connsiteY181" fmla="*/ 733425 h 1704975"/>
                <a:gd name="connsiteX182" fmla="*/ 130850 w 1293444"/>
                <a:gd name="connsiteY182" fmla="*/ 727075 h 1704975"/>
                <a:gd name="connsiteX183" fmla="*/ 149900 w 1293444"/>
                <a:gd name="connsiteY183" fmla="*/ 723900 h 1704975"/>
                <a:gd name="connsiteX184" fmla="*/ 159425 w 1293444"/>
                <a:gd name="connsiteY184" fmla="*/ 720725 h 1704975"/>
                <a:gd name="connsiteX185" fmla="*/ 175300 w 1293444"/>
                <a:gd name="connsiteY185" fmla="*/ 717550 h 1704975"/>
                <a:gd name="connsiteX186" fmla="*/ 194350 w 1293444"/>
                <a:gd name="connsiteY186" fmla="*/ 711200 h 1704975"/>
                <a:gd name="connsiteX187" fmla="*/ 222925 w 1293444"/>
                <a:gd name="connsiteY187" fmla="*/ 701675 h 1704975"/>
                <a:gd name="connsiteX188" fmla="*/ 232450 w 1293444"/>
                <a:gd name="connsiteY188" fmla="*/ 698500 h 1704975"/>
                <a:gd name="connsiteX189" fmla="*/ 241975 w 1293444"/>
                <a:gd name="connsiteY189" fmla="*/ 695325 h 1704975"/>
                <a:gd name="connsiteX190" fmla="*/ 381675 w 1293444"/>
                <a:gd name="connsiteY190" fmla="*/ 688975 h 1704975"/>
                <a:gd name="connsiteX191" fmla="*/ 397550 w 1293444"/>
                <a:gd name="connsiteY191" fmla="*/ 685800 h 1704975"/>
                <a:gd name="connsiteX192" fmla="*/ 407075 w 1293444"/>
                <a:gd name="connsiteY192" fmla="*/ 682625 h 1704975"/>
                <a:gd name="connsiteX193" fmla="*/ 419775 w 1293444"/>
                <a:gd name="connsiteY193" fmla="*/ 679450 h 1704975"/>
                <a:gd name="connsiteX194" fmla="*/ 438825 w 1293444"/>
                <a:gd name="connsiteY194" fmla="*/ 673100 h 1704975"/>
                <a:gd name="connsiteX195" fmla="*/ 467400 w 1293444"/>
                <a:gd name="connsiteY195" fmla="*/ 663575 h 1704975"/>
                <a:gd name="connsiteX196" fmla="*/ 495975 w 1293444"/>
                <a:gd name="connsiteY196" fmla="*/ 654050 h 1704975"/>
                <a:gd name="connsiteX197" fmla="*/ 505500 w 1293444"/>
                <a:gd name="connsiteY197" fmla="*/ 650875 h 1704975"/>
                <a:gd name="connsiteX198" fmla="*/ 527725 w 1293444"/>
                <a:gd name="connsiteY198" fmla="*/ 641350 h 1704975"/>
                <a:gd name="connsiteX199" fmla="*/ 537250 w 1293444"/>
                <a:gd name="connsiteY199" fmla="*/ 635000 h 1704975"/>
                <a:gd name="connsiteX200" fmla="*/ 546775 w 1293444"/>
                <a:gd name="connsiteY200" fmla="*/ 631825 h 1704975"/>
                <a:gd name="connsiteX201" fmla="*/ 559475 w 1293444"/>
                <a:gd name="connsiteY201" fmla="*/ 625475 h 1704975"/>
                <a:gd name="connsiteX202" fmla="*/ 578525 w 1293444"/>
                <a:gd name="connsiteY202" fmla="*/ 657225 h 1704975"/>
                <a:gd name="connsiteX203" fmla="*/ 588050 w 1293444"/>
                <a:gd name="connsiteY203" fmla="*/ 660400 h 1704975"/>
                <a:gd name="connsiteX204" fmla="*/ 607100 w 1293444"/>
                <a:gd name="connsiteY204" fmla="*/ 673100 h 1704975"/>
                <a:gd name="connsiteX205" fmla="*/ 626150 w 1293444"/>
                <a:gd name="connsiteY205" fmla="*/ 679450 h 1704975"/>
                <a:gd name="connsiteX206" fmla="*/ 635675 w 1293444"/>
                <a:gd name="connsiteY206" fmla="*/ 685800 h 1704975"/>
                <a:gd name="connsiteX207" fmla="*/ 654725 w 1293444"/>
                <a:gd name="connsiteY207" fmla="*/ 692150 h 1704975"/>
                <a:gd name="connsiteX208" fmla="*/ 635675 w 1293444"/>
                <a:gd name="connsiteY208" fmla="*/ 676275 h 1704975"/>
                <a:gd name="connsiteX209" fmla="*/ 632500 w 1293444"/>
                <a:gd name="connsiteY209" fmla="*/ 666750 h 1704975"/>
                <a:gd name="connsiteX210" fmla="*/ 635675 w 1293444"/>
                <a:gd name="connsiteY210" fmla="*/ 590550 h 1704975"/>
                <a:gd name="connsiteX211" fmla="*/ 642025 w 1293444"/>
                <a:gd name="connsiteY211" fmla="*/ 571500 h 1704975"/>
                <a:gd name="connsiteX212" fmla="*/ 648375 w 1293444"/>
                <a:gd name="connsiteY212" fmla="*/ 561975 h 1704975"/>
                <a:gd name="connsiteX213" fmla="*/ 638850 w 1293444"/>
                <a:gd name="connsiteY213" fmla="*/ 536575 h 1704975"/>
                <a:gd name="connsiteX214" fmla="*/ 629325 w 1293444"/>
                <a:gd name="connsiteY214" fmla="*/ 533400 h 1704975"/>
                <a:gd name="connsiteX215" fmla="*/ 626150 w 1293444"/>
                <a:gd name="connsiteY215" fmla="*/ 523875 h 1704975"/>
                <a:gd name="connsiteX216" fmla="*/ 632500 w 1293444"/>
                <a:gd name="connsiteY216" fmla="*/ 498475 h 1704975"/>
                <a:gd name="connsiteX217" fmla="*/ 635675 w 1293444"/>
                <a:gd name="connsiteY217" fmla="*/ 485775 h 1704975"/>
                <a:gd name="connsiteX218" fmla="*/ 626150 w 1293444"/>
                <a:gd name="connsiteY218" fmla="*/ 463550 h 1704975"/>
                <a:gd name="connsiteX219" fmla="*/ 616625 w 1293444"/>
                <a:gd name="connsiteY219" fmla="*/ 460375 h 1704975"/>
                <a:gd name="connsiteX220" fmla="*/ 607100 w 1293444"/>
                <a:gd name="connsiteY220" fmla="*/ 454025 h 1704975"/>
                <a:gd name="connsiteX221" fmla="*/ 591225 w 1293444"/>
                <a:gd name="connsiteY221" fmla="*/ 450850 h 1704975"/>
                <a:gd name="connsiteX222" fmla="*/ 569000 w 1293444"/>
                <a:gd name="connsiteY222" fmla="*/ 441325 h 1704975"/>
                <a:gd name="connsiteX223" fmla="*/ 546775 w 1293444"/>
                <a:gd name="connsiteY223" fmla="*/ 415925 h 1704975"/>
                <a:gd name="connsiteX224" fmla="*/ 540425 w 1293444"/>
                <a:gd name="connsiteY224" fmla="*/ 406400 h 1704975"/>
                <a:gd name="connsiteX225" fmla="*/ 530900 w 1293444"/>
                <a:gd name="connsiteY225" fmla="*/ 400050 h 1704975"/>
                <a:gd name="connsiteX226" fmla="*/ 508675 w 1293444"/>
                <a:gd name="connsiteY226" fmla="*/ 374650 h 1704975"/>
                <a:gd name="connsiteX227" fmla="*/ 502325 w 1293444"/>
                <a:gd name="connsiteY227" fmla="*/ 365125 h 1704975"/>
                <a:gd name="connsiteX228" fmla="*/ 483275 w 1293444"/>
                <a:gd name="connsiteY228" fmla="*/ 346075 h 1704975"/>
                <a:gd name="connsiteX229" fmla="*/ 486450 w 1293444"/>
                <a:gd name="connsiteY229" fmla="*/ 333375 h 1704975"/>
                <a:gd name="connsiteX230" fmla="*/ 492800 w 1293444"/>
                <a:gd name="connsiteY230" fmla="*/ 314325 h 1704975"/>
                <a:gd name="connsiteX231" fmla="*/ 489625 w 1293444"/>
                <a:gd name="connsiteY231" fmla="*/ 292100 h 1704975"/>
                <a:gd name="connsiteX232" fmla="*/ 461050 w 1293444"/>
                <a:gd name="connsiteY232" fmla="*/ 266700 h 1704975"/>
                <a:gd name="connsiteX233" fmla="*/ 435650 w 1293444"/>
                <a:gd name="connsiteY233" fmla="*/ 254000 h 1704975"/>
                <a:gd name="connsiteX234" fmla="*/ 413425 w 1293444"/>
                <a:gd name="connsiteY234" fmla="*/ 238125 h 1704975"/>
                <a:gd name="connsiteX235" fmla="*/ 403900 w 1293444"/>
                <a:gd name="connsiteY235" fmla="*/ 231775 h 1704975"/>
                <a:gd name="connsiteX236" fmla="*/ 362625 w 1293444"/>
                <a:gd name="connsiteY236" fmla="*/ 114300 h 1704975"/>
                <a:gd name="connsiteX237" fmla="*/ 368975 w 1293444"/>
                <a:gd name="connsiteY237" fmla="*/ 104775 h 1704975"/>
                <a:gd name="connsiteX238" fmla="*/ 375325 w 1293444"/>
                <a:gd name="connsiteY238"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69025 w 1293444"/>
                <a:gd name="connsiteY108" fmla="*/ 1393825 h 1704975"/>
                <a:gd name="connsiteX109" fmla="*/ 775375 w 1293444"/>
                <a:gd name="connsiteY109" fmla="*/ 1412875 h 1704975"/>
                <a:gd name="connsiteX110" fmla="*/ 781725 w 1293444"/>
                <a:gd name="connsiteY110" fmla="*/ 1435100 h 1704975"/>
                <a:gd name="connsiteX111" fmla="*/ 772200 w 1293444"/>
                <a:gd name="connsiteY111" fmla="*/ 1460500 h 1704975"/>
                <a:gd name="connsiteX112" fmla="*/ 762675 w 1293444"/>
                <a:gd name="connsiteY112" fmla="*/ 1466850 h 1704975"/>
                <a:gd name="connsiteX113" fmla="*/ 753150 w 1293444"/>
                <a:gd name="connsiteY113" fmla="*/ 1485900 h 1704975"/>
                <a:gd name="connsiteX114" fmla="*/ 749975 w 1293444"/>
                <a:gd name="connsiteY114" fmla="*/ 1514475 h 1704975"/>
                <a:gd name="connsiteX115" fmla="*/ 730925 w 1293444"/>
                <a:gd name="connsiteY115" fmla="*/ 1530350 h 1704975"/>
                <a:gd name="connsiteX116" fmla="*/ 718225 w 1293444"/>
                <a:gd name="connsiteY116" fmla="*/ 1549400 h 1704975"/>
                <a:gd name="connsiteX117" fmla="*/ 711875 w 1293444"/>
                <a:gd name="connsiteY117" fmla="*/ 1558925 h 1704975"/>
                <a:gd name="connsiteX118" fmla="*/ 702350 w 1293444"/>
                <a:gd name="connsiteY118" fmla="*/ 1568450 h 1704975"/>
                <a:gd name="connsiteX119" fmla="*/ 699175 w 1293444"/>
                <a:gd name="connsiteY119" fmla="*/ 1577975 h 1704975"/>
                <a:gd name="connsiteX120" fmla="*/ 686475 w 1293444"/>
                <a:gd name="connsiteY120" fmla="*/ 1597025 h 1704975"/>
                <a:gd name="connsiteX121" fmla="*/ 648375 w 1293444"/>
                <a:gd name="connsiteY121" fmla="*/ 1631950 h 1704975"/>
                <a:gd name="connsiteX122" fmla="*/ 638850 w 1293444"/>
                <a:gd name="connsiteY122" fmla="*/ 1638300 h 1704975"/>
                <a:gd name="connsiteX123" fmla="*/ 607100 w 1293444"/>
                <a:gd name="connsiteY123" fmla="*/ 1676400 h 1704975"/>
                <a:gd name="connsiteX124" fmla="*/ 556300 w 1293444"/>
                <a:gd name="connsiteY124" fmla="*/ 1679575 h 1704975"/>
                <a:gd name="connsiteX125" fmla="*/ 537250 w 1293444"/>
                <a:gd name="connsiteY125" fmla="*/ 1685925 h 1704975"/>
                <a:gd name="connsiteX126" fmla="*/ 515025 w 1293444"/>
                <a:gd name="connsiteY126" fmla="*/ 1698625 h 1704975"/>
                <a:gd name="connsiteX127" fmla="*/ 495975 w 1293444"/>
                <a:gd name="connsiteY127" fmla="*/ 1704975 h 1704975"/>
                <a:gd name="connsiteX128" fmla="*/ 476925 w 1293444"/>
                <a:gd name="connsiteY128" fmla="*/ 1701800 h 1704975"/>
                <a:gd name="connsiteX129" fmla="*/ 470575 w 1293444"/>
                <a:gd name="connsiteY129" fmla="*/ 1692275 h 1704975"/>
                <a:gd name="connsiteX130" fmla="*/ 467400 w 1293444"/>
                <a:gd name="connsiteY130" fmla="*/ 1660525 h 1704975"/>
                <a:gd name="connsiteX131" fmla="*/ 457875 w 1293444"/>
                <a:gd name="connsiteY131" fmla="*/ 1641475 h 1704975"/>
                <a:gd name="connsiteX132" fmla="*/ 432475 w 1293444"/>
                <a:gd name="connsiteY132" fmla="*/ 1495425 h 1704975"/>
                <a:gd name="connsiteX133" fmla="*/ 429300 w 1293444"/>
                <a:gd name="connsiteY133" fmla="*/ 1485900 h 1704975"/>
                <a:gd name="connsiteX134" fmla="*/ 426125 w 1293444"/>
                <a:gd name="connsiteY134" fmla="*/ 1473200 h 1704975"/>
                <a:gd name="connsiteX135" fmla="*/ 419775 w 1293444"/>
                <a:gd name="connsiteY135" fmla="*/ 1463675 h 1704975"/>
                <a:gd name="connsiteX136" fmla="*/ 416600 w 1293444"/>
                <a:gd name="connsiteY136" fmla="*/ 1454150 h 1704975"/>
                <a:gd name="connsiteX137" fmla="*/ 394375 w 1293444"/>
                <a:gd name="connsiteY137" fmla="*/ 1381125 h 1704975"/>
                <a:gd name="connsiteX138" fmla="*/ 391200 w 1293444"/>
                <a:gd name="connsiteY138" fmla="*/ 1368425 h 1704975"/>
                <a:gd name="connsiteX139" fmla="*/ 388025 w 1293444"/>
                <a:gd name="connsiteY139" fmla="*/ 1352550 h 1704975"/>
                <a:gd name="connsiteX140" fmla="*/ 381675 w 1293444"/>
                <a:gd name="connsiteY140" fmla="*/ 1333500 h 1704975"/>
                <a:gd name="connsiteX141" fmla="*/ 378500 w 1293444"/>
                <a:gd name="connsiteY141" fmla="*/ 1323975 h 1704975"/>
                <a:gd name="connsiteX142" fmla="*/ 375325 w 1293444"/>
                <a:gd name="connsiteY142" fmla="*/ 1308100 h 1704975"/>
                <a:gd name="connsiteX143" fmla="*/ 368975 w 1293444"/>
                <a:gd name="connsiteY143" fmla="*/ 1289050 h 1704975"/>
                <a:gd name="connsiteX144" fmla="*/ 362625 w 1293444"/>
                <a:gd name="connsiteY144" fmla="*/ 1260475 h 1704975"/>
                <a:gd name="connsiteX145" fmla="*/ 359450 w 1293444"/>
                <a:gd name="connsiteY145" fmla="*/ 1231900 h 1704975"/>
                <a:gd name="connsiteX146" fmla="*/ 349925 w 1293444"/>
                <a:gd name="connsiteY146" fmla="*/ 1196975 h 1704975"/>
                <a:gd name="connsiteX147" fmla="*/ 340400 w 1293444"/>
                <a:gd name="connsiteY147" fmla="*/ 1155700 h 1704975"/>
                <a:gd name="connsiteX148" fmla="*/ 334050 w 1293444"/>
                <a:gd name="connsiteY148" fmla="*/ 1130300 h 1704975"/>
                <a:gd name="connsiteX149" fmla="*/ 327700 w 1293444"/>
                <a:gd name="connsiteY149" fmla="*/ 1104900 h 1704975"/>
                <a:gd name="connsiteX150" fmla="*/ 324525 w 1293444"/>
                <a:gd name="connsiteY150" fmla="*/ 1092200 h 1704975"/>
                <a:gd name="connsiteX151" fmla="*/ 318175 w 1293444"/>
                <a:gd name="connsiteY151" fmla="*/ 1050925 h 1704975"/>
                <a:gd name="connsiteX152" fmla="*/ 315000 w 1293444"/>
                <a:gd name="connsiteY152" fmla="*/ 1031875 h 1704975"/>
                <a:gd name="connsiteX153" fmla="*/ 311825 w 1293444"/>
                <a:gd name="connsiteY153" fmla="*/ 1022350 h 1704975"/>
                <a:gd name="connsiteX154" fmla="*/ 308650 w 1293444"/>
                <a:gd name="connsiteY154" fmla="*/ 1006475 h 1704975"/>
                <a:gd name="connsiteX155" fmla="*/ 302300 w 1293444"/>
                <a:gd name="connsiteY155" fmla="*/ 987425 h 1704975"/>
                <a:gd name="connsiteX156" fmla="*/ 299125 w 1293444"/>
                <a:gd name="connsiteY156" fmla="*/ 974725 h 1704975"/>
                <a:gd name="connsiteX157" fmla="*/ 292775 w 1293444"/>
                <a:gd name="connsiteY157" fmla="*/ 955675 h 1704975"/>
                <a:gd name="connsiteX158" fmla="*/ 289600 w 1293444"/>
                <a:gd name="connsiteY158" fmla="*/ 946150 h 1704975"/>
                <a:gd name="connsiteX159" fmla="*/ 280075 w 1293444"/>
                <a:gd name="connsiteY159" fmla="*/ 923925 h 1704975"/>
                <a:gd name="connsiteX160" fmla="*/ 261025 w 1293444"/>
                <a:gd name="connsiteY160" fmla="*/ 908050 h 1704975"/>
                <a:gd name="connsiteX161" fmla="*/ 241975 w 1293444"/>
                <a:gd name="connsiteY161" fmla="*/ 901700 h 1704975"/>
                <a:gd name="connsiteX162" fmla="*/ 222925 w 1293444"/>
                <a:gd name="connsiteY162" fmla="*/ 889000 h 1704975"/>
                <a:gd name="connsiteX163" fmla="*/ 213400 w 1293444"/>
                <a:gd name="connsiteY163" fmla="*/ 885825 h 1704975"/>
                <a:gd name="connsiteX164" fmla="*/ 194350 w 1293444"/>
                <a:gd name="connsiteY164" fmla="*/ 873125 h 1704975"/>
                <a:gd name="connsiteX165" fmla="*/ 175300 w 1293444"/>
                <a:gd name="connsiteY165" fmla="*/ 860425 h 1704975"/>
                <a:gd name="connsiteX166" fmla="*/ 162600 w 1293444"/>
                <a:gd name="connsiteY166" fmla="*/ 850900 h 1704975"/>
                <a:gd name="connsiteX167" fmla="*/ 153075 w 1293444"/>
                <a:gd name="connsiteY167" fmla="*/ 847725 h 1704975"/>
                <a:gd name="connsiteX168" fmla="*/ 134025 w 1293444"/>
                <a:gd name="connsiteY168" fmla="*/ 835025 h 1704975"/>
                <a:gd name="connsiteX169" fmla="*/ 114975 w 1293444"/>
                <a:gd name="connsiteY169" fmla="*/ 822325 h 1704975"/>
                <a:gd name="connsiteX170" fmla="*/ 105450 w 1293444"/>
                <a:gd name="connsiteY170" fmla="*/ 815975 h 1704975"/>
                <a:gd name="connsiteX171" fmla="*/ 95925 w 1293444"/>
                <a:gd name="connsiteY171" fmla="*/ 812800 h 1704975"/>
                <a:gd name="connsiteX172" fmla="*/ 64175 w 1293444"/>
                <a:gd name="connsiteY172" fmla="*/ 790575 h 1704975"/>
                <a:gd name="connsiteX173" fmla="*/ 54650 w 1293444"/>
                <a:gd name="connsiteY173" fmla="*/ 787400 h 1704975"/>
                <a:gd name="connsiteX174" fmla="*/ 38775 w 1293444"/>
                <a:gd name="connsiteY174" fmla="*/ 771525 h 1704975"/>
                <a:gd name="connsiteX175" fmla="*/ 29250 w 1293444"/>
                <a:gd name="connsiteY175" fmla="*/ 762000 h 1704975"/>
                <a:gd name="connsiteX176" fmla="*/ 19725 w 1293444"/>
                <a:gd name="connsiteY176" fmla="*/ 758825 h 1704975"/>
                <a:gd name="connsiteX177" fmla="*/ 675 w 1293444"/>
                <a:gd name="connsiteY177" fmla="*/ 746125 h 1704975"/>
                <a:gd name="connsiteX178" fmla="*/ 51475 w 1293444"/>
                <a:gd name="connsiteY178" fmla="*/ 739775 h 1704975"/>
                <a:gd name="connsiteX179" fmla="*/ 67350 w 1293444"/>
                <a:gd name="connsiteY179" fmla="*/ 736600 h 1704975"/>
                <a:gd name="connsiteX180" fmla="*/ 102275 w 1293444"/>
                <a:gd name="connsiteY180" fmla="*/ 733425 h 1704975"/>
                <a:gd name="connsiteX181" fmla="*/ 130850 w 1293444"/>
                <a:gd name="connsiteY181" fmla="*/ 727075 h 1704975"/>
                <a:gd name="connsiteX182" fmla="*/ 149900 w 1293444"/>
                <a:gd name="connsiteY182" fmla="*/ 723900 h 1704975"/>
                <a:gd name="connsiteX183" fmla="*/ 159425 w 1293444"/>
                <a:gd name="connsiteY183" fmla="*/ 720725 h 1704975"/>
                <a:gd name="connsiteX184" fmla="*/ 175300 w 1293444"/>
                <a:gd name="connsiteY184" fmla="*/ 717550 h 1704975"/>
                <a:gd name="connsiteX185" fmla="*/ 194350 w 1293444"/>
                <a:gd name="connsiteY185" fmla="*/ 711200 h 1704975"/>
                <a:gd name="connsiteX186" fmla="*/ 222925 w 1293444"/>
                <a:gd name="connsiteY186" fmla="*/ 701675 h 1704975"/>
                <a:gd name="connsiteX187" fmla="*/ 232450 w 1293444"/>
                <a:gd name="connsiteY187" fmla="*/ 698500 h 1704975"/>
                <a:gd name="connsiteX188" fmla="*/ 241975 w 1293444"/>
                <a:gd name="connsiteY188" fmla="*/ 695325 h 1704975"/>
                <a:gd name="connsiteX189" fmla="*/ 381675 w 1293444"/>
                <a:gd name="connsiteY189" fmla="*/ 688975 h 1704975"/>
                <a:gd name="connsiteX190" fmla="*/ 397550 w 1293444"/>
                <a:gd name="connsiteY190" fmla="*/ 685800 h 1704975"/>
                <a:gd name="connsiteX191" fmla="*/ 407075 w 1293444"/>
                <a:gd name="connsiteY191" fmla="*/ 682625 h 1704975"/>
                <a:gd name="connsiteX192" fmla="*/ 419775 w 1293444"/>
                <a:gd name="connsiteY192" fmla="*/ 679450 h 1704975"/>
                <a:gd name="connsiteX193" fmla="*/ 438825 w 1293444"/>
                <a:gd name="connsiteY193" fmla="*/ 673100 h 1704975"/>
                <a:gd name="connsiteX194" fmla="*/ 467400 w 1293444"/>
                <a:gd name="connsiteY194" fmla="*/ 663575 h 1704975"/>
                <a:gd name="connsiteX195" fmla="*/ 495975 w 1293444"/>
                <a:gd name="connsiteY195" fmla="*/ 654050 h 1704975"/>
                <a:gd name="connsiteX196" fmla="*/ 505500 w 1293444"/>
                <a:gd name="connsiteY196" fmla="*/ 650875 h 1704975"/>
                <a:gd name="connsiteX197" fmla="*/ 527725 w 1293444"/>
                <a:gd name="connsiteY197" fmla="*/ 641350 h 1704975"/>
                <a:gd name="connsiteX198" fmla="*/ 537250 w 1293444"/>
                <a:gd name="connsiteY198" fmla="*/ 635000 h 1704975"/>
                <a:gd name="connsiteX199" fmla="*/ 546775 w 1293444"/>
                <a:gd name="connsiteY199" fmla="*/ 631825 h 1704975"/>
                <a:gd name="connsiteX200" fmla="*/ 559475 w 1293444"/>
                <a:gd name="connsiteY200" fmla="*/ 625475 h 1704975"/>
                <a:gd name="connsiteX201" fmla="*/ 578525 w 1293444"/>
                <a:gd name="connsiteY201" fmla="*/ 657225 h 1704975"/>
                <a:gd name="connsiteX202" fmla="*/ 588050 w 1293444"/>
                <a:gd name="connsiteY202" fmla="*/ 660400 h 1704975"/>
                <a:gd name="connsiteX203" fmla="*/ 607100 w 1293444"/>
                <a:gd name="connsiteY203" fmla="*/ 673100 h 1704975"/>
                <a:gd name="connsiteX204" fmla="*/ 626150 w 1293444"/>
                <a:gd name="connsiteY204" fmla="*/ 679450 h 1704975"/>
                <a:gd name="connsiteX205" fmla="*/ 635675 w 1293444"/>
                <a:gd name="connsiteY205" fmla="*/ 685800 h 1704975"/>
                <a:gd name="connsiteX206" fmla="*/ 654725 w 1293444"/>
                <a:gd name="connsiteY206" fmla="*/ 692150 h 1704975"/>
                <a:gd name="connsiteX207" fmla="*/ 635675 w 1293444"/>
                <a:gd name="connsiteY207" fmla="*/ 676275 h 1704975"/>
                <a:gd name="connsiteX208" fmla="*/ 632500 w 1293444"/>
                <a:gd name="connsiteY208" fmla="*/ 666750 h 1704975"/>
                <a:gd name="connsiteX209" fmla="*/ 635675 w 1293444"/>
                <a:gd name="connsiteY209" fmla="*/ 590550 h 1704975"/>
                <a:gd name="connsiteX210" fmla="*/ 642025 w 1293444"/>
                <a:gd name="connsiteY210" fmla="*/ 571500 h 1704975"/>
                <a:gd name="connsiteX211" fmla="*/ 648375 w 1293444"/>
                <a:gd name="connsiteY211" fmla="*/ 561975 h 1704975"/>
                <a:gd name="connsiteX212" fmla="*/ 638850 w 1293444"/>
                <a:gd name="connsiteY212" fmla="*/ 536575 h 1704975"/>
                <a:gd name="connsiteX213" fmla="*/ 629325 w 1293444"/>
                <a:gd name="connsiteY213" fmla="*/ 533400 h 1704975"/>
                <a:gd name="connsiteX214" fmla="*/ 626150 w 1293444"/>
                <a:gd name="connsiteY214" fmla="*/ 523875 h 1704975"/>
                <a:gd name="connsiteX215" fmla="*/ 632500 w 1293444"/>
                <a:gd name="connsiteY215" fmla="*/ 498475 h 1704975"/>
                <a:gd name="connsiteX216" fmla="*/ 635675 w 1293444"/>
                <a:gd name="connsiteY216" fmla="*/ 485775 h 1704975"/>
                <a:gd name="connsiteX217" fmla="*/ 626150 w 1293444"/>
                <a:gd name="connsiteY217" fmla="*/ 463550 h 1704975"/>
                <a:gd name="connsiteX218" fmla="*/ 616625 w 1293444"/>
                <a:gd name="connsiteY218" fmla="*/ 460375 h 1704975"/>
                <a:gd name="connsiteX219" fmla="*/ 607100 w 1293444"/>
                <a:gd name="connsiteY219" fmla="*/ 454025 h 1704975"/>
                <a:gd name="connsiteX220" fmla="*/ 591225 w 1293444"/>
                <a:gd name="connsiteY220" fmla="*/ 450850 h 1704975"/>
                <a:gd name="connsiteX221" fmla="*/ 569000 w 1293444"/>
                <a:gd name="connsiteY221" fmla="*/ 441325 h 1704975"/>
                <a:gd name="connsiteX222" fmla="*/ 546775 w 1293444"/>
                <a:gd name="connsiteY222" fmla="*/ 415925 h 1704975"/>
                <a:gd name="connsiteX223" fmla="*/ 540425 w 1293444"/>
                <a:gd name="connsiteY223" fmla="*/ 406400 h 1704975"/>
                <a:gd name="connsiteX224" fmla="*/ 530900 w 1293444"/>
                <a:gd name="connsiteY224" fmla="*/ 400050 h 1704975"/>
                <a:gd name="connsiteX225" fmla="*/ 508675 w 1293444"/>
                <a:gd name="connsiteY225" fmla="*/ 374650 h 1704975"/>
                <a:gd name="connsiteX226" fmla="*/ 502325 w 1293444"/>
                <a:gd name="connsiteY226" fmla="*/ 365125 h 1704975"/>
                <a:gd name="connsiteX227" fmla="*/ 483275 w 1293444"/>
                <a:gd name="connsiteY227" fmla="*/ 346075 h 1704975"/>
                <a:gd name="connsiteX228" fmla="*/ 486450 w 1293444"/>
                <a:gd name="connsiteY228" fmla="*/ 333375 h 1704975"/>
                <a:gd name="connsiteX229" fmla="*/ 492800 w 1293444"/>
                <a:gd name="connsiteY229" fmla="*/ 314325 h 1704975"/>
                <a:gd name="connsiteX230" fmla="*/ 489625 w 1293444"/>
                <a:gd name="connsiteY230" fmla="*/ 292100 h 1704975"/>
                <a:gd name="connsiteX231" fmla="*/ 461050 w 1293444"/>
                <a:gd name="connsiteY231" fmla="*/ 266700 h 1704975"/>
                <a:gd name="connsiteX232" fmla="*/ 435650 w 1293444"/>
                <a:gd name="connsiteY232" fmla="*/ 254000 h 1704975"/>
                <a:gd name="connsiteX233" fmla="*/ 413425 w 1293444"/>
                <a:gd name="connsiteY233" fmla="*/ 238125 h 1704975"/>
                <a:gd name="connsiteX234" fmla="*/ 403900 w 1293444"/>
                <a:gd name="connsiteY234" fmla="*/ 231775 h 1704975"/>
                <a:gd name="connsiteX235" fmla="*/ 362625 w 1293444"/>
                <a:gd name="connsiteY235" fmla="*/ 114300 h 1704975"/>
                <a:gd name="connsiteX236" fmla="*/ 368975 w 1293444"/>
                <a:gd name="connsiteY236" fmla="*/ 104775 h 1704975"/>
                <a:gd name="connsiteX237" fmla="*/ 375325 w 1293444"/>
                <a:gd name="connsiteY237"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69025 w 1293444"/>
                <a:gd name="connsiteY108" fmla="*/ 1393825 h 1704975"/>
                <a:gd name="connsiteX109" fmla="*/ 775375 w 1293444"/>
                <a:gd name="connsiteY109" fmla="*/ 1412875 h 1704975"/>
                <a:gd name="connsiteX110" fmla="*/ 781725 w 1293444"/>
                <a:gd name="connsiteY110" fmla="*/ 1435100 h 1704975"/>
                <a:gd name="connsiteX111" fmla="*/ 772200 w 1293444"/>
                <a:gd name="connsiteY111" fmla="*/ 1460500 h 1704975"/>
                <a:gd name="connsiteX112" fmla="*/ 762675 w 1293444"/>
                <a:gd name="connsiteY112" fmla="*/ 1466850 h 1704975"/>
                <a:gd name="connsiteX113" fmla="*/ 753150 w 1293444"/>
                <a:gd name="connsiteY113" fmla="*/ 1485900 h 1704975"/>
                <a:gd name="connsiteX114" fmla="*/ 730925 w 1293444"/>
                <a:gd name="connsiteY114" fmla="*/ 1530350 h 1704975"/>
                <a:gd name="connsiteX115" fmla="*/ 718225 w 1293444"/>
                <a:gd name="connsiteY115" fmla="*/ 1549400 h 1704975"/>
                <a:gd name="connsiteX116" fmla="*/ 711875 w 1293444"/>
                <a:gd name="connsiteY116" fmla="*/ 1558925 h 1704975"/>
                <a:gd name="connsiteX117" fmla="*/ 702350 w 1293444"/>
                <a:gd name="connsiteY117" fmla="*/ 1568450 h 1704975"/>
                <a:gd name="connsiteX118" fmla="*/ 699175 w 1293444"/>
                <a:gd name="connsiteY118" fmla="*/ 1577975 h 1704975"/>
                <a:gd name="connsiteX119" fmla="*/ 686475 w 1293444"/>
                <a:gd name="connsiteY119" fmla="*/ 1597025 h 1704975"/>
                <a:gd name="connsiteX120" fmla="*/ 648375 w 1293444"/>
                <a:gd name="connsiteY120" fmla="*/ 1631950 h 1704975"/>
                <a:gd name="connsiteX121" fmla="*/ 638850 w 1293444"/>
                <a:gd name="connsiteY121" fmla="*/ 1638300 h 1704975"/>
                <a:gd name="connsiteX122" fmla="*/ 607100 w 1293444"/>
                <a:gd name="connsiteY122" fmla="*/ 1676400 h 1704975"/>
                <a:gd name="connsiteX123" fmla="*/ 556300 w 1293444"/>
                <a:gd name="connsiteY123" fmla="*/ 1679575 h 1704975"/>
                <a:gd name="connsiteX124" fmla="*/ 537250 w 1293444"/>
                <a:gd name="connsiteY124" fmla="*/ 1685925 h 1704975"/>
                <a:gd name="connsiteX125" fmla="*/ 515025 w 1293444"/>
                <a:gd name="connsiteY125" fmla="*/ 1698625 h 1704975"/>
                <a:gd name="connsiteX126" fmla="*/ 495975 w 1293444"/>
                <a:gd name="connsiteY126" fmla="*/ 1704975 h 1704975"/>
                <a:gd name="connsiteX127" fmla="*/ 476925 w 1293444"/>
                <a:gd name="connsiteY127" fmla="*/ 1701800 h 1704975"/>
                <a:gd name="connsiteX128" fmla="*/ 470575 w 1293444"/>
                <a:gd name="connsiteY128" fmla="*/ 1692275 h 1704975"/>
                <a:gd name="connsiteX129" fmla="*/ 467400 w 1293444"/>
                <a:gd name="connsiteY129" fmla="*/ 1660525 h 1704975"/>
                <a:gd name="connsiteX130" fmla="*/ 457875 w 1293444"/>
                <a:gd name="connsiteY130" fmla="*/ 1641475 h 1704975"/>
                <a:gd name="connsiteX131" fmla="*/ 432475 w 1293444"/>
                <a:gd name="connsiteY131" fmla="*/ 1495425 h 1704975"/>
                <a:gd name="connsiteX132" fmla="*/ 429300 w 1293444"/>
                <a:gd name="connsiteY132" fmla="*/ 1485900 h 1704975"/>
                <a:gd name="connsiteX133" fmla="*/ 426125 w 1293444"/>
                <a:gd name="connsiteY133" fmla="*/ 1473200 h 1704975"/>
                <a:gd name="connsiteX134" fmla="*/ 419775 w 1293444"/>
                <a:gd name="connsiteY134" fmla="*/ 1463675 h 1704975"/>
                <a:gd name="connsiteX135" fmla="*/ 416600 w 1293444"/>
                <a:gd name="connsiteY135" fmla="*/ 1454150 h 1704975"/>
                <a:gd name="connsiteX136" fmla="*/ 394375 w 1293444"/>
                <a:gd name="connsiteY136" fmla="*/ 1381125 h 1704975"/>
                <a:gd name="connsiteX137" fmla="*/ 391200 w 1293444"/>
                <a:gd name="connsiteY137" fmla="*/ 1368425 h 1704975"/>
                <a:gd name="connsiteX138" fmla="*/ 388025 w 1293444"/>
                <a:gd name="connsiteY138" fmla="*/ 1352550 h 1704975"/>
                <a:gd name="connsiteX139" fmla="*/ 381675 w 1293444"/>
                <a:gd name="connsiteY139" fmla="*/ 1333500 h 1704975"/>
                <a:gd name="connsiteX140" fmla="*/ 378500 w 1293444"/>
                <a:gd name="connsiteY140" fmla="*/ 1323975 h 1704975"/>
                <a:gd name="connsiteX141" fmla="*/ 375325 w 1293444"/>
                <a:gd name="connsiteY141" fmla="*/ 1308100 h 1704975"/>
                <a:gd name="connsiteX142" fmla="*/ 368975 w 1293444"/>
                <a:gd name="connsiteY142" fmla="*/ 1289050 h 1704975"/>
                <a:gd name="connsiteX143" fmla="*/ 362625 w 1293444"/>
                <a:gd name="connsiteY143" fmla="*/ 1260475 h 1704975"/>
                <a:gd name="connsiteX144" fmla="*/ 359450 w 1293444"/>
                <a:gd name="connsiteY144" fmla="*/ 1231900 h 1704975"/>
                <a:gd name="connsiteX145" fmla="*/ 349925 w 1293444"/>
                <a:gd name="connsiteY145" fmla="*/ 1196975 h 1704975"/>
                <a:gd name="connsiteX146" fmla="*/ 340400 w 1293444"/>
                <a:gd name="connsiteY146" fmla="*/ 1155700 h 1704975"/>
                <a:gd name="connsiteX147" fmla="*/ 334050 w 1293444"/>
                <a:gd name="connsiteY147" fmla="*/ 1130300 h 1704975"/>
                <a:gd name="connsiteX148" fmla="*/ 327700 w 1293444"/>
                <a:gd name="connsiteY148" fmla="*/ 1104900 h 1704975"/>
                <a:gd name="connsiteX149" fmla="*/ 324525 w 1293444"/>
                <a:gd name="connsiteY149" fmla="*/ 1092200 h 1704975"/>
                <a:gd name="connsiteX150" fmla="*/ 318175 w 1293444"/>
                <a:gd name="connsiteY150" fmla="*/ 1050925 h 1704975"/>
                <a:gd name="connsiteX151" fmla="*/ 315000 w 1293444"/>
                <a:gd name="connsiteY151" fmla="*/ 1031875 h 1704975"/>
                <a:gd name="connsiteX152" fmla="*/ 311825 w 1293444"/>
                <a:gd name="connsiteY152" fmla="*/ 1022350 h 1704975"/>
                <a:gd name="connsiteX153" fmla="*/ 308650 w 1293444"/>
                <a:gd name="connsiteY153" fmla="*/ 1006475 h 1704975"/>
                <a:gd name="connsiteX154" fmla="*/ 302300 w 1293444"/>
                <a:gd name="connsiteY154" fmla="*/ 987425 h 1704975"/>
                <a:gd name="connsiteX155" fmla="*/ 299125 w 1293444"/>
                <a:gd name="connsiteY155" fmla="*/ 974725 h 1704975"/>
                <a:gd name="connsiteX156" fmla="*/ 292775 w 1293444"/>
                <a:gd name="connsiteY156" fmla="*/ 955675 h 1704975"/>
                <a:gd name="connsiteX157" fmla="*/ 289600 w 1293444"/>
                <a:gd name="connsiteY157" fmla="*/ 946150 h 1704975"/>
                <a:gd name="connsiteX158" fmla="*/ 280075 w 1293444"/>
                <a:gd name="connsiteY158" fmla="*/ 923925 h 1704975"/>
                <a:gd name="connsiteX159" fmla="*/ 261025 w 1293444"/>
                <a:gd name="connsiteY159" fmla="*/ 908050 h 1704975"/>
                <a:gd name="connsiteX160" fmla="*/ 241975 w 1293444"/>
                <a:gd name="connsiteY160" fmla="*/ 901700 h 1704975"/>
                <a:gd name="connsiteX161" fmla="*/ 222925 w 1293444"/>
                <a:gd name="connsiteY161" fmla="*/ 889000 h 1704975"/>
                <a:gd name="connsiteX162" fmla="*/ 213400 w 1293444"/>
                <a:gd name="connsiteY162" fmla="*/ 885825 h 1704975"/>
                <a:gd name="connsiteX163" fmla="*/ 194350 w 1293444"/>
                <a:gd name="connsiteY163" fmla="*/ 873125 h 1704975"/>
                <a:gd name="connsiteX164" fmla="*/ 175300 w 1293444"/>
                <a:gd name="connsiteY164" fmla="*/ 860425 h 1704975"/>
                <a:gd name="connsiteX165" fmla="*/ 162600 w 1293444"/>
                <a:gd name="connsiteY165" fmla="*/ 850900 h 1704975"/>
                <a:gd name="connsiteX166" fmla="*/ 153075 w 1293444"/>
                <a:gd name="connsiteY166" fmla="*/ 847725 h 1704975"/>
                <a:gd name="connsiteX167" fmla="*/ 134025 w 1293444"/>
                <a:gd name="connsiteY167" fmla="*/ 835025 h 1704975"/>
                <a:gd name="connsiteX168" fmla="*/ 114975 w 1293444"/>
                <a:gd name="connsiteY168" fmla="*/ 822325 h 1704975"/>
                <a:gd name="connsiteX169" fmla="*/ 105450 w 1293444"/>
                <a:gd name="connsiteY169" fmla="*/ 815975 h 1704975"/>
                <a:gd name="connsiteX170" fmla="*/ 95925 w 1293444"/>
                <a:gd name="connsiteY170" fmla="*/ 812800 h 1704975"/>
                <a:gd name="connsiteX171" fmla="*/ 64175 w 1293444"/>
                <a:gd name="connsiteY171" fmla="*/ 790575 h 1704975"/>
                <a:gd name="connsiteX172" fmla="*/ 54650 w 1293444"/>
                <a:gd name="connsiteY172" fmla="*/ 787400 h 1704975"/>
                <a:gd name="connsiteX173" fmla="*/ 38775 w 1293444"/>
                <a:gd name="connsiteY173" fmla="*/ 771525 h 1704975"/>
                <a:gd name="connsiteX174" fmla="*/ 29250 w 1293444"/>
                <a:gd name="connsiteY174" fmla="*/ 762000 h 1704975"/>
                <a:gd name="connsiteX175" fmla="*/ 19725 w 1293444"/>
                <a:gd name="connsiteY175" fmla="*/ 758825 h 1704975"/>
                <a:gd name="connsiteX176" fmla="*/ 675 w 1293444"/>
                <a:gd name="connsiteY176" fmla="*/ 746125 h 1704975"/>
                <a:gd name="connsiteX177" fmla="*/ 51475 w 1293444"/>
                <a:gd name="connsiteY177" fmla="*/ 739775 h 1704975"/>
                <a:gd name="connsiteX178" fmla="*/ 67350 w 1293444"/>
                <a:gd name="connsiteY178" fmla="*/ 736600 h 1704975"/>
                <a:gd name="connsiteX179" fmla="*/ 102275 w 1293444"/>
                <a:gd name="connsiteY179" fmla="*/ 733425 h 1704975"/>
                <a:gd name="connsiteX180" fmla="*/ 130850 w 1293444"/>
                <a:gd name="connsiteY180" fmla="*/ 727075 h 1704975"/>
                <a:gd name="connsiteX181" fmla="*/ 149900 w 1293444"/>
                <a:gd name="connsiteY181" fmla="*/ 723900 h 1704975"/>
                <a:gd name="connsiteX182" fmla="*/ 159425 w 1293444"/>
                <a:gd name="connsiteY182" fmla="*/ 720725 h 1704975"/>
                <a:gd name="connsiteX183" fmla="*/ 175300 w 1293444"/>
                <a:gd name="connsiteY183" fmla="*/ 717550 h 1704975"/>
                <a:gd name="connsiteX184" fmla="*/ 194350 w 1293444"/>
                <a:gd name="connsiteY184" fmla="*/ 711200 h 1704975"/>
                <a:gd name="connsiteX185" fmla="*/ 222925 w 1293444"/>
                <a:gd name="connsiteY185" fmla="*/ 701675 h 1704975"/>
                <a:gd name="connsiteX186" fmla="*/ 232450 w 1293444"/>
                <a:gd name="connsiteY186" fmla="*/ 698500 h 1704975"/>
                <a:gd name="connsiteX187" fmla="*/ 241975 w 1293444"/>
                <a:gd name="connsiteY187" fmla="*/ 695325 h 1704975"/>
                <a:gd name="connsiteX188" fmla="*/ 381675 w 1293444"/>
                <a:gd name="connsiteY188" fmla="*/ 688975 h 1704975"/>
                <a:gd name="connsiteX189" fmla="*/ 397550 w 1293444"/>
                <a:gd name="connsiteY189" fmla="*/ 685800 h 1704975"/>
                <a:gd name="connsiteX190" fmla="*/ 407075 w 1293444"/>
                <a:gd name="connsiteY190" fmla="*/ 682625 h 1704975"/>
                <a:gd name="connsiteX191" fmla="*/ 419775 w 1293444"/>
                <a:gd name="connsiteY191" fmla="*/ 679450 h 1704975"/>
                <a:gd name="connsiteX192" fmla="*/ 438825 w 1293444"/>
                <a:gd name="connsiteY192" fmla="*/ 673100 h 1704975"/>
                <a:gd name="connsiteX193" fmla="*/ 467400 w 1293444"/>
                <a:gd name="connsiteY193" fmla="*/ 663575 h 1704975"/>
                <a:gd name="connsiteX194" fmla="*/ 495975 w 1293444"/>
                <a:gd name="connsiteY194" fmla="*/ 654050 h 1704975"/>
                <a:gd name="connsiteX195" fmla="*/ 505500 w 1293444"/>
                <a:gd name="connsiteY195" fmla="*/ 650875 h 1704975"/>
                <a:gd name="connsiteX196" fmla="*/ 527725 w 1293444"/>
                <a:gd name="connsiteY196" fmla="*/ 641350 h 1704975"/>
                <a:gd name="connsiteX197" fmla="*/ 537250 w 1293444"/>
                <a:gd name="connsiteY197" fmla="*/ 635000 h 1704975"/>
                <a:gd name="connsiteX198" fmla="*/ 546775 w 1293444"/>
                <a:gd name="connsiteY198" fmla="*/ 631825 h 1704975"/>
                <a:gd name="connsiteX199" fmla="*/ 559475 w 1293444"/>
                <a:gd name="connsiteY199" fmla="*/ 625475 h 1704975"/>
                <a:gd name="connsiteX200" fmla="*/ 578525 w 1293444"/>
                <a:gd name="connsiteY200" fmla="*/ 657225 h 1704975"/>
                <a:gd name="connsiteX201" fmla="*/ 588050 w 1293444"/>
                <a:gd name="connsiteY201" fmla="*/ 660400 h 1704975"/>
                <a:gd name="connsiteX202" fmla="*/ 607100 w 1293444"/>
                <a:gd name="connsiteY202" fmla="*/ 673100 h 1704975"/>
                <a:gd name="connsiteX203" fmla="*/ 626150 w 1293444"/>
                <a:gd name="connsiteY203" fmla="*/ 679450 h 1704975"/>
                <a:gd name="connsiteX204" fmla="*/ 635675 w 1293444"/>
                <a:gd name="connsiteY204" fmla="*/ 685800 h 1704975"/>
                <a:gd name="connsiteX205" fmla="*/ 654725 w 1293444"/>
                <a:gd name="connsiteY205" fmla="*/ 692150 h 1704975"/>
                <a:gd name="connsiteX206" fmla="*/ 635675 w 1293444"/>
                <a:gd name="connsiteY206" fmla="*/ 676275 h 1704975"/>
                <a:gd name="connsiteX207" fmla="*/ 632500 w 1293444"/>
                <a:gd name="connsiteY207" fmla="*/ 666750 h 1704975"/>
                <a:gd name="connsiteX208" fmla="*/ 635675 w 1293444"/>
                <a:gd name="connsiteY208" fmla="*/ 590550 h 1704975"/>
                <a:gd name="connsiteX209" fmla="*/ 642025 w 1293444"/>
                <a:gd name="connsiteY209" fmla="*/ 571500 h 1704975"/>
                <a:gd name="connsiteX210" fmla="*/ 648375 w 1293444"/>
                <a:gd name="connsiteY210" fmla="*/ 561975 h 1704975"/>
                <a:gd name="connsiteX211" fmla="*/ 638850 w 1293444"/>
                <a:gd name="connsiteY211" fmla="*/ 536575 h 1704975"/>
                <a:gd name="connsiteX212" fmla="*/ 629325 w 1293444"/>
                <a:gd name="connsiteY212" fmla="*/ 533400 h 1704975"/>
                <a:gd name="connsiteX213" fmla="*/ 626150 w 1293444"/>
                <a:gd name="connsiteY213" fmla="*/ 523875 h 1704975"/>
                <a:gd name="connsiteX214" fmla="*/ 632500 w 1293444"/>
                <a:gd name="connsiteY214" fmla="*/ 498475 h 1704975"/>
                <a:gd name="connsiteX215" fmla="*/ 635675 w 1293444"/>
                <a:gd name="connsiteY215" fmla="*/ 485775 h 1704975"/>
                <a:gd name="connsiteX216" fmla="*/ 626150 w 1293444"/>
                <a:gd name="connsiteY216" fmla="*/ 463550 h 1704975"/>
                <a:gd name="connsiteX217" fmla="*/ 616625 w 1293444"/>
                <a:gd name="connsiteY217" fmla="*/ 460375 h 1704975"/>
                <a:gd name="connsiteX218" fmla="*/ 607100 w 1293444"/>
                <a:gd name="connsiteY218" fmla="*/ 454025 h 1704975"/>
                <a:gd name="connsiteX219" fmla="*/ 591225 w 1293444"/>
                <a:gd name="connsiteY219" fmla="*/ 450850 h 1704975"/>
                <a:gd name="connsiteX220" fmla="*/ 569000 w 1293444"/>
                <a:gd name="connsiteY220" fmla="*/ 441325 h 1704975"/>
                <a:gd name="connsiteX221" fmla="*/ 546775 w 1293444"/>
                <a:gd name="connsiteY221" fmla="*/ 415925 h 1704975"/>
                <a:gd name="connsiteX222" fmla="*/ 540425 w 1293444"/>
                <a:gd name="connsiteY222" fmla="*/ 406400 h 1704975"/>
                <a:gd name="connsiteX223" fmla="*/ 530900 w 1293444"/>
                <a:gd name="connsiteY223" fmla="*/ 400050 h 1704975"/>
                <a:gd name="connsiteX224" fmla="*/ 508675 w 1293444"/>
                <a:gd name="connsiteY224" fmla="*/ 374650 h 1704975"/>
                <a:gd name="connsiteX225" fmla="*/ 502325 w 1293444"/>
                <a:gd name="connsiteY225" fmla="*/ 365125 h 1704975"/>
                <a:gd name="connsiteX226" fmla="*/ 483275 w 1293444"/>
                <a:gd name="connsiteY226" fmla="*/ 346075 h 1704975"/>
                <a:gd name="connsiteX227" fmla="*/ 486450 w 1293444"/>
                <a:gd name="connsiteY227" fmla="*/ 333375 h 1704975"/>
                <a:gd name="connsiteX228" fmla="*/ 492800 w 1293444"/>
                <a:gd name="connsiteY228" fmla="*/ 314325 h 1704975"/>
                <a:gd name="connsiteX229" fmla="*/ 489625 w 1293444"/>
                <a:gd name="connsiteY229" fmla="*/ 292100 h 1704975"/>
                <a:gd name="connsiteX230" fmla="*/ 461050 w 1293444"/>
                <a:gd name="connsiteY230" fmla="*/ 266700 h 1704975"/>
                <a:gd name="connsiteX231" fmla="*/ 435650 w 1293444"/>
                <a:gd name="connsiteY231" fmla="*/ 254000 h 1704975"/>
                <a:gd name="connsiteX232" fmla="*/ 413425 w 1293444"/>
                <a:gd name="connsiteY232" fmla="*/ 238125 h 1704975"/>
                <a:gd name="connsiteX233" fmla="*/ 403900 w 1293444"/>
                <a:gd name="connsiteY233" fmla="*/ 231775 h 1704975"/>
                <a:gd name="connsiteX234" fmla="*/ 362625 w 1293444"/>
                <a:gd name="connsiteY234" fmla="*/ 114300 h 1704975"/>
                <a:gd name="connsiteX235" fmla="*/ 368975 w 1293444"/>
                <a:gd name="connsiteY235" fmla="*/ 104775 h 1704975"/>
                <a:gd name="connsiteX236" fmla="*/ 375325 w 1293444"/>
                <a:gd name="connsiteY236" fmla="*/ 38100 h 170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Lst>
              <a:rect l="l" t="t" r="r" b="b"/>
              <a:pathLst>
                <a:path w="1293444" h="1704975">
                  <a:moveTo>
                    <a:pt x="375325" y="38100"/>
                  </a:moveTo>
                  <a:cubicBezTo>
                    <a:pt x="382204" y="25400"/>
                    <a:pt x="388166" y="23054"/>
                    <a:pt x="410250" y="28575"/>
                  </a:cubicBezTo>
                  <a:cubicBezTo>
                    <a:pt x="413497" y="29387"/>
                    <a:pt x="416600" y="30692"/>
                    <a:pt x="419775" y="31750"/>
                  </a:cubicBezTo>
                  <a:cubicBezTo>
                    <a:pt x="434592" y="30692"/>
                    <a:pt x="449814" y="32178"/>
                    <a:pt x="464225" y="28575"/>
                  </a:cubicBezTo>
                  <a:cubicBezTo>
                    <a:pt x="471629" y="26724"/>
                    <a:pt x="476035" y="18288"/>
                    <a:pt x="483275" y="15875"/>
                  </a:cubicBezTo>
                  <a:lnTo>
                    <a:pt x="502325" y="9525"/>
                  </a:lnTo>
                  <a:lnTo>
                    <a:pt x="502325" y="9525"/>
                  </a:lnTo>
                  <a:cubicBezTo>
                    <a:pt x="507617" y="8467"/>
                    <a:pt x="512994" y="7770"/>
                    <a:pt x="518200" y="6350"/>
                  </a:cubicBezTo>
                  <a:cubicBezTo>
                    <a:pt x="524658" y="4589"/>
                    <a:pt x="537250" y="0"/>
                    <a:pt x="537250" y="0"/>
                  </a:cubicBezTo>
                  <a:cubicBezTo>
                    <a:pt x="541483" y="6350"/>
                    <a:pt x="542710" y="16637"/>
                    <a:pt x="549950" y="19050"/>
                  </a:cubicBezTo>
                  <a:cubicBezTo>
                    <a:pt x="565779" y="24326"/>
                    <a:pt x="567305" y="25376"/>
                    <a:pt x="581700" y="28575"/>
                  </a:cubicBezTo>
                  <a:cubicBezTo>
                    <a:pt x="586968" y="29746"/>
                    <a:pt x="592369" y="30330"/>
                    <a:pt x="597575" y="31750"/>
                  </a:cubicBezTo>
                  <a:cubicBezTo>
                    <a:pt x="604033" y="33511"/>
                    <a:pt x="616625" y="38100"/>
                    <a:pt x="616625" y="38100"/>
                  </a:cubicBezTo>
                  <a:cubicBezTo>
                    <a:pt x="624641" y="62149"/>
                    <a:pt x="613375" y="38079"/>
                    <a:pt x="657900" y="50800"/>
                  </a:cubicBezTo>
                  <a:cubicBezTo>
                    <a:pt x="662435" y="52096"/>
                    <a:pt x="666263" y="66365"/>
                    <a:pt x="667425" y="69850"/>
                  </a:cubicBezTo>
                  <a:cubicBezTo>
                    <a:pt x="668483" y="81492"/>
                    <a:pt x="668947" y="93203"/>
                    <a:pt x="670600" y="104775"/>
                  </a:cubicBezTo>
                  <a:cubicBezTo>
                    <a:pt x="671073" y="108088"/>
                    <a:pt x="671684" y="111687"/>
                    <a:pt x="673775" y="114300"/>
                  </a:cubicBezTo>
                  <a:cubicBezTo>
                    <a:pt x="676159" y="117280"/>
                    <a:pt x="680125" y="118533"/>
                    <a:pt x="683300" y="120650"/>
                  </a:cubicBezTo>
                  <a:cubicBezTo>
                    <a:pt x="687533" y="127000"/>
                    <a:pt x="693587" y="132460"/>
                    <a:pt x="696000" y="139700"/>
                  </a:cubicBezTo>
                  <a:cubicBezTo>
                    <a:pt x="699144" y="149131"/>
                    <a:pt x="701153" y="160728"/>
                    <a:pt x="708700" y="168275"/>
                  </a:cubicBezTo>
                  <a:cubicBezTo>
                    <a:pt x="711398" y="170973"/>
                    <a:pt x="715050" y="172508"/>
                    <a:pt x="718225" y="174625"/>
                  </a:cubicBezTo>
                  <a:cubicBezTo>
                    <a:pt x="719283" y="177800"/>
                    <a:pt x="719033" y="181783"/>
                    <a:pt x="721400" y="184150"/>
                  </a:cubicBezTo>
                  <a:cubicBezTo>
                    <a:pt x="726796" y="189546"/>
                    <a:pt x="740450" y="196850"/>
                    <a:pt x="740450" y="196850"/>
                  </a:cubicBezTo>
                  <a:cubicBezTo>
                    <a:pt x="744683" y="203200"/>
                    <a:pt x="746800" y="211667"/>
                    <a:pt x="753150" y="215900"/>
                  </a:cubicBezTo>
                  <a:cubicBezTo>
                    <a:pt x="787187" y="238591"/>
                    <a:pt x="735530" y="203254"/>
                    <a:pt x="772200" y="231775"/>
                  </a:cubicBezTo>
                  <a:cubicBezTo>
                    <a:pt x="778224" y="236460"/>
                    <a:pt x="784900" y="240242"/>
                    <a:pt x="791250" y="244475"/>
                  </a:cubicBezTo>
                  <a:cubicBezTo>
                    <a:pt x="794425" y="246592"/>
                    <a:pt x="797155" y="249618"/>
                    <a:pt x="800775" y="250825"/>
                  </a:cubicBezTo>
                  <a:cubicBezTo>
                    <a:pt x="807125" y="252942"/>
                    <a:pt x="814256" y="253462"/>
                    <a:pt x="819825" y="257175"/>
                  </a:cubicBezTo>
                  <a:cubicBezTo>
                    <a:pt x="847122" y="275373"/>
                    <a:pt x="812585" y="253555"/>
                    <a:pt x="838875" y="266700"/>
                  </a:cubicBezTo>
                  <a:cubicBezTo>
                    <a:pt x="863494" y="279010"/>
                    <a:pt x="833984" y="268245"/>
                    <a:pt x="857925" y="276225"/>
                  </a:cubicBezTo>
                  <a:cubicBezTo>
                    <a:pt x="861994" y="275208"/>
                    <a:pt x="875595" y="272152"/>
                    <a:pt x="880150" y="269875"/>
                  </a:cubicBezTo>
                  <a:cubicBezTo>
                    <a:pt x="883563" y="268168"/>
                    <a:pt x="886188" y="265075"/>
                    <a:pt x="889675" y="263525"/>
                  </a:cubicBezTo>
                  <a:cubicBezTo>
                    <a:pt x="903256" y="257489"/>
                    <a:pt x="908495" y="257694"/>
                    <a:pt x="921425" y="254000"/>
                  </a:cubicBezTo>
                  <a:cubicBezTo>
                    <a:pt x="924643" y="253081"/>
                    <a:pt x="927775" y="251883"/>
                    <a:pt x="930950" y="250825"/>
                  </a:cubicBezTo>
                  <a:cubicBezTo>
                    <a:pt x="937300" y="251883"/>
                    <a:pt x="944411" y="250806"/>
                    <a:pt x="950000" y="254000"/>
                  </a:cubicBezTo>
                  <a:cubicBezTo>
                    <a:pt x="952906" y="255660"/>
                    <a:pt x="953175" y="260178"/>
                    <a:pt x="953175" y="263525"/>
                  </a:cubicBezTo>
                  <a:cubicBezTo>
                    <a:pt x="953175" y="306611"/>
                    <a:pt x="957354" y="296944"/>
                    <a:pt x="943650" y="317500"/>
                  </a:cubicBezTo>
                  <a:cubicBezTo>
                    <a:pt x="944708" y="321733"/>
                    <a:pt x="944404" y="326569"/>
                    <a:pt x="946825" y="330200"/>
                  </a:cubicBezTo>
                  <a:cubicBezTo>
                    <a:pt x="950342" y="335476"/>
                    <a:pt x="960442" y="337914"/>
                    <a:pt x="965875" y="339725"/>
                  </a:cubicBezTo>
                  <a:cubicBezTo>
                    <a:pt x="971167" y="338667"/>
                    <a:pt x="976697" y="338445"/>
                    <a:pt x="981750" y="336550"/>
                  </a:cubicBezTo>
                  <a:cubicBezTo>
                    <a:pt x="985323" y="335210"/>
                    <a:pt x="987862" y="331907"/>
                    <a:pt x="991275" y="330200"/>
                  </a:cubicBezTo>
                  <a:cubicBezTo>
                    <a:pt x="994268" y="328703"/>
                    <a:pt x="997807" y="328522"/>
                    <a:pt x="1000800" y="327025"/>
                  </a:cubicBezTo>
                  <a:cubicBezTo>
                    <a:pt x="1004213" y="325318"/>
                    <a:pt x="1006912" y="322382"/>
                    <a:pt x="1010325" y="320675"/>
                  </a:cubicBezTo>
                  <a:cubicBezTo>
                    <a:pt x="1036615" y="307530"/>
                    <a:pt x="1002078" y="329348"/>
                    <a:pt x="1029375" y="311150"/>
                  </a:cubicBezTo>
                  <a:cubicBezTo>
                    <a:pt x="1030433" y="307975"/>
                    <a:pt x="1033100" y="304926"/>
                    <a:pt x="1032550" y="301625"/>
                  </a:cubicBezTo>
                  <a:cubicBezTo>
                    <a:pt x="1031923" y="297861"/>
                    <a:pt x="1026827" y="295864"/>
                    <a:pt x="1026200" y="292100"/>
                  </a:cubicBezTo>
                  <a:cubicBezTo>
                    <a:pt x="1024418" y="281405"/>
                    <a:pt x="1032216" y="281628"/>
                    <a:pt x="1038900" y="279400"/>
                  </a:cubicBezTo>
                  <a:cubicBezTo>
                    <a:pt x="1053717" y="280458"/>
                    <a:pt x="1068890" y="279173"/>
                    <a:pt x="1083350" y="282575"/>
                  </a:cubicBezTo>
                  <a:cubicBezTo>
                    <a:pt x="1097196" y="285833"/>
                    <a:pt x="1091387" y="299815"/>
                    <a:pt x="1096050" y="307975"/>
                  </a:cubicBezTo>
                  <a:cubicBezTo>
                    <a:pt x="1097943" y="311288"/>
                    <a:pt x="1102400" y="312208"/>
                    <a:pt x="1105575" y="314325"/>
                  </a:cubicBezTo>
                  <a:cubicBezTo>
                    <a:pt x="1107692" y="318558"/>
                    <a:pt x="1110049" y="322680"/>
                    <a:pt x="1111925" y="327025"/>
                  </a:cubicBezTo>
                  <a:cubicBezTo>
                    <a:pt x="1116687" y="338667"/>
                    <a:pt x="1083103" y="380433"/>
                    <a:pt x="1134150" y="453979"/>
                  </a:cubicBezTo>
                  <a:cubicBezTo>
                    <a:pt x="1165900" y="464032"/>
                    <a:pt x="1153729" y="441854"/>
                    <a:pt x="1165900" y="454025"/>
                  </a:cubicBezTo>
                  <a:cubicBezTo>
                    <a:pt x="1174048" y="465161"/>
                    <a:pt x="1193417" y="456142"/>
                    <a:pt x="1207175" y="457200"/>
                  </a:cubicBezTo>
                  <a:cubicBezTo>
                    <a:pt x="1210350" y="459317"/>
                    <a:pt x="1213287" y="461843"/>
                    <a:pt x="1216700" y="463550"/>
                  </a:cubicBezTo>
                  <a:cubicBezTo>
                    <a:pt x="1231133" y="470766"/>
                    <a:pt x="1263652" y="469398"/>
                    <a:pt x="1270675" y="469900"/>
                  </a:cubicBezTo>
                  <a:cubicBezTo>
                    <a:pt x="1272792" y="473075"/>
                    <a:pt x="1276398" y="475661"/>
                    <a:pt x="1277025" y="479425"/>
                  </a:cubicBezTo>
                  <a:cubicBezTo>
                    <a:pt x="1277575" y="482726"/>
                    <a:pt x="1274506" y="485668"/>
                    <a:pt x="1273850" y="488950"/>
                  </a:cubicBezTo>
                  <a:cubicBezTo>
                    <a:pt x="1272382" y="496288"/>
                    <a:pt x="1272358" y="503883"/>
                    <a:pt x="1270675" y="511175"/>
                  </a:cubicBezTo>
                  <a:cubicBezTo>
                    <a:pt x="1269170" y="517697"/>
                    <a:pt x="1266442" y="523875"/>
                    <a:pt x="1264325" y="530225"/>
                  </a:cubicBezTo>
                  <a:cubicBezTo>
                    <a:pt x="1263267" y="533400"/>
                    <a:pt x="1261806" y="536468"/>
                    <a:pt x="1261150" y="539750"/>
                  </a:cubicBezTo>
                  <a:lnTo>
                    <a:pt x="1254800" y="571500"/>
                  </a:lnTo>
                  <a:cubicBezTo>
                    <a:pt x="1250678" y="633337"/>
                    <a:pt x="1249903" y="618694"/>
                    <a:pt x="1254800" y="692150"/>
                  </a:cubicBezTo>
                  <a:cubicBezTo>
                    <a:pt x="1255298" y="699617"/>
                    <a:pt x="1256507" y="707037"/>
                    <a:pt x="1257975" y="714375"/>
                  </a:cubicBezTo>
                  <a:cubicBezTo>
                    <a:pt x="1258631" y="717657"/>
                    <a:pt x="1258537" y="721809"/>
                    <a:pt x="1261150" y="723900"/>
                  </a:cubicBezTo>
                  <a:cubicBezTo>
                    <a:pt x="1264557" y="726626"/>
                    <a:pt x="1269617" y="726017"/>
                    <a:pt x="1273850" y="727075"/>
                  </a:cubicBezTo>
                  <a:cubicBezTo>
                    <a:pt x="1280200" y="731308"/>
                    <a:pt x="1293444" y="732163"/>
                    <a:pt x="1292900" y="739775"/>
                  </a:cubicBezTo>
                  <a:cubicBezTo>
                    <a:pt x="1291842" y="754592"/>
                    <a:pt x="1292306" y="769597"/>
                    <a:pt x="1289725" y="784225"/>
                  </a:cubicBezTo>
                  <a:cubicBezTo>
                    <a:pt x="1288119" y="793324"/>
                    <a:pt x="1279689" y="795234"/>
                    <a:pt x="1273850" y="800100"/>
                  </a:cubicBezTo>
                  <a:cubicBezTo>
                    <a:pt x="1270401" y="802975"/>
                    <a:pt x="1268250" y="807444"/>
                    <a:pt x="1264325" y="809625"/>
                  </a:cubicBezTo>
                  <a:cubicBezTo>
                    <a:pt x="1251190" y="816922"/>
                    <a:pt x="1234057" y="817377"/>
                    <a:pt x="1219875" y="819150"/>
                  </a:cubicBezTo>
                  <a:cubicBezTo>
                    <a:pt x="1213525" y="821267"/>
                    <a:pt x="1206394" y="821787"/>
                    <a:pt x="1200825" y="825500"/>
                  </a:cubicBezTo>
                  <a:lnTo>
                    <a:pt x="1181775" y="838200"/>
                  </a:lnTo>
                  <a:cubicBezTo>
                    <a:pt x="1178600" y="840317"/>
                    <a:pt x="1175870" y="843343"/>
                    <a:pt x="1172250" y="844550"/>
                  </a:cubicBezTo>
                  <a:cubicBezTo>
                    <a:pt x="1165900" y="846667"/>
                    <a:pt x="1159187" y="847907"/>
                    <a:pt x="1153200" y="850900"/>
                  </a:cubicBezTo>
                  <a:cubicBezTo>
                    <a:pt x="1148967" y="853017"/>
                    <a:pt x="1144609" y="854902"/>
                    <a:pt x="1140500" y="857250"/>
                  </a:cubicBezTo>
                  <a:cubicBezTo>
                    <a:pt x="1137187" y="859143"/>
                    <a:pt x="1134656" y="862596"/>
                    <a:pt x="1130975" y="863600"/>
                  </a:cubicBezTo>
                  <a:cubicBezTo>
                    <a:pt x="1122743" y="865845"/>
                    <a:pt x="1114042" y="865717"/>
                    <a:pt x="1105575" y="866775"/>
                  </a:cubicBezTo>
                  <a:cubicBezTo>
                    <a:pt x="1099225" y="868892"/>
                    <a:pt x="1092094" y="869412"/>
                    <a:pt x="1086525" y="873125"/>
                  </a:cubicBezTo>
                  <a:cubicBezTo>
                    <a:pt x="1083350" y="875242"/>
                    <a:pt x="1080487" y="877925"/>
                    <a:pt x="1077000" y="879475"/>
                  </a:cubicBezTo>
                  <a:cubicBezTo>
                    <a:pt x="1070883" y="882193"/>
                    <a:pt x="1064300" y="883708"/>
                    <a:pt x="1057950" y="885825"/>
                  </a:cubicBezTo>
                  <a:lnTo>
                    <a:pt x="1048425" y="889000"/>
                  </a:lnTo>
                  <a:cubicBezTo>
                    <a:pt x="1042075" y="895350"/>
                    <a:pt x="1037894" y="905210"/>
                    <a:pt x="1029375" y="908050"/>
                  </a:cubicBezTo>
                  <a:lnTo>
                    <a:pt x="1010325" y="914400"/>
                  </a:lnTo>
                  <a:cubicBezTo>
                    <a:pt x="1008208" y="917575"/>
                    <a:pt x="1006418" y="920994"/>
                    <a:pt x="1003975" y="923925"/>
                  </a:cubicBezTo>
                  <a:cubicBezTo>
                    <a:pt x="1001100" y="927374"/>
                    <a:pt x="996941" y="929714"/>
                    <a:pt x="994450" y="933450"/>
                  </a:cubicBezTo>
                  <a:cubicBezTo>
                    <a:pt x="992594" y="936235"/>
                    <a:pt x="992001" y="939708"/>
                    <a:pt x="991275" y="942975"/>
                  </a:cubicBezTo>
                  <a:cubicBezTo>
                    <a:pt x="989878" y="949259"/>
                    <a:pt x="992339" y="957180"/>
                    <a:pt x="988100" y="962025"/>
                  </a:cubicBezTo>
                  <a:cubicBezTo>
                    <a:pt x="983692" y="967062"/>
                    <a:pt x="974619" y="964662"/>
                    <a:pt x="969050" y="968375"/>
                  </a:cubicBezTo>
                  <a:lnTo>
                    <a:pt x="950000" y="981075"/>
                  </a:lnTo>
                  <a:lnTo>
                    <a:pt x="940475" y="987425"/>
                  </a:lnTo>
                  <a:cubicBezTo>
                    <a:pt x="922277" y="1014722"/>
                    <a:pt x="944095" y="980185"/>
                    <a:pt x="930950" y="1006475"/>
                  </a:cubicBezTo>
                  <a:cubicBezTo>
                    <a:pt x="929243" y="1009888"/>
                    <a:pt x="926307" y="1012587"/>
                    <a:pt x="924600" y="1016000"/>
                  </a:cubicBezTo>
                  <a:cubicBezTo>
                    <a:pt x="923103" y="1018993"/>
                    <a:pt x="922922" y="1022532"/>
                    <a:pt x="921425" y="1025525"/>
                  </a:cubicBezTo>
                  <a:cubicBezTo>
                    <a:pt x="915513" y="1037349"/>
                    <a:pt x="914327" y="1034042"/>
                    <a:pt x="905550" y="1044575"/>
                  </a:cubicBezTo>
                  <a:cubicBezTo>
                    <a:pt x="880571" y="1074550"/>
                    <a:pt x="915118" y="1034986"/>
                    <a:pt x="896025" y="1063625"/>
                  </a:cubicBezTo>
                  <a:cubicBezTo>
                    <a:pt x="890056" y="1072578"/>
                    <a:pt x="875019" y="1080804"/>
                    <a:pt x="867450" y="1085850"/>
                  </a:cubicBezTo>
                  <a:cubicBezTo>
                    <a:pt x="855140" y="1094056"/>
                    <a:pt x="861545" y="1090993"/>
                    <a:pt x="848400" y="1095375"/>
                  </a:cubicBezTo>
                  <a:cubicBezTo>
                    <a:pt x="836758" y="1094317"/>
                    <a:pt x="825165" y="1092200"/>
                    <a:pt x="813475" y="1092200"/>
                  </a:cubicBezTo>
                  <a:cubicBezTo>
                    <a:pt x="788919" y="1092200"/>
                    <a:pt x="788504" y="1093115"/>
                    <a:pt x="772200" y="1098550"/>
                  </a:cubicBezTo>
                  <a:cubicBezTo>
                    <a:pt x="762137" y="1113644"/>
                    <a:pt x="767057" y="1104455"/>
                    <a:pt x="759500" y="1127125"/>
                  </a:cubicBezTo>
                  <a:cubicBezTo>
                    <a:pt x="758442" y="1130300"/>
                    <a:pt x="758181" y="1133865"/>
                    <a:pt x="756325" y="1136650"/>
                  </a:cubicBezTo>
                  <a:cubicBezTo>
                    <a:pt x="733634" y="1170687"/>
                    <a:pt x="768971" y="1119030"/>
                    <a:pt x="740450" y="1155700"/>
                  </a:cubicBezTo>
                  <a:cubicBezTo>
                    <a:pt x="720504" y="1181344"/>
                    <a:pt x="736664" y="1168807"/>
                    <a:pt x="718225" y="1181100"/>
                  </a:cubicBezTo>
                  <a:cubicBezTo>
                    <a:pt x="719283" y="1200150"/>
                    <a:pt x="718702" y="1219362"/>
                    <a:pt x="721400" y="1238250"/>
                  </a:cubicBezTo>
                  <a:cubicBezTo>
                    <a:pt x="721940" y="1242028"/>
                    <a:pt x="726043" y="1244362"/>
                    <a:pt x="727750" y="1247775"/>
                  </a:cubicBezTo>
                  <a:cubicBezTo>
                    <a:pt x="729247" y="1250768"/>
                    <a:pt x="729428" y="1254307"/>
                    <a:pt x="730925" y="1257300"/>
                  </a:cubicBezTo>
                  <a:cubicBezTo>
                    <a:pt x="743235" y="1281919"/>
                    <a:pt x="732470" y="1252409"/>
                    <a:pt x="740450" y="1276350"/>
                  </a:cubicBezTo>
                  <a:cubicBezTo>
                    <a:pt x="746800" y="1299104"/>
                    <a:pt x="763204" y="1371071"/>
                    <a:pt x="769025" y="1393825"/>
                  </a:cubicBezTo>
                  <a:cubicBezTo>
                    <a:pt x="770125" y="1400427"/>
                    <a:pt x="773752" y="1406381"/>
                    <a:pt x="775375" y="1412875"/>
                  </a:cubicBezTo>
                  <a:cubicBezTo>
                    <a:pt x="779362" y="1428822"/>
                    <a:pt x="777170" y="1421435"/>
                    <a:pt x="781725" y="1435100"/>
                  </a:cubicBezTo>
                  <a:cubicBezTo>
                    <a:pt x="779453" y="1446458"/>
                    <a:pt x="780375" y="1452325"/>
                    <a:pt x="772200" y="1460500"/>
                  </a:cubicBezTo>
                  <a:cubicBezTo>
                    <a:pt x="769502" y="1463198"/>
                    <a:pt x="765850" y="1464733"/>
                    <a:pt x="762675" y="1466850"/>
                  </a:cubicBezTo>
                  <a:cubicBezTo>
                    <a:pt x="757799" y="1474164"/>
                    <a:pt x="754611" y="1477137"/>
                    <a:pt x="753150" y="1485900"/>
                  </a:cubicBezTo>
                  <a:cubicBezTo>
                    <a:pt x="747858" y="1496483"/>
                    <a:pt x="736746" y="1519767"/>
                    <a:pt x="730925" y="1530350"/>
                  </a:cubicBezTo>
                  <a:cubicBezTo>
                    <a:pt x="726240" y="1536374"/>
                    <a:pt x="722458" y="1543050"/>
                    <a:pt x="718225" y="1549400"/>
                  </a:cubicBezTo>
                  <a:cubicBezTo>
                    <a:pt x="716108" y="1552575"/>
                    <a:pt x="714573" y="1556227"/>
                    <a:pt x="711875" y="1558925"/>
                  </a:cubicBezTo>
                  <a:lnTo>
                    <a:pt x="702350" y="1568450"/>
                  </a:lnTo>
                  <a:cubicBezTo>
                    <a:pt x="701292" y="1571625"/>
                    <a:pt x="700800" y="1575049"/>
                    <a:pt x="699175" y="1577975"/>
                  </a:cubicBezTo>
                  <a:cubicBezTo>
                    <a:pt x="695469" y="1584646"/>
                    <a:pt x="688888" y="1589785"/>
                    <a:pt x="686475" y="1597025"/>
                  </a:cubicBezTo>
                  <a:cubicBezTo>
                    <a:pt x="678008" y="1606021"/>
                    <a:pt x="656313" y="1625071"/>
                    <a:pt x="648375" y="1631950"/>
                  </a:cubicBezTo>
                  <a:lnTo>
                    <a:pt x="638850" y="1638300"/>
                  </a:lnTo>
                  <a:cubicBezTo>
                    <a:pt x="634718" y="1644498"/>
                    <a:pt x="615603" y="1675869"/>
                    <a:pt x="607100" y="1676400"/>
                  </a:cubicBezTo>
                  <a:lnTo>
                    <a:pt x="556300" y="1679575"/>
                  </a:lnTo>
                  <a:cubicBezTo>
                    <a:pt x="549950" y="1681692"/>
                    <a:pt x="542819" y="1682212"/>
                    <a:pt x="537250" y="1685925"/>
                  </a:cubicBezTo>
                  <a:cubicBezTo>
                    <a:pt x="528658" y="1691653"/>
                    <a:pt x="525096" y="1694597"/>
                    <a:pt x="515025" y="1698625"/>
                  </a:cubicBezTo>
                  <a:cubicBezTo>
                    <a:pt x="508810" y="1701111"/>
                    <a:pt x="495975" y="1704975"/>
                    <a:pt x="495975" y="1704975"/>
                  </a:cubicBezTo>
                  <a:cubicBezTo>
                    <a:pt x="489625" y="1703917"/>
                    <a:pt x="482683" y="1704679"/>
                    <a:pt x="476925" y="1701800"/>
                  </a:cubicBezTo>
                  <a:cubicBezTo>
                    <a:pt x="473512" y="1700093"/>
                    <a:pt x="471433" y="1695993"/>
                    <a:pt x="470575" y="1692275"/>
                  </a:cubicBezTo>
                  <a:cubicBezTo>
                    <a:pt x="468183" y="1681911"/>
                    <a:pt x="469017" y="1671037"/>
                    <a:pt x="467400" y="1660525"/>
                  </a:cubicBezTo>
                  <a:cubicBezTo>
                    <a:pt x="466461" y="1654421"/>
                    <a:pt x="462156" y="1645756"/>
                    <a:pt x="457875" y="1641475"/>
                  </a:cubicBezTo>
                  <a:cubicBezTo>
                    <a:pt x="452054" y="1613958"/>
                    <a:pt x="437237" y="1521354"/>
                    <a:pt x="432475" y="1495425"/>
                  </a:cubicBezTo>
                  <a:cubicBezTo>
                    <a:pt x="432299" y="1492083"/>
                    <a:pt x="430219" y="1489118"/>
                    <a:pt x="429300" y="1485900"/>
                  </a:cubicBezTo>
                  <a:cubicBezTo>
                    <a:pt x="428101" y="1481704"/>
                    <a:pt x="427844" y="1477211"/>
                    <a:pt x="426125" y="1473200"/>
                  </a:cubicBezTo>
                  <a:cubicBezTo>
                    <a:pt x="424622" y="1469693"/>
                    <a:pt x="421482" y="1467088"/>
                    <a:pt x="419775" y="1463675"/>
                  </a:cubicBezTo>
                  <a:cubicBezTo>
                    <a:pt x="418278" y="1460682"/>
                    <a:pt x="418225" y="1457076"/>
                    <a:pt x="416600" y="1454150"/>
                  </a:cubicBezTo>
                  <a:cubicBezTo>
                    <a:pt x="412367" y="1440392"/>
                    <a:pt x="398608" y="1395412"/>
                    <a:pt x="394375" y="1381125"/>
                  </a:cubicBezTo>
                  <a:cubicBezTo>
                    <a:pt x="393798" y="1376800"/>
                    <a:pt x="392147" y="1372685"/>
                    <a:pt x="391200" y="1368425"/>
                  </a:cubicBezTo>
                  <a:cubicBezTo>
                    <a:pt x="390029" y="1363157"/>
                    <a:pt x="389445" y="1357756"/>
                    <a:pt x="388025" y="1352550"/>
                  </a:cubicBezTo>
                  <a:cubicBezTo>
                    <a:pt x="386264" y="1346092"/>
                    <a:pt x="383792" y="1339850"/>
                    <a:pt x="381675" y="1333500"/>
                  </a:cubicBezTo>
                  <a:cubicBezTo>
                    <a:pt x="380617" y="1330325"/>
                    <a:pt x="379156" y="1327257"/>
                    <a:pt x="378500" y="1323975"/>
                  </a:cubicBezTo>
                  <a:cubicBezTo>
                    <a:pt x="377442" y="1318683"/>
                    <a:pt x="376745" y="1313306"/>
                    <a:pt x="375325" y="1308100"/>
                  </a:cubicBezTo>
                  <a:cubicBezTo>
                    <a:pt x="373564" y="1301642"/>
                    <a:pt x="370598" y="1295544"/>
                    <a:pt x="368975" y="1289050"/>
                  </a:cubicBezTo>
                  <a:cubicBezTo>
                    <a:pt x="366664" y="1279806"/>
                    <a:pt x="363969" y="1269880"/>
                    <a:pt x="362625" y="1260475"/>
                  </a:cubicBezTo>
                  <a:cubicBezTo>
                    <a:pt x="361270" y="1250988"/>
                    <a:pt x="361115" y="1241338"/>
                    <a:pt x="359450" y="1231900"/>
                  </a:cubicBezTo>
                  <a:cubicBezTo>
                    <a:pt x="353098" y="1195904"/>
                    <a:pt x="355549" y="1217598"/>
                    <a:pt x="349925" y="1196975"/>
                  </a:cubicBezTo>
                  <a:cubicBezTo>
                    <a:pt x="338193" y="1153958"/>
                    <a:pt x="347805" y="1187789"/>
                    <a:pt x="340400" y="1155700"/>
                  </a:cubicBezTo>
                  <a:cubicBezTo>
                    <a:pt x="338438" y="1147196"/>
                    <a:pt x="336167" y="1138767"/>
                    <a:pt x="334050" y="1130300"/>
                  </a:cubicBezTo>
                  <a:lnTo>
                    <a:pt x="327700" y="1104900"/>
                  </a:lnTo>
                  <a:cubicBezTo>
                    <a:pt x="326642" y="1100667"/>
                    <a:pt x="325242" y="1096504"/>
                    <a:pt x="324525" y="1092200"/>
                  </a:cubicBezTo>
                  <a:cubicBezTo>
                    <a:pt x="316605" y="1044682"/>
                    <a:pt x="326346" y="1104035"/>
                    <a:pt x="318175" y="1050925"/>
                  </a:cubicBezTo>
                  <a:cubicBezTo>
                    <a:pt x="317196" y="1044562"/>
                    <a:pt x="316397" y="1038159"/>
                    <a:pt x="315000" y="1031875"/>
                  </a:cubicBezTo>
                  <a:cubicBezTo>
                    <a:pt x="314274" y="1028608"/>
                    <a:pt x="312637" y="1025597"/>
                    <a:pt x="311825" y="1022350"/>
                  </a:cubicBezTo>
                  <a:cubicBezTo>
                    <a:pt x="310516" y="1017115"/>
                    <a:pt x="310070" y="1011681"/>
                    <a:pt x="308650" y="1006475"/>
                  </a:cubicBezTo>
                  <a:cubicBezTo>
                    <a:pt x="306889" y="1000017"/>
                    <a:pt x="303923" y="993919"/>
                    <a:pt x="302300" y="987425"/>
                  </a:cubicBezTo>
                  <a:cubicBezTo>
                    <a:pt x="301242" y="983192"/>
                    <a:pt x="300379" y="978905"/>
                    <a:pt x="299125" y="974725"/>
                  </a:cubicBezTo>
                  <a:cubicBezTo>
                    <a:pt x="297202" y="968314"/>
                    <a:pt x="294892" y="962025"/>
                    <a:pt x="292775" y="955675"/>
                  </a:cubicBezTo>
                  <a:cubicBezTo>
                    <a:pt x="291717" y="952500"/>
                    <a:pt x="290412" y="949397"/>
                    <a:pt x="289600" y="946150"/>
                  </a:cubicBezTo>
                  <a:cubicBezTo>
                    <a:pt x="286574" y="934046"/>
                    <a:pt x="287906" y="933322"/>
                    <a:pt x="280075" y="923925"/>
                  </a:cubicBezTo>
                  <a:cubicBezTo>
                    <a:pt x="275677" y="918647"/>
                    <a:pt x="267636" y="910988"/>
                    <a:pt x="261025" y="908050"/>
                  </a:cubicBezTo>
                  <a:cubicBezTo>
                    <a:pt x="254908" y="905332"/>
                    <a:pt x="247544" y="905413"/>
                    <a:pt x="241975" y="901700"/>
                  </a:cubicBezTo>
                  <a:cubicBezTo>
                    <a:pt x="235625" y="897467"/>
                    <a:pt x="230165" y="891413"/>
                    <a:pt x="222925" y="889000"/>
                  </a:cubicBezTo>
                  <a:cubicBezTo>
                    <a:pt x="219750" y="887942"/>
                    <a:pt x="216326" y="887450"/>
                    <a:pt x="213400" y="885825"/>
                  </a:cubicBezTo>
                  <a:cubicBezTo>
                    <a:pt x="206729" y="882119"/>
                    <a:pt x="200700" y="877358"/>
                    <a:pt x="194350" y="873125"/>
                  </a:cubicBezTo>
                  <a:cubicBezTo>
                    <a:pt x="194328" y="873110"/>
                    <a:pt x="175300" y="860425"/>
                    <a:pt x="175300" y="860425"/>
                  </a:cubicBezTo>
                  <a:cubicBezTo>
                    <a:pt x="171067" y="857250"/>
                    <a:pt x="167194" y="853525"/>
                    <a:pt x="162600" y="850900"/>
                  </a:cubicBezTo>
                  <a:cubicBezTo>
                    <a:pt x="159694" y="849240"/>
                    <a:pt x="156001" y="849350"/>
                    <a:pt x="153075" y="847725"/>
                  </a:cubicBezTo>
                  <a:cubicBezTo>
                    <a:pt x="146404" y="844019"/>
                    <a:pt x="140375" y="839258"/>
                    <a:pt x="134025" y="835025"/>
                  </a:cubicBezTo>
                  <a:lnTo>
                    <a:pt x="114975" y="822325"/>
                  </a:lnTo>
                  <a:cubicBezTo>
                    <a:pt x="111800" y="820208"/>
                    <a:pt x="109070" y="817182"/>
                    <a:pt x="105450" y="815975"/>
                  </a:cubicBezTo>
                  <a:lnTo>
                    <a:pt x="95925" y="812800"/>
                  </a:lnTo>
                  <a:cubicBezTo>
                    <a:pt x="90129" y="808453"/>
                    <a:pt x="68866" y="792139"/>
                    <a:pt x="64175" y="790575"/>
                  </a:cubicBezTo>
                  <a:lnTo>
                    <a:pt x="54650" y="787400"/>
                  </a:lnTo>
                  <a:cubicBezTo>
                    <a:pt x="43008" y="769938"/>
                    <a:pt x="54650" y="784754"/>
                    <a:pt x="38775" y="771525"/>
                  </a:cubicBezTo>
                  <a:cubicBezTo>
                    <a:pt x="35326" y="768650"/>
                    <a:pt x="32986" y="764491"/>
                    <a:pt x="29250" y="762000"/>
                  </a:cubicBezTo>
                  <a:cubicBezTo>
                    <a:pt x="26465" y="760144"/>
                    <a:pt x="22651" y="760450"/>
                    <a:pt x="19725" y="758825"/>
                  </a:cubicBezTo>
                  <a:cubicBezTo>
                    <a:pt x="13054" y="755119"/>
                    <a:pt x="675" y="746125"/>
                    <a:pt x="675" y="746125"/>
                  </a:cubicBezTo>
                  <a:cubicBezTo>
                    <a:pt x="24955" y="738032"/>
                    <a:pt x="0" y="745494"/>
                    <a:pt x="51475" y="739775"/>
                  </a:cubicBezTo>
                  <a:cubicBezTo>
                    <a:pt x="56838" y="739179"/>
                    <a:pt x="61995" y="737269"/>
                    <a:pt x="67350" y="736600"/>
                  </a:cubicBezTo>
                  <a:cubicBezTo>
                    <a:pt x="78949" y="735150"/>
                    <a:pt x="90633" y="734483"/>
                    <a:pt x="102275" y="733425"/>
                  </a:cubicBezTo>
                  <a:cubicBezTo>
                    <a:pt x="115865" y="730028"/>
                    <a:pt x="116070" y="729762"/>
                    <a:pt x="130850" y="727075"/>
                  </a:cubicBezTo>
                  <a:cubicBezTo>
                    <a:pt x="137184" y="725923"/>
                    <a:pt x="143616" y="725297"/>
                    <a:pt x="149900" y="723900"/>
                  </a:cubicBezTo>
                  <a:cubicBezTo>
                    <a:pt x="153167" y="723174"/>
                    <a:pt x="156178" y="721537"/>
                    <a:pt x="159425" y="720725"/>
                  </a:cubicBezTo>
                  <a:cubicBezTo>
                    <a:pt x="164660" y="719416"/>
                    <a:pt x="170094" y="718970"/>
                    <a:pt x="175300" y="717550"/>
                  </a:cubicBezTo>
                  <a:cubicBezTo>
                    <a:pt x="181758" y="715789"/>
                    <a:pt x="188000" y="713317"/>
                    <a:pt x="194350" y="711200"/>
                  </a:cubicBezTo>
                  <a:lnTo>
                    <a:pt x="222925" y="701675"/>
                  </a:lnTo>
                  <a:lnTo>
                    <a:pt x="232450" y="698500"/>
                  </a:lnTo>
                  <a:cubicBezTo>
                    <a:pt x="235625" y="697442"/>
                    <a:pt x="238645" y="695658"/>
                    <a:pt x="241975" y="695325"/>
                  </a:cubicBezTo>
                  <a:cubicBezTo>
                    <a:pt x="309545" y="688568"/>
                    <a:pt x="263093" y="692463"/>
                    <a:pt x="381675" y="688975"/>
                  </a:cubicBezTo>
                  <a:cubicBezTo>
                    <a:pt x="386967" y="687917"/>
                    <a:pt x="392315" y="687109"/>
                    <a:pt x="397550" y="685800"/>
                  </a:cubicBezTo>
                  <a:cubicBezTo>
                    <a:pt x="400797" y="684988"/>
                    <a:pt x="403857" y="683544"/>
                    <a:pt x="407075" y="682625"/>
                  </a:cubicBezTo>
                  <a:cubicBezTo>
                    <a:pt x="411271" y="681426"/>
                    <a:pt x="415595" y="680704"/>
                    <a:pt x="419775" y="679450"/>
                  </a:cubicBezTo>
                  <a:cubicBezTo>
                    <a:pt x="426186" y="677527"/>
                    <a:pt x="432475" y="675217"/>
                    <a:pt x="438825" y="673100"/>
                  </a:cubicBezTo>
                  <a:lnTo>
                    <a:pt x="467400" y="663575"/>
                  </a:lnTo>
                  <a:lnTo>
                    <a:pt x="495975" y="654050"/>
                  </a:lnTo>
                  <a:cubicBezTo>
                    <a:pt x="499150" y="652992"/>
                    <a:pt x="502715" y="652731"/>
                    <a:pt x="505500" y="650875"/>
                  </a:cubicBezTo>
                  <a:cubicBezTo>
                    <a:pt x="518656" y="642104"/>
                    <a:pt x="511323" y="645450"/>
                    <a:pt x="527725" y="641350"/>
                  </a:cubicBezTo>
                  <a:cubicBezTo>
                    <a:pt x="530900" y="639233"/>
                    <a:pt x="533837" y="636707"/>
                    <a:pt x="537250" y="635000"/>
                  </a:cubicBezTo>
                  <a:cubicBezTo>
                    <a:pt x="540243" y="633503"/>
                    <a:pt x="543699" y="633143"/>
                    <a:pt x="546775" y="631825"/>
                  </a:cubicBezTo>
                  <a:cubicBezTo>
                    <a:pt x="551125" y="629961"/>
                    <a:pt x="555242" y="627592"/>
                    <a:pt x="559475" y="625475"/>
                  </a:cubicBezTo>
                  <a:cubicBezTo>
                    <a:pt x="562585" y="631695"/>
                    <a:pt x="573927" y="655692"/>
                    <a:pt x="578525" y="657225"/>
                  </a:cubicBezTo>
                  <a:cubicBezTo>
                    <a:pt x="581700" y="658283"/>
                    <a:pt x="585124" y="658775"/>
                    <a:pt x="588050" y="660400"/>
                  </a:cubicBezTo>
                  <a:cubicBezTo>
                    <a:pt x="594721" y="664106"/>
                    <a:pt x="599860" y="670687"/>
                    <a:pt x="607100" y="673100"/>
                  </a:cubicBezTo>
                  <a:cubicBezTo>
                    <a:pt x="613450" y="675217"/>
                    <a:pt x="620581" y="675737"/>
                    <a:pt x="626150" y="679450"/>
                  </a:cubicBezTo>
                  <a:cubicBezTo>
                    <a:pt x="629325" y="681567"/>
                    <a:pt x="632188" y="684250"/>
                    <a:pt x="635675" y="685800"/>
                  </a:cubicBezTo>
                  <a:cubicBezTo>
                    <a:pt x="641792" y="688518"/>
                    <a:pt x="654725" y="692150"/>
                    <a:pt x="654725" y="692150"/>
                  </a:cubicBezTo>
                  <a:cubicBezTo>
                    <a:pt x="654725" y="690563"/>
                    <a:pt x="639379" y="680508"/>
                    <a:pt x="635675" y="676275"/>
                  </a:cubicBezTo>
                  <a:cubicBezTo>
                    <a:pt x="633584" y="673662"/>
                    <a:pt x="633558" y="669925"/>
                    <a:pt x="632500" y="666750"/>
                  </a:cubicBezTo>
                  <a:cubicBezTo>
                    <a:pt x="633558" y="641350"/>
                    <a:pt x="633145" y="615846"/>
                    <a:pt x="635675" y="590550"/>
                  </a:cubicBezTo>
                  <a:cubicBezTo>
                    <a:pt x="636341" y="583890"/>
                    <a:pt x="638312" y="577069"/>
                    <a:pt x="642025" y="571500"/>
                  </a:cubicBezTo>
                  <a:lnTo>
                    <a:pt x="648375" y="561975"/>
                  </a:lnTo>
                  <a:cubicBezTo>
                    <a:pt x="646654" y="553370"/>
                    <a:pt x="646636" y="542804"/>
                    <a:pt x="638850" y="536575"/>
                  </a:cubicBezTo>
                  <a:cubicBezTo>
                    <a:pt x="636237" y="534484"/>
                    <a:pt x="632500" y="534458"/>
                    <a:pt x="629325" y="533400"/>
                  </a:cubicBezTo>
                  <a:cubicBezTo>
                    <a:pt x="628267" y="530225"/>
                    <a:pt x="626150" y="527222"/>
                    <a:pt x="626150" y="523875"/>
                  </a:cubicBezTo>
                  <a:cubicBezTo>
                    <a:pt x="626150" y="514192"/>
                    <a:pt x="629995" y="507244"/>
                    <a:pt x="632500" y="498475"/>
                  </a:cubicBezTo>
                  <a:cubicBezTo>
                    <a:pt x="633699" y="494279"/>
                    <a:pt x="634617" y="490008"/>
                    <a:pt x="635675" y="485775"/>
                  </a:cubicBezTo>
                  <a:cubicBezTo>
                    <a:pt x="633768" y="478149"/>
                    <a:pt x="633002" y="469032"/>
                    <a:pt x="626150" y="463550"/>
                  </a:cubicBezTo>
                  <a:cubicBezTo>
                    <a:pt x="623537" y="461459"/>
                    <a:pt x="619618" y="461872"/>
                    <a:pt x="616625" y="460375"/>
                  </a:cubicBezTo>
                  <a:cubicBezTo>
                    <a:pt x="613212" y="458668"/>
                    <a:pt x="610673" y="455365"/>
                    <a:pt x="607100" y="454025"/>
                  </a:cubicBezTo>
                  <a:cubicBezTo>
                    <a:pt x="602047" y="452130"/>
                    <a:pt x="596460" y="452159"/>
                    <a:pt x="591225" y="450850"/>
                  </a:cubicBezTo>
                  <a:cubicBezTo>
                    <a:pt x="581882" y="448514"/>
                    <a:pt x="578087" y="445868"/>
                    <a:pt x="569000" y="441325"/>
                  </a:cubicBezTo>
                  <a:cubicBezTo>
                    <a:pt x="554183" y="419100"/>
                    <a:pt x="562650" y="426508"/>
                    <a:pt x="546775" y="415925"/>
                  </a:cubicBezTo>
                  <a:cubicBezTo>
                    <a:pt x="544658" y="412750"/>
                    <a:pt x="543123" y="409098"/>
                    <a:pt x="540425" y="406400"/>
                  </a:cubicBezTo>
                  <a:cubicBezTo>
                    <a:pt x="537727" y="403702"/>
                    <a:pt x="533413" y="402922"/>
                    <a:pt x="530900" y="400050"/>
                  </a:cubicBezTo>
                  <a:cubicBezTo>
                    <a:pt x="504971" y="370417"/>
                    <a:pt x="530106" y="388938"/>
                    <a:pt x="508675" y="374650"/>
                  </a:cubicBezTo>
                  <a:cubicBezTo>
                    <a:pt x="506558" y="371475"/>
                    <a:pt x="504860" y="367977"/>
                    <a:pt x="502325" y="365125"/>
                  </a:cubicBezTo>
                  <a:cubicBezTo>
                    <a:pt x="496359" y="358413"/>
                    <a:pt x="483275" y="346075"/>
                    <a:pt x="483275" y="346075"/>
                  </a:cubicBezTo>
                  <a:cubicBezTo>
                    <a:pt x="484333" y="341842"/>
                    <a:pt x="485196" y="337555"/>
                    <a:pt x="486450" y="333375"/>
                  </a:cubicBezTo>
                  <a:cubicBezTo>
                    <a:pt x="488373" y="326964"/>
                    <a:pt x="492800" y="314325"/>
                    <a:pt x="492800" y="314325"/>
                  </a:cubicBezTo>
                  <a:cubicBezTo>
                    <a:pt x="491742" y="306917"/>
                    <a:pt x="493173" y="298689"/>
                    <a:pt x="489625" y="292100"/>
                  </a:cubicBezTo>
                  <a:cubicBezTo>
                    <a:pt x="483535" y="280791"/>
                    <a:pt x="471393" y="273596"/>
                    <a:pt x="461050" y="266700"/>
                  </a:cubicBezTo>
                  <a:cubicBezTo>
                    <a:pt x="449627" y="249565"/>
                    <a:pt x="460999" y="261605"/>
                    <a:pt x="435650" y="254000"/>
                  </a:cubicBezTo>
                  <a:cubicBezTo>
                    <a:pt x="420962" y="249594"/>
                    <a:pt x="424372" y="247248"/>
                    <a:pt x="413425" y="238125"/>
                  </a:cubicBezTo>
                  <a:cubicBezTo>
                    <a:pt x="410494" y="235682"/>
                    <a:pt x="407075" y="233892"/>
                    <a:pt x="403900" y="231775"/>
                  </a:cubicBezTo>
                  <a:cubicBezTo>
                    <a:pt x="395433" y="211137"/>
                    <a:pt x="368446" y="135467"/>
                    <a:pt x="362625" y="114300"/>
                  </a:cubicBezTo>
                  <a:cubicBezTo>
                    <a:pt x="363425" y="110569"/>
                    <a:pt x="367879" y="108430"/>
                    <a:pt x="368975" y="104775"/>
                  </a:cubicBezTo>
                  <a:cubicBezTo>
                    <a:pt x="373946" y="88205"/>
                    <a:pt x="368446" y="50800"/>
                    <a:pt x="375325" y="38100"/>
                  </a:cubicBez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09" name="Freeform 26"/>
            <p:cNvSpPr>
              <a:spLocks noChangeArrowheads="1"/>
            </p:cNvSpPr>
            <p:nvPr/>
          </p:nvSpPr>
          <p:spPr bwMode="gray">
            <a:xfrm>
              <a:off x="5557039" y="3322638"/>
              <a:ext cx="1422400" cy="1358900"/>
            </a:xfrm>
            <a:custGeom>
              <a:avLst/>
              <a:gdLst>
                <a:gd name="T0" fmla="*/ 0 w 991532"/>
                <a:gd name="T1" fmla="*/ 0 h 946260"/>
                <a:gd name="T2" fmla="*/ 991532 w 991532"/>
                <a:gd name="T3" fmla="*/ 946260 h 946260"/>
              </a:gdLst>
              <a:ahLst/>
              <a:cxnLst/>
              <a:rect l="T0" t="T1" r="T2" b="T3"/>
              <a:pathLst>
                <a:path w="991532" h="946260">
                  <a:moveTo>
                    <a:pt x="343832" y="936206"/>
                  </a:moveTo>
                  <a:cubicBezTo>
                    <a:pt x="339599" y="926152"/>
                    <a:pt x="334210" y="896198"/>
                    <a:pt x="331132" y="875881"/>
                  </a:cubicBezTo>
                  <a:cubicBezTo>
                    <a:pt x="328907" y="861194"/>
                    <a:pt x="331560" y="845842"/>
                    <a:pt x="327957" y="831431"/>
                  </a:cubicBezTo>
                  <a:cubicBezTo>
                    <a:pt x="319490" y="811323"/>
                    <a:pt x="289857" y="768989"/>
                    <a:pt x="280332" y="755231"/>
                  </a:cubicBezTo>
                  <a:cubicBezTo>
                    <a:pt x="277634" y="752533"/>
                    <a:pt x="273982" y="750998"/>
                    <a:pt x="270807" y="748881"/>
                  </a:cubicBezTo>
                  <a:cubicBezTo>
                    <a:pt x="268690" y="745706"/>
                    <a:pt x="266900" y="742287"/>
                    <a:pt x="264457" y="739356"/>
                  </a:cubicBezTo>
                  <a:cubicBezTo>
                    <a:pt x="261582" y="735907"/>
                    <a:pt x="257542" y="733485"/>
                    <a:pt x="254932" y="729831"/>
                  </a:cubicBezTo>
                  <a:cubicBezTo>
                    <a:pt x="247982" y="720100"/>
                    <a:pt x="246672" y="705275"/>
                    <a:pt x="235882" y="698081"/>
                  </a:cubicBezTo>
                  <a:cubicBezTo>
                    <a:pt x="232707" y="695964"/>
                    <a:pt x="229977" y="692938"/>
                    <a:pt x="226357" y="691731"/>
                  </a:cubicBezTo>
                  <a:cubicBezTo>
                    <a:pt x="220250" y="689695"/>
                    <a:pt x="213591" y="689953"/>
                    <a:pt x="207307" y="688556"/>
                  </a:cubicBezTo>
                  <a:cubicBezTo>
                    <a:pt x="204040" y="687830"/>
                    <a:pt x="201000" y="686300"/>
                    <a:pt x="197782" y="685381"/>
                  </a:cubicBezTo>
                  <a:cubicBezTo>
                    <a:pt x="193586" y="684182"/>
                    <a:pt x="189262" y="683460"/>
                    <a:pt x="185082" y="682206"/>
                  </a:cubicBezTo>
                  <a:cubicBezTo>
                    <a:pt x="178671" y="680283"/>
                    <a:pt x="172382" y="677973"/>
                    <a:pt x="166032" y="675856"/>
                  </a:cubicBezTo>
                  <a:cubicBezTo>
                    <a:pt x="162857" y="674798"/>
                    <a:pt x="159292" y="674537"/>
                    <a:pt x="156507" y="672681"/>
                  </a:cubicBezTo>
                  <a:cubicBezTo>
                    <a:pt x="150157" y="668448"/>
                    <a:pt x="144697" y="662394"/>
                    <a:pt x="137457" y="659981"/>
                  </a:cubicBezTo>
                  <a:cubicBezTo>
                    <a:pt x="113516" y="652001"/>
                    <a:pt x="143026" y="662766"/>
                    <a:pt x="118407" y="650456"/>
                  </a:cubicBezTo>
                  <a:cubicBezTo>
                    <a:pt x="92117" y="637311"/>
                    <a:pt x="126654" y="659129"/>
                    <a:pt x="99357" y="640931"/>
                  </a:cubicBezTo>
                  <a:cubicBezTo>
                    <a:pt x="97240" y="637756"/>
                    <a:pt x="94714" y="634819"/>
                    <a:pt x="93007" y="631406"/>
                  </a:cubicBezTo>
                  <a:cubicBezTo>
                    <a:pt x="91510" y="628413"/>
                    <a:pt x="90079" y="625219"/>
                    <a:pt x="89832" y="621881"/>
                  </a:cubicBezTo>
                  <a:cubicBezTo>
                    <a:pt x="87954" y="596528"/>
                    <a:pt x="92434" y="570438"/>
                    <a:pt x="86657" y="545681"/>
                  </a:cubicBezTo>
                  <a:cubicBezTo>
                    <a:pt x="84616" y="536936"/>
                    <a:pt x="71623" y="534663"/>
                    <a:pt x="67607" y="526631"/>
                  </a:cubicBezTo>
                  <a:cubicBezTo>
                    <a:pt x="57844" y="507105"/>
                    <a:pt x="63882" y="517869"/>
                    <a:pt x="48557" y="494881"/>
                  </a:cubicBezTo>
                  <a:lnTo>
                    <a:pt x="42207" y="485356"/>
                  </a:lnTo>
                  <a:cubicBezTo>
                    <a:pt x="40090" y="482181"/>
                    <a:pt x="38555" y="478529"/>
                    <a:pt x="35857" y="475831"/>
                  </a:cubicBezTo>
                  <a:cubicBezTo>
                    <a:pt x="30036" y="459956"/>
                    <a:pt x="13103" y="405981"/>
                    <a:pt x="7282" y="390106"/>
                  </a:cubicBezTo>
                  <a:cubicBezTo>
                    <a:pt x="6742" y="386328"/>
                    <a:pt x="1085" y="384394"/>
                    <a:pt x="932" y="380581"/>
                  </a:cubicBezTo>
                  <a:cubicBezTo>
                    <a:pt x="0" y="357292"/>
                    <a:pt x="2697" y="333996"/>
                    <a:pt x="4107" y="310731"/>
                  </a:cubicBezTo>
                  <a:cubicBezTo>
                    <a:pt x="4814" y="299063"/>
                    <a:pt x="5629" y="287378"/>
                    <a:pt x="7282" y="275806"/>
                  </a:cubicBezTo>
                  <a:cubicBezTo>
                    <a:pt x="7755" y="272493"/>
                    <a:pt x="8366" y="268894"/>
                    <a:pt x="10457" y="266281"/>
                  </a:cubicBezTo>
                  <a:cubicBezTo>
                    <a:pt x="14933" y="260686"/>
                    <a:pt x="23232" y="258848"/>
                    <a:pt x="29507" y="256756"/>
                  </a:cubicBezTo>
                  <a:cubicBezTo>
                    <a:pt x="31624" y="253581"/>
                    <a:pt x="33322" y="250083"/>
                    <a:pt x="35857" y="247231"/>
                  </a:cubicBezTo>
                  <a:cubicBezTo>
                    <a:pt x="61229" y="218688"/>
                    <a:pt x="51233" y="228464"/>
                    <a:pt x="96182" y="225006"/>
                  </a:cubicBezTo>
                  <a:cubicBezTo>
                    <a:pt x="102532" y="220773"/>
                    <a:pt x="109836" y="217702"/>
                    <a:pt x="115232" y="212306"/>
                  </a:cubicBezTo>
                  <a:cubicBezTo>
                    <a:pt x="127455" y="200083"/>
                    <a:pt x="121021" y="205272"/>
                    <a:pt x="134282" y="196431"/>
                  </a:cubicBezTo>
                  <a:cubicBezTo>
                    <a:pt x="138742" y="189742"/>
                    <a:pt x="142712" y="185597"/>
                    <a:pt x="143807" y="177381"/>
                  </a:cubicBezTo>
                  <a:cubicBezTo>
                    <a:pt x="145491" y="164749"/>
                    <a:pt x="145298" y="151913"/>
                    <a:pt x="146982" y="139281"/>
                  </a:cubicBezTo>
                  <a:cubicBezTo>
                    <a:pt x="147424" y="135964"/>
                    <a:pt x="147790" y="132123"/>
                    <a:pt x="150157" y="129756"/>
                  </a:cubicBezTo>
                  <a:cubicBezTo>
                    <a:pt x="152524" y="127389"/>
                    <a:pt x="156507" y="127639"/>
                    <a:pt x="159682" y="126581"/>
                  </a:cubicBezTo>
                  <a:cubicBezTo>
                    <a:pt x="163915" y="123406"/>
                    <a:pt x="167649" y="119423"/>
                    <a:pt x="172382" y="117056"/>
                  </a:cubicBezTo>
                  <a:cubicBezTo>
                    <a:pt x="190130" y="108182"/>
                    <a:pt x="183159" y="121513"/>
                    <a:pt x="204132" y="107531"/>
                  </a:cubicBezTo>
                  <a:cubicBezTo>
                    <a:pt x="207307" y="105414"/>
                    <a:pt x="210170" y="102731"/>
                    <a:pt x="213657" y="101181"/>
                  </a:cubicBezTo>
                  <a:cubicBezTo>
                    <a:pt x="228751" y="94472"/>
                    <a:pt x="235783" y="94318"/>
                    <a:pt x="251757" y="91656"/>
                  </a:cubicBezTo>
                  <a:cubicBezTo>
                    <a:pt x="257808" y="82580"/>
                    <a:pt x="267836" y="66188"/>
                    <a:pt x="277157" y="63081"/>
                  </a:cubicBezTo>
                  <a:cubicBezTo>
                    <a:pt x="290302" y="58699"/>
                    <a:pt x="283897" y="61762"/>
                    <a:pt x="296207" y="53556"/>
                  </a:cubicBezTo>
                  <a:cubicBezTo>
                    <a:pt x="297265" y="50381"/>
                    <a:pt x="299752" y="47357"/>
                    <a:pt x="299382" y="44031"/>
                  </a:cubicBezTo>
                  <a:cubicBezTo>
                    <a:pt x="298643" y="37378"/>
                    <a:pt x="293032" y="24981"/>
                    <a:pt x="293032" y="24981"/>
                  </a:cubicBezTo>
                  <a:cubicBezTo>
                    <a:pt x="296207" y="21806"/>
                    <a:pt x="299108" y="18331"/>
                    <a:pt x="302557" y="15456"/>
                  </a:cubicBezTo>
                  <a:cubicBezTo>
                    <a:pt x="321105" y="0"/>
                    <a:pt x="325851" y="10024"/>
                    <a:pt x="359707" y="12281"/>
                  </a:cubicBezTo>
                  <a:cubicBezTo>
                    <a:pt x="402606" y="19431"/>
                    <a:pt x="361495" y="9901"/>
                    <a:pt x="388282" y="21806"/>
                  </a:cubicBezTo>
                  <a:cubicBezTo>
                    <a:pt x="394399" y="24524"/>
                    <a:pt x="407332" y="28156"/>
                    <a:pt x="407332" y="28156"/>
                  </a:cubicBezTo>
                  <a:cubicBezTo>
                    <a:pt x="483869" y="24677"/>
                    <a:pt x="455071" y="32351"/>
                    <a:pt x="496232" y="18631"/>
                  </a:cubicBezTo>
                  <a:cubicBezTo>
                    <a:pt x="530970" y="7052"/>
                    <a:pt x="478353" y="25519"/>
                    <a:pt x="515282" y="9106"/>
                  </a:cubicBezTo>
                  <a:cubicBezTo>
                    <a:pt x="521399" y="6388"/>
                    <a:pt x="534332" y="2756"/>
                    <a:pt x="534332" y="2756"/>
                  </a:cubicBezTo>
                  <a:cubicBezTo>
                    <a:pt x="538565" y="3814"/>
                    <a:pt x="542836" y="4732"/>
                    <a:pt x="547032" y="5931"/>
                  </a:cubicBezTo>
                  <a:cubicBezTo>
                    <a:pt x="550250" y="6850"/>
                    <a:pt x="553223" y="8816"/>
                    <a:pt x="556557" y="9106"/>
                  </a:cubicBezTo>
                  <a:cubicBezTo>
                    <a:pt x="577670" y="10942"/>
                    <a:pt x="598890" y="11223"/>
                    <a:pt x="620057" y="12281"/>
                  </a:cubicBezTo>
                  <a:cubicBezTo>
                    <a:pt x="635151" y="22344"/>
                    <a:pt x="625962" y="17424"/>
                    <a:pt x="648632" y="24981"/>
                  </a:cubicBezTo>
                  <a:lnTo>
                    <a:pt x="658157" y="28156"/>
                  </a:lnTo>
                  <a:cubicBezTo>
                    <a:pt x="661332" y="29214"/>
                    <a:pt x="664361" y="30916"/>
                    <a:pt x="667682" y="31331"/>
                  </a:cubicBezTo>
                  <a:lnTo>
                    <a:pt x="693082" y="34506"/>
                  </a:lnTo>
                  <a:cubicBezTo>
                    <a:pt x="695199" y="37681"/>
                    <a:pt x="697882" y="40544"/>
                    <a:pt x="699432" y="44031"/>
                  </a:cubicBezTo>
                  <a:cubicBezTo>
                    <a:pt x="702150" y="50148"/>
                    <a:pt x="700213" y="59368"/>
                    <a:pt x="705782" y="63081"/>
                  </a:cubicBezTo>
                  <a:lnTo>
                    <a:pt x="724832" y="75781"/>
                  </a:lnTo>
                  <a:cubicBezTo>
                    <a:pt x="725890" y="78956"/>
                    <a:pt x="725864" y="82735"/>
                    <a:pt x="728007" y="85306"/>
                  </a:cubicBezTo>
                  <a:cubicBezTo>
                    <a:pt x="735415" y="93773"/>
                    <a:pt x="760815" y="118644"/>
                    <a:pt x="769282" y="126581"/>
                  </a:cubicBezTo>
                  <a:cubicBezTo>
                    <a:pt x="772213" y="129024"/>
                    <a:pt x="775320" y="131381"/>
                    <a:pt x="778807" y="132931"/>
                  </a:cubicBezTo>
                  <a:cubicBezTo>
                    <a:pt x="784924" y="135649"/>
                    <a:pt x="797857" y="139281"/>
                    <a:pt x="797857" y="139281"/>
                  </a:cubicBezTo>
                  <a:cubicBezTo>
                    <a:pt x="801032" y="142456"/>
                    <a:pt x="803838" y="146049"/>
                    <a:pt x="807382" y="148806"/>
                  </a:cubicBezTo>
                  <a:cubicBezTo>
                    <a:pt x="813406" y="153491"/>
                    <a:pt x="826432" y="161506"/>
                    <a:pt x="826432" y="161506"/>
                  </a:cubicBezTo>
                  <a:cubicBezTo>
                    <a:pt x="827490" y="164681"/>
                    <a:pt x="829783" y="167689"/>
                    <a:pt x="829607" y="171031"/>
                  </a:cubicBezTo>
                  <a:cubicBezTo>
                    <a:pt x="828710" y="188073"/>
                    <a:pt x="830188" y="206237"/>
                    <a:pt x="823257" y="221831"/>
                  </a:cubicBezTo>
                  <a:cubicBezTo>
                    <a:pt x="820539" y="227948"/>
                    <a:pt x="810895" y="227902"/>
                    <a:pt x="804207" y="228181"/>
                  </a:cubicBezTo>
                  <a:lnTo>
                    <a:pt x="728007" y="231356"/>
                  </a:lnTo>
                  <a:cubicBezTo>
                    <a:pt x="724832" y="233473"/>
                    <a:pt x="720866" y="234726"/>
                    <a:pt x="718482" y="237706"/>
                  </a:cubicBezTo>
                  <a:cubicBezTo>
                    <a:pt x="716391" y="240319"/>
                    <a:pt x="715780" y="243918"/>
                    <a:pt x="715307" y="247231"/>
                  </a:cubicBezTo>
                  <a:cubicBezTo>
                    <a:pt x="713654" y="258803"/>
                    <a:pt x="713677" y="270569"/>
                    <a:pt x="712132" y="282156"/>
                  </a:cubicBezTo>
                  <a:cubicBezTo>
                    <a:pt x="711246" y="288801"/>
                    <a:pt x="707959" y="297851"/>
                    <a:pt x="705782" y="304381"/>
                  </a:cubicBezTo>
                  <a:cubicBezTo>
                    <a:pt x="706840" y="311789"/>
                    <a:pt x="707489" y="319268"/>
                    <a:pt x="708957" y="326606"/>
                  </a:cubicBezTo>
                  <a:cubicBezTo>
                    <a:pt x="709613" y="329888"/>
                    <a:pt x="711582" y="332830"/>
                    <a:pt x="712132" y="336131"/>
                  </a:cubicBezTo>
                  <a:cubicBezTo>
                    <a:pt x="712266" y="336934"/>
                    <a:pt x="715476" y="373967"/>
                    <a:pt x="718482" y="380581"/>
                  </a:cubicBezTo>
                  <a:cubicBezTo>
                    <a:pt x="721640" y="387529"/>
                    <a:pt x="728769" y="392391"/>
                    <a:pt x="731182" y="399631"/>
                  </a:cubicBezTo>
                  <a:cubicBezTo>
                    <a:pt x="734217" y="408736"/>
                    <a:pt x="738323" y="423839"/>
                    <a:pt x="747057" y="428206"/>
                  </a:cubicBezTo>
                  <a:lnTo>
                    <a:pt x="759757" y="434556"/>
                  </a:lnTo>
                  <a:cubicBezTo>
                    <a:pt x="764443" y="441584"/>
                    <a:pt x="768298" y="448717"/>
                    <a:pt x="775632" y="453606"/>
                  </a:cubicBezTo>
                  <a:cubicBezTo>
                    <a:pt x="779987" y="456509"/>
                    <a:pt x="798467" y="459315"/>
                    <a:pt x="801032" y="459956"/>
                  </a:cubicBezTo>
                  <a:cubicBezTo>
                    <a:pt x="811548" y="462585"/>
                    <a:pt x="810770" y="463273"/>
                    <a:pt x="820082" y="469481"/>
                  </a:cubicBezTo>
                  <a:cubicBezTo>
                    <a:pt x="834638" y="491316"/>
                    <a:pt x="830369" y="481291"/>
                    <a:pt x="835957" y="498056"/>
                  </a:cubicBezTo>
                  <a:cubicBezTo>
                    <a:pt x="834544" y="513594"/>
                    <a:pt x="829567" y="538591"/>
                    <a:pt x="835957" y="555206"/>
                  </a:cubicBezTo>
                  <a:cubicBezTo>
                    <a:pt x="838697" y="562329"/>
                    <a:pt x="842307" y="570023"/>
                    <a:pt x="848657" y="574256"/>
                  </a:cubicBezTo>
                  <a:lnTo>
                    <a:pt x="858182" y="580606"/>
                  </a:lnTo>
                  <a:cubicBezTo>
                    <a:pt x="864426" y="589972"/>
                    <a:pt x="864890" y="592016"/>
                    <a:pt x="874057" y="599656"/>
                  </a:cubicBezTo>
                  <a:cubicBezTo>
                    <a:pt x="876988" y="602099"/>
                    <a:pt x="880407" y="603889"/>
                    <a:pt x="883582" y="606006"/>
                  </a:cubicBezTo>
                  <a:cubicBezTo>
                    <a:pt x="900515" y="631406"/>
                    <a:pt x="878290" y="600714"/>
                    <a:pt x="899457" y="621881"/>
                  </a:cubicBezTo>
                  <a:cubicBezTo>
                    <a:pt x="913818" y="636242"/>
                    <a:pt x="896789" y="628400"/>
                    <a:pt x="915332" y="634581"/>
                  </a:cubicBezTo>
                  <a:cubicBezTo>
                    <a:pt x="917449" y="637756"/>
                    <a:pt x="918507" y="641989"/>
                    <a:pt x="921682" y="644106"/>
                  </a:cubicBezTo>
                  <a:cubicBezTo>
                    <a:pt x="925313" y="646527"/>
                    <a:pt x="930186" y="646082"/>
                    <a:pt x="934382" y="647281"/>
                  </a:cubicBezTo>
                  <a:cubicBezTo>
                    <a:pt x="966266" y="656391"/>
                    <a:pt x="916905" y="643705"/>
                    <a:pt x="956607" y="653631"/>
                  </a:cubicBezTo>
                  <a:cubicBezTo>
                    <a:pt x="959782" y="655748"/>
                    <a:pt x="963748" y="657001"/>
                    <a:pt x="966132" y="659981"/>
                  </a:cubicBezTo>
                  <a:cubicBezTo>
                    <a:pt x="969423" y="664095"/>
                    <a:pt x="972450" y="688361"/>
                    <a:pt x="972482" y="688556"/>
                  </a:cubicBezTo>
                  <a:cubicBezTo>
                    <a:pt x="973540" y="704431"/>
                    <a:pt x="971972" y="720703"/>
                    <a:pt x="975657" y="736181"/>
                  </a:cubicBezTo>
                  <a:cubicBezTo>
                    <a:pt x="977425" y="743605"/>
                    <a:pt x="985944" y="747991"/>
                    <a:pt x="988357" y="755231"/>
                  </a:cubicBezTo>
                  <a:lnTo>
                    <a:pt x="991532" y="764756"/>
                  </a:lnTo>
                  <a:cubicBezTo>
                    <a:pt x="990474" y="768989"/>
                    <a:pt x="989213" y="773177"/>
                    <a:pt x="988357" y="777456"/>
                  </a:cubicBezTo>
                  <a:cubicBezTo>
                    <a:pt x="981455" y="811964"/>
                    <a:pt x="980777" y="847226"/>
                    <a:pt x="978832" y="882231"/>
                  </a:cubicBezTo>
                  <a:lnTo>
                    <a:pt x="950257" y="872706"/>
                  </a:lnTo>
                  <a:lnTo>
                    <a:pt x="940732" y="869531"/>
                  </a:lnTo>
                  <a:lnTo>
                    <a:pt x="931207" y="866356"/>
                  </a:lnTo>
                  <a:cubicBezTo>
                    <a:pt x="924857" y="860006"/>
                    <a:pt x="919629" y="852287"/>
                    <a:pt x="912157" y="847306"/>
                  </a:cubicBezTo>
                  <a:cubicBezTo>
                    <a:pt x="889371" y="832115"/>
                    <a:pt x="898503" y="840002"/>
                    <a:pt x="883582" y="825081"/>
                  </a:cubicBezTo>
                  <a:cubicBezTo>
                    <a:pt x="872999" y="826139"/>
                    <a:pt x="861576" y="823993"/>
                    <a:pt x="851832" y="828256"/>
                  </a:cubicBezTo>
                  <a:cubicBezTo>
                    <a:pt x="843605" y="831855"/>
                    <a:pt x="840254" y="842325"/>
                    <a:pt x="832782" y="847306"/>
                  </a:cubicBezTo>
                  <a:cubicBezTo>
                    <a:pt x="829607" y="849423"/>
                    <a:pt x="826975" y="852798"/>
                    <a:pt x="823257" y="853656"/>
                  </a:cubicBezTo>
                  <a:cubicBezTo>
                    <a:pt x="812893" y="856048"/>
                    <a:pt x="802070" y="855588"/>
                    <a:pt x="791507" y="856831"/>
                  </a:cubicBezTo>
                  <a:cubicBezTo>
                    <a:pt x="784075" y="857705"/>
                    <a:pt x="776690" y="858948"/>
                    <a:pt x="769282" y="860006"/>
                  </a:cubicBezTo>
                  <a:cubicBezTo>
                    <a:pt x="765049" y="862123"/>
                    <a:pt x="760691" y="864008"/>
                    <a:pt x="756582" y="866356"/>
                  </a:cubicBezTo>
                  <a:cubicBezTo>
                    <a:pt x="753269" y="868249"/>
                    <a:pt x="750544" y="871156"/>
                    <a:pt x="747057" y="872706"/>
                  </a:cubicBezTo>
                  <a:cubicBezTo>
                    <a:pt x="710396" y="889000"/>
                    <a:pt x="668346" y="880981"/>
                    <a:pt x="629582" y="882231"/>
                  </a:cubicBezTo>
                  <a:lnTo>
                    <a:pt x="604182" y="888581"/>
                  </a:lnTo>
                  <a:cubicBezTo>
                    <a:pt x="599949" y="889639"/>
                    <a:pt x="595838" y="891500"/>
                    <a:pt x="591482" y="891756"/>
                  </a:cubicBezTo>
                  <a:lnTo>
                    <a:pt x="537507" y="894931"/>
                  </a:lnTo>
                  <a:cubicBezTo>
                    <a:pt x="533274" y="895989"/>
                    <a:pt x="528818" y="896387"/>
                    <a:pt x="524807" y="898106"/>
                  </a:cubicBezTo>
                  <a:cubicBezTo>
                    <a:pt x="521300" y="899609"/>
                    <a:pt x="518902" y="903249"/>
                    <a:pt x="515282" y="904456"/>
                  </a:cubicBezTo>
                  <a:cubicBezTo>
                    <a:pt x="509175" y="906492"/>
                    <a:pt x="502545" y="906368"/>
                    <a:pt x="496232" y="907631"/>
                  </a:cubicBezTo>
                  <a:cubicBezTo>
                    <a:pt x="491953" y="908487"/>
                    <a:pt x="487799" y="909892"/>
                    <a:pt x="483532" y="910806"/>
                  </a:cubicBezTo>
                  <a:cubicBezTo>
                    <a:pt x="472979" y="913067"/>
                    <a:pt x="462428" y="915382"/>
                    <a:pt x="451782" y="917156"/>
                  </a:cubicBezTo>
                  <a:cubicBezTo>
                    <a:pt x="423279" y="921907"/>
                    <a:pt x="439130" y="919620"/>
                    <a:pt x="404157" y="923506"/>
                  </a:cubicBezTo>
                  <a:cubicBezTo>
                    <a:pt x="374421" y="933418"/>
                    <a:pt x="396158" y="927047"/>
                    <a:pt x="369232" y="933031"/>
                  </a:cubicBezTo>
                  <a:cubicBezTo>
                    <a:pt x="364972" y="933978"/>
                    <a:pt x="360881" y="935844"/>
                    <a:pt x="356532" y="936206"/>
                  </a:cubicBezTo>
                  <a:cubicBezTo>
                    <a:pt x="348095" y="936909"/>
                    <a:pt x="348065" y="946260"/>
                    <a:pt x="343832" y="936206"/>
                  </a:cubicBez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sp>
          <p:nvSpPr>
            <p:cNvPr id="110" name="Freeform 109"/>
            <p:cNvSpPr/>
            <p:nvPr/>
          </p:nvSpPr>
          <p:spPr bwMode="gray">
            <a:xfrm>
              <a:off x="5995189" y="2516188"/>
              <a:ext cx="1189037" cy="1120775"/>
            </a:xfrm>
            <a:custGeom>
              <a:avLst/>
              <a:gdLst>
                <a:gd name="connsiteX0" fmla="*/ 15875 w 808704"/>
                <a:gd name="connsiteY0" fmla="*/ 565150 h 780573"/>
                <a:gd name="connsiteX1" fmla="*/ 9525 w 808704"/>
                <a:gd name="connsiteY1" fmla="*/ 555625 h 780573"/>
                <a:gd name="connsiteX2" fmla="*/ 6350 w 808704"/>
                <a:gd name="connsiteY2" fmla="*/ 542925 h 780573"/>
                <a:gd name="connsiteX3" fmla="*/ 0 w 808704"/>
                <a:gd name="connsiteY3" fmla="*/ 530225 h 780573"/>
                <a:gd name="connsiteX4" fmla="*/ 3175 w 808704"/>
                <a:gd name="connsiteY4" fmla="*/ 450850 h 780573"/>
                <a:gd name="connsiteX5" fmla="*/ 9525 w 808704"/>
                <a:gd name="connsiteY5" fmla="*/ 422275 h 780573"/>
                <a:gd name="connsiteX6" fmla="*/ 31750 w 808704"/>
                <a:gd name="connsiteY6" fmla="*/ 409575 h 780573"/>
                <a:gd name="connsiteX7" fmla="*/ 47625 w 808704"/>
                <a:gd name="connsiteY7" fmla="*/ 393700 h 780573"/>
                <a:gd name="connsiteX8" fmla="*/ 57150 w 808704"/>
                <a:gd name="connsiteY8" fmla="*/ 374650 h 780573"/>
                <a:gd name="connsiteX9" fmla="*/ 41275 w 808704"/>
                <a:gd name="connsiteY9" fmla="*/ 358775 h 780573"/>
                <a:gd name="connsiteX10" fmla="*/ 25400 w 808704"/>
                <a:gd name="connsiteY10" fmla="*/ 342900 h 780573"/>
                <a:gd name="connsiteX11" fmla="*/ 22225 w 808704"/>
                <a:gd name="connsiteY11" fmla="*/ 241300 h 780573"/>
                <a:gd name="connsiteX12" fmla="*/ 25400 w 808704"/>
                <a:gd name="connsiteY12" fmla="*/ 203200 h 780573"/>
                <a:gd name="connsiteX13" fmla="*/ 34925 w 808704"/>
                <a:gd name="connsiteY13" fmla="*/ 193675 h 780573"/>
                <a:gd name="connsiteX14" fmla="*/ 41275 w 808704"/>
                <a:gd name="connsiteY14" fmla="*/ 184150 h 780573"/>
                <a:gd name="connsiteX15" fmla="*/ 79375 w 808704"/>
                <a:gd name="connsiteY15" fmla="*/ 187325 h 780573"/>
                <a:gd name="connsiteX16" fmla="*/ 88900 w 808704"/>
                <a:gd name="connsiteY16" fmla="*/ 184150 h 780573"/>
                <a:gd name="connsiteX17" fmla="*/ 142875 w 808704"/>
                <a:gd name="connsiteY17" fmla="*/ 180975 h 780573"/>
                <a:gd name="connsiteX18" fmla="*/ 155575 w 808704"/>
                <a:gd name="connsiteY18" fmla="*/ 161925 h 780573"/>
                <a:gd name="connsiteX19" fmla="*/ 161925 w 808704"/>
                <a:gd name="connsiteY19" fmla="*/ 152400 h 780573"/>
                <a:gd name="connsiteX20" fmla="*/ 168275 w 808704"/>
                <a:gd name="connsiteY20" fmla="*/ 133350 h 780573"/>
                <a:gd name="connsiteX21" fmla="*/ 177800 w 808704"/>
                <a:gd name="connsiteY21" fmla="*/ 130175 h 780573"/>
                <a:gd name="connsiteX22" fmla="*/ 250825 w 808704"/>
                <a:gd name="connsiteY22" fmla="*/ 136525 h 780573"/>
                <a:gd name="connsiteX23" fmla="*/ 269875 w 808704"/>
                <a:gd name="connsiteY23" fmla="*/ 146050 h 780573"/>
                <a:gd name="connsiteX24" fmla="*/ 311150 w 808704"/>
                <a:gd name="connsiteY24" fmla="*/ 155575 h 780573"/>
                <a:gd name="connsiteX25" fmla="*/ 317500 w 808704"/>
                <a:gd name="connsiteY25" fmla="*/ 180975 h 780573"/>
                <a:gd name="connsiteX26" fmla="*/ 320675 w 808704"/>
                <a:gd name="connsiteY26" fmla="*/ 190500 h 780573"/>
                <a:gd name="connsiteX27" fmla="*/ 330200 w 808704"/>
                <a:gd name="connsiteY27" fmla="*/ 193675 h 780573"/>
                <a:gd name="connsiteX28" fmla="*/ 368300 w 808704"/>
                <a:gd name="connsiteY28" fmla="*/ 196850 h 780573"/>
                <a:gd name="connsiteX29" fmla="*/ 390525 w 808704"/>
                <a:gd name="connsiteY29" fmla="*/ 206375 h 780573"/>
                <a:gd name="connsiteX30" fmla="*/ 400050 w 808704"/>
                <a:gd name="connsiteY30" fmla="*/ 212725 h 780573"/>
                <a:gd name="connsiteX31" fmla="*/ 409575 w 808704"/>
                <a:gd name="connsiteY31" fmla="*/ 215900 h 780573"/>
                <a:gd name="connsiteX32" fmla="*/ 425450 w 808704"/>
                <a:gd name="connsiteY32" fmla="*/ 228600 h 780573"/>
                <a:gd name="connsiteX33" fmla="*/ 431800 w 808704"/>
                <a:gd name="connsiteY33" fmla="*/ 238125 h 780573"/>
                <a:gd name="connsiteX34" fmla="*/ 441325 w 808704"/>
                <a:gd name="connsiteY34" fmla="*/ 241300 h 780573"/>
                <a:gd name="connsiteX35" fmla="*/ 454025 w 808704"/>
                <a:gd name="connsiteY35" fmla="*/ 247650 h 780573"/>
                <a:gd name="connsiteX36" fmla="*/ 476250 w 808704"/>
                <a:gd name="connsiteY36" fmla="*/ 234950 h 780573"/>
                <a:gd name="connsiteX37" fmla="*/ 466725 w 808704"/>
                <a:gd name="connsiteY37" fmla="*/ 228600 h 780573"/>
                <a:gd name="connsiteX38" fmla="*/ 444500 w 808704"/>
                <a:gd name="connsiteY38" fmla="*/ 203200 h 780573"/>
                <a:gd name="connsiteX39" fmla="*/ 428625 w 808704"/>
                <a:gd name="connsiteY39" fmla="*/ 184150 h 780573"/>
                <a:gd name="connsiteX40" fmla="*/ 409575 w 808704"/>
                <a:gd name="connsiteY40" fmla="*/ 161925 h 780573"/>
                <a:gd name="connsiteX41" fmla="*/ 419100 w 808704"/>
                <a:gd name="connsiteY41" fmla="*/ 158750 h 780573"/>
                <a:gd name="connsiteX42" fmla="*/ 492125 w 808704"/>
                <a:gd name="connsiteY42" fmla="*/ 152400 h 780573"/>
                <a:gd name="connsiteX43" fmla="*/ 508000 w 808704"/>
                <a:gd name="connsiteY43" fmla="*/ 133350 h 780573"/>
                <a:gd name="connsiteX44" fmla="*/ 504825 w 808704"/>
                <a:gd name="connsiteY44" fmla="*/ 123825 h 780573"/>
                <a:gd name="connsiteX45" fmla="*/ 495300 w 808704"/>
                <a:gd name="connsiteY45" fmla="*/ 117475 h 780573"/>
                <a:gd name="connsiteX46" fmla="*/ 492125 w 808704"/>
                <a:gd name="connsiteY46" fmla="*/ 107950 h 780573"/>
                <a:gd name="connsiteX47" fmla="*/ 495300 w 808704"/>
                <a:gd name="connsiteY47" fmla="*/ 95250 h 780573"/>
                <a:gd name="connsiteX48" fmla="*/ 498475 w 808704"/>
                <a:gd name="connsiteY48" fmla="*/ 79375 h 780573"/>
                <a:gd name="connsiteX49" fmla="*/ 501650 w 808704"/>
                <a:gd name="connsiteY49" fmla="*/ 69850 h 780573"/>
                <a:gd name="connsiteX50" fmla="*/ 511175 w 808704"/>
                <a:gd name="connsiteY50" fmla="*/ 63500 h 780573"/>
                <a:gd name="connsiteX51" fmla="*/ 536575 w 808704"/>
                <a:gd name="connsiteY51" fmla="*/ 34925 h 780573"/>
                <a:gd name="connsiteX52" fmla="*/ 555625 w 808704"/>
                <a:gd name="connsiteY52" fmla="*/ 22225 h 780573"/>
                <a:gd name="connsiteX53" fmla="*/ 565150 w 808704"/>
                <a:gd name="connsiteY53" fmla="*/ 15875 h 780573"/>
                <a:gd name="connsiteX54" fmla="*/ 593725 w 808704"/>
                <a:gd name="connsiteY54" fmla="*/ 6350 h 780573"/>
                <a:gd name="connsiteX55" fmla="*/ 603250 w 808704"/>
                <a:gd name="connsiteY55" fmla="*/ 3175 h 780573"/>
                <a:gd name="connsiteX56" fmla="*/ 619125 w 808704"/>
                <a:gd name="connsiteY56" fmla="*/ 0 h 780573"/>
                <a:gd name="connsiteX57" fmla="*/ 628650 w 808704"/>
                <a:gd name="connsiteY57" fmla="*/ 3175 h 780573"/>
                <a:gd name="connsiteX58" fmla="*/ 676275 w 808704"/>
                <a:gd name="connsiteY58" fmla="*/ 9525 h 780573"/>
                <a:gd name="connsiteX59" fmla="*/ 695325 w 808704"/>
                <a:gd name="connsiteY59" fmla="*/ 15875 h 780573"/>
                <a:gd name="connsiteX60" fmla="*/ 704850 w 808704"/>
                <a:gd name="connsiteY60" fmla="*/ 19050 h 780573"/>
                <a:gd name="connsiteX61" fmla="*/ 730250 w 808704"/>
                <a:gd name="connsiteY61" fmla="*/ 15875 h 780573"/>
                <a:gd name="connsiteX62" fmla="*/ 739775 w 808704"/>
                <a:gd name="connsiteY62" fmla="*/ 6350 h 780573"/>
                <a:gd name="connsiteX63" fmla="*/ 749300 w 808704"/>
                <a:gd name="connsiteY63" fmla="*/ 0 h 780573"/>
                <a:gd name="connsiteX64" fmla="*/ 777875 w 808704"/>
                <a:gd name="connsiteY64" fmla="*/ 15875 h 780573"/>
                <a:gd name="connsiteX65" fmla="*/ 787400 w 808704"/>
                <a:gd name="connsiteY65" fmla="*/ 19050 h 780573"/>
                <a:gd name="connsiteX66" fmla="*/ 793750 w 808704"/>
                <a:gd name="connsiteY66" fmla="*/ 28575 h 780573"/>
                <a:gd name="connsiteX67" fmla="*/ 784225 w 808704"/>
                <a:gd name="connsiteY67" fmla="*/ 66675 h 780573"/>
                <a:gd name="connsiteX68" fmla="*/ 781050 w 808704"/>
                <a:gd name="connsiteY68" fmla="*/ 76200 h 780573"/>
                <a:gd name="connsiteX69" fmla="*/ 771525 w 808704"/>
                <a:gd name="connsiteY69" fmla="*/ 85725 h 780573"/>
                <a:gd name="connsiteX70" fmla="*/ 765175 w 808704"/>
                <a:gd name="connsiteY70" fmla="*/ 95250 h 780573"/>
                <a:gd name="connsiteX71" fmla="*/ 765175 w 808704"/>
                <a:gd name="connsiteY71" fmla="*/ 130175 h 780573"/>
                <a:gd name="connsiteX72" fmla="*/ 774700 w 808704"/>
                <a:gd name="connsiteY72" fmla="*/ 136525 h 780573"/>
                <a:gd name="connsiteX73" fmla="*/ 787400 w 808704"/>
                <a:gd name="connsiteY73" fmla="*/ 152400 h 780573"/>
                <a:gd name="connsiteX74" fmla="*/ 790575 w 808704"/>
                <a:gd name="connsiteY74" fmla="*/ 161925 h 780573"/>
                <a:gd name="connsiteX75" fmla="*/ 806450 w 808704"/>
                <a:gd name="connsiteY75" fmla="*/ 177800 h 780573"/>
                <a:gd name="connsiteX76" fmla="*/ 803275 w 808704"/>
                <a:gd name="connsiteY76" fmla="*/ 238125 h 780573"/>
                <a:gd name="connsiteX77" fmla="*/ 784225 w 808704"/>
                <a:gd name="connsiteY77" fmla="*/ 257175 h 780573"/>
                <a:gd name="connsiteX78" fmla="*/ 781050 w 808704"/>
                <a:gd name="connsiteY78" fmla="*/ 269875 h 780573"/>
                <a:gd name="connsiteX79" fmla="*/ 777875 w 808704"/>
                <a:gd name="connsiteY79" fmla="*/ 279400 h 780573"/>
                <a:gd name="connsiteX80" fmla="*/ 781050 w 808704"/>
                <a:gd name="connsiteY80" fmla="*/ 342900 h 780573"/>
                <a:gd name="connsiteX81" fmla="*/ 787400 w 808704"/>
                <a:gd name="connsiteY81" fmla="*/ 361950 h 780573"/>
                <a:gd name="connsiteX82" fmla="*/ 784225 w 808704"/>
                <a:gd name="connsiteY82" fmla="*/ 390525 h 780573"/>
                <a:gd name="connsiteX83" fmla="*/ 774700 w 808704"/>
                <a:gd name="connsiteY83" fmla="*/ 393700 h 780573"/>
                <a:gd name="connsiteX84" fmla="*/ 746125 w 808704"/>
                <a:gd name="connsiteY84" fmla="*/ 409575 h 780573"/>
                <a:gd name="connsiteX85" fmla="*/ 720725 w 808704"/>
                <a:gd name="connsiteY85" fmla="*/ 438150 h 780573"/>
                <a:gd name="connsiteX86" fmla="*/ 701675 w 808704"/>
                <a:gd name="connsiteY86" fmla="*/ 454025 h 780573"/>
                <a:gd name="connsiteX87" fmla="*/ 688975 w 808704"/>
                <a:gd name="connsiteY87" fmla="*/ 473075 h 780573"/>
                <a:gd name="connsiteX88" fmla="*/ 685800 w 808704"/>
                <a:gd name="connsiteY88" fmla="*/ 485775 h 780573"/>
                <a:gd name="connsiteX89" fmla="*/ 682625 w 808704"/>
                <a:gd name="connsiteY89" fmla="*/ 517525 h 780573"/>
                <a:gd name="connsiteX90" fmla="*/ 666750 w 808704"/>
                <a:gd name="connsiteY90" fmla="*/ 533400 h 780573"/>
                <a:gd name="connsiteX91" fmla="*/ 660400 w 808704"/>
                <a:gd name="connsiteY91" fmla="*/ 542925 h 780573"/>
                <a:gd name="connsiteX92" fmla="*/ 650875 w 808704"/>
                <a:gd name="connsiteY92" fmla="*/ 552450 h 780573"/>
                <a:gd name="connsiteX93" fmla="*/ 647700 w 808704"/>
                <a:gd name="connsiteY93" fmla="*/ 561975 h 780573"/>
                <a:gd name="connsiteX94" fmla="*/ 641350 w 808704"/>
                <a:gd name="connsiteY94" fmla="*/ 571500 h 780573"/>
                <a:gd name="connsiteX95" fmla="*/ 635000 w 808704"/>
                <a:gd name="connsiteY95" fmla="*/ 596900 h 780573"/>
                <a:gd name="connsiteX96" fmla="*/ 638175 w 808704"/>
                <a:gd name="connsiteY96" fmla="*/ 609600 h 780573"/>
                <a:gd name="connsiteX97" fmla="*/ 654050 w 808704"/>
                <a:gd name="connsiteY97" fmla="*/ 612775 h 780573"/>
                <a:gd name="connsiteX98" fmla="*/ 663575 w 808704"/>
                <a:gd name="connsiteY98" fmla="*/ 615950 h 780573"/>
                <a:gd name="connsiteX99" fmla="*/ 695325 w 808704"/>
                <a:gd name="connsiteY99" fmla="*/ 631825 h 780573"/>
                <a:gd name="connsiteX100" fmla="*/ 714375 w 808704"/>
                <a:gd name="connsiteY100" fmla="*/ 644525 h 780573"/>
                <a:gd name="connsiteX101" fmla="*/ 720725 w 808704"/>
                <a:gd name="connsiteY101" fmla="*/ 663575 h 780573"/>
                <a:gd name="connsiteX102" fmla="*/ 717550 w 808704"/>
                <a:gd name="connsiteY102" fmla="*/ 676275 h 780573"/>
                <a:gd name="connsiteX103" fmla="*/ 708025 w 808704"/>
                <a:gd name="connsiteY103" fmla="*/ 685800 h 780573"/>
                <a:gd name="connsiteX104" fmla="*/ 695325 w 808704"/>
                <a:gd name="connsiteY104" fmla="*/ 688975 h 780573"/>
                <a:gd name="connsiteX105" fmla="*/ 685800 w 808704"/>
                <a:gd name="connsiteY105" fmla="*/ 692150 h 780573"/>
                <a:gd name="connsiteX106" fmla="*/ 666750 w 808704"/>
                <a:gd name="connsiteY106" fmla="*/ 704850 h 780573"/>
                <a:gd name="connsiteX107" fmla="*/ 660400 w 808704"/>
                <a:gd name="connsiteY107" fmla="*/ 714375 h 780573"/>
                <a:gd name="connsiteX108" fmla="*/ 647700 w 808704"/>
                <a:gd name="connsiteY108" fmla="*/ 717550 h 780573"/>
                <a:gd name="connsiteX109" fmla="*/ 612775 w 808704"/>
                <a:gd name="connsiteY109" fmla="*/ 723900 h 780573"/>
                <a:gd name="connsiteX110" fmla="*/ 590550 w 808704"/>
                <a:gd name="connsiteY110" fmla="*/ 730250 h 780573"/>
                <a:gd name="connsiteX111" fmla="*/ 581025 w 808704"/>
                <a:gd name="connsiteY111" fmla="*/ 749300 h 780573"/>
                <a:gd name="connsiteX112" fmla="*/ 584200 w 808704"/>
                <a:gd name="connsiteY112" fmla="*/ 758825 h 780573"/>
                <a:gd name="connsiteX113" fmla="*/ 581025 w 808704"/>
                <a:gd name="connsiteY113" fmla="*/ 777875 h 780573"/>
                <a:gd name="connsiteX114" fmla="*/ 574675 w 808704"/>
                <a:gd name="connsiteY114" fmla="*/ 768350 h 780573"/>
                <a:gd name="connsiteX115" fmla="*/ 552450 w 808704"/>
                <a:gd name="connsiteY115" fmla="*/ 762000 h 780573"/>
                <a:gd name="connsiteX116" fmla="*/ 536575 w 808704"/>
                <a:gd name="connsiteY116" fmla="*/ 765175 h 780573"/>
                <a:gd name="connsiteX117" fmla="*/ 517525 w 808704"/>
                <a:gd name="connsiteY117" fmla="*/ 771525 h 780573"/>
                <a:gd name="connsiteX118" fmla="*/ 520700 w 808704"/>
                <a:gd name="connsiteY118" fmla="*/ 742950 h 780573"/>
                <a:gd name="connsiteX119" fmla="*/ 523875 w 808704"/>
                <a:gd name="connsiteY119" fmla="*/ 733425 h 780573"/>
                <a:gd name="connsiteX120" fmla="*/ 498475 w 808704"/>
                <a:gd name="connsiteY120" fmla="*/ 711200 h 780573"/>
                <a:gd name="connsiteX121" fmla="*/ 488950 w 808704"/>
                <a:gd name="connsiteY121" fmla="*/ 704850 h 780573"/>
                <a:gd name="connsiteX122" fmla="*/ 479425 w 808704"/>
                <a:gd name="connsiteY122" fmla="*/ 698500 h 780573"/>
                <a:gd name="connsiteX123" fmla="*/ 450850 w 808704"/>
                <a:gd name="connsiteY123" fmla="*/ 685800 h 780573"/>
                <a:gd name="connsiteX124" fmla="*/ 431800 w 808704"/>
                <a:gd name="connsiteY124" fmla="*/ 666750 h 780573"/>
                <a:gd name="connsiteX125" fmla="*/ 425450 w 808704"/>
                <a:gd name="connsiteY125" fmla="*/ 657225 h 780573"/>
                <a:gd name="connsiteX126" fmla="*/ 415925 w 808704"/>
                <a:gd name="connsiteY126" fmla="*/ 650875 h 780573"/>
                <a:gd name="connsiteX127" fmla="*/ 409575 w 808704"/>
                <a:gd name="connsiteY127" fmla="*/ 641350 h 780573"/>
                <a:gd name="connsiteX128" fmla="*/ 396875 w 808704"/>
                <a:gd name="connsiteY128" fmla="*/ 635000 h 780573"/>
                <a:gd name="connsiteX129" fmla="*/ 387350 w 808704"/>
                <a:gd name="connsiteY129" fmla="*/ 628650 h 780573"/>
                <a:gd name="connsiteX130" fmla="*/ 384175 w 808704"/>
                <a:gd name="connsiteY130" fmla="*/ 619125 h 780573"/>
                <a:gd name="connsiteX131" fmla="*/ 346075 w 808704"/>
                <a:gd name="connsiteY131" fmla="*/ 587375 h 780573"/>
                <a:gd name="connsiteX132" fmla="*/ 327025 w 808704"/>
                <a:gd name="connsiteY132" fmla="*/ 581025 h 780573"/>
                <a:gd name="connsiteX133" fmla="*/ 301625 w 808704"/>
                <a:gd name="connsiteY133" fmla="*/ 571500 h 780573"/>
                <a:gd name="connsiteX134" fmla="*/ 215900 w 808704"/>
                <a:gd name="connsiteY134" fmla="*/ 574675 h 780573"/>
                <a:gd name="connsiteX135" fmla="*/ 196850 w 808704"/>
                <a:gd name="connsiteY135" fmla="*/ 584200 h 780573"/>
                <a:gd name="connsiteX136" fmla="*/ 187325 w 808704"/>
                <a:gd name="connsiteY136" fmla="*/ 587375 h 780573"/>
                <a:gd name="connsiteX137" fmla="*/ 69850 w 808704"/>
                <a:gd name="connsiteY137" fmla="*/ 584200 h 780573"/>
                <a:gd name="connsiteX138" fmla="*/ 47625 w 808704"/>
                <a:gd name="connsiteY138" fmla="*/ 577850 h 780573"/>
                <a:gd name="connsiteX139" fmla="*/ 28575 w 808704"/>
                <a:gd name="connsiteY139" fmla="*/ 574675 h 780573"/>
                <a:gd name="connsiteX140" fmla="*/ 6350 w 808704"/>
                <a:gd name="connsiteY140" fmla="*/ 568325 h 780573"/>
                <a:gd name="connsiteX141" fmla="*/ 15875 w 808704"/>
                <a:gd name="connsiteY141" fmla="*/ 565150 h 780573"/>
                <a:gd name="connsiteX0" fmla="*/ 15875 w 808704"/>
                <a:gd name="connsiteY0" fmla="*/ 565150 h 780573"/>
                <a:gd name="connsiteX1" fmla="*/ 9525 w 808704"/>
                <a:gd name="connsiteY1" fmla="*/ 555625 h 780573"/>
                <a:gd name="connsiteX2" fmla="*/ 6350 w 808704"/>
                <a:gd name="connsiteY2" fmla="*/ 542925 h 780573"/>
                <a:gd name="connsiteX3" fmla="*/ 0 w 808704"/>
                <a:gd name="connsiteY3" fmla="*/ 530225 h 780573"/>
                <a:gd name="connsiteX4" fmla="*/ 3175 w 808704"/>
                <a:gd name="connsiteY4" fmla="*/ 450850 h 780573"/>
                <a:gd name="connsiteX5" fmla="*/ 9525 w 808704"/>
                <a:gd name="connsiteY5" fmla="*/ 422275 h 780573"/>
                <a:gd name="connsiteX6" fmla="*/ 31750 w 808704"/>
                <a:gd name="connsiteY6" fmla="*/ 409575 h 780573"/>
                <a:gd name="connsiteX7" fmla="*/ 47625 w 808704"/>
                <a:gd name="connsiteY7" fmla="*/ 393700 h 780573"/>
                <a:gd name="connsiteX8" fmla="*/ 57150 w 808704"/>
                <a:gd name="connsiteY8" fmla="*/ 374650 h 780573"/>
                <a:gd name="connsiteX9" fmla="*/ 41275 w 808704"/>
                <a:gd name="connsiteY9" fmla="*/ 358775 h 780573"/>
                <a:gd name="connsiteX10" fmla="*/ 25400 w 808704"/>
                <a:gd name="connsiteY10" fmla="*/ 342900 h 780573"/>
                <a:gd name="connsiteX11" fmla="*/ 22225 w 808704"/>
                <a:gd name="connsiteY11" fmla="*/ 241300 h 780573"/>
                <a:gd name="connsiteX12" fmla="*/ 25400 w 808704"/>
                <a:gd name="connsiteY12" fmla="*/ 203200 h 780573"/>
                <a:gd name="connsiteX13" fmla="*/ 34925 w 808704"/>
                <a:gd name="connsiteY13" fmla="*/ 193675 h 780573"/>
                <a:gd name="connsiteX14" fmla="*/ 41275 w 808704"/>
                <a:gd name="connsiteY14" fmla="*/ 184150 h 780573"/>
                <a:gd name="connsiteX15" fmla="*/ 79375 w 808704"/>
                <a:gd name="connsiteY15" fmla="*/ 187325 h 780573"/>
                <a:gd name="connsiteX16" fmla="*/ 88900 w 808704"/>
                <a:gd name="connsiteY16" fmla="*/ 184150 h 780573"/>
                <a:gd name="connsiteX17" fmla="*/ 142875 w 808704"/>
                <a:gd name="connsiteY17" fmla="*/ 180975 h 780573"/>
                <a:gd name="connsiteX18" fmla="*/ 155575 w 808704"/>
                <a:gd name="connsiteY18" fmla="*/ 161925 h 780573"/>
                <a:gd name="connsiteX19" fmla="*/ 161925 w 808704"/>
                <a:gd name="connsiteY19" fmla="*/ 152400 h 780573"/>
                <a:gd name="connsiteX20" fmla="*/ 168275 w 808704"/>
                <a:gd name="connsiteY20" fmla="*/ 133350 h 780573"/>
                <a:gd name="connsiteX21" fmla="*/ 177800 w 808704"/>
                <a:gd name="connsiteY21" fmla="*/ 130175 h 780573"/>
                <a:gd name="connsiteX22" fmla="*/ 250825 w 808704"/>
                <a:gd name="connsiteY22" fmla="*/ 136525 h 780573"/>
                <a:gd name="connsiteX23" fmla="*/ 269875 w 808704"/>
                <a:gd name="connsiteY23" fmla="*/ 146050 h 780573"/>
                <a:gd name="connsiteX24" fmla="*/ 311150 w 808704"/>
                <a:gd name="connsiteY24" fmla="*/ 155575 h 780573"/>
                <a:gd name="connsiteX25" fmla="*/ 317500 w 808704"/>
                <a:gd name="connsiteY25" fmla="*/ 180975 h 780573"/>
                <a:gd name="connsiteX26" fmla="*/ 320675 w 808704"/>
                <a:gd name="connsiteY26" fmla="*/ 190500 h 780573"/>
                <a:gd name="connsiteX27" fmla="*/ 330200 w 808704"/>
                <a:gd name="connsiteY27" fmla="*/ 193675 h 780573"/>
                <a:gd name="connsiteX28" fmla="*/ 368300 w 808704"/>
                <a:gd name="connsiteY28" fmla="*/ 196850 h 780573"/>
                <a:gd name="connsiteX29" fmla="*/ 390525 w 808704"/>
                <a:gd name="connsiteY29" fmla="*/ 206375 h 780573"/>
                <a:gd name="connsiteX30" fmla="*/ 400050 w 808704"/>
                <a:gd name="connsiteY30" fmla="*/ 212725 h 780573"/>
                <a:gd name="connsiteX31" fmla="*/ 409575 w 808704"/>
                <a:gd name="connsiteY31" fmla="*/ 215900 h 780573"/>
                <a:gd name="connsiteX32" fmla="*/ 425450 w 808704"/>
                <a:gd name="connsiteY32" fmla="*/ 228600 h 780573"/>
                <a:gd name="connsiteX33" fmla="*/ 431800 w 808704"/>
                <a:gd name="connsiteY33" fmla="*/ 238125 h 780573"/>
                <a:gd name="connsiteX34" fmla="*/ 441325 w 808704"/>
                <a:gd name="connsiteY34" fmla="*/ 241300 h 780573"/>
                <a:gd name="connsiteX35" fmla="*/ 454025 w 808704"/>
                <a:gd name="connsiteY35" fmla="*/ 247650 h 780573"/>
                <a:gd name="connsiteX36" fmla="*/ 476250 w 808704"/>
                <a:gd name="connsiteY36" fmla="*/ 234950 h 780573"/>
                <a:gd name="connsiteX37" fmla="*/ 466725 w 808704"/>
                <a:gd name="connsiteY37" fmla="*/ 228600 h 780573"/>
                <a:gd name="connsiteX38" fmla="*/ 444500 w 808704"/>
                <a:gd name="connsiteY38" fmla="*/ 203200 h 780573"/>
                <a:gd name="connsiteX39" fmla="*/ 428625 w 808704"/>
                <a:gd name="connsiteY39" fmla="*/ 184150 h 780573"/>
                <a:gd name="connsiteX40" fmla="*/ 409575 w 808704"/>
                <a:gd name="connsiteY40" fmla="*/ 161925 h 780573"/>
                <a:gd name="connsiteX41" fmla="*/ 419100 w 808704"/>
                <a:gd name="connsiteY41" fmla="*/ 158750 h 780573"/>
                <a:gd name="connsiteX42" fmla="*/ 492125 w 808704"/>
                <a:gd name="connsiteY42" fmla="*/ 152400 h 780573"/>
                <a:gd name="connsiteX43" fmla="*/ 508000 w 808704"/>
                <a:gd name="connsiteY43" fmla="*/ 133350 h 780573"/>
                <a:gd name="connsiteX44" fmla="*/ 504825 w 808704"/>
                <a:gd name="connsiteY44" fmla="*/ 123825 h 780573"/>
                <a:gd name="connsiteX45" fmla="*/ 495300 w 808704"/>
                <a:gd name="connsiteY45" fmla="*/ 117475 h 780573"/>
                <a:gd name="connsiteX46" fmla="*/ 492125 w 808704"/>
                <a:gd name="connsiteY46" fmla="*/ 107950 h 780573"/>
                <a:gd name="connsiteX47" fmla="*/ 495300 w 808704"/>
                <a:gd name="connsiteY47" fmla="*/ 95250 h 780573"/>
                <a:gd name="connsiteX48" fmla="*/ 498475 w 808704"/>
                <a:gd name="connsiteY48" fmla="*/ 79375 h 780573"/>
                <a:gd name="connsiteX49" fmla="*/ 501650 w 808704"/>
                <a:gd name="connsiteY49" fmla="*/ 69850 h 780573"/>
                <a:gd name="connsiteX50" fmla="*/ 511175 w 808704"/>
                <a:gd name="connsiteY50" fmla="*/ 63500 h 780573"/>
                <a:gd name="connsiteX51" fmla="*/ 536575 w 808704"/>
                <a:gd name="connsiteY51" fmla="*/ 34925 h 780573"/>
                <a:gd name="connsiteX52" fmla="*/ 555625 w 808704"/>
                <a:gd name="connsiteY52" fmla="*/ 22225 h 780573"/>
                <a:gd name="connsiteX53" fmla="*/ 565150 w 808704"/>
                <a:gd name="connsiteY53" fmla="*/ 15875 h 780573"/>
                <a:gd name="connsiteX54" fmla="*/ 593725 w 808704"/>
                <a:gd name="connsiteY54" fmla="*/ 6350 h 780573"/>
                <a:gd name="connsiteX55" fmla="*/ 603250 w 808704"/>
                <a:gd name="connsiteY55" fmla="*/ 3175 h 780573"/>
                <a:gd name="connsiteX56" fmla="*/ 619125 w 808704"/>
                <a:gd name="connsiteY56" fmla="*/ 0 h 780573"/>
                <a:gd name="connsiteX57" fmla="*/ 628650 w 808704"/>
                <a:gd name="connsiteY57" fmla="*/ 3175 h 780573"/>
                <a:gd name="connsiteX58" fmla="*/ 676275 w 808704"/>
                <a:gd name="connsiteY58" fmla="*/ 9525 h 780573"/>
                <a:gd name="connsiteX59" fmla="*/ 695325 w 808704"/>
                <a:gd name="connsiteY59" fmla="*/ 15875 h 780573"/>
                <a:gd name="connsiteX60" fmla="*/ 704850 w 808704"/>
                <a:gd name="connsiteY60" fmla="*/ 19050 h 780573"/>
                <a:gd name="connsiteX61" fmla="*/ 730250 w 808704"/>
                <a:gd name="connsiteY61" fmla="*/ 15875 h 780573"/>
                <a:gd name="connsiteX62" fmla="*/ 739775 w 808704"/>
                <a:gd name="connsiteY62" fmla="*/ 6350 h 780573"/>
                <a:gd name="connsiteX63" fmla="*/ 749300 w 808704"/>
                <a:gd name="connsiteY63" fmla="*/ 0 h 780573"/>
                <a:gd name="connsiteX64" fmla="*/ 777875 w 808704"/>
                <a:gd name="connsiteY64" fmla="*/ 15875 h 780573"/>
                <a:gd name="connsiteX65" fmla="*/ 787400 w 808704"/>
                <a:gd name="connsiteY65" fmla="*/ 19050 h 780573"/>
                <a:gd name="connsiteX66" fmla="*/ 793750 w 808704"/>
                <a:gd name="connsiteY66" fmla="*/ 28575 h 780573"/>
                <a:gd name="connsiteX67" fmla="*/ 784225 w 808704"/>
                <a:gd name="connsiteY67" fmla="*/ 66675 h 780573"/>
                <a:gd name="connsiteX68" fmla="*/ 781050 w 808704"/>
                <a:gd name="connsiteY68" fmla="*/ 76200 h 780573"/>
                <a:gd name="connsiteX69" fmla="*/ 771525 w 808704"/>
                <a:gd name="connsiteY69" fmla="*/ 85725 h 780573"/>
                <a:gd name="connsiteX70" fmla="*/ 765175 w 808704"/>
                <a:gd name="connsiteY70" fmla="*/ 95250 h 780573"/>
                <a:gd name="connsiteX71" fmla="*/ 765175 w 808704"/>
                <a:gd name="connsiteY71" fmla="*/ 130175 h 780573"/>
                <a:gd name="connsiteX72" fmla="*/ 774700 w 808704"/>
                <a:gd name="connsiteY72" fmla="*/ 136525 h 780573"/>
                <a:gd name="connsiteX73" fmla="*/ 787400 w 808704"/>
                <a:gd name="connsiteY73" fmla="*/ 152400 h 780573"/>
                <a:gd name="connsiteX74" fmla="*/ 790575 w 808704"/>
                <a:gd name="connsiteY74" fmla="*/ 161925 h 780573"/>
                <a:gd name="connsiteX75" fmla="*/ 806450 w 808704"/>
                <a:gd name="connsiteY75" fmla="*/ 177800 h 780573"/>
                <a:gd name="connsiteX76" fmla="*/ 803275 w 808704"/>
                <a:gd name="connsiteY76" fmla="*/ 238125 h 780573"/>
                <a:gd name="connsiteX77" fmla="*/ 784225 w 808704"/>
                <a:gd name="connsiteY77" fmla="*/ 257175 h 780573"/>
                <a:gd name="connsiteX78" fmla="*/ 781050 w 808704"/>
                <a:gd name="connsiteY78" fmla="*/ 269875 h 780573"/>
                <a:gd name="connsiteX79" fmla="*/ 777875 w 808704"/>
                <a:gd name="connsiteY79" fmla="*/ 279400 h 780573"/>
                <a:gd name="connsiteX80" fmla="*/ 781050 w 808704"/>
                <a:gd name="connsiteY80" fmla="*/ 342900 h 780573"/>
                <a:gd name="connsiteX81" fmla="*/ 787400 w 808704"/>
                <a:gd name="connsiteY81" fmla="*/ 361950 h 780573"/>
                <a:gd name="connsiteX82" fmla="*/ 784225 w 808704"/>
                <a:gd name="connsiteY82" fmla="*/ 390525 h 780573"/>
                <a:gd name="connsiteX83" fmla="*/ 774700 w 808704"/>
                <a:gd name="connsiteY83" fmla="*/ 393700 h 780573"/>
                <a:gd name="connsiteX84" fmla="*/ 746125 w 808704"/>
                <a:gd name="connsiteY84" fmla="*/ 409575 h 780573"/>
                <a:gd name="connsiteX85" fmla="*/ 720725 w 808704"/>
                <a:gd name="connsiteY85" fmla="*/ 438150 h 780573"/>
                <a:gd name="connsiteX86" fmla="*/ 701675 w 808704"/>
                <a:gd name="connsiteY86" fmla="*/ 454025 h 780573"/>
                <a:gd name="connsiteX87" fmla="*/ 688975 w 808704"/>
                <a:gd name="connsiteY87" fmla="*/ 473075 h 780573"/>
                <a:gd name="connsiteX88" fmla="*/ 685800 w 808704"/>
                <a:gd name="connsiteY88" fmla="*/ 485775 h 780573"/>
                <a:gd name="connsiteX89" fmla="*/ 682625 w 808704"/>
                <a:gd name="connsiteY89" fmla="*/ 517525 h 780573"/>
                <a:gd name="connsiteX90" fmla="*/ 666750 w 808704"/>
                <a:gd name="connsiteY90" fmla="*/ 533400 h 780573"/>
                <a:gd name="connsiteX91" fmla="*/ 660400 w 808704"/>
                <a:gd name="connsiteY91" fmla="*/ 542925 h 780573"/>
                <a:gd name="connsiteX92" fmla="*/ 650875 w 808704"/>
                <a:gd name="connsiteY92" fmla="*/ 552450 h 780573"/>
                <a:gd name="connsiteX93" fmla="*/ 647700 w 808704"/>
                <a:gd name="connsiteY93" fmla="*/ 561975 h 780573"/>
                <a:gd name="connsiteX94" fmla="*/ 641350 w 808704"/>
                <a:gd name="connsiteY94" fmla="*/ 571500 h 780573"/>
                <a:gd name="connsiteX95" fmla="*/ 635000 w 808704"/>
                <a:gd name="connsiteY95" fmla="*/ 596900 h 780573"/>
                <a:gd name="connsiteX96" fmla="*/ 638175 w 808704"/>
                <a:gd name="connsiteY96" fmla="*/ 609600 h 780573"/>
                <a:gd name="connsiteX97" fmla="*/ 654050 w 808704"/>
                <a:gd name="connsiteY97" fmla="*/ 612775 h 780573"/>
                <a:gd name="connsiteX98" fmla="*/ 663575 w 808704"/>
                <a:gd name="connsiteY98" fmla="*/ 615950 h 780573"/>
                <a:gd name="connsiteX99" fmla="*/ 695325 w 808704"/>
                <a:gd name="connsiteY99" fmla="*/ 631825 h 780573"/>
                <a:gd name="connsiteX100" fmla="*/ 714375 w 808704"/>
                <a:gd name="connsiteY100" fmla="*/ 644525 h 780573"/>
                <a:gd name="connsiteX101" fmla="*/ 720725 w 808704"/>
                <a:gd name="connsiteY101" fmla="*/ 663575 h 780573"/>
                <a:gd name="connsiteX102" fmla="*/ 717550 w 808704"/>
                <a:gd name="connsiteY102" fmla="*/ 676275 h 780573"/>
                <a:gd name="connsiteX103" fmla="*/ 708025 w 808704"/>
                <a:gd name="connsiteY103" fmla="*/ 685800 h 780573"/>
                <a:gd name="connsiteX104" fmla="*/ 695325 w 808704"/>
                <a:gd name="connsiteY104" fmla="*/ 688975 h 780573"/>
                <a:gd name="connsiteX105" fmla="*/ 685800 w 808704"/>
                <a:gd name="connsiteY105" fmla="*/ 692150 h 780573"/>
                <a:gd name="connsiteX106" fmla="*/ 666750 w 808704"/>
                <a:gd name="connsiteY106" fmla="*/ 704850 h 780573"/>
                <a:gd name="connsiteX107" fmla="*/ 660400 w 808704"/>
                <a:gd name="connsiteY107" fmla="*/ 714375 h 780573"/>
                <a:gd name="connsiteX108" fmla="*/ 647700 w 808704"/>
                <a:gd name="connsiteY108" fmla="*/ 717550 h 780573"/>
                <a:gd name="connsiteX109" fmla="*/ 612775 w 808704"/>
                <a:gd name="connsiteY109" fmla="*/ 723900 h 780573"/>
                <a:gd name="connsiteX110" fmla="*/ 590550 w 808704"/>
                <a:gd name="connsiteY110" fmla="*/ 730250 h 780573"/>
                <a:gd name="connsiteX111" fmla="*/ 581025 w 808704"/>
                <a:gd name="connsiteY111" fmla="*/ 749300 h 780573"/>
                <a:gd name="connsiteX112" fmla="*/ 584200 w 808704"/>
                <a:gd name="connsiteY112" fmla="*/ 758825 h 780573"/>
                <a:gd name="connsiteX113" fmla="*/ 581025 w 808704"/>
                <a:gd name="connsiteY113" fmla="*/ 777875 h 780573"/>
                <a:gd name="connsiteX114" fmla="*/ 574675 w 808704"/>
                <a:gd name="connsiteY114" fmla="*/ 768350 h 780573"/>
                <a:gd name="connsiteX115" fmla="*/ 552450 w 808704"/>
                <a:gd name="connsiteY115" fmla="*/ 762000 h 780573"/>
                <a:gd name="connsiteX116" fmla="*/ 536575 w 808704"/>
                <a:gd name="connsiteY116" fmla="*/ 765175 h 780573"/>
                <a:gd name="connsiteX117" fmla="*/ 517525 w 808704"/>
                <a:gd name="connsiteY117" fmla="*/ 771525 h 780573"/>
                <a:gd name="connsiteX118" fmla="*/ 520700 w 808704"/>
                <a:gd name="connsiteY118" fmla="*/ 742950 h 780573"/>
                <a:gd name="connsiteX119" fmla="*/ 523875 w 808704"/>
                <a:gd name="connsiteY119" fmla="*/ 733425 h 780573"/>
                <a:gd name="connsiteX120" fmla="*/ 498475 w 808704"/>
                <a:gd name="connsiteY120" fmla="*/ 711200 h 780573"/>
                <a:gd name="connsiteX121" fmla="*/ 488950 w 808704"/>
                <a:gd name="connsiteY121" fmla="*/ 704850 h 780573"/>
                <a:gd name="connsiteX122" fmla="*/ 479425 w 808704"/>
                <a:gd name="connsiteY122" fmla="*/ 698500 h 780573"/>
                <a:gd name="connsiteX123" fmla="*/ 450850 w 808704"/>
                <a:gd name="connsiteY123" fmla="*/ 685800 h 780573"/>
                <a:gd name="connsiteX124" fmla="*/ 431800 w 808704"/>
                <a:gd name="connsiteY124" fmla="*/ 666750 h 780573"/>
                <a:gd name="connsiteX125" fmla="*/ 425450 w 808704"/>
                <a:gd name="connsiteY125" fmla="*/ 657225 h 780573"/>
                <a:gd name="connsiteX126" fmla="*/ 415925 w 808704"/>
                <a:gd name="connsiteY126" fmla="*/ 650875 h 780573"/>
                <a:gd name="connsiteX127" fmla="*/ 409575 w 808704"/>
                <a:gd name="connsiteY127" fmla="*/ 641350 h 780573"/>
                <a:gd name="connsiteX128" fmla="*/ 396875 w 808704"/>
                <a:gd name="connsiteY128" fmla="*/ 635000 h 780573"/>
                <a:gd name="connsiteX129" fmla="*/ 387350 w 808704"/>
                <a:gd name="connsiteY129" fmla="*/ 628650 h 780573"/>
                <a:gd name="connsiteX130" fmla="*/ 384175 w 808704"/>
                <a:gd name="connsiteY130" fmla="*/ 619125 h 780573"/>
                <a:gd name="connsiteX131" fmla="*/ 346075 w 808704"/>
                <a:gd name="connsiteY131" fmla="*/ 587375 h 780573"/>
                <a:gd name="connsiteX132" fmla="*/ 327025 w 808704"/>
                <a:gd name="connsiteY132" fmla="*/ 581025 h 780573"/>
                <a:gd name="connsiteX133" fmla="*/ 301625 w 808704"/>
                <a:gd name="connsiteY133" fmla="*/ 571500 h 780573"/>
                <a:gd name="connsiteX134" fmla="*/ 215900 w 808704"/>
                <a:gd name="connsiteY134" fmla="*/ 574675 h 780573"/>
                <a:gd name="connsiteX135" fmla="*/ 196850 w 808704"/>
                <a:gd name="connsiteY135" fmla="*/ 584200 h 780573"/>
                <a:gd name="connsiteX136" fmla="*/ 187325 w 808704"/>
                <a:gd name="connsiteY136" fmla="*/ 587375 h 780573"/>
                <a:gd name="connsiteX137" fmla="*/ 69850 w 808704"/>
                <a:gd name="connsiteY137" fmla="*/ 584200 h 780573"/>
                <a:gd name="connsiteX138" fmla="*/ 47625 w 808704"/>
                <a:gd name="connsiteY138" fmla="*/ 577850 h 780573"/>
                <a:gd name="connsiteX139" fmla="*/ 28575 w 808704"/>
                <a:gd name="connsiteY139" fmla="*/ 574675 h 780573"/>
                <a:gd name="connsiteX140" fmla="*/ 6350 w 808704"/>
                <a:gd name="connsiteY140" fmla="*/ 568325 h 780573"/>
                <a:gd name="connsiteX141" fmla="*/ 15875 w 808704"/>
                <a:gd name="connsiteY141" fmla="*/ 565150 h 780573"/>
                <a:gd name="connsiteX0" fmla="*/ 15875 w 808704"/>
                <a:gd name="connsiteY0" fmla="*/ 565150 h 780573"/>
                <a:gd name="connsiteX1" fmla="*/ 9525 w 808704"/>
                <a:gd name="connsiteY1" fmla="*/ 555625 h 780573"/>
                <a:gd name="connsiteX2" fmla="*/ 6350 w 808704"/>
                <a:gd name="connsiteY2" fmla="*/ 542925 h 780573"/>
                <a:gd name="connsiteX3" fmla="*/ 0 w 808704"/>
                <a:gd name="connsiteY3" fmla="*/ 530225 h 780573"/>
                <a:gd name="connsiteX4" fmla="*/ 3175 w 808704"/>
                <a:gd name="connsiteY4" fmla="*/ 450850 h 780573"/>
                <a:gd name="connsiteX5" fmla="*/ 9525 w 808704"/>
                <a:gd name="connsiteY5" fmla="*/ 422275 h 780573"/>
                <a:gd name="connsiteX6" fmla="*/ 31750 w 808704"/>
                <a:gd name="connsiteY6" fmla="*/ 409575 h 780573"/>
                <a:gd name="connsiteX7" fmla="*/ 47625 w 808704"/>
                <a:gd name="connsiteY7" fmla="*/ 393700 h 780573"/>
                <a:gd name="connsiteX8" fmla="*/ 57150 w 808704"/>
                <a:gd name="connsiteY8" fmla="*/ 374650 h 780573"/>
                <a:gd name="connsiteX9" fmla="*/ 41275 w 808704"/>
                <a:gd name="connsiteY9" fmla="*/ 358775 h 780573"/>
                <a:gd name="connsiteX10" fmla="*/ 25400 w 808704"/>
                <a:gd name="connsiteY10" fmla="*/ 342900 h 780573"/>
                <a:gd name="connsiteX11" fmla="*/ 22225 w 808704"/>
                <a:gd name="connsiteY11" fmla="*/ 241300 h 780573"/>
                <a:gd name="connsiteX12" fmla="*/ 25400 w 808704"/>
                <a:gd name="connsiteY12" fmla="*/ 203200 h 780573"/>
                <a:gd name="connsiteX13" fmla="*/ 34925 w 808704"/>
                <a:gd name="connsiteY13" fmla="*/ 193675 h 780573"/>
                <a:gd name="connsiteX14" fmla="*/ 41275 w 808704"/>
                <a:gd name="connsiteY14" fmla="*/ 184150 h 780573"/>
                <a:gd name="connsiteX15" fmla="*/ 79375 w 808704"/>
                <a:gd name="connsiteY15" fmla="*/ 187325 h 780573"/>
                <a:gd name="connsiteX16" fmla="*/ 88900 w 808704"/>
                <a:gd name="connsiteY16" fmla="*/ 184150 h 780573"/>
                <a:gd name="connsiteX17" fmla="*/ 142875 w 808704"/>
                <a:gd name="connsiteY17" fmla="*/ 180975 h 780573"/>
                <a:gd name="connsiteX18" fmla="*/ 155575 w 808704"/>
                <a:gd name="connsiteY18" fmla="*/ 161925 h 780573"/>
                <a:gd name="connsiteX19" fmla="*/ 161925 w 808704"/>
                <a:gd name="connsiteY19" fmla="*/ 152400 h 780573"/>
                <a:gd name="connsiteX20" fmla="*/ 168275 w 808704"/>
                <a:gd name="connsiteY20" fmla="*/ 133350 h 780573"/>
                <a:gd name="connsiteX21" fmla="*/ 177800 w 808704"/>
                <a:gd name="connsiteY21" fmla="*/ 130175 h 780573"/>
                <a:gd name="connsiteX22" fmla="*/ 250825 w 808704"/>
                <a:gd name="connsiteY22" fmla="*/ 136525 h 780573"/>
                <a:gd name="connsiteX23" fmla="*/ 269875 w 808704"/>
                <a:gd name="connsiteY23" fmla="*/ 146050 h 780573"/>
                <a:gd name="connsiteX24" fmla="*/ 311150 w 808704"/>
                <a:gd name="connsiteY24" fmla="*/ 155575 h 780573"/>
                <a:gd name="connsiteX25" fmla="*/ 317500 w 808704"/>
                <a:gd name="connsiteY25" fmla="*/ 180975 h 780573"/>
                <a:gd name="connsiteX26" fmla="*/ 320675 w 808704"/>
                <a:gd name="connsiteY26" fmla="*/ 190500 h 780573"/>
                <a:gd name="connsiteX27" fmla="*/ 330200 w 808704"/>
                <a:gd name="connsiteY27" fmla="*/ 193675 h 780573"/>
                <a:gd name="connsiteX28" fmla="*/ 368300 w 808704"/>
                <a:gd name="connsiteY28" fmla="*/ 196850 h 780573"/>
                <a:gd name="connsiteX29" fmla="*/ 390525 w 808704"/>
                <a:gd name="connsiteY29" fmla="*/ 206375 h 780573"/>
                <a:gd name="connsiteX30" fmla="*/ 400050 w 808704"/>
                <a:gd name="connsiteY30" fmla="*/ 212725 h 780573"/>
                <a:gd name="connsiteX31" fmla="*/ 409575 w 808704"/>
                <a:gd name="connsiteY31" fmla="*/ 215900 h 780573"/>
                <a:gd name="connsiteX32" fmla="*/ 425450 w 808704"/>
                <a:gd name="connsiteY32" fmla="*/ 228600 h 780573"/>
                <a:gd name="connsiteX33" fmla="*/ 431800 w 808704"/>
                <a:gd name="connsiteY33" fmla="*/ 238125 h 780573"/>
                <a:gd name="connsiteX34" fmla="*/ 441325 w 808704"/>
                <a:gd name="connsiteY34" fmla="*/ 241300 h 780573"/>
                <a:gd name="connsiteX35" fmla="*/ 454025 w 808704"/>
                <a:gd name="connsiteY35" fmla="*/ 247650 h 780573"/>
                <a:gd name="connsiteX36" fmla="*/ 476250 w 808704"/>
                <a:gd name="connsiteY36" fmla="*/ 234950 h 780573"/>
                <a:gd name="connsiteX37" fmla="*/ 466725 w 808704"/>
                <a:gd name="connsiteY37" fmla="*/ 228600 h 780573"/>
                <a:gd name="connsiteX38" fmla="*/ 444500 w 808704"/>
                <a:gd name="connsiteY38" fmla="*/ 203200 h 780573"/>
                <a:gd name="connsiteX39" fmla="*/ 428625 w 808704"/>
                <a:gd name="connsiteY39" fmla="*/ 184150 h 780573"/>
                <a:gd name="connsiteX40" fmla="*/ 409575 w 808704"/>
                <a:gd name="connsiteY40" fmla="*/ 161925 h 780573"/>
                <a:gd name="connsiteX41" fmla="*/ 419100 w 808704"/>
                <a:gd name="connsiteY41" fmla="*/ 158750 h 780573"/>
                <a:gd name="connsiteX42" fmla="*/ 492125 w 808704"/>
                <a:gd name="connsiteY42" fmla="*/ 152400 h 780573"/>
                <a:gd name="connsiteX43" fmla="*/ 508000 w 808704"/>
                <a:gd name="connsiteY43" fmla="*/ 133350 h 780573"/>
                <a:gd name="connsiteX44" fmla="*/ 504825 w 808704"/>
                <a:gd name="connsiteY44" fmla="*/ 123825 h 780573"/>
                <a:gd name="connsiteX45" fmla="*/ 495300 w 808704"/>
                <a:gd name="connsiteY45" fmla="*/ 117475 h 780573"/>
                <a:gd name="connsiteX46" fmla="*/ 492125 w 808704"/>
                <a:gd name="connsiteY46" fmla="*/ 107950 h 780573"/>
                <a:gd name="connsiteX47" fmla="*/ 495300 w 808704"/>
                <a:gd name="connsiteY47" fmla="*/ 95250 h 780573"/>
                <a:gd name="connsiteX48" fmla="*/ 498475 w 808704"/>
                <a:gd name="connsiteY48" fmla="*/ 79375 h 780573"/>
                <a:gd name="connsiteX49" fmla="*/ 501650 w 808704"/>
                <a:gd name="connsiteY49" fmla="*/ 69850 h 780573"/>
                <a:gd name="connsiteX50" fmla="*/ 511175 w 808704"/>
                <a:gd name="connsiteY50" fmla="*/ 63500 h 780573"/>
                <a:gd name="connsiteX51" fmla="*/ 536575 w 808704"/>
                <a:gd name="connsiteY51" fmla="*/ 34925 h 780573"/>
                <a:gd name="connsiteX52" fmla="*/ 555625 w 808704"/>
                <a:gd name="connsiteY52" fmla="*/ 22225 h 780573"/>
                <a:gd name="connsiteX53" fmla="*/ 565150 w 808704"/>
                <a:gd name="connsiteY53" fmla="*/ 15875 h 780573"/>
                <a:gd name="connsiteX54" fmla="*/ 593725 w 808704"/>
                <a:gd name="connsiteY54" fmla="*/ 6350 h 780573"/>
                <a:gd name="connsiteX55" fmla="*/ 603250 w 808704"/>
                <a:gd name="connsiteY55" fmla="*/ 3175 h 780573"/>
                <a:gd name="connsiteX56" fmla="*/ 619125 w 808704"/>
                <a:gd name="connsiteY56" fmla="*/ 0 h 780573"/>
                <a:gd name="connsiteX57" fmla="*/ 628650 w 808704"/>
                <a:gd name="connsiteY57" fmla="*/ 3175 h 780573"/>
                <a:gd name="connsiteX58" fmla="*/ 676275 w 808704"/>
                <a:gd name="connsiteY58" fmla="*/ 9525 h 780573"/>
                <a:gd name="connsiteX59" fmla="*/ 695325 w 808704"/>
                <a:gd name="connsiteY59" fmla="*/ 15875 h 780573"/>
                <a:gd name="connsiteX60" fmla="*/ 704850 w 808704"/>
                <a:gd name="connsiteY60" fmla="*/ 19050 h 780573"/>
                <a:gd name="connsiteX61" fmla="*/ 730250 w 808704"/>
                <a:gd name="connsiteY61" fmla="*/ 15875 h 780573"/>
                <a:gd name="connsiteX62" fmla="*/ 739775 w 808704"/>
                <a:gd name="connsiteY62" fmla="*/ 6350 h 780573"/>
                <a:gd name="connsiteX63" fmla="*/ 749300 w 808704"/>
                <a:gd name="connsiteY63" fmla="*/ 0 h 780573"/>
                <a:gd name="connsiteX64" fmla="*/ 777875 w 808704"/>
                <a:gd name="connsiteY64" fmla="*/ 15875 h 780573"/>
                <a:gd name="connsiteX65" fmla="*/ 787400 w 808704"/>
                <a:gd name="connsiteY65" fmla="*/ 19050 h 780573"/>
                <a:gd name="connsiteX66" fmla="*/ 793750 w 808704"/>
                <a:gd name="connsiteY66" fmla="*/ 28575 h 780573"/>
                <a:gd name="connsiteX67" fmla="*/ 784225 w 808704"/>
                <a:gd name="connsiteY67" fmla="*/ 66675 h 780573"/>
                <a:gd name="connsiteX68" fmla="*/ 781050 w 808704"/>
                <a:gd name="connsiteY68" fmla="*/ 76200 h 780573"/>
                <a:gd name="connsiteX69" fmla="*/ 771525 w 808704"/>
                <a:gd name="connsiteY69" fmla="*/ 85725 h 780573"/>
                <a:gd name="connsiteX70" fmla="*/ 765175 w 808704"/>
                <a:gd name="connsiteY70" fmla="*/ 95250 h 780573"/>
                <a:gd name="connsiteX71" fmla="*/ 765175 w 808704"/>
                <a:gd name="connsiteY71" fmla="*/ 130175 h 780573"/>
                <a:gd name="connsiteX72" fmla="*/ 774700 w 808704"/>
                <a:gd name="connsiteY72" fmla="*/ 136525 h 780573"/>
                <a:gd name="connsiteX73" fmla="*/ 787400 w 808704"/>
                <a:gd name="connsiteY73" fmla="*/ 152400 h 780573"/>
                <a:gd name="connsiteX74" fmla="*/ 790575 w 808704"/>
                <a:gd name="connsiteY74" fmla="*/ 161925 h 780573"/>
                <a:gd name="connsiteX75" fmla="*/ 806450 w 808704"/>
                <a:gd name="connsiteY75" fmla="*/ 177800 h 780573"/>
                <a:gd name="connsiteX76" fmla="*/ 803275 w 808704"/>
                <a:gd name="connsiteY76" fmla="*/ 238125 h 780573"/>
                <a:gd name="connsiteX77" fmla="*/ 784225 w 808704"/>
                <a:gd name="connsiteY77" fmla="*/ 257175 h 780573"/>
                <a:gd name="connsiteX78" fmla="*/ 781050 w 808704"/>
                <a:gd name="connsiteY78" fmla="*/ 269875 h 780573"/>
                <a:gd name="connsiteX79" fmla="*/ 777875 w 808704"/>
                <a:gd name="connsiteY79" fmla="*/ 279400 h 780573"/>
                <a:gd name="connsiteX80" fmla="*/ 781050 w 808704"/>
                <a:gd name="connsiteY80" fmla="*/ 342900 h 780573"/>
                <a:gd name="connsiteX81" fmla="*/ 787400 w 808704"/>
                <a:gd name="connsiteY81" fmla="*/ 361950 h 780573"/>
                <a:gd name="connsiteX82" fmla="*/ 784225 w 808704"/>
                <a:gd name="connsiteY82" fmla="*/ 390525 h 780573"/>
                <a:gd name="connsiteX83" fmla="*/ 774700 w 808704"/>
                <a:gd name="connsiteY83" fmla="*/ 393700 h 780573"/>
                <a:gd name="connsiteX84" fmla="*/ 746125 w 808704"/>
                <a:gd name="connsiteY84" fmla="*/ 409575 h 780573"/>
                <a:gd name="connsiteX85" fmla="*/ 720725 w 808704"/>
                <a:gd name="connsiteY85" fmla="*/ 438150 h 780573"/>
                <a:gd name="connsiteX86" fmla="*/ 701675 w 808704"/>
                <a:gd name="connsiteY86" fmla="*/ 454025 h 780573"/>
                <a:gd name="connsiteX87" fmla="*/ 688975 w 808704"/>
                <a:gd name="connsiteY87" fmla="*/ 473075 h 780573"/>
                <a:gd name="connsiteX88" fmla="*/ 685800 w 808704"/>
                <a:gd name="connsiteY88" fmla="*/ 485775 h 780573"/>
                <a:gd name="connsiteX89" fmla="*/ 682625 w 808704"/>
                <a:gd name="connsiteY89" fmla="*/ 517525 h 780573"/>
                <a:gd name="connsiteX90" fmla="*/ 666750 w 808704"/>
                <a:gd name="connsiteY90" fmla="*/ 533400 h 780573"/>
                <a:gd name="connsiteX91" fmla="*/ 660400 w 808704"/>
                <a:gd name="connsiteY91" fmla="*/ 542925 h 780573"/>
                <a:gd name="connsiteX92" fmla="*/ 650875 w 808704"/>
                <a:gd name="connsiteY92" fmla="*/ 552450 h 780573"/>
                <a:gd name="connsiteX93" fmla="*/ 647700 w 808704"/>
                <a:gd name="connsiteY93" fmla="*/ 561975 h 780573"/>
                <a:gd name="connsiteX94" fmla="*/ 641350 w 808704"/>
                <a:gd name="connsiteY94" fmla="*/ 571500 h 780573"/>
                <a:gd name="connsiteX95" fmla="*/ 635000 w 808704"/>
                <a:gd name="connsiteY95" fmla="*/ 596900 h 780573"/>
                <a:gd name="connsiteX96" fmla="*/ 638175 w 808704"/>
                <a:gd name="connsiteY96" fmla="*/ 609600 h 780573"/>
                <a:gd name="connsiteX97" fmla="*/ 654050 w 808704"/>
                <a:gd name="connsiteY97" fmla="*/ 612775 h 780573"/>
                <a:gd name="connsiteX98" fmla="*/ 663575 w 808704"/>
                <a:gd name="connsiteY98" fmla="*/ 615950 h 780573"/>
                <a:gd name="connsiteX99" fmla="*/ 695325 w 808704"/>
                <a:gd name="connsiteY99" fmla="*/ 631825 h 780573"/>
                <a:gd name="connsiteX100" fmla="*/ 714375 w 808704"/>
                <a:gd name="connsiteY100" fmla="*/ 644525 h 780573"/>
                <a:gd name="connsiteX101" fmla="*/ 720725 w 808704"/>
                <a:gd name="connsiteY101" fmla="*/ 663575 h 780573"/>
                <a:gd name="connsiteX102" fmla="*/ 717550 w 808704"/>
                <a:gd name="connsiteY102" fmla="*/ 676275 h 780573"/>
                <a:gd name="connsiteX103" fmla="*/ 708025 w 808704"/>
                <a:gd name="connsiteY103" fmla="*/ 685800 h 780573"/>
                <a:gd name="connsiteX104" fmla="*/ 695325 w 808704"/>
                <a:gd name="connsiteY104" fmla="*/ 688975 h 780573"/>
                <a:gd name="connsiteX105" fmla="*/ 685800 w 808704"/>
                <a:gd name="connsiteY105" fmla="*/ 692150 h 780573"/>
                <a:gd name="connsiteX106" fmla="*/ 666750 w 808704"/>
                <a:gd name="connsiteY106" fmla="*/ 704850 h 780573"/>
                <a:gd name="connsiteX107" fmla="*/ 660400 w 808704"/>
                <a:gd name="connsiteY107" fmla="*/ 714375 h 780573"/>
                <a:gd name="connsiteX108" fmla="*/ 647700 w 808704"/>
                <a:gd name="connsiteY108" fmla="*/ 717550 h 780573"/>
                <a:gd name="connsiteX109" fmla="*/ 612775 w 808704"/>
                <a:gd name="connsiteY109" fmla="*/ 723900 h 780573"/>
                <a:gd name="connsiteX110" fmla="*/ 590550 w 808704"/>
                <a:gd name="connsiteY110" fmla="*/ 730250 h 780573"/>
                <a:gd name="connsiteX111" fmla="*/ 581025 w 808704"/>
                <a:gd name="connsiteY111" fmla="*/ 749300 h 780573"/>
                <a:gd name="connsiteX112" fmla="*/ 584200 w 808704"/>
                <a:gd name="connsiteY112" fmla="*/ 758825 h 780573"/>
                <a:gd name="connsiteX113" fmla="*/ 581025 w 808704"/>
                <a:gd name="connsiteY113" fmla="*/ 777875 h 780573"/>
                <a:gd name="connsiteX114" fmla="*/ 574675 w 808704"/>
                <a:gd name="connsiteY114" fmla="*/ 768350 h 780573"/>
                <a:gd name="connsiteX115" fmla="*/ 552450 w 808704"/>
                <a:gd name="connsiteY115" fmla="*/ 762000 h 780573"/>
                <a:gd name="connsiteX116" fmla="*/ 536575 w 808704"/>
                <a:gd name="connsiteY116" fmla="*/ 765175 h 780573"/>
                <a:gd name="connsiteX117" fmla="*/ 517525 w 808704"/>
                <a:gd name="connsiteY117" fmla="*/ 771525 h 780573"/>
                <a:gd name="connsiteX118" fmla="*/ 520700 w 808704"/>
                <a:gd name="connsiteY118" fmla="*/ 742950 h 780573"/>
                <a:gd name="connsiteX119" fmla="*/ 523875 w 808704"/>
                <a:gd name="connsiteY119" fmla="*/ 733425 h 780573"/>
                <a:gd name="connsiteX120" fmla="*/ 498475 w 808704"/>
                <a:gd name="connsiteY120" fmla="*/ 711200 h 780573"/>
                <a:gd name="connsiteX121" fmla="*/ 488950 w 808704"/>
                <a:gd name="connsiteY121" fmla="*/ 704850 h 780573"/>
                <a:gd name="connsiteX122" fmla="*/ 479425 w 808704"/>
                <a:gd name="connsiteY122" fmla="*/ 698500 h 780573"/>
                <a:gd name="connsiteX123" fmla="*/ 450850 w 808704"/>
                <a:gd name="connsiteY123" fmla="*/ 685800 h 780573"/>
                <a:gd name="connsiteX124" fmla="*/ 431800 w 808704"/>
                <a:gd name="connsiteY124" fmla="*/ 666750 h 780573"/>
                <a:gd name="connsiteX125" fmla="*/ 425450 w 808704"/>
                <a:gd name="connsiteY125" fmla="*/ 657225 h 780573"/>
                <a:gd name="connsiteX126" fmla="*/ 415925 w 808704"/>
                <a:gd name="connsiteY126" fmla="*/ 650875 h 780573"/>
                <a:gd name="connsiteX127" fmla="*/ 409575 w 808704"/>
                <a:gd name="connsiteY127" fmla="*/ 641350 h 780573"/>
                <a:gd name="connsiteX128" fmla="*/ 396875 w 808704"/>
                <a:gd name="connsiteY128" fmla="*/ 635000 h 780573"/>
                <a:gd name="connsiteX129" fmla="*/ 387350 w 808704"/>
                <a:gd name="connsiteY129" fmla="*/ 628650 h 780573"/>
                <a:gd name="connsiteX130" fmla="*/ 384175 w 808704"/>
                <a:gd name="connsiteY130" fmla="*/ 619125 h 780573"/>
                <a:gd name="connsiteX131" fmla="*/ 346075 w 808704"/>
                <a:gd name="connsiteY131" fmla="*/ 587375 h 780573"/>
                <a:gd name="connsiteX132" fmla="*/ 327025 w 808704"/>
                <a:gd name="connsiteY132" fmla="*/ 581025 h 780573"/>
                <a:gd name="connsiteX133" fmla="*/ 301625 w 808704"/>
                <a:gd name="connsiteY133" fmla="*/ 571500 h 780573"/>
                <a:gd name="connsiteX134" fmla="*/ 215900 w 808704"/>
                <a:gd name="connsiteY134" fmla="*/ 574675 h 780573"/>
                <a:gd name="connsiteX135" fmla="*/ 196850 w 808704"/>
                <a:gd name="connsiteY135" fmla="*/ 584200 h 780573"/>
                <a:gd name="connsiteX136" fmla="*/ 187325 w 808704"/>
                <a:gd name="connsiteY136" fmla="*/ 587375 h 780573"/>
                <a:gd name="connsiteX137" fmla="*/ 69850 w 808704"/>
                <a:gd name="connsiteY137" fmla="*/ 584200 h 780573"/>
                <a:gd name="connsiteX138" fmla="*/ 47625 w 808704"/>
                <a:gd name="connsiteY138" fmla="*/ 577850 h 780573"/>
                <a:gd name="connsiteX139" fmla="*/ 28575 w 808704"/>
                <a:gd name="connsiteY139" fmla="*/ 574675 h 780573"/>
                <a:gd name="connsiteX140" fmla="*/ 6350 w 808704"/>
                <a:gd name="connsiteY140" fmla="*/ 568325 h 780573"/>
                <a:gd name="connsiteX141" fmla="*/ 15875 w 808704"/>
                <a:gd name="connsiteY141" fmla="*/ 565150 h 780573"/>
                <a:gd name="connsiteX0" fmla="*/ 15875 w 808704"/>
                <a:gd name="connsiteY0" fmla="*/ 565150 h 780573"/>
                <a:gd name="connsiteX1" fmla="*/ 9525 w 808704"/>
                <a:gd name="connsiteY1" fmla="*/ 555625 h 780573"/>
                <a:gd name="connsiteX2" fmla="*/ 6350 w 808704"/>
                <a:gd name="connsiteY2" fmla="*/ 542925 h 780573"/>
                <a:gd name="connsiteX3" fmla="*/ 0 w 808704"/>
                <a:gd name="connsiteY3" fmla="*/ 530225 h 780573"/>
                <a:gd name="connsiteX4" fmla="*/ 3175 w 808704"/>
                <a:gd name="connsiteY4" fmla="*/ 450850 h 780573"/>
                <a:gd name="connsiteX5" fmla="*/ 9525 w 808704"/>
                <a:gd name="connsiteY5" fmla="*/ 422275 h 780573"/>
                <a:gd name="connsiteX6" fmla="*/ 31750 w 808704"/>
                <a:gd name="connsiteY6" fmla="*/ 409575 h 780573"/>
                <a:gd name="connsiteX7" fmla="*/ 47625 w 808704"/>
                <a:gd name="connsiteY7" fmla="*/ 393700 h 780573"/>
                <a:gd name="connsiteX8" fmla="*/ 57150 w 808704"/>
                <a:gd name="connsiteY8" fmla="*/ 374650 h 780573"/>
                <a:gd name="connsiteX9" fmla="*/ 41275 w 808704"/>
                <a:gd name="connsiteY9" fmla="*/ 358775 h 780573"/>
                <a:gd name="connsiteX10" fmla="*/ 25400 w 808704"/>
                <a:gd name="connsiteY10" fmla="*/ 342900 h 780573"/>
                <a:gd name="connsiteX11" fmla="*/ 22225 w 808704"/>
                <a:gd name="connsiteY11" fmla="*/ 241300 h 780573"/>
                <a:gd name="connsiteX12" fmla="*/ 25400 w 808704"/>
                <a:gd name="connsiteY12" fmla="*/ 203200 h 780573"/>
                <a:gd name="connsiteX13" fmla="*/ 34925 w 808704"/>
                <a:gd name="connsiteY13" fmla="*/ 193675 h 780573"/>
                <a:gd name="connsiteX14" fmla="*/ 41275 w 808704"/>
                <a:gd name="connsiteY14" fmla="*/ 184150 h 780573"/>
                <a:gd name="connsiteX15" fmla="*/ 79375 w 808704"/>
                <a:gd name="connsiteY15" fmla="*/ 187325 h 780573"/>
                <a:gd name="connsiteX16" fmla="*/ 88900 w 808704"/>
                <a:gd name="connsiteY16" fmla="*/ 184150 h 780573"/>
                <a:gd name="connsiteX17" fmla="*/ 142875 w 808704"/>
                <a:gd name="connsiteY17" fmla="*/ 180975 h 780573"/>
                <a:gd name="connsiteX18" fmla="*/ 155575 w 808704"/>
                <a:gd name="connsiteY18" fmla="*/ 161925 h 780573"/>
                <a:gd name="connsiteX19" fmla="*/ 161925 w 808704"/>
                <a:gd name="connsiteY19" fmla="*/ 152400 h 780573"/>
                <a:gd name="connsiteX20" fmla="*/ 168275 w 808704"/>
                <a:gd name="connsiteY20" fmla="*/ 133350 h 780573"/>
                <a:gd name="connsiteX21" fmla="*/ 177800 w 808704"/>
                <a:gd name="connsiteY21" fmla="*/ 130175 h 780573"/>
                <a:gd name="connsiteX22" fmla="*/ 250825 w 808704"/>
                <a:gd name="connsiteY22" fmla="*/ 136525 h 780573"/>
                <a:gd name="connsiteX23" fmla="*/ 269875 w 808704"/>
                <a:gd name="connsiteY23" fmla="*/ 146050 h 780573"/>
                <a:gd name="connsiteX24" fmla="*/ 311150 w 808704"/>
                <a:gd name="connsiteY24" fmla="*/ 155575 h 780573"/>
                <a:gd name="connsiteX25" fmla="*/ 317500 w 808704"/>
                <a:gd name="connsiteY25" fmla="*/ 180975 h 780573"/>
                <a:gd name="connsiteX26" fmla="*/ 320675 w 808704"/>
                <a:gd name="connsiteY26" fmla="*/ 190500 h 780573"/>
                <a:gd name="connsiteX27" fmla="*/ 330200 w 808704"/>
                <a:gd name="connsiteY27" fmla="*/ 193675 h 780573"/>
                <a:gd name="connsiteX28" fmla="*/ 368300 w 808704"/>
                <a:gd name="connsiteY28" fmla="*/ 196850 h 780573"/>
                <a:gd name="connsiteX29" fmla="*/ 390525 w 808704"/>
                <a:gd name="connsiteY29" fmla="*/ 206375 h 780573"/>
                <a:gd name="connsiteX30" fmla="*/ 400050 w 808704"/>
                <a:gd name="connsiteY30" fmla="*/ 212725 h 780573"/>
                <a:gd name="connsiteX31" fmla="*/ 409575 w 808704"/>
                <a:gd name="connsiteY31" fmla="*/ 215900 h 780573"/>
                <a:gd name="connsiteX32" fmla="*/ 425450 w 808704"/>
                <a:gd name="connsiteY32" fmla="*/ 228600 h 780573"/>
                <a:gd name="connsiteX33" fmla="*/ 431800 w 808704"/>
                <a:gd name="connsiteY33" fmla="*/ 238125 h 780573"/>
                <a:gd name="connsiteX34" fmla="*/ 441325 w 808704"/>
                <a:gd name="connsiteY34" fmla="*/ 241300 h 780573"/>
                <a:gd name="connsiteX35" fmla="*/ 454025 w 808704"/>
                <a:gd name="connsiteY35" fmla="*/ 247650 h 780573"/>
                <a:gd name="connsiteX36" fmla="*/ 476250 w 808704"/>
                <a:gd name="connsiteY36" fmla="*/ 234950 h 780573"/>
                <a:gd name="connsiteX37" fmla="*/ 466725 w 808704"/>
                <a:gd name="connsiteY37" fmla="*/ 228600 h 780573"/>
                <a:gd name="connsiteX38" fmla="*/ 444500 w 808704"/>
                <a:gd name="connsiteY38" fmla="*/ 203200 h 780573"/>
                <a:gd name="connsiteX39" fmla="*/ 428625 w 808704"/>
                <a:gd name="connsiteY39" fmla="*/ 184150 h 780573"/>
                <a:gd name="connsiteX40" fmla="*/ 409575 w 808704"/>
                <a:gd name="connsiteY40" fmla="*/ 161925 h 780573"/>
                <a:gd name="connsiteX41" fmla="*/ 419100 w 808704"/>
                <a:gd name="connsiteY41" fmla="*/ 158750 h 780573"/>
                <a:gd name="connsiteX42" fmla="*/ 492125 w 808704"/>
                <a:gd name="connsiteY42" fmla="*/ 152400 h 780573"/>
                <a:gd name="connsiteX43" fmla="*/ 508000 w 808704"/>
                <a:gd name="connsiteY43" fmla="*/ 133350 h 780573"/>
                <a:gd name="connsiteX44" fmla="*/ 504825 w 808704"/>
                <a:gd name="connsiteY44" fmla="*/ 123825 h 780573"/>
                <a:gd name="connsiteX45" fmla="*/ 495300 w 808704"/>
                <a:gd name="connsiteY45" fmla="*/ 117475 h 780573"/>
                <a:gd name="connsiteX46" fmla="*/ 492125 w 808704"/>
                <a:gd name="connsiteY46" fmla="*/ 107950 h 780573"/>
                <a:gd name="connsiteX47" fmla="*/ 495300 w 808704"/>
                <a:gd name="connsiteY47" fmla="*/ 95250 h 780573"/>
                <a:gd name="connsiteX48" fmla="*/ 498475 w 808704"/>
                <a:gd name="connsiteY48" fmla="*/ 79375 h 780573"/>
                <a:gd name="connsiteX49" fmla="*/ 501650 w 808704"/>
                <a:gd name="connsiteY49" fmla="*/ 69850 h 780573"/>
                <a:gd name="connsiteX50" fmla="*/ 511175 w 808704"/>
                <a:gd name="connsiteY50" fmla="*/ 63500 h 780573"/>
                <a:gd name="connsiteX51" fmla="*/ 536575 w 808704"/>
                <a:gd name="connsiteY51" fmla="*/ 34925 h 780573"/>
                <a:gd name="connsiteX52" fmla="*/ 555625 w 808704"/>
                <a:gd name="connsiteY52" fmla="*/ 22225 h 780573"/>
                <a:gd name="connsiteX53" fmla="*/ 565150 w 808704"/>
                <a:gd name="connsiteY53" fmla="*/ 15875 h 780573"/>
                <a:gd name="connsiteX54" fmla="*/ 593725 w 808704"/>
                <a:gd name="connsiteY54" fmla="*/ 6350 h 780573"/>
                <a:gd name="connsiteX55" fmla="*/ 603250 w 808704"/>
                <a:gd name="connsiteY55" fmla="*/ 3175 h 780573"/>
                <a:gd name="connsiteX56" fmla="*/ 619125 w 808704"/>
                <a:gd name="connsiteY56" fmla="*/ 0 h 780573"/>
                <a:gd name="connsiteX57" fmla="*/ 628650 w 808704"/>
                <a:gd name="connsiteY57" fmla="*/ 3175 h 780573"/>
                <a:gd name="connsiteX58" fmla="*/ 676275 w 808704"/>
                <a:gd name="connsiteY58" fmla="*/ 9525 h 780573"/>
                <a:gd name="connsiteX59" fmla="*/ 695325 w 808704"/>
                <a:gd name="connsiteY59" fmla="*/ 15875 h 780573"/>
                <a:gd name="connsiteX60" fmla="*/ 704850 w 808704"/>
                <a:gd name="connsiteY60" fmla="*/ 19050 h 780573"/>
                <a:gd name="connsiteX61" fmla="*/ 730250 w 808704"/>
                <a:gd name="connsiteY61" fmla="*/ 15875 h 780573"/>
                <a:gd name="connsiteX62" fmla="*/ 739775 w 808704"/>
                <a:gd name="connsiteY62" fmla="*/ 6350 h 780573"/>
                <a:gd name="connsiteX63" fmla="*/ 749300 w 808704"/>
                <a:gd name="connsiteY63" fmla="*/ 0 h 780573"/>
                <a:gd name="connsiteX64" fmla="*/ 777875 w 808704"/>
                <a:gd name="connsiteY64" fmla="*/ 15875 h 780573"/>
                <a:gd name="connsiteX65" fmla="*/ 787400 w 808704"/>
                <a:gd name="connsiteY65" fmla="*/ 19050 h 780573"/>
                <a:gd name="connsiteX66" fmla="*/ 793750 w 808704"/>
                <a:gd name="connsiteY66" fmla="*/ 28575 h 780573"/>
                <a:gd name="connsiteX67" fmla="*/ 784225 w 808704"/>
                <a:gd name="connsiteY67" fmla="*/ 66675 h 780573"/>
                <a:gd name="connsiteX68" fmla="*/ 781050 w 808704"/>
                <a:gd name="connsiteY68" fmla="*/ 76200 h 780573"/>
                <a:gd name="connsiteX69" fmla="*/ 771525 w 808704"/>
                <a:gd name="connsiteY69" fmla="*/ 85725 h 780573"/>
                <a:gd name="connsiteX70" fmla="*/ 765175 w 808704"/>
                <a:gd name="connsiteY70" fmla="*/ 95250 h 780573"/>
                <a:gd name="connsiteX71" fmla="*/ 765175 w 808704"/>
                <a:gd name="connsiteY71" fmla="*/ 130175 h 780573"/>
                <a:gd name="connsiteX72" fmla="*/ 774700 w 808704"/>
                <a:gd name="connsiteY72" fmla="*/ 136525 h 780573"/>
                <a:gd name="connsiteX73" fmla="*/ 787400 w 808704"/>
                <a:gd name="connsiteY73" fmla="*/ 152400 h 780573"/>
                <a:gd name="connsiteX74" fmla="*/ 790575 w 808704"/>
                <a:gd name="connsiteY74" fmla="*/ 161925 h 780573"/>
                <a:gd name="connsiteX75" fmla="*/ 806450 w 808704"/>
                <a:gd name="connsiteY75" fmla="*/ 177800 h 780573"/>
                <a:gd name="connsiteX76" fmla="*/ 803275 w 808704"/>
                <a:gd name="connsiteY76" fmla="*/ 238125 h 780573"/>
                <a:gd name="connsiteX77" fmla="*/ 784225 w 808704"/>
                <a:gd name="connsiteY77" fmla="*/ 257175 h 780573"/>
                <a:gd name="connsiteX78" fmla="*/ 781050 w 808704"/>
                <a:gd name="connsiteY78" fmla="*/ 269875 h 780573"/>
                <a:gd name="connsiteX79" fmla="*/ 777875 w 808704"/>
                <a:gd name="connsiteY79" fmla="*/ 279400 h 780573"/>
                <a:gd name="connsiteX80" fmla="*/ 781050 w 808704"/>
                <a:gd name="connsiteY80" fmla="*/ 342900 h 780573"/>
                <a:gd name="connsiteX81" fmla="*/ 787400 w 808704"/>
                <a:gd name="connsiteY81" fmla="*/ 361950 h 780573"/>
                <a:gd name="connsiteX82" fmla="*/ 784225 w 808704"/>
                <a:gd name="connsiteY82" fmla="*/ 390525 h 780573"/>
                <a:gd name="connsiteX83" fmla="*/ 774700 w 808704"/>
                <a:gd name="connsiteY83" fmla="*/ 393700 h 780573"/>
                <a:gd name="connsiteX84" fmla="*/ 746125 w 808704"/>
                <a:gd name="connsiteY84" fmla="*/ 409575 h 780573"/>
                <a:gd name="connsiteX85" fmla="*/ 720725 w 808704"/>
                <a:gd name="connsiteY85" fmla="*/ 438150 h 780573"/>
                <a:gd name="connsiteX86" fmla="*/ 701675 w 808704"/>
                <a:gd name="connsiteY86" fmla="*/ 454025 h 780573"/>
                <a:gd name="connsiteX87" fmla="*/ 688975 w 808704"/>
                <a:gd name="connsiteY87" fmla="*/ 473075 h 780573"/>
                <a:gd name="connsiteX88" fmla="*/ 685800 w 808704"/>
                <a:gd name="connsiteY88" fmla="*/ 485775 h 780573"/>
                <a:gd name="connsiteX89" fmla="*/ 682625 w 808704"/>
                <a:gd name="connsiteY89" fmla="*/ 517525 h 780573"/>
                <a:gd name="connsiteX90" fmla="*/ 666750 w 808704"/>
                <a:gd name="connsiteY90" fmla="*/ 533400 h 780573"/>
                <a:gd name="connsiteX91" fmla="*/ 660400 w 808704"/>
                <a:gd name="connsiteY91" fmla="*/ 542925 h 780573"/>
                <a:gd name="connsiteX92" fmla="*/ 650875 w 808704"/>
                <a:gd name="connsiteY92" fmla="*/ 552450 h 780573"/>
                <a:gd name="connsiteX93" fmla="*/ 647700 w 808704"/>
                <a:gd name="connsiteY93" fmla="*/ 561975 h 780573"/>
                <a:gd name="connsiteX94" fmla="*/ 641350 w 808704"/>
                <a:gd name="connsiteY94" fmla="*/ 571500 h 780573"/>
                <a:gd name="connsiteX95" fmla="*/ 635000 w 808704"/>
                <a:gd name="connsiteY95" fmla="*/ 596900 h 780573"/>
                <a:gd name="connsiteX96" fmla="*/ 638175 w 808704"/>
                <a:gd name="connsiteY96" fmla="*/ 609600 h 780573"/>
                <a:gd name="connsiteX97" fmla="*/ 654050 w 808704"/>
                <a:gd name="connsiteY97" fmla="*/ 612775 h 780573"/>
                <a:gd name="connsiteX98" fmla="*/ 663575 w 808704"/>
                <a:gd name="connsiteY98" fmla="*/ 615950 h 780573"/>
                <a:gd name="connsiteX99" fmla="*/ 695325 w 808704"/>
                <a:gd name="connsiteY99" fmla="*/ 631825 h 780573"/>
                <a:gd name="connsiteX100" fmla="*/ 714375 w 808704"/>
                <a:gd name="connsiteY100" fmla="*/ 644525 h 780573"/>
                <a:gd name="connsiteX101" fmla="*/ 720725 w 808704"/>
                <a:gd name="connsiteY101" fmla="*/ 663575 h 780573"/>
                <a:gd name="connsiteX102" fmla="*/ 717550 w 808704"/>
                <a:gd name="connsiteY102" fmla="*/ 676275 h 780573"/>
                <a:gd name="connsiteX103" fmla="*/ 708025 w 808704"/>
                <a:gd name="connsiteY103" fmla="*/ 685800 h 780573"/>
                <a:gd name="connsiteX104" fmla="*/ 695325 w 808704"/>
                <a:gd name="connsiteY104" fmla="*/ 688975 h 780573"/>
                <a:gd name="connsiteX105" fmla="*/ 685800 w 808704"/>
                <a:gd name="connsiteY105" fmla="*/ 692150 h 780573"/>
                <a:gd name="connsiteX106" fmla="*/ 666750 w 808704"/>
                <a:gd name="connsiteY106" fmla="*/ 704850 h 780573"/>
                <a:gd name="connsiteX107" fmla="*/ 660400 w 808704"/>
                <a:gd name="connsiteY107" fmla="*/ 714375 h 780573"/>
                <a:gd name="connsiteX108" fmla="*/ 647700 w 808704"/>
                <a:gd name="connsiteY108" fmla="*/ 717550 h 780573"/>
                <a:gd name="connsiteX109" fmla="*/ 612775 w 808704"/>
                <a:gd name="connsiteY109" fmla="*/ 723900 h 780573"/>
                <a:gd name="connsiteX110" fmla="*/ 590550 w 808704"/>
                <a:gd name="connsiteY110" fmla="*/ 730250 h 780573"/>
                <a:gd name="connsiteX111" fmla="*/ 581025 w 808704"/>
                <a:gd name="connsiteY111" fmla="*/ 749300 h 780573"/>
                <a:gd name="connsiteX112" fmla="*/ 584200 w 808704"/>
                <a:gd name="connsiteY112" fmla="*/ 758825 h 780573"/>
                <a:gd name="connsiteX113" fmla="*/ 581025 w 808704"/>
                <a:gd name="connsiteY113" fmla="*/ 777875 h 780573"/>
                <a:gd name="connsiteX114" fmla="*/ 574675 w 808704"/>
                <a:gd name="connsiteY114" fmla="*/ 768350 h 780573"/>
                <a:gd name="connsiteX115" fmla="*/ 552450 w 808704"/>
                <a:gd name="connsiteY115" fmla="*/ 762000 h 780573"/>
                <a:gd name="connsiteX116" fmla="*/ 536575 w 808704"/>
                <a:gd name="connsiteY116" fmla="*/ 765175 h 780573"/>
                <a:gd name="connsiteX117" fmla="*/ 517525 w 808704"/>
                <a:gd name="connsiteY117" fmla="*/ 771525 h 780573"/>
                <a:gd name="connsiteX118" fmla="*/ 520700 w 808704"/>
                <a:gd name="connsiteY118" fmla="*/ 742950 h 780573"/>
                <a:gd name="connsiteX119" fmla="*/ 523875 w 808704"/>
                <a:gd name="connsiteY119" fmla="*/ 733425 h 780573"/>
                <a:gd name="connsiteX120" fmla="*/ 498475 w 808704"/>
                <a:gd name="connsiteY120" fmla="*/ 711200 h 780573"/>
                <a:gd name="connsiteX121" fmla="*/ 488950 w 808704"/>
                <a:gd name="connsiteY121" fmla="*/ 704850 h 780573"/>
                <a:gd name="connsiteX122" fmla="*/ 479425 w 808704"/>
                <a:gd name="connsiteY122" fmla="*/ 698500 h 780573"/>
                <a:gd name="connsiteX123" fmla="*/ 450850 w 808704"/>
                <a:gd name="connsiteY123" fmla="*/ 685800 h 780573"/>
                <a:gd name="connsiteX124" fmla="*/ 431800 w 808704"/>
                <a:gd name="connsiteY124" fmla="*/ 666750 h 780573"/>
                <a:gd name="connsiteX125" fmla="*/ 425450 w 808704"/>
                <a:gd name="connsiteY125" fmla="*/ 657225 h 780573"/>
                <a:gd name="connsiteX126" fmla="*/ 415925 w 808704"/>
                <a:gd name="connsiteY126" fmla="*/ 650875 h 780573"/>
                <a:gd name="connsiteX127" fmla="*/ 409575 w 808704"/>
                <a:gd name="connsiteY127" fmla="*/ 641350 h 780573"/>
                <a:gd name="connsiteX128" fmla="*/ 396875 w 808704"/>
                <a:gd name="connsiteY128" fmla="*/ 635000 h 780573"/>
                <a:gd name="connsiteX129" fmla="*/ 387350 w 808704"/>
                <a:gd name="connsiteY129" fmla="*/ 628650 h 780573"/>
                <a:gd name="connsiteX130" fmla="*/ 384175 w 808704"/>
                <a:gd name="connsiteY130" fmla="*/ 619125 h 780573"/>
                <a:gd name="connsiteX131" fmla="*/ 346075 w 808704"/>
                <a:gd name="connsiteY131" fmla="*/ 587375 h 780573"/>
                <a:gd name="connsiteX132" fmla="*/ 327025 w 808704"/>
                <a:gd name="connsiteY132" fmla="*/ 581025 h 780573"/>
                <a:gd name="connsiteX133" fmla="*/ 301625 w 808704"/>
                <a:gd name="connsiteY133" fmla="*/ 571500 h 780573"/>
                <a:gd name="connsiteX134" fmla="*/ 215900 w 808704"/>
                <a:gd name="connsiteY134" fmla="*/ 574675 h 780573"/>
                <a:gd name="connsiteX135" fmla="*/ 196850 w 808704"/>
                <a:gd name="connsiteY135" fmla="*/ 584200 h 780573"/>
                <a:gd name="connsiteX136" fmla="*/ 187325 w 808704"/>
                <a:gd name="connsiteY136" fmla="*/ 587375 h 780573"/>
                <a:gd name="connsiteX137" fmla="*/ 69850 w 808704"/>
                <a:gd name="connsiteY137" fmla="*/ 584200 h 780573"/>
                <a:gd name="connsiteX138" fmla="*/ 47625 w 808704"/>
                <a:gd name="connsiteY138" fmla="*/ 577850 h 780573"/>
                <a:gd name="connsiteX139" fmla="*/ 28575 w 808704"/>
                <a:gd name="connsiteY139" fmla="*/ 574675 h 780573"/>
                <a:gd name="connsiteX140" fmla="*/ 6350 w 808704"/>
                <a:gd name="connsiteY140" fmla="*/ 568325 h 780573"/>
                <a:gd name="connsiteX141" fmla="*/ 15875 w 808704"/>
                <a:gd name="connsiteY141" fmla="*/ 565150 h 780573"/>
                <a:gd name="connsiteX0" fmla="*/ 15875 w 808704"/>
                <a:gd name="connsiteY0" fmla="*/ 565150 h 780573"/>
                <a:gd name="connsiteX1" fmla="*/ 9525 w 808704"/>
                <a:gd name="connsiteY1" fmla="*/ 555625 h 780573"/>
                <a:gd name="connsiteX2" fmla="*/ 6350 w 808704"/>
                <a:gd name="connsiteY2" fmla="*/ 542925 h 780573"/>
                <a:gd name="connsiteX3" fmla="*/ 0 w 808704"/>
                <a:gd name="connsiteY3" fmla="*/ 530225 h 780573"/>
                <a:gd name="connsiteX4" fmla="*/ 3175 w 808704"/>
                <a:gd name="connsiteY4" fmla="*/ 450850 h 780573"/>
                <a:gd name="connsiteX5" fmla="*/ 9525 w 808704"/>
                <a:gd name="connsiteY5" fmla="*/ 422275 h 780573"/>
                <a:gd name="connsiteX6" fmla="*/ 31750 w 808704"/>
                <a:gd name="connsiteY6" fmla="*/ 409575 h 780573"/>
                <a:gd name="connsiteX7" fmla="*/ 47625 w 808704"/>
                <a:gd name="connsiteY7" fmla="*/ 393700 h 780573"/>
                <a:gd name="connsiteX8" fmla="*/ 57150 w 808704"/>
                <a:gd name="connsiteY8" fmla="*/ 374650 h 780573"/>
                <a:gd name="connsiteX9" fmla="*/ 41275 w 808704"/>
                <a:gd name="connsiteY9" fmla="*/ 358775 h 780573"/>
                <a:gd name="connsiteX10" fmla="*/ 25400 w 808704"/>
                <a:gd name="connsiteY10" fmla="*/ 342900 h 780573"/>
                <a:gd name="connsiteX11" fmla="*/ 22225 w 808704"/>
                <a:gd name="connsiteY11" fmla="*/ 241300 h 780573"/>
                <a:gd name="connsiteX12" fmla="*/ 25400 w 808704"/>
                <a:gd name="connsiteY12" fmla="*/ 203200 h 780573"/>
                <a:gd name="connsiteX13" fmla="*/ 34925 w 808704"/>
                <a:gd name="connsiteY13" fmla="*/ 193675 h 780573"/>
                <a:gd name="connsiteX14" fmla="*/ 41275 w 808704"/>
                <a:gd name="connsiteY14" fmla="*/ 184150 h 780573"/>
                <a:gd name="connsiteX15" fmla="*/ 79375 w 808704"/>
                <a:gd name="connsiteY15" fmla="*/ 187325 h 780573"/>
                <a:gd name="connsiteX16" fmla="*/ 88900 w 808704"/>
                <a:gd name="connsiteY16" fmla="*/ 184150 h 780573"/>
                <a:gd name="connsiteX17" fmla="*/ 142875 w 808704"/>
                <a:gd name="connsiteY17" fmla="*/ 180975 h 780573"/>
                <a:gd name="connsiteX18" fmla="*/ 155575 w 808704"/>
                <a:gd name="connsiteY18" fmla="*/ 161925 h 780573"/>
                <a:gd name="connsiteX19" fmla="*/ 161925 w 808704"/>
                <a:gd name="connsiteY19" fmla="*/ 152400 h 780573"/>
                <a:gd name="connsiteX20" fmla="*/ 168275 w 808704"/>
                <a:gd name="connsiteY20" fmla="*/ 133350 h 780573"/>
                <a:gd name="connsiteX21" fmla="*/ 177800 w 808704"/>
                <a:gd name="connsiteY21" fmla="*/ 130175 h 780573"/>
                <a:gd name="connsiteX22" fmla="*/ 250825 w 808704"/>
                <a:gd name="connsiteY22" fmla="*/ 136525 h 780573"/>
                <a:gd name="connsiteX23" fmla="*/ 269875 w 808704"/>
                <a:gd name="connsiteY23" fmla="*/ 146050 h 780573"/>
                <a:gd name="connsiteX24" fmla="*/ 311150 w 808704"/>
                <a:gd name="connsiteY24" fmla="*/ 155575 h 780573"/>
                <a:gd name="connsiteX25" fmla="*/ 317500 w 808704"/>
                <a:gd name="connsiteY25" fmla="*/ 180975 h 780573"/>
                <a:gd name="connsiteX26" fmla="*/ 320675 w 808704"/>
                <a:gd name="connsiteY26" fmla="*/ 190500 h 780573"/>
                <a:gd name="connsiteX27" fmla="*/ 330200 w 808704"/>
                <a:gd name="connsiteY27" fmla="*/ 193675 h 780573"/>
                <a:gd name="connsiteX28" fmla="*/ 368300 w 808704"/>
                <a:gd name="connsiteY28" fmla="*/ 196850 h 780573"/>
                <a:gd name="connsiteX29" fmla="*/ 390525 w 808704"/>
                <a:gd name="connsiteY29" fmla="*/ 206375 h 780573"/>
                <a:gd name="connsiteX30" fmla="*/ 400050 w 808704"/>
                <a:gd name="connsiteY30" fmla="*/ 212725 h 780573"/>
                <a:gd name="connsiteX31" fmla="*/ 409575 w 808704"/>
                <a:gd name="connsiteY31" fmla="*/ 215900 h 780573"/>
                <a:gd name="connsiteX32" fmla="*/ 425450 w 808704"/>
                <a:gd name="connsiteY32" fmla="*/ 228600 h 780573"/>
                <a:gd name="connsiteX33" fmla="*/ 431800 w 808704"/>
                <a:gd name="connsiteY33" fmla="*/ 238125 h 780573"/>
                <a:gd name="connsiteX34" fmla="*/ 441325 w 808704"/>
                <a:gd name="connsiteY34" fmla="*/ 241300 h 780573"/>
                <a:gd name="connsiteX35" fmla="*/ 454025 w 808704"/>
                <a:gd name="connsiteY35" fmla="*/ 247650 h 780573"/>
                <a:gd name="connsiteX36" fmla="*/ 476250 w 808704"/>
                <a:gd name="connsiteY36" fmla="*/ 234950 h 780573"/>
                <a:gd name="connsiteX37" fmla="*/ 466725 w 808704"/>
                <a:gd name="connsiteY37" fmla="*/ 228600 h 780573"/>
                <a:gd name="connsiteX38" fmla="*/ 444500 w 808704"/>
                <a:gd name="connsiteY38" fmla="*/ 203200 h 780573"/>
                <a:gd name="connsiteX39" fmla="*/ 428625 w 808704"/>
                <a:gd name="connsiteY39" fmla="*/ 184150 h 780573"/>
                <a:gd name="connsiteX40" fmla="*/ 409575 w 808704"/>
                <a:gd name="connsiteY40" fmla="*/ 161925 h 780573"/>
                <a:gd name="connsiteX41" fmla="*/ 419100 w 808704"/>
                <a:gd name="connsiteY41" fmla="*/ 158750 h 780573"/>
                <a:gd name="connsiteX42" fmla="*/ 492125 w 808704"/>
                <a:gd name="connsiteY42" fmla="*/ 152400 h 780573"/>
                <a:gd name="connsiteX43" fmla="*/ 508000 w 808704"/>
                <a:gd name="connsiteY43" fmla="*/ 133350 h 780573"/>
                <a:gd name="connsiteX44" fmla="*/ 504825 w 808704"/>
                <a:gd name="connsiteY44" fmla="*/ 123825 h 780573"/>
                <a:gd name="connsiteX45" fmla="*/ 495300 w 808704"/>
                <a:gd name="connsiteY45" fmla="*/ 117475 h 780573"/>
                <a:gd name="connsiteX46" fmla="*/ 492125 w 808704"/>
                <a:gd name="connsiteY46" fmla="*/ 107950 h 780573"/>
                <a:gd name="connsiteX47" fmla="*/ 495300 w 808704"/>
                <a:gd name="connsiteY47" fmla="*/ 95250 h 780573"/>
                <a:gd name="connsiteX48" fmla="*/ 498475 w 808704"/>
                <a:gd name="connsiteY48" fmla="*/ 79375 h 780573"/>
                <a:gd name="connsiteX49" fmla="*/ 501650 w 808704"/>
                <a:gd name="connsiteY49" fmla="*/ 69850 h 780573"/>
                <a:gd name="connsiteX50" fmla="*/ 511175 w 808704"/>
                <a:gd name="connsiteY50" fmla="*/ 63500 h 780573"/>
                <a:gd name="connsiteX51" fmla="*/ 536575 w 808704"/>
                <a:gd name="connsiteY51" fmla="*/ 34925 h 780573"/>
                <a:gd name="connsiteX52" fmla="*/ 555625 w 808704"/>
                <a:gd name="connsiteY52" fmla="*/ 22225 h 780573"/>
                <a:gd name="connsiteX53" fmla="*/ 565150 w 808704"/>
                <a:gd name="connsiteY53" fmla="*/ 15875 h 780573"/>
                <a:gd name="connsiteX54" fmla="*/ 593725 w 808704"/>
                <a:gd name="connsiteY54" fmla="*/ 6350 h 780573"/>
                <a:gd name="connsiteX55" fmla="*/ 603250 w 808704"/>
                <a:gd name="connsiteY55" fmla="*/ 3175 h 780573"/>
                <a:gd name="connsiteX56" fmla="*/ 619125 w 808704"/>
                <a:gd name="connsiteY56" fmla="*/ 0 h 780573"/>
                <a:gd name="connsiteX57" fmla="*/ 628650 w 808704"/>
                <a:gd name="connsiteY57" fmla="*/ 3175 h 780573"/>
                <a:gd name="connsiteX58" fmla="*/ 676275 w 808704"/>
                <a:gd name="connsiteY58" fmla="*/ 9525 h 780573"/>
                <a:gd name="connsiteX59" fmla="*/ 695325 w 808704"/>
                <a:gd name="connsiteY59" fmla="*/ 15875 h 780573"/>
                <a:gd name="connsiteX60" fmla="*/ 704850 w 808704"/>
                <a:gd name="connsiteY60" fmla="*/ 19050 h 780573"/>
                <a:gd name="connsiteX61" fmla="*/ 730250 w 808704"/>
                <a:gd name="connsiteY61" fmla="*/ 15875 h 780573"/>
                <a:gd name="connsiteX62" fmla="*/ 739775 w 808704"/>
                <a:gd name="connsiteY62" fmla="*/ 6350 h 780573"/>
                <a:gd name="connsiteX63" fmla="*/ 749300 w 808704"/>
                <a:gd name="connsiteY63" fmla="*/ 0 h 780573"/>
                <a:gd name="connsiteX64" fmla="*/ 777875 w 808704"/>
                <a:gd name="connsiteY64" fmla="*/ 15875 h 780573"/>
                <a:gd name="connsiteX65" fmla="*/ 787400 w 808704"/>
                <a:gd name="connsiteY65" fmla="*/ 19050 h 780573"/>
                <a:gd name="connsiteX66" fmla="*/ 793750 w 808704"/>
                <a:gd name="connsiteY66" fmla="*/ 28575 h 780573"/>
                <a:gd name="connsiteX67" fmla="*/ 784225 w 808704"/>
                <a:gd name="connsiteY67" fmla="*/ 66675 h 780573"/>
                <a:gd name="connsiteX68" fmla="*/ 781050 w 808704"/>
                <a:gd name="connsiteY68" fmla="*/ 76200 h 780573"/>
                <a:gd name="connsiteX69" fmla="*/ 771525 w 808704"/>
                <a:gd name="connsiteY69" fmla="*/ 85725 h 780573"/>
                <a:gd name="connsiteX70" fmla="*/ 765175 w 808704"/>
                <a:gd name="connsiteY70" fmla="*/ 95250 h 780573"/>
                <a:gd name="connsiteX71" fmla="*/ 765175 w 808704"/>
                <a:gd name="connsiteY71" fmla="*/ 130175 h 780573"/>
                <a:gd name="connsiteX72" fmla="*/ 774700 w 808704"/>
                <a:gd name="connsiteY72" fmla="*/ 136525 h 780573"/>
                <a:gd name="connsiteX73" fmla="*/ 787400 w 808704"/>
                <a:gd name="connsiteY73" fmla="*/ 152400 h 780573"/>
                <a:gd name="connsiteX74" fmla="*/ 790575 w 808704"/>
                <a:gd name="connsiteY74" fmla="*/ 161925 h 780573"/>
                <a:gd name="connsiteX75" fmla="*/ 806450 w 808704"/>
                <a:gd name="connsiteY75" fmla="*/ 177800 h 780573"/>
                <a:gd name="connsiteX76" fmla="*/ 803275 w 808704"/>
                <a:gd name="connsiteY76" fmla="*/ 238125 h 780573"/>
                <a:gd name="connsiteX77" fmla="*/ 784225 w 808704"/>
                <a:gd name="connsiteY77" fmla="*/ 257175 h 780573"/>
                <a:gd name="connsiteX78" fmla="*/ 781050 w 808704"/>
                <a:gd name="connsiteY78" fmla="*/ 269875 h 780573"/>
                <a:gd name="connsiteX79" fmla="*/ 777875 w 808704"/>
                <a:gd name="connsiteY79" fmla="*/ 279400 h 780573"/>
                <a:gd name="connsiteX80" fmla="*/ 781050 w 808704"/>
                <a:gd name="connsiteY80" fmla="*/ 342900 h 780573"/>
                <a:gd name="connsiteX81" fmla="*/ 787400 w 808704"/>
                <a:gd name="connsiteY81" fmla="*/ 361950 h 780573"/>
                <a:gd name="connsiteX82" fmla="*/ 784225 w 808704"/>
                <a:gd name="connsiteY82" fmla="*/ 390525 h 780573"/>
                <a:gd name="connsiteX83" fmla="*/ 774700 w 808704"/>
                <a:gd name="connsiteY83" fmla="*/ 393700 h 780573"/>
                <a:gd name="connsiteX84" fmla="*/ 746125 w 808704"/>
                <a:gd name="connsiteY84" fmla="*/ 409575 h 780573"/>
                <a:gd name="connsiteX85" fmla="*/ 720725 w 808704"/>
                <a:gd name="connsiteY85" fmla="*/ 438150 h 780573"/>
                <a:gd name="connsiteX86" fmla="*/ 701675 w 808704"/>
                <a:gd name="connsiteY86" fmla="*/ 454025 h 780573"/>
                <a:gd name="connsiteX87" fmla="*/ 688975 w 808704"/>
                <a:gd name="connsiteY87" fmla="*/ 473075 h 780573"/>
                <a:gd name="connsiteX88" fmla="*/ 685800 w 808704"/>
                <a:gd name="connsiteY88" fmla="*/ 485775 h 780573"/>
                <a:gd name="connsiteX89" fmla="*/ 682625 w 808704"/>
                <a:gd name="connsiteY89" fmla="*/ 517525 h 780573"/>
                <a:gd name="connsiteX90" fmla="*/ 666750 w 808704"/>
                <a:gd name="connsiteY90" fmla="*/ 533400 h 780573"/>
                <a:gd name="connsiteX91" fmla="*/ 660400 w 808704"/>
                <a:gd name="connsiteY91" fmla="*/ 542925 h 780573"/>
                <a:gd name="connsiteX92" fmla="*/ 650875 w 808704"/>
                <a:gd name="connsiteY92" fmla="*/ 552450 h 780573"/>
                <a:gd name="connsiteX93" fmla="*/ 647700 w 808704"/>
                <a:gd name="connsiteY93" fmla="*/ 561975 h 780573"/>
                <a:gd name="connsiteX94" fmla="*/ 641350 w 808704"/>
                <a:gd name="connsiteY94" fmla="*/ 571500 h 780573"/>
                <a:gd name="connsiteX95" fmla="*/ 635000 w 808704"/>
                <a:gd name="connsiteY95" fmla="*/ 596900 h 780573"/>
                <a:gd name="connsiteX96" fmla="*/ 638175 w 808704"/>
                <a:gd name="connsiteY96" fmla="*/ 609600 h 780573"/>
                <a:gd name="connsiteX97" fmla="*/ 654050 w 808704"/>
                <a:gd name="connsiteY97" fmla="*/ 612775 h 780573"/>
                <a:gd name="connsiteX98" fmla="*/ 663575 w 808704"/>
                <a:gd name="connsiteY98" fmla="*/ 615950 h 780573"/>
                <a:gd name="connsiteX99" fmla="*/ 695325 w 808704"/>
                <a:gd name="connsiteY99" fmla="*/ 631825 h 780573"/>
                <a:gd name="connsiteX100" fmla="*/ 714375 w 808704"/>
                <a:gd name="connsiteY100" fmla="*/ 644525 h 780573"/>
                <a:gd name="connsiteX101" fmla="*/ 720725 w 808704"/>
                <a:gd name="connsiteY101" fmla="*/ 663575 h 780573"/>
                <a:gd name="connsiteX102" fmla="*/ 717550 w 808704"/>
                <a:gd name="connsiteY102" fmla="*/ 676275 h 780573"/>
                <a:gd name="connsiteX103" fmla="*/ 708025 w 808704"/>
                <a:gd name="connsiteY103" fmla="*/ 685800 h 780573"/>
                <a:gd name="connsiteX104" fmla="*/ 695325 w 808704"/>
                <a:gd name="connsiteY104" fmla="*/ 688975 h 780573"/>
                <a:gd name="connsiteX105" fmla="*/ 685800 w 808704"/>
                <a:gd name="connsiteY105" fmla="*/ 692150 h 780573"/>
                <a:gd name="connsiteX106" fmla="*/ 666750 w 808704"/>
                <a:gd name="connsiteY106" fmla="*/ 704850 h 780573"/>
                <a:gd name="connsiteX107" fmla="*/ 660400 w 808704"/>
                <a:gd name="connsiteY107" fmla="*/ 714375 h 780573"/>
                <a:gd name="connsiteX108" fmla="*/ 647700 w 808704"/>
                <a:gd name="connsiteY108" fmla="*/ 717550 h 780573"/>
                <a:gd name="connsiteX109" fmla="*/ 612775 w 808704"/>
                <a:gd name="connsiteY109" fmla="*/ 723900 h 780573"/>
                <a:gd name="connsiteX110" fmla="*/ 590550 w 808704"/>
                <a:gd name="connsiteY110" fmla="*/ 730250 h 780573"/>
                <a:gd name="connsiteX111" fmla="*/ 581025 w 808704"/>
                <a:gd name="connsiteY111" fmla="*/ 749300 h 780573"/>
                <a:gd name="connsiteX112" fmla="*/ 584200 w 808704"/>
                <a:gd name="connsiteY112" fmla="*/ 758825 h 780573"/>
                <a:gd name="connsiteX113" fmla="*/ 581025 w 808704"/>
                <a:gd name="connsiteY113" fmla="*/ 777875 h 780573"/>
                <a:gd name="connsiteX114" fmla="*/ 574675 w 808704"/>
                <a:gd name="connsiteY114" fmla="*/ 768350 h 780573"/>
                <a:gd name="connsiteX115" fmla="*/ 552450 w 808704"/>
                <a:gd name="connsiteY115" fmla="*/ 762000 h 780573"/>
                <a:gd name="connsiteX116" fmla="*/ 536575 w 808704"/>
                <a:gd name="connsiteY116" fmla="*/ 765175 h 780573"/>
                <a:gd name="connsiteX117" fmla="*/ 517525 w 808704"/>
                <a:gd name="connsiteY117" fmla="*/ 771525 h 780573"/>
                <a:gd name="connsiteX118" fmla="*/ 520700 w 808704"/>
                <a:gd name="connsiteY118" fmla="*/ 742950 h 780573"/>
                <a:gd name="connsiteX119" fmla="*/ 523875 w 808704"/>
                <a:gd name="connsiteY119" fmla="*/ 733425 h 780573"/>
                <a:gd name="connsiteX120" fmla="*/ 498475 w 808704"/>
                <a:gd name="connsiteY120" fmla="*/ 711200 h 780573"/>
                <a:gd name="connsiteX121" fmla="*/ 488950 w 808704"/>
                <a:gd name="connsiteY121" fmla="*/ 704850 h 780573"/>
                <a:gd name="connsiteX122" fmla="*/ 479425 w 808704"/>
                <a:gd name="connsiteY122" fmla="*/ 698500 h 780573"/>
                <a:gd name="connsiteX123" fmla="*/ 450850 w 808704"/>
                <a:gd name="connsiteY123" fmla="*/ 685800 h 780573"/>
                <a:gd name="connsiteX124" fmla="*/ 431800 w 808704"/>
                <a:gd name="connsiteY124" fmla="*/ 666750 h 780573"/>
                <a:gd name="connsiteX125" fmla="*/ 425450 w 808704"/>
                <a:gd name="connsiteY125" fmla="*/ 657225 h 780573"/>
                <a:gd name="connsiteX126" fmla="*/ 415925 w 808704"/>
                <a:gd name="connsiteY126" fmla="*/ 650875 h 780573"/>
                <a:gd name="connsiteX127" fmla="*/ 409575 w 808704"/>
                <a:gd name="connsiteY127" fmla="*/ 641350 h 780573"/>
                <a:gd name="connsiteX128" fmla="*/ 396875 w 808704"/>
                <a:gd name="connsiteY128" fmla="*/ 635000 h 780573"/>
                <a:gd name="connsiteX129" fmla="*/ 387350 w 808704"/>
                <a:gd name="connsiteY129" fmla="*/ 628650 h 780573"/>
                <a:gd name="connsiteX130" fmla="*/ 384175 w 808704"/>
                <a:gd name="connsiteY130" fmla="*/ 619125 h 780573"/>
                <a:gd name="connsiteX131" fmla="*/ 346075 w 808704"/>
                <a:gd name="connsiteY131" fmla="*/ 587375 h 780573"/>
                <a:gd name="connsiteX132" fmla="*/ 327025 w 808704"/>
                <a:gd name="connsiteY132" fmla="*/ 581025 h 780573"/>
                <a:gd name="connsiteX133" fmla="*/ 301625 w 808704"/>
                <a:gd name="connsiteY133" fmla="*/ 571500 h 780573"/>
                <a:gd name="connsiteX134" fmla="*/ 215900 w 808704"/>
                <a:gd name="connsiteY134" fmla="*/ 574675 h 780573"/>
                <a:gd name="connsiteX135" fmla="*/ 196850 w 808704"/>
                <a:gd name="connsiteY135" fmla="*/ 584200 h 780573"/>
                <a:gd name="connsiteX136" fmla="*/ 187325 w 808704"/>
                <a:gd name="connsiteY136" fmla="*/ 587375 h 780573"/>
                <a:gd name="connsiteX137" fmla="*/ 69850 w 808704"/>
                <a:gd name="connsiteY137" fmla="*/ 584200 h 780573"/>
                <a:gd name="connsiteX138" fmla="*/ 47625 w 808704"/>
                <a:gd name="connsiteY138" fmla="*/ 577850 h 780573"/>
                <a:gd name="connsiteX139" fmla="*/ 28575 w 808704"/>
                <a:gd name="connsiteY139" fmla="*/ 574675 h 780573"/>
                <a:gd name="connsiteX140" fmla="*/ 6350 w 808704"/>
                <a:gd name="connsiteY140" fmla="*/ 568325 h 780573"/>
                <a:gd name="connsiteX141" fmla="*/ 15875 w 808704"/>
                <a:gd name="connsiteY141" fmla="*/ 565150 h 780573"/>
                <a:gd name="connsiteX0" fmla="*/ 15875 w 808704"/>
                <a:gd name="connsiteY0" fmla="*/ 565150 h 780573"/>
                <a:gd name="connsiteX1" fmla="*/ 9525 w 808704"/>
                <a:gd name="connsiteY1" fmla="*/ 555625 h 780573"/>
                <a:gd name="connsiteX2" fmla="*/ 6350 w 808704"/>
                <a:gd name="connsiteY2" fmla="*/ 542925 h 780573"/>
                <a:gd name="connsiteX3" fmla="*/ 0 w 808704"/>
                <a:gd name="connsiteY3" fmla="*/ 530225 h 780573"/>
                <a:gd name="connsiteX4" fmla="*/ 3175 w 808704"/>
                <a:gd name="connsiteY4" fmla="*/ 450850 h 780573"/>
                <a:gd name="connsiteX5" fmla="*/ 9525 w 808704"/>
                <a:gd name="connsiteY5" fmla="*/ 422275 h 780573"/>
                <a:gd name="connsiteX6" fmla="*/ 31750 w 808704"/>
                <a:gd name="connsiteY6" fmla="*/ 409575 h 780573"/>
                <a:gd name="connsiteX7" fmla="*/ 47625 w 808704"/>
                <a:gd name="connsiteY7" fmla="*/ 393700 h 780573"/>
                <a:gd name="connsiteX8" fmla="*/ 57150 w 808704"/>
                <a:gd name="connsiteY8" fmla="*/ 374650 h 780573"/>
                <a:gd name="connsiteX9" fmla="*/ 41275 w 808704"/>
                <a:gd name="connsiteY9" fmla="*/ 358775 h 780573"/>
                <a:gd name="connsiteX10" fmla="*/ 25400 w 808704"/>
                <a:gd name="connsiteY10" fmla="*/ 342900 h 780573"/>
                <a:gd name="connsiteX11" fmla="*/ 22225 w 808704"/>
                <a:gd name="connsiteY11" fmla="*/ 241300 h 780573"/>
                <a:gd name="connsiteX12" fmla="*/ 25400 w 808704"/>
                <a:gd name="connsiteY12" fmla="*/ 203200 h 780573"/>
                <a:gd name="connsiteX13" fmla="*/ 34925 w 808704"/>
                <a:gd name="connsiteY13" fmla="*/ 193675 h 780573"/>
                <a:gd name="connsiteX14" fmla="*/ 41275 w 808704"/>
                <a:gd name="connsiteY14" fmla="*/ 184150 h 780573"/>
                <a:gd name="connsiteX15" fmla="*/ 79375 w 808704"/>
                <a:gd name="connsiteY15" fmla="*/ 187325 h 780573"/>
                <a:gd name="connsiteX16" fmla="*/ 88900 w 808704"/>
                <a:gd name="connsiteY16" fmla="*/ 184150 h 780573"/>
                <a:gd name="connsiteX17" fmla="*/ 142875 w 808704"/>
                <a:gd name="connsiteY17" fmla="*/ 180975 h 780573"/>
                <a:gd name="connsiteX18" fmla="*/ 155575 w 808704"/>
                <a:gd name="connsiteY18" fmla="*/ 161925 h 780573"/>
                <a:gd name="connsiteX19" fmla="*/ 161925 w 808704"/>
                <a:gd name="connsiteY19" fmla="*/ 152400 h 780573"/>
                <a:gd name="connsiteX20" fmla="*/ 168275 w 808704"/>
                <a:gd name="connsiteY20" fmla="*/ 133350 h 780573"/>
                <a:gd name="connsiteX21" fmla="*/ 177800 w 808704"/>
                <a:gd name="connsiteY21" fmla="*/ 130175 h 780573"/>
                <a:gd name="connsiteX22" fmla="*/ 250825 w 808704"/>
                <a:gd name="connsiteY22" fmla="*/ 136525 h 780573"/>
                <a:gd name="connsiteX23" fmla="*/ 269875 w 808704"/>
                <a:gd name="connsiteY23" fmla="*/ 146050 h 780573"/>
                <a:gd name="connsiteX24" fmla="*/ 311150 w 808704"/>
                <a:gd name="connsiteY24" fmla="*/ 155575 h 780573"/>
                <a:gd name="connsiteX25" fmla="*/ 317500 w 808704"/>
                <a:gd name="connsiteY25" fmla="*/ 180975 h 780573"/>
                <a:gd name="connsiteX26" fmla="*/ 320675 w 808704"/>
                <a:gd name="connsiteY26" fmla="*/ 190500 h 780573"/>
                <a:gd name="connsiteX27" fmla="*/ 330200 w 808704"/>
                <a:gd name="connsiteY27" fmla="*/ 193675 h 780573"/>
                <a:gd name="connsiteX28" fmla="*/ 368300 w 808704"/>
                <a:gd name="connsiteY28" fmla="*/ 196850 h 780573"/>
                <a:gd name="connsiteX29" fmla="*/ 390525 w 808704"/>
                <a:gd name="connsiteY29" fmla="*/ 206375 h 780573"/>
                <a:gd name="connsiteX30" fmla="*/ 400050 w 808704"/>
                <a:gd name="connsiteY30" fmla="*/ 212725 h 780573"/>
                <a:gd name="connsiteX31" fmla="*/ 409575 w 808704"/>
                <a:gd name="connsiteY31" fmla="*/ 215900 h 780573"/>
                <a:gd name="connsiteX32" fmla="*/ 425450 w 808704"/>
                <a:gd name="connsiteY32" fmla="*/ 228600 h 780573"/>
                <a:gd name="connsiteX33" fmla="*/ 431800 w 808704"/>
                <a:gd name="connsiteY33" fmla="*/ 238125 h 780573"/>
                <a:gd name="connsiteX34" fmla="*/ 441325 w 808704"/>
                <a:gd name="connsiteY34" fmla="*/ 241300 h 780573"/>
                <a:gd name="connsiteX35" fmla="*/ 454025 w 808704"/>
                <a:gd name="connsiteY35" fmla="*/ 247650 h 780573"/>
                <a:gd name="connsiteX36" fmla="*/ 476250 w 808704"/>
                <a:gd name="connsiteY36" fmla="*/ 234950 h 780573"/>
                <a:gd name="connsiteX37" fmla="*/ 466725 w 808704"/>
                <a:gd name="connsiteY37" fmla="*/ 228600 h 780573"/>
                <a:gd name="connsiteX38" fmla="*/ 444500 w 808704"/>
                <a:gd name="connsiteY38" fmla="*/ 203200 h 780573"/>
                <a:gd name="connsiteX39" fmla="*/ 428625 w 808704"/>
                <a:gd name="connsiteY39" fmla="*/ 184150 h 780573"/>
                <a:gd name="connsiteX40" fmla="*/ 409575 w 808704"/>
                <a:gd name="connsiteY40" fmla="*/ 161925 h 780573"/>
                <a:gd name="connsiteX41" fmla="*/ 419100 w 808704"/>
                <a:gd name="connsiteY41" fmla="*/ 158750 h 780573"/>
                <a:gd name="connsiteX42" fmla="*/ 492125 w 808704"/>
                <a:gd name="connsiteY42" fmla="*/ 152400 h 780573"/>
                <a:gd name="connsiteX43" fmla="*/ 508000 w 808704"/>
                <a:gd name="connsiteY43" fmla="*/ 133350 h 780573"/>
                <a:gd name="connsiteX44" fmla="*/ 504825 w 808704"/>
                <a:gd name="connsiteY44" fmla="*/ 123825 h 780573"/>
                <a:gd name="connsiteX45" fmla="*/ 495300 w 808704"/>
                <a:gd name="connsiteY45" fmla="*/ 117475 h 780573"/>
                <a:gd name="connsiteX46" fmla="*/ 492125 w 808704"/>
                <a:gd name="connsiteY46" fmla="*/ 107950 h 780573"/>
                <a:gd name="connsiteX47" fmla="*/ 495300 w 808704"/>
                <a:gd name="connsiteY47" fmla="*/ 95250 h 780573"/>
                <a:gd name="connsiteX48" fmla="*/ 498475 w 808704"/>
                <a:gd name="connsiteY48" fmla="*/ 79375 h 780573"/>
                <a:gd name="connsiteX49" fmla="*/ 501650 w 808704"/>
                <a:gd name="connsiteY49" fmla="*/ 69850 h 780573"/>
                <a:gd name="connsiteX50" fmla="*/ 511175 w 808704"/>
                <a:gd name="connsiteY50" fmla="*/ 63500 h 780573"/>
                <a:gd name="connsiteX51" fmla="*/ 536575 w 808704"/>
                <a:gd name="connsiteY51" fmla="*/ 34925 h 780573"/>
                <a:gd name="connsiteX52" fmla="*/ 555625 w 808704"/>
                <a:gd name="connsiteY52" fmla="*/ 22225 h 780573"/>
                <a:gd name="connsiteX53" fmla="*/ 565150 w 808704"/>
                <a:gd name="connsiteY53" fmla="*/ 15875 h 780573"/>
                <a:gd name="connsiteX54" fmla="*/ 593725 w 808704"/>
                <a:gd name="connsiteY54" fmla="*/ 6350 h 780573"/>
                <a:gd name="connsiteX55" fmla="*/ 603250 w 808704"/>
                <a:gd name="connsiteY55" fmla="*/ 3175 h 780573"/>
                <a:gd name="connsiteX56" fmla="*/ 619125 w 808704"/>
                <a:gd name="connsiteY56" fmla="*/ 0 h 780573"/>
                <a:gd name="connsiteX57" fmla="*/ 628650 w 808704"/>
                <a:gd name="connsiteY57" fmla="*/ 3175 h 780573"/>
                <a:gd name="connsiteX58" fmla="*/ 676275 w 808704"/>
                <a:gd name="connsiteY58" fmla="*/ 9525 h 780573"/>
                <a:gd name="connsiteX59" fmla="*/ 695325 w 808704"/>
                <a:gd name="connsiteY59" fmla="*/ 15875 h 780573"/>
                <a:gd name="connsiteX60" fmla="*/ 704850 w 808704"/>
                <a:gd name="connsiteY60" fmla="*/ 19050 h 780573"/>
                <a:gd name="connsiteX61" fmla="*/ 730250 w 808704"/>
                <a:gd name="connsiteY61" fmla="*/ 15875 h 780573"/>
                <a:gd name="connsiteX62" fmla="*/ 739775 w 808704"/>
                <a:gd name="connsiteY62" fmla="*/ 6350 h 780573"/>
                <a:gd name="connsiteX63" fmla="*/ 749300 w 808704"/>
                <a:gd name="connsiteY63" fmla="*/ 0 h 780573"/>
                <a:gd name="connsiteX64" fmla="*/ 777875 w 808704"/>
                <a:gd name="connsiteY64" fmla="*/ 15875 h 780573"/>
                <a:gd name="connsiteX65" fmla="*/ 787400 w 808704"/>
                <a:gd name="connsiteY65" fmla="*/ 19050 h 780573"/>
                <a:gd name="connsiteX66" fmla="*/ 793750 w 808704"/>
                <a:gd name="connsiteY66" fmla="*/ 28575 h 780573"/>
                <a:gd name="connsiteX67" fmla="*/ 784225 w 808704"/>
                <a:gd name="connsiteY67" fmla="*/ 66675 h 780573"/>
                <a:gd name="connsiteX68" fmla="*/ 781050 w 808704"/>
                <a:gd name="connsiteY68" fmla="*/ 76200 h 780573"/>
                <a:gd name="connsiteX69" fmla="*/ 771525 w 808704"/>
                <a:gd name="connsiteY69" fmla="*/ 85725 h 780573"/>
                <a:gd name="connsiteX70" fmla="*/ 765175 w 808704"/>
                <a:gd name="connsiteY70" fmla="*/ 95250 h 780573"/>
                <a:gd name="connsiteX71" fmla="*/ 765175 w 808704"/>
                <a:gd name="connsiteY71" fmla="*/ 130175 h 780573"/>
                <a:gd name="connsiteX72" fmla="*/ 774700 w 808704"/>
                <a:gd name="connsiteY72" fmla="*/ 136525 h 780573"/>
                <a:gd name="connsiteX73" fmla="*/ 787400 w 808704"/>
                <a:gd name="connsiteY73" fmla="*/ 152400 h 780573"/>
                <a:gd name="connsiteX74" fmla="*/ 790575 w 808704"/>
                <a:gd name="connsiteY74" fmla="*/ 161925 h 780573"/>
                <a:gd name="connsiteX75" fmla="*/ 806450 w 808704"/>
                <a:gd name="connsiteY75" fmla="*/ 177800 h 780573"/>
                <a:gd name="connsiteX76" fmla="*/ 803275 w 808704"/>
                <a:gd name="connsiteY76" fmla="*/ 238125 h 780573"/>
                <a:gd name="connsiteX77" fmla="*/ 784225 w 808704"/>
                <a:gd name="connsiteY77" fmla="*/ 257175 h 780573"/>
                <a:gd name="connsiteX78" fmla="*/ 781050 w 808704"/>
                <a:gd name="connsiteY78" fmla="*/ 269875 h 780573"/>
                <a:gd name="connsiteX79" fmla="*/ 777875 w 808704"/>
                <a:gd name="connsiteY79" fmla="*/ 279400 h 780573"/>
                <a:gd name="connsiteX80" fmla="*/ 781050 w 808704"/>
                <a:gd name="connsiteY80" fmla="*/ 342900 h 780573"/>
                <a:gd name="connsiteX81" fmla="*/ 787400 w 808704"/>
                <a:gd name="connsiteY81" fmla="*/ 361950 h 780573"/>
                <a:gd name="connsiteX82" fmla="*/ 784225 w 808704"/>
                <a:gd name="connsiteY82" fmla="*/ 390525 h 780573"/>
                <a:gd name="connsiteX83" fmla="*/ 774700 w 808704"/>
                <a:gd name="connsiteY83" fmla="*/ 393700 h 780573"/>
                <a:gd name="connsiteX84" fmla="*/ 746125 w 808704"/>
                <a:gd name="connsiteY84" fmla="*/ 409575 h 780573"/>
                <a:gd name="connsiteX85" fmla="*/ 720725 w 808704"/>
                <a:gd name="connsiteY85" fmla="*/ 438150 h 780573"/>
                <a:gd name="connsiteX86" fmla="*/ 701675 w 808704"/>
                <a:gd name="connsiteY86" fmla="*/ 454025 h 780573"/>
                <a:gd name="connsiteX87" fmla="*/ 688975 w 808704"/>
                <a:gd name="connsiteY87" fmla="*/ 473075 h 780573"/>
                <a:gd name="connsiteX88" fmla="*/ 685800 w 808704"/>
                <a:gd name="connsiteY88" fmla="*/ 485775 h 780573"/>
                <a:gd name="connsiteX89" fmla="*/ 682625 w 808704"/>
                <a:gd name="connsiteY89" fmla="*/ 517525 h 780573"/>
                <a:gd name="connsiteX90" fmla="*/ 666750 w 808704"/>
                <a:gd name="connsiteY90" fmla="*/ 533400 h 780573"/>
                <a:gd name="connsiteX91" fmla="*/ 660400 w 808704"/>
                <a:gd name="connsiteY91" fmla="*/ 542925 h 780573"/>
                <a:gd name="connsiteX92" fmla="*/ 650875 w 808704"/>
                <a:gd name="connsiteY92" fmla="*/ 552450 h 780573"/>
                <a:gd name="connsiteX93" fmla="*/ 647700 w 808704"/>
                <a:gd name="connsiteY93" fmla="*/ 561975 h 780573"/>
                <a:gd name="connsiteX94" fmla="*/ 641350 w 808704"/>
                <a:gd name="connsiteY94" fmla="*/ 571500 h 780573"/>
                <a:gd name="connsiteX95" fmla="*/ 635000 w 808704"/>
                <a:gd name="connsiteY95" fmla="*/ 596900 h 780573"/>
                <a:gd name="connsiteX96" fmla="*/ 638175 w 808704"/>
                <a:gd name="connsiteY96" fmla="*/ 609600 h 780573"/>
                <a:gd name="connsiteX97" fmla="*/ 654050 w 808704"/>
                <a:gd name="connsiteY97" fmla="*/ 612775 h 780573"/>
                <a:gd name="connsiteX98" fmla="*/ 663575 w 808704"/>
                <a:gd name="connsiteY98" fmla="*/ 615950 h 780573"/>
                <a:gd name="connsiteX99" fmla="*/ 695325 w 808704"/>
                <a:gd name="connsiteY99" fmla="*/ 631825 h 780573"/>
                <a:gd name="connsiteX100" fmla="*/ 714375 w 808704"/>
                <a:gd name="connsiteY100" fmla="*/ 644525 h 780573"/>
                <a:gd name="connsiteX101" fmla="*/ 720725 w 808704"/>
                <a:gd name="connsiteY101" fmla="*/ 663575 h 780573"/>
                <a:gd name="connsiteX102" fmla="*/ 717550 w 808704"/>
                <a:gd name="connsiteY102" fmla="*/ 676275 h 780573"/>
                <a:gd name="connsiteX103" fmla="*/ 708025 w 808704"/>
                <a:gd name="connsiteY103" fmla="*/ 685800 h 780573"/>
                <a:gd name="connsiteX104" fmla="*/ 695325 w 808704"/>
                <a:gd name="connsiteY104" fmla="*/ 688975 h 780573"/>
                <a:gd name="connsiteX105" fmla="*/ 685800 w 808704"/>
                <a:gd name="connsiteY105" fmla="*/ 692150 h 780573"/>
                <a:gd name="connsiteX106" fmla="*/ 666750 w 808704"/>
                <a:gd name="connsiteY106" fmla="*/ 704850 h 780573"/>
                <a:gd name="connsiteX107" fmla="*/ 660400 w 808704"/>
                <a:gd name="connsiteY107" fmla="*/ 714375 h 780573"/>
                <a:gd name="connsiteX108" fmla="*/ 647700 w 808704"/>
                <a:gd name="connsiteY108" fmla="*/ 717550 h 780573"/>
                <a:gd name="connsiteX109" fmla="*/ 612775 w 808704"/>
                <a:gd name="connsiteY109" fmla="*/ 723900 h 780573"/>
                <a:gd name="connsiteX110" fmla="*/ 590550 w 808704"/>
                <a:gd name="connsiteY110" fmla="*/ 730250 h 780573"/>
                <a:gd name="connsiteX111" fmla="*/ 581025 w 808704"/>
                <a:gd name="connsiteY111" fmla="*/ 749300 h 780573"/>
                <a:gd name="connsiteX112" fmla="*/ 584200 w 808704"/>
                <a:gd name="connsiteY112" fmla="*/ 758825 h 780573"/>
                <a:gd name="connsiteX113" fmla="*/ 581025 w 808704"/>
                <a:gd name="connsiteY113" fmla="*/ 777875 h 780573"/>
                <a:gd name="connsiteX114" fmla="*/ 574675 w 808704"/>
                <a:gd name="connsiteY114" fmla="*/ 768350 h 780573"/>
                <a:gd name="connsiteX115" fmla="*/ 552450 w 808704"/>
                <a:gd name="connsiteY115" fmla="*/ 762000 h 780573"/>
                <a:gd name="connsiteX116" fmla="*/ 536575 w 808704"/>
                <a:gd name="connsiteY116" fmla="*/ 765175 h 780573"/>
                <a:gd name="connsiteX117" fmla="*/ 517525 w 808704"/>
                <a:gd name="connsiteY117" fmla="*/ 771525 h 780573"/>
                <a:gd name="connsiteX118" fmla="*/ 520700 w 808704"/>
                <a:gd name="connsiteY118" fmla="*/ 742950 h 780573"/>
                <a:gd name="connsiteX119" fmla="*/ 523875 w 808704"/>
                <a:gd name="connsiteY119" fmla="*/ 733425 h 780573"/>
                <a:gd name="connsiteX120" fmla="*/ 498475 w 808704"/>
                <a:gd name="connsiteY120" fmla="*/ 711200 h 780573"/>
                <a:gd name="connsiteX121" fmla="*/ 488950 w 808704"/>
                <a:gd name="connsiteY121" fmla="*/ 704850 h 780573"/>
                <a:gd name="connsiteX122" fmla="*/ 479425 w 808704"/>
                <a:gd name="connsiteY122" fmla="*/ 698500 h 780573"/>
                <a:gd name="connsiteX123" fmla="*/ 450850 w 808704"/>
                <a:gd name="connsiteY123" fmla="*/ 685800 h 780573"/>
                <a:gd name="connsiteX124" fmla="*/ 431800 w 808704"/>
                <a:gd name="connsiteY124" fmla="*/ 666750 h 780573"/>
                <a:gd name="connsiteX125" fmla="*/ 425450 w 808704"/>
                <a:gd name="connsiteY125" fmla="*/ 657225 h 780573"/>
                <a:gd name="connsiteX126" fmla="*/ 415925 w 808704"/>
                <a:gd name="connsiteY126" fmla="*/ 650875 h 780573"/>
                <a:gd name="connsiteX127" fmla="*/ 409575 w 808704"/>
                <a:gd name="connsiteY127" fmla="*/ 641350 h 780573"/>
                <a:gd name="connsiteX128" fmla="*/ 396875 w 808704"/>
                <a:gd name="connsiteY128" fmla="*/ 635000 h 780573"/>
                <a:gd name="connsiteX129" fmla="*/ 387350 w 808704"/>
                <a:gd name="connsiteY129" fmla="*/ 628650 h 780573"/>
                <a:gd name="connsiteX130" fmla="*/ 384175 w 808704"/>
                <a:gd name="connsiteY130" fmla="*/ 619125 h 780573"/>
                <a:gd name="connsiteX131" fmla="*/ 346075 w 808704"/>
                <a:gd name="connsiteY131" fmla="*/ 587375 h 780573"/>
                <a:gd name="connsiteX132" fmla="*/ 327025 w 808704"/>
                <a:gd name="connsiteY132" fmla="*/ 581025 h 780573"/>
                <a:gd name="connsiteX133" fmla="*/ 301625 w 808704"/>
                <a:gd name="connsiteY133" fmla="*/ 571500 h 780573"/>
                <a:gd name="connsiteX134" fmla="*/ 215900 w 808704"/>
                <a:gd name="connsiteY134" fmla="*/ 574675 h 780573"/>
                <a:gd name="connsiteX135" fmla="*/ 196850 w 808704"/>
                <a:gd name="connsiteY135" fmla="*/ 584200 h 780573"/>
                <a:gd name="connsiteX136" fmla="*/ 187325 w 808704"/>
                <a:gd name="connsiteY136" fmla="*/ 587375 h 780573"/>
                <a:gd name="connsiteX137" fmla="*/ 69850 w 808704"/>
                <a:gd name="connsiteY137" fmla="*/ 584200 h 780573"/>
                <a:gd name="connsiteX138" fmla="*/ 47625 w 808704"/>
                <a:gd name="connsiteY138" fmla="*/ 577850 h 780573"/>
                <a:gd name="connsiteX139" fmla="*/ 28575 w 808704"/>
                <a:gd name="connsiteY139" fmla="*/ 574675 h 780573"/>
                <a:gd name="connsiteX140" fmla="*/ 6350 w 808704"/>
                <a:gd name="connsiteY140" fmla="*/ 568325 h 780573"/>
                <a:gd name="connsiteX141" fmla="*/ 15875 w 808704"/>
                <a:gd name="connsiteY141" fmla="*/ 565150 h 780573"/>
                <a:gd name="connsiteX0" fmla="*/ 15875 w 841375"/>
                <a:gd name="connsiteY0" fmla="*/ 565150 h 780573"/>
                <a:gd name="connsiteX1" fmla="*/ 9525 w 841375"/>
                <a:gd name="connsiteY1" fmla="*/ 555625 h 780573"/>
                <a:gd name="connsiteX2" fmla="*/ 6350 w 841375"/>
                <a:gd name="connsiteY2" fmla="*/ 542925 h 780573"/>
                <a:gd name="connsiteX3" fmla="*/ 0 w 841375"/>
                <a:gd name="connsiteY3" fmla="*/ 530225 h 780573"/>
                <a:gd name="connsiteX4" fmla="*/ 3175 w 841375"/>
                <a:gd name="connsiteY4" fmla="*/ 450850 h 780573"/>
                <a:gd name="connsiteX5" fmla="*/ 9525 w 841375"/>
                <a:gd name="connsiteY5" fmla="*/ 422275 h 780573"/>
                <a:gd name="connsiteX6" fmla="*/ 31750 w 841375"/>
                <a:gd name="connsiteY6" fmla="*/ 409575 h 780573"/>
                <a:gd name="connsiteX7" fmla="*/ 47625 w 841375"/>
                <a:gd name="connsiteY7" fmla="*/ 393700 h 780573"/>
                <a:gd name="connsiteX8" fmla="*/ 57150 w 841375"/>
                <a:gd name="connsiteY8" fmla="*/ 374650 h 780573"/>
                <a:gd name="connsiteX9" fmla="*/ 41275 w 841375"/>
                <a:gd name="connsiteY9" fmla="*/ 358775 h 780573"/>
                <a:gd name="connsiteX10" fmla="*/ 25400 w 841375"/>
                <a:gd name="connsiteY10" fmla="*/ 342900 h 780573"/>
                <a:gd name="connsiteX11" fmla="*/ 22225 w 841375"/>
                <a:gd name="connsiteY11" fmla="*/ 241300 h 780573"/>
                <a:gd name="connsiteX12" fmla="*/ 25400 w 841375"/>
                <a:gd name="connsiteY12" fmla="*/ 203200 h 780573"/>
                <a:gd name="connsiteX13" fmla="*/ 34925 w 841375"/>
                <a:gd name="connsiteY13" fmla="*/ 193675 h 780573"/>
                <a:gd name="connsiteX14" fmla="*/ 41275 w 841375"/>
                <a:gd name="connsiteY14" fmla="*/ 184150 h 780573"/>
                <a:gd name="connsiteX15" fmla="*/ 79375 w 841375"/>
                <a:gd name="connsiteY15" fmla="*/ 187325 h 780573"/>
                <a:gd name="connsiteX16" fmla="*/ 88900 w 841375"/>
                <a:gd name="connsiteY16" fmla="*/ 184150 h 780573"/>
                <a:gd name="connsiteX17" fmla="*/ 142875 w 841375"/>
                <a:gd name="connsiteY17" fmla="*/ 180975 h 780573"/>
                <a:gd name="connsiteX18" fmla="*/ 155575 w 841375"/>
                <a:gd name="connsiteY18" fmla="*/ 161925 h 780573"/>
                <a:gd name="connsiteX19" fmla="*/ 161925 w 841375"/>
                <a:gd name="connsiteY19" fmla="*/ 152400 h 780573"/>
                <a:gd name="connsiteX20" fmla="*/ 168275 w 841375"/>
                <a:gd name="connsiteY20" fmla="*/ 133350 h 780573"/>
                <a:gd name="connsiteX21" fmla="*/ 177800 w 841375"/>
                <a:gd name="connsiteY21" fmla="*/ 130175 h 780573"/>
                <a:gd name="connsiteX22" fmla="*/ 250825 w 841375"/>
                <a:gd name="connsiteY22" fmla="*/ 136525 h 780573"/>
                <a:gd name="connsiteX23" fmla="*/ 269875 w 841375"/>
                <a:gd name="connsiteY23" fmla="*/ 146050 h 780573"/>
                <a:gd name="connsiteX24" fmla="*/ 311150 w 841375"/>
                <a:gd name="connsiteY24" fmla="*/ 155575 h 780573"/>
                <a:gd name="connsiteX25" fmla="*/ 317500 w 841375"/>
                <a:gd name="connsiteY25" fmla="*/ 180975 h 780573"/>
                <a:gd name="connsiteX26" fmla="*/ 320675 w 841375"/>
                <a:gd name="connsiteY26" fmla="*/ 190500 h 780573"/>
                <a:gd name="connsiteX27" fmla="*/ 330200 w 841375"/>
                <a:gd name="connsiteY27" fmla="*/ 193675 h 780573"/>
                <a:gd name="connsiteX28" fmla="*/ 368300 w 841375"/>
                <a:gd name="connsiteY28" fmla="*/ 196850 h 780573"/>
                <a:gd name="connsiteX29" fmla="*/ 390525 w 841375"/>
                <a:gd name="connsiteY29" fmla="*/ 206375 h 780573"/>
                <a:gd name="connsiteX30" fmla="*/ 400050 w 841375"/>
                <a:gd name="connsiteY30" fmla="*/ 212725 h 780573"/>
                <a:gd name="connsiteX31" fmla="*/ 409575 w 841375"/>
                <a:gd name="connsiteY31" fmla="*/ 215900 h 780573"/>
                <a:gd name="connsiteX32" fmla="*/ 425450 w 841375"/>
                <a:gd name="connsiteY32" fmla="*/ 228600 h 780573"/>
                <a:gd name="connsiteX33" fmla="*/ 431800 w 841375"/>
                <a:gd name="connsiteY33" fmla="*/ 238125 h 780573"/>
                <a:gd name="connsiteX34" fmla="*/ 441325 w 841375"/>
                <a:gd name="connsiteY34" fmla="*/ 241300 h 780573"/>
                <a:gd name="connsiteX35" fmla="*/ 454025 w 841375"/>
                <a:gd name="connsiteY35" fmla="*/ 247650 h 780573"/>
                <a:gd name="connsiteX36" fmla="*/ 476250 w 841375"/>
                <a:gd name="connsiteY36" fmla="*/ 234950 h 780573"/>
                <a:gd name="connsiteX37" fmla="*/ 466725 w 841375"/>
                <a:gd name="connsiteY37" fmla="*/ 228600 h 780573"/>
                <a:gd name="connsiteX38" fmla="*/ 444500 w 841375"/>
                <a:gd name="connsiteY38" fmla="*/ 203200 h 780573"/>
                <a:gd name="connsiteX39" fmla="*/ 428625 w 841375"/>
                <a:gd name="connsiteY39" fmla="*/ 184150 h 780573"/>
                <a:gd name="connsiteX40" fmla="*/ 409575 w 841375"/>
                <a:gd name="connsiteY40" fmla="*/ 161925 h 780573"/>
                <a:gd name="connsiteX41" fmla="*/ 419100 w 841375"/>
                <a:gd name="connsiteY41" fmla="*/ 158750 h 780573"/>
                <a:gd name="connsiteX42" fmla="*/ 492125 w 841375"/>
                <a:gd name="connsiteY42" fmla="*/ 152400 h 780573"/>
                <a:gd name="connsiteX43" fmla="*/ 508000 w 841375"/>
                <a:gd name="connsiteY43" fmla="*/ 133350 h 780573"/>
                <a:gd name="connsiteX44" fmla="*/ 504825 w 841375"/>
                <a:gd name="connsiteY44" fmla="*/ 123825 h 780573"/>
                <a:gd name="connsiteX45" fmla="*/ 495300 w 841375"/>
                <a:gd name="connsiteY45" fmla="*/ 117475 h 780573"/>
                <a:gd name="connsiteX46" fmla="*/ 492125 w 841375"/>
                <a:gd name="connsiteY46" fmla="*/ 107950 h 780573"/>
                <a:gd name="connsiteX47" fmla="*/ 495300 w 841375"/>
                <a:gd name="connsiteY47" fmla="*/ 95250 h 780573"/>
                <a:gd name="connsiteX48" fmla="*/ 498475 w 841375"/>
                <a:gd name="connsiteY48" fmla="*/ 79375 h 780573"/>
                <a:gd name="connsiteX49" fmla="*/ 501650 w 841375"/>
                <a:gd name="connsiteY49" fmla="*/ 69850 h 780573"/>
                <a:gd name="connsiteX50" fmla="*/ 511175 w 841375"/>
                <a:gd name="connsiteY50" fmla="*/ 63500 h 780573"/>
                <a:gd name="connsiteX51" fmla="*/ 536575 w 841375"/>
                <a:gd name="connsiteY51" fmla="*/ 34925 h 780573"/>
                <a:gd name="connsiteX52" fmla="*/ 555625 w 841375"/>
                <a:gd name="connsiteY52" fmla="*/ 22225 h 780573"/>
                <a:gd name="connsiteX53" fmla="*/ 565150 w 841375"/>
                <a:gd name="connsiteY53" fmla="*/ 15875 h 780573"/>
                <a:gd name="connsiteX54" fmla="*/ 593725 w 841375"/>
                <a:gd name="connsiteY54" fmla="*/ 6350 h 780573"/>
                <a:gd name="connsiteX55" fmla="*/ 603250 w 841375"/>
                <a:gd name="connsiteY55" fmla="*/ 3175 h 780573"/>
                <a:gd name="connsiteX56" fmla="*/ 619125 w 841375"/>
                <a:gd name="connsiteY56" fmla="*/ 0 h 780573"/>
                <a:gd name="connsiteX57" fmla="*/ 628650 w 841375"/>
                <a:gd name="connsiteY57" fmla="*/ 3175 h 780573"/>
                <a:gd name="connsiteX58" fmla="*/ 676275 w 841375"/>
                <a:gd name="connsiteY58" fmla="*/ 9525 h 780573"/>
                <a:gd name="connsiteX59" fmla="*/ 695325 w 841375"/>
                <a:gd name="connsiteY59" fmla="*/ 15875 h 780573"/>
                <a:gd name="connsiteX60" fmla="*/ 704850 w 841375"/>
                <a:gd name="connsiteY60" fmla="*/ 19050 h 780573"/>
                <a:gd name="connsiteX61" fmla="*/ 730250 w 841375"/>
                <a:gd name="connsiteY61" fmla="*/ 15875 h 780573"/>
                <a:gd name="connsiteX62" fmla="*/ 739775 w 841375"/>
                <a:gd name="connsiteY62" fmla="*/ 6350 h 780573"/>
                <a:gd name="connsiteX63" fmla="*/ 749300 w 841375"/>
                <a:gd name="connsiteY63" fmla="*/ 0 h 780573"/>
                <a:gd name="connsiteX64" fmla="*/ 777875 w 841375"/>
                <a:gd name="connsiteY64" fmla="*/ 15875 h 780573"/>
                <a:gd name="connsiteX65" fmla="*/ 787400 w 841375"/>
                <a:gd name="connsiteY65" fmla="*/ 19050 h 780573"/>
                <a:gd name="connsiteX66" fmla="*/ 793750 w 841375"/>
                <a:gd name="connsiteY66" fmla="*/ 28575 h 780573"/>
                <a:gd name="connsiteX67" fmla="*/ 784225 w 841375"/>
                <a:gd name="connsiteY67" fmla="*/ 66675 h 780573"/>
                <a:gd name="connsiteX68" fmla="*/ 781050 w 841375"/>
                <a:gd name="connsiteY68" fmla="*/ 76200 h 780573"/>
                <a:gd name="connsiteX69" fmla="*/ 771525 w 841375"/>
                <a:gd name="connsiteY69" fmla="*/ 85725 h 780573"/>
                <a:gd name="connsiteX70" fmla="*/ 765175 w 841375"/>
                <a:gd name="connsiteY70" fmla="*/ 95250 h 780573"/>
                <a:gd name="connsiteX71" fmla="*/ 765175 w 841375"/>
                <a:gd name="connsiteY71" fmla="*/ 130175 h 780573"/>
                <a:gd name="connsiteX72" fmla="*/ 774700 w 841375"/>
                <a:gd name="connsiteY72" fmla="*/ 136525 h 780573"/>
                <a:gd name="connsiteX73" fmla="*/ 787400 w 841375"/>
                <a:gd name="connsiteY73" fmla="*/ 152400 h 780573"/>
                <a:gd name="connsiteX74" fmla="*/ 790575 w 841375"/>
                <a:gd name="connsiteY74" fmla="*/ 161925 h 780573"/>
                <a:gd name="connsiteX75" fmla="*/ 806450 w 841375"/>
                <a:gd name="connsiteY75" fmla="*/ 177800 h 780573"/>
                <a:gd name="connsiteX76" fmla="*/ 803275 w 841375"/>
                <a:gd name="connsiteY76" fmla="*/ 238125 h 780573"/>
                <a:gd name="connsiteX77" fmla="*/ 784225 w 841375"/>
                <a:gd name="connsiteY77" fmla="*/ 257175 h 780573"/>
                <a:gd name="connsiteX78" fmla="*/ 781050 w 841375"/>
                <a:gd name="connsiteY78" fmla="*/ 269875 h 780573"/>
                <a:gd name="connsiteX79" fmla="*/ 777875 w 841375"/>
                <a:gd name="connsiteY79" fmla="*/ 279400 h 780573"/>
                <a:gd name="connsiteX80" fmla="*/ 781050 w 841375"/>
                <a:gd name="connsiteY80" fmla="*/ 342900 h 780573"/>
                <a:gd name="connsiteX81" fmla="*/ 787400 w 841375"/>
                <a:gd name="connsiteY81" fmla="*/ 361950 h 780573"/>
                <a:gd name="connsiteX82" fmla="*/ 784225 w 841375"/>
                <a:gd name="connsiteY82" fmla="*/ 390525 h 780573"/>
                <a:gd name="connsiteX83" fmla="*/ 774700 w 841375"/>
                <a:gd name="connsiteY83" fmla="*/ 393700 h 780573"/>
                <a:gd name="connsiteX84" fmla="*/ 746125 w 841375"/>
                <a:gd name="connsiteY84" fmla="*/ 409575 h 780573"/>
                <a:gd name="connsiteX85" fmla="*/ 720725 w 841375"/>
                <a:gd name="connsiteY85" fmla="*/ 438150 h 780573"/>
                <a:gd name="connsiteX86" fmla="*/ 701675 w 841375"/>
                <a:gd name="connsiteY86" fmla="*/ 454025 h 780573"/>
                <a:gd name="connsiteX87" fmla="*/ 688975 w 841375"/>
                <a:gd name="connsiteY87" fmla="*/ 473075 h 780573"/>
                <a:gd name="connsiteX88" fmla="*/ 685800 w 841375"/>
                <a:gd name="connsiteY88" fmla="*/ 485775 h 780573"/>
                <a:gd name="connsiteX89" fmla="*/ 682625 w 841375"/>
                <a:gd name="connsiteY89" fmla="*/ 517525 h 780573"/>
                <a:gd name="connsiteX90" fmla="*/ 666750 w 841375"/>
                <a:gd name="connsiteY90" fmla="*/ 533400 h 780573"/>
                <a:gd name="connsiteX91" fmla="*/ 660400 w 841375"/>
                <a:gd name="connsiteY91" fmla="*/ 542925 h 780573"/>
                <a:gd name="connsiteX92" fmla="*/ 650875 w 841375"/>
                <a:gd name="connsiteY92" fmla="*/ 552450 h 780573"/>
                <a:gd name="connsiteX93" fmla="*/ 647700 w 841375"/>
                <a:gd name="connsiteY93" fmla="*/ 561975 h 780573"/>
                <a:gd name="connsiteX94" fmla="*/ 641350 w 841375"/>
                <a:gd name="connsiteY94" fmla="*/ 571500 h 780573"/>
                <a:gd name="connsiteX95" fmla="*/ 635000 w 841375"/>
                <a:gd name="connsiteY95" fmla="*/ 596900 h 780573"/>
                <a:gd name="connsiteX96" fmla="*/ 638175 w 841375"/>
                <a:gd name="connsiteY96" fmla="*/ 609600 h 780573"/>
                <a:gd name="connsiteX97" fmla="*/ 654050 w 841375"/>
                <a:gd name="connsiteY97" fmla="*/ 612775 h 780573"/>
                <a:gd name="connsiteX98" fmla="*/ 663575 w 841375"/>
                <a:gd name="connsiteY98" fmla="*/ 615950 h 780573"/>
                <a:gd name="connsiteX99" fmla="*/ 695325 w 841375"/>
                <a:gd name="connsiteY99" fmla="*/ 631825 h 780573"/>
                <a:gd name="connsiteX100" fmla="*/ 714375 w 841375"/>
                <a:gd name="connsiteY100" fmla="*/ 644525 h 780573"/>
                <a:gd name="connsiteX101" fmla="*/ 720725 w 841375"/>
                <a:gd name="connsiteY101" fmla="*/ 663575 h 780573"/>
                <a:gd name="connsiteX102" fmla="*/ 717550 w 841375"/>
                <a:gd name="connsiteY102" fmla="*/ 676275 h 780573"/>
                <a:gd name="connsiteX103" fmla="*/ 708025 w 841375"/>
                <a:gd name="connsiteY103" fmla="*/ 685800 h 780573"/>
                <a:gd name="connsiteX104" fmla="*/ 695325 w 841375"/>
                <a:gd name="connsiteY104" fmla="*/ 688975 h 780573"/>
                <a:gd name="connsiteX105" fmla="*/ 685800 w 841375"/>
                <a:gd name="connsiteY105" fmla="*/ 692150 h 780573"/>
                <a:gd name="connsiteX106" fmla="*/ 666750 w 841375"/>
                <a:gd name="connsiteY106" fmla="*/ 704850 h 780573"/>
                <a:gd name="connsiteX107" fmla="*/ 660400 w 841375"/>
                <a:gd name="connsiteY107" fmla="*/ 714375 h 780573"/>
                <a:gd name="connsiteX108" fmla="*/ 647700 w 841375"/>
                <a:gd name="connsiteY108" fmla="*/ 717550 h 780573"/>
                <a:gd name="connsiteX109" fmla="*/ 612775 w 841375"/>
                <a:gd name="connsiteY109" fmla="*/ 723900 h 780573"/>
                <a:gd name="connsiteX110" fmla="*/ 590550 w 841375"/>
                <a:gd name="connsiteY110" fmla="*/ 730250 h 780573"/>
                <a:gd name="connsiteX111" fmla="*/ 581025 w 841375"/>
                <a:gd name="connsiteY111" fmla="*/ 749300 h 780573"/>
                <a:gd name="connsiteX112" fmla="*/ 584200 w 841375"/>
                <a:gd name="connsiteY112" fmla="*/ 758825 h 780573"/>
                <a:gd name="connsiteX113" fmla="*/ 581025 w 841375"/>
                <a:gd name="connsiteY113" fmla="*/ 777875 h 780573"/>
                <a:gd name="connsiteX114" fmla="*/ 574675 w 841375"/>
                <a:gd name="connsiteY114" fmla="*/ 768350 h 780573"/>
                <a:gd name="connsiteX115" fmla="*/ 552450 w 841375"/>
                <a:gd name="connsiteY115" fmla="*/ 762000 h 780573"/>
                <a:gd name="connsiteX116" fmla="*/ 536575 w 841375"/>
                <a:gd name="connsiteY116" fmla="*/ 765175 h 780573"/>
                <a:gd name="connsiteX117" fmla="*/ 517525 w 841375"/>
                <a:gd name="connsiteY117" fmla="*/ 771525 h 780573"/>
                <a:gd name="connsiteX118" fmla="*/ 520700 w 841375"/>
                <a:gd name="connsiteY118" fmla="*/ 742950 h 780573"/>
                <a:gd name="connsiteX119" fmla="*/ 523875 w 841375"/>
                <a:gd name="connsiteY119" fmla="*/ 733425 h 780573"/>
                <a:gd name="connsiteX120" fmla="*/ 498475 w 841375"/>
                <a:gd name="connsiteY120" fmla="*/ 711200 h 780573"/>
                <a:gd name="connsiteX121" fmla="*/ 488950 w 841375"/>
                <a:gd name="connsiteY121" fmla="*/ 704850 h 780573"/>
                <a:gd name="connsiteX122" fmla="*/ 479425 w 841375"/>
                <a:gd name="connsiteY122" fmla="*/ 698500 h 780573"/>
                <a:gd name="connsiteX123" fmla="*/ 450850 w 841375"/>
                <a:gd name="connsiteY123" fmla="*/ 685800 h 780573"/>
                <a:gd name="connsiteX124" fmla="*/ 431800 w 841375"/>
                <a:gd name="connsiteY124" fmla="*/ 666750 h 780573"/>
                <a:gd name="connsiteX125" fmla="*/ 425450 w 841375"/>
                <a:gd name="connsiteY125" fmla="*/ 657225 h 780573"/>
                <a:gd name="connsiteX126" fmla="*/ 415925 w 841375"/>
                <a:gd name="connsiteY126" fmla="*/ 650875 h 780573"/>
                <a:gd name="connsiteX127" fmla="*/ 409575 w 841375"/>
                <a:gd name="connsiteY127" fmla="*/ 641350 h 780573"/>
                <a:gd name="connsiteX128" fmla="*/ 396875 w 841375"/>
                <a:gd name="connsiteY128" fmla="*/ 635000 h 780573"/>
                <a:gd name="connsiteX129" fmla="*/ 387350 w 841375"/>
                <a:gd name="connsiteY129" fmla="*/ 628650 h 780573"/>
                <a:gd name="connsiteX130" fmla="*/ 384175 w 841375"/>
                <a:gd name="connsiteY130" fmla="*/ 619125 h 780573"/>
                <a:gd name="connsiteX131" fmla="*/ 346075 w 841375"/>
                <a:gd name="connsiteY131" fmla="*/ 587375 h 780573"/>
                <a:gd name="connsiteX132" fmla="*/ 327025 w 841375"/>
                <a:gd name="connsiteY132" fmla="*/ 581025 h 780573"/>
                <a:gd name="connsiteX133" fmla="*/ 301625 w 841375"/>
                <a:gd name="connsiteY133" fmla="*/ 571500 h 780573"/>
                <a:gd name="connsiteX134" fmla="*/ 215900 w 841375"/>
                <a:gd name="connsiteY134" fmla="*/ 574675 h 780573"/>
                <a:gd name="connsiteX135" fmla="*/ 196850 w 841375"/>
                <a:gd name="connsiteY135" fmla="*/ 584200 h 780573"/>
                <a:gd name="connsiteX136" fmla="*/ 187325 w 841375"/>
                <a:gd name="connsiteY136" fmla="*/ 587375 h 780573"/>
                <a:gd name="connsiteX137" fmla="*/ 69850 w 841375"/>
                <a:gd name="connsiteY137" fmla="*/ 584200 h 780573"/>
                <a:gd name="connsiteX138" fmla="*/ 47625 w 841375"/>
                <a:gd name="connsiteY138" fmla="*/ 577850 h 780573"/>
                <a:gd name="connsiteX139" fmla="*/ 28575 w 841375"/>
                <a:gd name="connsiteY139" fmla="*/ 574675 h 780573"/>
                <a:gd name="connsiteX140" fmla="*/ 6350 w 841375"/>
                <a:gd name="connsiteY140" fmla="*/ 568325 h 780573"/>
                <a:gd name="connsiteX141" fmla="*/ 15875 w 841375"/>
                <a:gd name="connsiteY141" fmla="*/ 565150 h 780573"/>
                <a:gd name="connsiteX0" fmla="*/ 15875 w 828675"/>
                <a:gd name="connsiteY0" fmla="*/ 565150 h 780573"/>
                <a:gd name="connsiteX1" fmla="*/ 9525 w 828675"/>
                <a:gd name="connsiteY1" fmla="*/ 555625 h 780573"/>
                <a:gd name="connsiteX2" fmla="*/ 6350 w 828675"/>
                <a:gd name="connsiteY2" fmla="*/ 542925 h 780573"/>
                <a:gd name="connsiteX3" fmla="*/ 0 w 828675"/>
                <a:gd name="connsiteY3" fmla="*/ 530225 h 780573"/>
                <a:gd name="connsiteX4" fmla="*/ 3175 w 828675"/>
                <a:gd name="connsiteY4" fmla="*/ 450850 h 780573"/>
                <a:gd name="connsiteX5" fmla="*/ 9525 w 828675"/>
                <a:gd name="connsiteY5" fmla="*/ 422275 h 780573"/>
                <a:gd name="connsiteX6" fmla="*/ 31750 w 828675"/>
                <a:gd name="connsiteY6" fmla="*/ 409575 h 780573"/>
                <a:gd name="connsiteX7" fmla="*/ 47625 w 828675"/>
                <a:gd name="connsiteY7" fmla="*/ 393700 h 780573"/>
                <a:gd name="connsiteX8" fmla="*/ 57150 w 828675"/>
                <a:gd name="connsiteY8" fmla="*/ 374650 h 780573"/>
                <a:gd name="connsiteX9" fmla="*/ 41275 w 828675"/>
                <a:gd name="connsiteY9" fmla="*/ 358775 h 780573"/>
                <a:gd name="connsiteX10" fmla="*/ 25400 w 828675"/>
                <a:gd name="connsiteY10" fmla="*/ 342900 h 780573"/>
                <a:gd name="connsiteX11" fmla="*/ 22225 w 828675"/>
                <a:gd name="connsiteY11" fmla="*/ 241300 h 780573"/>
                <a:gd name="connsiteX12" fmla="*/ 25400 w 828675"/>
                <a:gd name="connsiteY12" fmla="*/ 203200 h 780573"/>
                <a:gd name="connsiteX13" fmla="*/ 34925 w 828675"/>
                <a:gd name="connsiteY13" fmla="*/ 193675 h 780573"/>
                <a:gd name="connsiteX14" fmla="*/ 41275 w 828675"/>
                <a:gd name="connsiteY14" fmla="*/ 184150 h 780573"/>
                <a:gd name="connsiteX15" fmla="*/ 79375 w 828675"/>
                <a:gd name="connsiteY15" fmla="*/ 187325 h 780573"/>
                <a:gd name="connsiteX16" fmla="*/ 88900 w 828675"/>
                <a:gd name="connsiteY16" fmla="*/ 184150 h 780573"/>
                <a:gd name="connsiteX17" fmla="*/ 142875 w 828675"/>
                <a:gd name="connsiteY17" fmla="*/ 180975 h 780573"/>
                <a:gd name="connsiteX18" fmla="*/ 155575 w 828675"/>
                <a:gd name="connsiteY18" fmla="*/ 161925 h 780573"/>
                <a:gd name="connsiteX19" fmla="*/ 161925 w 828675"/>
                <a:gd name="connsiteY19" fmla="*/ 152400 h 780573"/>
                <a:gd name="connsiteX20" fmla="*/ 168275 w 828675"/>
                <a:gd name="connsiteY20" fmla="*/ 133350 h 780573"/>
                <a:gd name="connsiteX21" fmla="*/ 177800 w 828675"/>
                <a:gd name="connsiteY21" fmla="*/ 130175 h 780573"/>
                <a:gd name="connsiteX22" fmla="*/ 250825 w 828675"/>
                <a:gd name="connsiteY22" fmla="*/ 136525 h 780573"/>
                <a:gd name="connsiteX23" fmla="*/ 269875 w 828675"/>
                <a:gd name="connsiteY23" fmla="*/ 146050 h 780573"/>
                <a:gd name="connsiteX24" fmla="*/ 311150 w 828675"/>
                <a:gd name="connsiteY24" fmla="*/ 155575 h 780573"/>
                <a:gd name="connsiteX25" fmla="*/ 317500 w 828675"/>
                <a:gd name="connsiteY25" fmla="*/ 180975 h 780573"/>
                <a:gd name="connsiteX26" fmla="*/ 320675 w 828675"/>
                <a:gd name="connsiteY26" fmla="*/ 190500 h 780573"/>
                <a:gd name="connsiteX27" fmla="*/ 330200 w 828675"/>
                <a:gd name="connsiteY27" fmla="*/ 193675 h 780573"/>
                <a:gd name="connsiteX28" fmla="*/ 368300 w 828675"/>
                <a:gd name="connsiteY28" fmla="*/ 196850 h 780573"/>
                <a:gd name="connsiteX29" fmla="*/ 390525 w 828675"/>
                <a:gd name="connsiteY29" fmla="*/ 206375 h 780573"/>
                <a:gd name="connsiteX30" fmla="*/ 400050 w 828675"/>
                <a:gd name="connsiteY30" fmla="*/ 212725 h 780573"/>
                <a:gd name="connsiteX31" fmla="*/ 409575 w 828675"/>
                <a:gd name="connsiteY31" fmla="*/ 215900 h 780573"/>
                <a:gd name="connsiteX32" fmla="*/ 425450 w 828675"/>
                <a:gd name="connsiteY32" fmla="*/ 228600 h 780573"/>
                <a:gd name="connsiteX33" fmla="*/ 431800 w 828675"/>
                <a:gd name="connsiteY33" fmla="*/ 238125 h 780573"/>
                <a:gd name="connsiteX34" fmla="*/ 441325 w 828675"/>
                <a:gd name="connsiteY34" fmla="*/ 241300 h 780573"/>
                <a:gd name="connsiteX35" fmla="*/ 454025 w 828675"/>
                <a:gd name="connsiteY35" fmla="*/ 247650 h 780573"/>
                <a:gd name="connsiteX36" fmla="*/ 476250 w 828675"/>
                <a:gd name="connsiteY36" fmla="*/ 234950 h 780573"/>
                <a:gd name="connsiteX37" fmla="*/ 466725 w 828675"/>
                <a:gd name="connsiteY37" fmla="*/ 228600 h 780573"/>
                <a:gd name="connsiteX38" fmla="*/ 444500 w 828675"/>
                <a:gd name="connsiteY38" fmla="*/ 203200 h 780573"/>
                <a:gd name="connsiteX39" fmla="*/ 428625 w 828675"/>
                <a:gd name="connsiteY39" fmla="*/ 184150 h 780573"/>
                <a:gd name="connsiteX40" fmla="*/ 409575 w 828675"/>
                <a:gd name="connsiteY40" fmla="*/ 161925 h 780573"/>
                <a:gd name="connsiteX41" fmla="*/ 419100 w 828675"/>
                <a:gd name="connsiteY41" fmla="*/ 158750 h 780573"/>
                <a:gd name="connsiteX42" fmla="*/ 492125 w 828675"/>
                <a:gd name="connsiteY42" fmla="*/ 152400 h 780573"/>
                <a:gd name="connsiteX43" fmla="*/ 508000 w 828675"/>
                <a:gd name="connsiteY43" fmla="*/ 133350 h 780573"/>
                <a:gd name="connsiteX44" fmla="*/ 504825 w 828675"/>
                <a:gd name="connsiteY44" fmla="*/ 123825 h 780573"/>
                <a:gd name="connsiteX45" fmla="*/ 495300 w 828675"/>
                <a:gd name="connsiteY45" fmla="*/ 117475 h 780573"/>
                <a:gd name="connsiteX46" fmla="*/ 492125 w 828675"/>
                <a:gd name="connsiteY46" fmla="*/ 107950 h 780573"/>
                <a:gd name="connsiteX47" fmla="*/ 495300 w 828675"/>
                <a:gd name="connsiteY47" fmla="*/ 95250 h 780573"/>
                <a:gd name="connsiteX48" fmla="*/ 498475 w 828675"/>
                <a:gd name="connsiteY48" fmla="*/ 79375 h 780573"/>
                <a:gd name="connsiteX49" fmla="*/ 501650 w 828675"/>
                <a:gd name="connsiteY49" fmla="*/ 69850 h 780573"/>
                <a:gd name="connsiteX50" fmla="*/ 511175 w 828675"/>
                <a:gd name="connsiteY50" fmla="*/ 63500 h 780573"/>
                <a:gd name="connsiteX51" fmla="*/ 536575 w 828675"/>
                <a:gd name="connsiteY51" fmla="*/ 34925 h 780573"/>
                <a:gd name="connsiteX52" fmla="*/ 555625 w 828675"/>
                <a:gd name="connsiteY52" fmla="*/ 22225 h 780573"/>
                <a:gd name="connsiteX53" fmla="*/ 565150 w 828675"/>
                <a:gd name="connsiteY53" fmla="*/ 15875 h 780573"/>
                <a:gd name="connsiteX54" fmla="*/ 593725 w 828675"/>
                <a:gd name="connsiteY54" fmla="*/ 6350 h 780573"/>
                <a:gd name="connsiteX55" fmla="*/ 603250 w 828675"/>
                <a:gd name="connsiteY55" fmla="*/ 3175 h 780573"/>
                <a:gd name="connsiteX56" fmla="*/ 619125 w 828675"/>
                <a:gd name="connsiteY56" fmla="*/ 0 h 780573"/>
                <a:gd name="connsiteX57" fmla="*/ 628650 w 828675"/>
                <a:gd name="connsiteY57" fmla="*/ 3175 h 780573"/>
                <a:gd name="connsiteX58" fmla="*/ 676275 w 828675"/>
                <a:gd name="connsiteY58" fmla="*/ 9525 h 780573"/>
                <a:gd name="connsiteX59" fmla="*/ 695325 w 828675"/>
                <a:gd name="connsiteY59" fmla="*/ 15875 h 780573"/>
                <a:gd name="connsiteX60" fmla="*/ 704850 w 828675"/>
                <a:gd name="connsiteY60" fmla="*/ 19050 h 780573"/>
                <a:gd name="connsiteX61" fmla="*/ 730250 w 828675"/>
                <a:gd name="connsiteY61" fmla="*/ 15875 h 780573"/>
                <a:gd name="connsiteX62" fmla="*/ 739775 w 828675"/>
                <a:gd name="connsiteY62" fmla="*/ 6350 h 780573"/>
                <a:gd name="connsiteX63" fmla="*/ 749300 w 828675"/>
                <a:gd name="connsiteY63" fmla="*/ 0 h 780573"/>
                <a:gd name="connsiteX64" fmla="*/ 777875 w 828675"/>
                <a:gd name="connsiteY64" fmla="*/ 15875 h 780573"/>
                <a:gd name="connsiteX65" fmla="*/ 787400 w 828675"/>
                <a:gd name="connsiteY65" fmla="*/ 19050 h 780573"/>
                <a:gd name="connsiteX66" fmla="*/ 793750 w 828675"/>
                <a:gd name="connsiteY66" fmla="*/ 28575 h 780573"/>
                <a:gd name="connsiteX67" fmla="*/ 784225 w 828675"/>
                <a:gd name="connsiteY67" fmla="*/ 66675 h 780573"/>
                <a:gd name="connsiteX68" fmla="*/ 781050 w 828675"/>
                <a:gd name="connsiteY68" fmla="*/ 76200 h 780573"/>
                <a:gd name="connsiteX69" fmla="*/ 771525 w 828675"/>
                <a:gd name="connsiteY69" fmla="*/ 85725 h 780573"/>
                <a:gd name="connsiteX70" fmla="*/ 765175 w 828675"/>
                <a:gd name="connsiteY70" fmla="*/ 95250 h 780573"/>
                <a:gd name="connsiteX71" fmla="*/ 765175 w 828675"/>
                <a:gd name="connsiteY71" fmla="*/ 130175 h 780573"/>
                <a:gd name="connsiteX72" fmla="*/ 774700 w 828675"/>
                <a:gd name="connsiteY72" fmla="*/ 136525 h 780573"/>
                <a:gd name="connsiteX73" fmla="*/ 787400 w 828675"/>
                <a:gd name="connsiteY73" fmla="*/ 152400 h 780573"/>
                <a:gd name="connsiteX74" fmla="*/ 790575 w 828675"/>
                <a:gd name="connsiteY74" fmla="*/ 161925 h 780573"/>
                <a:gd name="connsiteX75" fmla="*/ 806450 w 828675"/>
                <a:gd name="connsiteY75" fmla="*/ 177800 h 780573"/>
                <a:gd name="connsiteX76" fmla="*/ 803275 w 828675"/>
                <a:gd name="connsiteY76" fmla="*/ 238125 h 780573"/>
                <a:gd name="connsiteX77" fmla="*/ 784225 w 828675"/>
                <a:gd name="connsiteY77" fmla="*/ 257175 h 780573"/>
                <a:gd name="connsiteX78" fmla="*/ 781050 w 828675"/>
                <a:gd name="connsiteY78" fmla="*/ 269875 h 780573"/>
                <a:gd name="connsiteX79" fmla="*/ 777875 w 828675"/>
                <a:gd name="connsiteY79" fmla="*/ 279400 h 780573"/>
                <a:gd name="connsiteX80" fmla="*/ 781050 w 828675"/>
                <a:gd name="connsiteY80" fmla="*/ 342900 h 780573"/>
                <a:gd name="connsiteX81" fmla="*/ 787400 w 828675"/>
                <a:gd name="connsiteY81" fmla="*/ 361950 h 780573"/>
                <a:gd name="connsiteX82" fmla="*/ 784225 w 828675"/>
                <a:gd name="connsiteY82" fmla="*/ 390525 h 780573"/>
                <a:gd name="connsiteX83" fmla="*/ 774700 w 828675"/>
                <a:gd name="connsiteY83" fmla="*/ 393700 h 780573"/>
                <a:gd name="connsiteX84" fmla="*/ 746125 w 828675"/>
                <a:gd name="connsiteY84" fmla="*/ 409575 h 780573"/>
                <a:gd name="connsiteX85" fmla="*/ 720725 w 828675"/>
                <a:gd name="connsiteY85" fmla="*/ 438150 h 780573"/>
                <a:gd name="connsiteX86" fmla="*/ 701675 w 828675"/>
                <a:gd name="connsiteY86" fmla="*/ 454025 h 780573"/>
                <a:gd name="connsiteX87" fmla="*/ 688975 w 828675"/>
                <a:gd name="connsiteY87" fmla="*/ 473075 h 780573"/>
                <a:gd name="connsiteX88" fmla="*/ 685800 w 828675"/>
                <a:gd name="connsiteY88" fmla="*/ 485775 h 780573"/>
                <a:gd name="connsiteX89" fmla="*/ 682625 w 828675"/>
                <a:gd name="connsiteY89" fmla="*/ 517525 h 780573"/>
                <a:gd name="connsiteX90" fmla="*/ 666750 w 828675"/>
                <a:gd name="connsiteY90" fmla="*/ 533400 h 780573"/>
                <a:gd name="connsiteX91" fmla="*/ 660400 w 828675"/>
                <a:gd name="connsiteY91" fmla="*/ 542925 h 780573"/>
                <a:gd name="connsiteX92" fmla="*/ 650875 w 828675"/>
                <a:gd name="connsiteY92" fmla="*/ 552450 h 780573"/>
                <a:gd name="connsiteX93" fmla="*/ 647700 w 828675"/>
                <a:gd name="connsiteY93" fmla="*/ 561975 h 780573"/>
                <a:gd name="connsiteX94" fmla="*/ 641350 w 828675"/>
                <a:gd name="connsiteY94" fmla="*/ 571500 h 780573"/>
                <a:gd name="connsiteX95" fmla="*/ 635000 w 828675"/>
                <a:gd name="connsiteY95" fmla="*/ 596900 h 780573"/>
                <a:gd name="connsiteX96" fmla="*/ 638175 w 828675"/>
                <a:gd name="connsiteY96" fmla="*/ 609600 h 780573"/>
                <a:gd name="connsiteX97" fmla="*/ 654050 w 828675"/>
                <a:gd name="connsiteY97" fmla="*/ 612775 h 780573"/>
                <a:gd name="connsiteX98" fmla="*/ 663575 w 828675"/>
                <a:gd name="connsiteY98" fmla="*/ 615950 h 780573"/>
                <a:gd name="connsiteX99" fmla="*/ 695325 w 828675"/>
                <a:gd name="connsiteY99" fmla="*/ 631825 h 780573"/>
                <a:gd name="connsiteX100" fmla="*/ 714375 w 828675"/>
                <a:gd name="connsiteY100" fmla="*/ 644525 h 780573"/>
                <a:gd name="connsiteX101" fmla="*/ 720725 w 828675"/>
                <a:gd name="connsiteY101" fmla="*/ 663575 h 780573"/>
                <a:gd name="connsiteX102" fmla="*/ 717550 w 828675"/>
                <a:gd name="connsiteY102" fmla="*/ 676275 h 780573"/>
                <a:gd name="connsiteX103" fmla="*/ 708025 w 828675"/>
                <a:gd name="connsiteY103" fmla="*/ 685800 h 780573"/>
                <a:gd name="connsiteX104" fmla="*/ 695325 w 828675"/>
                <a:gd name="connsiteY104" fmla="*/ 688975 h 780573"/>
                <a:gd name="connsiteX105" fmla="*/ 685800 w 828675"/>
                <a:gd name="connsiteY105" fmla="*/ 692150 h 780573"/>
                <a:gd name="connsiteX106" fmla="*/ 666750 w 828675"/>
                <a:gd name="connsiteY106" fmla="*/ 704850 h 780573"/>
                <a:gd name="connsiteX107" fmla="*/ 660400 w 828675"/>
                <a:gd name="connsiteY107" fmla="*/ 714375 h 780573"/>
                <a:gd name="connsiteX108" fmla="*/ 647700 w 828675"/>
                <a:gd name="connsiteY108" fmla="*/ 717550 h 780573"/>
                <a:gd name="connsiteX109" fmla="*/ 612775 w 828675"/>
                <a:gd name="connsiteY109" fmla="*/ 723900 h 780573"/>
                <a:gd name="connsiteX110" fmla="*/ 590550 w 828675"/>
                <a:gd name="connsiteY110" fmla="*/ 730250 h 780573"/>
                <a:gd name="connsiteX111" fmla="*/ 581025 w 828675"/>
                <a:gd name="connsiteY111" fmla="*/ 749300 h 780573"/>
                <a:gd name="connsiteX112" fmla="*/ 584200 w 828675"/>
                <a:gd name="connsiteY112" fmla="*/ 758825 h 780573"/>
                <a:gd name="connsiteX113" fmla="*/ 581025 w 828675"/>
                <a:gd name="connsiteY113" fmla="*/ 777875 h 780573"/>
                <a:gd name="connsiteX114" fmla="*/ 574675 w 828675"/>
                <a:gd name="connsiteY114" fmla="*/ 768350 h 780573"/>
                <a:gd name="connsiteX115" fmla="*/ 552450 w 828675"/>
                <a:gd name="connsiteY115" fmla="*/ 762000 h 780573"/>
                <a:gd name="connsiteX116" fmla="*/ 536575 w 828675"/>
                <a:gd name="connsiteY116" fmla="*/ 765175 h 780573"/>
                <a:gd name="connsiteX117" fmla="*/ 517525 w 828675"/>
                <a:gd name="connsiteY117" fmla="*/ 771525 h 780573"/>
                <a:gd name="connsiteX118" fmla="*/ 520700 w 828675"/>
                <a:gd name="connsiteY118" fmla="*/ 742950 h 780573"/>
                <a:gd name="connsiteX119" fmla="*/ 523875 w 828675"/>
                <a:gd name="connsiteY119" fmla="*/ 733425 h 780573"/>
                <a:gd name="connsiteX120" fmla="*/ 498475 w 828675"/>
                <a:gd name="connsiteY120" fmla="*/ 711200 h 780573"/>
                <a:gd name="connsiteX121" fmla="*/ 488950 w 828675"/>
                <a:gd name="connsiteY121" fmla="*/ 704850 h 780573"/>
                <a:gd name="connsiteX122" fmla="*/ 479425 w 828675"/>
                <a:gd name="connsiteY122" fmla="*/ 698500 h 780573"/>
                <a:gd name="connsiteX123" fmla="*/ 450850 w 828675"/>
                <a:gd name="connsiteY123" fmla="*/ 685800 h 780573"/>
                <a:gd name="connsiteX124" fmla="*/ 431800 w 828675"/>
                <a:gd name="connsiteY124" fmla="*/ 666750 h 780573"/>
                <a:gd name="connsiteX125" fmla="*/ 425450 w 828675"/>
                <a:gd name="connsiteY125" fmla="*/ 657225 h 780573"/>
                <a:gd name="connsiteX126" fmla="*/ 415925 w 828675"/>
                <a:gd name="connsiteY126" fmla="*/ 650875 h 780573"/>
                <a:gd name="connsiteX127" fmla="*/ 409575 w 828675"/>
                <a:gd name="connsiteY127" fmla="*/ 641350 h 780573"/>
                <a:gd name="connsiteX128" fmla="*/ 396875 w 828675"/>
                <a:gd name="connsiteY128" fmla="*/ 635000 h 780573"/>
                <a:gd name="connsiteX129" fmla="*/ 387350 w 828675"/>
                <a:gd name="connsiteY129" fmla="*/ 628650 h 780573"/>
                <a:gd name="connsiteX130" fmla="*/ 384175 w 828675"/>
                <a:gd name="connsiteY130" fmla="*/ 619125 h 780573"/>
                <a:gd name="connsiteX131" fmla="*/ 346075 w 828675"/>
                <a:gd name="connsiteY131" fmla="*/ 587375 h 780573"/>
                <a:gd name="connsiteX132" fmla="*/ 327025 w 828675"/>
                <a:gd name="connsiteY132" fmla="*/ 581025 h 780573"/>
                <a:gd name="connsiteX133" fmla="*/ 301625 w 828675"/>
                <a:gd name="connsiteY133" fmla="*/ 571500 h 780573"/>
                <a:gd name="connsiteX134" fmla="*/ 215900 w 828675"/>
                <a:gd name="connsiteY134" fmla="*/ 574675 h 780573"/>
                <a:gd name="connsiteX135" fmla="*/ 196850 w 828675"/>
                <a:gd name="connsiteY135" fmla="*/ 584200 h 780573"/>
                <a:gd name="connsiteX136" fmla="*/ 187325 w 828675"/>
                <a:gd name="connsiteY136" fmla="*/ 587375 h 780573"/>
                <a:gd name="connsiteX137" fmla="*/ 69850 w 828675"/>
                <a:gd name="connsiteY137" fmla="*/ 584200 h 780573"/>
                <a:gd name="connsiteX138" fmla="*/ 47625 w 828675"/>
                <a:gd name="connsiteY138" fmla="*/ 577850 h 780573"/>
                <a:gd name="connsiteX139" fmla="*/ 28575 w 828675"/>
                <a:gd name="connsiteY139" fmla="*/ 574675 h 780573"/>
                <a:gd name="connsiteX140" fmla="*/ 6350 w 828675"/>
                <a:gd name="connsiteY140" fmla="*/ 568325 h 780573"/>
                <a:gd name="connsiteX141" fmla="*/ 15875 w 828675"/>
                <a:gd name="connsiteY141" fmla="*/ 565150 h 780573"/>
                <a:gd name="connsiteX0" fmla="*/ 15875 w 828675"/>
                <a:gd name="connsiteY0" fmla="*/ 565150 h 780573"/>
                <a:gd name="connsiteX1" fmla="*/ 9525 w 828675"/>
                <a:gd name="connsiteY1" fmla="*/ 555625 h 780573"/>
                <a:gd name="connsiteX2" fmla="*/ 6350 w 828675"/>
                <a:gd name="connsiteY2" fmla="*/ 542925 h 780573"/>
                <a:gd name="connsiteX3" fmla="*/ 0 w 828675"/>
                <a:gd name="connsiteY3" fmla="*/ 530225 h 780573"/>
                <a:gd name="connsiteX4" fmla="*/ 3175 w 828675"/>
                <a:gd name="connsiteY4" fmla="*/ 450850 h 780573"/>
                <a:gd name="connsiteX5" fmla="*/ 9525 w 828675"/>
                <a:gd name="connsiteY5" fmla="*/ 422275 h 780573"/>
                <a:gd name="connsiteX6" fmla="*/ 31750 w 828675"/>
                <a:gd name="connsiteY6" fmla="*/ 409575 h 780573"/>
                <a:gd name="connsiteX7" fmla="*/ 47625 w 828675"/>
                <a:gd name="connsiteY7" fmla="*/ 393700 h 780573"/>
                <a:gd name="connsiteX8" fmla="*/ 57150 w 828675"/>
                <a:gd name="connsiteY8" fmla="*/ 374650 h 780573"/>
                <a:gd name="connsiteX9" fmla="*/ 41275 w 828675"/>
                <a:gd name="connsiteY9" fmla="*/ 358775 h 780573"/>
                <a:gd name="connsiteX10" fmla="*/ 25400 w 828675"/>
                <a:gd name="connsiteY10" fmla="*/ 342900 h 780573"/>
                <a:gd name="connsiteX11" fmla="*/ 22225 w 828675"/>
                <a:gd name="connsiteY11" fmla="*/ 241300 h 780573"/>
                <a:gd name="connsiteX12" fmla="*/ 25400 w 828675"/>
                <a:gd name="connsiteY12" fmla="*/ 203200 h 780573"/>
                <a:gd name="connsiteX13" fmla="*/ 34925 w 828675"/>
                <a:gd name="connsiteY13" fmla="*/ 193675 h 780573"/>
                <a:gd name="connsiteX14" fmla="*/ 41275 w 828675"/>
                <a:gd name="connsiteY14" fmla="*/ 184150 h 780573"/>
                <a:gd name="connsiteX15" fmla="*/ 79375 w 828675"/>
                <a:gd name="connsiteY15" fmla="*/ 187325 h 780573"/>
                <a:gd name="connsiteX16" fmla="*/ 88900 w 828675"/>
                <a:gd name="connsiteY16" fmla="*/ 184150 h 780573"/>
                <a:gd name="connsiteX17" fmla="*/ 142875 w 828675"/>
                <a:gd name="connsiteY17" fmla="*/ 180975 h 780573"/>
                <a:gd name="connsiteX18" fmla="*/ 155575 w 828675"/>
                <a:gd name="connsiteY18" fmla="*/ 161925 h 780573"/>
                <a:gd name="connsiteX19" fmla="*/ 161925 w 828675"/>
                <a:gd name="connsiteY19" fmla="*/ 152400 h 780573"/>
                <a:gd name="connsiteX20" fmla="*/ 168275 w 828675"/>
                <a:gd name="connsiteY20" fmla="*/ 133350 h 780573"/>
                <a:gd name="connsiteX21" fmla="*/ 177800 w 828675"/>
                <a:gd name="connsiteY21" fmla="*/ 130175 h 780573"/>
                <a:gd name="connsiteX22" fmla="*/ 250825 w 828675"/>
                <a:gd name="connsiteY22" fmla="*/ 136525 h 780573"/>
                <a:gd name="connsiteX23" fmla="*/ 269875 w 828675"/>
                <a:gd name="connsiteY23" fmla="*/ 146050 h 780573"/>
                <a:gd name="connsiteX24" fmla="*/ 317500 w 828675"/>
                <a:gd name="connsiteY24" fmla="*/ 180975 h 780573"/>
                <a:gd name="connsiteX25" fmla="*/ 320675 w 828675"/>
                <a:gd name="connsiteY25" fmla="*/ 190500 h 780573"/>
                <a:gd name="connsiteX26" fmla="*/ 330200 w 828675"/>
                <a:gd name="connsiteY26" fmla="*/ 193675 h 780573"/>
                <a:gd name="connsiteX27" fmla="*/ 368300 w 828675"/>
                <a:gd name="connsiteY27" fmla="*/ 196850 h 780573"/>
                <a:gd name="connsiteX28" fmla="*/ 390525 w 828675"/>
                <a:gd name="connsiteY28" fmla="*/ 206375 h 780573"/>
                <a:gd name="connsiteX29" fmla="*/ 400050 w 828675"/>
                <a:gd name="connsiteY29" fmla="*/ 212725 h 780573"/>
                <a:gd name="connsiteX30" fmla="*/ 409575 w 828675"/>
                <a:gd name="connsiteY30" fmla="*/ 215900 h 780573"/>
                <a:gd name="connsiteX31" fmla="*/ 425450 w 828675"/>
                <a:gd name="connsiteY31" fmla="*/ 228600 h 780573"/>
                <a:gd name="connsiteX32" fmla="*/ 431800 w 828675"/>
                <a:gd name="connsiteY32" fmla="*/ 238125 h 780573"/>
                <a:gd name="connsiteX33" fmla="*/ 441325 w 828675"/>
                <a:gd name="connsiteY33" fmla="*/ 241300 h 780573"/>
                <a:gd name="connsiteX34" fmla="*/ 454025 w 828675"/>
                <a:gd name="connsiteY34" fmla="*/ 247650 h 780573"/>
                <a:gd name="connsiteX35" fmla="*/ 476250 w 828675"/>
                <a:gd name="connsiteY35" fmla="*/ 234950 h 780573"/>
                <a:gd name="connsiteX36" fmla="*/ 466725 w 828675"/>
                <a:gd name="connsiteY36" fmla="*/ 228600 h 780573"/>
                <a:gd name="connsiteX37" fmla="*/ 444500 w 828675"/>
                <a:gd name="connsiteY37" fmla="*/ 203200 h 780573"/>
                <a:gd name="connsiteX38" fmla="*/ 428625 w 828675"/>
                <a:gd name="connsiteY38" fmla="*/ 184150 h 780573"/>
                <a:gd name="connsiteX39" fmla="*/ 409575 w 828675"/>
                <a:gd name="connsiteY39" fmla="*/ 161925 h 780573"/>
                <a:gd name="connsiteX40" fmla="*/ 419100 w 828675"/>
                <a:gd name="connsiteY40" fmla="*/ 158750 h 780573"/>
                <a:gd name="connsiteX41" fmla="*/ 492125 w 828675"/>
                <a:gd name="connsiteY41" fmla="*/ 152400 h 780573"/>
                <a:gd name="connsiteX42" fmla="*/ 508000 w 828675"/>
                <a:gd name="connsiteY42" fmla="*/ 133350 h 780573"/>
                <a:gd name="connsiteX43" fmla="*/ 504825 w 828675"/>
                <a:gd name="connsiteY43" fmla="*/ 123825 h 780573"/>
                <a:gd name="connsiteX44" fmla="*/ 495300 w 828675"/>
                <a:gd name="connsiteY44" fmla="*/ 117475 h 780573"/>
                <a:gd name="connsiteX45" fmla="*/ 492125 w 828675"/>
                <a:gd name="connsiteY45" fmla="*/ 107950 h 780573"/>
                <a:gd name="connsiteX46" fmla="*/ 495300 w 828675"/>
                <a:gd name="connsiteY46" fmla="*/ 95250 h 780573"/>
                <a:gd name="connsiteX47" fmla="*/ 498475 w 828675"/>
                <a:gd name="connsiteY47" fmla="*/ 79375 h 780573"/>
                <a:gd name="connsiteX48" fmla="*/ 501650 w 828675"/>
                <a:gd name="connsiteY48" fmla="*/ 69850 h 780573"/>
                <a:gd name="connsiteX49" fmla="*/ 511175 w 828675"/>
                <a:gd name="connsiteY49" fmla="*/ 63500 h 780573"/>
                <a:gd name="connsiteX50" fmla="*/ 536575 w 828675"/>
                <a:gd name="connsiteY50" fmla="*/ 34925 h 780573"/>
                <a:gd name="connsiteX51" fmla="*/ 555625 w 828675"/>
                <a:gd name="connsiteY51" fmla="*/ 22225 h 780573"/>
                <a:gd name="connsiteX52" fmla="*/ 565150 w 828675"/>
                <a:gd name="connsiteY52" fmla="*/ 15875 h 780573"/>
                <a:gd name="connsiteX53" fmla="*/ 593725 w 828675"/>
                <a:gd name="connsiteY53" fmla="*/ 6350 h 780573"/>
                <a:gd name="connsiteX54" fmla="*/ 603250 w 828675"/>
                <a:gd name="connsiteY54" fmla="*/ 3175 h 780573"/>
                <a:gd name="connsiteX55" fmla="*/ 619125 w 828675"/>
                <a:gd name="connsiteY55" fmla="*/ 0 h 780573"/>
                <a:gd name="connsiteX56" fmla="*/ 628650 w 828675"/>
                <a:gd name="connsiteY56" fmla="*/ 3175 h 780573"/>
                <a:gd name="connsiteX57" fmla="*/ 676275 w 828675"/>
                <a:gd name="connsiteY57" fmla="*/ 9525 h 780573"/>
                <a:gd name="connsiteX58" fmla="*/ 695325 w 828675"/>
                <a:gd name="connsiteY58" fmla="*/ 15875 h 780573"/>
                <a:gd name="connsiteX59" fmla="*/ 704850 w 828675"/>
                <a:gd name="connsiteY59" fmla="*/ 19050 h 780573"/>
                <a:gd name="connsiteX60" fmla="*/ 730250 w 828675"/>
                <a:gd name="connsiteY60" fmla="*/ 15875 h 780573"/>
                <a:gd name="connsiteX61" fmla="*/ 739775 w 828675"/>
                <a:gd name="connsiteY61" fmla="*/ 6350 h 780573"/>
                <a:gd name="connsiteX62" fmla="*/ 749300 w 828675"/>
                <a:gd name="connsiteY62" fmla="*/ 0 h 780573"/>
                <a:gd name="connsiteX63" fmla="*/ 777875 w 828675"/>
                <a:gd name="connsiteY63" fmla="*/ 15875 h 780573"/>
                <a:gd name="connsiteX64" fmla="*/ 787400 w 828675"/>
                <a:gd name="connsiteY64" fmla="*/ 19050 h 780573"/>
                <a:gd name="connsiteX65" fmla="*/ 793750 w 828675"/>
                <a:gd name="connsiteY65" fmla="*/ 28575 h 780573"/>
                <a:gd name="connsiteX66" fmla="*/ 784225 w 828675"/>
                <a:gd name="connsiteY66" fmla="*/ 66675 h 780573"/>
                <a:gd name="connsiteX67" fmla="*/ 781050 w 828675"/>
                <a:gd name="connsiteY67" fmla="*/ 76200 h 780573"/>
                <a:gd name="connsiteX68" fmla="*/ 771525 w 828675"/>
                <a:gd name="connsiteY68" fmla="*/ 85725 h 780573"/>
                <a:gd name="connsiteX69" fmla="*/ 765175 w 828675"/>
                <a:gd name="connsiteY69" fmla="*/ 95250 h 780573"/>
                <a:gd name="connsiteX70" fmla="*/ 765175 w 828675"/>
                <a:gd name="connsiteY70" fmla="*/ 130175 h 780573"/>
                <a:gd name="connsiteX71" fmla="*/ 774700 w 828675"/>
                <a:gd name="connsiteY71" fmla="*/ 136525 h 780573"/>
                <a:gd name="connsiteX72" fmla="*/ 787400 w 828675"/>
                <a:gd name="connsiteY72" fmla="*/ 152400 h 780573"/>
                <a:gd name="connsiteX73" fmla="*/ 790575 w 828675"/>
                <a:gd name="connsiteY73" fmla="*/ 161925 h 780573"/>
                <a:gd name="connsiteX74" fmla="*/ 806450 w 828675"/>
                <a:gd name="connsiteY74" fmla="*/ 177800 h 780573"/>
                <a:gd name="connsiteX75" fmla="*/ 803275 w 828675"/>
                <a:gd name="connsiteY75" fmla="*/ 238125 h 780573"/>
                <a:gd name="connsiteX76" fmla="*/ 784225 w 828675"/>
                <a:gd name="connsiteY76" fmla="*/ 257175 h 780573"/>
                <a:gd name="connsiteX77" fmla="*/ 781050 w 828675"/>
                <a:gd name="connsiteY77" fmla="*/ 269875 h 780573"/>
                <a:gd name="connsiteX78" fmla="*/ 777875 w 828675"/>
                <a:gd name="connsiteY78" fmla="*/ 279400 h 780573"/>
                <a:gd name="connsiteX79" fmla="*/ 781050 w 828675"/>
                <a:gd name="connsiteY79" fmla="*/ 342900 h 780573"/>
                <a:gd name="connsiteX80" fmla="*/ 787400 w 828675"/>
                <a:gd name="connsiteY80" fmla="*/ 361950 h 780573"/>
                <a:gd name="connsiteX81" fmla="*/ 784225 w 828675"/>
                <a:gd name="connsiteY81" fmla="*/ 390525 h 780573"/>
                <a:gd name="connsiteX82" fmla="*/ 774700 w 828675"/>
                <a:gd name="connsiteY82" fmla="*/ 393700 h 780573"/>
                <a:gd name="connsiteX83" fmla="*/ 746125 w 828675"/>
                <a:gd name="connsiteY83" fmla="*/ 409575 h 780573"/>
                <a:gd name="connsiteX84" fmla="*/ 720725 w 828675"/>
                <a:gd name="connsiteY84" fmla="*/ 438150 h 780573"/>
                <a:gd name="connsiteX85" fmla="*/ 701675 w 828675"/>
                <a:gd name="connsiteY85" fmla="*/ 454025 h 780573"/>
                <a:gd name="connsiteX86" fmla="*/ 688975 w 828675"/>
                <a:gd name="connsiteY86" fmla="*/ 473075 h 780573"/>
                <a:gd name="connsiteX87" fmla="*/ 685800 w 828675"/>
                <a:gd name="connsiteY87" fmla="*/ 485775 h 780573"/>
                <a:gd name="connsiteX88" fmla="*/ 682625 w 828675"/>
                <a:gd name="connsiteY88" fmla="*/ 517525 h 780573"/>
                <a:gd name="connsiteX89" fmla="*/ 666750 w 828675"/>
                <a:gd name="connsiteY89" fmla="*/ 533400 h 780573"/>
                <a:gd name="connsiteX90" fmla="*/ 660400 w 828675"/>
                <a:gd name="connsiteY90" fmla="*/ 542925 h 780573"/>
                <a:gd name="connsiteX91" fmla="*/ 650875 w 828675"/>
                <a:gd name="connsiteY91" fmla="*/ 552450 h 780573"/>
                <a:gd name="connsiteX92" fmla="*/ 647700 w 828675"/>
                <a:gd name="connsiteY92" fmla="*/ 561975 h 780573"/>
                <a:gd name="connsiteX93" fmla="*/ 641350 w 828675"/>
                <a:gd name="connsiteY93" fmla="*/ 571500 h 780573"/>
                <a:gd name="connsiteX94" fmla="*/ 635000 w 828675"/>
                <a:gd name="connsiteY94" fmla="*/ 596900 h 780573"/>
                <a:gd name="connsiteX95" fmla="*/ 638175 w 828675"/>
                <a:gd name="connsiteY95" fmla="*/ 609600 h 780573"/>
                <a:gd name="connsiteX96" fmla="*/ 654050 w 828675"/>
                <a:gd name="connsiteY96" fmla="*/ 612775 h 780573"/>
                <a:gd name="connsiteX97" fmla="*/ 663575 w 828675"/>
                <a:gd name="connsiteY97" fmla="*/ 615950 h 780573"/>
                <a:gd name="connsiteX98" fmla="*/ 695325 w 828675"/>
                <a:gd name="connsiteY98" fmla="*/ 631825 h 780573"/>
                <a:gd name="connsiteX99" fmla="*/ 714375 w 828675"/>
                <a:gd name="connsiteY99" fmla="*/ 644525 h 780573"/>
                <a:gd name="connsiteX100" fmla="*/ 720725 w 828675"/>
                <a:gd name="connsiteY100" fmla="*/ 663575 h 780573"/>
                <a:gd name="connsiteX101" fmla="*/ 717550 w 828675"/>
                <a:gd name="connsiteY101" fmla="*/ 676275 h 780573"/>
                <a:gd name="connsiteX102" fmla="*/ 708025 w 828675"/>
                <a:gd name="connsiteY102" fmla="*/ 685800 h 780573"/>
                <a:gd name="connsiteX103" fmla="*/ 695325 w 828675"/>
                <a:gd name="connsiteY103" fmla="*/ 688975 h 780573"/>
                <a:gd name="connsiteX104" fmla="*/ 685800 w 828675"/>
                <a:gd name="connsiteY104" fmla="*/ 692150 h 780573"/>
                <a:gd name="connsiteX105" fmla="*/ 666750 w 828675"/>
                <a:gd name="connsiteY105" fmla="*/ 704850 h 780573"/>
                <a:gd name="connsiteX106" fmla="*/ 660400 w 828675"/>
                <a:gd name="connsiteY106" fmla="*/ 714375 h 780573"/>
                <a:gd name="connsiteX107" fmla="*/ 647700 w 828675"/>
                <a:gd name="connsiteY107" fmla="*/ 717550 h 780573"/>
                <a:gd name="connsiteX108" fmla="*/ 612775 w 828675"/>
                <a:gd name="connsiteY108" fmla="*/ 723900 h 780573"/>
                <a:gd name="connsiteX109" fmla="*/ 590550 w 828675"/>
                <a:gd name="connsiteY109" fmla="*/ 730250 h 780573"/>
                <a:gd name="connsiteX110" fmla="*/ 581025 w 828675"/>
                <a:gd name="connsiteY110" fmla="*/ 749300 h 780573"/>
                <a:gd name="connsiteX111" fmla="*/ 584200 w 828675"/>
                <a:gd name="connsiteY111" fmla="*/ 758825 h 780573"/>
                <a:gd name="connsiteX112" fmla="*/ 581025 w 828675"/>
                <a:gd name="connsiteY112" fmla="*/ 777875 h 780573"/>
                <a:gd name="connsiteX113" fmla="*/ 574675 w 828675"/>
                <a:gd name="connsiteY113" fmla="*/ 768350 h 780573"/>
                <a:gd name="connsiteX114" fmla="*/ 552450 w 828675"/>
                <a:gd name="connsiteY114" fmla="*/ 762000 h 780573"/>
                <a:gd name="connsiteX115" fmla="*/ 536575 w 828675"/>
                <a:gd name="connsiteY115" fmla="*/ 765175 h 780573"/>
                <a:gd name="connsiteX116" fmla="*/ 517525 w 828675"/>
                <a:gd name="connsiteY116" fmla="*/ 771525 h 780573"/>
                <a:gd name="connsiteX117" fmla="*/ 520700 w 828675"/>
                <a:gd name="connsiteY117" fmla="*/ 742950 h 780573"/>
                <a:gd name="connsiteX118" fmla="*/ 523875 w 828675"/>
                <a:gd name="connsiteY118" fmla="*/ 733425 h 780573"/>
                <a:gd name="connsiteX119" fmla="*/ 498475 w 828675"/>
                <a:gd name="connsiteY119" fmla="*/ 711200 h 780573"/>
                <a:gd name="connsiteX120" fmla="*/ 488950 w 828675"/>
                <a:gd name="connsiteY120" fmla="*/ 704850 h 780573"/>
                <a:gd name="connsiteX121" fmla="*/ 479425 w 828675"/>
                <a:gd name="connsiteY121" fmla="*/ 698500 h 780573"/>
                <a:gd name="connsiteX122" fmla="*/ 450850 w 828675"/>
                <a:gd name="connsiteY122" fmla="*/ 685800 h 780573"/>
                <a:gd name="connsiteX123" fmla="*/ 431800 w 828675"/>
                <a:gd name="connsiteY123" fmla="*/ 666750 h 780573"/>
                <a:gd name="connsiteX124" fmla="*/ 425450 w 828675"/>
                <a:gd name="connsiteY124" fmla="*/ 657225 h 780573"/>
                <a:gd name="connsiteX125" fmla="*/ 415925 w 828675"/>
                <a:gd name="connsiteY125" fmla="*/ 650875 h 780573"/>
                <a:gd name="connsiteX126" fmla="*/ 409575 w 828675"/>
                <a:gd name="connsiteY126" fmla="*/ 641350 h 780573"/>
                <a:gd name="connsiteX127" fmla="*/ 396875 w 828675"/>
                <a:gd name="connsiteY127" fmla="*/ 635000 h 780573"/>
                <a:gd name="connsiteX128" fmla="*/ 387350 w 828675"/>
                <a:gd name="connsiteY128" fmla="*/ 628650 h 780573"/>
                <a:gd name="connsiteX129" fmla="*/ 384175 w 828675"/>
                <a:gd name="connsiteY129" fmla="*/ 619125 h 780573"/>
                <a:gd name="connsiteX130" fmla="*/ 346075 w 828675"/>
                <a:gd name="connsiteY130" fmla="*/ 587375 h 780573"/>
                <a:gd name="connsiteX131" fmla="*/ 327025 w 828675"/>
                <a:gd name="connsiteY131" fmla="*/ 581025 h 780573"/>
                <a:gd name="connsiteX132" fmla="*/ 301625 w 828675"/>
                <a:gd name="connsiteY132" fmla="*/ 571500 h 780573"/>
                <a:gd name="connsiteX133" fmla="*/ 215900 w 828675"/>
                <a:gd name="connsiteY133" fmla="*/ 574675 h 780573"/>
                <a:gd name="connsiteX134" fmla="*/ 196850 w 828675"/>
                <a:gd name="connsiteY134" fmla="*/ 584200 h 780573"/>
                <a:gd name="connsiteX135" fmla="*/ 187325 w 828675"/>
                <a:gd name="connsiteY135" fmla="*/ 587375 h 780573"/>
                <a:gd name="connsiteX136" fmla="*/ 69850 w 828675"/>
                <a:gd name="connsiteY136" fmla="*/ 584200 h 780573"/>
                <a:gd name="connsiteX137" fmla="*/ 47625 w 828675"/>
                <a:gd name="connsiteY137" fmla="*/ 577850 h 780573"/>
                <a:gd name="connsiteX138" fmla="*/ 28575 w 828675"/>
                <a:gd name="connsiteY138" fmla="*/ 574675 h 780573"/>
                <a:gd name="connsiteX139" fmla="*/ 6350 w 828675"/>
                <a:gd name="connsiteY139" fmla="*/ 568325 h 780573"/>
                <a:gd name="connsiteX140" fmla="*/ 15875 w 828675"/>
                <a:gd name="connsiteY140" fmla="*/ 565150 h 780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828675" h="780573">
                  <a:moveTo>
                    <a:pt x="15875" y="565150"/>
                  </a:moveTo>
                  <a:cubicBezTo>
                    <a:pt x="16404" y="563033"/>
                    <a:pt x="11028" y="559132"/>
                    <a:pt x="9525" y="555625"/>
                  </a:cubicBezTo>
                  <a:cubicBezTo>
                    <a:pt x="7806" y="551614"/>
                    <a:pt x="7882" y="547011"/>
                    <a:pt x="6350" y="542925"/>
                  </a:cubicBezTo>
                  <a:cubicBezTo>
                    <a:pt x="4688" y="538493"/>
                    <a:pt x="2117" y="534458"/>
                    <a:pt x="0" y="530225"/>
                  </a:cubicBezTo>
                  <a:cubicBezTo>
                    <a:pt x="1058" y="503767"/>
                    <a:pt x="1470" y="477275"/>
                    <a:pt x="3175" y="450850"/>
                  </a:cubicBezTo>
                  <a:cubicBezTo>
                    <a:pt x="3186" y="450682"/>
                    <a:pt x="6245" y="426375"/>
                    <a:pt x="9525" y="422275"/>
                  </a:cubicBezTo>
                  <a:cubicBezTo>
                    <a:pt x="12517" y="418535"/>
                    <a:pt x="28625" y="411137"/>
                    <a:pt x="31750" y="409575"/>
                  </a:cubicBezTo>
                  <a:cubicBezTo>
                    <a:pt x="48683" y="384175"/>
                    <a:pt x="26458" y="414867"/>
                    <a:pt x="47625" y="393700"/>
                  </a:cubicBezTo>
                  <a:cubicBezTo>
                    <a:pt x="53780" y="387545"/>
                    <a:pt x="54568" y="382397"/>
                    <a:pt x="57150" y="374650"/>
                  </a:cubicBezTo>
                  <a:cubicBezTo>
                    <a:pt x="40217" y="349250"/>
                    <a:pt x="62442" y="379942"/>
                    <a:pt x="41275" y="358775"/>
                  </a:cubicBezTo>
                  <a:cubicBezTo>
                    <a:pt x="20108" y="337608"/>
                    <a:pt x="50800" y="359833"/>
                    <a:pt x="25400" y="342900"/>
                  </a:cubicBezTo>
                  <a:cubicBezTo>
                    <a:pt x="10607" y="298522"/>
                    <a:pt x="17701" y="327262"/>
                    <a:pt x="22225" y="241300"/>
                  </a:cubicBezTo>
                  <a:cubicBezTo>
                    <a:pt x="22895" y="228574"/>
                    <a:pt x="22116" y="215514"/>
                    <a:pt x="25400" y="203200"/>
                  </a:cubicBezTo>
                  <a:cubicBezTo>
                    <a:pt x="26557" y="198861"/>
                    <a:pt x="32050" y="197124"/>
                    <a:pt x="34925" y="193675"/>
                  </a:cubicBezTo>
                  <a:cubicBezTo>
                    <a:pt x="37368" y="190744"/>
                    <a:pt x="39158" y="187325"/>
                    <a:pt x="41275" y="184150"/>
                  </a:cubicBezTo>
                  <a:cubicBezTo>
                    <a:pt x="63765" y="191647"/>
                    <a:pt x="56288" y="192455"/>
                    <a:pt x="79375" y="187325"/>
                  </a:cubicBezTo>
                  <a:cubicBezTo>
                    <a:pt x="82642" y="186599"/>
                    <a:pt x="85570" y="184483"/>
                    <a:pt x="88900" y="184150"/>
                  </a:cubicBezTo>
                  <a:cubicBezTo>
                    <a:pt x="106833" y="182357"/>
                    <a:pt x="124883" y="182033"/>
                    <a:pt x="142875" y="180975"/>
                  </a:cubicBezTo>
                  <a:lnTo>
                    <a:pt x="155575" y="161925"/>
                  </a:lnTo>
                  <a:cubicBezTo>
                    <a:pt x="157692" y="158750"/>
                    <a:pt x="160718" y="156020"/>
                    <a:pt x="161925" y="152400"/>
                  </a:cubicBezTo>
                  <a:cubicBezTo>
                    <a:pt x="164042" y="146050"/>
                    <a:pt x="161925" y="135467"/>
                    <a:pt x="168275" y="133350"/>
                  </a:cubicBezTo>
                  <a:lnTo>
                    <a:pt x="177800" y="130175"/>
                  </a:lnTo>
                  <a:cubicBezTo>
                    <a:pt x="227953" y="138534"/>
                    <a:pt x="153117" y="126754"/>
                    <a:pt x="250825" y="136525"/>
                  </a:cubicBezTo>
                  <a:cubicBezTo>
                    <a:pt x="262031" y="137646"/>
                    <a:pt x="259777" y="141562"/>
                    <a:pt x="269875" y="146050"/>
                  </a:cubicBezTo>
                  <a:cubicBezTo>
                    <a:pt x="280988" y="153458"/>
                    <a:pt x="309033" y="173567"/>
                    <a:pt x="317500" y="180975"/>
                  </a:cubicBezTo>
                  <a:cubicBezTo>
                    <a:pt x="325967" y="188383"/>
                    <a:pt x="318308" y="188133"/>
                    <a:pt x="320675" y="190500"/>
                  </a:cubicBezTo>
                  <a:cubicBezTo>
                    <a:pt x="323042" y="192867"/>
                    <a:pt x="326883" y="193233"/>
                    <a:pt x="330200" y="193675"/>
                  </a:cubicBezTo>
                  <a:cubicBezTo>
                    <a:pt x="342832" y="195359"/>
                    <a:pt x="355600" y="195792"/>
                    <a:pt x="368300" y="196850"/>
                  </a:cubicBezTo>
                  <a:cubicBezTo>
                    <a:pt x="392213" y="212792"/>
                    <a:pt x="361822" y="194074"/>
                    <a:pt x="390525" y="206375"/>
                  </a:cubicBezTo>
                  <a:cubicBezTo>
                    <a:pt x="394032" y="207878"/>
                    <a:pt x="396637" y="211018"/>
                    <a:pt x="400050" y="212725"/>
                  </a:cubicBezTo>
                  <a:cubicBezTo>
                    <a:pt x="403043" y="214222"/>
                    <a:pt x="406400" y="214842"/>
                    <a:pt x="409575" y="215900"/>
                  </a:cubicBezTo>
                  <a:cubicBezTo>
                    <a:pt x="427773" y="243197"/>
                    <a:pt x="403542" y="211073"/>
                    <a:pt x="425450" y="228600"/>
                  </a:cubicBezTo>
                  <a:cubicBezTo>
                    <a:pt x="428430" y="230984"/>
                    <a:pt x="428820" y="235741"/>
                    <a:pt x="431800" y="238125"/>
                  </a:cubicBezTo>
                  <a:cubicBezTo>
                    <a:pt x="434413" y="240216"/>
                    <a:pt x="438249" y="239982"/>
                    <a:pt x="441325" y="241300"/>
                  </a:cubicBezTo>
                  <a:cubicBezTo>
                    <a:pt x="445675" y="243164"/>
                    <a:pt x="449792" y="245533"/>
                    <a:pt x="454025" y="247650"/>
                  </a:cubicBezTo>
                  <a:cubicBezTo>
                    <a:pt x="455704" y="247370"/>
                    <a:pt x="481786" y="248791"/>
                    <a:pt x="476250" y="234950"/>
                  </a:cubicBezTo>
                  <a:cubicBezTo>
                    <a:pt x="474833" y="231407"/>
                    <a:pt x="469900" y="230717"/>
                    <a:pt x="466725" y="228600"/>
                  </a:cubicBezTo>
                  <a:cubicBezTo>
                    <a:pt x="451908" y="206375"/>
                    <a:pt x="460375" y="213783"/>
                    <a:pt x="444500" y="203200"/>
                  </a:cubicBezTo>
                  <a:cubicBezTo>
                    <a:pt x="430465" y="182148"/>
                    <a:pt x="446960" y="205541"/>
                    <a:pt x="428625" y="184150"/>
                  </a:cubicBezTo>
                  <a:cubicBezTo>
                    <a:pt x="404187" y="155639"/>
                    <a:pt x="433210" y="185560"/>
                    <a:pt x="409575" y="161925"/>
                  </a:cubicBezTo>
                  <a:cubicBezTo>
                    <a:pt x="412750" y="160867"/>
                    <a:pt x="415766" y="159040"/>
                    <a:pt x="419100" y="158750"/>
                  </a:cubicBezTo>
                  <a:cubicBezTo>
                    <a:pt x="495969" y="152066"/>
                    <a:pt x="460911" y="162805"/>
                    <a:pt x="492125" y="152400"/>
                  </a:cubicBezTo>
                  <a:cubicBezTo>
                    <a:pt x="494986" y="149539"/>
                    <a:pt x="507116" y="138654"/>
                    <a:pt x="508000" y="133350"/>
                  </a:cubicBezTo>
                  <a:cubicBezTo>
                    <a:pt x="508550" y="130049"/>
                    <a:pt x="506916" y="126438"/>
                    <a:pt x="504825" y="123825"/>
                  </a:cubicBezTo>
                  <a:cubicBezTo>
                    <a:pt x="502441" y="120845"/>
                    <a:pt x="498475" y="119592"/>
                    <a:pt x="495300" y="117475"/>
                  </a:cubicBezTo>
                  <a:cubicBezTo>
                    <a:pt x="494242" y="114300"/>
                    <a:pt x="492125" y="111297"/>
                    <a:pt x="492125" y="107950"/>
                  </a:cubicBezTo>
                  <a:cubicBezTo>
                    <a:pt x="492125" y="103586"/>
                    <a:pt x="494353" y="99510"/>
                    <a:pt x="495300" y="95250"/>
                  </a:cubicBezTo>
                  <a:cubicBezTo>
                    <a:pt x="496471" y="89982"/>
                    <a:pt x="497166" y="84610"/>
                    <a:pt x="498475" y="79375"/>
                  </a:cubicBezTo>
                  <a:cubicBezTo>
                    <a:pt x="499287" y="76128"/>
                    <a:pt x="499559" y="72463"/>
                    <a:pt x="501650" y="69850"/>
                  </a:cubicBezTo>
                  <a:cubicBezTo>
                    <a:pt x="504034" y="66870"/>
                    <a:pt x="508000" y="65617"/>
                    <a:pt x="511175" y="63500"/>
                  </a:cubicBezTo>
                  <a:cubicBezTo>
                    <a:pt x="518810" y="52048"/>
                    <a:pt x="523526" y="43624"/>
                    <a:pt x="536575" y="34925"/>
                  </a:cubicBezTo>
                  <a:lnTo>
                    <a:pt x="555625" y="22225"/>
                  </a:lnTo>
                  <a:cubicBezTo>
                    <a:pt x="558800" y="20108"/>
                    <a:pt x="561530" y="17082"/>
                    <a:pt x="565150" y="15875"/>
                  </a:cubicBezTo>
                  <a:lnTo>
                    <a:pt x="593725" y="6350"/>
                  </a:lnTo>
                  <a:cubicBezTo>
                    <a:pt x="596900" y="5292"/>
                    <a:pt x="599968" y="3831"/>
                    <a:pt x="603250" y="3175"/>
                  </a:cubicBezTo>
                  <a:lnTo>
                    <a:pt x="619125" y="0"/>
                  </a:lnTo>
                  <a:cubicBezTo>
                    <a:pt x="622300" y="1058"/>
                    <a:pt x="625337" y="2702"/>
                    <a:pt x="628650" y="3175"/>
                  </a:cubicBezTo>
                  <a:cubicBezTo>
                    <a:pt x="660411" y="7712"/>
                    <a:pt x="655038" y="3154"/>
                    <a:pt x="676275" y="9525"/>
                  </a:cubicBezTo>
                  <a:cubicBezTo>
                    <a:pt x="682686" y="11448"/>
                    <a:pt x="688975" y="13758"/>
                    <a:pt x="695325" y="15875"/>
                  </a:cubicBezTo>
                  <a:lnTo>
                    <a:pt x="704850" y="19050"/>
                  </a:lnTo>
                  <a:cubicBezTo>
                    <a:pt x="713317" y="17992"/>
                    <a:pt x="722231" y="18791"/>
                    <a:pt x="730250" y="15875"/>
                  </a:cubicBezTo>
                  <a:cubicBezTo>
                    <a:pt x="734470" y="14341"/>
                    <a:pt x="736326" y="9225"/>
                    <a:pt x="739775" y="6350"/>
                  </a:cubicBezTo>
                  <a:cubicBezTo>
                    <a:pt x="742706" y="3907"/>
                    <a:pt x="746125" y="2117"/>
                    <a:pt x="749300" y="0"/>
                  </a:cubicBezTo>
                  <a:cubicBezTo>
                    <a:pt x="763558" y="14258"/>
                    <a:pt x="754565" y="8105"/>
                    <a:pt x="777875" y="15875"/>
                  </a:cubicBezTo>
                  <a:lnTo>
                    <a:pt x="787400" y="19050"/>
                  </a:lnTo>
                  <a:cubicBezTo>
                    <a:pt x="789517" y="22225"/>
                    <a:pt x="793370" y="24778"/>
                    <a:pt x="793750" y="28575"/>
                  </a:cubicBezTo>
                  <a:cubicBezTo>
                    <a:pt x="795270" y="43772"/>
                    <a:pt x="789165" y="53501"/>
                    <a:pt x="784225" y="66675"/>
                  </a:cubicBezTo>
                  <a:cubicBezTo>
                    <a:pt x="783050" y="69809"/>
                    <a:pt x="782906" y="73415"/>
                    <a:pt x="781050" y="76200"/>
                  </a:cubicBezTo>
                  <a:cubicBezTo>
                    <a:pt x="778559" y="79936"/>
                    <a:pt x="774400" y="82276"/>
                    <a:pt x="771525" y="85725"/>
                  </a:cubicBezTo>
                  <a:cubicBezTo>
                    <a:pt x="769082" y="88656"/>
                    <a:pt x="767292" y="92075"/>
                    <a:pt x="765175" y="95250"/>
                  </a:cubicBezTo>
                  <a:cubicBezTo>
                    <a:pt x="761865" y="108488"/>
                    <a:pt x="758501" y="115158"/>
                    <a:pt x="765175" y="130175"/>
                  </a:cubicBezTo>
                  <a:cubicBezTo>
                    <a:pt x="766725" y="133662"/>
                    <a:pt x="771525" y="134408"/>
                    <a:pt x="774700" y="136525"/>
                  </a:cubicBezTo>
                  <a:cubicBezTo>
                    <a:pt x="782680" y="160466"/>
                    <a:pt x="770987" y="131884"/>
                    <a:pt x="787400" y="152400"/>
                  </a:cubicBezTo>
                  <a:cubicBezTo>
                    <a:pt x="789491" y="155013"/>
                    <a:pt x="789078" y="158932"/>
                    <a:pt x="790575" y="161925"/>
                  </a:cubicBezTo>
                  <a:cubicBezTo>
                    <a:pt x="795867" y="172508"/>
                    <a:pt x="796925" y="171450"/>
                    <a:pt x="806450" y="177800"/>
                  </a:cubicBezTo>
                  <a:cubicBezTo>
                    <a:pt x="805392" y="197908"/>
                    <a:pt x="828675" y="197320"/>
                    <a:pt x="803275" y="238125"/>
                  </a:cubicBezTo>
                  <a:cubicBezTo>
                    <a:pt x="800854" y="246773"/>
                    <a:pt x="784225" y="257175"/>
                    <a:pt x="784225" y="257175"/>
                  </a:cubicBezTo>
                  <a:cubicBezTo>
                    <a:pt x="783167" y="261408"/>
                    <a:pt x="782249" y="265679"/>
                    <a:pt x="781050" y="269875"/>
                  </a:cubicBezTo>
                  <a:cubicBezTo>
                    <a:pt x="780131" y="273093"/>
                    <a:pt x="777875" y="276053"/>
                    <a:pt x="777875" y="279400"/>
                  </a:cubicBezTo>
                  <a:cubicBezTo>
                    <a:pt x="777875" y="300593"/>
                    <a:pt x="778621" y="321847"/>
                    <a:pt x="781050" y="342900"/>
                  </a:cubicBezTo>
                  <a:cubicBezTo>
                    <a:pt x="781817" y="349549"/>
                    <a:pt x="787400" y="361950"/>
                    <a:pt x="787400" y="361950"/>
                  </a:cubicBezTo>
                  <a:cubicBezTo>
                    <a:pt x="786342" y="371475"/>
                    <a:pt x="787784" y="381627"/>
                    <a:pt x="784225" y="390525"/>
                  </a:cubicBezTo>
                  <a:cubicBezTo>
                    <a:pt x="782982" y="393632"/>
                    <a:pt x="777626" y="392075"/>
                    <a:pt x="774700" y="393700"/>
                  </a:cubicBezTo>
                  <a:cubicBezTo>
                    <a:pt x="741948" y="411896"/>
                    <a:pt x="767678" y="402391"/>
                    <a:pt x="746125" y="409575"/>
                  </a:cubicBezTo>
                  <a:cubicBezTo>
                    <a:pt x="738490" y="421027"/>
                    <a:pt x="733774" y="429451"/>
                    <a:pt x="720725" y="438150"/>
                  </a:cubicBezTo>
                  <a:cubicBezTo>
                    <a:pt x="712258" y="443794"/>
                    <a:pt x="708257" y="445563"/>
                    <a:pt x="701675" y="454025"/>
                  </a:cubicBezTo>
                  <a:cubicBezTo>
                    <a:pt x="696990" y="460049"/>
                    <a:pt x="688975" y="473075"/>
                    <a:pt x="688975" y="473075"/>
                  </a:cubicBezTo>
                  <a:cubicBezTo>
                    <a:pt x="687917" y="477308"/>
                    <a:pt x="686417" y="481455"/>
                    <a:pt x="685800" y="485775"/>
                  </a:cubicBezTo>
                  <a:cubicBezTo>
                    <a:pt x="684296" y="496304"/>
                    <a:pt x="685017" y="507161"/>
                    <a:pt x="682625" y="517525"/>
                  </a:cubicBezTo>
                  <a:cubicBezTo>
                    <a:pt x="680701" y="525863"/>
                    <a:pt x="672908" y="529295"/>
                    <a:pt x="666750" y="533400"/>
                  </a:cubicBezTo>
                  <a:cubicBezTo>
                    <a:pt x="664633" y="536575"/>
                    <a:pt x="662843" y="539994"/>
                    <a:pt x="660400" y="542925"/>
                  </a:cubicBezTo>
                  <a:cubicBezTo>
                    <a:pt x="657525" y="546374"/>
                    <a:pt x="653366" y="548714"/>
                    <a:pt x="650875" y="552450"/>
                  </a:cubicBezTo>
                  <a:cubicBezTo>
                    <a:pt x="649019" y="555235"/>
                    <a:pt x="649197" y="558982"/>
                    <a:pt x="647700" y="561975"/>
                  </a:cubicBezTo>
                  <a:cubicBezTo>
                    <a:pt x="645993" y="565388"/>
                    <a:pt x="643057" y="568087"/>
                    <a:pt x="641350" y="571500"/>
                  </a:cubicBezTo>
                  <a:cubicBezTo>
                    <a:pt x="638096" y="578009"/>
                    <a:pt x="636208" y="590862"/>
                    <a:pt x="635000" y="596900"/>
                  </a:cubicBezTo>
                  <a:cubicBezTo>
                    <a:pt x="636058" y="601133"/>
                    <a:pt x="634823" y="606806"/>
                    <a:pt x="638175" y="609600"/>
                  </a:cubicBezTo>
                  <a:cubicBezTo>
                    <a:pt x="642321" y="613055"/>
                    <a:pt x="648815" y="611466"/>
                    <a:pt x="654050" y="612775"/>
                  </a:cubicBezTo>
                  <a:cubicBezTo>
                    <a:pt x="657297" y="613587"/>
                    <a:pt x="660649" y="614325"/>
                    <a:pt x="663575" y="615950"/>
                  </a:cubicBezTo>
                  <a:cubicBezTo>
                    <a:pt x="694503" y="633132"/>
                    <a:pt x="670505" y="625620"/>
                    <a:pt x="695325" y="631825"/>
                  </a:cubicBezTo>
                  <a:cubicBezTo>
                    <a:pt x="701675" y="636058"/>
                    <a:pt x="711962" y="637285"/>
                    <a:pt x="714375" y="644525"/>
                  </a:cubicBezTo>
                  <a:lnTo>
                    <a:pt x="720725" y="663575"/>
                  </a:lnTo>
                  <a:cubicBezTo>
                    <a:pt x="719667" y="667808"/>
                    <a:pt x="719715" y="672486"/>
                    <a:pt x="717550" y="676275"/>
                  </a:cubicBezTo>
                  <a:cubicBezTo>
                    <a:pt x="715322" y="680174"/>
                    <a:pt x="711924" y="683572"/>
                    <a:pt x="708025" y="685800"/>
                  </a:cubicBezTo>
                  <a:cubicBezTo>
                    <a:pt x="704236" y="687965"/>
                    <a:pt x="699521" y="687776"/>
                    <a:pt x="695325" y="688975"/>
                  </a:cubicBezTo>
                  <a:cubicBezTo>
                    <a:pt x="692107" y="689894"/>
                    <a:pt x="688726" y="690525"/>
                    <a:pt x="685800" y="692150"/>
                  </a:cubicBezTo>
                  <a:cubicBezTo>
                    <a:pt x="679129" y="695856"/>
                    <a:pt x="666750" y="704850"/>
                    <a:pt x="666750" y="704850"/>
                  </a:cubicBezTo>
                  <a:cubicBezTo>
                    <a:pt x="664633" y="708025"/>
                    <a:pt x="663575" y="712258"/>
                    <a:pt x="660400" y="714375"/>
                  </a:cubicBezTo>
                  <a:cubicBezTo>
                    <a:pt x="656769" y="716796"/>
                    <a:pt x="651896" y="716351"/>
                    <a:pt x="647700" y="717550"/>
                  </a:cubicBezTo>
                  <a:cubicBezTo>
                    <a:pt x="619090" y="725724"/>
                    <a:pt x="669517" y="714443"/>
                    <a:pt x="612775" y="723900"/>
                  </a:cubicBezTo>
                  <a:cubicBezTo>
                    <a:pt x="604802" y="725229"/>
                    <a:pt x="598099" y="727734"/>
                    <a:pt x="590550" y="730250"/>
                  </a:cubicBezTo>
                  <a:cubicBezTo>
                    <a:pt x="587339" y="735066"/>
                    <a:pt x="581025" y="742727"/>
                    <a:pt x="581025" y="749300"/>
                  </a:cubicBezTo>
                  <a:cubicBezTo>
                    <a:pt x="581025" y="752647"/>
                    <a:pt x="583142" y="755650"/>
                    <a:pt x="584200" y="758825"/>
                  </a:cubicBezTo>
                  <a:cubicBezTo>
                    <a:pt x="583142" y="765175"/>
                    <a:pt x="585577" y="773323"/>
                    <a:pt x="581025" y="777875"/>
                  </a:cubicBezTo>
                  <a:cubicBezTo>
                    <a:pt x="578327" y="780573"/>
                    <a:pt x="577655" y="770734"/>
                    <a:pt x="574675" y="768350"/>
                  </a:cubicBezTo>
                  <a:cubicBezTo>
                    <a:pt x="572605" y="766694"/>
                    <a:pt x="553280" y="762207"/>
                    <a:pt x="552450" y="762000"/>
                  </a:cubicBezTo>
                  <a:cubicBezTo>
                    <a:pt x="547158" y="763058"/>
                    <a:pt x="541781" y="763755"/>
                    <a:pt x="536575" y="765175"/>
                  </a:cubicBezTo>
                  <a:cubicBezTo>
                    <a:pt x="530117" y="766936"/>
                    <a:pt x="517525" y="771525"/>
                    <a:pt x="517525" y="771525"/>
                  </a:cubicBezTo>
                  <a:cubicBezTo>
                    <a:pt x="512233" y="755650"/>
                    <a:pt x="513292" y="765175"/>
                    <a:pt x="520700" y="742950"/>
                  </a:cubicBezTo>
                  <a:lnTo>
                    <a:pt x="523875" y="733425"/>
                  </a:lnTo>
                  <a:cubicBezTo>
                    <a:pt x="513292" y="717550"/>
                    <a:pt x="520700" y="726017"/>
                    <a:pt x="498475" y="711200"/>
                  </a:cubicBezTo>
                  <a:lnTo>
                    <a:pt x="488950" y="704850"/>
                  </a:lnTo>
                  <a:cubicBezTo>
                    <a:pt x="485775" y="702733"/>
                    <a:pt x="483045" y="699707"/>
                    <a:pt x="479425" y="698500"/>
                  </a:cubicBezTo>
                  <a:cubicBezTo>
                    <a:pt x="467346" y="694474"/>
                    <a:pt x="459907" y="693850"/>
                    <a:pt x="450850" y="685800"/>
                  </a:cubicBezTo>
                  <a:cubicBezTo>
                    <a:pt x="444138" y="679834"/>
                    <a:pt x="436781" y="674222"/>
                    <a:pt x="431800" y="666750"/>
                  </a:cubicBezTo>
                  <a:cubicBezTo>
                    <a:pt x="429683" y="663575"/>
                    <a:pt x="428148" y="659923"/>
                    <a:pt x="425450" y="657225"/>
                  </a:cubicBezTo>
                  <a:cubicBezTo>
                    <a:pt x="422752" y="654527"/>
                    <a:pt x="419100" y="652992"/>
                    <a:pt x="415925" y="650875"/>
                  </a:cubicBezTo>
                  <a:cubicBezTo>
                    <a:pt x="413808" y="647700"/>
                    <a:pt x="412506" y="643793"/>
                    <a:pt x="409575" y="641350"/>
                  </a:cubicBezTo>
                  <a:cubicBezTo>
                    <a:pt x="405939" y="638320"/>
                    <a:pt x="400984" y="637348"/>
                    <a:pt x="396875" y="635000"/>
                  </a:cubicBezTo>
                  <a:cubicBezTo>
                    <a:pt x="393562" y="633107"/>
                    <a:pt x="390525" y="630767"/>
                    <a:pt x="387350" y="628650"/>
                  </a:cubicBezTo>
                  <a:cubicBezTo>
                    <a:pt x="386292" y="625475"/>
                    <a:pt x="408510" y="612264"/>
                    <a:pt x="384175" y="619125"/>
                  </a:cubicBezTo>
                  <a:cubicBezTo>
                    <a:pt x="412142" y="593726"/>
                    <a:pt x="357082" y="591044"/>
                    <a:pt x="346075" y="587375"/>
                  </a:cubicBezTo>
                  <a:cubicBezTo>
                    <a:pt x="339725" y="585258"/>
                    <a:pt x="332594" y="584738"/>
                    <a:pt x="327025" y="581025"/>
                  </a:cubicBezTo>
                  <a:cubicBezTo>
                    <a:pt x="313010" y="571682"/>
                    <a:pt x="321242" y="575423"/>
                    <a:pt x="301625" y="571500"/>
                  </a:cubicBezTo>
                  <a:cubicBezTo>
                    <a:pt x="273050" y="572558"/>
                    <a:pt x="244431" y="572773"/>
                    <a:pt x="215900" y="574675"/>
                  </a:cubicBezTo>
                  <a:cubicBezTo>
                    <a:pt x="206692" y="575289"/>
                    <a:pt x="204671" y="580290"/>
                    <a:pt x="196850" y="584200"/>
                  </a:cubicBezTo>
                  <a:cubicBezTo>
                    <a:pt x="193857" y="585697"/>
                    <a:pt x="190500" y="586317"/>
                    <a:pt x="187325" y="587375"/>
                  </a:cubicBezTo>
                  <a:cubicBezTo>
                    <a:pt x="148167" y="586317"/>
                    <a:pt x="108976" y="586109"/>
                    <a:pt x="69850" y="584200"/>
                  </a:cubicBezTo>
                  <a:cubicBezTo>
                    <a:pt x="60990" y="583768"/>
                    <a:pt x="55854" y="579679"/>
                    <a:pt x="47625" y="577850"/>
                  </a:cubicBezTo>
                  <a:cubicBezTo>
                    <a:pt x="41341" y="576453"/>
                    <a:pt x="34859" y="576072"/>
                    <a:pt x="28575" y="574675"/>
                  </a:cubicBezTo>
                  <a:cubicBezTo>
                    <a:pt x="12291" y="571056"/>
                    <a:pt x="25712" y="571091"/>
                    <a:pt x="6350" y="568325"/>
                  </a:cubicBezTo>
                  <a:cubicBezTo>
                    <a:pt x="3207" y="567876"/>
                    <a:pt x="15346" y="567267"/>
                    <a:pt x="15875" y="565150"/>
                  </a:cubicBezTo>
                  <a:close/>
                </a:path>
              </a:pathLst>
            </a:custGeom>
            <a:grpFill/>
            <a:ln w="12700">
              <a:solidFill>
                <a:schemeClr val="bg1"/>
              </a:solidFill>
              <a:round/>
              <a:headEnd/>
              <a:tailEnd/>
            </a:ln>
          </p:spPr>
          <p:txBody>
            <a:bodyPr/>
            <a:lstStyle/>
            <a:p>
              <a:pPr defTabSz="685800">
                <a:buClrTx/>
                <a:defRPr/>
              </a:pPr>
              <a:endParaRPr lang="en-US" sz="1350" kern="1200">
                <a:solidFill>
                  <a:prstClr val="black"/>
                </a:solidFill>
                <a:ea typeface="+mn-ea"/>
                <a:cs typeface="+mn-cs"/>
              </a:endParaRPr>
            </a:p>
          </p:txBody>
        </p:sp>
      </p:grpSp>
      <p:sp>
        <p:nvSpPr>
          <p:cNvPr id="101" name="Text Placeholder 12"/>
          <p:cNvSpPr>
            <a:spLocks/>
          </p:cNvSpPr>
          <p:nvPr>
            <p:custDataLst>
              <p:tags r:id="rId1"/>
            </p:custDataLst>
          </p:nvPr>
        </p:nvSpPr>
        <p:spPr bwMode="auto">
          <a:xfrm>
            <a:off x="1440657" y="1131570"/>
            <a:ext cx="307777" cy="115416"/>
          </a:xfrm>
          <a:prstGeom prst="rect">
            <a:avLst/>
          </a:prstGeom>
          <a:noFill/>
          <a:ln w="9525">
            <a:noFill/>
            <a:miter lim="800000"/>
            <a:headEnd/>
            <a:tailEnd/>
          </a:ln>
        </p:spPr>
        <p:txBody>
          <a:bodyPr wrap="none" lIns="0" tIns="0" rIns="0" bIns="0">
            <a:spAutoFit/>
          </a:bodyPr>
          <a:lstStyle/>
          <a:p>
            <a:pPr defTabSz="764381">
              <a:buClrTx/>
            </a:pPr>
            <a:r>
              <a:rPr lang="en-US" sz="750" kern="1200" dirty="0">
                <a:solidFill>
                  <a:srgbClr val="313131"/>
                </a:solidFill>
                <a:ea typeface="+mn-ea"/>
                <a:cs typeface="+mn-cs"/>
              </a:rPr>
              <a:t>Tunisia</a:t>
            </a:r>
          </a:p>
        </p:txBody>
      </p:sp>
      <p:sp>
        <p:nvSpPr>
          <p:cNvPr id="111" name="Text Placeholder 12"/>
          <p:cNvSpPr>
            <a:spLocks/>
          </p:cNvSpPr>
          <p:nvPr>
            <p:custDataLst>
              <p:tags r:id="rId2"/>
            </p:custDataLst>
          </p:nvPr>
        </p:nvSpPr>
        <p:spPr bwMode="auto">
          <a:xfrm>
            <a:off x="4797887" y="1131570"/>
            <a:ext cx="314189" cy="115416"/>
          </a:xfrm>
          <a:prstGeom prst="rect">
            <a:avLst/>
          </a:prstGeom>
          <a:noFill/>
          <a:ln w="9525">
            <a:noFill/>
            <a:miter lim="800000"/>
            <a:headEnd/>
            <a:tailEnd/>
          </a:ln>
        </p:spPr>
        <p:txBody>
          <a:bodyPr wrap="none" lIns="0" tIns="0" rIns="0" bIns="0">
            <a:spAutoFit/>
          </a:bodyPr>
          <a:lstStyle/>
          <a:p>
            <a:pPr defTabSz="764381">
              <a:buClrTx/>
            </a:pPr>
            <a:r>
              <a:rPr lang="en-US" sz="750" kern="1200" dirty="0">
                <a:solidFill>
                  <a:srgbClr val="313131"/>
                </a:solidFill>
                <a:ea typeface="+mn-ea"/>
                <a:cs typeface="+mn-cs"/>
              </a:rPr>
              <a:t>Greece</a:t>
            </a:r>
          </a:p>
        </p:txBody>
      </p:sp>
      <p:sp>
        <p:nvSpPr>
          <p:cNvPr id="114" name="Rectangle 3"/>
          <p:cNvSpPr>
            <a:spLocks noChangeArrowheads="1"/>
          </p:cNvSpPr>
          <p:nvPr/>
        </p:nvSpPr>
        <p:spPr bwMode="auto">
          <a:xfrm>
            <a:off x="5337545" y="1"/>
            <a:ext cx="2663456" cy="600164"/>
          </a:xfrm>
          <a:prstGeom prst="rect">
            <a:avLst/>
          </a:prstGeom>
          <a:solidFill>
            <a:schemeClr val="accent6"/>
          </a:solidFill>
          <a:ln w="6350" algn="ctr">
            <a:solidFill>
              <a:schemeClr val="bg1"/>
            </a:solidFill>
            <a:miter lim="800000"/>
            <a:headEnd/>
            <a:tailEnd/>
          </a:ln>
        </p:spPr>
        <p:txBody>
          <a:bodyPr wrap="square" tIns="68580" bIns="68580">
            <a:spAutoFit/>
          </a:bodyPr>
          <a:lstStyle/>
          <a:p>
            <a:pPr defTabSz="685800">
              <a:buClrTx/>
              <a:defRPr/>
            </a:pPr>
            <a:r>
              <a:rPr lang="en-US" altLang="ja-JP" sz="750" kern="1200" dirty="0">
                <a:solidFill>
                  <a:srgbClr val="313131"/>
                </a:solidFill>
                <a:ea typeface="ＭＳ Ｐゴシック" pitchFamily="50" charset="-128"/>
                <a:cs typeface="+mn-cs"/>
              </a:rPr>
              <a:t>Tip! Click once to select the entire map, and again to select one or more regions within it</a:t>
            </a:r>
            <a:br>
              <a:rPr lang="en-US" altLang="ja-JP" sz="750" kern="1200" dirty="0">
                <a:solidFill>
                  <a:srgbClr val="313131"/>
                </a:solidFill>
                <a:ea typeface="ＭＳ Ｐゴシック" pitchFamily="50" charset="-128"/>
                <a:cs typeface="+mn-cs"/>
              </a:rPr>
            </a:br>
            <a:r>
              <a:rPr lang="en-US" altLang="ja-JP" sz="750" kern="1200" dirty="0">
                <a:solidFill>
                  <a:srgbClr val="313131"/>
                </a:solidFill>
                <a:ea typeface="ＭＳ Ｐゴシック" pitchFamily="50" charset="-128"/>
                <a:cs typeface="+mn-cs"/>
              </a:rPr>
              <a:t>Country/regional maps are a representative sample – more will be added</a:t>
            </a:r>
            <a:endParaRPr lang="en-US" sz="750" kern="1200" dirty="0">
              <a:solidFill>
                <a:srgbClr val="313131"/>
              </a:solidFill>
              <a:ea typeface="ＭＳ Ｐゴシック" pitchFamily="50" charset="-128"/>
              <a:cs typeface="+mn-cs"/>
            </a:endParaRPr>
          </a:p>
        </p:txBody>
      </p:sp>
      <p:sp>
        <p:nvSpPr>
          <p:cNvPr id="115" name="TextBox 114"/>
          <p:cNvSpPr txBox="1"/>
          <p:nvPr/>
        </p:nvSpPr>
        <p:spPr>
          <a:xfrm>
            <a:off x="5337546" y="733425"/>
            <a:ext cx="2663455" cy="1107996"/>
          </a:xfrm>
          <a:prstGeom prst="rect">
            <a:avLst/>
          </a:prstGeom>
          <a:solidFill>
            <a:srgbClr val="ED1B2F"/>
          </a:solidFill>
        </p:spPr>
        <p:txBody>
          <a:bodyPr wrap="square" lIns="68580" tIns="68580" rIns="68580" bIns="68580" rtlCol="0">
            <a:spAutoFit/>
          </a:bodyPr>
          <a:lstStyle/>
          <a:p>
            <a:pPr defTabSz="685800">
              <a:buClrTx/>
            </a:pPr>
            <a:r>
              <a:rPr lang="en-US" sz="1050" kern="1200" dirty="0">
                <a:solidFill>
                  <a:prstClr val="white"/>
                </a:solidFill>
                <a:ea typeface="+mn-ea"/>
                <a:cs typeface="+mn-cs"/>
              </a:rPr>
              <a:t>Maps are for directional purposes only and are not intended to be exact renditions of country borders. For specific information about country borders and maps, please contact the local member firm.</a:t>
            </a:r>
          </a:p>
        </p:txBody>
      </p:sp>
    </p:spTree>
  </p:cSld>
  <p:clrMapOvr>
    <a:masterClrMapping/>
  </p:clrMapOvr>
  <p:transition>
    <p:fade/>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8849" name="Title 1"/>
          <p:cNvSpPr>
            <a:spLocks noGrp="1"/>
          </p:cNvSpPr>
          <p:nvPr>
            <p:ph type="title"/>
          </p:nvPr>
        </p:nvSpPr>
        <p:spPr/>
        <p:txBody>
          <a:bodyPr/>
          <a:lstStyle/>
          <a:p>
            <a:r>
              <a:rPr lang="en-US" dirty="0"/>
              <a:t>Maps </a:t>
            </a:r>
            <a:br>
              <a:rPr lang="en-US" dirty="0"/>
            </a:br>
            <a:r>
              <a:rPr lang="en-US" dirty="0">
                <a:solidFill>
                  <a:srgbClr val="575757"/>
                </a:solidFill>
              </a:rPr>
              <a:t>India and China</a:t>
            </a:r>
          </a:p>
        </p:txBody>
      </p:sp>
      <p:grpSp>
        <p:nvGrpSpPr>
          <p:cNvPr id="47" name="Group 46"/>
          <p:cNvGrpSpPr/>
          <p:nvPr/>
        </p:nvGrpSpPr>
        <p:grpSpPr>
          <a:xfrm>
            <a:off x="4417725" y="1493043"/>
            <a:ext cx="3126583" cy="2871161"/>
            <a:chOff x="4366299" y="1990724"/>
            <a:chExt cx="4168777" cy="3828214"/>
          </a:xfrm>
          <a:solidFill>
            <a:srgbClr val="00A1DE"/>
          </a:solidFill>
        </p:grpSpPr>
        <p:sp>
          <p:nvSpPr>
            <p:cNvPr id="12" name="Line 3"/>
            <p:cNvSpPr>
              <a:spLocks noChangeShapeType="1"/>
            </p:cNvSpPr>
            <p:nvPr/>
          </p:nvSpPr>
          <p:spPr bwMode="gray">
            <a:xfrm>
              <a:off x="6414661" y="5232311"/>
              <a:ext cx="82893" cy="142283"/>
            </a:xfrm>
            <a:prstGeom prst="line">
              <a:avLst/>
            </a:prstGeom>
            <a:grpFill/>
            <a:ln w="12700">
              <a:solidFill>
                <a:schemeClr val="bg1"/>
              </a:solidFill>
              <a:round/>
              <a:headEnd/>
              <a:tailEnd/>
            </a:ln>
            <a:effectLst/>
          </p:spPr>
          <p:txBody>
            <a:bodyPr wrap="none" anchor="ctr"/>
            <a:lstStyle/>
            <a:p>
              <a:pPr algn="ctr" defTabSz="685800" eaLnBrk="0" hangingPunct="0">
                <a:spcBef>
                  <a:spcPct val="50000"/>
                </a:spcBef>
                <a:buClrTx/>
                <a:defRPr/>
              </a:pPr>
              <a:endParaRPr lang="en-US" sz="900" kern="1200">
                <a:ea typeface="+mn-ea"/>
                <a:cs typeface="+mn-cs"/>
              </a:endParaRPr>
            </a:p>
          </p:txBody>
        </p:sp>
        <p:sp>
          <p:nvSpPr>
            <p:cNvPr id="13" name="Freeform 8"/>
            <p:cNvSpPr>
              <a:spLocks/>
            </p:cNvSpPr>
            <p:nvPr/>
          </p:nvSpPr>
          <p:spPr bwMode="gray">
            <a:xfrm>
              <a:off x="6055096" y="2034633"/>
              <a:ext cx="1854886" cy="1836853"/>
            </a:xfrm>
            <a:custGeom>
              <a:avLst/>
              <a:gdLst/>
              <a:ahLst/>
              <a:cxnLst>
                <a:cxn ang="0">
                  <a:pos x="131" y="1244"/>
                </a:cxn>
                <a:cxn ang="0">
                  <a:pos x="482" y="1293"/>
                </a:cxn>
                <a:cxn ang="0">
                  <a:pos x="692" y="1331"/>
                </a:cxn>
                <a:cxn ang="0">
                  <a:pos x="1131" y="1203"/>
                </a:cxn>
                <a:cxn ang="0">
                  <a:pos x="1275" y="1067"/>
                </a:cxn>
                <a:cxn ang="0">
                  <a:pos x="1280" y="927"/>
                </a:cxn>
                <a:cxn ang="0">
                  <a:pos x="1506" y="859"/>
                </a:cxn>
                <a:cxn ang="0">
                  <a:pos x="1636" y="770"/>
                </a:cxn>
                <a:cxn ang="0">
                  <a:pos x="1888" y="699"/>
                </a:cxn>
                <a:cxn ang="0">
                  <a:pos x="1793" y="574"/>
                </a:cxn>
                <a:cxn ang="0">
                  <a:pos x="1697" y="607"/>
                </a:cxn>
                <a:cxn ang="0">
                  <a:pos x="1561" y="630"/>
                </a:cxn>
                <a:cxn ang="0">
                  <a:pos x="1557" y="413"/>
                </a:cxn>
                <a:cxn ang="0">
                  <a:pos x="1773" y="343"/>
                </a:cxn>
                <a:cxn ang="0">
                  <a:pos x="1793" y="185"/>
                </a:cxn>
                <a:cxn ang="0">
                  <a:pos x="1804" y="92"/>
                </a:cxn>
                <a:cxn ang="0">
                  <a:pos x="1872" y="0"/>
                </a:cxn>
                <a:cxn ang="0">
                  <a:pos x="1872" y="92"/>
                </a:cxn>
                <a:cxn ang="0">
                  <a:pos x="1948" y="66"/>
                </a:cxn>
                <a:cxn ang="0">
                  <a:pos x="1996" y="161"/>
                </a:cxn>
                <a:cxn ang="0">
                  <a:pos x="2140" y="175"/>
                </a:cxn>
                <a:cxn ang="0">
                  <a:pos x="2219" y="145"/>
                </a:cxn>
                <a:cxn ang="0">
                  <a:pos x="2263" y="244"/>
                </a:cxn>
                <a:cxn ang="0">
                  <a:pos x="2231" y="379"/>
                </a:cxn>
                <a:cxn ang="0">
                  <a:pos x="2223" y="485"/>
                </a:cxn>
                <a:cxn ang="0">
                  <a:pos x="2099" y="571"/>
                </a:cxn>
                <a:cxn ang="0">
                  <a:pos x="2223" y="590"/>
                </a:cxn>
                <a:cxn ang="0">
                  <a:pos x="2191" y="636"/>
                </a:cxn>
                <a:cxn ang="0">
                  <a:pos x="2103" y="735"/>
                </a:cxn>
                <a:cxn ang="0">
                  <a:pos x="2127" y="811"/>
                </a:cxn>
                <a:cxn ang="0">
                  <a:pos x="2219" y="853"/>
                </a:cxn>
                <a:cxn ang="0">
                  <a:pos x="2319" y="976"/>
                </a:cxn>
                <a:cxn ang="0">
                  <a:pos x="1996" y="1125"/>
                </a:cxn>
                <a:cxn ang="0">
                  <a:pos x="1967" y="1207"/>
                </a:cxn>
                <a:cxn ang="0">
                  <a:pos x="1861" y="1216"/>
                </a:cxn>
                <a:cxn ang="0">
                  <a:pos x="1793" y="1120"/>
                </a:cxn>
                <a:cxn ang="0">
                  <a:pos x="1740" y="1209"/>
                </a:cxn>
                <a:cxn ang="0">
                  <a:pos x="1593" y="1241"/>
                </a:cxn>
                <a:cxn ang="0">
                  <a:pos x="1489" y="1286"/>
                </a:cxn>
                <a:cxn ang="0">
                  <a:pos x="1362" y="1392"/>
                </a:cxn>
                <a:cxn ang="0">
                  <a:pos x="1183" y="1508"/>
                </a:cxn>
                <a:cxn ang="0">
                  <a:pos x="1103" y="1581"/>
                </a:cxn>
                <a:cxn ang="0">
                  <a:pos x="880" y="1648"/>
                </a:cxn>
                <a:cxn ang="0">
                  <a:pos x="876" y="1521"/>
                </a:cxn>
                <a:cxn ang="0">
                  <a:pos x="796" y="1623"/>
                </a:cxn>
                <a:cxn ang="0">
                  <a:pos x="654" y="1741"/>
                </a:cxn>
                <a:cxn ang="0">
                  <a:pos x="583" y="1661"/>
                </a:cxn>
                <a:cxn ang="0">
                  <a:pos x="644" y="1587"/>
                </a:cxn>
                <a:cxn ang="0">
                  <a:pos x="410" y="1610"/>
                </a:cxn>
                <a:cxn ang="0">
                  <a:pos x="234" y="1491"/>
                </a:cxn>
                <a:cxn ang="0">
                  <a:pos x="272" y="1433"/>
                </a:cxn>
                <a:cxn ang="0">
                  <a:pos x="72" y="1461"/>
                </a:cxn>
                <a:cxn ang="0">
                  <a:pos x="0" y="1224"/>
                </a:cxn>
              </a:cxnLst>
              <a:rect l="0" t="0" r="r" b="b"/>
              <a:pathLst>
                <a:path w="2320" h="1742">
                  <a:moveTo>
                    <a:pt x="0" y="1224"/>
                  </a:moveTo>
                  <a:lnTo>
                    <a:pt x="131" y="1244"/>
                  </a:lnTo>
                  <a:lnTo>
                    <a:pt x="387" y="1238"/>
                  </a:lnTo>
                  <a:lnTo>
                    <a:pt x="482" y="1293"/>
                  </a:lnTo>
                  <a:lnTo>
                    <a:pt x="632" y="1300"/>
                  </a:lnTo>
                  <a:lnTo>
                    <a:pt x="692" y="1331"/>
                  </a:lnTo>
                  <a:lnTo>
                    <a:pt x="753" y="1270"/>
                  </a:lnTo>
                  <a:lnTo>
                    <a:pt x="1131" y="1203"/>
                  </a:lnTo>
                  <a:lnTo>
                    <a:pt x="1192" y="1125"/>
                  </a:lnTo>
                  <a:lnTo>
                    <a:pt x="1275" y="1067"/>
                  </a:lnTo>
                  <a:lnTo>
                    <a:pt x="1234" y="988"/>
                  </a:lnTo>
                  <a:lnTo>
                    <a:pt x="1280" y="927"/>
                  </a:lnTo>
                  <a:lnTo>
                    <a:pt x="1444" y="945"/>
                  </a:lnTo>
                  <a:lnTo>
                    <a:pt x="1506" y="859"/>
                  </a:lnTo>
                  <a:lnTo>
                    <a:pt x="1617" y="823"/>
                  </a:lnTo>
                  <a:lnTo>
                    <a:pt x="1636" y="770"/>
                  </a:lnTo>
                  <a:lnTo>
                    <a:pt x="1728" y="729"/>
                  </a:lnTo>
                  <a:lnTo>
                    <a:pt x="1888" y="699"/>
                  </a:lnTo>
                  <a:lnTo>
                    <a:pt x="1900" y="657"/>
                  </a:lnTo>
                  <a:lnTo>
                    <a:pt x="1793" y="574"/>
                  </a:lnTo>
                  <a:lnTo>
                    <a:pt x="1689" y="581"/>
                  </a:lnTo>
                  <a:lnTo>
                    <a:pt x="1697" y="607"/>
                  </a:lnTo>
                  <a:lnTo>
                    <a:pt x="1614" y="607"/>
                  </a:lnTo>
                  <a:lnTo>
                    <a:pt x="1561" y="630"/>
                  </a:lnTo>
                  <a:lnTo>
                    <a:pt x="1521" y="567"/>
                  </a:lnTo>
                  <a:lnTo>
                    <a:pt x="1557" y="413"/>
                  </a:lnTo>
                  <a:lnTo>
                    <a:pt x="1668" y="413"/>
                  </a:lnTo>
                  <a:lnTo>
                    <a:pt x="1773" y="343"/>
                  </a:lnTo>
                  <a:lnTo>
                    <a:pt x="1769" y="280"/>
                  </a:lnTo>
                  <a:lnTo>
                    <a:pt x="1793" y="185"/>
                  </a:lnTo>
                  <a:lnTo>
                    <a:pt x="1836" y="138"/>
                  </a:lnTo>
                  <a:lnTo>
                    <a:pt x="1804" y="92"/>
                  </a:lnTo>
                  <a:lnTo>
                    <a:pt x="1800" y="19"/>
                  </a:lnTo>
                  <a:lnTo>
                    <a:pt x="1872" y="0"/>
                  </a:lnTo>
                  <a:lnTo>
                    <a:pt x="1895" y="39"/>
                  </a:lnTo>
                  <a:lnTo>
                    <a:pt x="1872" y="92"/>
                  </a:lnTo>
                  <a:lnTo>
                    <a:pt x="1920" y="99"/>
                  </a:lnTo>
                  <a:lnTo>
                    <a:pt x="1948" y="66"/>
                  </a:lnTo>
                  <a:lnTo>
                    <a:pt x="1976" y="76"/>
                  </a:lnTo>
                  <a:lnTo>
                    <a:pt x="1996" y="161"/>
                  </a:lnTo>
                  <a:lnTo>
                    <a:pt x="2039" y="171"/>
                  </a:lnTo>
                  <a:lnTo>
                    <a:pt x="2140" y="175"/>
                  </a:lnTo>
                  <a:lnTo>
                    <a:pt x="2171" y="122"/>
                  </a:lnTo>
                  <a:lnTo>
                    <a:pt x="2219" y="145"/>
                  </a:lnTo>
                  <a:lnTo>
                    <a:pt x="2307" y="161"/>
                  </a:lnTo>
                  <a:lnTo>
                    <a:pt x="2263" y="244"/>
                  </a:lnTo>
                  <a:lnTo>
                    <a:pt x="2258" y="366"/>
                  </a:lnTo>
                  <a:lnTo>
                    <a:pt x="2231" y="379"/>
                  </a:lnTo>
                  <a:lnTo>
                    <a:pt x="2238" y="465"/>
                  </a:lnTo>
                  <a:lnTo>
                    <a:pt x="2223" y="485"/>
                  </a:lnTo>
                  <a:lnTo>
                    <a:pt x="2168" y="455"/>
                  </a:lnTo>
                  <a:lnTo>
                    <a:pt x="2099" y="571"/>
                  </a:lnTo>
                  <a:lnTo>
                    <a:pt x="2159" y="600"/>
                  </a:lnTo>
                  <a:lnTo>
                    <a:pt x="2223" y="590"/>
                  </a:lnTo>
                  <a:lnTo>
                    <a:pt x="2231" y="623"/>
                  </a:lnTo>
                  <a:lnTo>
                    <a:pt x="2191" y="636"/>
                  </a:lnTo>
                  <a:lnTo>
                    <a:pt x="2159" y="742"/>
                  </a:lnTo>
                  <a:lnTo>
                    <a:pt x="2103" y="735"/>
                  </a:lnTo>
                  <a:lnTo>
                    <a:pt x="2083" y="748"/>
                  </a:lnTo>
                  <a:lnTo>
                    <a:pt x="2127" y="811"/>
                  </a:lnTo>
                  <a:lnTo>
                    <a:pt x="2179" y="888"/>
                  </a:lnTo>
                  <a:lnTo>
                    <a:pt x="2219" y="853"/>
                  </a:lnTo>
                  <a:lnTo>
                    <a:pt x="2307" y="902"/>
                  </a:lnTo>
                  <a:lnTo>
                    <a:pt x="2319" y="976"/>
                  </a:lnTo>
                  <a:lnTo>
                    <a:pt x="2043" y="1145"/>
                  </a:lnTo>
                  <a:lnTo>
                    <a:pt x="1996" y="1125"/>
                  </a:lnTo>
                  <a:lnTo>
                    <a:pt x="1948" y="1125"/>
                  </a:lnTo>
                  <a:lnTo>
                    <a:pt x="1967" y="1207"/>
                  </a:lnTo>
                  <a:lnTo>
                    <a:pt x="1943" y="1237"/>
                  </a:lnTo>
                  <a:lnTo>
                    <a:pt x="1861" y="1216"/>
                  </a:lnTo>
                  <a:lnTo>
                    <a:pt x="1864" y="1145"/>
                  </a:lnTo>
                  <a:lnTo>
                    <a:pt x="1793" y="1120"/>
                  </a:lnTo>
                  <a:lnTo>
                    <a:pt x="1737" y="1151"/>
                  </a:lnTo>
                  <a:lnTo>
                    <a:pt x="1740" y="1209"/>
                  </a:lnTo>
                  <a:lnTo>
                    <a:pt x="1657" y="1207"/>
                  </a:lnTo>
                  <a:lnTo>
                    <a:pt x="1593" y="1241"/>
                  </a:lnTo>
                  <a:lnTo>
                    <a:pt x="1533" y="1213"/>
                  </a:lnTo>
                  <a:lnTo>
                    <a:pt x="1489" y="1286"/>
                  </a:lnTo>
                  <a:lnTo>
                    <a:pt x="1513" y="1359"/>
                  </a:lnTo>
                  <a:lnTo>
                    <a:pt x="1362" y="1392"/>
                  </a:lnTo>
                  <a:lnTo>
                    <a:pt x="1258" y="1514"/>
                  </a:lnTo>
                  <a:lnTo>
                    <a:pt x="1183" y="1508"/>
                  </a:lnTo>
                  <a:lnTo>
                    <a:pt x="1139" y="1571"/>
                  </a:lnTo>
                  <a:lnTo>
                    <a:pt x="1103" y="1581"/>
                  </a:lnTo>
                  <a:lnTo>
                    <a:pt x="1015" y="1690"/>
                  </a:lnTo>
                  <a:lnTo>
                    <a:pt x="880" y="1648"/>
                  </a:lnTo>
                  <a:lnTo>
                    <a:pt x="886" y="1592"/>
                  </a:lnTo>
                  <a:lnTo>
                    <a:pt x="876" y="1521"/>
                  </a:lnTo>
                  <a:lnTo>
                    <a:pt x="808" y="1544"/>
                  </a:lnTo>
                  <a:lnTo>
                    <a:pt x="796" y="1623"/>
                  </a:lnTo>
                  <a:lnTo>
                    <a:pt x="720" y="1736"/>
                  </a:lnTo>
                  <a:lnTo>
                    <a:pt x="654" y="1741"/>
                  </a:lnTo>
                  <a:lnTo>
                    <a:pt x="590" y="1729"/>
                  </a:lnTo>
                  <a:lnTo>
                    <a:pt x="583" y="1661"/>
                  </a:lnTo>
                  <a:lnTo>
                    <a:pt x="627" y="1639"/>
                  </a:lnTo>
                  <a:lnTo>
                    <a:pt x="644" y="1587"/>
                  </a:lnTo>
                  <a:lnTo>
                    <a:pt x="572" y="1553"/>
                  </a:lnTo>
                  <a:lnTo>
                    <a:pt x="410" y="1610"/>
                  </a:lnTo>
                  <a:lnTo>
                    <a:pt x="317" y="1554"/>
                  </a:lnTo>
                  <a:lnTo>
                    <a:pt x="234" y="1491"/>
                  </a:lnTo>
                  <a:lnTo>
                    <a:pt x="284" y="1470"/>
                  </a:lnTo>
                  <a:lnTo>
                    <a:pt x="272" y="1433"/>
                  </a:lnTo>
                  <a:lnTo>
                    <a:pt x="134" y="1418"/>
                  </a:lnTo>
                  <a:lnTo>
                    <a:pt x="72" y="1461"/>
                  </a:lnTo>
                  <a:lnTo>
                    <a:pt x="11" y="1359"/>
                  </a:lnTo>
                  <a:lnTo>
                    <a:pt x="0" y="1224"/>
                  </a:lnTo>
                </a:path>
              </a:pathLst>
            </a:custGeom>
            <a:grpFill/>
            <a:ln w="12700" cap="rnd" cmpd="sng">
              <a:solidFill>
                <a:schemeClr val="bg1"/>
              </a:solidFill>
              <a:prstDash val="solid"/>
              <a:round/>
              <a:headEnd type="none" w="med" len="med"/>
              <a:tailEnd type="none" w="med" len="med"/>
            </a:ln>
            <a:effectLst/>
          </p:spPr>
          <p:txBody>
            <a:bodyPr/>
            <a:lstStyle/>
            <a:p>
              <a:pPr algn="ctr" defTabSz="685800" eaLnBrk="0" hangingPunct="0">
                <a:spcBef>
                  <a:spcPct val="50000"/>
                </a:spcBef>
                <a:buClrTx/>
                <a:defRPr/>
              </a:pPr>
              <a:endParaRPr lang="en-US" sz="900" kern="1200">
                <a:ea typeface="+mn-ea"/>
                <a:cs typeface="+mn-cs"/>
              </a:endParaRPr>
            </a:p>
          </p:txBody>
        </p:sp>
        <p:sp>
          <p:nvSpPr>
            <p:cNvPr id="14" name="Freeform 9"/>
            <p:cNvSpPr>
              <a:spLocks/>
            </p:cNvSpPr>
            <p:nvPr/>
          </p:nvSpPr>
          <p:spPr bwMode="gray">
            <a:xfrm>
              <a:off x="7546809" y="1990724"/>
              <a:ext cx="988267" cy="908513"/>
            </a:xfrm>
            <a:custGeom>
              <a:avLst/>
              <a:gdLst/>
              <a:ahLst/>
              <a:cxnLst>
                <a:cxn ang="0">
                  <a:pos x="0" y="49"/>
                </a:cxn>
                <a:cxn ang="0">
                  <a:pos x="146" y="0"/>
                </a:cxn>
                <a:cxn ang="0">
                  <a:pos x="358" y="16"/>
                </a:cxn>
                <a:cxn ang="0">
                  <a:pos x="426" y="168"/>
                </a:cxn>
                <a:cxn ang="0">
                  <a:pos x="513" y="225"/>
                </a:cxn>
                <a:cxn ang="0">
                  <a:pos x="597" y="303"/>
                </a:cxn>
                <a:cxn ang="0">
                  <a:pos x="748" y="303"/>
                </a:cxn>
                <a:cxn ang="0">
                  <a:pos x="817" y="327"/>
                </a:cxn>
                <a:cxn ang="0">
                  <a:pos x="868" y="370"/>
                </a:cxn>
                <a:cxn ang="0">
                  <a:pos x="919" y="449"/>
                </a:cxn>
                <a:cxn ang="0">
                  <a:pos x="1019" y="418"/>
                </a:cxn>
                <a:cxn ang="0">
                  <a:pos x="1056" y="350"/>
                </a:cxn>
                <a:cxn ang="0">
                  <a:pos x="1190" y="297"/>
                </a:cxn>
                <a:cxn ang="0">
                  <a:pos x="1234" y="376"/>
                </a:cxn>
                <a:cxn ang="0">
                  <a:pos x="1214" y="462"/>
                </a:cxn>
                <a:cxn ang="0">
                  <a:pos x="1195" y="521"/>
                </a:cxn>
                <a:cxn ang="0">
                  <a:pos x="1202" y="653"/>
                </a:cxn>
                <a:cxn ang="0">
                  <a:pos x="1103" y="653"/>
                </a:cxn>
                <a:cxn ang="0">
                  <a:pos x="1023" y="716"/>
                </a:cxn>
                <a:cxn ang="0">
                  <a:pos x="1095" y="861"/>
                </a:cxn>
                <a:cxn ang="0">
                  <a:pos x="968" y="818"/>
                </a:cxn>
                <a:cxn ang="0">
                  <a:pos x="912" y="857"/>
                </a:cxn>
                <a:cxn ang="0">
                  <a:pos x="834" y="805"/>
                </a:cxn>
                <a:cxn ang="0">
                  <a:pos x="768" y="803"/>
                </a:cxn>
                <a:cxn ang="0">
                  <a:pos x="773" y="845"/>
                </a:cxn>
                <a:cxn ang="0">
                  <a:pos x="669" y="771"/>
                </a:cxn>
                <a:cxn ang="0">
                  <a:pos x="604" y="781"/>
                </a:cxn>
                <a:cxn ang="0">
                  <a:pos x="539" y="765"/>
                </a:cxn>
                <a:cxn ang="0">
                  <a:pos x="481" y="784"/>
                </a:cxn>
                <a:cxn ang="0">
                  <a:pos x="308" y="746"/>
                </a:cxn>
                <a:cxn ang="0">
                  <a:pos x="326" y="680"/>
                </a:cxn>
                <a:cxn ang="0">
                  <a:pos x="361" y="669"/>
                </a:cxn>
                <a:cxn ang="0">
                  <a:pos x="349" y="635"/>
                </a:cxn>
                <a:cxn ang="0">
                  <a:pos x="299" y="657"/>
                </a:cxn>
                <a:cxn ang="0">
                  <a:pos x="227" y="612"/>
                </a:cxn>
                <a:cxn ang="0">
                  <a:pos x="301" y="494"/>
                </a:cxn>
                <a:cxn ang="0">
                  <a:pos x="360" y="517"/>
                </a:cxn>
                <a:cxn ang="0">
                  <a:pos x="361" y="424"/>
                </a:cxn>
                <a:cxn ang="0">
                  <a:pos x="392" y="401"/>
                </a:cxn>
                <a:cxn ang="0">
                  <a:pos x="389" y="292"/>
                </a:cxn>
                <a:cxn ang="0">
                  <a:pos x="437" y="211"/>
                </a:cxn>
                <a:cxn ang="0">
                  <a:pos x="358" y="203"/>
                </a:cxn>
                <a:cxn ang="0">
                  <a:pos x="316" y="175"/>
                </a:cxn>
                <a:cxn ang="0">
                  <a:pos x="275" y="225"/>
                </a:cxn>
                <a:cxn ang="0">
                  <a:pos x="190" y="221"/>
                </a:cxn>
                <a:cxn ang="0">
                  <a:pos x="134" y="208"/>
                </a:cxn>
                <a:cxn ang="0">
                  <a:pos x="115" y="122"/>
                </a:cxn>
                <a:cxn ang="0">
                  <a:pos x="79" y="115"/>
                </a:cxn>
                <a:cxn ang="0">
                  <a:pos x="65" y="152"/>
                </a:cxn>
                <a:cxn ang="0">
                  <a:pos x="2" y="138"/>
                </a:cxn>
                <a:cxn ang="0">
                  <a:pos x="34" y="82"/>
                </a:cxn>
                <a:cxn ang="0">
                  <a:pos x="0" y="49"/>
                </a:cxn>
              </a:cxnLst>
              <a:rect l="0" t="0" r="r" b="b"/>
              <a:pathLst>
                <a:path w="1235" h="862">
                  <a:moveTo>
                    <a:pt x="0" y="49"/>
                  </a:moveTo>
                  <a:lnTo>
                    <a:pt x="146" y="0"/>
                  </a:lnTo>
                  <a:lnTo>
                    <a:pt x="358" y="16"/>
                  </a:lnTo>
                  <a:lnTo>
                    <a:pt x="426" y="168"/>
                  </a:lnTo>
                  <a:lnTo>
                    <a:pt x="513" y="225"/>
                  </a:lnTo>
                  <a:lnTo>
                    <a:pt x="597" y="303"/>
                  </a:lnTo>
                  <a:lnTo>
                    <a:pt x="748" y="303"/>
                  </a:lnTo>
                  <a:lnTo>
                    <a:pt x="817" y="327"/>
                  </a:lnTo>
                  <a:lnTo>
                    <a:pt x="868" y="370"/>
                  </a:lnTo>
                  <a:lnTo>
                    <a:pt x="919" y="449"/>
                  </a:lnTo>
                  <a:lnTo>
                    <a:pt x="1019" y="418"/>
                  </a:lnTo>
                  <a:lnTo>
                    <a:pt x="1056" y="350"/>
                  </a:lnTo>
                  <a:lnTo>
                    <a:pt x="1190" y="297"/>
                  </a:lnTo>
                  <a:lnTo>
                    <a:pt x="1234" y="376"/>
                  </a:lnTo>
                  <a:lnTo>
                    <a:pt x="1214" y="462"/>
                  </a:lnTo>
                  <a:lnTo>
                    <a:pt x="1195" y="521"/>
                  </a:lnTo>
                  <a:lnTo>
                    <a:pt x="1202" y="653"/>
                  </a:lnTo>
                  <a:lnTo>
                    <a:pt x="1103" y="653"/>
                  </a:lnTo>
                  <a:lnTo>
                    <a:pt x="1023" y="716"/>
                  </a:lnTo>
                  <a:lnTo>
                    <a:pt x="1095" y="861"/>
                  </a:lnTo>
                  <a:lnTo>
                    <a:pt x="968" y="818"/>
                  </a:lnTo>
                  <a:lnTo>
                    <a:pt x="912" y="857"/>
                  </a:lnTo>
                  <a:lnTo>
                    <a:pt x="834" y="805"/>
                  </a:lnTo>
                  <a:lnTo>
                    <a:pt x="768" y="803"/>
                  </a:lnTo>
                  <a:lnTo>
                    <a:pt x="773" y="845"/>
                  </a:lnTo>
                  <a:lnTo>
                    <a:pt x="669" y="771"/>
                  </a:lnTo>
                  <a:lnTo>
                    <a:pt x="604" y="781"/>
                  </a:lnTo>
                  <a:lnTo>
                    <a:pt x="539" y="765"/>
                  </a:lnTo>
                  <a:lnTo>
                    <a:pt x="481" y="784"/>
                  </a:lnTo>
                  <a:lnTo>
                    <a:pt x="308" y="746"/>
                  </a:lnTo>
                  <a:lnTo>
                    <a:pt x="326" y="680"/>
                  </a:lnTo>
                  <a:lnTo>
                    <a:pt x="361" y="669"/>
                  </a:lnTo>
                  <a:lnTo>
                    <a:pt x="349" y="635"/>
                  </a:lnTo>
                  <a:lnTo>
                    <a:pt x="299" y="657"/>
                  </a:lnTo>
                  <a:lnTo>
                    <a:pt x="227" y="612"/>
                  </a:lnTo>
                  <a:lnTo>
                    <a:pt x="301" y="494"/>
                  </a:lnTo>
                  <a:lnTo>
                    <a:pt x="360" y="517"/>
                  </a:lnTo>
                  <a:lnTo>
                    <a:pt x="361" y="424"/>
                  </a:lnTo>
                  <a:lnTo>
                    <a:pt x="392" y="401"/>
                  </a:lnTo>
                  <a:lnTo>
                    <a:pt x="389" y="292"/>
                  </a:lnTo>
                  <a:lnTo>
                    <a:pt x="437" y="211"/>
                  </a:lnTo>
                  <a:lnTo>
                    <a:pt x="358" y="203"/>
                  </a:lnTo>
                  <a:lnTo>
                    <a:pt x="316" y="175"/>
                  </a:lnTo>
                  <a:lnTo>
                    <a:pt x="275" y="225"/>
                  </a:lnTo>
                  <a:lnTo>
                    <a:pt x="190" y="221"/>
                  </a:lnTo>
                  <a:lnTo>
                    <a:pt x="134" y="208"/>
                  </a:lnTo>
                  <a:lnTo>
                    <a:pt x="115" y="122"/>
                  </a:lnTo>
                  <a:lnTo>
                    <a:pt x="79" y="115"/>
                  </a:lnTo>
                  <a:lnTo>
                    <a:pt x="65" y="152"/>
                  </a:lnTo>
                  <a:lnTo>
                    <a:pt x="2" y="138"/>
                  </a:lnTo>
                  <a:lnTo>
                    <a:pt x="34" y="82"/>
                  </a:lnTo>
                  <a:lnTo>
                    <a:pt x="0" y="49"/>
                  </a:lnTo>
                </a:path>
              </a:pathLst>
            </a:custGeom>
            <a:grpFill/>
            <a:ln w="12700" cap="rnd" cmpd="sng">
              <a:solidFill>
                <a:schemeClr val="bg1"/>
              </a:solidFill>
              <a:prstDash val="solid"/>
              <a:round/>
              <a:headEnd type="none" w="med" len="med"/>
              <a:tailEnd type="none" w="med" len="med"/>
            </a:ln>
            <a:effectLst/>
          </p:spPr>
          <p:txBody>
            <a:bodyPr/>
            <a:lstStyle/>
            <a:p>
              <a:pPr algn="ctr" defTabSz="685800" eaLnBrk="0" hangingPunct="0">
                <a:spcBef>
                  <a:spcPct val="50000"/>
                </a:spcBef>
                <a:buClrTx/>
                <a:defRPr/>
              </a:pPr>
              <a:endParaRPr lang="en-US" sz="900" kern="1200">
                <a:ea typeface="+mn-ea"/>
                <a:cs typeface="+mn-cs"/>
              </a:endParaRPr>
            </a:p>
          </p:txBody>
        </p:sp>
        <p:sp>
          <p:nvSpPr>
            <p:cNvPr id="15" name="Freeform 10"/>
            <p:cNvSpPr>
              <a:spLocks/>
            </p:cNvSpPr>
            <p:nvPr/>
          </p:nvSpPr>
          <p:spPr bwMode="gray">
            <a:xfrm>
              <a:off x="4366299" y="2610839"/>
              <a:ext cx="1669721" cy="1425164"/>
            </a:xfrm>
            <a:custGeom>
              <a:avLst/>
              <a:gdLst>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411 w 2088"/>
                <a:gd name="connsiteY46" fmla="*/ 1325 h 1352"/>
                <a:gd name="connsiteX47" fmla="*/ 510 w 2088"/>
                <a:gd name="connsiteY47" fmla="*/ 1269 h 1352"/>
                <a:gd name="connsiteX48" fmla="*/ 669 w 2088"/>
                <a:gd name="connsiteY48" fmla="*/ 1301 h 1352"/>
                <a:gd name="connsiteX49" fmla="*/ 746 w 2088"/>
                <a:gd name="connsiteY49" fmla="*/ 1277 h 1352"/>
                <a:gd name="connsiteX50" fmla="*/ 876 w 2088"/>
                <a:gd name="connsiteY50" fmla="*/ 1352 h 1352"/>
                <a:gd name="connsiteX51" fmla="*/ 973 w 2088"/>
                <a:gd name="connsiteY51" fmla="*/ 1303 h 1352"/>
                <a:gd name="connsiteX52" fmla="*/ 1265 w 2088"/>
                <a:gd name="connsiteY52" fmla="*/ 1253 h 1352"/>
                <a:gd name="connsiteX53" fmla="*/ 1383 w 2088"/>
                <a:gd name="connsiteY53" fmla="*/ 1274 h 1352"/>
                <a:gd name="connsiteX54" fmla="*/ 1519 w 2088"/>
                <a:gd name="connsiteY54" fmla="*/ 1277 h 1352"/>
                <a:gd name="connsiteX55" fmla="*/ 1541 w 2088"/>
                <a:gd name="connsiteY55" fmla="*/ 1266 h 1352"/>
                <a:gd name="connsiteX56" fmla="*/ 1564 w 2088"/>
                <a:gd name="connsiteY56" fmla="*/ 1210 h 1352"/>
                <a:gd name="connsiteX57" fmla="*/ 1501 w 2088"/>
                <a:gd name="connsiteY57" fmla="*/ 1159 h 1352"/>
                <a:gd name="connsiteX58" fmla="*/ 1516 w 2088"/>
                <a:gd name="connsiteY58" fmla="*/ 1082 h 1352"/>
                <a:gd name="connsiteX59" fmla="*/ 1821 w 2088"/>
                <a:gd name="connsiteY59" fmla="*/ 1012 h 1352"/>
                <a:gd name="connsiteX60" fmla="*/ 1813 w 2088"/>
                <a:gd name="connsiteY60" fmla="*/ 891 h 1352"/>
                <a:gd name="connsiteX61" fmla="*/ 1899 w 2088"/>
                <a:gd name="connsiteY61" fmla="*/ 863 h 1352"/>
                <a:gd name="connsiteX62" fmla="*/ 1942 w 2088"/>
                <a:gd name="connsiteY62" fmla="*/ 795 h 1352"/>
                <a:gd name="connsiteX63" fmla="*/ 2051 w 2088"/>
                <a:gd name="connsiteY63" fmla="*/ 760 h 1352"/>
                <a:gd name="connsiteX64" fmla="*/ 2088 w 2088"/>
                <a:gd name="connsiteY64" fmla="*/ 696 h 1352"/>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411 w 2088"/>
                <a:gd name="connsiteY46" fmla="*/ 1325 h 1352"/>
                <a:gd name="connsiteX47" fmla="*/ 510 w 2088"/>
                <a:gd name="connsiteY47" fmla="*/ 1269 h 1352"/>
                <a:gd name="connsiteX48" fmla="*/ 669 w 2088"/>
                <a:gd name="connsiteY48" fmla="*/ 1301 h 1352"/>
                <a:gd name="connsiteX49" fmla="*/ 746 w 2088"/>
                <a:gd name="connsiteY49" fmla="*/ 1277 h 1352"/>
                <a:gd name="connsiteX50" fmla="*/ 876 w 2088"/>
                <a:gd name="connsiteY50" fmla="*/ 1352 h 1352"/>
                <a:gd name="connsiteX51" fmla="*/ 973 w 2088"/>
                <a:gd name="connsiteY51" fmla="*/ 1303 h 1352"/>
                <a:gd name="connsiteX52" fmla="*/ 1265 w 2088"/>
                <a:gd name="connsiteY52" fmla="*/ 1253 h 1352"/>
                <a:gd name="connsiteX53" fmla="*/ 1383 w 2088"/>
                <a:gd name="connsiteY53" fmla="*/ 1274 h 1352"/>
                <a:gd name="connsiteX54" fmla="*/ 1519 w 2088"/>
                <a:gd name="connsiteY54" fmla="*/ 1277 h 1352"/>
                <a:gd name="connsiteX55" fmla="*/ 1541 w 2088"/>
                <a:gd name="connsiteY55" fmla="*/ 1266 h 1352"/>
                <a:gd name="connsiteX56" fmla="*/ 1564 w 2088"/>
                <a:gd name="connsiteY56" fmla="*/ 1210 h 1352"/>
                <a:gd name="connsiteX57" fmla="*/ 1501 w 2088"/>
                <a:gd name="connsiteY57" fmla="*/ 1159 h 1352"/>
                <a:gd name="connsiteX58" fmla="*/ 1516 w 2088"/>
                <a:gd name="connsiteY58" fmla="*/ 1082 h 1352"/>
                <a:gd name="connsiteX59" fmla="*/ 1821 w 2088"/>
                <a:gd name="connsiteY59" fmla="*/ 1012 h 1352"/>
                <a:gd name="connsiteX60" fmla="*/ 1813 w 2088"/>
                <a:gd name="connsiteY60" fmla="*/ 891 h 1352"/>
                <a:gd name="connsiteX61" fmla="*/ 1899 w 2088"/>
                <a:gd name="connsiteY61" fmla="*/ 863 h 1352"/>
                <a:gd name="connsiteX62" fmla="*/ 1942 w 2088"/>
                <a:gd name="connsiteY62" fmla="*/ 795 h 1352"/>
                <a:gd name="connsiteX63" fmla="*/ 2051 w 2088"/>
                <a:gd name="connsiteY63" fmla="*/ 760 h 1352"/>
                <a:gd name="connsiteX64" fmla="*/ 2088 w 2088"/>
                <a:gd name="connsiteY64" fmla="*/ 696 h 1352"/>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411 w 2088"/>
                <a:gd name="connsiteY46" fmla="*/ 1325 h 1352"/>
                <a:gd name="connsiteX47" fmla="*/ 510 w 2088"/>
                <a:gd name="connsiteY47" fmla="*/ 1269 h 1352"/>
                <a:gd name="connsiteX48" fmla="*/ 669 w 2088"/>
                <a:gd name="connsiteY48" fmla="*/ 1301 h 1352"/>
                <a:gd name="connsiteX49" fmla="*/ 746 w 2088"/>
                <a:gd name="connsiteY49" fmla="*/ 1277 h 1352"/>
                <a:gd name="connsiteX50" fmla="*/ 876 w 2088"/>
                <a:gd name="connsiteY50" fmla="*/ 1352 h 1352"/>
                <a:gd name="connsiteX51" fmla="*/ 973 w 2088"/>
                <a:gd name="connsiteY51" fmla="*/ 1303 h 1352"/>
                <a:gd name="connsiteX52" fmla="*/ 1265 w 2088"/>
                <a:gd name="connsiteY52" fmla="*/ 1253 h 1352"/>
                <a:gd name="connsiteX53" fmla="*/ 1383 w 2088"/>
                <a:gd name="connsiteY53" fmla="*/ 1274 h 1352"/>
                <a:gd name="connsiteX54" fmla="*/ 1519 w 2088"/>
                <a:gd name="connsiteY54" fmla="*/ 1277 h 1352"/>
                <a:gd name="connsiteX55" fmla="*/ 1541 w 2088"/>
                <a:gd name="connsiteY55" fmla="*/ 1266 h 1352"/>
                <a:gd name="connsiteX56" fmla="*/ 1524 w 2088"/>
                <a:gd name="connsiteY56" fmla="*/ 1210 h 1352"/>
                <a:gd name="connsiteX57" fmla="*/ 1501 w 2088"/>
                <a:gd name="connsiteY57" fmla="*/ 1159 h 1352"/>
                <a:gd name="connsiteX58" fmla="*/ 1516 w 2088"/>
                <a:gd name="connsiteY58" fmla="*/ 1082 h 1352"/>
                <a:gd name="connsiteX59" fmla="*/ 1821 w 2088"/>
                <a:gd name="connsiteY59" fmla="*/ 1012 h 1352"/>
                <a:gd name="connsiteX60" fmla="*/ 1813 w 2088"/>
                <a:gd name="connsiteY60" fmla="*/ 891 h 1352"/>
                <a:gd name="connsiteX61" fmla="*/ 1899 w 2088"/>
                <a:gd name="connsiteY61" fmla="*/ 863 h 1352"/>
                <a:gd name="connsiteX62" fmla="*/ 1942 w 2088"/>
                <a:gd name="connsiteY62" fmla="*/ 795 h 1352"/>
                <a:gd name="connsiteX63" fmla="*/ 2051 w 2088"/>
                <a:gd name="connsiteY63" fmla="*/ 760 h 1352"/>
                <a:gd name="connsiteX64" fmla="*/ 2088 w 2088"/>
                <a:gd name="connsiteY64" fmla="*/ 696 h 1352"/>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411 w 2088"/>
                <a:gd name="connsiteY46" fmla="*/ 1325 h 1352"/>
                <a:gd name="connsiteX47" fmla="*/ 510 w 2088"/>
                <a:gd name="connsiteY47" fmla="*/ 1269 h 1352"/>
                <a:gd name="connsiteX48" fmla="*/ 669 w 2088"/>
                <a:gd name="connsiteY48" fmla="*/ 1301 h 1352"/>
                <a:gd name="connsiteX49" fmla="*/ 746 w 2088"/>
                <a:gd name="connsiteY49" fmla="*/ 1277 h 1352"/>
                <a:gd name="connsiteX50" fmla="*/ 876 w 2088"/>
                <a:gd name="connsiteY50" fmla="*/ 1352 h 1352"/>
                <a:gd name="connsiteX51" fmla="*/ 973 w 2088"/>
                <a:gd name="connsiteY51" fmla="*/ 1303 h 1352"/>
                <a:gd name="connsiteX52" fmla="*/ 1265 w 2088"/>
                <a:gd name="connsiteY52" fmla="*/ 1253 h 1352"/>
                <a:gd name="connsiteX53" fmla="*/ 1383 w 2088"/>
                <a:gd name="connsiteY53" fmla="*/ 1274 h 1352"/>
                <a:gd name="connsiteX54" fmla="*/ 1519 w 2088"/>
                <a:gd name="connsiteY54" fmla="*/ 1277 h 1352"/>
                <a:gd name="connsiteX55" fmla="*/ 1501 w 2088"/>
                <a:gd name="connsiteY55" fmla="*/ 1266 h 1352"/>
                <a:gd name="connsiteX56" fmla="*/ 1524 w 2088"/>
                <a:gd name="connsiteY56" fmla="*/ 1210 h 1352"/>
                <a:gd name="connsiteX57" fmla="*/ 1501 w 2088"/>
                <a:gd name="connsiteY57" fmla="*/ 1159 h 1352"/>
                <a:gd name="connsiteX58" fmla="*/ 1516 w 2088"/>
                <a:gd name="connsiteY58" fmla="*/ 1082 h 1352"/>
                <a:gd name="connsiteX59" fmla="*/ 1821 w 2088"/>
                <a:gd name="connsiteY59" fmla="*/ 1012 h 1352"/>
                <a:gd name="connsiteX60" fmla="*/ 1813 w 2088"/>
                <a:gd name="connsiteY60" fmla="*/ 891 h 1352"/>
                <a:gd name="connsiteX61" fmla="*/ 1899 w 2088"/>
                <a:gd name="connsiteY61" fmla="*/ 863 h 1352"/>
                <a:gd name="connsiteX62" fmla="*/ 1942 w 2088"/>
                <a:gd name="connsiteY62" fmla="*/ 795 h 1352"/>
                <a:gd name="connsiteX63" fmla="*/ 2051 w 2088"/>
                <a:gd name="connsiteY63" fmla="*/ 760 h 1352"/>
                <a:gd name="connsiteX64" fmla="*/ 2088 w 2088"/>
                <a:gd name="connsiteY64" fmla="*/ 696 h 1352"/>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411 w 2088"/>
                <a:gd name="connsiteY46" fmla="*/ 1325 h 1352"/>
                <a:gd name="connsiteX47" fmla="*/ 510 w 2088"/>
                <a:gd name="connsiteY47" fmla="*/ 1269 h 1352"/>
                <a:gd name="connsiteX48" fmla="*/ 669 w 2088"/>
                <a:gd name="connsiteY48" fmla="*/ 1301 h 1352"/>
                <a:gd name="connsiteX49" fmla="*/ 746 w 2088"/>
                <a:gd name="connsiteY49" fmla="*/ 1277 h 1352"/>
                <a:gd name="connsiteX50" fmla="*/ 876 w 2088"/>
                <a:gd name="connsiteY50" fmla="*/ 1352 h 1352"/>
                <a:gd name="connsiteX51" fmla="*/ 973 w 2088"/>
                <a:gd name="connsiteY51" fmla="*/ 1303 h 1352"/>
                <a:gd name="connsiteX52" fmla="*/ 1265 w 2088"/>
                <a:gd name="connsiteY52" fmla="*/ 1253 h 1352"/>
                <a:gd name="connsiteX53" fmla="*/ 1383 w 2088"/>
                <a:gd name="connsiteY53" fmla="*/ 1274 h 1352"/>
                <a:gd name="connsiteX54" fmla="*/ 1519 w 2088"/>
                <a:gd name="connsiteY54" fmla="*/ 1277 h 1352"/>
                <a:gd name="connsiteX55" fmla="*/ 1501 w 2088"/>
                <a:gd name="connsiteY55" fmla="*/ 1266 h 1352"/>
                <a:gd name="connsiteX56" fmla="*/ 1524 w 2088"/>
                <a:gd name="connsiteY56" fmla="*/ 1210 h 1352"/>
                <a:gd name="connsiteX57" fmla="*/ 1501 w 2088"/>
                <a:gd name="connsiteY57" fmla="*/ 1159 h 1352"/>
                <a:gd name="connsiteX58" fmla="*/ 1516 w 2088"/>
                <a:gd name="connsiteY58" fmla="*/ 1082 h 1352"/>
                <a:gd name="connsiteX59" fmla="*/ 1821 w 2088"/>
                <a:gd name="connsiteY59" fmla="*/ 1012 h 1352"/>
                <a:gd name="connsiteX60" fmla="*/ 1813 w 2088"/>
                <a:gd name="connsiteY60" fmla="*/ 891 h 1352"/>
                <a:gd name="connsiteX61" fmla="*/ 1899 w 2088"/>
                <a:gd name="connsiteY61" fmla="*/ 863 h 1352"/>
                <a:gd name="connsiteX62" fmla="*/ 1942 w 2088"/>
                <a:gd name="connsiteY62" fmla="*/ 795 h 1352"/>
                <a:gd name="connsiteX63" fmla="*/ 2051 w 2088"/>
                <a:gd name="connsiteY63" fmla="*/ 760 h 1352"/>
                <a:gd name="connsiteX64" fmla="*/ 2088 w 2088"/>
                <a:gd name="connsiteY64" fmla="*/ 696 h 1352"/>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411 w 2088"/>
                <a:gd name="connsiteY46" fmla="*/ 1325 h 1352"/>
                <a:gd name="connsiteX47" fmla="*/ 510 w 2088"/>
                <a:gd name="connsiteY47" fmla="*/ 1269 h 1352"/>
                <a:gd name="connsiteX48" fmla="*/ 669 w 2088"/>
                <a:gd name="connsiteY48" fmla="*/ 1301 h 1352"/>
                <a:gd name="connsiteX49" fmla="*/ 746 w 2088"/>
                <a:gd name="connsiteY49" fmla="*/ 1277 h 1352"/>
                <a:gd name="connsiteX50" fmla="*/ 876 w 2088"/>
                <a:gd name="connsiteY50" fmla="*/ 1352 h 1352"/>
                <a:gd name="connsiteX51" fmla="*/ 973 w 2088"/>
                <a:gd name="connsiteY51" fmla="*/ 1303 h 1352"/>
                <a:gd name="connsiteX52" fmla="*/ 1265 w 2088"/>
                <a:gd name="connsiteY52" fmla="*/ 1253 h 1352"/>
                <a:gd name="connsiteX53" fmla="*/ 1383 w 2088"/>
                <a:gd name="connsiteY53" fmla="*/ 1274 h 1352"/>
                <a:gd name="connsiteX54" fmla="*/ 1519 w 2088"/>
                <a:gd name="connsiteY54" fmla="*/ 1277 h 1352"/>
                <a:gd name="connsiteX55" fmla="*/ 1501 w 2088"/>
                <a:gd name="connsiteY55" fmla="*/ 1266 h 1352"/>
                <a:gd name="connsiteX56" fmla="*/ 1524 w 2088"/>
                <a:gd name="connsiteY56" fmla="*/ 1210 h 1352"/>
                <a:gd name="connsiteX57" fmla="*/ 1501 w 2088"/>
                <a:gd name="connsiteY57" fmla="*/ 1159 h 1352"/>
                <a:gd name="connsiteX58" fmla="*/ 1516 w 2088"/>
                <a:gd name="connsiteY58" fmla="*/ 1082 h 1352"/>
                <a:gd name="connsiteX59" fmla="*/ 1821 w 2088"/>
                <a:gd name="connsiteY59" fmla="*/ 1012 h 1352"/>
                <a:gd name="connsiteX60" fmla="*/ 1813 w 2088"/>
                <a:gd name="connsiteY60" fmla="*/ 891 h 1352"/>
                <a:gd name="connsiteX61" fmla="*/ 1899 w 2088"/>
                <a:gd name="connsiteY61" fmla="*/ 863 h 1352"/>
                <a:gd name="connsiteX62" fmla="*/ 1942 w 2088"/>
                <a:gd name="connsiteY62" fmla="*/ 795 h 1352"/>
                <a:gd name="connsiteX63" fmla="*/ 2051 w 2088"/>
                <a:gd name="connsiteY63" fmla="*/ 760 h 1352"/>
                <a:gd name="connsiteX64" fmla="*/ 2088 w 2088"/>
                <a:gd name="connsiteY64" fmla="*/ 696 h 1352"/>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411 w 2088"/>
                <a:gd name="connsiteY46" fmla="*/ 1325 h 1352"/>
                <a:gd name="connsiteX47" fmla="*/ 510 w 2088"/>
                <a:gd name="connsiteY47" fmla="*/ 1269 h 1352"/>
                <a:gd name="connsiteX48" fmla="*/ 669 w 2088"/>
                <a:gd name="connsiteY48" fmla="*/ 1301 h 1352"/>
                <a:gd name="connsiteX49" fmla="*/ 746 w 2088"/>
                <a:gd name="connsiteY49" fmla="*/ 1277 h 1352"/>
                <a:gd name="connsiteX50" fmla="*/ 876 w 2088"/>
                <a:gd name="connsiteY50" fmla="*/ 1352 h 1352"/>
                <a:gd name="connsiteX51" fmla="*/ 973 w 2088"/>
                <a:gd name="connsiteY51" fmla="*/ 1303 h 1352"/>
                <a:gd name="connsiteX52" fmla="*/ 1265 w 2088"/>
                <a:gd name="connsiteY52" fmla="*/ 1253 h 1352"/>
                <a:gd name="connsiteX53" fmla="*/ 1383 w 2088"/>
                <a:gd name="connsiteY53" fmla="*/ 1274 h 1352"/>
                <a:gd name="connsiteX54" fmla="*/ 1519 w 2088"/>
                <a:gd name="connsiteY54" fmla="*/ 1277 h 1352"/>
                <a:gd name="connsiteX55" fmla="*/ 1501 w 2088"/>
                <a:gd name="connsiteY55" fmla="*/ 1266 h 1352"/>
                <a:gd name="connsiteX56" fmla="*/ 1524 w 2088"/>
                <a:gd name="connsiteY56" fmla="*/ 1210 h 1352"/>
                <a:gd name="connsiteX57" fmla="*/ 1501 w 2088"/>
                <a:gd name="connsiteY57" fmla="*/ 1159 h 1352"/>
                <a:gd name="connsiteX58" fmla="*/ 1516 w 2088"/>
                <a:gd name="connsiteY58" fmla="*/ 1082 h 1352"/>
                <a:gd name="connsiteX59" fmla="*/ 1821 w 2088"/>
                <a:gd name="connsiteY59" fmla="*/ 1012 h 1352"/>
                <a:gd name="connsiteX60" fmla="*/ 1813 w 2088"/>
                <a:gd name="connsiteY60" fmla="*/ 891 h 1352"/>
                <a:gd name="connsiteX61" fmla="*/ 1899 w 2088"/>
                <a:gd name="connsiteY61" fmla="*/ 863 h 1352"/>
                <a:gd name="connsiteX62" fmla="*/ 1942 w 2088"/>
                <a:gd name="connsiteY62" fmla="*/ 795 h 1352"/>
                <a:gd name="connsiteX63" fmla="*/ 2051 w 2088"/>
                <a:gd name="connsiteY63" fmla="*/ 760 h 1352"/>
                <a:gd name="connsiteX64" fmla="*/ 2088 w 2088"/>
                <a:gd name="connsiteY64" fmla="*/ 696 h 1352"/>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371 w 2088"/>
                <a:gd name="connsiteY46" fmla="*/ 1325 h 1352"/>
                <a:gd name="connsiteX47" fmla="*/ 510 w 2088"/>
                <a:gd name="connsiteY47" fmla="*/ 1269 h 1352"/>
                <a:gd name="connsiteX48" fmla="*/ 669 w 2088"/>
                <a:gd name="connsiteY48" fmla="*/ 1301 h 1352"/>
                <a:gd name="connsiteX49" fmla="*/ 746 w 2088"/>
                <a:gd name="connsiteY49" fmla="*/ 1277 h 1352"/>
                <a:gd name="connsiteX50" fmla="*/ 876 w 2088"/>
                <a:gd name="connsiteY50" fmla="*/ 1352 h 1352"/>
                <a:gd name="connsiteX51" fmla="*/ 973 w 2088"/>
                <a:gd name="connsiteY51" fmla="*/ 1303 h 1352"/>
                <a:gd name="connsiteX52" fmla="*/ 1265 w 2088"/>
                <a:gd name="connsiteY52" fmla="*/ 1253 h 1352"/>
                <a:gd name="connsiteX53" fmla="*/ 1383 w 2088"/>
                <a:gd name="connsiteY53" fmla="*/ 1274 h 1352"/>
                <a:gd name="connsiteX54" fmla="*/ 1519 w 2088"/>
                <a:gd name="connsiteY54" fmla="*/ 1277 h 1352"/>
                <a:gd name="connsiteX55" fmla="*/ 1501 w 2088"/>
                <a:gd name="connsiteY55" fmla="*/ 1266 h 1352"/>
                <a:gd name="connsiteX56" fmla="*/ 1524 w 2088"/>
                <a:gd name="connsiteY56" fmla="*/ 1210 h 1352"/>
                <a:gd name="connsiteX57" fmla="*/ 1501 w 2088"/>
                <a:gd name="connsiteY57" fmla="*/ 1159 h 1352"/>
                <a:gd name="connsiteX58" fmla="*/ 1516 w 2088"/>
                <a:gd name="connsiteY58" fmla="*/ 1082 h 1352"/>
                <a:gd name="connsiteX59" fmla="*/ 1821 w 2088"/>
                <a:gd name="connsiteY59" fmla="*/ 1012 h 1352"/>
                <a:gd name="connsiteX60" fmla="*/ 1813 w 2088"/>
                <a:gd name="connsiteY60" fmla="*/ 891 h 1352"/>
                <a:gd name="connsiteX61" fmla="*/ 1899 w 2088"/>
                <a:gd name="connsiteY61" fmla="*/ 863 h 1352"/>
                <a:gd name="connsiteX62" fmla="*/ 1942 w 2088"/>
                <a:gd name="connsiteY62" fmla="*/ 795 h 1352"/>
                <a:gd name="connsiteX63" fmla="*/ 2051 w 2088"/>
                <a:gd name="connsiteY63" fmla="*/ 760 h 1352"/>
                <a:gd name="connsiteX64" fmla="*/ 2088 w 2088"/>
                <a:gd name="connsiteY64" fmla="*/ 696 h 1352"/>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371 w 2088"/>
                <a:gd name="connsiteY46" fmla="*/ 1325 h 1352"/>
                <a:gd name="connsiteX47" fmla="*/ 510 w 2088"/>
                <a:gd name="connsiteY47" fmla="*/ 1269 h 1352"/>
                <a:gd name="connsiteX48" fmla="*/ 669 w 2088"/>
                <a:gd name="connsiteY48" fmla="*/ 1301 h 1352"/>
                <a:gd name="connsiteX49" fmla="*/ 746 w 2088"/>
                <a:gd name="connsiteY49" fmla="*/ 1277 h 1352"/>
                <a:gd name="connsiteX50" fmla="*/ 876 w 2088"/>
                <a:gd name="connsiteY50" fmla="*/ 1352 h 1352"/>
                <a:gd name="connsiteX51" fmla="*/ 973 w 2088"/>
                <a:gd name="connsiteY51" fmla="*/ 1303 h 1352"/>
                <a:gd name="connsiteX52" fmla="*/ 1265 w 2088"/>
                <a:gd name="connsiteY52" fmla="*/ 1253 h 1352"/>
                <a:gd name="connsiteX53" fmla="*/ 1383 w 2088"/>
                <a:gd name="connsiteY53" fmla="*/ 1274 h 1352"/>
                <a:gd name="connsiteX54" fmla="*/ 1519 w 2088"/>
                <a:gd name="connsiteY54" fmla="*/ 1277 h 1352"/>
                <a:gd name="connsiteX55" fmla="*/ 1501 w 2088"/>
                <a:gd name="connsiteY55" fmla="*/ 1266 h 1352"/>
                <a:gd name="connsiteX56" fmla="*/ 1524 w 2088"/>
                <a:gd name="connsiteY56" fmla="*/ 1210 h 1352"/>
                <a:gd name="connsiteX57" fmla="*/ 1501 w 2088"/>
                <a:gd name="connsiteY57" fmla="*/ 1159 h 1352"/>
                <a:gd name="connsiteX58" fmla="*/ 1516 w 2088"/>
                <a:gd name="connsiteY58" fmla="*/ 1082 h 1352"/>
                <a:gd name="connsiteX59" fmla="*/ 1821 w 2088"/>
                <a:gd name="connsiteY59" fmla="*/ 1012 h 1352"/>
                <a:gd name="connsiteX60" fmla="*/ 1813 w 2088"/>
                <a:gd name="connsiteY60" fmla="*/ 891 h 1352"/>
                <a:gd name="connsiteX61" fmla="*/ 1899 w 2088"/>
                <a:gd name="connsiteY61" fmla="*/ 863 h 1352"/>
                <a:gd name="connsiteX62" fmla="*/ 1942 w 2088"/>
                <a:gd name="connsiteY62" fmla="*/ 795 h 1352"/>
                <a:gd name="connsiteX63" fmla="*/ 2051 w 2088"/>
                <a:gd name="connsiteY63" fmla="*/ 760 h 1352"/>
                <a:gd name="connsiteX64" fmla="*/ 2088 w 2088"/>
                <a:gd name="connsiteY64" fmla="*/ 696 h 1352"/>
                <a:gd name="connsiteX0" fmla="*/ 2088 w 2088"/>
                <a:gd name="connsiteY0" fmla="*/ 696 h 1378"/>
                <a:gd name="connsiteX1" fmla="*/ 2062 w 2088"/>
                <a:gd name="connsiteY1" fmla="*/ 621 h 1378"/>
                <a:gd name="connsiteX2" fmla="*/ 2032 w 2088"/>
                <a:gd name="connsiteY2" fmla="*/ 547 h 1378"/>
                <a:gd name="connsiteX3" fmla="*/ 1876 w 2088"/>
                <a:gd name="connsiteY3" fmla="*/ 478 h 1378"/>
                <a:gd name="connsiteX4" fmla="*/ 1769 w 2088"/>
                <a:gd name="connsiteY4" fmla="*/ 478 h 1378"/>
                <a:gd name="connsiteX5" fmla="*/ 1640 w 2088"/>
                <a:gd name="connsiteY5" fmla="*/ 437 h 1378"/>
                <a:gd name="connsiteX6" fmla="*/ 1685 w 2088"/>
                <a:gd name="connsiteY6" fmla="*/ 297 h 1378"/>
                <a:gd name="connsiteX7" fmla="*/ 1583 w 2088"/>
                <a:gd name="connsiteY7" fmla="*/ 154 h 1378"/>
                <a:gd name="connsiteX8" fmla="*/ 1513 w 2088"/>
                <a:gd name="connsiteY8" fmla="*/ 150 h 1378"/>
                <a:gd name="connsiteX9" fmla="*/ 1441 w 2088"/>
                <a:gd name="connsiteY9" fmla="*/ 66 h 1378"/>
                <a:gd name="connsiteX10" fmla="*/ 1433 w 2088"/>
                <a:gd name="connsiteY10" fmla="*/ 7 h 1378"/>
                <a:gd name="connsiteX11" fmla="*/ 1362 w 2088"/>
                <a:gd name="connsiteY11" fmla="*/ 0 h 1378"/>
                <a:gd name="connsiteX12" fmla="*/ 1335 w 2088"/>
                <a:gd name="connsiteY12" fmla="*/ 70 h 1378"/>
                <a:gd name="connsiteX13" fmla="*/ 1241 w 2088"/>
                <a:gd name="connsiteY13" fmla="*/ 88 h 1378"/>
                <a:gd name="connsiteX14" fmla="*/ 1246 w 2088"/>
                <a:gd name="connsiteY14" fmla="*/ 183 h 1378"/>
                <a:gd name="connsiteX15" fmla="*/ 1172 w 2088"/>
                <a:gd name="connsiteY15" fmla="*/ 227 h 1378"/>
                <a:gd name="connsiteX16" fmla="*/ 1117 w 2088"/>
                <a:gd name="connsiteY16" fmla="*/ 183 h 1378"/>
                <a:gd name="connsiteX17" fmla="*/ 1015 w 2088"/>
                <a:gd name="connsiteY17" fmla="*/ 169 h 1378"/>
                <a:gd name="connsiteX18" fmla="*/ 926 w 2088"/>
                <a:gd name="connsiteY18" fmla="*/ 316 h 1378"/>
                <a:gd name="connsiteX19" fmla="*/ 926 w 2088"/>
                <a:gd name="connsiteY19" fmla="*/ 353 h 1378"/>
                <a:gd name="connsiteX20" fmla="*/ 896 w 2088"/>
                <a:gd name="connsiteY20" fmla="*/ 363 h 1378"/>
                <a:gd name="connsiteX21" fmla="*/ 842 w 2088"/>
                <a:gd name="connsiteY21" fmla="*/ 331 h 1378"/>
                <a:gd name="connsiteX22" fmla="*/ 736 w 2088"/>
                <a:gd name="connsiteY22" fmla="*/ 327 h 1378"/>
                <a:gd name="connsiteX23" fmla="*/ 692 w 2088"/>
                <a:gd name="connsiteY23" fmla="*/ 363 h 1378"/>
                <a:gd name="connsiteX24" fmla="*/ 732 w 2088"/>
                <a:gd name="connsiteY24" fmla="*/ 386 h 1378"/>
                <a:gd name="connsiteX25" fmla="*/ 749 w 2088"/>
                <a:gd name="connsiteY25" fmla="*/ 539 h 1378"/>
                <a:gd name="connsiteX26" fmla="*/ 665 w 2088"/>
                <a:gd name="connsiteY26" fmla="*/ 581 h 1378"/>
                <a:gd name="connsiteX27" fmla="*/ 657 w 2088"/>
                <a:gd name="connsiteY27" fmla="*/ 643 h 1378"/>
                <a:gd name="connsiteX28" fmla="*/ 532 w 2088"/>
                <a:gd name="connsiteY28" fmla="*/ 668 h 1378"/>
                <a:gd name="connsiteX29" fmla="*/ 448 w 2088"/>
                <a:gd name="connsiteY29" fmla="*/ 702 h 1378"/>
                <a:gd name="connsiteX30" fmla="*/ 328 w 2088"/>
                <a:gd name="connsiteY30" fmla="*/ 695 h 1378"/>
                <a:gd name="connsiteX31" fmla="*/ 283 w 2088"/>
                <a:gd name="connsiteY31" fmla="*/ 745 h 1378"/>
                <a:gd name="connsiteX32" fmla="*/ 231 w 2088"/>
                <a:gd name="connsiteY32" fmla="*/ 735 h 1378"/>
                <a:gd name="connsiteX33" fmla="*/ 182 w 2088"/>
                <a:gd name="connsiteY33" fmla="*/ 705 h 1378"/>
                <a:gd name="connsiteX34" fmla="*/ 88 w 2088"/>
                <a:gd name="connsiteY34" fmla="*/ 735 h 1378"/>
                <a:gd name="connsiteX35" fmla="*/ 0 w 2088"/>
                <a:gd name="connsiteY35" fmla="*/ 793 h 1378"/>
                <a:gd name="connsiteX36" fmla="*/ 9 w 2088"/>
                <a:gd name="connsiteY36" fmla="*/ 892 h 1378"/>
                <a:gd name="connsiteX37" fmla="*/ 66 w 2088"/>
                <a:gd name="connsiteY37" fmla="*/ 903 h 1378"/>
                <a:gd name="connsiteX38" fmla="*/ 79 w 2088"/>
                <a:gd name="connsiteY38" fmla="*/ 1021 h 1378"/>
                <a:gd name="connsiteX39" fmla="*/ 27 w 2088"/>
                <a:gd name="connsiteY39" fmla="*/ 1021 h 1378"/>
                <a:gd name="connsiteX40" fmla="*/ 27 w 2088"/>
                <a:gd name="connsiteY40" fmla="*/ 1055 h 1378"/>
                <a:gd name="connsiteX41" fmla="*/ 124 w 2088"/>
                <a:gd name="connsiteY41" fmla="*/ 1106 h 1378"/>
                <a:gd name="connsiteX42" fmla="*/ 115 w 2088"/>
                <a:gd name="connsiteY42" fmla="*/ 1176 h 1378"/>
                <a:gd name="connsiteX43" fmla="*/ 277 w 2088"/>
                <a:gd name="connsiteY43" fmla="*/ 1248 h 1378"/>
                <a:gd name="connsiteX44" fmla="*/ 281 w 2088"/>
                <a:gd name="connsiteY44" fmla="*/ 1253 h 1378"/>
                <a:gd name="connsiteX45" fmla="*/ 286 w 2088"/>
                <a:gd name="connsiteY45" fmla="*/ 1320 h 1378"/>
                <a:gd name="connsiteX46" fmla="*/ 295 w 2088"/>
                <a:gd name="connsiteY46" fmla="*/ 1377 h 1378"/>
                <a:gd name="connsiteX47" fmla="*/ 371 w 2088"/>
                <a:gd name="connsiteY47" fmla="*/ 1325 h 1378"/>
                <a:gd name="connsiteX48" fmla="*/ 510 w 2088"/>
                <a:gd name="connsiteY48" fmla="*/ 1269 h 1378"/>
                <a:gd name="connsiteX49" fmla="*/ 669 w 2088"/>
                <a:gd name="connsiteY49" fmla="*/ 1301 h 1378"/>
                <a:gd name="connsiteX50" fmla="*/ 746 w 2088"/>
                <a:gd name="connsiteY50" fmla="*/ 1277 h 1378"/>
                <a:gd name="connsiteX51" fmla="*/ 876 w 2088"/>
                <a:gd name="connsiteY51" fmla="*/ 1352 h 1378"/>
                <a:gd name="connsiteX52" fmla="*/ 973 w 2088"/>
                <a:gd name="connsiteY52" fmla="*/ 1303 h 1378"/>
                <a:gd name="connsiteX53" fmla="*/ 1265 w 2088"/>
                <a:gd name="connsiteY53" fmla="*/ 1253 h 1378"/>
                <a:gd name="connsiteX54" fmla="*/ 1383 w 2088"/>
                <a:gd name="connsiteY54" fmla="*/ 1274 h 1378"/>
                <a:gd name="connsiteX55" fmla="*/ 1519 w 2088"/>
                <a:gd name="connsiteY55" fmla="*/ 1277 h 1378"/>
                <a:gd name="connsiteX56" fmla="*/ 1501 w 2088"/>
                <a:gd name="connsiteY56" fmla="*/ 1266 h 1378"/>
                <a:gd name="connsiteX57" fmla="*/ 1524 w 2088"/>
                <a:gd name="connsiteY57" fmla="*/ 1210 h 1378"/>
                <a:gd name="connsiteX58" fmla="*/ 1501 w 2088"/>
                <a:gd name="connsiteY58" fmla="*/ 1159 h 1378"/>
                <a:gd name="connsiteX59" fmla="*/ 1516 w 2088"/>
                <a:gd name="connsiteY59" fmla="*/ 1082 h 1378"/>
                <a:gd name="connsiteX60" fmla="*/ 1821 w 2088"/>
                <a:gd name="connsiteY60" fmla="*/ 1012 h 1378"/>
                <a:gd name="connsiteX61" fmla="*/ 1813 w 2088"/>
                <a:gd name="connsiteY61" fmla="*/ 891 h 1378"/>
                <a:gd name="connsiteX62" fmla="*/ 1899 w 2088"/>
                <a:gd name="connsiteY62" fmla="*/ 863 h 1378"/>
                <a:gd name="connsiteX63" fmla="*/ 1942 w 2088"/>
                <a:gd name="connsiteY63" fmla="*/ 795 h 1378"/>
                <a:gd name="connsiteX64" fmla="*/ 2051 w 2088"/>
                <a:gd name="connsiteY64" fmla="*/ 760 h 1378"/>
                <a:gd name="connsiteX65" fmla="*/ 2088 w 2088"/>
                <a:gd name="connsiteY65" fmla="*/ 696 h 1378"/>
                <a:gd name="connsiteX0" fmla="*/ 2088 w 2088"/>
                <a:gd name="connsiteY0" fmla="*/ 696 h 1378"/>
                <a:gd name="connsiteX1" fmla="*/ 2062 w 2088"/>
                <a:gd name="connsiteY1" fmla="*/ 621 h 1378"/>
                <a:gd name="connsiteX2" fmla="*/ 2032 w 2088"/>
                <a:gd name="connsiteY2" fmla="*/ 547 h 1378"/>
                <a:gd name="connsiteX3" fmla="*/ 1876 w 2088"/>
                <a:gd name="connsiteY3" fmla="*/ 478 h 1378"/>
                <a:gd name="connsiteX4" fmla="*/ 1769 w 2088"/>
                <a:gd name="connsiteY4" fmla="*/ 478 h 1378"/>
                <a:gd name="connsiteX5" fmla="*/ 1640 w 2088"/>
                <a:gd name="connsiteY5" fmla="*/ 437 h 1378"/>
                <a:gd name="connsiteX6" fmla="*/ 1685 w 2088"/>
                <a:gd name="connsiteY6" fmla="*/ 297 h 1378"/>
                <a:gd name="connsiteX7" fmla="*/ 1583 w 2088"/>
                <a:gd name="connsiteY7" fmla="*/ 154 h 1378"/>
                <a:gd name="connsiteX8" fmla="*/ 1513 w 2088"/>
                <a:gd name="connsiteY8" fmla="*/ 150 h 1378"/>
                <a:gd name="connsiteX9" fmla="*/ 1441 w 2088"/>
                <a:gd name="connsiteY9" fmla="*/ 66 h 1378"/>
                <a:gd name="connsiteX10" fmla="*/ 1433 w 2088"/>
                <a:gd name="connsiteY10" fmla="*/ 7 h 1378"/>
                <a:gd name="connsiteX11" fmla="*/ 1362 w 2088"/>
                <a:gd name="connsiteY11" fmla="*/ 0 h 1378"/>
                <a:gd name="connsiteX12" fmla="*/ 1335 w 2088"/>
                <a:gd name="connsiteY12" fmla="*/ 70 h 1378"/>
                <a:gd name="connsiteX13" fmla="*/ 1241 w 2088"/>
                <a:gd name="connsiteY13" fmla="*/ 88 h 1378"/>
                <a:gd name="connsiteX14" fmla="*/ 1246 w 2088"/>
                <a:gd name="connsiteY14" fmla="*/ 183 h 1378"/>
                <a:gd name="connsiteX15" fmla="*/ 1172 w 2088"/>
                <a:gd name="connsiteY15" fmla="*/ 227 h 1378"/>
                <a:gd name="connsiteX16" fmla="*/ 1117 w 2088"/>
                <a:gd name="connsiteY16" fmla="*/ 183 h 1378"/>
                <a:gd name="connsiteX17" fmla="*/ 1015 w 2088"/>
                <a:gd name="connsiteY17" fmla="*/ 169 h 1378"/>
                <a:gd name="connsiteX18" fmla="*/ 926 w 2088"/>
                <a:gd name="connsiteY18" fmla="*/ 316 h 1378"/>
                <a:gd name="connsiteX19" fmla="*/ 926 w 2088"/>
                <a:gd name="connsiteY19" fmla="*/ 353 h 1378"/>
                <a:gd name="connsiteX20" fmla="*/ 896 w 2088"/>
                <a:gd name="connsiteY20" fmla="*/ 363 h 1378"/>
                <a:gd name="connsiteX21" fmla="*/ 842 w 2088"/>
                <a:gd name="connsiteY21" fmla="*/ 331 h 1378"/>
                <a:gd name="connsiteX22" fmla="*/ 736 w 2088"/>
                <a:gd name="connsiteY22" fmla="*/ 327 h 1378"/>
                <a:gd name="connsiteX23" fmla="*/ 692 w 2088"/>
                <a:gd name="connsiteY23" fmla="*/ 363 h 1378"/>
                <a:gd name="connsiteX24" fmla="*/ 732 w 2088"/>
                <a:gd name="connsiteY24" fmla="*/ 386 h 1378"/>
                <a:gd name="connsiteX25" fmla="*/ 749 w 2088"/>
                <a:gd name="connsiteY25" fmla="*/ 539 h 1378"/>
                <a:gd name="connsiteX26" fmla="*/ 665 w 2088"/>
                <a:gd name="connsiteY26" fmla="*/ 581 h 1378"/>
                <a:gd name="connsiteX27" fmla="*/ 657 w 2088"/>
                <a:gd name="connsiteY27" fmla="*/ 643 h 1378"/>
                <a:gd name="connsiteX28" fmla="*/ 532 w 2088"/>
                <a:gd name="connsiteY28" fmla="*/ 668 h 1378"/>
                <a:gd name="connsiteX29" fmla="*/ 448 w 2088"/>
                <a:gd name="connsiteY29" fmla="*/ 702 h 1378"/>
                <a:gd name="connsiteX30" fmla="*/ 328 w 2088"/>
                <a:gd name="connsiteY30" fmla="*/ 695 h 1378"/>
                <a:gd name="connsiteX31" fmla="*/ 283 w 2088"/>
                <a:gd name="connsiteY31" fmla="*/ 745 h 1378"/>
                <a:gd name="connsiteX32" fmla="*/ 231 w 2088"/>
                <a:gd name="connsiteY32" fmla="*/ 735 h 1378"/>
                <a:gd name="connsiteX33" fmla="*/ 182 w 2088"/>
                <a:gd name="connsiteY33" fmla="*/ 705 h 1378"/>
                <a:gd name="connsiteX34" fmla="*/ 88 w 2088"/>
                <a:gd name="connsiteY34" fmla="*/ 735 h 1378"/>
                <a:gd name="connsiteX35" fmla="*/ 0 w 2088"/>
                <a:gd name="connsiteY35" fmla="*/ 793 h 1378"/>
                <a:gd name="connsiteX36" fmla="*/ 9 w 2088"/>
                <a:gd name="connsiteY36" fmla="*/ 892 h 1378"/>
                <a:gd name="connsiteX37" fmla="*/ 66 w 2088"/>
                <a:gd name="connsiteY37" fmla="*/ 903 h 1378"/>
                <a:gd name="connsiteX38" fmla="*/ 79 w 2088"/>
                <a:gd name="connsiteY38" fmla="*/ 1021 h 1378"/>
                <a:gd name="connsiteX39" fmla="*/ 27 w 2088"/>
                <a:gd name="connsiteY39" fmla="*/ 1021 h 1378"/>
                <a:gd name="connsiteX40" fmla="*/ 27 w 2088"/>
                <a:gd name="connsiteY40" fmla="*/ 1055 h 1378"/>
                <a:gd name="connsiteX41" fmla="*/ 124 w 2088"/>
                <a:gd name="connsiteY41" fmla="*/ 1106 h 1378"/>
                <a:gd name="connsiteX42" fmla="*/ 115 w 2088"/>
                <a:gd name="connsiteY42" fmla="*/ 1176 h 1378"/>
                <a:gd name="connsiteX43" fmla="*/ 277 w 2088"/>
                <a:gd name="connsiteY43" fmla="*/ 1248 h 1378"/>
                <a:gd name="connsiteX44" fmla="*/ 281 w 2088"/>
                <a:gd name="connsiteY44" fmla="*/ 1253 h 1378"/>
                <a:gd name="connsiteX45" fmla="*/ 286 w 2088"/>
                <a:gd name="connsiteY45" fmla="*/ 1320 h 1378"/>
                <a:gd name="connsiteX46" fmla="*/ 295 w 2088"/>
                <a:gd name="connsiteY46" fmla="*/ 1377 h 1378"/>
                <a:gd name="connsiteX47" fmla="*/ 371 w 2088"/>
                <a:gd name="connsiteY47" fmla="*/ 1325 h 1378"/>
                <a:gd name="connsiteX48" fmla="*/ 510 w 2088"/>
                <a:gd name="connsiteY48" fmla="*/ 1269 h 1378"/>
                <a:gd name="connsiteX49" fmla="*/ 669 w 2088"/>
                <a:gd name="connsiteY49" fmla="*/ 1301 h 1378"/>
                <a:gd name="connsiteX50" fmla="*/ 746 w 2088"/>
                <a:gd name="connsiteY50" fmla="*/ 1277 h 1378"/>
                <a:gd name="connsiteX51" fmla="*/ 876 w 2088"/>
                <a:gd name="connsiteY51" fmla="*/ 1352 h 1378"/>
                <a:gd name="connsiteX52" fmla="*/ 973 w 2088"/>
                <a:gd name="connsiteY52" fmla="*/ 1303 h 1378"/>
                <a:gd name="connsiteX53" fmla="*/ 1265 w 2088"/>
                <a:gd name="connsiteY53" fmla="*/ 1253 h 1378"/>
                <a:gd name="connsiteX54" fmla="*/ 1383 w 2088"/>
                <a:gd name="connsiteY54" fmla="*/ 1274 h 1378"/>
                <a:gd name="connsiteX55" fmla="*/ 1519 w 2088"/>
                <a:gd name="connsiteY55" fmla="*/ 1277 h 1378"/>
                <a:gd name="connsiteX56" fmla="*/ 1501 w 2088"/>
                <a:gd name="connsiteY56" fmla="*/ 1266 h 1378"/>
                <a:gd name="connsiteX57" fmla="*/ 1524 w 2088"/>
                <a:gd name="connsiteY57" fmla="*/ 1210 h 1378"/>
                <a:gd name="connsiteX58" fmla="*/ 1501 w 2088"/>
                <a:gd name="connsiteY58" fmla="*/ 1159 h 1378"/>
                <a:gd name="connsiteX59" fmla="*/ 1516 w 2088"/>
                <a:gd name="connsiteY59" fmla="*/ 1082 h 1378"/>
                <a:gd name="connsiteX60" fmla="*/ 1821 w 2088"/>
                <a:gd name="connsiteY60" fmla="*/ 1012 h 1378"/>
                <a:gd name="connsiteX61" fmla="*/ 1813 w 2088"/>
                <a:gd name="connsiteY61" fmla="*/ 891 h 1378"/>
                <a:gd name="connsiteX62" fmla="*/ 1899 w 2088"/>
                <a:gd name="connsiteY62" fmla="*/ 863 h 1378"/>
                <a:gd name="connsiteX63" fmla="*/ 1942 w 2088"/>
                <a:gd name="connsiteY63" fmla="*/ 795 h 1378"/>
                <a:gd name="connsiteX64" fmla="*/ 2051 w 2088"/>
                <a:gd name="connsiteY64" fmla="*/ 760 h 1378"/>
                <a:gd name="connsiteX65" fmla="*/ 2088 w 2088"/>
                <a:gd name="connsiteY65" fmla="*/ 696 h 1378"/>
                <a:gd name="connsiteX0" fmla="*/ 2088 w 2088"/>
                <a:gd name="connsiteY0" fmla="*/ 696 h 1377"/>
                <a:gd name="connsiteX1" fmla="*/ 2062 w 2088"/>
                <a:gd name="connsiteY1" fmla="*/ 621 h 1377"/>
                <a:gd name="connsiteX2" fmla="*/ 2032 w 2088"/>
                <a:gd name="connsiteY2" fmla="*/ 547 h 1377"/>
                <a:gd name="connsiteX3" fmla="*/ 1876 w 2088"/>
                <a:gd name="connsiteY3" fmla="*/ 478 h 1377"/>
                <a:gd name="connsiteX4" fmla="*/ 1769 w 2088"/>
                <a:gd name="connsiteY4" fmla="*/ 478 h 1377"/>
                <a:gd name="connsiteX5" fmla="*/ 1640 w 2088"/>
                <a:gd name="connsiteY5" fmla="*/ 437 h 1377"/>
                <a:gd name="connsiteX6" fmla="*/ 1685 w 2088"/>
                <a:gd name="connsiteY6" fmla="*/ 297 h 1377"/>
                <a:gd name="connsiteX7" fmla="*/ 1583 w 2088"/>
                <a:gd name="connsiteY7" fmla="*/ 154 h 1377"/>
                <a:gd name="connsiteX8" fmla="*/ 1513 w 2088"/>
                <a:gd name="connsiteY8" fmla="*/ 150 h 1377"/>
                <a:gd name="connsiteX9" fmla="*/ 1441 w 2088"/>
                <a:gd name="connsiteY9" fmla="*/ 66 h 1377"/>
                <a:gd name="connsiteX10" fmla="*/ 1433 w 2088"/>
                <a:gd name="connsiteY10" fmla="*/ 7 h 1377"/>
                <a:gd name="connsiteX11" fmla="*/ 1362 w 2088"/>
                <a:gd name="connsiteY11" fmla="*/ 0 h 1377"/>
                <a:gd name="connsiteX12" fmla="*/ 1335 w 2088"/>
                <a:gd name="connsiteY12" fmla="*/ 70 h 1377"/>
                <a:gd name="connsiteX13" fmla="*/ 1241 w 2088"/>
                <a:gd name="connsiteY13" fmla="*/ 88 h 1377"/>
                <a:gd name="connsiteX14" fmla="*/ 1246 w 2088"/>
                <a:gd name="connsiteY14" fmla="*/ 183 h 1377"/>
                <a:gd name="connsiteX15" fmla="*/ 1172 w 2088"/>
                <a:gd name="connsiteY15" fmla="*/ 227 h 1377"/>
                <a:gd name="connsiteX16" fmla="*/ 1117 w 2088"/>
                <a:gd name="connsiteY16" fmla="*/ 183 h 1377"/>
                <a:gd name="connsiteX17" fmla="*/ 1015 w 2088"/>
                <a:gd name="connsiteY17" fmla="*/ 169 h 1377"/>
                <a:gd name="connsiteX18" fmla="*/ 926 w 2088"/>
                <a:gd name="connsiteY18" fmla="*/ 316 h 1377"/>
                <a:gd name="connsiteX19" fmla="*/ 926 w 2088"/>
                <a:gd name="connsiteY19" fmla="*/ 353 h 1377"/>
                <a:gd name="connsiteX20" fmla="*/ 896 w 2088"/>
                <a:gd name="connsiteY20" fmla="*/ 363 h 1377"/>
                <a:gd name="connsiteX21" fmla="*/ 842 w 2088"/>
                <a:gd name="connsiteY21" fmla="*/ 331 h 1377"/>
                <a:gd name="connsiteX22" fmla="*/ 736 w 2088"/>
                <a:gd name="connsiteY22" fmla="*/ 327 h 1377"/>
                <a:gd name="connsiteX23" fmla="*/ 692 w 2088"/>
                <a:gd name="connsiteY23" fmla="*/ 363 h 1377"/>
                <a:gd name="connsiteX24" fmla="*/ 732 w 2088"/>
                <a:gd name="connsiteY24" fmla="*/ 386 h 1377"/>
                <a:gd name="connsiteX25" fmla="*/ 749 w 2088"/>
                <a:gd name="connsiteY25" fmla="*/ 539 h 1377"/>
                <a:gd name="connsiteX26" fmla="*/ 665 w 2088"/>
                <a:gd name="connsiteY26" fmla="*/ 581 h 1377"/>
                <a:gd name="connsiteX27" fmla="*/ 657 w 2088"/>
                <a:gd name="connsiteY27" fmla="*/ 643 h 1377"/>
                <a:gd name="connsiteX28" fmla="*/ 532 w 2088"/>
                <a:gd name="connsiteY28" fmla="*/ 668 h 1377"/>
                <a:gd name="connsiteX29" fmla="*/ 448 w 2088"/>
                <a:gd name="connsiteY29" fmla="*/ 702 h 1377"/>
                <a:gd name="connsiteX30" fmla="*/ 328 w 2088"/>
                <a:gd name="connsiteY30" fmla="*/ 695 h 1377"/>
                <a:gd name="connsiteX31" fmla="*/ 283 w 2088"/>
                <a:gd name="connsiteY31" fmla="*/ 745 h 1377"/>
                <a:gd name="connsiteX32" fmla="*/ 231 w 2088"/>
                <a:gd name="connsiteY32" fmla="*/ 735 h 1377"/>
                <a:gd name="connsiteX33" fmla="*/ 182 w 2088"/>
                <a:gd name="connsiteY33" fmla="*/ 705 h 1377"/>
                <a:gd name="connsiteX34" fmla="*/ 88 w 2088"/>
                <a:gd name="connsiteY34" fmla="*/ 735 h 1377"/>
                <a:gd name="connsiteX35" fmla="*/ 0 w 2088"/>
                <a:gd name="connsiteY35" fmla="*/ 793 h 1377"/>
                <a:gd name="connsiteX36" fmla="*/ 9 w 2088"/>
                <a:gd name="connsiteY36" fmla="*/ 892 h 1377"/>
                <a:gd name="connsiteX37" fmla="*/ 66 w 2088"/>
                <a:gd name="connsiteY37" fmla="*/ 903 h 1377"/>
                <a:gd name="connsiteX38" fmla="*/ 79 w 2088"/>
                <a:gd name="connsiteY38" fmla="*/ 1021 h 1377"/>
                <a:gd name="connsiteX39" fmla="*/ 27 w 2088"/>
                <a:gd name="connsiteY39" fmla="*/ 1021 h 1377"/>
                <a:gd name="connsiteX40" fmla="*/ 27 w 2088"/>
                <a:gd name="connsiteY40" fmla="*/ 1055 h 1377"/>
                <a:gd name="connsiteX41" fmla="*/ 124 w 2088"/>
                <a:gd name="connsiteY41" fmla="*/ 1106 h 1377"/>
                <a:gd name="connsiteX42" fmla="*/ 115 w 2088"/>
                <a:gd name="connsiteY42" fmla="*/ 1176 h 1377"/>
                <a:gd name="connsiteX43" fmla="*/ 277 w 2088"/>
                <a:gd name="connsiteY43" fmla="*/ 1248 h 1377"/>
                <a:gd name="connsiteX44" fmla="*/ 281 w 2088"/>
                <a:gd name="connsiteY44" fmla="*/ 1253 h 1377"/>
                <a:gd name="connsiteX45" fmla="*/ 286 w 2088"/>
                <a:gd name="connsiteY45" fmla="*/ 1320 h 1377"/>
                <a:gd name="connsiteX46" fmla="*/ 295 w 2088"/>
                <a:gd name="connsiteY46" fmla="*/ 1377 h 1377"/>
                <a:gd name="connsiteX47" fmla="*/ 371 w 2088"/>
                <a:gd name="connsiteY47" fmla="*/ 1325 h 1377"/>
                <a:gd name="connsiteX48" fmla="*/ 510 w 2088"/>
                <a:gd name="connsiteY48" fmla="*/ 1269 h 1377"/>
                <a:gd name="connsiteX49" fmla="*/ 669 w 2088"/>
                <a:gd name="connsiteY49" fmla="*/ 1301 h 1377"/>
                <a:gd name="connsiteX50" fmla="*/ 746 w 2088"/>
                <a:gd name="connsiteY50" fmla="*/ 1277 h 1377"/>
                <a:gd name="connsiteX51" fmla="*/ 876 w 2088"/>
                <a:gd name="connsiteY51" fmla="*/ 1352 h 1377"/>
                <a:gd name="connsiteX52" fmla="*/ 973 w 2088"/>
                <a:gd name="connsiteY52" fmla="*/ 1303 h 1377"/>
                <a:gd name="connsiteX53" fmla="*/ 1265 w 2088"/>
                <a:gd name="connsiteY53" fmla="*/ 1253 h 1377"/>
                <a:gd name="connsiteX54" fmla="*/ 1383 w 2088"/>
                <a:gd name="connsiteY54" fmla="*/ 1274 h 1377"/>
                <a:gd name="connsiteX55" fmla="*/ 1519 w 2088"/>
                <a:gd name="connsiteY55" fmla="*/ 1277 h 1377"/>
                <a:gd name="connsiteX56" fmla="*/ 1501 w 2088"/>
                <a:gd name="connsiteY56" fmla="*/ 1266 h 1377"/>
                <a:gd name="connsiteX57" fmla="*/ 1524 w 2088"/>
                <a:gd name="connsiteY57" fmla="*/ 1210 h 1377"/>
                <a:gd name="connsiteX58" fmla="*/ 1501 w 2088"/>
                <a:gd name="connsiteY58" fmla="*/ 1159 h 1377"/>
                <a:gd name="connsiteX59" fmla="*/ 1516 w 2088"/>
                <a:gd name="connsiteY59" fmla="*/ 1082 h 1377"/>
                <a:gd name="connsiteX60" fmla="*/ 1821 w 2088"/>
                <a:gd name="connsiteY60" fmla="*/ 1012 h 1377"/>
                <a:gd name="connsiteX61" fmla="*/ 1813 w 2088"/>
                <a:gd name="connsiteY61" fmla="*/ 891 h 1377"/>
                <a:gd name="connsiteX62" fmla="*/ 1899 w 2088"/>
                <a:gd name="connsiteY62" fmla="*/ 863 h 1377"/>
                <a:gd name="connsiteX63" fmla="*/ 1942 w 2088"/>
                <a:gd name="connsiteY63" fmla="*/ 795 h 1377"/>
                <a:gd name="connsiteX64" fmla="*/ 2051 w 2088"/>
                <a:gd name="connsiteY64" fmla="*/ 760 h 1377"/>
                <a:gd name="connsiteX65" fmla="*/ 2088 w 2088"/>
                <a:gd name="connsiteY65" fmla="*/ 696 h 1377"/>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295 w 2088"/>
                <a:gd name="connsiteY46" fmla="*/ 1327 h 1352"/>
                <a:gd name="connsiteX47" fmla="*/ 371 w 2088"/>
                <a:gd name="connsiteY47" fmla="*/ 1325 h 1352"/>
                <a:gd name="connsiteX48" fmla="*/ 510 w 2088"/>
                <a:gd name="connsiteY48" fmla="*/ 1269 h 1352"/>
                <a:gd name="connsiteX49" fmla="*/ 669 w 2088"/>
                <a:gd name="connsiteY49" fmla="*/ 1301 h 1352"/>
                <a:gd name="connsiteX50" fmla="*/ 746 w 2088"/>
                <a:gd name="connsiteY50" fmla="*/ 1277 h 1352"/>
                <a:gd name="connsiteX51" fmla="*/ 876 w 2088"/>
                <a:gd name="connsiteY51" fmla="*/ 1352 h 1352"/>
                <a:gd name="connsiteX52" fmla="*/ 973 w 2088"/>
                <a:gd name="connsiteY52" fmla="*/ 1303 h 1352"/>
                <a:gd name="connsiteX53" fmla="*/ 1265 w 2088"/>
                <a:gd name="connsiteY53" fmla="*/ 1253 h 1352"/>
                <a:gd name="connsiteX54" fmla="*/ 1383 w 2088"/>
                <a:gd name="connsiteY54" fmla="*/ 1274 h 1352"/>
                <a:gd name="connsiteX55" fmla="*/ 1519 w 2088"/>
                <a:gd name="connsiteY55" fmla="*/ 1277 h 1352"/>
                <a:gd name="connsiteX56" fmla="*/ 1501 w 2088"/>
                <a:gd name="connsiteY56" fmla="*/ 1266 h 1352"/>
                <a:gd name="connsiteX57" fmla="*/ 1524 w 2088"/>
                <a:gd name="connsiteY57" fmla="*/ 1210 h 1352"/>
                <a:gd name="connsiteX58" fmla="*/ 1501 w 2088"/>
                <a:gd name="connsiteY58" fmla="*/ 1159 h 1352"/>
                <a:gd name="connsiteX59" fmla="*/ 1516 w 2088"/>
                <a:gd name="connsiteY59" fmla="*/ 1082 h 1352"/>
                <a:gd name="connsiteX60" fmla="*/ 1821 w 2088"/>
                <a:gd name="connsiteY60" fmla="*/ 1012 h 1352"/>
                <a:gd name="connsiteX61" fmla="*/ 1813 w 2088"/>
                <a:gd name="connsiteY61" fmla="*/ 891 h 1352"/>
                <a:gd name="connsiteX62" fmla="*/ 1899 w 2088"/>
                <a:gd name="connsiteY62" fmla="*/ 863 h 1352"/>
                <a:gd name="connsiteX63" fmla="*/ 1942 w 2088"/>
                <a:gd name="connsiteY63" fmla="*/ 795 h 1352"/>
                <a:gd name="connsiteX64" fmla="*/ 2051 w 2088"/>
                <a:gd name="connsiteY64" fmla="*/ 760 h 1352"/>
                <a:gd name="connsiteX65" fmla="*/ 2088 w 2088"/>
                <a:gd name="connsiteY65" fmla="*/ 696 h 1352"/>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295 w 2088"/>
                <a:gd name="connsiteY46" fmla="*/ 1327 h 1352"/>
                <a:gd name="connsiteX47" fmla="*/ 371 w 2088"/>
                <a:gd name="connsiteY47" fmla="*/ 1325 h 1352"/>
                <a:gd name="connsiteX48" fmla="*/ 510 w 2088"/>
                <a:gd name="connsiteY48" fmla="*/ 1269 h 1352"/>
                <a:gd name="connsiteX49" fmla="*/ 669 w 2088"/>
                <a:gd name="connsiteY49" fmla="*/ 1301 h 1352"/>
                <a:gd name="connsiteX50" fmla="*/ 746 w 2088"/>
                <a:gd name="connsiteY50" fmla="*/ 1277 h 1352"/>
                <a:gd name="connsiteX51" fmla="*/ 876 w 2088"/>
                <a:gd name="connsiteY51" fmla="*/ 1352 h 1352"/>
                <a:gd name="connsiteX52" fmla="*/ 973 w 2088"/>
                <a:gd name="connsiteY52" fmla="*/ 1303 h 1352"/>
                <a:gd name="connsiteX53" fmla="*/ 1265 w 2088"/>
                <a:gd name="connsiteY53" fmla="*/ 1253 h 1352"/>
                <a:gd name="connsiteX54" fmla="*/ 1383 w 2088"/>
                <a:gd name="connsiteY54" fmla="*/ 1274 h 1352"/>
                <a:gd name="connsiteX55" fmla="*/ 1519 w 2088"/>
                <a:gd name="connsiteY55" fmla="*/ 1277 h 1352"/>
                <a:gd name="connsiteX56" fmla="*/ 1501 w 2088"/>
                <a:gd name="connsiteY56" fmla="*/ 1266 h 1352"/>
                <a:gd name="connsiteX57" fmla="*/ 1524 w 2088"/>
                <a:gd name="connsiteY57" fmla="*/ 1210 h 1352"/>
                <a:gd name="connsiteX58" fmla="*/ 1501 w 2088"/>
                <a:gd name="connsiteY58" fmla="*/ 1159 h 1352"/>
                <a:gd name="connsiteX59" fmla="*/ 1516 w 2088"/>
                <a:gd name="connsiteY59" fmla="*/ 1082 h 1352"/>
                <a:gd name="connsiteX60" fmla="*/ 1821 w 2088"/>
                <a:gd name="connsiteY60" fmla="*/ 1012 h 1352"/>
                <a:gd name="connsiteX61" fmla="*/ 1813 w 2088"/>
                <a:gd name="connsiteY61" fmla="*/ 891 h 1352"/>
                <a:gd name="connsiteX62" fmla="*/ 1899 w 2088"/>
                <a:gd name="connsiteY62" fmla="*/ 863 h 1352"/>
                <a:gd name="connsiteX63" fmla="*/ 1942 w 2088"/>
                <a:gd name="connsiteY63" fmla="*/ 795 h 1352"/>
                <a:gd name="connsiteX64" fmla="*/ 2051 w 2088"/>
                <a:gd name="connsiteY64" fmla="*/ 760 h 1352"/>
                <a:gd name="connsiteX65" fmla="*/ 2088 w 2088"/>
                <a:gd name="connsiteY65" fmla="*/ 696 h 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088" h="1352">
                  <a:moveTo>
                    <a:pt x="2088" y="696"/>
                  </a:moveTo>
                  <a:cubicBezTo>
                    <a:pt x="2079" y="671"/>
                    <a:pt x="2071" y="646"/>
                    <a:pt x="2062" y="621"/>
                  </a:cubicBezTo>
                  <a:cubicBezTo>
                    <a:pt x="2052" y="596"/>
                    <a:pt x="2042" y="572"/>
                    <a:pt x="2032" y="547"/>
                  </a:cubicBezTo>
                  <a:lnTo>
                    <a:pt x="1876" y="478"/>
                  </a:lnTo>
                  <a:lnTo>
                    <a:pt x="1769" y="478"/>
                  </a:lnTo>
                  <a:lnTo>
                    <a:pt x="1640" y="437"/>
                  </a:lnTo>
                  <a:cubicBezTo>
                    <a:pt x="1655" y="390"/>
                    <a:pt x="1670" y="344"/>
                    <a:pt x="1685" y="297"/>
                  </a:cubicBezTo>
                  <a:lnTo>
                    <a:pt x="1583" y="154"/>
                  </a:lnTo>
                  <a:cubicBezTo>
                    <a:pt x="1560" y="153"/>
                    <a:pt x="1536" y="151"/>
                    <a:pt x="1513" y="150"/>
                  </a:cubicBezTo>
                  <a:lnTo>
                    <a:pt x="1441" y="66"/>
                  </a:lnTo>
                  <a:cubicBezTo>
                    <a:pt x="1438" y="46"/>
                    <a:pt x="1436" y="27"/>
                    <a:pt x="1433" y="7"/>
                  </a:cubicBezTo>
                  <a:cubicBezTo>
                    <a:pt x="1409" y="5"/>
                    <a:pt x="1386" y="2"/>
                    <a:pt x="1362" y="0"/>
                  </a:cubicBezTo>
                  <a:cubicBezTo>
                    <a:pt x="1353" y="23"/>
                    <a:pt x="1344" y="47"/>
                    <a:pt x="1335" y="70"/>
                  </a:cubicBezTo>
                  <a:lnTo>
                    <a:pt x="1241" y="88"/>
                  </a:lnTo>
                  <a:cubicBezTo>
                    <a:pt x="1243" y="120"/>
                    <a:pt x="1244" y="151"/>
                    <a:pt x="1246" y="183"/>
                  </a:cubicBezTo>
                  <a:lnTo>
                    <a:pt x="1172" y="227"/>
                  </a:lnTo>
                  <a:cubicBezTo>
                    <a:pt x="1154" y="212"/>
                    <a:pt x="1135" y="198"/>
                    <a:pt x="1117" y="183"/>
                  </a:cubicBezTo>
                  <a:lnTo>
                    <a:pt x="1015" y="169"/>
                  </a:lnTo>
                  <a:cubicBezTo>
                    <a:pt x="985" y="218"/>
                    <a:pt x="956" y="267"/>
                    <a:pt x="926" y="316"/>
                  </a:cubicBezTo>
                  <a:lnTo>
                    <a:pt x="926" y="353"/>
                  </a:lnTo>
                  <a:cubicBezTo>
                    <a:pt x="916" y="356"/>
                    <a:pt x="906" y="360"/>
                    <a:pt x="896" y="363"/>
                  </a:cubicBezTo>
                  <a:cubicBezTo>
                    <a:pt x="878" y="352"/>
                    <a:pt x="860" y="342"/>
                    <a:pt x="842" y="331"/>
                  </a:cubicBezTo>
                  <a:lnTo>
                    <a:pt x="736" y="327"/>
                  </a:lnTo>
                  <a:cubicBezTo>
                    <a:pt x="721" y="339"/>
                    <a:pt x="707" y="351"/>
                    <a:pt x="692" y="363"/>
                  </a:cubicBezTo>
                  <a:cubicBezTo>
                    <a:pt x="705" y="371"/>
                    <a:pt x="719" y="378"/>
                    <a:pt x="732" y="386"/>
                  </a:cubicBezTo>
                  <a:cubicBezTo>
                    <a:pt x="738" y="437"/>
                    <a:pt x="743" y="488"/>
                    <a:pt x="749" y="539"/>
                  </a:cubicBezTo>
                  <a:lnTo>
                    <a:pt x="665" y="581"/>
                  </a:lnTo>
                  <a:cubicBezTo>
                    <a:pt x="662" y="602"/>
                    <a:pt x="660" y="622"/>
                    <a:pt x="657" y="643"/>
                  </a:cubicBezTo>
                  <a:lnTo>
                    <a:pt x="532" y="668"/>
                  </a:lnTo>
                  <a:cubicBezTo>
                    <a:pt x="504" y="679"/>
                    <a:pt x="476" y="691"/>
                    <a:pt x="448" y="702"/>
                  </a:cubicBezTo>
                  <a:lnTo>
                    <a:pt x="328" y="695"/>
                  </a:lnTo>
                  <a:cubicBezTo>
                    <a:pt x="313" y="712"/>
                    <a:pt x="298" y="728"/>
                    <a:pt x="283" y="745"/>
                  </a:cubicBezTo>
                  <a:cubicBezTo>
                    <a:pt x="266" y="742"/>
                    <a:pt x="248" y="738"/>
                    <a:pt x="231" y="735"/>
                  </a:cubicBezTo>
                  <a:cubicBezTo>
                    <a:pt x="215" y="725"/>
                    <a:pt x="198" y="715"/>
                    <a:pt x="182" y="705"/>
                  </a:cubicBezTo>
                  <a:lnTo>
                    <a:pt x="88" y="735"/>
                  </a:lnTo>
                  <a:lnTo>
                    <a:pt x="0" y="793"/>
                  </a:lnTo>
                  <a:lnTo>
                    <a:pt x="9" y="892"/>
                  </a:lnTo>
                  <a:cubicBezTo>
                    <a:pt x="28" y="896"/>
                    <a:pt x="47" y="899"/>
                    <a:pt x="66" y="903"/>
                  </a:cubicBezTo>
                  <a:cubicBezTo>
                    <a:pt x="70" y="942"/>
                    <a:pt x="75" y="982"/>
                    <a:pt x="79" y="1021"/>
                  </a:cubicBezTo>
                  <a:lnTo>
                    <a:pt x="27" y="1021"/>
                  </a:lnTo>
                  <a:lnTo>
                    <a:pt x="27" y="1055"/>
                  </a:lnTo>
                  <a:lnTo>
                    <a:pt x="124" y="1106"/>
                  </a:lnTo>
                  <a:cubicBezTo>
                    <a:pt x="121" y="1129"/>
                    <a:pt x="118" y="1153"/>
                    <a:pt x="115" y="1176"/>
                  </a:cubicBezTo>
                  <a:lnTo>
                    <a:pt x="277" y="1248"/>
                  </a:lnTo>
                  <a:cubicBezTo>
                    <a:pt x="278" y="1250"/>
                    <a:pt x="280" y="1251"/>
                    <a:pt x="281" y="1253"/>
                  </a:cubicBezTo>
                  <a:cubicBezTo>
                    <a:pt x="283" y="1275"/>
                    <a:pt x="284" y="1298"/>
                    <a:pt x="286" y="1320"/>
                  </a:cubicBezTo>
                  <a:cubicBezTo>
                    <a:pt x="288" y="1332"/>
                    <a:pt x="313" y="1276"/>
                    <a:pt x="295" y="1327"/>
                  </a:cubicBezTo>
                  <a:cubicBezTo>
                    <a:pt x="321" y="1316"/>
                    <a:pt x="335" y="1335"/>
                    <a:pt x="371" y="1325"/>
                  </a:cubicBezTo>
                  <a:cubicBezTo>
                    <a:pt x="404" y="1306"/>
                    <a:pt x="477" y="1288"/>
                    <a:pt x="510" y="1269"/>
                  </a:cubicBezTo>
                  <a:lnTo>
                    <a:pt x="669" y="1301"/>
                  </a:lnTo>
                  <a:lnTo>
                    <a:pt x="746" y="1277"/>
                  </a:lnTo>
                  <a:lnTo>
                    <a:pt x="876" y="1352"/>
                  </a:lnTo>
                  <a:lnTo>
                    <a:pt x="973" y="1303"/>
                  </a:lnTo>
                  <a:lnTo>
                    <a:pt x="1265" y="1253"/>
                  </a:lnTo>
                  <a:lnTo>
                    <a:pt x="1383" y="1274"/>
                  </a:lnTo>
                  <a:cubicBezTo>
                    <a:pt x="1428" y="1292"/>
                    <a:pt x="1474" y="1259"/>
                    <a:pt x="1519" y="1277"/>
                  </a:cubicBezTo>
                  <a:cubicBezTo>
                    <a:pt x="1469" y="1235"/>
                    <a:pt x="1494" y="1286"/>
                    <a:pt x="1501" y="1266"/>
                  </a:cubicBezTo>
                  <a:cubicBezTo>
                    <a:pt x="1509" y="1247"/>
                    <a:pt x="1516" y="1229"/>
                    <a:pt x="1524" y="1210"/>
                  </a:cubicBezTo>
                  <a:cubicBezTo>
                    <a:pt x="1516" y="1193"/>
                    <a:pt x="1509" y="1176"/>
                    <a:pt x="1501" y="1159"/>
                  </a:cubicBezTo>
                  <a:cubicBezTo>
                    <a:pt x="1506" y="1133"/>
                    <a:pt x="1511" y="1108"/>
                    <a:pt x="1516" y="1082"/>
                  </a:cubicBezTo>
                  <a:lnTo>
                    <a:pt x="1821" y="1012"/>
                  </a:lnTo>
                  <a:cubicBezTo>
                    <a:pt x="1818" y="972"/>
                    <a:pt x="1816" y="931"/>
                    <a:pt x="1813" y="891"/>
                  </a:cubicBezTo>
                  <a:cubicBezTo>
                    <a:pt x="1842" y="882"/>
                    <a:pt x="1870" y="872"/>
                    <a:pt x="1899" y="863"/>
                  </a:cubicBezTo>
                  <a:cubicBezTo>
                    <a:pt x="1913" y="840"/>
                    <a:pt x="1928" y="818"/>
                    <a:pt x="1942" y="795"/>
                  </a:cubicBezTo>
                  <a:cubicBezTo>
                    <a:pt x="1978" y="783"/>
                    <a:pt x="2015" y="772"/>
                    <a:pt x="2051" y="760"/>
                  </a:cubicBezTo>
                  <a:cubicBezTo>
                    <a:pt x="2063" y="739"/>
                    <a:pt x="2076" y="717"/>
                    <a:pt x="2088" y="696"/>
                  </a:cubicBezTo>
                </a:path>
              </a:pathLst>
            </a:custGeom>
            <a:grpFill/>
            <a:ln w="12700" cap="rnd" cmpd="sng">
              <a:solidFill>
                <a:schemeClr val="bg1"/>
              </a:solidFill>
              <a:prstDash val="solid"/>
              <a:round/>
              <a:headEnd type="none" w="med" len="med"/>
              <a:tailEnd type="none" w="med" len="med"/>
            </a:ln>
            <a:effectLst/>
          </p:spPr>
          <p:txBody>
            <a:bodyPr/>
            <a:lstStyle/>
            <a:p>
              <a:pPr algn="ctr" defTabSz="685800" eaLnBrk="0" hangingPunct="0">
                <a:spcBef>
                  <a:spcPct val="50000"/>
                </a:spcBef>
                <a:buClrTx/>
                <a:defRPr/>
              </a:pPr>
              <a:endParaRPr lang="en-US" sz="900" kern="1200">
                <a:ea typeface="+mn-ea"/>
                <a:cs typeface="+mn-cs"/>
              </a:endParaRPr>
            </a:p>
          </p:txBody>
        </p:sp>
        <p:sp>
          <p:nvSpPr>
            <p:cNvPr id="16" name="Freeform 11"/>
            <p:cNvSpPr>
              <a:spLocks/>
            </p:cNvSpPr>
            <p:nvPr/>
          </p:nvSpPr>
          <p:spPr bwMode="gray">
            <a:xfrm>
              <a:off x="4519944" y="3882954"/>
              <a:ext cx="1685868" cy="952830"/>
            </a:xfrm>
            <a:custGeom>
              <a:avLst/>
              <a:gdLst/>
              <a:ahLst/>
              <a:cxnLst>
                <a:cxn ang="0">
                  <a:pos x="2111" y="812"/>
                </a:cxn>
                <a:cxn ang="0">
                  <a:pos x="2093" y="659"/>
                </a:cxn>
                <a:cxn ang="0">
                  <a:pos x="1983" y="441"/>
                </a:cxn>
                <a:cxn ang="0">
                  <a:pos x="1879" y="430"/>
                </a:cxn>
                <a:cxn ang="0">
                  <a:pos x="1849" y="500"/>
                </a:cxn>
                <a:cxn ang="0">
                  <a:pos x="1727" y="494"/>
                </a:cxn>
                <a:cxn ang="0">
                  <a:pos x="1662" y="414"/>
                </a:cxn>
                <a:cxn ang="0">
                  <a:pos x="1475" y="397"/>
                </a:cxn>
                <a:cxn ang="0">
                  <a:pos x="1235" y="327"/>
                </a:cxn>
                <a:cxn ang="0">
                  <a:pos x="1167" y="191"/>
                </a:cxn>
                <a:cxn ang="0">
                  <a:pos x="1203" y="170"/>
                </a:cxn>
                <a:cxn ang="0">
                  <a:pos x="1217" y="96"/>
                </a:cxn>
                <a:cxn ang="0">
                  <a:pos x="1185" y="24"/>
                </a:cxn>
                <a:cxn ang="0">
                  <a:pos x="1064" y="5"/>
                </a:cxn>
                <a:cxn ang="0">
                  <a:pos x="775" y="57"/>
                </a:cxn>
                <a:cxn ang="0">
                  <a:pos x="684" y="104"/>
                </a:cxn>
                <a:cxn ang="0">
                  <a:pos x="554" y="32"/>
                </a:cxn>
                <a:cxn ang="0">
                  <a:pos x="403" y="43"/>
                </a:cxn>
                <a:cxn ang="0">
                  <a:pos x="288" y="0"/>
                </a:cxn>
                <a:cxn ang="0">
                  <a:pos x="173" y="91"/>
                </a:cxn>
                <a:cxn ang="0">
                  <a:pos x="91" y="83"/>
                </a:cxn>
                <a:cxn ang="0">
                  <a:pos x="88" y="157"/>
                </a:cxn>
                <a:cxn ang="0">
                  <a:pos x="115" y="240"/>
                </a:cxn>
                <a:cxn ang="0">
                  <a:pos x="82" y="264"/>
                </a:cxn>
                <a:cxn ang="0">
                  <a:pos x="34" y="211"/>
                </a:cxn>
                <a:cxn ang="0">
                  <a:pos x="0" y="245"/>
                </a:cxn>
                <a:cxn ang="0">
                  <a:pos x="24" y="303"/>
                </a:cxn>
                <a:cxn ang="0">
                  <a:pos x="22" y="381"/>
                </a:cxn>
                <a:cxn ang="0">
                  <a:pos x="93" y="414"/>
                </a:cxn>
                <a:cxn ang="0">
                  <a:pos x="159" y="484"/>
                </a:cxn>
                <a:cxn ang="0">
                  <a:pos x="235" y="499"/>
                </a:cxn>
                <a:cxn ang="0">
                  <a:pos x="270" y="528"/>
                </a:cxn>
                <a:cxn ang="0">
                  <a:pos x="292" y="513"/>
                </a:cxn>
                <a:cxn ang="0">
                  <a:pos x="448" y="616"/>
                </a:cxn>
                <a:cxn ang="0">
                  <a:pos x="470" y="671"/>
                </a:cxn>
                <a:cxn ang="0">
                  <a:pos x="514" y="646"/>
                </a:cxn>
                <a:cxn ang="0">
                  <a:pos x="523" y="712"/>
                </a:cxn>
                <a:cxn ang="0">
                  <a:pos x="621" y="730"/>
                </a:cxn>
                <a:cxn ang="0">
                  <a:pos x="696" y="807"/>
                </a:cxn>
                <a:cxn ang="0">
                  <a:pos x="788" y="799"/>
                </a:cxn>
                <a:cxn ang="0">
                  <a:pos x="839" y="836"/>
                </a:cxn>
                <a:cxn ang="0">
                  <a:pos x="976" y="836"/>
                </a:cxn>
                <a:cxn ang="0">
                  <a:pos x="1011" y="881"/>
                </a:cxn>
                <a:cxn ang="0">
                  <a:pos x="1108" y="814"/>
                </a:cxn>
                <a:cxn ang="0">
                  <a:pos x="1207" y="814"/>
                </a:cxn>
                <a:cxn ang="0">
                  <a:pos x="1278" y="841"/>
                </a:cxn>
                <a:cxn ang="0">
                  <a:pos x="1308" y="873"/>
                </a:cxn>
                <a:cxn ang="0">
                  <a:pos x="1414" y="866"/>
                </a:cxn>
                <a:cxn ang="0">
                  <a:pos x="1455" y="807"/>
                </a:cxn>
                <a:cxn ang="0">
                  <a:pos x="1527" y="807"/>
                </a:cxn>
                <a:cxn ang="0">
                  <a:pos x="1645" y="749"/>
                </a:cxn>
                <a:cxn ang="0">
                  <a:pos x="1717" y="767"/>
                </a:cxn>
                <a:cxn ang="0">
                  <a:pos x="1769" y="742"/>
                </a:cxn>
                <a:cxn ang="0">
                  <a:pos x="1810" y="749"/>
                </a:cxn>
                <a:cxn ang="0">
                  <a:pos x="1810" y="836"/>
                </a:cxn>
                <a:cxn ang="0">
                  <a:pos x="1894" y="855"/>
                </a:cxn>
                <a:cxn ang="0">
                  <a:pos x="1911" y="825"/>
                </a:cxn>
                <a:cxn ang="0">
                  <a:pos x="1983" y="851"/>
                </a:cxn>
                <a:cxn ang="0">
                  <a:pos x="2033" y="903"/>
                </a:cxn>
                <a:cxn ang="0">
                  <a:pos x="2050" y="831"/>
                </a:cxn>
                <a:cxn ang="0">
                  <a:pos x="2111" y="812"/>
                </a:cxn>
              </a:cxnLst>
              <a:rect l="0" t="0" r="r" b="b"/>
              <a:pathLst>
                <a:path w="2111" h="903">
                  <a:moveTo>
                    <a:pt x="2111" y="812"/>
                  </a:moveTo>
                  <a:lnTo>
                    <a:pt x="2093" y="659"/>
                  </a:lnTo>
                  <a:lnTo>
                    <a:pt x="1983" y="441"/>
                  </a:lnTo>
                  <a:lnTo>
                    <a:pt x="1879" y="430"/>
                  </a:lnTo>
                  <a:lnTo>
                    <a:pt x="1849" y="500"/>
                  </a:lnTo>
                  <a:lnTo>
                    <a:pt x="1727" y="494"/>
                  </a:lnTo>
                  <a:lnTo>
                    <a:pt x="1662" y="414"/>
                  </a:lnTo>
                  <a:lnTo>
                    <a:pt x="1475" y="397"/>
                  </a:lnTo>
                  <a:lnTo>
                    <a:pt x="1235" y="327"/>
                  </a:lnTo>
                  <a:lnTo>
                    <a:pt x="1167" y="191"/>
                  </a:lnTo>
                  <a:lnTo>
                    <a:pt x="1203" y="170"/>
                  </a:lnTo>
                  <a:lnTo>
                    <a:pt x="1217" y="96"/>
                  </a:lnTo>
                  <a:lnTo>
                    <a:pt x="1185" y="24"/>
                  </a:lnTo>
                  <a:lnTo>
                    <a:pt x="1064" y="5"/>
                  </a:lnTo>
                  <a:lnTo>
                    <a:pt x="775" y="57"/>
                  </a:lnTo>
                  <a:lnTo>
                    <a:pt x="684" y="104"/>
                  </a:lnTo>
                  <a:lnTo>
                    <a:pt x="554" y="32"/>
                  </a:lnTo>
                  <a:lnTo>
                    <a:pt x="403" y="43"/>
                  </a:lnTo>
                  <a:lnTo>
                    <a:pt x="288" y="0"/>
                  </a:lnTo>
                  <a:lnTo>
                    <a:pt x="173" y="91"/>
                  </a:lnTo>
                  <a:lnTo>
                    <a:pt x="91" y="83"/>
                  </a:lnTo>
                  <a:lnTo>
                    <a:pt x="88" y="157"/>
                  </a:lnTo>
                  <a:lnTo>
                    <a:pt x="115" y="240"/>
                  </a:lnTo>
                  <a:lnTo>
                    <a:pt x="82" y="264"/>
                  </a:lnTo>
                  <a:lnTo>
                    <a:pt x="34" y="211"/>
                  </a:lnTo>
                  <a:lnTo>
                    <a:pt x="0" y="245"/>
                  </a:lnTo>
                  <a:lnTo>
                    <a:pt x="24" y="303"/>
                  </a:lnTo>
                  <a:lnTo>
                    <a:pt x="22" y="381"/>
                  </a:lnTo>
                  <a:lnTo>
                    <a:pt x="93" y="414"/>
                  </a:lnTo>
                  <a:lnTo>
                    <a:pt x="159" y="484"/>
                  </a:lnTo>
                  <a:lnTo>
                    <a:pt x="235" y="499"/>
                  </a:lnTo>
                  <a:lnTo>
                    <a:pt x="270" y="528"/>
                  </a:lnTo>
                  <a:lnTo>
                    <a:pt x="292" y="513"/>
                  </a:lnTo>
                  <a:lnTo>
                    <a:pt x="448" y="616"/>
                  </a:lnTo>
                  <a:lnTo>
                    <a:pt x="470" y="671"/>
                  </a:lnTo>
                  <a:lnTo>
                    <a:pt x="514" y="646"/>
                  </a:lnTo>
                  <a:lnTo>
                    <a:pt x="523" y="712"/>
                  </a:lnTo>
                  <a:lnTo>
                    <a:pt x="621" y="730"/>
                  </a:lnTo>
                  <a:lnTo>
                    <a:pt x="696" y="807"/>
                  </a:lnTo>
                  <a:lnTo>
                    <a:pt x="788" y="799"/>
                  </a:lnTo>
                  <a:lnTo>
                    <a:pt x="839" y="836"/>
                  </a:lnTo>
                  <a:lnTo>
                    <a:pt x="976" y="836"/>
                  </a:lnTo>
                  <a:lnTo>
                    <a:pt x="1011" y="881"/>
                  </a:lnTo>
                  <a:lnTo>
                    <a:pt x="1108" y="814"/>
                  </a:lnTo>
                  <a:lnTo>
                    <a:pt x="1207" y="814"/>
                  </a:lnTo>
                  <a:lnTo>
                    <a:pt x="1278" y="841"/>
                  </a:lnTo>
                  <a:lnTo>
                    <a:pt x="1308" y="873"/>
                  </a:lnTo>
                  <a:lnTo>
                    <a:pt x="1414" y="866"/>
                  </a:lnTo>
                  <a:lnTo>
                    <a:pt x="1455" y="807"/>
                  </a:lnTo>
                  <a:lnTo>
                    <a:pt x="1527" y="807"/>
                  </a:lnTo>
                  <a:lnTo>
                    <a:pt x="1645" y="749"/>
                  </a:lnTo>
                  <a:lnTo>
                    <a:pt x="1717" y="767"/>
                  </a:lnTo>
                  <a:lnTo>
                    <a:pt x="1769" y="742"/>
                  </a:lnTo>
                  <a:lnTo>
                    <a:pt x="1810" y="749"/>
                  </a:lnTo>
                  <a:lnTo>
                    <a:pt x="1810" y="836"/>
                  </a:lnTo>
                  <a:lnTo>
                    <a:pt x="1894" y="855"/>
                  </a:lnTo>
                  <a:lnTo>
                    <a:pt x="1911" y="825"/>
                  </a:lnTo>
                  <a:lnTo>
                    <a:pt x="1983" y="851"/>
                  </a:lnTo>
                  <a:lnTo>
                    <a:pt x="2033" y="903"/>
                  </a:lnTo>
                  <a:lnTo>
                    <a:pt x="2050" y="831"/>
                  </a:lnTo>
                  <a:lnTo>
                    <a:pt x="2111" y="812"/>
                  </a:lnTo>
                </a:path>
              </a:pathLst>
            </a:custGeom>
            <a:grpFill/>
            <a:ln w="12700" cap="rnd" cmpd="sng">
              <a:solidFill>
                <a:schemeClr val="bg1"/>
              </a:solidFill>
              <a:prstDash val="solid"/>
              <a:round/>
              <a:headEnd type="none" w="med" len="med"/>
              <a:tailEnd type="none" w="med" len="med"/>
            </a:ln>
            <a:effectLst/>
          </p:spPr>
          <p:txBody>
            <a:bodyPr/>
            <a:lstStyle/>
            <a:p>
              <a:pPr algn="ctr" defTabSz="685800" eaLnBrk="0" hangingPunct="0">
                <a:spcBef>
                  <a:spcPct val="50000"/>
                </a:spcBef>
                <a:buClrTx/>
                <a:defRPr/>
              </a:pPr>
              <a:endParaRPr lang="en-US" sz="900" kern="1200">
                <a:ea typeface="+mn-ea"/>
                <a:cs typeface="+mn-cs"/>
              </a:endParaRPr>
            </a:p>
          </p:txBody>
        </p:sp>
        <p:sp>
          <p:nvSpPr>
            <p:cNvPr id="17" name="Freeform 12"/>
            <p:cNvSpPr>
              <a:spLocks/>
            </p:cNvSpPr>
            <p:nvPr/>
          </p:nvSpPr>
          <p:spPr bwMode="gray">
            <a:xfrm>
              <a:off x="5782219" y="3311150"/>
              <a:ext cx="1163556" cy="1016975"/>
            </a:xfrm>
            <a:custGeom>
              <a:avLst/>
              <a:gdLst/>
              <a:ahLst/>
              <a:cxnLst>
                <a:cxn ang="0">
                  <a:pos x="76" y="356"/>
                </a:cxn>
                <a:cxn ang="0">
                  <a:pos x="296" y="370"/>
                </a:cxn>
                <a:cxn ang="0">
                  <a:pos x="493" y="401"/>
                </a:cxn>
                <a:cxn ang="0">
                  <a:pos x="584" y="445"/>
                </a:cxn>
                <a:cxn ang="0">
                  <a:pos x="756" y="478"/>
                </a:cxn>
                <a:cxn ang="0">
                  <a:pos x="829" y="615"/>
                </a:cxn>
                <a:cxn ang="0">
                  <a:pos x="761" y="796"/>
                </a:cxn>
                <a:cxn ang="0">
                  <a:pos x="672" y="822"/>
                </a:cxn>
                <a:cxn ang="0">
                  <a:pos x="818" y="840"/>
                </a:cxn>
                <a:cxn ang="0">
                  <a:pos x="965" y="910"/>
                </a:cxn>
                <a:cxn ang="0">
                  <a:pos x="1031" y="963"/>
                </a:cxn>
                <a:cxn ang="0">
                  <a:pos x="1142" y="937"/>
                </a:cxn>
                <a:cxn ang="0">
                  <a:pos x="1162" y="883"/>
                </a:cxn>
                <a:cxn ang="0">
                  <a:pos x="1235" y="798"/>
                </a:cxn>
                <a:cxn ang="0">
                  <a:pos x="1259" y="721"/>
                </a:cxn>
                <a:cxn ang="0">
                  <a:pos x="1359" y="704"/>
                </a:cxn>
                <a:cxn ang="0">
                  <a:pos x="1424" y="690"/>
                </a:cxn>
                <a:cxn ang="0">
                  <a:pos x="1434" y="619"/>
                </a:cxn>
                <a:cxn ang="0">
                  <a:pos x="1320" y="538"/>
                </a:cxn>
                <a:cxn ang="0">
                  <a:pos x="1203" y="553"/>
                </a:cxn>
                <a:cxn ang="0">
                  <a:pos x="1257" y="617"/>
                </a:cxn>
                <a:cxn ang="0">
                  <a:pos x="1215" y="659"/>
                </a:cxn>
                <a:cxn ang="0">
                  <a:pos x="1103" y="662"/>
                </a:cxn>
                <a:cxn ang="0">
                  <a:pos x="993" y="505"/>
                </a:cxn>
                <a:cxn ang="0">
                  <a:pos x="930" y="433"/>
                </a:cxn>
                <a:cxn ang="0">
                  <a:pos x="985" y="357"/>
                </a:cxn>
                <a:cxn ang="0">
                  <a:pos x="749" y="383"/>
                </a:cxn>
                <a:cxn ang="0">
                  <a:pos x="577" y="267"/>
                </a:cxn>
                <a:cxn ang="0">
                  <a:pos x="623" y="201"/>
                </a:cxn>
                <a:cxn ang="0">
                  <a:pos x="424" y="219"/>
                </a:cxn>
                <a:cxn ang="0">
                  <a:pos x="338" y="0"/>
                </a:cxn>
                <a:cxn ang="0">
                  <a:pos x="239" y="84"/>
                </a:cxn>
                <a:cxn ang="0">
                  <a:pos x="87" y="189"/>
                </a:cxn>
                <a:cxn ang="0">
                  <a:pos x="6" y="342"/>
                </a:cxn>
              </a:cxnLst>
              <a:rect l="0" t="0" r="r" b="b"/>
              <a:pathLst>
                <a:path w="1435" h="965">
                  <a:moveTo>
                    <a:pt x="6" y="342"/>
                  </a:moveTo>
                  <a:lnTo>
                    <a:pt x="76" y="356"/>
                  </a:lnTo>
                  <a:lnTo>
                    <a:pt x="203" y="395"/>
                  </a:lnTo>
                  <a:lnTo>
                    <a:pt x="296" y="370"/>
                  </a:lnTo>
                  <a:lnTo>
                    <a:pt x="429" y="365"/>
                  </a:lnTo>
                  <a:lnTo>
                    <a:pt x="493" y="401"/>
                  </a:lnTo>
                  <a:lnTo>
                    <a:pt x="595" y="392"/>
                  </a:lnTo>
                  <a:lnTo>
                    <a:pt x="584" y="445"/>
                  </a:lnTo>
                  <a:lnTo>
                    <a:pt x="710" y="517"/>
                  </a:lnTo>
                  <a:lnTo>
                    <a:pt x="756" y="478"/>
                  </a:lnTo>
                  <a:lnTo>
                    <a:pt x="812" y="553"/>
                  </a:lnTo>
                  <a:lnTo>
                    <a:pt x="829" y="615"/>
                  </a:lnTo>
                  <a:lnTo>
                    <a:pt x="867" y="653"/>
                  </a:lnTo>
                  <a:lnTo>
                    <a:pt x="761" y="796"/>
                  </a:lnTo>
                  <a:lnTo>
                    <a:pt x="706" y="796"/>
                  </a:lnTo>
                  <a:lnTo>
                    <a:pt x="672" y="822"/>
                  </a:lnTo>
                  <a:lnTo>
                    <a:pt x="809" y="897"/>
                  </a:lnTo>
                  <a:lnTo>
                    <a:pt x="818" y="840"/>
                  </a:lnTo>
                  <a:lnTo>
                    <a:pt x="887" y="832"/>
                  </a:lnTo>
                  <a:lnTo>
                    <a:pt x="965" y="910"/>
                  </a:lnTo>
                  <a:lnTo>
                    <a:pt x="1020" y="917"/>
                  </a:lnTo>
                  <a:lnTo>
                    <a:pt x="1031" y="963"/>
                  </a:lnTo>
                  <a:lnTo>
                    <a:pt x="1140" y="964"/>
                  </a:lnTo>
                  <a:lnTo>
                    <a:pt x="1142" y="937"/>
                  </a:lnTo>
                  <a:lnTo>
                    <a:pt x="1186" y="946"/>
                  </a:lnTo>
                  <a:lnTo>
                    <a:pt x="1162" y="883"/>
                  </a:lnTo>
                  <a:lnTo>
                    <a:pt x="1224" y="869"/>
                  </a:lnTo>
                  <a:lnTo>
                    <a:pt x="1235" y="798"/>
                  </a:lnTo>
                  <a:lnTo>
                    <a:pt x="1213" y="781"/>
                  </a:lnTo>
                  <a:lnTo>
                    <a:pt x="1259" y="721"/>
                  </a:lnTo>
                  <a:lnTo>
                    <a:pt x="1322" y="734"/>
                  </a:lnTo>
                  <a:lnTo>
                    <a:pt x="1359" y="704"/>
                  </a:lnTo>
                  <a:lnTo>
                    <a:pt x="1401" y="706"/>
                  </a:lnTo>
                  <a:lnTo>
                    <a:pt x="1424" y="690"/>
                  </a:lnTo>
                  <a:lnTo>
                    <a:pt x="1413" y="654"/>
                  </a:lnTo>
                  <a:lnTo>
                    <a:pt x="1434" y="619"/>
                  </a:lnTo>
                  <a:lnTo>
                    <a:pt x="1414" y="563"/>
                  </a:lnTo>
                  <a:lnTo>
                    <a:pt x="1320" y="538"/>
                  </a:lnTo>
                  <a:lnTo>
                    <a:pt x="1235" y="525"/>
                  </a:lnTo>
                  <a:lnTo>
                    <a:pt x="1203" y="553"/>
                  </a:lnTo>
                  <a:lnTo>
                    <a:pt x="1198" y="610"/>
                  </a:lnTo>
                  <a:lnTo>
                    <a:pt x="1257" y="617"/>
                  </a:lnTo>
                  <a:lnTo>
                    <a:pt x="1257" y="655"/>
                  </a:lnTo>
                  <a:lnTo>
                    <a:pt x="1215" y="659"/>
                  </a:lnTo>
                  <a:lnTo>
                    <a:pt x="1210" y="690"/>
                  </a:lnTo>
                  <a:lnTo>
                    <a:pt x="1103" y="662"/>
                  </a:lnTo>
                  <a:lnTo>
                    <a:pt x="1105" y="571"/>
                  </a:lnTo>
                  <a:lnTo>
                    <a:pt x="993" y="505"/>
                  </a:lnTo>
                  <a:lnTo>
                    <a:pt x="933" y="498"/>
                  </a:lnTo>
                  <a:lnTo>
                    <a:pt x="930" y="433"/>
                  </a:lnTo>
                  <a:lnTo>
                    <a:pt x="975" y="414"/>
                  </a:lnTo>
                  <a:lnTo>
                    <a:pt x="985" y="357"/>
                  </a:lnTo>
                  <a:lnTo>
                    <a:pt x="914" y="326"/>
                  </a:lnTo>
                  <a:lnTo>
                    <a:pt x="749" y="383"/>
                  </a:lnTo>
                  <a:lnTo>
                    <a:pt x="666" y="323"/>
                  </a:lnTo>
                  <a:lnTo>
                    <a:pt x="577" y="267"/>
                  </a:lnTo>
                  <a:lnTo>
                    <a:pt x="636" y="251"/>
                  </a:lnTo>
                  <a:lnTo>
                    <a:pt x="623" y="201"/>
                  </a:lnTo>
                  <a:lnTo>
                    <a:pt x="469" y="178"/>
                  </a:lnTo>
                  <a:lnTo>
                    <a:pt x="424" y="219"/>
                  </a:lnTo>
                  <a:lnTo>
                    <a:pt x="358" y="130"/>
                  </a:lnTo>
                  <a:lnTo>
                    <a:pt x="338" y="0"/>
                  </a:lnTo>
                  <a:lnTo>
                    <a:pt x="275" y="24"/>
                  </a:lnTo>
                  <a:lnTo>
                    <a:pt x="239" y="84"/>
                  </a:lnTo>
                  <a:lnTo>
                    <a:pt x="132" y="118"/>
                  </a:lnTo>
                  <a:lnTo>
                    <a:pt x="87" y="189"/>
                  </a:lnTo>
                  <a:lnTo>
                    <a:pt x="0" y="212"/>
                  </a:lnTo>
                  <a:lnTo>
                    <a:pt x="6" y="342"/>
                  </a:lnTo>
                </a:path>
              </a:pathLst>
            </a:custGeom>
            <a:grpFill/>
            <a:ln w="12700" cap="rnd" cmpd="sng">
              <a:solidFill>
                <a:schemeClr val="bg1"/>
              </a:solidFill>
              <a:prstDash val="solid"/>
              <a:round/>
              <a:headEnd type="none" w="med" len="med"/>
              <a:tailEnd type="none" w="med" len="med"/>
            </a:ln>
            <a:effectLst/>
          </p:spPr>
          <p:txBody>
            <a:bodyPr/>
            <a:lstStyle/>
            <a:p>
              <a:pPr algn="ctr" defTabSz="685800" eaLnBrk="0" hangingPunct="0">
                <a:spcBef>
                  <a:spcPct val="50000"/>
                </a:spcBef>
                <a:buClrTx/>
                <a:defRPr/>
              </a:pPr>
              <a:endParaRPr lang="en-US" sz="900" kern="1200">
                <a:ea typeface="+mn-ea"/>
                <a:cs typeface="+mn-cs"/>
              </a:endParaRPr>
            </a:p>
          </p:txBody>
        </p:sp>
        <p:sp>
          <p:nvSpPr>
            <p:cNvPr id="18" name="Freeform 13"/>
            <p:cNvSpPr>
              <a:spLocks/>
            </p:cNvSpPr>
            <p:nvPr/>
          </p:nvSpPr>
          <p:spPr bwMode="gray">
            <a:xfrm>
              <a:off x="5423164" y="3647429"/>
              <a:ext cx="1062550" cy="787222"/>
            </a:xfrm>
            <a:custGeom>
              <a:avLst/>
              <a:gdLst/>
              <a:ahLst/>
              <a:cxnLst>
                <a:cxn ang="0">
                  <a:pos x="23" y="260"/>
                </a:cxn>
                <a:cxn ang="0">
                  <a:pos x="176" y="298"/>
                </a:cxn>
                <a:cxn ang="0">
                  <a:pos x="155" y="236"/>
                </a:cxn>
                <a:cxn ang="0">
                  <a:pos x="198" y="206"/>
                </a:cxn>
                <a:cxn ang="0">
                  <a:pos x="144" y="148"/>
                </a:cxn>
                <a:cxn ang="0">
                  <a:pos x="164" y="69"/>
                </a:cxn>
                <a:cxn ang="0">
                  <a:pos x="465" y="0"/>
                </a:cxn>
                <a:cxn ang="0">
                  <a:pos x="530" y="4"/>
                </a:cxn>
                <a:cxn ang="0">
                  <a:pos x="662" y="60"/>
                </a:cxn>
                <a:cxn ang="0">
                  <a:pos x="754" y="32"/>
                </a:cxn>
                <a:cxn ang="0">
                  <a:pos x="894" y="27"/>
                </a:cxn>
                <a:cxn ang="0">
                  <a:pos x="956" y="64"/>
                </a:cxn>
                <a:cxn ang="0">
                  <a:pos x="1054" y="57"/>
                </a:cxn>
                <a:cxn ang="0">
                  <a:pos x="1043" y="108"/>
                </a:cxn>
                <a:cxn ang="0">
                  <a:pos x="1175" y="177"/>
                </a:cxn>
                <a:cxn ang="0">
                  <a:pos x="1217" y="138"/>
                </a:cxn>
                <a:cxn ang="0">
                  <a:pos x="1272" y="211"/>
                </a:cxn>
                <a:cxn ang="0">
                  <a:pos x="1289" y="279"/>
                </a:cxn>
                <a:cxn ang="0">
                  <a:pos x="1329" y="317"/>
                </a:cxn>
                <a:cxn ang="0">
                  <a:pos x="1225" y="461"/>
                </a:cxn>
                <a:cxn ang="0">
                  <a:pos x="1168" y="459"/>
                </a:cxn>
                <a:cxn ang="0">
                  <a:pos x="1138" y="489"/>
                </a:cxn>
                <a:cxn ang="0">
                  <a:pos x="1273" y="559"/>
                </a:cxn>
                <a:cxn ang="0">
                  <a:pos x="1270" y="593"/>
                </a:cxn>
                <a:cxn ang="0">
                  <a:pos x="1174" y="597"/>
                </a:cxn>
                <a:cxn ang="0">
                  <a:pos x="1151" y="647"/>
                </a:cxn>
                <a:cxn ang="0">
                  <a:pos x="1098" y="648"/>
                </a:cxn>
                <a:cxn ang="0">
                  <a:pos x="1050" y="603"/>
                </a:cxn>
                <a:cxn ang="0">
                  <a:pos x="821" y="608"/>
                </a:cxn>
                <a:cxn ang="0">
                  <a:pos x="782" y="679"/>
                </a:cxn>
                <a:cxn ang="0">
                  <a:pos x="734" y="679"/>
                </a:cxn>
                <a:cxn ang="0">
                  <a:pos x="694" y="742"/>
                </a:cxn>
                <a:cxn ang="0">
                  <a:pos x="574" y="745"/>
                </a:cxn>
                <a:cxn ang="0">
                  <a:pos x="496" y="655"/>
                </a:cxn>
                <a:cxn ang="0">
                  <a:pos x="322" y="642"/>
                </a:cxn>
                <a:cxn ang="0">
                  <a:pos x="71" y="572"/>
                </a:cxn>
                <a:cxn ang="0">
                  <a:pos x="0" y="429"/>
                </a:cxn>
                <a:cxn ang="0">
                  <a:pos x="43" y="401"/>
                </a:cxn>
                <a:cxn ang="0">
                  <a:pos x="53" y="331"/>
                </a:cxn>
                <a:cxn ang="0">
                  <a:pos x="23" y="260"/>
                </a:cxn>
              </a:cxnLst>
              <a:rect l="0" t="0" r="r" b="b"/>
              <a:pathLst>
                <a:path w="1330" h="746">
                  <a:moveTo>
                    <a:pt x="23" y="260"/>
                  </a:moveTo>
                  <a:lnTo>
                    <a:pt x="176" y="298"/>
                  </a:lnTo>
                  <a:lnTo>
                    <a:pt x="155" y="236"/>
                  </a:lnTo>
                  <a:lnTo>
                    <a:pt x="198" y="206"/>
                  </a:lnTo>
                  <a:lnTo>
                    <a:pt x="144" y="148"/>
                  </a:lnTo>
                  <a:lnTo>
                    <a:pt x="164" y="69"/>
                  </a:lnTo>
                  <a:lnTo>
                    <a:pt x="465" y="0"/>
                  </a:lnTo>
                  <a:lnTo>
                    <a:pt x="530" y="4"/>
                  </a:lnTo>
                  <a:lnTo>
                    <a:pt x="662" y="60"/>
                  </a:lnTo>
                  <a:lnTo>
                    <a:pt x="754" y="32"/>
                  </a:lnTo>
                  <a:lnTo>
                    <a:pt x="894" y="27"/>
                  </a:lnTo>
                  <a:lnTo>
                    <a:pt x="956" y="64"/>
                  </a:lnTo>
                  <a:lnTo>
                    <a:pt x="1054" y="57"/>
                  </a:lnTo>
                  <a:lnTo>
                    <a:pt x="1043" y="108"/>
                  </a:lnTo>
                  <a:lnTo>
                    <a:pt x="1175" y="177"/>
                  </a:lnTo>
                  <a:lnTo>
                    <a:pt x="1217" y="138"/>
                  </a:lnTo>
                  <a:lnTo>
                    <a:pt x="1272" y="211"/>
                  </a:lnTo>
                  <a:lnTo>
                    <a:pt x="1289" y="279"/>
                  </a:lnTo>
                  <a:lnTo>
                    <a:pt x="1329" y="317"/>
                  </a:lnTo>
                  <a:lnTo>
                    <a:pt x="1225" y="461"/>
                  </a:lnTo>
                  <a:lnTo>
                    <a:pt x="1168" y="459"/>
                  </a:lnTo>
                  <a:lnTo>
                    <a:pt x="1138" y="489"/>
                  </a:lnTo>
                  <a:lnTo>
                    <a:pt x="1273" y="559"/>
                  </a:lnTo>
                  <a:lnTo>
                    <a:pt x="1270" y="593"/>
                  </a:lnTo>
                  <a:lnTo>
                    <a:pt x="1174" y="597"/>
                  </a:lnTo>
                  <a:lnTo>
                    <a:pt x="1151" y="647"/>
                  </a:lnTo>
                  <a:lnTo>
                    <a:pt x="1098" y="648"/>
                  </a:lnTo>
                  <a:lnTo>
                    <a:pt x="1050" y="603"/>
                  </a:lnTo>
                  <a:lnTo>
                    <a:pt x="821" y="608"/>
                  </a:lnTo>
                  <a:lnTo>
                    <a:pt x="782" y="679"/>
                  </a:lnTo>
                  <a:lnTo>
                    <a:pt x="734" y="679"/>
                  </a:lnTo>
                  <a:lnTo>
                    <a:pt x="694" y="742"/>
                  </a:lnTo>
                  <a:lnTo>
                    <a:pt x="574" y="745"/>
                  </a:lnTo>
                  <a:lnTo>
                    <a:pt x="496" y="655"/>
                  </a:lnTo>
                  <a:lnTo>
                    <a:pt x="322" y="642"/>
                  </a:lnTo>
                  <a:lnTo>
                    <a:pt x="71" y="572"/>
                  </a:lnTo>
                  <a:lnTo>
                    <a:pt x="0" y="429"/>
                  </a:lnTo>
                  <a:lnTo>
                    <a:pt x="43" y="401"/>
                  </a:lnTo>
                  <a:lnTo>
                    <a:pt x="53" y="331"/>
                  </a:lnTo>
                  <a:lnTo>
                    <a:pt x="23" y="260"/>
                  </a:lnTo>
                </a:path>
              </a:pathLst>
            </a:custGeom>
            <a:grpFill/>
            <a:ln w="12700" cap="rnd" cmpd="sng">
              <a:solidFill>
                <a:schemeClr val="bg1"/>
              </a:solidFill>
              <a:prstDash val="solid"/>
              <a:round/>
              <a:headEnd type="none" w="med" len="med"/>
              <a:tailEnd type="none" w="med" len="med"/>
            </a:ln>
            <a:effectLst/>
          </p:spPr>
          <p:txBody>
            <a:bodyPr/>
            <a:lstStyle/>
            <a:p>
              <a:pPr algn="ctr" defTabSz="685800" eaLnBrk="0" hangingPunct="0">
                <a:spcBef>
                  <a:spcPct val="50000"/>
                </a:spcBef>
                <a:buClrTx/>
                <a:defRPr/>
              </a:pPr>
              <a:endParaRPr lang="en-US" sz="900" kern="1200">
                <a:ea typeface="+mn-ea"/>
                <a:cs typeface="+mn-cs"/>
              </a:endParaRPr>
            </a:p>
          </p:txBody>
        </p:sp>
        <p:sp>
          <p:nvSpPr>
            <p:cNvPr id="19" name="Freeform 14"/>
            <p:cNvSpPr>
              <a:spLocks/>
            </p:cNvSpPr>
            <p:nvPr/>
          </p:nvSpPr>
          <p:spPr bwMode="gray">
            <a:xfrm>
              <a:off x="6038569" y="4173351"/>
              <a:ext cx="1060129" cy="845536"/>
            </a:xfrm>
            <a:custGeom>
              <a:avLst/>
              <a:gdLst/>
              <a:ahLst/>
              <a:cxnLst>
                <a:cxn ang="0">
                  <a:pos x="0" y="180"/>
                </a:cxn>
                <a:cxn ang="0">
                  <a:pos x="27" y="103"/>
                </a:cxn>
                <a:cxn ang="0">
                  <a:pos x="267" y="105"/>
                </a:cxn>
                <a:cxn ang="0">
                  <a:pos x="310" y="148"/>
                </a:cxn>
                <a:cxn ang="0">
                  <a:pos x="366" y="151"/>
                </a:cxn>
                <a:cxn ang="0">
                  <a:pos x="391" y="99"/>
                </a:cxn>
                <a:cxn ang="0">
                  <a:pos x="483" y="96"/>
                </a:cxn>
                <a:cxn ang="0">
                  <a:pos x="491" y="7"/>
                </a:cxn>
                <a:cxn ang="0">
                  <a:pos x="570" y="0"/>
                </a:cxn>
                <a:cxn ang="0">
                  <a:pos x="642" y="79"/>
                </a:cxn>
                <a:cxn ang="0">
                  <a:pos x="702" y="86"/>
                </a:cxn>
                <a:cxn ang="0">
                  <a:pos x="710" y="131"/>
                </a:cxn>
                <a:cxn ang="0">
                  <a:pos x="815" y="133"/>
                </a:cxn>
                <a:cxn ang="0">
                  <a:pos x="822" y="107"/>
                </a:cxn>
                <a:cxn ang="0">
                  <a:pos x="857" y="115"/>
                </a:cxn>
                <a:cxn ang="0">
                  <a:pos x="974" y="131"/>
                </a:cxn>
                <a:cxn ang="0">
                  <a:pos x="1039" y="158"/>
                </a:cxn>
                <a:cxn ang="0">
                  <a:pos x="1112" y="148"/>
                </a:cxn>
                <a:cxn ang="0">
                  <a:pos x="1169" y="179"/>
                </a:cxn>
                <a:cxn ang="0">
                  <a:pos x="1239" y="187"/>
                </a:cxn>
                <a:cxn ang="0">
                  <a:pos x="1272" y="210"/>
                </a:cxn>
                <a:cxn ang="0">
                  <a:pos x="1265" y="279"/>
                </a:cxn>
                <a:cxn ang="0">
                  <a:pos x="1146" y="313"/>
                </a:cxn>
                <a:cxn ang="0">
                  <a:pos x="1154" y="396"/>
                </a:cxn>
                <a:cxn ang="0">
                  <a:pos x="1229" y="432"/>
                </a:cxn>
                <a:cxn ang="0">
                  <a:pos x="1224" y="538"/>
                </a:cxn>
                <a:cxn ang="0">
                  <a:pos x="1165" y="538"/>
                </a:cxn>
                <a:cxn ang="0">
                  <a:pos x="1121" y="474"/>
                </a:cxn>
                <a:cxn ang="0">
                  <a:pos x="1045" y="471"/>
                </a:cxn>
                <a:cxn ang="0">
                  <a:pos x="963" y="539"/>
                </a:cxn>
                <a:cxn ang="0">
                  <a:pos x="908" y="526"/>
                </a:cxn>
                <a:cxn ang="0">
                  <a:pos x="865" y="550"/>
                </a:cxn>
                <a:cxn ang="0">
                  <a:pos x="906" y="591"/>
                </a:cxn>
                <a:cxn ang="0">
                  <a:pos x="908" y="628"/>
                </a:cxn>
                <a:cxn ang="0">
                  <a:pos x="820" y="620"/>
                </a:cxn>
                <a:cxn ang="0">
                  <a:pos x="826" y="594"/>
                </a:cxn>
                <a:cxn ang="0">
                  <a:pos x="745" y="596"/>
                </a:cxn>
                <a:cxn ang="0">
                  <a:pos x="721" y="550"/>
                </a:cxn>
                <a:cxn ang="0">
                  <a:pos x="676" y="547"/>
                </a:cxn>
                <a:cxn ang="0">
                  <a:pos x="640" y="572"/>
                </a:cxn>
                <a:cxn ang="0">
                  <a:pos x="647" y="623"/>
                </a:cxn>
                <a:cxn ang="0">
                  <a:pos x="571" y="677"/>
                </a:cxn>
                <a:cxn ang="0">
                  <a:pos x="575" y="754"/>
                </a:cxn>
                <a:cxn ang="0">
                  <a:pos x="442" y="801"/>
                </a:cxn>
                <a:cxn ang="0">
                  <a:pos x="342" y="638"/>
                </a:cxn>
                <a:cxn ang="0">
                  <a:pos x="203" y="550"/>
                </a:cxn>
                <a:cxn ang="0">
                  <a:pos x="171" y="552"/>
                </a:cxn>
                <a:cxn ang="0">
                  <a:pos x="144" y="401"/>
                </a:cxn>
                <a:cxn ang="0">
                  <a:pos x="44" y="185"/>
                </a:cxn>
                <a:cxn ang="0">
                  <a:pos x="0" y="180"/>
                </a:cxn>
              </a:cxnLst>
              <a:rect l="0" t="0" r="r" b="b"/>
              <a:pathLst>
                <a:path w="1273" h="802">
                  <a:moveTo>
                    <a:pt x="0" y="180"/>
                  </a:moveTo>
                  <a:lnTo>
                    <a:pt x="27" y="103"/>
                  </a:lnTo>
                  <a:lnTo>
                    <a:pt x="267" y="105"/>
                  </a:lnTo>
                  <a:lnTo>
                    <a:pt x="310" y="148"/>
                  </a:lnTo>
                  <a:lnTo>
                    <a:pt x="366" y="151"/>
                  </a:lnTo>
                  <a:lnTo>
                    <a:pt x="391" y="99"/>
                  </a:lnTo>
                  <a:lnTo>
                    <a:pt x="483" y="96"/>
                  </a:lnTo>
                  <a:lnTo>
                    <a:pt x="491" y="7"/>
                  </a:lnTo>
                  <a:lnTo>
                    <a:pt x="570" y="0"/>
                  </a:lnTo>
                  <a:lnTo>
                    <a:pt x="642" y="79"/>
                  </a:lnTo>
                  <a:lnTo>
                    <a:pt x="702" y="86"/>
                  </a:lnTo>
                  <a:lnTo>
                    <a:pt x="710" y="131"/>
                  </a:lnTo>
                  <a:lnTo>
                    <a:pt x="815" y="133"/>
                  </a:lnTo>
                  <a:lnTo>
                    <a:pt x="822" y="107"/>
                  </a:lnTo>
                  <a:lnTo>
                    <a:pt x="857" y="115"/>
                  </a:lnTo>
                  <a:lnTo>
                    <a:pt x="974" y="131"/>
                  </a:lnTo>
                  <a:lnTo>
                    <a:pt x="1039" y="158"/>
                  </a:lnTo>
                  <a:lnTo>
                    <a:pt x="1112" y="148"/>
                  </a:lnTo>
                  <a:lnTo>
                    <a:pt x="1169" y="179"/>
                  </a:lnTo>
                  <a:lnTo>
                    <a:pt x="1239" y="187"/>
                  </a:lnTo>
                  <a:lnTo>
                    <a:pt x="1272" y="210"/>
                  </a:lnTo>
                  <a:lnTo>
                    <a:pt x="1265" y="279"/>
                  </a:lnTo>
                  <a:lnTo>
                    <a:pt x="1146" y="313"/>
                  </a:lnTo>
                  <a:lnTo>
                    <a:pt x="1154" y="396"/>
                  </a:lnTo>
                  <a:lnTo>
                    <a:pt x="1229" y="432"/>
                  </a:lnTo>
                  <a:lnTo>
                    <a:pt x="1224" y="538"/>
                  </a:lnTo>
                  <a:lnTo>
                    <a:pt x="1165" y="538"/>
                  </a:lnTo>
                  <a:lnTo>
                    <a:pt x="1121" y="474"/>
                  </a:lnTo>
                  <a:lnTo>
                    <a:pt x="1045" y="471"/>
                  </a:lnTo>
                  <a:lnTo>
                    <a:pt x="963" y="539"/>
                  </a:lnTo>
                  <a:lnTo>
                    <a:pt x="908" y="526"/>
                  </a:lnTo>
                  <a:lnTo>
                    <a:pt x="865" y="550"/>
                  </a:lnTo>
                  <a:lnTo>
                    <a:pt x="906" y="591"/>
                  </a:lnTo>
                  <a:lnTo>
                    <a:pt x="908" y="628"/>
                  </a:lnTo>
                  <a:lnTo>
                    <a:pt x="820" y="620"/>
                  </a:lnTo>
                  <a:lnTo>
                    <a:pt x="826" y="594"/>
                  </a:lnTo>
                  <a:lnTo>
                    <a:pt x="745" y="596"/>
                  </a:lnTo>
                  <a:lnTo>
                    <a:pt x="721" y="550"/>
                  </a:lnTo>
                  <a:lnTo>
                    <a:pt x="676" y="547"/>
                  </a:lnTo>
                  <a:lnTo>
                    <a:pt x="640" y="572"/>
                  </a:lnTo>
                  <a:lnTo>
                    <a:pt x="647" y="623"/>
                  </a:lnTo>
                  <a:lnTo>
                    <a:pt x="571" y="677"/>
                  </a:lnTo>
                  <a:lnTo>
                    <a:pt x="575" y="754"/>
                  </a:lnTo>
                  <a:lnTo>
                    <a:pt x="442" y="801"/>
                  </a:lnTo>
                  <a:lnTo>
                    <a:pt x="342" y="638"/>
                  </a:lnTo>
                  <a:lnTo>
                    <a:pt x="203" y="550"/>
                  </a:lnTo>
                  <a:lnTo>
                    <a:pt x="171" y="552"/>
                  </a:lnTo>
                  <a:lnTo>
                    <a:pt x="144" y="401"/>
                  </a:lnTo>
                  <a:lnTo>
                    <a:pt x="44" y="185"/>
                  </a:lnTo>
                  <a:lnTo>
                    <a:pt x="0" y="180"/>
                  </a:lnTo>
                </a:path>
              </a:pathLst>
            </a:custGeom>
            <a:grpFill/>
            <a:ln w="12700" cap="rnd" cmpd="sng">
              <a:solidFill>
                <a:schemeClr val="bg1"/>
              </a:solidFill>
              <a:prstDash val="solid"/>
              <a:round/>
              <a:headEnd type="none" w="med" len="med"/>
              <a:tailEnd type="none" w="med" len="med"/>
            </a:ln>
            <a:effectLst/>
          </p:spPr>
          <p:txBody>
            <a:bodyPr/>
            <a:lstStyle/>
            <a:p>
              <a:pPr algn="ctr" defTabSz="685800" eaLnBrk="0" hangingPunct="0">
                <a:spcBef>
                  <a:spcPct val="50000"/>
                </a:spcBef>
                <a:buClrTx/>
                <a:defRPr/>
              </a:pPr>
              <a:endParaRPr lang="en-US" sz="900" kern="1200">
                <a:ea typeface="+mn-ea"/>
                <a:cs typeface="+mn-cs"/>
              </a:endParaRPr>
            </a:p>
          </p:txBody>
        </p:sp>
        <p:sp>
          <p:nvSpPr>
            <p:cNvPr id="20" name="Freeform 15"/>
            <p:cNvSpPr>
              <a:spLocks/>
            </p:cNvSpPr>
            <p:nvPr/>
          </p:nvSpPr>
          <p:spPr bwMode="gray">
            <a:xfrm>
              <a:off x="6056762" y="4744816"/>
              <a:ext cx="767576" cy="810548"/>
            </a:xfrm>
            <a:custGeom>
              <a:avLst/>
              <a:gdLst/>
              <a:ahLst/>
              <a:cxnLst>
                <a:cxn ang="0">
                  <a:pos x="106" y="107"/>
                </a:cxn>
                <a:cxn ang="0">
                  <a:pos x="134" y="296"/>
                </a:cxn>
                <a:cxn ang="0">
                  <a:pos x="57" y="338"/>
                </a:cxn>
                <a:cxn ang="0">
                  <a:pos x="0" y="399"/>
                </a:cxn>
                <a:cxn ang="0">
                  <a:pos x="23" y="482"/>
                </a:cxn>
                <a:cxn ang="0">
                  <a:pos x="140" y="487"/>
                </a:cxn>
                <a:cxn ang="0">
                  <a:pos x="158" y="563"/>
                </a:cxn>
                <a:cxn ang="0">
                  <a:pos x="224" y="574"/>
                </a:cxn>
                <a:cxn ang="0">
                  <a:pos x="201" y="659"/>
                </a:cxn>
                <a:cxn ang="0">
                  <a:pos x="267" y="692"/>
                </a:cxn>
                <a:cxn ang="0">
                  <a:pos x="307" y="733"/>
                </a:cxn>
                <a:cxn ang="0">
                  <a:pos x="397" y="717"/>
                </a:cxn>
                <a:cxn ang="0">
                  <a:pos x="417" y="767"/>
                </a:cxn>
                <a:cxn ang="0">
                  <a:pos x="493" y="768"/>
                </a:cxn>
                <a:cxn ang="0">
                  <a:pos x="482" y="644"/>
                </a:cxn>
                <a:cxn ang="0">
                  <a:pos x="538" y="640"/>
                </a:cxn>
                <a:cxn ang="0">
                  <a:pos x="563" y="614"/>
                </a:cxn>
                <a:cxn ang="0">
                  <a:pos x="634" y="629"/>
                </a:cxn>
                <a:cxn ang="0">
                  <a:pos x="735" y="610"/>
                </a:cxn>
                <a:cxn ang="0">
                  <a:pos x="798" y="592"/>
                </a:cxn>
                <a:cxn ang="0">
                  <a:pos x="831" y="548"/>
                </a:cxn>
                <a:cxn ang="0">
                  <a:pos x="911" y="533"/>
                </a:cxn>
                <a:cxn ang="0">
                  <a:pos x="911" y="503"/>
                </a:cxn>
                <a:cxn ang="0">
                  <a:pos x="960" y="504"/>
                </a:cxn>
                <a:cxn ang="0">
                  <a:pos x="939" y="443"/>
                </a:cxn>
                <a:cxn ang="0">
                  <a:pos x="860" y="445"/>
                </a:cxn>
                <a:cxn ang="0">
                  <a:pos x="780" y="423"/>
                </a:cxn>
                <a:cxn ang="0">
                  <a:pos x="772" y="382"/>
                </a:cxn>
                <a:cxn ang="0">
                  <a:pos x="776" y="328"/>
                </a:cxn>
                <a:cxn ang="0">
                  <a:pos x="749" y="289"/>
                </a:cxn>
                <a:cxn ang="0">
                  <a:pos x="754" y="211"/>
                </a:cxn>
                <a:cxn ang="0">
                  <a:pos x="662" y="204"/>
                </a:cxn>
                <a:cxn ang="0">
                  <a:pos x="660" y="149"/>
                </a:cxn>
                <a:cxn ang="0">
                  <a:pos x="753" y="137"/>
                </a:cxn>
                <a:cxn ang="0">
                  <a:pos x="753" y="50"/>
                </a:cxn>
                <a:cxn ang="0">
                  <a:pos x="730" y="11"/>
                </a:cxn>
                <a:cxn ang="0">
                  <a:pos x="680" y="0"/>
                </a:cxn>
                <a:cxn ang="0">
                  <a:pos x="649" y="28"/>
                </a:cxn>
                <a:cxn ang="0">
                  <a:pos x="651" y="77"/>
                </a:cxn>
                <a:cxn ang="0">
                  <a:pos x="581" y="134"/>
                </a:cxn>
                <a:cxn ang="0">
                  <a:pos x="574" y="215"/>
                </a:cxn>
                <a:cxn ang="0">
                  <a:pos x="453" y="259"/>
                </a:cxn>
                <a:cxn ang="0">
                  <a:pos x="350" y="94"/>
                </a:cxn>
                <a:cxn ang="0">
                  <a:pos x="224" y="4"/>
                </a:cxn>
                <a:cxn ang="0">
                  <a:pos x="179" y="2"/>
                </a:cxn>
                <a:cxn ang="0">
                  <a:pos x="116" y="26"/>
                </a:cxn>
                <a:cxn ang="0">
                  <a:pos x="115" y="29"/>
                </a:cxn>
                <a:cxn ang="0">
                  <a:pos x="115" y="38"/>
                </a:cxn>
                <a:cxn ang="0">
                  <a:pos x="112" y="51"/>
                </a:cxn>
                <a:cxn ang="0">
                  <a:pos x="110" y="66"/>
                </a:cxn>
                <a:cxn ang="0">
                  <a:pos x="108" y="81"/>
                </a:cxn>
                <a:cxn ang="0">
                  <a:pos x="107" y="94"/>
                </a:cxn>
                <a:cxn ang="0">
                  <a:pos x="106" y="103"/>
                </a:cxn>
                <a:cxn ang="0">
                  <a:pos x="106" y="107"/>
                </a:cxn>
              </a:cxnLst>
              <a:rect l="0" t="0" r="r" b="b"/>
              <a:pathLst>
                <a:path w="961" h="769">
                  <a:moveTo>
                    <a:pt x="106" y="107"/>
                  </a:moveTo>
                  <a:lnTo>
                    <a:pt x="134" y="296"/>
                  </a:lnTo>
                  <a:lnTo>
                    <a:pt x="57" y="338"/>
                  </a:lnTo>
                  <a:lnTo>
                    <a:pt x="0" y="399"/>
                  </a:lnTo>
                  <a:lnTo>
                    <a:pt x="23" y="482"/>
                  </a:lnTo>
                  <a:lnTo>
                    <a:pt x="140" y="487"/>
                  </a:lnTo>
                  <a:lnTo>
                    <a:pt x="158" y="563"/>
                  </a:lnTo>
                  <a:lnTo>
                    <a:pt x="224" y="574"/>
                  </a:lnTo>
                  <a:lnTo>
                    <a:pt x="201" y="659"/>
                  </a:lnTo>
                  <a:lnTo>
                    <a:pt x="267" y="692"/>
                  </a:lnTo>
                  <a:lnTo>
                    <a:pt x="307" y="733"/>
                  </a:lnTo>
                  <a:lnTo>
                    <a:pt x="397" y="717"/>
                  </a:lnTo>
                  <a:lnTo>
                    <a:pt x="417" y="767"/>
                  </a:lnTo>
                  <a:lnTo>
                    <a:pt x="493" y="768"/>
                  </a:lnTo>
                  <a:lnTo>
                    <a:pt x="482" y="644"/>
                  </a:lnTo>
                  <a:lnTo>
                    <a:pt x="538" y="640"/>
                  </a:lnTo>
                  <a:lnTo>
                    <a:pt x="563" y="614"/>
                  </a:lnTo>
                  <a:lnTo>
                    <a:pt x="634" y="629"/>
                  </a:lnTo>
                  <a:lnTo>
                    <a:pt x="735" y="610"/>
                  </a:lnTo>
                  <a:lnTo>
                    <a:pt x="798" y="592"/>
                  </a:lnTo>
                  <a:lnTo>
                    <a:pt x="831" y="548"/>
                  </a:lnTo>
                  <a:lnTo>
                    <a:pt x="911" y="533"/>
                  </a:lnTo>
                  <a:lnTo>
                    <a:pt x="911" y="503"/>
                  </a:lnTo>
                  <a:lnTo>
                    <a:pt x="960" y="504"/>
                  </a:lnTo>
                  <a:lnTo>
                    <a:pt x="939" y="443"/>
                  </a:lnTo>
                  <a:lnTo>
                    <a:pt x="860" y="445"/>
                  </a:lnTo>
                  <a:lnTo>
                    <a:pt x="780" y="423"/>
                  </a:lnTo>
                  <a:lnTo>
                    <a:pt x="772" y="382"/>
                  </a:lnTo>
                  <a:lnTo>
                    <a:pt x="776" y="328"/>
                  </a:lnTo>
                  <a:lnTo>
                    <a:pt x="749" y="289"/>
                  </a:lnTo>
                  <a:lnTo>
                    <a:pt x="754" y="211"/>
                  </a:lnTo>
                  <a:lnTo>
                    <a:pt x="662" y="204"/>
                  </a:lnTo>
                  <a:lnTo>
                    <a:pt x="660" y="149"/>
                  </a:lnTo>
                  <a:lnTo>
                    <a:pt x="753" y="137"/>
                  </a:lnTo>
                  <a:lnTo>
                    <a:pt x="753" y="50"/>
                  </a:lnTo>
                  <a:lnTo>
                    <a:pt x="730" y="11"/>
                  </a:lnTo>
                  <a:lnTo>
                    <a:pt x="680" y="0"/>
                  </a:lnTo>
                  <a:lnTo>
                    <a:pt x="649" y="28"/>
                  </a:lnTo>
                  <a:lnTo>
                    <a:pt x="651" y="77"/>
                  </a:lnTo>
                  <a:lnTo>
                    <a:pt x="581" y="134"/>
                  </a:lnTo>
                  <a:lnTo>
                    <a:pt x="574" y="215"/>
                  </a:lnTo>
                  <a:lnTo>
                    <a:pt x="453" y="259"/>
                  </a:lnTo>
                  <a:lnTo>
                    <a:pt x="350" y="94"/>
                  </a:lnTo>
                  <a:lnTo>
                    <a:pt x="224" y="4"/>
                  </a:lnTo>
                  <a:lnTo>
                    <a:pt x="179" y="2"/>
                  </a:lnTo>
                  <a:lnTo>
                    <a:pt x="116" y="26"/>
                  </a:lnTo>
                  <a:lnTo>
                    <a:pt x="115" y="29"/>
                  </a:lnTo>
                  <a:lnTo>
                    <a:pt x="115" y="38"/>
                  </a:lnTo>
                  <a:lnTo>
                    <a:pt x="112" y="51"/>
                  </a:lnTo>
                  <a:lnTo>
                    <a:pt x="110" y="66"/>
                  </a:lnTo>
                  <a:lnTo>
                    <a:pt x="108" y="81"/>
                  </a:lnTo>
                  <a:lnTo>
                    <a:pt x="107" y="94"/>
                  </a:lnTo>
                  <a:lnTo>
                    <a:pt x="106" y="103"/>
                  </a:lnTo>
                  <a:lnTo>
                    <a:pt x="106" y="107"/>
                  </a:lnTo>
                </a:path>
              </a:pathLst>
            </a:custGeom>
            <a:grpFill/>
            <a:ln w="12700" cap="rnd" cmpd="sng">
              <a:solidFill>
                <a:schemeClr val="bg1"/>
              </a:solidFill>
              <a:prstDash val="solid"/>
              <a:round/>
              <a:headEnd type="none" w="med" len="med"/>
              <a:tailEnd type="none" w="med" len="med"/>
            </a:ln>
            <a:effectLst/>
          </p:spPr>
          <p:txBody>
            <a:bodyPr/>
            <a:lstStyle/>
            <a:p>
              <a:pPr algn="ctr" defTabSz="685800" eaLnBrk="0" hangingPunct="0">
                <a:spcBef>
                  <a:spcPct val="50000"/>
                </a:spcBef>
                <a:buClrTx/>
                <a:defRPr/>
              </a:pPr>
              <a:endParaRPr lang="en-US" sz="900" kern="1200">
                <a:ea typeface="+mn-ea"/>
                <a:cs typeface="+mn-cs"/>
              </a:endParaRPr>
            </a:p>
          </p:txBody>
        </p:sp>
        <p:sp>
          <p:nvSpPr>
            <p:cNvPr id="21" name="Freeform 16"/>
            <p:cNvSpPr>
              <a:spLocks noChangeAspect="1"/>
            </p:cNvSpPr>
            <p:nvPr/>
          </p:nvSpPr>
          <p:spPr bwMode="gray">
            <a:xfrm>
              <a:off x="6600542" y="3614260"/>
              <a:ext cx="258568" cy="435736"/>
            </a:xfrm>
            <a:custGeom>
              <a:avLst/>
              <a:gdLst/>
              <a:ahLst/>
              <a:cxnLst>
                <a:cxn ang="0">
                  <a:pos x="0" y="216"/>
                </a:cxn>
                <a:cxn ang="0">
                  <a:pos x="59" y="214"/>
                </a:cxn>
                <a:cxn ang="0">
                  <a:pos x="124" y="95"/>
                </a:cxn>
                <a:cxn ang="0">
                  <a:pos x="148" y="10"/>
                </a:cxn>
                <a:cxn ang="0">
                  <a:pos x="224" y="0"/>
                </a:cxn>
                <a:cxn ang="0">
                  <a:pos x="236" y="76"/>
                </a:cxn>
                <a:cxn ang="0">
                  <a:pos x="227" y="129"/>
                </a:cxn>
                <a:cxn ang="0">
                  <a:pos x="360" y="166"/>
                </a:cxn>
                <a:cxn ang="0">
                  <a:pos x="320" y="249"/>
                </a:cxn>
                <a:cxn ang="0">
                  <a:pos x="242" y="234"/>
                </a:cxn>
                <a:cxn ang="0">
                  <a:pos x="214" y="261"/>
                </a:cxn>
                <a:cxn ang="0">
                  <a:pos x="216" y="314"/>
                </a:cxn>
                <a:cxn ang="0">
                  <a:pos x="263" y="323"/>
                </a:cxn>
                <a:cxn ang="0">
                  <a:pos x="264" y="365"/>
                </a:cxn>
                <a:cxn ang="0">
                  <a:pos x="220" y="370"/>
                </a:cxn>
                <a:cxn ang="0">
                  <a:pos x="222" y="401"/>
                </a:cxn>
                <a:cxn ang="0">
                  <a:pos x="97" y="374"/>
                </a:cxn>
                <a:cxn ang="0">
                  <a:pos x="104" y="280"/>
                </a:cxn>
                <a:cxn ang="0">
                  <a:pos x="0" y="216"/>
                </a:cxn>
              </a:cxnLst>
              <a:rect l="0" t="0" r="r" b="b"/>
              <a:pathLst>
                <a:path w="361" h="402">
                  <a:moveTo>
                    <a:pt x="0" y="216"/>
                  </a:moveTo>
                  <a:lnTo>
                    <a:pt x="59" y="214"/>
                  </a:lnTo>
                  <a:lnTo>
                    <a:pt x="124" y="95"/>
                  </a:lnTo>
                  <a:lnTo>
                    <a:pt x="148" y="10"/>
                  </a:lnTo>
                  <a:lnTo>
                    <a:pt x="224" y="0"/>
                  </a:lnTo>
                  <a:lnTo>
                    <a:pt x="236" y="76"/>
                  </a:lnTo>
                  <a:lnTo>
                    <a:pt x="227" y="129"/>
                  </a:lnTo>
                  <a:lnTo>
                    <a:pt x="360" y="166"/>
                  </a:lnTo>
                  <a:lnTo>
                    <a:pt x="320" y="249"/>
                  </a:lnTo>
                  <a:lnTo>
                    <a:pt x="242" y="234"/>
                  </a:lnTo>
                  <a:lnTo>
                    <a:pt x="214" y="261"/>
                  </a:lnTo>
                  <a:lnTo>
                    <a:pt x="216" y="314"/>
                  </a:lnTo>
                  <a:lnTo>
                    <a:pt x="263" y="323"/>
                  </a:lnTo>
                  <a:lnTo>
                    <a:pt x="264" y="365"/>
                  </a:lnTo>
                  <a:lnTo>
                    <a:pt x="220" y="370"/>
                  </a:lnTo>
                  <a:lnTo>
                    <a:pt x="222" y="401"/>
                  </a:lnTo>
                  <a:lnTo>
                    <a:pt x="97" y="374"/>
                  </a:lnTo>
                  <a:lnTo>
                    <a:pt x="104" y="280"/>
                  </a:lnTo>
                  <a:lnTo>
                    <a:pt x="0" y="216"/>
                  </a:lnTo>
                </a:path>
              </a:pathLst>
            </a:custGeom>
            <a:grpFill/>
            <a:ln w="12700" cap="rnd" cmpd="sng">
              <a:solidFill>
                <a:schemeClr val="bg1"/>
              </a:solidFill>
              <a:prstDash val="solid"/>
              <a:round/>
              <a:headEnd type="none" w="med" len="med"/>
              <a:tailEnd type="none" w="med" len="med"/>
            </a:ln>
            <a:effectLst/>
          </p:spPr>
          <p:txBody>
            <a:bodyPr/>
            <a:lstStyle/>
            <a:p>
              <a:pPr algn="ctr" defTabSz="685800" eaLnBrk="0" hangingPunct="0">
                <a:spcBef>
                  <a:spcPct val="50000"/>
                </a:spcBef>
                <a:buClrTx/>
                <a:defRPr/>
              </a:pPr>
              <a:endParaRPr lang="en-US" sz="900" kern="1200">
                <a:ea typeface="+mn-ea"/>
                <a:cs typeface="+mn-cs"/>
              </a:endParaRPr>
            </a:p>
          </p:txBody>
        </p:sp>
        <p:sp>
          <p:nvSpPr>
            <p:cNvPr id="22" name="Freeform 17"/>
            <p:cNvSpPr>
              <a:spLocks/>
            </p:cNvSpPr>
            <p:nvPr/>
          </p:nvSpPr>
          <p:spPr bwMode="gray">
            <a:xfrm>
              <a:off x="7023985" y="3458437"/>
              <a:ext cx="301432" cy="637942"/>
            </a:xfrm>
            <a:custGeom>
              <a:avLst/>
              <a:gdLst/>
              <a:ahLst/>
              <a:cxnLst>
                <a:cxn ang="0">
                  <a:pos x="289" y="0"/>
                </a:cxn>
                <a:cxn ang="0">
                  <a:pos x="359" y="33"/>
                </a:cxn>
                <a:cxn ang="0">
                  <a:pos x="374" y="91"/>
                </a:cxn>
                <a:cxn ang="0">
                  <a:pos x="294" y="191"/>
                </a:cxn>
                <a:cxn ang="0">
                  <a:pos x="288" y="241"/>
                </a:cxn>
                <a:cxn ang="0">
                  <a:pos x="348" y="271"/>
                </a:cxn>
                <a:cxn ang="0">
                  <a:pos x="352" y="333"/>
                </a:cxn>
                <a:cxn ang="0">
                  <a:pos x="305" y="384"/>
                </a:cxn>
                <a:cxn ang="0">
                  <a:pos x="345" y="431"/>
                </a:cxn>
                <a:cxn ang="0">
                  <a:pos x="324" y="499"/>
                </a:cxn>
                <a:cxn ang="0">
                  <a:pos x="183" y="527"/>
                </a:cxn>
                <a:cxn ang="0">
                  <a:pos x="149" y="587"/>
                </a:cxn>
                <a:cxn ang="0">
                  <a:pos x="51" y="603"/>
                </a:cxn>
                <a:cxn ang="0">
                  <a:pos x="60" y="514"/>
                </a:cxn>
                <a:cxn ang="0">
                  <a:pos x="0" y="466"/>
                </a:cxn>
                <a:cxn ang="0">
                  <a:pos x="6" y="359"/>
                </a:cxn>
                <a:cxn ang="0">
                  <a:pos x="39" y="333"/>
                </a:cxn>
                <a:cxn ang="0">
                  <a:pos x="11" y="245"/>
                </a:cxn>
                <a:cxn ang="0">
                  <a:pos x="39" y="155"/>
                </a:cxn>
                <a:cxn ang="0">
                  <a:pos x="145" y="33"/>
                </a:cxn>
                <a:cxn ang="0">
                  <a:pos x="289" y="0"/>
                </a:cxn>
              </a:cxnLst>
              <a:rect l="0" t="0" r="r" b="b"/>
              <a:pathLst>
                <a:path w="375" h="604">
                  <a:moveTo>
                    <a:pt x="289" y="0"/>
                  </a:moveTo>
                  <a:lnTo>
                    <a:pt x="359" y="33"/>
                  </a:lnTo>
                  <a:lnTo>
                    <a:pt x="374" y="91"/>
                  </a:lnTo>
                  <a:lnTo>
                    <a:pt x="294" y="191"/>
                  </a:lnTo>
                  <a:lnTo>
                    <a:pt x="288" y="241"/>
                  </a:lnTo>
                  <a:lnTo>
                    <a:pt x="348" y="271"/>
                  </a:lnTo>
                  <a:lnTo>
                    <a:pt x="352" y="333"/>
                  </a:lnTo>
                  <a:lnTo>
                    <a:pt x="305" y="384"/>
                  </a:lnTo>
                  <a:lnTo>
                    <a:pt x="345" y="431"/>
                  </a:lnTo>
                  <a:lnTo>
                    <a:pt x="324" y="499"/>
                  </a:lnTo>
                  <a:lnTo>
                    <a:pt x="183" y="527"/>
                  </a:lnTo>
                  <a:lnTo>
                    <a:pt x="149" y="587"/>
                  </a:lnTo>
                  <a:lnTo>
                    <a:pt x="51" y="603"/>
                  </a:lnTo>
                  <a:lnTo>
                    <a:pt x="60" y="514"/>
                  </a:lnTo>
                  <a:lnTo>
                    <a:pt x="0" y="466"/>
                  </a:lnTo>
                  <a:lnTo>
                    <a:pt x="6" y="359"/>
                  </a:lnTo>
                  <a:lnTo>
                    <a:pt x="39" y="333"/>
                  </a:lnTo>
                  <a:lnTo>
                    <a:pt x="11" y="245"/>
                  </a:lnTo>
                  <a:lnTo>
                    <a:pt x="39" y="155"/>
                  </a:lnTo>
                  <a:lnTo>
                    <a:pt x="145" y="33"/>
                  </a:lnTo>
                  <a:lnTo>
                    <a:pt x="289" y="0"/>
                  </a:lnTo>
                </a:path>
              </a:pathLst>
            </a:custGeom>
            <a:grpFill/>
            <a:ln w="12700" cap="rnd" cmpd="sng">
              <a:solidFill>
                <a:schemeClr val="bg1"/>
              </a:solidFill>
              <a:prstDash val="solid"/>
              <a:round/>
              <a:headEnd type="none" w="med" len="med"/>
              <a:tailEnd type="none" w="med" len="med"/>
            </a:ln>
            <a:effectLst/>
          </p:spPr>
          <p:txBody>
            <a:bodyPr/>
            <a:lstStyle/>
            <a:p>
              <a:pPr algn="ctr" defTabSz="685800" eaLnBrk="0" hangingPunct="0">
                <a:spcBef>
                  <a:spcPct val="50000"/>
                </a:spcBef>
                <a:buClrTx/>
                <a:defRPr/>
              </a:pPr>
              <a:endParaRPr lang="en-US" sz="900" kern="1200">
                <a:ea typeface="+mn-ea"/>
                <a:cs typeface="+mn-cs"/>
              </a:endParaRPr>
            </a:p>
          </p:txBody>
        </p:sp>
        <p:sp>
          <p:nvSpPr>
            <p:cNvPr id="23" name="Freeform 18"/>
            <p:cNvSpPr>
              <a:spLocks/>
            </p:cNvSpPr>
            <p:nvPr/>
          </p:nvSpPr>
          <p:spPr bwMode="gray">
            <a:xfrm>
              <a:off x="7607472" y="3063046"/>
              <a:ext cx="512435" cy="499157"/>
            </a:xfrm>
            <a:custGeom>
              <a:avLst/>
              <a:gdLst/>
              <a:ahLst/>
              <a:cxnLst>
                <a:cxn ang="0">
                  <a:pos x="641" y="171"/>
                </a:cxn>
                <a:cxn ang="0">
                  <a:pos x="524" y="296"/>
                </a:cxn>
                <a:cxn ang="0">
                  <a:pos x="369" y="378"/>
                </a:cxn>
                <a:cxn ang="0">
                  <a:pos x="292" y="470"/>
                </a:cxn>
                <a:cxn ang="0">
                  <a:pos x="252" y="452"/>
                </a:cxn>
                <a:cxn ang="0">
                  <a:pos x="276" y="401"/>
                </a:cxn>
                <a:cxn ang="0">
                  <a:pos x="249" y="364"/>
                </a:cxn>
                <a:cxn ang="0">
                  <a:pos x="288" y="265"/>
                </a:cxn>
                <a:cxn ang="0">
                  <a:pos x="237" y="246"/>
                </a:cxn>
                <a:cxn ang="0">
                  <a:pos x="126" y="345"/>
                </a:cxn>
                <a:cxn ang="0">
                  <a:pos x="33" y="321"/>
                </a:cxn>
                <a:cxn ang="0">
                  <a:pos x="0" y="268"/>
                </a:cxn>
                <a:cxn ang="0">
                  <a:pos x="18" y="238"/>
                </a:cxn>
                <a:cxn ang="0">
                  <a:pos x="0" y="152"/>
                </a:cxn>
                <a:cxn ang="0">
                  <a:pos x="56" y="149"/>
                </a:cxn>
                <a:cxn ang="0">
                  <a:pos x="96" y="174"/>
                </a:cxn>
                <a:cxn ang="0">
                  <a:pos x="361" y="7"/>
                </a:cxn>
                <a:cxn ang="0">
                  <a:pos x="486" y="0"/>
                </a:cxn>
                <a:cxn ang="0">
                  <a:pos x="540" y="60"/>
                </a:cxn>
                <a:cxn ang="0">
                  <a:pos x="542" y="129"/>
                </a:cxn>
                <a:cxn ang="0">
                  <a:pos x="591" y="132"/>
                </a:cxn>
                <a:cxn ang="0">
                  <a:pos x="641" y="171"/>
                </a:cxn>
              </a:cxnLst>
              <a:rect l="0" t="0" r="r" b="b"/>
              <a:pathLst>
                <a:path w="642" h="471">
                  <a:moveTo>
                    <a:pt x="641" y="171"/>
                  </a:moveTo>
                  <a:lnTo>
                    <a:pt x="524" y="296"/>
                  </a:lnTo>
                  <a:lnTo>
                    <a:pt x="369" y="378"/>
                  </a:lnTo>
                  <a:lnTo>
                    <a:pt x="292" y="470"/>
                  </a:lnTo>
                  <a:lnTo>
                    <a:pt x="252" y="452"/>
                  </a:lnTo>
                  <a:lnTo>
                    <a:pt x="276" y="401"/>
                  </a:lnTo>
                  <a:lnTo>
                    <a:pt x="249" y="364"/>
                  </a:lnTo>
                  <a:lnTo>
                    <a:pt x="288" y="265"/>
                  </a:lnTo>
                  <a:lnTo>
                    <a:pt x="237" y="246"/>
                  </a:lnTo>
                  <a:lnTo>
                    <a:pt x="126" y="345"/>
                  </a:lnTo>
                  <a:lnTo>
                    <a:pt x="33" y="321"/>
                  </a:lnTo>
                  <a:lnTo>
                    <a:pt x="0" y="268"/>
                  </a:lnTo>
                  <a:lnTo>
                    <a:pt x="18" y="238"/>
                  </a:lnTo>
                  <a:lnTo>
                    <a:pt x="0" y="152"/>
                  </a:lnTo>
                  <a:lnTo>
                    <a:pt x="56" y="149"/>
                  </a:lnTo>
                  <a:lnTo>
                    <a:pt x="96" y="174"/>
                  </a:lnTo>
                  <a:lnTo>
                    <a:pt x="361" y="7"/>
                  </a:lnTo>
                  <a:lnTo>
                    <a:pt x="486" y="0"/>
                  </a:lnTo>
                  <a:lnTo>
                    <a:pt x="540" y="60"/>
                  </a:lnTo>
                  <a:lnTo>
                    <a:pt x="542" y="129"/>
                  </a:lnTo>
                  <a:lnTo>
                    <a:pt x="591" y="132"/>
                  </a:lnTo>
                  <a:lnTo>
                    <a:pt x="641" y="171"/>
                  </a:lnTo>
                </a:path>
              </a:pathLst>
            </a:custGeom>
            <a:grpFill/>
            <a:ln w="12700" cap="rnd" cmpd="sng">
              <a:solidFill>
                <a:schemeClr val="bg1"/>
              </a:solidFill>
              <a:prstDash val="solid"/>
              <a:round/>
              <a:headEnd type="none" w="med" len="med"/>
              <a:tailEnd type="none" w="med" len="med"/>
            </a:ln>
            <a:effectLst/>
          </p:spPr>
          <p:txBody>
            <a:bodyPr/>
            <a:lstStyle/>
            <a:p>
              <a:pPr algn="ctr" defTabSz="685800" eaLnBrk="0" hangingPunct="0">
                <a:spcBef>
                  <a:spcPct val="50000"/>
                </a:spcBef>
                <a:buClrTx/>
                <a:defRPr/>
              </a:pPr>
              <a:endParaRPr lang="en-US" sz="900" kern="1200">
                <a:ea typeface="+mn-ea"/>
                <a:cs typeface="+mn-cs"/>
              </a:endParaRPr>
            </a:p>
          </p:txBody>
        </p:sp>
        <p:sp>
          <p:nvSpPr>
            <p:cNvPr id="24" name="Freeform 19"/>
            <p:cNvSpPr>
              <a:spLocks/>
            </p:cNvSpPr>
            <p:nvPr/>
          </p:nvSpPr>
          <p:spPr bwMode="gray">
            <a:xfrm>
              <a:off x="7241392" y="3208858"/>
              <a:ext cx="467220" cy="714914"/>
            </a:xfrm>
            <a:custGeom>
              <a:avLst/>
              <a:gdLst/>
              <a:ahLst/>
              <a:cxnLst>
                <a:cxn ang="0">
                  <a:pos x="498" y="179"/>
                </a:cxn>
                <a:cxn ang="0">
                  <a:pos x="456" y="124"/>
                </a:cxn>
                <a:cxn ang="0">
                  <a:pos x="381" y="96"/>
                </a:cxn>
                <a:cxn ang="0">
                  <a:pos x="381" y="26"/>
                </a:cxn>
                <a:cxn ang="0">
                  <a:pos x="305" y="0"/>
                </a:cxn>
                <a:cxn ang="0">
                  <a:pos x="247" y="33"/>
                </a:cxn>
                <a:cxn ang="0">
                  <a:pos x="248" y="95"/>
                </a:cxn>
                <a:cxn ang="0">
                  <a:pos x="164" y="93"/>
                </a:cxn>
                <a:cxn ang="0">
                  <a:pos x="104" y="123"/>
                </a:cxn>
                <a:cxn ang="0">
                  <a:pos x="37" y="101"/>
                </a:cxn>
                <a:cxn ang="0">
                  <a:pos x="0" y="174"/>
                </a:cxn>
                <a:cxn ang="0">
                  <a:pos x="15" y="246"/>
                </a:cxn>
                <a:cxn ang="0">
                  <a:pos x="88" y="283"/>
                </a:cxn>
                <a:cxn ang="0">
                  <a:pos x="103" y="336"/>
                </a:cxn>
                <a:cxn ang="0">
                  <a:pos x="15" y="434"/>
                </a:cxn>
                <a:cxn ang="0">
                  <a:pos x="16" y="488"/>
                </a:cxn>
                <a:cxn ang="0">
                  <a:pos x="73" y="519"/>
                </a:cxn>
                <a:cxn ang="0">
                  <a:pos x="73" y="572"/>
                </a:cxn>
                <a:cxn ang="0">
                  <a:pos x="33" y="628"/>
                </a:cxn>
                <a:cxn ang="0">
                  <a:pos x="73" y="677"/>
                </a:cxn>
                <a:cxn ang="0">
                  <a:pos x="164" y="677"/>
                </a:cxn>
                <a:cxn ang="0">
                  <a:pos x="213" y="647"/>
                </a:cxn>
                <a:cxn ang="0">
                  <a:pos x="222" y="585"/>
                </a:cxn>
                <a:cxn ang="0">
                  <a:pos x="254" y="546"/>
                </a:cxn>
                <a:cxn ang="0">
                  <a:pos x="297" y="503"/>
                </a:cxn>
                <a:cxn ang="0">
                  <a:pos x="349" y="503"/>
                </a:cxn>
                <a:cxn ang="0">
                  <a:pos x="426" y="449"/>
                </a:cxn>
                <a:cxn ang="0">
                  <a:pos x="383" y="382"/>
                </a:cxn>
                <a:cxn ang="0">
                  <a:pos x="405" y="325"/>
                </a:cxn>
                <a:cxn ang="0">
                  <a:pos x="460" y="329"/>
                </a:cxn>
                <a:cxn ang="0">
                  <a:pos x="536" y="310"/>
                </a:cxn>
                <a:cxn ang="0">
                  <a:pos x="585" y="201"/>
                </a:cxn>
                <a:cxn ang="0">
                  <a:pos x="498" y="179"/>
                </a:cxn>
              </a:cxnLst>
              <a:rect l="0" t="0" r="r" b="b"/>
              <a:pathLst>
                <a:path w="586" h="678">
                  <a:moveTo>
                    <a:pt x="498" y="179"/>
                  </a:moveTo>
                  <a:lnTo>
                    <a:pt x="456" y="124"/>
                  </a:lnTo>
                  <a:lnTo>
                    <a:pt x="381" y="96"/>
                  </a:lnTo>
                  <a:lnTo>
                    <a:pt x="381" y="26"/>
                  </a:lnTo>
                  <a:lnTo>
                    <a:pt x="305" y="0"/>
                  </a:lnTo>
                  <a:lnTo>
                    <a:pt x="247" y="33"/>
                  </a:lnTo>
                  <a:lnTo>
                    <a:pt x="248" y="95"/>
                  </a:lnTo>
                  <a:lnTo>
                    <a:pt x="164" y="93"/>
                  </a:lnTo>
                  <a:lnTo>
                    <a:pt x="104" y="123"/>
                  </a:lnTo>
                  <a:lnTo>
                    <a:pt x="37" y="101"/>
                  </a:lnTo>
                  <a:lnTo>
                    <a:pt x="0" y="174"/>
                  </a:lnTo>
                  <a:lnTo>
                    <a:pt x="15" y="246"/>
                  </a:lnTo>
                  <a:lnTo>
                    <a:pt x="88" y="283"/>
                  </a:lnTo>
                  <a:lnTo>
                    <a:pt x="103" y="336"/>
                  </a:lnTo>
                  <a:lnTo>
                    <a:pt x="15" y="434"/>
                  </a:lnTo>
                  <a:lnTo>
                    <a:pt x="16" y="488"/>
                  </a:lnTo>
                  <a:lnTo>
                    <a:pt x="73" y="519"/>
                  </a:lnTo>
                  <a:lnTo>
                    <a:pt x="73" y="572"/>
                  </a:lnTo>
                  <a:lnTo>
                    <a:pt x="33" y="628"/>
                  </a:lnTo>
                  <a:lnTo>
                    <a:pt x="73" y="677"/>
                  </a:lnTo>
                  <a:lnTo>
                    <a:pt x="164" y="677"/>
                  </a:lnTo>
                  <a:lnTo>
                    <a:pt x="213" y="647"/>
                  </a:lnTo>
                  <a:lnTo>
                    <a:pt x="222" y="585"/>
                  </a:lnTo>
                  <a:lnTo>
                    <a:pt x="254" y="546"/>
                  </a:lnTo>
                  <a:lnTo>
                    <a:pt x="297" y="503"/>
                  </a:lnTo>
                  <a:lnTo>
                    <a:pt x="349" y="503"/>
                  </a:lnTo>
                  <a:lnTo>
                    <a:pt x="426" y="449"/>
                  </a:lnTo>
                  <a:lnTo>
                    <a:pt x="383" y="382"/>
                  </a:lnTo>
                  <a:lnTo>
                    <a:pt x="405" y="325"/>
                  </a:lnTo>
                  <a:lnTo>
                    <a:pt x="460" y="329"/>
                  </a:lnTo>
                  <a:lnTo>
                    <a:pt x="536" y="310"/>
                  </a:lnTo>
                  <a:lnTo>
                    <a:pt x="585" y="201"/>
                  </a:lnTo>
                  <a:lnTo>
                    <a:pt x="498" y="179"/>
                  </a:lnTo>
                </a:path>
              </a:pathLst>
            </a:custGeom>
            <a:grpFill/>
            <a:ln w="12700" cap="rnd" cmpd="sng">
              <a:solidFill>
                <a:schemeClr val="bg1"/>
              </a:solidFill>
              <a:prstDash val="solid"/>
              <a:round/>
              <a:headEnd type="none" w="med" len="med"/>
              <a:tailEnd type="none" w="med" len="med"/>
            </a:ln>
            <a:effectLst/>
          </p:spPr>
          <p:txBody>
            <a:bodyPr/>
            <a:lstStyle/>
            <a:p>
              <a:pPr algn="ctr" defTabSz="685800" eaLnBrk="0" hangingPunct="0">
                <a:spcBef>
                  <a:spcPct val="50000"/>
                </a:spcBef>
                <a:buClrTx/>
                <a:defRPr/>
              </a:pPr>
              <a:endParaRPr lang="en-US" sz="900" kern="1200">
                <a:ea typeface="+mn-ea"/>
                <a:cs typeface="+mn-cs"/>
              </a:endParaRPr>
            </a:p>
          </p:txBody>
        </p:sp>
        <p:sp>
          <p:nvSpPr>
            <p:cNvPr id="25" name="Freeform 20"/>
            <p:cNvSpPr>
              <a:spLocks/>
            </p:cNvSpPr>
            <p:nvPr/>
          </p:nvSpPr>
          <p:spPr bwMode="gray">
            <a:xfrm>
              <a:off x="7723739" y="2771511"/>
              <a:ext cx="701907" cy="468835"/>
            </a:xfrm>
            <a:custGeom>
              <a:avLst/>
              <a:gdLst/>
              <a:ahLst/>
              <a:cxnLst>
                <a:cxn ang="0">
                  <a:pos x="878" y="119"/>
                </a:cxn>
                <a:cxn ang="0">
                  <a:pos x="748" y="73"/>
                </a:cxn>
                <a:cxn ang="0">
                  <a:pos x="691" y="112"/>
                </a:cxn>
                <a:cxn ang="0">
                  <a:pos x="607" y="60"/>
                </a:cxn>
                <a:cxn ang="0">
                  <a:pos x="544" y="52"/>
                </a:cxn>
                <a:cxn ang="0">
                  <a:pos x="544" y="96"/>
                </a:cxn>
                <a:cxn ang="0">
                  <a:pos x="449" y="23"/>
                </a:cxn>
                <a:cxn ang="0">
                  <a:pos x="393" y="30"/>
                </a:cxn>
                <a:cxn ang="0">
                  <a:pos x="324" y="20"/>
                </a:cxn>
                <a:cxn ang="0">
                  <a:pos x="265" y="39"/>
                </a:cxn>
                <a:cxn ang="0">
                  <a:pos x="94" y="0"/>
                </a:cxn>
                <a:cxn ang="0">
                  <a:pos x="78" y="46"/>
                </a:cxn>
                <a:cxn ang="0">
                  <a:pos x="27" y="37"/>
                </a:cxn>
                <a:cxn ang="0">
                  <a:pos x="0" y="50"/>
                </a:cxn>
                <a:cxn ang="0">
                  <a:pos x="102" y="200"/>
                </a:cxn>
                <a:cxn ang="0">
                  <a:pos x="130" y="163"/>
                </a:cxn>
                <a:cxn ang="0">
                  <a:pos x="218" y="209"/>
                </a:cxn>
                <a:cxn ang="0">
                  <a:pos x="230" y="280"/>
                </a:cxn>
                <a:cxn ang="0">
                  <a:pos x="355" y="273"/>
                </a:cxn>
                <a:cxn ang="0">
                  <a:pos x="399" y="342"/>
                </a:cxn>
                <a:cxn ang="0">
                  <a:pos x="404" y="407"/>
                </a:cxn>
                <a:cxn ang="0">
                  <a:pos x="455" y="410"/>
                </a:cxn>
                <a:cxn ang="0">
                  <a:pos x="505" y="443"/>
                </a:cxn>
                <a:cxn ang="0">
                  <a:pos x="530" y="352"/>
                </a:cxn>
                <a:cxn ang="0">
                  <a:pos x="622" y="377"/>
                </a:cxn>
                <a:cxn ang="0">
                  <a:pos x="699" y="358"/>
                </a:cxn>
                <a:cxn ang="0">
                  <a:pos x="657" y="292"/>
                </a:cxn>
                <a:cxn ang="0">
                  <a:pos x="717" y="289"/>
                </a:cxn>
                <a:cxn ang="0">
                  <a:pos x="773" y="244"/>
                </a:cxn>
                <a:cxn ang="0">
                  <a:pos x="771" y="181"/>
                </a:cxn>
                <a:cxn ang="0">
                  <a:pos x="838" y="179"/>
                </a:cxn>
                <a:cxn ang="0">
                  <a:pos x="878" y="119"/>
                </a:cxn>
              </a:cxnLst>
              <a:rect l="0" t="0" r="r" b="b"/>
              <a:pathLst>
                <a:path w="879" h="444">
                  <a:moveTo>
                    <a:pt x="878" y="119"/>
                  </a:moveTo>
                  <a:lnTo>
                    <a:pt x="748" y="73"/>
                  </a:lnTo>
                  <a:lnTo>
                    <a:pt x="691" y="112"/>
                  </a:lnTo>
                  <a:lnTo>
                    <a:pt x="607" y="60"/>
                  </a:lnTo>
                  <a:lnTo>
                    <a:pt x="544" y="52"/>
                  </a:lnTo>
                  <a:lnTo>
                    <a:pt x="544" y="96"/>
                  </a:lnTo>
                  <a:lnTo>
                    <a:pt x="449" y="23"/>
                  </a:lnTo>
                  <a:lnTo>
                    <a:pt x="393" y="30"/>
                  </a:lnTo>
                  <a:lnTo>
                    <a:pt x="324" y="20"/>
                  </a:lnTo>
                  <a:lnTo>
                    <a:pt x="265" y="39"/>
                  </a:lnTo>
                  <a:lnTo>
                    <a:pt x="94" y="0"/>
                  </a:lnTo>
                  <a:lnTo>
                    <a:pt x="78" y="46"/>
                  </a:lnTo>
                  <a:lnTo>
                    <a:pt x="27" y="37"/>
                  </a:lnTo>
                  <a:lnTo>
                    <a:pt x="0" y="50"/>
                  </a:lnTo>
                  <a:lnTo>
                    <a:pt x="102" y="200"/>
                  </a:lnTo>
                  <a:lnTo>
                    <a:pt x="130" y="163"/>
                  </a:lnTo>
                  <a:lnTo>
                    <a:pt x="218" y="209"/>
                  </a:lnTo>
                  <a:lnTo>
                    <a:pt x="230" y="280"/>
                  </a:lnTo>
                  <a:lnTo>
                    <a:pt x="355" y="273"/>
                  </a:lnTo>
                  <a:lnTo>
                    <a:pt x="399" y="342"/>
                  </a:lnTo>
                  <a:lnTo>
                    <a:pt x="404" y="407"/>
                  </a:lnTo>
                  <a:lnTo>
                    <a:pt x="455" y="410"/>
                  </a:lnTo>
                  <a:lnTo>
                    <a:pt x="505" y="443"/>
                  </a:lnTo>
                  <a:lnTo>
                    <a:pt x="530" y="352"/>
                  </a:lnTo>
                  <a:lnTo>
                    <a:pt x="622" y="377"/>
                  </a:lnTo>
                  <a:lnTo>
                    <a:pt x="699" y="358"/>
                  </a:lnTo>
                  <a:lnTo>
                    <a:pt x="657" y="292"/>
                  </a:lnTo>
                  <a:lnTo>
                    <a:pt x="717" y="289"/>
                  </a:lnTo>
                  <a:lnTo>
                    <a:pt x="773" y="244"/>
                  </a:lnTo>
                  <a:lnTo>
                    <a:pt x="771" y="181"/>
                  </a:lnTo>
                  <a:lnTo>
                    <a:pt x="838" y="179"/>
                  </a:lnTo>
                  <a:lnTo>
                    <a:pt x="878" y="119"/>
                  </a:lnTo>
                </a:path>
              </a:pathLst>
            </a:custGeom>
            <a:grpFill/>
            <a:ln w="12700" cap="rnd" cmpd="sng">
              <a:solidFill>
                <a:schemeClr val="bg1"/>
              </a:solidFill>
              <a:prstDash val="solid"/>
              <a:round/>
              <a:headEnd type="none" w="med" len="med"/>
              <a:tailEnd type="none" w="med" len="med"/>
            </a:ln>
            <a:effectLst/>
          </p:spPr>
          <p:txBody>
            <a:bodyPr/>
            <a:lstStyle/>
            <a:p>
              <a:pPr algn="ctr" defTabSz="685800" eaLnBrk="0" hangingPunct="0">
                <a:spcBef>
                  <a:spcPct val="50000"/>
                </a:spcBef>
                <a:buClrTx/>
                <a:defRPr/>
              </a:pPr>
              <a:endParaRPr lang="en-US" sz="900" kern="1200">
                <a:ea typeface="+mn-ea"/>
                <a:cs typeface="+mn-cs"/>
              </a:endParaRPr>
            </a:p>
          </p:txBody>
        </p:sp>
        <p:sp>
          <p:nvSpPr>
            <p:cNvPr id="26" name="Freeform 21"/>
            <p:cNvSpPr>
              <a:spLocks/>
            </p:cNvSpPr>
            <p:nvPr/>
          </p:nvSpPr>
          <p:spPr bwMode="gray">
            <a:xfrm>
              <a:off x="6692345" y="3599759"/>
              <a:ext cx="465423" cy="784890"/>
            </a:xfrm>
            <a:custGeom>
              <a:avLst/>
              <a:gdLst/>
              <a:ahLst/>
              <a:cxnLst>
                <a:cxn ang="0">
                  <a:pos x="24" y="669"/>
                </a:cxn>
                <a:cxn ang="0">
                  <a:pos x="144" y="688"/>
                </a:cxn>
                <a:cxn ang="0">
                  <a:pos x="209" y="712"/>
                </a:cxn>
                <a:cxn ang="0">
                  <a:pos x="284" y="705"/>
                </a:cxn>
                <a:cxn ang="0">
                  <a:pos x="337" y="736"/>
                </a:cxn>
                <a:cxn ang="0">
                  <a:pos x="404" y="742"/>
                </a:cxn>
                <a:cxn ang="0">
                  <a:pos x="422" y="639"/>
                </a:cxn>
                <a:cxn ang="0">
                  <a:pos x="371" y="582"/>
                </a:cxn>
                <a:cxn ang="0">
                  <a:pos x="526" y="600"/>
                </a:cxn>
                <a:cxn ang="0">
                  <a:pos x="520" y="551"/>
                </a:cxn>
                <a:cxn ang="0">
                  <a:pos x="461" y="455"/>
                </a:cxn>
                <a:cxn ang="0">
                  <a:pos x="464" y="370"/>
                </a:cxn>
                <a:cxn ang="0">
                  <a:pos x="411" y="313"/>
                </a:cxn>
                <a:cxn ang="0">
                  <a:pos x="410" y="215"/>
                </a:cxn>
                <a:cxn ang="0">
                  <a:pos x="454" y="190"/>
                </a:cxn>
                <a:cxn ang="0">
                  <a:pos x="415" y="103"/>
                </a:cxn>
                <a:cxn ang="0">
                  <a:pos x="449" y="11"/>
                </a:cxn>
                <a:cxn ang="0">
                  <a:pos x="366" y="0"/>
                </a:cxn>
                <a:cxn ang="0">
                  <a:pos x="321" y="67"/>
                </a:cxn>
                <a:cxn ang="0">
                  <a:pos x="283" y="72"/>
                </a:cxn>
                <a:cxn ang="0">
                  <a:pos x="194" y="186"/>
                </a:cxn>
                <a:cxn ang="0">
                  <a:pos x="157" y="262"/>
                </a:cxn>
                <a:cxn ang="0">
                  <a:pos x="253" y="288"/>
                </a:cxn>
                <a:cxn ang="0">
                  <a:pos x="275" y="342"/>
                </a:cxn>
                <a:cxn ang="0">
                  <a:pos x="251" y="380"/>
                </a:cxn>
                <a:cxn ang="0">
                  <a:pos x="264" y="411"/>
                </a:cxn>
                <a:cxn ang="0">
                  <a:pos x="237" y="423"/>
                </a:cxn>
                <a:cxn ang="0">
                  <a:pos x="201" y="423"/>
                </a:cxn>
                <a:cxn ang="0">
                  <a:pos x="166" y="455"/>
                </a:cxn>
                <a:cxn ang="0">
                  <a:pos x="101" y="441"/>
                </a:cxn>
                <a:cxn ang="0">
                  <a:pos x="54" y="507"/>
                </a:cxn>
                <a:cxn ang="0">
                  <a:pos x="76" y="520"/>
                </a:cxn>
                <a:cxn ang="0">
                  <a:pos x="63" y="591"/>
                </a:cxn>
                <a:cxn ang="0">
                  <a:pos x="0" y="606"/>
                </a:cxn>
                <a:cxn ang="0">
                  <a:pos x="24" y="669"/>
                </a:cxn>
              </a:cxnLst>
              <a:rect l="0" t="0" r="r" b="b"/>
              <a:pathLst>
                <a:path w="527" h="743">
                  <a:moveTo>
                    <a:pt x="24" y="669"/>
                  </a:moveTo>
                  <a:lnTo>
                    <a:pt x="144" y="688"/>
                  </a:lnTo>
                  <a:lnTo>
                    <a:pt x="209" y="712"/>
                  </a:lnTo>
                  <a:lnTo>
                    <a:pt x="284" y="705"/>
                  </a:lnTo>
                  <a:lnTo>
                    <a:pt x="337" y="736"/>
                  </a:lnTo>
                  <a:lnTo>
                    <a:pt x="404" y="742"/>
                  </a:lnTo>
                  <a:lnTo>
                    <a:pt x="422" y="639"/>
                  </a:lnTo>
                  <a:lnTo>
                    <a:pt x="371" y="582"/>
                  </a:lnTo>
                  <a:lnTo>
                    <a:pt x="526" y="600"/>
                  </a:lnTo>
                  <a:lnTo>
                    <a:pt x="520" y="551"/>
                  </a:lnTo>
                  <a:lnTo>
                    <a:pt x="461" y="455"/>
                  </a:lnTo>
                  <a:lnTo>
                    <a:pt x="464" y="370"/>
                  </a:lnTo>
                  <a:lnTo>
                    <a:pt x="411" y="313"/>
                  </a:lnTo>
                  <a:lnTo>
                    <a:pt x="410" y="215"/>
                  </a:lnTo>
                  <a:lnTo>
                    <a:pt x="454" y="190"/>
                  </a:lnTo>
                  <a:lnTo>
                    <a:pt x="415" y="103"/>
                  </a:lnTo>
                  <a:lnTo>
                    <a:pt x="449" y="11"/>
                  </a:lnTo>
                  <a:lnTo>
                    <a:pt x="366" y="0"/>
                  </a:lnTo>
                  <a:lnTo>
                    <a:pt x="321" y="67"/>
                  </a:lnTo>
                  <a:lnTo>
                    <a:pt x="283" y="72"/>
                  </a:lnTo>
                  <a:lnTo>
                    <a:pt x="194" y="186"/>
                  </a:lnTo>
                  <a:lnTo>
                    <a:pt x="157" y="262"/>
                  </a:lnTo>
                  <a:lnTo>
                    <a:pt x="253" y="288"/>
                  </a:lnTo>
                  <a:lnTo>
                    <a:pt x="275" y="342"/>
                  </a:lnTo>
                  <a:lnTo>
                    <a:pt x="251" y="380"/>
                  </a:lnTo>
                  <a:lnTo>
                    <a:pt x="264" y="411"/>
                  </a:lnTo>
                  <a:lnTo>
                    <a:pt x="237" y="423"/>
                  </a:lnTo>
                  <a:lnTo>
                    <a:pt x="201" y="423"/>
                  </a:lnTo>
                  <a:lnTo>
                    <a:pt x="166" y="455"/>
                  </a:lnTo>
                  <a:lnTo>
                    <a:pt x="101" y="441"/>
                  </a:lnTo>
                  <a:lnTo>
                    <a:pt x="54" y="507"/>
                  </a:lnTo>
                  <a:lnTo>
                    <a:pt x="76" y="520"/>
                  </a:lnTo>
                  <a:lnTo>
                    <a:pt x="63" y="591"/>
                  </a:lnTo>
                  <a:lnTo>
                    <a:pt x="0" y="606"/>
                  </a:lnTo>
                  <a:lnTo>
                    <a:pt x="24" y="669"/>
                  </a:lnTo>
                </a:path>
              </a:pathLst>
            </a:custGeom>
            <a:grpFill/>
            <a:ln w="12700" cap="rnd" cmpd="sng">
              <a:solidFill>
                <a:schemeClr val="bg1"/>
              </a:solidFill>
              <a:prstDash val="solid"/>
              <a:round/>
              <a:headEnd type="none" w="med" len="med"/>
              <a:tailEnd type="none" w="med" len="med"/>
            </a:ln>
            <a:effectLst/>
          </p:spPr>
          <p:txBody>
            <a:bodyPr/>
            <a:lstStyle/>
            <a:p>
              <a:pPr algn="ctr" defTabSz="685800" eaLnBrk="0" hangingPunct="0">
                <a:spcBef>
                  <a:spcPct val="50000"/>
                </a:spcBef>
                <a:buClrTx/>
                <a:defRPr/>
              </a:pPr>
              <a:endParaRPr lang="en-US" sz="900" kern="1200">
                <a:ea typeface="+mn-ea"/>
                <a:cs typeface="+mn-cs"/>
              </a:endParaRPr>
            </a:p>
          </p:txBody>
        </p:sp>
        <p:sp>
          <p:nvSpPr>
            <p:cNvPr id="27" name="Freeform 24"/>
            <p:cNvSpPr>
              <a:spLocks/>
            </p:cNvSpPr>
            <p:nvPr/>
          </p:nvSpPr>
          <p:spPr bwMode="gray">
            <a:xfrm>
              <a:off x="7415956" y="3650868"/>
              <a:ext cx="543655" cy="377867"/>
            </a:xfrm>
            <a:custGeom>
              <a:avLst/>
              <a:gdLst/>
              <a:ahLst/>
              <a:cxnLst>
                <a:cxn ang="0">
                  <a:pos x="215" y="20"/>
                </a:cxn>
                <a:cxn ang="0">
                  <a:pos x="291" y="14"/>
                </a:cxn>
                <a:cxn ang="0">
                  <a:pos x="316" y="69"/>
                </a:cxn>
                <a:cxn ang="0">
                  <a:pos x="400" y="93"/>
                </a:cxn>
                <a:cxn ang="0">
                  <a:pos x="471" y="0"/>
                </a:cxn>
                <a:cxn ang="0">
                  <a:pos x="552" y="20"/>
                </a:cxn>
                <a:cxn ang="0">
                  <a:pos x="665" y="11"/>
                </a:cxn>
                <a:cxn ang="0">
                  <a:pos x="680" y="63"/>
                </a:cxn>
                <a:cxn ang="0">
                  <a:pos x="558" y="154"/>
                </a:cxn>
                <a:cxn ang="0">
                  <a:pos x="501" y="154"/>
                </a:cxn>
                <a:cxn ang="0">
                  <a:pos x="486" y="224"/>
                </a:cxn>
                <a:cxn ang="0">
                  <a:pos x="424" y="287"/>
                </a:cxn>
                <a:cxn ang="0">
                  <a:pos x="375" y="330"/>
                </a:cxn>
                <a:cxn ang="0">
                  <a:pos x="289" y="329"/>
                </a:cxn>
                <a:cxn ang="0">
                  <a:pos x="243" y="352"/>
                </a:cxn>
                <a:cxn ang="0">
                  <a:pos x="203" y="334"/>
                </a:cxn>
                <a:cxn ang="0">
                  <a:pos x="130" y="344"/>
                </a:cxn>
                <a:cxn ang="0">
                  <a:pos x="66" y="359"/>
                </a:cxn>
                <a:cxn ang="0">
                  <a:pos x="11" y="322"/>
                </a:cxn>
                <a:cxn ang="0">
                  <a:pos x="60" y="257"/>
                </a:cxn>
                <a:cxn ang="0">
                  <a:pos x="0" y="217"/>
                </a:cxn>
                <a:cxn ang="0">
                  <a:pos x="10" y="152"/>
                </a:cxn>
                <a:cxn ang="0">
                  <a:pos x="42" y="119"/>
                </a:cxn>
                <a:cxn ang="0">
                  <a:pos x="88" y="73"/>
                </a:cxn>
                <a:cxn ang="0">
                  <a:pos x="141" y="67"/>
                </a:cxn>
                <a:cxn ang="0">
                  <a:pos x="215" y="20"/>
                </a:cxn>
              </a:cxnLst>
              <a:rect l="0" t="0" r="r" b="b"/>
              <a:pathLst>
                <a:path w="681" h="360">
                  <a:moveTo>
                    <a:pt x="215" y="20"/>
                  </a:moveTo>
                  <a:lnTo>
                    <a:pt x="291" y="14"/>
                  </a:lnTo>
                  <a:lnTo>
                    <a:pt x="316" y="69"/>
                  </a:lnTo>
                  <a:lnTo>
                    <a:pt x="400" y="93"/>
                  </a:lnTo>
                  <a:lnTo>
                    <a:pt x="471" y="0"/>
                  </a:lnTo>
                  <a:lnTo>
                    <a:pt x="552" y="20"/>
                  </a:lnTo>
                  <a:lnTo>
                    <a:pt x="665" y="11"/>
                  </a:lnTo>
                  <a:lnTo>
                    <a:pt x="680" y="63"/>
                  </a:lnTo>
                  <a:lnTo>
                    <a:pt x="558" y="154"/>
                  </a:lnTo>
                  <a:lnTo>
                    <a:pt x="501" y="154"/>
                  </a:lnTo>
                  <a:lnTo>
                    <a:pt x="486" y="224"/>
                  </a:lnTo>
                  <a:lnTo>
                    <a:pt x="424" y="287"/>
                  </a:lnTo>
                  <a:lnTo>
                    <a:pt x="375" y="330"/>
                  </a:lnTo>
                  <a:lnTo>
                    <a:pt x="289" y="329"/>
                  </a:lnTo>
                  <a:lnTo>
                    <a:pt x="243" y="352"/>
                  </a:lnTo>
                  <a:lnTo>
                    <a:pt x="203" y="334"/>
                  </a:lnTo>
                  <a:lnTo>
                    <a:pt x="130" y="344"/>
                  </a:lnTo>
                  <a:lnTo>
                    <a:pt x="66" y="359"/>
                  </a:lnTo>
                  <a:lnTo>
                    <a:pt x="11" y="322"/>
                  </a:lnTo>
                  <a:lnTo>
                    <a:pt x="60" y="257"/>
                  </a:lnTo>
                  <a:lnTo>
                    <a:pt x="0" y="217"/>
                  </a:lnTo>
                  <a:lnTo>
                    <a:pt x="10" y="152"/>
                  </a:lnTo>
                  <a:lnTo>
                    <a:pt x="42" y="119"/>
                  </a:lnTo>
                  <a:lnTo>
                    <a:pt x="88" y="73"/>
                  </a:lnTo>
                  <a:lnTo>
                    <a:pt x="141" y="67"/>
                  </a:lnTo>
                  <a:lnTo>
                    <a:pt x="215" y="20"/>
                  </a:lnTo>
                </a:path>
              </a:pathLst>
            </a:custGeom>
            <a:grpFill/>
            <a:ln w="12700" cap="rnd" cmpd="sng">
              <a:solidFill>
                <a:schemeClr val="bg1"/>
              </a:solidFill>
              <a:prstDash val="solid"/>
              <a:round/>
              <a:headEnd type="none" w="med" len="med"/>
              <a:tailEnd type="none" w="med" len="med"/>
            </a:ln>
            <a:effectLst/>
          </p:spPr>
          <p:txBody>
            <a:bodyPr/>
            <a:lstStyle/>
            <a:p>
              <a:pPr algn="ctr" defTabSz="685800" eaLnBrk="0" hangingPunct="0">
                <a:spcBef>
                  <a:spcPct val="50000"/>
                </a:spcBef>
                <a:buClrTx/>
                <a:defRPr/>
              </a:pPr>
              <a:endParaRPr lang="en-US" sz="900" kern="1200">
                <a:ea typeface="+mn-ea"/>
                <a:cs typeface="+mn-cs"/>
              </a:endParaRPr>
            </a:p>
          </p:txBody>
        </p:sp>
        <p:sp>
          <p:nvSpPr>
            <p:cNvPr id="28" name="Freeform 25"/>
            <p:cNvSpPr>
              <a:spLocks/>
            </p:cNvSpPr>
            <p:nvPr/>
          </p:nvSpPr>
          <p:spPr bwMode="gray">
            <a:xfrm>
              <a:off x="7075660" y="3873624"/>
              <a:ext cx="490904" cy="485162"/>
            </a:xfrm>
            <a:custGeom>
              <a:avLst/>
              <a:gdLst/>
              <a:ahLst/>
              <a:cxnLst>
                <a:cxn ang="0">
                  <a:pos x="287" y="29"/>
                </a:cxn>
                <a:cxn ang="0">
                  <a:pos x="379" y="27"/>
                </a:cxn>
                <a:cxn ang="0">
                  <a:pos x="430" y="0"/>
                </a:cxn>
                <a:cxn ang="0">
                  <a:pos x="489" y="33"/>
                </a:cxn>
                <a:cxn ang="0">
                  <a:pos x="441" y="101"/>
                </a:cxn>
                <a:cxn ang="0">
                  <a:pos x="486" y="134"/>
                </a:cxn>
                <a:cxn ang="0">
                  <a:pos x="562" y="122"/>
                </a:cxn>
                <a:cxn ang="0">
                  <a:pos x="616" y="185"/>
                </a:cxn>
                <a:cxn ang="0">
                  <a:pos x="585" y="239"/>
                </a:cxn>
                <a:cxn ang="0">
                  <a:pos x="511" y="218"/>
                </a:cxn>
                <a:cxn ang="0">
                  <a:pos x="510" y="272"/>
                </a:cxn>
                <a:cxn ang="0">
                  <a:pos x="491" y="303"/>
                </a:cxn>
                <a:cxn ang="0">
                  <a:pos x="527" y="363"/>
                </a:cxn>
                <a:cxn ang="0">
                  <a:pos x="574" y="341"/>
                </a:cxn>
                <a:cxn ang="0">
                  <a:pos x="612" y="409"/>
                </a:cxn>
                <a:cxn ang="0">
                  <a:pos x="544" y="458"/>
                </a:cxn>
                <a:cxn ang="0">
                  <a:pos x="394" y="442"/>
                </a:cxn>
                <a:cxn ang="0">
                  <a:pos x="341" y="400"/>
                </a:cxn>
                <a:cxn ang="0">
                  <a:pos x="185" y="396"/>
                </a:cxn>
                <a:cxn ang="0">
                  <a:pos x="68" y="336"/>
                </a:cxn>
                <a:cxn ang="0">
                  <a:pos x="60" y="291"/>
                </a:cxn>
                <a:cxn ang="0">
                  <a:pos x="0" y="195"/>
                </a:cxn>
                <a:cxn ang="0">
                  <a:pos x="89" y="185"/>
                </a:cxn>
                <a:cxn ang="0">
                  <a:pos x="133" y="122"/>
                </a:cxn>
                <a:cxn ang="0">
                  <a:pos x="270" y="96"/>
                </a:cxn>
                <a:cxn ang="0">
                  <a:pos x="287" y="29"/>
                </a:cxn>
              </a:cxnLst>
              <a:rect l="0" t="0" r="r" b="b"/>
              <a:pathLst>
                <a:path w="617" h="459">
                  <a:moveTo>
                    <a:pt x="287" y="29"/>
                  </a:moveTo>
                  <a:lnTo>
                    <a:pt x="379" y="27"/>
                  </a:lnTo>
                  <a:lnTo>
                    <a:pt x="430" y="0"/>
                  </a:lnTo>
                  <a:lnTo>
                    <a:pt x="489" y="33"/>
                  </a:lnTo>
                  <a:lnTo>
                    <a:pt x="441" y="101"/>
                  </a:lnTo>
                  <a:lnTo>
                    <a:pt x="486" y="134"/>
                  </a:lnTo>
                  <a:lnTo>
                    <a:pt x="562" y="122"/>
                  </a:lnTo>
                  <a:lnTo>
                    <a:pt x="616" y="185"/>
                  </a:lnTo>
                  <a:lnTo>
                    <a:pt x="585" y="239"/>
                  </a:lnTo>
                  <a:lnTo>
                    <a:pt x="511" y="218"/>
                  </a:lnTo>
                  <a:lnTo>
                    <a:pt x="510" y="272"/>
                  </a:lnTo>
                  <a:lnTo>
                    <a:pt x="491" y="303"/>
                  </a:lnTo>
                  <a:lnTo>
                    <a:pt x="527" y="363"/>
                  </a:lnTo>
                  <a:lnTo>
                    <a:pt x="574" y="341"/>
                  </a:lnTo>
                  <a:lnTo>
                    <a:pt x="612" y="409"/>
                  </a:lnTo>
                  <a:lnTo>
                    <a:pt x="544" y="458"/>
                  </a:lnTo>
                  <a:lnTo>
                    <a:pt x="394" y="442"/>
                  </a:lnTo>
                  <a:lnTo>
                    <a:pt x="341" y="400"/>
                  </a:lnTo>
                  <a:lnTo>
                    <a:pt x="185" y="396"/>
                  </a:lnTo>
                  <a:lnTo>
                    <a:pt x="68" y="336"/>
                  </a:lnTo>
                  <a:lnTo>
                    <a:pt x="60" y="291"/>
                  </a:lnTo>
                  <a:lnTo>
                    <a:pt x="0" y="195"/>
                  </a:lnTo>
                  <a:lnTo>
                    <a:pt x="89" y="185"/>
                  </a:lnTo>
                  <a:lnTo>
                    <a:pt x="133" y="122"/>
                  </a:lnTo>
                  <a:lnTo>
                    <a:pt x="270" y="96"/>
                  </a:lnTo>
                  <a:lnTo>
                    <a:pt x="287" y="29"/>
                  </a:lnTo>
                </a:path>
              </a:pathLst>
            </a:custGeom>
            <a:grpFill/>
            <a:ln w="12700" cap="rnd" cmpd="sng">
              <a:solidFill>
                <a:schemeClr val="bg1"/>
              </a:solidFill>
              <a:prstDash val="solid"/>
              <a:round/>
              <a:headEnd type="none" w="med" len="med"/>
              <a:tailEnd type="none" w="med" len="med"/>
            </a:ln>
            <a:effectLst/>
          </p:spPr>
          <p:txBody>
            <a:bodyPr/>
            <a:lstStyle/>
            <a:p>
              <a:pPr algn="ctr" defTabSz="685800" eaLnBrk="0" hangingPunct="0">
                <a:spcBef>
                  <a:spcPct val="50000"/>
                </a:spcBef>
                <a:buClrTx/>
                <a:defRPr/>
              </a:pPr>
              <a:endParaRPr lang="en-US" sz="900" kern="1200">
                <a:ea typeface="+mn-ea"/>
                <a:cs typeface="+mn-cs"/>
              </a:endParaRPr>
            </a:p>
          </p:txBody>
        </p:sp>
        <p:sp>
          <p:nvSpPr>
            <p:cNvPr id="29" name="Freeform 26"/>
            <p:cNvSpPr>
              <a:spLocks/>
            </p:cNvSpPr>
            <p:nvPr/>
          </p:nvSpPr>
          <p:spPr bwMode="gray">
            <a:xfrm>
              <a:off x="7519523" y="3953319"/>
              <a:ext cx="507052" cy="398859"/>
            </a:xfrm>
            <a:custGeom>
              <a:avLst/>
              <a:gdLst/>
              <a:ahLst/>
              <a:cxnLst>
                <a:cxn ang="0">
                  <a:pos x="0" y="57"/>
                </a:cxn>
                <a:cxn ang="0">
                  <a:pos x="71" y="49"/>
                </a:cxn>
                <a:cxn ang="0">
                  <a:pos x="115" y="68"/>
                </a:cxn>
                <a:cxn ang="0">
                  <a:pos x="153" y="43"/>
                </a:cxn>
                <a:cxn ang="0">
                  <a:pos x="243" y="44"/>
                </a:cxn>
                <a:cxn ang="0">
                  <a:pos x="293" y="0"/>
                </a:cxn>
                <a:cxn ang="0">
                  <a:pos x="396" y="44"/>
                </a:cxn>
                <a:cxn ang="0">
                  <a:pos x="446" y="80"/>
                </a:cxn>
                <a:cxn ang="0">
                  <a:pos x="529" y="215"/>
                </a:cxn>
                <a:cxn ang="0">
                  <a:pos x="624" y="247"/>
                </a:cxn>
                <a:cxn ang="0">
                  <a:pos x="568" y="277"/>
                </a:cxn>
                <a:cxn ang="0">
                  <a:pos x="634" y="298"/>
                </a:cxn>
                <a:cxn ang="0">
                  <a:pos x="567" y="331"/>
                </a:cxn>
                <a:cxn ang="0">
                  <a:pos x="508" y="379"/>
                </a:cxn>
                <a:cxn ang="0">
                  <a:pos x="429" y="365"/>
                </a:cxn>
                <a:cxn ang="0">
                  <a:pos x="337" y="376"/>
                </a:cxn>
                <a:cxn ang="0">
                  <a:pos x="327" y="322"/>
                </a:cxn>
                <a:cxn ang="0">
                  <a:pos x="293" y="269"/>
                </a:cxn>
                <a:cxn ang="0">
                  <a:pos x="286" y="231"/>
                </a:cxn>
                <a:cxn ang="0">
                  <a:pos x="220" y="203"/>
                </a:cxn>
                <a:cxn ang="0">
                  <a:pos x="236" y="165"/>
                </a:cxn>
                <a:cxn ang="0">
                  <a:pos x="210" y="131"/>
                </a:cxn>
                <a:cxn ang="0">
                  <a:pos x="117" y="145"/>
                </a:cxn>
                <a:cxn ang="0">
                  <a:pos x="55" y="126"/>
                </a:cxn>
                <a:cxn ang="0">
                  <a:pos x="0" y="57"/>
                </a:cxn>
              </a:cxnLst>
              <a:rect l="0" t="0" r="r" b="b"/>
              <a:pathLst>
                <a:path w="635" h="380">
                  <a:moveTo>
                    <a:pt x="0" y="57"/>
                  </a:moveTo>
                  <a:lnTo>
                    <a:pt x="71" y="49"/>
                  </a:lnTo>
                  <a:lnTo>
                    <a:pt x="115" y="68"/>
                  </a:lnTo>
                  <a:lnTo>
                    <a:pt x="153" y="43"/>
                  </a:lnTo>
                  <a:lnTo>
                    <a:pt x="243" y="44"/>
                  </a:lnTo>
                  <a:lnTo>
                    <a:pt x="293" y="0"/>
                  </a:lnTo>
                  <a:lnTo>
                    <a:pt x="396" y="44"/>
                  </a:lnTo>
                  <a:lnTo>
                    <a:pt x="446" y="80"/>
                  </a:lnTo>
                  <a:lnTo>
                    <a:pt x="529" y="215"/>
                  </a:lnTo>
                  <a:lnTo>
                    <a:pt x="624" y="247"/>
                  </a:lnTo>
                  <a:lnTo>
                    <a:pt x="568" y="277"/>
                  </a:lnTo>
                  <a:lnTo>
                    <a:pt x="634" y="298"/>
                  </a:lnTo>
                  <a:lnTo>
                    <a:pt x="567" y="331"/>
                  </a:lnTo>
                  <a:lnTo>
                    <a:pt x="508" y="379"/>
                  </a:lnTo>
                  <a:lnTo>
                    <a:pt x="429" y="365"/>
                  </a:lnTo>
                  <a:lnTo>
                    <a:pt x="337" y="376"/>
                  </a:lnTo>
                  <a:lnTo>
                    <a:pt x="327" y="322"/>
                  </a:lnTo>
                  <a:lnTo>
                    <a:pt x="293" y="269"/>
                  </a:lnTo>
                  <a:lnTo>
                    <a:pt x="286" y="231"/>
                  </a:lnTo>
                  <a:lnTo>
                    <a:pt x="220" y="203"/>
                  </a:lnTo>
                  <a:lnTo>
                    <a:pt x="236" y="165"/>
                  </a:lnTo>
                  <a:lnTo>
                    <a:pt x="210" y="131"/>
                  </a:lnTo>
                  <a:lnTo>
                    <a:pt x="117" y="145"/>
                  </a:lnTo>
                  <a:lnTo>
                    <a:pt x="55" y="126"/>
                  </a:lnTo>
                  <a:lnTo>
                    <a:pt x="0" y="57"/>
                  </a:lnTo>
                </a:path>
              </a:pathLst>
            </a:custGeom>
            <a:grpFill/>
            <a:ln w="12700" cap="rnd" cmpd="sng">
              <a:solidFill>
                <a:schemeClr val="bg1"/>
              </a:solidFill>
              <a:prstDash val="solid"/>
              <a:round/>
              <a:headEnd type="none" w="med" len="med"/>
              <a:tailEnd type="none" w="med" len="med"/>
            </a:ln>
            <a:effectLst/>
          </p:spPr>
          <p:txBody>
            <a:bodyPr/>
            <a:lstStyle/>
            <a:p>
              <a:pPr algn="ctr" defTabSz="685800" eaLnBrk="0" hangingPunct="0">
                <a:spcBef>
                  <a:spcPct val="50000"/>
                </a:spcBef>
                <a:buClrTx/>
                <a:defRPr/>
              </a:pPr>
              <a:endParaRPr lang="en-US" sz="900" kern="1200">
                <a:ea typeface="+mn-ea"/>
                <a:cs typeface="+mn-cs"/>
              </a:endParaRPr>
            </a:p>
          </p:txBody>
        </p:sp>
        <p:sp>
          <p:nvSpPr>
            <p:cNvPr id="30" name="Freeform 27"/>
            <p:cNvSpPr>
              <a:spLocks/>
            </p:cNvSpPr>
            <p:nvPr/>
          </p:nvSpPr>
          <p:spPr bwMode="gray">
            <a:xfrm>
              <a:off x="7764811" y="4251490"/>
              <a:ext cx="328346" cy="465335"/>
            </a:xfrm>
            <a:custGeom>
              <a:avLst/>
              <a:gdLst/>
              <a:ahLst/>
              <a:cxnLst>
                <a:cxn ang="0">
                  <a:pos x="328" y="0"/>
                </a:cxn>
                <a:cxn ang="0">
                  <a:pos x="259" y="33"/>
                </a:cxn>
                <a:cxn ang="0">
                  <a:pos x="200" y="81"/>
                </a:cxn>
                <a:cxn ang="0">
                  <a:pos x="118" y="70"/>
                </a:cxn>
                <a:cxn ang="0">
                  <a:pos x="98" y="143"/>
                </a:cxn>
                <a:cxn ang="0">
                  <a:pos x="44" y="157"/>
                </a:cxn>
                <a:cxn ang="0">
                  <a:pos x="0" y="256"/>
                </a:cxn>
                <a:cxn ang="0">
                  <a:pos x="32" y="373"/>
                </a:cxn>
                <a:cxn ang="0">
                  <a:pos x="88" y="382"/>
                </a:cxn>
                <a:cxn ang="0">
                  <a:pos x="133" y="440"/>
                </a:cxn>
                <a:cxn ang="0">
                  <a:pos x="179" y="437"/>
                </a:cxn>
                <a:cxn ang="0">
                  <a:pos x="210" y="416"/>
                </a:cxn>
                <a:cxn ang="0">
                  <a:pos x="293" y="422"/>
                </a:cxn>
                <a:cxn ang="0">
                  <a:pos x="335" y="332"/>
                </a:cxn>
                <a:cxn ang="0">
                  <a:pos x="391" y="315"/>
                </a:cxn>
                <a:cxn ang="0">
                  <a:pos x="366" y="231"/>
                </a:cxn>
                <a:cxn ang="0">
                  <a:pos x="409" y="203"/>
                </a:cxn>
                <a:cxn ang="0">
                  <a:pos x="396" y="156"/>
                </a:cxn>
                <a:cxn ang="0">
                  <a:pos x="252" y="121"/>
                </a:cxn>
                <a:cxn ang="0">
                  <a:pos x="360" y="63"/>
                </a:cxn>
                <a:cxn ang="0">
                  <a:pos x="328" y="0"/>
                </a:cxn>
              </a:cxnLst>
              <a:rect l="0" t="0" r="r" b="b"/>
              <a:pathLst>
                <a:path w="410" h="441">
                  <a:moveTo>
                    <a:pt x="328" y="0"/>
                  </a:moveTo>
                  <a:lnTo>
                    <a:pt x="259" y="33"/>
                  </a:lnTo>
                  <a:lnTo>
                    <a:pt x="200" y="81"/>
                  </a:lnTo>
                  <a:lnTo>
                    <a:pt x="118" y="70"/>
                  </a:lnTo>
                  <a:lnTo>
                    <a:pt x="98" y="143"/>
                  </a:lnTo>
                  <a:lnTo>
                    <a:pt x="44" y="157"/>
                  </a:lnTo>
                  <a:lnTo>
                    <a:pt x="0" y="256"/>
                  </a:lnTo>
                  <a:lnTo>
                    <a:pt x="32" y="373"/>
                  </a:lnTo>
                  <a:lnTo>
                    <a:pt x="88" y="382"/>
                  </a:lnTo>
                  <a:lnTo>
                    <a:pt x="133" y="440"/>
                  </a:lnTo>
                  <a:lnTo>
                    <a:pt x="179" y="437"/>
                  </a:lnTo>
                  <a:lnTo>
                    <a:pt x="210" y="416"/>
                  </a:lnTo>
                  <a:lnTo>
                    <a:pt x="293" y="422"/>
                  </a:lnTo>
                  <a:lnTo>
                    <a:pt x="335" y="332"/>
                  </a:lnTo>
                  <a:lnTo>
                    <a:pt x="391" y="315"/>
                  </a:lnTo>
                  <a:lnTo>
                    <a:pt x="366" y="231"/>
                  </a:lnTo>
                  <a:lnTo>
                    <a:pt x="409" y="203"/>
                  </a:lnTo>
                  <a:lnTo>
                    <a:pt x="396" y="156"/>
                  </a:lnTo>
                  <a:lnTo>
                    <a:pt x="252" y="121"/>
                  </a:lnTo>
                  <a:lnTo>
                    <a:pt x="360" y="63"/>
                  </a:lnTo>
                  <a:lnTo>
                    <a:pt x="328" y="0"/>
                  </a:lnTo>
                </a:path>
              </a:pathLst>
            </a:custGeom>
            <a:grpFill/>
            <a:ln w="12700" cap="rnd" cmpd="sng">
              <a:solidFill>
                <a:schemeClr val="bg1"/>
              </a:solidFill>
              <a:prstDash val="solid"/>
              <a:round/>
              <a:headEnd type="none" w="med" len="med"/>
              <a:tailEnd type="none" w="med" len="med"/>
            </a:ln>
            <a:effectLst/>
          </p:spPr>
          <p:txBody>
            <a:bodyPr/>
            <a:lstStyle/>
            <a:p>
              <a:pPr algn="ctr" defTabSz="685800" eaLnBrk="0" hangingPunct="0">
                <a:spcBef>
                  <a:spcPct val="50000"/>
                </a:spcBef>
                <a:buClrTx/>
                <a:defRPr/>
              </a:pPr>
              <a:endParaRPr lang="en-US" sz="900" kern="1200">
                <a:ea typeface="+mn-ea"/>
                <a:cs typeface="+mn-cs"/>
              </a:endParaRPr>
            </a:p>
          </p:txBody>
        </p:sp>
        <p:sp>
          <p:nvSpPr>
            <p:cNvPr id="31" name="Freeform 28"/>
            <p:cNvSpPr>
              <a:spLocks/>
            </p:cNvSpPr>
            <p:nvPr/>
          </p:nvSpPr>
          <p:spPr bwMode="gray">
            <a:xfrm>
              <a:off x="7465697" y="4076747"/>
              <a:ext cx="396168" cy="454840"/>
            </a:xfrm>
            <a:custGeom>
              <a:avLst/>
              <a:gdLst/>
              <a:ahLst/>
              <a:cxnLst>
                <a:cxn ang="0">
                  <a:pos x="119" y="2"/>
                </a:cxn>
                <a:cxn ang="0">
                  <a:pos x="181" y="17"/>
                </a:cxn>
                <a:cxn ang="0">
                  <a:pos x="285" y="0"/>
                </a:cxn>
                <a:cxn ang="0">
                  <a:pos x="303" y="40"/>
                </a:cxn>
                <a:cxn ang="0">
                  <a:pos x="289" y="80"/>
                </a:cxn>
                <a:cxn ang="0">
                  <a:pos x="353" y="104"/>
                </a:cxn>
                <a:cxn ang="0">
                  <a:pos x="358" y="144"/>
                </a:cxn>
                <a:cxn ang="0">
                  <a:pos x="395" y="201"/>
                </a:cxn>
                <a:cxn ang="0">
                  <a:pos x="407" y="246"/>
                </a:cxn>
                <a:cxn ang="0">
                  <a:pos x="492" y="241"/>
                </a:cxn>
                <a:cxn ang="0">
                  <a:pos x="469" y="316"/>
                </a:cxn>
                <a:cxn ang="0">
                  <a:pos x="410" y="330"/>
                </a:cxn>
                <a:cxn ang="0">
                  <a:pos x="373" y="430"/>
                </a:cxn>
                <a:cxn ang="0">
                  <a:pos x="318" y="430"/>
                </a:cxn>
                <a:cxn ang="0">
                  <a:pos x="286" y="403"/>
                </a:cxn>
                <a:cxn ang="0">
                  <a:pos x="234" y="425"/>
                </a:cxn>
                <a:cxn ang="0">
                  <a:pos x="192" y="395"/>
                </a:cxn>
                <a:cxn ang="0">
                  <a:pos x="158" y="405"/>
                </a:cxn>
                <a:cxn ang="0">
                  <a:pos x="111" y="350"/>
                </a:cxn>
                <a:cxn ang="0">
                  <a:pos x="113" y="296"/>
                </a:cxn>
                <a:cxn ang="0">
                  <a:pos x="51" y="271"/>
                </a:cxn>
                <a:cxn ang="0">
                  <a:pos x="112" y="222"/>
                </a:cxn>
                <a:cxn ang="0">
                  <a:pos x="79" y="159"/>
                </a:cxn>
                <a:cxn ang="0">
                  <a:pos x="37" y="175"/>
                </a:cxn>
                <a:cxn ang="0">
                  <a:pos x="0" y="116"/>
                </a:cxn>
                <a:cxn ang="0">
                  <a:pos x="12" y="88"/>
                </a:cxn>
                <a:cxn ang="0">
                  <a:pos x="19" y="29"/>
                </a:cxn>
                <a:cxn ang="0">
                  <a:pos x="91" y="49"/>
                </a:cxn>
                <a:cxn ang="0">
                  <a:pos x="119" y="2"/>
                </a:cxn>
              </a:cxnLst>
              <a:rect l="0" t="0" r="r" b="b"/>
              <a:pathLst>
                <a:path w="493" h="431">
                  <a:moveTo>
                    <a:pt x="119" y="2"/>
                  </a:moveTo>
                  <a:lnTo>
                    <a:pt x="181" y="17"/>
                  </a:lnTo>
                  <a:lnTo>
                    <a:pt x="285" y="0"/>
                  </a:lnTo>
                  <a:lnTo>
                    <a:pt x="303" y="40"/>
                  </a:lnTo>
                  <a:lnTo>
                    <a:pt x="289" y="80"/>
                  </a:lnTo>
                  <a:lnTo>
                    <a:pt x="353" y="104"/>
                  </a:lnTo>
                  <a:lnTo>
                    <a:pt x="358" y="144"/>
                  </a:lnTo>
                  <a:lnTo>
                    <a:pt x="395" y="201"/>
                  </a:lnTo>
                  <a:lnTo>
                    <a:pt x="407" y="246"/>
                  </a:lnTo>
                  <a:lnTo>
                    <a:pt x="492" y="241"/>
                  </a:lnTo>
                  <a:lnTo>
                    <a:pt x="469" y="316"/>
                  </a:lnTo>
                  <a:lnTo>
                    <a:pt x="410" y="330"/>
                  </a:lnTo>
                  <a:lnTo>
                    <a:pt x="373" y="430"/>
                  </a:lnTo>
                  <a:lnTo>
                    <a:pt x="318" y="430"/>
                  </a:lnTo>
                  <a:lnTo>
                    <a:pt x="286" y="403"/>
                  </a:lnTo>
                  <a:lnTo>
                    <a:pt x="234" y="425"/>
                  </a:lnTo>
                  <a:lnTo>
                    <a:pt x="192" y="395"/>
                  </a:lnTo>
                  <a:lnTo>
                    <a:pt x="158" y="405"/>
                  </a:lnTo>
                  <a:lnTo>
                    <a:pt x="111" y="350"/>
                  </a:lnTo>
                  <a:lnTo>
                    <a:pt x="113" y="296"/>
                  </a:lnTo>
                  <a:lnTo>
                    <a:pt x="51" y="271"/>
                  </a:lnTo>
                  <a:lnTo>
                    <a:pt x="112" y="222"/>
                  </a:lnTo>
                  <a:lnTo>
                    <a:pt x="79" y="159"/>
                  </a:lnTo>
                  <a:lnTo>
                    <a:pt x="37" y="175"/>
                  </a:lnTo>
                  <a:lnTo>
                    <a:pt x="0" y="116"/>
                  </a:lnTo>
                  <a:lnTo>
                    <a:pt x="12" y="88"/>
                  </a:lnTo>
                  <a:lnTo>
                    <a:pt x="19" y="29"/>
                  </a:lnTo>
                  <a:lnTo>
                    <a:pt x="91" y="49"/>
                  </a:lnTo>
                  <a:lnTo>
                    <a:pt x="119" y="2"/>
                  </a:lnTo>
                </a:path>
              </a:pathLst>
            </a:custGeom>
            <a:solidFill>
              <a:srgbClr val="81BC00"/>
            </a:solidFill>
            <a:ln w="12700" cap="rnd" cmpd="sng">
              <a:solidFill>
                <a:schemeClr val="bg1"/>
              </a:solidFill>
              <a:prstDash val="solid"/>
              <a:round/>
              <a:headEnd type="none" w="med" len="med"/>
              <a:tailEnd type="none" w="med" len="med"/>
            </a:ln>
            <a:effectLst/>
          </p:spPr>
          <p:txBody>
            <a:bodyPr/>
            <a:lstStyle/>
            <a:p>
              <a:pPr algn="ctr" defTabSz="685800" eaLnBrk="0" hangingPunct="0">
                <a:spcBef>
                  <a:spcPct val="50000"/>
                </a:spcBef>
                <a:buClrTx/>
                <a:defRPr/>
              </a:pPr>
              <a:endParaRPr lang="en-US" sz="900" kern="1200">
                <a:ea typeface="+mn-ea"/>
                <a:cs typeface="+mn-cs"/>
              </a:endParaRPr>
            </a:p>
          </p:txBody>
        </p:sp>
        <p:sp>
          <p:nvSpPr>
            <p:cNvPr id="32" name="Freeform 29"/>
            <p:cNvSpPr>
              <a:spLocks/>
            </p:cNvSpPr>
            <p:nvPr/>
          </p:nvSpPr>
          <p:spPr bwMode="gray">
            <a:xfrm>
              <a:off x="6976994" y="4222334"/>
              <a:ext cx="635161" cy="432681"/>
            </a:xfrm>
            <a:custGeom>
              <a:avLst/>
              <a:gdLst/>
              <a:ahLst/>
              <a:cxnLst>
                <a:cxn ang="0">
                  <a:pos x="56" y="0"/>
                </a:cxn>
                <a:cxn ang="0">
                  <a:pos x="213" y="12"/>
                </a:cxn>
                <a:cxn ang="0">
                  <a:pos x="331" y="73"/>
                </a:cxn>
                <a:cxn ang="0">
                  <a:pos x="481" y="76"/>
                </a:cxn>
                <a:cxn ang="0">
                  <a:pos x="541" y="118"/>
                </a:cxn>
                <a:cxn ang="0">
                  <a:pos x="687" y="133"/>
                </a:cxn>
                <a:cxn ang="0">
                  <a:pos x="750" y="159"/>
                </a:cxn>
                <a:cxn ang="0">
                  <a:pos x="746" y="211"/>
                </a:cxn>
                <a:cxn ang="0">
                  <a:pos x="794" y="265"/>
                </a:cxn>
                <a:cxn ang="0">
                  <a:pos x="700" y="296"/>
                </a:cxn>
                <a:cxn ang="0">
                  <a:pos x="592" y="366"/>
                </a:cxn>
                <a:cxn ang="0">
                  <a:pos x="525" y="314"/>
                </a:cxn>
                <a:cxn ang="0">
                  <a:pos x="474" y="350"/>
                </a:cxn>
                <a:cxn ang="0">
                  <a:pos x="441" y="335"/>
                </a:cxn>
                <a:cxn ang="0">
                  <a:pos x="398" y="351"/>
                </a:cxn>
                <a:cxn ang="0">
                  <a:pos x="359" y="326"/>
                </a:cxn>
                <a:cxn ang="0">
                  <a:pos x="238" y="323"/>
                </a:cxn>
                <a:cxn ang="0">
                  <a:pos x="198" y="385"/>
                </a:cxn>
                <a:cxn ang="0">
                  <a:pos x="147" y="363"/>
                </a:cxn>
                <a:cxn ang="0">
                  <a:pos x="87" y="407"/>
                </a:cxn>
                <a:cxn ang="0">
                  <a:pos x="10" y="367"/>
                </a:cxn>
                <a:cxn ang="0">
                  <a:pos x="0" y="285"/>
                </a:cxn>
                <a:cxn ang="0">
                  <a:pos x="117" y="249"/>
                </a:cxn>
                <a:cxn ang="0">
                  <a:pos x="128" y="188"/>
                </a:cxn>
                <a:cxn ang="0">
                  <a:pos x="86" y="156"/>
                </a:cxn>
                <a:cxn ang="0">
                  <a:pos x="111" y="59"/>
                </a:cxn>
                <a:cxn ang="0">
                  <a:pos x="56" y="0"/>
                </a:cxn>
              </a:cxnLst>
              <a:rect l="0" t="0" r="r" b="b"/>
              <a:pathLst>
                <a:path w="795" h="408">
                  <a:moveTo>
                    <a:pt x="56" y="0"/>
                  </a:moveTo>
                  <a:lnTo>
                    <a:pt x="213" y="12"/>
                  </a:lnTo>
                  <a:lnTo>
                    <a:pt x="331" y="73"/>
                  </a:lnTo>
                  <a:lnTo>
                    <a:pt x="481" y="76"/>
                  </a:lnTo>
                  <a:lnTo>
                    <a:pt x="541" y="118"/>
                  </a:lnTo>
                  <a:lnTo>
                    <a:pt x="687" y="133"/>
                  </a:lnTo>
                  <a:lnTo>
                    <a:pt x="750" y="159"/>
                  </a:lnTo>
                  <a:lnTo>
                    <a:pt x="746" y="211"/>
                  </a:lnTo>
                  <a:lnTo>
                    <a:pt x="794" y="265"/>
                  </a:lnTo>
                  <a:lnTo>
                    <a:pt x="700" y="296"/>
                  </a:lnTo>
                  <a:lnTo>
                    <a:pt x="592" y="366"/>
                  </a:lnTo>
                  <a:lnTo>
                    <a:pt x="525" y="314"/>
                  </a:lnTo>
                  <a:lnTo>
                    <a:pt x="474" y="350"/>
                  </a:lnTo>
                  <a:lnTo>
                    <a:pt x="441" y="335"/>
                  </a:lnTo>
                  <a:lnTo>
                    <a:pt x="398" y="351"/>
                  </a:lnTo>
                  <a:lnTo>
                    <a:pt x="359" y="326"/>
                  </a:lnTo>
                  <a:lnTo>
                    <a:pt x="238" y="323"/>
                  </a:lnTo>
                  <a:lnTo>
                    <a:pt x="198" y="385"/>
                  </a:lnTo>
                  <a:lnTo>
                    <a:pt x="147" y="363"/>
                  </a:lnTo>
                  <a:lnTo>
                    <a:pt x="87" y="407"/>
                  </a:lnTo>
                  <a:lnTo>
                    <a:pt x="10" y="367"/>
                  </a:lnTo>
                  <a:lnTo>
                    <a:pt x="0" y="285"/>
                  </a:lnTo>
                  <a:lnTo>
                    <a:pt x="117" y="249"/>
                  </a:lnTo>
                  <a:lnTo>
                    <a:pt x="128" y="188"/>
                  </a:lnTo>
                  <a:lnTo>
                    <a:pt x="86" y="156"/>
                  </a:lnTo>
                  <a:lnTo>
                    <a:pt x="111" y="59"/>
                  </a:lnTo>
                  <a:lnTo>
                    <a:pt x="56" y="0"/>
                  </a:lnTo>
                </a:path>
              </a:pathLst>
            </a:custGeom>
            <a:grpFill/>
            <a:ln w="12700" cap="rnd" cmpd="sng">
              <a:solidFill>
                <a:schemeClr val="bg1"/>
              </a:solidFill>
              <a:prstDash val="solid"/>
              <a:round/>
              <a:headEnd type="none" w="med" len="med"/>
              <a:tailEnd type="none" w="med" len="med"/>
            </a:ln>
            <a:effectLst/>
          </p:spPr>
          <p:txBody>
            <a:bodyPr/>
            <a:lstStyle/>
            <a:p>
              <a:pPr algn="ctr" defTabSz="685800" eaLnBrk="0" hangingPunct="0">
                <a:spcBef>
                  <a:spcPct val="50000"/>
                </a:spcBef>
                <a:buClrTx/>
                <a:defRPr/>
              </a:pPr>
              <a:endParaRPr lang="en-US" sz="900" kern="1200">
                <a:ea typeface="+mn-ea"/>
                <a:cs typeface="+mn-cs"/>
              </a:endParaRPr>
            </a:p>
          </p:txBody>
        </p:sp>
        <p:sp>
          <p:nvSpPr>
            <p:cNvPr id="33" name="Freeform 30"/>
            <p:cNvSpPr>
              <a:spLocks/>
            </p:cNvSpPr>
            <p:nvPr/>
          </p:nvSpPr>
          <p:spPr bwMode="gray">
            <a:xfrm>
              <a:off x="6592099" y="4671343"/>
              <a:ext cx="522124" cy="489828"/>
            </a:xfrm>
            <a:custGeom>
              <a:avLst/>
              <a:gdLst/>
              <a:ahLst/>
              <a:cxnLst>
                <a:cxn ang="0">
                  <a:pos x="93" y="129"/>
                </a:cxn>
                <a:cxn ang="0">
                  <a:pos x="88" y="208"/>
                </a:cxn>
                <a:cxn ang="0">
                  <a:pos x="0" y="216"/>
                </a:cxn>
                <a:cxn ang="0">
                  <a:pos x="0" y="285"/>
                </a:cxn>
                <a:cxn ang="0">
                  <a:pos x="84" y="292"/>
                </a:cxn>
                <a:cxn ang="0">
                  <a:pos x="73" y="358"/>
                </a:cxn>
                <a:cxn ang="0">
                  <a:pos x="111" y="404"/>
                </a:cxn>
                <a:cxn ang="0">
                  <a:pos x="101" y="464"/>
                </a:cxn>
                <a:cxn ang="0">
                  <a:pos x="189" y="428"/>
                </a:cxn>
                <a:cxn ang="0">
                  <a:pos x="281" y="452"/>
                </a:cxn>
                <a:cxn ang="0">
                  <a:pos x="281" y="418"/>
                </a:cxn>
                <a:cxn ang="0">
                  <a:pos x="381" y="366"/>
                </a:cxn>
                <a:cxn ang="0">
                  <a:pos x="469" y="392"/>
                </a:cxn>
                <a:cxn ang="0">
                  <a:pos x="506" y="364"/>
                </a:cxn>
                <a:cxn ang="0">
                  <a:pos x="568" y="360"/>
                </a:cxn>
                <a:cxn ang="0">
                  <a:pos x="602" y="317"/>
                </a:cxn>
                <a:cxn ang="0">
                  <a:pos x="653" y="302"/>
                </a:cxn>
                <a:cxn ang="0">
                  <a:pos x="625" y="246"/>
                </a:cxn>
                <a:cxn ang="0">
                  <a:pos x="635" y="194"/>
                </a:cxn>
                <a:cxn ang="0">
                  <a:pos x="560" y="199"/>
                </a:cxn>
                <a:cxn ang="0">
                  <a:pos x="602" y="156"/>
                </a:cxn>
                <a:cxn ang="0">
                  <a:pos x="565" y="65"/>
                </a:cxn>
                <a:cxn ang="0">
                  <a:pos x="519" y="69"/>
                </a:cxn>
                <a:cxn ang="0">
                  <a:pos x="476" y="2"/>
                </a:cxn>
                <a:cxn ang="0">
                  <a:pos x="386" y="0"/>
                </a:cxn>
                <a:cxn ang="0">
                  <a:pos x="309" y="71"/>
                </a:cxn>
                <a:cxn ang="0">
                  <a:pos x="252" y="53"/>
                </a:cxn>
                <a:cxn ang="0">
                  <a:pos x="203" y="84"/>
                </a:cxn>
                <a:cxn ang="0">
                  <a:pos x="258" y="126"/>
                </a:cxn>
                <a:cxn ang="0">
                  <a:pos x="250" y="158"/>
                </a:cxn>
                <a:cxn ang="0">
                  <a:pos x="174" y="151"/>
                </a:cxn>
                <a:cxn ang="0">
                  <a:pos x="173" y="124"/>
                </a:cxn>
                <a:cxn ang="0">
                  <a:pos x="169" y="124"/>
                </a:cxn>
                <a:cxn ang="0">
                  <a:pos x="161" y="124"/>
                </a:cxn>
                <a:cxn ang="0">
                  <a:pos x="149" y="125"/>
                </a:cxn>
                <a:cxn ang="0">
                  <a:pos x="134" y="125"/>
                </a:cxn>
                <a:cxn ang="0">
                  <a:pos x="119" y="126"/>
                </a:cxn>
                <a:cxn ang="0">
                  <a:pos x="107" y="127"/>
                </a:cxn>
                <a:cxn ang="0">
                  <a:pos x="97" y="128"/>
                </a:cxn>
                <a:cxn ang="0">
                  <a:pos x="93" y="129"/>
                </a:cxn>
              </a:cxnLst>
              <a:rect l="0" t="0" r="r" b="b"/>
              <a:pathLst>
                <a:path w="654" h="465">
                  <a:moveTo>
                    <a:pt x="93" y="129"/>
                  </a:moveTo>
                  <a:lnTo>
                    <a:pt x="88" y="208"/>
                  </a:lnTo>
                  <a:lnTo>
                    <a:pt x="0" y="216"/>
                  </a:lnTo>
                  <a:lnTo>
                    <a:pt x="0" y="285"/>
                  </a:lnTo>
                  <a:lnTo>
                    <a:pt x="84" y="292"/>
                  </a:lnTo>
                  <a:lnTo>
                    <a:pt x="73" y="358"/>
                  </a:lnTo>
                  <a:lnTo>
                    <a:pt x="111" y="404"/>
                  </a:lnTo>
                  <a:lnTo>
                    <a:pt x="101" y="464"/>
                  </a:lnTo>
                  <a:lnTo>
                    <a:pt x="189" y="428"/>
                  </a:lnTo>
                  <a:lnTo>
                    <a:pt x="281" y="452"/>
                  </a:lnTo>
                  <a:lnTo>
                    <a:pt x="281" y="418"/>
                  </a:lnTo>
                  <a:lnTo>
                    <a:pt x="381" y="366"/>
                  </a:lnTo>
                  <a:lnTo>
                    <a:pt x="469" y="392"/>
                  </a:lnTo>
                  <a:lnTo>
                    <a:pt x="506" y="364"/>
                  </a:lnTo>
                  <a:lnTo>
                    <a:pt x="568" y="360"/>
                  </a:lnTo>
                  <a:lnTo>
                    <a:pt x="602" y="317"/>
                  </a:lnTo>
                  <a:lnTo>
                    <a:pt x="653" y="302"/>
                  </a:lnTo>
                  <a:lnTo>
                    <a:pt x="625" y="246"/>
                  </a:lnTo>
                  <a:lnTo>
                    <a:pt x="635" y="194"/>
                  </a:lnTo>
                  <a:lnTo>
                    <a:pt x="560" y="199"/>
                  </a:lnTo>
                  <a:lnTo>
                    <a:pt x="602" y="156"/>
                  </a:lnTo>
                  <a:lnTo>
                    <a:pt x="565" y="65"/>
                  </a:lnTo>
                  <a:lnTo>
                    <a:pt x="519" y="69"/>
                  </a:lnTo>
                  <a:lnTo>
                    <a:pt x="476" y="2"/>
                  </a:lnTo>
                  <a:lnTo>
                    <a:pt x="386" y="0"/>
                  </a:lnTo>
                  <a:lnTo>
                    <a:pt x="309" y="71"/>
                  </a:lnTo>
                  <a:lnTo>
                    <a:pt x="252" y="53"/>
                  </a:lnTo>
                  <a:lnTo>
                    <a:pt x="203" y="84"/>
                  </a:lnTo>
                  <a:lnTo>
                    <a:pt x="258" y="126"/>
                  </a:lnTo>
                  <a:lnTo>
                    <a:pt x="250" y="158"/>
                  </a:lnTo>
                  <a:lnTo>
                    <a:pt x="174" y="151"/>
                  </a:lnTo>
                  <a:lnTo>
                    <a:pt x="173" y="124"/>
                  </a:lnTo>
                  <a:lnTo>
                    <a:pt x="169" y="124"/>
                  </a:lnTo>
                  <a:lnTo>
                    <a:pt x="161" y="124"/>
                  </a:lnTo>
                  <a:lnTo>
                    <a:pt x="149" y="125"/>
                  </a:lnTo>
                  <a:lnTo>
                    <a:pt x="134" y="125"/>
                  </a:lnTo>
                  <a:lnTo>
                    <a:pt x="119" y="126"/>
                  </a:lnTo>
                  <a:lnTo>
                    <a:pt x="107" y="127"/>
                  </a:lnTo>
                  <a:lnTo>
                    <a:pt x="97" y="128"/>
                  </a:lnTo>
                  <a:lnTo>
                    <a:pt x="93" y="129"/>
                  </a:lnTo>
                </a:path>
              </a:pathLst>
            </a:custGeom>
            <a:grpFill/>
            <a:ln w="12700" cap="rnd" cmpd="sng">
              <a:solidFill>
                <a:schemeClr val="bg1"/>
              </a:solidFill>
              <a:prstDash val="solid"/>
              <a:round/>
              <a:headEnd type="none" w="med" len="med"/>
              <a:tailEnd type="none" w="med" len="med"/>
            </a:ln>
            <a:effectLst/>
          </p:spPr>
          <p:txBody>
            <a:bodyPr/>
            <a:lstStyle/>
            <a:p>
              <a:pPr algn="ctr" defTabSz="685800" eaLnBrk="0" hangingPunct="0">
                <a:spcBef>
                  <a:spcPct val="50000"/>
                </a:spcBef>
                <a:buClrTx/>
                <a:defRPr/>
              </a:pPr>
              <a:endParaRPr lang="en-US" sz="900" kern="1200">
                <a:ea typeface="+mn-ea"/>
                <a:cs typeface="+mn-cs"/>
              </a:endParaRPr>
            </a:p>
          </p:txBody>
        </p:sp>
        <p:sp>
          <p:nvSpPr>
            <p:cNvPr id="34" name="Freeform 31"/>
            <p:cNvSpPr>
              <a:spLocks/>
            </p:cNvSpPr>
            <p:nvPr/>
          </p:nvSpPr>
          <p:spPr bwMode="gray">
            <a:xfrm>
              <a:off x="7991799" y="4969904"/>
              <a:ext cx="159328" cy="391862"/>
            </a:xfrm>
            <a:custGeom>
              <a:avLst/>
              <a:gdLst/>
              <a:ahLst/>
              <a:cxnLst>
                <a:cxn ang="0">
                  <a:pos x="143" y="0"/>
                </a:cxn>
                <a:cxn ang="0">
                  <a:pos x="69" y="23"/>
                </a:cxn>
                <a:cxn ang="0">
                  <a:pos x="10" y="132"/>
                </a:cxn>
                <a:cxn ang="0">
                  <a:pos x="12" y="177"/>
                </a:cxn>
                <a:cxn ang="0">
                  <a:pos x="35" y="175"/>
                </a:cxn>
                <a:cxn ang="0">
                  <a:pos x="39" y="213"/>
                </a:cxn>
                <a:cxn ang="0">
                  <a:pos x="0" y="219"/>
                </a:cxn>
                <a:cxn ang="0">
                  <a:pos x="16" y="271"/>
                </a:cxn>
                <a:cxn ang="0">
                  <a:pos x="41" y="277"/>
                </a:cxn>
                <a:cxn ang="0">
                  <a:pos x="85" y="371"/>
                </a:cxn>
                <a:cxn ang="0">
                  <a:pos x="111" y="371"/>
                </a:cxn>
                <a:cxn ang="0">
                  <a:pos x="131" y="322"/>
                </a:cxn>
                <a:cxn ang="0">
                  <a:pos x="123" y="268"/>
                </a:cxn>
                <a:cxn ang="0">
                  <a:pos x="149" y="262"/>
                </a:cxn>
                <a:cxn ang="0">
                  <a:pos x="143" y="232"/>
                </a:cxn>
                <a:cxn ang="0">
                  <a:pos x="166" y="211"/>
                </a:cxn>
                <a:cxn ang="0">
                  <a:pos x="159" y="89"/>
                </a:cxn>
                <a:cxn ang="0">
                  <a:pos x="189" y="78"/>
                </a:cxn>
                <a:cxn ang="0">
                  <a:pos x="198" y="40"/>
                </a:cxn>
                <a:cxn ang="0">
                  <a:pos x="143" y="0"/>
                </a:cxn>
              </a:cxnLst>
              <a:rect l="0" t="0" r="r" b="b"/>
              <a:pathLst>
                <a:path w="199" h="372">
                  <a:moveTo>
                    <a:pt x="143" y="0"/>
                  </a:moveTo>
                  <a:lnTo>
                    <a:pt x="69" y="23"/>
                  </a:lnTo>
                  <a:lnTo>
                    <a:pt x="10" y="132"/>
                  </a:lnTo>
                  <a:lnTo>
                    <a:pt x="12" y="177"/>
                  </a:lnTo>
                  <a:lnTo>
                    <a:pt x="35" y="175"/>
                  </a:lnTo>
                  <a:lnTo>
                    <a:pt x="39" y="213"/>
                  </a:lnTo>
                  <a:lnTo>
                    <a:pt x="0" y="219"/>
                  </a:lnTo>
                  <a:lnTo>
                    <a:pt x="16" y="271"/>
                  </a:lnTo>
                  <a:lnTo>
                    <a:pt x="41" y="277"/>
                  </a:lnTo>
                  <a:lnTo>
                    <a:pt x="85" y="371"/>
                  </a:lnTo>
                  <a:lnTo>
                    <a:pt x="111" y="371"/>
                  </a:lnTo>
                  <a:lnTo>
                    <a:pt x="131" y="322"/>
                  </a:lnTo>
                  <a:lnTo>
                    <a:pt x="123" y="268"/>
                  </a:lnTo>
                  <a:lnTo>
                    <a:pt x="149" y="262"/>
                  </a:lnTo>
                  <a:lnTo>
                    <a:pt x="143" y="232"/>
                  </a:lnTo>
                  <a:lnTo>
                    <a:pt x="166" y="211"/>
                  </a:lnTo>
                  <a:lnTo>
                    <a:pt x="159" y="89"/>
                  </a:lnTo>
                  <a:lnTo>
                    <a:pt x="189" y="78"/>
                  </a:lnTo>
                  <a:lnTo>
                    <a:pt x="198" y="40"/>
                  </a:lnTo>
                  <a:lnTo>
                    <a:pt x="143" y="0"/>
                  </a:lnTo>
                </a:path>
              </a:pathLst>
            </a:custGeom>
            <a:grpFill/>
            <a:ln w="12700" cap="rnd" cmpd="sng">
              <a:solidFill>
                <a:schemeClr val="bg1"/>
              </a:solidFill>
              <a:prstDash val="solid"/>
              <a:round/>
              <a:headEnd type="none" w="med" len="med"/>
              <a:tailEnd type="none" w="med" len="med"/>
            </a:ln>
            <a:effectLst/>
          </p:spPr>
          <p:txBody>
            <a:bodyPr/>
            <a:lstStyle/>
            <a:p>
              <a:pPr algn="ctr" defTabSz="685800" eaLnBrk="0" hangingPunct="0">
                <a:spcBef>
                  <a:spcPct val="50000"/>
                </a:spcBef>
                <a:buClrTx/>
                <a:defRPr/>
              </a:pPr>
              <a:endParaRPr lang="en-US" sz="900" kern="1200">
                <a:ea typeface="+mn-ea"/>
                <a:cs typeface="+mn-cs"/>
              </a:endParaRPr>
            </a:p>
          </p:txBody>
        </p:sp>
        <p:sp>
          <p:nvSpPr>
            <p:cNvPr id="35" name="Freeform 32"/>
            <p:cNvSpPr>
              <a:spLocks/>
            </p:cNvSpPr>
            <p:nvPr/>
          </p:nvSpPr>
          <p:spPr bwMode="gray">
            <a:xfrm>
              <a:off x="7011067" y="4560548"/>
              <a:ext cx="465067" cy="558636"/>
            </a:xfrm>
            <a:custGeom>
              <a:avLst/>
              <a:gdLst/>
              <a:ahLst/>
              <a:cxnLst>
                <a:cxn ang="0">
                  <a:pos x="11" y="191"/>
                </a:cxn>
                <a:cxn ang="0">
                  <a:pos x="23" y="92"/>
                </a:cxn>
                <a:cxn ang="0">
                  <a:pos x="81" y="51"/>
                </a:cxn>
                <a:cxn ang="0">
                  <a:pos x="137" y="69"/>
                </a:cxn>
                <a:cxn ang="0">
                  <a:pos x="173" y="3"/>
                </a:cxn>
                <a:cxn ang="0">
                  <a:pos x="300" y="9"/>
                </a:cxn>
                <a:cxn ang="0">
                  <a:pos x="331" y="36"/>
                </a:cxn>
                <a:cxn ang="0">
                  <a:pos x="377" y="11"/>
                </a:cxn>
                <a:cxn ang="0">
                  <a:pos x="406" y="38"/>
                </a:cxn>
                <a:cxn ang="0">
                  <a:pos x="465" y="0"/>
                </a:cxn>
                <a:cxn ang="0">
                  <a:pos x="528" y="51"/>
                </a:cxn>
                <a:cxn ang="0">
                  <a:pos x="510" y="120"/>
                </a:cxn>
                <a:cxn ang="0">
                  <a:pos x="551" y="172"/>
                </a:cxn>
                <a:cxn ang="0">
                  <a:pos x="510" y="214"/>
                </a:cxn>
                <a:cxn ang="0">
                  <a:pos x="541" y="309"/>
                </a:cxn>
                <a:cxn ang="0">
                  <a:pos x="580" y="324"/>
                </a:cxn>
                <a:cxn ang="0">
                  <a:pos x="582" y="446"/>
                </a:cxn>
                <a:cxn ang="0">
                  <a:pos x="464" y="441"/>
                </a:cxn>
                <a:cxn ang="0">
                  <a:pos x="458" y="482"/>
                </a:cxn>
                <a:cxn ang="0">
                  <a:pos x="388" y="487"/>
                </a:cxn>
                <a:cxn ang="0">
                  <a:pos x="377" y="529"/>
                </a:cxn>
                <a:cxn ang="0">
                  <a:pos x="246" y="506"/>
                </a:cxn>
                <a:cxn ang="0">
                  <a:pos x="298" y="431"/>
                </a:cxn>
                <a:cxn ang="0">
                  <a:pos x="243" y="386"/>
                </a:cxn>
                <a:cxn ang="0">
                  <a:pos x="178" y="412"/>
                </a:cxn>
                <a:cxn ang="0">
                  <a:pos x="145" y="392"/>
                </a:cxn>
                <a:cxn ang="0">
                  <a:pos x="90" y="424"/>
                </a:cxn>
                <a:cxn ang="0">
                  <a:pos x="67" y="378"/>
                </a:cxn>
                <a:cxn ang="0">
                  <a:pos x="76" y="325"/>
                </a:cxn>
                <a:cxn ang="0">
                  <a:pos x="0" y="328"/>
                </a:cxn>
                <a:cxn ang="0">
                  <a:pos x="48" y="287"/>
                </a:cxn>
                <a:cxn ang="0">
                  <a:pos x="11" y="191"/>
                </a:cxn>
              </a:cxnLst>
              <a:rect l="0" t="0" r="r" b="b"/>
              <a:pathLst>
                <a:path w="583" h="530">
                  <a:moveTo>
                    <a:pt x="11" y="191"/>
                  </a:moveTo>
                  <a:lnTo>
                    <a:pt x="23" y="92"/>
                  </a:lnTo>
                  <a:lnTo>
                    <a:pt x="81" y="51"/>
                  </a:lnTo>
                  <a:lnTo>
                    <a:pt x="137" y="69"/>
                  </a:lnTo>
                  <a:lnTo>
                    <a:pt x="173" y="3"/>
                  </a:lnTo>
                  <a:lnTo>
                    <a:pt x="300" y="9"/>
                  </a:lnTo>
                  <a:lnTo>
                    <a:pt x="331" y="36"/>
                  </a:lnTo>
                  <a:lnTo>
                    <a:pt x="377" y="11"/>
                  </a:lnTo>
                  <a:lnTo>
                    <a:pt x="406" y="38"/>
                  </a:lnTo>
                  <a:lnTo>
                    <a:pt x="465" y="0"/>
                  </a:lnTo>
                  <a:lnTo>
                    <a:pt x="528" y="51"/>
                  </a:lnTo>
                  <a:lnTo>
                    <a:pt x="510" y="120"/>
                  </a:lnTo>
                  <a:lnTo>
                    <a:pt x="551" y="172"/>
                  </a:lnTo>
                  <a:lnTo>
                    <a:pt x="510" y="214"/>
                  </a:lnTo>
                  <a:lnTo>
                    <a:pt x="541" y="309"/>
                  </a:lnTo>
                  <a:lnTo>
                    <a:pt x="580" y="324"/>
                  </a:lnTo>
                  <a:lnTo>
                    <a:pt x="582" y="446"/>
                  </a:lnTo>
                  <a:lnTo>
                    <a:pt x="464" y="441"/>
                  </a:lnTo>
                  <a:lnTo>
                    <a:pt x="458" y="482"/>
                  </a:lnTo>
                  <a:lnTo>
                    <a:pt x="388" y="487"/>
                  </a:lnTo>
                  <a:lnTo>
                    <a:pt x="377" y="529"/>
                  </a:lnTo>
                  <a:lnTo>
                    <a:pt x="246" y="506"/>
                  </a:lnTo>
                  <a:lnTo>
                    <a:pt x="298" y="431"/>
                  </a:lnTo>
                  <a:lnTo>
                    <a:pt x="243" y="386"/>
                  </a:lnTo>
                  <a:lnTo>
                    <a:pt x="178" y="412"/>
                  </a:lnTo>
                  <a:lnTo>
                    <a:pt x="145" y="392"/>
                  </a:lnTo>
                  <a:lnTo>
                    <a:pt x="90" y="424"/>
                  </a:lnTo>
                  <a:lnTo>
                    <a:pt x="67" y="378"/>
                  </a:lnTo>
                  <a:lnTo>
                    <a:pt x="76" y="325"/>
                  </a:lnTo>
                  <a:lnTo>
                    <a:pt x="0" y="328"/>
                  </a:lnTo>
                  <a:lnTo>
                    <a:pt x="48" y="287"/>
                  </a:lnTo>
                  <a:lnTo>
                    <a:pt x="11" y="191"/>
                  </a:lnTo>
                </a:path>
              </a:pathLst>
            </a:custGeom>
            <a:grpFill/>
            <a:ln w="12700" cap="rnd" cmpd="sng">
              <a:solidFill>
                <a:schemeClr val="bg1"/>
              </a:solidFill>
              <a:prstDash val="solid"/>
              <a:round/>
              <a:headEnd type="none" w="med" len="med"/>
              <a:tailEnd type="none" w="med" len="med"/>
            </a:ln>
            <a:effectLst/>
          </p:spPr>
          <p:txBody>
            <a:bodyPr/>
            <a:lstStyle/>
            <a:p>
              <a:pPr algn="ctr" defTabSz="685800" eaLnBrk="0" hangingPunct="0">
                <a:spcBef>
                  <a:spcPct val="50000"/>
                </a:spcBef>
                <a:buClrTx/>
                <a:defRPr/>
              </a:pPr>
              <a:endParaRPr lang="en-US" sz="900" kern="1200">
                <a:ea typeface="+mn-ea"/>
                <a:cs typeface="+mn-cs"/>
              </a:endParaRPr>
            </a:p>
          </p:txBody>
        </p:sp>
        <p:sp>
          <p:nvSpPr>
            <p:cNvPr id="36" name="Freeform 33"/>
            <p:cNvSpPr>
              <a:spLocks/>
            </p:cNvSpPr>
            <p:nvPr/>
          </p:nvSpPr>
          <p:spPr bwMode="gray">
            <a:xfrm>
              <a:off x="7421984" y="4483166"/>
              <a:ext cx="385403" cy="616949"/>
            </a:xfrm>
            <a:custGeom>
              <a:avLst/>
              <a:gdLst/>
              <a:ahLst/>
              <a:cxnLst>
                <a:cxn ang="0">
                  <a:pos x="17" y="105"/>
                </a:cxn>
                <a:cxn ang="0">
                  <a:pos x="1" y="170"/>
                </a:cxn>
                <a:cxn ang="0">
                  <a:pos x="40" y="229"/>
                </a:cxn>
                <a:cxn ang="0">
                  <a:pos x="0" y="269"/>
                </a:cxn>
                <a:cxn ang="0">
                  <a:pos x="28" y="364"/>
                </a:cxn>
                <a:cxn ang="0">
                  <a:pos x="66" y="383"/>
                </a:cxn>
                <a:cxn ang="0">
                  <a:pos x="72" y="496"/>
                </a:cxn>
                <a:cxn ang="0">
                  <a:pos x="163" y="496"/>
                </a:cxn>
                <a:cxn ang="0">
                  <a:pos x="123" y="566"/>
                </a:cxn>
                <a:cxn ang="0">
                  <a:pos x="288" y="549"/>
                </a:cxn>
                <a:cxn ang="0">
                  <a:pos x="298" y="433"/>
                </a:cxn>
                <a:cxn ang="0">
                  <a:pos x="334" y="368"/>
                </a:cxn>
                <a:cxn ang="0">
                  <a:pos x="320" y="309"/>
                </a:cxn>
                <a:cxn ang="0">
                  <a:pos x="379" y="280"/>
                </a:cxn>
                <a:cxn ang="0">
                  <a:pos x="381" y="195"/>
                </a:cxn>
                <a:cxn ang="0">
                  <a:pos x="441" y="189"/>
                </a:cxn>
                <a:cxn ang="0">
                  <a:pos x="484" y="155"/>
                </a:cxn>
                <a:cxn ang="0">
                  <a:pos x="442" y="33"/>
                </a:cxn>
                <a:cxn ang="0">
                  <a:pos x="387" y="36"/>
                </a:cxn>
                <a:cxn ang="0">
                  <a:pos x="353" y="5"/>
                </a:cxn>
                <a:cxn ang="0">
                  <a:pos x="302" y="32"/>
                </a:cxn>
                <a:cxn ang="0">
                  <a:pos x="264" y="0"/>
                </a:cxn>
                <a:cxn ang="0">
                  <a:pos x="224" y="8"/>
                </a:cxn>
                <a:cxn ang="0">
                  <a:pos x="142" y="30"/>
                </a:cxn>
                <a:cxn ang="0">
                  <a:pos x="141" y="30"/>
                </a:cxn>
                <a:cxn ang="0">
                  <a:pos x="136" y="32"/>
                </a:cxn>
                <a:cxn ang="0">
                  <a:pos x="130" y="36"/>
                </a:cxn>
                <a:cxn ang="0">
                  <a:pos x="122" y="41"/>
                </a:cxn>
                <a:cxn ang="0">
                  <a:pos x="112" y="46"/>
                </a:cxn>
                <a:cxn ang="0">
                  <a:pos x="101" y="53"/>
                </a:cxn>
                <a:cxn ang="0">
                  <a:pos x="90" y="59"/>
                </a:cxn>
                <a:cxn ang="0">
                  <a:pos x="78" y="66"/>
                </a:cxn>
                <a:cxn ang="0">
                  <a:pos x="66" y="74"/>
                </a:cxn>
                <a:cxn ang="0">
                  <a:pos x="55" y="80"/>
                </a:cxn>
                <a:cxn ang="0">
                  <a:pos x="44" y="86"/>
                </a:cxn>
                <a:cxn ang="0">
                  <a:pos x="35" y="92"/>
                </a:cxn>
                <a:cxn ang="0">
                  <a:pos x="28" y="97"/>
                </a:cxn>
                <a:cxn ang="0">
                  <a:pos x="21" y="101"/>
                </a:cxn>
                <a:cxn ang="0">
                  <a:pos x="18" y="104"/>
                </a:cxn>
                <a:cxn ang="0">
                  <a:pos x="17" y="105"/>
                </a:cxn>
              </a:cxnLst>
              <a:rect l="0" t="0" r="r" b="b"/>
              <a:pathLst>
                <a:path w="485" h="567">
                  <a:moveTo>
                    <a:pt x="17" y="105"/>
                  </a:moveTo>
                  <a:lnTo>
                    <a:pt x="1" y="170"/>
                  </a:lnTo>
                  <a:lnTo>
                    <a:pt x="40" y="229"/>
                  </a:lnTo>
                  <a:lnTo>
                    <a:pt x="0" y="269"/>
                  </a:lnTo>
                  <a:lnTo>
                    <a:pt x="28" y="364"/>
                  </a:lnTo>
                  <a:lnTo>
                    <a:pt x="66" y="383"/>
                  </a:lnTo>
                  <a:lnTo>
                    <a:pt x="72" y="496"/>
                  </a:lnTo>
                  <a:lnTo>
                    <a:pt x="163" y="496"/>
                  </a:lnTo>
                  <a:lnTo>
                    <a:pt x="123" y="566"/>
                  </a:lnTo>
                  <a:lnTo>
                    <a:pt x="288" y="549"/>
                  </a:lnTo>
                  <a:lnTo>
                    <a:pt x="298" y="433"/>
                  </a:lnTo>
                  <a:lnTo>
                    <a:pt x="334" y="368"/>
                  </a:lnTo>
                  <a:lnTo>
                    <a:pt x="320" y="309"/>
                  </a:lnTo>
                  <a:lnTo>
                    <a:pt x="379" y="280"/>
                  </a:lnTo>
                  <a:lnTo>
                    <a:pt x="381" y="195"/>
                  </a:lnTo>
                  <a:lnTo>
                    <a:pt x="441" y="189"/>
                  </a:lnTo>
                  <a:lnTo>
                    <a:pt x="484" y="155"/>
                  </a:lnTo>
                  <a:lnTo>
                    <a:pt x="442" y="33"/>
                  </a:lnTo>
                  <a:lnTo>
                    <a:pt x="387" y="36"/>
                  </a:lnTo>
                  <a:lnTo>
                    <a:pt x="353" y="5"/>
                  </a:lnTo>
                  <a:lnTo>
                    <a:pt x="302" y="32"/>
                  </a:lnTo>
                  <a:lnTo>
                    <a:pt x="264" y="0"/>
                  </a:lnTo>
                  <a:lnTo>
                    <a:pt x="224" y="8"/>
                  </a:lnTo>
                  <a:lnTo>
                    <a:pt x="142" y="30"/>
                  </a:lnTo>
                  <a:lnTo>
                    <a:pt x="141" y="30"/>
                  </a:lnTo>
                  <a:lnTo>
                    <a:pt x="136" y="32"/>
                  </a:lnTo>
                  <a:lnTo>
                    <a:pt x="130" y="36"/>
                  </a:lnTo>
                  <a:lnTo>
                    <a:pt x="122" y="41"/>
                  </a:lnTo>
                  <a:lnTo>
                    <a:pt x="112" y="46"/>
                  </a:lnTo>
                  <a:lnTo>
                    <a:pt x="101" y="53"/>
                  </a:lnTo>
                  <a:lnTo>
                    <a:pt x="90" y="59"/>
                  </a:lnTo>
                  <a:lnTo>
                    <a:pt x="78" y="66"/>
                  </a:lnTo>
                  <a:lnTo>
                    <a:pt x="66" y="74"/>
                  </a:lnTo>
                  <a:lnTo>
                    <a:pt x="55" y="80"/>
                  </a:lnTo>
                  <a:lnTo>
                    <a:pt x="44" y="86"/>
                  </a:lnTo>
                  <a:lnTo>
                    <a:pt x="35" y="92"/>
                  </a:lnTo>
                  <a:lnTo>
                    <a:pt x="28" y="97"/>
                  </a:lnTo>
                  <a:lnTo>
                    <a:pt x="21" y="101"/>
                  </a:lnTo>
                  <a:lnTo>
                    <a:pt x="18" y="104"/>
                  </a:lnTo>
                  <a:lnTo>
                    <a:pt x="17" y="105"/>
                  </a:lnTo>
                </a:path>
              </a:pathLst>
            </a:custGeom>
            <a:grpFill/>
            <a:ln w="12700" cap="rnd" cmpd="sng">
              <a:solidFill>
                <a:schemeClr val="bg1"/>
              </a:solidFill>
              <a:prstDash val="solid"/>
              <a:round/>
              <a:headEnd type="none" w="med" len="med"/>
              <a:tailEnd type="none" w="med" len="med"/>
            </a:ln>
            <a:effectLst/>
          </p:spPr>
          <p:txBody>
            <a:bodyPr/>
            <a:lstStyle/>
            <a:p>
              <a:pPr algn="ctr" defTabSz="685800" eaLnBrk="0" hangingPunct="0">
                <a:spcBef>
                  <a:spcPct val="50000"/>
                </a:spcBef>
                <a:buClrTx/>
                <a:defRPr/>
              </a:pPr>
              <a:endParaRPr lang="en-US" sz="900" kern="1200">
                <a:ea typeface="+mn-ea"/>
                <a:cs typeface="+mn-cs"/>
              </a:endParaRPr>
            </a:p>
          </p:txBody>
        </p:sp>
        <p:sp>
          <p:nvSpPr>
            <p:cNvPr id="37" name="Freeform 34"/>
            <p:cNvSpPr>
              <a:spLocks/>
            </p:cNvSpPr>
            <p:nvPr/>
          </p:nvSpPr>
          <p:spPr bwMode="gray">
            <a:xfrm>
              <a:off x="7648381" y="4646850"/>
              <a:ext cx="370331" cy="504989"/>
            </a:xfrm>
            <a:custGeom>
              <a:avLst/>
              <a:gdLst/>
              <a:ahLst/>
              <a:cxnLst>
                <a:cxn ang="0">
                  <a:pos x="463" y="46"/>
                </a:cxn>
                <a:cxn ang="0">
                  <a:pos x="432" y="123"/>
                </a:cxn>
                <a:cxn ang="0">
                  <a:pos x="354" y="111"/>
                </a:cxn>
                <a:cxn ang="0">
                  <a:pos x="393" y="164"/>
                </a:cxn>
                <a:cxn ang="0">
                  <a:pos x="393" y="256"/>
                </a:cxn>
                <a:cxn ang="0">
                  <a:pos x="363" y="287"/>
                </a:cxn>
                <a:cxn ang="0">
                  <a:pos x="319" y="352"/>
                </a:cxn>
                <a:cxn ang="0">
                  <a:pos x="225" y="359"/>
                </a:cxn>
                <a:cxn ang="0">
                  <a:pos x="266" y="405"/>
                </a:cxn>
                <a:cxn ang="0">
                  <a:pos x="160" y="477"/>
                </a:cxn>
                <a:cxn ang="0">
                  <a:pos x="95" y="378"/>
                </a:cxn>
                <a:cxn ang="0">
                  <a:pos x="6" y="365"/>
                </a:cxn>
                <a:cxn ang="0">
                  <a:pos x="0" y="281"/>
                </a:cxn>
                <a:cxn ang="0">
                  <a:pos x="55" y="222"/>
                </a:cxn>
                <a:cxn ang="0">
                  <a:pos x="17" y="163"/>
                </a:cxn>
                <a:cxn ang="0">
                  <a:pos x="94" y="131"/>
                </a:cxn>
                <a:cxn ang="0">
                  <a:pos x="94" y="46"/>
                </a:cxn>
                <a:cxn ang="0">
                  <a:pos x="164" y="42"/>
                </a:cxn>
                <a:cxn ang="0">
                  <a:pos x="194" y="0"/>
                </a:cxn>
                <a:cxn ang="0">
                  <a:pos x="249" y="13"/>
                </a:cxn>
                <a:cxn ang="0">
                  <a:pos x="291" y="69"/>
                </a:cxn>
                <a:cxn ang="0">
                  <a:pos x="336" y="72"/>
                </a:cxn>
                <a:cxn ang="0">
                  <a:pos x="358" y="51"/>
                </a:cxn>
                <a:cxn ang="0">
                  <a:pos x="463" y="46"/>
                </a:cxn>
              </a:cxnLst>
              <a:rect l="0" t="0" r="r" b="b"/>
              <a:pathLst>
                <a:path w="464" h="478">
                  <a:moveTo>
                    <a:pt x="463" y="46"/>
                  </a:moveTo>
                  <a:lnTo>
                    <a:pt x="432" y="123"/>
                  </a:lnTo>
                  <a:lnTo>
                    <a:pt x="354" y="111"/>
                  </a:lnTo>
                  <a:lnTo>
                    <a:pt x="393" y="164"/>
                  </a:lnTo>
                  <a:lnTo>
                    <a:pt x="393" y="256"/>
                  </a:lnTo>
                  <a:lnTo>
                    <a:pt x="363" y="287"/>
                  </a:lnTo>
                  <a:lnTo>
                    <a:pt x="319" y="352"/>
                  </a:lnTo>
                  <a:lnTo>
                    <a:pt x="225" y="359"/>
                  </a:lnTo>
                  <a:lnTo>
                    <a:pt x="266" y="405"/>
                  </a:lnTo>
                  <a:lnTo>
                    <a:pt x="160" y="477"/>
                  </a:lnTo>
                  <a:lnTo>
                    <a:pt x="95" y="378"/>
                  </a:lnTo>
                  <a:lnTo>
                    <a:pt x="6" y="365"/>
                  </a:lnTo>
                  <a:lnTo>
                    <a:pt x="0" y="281"/>
                  </a:lnTo>
                  <a:lnTo>
                    <a:pt x="55" y="222"/>
                  </a:lnTo>
                  <a:lnTo>
                    <a:pt x="17" y="163"/>
                  </a:lnTo>
                  <a:lnTo>
                    <a:pt x="94" y="131"/>
                  </a:lnTo>
                  <a:lnTo>
                    <a:pt x="94" y="46"/>
                  </a:lnTo>
                  <a:lnTo>
                    <a:pt x="164" y="42"/>
                  </a:lnTo>
                  <a:lnTo>
                    <a:pt x="194" y="0"/>
                  </a:lnTo>
                  <a:lnTo>
                    <a:pt x="249" y="13"/>
                  </a:lnTo>
                  <a:lnTo>
                    <a:pt x="291" y="69"/>
                  </a:lnTo>
                  <a:lnTo>
                    <a:pt x="336" y="72"/>
                  </a:lnTo>
                  <a:lnTo>
                    <a:pt x="358" y="51"/>
                  </a:lnTo>
                  <a:lnTo>
                    <a:pt x="463" y="46"/>
                  </a:lnTo>
                </a:path>
              </a:pathLst>
            </a:custGeom>
            <a:grpFill/>
            <a:ln w="12700" cap="rnd" cmpd="sng">
              <a:solidFill>
                <a:schemeClr val="bg1"/>
              </a:solidFill>
              <a:prstDash val="solid"/>
              <a:round/>
              <a:headEnd type="none" w="med" len="med"/>
              <a:tailEnd type="none" w="med" len="med"/>
            </a:ln>
            <a:effectLst/>
          </p:spPr>
          <p:txBody>
            <a:bodyPr/>
            <a:lstStyle/>
            <a:p>
              <a:pPr algn="ctr" defTabSz="685800" eaLnBrk="0" hangingPunct="0">
                <a:spcBef>
                  <a:spcPct val="50000"/>
                </a:spcBef>
                <a:buClrTx/>
                <a:defRPr/>
              </a:pPr>
              <a:endParaRPr lang="en-US" sz="900" kern="1200">
                <a:ea typeface="+mn-ea"/>
                <a:cs typeface="+mn-cs"/>
              </a:endParaRPr>
            </a:p>
          </p:txBody>
        </p:sp>
        <p:sp>
          <p:nvSpPr>
            <p:cNvPr id="38" name="Freeform 35"/>
            <p:cNvSpPr>
              <a:spLocks/>
            </p:cNvSpPr>
            <p:nvPr/>
          </p:nvSpPr>
          <p:spPr bwMode="gray">
            <a:xfrm>
              <a:off x="7146711" y="4981566"/>
              <a:ext cx="621165" cy="602954"/>
            </a:xfrm>
            <a:custGeom>
              <a:avLst/>
              <a:gdLst/>
              <a:ahLst/>
              <a:cxnLst>
                <a:cxn ang="0">
                  <a:pos x="778" y="135"/>
                </a:cxn>
                <a:cxn ang="0">
                  <a:pos x="721" y="33"/>
                </a:cxn>
                <a:cxn ang="0">
                  <a:pos x="626" y="26"/>
                </a:cxn>
                <a:cxn ang="0">
                  <a:pos x="615" y="60"/>
                </a:cxn>
                <a:cxn ang="0">
                  <a:pos x="468" y="79"/>
                </a:cxn>
                <a:cxn ang="0">
                  <a:pos x="507" y="4"/>
                </a:cxn>
                <a:cxn ang="0">
                  <a:pos x="411" y="8"/>
                </a:cxn>
                <a:cxn ang="0">
                  <a:pos x="296" y="0"/>
                </a:cxn>
                <a:cxn ang="0">
                  <a:pos x="287" y="47"/>
                </a:cxn>
                <a:cxn ang="0">
                  <a:pos x="212" y="58"/>
                </a:cxn>
                <a:cxn ang="0">
                  <a:pos x="183" y="85"/>
                </a:cxn>
                <a:cxn ang="0">
                  <a:pos x="215" y="150"/>
                </a:cxn>
                <a:cxn ang="0">
                  <a:pos x="146" y="217"/>
                </a:cxn>
                <a:cxn ang="0">
                  <a:pos x="145" y="294"/>
                </a:cxn>
                <a:cxn ang="0">
                  <a:pos x="70" y="343"/>
                </a:cxn>
                <a:cxn ang="0">
                  <a:pos x="70" y="385"/>
                </a:cxn>
                <a:cxn ang="0">
                  <a:pos x="0" y="454"/>
                </a:cxn>
                <a:cxn ang="0">
                  <a:pos x="10" y="511"/>
                </a:cxn>
                <a:cxn ang="0">
                  <a:pos x="30" y="559"/>
                </a:cxn>
                <a:cxn ang="0">
                  <a:pos x="80" y="570"/>
                </a:cxn>
                <a:cxn ang="0">
                  <a:pos x="104" y="536"/>
                </a:cxn>
                <a:cxn ang="0">
                  <a:pos x="90" y="469"/>
                </a:cxn>
                <a:cxn ang="0">
                  <a:pos x="229" y="396"/>
                </a:cxn>
                <a:cxn ang="0">
                  <a:pos x="312" y="388"/>
                </a:cxn>
                <a:cxn ang="0">
                  <a:pos x="400" y="341"/>
                </a:cxn>
                <a:cxn ang="0">
                  <a:pos x="382" y="276"/>
                </a:cxn>
                <a:cxn ang="0">
                  <a:pos x="451" y="253"/>
                </a:cxn>
                <a:cxn ang="0">
                  <a:pos x="485" y="326"/>
                </a:cxn>
                <a:cxn ang="0">
                  <a:pos x="579" y="324"/>
                </a:cxn>
                <a:cxn ang="0">
                  <a:pos x="529" y="276"/>
                </a:cxn>
                <a:cxn ang="0">
                  <a:pos x="721" y="212"/>
                </a:cxn>
                <a:cxn ang="0">
                  <a:pos x="778" y="135"/>
                </a:cxn>
              </a:cxnLst>
              <a:rect l="0" t="0" r="r" b="b"/>
              <a:pathLst>
                <a:path w="779" h="571">
                  <a:moveTo>
                    <a:pt x="778" y="135"/>
                  </a:moveTo>
                  <a:lnTo>
                    <a:pt x="721" y="33"/>
                  </a:lnTo>
                  <a:lnTo>
                    <a:pt x="626" y="26"/>
                  </a:lnTo>
                  <a:lnTo>
                    <a:pt x="615" y="60"/>
                  </a:lnTo>
                  <a:lnTo>
                    <a:pt x="468" y="79"/>
                  </a:lnTo>
                  <a:lnTo>
                    <a:pt x="507" y="4"/>
                  </a:lnTo>
                  <a:lnTo>
                    <a:pt x="411" y="8"/>
                  </a:lnTo>
                  <a:lnTo>
                    <a:pt x="296" y="0"/>
                  </a:lnTo>
                  <a:lnTo>
                    <a:pt x="287" y="47"/>
                  </a:lnTo>
                  <a:lnTo>
                    <a:pt x="212" y="58"/>
                  </a:lnTo>
                  <a:lnTo>
                    <a:pt x="183" y="85"/>
                  </a:lnTo>
                  <a:lnTo>
                    <a:pt x="215" y="150"/>
                  </a:lnTo>
                  <a:lnTo>
                    <a:pt x="146" y="217"/>
                  </a:lnTo>
                  <a:lnTo>
                    <a:pt x="145" y="294"/>
                  </a:lnTo>
                  <a:lnTo>
                    <a:pt x="70" y="343"/>
                  </a:lnTo>
                  <a:lnTo>
                    <a:pt x="70" y="385"/>
                  </a:lnTo>
                  <a:lnTo>
                    <a:pt x="0" y="454"/>
                  </a:lnTo>
                  <a:lnTo>
                    <a:pt x="10" y="511"/>
                  </a:lnTo>
                  <a:lnTo>
                    <a:pt x="30" y="559"/>
                  </a:lnTo>
                  <a:lnTo>
                    <a:pt x="80" y="570"/>
                  </a:lnTo>
                  <a:lnTo>
                    <a:pt x="104" y="536"/>
                  </a:lnTo>
                  <a:lnTo>
                    <a:pt x="90" y="469"/>
                  </a:lnTo>
                  <a:lnTo>
                    <a:pt x="229" y="396"/>
                  </a:lnTo>
                  <a:lnTo>
                    <a:pt x="312" y="388"/>
                  </a:lnTo>
                  <a:lnTo>
                    <a:pt x="400" y="341"/>
                  </a:lnTo>
                  <a:lnTo>
                    <a:pt x="382" y="276"/>
                  </a:lnTo>
                  <a:lnTo>
                    <a:pt x="451" y="253"/>
                  </a:lnTo>
                  <a:lnTo>
                    <a:pt x="485" y="326"/>
                  </a:lnTo>
                  <a:lnTo>
                    <a:pt x="579" y="324"/>
                  </a:lnTo>
                  <a:lnTo>
                    <a:pt x="529" y="276"/>
                  </a:lnTo>
                  <a:lnTo>
                    <a:pt x="721" y="212"/>
                  </a:lnTo>
                  <a:lnTo>
                    <a:pt x="778" y="135"/>
                  </a:lnTo>
                </a:path>
              </a:pathLst>
            </a:custGeom>
            <a:grpFill/>
            <a:ln w="12700" cap="rnd" cmpd="sng">
              <a:solidFill>
                <a:schemeClr val="bg1"/>
              </a:solidFill>
              <a:prstDash val="solid"/>
              <a:round/>
              <a:headEnd type="none" w="med" len="med"/>
              <a:tailEnd type="none" w="med" len="med"/>
            </a:ln>
            <a:effectLst/>
          </p:spPr>
          <p:txBody>
            <a:bodyPr/>
            <a:lstStyle/>
            <a:p>
              <a:pPr algn="ctr" defTabSz="685800" eaLnBrk="0" hangingPunct="0">
                <a:spcBef>
                  <a:spcPct val="50000"/>
                </a:spcBef>
                <a:buClrTx/>
                <a:defRPr/>
              </a:pPr>
              <a:endParaRPr lang="en-US" sz="900" kern="1200">
                <a:ea typeface="+mn-ea"/>
                <a:cs typeface="+mn-cs"/>
              </a:endParaRPr>
            </a:p>
          </p:txBody>
        </p:sp>
        <p:sp>
          <p:nvSpPr>
            <p:cNvPr id="39" name="Freeform 36"/>
            <p:cNvSpPr>
              <a:spLocks/>
            </p:cNvSpPr>
            <p:nvPr/>
          </p:nvSpPr>
          <p:spPr bwMode="gray">
            <a:xfrm>
              <a:off x="7059511" y="5598515"/>
              <a:ext cx="201314" cy="220423"/>
            </a:xfrm>
            <a:custGeom>
              <a:avLst/>
              <a:gdLst/>
              <a:ahLst/>
              <a:cxnLst>
                <a:cxn ang="0">
                  <a:pos x="177" y="19"/>
                </a:cxn>
                <a:cxn ang="0">
                  <a:pos x="209" y="0"/>
                </a:cxn>
                <a:cxn ang="0">
                  <a:pos x="245" y="12"/>
                </a:cxn>
                <a:cxn ang="0">
                  <a:pos x="252" y="65"/>
                </a:cxn>
                <a:cxn ang="0">
                  <a:pos x="219" y="93"/>
                </a:cxn>
                <a:cxn ang="0">
                  <a:pos x="210" y="125"/>
                </a:cxn>
                <a:cxn ang="0">
                  <a:pos x="210" y="149"/>
                </a:cxn>
                <a:cxn ang="0">
                  <a:pos x="159" y="181"/>
                </a:cxn>
                <a:cxn ang="0">
                  <a:pos x="138" y="209"/>
                </a:cxn>
                <a:cxn ang="0">
                  <a:pos x="47" y="189"/>
                </a:cxn>
                <a:cxn ang="0">
                  <a:pos x="10" y="151"/>
                </a:cxn>
                <a:cxn ang="0">
                  <a:pos x="0" y="80"/>
                </a:cxn>
                <a:cxn ang="0">
                  <a:pos x="44" y="60"/>
                </a:cxn>
                <a:cxn ang="0">
                  <a:pos x="73" y="32"/>
                </a:cxn>
                <a:cxn ang="0">
                  <a:pos x="177" y="19"/>
                </a:cxn>
              </a:cxnLst>
              <a:rect l="0" t="0" r="r" b="b"/>
              <a:pathLst>
                <a:path w="253" h="210">
                  <a:moveTo>
                    <a:pt x="177" y="19"/>
                  </a:moveTo>
                  <a:lnTo>
                    <a:pt x="209" y="0"/>
                  </a:lnTo>
                  <a:lnTo>
                    <a:pt x="245" y="12"/>
                  </a:lnTo>
                  <a:lnTo>
                    <a:pt x="252" y="65"/>
                  </a:lnTo>
                  <a:lnTo>
                    <a:pt x="219" y="93"/>
                  </a:lnTo>
                  <a:lnTo>
                    <a:pt x="210" y="125"/>
                  </a:lnTo>
                  <a:lnTo>
                    <a:pt x="210" y="149"/>
                  </a:lnTo>
                  <a:lnTo>
                    <a:pt x="159" y="181"/>
                  </a:lnTo>
                  <a:lnTo>
                    <a:pt x="138" y="209"/>
                  </a:lnTo>
                  <a:lnTo>
                    <a:pt x="47" y="189"/>
                  </a:lnTo>
                  <a:lnTo>
                    <a:pt x="10" y="151"/>
                  </a:lnTo>
                  <a:lnTo>
                    <a:pt x="0" y="80"/>
                  </a:lnTo>
                  <a:lnTo>
                    <a:pt x="44" y="60"/>
                  </a:lnTo>
                  <a:lnTo>
                    <a:pt x="73" y="32"/>
                  </a:lnTo>
                  <a:lnTo>
                    <a:pt x="177" y="19"/>
                  </a:lnTo>
                </a:path>
              </a:pathLst>
            </a:custGeom>
            <a:grpFill/>
            <a:ln w="12700" cap="rnd" cmpd="sng">
              <a:solidFill>
                <a:schemeClr val="bg1"/>
              </a:solidFill>
              <a:prstDash val="solid"/>
              <a:round/>
              <a:headEnd type="none" w="med" len="med"/>
              <a:tailEnd type="none" w="med" len="med"/>
            </a:ln>
            <a:effectLst/>
          </p:spPr>
          <p:txBody>
            <a:bodyPr/>
            <a:lstStyle/>
            <a:p>
              <a:pPr algn="ctr" defTabSz="685800" eaLnBrk="0" hangingPunct="0">
                <a:spcBef>
                  <a:spcPct val="50000"/>
                </a:spcBef>
                <a:buClrTx/>
                <a:defRPr/>
              </a:pPr>
              <a:endParaRPr lang="en-US" sz="900" kern="1200">
                <a:ea typeface="+mn-ea"/>
                <a:cs typeface="+mn-cs"/>
              </a:endParaRPr>
            </a:p>
          </p:txBody>
        </p:sp>
        <p:sp>
          <p:nvSpPr>
            <p:cNvPr id="40" name="Freeform 37"/>
            <p:cNvSpPr>
              <a:spLocks/>
            </p:cNvSpPr>
            <p:nvPr/>
          </p:nvSpPr>
          <p:spPr bwMode="gray">
            <a:xfrm>
              <a:off x="6657261" y="4934507"/>
              <a:ext cx="669610" cy="538810"/>
            </a:xfrm>
            <a:custGeom>
              <a:avLst/>
              <a:gdLst/>
              <a:ahLst/>
              <a:cxnLst>
                <a:cxn ang="0">
                  <a:pos x="0" y="206"/>
                </a:cxn>
                <a:cxn ang="0">
                  <a:pos x="67" y="172"/>
                </a:cxn>
                <a:cxn ang="0">
                  <a:pos x="170" y="200"/>
                </a:cxn>
                <a:cxn ang="0">
                  <a:pos x="169" y="163"/>
                </a:cxn>
                <a:cxn ang="0">
                  <a:pos x="266" y="112"/>
                </a:cxn>
                <a:cxn ang="0">
                  <a:pos x="357" y="135"/>
                </a:cxn>
                <a:cxn ang="0">
                  <a:pos x="396" y="106"/>
                </a:cxn>
                <a:cxn ang="0">
                  <a:pos x="450" y="106"/>
                </a:cxn>
                <a:cxn ang="0">
                  <a:pos x="484" y="63"/>
                </a:cxn>
                <a:cxn ang="0">
                  <a:pos x="525" y="47"/>
                </a:cxn>
                <a:cxn ang="0">
                  <a:pos x="584" y="8"/>
                </a:cxn>
                <a:cxn ang="0">
                  <a:pos x="624" y="30"/>
                </a:cxn>
                <a:cxn ang="0">
                  <a:pos x="690" y="0"/>
                </a:cxn>
                <a:cxn ang="0">
                  <a:pos x="740" y="49"/>
                </a:cxn>
                <a:cxn ang="0">
                  <a:pos x="696" y="125"/>
                </a:cxn>
                <a:cxn ang="0">
                  <a:pos x="815" y="146"/>
                </a:cxn>
                <a:cxn ang="0">
                  <a:pos x="838" y="202"/>
                </a:cxn>
                <a:cxn ang="0">
                  <a:pos x="770" y="267"/>
                </a:cxn>
                <a:cxn ang="0">
                  <a:pos x="760" y="352"/>
                </a:cxn>
                <a:cxn ang="0">
                  <a:pos x="678" y="395"/>
                </a:cxn>
                <a:cxn ang="0">
                  <a:pos x="696" y="440"/>
                </a:cxn>
                <a:cxn ang="0">
                  <a:pos x="606" y="510"/>
                </a:cxn>
                <a:cxn ang="0">
                  <a:pos x="537" y="508"/>
                </a:cxn>
                <a:cxn ang="0">
                  <a:pos x="465" y="468"/>
                </a:cxn>
                <a:cxn ang="0">
                  <a:pos x="384" y="508"/>
                </a:cxn>
                <a:cxn ang="0">
                  <a:pos x="272" y="472"/>
                </a:cxn>
                <a:cxn ang="0">
                  <a:pos x="259" y="382"/>
                </a:cxn>
                <a:cxn ang="0">
                  <a:pos x="178" y="376"/>
                </a:cxn>
                <a:cxn ang="0">
                  <a:pos x="137" y="354"/>
                </a:cxn>
                <a:cxn ang="0">
                  <a:pos x="132" y="322"/>
                </a:cxn>
                <a:cxn ang="0">
                  <a:pos x="184" y="322"/>
                </a:cxn>
                <a:cxn ang="0">
                  <a:pos x="166" y="269"/>
                </a:cxn>
                <a:cxn ang="0">
                  <a:pos x="86" y="269"/>
                </a:cxn>
                <a:cxn ang="0">
                  <a:pos x="0" y="247"/>
                </a:cxn>
                <a:cxn ang="0">
                  <a:pos x="0" y="206"/>
                </a:cxn>
              </a:cxnLst>
              <a:rect l="0" t="0" r="r" b="b"/>
              <a:pathLst>
                <a:path w="839" h="511">
                  <a:moveTo>
                    <a:pt x="0" y="206"/>
                  </a:moveTo>
                  <a:lnTo>
                    <a:pt x="67" y="172"/>
                  </a:lnTo>
                  <a:lnTo>
                    <a:pt x="170" y="200"/>
                  </a:lnTo>
                  <a:lnTo>
                    <a:pt x="169" y="163"/>
                  </a:lnTo>
                  <a:lnTo>
                    <a:pt x="266" y="112"/>
                  </a:lnTo>
                  <a:lnTo>
                    <a:pt x="357" y="135"/>
                  </a:lnTo>
                  <a:lnTo>
                    <a:pt x="396" y="106"/>
                  </a:lnTo>
                  <a:lnTo>
                    <a:pt x="450" y="106"/>
                  </a:lnTo>
                  <a:lnTo>
                    <a:pt x="484" y="63"/>
                  </a:lnTo>
                  <a:lnTo>
                    <a:pt x="525" y="47"/>
                  </a:lnTo>
                  <a:lnTo>
                    <a:pt x="584" y="8"/>
                  </a:lnTo>
                  <a:lnTo>
                    <a:pt x="624" y="30"/>
                  </a:lnTo>
                  <a:lnTo>
                    <a:pt x="690" y="0"/>
                  </a:lnTo>
                  <a:lnTo>
                    <a:pt x="740" y="49"/>
                  </a:lnTo>
                  <a:lnTo>
                    <a:pt x="696" y="125"/>
                  </a:lnTo>
                  <a:lnTo>
                    <a:pt x="815" y="146"/>
                  </a:lnTo>
                  <a:lnTo>
                    <a:pt x="838" y="202"/>
                  </a:lnTo>
                  <a:lnTo>
                    <a:pt x="770" y="267"/>
                  </a:lnTo>
                  <a:lnTo>
                    <a:pt x="760" y="352"/>
                  </a:lnTo>
                  <a:lnTo>
                    <a:pt x="678" y="395"/>
                  </a:lnTo>
                  <a:lnTo>
                    <a:pt x="696" y="440"/>
                  </a:lnTo>
                  <a:lnTo>
                    <a:pt x="606" y="510"/>
                  </a:lnTo>
                  <a:lnTo>
                    <a:pt x="537" y="508"/>
                  </a:lnTo>
                  <a:lnTo>
                    <a:pt x="465" y="468"/>
                  </a:lnTo>
                  <a:lnTo>
                    <a:pt x="384" y="508"/>
                  </a:lnTo>
                  <a:lnTo>
                    <a:pt x="272" y="472"/>
                  </a:lnTo>
                  <a:lnTo>
                    <a:pt x="259" y="382"/>
                  </a:lnTo>
                  <a:lnTo>
                    <a:pt x="178" y="376"/>
                  </a:lnTo>
                  <a:lnTo>
                    <a:pt x="137" y="354"/>
                  </a:lnTo>
                  <a:lnTo>
                    <a:pt x="132" y="322"/>
                  </a:lnTo>
                  <a:lnTo>
                    <a:pt x="184" y="322"/>
                  </a:lnTo>
                  <a:lnTo>
                    <a:pt x="166" y="269"/>
                  </a:lnTo>
                  <a:lnTo>
                    <a:pt x="86" y="269"/>
                  </a:lnTo>
                  <a:lnTo>
                    <a:pt x="0" y="247"/>
                  </a:lnTo>
                  <a:lnTo>
                    <a:pt x="0" y="206"/>
                  </a:lnTo>
                </a:path>
              </a:pathLst>
            </a:custGeom>
            <a:grpFill/>
            <a:ln w="12700" cap="rnd" cmpd="sng">
              <a:solidFill>
                <a:schemeClr val="bg1"/>
              </a:solidFill>
              <a:prstDash val="solid"/>
              <a:round/>
              <a:headEnd type="none" w="med" len="med"/>
              <a:tailEnd type="none" w="med" len="med"/>
            </a:ln>
            <a:effectLst/>
          </p:spPr>
          <p:txBody>
            <a:bodyPr/>
            <a:lstStyle/>
            <a:p>
              <a:pPr algn="ctr" defTabSz="685800" eaLnBrk="0" hangingPunct="0">
                <a:spcBef>
                  <a:spcPct val="50000"/>
                </a:spcBef>
                <a:buClrTx/>
                <a:defRPr/>
              </a:pPr>
              <a:endParaRPr lang="en-US" sz="900" kern="1200">
                <a:ea typeface="+mn-ea"/>
                <a:cs typeface="+mn-cs"/>
              </a:endParaRPr>
            </a:p>
          </p:txBody>
        </p:sp>
        <p:sp>
          <p:nvSpPr>
            <p:cNvPr id="41" name="Line 38"/>
            <p:cNvSpPr>
              <a:spLocks noChangeShapeType="1"/>
            </p:cNvSpPr>
            <p:nvPr/>
          </p:nvSpPr>
          <p:spPr bwMode="gray">
            <a:xfrm>
              <a:off x="7022909" y="3671861"/>
              <a:ext cx="1077" cy="2333"/>
            </a:xfrm>
            <a:prstGeom prst="line">
              <a:avLst/>
            </a:prstGeom>
            <a:grpFill/>
            <a:ln w="12700">
              <a:solidFill>
                <a:schemeClr val="bg1"/>
              </a:solidFill>
              <a:round/>
              <a:headEnd/>
              <a:tailEnd/>
            </a:ln>
            <a:effectLst/>
          </p:spPr>
          <p:txBody>
            <a:bodyPr wrap="none" anchor="ctr"/>
            <a:lstStyle/>
            <a:p>
              <a:pPr algn="ctr" defTabSz="685800" eaLnBrk="0" hangingPunct="0">
                <a:spcBef>
                  <a:spcPct val="50000"/>
                </a:spcBef>
                <a:buClrTx/>
                <a:defRPr/>
              </a:pPr>
              <a:endParaRPr lang="en-US" sz="900" kern="1200">
                <a:ea typeface="+mn-ea"/>
                <a:cs typeface="+mn-cs"/>
              </a:endParaRPr>
            </a:p>
          </p:txBody>
        </p:sp>
      </p:grpSp>
      <p:sp>
        <p:nvSpPr>
          <p:cNvPr id="42" name="Text Placeholder 12"/>
          <p:cNvSpPr>
            <a:spLocks/>
          </p:cNvSpPr>
          <p:nvPr>
            <p:custDataLst>
              <p:tags r:id="rId1"/>
            </p:custDataLst>
          </p:nvPr>
        </p:nvSpPr>
        <p:spPr bwMode="auto">
          <a:xfrm>
            <a:off x="1440656" y="1131570"/>
            <a:ext cx="206788" cy="115416"/>
          </a:xfrm>
          <a:prstGeom prst="rect">
            <a:avLst/>
          </a:prstGeom>
          <a:noFill/>
          <a:ln w="9525">
            <a:noFill/>
            <a:miter lim="800000"/>
            <a:headEnd/>
            <a:tailEnd/>
          </a:ln>
        </p:spPr>
        <p:txBody>
          <a:bodyPr wrap="none" lIns="0" tIns="0" rIns="0" bIns="0">
            <a:spAutoFit/>
          </a:bodyPr>
          <a:lstStyle/>
          <a:p>
            <a:pPr defTabSz="764381">
              <a:buClrTx/>
            </a:pPr>
            <a:r>
              <a:rPr lang="en-US" sz="750" kern="1200" dirty="0">
                <a:solidFill>
                  <a:srgbClr val="313131"/>
                </a:solidFill>
                <a:ea typeface="+mn-ea"/>
                <a:cs typeface="+mn-cs"/>
              </a:rPr>
              <a:t>India</a:t>
            </a:r>
          </a:p>
        </p:txBody>
      </p:sp>
      <p:sp>
        <p:nvSpPr>
          <p:cNvPr id="43" name="Text Placeholder 12"/>
          <p:cNvSpPr>
            <a:spLocks/>
          </p:cNvSpPr>
          <p:nvPr>
            <p:custDataLst>
              <p:tags r:id="rId2"/>
            </p:custDataLst>
          </p:nvPr>
        </p:nvSpPr>
        <p:spPr bwMode="auto">
          <a:xfrm>
            <a:off x="4407139" y="1131570"/>
            <a:ext cx="248466" cy="115416"/>
          </a:xfrm>
          <a:prstGeom prst="rect">
            <a:avLst/>
          </a:prstGeom>
          <a:noFill/>
          <a:ln w="9525">
            <a:noFill/>
            <a:miter lim="800000"/>
            <a:headEnd/>
            <a:tailEnd/>
          </a:ln>
        </p:spPr>
        <p:txBody>
          <a:bodyPr wrap="none" lIns="0" tIns="0" rIns="0" bIns="0">
            <a:spAutoFit/>
          </a:bodyPr>
          <a:lstStyle/>
          <a:p>
            <a:pPr defTabSz="764381">
              <a:buClrTx/>
            </a:pPr>
            <a:r>
              <a:rPr lang="en-US" sz="750" kern="1200" dirty="0">
                <a:solidFill>
                  <a:srgbClr val="313131"/>
                </a:solidFill>
                <a:ea typeface="+mn-ea"/>
                <a:cs typeface="+mn-cs"/>
              </a:rPr>
              <a:t>China</a:t>
            </a:r>
          </a:p>
        </p:txBody>
      </p:sp>
      <p:sp>
        <p:nvSpPr>
          <p:cNvPr id="46" name="Rectangle 3"/>
          <p:cNvSpPr>
            <a:spLocks noChangeArrowheads="1"/>
          </p:cNvSpPr>
          <p:nvPr/>
        </p:nvSpPr>
        <p:spPr bwMode="auto">
          <a:xfrm>
            <a:off x="5337545" y="1"/>
            <a:ext cx="2663456" cy="600164"/>
          </a:xfrm>
          <a:prstGeom prst="rect">
            <a:avLst/>
          </a:prstGeom>
          <a:solidFill>
            <a:schemeClr val="accent6"/>
          </a:solidFill>
          <a:ln w="6350" algn="ctr">
            <a:solidFill>
              <a:schemeClr val="bg1"/>
            </a:solidFill>
            <a:miter lim="800000"/>
            <a:headEnd/>
            <a:tailEnd/>
          </a:ln>
        </p:spPr>
        <p:txBody>
          <a:bodyPr wrap="square" tIns="68580" bIns="68580">
            <a:spAutoFit/>
          </a:bodyPr>
          <a:lstStyle/>
          <a:p>
            <a:pPr defTabSz="685800">
              <a:buClrTx/>
              <a:defRPr/>
            </a:pPr>
            <a:r>
              <a:rPr lang="en-US" altLang="ja-JP" sz="750" kern="1200" dirty="0">
                <a:solidFill>
                  <a:srgbClr val="313131"/>
                </a:solidFill>
                <a:ea typeface="ＭＳ Ｐゴシック" pitchFamily="50" charset="-128"/>
                <a:cs typeface="+mn-cs"/>
              </a:rPr>
              <a:t>Tip! Click once to select the entire map, and again to select one or more regions within it</a:t>
            </a:r>
            <a:br>
              <a:rPr lang="en-US" altLang="ja-JP" sz="750" kern="1200" dirty="0">
                <a:solidFill>
                  <a:srgbClr val="313131"/>
                </a:solidFill>
                <a:ea typeface="ＭＳ Ｐゴシック" pitchFamily="50" charset="-128"/>
                <a:cs typeface="+mn-cs"/>
              </a:rPr>
            </a:br>
            <a:r>
              <a:rPr lang="en-US" altLang="ja-JP" sz="750" kern="1200" dirty="0">
                <a:solidFill>
                  <a:srgbClr val="313131"/>
                </a:solidFill>
                <a:ea typeface="ＭＳ Ｐゴシック" pitchFamily="50" charset="-128"/>
                <a:cs typeface="+mn-cs"/>
              </a:rPr>
              <a:t>Country/regional maps are a representative sample – more will be added</a:t>
            </a:r>
            <a:endParaRPr lang="en-US" sz="750" kern="1200" dirty="0">
              <a:solidFill>
                <a:srgbClr val="313131"/>
              </a:solidFill>
              <a:ea typeface="ＭＳ Ｐゴシック" pitchFamily="50" charset="-128"/>
              <a:cs typeface="+mn-cs"/>
            </a:endParaRPr>
          </a:p>
        </p:txBody>
      </p:sp>
      <p:grpSp>
        <p:nvGrpSpPr>
          <p:cNvPr id="48" name="Group 47"/>
          <p:cNvGrpSpPr/>
          <p:nvPr/>
        </p:nvGrpSpPr>
        <p:grpSpPr>
          <a:xfrm>
            <a:off x="1435393" y="1423844"/>
            <a:ext cx="2625275" cy="2900505"/>
            <a:chOff x="2208213" y="1169988"/>
            <a:chExt cx="4724401" cy="5219701"/>
          </a:xfrm>
        </p:grpSpPr>
        <p:sp>
          <p:nvSpPr>
            <p:cNvPr id="49" name="AutoShape 276"/>
            <p:cNvSpPr>
              <a:spLocks noChangeAspect="1" noChangeArrowheads="1" noTextEdit="1"/>
            </p:cNvSpPr>
            <p:nvPr/>
          </p:nvSpPr>
          <p:spPr bwMode="auto">
            <a:xfrm>
              <a:off x="2211388" y="1169988"/>
              <a:ext cx="4721225" cy="521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50" name="Freeform 278"/>
            <p:cNvSpPr>
              <a:spLocks/>
            </p:cNvSpPr>
            <p:nvPr/>
          </p:nvSpPr>
          <p:spPr bwMode="auto">
            <a:xfrm>
              <a:off x="6535738" y="3157538"/>
              <a:ext cx="0" cy="317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C1D837"/>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51" name="Freeform 279"/>
            <p:cNvSpPr>
              <a:spLocks/>
            </p:cNvSpPr>
            <p:nvPr/>
          </p:nvSpPr>
          <p:spPr bwMode="auto">
            <a:xfrm>
              <a:off x="6342063" y="33877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C1D837"/>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52" name="Freeform 280"/>
            <p:cNvSpPr>
              <a:spLocks/>
            </p:cNvSpPr>
            <p:nvPr/>
          </p:nvSpPr>
          <p:spPr bwMode="auto">
            <a:xfrm>
              <a:off x="6143626" y="3348038"/>
              <a:ext cx="7938" cy="3175"/>
            </a:xfrm>
            <a:custGeom>
              <a:avLst/>
              <a:gdLst>
                <a:gd name="T0" fmla="*/ 2 w 2"/>
                <a:gd name="T1" fmla="*/ 0 h 1"/>
                <a:gd name="T2" fmla="*/ 0 w 2"/>
                <a:gd name="T3" fmla="*/ 1 h 1"/>
                <a:gd name="T4" fmla="*/ 1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1" y="0"/>
                    <a:pt x="1" y="1"/>
                    <a:pt x="0" y="1"/>
                  </a:cubicBezTo>
                  <a:cubicBezTo>
                    <a:pt x="1" y="1"/>
                    <a:pt x="1" y="1"/>
                    <a:pt x="1" y="1"/>
                  </a:cubicBezTo>
                  <a:cubicBezTo>
                    <a:pt x="2" y="1"/>
                    <a:pt x="2" y="1"/>
                    <a:pt x="2" y="0"/>
                  </a:cubicBezTo>
                  <a:close/>
                </a:path>
              </a:pathLst>
            </a:custGeom>
            <a:solidFill>
              <a:srgbClr val="C1D837"/>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53" name="Freeform 281"/>
            <p:cNvSpPr>
              <a:spLocks/>
            </p:cNvSpPr>
            <p:nvPr/>
          </p:nvSpPr>
          <p:spPr bwMode="auto">
            <a:xfrm>
              <a:off x="2208213" y="3235326"/>
              <a:ext cx="1046163" cy="817563"/>
            </a:xfrm>
            <a:custGeom>
              <a:avLst/>
              <a:gdLst>
                <a:gd name="T0" fmla="*/ 274 w 296"/>
                <a:gd name="T1" fmla="*/ 80 h 231"/>
                <a:gd name="T2" fmla="*/ 250 w 296"/>
                <a:gd name="T3" fmla="*/ 57 h 231"/>
                <a:gd name="T4" fmla="*/ 244 w 296"/>
                <a:gd name="T5" fmla="*/ 27 h 231"/>
                <a:gd name="T6" fmla="*/ 217 w 296"/>
                <a:gd name="T7" fmla="*/ 17 h 231"/>
                <a:gd name="T8" fmla="*/ 192 w 296"/>
                <a:gd name="T9" fmla="*/ 9 h 231"/>
                <a:gd name="T10" fmla="*/ 164 w 296"/>
                <a:gd name="T11" fmla="*/ 4 h 231"/>
                <a:gd name="T12" fmla="*/ 146 w 296"/>
                <a:gd name="T13" fmla="*/ 6 h 231"/>
                <a:gd name="T14" fmla="*/ 146 w 296"/>
                <a:gd name="T15" fmla="*/ 19 h 231"/>
                <a:gd name="T16" fmla="*/ 118 w 296"/>
                <a:gd name="T17" fmla="*/ 13 h 231"/>
                <a:gd name="T18" fmla="*/ 89 w 296"/>
                <a:gd name="T19" fmla="*/ 22 h 231"/>
                <a:gd name="T20" fmla="*/ 63 w 296"/>
                <a:gd name="T21" fmla="*/ 13 h 231"/>
                <a:gd name="T22" fmla="*/ 42 w 296"/>
                <a:gd name="T23" fmla="*/ 14 h 231"/>
                <a:gd name="T24" fmla="*/ 16 w 296"/>
                <a:gd name="T25" fmla="*/ 25 h 231"/>
                <a:gd name="T26" fmla="*/ 3 w 296"/>
                <a:gd name="T27" fmla="*/ 37 h 231"/>
                <a:gd name="T28" fmla="*/ 22 w 296"/>
                <a:gd name="T29" fmla="*/ 36 h 231"/>
                <a:gd name="T30" fmla="*/ 18 w 296"/>
                <a:gd name="T31" fmla="*/ 40 h 231"/>
                <a:gd name="T32" fmla="*/ 21 w 296"/>
                <a:gd name="T33" fmla="*/ 54 h 231"/>
                <a:gd name="T34" fmla="*/ 27 w 296"/>
                <a:gd name="T35" fmla="*/ 60 h 231"/>
                <a:gd name="T36" fmla="*/ 51 w 296"/>
                <a:gd name="T37" fmla="*/ 86 h 231"/>
                <a:gd name="T38" fmla="*/ 79 w 296"/>
                <a:gd name="T39" fmla="*/ 88 h 231"/>
                <a:gd name="T40" fmla="*/ 99 w 296"/>
                <a:gd name="T41" fmla="*/ 79 h 231"/>
                <a:gd name="T42" fmla="*/ 107 w 296"/>
                <a:gd name="T43" fmla="*/ 92 h 231"/>
                <a:gd name="T44" fmla="*/ 87 w 296"/>
                <a:gd name="T45" fmla="*/ 102 h 231"/>
                <a:gd name="T46" fmla="*/ 78 w 296"/>
                <a:gd name="T47" fmla="*/ 110 h 231"/>
                <a:gd name="T48" fmla="*/ 66 w 296"/>
                <a:gd name="T49" fmla="*/ 113 h 231"/>
                <a:gd name="T50" fmla="*/ 52 w 296"/>
                <a:gd name="T51" fmla="*/ 112 h 231"/>
                <a:gd name="T52" fmla="*/ 40 w 296"/>
                <a:gd name="T53" fmla="*/ 107 h 231"/>
                <a:gd name="T54" fmla="*/ 38 w 296"/>
                <a:gd name="T55" fmla="*/ 117 h 231"/>
                <a:gd name="T56" fmla="*/ 72 w 296"/>
                <a:gd name="T57" fmla="*/ 157 h 231"/>
                <a:gd name="T58" fmla="*/ 101 w 296"/>
                <a:gd name="T59" fmla="*/ 186 h 231"/>
                <a:gd name="T60" fmla="*/ 127 w 296"/>
                <a:gd name="T61" fmla="*/ 196 h 231"/>
                <a:gd name="T62" fmla="*/ 156 w 296"/>
                <a:gd name="T63" fmla="*/ 186 h 231"/>
                <a:gd name="T64" fmla="*/ 180 w 296"/>
                <a:gd name="T65" fmla="*/ 177 h 231"/>
                <a:gd name="T66" fmla="*/ 192 w 296"/>
                <a:gd name="T67" fmla="*/ 147 h 231"/>
                <a:gd name="T68" fmla="*/ 194 w 296"/>
                <a:gd name="T69" fmla="*/ 129 h 231"/>
                <a:gd name="T70" fmla="*/ 212 w 296"/>
                <a:gd name="T71" fmla="*/ 128 h 231"/>
                <a:gd name="T72" fmla="*/ 204 w 296"/>
                <a:gd name="T73" fmla="*/ 135 h 231"/>
                <a:gd name="T74" fmla="*/ 204 w 296"/>
                <a:gd name="T75" fmla="*/ 146 h 231"/>
                <a:gd name="T76" fmla="*/ 205 w 296"/>
                <a:gd name="T77" fmla="*/ 160 h 231"/>
                <a:gd name="T78" fmla="*/ 209 w 296"/>
                <a:gd name="T79" fmla="*/ 166 h 231"/>
                <a:gd name="T80" fmla="*/ 205 w 296"/>
                <a:gd name="T81" fmla="*/ 181 h 231"/>
                <a:gd name="T82" fmla="*/ 210 w 296"/>
                <a:gd name="T83" fmla="*/ 190 h 231"/>
                <a:gd name="T84" fmla="*/ 212 w 296"/>
                <a:gd name="T85" fmla="*/ 201 h 231"/>
                <a:gd name="T86" fmla="*/ 201 w 296"/>
                <a:gd name="T87" fmla="*/ 223 h 231"/>
                <a:gd name="T88" fmla="*/ 224 w 296"/>
                <a:gd name="T89" fmla="*/ 230 h 231"/>
                <a:gd name="T90" fmla="*/ 235 w 296"/>
                <a:gd name="T91" fmla="*/ 206 h 231"/>
                <a:gd name="T92" fmla="*/ 257 w 296"/>
                <a:gd name="T93" fmla="*/ 208 h 231"/>
                <a:gd name="T94" fmla="*/ 247 w 296"/>
                <a:gd name="T95" fmla="*/ 185 h 231"/>
                <a:gd name="T96" fmla="*/ 272 w 296"/>
                <a:gd name="T97" fmla="*/ 174 h 231"/>
                <a:gd name="T98" fmla="*/ 263 w 296"/>
                <a:gd name="T99" fmla="*/ 161 h 231"/>
                <a:gd name="T100" fmla="*/ 275 w 296"/>
                <a:gd name="T101" fmla="*/ 149 h 231"/>
                <a:gd name="T102" fmla="*/ 284 w 296"/>
                <a:gd name="T103" fmla="*/ 129 h 231"/>
                <a:gd name="T104" fmla="*/ 292 w 296"/>
                <a:gd name="T105" fmla="*/ 102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6" h="231">
                  <a:moveTo>
                    <a:pt x="289" y="93"/>
                  </a:moveTo>
                  <a:cubicBezTo>
                    <a:pt x="289" y="93"/>
                    <a:pt x="289" y="93"/>
                    <a:pt x="289" y="93"/>
                  </a:cubicBezTo>
                  <a:cubicBezTo>
                    <a:pt x="289" y="91"/>
                    <a:pt x="289" y="88"/>
                    <a:pt x="287" y="88"/>
                  </a:cubicBezTo>
                  <a:cubicBezTo>
                    <a:pt x="286" y="88"/>
                    <a:pt x="281" y="90"/>
                    <a:pt x="281" y="87"/>
                  </a:cubicBezTo>
                  <a:cubicBezTo>
                    <a:pt x="282" y="84"/>
                    <a:pt x="283" y="83"/>
                    <a:pt x="281" y="81"/>
                  </a:cubicBezTo>
                  <a:cubicBezTo>
                    <a:pt x="279" y="79"/>
                    <a:pt x="276" y="80"/>
                    <a:pt x="274" y="80"/>
                  </a:cubicBezTo>
                  <a:cubicBezTo>
                    <a:pt x="274" y="79"/>
                    <a:pt x="274" y="79"/>
                    <a:pt x="274" y="79"/>
                  </a:cubicBezTo>
                  <a:cubicBezTo>
                    <a:pt x="271" y="80"/>
                    <a:pt x="271" y="76"/>
                    <a:pt x="269" y="75"/>
                  </a:cubicBezTo>
                  <a:cubicBezTo>
                    <a:pt x="267" y="75"/>
                    <a:pt x="263" y="76"/>
                    <a:pt x="262" y="74"/>
                  </a:cubicBezTo>
                  <a:cubicBezTo>
                    <a:pt x="258" y="71"/>
                    <a:pt x="265" y="61"/>
                    <a:pt x="256" y="66"/>
                  </a:cubicBezTo>
                  <a:cubicBezTo>
                    <a:pt x="254" y="64"/>
                    <a:pt x="256" y="61"/>
                    <a:pt x="254" y="59"/>
                  </a:cubicBezTo>
                  <a:cubicBezTo>
                    <a:pt x="253" y="58"/>
                    <a:pt x="251" y="59"/>
                    <a:pt x="250" y="57"/>
                  </a:cubicBezTo>
                  <a:cubicBezTo>
                    <a:pt x="248" y="54"/>
                    <a:pt x="255" y="50"/>
                    <a:pt x="256" y="48"/>
                  </a:cubicBezTo>
                  <a:cubicBezTo>
                    <a:pt x="257" y="44"/>
                    <a:pt x="253" y="39"/>
                    <a:pt x="250" y="43"/>
                  </a:cubicBezTo>
                  <a:cubicBezTo>
                    <a:pt x="247" y="46"/>
                    <a:pt x="245" y="44"/>
                    <a:pt x="246" y="40"/>
                  </a:cubicBezTo>
                  <a:cubicBezTo>
                    <a:pt x="243" y="41"/>
                    <a:pt x="241" y="37"/>
                    <a:pt x="241" y="34"/>
                  </a:cubicBezTo>
                  <a:cubicBezTo>
                    <a:pt x="242" y="30"/>
                    <a:pt x="245" y="30"/>
                    <a:pt x="248" y="28"/>
                  </a:cubicBezTo>
                  <a:cubicBezTo>
                    <a:pt x="247" y="27"/>
                    <a:pt x="245" y="28"/>
                    <a:pt x="244" y="27"/>
                  </a:cubicBezTo>
                  <a:cubicBezTo>
                    <a:pt x="243" y="26"/>
                    <a:pt x="244" y="24"/>
                    <a:pt x="244" y="22"/>
                  </a:cubicBezTo>
                  <a:cubicBezTo>
                    <a:pt x="242" y="21"/>
                    <a:pt x="239" y="20"/>
                    <a:pt x="238" y="22"/>
                  </a:cubicBezTo>
                  <a:cubicBezTo>
                    <a:pt x="237" y="24"/>
                    <a:pt x="237" y="29"/>
                    <a:pt x="234" y="28"/>
                  </a:cubicBezTo>
                  <a:cubicBezTo>
                    <a:pt x="233" y="24"/>
                    <a:pt x="227" y="26"/>
                    <a:pt x="224" y="26"/>
                  </a:cubicBezTo>
                  <a:cubicBezTo>
                    <a:pt x="224" y="24"/>
                    <a:pt x="224" y="23"/>
                    <a:pt x="224" y="21"/>
                  </a:cubicBezTo>
                  <a:cubicBezTo>
                    <a:pt x="221" y="21"/>
                    <a:pt x="219" y="16"/>
                    <a:pt x="217" y="17"/>
                  </a:cubicBezTo>
                  <a:cubicBezTo>
                    <a:pt x="216" y="19"/>
                    <a:pt x="215" y="20"/>
                    <a:pt x="213" y="21"/>
                  </a:cubicBezTo>
                  <a:cubicBezTo>
                    <a:pt x="213" y="18"/>
                    <a:pt x="213" y="17"/>
                    <a:pt x="211" y="16"/>
                  </a:cubicBezTo>
                  <a:cubicBezTo>
                    <a:pt x="209" y="14"/>
                    <a:pt x="209" y="13"/>
                    <a:pt x="208" y="11"/>
                  </a:cubicBezTo>
                  <a:cubicBezTo>
                    <a:pt x="207" y="9"/>
                    <a:pt x="203" y="11"/>
                    <a:pt x="201" y="10"/>
                  </a:cubicBezTo>
                  <a:cubicBezTo>
                    <a:pt x="199" y="9"/>
                    <a:pt x="199" y="7"/>
                    <a:pt x="199" y="5"/>
                  </a:cubicBezTo>
                  <a:cubicBezTo>
                    <a:pt x="197" y="5"/>
                    <a:pt x="193" y="7"/>
                    <a:pt x="192" y="9"/>
                  </a:cubicBezTo>
                  <a:cubicBezTo>
                    <a:pt x="191" y="9"/>
                    <a:pt x="190" y="8"/>
                    <a:pt x="190" y="7"/>
                  </a:cubicBezTo>
                  <a:cubicBezTo>
                    <a:pt x="189" y="7"/>
                    <a:pt x="188" y="9"/>
                    <a:pt x="188" y="11"/>
                  </a:cubicBezTo>
                  <a:cubicBezTo>
                    <a:pt x="186" y="11"/>
                    <a:pt x="185" y="9"/>
                    <a:pt x="184" y="8"/>
                  </a:cubicBezTo>
                  <a:cubicBezTo>
                    <a:pt x="184" y="5"/>
                    <a:pt x="181" y="5"/>
                    <a:pt x="179" y="6"/>
                  </a:cubicBezTo>
                  <a:cubicBezTo>
                    <a:pt x="177" y="6"/>
                    <a:pt x="175" y="5"/>
                    <a:pt x="173" y="4"/>
                  </a:cubicBezTo>
                  <a:cubicBezTo>
                    <a:pt x="170" y="3"/>
                    <a:pt x="167" y="4"/>
                    <a:pt x="164" y="4"/>
                  </a:cubicBezTo>
                  <a:cubicBezTo>
                    <a:pt x="164" y="5"/>
                    <a:pt x="164" y="6"/>
                    <a:pt x="164" y="7"/>
                  </a:cubicBezTo>
                  <a:cubicBezTo>
                    <a:pt x="162" y="7"/>
                    <a:pt x="160" y="7"/>
                    <a:pt x="160" y="5"/>
                  </a:cubicBezTo>
                  <a:cubicBezTo>
                    <a:pt x="159" y="4"/>
                    <a:pt x="160" y="2"/>
                    <a:pt x="159" y="1"/>
                  </a:cubicBezTo>
                  <a:cubicBezTo>
                    <a:pt x="158" y="0"/>
                    <a:pt x="154" y="1"/>
                    <a:pt x="151" y="2"/>
                  </a:cubicBezTo>
                  <a:cubicBezTo>
                    <a:pt x="151" y="2"/>
                    <a:pt x="151" y="3"/>
                    <a:pt x="151" y="3"/>
                  </a:cubicBezTo>
                  <a:cubicBezTo>
                    <a:pt x="149" y="3"/>
                    <a:pt x="146" y="4"/>
                    <a:pt x="146" y="6"/>
                  </a:cubicBezTo>
                  <a:cubicBezTo>
                    <a:pt x="146" y="6"/>
                    <a:pt x="146" y="7"/>
                    <a:pt x="147" y="7"/>
                  </a:cubicBezTo>
                  <a:cubicBezTo>
                    <a:pt x="147" y="9"/>
                    <a:pt x="145" y="12"/>
                    <a:pt x="146" y="14"/>
                  </a:cubicBezTo>
                  <a:cubicBezTo>
                    <a:pt x="148" y="14"/>
                    <a:pt x="150" y="14"/>
                    <a:pt x="152" y="14"/>
                  </a:cubicBezTo>
                  <a:cubicBezTo>
                    <a:pt x="152" y="15"/>
                    <a:pt x="152" y="15"/>
                    <a:pt x="152" y="15"/>
                  </a:cubicBezTo>
                  <a:cubicBezTo>
                    <a:pt x="152" y="16"/>
                    <a:pt x="152" y="16"/>
                    <a:pt x="151" y="16"/>
                  </a:cubicBezTo>
                  <a:cubicBezTo>
                    <a:pt x="150" y="16"/>
                    <a:pt x="148" y="18"/>
                    <a:pt x="146" y="19"/>
                  </a:cubicBezTo>
                  <a:cubicBezTo>
                    <a:pt x="146" y="18"/>
                    <a:pt x="144" y="18"/>
                    <a:pt x="143" y="18"/>
                  </a:cubicBezTo>
                  <a:cubicBezTo>
                    <a:pt x="142" y="19"/>
                    <a:pt x="142" y="19"/>
                    <a:pt x="142" y="19"/>
                  </a:cubicBezTo>
                  <a:cubicBezTo>
                    <a:pt x="140" y="19"/>
                    <a:pt x="139" y="21"/>
                    <a:pt x="139" y="23"/>
                  </a:cubicBezTo>
                  <a:cubicBezTo>
                    <a:pt x="135" y="23"/>
                    <a:pt x="131" y="23"/>
                    <a:pt x="128" y="22"/>
                  </a:cubicBezTo>
                  <a:cubicBezTo>
                    <a:pt x="124" y="21"/>
                    <a:pt x="127" y="16"/>
                    <a:pt x="126" y="13"/>
                  </a:cubicBezTo>
                  <a:cubicBezTo>
                    <a:pt x="124" y="13"/>
                    <a:pt x="121" y="13"/>
                    <a:pt x="118" y="13"/>
                  </a:cubicBezTo>
                  <a:cubicBezTo>
                    <a:pt x="117" y="13"/>
                    <a:pt x="115" y="13"/>
                    <a:pt x="114" y="13"/>
                  </a:cubicBezTo>
                  <a:cubicBezTo>
                    <a:pt x="113" y="14"/>
                    <a:pt x="112" y="15"/>
                    <a:pt x="110" y="15"/>
                  </a:cubicBezTo>
                  <a:cubicBezTo>
                    <a:pt x="109" y="16"/>
                    <a:pt x="108" y="16"/>
                    <a:pt x="107" y="16"/>
                  </a:cubicBezTo>
                  <a:cubicBezTo>
                    <a:pt x="104" y="16"/>
                    <a:pt x="104" y="16"/>
                    <a:pt x="103" y="17"/>
                  </a:cubicBezTo>
                  <a:cubicBezTo>
                    <a:pt x="101" y="19"/>
                    <a:pt x="99" y="20"/>
                    <a:pt x="98" y="21"/>
                  </a:cubicBezTo>
                  <a:cubicBezTo>
                    <a:pt x="97" y="23"/>
                    <a:pt x="91" y="22"/>
                    <a:pt x="89" y="22"/>
                  </a:cubicBezTo>
                  <a:cubicBezTo>
                    <a:pt x="85" y="22"/>
                    <a:pt x="83" y="21"/>
                    <a:pt x="81" y="18"/>
                  </a:cubicBezTo>
                  <a:cubicBezTo>
                    <a:pt x="80" y="17"/>
                    <a:pt x="79" y="14"/>
                    <a:pt x="78" y="14"/>
                  </a:cubicBezTo>
                  <a:cubicBezTo>
                    <a:pt x="77" y="13"/>
                    <a:pt x="74" y="14"/>
                    <a:pt x="73" y="14"/>
                  </a:cubicBezTo>
                  <a:cubicBezTo>
                    <a:pt x="72" y="14"/>
                    <a:pt x="70" y="13"/>
                    <a:pt x="69" y="13"/>
                  </a:cubicBezTo>
                  <a:cubicBezTo>
                    <a:pt x="67" y="13"/>
                    <a:pt x="67" y="12"/>
                    <a:pt x="66" y="15"/>
                  </a:cubicBezTo>
                  <a:cubicBezTo>
                    <a:pt x="65" y="15"/>
                    <a:pt x="64" y="14"/>
                    <a:pt x="63" y="13"/>
                  </a:cubicBezTo>
                  <a:cubicBezTo>
                    <a:pt x="62" y="13"/>
                    <a:pt x="62" y="13"/>
                    <a:pt x="60" y="13"/>
                  </a:cubicBezTo>
                  <a:cubicBezTo>
                    <a:pt x="59" y="14"/>
                    <a:pt x="57" y="15"/>
                    <a:pt x="54" y="14"/>
                  </a:cubicBezTo>
                  <a:cubicBezTo>
                    <a:pt x="53" y="13"/>
                    <a:pt x="52" y="12"/>
                    <a:pt x="52" y="12"/>
                  </a:cubicBezTo>
                  <a:cubicBezTo>
                    <a:pt x="51" y="12"/>
                    <a:pt x="50" y="13"/>
                    <a:pt x="49" y="13"/>
                  </a:cubicBezTo>
                  <a:cubicBezTo>
                    <a:pt x="46" y="14"/>
                    <a:pt x="46" y="12"/>
                    <a:pt x="45" y="10"/>
                  </a:cubicBezTo>
                  <a:cubicBezTo>
                    <a:pt x="44" y="9"/>
                    <a:pt x="42" y="13"/>
                    <a:pt x="42" y="14"/>
                  </a:cubicBezTo>
                  <a:cubicBezTo>
                    <a:pt x="39" y="14"/>
                    <a:pt x="40" y="10"/>
                    <a:pt x="39" y="9"/>
                  </a:cubicBezTo>
                  <a:cubicBezTo>
                    <a:pt x="38" y="5"/>
                    <a:pt x="37" y="10"/>
                    <a:pt x="37" y="12"/>
                  </a:cubicBezTo>
                  <a:cubicBezTo>
                    <a:pt x="37" y="15"/>
                    <a:pt x="37" y="17"/>
                    <a:pt x="36" y="19"/>
                  </a:cubicBezTo>
                  <a:cubicBezTo>
                    <a:pt x="35" y="21"/>
                    <a:pt x="35" y="24"/>
                    <a:pt x="34" y="25"/>
                  </a:cubicBezTo>
                  <a:cubicBezTo>
                    <a:pt x="29" y="26"/>
                    <a:pt x="24" y="25"/>
                    <a:pt x="19" y="25"/>
                  </a:cubicBezTo>
                  <a:cubicBezTo>
                    <a:pt x="18" y="25"/>
                    <a:pt x="17" y="25"/>
                    <a:pt x="16" y="25"/>
                  </a:cubicBezTo>
                  <a:cubicBezTo>
                    <a:pt x="15" y="25"/>
                    <a:pt x="14" y="24"/>
                    <a:pt x="13" y="24"/>
                  </a:cubicBezTo>
                  <a:cubicBezTo>
                    <a:pt x="12" y="24"/>
                    <a:pt x="12" y="25"/>
                    <a:pt x="11" y="26"/>
                  </a:cubicBezTo>
                  <a:cubicBezTo>
                    <a:pt x="10" y="26"/>
                    <a:pt x="9" y="26"/>
                    <a:pt x="8" y="26"/>
                  </a:cubicBezTo>
                  <a:cubicBezTo>
                    <a:pt x="8" y="27"/>
                    <a:pt x="7" y="27"/>
                    <a:pt x="6" y="28"/>
                  </a:cubicBezTo>
                  <a:cubicBezTo>
                    <a:pt x="6" y="30"/>
                    <a:pt x="7" y="31"/>
                    <a:pt x="5" y="32"/>
                  </a:cubicBezTo>
                  <a:cubicBezTo>
                    <a:pt x="5" y="33"/>
                    <a:pt x="4" y="35"/>
                    <a:pt x="3" y="37"/>
                  </a:cubicBezTo>
                  <a:cubicBezTo>
                    <a:pt x="3" y="37"/>
                    <a:pt x="3" y="37"/>
                    <a:pt x="2" y="37"/>
                  </a:cubicBezTo>
                  <a:cubicBezTo>
                    <a:pt x="2" y="38"/>
                    <a:pt x="2" y="38"/>
                    <a:pt x="2" y="38"/>
                  </a:cubicBezTo>
                  <a:cubicBezTo>
                    <a:pt x="2" y="40"/>
                    <a:pt x="0" y="40"/>
                    <a:pt x="2" y="41"/>
                  </a:cubicBezTo>
                  <a:cubicBezTo>
                    <a:pt x="3" y="42"/>
                    <a:pt x="7" y="43"/>
                    <a:pt x="9" y="43"/>
                  </a:cubicBezTo>
                  <a:cubicBezTo>
                    <a:pt x="13" y="43"/>
                    <a:pt x="12" y="39"/>
                    <a:pt x="14" y="37"/>
                  </a:cubicBezTo>
                  <a:cubicBezTo>
                    <a:pt x="16" y="35"/>
                    <a:pt x="19" y="36"/>
                    <a:pt x="22" y="36"/>
                  </a:cubicBezTo>
                  <a:cubicBezTo>
                    <a:pt x="23" y="35"/>
                    <a:pt x="25" y="34"/>
                    <a:pt x="26" y="34"/>
                  </a:cubicBezTo>
                  <a:cubicBezTo>
                    <a:pt x="27" y="33"/>
                    <a:pt x="28" y="31"/>
                    <a:pt x="29" y="32"/>
                  </a:cubicBezTo>
                  <a:cubicBezTo>
                    <a:pt x="29" y="33"/>
                    <a:pt x="29" y="35"/>
                    <a:pt x="28" y="36"/>
                  </a:cubicBezTo>
                  <a:cubicBezTo>
                    <a:pt x="27" y="37"/>
                    <a:pt x="25" y="36"/>
                    <a:pt x="24" y="37"/>
                  </a:cubicBezTo>
                  <a:cubicBezTo>
                    <a:pt x="23" y="37"/>
                    <a:pt x="22" y="38"/>
                    <a:pt x="21" y="39"/>
                  </a:cubicBezTo>
                  <a:cubicBezTo>
                    <a:pt x="20" y="40"/>
                    <a:pt x="20" y="40"/>
                    <a:pt x="18" y="40"/>
                  </a:cubicBezTo>
                  <a:cubicBezTo>
                    <a:pt x="16" y="40"/>
                    <a:pt x="16" y="40"/>
                    <a:pt x="16" y="40"/>
                  </a:cubicBezTo>
                  <a:cubicBezTo>
                    <a:pt x="15" y="41"/>
                    <a:pt x="15" y="41"/>
                    <a:pt x="15" y="41"/>
                  </a:cubicBezTo>
                  <a:cubicBezTo>
                    <a:pt x="14" y="43"/>
                    <a:pt x="14" y="47"/>
                    <a:pt x="15" y="48"/>
                  </a:cubicBezTo>
                  <a:cubicBezTo>
                    <a:pt x="16" y="48"/>
                    <a:pt x="18" y="48"/>
                    <a:pt x="18" y="50"/>
                  </a:cubicBezTo>
                  <a:cubicBezTo>
                    <a:pt x="19" y="52"/>
                    <a:pt x="18" y="51"/>
                    <a:pt x="16" y="52"/>
                  </a:cubicBezTo>
                  <a:cubicBezTo>
                    <a:pt x="18" y="52"/>
                    <a:pt x="20" y="53"/>
                    <a:pt x="21" y="54"/>
                  </a:cubicBezTo>
                  <a:cubicBezTo>
                    <a:pt x="24" y="55"/>
                    <a:pt x="20" y="57"/>
                    <a:pt x="20" y="59"/>
                  </a:cubicBezTo>
                  <a:cubicBezTo>
                    <a:pt x="22" y="59"/>
                    <a:pt x="22" y="57"/>
                    <a:pt x="24" y="56"/>
                  </a:cubicBezTo>
                  <a:cubicBezTo>
                    <a:pt x="24" y="58"/>
                    <a:pt x="24" y="59"/>
                    <a:pt x="23" y="60"/>
                  </a:cubicBezTo>
                  <a:cubicBezTo>
                    <a:pt x="22" y="60"/>
                    <a:pt x="21" y="60"/>
                    <a:pt x="22" y="62"/>
                  </a:cubicBezTo>
                  <a:cubicBezTo>
                    <a:pt x="23" y="61"/>
                    <a:pt x="25" y="58"/>
                    <a:pt x="27" y="59"/>
                  </a:cubicBezTo>
                  <a:cubicBezTo>
                    <a:pt x="27" y="60"/>
                    <a:pt x="27" y="60"/>
                    <a:pt x="27" y="60"/>
                  </a:cubicBezTo>
                  <a:cubicBezTo>
                    <a:pt x="24" y="60"/>
                    <a:pt x="25" y="64"/>
                    <a:pt x="23" y="63"/>
                  </a:cubicBezTo>
                  <a:cubicBezTo>
                    <a:pt x="24" y="65"/>
                    <a:pt x="25" y="66"/>
                    <a:pt x="26" y="68"/>
                  </a:cubicBezTo>
                  <a:cubicBezTo>
                    <a:pt x="29" y="68"/>
                    <a:pt x="32" y="72"/>
                    <a:pt x="34" y="73"/>
                  </a:cubicBezTo>
                  <a:cubicBezTo>
                    <a:pt x="38" y="75"/>
                    <a:pt x="40" y="76"/>
                    <a:pt x="43" y="79"/>
                  </a:cubicBezTo>
                  <a:cubicBezTo>
                    <a:pt x="44" y="80"/>
                    <a:pt x="46" y="81"/>
                    <a:pt x="47" y="82"/>
                  </a:cubicBezTo>
                  <a:cubicBezTo>
                    <a:pt x="48" y="83"/>
                    <a:pt x="49" y="85"/>
                    <a:pt x="51" y="86"/>
                  </a:cubicBezTo>
                  <a:cubicBezTo>
                    <a:pt x="54" y="86"/>
                    <a:pt x="58" y="85"/>
                    <a:pt x="58" y="89"/>
                  </a:cubicBezTo>
                  <a:cubicBezTo>
                    <a:pt x="59" y="89"/>
                    <a:pt x="61" y="89"/>
                    <a:pt x="62" y="89"/>
                  </a:cubicBezTo>
                  <a:cubicBezTo>
                    <a:pt x="61" y="87"/>
                    <a:pt x="67" y="89"/>
                    <a:pt x="69" y="89"/>
                  </a:cubicBezTo>
                  <a:cubicBezTo>
                    <a:pt x="71" y="89"/>
                    <a:pt x="72" y="90"/>
                    <a:pt x="74" y="89"/>
                  </a:cubicBezTo>
                  <a:cubicBezTo>
                    <a:pt x="76" y="89"/>
                    <a:pt x="77" y="88"/>
                    <a:pt x="78" y="89"/>
                  </a:cubicBezTo>
                  <a:cubicBezTo>
                    <a:pt x="79" y="88"/>
                    <a:pt x="79" y="88"/>
                    <a:pt x="79" y="88"/>
                  </a:cubicBezTo>
                  <a:cubicBezTo>
                    <a:pt x="81" y="86"/>
                    <a:pt x="85" y="88"/>
                    <a:pt x="88" y="87"/>
                  </a:cubicBezTo>
                  <a:cubicBezTo>
                    <a:pt x="90" y="86"/>
                    <a:pt x="90" y="84"/>
                    <a:pt x="93" y="84"/>
                  </a:cubicBezTo>
                  <a:cubicBezTo>
                    <a:pt x="94" y="83"/>
                    <a:pt x="96" y="84"/>
                    <a:pt x="97" y="84"/>
                  </a:cubicBezTo>
                  <a:cubicBezTo>
                    <a:pt x="97" y="83"/>
                    <a:pt x="99" y="81"/>
                    <a:pt x="98" y="81"/>
                  </a:cubicBezTo>
                  <a:cubicBezTo>
                    <a:pt x="97" y="81"/>
                    <a:pt x="97" y="81"/>
                    <a:pt x="96" y="81"/>
                  </a:cubicBezTo>
                  <a:cubicBezTo>
                    <a:pt x="96" y="80"/>
                    <a:pt x="97" y="78"/>
                    <a:pt x="99" y="79"/>
                  </a:cubicBezTo>
                  <a:cubicBezTo>
                    <a:pt x="101" y="80"/>
                    <a:pt x="99" y="82"/>
                    <a:pt x="102" y="80"/>
                  </a:cubicBezTo>
                  <a:cubicBezTo>
                    <a:pt x="102" y="77"/>
                    <a:pt x="106" y="75"/>
                    <a:pt x="109" y="76"/>
                  </a:cubicBezTo>
                  <a:cubicBezTo>
                    <a:pt x="109" y="79"/>
                    <a:pt x="112" y="80"/>
                    <a:pt x="114" y="78"/>
                  </a:cubicBezTo>
                  <a:cubicBezTo>
                    <a:pt x="113" y="79"/>
                    <a:pt x="113" y="80"/>
                    <a:pt x="112" y="81"/>
                  </a:cubicBezTo>
                  <a:cubicBezTo>
                    <a:pt x="111" y="82"/>
                    <a:pt x="110" y="82"/>
                    <a:pt x="109" y="84"/>
                  </a:cubicBezTo>
                  <a:cubicBezTo>
                    <a:pt x="108" y="86"/>
                    <a:pt x="107" y="89"/>
                    <a:pt x="107" y="92"/>
                  </a:cubicBezTo>
                  <a:cubicBezTo>
                    <a:pt x="104" y="93"/>
                    <a:pt x="102" y="96"/>
                    <a:pt x="100" y="97"/>
                  </a:cubicBezTo>
                  <a:cubicBezTo>
                    <a:pt x="99" y="98"/>
                    <a:pt x="97" y="99"/>
                    <a:pt x="97" y="100"/>
                  </a:cubicBezTo>
                  <a:cubicBezTo>
                    <a:pt x="96" y="101"/>
                    <a:pt x="97" y="102"/>
                    <a:pt x="96" y="103"/>
                  </a:cubicBezTo>
                  <a:cubicBezTo>
                    <a:pt x="94" y="103"/>
                    <a:pt x="93" y="103"/>
                    <a:pt x="91" y="103"/>
                  </a:cubicBezTo>
                  <a:cubicBezTo>
                    <a:pt x="90" y="103"/>
                    <a:pt x="91" y="104"/>
                    <a:pt x="89" y="104"/>
                  </a:cubicBezTo>
                  <a:cubicBezTo>
                    <a:pt x="88" y="104"/>
                    <a:pt x="88" y="102"/>
                    <a:pt x="87" y="102"/>
                  </a:cubicBezTo>
                  <a:cubicBezTo>
                    <a:pt x="87" y="102"/>
                    <a:pt x="85" y="102"/>
                    <a:pt x="85" y="102"/>
                  </a:cubicBezTo>
                  <a:cubicBezTo>
                    <a:pt x="83" y="102"/>
                    <a:pt x="82" y="103"/>
                    <a:pt x="81" y="104"/>
                  </a:cubicBezTo>
                  <a:cubicBezTo>
                    <a:pt x="82" y="104"/>
                    <a:pt x="83" y="104"/>
                    <a:pt x="84" y="104"/>
                  </a:cubicBezTo>
                  <a:cubicBezTo>
                    <a:pt x="84" y="106"/>
                    <a:pt x="80" y="107"/>
                    <a:pt x="80" y="109"/>
                  </a:cubicBezTo>
                  <a:cubicBezTo>
                    <a:pt x="79" y="109"/>
                    <a:pt x="79" y="110"/>
                    <a:pt x="78" y="109"/>
                  </a:cubicBezTo>
                  <a:cubicBezTo>
                    <a:pt x="78" y="110"/>
                    <a:pt x="78" y="110"/>
                    <a:pt x="78" y="110"/>
                  </a:cubicBezTo>
                  <a:cubicBezTo>
                    <a:pt x="77" y="110"/>
                    <a:pt x="77" y="110"/>
                    <a:pt x="76" y="110"/>
                  </a:cubicBezTo>
                  <a:cubicBezTo>
                    <a:pt x="77" y="106"/>
                    <a:pt x="72" y="108"/>
                    <a:pt x="71" y="109"/>
                  </a:cubicBezTo>
                  <a:cubicBezTo>
                    <a:pt x="71" y="110"/>
                    <a:pt x="71" y="110"/>
                    <a:pt x="71" y="110"/>
                  </a:cubicBezTo>
                  <a:cubicBezTo>
                    <a:pt x="70" y="111"/>
                    <a:pt x="70" y="110"/>
                    <a:pt x="69" y="111"/>
                  </a:cubicBezTo>
                  <a:cubicBezTo>
                    <a:pt x="68" y="111"/>
                    <a:pt x="67" y="110"/>
                    <a:pt x="67" y="112"/>
                  </a:cubicBezTo>
                  <a:cubicBezTo>
                    <a:pt x="66" y="113"/>
                    <a:pt x="66" y="113"/>
                    <a:pt x="66" y="113"/>
                  </a:cubicBezTo>
                  <a:cubicBezTo>
                    <a:pt x="66" y="112"/>
                    <a:pt x="66" y="111"/>
                    <a:pt x="66" y="111"/>
                  </a:cubicBezTo>
                  <a:cubicBezTo>
                    <a:pt x="63" y="110"/>
                    <a:pt x="61" y="111"/>
                    <a:pt x="58" y="111"/>
                  </a:cubicBezTo>
                  <a:cubicBezTo>
                    <a:pt x="59" y="111"/>
                    <a:pt x="59" y="111"/>
                    <a:pt x="59" y="111"/>
                  </a:cubicBezTo>
                  <a:cubicBezTo>
                    <a:pt x="59" y="112"/>
                    <a:pt x="59" y="113"/>
                    <a:pt x="59" y="113"/>
                  </a:cubicBezTo>
                  <a:cubicBezTo>
                    <a:pt x="57" y="114"/>
                    <a:pt x="57" y="112"/>
                    <a:pt x="55" y="111"/>
                  </a:cubicBezTo>
                  <a:cubicBezTo>
                    <a:pt x="54" y="111"/>
                    <a:pt x="53" y="112"/>
                    <a:pt x="52" y="112"/>
                  </a:cubicBezTo>
                  <a:cubicBezTo>
                    <a:pt x="50" y="113"/>
                    <a:pt x="49" y="113"/>
                    <a:pt x="47" y="113"/>
                  </a:cubicBezTo>
                  <a:cubicBezTo>
                    <a:pt x="46" y="114"/>
                    <a:pt x="46" y="115"/>
                    <a:pt x="44" y="115"/>
                  </a:cubicBezTo>
                  <a:cubicBezTo>
                    <a:pt x="45" y="114"/>
                    <a:pt x="47" y="114"/>
                    <a:pt x="47" y="112"/>
                  </a:cubicBezTo>
                  <a:cubicBezTo>
                    <a:pt x="41" y="112"/>
                    <a:pt x="46" y="108"/>
                    <a:pt x="47" y="106"/>
                  </a:cubicBezTo>
                  <a:cubicBezTo>
                    <a:pt x="46" y="107"/>
                    <a:pt x="45" y="106"/>
                    <a:pt x="43" y="106"/>
                  </a:cubicBezTo>
                  <a:cubicBezTo>
                    <a:pt x="42" y="106"/>
                    <a:pt x="41" y="107"/>
                    <a:pt x="40" y="107"/>
                  </a:cubicBezTo>
                  <a:cubicBezTo>
                    <a:pt x="38" y="107"/>
                    <a:pt x="37" y="105"/>
                    <a:pt x="39" y="104"/>
                  </a:cubicBezTo>
                  <a:cubicBezTo>
                    <a:pt x="40" y="103"/>
                    <a:pt x="42" y="104"/>
                    <a:pt x="42" y="102"/>
                  </a:cubicBezTo>
                  <a:cubicBezTo>
                    <a:pt x="40" y="102"/>
                    <a:pt x="38" y="102"/>
                    <a:pt x="37" y="103"/>
                  </a:cubicBezTo>
                  <a:cubicBezTo>
                    <a:pt x="37" y="103"/>
                    <a:pt x="37" y="104"/>
                    <a:pt x="37" y="105"/>
                  </a:cubicBezTo>
                  <a:cubicBezTo>
                    <a:pt x="37" y="106"/>
                    <a:pt x="36" y="106"/>
                    <a:pt x="36" y="107"/>
                  </a:cubicBezTo>
                  <a:cubicBezTo>
                    <a:pt x="31" y="108"/>
                    <a:pt x="37" y="115"/>
                    <a:pt x="38" y="117"/>
                  </a:cubicBezTo>
                  <a:cubicBezTo>
                    <a:pt x="39" y="119"/>
                    <a:pt x="40" y="121"/>
                    <a:pt x="41" y="123"/>
                  </a:cubicBezTo>
                  <a:cubicBezTo>
                    <a:pt x="44" y="128"/>
                    <a:pt x="49" y="132"/>
                    <a:pt x="52" y="136"/>
                  </a:cubicBezTo>
                  <a:cubicBezTo>
                    <a:pt x="54" y="138"/>
                    <a:pt x="54" y="140"/>
                    <a:pt x="57" y="141"/>
                  </a:cubicBezTo>
                  <a:cubicBezTo>
                    <a:pt x="59" y="143"/>
                    <a:pt x="60" y="145"/>
                    <a:pt x="63" y="147"/>
                  </a:cubicBezTo>
                  <a:cubicBezTo>
                    <a:pt x="65" y="149"/>
                    <a:pt x="66" y="150"/>
                    <a:pt x="68" y="153"/>
                  </a:cubicBezTo>
                  <a:cubicBezTo>
                    <a:pt x="69" y="155"/>
                    <a:pt x="70" y="157"/>
                    <a:pt x="72" y="157"/>
                  </a:cubicBezTo>
                  <a:cubicBezTo>
                    <a:pt x="72" y="157"/>
                    <a:pt x="72" y="157"/>
                    <a:pt x="71" y="157"/>
                  </a:cubicBezTo>
                  <a:cubicBezTo>
                    <a:pt x="72" y="162"/>
                    <a:pt x="78" y="167"/>
                    <a:pt x="81" y="170"/>
                  </a:cubicBezTo>
                  <a:cubicBezTo>
                    <a:pt x="83" y="172"/>
                    <a:pt x="85" y="174"/>
                    <a:pt x="87" y="176"/>
                  </a:cubicBezTo>
                  <a:cubicBezTo>
                    <a:pt x="89" y="177"/>
                    <a:pt x="90" y="177"/>
                    <a:pt x="91" y="179"/>
                  </a:cubicBezTo>
                  <a:cubicBezTo>
                    <a:pt x="92" y="180"/>
                    <a:pt x="93" y="181"/>
                    <a:pt x="94" y="182"/>
                  </a:cubicBezTo>
                  <a:cubicBezTo>
                    <a:pt x="96" y="184"/>
                    <a:pt x="99" y="185"/>
                    <a:pt x="101" y="186"/>
                  </a:cubicBezTo>
                  <a:cubicBezTo>
                    <a:pt x="102" y="187"/>
                    <a:pt x="103" y="189"/>
                    <a:pt x="104" y="189"/>
                  </a:cubicBezTo>
                  <a:cubicBezTo>
                    <a:pt x="105" y="190"/>
                    <a:pt x="106" y="190"/>
                    <a:pt x="108" y="190"/>
                  </a:cubicBezTo>
                  <a:cubicBezTo>
                    <a:pt x="110" y="191"/>
                    <a:pt x="111" y="194"/>
                    <a:pt x="114" y="194"/>
                  </a:cubicBezTo>
                  <a:cubicBezTo>
                    <a:pt x="116" y="194"/>
                    <a:pt x="116" y="193"/>
                    <a:pt x="117" y="193"/>
                  </a:cubicBezTo>
                  <a:cubicBezTo>
                    <a:pt x="119" y="193"/>
                    <a:pt x="119" y="194"/>
                    <a:pt x="121" y="194"/>
                  </a:cubicBezTo>
                  <a:cubicBezTo>
                    <a:pt x="123" y="193"/>
                    <a:pt x="125" y="195"/>
                    <a:pt x="127" y="196"/>
                  </a:cubicBezTo>
                  <a:cubicBezTo>
                    <a:pt x="128" y="194"/>
                    <a:pt x="130" y="194"/>
                    <a:pt x="131" y="193"/>
                  </a:cubicBezTo>
                  <a:cubicBezTo>
                    <a:pt x="134" y="193"/>
                    <a:pt x="136" y="193"/>
                    <a:pt x="138" y="192"/>
                  </a:cubicBezTo>
                  <a:cubicBezTo>
                    <a:pt x="140" y="191"/>
                    <a:pt x="140" y="191"/>
                    <a:pt x="142" y="190"/>
                  </a:cubicBezTo>
                  <a:cubicBezTo>
                    <a:pt x="144" y="190"/>
                    <a:pt x="145" y="190"/>
                    <a:pt x="146" y="190"/>
                  </a:cubicBezTo>
                  <a:cubicBezTo>
                    <a:pt x="147" y="189"/>
                    <a:pt x="148" y="188"/>
                    <a:pt x="151" y="187"/>
                  </a:cubicBezTo>
                  <a:cubicBezTo>
                    <a:pt x="152" y="187"/>
                    <a:pt x="156" y="188"/>
                    <a:pt x="156" y="186"/>
                  </a:cubicBezTo>
                  <a:cubicBezTo>
                    <a:pt x="154" y="186"/>
                    <a:pt x="152" y="186"/>
                    <a:pt x="152" y="187"/>
                  </a:cubicBezTo>
                  <a:cubicBezTo>
                    <a:pt x="150" y="185"/>
                    <a:pt x="156" y="184"/>
                    <a:pt x="157" y="184"/>
                  </a:cubicBezTo>
                  <a:cubicBezTo>
                    <a:pt x="160" y="184"/>
                    <a:pt x="162" y="185"/>
                    <a:pt x="165" y="183"/>
                  </a:cubicBezTo>
                  <a:cubicBezTo>
                    <a:pt x="166" y="181"/>
                    <a:pt x="168" y="182"/>
                    <a:pt x="170" y="181"/>
                  </a:cubicBezTo>
                  <a:cubicBezTo>
                    <a:pt x="172" y="181"/>
                    <a:pt x="174" y="180"/>
                    <a:pt x="175" y="179"/>
                  </a:cubicBezTo>
                  <a:cubicBezTo>
                    <a:pt x="177" y="178"/>
                    <a:pt x="178" y="176"/>
                    <a:pt x="180" y="177"/>
                  </a:cubicBezTo>
                  <a:cubicBezTo>
                    <a:pt x="180" y="176"/>
                    <a:pt x="180" y="175"/>
                    <a:pt x="181" y="174"/>
                  </a:cubicBezTo>
                  <a:cubicBezTo>
                    <a:pt x="181" y="174"/>
                    <a:pt x="181" y="174"/>
                    <a:pt x="181" y="174"/>
                  </a:cubicBezTo>
                  <a:cubicBezTo>
                    <a:pt x="183" y="170"/>
                    <a:pt x="185" y="168"/>
                    <a:pt x="188" y="166"/>
                  </a:cubicBezTo>
                  <a:cubicBezTo>
                    <a:pt x="191" y="163"/>
                    <a:pt x="190" y="159"/>
                    <a:pt x="191" y="156"/>
                  </a:cubicBezTo>
                  <a:cubicBezTo>
                    <a:pt x="193" y="155"/>
                    <a:pt x="192" y="152"/>
                    <a:pt x="192" y="150"/>
                  </a:cubicBezTo>
                  <a:cubicBezTo>
                    <a:pt x="192" y="149"/>
                    <a:pt x="192" y="148"/>
                    <a:pt x="192" y="147"/>
                  </a:cubicBezTo>
                  <a:cubicBezTo>
                    <a:pt x="192" y="146"/>
                    <a:pt x="191" y="145"/>
                    <a:pt x="191" y="144"/>
                  </a:cubicBezTo>
                  <a:cubicBezTo>
                    <a:pt x="190" y="142"/>
                    <a:pt x="191" y="140"/>
                    <a:pt x="192" y="139"/>
                  </a:cubicBezTo>
                  <a:cubicBezTo>
                    <a:pt x="193" y="138"/>
                    <a:pt x="194" y="136"/>
                    <a:pt x="195" y="135"/>
                  </a:cubicBezTo>
                  <a:cubicBezTo>
                    <a:pt x="195" y="135"/>
                    <a:pt x="195" y="134"/>
                    <a:pt x="196" y="134"/>
                  </a:cubicBezTo>
                  <a:cubicBezTo>
                    <a:pt x="194" y="134"/>
                    <a:pt x="193" y="134"/>
                    <a:pt x="192" y="133"/>
                  </a:cubicBezTo>
                  <a:cubicBezTo>
                    <a:pt x="194" y="132"/>
                    <a:pt x="194" y="131"/>
                    <a:pt x="194" y="129"/>
                  </a:cubicBezTo>
                  <a:cubicBezTo>
                    <a:pt x="197" y="128"/>
                    <a:pt x="197" y="131"/>
                    <a:pt x="199" y="131"/>
                  </a:cubicBezTo>
                  <a:cubicBezTo>
                    <a:pt x="201" y="131"/>
                    <a:pt x="201" y="129"/>
                    <a:pt x="203" y="129"/>
                  </a:cubicBezTo>
                  <a:cubicBezTo>
                    <a:pt x="204" y="129"/>
                    <a:pt x="204" y="128"/>
                    <a:pt x="204" y="128"/>
                  </a:cubicBezTo>
                  <a:cubicBezTo>
                    <a:pt x="202" y="128"/>
                    <a:pt x="200" y="128"/>
                    <a:pt x="199" y="128"/>
                  </a:cubicBezTo>
                  <a:cubicBezTo>
                    <a:pt x="199" y="127"/>
                    <a:pt x="201" y="127"/>
                    <a:pt x="202" y="127"/>
                  </a:cubicBezTo>
                  <a:cubicBezTo>
                    <a:pt x="203" y="121"/>
                    <a:pt x="210" y="127"/>
                    <a:pt x="212" y="128"/>
                  </a:cubicBezTo>
                  <a:cubicBezTo>
                    <a:pt x="215" y="130"/>
                    <a:pt x="220" y="130"/>
                    <a:pt x="224" y="128"/>
                  </a:cubicBezTo>
                  <a:cubicBezTo>
                    <a:pt x="222" y="129"/>
                    <a:pt x="220" y="132"/>
                    <a:pt x="219" y="132"/>
                  </a:cubicBezTo>
                  <a:cubicBezTo>
                    <a:pt x="217" y="133"/>
                    <a:pt x="217" y="132"/>
                    <a:pt x="216" y="132"/>
                  </a:cubicBezTo>
                  <a:cubicBezTo>
                    <a:pt x="215" y="131"/>
                    <a:pt x="213" y="132"/>
                    <a:pt x="212" y="131"/>
                  </a:cubicBezTo>
                  <a:cubicBezTo>
                    <a:pt x="210" y="129"/>
                    <a:pt x="209" y="126"/>
                    <a:pt x="206" y="129"/>
                  </a:cubicBezTo>
                  <a:cubicBezTo>
                    <a:pt x="205" y="131"/>
                    <a:pt x="206" y="134"/>
                    <a:pt x="204" y="135"/>
                  </a:cubicBezTo>
                  <a:cubicBezTo>
                    <a:pt x="205" y="136"/>
                    <a:pt x="206" y="136"/>
                    <a:pt x="206" y="137"/>
                  </a:cubicBezTo>
                  <a:cubicBezTo>
                    <a:pt x="204" y="138"/>
                    <a:pt x="204" y="142"/>
                    <a:pt x="204" y="144"/>
                  </a:cubicBezTo>
                  <a:cubicBezTo>
                    <a:pt x="205" y="144"/>
                    <a:pt x="206" y="144"/>
                    <a:pt x="207" y="144"/>
                  </a:cubicBezTo>
                  <a:cubicBezTo>
                    <a:pt x="208" y="142"/>
                    <a:pt x="215" y="142"/>
                    <a:pt x="217" y="143"/>
                  </a:cubicBezTo>
                  <a:cubicBezTo>
                    <a:pt x="215" y="144"/>
                    <a:pt x="213" y="145"/>
                    <a:pt x="210" y="145"/>
                  </a:cubicBezTo>
                  <a:cubicBezTo>
                    <a:pt x="208" y="145"/>
                    <a:pt x="205" y="144"/>
                    <a:pt x="204" y="146"/>
                  </a:cubicBezTo>
                  <a:cubicBezTo>
                    <a:pt x="204" y="148"/>
                    <a:pt x="204" y="150"/>
                    <a:pt x="204" y="151"/>
                  </a:cubicBezTo>
                  <a:cubicBezTo>
                    <a:pt x="204" y="153"/>
                    <a:pt x="203" y="155"/>
                    <a:pt x="203" y="156"/>
                  </a:cubicBezTo>
                  <a:cubicBezTo>
                    <a:pt x="204" y="156"/>
                    <a:pt x="212" y="157"/>
                    <a:pt x="212" y="158"/>
                  </a:cubicBezTo>
                  <a:cubicBezTo>
                    <a:pt x="212" y="159"/>
                    <a:pt x="212" y="159"/>
                    <a:pt x="212" y="159"/>
                  </a:cubicBezTo>
                  <a:cubicBezTo>
                    <a:pt x="210" y="159"/>
                    <a:pt x="207" y="158"/>
                    <a:pt x="204" y="159"/>
                  </a:cubicBezTo>
                  <a:cubicBezTo>
                    <a:pt x="204" y="159"/>
                    <a:pt x="204" y="160"/>
                    <a:pt x="205" y="160"/>
                  </a:cubicBezTo>
                  <a:cubicBezTo>
                    <a:pt x="205" y="161"/>
                    <a:pt x="205" y="161"/>
                    <a:pt x="205" y="162"/>
                  </a:cubicBezTo>
                  <a:cubicBezTo>
                    <a:pt x="208" y="162"/>
                    <a:pt x="209" y="162"/>
                    <a:pt x="211" y="161"/>
                  </a:cubicBezTo>
                  <a:cubicBezTo>
                    <a:pt x="213" y="160"/>
                    <a:pt x="213" y="158"/>
                    <a:pt x="215" y="159"/>
                  </a:cubicBezTo>
                  <a:cubicBezTo>
                    <a:pt x="214" y="159"/>
                    <a:pt x="214" y="159"/>
                    <a:pt x="214" y="159"/>
                  </a:cubicBezTo>
                  <a:cubicBezTo>
                    <a:pt x="214" y="161"/>
                    <a:pt x="212" y="162"/>
                    <a:pt x="210" y="164"/>
                  </a:cubicBezTo>
                  <a:cubicBezTo>
                    <a:pt x="210" y="165"/>
                    <a:pt x="210" y="165"/>
                    <a:pt x="209" y="166"/>
                  </a:cubicBezTo>
                  <a:cubicBezTo>
                    <a:pt x="208" y="167"/>
                    <a:pt x="206" y="166"/>
                    <a:pt x="206" y="168"/>
                  </a:cubicBezTo>
                  <a:cubicBezTo>
                    <a:pt x="207" y="168"/>
                    <a:pt x="207" y="168"/>
                    <a:pt x="207" y="168"/>
                  </a:cubicBezTo>
                  <a:cubicBezTo>
                    <a:pt x="207" y="170"/>
                    <a:pt x="207" y="171"/>
                    <a:pt x="206" y="173"/>
                  </a:cubicBezTo>
                  <a:cubicBezTo>
                    <a:pt x="206" y="174"/>
                    <a:pt x="205" y="174"/>
                    <a:pt x="205" y="175"/>
                  </a:cubicBezTo>
                  <a:cubicBezTo>
                    <a:pt x="205" y="176"/>
                    <a:pt x="205" y="177"/>
                    <a:pt x="206" y="177"/>
                  </a:cubicBezTo>
                  <a:cubicBezTo>
                    <a:pt x="205" y="178"/>
                    <a:pt x="205" y="179"/>
                    <a:pt x="205" y="181"/>
                  </a:cubicBezTo>
                  <a:cubicBezTo>
                    <a:pt x="206" y="181"/>
                    <a:pt x="210" y="180"/>
                    <a:pt x="210" y="182"/>
                  </a:cubicBezTo>
                  <a:cubicBezTo>
                    <a:pt x="208" y="182"/>
                    <a:pt x="207" y="183"/>
                    <a:pt x="207" y="184"/>
                  </a:cubicBezTo>
                  <a:cubicBezTo>
                    <a:pt x="209" y="184"/>
                    <a:pt x="211" y="184"/>
                    <a:pt x="213" y="184"/>
                  </a:cubicBezTo>
                  <a:cubicBezTo>
                    <a:pt x="213" y="185"/>
                    <a:pt x="213" y="185"/>
                    <a:pt x="213" y="185"/>
                  </a:cubicBezTo>
                  <a:cubicBezTo>
                    <a:pt x="211" y="185"/>
                    <a:pt x="210" y="185"/>
                    <a:pt x="209" y="186"/>
                  </a:cubicBezTo>
                  <a:cubicBezTo>
                    <a:pt x="210" y="187"/>
                    <a:pt x="210" y="189"/>
                    <a:pt x="210" y="190"/>
                  </a:cubicBezTo>
                  <a:cubicBezTo>
                    <a:pt x="212" y="190"/>
                    <a:pt x="214" y="190"/>
                    <a:pt x="215" y="190"/>
                  </a:cubicBezTo>
                  <a:cubicBezTo>
                    <a:pt x="215" y="191"/>
                    <a:pt x="215" y="192"/>
                    <a:pt x="215" y="193"/>
                  </a:cubicBezTo>
                  <a:cubicBezTo>
                    <a:pt x="213" y="193"/>
                    <a:pt x="212" y="193"/>
                    <a:pt x="210" y="194"/>
                  </a:cubicBezTo>
                  <a:cubicBezTo>
                    <a:pt x="210" y="195"/>
                    <a:pt x="211" y="197"/>
                    <a:pt x="212" y="198"/>
                  </a:cubicBezTo>
                  <a:cubicBezTo>
                    <a:pt x="213" y="199"/>
                    <a:pt x="214" y="198"/>
                    <a:pt x="216" y="198"/>
                  </a:cubicBezTo>
                  <a:cubicBezTo>
                    <a:pt x="216" y="201"/>
                    <a:pt x="213" y="200"/>
                    <a:pt x="212" y="201"/>
                  </a:cubicBezTo>
                  <a:cubicBezTo>
                    <a:pt x="212" y="205"/>
                    <a:pt x="212" y="208"/>
                    <a:pt x="210" y="212"/>
                  </a:cubicBezTo>
                  <a:cubicBezTo>
                    <a:pt x="210" y="212"/>
                    <a:pt x="210" y="213"/>
                    <a:pt x="209" y="214"/>
                  </a:cubicBezTo>
                  <a:cubicBezTo>
                    <a:pt x="209" y="215"/>
                    <a:pt x="209" y="216"/>
                    <a:pt x="208" y="217"/>
                  </a:cubicBezTo>
                  <a:cubicBezTo>
                    <a:pt x="208" y="217"/>
                    <a:pt x="207" y="217"/>
                    <a:pt x="206" y="218"/>
                  </a:cubicBezTo>
                  <a:cubicBezTo>
                    <a:pt x="205" y="219"/>
                    <a:pt x="206" y="221"/>
                    <a:pt x="205" y="222"/>
                  </a:cubicBezTo>
                  <a:cubicBezTo>
                    <a:pt x="204" y="223"/>
                    <a:pt x="201" y="222"/>
                    <a:pt x="201" y="223"/>
                  </a:cubicBezTo>
                  <a:cubicBezTo>
                    <a:pt x="201" y="225"/>
                    <a:pt x="202" y="226"/>
                    <a:pt x="202" y="227"/>
                  </a:cubicBezTo>
                  <a:cubicBezTo>
                    <a:pt x="202" y="228"/>
                    <a:pt x="202" y="228"/>
                    <a:pt x="201" y="228"/>
                  </a:cubicBezTo>
                  <a:cubicBezTo>
                    <a:pt x="203" y="229"/>
                    <a:pt x="204" y="229"/>
                    <a:pt x="206" y="229"/>
                  </a:cubicBezTo>
                  <a:cubicBezTo>
                    <a:pt x="206" y="227"/>
                    <a:pt x="207" y="226"/>
                    <a:pt x="209" y="225"/>
                  </a:cubicBezTo>
                  <a:cubicBezTo>
                    <a:pt x="210" y="225"/>
                    <a:pt x="212" y="225"/>
                    <a:pt x="213" y="226"/>
                  </a:cubicBezTo>
                  <a:cubicBezTo>
                    <a:pt x="224" y="230"/>
                    <a:pt x="224" y="230"/>
                    <a:pt x="224" y="230"/>
                  </a:cubicBezTo>
                  <a:cubicBezTo>
                    <a:pt x="225" y="230"/>
                    <a:pt x="227" y="231"/>
                    <a:pt x="228" y="230"/>
                  </a:cubicBezTo>
                  <a:cubicBezTo>
                    <a:pt x="229" y="230"/>
                    <a:pt x="229" y="228"/>
                    <a:pt x="229" y="228"/>
                  </a:cubicBezTo>
                  <a:cubicBezTo>
                    <a:pt x="231" y="228"/>
                    <a:pt x="232" y="229"/>
                    <a:pt x="233" y="228"/>
                  </a:cubicBezTo>
                  <a:cubicBezTo>
                    <a:pt x="233" y="227"/>
                    <a:pt x="232" y="223"/>
                    <a:pt x="235" y="222"/>
                  </a:cubicBezTo>
                  <a:cubicBezTo>
                    <a:pt x="237" y="221"/>
                    <a:pt x="235" y="218"/>
                    <a:pt x="236" y="216"/>
                  </a:cubicBezTo>
                  <a:cubicBezTo>
                    <a:pt x="236" y="214"/>
                    <a:pt x="240" y="207"/>
                    <a:pt x="235" y="206"/>
                  </a:cubicBezTo>
                  <a:cubicBezTo>
                    <a:pt x="236" y="205"/>
                    <a:pt x="236" y="204"/>
                    <a:pt x="237" y="203"/>
                  </a:cubicBezTo>
                  <a:cubicBezTo>
                    <a:pt x="239" y="203"/>
                    <a:pt x="239" y="204"/>
                    <a:pt x="240" y="206"/>
                  </a:cubicBezTo>
                  <a:cubicBezTo>
                    <a:pt x="242" y="207"/>
                    <a:pt x="244" y="207"/>
                    <a:pt x="246" y="207"/>
                  </a:cubicBezTo>
                  <a:cubicBezTo>
                    <a:pt x="246" y="208"/>
                    <a:pt x="246" y="209"/>
                    <a:pt x="246" y="210"/>
                  </a:cubicBezTo>
                  <a:cubicBezTo>
                    <a:pt x="248" y="210"/>
                    <a:pt x="248" y="211"/>
                    <a:pt x="249" y="212"/>
                  </a:cubicBezTo>
                  <a:cubicBezTo>
                    <a:pt x="250" y="209"/>
                    <a:pt x="256" y="212"/>
                    <a:pt x="257" y="208"/>
                  </a:cubicBezTo>
                  <a:cubicBezTo>
                    <a:pt x="257" y="207"/>
                    <a:pt x="255" y="206"/>
                    <a:pt x="255" y="205"/>
                  </a:cubicBezTo>
                  <a:cubicBezTo>
                    <a:pt x="255" y="204"/>
                    <a:pt x="260" y="204"/>
                    <a:pt x="261" y="204"/>
                  </a:cubicBezTo>
                  <a:cubicBezTo>
                    <a:pt x="262" y="198"/>
                    <a:pt x="261" y="194"/>
                    <a:pt x="256" y="190"/>
                  </a:cubicBezTo>
                  <a:cubicBezTo>
                    <a:pt x="254" y="188"/>
                    <a:pt x="254" y="187"/>
                    <a:pt x="250" y="187"/>
                  </a:cubicBezTo>
                  <a:cubicBezTo>
                    <a:pt x="250" y="187"/>
                    <a:pt x="248" y="187"/>
                    <a:pt x="247" y="187"/>
                  </a:cubicBezTo>
                  <a:cubicBezTo>
                    <a:pt x="247" y="185"/>
                    <a:pt x="247" y="185"/>
                    <a:pt x="247" y="185"/>
                  </a:cubicBezTo>
                  <a:cubicBezTo>
                    <a:pt x="249" y="185"/>
                    <a:pt x="251" y="185"/>
                    <a:pt x="254" y="185"/>
                  </a:cubicBezTo>
                  <a:cubicBezTo>
                    <a:pt x="255" y="185"/>
                    <a:pt x="256" y="184"/>
                    <a:pt x="257" y="183"/>
                  </a:cubicBezTo>
                  <a:cubicBezTo>
                    <a:pt x="260" y="183"/>
                    <a:pt x="258" y="180"/>
                    <a:pt x="259" y="179"/>
                  </a:cubicBezTo>
                  <a:cubicBezTo>
                    <a:pt x="261" y="176"/>
                    <a:pt x="265" y="177"/>
                    <a:pt x="267" y="177"/>
                  </a:cubicBezTo>
                  <a:cubicBezTo>
                    <a:pt x="267" y="176"/>
                    <a:pt x="267" y="175"/>
                    <a:pt x="267" y="174"/>
                  </a:cubicBezTo>
                  <a:cubicBezTo>
                    <a:pt x="269" y="174"/>
                    <a:pt x="271" y="175"/>
                    <a:pt x="272" y="174"/>
                  </a:cubicBezTo>
                  <a:cubicBezTo>
                    <a:pt x="272" y="173"/>
                    <a:pt x="273" y="172"/>
                    <a:pt x="274" y="172"/>
                  </a:cubicBezTo>
                  <a:cubicBezTo>
                    <a:pt x="275" y="171"/>
                    <a:pt x="277" y="172"/>
                    <a:pt x="279" y="172"/>
                  </a:cubicBezTo>
                  <a:cubicBezTo>
                    <a:pt x="281" y="172"/>
                    <a:pt x="282" y="171"/>
                    <a:pt x="284" y="171"/>
                  </a:cubicBezTo>
                  <a:cubicBezTo>
                    <a:pt x="280" y="168"/>
                    <a:pt x="273" y="164"/>
                    <a:pt x="268" y="168"/>
                  </a:cubicBezTo>
                  <a:cubicBezTo>
                    <a:pt x="262" y="173"/>
                    <a:pt x="264" y="164"/>
                    <a:pt x="261" y="164"/>
                  </a:cubicBezTo>
                  <a:cubicBezTo>
                    <a:pt x="260" y="163"/>
                    <a:pt x="262" y="161"/>
                    <a:pt x="263" y="161"/>
                  </a:cubicBezTo>
                  <a:cubicBezTo>
                    <a:pt x="263" y="159"/>
                    <a:pt x="263" y="158"/>
                    <a:pt x="263" y="157"/>
                  </a:cubicBezTo>
                  <a:cubicBezTo>
                    <a:pt x="262" y="156"/>
                    <a:pt x="259" y="156"/>
                    <a:pt x="260" y="154"/>
                  </a:cubicBezTo>
                  <a:cubicBezTo>
                    <a:pt x="262" y="154"/>
                    <a:pt x="263" y="155"/>
                    <a:pt x="265" y="154"/>
                  </a:cubicBezTo>
                  <a:cubicBezTo>
                    <a:pt x="267" y="154"/>
                    <a:pt x="267" y="151"/>
                    <a:pt x="269" y="151"/>
                  </a:cubicBezTo>
                  <a:cubicBezTo>
                    <a:pt x="270" y="151"/>
                    <a:pt x="271" y="151"/>
                    <a:pt x="272" y="151"/>
                  </a:cubicBezTo>
                  <a:cubicBezTo>
                    <a:pt x="273" y="151"/>
                    <a:pt x="274" y="149"/>
                    <a:pt x="275" y="149"/>
                  </a:cubicBezTo>
                  <a:cubicBezTo>
                    <a:pt x="276" y="149"/>
                    <a:pt x="276" y="149"/>
                    <a:pt x="277" y="149"/>
                  </a:cubicBezTo>
                  <a:cubicBezTo>
                    <a:pt x="276" y="149"/>
                    <a:pt x="276" y="149"/>
                    <a:pt x="276" y="149"/>
                  </a:cubicBezTo>
                  <a:cubicBezTo>
                    <a:pt x="275" y="148"/>
                    <a:pt x="275" y="147"/>
                    <a:pt x="274" y="145"/>
                  </a:cubicBezTo>
                  <a:cubicBezTo>
                    <a:pt x="274" y="143"/>
                    <a:pt x="277" y="141"/>
                    <a:pt x="276" y="139"/>
                  </a:cubicBezTo>
                  <a:cubicBezTo>
                    <a:pt x="275" y="137"/>
                    <a:pt x="274" y="135"/>
                    <a:pt x="272" y="133"/>
                  </a:cubicBezTo>
                  <a:cubicBezTo>
                    <a:pt x="269" y="129"/>
                    <a:pt x="283" y="129"/>
                    <a:pt x="284" y="129"/>
                  </a:cubicBezTo>
                  <a:cubicBezTo>
                    <a:pt x="285" y="121"/>
                    <a:pt x="272" y="127"/>
                    <a:pt x="274" y="119"/>
                  </a:cubicBezTo>
                  <a:cubicBezTo>
                    <a:pt x="277" y="119"/>
                    <a:pt x="279" y="121"/>
                    <a:pt x="281" y="119"/>
                  </a:cubicBezTo>
                  <a:cubicBezTo>
                    <a:pt x="283" y="118"/>
                    <a:pt x="283" y="116"/>
                    <a:pt x="284" y="115"/>
                  </a:cubicBezTo>
                  <a:cubicBezTo>
                    <a:pt x="288" y="114"/>
                    <a:pt x="289" y="115"/>
                    <a:pt x="292" y="112"/>
                  </a:cubicBezTo>
                  <a:cubicBezTo>
                    <a:pt x="294" y="110"/>
                    <a:pt x="296" y="108"/>
                    <a:pt x="296" y="105"/>
                  </a:cubicBezTo>
                  <a:cubicBezTo>
                    <a:pt x="296" y="102"/>
                    <a:pt x="294" y="103"/>
                    <a:pt x="292" y="102"/>
                  </a:cubicBezTo>
                  <a:cubicBezTo>
                    <a:pt x="289" y="101"/>
                    <a:pt x="289" y="98"/>
                    <a:pt x="289" y="96"/>
                  </a:cubicBezTo>
                  <a:cubicBezTo>
                    <a:pt x="289" y="95"/>
                    <a:pt x="289" y="94"/>
                    <a:pt x="289" y="93"/>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54" name="Freeform 282"/>
            <p:cNvSpPr>
              <a:spLocks/>
            </p:cNvSpPr>
            <p:nvPr/>
          </p:nvSpPr>
          <p:spPr bwMode="auto">
            <a:xfrm>
              <a:off x="6022976" y="2449513"/>
              <a:ext cx="909638" cy="754063"/>
            </a:xfrm>
            <a:custGeom>
              <a:avLst/>
              <a:gdLst>
                <a:gd name="T0" fmla="*/ 154 w 257"/>
                <a:gd name="T1" fmla="*/ 192 h 213"/>
                <a:gd name="T2" fmla="*/ 161 w 257"/>
                <a:gd name="T3" fmla="*/ 181 h 213"/>
                <a:gd name="T4" fmla="*/ 162 w 257"/>
                <a:gd name="T5" fmla="*/ 161 h 213"/>
                <a:gd name="T6" fmla="*/ 166 w 257"/>
                <a:gd name="T7" fmla="*/ 142 h 213"/>
                <a:gd name="T8" fmla="*/ 184 w 257"/>
                <a:gd name="T9" fmla="*/ 129 h 213"/>
                <a:gd name="T10" fmla="*/ 208 w 257"/>
                <a:gd name="T11" fmla="*/ 107 h 213"/>
                <a:gd name="T12" fmla="*/ 224 w 257"/>
                <a:gd name="T13" fmla="*/ 100 h 213"/>
                <a:gd name="T14" fmla="*/ 237 w 257"/>
                <a:gd name="T15" fmla="*/ 103 h 213"/>
                <a:gd name="T16" fmla="*/ 246 w 257"/>
                <a:gd name="T17" fmla="*/ 104 h 213"/>
                <a:gd name="T18" fmla="*/ 238 w 257"/>
                <a:gd name="T19" fmla="*/ 96 h 213"/>
                <a:gd name="T20" fmla="*/ 256 w 257"/>
                <a:gd name="T21" fmla="*/ 72 h 213"/>
                <a:gd name="T22" fmla="*/ 252 w 257"/>
                <a:gd name="T23" fmla="*/ 56 h 213"/>
                <a:gd name="T24" fmla="*/ 237 w 257"/>
                <a:gd name="T25" fmla="*/ 52 h 213"/>
                <a:gd name="T26" fmla="*/ 216 w 257"/>
                <a:gd name="T27" fmla="*/ 48 h 213"/>
                <a:gd name="T28" fmla="*/ 208 w 257"/>
                <a:gd name="T29" fmla="*/ 48 h 213"/>
                <a:gd name="T30" fmla="*/ 216 w 257"/>
                <a:gd name="T31" fmla="*/ 33 h 213"/>
                <a:gd name="T32" fmla="*/ 201 w 257"/>
                <a:gd name="T33" fmla="*/ 25 h 213"/>
                <a:gd name="T34" fmla="*/ 196 w 257"/>
                <a:gd name="T35" fmla="*/ 19 h 213"/>
                <a:gd name="T36" fmla="*/ 199 w 257"/>
                <a:gd name="T37" fmla="*/ 10 h 213"/>
                <a:gd name="T38" fmla="*/ 188 w 257"/>
                <a:gd name="T39" fmla="*/ 3 h 213"/>
                <a:gd name="T40" fmla="*/ 168 w 257"/>
                <a:gd name="T41" fmla="*/ 16 h 213"/>
                <a:gd name="T42" fmla="*/ 161 w 257"/>
                <a:gd name="T43" fmla="*/ 25 h 213"/>
                <a:gd name="T44" fmla="*/ 127 w 257"/>
                <a:gd name="T45" fmla="*/ 14 h 213"/>
                <a:gd name="T46" fmla="*/ 107 w 257"/>
                <a:gd name="T47" fmla="*/ 34 h 213"/>
                <a:gd name="T48" fmla="*/ 92 w 257"/>
                <a:gd name="T49" fmla="*/ 46 h 213"/>
                <a:gd name="T50" fmla="*/ 69 w 257"/>
                <a:gd name="T51" fmla="*/ 52 h 213"/>
                <a:gd name="T52" fmla="*/ 62 w 257"/>
                <a:gd name="T53" fmla="*/ 69 h 213"/>
                <a:gd name="T54" fmla="*/ 48 w 257"/>
                <a:gd name="T55" fmla="*/ 79 h 213"/>
                <a:gd name="T56" fmla="*/ 31 w 257"/>
                <a:gd name="T57" fmla="*/ 93 h 213"/>
                <a:gd name="T58" fmla="*/ 21 w 257"/>
                <a:gd name="T59" fmla="*/ 97 h 213"/>
                <a:gd name="T60" fmla="*/ 0 w 257"/>
                <a:gd name="T61" fmla="*/ 104 h 213"/>
                <a:gd name="T62" fmla="*/ 14 w 257"/>
                <a:gd name="T63" fmla="*/ 114 h 213"/>
                <a:gd name="T64" fmla="*/ 24 w 257"/>
                <a:gd name="T65" fmla="*/ 121 h 213"/>
                <a:gd name="T66" fmla="*/ 27 w 257"/>
                <a:gd name="T67" fmla="*/ 140 h 213"/>
                <a:gd name="T68" fmla="*/ 42 w 257"/>
                <a:gd name="T69" fmla="*/ 136 h 213"/>
                <a:gd name="T70" fmla="*/ 62 w 257"/>
                <a:gd name="T71" fmla="*/ 133 h 213"/>
                <a:gd name="T72" fmla="*/ 88 w 257"/>
                <a:gd name="T73" fmla="*/ 132 h 213"/>
                <a:gd name="T74" fmla="*/ 100 w 257"/>
                <a:gd name="T75" fmla="*/ 126 h 213"/>
                <a:gd name="T76" fmla="*/ 110 w 257"/>
                <a:gd name="T77" fmla="*/ 113 h 213"/>
                <a:gd name="T78" fmla="*/ 119 w 257"/>
                <a:gd name="T79" fmla="*/ 105 h 213"/>
                <a:gd name="T80" fmla="*/ 124 w 257"/>
                <a:gd name="T81" fmla="*/ 100 h 213"/>
                <a:gd name="T82" fmla="*/ 142 w 257"/>
                <a:gd name="T83" fmla="*/ 93 h 213"/>
                <a:gd name="T84" fmla="*/ 147 w 257"/>
                <a:gd name="T85" fmla="*/ 90 h 213"/>
                <a:gd name="T86" fmla="*/ 157 w 257"/>
                <a:gd name="T87" fmla="*/ 85 h 213"/>
                <a:gd name="T88" fmla="*/ 165 w 257"/>
                <a:gd name="T89" fmla="*/ 82 h 213"/>
                <a:gd name="T90" fmla="*/ 182 w 257"/>
                <a:gd name="T91" fmla="*/ 76 h 213"/>
                <a:gd name="T92" fmla="*/ 188 w 257"/>
                <a:gd name="T93" fmla="*/ 82 h 213"/>
                <a:gd name="T94" fmla="*/ 195 w 257"/>
                <a:gd name="T95" fmla="*/ 101 h 213"/>
                <a:gd name="T96" fmla="*/ 185 w 257"/>
                <a:gd name="T97" fmla="*/ 111 h 213"/>
                <a:gd name="T98" fmla="*/ 169 w 257"/>
                <a:gd name="T99" fmla="*/ 120 h 213"/>
                <a:gd name="T100" fmla="*/ 160 w 257"/>
                <a:gd name="T101" fmla="*/ 126 h 213"/>
                <a:gd name="T102" fmla="*/ 148 w 257"/>
                <a:gd name="T103" fmla="*/ 135 h 213"/>
                <a:gd name="T104" fmla="*/ 127 w 257"/>
                <a:gd name="T105" fmla="*/ 153 h 213"/>
                <a:gd name="T106" fmla="*/ 116 w 257"/>
                <a:gd name="T107" fmla="*/ 160 h 213"/>
                <a:gd name="T108" fmla="*/ 103 w 257"/>
                <a:gd name="T109" fmla="*/ 182 h 213"/>
                <a:gd name="T110" fmla="*/ 92 w 257"/>
                <a:gd name="T111" fmla="*/ 192 h 213"/>
                <a:gd name="T112" fmla="*/ 90 w 257"/>
                <a:gd name="T113" fmla="*/ 205 h 213"/>
                <a:gd name="T114" fmla="*/ 105 w 257"/>
                <a:gd name="T115" fmla="*/ 205 h 213"/>
                <a:gd name="T116" fmla="*/ 120 w 257"/>
                <a:gd name="T117" fmla="*/ 199 h 213"/>
                <a:gd name="T118" fmla="*/ 134 w 257"/>
                <a:gd name="T119" fmla="*/ 197 h 213"/>
                <a:gd name="T120" fmla="*/ 140 w 257"/>
                <a:gd name="T121" fmla="*/ 19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7" h="213">
                  <a:moveTo>
                    <a:pt x="145" y="200"/>
                  </a:moveTo>
                  <a:cubicBezTo>
                    <a:pt x="146" y="198"/>
                    <a:pt x="146" y="197"/>
                    <a:pt x="146" y="198"/>
                  </a:cubicBezTo>
                  <a:cubicBezTo>
                    <a:pt x="147" y="197"/>
                    <a:pt x="148" y="197"/>
                    <a:pt x="150" y="197"/>
                  </a:cubicBezTo>
                  <a:cubicBezTo>
                    <a:pt x="151" y="196"/>
                    <a:pt x="150" y="196"/>
                    <a:pt x="151" y="195"/>
                  </a:cubicBezTo>
                  <a:cubicBezTo>
                    <a:pt x="151" y="193"/>
                    <a:pt x="153" y="193"/>
                    <a:pt x="154" y="192"/>
                  </a:cubicBezTo>
                  <a:cubicBezTo>
                    <a:pt x="154" y="192"/>
                    <a:pt x="154" y="192"/>
                    <a:pt x="155" y="191"/>
                  </a:cubicBezTo>
                  <a:cubicBezTo>
                    <a:pt x="155" y="191"/>
                    <a:pt x="155" y="190"/>
                    <a:pt x="155" y="190"/>
                  </a:cubicBezTo>
                  <a:cubicBezTo>
                    <a:pt x="156" y="189"/>
                    <a:pt x="156" y="188"/>
                    <a:pt x="156" y="187"/>
                  </a:cubicBezTo>
                  <a:cubicBezTo>
                    <a:pt x="157" y="186"/>
                    <a:pt x="157" y="185"/>
                    <a:pt x="158" y="185"/>
                  </a:cubicBezTo>
                  <a:cubicBezTo>
                    <a:pt x="159" y="183"/>
                    <a:pt x="161" y="183"/>
                    <a:pt x="161" y="181"/>
                  </a:cubicBezTo>
                  <a:cubicBezTo>
                    <a:pt x="161" y="178"/>
                    <a:pt x="159" y="177"/>
                    <a:pt x="160" y="175"/>
                  </a:cubicBezTo>
                  <a:cubicBezTo>
                    <a:pt x="161" y="173"/>
                    <a:pt x="162" y="173"/>
                    <a:pt x="163" y="171"/>
                  </a:cubicBezTo>
                  <a:cubicBezTo>
                    <a:pt x="165" y="170"/>
                    <a:pt x="165" y="168"/>
                    <a:pt x="165" y="166"/>
                  </a:cubicBezTo>
                  <a:cubicBezTo>
                    <a:pt x="162" y="166"/>
                    <a:pt x="163" y="164"/>
                    <a:pt x="163" y="163"/>
                  </a:cubicBezTo>
                  <a:cubicBezTo>
                    <a:pt x="163" y="162"/>
                    <a:pt x="163" y="161"/>
                    <a:pt x="162" y="161"/>
                  </a:cubicBezTo>
                  <a:cubicBezTo>
                    <a:pt x="162" y="160"/>
                    <a:pt x="162" y="160"/>
                    <a:pt x="162" y="159"/>
                  </a:cubicBezTo>
                  <a:cubicBezTo>
                    <a:pt x="161" y="157"/>
                    <a:pt x="160" y="156"/>
                    <a:pt x="160" y="155"/>
                  </a:cubicBezTo>
                  <a:cubicBezTo>
                    <a:pt x="160" y="151"/>
                    <a:pt x="160" y="150"/>
                    <a:pt x="162" y="148"/>
                  </a:cubicBezTo>
                  <a:cubicBezTo>
                    <a:pt x="162" y="147"/>
                    <a:pt x="163" y="146"/>
                    <a:pt x="163" y="145"/>
                  </a:cubicBezTo>
                  <a:cubicBezTo>
                    <a:pt x="164" y="144"/>
                    <a:pt x="165" y="143"/>
                    <a:pt x="166" y="142"/>
                  </a:cubicBezTo>
                  <a:cubicBezTo>
                    <a:pt x="167" y="141"/>
                    <a:pt x="168" y="140"/>
                    <a:pt x="170" y="139"/>
                  </a:cubicBezTo>
                  <a:cubicBezTo>
                    <a:pt x="171" y="139"/>
                    <a:pt x="173" y="139"/>
                    <a:pt x="174" y="139"/>
                  </a:cubicBezTo>
                  <a:cubicBezTo>
                    <a:pt x="174" y="136"/>
                    <a:pt x="177" y="135"/>
                    <a:pt x="178" y="132"/>
                  </a:cubicBezTo>
                  <a:cubicBezTo>
                    <a:pt x="179" y="131"/>
                    <a:pt x="180" y="130"/>
                    <a:pt x="182" y="129"/>
                  </a:cubicBezTo>
                  <a:cubicBezTo>
                    <a:pt x="183" y="129"/>
                    <a:pt x="183" y="129"/>
                    <a:pt x="184" y="129"/>
                  </a:cubicBezTo>
                  <a:cubicBezTo>
                    <a:pt x="185" y="128"/>
                    <a:pt x="185" y="128"/>
                    <a:pt x="186" y="128"/>
                  </a:cubicBezTo>
                  <a:cubicBezTo>
                    <a:pt x="189" y="126"/>
                    <a:pt x="189" y="121"/>
                    <a:pt x="193" y="121"/>
                  </a:cubicBezTo>
                  <a:cubicBezTo>
                    <a:pt x="196" y="121"/>
                    <a:pt x="196" y="120"/>
                    <a:pt x="197" y="118"/>
                  </a:cubicBezTo>
                  <a:cubicBezTo>
                    <a:pt x="198" y="115"/>
                    <a:pt x="202" y="110"/>
                    <a:pt x="205" y="109"/>
                  </a:cubicBezTo>
                  <a:cubicBezTo>
                    <a:pt x="206" y="108"/>
                    <a:pt x="207" y="108"/>
                    <a:pt x="208" y="107"/>
                  </a:cubicBezTo>
                  <a:cubicBezTo>
                    <a:pt x="209" y="107"/>
                    <a:pt x="211" y="106"/>
                    <a:pt x="212" y="106"/>
                  </a:cubicBezTo>
                  <a:cubicBezTo>
                    <a:pt x="213" y="106"/>
                    <a:pt x="214" y="106"/>
                    <a:pt x="215" y="106"/>
                  </a:cubicBezTo>
                  <a:cubicBezTo>
                    <a:pt x="215" y="106"/>
                    <a:pt x="216" y="105"/>
                    <a:pt x="217" y="105"/>
                  </a:cubicBezTo>
                  <a:cubicBezTo>
                    <a:pt x="219" y="104"/>
                    <a:pt x="221" y="104"/>
                    <a:pt x="222" y="104"/>
                  </a:cubicBezTo>
                  <a:cubicBezTo>
                    <a:pt x="224" y="103"/>
                    <a:pt x="223" y="101"/>
                    <a:pt x="224" y="100"/>
                  </a:cubicBezTo>
                  <a:cubicBezTo>
                    <a:pt x="225" y="101"/>
                    <a:pt x="226" y="102"/>
                    <a:pt x="227" y="102"/>
                  </a:cubicBezTo>
                  <a:cubicBezTo>
                    <a:pt x="228" y="102"/>
                    <a:pt x="227" y="101"/>
                    <a:pt x="229" y="101"/>
                  </a:cubicBezTo>
                  <a:cubicBezTo>
                    <a:pt x="230" y="100"/>
                    <a:pt x="232" y="100"/>
                    <a:pt x="233" y="101"/>
                  </a:cubicBezTo>
                  <a:cubicBezTo>
                    <a:pt x="234" y="101"/>
                    <a:pt x="234" y="102"/>
                    <a:pt x="234" y="102"/>
                  </a:cubicBezTo>
                  <a:cubicBezTo>
                    <a:pt x="235" y="103"/>
                    <a:pt x="236" y="103"/>
                    <a:pt x="237" y="103"/>
                  </a:cubicBezTo>
                  <a:cubicBezTo>
                    <a:pt x="238" y="105"/>
                    <a:pt x="237" y="106"/>
                    <a:pt x="237" y="108"/>
                  </a:cubicBezTo>
                  <a:cubicBezTo>
                    <a:pt x="240" y="108"/>
                    <a:pt x="242" y="109"/>
                    <a:pt x="244" y="110"/>
                  </a:cubicBezTo>
                  <a:cubicBezTo>
                    <a:pt x="245" y="111"/>
                    <a:pt x="247" y="112"/>
                    <a:pt x="248" y="112"/>
                  </a:cubicBezTo>
                  <a:cubicBezTo>
                    <a:pt x="249" y="111"/>
                    <a:pt x="249" y="110"/>
                    <a:pt x="250" y="110"/>
                  </a:cubicBezTo>
                  <a:cubicBezTo>
                    <a:pt x="250" y="108"/>
                    <a:pt x="247" y="105"/>
                    <a:pt x="246" y="104"/>
                  </a:cubicBezTo>
                  <a:cubicBezTo>
                    <a:pt x="246" y="103"/>
                    <a:pt x="245" y="103"/>
                    <a:pt x="244" y="102"/>
                  </a:cubicBezTo>
                  <a:cubicBezTo>
                    <a:pt x="244" y="101"/>
                    <a:pt x="242" y="100"/>
                    <a:pt x="242" y="100"/>
                  </a:cubicBezTo>
                  <a:cubicBezTo>
                    <a:pt x="242" y="99"/>
                    <a:pt x="241" y="99"/>
                    <a:pt x="241" y="98"/>
                  </a:cubicBezTo>
                  <a:cubicBezTo>
                    <a:pt x="240" y="98"/>
                    <a:pt x="240" y="97"/>
                    <a:pt x="240" y="96"/>
                  </a:cubicBezTo>
                  <a:cubicBezTo>
                    <a:pt x="239" y="96"/>
                    <a:pt x="238" y="96"/>
                    <a:pt x="238" y="96"/>
                  </a:cubicBezTo>
                  <a:cubicBezTo>
                    <a:pt x="237" y="94"/>
                    <a:pt x="234" y="85"/>
                    <a:pt x="238" y="85"/>
                  </a:cubicBezTo>
                  <a:cubicBezTo>
                    <a:pt x="239" y="84"/>
                    <a:pt x="240" y="82"/>
                    <a:pt x="241" y="82"/>
                  </a:cubicBezTo>
                  <a:cubicBezTo>
                    <a:pt x="242" y="80"/>
                    <a:pt x="248" y="77"/>
                    <a:pt x="247" y="74"/>
                  </a:cubicBezTo>
                  <a:cubicBezTo>
                    <a:pt x="249" y="73"/>
                    <a:pt x="249" y="72"/>
                    <a:pt x="251" y="72"/>
                  </a:cubicBezTo>
                  <a:cubicBezTo>
                    <a:pt x="253" y="72"/>
                    <a:pt x="254" y="72"/>
                    <a:pt x="256" y="72"/>
                  </a:cubicBezTo>
                  <a:cubicBezTo>
                    <a:pt x="256" y="70"/>
                    <a:pt x="256" y="68"/>
                    <a:pt x="256" y="66"/>
                  </a:cubicBezTo>
                  <a:cubicBezTo>
                    <a:pt x="257" y="66"/>
                    <a:pt x="257" y="66"/>
                    <a:pt x="257" y="66"/>
                  </a:cubicBezTo>
                  <a:cubicBezTo>
                    <a:pt x="257" y="64"/>
                    <a:pt x="255" y="64"/>
                    <a:pt x="254" y="63"/>
                  </a:cubicBezTo>
                  <a:cubicBezTo>
                    <a:pt x="254" y="62"/>
                    <a:pt x="254" y="60"/>
                    <a:pt x="254" y="59"/>
                  </a:cubicBezTo>
                  <a:cubicBezTo>
                    <a:pt x="254" y="57"/>
                    <a:pt x="254" y="57"/>
                    <a:pt x="252" y="56"/>
                  </a:cubicBezTo>
                  <a:cubicBezTo>
                    <a:pt x="251" y="55"/>
                    <a:pt x="250" y="55"/>
                    <a:pt x="250" y="53"/>
                  </a:cubicBezTo>
                  <a:cubicBezTo>
                    <a:pt x="249" y="53"/>
                    <a:pt x="249" y="53"/>
                    <a:pt x="248" y="52"/>
                  </a:cubicBezTo>
                  <a:cubicBezTo>
                    <a:pt x="247" y="52"/>
                    <a:pt x="247" y="50"/>
                    <a:pt x="246" y="50"/>
                  </a:cubicBezTo>
                  <a:cubicBezTo>
                    <a:pt x="245" y="49"/>
                    <a:pt x="242" y="50"/>
                    <a:pt x="241" y="50"/>
                  </a:cubicBezTo>
                  <a:cubicBezTo>
                    <a:pt x="239" y="50"/>
                    <a:pt x="238" y="52"/>
                    <a:pt x="237" y="52"/>
                  </a:cubicBezTo>
                  <a:cubicBezTo>
                    <a:pt x="236" y="52"/>
                    <a:pt x="235" y="50"/>
                    <a:pt x="234" y="50"/>
                  </a:cubicBezTo>
                  <a:cubicBezTo>
                    <a:pt x="233" y="50"/>
                    <a:pt x="233" y="50"/>
                    <a:pt x="232" y="50"/>
                  </a:cubicBezTo>
                  <a:cubicBezTo>
                    <a:pt x="230" y="51"/>
                    <a:pt x="229" y="51"/>
                    <a:pt x="227" y="50"/>
                  </a:cubicBezTo>
                  <a:cubicBezTo>
                    <a:pt x="225" y="49"/>
                    <a:pt x="223" y="47"/>
                    <a:pt x="221" y="47"/>
                  </a:cubicBezTo>
                  <a:cubicBezTo>
                    <a:pt x="220" y="47"/>
                    <a:pt x="217" y="48"/>
                    <a:pt x="216" y="48"/>
                  </a:cubicBezTo>
                  <a:cubicBezTo>
                    <a:pt x="215" y="49"/>
                    <a:pt x="213" y="50"/>
                    <a:pt x="212" y="51"/>
                  </a:cubicBezTo>
                  <a:cubicBezTo>
                    <a:pt x="211" y="52"/>
                    <a:pt x="212" y="53"/>
                    <a:pt x="211" y="54"/>
                  </a:cubicBezTo>
                  <a:cubicBezTo>
                    <a:pt x="210" y="54"/>
                    <a:pt x="209" y="54"/>
                    <a:pt x="208" y="53"/>
                  </a:cubicBezTo>
                  <a:cubicBezTo>
                    <a:pt x="207" y="53"/>
                    <a:pt x="206" y="53"/>
                    <a:pt x="205" y="53"/>
                  </a:cubicBezTo>
                  <a:cubicBezTo>
                    <a:pt x="204" y="50"/>
                    <a:pt x="208" y="50"/>
                    <a:pt x="208" y="48"/>
                  </a:cubicBezTo>
                  <a:cubicBezTo>
                    <a:pt x="206" y="48"/>
                    <a:pt x="207" y="44"/>
                    <a:pt x="208" y="43"/>
                  </a:cubicBezTo>
                  <a:cubicBezTo>
                    <a:pt x="209" y="43"/>
                    <a:pt x="210" y="42"/>
                    <a:pt x="211" y="41"/>
                  </a:cubicBezTo>
                  <a:cubicBezTo>
                    <a:pt x="212" y="40"/>
                    <a:pt x="211" y="41"/>
                    <a:pt x="211" y="39"/>
                  </a:cubicBezTo>
                  <a:cubicBezTo>
                    <a:pt x="211" y="36"/>
                    <a:pt x="215" y="36"/>
                    <a:pt x="216" y="34"/>
                  </a:cubicBezTo>
                  <a:cubicBezTo>
                    <a:pt x="216" y="34"/>
                    <a:pt x="216" y="33"/>
                    <a:pt x="216" y="33"/>
                  </a:cubicBezTo>
                  <a:cubicBezTo>
                    <a:pt x="217" y="32"/>
                    <a:pt x="218" y="33"/>
                    <a:pt x="218" y="32"/>
                  </a:cubicBezTo>
                  <a:cubicBezTo>
                    <a:pt x="218" y="31"/>
                    <a:pt x="214" y="29"/>
                    <a:pt x="213" y="28"/>
                  </a:cubicBezTo>
                  <a:cubicBezTo>
                    <a:pt x="212" y="27"/>
                    <a:pt x="211" y="25"/>
                    <a:pt x="210" y="24"/>
                  </a:cubicBezTo>
                  <a:cubicBezTo>
                    <a:pt x="210" y="22"/>
                    <a:pt x="210" y="21"/>
                    <a:pt x="210" y="20"/>
                  </a:cubicBezTo>
                  <a:cubicBezTo>
                    <a:pt x="206" y="19"/>
                    <a:pt x="201" y="21"/>
                    <a:pt x="201" y="25"/>
                  </a:cubicBezTo>
                  <a:cubicBezTo>
                    <a:pt x="201" y="27"/>
                    <a:pt x="201" y="28"/>
                    <a:pt x="200" y="28"/>
                  </a:cubicBezTo>
                  <a:cubicBezTo>
                    <a:pt x="199" y="29"/>
                    <a:pt x="198" y="28"/>
                    <a:pt x="198" y="27"/>
                  </a:cubicBezTo>
                  <a:cubicBezTo>
                    <a:pt x="197" y="26"/>
                    <a:pt x="199" y="24"/>
                    <a:pt x="198" y="22"/>
                  </a:cubicBezTo>
                  <a:cubicBezTo>
                    <a:pt x="197" y="22"/>
                    <a:pt x="195" y="22"/>
                    <a:pt x="194" y="22"/>
                  </a:cubicBezTo>
                  <a:cubicBezTo>
                    <a:pt x="194" y="20"/>
                    <a:pt x="195" y="20"/>
                    <a:pt x="196" y="19"/>
                  </a:cubicBezTo>
                  <a:cubicBezTo>
                    <a:pt x="196" y="19"/>
                    <a:pt x="197" y="19"/>
                    <a:pt x="197" y="19"/>
                  </a:cubicBezTo>
                  <a:cubicBezTo>
                    <a:pt x="197" y="18"/>
                    <a:pt x="200" y="14"/>
                    <a:pt x="201" y="14"/>
                  </a:cubicBezTo>
                  <a:cubicBezTo>
                    <a:pt x="202" y="13"/>
                    <a:pt x="203" y="14"/>
                    <a:pt x="204" y="13"/>
                  </a:cubicBezTo>
                  <a:cubicBezTo>
                    <a:pt x="204" y="12"/>
                    <a:pt x="203" y="11"/>
                    <a:pt x="203" y="10"/>
                  </a:cubicBezTo>
                  <a:cubicBezTo>
                    <a:pt x="202" y="10"/>
                    <a:pt x="201" y="10"/>
                    <a:pt x="199" y="10"/>
                  </a:cubicBezTo>
                  <a:cubicBezTo>
                    <a:pt x="197" y="11"/>
                    <a:pt x="196" y="9"/>
                    <a:pt x="195" y="7"/>
                  </a:cubicBezTo>
                  <a:cubicBezTo>
                    <a:pt x="195" y="6"/>
                    <a:pt x="195" y="7"/>
                    <a:pt x="194" y="6"/>
                  </a:cubicBezTo>
                  <a:cubicBezTo>
                    <a:pt x="194" y="5"/>
                    <a:pt x="192" y="5"/>
                    <a:pt x="192" y="4"/>
                  </a:cubicBezTo>
                  <a:cubicBezTo>
                    <a:pt x="191" y="3"/>
                    <a:pt x="191" y="1"/>
                    <a:pt x="189" y="0"/>
                  </a:cubicBezTo>
                  <a:cubicBezTo>
                    <a:pt x="189" y="2"/>
                    <a:pt x="189" y="2"/>
                    <a:pt x="188" y="3"/>
                  </a:cubicBezTo>
                  <a:cubicBezTo>
                    <a:pt x="187" y="3"/>
                    <a:pt x="187" y="4"/>
                    <a:pt x="187" y="4"/>
                  </a:cubicBezTo>
                  <a:cubicBezTo>
                    <a:pt x="186" y="5"/>
                    <a:pt x="185" y="5"/>
                    <a:pt x="185" y="5"/>
                  </a:cubicBezTo>
                  <a:cubicBezTo>
                    <a:pt x="182" y="7"/>
                    <a:pt x="180" y="8"/>
                    <a:pt x="178" y="9"/>
                  </a:cubicBezTo>
                  <a:cubicBezTo>
                    <a:pt x="175" y="10"/>
                    <a:pt x="173" y="12"/>
                    <a:pt x="171" y="13"/>
                  </a:cubicBezTo>
                  <a:cubicBezTo>
                    <a:pt x="170" y="14"/>
                    <a:pt x="168" y="15"/>
                    <a:pt x="168" y="16"/>
                  </a:cubicBezTo>
                  <a:cubicBezTo>
                    <a:pt x="168" y="16"/>
                    <a:pt x="169" y="17"/>
                    <a:pt x="169" y="18"/>
                  </a:cubicBezTo>
                  <a:cubicBezTo>
                    <a:pt x="169" y="18"/>
                    <a:pt x="169" y="19"/>
                    <a:pt x="169" y="19"/>
                  </a:cubicBezTo>
                  <a:cubicBezTo>
                    <a:pt x="168" y="19"/>
                    <a:pt x="167" y="19"/>
                    <a:pt x="166" y="19"/>
                  </a:cubicBezTo>
                  <a:cubicBezTo>
                    <a:pt x="167" y="20"/>
                    <a:pt x="167" y="23"/>
                    <a:pt x="166" y="24"/>
                  </a:cubicBezTo>
                  <a:cubicBezTo>
                    <a:pt x="165" y="25"/>
                    <a:pt x="163" y="25"/>
                    <a:pt x="161" y="25"/>
                  </a:cubicBezTo>
                  <a:cubicBezTo>
                    <a:pt x="159" y="25"/>
                    <a:pt x="157" y="24"/>
                    <a:pt x="155" y="22"/>
                  </a:cubicBezTo>
                  <a:cubicBezTo>
                    <a:pt x="153" y="21"/>
                    <a:pt x="151" y="21"/>
                    <a:pt x="149" y="21"/>
                  </a:cubicBezTo>
                  <a:cubicBezTo>
                    <a:pt x="147" y="20"/>
                    <a:pt x="145" y="21"/>
                    <a:pt x="143" y="21"/>
                  </a:cubicBezTo>
                  <a:cubicBezTo>
                    <a:pt x="140" y="21"/>
                    <a:pt x="139" y="21"/>
                    <a:pt x="136" y="19"/>
                  </a:cubicBezTo>
                  <a:cubicBezTo>
                    <a:pt x="134" y="17"/>
                    <a:pt x="130" y="14"/>
                    <a:pt x="127" y="14"/>
                  </a:cubicBezTo>
                  <a:cubicBezTo>
                    <a:pt x="127" y="17"/>
                    <a:pt x="127" y="18"/>
                    <a:pt x="124" y="19"/>
                  </a:cubicBezTo>
                  <a:cubicBezTo>
                    <a:pt x="122" y="20"/>
                    <a:pt x="120" y="20"/>
                    <a:pt x="118" y="20"/>
                  </a:cubicBezTo>
                  <a:cubicBezTo>
                    <a:pt x="115" y="21"/>
                    <a:pt x="115" y="23"/>
                    <a:pt x="113" y="25"/>
                  </a:cubicBezTo>
                  <a:cubicBezTo>
                    <a:pt x="111" y="26"/>
                    <a:pt x="110" y="27"/>
                    <a:pt x="109" y="29"/>
                  </a:cubicBezTo>
                  <a:cubicBezTo>
                    <a:pt x="109" y="30"/>
                    <a:pt x="108" y="34"/>
                    <a:pt x="107" y="34"/>
                  </a:cubicBezTo>
                  <a:cubicBezTo>
                    <a:pt x="106" y="34"/>
                    <a:pt x="103" y="33"/>
                    <a:pt x="103" y="34"/>
                  </a:cubicBezTo>
                  <a:cubicBezTo>
                    <a:pt x="102" y="35"/>
                    <a:pt x="104" y="36"/>
                    <a:pt x="104" y="37"/>
                  </a:cubicBezTo>
                  <a:cubicBezTo>
                    <a:pt x="104" y="38"/>
                    <a:pt x="99" y="40"/>
                    <a:pt x="98" y="40"/>
                  </a:cubicBezTo>
                  <a:cubicBezTo>
                    <a:pt x="99" y="42"/>
                    <a:pt x="96" y="43"/>
                    <a:pt x="94" y="44"/>
                  </a:cubicBezTo>
                  <a:cubicBezTo>
                    <a:pt x="93" y="45"/>
                    <a:pt x="93" y="45"/>
                    <a:pt x="92" y="46"/>
                  </a:cubicBezTo>
                  <a:cubicBezTo>
                    <a:pt x="91" y="47"/>
                    <a:pt x="90" y="48"/>
                    <a:pt x="89" y="48"/>
                  </a:cubicBezTo>
                  <a:cubicBezTo>
                    <a:pt x="88" y="49"/>
                    <a:pt x="86" y="48"/>
                    <a:pt x="84" y="48"/>
                  </a:cubicBezTo>
                  <a:cubicBezTo>
                    <a:pt x="83" y="49"/>
                    <a:pt x="83" y="49"/>
                    <a:pt x="82" y="49"/>
                  </a:cubicBezTo>
                  <a:cubicBezTo>
                    <a:pt x="80" y="50"/>
                    <a:pt x="77" y="51"/>
                    <a:pt x="75" y="52"/>
                  </a:cubicBezTo>
                  <a:cubicBezTo>
                    <a:pt x="73" y="53"/>
                    <a:pt x="71" y="52"/>
                    <a:pt x="69" y="52"/>
                  </a:cubicBezTo>
                  <a:cubicBezTo>
                    <a:pt x="67" y="53"/>
                    <a:pt x="68" y="55"/>
                    <a:pt x="68" y="57"/>
                  </a:cubicBezTo>
                  <a:cubicBezTo>
                    <a:pt x="68" y="59"/>
                    <a:pt x="68" y="61"/>
                    <a:pt x="67" y="63"/>
                  </a:cubicBezTo>
                  <a:cubicBezTo>
                    <a:pt x="66" y="63"/>
                    <a:pt x="66" y="64"/>
                    <a:pt x="65" y="65"/>
                  </a:cubicBezTo>
                  <a:cubicBezTo>
                    <a:pt x="65" y="66"/>
                    <a:pt x="64" y="66"/>
                    <a:pt x="63" y="66"/>
                  </a:cubicBezTo>
                  <a:cubicBezTo>
                    <a:pt x="63" y="67"/>
                    <a:pt x="63" y="68"/>
                    <a:pt x="62" y="69"/>
                  </a:cubicBezTo>
                  <a:cubicBezTo>
                    <a:pt x="61" y="69"/>
                    <a:pt x="60" y="69"/>
                    <a:pt x="59" y="70"/>
                  </a:cubicBezTo>
                  <a:cubicBezTo>
                    <a:pt x="58" y="71"/>
                    <a:pt x="58" y="72"/>
                    <a:pt x="57" y="72"/>
                  </a:cubicBezTo>
                  <a:cubicBezTo>
                    <a:pt x="56" y="73"/>
                    <a:pt x="56" y="73"/>
                    <a:pt x="55" y="74"/>
                  </a:cubicBezTo>
                  <a:cubicBezTo>
                    <a:pt x="53" y="74"/>
                    <a:pt x="50" y="75"/>
                    <a:pt x="49" y="76"/>
                  </a:cubicBezTo>
                  <a:cubicBezTo>
                    <a:pt x="49" y="77"/>
                    <a:pt x="49" y="78"/>
                    <a:pt x="48" y="79"/>
                  </a:cubicBezTo>
                  <a:cubicBezTo>
                    <a:pt x="47" y="80"/>
                    <a:pt x="46" y="80"/>
                    <a:pt x="46" y="82"/>
                  </a:cubicBezTo>
                  <a:cubicBezTo>
                    <a:pt x="47" y="82"/>
                    <a:pt x="49" y="83"/>
                    <a:pt x="49" y="84"/>
                  </a:cubicBezTo>
                  <a:cubicBezTo>
                    <a:pt x="52" y="88"/>
                    <a:pt x="40" y="89"/>
                    <a:pt x="41" y="93"/>
                  </a:cubicBezTo>
                  <a:cubicBezTo>
                    <a:pt x="39" y="94"/>
                    <a:pt x="36" y="92"/>
                    <a:pt x="35" y="93"/>
                  </a:cubicBezTo>
                  <a:cubicBezTo>
                    <a:pt x="32" y="95"/>
                    <a:pt x="32" y="96"/>
                    <a:pt x="31" y="93"/>
                  </a:cubicBezTo>
                  <a:cubicBezTo>
                    <a:pt x="30" y="93"/>
                    <a:pt x="29" y="93"/>
                    <a:pt x="28" y="93"/>
                  </a:cubicBezTo>
                  <a:cubicBezTo>
                    <a:pt x="29" y="93"/>
                    <a:pt x="29" y="93"/>
                    <a:pt x="29" y="93"/>
                  </a:cubicBezTo>
                  <a:cubicBezTo>
                    <a:pt x="29" y="94"/>
                    <a:pt x="29" y="94"/>
                    <a:pt x="29" y="95"/>
                  </a:cubicBezTo>
                  <a:cubicBezTo>
                    <a:pt x="26" y="95"/>
                    <a:pt x="25" y="95"/>
                    <a:pt x="23" y="96"/>
                  </a:cubicBezTo>
                  <a:cubicBezTo>
                    <a:pt x="22" y="96"/>
                    <a:pt x="21" y="96"/>
                    <a:pt x="21" y="97"/>
                  </a:cubicBezTo>
                  <a:cubicBezTo>
                    <a:pt x="20" y="98"/>
                    <a:pt x="20" y="99"/>
                    <a:pt x="19" y="100"/>
                  </a:cubicBezTo>
                  <a:cubicBezTo>
                    <a:pt x="18" y="100"/>
                    <a:pt x="17" y="100"/>
                    <a:pt x="16" y="100"/>
                  </a:cubicBezTo>
                  <a:cubicBezTo>
                    <a:pt x="14" y="99"/>
                    <a:pt x="12" y="99"/>
                    <a:pt x="10" y="99"/>
                  </a:cubicBezTo>
                  <a:cubicBezTo>
                    <a:pt x="7" y="99"/>
                    <a:pt x="5" y="98"/>
                    <a:pt x="3" y="98"/>
                  </a:cubicBezTo>
                  <a:cubicBezTo>
                    <a:pt x="2" y="100"/>
                    <a:pt x="3" y="104"/>
                    <a:pt x="0" y="104"/>
                  </a:cubicBezTo>
                  <a:cubicBezTo>
                    <a:pt x="1" y="105"/>
                    <a:pt x="2" y="106"/>
                    <a:pt x="2" y="107"/>
                  </a:cubicBezTo>
                  <a:cubicBezTo>
                    <a:pt x="2" y="108"/>
                    <a:pt x="2" y="110"/>
                    <a:pt x="3" y="110"/>
                  </a:cubicBezTo>
                  <a:cubicBezTo>
                    <a:pt x="4" y="112"/>
                    <a:pt x="5" y="112"/>
                    <a:pt x="7" y="113"/>
                  </a:cubicBezTo>
                  <a:cubicBezTo>
                    <a:pt x="9" y="114"/>
                    <a:pt x="8" y="114"/>
                    <a:pt x="9" y="116"/>
                  </a:cubicBezTo>
                  <a:cubicBezTo>
                    <a:pt x="10" y="114"/>
                    <a:pt x="11" y="114"/>
                    <a:pt x="14" y="114"/>
                  </a:cubicBezTo>
                  <a:cubicBezTo>
                    <a:pt x="16" y="114"/>
                    <a:pt x="17" y="113"/>
                    <a:pt x="18" y="113"/>
                  </a:cubicBezTo>
                  <a:cubicBezTo>
                    <a:pt x="20" y="112"/>
                    <a:pt x="20" y="113"/>
                    <a:pt x="21" y="114"/>
                  </a:cubicBezTo>
                  <a:cubicBezTo>
                    <a:pt x="22" y="116"/>
                    <a:pt x="23" y="117"/>
                    <a:pt x="24" y="118"/>
                  </a:cubicBezTo>
                  <a:cubicBezTo>
                    <a:pt x="25" y="118"/>
                    <a:pt x="26" y="119"/>
                    <a:pt x="26" y="120"/>
                  </a:cubicBezTo>
                  <a:cubicBezTo>
                    <a:pt x="25" y="121"/>
                    <a:pt x="24" y="121"/>
                    <a:pt x="24" y="121"/>
                  </a:cubicBezTo>
                  <a:cubicBezTo>
                    <a:pt x="23" y="122"/>
                    <a:pt x="24" y="123"/>
                    <a:pt x="24" y="124"/>
                  </a:cubicBezTo>
                  <a:cubicBezTo>
                    <a:pt x="23" y="124"/>
                    <a:pt x="22" y="124"/>
                    <a:pt x="21" y="125"/>
                  </a:cubicBezTo>
                  <a:cubicBezTo>
                    <a:pt x="21" y="126"/>
                    <a:pt x="21" y="128"/>
                    <a:pt x="21" y="129"/>
                  </a:cubicBezTo>
                  <a:cubicBezTo>
                    <a:pt x="21" y="130"/>
                    <a:pt x="24" y="132"/>
                    <a:pt x="26" y="133"/>
                  </a:cubicBezTo>
                  <a:cubicBezTo>
                    <a:pt x="26" y="135"/>
                    <a:pt x="28" y="137"/>
                    <a:pt x="27" y="140"/>
                  </a:cubicBezTo>
                  <a:cubicBezTo>
                    <a:pt x="27" y="140"/>
                    <a:pt x="28" y="139"/>
                    <a:pt x="29" y="139"/>
                  </a:cubicBezTo>
                  <a:cubicBezTo>
                    <a:pt x="30" y="139"/>
                    <a:pt x="31" y="139"/>
                    <a:pt x="33" y="138"/>
                  </a:cubicBezTo>
                  <a:cubicBezTo>
                    <a:pt x="33" y="138"/>
                    <a:pt x="34" y="138"/>
                    <a:pt x="35" y="138"/>
                  </a:cubicBezTo>
                  <a:cubicBezTo>
                    <a:pt x="36" y="138"/>
                    <a:pt x="37" y="137"/>
                    <a:pt x="38" y="137"/>
                  </a:cubicBezTo>
                  <a:cubicBezTo>
                    <a:pt x="39" y="136"/>
                    <a:pt x="41" y="136"/>
                    <a:pt x="42" y="136"/>
                  </a:cubicBezTo>
                  <a:cubicBezTo>
                    <a:pt x="44" y="136"/>
                    <a:pt x="45" y="135"/>
                    <a:pt x="47" y="134"/>
                  </a:cubicBezTo>
                  <a:cubicBezTo>
                    <a:pt x="48" y="134"/>
                    <a:pt x="48" y="133"/>
                    <a:pt x="49" y="133"/>
                  </a:cubicBezTo>
                  <a:cubicBezTo>
                    <a:pt x="50" y="133"/>
                    <a:pt x="50" y="133"/>
                    <a:pt x="51" y="133"/>
                  </a:cubicBezTo>
                  <a:cubicBezTo>
                    <a:pt x="52" y="132"/>
                    <a:pt x="52" y="131"/>
                    <a:pt x="54" y="131"/>
                  </a:cubicBezTo>
                  <a:cubicBezTo>
                    <a:pt x="57" y="131"/>
                    <a:pt x="59" y="132"/>
                    <a:pt x="62" y="133"/>
                  </a:cubicBezTo>
                  <a:cubicBezTo>
                    <a:pt x="63" y="133"/>
                    <a:pt x="65" y="133"/>
                    <a:pt x="66" y="134"/>
                  </a:cubicBezTo>
                  <a:cubicBezTo>
                    <a:pt x="68" y="135"/>
                    <a:pt x="70" y="135"/>
                    <a:pt x="72" y="135"/>
                  </a:cubicBezTo>
                  <a:cubicBezTo>
                    <a:pt x="73" y="135"/>
                    <a:pt x="75" y="135"/>
                    <a:pt x="76" y="134"/>
                  </a:cubicBezTo>
                  <a:cubicBezTo>
                    <a:pt x="79" y="132"/>
                    <a:pt x="81" y="132"/>
                    <a:pt x="84" y="132"/>
                  </a:cubicBezTo>
                  <a:cubicBezTo>
                    <a:pt x="85" y="132"/>
                    <a:pt x="87" y="132"/>
                    <a:pt x="88" y="132"/>
                  </a:cubicBezTo>
                  <a:cubicBezTo>
                    <a:pt x="88" y="132"/>
                    <a:pt x="89" y="131"/>
                    <a:pt x="90" y="131"/>
                  </a:cubicBezTo>
                  <a:cubicBezTo>
                    <a:pt x="90" y="131"/>
                    <a:pt x="91" y="131"/>
                    <a:pt x="91" y="131"/>
                  </a:cubicBezTo>
                  <a:cubicBezTo>
                    <a:pt x="93" y="131"/>
                    <a:pt x="94" y="131"/>
                    <a:pt x="95" y="131"/>
                  </a:cubicBezTo>
                  <a:cubicBezTo>
                    <a:pt x="97" y="131"/>
                    <a:pt x="98" y="130"/>
                    <a:pt x="99" y="129"/>
                  </a:cubicBezTo>
                  <a:cubicBezTo>
                    <a:pt x="99" y="128"/>
                    <a:pt x="100" y="127"/>
                    <a:pt x="100" y="126"/>
                  </a:cubicBezTo>
                  <a:cubicBezTo>
                    <a:pt x="101" y="125"/>
                    <a:pt x="102" y="125"/>
                    <a:pt x="103" y="125"/>
                  </a:cubicBezTo>
                  <a:cubicBezTo>
                    <a:pt x="104" y="124"/>
                    <a:pt x="103" y="123"/>
                    <a:pt x="103" y="122"/>
                  </a:cubicBezTo>
                  <a:cubicBezTo>
                    <a:pt x="103" y="121"/>
                    <a:pt x="104" y="120"/>
                    <a:pt x="104" y="119"/>
                  </a:cubicBezTo>
                  <a:cubicBezTo>
                    <a:pt x="106" y="117"/>
                    <a:pt x="107" y="116"/>
                    <a:pt x="108" y="114"/>
                  </a:cubicBezTo>
                  <a:cubicBezTo>
                    <a:pt x="109" y="114"/>
                    <a:pt x="109" y="114"/>
                    <a:pt x="110" y="113"/>
                  </a:cubicBezTo>
                  <a:cubicBezTo>
                    <a:pt x="110" y="113"/>
                    <a:pt x="110" y="113"/>
                    <a:pt x="111" y="112"/>
                  </a:cubicBezTo>
                  <a:cubicBezTo>
                    <a:pt x="112" y="111"/>
                    <a:pt x="113" y="111"/>
                    <a:pt x="113" y="110"/>
                  </a:cubicBezTo>
                  <a:cubicBezTo>
                    <a:pt x="114" y="109"/>
                    <a:pt x="115" y="109"/>
                    <a:pt x="116" y="108"/>
                  </a:cubicBezTo>
                  <a:cubicBezTo>
                    <a:pt x="116" y="107"/>
                    <a:pt x="117" y="106"/>
                    <a:pt x="118" y="106"/>
                  </a:cubicBezTo>
                  <a:cubicBezTo>
                    <a:pt x="118" y="105"/>
                    <a:pt x="118" y="105"/>
                    <a:pt x="119" y="105"/>
                  </a:cubicBezTo>
                  <a:cubicBezTo>
                    <a:pt x="119" y="104"/>
                    <a:pt x="119" y="101"/>
                    <a:pt x="118" y="100"/>
                  </a:cubicBezTo>
                  <a:cubicBezTo>
                    <a:pt x="117" y="99"/>
                    <a:pt x="117" y="100"/>
                    <a:pt x="116" y="99"/>
                  </a:cubicBezTo>
                  <a:cubicBezTo>
                    <a:pt x="116" y="98"/>
                    <a:pt x="117" y="98"/>
                    <a:pt x="117" y="98"/>
                  </a:cubicBezTo>
                  <a:cubicBezTo>
                    <a:pt x="118" y="97"/>
                    <a:pt x="120" y="98"/>
                    <a:pt x="121" y="98"/>
                  </a:cubicBezTo>
                  <a:cubicBezTo>
                    <a:pt x="122" y="99"/>
                    <a:pt x="123" y="100"/>
                    <a:pt x="124" y="100"/>
                  </a:cubicBezTo>
                  <a:cubicBezTo>
                    <a:pt x="126" y="100"/>
                    <a:pt x="126" y="99"/>
                    <a:pt x="128" y="99"/>
                  </a:cubicBezTo>
                  <a:cubicBezTo>
                    <a:pt x="129" y="99"/>
                    <a:pt x="131" y="99"/>
                    <a:pt x="131" y="98"/>
                  </a:cubicBezTo>
                  <a:cubicBezTo>
                    <a:pt x="132" y="97"/>
                    <a:pt x="133" y="98"/>
                    <a:pt x="135" y="97"/>
                  </a:cubicBezTo>
                  <a:cubicBezTo>
                    <a:pt x="136" y="96"/>
                    <a:pt x="137" y="95"/>
                    <a:pt x="139" y="95"/>
                  </a:cubicBezTo>
                  <a:cubicBezTo>
                    <a:pt x="140" y="94"/>
                    <a:pt x="141" y="94"/>
                    <a:pt x="142" y="93"/>
                  </a:cubicBezTo>
                  <a:cubicBezTo>
                    <a:pt x="142" y="92"/>
                    <a:pt x="143" y="92"/>
                    <a:pt x="144" y="91"/>
                  </a:cubicBezTo>
                  <a:cubicBezTo>
                    <a:pt x="145" y="91"/>
                    <a:pt x="145" y="91"/>
                    <a:pt x="145" y="91"/>
                  </a:cubicBezTo>
                  <a:cubicBezTo>
                    <a:pt x="145" y="91"/>
                    <a:pt x="145" y="91"/>
                    <a:pt x="146" y="91"/>
                  </a:cubicBezTo>
                  <a:cubicBezTo>
                    <a:pt x="146" y="91"/>
                    <a:pt x="146" y="91"/>
                    <a:pt x="146" y="91"/>
                  </a:cubicBezTo>
                  <a:cubicBezTo>
                    <a:pt x="147" y="90"/>
                    <a:pt x="147" y="90"/>
                    <a:pt x="147" y="90"/>
                  </a:cubicBezTo>
                  <a:cubicBezTo>
                    <a:pt x="148" y="90"/>
                    <a:pt x="149" y="90"/>
                    <a:pt x="149" y="89"/>
                  </a:cubicBezTo>
                  <a:cubicBezTo>
                    <a:pt x="150" y="89"/>
                    <a:pt x="150" y="89"/>
                    <a:pt x="151" y="88"/>
                  </a:cubicBezTo>
                  <a:cubicBezTo>
                    <a:pt x="152" y="88"/>
                    <a:pt x="152" y="88"/>
                    <a:pt x="152" y="87"/>
                  </a:cubicBezTo>
                  <a:cubicBezTo>
                    <a:pt x="153" y="87"/>
                    <a:pt x="154" y="87"/>
                    <a:pt x="156" y="86"/>
                  </a:cubicBezTo>
                  <a:cubicBezTo>
                    <a:pt x="156" y="86"/>
                    <a:pt x="157" y="86"/>
                    <a:pt x="157" y="85"/>
                  </a:cubicBezTo>
                  <a:cubicBezTo>
                    <a:pt x="158" y="85"/>
                    <a:pt x="159" y="85"/>
                    <a:pt x="159" y="85"/>
                  </a:cubicBezTo>
                  <a:cubicBezTo>
                    <a:pt x="160" y="85"/>
                    <a:pt x="160" y="85"/>
                    <a:pt x="161" y="84"/>
                  </a:cubicBezTo>
                  <a:cubicBezTo>
                    <a:pt x="161" y="84"/>
                    <a:pt x="162" y="83"/>
                    <a:pt x="162" y="83"/>
                  </a:cubicBezTo>
                  <a:cubicBezTo>
                    <a:pt x="163" y="83"/>
                    <a:pt x="164" y="83"/>
                    <a:pt x="164" y="83"/>
                  </a:cubicBezTo>
                  <a:cubicBezTo>
                    <a:pt x="165" y="82"/>
                    <a:pt x="164" y="82"/>
                    <a:pt x="165" y="82"/>
                  </a:cubicBezTo>
                  <a:cubicBezTo>
                    <a:pt x="166" y="81"/>
                    <a:pt x="168" y="81"/>
                    <a:pt x="169" y="81"/>
                  </a:cubicBezTo>
                  <a:cubicBezTo>
                    <a:pt x="170" y="81"/>
                    <a:pt x="171" y="81"/>
                    <a:pt x="172" y="80"/>
                  </a:cubicBezTo>
                  <a:cubicBezTo>
                    <a:pt x="174" y="79"/>
                    <a:pt x="174" y="79"/>
                    <a:pt x="176" y="79"/>
                  </a:cubicBezTo>
                  <a:cubicBezTo>
                    <a:pt x="177" y="78"/>
                    <a:pt x="177" y="78"/>
                    <a:pt x="179" y="77"/>
                  </a:cubicBezTo>
                  <a:cubicBezTo>
                    <a:pt x="180" y="76"/>
                    <a:pt x="181" y="76"/>
                    <a:pt x="182" y="76"/>
                  </a:cubicBezTo>
                  <a:cubicBezTo>
                    <a:pt x="184" y="76"/>
                    <a:pt x="185" y="75"/>
                    <a:pt x="186" y="75"/>
                  </a:cubicBezTo>
                  <a:cubicBezTo>
                    <a:pt x="188" y="75"/>
                    <a:pt x="192" y="74"/>
                    <a:pt x="193" y="76"/>
                  </a:cubicBezTo>
                  <a:cubicBezTo>
                    <a:pt x="194" y="77"/>
                    <a:pt x="192" y="78"/>
                    <a:pt x="192" y="79"/>
                  </a:cubicBezTo>
                  <a:cubicBezTo>
                    <a:pt x="191" y="80"/>
                    <a:pt x="191" y="80"/>
                    <a:pt x="190" y="81"/>
                  </a:cubicBezTo>
                  <a:cubicBezTo>
                    <a:pt x="189" y="81"/>
                    <a:pt x="188" y="81"/>
                    <a:pt x="188" y="82"/>
                  </a:cubicBezTo>
                  <a:cubicBezTo>
                    <a:pt x="187" y="83"/>
                    <a:pt x="187" y="85"/>
                    <a:pt x="187" y="87"/>
                  </a:cubicBezTo>
                  <a:cubicBezTo>
                    <a:pt x="187" y="90"/>
                    <a:pt x="187" y="93"/>
                    <a:pt x="191" y="94"/>
                  </a:cubicBezTo>
                  <a:cubicBezTo>
                    <a:pt x="191" y="96"/>
                    <a:pt x="191" y="97"/>
                    <a:pt x="191" y="98"/>
                  </a:cubicBezTo>
                  <a:cubicBezTo>
                    <a:pt x="192" y="99"/>
                    <a:pt x="192" y="100"/>
                    <a:pt x="193" y="102"/>
                  </a:cubicBezTo>
                  <a:cubicBezTo>
                    <a:pt x="193" y="102"/>
                    <a:pt x="194" y="102"/>
                    <a:pt x="195" y="101"/>
                  </a:cubicBezTo>
                  <a:cubicBezTo>
                    <a:pt x="196" y="101"/>
                    <a:pt x="196" y="100"/>
                    <a:pt x="197" y="100"/>
                  </a:cubicBezTo>
                  <a:cubicBezTo>
                    <a:pt x="199" y="99"/>
                    <a:pt x="198" y="102"/>
                    <a:pt x="198" y="104"/>
                  </a:cubicBezTo>
                  <a:cubicBezTo>
                    <a:pt x="197" y="107"/>
                    <a:pt x="194" y="109"/>
                    <a:pt x="191" y="108"/>
                  </a:cubicBezTo>
                  <a:cubicBezTo>
                    <a:pt x="191" y="109"/>
                    <a:pt x="189" y="109"/>
                    <a:pt x="188" y="110"/>
                  </a:cubicBezTo>
                  <a:cubicBezTo>
                    <a:pt x="187" y="110"/>
                    <a:pt x="186" y="110"/>
                    <a:pt x="185" y="111"/>
                  </a:cubicBezTo>
                  <a:cubicBezTo>
                    <a:pt x="184" y="111"/>
                    <a:pt x="179" y="111"/>
                    <a:pt x="178" y="110"/>
                  </a:cubicBezTo>
                  <a:cubicBezTo>
                    <a:pt x="176" y="110"/>
                    <a:pt x="176" y="110"/>
                    <a:pt x="175" y="112"/>
                  </a:cubicBezTo>
                  <a:cubicBezTo>
                    <a:pt x="175" y="113"/>
                    <a:pt x="175" y="115"/>
                    <a:pt x="175" y="116"/>
                  </a:cubicBezTo>
                  <a:cubicBezTo>
                    <a:pt x="175" y="116"/>
                    <a:pt x="172" y="117"/>
                    <a:pt x="172" y="117"/>
                  </a:cubicBezTo>
                  <a:cubicBezTo>
                    <a:pt x="171" y="118"/>
                    <a:pt x="169" y="120"/>
                    <a:pt x="169" y="120"/>
                  </a:cubicBezTo>
                  <a:cubicBezTo>
                    <a:pt x="169" y="120"/>
                    <a:pt x="169" y="120"/>
                    <a:pt x="169" y="120"/>
                  </a:cubicBezTo>
                  <a:cubicBezTo>
                    <a:pt x="169" y="121"/>
                    <a:pt x="168" y="121"/>
                    <a:pt x="167" y="122"/>
                  </a:cubicBezTo>
                  <a:cubicBezTo>
                    <a:pt x="166" y="122"/>
                    <a:pt x="165" y="121"/>
                    <a:pt x="164" y="122"/>
                  </a:cubicBezTo>
                  <a:cubicBezTo>
                    <a:pt x="163" y="122"/>
                    <a:pt x="163" y="123"/>
                    <a:pt x="162" y="123"/>
                  </a:cubicBezTo>
                  <a:cubicBezTo>
                    <a:pt x="162" y="124"/>
                    <a:pt x="160" y="125"/>
                    <a:pt x="160" y="126"/>
                  </a:cubicBezTo>
                  <a:cubicBezTo>
                    <a:pt x="159" y="126"/>
                    <a:pt x="158" y="127"/>
                    <a:pt x="158" y="127"/>
                  </a:cubicBezTo>
                  <a:cubicBezTo>
                    <a:pt x="157" y="128"/>
                    <a:pt x="156" y="127"/>
                    <a:pt x="155" y="128"/>
                  </a:cubicBezTo>
                  <a:cubicBezTo>
                    <a:pt x="154" y="128"/>
                    <a:pt x="152" y="128"/>
                    <a:pt x="151" y="129"/>
                  </a:cubicBezTo>
                  <a:cubicBezTo>
                    <a:pt x="150" y="129"/>
                    <a:pt x="151" y="131"/>
                    <a:pt x="150" y="132"/>
                  </a:cubicBezTo>
                  <a:cubicBezTo>
                    <a:pt x="149" y="132"/>
                    <a:pt x="148" y="134"/>
                    <a:pt x="148" y="135"/>
                  </a:cubicBezTo>
                  <a:cubicBezTo>
                    <a:pt x="147" y="136"/>
                    <a:pt x="145" y="137"/>
                    <a:pt x="144" y="137"/>
                  </a:cubicBezTo>
                  <a:cubicBezTo>
                    <a:pt x="140" y="140"/>
                    <a:pt x="134" y="141"/>
                    <a:pt x="132" y="146"/>
                  </a:cubicBezTo>
                  <a:cubicBezTo>
                    <a:pt x="131" y="147"/>
                    <a:pt x="131" y="148"/>
                    <a:pt x="131" y="149"/>
                  </a:cubicBezTo>
                  <a:cubicBezTo>
                    <a:pt x="131" y="151"/>
                    <a:pt x="129" y="151"/>
                    <a:pt x="128" y="152"/>
                  </a:cubicBezTo>
                  <a:cubicBezTo>
                    <a:pt x="128" y="153"/>
                    <a:pt x="128" y="153"/>
                    <a:pt x="127" y="153"/>
                  </a:cubicBezTo>
                  <a:cubicBezTo>
                    <a:pt x="126" y="154"/>
                    <a:pt x="126" y="153"/>
                    <a:pt x="125" y="153"/>
                  </a:cubicBezTo>
                  <a:cubicBezTo>
                    <a:pt x="125" y="152"/>
                    <a:pt x="126" y="150"/>
                    <a:pt x="125" y="149"/>
                  </a:cubicBezTo>
                  <a:cubicBezTo>
                    <a:pt x="125" y="149"/>
                    <a:pt x="123" y="149"/>
                    <a:pt x="123" y="150"/>
                  </a:cubicBezTo>
                  <a:cubicBezTo>
                    <a:pt x="121" y="152"/>
                    <a:pt x="122" y="155"/>
                    <a:pt x="120" y="158"/>
                  </a:cubicBezTo>
                  <a:cubicBezTo>
                    <a:pt x="119" y="159"/>
                    <a:pt x="118" y="159"/>
                    <a:pt x="116" y="160"/>
                  </a:cubicBezTo>
                  <a:cubicBezTo>
                    <a:pt x="116" y="161"/>
                    <a:pt x="112" y="168"/>
                    <a:pt x="112" y="168"/>
                  </a:cubicBezTo>
                  <a:cubicBezTo>
                    <a:pt x="113" y="170"/>
                    <a:pt x="115" y="170"/>
                    <a:pt x="113" y="172"/>
                  </a:cubicBezTo>
                  <a:cubicBezTo>
                    <a:pt x="111" y="174"/>
                    <a:pt x="111" y="174"/>
                    <a:pt x="111" y="176"/>
                  </a:cubicBezTo>
                  <a:cubicBezTo>
                    <a:pt x="112" y="180"/>
                    <a:pt x="111" y="183"/>
                    <a:pt x="107" y="183"/>
                  </a:cubicBezTo>
                  <a:cubicBezTo>
                    <a:pt x="105" y="184"/>
                    <a:pt x="104" y="184"/>
                    <a:pt x="103" y="182"/>
                  </a:cubicBezTo>
                  <a:cubicBezTo>
                    <a:pt x="103" y="181"/>
                    <a:pt x="102" y="179"/>
                    <a:pt x="103" y="178"/>
                  </a:cubicBezTo>
                  <a:cubicBezTo>
                    <a:pt x="102" y="179"/>
                    <a:pt x="100" y="179"/>
                    <a:pt x="98" y="180"/>
                  </a:cubicBezTo>
                  <a:cubicBezTo>
                    <a:pt x="98" y="181"/>
                    <a:pt x="98" y="182"/>
                    <a:pt x="99" y="183"/>
                  </a:cubicBezTo>
                  <a:cubicBezTo>
                    <a:pt x="98" y="186"/>
                    <a:pt x="94" y="186"/>
                    <a:pt x="92" y="188"/>
                  </a:cubicBezTo>
                  <a:cubicBezTo>
                    <a:pt x="91" y="189"/>
                    <a:pt x="92" y="190"/>
                    <a:pt x="92" y="192"/>
                  </a:cubicBezTo>
                  <a:cubicBezTo>
                    <a:pt x="91" y="193"/>
                    <a:pt x="90" y="193"/>
                    <a:pt x="90" y="195"/>
                  </a:cubicBezTo>
                  <a:cubicBezTo>
                    <a:pt x="88" y="195"/>
                    <a:pt x="85" y="196"/>
                    <a:pt x="84" y="197"/>
                  </a:cubicBezTo>
                  <a:cubicBezTo>
                    <a:pt x="84" y="199"/>
                    <a:pt x="84" y="198"/>
                    <a:pt x="85" y="199"/>
                  </a:cubicBezTo>
                  <a:cubicBezTo>
                    <a:pt x="86" y="201"/>
                    <a:pt x="86" y="201"/>
                    <a:pt x="86" y="201"/>
                  </a:cubicBezTo>
                  <a:cubicBezTo>
                    <a:pt x="89" y="203"/>
                    <a:pt x="90" y="201"/>
                    <a:pt x="90" y="205"/>
                  </a:cubicBezTo>
                  <a:cubicBezTo>
                    <a:pt x="90" y="206"/>
                    <a:pt x="90" y="208"/>
                    <a:pt x="91" y="210"/>
                  </a:cubicBezTo>
                  <a:cubicBezTo>
                    <a:pt x="92" y="210"/>
                    <a:pt x="93" y="210"/>
                    <a:pt x="94" y="211"/>
                  </a:cubicBezTo>
                  <a:cubicBezTo>
                    <a:pt x="96" y="212"/>
                    <a:pt x="97" y="213"/>
                    <a:pt x="99" y="213"/>
                  </a:cubicBezTo>
                  <a:cubicBezTo>
                    <a:pt x="100" y="211"/>
                    <a:pt x="100" y="209"/>
                    <a:pt x="102" y="207"/>
                  </a:cubicBezTo>
                  <a:cubicBezTo>
                    <a:pt x="103" y="206"/>
                    <a:pt x="104" y="206"/>
                    <a:pt x="105" y="205"/>
                  </a:cubicBezTo>
                  <a:cubicBezTo>
                    <a:pt x="106" y="203"/>
                    <a:pt x="105" y="201"/>
                    <a:pt x="103" y="201"/>
                  </a:cubicBezTo>
                  <a:cubicBezTo>
                    <a:pt x="104" y="199"/>
                    <a:pt x="106" y="199"/>
                    <a:pt x="108" y="199"/>
                  </a:cubicBezTo>
                  <a:cubicBezTo>
                    <a:pt x="110" y="198"/>
                    <a:pt x="111" y="198"/>
                    <a:pt x="113" y="198"/>
                  </a:cubicBezTo>
                  <a:cubicBezTo>
                    <a:pt x="114" y="198"/>
                    <a:pt x="116" y="198"/>
                    <a:pt x="117" y="198"/>
                  </a:cubicBezTo>
                  <a:cubicBezTo>
                    <a:pt x="118" y="199"/>
                    <a:pt x="119" y="199"/>
                    <a:pt x="120" y="199"/>
                  </a:cubicBezTo>
                  <a:cubicBezTo>
                    <a:pt x="120" y="199"/>
                    <a:pt x="121" y="198"/>
                    <a:pt x="121" y="198"/>
                  </a:cubicBezTo>
                  <a:cubicBezTo>
                    <a:pt x="123" y="198"/>
                    <a:pt x="122" y="199"/>
                    <a:pt x="123" y="199"/>
                  </a:cubicBezTo>
                  <a:cubicBezTo>
                    <a:pt x="124" y="199"/>
                    <a:pt x="124" y="199"/>
                    <a:pt x="125" y="198"/>
                  </a:cubicBezTo>
                  <a:cubicBezTo>
                    <a:pt x="127" y="198"/>
                    <a:pt x="128" y="197"/>
                    <a:pt x="130" y="197"/>
                  </a:cubicBezTo>
                  <a:cubicBezTo>
                    <a:pt x="131" y="197"/>
                    <a:pt x="133" y="198"/>
                    <a:pt x="134" y="197"/>
                  </a:cubicBezTo>
                  <a:cubicBezTo>
                    <a:pt x="134" y="196"/>
                    <a:pt x="134" y="195"/>
                    <a:pt x="134" y="195"/>
                  </a:cubicBezTo>
                  <a:cubicBezTo>
                    <a:pt x="135" y="194"/>
                    <a:pt x="135" y="194"/>
                    <a:pt x="135" y="193"/>
                  </a:cubicBezTo>
                  <a:cubicBezTo>
                    <a:pt x="136" y="193"/>
                    <a:pt x="138" y="189"/>
                    <a:pt x="139" y="189"/>
                  </a:cubicBezTo>
                  <a:cubicBezTo>
                    <a:pt x="139" y="190"/>
                    <a:pt x="139" y="190"/>
                    <a:pt x="140" y="190"/>
                  </a:cubicBezTo>
                  <a:cubicBezTo>
                    <a:pt x="140" y="193"/>
                    <a:pt x="140" y="196"/>
                    <a:pt x="140" y="198"/>
                  </a:cubicBezTo>
                  <a:cubicBezTo>
                    <a:pt x="142" y="198"/>
                    <a:pt x="144" y="199"/>
                    <a:pt x="145" y="200"/>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55" name="Freeform 283"/>
            <p:cNvSpPr>
              <a:spLocks/>
            </p:cNvSpPr>
            <p:nvPr/>
          </p:nvSpPr>
          <p:spPr bwMode="auto">
            <a:xfrm>
              <a:off x="6161088" y="3333751"/>
              <a:ext cx="206375" cy="434975"/>
            </a:xfrm>
            <a:custGeom>
              <a:avLst/>
              <a:gdLst>
                <a:gd name="T0" fmla="*/ 5 w 58"/>
                <a:gd name="T1" fmla="*/ 45 h 123"/>
                <a:gd name="T2" fmla="*/ 5 w 58"/>
                <a:gd name="T3" fmla="*/ 52 h 123"/>
                <a:gd name="T4" fmla="*/ 8 w 58"/>
                <a:gd name="T5" fmla="*/ 65 h 123"/>
                <a:gd name="T6" fmla="*/ 9 w 58"/>
                <a:gd name="T7" fmla="*/ 74 h 123"/>
                <a:gd name="T8" fmla="*/ 12 w 58"/>
                <a:gd name="T9" fmla="*/ 81 h 123"/>
                <a:gd name="T10" fmla="*/ 15 w 58"/>
                <a:gd name="T11" fmla="*/ 90 h 123"/>
                <a:gd name="T12" fmla="*/ 18 w 58"/>
                <a:gd name="T13" fmla="*/ 96 h 123"/>
                <a:gd name="T14" fmla="*/ 20 w 58"/>
                <a:gd name="T15" fmla="*/ 114 h 123"/>
                <a:gd name="T16" fmla="*/ 24 w 58"/>
                <a:gd name="T17" fmla="*/ 120 h 123"/>
                <a:gd name="T18" fmla="*/ 26 w 58"/>
                <a:gd name="T19" fmla="*/ 113 h 123"/>
                <a:gd name="T20" fmla="*/ 30 w 58"/>
                <a:gd name="T21" fmla="*/ 116 h 123"/>
                <a:gd name="T22" fmla="*/ 34 w 58"/>
                <a:gd name="T23" fmla="*/ 122 h 123"/>
                <a:gd name="T24" fmla="*/ 40 w 58"/>
                <a:gd name="T25" fmla="*/ 117 h 123"/>
                <a:gd name="T26" fmla="*/ 44 w 58"/>
                <a:gd name="T27" fmla="*/ 111 h 123"/>
                <a:gd name="T28" fmla="*/ 49 w 58"/>
                <a:gd name="T29" fmla="*/ 110 h 123"/>
                <a:gd name="T30" fmla="*/ 51 w 58"/>
                <a:gd name="T31" fmla="*/ 102 h 123"/>
                <a:gd name="T32" fmla="*/ 48 w 58"/>
                <a:gd name="T33" fmla="*/ 98 h 123"/>
                <a:gd name="T34" fmla="*/ 46 w 58"/>
                <a:gd name="T35" fmla="*/ 86 h 123"/>
                <a:gd name="T36" fmla="*/ 43 w 58"/>
                <a:gd name="T37" fmla="*/ 78 h 123"/>
                <a:gd name="T38" fmla="*/ 46 w 58"/>
                <a:gd name="T39" fmla="*/ 74 h 123"/>
                <a:gd name="T40" fmla="*/ 53 w 58"/>
                <a:gd name="T41" fmla="*/ 72 h 123"/>
                <a:gd name="T42" fmla="*/ 56 w 58"/>
                <a:gd name="T43" fmla="*/ 66 h 123"/>
                <a:gd name="T44" fmla="*/ 58 w 58"/>
                <a:gd name="T45" fmla="*/ 49 h 123"/>
                <a:gd name="T46" fmla="*/ 54 w 58"/>
                <a:gd name="T47" fmla="*/ 33 h 123"/>
                <a:gd name="T48" fmla="*/ 50 w 58"/>
                <a:gd name="T49" fmla="*/ 25 h 123"/>
                <a:gd name="T50" fmla="*/ 49 w 58"/>
                <a:gd name="T51" fmla="*/ 19 h 123"/>
                <a:gd name="T52" fmla="*/ 45 w 58"/>
                <a:gd name="T53" fmla="*/ 17 h 123"/>
                <a:gd name="T54" fmla="*/ 39 w 58"/>
                <a:gd name="T55" fmla="*/ 15 h 123"/>
                <a:gd name="T56" fmla="*/ 34 w 58"/>
                <a:gd name="T57" fmla="*/ 11 h 123"/>
                <a:gd name="T58" fmla="*/ 34 w 58"/>
                <a:gd name="T59" fmla="*/ 2 h 123"/>
                <a:gd name="T60" fmla="*/ 33 w 58"/>
                <a:gd name="T61" fmla="*/ 4 h 123"/>
                <a:gd name="T62" fmla="*/ 24 w 58"/>
                <a:gd name="T63" fmla="*/ 6 h 123"/>
                <a:gd name="T64" fmla="*/ 18 w 58"/>
                <a:gd name="T65" fmla="*/ 7 h 123"/>
                <a:gd name="T66" fmla="*/ 15 w 58"/>
                <a:gd name="T67" fmla="*/ 12 h 123"/>
                <a:gd name="T68" fmla="*/ 11 w 58"/>
                <a:gd name="T69" fmla="*/ 16 h 123"/>
                <a:gd name="T70" fmla="*/ 6 w 58"/>
                <a:gd name="T71" fmla="*/ 12 h 123"/>
                <a:gd name="T72" fmla="*/ 1 w 58"/>
                <a:gd name="T73" fmla="*/ 18 h 123"/>
                <a:gd name="T74" fmla="*/ 2 w 58"/>
                <a:gd name="T75" fmla="*/ 25 h 123"/>
                <a:gd name="T76" fmla="*/ 2 w 58"/>
                <a:gd name="T77" fmla="*/ 3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 h="123">
                  <a:moveTo>
                    <a:pt x="2" y="39"/>
                  </a:moveTo>
                  <a:cubicBezTo>
                    <a:pt x="4" y="40"/>
                    <a:pt x="4" y="44"/>
                    <a:pt x="5" y="45"/>
                  </a:cubicBezTo>
                  <a:cubicBezTo>
                    <a:pt x="5" y="46"/>
                    <a:pt x="5" y="47"/>
                    <a:pt x="5" y="49"/>
                  </a:cubicBezTo>
                  <a:cubicBezTo>
                    <a:pt x="5" y="50"/>
                    <a:pt x="4" y="51"/>
                    <a:pt x="5" y="52"/>
                  </a:cubicBezTo>
                  <a:cubicBezTo>
                    <a:pt x="6" y="54"/>
                    <a:pt x="8" y="54"/>
                    <a:pt x="8" y="56"/>
                  </a:cubicBezTo>
                  <a:cubicBezTo>
                    <a:pt x="8" y="59"/>
                    <a:pt x="8" y="62"/>
                    <a:pt x="8" y="65"/>
                  </a:cubicBezTo>
                  <a:cubicBezTo>
                    <a:pt x="7" y="66"/>
                    <a:pt x="7" y="68"/>
                    <a:pt x="7" y="69"/>
                  </a:cubicBezTo>
                  <a:cubicBezTo>
                    <a:pt x="7" y="71"/>
                    <a:pt x="8" y="72"/>
                    <a:pt x="9" y="74"/>
                  </a:cubicBezTo>
                  <a:cubicBezTo>
                    <a:pt x="9" y="76"/>
                    <a:pt x="9" y="77"/>
                    <a:pt x="10" y="79"/>
                  </a:cubicBezTo>
                  <a:cubicBezTo>
                    <a:pt x="11" y="80"/>
                    <a:pt x="11" y="80"/>
                    <a:pt x="12" y="81"/>
                  </a:cubicBezTo>
                  <a:cubicBezTo>
                    <a:pt x="13" y="83"/>
                    <a:pt x="14" y="86"/>
                    <a:pt x="15" y="88"/>
                  </a:cubicBezTo>
                  <a:cubicBezTo>
                    <a:pt x="15" y="89"/>
                    <a:pt x="15" y="90"/>
                    <a:pt x="15" y="90"/>
                  </a:cubicBezTo>
                  <a:cubicBezTo>
                    <a:pt x="16" y="92"/>
                    <a:pt x="16" y="93"/>
                    <a:pt x="17" y="94"/>
                  </a:cubicBezTo>
                  <a:cubicBezTo>
                    <a:pt x="17" y="94"/>
                    <a:pt x="18" y="95"/>
                    <a:pt x="18" y="96"/>
                  </a:cubicBezTo>
                  <a:cubicBezTo>
                    <a:pt x="18" y="98"/>
                    <a:pt x="19" y="99"/>
                    <a:pt x="19" y="101"/>
                  </a:cubicBezTo>
                  <a:cubicBezTo>
                    <a:pt x="19" y="105"/>
                    <a:pt x="20" y="110"/>
                    <a:pt x="20" y="114"/>
                  </a:cubicBezTo>
                  <a:cubicBezTo>
                    <a:pt x="20" y="116"/>
                    <a:pt x="22" y="116"/>
                    <a:pt x="22" y="118"/>
                  </a:cubicBezTo>
                  <a:cubicBezTo>
                    <a:pt x="22" y="120"/>
                    <a:pt x="22" y="120"/>
                    <a:pt x="24" y="120"/>
                  </a:cubicBezTo>
                  <a:cubicBezTo>
                    <a:pt x="26" y="119"/>
                    <a:pt x="25" y="118"/>
                    <a:pt x="25" y="117"/>
                  </a:cubicBezTo>
                  <a:cubicBezTo>
                    <a:pt x="25" y="115"/>
                    <a:pt x="25" y="113"/>
                    <a:pt x="26" y="113"/>
                  </a:cubicBezTo>
                  <a:cubicBezTo>
                    <a:pt x="27" y="113"/>
                    <a:pt x="27" y="114"/>
                    <a:pt x="28" y="114"/>
                  </a:cubicBezTo>
                  <a:cubicBezTo>
                    <a:pt x="28" y="115"/>
                    <a:pt x="29" y="115"/>
                    <a:pt x="30" y="116"/>
                  </a:cubicBezTo>
                  <a:cubicBezTo>
                    <a:pt x="31" y="117"/>
                    <a:pt x="32" y="118"/>
                    <a:pt x="32" y="120"/>
                  </a:cubicBezTo>
                  <a:cubicBezTo>
                    <a:pt x="33" y="121"/>
                    <a:pt x="33" y="122"/>
                    <a:pt x="34" y="122"/>
                  </a:cubicBezTo>
                  <a:cubicBezTo>
                    <a:pt x="36" y="123"/>
                    <a:pt x="37" y="122"/>
                    <a:pt x="38" y="122"/>
                  </a:cubicBezTo>
                  <a:cubicBezTo>
                    <a:pt x="39" y="121"/>
                    <a:pt x="39" y="119"/>
                    <a:pt x="40" y="117"/>
                  </a:cubicBezTo>
                  <a:cubicBezTo>
                    <a:pt x="41" y="116"/>
                    <a:pt x="42" y="117"/>
                    <a:pt x="43" y="115"/>
                  </a:cubicBezTo>
                  <a:cubicBezTo>
                    <a:pt x="43" y="114"/>
                    <a:pt x="42" y="112"/>
                    <a:pt x="44" y="111"/>
                  </a:cubicBezTo>
                  <a:cubicBezTo>
                    <a:pt x="45" y="110"/>
                    <a:pt x="47" y="113"/>
                    <a:pt x="48" y="112"/>
                  </a:cubicBezTo>
                  <a:cubicBezTo>
                    <a:pt x="49" y="110"/>
                    <a:pt x="49" y="110"/>
                    <a:pt x="49" y="110"/>
                  </a:cubicBezTo>
                  <a:cubicBezTo>
                    <a:pt x="49" y="110"/>
                    <a:pt x="49" y="110"/>
                    <a:pt x="50" y="109"/>
                  </a:cubicBezTo>
                  <a:cubicBezTo>
                    <a:pt x="50" y="108"/>
                    <a:pt x="49" y="103"/>
                    <a:pt x="51" y="102"/>
                  </a:cubicBezTo>
                  <a:cubicBezTo>
                    <a:pt x="51" y="101"/>
                    <a:pt x="50" y="101"/>
                    <a:pt x="50" y="100"/>
                  </a:cubicBezTo>
                  <a:cubicBezTo>
                    <a:pt x="49" y="99"/>
                    <a:pt x="48" y="98"/>
                    <a:pt x="48" y="98"/>
                  </a:cubicBezTo>
                  <a:cubicBezTo>
                    <a:pt x="46" y="96"/>
                    <a:pt x="47" y="94"/>
                    <a:pt x="46" y="92"/>
                  </a:cubicBezTo>
                  <a:cubicBezTo>
                    <a:pt x="46" y="90"/>
                    <a:pt x="45" y="88"/>
                    <a:pt x="46" y="86"/>
                  </a:cubicBezTo>
                  <a:cubicBezTo>
                    <a:pt x="47" y="84"/>
                    <a:pt x="46" y="82"/>
                    <a:pt x="46" y="79"/>
                  </a:cubicBezTo>
                  <a:cubicBezTo>
                    <a:pt x="45" y="80"/>
                    <a:pt x="44" y="80"/>
                    <a:pt x="43" y="78"/>
                  </a:cubicBezTo>
                  <a:cubicBezTo>
                    <a:pt x="43" y="77"/>
                    <a:pt x="42" y="75"/>
                    <a:pt x="43" y="74"/>
                  </a:cubicBezTo>
                  <a:cubicBezTo>
                    <a:pt x="44" y="73"/>
                    <a:pt x="44" y="74"/>
                    <a:pt x="46" y="74"/>
                  </a:cubicBezTo>
                  <a:cubicBezTo>
                    <a:pt x="47" y="74"/>
                    <a:pt x="48" y="74"/>
                    <a:pt x="50" y="74"/>
                  </a:cubicBezTo>
                  <a:cubicBezTo>
                    <a:pt x="51" y="74"/>
                    <a:pt x="53" y="74"/>
                    <a:pt x="53" y="72"/>
                  </a:cubicBezTo>
                  <a:cubicBezTo>
                    <a:pt x="54" y="71"/>
                    <a:pt x="54" y="69"/>
                    <a:pt x="55" y="68"/>
                  </a:cubicBezTo>
                  <a:cubicBezTo>
                    <a:pt x="55" y="67"/>
                    <a:pt x="56" y="67"/>
                    <a:pt x="56" y="66"/>
                  </a:cubicBezTo>
                  <a:cubicBezTo>
                    <a:pt x="56" y="64"/>
                    <a:pt x="57" y="62"/>
                    <a:pt x="57" y="60"/>
                  </a:cubicBezTo>
                  <a:cubicBezTo>
                    <a:pt x="57" y="56"/>
                    <a:pt x="58" y="52"/>
                    <a:pt x="58" y="49"/>
                  </a:cubicBezTo>
                  <a:cubicBezTo>
                    <a:pt x="58" y="45"/>
                    <a:pt x="57" y="42"/>
                    <a:pt x="56" y="40"/>
                  </a:cubicBezTo>
                  <a:cubicBezTo>
                    <a:pt x="55" y="37"/>
                    <a:pt x="55" y="35"/>
                    <a:pt x="54" y="33"/>
                  </a:cubicBezTo>
                  <a:cubicBezTo>
                    <a:pt x="53" y="31"/>
                    <a:pt x="51" y="29"/>
                    <a:pt x="51" y="28"/>
                  </a:cubicBezTo>
                  <a:cubicBezTo>
                    <a:pt x="50" y="27"/>
                    <a:pt x="50" y="26"/>
                    <a:pt x="50" y="25"/>
                  </a:cubicBezTo>
                  <a:cubicBezTo>
                    <a:pt x="50" y="23"/>
                    <a:pt x="50" y="23"/>
                    <a:pt x="49" y="22"/>
                  </a:cubicBezTo>
                  <a:cubicBezTo>
                    <a:pt x="47" y="21"/>
                    <a:pt x="49" y="20"/>
                    <a:pt x="49" y="19"/>
                  </a:cubicBezTo>
                  <a:cubicBezTo>
                    <a:pt x="50" y="18"/>
                    <a:pt x="50" y="17"/>
                    <a:pt x="50" y="16"/>
                  </a:cubicBezTo>
                  <a:cubicBezTo>
                    <a:pt x="48" y="16"/>
                    <a:pt x="46" y="17"/>
                    <a:pt x="45" y="17"/>
                  </a:cubicBezTo>
                  <a:cubicBezTo>
                    <a:pt x="44" y="17"/>
                    <a:pt x="42" y="17"/>
                    <a:pt x="41" y="16"/>
                  </a:cubicBezTo>
                  <a:cubicBezTo>
                    <a:pt x="40" y="16"/>
                    <a:pt x="40" y="16"/>
                    <a:pt x="39" y="15"/>
                  </a:cubicBezTo>
                  <a:cubicBezTo>
                    <a:pt x="36" y="15"/>
                    <a:pt x="35" y="15"/>
                    <a:pt x="32" y="14"/>
                  </a:cubicBezTo>
                  <a:cubicBezTo>
                    <a:pt x="32" y="13"/>
                    <a:pt x="33" y="13"/>
                    <a:pt x="34" y="11"/>
                  </a:cubicBezTo>
                  <a:cubicBezTo>
                    <a:pt x="35" y="11"/>
                    <a:pt x="34" y="9"/>
                    <a:pt x="34" y="8"/>
                  </a:cubicBezTo>
                  <a:cubicBezTo>
                    <a:pt x="34" y="6"/>
                    <a:pt x="35" y="4"/>
                    <a:pt x="34" y="2"/>
                  </a:cubicBezTo>
                  <a:cubicBezTo>
                    <a:pt x="34" y="1"/>
                    <a:pt x="34" y="1"/>
                    <a:pt x="34" y="1"/>
                  </a:cubicBezTo>
                  <a:cubicBezTo>
                    <a:pt x="33" y="2"/>
                    <a:pt x="33" y="3"/>
                    <a:pt x="33" y="4"/>
                  </a:cubicBezTo>
                  <a:cubicBezTo>
                    <a:pt x="32" y="4"/>
                    <a:pt x="30" y="3"/>
                    <a:pt x="28" y="4"/>
                  </a:cubicBezTo>
                  <a:cubicBezTo>
                    <a:pt x="27" y="4"/>
                    <a:pt x="26" y="6"/>
                    <a:pt x="24" y="6"/>
                  </a:cubicBezTo>
                  <a:cubicBezTo>
                    <a:pt x="23" y="3"/>
                    <a:pt x="20" y="2"/>
                    <a:pt x="19" y="0"/>
                  </a:cubicBezTo>
                  <a:cubicBezTo>
                    <a:pt x="19" y="2"/>
                    <a:pt x="19" y="5"/>
                    <a:pt x="18" y="7"/>
                  </a:cubicBezTo>
                  <a:cubicBezTo>
                    <a:pt x="17" y="8"/>
                    <a:pt x="16" y="7"/>
                    <a:pt x="15" y="9"/>
                  </a:cubicBezTo>
                  <a:cubicBezTo>
                    <a:pt x="15" y="9"/>
                    <a:pt x="15" y="11"/>
                    <a:pt x="15" y="12"/>
                  </a:cubicBezTo>
                  <a:cubicBezTo>
                    <a:pt x="14" y="12"/>
                    <a:pt x="13" y="12"/>
                    <a:pt x="12" y="12"/>
                  </a:cubicBezTo>
                  <a:cubicBezTo>
                    <a:pt x="12" y="14"/>
                    <a:pt x="12" y="15"/>
                    <a:pt x="11" y="16"/>
                  </a:cubicBezTo>
                  <a:cubicBezTo>
                    <a:pt x="10" y="17"/>
                    <a:pt x="8" y="18"/>
                    <a:pt x="6" y="18"/>
                  </a:cubicBezTo>
                  <a:cubicBezTo>
                    <a:pt x="6" y="16"/>
                    <a:pt x="6" y="14"/>
                    <a:pt x="6" y="12"/>
                  </a:cubicBezTo>
                  <a:cubicBezTo>
                    <a:pt x="6" y="12"/>
                    <a:pt x="3" y="13"/>
                    <a:pt x="1" y="13"/>
                  </a:cubicBezTo>
                  <a:cubicBezTo>
                    <a:pt x="0" y="15"/>
                    <a:pt x="0" y="16"/>
                    <a:pt x="1" y="18"/>
                  </a:cubicBezTo>
                  <a:cubicBezTo>
                    <a:pt x="1" y="19"/>
                    <a:pt x="3" y="19"/>
                    <a:pt x="3" y="21"/>
                  </a:cubicBezTo>
                  <a:cubicBezTo>
                    <a:pt x="3" y="22"/>
                    <a:pt x="2" y="23"/>
                    <a:pt x="2" y="25"/>
                  </a:cubicBezTo>
                  <a:cubicBezTo>
                    <a:pt x="3" y="26"/>
                    <a:pt x="4" y="27"/>
                    <a:pt x="4" y="29"/>
                  </a:cubicBezTo>
                  <a:cubicBezTo>
                    <a:pt x="4" y="32"/>
                    <a:pt x="3" y="35"/>
                    <a:pt x="2" y="39"/>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56" name="Freeform 284"/>
            <p:cNvSpPr>
              <a:spLocks/>
            </p:cNvSpPr>
            <p:nvPr/>
          </p:nvSpPr>
          <p:spPr bwMode="auto">
            <a:xfrm>
              <a:off x="5751513" y="3079751"/>
              <a:ext cx="492125" cy="176213"/>
            </a:xfrm>
            <a:custGeom>
              <a:avLst/>
              <a:gdLst>
                <a:gd name="T0" fmla="*/ 2 w 139"/>
                <a:gd name="T1" fmla="*/ 39 h 50"/>
                <a:gd name="T2" fmla="*/ 16 w 139"/>
                <a:gd name="T3" fmla="*/ 43 h 50"/>
                <a:gd name="T4" fmla="*/ 28 w 139"/>
                <a:gd name="T5" fmla="*/ 46 h 50"/>
                <a:gd name="T6" fmla="*/ 54 w 139"/>
                <a:gd name="T7" fmla="*/ 45 h 50"/>
                <a:gd name="T8" fmla="*/ 65 w 139"/>
                <a:gd name="T9" fmla="*/ 46 h 50"/>
                <a:gd name="T10" fmla="*/ 77 w 139"/>
                <a:gd name="T11" fmla="*/ 47 h 50"/>
                <a:gd name="T12" fmla="*/ 82 w 139"/>
                <a:gd name="T13" fmla="*/ 47 h 50"/>
                <a:gd name="T14" fmla="*/ 89 w 139"/>
                <a:gd name="T15" fmla="*/ 47 h 50"/>
                <a:gd name="T16" fmla="*/ 94 w 139"/>
                <a:gd name="T17" fmla="*/ 45 h 50"/>
                <a:gd name="T18" fmla="*/ 115 w 139"/>
                <a:gd name="T19" fmla="*/ 49 h 50"/>
                <a:gd name="T20" fmla="*/ 123 w 139"/>
                <a:gd name="T21" fmla="*/ 47 h 50"/>
                <a:gd name="T22" fmla="*/ 135 w 139"/>
                <a:gd name="T23" fmla="*/ 40 h 50"/>
                <a:gd name="T24" fmla="*/ 138 w 139"/>
                <a:gd name="T25" fmla="*/ 33 h 50"/>
                <a:gd name="T26" fmla="*/ 133 w 139"/>
                <a:gd name="T27" fmla="*/ 21 h 50"/>
                <a:gd name="T28" fmla="*/ 123 w 139"/>
                <a:gd name="T29" fmla="*/ 16 h 50"/>
                <a:gd name="T30" fmla="*/ 111 w 139"/>
                <a:gd name="T31" fmla="*/ 18 h 50"/>
                <a:gd name="T32" fmla="*/ 109 w 139"/>
                <a:gd name="T33" fmla="*/ 7 h 50"/>
                <a:gd name="T34" fmla="*/ 114 w 139"/>
                <a:gd name="T35" fmla="*/ 2 h 50"/>
                <a:gd name="T36" fmla="*/ 103 w 139"/>
                <a:gd name="T37" fmla="*/ 2 h 50"/>
                <a:gd name="T38" fmla="*/ 91 w 139"/>
                <a:gd name="T39" fmla="*/ 6 h 50"/>
                <a:gd name="T40" fmla="*/ 87 w 139"/>
                <a:gd name="T41" fmla="*/ 6 h 50"/>
                <a:gd name="T42" fmla="*/ 80 w 139"/>
                <a:gd name="T43" fmla="*/ 9 h 50"/>
                <a:gd name="T44" fmla="*/ 73 w 139"/>
                <a:gd name="T45" fmla="*/ 16 h 50"/>
                <a:gd name="T46" fmla="*/ 70 w 139"/>
                <a:gd name="T47" fmla="*/ 19 h 50"/>
                <a:gd name="T48" fmla="*/ 66 w 139"/>
                <a:gd name="T49" fmla="*/ 13 h 50"/>
                <a:gd name="T50" fmla="*/ 60 w 139"/>
                <a:gd name="T51" fmla="*/ 16 h 50"/>
                <a:gd name="T52" fmla="*/ 53 w 139"/>
                <a:gd name="T53" fmla="*/ 11 h 50"/>
                <a:gd name="T54" fmla="*/ 43 w 139"/>
                <a:gd name="T55" fmla="*/ 10 h 50"/>
                <a:gd name="T56" fmla="*/ 33 w 139"/>
                <a:gd name="T57" fmla="*/ 8 h 50"/>
                <a:gd name="T58" fmla="*/ 22 w 139"/>
                <a:gd name="T59" fmla="*/ 9 h 50"/>
                <a:gd name="T60" fmla="*/ 9 w 139"/>
                <a:gd name="T61" fmla="*/ 13 h 50"/>
                <a:gd name="T62" fmla="*/ 5 w 139"/>
                <a:gd name="T63" fmla="*/ 20 h 50"/>
                <a:gd name="T64" fmla="*/ 7 w 139"/>
                <a:gd name="T65" fmla="*/ 2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50">
                  <a:moveTo>
                    <a:pt x="0" y="27"/>
                  </a:moveTo>
                  <a:cubicBezTo>
                    <a:pt x="0" y="31"/>
                    <a:pt x="0" y="36"/>
                    <a:pt x="2" y="39"/>
                  </a:cubicBezTo>
                  <a:cubicBezTo>
                    <a:pt x="3" y="41"/>
                    <a:pt x="6" y="40"/>
                    <a:pt x="9" y="40"/>
                  </a:cubicBezTo>
                  <a:cubicBezTo>
                    <a:pt x="12" y="39"/>
                    <a:pt x="13" y="42"/>
                    <a:pt x="16" y="43"/>
                  </a:cubicBezTo>
                  <a:cubicBezTo>
                    <a:pt x="17" y="43"/>
                    <a:pt x="20" y="44"/>
                    <a:pt x="22" y="44"/>
                  </a:cubicBezTo>
                  <a:cubicBezTo>
                    <a:pt x="24" y="45"/>
                    <a:pt x="26" y="45"/>
                    <a:pt x="28" y="46"/>
                  </a:cubicBezTo>
                  <a:cubicBezTo>
                    <a:pt x="32" y="46"/>
                    <a:pt x="37" y="46"/>
                    <a:pt x="41" y="45"/>
                  </a:cubicBezTo>
                  <a:cubicBezTo>
                    <a:pt x="45" y="45"/>
                    <a:pt x="50" y="45"/>
                    <a:pt x="54" y="45"/>
                  </a:cubicBezTo>
                  <a:cubicBezTo>
                    <a:pt x="56" y="45"/>
                    <a:pt x="58" y="45"/>
                    <a:pt x="59" y="45"/>
                  </a:cubicBezTo>
                  <a:cubicBezTo>
                    <a:pt x="61" y="45"/>
                    <a:pt x="63" y="46"/>
                    <a:pt x="65" y="46"/>
                  </a:cubicBezTo>
                  <a:cubicBezTo>
                    <a:pt x="67" y="46"/>
                    <a:pt x="69" y="44"/>
                    <a:pt x="71" y="44"/>
                  </a:cubicBezTo>
                  <a:cubicBezTo>
                    <a:pt x="73" y="44"/>
                    <a:pt x="75" y="47"/>
                    <a:pt x="77" y="47"/>
                  </a:cubicBezTo>
                  <a:cubicBezTo>
                    <a:pt x="78" y="47"/>
                    <a:pt x="80" y="45"/>
                    <a:pt x="81" y="46"/>
                  </a:cubicBezTo>
                  <a:cubicBezTo>
                    <a:pt x="82" y="47"/>
                    <a:pt x="82" y="47"/>
                    <a:pt x="82" y="47"/>
                  </a:cubicBezTo>
                  <a:cubicBezTo>
                    <a:pt x="83" y="47"/>
                    <a:pt x="83" y="47"/>
                    <a:pt x="83" y="47"/>
                  </a:cubicBezTo>
                  <a:cubicBezTo>
                    <a:pt x="84" y="47"/>
                    <a:pt x="88" y="47"/>
                    <a:pt x="89" y="47"/>
                  </a:cubicBezTo>
                  <a:cubicBezTo>
                    <a:pt x="90" y="46"/>
                    <a:pt x="89" y="45"/>
                    <a:pt x="91" y="45"/>
                  </a:cubicBezTo>
                  <a:cubicBezTo>
                    <a:pt x="92" y="44"/>
                    <a:pt x="93" y="45"/>
                    <a:pt x="94" y="45"/>
                  </a:cubicBezTo>
                  <a:cubicBezTo>
                    <a:pt x="98" y="44"/>
                    <a:pt x="102" y="45"/>
                    <a:pt x="106" y="45"/>
                  </a:cubicBezTo>
                  <a:cubicBezTo>
                    <a:pt x="110" y="45"/>
                    <a:pt x="113" y="46"/>
                    <a:pt x="115" y="49"/>
                  </a:cubicBezTo>
                  <a:cubicBezTo>
                    <a:pt x="117" y="49"/>
                    <a:pt x="120" y="49"/>
                    <a:pt x="122" y="50"/>
                  </a:cubicBezTo>
                  <a:cubicBezTo>
                    <a:pt x="122" y="49"/>
                    <a:pt x="122" y="48"/>
                    <a:pt x="123" y="47"/>
                  </a:cubicBezTo>
                  <a:cubicBezTo>
                    <a:pt x="125" y="46"/>
                    <a:pt x="127" y="46"/>
                    <a:pt x="129" y="45"/>
                  </a:cubicBezTo>
                  <a:cubicBezTo>
                    <a:pt x="132" y="44"/>
                    <a:pt x="133" y="41"/>
                    <a:pt x="135" y="40"/>
                  </a:cubicBezTo>
                  <a:cubicBezTo>
                    <a:pt x="136" y="39"/>
                    <a:pt x="138" y="39"/>
                    <a:pt x="138" y="39"/>
                  </a:cubicBezTo>
                  <a:cubicBezTo>
                    <a:pt x="139" y="37"/>
                    <a:pt x="139" y="35"/>
                    <a:pt x="138" y="33"/>
                  </a:cubicBezTo>
                  <a:cubicBezTo>
                    <a:pt x="136" y="31"/>
                    <a:pt x="132" y="31"/>
                    <a:pt x="131" y="28"/>
                  </a:cubicBezTo>
                  <a:cubicBezTo>
                    <a:pt x="131" y="26"/>
                    <a:pt x="131" y="21"/>
                    <a:pt x="133" y="21"/>
                  </a:cubicBezTo>
                  <a:cubicBezTo>
                    <a:pt x="131" y="21"/>
                    <a:pt x="128" y="21"/>
                    <a:pt x="127" y="20"/>
                  </a:cubicBezTo>
                  <a:cubicBezTo>
                    <a:pt x="125" y="19"/>
                    <a:pt x="125" y="16"/>
                    <a:pt x="123" y="16"/>
                  </a:cubicBezTo>
                  <a:cubicBezTo>
                    <a:pt x="121" y="15"/>
                    <a:pt x="118" y="16"/>
                    <a:pt x="116" y="16"/>
                  </a:cubicBezTo>
                  <a:cubicBezTo>
                    <a:pt x="114" y="17"/>
                    <a:pt x="113" y="19"/>
                    <a:pt x="111" y="18"/>
                  </a:cubicBezTo>
                  <a:cubicBezTo>
                    <a:pt x="110" y="16"/>
                    <a:pt x="111" y="14"/>
                    <a:pt x="111" y="12"/>
                  </a:cubicBezTo>
                  <a:cubicBezTo>
                    <a:pt x="112" y="10"/>
                    <a:pt x="112" y="8"/>
                    <a:pt x="109" y="7"/>
                  </a:cubicBezTo>
                  <a:cubicBezTo>
                    <a:pt x="109" y="6"/>
                    <a:pt x="110" y="4"/>
                    <a:pt x="111" y="4"/>
                  </a:cubicBezTo>
                  <a:cubicBezTo>
                    <a:pt x="112" y="3"/>
                    <a:pt x="114" y="4"/>
                    <a:pt x="114" y="2"/>
                  </a:cubicBezTo>
                  <a:cubicBezTo>
                    <a:pt x="112" y="2"/>
                    <a:pt x="110" y="2"/>
                    <a:pt x="108" y="2"/>
                  </a:cubicBezTo>
                  <a:cubicBezTo>
                    <a:pt x="106" y="2"/>
                    <a:pt x="104" y="2"/>
                    <a:pt x="103" y="2"/>
                  </a:cubicBezTo>
                  <a:cubicBezTo>
                    <a:pt x="100" y="6"/>
                    <a:pt x="96" y="0"/>
                    <a:pt x="93" y="2"/>
                  </a:cubicBezTo>
                  <a:cubicBezTo>
                    <a:pt x="91" y="3"/>
                    <a:pt x="92" y="4"/>
                    <a:pt x="91" y="6"/>
                  </a:cubicBezTo>
                  <a:cubicBezTo>
                    <a:pt x="91" y="8"/>
                    <a:pt x="90" y="8"/>
                    <a:pt x="90" y="10"/>
                  </a:cubicBezTo>
                  <a:cubicBezTo>
                    <a:pt x="88" y="10"/>
                    <a:pt x="88" y="7"/>
                    <a:pt x="87" y="6"/>
                  </a:cubicBezTo>
                  <a:cubicBezTo>
                    <a:pt x="86" y="5"/>
                    <a:pt x="84" y="5"/>
                    <a:pt x="83" y="5"/>
                  </a:cubicBezTo>
                  <a:cubicBezTo>
                    <a:pt x="83" y="7"/>
                    <a:pt x="80" y="7"/>
                    <a:pt x="80" y="9"/>
                  </a:cubicBezTo>
                  <a:cubicBezTo>
                    <a:pt x="79" y="11"/>
                    <a:pt x="83" y="12"/>
                    <a:pt x="79" y="13"/>
                  </a:cubicBezTo>
                  <a:cubicBezTo>
                    <a:pt x="77" y="13"/>
                    <a:pt x="74" y="12"/>
                    <a:pt x="73" y="16"/>
                  </a:cubicBezTo>
                  <a:cubicBezTo>
                    <a:pt x="73" y="16"/>
                    <a:pt x="72" y="16"/>
                    <a:pt x="71" y="16"/>
                  </a:cubicBezTo>
                  <a:cubicBezTo>
                    <a:pt x="70" y="17"/>
                    <a:pt x="70" y="18"/>
                    <a:pt x="70" y="19"/>
                  </a:cubicBezTo>
                  <a:cubicBezTo>
                    <a:pt x="68" y="19"/>
                    <a:pt x="67" y="20"/>
                    <a:pt x="66" y="18"/>
                  </a:cubicBezTo>
                  <a:cubicBezTo>
                    <a:pt x="65" y="16"/>
                    <a:pt x="66" y="14"/>
                    <a:pt x="66" y="13"/>
                  </a:cubicBezTo>
                  <a:cubicBezTo>
                    <a:pt x="65" y="13"/>
                    <a:pt x="64" y="13"/>
                    <a:pt x="63" y="13"/>
                  </a:cubicBezTo>
                  <a:cubicBezTo>
                    <a:pt x="62" y="14"/>
                    <a:pt x="62" y="16"/>
                    <a:pt x="60" y="16"/>
                  </a:cubicBezTo>
                  <a:cubicBezTo>
                    <a:pt x="59" y="15"/>
                    <a:pt x="59" y="13"/>
                    <a:pt x="58" y="12"/>
                  </a:cubicBezTo>
                  <a:cubicBezTo>
                    <a:pt x="56" y="10"/>
                    <a:pt x="55" y="12"/>
                    <a:pt x="53" y="11"/>
                  </a:cubicBezTo>
                  <a:cubicBezTo>
                    <a:pt x="51" y="10"/>
                    <a:pt x="50" y="9"/>
                    <a:pt x="48" y="9"/>
                  </a:cubicBezTo>
                  <a:cubicBezTo>
                    <a:pt x="46" y="9"/>
                    <a:pt x="45" y="10"/>
                    <a:pt x="43" y="10"/>
                  </a:cubicBezTo>
                  <a:cubicBezTo>
                    <a:pt x="41" y="10"/>
                    <a:pt x="38" y="10"/>
                    <a:pt x="36" y="10"/>
                  </a:cubicBezTo>
                  <a:cubicBezTo>
                    <a:pt x="35" y="10"/>
                    <a:pt x="34" y="9"/>
                    <a:pt x="33" y="8"/>
                  </a:cubicBezTo>
                  <a:cubicBezTo>
                    <a:pt x="31" y="8"/>
                    <a:pt x="30" y="8"/>
                    <a:pt x="28" y="8"/>
                  </a:cubicBezTo>
                  <a:cubicBezTo>
                    <a:pt x="26" y="9"/>
                    <a:pt x="24" y="9"/>
                    <a:pt x="22" y="9"/>
                  </a:cubicBezTo>
                  <a:cubicBezTo>
                    <a:pt x="22" y="13"/>
                    <a:pt x="14" y="11"/>
                    <a:pt x="12" y="12"/>
                  </a:cubicBezTo>
                  <a:cubicBezTo>
                    <a:pt x="10" y="12"/>
                    <a:pt x="10" y="12"/>
                    <a:pt x="9" y="13"/>
                  </a:cubicBezTo>
                  <a:cubicBezTo>
                    <a:pt x="8" y="14"/>
                    <a:pt x="7" y="16"/>
                    <a:pt x="5" y="16"/>
                  </a:cubicBezTo>
                  <a:cubicBezTo>
                    <a:pt x="5" y="18"/>
                    <a:pt x="5" y="19"/>
                    <a:pt x="5" y="20"/>
                  </a:cubicBezTo>
                  <a:cubicBezTo>
                    <a:pt x="5" y="20"/>
                    <a:pt x="6" y="20"/>
                    <a:pt x="6" y="20"/>
                  </a:cubicBezTo>
                  <a:cubicBezTo>
                    <a:pt x="7" y="21"/>
                    <a:pt x="9" y="26"/>
                    <a:pt x="7" y="27"/>
                  </a:cubicBezTo>
                  <a:cubicBezTo>
                    <a:pt x="6" y="28"/>
                    <a:pt x="3" y="28"/>
                    <a:pt x="0" y="27"/>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57" name="Line 285"/>
            <p:cNvSpPr>
              <a:spLocks noChangeShapeType="1"/>
            </p:cNvSpPr>
            <p:nvPr/>
          </p:nvSpPr>
          <p:spPr bwMode="auto">
            <a:xfrm>
              <a:off x="6030913" y="3241676"/>
              <a:ext cx="0" cy="0"/>
            </a:xfrm>
            <a:prstGeom prst="line">
              <a:avLst/>
            </a:prstGeom>
            <a:noFill/>
            <a:ln w="3175">
              <a:solidFill>
                <a:schemeClr val="bg1"/>
              </a:solidFill>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58" name="Line 286"/>
            <p:cNvSpPr>
              <a:spLocks noChangeShapeType="1"/>
            </p:cNvSpPr>
            <p:nvPr/>
          </p:nvSpPr>
          <p:spPr bwMode="auto">
            <a:xfrm>
              <a:off x="6030913" y="3241676"/>
              <a:ext cx="0" cy="0"/>
            </a:xfrm>
            <a:prstGeom prst="line">
              <a:avLst/>
            </a:prstGeom>
            <a:noFill/>
            <a:ln w="3175">
              <a:solidFill>
                <a:schemeClr val="bg1"/>
              </a:solidFill>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59" name="Freeform 287"/>
            <p:cNvSpPr>
              <a:spLocks/>
            </p:cNvSpPr>
            <p:nvPr/>
          </p:nvSpPr>
          <p:spPr bwMode="auto">
            <a:xfrm>
              <a:off x="5429251" y="32607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60" name="Freeform 288"/>
            <p:cNvSpPr>
              <a:spLocks/>
            </p:cNvSpPr>
            <p:nvPr/>
          </p:nvSpPr>
          <p:spPr bwMode="auto">
            <a:xfrm>
              <a:off x="5429251" y="3260726"/>
              <a:ext cx="0" cy="3175"/>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61" name="Freeform 289"/>
            <p:cNvSpPr>
              <a:spLocks/>
            </p:cNvSpPr>
            <p:nvPr/>
          </p:nvSpPr>
          <p:spPr bwMode="auto">
            <a:xfrm>
              <a:off x="5429251" y="326390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62" name="Freeform 290"/>
            <p:cNvSpPr>
              <a:spLocks/>
            </p:cNvSpPr>
            <p:nvPr/>
          </p:nvSpPr>
          <p:spPr bwMode="auto">
            <a:xfrm>
              <a:off x="5429251" y="326390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63" name="Freeform 291"/>
            <p:cNvSpPr>
              <a:spLocks/>
            </p:cNvSpPr>
            <p:nvPr/>
          </p:nvSpPr>
          <p:spPr bwMode="auto">
            <a:xfrm>
              <a:off x="4711701" y="2860676"/>
              <a:ext cx="792163" cy="565150"/>
            </a:xfrm>
            <a:custGeom>
              <a:avLst/>
              <a:gdLst>
                <a:gd name="T0" fmla="*/ 26 w 224"/>
                <a:gd name="T1" fmla="*/ 5 h 160"/>
                <a:gd name="T2" fmla="*/ 40 w 224"/>
                <a:gd name="T3" fmla="*/ 2 h 160"/>
                <a:gd name="T4" fmla="*/ 60 w 224"/>
                <a:gd name="T5" fmla="*/ 9 h 160"/>
                <a:gd name="T6" fmla="*/ 63 w 224"/>
                <a:gd name="T7" fmla="*/ 26 h 160"/>
                <a:gd name="T8" fmla="*/ 84 w 224"/>
                <a:gd name="T9" fmla="*/ 32 h 160"/>
                <a:gd name="T10" fmla="*/ 96 w 224"/>
                <a:gd name="T11" fmla="*/ 36 h 160"/>
                <a:gd name="T12" fmla="*/ 107 w 224"/>
                <a:gd name="T13" fmla="*/ 43 h 160"/>
                <a:gd name="T14" fmla="*/ 117 w 224"/>
                <a:gd name="T15" fmla="*/ 45 h 160"/>
                <a:gd name="T16" fmla="*/ 126 w 224"/>
                <a:gd name="T17" fmla="*/ 44 h 160"/>
                <a:gd name="T18" fmla="*/ 142 w 224"/>
                <a:gd name="T19" fmla="*/ 46 h 160"/>
                <a:gd name="T20" fmla="*/ 153 w 224"/>
                <a:gd name="T21" fmla="*/ 53 h 160"/>
                <a:gd name="T22" fmla="*/ 163 w 224"/>
                <a:gd name="T23" fmla="*/ 47 h 160"/>
                <a:gd name="T24" fmla="*/ 169 w 224"/>
                <a:gd name="T25" fmla="*/ 53 h 160"/>
                <a:gd name="T26" fmla="*/ 179 w 224"/>
                <a:gd name="T27" fmla="*/ 56 h 160"/>
                <a:gd name="T28" fmla="*/ 194 w 224"/>
                <a:gd name="T29" fmla="*/ 52 h 160"/>
                <a:gd name="T30" fmla="*/ 209 w 224"/>
                <a:gd name="T31" fmla="*/ 54 h 160"/>
                <a:gd name="T32" fmla="*/ 213 w 224"/>
                <a:gd name="T33" fmla="*/ 46 h 160"/>
                <a:gd name="T34" fmla="*/ 217 w 224"/>
                <a:gd name="T35" fmla="*/ 40 h 160"/>
                <a:gd name="T36" fmla="*/ 221 w 224"/>
                <a:gd name="T37" fmla="*/ 58 h 160"/>
                <a:gd name="T38" fmla="*/ 211 w 224"/>
                <a:gd name="T39" fmla="*/ 66 h 160"/>
                <a:gd name="T40" fmla="*/ 203 w 224"/>
                <a:gd name="T41" fmla="*/ 79 h 160"/>
                <a:gd name="T42" fmla="*/ 210 w 224"/>
                <a:gd name="T43" fmla="*/ 94 h 160"/>
                <a:gd name="T44" fmla="*/ 207 w 224"/>
                <a:gd name="T45" fmla="*/ 108 h 160"/>
                <a:gd name="T46" fmla="*/ 203 w 224"/>
                <a:gd name="T47" fmla="*/ 114 h 160"/>
                <a:gd name="T48" fmla="*/ 189 w 224"/>
                <a:gd name="T49" fmla="*/ 112 h 160"/>
                <a:gd name="T50" fmla="*/ 175 w 224"/>
                <a:gd name="T51" fmla="*/ 122 h 160"/>
                <a:gd name="T52" fmla="*/ 168 w 224"/>
                <a:gd name="T53" fmla="*/ 143 h 160"/>
                <a:gd name="T54" fmla="*/ 157 w 224"/>
                <a:gd name="T55" fmla="*/ 145 h 160"/>
                <a:gd name="T56" fmla="*/ 147 w 224"/>
                <a:gd name="T57" fmla="*/ 148 h 160"/>
                <a:gd name="T58" fmla="*/ 136 w 224"/>
                <a:gd name="T59" fmla="*/ 155 h 160"/>
                <a:gd name="T60" fmla="*/ 128 w 224"/>
                <a:gd name="T61" fmla="*/ 141 h 160"/>
                <a:gd name="T62" fmla="*/ 115 w 224"/>
                <a:gd name="T63" fmla="*/ 136 h 160"/>
                <a:gd name="T64" fmla="*/ 107 w 224"/>
                <a:gd name="T65" fmla="*/ 143 h 160"/>
                <a:gd name="T66" fmla="*/ 102 w 224"/>
                <a:gd name="T67" fmla="*/ 148 h 160"/>
                <a:gd name="T68" fmla="*/ 83 w 224"/>
                <a:gd name="T69" fmla="*/ 155 h 160"/>
                <a:gd name="T70" fmla="*/ 70 w 224"/>
                <a:gd name="T71" fmla="*/ 151 h 160"/>
                <a:gd name="T72" fmla="*/ 60 w 224"/>
                <a:gd name="T73" fmla="*/ 160 h 160"/>
                <a:gd name="T74" fmla="*/ 38 w 224"/>
                <a:gd name="T75" fmla="*/ 151 h 160"/>
                <a:gd name="T76" fmla="*/ 8 w 224"/>
                <a:gd name="T77" fmla="*/ 147 h 160"/>
                <a:gd name="T78" fmla="*/ 5 w 224"/>
                <a:gd name="T79" fmla="*/ 133 h 160"/>
                <a:gd name="T80" fmla="*/ 7 w 224"/>
                <a:gd name="T81" fmla="*/ 108 h 160"/>
                <a:gd name="T82" fmla="*/ 29 w 224"/>
                <a:gd name="T83" fmla="*/ 94 h 160"/>
                <a:gd name="T84" fmla="*/ 41 w 224"/>
                <a:gd name="T85" fmla="*/ 89 h 160"/>
                <a:gd name="T86" fmla="*/ 55 w 224"/>
                <a:gd name="T87" fmla="*/ 81 h 160"/>
                <a:gd name="T88" fmla="*/ 38 w 224"/>
                <a:gd name="T89" fmla="*/ 69 h 160"/>
                <a:gd name="T90" fmla="*/ 39 w 224"/>
                <a:gd name="T91" fmla="*/ 55 h 160"/>
                <a:gd name="T92" fmla="*/ 31 w 224"/>
                <a:gd name="T93" fmla="*/ 47 h 160"/>
                <a:gd name="T94" fmla="*/ 49 w 224"/>
                <a:gd name="T95" fmla="*/ 41 h 160"/>
                <a:gd name="T96" fmla="*/ 42 w 224"/>
                <a:gd name="T97" fmla="*/ 32 h 160"/>
                <a:gd name="T98" fmla="*/ 29 w 224"/>
                <a:gd name="T99" fmla="*/ 1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4" h="160">
                  <a:moveTo>
                    <a:pt x="23" y="7"/>
                  </a:moveTo>
                  <a:cubicBezTo>
                    <a:pt x="23" y="6"/>
                    <a:pt x="23" y="6"/>
                    <a:pt x="23" y="6"/>
                  </a:cubicBezTo>
                  <a:cubicBezTo>
                    <a:pt x="24" y="6"/>
                    <a:pt x="25" y="5"/>
                    <a:pt x="26" y="5"/>
                  </a:cubicBezTo>
                  <a:cubicBezTo>
                    <a:pt x="28" y="4"/>
                    <a:pt x="30" y="4"/>
                    <a:pt x="33" y="3"/>
                  </a:cubicBezTo>
                  <a:cubicBezTo>
                    <a:pt x="36" y="3"/>
                    <a:pt x="35" y="3"/>
                    <a:pt x="36" y="1"/>
                  </a:cubicBezTo>
                  <a:cubicBezTo>
                    <a:pt x="38" y="0"/>
                    <a:pt x="38" y="2"/>
                    <a:pt x="40" y="2"/>
                  </a:cubicBezTo>
                  <a:cubicBezTo>
                    <a:pt x="41" y="3"/>
                    <a:pt x="42" y="2"/>
                    <a:pt x="43" y="3"/>
                  </a:cubicBezTo>
                  <a:cubicBezTo>
                    <a:pt x="44" y="3"/>
                    <a:pt x="44" y="5"/>
                    <a:pt x="45" y="6"/>
                  </a:cubicBezTo>
                  <a:cubicBezTo>
                    <a:pt x="48" y="10"/>
                    <a:pt x="56" y="8"/>
                    <a:pt x="60" y="9"/>
                  </a:cubicBezTo>
                  <a:cubicBezTo>
                    <a:pt x="60" y="11"/>
                    <a:pt x="61" y="13"/>
                    <a:pt x="62" y="14"/>
                  </a:cubicBezTo>
                  <a:cubicBezTo>
                    <a:pt x="62" y="16"/>
                    <a:pt x="62" y="17"/>
                    <a:pt x="61" y="19"/>
                  </a:cubicBezTo>
                  <a:cubicBezTo>
                    <a:pt x="60" y="22"/>
                    <a:pt x="58" y="25"/>
                    <a:pt x="63" y="26"/>
                  </a:cubicBezTo>
                  <a:cubicBezTo>
                    <a:pt x="66" y="27"/>
                    <a:pt x="70" y="25"/>
                    <a:pt x="73" y="27"/>
                  </a:cubicBezTo>
                  <a:cubicBezTo>
                    <a:pt x="75" y="28"/>
                    <a:pt x="78" y="29"/>
                    <a:pt x="79" y="32"/>
                  </a:cubicBezTo>
                  <a:cubicBezTo>
                    <a:pt x="80" y="32"/>
                    <a:pt x="83" y="32"/>
                    <a:pt x="84" y="32"/>
                  </a:cubicBezTo>
                  <a:cubicBezTo>
                    <a:pt x="86" y="33"/>
                    <a:pt x="85" y="35"/>
                    <a:pt x="86" y="37"/>
                  </a:cubicBezTo>
                  <a:cubicBezTo>
                    <a:pt x="87" y="38"/>
                    <a:pt x="89" y="38"/>
                    <a:pt x="91" y="38"/>
                  </a:cubicBezTo>
                  <a:cubicBezTo>
                    <a:pt x="94" y="38"/>
                    <a:pt x="94" y="37"/>
                    <a:pt x="96" y="36"/>
                  </a:cubicBezTo>
                  <a:cubicBezTo>
                    <a:pt x="96" y="35"/>
                    <a:pt x="100" y="33"/>
                    <a:pt x="101" y="33"/>
                  </a:cubicBezTo>
                  <a:cubicBezTo>
                    <a:pt x="103" y="32"/>
                    <a:pt x="106" y="32"/>
                    <a:pt x="108" y="32"/>
                  </a:cubicBezTo>
                  <a:cubicBezTo>
                    <a:pt x="108" y="36"/>
                    <a:pt x="107" y="40"/>
                    <a:pt x="107" y="43"/>
                  </a:cubicBezTo>
                  <a:cubicBezTo>
                    <a:pt x="109" y="43"/>
                    <a:pt x="110" y="44"/>
                    <a:pt x="111" y="44"/>
                  </a:cubicBezTo>
                  <a:cubicBezTo>
                    <a:pt x="112" y="45"/>
                    <a:pt x="113" y="47"/>
                    <a:pt x="114" y="47"/>
                  </a:cubicBezTo>
                  <a:cubicBezTo>
                    <a:pt x="114" y="47"/>
                    <a:pt x="116" y="45"/>
                    <a:pt x="117" y="45"/>
                  </a:cubicBezTo>
                  <a:cubicBezTo>
                    <a:pt x="118" y="44"/>
                    <a:pt x="118" y="44"/>
                    <a:pt x="119" y="43"/>
                  </a:cubicBezTo>
                  <a:cubicBezTo>
                    <a:pt x="121" y="42"/>
                    <a:pt x="120" y="42"/>
                    <a:pt x="122" y="42"/>
                  </a:cubicBezTo>
                  <a:cubicBezTo>
                    <a:pt x="124" y="42"/>
                    <a:pt x="125" y="43"/>
                    <a:pt x="126" y="44"/>
                  </a:cubicBezTo>
                  <a:cubicBezTo>
                    <a:pt x="128" y="45"/>
                    <a:pt x="130" y="45"/>
                    <a:pt x="133" y="44"/>
                  </a:cubicBezTo>
                  <a:cubicBezTo>
                    <a:pt x="133" y="43"/>
                    <a:pt x="137" y="45"/>
                    <a:pt x="139" y="46"/>
                  </a:cubicBezTo>
                  <a:cubicBezTo>
                    <a:pt x="140" y="46"/>
                    <a:pt x="141" y="46"/>
                    <a:pt x="142" y="46"/>
                  </a:cubicBezTo>
                  <a:cubicBezTo>
                    <a:pt x="143" y="46"/>
                    <a:pt x="143" y="47"/>
                    <a:pt x="144" y="47"/>
                  </a:cubicBezTo>
                  <a:cubicBezTo>
                    <a:pt x="145" y="48"/>
                    <a:pt x="148" y="49"/>
                    <a:pt x="149" y="50"/>
                  </a:cubicBezTo>
                  <a:cubicBezTo>
                    <a:pt x="150" y="51"/>
                    <a:pt x="151" y="53"/>
                    <a:pt x="153" y="53"/>
                  </a:cubicBezTo>
                  <a:cubicBezTo>
                    <a:pt x="153" y="53"/>
                    <a:pt x="154" y="52"/>
                    <a:pt x="154" y="52"/>
                  </a:cubicBezTo>
                  <a:cubicBezTo>
                    <a:pt x="158" y="52"/>
                    <a:pt x="159" y="51"/>
                    <a:pt x="162" y="49"/>
                  </a:cubicBezTo>
                  <a:cubicBezTo>
                    <a:pt x="162" y="48"/>
                    <a:pt x="162" y="48"/>
                    <a:pt x="163" y="47"/>
                  </a:cubicBezTo>
                  <a:cubicBezTo>
                    <a:pt x="164" y="47"/>
                    <a:pt x="165" y="47"/>
                    <a:pt x="165" y="47"/>
                  </a:cubicBezTo>
                  <a:cubicBezTo>
                    <a:pt x="167" y="46"/>
                    <a:pt x="166" y="44"/>
                    <a:pt x="168" y="44"/>
                  </a:cubicBezTo>
                  <a:cubicBezTo>
                    <a:pt x="169" y="46"/>
                    <a:pt x="169" y="50"/>
                    <a:pt x="169" y="53"/>
                  </a:cubicBezTo>
                  <a:cubicBezTo>
                    <a:pt x="171" y="53"/>
                    <a:pt x="173" y="52"/>
                    <a:pt x="174" y="53"/>
                  </a:cubicBezTo>
                  <a:cubicBezTo>
                    <a:pt x="174" y="54"/>
                    <a:pt x="174" y="54"/>
                    <a:pt x="174" y="54"/>
                  </a:cubicBezTo>
                  <a:cubicBezTo>
                    <a:pt x="177" y="54"/>
                    <a:pt x="178" y="57"/>
                    <a:pt x="179" y="56"/>
                  </a:cubicBezTo>
                  <a:cubicBezTo>
                    <a:pt x="181" y="55"/>
                    <a:pt x="180" y="52"/>
                    <a:pt x="183" y="52"/>
                  </a:cubicBezTo>
                  <a:cubicBezTo>
                    <a:pt x="186" y="51"/>
                    <a:pt x="188" y="54"/>
                    <a:pt x="191" y="53"/>
                  </a:cubicBezTo>
                  <a:cubicBezTo>
                    <a:pt x="192" y="53"/>
                    <a:pt x="193" y="52"/>
                    <a:pt x="194" y="52"/>
                  </a:cubicBezTo>
                  <a:cubicBezTo>
                    <a:pt x="194" y="52"/>
                    <a:pt x="202" y="50"/>
                    <a:pt x="202" y="51"/>
                  </a:cubicBezTo>
                  <a:cubicBezTo>
                    <a:pt x="202" y="50"/>
                    <a:pt x="203" y="50"/>
                    <a:pt x="203" y="49"/>
                  </a:cubicBezTo>
                  <a:cubicBezTo>
                    <a:pt x="205" y="50"/>
                    <a:pt x="208" y="55"/>
                    <a:pt x="209" y="54"/>
                  </a:cubicBezTo>
                  <a:cubicBezTo>
                    <a:pt x="210" y="53"/>
                    <a:pt x="211" y="51"/>
                    <a:pt x="211" y="50"/>
                  </a:cubicBezTo>
                  <a:cubicBezTo>
                    <a:pt x="212" y="48"/>
                    <a:pt x="211" y="46"/>
                    <a:pt x="213" y="45"/>
                  </a:cubicBezTo>
                  <a:cubicBezTo>
                    <a:pt x="212" y="45"/>
                    <a:pt x="213" y="46"/>
                    <a:pt x="213" y="46"/>
                  </a:cubicBezTo>
                  <a:cubicBezTo>
                    <a:pt x="216" y="47"/>
                    <a:pt x="217" y="46"/>
                    <a:pt x="217" y="42"/>
                  </a:cubicBezTo>
                  <a:cubicBezTo>
                    <a:pt x="217" y="42"/>
                    <a:pt x="217" y="41"/>
                    <a:pt x="217" y="40"/>
                  </a:cubicBezTo>
                  <a:cubicBezTo>
                    <a:pt x="217" y="40"/>
                    <a:pt x="217" y="40"/>
                    <a:pt x="217" y="40"/>
                  </a:cubicBezTo>
                  <a:cubicBezTo>
                    <a:pt x="221" y="44"/>
                    <a:pt x="221" y="44"/>
                    <a:pt x="221" y="44"/>
                  </a:cubicBezTo>
                  <a:cubicBezTo>
                    <a:pt x="221" y="45"/>
                    <a:pt x="220" y="46"/>
                    <a:pt x="220" y="47"/>
                  </a:cubicBezTo>
                  <a:cubicBezTo>
                    <a:pt x="220" y="51"/>
                    <a:pt x="224" y="55"/>
                    <a:pt x="221" y="58"/>
                  </a:cubicBezTo>
                  <a:cubicBezTo>
                    <a:pt x="220" y="59"/>
                    <a:pt x="219" y="60"/>
                    <a:pt x="217" y="61"/>
                  </a:cubicBezTo>
                  <a:cubicBezTo>
                    <a:pt x="216" y="61"/>
                    <a:pt x="215" y="63"/>
                    <a:pt x="214" y="64"/>
                  </a:cubicBezTo>
                  <a:cubicBezTo>
                    <a:pt x="214" y="65"/>
                    <a:pt x="212" y="65"/>
                    <a:pt x="211" y="66"/>
                  </a:cubicBezTo>
                  <a:cubicBezTo>
                    <a:pt x="210" y="67"/>
                    <a:pt x="210" y="69"/>
                    <a:pt x="209" y="70"/>
                  </a:cubicBezTo>
                  <a:cubicBezTo>
                    <a:pt x="208" y="70"/>
                    <a:pt x="206" y="70"/>
                    <a:pt x="205" y="70"/>
                  </a:cubicBezTo>
                  <a:cubicBezTo>
                    <a:pt x="205" y="73"/>
                    <a:pt x="202" y="76"/>
                    <a:pt x="203" y="79"/>
                  </a:cubicBezTo>
                  <a:cubicBezTo>
                    <a:pt x="204" y="81"/>
                    <a:pt x="207" y="81"/>
                    <a:pt x="207" y="83"/>
                  </a:cubicBezTo>
                  <a:cubicBezTo>
                    <a:pt x="214" y="84"/>
                    <a:pt x="215" y="91"/>
                    <a:pt x="215" y="96"/>
                  </a:cubicBezTo>
                  <a:cubicBezTo>
                    <a:pt x="213" y="96"/>
                    <a:pt x="212" y="94"/>
                    <a:pt x="210" y="94"/>
                  </a:cubicBezTo>
                  <a:cubicBezTo>
                    <a:pt x="207" y="95"/>
                    <a:pt x="207" y="97"/>
                    <a:pt x="207" y="99"/>
                  </a:cubicBezTo>
                  <a:cubicBezTo>
                    <a:pt x="205" y="99"/>
                    <a:pt x="204" y="99"/>
                    <a:pt x="202" y="99"/>
                  </a:cubicBezTo>
                  <a:cubicBezTo>
                    <a:pt x="202" y="101"/>
                    <a:pt x="205" y="108"/>
                    <a:pt x="207" y="108"/>
                  </a:cubicBezTo>
                  <a:cubicBezTo>
                    <a:pt x="206" y="110"/>
                    <a:pt x="203" y="111"/>
                    <a:pt x="203" y="113"/>
                  </a:cubicBezTo>
                  <a:cubicBezTo>
                    <a:pt x="204" y="114"/>
                    <a:pt x="204" y="114"/>
                    <a:pt x="204" y="114"/>
                  </a:cubicBezTo>
                  <a:cubicBezTo>
                    <a:pt x="203" y="114"/>
                    <a:pt x="203" y="114"/>
                    <a:pt x="203" y="114"/>
                  </a:cubicBezTo>
                  <a:cubicBezTo>
                    <a:pt x="201" y="114"/>
                    <a:pt x="200" y="112"/>
                    <a:pt x="198" y="111"/>
                  </a:cubicBezTo>
                  <a:cubicBezTo>
                    <a:pt x="196" y="109"/>
                    <a:pt x="192" y="108"/>
                    <a:pt x="189" y="108"/>
                  </a:cubicBezTo>
                  <a:cubicBezTo>
                    <a:pt x="189" y="112"/>
                    <a:pt x="189" y="112"/>
                    <a:pt x="189" y="112"/>
                  </a:cubicBezTo>
                  <a:cubicBezTo>
                    <a:pt x="187" y="112"/>
                    <a:pt x="188" y="113"/>
                    <a:pt x="188" y="115"/>
                  </a:cubicBezTo>
                  <a:cubicBezTo>
                    <a:pt x="185" y="115"/>
                    <a:pt x="183" y="114"/>
                    <a:pt x="180" y="115"/>
                  </a:cubicBezTo>
                  <a:cubicBezTo>
                    <a:pt x="179" y="117"/>
                    <a:pt x="179" y="122"/>
                    <a:pt x="175" y="122"/>
                  </a:cubicBezTo>
                  <a:cubicBezTo>
                    <a:pt x="170" y="123"/>
                    <a:pt x="174" y="129"/>
                    <a:pt x="172" y="132"/>
                  </a:cubicBezTo>
                  <a:cubicBezTo>
                    <a:pt x="171" y="134"/>
                    <a:pt x="169" y="133"/>
                    <a:pt x="169" y="136"/>
                  </a:cubicBezTo>
                  <a:cubicBezTo>
                    <a:pt x="169" y="138"/>
                    <a:pt x="169" y="141"/>
                    <a:pt x="168" y="143"/>
                  </a:cubicBezTo>
                  <a:cubicBezTo>
                    <a:pt x="167" y="144"/>
                    <a:pt x="165" y="144"/>
                    <a:pt x="164" y="144"/>
                  </a:cubicBezTo>
                  <a:cubicBezTo>
                    <a:pt x="162" y="145"/>
                    <a:pt x="164" y="146"/>
                    <a:pt x="163" y="148"/>
                  </a:cubicBezTo>
                  <a:cubicBezTo>
                    <a:pt x="161" y="149"/>
                    <a:pt x="159" y="145"/>
                    <a:pt x="157" y="145"/>
                  </a:cubicBezTo>
                  <a:cubicBezTo>
                    <a:pt x="157" y="147"/>
                    <a:pt x="153" y="149"/>
                    <a:pt x="151" y="149"/>
                  </a:cubicBezTo>
                  <a:cubicBezTo>
                    <a:pt x="151" y="147"/>
                    <a:pt x="150" y="144"/>
                    <a:pt x="148" y="146"/>
                  </a:cubicBezTo>
                  <a:cubicBezTo>
                    <a:pt x="147" y="146"/>
                    <a:pt x="148" y="147"/>
                    <a:pt x="147" y="148"/>
                  </a:cubicBezTo>
                  <a:cubicBezTo>
                    <a:pt x="146" y="149"/>
                    <a:pt x="145" y="149"/>
                    <a:pt x="145" y="150"/>
                  </a:cubicBezTo>
                  <a:cubicBezTo>
                    <a:pt x="144" y="152"/>
                    <a:pt x="145" y="158"/>
                    <a:pt x="140" y="157"/>
                  </a:cubicBezTo>
                  <a:cubicBezTo>
                    <a:pt x="140" y="154"/>
                    <a:pt x="137" y="156"/>
                    <a:pt x="136" y="155"/>
                  </a:cubicBezTo>
                  <a:cubicBezTo>
                    <a:pt x="135" y="154"/>
                    <a:pt x="136" y="151"/>
                    <a:pt x="136" y="150"/>
                  </a:cubicBezTo>
                  <a:cubicBezTo>
                    <a:pt x="136" y="144"/>
                    <a:pt x="132" y="149"/>
                    <a:pt x="129" y="148"/>
                  </a:cubicBezTo>
                  <a:cubicBezTo>
                    <a:pt x="128" y="146"/>
                    <a:pt x="130" y="143"/>
                    <a:pt x="128" y="141"/>
                  </a:cubicBezTo>
                  <a:cubicBezTo>
                    <a:pt x="127" y="140"/>
                    <a:pt x="125" y="140"/>
                    <a:pt x="125" y="138"/>
                  </a:cubicBezTo>
                  <a:cubicBezTo>
                    <a:pt x="125" y="137"/>
                    <a:pt x="125" y="138"/>
                    <a:pt x="124" y="137"/>
                  </a:cubicBezTo>
                  <a:cubicBezTo>
                    <a:pt x="123" y="137"/>
                    <a:pt x="115" y="140"/>
                    <a:pt x="115" y="136"/>
                  </a:cubicBezTo>
                  <a:cubicBezTo>
                    <a:pt x="114" y="136"/>
                    <a:pt x="111" y="135"/>
                    <a:pt x="110" y="136"/>
                  </a:cubicBezTo>
                  <a:cubicBezTo>
                    <a:pt x="108" y="137"/>
                    <a:pt x="110" y="139"/>
                    <a:pt x="109" y="140"/>
                  </a:cubicBezTo>
                  <a:cubicBezTo>
                    <a:pt x="109" y="141"/>
                    <a:pt x="107" y="141"/>
                    <a:pt x="107" y="143"/>
                  </a:cubicBezTo>
                  <a:cubicBezTo>
                    <a:pt x="107" y="144"/>
                    <a:pt x="107" y="144"/>
                    <a:pt x="107" y="145"/>
                  </a:cubicBezTo>
                  <a:cubicBezTo>
                    <a:pt x="107" y="146"/>
                    <a:pt x="106" y="146"/>
                    <a:pt x="105" y="147"/>
                  </a:cubicBezTo>
                  <a:cubicBezTo>
                    <a:pt x="103" y="147"/>
                    <a:pt x="103" y="147"/>
                    <a:pt x="102" y="148"/>
                  </a:cubicBezTo>
                  <a:cubicBezTo>
                    <a:pt x="102" y="149"/>
                    <a:pt x="101" y="150"/>
                    <a:pt x="100" y="150"/>
                  </a:cubicBezTo>
                  <a:cubicBezTo>
                    <a:pt x="97" y="151"/>
                    <a:pt x="93" y="150"/>
                    <a:pt x="89" y="152"/>
                  </a:cubicBezTo>
                  <a:cubicBezTo>
                    <a:pt x="90" y="156"/>
                    <a:pt x="85" y="155"/>
                    <a:pt x="83" y="155"/>
                  </a:cubicBezTo>
                  <a:cubicBezTo>
                    <a:pt x="81" y="156"/>
                    <a:pt x="81" y="157"/>
                    <a:pt x="80" y="158"/>
                  </a:cubicBezTo>
                  <a:cubicBezTo>
                    <a:pt x="79" y="158"/>
                    <a:pt x="77" y="157"/>
                    <a:pt x="76" y="157"/>
                  </a:cubicBezTo>
                  <a:cubicBezTo>
                    <a:pt x="73" y="155"/>
                    <a:pt x="73" y="150"/>
                    <a:pt x="70" y="151"/>
                  </a:cubicBezTo>
                  <a:cubicBezTo>
                    <a:pt x="67" y="151"/>
                    <a:pt x="67" y="153"/>
                    <a:pt x="66" y="155"/>
                  </a:cubicBezTo>
                  <a:cubicBezTo>
                    <a:pt x="65" y="156"/>
                    <a:pt x="63" y="156"/>
                    <a:pt x="61" y="156"/>
                  </a:cubicBezTo>
                  <a:cubicBezTo>
                    <a:pt x="61" y="157"/>
                    <a:pt x="61" y="159"/>
                    <a:pt x="60" y="160"/>
                  </a:cubicBezTo>
                  <a:cubicBezTo>
                    <a:pt x="57" y="160"/>
                    <a:pt x="50" y="160"/>
                    <a:pt x="50" y="156"/>
                  </a:cubicBezTo>
                  <a:cubicBezTo>
                    <a:pt x="49" y="153"/>
                    <a:pt x="50" y="148"/>
                    <a:pt x="46" y="149"/>
                  </a:cubicBezTo>
                  <a:cubicBezTo>
                    <a:pt x="44" y="150"/>
                    <a:pt x="40" y="154"/>
                    <a:pt x="38" y="151"/>
                  </a:cubicBezTo>
                  <a:cubicBezTo>
                    <a:pt x="37" y="148"/>
                    <a:pt x="36" y="145"/>
                    <a:pt x="32" y="145"/>
                  </a:cubicBezTo>
                  <a:cubicBezTo>
                    <a:pt x="32" y="150"/>
                    <a:pt x="29" y="149"/>
                    <a:pt x="24" y="149"/>
                  </a:cubicBezTo>
                  <a:cubicBezTo>
                    <a:pt x="19" y="149"/>
                    <a:pt x="13" y="150"/>
                    <a:pt x="8" y="147"/>
                  </a:cubicBezTo>
                  <a:cubicBezTo>
                    <a:pt x="7" y="146"/>
                    <a:pt x="6" y="146"/>
                    <a:pt x="4" y="145"/>
                  </a:cubicBezTo>
                  <a:cubicBezTo>
                    <a:pt x="7" y="145"/>
                    <a:pt x="10" y="144"/>
                    <a:pt x="10" y="140"/>
                  </a:cubicBezTo>
                  <a:cubicBezTo>
                    <a:pt x="10" y="137"/>
                    <a:pt x="8" y="135"/>
                    <a:pt x="5" y="133"/>
                  </a:cubicBezTo>
                  <a:cubicBezTo>
                    <a:pt x="2" y="131"/>
                    <a:pt x="3" y="127"/>
                    <a:pt x="2" y="124"/>
                  </a:cubicBezTo>
                  <a:cubicBezTo>
                    <a:pt x="0" y="121"/>
                    <a:pt x="0" y="118"/>
                    <a:pt x="2" y="114"/>
                  </a:cubicBezTo>
                  <a:cubicBezTo>
                    <a:pt x="3" y="112"/>
                    <a:pt x="4" y="109"/>
                    <a:pt x="7" y="108"/>
                  </a:cubicBezTo>
                  <a:cubicBezTo>
                    <a:pt x="11" y="108"/>
                    <a:pt x="12" y="106"/>
                    <a:pt x="16" y="104"/>
                  </a:cubicBezTo>
                  <a:cubicBezTo>
                    <a:pt x="18" y="103"/>
                    <a:pt x="22" y="103"/>
                    <a:pt x="23" y="100"/>
                  </a:cubicBezTo>
                  <a:cubicBezTo>
                    <a:pt x="25" y="98"/>
                    <a:pt x="26" y="94"/>
                    <a:pt x="29" y="94"/>
                  </a:cubicBezTo>
                  <a:cubicBezTo>
                    <a:pt x="30" y="93"/>
                    <a:pt x="32" y="93"/>
                    <a:pt x="33" y="92"/>
                  </a:cubicBezTo>
                  <a:cubicBezTo>
                    <a:pt x="35" y="91"/>
                    <a:pt x="35" y="90"/>
                    <a:pt x="35" y="88"/>
                  </a:cubicBezTo>
                  <a:cubicBezTo>
                    <a:pt x="36" y="85"/>
                    <a:pt x="41" y="86"/>
                    <a:pt x="41" y="89"/>
                  </a:cubicBezTo>
                  <a:cubicBezTo>
                    <a:pt x="43" y="90"/>
                    <a:pt x="44" y="88"/>
                    <a:pt x="45" y="87"/>
                  </a:cubicBezTo>
                  <a:cubicBezTo>
                    <a:pt x="48" y="85"/>
                    <a:pt x="51" y="88"/>
                    <a:pt x="54" y="88"/>
                  </a:cubicBezTo>
                  <a:cubicBezTo>
                    <a:pt x="60" y="89"/>
                    <a:pt x="60" y="83"/>
                    <a:pt x="55" y="81"/>
                  </a:cubicBezTo>
                  <a:cubicBezTo>
                    <a:pt x="50" y="80"/>
                    <a:pt x="47" y="77"/>
                    <a:pt x="43" y="75"/>
                  </a:cubicBezTo>
                  <a:cubicBezTo>
                    <a:pt x="41" y="74"/>
                    <a:pt x="40" y="74"/>
                    <a:pt x="39" y="73"/>
                  </a:cubicBezTo>
                  <a:cubicBezTo>
                    <a:pt x="38" y="72"/>
                    <a:pt x="38" y="71"/>
                    <a:pt x="38" y="69"/>
                  </a:cubicBezTo>
                  <a:cubicBezTo>
                    <a:pt x="36" y="66"/>
                    <a:pt x="33" y="65"/>
                    <a:pt x="31" y="62"/>
                  </a:cubicBezTo>
                  <a:cubicBezTo>
                    <a:pt x="34" y="62"/>
                    <a:pt x="37" y="61"/>
                    <a:pt x="39" y="60"/>
                  </a:cubicBezTo>
                  <a:cubicBezTo>
                    <a:pt x="40" y="59"/>
                    <a:pt x="39" y="57"/>
                    <a:pt x="39" y="55"/>
                  </a:cubicBezTo>
                  <a:cubicBezTo>
                    <a:pt x="38" y="54"/>
                    <a:pt x="37" y="54"/>
                    <a:pt x="35" y="54"/>
                  </a:cubicBezTo>
                  <a:cubicBezTo>
                    <a:pt x="33" y="53"/>
                    <a:pt x="31" y="52"/>
                    <a:pt x="29" y="52"/>
                  </a:cubicBezTo>
                  <a:cubicBezTo>
                    <a:pt x="27" y="49"/>
                    <a:pt x="28" y="47"/>
                    <a:pt x="31" y="47"/>
                  </a:cubicBezTo>
                  <a:cubicBezTo>
                    <a:pt x="35" y="46"/>
                    <a:pt x="33" y="45"/>
                    <a:pt x="36" y="44"/>
                  </a:cubicBezTo>
                  <a:cubicBezTo>
                    <a:pt x="40" y="43"/>
                    <a:pt x="44" y="44"/>
                    <a:pt x="47" y="44"/>
                  </a:cubicBezTo>
                  <a:cubicBezTo>
                    <a:pt x="49" y="44"/>
                    <a:pt x="50" y="43"/>
                    <a:pt x="49" y="41"/>
                  </a:cubicBezTo>
                  <a:cubicBezTo>
                    <a:pt x="48" y="40"/>
                    <a:pt x="46" y="40"/>
                    <a:pt x="45" y="40"/>
                  </a:cubicBezTo>
                  <a:cubicBezTo>
                    <a:pt x="45" y="39"/>
                    <a:pt x="44" y="38"/>
                    <a:pt x="43" y="38"/>
                  </a:cubicBezTo>
                  <a:cubicBezTo>
                    <a:pt x="42" y="36"/>
                    <a:pt x="42" y="34"/>
                    <a:pt x="42" y="32"/>
                  </a:cubicBezTo>
                  <a:cubicBezTo>
                    <a:pt x="40" y="32"/>
                    <a:pt x="37" y="33"/>
                    <a:pt x="34" y="31"/>
                  </a:cubicBezTo>
                  <a:cubicBezTo>
                    <a:pt x="32" y="29"/>
                    <a:pt x="34" y="26"/>
                    <a:pt x="33" y="23"/>
                  </a:cubicBezTo>
                  <a:cubicBezTo>
                    <a:pt x="32" y="20"/>
                    <a:pt x="28" y="21"/>
                    <a:pt x="29" y="18"/>
                  </a:cubicBezTo>
                  <a:cubicBezTo>
                    <a:pt x="30" y="15"/>
                    <a:pt x="26" y="13"/>
                    <a:pt x="27" y="10"/>
                  </a:cubicBezTo>
                  <a:cubicBezTo>
                    <a:pt x="24" y="10"/>
                    <a:pt x="23" y="8"/>
                    <a:pt x="23" y="7"/>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64" name="Rectangle 292"/>
            <p:cNvSpPr>
              <a:spLocks noChangeArrowheads="1"/>
            </p:cNvSpPr>
            <p:nvPr/>
          </p:nvSpPr>
          <p:spPr bwMode="auto">
            <a:xfrm>
              <a:off x="5322888" y="3794126"/>
              <a:ext cx="1588" cy="1588"/>
            </a:xfrm>
            <a:prstGeom prst="rect">
              <a:avLst/>
            </a:prstGeom>
            <a:solidFill>
              <a:srgbClr val="68CEF2"/>
            </a:solidFill>
            <a:ln w="3175">
              <a:solidFill>
                <a:schemeClr val="bg1"/>
              </a:solidFill>
              <a:miter lim="800000"/>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65" name="Freeform 293"/>
            <p:cNvSpPr>
              <a:spLocks/>
            </p:cNvSpPr>
            <p:nvPr/>
          </p:nvSpPr>
          <p:spPr bwMode="auto">
            <a:xfrm>
              <a:off x="5322888" y="379095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66" name="Freeform 294"/>
            <p:cNvSpPr>
              <a:spLocks/>
            </p:cNvSpPr>
            <p:nvPr/>
          </p:nvSpPr>
          <p:spPr bwMode="auto">
            <a:xfrm>
              <a:off x="4354513" y="3705226"/>
              <a:ext cx="1057275" cy="809625"/>
            </a:xfrm>
            <a:custGeom>
              <a:avLst/>
              <a:gdLst>
                <a:gd name="T0" fmla="*/ 278 w 299"/>
                <a:gd name="T1" fmla="*/ 32 h 229"/>
                <a:gd name="T2" fmla="*/ 259 w 299"/>
                <a:gd name="T3" fmla="*/ 16 h 229"/>
                <a:gd name="T4" fmla="*/ 232 w 299"/>
                <a:gd name="T5" fmla="*/ 4 h 229"/>
                <a:gd name="T6" fmla="*/ 224 w 299"/>
                <a:gd name="T7" fmla="*/ 27 h 229"/>
                <a:gd name="T8" fmla="*/ 198 w 299"/>
                <a:gd name="T9" fmla="*/ 19 h 229"/>
                <a:gd name="T10" fmla="*/ 184 w 299"/>
                <a:gd name="T11" fmla="*/ 17 h 229"/>
                <a:gd name="T12" fmla="*/ 160 w 299"/>
                <a:gd name="T13" fmla="*/ 6 h 229"/>
                <a:gd name="T14" fmla="*/ 132 w 299"/>
                <a:gd name="T15" fmla="*/ 0 h 229"/>
                <a:gd name="T16" fmla="*/ 113 w 299"/>
                <a:gd name="T17" fmla="*/ 20 h 229"/>
                <a:gd name="T18" fmla="*/ 106 w 299"/>
                <a:gd name="T19" fmla="*/ 41 h 229"/>
                <a:gd name="T20" fmla="*/ 94 w 299"/>
                <a:gd name="T21" fmla="*/ 58 h 229"/>
                <a:gd name="T22" fmla="*/ 81 w 299"/>
                <a:gd name="T23" fmla="*/ 66 h 229"/>
                <a:gd name="T24" fmla="*/ 55 w 299"/>
                <a:gd name="T25" fmla="*/ 78 h 229"/>
                <a:gd name="T26" fmla="*/ 54 w 299"/>
                <a:gd name="T27" fmla="*/ 100 h 229"/>
                <a:gd name="T28" fmla="*/ 67 w 299"/>
                <a:gd name="T29" fmla="*/ 123 h 229"/>
                <a:gd name="T30" fmla="*/ 52 w 299"/>
                <a:gd name="T31" fmla="*/ 130 h 229"/>
                <a:gd name="T32" fmla="*/ 28 w 299"/>
                <a:gd name="T33" fmla="*/ 129 h 229"/>
                <a:gd name="T34" fmla="*/ 37 w 299"/>
                <a:gd name="T35" fmla="*/ 147 h 229"/>
                <a:gd name="T36" fmla="*/ 40 w 299"/>
                <a:gd name="T37" fmla="*/ 176 h 229"/>
                <a:gd name="T38" fmla="*/ 30 w 299"/>
                <a:gd name="T39" fmla="*/ 194 h 229"/>
                <a:gd name="T40" fmla="*/ 13 w 299"/>
                <a:gd name="T41" fmla="*/ 205 h 229"/>
                <a:gd name="T42" fmla="*/ 0 w 299"/>
                <a:gd name="T43" fmla="*/ 229 h 229"/>
                <a:gd name="T44" fmla="*/ 20 w 299"/>
                <a:gd name="T45" fmla="*/ 227 h 229"/>
                <a:gd name="T46" fmla="*/ 42 w 299"/>
                <a:gd name="T47" fmla="*/ 220 h 229"/>
                <a:gd name="T48" fmla="*/ 51 w 299"/>
                <a:gd name="T49" fmla="*/ 216 h 229"/>
                <a:gd name="T50" fmla="*/ 51 w 299"/>
                <a:gd name="T51" fmla="*/ 207 h 229"/>
                <a:gd name="T52" fmla="*/ 62 w 299"/>
                <a:gd name="T53" fmla="*/ 205 h 229"/>
                <a:gd name="T54" fmla="*/ 75 w 299"/>
                <a:gd name="T55" fmla="*/ 203 h 229"/>
                <a:gd name="T56" fmla="*/ 86 w 299"/>
                <a:gd name="T57" fmla="*/ 199 h 229"/>
                <a:gd name="T58" fmla="*/ 86 w 299"/>
                <a:gd name="T59" fmla="*/ 185 h 229"/>
                <a:gd name="T60" fmla="*/ 100 w 299"/>
                <a:gd name="T61" fmla="*/ 179 h 229"/>
                <a:gd name="T62" fmla="*/ 107 w 299"/>
                <a:gd name="T63" fmla="*/ 174 h 229"/>
                <a:gd name="T64" fmla="*/ 117 w 299"/>
                <a:gd name="T65" fmla="*/ 174 h 229"/>
                <a:gd name="T66" fmla="*/ 136 w 299"/>
                <a:gd name="T67" fmla="*/ 186 h 229"/>
                <a:gd name="T68" fmla="*/ 148 w 299"/>
                <a:gd name="T69" fmla="*/ 176 h 229"/>
                <a:gd name="T70" fmla="*/ 159 w 299"/>
                <a:gd name="T71" fmla="*/ 169 h 229"/>
                <a:gd name="T72" fmla="*/ 165 w 299"/>
                <a:gd name="T73" fmla="*/ 172 h 229"/>
                <a:gd name="T74" fmla="*/ 183 w 299"/>
                <a:gd name="T75" fmla="*/ 154 h 229"/>
                <a:gd name="T76" fmla="*/ 190 w 299"/>
                <a:gd name="T77" fmla="*/ 145 h 229"/>
                <a:gd name="T78" fmla="*/ 184 w 299"/>
                <a:gd name="T79" fmla="*/ 147 h 229"/>
                <a:gd name="T80" fmla="*/ 193 w 299"/>
                <a:gd name="T81" fmla="*/ 135 h 229"/>
                <a:gd name="T82" fmla="*/ 193 w 299"/>
                <a:gd name="T83" fmla="*/ 145 h 229"/>
                <a:gd name="T84" fmla="*/ 218 w 299"/>
                <a:gd name="T85" fmla="*/ 135 h 229"/>
                <a:gd name="T86" fmla="*/ 255 w 299"/>
                <a:gd name="T87" fmla="*/ 114 h 229"/>
                <a:gd name="T88" fmla="*/ 267 w 299"/>
                <a:gd name="T89" fmla="*/ 98 h 229"/>
                <a:gd name="T90" fmla="*/ 270 w 299"/>
                <a:gd name="T91" fmla="*/ 90 h 229"/>
                <a:gd name="T92" fmla="*/ 269 w 299"/>
                <a:gd name="T93" fmla="*/ 88 h 229"/>
                <a:gd name="T94" fmla="*/ 271 w 299"/>
                <a:gd name="T95" fmla="*/ 58 h 229"/>
                <a:gd name="T96" fmla="*/ 294 w 299"/>
                <a:gd name="T97" fmla="*/ 5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9" h="229">
                  <a:moveTo>
                    <a:pt x="293" y="38"/>
                  </a:moveTo>
                  <a:cubicBezTo>
                    <a:pt x="291" y="36"/>
                    <a:pt x="287" y="37"/>
                    <a:pt x="286" y="34"/>
                  </a:cubicBezTo>
                  <a:cubicBezTo>
                    <a:pt x="286" y="31"/>
                    <a:pt x="285" y="28"/>
                    <a:pt x="282" y="29"/>
                  </a:cubicBezTo>
                  <a:cubicBezTo>
                    <a:pt x="281" y="32"/>
                    <a:pt x="281" y="31"/>
                    <a:pt x="278" y="32"/>
                  </a:cubicBezTo>
                  <a:cubicBezTo>
                    <a:pt x="278" y="35"/>
                    <a:pt x="275" y="33"/>
                    <a:pt x="274" y="32"/>
                  </a:cubicBezTo>
                  <a:cubicBezTo>
                    <a:pt x="272" y="29"/>
                    <a:pt x="276" y="26"/>
                    <a:pt x="273" y="23"/>
                  </a:cubicBezTo>
                  <a:cubicBezTo>
                    <a:pt x="269" y="20"/>
                    <a:pt x="264" y="23"/>
                    <a:pt x="263" y="17"/>
                  </a:cubicBezTo>
                  <a:cubicBezTo>
                    <a:pt x="262" y="17"/>
                    <a:pt x="261" y="16"/>
                    <a:pt x="259" y="16"/>
                  </a:cubicBezTo>
                  <a:cubicBezTo>
                    <a:pt x="260" y="11"/>
                    <a:pt x="251" y="6"/>
                    <a:pt x="250" y="12"/>
                  </a:cubicBezTo>
                  <a:cubicBezTo>
                    <a:pt x="249" y="13"/>
                    <a:pt x="248" y="13"/>
                    <a:pt x="248" y="13"/>
                  </a:cubicBezTo>
                  <a:cubicBezTo>
                    <a:pt x="248" y="11"/>
                    <a:pt x="244" y="7"/>
                    <a:pt x="243" y="5"/>
                  </a:cubicBezTo>
                  <a:cubicBezTo>
                    <a:pt x="241" y="3"/>
                    <a:pt x="236" y="4"/>
                    <a:pt x="232" y="4"/>
                  </a:cubicBezTo>
                  <a:cubicBezTo>
                    <a:pt x="233" y="0"/>
                    <a:pt x="227" y="2"/>
                    <a:pt x="225" y="2"/>
                  </a:cubicBezTo>
                  <a:cubicBezTo>
                    <a:pt x="226" y="4"/>
                    <a:pt x="231" y="12"/>
                    <a:pt x="227" y="14"/>
                  </a:cubicBezTo>
                  <a:cubicBezTo>
                    <a:pt x="226" y="16"/>
                    <a:pt x="229" y="18"/>
                    <a:pt x="228" y="21"/>
                  </a:cubicBezTo>
                  <a:cubicBezTo>
                    <a:pt x="224" y="21"/>
                    <a:pt x="225" y="25"/>
                    <a:pt x="224" y="27"/>
                  </a:cubicBezTo>
                  <a:cubicBezTo>
                    <a:pt x="221" y="27"/>
                    <a:pt x="220" y="26"/>
                    <a:pt x="218" y="26"/>
                  </a:cubicBezTo>
                  <a:cubicBezTo>
                    <a:pt x="219" y="24"/>
                    <a:pt x="221" y="22"/>
                    <a:pt x="218" y="21"/>
                  </a:cubicBezTo>
                  <a:cubicBezTo>
                    <a:pt x="215" y="24"/>
                    <a:pt x="211" y="21"/>
                    <a:pt x="208" y="20"/>
                  </a:cubicBezTo>
                  <a:cubicBezTo>
                    <a:pt x="205" y="19"/>
                    <a:pt x="201" y="17"/>
                    <a:pt x="198" y="19"/>
                  </a:cubicBezTo>
                  <a:cubicBezTo>
                    <a:pt x="195" y="20"/>
                    <a:pt x="194" y="24"/>
                    <a:pt x="191" y="24"/>
                  </a:cubicBezTo>
                  <a:cubicBezTo>
                    <a:pt x="187" y="25"/>
                    <a:pt x="184" y="21"/>
                    <a:pt x="180" y="21"/>
                  </a:cubicBezTo>
                  <a:cubicBezTo>
                    <a:pt x="181" y="19"/>
                    <a:pt x="183" y="19"/>
                    <a:pt x="183" y="17"/>
                  </a:cubicBezTo>
                  <a:cubicBezTo>
                    <a:pt x="184" y="17"/>
                    <a:pt x="184" y="17"/>
                    <a:pt x="184" y="17"/>
                  </a:cubicBezTo>
                  <a:cubicBezTo>
                    <a:pt x="185" y="12"/>
                    <a:pt x="185" y="7"/>
                    <a:pt x="185" y="2"/>
                  </a:cubicBezTo>
                  <a:cubicBezTo>
                    <a:pt x="182" y="1"/>
                    <a:pt x="180" y="4"/>
                    <a:pt x="178" y="4"/>
                  </a:cubicBezTo>
                  <a:cubicBezTo>
                    <a:pt x="175" y="5"/>
                    <a:pt x="173" y="6"/>
                    <a:pt x="170" y="6"/>
                  </a:cubicBezTo>
                  <a:cubicBezTo>
                    <a:pt x="167" y="7"/>
                    <a:pt x="163" y="5"/>
                    <a:pt x="160" y="6"/>
                  </a:cubicBezTo>
                  <a:cubicBezTo>
                    <a:pt x="158" y="6"/>
                    <a:pt x="157" y="8"/>
                    <a:pt x="155" y="8"/>
                  </a:cubicBezTo>
                  <a:cubicBezTo>
                    <a:pt x="151" y="10"/>
                    <a:pt x="143" y="9"/>
                    <a:pt x="140" y="6"/>
                  </a:cubicBezTo>
                  <a:cubicBezTo>
                    <a:pt x="139" y="5"/>
                    <a:pt x="139" y="3"/>
                    <a:pt x="137" y="1"/>
                  </a:cubicBezTo>
                  <a:cubicBezTo>
                    <a:pt x="136" y="0"/>
                    <a:pt x="134" y="0"/>
                    <a:pt x="132" y="0"/>
                  </a:cubicBezTo>
                  <a:cubicBezTo>
                    <a:pt x="133" y="1"/>
                    <a:pt x="133" y="1"/>
                    <a:pt x="133" y="1"/>
                  </a:cubicBezTo>
                  <a:cubicBezTo>
                    <a:pt x="133" y="6"/>
                    <a:pt x="134" y="8"/>
                    <a:pt x="128" y="9"/>
                  </a:cubicBezTo>
                  <a:cubicBezTo>
                    <a:pt x="125" y="10"/>
                    <a:pt x="120" y="13"/>
                    <a:pt x="117" y="15"/>
                  </a:cubicBezTo>
                  <a:cubicBezTo>
                    <a:pt x="116" y="16"/>
                    <a:pt x="113" y="18"/>
                    <a:pt x="113" y="20"/>
                  </a:cubicBezTo>
                  <a:cubicBezTo>
                    <a:pt x="113" y="23"/>
                    <a:pt x="111" y="21"/>
                    <a:pt x="110" y="23"/>
                  </a:cubicBezTo>
                  <a:cubicBezTo>
                    <a:pt x="108" y="27"/>
                    <a:pt x="112" y="28"/>
                    <a:pt x="113" y="31"/>
                  </a:cubicBezTo>
                  <a:cubicBezTo>
                    <a:pt x="110" y="33"/>
                    <a:pt x="108" y="34"/>
                    <a:pt x="107" y="38"/>
                  </a:cubicBezTo>
                  <a:cubicBezTo>
                    <a:pt x="105" y="38"/>
                    <a:pt x="106" y="40"/>
                    <a:pt x="106" y="41"/>
                  </a:cubicBezTo>
                  <a:cubicBezTo>
                    <a:pt x="106" y="43"/>
                    <a:pt x="103" y="43"/>
                    <a:pt x="102" y="44"/>
                  </a:cubicBezTo>
                  <a:cubicBezTo>
                    <a:pt x="101" y="46"/>
                    <a:pt x="101" y="50"/>
                    <a:pt x="101" y="52"/>
                  </a:cubicBezTo>
                  <a:cubicBezTo>
                    <a:pt x="101" y="54"/>
                    <a:pt x="104" y="55"/>
                    <a:pt x="103" y="57"/>
                  </a:cubicBezTo>
                  <a:cubicBezTo>
                    <a:pt x="101" y="57"/>
                    <a:pt x="96" y="56"/>
                    <a:pt x="94" y="58"/>
                  </a:cubicBezTo>
                  <a:cubicBezTo>
                    <a:pt x="94" y="60"/>
                    <a:pt x="94" y="62"/>
                    <a:pt x="94" y="63"/>
                  </a:cubicBezTo>
                  <a:cubicBezTo>
                    <a:pt x="93" y="65"/>
                    <a:pt x="92" y="66"/>
                    <a:pt x="92" y="68"/>
                  </a:cubicBezTo>
                  <a:cubicBezTo>
                    <a:pt x="90" y="68"/>
                    <a:pt x="88" y="68"/>
                    <a:pt x="87" y="67"/>
                  </a:cubicBezTo>
                  <a:cubicBezTo>
                    <a:pt x="85" y="65"/>
                    <a:pt x="82" y="66"/>
                    <a:pt x="81" y="66"/>
                  </a:cubicBezTo>
                  <a:cubicBezTo>
                    <a:pt x="75" y="66"/>
                    <a:pt x="70" y="65"/>
                    <a:pt x="65" y="65"/>
                  </a:cubicBezTo>
                  <a:cubicBezTo>
                    <a:pt x="65" y="70"/>
                    <a:pt x="63" y="74"/>
                    <a:pt x="61" y="77"/>
                  </a:cubicBezTo>
                  <a:cubicBezTo>
                    <a:pt x="61" y="79"/>
                    <a:pt x="60" y="81"/>
                    <a:pt x="58" y="82"/>
                  </a:cubicBezTo>
                  <a:cubicBezTo>
                    <a:pt x="56" y="82"/>
                    <a:pt x="55" y="80"/>
                    <a:pt x="55" y="78"/>
                  </a:cubicBezTo>
                  <a:cubicBezTo>
                    <a:pt x="54" y="78"/>
                    <a:pt x="53" y="77"/>
                    <a:pt x="52" y="77"/>
                  </a:cubicBezTo>
                  <a:cubicBezTo>
                    <a:pt x="52" y="83"/>
                    <a:pt x="52" y="88"/>
                    <a:pt x="52" y="93"/>
                  </a:cubicBezTo>
                  <a:cubicBezTo>
                    <a:pt x="52" y="94"/>
                    <a:pt x="52" y="96"/>
                    <a:pt x="52" y="98"/>
                  </a:cubicBezTo>
                  <a:cubicBezTo>
                    <a:pt x="52" y="100"/>
                    <a:pt x="54" y="99"/>
                    <a:pt x="54" y="100"/>
                  </a:cubicBezTo>
                  <a:cubicBezTo>
                    <a:pt x="57" y="104"/>
                    <a:pt x="55" y="109"/>
                    <a:pt x="54" y="113"/>
                  </a:cubicBezTo>
                  <a:cubicBezTo>
                    <a:pt x="54" y="115"/>
                    <a:pt x="53" y="118"/>
                    <a:pt x="53" y="120"/>
                  </a:cubicBezTo>
                  <a:cubicBezTo>
                    <a:pt x="54" y="123"/>
                    <a:pt x="58" y="123"/>
                    <a:pt x="60" y="123"/>
                  </a:cubicBezTo>
                  <a:cubicBezTo>
                    <a:pt x="61" y="123"/>
                    <a:pt x="67" y="123"/>
                    <a:pt x="67" y="123"/>
                  </a:cubicBezTo>
                  <a:cubicBezTo>
                    <a:pt x="69" y="125"/>
                    <a:pt x="68" y="128"/>
                    <a:pt x="67" y="131"/>
                  </a:cubicBezTo>
                  <a:cubicBezTo>
                    <a:pt x="66" y="132"/>
                    <a:pt x="65" y="134"/>
                    <a:pt x="62" y="133"/>
                  </a:cubicBezTo>
                  <a:cubicBezTo>
                    <a:pt x="62" y="132"/>
                    <a:pt x="63" y="130"/>
                    <a:pt x="62" y="128"/>
                  </a:cubicBezTo>
                  <a:cubicBezTo>
                    <a:pt x="60" y="127"/>
                    <a:pt x="52" y="126"/>
                    <a:pt x="52" y="130"/>
                  </a:cubicBezTo>
                  <a:cubicBezTo>
                    <a:pt x="48" y="131"/>
                    <a:pt x="50" y="125"/>
                    <a:pt x="50" y="123"/>
                  </a:cubicBezTo>
                  <a:cubicBezTo>
                    <a:pt x="46" y="120"/>
                    <a:pt x="40" y="121"/>
                    <a:pt x="35" y="120"/>
                  </a:cubicBezTo>
                  <a:cubicBezTo>
                    <a:pt x="35" y="117"/>
                    <a:pt x="31" y="118"/>
                    <a:pt x="29" y="118"/>
                  </a:cubicBezTo>
                  <a:cubicBezTo>
                    <a:pt x="29" y="122"/>
                    <a:pt x="26" y="125"/>
                    <a:pt x="28" y="129"/>
                  </a:cubicBezTo>
                  <a:cubicBezTo>
                    <a:pt x="29" y="130"/>
                    <a:pt x="31" y="129"/>
                    <a:pt x="32" y="129"/>
                  </a:cubicBezTo>
                  <a:cubicBezTo>
                    <a:pt x="32" y="133"/>
                    <a:pt x="36" y="131"/>
                    <a:pt x="37" y="134"/>
                  </a:cubicBezTo>
                  <a:cubicBezTo>
                    <a:pt x="39" y="138"/>
                    <a:pt x="34" y="142"/>
                    <a:pt x="34" y="147"/>
                  </a:cubicBezTo>
                  <a:cubicBezTo>
                    <a:pt x="35" y="146"/>
                    <a:pt x="37" y="147"/>
                    <a:pt x="37" y="147"/>
                  </a:cubicBezTo>
                  <a:cubicBezTo>
                    <a:pt x="38" y="149"/>
                    <a:pt x="40" y="149"/>
                    <a:pt x="41" y="151"/>
                  </a:cubicBezTo>
                  <a:cubicBezTo>
                    <a:pt x="42" y="153"/>
                    <a:pt x="41" y="156"/>
                    <a:pt x="41" y="159"/>
                  </a:cubicBezTo>
                  <a:cubicBezTo>
                    <a:pt x="41" y="164"/>
                    <a:pt x="44" y="170"/>
                    <a:pt x="43" y="176"/>
                  </a:cubicBezTo>
                  <a:cubicBezTo>
                    <a:pt x="42" y="176"/>
                    <a:pt x="41" y="176"/>
                    <a:pt x="40" y="176"/>
                  </a:cubicBezTo>
                  <a:cubicBezTo>
                    <a:pt x="40" y="178"/>
                    <a:pt x="40" y="182"/>
                    <a:pt x="38" y="183"/>
                  </a:cubicBezTo>
                  <a:cubicBezTo>
                    <a:pt x="36" y="185"/>
                    <a:pt x="33" y="184"/>
                    <a:pt x="33" y="187"/>
                  </a:cubicBezTo>
                  <a:cubicBezTo>
                    <a:pt x="31" y="187"/>
                    <a:pt x="28" y="187"/>
                    <a:pt x="27" y="187"/>
                  </a:cubicBezTo>
                  <a:cubicBezTo>
                    <a:pt x="30" y="189"/>
                    <a:pt x="30" y="190"/>
                    <a:pt x="30" y="194"/>
                  </a:cubicBezTo>
                  <a:cubicBezTo>
                    <a:pt x="28" y="194"/>
                    <a:pt x="27" y="194"/>
                    <a:pt x="25" y="194"/>
                  </a:cubicBezTo>
                  <a:cubicBezTo>
                    <a:pt x="23" y="197"/>
                    <a:pt x="22" y="202"/>
                    <a:pt x="19" y="204"/>
                  </a:cubicBezTo>
                  <a:cubicBezTo>
                    <a:pt x="18" y="205"/>
                    <a:pt x="16" y="204"/>
                    <a:pt x="15" y="204"/>
                  </a:cubicBezTo>
                  <a:cubicBezTo>
                    <a:pt x="14" y="204"/>
                    <a:pt x="14" y="205"/>
                    <a:pt x="13" y="205"/>
                  </a:cubicBezTo>
                  <a:cubicBezTo>
                    <a:pt x="11" y="207"/>
                    <a:pt x="10" y="208"/>
                    <a:pt x="8" y="209"/>
                  </a:cubicBezTo>
                  <a:cubicBezTo>
                    <a:pt x="7" y="212"/>
                    <a:pt x="7" y="216"/>
                    <a:pt x="5" y="219"/>
                  </a:cubicBezTo>
                  <a:cubicBezTo>
                    <a:pt x="3" y="222"/>
                    <a:pt x="1" y="224"/>
                    <a:pt x="0" y="227"/>
                  </a:cubicBezTo>
                  <a:cubicBezTo>
                    <a:pt x="0" y="228"/>
                    <a:pt x="0" y="229"/>
                    <a:pt x="0" y="229"/>
                  </a:cubicBezTo>
                  <a:cubicBezTo>
                    <a:pt x="0" y="229"/>
                    <a:pt x="0" y="229"/>
                    <a:pt x="0" y="229"/>
                  </a:cubicBezTo>
                  <a:cubicBezTo>
                    <a:pt x="3" y="229"/>
                    <a:pt x="7" y="228"/>
                    <a:pt x="10" y="229"/>
                  </a:cubicBezTo>
                  <a:cubicBezTo>
                    <a:pt x="12" y="229"/>
                    <a:pt x="13" y="228"/>
                    <a:pt x="16" y="227"/>
                  </a:cubicBezTo>
                  <a:cubicBezTo>
                    <a:pt x="17" y="227"/>
                    <a:pt x="19" y="228"/>
                    <a:pt x="20" y="227"/>
                  </a:cubicBezTo>
                  <a:cubicBezTo>
                    <a:pt x="21" y="227"/>
                    <a:pt x="22" y="227"/>
                    <a:pt x="23" y="226"/>
                  </a:cubicBezTo>
                  <a:cubicBezTo>
                    <a:pt x="24" y="222"/>
                    <a:pt x="26" y="223"/>
                    <a:pt x="29" y="223"/>
                  </a:cubicBezTo>
                  <a:cubicBezTo>
                    <a:pt x="33" y="222"/>
                    <a:pt x="33" y="218"/>
                    <a:pt x="37" y="218"/>
                  </a:cubicBezTo>
                  <a:cubicBezTo>
                    <a:pt x="39" y="219"/>
                    <a:pt x="41" y="218"/>
                    <a:pt x="42" y="220"/>
                  </a:cubicBezTo>
                  <a:cubicBezTo>
                    <a:pt x="42" y="221"/>
                    <a:pt x="42" y="223"/>
                    <a:pt x="44" y="223"/>
                  </a:cubicBezTo>
                  <a:cubicBezTo>
                    <a:pt x="46" y="223"/>
                    <a:pt x="46" y="221"/>
                    <a:pt x="47" y="220"/>
                  </a:cubicBezTo>
                  <a:cubicBezTo>
                    <a:pt x="47" y="218"/>
                    <a:pt x="48" y="219"/>
                    <a:pt x="49" y="219"/>
                  </a:cubicBezTo>
                  <a:cubicBezTo>
                    <a:pt x="50" y="217"/>
                    <a:pt x="49" y="215"/>
                    <a:pt x="51" y="216"/>
                  </a:cubicBezTo>
                  <a:cubicBezTo>
                    <a:pt x="51" y="215"/>
                    <a:pt x="51" y="214"/>
                    <a:pt x="51" y="214"/>
                  </a:cubicBezTo>
                  <a:cubicBezTo>
                    <a:pt x="50" y="214"/>
                    <a:pt x="50" y="213"/>
                    <a:pt x="49" y="213"/>
                  </a:cubicBezTo>
                  <a:cubicBezTo>
                    <a:pt x="49" y="212"/>
                    <a:pt x="48" y="209"/>
                    <a:pt x="50" y="209"/>
                  </a:cubicBezTo>
                  <a:cubicBezTo>
                    <a:pt x="51" y="208"/>
                    <a:pt x="52" y="208"/>
                    <a:pt x="51" y="207"/>
                  </a:cubicBezTo>
                  <a:cubicBezTo>
                    <a:pt x="51" y="207"/>
                    <a:pt x="51" y="207"/>
                    <a:pt x="51" y="207"/>
                  </a:cubicBezTo>
                  <a:cubicBezTo>
                    <a:pt x="51" y="205"/>
                    <a:pt x="50" y="203"/>
                    <a:pt x="50" y="201"/>
                  </a:cubicBezTo>
                  <a:cubicBezTo>
                    <a:pt x="53" y="200"/>
                    <a:pt x="54" y="199"/>
                    <a:pt x="56" y="197"/>
                  </a:cubicBezTo>
                  <a:cubicBezTo>
                    <a:pt x="59" y="198"/>
                    <a:pt x="61" y="202"/>
                    <a:pt x="62" y="205"/>
                  </a:cubicBezTo>
                  <a:cubicBezTo>
                    <a:pt x="64" y="206"/>
                    <a:pt x="61" y="207"/>
                    <a:pt x="60" y="208"/>
                  </a:cubicBezTo>
                  <a:cubicBezTo>
                    <a:pt x="62" y="214"/>
                    <a:pt x="68" y="205"/>
                    <a:pt x="70" y="205"/>
                  </a:cubicBezTo>
                  <a:cubicBezTo>
                    <a:pt x="71" y="204"/>
                    <a:pt x="71" y="203"/>
                    <a:pt x="71" y="202"/>
                  </a:cubicBezTo>
                  <a:cubicBezTo>
                    <a:pt x="72" y="201"/>
                    <a:pt x="74" y="202"/>
                    <a:pt x="75" y="203"/>
                  </a:cubicBezTo>
                  <a:cubicBezTo>
                    <a:pt x="76" y="204"/>
                    <a:pt x="77" y="206"/>
                    <a:pt x="78" y="206"/>
                  </a:cubicBezTo>
                  <a:cubicBezTo>
                    <a:pt x="80" y="206"/>
                    <a:pt x="81" y="203"/>
                    <a:pt x="84" y="203"/>
                  </a:cubicBezTo>
                  <a:cubicBezTo>
                    <a:pt x="84" y="202"/>
                    <a:pt x="84" y="202"/>
                    <a:pt x="83" y="202"/>
                  </a:cubicBezTo>
                  <a:cubicBezTo>
                    <a:pt x="83" y="200"/>
                    <a:pt x="83" y="198"/>
                    <a:pt x="86" y="199"/>
                  </a:cubicBezTo>
                  <a:cubicBezTo>
                    <a:pt x="86" y="198"/>
                    <a:pt x="86" y="197"/>
                    <a:pt x="84" y="197"/>
                  </a:cubicBezTo>
                  <a:cubicBezTo>
                    <a:pt x="84" y="195"/>
                    <a:pt x="81" y="195"/>
                    <a:pt x="82" y="193"/>
                  </a:cubicBezTo>
                  <a:cubicBezTo>
                    <a:pt x="82" y="191"/>
                    <a:pt x="83" y="190"/>
                    <a:pt x="84" y="190"/>
                  </a:cubicBezTo>
                  <a:cubicBezTo>
                    <a:pt x="87" y="189"/>
                    <a:pt x="85" y="185"/>
                    <a:pt x="86" y="185"/>
                  </a:cubicBezTo>
                  <a:cubicBezTo>
                    <a:pt x="88" y="185"/>
                    <a:pt x="89" y="185"/>
                    <a:pt x="91" y="185"/>
                  </a:cubicBezTo>
                  <a:cubicBezTo>
                    <a:pt x="93" y="185"/>
                    <a:pt x="95" y="185"/>
                    <a:pt x="96" y="184"/>
                  </a:cubicBezTo>
                  <a:cubicBezTo>
                    <a:pt x="98" y="183"/>
                    <a:pt x="99" y="179"/>
                    <a:pt x="101" y="179"/>
                  </a:cubicBezTo>
                  <a:cubicBezTo>
                    <a:pt x="100" y="179"/>
                    <a:pt x="100" y="179"/>
                    <a:pt x="100" y="179"/>
                  </a:cubicBezTo>
                  <a:cubicBezTo>
                    <a:pt x="100" y="178"/>
                    <a:pt x="95" y="177"/>
                    <a:pt x="97" y="175"/>
                  </a:cubicBezTo>
                  <a:cubicBezTo>
                    <a:pt x="100" y="172"/>
                    <a:pt x="101" y="176"/>
                    <a:pt x="103" y="177"/>
                  </a:cubicBezTo>
                  <a:cubicBezTo>
                    <a:pt x="103" y="175"/>
                    <a:pt x="104" y="172"/>
                    <a:pt x="105" y="171"/>
                  </a:cubicBezTo>
                  <a:cubicBezTo>
                    <a:pt x="106" y="171"/>
                    <a:pt x="106" y="173"/>
                    <a:pt x="107" y="174"/>
                  </a:cubicBezTo>
                  <a:cubicBezTo>
                    <a:pt x="107" y="173"/>
                    <a:pt x="107" y="173"/>
                    <a:pt x="108" y="172"/>
                  </a:cubicBezTo>
                  <a:cubicBezTo>
                    <a:pt x="111" y="175"/>
                    <a:pt x="111" y="169"/>
                    <a:pt x="111" y="167"/>
                  </a:cubicBezTo>
                  <a:cubicBezTo>
                    <a:pt x="112" y="167"/>
                    <a:pt x="112" y="167"/>
                    <a:pt x="112" y="168"/>
                  </a:cubicBezTo>
                  <a:cubicBezTo>
                    <a:pt x="112" y="170"/>
                    <a:pt x="114" y="175"/>
                    <a:pt x="117" y="174"/>
                  </a:cubicBezTo>
                  <a:cubicBezTo>
                    <a:pt x="117" y="173"/>
                    <a:pt x="118" y="173"/>
                    <a:pt x="119" y="173"/>
                  </a:cubicBezTo>
                  <a:cubicBezTo>
                    <a:pt x="120" y="176"/>
                    <a:pt x="122" y="178"/>
                    <a:pt x="123" y="181"/>
                  </a:cubicBezTo>
                  <a:cubicBezTo>
                    <a:pt x="123" y="184"/>
                    <a:pt x="126" y="183"/>
                    <a:pt x="128" y="183"/>
                  </a:cubicBezTo>
                  <a:cubicBezTo>
                    <a:pt x="131" y="183"/>
                    <a:pt x="133" y="184"/>
                    <a:pt x="136" y="186"/>
                  </a:cubicBezTo>
                  <a:cubicBezTo>
                    <a:pt x="138" y="186"/>
                    <a:pt x="141" y="186"/>
                    <a:pt x="144" y="186"/>
                  </a:cubicBezTo>
                  <a:cubicBezTo>
                    <a:pt x="144" y="185"/>
                    <a:pt x="144" y="185"/>
                    <a:pt x="144" y="184"/>
                  </a:cubicBezTo>
                  <a:cubicBezTo>
                    <a:pt x="148" y="184"/>
                    <a:pt x="147" y="180"/>
                    <a:pt x="151" y="180"/>
                  </a:cubicBezTo>
                  <a:cubicBezTo>
                    <a:pt x="150" y="180"/>
                    <a:pt x="148" y="177"/>
                    <a:pt x="148" y="176"/>
                  </a:cubicBezTo>
                  <a:cubicBezTo>
                    <a:pt x="149" y="175"/>
                    <a:pt x="150" y="176"/>
                    <a:pt x="151" y="176"/>
                  </a:cubicBezTo>
                  <a:cubicBezTo>
                    <a:pt x="152" y="176"/>
                    <a:pt x="152" y="175"/>
                    <a:pt x="153" y="174"/>
                  </a:cubicBezTo>
                  <a:cubicBezTo>
                    <a:pt x="154" y="173"/>
                    <a:pt x="161" y="174"/>
                    <a:pt x="160" y="171"/>
                  </a:cubicBezTo>
                  <a:cubicBezTo>
                    <a:pt x="159" y="171"/>
                    <a:pt x="158" y="170"/>
                    <a:pt x="159" y="169"/>
                  </a:cubicBezTo>
                  <a:cubicBezTo>
                    <a:pt x="160" y="168"/>
                    <a:pt x="161" y="168"/>
                    <a:pt x="164" y="168"/>
                  </a:cubicBezTo>
                  <a:cubicBezTo>
                    <a:pt x="164" y="170"/>
                    <a:pt x="163" y="172"/>
                    <a:pt x="165" y="173"/>
                  </a:cubicBezTo>
                  <a:cubicBezTo>
                    <a:pt x="165" y="173"/>
                    <a:pt x="165" y="174"/>
                    <a:pt x="165" y="174"/>
                  </a:cubicBezTo>
                  <a:cubicBezTo>
                    <a:pt x="165" y="173"/>
                    <a:pt x="165" y="173"/>
                    <a:pt x="165" y="172"/>
                  </a:cubicBezTo>
                  <a:cubicBezTo>
                    <a:pt x="167" y="170"/>
                    <a:pt x="169" y="169"/>
                    <a:pt x="171" y="166"/>
                  </a:cubicBezTo>
                  <a:cubicBezTo>
                    <a:pt x="172" y="165"/>
                    <a:pt x="172" y="164"/>
                    <a:pt x="173" y="162"/>
                  </a:cubicBezTo>
                  <a:cubicBezTo>
                    <a:pt x="174" y="161"/>
                    <a:pt x="175" y="158"/>
                    <a:pt x="177" y="157"/>
                  </a:cubicBezTo>
                  <a:cubicBezTo>
                    <a:pt x="178" y="155"/>
                    <a:pt x="181" y="155"/>
                    <a:pt x="183" y="154"/>
                  </a:cubicBezTo>
                  <a:cubicBezTo>
                    <a:pt x="185" y="152"/>
                    <a:pt x="184" y="151"/>
                    <a:pt x="187" y="150"/>
                  </a:cubicBezTo>
                  <a:cubicBezTo>
                    <a:pt x="189" y="149"/>
                    <a:pt x="190" y="147"/>
                    <a:pt x="192" y="147"/>
                  </a:cubicBezTo>
                  <a:cubicBezTo>
                    <a:pt x="192" y="146"/>
                    <a:pt x="192" y="146"/>
                    <a:pt x="192" y="145"/>
                  </a:cubicBezTo>
                  <a:cubicBezTo>
                    <a:pt x="191" y="145"/>
                    <a:pt x="191" y="145"/>
                    <a:pt x="190" y="145"/>
                  </a:cubicBezTo>
                  <a:cubicBezTo>
                    <a:pt x="189" y="146"/>
                    <a:pt x="188" y="146"/>
                    <a:pt x="186" y="146"/>
                  </a:cubicBezTo>
                  <a:cubicBezTo>
                    <a:pt x="187" y="145"/>
                    <a:pt x="189" y="144"/>
                    <a:pt x="190" y="143"/>
                  </a:cubicBezTo>
                  <a:cubicBezTo>
                    <a:pt x="189" y="143"/>
                    <a:pt x="188" y="142"/>
                    <a:pt x="187" y="142"/>
                  </a:cubicBezTo>
                  <a:cubicBezTo>
                    <a:pt x="187" y="144"/>
                    <a:pt x="186" y="146"/>
                    <a:pt x="184" y="147"/>
                  </a:cubicBezTo>
                  <a:cubicBezTo>
                    <a:pt x="184" y="148"/>
                    <a:pt x="183" y="148"/>
                    <a:pt x="182" y="148"/>
                  </a:cubicBezTo>
                  <a:cubicBezTo>
                    <a:pt x="183" y="147"/>
                    <a:pt x="183" y="143"/>
                    <a:pt x="183" y="142"/>
                  </a:cubicBezTo>
                  <a:cubicBezTo>
                    <a:pt x="184" y="141"/>
                    <a:pt x="186" y="139"/>
                    <a:pt x="186" y="138"/>
                  </a:cubicBezTo>
                  <a:cubicBezTo>
                    <a:pt x="188" y="137"/>
                    <a:pt x="191" y="136"/>
                    <a:pt x="193" y="135"/>
                  </a:cubicBezTo>
                  <a:cubicBezTo>
                    <a:pt x="196" y="133"/>
                    <a:pt x="200" y="130"/>
                    <a:pt x="202" y="133"/>
                  </a:cubicBezTo>
                  <a:cubicBezTo>
                    <a:pt x="204" y="136"/>
                    <a:pt x="201" y="138"/>
                    <a:pt x="200" y="139"/>
                  </a:cubicBezTo>
                  <a:cubicBezTo>
                    <a:pt x="199" y="140"/>
                    <a:pt x="193" y="143"/>
                    <a:pt x="193" y="142"/>
                  </a:cubicBezTo>
                  <a:cubicBezTo>
                    <a:pt x="193" y="143"/>
                    <a:pt x="193" y="144"/>
                    <a:pt x="193" y="145"/>
                  </a:cubicBezTo>
                  <a:cubicBezTo>
                    <a:pt x="194" y="146"/>
                    <a:pt x="194" y="144"/>
                    <a:pt x="195" y="144"/>
                  </a:cubicBezTo>
                  <a:cubicBezTo>
                    <a:pt x="196" y="143"/>
                    <a:pt x="198" y="143"/>
                    <a:pt x="199" y="142"/>
                  </a:cubicBezTo>
                  <a:cubicBezTo>
                    <a:pt x="201" y="142"/>
                    <a:pt x="204" y="142"/>
                    <a:pt x="206" y="141"/>
                  </a:cubicBezTo>
                  <a:cubicBezTo>
                    <a:pt x="210" y="139"/>
                    <a:pt x="214" y="137"/>
                    <a:pt x="218" y="135"/>
                  </a:cubicBezTo>
                  <a:cubicBezTo>
                    <a:pt x="223" y="133"/>
                    <a:pt x="228" y="134"/>
                    <a:pt x="233" y="132"/>
                  </a:cubicBezTo>
                  <a:cubicBezTo>
                    <a:pt x="236" y="130"/>
                    <a:pt x="241" y="129"/>
                    <a:pt x="242" y="125"/>
                  </a:cubicBezTo>
                  <a:cubicBezTo>
                    <a:pt x="243" y="123"/>
                    <a:pt x="243" y="120"/>
                    <a:pt x="246" y="120"/>
                  </a:cubicBezTo>
                  <a:cubicBezTo>
                    <a:pt x="246" y="117"/>
                    <a:pt x="253" y="115"/>
                    <a:pt x="255" y="114"/>
                  </a:cubicBezTo>
                  <a:cubicBezTo>
                    <a:pt x="256" y="113"/>
                    <a:pt x="259" y="113"/>
                    <a:pt x="260" y="112"/>
                  </a:cubicBezTo>
                  <a:cubicBezTo>
                    <a:pt x="261" y="111"/>
                    <a:pt x="261" y="108"/>
                    <a:pt x="261" y="106"/>
                  </a:cubicBezTo>
                  <a:cubicBezTo>
                    <a:pt x="260" y="106"/>
                    <a:pt x="259" y="106"/>
                    <a:pt x="258" y="106"/>
                  </a:cubicBezTo>
                  <a:cubicBezTo>
                    <a:pt x="258" y="102"/>
                    <a:pt x="263" y="100"/>
                    <a:pt x="267" y="98"/>
                  </a:cubicBezTo>
                  <a:cubicBezTo>
                    <a:pt x="270" y="96"/>
                    <a:pt x="273" y="92"/>
                    <a:pt x="275" y="89"/>
                  </a:cubicBezTo>
                  <a:cubicBezTo>
                    <a:pt x="274" y="88"/>
                    <a:pt x="274" y="88"/>
                    <a:pt x="273" y="88"/>
                  </a:cubicBezTo>
                  <a:cubicBezTo>
                    <a:pt x="272" y="89"/>
                    <a:pt x="273" y="89"/>
                    <a:pt x="272" y="90"/>
                  </a:cubicBezTo>
                  <a:cubicBezTo>
                    <a:pt x="272" y="90"/>
                    <a:pt x="271" y="90"/>
                    <a:pt x="270" y="90"/>
                  </a:cubicBezTo>
                  <a:cubicBezTo>
                    <a:pt x="270" y="90"/>
                    <a:pt x="269" y="91"/>
                    <a:pt x="269" y="91"/>
                  </a:cubicBezTo>
                  <a:cubicBezTo>
                    <a:pt x="268" y="92"/>
                    <a:pt x="267" y="91"/>
                    <a:pt x="265" y="92"/>
                  </a:cubicBezTo>
                  <a:cubicBezTo>
                    <a:pt x="264" y="92"/>
                    <a:pt x="264" y="93"/>
                    <a:pt x="263" y="93"/>
                  </a:cubicBezTo>
                  <a:cubicBezTo>
                    <a:pt x="263" y="89"/>
                    <a:pt x="264" y="88"/>
                    <a:pt x="269" y="88"/>
                  </a:cubicBezTo>
                  <a:cubicBezTo>
                    <a:pt x="274" y="88"/>
                    <a:pt x="270" y="83"/>
                    <a:pt x="269" y="81"/>
                  </a:cubicBezTo>
                  <a:cubicBezTo>
                    <a:pt x="267" y="78"/>
                    <a:pt x="266" y="75"/>
                    <a:pt x="265" y="73"/>
                  </a:cubicBezTo>
                  <a:cubicBezTo>
                    <a:pt x="265" y="71"/>
                    <a:pt x="265" y="64"/>
                    <a:pt x="267" y="63"/>
                  </a:cubicBezTo>
                  <a:cubicBezTo>
                    <a:pt x="267" y="61"/>
                    <a:pt x="269" y="59"/>
                    <a:pt x="271" y="58"/>
                  </a:cubicBezTo>
                  <a:cubicBezTo>
                    <a:pt x="273" y="56"/>
                    <a:pt x="275" y="54"/>
                    <a:pt x="277" y="53"/>
                  </a:cubicBezTo>
                  <a:cubicBezTo>
                    <a:pt x="279" y="52"/>
                    <a:pt x="282" y="50"/>
                    <a:pt x="285" y="50"/>
                  </a:cubicBezTo>
                  <a:cubicBezTo>
                    <a:pt x="286" y="50"/>
                    <a:pt x="287" y="50"/>
                    <a:pt x="289" y="50"/>
                  </a:cubicBezTo>
                  <a:cubicBezTo>
                    <a:pt x="291" y="50"/>
                    <a:pt x="292" y="51"/>
                    <a:pt x="294" y="51"/>
                  </a:cubicBezTo>
                  <a:cubicBezTo>
                    <a:pt x="294" y="51"/>
                    <a:pt x="296" y="47"/>
                    <a:pt x="297" y="47"/>
                  </a:cubicBezTo>
                  <a:cubicBezTo>
                    <a:pt x="298" y="46"/>
                    <a:pt x="298" y="46"/>
                    <a:pt x="298" y="46"/>
                  </a:cubicBezTo>
                  <a:cubicBezTo>
                    <a:pt x="299" y="41"/>
                    <a:pt x="296" y="41"/>
                    <a:pt x="293" y="38"/>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67" name="Freeform 295"/>
            <p:cNvSpPr>
              <a:spLocks/>
            </p:cNvSpPr>
            <p:nvPr/>
          </p:nvSpPr>
          <p:spPr bwMode="auto">
            <a:xfrm>
              <a:off x="4933951" y="4324351"/>
              <a:ext cx="4763" cy="0"/>
            </a:xfrm>
            <a:custGeom>
              <a:avLst/>
              <a:gdLst>
                <a:gd name="T0" fmla="*/ 3 w 3"/>
                <a:gd name="T1" fmla="*/ 0 w 3"/>
                <a:gd name="T2" fmla="*/ 3 w 3"/>
              </a:gdLst>
              <a:ahLst/>
              <a:cxnLst>
                <a:cxn ang="0">
                  <a:pos x="T0" y="0"/>
                </a:cxn>
                <a:cxn ang="0">
                  <a:pos x="T1" y="0"/>
                </a:cxn>
                <a:cxn ang="0">
                  <a:pos x="T2" y="0"/>
                </a:cxn>
              </a:cxnLst>
              <a:rect l="0" t="0" r="r" b="b"/>
              <a:pathLst>
                <a:path w="3">
                  <a:moveTo>
                    <a:pt x="3" y="0"/>
                  </a:moveTo>
                  <a:lnTo>
                    <a:pt x="0" y="0"/>
                  </a:lnTo>
                  <a:lnTo>
                    <a:pt x="3"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68" name="Freeform 296"/>
            <p:cNvSpPr>
              <a:spLocks/>
            </p:cNvSpPr>
            <p:nvPr/>
          </p:nvSpPr>
          <p:spPr bwMode="auto">
            <a:xfrm>
              <a:off x="4132263" y="5392738"/>
              <a:ext cx="0" cy="3175"/>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69" name="Freeform 297"/>
            <p:cNvSpPr>
              <a:spLocks/>
            </p:cNvSpPr>
            <p:nvPr/>
          </p:nvSpPr>
          <p:spPr bwMode="auto">
            <a:xfrm>
              <a:off x="3559176" y="6156326"/>
              <a:ext cx="0" cy="3175"/>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70" name="Freeform 298"/>
            <p:cNvSpPr>
              <a:spLocks/>
            </p:cNvSpPr>
            <p:nvPr/>
          </p:nvSpPr>
          <p:spPr bwMode="auto">
            <a:xfrm>
              <a:off x="3541713" y="6138863"/>
              <a:ext cx="3175" cy="6350"/>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1" y="2"/>
                    <a:pt x="1" y="1"/>
                    <a:pt x="0" y="0"/>
                  </a:cubicBezTo>
                  <a:cubicBezTo>
                    <a:pt x="1" y="1"/>
                    <a:pt x="1" y="2"/>
                    <a:pt x="1" y="2"/>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71" name="Freeform 299"/>
            <p:cNvSpPr>
              <a:spLocks/>
            </p:cNvSpPr>
            <p:nvPr/>
          </p:nvSpPr>
          <p:spPr bwMode="auto">
            <a:xfrm>
              <a:off x="3346451" y="5675313"/>
              <a:ext cx="0" cy="3175"/>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0"/>
                    <a:pt x="0" y="1"/>
                    <a:pt x="0" y="1"/>
                  </a:cubicBezTo>
                  <a:cubicBezTo>
                    <a:pt x="0" y="1"/>
                    <a:pt x="0" y="1"/>
                    <a:pt x="0" y="1"/>
                  </a:cubicBezTo>
                  <a:cubicBezTo>
                    <a:pt x="0" y="1"/>
                    <a:pt x="0" y="0"/>
                    <a:pt x="0" y="0"/>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72" name="Rectangle 300"/>
            <p:cNvSpPr>
              <a:spLocks noChangeArrowheads="1"/>
            </p:cNvSpPr>
            <p:nvPr/>
          </p:nvSpPr>
          <p:spPr bwMode="auto">
            <a:xfrm>
              <a:off x="3498851" y="5637213"/>
              <a:ext cx="1588" cy="1588"/>
            </a:xfrm>
            <a:prstGeom prst="rect">
              <a:avLst/>
            </a:prstGeom>
            <a:solidFill>
              <a:srgbClr val="68CEF2"/>
            </a:solidFill>
            <a:ln w="3175">
              <a:solidFill>
                <a:schemeClr val="bg1"/>
              </a:solidFill>
              <a:miter lim="800000"/>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73" name="Freeform 301"/>
            <p:cNvSpPr>
              <a:spLocks/>
            </p:cNvSpPr>
            <p:nvPr/>
          </p:nvSpPr>
          <p:spPr bwMode="auto">
            <a:xfrm>
              <a:off x="3184526" y="533876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74" name="Freeform 302"/>
            <p:cNvSpPr>
              <a:spLocks/>
            </p:cNvSpPr>
            <p:nvPr/>
          </p:nvSpPr>
          <p:spPr bwMode="auto">
            <a:xfrm>
              <a:off x="3498851" y="563245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75" name="Freeform 303"/>
            <p:cNvSpPr>
              <a:spLocks/>
            </p:cNvSpPr>
            <p:nvPr/>
          </p:nvSpPr>
          <p:spPr bwMode="auto">
            <a:xfrm>
              <a:off x="3049588" y="4387851"/>
              <a:ext cx="795338" cy="1171575"/>
            </a:xfrm>
            <a:custGeom>
              <a:avLst/>
              <a:gdLst>
                <a:gd name="T0" fmla="*/ 214 w 225"/>
                <a:gd name="T1" fmla="*/ 235 h 331"/>
                <a:gd name="T2" fmla="*/ 201 w 225"/>
                <a:gd name="T3" fmla="*/ 231 h 331"/>
                <a:gd name="T4" fmla="*/ 196 w 225"/>
                <a:gd name="T5" fmla="*/ 216 h 331"/>
                <a:gd name="T6" fmla="*/ 188 w 225"/>
                <a:gd name="T7" fmla="*/ 220 h 331"/>
                <a:gd name="T8" fmla="*/ 171 w 225"/>
                <a:gd name="T9" fmla="*/ 227 h 331"/>
                <a:gd name="T10" fmla="*/ 154 w 225"/>
                <a:gd name="T11" fmla="*/ 223 h 331"/>
                <a:gd name="T12" fmla="*/ 147 w 225"/>
                <a:gd name="T13" fmla="*/ 206 h 331"/>
                <a:gd name="T14" fmla="*/ 158 w 225"/>
                <a:gd name="T15" fmla="*/ 212 h 331"/>
                <a:gd name="T16" fmla="*/ 171 w 225"/>
                <a:gd name="T17" fmla="*/ 201 h 331"/>
                <a:gd name="T18" fmla="*/ 164 w 225"/>
                <a:gd name="T19" fmla="*/ 196 h 331"/>
                <a:gd name="T20" fmla="*/ 147 w 225"/>
                <a:gd name="T21" fmla="*/ 201 h 331"/>
                <a:gd name="T22" fmla="*/ 148 w 225"/>
                <a:gd name="T23" fmla="*/ 191 h 331"/>
                <a:gd name="T24" fmla="*/ 140 w 225"/>
                <a:gd name="T25" fmla="*/ 175 h 331"/>
                <a:gd name="T26" fmla="*/ 146 w 225"/>
                <a:gd name="T27" fmla="*/ 163 h 331"/>
                <a:gd name="T28" fmla="*/ 157 w 225"/>
                <a:gd name="T29" fmla="*/ 151 h 331"/>
                <a:gd name="T30" fmla="*/ 156 w 225"/>
                <a:gd name="T31" fmla="*/ 125 h 331"/>
                <a:gd name="T32" fmla="*/ 177 w 225"/>
                <a:gd name="T33" fmla="*/ 99 h 331"/>
                <a:gd name="T34" fmla="*/ 177 w 225"/>
                <a:gd name="T35" fmla="*/ 86 h 331"/>
                <a:gd name="T36" fmla="*/ 178 w 225"/>
                <a:gd name="T37" fmla="*/ 62 h 331"/>
                <a:gd name="T38" fmla="*/ 180 w 225"/>
                <a:gd name="T39" fmla="*/ 42 h 331"/>
                <a:gd name="T40" fmla="*/ 194 w 225"/>
                <a:gd name="T41" fmla="*/ 18 h 331"/>
                <a:gd name="T42" fmla="*/ 187 w 225"/>
                <a:gd name="T43" fmla="*/ 7 h 331"/>
                <a:gd name="T44" fmla="*/ 162 w 225"/>
                <a:gd name="T45" fmla="*/ 15 h 331"/>
                <a:gd name="T46" fmla="*/ 151 w 225"/>
                <a:gd name="T47" fmla="*/ 20 h 331"/>
                <a:gd name="T48" fmla="*/ 139 w 225"/>
                <a:gd name="T49" fmla="*/ 29 h 331"/>
                <a:gd name="T50" fmla="*/ 128 w 225"/>
                <a:gd name="T51" fmla="*/ 41 h 331"/>
                <a:gd name="T52" fmla="*/ 115 w 225"/>
                <a:gd name="T53" fmla="*/ 46 h 331"/>
                <a:gd name="T54" fmla="*/ 91 w 225"/>
                <a:gd name="T55" fmla="*/ 44 h 331"/>
                <a:gd name="T56" fmla="*/ 86 w 225"/>
                <a:gd name="T57" fmla="*/ 61 h 331"/>
                <a:gd name="T58" fmla="*/ 54 w 225"/>
                <a:gd name="T59" fmla="*/ 63 h 331"/>
                <a:gd name="T60" fmla="*/ 40 w 225"/>
                <a:gd name="T61" fmla="*/ 79 h 331"/>
                <a:gd name="T62" fmla="*/ 22 w 225"/>
                <a:gd name="T63" fmla="*/ 82 h 331"/>
                <a:gd name="T64" fmla="*/ 28 w 225"/>
                <a:gd name="T65" fmla="*/ 103 h 331"/>
                <a:gd name="T66" fmla="*/ 17 w 225"/>
                <a:gd name="T67" fmla="*/ 116 h 331"/>
                <a:gd name="T68" fmla="*/ 16 w 225"/>
                <a:gd name="T69" fmla="*/ 131 h 331"/>
                <a:gd name="T70" fmla="*/ 16 w 225"/>
                <a:gd name="T71" fmla="*/ 148 h 331"/>
                <a:gd name="T72" fmla="*/ 9 w 225"/>
                <a:gd name="T73" fmla="*/ 158 h 331"/>
                <a:gd name="T74" fmla="*/ 3 w 225"/>
                <a:gd name="T75" fmla="*/ 166 h 331"/>
                <a:gd name="T76" fmla="*/ 14 w 225"/>
                <a:gd name="T77" fmla="*/ 175 h 331"/>
                <a:gd name="T78" fmla="*/ 19 w 225"/>
                <a:gd name="T79" fmla="*/ 190 h 331"/>
                <a:gd name="T80" fmla="*/ 26 w 225"/>
                <a:gd name="T81" fmla="*/ 209 h 331"/>
                <a:gd name="T82" fmla="*/ 29 w 225"/>
                <a:gd name="T83" fmla="*/ 231 h 331"/>
                <a:gd name="T84" fmla="*/ 32 w 225"/>
                <a:gd name="T85" fmla="*/ 245 h 331"/>
                <a:gd name="T86" fmla="*/ 38 w 225"/>
                <a:gd name="T87" fmla="*/ 268 h 331"/>
                <a:gd name="T88" fmla="*/ 48 w 225"/>
                <a:gd name="T89" fmla="*/ 274 h 331"/>
                <a:gd name="T90" fmla="*/ 58 w 225"/>
                <a:gd name="T91" fmla="*/ 276 h 331"/>
                <a:gd name="T92" fmla="*/ 62 w 225"/>
                <a:gd name="T93" fmla="*/ 286 h 331"/>
                <a:gd name="T94" fmla="*/ 84 w 225"/>
                <a:gd name="T95" fmla="*/ 306 h 331"/>
                <a:gd name="T96" fmla="*/ 103 w 225"/>
                <a:gd name="T97" fmla="*/ 316 h 331"/>
                <a:gd name="T98" fmla="*/ 115 w 225"/>
                <a:gd name="T99" fmla="*/ 326 h 331"/>
                <a:gd name="T100" fmla="*/ 130 w 225"/>
                <a:gd name="T101" fmla="*/ 330 h 331"/>
                <a:gd name="T102" fmla="*/ 149 w 225"/>
                <a:gd name="T103" fmla="*/ 322 h 331"/>
                <a:gd name="T104" fmla="*/ 179 w 225"/>
                <a:gd name="T105" fmla="*/ 312 h 331"/>
                <a:gd name="T106" fmla="*/ 175 w 225"/>
                <a:gd name="T107" fmla="*/ 288 h 331"/>
                <a:gd name="T108" fmla="*/ 193 w 225"/>
                <a:gd name="T109" fmla="*/ 272 h 331"/>
                <a:gd name="T110" fmla="*/ 209 w 225"/>
                <a:gd name="T111" fmla="*/ 271 h 331"/>
                <a:gd name="T112" fmla="*/ 222 w 225"/>
                <a:gd name="T113" fmla="*/ 26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5" h="331">
                  <a:moveTo>
                    <a:pt x="224" y="249"/>
                  </a:moveTo>
                  <a:cubicBezTo>
                    <a:pt x="221" y="247"/>
                    <a:pt x="218" y="248"/>
                    <a:pt x="215" y="248"/>
                  </a:cubicBezTo>
                  <a:cubicBezTo>
                    <a:pt x="215" y="247"/>
                    <a:pt x="215" y="246"/>
                    <a:pt x="214" y="245"/>
                  </a:cubicBezTo>
                  <a:cubicBezTo>
                    <a:pt x="214" y="244"/>
                    <a:pt x="214" y="242"/>
                    <a:pt x="214" y="241"/>
                  </a:cubicBezTo>
                  <a:cubicBezTo>
                    <a:pt x="214" y="240"/>
                    <a:pt x="216" y="236"/>
                    <a:pt x="214" y="235"/>
                  </a:cubicBezTo>
                  <a:cubicBezTo>
                    <a:pt x="213" y="234"/>
                    <a:pt x="206" y="234"/>
                    <a:pt x="206" y="236"/>
                  </a:cubicBezTo>
                  <a:cubicBezTo>
                    <a:pt x="205" y="236"/>
                    <a:pt x="205" y="236"/>
                    <a:pt x="205" y="236"/>
                  </a:cubicBezTo>
                  <a:cubicBezTo>
                    <a:pt x="205" y="235"/>
                    <a:pt x="206" y="233"/>
                    <a:pt x="205" y="232"/>
                  </a:cubicBezTo>
                  <a:cubicBezTo>
                    <a:pt x="205" y="232"/>
                    <a:pt x="204" y="231"/>
                    <a:pt x="204" y="231"/>
                  </a:cubicBezTo>
                  <a:cubicBezTo>
                    <a:pt x="203" y="231"/>
                    <a:pt x="202" y="232"/>
                    <a:pt x="201" y="231"/>
                  </a:cubicBezTo>
                  <a:cubicBezTo>
                    <a:pt x="199" y="230"/>
                    <a:pt x="201" y="229"/>
                    <a:pt x="202" y="230"/>
                  </a:cubicBezTo>
                  <a:cubicBezTo>
                    <a:pt x="202" y="228"/>
                    <a:pt x="204" y="222"/>
                    <a:pt x="201" y="221"/>
                  </a:cubicBezTo>
                  <a:cubicBezTo>
                    <a:pt x="200" y="220"/>
                    <a:pt x="196" y="220"/>
                    <a:pt x="196" y="222"/>
                  </a:cubicBezTo>
                  <a:cubicBezTo>
                    <a:pt x="196" y="222"/>
                    <a:pt x="195" y="222"/>
                    <a:pt x="195" y="222"/>
                  </a:cubicBezTo>
                  <a:cubicBezTo>
                    <a:pt x="195" y="220"/>
                    <a:pt x="196" y="219"/>
                    <a:pt x="196" y="216"/>
                  </a:cubicBezTo>
                  <a:cubicBezTo>
                    <a:pt x="196" y="216"/>
                    <a:pt x="195" y="216"/>
                    <a:pt x="195" y="216"/>
                  </a:cubicBezTo>
                  <a:cubicBezTo>
                    <a:pt x="194" y="217"/>
                    <a:pt x="195" y="218"/>
                    <a:pt x="194" y="218"/>
                  </a:cubicBezTo>
                  <a:cubicBezTo>
                    <a:pt x="194" y="218"/>
                    <a:pt x="193" y="218"/>
                    <a:pt x="193" y="218"/>
                  </a:cubicBezTo>
                  <a:cubicBezTo>
                    <a:pt x="193" y="216"/>
                    <a:pt x="189" y="217"/>
                    <a:pt x="187" y="217"/>
                  </a:cubicBezTo>
                  <a:cubicBezTo>
                    <a:pt x="188" y="218"/>
                    <a:pt x="188" y="219"/>
                    <a:pt x="188" y="220"/>
                  </a:cubicBezTo>
                  <a:cubicBezTo>
                    <a:pt x="186" y="220"/>
                    <a:pt x="185" y="221"/>
                    <a:pt x="184" y="223"/>
                  </a:cubicBezTo>
                  <a:cubicBezTo>
                    <a:pt x="183" y="224"/>
                    <a:pt x="181" y="224"/>
                    <a:pt x="180" y="224"/>
                  </a:cubicBezTo>
                  <a:cubicBezTo>
                    <a:pt x="180" y="225"/>
                    <a:pt x="180" y="225"/>
                    <a:pt x="180" y="225"/>
                  </a:cubicBezTo>
                  <a:cubicBezTo>
                    <a:pt x="177" y="225"/>
                    <a:pt x="174" y="224"/>
                    <a:pt x="172" y="224"/>
                  </a:cubicBezTo>
                  <a:cubicBezTo>
                    <a:pt x="172" y="225"/>
                    <a:pt x="172" y="226"/>
                    <a:pt x="171" y="227"/>
                  </a:cubicBezTo>
                  <a:cubicBezTo>
                    <a:pt x="171" y="225"/>
                    <a:pt x="171" y="225"/>
                    <a:pt x="171" y="225"/>
                  </a:cubicBezTo>
                  <a:cubicBezTo>
                    <a:pt x="167" y="225"/>
                    <a:pt x="168" y="222"/>
                    <a:pt x="168" y="220"/>
                  </a:cubicBezTo>
                  <a:cubicBezTo>
                    <a:pt x="166" y="220"/>
                    <a:pt x="161" y="220"/>
                    <a:pt x="159" y="218"/>
                  </a:cubicBezTo>
                  <a:cubicBezTo>
                    <a:pt x="158" y="217"/>
                    <a:pt x="157" y="215"/>
                    <a:pt x="155" y="216"/>
                  </a:cubicBezTo>
                  <a:cubicBezTo>
                    <a:pt x="154" y="217"/>
                    <a:pt x="155" y="223"/>
                    <a:pt x="154" y="223"/>
                  </a:cubicBezTo>
                  <a:cubicBezTo>
                    <a:pt x="152" y="223"/>
                    <a:pt x="149" y="223"/>
                    <a:pt x="147" y="222"/>
                  </a:cubicBezTo>
                  <a:cubicBezTo>
                    <a:pt x="147" y="221"/>
                    <a:pt x="148" y="219"/>
                    <a:pt x="148" y="217"/>
                  </a:cubicBezTo>
                  <a:cubicBezTo>
                    <a:pt x="152" y="217"/>
                    <a:pt x="152" y="214"/>
                    <a:pt x="150" y="212"/>
                  </a:cubicBezTo>
                  <a:cubicBezTo>
                    <a:pt x="149" y="211"/>
                    <a:pt x="148" y="211"/>
                    <a:pt x="147" y="210"/>
                  </a:cubicBezTo>
                  <a:cubicBezTo>
                    <a:pt x="146" y="209"/>
                    <a:pt x="147" y="208"/>
                    <a:pt x="147" y="206"/>
                  </a:cubicBezTo>
                  <a:cubicBezTo>
                    <a:pt x="146" y="206"/>
                    <a:pt x="144" y="205"/>
                    <a:pt x="143" y="205"/>
                  </a:cubicBezTo>
                  <a:cubicBezTo>
                    <a:pt x="143" y="204"/>
                    <a:pt x="143" y="203"/>
                    <a:pt x="143" y="202"/>
                  </a:cubicBezTo>
                  <a:cubicBezTo>
                    <a:pt x="147" y="203"/>
                    <a:pt x="150" y="205"/>
                    <a:pt x="151" y="208"/>
                  </a:cubicBezTo>
                  <a:cubicBezTo>
                    <a:pt x="152" y="211"/>
                    <a:pt x="155" y="209"/>
                    <a:pt x="156" y="213"/>
                  </a:cubicBezTo>
                  <a:cubicBezTo>
                    <a:pt x="157" y="214"/>
                    <a:pt x="157" y="213"/>
                    <a:pt x="158" y="212"/>
                  </a:cubicBezTo>
                  <a:cubicBezTo>
                    <a:pt x="161" y="211"/>
                    <a:pt x="164" y="213"/>
                    <a:pt x="166" y="216"/>
                  </a:cubicBezTo>
                  <a:cubicBezTo>
                    <a:pt x="168" y="220"/>
                    <a:pt x="173" y="215"/>
                    <a:pt x="168" y="213"/>
                  </a:cubicBezTo>
                  <a:cubicBezTo>
                    <a:pt x="166" y="212"/>
                    <a:pt x="165" y="208"/>
                    <a:pt x="167" y="206"/>
                  </a:cubicBezTo>
                  <a:cubicBezTo>
                    <a:pt x="169" y="205"/>
                    <a:pt x="174" y="207"/>
                    <a:pt x="174" y="204"/>
                  </a:cubicBezTo>
                  <a:cubicBezTo>
                    <a:pt x="172" y="204"/>
                    <a:pt x="171" y="202"/>
                    <a:pt x="171" y="201"/>
                  </a:cubicBezTo>
                  <a:cubicBezTo>
                    <a:pt x="170" y="200"/>
                    <a:pt x="170" y="200"/>
                    <a:pt x="170" y="199"/>
                  </a:cubicBezTo>
                  <a:cubicBezTo>
                    <a:pt x="170" y="197"/>
                    <a:pt x="169" y="198"/>
                    <a:pt x="168" y="197"/>
                  </a:cubicBezTo>
                  <a:cubicBezTo>
                    <a:pt x="168" y="198"/>
                    <a:pt x="169" y="202"/>
                    <a:pt x="168" y="202"/>
                  </a:cubicBezTo>
                  <a:cubicBezTo>
                    <a:pt x="168" y="203"/>
                    <a:pt x="165" y="200"/>
                    <a:pt x="164" y="200"/>
                  </a:cubicBezTo>
                  <a:cubicBezTo>
                    <a:pt x="164" y="199"/>
                    <a:pt x="164" y="198"/>
                    <a:pt x="164" y="196"/>
                  </a:cubicBezTo>
                  <a:cubicBezTo>
                    <a:pt x="163" y="196"/>
                    <a:pt x="163" y="196"/>
                    <a:pt x="163" y="196"/>
                  </a:cubicBezTo>
                  <a:cubicBezTo>
                    <a:pt x="163" y="198"/>
                    <a:pt x="160" y="197"/>
                    <a:pt x="158" y="197"/>
                  </a:cubicBezTo>
                  <a:cubicBezTo>
                    <a:pt x="155" y="197"/>
                    <a:pt x="155" y="199"/>
                    <a:pt x="155" y="201"/>
                  </a:cubicBezTo>
                  <a:cubicBezTo>
                    <a:pt x="154" y="201"/>
                    <a:pt x="153" y="201"/>
                    <a:pt x="152" y="201"/>
                  </a:cubicBezTo>
                  <a:cubicBezTo>
                    <a:pt x="151" y="200"/>
                    <a:pt x="149" y="201"/>
                    <a:pt x="147" y="201"/>
                  </a:cubicBezTo>
                  <a:cubicBezTo>
                    <a:pt x="145" y="200"/>
                    <a:pt x="146" y="197"/>
                    <a:pt x="146" y="196"/>
                  </a:cubicBezTo>
                  <a:cubicBezTo>
                    <a:pt x="144" y="196"/>
                    <a:pt x="144" y="195"/>
                    <a:pt x="144" y="193"/>
                  </a:cubicBezTo>
                  <a:cubicBezTo>
                    <a:pt x="144" y="193"/>
                    <a:pt x="144" y="193"/>
                    <a:pt x="144" y="193"/>
                  </a:cubicBezTo>
                  <a:cubicBezTo>
                    <a:pt x="145" y="193"/>
                    <a:pt x="145" y="193"/>
                    <a:pt x="145" y="192"/>
                  </a:cubicBezTo>
                  <a:cubicBezTo>
                    <a:pt x="145" y="191"/>
                    <a:pt x="146" y="191"/>
                    <a:pt x="148" y="191"/>
                  </a:cubicBezTo>
                  <a:cubicBezTo>
                    <a:pt x="148" y="189"/>
                    <a:pt x="147" y="189"/>
                    <a:pt x="145" y="189"/>
                  </a:cubicBezTo>
                  <a:cubicBezTo>
                    <a:pt x="143" y="190"/>
                    <a:pt x="143" y="188"/>
                    <a:pt x="141" y="187"/>
                  </a:cubicBezTo>
                  <a:cubicBezTo>
                    <a:pt x="141" y="186"/>
                    <a:pt x="140" y="186"/>
                    <a:pt x="139" y="185"/>
                  </a:cubicBezTo>
                  <a:cubicBezTo>
                    <a:pt x="138" y="184"/>
                    <a:pt x="138" y="182"/>
                    <a:pt x="138" y="180"/>
                  </a:cubicBezTo>
                  <a:cubicBezTo>
                    <a:pt x="139" y="180"/>
                    <a:pt x="140" y="175"/>
                    <a:pt x="140" y="175"/>
                  </a:cubicBezTo>
                  <a:cubicBezTo>
                    <a:pt x="140" y="175"/>
                    <a:pt x="141" y="174"/>
                    <a:pt x="141" y="175"/>
                  </a:cubicBezTo>
                  <a:cubicBezTo>
                    <a:pt x="142" y="171"/>
                    <a:pt x="142" y="168"/>
                    <a:pt x="143" y="165"/>
                  </a:cubicBezTo>
                  <a:cubicBezTo>
                    <a:pt x="139" y="165"/>
                    <a:pt x="139" y="164"/>
                    <a:pt x="139" y="161"/>
                  </a:cubicBezTo>
                  <a:cubicBezTo>
                    <a:pt x="140" y="161"/>
                    <a:pt x="140" y="160"/>
                    <a:pt x="141" y="159"/>
                  </a:cubicBezTo>
                  <a:cubicBezTo>
                    <a:pt x="142" y="160"/>
                    <a:pt x="143" y="163"/>
                    <a:pt x="146" y="163"/>
                  </a:cubicBezTo>
                  <a:cubicBezTo>
                    <a:pt x="148" y="163"/>
                    <a:pt x="150" y="162"/>
                    <a:pt x="152" y="163"/>
                  </a:cubicBezTo>
                  <a:cubicBezTo>
                    <a:pt x="154" y="163"/>
                    <a:pt x="155" y="165"/>
                    <a:pt x="156" y="162"/>
                  </a:cubicBezTo>
                  <a:cubicBezTo>
                    <a:pt x="158" y="160"/>
                    <a:pt x="161" y="160"/>
                    <a:pt x="159" y="157"/>
                  </a:cubicBezTo>
                  <a:cubicBezTo>
                    <a:pt x="159" y="157"/>
                    <a:pt x="158" y="156"/>
                    <a:pt x="158" y="156"/>
                  </a:cubicBezTo>
                  <a:cubicBezTo>
                    <a:pt x="157" y="155"/>
                    <a:pt x="157" y="152"/>
                    <a:pt x="157" y="151"/>
                  </a:cubicBezTo>
                  <a:cubicBezTo>
                    <a:pt x="157" y="148"/>
                    <a:pt x="154" y="146"/>
                    <a:pt x="152" y="144"/>
                  </a:cubicBezTo>
                  <a:cubicBezTo>
                    <a:pt x="150" y="142"/>
                    <a:pt x="154" y="141"/>
                    <a:pt x="154" y="139"/>
                  </a:cubicBezTo>
                  <a:cubicBezTo>
                    <a:pt x="154" y="136"/>
                    <a:pt x="154" y="134"/>
                    <a:pt x="158" y="134"/>
                  </a:cubicBezTo>
                  <a:cubicBezTo>
                    <a:pt x="158" y="133"/>
                    <a:pt x="158" y="132"/>
                    <a:pt x="158" y="131"/>
                  </a:cubicBezTo>
                  <a:cubicBezTo>
                    <a:pt x="155" y="131"/>
                    <a:pt x="155" y="128"/>
                    <a:pt x="156" y="125"/>
                  </a:cubicBezTo>
                  <a:cubicBezTo>
                    <a:pt x="159" y="116"/>
                    <a:pt x="172" y="122"/>
                    <a:pt x="179" y="122"/>
                  </a:cubicBezTo>
                  <a:cubicBezTo>
                    <a:pt x="179" y="117"/>
                    <a:pt x="177" y="108"/>
                    <a:pt x="181" y="104"/>
                  </a:cubicBezTo>
                  <a:cubicBezTo>
                    <a:pt x="183" y="104"/>
                    <a:pt x="185" y="104"/>
                    <a:pt x="185" y="101"/>
                  </a:cubicBezTo>
                  <a:cubicBezTo>
                    <a:pt x="185" y="101"/>
                    <a:pt x="184" y="101"/>
                    <a:pt x="183" y="101"/>
                  </a:cubicBezTo>
                  <a:cubicBezTo>
                    <a:pt x="182" y="99"/>
                    <a:pt x="178" y="99"/>
                    <a:pt x="177" y="99"/>
                  </a:cubicBezTo>
                  <a:cubicBezTo>
                    <a:pt x="173" y="99"/>
                    <a:pt x="170" y="97"/>
                    <a:pt x="167" y="96"/>
                  </a:cubicBezTo>
                  <a:cubicBezTo>
                    <a:pt x="166" y="92"/>
                    <a:pt x="172" y="94"/>
                    <a:pt x="175" y="93"/>
                  </a:cubicBezTo>
                  <a:cubicBezTo>
                    <a:pt x="175" y="92"/>
                    <a:pt x="177" y="90"/>
                    <a:pt x="178" y="90"/>
                  </a:cubicBezTo>
                  <a:cubicBezTo>
                    <a:pt x="178" y="89"/>
                    <a:pt x="178" y="88"/>
                    <a:pt x="179" y="88"/>
                  </a:cubicBezTo>
                  <a:cubicBezTo>
                    <a:pt x="179" y="86"/>
                    <a:pt x="179" y="86"/>
                    <a:pt x="177" y="86"/>
                  </a:cubicBezTo>
                  <a:cubicBezTo>
                    <a:pt x="178" y="84"/>
                    <a:pt x="177" y="82"/>
                    <a:pt x="177" y="80"/>
                  </a:cubicBezTo>
                  <a:cubicBezTo>
                    <a:pt x="178" y="80"/>
                    <a:pt x="179" y="80"/>
                    <a:pt x="180" y="80"/>
                  </a:cubicBezTo>
                  <a:cubicBezTo>
                    <a:pt x="180" y="78"/>
                    <a:pt x="177" y="76"/>
                    <a:pt x="179" y="74"/>
                  </a:cubicBezTo>
                  <a:cubicBezTo>
                    <a:pt x="181" y="71"/>
                    <a:pt x="181" y="69"/>
                    <a:pt x="181" y="66"/>
                  </a:cubicBezTo>
                  <a:cubicBezTo>
                    <a:pt x="182" y="62"/>
                    <a:pt x="180" y="63"/>
                    <a:pt x="178" y="62"/>
                  </a:cubicBezTo>
                  <a:cubicBezTo>
                    <a:pt x="175" y="60"/>
                    <a:pt x="178" y="57"/>
                    <a:pt x="180" y="58"/>
                  </a:cubicBezTo>
                  <a:cubicBezTo>
                    <a:pt x="181" y="52"/>
                    <a:pt x="189" y="47"/>
                    <a:pt x="194" y="47"/>
                  </a:cubicBezTo>
                  <a:cubicBezTo>
                    <a:pt x="195" y="44"/>
                    <a:pt x="190" y="44"/>
                    <a:pt x="189" y="44"/>
                  </a:cubicBezTo>
                  <a:cubicBezTo>
                    <a:pt x="187" y="44"/>
                    <a:pt x="186" y="44"/>
                    <a:pt x="184" y="44"/>
                  </a:cubicBezTo>
                  <a:cubicBezTo>
                    <a:pt x="182" y="43"/>
                    <a:pt x="182" y="42"/>
                    <a:pt x="180" y="42"/>
                  </a:cubicBezTo>
                  <a:cubicBezTo>
                    <a:pt x="179" y="39"/>
                    <a:pt x="181" y="39"/>
                    <a:pt x="183" y="39"/>
                  </a:cubicBezTo>
                  <a:cubicBezTo>
                    <a:pt x="184" y="36"/>
                    <a:pt x="184" y="36"/>
                    <a:pt x="187" y="35"/>
                  </a:cubicBezTo>
                  <a:cubicBezTo>
                    <a:pt x="187" y="34"/>
                    <a:pt x="187" y="33"/>
                    <a:pt x="187" y="32"/>
                  </a:cubicBezTo>
                  <a:cubicBezTo>
                    <a:pt x="189" y="32"/>
                    <a:pt x="193" y="28"/>
                    <a:pt x="193" y="27"/>
                  </a:cubicBezTo>
                  <a:cubicBezTo>
                    <a:pt x="194" y="24"/>
                    <a:pt x="190" y="18"/>
                    <a:pt x="194" y="18"/>
                  </a:cubicBezTo>
                  <a:cubicBezTo>
                    <a:pt x="194" y="17"/>
                    <a:pt x="194" y="16"/>
                    <a:pt x="194" y="15"/>
                  </a:cubicBezTo>
                  <a:cubicBezTo>
                    <a:pt x="193" y="15"/>
                    <a:pt x="193" y="11"/>
                    <a:pt x="193" y="10"/>
                  </a:cubicBezTo>
                  <a:cubicBezTo>
                    <a:pt x="194" y="10"/>
                    <a:pt x="194" y="10"/>
                    <a:pt x="195" y="10"/>
                  </a:cubicBezTo>
                  <a:cubicBezTo>
                    <a:pt x="194" y="7"/>
                    <a:pt x="194" y="7"/>
                    <a:pt x="194" y="7"/>
                  </a:cubicBezTo>
                  <a:cubicBezTo>
                    <a:pt x="194" y="7"/>
                    <a:pt x="188" y="5"/>
                    <a:pt x="187" y="7"/>
                  </a:cubicBezTo>
                  <a:cubicBezTo>
                    <a:pt x="183" y="13"/>
                    <a:pt x="184" y="2"/>
                    <a:pt x="183" y="0"/>
                  </a:cubicBezTo>
                  <a:cubicBezTo>
                    <a:pt x="179" y="0"/>
                    <a:pt x="180" y="0"/>
                    <a:pt x="178" y="3"/>
                  </a:cubicBezTo>
                  <a:cubicBezTo>
                    <a:pt x="177" y="6"/>
                    <a:pt x="174" y="7"/>
                    <a:pt x="172" y="9"/>
                  </a:cubicBezTo>
                  <a:cubicBezTo>
                    <a:pt x="170" y="13"/>
                    <a:pt x="163" y="6"/>
                    <a:pt x="160" y="13"/>
                  </a:cubicBezTo>
                  <a:cubicBezTo>
                    <a:pt x="162" y="13"/>
                    <a:pt x="162" y="14"/>
                    <a:pt x="162" y="15"/>
                  </a:cubicBezTo>
                  <a:cubicBezTo>
                    <a:pt x="162" y="17"/>
                    <a:pt x="162" y="17"/>
                    <a:pt x="160" y="17"/>
                  </a:cubicBezTo>
                  <a:cubicBezTo>
                    <a:pt x="160" y="18"/>
                    <a:pt x="160" y="20"/>
                    <a:pt x="160" y="20"/>
                  </a:cubicBezTo>
                  <a:cubicBezTo>
                    <a:pt x="159" y="21"/>
                    <a:pt x="159" y="21"/>
                    <a:pt x="159" y="21"/>
                  </a:cubicBezTo>
                  <a:cubicBezTo>
                    <a:pt x="156" y="23"/>
                    <a:pt x="154" y="23"/>
                    <a:pt x="151" y="22"/>
                  </a:cubicBezTo>
                  <a:cubicBezTo>
                    <a:pt x="151" y="21"/>
                    <a:pt x="151" y="21"/>
                    <a:pt x="151" y="20"/>
                  </a:cubicBezTo>
                  <a:cubicBezTo>
                    <a:pt x="151" y="20"/>
                    <a:pt x="151" y="20"/>
                    <a:pt x="151" y="20"/>
                  </a:cubicBezTo>
                  <a:cubicBezTo>
                    <a:pt x="151" y="22"/>
                    <a:pt x="150" y="24"/>
                    <a:pt x="151" y="25"/>
                  </a:cubicBezTo>
                  <a:cubicBezTo>
                    <a:pt x="153" y="26"/>
                    <a:pt x="153" y="27"/>
                    <a:pt x="150" y="28"/>
                  </a:cubicBezTo>
                  <a:cubicBezTo>
                    <a:pt x="147" y="29"/>
                    <a:pt x="147" y="35"/>
                    <a:pt x="145" y="29"/>
                  </a:cubicBezTo>
                  <a:cubicBezTo>
                    <a:pt x="143" y="30"/>
                    <a:pt x="141" y="28"/>
                    <a:pt x="139" y="29"/>
                  </a:cubicBezTo>
                  <a:cubicBezTo>
                    <a:pt x="137" y="29"/>
                    <a:pt x="137" y="31"/>
                    <a:pt x="135" y="32"/>
                  </a:cubicBezTo>
                  <a:cubicBezTo>
                    <a:pt x="134" y="33"/>
                    <a:pt x="135" y="36"/>
                    <a:pt x="133" y="36"/>
                  </a:cubicBezTo>
                  <a:cubicBezTo>
                    <a:pt x="132" y="36"/>
                    <a:pt x="130" y="35"/>
                    <a:pt x="128" y="35"/>
                  </a:cubicBezTo>
                  <a:cubicBezTo>
                    <a:pt x="128" y="36"/>
                    <a:pt x="129" y="37"/>
                    <a:pt x="129" y="38"/>
                  </a:cubicBezTo>
                  <a:cubicBezTo>
                    <a:pt x="130" y="39"/>
                    <a:pt x="128" y="40"/>
                    <a:pt x="128" y="41"/>
                  </a:cubicBezTo>
                  <a:cubicBezTo>
                    <a:pt x="128" y="43"/>
                    <a:pt x="129" y="46"/>
                    <a:pt x="131" y="47"/>
                  </a:cubicBezTo>
                  <a:cubicBezTo>
                    <a:pt x="131" y="48"/>
                    <a:pt x="130" y="49"/>
                    <a:pt x="129" y="50"/>
                  </a:cubicBezTo>
                  <a:cubicBezTo>
                    <a:pt x="126" y="48"/>
                    <a:pt x="126" y="47"/>
                    <a:pt x="122" y="47"/>
                  </a:cubicBezTo>
                  <a:cubicBezTo>
                    <a:pt x="115" y="44"/>
                    <a:pt x="115" y="44"/>
                    <a:pt x="115" y="44"/>
                  </a:cubicBezTo>
                  <a:cubicBezTo>
                    <a:pt x="115" y="46"/>
                    <a:pt x="115" y="46"/>
                    <a:pt x="115" y="46"/>
                  </a:cubicBezTo>
                  <a:cubicBezTo>
                    <a:pt x="113" y="46"/>
                    <a:pt x="110" y="46"/>
                    <a:pt x="108" y="45"/>
                  </a:cubicBezTo>
                  <a:cubicBezTo>
                    <a:pt x="107" y="44"/>
                    <a:pt x="105" y="40"/>
                    <a:pt x="102" y="40"/>
                  </a:cubicBezTo>
                  <a:cubicBezTo>
                    <a:pt x="102" y="42"/>
                    <a:pt x="98" y="41"/>
                    <a:pt x="98" y="40"/>
                  </a:cubicBezTo>
                  <a:cubicBezTo>
                    <a:pt x="96" y="38"/>
                    <a:pt x="95" y="36"/>
                    <a:pt x="92" y="37"/>
                  </a:cubicBezTo>
                  <a:cubicBezTo>
                    <a:pt x="92" y="39"/>
                    <a:pt x="91" y="41"/>
                    <a:pt x="91" y="44"/>
                  </a:cubicBezTo>
                  <a:cubicBezTo>
                    <a:pt x="91" y="46"/>
                    <a:pt x="93" y="48"/>
                    <a:pt x="93" y="51"/>
                  </a:cubicBezTo>
                  <a:cubicBezTo>
                    <a:pt x="91" y="51"/>
                    <a:pt x="90" y="53"/>
                    <a:pt x="91" y="55"/>
                  </a:cubicBezTo>
                  <a:cubicBezTo>
                    <a:pt x="92" y="57"/>
                    <a:pt x="92" y="58"/>
                    <a:pt x="92" y="60"/>
                  </a:cubicBezTo>
                  <a:cubicBezTo>
                    <a:pt x="92" y="62"/>
                    <a:pt x="92" y="65"/>
                    <a:pt x="90" y="63"/>
                  </a:cubicBezTo>
                  <a:cubicBezTo>
                    <a:pt x="88" y="62"/>
                    <a:pt x="89" y="61"/>
                    <a:pt x="86" y="61"/>
                  </a:cubicBezTo>
                  <a:cubicBezTo>
                    <a:pt x="86" y="62"/>
                    <a:pt x="86" y="63"/>
                    <a:pt x="86" y="64"/>
                  </a:cubicBezTo>
                  <a:cubicBezTo>
                    <a:pt x="81" y="64"/>
                    <a:pt x="75" y="62"/>
                    <a:pt x="71" y="63"/>
                  </a:cubicBezTo>
                  <a:cubicBezTo>
                    <a:pt x="71" y="65"/>
                    <a:pt x="72" y="66"/>
                    <a:pt x="70" y="67"/>
                  </a:cubicBezTo>
                  <a:cubicBezTo>
                    <a:pt x="69" y="68"/>
                    <a:pt x="67" y="68"/>
                    <a:pt x="66" y="67"/>
                  </a:cubicBezTo>
                  <a:cubicBezTo>
                    <a:pt x="63" y="63"/>
                    <a:pt x="58" y="63"/>
                    <a:pt x="54" y="63"/>
                  </a:cubicBezTo>
                  <a:cubicBezTo>
                    <a:pt x="55" y="63"/>
                    <a:pt x="54" y="66"/>
                    <a:pt x="54" y="67"/>
                  </a:cubicBezTo>
                  <a:cubicBezTo>
                    <a:pt x="54" y="67"/>
                    <a:pt x="53" y="67"/>
                    <a:pt x="52" y="67"/>
                  </a:cubicBezTo>
                  <a:cubicBezTo>
                    <a:pt x="52" y="70"/>
                    <a:pt x="51" y="72"/>
                    <a:pt x="48" y="72"/>
                  </a:cubicBezTo>
                  <a:cubicBezTo>
                    <a:pt x="47" y="72"/>
                    <a:pt x="43" y="73"/>
                    <a:pt x="43" y="74"/>
                  </a:cubicBezTo>
                  <a:cubicBezTo>
                    <a:pt x="39" y="74"/>
                    <a:pt x="37" y="77"/>
                    <a:pt x="40" y="79"/>
                  </a:cubicBezTo>
                  <a:cubicBezTo>
                    <a:pt x="38" y="79"/>
                    <a:pt x="36" y="80"/>
                    <a:pt x="34" y="80"/>
                  </a:cubicBezTo>
                  <a:cubicBezTo>
                    <a:pt x="34" y="78"/>
                    <a:pt x="34" y="77"/>
                    <a:pt x="32" y="76"/>
                  </a:cubicBezTo>
                  <a:cubicBezTo>
                    <a:pt x="30" y="76"/>
                    <a:pt x="28" y="75"/>
                    <a:pt x="27" y="77"/>
                  </a:cubicBezTo>
                  <a:cubicBezTo>
                    <a:pt x="26" y="79"/>
                    <a:pt x="27" y="79"/>
                    <a:pt x="24" y="79"/>
                  </a:cubicBezTo>
                  <a:cubicBezTo>
                    <a:pt x="22" y="80"/>
                    <a:pt x="22" y="81"/>
                    <a:pt x="22" y="82"/>
                  </a:cubicBezTo>
                  <a:cubicBezTo>
                    <a:pt x="20" y="83"/>
                    <a:pt x="20" y="80"/>
                    <a:pt x="18" y="81"/>
                  </a:cubicBezTo>
                  <a:cubicBezTo>
                    <a:pt x="17" y="83"/>
                    <a:pt x="23" y="87"/>
                    <a:pt x="21" y="89"/>
                  </a:cubicBezTo>
                  <a:cubicBezTo>
                    <a:pt x="20" y="90"/>
                    <a:pt x="19" y="90"/>
                    <a:pt x="20" y="93"/>
                  </a:cubicBezTo>
                  <a:cubicBezTo>
                    <a:pt x="20" y="94"/>
                    <a:pt x="22" y="96"/>
                    <a:pt x="22" y="94"/>
                  </a:cubicBezTo>
                  <a:cubicBezTo>
                    <a:pt x="27" y="93"/>
                    <a:pt x="28" y="100"/>
                    <a:pt x="28" y="103"/>
                  </a:cubicBezTo>
                  <a:cubicBezTo>
                    <a:pt x="26" y="103"/>
                    <a:pt x="24" y="103"/>
                    <a:pt x="21" y="104"/>
                  </a:cubicBezTo>
                  <a:cubicBezTo>
                    <a:pt x="20" y="107"/>
                    <a:pt x="24" y="106"/>
                    <a:pt x="26" y="107"/>
                  </a:cubicBezTo>
                  <a:cubicBezTo>
                    <a:pt x="28" y="109"/>
                    <a:pt x="24" y="113"/>
                    <a:pt x="22" y="113"/>
                  </a:cubicBezTo>
                  <a:cubicBezTo>
                    <a:pt x="22" y="114"/>
                    <a:pt x="22" y="116"/>
                    <a:pt x="22" y="117"/>
                  </a:cubicBezTo>
                  <a:cubicBezTo>
                    <a:pt x="20" y="117"/>
                    <a:pt x="19" y="116"/>
                    <a:pt x="17" y="116"/>
                  </a:cubicBezTo>
                  <a:cubicBezTo>
                    <a:pt x="17" y="117"/>
                    <a:pt x="17" y="117"/>
                    <a:pt x="17" y="117"/>
                  </a:cubicBezTo>
                  <a:cubicBezTo>
                    <a:pt x="18" y="117"/>
                    <a:pt x="18" y="117"/>
                    <a:pt x="18" y="118"/>
                  </a:cubicBezTo>
                  <a:cubicBezTo>
                    <a:pt x="15" y="118"/>
                    <a:pt x="7" y="119"/>
                    <a:pt x="8" y="124"/>
                  </a:cubicBezTo>
                  <a:cubicBezTo>
                    <a:pt x="12" y="124"/>
                    <a:pt x="12" y="124"/>
                    <a:pt x="15" y="126"/>
                  </a:cubicBezTo>
                  <a:cubicBezTo>
                    <a:pt x="16" y="127"/>
                    <a:pt x="19" y="130"/>
                    <a:pt x="16" y="131"/>
                  </a:cubicBezTo>
                  <a:cubicBezTo>
                    <a:pt x="17" y="133"/>
                    <a:pt x="15" y="136"/>
                    <a:pt x="15" y="138"/>
                  </a:cubicBezTo>
                  <a:cubicBezTo>
                    <a:pt x="17" y="138"/>
                    <a:pt x="19" y="140"/>
                    <a:pt x="18" y="142"/>
                  </a:cubicBezTo>
                  <a:cubicBezTo>
                    <a:pt x="18" y="142"/>
                    <a:pt x="17" y="142"/>
                    <a:pt x="17" y="143"/>
                  </a:cubicBezTo>
                  <a:cubicBezTo>
                    <a:pt x="17" y="144"/>
                    <a:pt x="14" y="144"/>
                    <a:pt x="14" y="144"/>
                  </a:cubicBezTo>
                  <a:cubicBezTo>
                    <a:pt x="13" y="146"/>
                    <a:pt x="17" y="145"/>
                    <a:pt x="16" y="148"/>
                  </a:cubicBezTo>
                  <a:cubicBezTo>
                    <a:pt x="16" y="148"/>
                    <a:pt x="16" y="148"/>
                    <a:pt x="16" y="148"/>
                  </a:cubicBezTo>
                  <a:cubicBezTo>
                    <a:pt x="15" y="150"/>
                    <a:pt x="16" y="153"/>
                    <a:pt x="14" y="154"/>
                  </a:cubicBezTo>
                  <a:cubicBezTo>
                    <a:pt x="13" y="155"/>
                    <a:pt x="13" y="156"/>
                    <a:pt x="13" y="158"/>
                  </a:cubicBezTo>
                  <a:cubicBezTo>
                    <a:pt x="11" y="158"/>
                    <a:pt x="10" y="156"/>
                    <a:pt x="9" y="156"/>
                  </a:cubicBezTo>
                  <a:cubicBezTo>
                    <a:pt x="9" y="157"/>
                    <a:pt x="9" y="158"/>
                    <a:pt x="9" y="158"/>
                  </a:cubicBezTo>
                  <a:cubicBezTo>
                    <a:pt x="7" y="158"/>
                    <a:pt x="5" y="158"/>
                    <a:pt x="3" y="158"/>
                  </a:cubicBezTo>
                  <a:cubicBezTo>
                    <a:pt x="3" y="159"/>
                    <a:pt x="3" y="159"/>
                    <a:pt x="3" y="159"/>
                  </a:cubicBezTo>
                  <a:cubicBezTo>
                    <a:pt x="4" y="160"/>
                    <a:pt x="6" y="160"/>
                    <a:pt x="6" y="162"/>
                  </a:cubicBezTo>
                  <a:cubicBezTo>
                    <a:pt x="4" y="162"/>
                    <a:pt x="0" y="160"/>
                    <a:pt x="1" y="163"/>
                  </a:cubicBezTo>
                  <a:cubicBezTo>
                    <a:pt x="3" y="164"/>
                    <a:pt x="2" y="165"/>
                    <a:pt x="3" y="166"/>
                  </a:cubicBezTo>
                  <a:cubicBezTo>
                    <a:pt x="4" y="166"/>
                    <a:pt x="6" y="165"/>
                    <a:pt x="7" y="166"/>
                  </a:cubicBezTo>
                  <a:cubicBezTo>
                    <a:pt x="8" y="166"/>
                    <a:pt x="8" y="168"/>
                    <a:pt x="9" y="168"/>
                  </a:cubicBezTo>
                  <a:cubicBezTo>
                    <a:pt x="10" y="169"/>
                    <a:pt x="11" y="168"/>
                    <a:pt x="12" y="169"/>
                  </a:cubicBezTo>
                  <a:cubicBezTo>
                    <a:pt x="13" y="170"/>
                    <a:pt x="12" y="172"/>
                    <a:pt x="12" y="172"/>
                  </a:cubicBezTo>
                  <a:cubicBezTo>
                    <a:pt x="13" y="174"/>
                    <a:pt x="14" y="173"/>
                    <a:pt x="14" y="175"/>
                  </a:cubicBezTo>
                  <a:cubicBezTo>
                    <a:pt x="14" y="177"/>
                    <a:pt x="14" y="179"/>
                    <a:pt x="18" y="179"/>
                  </a:cubicBezTo>
                  <a:cubicBezTo>
                    <a:pt x="18" y="180"/>
                    <a:pt x="16" y="180"/>
                    <a:pt x="16" y="182"/>
                  </a:cubicBezTo>
                  <a:cubicBezTo>
                    <a:pt x="16" y="182"/>
                    <a:pt x="17" y="184"/>
                    <a:pt x="17" y="185"/>
                  </a:cubicBezTo>
                  <a:cubicBezTo>
                    <a:pt x="17" y="186"/>
                    <a:pt x="18" y="186"/>
                    <a:pt x="18" y="187"/>
                  </a:cubicBezTo>
                  <a:cubicBezTo>
                    <a:pt x="19" y="188"/>
                    <a:pt x="20" y="188"/>
                    <a:pt x="19" y="190"/>
                  </a:cubicBezTo>
                  <a:cubicBezTo>
                    <a:pt x="19" y="190"/>
                    <a:pt x="19" y="190"/>
                    <a:pt x="19" y="190"/>
                  </a:cubicBezTo>
                  <a:cubicBezTo>
                    <a:pt x="19" y="191"/>
                    <a:pt x="19" y="191"/>
                    <a:pt x="19" y="191"/>
                  </a:cubicBezTo>
                  <a:cubicBezTo>
                    <a:pt x="22" y="191"/>
                    <a:pt x="19" y="197"/>
                    <a:pt x="18" y="198"/>
                  </a:cubicBezTo>
                  <a:cubicBezTo>
                    <a:pt x="21" y="199"/>
                    <a:pt x="24" y="203"/>
                    <a:pt x="25" y="206"/>
                  </a:cubicBezTo>
                  <a:cubicBezTo>
                    <a:pt x="25" y="207"/>
                    <a:pt x="26" y="208"/>
                    <a:pt x="26" y="209"/>
                  </a:cubicBezTo>
                  <a:cubicBezTo>
                    <a:pt x="26" y="210"/>
                    <a:pt x="27" y="210"/>
                    <a:pt x="27" y="211"/>
                  </a:cubicBezTo>
                  <a:cubicBezTo>
                    <a:pt x="27" y="212"/>
                    <a:pt x="27" y="214"/>
                    <a:pt x="27" y="216"/>
                  </a:cubicBezTo>
                  <a:cubicBezTo>
                    <a:pt x="28" y="216"/>
                    <a:pt x="30" y="216"/>
                    <a:pt x="30" y="218"/>
                  </a:cubicBezTo>
                  <a:cubicBezTo>
                    <a:pt x="26" y="219"/>
                    <a:pt x="29" y="221"/>
                    <a:pt x="29" y="224"/>
                  </a:cubicBezTo>
                  <a:cubicBezTo>
                    <a:pt x="30" y="227"/>
                    <a:pt x="30" y="229"/>
                    <a:pt x="29" y="231"/>
                  </a:cubicBezTo>
                  <a:cubicBezTo>
                    <a:pt x="29" y="231"/>
                    <a:pt x="26" y="232"/>
                    <a:pt x="26" y="233"/>
                  </a:cubicBezTo>
                  <a:cubicBezTo>
                    <a:pt x="25" y="234"/>
                    <a:pt x="27" y="234"/>
                    <a:pt x="28" y="234"/>
                  </a:cubicBezTo>
                  <a:cubicBezTo>
                    <a:pt x="29" y="235"/>
                    <a:pt x="29" y="235"/>
                    <a:pt x="30" y="237"/>
                  </a:cubicBezTo>
                  <a:cubicBezTo>
                    <a:pt x="30" y="238"/>
                    <a:pt x="30" y="239"/>
                    <a:pt x="31" y="241"/>
                  </a:cubicBezTo>
                  <a:cubicBezTo>
                    <a:pt x="32" y="242"/>
                    <a:pt x="32" y="243"/>
                    <a:pt x="32" y="245"/>
                  </a:cubicBezTo>
                  <a:cubicBezTo>
                    <a:pt x="32" y="246"/>
                    <a:pt x="32" y="247"/>
                    <a:pt x="32" y="249"/>
                  </a:cubicBezTo>
                  <a:cubicBezTo>
                    <a:pt x="32" y="250"/>
                    <a:pt x="32" y="251"/>
                    <a:pt x="32" y="252"/>
                  </a:cubicBezTo>
                  <a:cubicBezTo>
                    <a:pt x="33" y="254"/>
                    <a:pt x="34" y="253"/>
                    <a:pt x="35" y="254"/>
                  </a:cubicBezTo>
                  <a:cubicBezTo>
                    <a:pt x="32" y="256"/>
                    <a:pt x="35" y="259"/>
                    <a:pt x="36" y="262"/>
                  </a:cubicBezTo>
                  <a:cubicBezTo>
                    <a:pt x="37" y="264"/>
                    <a:pt x="37" y="266"/>
                    <a:pt x="38" y="268"/>
                  </a:cubicBezTo>
                  <a:cubicBezTo>
                    <a:pt x="38" y="268"/>
                    <a:pt x="39" y="268"/>
                    <a:pt x="40" y="268"/>
                  </a:cubicBezTo>
                  <a:cubicBezTo>
                    <a:pt x="42" y="268"/>
                    <a:pt x="42" y="267"/>
                    <a:pt x="44" y="267"/>
                  </a:cubicBezTo>
                  <a:cubicBezTo>
                    <a:pt x="45" y="267"/>
                    <a:pt x="44" y="270"/>
                    <a:pt x="44" y="270"/>
                  </a:cubicBezTo>
                  <a:cubicBezTo>
                    <a:pt x="46" y="270"/>
                    <a:pt x="48" y="272"/>
                    <a:pt x="46" y="272"/>
                  </a:cubicBezTo>
                  <a:cubicBezTo>
                    <a:pt x="46" y="273"/>
                    <a:pt x="47" y="274"/>
                    <a:pt x="48" y="274"/>
                  </a:cubicBezTo>
                  <a:cubicBezTo>
                    <a:pt x="48" y="272"/>
                    <a:pt x="49" y="272"/>
                    <a:pt x="51" y="273"/>
                  </a:cubicBezTo>
                  <a:cubicBezTo>
                    <a:pt x="54" y="275"/>
                    <a:pt x="51" y="275"/>
                    <a:pt x="52" y="276"/>
                  </a:cubicBezTo>
                  <a:cubicBezTo>
                    <a:pt x="53" y="277"/>
                    <a:pt x="54" y="277"/>
                    <a:pt x="55" y="277"/>
                  </a:cubicBezTo>
                  <a:cubicBezTo>
                    <a:pt x="55" y="277"/>
                    <a:pt x="55" y="278"/>
                    <a:pt x="55" y="279"/>
                  </a:cubicBezTo>
                  <a:cubicBezTo>
                    <a:pt x="55" y="278"/>
                    <a:pt x="57" y="276"/>
                    <a:pt x="58" y="276"/>
                  </a:cubicBezTo>
                  <a:cubicBezTo>
                    <a:pt x="58" y="278"/>
                    <a:pt x="58" y="279"/>
                    <a:pt x="57" y="280"/>
                  </a:cubicBezTo>
                  <a:cubicBezTo>
                    <a:pt x="59" y="280"/>
                    <a:pt x="60" y="282"/>
                    <a:pt x="60" y="283"/>
                  </a:cubicBezTo>
                  <a:cubicBezTo>
                    <a:pt x="62" y="283"/>
                    <a:pt x="62" y="283"/>
                    <a:pt x="62" y="283"/>
                  </a:cubicBezTo>
                  <a:cubicBezTo>
                    <a:pt x="62" y="282"/>
                    <a:pt x="65" y="282"/>
                    <a:pt x="64" y="283"/>
                  </a:cubicBezTo>
                  <a:cubicBezTo>
                    <a:pt x="64" y="285"/>
                    <a:pt x="62" y="285"/>
                    <a:pt x="62" y="286"/>
                  </a:cubicBezTo>
                  <a:cubicBezTo>
                    <a:pt x="62" y="288"/>
                    <a:pt x="63" y="288"/>
                    <a:pt x="63" y="290"/>
                  </a:cubicBezTo>
                  <a:cubicBezTo>
                    <a:pt x="63" y="293"/>
                    <a:pt x="64" y="292"/>
                    <a:pt x="67" y="293"/>
                  </a:cubicBezTo>
                  <a:cubicBezTo>
                    <a:pt x="69" y="293"/>
                    <a:pt x="71" y="298"/>
                    <a:pt x="71" y="300"/>
                  </a:cubicBezTo>
                  <a:cubicBezTo>
                    <a:pt x="74" y="300"/>
                    <a:pt x="75" y="302"/>
                    <a:pt x="77" y="303"/>
                  </a:cubicBezTo>
                  <a:cubicBezTo>
                    <a:pt x="78" y="305"/>
                    <a:pt x="83" y="304"/>
                    <a:pt x="84" y="306"/>
                  </a:cubicBezTo>
                  <a:cubicBezTo>
                    <a:pt x="84" y="309"/>
                    <a:pt x="85" y="310"/>
                    <a:pt x="88" y="312"/>
                  </a:cubicBezTo>
                  <a:cubicBezTo>
                    <a:pt x="89" y="312"/>
                    <a:pt x="91" y="312"/>
                    <a:pt x="92" y="312"/>
                  </a:cubicBezTo>
                  <a:cubicBezTo>
                    <a:pt x="94" y="312"/>
                    <a:pt x="96" y="311"/>
                    <a:pt x="98" y="311"/>
                  </a:cubicBezTo>
                  <a:cubicBezTo>
                    <a:pt x="98" y="312"/>
                    <a:pt x="98" y="314"/>
                    <a:pt x="98" y="315"/>
                  </a:cubicBezTo>
                  <a:cubicBezTo>
                    <a:pt x="99" y="315"/>
                    <a:pt x="102" y="315"/>
                    <a:pt x="103" y="316"/>
                  </a:cubicBezTo>
                  <a:cubicBezTo>
                    <a:pt x="103" y="317"/>
                    <a:pt x="104" y="319"/>
                    <a:pt x="104" y="319"/>
                  </a:cubicBezTo>
                  <a:cubicBezTo>
                    <a:pt x="104" y="319"/>
                    <a:pt x="104" y="319"/>
                    <a:pt x="104" y="319"/>
                  </a:cubicBezTo>
                  <a:cubicBezTo>
                    <a:pt x="106" y="318"/>
                    <a:pt x="107" y="321"/>
                    <a:pt x="109" y="322"/>
                  </a:cubicBezTo>
                  <a:cubicBezTo>
                    <a:pt x="111" y="322"/>
                    <a:pt x="114" y="322"/>
                    <a:pt x="114" y="324"/>
                  </a:cubicBezTo>
                  <a:cubicBezTo>
                    <a:pt x="114" y="324"/>
                    <a:pt x="115" y="325"/>
                    <a:pt x="115" y="326"/>
                  </a:cubicBezTo>
                  <a:cubicBezTo>
                    <a:pt x="115" y="326"/>
                    <a:pt x="115" y="326"/>
                    <a:pt x="115" y="326"/>
                  </a:cubicBezTo>
                  <a:cubicBezTo>
                    <a:pt x="117" y="326"/>
                    <a:pt x="119" y="325"/>
                    <a:pt x="120" y="326"/>
                  </a:cubicBezTo>
                  <a:cubicBezTo>
                    <a:pt x="121" y="327"/>
                    <a:pt x="121" y="331"/>
                    <a:pt x="121" y="331"/>
                  </a:cubicBezTo>
                  <a:cubicBezTo>
                    <a:pt x="122" y="331"/>
                    <a:pt x="123" y="330"/>
                    <a:pt x="125" y="330"/>
                  </a:cubicBezTo>
                  <a:cubicBezTo>
                    <a:pt x="126" y="330"/>
                    <a:pt x="128" y="330"/>
                    <a:pt x="130" y="330"/>
                  </a:cubicBezTo>
                  <a:cubicBezTo>
                    <a:pt x="135" y="330"/>
                    <a:pt x="135" y="330"/>
                    <a:pt x="136" y="326"/>
                  </a:cubicBezTo>
                  <a:cubicBezTo>
                    <a:pt x="136" y="323"/>
                    <a:pt x="139" y="321"/>
                    <a:pt x="142" y="321"/>
                  </a:cubicBezTo>
                  <a:cubicBezTo>
                    <a:pt x="143" y="321"/>
                    <a:pt x="145" y="320"/>
                    <a:pt x="146" y="321"/>
                  </a:cubicBezTo>
                  <a:cubicBezTo>
                    <a:pt x="147" y="322"/>
                    <a:pt x="148" y="324"/>
                    <a:pt x="149" y="324"/>
                  </a:cubicBezTo>
                  <a:cubicBezTo>
                    <a:pt x="149" y="323"/>
                    <a:pt x="150" y="322"/>
                    <a:pt x="149" y="322"/>
                  </a:cubicBezTo>
                  <a:cubicBezTo>
                    <a:pt x="153" y="321"/>
                    <a:pt x="155" y="321"/>
                    <a:pt x="158" y="322"/>
                  </a:cubicBezTo>
                  <a:cubicBezTo>
                    <a:pt x="160" y="322"/>
                    <a:pt x="164" y="324"/>
                    <a:pt x="166" y="324"/>
                  </a:cubicBezTo>
                  <a:cubicBezTo>
                    <a:pt x="166" y="322"/>
                    <a:pt x="166" y="319"/>
                    <a:pt x="168" y="317"/>
                  </a:cubicBezTo>
                  <a:cubicBezTo>
                    <a:pt x="171" y="315"/>
                    <a:pt x="175" y="315"/>
                    <a:pt x="178" y="315"/>
                  </a:cubicBezTo>
                  <a:cubicBezTo>
                    <a:pt x="178" y="314"/>
                    <a:pt x="178" y="312"/>
                    <a:pt x="179" y="312"/>
                  </a:cubicBezTo>
                  <a:cubicBezTo>
                    <a:pt x="180" y="311"/>
                    <a:pt x="181" y="311"/>
                    <a:pt x="181" y="310"/>
                  </a:cubicBezTo>
                  <a:cubicBezTo>
                    <a:pt x="181" y="308"/>
                    <a:pt x="182" y="306"/>
                    <a:pt x="181" y="304"/>
                  </a:cubicBezTo>
                  <a:cubicBezTo>
                    <a:pt x="180" y="300"/>
                    <a:pt x="170" y="303"/>
                    <a:pt x="167" y="300"/>
                  </a:cubicBezTo>
                  <a:cubicBezTo>
                    <a:pt x="169" y="299"/>
                    <a:pt x="173" y="297"/>
                    <a:pt x="174" y="296"/>
                  </a:cubicBezTo>
                  <a:cubicBezTo>
                    <a:pt x="176" y="294"/>
                    <a:pt x="175" y="290"/>
                    <a:pt x="175" y="288"/>
                  </a:cubicBezTo>
                  <a:cubicBezTo>
                    <a:pt x="175" y="288"/>
                    <a:pt x="174" y="288"/>
                    <a:pt x="174" y="288"/>
                  </a:cubicBezTo>
                  <a:cubicBezTo>
                    <a:pt x="175" y="285"/>
                    <a:pt x="174" y="282"/>
                    <a:pt x="174" y="280"/>
                  </a:cubicBezTo>
                  <a:cubicBezTo>
                    <a:pt x="177" y="280"/>
                    <a:pt x="182" y="281"/>
                    <a:pt x="183" y="278"/>
                  </a:cubicBezTo>
                  <a:cubicBezTo>
                    <a:pt x="185" y="276"/>
                    <a:pt x="185" y="273"/>
                    <a:pt x="185" y="271"/>
                  </a:cubicBezTo>
                  <a:cubicBezTo>
                    <a:pt x="186" y="269"/>
                    <a:pt x="192" y="271"/>
                    <a:pt x="193" y="272"/>
                  </a:cubicBezTo>
                  <a:cubicBezTo>
                    <a:pt x="196" y="276"/>
                    <a:pt x="196" y="270"/>
                    <a:pt x="199" y="271"/>
                  </a:cubicBezTo>
                  <a:cubicBezTo>
                    <a:pt x="200" y="272"/>
                    <a:pt x="201" y="274"/>
                    <a:pt x="202" y="274"/>
                  </a:cubicBezTo>
                  <a:cubicBezTo>
                    <a:pt x="204" y="275"/>
                    <a:pt x="205" y="275"/>
                    <a:pt x="206" y="275"/>
                  </a:cubicBezTo>
                  <a:cubicBezTo>
                    <a:pt x="206" y="275"/>
                    <a:pt x="206" y="275"/>
                    <a:pt x="206" y="275"/>
                  </a:cubicBezTo>
                  <a:cubicBezTo>
                    <a:pt x="207" y="274"/>
                    <a:pt x="207" y="272"/>
                    <a:pt x="209" y="271"/>
                  </a:cubicBezTo>
                  <a:cubicBezTo>
                    <a:pt x="210" y="270"/>
                    <a:pt x="213" y="270"/>
                    <a:pt x="213" y="269"/>
                  </a:cubicBezTo>
                  <a:cubicBezTo>
                    <a:pt x="211" y="269"/>
                    <a:pt x="208" y="266"/>
                    <a:pt x="211" y="265"/>
                  </a:cubicBezTo>
                  <a:cubicBezTo>
                    <a:pt x="214" y="265"/>
                    <a:pt x="215" y="270"/>
                    <a:pt x="217" y="270"/>
                  </a:cubicBezTo>
                  <a:cubicBezTo>
                    <a:pt x="220" y="270"/>
                    <a:pt x="217" y="264"/>
                    <a:pt x="218" y="263"/>
                  </a:cubicBezTo>
                  <a:cubicBezTo>
                    <a:pt x="218" y="260"/>
                    <a:pt x="220" y="260"/>
                    <a:pt x="222" y="260"/>
                  </a:cubicBezTo>
                  <a:cubicBezTo>
                    <a:pt x="222" y="259"/>
                    <a:pt x="222" y="257"/>
                    <a:pt x="223" y="257"/>
                  </a:cubicBezTo>
                  <a:cubicBezTo>
                    <a:pt x="224" y="255"/>
                    <a:pt x="225" y="249"/>
                    <a:pt x="224" y="249"/>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76" name="Freeform 304"/>
            <p:cNvSpPr>
              <a:spLocks/>
            </p:cNvSpPr>
            <p:nvPr/>
          </p:nvSpPr>
          <p:spPr bwMode="auto">
            <a:xfrm>
              <a:off x="3357563" y="5692776"/>
              <a:ext cx="3175" cy="3175"/>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1" y="0"/>
                    <a:pt x="1" y="1"/>
                    <a:pt x="1" y="1"/>
                  </a:cubicBezTo>
                  <a:cubicBezTo>
                    <a:pt x="1" y="1"/>
                    <a:pt x="1" y="0"/>
                    <a:pt x="0" y="0"/>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77" name="Freeform 305"/>
            <p:cNvSpPr>
              <a:spLocks/>
            </p:cNvSpPr>
            <p:nvPr/>
          </p:nvSpPr>
          <p:spPr bwMode="auto">
            <a:xfrm>
              <a:off x="3417888" y="5229226"/>
              <a:ext cx="738188" cy="947738"/>
            </a:xfrm>
            <a:custGeom>
              <a:avLst/>
              <a:gdLst>
                <a:gd name="T0" fmla="*/ 121 w 209"/>
                <a:gd name="T1" fmla="*/ 214 h 268"/>
                <a:gd name="T2" fmla="*/ 104 w 209"/>
                <a:gd name="T3" fmla="*/ 218 h 268"/>
                <a:gd name="T4" fmla="*/ 95 w 209"/>
                <a:gd name="T5" fmla="*/ 224 h 268"/>
                <a:gd name="T6" fmla="*/ 90 w 209"/>
                <a:gd name="T7" fmla="*/ 242 h 268"/>
                <a:gd name="T8" fmla="*/ 90 w 209"/>
                <a:gd name="T9" fmla="*/ 246 h 268"/>
                <a:gd name="T10" fmla="*/ 81 w 209"/>
                <a:gd name="T11" fmla="*/ 256 h 268"/>
                <a:gd name="T12" fmla="*/ 72 w 209"/>
                <a:gd name="T13" fmla="*/ 262 h 268"/>
                <a:gd name="T14" fmla="*/ 61 w 209"/>
                <a:gd name="T15" fmla="*/ 267 h 268"/>
                <a:gd name="T16" fmla="*/ 54 w 209"/>
                <a:gd name="T17" fmla="*/ 268 h 268"/>
                <a:gd name="T18" fmla="*/ 39 w 209"/>
                <a:gd name="T19" fmla="*/ 255 h 268"/>
                <a:gd name="T20" fmla="*/ 42 w 209"/>
                <a:gd name="T21" fmla="*/ 247 h 268"/>
                <a:gd name="T22" fmla="*/ 46 w 209"/>
                <a:gd name="T23" fmla="*/ 232 h 268"/>
                <a:gd name="T24" fmla="*/ 50 w 209"/>
                <a:gd name="T25" fmla="*/ 207 h 268"/>
                <a:gd name="T26" fmla="*/ 43 w 209"/>
                <a:gd name="T27" fmla="*/ 192 h 268"/>
                <a:gd name="T28" fmla="*/ 47 w 209"/>
                <a:gd name="T29" fmla="*/ 170 h 268"/>
                <a:gd name="T30" fmla="*/ 35 w 209"/>
                <a:gd name="T31" fmla="*/ 162 h 268"/>
                <a:gd name="T32" fmla="*/ 28 w 209"/>
                <a:gd name="T33" fmla="*/ 147 h 268"/>
                <a:gd name="T34" fmla="*/ 21 w 209"/>
                <a:gd name="T35" fmla="*/ 121 h 268"/>
                <a:gd name="T36" fmla="*/ 10 w 209"/>
                <a:gd name="T37" fmla="*/ 112 h 268"/>
                <a:gd name="T38" fmla="*/ 5 w 209"/>
                <a:gd name="T39" fmla="*/ 100 h 268"/>
                <a:gd name="T40" fmla="*/ 10 w 209"/>
                <a:gd name="T41" fmla="*/ 88 h 268"/>
                <a:gd name="T42" fmla="*/ 26 w 209"/>
                <a:gd name="T43" fmla="*/ 92 h 268"/>
                <a:gd name="T44" fmla="*/ 45 w 209"/>
                <a:gd name="T45" fmla="*/ 86 h 268"/>
                <a:gd name="T46" fmla="*/ 64 w 209"/>
                <a:gd name="T47" fmla="*/ 79 h 268"/>
                <a:gd name="T48" fmla="*/ 77 w 209"/>
                <a:gd name="T49" fmla="*/ 66 h 268"/>
                <a:gd name="T50" fmla="*/ 70 w 209"/>
                <a:gd name="T51" fmla="*/ 50 h 268"/>
                <a:gd name="T52" fmla="*/ 89 w 209"/>
                <a:gd name="T53" fmla="*/ 34 h 268"/>
                <a:gd name="T54" fmla="*/ 103 w 209"/>
                <a:gd name="T55" fmla="*/ 40 h 268"/>
                <a:gd name="T56" fmla="*/ 123 w 209"/>
                <a:gd name="T57" fmla="*/ 28 h 268"/>
                <a:gd name="T58" fmla="*/ 146 w 209"/>
                <a:gd name="T59" fmla="*/ 26 h 268"/>
                <a:gd name="T60" fmla="*/ 161 w 209"/>
                <a:gd name="T61" fmla="*/ 19 h 268"/>
                <a:gd name="T62" fmla="*/ 173 w 209"/>
                <a:gd name="T63" fmla="*/ 15 h 268"/>
                <a:gd name="T64" fmla="*/ 187 w 209"/>
                <a:gd name="T65" fmla="*/ 11 h 268"/>
                <a:gd name="T66" fmla="*/ 197 w 209"/>
                <a:gd name="T67" fmla="*/ 2 h 268"/>
                <a:gd name="T68" fmla="*/ 202 w 209"/>
                <a:gd name="T69" fmla="*/ 3 h 268"/>
                <a:gd name="T70" fmla="*/ 205 w 209"/>
                <a:gd name="T71" fmla="*/ 33 h 268"/>
                <a:gd name="T72" fmla="*/ 196 w 209"/>
                <a:gd name="T73" fmla="*/ 52 h 268"/>
                <a:gd name="T74" fmla="*/ 197 w 209"/>
                <a:gd name="T75" fmla="*/ 58 h 268"/>
                <a:gd name="T76" fmla="*/ 187 w 209"/>
                <a:gd name="T77" fmla="*/ 67 h 268"/>
                <a:gd name="T78" fmla="*/ 185 w 209"/>
                <a:gd name="T79" fmla="*/ 72 h 268"/>
                <a:gd name="T80" fmla="*/ 184 w 209"/>
                <a:gd name="T81" fmla="*/ 76 h 268"/>
                <a:gd name="T82" fmla="*/ 180 w 209"/>
                <a:gd name="T83" fmla="*/ 95 h 268"/>
                <a:gd name="T84" fmla="*/ 181 w 209"/>
                <a:gd name="T85" fmla="*/ 109 h 268"/>
                <a:gd name="T86" fmla="*/ 182 w 209"/>
                <a:gd name="T87" fmla="*/ 158 h 268"/>
                <a:gd name="T88" fmla="*/ 181 w 209"/>
                <a:gd name="T89" fmla="*/ 162 h 268"/>
                <a:gd name="T90" fmla="*/ 181 w 209"/>
                <a:gd name="T91" fmla="*/ 160 h 268"/>
                <a:gd name="T92" fmla="*/ 168 w 209"/>
                <a:gd name="T93" fmla="*/ 159 h 268"/>
                <a:gd name="T94" fmla="*/ 162 w 209"/>
                <a:gd name="T95" fmla="*/ 161 h 268"/>
                <a:gd name="T96" fmla="*/ 152 w 209"/>
                <a:gd name="T97" fmla="*/ 167 h 268"/>
                <a:gd name="T98" fmla="*/ 148 w 209"/>
                <a:gd name="T99" fmla="*/ 177 h 268"/>
                <a:gd name="T100" fmla="*/ 135 w 209"/>
                <a:gd name="T101" fmla="*/ 206 h 268"/>
                <a:gd name="T102" fmla="*/ 144 w 209"/>
                <a:gd name="T103" fmla="*/ 211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9" h="268">
                  <a:moveTo>
                    <a:pt x="128" y="212"/>
                  </a:moveTo>
                  <a:cubicBezTo>
                    <a:pt x="127" y="212"/>
                    <a:pt x="127" y="212"/>
                    <a:pt x="126" y="212"/>
                  </a:cubicBezTo>
                  <a:cubicBezTo>
                    <a:pt x="125" y="212"/>
                    <a:pt x="125" y="213"/>
                    <a:pt x="124" y="213"/>
                  </a:cubicBezTo>
                  <a:cubicBezTo>
                    <a:pt x="124" y="213"/>
                    <a:pt x="122" y="214"/>
                    <a:pt x="121" y="214"/>
                  </a:cubicBezTo>
                  <a:cubicBezTo>
                    <a:pt x="121" y="215"/>
                    <a:pt x="121" y="215"/>
                    <a:pt x="121" y="215"/>
                  </a:cubicBezTo>
                  <a:cubicBezTo>
                    <a:pt x="120" y="215"/>
                    <a:pt x="119" y="215"/>
                    <a:pt x="118" y="216"/>
                  </a:cubicBezTo>
                  <a:cubicBezTo>
                    <a:pt x="115" y="217"/>
                    <a:pt x="112" y="217"/>
                    <a:pt x="108" y="218"/>
                  </a:cubicBezTo>
                  <a:cubicBezTo>
                    <a:pt x="107" y="218"/>
                    <a:pt x="105" y="218"/>
                    <a:pt x="104" y="218"/>
                  </a:cubicBezTo>
                  <a:cubicBezTo>
                    <a:pt x="103" y="219"/>
                    <a:pt x="103" y="221"/>
                    <a:pt x="102" y="222"/>
                  </a:cubicBezTo>
                  <a:cubicBezTo>
                    <a:pt x="100" y="222"/>
                    <a:pt x="99" y="222"/>
                    <a:pt x="98" y="223"/>
                  </a:cubicBezTo>
                  <a:cubicBezTo>
                    <a:pt x="97" y="223"/>
                    <a:pt x="97" y="224"/>
                    <a:pt x="96" y="224"/>
                  </a:cubicBezTo>
                  <a:cubicBezTo>
                    <a:pt x="96" y="224"/>
                    <a:pt x="95" y="224"/>
                    <a:pt x="95" y="224"/>
                  </a:cubicBezTo>
                  <a:cubicBezTo>
                    <a:pt x="94" y="225"/>
                    <a:pt x="93" y="228"/>
                    <a:pt x="93" y="229"/>
                  </a:cubicBezTo>
                  <a:cubicBezTo>
                    <a:pt x="93" y="231"/>
                    <a:pt x="94" y="234"/>
                    <a:pt x="93" y="236"/>
                  </a:cubicBezTo>
                  <a:cubicBezTo>
                    <a:pt x="93" y="237"/>
                    <a:pt x="92" y="238"/>
                    <a:pt x="91" y="239"/>
                  </a:cubicBezTo>
                  <a:cubicBezTo>
                    <a:pt x="90" y="240"/>
                    <a:pt x="91" y="241"/>
                    <a:pt x="90" y="242"/>
                  </a:cubicBezTo>
                  <a:cubicBezTo>
                    <a:pt x="89" y="242"/>
                    <a:pt x="85" y="241"/>
                    <a:pt x="85" y="243"/>
                  </a:cubicBezTo>
                  <a:cubicBezTo>
                    <a:pt x="86" y="243"/>
                    <a:pt x="87" y="243"/>
                    <a:pt x="88" y="243"/>
                  </a:cubicBezTo>
                  <a:cubicBezTo>
                    <a:pt x="88" y="242"/>
                    <a:pt x="90" y="243"/>
                    <a:pt x="90" y="243"/>
                  </a:cubicBezTo>
                  <a:cubicBezTo>
                    <a:pt x="91" y="244"/>
                    <a:pt x="90" y="245"/>
                    <a:pt x="90" y="246"/>
                  </a:cubicBezTo>
                  <a:cubicBezTo>
                    <a:pt x="90" y="247"/>
                    <a:pt x="90" y="247"/>
                    <a:pt x="89" y="248"/>
                  </a:cubicBezTo>
                  <a:cubicBezTo>
                    <a:pt x="89" y="248"/>
                    <a:pt x="88" y="249"/>
                    <a:pt x="88" y="250"/>
                  </a:cubicBezTo>
                  <a:cubicBezTo>
                    <a:pt x="87" y="252"/>
                    <a:pt x="87" y="253"/>
                    <a:pt x="85" y="254"/>
                  </a:cubicBezTo>
                  <a:cubicBezTo>
                    <a:pt x="84" y="255"/>
                    <a:pt x="83" y="256"/>
                    <a:pt x="81" y="256"/>
                  </a:cubicBezTo>
                  <a:cubicBezTo>
                    <a:pt x="81" y="257"/>
                    <a:pt x="80" y="257"/>
                    <a:pt x="79" y="258"/>
                  </a:cubicBezTo>
                  <a:cubicBezTo>
                    <a:pt x="79" y="258"/>
                    <a:pt x="78" y="258"/>
                    <a:pt x="77" y="258"/>
                  </a:cubicBezTo>
                  <a:cubicBezTo>
                    <a:pt x="77" y="258"/>
                    <a:pt x="75" y="258"/>
                    <a:pt x="75" y="259"/>
                  </a:cubicBezTo>
                  <a:cubicBezTo>
                    <a:pt x="73" y="259"/>
                    <a:pt x="73" y="261"/>
                    <a:pt x="72" y="262"/>
                  </a:cubicBezTo>
                  <a:cubicBezTo>
                    <a:pt x="72" y="263"/>
                    <a:pt x="71" y="263"/>
                    <a:pt x="70" y="263"/>
                  </a:cubicBezTo>
                  <a:cubicBezTo>
                    <a:pt x="69" y="264"/>
                    <a:pt x="67" y="265"/>
                    <a:pt x="66" y="265"/>
                  </a:cubicBezTo>
                  <a:cubicBezTo>
                    <a:pt x="65" y="265"/>
                    <a:pt x="63" y="264"/>
                    <a:pt x="62" y="264"/>
                  </a:cubicBezTo>
                  <a:cubicBezTo>
                    <a:pt x="61" y="265"/>
                    <a:pt x="61" y="266"/>
                    <a:pt x="61" y="267"/>
                  </a:cubicBezTo>
                  <a:cubicBezTo>
                    <a:pt x="60" y="267"/>
                    <a:pt x="60" y="267"/>
                    <a:pt x="60" y="267"/>
                  </a:cubicBezTo>
                  <a:cubicBezTo>
                    <a:pt x="60" y="268"/>
                    <a:pt x="60" y="268"/>
                    <a:pt x="60" y="268"/>
                  </a:cubicBezTo>
                  <a:cubicBezTo>
                    <a:pt x="59" y="268"/>
                    <a:pt x="58" y="268"/>
                    <a:pt x="58" y="268"/>
                  </a:cubicBezTo>
                  <a:cubicBezTo>
                    <a:pt x="57" y="268"/>
                    <a:pt x="55" y="268"/>
                    <a:pt x="54" y="268"/>
                  </a:cubicBezTo>
                  <a:cubicBezTo>
                    <a:pt x="51" y="267"/>
                    <a:pt x="47" y="266"/>
                    <a:pt x="44" y="264"/>
                  </a:cubicBezTo>
                  <a:cubicBezTo>
                    <a:pt x="42" y="264"/>
                    <a:pt x="40" y="263"/>
                    <a:pt x="38" y="261"/>
                  </a:cubicBezTo>
                  <a:cubicBezTo>
                    <a:pt x="36" y="260"/>
                    <a:pt x="36" y="259"/>
                    <a:pt x="35" y="257"/>
                  </a:cubicBezTo>
                  <a:cubicBezTo>
                    <a:pt x="37" y="257"/>
                    <a:pt x="39" y="256"/>
                    <a:pt x="39" y="255"/>
                  </a:cubicBezTo>
                  <a:cubicBezTo>
                    <a:pt x="41" y="255"/>
                    <a:pt x="41" y="255"/>
                    <a:pt x="41" y="255"/>
                  </a:cubicBezTo>
                  <a:cubicBezTo>
                    <a:pt x="41" y="254"/>
                    <a:pt x="41" y="252"/>
                    <a:pt x="41" y="250"/>
                  </a:cubicBezTo>
                  <a:cubicBezTo>
                    <a:pt x="42" y="250"/>
                    <a:pt x="42" y="250"/>
                    <a:pt x="42" y="250"/>
                  </a:cubicBezTo>
                  <a:cubicBezTo>
                    <a:pt x="42" y="249"/>
                    <a:pt x="42" y="248"/>
                    <a:pt x="42" y="247"/>
                  </a:cubicBezTo>
                  <a:cubicBezTo>
                    <a:pt x="47" y="249"/>
                    <a:pt x="45" y="245"/>
                    <a:pt x="44" y="242"/>
                  </a:cubicBezTo>
                  <a:cubicBezTo>
                    <a:pt x="44" y="242"/>
                    <a:pt x="44" y="242"/>
                    <a:pt x="44" y="242"/>
                  </a:cubicBezTo>
                  <a:cubicBezTo>
                    <a:pt x="44" y="240"/>
                    <a:pt x="41" y="238"/>
                    <a:pt x="42" y="236"/>
                  </a:cubicBezTo>
                  <a:cubicBezTo>
                    <a:pt x="42" y="235"/>
                    <a:pt x="44" y="232"/>
                    <a:pt x="46" y="232"/>
                  </a:cubicBezTo>
                  <a:cubicBezTo>
                    <a:pt x="46" y="231"/>
                    <a:pt x="46" y="229"/>
                    <a:pt x="46" y="227"/>
                  </a:cubicBezTo>
                  <a:cubicBezTo>
                    <a:pt x="44" y="227"/>
                    <a:pt x="42" y="223"/>
                    <a:pt x="42" y="221"/>
                  </a:cubicBezTo>
                  <a:cubicBezTo>
                    <a:pt x="41" y="219"/>
                    <a:pt x="44" y="220"/>
                    <a:pt x="45" y="218"/>
                  </a:cubicBezTo>
                  <a:cubicBezTo>
                    <a:pt x="47" y="215"/>
                    <a:pt x="46" y="206"/>
                    <a:pt x="50" y="207"/>
                  </a:cubicBezTo>
                  <a:cubicBezTo>
                    <a:pt x="50" y="205"/>
                    <a:pt x="51" y="200"/>
                    <a:pt x="53" y="199"/>
                  </a:cubicBezTo>
                  <a:cubicBezTo>
                    <a:pt x="56" y="197"/>
                    <a:pt x="52" y="196"/>
                    <a:pt x="52" y="193"/>
                  </a:cubicBezTo>
                  <a:cubicBezTo>
                    <a:pt x="50" y="193"/>
                    <a:pt x="50" y="194"/>
                    <a:pt x="49" y="195"/>
                  </a:cubicBezTo>
                  <a:cubicBezTo>
                    <a:pt x="46" y="195"/>
                    <a:pt x="45" y="192"/>
                    <a:pt x="43" y="192"/>
                  </a:cubicBezTo>
                  <a:cubicBezTo>
                    <a:pt x="46" y="192"/>
                    <a:pt x="43" y="185"/>
                    <a:pt x="47" y="184"/>
                  </a:cubicBezTo>
                  <a:cubicBezTo>
                    <a:pt x="47" y="183"/>
                    <a:pt x="47" y="182"/>
                    <a:pt x="47" y="181"/>
                  </a:cubicBezTo>
                  <a:cubicBezTo>
                    <a:pt x="46" y="181"/>
                    <a:pt x="46" y="181"/>
                    <a:pt x="46" y="181"/>
                  </a:cubicBezTo>
                  <a:cubicBezTo>
                    <a:pt x="46" y="177"/>
                    <a:pt x="54" y="172"/>
                    <a:pt x="47" y="170"/>
                  </a:cubicBezTo>
                  <a:cubicBezTo>
                    <a:pt x="47" y="169"/>
                    <a:pt x="46" y="169"/>
                    <a:pt x="46" y="167"/>
                  </a:cubicBezTo>
                  <a:cubicBezTo>
                    <a:pt x="51" y="168"/>
                    <a:pt x="50" y="158"/>
                    <a:pt x="47" y="157"/>
                  </a:cubicBezTo>
                  <a:cubicBezTo>
                    <a:pt x="45" y="156"/>
                    <a:pt x="42" y="156"/>
                    <a:pt x="41" y="158"/>
                  </a:cubicBezTo>
                  <a:cubicBezTo>
                    <a:pt x="39" y="160"/>
                    <a:pt x="35" y="159"/>
                    <a:pt x="35" y="162"/>
                  </a:cubicBezTo>
                  <a:cubicBezTo>
                    <a:pt x="35" y="163"/>
                    <a:pt x="34" y="163"/>
                    <a:pt x="34" y="163"/>
                  </a:cubicBezTo>
                  <a:cubicBezTo>
                    <a:pt x="33" y="160"/>
                    <a:pt x="31" y="161"/>
                    <a:pt x="30" y="160"/>
                  </a:cubicBezTo>
                  <a:cubicBezTo>
                    <a:pt x="28" y="159"/>
                    <a:pt x="28" y="156"/>
                    <a:pt x="28" y="154"/>
                  </a:cubicBezTo>
                  <a:cubicBezTo>
                    <a:pt x="27" y="151"/>
                    <a:pt x="27" y="149"/>
                    <a:pt x="28" y="147"/>
                  </a:cubicBezTo>
                  <a:cubicBezTo>
                    <a:pt x="29" y="144"/>
                    <a:pt x="28" y="141"/>
                    <a:pt x="30" y="139"/>
                  </a:cubicBezTo>
                  <a:cubicBezTo>
                    <a:pt x="31" y="137"/>
                    <a:pt x="31" y="133"/>
                    <a:pt x="29" y="131"/>
                  </a:cubicBezTo>
                  <a:cubicBezTo>
                    <a:pt x="28" y="130"/>
                    <a:pt x="22" y="127"/>
                    <a:pt x="20" y="127"/>
                  </a:cubicBezTo>
                  <a:cubicBezTo>
                    <a:pt x="21" y="125"/>
                    <a:pt x="20" y="123"/>
                    <a:pt x="21" y="121"/>
                  </a:cubicBezTo>
                  <a:cubicBezTo>
                    <a:pt x="22" y="121"/>
                    <a:pt x="23" y="121"/>
                    <a:pt x="23" y="121"/>
                  </a:cubicBezTo>
                  <a:cubicBezTo>
                    <a:pt x="24" y="119"/>
                    <a:pt x="25" y="114"/>
                    <a:pt x="22" y="113"/>
                  </a:cubicBezTo>
                  <a:cubicBezTo>
                    <a:pt x="18" y="111"/>
                    <a:pt x="13" y="113"/>
                    <a:pt x="9" y="112"/>
                  </a:cubicBezTo>
                  <a:cubicBezTo>
                    <a:pt x="10" y="112"/>
                    <a:pt x="10" y="112"/>
                    <a:pt x="10" y="112"/>
                  </a:cubicBezTo>
                  <a:cubicBezTo>
                    <a:pt x="10" y="111"/>
                    <a:pt x="13" y="106"/>
                    <a:pt x="15" y="106"/>
                  </a:cubicBezTo>
                  <a:cubicBezTo>
                    <a:pt x="15" y="104"/>
                    <a:pt x="13" y="104"/>
                    <a:pt x="12" y="104"/>
                  </a:cubicBezTo>
                  <a:cubicBezTo>
                    <a:pt x="11" y="103"/>
                    <a:pt x="10" y="102"/>
                    <a:pt x="9" y="101"/>
                  </a:cubicBezTo>
                  <a:cubicBezTo>
                    <a:pt x="8" y="100"/>
                    <a:pt x="6" y="101"/>
                    <a:pt x="5" y="100"/>
                  </a:cubicBezTo>
                  <a:cubicBezTo>
                    <a:pt x="4" y="98"/>
                    <a:pt x="2" y="99"/>
                    <a:pt x="0" y="99"/>
                  </a:cubicBezTo>
                  <a:cubicBezTo>
                    <a:pt x="0" y="96"/>
                    <a:pt x="0" y="94"/>
                    <a:pt x="0" y="91"/>
                  </a:cubicBezTo>
                  <a:cubicBezTo>
                    <a:pt x="2" y="92"/>
                    <a:pt x="3" y="93"/>
                    <a:pt x="6" y="93"/>
                  </a:cubicBezTo>
                  <a:cubicBezTo>
                    <a:pt x="6" y="90"/>
                    <a:pt x="10" y="92"/>
                    <a:pt x="10" y="88"/>
                  </a:cubicBezTo>
                  <a:cubicBezTo>
                    <a:pt x="12" y="88"/>
                    <a:pt x="15" y="87"/>
                    <a:pt x="16" y="88"/>
                  </a:cubicBezTo>
                  <a:cubicBezTo>
                    <a:pt x="17" y="89"/>
                    <a:pt x="17" y="93"/>
                    <a:pt x="17" y="93"/>
                  </a:cubicBezTo>
                  <a:cubicBezTo>
                    <a:pt x="18" y="93"/>
                    <a:pt x="19" y="92"/>
                    <a:pt x="21" y="92"/>
                  </a:cubicBezTo>
                  <a:cubicBezTo>
                    <a:pt x="22" y="92"/>
                    <a:pt x="24" y="92"/>
                    <a:pt x="26" y="92"/>
                  </a:cubicBezTo>
                  <a:cubicBezTo>
                    <a:pt x="31" y="92"/>
                    <a:pt x="31" y="92"/>
                    <a:pt x="32" y="88"/>
                  </a:cubicBezTo>
                  <a:cubicBezTo>
                    <a:pt x="32" y="85"/>
                    <a:pt x="35" y="83"/>
                    <a:pt x="38" y="83"/>
                  </a:cubicBezTo>
                  <a:cubicBezTo>
                    <a:pt x="39" y="83"/>
                    <a:pt x="41" y="82"/>
                    <a:pt x="42" y="83"/>
                  </a:cubicBezTo>
                  <a:cubicBezTo>
                    <a:pt x="43" y="84"/>
                    <a:pt x="44" y="86"/>
                    <a:pt x="45" y="86"/>
                  </a:cubicBezTo>
                  <a:cubicBezTo>
                    <a:pt x="45" y="85"/>
                    <a:pt x="46" y="84"/>
                    <a:pt x="45" y="84"/>
                  </a:cubicBezTo>
                  <a:cubicBezTo>
                    <a:pt x="49" y="83"/>
                    <a:pt x="51" y="83"/>
                    <a:pt x="54" y="84"/>
                  </a:cubicBezTo>
                  <a:cubicBezTo>
                    <a:pt x="56" y="84"/>
                    <a:pt x="60" y="86"/>
                    <a:pt x="62" y="86"/>
                  </a:cubicBezTo>
                  <a:cubicBezTo>
                    <a:pt x="62" y="84"/>
                    <a:pt x="62" y="81"/>
                    <a:pt x="64" y="79"/>
                  </a:cubicBezTo>
                  <a:cubicBezTo>
                    <a:pt x="67" y="77"/>
                    <a:pt x="71" y="77"/>
                    <a:pt x="74" y="77"/>
                  </a:cubicBezTo>
                  <a:cubicBezTo>
                    <a:pt x="74" y="76"/>
                    <a:pt x="74" y="74"/>
                    <a:pt x="75" y="74"/>
                  </a:cubicBezTo>
                  <a:cubicBezTo>
                    <a:pt x="76" y="73"/>
                    <a:pt x="77" y="73"/>
                    <a:pt x="77" y="72"/>
                  </a:cubicBezTo>
                  <a:cubicBezTo>
                    <a:pt x="77" y="70"/>
                    <a:pt x="78" y="68"/>
                    <a:pt x="77" y="66"/>
                  </a:cubicBezTo>
                  <a:cubicBezTo>
                    <a:pt x="76" y="62"/>
                    <a:pt x="66" y="65"/>
                    <a:pt x="63" y="62"/>
                  </a:cubicBezTo>
                  <a:cubicBezTo>
                    <a:pt x="65" y="61"/>
                    <a:pt x="69" y="59"/>
                    <a:pt x="70" y="58"/>
                  </a:cubicBezTo>
                  <a:cubicBezTo>
                    <a:pt x="72" y="56"/>
                    <a:pt x="71" y="52"/>
                    <a:pt x="71" y="50"/>
                  </a:cubicBezTo>
                  <a:cubicBezTo>
                    <a:pt x="71" y="50"/>
                    <a:pt x="70" y="50"/>
                    <a:pt x="70" y="50"/>
                  </a:cubicBezTo>
                  <a:cubicBezTo>
                    <a:pt x="71" y="47"/>
                    <a:pt x="70" y="44"/>
                    <a:pt x="70" y="42"/>
                  </a:cubicBezTo>
                  <a:cubicBezTo>
                    <a:pt x="73" y="42"/>
                    <a:pt x="78" y="43"/>
                    <a:pt x="79" y="40"/>
                  </a:cubicBezTo>
                  <a:cubicBezTo>
                    <a:pt x="81" y="38"/>
                    <a:pt x="81" y="35"/>
                    <a:pt x="81" y="33"/>
                  </a:cubicBezTo>
                  <a:cubicBezTo>
                    <a:pt x="82" y="31"/>
                    <a:pt x="88" y="33"/>
                    <a:pt x="89" y="34"/>
                  </a:cubicBezTo>
                  <a:cubicBezTo>
                    <a:pt x="92" y="38"/>
                    <a:pt x="92" y="32"/>
                    <a:pt x="95" y="33"/>
                  </a:cubicBezTo>
                  <a:cubicBezTo>
                    <a:pt x="96" y="34"/>
                    <a:pt x="97" y="36"/>
                    <a:pt x="98" y="36"/>
                  </a:cubicBezTo>
                  <a:cubicBezTo>
                    <a:pt x="100" y="37"/>
                    <a:pt x="101" y="37"/>
                    <a:pt x="102" y="37"/>
                  </a:cubicBezTo>
                  <a:cubicBezTo>
                    <a:pt x="103" y="38"/>
                    <a:pt x="103" y="40"/>
                    <a:pt x="103" y="40"/>
                  </a:cubicBezTo>
                  <a:cubicBezTo>
                    <a:pt x="104" y="42"/>
                    <a:pt x="107" y="43"/>
                    <a:pt x="109" y="44"/>
                  </a:cubicBezTo>
                  <a:cubicBezTo>
                    <a:pt x="112" y="46"/>
                    <a:pt x="115" y="42"/>
                    <a:pt x="117" y="40"/>
                  </a:cubicBezTo>
                  <a:cubicBezTo>
                    <a:pt x="119" y="39"/>
                    <a:pt x="120" y="34"/>
                    <a:pt x="123" y="34"/>
                  </a:cubicBezTo>
                  <a:cubicBezTo>
                    <a:pt x="123" y="32"/>
                    <a:pt x="123" y="30"/>
                    <a:pt x="123" y="28"/>
                  </a:cubicBezTo>
                  <a:cubicBezTo>
                    <a:pt x="123" y="28"/>
                    <a:pt x="123" y="28"/>
                    <a:pt x="123" y="28"/>
                  </a:cubicBezTo>
                  <a:cubicBezTo>
                    <a:pt x="122" y="27"/>
                    <a:pt x="123" y="26"/>
                    <a:pt x="123" y="25"/>
                  </a:cubicBezTo>
                  <a:cubicBezTo>
                    <a:pt x="128" y="23"/>
                    <a:pt x="135" y="21"/>
                    <a:pt x="140" y="22"/>
                  </a:cubicBezTo>
                  <a:cubicBezTo>
                    <a:pt x="143" y="23"/>
                    <a:pt x="143" y="26"/>
                    <a:pt x="146" y="26"/>
                  </a:cubicBezTo>
                  <a:cubicBezTo>
                    <a:pt x="148" y="27"/>
                    <a:pt x="151" y="26"/>
                    <a:pt x="151" y="24"/>
                  </a:cubicBezTo>
                  <a:cubicBezTo>
                    <a:pt x="151" y="24"/>
                    <a:pt x="152" y="24"/>
                    <a:pt x="153" y="24"/>
                  </a:cubicBezTo>
                  <a:cubicBezTo>
                    <a:pt x="153" y="18"/>
                    <a:pt x="156" y="25"/>
                    <a:pt x="158" y="22"/>
                  </a:cubicBezTo>
                  <a:cubicBezTo>
                    <a:pt x="159" y="20"/>
                    <a:pt x="159" y="19"/>
                    <a:pt x="161" y="19"/>
                  </a:cubicBezTo>
                  <a:cubicBezTo>
                    <a:pt x="164" y="18"/>
                    <a:pt x="161" y="15"/>
                    <a:pt x="164" y="14"/>
                  </a:cubicBezTo>
                  <a:cubicBezTo>
                    <a:pt x="159" y="12"/>
                    <a:pt x="163" y="11"/>
                    <a:pt x="166" y="11"/>
                  </a:cubicBezTo>
                  <a:cubicBezTo>
                    <a:pt x="170" y="12"/>
                    <a:pt x="170" y="13"/>
                    <a:pt x="170" y="16"/>
                  </a:cubicBezTo>
                  <a:cubicBezTo>
                    <a:pt x="171" y="16"/>
                    <a:pt x="172" y="16"/>
                    <a:pt x="173" y="15"/>
                  </a:cubicBezTo>
                  <a:cubicBezTo>
                    <a:pt x="173" y="11"/>
                    <a:pt x="177" y="15"/>
                    <a:pt x="177" y="18"/>
                  </a:cubicBezTo>
                  <a:cubicBezTo>
                    <a:pt x="178" y="18"/>
                    <a:pt x="180" y="18"/>
                    <a:pt x="181" y="18"/>
                  </a:cubicBezTo>
                  <a:cubicBezTo>
                    <a:pt x="181" y="13"/>
                    <a:pt x="184" y="14"/>
                    <a:pt x="188" y="14"/>
                  </a:cubicBezTo>
                  <a:cubicBezTo>
                    <a:pt x="188" y="13"/>
                    <a:pt x="186" y="12"/>
                    <a:pt x="187" y="11"/>
                  </a:cubicBezTo>
                  <a:cubicBezTo>
                    <a:pt x="190" y="9"/>
                    <a:pt x="189" y="5"/>
                    <a:pt x="193" y="5"/>
                  </a:cubicBezTo>
                  <a:cubicBezTo>
                    <a:pt x="193" y="4"/>
                    <a:pt x="193" y="2"/>
                    <a:pt x="193" y="1"/>
                  </a:cubicBezTo>
                  <a:cubicBezTo>
                    <a:pt x="194" y="0"/>
                    <a:pt x="195" y="1"/>
                    <a:pt x="196" y="1"/>
                  </a:cubicBezTo>
                  <a:cubicBezTo>
                    <a:pt x="197" y="2"/>
                    <a:pt x="197" y="2"/>
                    <a:pt x="197" y="2"/>
                  </a:cubicBezTo>
                  <a:cubicBezTo>
                    <a:pt x="197" y="2"/>
                    <a:pt x="197" y="3"/>
                    <a:pt x="197" y="4"/>
                  </a:cubicBezTo>
                  <a:cubicBezTo>
                    <a:pt x="199" y="4"/>
                    <a:pt x="199" y="3"/>
                    <a:pt x="200" y="2"/>
                  </a:cubicBezTo>
                  <a:cubicBezTo>
                    <a:pt x="201" y="2"/>
                    <a:pt x="201" y="2"/>
                    <a:pt x="202" y="2"/>
                  </a:cubicBezTo>
                  <a:cubicBezTo>
                    <a:pt x="202" y="3"/>
                    <a:pt x="202" y="3"/>
                    <a:pt x="202" y="3"/>
                  </a:cubicBezTo>
                  <a:cubicBezTo>
                    <a:pt x="204" y="3"/>
                    <a:pt x="205" y="4"/>
                    <a:pt x="205" y="6"/>
                  </a:cubicBezTo>
                  <a:cubicBezTo>
                    <a:pt x="205" y="8"/>
                    <a:pt x="208" y="9"/>
                    <a:pt x="208" y="12"/>
                  </a:cubicBezTo>
                  <a:cubicBezTo>
                    <a:pt x="209" y="15"/>
                    <a:pt x="209" y="19"/>
                    <a:pt x="209" y="22"/>
                  </a:cubicBezTo>
                  <a:cubicBezTo>
                    <a:pt x="209" y="26"/>
                    <a:pt x="205" y="29"/>
                    <a:pt x="205" y="33"/>
                  </a:cubicBezTo>
                  <a:cubicBezTo>
                    <a:pt x="205" y="35"/>
                    <a:pt x="205" y="37"/>
                    <a:pt x="205" y="39"/>
                  </a:cubicBezTo>
                  <a:cubicBezTo>
                    <a:pt x="205" y="41"/>
                    <a:pt x="204" y="42"/>
                    <a:pt x="203" y="44"/>
                  </a:cubicBezTo>
                  <a:cubicBezTo>
                    <a:pt x="202" y="46"/>
                    <a:pt x="200" y="54"/>
                    <a:pt x="197" y="53"/>
                  </a:cubicBezTo>
                  <a:cubicBezTo>
                    <a:pt x="197" y="53"/>
                    <a:pt x="196" y="53"/>
                    <a:pt x="196" y="52"/>
                  </a:cubicBezTo>
                  <a:cubicBezTo>
                    <a:pt x="195" y="52"/>
                    <a:pt x="194" y="52"/>
                    <a:pt x="194" y="52"/>
                  </a:cubicBezTo>
                  <a:cubicBezTo>
                    <a:pt x="194" y="52"/>
                    <a:pt x="195" y="53"/>
                    <a:pt x="195" y="53"/>
                  </a:cubicBezTo>
                  <a:cubicBezTo>
                    <a:pt x="196" y="54"/>
                    <a:pt x="197" y="54"/>
                    <a:pt x="197" y="55"/>
                  </a:cubicBezTo>
                  <a:cubicBezTo>
                    <a:pt x="198" y="56"/>
                    <a:pt x="198" y="57"/>
                    <a:pt x="197" y="58"/>
                  </a:cubicBezTo>
                  <a:cubicBezTo>
                    <a:pt x="196" y="58"/>
                    <a:pt x="196" y="59"/>
                    <a:pt x="195" y="60"/>
                  </a:cubicBezTo>
                  <a:cubicBezTo>
                    <a:pt x="195" y="60"/>
                    <a:pt x="195" y="61"/>
                    <a:pt x="194" y="62"/>
                  </a:cubicBezTo>
                  <a:cubicBezTo>
                    <a:pt x="193" y="63"/>
                    <a:pt x="191" y="65"/>
                    <a:pt x="189" y="66"/>
                  </a:cubicBezTo>
                  <a:cubicBezTo>
                    <a:pt x="189" y="66"/>
                    <a:pt x="188" y="67"/>
                    <a:pt x="187" y="67"/>
                  </a:cubicBezTo>
                  <a:cubicBezTo>
                    <a:pt x="187" y="68"/>
                    <a:pt x="187" y="68"/>
                    <a:pt x="187" y="69"/>
                  </a:cubicBezTo>
                  <a:cubicBezTo>
                    <a:pt x="187" y="70"/>
                    <a:pt x="186" y="70"/>
                    <a:pt x="186" y="70"/>
                  </a:cubicBezTo>
                  <a:cubicBezTo>
                    <a:pt x="186" y="71"/>
                    <a:pt x="186" y="71"/>
                    <a:pt x="186" y="71"/>
                  </a:cubicBezTo>
                  <a:cubicBezTo>
                    <a:pt x="186" y="72"/>
                    <a:pt x="186" y="72"/>
                    <a:pt x="185" y="72"/>
                  </a:cubicBezTo>
                  <a:cubicBezTo>
                    <a:pt x="185" y="72"/>
                    <a:pt x="185" y="71"/>
                    <a:pt x="184" y="70"/>
                  </a:cubicBezTo>
                  <a:cubicBezTo>
                    <a:pt x="183" y="70"/>
                    <a:pt x="181" y="71"/>
                    <a:pt x="181" y="72"/>
                  </a:cubicBezTo>
                  <a:cubicBezTo>
                    <a:pt x="181" y="74"/>
                    <a:pt x="184" y="72"/>
                    <a:pt x="184" y="73"/>
                  </a:cubicBezTo>
                  <a:cubicBezTo>
                    <a:pt x="184" y="74"/>
                    <a:pt x="184" y="75"/>
                    <a:pt x="184" y="76"/>
                  </a:cubicBezTo>
                  <a:cubicBezTo>
                    <a:pt x="183" y="77"/>
                    <a:pt x="183" y="78"/>
                    <a:pt x="183" y="79"/>
                  </a:cubicBezTo>
                  <a:cubicBezTo>
                    <a:pt x="182" y="81"/>
                    <a:pt x="181" y="82"/>
                    <a:pt x="181" y="84"/>
                  </a:cubicBezTo>
                  <a:cubicBezTo>
                    <a:pt x="180" y="85"/>
                    <a:pt x="180" y="88"/>
                    <a:pt x="180" y="89"/>
                  </a:cubicBezTo>
                  <a:cubicBezTo>
                    <a:pt x="180" y="91"/>
                    <a:pt x="180" y="93"/>
                    <a:pt x="180" y="95"/>
                  </a:cubicBezTo>
                  <a:cubicBezTo>
                    <a:pt x="179" y="97"/>
                    <a:pt x="178" y="102"/>
                    <a:pt x="180" y="104"/>
                  </a:cubicBezTo>
                  <a:cubicBezTo>
                    <a:pt x="180" y="105"/>
                    <a:pt x="180" y="104"/>
                    <a:pt x="181" y="105"/>
                  </a:cubicBezTo>
                  <a:cubicBezTo>
                    <a:pt x="181" y="106"/>
                    <a:pt x="180" y="107"/>
                    <a:pt x="180" y="108"/>
                  </a:cubicBezTo>
                  <a:cubicBezTo>
                    <a:pt x="181" y="108"/>
                    <a:pt x="181" y="108"/>
                    <a:pt x="181" y="109"/>
                  </a:cubicBezTo>
                  <a:cubicBezTo>
                    <a:pt x="182" y="111"/>
                    <a:pt x="182" y="114"/>
                    <a:pt x="182" y="117"/>
                  </a:cubicBezTo>
                  <a:cubicBezTo>
                    <a:pt x="181" y="122"/>
                    <a:pt x="181" y="127"/>
                    <a:pt x="181" y="132"/>
                  </a:cubicBezTo>
                  <a:cubicBezTo>
                    <a:pt x="182" y="138"/>
                    <a:pt x="182" y="143"/>
                    <a:pt x="182" y="149"/>
                  </a:cubicBezTo>
                  <a:cubicBezTo>
                    <a:pt x="182" y="152"/>
                    <a:pt x="183" y="155"/>
                    <a:pt x="182" y="158"/>
                  </a:cubicBezTo>
                  <a:cubicBezTo>
                    <a:pt x="182" y="159"/>
                    <a:pt x="182" y="159"/>
                    <a:pt x="182" y="160"/>
                  </a:cubicBezTo>
                  <a:cubicBezTo>
                    <a:pt x="182" y="160"/>
                    <a:pt x="182" y="160"/>
                    <a:pt x="182" y="161"/>
                  </a:cubicBezTo>
                  <a:cubicBezTo>
                    <a:pt x="181" y="161"/>
                    <a:pt x="182" y="162"/>
                    <a:pt x="182" y="162"/>
                  </a:cubicBezTo>
                  <a:cubicBezTo>
                    <a:pt x="181" y="162"/>
                    <a:pt x="181" y="162"/>
                    <a:pt x="181" y="162"/>
                  </a:cubicBezTo>
                  <a:cubicBezTo>
                    <a:pt x="181" y="163"/>
                    <a:pt x="181" y="163"/>
                    <a:pt x="181" y="163"/>
                  </a:cubicBezTo>
                  <a:cubicBezTo>
                    <a:pt x="181" y="162"/>
                    <a:pt x="181" y="162"/>
                    <a:pt x="181" y="162"/>
                  </a:cubicBezTo>
                  <a:cubicBezTo>
                    <a:pt x="180" y="162"/>
                    <a:pt x="179" y="163"/>
                    <a:pt x="179" y="162"/>
                  </a:cubicBezTo>
                  <a:cubicBezTo>
                    <a:pt x="180" y="162"/>
                    <a:pt x="182" y="161"/>
                    <a:pt x="181" y="160"/>
                  </a:cubicBezTo>
                  <a:cubicBezTo>
                    <a:pt x="180" y="159"/>
                    <a:pt x="179" y="160"/>
                    <a:pt x="178" y="160"/>
                  </a:cubicBezTo>
                  <a:cubicBezTo>
                    <a:pt x="178" y="160"/>
                    <a:pt x="177" y="159"/>
                    <a:pt x="176" y="159"/>
                  </a:cubicBezTo>
                  <a:cubicBezTo>
                    <a:pt x="176" y="159"/>
                    <a:pt x="175" y="159"/>
                    <a:pt x="174" y="159"/>
                  </a:cubicBezTo>
                  <a:cubicBezTo>
                    <a:pt x="172" y="159"/>
                    <a:pt x="170" y="159"/>
                    <a:pt x="168" y="159"/>
                  </a:cubicBezTo>
                  <a:cubicBezTo>
                    <a:pt x="168" y="158"/>
                    <a:pt x="167" y="158"/>
                    <a:pt x="166" y="159"/>
                  </a:cubicBezTo>
                  <a:cubicBezTo>
                    <a:pt x="167" y="160"/>
                    <a:pt x="167" y="161"/>
                    <a:pt x="167" y="161"/>
                  </a:cubicBezTo>
                  <a:cubicBezTo>
                    <a:pt x="166" y="162"/>
                    <a:pt x="165" y="161"/>
                    <a:pt x="164" y="161"/>
                  </a:cubicBezTo>
                  <a:cubicBezTo>
                    <a:pt x="163" y="161"/>
                    <a:pt x="163" y="161"/>
                    <a:pt x="162" y="161"/>
                  </a:cubicBezTo>
                  <a:cubicBezTo>
                    <a:pt x="161" y="160"/>
                    <a:pt x="160" y="160"/>
                    <a:pt x="160" y="160"/>
                  </a:cubicBezTo>
                  <a:cubicBezTo>
                    <a:pt x="158" y="160"/>
                    <a:pt x="157" y="160"/>
                    <a:pt x="156" y="161"/>
                  </a:cubicBezTo>
                  <a:cubicBezTo>
                    <a:pt x="155" y="161"/>
                    <a:pt x="153" y="163"/>
                    <a:pt x="152" y="164"/>
                  </a:cubicBezTo>
                  <a:cubicBezTo>
                    <a:pt x="152" y="165"/>
                    <a:pt x="152" y="166"/>
                    <a:pt x="152" y="167"/>
                  </a:cubicBezTo>
                  <a:cubicBezTo>
                    <a:pt x="150" y="166"/>
                    <a:pt x="150" y="171"/>
                    <a:pt x="150" y="172"/>
                  </a:cubicBezTo>
                  <a:cubicBezTo>
                    <a:pt x="151" y="172"/>
                    <a:pt x="153" y="173"/>
                    <a:pt x="151" y="174"/>
                  </a:cubicBezTo>
                  <a:cubicBezTo>
                    <a:pt x="151" y="175"/>
                    <a:pt x="150" y="174"/>
                    <a:pt x="149" y="175"/>
                  </a:cubicBezTo>
                  <a:cubicBezTo>
                    <a:pt x="149" y="175"/>
                    <a:pt x="148" y="176"/>
                    <a:pt x="148" y="177"/>
                  </a:cubicBezTo>
                  <a:cubicBezTo>
                    <a:pt x="146" y="179"/>
                    <a:pt x="143" y="180"/>
                    <a:pt x="143" y="183"/>
                  </a:cubicBezTo>
                  <a:cubicBezTo>
                    <a:pt x="141" y="184"/>
                    <a:pt x="140" y="186"/>
                    <a:pt x="139" y="188"/>
                  </a:cubicBezTo>
                  <a:cubicBezTo>
                    <a:pt x="139" y="190"/>
                    <a:pt x="136" y="191"/>
                    <a:pt x="135" y="193"/>
                  </a:cubicBezTo>
                  <a:cubicBezTo>
                    <a:pt x="133" y="196"/>
                    <a:pt x="130" y="204"/>
                    <a:pt x="135" y="206"/>
                  </a:cubicBezTo>
                  <a:cubicBezTo>
                    <a:pt x="137" y="207"/>
                    <a:pt x="138" y="207"/>
                    <a:pt x="139" y="208"/>
                  </a:cubicBezTo>
                  <a:cubicBezTo>
                    <a:pt x="139" y="209"/>
                    <a:pt x="140" y="209"/>
                    <a:pt x="141" y="209"/>
                  </a:cubicBezTo>
                  <a:cubicBezTo>
                    <a:pt x="141" y="209"/>
                    <a:pt x="141" y="210"/>
                    <a:pt x="142" y="210"/>
                  </a:cubicBezTo>
                  <a:cubicBezTo>
                    <a:pt x="142" y="210"/>
                    <a:pt x="143" y="211"/>
                    <a:pt x="144" y="211"/>
                  </a:cubicBezTo>
                  <a:cubicBezTo>
                    <a:pt x="143" y="211"/>
                    <a:pt x="142" y="212"/>
                    <a:pt x="141" y="212"/>
                  </a:cubicBezTo>
                  <a:cubicBezTo>
                    <a:pt x="139" y="212"/>
                    <a:pt x="137" y="211"/>
                    <a:pt x="136" y="211"/>
                  </a:cubicBezTo>
                  <a:cubicBezTo>
                    <a:pt x="133" y="211"/>
                    <a:pt x="130" y="211"/>
                    <a:pt x="128" y="212"/>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78" name="Freeform 306"/>
            <p:cNvSpPr>
              <a:spLocks/>
            </p:cNvSpPr>
            <p:nvPr/>
          </p:nvSpPr>
          <p:spPr bwMode="auto">
            <a:xfrm>
              <a:off x="4146551" y="5243513"/>
              <a:ext cx="6350" cy="4763"/>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1" y="1"/>
                    <a:pt x="0" y="0"/>
                  </a:cubicBezTo>
                  <a:cubicBezTo>
                    <a:pt x="1" y="1"/>
                    <a:pt x="1" y="1"/>
                    <a:pt x="2" y="1"/>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79" name="Freeform 307"/>
            <p:cNvSpPr>
              <a:spLocks/>
            </p:cNvSpPr>
            <p:nvPr/>
          </p:nvSpPr>
          <p:spPr bwMode="auto">
            <a:xfrm>
              <a:off x="3775076" y="2768601"/>
              <a:ext cx="20638" cy="3175"/>
            </a:xfrm>
            <a:custGeom>
              <a:avLst/>
              <a:gdLst>
                <a:gd name="T0" fmla="*/ 0 w 6"/>
                <a:gd name="T1" fmla="*/ 1 h 1"/>
                <a:gd name="T2" fmla="*/ 1 w 6"/>
                <a:gd name="T3" fmla="*/ 1 h 1"/>
                <a:gd name="T4" fmla="*/ 1 w 6"/>
                <a:gd name="T5" fmla="*/ 1 h 1"/>
                <a:gd name="T6" fmla="*/ 6 w 6"/>
                <a:gd name="T7" fmla="*/ 0 h 1"/>
                <a:gd name="T8" fmla="*/ 6 w 6"/>
                <a:gd name="T9" fmla="*/ 0 h 1"/>
                <a:gd name="T10" fmla="*/ 0 w 6"/>
                <a:gd name="T11" fmla="*/ 1 h 1"/>
              </a:gdLst>
              <a:ahLst/>
              <a:cxnLst>
                <a:cxn ang="0">
                  <a:pos x="T0" y="T1"/>
                </a:cxn>
                <a:cxn ang="0">
                  <a:pos x="T2" y="T3"/>
                </a:cxn>
                <a:cxn ang="0">
                  <a:pos x="T4" y="T5"/>
                </a:cxn>
                <a:cxn ang="0">
                  <a:pos x="T6" y="T7"/>
                </a:cxn>
                <a:cxn ang="0">
                  <a:pos x="T8" y="T9"/>
                </a:cxn>
                <a:cxn ang="0">
                  <a:pos x="T10" y="T11"/>
                </a:cxn>
              </a:cxnLst>
              <a:rect l="0" t="0" r="r" b="b"/>
              <a:pathLst>
                <a:path w="6" h="1">
                  <a:moveTo>
                    <a:pt x="0" y="1"/>
                  </a:moveTo>
                  <a:cubicBezTo>
                    <a:pt x="1" y="1"/>
                    <a:pt x="1" y="1"/>
                    <a:pt x="1" y="1"/>
                  </a:cubicBezTo>
                  <a:cubicBezTo>
                    <a:pt x="1" y="1"/>
                    <a:pt x="1" y="1"/>
                    <a:pt x="1" y="1"/>
                  </a:cubicBezTo>
                  <a:cubicBezTo>
                    <a:pt x="2" y="0"/>
                    <a:pt x="4" y="1"/>
                    <a:pt x="6" y="0"/>
                  </a:cubicBezTo>
                  <a:cubicBezTo>
                    <a:pt x="6" y="0"/>
                    <a:pt x="6" y="0"/>
                    <a:pt x="6" y="0"/>
                  </a:cubicBezTo>
                  <a:cubicBezTo>
                    <a:pt x="4" y="1"/>
                    <a:pt x="2" y="0"/>
                    <a:pt x="0" y="1"/>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80" name="Freeform 308"/>
            <p:cNvSpPr>
              <a:spLocks/>
            </p:cNvSpPr>
            <p:nvPr/>
          </p:nvSpPr>
          <p:spPr bwMode="auto">
            <a:xfrm>
              <a:off x="3795713" y="276860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81" name="Freeform 309"/>
            <p:cNvSpPr>
              <a:spLocks/>
            </p:cNvSpPr>
            <p:nvPr/>
          </p:nvSpPr>
          <p:spPr bwMode="auto">
            <a:xfrm>
              <a:off x="3795713" y="276860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82" name="Freeform 310"/>
            <p:cNvSpPr>
              <a:spLocks/>
            </p:cNvSpPr>
            <p:nvPr/>
          </p:nvSpPr>
          <p:spPr bwMode="auto">
            <a:xfrm>
              <a:off x="3795713" y="2768601"/>
              <a:ext cx="3175" cy="0"/>
            </a:xfrm>
            <a:custGeom>
              <a:avLst/>
              <a:gdLst>
                <a:gd name="T0" fmla="*/ 0 w 2"/>
                <a:gd name="T1" fmla="*/ 2 w 2"/>
                <a:gd name="T2" fmla="*/ 0 w 2"/>
              </a:gdLst>
              <a:ahLst/>
              <a:cxnLst>
                <a:cxn ang="0">
                  <a:pos x="T0" y="0"/>
                </a:cxn>
                <a:cxn ang="0">
                  <a:pos x="T1" y="0"/>
                </a:cxn>
                <a:cxn ang="0">
                  <a:pos x="T2" y="0"/>
                </a:cxn>
              </a:cxnLst>
              <a:rect l="0" t="0" r="r" b="b"/>
              <a:pathLst>
                <a:path w="2">
                  <a:moveTo>
                    <a:pt x="0" y="0"/>
                  </a:moveTo>
                  <a:lnTo>
                    <a:pt x="2" y="0"/>
                  </a:lnTo>
                  <a:lnTo>
                    <a:pt x="0"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83" name="Rectangle 311"/>
            <p:cNvSpPr>
              <a:spLocks noChangeArrowheads="1"/>
            </p:cNvSpPr>
            <p:nvPr/>
          </p:nvSpPr>
          <p:spPr bwMode="auto">
            <a:xfrm>
              <a:off x="3798888" y="2768601"/>
              <a:ext cx="1588" cy="1588"/>
            </a:xfrm>
            <a:prstGeom prst="rect">
              <a:avLst/>
            </a:prstGeom>
            <a:solidFill>
              <a:srgbClr val="68CEF2"/>
            </a:solidFill>
            <a:ln w="3175">
              <a:solidFill>
                <a:schemeClr val="bg1"/>
              </a:solidFill>
              <a:miter lim="800000"/>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84" name="Freeform 312"/>
            <p:cNvSpPr>
              <a:spLocks/>
            </p:cNvSpPr>
            <p:nvPr/>
          </p:nvSpPr>
          <p:spPr bwMode="auto">
            <a:xfrm>
              <a:off x="3562351" y="2432051"/>
              <a:ext cx="6350" cy="4763"/>
            </a:xfrm>
            <a:custGeom>
              <a:avLst/>
              <a:gdLst>
                <a:gd name="T0" fmla="*/ 0 w 2"/>
                <a:gd name="T1" fmla="*/ 0 h 1"/>
                <a:gd name="T2" fmla="*/ 2 w 2"/>
                <a:gd name="T3" fmla="*/ 1 h 1"/>
                <a:gd name="T4" fmla="*/ 0 w 2"/>
                <a:gd name="T5" fmla="*/ 1 h 1"/>
                <a:gd name="T6" fmla="*/ 0 w 2"/>
                <a:gd name="T7" fmla="*/ 0 h 1"/>
              </a:gdLst>
              <a:ahLst/>
              <a:cxnLst>
                <a:cxn ang="0">
                  <a:pos x="T0" y="T1"/>
                </a:cxn>
                <a:cxn ang="0">
                  <a:pos x="T2" y="T3"/>
                </a:cxn>
                <a:cxn ang="0">
                  <a:pos x="T4" y="T5"/>
                </a:cxn>
                <a:cxn ang="0">
                  <a:pos x="T6" y="T7"/>
                </a:cxn>
              </a:cxnLst>
              <a:rect l="0" t="0" r="r" b="b"/>
              <a:pathLst>
                <a:path w="2" h="1">
                  <a:moveTo>
                    <a:pt x="0" y="0"/>
                  </a:moveTo>
                  <a:cubicBezTo>
                    <a:pt x="2" y="1"/>
                    <a:pt x="2" y="1"/>
                    <a:pt x="2" y="1"/>
                  </a:cubicBezTo>
                  <a:cubicBezTo>
                    <a:pt x="1" y="1"/>
                    <a:pt x="1" y="1"/>
                    <a:pt x="0" y="1"/>
                  </a:cubicBezTo>
                  <a:lnTo>
                    <a:pt x="0"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85" name="Freeform 313"/>
            <p:cNvSpPr>
              <a:spLocks/>
            </p:cNvSpPr>
            <p:nvPr/>
          </p:nvSpPr>
          <p:spPr bwMode="auto">
            <a:xfrm>
              <a:off x="3821113" y="2160588"/>
              <a:ext cx="547688" cy="490538"/>
            </a:xfrm>
            <a:custGeom>
              <a:avLst/>
              <a:gdLst>
                <a:gd name="T0" fmla="*/ 65 w 155"/>
                <a:gd name="T1" fmla="*/ 8 h 139"/>
                <a:gd name="T2" fmla="*/ 69 w 155"/>
                <a:gd name="T3" fmla="*/ 3 h 139"/>
                <a:gd name="T4" fmla="*/ 74 w 155"/>
                <a:gd name="T5" fmla="*/ 6 h 139"/>
                <a:gd name="T6" fmla="*/ 80 w 155"/>
                <a:gd name="T7" fmla="*/ 14 h 139"/>
                <a:gd name="T8" fmla="*/ 86 w 155"/>
                <a:gd name="T9" fmla="*/ 21 h 139"/>
                <a:gd name="T10" fmla="*/ 94 w 155"/>
                <a:gd name="T11" fmla="*/ 26 h 139"/>
                <a:gd name="T12" fmla="*/ 104 w 155"/>
                <a:gd name="T13" fmla="*/ 26 h 139"/>
                <a:gd name="T14" fmla="*/ 113 w 155"/>
                <a:gd name="T15" fmla="*/ 33 h 139"/>
                <a:gd name="T16" fmla="*/ 116 w 155"/>
                <a:gd name="T17" fmla="*/ 36 h 139"/>
                <a:gd name="T18" fmla="*/ 120 w 155"/>
                <a:gd name="T19" fmla="*/ 47 h 139"/>
                <a:gd name="T20" fmla="*/ 132 w 155"/>
                <a:gd name="T21" fmla="*/ 49 h 139"/>
                <a:gd name="T22" fmla="*/ 140 w 155"/>
                <a:gd name="T23" fmla="*/ 53 h 139"/>
                <a:gd name="T24" fmla="*/ 148 w 155"/>
                <a:gd name="T25" fmla="*/ 60 h 139"/>
                <a:gd name="T26" fmla="*/ 152 w 155"/>
                <a:gd name="T27" fmla="*/ 67 h 139"/>
                <a:gd name="T28" fmla="*/ 143 w 155"/>
                <a:gd name="T29" fmla="*/ 75 h 139"/>
                <a:gd name="T30" fmla="*/ 137 w 155"/>
                <a:gd name="T31" fmla="*/ 80 h 139"/>
                <a:gd name="T32" fmla="*/ 129 w 155"/>
                <a:gd name="T33" fmla="*/ 86 h 139"/>
                <a:gd name="T34" fmla="*/ 125 w 155"/>
                <a:gd name="T35" fmla="*/ 97 h 139"/>
                <a:gd name="T36" fmla="*/ 125 w 155"/>
                <a:gd name="T37" fmla="*/ 109 h 139"/>
                <a:gd name="T38" fmla="*/ 123 w 155"/>
                <a:gd name="T39" fmla="*/ 111 h 139"/>
                <a:gd name="T40" fmla="*/ 119 w 155"/>
                <a:gd name="T41" fmla="*/ 119 h 139"/>
                <a:gd name="T42" fmla="*/ 111 w 155"/>
                <a:gd name="T43" fmla="*/ 132 h 139"/>
                <a:gd name="T44" fmla="*/ 110 w 155"/>
                <a:gd name="T45" fmla="*/ 138 h 139"/>
                <a:gd name="T46" fmla="*/ 103 w 155"/>
                <a:gd name="T47" fmla="*/ 135 h 139"/>
                <a:gd name="T48" fmla="*/ 100 w 155"/>
                <a:gd name="T49" fmla="*/ 130 h 139"/>
                <a:gd name="T50" fmla="*/ 82 w 155"/>
                <a:gd name="T51" fmla="*/ 130 h 139"/>
                <a:gd name="T52" fmla="*/ 69 w 155"/>
                <a:gd name="T53" fmla="*/ 122 h 139"/>
                <a:gd name="T54" fmla="*/ 57 w 155"/>
                <a:gd name="T55" fmla="*/ 114 h 139"/>
                <a:gd name="T56" fmla="*/ 52 w 155"/>
                <a:gd name="T57" fmla="*/ 106 h 139"/>
                <a:gd name="T58" fmla="*/ 52 w 155"/>
                <a:gd name="T59" fmla="*/ 99 h 139"/>
                <a:gd name="T60" fmla="*/ 37 w 155"/>
                <a:gd name="T61" fmla="*/ 84 h 139"/>
                <a:gd name="T62" fmla="*/ 25 w 155"/>
                <a:gd name="T63" fmla="*/ 88 h 139"/>
                <a:gd name="T64" fmla="*/ 16 w 155"/>
                <a:gd name="T65" fmla="*/ 90 h 139"/>
                <a:gd name="T66" fmla="*/ 7 w 155"/>
                <a:gd name="T67" fmla="*/ 86 h 139"/>
                <a:gd name="T68" fmla="*/ 9 w 155"/>
                <a:gd name="T69" fmla="*/ 71 h 139"/>
                <a:gd name="T70" fmla="*/ 17 w 155"/>
                <a:gd name="T71" fmla="*/ 61 h 139"/>
                <a:gd name="T72" fmla="*/ 1 w 155"/>
                <a:gd name="T73" fmla="*/ 50 h 139"/>
                <a:gd name="T74" fmla="*/ 9 w 155"/>
                <a:gd name="T75" fmla="*/ 47 h 139"/>
                <a:gd name="T76" fmla="*/ 7 w 155"/>
                <a:gd name="T77" fmla="*/ 36 h 139"/>
                <a:gd name="T78" fmla="*/ 11 w 155"/>
                <a:gd name="T79" fmla="*/ 27 h 139"/>
                <a:gd name="T80" fmla="*/ 10 w 155"/>
                <a:gd name="T81" fmla="*/ 23 h 139"/>
                <a:gd name="T82" fmla="*/ 13 w 155"/>
                <a:gd name="T83" fmla="*/ 21 h 139"/>
                <a:gd name="T84" fmla="*/ 24 w 155"/>
                <a:gd name="T85" fmla="*/ 16 h 139"/>
                <a:gd name="T86" fmla="*/ 34 w 155"/>
                <a:gd name="T87" fmla="*/ 10 h 139"/>
                <a:gd name="T88" fmla="*/ 51 w 155"/>
                <a:gd name="T89" fmla="*/ 12 h 139"/>
                <a:gd name="T90" fmla="*/ 68 w 155"/>
                <a:gd name="T91" fmla="*/ 17 h 139"/>
                <a:gd name="T92" fmla="*/ 63 w 155"/>
                <a:gd name="T93" fmla="*/ 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5" h="139">
                  <a:moveTo>
                    <a:pt x="63" y="9"/>
                  </a:moveTo>
                  <a:cubicBezTo>
                    <a:pt x="64" y="9"/>
                    <a:pt x="65" y="9"/>
                    <a:pt x="65" y="8"/>
                  </a:cubicBezTo>
                  <a:cubicBezTo>
                    <a:pt x="66" y="6"/>
                    <a:pt x="65" y="5"/>
                    <a:pt x="67" y="4"/>
                  </a:cubicBezTo>
                  <a:cubicBezTo>
                    <a:pt x="67" y="3"/>
                    <a:pt x="69" y="4"/>
                    <a:pt x="69" y="3"/>
                  </a:cubicBezTo>
                  <a:cubicBezTo>
                    <a:pt x="70" y="2"/>
                    <a:pt x="69" y="1"/>
                    <a:pt x="70" y="0"/>
                  </a:cubicBezTo>
                  <a:cubicBezTo>
                    <a:pt x="71" y="0"/>
                    <a:pt x="76" y="6"/>
                    <a:pt x="74" y="6"/>
                  </a:cubicBezTo>
                  <a:cubicBezTo>
                    <a:pt x="75" y="6"/>
                    <a:pt x="76" y="7"/>
                    <a:pt x="77" y="7"/>
                  </a:cubicBezTo>
                  <a:cubicBezTo>
                    <a:pt x="78" y="10"/>
                    <a:pt x="76" y="13"/>
                    <a:pt x="80" y="14"/>
                  </a:cubicBezTo>
                  <a:cubicBezTo>
                    <a:pt x="82" y="15"/>
                    <a:pt x="81" y="17"/>
                    <a:pt x="82" y="18"/>
                  </a:cubicBezTo>
                  <a:cubicBezTo>
                    <a:pt x="83" y="20"/>
                    <a:pt x="85" y="20"/>
                    <a:pt x="86" y="21"/>
                  </a:cubicBezTo>
                  <a:cubicBezTo>
                    <a:pt x="88" y="23"/>
                    <a:pt x="89" y="28"/>
                    <a:pt x="94" y="27"/>
                  </a:cubicBezTo>
                  <a:cubicBezTo>
                    <a:pt x="94" y="26"/>
                    <a:pt x="94" y="26"/>
                    <a:pt x="94" y="26"/>
                  </a:cubicBezTo>
                  <a:cubicBezTo>
                    <a:pt x="95" y="26"/>
                    <a:pt x="97" y="25"/>
                    <a:pt x="98" y="24"/>
                  </a:cubicBezTo>
                  <a:cubicBezTo>
                    <a:pt x="101" y="24"/>
                    <a:pt x="102" y="26"/>
                    <a:pt x="104" y="26"/>
                  </a:cubicBezTo>
                  <a:cubicBezTo>
                    <a:pt x="104" y="28"/>
                    <a:pt x="107" y="32"/>
                    <a:pt x="109" y="32"/>
                  </a:cubicBezTo>
                  <a:cubicBezTo>
                    <a:pt x="110" y="33"/>
                    <a:pt x="111" y="32"/>
                    <a:pt x="113" y="33"/>
                  </a:cubicBezTo>
                  <a:cubicBezTo>
                    <a:pt x="113" y="33"/>
                    <a:pt x="114" y="33"/>
                    <a:pt x="115" y="34"/>
                  </a:cubicBezTo>
                  <a:cubicBezTo>
                    <a:pt x="116" y="35"/>
                    <a:pt x="115" y="35"/>
                    <a:pt x="116" y="36"/>
                  </a:cubicBezTo>
                  <a:cubicBezTo>
                    <a:pt x="117" y="37"/>
                    <a:pt x="117" y="38"/>
                    <a:pt x="119" y="38"/>
                  </a:cubicBezTo>
                  <a:cubicBezTo>
                    <a:pt x="118" y="41"/>
                    <a:pt x="119" y="45"/>
                    <a:pt x="120" y="47"/>
                  </a:cubicBezTo>
                  <a:cubicBezTo>
                    <a:pt x="121" y="48"/>
                    <a:pt x="124" y="48"/>
                    <a:pt x="126" y="48"/>
                  </a:cubicBezTo>
                  <a:cubicBezTo>
                    <a:pt x="128" y="48"/>
                    <a:pt x="130" y="49"/>
                    <a:pt x="132" y="49"/>
                  </a:cubicBezTo>
                  <a:cubicBezTo>
                    <a:pt x="134" y="50"/>
                    <a:pt x="135" y="51"/>
                    <a:pt x="136" y="52"/>
                  </a:cubicBezTo>
                  <a:cubicBezTo>
                    <a:pt x="138" y="52"/>
                    <a:pt x="138" y="52"/>
                    <a:pt x="140" y="53"/>
                  </a:cubicBezTo>
                  <a:cubicBezTo>
                    <a:pt x="142" y="53"/>
                    <a:pt x="142" y="55"/>
                    <a:pt x="143" y="57"/>
                  </a:cubicBezTo>
                  <a:cubicBezTo>
                    <a:pt x="145" y="60"/>
                    <a:pt x="145" y="60"/>
                    <a:pt x="148" y="60"/>
                  </a:cubicBezTo>
                  <a:cubicBezTo>
                    <a:pt x="150" y="61"/>
                    <a:pt x="151" y="62"/>
                    <a:pt x="152" y="63"/>
                  </a:cubicBezTo>
                  <a:cubicBezTo>
                    <a:pt x="152" y="63"/>
                    <a:pt x="155" y="68"/>
                    <a:pt x="152" y="67"/>
                  </a:cubicBezTo>
                  <a:cubicBezTo>
                    <a:pt x="150" y="67"/>
                    <a:pt x="149" y="67"/>
                    <a:pt x="148" y="69"/>
                  </a:cubicBezTo>
                  <a:cubicBezTo>
                    <a:pt x="147" y="71"/>
                    <a:pt x="144" y="73"/>
                    <a:pt x="143" y="75"/>
                  </a:cubicBezTo>
                  <a:cubicBezTo>
                    <a:pt x="142" y="75"/>
                    <a:pt x="140" y="75"/>
                    <a:pt x="138" y="76"/>
                  </a:cubicBezTo>
                  <a:cubicBezTo>
                    <a:pt x="137" y="77"/>
                    <a:pt x="137" y="79"/>
                    <a:pt x="137" y="80"/>
                  </a:cubicBezTo>
                  <a:cubicBezTo>
                    <a:pt x="136" y="82"/>
                    <a:pt x="135" y="83"/>
                    <a:pt x="133" y="84"/>
                  </a:cubicBezTo>
                  <a:cubicBezTo>
                    <a:pt x="132" y="84"/>
                    <a:pt x="130" y="84"/>
                    <a:pt x="129" y="86"/>
                  </a:cubicBezTo>
                  <a:cubicBezTo>
                    <a:pt x="128" y="88"/>
                    <a:pt x="131" y="93"/>
                    <a:pt x="129" y="95"/>
                  </a:cubicBezTo>
                  <a:cubicBezTo>
                    <a:pt x="127" y="97"/>
                    <a:pt x="126" y="96"/>
                    <a:pt x="125" y="97"/>
                  </a:cubicBezTo>
                  <a:cubicBezTo>
                    <a:pt x="124" y="99"/>
                    <a:pt x="125" y="101"/>
                    <a:pt x="123" y="101"/>
                  </a:cubicBezTo>
                  <a:cubicBezTo>
                    <a:pt x="122" y="104"/>
                    <a:pt x="124" y="107"/>
                    <a:pt x="125" y="109"/>
                  </a:cubicBezTo>
                  <a:cubicBezTo>
                    <a:pt x="126" y="109"/>
                    <a:pt x="126" y="110"/>
                    <a:pt x="126" y="111"/>
                  </a:cubicBezTo>
                  <a:cubicBezTo>
                    <a:pt x="125" y="111"/>
                    <a:pt x="124" y="111"/>
                    <a:pt x="123" y="111"/>
                  </a:cubicBezTo>
                  <a:cubicBezTo>
                    <a:pt x="123" y="112"/>
                    <a:pt x="122" y="112"/>
                    <a:pt x="122" y="113"/>
                  </a:cubicBezTo>
                  <a:cubicBezTo>
                    <a:pt x="121" y="114"/>
                    <a:pt x="120" y="117"/>
                    <a:pt x="119" y="119"/>
                  </a:cubicBezTo>
                  <a:cubicBezTo>
                    <a:pt x="117" y="122"/>
                    <a:pt x="115" y="125"/>
                    <a:pt x="113" y="127"/>
                  </a:cubicBezTo>
                  <a:cubicBezTo>
                    <a:pt x="112" y="128"/>
                    <a:pt x="110" y="130"/>
                    <a:pt x="111" y="132"/>
                  </a:cubicBezTo>
                  <a:cubicBezTo>
                    <a:pt x="111" y="133"/>
                    <a:pt x="112" y="134"/>
                    <a:pt x="113" y="134"/>
                  </a:cubicBezTo>
                  <a:cubicBezTo>
                    <a:pt x="111" y="135"/>
                    <a:pt x="111" y="137"/>
                    <a:pt x="110" y="138"/>
                  </a:cubicBezTo>
                  <a:cubicBezTo>
                    <a:pt x="109" y="139"/>
                    <a:pt x="107" y="138"/>
                    <a:pt x="106" y="138"/>
                  </a:cubicBezTo>
                  <a:cubicBezTo>
                    <a:pt x="107" y="135"/>
                    <a:pt x="103" y="137"/>
                    <a:pt x="103" y="135"/>
                  </a:cubicBezTo>
                  <a:cubicBezTo>
                    <a:pt x="102" y="134"/>
                    <a:pt x="101" y="134"/>
                    <a:pt x="100" y="135"/>
                  </a:cubicBezTo>
                  <a:cubicBezTo>
                    <a:pt x="100" y="133"/>
                    <a:pt x="100" y="132"/>
                    <a:pt x="100" y="130"/>
                  </a:cubicBezTo>
                  <a:cubicBezTo>
                    <a:pt x="97" y="130"/>
                    <a:pt x="94" y="132"/>
                    <a:pt x="90" y="131"/>
                  </a:cubicBezTo>
                  <a:cubicBezTo>
                    <a:pt x="87" y="130"/>
                    <a:pt x="85" y="130"/>
                    <a:pt x="82" y="130"/>
                  </a:cubicBezTo>
                  <a:cubicBezTo>
                    <a:pt x="82" y="127"/>
                    <a:pt x="81" y="127"/>
                    <a:pt x="78" y="126"/>
                  </a:cubicBezTo>
                  <a:cubicBezTo>
                    <a:pt x="75" y="125"/>
                    <a:pt x="72" y="122"/>
                    <a:pt x="69" y="122"/>
                  </a:cubicBezTo>
                  <a:cubicBezTo>
                    <a:pt x="69" y="119"/>
                    <a:pt x="69" y="117"/>
                    <a:pt x="64" y="116"/>
                  </a:cubicBezTo>
                  <a:cubicBezTo>
                    <a:pt x="61" y="116"/>
                    <a:pt x="57" y="118"/>
                    <a:pt x="57" y="114"/>
                  </a:cubicBezTo>
                  <a:cubicBezTo>
                    <a:pt x="54" y="113"/>
                    <a:pt x="54" y="110"/>
                    <a:pt x="51" y="109"/>
                  </a:cubicBezTo>
                  <a:cubicBezTo>
                    <a:pt x="51" y="108"/>
                    <a:pt x="52" y="107"/>
                    <a:pt x="52" y="106"/>
                  </a:cubicBezTo>
                  <a:cubicBezTo>
                    <a:pt x="54" y="106"/>
                    <a:pt x="59" y="106"/>
                    <a:pt x="59" y="104"/>
                  </a:cubicBezTo>
                  <a:cubicBezTo>
                    <a:pt x="58" y="102"/>
                    <a:pt x="53" y="100"/>
                    <a:pt x="52" y="99"/>
                  </a:cubicBezTo>
                  <a:cubicBezTo>
                    <a:pt x="49" y="97"/>
                    <a:pt x="45" y="94"/>
                    <a:pt x="42" y="91"/>
                  </a:cubicBezTo>
                  <a:cubicBezTo>
                    <a:pt x="40" y="89"/>
                    <a:pt x="40" y="86"/>
                    <a:pt x="37" y="84"/>
                  </a:cubicBezTo>
                  <a:cubicBezTo>
                    <a:pt x="34" y="82"/>
                    <a:pt x="32" y="85"/>
                    <a:pt x="29" y="84"/>
                  </a:cubicBezTo>
                  <a:cubicBezTo>
                    <a:pt x="27" y="84"/>
                    <a:pt x="27" y="87"/>
                    <a:pt x="25" y="88"/>
                  </a:cubicBezTo>
                  <a:cubicBezTo>
                    <a:pt x="22" y="89"/>
                    <a:pt x="23" y="91"/>
                    <a:pt x="21" y="93"/>
                  </a:cubicBezTo>
                  <a:cubicBezTo>
                    <a:pt x="19" y="94"/>
                    <a:pt x="17" y="90"/>
                    <a:pt x="16" y="90"/>
                  </a:cubicBezTo>
                  <a:cubicBezTo>
                    <a:pt x="17" y="88"/>
                    <a:pt x="16" y="86"/>
                    <a:pt x="16" y="85"/>
                  </a:cubicBezTo>
                  <a:cubicBezTo>
                    <a:pt x="14" y="86"/>
                    <a:pt x="10" y="87"/>
                    <a:pt x="7" y="86"/>
                  </a:cubicBezTo>
                  <a:cubicBezTo>
                    <a:pt x="6" y="85"/>
                    <a:pt x="6" y="81"/>
                    <a:pt x="5" y="79"/>
                  </a:cubicBezTo>
                  <a:cubicBezTo>
                    <a:pt x="3" y="76"/>
                    <a:pt x="7" y="73"/>
                    <a:pt x="9" y="71"/>
                  </a:cubicBezTo>
                  <a:cubicBezTo>
                    <a:pt x="11" y="69"/>
                    <a:pt x="12" y="65"/>
                    <a:pt x="13" y="62"/>
                  </a:cubicBezTo>
                  <a:cubicBezTo>
                    <a:pt x="14" y="62"/>
                    <a:pt x="15" y="61"/>
                    <a:pt x="17" y="61"/>
                  </a:cubicBezTo>
                  <a:cubicBezTo>
                    <a:pt x="13" y="59"/>
                    <a:pt x="9" y="59"/>
                    <a:pt x="6" y="56"/>
                  </a:cubicBezTo>
                  <a:cubicBezTo>
                    <a:pt x="4" y="55"/>
                    <a:pt x="0" y="53"/>
                    <a:pt x="1" y="50"/>
                  </a:cubicBezTo>
                  <a:cubicBezTo>
                    <a:pt x="3" y="49"/>
                    <a:pt x="3" y="49"/>
                    <a:pt x="3" y="49"/>
                  </a:cubicBezTo>
                  <a:cubicBezTo>
                    <a:pt x="5" y="48"/>
                    <a:pt x="7" y="48"/>
                    <a:pt x="9" y="47"/>
                  </a:cubicBezTo>
                  <a:cubicBezTo>
                    <a:pt x="10" y="46"/>
                    <a:pt x="10" y="43"/>
                    <a:pt x="7" y="43"/>
                  </a:cubicBezTo>
                  <a:cubicBezTo>
                    <a:pt x="8" y="41"/>
                    <a:pt x="10" y="36"/>
                    <a:pt x="7" y="36"/>
                  </a:cubicBezTo>
                  <a:cubicBezTo>
                    <a:pt x="7" y="34"/>
                    <a:pt x="9" y="28"/>
                    <a:pt x="11" y="28"/>
                  </a:cubicBezTo>
                  <a:cubicBezTo>
                    <a:pt x="11" y="27"/>
                    <a:pt x="11" y="27"/>
                    <a:pt x="11" y="27"/>
                  </a:cubicBezTo>
                  <a:cubicBezTo>
                    <a:pt x="11" y="27"/>
                    <a:pt x="11" y="27"/>
                    <a:pt x="11" y="27"/>
                  </a:cubicBezTo>
                  <a:cubicBezTo>
                    <a:pt x="10" y="26"/>
                    <a:pt x="10" y="25"/>
                    <a:pt x="10" y="23"/>
                  </a:cubicBezTo>
                  <a:cubicBezTo>
                    <a:pt x="11" y="23"/>
                    <a:pt x="15" y="24"/>
                    <a:pt x="14" y="21"/>
                  </a:cubicBezTo>
                  <a:cubicBezTo>
                    <a:pt x="14" y="22"/>
                    <a:pt x="13" y="21"/>
                    <a:pt x="13" y="21"/>
                  </a:cubicBezTo>
                  <a:cubicBezTo>
                    <a:pt x="13" y="19"/>
                    <a:pt x="17" y="13"/>
                    <a:pt x="20" y="14"/>
                  </a:cubicBezTo>
                  <a:cubicBezTo>
                    <a:pt x="22" y="15"/>
                    <a:pt x="22" y="17"/>
                    <a:pt x="24" y="16"/>
                  </a:cubicBezTo>
                  <a:cubicBezTo>
                    <a:pt x="25" y="16"/>
                    <a:pt x="26" y="13"/>
                    <a:pt x="26" y="12"/>
                  </a:cubicBezTo>
                  <a:cubicBezTo>
                    <a:pt x="28" y="11"/>
                    <a:pt x="32" y="13"/>
                    <a:pt x="34" y="10"/>
                  </a:cubicBezTo>
                  <a:cubicBezTo>
                    <a:pt x="37" y="10"/>
                    <a:pt x="42" y="11"/>
                    <a:pt x="44" y="11"/>
                  </a:cubicBezTo>
                  <a:cubicBezTo>
                    <a:pt x="47" y="12"/>
                    <a:pt x="48" y="12"/>
                    <a:pt x="51" y="12"/>
                  </a:cubicBezTo>
                  <a:cubicBezTo>
                    <a:pt x="54" y="13"/>
                    <a:pt x="61" y="14"/>
                    <a:pt x="61" y="18"/>
                  </a:cubicBezTo>
                  <a:cubicBezTo>
                    <a:pt x="62" y="18"/>
                    <a:pt x="69" y="18"/>
                    <a:pt x="68" y="17"/>
                  </a:cubicBezTo>
                  <a:cubicBezTo>
                    <a:pt x="68" y="16"/>
                    <a:pt x="67" y="14"/>
                    <a:pt x="66" y="13"/>
                  </a:cubicBezTo>
                  <a:cubicBezTo>
                    <a:pt x="65" y="11"/>
                    <a:pt x="64" y="10"/>
                    <a:pt x="63" y="9"/>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86" name="Freeform 314"/>
            <p:cNvSpPr>
              <a:spLocks/>
            </p:cNvSpPr>
            <p:nvPr/>
          </p:nvSpPr>
          <p:spPr bwMode="auto">
            <a:xfrm>
              <a:off x="4046538" y="219233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87" name="Freeform 315"/>
            <p:cNvSpPr>
              <a:spLocks/>
            </p:cNvSpPr>
            <p:nvPr/>
          </p:nvSpPr>
          <p:spPr bwMode="auto">
            <a:xfrm>
              <a:off x="4046538" y="2192338"/>
              <a:ext cx="3175" cy="0"/>
            </a:xfrm>
            <a:custGeom>
              <a:avLst/>
              <a:gdLst>
                <a:gd name="T0" fmla="*/ 0 w 2"/>
                <a:gd name="T1" fmla="*/ 2 w 2"/>
                <a:gd name="T2" fmla="*/ 0 w 2"/>
              </a:gdLst>
              <a:ahLst/>
              <a:cxnLst>
                <a:cxn ang="0">
                  <a:pos x="T0" y="0"/>
                </a:cxn>
                <a:cxn ang="0">
                  <a:pos x="T1" y="0"/>
                </a:cxn>
                <a:cxn ang="0">
                  <a:pos x="T2" y="0"/>
                </a:cxn>
              </a:cxnLst>
              <a:rect l="0" t="0" r="r" b="b"/>
              <a:pathLst>
                <a:path w="2">
                  <a:moveTo>
                    <a:pt x="0" y="0"/>
                  </a:moveTo>
                  <a:lnTo>
                    <a:pt x="2" y="0"/>
                  </a:lnTo>
                  <a:lnTo>
                    <a:pt x="0"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88" name="Freeform 316"/>
            <p:cNvSpPr>
              <a:spLocks/>
            </p:cNvSpPr>
            <p:nvPr/>
          </p:nvSpPr>
          <p:spPr bwMode="auto">
            <a:xfrm>
              <a:off x="4081463" y="1757363"/>
              <a:ext cx="4763" cy="3175"/>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1"/>
                    <a:pt x="1" y="1"/>
                  </a:cubicBezTo>
                  <a:cubicBezTo>
                    <a:pt x="1" y="1"/>
                    <a:pt x="0" y="0"/>
                    <a:pt x="0" y="0"/>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89" name="Freeform 317"/>
            <p:cNvSpPr>
              <a:spLocks/>
            </p:cNvSpPr>
            <p:nvPr/>
          </p:nvSpPr>
          <p:spPr bwMode="auto">
            <a:xfrm>
              <a:off x="4078288" y="1735138"/>
              <a:ext cx="3175" cy="14288"/>
            </a:xfrm>
            <a:custGeom>
              <a:avLst/>
              <a:gdLst>
                <a:gd name="T0" fmla="*/ 0 w 1"/>
                <a:gd name="T1" fmla="*/ 0 h 4"/>
                <a:gd name="T2" fmla="*/ 0 w 1"/>
                <a:gd name="T3" fmla="*/ 0 h 4"/>
                <a:gd name="T4" fmla="*/ 1 w 1"/>
                <a:gd name="T5" fmla="*/ 4 h 4"/>
                <a:gd name="T6" fmla="*/ 0 w 1"/>
                <a:gd name="T7" fmla="*/ 0 h 4"/>
              </a:gdLst>
              <a:ahLst/>
              <a:cxnLst>
                <a:cxn ang="0">
                  <a:pos x="T0" y="T1"/>
                </a:cxn>
                <a:cxn ang="0">
                  <a:pos x="T2" y="T3"/>
                </a:cxn>
                <a:cxn ang="0">
                  <a:pos x="T4" y="T5"/>
                </a:cxn>
                <a:cxn ang="0">
                  <a:pos x="T6" y="T7"/>
                </a:cxn>
              </a:cxnLst>
              <a:rect l="0" t="0" r="r" b="b"/>
              <a:pathLst>
                <a:path w="1" h="4">
                  <a:moveTo>
                    <a:pt x="0" y="0"/>
                  </a:moveTo>
                  <a:cubicBezTo>
                    <a:pt x="0" y="0"/>
                    <a:pt x="0" y="0"/>
                    <a:pt x="0" y="0"/>
                  </a:cubicBezTo>
                  <a:cubicBezTo>
                    <a:pt x="0" y="1"/>
                    <a:pt x="0" y="3"/>
                    <a:pt x="1" y="4"/>
                  </a:cubicBezTo>
                  <a:cubicBezTo>
                    <a:pt x="0" y="3"/>
                    <a:pt x="0" y="1"/>
                    <a:pt x="0" y="0"/>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90" name="Freeform 318"/>
            <p:cNvSpPr>
              <a:spLocks/>
            </p:cNvSpPr>
            <p:nvPr/>
          </p:nvSpPr>
          <p:spPr bwMode="auto">
            <a:xfrm>
              <a:off x="3994151" y="1987551"/>
              <a:ext cx="3175" cy="3175"/>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1" y="1"/>
                    <a:pt x="1" y="0"/>
                    <a:pt x="0" y="0"/>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91" name="Freeform 319"/>
            <p:cNvSpPr>
              <a:spLocks/>
            </p:cNvSpPr>
            <p:nvPr/>
          </p:nvSpPr>
          <p:spPr bwMode="auto">
            <a:xfrm>
              <a:off x="3990976" y="1979613"/>
              <a:ext cx="3175" cy="3175"/>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1" y="1"/>
                    <a:pt x="1" y="0"/>
                    <a:pt x="0" y="0"/>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92" name="Freeform 320"/>
            <p:cNvSpPr>
              <a:spLocks/>
            </p:cNvSpPr>
            <p:nvPr/>
          </p:nvSpPr>
          <p:spPr bwMode="auto">
            <a:xfrm>
              <a:off x="3527426" y="1838326"/>
              <a:ext cx="536575" cy="506413"/>
            </a:xfrm>
            <a:custGeom>
              <a:avLst/>
              <a:gdLst>
                <a:gd name="T0" fmla="*/ 146 w 152"/>
                <a:gd name="T1" fmla="*/ 100 h 143"/>
                <a:gd name="T2" fmla="*/ 144 w 152"/>
                <a:gd name="T3" fmla="*/ 93 h 143"/>
                <a:gd name="T4" fmla="*/ 140 w 152"/>
                <a:gd name="T5" fmla="*/ 88 h 143"/>
                <a:gd name="T6" fmla="*/ 143 w 152"/>
                <a:gd name="T7" fmla="*/ 79 h 143"/>
                <a:gd name="T8" fmla="*/ 138 w 152"/>
                <a:gd name="T9" fmla="*/ 63 h 143"/>
                <a:gd name="T10" fmla="*/ 135 w 152"/>
                <a:gd name="T11" fmla="*/ 57 h 143"/>
                <a:gd name="T12" fmla="*/ 131 w 152"/>
                <a:gd name="T13" fmla="*/ 51 h 143"/>
                <a:gd name="T14" fmla="*/ 133 w 152"/>
                <a:gd name="T15" fmla="*/ 45 h 143"/>
                <a:gd name="T16" fmla="*/ 132 w 152"/>
                <a:gd name="T17" fmla="*/ 43 h 143"/>
                <a:gd name="T18" fmla="*/ 127 w 152"/>
                <a:gd name="T19" fmla="*/ 40 h 143"/>
                <a:gd name="T20" fmla="*/ 126 w 152"/>
                <a:gd name="T21" fmla="*/ 39 h 143"/>
                <a:gd name="T22" fmla="*/ 122 w 152"/>
                <a:gd name="T23" fmla="*/ 29 h 143"/>
                <a:gd name="T24" fmla="*/ 117 w 152"/>
                <a:gd name="T25" fmla="*/ 31 h 143"/>
                <a:gd name="T26" fmla="*/ 109 w 152"/>
                <a:gd name="T27" fmla="*/ 30 h 143"/>
                <a:gd name="T28" fmla="*/ 106 w 152"/>
                <a:gd name="T29" fmla="*/ 22 h 143"/>
                <a:gd name="T30" fmla="*/ 102 w 152"/>
                <a:gd name="T31" fmla="*/ 14 h 143"/>
                <a:gd name="T32" fmla="*/ 86 w 152"/>
                <a:gd name="T33" fmla="*/ 18 h 143"/>
                <a:gd name="T34" fmla="*/ 75 w 152"/>
                <a:gd name="T35" fmla="*/ 13 h 143"/>
                <a:gd name="T36" fmla="*/ 67 w 152"/>
                <a:gd name="T37" fmla="*/ 9 h 143"/>
                <a:gd name="T38" fmla="*/ 60 w 152"/>
                <a:gd name="T39" fmla="*/ 6 h 143"/>
                <a:gd name="T40" fmla="*/ 47 w 152"/>
                <a:gd name="T41" fmla="*/ 1 h 143"/>
                <a:gd name="T42" fmla="*/ 34 w 152"/>
                <a:gd name="T43" fmla="*/ 9 h 143"/>
                <a:gd name="T44" fmla="*/ 27 w 152"/>
                <a:gd name="T45" fmla="*/ 12 h 143"/>
                <a:gd name="T46" fmla="*/ 24 w 152"/>
                <a:gd name="T47" fmla="*/ 14 h 143"/>
                <a:gd name="T48" fmla="*/ 19 w 152"/>
                <a:gd name="T49" fmla="*/ 12 h 143"/>
                <a:gd name="T50" fmla="*/ 16 w 152"/>
                <a:gd name="T51" fmla="*/ 16 h 143"/>
                <a:gd name="T52" fmla="*/ 19 w 152"/>
                <a:gd name="T53" fmla="*/ 23 h 143"/>
                <a:gd name="T54" fmla="*/ 15 w 152"/>
                <a:gd name="T55" fmla="*/ 32 h 143"/>
                <a:gd name="T56" fmla="*/ 13 w 152"/>
                <a:gd name="T57" fmla="*/ 33 h 143"/>
                <a:gd name="T58" fmla="*/ 12 w 152"/>
                <a:gd name="T59" fmla="*/ 33 h 143"/>
                <a:gd name="T60" fmla="*/ 16 w 152"/>
                <a:gd name="T61" fmla="*/ 40 h 143"/>
                <a:gd name="T62" fmla="*/ 9 w 152"/>
                <a:gd name="T63" fmla="*/ 46 h 143"/>
                <a:gd name="T64" fmla="*/ 3 w 152"/>
                <a:gd name="T65" fmla="*/ 53 h 143"/>
                <a:gd name="T66" fmla="*/ 6 w 152"/>
                <a:gd name="T67" fmla="*/ 55 h 143"/>
                <a:gd name="T68" fmla="*/ 17 w 152"/>
                <a:gd name="T69" fmla="*/ 66 h 143"/>
                <a:gd name="T70" fmla="*/ 23 w 152"/>
                <a:gd name="T71" fmla="*/ 82 h 143"/>
                <a:gd name="T72" fmla="*/ 30 w 152"/>
                <a:gd name="T73" fmla="*/ 87 h 143"/>
                <a:gd name="T74" fmla="*/ 38 w 152"/>
                <a:gd name="T75" fmla="*/ 92 h 143"/>
                <a:gd name="T76" fmla="*/ 42 w 152"/>
                <a:gd name="T77" fmla="*/ 95 h 143"/>
                <a:gd name="T78" fmla="*/ 42 w 152"/>
                <a:gd name="T79" fmla="*/ 105 h 143"/>
                <a:gd name="T80" fmla="*/ 57 w 152"/>
                <a:gd name="T81" fmla="*/ 117 h 143"/>
                <a:gd name="T82" fmla="*/ 67 w 152"/>
                <a:gd name="T83" fmla="*/ 127 h 143"/>
                <a:gd name="T84" fmla="*/ 74 w 152"/>
                <a:gd name="T85" fmla="*/ 138 h 143"/>
                <a:gd name="T86" fmla="*/ 84 w 152"/>
                <a:gd name="T87" fmla="*/ 141 h 143"/>
                <a:gd name="T88" fmla="*/ 86 w 152"/>
                <a:gd name="T89" fmla="*/ 140 h 143"/>
                <a:gd name="T90" fmla="*/ 92 w 152"/>
                <a:gd name="T91" fmla="*/ 138 h 143"/>
                <a:gd name="T92" fmla="*/ 90 w 152"/>
                <a:gd name="T93" fmla="*/ 127 h 143"/>
                <a:gd name="T94" fmla="*/ 94 w 152"/>
                <a:gd name="T95" fmla="*/ 118 h 143"/>
                <a:gd name="T96" fmla="*/ 93 w 152"/>
                <a:gd name="T97" fmla="*/ 114 h 143"/>
                <a:gd name="T98" fmla="*/ 96 w 152"/>
                <a:gd name="T99" fmla="*/ 112 h 143"/>
                <a:gd name="T100" fmla="*/ 107 w 152"/>
                <a:gd name="T101" fmla="*/ 107 h 143"/>
                <a:gd name="T102" fmla="*/ 117 w 152"/>
                <a:gd name="T103" fmla="*/ 101 h 143"/>
                <a:gd name="T104" fmla="*/ 134 w 152"/>
                <a:gd name="T105" fmla="*/ 103 h 143"/>
                <a:gd name="T106" fmla="*/ 151 w 152"/>
                <a:gd name="T107" fmla="*/ 108 h 143"/>
                <a:gd name="T108" fmla="*/ 146 w 152"/>
                <a:gd name="T109" fmla="*/ 10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2" h="143">
                  <a:moveTo>
                    <a:pt x="146" y="100"/>
                  </a:moveTo>
                  <a:cubicBezTo>
                    <a:pt x="146" y="100"/>
                    <a:pt x="146" y="100"/>
                    <a:pt x="146" y="100"/>
                  </a:cubicBezTo>
                  <a:cubicBezTo>
                    <a:pt x="145" y="100"/>
                    <a:pt x="145" y="100"/>
                    <a:pt x="144" y="99"/>
                  </a:cubicBezTo>
                  <a:cubicBezTo>
                    <a:pt x="143" y="98"/>
                    <a:pt x="144" y="95"/>
                    <a:pt x="144" y="93"/>
                  </a:cubicBezTo>
                  <a:cubicBezTo>
                    <a:pt x="143" y="94"/>
                    <a:pt x="142" y="94"/>
                    <a:pt x="142" y="94"/>
                  </a:cubicBezTo>
                  <a:cubicBezTo>
                    <a:pt x="141" y="95"/>
                    <a:pt x="140" y="89"/>
                    <a:pt x="140" y="88"/>
                  </a:cubicBezTo>
                  <a:cubicBezTo>
                    <a:pt x="141" y="87"/>
                    <a:pt x="142" y="86"/>
                    <a:pt x="143" y="85"/>
                  </a:cubicBezTo>
                  <a:cubicBezTo>
                    <a:pt x="143" y="84"/>
                    <a:pt x="143" y="80"/>
                    <a:pt x="143" y="79"/>
                  </a:cubicBezTo>
                  <a:cubicBezTo>
                    <a:pt x="143" y="74"/>
                    <a:pt x="139" y="70"/>
                    <a:pt x="138" y="66"/>
                  </a:cubicBezTo>
                  <a:cubicBezTo>
                    <a:pt x="138" y="65"/>
                    <a:pt x="138" y="63"/>
                    <a:pt x="138" y="63"/>
                  </a:cubicBezTo>
                  <a:cubicBezTo>
                    <a:pt x="137" y="62"/>
                    <a:pt x="137" y="62"/>
                    <a:pt x="136" y="62"/>
                  </a:cubicBezTo>
                  <a:cubicBezTo>
                    <a:pt x="134" y="60"/>
                    <a:pt x="135" y="59"/>
                    <a:pt x="135" y="57"/>
                  </a:cubicBezTo>
                  <a:cubicBezTo>
                    <a:pt x="135" y="56"/>
                    <a:pt x="135" y="55"/>
                    <a:pt x="135" y="54"/>
                  </a:cubicBezTo>
                  <a:cubicBezTo>
                    <a:pt x="134" y="53"/>
                    <a:pt x="131" y="53"/>
                    <a:pt x="131" y="51"/>
                  </a:cubicBezTo>
                  <a:cubicBezTo>
                    <a:pt x="131" y="50"/>
                    <a:pt x="132" y="49"/>
                    <a:pt x="133" y="48"/>
                  </a:cubicBezTo>
                  <a:cubicBezTo>
                    <a:pt x="133" y="47"/>
                    <a:pt x="133" y="46"/>
                    <a:pt x="133" y="45"/>
                  </a:cubicBezTo>
                  <a:cubicBezTo>
                    <a:pt x="133" y="44"/>
                    <a:pt x="133" y="44"/>
                    <a:pt x="133" y="43"/>
                  </a:cubicBezTo>
                  <a:cubicBezTo>
                    <a:pt x="132" y="43"/>
                    <a:pt x="132" y="43"/>
                    <a:pt x="132" y="43"/>
                  </a:cubicBezTo>
                  <a:cubicBezTo>
                    <a:pt x="131" y="43"/>
                    <a:pt x="131" y="43"/>
                    <a:pt x="130" y="42"/>
                  </a:cubicBezTo>
                  <a:cubicBezTo>
                    <a:pt x="129" y="41"/>
                    <a:pt x="129" y="40"/>
                    <a:pt x="127" y="40"/>
                  </a:cubicBezTo>
                  <a:cubicBezTo>
                    <a:pt x="126" y="40"/>
                    <a:pt x="124" y="40"/>
                    <a:pt x="123" y="41"/>
                  </a:cubicBezTo>
                  <a:cubicBezTo>
                    <a:pt x="124" y="40"/>
                    <a:pt x="124" y="38"/>
                    <a:pt x="126" y="39"/>
                  </a:cubicBezTo>
                  <a:cubicBezTo>
                    <a:pt x="127" y="36"/>
                    <a:pt x="130" y="24"/>
                    <a:pt x="123" y="28"/>
                  </a:cubicBezTo>
                  <a:cubicBezTo>
                    <a:pt x="122" y="28"/>
                    <a:pt x="122" y="29"/>
                    <a:pt x="122" y="29"/>
                  </a:cubicBezTo>
                  <a:cubicBezTo>
                    <a:pt x="121" y="29"/>
                    <a:pt x="120" y="29"/>
                    <a:pt x="120" y="29"/>
                  </a:cubicBezTo>
                  <a:cubicBezTo>
                    <a:pt x="119" y="30"/>
                    <a:pt x="119" y="31"/>
                    <a:pt x="117" y="31"/>
                  </a:cubicBezTo>
                  <a:cubicBezTo>
                    <a:pt x="116" y="32"/>
                    <a:pt x="115" y="31"/>
                    <a:pt x="113" y="31"/>
                  </a:cubicBezTo>
                  <a:cubicBezTo>
                    <a:pt x="112" y="30"/>
                    <a:pt x="111" y="31"/>
                    <a:pt x="109" y="30"/>
                  </a:cubicBezTo>
                  <a:cubicBezTo>
                    <a:pt x="109" y="29"/>
                    <a:pt x="110" y="27"/>
                    <a:pt x="109" y="26"/>
                  </a:cubicBezTo>
                  <a:cubicBezTo>
                    <a:pt x="109" y="24"/>
                    <a:pt x="107" y="23"/>
                    <a:pt x="106" y="22"/>
                  </a:cubicBezTo>
                  <a:cubicBezTo>
                    <a:pt x="105" y="20"/>
                    <a:pt x="103" y="20"/>
                    <a:pt x="102" y="18"/>
                  </a:cubicBezTo>
                  <a:cubicBezTo>
                    <a:pt x="101" y="17"/>
                    <a:pt x="102" y="15"/>
                    <a:pt x="102" y="14"/>
                  </a:cubicBezTo>
                  <a:cubicBezTo>
                    <a:pt x="99" y="13"/>
                    <a:pt x="97" y="16"/>
                    <a:pt x="95" y="16"/>
                  </a:cubicBezTo>
                  <a:cubicBezTo>
                    <a:pt x="92" y="17"/>
                    <a:pt x="89" y="18"/>
                    <a:pt x="86" y="18"/>
                  </a:cubicBezTo>
                  <a:cubicBezTo>
                    <a:pt x="83" y="18"/>
                    <a:pt x="80" y="18"/>
                    <a:pt x="78" y="16"/>
                  </a:cubicBezTo>
                  <a:cubicBezTo>
                    <a:pt x="77" y="14"/>
                    <a:pt x="77" y="13"/>
                    <a:pt x="75" y="13"/>
                  </a:cubicBezTo>
                  <a:cubicBezTo>
                    <a:pt x="74" y="13"/>
                    <a:pt x="72" y="13"/>
                    <a:pt x="70" y="13"/>
                  </a:cubicBezTo>
                  <a:cubicBezTo>
                    <a:pt x="70" y="12"/>
                    <a:pt x="68" y="11"/>
                    <a:pt x="67" y="9"/>
                  </a:cubicBezTo>
                  <a:cubicBezTo>
                    <a:pt x="66" y="7"/>
                    <a:pt x="67" y="7"/>
                    <a:pt x="64" y="7"/>
                  </a:cubicBezTo>
                  <a:cubicBezTo>
                    <a:pt x="63" y="7"/>
                    <a:pt x="61" y="7"/>
                    <a:pt x="60" y="6"/>
                  </a:cubicBezTo>
                  <a:cubicBezTo>
                    <a:pt x="58" y="5"/>
                    <a:pt x="59" y="3"/>
                    <a:pt x="59" y="2"/>
                  </a:cubicBezTo>
                  <a:cubicBezTo>
                    <a:pt x="55" y="1"/>
                    <a:pt x="51" y="1"/>
                    <a:pt x="47" y="1"/>
                  </a:cubicBezTo>
                  <a:cubicBezTo>
                    <a:pt x="43" y="1"/>
                    <a:pt x="39" y="0"/>
                    <a:pt x="38" y="4"/>
                  </a:cubicBezTo>
                  <a:cubicBezTo>
                    <a:pt x="36" y="5"/>
                    <a:pt x="37" y="8"/>
                    <a:pt x="34" y="9"/>
                  </a:cubicBezTo>
                  <a:cubicBezTo>
                    <a:pt x="33" y="10"/>
                    <a:pt x="30" y="9"/>
                    <a:pt x="28" y="9"/>
                  </a:cubicBezTo>
                  <a:cubicBezTo>
                    <a:pt x="27" y="10"/>
                    <a:pt x="27" y="11"/>
                    <a:pt x="27" y="12"/>
                  </a:cubicBezTo>
                  <a:cubicBezTo>
                    <a:pt x="26" y="12"/>
                    <a:pt x="26" y="12"/>
                    <a:pt x="25" y="12"/>
                  </a:cubicBezTo>
                  <a:cubicBezTo>
                    <a:pt x="25" y="13"/>
                    <a:pt x="25" y="13"/>
                    <a:pt x="24" y="14"/>
                  </a:cubicBezTo>
                  <a:cubicBezTo>
                    <a:pt x="23" y="15"/>
                    <a:pt x="23" y="15"/>
                    <a:pt x="21" y="14"/>
                  </a:cubicBezTo>
                  <a:cubicBezTo>
                    <a:pt x="20" y="14"/>
                    <a:pt x="20" y="13"/>
                    <a:pt x="19" y="12"/>
                  </a:cubicBezTo>
                  <a:cubicBezTo>
                    <a:pt x="18" y="12"/>
                    <a:pt x="18" y="12"/>
                    <a:pt x="17" y="12"/>
                  </a:cubicBezTo>
                  <a:cubicBezTo>
                    <a:pt x="16" y="14"/>
                    <a:pt x="16" y="15"/>
                    <a:pt x="16" y="16"/>
                  </a:cubicBezTo>
                  <a:cubicBezTo>
                    <a:pt x="18" y="16"/>
                    <a:pt x="19" y="16"/>
                    <a:pt x="19" y="18"/>
                  </a:cubicBezTo>
                  <a:cubicBezTo>
                    <a:pt x="20" y="20"/>
                    <a:pt x="19" y="21"/>
                    <a:pt x="19" y="23"/>
                  </a:cubicBezTo>
                  <a:cubicBezTo>
                    <a:pt x="18" y="26"/>
                    <a:pt x="19" y="29"/>
                    <a:pt x="16" y="31"/>
                  </a:cubicBezTo>
                  <a:cubicBezTo>
                    <a:pt x="16" y="31"/>
                    <a:pt x="15" y="31"/>
                    <a:pt x="15" y="32"/>
                  </a:cubicBezTo>
                  <a:cubicBezTo>
                    <a:pt x="14" y="32"/>
                    <a:pt x="14" y="32"/>
                    <a:pt x="14" y="32"/>
                  </a:cubicBezTo>
                  <a:cubicBezTo>
                    <a:pt x="13" y="32"/>
                    <a:pt x="14" y="33"/>
                    <a:pt x="13" y="33"/>
                  </a:cubicBezTo>
                  <a:cubicBezTo>
                    <a:pt x="13" y="33"/>
                    <a:pt x="12" y="33"/>
                    <a:pt x="12" y="33"/>
                  </a:cubicBezTo>
                  <a:cubicBezTo>
                    <a:pt x="12" y="33"/>
                    <a:pt x="12" y="33"/>
                    <a:pt x="12" y="33"/>
                  </a:cubicBezTo>
                  <a:cubicBezTo>
                    <a:pt x="12" y="34"/>
                    <a:pt x="12" y="35"/>
                    <a:pt x="13" y="35"/>
                  </a:cubicBezTo>
                  <a:cubicBezTo>
                    <a:pt x="14" y="37"/>
                    <a:pt x="16" y="38"/>
                    <a:pt x="16" y="40"/>
                  </a:cubicBezTo>
                  <a:cubicBezTo>
                    <a:pt x="14" y="40"/>
                    <a:pt x="12" y="40"/>
                    <a:pt x="11" y="42"/>
                  </a:cubicBezTo>
                  <a:cubicBezTo>
                    <a:pt x="9" y="46"/>
                    <a:pt x="9" y="46"/>
                    <a:pt x="9" y="46"/>
                  </a:cubicBezTo>
                  <a:cubicBezTo>
                    <a:pt x="7" y="46"/>
                    <a:pt x="3" y="45"/>
                    <a:pt x="4" y="48"/>
                  </a:cubicBezTo>
                  <a:cubicBezTo>
                    <a:pt x="4" y="50"/>
                    <a:pt x="5" y="52"/>
                    <a:pt x="3" y="53"/>
                  </a:cubicBezTo>
                  <a:cubicBezTo>
                    <a:pt x="2" y="53"/>
                    <a:pt x="1" y="53"/>
                    <a:pt x="0" y="54"/>
                  </a:cubicBezTo>
                  <a:cubicBezTo>
                    <a:pt x="2" y="55"/>
                    <a:pt x="4" y="54"/>
                    <a:pt x="6" y="55"/>
                  </a:cubicBezTo>
                  <a:cubicBezTo>
                    <a:pt x="8" y="56"/>
                    <a:pt x="11" y="57"/>
                    <a:pt x="12" y="58"/>
                  </a:cubicBezTo>
                  <a:cubicBezTo>
                    <a:pt x="13" y="59"/>
                    <a:pt x="17" y="65"/>
                    <a:pt x="17" y="66"/>
                  </a:cubicBezTo>
                  <a:cubicBezTo>
                    <a:pt x="10" y="65"/>
                    <a:pt x="18" y="75"/>
                    <a:pt x="19" y="76"/>
                  </a:cubicBezTo>
                  <a:cubicBezTo>
                    <a:pt x="21" y="78"/>
                    <a:pt x="22" y="80"/>
                    <a:pt x="23" y="82"/>
                  </a:cubicBezTo>
                  <a:cubicBezTo>
                    <a:pt x="24" y="84"/>
                    <a:pt x="23" y="87"/>
                    <a:pt x="23" y="89"/>
                  </a:cubicBezTo>
                  <a:cubicBezTo>
                    <a:pt x="26" y="89"/>
                    <a:pt x="30" y="90"/>
                    <a:pt x="30" y="87"/>
                  </a:cubicBezTo>
                  <a:cubicBezTo>
                    <a:pt x="31" y="84"/>
                    <a:pt x="32" y="84"/>
                    <a:pt x="34" y="87"/>
                  </a:cubicBezTo>
                  <a:cubicBezTo>
                    <a:pt x="35" y="88"/>
                    <a:pt x="36" y="92"/>
                    <a:pt x="38" y="92"/>
                  </a:cubicBezTo>
                  <a:cubicBezTo>
                    <a:pt x="40" y="93"/>
                    <a:pt x="42" y="91"/>
                    <a:pt x="42" y="94"/>
                  </a:cubicBezTo>
                  <a:cubicBezTo>
                    <a:pt x="42" y="95"/>
                    <a:pt x="42" y="95"/>
                    <a:pt x="42" y="95"/>
                  </a:cubicBezTo>
                  <a:cubicBezTo>
                    <a:pt x="42" y="96"/>
                    <a:pt x="43" y="99"/>
                    <a:pt x="43" y="100"/>
                  </a:cubicBezTo>
                  <a:cubicBezTo>
                    <a:pt x="42" y="102"/>
                    <a:pt x="41" y="103"/>
                    <a:pt x="42" y="105"/>
                  </a:cubicBezTo>
                  <a:cubicBezTo>
                    <a:pt x="45" y="108"/>
                    <a:pt x="49" y="108"/>
                    <a:pt x="52" y="110"/>
                  </a:cubicBezTo>
                  <a:cubicBezTo>
                    <a:pt x="54" y="112"/>
                    <a:pt x="55" y="115"/>
                    <a:pt x="57" y="117"/>
                  </a:cubicBezTo>
                  <a:cubicBezTo>
                    <a:pt x="59" y="119"/>
                    <a:pt x="61" y="121"/>
                    <a:pt x="62" y="122"/>
                  </a:cubicBezTo>
                  <a:cubicBezTo>
                    <a:pt x="64" y="124"/>
                    <a:pt x="67" y="125"/>
                    <a:pt x="67" y="127"/>
                  </a:cubicBezTo>
                  <a:cubicBezTo>
                    <a:pt x="67" y="129"/>
                    <a:pt x="67" y="132"/>
                    <a:pt x="67" y="134"/>
                  </a:cubicBezTo>
                  <a:cubicBezTo>
                    <a:pt x="70" y="135"/>
                    <a:pt x="72" y="135"/>
                    <a:pt x="74" y="138"/>
                  </a:cubicBezTo>
                  <a:cubicBezTo>
                    <a:pt x="76" y="140"/>
                    <a:pt x="79" y="139"/>
                    <a:pt x="81" y="140"/>
                  </a:cubicBezTo>
                  <a:cubicBezTo>
                    <a:pt x="81" y="143"/>
                    <a:pt x="82" y="143"/>
                    <a:pt x="84" y="141"/>
                  </a:cubicBezTo>
                  <a:cubicBezTo>
                    <a:pt x="84" y="141"/>
                    <a:pt x="84" y="141"/>
                    <a:pt x="84" y="141"/>
                  </a:cubicBezTo>
                  <a:cubicBezTo>
                    <a:pt x="86" y="140"/>
                    <a:pt x="86" y="140"/>
                    <a:pt x="86" y="140"/>
                  </a:cubicBezTo>
                  <a:cubicBezTo>
                    <a:pt x="86" y="140"/>
                    <a:pt x="86" y="140"/>
                    <a:pt x="86" y="140"/>
                  </a:cubicBezTo>
                  <a:cubicBezTo>
                    <a:pt x="88" y="139"/>
                    <a:pt x="90" y="139"/>
                    <a:pt x="92" y="138"/>
                  </a:cubicBezTo>
                  <a:cubicBezTo>
                    <a:pt x="93" y="137"/>
                    <a:pt x="93" y="134"/>
                    <a:pt x="90" y="134"/>
                  </a:cubicBezTo>
                  <a:cubicBezTo>
                    <a:pt x="91" y="132"/>
                    <a:pt x="93" y="127"/>
                    <a:pt x="90" y="127"/>
                  </a:cubicBezTo>
                  <a:cubicBezTo>
                    <a:pt x="90" y="125"/>
                    <a:pt x="92" y="119"/>
                    <a:pt x="94" y="119"/>
                  </a:cubicBezTo>
                  <a:cubicBezTo>
                    <a:pt x="94" y="118"/>
                    <a:pt x="94" y="118"/>
                    <a:pt x="94" y="118"/>
                  </a:cubicBezTo>
                  <a:cubicBezTo>
                    <a:pt x="94" y="118"/>
                    <a:pt x="94" y="118"/>
                    <a:pt x="94" y="118"/>
                  </a:cubicBezTo>
                  <a:cubicBezTo>
                    <a:pt x="93" y="117"/>
                    <a:pt x="93" y="116"/>
                    <a:pt x="93" y="114"/>
                  </a:cubicBezTo>
                  <a:cubicBezTo>
                    <a:pt x="94" y="114"/>
                    <a:pt x="98" y="115"/>
                    <a:pt x="97" y="112"/>
                  </a:cubicBezTo>
                  <a:cubicBezTo>
                    <a:pt x="97" y="113"/>
                    <a:pt x="96" y="112"/>
                    <a:pt x="96" y="112"/>
                  </a:cubicBezTo>
                  <a:cubicBezTo>
                    <a:pt x="96" y="110"/>
                    <a:pt x="100" y="104"/>
                    <a:pt x="103" y="105"/>
                  </a:cubicBezTo>
                  <a:cubicBezTo>
                    <a:pt x="105" y="106"/>
                    <a:pt x="105" y="108"/>
                    <a:pt x="107" y="107"/>
                  </a:cubicBezTo>
                  <a:cubicBezTo>
                    <a:pt x="108" y="107"/>
                    <a:pt x="109" y="104"/>
                    <a:pt x="109" y="103"/>
                  </a:cubicBezTo>
                  <a:cubicBezTo>
                    <a:pt x="111" y="102"/>
                    <a:pt x="115" y="104"/>
                    <a:pt x="117" y="101"/>
                  </a:cubicBezTo>
                  <a:cubicBezTo>
                    <a:pt x="120" y="101"/>
                    <a:pt x="125" y="102"/>
                    <a:pt x="127" y="102"/>
                  </a:cubicBezTo>
                  <a:cubicBezTo>
                    <a:pt x="130" y="103"/>
                    <a:pt x="131" y="103"/>
                    <a:pt x="134" y="103"/>
                  </a:cubicBezTo>
                  <a:cubicBezTo>
                    <a:pt x="137" y="104"/>
                    <a:pt x="144" y="105"/>
                    <a:pt x="144" y="109"/>
                  </a:cubicBezTo>
                  <a:cubicBezTo>
                    <a:pt x="145" y="109"/>
                    <a:pt x="152" y="109"/>
                    <a:pt x="151" y="108"/>
                  </a:cubicBezTo>
                  <a:cubicBezTo>
                    <a:pt x="151" y="107"/>
                    <a:pt x="150" y="105"/>
                    <a:pt x="149" y="104"/>
                  </a:cubicBezTo>
                  <a:cubicBezTo>
                    <a:pt x="148" y="102"/>
                    <a:pt x="147" y="101"/>
                    <a:pt x="146" y="100"/>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93" name="Freeform 321"/>
            <p:cNvSpPr>
              <a:spLocks/>
            </p:cNvSpPr>
            <p:nvPr/>
          </p:nvSpPr>
          <p:spPr bwMode="auto">
            <a:xfrm>
              <a:off x="4622801" y="346233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94" name="Freeform 322"/>
            <p:cNvSpPr>
              <a:spLocks/>
            </p:cNvSpPr>
            <p:nvPr/>
          </p:nvSpPr>
          <p:spPr bwMode="auto">
            <a:xfrm>
              <a:off x="4619626" y="3451226"/>
              <a:ext cx="0" cy="3175"/>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95" name="Freeform 323"/>
            <p:cNvSpPr>
              <a:spLocks/>
            </p:cNvSpPr>
            <p:nvPr/>
          </p:nvSpPr>
          <p:spPr bwMode="auto">
            <a:xfrm>
              <a:off x="4622801" y="346233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96" name="Freeform 324"/>
            <p:cNvSpPr>
              <a:spLocks/>
            </p:cNvSpPr>
            <p:nvPr/>
          </p:nvSpPr>
          <p:spPr bwMode="auto">
            <a:xfrm>
              <a:off x="4622801" y="3462338"/>
              <a:ext cx="4763" cy="0"/>
            </a:xfrm>
            <a:custGeom>
              <a:avLst/>
              <a:gdLst>
                <a:gd name="T0" fmla="*/ 3 w 3"/>
                <a:gd name="T1" fmla="*/ 0 w 3"/>
                <a:gd name="T2" fmla="*/ 3 w 3"/>
              </a:gdLst>
              <a:ahLst/>
              <a:cxnLst>
                <a:cxn ang="0">
                  <a:pos x="T0" y="0"/>
                </a:cxn>
                <a:cxn ang="0">
                  <a:pos x="T1" y="0"/>
                </a:cxn>
                <a:cxn ang="0">
                  <a:pos x="T2" y="0"/>
                </a:cxn>
              </a:cxnLst>
              <a:rect l="0" t="0" r="r" b="b"/>
              <a:pathLst>
                <a:path w="3">
                  <a:moveTo>
                    <a:pt x="3" y="0"/>
                  </a:moveTo>
                  <a:lnTo>
                    <a:pt x="0" y="0"/>
                  </a:lnTo>
                  <a:lnTo>
                    <a:pt x="3"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97" name="Rectangle 325"/>
            <p:cNvSpPr>
              <a:spLocks noChangeArrowheads="1"/>
            </p:cNvSpPr>
            <p:nvPr/>
          </p:nvSpPr>
          <p:spPr bwMode="auto">
            <a:xfrm>
              <a:off x="4219576" y="2633663"/>
              <a:ext cx="1588" cy="1588"/>
            </a:xfrm>
            <a:prstGeom prst="rect">
              <a:avLst/>
            </a:prstGeom>
            <a:solidFill>
              <a:srgbClr val="68CEF2"/>
            </a:solidFill>
            <a:ln w="3175">
              <a:solidFill>
                <a:schemeClr val="bg1"/>
              </a:solidFill>
              <a:miter lim="800000"/>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98" name="Freeform 326"/>
            <p:cNvSpPr>
              <a:spLocks/>
            </p:cNvSpPr>
            <p:nvPr/>
          </p:nvSpPr>
          <p:spPr bwMode="auto">
            <a:xfrm>
              <a:off x="4740276" y="3365501"/>
              <a:ext cx="3175" cy="4763"/>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1" y="1"/>
                    <a:pt x="0" y="1"/>
                  </a:cubicBezTo>
                  <a:cubicBezTo>
                    <a:pt x="1" y="1"/>
                    <a:pt x="1" y="0"/>
                    <a:pt x="1" y="0"/>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99" name="Freeform 327"/>
            <p:cNvSpPr>
              <a:spLocks/>
            </p:cNvSpPr>
            <p:nvPr/>
          </p:nvSpPr>
          <p:spPr bwMode="auto">
            <a:xfrm>
              <a:off x="4743451" y="3355976"/>
              <a:ext cx="3175" cy="9525"/>
            </a:xfrm>
            <a:custGeom>
              <a:avLst/>
              <a:gdLst>
                <a:gd name="T0" fmla="*/ 1 w 1"/>
                <a:gd name="T1" fmla="*/ 0 h 3"/>
                <a:gd name="T2" fmla="*/ 0 w 1"/>
                <a:gd name="T3" fmla="*/ 3 h 3"/>
                <a:gd name="T4" fmla="*/ 1 w 1"/>
                <a:gd name="T5" fmla="*/ 0 h 3"/>
              </a:gdLst>
              <a:ahLst/>
              <a:cxnLst>
                <a:cxn ang="0">
                  <a:pos x="T0" y="T1"/>
                </a:cxn>
                <a:cxn ang="0">
                  <a:pos x="T2" y="T3"/>
                </a:cxn>
                <a:cxn ang="0">
                  <a:pos x="T4" y="T5"/>
                </a:cxn>
              </a:cxnLst>
              <a:rect l="0" t="0" r="r" b="b"/>
              <a:pathLst>
                <a:path w="1" h="3">
                  <a:moveTo>
                    <a:pt x="1" y="0"/>
                  </a:moveTo>
                  <a:cubicBezTo>
                    <a:pt x="1" y="1"/>
                    <a:pt x="1" y="2"/>
                    <a:pt x="0" y="3"/>
                  </a:cubicBezTo>
                  <a:cubicBezTo>
                    <a:pt x="1" y="2"/>
                    <a:pt x="1" y="1"/>
                    <a:pt x="1" y="0"/>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00" name="Freeform 328"/>
            <p:cNvSpPr>
              <a:spLocks/>
            </p:cNvSpPr>
            <p:nvPr/>
          </p:nvSpPr>
          <p:spPr bwMode="auto">
            <a:xfrm>
              <a:off x="4737101" y="3370263"/>
              <a:ext cx="0" cy="3175"/>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01" name="Freeform 329"/>
            <p:cNvSpPr>
              <a:spLocks/>
            </p:cNvSpPr>
            <p:nvPr/>
          </p:nvSpPr>
          <p:spPr bwMode="auto">
            <a:xfrm>
              <a:off x="4746626" y="3348038"/>
              <a:ext cx="0" cy="793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02" name="Freeform 330"/>
            <p:cNvSpPr>
              <a:spLocks/>
            </p:cNvSpPr>
            <p:nvPr/>
          </p:nvSpPr>
          <p:spPr bwMode="auto">
            <a:xfrm>
              <a:off x="4740276" y="3338513"/>
              <a:ext cx="3175" cy="3175"/>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lnTo>
                    <a:pt x="2" y="2"/>
                  </a:lnTo>
                  <a:lnTo>
                    <a:pt x="0"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03" name="Freeform 331"/>
            <p:cNvSpPr>
              <a:spLocks/>
            </p:cNvSpPr>
            <p:nvPr/>
          </p:nvSpPr>
          <p:spPr bwMode="auto">
            <a:xfrm>
              <a:off x="4711701" y="3241676"/>
              <a:ext cx="742950" cy="558800"/>
            </a:xfrm>
            <a:custGeom>
              <a:avLst/>
              <a:gdLst>
                <a:gd name="T0" fmla="*/ 208 w 210"/>
                <a:gd name="T1" fmla="*/ 22 h 158"/>
                <a:gd name="T2" fmla="*/ 203 w 210"/>
                <a:gd name="T3" fmla="*/ 6 h 158"/>
                <a:gd name="T4" fmla="*/ 189 w 210"/>
                <a:gd name="T5" fmla="*/ 4 h 158"/>
                <a:gd name="T6" fmla="*/ 175 w 210"/>
                <a:gd name="T7" fmla="*/ 14 h 158"/>
                <a:gd name="T8" fmla="*/ 168 w 210"/>
                <a:gd name="T9" fmla="*/ 35 h 158"/>
                <a:gd name="T10" fmla="*/ 157 w 210"/>
                <a:gd name="T11" fmla="*/ 37 h 158"/>
                <a:gd name="T12" fmla="*/ 147 w 210"/>
                <a:gd name="T13" fmla="*/ 40 h 158"/>
                <a:gd name="T14" fmla="*/ 136 w 210"/>
                <a:gd name="T15" fmla="*/ 47 h 158"/>
                <a:gd name="T16" fmla="*/ 128 w 210"/>
                <a:gd name="T17" fmla="*/ 33 h 158"/>
                <a:gd name="T18" fmla="*/ 115 w 210"/>
                <a:gd name="T19" fmla="*/ 28 h 158"/>
                <a:gd name="T20" fmla="*/ 107 w 210"/>
                <a:gd name="T21" fmla="*/ 35 h 158"/>
                <a:gd name="T22" fmla="*/ 102 w 210"/>
                <a:gd name="T23" fmla="*/ 40 h 158"/>
                <a:gd name="T24" fmla="*/ 83 w 210"/>
                <a:gd name="T25" fmla="*/ 47 h 158"/>
                <a:gd name="T26" fmla="*/ 70 w 210"/>
                <a:gd name="T27" fmla="*/ 43 h 158"/>
                <a:gd name="T28" fmla="*/ 60 w 210"/>
                <a:gd name="T29" fmla="*/ 52 h 158"/>
                <a:gd name="T30" fmla="*/ 38 w 210"/>
                <a:gd name="T31" fmla="*/ 43 h 158"/>
                <a:gd name="T32" fmla="*/ 8 w 210"/>
                <a:gd name="T33" fmla="*/ 39 h 158"/>
                <a:gd name="T34" fmla="*/ 4 w 210"/>
                <a:gd name="T35" fmla="*/ 41 h 158"/>
                <a:gd name="T36" fmla="*/ 2 w 210"/>
                <a:gd name="T37" fmla="*/ 53 h 158"/>
                <a:gd name="T38" fmla="*/ 15 w 210"/>
                <a:gd name="T39" fmla="*/ 68 h 158"/>
                <a:gd name="T40" fmla="*/ 23 w 210"/>
                <a:gd name="T41" fmla="*/ 81 h 158"/>
                <a:gd name="T42" fmla="*/ 33 w 210"/>
                <a:gd name="T43" fmla="*/ 105 h 158"/>
                <a:gd name="T44" fmla="*/ 44 w 210"/>
                <a:gd name="T45" fmla="*/ 119 h 158"/>
                <a:gd name="T46" fmla="*/ 34 w 210"/>
                <a:gd name="T47" fmla="*/ 131 h 158"/>
                <a:gd name="T48" fmla="*/ 54 w 210"/>
                <a:gd name="T49" fmla="*/ 139 h 158"/>
                <a:gd name="T50" fmla="*/ 77 w 210"/>
                <a:gd name="T51" fmla="*/ 135 h 158"/>
                <a:gd name="T52" fmla="*/ 82 w 210"/>
                <a:gd name="T53" fmla="*/ 148 h 158"/>
                <a:gd name="T54" fmla="*/ 97 w 210"/>
                <a:gd name="T55" fmla="*/ 150 h 158"/>
                <a:gd name="T56" fmla="*/ 117 w 210"/>
                <a:gd name="T57" fmla="*/ 157 h 158"/>
                <a:gd name="T58" fmla="*/ 126 w 210"/>
                <a:gd name="T59" fmla="*/ 145 h 158"/>
                <a:gd name="T60" fmla="*/ 142 w 210"/>
                <a:gd name="T61" fmla="*/ 136 h 158"/>
                <a:gd name="T62" fmla="*/ 158 w 210"/>
                <a:gd name="T63" fmla="*/ 147 h 158"/>
                <a:gd name="T64" fmla="*/ 168 w 210"/>
                <a:gd name="T65" fmla="*/ 144 h 158"/>
                <a:gd name="T66" fmla="*/ 163 w 210"/>
                <a:gd name="T67" fmla="*/ 134 h 158"/>
                <a:gd name="T68" fmla="*/ 156 w 210"/>
                <a:gd name="T69" fmla="*/ 126 h 158"/>
                <a:gd name="T70" fmla="*/ 151 w 210"/>
                <a:gd name="T71" fmla="*/ 113 h 158"/>
                <a:gd name="T72" fmla="*/ 142 w 210"/>
                <a:gd name="T73" fmla="*/ 110 h 158"/>
                <a:gd name="T74" fmla="*/ 124 w 210"/>
                <a:gd name="T75" fmla="*/ 103 h 158"/>
                <a:gd name="T76" fmla="*/ 120 w 210"/>
                <a:gd name="T77" fmla="*/ 95 h 158"/>
                <a:gd name="T78" fmla="*/ 127 w 210"/>
                <a:gd name="T79" fmla="*/ 83 h 158"/>
                <a:gd name="T80" fmla="*/ 142 w 210"/>
                <a:gd name="T81" fmla="*/ 87 h 158"/>
                <a:gd name="T82" fmla="*/ 160 w 210"/>
                <a:gd name="T83" fmla="*/ 76 h 158"/>
                <a:gd name="T84" fmla="*/ 178 w 210"/>
                <a:gd name="T85" fmla="*/ 70 h 158"/>
                <a:gd name="T86" fmla="*/ 182 w 210"/>
                <a:gd name="T87" fmla="*/ 65 h 158"/>
                <a:gd name="T88" fmla="*/ 187 w 210"/>
                <a:gd name="T89" fmla="*/ 59 h 158"/>
                <a:gd name="T90" fmla="*/ 192 w 210"/>
                <a:gd name="T91" fmla="*/ 59 h 158"/>
                <a:gd name="T92" fmla="*/ 198 w 210"/>
                <a:gd name="T93" fmla="*/ 51 h 158"/>
                <a:gd name="T94" fmla="*/ 204 w 210"/>
                <a:gd name="T95" fmla="*/ 3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0" h="158">
                  <a:moveTo>
                    <a:pt x="209" y="27"/>
                  </a:moveTo>
                  <a:cubicBezTo>
                    <a:pt x="208" y="25"/>
                    <a:pt x="205" y="26"/>
                    <a:pt x="206" y="23"/>
                  </a:cubicBezTo>
                  <a:cubicBezTo>
                    <a:pt x="207" y="23"/>
                    <a:pt x="207" y="22"/>
                    <a:pt x="208" y="22"/>
                  </a:cubicBezTo>
                  <a:cubicBezTo>
                    <a:pt x="208" y="18"/>
                    <a:pt x="210" y="14"/>
                    <a:pt x="207" y="10"/>
                  </a:cubicBezTo>
                  <a:cubicBezTo>
                    <a:pt x="206" y="9"/>
                    <a:pt x="204" y="7"/>
                    <a:pt x="204" y="6"/>
                  </a:cubicBezTo>
                  <a:cubicBezTo>
                    <a:pt x="203" y="6"/>
                    <a:pt x="203" y="6"/>
                    <a:pt x="203" y="6"/>
                  </a:cubicBezTo>
                  <a:cubicBezTo>
                    <a:pt x="201" y="6"/>
                    <a:pt x="200" y="4"/>
                    <a:pt x="198" y="3"/>
                  </a:cubicBezTo>
                  <a:cubicBezTo>
                    <a:pt x="196" y="1"/>
                    <a:pt x="192" y="0"/>
                    <a:pt x="189" y="0"/>
                  </a:cubicBezTo>
                  <a:cubicBezTo>
                    <a:pt x="189" y="4"/>
                    <a:pt x="189" y="4"/>
                    <a:pt x="189" y="4"/>
                  </a:cubicBezTo>
                  <a:cubicBezTo>
                    <a:pt x="187" y="4"/>
                    <a:pt x="188" y="5"/>
                    <a:pt x="188" y="7"/>
                  </a:cubicBezTo>
                  <a:cubicBezTo>
                    <a:pt x="185" y="7"/>
                    <a:pt x="183" y="6"/>
                    <a:pt x="180" y="7"/>
                  </a:cubicBezTo>
                  <a:cubicBezTo>
                    <a:pt x="179" y="9"/>
                    <a:pt x="179" y="14"/>
                    <a:pt x="175" y="14"/>
                  </a:cubicBezTo>
                  <a:cubicBezTo>
                    <a:pt x="170" y="15"/>
                    <a:pt x="174" y="21"/>
                    <a:pt x="172" y="24"/>
                  </a:cubicBezTo>
                  <a:cubicBezTo>
                    <a:pt x="171" y="26"/>
                    <a:pt x="169" y="25"/>
                    <a:pt x="169" y="28"/>
                  </a:cubicBezTo>
                  <a:cubicBezTo>
                    <a:pt x="169" y="30"/>
                    <a:pt x="169" y="33"/>
                    <a:pt x="168" y="35"/>
                  </a:cubicBezTo>
                  <a:cubicBezTo>
                    <a:pt x="167" y="36"/>
                    <a:pt x="165" y="36"/>
                    <a:pt x="164" y="36"/>
                  </a:cubicBezTo>
                  <a:cubicBezTo>
                    <a:pt x="162" y="37"/>
                    <a:pt x="164" y="38"/>
                    <a:pt x="163" y="40"/>
                  </a:cubicBezTo>
                  <a:cubicBezTo>
                    <a:pt x="161" y="41"/>
                    <a:pt x="159" y="37"/>
                    <a:pt x="157" y="37"/>
                  </a:cubicBezTo>
                  <a:cubicBezTo>
                    <a:pt x="157" y="39"/>
                    <a:pt x="153" y="41"/>
                    <a:pt x="151" y="41"/>
                  </a:cubicBezTo>
                  <a:cubicBezTo>
                    <a:pt x="151" y="39"/>
                    <a:pt x="150" y="36"/>
                    <a:pt x="148" y="38"/>
                  </a:cubicBezTo>
                  <a:cubicBezTo>
                    <a:pt x="147" y="38"/>
                    <a:pt x="148" y="39"/>
                    <a:pt x="147" y="40"/>
                  </a:cubicBezTo>
                  <a:cubicBezTo>
                    <a:pt x="146" y="41"/>
                    <a:pt x="145" y="41"/>
                    <a:pt x="145" y="42"/>
                  </a:cubicBezTo>
                  <a:cubicBezTo>
                    <a:pt x="144" y="44"/>
                    <a:pt x="145" y="50"/>
                    <a:pt x="140" y="49"/>
                  </a:cubicBezTo>
                  <a:cubicBezTo>
                    <a:pt x="140" y="46"/>
                    <a:pt x="137" y="48"/>
                    <a:pt x="136" y="47"/>
                  </a:cubicBezTo>
                  <a:cubicBezTo>
                    <a:pt x="135" y="46"/>
                    <a:pt x="136" y="43"/>
                    <a:pt x="136" y="42"/>
                  </a:cubicBezTo>
                  <a:cubicBezTo>
                    <a:pt x="136" y="36"/>
                    <a:pt x="132" y="41"/>
                    <a:pt x="129" y="40"/>
                  </a:cubicBezTo>
                  <a:cubicBezTo>
                    <a:pt x="128" y="38"/>
                    <a:pt x="130" y="35"/>
                    <a:pt x="128" y="33"/>
                  </a:cubicBezTo>
                  <a:cubicBezTo>
                    <a:pt x="127" y="32"/>
                    <a:pt x="125" y="32"/>
                    <a:pt x="125" y="30"/>
                  </a:cubicBezTo>
                  <a:cubicBezTo>
                    <a:pt x="125" y="29"/>
                    <a:pt x="125" y="30"/>
                    <a:pt x="124" y="29"/>
                  </a:cubicBezTo>
                  <a:cubicBezTo>
                    <a:pt x="123" y="29"/>
                    <a:pt x="115" y="32"/>
                    <a:pt x="115" y="28"/>
                  </a:cubicBezTo>
                  <a:cubicBezTo>
                    <a:pt x="114" y="28"/>
                    <a:pt x="111" y="27"/>
                    <a:pt x="110" y="28"/>
                  </a:cubicBezTo>
                  <a:cubicBezTo>
                    <a:pt x="108" y="29"/>
                    <a:pt x="110" y="31"/>
                    <a:pt x="109" y="32"/>
                  </a:cubicBezTo>
                  <a:cubicBezTo>
                    <a:pt x="109" y="33"/>
                    <a:pt x="107" y="33"/>
                    <a:pt x="107" y="35"/>
                  </a:cubicBezTo>
                  <a:cubicBezTo>
                    <a:pt x="107" y="36"/>
                    <a:pt x="107" y="36"/>
                    <a:pt x="107" y="37"/>
                  </a:cubicBezTo>
                  <a:cubicBezTo>
                    <a:pt x="107" y="38"/>
                    <a:pt x="106" y="38"/>
                    <a:pt x="105" y="39"/>
                  </a:cubicBezTo>
                  <a:cubicBezTo>
                    <a:pt x="103" y="39"/>
                    <a:pt x="103" y="39"/>
                    <a:pt x="102" y="40"/>
                  </a:cubicBezTo>
                  <a:cubicBezTo>
                    <a:pt x="102" y="41"/>
                    <a:pt x="101" y="42"/>
                    <a:pt x="100" y="42"/>
                  </a:cubicBezTo>
                  <a:cubicBezTo>
                    <a:pt x="97" y="43"/>
                    <a:pt x="93" y="42"/>
                    <a:pt x="89" y="44"/>
                  </a:cubicBezTo>
                  <a:cubicBezTo>
                    <a:pt x="90" y="48"/>
                    <a:pt x="85" y="47"/>
                    <a:pt x="83" y="47"/>
                  </a:cubicBezTo>
                  <a:cubicBezTo>
                    <a:pt x="81" y="48"/>
                    <a:pt x="81" y="49"/>
                    <a:pt x="80" y="50"/>
                  </a:cubicBezTo>
                  <a:cubicBezTo>
                    <a:pt x="79" y="50"/>
                    <a:pt x="77" y="49"/>
                    <a:pt x="76" y="49"/>
                  </a:cubicBezTo>
                  <a:cubicBezTo>
                    <a:pt x="73" y="47"/>
                    <a:pt x="73" y="42"/>
                    <a:pt x="70" y="43"/>
                  </a:cubicBezTo>
                  <a:cubicBezTo>
                    <a:pt x="67" y="43"/>
                    <a:pt x="67" y="45"/>
                    <a:pt x="66" y="47"/>
                  </a:cubicBezTo>
                  <a:cubicBezTo>
                    <a:pt x="65" y="48"/>
                    <a:pt x="63" y="48"/>
                    <a:pt x="61" y="48"/>
                  </a:cubicBezTo>
                  <a:cubicBezTo>
                    <a:pt x="61" y="49"/>
                    <a:pt x="61" y="51"/>
                    <a:pt x="60" y="52"/>
                  </a:cubicBezTo>
                  <a:cubicBezTo>
                    <a:pt x="57" y="52"/>
                    <a:pt x="50" y="52"/>
                    <a:pt x="50" y="48"/>
                  </a:cubicBezTo>
                  <a:cubicBezTo>
                    <a:pt x="49" y="45"/>
                    <a:pt x="50" y="40"/>
                    <a:pt x="46" y="41"/>
                  </a:cubicBezTo>
                  <a:cubicBezTo>
                    <a:pt x="44" y="42"/>
                    <a:pt x="40" y="46"/>
                    <a:pt x="38" y="43"/>
                  </a:cubicBezTo>
                  <a:cubicBezTo>
                    <a:pt x="37" y="40"/>
                    <a:pt x="36" y="37"/>
                    <a:pt x="32" y="37"/>
                  </a:cubicBezTo>
                  <a:cubicBezTo>
                    <a:pt x="32" y="42"/>
                    <a:pt x="29" y="41"/>
                    <a:pt x="24" y="41"/>
                  </a:cubicBezTo>
                  <a:cubicBezTo>
                    <a:pt x="19" y="41"/>
                    <a:pt x="13" y="42"/>
                    <a:pt x="8" y="39"/>
                  </a:cubicBezTo>
                  <a:cubicBezTo>
                    <a:pt x="7" y="38"/>
                    <a:pt x="6" y="38"/>
                    <a:pt x="5" y="37"/>
                  </a:cubicBezTo>
                  <a:cubicBezTo>
                    <a:pt x="4" y="37"/>
                    <a:pt x="4" y="37"/>
                    <a:pt x="4" y="37"/>
                  </a:cubicBezTo>
                  <a:cubicBezTo>
                    <a:pt x="4" y="38"/>
                    <a:pt x="4" y="40"/>
                    <a:pt x="4" y="41"/>
                  </a:cubicBezTo>
                  <a:cubicBezTo>
                    <a:pt x="4" y="42"/>
                    <a:pt x="6" y="42"/>
                    <a:pt x="5" y="44"/>
                  </a:cubicBezTo>
                  <a:cubicBezTo>
                    <a:pt x="3" y="45"/>
                    <a:pt x="2" y="47"/>
                    <a:pt x="4" y="49"/>
                  </a:cubicBezTo>
                  <a:cubicBezTo>
                    <a:pt x="6" y="51"/>
                    <a:pt x="3" y="52"/>
                    <a:pt x="2" y="53"/>
                  </a:cubicBezTo>
                  <a:cubicBezTo>
                    <a:pt x="0" y="54"/>
                    <a:pt x="1" y="55"/>
                    <a:pt x="2" y="56"/>
                  </a:cubicBezTo>
                  <a:cubicBezTo>
                    <a:pt x="5" y="56"/>
                    <a:pt x="9" y="57"/>
                    <a:pt x="9" y="60"/>
                  </a:cubicBezTo>
                  <a:cubicBezTo>
                    <a:pt x="9" y="65"/>
                    <a:pt x="11" y="66"/>
                    <a:pt x="15" y="68"/>
                  </a:cubicBezTo>
                  <a:cubicBezTo>
                    <a:pt x="17" y="69"/>
                    <a:pt x="18" y="71"/>
                    <a:pt x="18" y="73"/>
                  </a:cubicBezTo>
                  <a:cubicBezTo>
                    <a:pt x="19" y="74"/>
                    <a:pt x="19" y="77"/>
                    <a:pt x="22" y="76"/>
                  </a:cubicBezTo>
                  <a:cubicBezTo>
                    <a:pt x="22" y="78"/>
                    <a:pt x="22" y="80"/>
                    <a:pt x="23" y="81"/>
                  </a:cubicBezTo>
                  <a:cubicBezTo>
                    <a:pt x="25" y="82"/>
                    <a:pt x="28" y="80"/>
                    <a:pt x="29" y="81"/>
                  </a:cubicBezTo>
                  <a:cubicBezTo>
                    <a:pt x="34" y="85"/>
                    <a:pt x="29" y="91"/>
                    <a:pt x="30" y="96"/>
                  </a:cubicBezTo>
                  <a:cubicBezTo>
                    <a:pt x="34" y="96"/>
                    <a:pt x="33" y="103"/>
                    <a:pt x="33" y="105"/>
                  </a:cubicBezTo>
                  <a:cubicBezTo>
                    <a:pt x="36" y="105"/>
                    <a:pt x="36" y="108"/>
                    <a:pt x="37" y="109"/>
                  </a:cubicBezTo>
                  <a:cubicBezTo>
                    <a:pt x="39" y="112"/>
                    <a:pt x="43" y="111"/>
                    <a:pt x="46" y="112"/>
                  </a:cubicBezTo>
                  <a:cubicBezTo>
                    <a:pt x="45" y="114"/>
                    <a:pt x="45" y="117"/>
                    <a:pt x="44" y="119"/>
                  </a:cubicBezTo>
                  <a:cubicBezTo>
                    <a:pt x="44" y="123"/>
                    <a:pt x="41" y="122"/>
                    <a:pt x="39" y="124"/>
                  </a:cubicBezTo>
                  <a:cubicBezTo>
                    <a:pt x="36" y="126"/>
                    <a:pt x="35" y="129"/>
                    <a:pt x="34" y="131"/>
                  </a:cubicBezTo>
                  <a:cubicBezTo>
                    <a:pt x="34" y="131"/>
                    <a:pt x="34" y="131"/>
                    <a:pt x="34" y="131"/>
                  </a:cubicBezTo>
                  <a:cubicBezTo>
                    <a:pt x="35" y="131"/>
                    <a:pt x="36" y="132"/>
                    <a:pt x="36" y="132"/>
                  </a:cubicBezTo>
                  <a:cubicBezTo>
                    <a:pt x="38" y="134"/>
                    <a:pt x="38" y="136"/>
                    <a:pt x="39" y="137"/>
                  </a:cubicBezTo>
                  <a:cubicBezTo>
                    <a:pt x="42" y="140"/>
                    <a:pt x="50" y="141"/>
                    <a:pt x="54" y="139"/>
                  </a:cubicBezTo>
                  <a:cubicBezTo>
                    <a:pt x="56" y="139"/>
                    <a:pt x="57" y="137"/>
                    <a:pt x="59" y="137"/>
                  </a:cubicBezTo>
                  <a:cubicBezTo>
                    <a:pt x="62" y="136"/>
                    <a:pt x="66" y="138"/>
                    <a:pt x="69" y="137"/>
                  </a:cubicBezTo>
                  <a:cubicBezTo>
                    <a:pt x="72" y="137"/>
                    <a:pt x="74" y="136"/>
                    <a:pt x="77" y="135"/>
                  </a:cubicBezTo>
                  <a:cubicBezTo>
                    <a:pt x="79" y="135"/>
                    <a:pt x="81" y="132"/>
                    <a:pt x="84" y="133"/>
                  </a:cubicBezTo>
                  <a:cubicBezTo>
                    <a:pt x="84" y="138"/>
                    <a:pt x="84" y="143"/>
                    <a:pt x="83" y="148"/>
                  </a:cubicBezTo>
                  <a:cubicBezTo>
                    <a:pt x="82" y="148"/>
                    <a:pt x="82" y="148"/>
                    <a:pt x="82" y="148"/>
                  </a:cubicBezTo>
                  <a:cubicBezTo>
                    <a:pt x="82" y="150"/>
                    <a:pt x="80" y="150"/>
                    <a:pt x="79" y="152"/>
                  </a:cubicBezTo>
                  <a:cubicBezTo>
                    <a:pt x="83" y="152"/>
                    <a:pt x="86" y="156"/>
                    <a:pt x="90" y="155"/>
                  </a:cubicBezTo>
                  <a:cubicBezTo>
                    <a:pt x="93" y="155"/>
                    <a:pt x="94" y="151"/>
                    <a:pt x="97" y="150"/>
                  </a:cubicBezTo>
                  <a:cubicBezTo>
                    <a:pt x="100" y="148"/>
                    <a:pt x="104" y="150"/>
                    <a:pt x="107" y="151"/>
                  </a:cubicBezTo>
                  <a:cubicBezTo>
                    <a:pt x="110" y="152"/>
                    <a:pt x="114" y="155"/>
                    <a:pt x="117" y="152"/>
                  </a:cubicBezTo>
                  <a:cubicBezTo>
                    <a:pt x="120" y="153"/>
                    <a:pt x="118" y="155"/>
                    <a:pt x="117" y="157"/>
                  </a:cubicBezTo>
                  <a:cubicBezTo>
                    <a:pt x="119" y="157"/>
                    <a:pt x="120" y="158"/>
                    <a:pt x="123" y="158"/>
                  </a:cubicBezTo>
                  <a:cubicBezTo>
                    <a:pt x="124" y="156"/>
                    <a:pt x="123" y="152"/>
                    <a:pt x="127" y="152"/>
                  </a:cubicBezTo>
                  <a:cubicBezTo>
                    <a:pt x="128" y="149"/>
                    <a:pt x="125" y="147"/>
                    <a:pt x="126" y="145"/>
                  </a:cubicBezTo>
                  <a:cubicBezTo>
                    <a:pt x="130" y="143"/>
                    <a:pt x="125" y="135"/>
                    <a:pt x="124" y="133"/>
                  </a:cubicBezTo>
                  <a:cubicBezTo>
                    <a:pt x="126" y="133"/>
                    <a:pt x="132" y="131"/>
                    <a:pt x="131" y="135"/>
                  </a:cubicBezTo>
                  <a:cubicBezTo>
                    <a:pt x="135" y="135"/>
                    <a:pt x="140" y="134"/>
                    <a:pt x="142" y="136"/>
                  </a:cubicBezTo>
                  <a:cubicBezTo>
                    <a:pt x="143" y="138"/>
                    <a:pt x="147" y="142"/>
                    <a:pt x="147" y="144"/>
                  </a:cubicBezTo>
                  <a:cubicBezTo>
                    <a:pt x="147" y="144"/>
                    <a:pt x="148" y="144"/>
                    <a:pt x="149" y="143"/>
                  </a:cubicBezTo>
                  <a:cubicBezTo>
                    <a:pt x="150" y="137"/>
                    <a:pt x="159" y="142"/>
                    <a:pt x="158" y="147"/>
                  </a:cubicBezTo>
                  <a:cubicBezTo>
                    <a:pt x="159" y="147"/>
                    <a:pt x="160" y="148"/>
                    <a:pt x="160" y="148"/>
                  </a:cubicBezTo>
                  <a:cubicBezTo>
                    <a:pt x="161" y="147"/>
                    <a:pt x="161" y="147"/>
                    <a:pt x="162" y="147"/>
                  </a:cubicBezTo>
                  <a:cubicBezTo>
                    <a:pt x="165" y="147"/>
                    <a:pt x="166" y="144"/>
                    <a:pt x="168" y="144"/>
                  </a:cubicBezTo>
                  <a:cubicBezTo>
                    <a:pt x="166" y="142"/>
                    <a:pt x="165" y="144"/>
                    <a:pt x="165" y="141"/>
                  </a:cubicBezTo>
                  <a:cubicBezTo>
                    <a:pt x="165" y="138"/>
                    <a:pt x="163" y="138"/>
                    <a:pt x="161" y="137"/>
                  </a:cubicBezTo>
                  <a:cubicBezTo>
                    <a:pt x="162" y="135"/>
                    <a:pt x="164" y="136"/>
                    <a:pt x="163" y="134"/>
                  </a:cubicBezTo>
                  <a:cubicBezTo>
                    <a:pt x="162" y="132"/>
                    <a:pt x="158" y="131"/>
                    <a:pt x="159" y="129"/>
                  </a:cubicBezTo>
                  <a:cubicBezTo>
                    <a:pt x="158" y="129"/>
                    <a:pt x="157" y="129"/>
                    <a:pt x="155" y="129"/>
                  </a:cubicBezTo>
                  <a:cubicBezTo>
                    <a:pt x="156" y="128"/>
                    <a:pt x="156" y="127"/>
                    <a:pt x="156" y="126"/>
                  </a:cubicBezTo>
                  <a:cubicBezTo>
                    <a:pt x="154" y="126"/>
                    <a:pt x="152" y="125"/>
                    <a:pt x="151" y="123"/>
                  </a:cubicBezTo>
                  <a:cubicBezTo>
                    <a:pt x="150" y="123"/>
                    <a:pt x="148" y="121"/>
                    <a:pt x="148" y="120"/>
                  </a:cubicBezTo>
                  <a:cubicBezTo>
                    <a:pt x="145" y="117"/>
                    <a:pt x="148" y="114"/>
                    <a:pt x="151" y="113"/>
                  </a:cubicBezTo>
                  <a:cubicBezTo>
                    <a:pt x="152" y="110"/>
                    <a:pt x="146" y="111"/>
                    <a:pt x="144" y="111"/>
                  </a:cubicBezTo>
                  <a:cubicBezTo>
                    <a:pt x="144" y="112"/>
                    <a:pt x="144" y="112"/>
                    <a:pt x="144" y="112"/>
                  </a:cubicBezTo>
                  <a:cubicBezTo>
                    <a:pt x="143" y="112"/>
                    <a:pt x="142" y="111"/>
                    <a:pt x="142" y="110"/>
                  </a:cubicBezTo>
                  <a:cubicBezTo>
                    <a:pt x="139" y="110"/>
                    <a:pt x="137" y="112"/>
                    <a:pt x="135" y="109"/>
                  </a:cubicBezTo>
                  <a:cubicBezTo>
                    <a:pt x="134" y="107"/>
                    <a:pt x="133" y="105"/>
                    <a:pt x="130" y="106"/>
                  </a:cubicBezTo>
                  <a:cubicBezTo>
                    <a:pt x="129" y="103"/>
                    <a:pt x="127" y="102"/>
                    <a:pt x="124" y="103"/>
                  </a:cubicBezTo>
                  <a:cubicBezTo>
                    <a:pt x="122" y="103"/>
                    <a:pt x="122" y="102"/>
                    <a:pt x="122" y="101"/>
                  </a:cubicBezTo>
                  <a:cubicBezTo>
                    <a:pt x="122" y="100"/>
                    <a:pt x="119" y="100"/>
                    <a:pt x="118" y="100"/>
                  </a:cubicBezTo>
                  <a:cubicBezTo>
                    <a:pt x="118" y="99"/>
                    <a:pt x="119" y="96"/>
                    <a:pt x="120" y="95"/>
                  </a:cubicBezTo>
                  <a:cubicBezTo>
                    <a:pt x="123" y="95"/>
                    <a:pt x="122" y="88"/>
                    <a:pt x="120" y="87"/>
                  </a:cubicBezTo>
                  <a:cubicBezTo>
                    <a:pt x="123" y="87"/>
                    <a:pt x="126" y="87"/>
                    <a:pt x="128" y="87"/>
                  </a:cubicBezTo>
                  <a:cubicBezTo>
                    <a:pt x="129" y="86"/>
                    <a:pt x="127" y="85"/>
                    <a:pt x="127" y="83"/>
                  </a:cubicBezTo>
                  <a:cubicBezTo>
                    <a:pt x="129" y="83"/>
                    <a:pt x="131" y="83"/>
                    <a:pt x="133" y="83"/>
                  </a:cubicBezTo>
                  <a:cubicBezTo>
                    <a:pt x="134" y="87"/>
                    <a:pt x="135" y="89"/>
                    <a:pt x="139" y="89"/>
                  </a:cubicBezTo>
                  <a:cubicBezTo>
                    <a:pt x="141" y="89"/>
                    <a:pt x="142" y="89"/>
                    <a:pt x="142" y="87"/>
                  </a:cubicBezTo>
                  <a:cubicBezTo>
                    <a:pt x="143" y="84"/>
                    <a:pt x="144" y="84"/>
                    <a:pt x="146" y="82"/>
                  </a:cubicBezTo>
                  <a:cubicBezTo>
                    <a:pt x="148" y="81"/>
                    <a:pt x="151" y="79"/>
                    <a:pt x="153" y="78"/>
                  </a:cubicBezTo>
                  <a:cubicBezTo>
                    <a:pt x="155" y="77"/>
                    <a:pt x="158" y="77"/>
                    <a:pt x="160" y="76"/>
                  </a:cubicBezTo>
                  <a:cubicBezTo>
                    <a:pt x="163" y="76"/>
                    <a:pt x="162" y="67"/>
                    <a:pt x="166" y="71"/>
                  </a:cubicBezTo>
                  <a:cubicBezTo>
                    <a:pt x="166" y="70"/>
                    <a:pt x="166" y="67"/>
                    <a:pt x="168" y="68"/>
                  </a:cubicBezTo>
                  <a:cubicBezTo>
                    <a:pt x="172" y="68"/>
                    <a:pt x="174" y="71"/>
                    <a:pt x="178" y="70"/>
                  </a:cubicBezTo>
                  <a:cubicBezTo>
                    <a:pt x="179" y="69"/>
                    <a:pt x="178" y="68"/>
                    <a:pt x="177" y="67"/>
                  </a:cubicBezTo>
                  <a:cubicBezTo>
                    <a:pt x="179" y="67"/>
                    <a:pt x="180" y="68"/>
                    <a:pt x="182" y="68"/>
                  </a:cubicBezTo>
                  <a:cubicBezTo>
                    <a:pt x="182" y="67"/>
                    <a:pt x="182" y="66"/>
                    <a:pt x="182" y="65"/>
                  </a:cubicBezTo>
                  <a:cubicBezTo>
                    <a:pt x="183" y="64"/>
                    <a:pt x="184" y="64"/>
                    <a:pt x="184" y="63"/>
                  </a:cubicBezTo>
                  <a:cubicBezTo>
                    <a:pt x="184" y="62"/>
                    <a:pt x="181" y="59"/>
                    <a:pt x="182" y="59"/>
                  </a:cubicBezTo>
                  <a:cubicBezTo>
                    <a:pt x="184" y="58"/>
                    <a:pt x="186" y="59"/>
                    <a:pt x="187" y="59"/>
                  </a:cubicBezTo>
                  <a:cubicBezTo>
                    <a:pt x="189" y="60"/>
                    <a:pt x="189" y="62"/>
                    <a:pt x="192" y="62"/>
                  </a:cubicBezTo>
                  <a:cubicBezTo>
                    <a:pt x="192" y="61"/>
                    <a:pt x="192" y="60"/>
                    <a:pt x="192" y="59"/>
                  </a:cubicBezTo>
                  <a:cubicBezTo>
                    <a:pt x="192" y="59"/>
                    <a:pt x="192" y="59"/>
                    <a:pt x="192" y="59"/>
                  </a:cubicBezTo>
                  <a:cubicBezTo>
                    <a:pt x="193" y="57"/>
                    <a:pt x="192" y="53"/>
                    <a:pt x="196" y="55"/>
                  </a:cubicBezTo>
                  <a:cubicBezTo>
                    <a:pt x="196" y="53"/>
                    <a:pt x="199" y="53"/>
                    <a:pt x="201" y="53"/>
                  </a:cubicBezTo>
                  <a:cubicBezTo>
                    <a:pt x="200" y="52"/>
                    <a:pt x="200" y="51"/>
                    <a:pt x="198" y="51"/>
                  </a:cubicBezTo>
                  <a:cubicBezTo>
                    <a:pt x="198" y="49"/>
                    <a:pt x="202" y="48"/>
                    <a:pt x="202" y="47"/>
                  </a:cubicBezTo>
                  <a:cubicBezTo>
                    <a:pt x="205" y="44"/>
                    <a:pt x="206" y="42"/>
                    <a:pt x="206" y="38"/>
                  </a:cubicBezTo>
                  <a:cubicBezTo>
                    <a:pt x="201" y="37"/>
                    <a:pt x="205" y="35"/>
                    <a:pt x="204" y="33"/>
                  </a:cubicBezTo>
                  <a:cubicBezTo>
                    <a:pt x="206" y="33"/>
                    <a:pt x="208" y="33"/>
                    <a:pt x="209" y="33"/>
                  </a:cubicBezTo>
                  <a:cubicBezTo>
                    <a:pt x="209" y="31"/>
                    <a:pt x="210" y="29"/>
                    <a:pt x="209" y="27"/>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04" name="Rectangle 332"/>
            <p:cNvSpPr>
              <a:spLocks noChangeArrowheads="1"/>
            </p:cNvSpPr>
            <p:nvPr/>
          </p:nvSpPr>
          <p:spPr bwMode="auto">
            <a:xfrm>
              <a:off x="4737101" y="3333751"/>
              <a:ext cx="1588" cy="1588"/>
            </a:xfrm>
            <a:prstGeom prst="rect">
              <a:avLst/>
            </a:prstGeom>
            <a:solidFill>
              <a:srgbClr val="68CEF2"/>
            </a:solidFill>
            <a:ln w="3175">
              <a:solidFill>
                <a:schemeClr val="bg1"/>
              </a:solidFill>
              <a:miter lim="800000"/>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05" name="Freeform 333"/>
            <p:cNvSpPr>
              <a:spLocks/>
            </p:cNvSpPr>
            <p:nvPr/>
          </p:nvSpPr>
          <p:spPr bwMode="auto">
            <a:xfrm>
              <a:off x="4676776" y="3425826"/>
              <a:ext cx="41275" cy="14288"/>
            </a:xfrm>
            <a:custGeom>
              <a:avLst/>
              <a:gdLst>
                <a:gd name="T0" fmla="*/ 0 w 26"/>
                <a:gd name="T1" fmla="*/ 0 h 9"/>
                <a:gd name="T2" fmla="*/ 26 w 26"/>
                <a:gd name="T3" fmla="*/ 9 h 9"/>
                <a:gd name="T4" fmla="*/ 0 w 26"/>
                <a:gd name="T5" fmla="*/ 0 h 9"/>
                <a:gd name="T6" fmla="*/ 0 w 26"/>
                <a:gd name="T7" fmla="*/ 0 h 9"/>
              </a:gdLst>
              <a:ahLst/>
              <a:cxnLst>
                <a:cxn ang="0">
                  <a:pos x="T0" y="T1"/>
                </a:cxn>
                <a:cxn ang="0">
                  <a:pos x="T2" y="T3"/>
                </a:cxn>
                <a:cxn ang="0">
                  <a:pos x="T4" y="T5"/>
                </a:cxn>
                <a:cxn ang="0">
                  <a:pos x="T6" y="T7"/>
                </a:cxn>
              </a:cxnLst>
              <a:rect l="0" t="0" r="r" b="b"/>
              <a:pathLst>
                <a:path w="26" h="9">
                  <a:moveTo>
                    <a:pt x="0" y="0"/>
                  </a:moveTo>
                  <a:lnTo>
                    <a:pt x="26" y="9"/>
                  </a:lnTo>
                  <a:lnTo>
                    <a:pt x="0" y="0"/>
                  </a:lnTo>
                  <a:lnTo>
                    <a:pt x="0"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06" name="Freeform 334"/>
            <p:cNvSpPr>
              <a:spLocks/>
            </p:cNvSpPr>
            <p:nvPr/>
          </p:nvSpPr>
          <p:spPr bwMode="auto">
            <a:xfrm>
              <a:off x="4743451" y="3341688"/>
              <a:ext cx="3175" cy="6350"/>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0" y="1"/>
                    <a:pt x="0" y="1"/>
                    <a:pt x="0" y="0"/>
                  </a:cubicBezTo>
                  <a:cubicBezTo>
                    <a:pt x="0" y="1"/>
                    <a:pt x="0" y="1"/>
                    <a:pt x="1" y="2"/>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07" name="Freeform 335"/>
            <p:cNvSpPr>
              <a:spLocks/>
            </p:cNvSpPr>
            <p:nvPr/>
          </p:nvSpPr>
          <p:spPr bwMode="auto">
            <a:xfrm>
              <a:off x="3159126" y="2955926"/>
              <a:ext cx="1481138" cy="968375"/>
            </a:xfrm>
            <a:custGeom>
              <a:avLst/>
              <a:gdLst>
                <a:gd name="T0" fmla="*/ 401 w 419"/>
                <a:gd name="T1" fmla="*/ 157 h 274"/>
                <a:gd name="T2" fmla="*/ 362 w 419"/>
                <a:gd name="T3" fmla="*/ 157 h 274"/>
                <a:gd name="T4" fmla="*/ 374 w 419"/>
                <a:gd name="T5" fmla="*/ 188 h 274"/>
                <a:gd name="T6" fmla="*/ 358 w 419"/>
                <a:gd name="T7" fmla="*/ 210 h 274"/>
                <a:gd name="T8" fmla="*/ 332 w 419"/>
                <a:gd name="T9" fmla="*/ 224 h 274"/>
                <a:gd name="T10" fmla="*/ 321 w 419"/>
                <a:gd name="T11" fmla="*/ 246 h 274"/>
                <a:gd name="T12" fmla="*/ 289 w 419"/>
                <a:gd name="T13" fmla="*/ 258 h 274"/>
                <a:gd name="T14" fmla="*/ 250 w 419"/>
                <a:gd name="T15" fmla="*/ 254 h 274"/>
                <a:gd name="T16" fmla="*/ 229 w 419"/>
                <a:gd name="T17" fmla="*/ 260 h 274"/>
                <a:gd name="T18" fmla="*/ 197 w 419"/>
                <a:gd name="T19" fmla="*/ 255 h 274"/>
                <a:gd name="T20" fmla="*/ 165 w 419"/>
                <a:gd name="T21" fmla="*/ 254 h 274"/>
                <a:gd name="T22" fmla="*/ 140 w 419"/>
                <a:gd name="T23" fmla="*/ 247 h 274"/>
                <a:gd name="T24" fmla="*/ 122 w 419"/>
                <a:gd name="T25" fmla="*/ 267 h 274"/>
                <a:gd name="T26" fmla="*/ 99 w 419"/>
                <a:gd name="T27" fmla="*/ 271 h 274"/>
                <a:gd name="T28" fmla="*/ 59 w 419"/>
                <a:gd name="T29" fmla="*/ 256 h 274"/>
                <a:gd name="T30" fmla="*/ 12 w 419"/>
                <a:gd name="T31" fmla="*/ 230 h 274"/>
                <a:gd name="T32" fmla="*/ 5 w 419"/>
                <a:gd name="T33" fmla="*/ 198 h 274"/>
                <a:gd name="T34" fmla="*/ 20 w 419"/>
                <a:gd name="T35" fmla="*/ 175 h 274"/>
                <a:gd name="T36" fmla="*/ 31 w 419"/>
                <a:gd name="T37" fmla="*/ 160 h 274"/>
                <a:gd name="T38" fmla="*/ 53 w 419"/>
                <a:gd name="T39" fmla="*/ 124 h 274"/>
                <a:gd name="T40" fmla="*/ 44 w 419"/>
                <a:gd name="T41" fmla="*/ 100 h 274"/>
                <a:gd name="T42" fmla="*/ 54 w 419"/>
                <a:gd name="T43" fmla="*/ 85 h 274"/>
                <a:gd name="T44" fmla="*/ 69 w 419"/>
                <a:gd name="T45" fmla="*/ 95 h 274"/>
                <a:gd name="T46" fmla="*/ 94 w 419"/>
                <a:gd name="T47" fmla="*/ 109 h 274"/>
                <a:gd name="T48" fmla="*/ 82 w 419"/>
                <a:gd name="T49" fmla="*/ 129 h 274"/>
                <a:gd name="T50" fmla="*/ 99 w 419"/>
                <a:gd name="T51" fmla="*/ 130 h 274"/>
                <a:gd name="T52" fmla="*/ 132 w 419"/>
                <a:gd name="T53" fmla="*/ 121 h 274"/>
                <a:gd name="T54" fmla="*/ 142 w 419"/>
                <a:gd name="T55" fmla="*/ 108 h 274"/>
                <a:gd name="T56" fmla="*/ 145 w 419"/>
                <a:gd name="T57" fmla="*/ 87 h 274"/>
                <a:gd name="T58" fmla="*/ 169 w 419"/>
                <a:gd name="T59" fmla="*/ 71 h 274"/>
                <a:gd name="T60" fmla="*/ 132 w 419"/>
                <a:gd name="T61" fmla="*/ 63 h 274"/>
                <a:gd name="T62" fmla="*/ 163 w 419"/>
                <a:gd name="T63" fmla="*/ 24 h 274"/>
                <a:gd name="T64" fmla="*/ 207 w 419"/>
                <a:gd name="T65" fmla="*/ 4 h 274"/>
                <a:gd name="T66" fmla="*/ 232 w 419"/>
                <a:gd name="T67" fmla="*/ 2 h 274"/>
                <a:gd name="T68" fmla="*/ 248 w 419"/>
                <a:gd name="T69" fmla="*/ 27 h 274"/>
                <a:gd name="T70" fmla="*/ 233 w 419"/>
                <a:gd name="T71" fmla="*/ 52 h 274"/>
                <a:gd name="T72" fmla="*/ 212 w 419"/>
                <a:gd name="T73" fmla="*/ 66 h 274"/>
                <a:gd name="T74" fmla="*/ 203 w 419"/>
                <a:gd name="T75" fmla="*/ 93 h 274"/>
                <a:gd name="T76" fmla="*/ 223 w 419"/>
                <a:gd name="T77" fmla="*/ 120 h 274"/>
                <a:gd name="T78" fmla="*/ 237 w 419"/>
                <a:gd name="T79" fmla="*/ 114 h 274"/>
                <a:gd name="T80" fmla="*/ 227 w 419"/>
                <a:gd name="T81" fmla="*/ 93 h 274"/>
                <a:gd name="T82" fmla="*/ 232 w 419"/>
                <a:gd name="T83" fmla="*/ 68 h 274"/>
                <a:gd name="T84" fmla="*/ 235 w 419"/>
                <a:gd name="T85" fmla="*/ 75 h 274"/>
                <a:gd name="T86" fmla="*/ 240 w 419"/>
                <a:gd name="T87" fmla="*/ 78 h 274"/>
                <a:gd name="T88" fmla="*/ 256 w 419"/>
                <a:gd name="T89" fmla="*/ 80 h 274"/>
                <a:gd name="T90" fmla="*/ 267 w 419"/>
                <a:gd name="T91" fmla="*/ 84 h 274"/>
                <a:gd name="T92" fmla="*/ 301 w 419"/>
                <a:gd name="T93" fmla="*/ 71 h 274"/>
                <a:gd name="T94" fmla="*/ 303 w 419"/>
                <a:gd name="T95" fmla="*/ 89 h 274"/>
                <a:gd name="T96" fmla="*/ 314 w 419"/>
                <a:gd name="T97" fmla="*/ 87 h 274"/>
                <a:gd name="T98" fmla="*/ 325 w 419"/>
                <a:gd name="T99" fmla="*/ 85 h 274"/>
                <a:gd name="T100" fmla="*/ 325 w 419"/>
                <a:gd name="T101" fmla="*/ 96 h 274"/>
                <a:gd name="T102" fmla="*/ 352 w 419"/>
                <a:gd name="T103" fmla="*/ 85 h 274"/>
                <a:gd name="T104" fmla="*/ 367 w 419"/>
                <a:gd name="T105" fmla="*/ 91 h 274"/>
                <a:gd name="T106" fmla="*/ 390 w 419"/>
                <a:gd name="T107" fmla="*/ 109 h 274"/>
                <a:gd name="T108" fmla="*/ 413 w 419"/>
                <a:gd name="T109" fmla="*/ 110 h 274"/>
                <a:gd name="T110" fmla="*/ 413 w 419"/>
                <a:gd name="T111" fmla="*/ 124 h 274"/>
                <a:gd name="T112" fmla="*/ 415 w 419"/>
                <a:gd name="T113" fmla="*/ 1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 h="274">
                  <a:moveTo>
                    <a:pt x="415" y="144"/>
                  </a:moveTo>
                  <a:cubicBezTo>
                    <a:pt x="414" y="145"/>
                    <a:pt x="414" y="147"/>
                    <a:pt x="412" y="147"/>
                  </a:cubicBezTo>
                  <a:cubicBezTo>
                    <a:pt x="410" y="148"/>
                    <a:pt x="408" y="147"/>
                    <a:pt x="408" y="149"/>
                  </a:cubicBezTo>
                  <a:cubicBezTo>
                    <a:pt x="408" y="150"/>
                    <a:pt x="408" y="152"/>
                    <a:pt x="407" y="153"/>
                  </a:cubicBezTo>
                  <a:cubicBezTo>
                    <a:pt x="405" y="153"/>
                    <a:pt x="404" y="152"/>
                    <a:pt x="403" y="152"/>
                  </a:cubicBezTo>
                  <a:cubicBezTo>
                    <a:pt x="402" y="153"/>
                    <a:pt x="403" y="156"/>
                    <a:pt x="401" y="157"/>
                  </a:cubicBezTo>
                  <a:cubicBezTo>
                    <a:pt x="400" y="157"/>
                    <a:pt x="400" y="155"/>
                    <a:pt x="399" y="154"/>
                  </a:cubicBezTo>
                  <a:cubicBezTo>
                    <a:pt x="397" y="153"/>
                    <a:pt x="395" y="154"/>
                    <a:pt x="394" y="154"/>
                  </a:cubicBezTo>
                  <a:cubicBezTo>
                    <a:pt x="394" y="151"/>
                    <a:pt x="389" y="153"/>
                    <a:pt x="387" y="153"/>
                  </a:cubicBezTo>
                  <a:cubicBezTo>
                    <a:pt x="388" y="149"/>
                    <a:pt x="369" y="151"/>
                    <a:pt x="366" y="151"/>
                  </a:cubicBezTo>
                  <a:cubicBezTo>
                    <a:pt x="367" y="144"/>
                    <a:pt x="356" y="148"/>
                    <a:pt x="360" y="151"/>
                  </a:cubicBezTo>
                  <a:cubicBezTo>
                    <a:pt x="362" y="153"/>
                    <a:pt x="366" y="154"/>
                    <a:pt x="362" y="157"/>
                  </a:cubicBezTo>
                  <a:cubicBezTo>
                    <a:pt x="359" y="160"/>
                    <a:pt x="356" y="162"/>
                    <a:pt x="360" y="166"/>
                  </a:cubicBezTo>
                  <a:cubicBezTo>
                    <a:pt x="362" y="168"/>
                    <a:pt x="365" y="164"/>
                    <a:pt x="367" y="165"/>
                  </a:cubicBezTo>
                  <a:cubicBezTo>
                    <a:pt x="369" y="166"/>
                    <a:pt x="371" y="169"/>
                    <a:pt x="372" y="166"/>
                  </a:cubicBezTo>
                  <a:cubicBezTo>
                    <a:pt x="374" y="167"/>
                    <a:pt x="375" y="169"/>
                    <a:pt x="375" y="170"/>
                  </a:cubicBezTo>
                  <a:cubicBezTo>
                    <a:pt x="379" y="170"/>
                    <a:pt x="383" y="177"/>
                    <a:pt x="384" y="180"/>
                  </a:cubicBezTo>
                  <a:cubicBezTo>
                    <a:pt x="385" y="188"/>
                    <a:pt x="380" y="188"/>
                    <a:pt x="374" y="188"/>
                  </a:cubicBezTo>
                  <a:cubicBezTo>
                    <a:pt x="374" y="190"/>
                    <a:pt x="373" y="190"/>
                    <a:pt x="371" y="191"/>
                  </a:cubicBezTo>
                  <a:cubicBezTo>
                    <a:pt x="370" y="192"/>
                    <a:pt x="370" y="194"/>
                    <a:pt x="370" y="196"/>
                  </a:cubicBezTo>
                  <a:cubicBezTo>
                    <a:pt x="370" y="198"/>
                    <a:pt x="368" y="198"/>
                    <a:pt x="367" y="199"/>
                  </a:cubicBezTo>
                  <a:cubicBezTo>
                    <a:pt x="365" y="201"/>
                    <a:pt x="366" y="202"/>
                    <a:pt x="365" y="204"/>
                  </a:cubicBezTo>
                  <a:cubicBezTo>
                    <a:pt x="365" y="206"/>
                    <a:pt x="363" y="206"/>
                    <a:pt x="361" y="207"/>
                  </a:cubicBezTo>
                  <a:cubicBezTo>
                    <a:pt x="359" y="208"/>
                    <a:pt x="359" y="209"/>
                    <a:pt x="358" y="210"/>
                  </a:cubicBezTo>
                  <a:cubicBezTo>
                    <a:pt x="357" y="212"/>
                    <a:pt x="351" y="211"/>
                    <a:pt x="351" y="215"/>
                  </a:cubicBezTo>
                  <a:cubicBezTo>
                    <a:pt x="349" y="215"/>
                    <a:pt x="348" y="214"/>
                    <a:pt x="347" y="214"/>
                  </a:cubicBezTo>
                  <a:cubicBezTo>
                    <a:pt x="345" y="214"/>
                    <a:pt x="345" y="214"/>
                    <a:pt x="344" y="215"/>
                  </a:cubicBezTo>
                  <a:cubicBezTo>
                    <a:pt x="341" y="216"/>
                    <a:pt x="338" y="215"/>
                    <a:pt x="335" y="215"/>
                  </a:cubicBezTo>
                  <a:cubicBezTo>
                    <a:pt x="335" y="218"/>
                    <a:pt x="335" y="221"/>
                    <a:pt x="335" y="224"/>
                  </a:cubicBezTo>
                  <a:cubicBezTo>
                    <a:pt x="334" y="224"/>
                    <a:pt x="333" y="224"/>
                    <a:pt x="332" y="224"/>
                  </a:cubicBezTo>
                  <a:cubicBezTo>
                    <a:pt x="331" y="225"/>
                    <a:pt x="328" y="229"/>
                    <a:pt x="330" y="230"/>
                  </a:cubicBezTo>
                  <a:cubicBezTo>
                    <a:pt x="330" y="231"/>
                    <a:pt x="330" y="232"/>
                    <a:pt x="330" y="233"/>
                  </a:cubicBezTo>
                  <a:cubicBezTo>
                    <a:pt x="328" y="234"/>
                    <a:pt x="327" y="232"/>
                    <a:pt x="324" y="232"/>
                  </a:cubicBezTo>
                  <a:cubicBezTo>
                    <a:pt x="324" y="234"/>
                    <a:pt x="324" y="236"/>
                    <a:pt x="324" y="238"/>
                  </a:cubicBezTo>
                  <a:cubicBezTo>
                    <a:pt x="322" y="239"/>
                    <a:pt x="320" y="238"/>
                    <a:pt x="320" y="240"/>
                  </a:cubicBezTo>
                  <a:cubicBezTo>
                    <a:pt x="320" y="242"/>
                    <a:pt x="321" y="244"/>
                    <a:pt x="321" y="246"/>
                  </a:cubicBezTo>
                  <a:cubicBezTo>
                    <a:pt x="322" y="249"/>
                    <a:pt x="320" y="252"/>
                    <a:pt x="316" y="252"/>
                  </a:cubicBezTo>
                  <a:cubicBezTo>
                    <a:pt x="316" y="257"/>
                    <a:pt x="319" y="268"/>
                    <a:pt x="311" y="269"/>
                  </a:cubicBezTo>
                  <a:cubicBezTo>
                    <a:pt x="304" y="270"/>
                    <a:pt x="304" y="270"/>
                    <a:pt x="304" y="270"/>
                  </a:cubicBezTo>
                  <a:cubicBezTo>
                    <a:pt x="301" y="269"/>
                    <a:pt x="298" y="266"/>
                    <a:pt x="297" y="262"/>
                  </a:cubicBezTo>
                  <a:cubicBezTo>
                    <a:pt x="296" y="260"/>
                    <a:pt x="293" y="260"/>
                    <a:pt x="293" y="259"/>
                  </a:cubicBezTo>
                  <a:cubicBezTo>
                    <a:pt x="291" y="259"/>
                    <a:pt x="290" y="259"/>
                    <a:pt x="289" y="258"/>
                  </a:cubicBezTo>
                  <a:cubicBezTo>
                    <a:pt x="288" y="257"/>
                    <a:pt x="287" y="258"/>
                    <a:pt x="286" y="258"/>
                  </a:cubicBezTo>
                  <a:cubicBezTo>
                    <a:pt x="284" y="260"/>
                    <a:pt x="283" y="261"/>
                    <a:pt x="280" y="261"/>
                  </a:cubicBezTo>
                  <a:cubicBezTo>
                    <a:pt x="277" y="261"/>
                    <a:pt x="274" y="261"/>
                    <a:pt x="272" y="260"/>
                  </a:cubicBezTo>
                  <a:cubicBezTo>
                    <a:pt x="268" y="258"/>
                    <a:pt x="266" y="258"/>
                    <a:pt x="262" y="258"/>
                  </a:cubicBezTo>
                  <a:cubicBezTo>
                    <a:pt x="261" y="259"/>
                    <a:pt x="255" y="260"/>
                    <a:pt x="255" y="258"/>
                  </a:cubicBezTo>
                  <a:cubicBezTo>
                    <a:pt x="255" y="255"/>
                    <a:pt x="252" y="254"/>
                    <a:pt x="250" y="254"/>
                  </a:cubicBezTo>
                  <a:cubicBezTo>
                    <a:pt x="246" y="254"/>
                    <a:pt x="247" y="252"/>
                    <a:pt x="245" y="251"/>
                  </a:cubicBezTo>
                  <a:cubicBezTo>
                    <a:pt x="242" y="249"/>
                    <a:pt x="242" y="253"/>
                    <a:pt x="241" y="254"/>
                  </a:cubicBezTo>
                  <a:cubicBezTo>
                    <a:pt x="240" y="254"/>
                    <a:pt x="239" y="254"/>
                    <a:pt x="238" y="255"/>
                  </a:cubicBezTo>
                  <a:cubicBezTo>
                    <a:pt x="238" y="255"/>
                    <a:pt x="238" y="256"/>
                    <a:pt x="238" y="256"/>
                  </a:cubicBezTo>
                  <a:cubicBezTo>
                    <a:pt x="235" y="256"/>
                    <a:pt x="232" y="255"/>
                    <a:pt x="229" y="255"/>
                  </a:cubicBezTo>
                  <a:cubicBezTo>
                    <a:pt x="229" y="257"/>
                    <a:pt x="229" y="258"/>
                    <a:pt x="229" y="260"/>
                  </a:cubicBezTo>
                  <a:cubicBezTo>
                    <a:pt x="225" y="260"/>
                    <a:pt x="220" y="263"/>
                    <a:pt x="216" y="261"/>
                  </a:cubicBezTo>
                  <a:cubicBezTo>
                    <a:pt x="214" y="260"/>
                    <a:pt x="212" y="256"/>
                    <a:pt x="209" y="257"/>
                  </a:cubicBezTo>
                  <a:cubicBezTo>
                    <a:pt x="208" y="258"/>
                    <a:pt x="206" y="260"/>
                    <a:pt x="205" y="258"/>
                  </a:cubicBezTo>
                  <a:cubicBezTo>
                    <a:pt x="204" y="256"/>
                    <a:pt x="205" y="255"/>
                    <a:pt x="205" y="253"/>
                  </a:cubicBezTo>
                  <a:cubicBezTo>
                    <a:pt x="203" y="253"/>
                    <a:pt x="203" y="255"/>
                    <a:pt x="202" y="256"/>
                  </a:cubicBezTo>
                  <a:cubicBezTo>
                    <a:pt x="200" y="257"/>
                    <a:pt x="199" y="255"/>
                    <a:pt x="197" y="255"/>
                  </a:cubicBezTo>
                  <a:cubicBezTo>
                    <a:pt x="194" y="253"/>
                    <a:pt x="191" y="256"/>
                    <a:pt x="190" y="259"/>
                  </a:cubicBezTo>
                  <a:cubicBezTo>
                    <a:pt x="183" y="260"/>
                    <a:pt x="178" y="263"/>
                    <a:pt x="171" y="262"/>
                  </a:cubicBezTo>
                  <a:cubicBezTo>
                    <a:pt x="168" y="261"/>
                    <a:pt x="167" y="262"/>
                    <a:pt x="166" y="260"/>
                  </a:cubicBezTo>
                  <a:cubicBezTo>
                    <a:pt x="164" y="258"/>
                    <a:pt x="162" y="261"/>
                    <a:pt x="162" y="262"/>
                  </a:cubicBezTo>
                  <a:cubicBezTo>
                    <a:pt x="160" y="262"/>
                    <a:pt x="159" y="256"/>
                    <a:pt x="158" y="254"/>
                  </a:cubicBezTo>
                  <a:cubicBezTo>
                    <a:pt x="160" y="254"/>
                    <a:pt x="163" y="255"/>
                    <a:pt x="165" y="254"/>
                  </a:cubicBezTo>
                  <a:cubicBezTo>
                    <a:pt x="165" y="255"/>
                    <a:pt x="165" y="256"/>
                    <a:pt x="165" y="256"/>
                  </a:cubicBezTo>
                  <a:cubicBezTo>
                    <a:pt x="166" y="256"/>
                    <a:pt x="167" y="255"/>
                    <a:pt x="168" y="255"/>
                  </a:cubicBezTo>
                  <a:cubicBezTo>
                    <a:pt x="165" y="252"/>
                    <a:pt x="164" y="245"/>
                    <a:pt x="160" y="244"/>
                  </a:cubicBezTo>
                  <a:cubicBezTo>
                    <a:pt x="155" y="243"/>
                    <a:pt x="153" y="245"/>
                    <a:pt x="150" y="248"/>
                  </a:cubicBezTo>
                  <a:cubicBezTo>
                    <a:pt x="149" y="248"/>
                    <a:pt x="147" y="248"/>
                    <a:pt x="146" y="249"/>
                  </a:cubicBezTo>
                  <a:cubicBezTo>
                    <a:pt x="146" y="246"/>
                    <a:pt x="141" y="247"/>
                    <a:pt x="140" y="247"/>
                  </a:cubicBezTo>
                  <a:cubicBezTo>
                    <a:pt x="136" y="248"/>
                    <a:pt x="134" y="249"/>
                    <a:pt x="131" y="250"/>
                  </a:cubicBezTo>
                  <a:cubicBezTo>
                    <a:pt x="131" y="252"/>
                    <a:pt x="130" y="253"/>
                    <a:pt x="128" y="253"/>
                  </a:cubicBezTo>
                  <a:cubicBezTo>
                    <a:pt x="129" y="254"/>
                    <a:pt x="129" y="257"/>
                    <a:pt x="127" y="258"/>
                  </a:cubicBezTo>
                  <a:cubicBezTo>
                    <a:pt x="125" y="258"/>
                    <a:pt x="124" y="258"/>
                    <a:pt x="124" y="260"/>
                  </a:cubicBezTo>
                  <a:cubicBezTo>
                    <a:pt x="122" y="260"/>
                    <a:pt x="121" y="262"/>
                    <a:pt x="119" y="264"/>
                  </a:cubicBezTo>
                  <a:cubicBezTo>
                    <a:pt x="122" y="264"/>
                    <a:pt x="123" y="265"/>
                    <a:pt x="122" y="267"/>
                  </a:cubicBezTo>
                  <a:cubicBezTo>
                    <a:pt x="120" y="267"/>
                    <a:pt x="119" y="269"/>
                    <a:pt x="118" y="269"/>
                  </a:cubicBezTo>
                  <a:cubicBezTo>
                    <a:pt x="116" y="270"/>
                    <a:pt x="114" y="269"/>
                    <a:pt x="113" y="269"/>
                  </a:cubicBezTo>
                  <a:cubicBezTo>
                    <a:pt x="112" y="271"/>
                    <a:pt x="113" y="273"/>
                    <a:pt x="111" y="273"/>
                  </a:cubicBezTo>
                  <a:cubicBezTo>
                    <a:pt x="110" y="273"/>
                    <a:pt x="108" y="273"/>
                    <a:pt x="107" y="273"/>
                  </a:cubicBezTo>
                  <a:cubicBezTo>
                    <a:pt x="105" y="273"/>
                    <a:pt x="99" y="274"/>
                    <a:pt x="99" y="271"/>
                  </a:cubicBezTo>
                  <a:cubicBezTo>
                    <a:pt x="99" y="271"/>
                    <a:pt x="99" y="271"/>
                    <a:pt x="99" y="271"/>
                  </a:cubicBezTo>
                  <a:cubicBezTo>
                    <a:pt x="100" y="269"/>
                    <a:pt x="99" y="261"/>
                    <a:pt x="97" y="260"/>
                  </a:cubicBezTo>
                  <a:cubicBezTo>
                    <a:pt x="96" y="260"/>
                    <a:pt x="93" y="260"/>
                    <a:pt x="92" y="259"/>
                  </a:cubicBezTo>
                  <a:cubicBezTo>
                    <a:pt x="91" y="256"/>
                    <a:pt x="90" y="257"/>
                    <a:pt x="87" y="257"/>
                  </a:cubicBezTo>
                  <a:cubicBezTo>
                    <a:pt x="82" y="257"/>
                    <a:pt x="76" y="259"/>
                    <a:pt x="71" y="257"/>
                  </a:cubicBezTo>
                  <a:cubicBezTo>
                    <a:pt x="69" y="256"/>
                    <a:pt x="67" y="256"/>
                    <a:pt x="65" y="257"/>
                  </a:cubicBezTo>
                  <a:cubicBezTo>
                    <a:pt x="63" y="257"/>
                    <a:pt x="61" y="256"/>
                    <a:pt x="59" y="256"/>
                  </a:cubicBezTo>
                  <a:cubicBezTo>
                    <a:pt x="54" y="256"/>
                    <a:pt x="53" y="254"/>
                    <a:pt x="51" y="250"/>
                  </a:cubicBezTo>
                  <a:cubicBezTo>
                    <a:pt x="49" y="245"/>
                    <a:pt x="47" y="244"/>
                    <a:pt x="42" y="243"/>
                  </a:cubicBezTo>
                  <a:cubicBezTo>
                    <a:pt x="38" y="243"/>
                    <a:pt x="32" y="246"/>
                    <a:pt x="28" y="243"/>
                  </a:cubicBezTo>
                  <a:cubicBezTo>
                    <a:pt x="25" y="239"/>
                    <a:pt x="26" y="235"/>
                    <a:pt x="25" y="231"/>
                  </a:cubicBezTo>
                  <a:cubicBezTo>
                    <a:pt x="19" y="226"/>
                    <a:pt x="19" y="226"/>
                    <a:pt x="19" y="226"/>
                  </a:cubicBezTo>
                  <a:cubicBezTo>
                    <a:pt x="16" y="226"/>
                    <a:pt x="17" y="232"/>
                    <a:pt x="12" y="230"/>
                  </a:cubicBezTo>
                  <a:cubicBezTo>
                    <a:pt x="10" y="230"/>
                    <a:pt x="9" y="228"/>
                    <a:pt x="7" y="228"/>
                  </a:cubicBezTo>
                  <a:cubicBezTo>
                    <a:pt x="6" y="227"/>
                    <a:pt x="6" y="226"/>
                    <a:pt x="5" y="224"/>
                  </a:cubicBezTo>
                  <a:cubicBezTo>
                    <a:pt x="5" y="222"/>
                    <a:pt x="8" y="220"/>
                    <a:pt x="7" y="218"/>
                  </a:cubicBezTo>
                  <a:cubicBezTo>
                    <a:pt x="6" y="216"/>
                    <a:pt x="5" y="214"/>
                    <a:pt x="3" y="212"/>
                  </a:cubicBezTo>
                  <a:cubicBezTo>
                    <a:pt x="0" y="208"/>
                    <a:pt x="14" y="208"/>
                    <a:pt x="15" y="208"/>
                  </a:cubicBezTo>
                  <a:cubicBezTo>
                    <a:pt x="16" y="200"/>
                    <a:pt x="3" y="206"/>
                    <a:pt x="5" y="198"/>
                  </a:cubicBezTo>
                  <a:cubicBezTo>
                    <a:pt x="8" y="198"/>
                    <a:pt x="10" y="200"/>
                    <a:pt x="12" y="198"/>
                  </a:cubicBezTo>
                  <a:cubicBezTo>
                    <a:pt x="14" y="197"/>
                    <a:pt x="14" y="195"/>
                    <a:pt x="15" y="194"/>
                  </a:cubicBezTo>
                  <a:cubicBezTo>
                    <a:pt x="19" y="193"/>
                    <a:pt x="20" y="194"/>
                    <a:pt x="23" y="191"/>
                  </a:cubicBezTo>
                  <a:cubicBezTo>
                    <a:pt x="25" y="189"/>
                    <a:pt x="27" y="187"/>
                    <a:pt x="27" y="184"/>
                  </a:cubicBezTo>
                  <a:cubicBezTo>
                    <a:pt x="27" y="181"/>
                    <a:pt x="25" y="182"/>
                    <a:pt x="23" y="181"/>
                  </a:cubicBezTo>
                  <a:cubicBezTo>
                    <a:pt x="20" y="180"/>
                    <a:pt x="20" y="177"/>
                    <a:pt x="20" y="175"/>
                  </a:cubicBezTo>
                  <a:cubicBezTo>
                    <a:pt x="20" y="174"/>
                    <a:pt x="20" y="173"/>
                    <a:pt x="20" y="172"/>
                  </a:cubicBezTo>
                  <a:cubicBezTo>
                    <a:pt x="21" y="172"/>
                    <a:pt x="21" y="172"/>
                    <a:pt x="21" y="172"/>
                  </a:cubicBezTo>
                  <a:cubicBezTo>
                    <a:pt x="22" y="172"/>
                    <a:pt x="22" y="172"/>
                    <a:pt x="22" y="171"/>
                  </a:cubicBezTo>
                  <a:cubicBezTo>
                    <a:pt x="22" y="170"/>
                    <a:pt x="26" y="171"/>
                    <a:pt x="27" y="172"/>
                  </a:cubicBezTo>
                  <a:cubicBezTo>
                    <a:pt x="29" y="168"/>
                    <a:pt x="36" y="170"/>
                    <a:pt x="39" y="166"/>
                  </a:cubicBezTo>
                  <a:cubicBezTo>
                    <a:pt x="41" y="163"/>
                    <a:pt x="33" y="161"/>
                    <a:pt x="31" y="160"/>
                  </a:cubicBezTo>
                  <a:cubicBezTo>
                    <a:pt x="34" y="158"/>
                    <a:pt x="32" y="157"/>
                    <a:pt x="33" y="155"/>
                  </a:cubicBezTo>
                  <a:cubicBezTo>
                    <a:pt x="37" y="153"/>
                    <a:pt x="42" y="152"/>
                    <a:pt x="47" y="150"/>
                  </a:cubicBezTo>
                  <a:cubicBezTo>
                    <a:pt x="50" y="148"/>
                    <a:pt x="51" y="144"/>
                    <a:pt x="51" y="141"/>
                  </a:cubicBezTo>
                  <a:cubicBezTo>
                    <a:pt x="51" y="139"/>
                    <a:pt x="50" y="137"/>
                    <a:pt x="50" y="135"/>
                  </a:cubicBezTo>
                  <a:cubicBezTo>
                    <a:pt x="51" y="132"/>
                    <a:pt x="52" y="131"/>
                    <a:pt x="54" y="129"/>
                  </a:cubicBezTo>
                  <a:cubicBezTo>
                    <a:pt x="55" y="127"/>
                    <a:pt x="54" y="126"/>
                    <a:pt x="53" y="124"/>
                  </a:cubicBezTo>
                  <a:cubicBezTo>
                    <a:pt x="52" y="122"/>
                    <a:pt x="52" y="119"/>
                    <a:pt x="52" y="117"/>
                  </a:cubicBezTo>
                  <a:cubicBezTo>
                    <a:pt x="49" y="116"/>
                    <a:pt x="47" y="116"/>
                    <a:pt x="44" y="116"/>
                  </a:cubicBezTo>
                  <a:cubicBezTo>
                    <a:pt x="45" y="115"/>
                    <a:pt x="47" y="114"/>
                    <a:pt x="47" y="112"/>
                  </a:cubicBezTo>
                  <a:cubicBezTo>
                    <a:pt x="48" y="111"/>
                    <a:pt x="46" y="108"/>
                    <a:pt x="49" y="107"/>
                  </a:cubicBezTo>
                  <a:cubicBezTo>
                    <a:pt x="48" y="106"/>
                    <a:pt x="46" y="105"/>
                    <a:pt x="44" y="105"/>
                  </a:cubicBezTo>
                  <a:cubicBezTo>
                    <a:pt x="44" y="103"/>
                    <a:pt x="43" y="101"/>
                    <a:pt x="44" y="100"/>
                  </a:cubicBezTo>
                  <a:cubicBezTo>
                    <a:pt x="45" y="98"/>
                    <a:pt x="48" y="98"/>
                    <a:pt x="48" y="97"/>
                  </a:cubicBezTo>
                  <a:cubicBezTo>
                    <a:pt x="48" y="94"/>
                    <a:pt x="44" y="90"/>
                    <a:pt x="50" y="91"/>
                  </a:cubicBezTo>
                  <a:cubicBezTo>
                    <a:pt x="49" y="93"/>
                    <a:pt x="51" y="92"/>
                    <a:pt x="52" y="93"/>
                  </a:cubicBezTo>
                  <a:cubicBezTo>
                    <a:pt x="53" y="94"/>
                    <a:pt x="54" y="96"/>
                    <a:pt x="56" y="95"/>
                  </a:cubicBezTo>
                  <a:cubicBezTo>
                    <a:pt x="56" y="90"/>
                    <a:pt x="47" y="86"/>
                    <a:pt x="50" y="81"/>
                  </a:cubicBezTo>
                  <a:cubicBezTo>
                    <a:pt x="53" y="81"/>
                    <a:pt x="53" y="84"/>
                    <a:pt x="54" y="85"/>
                  </a:cubicBezTo>
                  <a:cubicBezTo>
                    <a:pt x="55" y="87"/>
                    <a:pt x="59" y="87"/>
                    <a:pt x="60" y="86"/>
                  </a:cubicBezTo>
                  <a:cubicBezTo>
                    <a:pt x="63" y="85"/>
                    <a:pt x="62" y="82"/>
                    <a:pt x="63" y="80"/>
                  </a:cubicBezTo>
                  <a:cubicBezTo>
                    <a:pt x="65" y="77"/>
                    <a:pt x="70" y="78"/>
                    <a:pt x="73" y="78"/>
                  </a:cubicBezTo>
                  <a:cubicBezTo>
                    <a:pt x="73" y="81"/>
                    <a:pt x="73" y="83"/>
                    <a:pt x="72" y="85"/>
                  </a:cubicBezTo>
                  <a:cubicBezTo>
                    <a:pt x="69" y="84"/>
                    <a:pt x="70" y="88"/>
                    <a:pt x="70" y="90"/>
                  </a:cubicBezTo>
                  <a:cubicBezTo>
                    <a:pt x="66" y="90"/>
                    <a:pt x="65" y="94"/>
                    <a:pt x="69" y="95"/>
                  </a:cubicBezTo>
                  <a:cubicBezTo>
                    <a:pt x="73" y="96"/>
                    <a:pt x="78" y="96"/>
                    <a:pt x="82" y="96"/>
                  </a:cubicBezTo>
                  <a:cubicBezTo>
                    <a:pt x="81" y="101"/>
                    <a:pt x="85" y="98"/>
                    <a:pt x="87" y="96"/>
                  </a:cubicBezTo>
                  <a:cubicBezTo>
                    <a:pt x="90" y="95"/>
                    <a:pt x="91" y="94"/>
                    <a:pt x="94" y="95"/>
                  </a:cubicBezTo>
                  <a:cubicBezTo>
                    <a:pt x="95" y="97"/>
                    <a:pt x="94" y="100"/>
                    <a:pt x="94" y="103"/>
                  </a:cubicBezTo>
                  <a:cubicBezTo>
                    <a:pt x="96" y="103"/>
                    <a:pt x="97" y="103"/>
                    <a:pt x="99" y="103"/>
                  </a:cubicBezTo>
                  <a:cubicBezTo>
                    <a:pt x="99" y="106"/>
                    <a:pt x="98" y="114"/>
                    <a:pt x="94" y="109"/>
                  </a:cubicBezTo>
                  <a:cubicBezTo>
                    <a:pt x="91" y="109"/>
                    <a:pt x="90" y="112"/>
                    <a:pt x="91" y="114"/>
                  </a:cubicBezTo>
                  <a:cubicBezTo>
                    <a:pt x="91" y="116"/>
                    <a:pt x="93" y="115"/>
                    <a:pt x="93" y="118"/>
                  </a:cubicBezTo>
                  <a:cubicBezTo>
                    <a:pt x="93" y="120"/>
                    <a:pt x="92" y="121"/>
                    <a:pt x="92" y="123"/>
                  </a:cubicBezTo>
                  <a:cubicBezTo>
                    <a:pt x="93" y="126"/>
                    <a:pt x="96" y="125"/>
                    <a:pt x="96" y="127"/>
                  </a:cubicBezTo>
                  <a:cubicBezTo>
                    <a:pt x="93" y="128"/>
                    <a:pt x="92" y="130"/>
                    <a:pt x="88" y="130"/>
                  </a:cubicBezTo>
                  <a:cubicBezTo>
                    <a:pt x="86" y="131"/>
                    <a:pt x="84" y="130"/>
                    <a:pt x="82" y="129"/>
                  </a:cubicBezTo>
                  <a:cubicBezTo>
                    <a:pt x="78" y="127"/>
                    <a:pt x="78" y="135"/>
                    <a:pt x="79" y="137"/>
                  </a:cubicBezTo>
                  <a:cubicBezTo>
                    <a:pt x="84" y="137"/>
                    <a:pt x="83" y="140"/>
                    <a:pt x="87" y="142"/>
                  </a:cubicBezTo>
                  <a:cubicBezTo>
                    <a:pt x="87" y="140"/>
                    <a:pt x="87" y="138"/>
                    <a:pt x="88" y="137"/>
                  </a:cubicBezTo>
                  <a:cubicBezTo>
                    <a:pt x="90" y="136"/>
                    <a:pt x="94" y="137"/>
                    <a:pt x="97" y="137"/>
                  </a:cubicBezTo>
                  <a:cubicBezTo>
                    <a:pt x="97" y="136"/>
                    <a:pt x="98" y="135"/>
                    <a:pt x="100" y="136"/>
                  </a:cubicBezTo>
                  <a:cubicBezTo>
                    <a:pt x="100" y="133"/>
                    <a:pt x="99" y="132"/>
                    <a:pt x="99" y="130"/>
                  </a:cubicBezTo>
                  <a:cubicBezTo>
                    <a:pt x="101" y="130"/>
                    <a:pt x="103" y="130"/>
                    <a:pt x="104" y="128"/>
                  </a:cubicBezTo>
                  <a:cubicBezTo>
                    <a:pt x="106" y="126"/>
                    <a:pt x="108" y="123"/>
                    <a:pt x="108" y="120"/>
                  </a:cubicBezTo>
                  <a:cubicBezTo>
                    <a:pt x="111" y="119"/>
                    <a:pt x="114" y="121"/>
                    <a:pt x="118" y="122"/>
                  </a:cubicBezTo>
                  <a:cubicBezTo>
                    <a:pt x="121" y="122"/>
                    <a:pt x="124" y="122"/>
                    <a:pt x="127" y="124"/>
                  </a:cubicBezTo>
                  <a:cubicBezTo>
                    <a:pt x="127" y="123"/>
                    <a:pt x="128" y="122"/>
                    <a:pt x="128" y="121"/>
                  </a:cubicBezTo>
                  <a:cubicBezTo>
                    <a:pt x="129" y="121"/>
                    <a:pt x="130" y="121"/>
                    <a:pt x="132" y="121"/>
                  </a:cubicBezTo>
                  <a:cubicBezTo>
                    <a:pt x="132" y="120"/>
                    <a:pt x="132" y="120"/>
                    <a:pt x="132" y="120"/>
                  </a:cubicBezTo>
                  <a:cubicBezTo>
                    <a:pt x="132" y="121"/>
                    <a:pt x="132" y="123"/>
                    <a:pt x="132" y="124"/>
                  </a:cubicBezTo>
                  <a:cubicBezTo>
                    <a:pt x="134" y="124"/>
                    <a:pt x="135" y="126"/>
                    <a:pt x="137" y="125"/>
                  </a:cubicBezTo>
                  <a:cubicBezTo>
                    <a:pt x="137" y="127"/>
                    <a:pt x="138" y="129"/>
                    <a:pt x="140" y="129"/>
                  </a:cubicBezTo>
                  <a:cubicBezTo>
                    <a:pt x="140" y="126"/>
                    <a:pt x="145" y="126"/>
                    <a:pt x="145" y="124"/>
                  </a:cubicBezTo>
                  <a:cubicBezTo>
                    <a:pt x="141" y="123"/>
                    <a:pt x="143" y="111"/>
                    <a:pt x="142" y="108"/>
                  </a:cubicBezTo>
                  <a:cubicBezTo>
                    <a:pt x="145" y="107"/>
                    <a:pt x="146" y="110"/>
                    <a:pt x="148" y="111"/>
                  </a:cubicBezTo>
                  <a:cubicBezTo>
                    <a:pt x="152" y="112"/>
                    <a:pt x="153" y="107"/>
                    <a:pt x="153" y="105"/>
                  </a:cubicBezTo>
                  <a:cubicBezTo>
                    <a:pt x="153" y="101"/>
                    <a:pt x="152" y="100"/>
                    <a:pt x="149" y="99"/>
                  </a:cubicBezTo>
                  <a:cubicBezTo>
                    <a:pt x="145" y="98"/>
                    <a:pt x="143" y="97"/>
                    <a:pt x="142" y="94"/>
                  </a:cubicBezTo>
                  <a:cubicBezTo>
                    <a:pt x="144" y="94"/>
                    <a:pt x="148" y="94"/>
                    <a:pt x="147" y="91"/>
                  </a:cubicBezTo>
                  <a:cubicBezTo>
                    <a:pt x="147" y="89"/>
                    <a:pt x="145" y="89"/>
                    <a:pt x="145" y="87"/>
                  </a:cubicBezTo>
                  <a:cubicBezTo>
                    <a:pt x="144" y="86"/>
                    <a:pt x="145" y="84"/>
                    <a:pt x="145" y="83"/>
                  </a:cubicBezTo>
                  <a:cubicBezTo>
                    <a:pt x="149" y="82"/>
                    <a:pt x="152" y="83"/>
                    <a:pt x="156" y="83"/>
                  </a:cubicBezTo>
                  <a:cubicBezTo>
                    <a:pt x="159" y="82"/>
                    <a:pt x="161" y="81"/>
                    <a:pt x="164" y="80"/>
                  </a:cubicBezTo>
                  <a:cubicBezTo>
                    <a:pt x="164" y="80"/>
                    <a:pt x="164" y="82"/>
                    <a:pt x="164" y="82"/>
                  </a:cubicBezTo>
                  <a:cubicBezTo>
                    <a:pt x="166" y="82"/>
                    <a:pt x="167" y="81"/>
                    <a:pt x="169" y="82"/>
                  </a:cubicBezTo>
                  <a:cubicBezTo>
                    <a:pt x="169" y="78"/>
                    <a:pt x="169" y="75"/>
                    <a:pt x="169" y="71"/>
                  </a:cubicBezTo>
                  <a:cubicBezTo>
                    <a:pt x="166" y="72"/>
                    <a:pt x="167" y="68"/>
                    <a:pt x="167" y="66"/>
                  </a:cubicBezTo>
                  <a:cubicBezTo>
                    <a:pt x="163" y="66"/>
                    <a:pt x="162" y="67"/>
                    <a:pt x="161" y="71"/>
                  </a:cubicBezTo>
                  <a:cubicBezTo>
                    <a:pt x="160" y="71"/>
                    <a:pt x="159" y="70"/>
                    <a:pt x="158" y="69"/>
                  </a:cubicBezTo>
                  <a:cubicBezTo>
                    <a:pt x="156" y="69"/>
                    <a:pt x="155" y="70"/>
                    <a:pt x="153" y="70"/>
                  </a:cubicBezTo>
                  <a:cubicBezTo>
                    <a:pt x="148" y="71"/>
                    <a:pt x="142" y="70"/>
                    <a:pt x="137" y="68"/>
                  </a:cubicBezTo>
                  <a:cubicBezTo>
                    <a:pt x="134" y="67"/>
                    <a:pt x="133" y="66"/>
                    <a:pt x="132" y="63"/>
                  </a:cubicBezTo>
                  <a:cubicBezTo>
                    <a:pt x="131" y="59"/>
                    <a:pt x="130" y="54"/>
                    <a:pt x="128" y="50"/>
                  </a:cubicBezTo>
                  <a:cubicBezTo>
                    <a:pt x="132" y="51"/>
                    <a:pt x="130" y="46"/>
                    <a:pt x="132" y="44"/>
                  </a:cubicBezTo>
                  <a:cubicBezTo>
                    <a:pt x="136" y="44"/>
                    <a:pt x="140" y="43"/>
                    <a:pt x="143" y="39"/>
                  </a:cubicBezTo>
                  <a:cubicBezTo>
                    <a:pt x="145" y="36"/>
                    <a:pt x="148" y="31"/>
                    <a:pt x="153" y="30"/>
                  </a:cubicBezTo>
                  <a:cubicBezTo>
                    <a:pt x="155" y="30"/>
                    <a:pt x="158" y="30"/>
                    <a:pt x="160" y="28"/>
                  </a:cubicBezTo>
                  <a:cubicBezTo>
                    <a:pt x="161" y="26"/>
                    <a:pt x="161" y="25"/>
                    <a:pt x="163" y="24"/>
                  </a:cubicBezTo>
                  <a:cubicBezTo>
                    <a:pt x="166" y="23"/>
                    <a:pt x="171" y="23"/>
                    <a:pt x="173" y="20"/>
                  </a:cubicBezTo>
                  <a:cubicBezTo>
                    <a:pt x="176" y="20"/>
                    <a:pt x="179" y="19"/>
                    <a:pt x="181" y="17"/>
                  </a:cubicBezTo>
                  <a:cubicBezTo>
                    <a:pt x="182" y="16"/>
                    <a:pt x="183" y="15"/>
                    <a:pt x="184" y="14"/>
                  </a:cubicBezTo>
                  <a:cubicBezTo>
                    <a:pt x="186" y="13"/>
                    <a:pt x="188" y="13"/>
                    <a:pt x="190" y="13"/>
                  </a:cubicBezTo>
                  <a:cubicBezTo>
                    <a:pt x="191" y="5"/>
                    <a:pt x="201" y="8"/>
                    <a:pt x="206" y="7"/>
                  </a:cubicBezTo>
                  <a:cubicBezTo>
                    <a:pt x="207" y="4"/>
                    <a:pt x="207" y="4"/>
                    <a:pt x="207" y="4"/>
                  </a:cubicBezTo>
                  <a:cubicBezTo>
                    <a:pt x="208" y="2"/>
                    <a:pt x="210" y="1"/>
                    <a:pt x="211" y="0"/>
                  </a:cubicBezTo>
                  <a:cubicBezTo>
                    <a:pt x="211" y="0"/>
                    <a:pt x="211" y="0"/>
                    <a:pt x="211" y="0"/>
                  </a:cubicBezTo>
                  <a:cubicBezTo>
                    <a:pt x="212" y="0"/>
                    <a:pt x="212" y="0"/>
                    <a:pt x="212" y="0"/>
                  </a:cubicBezTo>
                  <a:cubicBezTo>
                    <a:pt x="214" y="1"/>
                    <a:pt x="216" y="0"/>
                    <a:pt x="218" y="0"/>
                  </a:cubicBezTo>
                  <a:cubicBezTo>
                    <a:pt x="220" y="0"/>
                    <a:pt x="222" y="2"/>
                    <a:pt x="225" y="2"/>
                  </a:cubicBezTo>
                  <a:cubicBezTo>
                    <a:pt x="227" y="2"/>
                    <a:pt x="229" y="2"/>
                    <a:pt x="232" y="2"/>
                  </a:cubicBezTo>
                  <a:cubicBezTo>
                    <a:pt x="232" y="1"/>
                    <a:pt x="232" y="1"/>
                    <a:pt x="232" y="1"/>
                  </a:cubicBezTo>
                  <a:cubicBezTo>
                    <a:pt x="236" y="1"/>
                    <a:pt x="237" y="2"/>
                    <a:pt x="239" y="4"/>
                  </a:cubicBezTo>
                  <a:cubicBezTo>
                    <a:pt x="239" y="6"/>
                    <a:pt x="241" y="6"/>
                    <a:pt x="243" y="7"/>
                  </a:cubicBezTo>
                  <a:cubicBezTo>
                    <a:pt x="245" y="7"/>
                    <a:pt x="245" y="9"/>
                    <a:pt x="245" y="11"/>
                  </a:cubicBezTo>
                  <a:cubicBezTo>
                    <a:pt x="245" y="14"/>
                    <a:pt x="247" y="16"/>
                    <a:pt x="248" y="18"/>
                  </a:cubicBezTo>
                  <a:cubicBezTo>
                    <a:pt x="250" y="21"/>
                    <a:pt x="248" y="24"/>
                    <a:pt x="248" y="27"/>
                  </a:cubicBezTo>
                  <a:cubicBezTo>
                    <a:pt x="244" y="28"/>
                    <a:pt x="246" y="31"/>
                    <a:pt x="244" y="31"/>
                  </a:cubicBezTo>
                  <a:cubicBezTo>
                    <a:pt x="243" y="33"/>
                    <a:pt x="244" y="34"/>
                    <a:pt x="243" y="36"/>
                  </a:cubicBezTo>
                  <a:cubicBezTo>
                    <a:pt x="241" y="37"/>
                    <a:pt x="241" y="41"/>
                    <a:pt x="239" y="43"/>
                  </a:cubicBezTo>
                  <a:cubicBezTo>
                    <a:pt x="238" y="45"/>
                    <a:pt x="236" y="47"/>
                    <a:pt x="236" y="49"/>
                  </a:cubicBezTo>
                  <a:cubicBezTo>
                    <a:pt x="234" y="47"/>
                    <a:pt x="234" y="51"/>
                    <a:pt x="234" y="52"/>
                  </a:cubicBezTo>
                  <a:cubicBezTo>
                    <a:pt x="233" y="52"/>
                    <a:pt x="233" y="52"/>
                    <a:pt x="233" y="52"/>
                  </a:cubicBezTo>
                  <a:cubicBezTo>
                    <a:pt x="233" y="54"/>
                    <a:pt x="236" y="56"/>
                    <a:pt x="235" y="57"/>
                  </a:cubicBezTo>
                  <a:cubicBezTo>
                    <a:pt x="234" y="59"/>
                    <a:pt x="233" y="58"/>
                    <a:pt x="231" y="58"/>
                  </a:cubicBezTo>
                  <a:cubicBezTo>
                    <a:pt x="230" y="58"/>
                    <a:pt x="229" y="59"/>
                    <a:pt x="228" y="60"/>
                  </a:cubicBezTo>
                  <a:cubicBezTo>
                    <a:pt x="225" y="61"/>
                    <a:pt x="222" y="60"/>
                    <a:pt x="219" y="60"/>
                  </a:cubicBezTo>
                  <a:cubicBezTo>
                    <a:pt x="216" y="60"/>
                    <a:pt x="217" y="64"/>
                    <a:pt x="216" y="66"/>
                  </a:cubicBezTo>
                  <a:cubicBezTo>
                    <a:pt x="215" y="66"/>
                    <a:pt x="213" y="65"/>
                    <a:pt x="212" y="66"/>
                  </a:cubicBezTo>
                  <a:cubicBezTo>
                    <a:pt x="212" y="67"/>
                    <a:pt x="212" y="69"/>
                    <a:pt x="212" y="70"/>
                  </a:cubicBezTo>
                  <a:cubicBezTo>
                    <a:pt x="212" y="72"/>
                    <a:pt x="211" y="77"/>
                    <a:pt x="215" y="77"/>
                  </a:cubicBezTo>
                  <a:cubicBezTo>
                    <a:pt x="215" y="78"/>
                    <a:pt x="216" y="79"/>
                    <a:pt x="216" y="81"/>
                  </a:cubicBezTo>
                  <a:cubicBezTo>
                    <a:pt x="213" y="80"/>
                    <a:pt x="214" y="84"/>
                    <a:pt x="211" y="83"/>
                  </a:cubicBezTo>
                  <a:cubicBezTo>
                    <a:pt x="211" y="86"/>
                    <a:pt x="211" y="88"/>
                    <a:pt x="209" y="90"/>
                  </a:cubicBezTo>
                  <a:cubicBezTo>
                    <a:pt x="208" y="91"/>
                    <a:pt x="205" y="93"/>
                    <a:pt x="203" y="93"/>
                  </a:cubicBezTo>
                  <a:cubicBezTo>
                    <a:pt x="203" y="96"/>
                    <a:pt x="212" y="108"/>
                    <a:pt x="206" y="110"/>
                  </a:cubicBezTo>
                  <a:cubicBezTo>
                    <a:pt x="205" y="112"/>
                    <a:pt x="207" y="112"/>
                    <a:pt x="209" y="113"/>
                  </a:cubicBezTo>
                  <a:cubicBezTo>
                    <a:pt x="214" y="114"/>
                    <a:pt x="211" y="119"/>
                    <a:pt x="211" y="122"/>
                  </a:cubicBezTo>
                  <a:cubicBezTo>
                    <a:pt x="212" y="122"/>
                    <a:pt x="213" y="123"/>
                    <a:pt x="215" y="123"/>
                  </a:cubicBezTo>
                  <a:cubicBezTo>
                    <a:pt x="215" y="120"/>
                    <a:pt x="215" y="118"/>
                    <a:pt x="218" y="117"/>
                  </a:cubicBezTo>
                  <a:cubicBezTo>
                    <a:pt x="218" y="120"/>
                    <a:pt x="221" y="118"/>
                    <a:pt x="223" y="120"/>
                  </a:cubicBezTo>
                  <a:cubicBezTo>
                    <a:pt x="225" y="121"/>
                    <a:pt x="223" y="126"/>
                    <a:pt x="227" y="126"/>
                  </a:cubicBezTo>
                  <a:cubicBezTo>
                    <a:pt x="227" y="126"/>
                    <a:pt x="228" y="125"/>
                    <a:pt x="227" y="125"/>
                  </a:cubicBezTo>
                  <a:cubicBezTo>
                    <a:pt x="229" y="124"/>
                    <a:pt x="232" y="124"/>
                    <a:pt x="232" y="127"/>
                  </a:cubicBezTo>
                  <a:cubicBezTo>
                    <a:pt x="235" y="126"/>
                    <a:pt x="236" y="124"/>
                    <a:pt x="239" y="123"/>
                  </a:cubicBezTo>
                  <a:cubicBezTo>
                    <a:pt x="239" y="121"/>
                    <a:pt x="240" y="119"/>
                    <a:pt x="241" y="118"/>
                  </a:cubicBezTo>
                  <a:cubicBezTo>
                    <a:pt x="240" y="117"/>
                    <a:pt x="239" y="115"/>
                    <a:pt x="237" y="114"/>
                  </a:cubicBezTo>
                  <a:cubicBezTo>
                    <a:pt x="237" y="113"/>
                    <a:pt x="238" y="112"/>
                    <a:pt x="239" y="112"/>
                  </a:cubicBezTo>
                  <a:cubicBezTo>
                    <a:pt x="239" y="111"/>
                    <a:pt x="239" y="110"/>
                    <a:pt x="239" y="109"/>
                  </a:cubicBezTo>
                  <a:cubicBezTo>
                    <a:pt x="239" y="108"/>
                    <a:pt x="237" y="108"/>
                    <a:pt x="237" y="106"/>
                  </a:cubicBezTo>
                  <a:cubicBezTo>
                    <a:pt x="235" y="106"/>
                    <a:pt x="233" y="108"/>
                    <a:pt x="230" y="107"/>
                  </a:cubicBezTo>
                  <a:cubicBezTo>
                    <a:pt x="230" y="103"/>
                    <a:pt x="232" y="99"/>
                    <a:pt x="232" y="96"/>
                  </a:cubicBezTo>
                  <a:cubicBezTo>
                    <a:pt x="231" y="93"/>
                    <a:pt x="228" y="95"/>
                    <a:pt x="227" y="93"/>
                  </a:cubicBezTo>
                  <a:cubicBezTo>
                    <a:pt x="226" y="91"/>
                    <a:pt x="229" y="82"/>
                    <a:pt x="224" y="82"/>
                  </a:cubicBezTo>
                  <a:cubicBezTo>
                    <a:pt x="223" y="80"/>
                    <a:pt x="225" y="76"/>
                    <a:pt x="222" y="74"/>
                  </a:cubicBezTo>
                  <a:cubicBezTo>
                    <a:pt x="221" y="74"/>
                    <a:pt x="217" y="74"/>
                    <a:pt x="218" y="72"/>
                  </a:cubicBezTo>
                  <a:cubicBezTo>
                    <a:pt x="220" y="72"/>
                    <a:pt x="221" y="70"/>
                    <a:pt x="223" y="68"/>
                  </a:cubicBezTo>
                  <a:cubicBezTo>
                    <a:pt x="226" y="67"/>
                    <a:pt x="228" y="67"/>
                    <a:pt x="228" y="71"/>
                  </a:cubicBezTo>
                  <a:cubicBezTo>
                    <a:pt x="231" y="71"/>
                    <a:pt x="232" y="71"/>
                    <a:pt x="232" y="68"/>
                  </a:cubicBezTo>
                  <a:cubicBezTo>
                    <a:pt x="233" y="68"/>
                    <a:pt x="234" y="68"/>
                    <a:pt x="234" y="68"/>
                  </a:cubicBezTo>
                  <a:cubicBezTo>
                    <a:pt x="234" y="67"/>
                    <a:pt x="234" y="66"/>
                    <a:pt x="234" y="65"/>
                  </a:cubicBezTo>
                  <a:cubicBezTo>
                    <a:pt x="237" y="65"/>
                    <a:pt x="238" y="62"/>
                    <a:pt x="240" y="62"/>
                  </a:cubicBezTo>
                  <a:cubicBezTo>
                    <a:pt x="241" y="63"/>
                    <a:pt x="240" y="64"/>
                    <a:pt x="239" y="65"/>
                  </a:cubicBezTo>
                  <a:cubicBezTo>
                    <a:pt x="238" y="67"/>
                    <a:pt x="241" y="69"/>
                    <a:pt x="241" y="71"/>
                  </a:cubicBezTo>
                  <a:cubicBezTo>
                    <a:pt x="238" y="71"/>
                    <a:pt x="235" y="71"/>
                    <a:pt x="235" y="75"/>
                  </a:cubicBezTo>
                  <a:cubicBezTo>
                    <a:pt x="236" y="75"/>
                    <a:pt x="237" y="76"/>
                    <a:pt x="237" y="76"/>
                  </a:cubicBezTo>
                  <a:cubicBezTo>
                    <a:pt x="237" y="75"/>
                    <a:pt x="238" y="74"/>
                    <a:pt x="238" y="73"/>
                  </a:cubicBezTo>
                  <a:cubicBezTo>
                    <a:pt x="238" y="73"/>
                    <a:pt x="239" y="73"/>
                    <a:pt x="240" y="73"/>
                  </a:cubicBezTo>
                  <a:cubicBezTo>
                    <a:pt x="240" y="75"/>
                    <a:pt x="240" y="77"/>
                    <a:pt x="238" y="78"/>
                  </a:cubicBezTo>
                  <a:cubicBezTo>
                    <a:pt x="238" y="78"/>
                    <a:pt x="238" y="79"/>
                    <a:pt x="238" y="80"/>
                  </a:cubicBezTo>
                  <a:cubicBezTo>
                    <a:pt x="239" y="80"/>
                    <a:pt x="240" y="79"/>
                    <a:pt x="240" y="78"/>
                  </a:cubicBezTo>
                  <a:cubicBezTo>
                    <a:pt x="241" y="78"/>
                    <a:pt x="243" y="77"/>
                    <a:pt x="244" y="77"/>
                  </a:cubicBezTo>
                  <a:cubicBezTo>
                    <a:pt x="245" y="78"/>
                    <a:pt x="243" y="80"/>
                    <a:pt x="246" y="81"/>
                  </a:cubicBezTo>
                  <a:cubicBezTo>
                    <a:pt x="245" y="81"/>
                    <a:pt x="246" y="82"/>
                    <a:pt x="246" y="82"/>
                  </a:cubicBezTo>
                  <a:cubicBezTo>
                    <a:pt x="247" y="82"/>
                    <a:pt x="248" y="81"/>
                    <a:pt x="250" y="81"/>
                  </a:cubicBezTo>
                  <a:cubicBezTo>
                    <a:pt x="252" y="82"/>
                    <a:pt x="253" y="83"/>
                    <a:pt x="256" y="82"/>
                  </a:cubicBezTo>
                  <a:cubicBezTo>
                    <a:pt x="256" y="82"/>
                    <a:pt x="256" y="81"/>
                    <a:pt x="256" y="80"/>
                  </a:cubicBezTo>
                  <a:cubicBezTo>
                    <a:pt x="258" y="80"/>
                    <a:pt x="255" y="74"/>
                    <a:pt x="255" y="73"/>
                  </a:cubicBezTo>
                  <a:cubicBezTo>
                    <a:pt x="257" y="73"/>
                    <a:pt x="258" y="75"/>
                    <a:pt x="260" y="74"/>
                  </a:cubicBezTo>
                  <a:cubicBezTo>
                    <a:pt x="259" y="78"/>
                    <a:pt x="262" y="77"/>
                    <a:pt x="264" y="77"/>
                  </a:cubicBezTo>
                  <a:cubicBezTo>
                    <a:pt x="265" y="79"/>
                    <a:pt x="254" y="87"/>
                    <a:pt x="261" y="88"/>
                  </a:cubicBezTo>
                  <a:cubicBezTo>
                    <a:pt x="262" y="86"/>
                    <a:pt x="260" y="85"/>
                    <a:pt x="262" y="84"/>
                  </a:cubicBezTo>
                  <a:cubicBezTo>
                    <a:pt x="263" y="83"/>
                    <a:pt x="265" y="84"/>
                    <a:pt x="267" y="84"/>
                  </a:cubicBezTo>
                  <a:cubicBezTo>
                    <a:pt x="267" y="80"/>
                    <a:pt x="270" y="81"/>
                    <a:pt x="270" y="84"/>
                  </a:cubicBezTo>
                  <a:cubicBezTo>
                    <a:pt x="274" y="84"/>
                    <a:pt x="278" y="84"/>
                    <a:pt x="282" y="84"/>
                  </a:cubicBezTo>
                  <a:cubicBezTo>
                    <a:pt x="282" y="83"/>
                    <a:pt x="281" y="76"/>
                    <a:pt x="284" y="78"/>
                  </a:cubicBezTo>
                  <a:cubicBezTo>
                    <a:pt x="286" y="79"/>
                    <a:pt x="292" y="76"/>
                    <a:pt x="290" y="73"/>
                  </a:cubicBezTo>
                  <a:cubicBezTo>
                    <a:pt x="292" y="73"/>
                    <a:pt x="294" y="73"/>
                    <a:pt x="295" y="74"/>
                  </a:cubicBezTo>
                  <a:cubicBezTo>
                    <a:pt x="295" y="72"/>
                    <a:pt x="300" y="71"/>
                    <a:pt x="301" y="71"/>
                  </a:cubicBezTo>
                  <a:cubicBezTo>
                    <a:pt x="301" y="73"/>
                    <a:pt x="301" y="75"/>
                    <a:pt x="303" y="76"/>
                  </a:cubicBezTo>
                  <a:cubicBezTo>
                    <a:pt x="304" y="77"/>
                    <a:pt x="306" y="79"/>
                    <a:pt x="308" y="80"/>
                  </a:cubicBezTo>
                  <a:cubicBezTo>
                    <a:pt x="308" y="84"/>
                    <a:pt x="303" y="83"/>
                    <a:pt x="304" y="86"/>
                  </a:cubicBezTo>
                  <a:cubicBezTo>
                    <a:pt x="305" y="87"/>
                    <a:pt x="305" y="87"/>
                    <a:pt x="305" y="87"/>
                  </a:cubicBezTo>
                  <a:cubicBezTo>
                    <a:pt x="304" y="88"/>
                    <a:pt x="304" y="88"/>
                    <a:pt x="304" y="88"/>
                  </a:cubicBezTo>
                  <a:cubicBezTo>
                    <a:pt x="303" y="88"/>
                    <a:pt x="303" y="88"/>
                    <a:pt x="303" y="89"/>
                  </a:cubicBezTo>
                  <a:cubicBezTo>
                    <a:pt x="302" y="89"/>
                    <a:pt x="301" y="90"/>
                    <a:pt x="301" y="91"/>
                  </a:cubicBezTo>
                  <a:cubicBezTo>
                    <a:pt x="302" y="91"/>
                    <a:pt x="303" y="91"/>
                    <a:pt x="304" y="90"/>
                  </a:cubicBezTo>
                  <a:cubicBezTo>
                    <a:pt x="304" y="89"/>
                    <a:pt x="306" y="87"/>
                    <a:pt x="308" y="88"/>
                  </a:cubicBezTo>
                  <a:cubicBezTo>
                    <a:pt x="309" y="89"/>
                    <a:pt x="309" y="91"/>
                    <a:pt x="309" y="92"/>
                  </a:cubicBezTo>
                  <a:cubicBezTo>
                    <a:pt x="312" y="93"/>
                    <a:pt x="311" y="88"/>
                    <a:pt x="311" y="87"/>
                  </a:cubicBezTo>
                  <a:cubicBezTo>
                    <a:pt x="312" y="86"/>
                    <a:pt x="313" y="86"/>
                    <a:pt x="314" y="87"/>
                  </a:cubicBezTo>
                  <a:cubicBezTo>
                    <a:pt x="314" y="86"/>
                    <a:pt x="315" y="86"/>
                    <a:pt x="315" y="85"/>
                  </a:cubicBezTo>
                  <a:cubicBezTo>
                    <a:pt x="317" y="85"/>
                    <a:pt x="316" y="86"/>
                    <a:pt x="317" y="87"/>
                  </a:cubicBezTo>
                  <a:cubicBezTo>
                    <a:pt x="318" y="89"/>
                    <a:pt x="321" y="88"/>
                    <a:pt x="322" y="88"/>
                  </a:cubicBezTo>
                  <a:cubicBezTo>
                    <a:pt x="322" y="87"/>
                    <a:pt x="322" y="87"/>
                    <a:pt x="322" y="87"/>
                  </a:cubicBezTo>
                  <a:cubicBezTo>
                    <a:pt x="321" y="87"/>
                    <a:pt x="321" y="86"/>
                    <a:pt x="321" y="85"/>
                  </a:cubicBezTo>
                  <a:cubicBezTo>
                    <a:pt x="322" y="85"/>
                    <a:pt x="324" y="85"/>
                    <a:pt x="325" y="85"/>
                  </a:cubicBezTo>
                  <a:cubicBezTo>
                    <a:pt x="325" y="86"/>
                    <a:pt x="325" y="87"/>
                    <a:pt x="325" y="87"/>
                  </a:cubicBezTo>
                  <a:cubicBezTo>
                    <a:pt x="326" y="86"/>
                    <a:pt x="326" y="85"/>
                    <a:pt x="326" y="85"/>
                  </a:cubicBezTo>
                  <a:cubicBezTo>
                    <a:pt x="327" y="85"/>
                    <a:pt x="328" y="85"/>
                    <a:pt x="329" y="85"/>
                  </a:cubicBezTo>
                  <a:cubicBezTo>
                    <a:pt x="329" y="85"/>
                    <a:pt x="329" y="86"/>
                    <a:pt x="328" y="86"/>
                  </a:cubicBezTo>
                  <a:cubicBezTo>
                    <a:pt x="327" y="87"/>
                    <a:pt x="327" y="88"/>
                    <a:pt x="327" y="90"/>
                  </a:cubicBezTo>
                  <a:cubicBezTo>
                    <a:pt x="327" y="92"/>
                    <a:pt x="326" y="94"/>
                    <a:pt x="325" y="96"/>
                  </a:cubicBezTo>
                  <a:cubicBezTo>
                    <a:pt x="328" y="97"/>
                    <a:pt x="329" y="94"/>
                    <a:pt x="331" y="94"/>
                  </a:cubicBezTo>
                  <a:cubicBezTo>
                    <a:pt x="331" y="96"/>
                    <a:pt x="341" y="95"/>
                    <a:pt x="343" y="95"/>
                  </a:cubicBezTo>
                  <a:cubicBezTo>
                    <a:pt x="341" y="91"/>
                    <a:pt x="347" y="89"/>
                    <a:pt x="345" y="86"/>
                  </a:cubicBezTo>
                  <a:cubicBezTo>
                    <a:pt x="345" y="85"/>
                    <a:pt x="346" y="85"/>
                    <a:pt x="347" y="85"/>
                  </a:cubicBezTo>
                  <a:cubicBezTo>
                    <a:pt x="347" y="86"/>
                    <a:pt x="347" y="87"/>
                    <a:pt x="348" y="87"/>
                  </a:cubicBezTo>
                  <a:cubicBezTo>
                    <a:pt x="348" y="86"/>
                    <a:pt x="350" y="84"/>
                    <a:pt x="352" y="85"/>
                  </a:cubicBezTo>
                  <a:cubicBezTo>
                    <a:pt x="352" y="85"/>
                    <a:pt x="352" y="86"/>
                    <a:pt x="352" y="86"/>
                  </a:cubicBezTo>
                  <a:cubicBezTo>
                    <a:pt x="353" y="87"/>
                    <a:pt x="354" y="88"/>
                    <a:pt x="356" y="88"/>
                  </a:cubicBezTo>
                  <a:cubicBezTo>
                    <a:pt x="355" y="86"/>
                    <a:pt x="357" y="85"/>
                    <a:pt x="357" y="83"/>
                  </a:cubicBezTo>
                  <a:cubicBezTo>
                    <a:pt x="358" y="83"/>
                    <a:pt x="360" y="82"/>
                    <a:pt x="362" y="83"/>
                  </a:cubicBezTo>
                  <a:cubicBezTo>
                    <a:pt x="364" y="85"/>
                    <a:pt x="361" y="88"/>
                    <a:pt x="362" y="90"/>
                  </a:cubicBezTo>
                  <a:cubicBezTo>
                    <a:pt x="363" y="90"/>
                    <a:pt x="367" y="89"/>
                    <a:pt x="367" y="91"/>
                  </a:cubicBezTo>
                  <a:cubicBezTo>
                    <a:pt x="368" y="95"/>
                    <a:pt x="373" y="93"/>
                    <a:pt x="376" y="94"/>
                  </a:cubicBezTo>
                  <a:cubicBezTo>
                    <a:pt x="376" y="96"/>
                    <a:pt x="375" y="99"/>
                    <a:pt x="376" y="101"/>
                  </a:cubicBezTo>
                  <a:cubicBezTo>
                    <a:pt x="378" y="103"/>
                    <a:pt x="382" y="101"/>
                    <a:pt x="385" y="102"/>
                  </a:cubicBezTo>
                  <a:cubicBezTo>
                    <a:pt x="385" y="102"/>
                    <a:pt x="385" y="103"/>
                    <a:pt x="385" y="104"/>
                  </a:cubicBezTo>
                  <a:cubicBezTo>
                    <a:pt x="386" y="104"/>
                    <a:pt x="388" y="104"/>
                    <a:pt x="390" y="104"/>
                  </a:cubicBezTo>
                  <a:cubicBezTo>
                    <a:pt x="390" y="106"/>
                    <a:pt x="390" y="108"/>
                    <a:pt x="390" y="109"/>
                  </a:cubicBezTo>
                  <a:cubicBezTo>
                    <a:pt x="391" y="109"/>
                    <a:pt x="392" y="109"/>
                    <a:pt x="393" y="109"/>
                  </a:cubicBezTo>
                  <a:cubicBezTo>
                    <a:pt x="393" y="110"/>
                    <a:pt x="393" y="111"/>
                    <a:pt x="393" y="112"/>
                  </a:cubicBezTo>
                  <a:cubicBezTo>
                    <a:pt x="395" y="112"/>
                    <a:pt x="395" y="114"/>
                    <a:pt x="397" y="114"/>
                  </a:cubicBezTo>
                  <a:cubicBezTo>
                    <a:pt x="397" y="112"/>
                    <a:pt x="396" y="111"/>
                    <a:pt x="397" y="110"/>
                  </a:cubicBezTo>
                  <a:cubicBezTo>
                    <a:pt x="400" y="110"/>
                    <a:pt x="407" y="111"/>
                    <a:pt x="409" y="109"/>
                  </a:cubicBezTo>
                  <a:cubicBezTo>
                    <a:pt x="410" y="108"/>
                    <a:pt x="412" y="109"/>
                    <a:pt x="413" y="110"/>
                  </a:cubicBezTo>
                  <a:cubicBezTo>
                    <a:pt x="413" y="110"/>
                    <a:pt x="413" y="111"/>
                    <a:pt x="413" y="112"/>
                  </a:cubicBezTo>
                  <a:cubicBezTo>
                    <a:pt x="414" y="113"/>
                    <a:pt x="415" y="112"/>
                    <a:pt x="416" y="113"/>
                  </a:cubicBezTo>
                  <a:cubicBezTo>
                    <a:pt x="419" y="116"/>
                    <a:pt x="414" y="118"/>
                    <a:pt x="412" y="116"/>
                  </a:cubicBezTo>
                  <a:cubicBezTo>
                    <a:pt x="411" y="118"/>
                    <a:pt x="411" y="119"/>
                    <a:pt x="411" y="120"/>
                  </a:cubicBezTo>
                  <a:cubicBezTo>
                    <a:pt x="412" y="120"/>
                    <a:pt x="412" y="120"/>
                    <a:pt x="413" y="120"/>
                  </a:cubicBezTo>
                  <a:cubicBezTo>
                    <a:pt x="413" y="122"/>
                    <a:pt x="413" y="123"/>
                    <a:pt x="413" y="124"/>
                  </a:cubicBezTo>
                  <a:cubicBezTo>
                    <a:pt x="416" y="124"/>
                    <a:pt x="416" y="127"/>
                    <a:pt x="415" y="129"/>
                  </a:cubicBezTo>
                  <a:cubicBezTo>
                    <a:pt x="414" y="132"/>
                    <a:pt x="412" y="133"/>
                    <a:pt x="412" y="136"/>
                  </a:cubicBezTo>
                  <a:cubicBezTo>
                    <a:pt x="411" y="136"/>
                    <a:pt x="411" y="136"/>
                    <a:pt x="410" y="136"/>
                  </a:cubicBezTo>
                  <a:cubicBezTo>
                    <a:pt x="410" y="136"/>
                    <a:pt x="410" y="137"/>
                    <a:pt x="410" y="138"/>
                  </a:cubicBezTo>
                  <a:cubicBezTo>
                    <a:pt x="411" y="138"/>
                    <a:pt x="413" y="139"/>
                    <a:pt x="413" y="140"/>
                  </a:cubicBezTo>
                  <a:cubicBezTo>
                    <a:pt x="414" y="142"/>
                    <a:pt x="413" y="144"/>
                    <a:pt x="415" y="143"/>
                  </a:cubicBezTo>
                  <a:lnTo>
                    <a:pt x="415" y="144"/>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08" name="Rectangle 336"/>
            <p:cNvSpPr>
              <a:spLocks noChangeArrowheads="1"/>
            </p:cNvSpPr>
            <p:nvPr/>
          </p:nvSpPr>
          <p:spPr bwMode="auto">
            <a:xfrm>
              <a:off x="3830638" y="2333626"/>
              <a:ext cx="1588" cy="1588"/>
            </a:xfrm>
            <a:prstGeom prst="rect">
              <a:avLst/>
            </a:prstGeom>
            <a:solidFill>
              <a:srgbClr val="68CEF2"/>
            </a:solidFill>
            <a:ln w="3175">
              <a:solidFill>
                <a:schemeClr val="bg1"/>
              </a:solidFill>
              <a:miter lim="800000"/>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09" name="Freeform 337"/>
            <p:cNvSpPr>
              <a:spLocks/>
            </p:cNvSpPr>
            <p:nvPr/>
          </p:nvSpPr>
          <p:spPr bwMode="auto">
            <a:xfrm>
              <a:off x="3679826" y="2212976"/>
              <a:ext cx="3175" cy="0"/>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10" name="Freeform 338"/>
            <p:cNvSpPr>
              <a:spLocks/>
            </p:cNvSpPr>
            <p:nvPr/>
          </p:nvSpPr>
          <p:spPr bwMode="auto">
            <a:xfrm>
              <a:off x="3675063" y="220980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11" name="Freeform 339"/>
            <p:cNvSpPr>
              <a:spLocks/>
            </p:cNvSpPr>
            <p:nvPr/>
          </p:nvSpPr>
          <p:spPr bwMode="auto">
            <a:xfrm>
              <a:off x="3657601" y="2163763"/>
              <a:ext cx="3175" cy="0"/>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12" name="Freeform 340"/>
            <p:cNvSpPr>
              <a:spLocks/>
            </p:cNvSpPr>
            <p:nvPr/>
          </p:nvSpPr>
          <p:spPr bwMode="auto">
            <a:xfrm>
              <a:off x="6275388" y="3117851"/>
              <a:ext cx="279400" cy="307975"/>
            </a:xfrm>
            <a:custGeom>
              <a:avLst/>
              <a:gdLst>
                <a:gd name="T0" fmla="*/ 72 w 79"/>
                <a:gd name="T1" fmla="*/ 17 h 87"/>
                <a:gd name="T2" fmla="*/ 74 w 79"/>
                <a:gd name="T3" fmla="*/ 11 h 87"/>
                <a:gd name="T4" fmla="*/ 69 w 79"/>
                <a:gd name="T5" fmla="*/ 1 h 87"/>
                <a:gd name="T6" fmla="*/ 64 w 79"/>
                <a:gd name="T7" fmla="*/ 4 h 87"/>
                <a:gd name="T8" fmla="*/ 63 w 79"/>
                <a:gd name="T9" fmla="*/ 8 h 87"/>
                <a:gd name="T10" fmla="*/ 54 w 79"/>
                <a:gd name="T11" fmla="*/ 9 h 87"/>
                <a:gd name="T12" fmla="*/ 50 w 79"/>
                <a:gd name="T13" fmla="*/ 9 h 87"/>
                <a:gd name="T14" fmla="*/ 46 w 79"/>
                <a:gd name="T15" fmla="*/ 9 h 87"/>
                <a:gd name="T16" fmla="*/ 37 w 79"/>
                <a:gd name="T17" fmla="*/ 10 h 87"/>
                <a:gd name="T18" fmla="*/ 34 w 79"/>
                <a:gd name="T19" fmla="*/ 16 h 87"/>
                <a:gd name="T20" fmla="*/ 28 w 79"/>
                <a:gd name="T21" fmla="*/ 24 h 87"/>
                <a:gd name="T22" fmla="*/ 20 w 79"/>
                <a:gd name="T23" fmla="*/ 21 h 87"/>
                <a:gd name="T24" fmla="*/ 17 w 79"/>
                <a:gd name="T25" fmla="*/ 23 h 87"/>
                <a:gd name="T26" fmla="*/ 14 w 79"/>
                <a:gd name="T27" fmla="*/ 30 h 87"/>
                <a:gd name="T28" fmla="*/ 10 w 79"/>
                <a:gd name="T29" fmla="*/ 34 h 87"/>
                <a:gd name="T30" fmla="*/ 9 w 79"/>
                <a:gd name="T31" fmla="*/ 45 h 87"/>
                <a:gd name="T32" fmla="*/ 4 w 79"/>
                <a:gd name="T33" fmla="*/ 55 h 87"/>
                <a:gd name="T34" fmla="*/ 2 w 79"/>
                <a:gd name="T35" fmla="*/ 62 h 87"/>
                <a:gd name="T36" fmla="*/ 2 w 79"/>
                <a:gd name="T37" fmla="*/ 69 h 87"/>
                <a:gd name="T38" fmla="*/ 0 w 79"/>
                <a:gd name="T39" fmla="*/ 75 h 87"/>
                <a:gd name="T40" fmla="*/ 9 w 79"/>
                <a:gd name="T41" fmla="*/ 77 h 87"/>
                <a:gd name="T42" fmla="*/ 18 w 79"/>
                <a:gd name="T43" fmla="*/ 77 h 87"/>
                <a:gd name="T44" fmla="*/ 22 w 79"/>
                <a:gd name="T45" fmla="*/ 79 h 87"/>
                <a:gd name="T46" fmla="*/ 28 w 79"/>
                <a:gd name="T47" fmla="*/ 78 h 87"/>
                <a:gd name="T48" fmla="*/ 39 w 79"/>
                <a:gd name="T49" fmla="*/ 83 h 87"/>
                <a:gd name="T50" fmla="*/ 52 w 79"/>
                <a:gd name="T51" fmla="*/ 86 h 87"/>
                <a:gd name="T52" fmla="*/ 60 w 79"/>
                <a:gd name="T53" fmla="*/ 68 h 87"/>
                <a:gd name="T54" fmla="*/ 63 w 79"/>
                <a:gd name="T55" fmla="*/ 61 h 87"/>
                <a:gd name="T56" fmla="*/ 64 w 79"/>
                <a:gd name="T57" fmla="*/ 58 h 87"/>
                <a:gd name="T58" fmla="*/ 67 w 79"/>
                <a:gd name="T59" fmla="*/ 52 h 87"/>
                <a:gd name="T60" fmla="*/ 70 w 79"/>
                <a:gd name="T61" fmla="*/ 46 h 87"/>
                <a:gd name="T62" fmla="*/ 73 w 79"/>
                <a:gd name="T63" fmla="*/ 41 h 87"/>
                <a:gd name="T64" fmla="*/ 78 w 79"/>
                <a:gd name="T65" fmla="*/ 32 h 87"/>
                <a:gd name="T66" fmla="*/ 79 w 79"/>
                <a:gd name="T67" fmla="*/ 26 h 87"/>
                <a:gd name="T68" fmla="*/ 72 w 79"/>
                <a:gd name="T69" fmla="*/ 2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7">
                  <a:moveTo>
                    <a:pt x="72" y="23"/>
                  </a:moveTo>
                  <a:cubicBezTo>
                    <a:pt x="72" y="21"/>
                    <a:pt x="72" y="19"/>
                    <a:pt x="72" y="17"/>
                  </a:cubicBezTo>
                  <a:cubicBezTo>
                    <a:pt x="73" y="16"/>
                    <a:pt x="74" y="16"/>
                    <a:pt x="74" y="15"/>
                  </a:cubicBezTo>
                  <a:cubicBezTo>
                    <a:pt x="74" y="15"/>
                    <a:pt x="74" y="12"/>
                    <a:pt x="74" y="11"/>
                  </a:cubicBezTo>
                  <a:cubicBezTo>
                    <a:pt x="73" y="10"/>
                    <a:pt x="71" y="9"/>
                    <a:pt x="69" y="9"/>
                  </a:cubicBezTo>
                  <a:cubicBezTo>
                    <a:pt x="69" y="7"/>
                    <a:pt x="69" y="4"/>
                    <a:pt x="69" y="1"/>
                  </a:cubicBezTo>
                  <a:cubicBezTo>
                    <a:pt x="68" y="1"/>
                    <a:pt x="68" y="1"/>
                    <a:pt x="68" y="0"/>
                  </a:cubicBezTo>
                  <a:cubicBezTo>
                    <a:pt x="67" y="0"/>
                    <a:pt x="65" y="4"/>
                    <a:pt x="64" y="4"/>
                  </a:cubicBezTo>
                  <a:cubicBezTo>
                    <a:pt x="64" y="5"/>
                    <a:pt x="64" y="5"/>
                    <a:pt x="63" y="6"/>
                  </a:cubicBezTo>
                  <a:cubicBezTo>
                    <a:pt x="63" y="6"/>
                    <a:pt x="63" y="7"/>
                    <a:pt x="63" y="8"/>
                  </a:cubicBezTo>
                  <a:cubicBezTo>
                    <a:pt x="62" y="9"/>
                    <a:pt x="60" y="8"/>
                    <a:pt x="59" y="8"/>
                  </a:cubicBezTo>
                  <a:cubicBezTo>
                    <a:pt x="57" y="8"/>
                    <a:pt x="56" y="9"/>
                    <a:pt x="54" y="9"/>
                  </a:cubicBezTo>
                  <a:cubicBezTo>
                    <a:pt x="53" y="10"/>
                    <a:pt x="53" y="10"/>
                    <a:pt x="52" y="10"/>
                  </a:cubicBezTo>
                  <a:cubicBezTo>
                    <a:pt x="51" y="10"/>
                    <a:pt x="52" y="9"/>
                    <a:pt x="50" y="9"/>
                  </a:cubicBezTo>
                  <a:cubicBezTo>
                    <a:pt x="50" y="9"/>
                    <a:pt x="49" y="10"/>
                    <a:pt x="49" y="10"/>
                  </a:cubicBezTo>
                  <a:cubicBezTo>
                    <a:pt x="48" y="10"/>
                    <a:pt x="47" y="10"/>
                    <a:pt x="46" y="9"/>
                  </a:cubicBezTo>
                  <a:cubicBezTo>
                    <a:pt x="45" y="9"/>
                    <a:pt x="43" y="9"/>
                    <a:pt x="42" y="9"/>
                  </a:cubicBezTo>
                  <a:cubicBezTo>
                    <a:pt x="40" y="9"/>
                    <a:pt x="39" y="9"/>
                    <a:pt x="37" y="10"/>
                  </a:cubicBezTo>
                  <a:cubicBezTo>
                    <a:pt x="35" y="10"/>
                    <a:pt x="33" y="10"/>
                    <a:pt x="32" y="12"/>
                  </a:cubicBezTo>
                  <a:cubicBezTo>
                    <a:pt x="34" y="12"/>
                    <a:pt x="35" y="14"/>
                    <a:pt x="34" y="16"/>
                  </a:cubicBezTo>
                  <a:cubicBezTo>
                    <a:pt x="33" y="17"/>
                    <a:pt x="32" y="17"/>
                    <a:pt x="31" y="18"/>
                  </a:cubicBezTo>
                  <a:cubicBezTo>
                    <a:pt x="29" y="20"/>
                    <a:pt x="29" y="22"/>
                    <a:pt x="28" y="24"/>
                  </a:cubicBezTo>
                  <a:cubicBezTo>
                    <a:pt x="26" y="24"/>
                    <a:pt x="25" y="23"/>
                    <a:pt x="23" y="22"/>
                  </a:cubicBezTo>
                  <a:cubicBezTo>
                    <a:pt x="22" y="21"/>
                    <a:pt x="21" y="21"/>
                    <a:pt x="20" y="21"/>
                  </a:cubicBezTo>
                  <a:cubicBezTo>
                    <a:pt x="20" y="22"/>
                    <a:pt x="20" y="22"/>
                    <a:pt x="20" y="22"/>
                  </a:cubicBezTo>
                  <a:cubicBezTo>
                    <a:pt x="18" y="22"/>
                    <a:pt x="18" y="22"/>
                    <a:pt x="17" y="23"/>
                  </a:cubicBezTo>
                  <a:cubicBezTo>
                    <a:pt x="16" y="24"/>
                    <a:pt x="15" y="25"/>
                    <a:pt x="14" y="26"/>
                  </a:cubicBezTo>
                  <a:cubicBezTo>
                    <a:pt x="14" y="27"/>
                    <a:pt x="14" y="29"/>
                    <a:pt x="14" y="30"/>
                  </a:cubicBezTo>
                  <a:cubicBezTo>
                    <a:pt x="14" y="31"/>
                    <a:pt x="13" y="32"/>
                    <a:pt x="12" y="33"/>
                  </a:cubicBezTo>
                  <a:cubicBezTo>
                    <a:pt x="12" y="33"/>
                    <a:pt x="11" y="33"/>
                    <a:pt x="10" y="34"/>
                  </a:cubicBezTo>
                  <a:cubicBezTo>
                    <a:pt x="11" y="36"/>
                    <a:pt x="11" y="37"/>
                    <a:pt x="10" y="39"/>
                  </a:cubicBezTo>
                  <a:cubicBezTo>
                    <a:pt x="10" y="41"/>
                    <a:pt x="10" y="43"/>
                    <a:pt x="9" y="45"/>
                  </a:cubicBezTo>
                  <a:cubicBezTo>
                    <a:pt x="8" y="45"/>
                    <a:pt x="6" y="44"/>
                    <a:pt x="4" y="44"/>
                  </a:cubicBezTo>
                  <a:cubicBezTo>
                    <a:pt x="4" y="48"/>
                    <a:pt x="4" y="51"/>
                    <a:pt x="4" y="55"/>
                  </a:cubicBezTo>
                  <a:cubicBezTo>
                    <a:pt x="4" y="57"/>
                    <a:pt x="3" y="58"/>
                    <a:pt x="2" y="60"/>
                  </a:cubicBezTo>
                  <a:cubicBezTo>
                    <a:pt x="2" y="61"/>
                    <a:pt x="2" y="61"/>
                    <a:pt x="2" y="62"/>
                  </a:cubicBezTo>
                  <a:cubicBezTo>
                    <a:pt x="2" y="63"/>
                    <a:pt x="2" y="63"/>
                    <a:pt x="2" y="63"/>
                  </a:cubicBezTo>
                  <a:cubicBezTo>
                    <a:pt x="3" y="65"/>
                    <a:pt x="2" y="67"/>
                    <a:pt x="2" y="69"/>
                  </a:cubicBezTo>
                  <a:cubicBezTo>
                    <a:pt x="2" y="70"/>
                    <a:pt x="3" y="72"/>
                    <a:pt x="2" y="72"/>
                  </a:cubicBezTo>
                  <a:cubicBezTo>
                    <a:pt x="1" y="74"/>
                    <a:pt x="0" y="74"/>
                    <a:pt x="0" y="75"/>
                  </a:cubicBezTo>
                  <a:cubicBezTo>
                    <a:pt x="3" y="76"/>
                    <a:pt x="4" y="76"/>
                    <a:pt x="7" y="76"/>
                  </a:cubicBezTo>
                  <a:cubicBezTo>
                    <a:pt x="8" y="77"/>
                    <a:pt x="8" y="77"/>
                    <a:pt x="9" y="77"/>
                  </a:cubicBezTo>
                  <a:cubicBezTo>
                    <a:pt x="10" y="78"/>
                    <a:pt x="12" y="78"/>
                    <a:pt x="13" y="78"/>
                  </a:cubicBezTo>
                  <a:cubicBezTo>
                    <a:pt x="14" y="78"/>
                    <a:pt x="16" y="77"/>
                    <a:pt x="18" y="77"/>
                  </a:cubicBezTo>
                  <a:cubicBezTo>
                    <a:pt x="18" y="77"/>
                    <a:pt x="18" y="76"/>
                    <a:pt x="19" y="76"/>
                  </a:cubicBezTo>
                  <a:cubicBezTo>
                    <a:pt x="20" y="76"/>
                    <a:pt x="22" y="78"/>
                    <a:pt x="22" y="79"/>
                  </a:cubicBezTo>
                  <a:cubicBezTo>
                    <a:pt x="23" y="80"/>
                    <a:pt x="25" y="82"/>
                    <a:pt x="26" y="82"/>
                  </a:cubicBezTo>
                  <a:cubicBezTo>
                    <a:pt x="29" y="82"/>
                    <a:pt x="28" y="80"/>
                    <a:pt x="28" y="78"/>
                  </a:cubicBezTo>
                  <a:cubicBezTo>
                    <a:pt x="30" y="78"/>
                    <a:pt x="34" y="77"/>
                    <a:pt x="35" y="78"/>
                  </a:cubicBezTo>
                  <a:cubicBezTo>
                    <a:pt x="37" y="79"/>
                    <a:pt x="37" y="83"/>
                    <a:pt x="39" y="83"/>
                  </a:cubicBezTo>
                  <a:cubicBezTo>
                    <a:pt x="39" y="80"/>
                    <a:pt x="44" y="80"/>
                    <a:pt x="46" y="81"/>
                  </a:cubicBezTo>
                  <a:cubicBezTo>
                    <a:pt x="49" y="82"/>
                    <a:pt x="51" y="84"/>
                    <a:pt x="52" y="86"/>
                  </a:cubicBezTo>
                  <a:cubicBezTo>
                    <a:pt x="56" y="87"/>
                    <a:pt x="58" y="74"/>
                    <a:pt x="59" y="72"/>
                  </a:cubicBezTo>
                  <a:cubicBezTo>
                    <a:pt x="59" y="71"/>
                    <a:pt x="59" y="69"/>
                    <a:pt x="60" y="68"/>
                  </a:cubicBezTo>
                  <a:cubicBezTo>
                    <a:pt x="60" y="67"/>
                    <a:pt x="61" y="66"/>
                    <a:pt x="62" y="65"/>
                  </a:cubicBezTo>
                  <a:cubicBezTo>
                    <a:pt x="62" y="64"/>
                    <a:pt x="62" y="63"/>
                    <a:pt x="63" y="61"/>
                  </a:cubicBezTo>
                  <a:cubicBezTo>
                    <a:pt x="63" y="61"/>
                    <a:pt x="64" y="61"/>
                    <a:pt x="64" y="60"/>
                  </a:cubicBezTo>
                  <a:cubicBezTo>
                    <a:pt x="64" y="59"/>
                    <a:pt x="64" y="59"/>
                    <a:pt x="64" y="58"/>
                  </a:cubicBezTo>
                  <a:cubicBezTo>
                    <a:pt x="64" y="56"/>
                    <a:pt x="65" y="56"/>
                    <a:pt x="65" y="55"/>
                  </a:cubicBezTo>
                  <a:cubicBezTo>
                    <a:pt x="66" y="53"/>
                    <a:pt x="65" y="53"/>
                    <a:pt x="67" y="52"/>
                  </a:cubicBezTo>
                  <a:cubicBezTo>
                    <a:pt x="68" y="52"/>
                    <a:pt x="70" y="52"/>
                    <a:pt x="70" y="50"/>
                  </a:cubicBezTo>
                  <a:cubicBezTo>
                    <a:pt x="71" y="49"/>
                    <a:pt x="70" y="47"/>
                    <a:pt x="70" y="46"/>
                  </a:cubicBezTo>
                  <a:cubicBezTo>
                    <a:pt x="72" y="46"/>
                    <a:pt x="73" y="45"/>
                    <a:pt x="73" y="44"/>
                  </a:cubicBezTo>
                  <a:cubicBezTo>
                    <a:pt x="73" y="43"/>
                    <a:pt x="73" y="42"/>
                    <a:pt x="73" y="41"/>
                  </a:cubicBezTo>
                  <a:cubicBezTo>
                    <a:pt x="74" y="39"/>
                    <a:pt x="76" y="39"/>
                    <a:pt x="77" y="37"/>
                  </a:cubicBezTo>
                  <a:cubicBezTo>
                    <a:pt x="78" y="36"/>
                    <a:pt x="77" y="34"/>
                    <a:pt x="78" y="32"/>
                  </a:cubicBezTo>
                  <a:cubicBezTo>
                    <a:pt x="79" y="31"/>
                    <a:pt x="79" y="30"/>
                    <a:pt x="79" y="30"/>
                  </a:cubicBezTo>
                  <a:cubicBezTo>
                    <a:pt x="79" y="29"/>
                    <a:pt x="79" y="28"/>
                    <a:pt x="79" y="26"/>
                  </a:cubicBezTo>
                  <a:cubicBezTo>
                    <a:pt x="77" y="26"/>
                    <a:pt x="77" y="26"/>
                    <a:pt x="75" y="25"/>
                  </a:cubicBezTo>
                  <a:cubicBezTo>
                    <a:pt x="74" y="24"/>
                    <a:pt x="73" y="23"/>
                    <a:pt x="72" y="23"/>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13" name="Freeform 341"/>
            <p:cNvSpPr>
              <a:spLocks/>
            </p:cNvSpPr>
            <p:nvPr/>
          </p:nvSpPr>
          <p:spPr bwMode="auto">
            <a:xfrm>
              <a:off x="5457826" y="28924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15" name="Freeform 342"/>
            <p:cNvSpPr>
              <a:spLocks/>
            </p:cNvSpPr>
            <p:nvPr/>
          </p:nvSpPr>
          <p:spPr bwMode="auto">
            <a:xfrm>
              <a:off x="5454651" y="289560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16" name="Freeform 343"/>
            <p:cNvSpPr>
              <a:spLocks/>
            </p:cNvSpPr>
            <p:nvPr/>
          </p:nvSpPr>
          <p:spPr bwMode="auto">
            <a:xfrm>
              <a:off x="5454651" y="2881313"/>
              <a:ext cx="3175" cy="7938"/>
            </a:xfrm>
            <a:custGeom>
              <a:avLst/>
              <a:gdLst>
                <a:gd name="T0" fmla="*/ 1 w 1"/>
                <a:gd name="T1" fmla="*/ 2 h 2"/>
                <a:gd name="T2" fmla="*/ 0 w 1"/>
                <a:gd name="T3" fmla="*/ 0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cubicBezTo>
                    <a:pt x="1" y="1"/>
                    <a:pt x="1" y="1"/>
                    <a:pt x="0" y="0"/>
                  </a:cubicBezTo>
                  <a:cubicBezTo>
                    <a:pt x="0" y="0"/>
                    <a:pt x="0" y="0"/>
                    <a:pt x="0" y="0"/>
                  </a:cubicBezTo>
                  <a:cubicBezTo>
                    <a:pt x="1" y="1"/>
                    <a:pt x="1" y="1"/>
                    <a:pt x="1" y="2"/>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17" name="Freeform 344"/>
            <p:cNvSpPr>
              <a:spLocks/>
            </p:cNvSpPr>
            <p:nvPr/>
          </p:nvSpPr>
          <p:spPr bwMode="auto">
            <a:xfrm>
              <a:off x="5457826" y="2889251"/>
              <a:ext cx="0" cy="3175"/>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18" name="Freeform 345"/>
            <p:cNvSpPr>
              <a:spLocks/>
            </p:cNvSpPr>
            <p:nvPr/>
          </p:nvSpPr>
          <p:spPr bwMode="auto">
            <a:xfrm>
              <a:off x="5457826" y="288925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19" name="Freeform 346"/>
            <p:cNvSpPr>
              <a:spLocks/>
            </p:cNvSpPr>
            <p:nvPr/>
          </p:nvSpPr>
          <p:spPr bwMode="auto">
            <a:xfrm>
              <a:off x="5584826" y="28987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20" name="Freeform 347"/>
            <p:cNvSpPr>
              <a:spLocks/>
            </p:cNvSpPr>
            <p:nvPr/>
          </p:nvSpPr>
          <p:spPr bwMode="auto">
            <a:xfrm>
              <a:off x="5581651" y="2898776"/>
              <a:ext cx="3175" cy="0"/>
            </a:xfrm>
            <a:custGeom>
              <a:avLst/>
              <a:gdLst>
                <a:gd name="T0" fmla="*/ 0 w 2"/>
                <a:gd name="T1" fmla="*/ 2 w 2"/>
                <a:gd name="T2" fmla="*/ 0 w 2"/>
              </a:gdLst>
              <a:ahLst/>
              <a:cxnLst>
                <a:cxn ang="0">
                  <a:pos x="T0" y="0"/>
                </a:cxn>
                <a:cxn ang="0">
                  <a:pos x="T1" y="0"/>
                </a:cxn>
                <a:cxn ang="0">
                  <a:pos x="T2" y="0"/>
                </a:cxn>
              </a:cxnLst>
              <a:rect l="0" t="0" r="r" b="b"/>
              <a:pathLst>
                <a:path w="2">
                  <a:moveTo>
                    <a:pt x="0" y="0"/>
                  </a:moveTo>
                  <a:lnTo>
                    <a:pt x="2" y="0"/>
                  </a:lnTo>
                  <a:lnTo>
                    <a:pt x="0"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21" name="Freeform 348"/>
            <p:cNvSpPr>
              <a:spLocks/>
            </p:cNvSpPr>
            <p:nvPr/>
          </p:nvSpPr>
          <p:spPr bwMode="auto">
            <a:xfrm>
              <a:off x="5581651" y="290353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22" name="Freeform 349"/>
            <p:cNvSpPr>
              <a:spLocks/>
            </p:cNvSpPr>
            <p:nvPr/>
          </p:nvSpPr>
          <p:spPr bwMode="auto">
            <a:xfrm>
              <a:off x="5581651" y="290671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23" name="Freeform 350"/>
            <p:cNvSpPr>
              <a:spLocks/>
            </p:cNvSpPr>
            <p:nvPr/>
          </p:nvSpPr>
          <p:spPr bwMode="auto">
            <a:xfrm>
              <a:off x="5588001" y="2898776"/>
              <a:ext cx="4763"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0" y="0"/>
                    <a:pt x="0" y="0"/>
                    <a:pt x="0" y="0"/>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24" name="Freeform 351"/>
            <p:cNvSpPr>
              <a:spLocks/>
            </p:cNvSpPr>
            <p:nvPr/>
          </p:nvSpPr>
          <p:spPr bwMode="auto">
            <a:xfrm>
              <a:off x="5581651" y="2898776"/>
              <a:ext cx="0" cy="4763"/>
            </a:xfrm>
            <a:custGeom>
              <a:avLst/>
              <a:gdLst>
                <a:gd name="T0" fmla="*/ 3 h 3"/>
                <a:gd name="T1" fmla="*/ 0 h 3"/>
                <a:gd name="T2" fmla="*/ 3 h 3"/>
              </a:gdLst>
              <a:ahLst/>
              <a:cxnLst>
                <a:cxn ang="0">
                  <a:pos x="0" y="T0"/>
                </a:cxn>
                <a:cxn ang="0">
                  <a:pos x="0" y="T1"/>
                </a:cxn>
                <a:cxn ang="0">
                  <a:pos x="0" y="T2"/>
                </a:cxn>
              </a:cxnLst>
              <a:rect l="0" t="0" r="r" b="b"/>
              <a:pathLst>
                <a:path h="3">
                  <a:moveTo>
                    <a:pt x="0" y="3"/>
                  </a:moveTo>
                  <a:lnTo>
                    <a:pt x="0" y="0"/>
                  </a:lnTo>
                  <a:lnTo>
                    <a:pt x="0" y="3"/>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25" name="Freeform 352"/>
            <p:cNvSpPr>
              <a:spLocks/>
            </p:cNvSpPr>
            <p:nvPr/>
          </p:nvSpPr>
          <p:spPr bwMode="auto">
            <a:xfrm>
              <a:off x="5129213" y="2898776"/>
              <a:ext cx="636588" cy="969963"/>
            </a:xfrm>
            <a:custGeom>
              <a:avLst/>
              <a:gdLst>
                <a:gd name="T0" fmla="*/ 162 w 180"/>
                <a:gd name="T1" fmla="*/ 22 h 274"/>
                <a:gd name="T2" fmla="*/ 131 w 180"/>
                <a:gd name="T3" fmla="*/ 12 h 274"/>
                <a:gd name="T4" fmla="*/ 114 w 180"/>
                <a:gd name="T5" fmla="*/ 2 h 274"/>
                <a:gd name="T6" fmla="*/ 92 w 180"/>
                <a:gd name="T7" fmla="*/ 0 h 274"/>
                <a:gd name="T8" fmla="*/ 102 w 180"/>
                <a:gd name="T9" fmla="*/ 26 h 274"/>
                <a:gd name="T10" fmla="*/ 102 w 180"/>
                <a:gd name="T11" fmla="*/ 26 h 274"/>
                <a:gd name="T12" fmla="*/ 102 w 180"/>
                <a:gd name="T13" fmla="*/ 26 h 274"/>
                <a:gd name="T14" fmla="*/ 101 w 180"/>
                <a:gd name="T15" fmla="*/ 26 h 274"/>
                <a:gd name="T16" fmla="*/ 101 w 180"/>
                <a:gd name="T17" fmla="*/ 27 h 274"/>
                <a:gd name="T18" fmla="*/ 101 w 180"/>
                <a:gd name="T19" fmla="*/ 27 h 274"/>
                <a:gd name="T20" fmla="*/ 101 w 180"/>
                <a:gd name="T21" fmla="*/ 27 h 274"/>
                <a:gd name="T22" fmla="*/ 100 w 180"/>
                <a:gd name="T23" fmla="*/ 27 h 274"/>
                <a:gd name="T24" fmla="*/ 100 w 180"/>
                <a:gd name="T25" fmla="*/ 27 h 274"/>
                <a:gd name="T26" fmla="*/ 100 w 180"/>
                <a:gd name="T27" fmla="*/ 27 h 274"/>
                <a:gd name="T28" fmla="*/ 100 w 180"/>
                <a:gd name="T29" fmla="*/ 28 h 274"/>
                <a:gd name="T30" fmla="*/ 100 w 180"/>
                <a:gd name="T31" fmla="*/ 28 h 274"/>
                <a:gd name="T32" fmla="*/ 99 w 180"/>
                <a:gd name="T33" fmla="*/ 28 h 274"/>
                <a:gd name="T34" fmla="*/ 99 w 180"/>
                <a:gd name="T35" fmla="*/ 28 h 274"/>
                <a:gd name="T36" fmla="*/ 99 w 180"/>
                <a:gd name="T37" fmla="*/ 28 h 274"/>
                <a:gd name="T38" fmla="*/ 99 w 180"/>
                <a:gd name="T39" fmla="*/ 29 h 274"/>
                <a:gd name="T40" fmla="*/ 93 w 180"/>
                <a:gd name="T41" fmla="*/ 55 h 274"/>
                <a:gd name="T42" fmla="*/ 89 w 180"/>
                <a:gd name="T43" fmla="*/ 88 h 274"/>
                <a:gd name="T44" fmla="*/ 91 w 180"/>
                <a:gd name="T45" fmla="*/ 124 h 274"/>
                <a:gd name="T46" fmla="*/ 78 w 180"/>
                <a:gd name="T47" fmla="*/ 152 h 274"/>
                <a:gd name="T48" fmla="*/ 64 w 180"/>
                <a:gd name="T49" fmla="*/ 162 h 274"/>
                <a:gd name="T50" fmla="*/ 35 w 180"/>
                <a:gd name="T51" fmla="*/ 175 h 274"/>
                <a:gd name="T52" fmla="*/ 2 w 180"/>
                <a:gd name="T53" fmla="*/ 184 h 274"/>
                <a:gd name="T54" fmla="*/ 24 w 180"/>
                <a:gd name="T55" fmla="*/ 207 h 274"/>
                <a:gd name="T56" fmla="*/ 37 w 180"/>
                <a:gd name="T57" fmla="*/ 226 h 274"/>
                <a:gd name="T58" fmla="*/ 42 w 180"/>
                <a:gd name="T59" fmla="*/ 245 h 274"/>
                <a:gd name="T60" fmla="*/ 74 w 180"/>
                <a:gd name="T61" fmla="*/ 266 h 274"/>
                <a:gd name="T62" fmla="*/ 98 w 180"/>
                <a:gd name="T63" fmla="*/ 258 h 274"/>
                <a:gd name="T64" fmla="*/ 110 w 180"/>
                <a:gd name="T65" fmla="*/ 250 h 274"/>
                <a:gd name="T66" fmla="*/ 119 w 180"/>
                <a:gd name="T67" fmla="*/ 261 h 274"/>
                <a:gd name="T68" fmla="*/ 139 w 180"/>
                <a:gd name="T69" fmla="*/ 240 h 274"/>
                <a:gd name="T70" fmla="*/ 141 w 180"/>
                <a:gd name="T71" fmla="*/ 218 h 274"/>
                <a:gd name="T72" fmla="*/ 136 w 180"/>
                <a:gd name="T73" fmla="*/ 192 h 274"/>
                <a:gd name="T74" fmla="*/ 125 w 180"/>
                <a:gd name="T75" fmla="*/ 175 h 274"/>
                <a:gd name="T76" fmla="*/ 127 w 180"/>
                <a:gd name="T77" fmla="*/ 142 h 274"/>
                <a:gd name="T78" fmla="*/ 97 w 180"/>
                <a:gd name="T79" fmla="*/ 125 h 274"/>
                <a:gd name="T80" fmla="*/ 111 w 180"/>
                <a:gd name="T81" fmla="*/ 115 h 274"/>
                <a:gd name="T82" fmla="*/ 137 w 180"/>
                <a:gd name="T83" fmla="*/ 99 h 274"/>
                <a:gd name="T84" fmla="*/ 120 w 180"/>
                <a:gd name="T85" fmla="*/ 85 h 274"/>
                <a:gd name="T86" fmla="*/ 102 w 180"/>
                <a:gd name="T87" fmla="*/ 61 h 274"/>
                <a:gd name="T88" fmla="*/ 111 w 180"/>
                <a:gd name="T89" fmla="*/ 46 h 274"/>
                <a:gd name="T90" fmla="*/ 115 w 180"/>
                <a:gd name="T91" fmla="*/ 40 h 274"/>
                <a:gd name="T92" fmla="*/ 117 w 180"/>
                <a:gd name="T93" fmla="*/ 39 h 274"/>
                <a:gd name="T94" fmla="*/ 127 w 180"/>
                <a:gd name="T95" fmla="*/ 55 h 274"/>
                <a:gd name="T96" fmla="*/ 139 w 180"/>
                <a:gd name="T97" fmla="*/ 49 h 274"/>
                <a:gd name="T98" fmla="*/ 144 w 180"/>
                <a:gd name="T99" fmla="*/ 51 h 274"/>
                <a:gd name="T100" fmla="*/ 144 w 180"/>
                <a:gd name="T101" fmla="*/ 51 h 274"/>
                <a:gd name="T102" fmla="*/ 144 w 180"/>
                <a:gd name="T103" fmla="*/ 52 h 274"/>
                <a:gd name="T104" fmla="*/ 144 w 180"/>
                <a:gd name="T105" fmla="*/ 52 h 274"/>
                <a:gd name="T106" fmla="*/ 156 w 180"/>
                <a:gd name="T107" fmla="*/ 59 h 274"/>
                <a:gd name="T108" fmla="*/ 172 w 180"/>
                <a:gd name="T109" fmla="*/ 45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0" h="274">
                  <a:moveTo>
                    <a:pt x="177" y="34"/>
                  </a:moveTo>
                  <a:cubicBezTo>
                    <a:pt x="176" y="32"/>
                    <a:pt x="177" y="28"/>
                    <a:pt x="178" y="26"/>
                  </a:cubicBezTo>
                  <a:cubicBezTo>
                    <a:pt x="179" y="25"/>
                    <a:pt x="179" y="24"/>
                    <a:pt x="179" y="23"/>
                  </a:cubicBezTo>
                  <a:cubicBezTo>
                    <a:pt x="178" y="24"/>
                    <a:pt x="177" y="24"/>
                    <a:pt x="176" y="24"/>
                  </a:cubicBezTo>
                  <a:cubicBezTo>
                    <a:pt x="173" y="25"/>
                    <a:pt x="170" y="25"/>
                    <a:pt x="167" y="24"/>
                  </a:cubicBezTo>
                  <a:cubicBezTo>
                    <a:pt x="165" y="24"/>
                    <a:pt x="163" y="25"/>
                    <a:pt x="160" y="26"/>
                  </a:cubicBezTo>
                  <a:cubicBezTo>
                    <a:pt x="160" y="24"/>
                    <a:pt x="161" y="23"/>
                    <a:pt x="162" y="22"/>
                  </a:cubicBezTo>
                  <a:cubicBezTo>
                    <a:pt x="161" y="22"/>
                    <a:pt x="159" y="22"/>
                    <a:pt x="158" y="21"/>
                  </a:cubicBezTo>
                  <a:cubicBezTo>
                    <a:pt x="156" y="21"/>
                    <a:pt x="155" y="19"/>
                    <a:pt x="154" y="19"/>
                  </a:cubicBezTo>
                  <a:cubicBezTo>
                    <a:pt x="150" y="17"/>
                    <a:pt x="148" y="21"/>
                    <a:pt x="145" y="21"/>
                  </a:cubicBezTo>
                  <a:cubicBezTo>
                    <a:pt x="143" y="20"/>
                    <a:pt x="142" y="20"/>
                    <a:pt x="140" y="19"/>
                  </a:cubicBezTo>
                  <a:cubicBezTo>
                    <a:pt x="139" y="17"/>
                    <a:pt x="140" y="16"/>
                    <a:pt x="138" y="16"/>
                  </a:cubicBezTo>
                  <a:cubicBezTo>
                    <a:pt x="135" y="15"/>
                    <a:pt x="135" y="16"/>
                    <a:pt x="133" y="14"/>
                  </a:cubicBezTo>
                  <a:cubicBezTo>
                    <a:pt x="133" y="14"/>
                    <a:pt x="131" y="13"/>
                    <a:pt x="131" y="12"/>
                  </a:cubicBezTo>
                  <a:cubicBezTo>
                    <a:pt x="130" y="11"/>
                    <a:pt x="130" y="9"/>
                    <a:pt x="129" y="8"/>
                  </a:cubicBezTo>
                  <a:cubicBezTo>
                    <a:pt x="127" y="5"/>
                    <a:pt x="127" y="7"/>
                    <a:pt x="128" y="4"/>
                  </a:cubicBezTo>
                  <a:cubicBezTo>
                    <a:pt x="128" y="3"/>
                    <a:pt x="128" y="3"/>
                    <a:pt x="128" y="3"/>
                  </a:cubicBezTo>
                  <a:cubicBezTo>
                    <a:pt x="127" y="3"/>
                    <a:pt x="127" y="3"/>
                    <a:pt x="126" y="2"/>
                  </a:cubicBezTo>
                  <a:cubicBezTo>
                    <a:pt x="125" y="3"/>
                    <a:pt x="125" y="4"/>
                    <a:pt x="124" y="4"/>
                  </a:cubicBezTo>
                  <a:cubicBezTo>
                    <a:pt x="123" y="1"/>
                    <a:pt x="123" y="4"/>
                    <a:pt x="120" y="3"/>
                  </a:cubicBezTo>
                  <a:cubicBezTo>
                    <a:pt x="118" y="3"/>
                    <a:pt x="117" y="0"/>
                    <a:pt x="114" y="2"/>
                  </a:cubicBezTo>
                  <a:cubicBezTo>
                    <a:pt x="114" y="3"/>
                    <a:pt x="114" y="3"/>
                    <a:pt x="114" y="4"/>
                  </a:cubicBezTo>
                  <a:cubicBezTo>
                    <a:pt x="111" y="6"/>
                    <a:pt x="110" y="8"/>
                    <a:pt x="106" y="6"/>
                  </a:cubicBezTo>
                  <a:cubicBezTo>
                    <a:pt x="104" y="5"/>
                    <a:pt x="104" y="5"/>
                    <a:pt x="102" y="5"/>
                  </a:cubicBezTo>
                  <a:cubicBezTo>
                    <a:pt x="100" y="5"/>
                    <a:pt x="98" y="5"/>
                    <a:pt x="96" y="5"/>
                  </a:cubicBezTo>
                  <a:cubicBezTo>
                    <a:pt x="95" y="4"/>
                    <a:pt x="95" y="4"/>
                    <a:pt x="95" y="4"/>
                  </a:cubicBezTo>
                  <a:cubicBezTo>
                    <a:pt x="93" y="2"/>
                    <a:pt x="95" y="1"/>
                    <a:pt x="91" y="0"/>
                  </a:cubicBezTo>
                  <a:cubicBezTo>
                    <a:pt x="92" y="0"/>
                    <a:pt x="92" y="0"/>
                    <a:pt x="92" y="0"/>
                  </a:cubicBezTo>
                  <a:cubicBezTo>
                    <a:pt x="93" y="2"/>
                    <a:pt x="91" y="8"/>
                    <a:pt x="92" y="9"/>
                  </a:cubicBezTo>
                  <a:cubicBezTo>
                    <a:pt x="93" y="10"/>
                    <a:pt x="95" y="8"/>
                    <a:pt x="96" y="10"/>
                  </a:cubicBezTo>
                  <a:cubicBezTo>
                    <a:pt x="97" y="11"/>
                    <a:pt x="95" y="13"/>
                    <a:pt x="98" y="12"/>
                  </a:cubicBezTo>
                  <a:cubicBezTo>
                    <a:pt x="98" y="14"/>
                    <a:pt x="97" y="15"/>
                    <a:pt x="97" y="17"/>
                  </a:cubicBezTo>
                  <a:cubicBezTo>
                    <a:pt x="98" y="19"/>
                    <a:pt x="99" y="19"/>
                    <a:pt x="100" y="21"/>
                  </a:cubicBezTo>
                  <a:cubicBezTo>
                    <a:pt x="101" y="22"/>
                    <a:pt x="102" y="25"/>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1" y="26"/>
                    <a:pt x="101" y="26"/>
                    <a:pt x="101" y="26"/>
                  </a:cubicBezTo>
                  <a:cubicBezTo>
                    <a:pt x="101" y="26"/>
                    <a:pt x="101" y="26"/>
                    <a:pt x="101" y="26"/>
                  </a:cubicBezTo>
                  <a:cubicBezTo>
                    <a:pt x="101" y="26"/>
                    <a:pt x="101" y="26"/>
                    <a:pt x="101" y="26"/>
                  </a:cubicBezTo>
                  <a:cubicBezTo>
                    <a:pt x="101" y="26"/>
                    <a:pt x="101" y="26"/>
                    <a:pt x="101" y="26"/>
                  </a:cubicBezTo>
                  <a:cubicBezTo>
                    <a:pt x="101" y="26"/>
                    <a:pt x="101" y="26"/>
                    <a:pt x="101" y="26"/>
                  </a:cubicBezTo>
                  <a:cubicBezTo>
                    <a:pt x="101" y="26"/>
                    <a:pt x="101" y="26"/>
                    <a:pt x="101" y="26"/>
                  </a:cubicBezTo>
                  <a:cubicBezTo>
                    <a:pt x="101" y="26"/>
                    <a:pt x="101" y="26"/>
                    <a:pt x="101" y="26"/>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8"/>
                    <a:pt x="100" y="28"/>
                    <a:pt x="100" y="28"/>
                  </a:cubicBezTo>
                  <a:cubicBezTo>
                    <a:pt x="100" y="28"/>
                    <a:pt x="100" y="28"/>
                    <a:pt x="100" y="28"/>
                  </a:cubicBezTo>
                  <a:cubicBezTo>
                    <a:pt x="100" y="28"/>
                    <a:pt x="100" y="28"/>
                    <a:pt x="100" y="28"/>
                  </a:cubicBezTo>
                  <a:cubicBezTo>
                    <a:pt x="100" y="28"/>
                    <a:pt x="100" y="28"/>
                    <a:pt x="100" y="28"/>
                  </a:cubicBezTo>
                  <a:cubicBezTo>
                    <a:pt x="100" y="28"/>
                    <a:pt x="100" y="28"/>
                    <a:pt x="100" y="28"/>
                  </a:cubicBezTo>
                  <a:cubicBezTo>
                    <a:pt x="100" y="28"/>
                    <a:pt x="100" y="28"/>
                    <a:pt x="100" y="28"/>
                  </a:cubicBezTo>
                  <a:cubicBezTo>
                    <a:pt x="100" y="28"/>
                    <a:pt x="100" y="28"/>
                    <a:pt x="100" y="28"/>
                  </a:cubicBezTo>
                  <a:cubicBezTo>
                    <a:pt x="100" y="28"/>
                    <a:pt x="100" y="28"/>
                    <a:pt x="100" y="28"/>
                  </a:cubicBezTo>
                  <a:cubicBezTo>
                    <a:pt x="100" y="28"/>
                    <a:pt x="100" y="28"/>
                    <a:pt x="100" y="28"/>
                  </a:cubicBezTo>
                  <a:cubicBezTo>
                    <a:pt x="100" y="28"/>
                    <a:pt x="100" y="28"/>
                    <a:pt x="100" y="28"/>
                  </a:cubicBezTo>
                  <a:cubicBezTo>
                    <a:pt x="100" y="28"/>
                    <a:pt x="100" y="28"/>
                    <a:pt x="100"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9"/>
                    <a:pt x="99" y="29"/>
                    <a:pt x="99" y="29"/>
                  </a:cubicBezTo>
                  <a:cubicBezTo>
                    <a:pt x="99" y="29"/>
                    <a:pt x="99" y="29"/>
                    <a:pt x="99" y="29"/>
                  </a:cubicBezTo>
                  <a:cubicBezTo>
                    <a:pt x="99" y="29"/>
                    <a:pt x="99" y="29"/>
                    <a:pt x="99" y="29"/>
                  </a:cubicBezTo>
                  <a:cubicBezTo>
                    <a:pt x="99" y="29"/>
                    <a:pt x="99" y="29"/>
                    <a:pt x="99" y="29"/>
                  </a:cubicBezTo>
                  <a:cubicBezTo>
                    <a:pt x="99" y="29"/>
                    <a:pt x="99" y="29"/>
                    <a:pt x="99" y="29"/>
                  </a:cubicBezTo>
                  <a:cubicBezTo>
                    <a:pt x="99" y="29"/>
                    <a:pt x="99" y="29"/>
                    <a:pt x="99" y="29"/>
                  </a:cubicBezTo>
                  <a:cubicBezTo>
                    <a:pt x="99" y="30"/>
                    <a:pt x="99" y="31"/>
                    <a:pt x="99" y="31"/>
                  </a:cubicBezTo>
                  <a:cubicBezTo>
                    <a:pt x="99" y="33"/>
                    <a:pt x="99" y="34"/>
                    <a:pt x="99" y="34"/>
                  </a:cubicBezTo>
                  <a:cubicBezTo>
                    <a:pt x="102" y="38"/>
                    <a:pt x="102" y="38"/>
                    <a:pt x="102" y="38"/>
                  </a:cubicBezTo>
                  <a:cubicBezTo>
                    <a:pt x="103" y="41"/>
                    <a:pt x="106" y="44"/>
                    <a:pt x="103" y="47"/>
                  </a:cubicBezTo>
                  <a:cubicBezTo>
                    <a:pt x="102" y="48"/>
                    <a:pt x="101" y="49"/>
                    <a:pt x="99" y="50"/>
                  </a:cubicBezTo>
                  <a:cubicBezTo>
                    <a:pt x="98" y="50"/>
                    <a:pt x="97" y="52"/>
                    <a:pt x="96" y="53"/>
                  </a:cubicBezTo>
                  <a:cubicBezTo>
                    <a:pt x="96" y="54"/>
                    <a:pt x="94" y="54"/>
                    <a:pt x="93" y="55"/>
                  </a:cubicBezTo>
                  <a:cubicBezTo>
                    <a:pt x="92" y="56"/>
                    <a:pt x="92" y="58"/>
                    <a:pt x="91" y="59"/>
                  </a:cubicBezTo>
                  <a:cubicBezTo>
                    <a:pt x="90" y="59"/>
                    <a:pt x="88" y="59"/>
                    <a:pt x="87" y="59"/>
                  </a:cubicBezTo>
                  <a:cubicBezTo>
                    <a:pt x="87" y="62"/>
                    <a:pt x="84" y="65"/>
                    <a:pt x="85" y="68"/>
                  </a:cubicBezTo>
                  <a:cubicBezTo>
                    <a:pt x="86" y="70"/>
                    <a:pt x="89" y="70"/>
                    <a:pt x="89" y="72"/>
                  </a:cubicBezTo>
                  <a:cubicBezTo>
                    <a:pt x="96" y="73"/>
                    <a:pt x="97" y="80"/>
                    <a:pt x="97" y="85"/>
                  </a:cubicBezTo>
                  <a:cubicBezTo>
                    <a:pt x="95" y="85"/>
                    <a:pt x="94" y="83"/>
                    <a:pt x="92" y="83"/>
                  </a:cubicBezTo>
                  <a:cubicBezTo>
                    <a:pt x="89" y="84"/>
                    <a:pt x="89" y="86"/>
                    <a:pt x="89" y="88"/>
                  </a:cubicBezTo>
                  <a:cubicBezTo>
                    <a:pt x="87" y="88"/>
                    <a:pt x="86" y="88"/>
                    <a:pt x="84" y="88"/>
                  </a:cubicBezTo>
                  <a:cubicBezTo>
                    <a:pt x="84" y="90"/>
                    <a:pt x="87" y="97"/>
                    <a:pt x="89" y="97"/>
                  </a:cubicBezTo>
                  <a:cubicBezTo>
                    <a:pt x="88" y="99"/>
                    <a:pt x="85" y="100"/>
                    <a:pt x="85" y="102"/>
                  </a:cubicBezTo>
                  <a:cubicBezTo>
                    <a:pt x="85" y="104"/>
                    <a:pt x="88" y="105"/>
                    <a:pt x="89" y="107"/>
                  </a:cubicBezTo>
                  <a:cubicBezTo>
                    <a:pt x="92" y="111"/>
                    <a:pt x="90" y="115"/>
                    <a:pt x="90" y="119"/>
                  </a:cubicBezTo>
                  <a:cubicBezTo>
                    <a:pt x="89" y="119"/>
                    <a:pt x="89" y="120"/>
                    <a:pt x="88" y="120"/>
                  </a:cubicBezTo>
                  <a:cubicBezTo>
                    <a:pt x="87" y="123"/>
                    <a:pt x="90" y="122"/>
                    <a:pt x="91" y="124"/>
                  </a:cubicBezTo>
                  <a:cubicBezTo>
                    <a:pt x="92" y="126"/>
                    <a:pt x="91" y="128"/>
                    <a:pt x="91" y="130"/>
                  </a:cubicBezTo>
                  <a:cubicBezTo>
                    <a:pt x="90" y="130"/>
                    <a:pt x="88" y="130"/>
                    <a:pt x="86" y="130"/>
                  </a:cubicBezTo>
                  <a:cubicBezTo>
                    <a:pt x="87" y="132"/>
                    <a:pt x="83" y="134"/>
                    <a:pt x="88" y="135"/>
                  </a:cubicBezTo>
                  <a:cubicBezTo>
                    <a:pt x="88" y="139"/>
                    <a:pt x="87" y="141"/>
                    <a:pt x="84" y="144"/>
                  </a:cubicBezTo>
                  <a:cubicBezTo>
                    <a:pt x="84" y="145"/>
                    <a:pt x="80" y="146"/>
                    <a:pt x="80" y="148"/>
                  </a:cubicBezTo>
                  <a:cubicBezTo>
                    <a:pt x="82" y="148"/>
                    <a:pt x="82" y="149"/>
                    <a:pt x="83" y="150"/>
                  </a:cubicBezTo>
                  <a:cubicBezTo>
                    <a:pt x="81" y="150"/>
                    <a:pt x="78" y="150"/>
                    <a:pt x="78" y="152"/>
                  </a:cubicBezTo>
                  <a:cubicBezTo>
                    <a:pt x="74" y="150"/>
                    <a:pt x="75" y="154"/>
                    <a:pt x="74" y="156"/>
                  </a:cubicBezTo>
                  <a:cubicBezTo>
                    <a:pt x="74" y="156"/>
                    <a:pt x="74" y="156"/>
                    <a:pt x="74" y="156"/>
                  </a:cubicBezTo>
                  <a:cubicBezTo>
                    <a:pt x="74" y="157"/>
                    <a:pt x="74" y="158"/>
                    <a:pt x="74" y="159"/>
                  </a:cubicBezTo>
                  <a:cubicBezTo>
                    <a:pt x="71" y="159"/>
                    <a:pt x="71" y="157"/>
                    <a:pt x="69" y="156"/>
                  </a:cubicBezTo>
                  <a:cubicBezTo>
                    <a:pt x="68" y="156"/>
                    <a:pt x="66" y="155"/>
                    <a:pt x="64" y="156"/>
                  </a:cubicBezTo>
                  <a:cubicBezTo>
                    <a:pt x="63" y="156"/>
                    <a:pt x="66" y="159"/>
                    <a:pt x="66" y="160"/>
                  </a:cubicBezTo>
                  <a:cubicBezTo>
                    <a:pt x="66" y="161"/>
                    <a:pt x="65" y="161"/>
                    <a:pt x="64" y="162"/>
                  </a:cubicBezTo>
                  <a:cubicBezTo>
                    <a:pt x="64" y="163"/>
                    <a:pt x="64" y="164"/>
                    <a:pt x="64" y="165"/>
                  </a:cubicBezTo>
                  <a:cubicBezTo>
                    <a:pt x="62" y="165"/>
                    <a:pt x="61" y="164"/>
                    <a:pt x="59" y="164"/>
                  </a:cubicBezTo>
                  <a:cubicBezTo>
                    <a:pt x="60" y="165"/>
                    <a:pt x="61" y="166"/>
                    <a:pt x="60" y="167"/>
                  </a:cubicBezTo>
                  <a:cubicBezTo>
                    <a:pt x="56" y="168"/>
                    <a:pt x="54" y="165"/>
                    <a:pt x="50" y="165"/>
                  </a:cubicBezTo>
                  <a:cubicBezTo>
                    <a:pt x="48" y="164"/>
                    <a:pt x="48" y="167"/>
                    <a:pt x="48" y="168"/>
                  </a:cubicBezTo>
                  <a:cubicBezTo>
                    <a:pt x="44" y="164"/>
                    <a:pt x="45" y="173"/>
                    <a:pt x="42" y="173"/>
                  </a:cubicBezTo>
                  <a:cubicBezTo>
                    <a:pt x="40" y="174"/>
                    <a:pt x="37" y="174"/>
                    <a:pt x="35" y="175"/>
                  </a:cubicBezTo>
                  <a:cubicBezTo>
                    <a:pt x="33" y="176"/>
                    <a:pt x="30" y="178"/>
                    <a:pt x="28" y="179"/>
                  </a:cubicBezTo>
                  <a:cubicBezTo>
                    <a:pt x="26" y="181"/>
                    <a:pt x="25" y="181"/>
                    <a:pt x="24" y="184"/>
                  </a:cubicBezTo>
                  <a:cubicBezTo>
                    <a:pt x="24" y="186"/>
                    <a:pt x="23" y="186"/>
                    <a:pt x="21" y="186"/>
                  </a:cubicBezTo>
                  <a:cubicBezTo>
                    <a:pt x="17" y="186"/>
                    <a:pt x="16" y="184"/>
                    <a:pt x="15" y="180"/>
                  </a:cubicBezTo>
                  <a:cubicBezTo>
                    <a:pt x="13" y="180"/>
                    <a:pt x="11" y="180"/>
                    <a:pt x="9" y="180"/>
                  </a:cubicBezTo>
                  <a:cubicBezTo>
                    <a:pt x="9" y="182"/>
                    <a:pt x="11" y="183"/>
                    <a:pt x="10" y="184"/>
                  </a:cubicBezTo>
                  <a:cubicBezTo>
                    <a:pt x="8" y="184"/>
                    <a:pt x="5" y="184"/>
                    <a:pt x="2" y="184"/>
                  </a:cubicBezTo>
                  <a:cubicBezTo>
                    <a:pt x="4" y="185"/>
                    <a:pt x="5" y="192"/>
                    <a:pt x="2" y="192"/>
                  </a:cubicBezTo>
                  <a:cubicBezTo>
                    <a:pt x="1" y="193"/>
                    <a:pt x="0" y="196"/>
                    <a:pt x="0" y="197"/>
                  </a:cubicBezTo>
                  <a:cubicBezTo>
                    <a:pt x="1" y="197"/>
                    <a:pt x="4" y="197"/>
                    <a:pt x="4" y="198"/>
                  </a:cubicBezTo>
                  <a:cubicBezTo>
                    <a:pt x="4" y="199"/>
                    <a:pt x="4" y="200"/>
                    <a:pt x="6" y="200"/>
                  </a:cubicBezTo>
                  <a:cubicBezTo>
                    <a:pt x="9" y="199"/>
                    <a:pt x="11" y="200"/>
                    <a:pt x="12" y="203"/>
                  </a:cubicBezTo>
                  <a:cubicBezTo>
                    <a:pt x="15" y="202"/>
                    <a:pt x="16" y="204"/>
                    <a:pt x="17" y="206"/>
                  </a:cubicBezTo>
                  <a:cubicBezTo>
                    <a:pt x="19" y="209"/>
                    <a:pt x="21" y="207"/>
                    <a:pt x="24" y="207"/>
                  </a:cubicBezTo>
                  <a:cubicBezTo>
                    <a:pt x="24" y="208"/>
                    <a:pt x="25" y="209"/>
                    <a:pt x="26" y="209"/>
                  </a:cubicBezTo>
                  <a:cubicBezTo>
                    <a:pt x="26" y="208"/>
                    <a:pt x="26" y="208"/>
                    <a:pt x="26" y="208"/>
                  </a:cubicBezTo>
                  <a:cubicBezTo>
                    <a:pt x="28" y="208"/>
                    <a:pt x="34" y="207"/>
                    <a:pt x="33" y="210"/>
                  </a:cubicBezTo>
                  <a:cubicBezTo>
                    <a:pt x="30" y="211"/>
                    <a:pt x="27" y="214"/>
                    <a:pt x="30" y="217"/>
                  </a:cubicBezTo>
                  <a:cubicBezTo>
                    <a:pt x="30" y="218"/>
                    <a:pt x="32" y="220"/>
                    <a:pt x="33" y="220"/>
                  </a:cubicBezTo>
                  <a:cubicBezTo>
                    <a:pt x="34" y="222"/>
                    <a:pt x="36" y="223"/>
                    <a:pt x="38" y="223"/>
                  </a:cubicBezTo>
                  <a:cubicBezTo>
                    <a:pt x="38" y="224"/>
                    <a:pt x="38" y="225"/>
                    <a:pt x="37" y="226"/>
                  </a:cubicBezTo>
                  <a:cubicBezTo>
                    <a:pt x="39" y="226"/>
                    <a:pt x="40" y="226"/>
                    <a:pt x="41" y="226"/>
                  </a:cubicBezTo>
                  <a:cubicBezTo>
                    <a:pt x="40" y="228"/>
                    <a:pt x="44" y="229"/>
                    <a:pt x="45" y="231"/>
                  </a:cubicBezTo>
                  <a:cubicBezTo>
                    <a:pt x="46" y="233"/>
                    <a:pt x="44" y="232"/>
                    <a:pt x="43" y="234"/>
                  </a:cubicBezTo>
                  <a:cubicBezTo>
                    <a:pt x="45" y="235"/>
                    <a:pt x="47" y="235"/>
                    <a:pt x="47" y="238"/>
                  </a:cubicBezTo>
                  <a:cubicBezTo>
                    <a:pt x="47" y="241"/>
                    <a:pt x="48" y="239"/>
                    <a:pt x="50" y="241"/>
                  </a:cubicBezTo>
                  <a:cubicBezTo>
                    <a:pt x="48" y="241"/>
                    <a:pt x="47" y="244"/>
                    <a:pt x="44" y="244"/>
                  </a:cubicBezTo>
                  <a:cubicBezTo>
                    <a:pt x="43" y="244"/>
                    <a:pt x="43" y="244"/>
                    <a:pt x="42" y="245"/>
                  </a:cubicBezTo>
                  <a:cubicBezTo>
                    <a:pt x="43" y="245"/>
                    <a:pt x="43" y="245"/>
                    <a:pt x="44" y="245"/>
                  </a:cubicBezTo>
                  <a:cubicBezTo>
                    <a:pt x="45" y="251"/>
                    <a:pt x="50" y="248"/>
                    <a:pt x="54" y="251"/>
                  </a:cubicBezTo>
                  <a:cubicBezTo>
                    <a:pt x="57" y="254"/>
                    <a:pt x="53" y="257"/>
                    <a:pt x="55" y="260"/>
                  </a:cubicBezTo>
                  <a:cubicBezTo>
                    <a:pt x="56" y="261"/>
                    <a:pt x="59" y="263"/>
                    <a:pt x="59" y="260"/>
                  </a:cubicBezTo>
                  <a:cubicBezTo>
                    <a:pt x="62" y="259"/>
                    <a:pt x="62" y="260"/>
                    <a:pt x="63" y="257"/>
                  </a:cubicBezTo>
                  <a:cubicBezTo>
                    <a:pt x="66" y="256"/>
                    <a:pt x="67" y="259"/>
                    <a:pt x="67" y="262"/>
                  </a:cubicBezTo>
                  <a:cubicBezTo>
                    <a:pt x="68" y="265"/>
                    <a:pt x="72" y="264"/>
                    <a:pt x="74" y="266"/>
                  </a:cubicBezTo>
                  <a:cubicBezTo>
                    <a:pt x="77" y="269"/>
                    <a:pt x="80" y="269"/>
                    <a:pt x="79" y="274"/>
                  </a:cubicBezTo>
                  <a:cubicBezTo>
                    <a:pt x="81" y="273"/>
                    <a:pt x="82" y="272"/>
                    <a:pt x="84" y="271"/>
                  </a:cubicBezTo>
                  <a:cubicBezTo>
                    <a:pt x="87" y="270"/>
                    <a:pt x="90" y="271"/>
                    <a:pt x="91" y="267"/>
                  </a:cubicBezTo>
                  <a:cubicBezTo>
                    <a:pt x="91" y="266"/>
                    <a:pt x="91" y="266"/>
                    <a:pt x="92" y="264"/>
                  </a:cubicBezTo>
                  <a:cubicBezTo>
                    <a:pt x="92" y="263"/>
                    <a:pt x="94" y="263"/>
                    <a:pt x="95" y="262"/>
                  </a:cubicBezTo>
                  <a:cubicBezTo>
                    <a:pt x="96" y="261"/>
                    <a:pt x="96" y="260"/>
                    <a:pt x="97" y="259"/>
                  </a:cubicBezTo>
                  <a:cubicBezTo>
                    <a:pt x="97" y="259"/>
                    <a:pt x="98" y="259"/>
                    <a:pt x="98" y="258"/>
                  </a:cubicBezTo>
                  <a:cubicBezTo>
                    <a:pt x="99" y="257"/>
                    <a:pt x="99" y="256"/>
                    <a:pt x="100" y="256"/>
                  </a:cubicBezTo>
                  <a:cubicBezTo>
                    <a:pt x="102" y="255"/>
                    <a:pt x="102" y="256"/>
                    <a:pt x="103" y="255"/>
                  </a:cubicBezTo>
                  <a:cubicBezTo>
                    <a:pt x="104" y="253"/>
                    <a:pt x="103" y="253"/>
                    <a:pt x="105" y="252"/>
                  </a:cubicBezTo>
                  <a:cubicBezTo>
                    <a:pt x="105" y="252"/>
                    <a:pt x="107" y="252"/>
                    <a:pt x="107" y="252"/>
                  </a:cubicBezTo>
                  <a:cubicBezTo>
                    <a:pt x="108" y="250"/>
                    <a:pt x="108" y="248"/>
                    <a:pt x="108" y="247"/>
                  </a:cubicBezTo>
                  <a:cubicBezTo>
                    <a:pt x="107" y="245"/>
                    <a:pt x="106" y="244"/>
                    <a:pt x="105" y="243"/>
                  </a:cubicBezTo>
                  <a:cubicBezTo>
                    <a:pt x="110" y="242"/>
                    <a:pt x="110" y="247"/>
                    <a:pt x="110" y="250"/>
                  </a:cubicBezTo>
                  <a:cubicBezTo>
                    <a:pt x="109" y="252"/>
                    <a:pt x="108" y="253"/>
                    <a:pt x="107" y="254"/>
                  </a:cubicBezTo>
                  <a:cubicBezTo>
                    <a:pt x="107" y="256"/>
                    <a:pt x="108" y="257"/>
                    <a:pt x="109" y="258"/>
                  </a:cubicBezTo>
                  <a:cubicBezTo>
                    <a:pt x="110" y="259"/>
                    <a:pt x="110" y="259"/>
                    <a:pt x="110" y="261"/>
                  </a:cubicBezTo>
                  <a:cubicBezTo>
                    <a:pt x="110" y="261"/>
                    <a:pt x="110" y="263"/>
                    <a:pt x="110" y="263"/>
                  </a:cubicBezTo>
                  <a:cubicBezTo>
                    <a:pt x="111" y="265"/>
                    <a:pt x="113" y="262"/>
                    <a:pt x="114" y="261"/>
                  </a:cubicBezTo>
                  <a:cubicBezTo>
                    <a:pt x="115" y="260"/>
                    <a:pt x="115" y="259"/>
                    <a:pt x="116" y="258"/>
                  </a:cubicBezTo>
                  <a:cubicBezTo>
                    <a:pt x="119" y="257"/>
                    <a:pt x="120" y="258"/>
                    <a:pt x="119" y="261"/>
                  </a:cubicBezTo>
                  <a:cubicBezTo>
                    <a:pt x="120" y="261"/>
                    <a:pt x="121" y="261"/>
                    <a:pt x="122" y="261"/>
                  </a:cubicBezTo>
                  <a:cubicBezTo>
                    <a:pt x="122" y="257"/>
                    <a:pt x="122" y="257"/>
                    <a:pt x="125" y="257"/>
                  </a:cubicBezTo>
                  <a:cubicBezTo>
                    <a:pt x="125" y="256"/>
                    <a:pt x="125" y="253"/>
                    <a:pt x="125" y="252"/>
                  </a:cubicBezTo>
                  <a:cubicBezTo>
                    <a:pt x="125" y="251"/>
                    <a:pt x="126" y="250"/>
                    <a:pt x="126" y="248"/>
                  </a:cubicBezTo>
                  <a:cubicBezTo>
                    <a:pt x="129" y="248"/>
                    <a:pt x="133" y="249"/>
                    <a:pt x="133" y="246"/>
                  </a:cubicBezTo>
                  <a:cubicBezTo>
                    <a:pt x="135" y="245"/>
                    <a:pt x="136" y="244"/>
                    <a:pt x="137" y="242"/>
                  </a:cubicBezTo>
                  <a:cubicBezTo>
                    <a:pt x="138" y="241"/>
                    <a:pt x="137" y="241"/>
                    <a:pt x="139" y="240"/>
                  </a:cubicBezTo>
                  <a:cubicBezTo>
                    <a:pt x="140" y="240"/>
                    <a:pt x="141" y="240"/>
                    <a:pt x="142" y="240"/>
                  </a:cubicBezTo>
                  <a:cubicBezTo>
                    <a:pt x="144" y="241"/>
                    <a:pt x="146" y="243"/>
                    <a:pt x="147" y="244"/>
                  </a:cubicBezTo>
                  <a:cubicBezTo>
                    <a:pt x="147" y="245"/>
                    <a:pt x="148" y="246"/>
                    <a:pt x="149" y="246"/>
                  </a:cubicBezTo>
                  <a:cubicBezTo>
                    <a:pt x="148" y="244"/>
                    <a:pt x="148" y="243"/>
                    <a:pt x="147" y="241"/>
                  </a:cubicBezTo>
                  <a:cubicBezTo>
                    <a:pt x="145" y="238"/>
                    <a:pt x="144" y="236"/>
                    <a:pt x="144" y="232"/>
                  </a:cubicBezTo>
                  <a:cubicBezTo>
                    <a:pt x="144" y="228"/>
                    <a:pt x="143" y="226"/>
                    <a:pt x="141" y="222"/>
                  </a:cubicBezTo>
                  <a:cubicBezTo>
                    <a:pt x="141" y="221"/>
                    <a:pt x="141" y="219"/>
                    <a:pt x="141" y="218"/>
                  </a:cubicBezTo>
                  <a:cubicBezTo>
                    <a:pt x="140" y="216"/>
                    <a:pt x="139" y="214"/>
                    <a:pt x="141" y="214"/>
                  </a:cubicBezTo>
                  <a:cubicBezTo>
                    <a:pt x="141" y="212"/>
                    <a:pt x="141" y="211"/>
                    <a:pt x="141" y="209"/>
                  </a:cubicBezTo>
                  <a:cubicBezTo>
                    <a:pt x="140" y="208"/>
                    <a:pt x="139" y="208"/>
                    <a:pt x="139" y="207"/>
                  </a:cubicBezTo>
                  <a:cubicBezTo>
                    <a:pt x="138" y="206"/>
                    <a:pt x="138" y="206"/>
                    <a:pt x="137" y="205"/>
                  </a:cubicBezTo>
                  <a:cubicBezTo>
                    <a:pt x="138" y="203"/>
                    <a:pt x="137" y="198"/>
                    <a:pt x="140" y="197"/>
                  </a:cubicBezTo>
                  <a:cubicBezTo>
                    <a:pt x="140" y="195"/>
                    <a:pt x="141" y="194"/>
                    <a:pt x="143" y="194"/>
                  </a:cubicBezTo>
                  <a:cubicBezTo>
                    <a:pt x="142" y="194"/>
                    <a:pt x="137" y="192"/>
                    <a:pt x="136" y="192"/>
                  </a:cubicBezTo>
                  <a:cubicBezTo>
                    <a:pt x="133" y="192"/>
                    <a:pt x="131" y="197"/>
                    <a:pt x="130" y="193"/>
                  </a:cubicBezTo>
                  <a:cubicBezTo>
                    <a:pt x="129" y="191"/>
                    <a:pt x="130" y="188"/>
                    <a:pt x="131" y="186"/>
                  </a:cubicBezTo>
                  <a:cubicBezTo>
                    <a:pt x="131" y="185"/>
                    <a:pt x="131" y="184"/>
                    <a:pt x="131" y="184"/>
                  </a:cubicBezTo>
                  <a:cubicBezTo>
                    <a:pt x="131" y="183"/>
                    <a:pt x="132" y="183"/>
                    <a:pt x="132" y="182"/>
                  </a:cubicBezTo>
                  <a:cubicBezTo>
                    <a:pt x="133" y="180"/>
                    <a:pt x="131" y="180"/>
                    <a:pt x="129" y="179"/>
                  </a:cubicBezTo>
                  <a:cubicBezTo>
                    <a:pt x="128" y="179"/>
                    <a:pt x="127" y="178"/>
                    <a:pt x="125" y="177"/>
                  </a:cubicBezTo>
                  <a:cubicBezTo>
                    <a:pt x="125" y="176"/>
                    <a:pt x="125" y="175"/>
                    <a:pt x="125" y="175"/>
                  </a:cubicBezTo>
                  <a:cubicBezTo>
                    <a:pt x="124" y="175"/>
                    <a:pt x="122" y="175"/>
                    <a:pt x="122" y="175"/>
                  </a:cubicBezTo>
                  <a:cubicBezTo>
                    <a:pt x="122" y="172"/>
                    <a:pt x="121" y="169"/>
                    <a:pt x="122" y="166"/>
                  </a:cubicBezTo>
                  <a:cubicBezTo>
                    <a:pt x="122" y="165"/>
                    <a:pt x="122" y="163"/>
                    <a:pt x="123" y="163"/>
                  </a:cubicBezTo>
                  <a:cubicBezTo>
                    <a:pt x="124" y="162"/>
                    <a:pt x="125" y="163"/>
                    <a:pt x="126" y="162"/>
                  </a:cubicBezTo>
                  <a:cubicBezTo>
                    <a:pt x="128" y="162"/>
                    <a:pt x="127" y="161"/>
                    <a:pt x="128" y="160"/>
                  </a:cubicBezTo>
                  <a:cubicBezTo>
                    <a:pt x="129" y="157"/>
                    <a:pt x="130" y="156"/>
                    <a:pt x="131" y="153"/>
                  </a:cubicBezTo>
                  <a:cubicBezTo>
                    <a:pt x="131" y="150"/>
                    <a:pt x="130" y="144"/>
                    <a:pt x="127" y="142"/>
                  </a:cubicBezTo>
                  <a:cubicBezTo>
                    <a:pt x="125" y="141"/>
                    <a:pt x="123" y="141"/>
                    <a:pt x="121" y="141"/>
                  </a:cubicBezTo>
                  <a:cubicBezTo>
                    <a:pt x="119" y="141"/>
                    <a:pt x="118" y="140"/>
                    <a:pt x="117" y="139"/>
                  </a:cubicBezTo>
                  <a:cubicBezTo>
                    <a:pt x="115" y="139"/>
                    <a:pt x="112" y="139"/>
                    <a:pt x="110" y="139"/>
                  </a:cubicBezTo>
                  <a:cubicBezTo>
                    <a:pt x="111" y="136"/>
                    <a:pt x="109" y="135"/>
                    <a:pt x="107" y="135"/>
                  </a:cubicBezTo>
                  <a:cubicBezTo>
                    <a:pt x="106" y="134"/>
                    <a:pt x="103" y="133"/>
                    <a:pt x="101" y="131"/>
                  </a:cubicBezTo>
                  <a:cubicBezTo>
                    <a:pt x="101" y="130"/>
                    <a:pt x="101" y="129"/>
                    <a:pt x="100" y="128"/>
                  </a:cubicBezTo>
                  <a:cubicBezTo>
                    <a:pt x="99" y="127"/>
                    <a:pt x="97" y="126"/>
                    <a:pt x="97" y="125"/>
                  </a:cubicBezTo>
                  <a:cubicBezTo>
                    <a:pt x="96" y="124"/>
                    <a:pt x="98" y="124"/>
                    <a:pt x="99" y="123"/>
                  </a:cubicBezTo>
                  <a:cubicBezTo>
                    <a:pt x="99" y="122"/>
                    <a:pt x="98" y="121"/>
                    <a:pt x="99" y="121"/>
                  </a:cubicBezTo>
                  <a:cubicBezTo>
                    <a:pt x="99" y="120"/>
                    <a:pt x="100" y="120"/>
                    <a:pt x="100" y="119"/>
                  </a:cubicBezTo>
                  <a:cubicBezTo>
                    <a:pt x="102" y="117"/>
                    <a:pt x="101" y="114"/>
                    <a:pt x="102" y="111"/>
                  </a:cubicBezTo>
                  <a:cubicBezTo>
                    <a:pt x="103" y="111"/>
                    <a:pt x="107" y="111"/>
                    <a:pt x="108" y="112"/>
                  </a:cubicBezTo>
                  <a:cubicBezTo>
                    <a:pt x="108" y="112"/>
                    <a:pt x="107" y="114"/>
                    <a:pt x="108" y="114"/>
                  </a:cubicBezTo>
                  <a:cubicBezTo>
                    <a:pt x="109" y="115"/>
                    <a:pt x="110" y="115"/>
                    <a:pt x="111" y="115"/>
                  </a:cubicBezTo>
                  <a:cubicBezTo>
                    <a:pt x="110" y="114"/>
                    <a:pt x="109" y="113"/>
                    <a:pt x="110" y="111"/>
                  </a:cubicBezTo>
                  <a:cubicBezTo>
                    <a:pt x="111" y="111"/>
                    <a:pt x="112" y="112"/>
                    <a:pt x="113" y="111"/>
                  </a:cubicBezTo>
                  <a:cubicBezTo>
                    <a:pt x="114" y="108"/>
                    <a:pt x="113" y="108"/>
                    <a:pt x="116" y="107"/>
                  </a:cubicBezTo>
                  <a:cubicBezTo>
                    <a:pt x="117" y="105"/>
                    <a:pt x="115" y="103"/>
                    <a:pt x="116" y="100"/>
                  </a:cubicBezTo>
                  <a:cubicBezTo>
                    <a:pt x="118" y="99"/>
                    <a:pt x="121" y="100"/>
                    <a:pt x="123" y="99"/>
                  </a:cubicBezTo>
                  <a:cubicBezTo>
                    <a:pt x="125" y="99"/>
                    <a:pt x="128" y="99"/>
                    <a:pt x="131" y="99"/>
                  </a:cubicBezTo>
                  <a:cubicBezTo>
                    <a:pt x="131" y="97"/>
                    <a:pt x="135" y="100"/>
                    <a:pt x="137" y="99"/>
                  </a:cubicBezTo>
                  <a:cubicBezTo>
                    <a:pt x="138" y="98"/>
                    <a:pt x="139" y="92"/>
                    <a:pt x="139" y="90"/>
                  </a:cubicBezTo>
                  <a:cubicBezTo>
                    <a:pt x="137" y="90"/>
                    <a:pt x="138" y="92"/>
                    <a:pt x="136" y="93"/>
                  </a:cubicBezTo>
                  <a:cubicBezTo>
                    <a:pt x="135" y="93"/>
                    <a:pt x="133" y="91"/>
                    <a:pt x="132" y="90"/>
                  </a:cubicBezTo>
                  <a:cubicBezTo>
                    <a:pt x="132" y="89"/>
                    <a:pt x="131" y="88"/>
                    <a:pt x="131" y="87"/>
                  </a:cubicBezTo>
                  <a:cubicBezTo>
                    <a:pt x="130" y="85"/>
                    <a:pt x="129" y="84"/>
                    <a:pt x="129" y="83"/>
                  </a:cubicBezTo>
                  <a:cubicBezTo>
                    <a:pt x="127" y="84"/>
                    <a:pt x="127" y="85"/>
                    <a:pt x="125" y="86"/>
                  </a:cubicBezTo>
                  <a:cubicBezTo>
                    <a:pt x="123" y="86"/>
                    <a:pt x="122" y="86"/>
                    <a:pt x="120" y="85"/>
                  </a:cubicBezTo>
                  <a:cubicBezTo>
                    <a:pt x="118" y="84"/>
                    <a:pt x="115" y="83"/>
                    <a:pt x="114" y="80"/>
                  </a:cubicBezTo>
                  <a:cubicBezTo>
                    <a:pt x="113" y="79"/>
                    <a:pt x="114" y="78"/>
                    <a:pt x="114" y="77"/>
                  </a:cubicBezTo>
                  <a:cubicBezTo>
                    <a:pt x="113" y="77"/>
                    <a:pt x="112" y="76"/>
                    <a:pt x="111" y="75"/>
                  </a:cubicBezTo>
                  <a:cubicBezTo>
                    <a:pt x="110" y="74"/>
                    <a:pt x="109" y="73"/>
                    <a:pt x="108" y="73"/>
                  </a:cubicBezTo>
                  <a:cubicBezTo>
                    <a:pt x="107" y="72"/>
                    <a:pt x="105" y="72"/>
                    <a:pt x="104" y="71"/>
                  </a:cubicBezTo>
                  <a:cubicBezTo>
                    <a:pt x="102" y="71"/>
                    <a:pt x="101" y="72"/>
                    <a:pt x="99" y="71"/>
                  </a:cubicBezTo>
                  <a:cubicBezTo>
                    <a:pt x="99" y="68"/>
                    <a:pt x="98" y="61"/>
                    <a:pt x="102" y="61"/>
                  </a:cubicBezTo>
                  <a:cubicBezTo>
                    <a:pt x="103" y="59"/>
                    <a:pt x="101" y="59"/>
                    <a:pt x="101" y="57"/>
                  </a:cubicBezTo>
                  <a:cubicBezTo>
                    <a:pt x="101" y="56"/>
                    <a:pt x="102" y="55"/>
                    <a:pt x="103" y="54"/>
                  </a:cubicBezTo>
                  <a:cubicBezTo>
                    <a:pt x="104" y="52"/>
                    <a:pt x="107" y="52"/>
                    <a:pt x="109" y="50"/>
                  </a:cubicBezTo>
                  <a:cubicBezTo>
                    <a:pt x="110" y="49"/>
                    <a:pt x="110" y="47"/>
                    <a:pt x="111" y="46"/>
                  </a:cubicBezTo>
                  <a:cubicBezTo>
                    <a:pt x="111" y="46"/>
                    <a:pt x="111" y="46"/>
                    <a:pt x="111" y="46"/>
                  </a:cubicBezTo>
                  <a:cubicBezTo>
                    <a:pt x="111" y="46"/>
                    <a:pt x="111" y="46"/>
                    <a:pt x="111" y="46"/>
                  </a:cubicBezTo>
                  <a:cubicBezTo>
                    <a:pt x="111" y="46"/>
                    <a:pt x="111" y="46"/>
                    <a:pt x="111" y="46"/>
                  </a:cubicBezTo>
                  <a:cubicBezTo>
                    <a:pt x="111" y="46"/>
                    <a:pt x="111" y="46"/>
                    <a:pt x="111" y="46"/>
                  </a:cubicBezTo>
                  <a:cubicBezTo>
                    <a:pt x="111" y="46"/>
                    <a:pt x="111" y="46"/>
                    <a:pt x="111" y="46"/>
                  </a:cubicBezTo>
                  <a:cubicBezTo>
                    <a:pt x="111" y="46"/>
                    <a:pt x="111" y="46"/>
                    <a:pt x="111" y="46"/>
                  </a:cubicBezTo>
                  <a:cubicBezTo>
                    <a:pt x="111" y="46"/>
                    <a:pt x="111" y="46"/>
                    <a:pt x="111" y="46"/>
                  </a:cubicBezTo>
                  <a:cubicBezTo>
                    <a:pt x="111" y="46"/>
                    <a:pt x="111" y="46"/>
                    <a:pt x="111" y="46"/>
                  </a:cubicBezTo>
                  <a:cubicBezTo>
                    <a:pt x="112" y="45"/>
                    <a:pt x="114" y="44"/>
                    <a:pt x="115" y="44"/>
                  </a:cubicBezTo>
                  <a:cubicBezTo>
                    <a:pt x="116" y="43"/>
                    <a:pt x="115" y="42"/>
                    <a:pt x="115" y="40"/>
                  </a:cubicBezTo>
                  <a:cubicBezTo>
                    <a:pt x="112" y="40"/>
                    <a:pt x="111" y="40"/>
                    <a:pt x="110" y="37"/>
                  </a:cubicBezTo>
                  <a:cubicBezTo>
                    <a:pt x="109" y="36"/>
                    <a:pt x="108" y="36"/>
                    <a:pt x="109" y="34"/>
                  </a:cubicBezTo>
                  <a:cubicBezTo>
                    <a:pt x="109" y="33"/>
                    <a:pt x="110" y="32"/>
                    <a:pt x="110" y="31"/>
                  </a:cubicBezTo>
                  <a:cubicBezTo>
                    <a:pt x="110" y="31"/>
                    <a:pt x="110" y="32"/>
                    <a:pt x="110" y="33"/>
                  </a:cubicBezTo>
                  <a:cubicBezTo>
                    <a:pt x="111" y="33"/>
                    <a:pt x="111" y="33"/>
                    <a:pt x="112" y="33"/>
                  </a:cubicBezTo>
                  <a:cubicBezTo>
                    <a:pt x="112" y="35"/>
                    <a:pt x="116" y="37"/>
                    <a:pt x="117" y="37"/>
                  </a:cubicBezTo>
                  <a:cubicBezTo>
                    <a:pt x="117" y="38"/>
                    <a:pt x="117" y="39"/>
                    <a:pt x="117" y="39"/>
                  </a:cubicBezTo>
                  <a:cubicBezTo>
                    <a:pt x="119" y="39"/>
                    <a:pt x="120" y="39"/>
                    <a:pt x="121" y="39"/>
                  </a:cubicBezTo>
                  <a:cubicBezTo>
                    <a:pt x="121" y="40"/>
                    <a:pt x="121" y="41"/>
                    <a:pt x="120" y="42"/>
                  </a:cubicBezTo>
                  <a:cubicBezTo>
                    <a:pt x="122" y="42"/>
                    <a:pt x="124" y="42"/>
                    <a:pt x="125" y="42"/>
                  </a:cubicBezTo>
                  <a:cubicBezTo>
                    <a:pt x="125" y="43"/>
                    <a:pt x="126" y="45"/>
                    <a:pt x="125" y="46"/>
                  </a:cubicBezTo>
                  <a:cubicBezTo>
                    <a:pt x="125" y="48"/>
                    <a:pt x="123" y="49"/>
                    <a:pt x="123" y="50"/>
                  </a:cubicBezTo>
                  <a:cubicBezTo>
                    <a:pt x="124" y="51"/>
                    <a:pt x="126" y="50"/>
                    <a:pt x="127" y="50"/>
                  </a:cubicBezTo>
                  <a:cubicBezTo>
                    <a:pt x="127" y="52"/>
                    <a:pt x="126" y="54"/>
                    <a:pt x="127" y="55"/>
                  </a:cubicBezTo>
                  <a:cubicBezTo>
                    <a:pt x="127" y="54"/>
                    <a:pt x="128" y="53"/>
                    <a:pt x="128" y="52"/>
                  </a:cubicBezTo>
                  <a:cubicBezTo>
                    <a:pt x="129" y="51"/>
                    <a:pt x="127" y="47"/>
                    <a:pt x="130" y="47"/>
                  </a:cubicBezTo>
                  <a:cubicBezTo>
                    <a:pt x="130" y="48"/>
                    <a:pt x="130" y="49"/>
                    <a:pt x="131" y="50"/>
                  </a:cubicBezTo>
                  <a:cubicBezTo>
                    <a:pt x="131" y="49"/>
                    <a:pt x="131" y="48"/>
                    <a:pt x="131" y="47"/>
                  </a:cubicBezTo>
                  <a:cubicBezTo>
                    <a:pt x="133" y="46"/>
                    <a:pt x="133" y="47"/>
                    <a:pt x="134" y="48"/>
                  </a:cubicBezTo>
                  <a:cubicBezTo>
                    <a:pt x="135" y="48"/>
                    <a:pt x="135" y="49"/>
                    <a:pt x="136" y="49"/>
                  </a:cubicBezTo>
                  <a:cubicBezTo>
                    <a:pt x="137" y="49"/>
                    <a:pt x="138" y="49"/>
                    <a:pt x="139" y="49"/>
                  </a:cubicBezTo>
                  <a:cubicBezTo>
                    <a:pt x="138" y="47"/>
                    <a:pt x="137" y="46"/>
                    <a:pt x="136" y="44"/>
                  </a:cubicBezTo>
                  <a:cubicBezTo>
                    <a:pt x="135" y="43"/>
                    <a:pt x="133" y="42"/>
                    <a:pt x="134" y="40"/>
                  </a:cubicBezTo>
                  <a:cubicBezTo>
                    <a:pt x="135" y="39"/>
                    <a:pt x="137" y="39"/>
                    <a:pt x="139" y="39"/>
                  </a:cubicBezTo>
                  <a:cubicBezTo>
                    <a:pt x="139" y="42"/>
                    <a:pt x="141" y="41"/>
                    <a:pt x="142" y="43"/>
                  </a:cubicBezTo>
                  <a:cubicBezTo>
                    <a:pt x="143" y="43"/>
                    <a:pt x="143" y="46"/>
                    <a:pt x="143" y="47"/>
                  </a:cubicBezTo>
                  <a:cubicBezTo>
                    <a:pt x="143" y="49"/>
                    <a:pt x="143" y="50"/>
                    <a:pt x="144" y="51"/>
                  </a:cubicBezTo>
                  <a:cubicBezTo>
                    <a:pt x="144" y="51"/>
                    <a:pt x="144" y="51"/>
                    <a:pt x="144" y="51"/>
                  </a:cubicBezTo>
                  <a:cubicBezTo>
                    <a:pt x="144" y="51"/>
                    <a:pt x="144" y="51"/>
                    <a:pt x="144" y="51"/>
                  </a:cubicBezTo>
                  <a:cubicBezTo>
                    <a:pt x="144" y="51"/>
                    <a:pt x="144" y="51"/>
                    <a:pt x="144" y="51"/>
                  </a:cubicBezTo>
                  <a:cubicBezTo>
                    <a:pt x="144" y="51"/>
                    <a:pt x="144" y="51"/>
                    <a:pt x="144" y="51"/>
                  </a:cubicBezTo>
                  <a:cubicBezTo>
                    <a:pt x="144" y="51"/>
                    <a:pt x="144" y="51"/>
                    <a:pt x="144" y="51"/>
                  </a:cubicBezTo>
                  <a:cubicBezTo>
                    <a:pt x="144" y="51"/>
                    <a:pt x="144" y="51"/>
                    <a:pt x="144" y="51"/>
                  </a:cubicBezTo>
                  <a:cubicBezTo>
                    <a:pt x="144" y="51"/>
                    <a:pt x="144" y="51"/>
                    <a:pt x="144" y="51"/>
                  </a:cubicBezTo>
                  <a:cubicBezTo>
                    <a:pt x="144" y="51"/>
                    <a:pt x="144" y="51"/>
                    <a:pt x="144" y="51"/>
                  </a:cubicBezTo>
                  <a:cubicBezTo>
                    <a:pt x="144" y="51"/>
                    <a:pt x="144" y="51"/>
                    <a:pt x="144" y="51"/>
                  </a:cubicBezTo>
                  <a:cubicBezTo>
                    <a:pt x="144" y="51"/>
                    <a:pt x="144" y="51"/>
                    <a:pt x="144" y="51"/>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5" y="53"/>
                    <a:pt x="145" y="53"/>
                    <a:pt x="146" y="54"/>
                  </a:cubicBezTo>
                  <a:cubicBezTo>
                    <a:pt x="146" y="54"/>
                    <a:pt x="147" y="54"/>
                    <a:pt x="147" y="55"/>
                  </a:cubicBezTo>
                  <a:cubicBezTo>
                    <a:pt x="150" y="56"/>
                    <a:pt x="153" y="58"/>
                    <a:pt x="156" y="59"/>
                  </a:cubicBezTo>
                  <a:cubicBezTo>
                    <a:pt x="157" y="59"/>
                    <a:pt x="162" y="60"/>
                    <a:pt x="163" y="59"/>
                  </a:cubicBezTo>
                  <a:cubicBezTo>
                    <a:pt x="163" y="59"/>
                    <a:pt x="163" y="57"/>
                    <a:pt x="164" y="57"/>
                  </a:cubicBezTo>
                  <a:cubicBezTo>
                    <a:pt x="164" y="56"/>
                    <a:pt x="165" y="55"/>
                    <a:pt x="165" y="55"/>
                  </a:cubicBezTo>
                  <a:cubicBezTo>
                    <a:pt x="165" y="53"/>
                    <a:pt x="165" y="53"/>
                    <a:pt x="165" y="53"/>
                  </a:cubicBezTo>
                  <a:cubicBezTo>
                    <a:pt x="166" y="52"/>
                    <a:pt x="167" y="52"/>
                    <a:pt x="168" y="51"/>
                  </a:cubicBezTo>
                  <a:cubicBezTo>
                    <a:pt x="169" y="50"/>
                    <a:pt x="169" y="50"/>
                    <a:pt x="169" y="50"/>
                  </a:cubicBezTo>
                  <a:cubicBezTo>
                    <a:pt x="169" y="48"/>
                    <a:pt x="170" y="46"/>
                    <a:pt x="172" y="45"/>
                  </a:cubicBezTo>
                  <a:cubicBezTo>
                    <a:pt x="173" y="44"/>
                    <a:pt x="174" y="43"/>
                    <a:pt x="175" y="43"/>
                  </a:cubicBezTo>
                  <a:cubicBezTo>
                    <a:pt x="176" y="41"/>
                    <a:pt x="177" y="40"/>
                    <a:pt x="178" y="39"/>
                  </a:cubicBezTo>
                  <a:cubicBezTo>
                    <a:pt x="179" y="38"/>
                    <a:pt x="179" y="37"/>
                    <a:pt x="180" y="36"/>
                  </a:cubicBezTo>
                  <a:cubicBezTo>
                    <a:pt x="178" y="36"/>
                    <a:pt x="178" y="35"/>
                    <a:pt x="177" y="34"/>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26" name="Freeform 353"/>
            <p:cNvSpPr>
              <a:spLocks/>
            </p:cNvSpPr>
            <p:nvPr/>
          </p:nvSpPr>
          <p:spPr bwMode="auto">
            <a:xfrm>
              <a:off x="5454651" y="289560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27" name="Freeform 354"/>
            <p:cNvSpPr>
              <a:spLocks/>
            </p:cNvSpPr>
            <p:nvPr/>
          </p:nvSpPr>
          <p:spPr bwMode="auto">
            <a:xfrm>
              <a:off x="3095626" y="483076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28" name="Freeform 355"/>
            <p:cNvSpPr>
              <a:spLocks/>
            </p:cNvSpPr>
            <p:nvPr/>
          </p:nvSpPr>
          <p:spPr bwMode="auto">
            <a:xfrm>
              <a:off x="3098801" y="4830763"/>
              <a:ext cx="3175" cy="3175"/>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1"/>
                    <a:pt x="0" y="1"/>
                    <a:pt x="0" y="0"/>
                  </a:cubicBezTo>
                  <a:cubicBezTo>
                    <a:pt x="0" y="1"/>
                    <a:pt x="0" y="1"/>
                    <a:pt x="1" y="1"/>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29" name="Freeform 356"/>
            <p:cNvSpPr>
              <a:spLocks/>
            </p:cNvSpPr>
            <p:nvPr/>
          </p:nvSpPr>
          <p:spPr bwMode="auto">
            <a:xfrm>
              <a:off x="3089276" y="4826001"/>
              <a:ext cx="3175"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0" y="0"/>
                    <a:pt x="0" y="0"/>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30" name="Freeform 357"/>
            <p:cNvSpPr>
              <a:spLocks/>
            </p:cNvSpPr>
            <p:nvPr/>
          </p:nvSpPr>
          <p:spPr bwMode="auto">
            <a:xfrm>
              <a:off x="2897188" y="3754438"/>
              <a:ext cx="1400175" cy="1071563"/>
            </a:xfrm>
            <a:custGeom>
              <a:avLst/>
              <a:gdLst>
                <a:gd name="T0" fmla="*/ 373 w 396"/>
                <a:gd name="T1" fmla="*/ 119 h 303"/>
                <a:gd name="T2" fmla="*/ 372 w 396"/>
                <a:gd name="T3" fmla="*/ 98 h 303"/>
                <a:gd name="T4" fmla="*/ 380 w 396"/>
                <a:gd name="T5" fmla="*/ 65 h 303"/>
                <a:gd name="T6" fmla="*/ 386 w 396"/>
                <a:gd name="T7" fmla="*/ 49 h 303"/>
                <a:gd name="T8" fmla="*/ 354 w 396"/>
                <a:gd name="T9" fmla="*/ 35 h 303"/>
                <a:gd name="T10" fmla="*/ 315 w 396"/>
                <a:gd name="T11" fmla="*/ 28 h 303"/>
                <a:gd name="T12" fmla="*/ 283 w 396"/>
                <a:gd name="T13" fmla="*/ 31 h 303"/>
                <a:gd name="T14" fmla="*/ 245 w 396"/>
                <a:gd name="T15" fmla="*/ 36 h 303"/>
                <a:gd name="T16" fmla="*/ 242 w 396"/>
                <a:gd name="T17" fmla="*/ 29 h 303"/>
                <a:gd name="T18" fmla="*/ 202 w 396"/>
                <a:gd name="T19" fmla="*/ 27 h 303"/>
                <a:gd name="T20" fmla="*/ 187 w 396"/>
                <a:gd name="T21" fmla="*/ 43 h 303"/>
                <a:gd name="T22" fmla="*/ 166 w 396"/>
                <a:gd name="T23" fmla="*/ 33 h 303"/>
                <a:gd name="T24" fmla="*/ 116 w 396"/>
                <a:gd name="T25" fmla="*/ 17 h 303"/>
                <a:gd name="T26" fmla="*/ 77 w 396"/>
                <a:gd name="T27" fmla="*/ 4 h 303"/>
                <a:gd name="T28" fmla="*/ 66 w 396"/>
                <a:gd name="T29" fmla="*/ 17 h 303"/>
                <a:gd name="T30" fmla="*/ 72 w 396"/>
                <a:gd name="T31" fmla="*/ 27 h 303"/>
                <a:gd name="T32" fmla="*/ 52 w 396"/>
                <a:gd name="T33" fmla="*/ 40 h 303"/>
                <a:gd name="T34" fmla="*/ 54 w 396"/>
                <a:gd name="T35" fmla="*/ 65 h 303"/>
                <a:gd name="T36" fmla="*/ 41 w 396"/>
                <a:gd name="T37" fmla="*/ 69 h 303"/>
                <a:gd name="T38" fmla="*/ 18 w 396"/>
                <a:gd name="T39" fmla="*/ 79 h 303"/>
                <a:gd name="T40" fmla="*/ 5 w 396"/>
                <a:gd name="T41" fmla="*/ 89 h 303"/>
                <a:gd name="T42" fmla="*/ 1 w 396"/>
                <a:gd name="T43" fmla="*/ 111 h 303"/>
                <a:gd name="T44" fmla="*/ 4 w 396"/>
                <a:gd name="T45" fmla="*/ 120 h 303"/>
                <a:gd name="T46" fmla="*/ 4 w 396"/>
                <a:gd name="T47" fmla="*/ 139 h 303"/>
                <a:gd name="T48" fmla="*/ 10 w 396"/>
                <a:gd name="T49" fmla="*/ 135 h 303"/>
                <a:gd name="T50" fmla="*/ 7 w 396"/>
                <a:gd name="T51" fmla="*/ 145 h 303"/>
                <a:gd name="T52" fmla="*/ 7 w 396"/>
                <a:gd name="T53" fmla="*/ 159 h 303"/>
                <a:gd name="T54" fmla="*/ 9 w 396"/>
                <a:gd name="T55" fmla="*/ 170 h 303"/>
                <a:gd name="T56" fmla="*/ 8 w 396"/>
                <a:gd name="T57" fmla="*/ 180 h 303"/>
                <a:gd name="T58" fmla="*/ 13 w 396"/>
                <a:gd name="T59" fmla="*/ 218 h 303"/>
                <a:gd name="T60" fmla="*/ 15 w 396"/>
                <a:gd name="T61" fmla="*/ 234 h 303"/>
                <a:gd name="T62" fmla="*/ 18 w 396"/>
                <a:gd name="T63" fmla="*/ 265 h 303"/>
                <a:gd name="T64" fmla="*/ 24 w 396"/>
                <a:gd name="T65" fmla="*/ 286 h 303"/>
                <a:gd name="T66" fmla="*/ 43 w 396"/>
                <a:gd name="T67" fmla="*/ 301 h 303"/>
                <a:gd name="T68" fmla="*/ 60 w 396"/>
                <a:gd name="T69" fmla="*/ 296 h 303"/>
                <a:gd name="T70" fmla="*/ 71 w 396"/>
                <a:gd name="T71" fmla="*/ 282 h 303"/>
                <a:gd name="T72" fmla="*/ 67 w 396"/>
                <a:gd name="T73" fmla="*/ 258 h 303"/>
                <a:gd name="T74" fmla="*/ 91 w 396"/>
                <a:gd name="T75" fmla="*/ 251 h 303"/>
                <a:gd name="T76" fmla="*/ 114 w 396"/>
                <a:gd name="T77" fmla="*/ 242 h 303"/>
                <a:gd name="T78" fmla="*/ 136 w 396"/>
                <a:gd name="T79" fmla="*/ 230 h 303"/>
                <a:gd name="T80" fmla="*/ 158 w 396"/>
                <a:gd name="T81" fmla="*/ 225 h 303"/>
                <a:gd name="T82" fmla="*/ 172 w 396"/>
                <a:gd name="T83" fmla="*/ 217 h 303"/>
                <a:gd name="T84" fmla="*/ 193 w 396"/>
                <a:gd name="T85" fmla="*/ 207 h 303"/>
                <a:gd name="T86" fmla="*/ 203 w 396"/>
                <a:gd name="T87" fmla="*/ 199 h 303"/>
                <a:gd name="T88" fmla="*/ 226 w 396"/>
                <a:gd name="T89" fmla="*/ 179 h 303"/>
                <a:gd name="T90" fmla="*/ 232 w 396"/>
                <a:gd name="T91" fmla="*/ 171 h 303"/>
                <a:gd name="T92" fmla="*/ 248 w 396"/>
                <a:gd name="T93" fmla="*/ 154 h 303"/>
                <a:gd name="T94" fmla="*/ 263 w 396"/>
                <a:gd name="T95" fmla="*/ 138 h 303"/>
                <a:gd name="T96" fmla="*/ 270 w 396"/>
                <a:gd name="T97" fmla="*/ 117 h 303"/>
                <a:gd name="T98" fmla="*/ 297 w 396"/>
                <a:gd name="T99" fmla="*/ 113 h 303"/>
                <a:gd name="T100" fmla="*/ 308 w 396"/>
                <a:gd name="T101" fmla="*/ 127 h 303"/>
                <a:gd name="T102" fmla="*/ 322 w 396"/>
                <a:gd name="T103" fmla="*/ 124 h 303"/>
                <a:gd name="T104" fmla="*/ 333 w 396"/>
                <a:gd name="T105" fmla="*/ 125 h 303"/>
                <a:gd name="T106" fmla="*/ 347 w 396"/>
                <a:gd name="T107" fmla="*/ 148 h 303"/>
                <a:gd name="T108" fmla="*/ 362 w 396"/>
                <a:gd name="T109" fmla="*/ 170 h 303"/>
                <a:gd name="T110" fmla="*/ 369 w 396"/>
                <a:gd name="T111" fmla="*/ 145 h 303"/>
                <a:gd name="T112" fmla="*/ 393 w 396"/>
                <a:gd name="T113" fmla="*/ 14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6" h="303">
                  <a:moveTo>
                    <a:pt x="395" y="132"/>
                  </a:moveTo>
                  <a:cubicBezTo>
                    <a:pt x="394" y="129"/>
                    <a:pt x="390" y="130"/>
                    <a:pt x="387" y="129"/>
                  </a:cubicBezTo>
                  <a:cubicBezTo>
                    <a:pt x="387" y="129"/>
                    <a:pt x="387" y="128"/>
                    <a:pt x="387" y="127"/>
                  </a:cubicBezTo>
                  <a:cubicBezTo>
                    <a:pt x="383" y="127"/>
                    <a:pt x="384" y="125"/>
                    <a:pt x="383" y="122"/>
                  </a:cubicBezTo>
                  <a:cubicBezTo>
                    <a:pt x="381" y="121"/>
                    <a:pt x="382" y="118"/>
                    <a:pt x="380" y="117"/>
                  </a:cubicBezTo>
                  <a:cubicBezTo>
                    <a:pt x="377" y="115"/>
                    <a:pt x="375" y="118"/>
                    <a:pt x="373" y="119"/>
                  </a:cubicBezTo>
                  <a:cubicBezTo>
                    <a:pt x="372" y="117"/>
                    <a:pt x="374" y="117"/>
                    <a:pt x="375" y="115"/>
                  </a:cubicBezTo>
                  <a:cubicBezTo>
                    <a:pt x="375" y="113"/>
                    <a:pt x="373" y="112"/>
                    <a:pt x="374" y="111"/>
                  </a:cubicBezTo>
                  <a:cubicBezTo>
                    <a:pt x="378" y="111"/>
                    <a:pt x="378" y="110"/>
                    <a:pt x="379" y="106"/>
                  </a:cubicBezTo>
                  <a:cubicBezTo>
                    <a:pt x="379" y="103"/>
                    <a:pt x="377" y="102"/>
                    <a:pt x="375" y="100"/>
                  </a:cubicBezTo>
                  <a:cubicBezTo>
                    <a:pt x="374" y="101"/>
                    <a:pt x="373" y="102"/>
                    <a:pt x="372" y="102"/>
                  </a:cubicBezTo>
                  <a:cubicBezTo>
                    <a:pt x="372" y="100"/>
                    <a:pt x="372" y="99"/>
                    <a:pt x="372" y="98"/>
                  </a:cubicBezTo>
                  <a:cubicBezTo>
                    <a:pt x="373" y="96"/>
                    <a:pt x="374" y="96"/>
                    <a:pt x="374" y="94"/>
                  </a:cubicBezTo>
                  <a:cubicBezTo>
                    <a:pt x="374" y="96"/>
                    <a:pt x="381" y="93"/>
                    <a:pt x="381" y="92"/>
                  </a:cubicBezTo>
                  <a:cubicBezTo>
                    <a:pt x="382" y="90"/>
                    <a:pt x="382" y="87"/>
                    <a:pt x="382" y="85"/>
                  </a:cubicBezTo>
                  <a:cubicBezTo>
                    <a:pt x="382" y="83"/>
                    <a:pt x="383" y="81"/>
                    <a:pt x="383" y="79"/>
                  </a:cubicBezTo>
                  <a:cubicBezTo>
                    <a:pt x="381" y="79"/>
                    <a:pt x="379" y="81"/>
                    <a:pt x="378" y="80"/>
                  </a:cubicBezTo>
                  <a:cubicBezTo>
                    <a:pt x="377" y="75"/>
                    <a:pt x="384" y="70"/>
                    <a:pt x="380" y="65"/>
                  </a:cubicBezTo>
                  <a:cubicBezTo>
                    <a:pt x="379" y="63"/>
                    <a:pt x="376" y="64"/>
                    <a:pt x="375" y="62"/>
                  </a:cubicBezTo>
                  <a:cubicBezTo>
                    <a:pt x="375" y="60"/>
                    <a:pt x="375" y="58"/>
                    <a:pt x="375" y="56"/>
                  </a:cubicBezTo>
                  <a:cubicBezTo>
                    <a:pt x="375" y="55"/>
                    <a:pt x="374" y="54"/>
                    <a:pt x="374" y="52"/>
                  </a:cubicBezTo>
                  <a:cubicBezTo>
                    <a:pt x="376" y="52"/>
                    <a:pt x="377" y="52"/>
                    <a:pt x="377" y="54"/>
                  </a:cubicBezTo>
                  <a:cubicBezTo>
                    <a:pt x="379" y="55"/>
                    <a:pt x="380" y="52"/>
                    <a:pt x="382" y="52"/>
                  </a:cubicBezTo>
                  <a:cubicBezTo>
                    <a:pt x="383" y="52"/>
                    <a:pt x="385" y="51"/>
                    <a:pt x="386" y="49"/>
                  </a:cubicBezTo>
                  <a:cubicBezTo>
                    <a:pt x="387" y="45"/>
                    <a:pt x="383" y="45"/>
                    <a:pt x="380" y="44"/>
                  </a:cubicBezTo>
                  <a:cubicBezTo>
                    <a:pt x="375" y="44"/>
                    <a:pt x="372" y="40"/>
                    <a:pt x="371" y="36"/>
                  </a:cubicBezTo>
                  <a:cubicBezTo>
                    <a:pt x="370" y="34"/>
                    <a:pt x="367" y="34"/>
                    <a:pt x="367" y="33"/>
                  </a:cubicBezTo>
                  <a:cubicBezTo>
                    <a:pt x="365" y="33"/>
                    <a:pt x="364" y="33"/>
                    <a:pt x="363" y="32"/>
                  </a:cubicBezTo>
                  <a:cubicBezTo>
                    <a:pt x="362" y="31"/>
                    <a:pt x="361" y="32"/>
                    <a:pt x="360" y="32"/>
                  </a:cubicBezTo>
                  <a:cubicBezTo>
                    <a:pt x="358" y="34"/>
                    <a:pt x="357" y="35"/>
                    <a:pt x="354" y="35"/>
                  </a:cubicBezTo>
                  <a:cubicBezTo>
                    <a:pt x="351" y="35"/>
                    <a:pt x="348" y="35"/>
                    <a:pt x="346" y="34"/>
                  </a:cubicBezTo>
                  <a:cubicBezTo>
                    <a:pt x="342" y="32"/>
                    <a:pt x="340" y="32"/>
                    <a:pt x="336" y="32"/>
                  </a:cubicBezTo>
                  <a:cubicBezTo>
                    <a:pt x="335" y="33"/>
                    <a:pt x="329" y="34"/>
                    <a:pt x="329" y="32"/>
                  </a:cubicBezTo>
                  <a:cubicBezTo>
                    <a:pt x="329" y="29"/>
                    <a:pt x="326" y="28"/>
                    <a:pt x="324" y="28"/>
                  </a:cubicBezTo>
                  <a:cubicBezTo>
                    <a:pt x="320" y="28"/>
                    <a:pt x="321" y="26"/>
                    <a:pt x="319" y="25"/>
                  </a:cubicBezTo>
                  <a:cubicBezTo>
                    <a:pt x="316" y="23"/>
                    <a:pt x="316" y="27"/>
                    <a:pt x="315" y="28"/>
                  </a:cubicBezTo>
                  <a:cubicBezTo>
                    <a:pt x="314" y="28"/>
                    <a:pt x="313" y="28"/>
                    <a:pt x="312" y="29"/>
                  </a:cubicBezTo>
                  <a:cubicBezTo>
                    <a:pt x="312" y="29"/>
                    <a:pt x="312" y="30"/>
                    <a:pt x="312" y="30"/>
                  </a:cubicBezTo>
                  <a:cubicBezTo>
                    <a:pt x="309" y="30"/>
                    <a:pt x="306" y="29"/>
                    <a:pt x="303" y="29"/>
                  </a:cubicBezTo>
                  <a:cubicBezTo>
                    <a:pt x="303" y="31"/>
                    <a:pt x="303" y="32"/>
                    <a:pt x="303" y="34"/>
                  </a:cubicBezTo>
                  <a:cubicBezTo>
                    <a:pt x="299" y="34"/>
                    <a:pt x="294" y="37"/>
                    <a:pt x="290" y="35"/>
                  </a:cubicBezTo>
                  <a:cubicBezTo>
                    <a:pt x="288" y="34"/>
                    <a:pt x="286" y="30"/>
                    <a:pt x="283" y="31"/>
                  </a:cubicBezTo>
                  <a:cubicBezTo>
                    <a:pt x="282" y="32"/>
                    <a:pt x="280" y="34"/>
                    <a:pt x="279" y="32"/>
                  </a:cubicBezTo>
                  <a:cubicBezTo>
                    <a:pt x="278" y="30"/>
                    <a:pt x="279" y="29"/>
                    <a:pt x="279" y="27"/>
                  </a:cubicBezTo>
                  <a:cubicBezTo>
                    <a:pt x="277" y="27"/>
                    <a:pt x="277" y="29"/>
                    <a:pt x="276" y="30"/>
                  </a:cubicBezTo>
                  <a:cubicBezTo>
                    <a:pt x="274" y="31"/>
                    <a:pt x="273" y="29"/>
                    <a:pt x="271" y="29"/>
                  </a:cubicBezTo>
                  <a:cubicBezTo>
                    <a:pt x="268" y="27"/>
                    <a:pt x="265" y="30"/>
                    <a:pt x="264" y="33"/>
                  </a:cubicBezTo>
                  <a:cubicBezTo>
                    <a:pt x="257" y="34"/>
                    <a:pt x="252" y="37"/>
                    <a:pt x="245" y="36"/>
                  </a:cubicBezTo>
                  <a:cubicBezTo>
                    <a:pt x="242" y="35"/>
                    <a:pt x="241" y="36"/>
                    <a:pt x="240" y="34"/>
                  </a:cubicBezTo>
                  <a:cubicBezTo>
                    <a:pt x="238" y="32"/>
                    <a:pt x="236" y="35"/>
                    <a:pt x="236" y="36"/>
                  </a:cubicBezTo>
                  <a:cubicBezTo>
                    <a:pt x="234" y="36"/>
                    <a:pt x="233" y="30"/>
                    <a:pt x="232" y="28"/>
                  </a:cubicBezTo>
                  <a:cubicBezTo>
                    <a:pt x="234" y="28"/>
                    <a:pt x="237" y="29"/>
                    <a:pt x="239" y="28"/>
                  </a:cubicBezTo>
                  <a:cubicBezTo>
                    <a:pt x="239" y="29"/>
                    <a:pt x="239" y="30"/>
                    <a:pt x="239" y="30"/>
                  </a:cubicBezTo>
                  <a:cubicBezTo>
                    <a:pt x="240" y="30"/>
                    <a:pt x="241" y="29"/>
                    <a:pt x="242" y="29"/>
                  </a:cubicBezTo>
                  <a:cubicBezTo>
                    <a:pt x="239" y="26"/>
                    <a:pt x="238" y="19"/>
                    <a:pt x="234" y="18"/>
                  </a:cubicBezTo>
                  <a:cubicBezTo>
                    <a:pt x="229" y="17"/>
                    <a:pt x="227" y="19"/>
                    <a:pt x="224" y="22"/>
                  </a:cubicBezTo>
                  <a:cubicBezTo>
                    <a:pt x="223" y="22"/>
                    <a:pt x="221" y="22"/>
                    <a:pt x="220" y="23"/>
                  </a:cubicBezTo>
                  <a:cubicBezTo>
                    <a:pt x="220" y="20"/>
                    <a:pt x="215" y="21"/>
                    <a:pt x="214" y="21"/>
                  </a:cubicBezTo>
                  <a:cubicBezTo>
                    <a:pt x="210" y="22"/>
                    <a:pt x="208" y="23"/>
                    <a:pt x="205" y="24"/>
                  </a:cubicBezTo>
                  <a:cubicBezTo>
                    <a:pt x="205" y="26"/>
                    <a:pt x="204" y="27"/>
                    <a:pt x="202" y="27"/>
                  </a:cubicBezTo>
                  <a:cubicBezTo>
                    <a:pt x="203" y="28"/>
                    <a:pt x="203" y="31"/>
                    <a:pt x="201" y="32"/>
                  </a:cubicBezTo>
                  <a:cubicBezTo>
                    <a:pt x="199" y="32"/>
                    <a:pt x="198" y="32"/>
                    <a:pt x="198" y="34"/>
                  </a:cubicBezTo>
                  <a:cubicBezTo>
                    <a:pt x="196" y="34"/>
                    <a:pt x="195" y="36"/>
                    <a:pt x="193" y="38"/>
                  </a:cubicBezTo>
                  <a:cubicBezTo>
                    <a:pt x="196" y="38"/>
                    <a:pt x="197" y="39"/>
                    <a:pt x="196" y="41"/>
                  </a:cubicBezTo>
                  <a:cubicBezTo>
                    <a:pt x="194" y="41"/>
                    <a:pt x="193" y="43"/>
                    <a:pt x="192" y="43"/>
                  </a:cubicBezTo>
                  <a:cubicBezTo>
                    <a:pt x="190" y="44"/>
                    <a:pt x="188" y="43"/>
                    <a:pt x="187" y="43"/>
                  </a:cubicBezTo>
                  <a:cubicBezTo>
                    <a:pt x="186" y="45"/>
                    <a:pt x="187" y="47"/>
                    <a:pt x="185" y="47"/>
                  </a:cubicBezTo>
                  <a:cubicBezTo>
                    <a:pt x="184" y="47"/>
                    <a:pt x="182" y="47"/>
                    <a:pt x="181" y="47"/>
                  </a:cubicBezTo>
                  <a:cubicBezTo>
                    <a:pt x="179" y="47"/>
                    <a:pt x="173" y="48"/>
                    <a:pt x="173" y="45"/>
                  </a:cubicBezTo>
                  <a:cubicBezTo>
                    <a:pt x="173" y="45"/>
                    <a:pt x="173" y="45"/>
                    <a:pt x="173" y="45"/>
                  </a:cubicBezTo>
                  <a:cubicBezTo>
                    <a:pt x="174" y="43"/>
                    <a:pt x="173" y="35"/>
                    <a:pt x="171" y="34"/>
                  </a:cubicBezTo>
                  <a:cubicBezTo>
                    <a:pt x="170" y="34"/>
                    <a:pt x="167" y="34"/>
                    <a:pt x="166" y="33"/>
                  </a:cubicBezTo>
                  <a:cubicBezTo>
                    <a:pt x="165" y="30"/>
                    <a:pt x="164" y="31"/>
                    <a:pt x="161" y="31"/>
                  </a:cubicBezTo>
                  <a:cubicBezTo>
                    <a:pt x="156" y="31"/>
                    <a:pt x="150" y="33"/>
                    <a:pt x="145" y="31"/>
                  </a:cubicBezTo>
                  <a:cubicBezTo>
                    <a:pt x="143" y="30"/>
                    <a:pt x="141" y="30"/>
                    <a:pt x="139" y="31"/>
                  </a:cubicBezTo>
                  <a:cubicBezTo>
                    <a:pt x="137" y="31"/>
                    <a:pt x="135" y="30"/>
                    <a:pt x="133" y="30"/>
                  </a:cubicBezTo>
                  <a:cubicBezTo>
                    <a:pt x="128" y="30"/>
                    <a:pt x="127" y="28"/>
                    <a:pt x="125" y="24"/>
                  </a:cubicBezTo>
                  <a:cubicBezTo>
                    <a:pt x="123" y="19"/>
                    <a:pt x="121" y="18"/>
                    <a:pt x="116" y="17"/>
                  </a:cubicBezTo>
                  <a:cubicBezTo>
                    <a:pt x="112" y="17"/>
                    <a:pt x="106" y="20"/>
                    <a:pt x="102" y="17"/>
                  </a:cubicBezTo>
                  <a:cubicBezTo>
                    <a:pt x="99" y="13"/>
                    <a:pt x="100" y="9"/>
                    <a:pt x="99" y="5"/>
                  </a:cubicBezTo>
                  <a:cubicBezTo>
                    <a:pt x="93" y="0"/>
                    <a:pt x="93" y="0"/>
                    <a:pt x="93" y="0"/>
                  </a:cubicBezTo>
                  <a:cubicBezTo>
                    <a:pt x="90" y="0"/>
                    <a:pt x="91" y="6"/>
                    <a:pt x="86" y="4"/>
                  </a:cubicBezTo>
                  <a:cubicBezTo>
                    <a:pt x="84" y="3"/>
                    <a:pt x="82" y="2"/>
                    <a:pt x="80" y="2"/>
                  </a:cubicBezTo>
                  <a:cubicBezTo>
                    <a:pt x="79" y="2"/>
                    <a:pt x="78" y="4"/>
                    <a:pt x="77" y="4"/>
                  </a:cubicBezTo>
                  <a:cubicBezTo>
                    <a:pt x="76" y="4"/>
                    <a:pt x="75" y="4"/>
                    <a:pt x="74" y="4"/>
                  </a:cubicBezTo>
                  <a:cubicBezTo>
                    <a:pt x="72" y="4"/>
                    <a:pt x="72" y="7"/>
                    <a:pt x="70" y="7"/>
                  </a:cubicBezTo>
                  <a:cubicBezTo>
                    <a:pt x="68" y="8"/>
                    <a:pt x="67" y="7"/>
                    <a:pt x="65" y="7"/>
                  </a:cubicBezTo>
                  <a:cubicBezTo>
                    <a:pt x="64" y="9"/>
                    <a:pt x="67" y="9"/>
                    <a:pt x="68" y="10"/>
                  </a:cubicBezTo>
                  <a:cubicBezTo>
                    <a:pt x="68" y="11"/>
                    <a:pt x="68" y="12"/>
                    <a:pt x="68" y="14"/>
                  </a:cubicBezTo>
                  <a:cubicBezTo>
                    <a:pt x="67" y="14"/>
                    <a:pt x="65" y="16"/>
                    <a:pt x="66" y="17"/>
                  </a:cubicBezTo>
                  <a:cubicBezTo>
                    <a:pt x="69" y="17"/>
                    <a:pt x="67" y="26"/>
                    <a:pt x="73" y="21"/>
                  </a:cubicBezTo>
                  <a:cubicBezTo>
                    <a:pt x="78" y="17"/>
                    <a:pt x="85" y="21"/>
                    <a:pt x="89" y="24"/>
                  </a:cubicBezTo>
                  <a:cubicBezTo>
                    <a:pt x="87" y="24"/>
                    <a:pt x="86" y="25"/>
                    <a:pt x="84" y="25"/>
                  </a:cubicBezTo>
                  <a:cubicBezTo>
                    <a:pt x="82" y="25"/>
                    <a:pt x="80" y="24"/>
                    <a:pt x="79" y="25"/>
                  </a:cubicBezTo>
                  <a:cubicBezTo>
                    <a:pt x="78" y="25"/>
                    <a:pt x="77" y="26"/>
                    <a:pt x="77" y="27"/>
                  </a:cubicBezTo>
                  <a:cubicBezTo>
                    <a:pt x="76" y="28"/>
                    <a:pt x="74" y="27"/>
                    <a:pt x="72" y="27"/>
                  </a:cubicBezTo>
                  <a:cubicBezTo>
                    <a:pt x="72" y="28"/>
                    <a:pt x="72" y="29"/>
                    <a:pt x="72" y="30"/>
                  </a:cubicBezTo>
                  <a:cubicBezTo>
                    <a:pt x="70" y="30"/>
                    <a:pt x="66" y="29"/>
                    <a:pt x="64" y="32"/>
                  </a:cubicBezTo>
                  <a:cubicBezTo>
                    <a:pt x="63" y="33"/>
                    <a:pt x="65" y="36"/>
                    <a:pt x="62" y="36"/>
                  </a:cubicBezTo>
                  <a:cubicBezTo>
                    <a:pt x="61" y="37"/>
                    <a:pt x="60" y="38"/>
                    <a:pt x="59" y="38"/>
                  </a:cubicBezTo>
                  <a:cubicBezTo>
                    <a:pt x="56" y="38"/>
                    <a:pt x="54" y="38"/>
                    <a:pt x="52" y="38"/>
                  </a:cubicBezTo>
                  <a:cubicBezTo>
                    <a:pt x="52" y="40"/>
                    <a:pt x="52" y="40"/>
                    <a:pt x="52" y="40"/>
                  </a:cubicBezTo>
                  <a:cubicBezTo>
                    <a:pt x="53" y="40"/>
                    <a:pt x="55" y="40"/>
                    <a:pt x="55" y="40"/>
                  </a:cubicBezTo>
                  <a:cubicBezTo>
                    <a:pt x="59" y="40"/>
                    <a:pt x="59" y="41"/>
                    <a:pt x="61" y="43"/>
                  </a:cubicBezTo>
                  <a:cubicBezTo>
                    <a:pt x="66" y="47"/>
                    <a:pt x="67" y="51"/>
                    <a:pt x="66" y="57"/>
                  </a:cubicBezTo>
                  <a:cubicBezTo>
                    <a:pt x="65" y="57"/>
                    <a:pt x="60" y="57"/>
                    <a:pt x="60" y="58"/>
                  </a:cubicBezTo>
                  <a:cubicBezTo>
                    <a:pt x="60" y="59"/>
                    <a:pt x="62" y="60"/>
                    <a:pt x="62" y="61"/>
                  </a:cubicBezTo>
                  <a:cubicBezTo>
                    <a:pt x="61" y="65"/>
                    <a:pt x="55" y="62"/>
                    <a:pt x="54" y="65"/>
                  </a:cubicBezTo>
                  <a:cubicBezTo>
                    <a:pt x="53" y="64"/>
                    <a:pt x="53" y="63"/>
                    <a:pt x="51" y="63"/>
                  </a:cubicBezTo>
                  <a:cubicBezTo>
                    <a:pt x="51" y="62"/>
                    <a:pt x="51" y="61"/>
                    <a:pt x="51" y="60"/>
                  </a:cubicBezTo>
                  <a:cubicBezTo>
                    <a:pt x="49" y="60"/>
                    <a:pt x="47" y="60"/>
                    <a:pt x="45" y="59"/>
                  </a:cubicBezTo>
                  <a:cubicBezTo>
                    <a:pt x="44" y="57"/>
                    <a:pt x="44" y="56"/>
                    <a:pt x="42" y="56"/>
                  </a:cubicBezTo>
                  <a:cubicBezTo>
                    <a:pt x="41" y="57"/>
                    <a:pt x="41" y="58"/>
                    <a:pt x="40" y="59"/>
                  </a:cubicBezTo>
                  <a:cubicBezTo>
                    <a:pt x="45" y="60"/>
                    <a:pt x="41" y="67"/>
                    <a:pt x="41" y="69"/>
                  </a:cubicBezTo>
                  <a:cubicBezTo>
                    <a:pt x="40" y="71"/>
                    <a:pt x="42" y="74"/>
                    <a:pt x="40" y="75"/>
                  </a:cubicBezTo>
                  <a:cubicBezTo>
                    <a:pt x="37" y="76"/>
                    <a:pt x="38" y="80"/>
                    <a:pt x="38" y="81"/>
                  </a:cubicBezTo>
                  <a:cubicBezTo>
                    <a:pt x="37" y="82"/>
                    <a:pt x="36" y="81"/>
                    <a:pt x="34" y="81"/>
                  </a:cubicBezTo>
                  <a:cubicBezTo>
                    <a:pt x="34" y="81"/>
                    <a:pt x="34" y="83"/>
                    <a:pt x="33" y="83"/>
                  </a:cubicBezTo>
                  <a:cubicBezTo>
                    <a:pt x="32" y="84"/>
                    <a:pt x="30" y="83"/>
                    <a:pt x="29" y="83"/>
                  </a:cubicBezTo>
                  <a:cubicBezTo>
                    <a:pt x="18" y="79"/>
                    <a:pt x="18" y="79"/>
                    <a:pt x="18" y="79"/>
                  </a:cubicBezTo>
                  <a:cubicBezTo>
                    <a:pt x="17" y="78"/>
                    <a:pt x="15" y="78"/>
                    <a:pt x="14" y="78"/>
                  </a:cubicBezTo>
                  <a:cubicBezTo>
                    <a:pt x="12" y="79"/>
                    <a:pt x="11" y="80"/>
                    <a:pt x="11" y="82"/>
                  </a:cubicBezTo>
                  <a:cubicBezTo>
                    <a:pt x="9" y="82"/>
                    <a:pt x="8" y="82"/>
                    <a:pt x="6" y="81"/>
                  </a:cubicBezTo>
                  <a:cubicBezTo>
                    <a:pt x="6" y="82"/>
                    <a:pt x="5" y="82"/>
                    <a:pt x="4" y="83"/>
                  </a:cubicBezTo>
                  <a:cubicBezTo>
                    <a:pt x="2" y="86"/>
                    <a:pt x="7" y="88"/>
                    <a:pt x="7" y="91"/>
                  </a:cubicBezTo>
                  <a:cubicBezTo>
                    <a:pt x="6" y="90"/>
                    <a:pt x="5" y="90"/>
                    <a:pt x="5" y="89"/>
                  </a:cubicBezTo>
                  <a:cubicBezTo>
                    <a:pt x="4" y="88"/>
                    <a:pt x="3" y="88"/>
                    <a:pt x="2" y="89"/>
                  </a:cubicBezTo>
                  <a:cubicBezTo>
                    <a:pt x="1" y="90"/>
                    <a:pt x="2" y="91"/>
                    <a:pt x="3" y="92"/>
                  </a:cubicBezTo>
                  <a:cubicBezTo>
                    <a:pt x="3" y="92"/>
                    <a:pt x="5" y="95"/>
                    <a:pt x="4" y="95"/>
                  </a:cubicBezTo>
                  <a:cubicBezTo>
                    <a:pt x="4" y="95"/>
                    <a:pt x="3" y="95"/>
                    <a:pt x="2" y="95"/>
                  </a:cubicBezTo>
                  <a:cubicBezTo>
                    <a:pt x="2" y="97"/>
                    <a:pt x="1" y="99"/>
                    <a:pt x="1" y="102"/>
                  </a:cubicBezTo>
                  <a:cubicBezTo>
                    <a:pt x="5" y="101"/>
                    <a:pt x="0" y="110"/>
                    <a:pt x="1" y="111"/>
                  </a:cubicBezTo>
                  <a:cubicBezTo>
                    <a:pt x="2" y="111"/>
                    <a:pt x="3" y="111"/>
                    <a:pt x="4" y="111"/>
                  </a:cubicBezTo>
                  <a:cubicBezTo>
                    <a:pt x="4" y="110"/>
                    <a:pt x="4" y="107"/>
                    <a:pt x="5" y="107"/>
                  </a:cubicBezTo>
                  <a:cubicBezTo>
                    <a:pt x="6" y="107"/>
                    <a:pt x="8" y="110"/>
                    <a:pt x="8" y="110"/>
                  </a:cubicBezTo>
                  <a:cubicBezTo>
                    <a:pt x="7" y="112"/>
                    <a:pt x="3" y="111"/>
                    <a:pt x="3" y="113"/>
                  </a:cubicBezTo>
                  <a:cubicBezTo>
                    <a:pt x="2" y="115"/>
                    <a:pt x="3" y="115"/>
                    <a:pt x="4" y="116"/>
                  </a:cubicBezTo>
                  <a:cubicBezTo>
                    <a:pt x="4" y="117"/>
                    <a:pt x="4" y="119"/>
                    <a:pt x="4" y="120"/>
                  </a:cubicBezTo>
                  <a:cubicBezTo>
                    <a:pt x="6" y="120"/>
                    <a:pt x="8" y="120"/>
                    <a:pt x="10" y="120"/>
                  </a:cubicBezTo>
                  <a:cubicBezTo>
                    <a:pt x="8" y="121"/>
                    <a:pt x="4" y="120"/>
                    <a:pt x="3" y="122"/>
                  </a:cubicBezTo>
                  <a:cubicBezTo>
                    <a:pt x="3" y="123"/>
                    <a:pt x="3" y="128"/>
                    <a:pt x="4" y="129"/>
                  </a:cubicBezTo>
                  <a:cubicBezTo>
                    <a:pt x="4" y="130"/>
                    <a:pt x="4" y="130"/>
                    <a:pt x="4" y="131"/>
                  </a:cubicBezTo>
                  <a:cubicBezTo>
                    <a:pt x="2" y="132"/>
                    <a:pt x="4" y="133"/>
                    <a:pt x="4" y="135"/>
                  </a:cubicBezTo>
                  <a:cubicBezTo>
                    <a:pt x="2" y="135"/>
                    <a:pt x="2" y="139"/>
                    <a:pt x="4" y="139"/>
                  </a:cubicBezTo>
                  <a:cubicBezTo>
                    <a:pt x="5" y="137"/>
                    <a:pt x="6" y="136"/>
                    <a:pt x="7" y="134"/>
                  </a:cubicBezTo>
                  <a:cubicBezTo>
                    <a:pt x="8" y="134"/>
                    <a:pt x="9" y="134"/>
                    <a:pt x="11" y="134"/>
                  </a:cubicBezTo>
                  <a:cubicBezTo>
                    <a:pt x="11" y="133"/>
                    <a:pt x="10" y="128"/>
                    <a:pt x="12" y="128"/>
                  </a:cubicBezTo>
                  <a:cubicBezTo>
                    <a:pt x="12" y="130"/>
                    <a:pt x="13" y="131"/>
                    <a:pt x="13" y="132"/>
                  </a:cubicBezTo>
                  <a:cubicBezTo>
                    <a:pt x="13" y="133"/>
                    <a:pt x="13" y="134"/>
                    <a:pt x="13" y="135"/>
                  </a:cubicBezTo>
                  <a:cubicBezTo>
                    <a:pt x="12" y="135"/>
                    <a:pt x="11" y="135"/>
                    <a:pt x="10" y="135"/>
                  </a:cubicBezTo>
                  <a:cubicBezTo>
                    <a:pt x="9" y="136"/>
                    <a:pt x="9" y="136"/>
                    <a:pt x="9" y="137"/>
                  </a:cubicBezTo>
                  <a:cubicBezTo>
                    <a:pt x="8" y="138"/>
                    <a:pt x="5" y="140"/>
                    <a:pt x="8" y="141"/>
                  </a:cubicBezTo>
                  <a:cubicBezTo>
                    <a:pt x="7" y="142"/>
                    <a:pt x="8" y="142"/>
                    <a:pt x="8" y="143"/>
                  </a:cubicBezTo>
                  <a:cubicBezTo>
                    <a:pt x="9" y="143"/>
                    <a:pt x="10" y="143"/>
                    <a:pt x="11" y="143"/>
                  </a:cubicBezTo>
                  <a:cubicBezTo>
                    <a:pt x="11" y="143"/>
                    <a:pt x="12" y="144"/>
                    <a:pt x="13" y="145"/>
                  </a:cubicBezTo>
                  <a:cubicBezTo>
                    <a:pt x="11" y="145"/>
                    <a:pt x="9" y="145"/>
                    <a:pt x="7" y="145"/>
                  </a:cubicBezTo>
                  <a:cubicBezTo>
                    <a:pt x="7" y="144"/>
                    <a:pt x="7" y="144"/>
                    <a:pt x="7" y="144"/>
                  </a:cubicBezTo>
                  <a:cubicBezTo>
                    <a:pt x="3" y="143"/>
                    <a:pt x="3" y="149"/>
                    <a:pt x="4" y="152"/>
                  </a:cubicBezTo>
                  <a:cubicBezTo>
                    <a:pt x="4" y="152"/>
                    <a:pt x="5" y="152"/>
                    <a:pt x="5" y="153"/>
                  </a:cubicBezTo>
                  <a:cubicBezTo>
                    <a:pt x="6" y="154"/>
                    <a:pt x="6" y="155"/>
                    <a:pt x="6" y="155"/>
                  </a:cubicBezTo>
                  <a:cubicBezTo>
                    <a:pt x="7" y="157"/>
                    <a:pt x="7" y="158"/>
                    <a:pt x="9" y="159"/>
                  </a:cubicBezTo>
                  <a:cubicBezTo>
                    <a:pt x="8" y="159"/>
                    <a:pt x="7" y="159"/>
                    <a:pt x="7" y="159"/>
                  </a:cubicBezTo>
                  <a:cubicBezTo>
                    <a:pt x="7" y="158"/>
                    <a:pt x="7" y="158"/>
                    <a:pt x="7" y="158"/>
                  </a:cubicBezTo>
                  <a:cubicBezTo>
                    <a:pt x="6" y="158"/>
                    <a:pt x="6" y="158"/>
                    <a:pt x="6" y="158"/>
                  </a:cubicBezTo>
                  <a:cubicBezTo>
                    <a:pt x="5" y="161"/>
                    <a:pt x="5" y="163"/>
                    <a:pt x="5" y="166"/>
                  </a:cubicBezTo>
                  <a:cubicBezTo>
                    <a:pt x="6" y="166"/>
                    <a:pt x="6" y="166"/>
                    <a:pt x="7" y="167"/>
                  </a:cubicBezTo>
                  <a:cubicBezTo>
                    <a:pt x="7" y="168"/>
                    <a:pt x="7" y="169"/>
                    <a:pt x="7" y="170"/>
                  </a:cubicBezTo>
                  <a:cubicBezTo>
                    <a:pt x="7" y="170"/>
                    <a:pt x="8" y="170"/>
                    <a:pt x="9" y="170"/>
                  </a:cubicBezTo>
                  <a:cubicBezTo>
                    <a:pt x="9" y="169"/>
                    <a:pt x="10" y="169"/>
                    <a:pt x="11" y="169"/>
                  </a:cubicBezTo>
                  <a:cubicBezTo>
                    <a:pt x="11" y="170"/>
                    <a:pt x="11" y="172"/>
                    <a:pt x="11" y="173"/>
                  </a:cubicBezTo>
                  <a:cubicBezTo>
                    <a:pt x="11" y="171"/>
                    <a:pt x="7" y="171"/>
                    <a:pt x="5" y="171"/>
                  </a:cubicBezTo>
                  <a:cubicBezTo>
                    <a:pt x="5" y="174"/>
                    <a:pt x="7" y="174"/>
                    <a:pt x="8" y="175"/>
                  </a:cubicBezTo>
                  <a:cubicBezTo>
                    <a:pt x="9" y="177"/>
                    <a:pt x="7" y="178"/>
                    <a:pt x="7" y="180"/>
                  </a:cubicBezTo>
                  <a:cubicBezTo>
                    <a:pt x="7" y="180"/>
                    <a:pt x="7" y="180"/>
                    <a:pt x="8" y="180"/>
                  </a:cubicBezTo>
                  <a:cubicBezTo>
                    <a:pt x="8" y="182"/>
                    <a:pt x="9" y="186"/>
                    <a:pt x="11" y="185"/>
                  </a:cubicBezTo>
                  <a:cubicBezTo>
                    <a:pt x="7" y="186"/>
                    <a:pt x="10" y="191"/>
                    <a:pt x="11" y="193"/>
                  </a:cubicBezTo>
                  <a:cubicBezTo>
                    <a:pt x="14" y="196"/>
                    <a:pt x="12" y="200"/>
                    <a:pt x="12" y="204"/>
                  </a:cubicBezTo>
                  <a:cubicBezTo>
                    <a:pt x="13" y="204"/>
                    <a:pt x="15" y="204"/>
                    <a:pt x="15" y="204"/>
                  </a:cubicBezTo>
                  <a:cubicBezTo>
                    <a:pt x="15" y="205"/>
                    <a:pt x="13" y="205"/>
                    <a:pt x="12" y="206"/>
                  </a:cubicBezTo>
                  <a:cubicBezTo>
                    <a:pt x="14" y="209"/>
                    <a:pt x="16" y="215"/>
                    <a:pt x="13" y="218"/>
                  </a:cubicBezTo>
                  <a:cubicBezTo>
                    <a:pt x="14" y="218"/>
                    <a:pt x="15" y="218"/>
                    <a:pt x="16" y="218"/>
                  </a:cubicBezTo>
                  <a:cubicBezTo>
                    <a:pt x="16" y="220"/>
                    <a:pt x="15" y="219"/>
                    <a:pt x="14" y="220"/>
                  </a:cubicBezTo>
                  <a:cubicBezTo>
                    <a:pt x="14" y="221"/>
                    <a:pt x="14" y="222"/>
                    <a:pt x="14" y="223"/>
                  </a:cubicBezTo>
                  <a:cubicBezTo>
                    <a:pt x="16" y="224"/>
                    <a:pt x="17" y="224"/>
                    <a:pt x="16" y="226"/>
                  </a:cubicBezTo>
                  <a:cubicBezTo>
                    <a:pt x="15" y="226"/>
                    <a:pt x="15" y="227"/>
                    <a:pt x="15" y="228"/>
                  </a:cubicBezTo>
                  <a:cubicBezTo>
                    <a:pt x="17" y="228"/>
                    <a:pt x="15" y="233"/>
                    <a:pt x="15" y="234"/>
                  </a:cubicBezTo>
                  <a:cubicBezTo>
                    <a:pt x="16" y="234"/>
                    <a:pt x="17" y="235"/>
                    <a:pt x="17" y="235"/>
                  </a:cubicBezTo>
                  <a:cubicBezTo>
                    <a:pt x="18" y="236"/>
                    <a:pt x="16" y="236"/>
                    <a:pt x="15" y="236"/>
                  </a:cubicBezTo>
                  <a:cubicBezTo>
                    <a:pt x="17" y="239"/>
                    <a:pt x="16" y="245"/>
                    <a:pt x="17" y="248"/>
                  </a:cubicBezTo>
                  <a:cubicBezTo>
                    <a:pt x="17" y="249"/>
                    <a:pt x="16" y="251"/>
                    <a:pt x="16" y="253"/>
                  </a:cubicBezTo>
                  <a:cubicBezTo>
                    <a:pt x="16" y="255"/>
                    <a:pt x="17" y="257"/>
                    <a:pt x="17" y="259"/>
                  </a:cubicBezTo>
                  <a:cubicBezTo>
                    <a:pt x="18" y="261"/>
                    <a:pt x="17" y="263"/>
                    <a:pt x="18" y="265"/>
                  </a:cubicBezTo>
                  <a:cubicBezTo>
                    <a:pt x="19" y="267"/>
                    <a:pt x="19" y="268"/>
                    <a:pt x="19" y="270"/>
                  </a:cubicBezTo>
                  <a:cubicBezTo>
                    <a:pt x="19" y="271"/>
                    <a:pt x="19" y="273"/>
                    <a:pt x="19" y="274"/>
                  </a:cubicBezTo>
                  <a:cubicBezTo>
                    <a:pt x="19" y="275"/>
                    <a:pt x="21" y="276"/>
                    <a:pt x="21" y="276"/>
                  </a:cubicBezTo>
                  <a:cubicBezTo>
                    <a:pt x="21" y="278"/>
                    <a:pt x="19" y="279"/>
                    <a:pt x="18" y="280"/>
                  </a:cubicBezTo>
                  <a:cubicBezTo>
                    <a:pt x="19" y="281"/>
                    <a:pt x="20" y="282"/>
                    <a:pt x="21" y="283"/>
                  </a:cubicBezTo>
                  <a:cubicBezTo>
                    <a:pt x="22" y="283"/>
                    <a:pt x="23" y="285"/>
                    <a:pt x="24" y="286"/>
                  </a:cubicBezTo>
                  <a:cubicBezTo>
                    <a:pt x="25" y="288"/>
                    <a:pt x="26" y="291"/>
                    <a:pt x="27" y="294"/>
                  </a:cubicBezTo>
                  <a:cubicBezTo>
                    <a:pt x="27" y="294"/>
                    <a:pt x="27" y="294"/>
                    <a:pt x="27" y="294"/>
                  </a:cubicBezTo>
                  <a:cubicBezTo>
                    <a:pt x="27" y="294"/>
                    <a:pt x="27" y="294"/>
                    <a:pt x="27" y="294"/>
                  </a:cubicBezTo>
                  <a:cubicBezTo>
                    <a:pt x="29" y="294"/>
                    <a:pt x="32" y="294"/>
                    <a:pt x="34" y="294"/>
                  </a:cubicBezTo>
                  <a:cubicBezTo>
                    <a:pt x="35" y="292"/>
                    <a:pt x="37" y="292"/>
                    <a:pt x="39" y="292"/>
                  </a:cubicBezTo>
                  <a:cubicBezTo>
                    <a:pt x="40" y="296"/>
                    <a:pt x="43" y="297"/>
                    <a:pt x="43" y="301"/>
                  </a:cubicBezTo>
                  <a:cubicBezTo>
                    <a:pt x="46" y="302"/>
                    <a:pt x="50" y="303"/>
                    <a:pt x="53" y="303"/>
                  </a:cubicBezTo>
                  <a:cubicBezTo>
                    <a:pt x="53" y="303"/>
                    <a:pt x="53" y="303"/>
                    <a:pt x="53" y="303"/>
                  </a:cubicBezTo>
                  <a:cubicBezTo>
                    <a:pt x="53" y="303"/>
                    <a:pt x="53" y="303"/>
                    <a:pt x="53" y="303"/>
                  </a:cubicBezTo>
                  <a:cubicBezTo>
                    <a:pt x="53" y="303"/>
                    <a:pt x="52" y="303"/>
                    <a:pt x="51" y="303"/>
                  </a:cubicBezTo>
                  <a:cubicBezTo>
                    <a:pt x="50" y="298"/>
                    <a:pt x="58" y="297"/>
                    <a:pt x="61" y="297"/>
                  </a:cubicBezTo>
                  <a:cubicBezTo>
                    <a:pt x="61" y="296"/>
                    <a:pt x="61" y="296"/>
                    <a:pt x="60" y="296"/>
                  </a:cubicBezTo>
                  <a:cubicBezTo>
                    <a:pt x="60" y="295"/>
                    <a:pt x="60" y="295"/>
                    <a:pt x="60" y="295"/>
                  </a:cubicBezTo>
                  <a:cubicBezTo>
                    <a:pt x="62" y="295"/>
                    <a:pt x="63" y="296"/>
                    <a:pt x="65" y="296"/>
                  </a:cubicBezTo>
                  <a:cubicBezTo>
                    <a:pt x="65" y="295"/>
                    <a:pt x="65" y="293"/>
                    <a:pt x="65" y="292"/>
                  </a:cubicBezTo>
                  <a:cubicBezTo>
                    <a:pt x="67" y="292"/>
                    <a:pt x="71" y="288"/>
                    <a:pt x="69" y="286"/>
                  </a:cubicBezTo>
                  <a:cubicBezTo>
                    <a:pt x="67" y="285"/>
                    <a:pt x="63" y="286"/>
                    <a:pt x="64" y="283"/>
                  </a:cubicBezTo>
                  <a:cubicBezTo>
                    <a:pt x="67" y="282"/>
                    <a:pt x="69" y="282"/>
                    <a:pt x="71" y="282"/>
                  </a:cubicBezTo>
                  <a:cubicBezTo>
                    <a:pt x="71" y="279"/>
                    <a:pt x="70" y="272"/>
                    <a:pt x="65" y="273"/>
                  </a:cubicBezTo>
                  <a:cubicBezTo>
                    <a:pt x="65" y="275"/>
                    <a:pt x="63" y="273"/>
                    <a:pt x="63" y="272"/>
                  </a:cubicBezTo>
                  <a:cubicBezTo>
                    <a:pt x="62" y="269"/>
                    <a:pt x="63" y="269"/>
                    <a:pt x="64" y="268"/>
                  </a:cubicBezTo>
                  <a:cubicBezTo>
                    <a:pt x="66" y="266"/>
                    <a:pt x="60" y="262"/>
                    <a:pt x="61" y="260"/>
                  </a:cubicBezTo>
                  <a:cubicBezTo>
                    <a:pt x="63" y="259"/>
                    <a:pt x="63" y="262"/>
                    <a:pt x="65" y="261"/>
                  </a:cubicBezTo>
                  <a:cubicBezTo>
                    <a:pt x="65" y="260"/>
                    <a:pt x="65" y="259"/>
                    <a:pt x="67" y="258"/>
                  </a:cubicBezTo>
                  <a:cubicBezTo>
                    <a:pt x="70" y="258"/>
                    <a:pt x="69" y="258"/>
                    <a:pt x="70" y="256"/>
                  </a:cubicBezTo>
                  <a:cubicBezTo>
                    <a:pt x="71" y="254"/>
                    <a:pt x="73" y="255"/>
                    <a:pt x="75" y="255"/>
                  </a:cubicBezTo>
                  <a:cubicBezTo>
                    <a:pt x="77" y="256"/>
                    <a:pt x="77" y="257"/>
                    <a:pt x="77" y="259"/>
                  </a:cubicBezTo>
                  <a:cubicBezTo>
                    <a:pt x="79" y="259"/>
                    <a:pt x="81" y="258"/>
                    <a:pt x="83" y="258"/>
                  </a:cubicBezTo>
                  <a:cubicBezTo>
                    <a:pt x="80" y="256"/>
                    <a:pt x="82" y="253"/>
                    <a:pt x="86" y="253"/>
                  </a:cubicBezTo>
                  <a:cubicBezTo>
                    <a:pt x="86" y="252"/>
                    <a:pt x="90" y="251"/>
                    <a:pt x="91" y="251"/>
                  </a:cubicBezTo>
                  <a:cubicBezTo>
                    <a:pt x="94" y="251"/>
                    <a:pt x="95" y="249"/>
                    <a:pt x="95" y="246"/>
                  </a:cubicBezTo>
                  <a:cubicBezTo>
                    <a:pt x="96" y="246"/>
                    <a:pt x="97" y="246"/>
                    <a:pt x="97" y="246"/>
                  </a:cubicBezTo>
                  <a:cubicBezTo>
                    <a:pt x="97" y="245"/>
                    <a:pt x="98" y="242"/>
                    <a:pt x="97" y="242"/>
                  </a:cubicBezTo>
                  <a:cubicBezTo>
                    <a:pt x="101" y="242"/>
                    <a:pt x="106" y="242"/>
                    <a:pt x="109" y="246"/>
                  </a:cubicBezTo>
                  <a:cubicBezTo>
                    <a:pt x="110" y="247"/>
                    <a:pt x="112" y="247"/>
                    <a:pt x="113" y="246"/>
                  </a:cubicBezTo>
                  <a:cubicBezTo>
                    <a:pt x="115" y="245"/>
                    <a:pt x="114" y="244"/>
                    <a:pt x="114" y="242"/>
                  </a:cubicBezTo>
                  <a:cubicBezTo>
                    <a:pt x="118" y="241"/>
                    <a:pt x="124" y="243"/>
                    <a:pt x="129" y="243"/>
                  </a:cubicBezTo>
                  <a:cubicBezTo>
                    <a:pt x="129" y="242"/>
                    <a:pt x="129" y="241"/>
                    <a:pt x="129" y="240"/>
                  </a:cubicBezTo>
                  <a:cubicBezTo>
                    <a:pt x="132" y="240"/>
                    <a:pt x="131" y="241"/>
                    <a:pt x="133" y="242"/>
                  </a:cubicBezTo>
                  <a:cubicBezTo>
                    <a:pt x="135" y="244"/>
                    <a:pt x="135" y="241"/>
                    <a:pt x="135" y="239"/>
                  </a:cubicBezTo>
                  <a:cubicBezTo>
                    <a:pt x="135" y="237"/>
                    <a:pt x="135" y="236"/>
                    <a:pt x="134" y="234"/>
                  </a:cubicBezTo>
                  <a:cubicBezTo>
                    <a:pt x="133" y="232"/>
                    <a:pt x="134" y="230"/>
                    <a:pt x="136" y="230"/>
                  </a:cubicBezTo>
                  <a:cubicBezTo>
                    <a:pt x="136" y="227"/>
                    <a:pt x="134" y="225"/>
                    <a:pt x="134" y="223"/>
                  </a:cubicBezTo>
                  <a:cubicBezTo>
                    <a:pt x="134" y="220"/>
                    <a:pt x="135" y="218"/>
                    <a:pt x="135" y="216"/>
                  </a:cubicBezTo>
                  <a:cubicBezTo>
                    <a:pt x="138" y="215"/>
                    <a:pt x="139" y="217"/>
                    <a:pt x="141" y="219"/>
                  </a:cubicBezTo>
                  <a:cubicBezTo>
                    <a:pt x="141" y="220"/>
                    <a:pt x="145" y="221"/>
                    <a:pt x="145" y="219"/>
                  </a:cubicBezTo>
                  <a:cubicBezTo>
                    <a:pt x="148" y="219"/>
                    <a:pt x="150" y="223"/>
                    <a:pt x="151" y="224"/>
                  </a:cubicBezTo>
                  <a:cubicBezTo>
                    <a:pt x="153" y="225"/>
                    <a:pt x="156" y="225"/>
                    <a:pt x="158" y="225"/>
                  </a:cubicBezTo>
                  <a:cubicBezTo>
                    <a:pt x="158" y="223"/>
                    <a:pt x="158" y="223"/>
                    <a:pt x="158" y="223"/>
                  </a:cubicBezTo>
                  <a:cubicBezTo>
                    <a:pt x="165" y="226"/>
                    <a:pt x="165" y="226"/>
                    <a:pt x="165" y="226"/>
                  </a:cubicBezTo>
                  <a:cubicBezTo>
                    <a:pt x="169" y="226"/>
                    <a:pt x="169" y="227"/>
                    <a:pt x="172" y="229"/>
                  </a:cubicBezTo>
                  <a:cubicBezTo>
                    <a:pt x="173" y="228"/>
                    <a:pt x="174" y="227"/>
                    <a:pt x="174" y="226"/>
                  </a:cubicBezTo>
                  <a:cubicBezTo>
                    <a:pt x="172" y="225"/>
                    <a:pt x="171" y="222"/>
                    <a:pt x="171" y="220"/>
                  </a:cubicBezTo>
                  <a:cubicBezTo>
                    <a:pt x="171" y="219"/>
                    <a:pt x="173" y="218"/>
                    <a:pt x="172" y="217"/>
                  </a:cubicBezTo>
                  <a:cubicBezTo>
                    <a:pt x="172" y="216"/>
                    <a:pt x="171" y="215"/>
                    <a:pt x="171" y="214"/>
                  </a:cubicBezTo>
                  <a:cubicBezTo>
                    <a:pt x="173" y="214"/>
                    <a:pt x="175" y="215"/>
                    <a:pt x="176" y="215"/>
                  </a:cubicBezTo>
                  <a:cubicBezTo>
                    <a:pt x="178" y="215"/>
                    <a:pt x="177" y="212"/>
                    <a:pt x="178" y="211"/>
                  </a:cubicBezTo>
                  <a:cubicBezTo>
                    <a:pt x="180" y="210"/>
                    <a:pt x="180" y="208"/>
                    <a:pt x="182" y="208"/>
                  </a:cubicBezTo>
                  <a:cubicBezTo>
                    <a:pt x="184" y="207"/>
                    <a:pt x="186" y="209"/>
                    <a:pt x="188" y="208"/>
                  </a:cubicBezTo>
                  <a:cubicBezTo>
                    <a:pt x="190" y="214"/>
                    <a:pt x="190" y="208"/>
                    <a:pt x="193" y="207"/>
                  </a:cubicBezTo>
                  <a:cubicBezTo>
                    <a:pt x="196" y="206"/>
                    <a:pt x="196" y="205"/>
                    <a:pt x="194" y="204"/>
                  </a:cubicBezTo>
                  <a:cubicBezTo>
                    <a:pt x="193" y="203"/>
                    <a:pt x="194" y="201"/>
                    <a:pt x="194" y="199"/>
                  </a:cubicBezTo>
                  <a:cubicBezTo>
                    <a:pt x="194" y="199"/>
                    <a:pt x="194" y="199"/>
                    <a:pt x="194" y="199"/>
                  </a:cubicBezTo>
                  <a:cubicBezTo>
                    <a:pt x="194" y="200"/>
                    <a:pt x="194" y="200"/>
                    <a:pt x="194" y="201"/>
                  </a:cubicBezTo>
                  <a:cubicBezTo>
                    <a:pt x="197" y="202"/>
                    <a:pt x="199" y="202"/>
                    <a:pt x="202" y="200"/>
                  </a:cubicBezTo>
                  <a:cubicBezTo>
                    <a:pt x="203" y="199"/>
                    <a:pt x="203" y="199"/>
                    <a:pt x="203" y="199"/>
                  </a:cubicBezTo>
                  <a:cubicBezTo>
                    <a:pt x="203" y="199"/>
                    <a:pt x="203" y="197"/>
                    <a:pt x="203" y="196"/>
                  </a:cubicBezTo>
                  <a:cubicBezTo>
                    <a:pt x="205" y="196"/>
                    <a:pt x="205" y="196"/>
                    <a:pt x="205" y="194"/>
                  </a:cubicBezTo>
                  <a:cubicBezTo>
                    <a:pt x="205" y="193"/>
                    <a:pt x="205" y="192"/>
                    <a:pt x="203" y="192"/>
                  </a:cubicBezTo>
                  <a:cubicBezTo>
                    <a:pt x="206" y="185"/>
                    <a:pt x="213" y="192"/>
                    <a:pt x="215" y="188"/>
                  </a:cubicBezTo>
                  <a:cubicBezTo>
                    <a:pt x="217" y="186"/>
                    <a:pt x="220" y="185"/>
                    <a:pt x="221" y="182"/>
                  </a:cubicBezTo>
                  <a:cubicBezTo>
                    <a:pt x="223" y="179"/>
                    <a:pt x="222" y="179"/>
                    <a:pt x="226" y="179"/>
                  </a:cubicBezTo>
                  <a:cubicBezTo>
                    <a:pt x="227" y="181"/>
                    <a:pt x="226" y="192"/>
                    <a:pt x="230" y="186"/>
                  </a:cubicBezTo>
                  <a:cubicBezTo>
                    <a:pt x="230" y="185"/>
                    <a:pt x="230" y="185"/>
                    <a:pt x="230" y="185"/>
                  </a:cubicBezTo>
                  <a:cubicBezTo>
                    <a:pt x="231" y="185"/>
                    <a:pt x="231" y="184"/>
                    <a:pt x="231" y="184"/>
                  </a:cubicBezTo>
                  <a:cubicBezTo>
                    <a:pt x="232" y="182"/>
                    <a:pt x="233" y="180"/>
                    <a:pt x="232" y="178"/>
                  </a:cubicBezTo>
                  <a:cubicBezTo>
                    <a:pt x="232" y="176"/>
                    <a:pt x="231" y="176"/>
                    <a:pt x="231" y="174"/>
                  </a:cubicBezTo>
                  <a:cubicBezTo>
                    <a:pt x="232" y="174"/>
                    <a:pt x="232" y="172"/>
                    <a:pt x="232" y="171"/>
                  </a:cubicBezTo>
                  <a:cubicBezTo>
                    <a:pt x="233" y="172"/>
                    <a:pt x="234" y="171"/>
                    <a:pt x="234" y="169"/>
                  </a:cubicBezTo>
                  <a:cubicBezTo>
                    <a:pt x="236" y="169"/>
                    <a:pt x="238" y="170"/>
                    <a:pt x="240" y="170"/>
                  </a:cubicBezTo>
                  <a:cubicBezTo>
                    <a:pt x="240" y="169"/>
                    <a:pt x="241" y="165"/>
                    <a:pt x="242" y="164"/>
                  </a:cubicBezTo>
                  <a:cubicBezTo>
                    <a:pt x="243" y="161"/>
                    <a:pt x="245" y="159"/>
                    <a:pt x="248" y="158"/>
                  </a:cubicBezTo>
                  <a:cubicBezTo>
                    <a:pt x="249" y="157"/>
                    <a:pt x="250" y="156"/>
                    <a:pt x="250" y="154"/>
                  </a:cubicBezTo>
                  <a:cubicBezTo>
                    <a:pt x="248" y="154"/>
                    <a:pt x="248" y="154"/>
                    <a:pt x="248" y="154"/>
                  </a:cubicBezTo>
                  <a:cubicBezTo>
                    <a:pt x="248" y="151"/>
                    <a:pt x="239" y="146"/>
                    <a:pt x="246" y="144"/>
                  </a:cubicBezTo>
                  <a:cubicBezTo>
                    <a:pt x="249" y="143"/>
                    <a:pt x="247" y="140"/>
                    <a:pt x="248" y="138"/>
                  </a:cubicBezTo>
                  <a:cubicBezTo>
                    <a:pt x="249" y="136"/>
                    <a:pt x="252" y="136"/>
                    <a:pt x="251" y="133"/>
                  </a:cubicBezTo>
                  <a:cubicBezTo>
                    <a:pt x="252" y="133"/>
                    <a:pt x="253" y="133"/>
                    <a:pt x="254" y="133"/>
                  </a:cubicBezTo>
                  <a:cubicBezTo>
                    <a:pt x="254" y="136"/>
                    <a:pt x="258" y="136"/>
                    <a:pt x="256" y="139"/>
                  </a:cubicBezTo>
                  <a:cubicBezTo>
                    <a:pt x="258" y="137"/>
                    <a:pt x="261" y="138"/>
                    <a:pt x="263" y="138"/>
                  </a:cubicBezTo>
                  <a:cubicBezTo>
                    <a:pt x="264" y="137"/>
                    <a:pt x="264" y="137"/>
                    <a:pt x="264" y="137"/>
                  </a:cubicBezTo>
                  <a:cubicBezTo>
                    <a:pt x="263" y="136"/>
                    <a:pt x="263" y="134"/>
                    <a:pt x="261" y="133"/>
                  </a:cubicBezTo>
                  <a:cubicBezTo>
                    <a:pt x="260" y="133"/>
                    <a:pt x="259" y="132"/>
                    <a:pt x="259" y="131"/>
                  </a:cubicBezTo>
                  <a:cubicBezTo>
                    <a:pt x="264" y="131"/>
                    <a:pt x="266" y="131"/>
                    <a:pt x="269" y="128"/>
                  </a:cubicBezTo>
                  <a:cubicBezTo>
                    <a:pt x="271" y="127"/>
                    <a:pt x="271" y="121"/>
                    <a:pt x="271" y="119"/>
                  </a:cubicBezTo>
                  <a:cubicBezTo>
                    <a:pt x="271" y="118"/>
                    <a:pt x="269" y="118"/>
                    <a:pt x="270" y="117"/>
                  </a:cubicBezTo>
                  <a:cubicBezTo>
                    <a:pt x="270" y="116"/>
                    <a:pt x="272" y="116"/>
                    <a:pt x="272" y="115"/>
                  </a:cubicBezTo>
                  <a:cubicBezTo>
                    <a:pt x="275" y="112"/>
                    <a:pt x="270" y="111"/>
                    <a:pt x="270" y="108"/>
                  </a:cubicBezTo>
                  <a:cubicBezTo>
                    <a:pt x="271" y="108"/>
                    <a:pt x="272" y="108"/>
                    <a:pt x="272" y="107"/>
                  </a:cubicBezTo>
                  <a:cubicBezTo>
                    <a:pt x="274" y="108"/>
                    <a:pt x="280" y="111"/>
                    <a:pt x="280" y="113"/>
                  </a:cubicBezTo>
                  <a:cubicBezTo>
                    <a:pt x="283" y="113"/>
                    <a:pt x="286" y="111"/>
                    <a:pt x="289" y="113"/>
                  </a:cubicBezTo>
                  <a:cubicBezTo>
                    <a:pt x="291" y="114"/>
                    <a:pt x="294" y="113"/>
                    <a:pt x="297" y="113"/>
                  </a:cubicBezTo>
                  <a:cubicBezTo>
                    <a:pt x="297" y="116"/>
                    <a:pt x="296" y="118"/>
                    <a:pt x="296" y="120"/>
                  </a:cubicBezTo>
                  <a:cubicBezTo>
                    <a:pt x="299" y="121"/>
                    <a:pt x="301" y="120"/>
                    <a:pt x="303" y="120"/>
                  </a:cubicBezTo>
                  <a:cubicBezTo>
                    <a:pt x="303" y="122"/>
                    <a:pt x="303" y="122"/>
                    <a:pt x="301" y="123"/>
                  </a:cubicBezTo>
                  <a:cubicBezTo>
                    <a:pt x="300" y="124"/>
                    <a:pt x="300" y="126"/>
                    <a:pt x="300" y="127"/>
                  </a:cubicBezTo>
                  <a:cubicBezTo>
                    <a:pt x="303" y="128"/>
                    <a:pt x="306" y="127"/>
                    <a:pt x="308" y="127"/>
                  </a:cubicBezTo>
                  <a:cubicBezTo>
                    <a:pt x="308" y="127"/>
                    <a:pt x="308" y="127"/>
                    <a:pt x="308" y="127"/>
                  </a:cubicBezTo>
                  <a:cubicBezTo>
                    <a:pt x="311" y="126"/>
                    <a:pt x="312" y="130"/>
                    <a:pt x="315" y="129"/>
                  </a:cubicBezTo>
                  <a:cubicBezTo>
                    <a:pt x="314" y="128"/>
                    <a:pt x="313" y="126"/>
                    <a:pt x="315" y="126"/>
                  </a:cubicBezTo>
                  <a:cubicBezTo>
                    <a:pt x="315" y="124"/>
                    <a:pt x="315" y="123"/>
                    <a:pt x="315" y="122"/>
                  </a:cubicBezTo>
                  <a:cubicBezTo>
                    <a:pt x="315" y="122"/>
                    <a:pt x="316" y="122"/>
                    <a:pt x="316" y="122"/>
                  </a:cubicBezTo>
                  <a:cubicBezTo>
                    <a:pt x="317" y="122"/>
                    <a:pt x="317" y="124"/>
                    <a:pt x="317" y="124"/>
                  </a:cubicBezTo>
                  <a:cubicBezTo>
                    <a:pt x="318" y="125"/>
                    <a:pt x="320" y="124"/>
                    <a:pt x="322" y="124"/>
                  </a:cubicBezTo>
                  <a:cubicBezTo>
                    <a:pt x="322" y="125"/>
                    <a:pt x="322" y="126"/>
                    <a:pt x="322" y="126"/>
                  </a:cubicBezTo>
                  <a:cubicBezTo>
                    <a:pt x="322" y="126"/>
                    <a:pt x="323" y="126"/>
                    <a:pt x="324" y="126"/>
                  </a:cubicBezTo>
                  <a:cubicBezTo>
                    <a:pt x="323" y="128"/>
                    <a:pt x="326" y="131"/>
                    <a:pt x="328" y="129"/>
                  </a:cubicBezTo>
                  <a:cubicBezTo>
                    <a:pt x="329" y="128"/>
                    <a:pt x="327" y="127"/>
                    <a:pt x="328" y="126"/>
                  </a:cubicBezTo>
                  <a:cubicBezTo>
                    <a:pt x="330" y="125"/>
                    <a:pt x="330" y="127"/>
                    <a:pt x="330" y="128"/>
                  </a:cubicBezTo>
                  <a:cubicBezTo>
                    <a:pt x="332" y="128"/>
                    <a:pt x="332" y="126"/>
                    <a:pt x="333" y="125"/>
                  </a:cubicBezTo>
                  <a:cubicBezTo>
                    <a:pt x="335" y="125"/>
                    <a:pt x="337" y="126"/>
                    <a:pt x="339" y="126"/>
                  </a:cubicBezTo>
                  <a:cubicBezTo>
                    <a:pt x="340" y="125"/>
                    <a:pt x="341" y="125"/>
                    <a:pt x="341" y="126"/>
                  </a:cubicBezTo>
                  <a:cubicBezTo>
                    <a:pt x="343" y="129"/>
                    <a:pt x="346" y="131"/>
                    <a:pt x="349" y="132"/>
                  </a:cubicBezTo>
                  <a:cubicBezTo>
                    <a:pt x="349" y="133"/>
                    <a:pt x="351" y="134"/>
                    <a:pt x="351" y="135"/>
                  </a:cubicBezTo>
                  <a:cubicBezTo>
                    <a:pt x="351" y="137"/>
                    <a:pt x="350" y="138"/>
                    <a:pt x="349" y="140"/>
                  </a:cubicBezTo>
                  <a:cubicBezTo>
                    <a:pt x="348" y="143"/>
                    <a:pt x="350" y="146"/>
                    <a:pt x="347" y="148"/>
                  </a:cubicBezTo>
                  <a:cubicBezTo>
                    <a:pt x="345" y="150"/>
                    <a:pt x="344" y="153"/>
                    <a:pt x="347" y="154"/>
                  </a:cubicBezTo>
                  <a:cubicBezTo>
                    <a:pt x="349" y="155"/>
                    <a:pt x="350" y="161"/>
                    <a:pt x="350" y="163"/>
                  </a:cubicBezTo>
                  <a:cubicBezTo>
                    <a:pt x="347" y="164"/>
                    <a:pt x="350" y="166"/>
                    <a:pt x="351" y="167"/>
                  </a:cubicBezTo>
                  <a:cubicBezTo>
                    <a:pt x="353" y="169"/>
                    <a:pt x="357" y="170"/>
                    <a:pt x="360" y="171"/>
                  </a:cubicBezTo>
                  <a:cubicBezTo>
                    <a:pt x="361" y="171"/>
                    <a:pt x="361" y="171"/>
                    <a:pt x="361" y="171"/>
                  </a:cubicBezTo>
                  <a:cubicBezTo>
                    <a:pt x="362" y="170"/>
                    <a:pt x="362" y="170"/>
                    <a:pt x="362" y="170"/>
                  </a:cubicBezTo>
                  <a:cubicBezTo>
                    <a:pt x="362" y="170"/>
                    <a:pt x="363" y="170"/>
                    <a:pt x="364" y="169"/>
                  </a:cubicBezTo>
                  <a:cubicBezTo>
                    <a:pt x="364" y="169"/>
                    <a:pt x="363" y="168"/>
                    <a:pt x="362" y="168"/>
                  </a:cubicBezTo>
                  <a:cubicBezTo>
                    <a:pt x="361" y="164"/>
                    <a:pt x="365" y="165"/>
                    <a:pt x="367" y="164"/>
                  </a:cubicBezTo>
                  <a:cubicBezTo>
                    <a:pt x="371" y="162"/>
                    <a:pt x="366" y="160"/>
                    <a:pt x="365" y="158"/>
                  </a:cubicBezTo>
                  <a:cubicBezTo>
                    <a:pt x="364" y="157"/>
                    <a:pt x="363" y="151"/>
                    <a:pt x="366" y="151"/>
                  </a:cubicBezTo>
                  <a:cubicBezTo>
                    <a:pt x="369" y="150"/>
                    <a:pt x="366" y="146"/>
                    <a:pt x="369" y="145"/>
                  </a:cubicBezTo>
                  <a:cubicBezTo>
                    <a:pt x="369" y="144"/>
                    <a:pt x="369" y="144"/>
                    <a:pt x="369" y="144"/>
                  </a:cubicBezTo>
                  <a:cubicBezTo>
                    <a:pt x="372" y="145"/>
                    <a:pt x="377" y="137"/>
                    <a:pt x="379" y="138"/>
                  </a:cubicBezTo>
                  <a:cubicBezTo>
                    <a:pt x="380" y="139"/>
                    <a:pt x="381" y="142"/>
                    <a:pt x="383" y="142"/>
                  </a:cubicBezTo>
                  <a:cubicBezTo>
                    <a:pt x="385" y="143"/>
                    <a:pt x="387" y="143"/>
                    <a:pt x="389" y="143"/>
                  </a:cubicBezTo>
                  <a:cubicBezTo>
                    <a:pt x="390" y="142"/>
                    <a:pt x="390" y="142"/>
                    <a:pt x="392" y="141"/>
                  </a:cubicBezTo>
                  <a:cubicBezTo>
                    <a:pt x="392" y="140"/>
                    <a:pt x="392" y="141"/>
                    <a:pt x="393" y="140"/>
                  </a:cubicBezTo>
                  <a:cubicBezTo>
                    <a:pt x="392" y="139"/>
                    <a:pt x="394" y="138"/>
                    <a:pt x="394" y="137"/>
                  </a:cubicBezTo>
                  <a:cubicBezTo>
                    <a:pt x="394" y="137"/>
                    <a:pt x="394" y="137"/>
                    <a:pt x="393" y="137"/>
                  </a:cubicBezTo>
                  <a:cubicBezTo>
                    <a:pt x="392" y="135"/>
                    <a:pt x="396" y="134"/>
                    <a:pt x="395" y="132"/>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grpSp>
          <p:nvGrpSpPr>
            <p:cNvPr id="131" name="Group 130"/>
            <p:cNvGrpSpPr/>
            <p:nvPr/>
          </p:nvGrpSpPr>
          <p:grpSpPr>
            <a:xfrm>
              <a:off x="6221413" y="5003801"/>
              <a:ext cx="411163" cy="1385888"/>
              <a:chOff x="6221413" y="5003801"/>
              <a:chExt cx="411163" cy="1385888"/>
            </a:xfrm>
          </p:grpSpPr>
          <p:sp>
            <p:nvSpPr>
              <p:cNvPr id="177" name="Freeform 358"/>
              <p:cNvSpPr>
                <a:spLocks/>
              </p:cNvSpPr>
              <p:nvPr/>
            </p:nvSpPr>
            <p:spPr bwMode="auto">
              <a:xfrm>
                <a:off x="6483351" y="5003801"/>
                <a:ext cx="14288" cy="14288"/>
              </a:xfrm>
              <a:custGeom>
                <a:avLst/>
                <a:gdLst>
                  <a:gd name="T0" fmla="*/ 1 w 4"/>
                  <a:gd name="T1" fmla="*/ 0 h 4"/>
                  <a:gd name="T2" fmla="*/ 2 w 4"/>
                  <a:gd name="T3" fmla="*/ 4 h 4"/>
                  <a:gd name="T4" fmla="*/ 4 w 4"/>
                  <a:gd name="T5" fmla="*/ 3 h 4"/>
                  <a:gd name="T6" fmla="*/ 3 w 4"/>
                  <a:gd name="T7" fmla="*/ 1 h 4"/>
                  <a:gd name="T8" fmla="*/ 1 w 4"/>
                  <a:gd name="T9" fmla="*/ 0 h 4"/>
                </a:gdLst>
                <a:ahLst/>
                <a:cxnLst>
                  <a:cxn ang="0">
                    <a:pos x="T0" y="T1"/>
                  </a:cxn>
                  <a:cxn ang="0">
                    <a:pos x="T2" y="T3"/>
                  </a:cxn>
                  <a:cxn ang="0">
                    <a:pos x="T4" y="T5"/>
                  </a:cxn>
                  <a:cxn ang="0">
                    <a:pos x="T6" y="T7"/>
                  </a:cxn>
                  <a:cxn ang="0">
                    <a:pos x="T8" y="T9"/>
                  </a:cxn>
                </a:cxnLst>
                <a:rect l="0" t="0" r="r" b="b"/>
                <a:pathLst>
                  <a:path w="4" h="4">
                    <a:moveTo>
                      <a:pt x="1" y="0"/>
                    </a:moveTo>
                    <a:cubicBezTo>
                      <a:pt x="0" y="1"/>
                      <a:pt x="0" y="2"/>
                      <a:pt x="2" y="4"/>
                    </a:cubicBezTo>
                    <a:cubicBezTo>
                      <a:pt x="2" y="4"/>
                      <a:pt x="3" y="3"/>
                      <a:pt x="4" y="3"/>
                    </a:cubicBezTo>
                    <a:cubicBezTo>
                      <a:pt x="4" y="2"/>
                      <a:pt x="3" y="2"/>
                      <a:pt x="3" y="1"/>
                    </a:cubicBezTo>
                    <a:lnTo>
                      <a:pt x="1" y="0"/>
                    </a:ln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78" name="Freeform 359"/>
              <p:cNvSpPr>
                <a:spLocks/>
              </p:cNvSpPr>
              <p:nvPr/>
            </p:nvSpPr>
            <p:spPr bwMode="auto">
              <a:xfrm>
                <a:off x="6540501" y="5448301"/>
                <a:ext cx="9525" cy="7938"/>
              </a:xfrm>
              <a:custGeom>
                <a:avLst/>
                <a:gdLst>
                  <a:gd name="T0" fmla="*/ 1 w 3"/>
                  <a:gd name="T1" fmla="*/ 0 h 2"/>
                  <a:gd name="T2" fmla="*/ 0 w 3"/>
                  <a:gd name="T3" fmla="*/ 2 h 2"/>
                  <a:gd name="T4" fmla="*/ 3 w 3"/>
                  <a:gd name="T5" fmla="*/ 2 h 2"/>
                  <a:gd name="T6" fmla="*/ 0 w 3"/>
                  <a:gd name="T7" fmla="*/ 1 h 2"/>
                  <a:gd name="T8" fmla="*/ 1 w 3"/>
                  <a:gd name="T9" fmla="*/ 0 h 2"/>
                </a:gdLst>
                <a:ahLst/>
                <a:cxnLst>
                  <a:cxn ang="0">
                    <a:pos x="T0" y="T1"/>
                  </a:cxn>
                  <a:cxn ang="0">
                    <a:pos x="T2" y="T3"/>
                  </a:cxn>
                  <a:cxn ang="0">
                    <a:pos x="T4" y="T5"/>
                  </a:cxn>
                  <a:cxn ang="0">
                    <a:pos x="T6" y="T7"/>
                  </a:cxn>
                  <a:cxn ang="0">
                    <a:pos x="T8" y="T9"/>
                  </a:cxn>
                </a:cxnLst>
                <a:rect l="0" t="0" r="r" b="b"/>
                <a:pathLst>
                  <a:path w="3" h="2">
                    <a:moveTo>
                      <a:pt x="1" y="0"/>
                    </a:moveTo>
                    <a:cubicBezTo>
                      <a:pt x="0" y="1"/>
                      <a:pt x="0" y="0"/>
                      <a:pt x="0" y="2"/>
                    </a:cubicBezTo>
                    <a:cubicBezTo>
                      <a:pt x="1" y="2"/>
                      <a:pt x="2" y="2"/>
                      <a:pt x="3" y="2"/>
                    </a:cubicBezTo>
                    <a:cubicBezTo>
                      <a:pt x="2" y="1"/>
                      <a:pt x="1" y="1"/>
                      <a:pt x="0" y="1"/>
                    </a:cubicBezTo>
                    <a:lnTo>
                      <a:pt x="1" y="0"/>
                    </a:ln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79" name="Freeform 360"/>
              <p:cNvSpPr>
                <a:spLocks/>
              </p:cNvSpPr>
              <p:nvPr/>
            </p:nvSpPr>
            <p:spPr bwMode="auto">
              <a:xfrm>
                <a:off x="6348413" y="5332413"/>
                <a:ext cx="46038" cy="88900"/>
              </a:xfrm>
              <a:custGeom>
                <a:avLst/>
                <a:gdLst>
                  <a:gd name="T0" fmla="*/ 12 w 13"/>
                  <a:gd name="T1" fmla="*/ 10 h 25"/>
                  <a:gd name="T2" fmla="*/ 11 w 13"/>
                  <a:gd name="T3" fmla="*/ 1 h 25"/>
                  <a:gd name="T4" fmla="*/ 3 w 13"/>
                  <a:gd name="T5" fmla="*/ 2 h 25"/>
                  <a:gd name="T6" fmla="*/ 3 w 13"/>
                  <a:gd name="T7" fmla="*/ 10 h 25"/>
                  <a:gd name="T8" fmla="*/ 1 w 13"/>
                  <a:gd name="T9" fmla="*/ 16 h 25"/>
                  <a:gd name="T10" fmla="*/ 2 w 13"/>
                  <a:gd name="T11" fmla="*/ 25 h 25"/>
                  <a:gd name="T12" fmla="*/ 10 w 13"/>
                  <a:gd name="T13" fmla="*/ 25 h 25"/>
                  <a:gd name="T14" fmla="*/ 9 w 13"/>
                  <a:gd name="T15" fmla="*/ 17 h 25"/>
                  <a:gd name="T16" fmla="*/ 12 w 13"/>
                  <a:gd name="T17" fmla="*/ 17 h 25"/>
                  <a:gd name="T18" fmla="*/ 13 w 13"/>
                  <a:gd name="T19" fmla="*/ 14 h 25"/>
                  <a:gd name="T20" fmla="*/ 12 w 13"/>
                  <a:gd name="T21"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25">
                    <a:moveTo>
                      <a:pt x="12" y="10"/>
                    </a:moveTo>
                    <a:cubicBezTo>
                      <a:pt x="11" y="8"/>
                      <a:pt x="13" y="3"/>
                      <a:pt x="11" y="1"/>
                    </a:cubicBezTo>
                    <a:cubicBezTo>
                      <a:pt x="10" y="0"/>
                      <a:pt x="4" y="1"/>
                      <a:pt x="3" y="2"/>
                    </a:cubicBezTo>
                    <a:cubicBezTo>
                      <a:pt x="2" y="3"/>
                      <a:pt x="4" y="8"/>
                      <a:pt x="3" y="10"/>
                    </a:cubicBezTo>
                    <a:cubicBezTo>
                      <a:pt x="3" y="12"/>
                      <a:pt x="1" y="14"/>
                      <a:pt x="1" y="16"/>
                    </a:cubicBezTo>
                    <a:cubicBezTo>
                      <a:pt x="0" y="19"/>
                      <a:pt x="2" y="22"/>
                      <a:pt x="2" y="25"/>
                    </a:cubicBezTo>
                    <a:cubicBezTo>
                      <a:pt x="4" y="25"/>
                      <a:pt x="7" y="25"/>
                      <a:pt x="10" y="25"/>
                    </a:cubicBezTo>
                    <a:cubicBezTo>
                      <a:pt x="10" y="22"/>
                      <a:pt x="9" y="20"/>
                      <a:pt x="9" y="17"/>
                    </a:cubicBezTo>
                    <a:cubicBezTo>
                      <a:pt x="10" y="17"/>
                      <a:pt x="11" y="17"/>
                      <a:pt x="12" y="17"/>
                    </a:cubicBezTo>
                    <a:cubicBezTo>
                      <a:pt x="12" y="16"/>
                      <a:pt x="13" y="15"/>
                      <a:pt x="13" y="14"/>
                    </a:cubicBezTo>
                    <a:cubicBezTo>
                      <a:pt x="13" y="12"/>
                      <a:pt x="12" y="12"/>
                      <a:pt x="12" y="10"/>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80" name="Freeform 361"/>
              <p:cNvSpPr>
                <a:spLocks/>
              </p:cNvSpPr>
              <p:nvPr/>
            </p:nvSpPr>
            <p:spPr bwMode="auto">
              <a:xfrm>
                <a:off x="6370638" y="5427663"/>
                <a:ext cx="14288" cy="25400"/>
              </a:xfrm>
              <a:custGeom>
                <a:avLst/>
                <a:gdLst>
                  <a:gd name="T0" fmla="*/ 3 w 4"/>
                  <a:gd name="T1" fmla="*/ 1 h 7"/>
                  <a:gd name="T2" fmla="*/ 0 w 4"/>
                  <a:gd name="T3" fmla="*/ 3 h 7"/>
                  <a:gd name="T4" fmla="*/ 0 w 4"/>
                  <a:gd name="T5" fmla="*/ 7 h 7"/>
                  <a:gd name="T6" fmla="*/ 3 w 4"/>
                  <a:gd name="T7" fmla="*/ 7 h 7"/>
                  <a:gd name="T8" fmla="*/ 3 w 4"/>
                  <a:gd name="T9" fmla="*/ 1 h 7"/>
                </a:gdLst>
                <a:ahLst/>
                <a:cxnLst>
                  <a:cxn ang="0">
                    <a:pos x="T0" y="T1"/>
                  </a:cxn>
                  <a:cxn ang="0">
                    <a:pos x="T2" y="T3"/>
                  </a:cxn>
                  <a:cxn ang="0">
                    <a:pos x="T4" y="T5"/>
                  </a:cxn>
                  <a:cxn ang="0">
                    <a:pos x="T6" y="T7"/>
                  </a:cxn>
                  <a:cxn ang="0">
                    <a:pos x="T8" y="T9"/>
                  </a:cxn>
                </a:cxnLst>
                <a:rect l="0" t="0" r="r" b="b"/>
                <a:pathLst>
                  <a:path w="4" h="7">
                    <a:moveTo>
                      <a:pt x="3" y="1"/>
                    </a:moveTo>
                    <a:cubicBezTo>
                      <a:pt x="2" y="0"/>
                      <a:pt x="1" y="1"/>
                      <a:pt x="0" y="3"/>
                    </a:cubicBezTo>
                    <a:cubicBezTo>
                      <a:pt x="0" y="4"/>
                      <a:pt x="0" y="6"/>
                      <a:pt x="0" y="7"/>
                    </a:cubicBezTo>
                    <a:cubicBezTo>
                      <a:pt x="3" y="7"/>
                      <a:pt x="3" y="7"/>
                      <a:pt x="3" y="7"/>
                    </a:cubicBezTo>
                    <a:cubicBezTo>
                      <a:pt x="4" y="7"/>
                      <a:pt x="4" y="2"/>
                      <a:pt x="3" y="1"/>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81" name="Freeform 362"/>
              <p:cNvSpPr>
                <a:spLocks/>
              </p:cNvSpPr>
              <p:nvPr/>
            </p:nvSpPr>
            <p:spPr bwMode="auto">
              <a:xfrm>
                <a:off x="6359526" y="5191126"/>
                <a:ext cx="42863" cy="138113"/>
              </a:xfrm>
              <a:custGeom>
                <a:avLst/>
                <a:gdLst>
                  <a:gd name="T0" fmla="*/ 11 w 12"/>
                  <a:gd name="T1" fmla="*/ 14 h 39"/>
                  <a:gd name="T2" fmla="*/ 11 w 12"/>
                  <a:gd name="T3" fmla="*/ 12 h 39"/>
                  <a:gd name="T4" fmla="*/ 6 w 12"/>
                  <a:gd name="T5" fmla="*/ 7 h 39"/>
                  <a:gd name="T6" fmla="*/ 3 w 12"/>
                  <a:gd name="T7" fmla="*/ 13 h 39"/>
                  <a:gd name="T8" fmla="*/ 3 w 12"/>
                  <a:gd name="T9" fmla="*/ 23 h 39"/>
                  <a:gd name="T10" fmla="*/ 1 w 12"/>
                  <a:gd name="T11" fmla="*/ 33 h 39"/>
                  <a:gd name="T12" fmla="*/ 1 w 12"/>
                  <a:gd name="T13" fmla="*/ 37 h 39"/>
                  <a:gd name="T14" fmla="*/ 6 w 12"/>
                  <a:gd name="T15" fmla="*/ 37 h 39"/>
                  <a:gd name="T16" fmla="*/ 5 w 12"/>
                  <a:gd name="T17" fmla="*/ 28 h 39"/>
                  <a:gd name="T18" fmla="*/ 8 w 12"/>
                  <a:gd name="T19" fmla="*/ 28 h 39"/>
                  <a:gd name="T20" fmla="*/ 8 w 12"/>
                  <a:gd name="T21" fmla="*/ 31 h 39"/>
                  <a:gd name="T22" fmla="*/ 11 w 12"/>
                  <a:gd name="T23" fmla="*/ 31 h 39"/>
                  <a:gd name="T24" fmla="*/ 11 w 12"/>
                  <a:gd name="T25" fmla="*/ 23 h 39"/>
                  <a:gd name="T26" fmla="*/ 11 w 12"/>
                  <a:gd name="T27" fmla="*/ 19 h 39"/>
                  <a:gd name="T28" fmla="*/ 8 w 12"/>
                  <a:gd name="T29" fmla="*/ 16 h 39"/>
                  <a:gd name="T30" fmla="*/ 11 w 12"/>
                  <a:gd name="T31"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39">
                    <a:moveTo>
                      <a:pt x="11" y="14"/>
                    </a:moveTo>
                    <a:cubicBezTo>
                      <a:pt x="12" y="12"/>
                      <a:pt x="11" y="14"/>
                      <a:pt x="11" y="12"/>
                    </a:cubicBezTo>
                    <a:cubicBezTo>
                      <a:pt x="11" y="9"/>
                      <a:pt x="9" y="0"/>
                      <a:pt x="6" y="7"/>
                    </a:cubicBezTo>
                    <a:cubicBezTo>
                      <a:pt x="5" y="9"/>
                      <a:pt x="6" y="13"/>
                      <a:pt x="3" y="13"/>
                    </a:cubicBezTo>
                    <a:cubicBezTo>
                      <a:pt x="2" y="16"/>
                      <a:pt x="3" y="20"/>
                      <a:pt x="3" y="23"/>
                    </a:cubicBezTo>
                    <a:cubicBezTo>
                      <a:pt x="3" y="27"/>
                      <a:pt x="2" y="30"/>
                      <a:pt x="1" y="33"/>
                    </a:cubicBezTo>
                    <a:cubicBezTo>
                      <a:pt x="1" y="34"/>
                      <a:pt x="0" y="36"/>
                      <a:pt x="1" y="37"/>
                    </a:cubicBezTo>
                    <a:cubicBezTo>
                      <a:pt x="2" y="39"/>
                      <a:pt x="5" y="38"/>
                      <a:pt x="6" y="37"/>
                    </a:cubicBezTo>
                    <a:cubicBezTo>
                      <a:pt x="8" y="35"/>
                      <a:pt x="4" y="30"/>
                      <a:pt x="5" y="28"/>
                    </a:cubicBezTo>
                    <a:cubicBezTo>
                      <a:pt x="6" y="28"/>
                      <a:pt x="7" y="28"/>
                      <a:pt x="8" y="28"/>
                    </a:cubicBezTo>
                    <a:cubicBezTo>
                      <a:pt x="8" y="29"/>
                      <a:pt x="8" y="30"/>
                      <a:pt x="8" y="31"/>
                    </a:cubicBezTo>
                    <a:cubicBezTo>
                      <a:pt x="9" y="31"/>
                      <a:pt x="10" y="31"/>
                      <a:pt x="11" y="31"/>
                    </a:cubicBezTo>
                    <a:cubicBezTo>
                      <a:pt x="11" y="28"/>
                      <a:pt x="11" y="26"/>
                      <a:pt x="11" y="23"/>
                    </a:cubicBezTo>
                    <a:cubicBezTo>
                      <a:pt x="11" y="22"/>
                      <a:pt x="11" y="19"/>
                      <a:pt x="11" y="19"/>
                    </a:cubicBezTo>
                    <a:cubicBezTo>
                      <a:pt x="10" y="18"/>
                      <a:pt x="8" y="18"/>
                      <a:pt x="8" y="16"/>
                    </a:cubicBezTo>
                    <a:cubicBezTo>
                      <a:pt x="8" y="15"/>
                      <a:pt x="10" y="15"/>
                      <a:pt x="11" y="14"/>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82" name="Freeform 363"/>
              <p:cNvSpPr>
                <a:spLocks/>
              </p:cNvSpPr>
              <p:nvPr/>
            </p:nvSpPr>
            <p:spPr bwMode="auto">
              <a:xfrm>
                <a:off x="6330951" y="5448301"/>
                <a:ext cx="49213" cy="117475"/>
              </a:xfrm>
              <a:custGeom>
                <a:avLst/>
                <a:gdLst>
                  <a:gd name="T0" fmla="*/ 9 w 14"/>
                  <a:gd name="T1" fmla="*/ 19 h 33"/>
                  <a:gd name="T2" fmla="*/ 9 w 14"/>
                  <a:gd name="T3" fmla="*/ 10 h 33"/>
                  <a:gd name="T4" fmla="*/ 8 w 14"/>
                  <a:gd name="T5" fmla="*/ 3 h 33"/>
                  <a:gd name="T6" fmla="*/ 8 w 14"/>
                  <a:gd name="T7" fmla="*/ 4 h 33"/>
                  <a:gd name="T8" fmla="*/ 8 w 14"/>
                  <a:gd name="T9" fmla="*/ 2 h 33"/>
                  <a:gd name="T10" fmla="*/ 8 w 14"/>
                  <a:gd name="T11" fmla="*/ 3 h 33"/>
                  <a:gd name="T12" fmla="*/ 6 w 14"/>
                  <a:gd name="T13" fmla="*/ 0 h 33"/>
                  <a:gd name="T14" fmla="*/ 4 w 14"/>
                  <a:gd name="T15" fmla="*/ 6 h 33"/>
                  <a:gd name="T16" fmla="*/ 3 w 14"/>
                  <a:gd name="T17" fmla="*/ 12 h 33"/>
                  <a:gd name="T18" fmla="*/ 1 w 14"/>
                  <a:gd name="T19" fmla="*/ 15 h 33"/>
                  <a:gd name="T20" fmla="*/ 1 w 14"/>
                  <a:gd name="T21" fmla="*/ 17 h 33"/>
                  <a:gd name="T22" fmla="*/ 3 w 14"/>
                  <a:gd name="T23" fmla="*/ 18 h 33"/>
                  <a:gd name="T24" fmla="*/ 3 w 14"/>
                  <a:gd name="T25" fmla="*/ 22 h 33"/>
                  <a:gd name="T26" fmla="*/ 4 w 14"/>
                  <a:gd name="T27" fmla="*/ 25 h 33"/>
                  <a:gd name="T28" fmla="*/ 7 w 14"/>
                  <a:gd name="T29" fmla="*/ 28 h 33"/>
                  <a:gd name="T30" fmla="*/ 7 w 14"/>
                  <a:gd name="T31" fmla="*/ 31 h 33"/>
                  <a:gd name="T32" fmla="*/ 10 w 14"/>
                  <a:gd name="T33" fmla="*/ 32 h 33"/>
                  <a:gd name="T34" fmla="*/ 14 w 14"/>
                  <a:gd name="T35" fmla="*/ 31 h 33"/>
                  <a:gd name="T36" fmla="*/ 13 w 14"/>
                  <a:gd name="T37" fmla="*/ 23 h 33"/>
                  <a:gd name="T38" fmla="*/ 14 w 14"/>
                  <a:gd name="T39" fmla="*/ 15 h 33"/>
                  <a:gd name="T40" fmla="*/ 9 w 14"/>
                  <a:gd name="T41"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9" y="19"/>
                    </a:moveTo>
                    <a:cubicBezTo>
                      <a:pt x="7" y="17"/>
                      <a:pt x="9" y="13"/>
                      <a:pt x="9" y="10"/>
                    </a:cubicBezTo>
                    <a:cubicBezTo>
                      <a:pt x="10" y="7"/>
                      <a:pt x="9" y="5"/>
                      <a:pt x="8" y="3"/>
                    </a:cubicBezTo>
                    <a:cubicBezTo>
                      <a:pt x="8" y="3"/>
                      <a:pt x="8" y="4"/>
                      <a:pt x="8" y="4"/>
                    </a:cubicBezTo>
                    <a:cubicBezTo>
                      <a:pt x="8" y="2"/>
                      <a:pt x="8" y="2"/>
                      <a:pt x="8" y="2"/>
                    </a:cubicBezTo>
                    <a:cubicBezTo>
                      <a:pt x="8" y="3"/>
                      <a:pt x="8" y="3"/>
                      <a:pt x="8" y="3"/>
                    </a:cubicBezTo>
                    <a:cubicBezTo>
                      <a:pt x="8" y="1"/>
                      <a:pt x="7" y="0"/>
                      <a:pt x="6" y="0"/>
                    </a:cubicBezTo>
                    <a:cubicBezTo>
                      <a:pt x="6" y="2"/>
                      <a:pt x="4" y="4"/>
                      <a:pt x="4" y="6"/>
                    </a:cubicBezTo>
                    <a:cubicBezTo>
                      <a:pt x="4" y="8"/>
                      <a:pt x="5" y="10"/>
                      <a:pt x="3" y="12"/>
                    </a:cubicBezTo>
                    <a:cubicBezTo>
                      <a:pt x="5" y="14"/>
                      <a:pt x="3" y="17"/>
                      <a:pt x="1" y="15"/>
                    </a:cubicBezTo>
                    <a:cubicBezTo>
                      <a:pt x="1" y="15"/>
                      <a:pt x="0" y="16"/>
                      <a:pt x="1" y="17"/>
                    </a:cubicBezTo>
                    <a:cubicBezTo>
                      <a:pt x="1" y="17"/>
                      <a:pt x="2" y="18"/>
                      <a:pt x="3" y="18"/>
                    </a:cubicBezTo>
                    <a:cubicBezTo>
                      <a:pt x="3" y="19"/>
                      <a:pt x="2" y="20"/>
                      <a:pt x="3" y="22"/>
                    </a:cubicBezTo>
                    <a:cubicBezTo>
                      <a:pt x="4" y="22"/>
                      <a:pt x="3" y="24"/>
                      <a:pt x="4" y="25"/>
                    </a:cubicBezTo>
                    <a:cubicBezTo>
                      <a:pt x="4" y="27"/>
                      <a:pt x="6" y="27"/>
                      <a:pt x="7" y="28"/>
                    </a:cubicBezTo>
                    <a:cubicBezTo>
                      <a:pt x="7" y="29"/>
                      <a:pt x="6" y="30"/>
                      <a:pt x="7" y="31"/>
                    </a:cubicBezTo>
                    <a:cubicBezTo>
                      <a:pt x="8" y="33"/>
                      <a:pt x="7" y="33"/>
                      <a:pt x="10" y="32"/>
                    </a:cubicBezTo>
                    <a:cubicBezTo>
                      <a:pt x="11" y="32"/>
                      <a:pt x="12" y="31"/>
                      <a:pt x="14" y="31"/>
                    </a:cubicBezTo>
                    <a:cubicBezTo>
                      <a:pt x="14" y="29"/>
                      <a:pt x="13" y="26"/>
                      <a:pt x="13" y="23"/>
                    </a:cubicBezTo>
                    <a:cubicBezTo>
                      <a:pt x="13" y="20"/>
                      <a:pt x="14" y="18"/>
                      <a:pt x="14" y="15"/>
                    </a:cubicBezTo>
                    <a:cubicBezTo>
                      <a:pt x="11" y="15"/>
                      <a:pt x="11" y="17"/>
                      <a:pt x="9" y="19"/>
                    </a:cubicBezTo>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83" name="Freeform 364"/>
              <p:cNvSpPr>
                <a:spLocks/>
              </p:cNvSpPr>
              <p:nvPr/>
            </p:nvSpPr>
            <p:spPr bwMode="auto">
              <a:xfrm>
                <a:off x="6345238" y="5565776"/>
                <a:ext cx="17463" cy="25400"/>
              </a:xfrm>
              <a:custGeom>
                <a:avLst/>
                <a:gdLst>
                  <a:gd name="T0" fmla="*/ 2 w 5"/>
                  <a:gd name="T1" fmla="*/ 0 h 7"/>
                  <a:gd name="T2" fmla="*/ 0 w 5"/>
                  <a:gd name="T3" fmla="*/ 7 h 7"/>
                  <a:gd name="T4" fmla="*/ 5 w 5"/>
                  <a:gd name="T5" fmla="*/ 7 h 7"/>
                  <a:gd name="T6" fmla="*/ 4 w 5"/>
                  <a:gd name="T7" fmla="*/ 3 h 7"/>
                  <a:gd name="T8" fmla="*/ 5 w 5"/>
                  <a:gd name="T9" fmla="*/ 1 h 7"/>
                  <a:gd name="T10" fmla="*/ 2 w 5"/>
                  <a:gd name="T11" fmla="*/ 0 h 7"/>
                </a:gdLst>
                <a:ahLst/>
                <a:cxnLst>
                  <a:cxn ang="0">
                    <a:pos x="T0" y="T1"/>
                  </a:cxn>
                  <a:cxn ang="0">
                    <a:pos x="T2" y="T3"/>
                  </a:cxn>
                  <a:cxn ang="0">
                    <a:pos x="T4" y="T5"/>
                  </a:cxn>
                  <a:cxn ang="0">
                    <a:pos x="T6" y="T7"/>
                  </a:cxn>
                  <a:cxn ang="0">
                    <a:pos x="T8" y="T9"/>
                  </a:cxn>
                  <a:cxn ang="0">
                    <a:pos x="T10" y="T11"/>
                  </a:cxn>
                </a:cxnLst>
                <a:rect l="0" t="0" r="r" b="b"/>
                <a:pathLst>
                  <a:path w="5" h="7">
                    <a:moveTo>
                      <a:pt x="2" y="0"/>
                    </a:moveTo>
                    <a:cubicBezTo>
                      <a:pt x="2" y="3"/>
                      <a:pt x="0" y="4"/>
                      <a:pt x="0" y="7"/>
                    </a:cubicBezTo>
                    <a:cubicBezTo>
                      <a:pt x="2" y="7"/>
                      <a:pt x="3" y="7"/>
                      <a:pt x="5" y="7"/>
                    </a:cubicBezTo>
                    <a:cubicBezTo>
                      <a:pt x="5" y="6"/>
                      <a:pt x="5" y="5"/>
                      <a:pt x="4" y="3"/>
                    </a:cubicBezTo>
                    <a:cubicBezTo>
                      <a:pt x="5" y="3"/>
                      <a:pt x="5" y="2"/>
                      <a:pt x="5" y="1"/>
                    </a:cubicBezTo>
                    <a:cubicBezTo>
                      <a:pt x="4" y="1"/>
                      <a:pt x="3" y="1"/>
                      <a:pt x="2" y="0"/>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84" name="Freeform 365"/>
              <p:cNvSpPr>
                <a:spLocks/>
              </p:cNvSpPr>
              <p:nvPr/>
            </p:nvSpPr>
            <p:spPr bwMode="auto">
              <a:xfrm>
                <a:off x="6362701" y="5986463"/>
                <a:ext cx="17463" cy="31750"/>
              </a:xfrm>
              <a:custGeom>
                <a:avLst/>
                <a:gdLst>
                  <a:gd name="T0" fmla="*/ 3 w 5"/>
                  <a:gd name="T1" fmla="*/ 1 h 9"/>
                  <a:gd name="T2" fmla="*/ 2 w 5"/>
                  <a:gd name="T3" fmla="*/ 0 h 9"/>
                  <a:gd name="T4" fmla="*/ 0 w 5"/>
                  <a:gd name="T5" fmla="*/ 0 h 9"/>
                  <a:gd name="T6" fmla="*/ 0 w 5"/>
                  <a:gd name="T7" fmla="*/ 8 h 9"/>
                  <a:gd name="T8" fmla="*/ 2 w 5"/>
                  <a:gd name="T9" fmla="*/ 7 h 9"/>
                  <a:gd name="T10" fmla="*/ 4 w 5"/>
                  <a:gd name="T11" fmla="*/ 4 h 9"/>
                  <a:gd name="T12" fmla="*/ 5 w 5"/>
                  <a:gd name="T13" fmla="*/ 3 h 9"/>
                  <a:gd name="T14" fmla="*/ 3 w 5"/>
                  <a:gd name="T15" fmla="*/ 2 h 9"/>
                  <a:gd name="T16" fmla="*/ 3 w 5"/>
                  <a:gd name="T1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9">
                    <a:moveTo>
                      <a:pt x="3" y="1"/>
                    </a:moveTo>
                    <a:cubicBezTo>
                      <a:pt x="2" y="0"/>
                      <a:pt x="2" y="0"/>
                      <a:pt x="2" y="0"/>
                    </a:cubicBezTo>
                    <a:cubicBezTo>
                      <a:pt x="2" y="0"/>
                      <a:pt x="1" y="0"/>
                      <a:pt x="0" y="0"/>
                    </a:cubicBezTo>
                    <a:cubicBezTo>
                      <a:pt x="0" y="3"/>
                      <a:pt x="0" y="6"/>
                      <a:pt x="0" y="8"/>
                    </a:cubicBezTo>
                    <a:cubicBezTo>
                      <a:pt x="0" y="9"/>
                      <a:pt x="2" y="7"/>
                      <a:pt x="2" y="7"/>
                    </a:cubicBezTo>
                    <a:cubicBezTo>
                      <a:pt x="3" y="6"/>
                      <a:pt x="4" y="4"/>
                      <a:pt x="4" y="4"/>
                    </a:cubicBezTo>
                    <a:cubicBezTo>
                      <a:pt x="4" y="3"/>
                      <a:pt x="4" y="3"/>
                      <a:pt x="5" y="3"/>
                    </a:cubicBezTo>
                    <a:cubicBezTo>
                      <a:pt x="4" y="3"/>
                      <a:pt x="4" y="3"/>
                      <a:pt x="3" y="2"/>
                    </a:cubicBezTo>
                    <a:cubicBezTo>
                      <a:pt x="3" y="2"/>
                      <a:pt x="3" y="1"/>
                      <a:pt x="3" y="1"/>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85" name="Freeform 366"/>
              <p:cNvSpPr>
                <a:spLocks/>
              </p:cNvSpPr>
              <p:nvPr/>
            </p:nvSpPr>
            <p:spPr bwMode="auto">
              <a:xfrm>
                <a:off x="6302376" y="5683251"/>
                <a:ext cx="42863" cy="66675"/>
              </a:xfrm>
              <a:custGeom>
                <a:avLst/>
                <a:gdLst>
                  <a:gd name="T0" fmla="*/ 5 w 12"/>
                  <a:gd name="T1" fmla="*/ 5 h 19"/>
                  <a:gd name="T2" fmla="*/ 5 w 12"/>
                  <a:gd name="T3" fmla="*/ 7 h 19"/>
                  <a:gd name="T4" fmla="*/ 3 w 12"/>
                  <a:gd name="T5" fmla="*/ 7 h 19"/>
                  <a:gd name="T6" fmla="*/ 5 w 12"/>
                  <a:gd name="T7" fmla="*/ 18 h 19"/>
                  <a:gd name="T8" fmla="*/ 8 w 12"/>
                  <a:gd name="T9" fmla="*/ 16 h 19"/>
                  <a:gd name="T10" fmla="*/ 10 w 12"/>
                  <a:gd name="T11" fmla="*/ 14 h 19"/>
                  <a:gd name="T12" fmla="*/ 9 w 12"/>
                  <a:gd name="T13" fmla="*/ 0 h 19"/>
                  <a:gd name="T14" fmla="*/ 5 w 12"/>
                  <a:gd name="T15" fmla="*/ 5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9">
                    <a:moveTo>
                      <a:pt x="5" y="5"/>
                    </a:moveTo>
                    <a:cubicBezTo>
                      <a:pt x="5" y="6"/>
                      <a:pt x="5" y="6"/>
                      <a:pt x="5" y="7"/>
                    </a:cubicBezTo>
                    <a:cubicBezTo>
                      <a:pt x="5" y="7"/>
                      <a:pt x="4" y="7"/>
                      <a:pt x="3" y="7"/>
                    </a:cubicBezTo>
                    <a:cubicBezTo>
                      <a:pt x="3" y="9"/>
                      <a:pt x="0" y="19"/>
                      <a:pt x="5" y="18"/>
                    </a:cubicBezTo>
                    <a:cubicBezTo>
                      <a:pt x="6" y="17"/>
                      <a:pt x="7" y="17"/>
                      <a:pt x="8" y="16"/>
                    </a:cubicBezTo>
                    <a:cubicBezTo>
                      <a:pt x="11" y="15"/>
                      <a:pt x="10" y="16"/>
                      <a:pt x="10" y="14"/>
                    </a:cubicBezTo>
                    <a:cubicBezTo>
                      <a:pt x="11" y="10"/>
                      <a:pt x="12" y="3"/>
                      <a:pt x="9" y="0"/>
                    </a:cubicBezTo>
                    <a:cubicBezTo>
                      <a:pt x="8" y="2"/>
                      <a:pt x="8" y="5"/>
                      <a:pt x="5" y="5"/>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86" name="Freeform 367"/>
              <p:cNvSpPr>
                <a:spLocks/>
              </p:cNvSpPr>
              <p:nvPr/>
            </p:nvSpPr>
            <p:spPr bwMode="auto">
              <a:xfrm>
                <a:off x="6529388" y="6103938"/>
                <a:ext cx="6350" cy="23813"/>
              </a:xfrm>
              <a:custGeom>
                <a:avLst/>
                <a:gdLst>
                  <a:gd name="T0" fmla="*/ 2 w 2"/>
                  <a:gd name="T1" fmla="*/ 2 h 7"/>
                  <a:gd name="T2" fmla="*/ 0 w 2"/>
                  <a:gd name="T3" fmla="*/ 5 h 7"/>
                  <a:gd name="T4" fmla="*/ 2 w 2"/>
                  <a:gd name="T5" fmla="*/ 6 h 7"/>
                  <a:gd name="T6" fmla="*/ 2 w 2"/>
                  <a:gd name="T7" fmla="*/ 4 h 7"/>
                  <a:gd name="T8" fmla="*/ 2 w 2"/>
                  <a:gd name="T9" fmla="*/ 2 h 7"/>
                </a:gdLst>
                <a:ahLst/>
                <a:cxnLst>
                  <a:cxn ang="0">
                    <a:pos x="T0" y="T1"/>
                  </a:cxn>
                  <a:cxn ang="0">
                    <a:pos x="T2" y="T3"/>
                  </a:cxn>
                  <a:cxn ang="0">
                    <a:pos x="T4" y="T5"/>
                  </a:cxn>
                  <a:cxn ang="0">
                    <a:pos x="T6" y="T7"/>
                  </a:cxn>
                  <a:cxn ang="0">
                    <a:pos x="T8" y="T9"/>
                  </a:cxn>
                </a:cxnLst>
                <a:rect l="0" t="0" r="r" b="b"/>
                <a:pathLst>
                  <a:path w="2" h="7">
                    <a:moveTo>
                      <a:pt x="2" y="2"/>
                    </a:moveTo>
                    <a:cubicBezTo>
                      <a:pt x="0" y="0"/>
                      <a:pt x="0" y="4"/>
                      <a:pt x="0" y="5"/>
                    </a:cubicBezTo>
                    <a:cubicBezTo>
                      <a:pt x="0" y="6"/>
                      <a:pt x="1" y="7"/>
                      <a:pt x="2" y="6"/>
                    </a:cubicBezTo>
                    <a:cubicBezTo>
                      <a:pt x="2" y="5"/>
                      <a:pt x="2" y="4"/>
                      <a:pt x="2" y="4"/>
                    </a:cubicBezTo>
                    <a:cubicBezTo>
                      <a:pt x="2" y="3"/>
                      <a:pt x="2" y="3"/>
                      <a:pt x="2" y="2"/>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87" name="Freeform 368"/>
              <p:cNvSpPr>
                <a:spLocks/>
              </p:cNvSpPr>
              <p:nvPr/>
            </p:nvSpPr>
            <p:spPr bwMode="auto">
              <a:xfrm>
                <a:off x="6572251" y="6276976"/>
                <a:ext cx="17463" cy="14288"/>
              </a:xfrm>
              <a:custGeom>
                <a:avLst/>
                <a:gdLst>
                  <a:gd name="T0" fmla="*/ 2 w 5"/>
                  <a:gd name="T1" fmla="*/ 4 h 4"/>
                  <a:gd name="T2" fmla="*/ 5 w 5"/>
                  <a:gd name="T3" fmla="*/ 4 h 4"/>
                  <a:gd name="T4" fmla="*/ 4 w 5"/>
                  <a:gd name="T5" fmla="*/ 2 h 4"/>
                  <a:gd name="T6" fmla="*/ 5 w 5"/>
                  <a:gd name="T7" fmla="*/ 0 h 4"/>
                  <a:gd name="T8" fmla="*/ 3 w 5"/>
                  <a:gd name="T9" fmla="*/ 0 h 4"/>
                  <a:gd name="T10" fmla="*/ 0 w 5"/>
                  <a:gd name="T11" fmla="*/ 3 h 4"/>
                  <a:gd name="T12" fmla="*/ 3 w 5"/>
                  <a:gd name="T13" fmla="*/ 4 h 4"/>
                  <a:gd name="T14" fmla="*/ 2 w 5"/>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2" y="4"/>
                    </a:moveTo>
                    <a:cubicBezTo>
                      <a:pt x="3" y="4"/>
                      <a:pt x="4" y="4"/>
                      <a:pt x="5" y="4"/>
                    </a:cubicBezTo>
                    <a:cubicBezTo>
                      <a:pt x="4" y="3"/>
                      <a:pt x="4" y="2"/>
                      <a:pt x="4" y="2"/>
                    </a:cubicBezTo>
                    <a:cubicBezTo>
                      <a:pt x="5" y="1"/>
                      <a:pt x="4" y="1"/>
                      <a:pt x="5" y="0"/>
                    </a:cubicBezTo>
                    <a:cubicBezTo>
                      <a:pt x="4" y="0"/>
                      <a:pt x="4" y="0"/>
                      <a:pt x="3" y="0"/>
                    </a:cubicBezTo>
                    <a:cubicBezTo>
                      <a:pt x="2" y="1"/>
                      <a:pt x="0" y="1"/>
                      <a:pt x="0" y="3"/>
                    </a:cubicBezTo>
                    <a:cubicBezTo>
                      <a:pt x="1" y="3"/>
                      <a:pt x="2" y="4"/>
                      <a:pt x="3" y="4"/>
                    </a:cubicBezTo>
                    <a:lnTo>
                      <a:pt x="2" y="4"/>
                    </a:ln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88" name="Freeform 369"/>
              <p:cNvSpPr>
                <a:spLocks/>
              </p:cNvSpPr>
              <p:nvPr/>
            </p:nvSpPr>
            <p:spPr bwMode="auto">
              <a:xfrm>
                <a:off x="6581776" y="6305551"/>
                <a:ext cx="50800" cy="84138"/>
              </a:xfrm>
              <a:custGeom>
                <a:avLst/>
                <a:gdLst>
                  <a:gd name="T0" fmla="*/ 13 w 14"/>
                  <a:gd name="T1" fmla="*/ 11 h 24"/>
                  <a:gd name="T2" fmla="*/ 10 w 14"/>
                  <a:gd name="T3" fmla="*/ 8 h 24"/>
                  <a:gd name="T4" fmla="*/ 10 w 14"/>
                  <a:gd name="T5" fmla="*/ 1 h 24"/>
                  <a:gd name="T6" fmla="*/ 4 w 14"/>
                  <a:gd name="T7" fmla="*/ 3 h 24"/>
                  <a:gd name="T8" fmla="*/ 0 w 14"/>
                  <a:gd name="T9" fmla="*/ 3 h 24"/>
                  <a:gd name="T10" fmla="*/ 0 w 14"/>
                  <a:gd name="T11" fmla="*/ 11 h 24"/>
                  <a:gd name="T12" fmla="*/ 3 w 14"/>
                  <a:gd name="T13" fmla="*/ 12 h 24"/>
                  <a:gd name="T14" fmla="*/ 6 w 14"/>
                  <a:gd name="T15" fmla="*/ 24 h 24"/>
                  <a:gd name="T16" fmla="*/ 12 w 14"/>
                  <a:gd name="T17" fmla="*/ 24 h 24"/>
                  <a:gd name="T18" fmla="*/ 12 w 14"/>
                  <a:gd name="T19" fmla="*/ 18 h 24"/>
                  <a:gd name="T20" fmla="*/ 12 w 14"/>
                  <a:gd name="T21" fmla="*/ 14 h 24"/>
                  <a:gd name="T22" fmla="*/ 13 w 14"/>
                  <a:gd name="T23" fmla="*/ 1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4">
                    <a:moveTo>
                      <a:pt x="13" y="11"/>
                    </a:moveTo>
                    <a:cubicBezTo>
                      <a:pt x="13" y="9"/>
                      <a:pt x="11" y="9"/>
                      <a:pt x="10" y="8"/>
                    </a:cubicBezTo>
                    <a:cubicBezTo>
                      <a:pt x="9" y="7"/>
                      <a:pt x="10" y="1"/>
                      <a:pt x="10" y="1"/>
                    </a:cubicBezTo>
                    <a:cubicBezTo>
                      <a:pt x="8" y="1"/>
                      <a:pt x="5" y="0"/>
                      <a:pt x="4" y="3"/>
                    </a:cubicBezTo>
                    <a:cubicBezTo>
                      <a:pt x="3" y="3"/>
                      <a:pt x="1" y="3"/>
                      <a:pt x="0" y="3"/>
                    </a:cubicBezTo>
                    <a:cubicBezTo>
                      <a:pt x="0" y="6"/>
                      <a:pt x="0" y="9"/>
                      <a:pt x="0" y="11"/>
                    </a:cubicBezTo>
                    <a:cubicBezTo>
                      <a:pt x="1" y="12"/>
                      <a:pt x="2" y="12"/>
                      <a:pt x="3" y="12"/>
                    </a:cubicBezTo>
                    <a:cubicBezTo>
                      <a:pt x="5" y="16"/>
                      <a:pt x="6" y="20"/>
                      <a:pt x="6" y="24"/>
                    </a:cubicBezTo>
                    <a:cubicBezTo>
                      <a:pt x="8" y="24"/>
                      <a:pt x="10" y="24"/>
                      <a:pt x="12" y="24"/>
                    </a:cubicBezTo>
                    <a:cubicBezTo>
                      <a:pt x="12" y="22"/>
                      <a:pt x="13" y="20"/>
                      <a:pt x="12" y="18"/>
                    </a:cubicBezTo>
                    <a:cubicBezTo>
                      <a:pt x="12" y="16"/>
                      <a:pt x="11" y="16"/>
                      <a:pt x="12" y="14"/>
                    </a:cubicBezTo>
                    <a:cubicBezTo>
                      <a:pt x="12" y="13"/>
                      <a:pt x="14" y="12"/>
                      <a:pt x="13" y="11"/>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89" name="Freeform 370"/>
              <p:cNvSpPr>
                <a:spLocks/>
              </p:cNvSpPr>
              <p:nvPr/>
            </p:nvSpPr>
            <p:spPr bwMode="auto">
              <a:xfrm>
                <a:off x="6457951" y="6153151"/>
                <a:ext cx="7938" cy="9525"/>
              </a:xfrm>
              <a:custGeom>
                <a:avLst/>
                <a:gdLst>
                  <a:gd name="T0" fmla="*/ 1 w 2"/>
                  <a:gd name="T1" fmla="*/ 0 h 3"/>
                  <a:gd name="T2" fmla="*/ 2 w 2"/>
                  <a:gd name="T3" fmla="*/ 3 h 3"/>
                  <a:gd name="T4" fmla="*/ 2 w 2"/>
                  <a:gd name="T5" fmla="*/ 1 h 3"/>
                  <a:gd name="T6" fmla="*/ 1 w 2"/>
                  <a:gd name="T7" fmla="*/ 0 h 3"/>
                </a:gdLst>
                <a:ahLst/>
                <a:cxnLst>
                  <a:cxn ang="0">
                    <a:pos x="T0" y="T1"/>
                  </a:cxn>
                  <a:cxn ang="0">
                    <a:pos x="T2" y="T3"/>
                  </a:cxn>
                  <a:cxn ang="0">
                    <a:pos x="T4" y="T5"/>
                  </a:cxn>
                  <a:cxn ang="0">
                    <a:pos x="T6" y="T7"/>
                  </a:cxn>
                </a:cxnLst>
                <a:rect l="0" t="0" r="r" b="b"/>
                <a:pathLst>
                  <a:path w="2" h="3">
                    <a:moveTo>
                      <a:pt x="1" y="0"/>
                    </a:moveTo>
                    <a:cubicBezTo>
                      <a:pt x="0" y="0"/>
                      <a:pt x="0" y="3"/>
                      <a:pt x="2" y="3"/>
                    </a:cubicBezTo>
                    <a:cubicBezTo>
                      <a:pt x="2" y="1"/>
                      <a:pt x="2" y="1"/>
                      <a:pt x="2" y="1"/>
                    </a:cubicBezTo>
                    <a:cubicBezTo>
                      <a:pt x="2" y="1"/>
                      <a:pt x="1" y="1"/>
                      <a:pt x="1" y="0"/>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90" name="Freeform 371"/>
              <p:cNvSpPr>
                <a:spLocks/>
              </p:cNvSpPr>
              <p:nvPr/>
            </p:nvSpPr>
            <p:spPr bwMode="auto">
              <a:xfrm>
                <a:off x="6434138" y="6138863"/>
                <a:ext cx="20638" cy="31750"/>
              </a:xfrm>
              <a:custGeom>
                <a:avLst/>
                <a:gdLst>
                  <a:gd name="T0" fmla="*/ 3 w 6"/>
                  <a:gd name="T1" fmla="*/ 3 h 9"/>
                  <a:gd name="T2" fmla="*/ 3 w 6"/>
                  <a:gd name="T3" fmla="*/ 0 h 9"/>
                  <a:gd name="T4" fmla="*/ 0 w 6"/>
                  <a:gd name="T5" fmla="*/ 0 h 9"/>
                  <a:gd name="T6" fmla="*/ 2 w 6"/>
                  <a:gd name="T7" fmla="*/ 9 h 9"/>
                  <a:gd name="T8" fmla="*/ 5 w 6"/>
                  <a:gd name="T9" fmla="*/ 9 h 9"/>
                  <a:gd name="T10" fmla="*/ 4 w 6"/>
                  <a:gd name="T11" fmla="*/ 5 h 9"/>
                  <a:gd name="T12" fmla="*/ 3 w 6"/>
                  <a:gd name="T13" fmla="*/ 3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3" y="3"/>
                    </a:moveTo>
                    <a:cubicBezTo>
                      <a:pt x="3" y="0"/>
                      <a:pt x="3" y="0"/>
                      <a:pt x="3" y="0"/>
                    </a:cubicBezTo>
                    <a:cubicBezTo>
                      <a:pt x="2" y="0"/>
                      <a:pt x="1" y="0"/>
                      <a:pt x="0" y="0"/>
                    </a:cubicBezTo>
                    <a:cubicBezTo>
                      <a:pt x="0" y="4"/>
                      <a:pt x="2" y="6"/>
                      <a:pt x="2" y="9"/>
                    </a:cubicBezTo>
                    <a:cubicBezTo>
                      <a:pt x="3" y="9"/>
                      <a:pt x="4" y="9"/>
                      <a:pt x="5" y="9"/>
                    </a:cubicBezTo>
                    <a:cubicBezTo>
                      <a:pt x="6" y="7"/>
                      <a:pt x="5" y="6"/>
                      <a:pt x="4" y="5"/>
                    </a:cubicBezTo>
                    <a:cubicBezTo>
                      <a:pt x="3" y="4"/>
                      <a:pt x="3" y="4"/>
                      <a:pt x="3" y="3"/>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91" name="Freeform 372"/>
              <p:cNvSpPr>
                <a:spLocks/>
              </p:cNvSpPr>
              <p:nvPr/>
            </p:nvSpPr>
            <p:spPr bwMode="auto">
              <a:xfrm>
                <a:off x="6503988" y="6162676"/>
                <a:ext cx="22225" cy="46038"/>
              </a:xfrm>
              <a:custGeom>
                <a:avLst/>
                <a:gdLst>
                  <a:gd name="T0" fmla="*/ 5 w 6"/>
                  <a:gd name="T1" fmla="*/ 4 h 13"/>
                  <a:gd name="T2" fmla="*/ 4 w 6"/>
                  <a:gd name="T3" fmla="*/ 4 h 13"/>
                  <a:gd name="T4" fmla="*/ 3 w 6"/>
                  <a:gd name="T5" fmla="*/ 0 h 13"/>
                  <a:gd name="T6" fmla="*/ 3 w 6"/>
                  <a:gd name="T7" fmla="*/ 6 h 13"/>
                  <a:gd name="T8" fmla="*/ 3 w 6"/>
                  <a:gd name="T9" fmla="*/ 11 h 13"/>
                  <a:gd name="T10" fmla="*/ 5 w 6"/>
                  <a:gd name="T11" fmla="*/ 13 h 13"/>
                  <a:gd name="T12" fmla="*/ 6 w 6"/>
                  <a:gd name="T13" fmla="*/ 6 h 13"/>
                  <a:gd name="T14" fmla="*/ 5 w 6"/>
                  <a:gd name="T15" fmla="*/ 4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3">
                    <a:moveTo>
                      <a:pt x="5" y="4"/>
                    </a:moveTo>
                    <a:cubicBezTo>
                      <a:pt x="4" y="4"/>
                      <a:pt x="4" y="4"/>
                      <a:pt x="4" y="4"/>
                    </a:cubicBezTo>
                    <a:cubicBezTo>
                      <a:pt x="4" y="2"/>
                      <a:pt x="4" y="1"/>
                      <a:pt x="3" y="0"/>
                    </a:cubicBezTo>
                    <a:cubicBezTo>
                      <a:pt x="1" y="1"/>
                      <a:pt x="0" y="5"/>
                      <a:pt x="3" y="6"/>
                    </a:cubicBezTo>
                    <a:cubicBezTo>
                      <a:pt x="3" y="8"/>
                      <a:pt x="3" y="9"/>
                      <a:pt x="3" y="11"/>
                    </a:cubicBezTo>
                    <a:cubicBezTo>
                      <a:pt x="4" y="11"/>
                      <a:pt x="5" y="12"/>
                      <a:pt x="5" y="13"/>
                    </a:cubicBezTo>
                    <a:cubicBezTo>
                      <a:pt x="5" y="11"/>
                      <a:pt x="6" y="9"/>
                      <a:pt x="6" y="6"/>
                    </a:cubicBezTo>
                    <a:cubicBezTo>
                      <a:pt x="6" y="5"/>
                      <a:pt x="5" y="5"/>
                      <a:pt x="5" y="4"/>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92" name="Freeform 373"/>
              <p:cNvSpPr>
                <a:spLocks/>
              </p:cNvSpPr>
              <p:nvPr/>
            </p:nvSpPr>
            <p:spPr bwMode="auto">
              <a:xfrm>
                <a:off x="6483351" y="6205538"/>
                <a:ext cx="25400" cy="11113"/>
              </a:xfrm>
              <a:custGeom>
                <a:avLst/>
                <a:gdLst>
                  <a:gd name="T0" fmla="*/ 5 w 7"/>
                  <a:gd name="T1" fmla="*/ 2 h 3"/>
                  <a:gd name="T2" fmla="*/ 1 w 7"/>
                  <a:gd name="T3" fmla="*/ 0 h 3"/>
                  <a:gd name="T4" fmla="*/ 0 w 7"/>
                  <a:gd name="T5" fmla="*/ 2 h 3"/>
                  <a:gd name="T6" fmla="*/ 7 w 7"/>
                  <a:gd name="T7" fmla="*/ 3 h 3"/>
                  <a:gd name="T8" fmla="*/ 5 w 7"/>
                  <a:gd name="T9" fmla="*/ 2 h 3"/>
                </a:gdLst>
                <a:ahLst/>
                <a:cxnLst>
                  <a:cxn ang="0">
                    <a:pos x="T0" y="T1"/>
                  </a:cxn>
                  <a:cxn ang="0">
                    <a:pos x="T2" y="T3"/>
                  </a:cxn>
                  <a:cxn ang="0">
                    <a:pos x="T4" y="T5"/>
                  </a:cxn>
                  <a:cxn ang="0">
                    <a:pos x="T6" y="T7"/>
                  </a:cxn>
                  <a:cxn ang="0">
                    <a:pos x="T8" y="T9"/>
                  </a:cxn>
                </a:cxnLst>
                <a:rect l="0" t="0" r="r" b="b"/>
                <a:pathLst>
                  <a:path w="7" h="3">
                    <a:moveTo>
                      <a:pt x="5" y="2"/>
                    </a:moveTo>
                    <a:cubicBezTo>
                      <a:pt x="4" y="1"/>
                      <a:pt x="2" y="0"/>
                      <a:pt x="1" y="0"/>
                    </a:cubicBezTo>
                    <a:cubicBezTo>
                      <a:pt x="0" y="1"/>
                      <a:pt x="0" y="1"/>
                      <a:pt x="0" y="2"/>
                    </a:cubicBezTo>
                    <a:cubicBezTo>
                      <a:pt x="0" y="2"/>
                      <a:pt x="7" y="3"/>
                      <a:pt x="7" y="3"/>
                    </a:cubicBezTo>
                    <a:cubicBezTo>
                      <a:pt x="7" y="2"/>
                      <a:pt x="6" y="2"/>
                      <a:pt x="5" y="2"/>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93" name="Freeform 374"/>
              <p:cNvSpPr>
                <a:spLocks/>
              </p:cNvSpPr>
              <p:nvPr/>
            </p:nvSpPr>
            <p:spPr bwMode="auto">
              <a:xfrm>
                <a:off x="6419851" y="6118226"/>
                <a:ext cx="14288" cy="12700"/>
              </a:xfrm>
              <a:custGeom>
                <a:avLst/>
                <a:gdLst>
                  <a:gd name="T0" fmla="*/ 2 w 4"/>
                  <a:gd name="T1" fmla="*/ 2 h 4"/>
                  <a:gd name="T2" fmla="*/ 1 w 4"/>
                  <a:gd name="T3" fmla="*/ 2 h 4"/>
                  <a:gd name="T4" fmla="*/ 3 w 4"/>
                  <a:gd name="T5" fmla="*/ 4 h 4"/>
                  <a:gd name="T6" fmla="*/ 2 w 4"/>
                  <a:gd name="T7" fmla="*/ 2 h 4"/>
                </a:gdLst>
                <a:ahLst/>
                <a:cxnLst>
                  <a:cxn ang="0">
                    <a:pos x="T0" y="T1"/>
                  </a:cxn>
                  <a:cxn ang="0">
                    <a:pos x="T2" y="T3"/>
                  </a:cxn>
                  <a:cxn ang="0">
                    <a:pos x="T4" y="T5"/>
                  </a:cxn>
                  <a:cxn ang="0">
                    <a:pos x="T6" y="T7"/>
                  </a:cxn>
                </a:cxnLst>
                <a:rect l="0" t="0" r="r" b="b"/>
                <a:pathLst>
                  <a:path w="4" h="4">
                    <a:moveTo>
                      <a:pt x="2" y="2"/>
                    </a:moveTo>
                    <a:cubicBezTo>
                      <a:pt x="1" y="0"/>
                      <a:pt x="0" y="1"/>
                      <a:pt x="1" y="2"/>
                    </a:cubicBezTo>
                    <a:cubicBezTo>
                      <a:pt x="1" y="3"/>
                      <a:pt x="2" y="4"/>
                      <a:pt x="3" y="4"/>
                    </a:cubicBezTo>
                    <a:cubicBezTo>
                      <a:pt x="4" y="2"/>
                      <a:pt x="2" y="3"/>
                      <a:pt x="2" y="2"/>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94" name="Freeform 375"/>
              <p:cNvSpPr>
                <a:spLocks/>
              </p:cNvSpPr>
              <p:nvPr/>
            </p:nvSpPr>
            <p:spPr bwMode="auto">
              <a:xfrm>
                <a:off x="6221413" y="5522913"/>
                <a:ext cx="7938" cy="17463"/>
              </a:xfrm>
              <a:custGeom>
                <a:avLst/>
                <a:gdLst>
                  <a:gd name="T0" fmla="*/ 0 w 2"/>
                  <a:gd name="T1" fmla="*/ 0 h 5"/>
                  <a:gd name="T2" fmla="*/ 0 w 2"/>
                  <a:gd name="T3" fmla="*/ 4 h 5"/>
                  <a:gd name="T4" fmla="*/ 2 w 2"/>
                  <a:gd name="T5" fmla="*/ 3 h 5"/>
                  <a:gd name="T6" fmla="*/ 2 w 2"/>
                  <a:gd name="T7" fmla="*/ 2 h 5"/>
                  <a:gd name="T8" fmla="*/ 0 w 2"/>
                  <a:gd name="T9" fmla="*/ 0 h 5"/>
                </a:gdLst>
                <a:ahLst/>
                <a:cxnLst>
                  <a:cxn ang="0">
                    <a:pos x="T0" y="T1"/>
                  </a:cxn>
                  <a:cxn ang="0">
                    <a:pos x="T2" y="T3"/>
                  </a:cxn>
                  <a:cxn ang="0">
                    <a:pos x="T4" y="T5"/>
                  </a:cxn>
                  <a:cxn ang="0">
                    <a:pos x="T6" y="T7"/>
                  </a:cxn>
                  <a:cxn ang="0">
                    <a:pos x="T8" y="T9"/>
                  </a:cxn>
                </a:cxnLst>
                <a:rect l="0" t="0" r="r" b="b"/>
                <a:pathLst>
                  <a:path w="2" h="5">
                    <a:moveTo>
                      <a:pt x="0" y="0"/>
                    </a:moveTo>
                    <a:cubicBezTo>
                      <a:pt x="0" y="1"/>
                      <a:pt x="0" y="3"/>
                      <a:pt x="0" y="4"/>
                    </a:cubicBezTo>
                    <a:cubicBezTo>
                      <a:pt x="2" y="5"/>
                      <a:pt x="1" y="4"/>
                      <a:pt x="2" y="3"/>
                    </a:cubicBezTo>
                    <a:cubicBezTo>
                      <a:pt x="2" y="2"/>
                      <a:pt x="2" y="2"/>
                      <a:pt x="2" y="2"/>
                    </a:cubicBezTo>
                    <a:cubicBezTo>
                      <a:pt x="1" y="2"/>
                      <a:pt x="1" y="1"/>
                      <a:pt x="0" y="0"/>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95" name="Freeform 376"/>
              <p:cNvSpPr>
                <a:spLocks/>
              </p:cNvSpPr>
              <p:nvPr/>
            </p:nvSpPr>
            <p:spPr bwMode="auto">
              <a:xfrm>
                <a:off x="6253163" y="5583238"/>
                <a:ext cx="14288" cy="14288"/>
              </a:xfrm>
              <a:custGeom>
                <a:avLst/>
                <a:gdLst>
                  <a:gd name="T0" fmla="*/ 2 w 4"/>
                  <a:gd name="T1" fmla="*/ 0 h 4"/>
                  <a:gd name="T2" fmla="*/ 1 w 4"/>
                  <a:gd name="T3" fmla="*/ 4 h 4"/>
                  <a:gd name="T4" fmla="*/ 4 w 4"/>
                  <a:gd name="T5" fmla="*/ 4 h 4"/>
                  <a:gd name="T6" fmla="*/ 3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1"/>
                      <a:pt x="0" y="2"/>
                      <a:pt x="1" y="4"/>
                    </a:cubicBezTo>
                    <a:cubicBezTo>
                      <a:pt x="2" y="4"/>
                      <a:pt x="3" y="4"/>
                      <a:pt x="4" y="4"/>
                    </a:cubicBezTo>
                    <a:cubicBezTo>
                      <a:pt x="4" y="2"/>
                      <a:pt x="4" y="1"/>
                      <a:pt x="3" y="0"/>
                    </a:cubicBezTo>
                    <a:lnTo>
                      <a:pt x="2" y="0"/>
                    </a:ln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96" name="Freeform 377"/>
              <p:cNvSpPr>
                <a:spLocks/>
              </p:cNvSpPr>
              <p:nvPr/>
            </p:nvSpPr>
            <p:spPr bwMode="auto">
              <a:xfrm>
                <a:off x="6483351" y="5003801"/>
                <a:ext cx="14288" cy="14288"/>
              </a:xfrm>
              <a:custGeom>
                <a:avLst/>
                <a:gdLst>
                  <a:gd name="T0" fmla="*/ 4 w 4"/>
                  <a:gd name="T1" fmla="*/ 3 h 4"/>
                  <a:gd name="T2" fmla="*/ 2 w 4"/>
                  <a:gd name="T3" fmla="*/ 4 h 4"/>
                  <a:gd name="T4" fmla="*/ 1 w 4"/>
                  <a:gd name="T5" fmla="*/ 0 h 4"/>
                  <a:gd name="T6" fmla="*/ 3 w 4"/>
                  <a:gd name="T7" fmla="*/ 1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3"/>
                      <a:pt x="2" y="4"/>
                      <a:pt x="2" y="4"/>
                    </a:cubicBezTo>
                    <a:cubicBezTo>
                      <a:pt x="0" y="2"/>
                      <a:pt x="0" y="1"/>
                      <a:pt x="1" y="0"/>
                    </a:cubicBezTo>
                    <a:cubicBezTo>
                      <a:pt x="3" y="1"/>
                      <a:pt x="3" y="1"/>
                      <a:pt x="3" y="1"/>
                    </a:cubicBezTo>
                    <a:cubicBezTo>
                      <a:pt x="3" y="2"/>
                      <a:pt x="4" y="2"/>
                      <a:pt x="4" y="3"/>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97" name="Freeform 378"/>
              <p:cNvSpPr>
                <a:spLocks/>
              </p:cNvSpPr>
              <p:nvPr/>
            </p:nvSpPr>
            <p:spPr bwMode="auto">
              <a:xfrm>
                <a:off x="6221413" y="5522913"/>
                <a:ext cx="7938" cy="17463"/>
              </a:xfrm>
              <a:custGeom>
                <a:avLst/>
                <a:gdLst>
                  <a:gd name="T0" fmla="*/ 2 w 2"/>
                  <a:gd name="T1" fmla="*/ 3 h 5"/>
                  <a:gd name="T2" fmla="*/ 0 w 2"/>
                  <a:gd name="T3" fmla="*/ 4 h 5"/>
                  <a:gd name="T4" fmla="*/ 0 w 2"/>
                  <a:gd name="T5" fmla="*/ 0 h 5"/>
                  <a:gd name="T6" fmla="*/ 2 w 2"/>
                  <a:gd name="T7" fmla="*/ 2 h 5"/>
                  <a:gd name="T8" fmla="*/ 2 w 2"/>
                  <a:gd name="T9" fmla="*/ 3 h 5"/>
                </a:gdLst>
                <a:ahLst/>
                <a:cxnLst>
                  <a:cxn ang="0">
                    <a:pos x="T0" y="T1"/>
                  </a:cxn>
                  <a:cxn ang="0">
                    <a:pos x="T2" y="T3"/>
                  </a:cxn>
                  <a:cxn ang="0">
                    <a:pos x="T4" y="T5"/>
                  </a:cxn>
                  <a:cxn ang="0">
                    <a:pos x="T6" y="T7"/>
                  </a:cxn>
                  <a:cxn ang="0">
                    <a:pos x="T8" y="T9"/>
                  </a:cxn>
                </a:cxnLst>
                <a:rect l="0" t="0" r="r" b="b"/>
                <a:pathLst>
                  <a:path w="2" h="5">
                    <a:moveTo>
                      <a:pt x="2" y="3"/>
                    </a:moveTo>
                    <a:cubicBezTo>
                      <a:pt x="1" y="4"/>
                      <a:pt x="2" y="5"/>
                      <a:pt x="0" y="4"/>
                    </a:cubicBezTo>
                    <a:cubicBezTo>
                      <a:pt x="0" y="3"/>
                      <a:pt x="0" y="1"/>
                      <a:pt x="0" y="0"/>
                    </a:cubicBezTo>
                    <a:cubicBezTo>
                      <a:pt x="1" y="1"/>
                      <a:pt x="1" y="2"/>
                      <a:pt x="2" y="2"/>
                    </a:cubicBezTo>
                    <a:lnTo>
                      <a:pt x="2" y="3"/>
                    </a:ln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98" name="Freeform 379"/>
              <p:cNvSpPr>
                <a:spLocks/>
              </p:cNvSpPr>
              <p:nvPr/>
            </p:nvSpPr>
            <p:spPr bwMode="auto">
              <a:xfrm>
                <a:off x="6253163" y="5583238"/>
                <a:ext cx="14288" cy="14288"/>
              </a:xfrm>
              <a:custGeom>
                <a:avLst/>
                <a:gdLst>
                  <a:gd name="T0" fmla="*/ 4 w 4"/>
                  <a:gd name="T1" fmla="*/ 4 h 4"/>
                  <a:gd name="T2" fmla="*/ 1 w 4"/>
                  <a:gd name="T3" fmla="*/ 4 h 4"/>
                  <a:gd name="T4" fmla="*/ 2 w 4"/>
                  <a:gd name="T5" fmla="*/ 0 h 4"/>
                  <a:gd name="T6" fmla="*/ 3 w 4"/>
                  <a:gd name="T7" fmla="*/ 0 h 4"/>
                  <a:gd name="T8" fmla="*/ 4 w 4"/>
                  <a:gd name="T9" fmla="*/ 4 h 4"/>
                </a:gdLst>
                <a:ahLst/>
                <a:cxnLst>
                  <a:cxn ang="0">
                    <a:pos x="T0" y="T1"/>
                  </a:cxn>
                  <a:cxn ang="0">
                    <a:pos x="T2" y="T3"/>
                  </a:cxn>
                  <a:cxn ang="0">
                    <a:pos x="T4" y="T5"/>
                  </a:cxn>
                  <a:cxn ang="0">
                    <a:pos x="T6" y="T7"/>
                  </a:cxn>
                  <a:cxn ang="0">
                    <a:pos x="T8" y="T9"/>
                  </a:cxn>
                </a:cxnLst>
                <a:rect l="0" t="0" r="r" b="b"/>
                <a:pathLst>
                  <a:path w="4" h="4">
                    <a:moveTo>
                      <a:pt x="4" y="4"/>
                    </a:moveTo>
                    <a:cubicBezTo>
                      <a:pt x="3" y="4"/>
                      <a:pt x="2" y="4"/>
                      <a:pt x="1" y="4"/>
                    </a:cubicBezTo>
                    <a:cubicBezTo>
                      <a:pt x="0" y="2"/>
                      <a:pt x="1" y="1"/>
                      <a:pt x="2" y="0"/>
                    </a:cubicBezTo>
                    <a:cubicBezTo>
                      <a:pt x="3" y="0"/>
                      <a:pt x="3" y="0"/>
                      <a:pt x="3" y="0"/>
                    </a:cubicBezTo>
                    <a:cubicBezTo>
                      <a:pt x="4" y="1"/>
                      <a:pt x="4" y="2"/>
                      <a:pt x="4" y="4"/>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99" name="Freeform 380"/>
              <p:cNvSpPr>
                <a:spLocks/>
              </p:cNvSpPr>
              <p:nvPr/>
            </p:nvSpPr>
            <p:spPr bwMode="auto">
              <a:xfrm>
                <a:off x="6302376" y="5683251"/>
                <a:ext cx="42863" cy="66675"/>
              </a:xfrm>
              <a:custGeom>
                <a:avLst/>
                <a:gdLst>
                  <a:gd name="T0" fmla="*/ 10 w 12"/>
                  <a:gd name="T1" fmla="*/ 14 h 19"/>
                  <a:gd name="T2" fmla="*/ 8 w 12"/>
                  <a:gd name="T3" fmla="*/ 16 h 19"/>
                  <a:gd name="T4" fmla="*/ 5 w 12"/>
                  <a:gd name="T5" fmla="*/ 18 h 19"/>
                  <a:gd name="T6" fmla="*/ 3 w 12"/>
                  <a:gd name="T7" fmla="*/ 7 h 19"/>
                  <a:gd name="T8" fmla="*/ 5 w 12"/>
                  <a:gd name="T9" fmla="*/ 7 h 19"/>
                  <a:gd name="T10" fmla="*/ 5 w 12"/>
                  <a:gd name="T11" fmla="*/ 5 h 19"/>
                  <a:gd name="T12" fmla="*/ 9 w 12"/>
                  <a:gd name="T13" fmla="*/ 0 h 19"/>
                  <a:gd name="T14" fmla="*/ 10 w 12"/>
                  <a:gd name="T15" fmla="*/ 14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9">
                    <a:moveTo>
                      <a:pt x="10" y="14"/>
                    </a:moveTo>
                    <a:cubicBezTo>
                      <a:pt x="10" y="16"/>
                      <a:pt x="11" y="15"/>
                      <a:pt x="8" y="16"/>
                    </a:cubicBezTo>
                    <a:cubicBezTo>
                      <a:pt x="7" y="17"/>
                      <a:pt x="6" y="17"/>
                      <a:pt x="5" y="18"/>
                    </a:cubicBezTo>
                    <a:cubicBezTo>
                      <a:pt x="0" y="19"/>
                      <a:pt x="3" y="9"/>
                      <a:pt x="3" y="7"/>
                    </a:cubicBezTo>
                    <a:cubicBezTo>
                      <a:pt x="4" y="7"/>
                      <a:pt x="5" y="7"/>
                      <a:pt x="5" y="7"/>
                    </a:cubicBezTo>
                    <a:cubicBezTo>
                      <a:pt x="5" y="6"/>
                      <a:pt x="5" y="6"/>
                      <a:pt x="5" y="5"/>
                    </a:cubicBezTo>
                    <a:cubicBezTo>
                      <a:pt x="8" y="5"/>
                      <a:pt x="8" y="2"/>
                      <a:pt x="9" y="0"/>
                    </a:cubicBezTo>
                    <a:cubicBezTo>
                      <a:pt x="12" y="3"/>
                      <a:pt x="11" y="10"/>
                      <a:pt x="10" y="14"/>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200" name="Freeform 381"/>
              <p:cNvSpPr>
                <a:spLocks/>
              </p:cNvSpPr>
              <p:nvPr/>
            </p:nvSpPr>
            <p:spPr bwMode="auto">
              <a:xfrm>
                <a:off x="6345238" y="5565776"/>
                <a:ext cx="17463" cy="25400"/>
              </a:xfrm>
              <a:custGeom>
                <a:avLst/>
                <a:gdLst>
                  <a:gd name="T0" fmla="*/ 5 w 5"/>
                  <a:gd name="T1" fmla="*/ 7 h 7"/>
                  <a:gd name="T2" fmla="*/ 0 w 5"/>
                  <a:gd name="T3" fmla="*/ 7 h 7"/>
                  <a:gd name="T4" fmla="*/ 2 w 5"/>
                  <a:gd name="T5" fmla="*/ 0 h 7"/>
                  <a:gd name="T6" fmla="*/ 5 w 5"/>
                  <a:gd name="T7" fmla="*/ 1 h 7"/>
                  <a:gd name="T8" fmla="*/ 4 w 5"/>
                  <a:gd name="T9" fmla="*/ 3 h 7"/>
                  <a:gd name="T10" fmla="*/ 5 w 5"/>
                  <a:gd name="T11" fmla="*/ 7 h 7"/>
                </a:gdLst>
                <a:ahLst/>
                <a:cxnLst>
                  <a:cxn ang="0">
                    <a:pos x="T0" y="T1"/>
                  </a:cxn>
                  <a:cxn ang="0">
                    <a:pos x="T2" y="T3"/>
                  </a:cxn>
                  <a:cxn ang="0">
                    <a:pos x="T4" y="T5"/>
                  </a:cxn>
                  <a:cxn ang="0">
                    <a:pos x="T6" y="T7"/>
                  </a:cxn>
                  <a:cxn ang="0">
                    <a:pos x="T8" y="T9"/>
                  </a:cxn>
                  <a:cxn ang="0">
                    <a:pos x="T10" y="T11"/>
                  </a:cxn>
                </a:cxnLst>
                <a:rect l="0" t="0" r="r" b="b"/>
                <a:pathLst>
                  <a:path w="5" h="7">
                    <a:moveTo>
                      <a:pt x="5" y="7"/>
                    </a:moveTo>
                    <a:cubicBezTo>
                      <a:pt x="3" y="7"/>
                      <a:pt x="2" y="7"/>
                      <a:pt x="0" y="7"/>
                    </a:cubicBezTo>
                    <a:cubicBezTo>
                      <a:pt x="0" y="4"/>
                      <a:pt x="2" y="3"/>
                      <a:pt x="2" y="0"/>
                    </a:cubicBezTo>
                    <a:cubicBezTo>
                      <a:pt x="3" y="1"/>
                      <a:pt x="4" y="1"/>
                      <a:pt x="5" y="1"/>
                    </a:cubicBezTo>
                    <a:cubicBezTo>
                      <a:pt x="5" y="2"/>
                      <a:pt x="5" y="3"/>
                      <a:pt x="4" y="3"/>
                    </a:cubicBezTo>
                    <a:cubicBezTo>
                      <a:pt x="5" y="5"/>
                      <a:pt x="5" y="6"/>
                      <a:pt x="5" y="7"/>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201" name="Freeform 382"/>
              <p:cNvSpPr>
                <a:spLocks/>
              </p:cNvSpPr>
              <p:nvPr/>
            </p:nvSpPr>
            <p:spPr bwMode="auto">
              <a:xfrm>
                <a:off x="6362701" y="5986463"/>
                <a:ext cx="17463" cy="31750"/>
              </a:xfrm>
              <a:custGeom>
                <a:avLst/>
                <a:gdLst>
                  <a:gd name="T0" fmla="*/ 4 w 5"/>
                  <a:gd name="T1" fmla="*/ 4 h 9"/>
                  <a:gd name="T2" fmla="*/ 2 w 5"/>
                  <a:gd name="T3" fmla="*/ 7 h 9"/>
                  <a:gd name="T4" fmla="*/ 0 w 5"/>
                  <a:gd name="T5" fmla="*/ 8 h 9"/>
                  <a:gd name="T6" fmla="*/ 0 w 5"/>
                  <a:gd name="T7" fmla="*/ 0 h 9"/>
                  <a:gd name="T8" fmla="*/ 2 w 5"/>
                  <a:gd name="T9" fmla="*/ 0 h 9"/>
                  <a:gd name="T10" fmla="*/ 3 w 5"/>
                  <a:gd name="T11" fmla="*/ 1 h 9"/>
                  <a:gd name="T12" fmla="*/ 3 w 5"/>
                  <a:gd name="T13" fmla="*/ 2 h 9"/>
                  <a:gd name="T14" fmla="*/ 5 w 5"/>
                  <a:gd name="T15" fmla="*/ 3 h 9"/>
                  <a:gd name="T16" fmla="*/ 4 w 5"/>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9">
                    <a:moveTo>
                      <a:pt x="4" y="4"/>
                    </a:moveTo>
                    <a:cubicBezTo>
                      <a:pt x="4" y="4"/>
                      <a:pt x="3" y="6"/>
                      <a:pt x="2" y="7"/>
                    </a:cubicBezTo>
                    <a:cubicBezTo>
                      <a:pt x="2" y="7"/>
                      <a:pt x="0" y="9"/>
                      <a:pt x="0" y="8"/>
                    </a:cubicBezTo>
                    <a:cubicBezTo>
                      <a:pt x="0" y="6"/>
                      <a:pt x="0" y="3"/>
                      <a:pt x="0" y="0"/>
                    </a:cubicBezTo>
                    <a:cubicBezTo>
                      <a:pt x="1" y="0"/>
                      <a:pt x="2" y="0"/>
                      <a:pt x="2" y="0"/>
                    </a:cubicBezTo>
                    <a:cubicBezTo>
                      <a:pt x="3" y="1"/>
                      <a:pt x="3" y="1"/>
                      <a:pt x="3" y="1"/>
                    </a:cubicBezTo>
                    <a:cubicBezTo>
                      <a:pt x="3" y="1"/>
                      <a:pt x="3" y="2"/>
                      <a:pt x="3" y="2"/>
                    </a:cubicBezTo>
                    <a:cubicBezTo>
                      <a:pt x="4" y="3"/>
                      <a:pt x="4" y="3"/>
                      <a:pt x="5" y="3"/>
                    </a:cubicBezTo>
                    <a:cubicBezTo>
                      <a:pt x="4" y="3"/>
                      <a:pt x="4" y="3"/>
                      <a:pt x="4" y="4"/>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202" name="Freeform 383"/>
              <p:cNvSpPr>
                <a:spLocks/>
              </p:cNvSpPr>
              <p:nvPr/>
            </p:nvSpPr>
            <p:spPr bwMode="auto">
              <a:xfrm>
                <a:off x="6330951" y="5448301"/>
                <a:ext cx="49213" cy="117475"/>
              </a:xfrm>
              <a:custGeom>
                <a:avLst/>
                <a:gdLst>
                  <a:gd name="T0" fmla="*/ 14 w 14"/>
                  <a:gd name="T1" fmla="*/ 31 h 33"/>
                  <a:gd name="T2" fmla="*/ 10 w 14"/>
                  <a:gd name="T3" fmla="*/ 32 h 33"/>
                  <a:gd name="T4" fmla="*/ 7 w 14"/>
                  <a:gd name="T5" fmla="*/ 31 h 33"/>
                  <a:gd name="T6" fmla="*/ 7 w 14"/>
                  <a:gd name="T7" fmla="*/ 28 h 33"/>
                  <a:gd name="T8" fmla="*/ 4 w 14"/>
                  <a:gd name="T9" fmla="*/ 25 h 33"/>
                  <a:gd name="T10" fmla="*/ 3 w 14"/>
                  <a:gd name="T11" fmla="*/ 22 h 33"/>
                  <a:gd name="T12" fmla="*/ 3 w 14"/>
                  <a:gd name="T13" fmla="*/ 18 h 33"/>
                  <a:gd name="T14" fmla="*/ 1 w 14"/>
                  <a:gd name="T15" fmla="*/ 17 h 33"/>
                  <a:gd name="T16" fmla="*/ 1 w 14"/>
                  <a:gd name="T17" fmla="*/ 15 h 33"/>
                  <a:gd name="T18" fmla="*/ 3 w 14"/>
                  <a:gd name="T19" fmla="*/ 12 h 33"/>
                  <a:gd name="T20" fmla="*/ 4 w 14"/>
                  <a:gd name="T21" fmla="*/ 6 h 33"/>
                  <a:gd name="T22" fmla="*/ 6 w 14"/>
                  <a:gd name="T23" fmla="*/ 0 h 33"/>
                  <a:gd name="T24" fmla="*/ 8 w 14"/>
                  <a:gd name="T25" fmla="*/ 3 h 33"/>
                  <a:gd name="T26" fmla="*/ 8 w 14"/>
                  <a:gd name="T27" fmla="*/ 2 h 33"/>
                  <a:gd name="T28" fmla="*/ 8 w 14"/>
                  <a:gd name="T29" fmla="*/ 4 h 33"/>
                  <a:gd name="T30" fmla="*/ 8 w 14"/>
                  <a:gd name="T31" fmla="*/ 3 h 33"/>
                  <a:gd name="T32" fmla="*/ 9 w 14"/>
                  <a:gd name="T33" fmla="*/ 10 h 33"/>
                  <a:gd name="T34" fmla="*/ 9 w 14"/>
                  <a:gd name="T35" fmla="*/ 19 h 33"/>
                  <a:gd name="T36" fmla="*/ 14 w 14"/>
                  <a:gd name="T37" fmla="*/ 15 h 33"/>
                  <a:gd name="T38" fmla="*/ 13 w 14"/>
                  <a:gd name="T39" fmla="*/ 23 h 33"/>
                  <a:gd name="T40" fmla="*/ 14 w 14"/>
                  <a:gd name="T4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31"/>
                    </a:moveTo>
                    <a:cubicBezTo>
                      <a:pt x="12" y="31"/>
                      <a:pt x="11" y="32"/>
                      <a:pt x="10" y="32"/>
                    </a:cubicBezTo>
                    <a:cubicBezTo>
                      <a:pt x="7" y="33"/>
                      <a:pt x="8" y="33"/>
                      <a:pt x="7" y="31"/>
                    </a:cubicBezTo>
                    <a:cubicBezTo>
                      <a:pt x="6" y="30"/>
                      <a:pt x="7" y="29"/>
                      <a:pt x="7" y="28"/>
                    </a:cubicBezTo>
                    <a:cubicBezTo>
                      <a:pt x="6" y="27"/>
                      <a:pt x="4" y="27"/>
                      <a:pt x="4" y="25"/>
                    </a:cubicBezTo>
                    <a:cubicBezTo>
                      <a:pt x="3" y="24"/>
                      <a:pt x="4" y="22"/>
                      <a:pt x="3" y="22"/>
                    </a:cubicBezTo>
                    <a:cubicBezTo>
                      <a:pt x="2" y="20"/>
                      <a:pt x="3" y="19"/>
                      <a:pt x="3" y="18"/>
                    </a:cubicBezTo>
                    <a:cubicBezTo>
                      <a:pt x="2" y="18"/>
                      <a:pt x="1" y="17"/>
                      <a:pt x="1" y="17"/>
                    </a:cubicBezTo>
                    <a:cubicBezTo>
                      <a:pt x="0" y="16"/>
                      <a:pt x="1" y="15"/>
                      <a:pt x="1" y="15"/>
                    </a:cubicBezTo>
                    <a:cubicBezTo>
                      <a:pt x="3" y="17"/>
                      <a:pt x="5" y="14"/>
                      <a:pt x="3" y="12"/>
                    </a:cubicBezTo>
                    <a:cubicBezTo>
                      <a:pt x="5" y="10"/>
                      <a:pt x="4" y="8"/>
                      <a:pt x="4" y="6"/>
                    </a:cubicBezTo>
                    <a:cubicBezTo>
                      <a:pt x="4" y="4"/>
                      <a:pt x="6" y="2"/>
                      <a:pt x="6" y="0"/>
                    </a:cubicBezTo>
                    <a:cubicBezTo>
                      <a:pt x="7" y="0"/>
                      <a:pt x="8" y="1"/>
                      <a:pt x="8" y="3"/>
                    </a:cubicBezTo>
                    <a:cubicBezTo>
                      <a:pt x="8" y="2"/>
                      <a:pt x="8" y="2"/>
                      <a:pt x="8" y="2"/>
                    </a:cubicBezTo>
                    <a:cubicBezTo>
                      <a:pt x="8" y="4"/>
                      <a:pt x="8" y="4"/>
                      <a:pt x="8" y="4"/>
                    </a:cubicBezTo>
                    <a:cubicBezTo>
                      <a:pt x="8" y="4"/>
                      <a:pt x="8" y="3"/>
                      <a:pt x="8" y="3"/>
                    </a:cubicBezTo>
                    <a:cubicBezTo>
                      <a:pt x="9" y="5"/>
                      <a:pt x="10" y="7"/>
                      <a:pt x="9" y="10"/>
                    </a:cubicBezTo>
                    <a:cubicBezTo>
                      <a:pt x="9" y="13"/>
                      <a:pt x="7" y="17"/>
                      <a:pt x="9" y="19"/>
                    </a:cubicBezTo>
                    <a:cubicBezTo>
                      <a:pt x="11" y="17"/>
                      <a:pt x="11" y="15"/>
                      <a:pt x="14" y="15"/>
                    </a:cubicBezTo>
                    <a:cubicBezTo>
                      <a:pt x="14" y="18"/>
                      <a:pt x="13" y="20"/>
                      <a:pt x="13" y="23"/>
                    </a:cubicBezTo>
                    <a:cubicBezTo>
                      <a:pt x="13" y="26"/>
                      <a:pt x="14" y="29"/>
                      <a:pt x="14" y="31"/>
                    </a:cubicBezTo>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203" name="Freeform 384"/>
              <p:cNvSpPr>
                <a:spLocks/>
              </p:cNvSpPr>
              <p:nvPr/>
            </p:nvSpPr>
            <p:spPr bwMode="auto">
              <a:xfrm>
                <a:off x="6370638" y="5427663"/>
                <a:ext cx="14288" cy="25400"/>
              </a:xfrm>
              <a:custGeom>
                <a:avLst/>
                <a:gdLst>
                  <a:gd name="T0" fmla="*/ 3 w 4"/>
                  <a:gd name="T1" fmla="*/ 7 h 7"/>
                  <a:gd name="T2" fmla="*/ 0 w 4"/>
                  <a:gd name="T3" fmla="*/ 7 h 7"/>
                  <a:gd name="T4" fmla="*/ 0 w 4"/>
                  <a:gd name="T5" fmla="*/ 3 h 7"/>
                  <a:gd name="T6" fmla="*/ 3 w 4"/>
                  <a:gd name="T7" fmla="*/ 1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0" y="7"/>
                      <a:pt x="0" y="7"/>
                      <a:pt x="0" y="7"/>
                    </a:cubicBezTo>
                    <a:cubicBezTo>
                      <a:pt x="0" y="6"/>
                      <a:pt x="0" y="4"/>
                      <a:pt x="0" y="3"/>
                    </a:cubicBezTo>
                    <a:cubicBezTo>
                      <a:pt x="1" y="1"/>
                      <a:pt x="2" y="0"/>
                      <a:pt x="3" y="1"/>
                    </a:cubicBezTo>
                    <a:cubicBezTo>
                      <a:pt x="4" y="2"/>
                      <a:pt x="4" y="7"/>
                      <a:pt x="3" y="7"/>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204" name="Freeform 385"/>
              <p:cNvSpPr>
                <a:spLocks/>
              </p:cNvSpPr>
              <p:nvPr/>
            </p:nvSpPr>
            <p:spPr bwMode="auto">
              <a:xfrm>
                <a:off x="6348413" y="5332413"/>
                <a:ext cx="46038" cy="88900"/>
              </a:xfrm>
              <a:custGeom>
                <a:avLst/>
                <a:gdLst>
                  <a:gd name="T0" fmla="*/ 12 w 13"/>
                  <a:gd name="T1" fmla="*/ 17 h 25"/>
                  <a:gd name="T2" fmla="*/ 9 w 13"/>
                  <a:gd name="T3" fmla="*/ 17 h 25"/>
                  <a:gd name="T4" fmla="*/ 10 w 13"/>
                  <a:gd name="T5" fmla="*/ 25 h 25"/>
                  <a:gd name="T6" fmla="*/ 2 w 13"/>
                  <a:gd name="T7" fmla="*/ 25 h 25"/>
                  <a:gd name="T8" fmla="*/ 1 w 13"/>
                  <a:gd name="T9" fmla="*/ 16 h 25"/>
                  <a:gd name="T10" fmla="*/ 3 w 13"/>
                  <a:gd name="T11" fmla="*/ 10 h 25"/>
                  <a:gd name="T12" fmla="*/ 3 w 13"/>
                  <a:gd name="T13" fmla="*/ 2 h 25"/>
                  <a:gd name="T14" fmla="*/ 11 w 13"/>
                  <a:gd name="T15" fmla="*/ 1 h 25"/>
                  <a:gd name="T16" fmla="*/ 12 w 13"/>
                  <a:gd name="T17" fmla="*/ 10 h 25"/>
                  <a:gd name="T18" fmla="*/ 13 w 13"/>
                  <a:gd name="T19" fmla="*/ 14 h 25"/>
                  <a:gd name="T20" fmla="*/ 12 w 13"/>
                  <a:gd name="T21"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25">
                    <a:moveTo>
                      <a:pt x="12" y="17"/>
                    </a:moveTo>
                    <a:cubicBezTo>
                      <a:pt x="11" y="17"/>
                      <a:pt x="10" y="17"/>
                      <a:pt x="9" y="17"/>
                    </a:cubicBezTo>
                    <a:cubicBezTo>
                      <a:pt x="9" y="20"/>
                      <a:pt x="10" y="22"/>
                      <a:pt x="10" y="25"/>
                    </a:cubicBezTo>
                    <a:cubicBezTo>
                      <a:pt x="7" y="25"/>
                      <a:pt x="4" y="25"/>
                      <a:pt x="2" y="25"/>
                    </a:cubicBezTo>
                    <a:cubicBezTo>
                      <a:pt x="2" y="22"/>
                      <a:pt x="0" y="19"/>
                      <a:pt x="1" y="16"/>
                    </a:cubicBezTo>
                    <a:cubicBezTo>
                      <a:pt x="1" y="14"/>
                      <a:pt x="3" y="12"/>
                      <a:pt x="3" y="10"/>
                    </a:cubicBezTo>
                    <a:cubicBezTo>
                      <a:pt x="4" y="8"/>
                      <a:pt x="2" y="3"/>
                      <a:pt x="3" y="2"/>
                    </a:cubicBezTo>
                    <a:cubicBezTo>
                      <a:pt x="4" y="1"/>
                      <a:pt x="10" y="0"/>
                      <a:pt x="11" y="1"/>
                    </a:cubicBezTo>
                    <a:cubicBezTo>
                      <a:pt x="13" y="3"/>
                      <a:pt x="11" y="8"/>
                      <a:pt x="12" y="10"/>
                    </a:cubicBezTo>
                    <a:cubicBezTo>
                      <a:pt x="12" y="12"/>
                      <a:pt x="13" y="12"/>
                      <a:pt x="13" y="14"/>
                    </a:cubicBezTo>
                    <a:cubicBezTo>
                      <a:pt x="13" y="15"/>
                      <a:pt x="12" y="16"/>
                      <a:pt x="12" y="17"/>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205" name="Freeform 386"/>
              <p:cNvSpPr>
                <a:spLocks/>
              </p:cNvSpPr>
              <p:nvPr/>
            </p:nvSpPr>
            <p:spPr bwMode="auto">
              <a:xfrm>
                <a:off x="6359526" y="5191126"/>
                <a:ext cx="42863" cy="138113"/>
              </a:xfrm>
              <a:custGeom>
                <a:avLst/>
                <a:gdLst>
                  <a:gd name="T0" fmla="*/ 11 w 12"/>
                  <a:gd name="T1" fmla="*/ 19 h 39"/>
                  <a:gd name="T2" fmla="*/ 11 w 12"/>
                  <a:gd name="T3" fmla="*/ 23 h 39"/>
                  <a:gd name="T4" fmla="*/ 11 w 12"/>
                  <a:gd name="T5" fmla="*/ 31 h 39"/>
                  <a:gd name="T6" fmla="*/ 8 w 12"/>
                  <a:gd name="T7" fmla="*/ 31 h 39"/>
                  <a:gd name="T8" fmla="*/ 8 w 12"/>
                  <a:gd name="T9" fmla="*/ 28 h 39"/>
                  <a:gd name="T10" fmla="*/ 5 w 12"/>
                  <a:gd name="T11" fmla="*/ 28 h 39"/>
                  <a:gd name="T12" fmla="*/ 6 w 12"/>
                  <a:gd name="T13" fmla="*/ 37 h 39"/>
                  <a:gd name="T14" fmla="*/ 1 w 12"/>
                  <a:gd name="T15" fmla="*/ 37 h 39"/>
                  <a:gd name="T16" fmla="*/ 1 w 12"/>
                  <a:gd name="T17" fmla="*/ 33 h 39"/>
                  <a:gd name="T18" fmla="*/ 3 w 12"/>
                  <a:gd name="T19" fmla="*/ 23 h 39"/>
                  <a:gd name="T20" fmla="*/ 3 w 12"/>
                  <a:gd name="T21" fmla="*/ 13 h 39"/>
                  <a:gd name="T22" fmla="*/ 6 w 12"/>
                  <a:gd name="T23" fmla="*/ 7 h 39"/>
                  <a:gd name="T24" fmla="*/ 11 w 12"/>
                  <a:gd name="T25" fmla="*/ 12 h 39"/>
                  <a:gd name="T26" fmla="*/ 11 w 12"/>
                  <a:gd name="T27" fmla="*/ 14 h 39"/>
                  <a:gd name="T28" fmla="*/ 8 w 12"/>
                  <a:gd name="T29" fmla="*/ 16 h 39"/>
                  <a:gd name="T30" fmla="*/ 11 w 12"/>
                  <a:gd name="T31" fmla="*/ 1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39">
                    <a:moveTo>
                      <a:pt x="11" y="19"/>
                    </a:moveTo>
                    <a:cubicBezTo>
                      <a:pt x="11" y="19"/>
                      <a:pt x="11" y="22"/>
                      <a:pt x="11" y="23"/>
                    </a:cubicBezTo>
                    <a:cubicBezTo>
                      <a:pt x="11" y="26"/>
                      <a:pt x="11" y="28"/>
                      <a:pt x="11" y="31"/>
                    </a:cubicBezTo>
                    <a:cubicBezTo>
                      <a:pt x="10" y="31"/>
                      <a:pt x="9" y="31"/>
                      <a:pt x="8" y="31"/>
                    </a:cubicBezTo>
                    <a:cubicBezTo>
                      <a:pt x="8" y="30"/>
                      <a:pt x="8" y="29"/>
                      <a:pt x="8" y="28"/>
                    </a:cubicBezTo>
                    <a:cubicBezTo>
                      <a:pt x="7" y="28"/>
                      <a:pt x="6" y="28"/>
                      <a:pt x="5" y="28"/>
                    </a:cubicBezTo>
                    <a:cubicBezTo>
                      <a:pt x="4" y="30"/>
                      <a:pt x="8" y="35"/>
                      <a:pt x="6" y="37"/>
                    </a:cubicBezTo>
                    <a:cubicBezTo>
                      <a:pt x="5" y="38"/>
                      <a:pt x="2" y="39"/>
                      <a:pt x="1" y="37"/>
                    </a:cubicBezTo>
                    <a:cubicBezTo>
                      <a:pt x="0" y="36"/>
                      <a:pt x="1" y="34"/>
                      <a:pt x="1" y="33"/>
                    </a:cubicBezTo>
                    <a:cubicBezTo>
                      <a:pt x="2" y="30"/>
                      <a:pt x="3" y="27"/>
                      <a:pt x="3" y="23"/>
                    </a:cubicBezTo>
                    <a:cubicBezTo>
                      <a:pt x="3" y="20"/>
                      <a:pt x="2" y="16"/>
                      <a:pt x="3" y="13"/>
                    </a:cubicBezTo>
                    <a:cubicBezTo>
                      <a:pt x="6" y="13"/>
                      <a:pt x="5" y="9"/>
                      <a:pt x="6" y="7"/>
                    </a:cubicBezTo>
                    <a:cubicBezTo>
                      <a:pt x="9" y="0"/>
                      <a:pt x="11" y="9"/>
                      <a:pt x="11" y="12"/>
                    </a:cubicBezTo>
                    <a:cubicBezTo>
                      <a:pt x="11" y="14"/>
                      <a:pt x="12" y="12"/>
                      <a:pt x="11" y="14"/>
                    </a:cubicBezTo>
                    <a:cubicBezTo>
                      <a:pt x="10" y="15"/>
                      <a:pt x="8" y="15"/>
                      <a:pt x="8" y="16"/>
                    </a:cubicBezTo>
                    <a:cubicBezTo>
                      <a:pt x="8" y="18"/>
                      <a:pt x="10" y="18"/>
                      <a:pt x="11" y="19"/>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206" name="Freeform 387"/>
              <p:cNvSpPr>
                <a:spLocks/>
              </p:cNvSpPr>
              <p:nvPr/>
            </p:nvSpPr>
            <p:spPr bwMode="auto">
              <a:xfrm>
                <a:off x="6419851" y="6118226"/>
                <a:ext cx="14288" cy="12700"/>
              </a:xfrm>
              <a:custGeom>
                <a:avLst/>
                <a:gdLst>
                  <a:gd name="T0" fmla="*/ 3 w 4"/>
                  <a:gd name="T1" fmla="*/ 4 h 4"/>
                  <a:gd name="T2" fmla="*/ 1 w 4"/>
                  <a:gd name="T3" fmla="*/ 2 h 4"/>
                  <a:gd name="T4" fmla="*/ 2 w 4"/>
                  <a:gd name="T5" fmla="*/ 2 h 4"/>
                  <a:gd name="T6" fmla="*/ 3 w 4"/>
                  <a:gd name="T7" fmla="*/ 4 h 4"/>
                </a:gdLst>
                <a:ahLst/>
                <a:cxnLst>
                  <a:cxn ang="0">
                    <a:pos x="T0" y="T1"/>
                  </a:cxn>
                  <a:cxn ang="0">
                    <a:pos x="T2" y="T3"/>
                  </a:cxn>
                  <a:cxn ang="0">
                    <a:pos x="T4" y="T5"/>
                  </a:cxn>
                  <a:cxn ang="0">
                    <a:pos x="T6" y="T7"/>
                  </a:cxn>
                </a:cxnLst>
                <a:rect l="0" t="0" r="r" b="b"/>
                <a:pathLst>
                  <a:path w="4" h="4">
                    <a:moveTo>
                      <a:pt x="3" y="4"/>
                    </a:moveTo>
                    <a:cubicBezTo>
                      <a:pt x="2" y="4"/>
                      <a:pt x="1" y="3"/>
                      <a:pt x="1" y="2"/>
                    </a:cubicBezTo>
                    <a:cubicBezTo>
                      <a:pt x="0" y="1"/>
                      <a:pt x="1" y="0"/>
                      <a:pt x="2" y="2"/>
                    </a:cubicBezTo>
                    <a:cubicBezTo>
                      <a:pt x="2" y="3"/>
                      <a:pt x="4" y="2"/>
                      <a:pt x="3" y="4"/>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207" name="Freeform 388"/>
              <p:cNvSpPr>
                <a:spLocks/>
              </p:cNvSpPr>
              <p:nvPr/>
            </p:nvSpPr>
            <p:spPr bwMode="auto">
              <a:xfrm>
                <a:off x="6434138" y="6138863"/>
                <a:ext cx="20638" cy="31750"/>
              </a:xfrm>
              <a:custGeom>
                <a:avLst/>
                <a:gdLst>
                  <a:gd name="T0" fmla="*/ 5 w 6"/>
                  <a:gd name="T1" fmla="*/ 9 h 9"/>
                  <a:gd name="T2" fmla="*/ 2 w 6"/>
                  <a:gd name="T3" fmla="*/ 9 h 9"/>
                  <a:gd name="T4" fmla="*/ 0 w 6"/>
                  <a:gd name="T5" fmla="*/ 0 h 9"/>
                  <a:gd name="T6" fmla="*/ 3 w 6"/>
                  <a:gd name="T7" fmla="*/ 0 h 9"/>
                  <a:gd name="T8" fmla="*/ 3 w 6"/>
                  <a:gd name="T9" fmla="*/ 3 h 9"/>
                  <a:gd name="T10" fmla="*/ 4 w 6"/>
                  <a:gd name="T11" fmla="*/ 5 h 9"/>
                  <a:gd name="T12" fmla="*/ 5 w 6"/>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5" y="9"/>
                    </a:moveTo>
                    <a:cubicBezTo>
                      <a:pt x="4" y="9"/>
                      <a:pt x="3" y="9"/>
                      <a:pt x="2" y="9"/>
                    </a:cubicBezTo>
                    <a:cubicBezTo>
                      <a:pt x="2" y="6"/>
                      <a:pt x="0" y="4"/>
                      <a:pt x="0" y="0"/>
                    </a:cubicBezTo>
                    <a:cubicBezTo>
                      <a:pt x="1" y="0"/>
                      <a:pt x="2" y="0"/>
                      <a:pt x="3" y="0"/>
                    </a:cubicBezTo>
                    <a:cubicBezTo>
                      <a:pt x="3" y="3"/>
                      <a:pt x="3" y="3"/>
                      <a:pt x="3" y="3"/>
                    </a:cubicBezTo>
                    <a:cubicBezTo>
                      <a:pt x="3" y="4"/>
                      <a:pt x="3" y="4"/>
                      <a:pt x="4" y="5"/>
                    </a:cubicBezTo>
                    <a:cubicBezTo>
                      <a:pt x="5" y="6"/>
                      <a:pt x="6" y="7"/>
                      <a:pt x="5" y="9"/>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208" name="Freeform 389"/>
              <p:cNvSpPr>
                <a:spLocks/>
              </p:cNvSpPr>
              <p:nvPr/>
            </p:nvSpPr>
            <p:spPr bwMode="auto">
              <a:xfrm>
                <a:off x="6457951" y="6153151"/>
                <a:ext cx="7938" cy="9525"/>
              </a:xfrm>
              <a:custGeom>
                <a:avLst/>
                <a:gdLst>
                  <a:gd name="T0" fmla="*/ 2 w 2"/>
                  <a:gd name="T1" fmla="*/ 3 h 3"/>
                  <a:gd name="T2" fmla="*/ 1 w 2"/>
                  <a:gd name="T3" fmla="*/ 0 h 3"/>
                  <a:gd name="T4" fmla="*/ 2 w 2"/>
                  <a:gd name="T5" fmla="*/ 1 h 3"/>
                  <a:gd name="T6" fmla="*/ 2 w 2"/>
                  <a:gd name="T7" fmla="*/ 3 h 3"/>
                </a:gdLst>
                <a:ahLst/>
                <a:cxnLst>
                  <a:cxn ang="0">
                    <a:pos x="T0" y="T1"/>
                  </a:cxn>
                  <a:cxn ang="0">
                    <a:pos x="T2" y="T3"/>
                  </a:cxn>
                  <a:cxn ang="0">
                    <a:pos x="T4" y="T5"/>
                  </a:cxn>
                  <a:cxn ang="0">
                    <a:pos x="T6" y="T7"/>
                  </a:cxn>
                </a:cxnLst>
                <a:rect l="0" t="0" r="r" b="b"/>
                <a:pathLst>
                  <a:path w="2" h="3">
                    <a:moveTo>
                      <a:pt x="2" y="3"/>
                    </a:moveTo>
                    <a:cubicBezTo>
                      <a:pt x="0" y="3"/>
                      <a:pt x="0" y="0"/>
                      <a:pt x="1" y="0"/>
                    </a:cubicBezTo>
                    <a:cubicBezTo>
                      <a:pt x="1" y="1"/>
                      <a:pt x="2" y="1"/>
                      <a:pt x="2" y="1"/>
                    </a:cubicBezTo>
                    <a:lnTo>
                      <a:pt x="2" y="3"/>
                    </a:ln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209" name="Freeform 390"/>
              <p:cNvSpPr>
                <a:spLocks/>
              </p:cNvSpPr>
              <p:nvPr/>
            </p:nvSpPr>
            <p:spPr bwMode="auto">
              <a:xfrm>
                <a:off x="6483351" y="6205538"/>
                <a:ext cx="25400" cy="11113"/>
              </a:xfrm>
              <a:custGeom>
                <a:avLst/>
                <a:gdLst>
                  <a:gd name="T0" fmla="*/ 0 w 7"/>
                  <a:gd name="T1" fmla="*/ 2 h 3"/>
                  <a:gd name="T2" fmla="*/ 1 w 7"/>
                  <a:gd name="T3" fmla="*/ 0 h 3"/>
                  <a:gd name="T4" fmla="*/ 5 w 7"/>
                  <a:gd name="T5" fmla="*/ 2 h 3"/>
                  <a:gd name="T6" fmla="*/ 7 w 7"/>
                  <a:gd name="T7" fmla="*/ 3 h 3"/>
                  <a:gd name="T8" fmla="*/ 0 w 7"/>
                  <a:gd name="T9" fmla="*/ 2 h 3"/>
                </a:gdLst>
                <a:ahLst/>
                <a:cxnLst>
                  <a:cxn ang="0">
                    <a:pos x="T0" y="T1"/>
                  </a:cxn>
                  <a:cxn ang="0">
                    <a:pos x="T2" y="T3"/>
                  </a:cxn>
                  <a:cxn ang="0">
                    <a:pos x="T4" y="T5"/>
                  </a:cxn>
                  <a:cxn ang="0">
                    <a:pos x="T6" y="T7"/>
                  </a:cxn>
                  <a:cxn ang="0">
                    <a:pos x="T8" y="T9"/>
                  </a:cxn>
                </a:cxnLst>
                <a:rect l="0" t="0" r="r" b="b"/>
                <a:pathLst>
                  <a:path w="7" h="3">
                    <a:moveTo>
                      <a:pt x="0" y="2"/>
                    </a:moveTo>
                    <a:cubicBezTo>
                      <a:pt x="0" y="1"/>
                      <a:pt x="0" y="1"/>
                      <a:pt x="1" y="0"/>
                    </a:cubicBezTo>
                    <a:cubicBezTo>
                      <a:pt x="2" y="0"/>
                      <a:pt x="4" y="1"/>
                      <a:pt x="5" y="2"/>
                    </a:cubicBezTo>
                    <a:cubicBezTo>
                      <a:pt x="6" y="2"/>
                      <a:pt x="7" y="2"/>
                      <a:pt x="7" y="3"/>
                    </a:cubicBezTo>
                    <a:cubicBezTo>
                      <a:pt x="7" y="3"/>
                      <a:pt x="0" y="2"/>
                      <a:pt x="0" y="2"/>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210" name="Freeform 391"/>
              <p:cNvSpPr>
                <a:spLocks/>
              </p:cNvSpPr>
              <p:nvPr/>
            </p:nvSpPr>
            <p:spPr bwMode="auto">
              <a:xfrm>
                <a:off x="6503988" y="6162676"/>
                <a:ext cx="22225" cy="46038"/>
              </a:xfrm>
              <a:custGeom>
                <a:avLst/>
                <a:gdLst>
                  <a:gd name="T0" fmla="*/ 5 w 6"/>
                  <a:gd name="T1" fmla="*/ 13 h 13"/>
                  <a:gd name="T2" fmla="*/ 3 w 6"/>
                  <a:gd name="T3" fmla="*/ 11 h 13"/>
                  <a:gd name="T4" fmla="*/ 3 w 6"/>
                  <a:gd name="T5" fmla="*/ 6 h 13"/>
                  <a:gd name="T6" fmla="*/ 3 w 6"/>
                  <a:gd name="T7" fmla="*/ 0 h 13"/>
                  <a:gd name="T8" fmla="*/ 4 w 6"/>
                  <a:gd name="T9" fmla="*/ 4 h 13"/>
                  <a:gd name="T10" fmla="*/ 5 w 6"/>
                  <a:gd name="T11" fmla="*/ 4 h 13"/>
                  <a:gd name="T12" fmla="*/ 6 w 6"/>
                  <a:gd name="T13" fmla="*/ 6 h 13"/>
                  <a:gd name="T14" fmla="*/ 5 w 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3">
                    <a:moveTo>
                      <a:pt x="5" y="13"/>
                    </a:moveTo>
                    <a:cubicBezTo>
                      <a:pt x="5" y="12"/>
                      <a:pt x="4" y="11"/>
                      <a:pt x="3" y="11"/>
                    </a:cubicBezTo>
                    <a:cubicBezTo>
                      <a:pt x="3" y="9"/>
                      <a:pt x="3" y="8"/>
                      <a:pt x="3" y="6"/>
                    </a:cubicBezTo>
                    <a:cubicBezTo>
                      <a:pt x="0" y="5"/>
                      <a:pt x="1" y="1"/>
                      <a:pt x="3" y="0"/>
                    </a:cubicBezTo>
                    <a:cubicBezTo>
                      <a:pt x="4" y="1"/>
                      <a:pt x="4" y="2"/>
                      <a:pt x="4" y="4"/>
                    </a:cubicBezTo>
                    <a:cubicBezTo>
                      <a:pt x="5" y="4"/>
                      <a:pt x="5" y="4"/>
                      <a:pt x="5" y="4"/>
                    </a:cubicBezTo>
                    <a:cubicBezTo>
                      <a:pt x="5" y="5"/>
                      <a:pt x="6" y="5"/>
                      <a:pt x="6" y="6"/>
                    </a:cubicBezTo>
                    <a:cubicBezTo>
                      <a:pt x="6" y="9"/>
                      <a:pt x="5" y="11"/>
                      <a:pt x="5" y="13"/>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211" name="Freeform 392"/>
              <p:cNvSpPr>
                <a:spLocks/>
              </p:cNvSpPr>
              <p:nvPr/>
            </p:nvSpPr>
            <p:spPr bwMode="auto">
              <a:xfrm>
                <a:off x="6529388" y="6103938"/>
                <a:ext cx="6350" cy="23813"/>
              </a:xfrm>
              <a:custGeom>
                <a:avLst/>
                <a:gdLst>
                  <a:gd name="T0" fmla="*/ 2 w 2"/>
                  <a:gd name="T1" fmla="*/ 6 h 7"/>
                  <a:gd name="T2" fmla="*/ 0 w 2"/>
                  <a:gd name="T3" fmla="*/ 5 h 7"/>
                  <a:gd name="T4" fmla="*/ 2 w 2"/>
                  <a:gd name="T5" fmla="*/ 2 h 7"/>
                  <a:gd name="T6" fmla="*/ 2 w 2"/>
                  <a:gd name="T7" fmla="*/ 4 h 7"/>
                  <a:gd name="T8" fmla="*/ 2 w 2"/>
                  <a:gd name="T9" fmla="*/ 6 h 7"/>
                </a:gdLst>
                <a:ahLst/>
                <a:cxnLst>
                  <a:cxn ang="0">
                    <a:pos x="T0" y="T1"/>
                  </a:cxn>
                  <a:cxn ang="0">
                    <a:pos x="T2" y="T3"/>
                  </a:cxn>
                  <a:cxn ang="0">
                    <a:pos x="T4" y="T5"/>
                  </a:cxn>
                  <a:cxn ang="0">
                    <a:pos x="T6" y="T7"/>
                  </a:cxn>
                  <a:cxn ang="0">
                    <a:pos x="T8" y="T9"/>
                  </a:cxn>
                </a:cxnLst>
                <a:rect l="0" t="0" r="r" b="b"/>
                <a:pathLst>
                  <a:path w="2" h="7">
                    <a:moveTo>
                      <a:pt x="2" y="6"/>
                    </a:moveTo>
                    <a:cubicBezTo>
                      <a:pt x="1" y="7"/>
                      <a:pt x="0" y="6"/>
                      <a:pt x="0" y="5"/>
                    </a:cubicBezTo>
                    <a:cubicBezTo>
                      <a:pt x="0" y="4"/>
                      <a:pt x="0" y="0"/>
                      <a:pt x="2" y="2"/>
                    </a:cubicBezTo>
                    <a:cubicBezTo>
                      <a:pt x="2" y="3"/>
                      <a:pt x="2" y="3"/>
                      <a:pt x="2" y="4"/>
                    </a:cubicBezTo>
                    <a:cubicBezTo>
                      <a:pt x="2" y="4"/>
                      <a:pt x="2" y="5"/>
                      <a:pt x="2" y="6"/>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212" name="Freeform 393"/>
              <p:cNvSpPr>
                <a:spLocks/>
              </p:cNvSpPr>
              <p:nvPr/>
            </p:nvSpPr>
            <p:spPr bwMode="auto">
              <a:xfrm>
                <a:off x="6540501" y="5448301"/>
                <a:ext cx="9525" cy="7938"/>
              </a:xfrm>
              <a:custGeom>
                <a:avLst/>
                <a:gdLst>
                  <a:gd name="T0" fmla="*/ 0 w 3"/>
                  <a:gd name="T1" fmla="*/ 2 h 2"/>
                  <a:gd name="T2" fmla="*/ 1 w 3"/>
                  <a:gd name="T3" fmla="*/ 0 h 2"/>
                  <a:gd name="T4" fmla="*/ 0 w 3"/>
                  <a:gd name="T5" fmla="*/ 1 h 2"/>
                  <a:gd name="T6" fmla="*/ 3 w 3"/>
                  <a:gd name="T7" fmla="*/ 2 h 2"/>
                  <a:gd name="T8" fmla="*/ 0 w 3"/>
                  <a:gd name="T9" fmla="*/ 2 h 2"/>
                </a:gdLst>
                <a:ahLst/>
                <a:cxnLst>
                  <a:cxn ang="0">
                    <a:pos x="T0" y="T1"/>
                  </a:cxn>
                  <a:cxn ang="0">
                    <a:pos x="T2" y="T3"/>
                  </a:cxn>
                  <a:cxn ang="0">
                    <a:pos x="T4" y="T5"/>
                  </a:cxn>
                  <a:cxn ang="0">
                    <a:pos x="T6" y="T7"/>
                  </a:cxn>
                  <a:cxn ang="0">
                    <a:pos x="T8" y="T9"/>
                  </a:cxn>
                </a:cxnLst>
                <a:rect l="0" t="0" r="r" b="b"/>
                <a:pathLst>
                  <a:path w="3" h="2">
                    <a:moveTo>
                      <a:pt x="0" y="2"/>
                    </a:moveTo>
                    <a:cubicBezTo>
                      <a:pt x="0" y="0"/>
                      <a:pt x="0" y="1"/>
                      <a:pt x="1" y="0"/>
                    </a:cubicBezTo>
                    <a:cubicBezTo>
                      <a:pt x="0" y="1"/>
                      <a:pt x="0" y="1"/>
                      <a:pt x="0" y="1"/>
                    </a:cubicBezTo>
                    <a:cubicBezTo>
                      <a:pt x="1" y="1"/>
                      <a:pt x="2" y="1"/>
                      <a:pt x="3" y="2"/>
                    </a:cubicBezTo>
                    <a:cubicBezTo>
                      <a:pt x="2" y="2"/>
                      <a:pt x="1" y="2"/>
                      <a:pt x="0" y="2"/>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213" name="Freeform 394"/>
              <p:cNvSpPr>
                <a:spLocks/>
              </p:cNvSpPr>
              <p:nvPr/>
            </p:nvSpPr>
            <p:spPr bwMode="auto">
              <a:xfrm>
                <a:off x="6572251" y="6276976"/>
                <a:ext cx="17463" cy="14288"/>
              </a:xfrm>
              <a:custGeom>
                <a:avLst/>
                <a:gdLst>
                  <a:gd name="T0" fmla="*/ 0 w 5"/>
                  <a:gd name="T1" fmla="*/ 3 h 4"/>
                  <a:gd name="T2" fmla="*/ 3 w 5"/>
                  <a:gd name="T3" fmla="*/ 0 h 4"/>
                  <a:gd name="T4" fmla="*/ 5 w 5"/>
                  <a:gd name="T5" fmla="*/ 0 h 4"/>
                  <a:gd name="T6" fmla="*/ 4 w 5"/>
                  <a:gd name="T7" fmla="*/ 2 h 4"/>
                  <a:gd name="T8" fmla="*/ 5 w 5"/>
                  <a:gd name="T9" fmla="*/ 4 h 4"/>
                  <a:gd name="T10" fmla="*/ 2 w 5"/>
                  <a:gd name="T11" fmla="*/ 4 h 4"/>
                  <a:gd name="T12" fmla="*/ 3 w 5"/>
                  <a:gd name="T13" fmla="*/ 4 h 4"/>
                  <a:gd name="T14" fmla="*/ 0 w 5"/>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0" y="3"/>
                    </a:moveTo>
                    <a:cubicBezTo>
                      <a:pt x="0" y="1"/>
                      <a:pt x="2" y="1"/>
                      <a:pt x="3" y="0"/>
                    </a:cubicBezTo>
                    <a:cubicBezTo>
                      <a:pt x="4" y="0"/>
                      <a:pt x="4" y="0"/>
                      <a:pt x="5" y="0"/>
                    </a:cubicBezTo>
                    <a:cubicBezTo>
                      <a:pt x="4" y="1"/>
                      <a:pt x="5" y="1"/>
                      <a:pt x="4" y="2"/>
                    </a:cubicBezTo>
                    <a:cubicBezTo>
                      <a:pt x="4" y="2"/>
                      <a:pt x="4" y="3"/>
                      <a:pt x="5" y="4"/>
                    </a:cubicBezTo>
                    <a:cubicBezTo>
                      <a:pt x="4" y="4"/>
                      <a:pt x="3" y="4"/>
                      <a:pt x="2" y="4"/>
                    </a:cubicBezTo>
                    <a:cubicBezTo>
                      <a:pt x="3" y="4"/>
                      <a:pt x="3" y="4"/>
                      <a:pt x="3" y="4"/>
                    </a:cubicBezTo>
                    <a:cubicBezTo>
                      <a:pt x="2" y="4"/>
                      <a:pt x="1" y="3"/>
                      <a:pt x="0" y="3"/>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214" name="Freeform 395"/>
              <p:cNvSpPr>
                <a:spLocks/>
              </p:cNvSpPr>
              <p:nvPr/>
            </p:nvSpPr>
            <p:spPr bwMode="auto">
              <a:xfrm>
                <a:off x="6581776" y="6305551"/>
                <a:ext cx="50800" cy="84138"/>
              </a:xfrm>
              <a:custGeom>
                <a:avLst/>
                <a:gdLst>
                  <a:gd name="T0" fmla="*/ 12 w 14"/>
                  <a:gd name="T1" fmla="*/ 18 h 24"/>
                  <a:gd name="T2" fmla="*/ 12 w 14"/>
                  <a:gd name="T3" fmla="*/ 24 h 24"/>
                  <a:gd name="T4" fmla="*/ 6 w 14"/>
                  <a:gd name="T5" fmla="*/ 24 h 24"/>
                  <a:gd name="T6" fmla="*/ 3 w 14"/>
                  <a:gd name="T7" fmla="*/ 12 h 24"/>
                  <a:gd name="T8" fmla="*/ 0 w 14"/>
                  <a:gd name="T9" fmla="*/ 11 h 24"/>
                  <a:gd name="T10" fmla="*/ 0 w 14"/>
                  <a:gd name="T11" fmla="*/ 3 h 24"/>
                  <a:gd name="T12" fmla="*/ 4 w 14"/>
                  <a:gd name="T13" fmla="*/ 3 h 24"/>
                  <a:gd name="T14" fmla="*/ 10 w 14"/>
                  <a:gd name="T15" fmla="*/ 1 h 24"/>
                  <a:gd name="T16" fmla="*/ 10 w 14"/>
                  <a:gd name="T17" fmla="*/ 8 h 24"/>
                  <a:gd name="T18" fmla="*/ 13 w 14"/>
                  <a:gd name="T19" fmla="*/ 11 h 24"/>
                  <a:gd name="T20" fmla="*/ 12 w 14"/>
                  <a:gd name="T21" fmla="*/ 14 h 24"/>
                  <a:gd name="T22" fmla="*/ 12 w 14"/>
                  <a:gd name="T23"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4">
                    <a:moveTo>
                      <a:pt x="12" y="18"/>
                    </a:moveTo>
                    <a:cubicBezTo>
                      <a:pt x="13" y="20"/>
                      <a:pt x="12" y="22"/>
                      <a:pt x="12" y="24"/>
                    </a:cubicBezTo>
                    <a:cubicBezTo>
                      <a:pt x="10" y="24"/>
                      <a:pt x="8" y="24"/>
                      <a:pt x="6" y="24"/>
                    </a:cubicBezTo>
                    <a:cubicBezTo>
                      <a:pt x="6" y="20"/>
                      <a:pt x="5" y="16"/>
                      <a:pt x="3" y="12"/>
                    </a:cubicBezTo>
                    <a:cubicBezTo>
                      <a:pt x="2" y="12"/>
                      <a:pt x="1" y="12"/>
                      <a:pt x="0" y="11"/>
                    </a:cubicBezTo>
                    <a:cubicBezTo>
                      <a:pt x="0" y="9"/>
                      <a:pt x="0" y="6"/>
                      <a:pt x="0" y="3"/>
                    </a:cubicBezTo>
                    <a:cubicBezTo>
                      <a:pt x="1" y="3"/>
                      <a:pt x="3" y="3"/>
                      <a:pt x="4" y="3"/>
                    </a:cubicBezTo>
                    <a:cubicBezTo>
                      <a:pt x="5" y="0"/>
                      <a:pt x="8" y="1"/>
                      <a:pt x="10" y="1"/>
                    </a:cubicBezTo>
                    <a:cubicBezTo>
                      <a:pt x="10" y="1"/>
                      <a:pt x="9" y="7"/>
                      <a:pt x="10" y="8"/>
                    </a:cubicBezTo>
                    <a:cubicBezTo>
                      <a:pt x="11" y="9"/>
                      <a:pt x="13" y="9"/>
                      <a:pt x="13" y="11"/>
                    </a:cubicBezTo>
                    <a:cubicBezTo>
                      <a:pt x="14" y="12"/>
                      <a:pt x="12" y="13"/>
                      <a:pt x="12" y="14"/>
                    </a:cubicBezTo>
                    <a:cubicBezTo>
                      <a:pt x="11" y="16"/>
                      <a:pt x="12" y="16"/>
                      <a:pt x="12" y="18"/>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215" name="Freeform 396"/>
              <p:cNvSpPr>
                <a:spLocks/>
              </p:cNvSpPr>
              <p:nvPr/>
            </p:nvSpPr>
            <p:spPr bwMode="auto">
              <a:xfrm>
                <a:off x="6367463" y="5522913"/>
                <a:ext cx="0" cy="3175"/>
              </a:xfrm>
              <a:custGeom>
                <a:avLst/>
                <a:gdLst>
                  <a:gd name="T0" fmla="*/ 0 h 2"/>
                  <a:gd name="T1" fmla="*/ 2 h 2"/>
                  <a:gd name="T2" fmla="*/ 0 h 2"/>
                  <a:gd name="T3" fmla="*/ 0 h 2"/>
                  <a:gd name="T4" fmla="*/ 0 h 2"/>
                </a:gdLst>
                <a:ahLst/>
                <a:cxnLst>
                  <a:cxn ang="0">
                    <a:pos x="0" y="T0"/>
                  </a:cxn>
                  <a:cxn ang="0">
                    <a:pos x="0" y="T1"/>
                  </a:cxn>
                  <a:cxn ang="0">
                    <a:pos x="0" y="T2"/>
                  </a:cxn>
                  <a:cxn ang="0">
                    <a:pos x="0" y="T3"/>
                  </a:cxn>
                  <a:cxn ang="0">
                    <a:pos x="0" y="T4"/>
                  </a:cxn>
                </a:cxnLst>
                <a:rect l="0" t="0" r="r" b="b"/>
                <a:pathLst>
                  <a:path h="2">
                    <a:moveTo>
                      <a:pt x="0" y="0"/>
                    </a:moveTo>
                    <a:lnTo>
                      <a:pt x="0" y="2"/>
                    </a:lnTo>
                    <a:lnTo>
                      <a:pt x="0" y="0"/>
                    </a:lnTo>
                    <a:lnTo>
                      <a:pt x="0" y="0"/>
                    </a:lnTo>
                    <a:lnTo>
                      <a:pt x="0" y="0"/>
                    </a:ln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216" name="Freeform 397"/>
              <p:cNvSpPr>
                <a:spLocks/>
              </p:cNvSpPr>
              <p:nvPr/>
            </p:nvSpPr>
            <p:spPr bwMode="auto">
              <a:xfrm>
                <a:off x="6367463" y="5522913"/>
                <a:ext cx="0" cy="3175"/>
              </a:xfrm>
              <a:custGeom>
                <a:avLst/>
                <a:gdLst>
                  <a:gd name="T0" fmla="*/ 0 h 2"/>
                  <a:gd name="T1" fmla="*/ 2 h 2"/>
                  <a:gd name="T2" fmla="*/ 0 h 2"/>
                  <a:gd name="T3" fmla="*/ 0 h 2"/>
                  <a:gd name="T4" fmla="*/ 0 h 2"/>
                </a:gdLst>
                <a:ahLst/>
                <a:cxnLst>
                  <a:cxn ang="0">
                    <a:pos x="0" y="T0"/>
                  </a:cxn>
                  <a:cxn ang="0">
                    <a:pos x="0" y="T1"/>
                  </a:cxn>
                  <a:cxn ang="0">
                    <a:pos x="0" y="T2"/>
                  </a:cxn>
                  <a:cxn ang="0">
                    <a:pos x="0" y="T3"/>
                  </a:cxn>
                  <a:cxn ang="0">
                    <a:pos x="0" y="T4"/>
                  </a:cxn>
                </a:cxnLst>
                <a:rect l="0" t="0" r="r" b="b"/>
                <a:pathLst>
                  <a:path h="2">
                    <a:moveTo>
                      <a:pt x="0" y="0"/>
                    </a:moveTo>
                    <a:lnTo>
                      <a:pt x="0"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217" name="Rectangle 398"/>
              <p:cNvSpPr>
                <a:spLocks noChangeArrowheads="1"/>
              </p:cNvSpPr>
              <p:nvPr/>
            </p:nvSpPr>
            <p:spPr bwMode="auto">
              <a:xfrm>
                <a:off x="6367463" y="5522913"/>
                <a:ext cx="1588" cy="3175"/>
              </a:xfrm>
              <a:prstGeom prst="rect">
                <a:avLst/>
              </a:prstGeom>
              <a:solidFill>
                <a:srgbClr val="68C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218" name="Rectangle 399"/>
              <p:cNvSpPr>
                <a:spLocks noChangeArrowheads="1"/>
              </p:cNvSpPr>
              <p:nvPr/>
            </p:nvSpPr>
            <p:spPr bwMode="auto">
              <a:xfrm>
                <a:off x="6367463" y="5522913"/>
                <a:ext cx="1588"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pic>
            <p:nvPicPr>
              <p:cNvPr id="219" name="Picture 400"/>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354763" y="5505451"/>
                <a:ext cx="28575"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0" name="Freeform 401"/>
              <p:cNvSpPr>
                <a:spLocks/>
              </p:cNvSpPr>
              <p:nvPr/>
            </p:nvSpPr>
            <p:spPr bwMode="auto">
              <a:xfrm>
                <a:off x="6362701" y="55832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221" name="Rectangle 402"/>
              <p:cNvSpPr>
                <a:spLocks noChangeArrowheads="1"/>
              </p:cNvSpPr>
              <p:nvPr/>
            </p:nvSpPr>
            <p:spPr bwMode="auto">
              <a:xfrm>
                <a:off x="6362701" y="5583238"/>
                <a:ext cx="1588" cy="1588"/>
              </a:xfrm>
              <a:prstGeom prst="rect">
                <a:avLst/>
              </a:prstGeom>
              <a:solidFill>
                <a:srgbClr val="68C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grpSp>
        <p:grpSp>
          <p:nvGrpSpPr>
            <p:cNvPr id="132" name="Group 131"/>
            <p:cNvGrpSpPr/>
            <p:nvPr/>
          </p:nvGrpSpPr>
          <p:grpSpPr>
            <a:xfrm>
              <a:off x="2589213" y="5357813"/>
              <a:ext cx="347663" cy="731838"/>
              <a:chOff x="2589213" y="5357813"/>
              <a:chExt cx="347663" cy="731838"/>
            </a:xfrm>
          </p:grpSpPr>
          <p:sp>
            <p:nvSpPr>
              <p:cNvPr id="153" name="Freeform 403"/>
              <p:cNvSpPr>
                <a:spLocks/>
              </p:cNvSpPr>
              <p:nvPr/>
            </p:nvSpPr>
            <p:spPr bwMode="auto">
              <a:xfrm>
                <a:off x="2589213" y="5484813"/>
                <a:ext cx="7938" cy="9525"/>
              </a:xfrm>
              <a:custGeom>
                <a:avLst/>
                <a:gdLst>
                  <a:gd name="T0" fmla="*/ 0 w 2"/>
                  <a:gd name="T1" fmla="*/ 1 h 3"/>
                  <a:gd name="T2" fmla="*/ 1 w 2"/>
                  <a:gd name="T3" fmla="*/ 2 h 3"/>
                  <a:gd name="T4" fmla="*/ 1 w 2"/>
                  <a:gd name="T5" fmla="*/ 1 h 3"/>
                  <a:gd name="T6" fmla="*/ 2 w 2"/>
                  <a:gd name="T7" fmla="*/ 3 h 3"/>
                  <a:gd name="T8" fmla="*/ 0 w 2"/>
                  <a:gd name="T9" fmla="*/ 1 h 3"/>
                </a:gdLst>
                <a:ahLst/>
                <a:cxnLst>
                  <a:cxn ang="0">
                    <a:pos x="T0" y="T1"/>
                  </a:cxn>
                  <a:cxn ang="0">
                    <a:pos x="T2" y="T3"/>
                  </a:cxn>
                  <a:cxn ang="0">
                    <a:pos x="T4" y="T5"/>
                  </a:cxn>
                  <a:cxn ang="0">
                    <a:pos x="T6" y="T7"/>
                  </a:cxn>
                  <a:cxn ang="0">
                    <a:pos x="T8" y="T9"/>
                  </a:cxn>
                </a:cxnLst>
                <a:rect l="0" t="0" r="r" b="b"/>
                <a:pathLst>
                  <a:path w="2" h="3">
                    <a:moveTo>
                      <a:pt x="0" y="1"/>
                    </a:moveTo>
                    <a:cubicBezTo>
                      <a:pt x="0" y="0"/>
                      <a:pt x="1" y="1"/>
                      <a:pt x="1" y="2"/>
                    </a:cubicBezTo>
                    <a:cubicBezTo>
                      <a:pt x="1" y="1"/>
                      <a:pt x="1" y="1"/>
                      <a:pt x="1" y="1"/>
                    </a:cubicBezTo>
                    <a:cubicBezTo>
                      <a:pt x="1" y="2"/>
                      <a:pt x="2" y="2"/>
                      <a:pt x="2" y="3"/>
                    </a:cubicBezTo>
                    <a:cubicBezTo>
                      <a:pt x="1" y="2"/>
                      <a:pt x="0" y="2"/>
                      <a:pt x="0" y="1"/>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54" name="Freeform 404"/>
              <p:cNvSpPr>
                <a:spLocks/>
              </p:cNvSpPr>
              <p:nvPr/>
            </p:nvSpPr>
            <p:spPr bwMode="auto">
              <a:xfrm>
                <a:off x="2620963" y="5441951"/>
                <a:ext cx="14288" cy="14288"/>
              </a:xfrm>
              <a:custGeom>
                <a:avLst/>
                <a:gdLst>
                  <a:gd name="T0" fmla="*/ 3 w 4"/>
                  <a:gd name="T1" fmla="*/ 4 h 4"/>
                  <a:gd name="T2" fmla="*/ 1 w 4"/>
                  <a:gd name="T3" fmla="*/ 1 h 4"/>
                  <a:gd name="T4" fmla="*/ 4 w 4"/>
                  <a:gd name="T5" fmla="*/ 2 h 4"/>
                  <a:gd name="T6" fmla="*/ 3 w 4"/>
                  <a:gd name="T7" fmla="*/ 4 h 4"/>
                </a:gdLst>
                <a:ahLst/>
                <a:cxnLst>
                  <a:cxn ang="0">
                    <a:pos x="T0" y="T1"/>
                  </a:cxn>
                  <a:cxn ang="0">
                    <a:pos x="T2" y="T3"/>
                  </a:cxn>
                  <a:cxn ang="0">
                    <a:pos x="T4" y="T5"/>
                  </a:cxn>
                  <a:cxn ang="0">
                    <a:pos x="T6" y="T7"/>
                  </a:cxn>
                </a:cxnLst>
                <a:rect l="0" t="0" r="r" b="b"/>
                <a:pathLst>
                  <a:path w="4" h="4">
                    <a:moveTo>
                      <a:pt x="3" y="4"/>
                    </a:moveTo>
                    <a:cubicBezTo>
                      <a:pt x="2" y="4"/>
                      <a:pt x="0" y="2"/>
                      <a:pt x="1" y="1"/>
                    </a:cubicBezTo>
                    <a:cubicBezTo>
                      <a:pt x="1" y="0"/>
                      <a:pt x="3" y="1"/>
                      <a:pt x="4" y="2"/>
                    </a:cubicBezTo>
                    <a:cubicBezTo>
                      <a:pt x="4" y="2"/>
                      <a:pt x="4" y="3"/>
                      <a:pt x="3" y="4"/>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55" name="Freeform 405"/>
              <p:cNvSpPr>
                <a:spLocks/>
              </p:cNvSpPr>
              <p:nvPr/>
            </p:nvSpPr>
            <p:spPr bwMode="auto">
              <a:xfrm>
                <a:off x="2643188" y="5357813"/>
                <a:ext cx="3175" cy="3175"/>
              </a:xfrm>
              <a:custGeom>
                <a:avLst/>
                <a:gdLst>
                  <a:gd name="T0" fmla="*/ 0 w 1"/>
                  <a:gd name="T1" fmla="*/ 1 h 1"/>
                  <a:gd name="T2" fmla="*/ 0 w 1"/>
                  <a:gd name="T3" fmla="*/ 0 h 1"/>
                  <a:gd name="T4" fmla="*/ 0 w 1"/>
                  <a:gd name="T5" fmla="*/ 0 h 1"/>
                  <a:gd name="T6" fmla="*/ 1 w 1"/>
                  <a:gd name="T7" fmla="*/ 1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1"/>
                      <a:pt x="0" y="0"/>
                      <a:pt x="0" y="0"/>
                    </a:cubicBezTo>
                    <a:cubicBezTo>
                      <a:pt x="0" y="0"/>
                      <a:pt x="0" y="0"/>
                      <a:pt x="0" y="0"/>
                    </a:cubicBezTo>
                    <a:cubicBezTo>
                      <a:pt x="0" y="1"/>
                      <a:pt x="1" y="1"/>
                      <a:pt x="1" y="1"/>
                    </a:cubicBezTo>
                    <a:cubicBezTo>
                      <a:pt x="0" y="1"/>
                      <a:pt x="0" y="1"/>
                      <a:pt x="0" y="1"/>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56" name="Freeform 406"/>
              <p:cNvSpPr>
                <a:spLocks/>
              </p:cNvSpPr>
              <p:nvPr/>
            </p:nvSpPr>
            <p:spPr bwMode="auto">
              <a:xfrm>
                <a:off x="2649538" y="5367338"/>
                <a:ext cx="4763" cy="7938"/>
              </a:xfrm>
              <a:custGeom>
                <a:avLst/>
                <a:gdLst>
                  <a:gd name="T0" fmla="*/ 0 w 1"/>
                  <a:gd name="T1" fmla="*/ 2 h 2"/>
                  <a:gd name="T2" fmla="*/ 0 w 1"/>
                  <a:gd name="T3" fmla="*/ 0 h 2"/>
                  <a:gd name="T4" fmla="*/ 0 w 1"/>
                  <a:gd name="T5" fmla="*/ 0 h 2"/>
                  <a:gd name="T6" fmla="*/ 0 w 1"/>
                  <a:gd name="T7" fmla="*/ 0 h 2"/>
                  <a:gd name="T8" fmla="*/ 0 w 1"/>
                  <a:gd name="T9" fmla="*/ 0 h 2"/>
                  <a:gd name="T10" fmla="*/ 1 w 1"/>
                  <a:gd name="T11" fmla="*/ 0 h 2"/>
                  <a:gd name="T12" fmla="*/ 0 w 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2"/>
                    </a:moveTo>
                    <a:cubicBezTo>
                      <a:pt x="0" y="1"/>
                      <a:pt x="0" y="1"/>
                      <a:pt x="0" y="0"/>
                    </a:cubicBezTo>
                    <a:cubicBezTo>
                      <a:pt x="0" y="0"/>
                      <a:pt x="0" y="0"/>
                      <a:pt x="0" y="0"/>
                    </a:cubicBezTo>
                    <a:cubicBezTo>
                      <a:pt x="0" y="0"/>
                      <a:pt x="0" y="0"/>
                      <a:pt x="0" y="0"/>
                    </a:cubicBezTo>
                    <a:cubicBezTo>
                      <a:pt x="0" y="0"/>
                      <a:pt x="0" y="0"/>
                      <a:pt x="0" y="0"/>
                    </a:cubicBezTo>
                    <a:cubicBezTo>
                      <a:pt x="1" y="0"/>
                      <a:pt x="1" y="0"/>
                      <a:pt x="1" y="0"/>
                    </a:cubicBezTo>
                    <a:cubicBezTo>
                      <a:pt x="1" y="1"/>
                      <a:pt x="0" y="1"/>
                      <a:pt x="0" y="2"/>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57" name="Freeform 407"/>
              <p:cNvSpPr>
                <a:spLocks/>
              </p:cNvSpPr>
              <p:nvPr/>
            </p:nvSpPr>
            <p:spPr bwMode="auto">
              <a:xfrm>
                <a:off x="2660651" y="5554663"/>
                <a:ext cx="14288" cy="14288"/>
              </a:xfrm>
              <a:custGeom>
                <a:avLst/>
                <a:gdLst>
                  <a:gd name="T0" fmla="*/ 1 w 4"/>
                  <a:gd name="T1" fmla="*/ 1 h 4"/>
                  <a:gd name="T2" fmla="*/ 3 w 4"/>
                  <a:gd name="T3" fmla="*/ 3 h 4"/>
                  <a:gd name="T4" fmla="*/ 3 w 4"/>
                  <a:gd name="T5" fmla="*/ 3 h 4"/>
                  <a:gd name="T6" fmla="*/ 3 w 4"/>
                  <a:gd name="T7" fmla="*/ 4 h 4"/>
                  <a:gd name="T8" fmla="*/ 1 w 4"/>
                  <a:gd name="T9" fmla="*/ 1 h 4"/>
                </a:gdLst>
                <a:ahLst/>
                <a:cxnLst>
                  <a:cxn ang="0">
                    <a:pos x="T0" y="T1"/>
                  </a:cxn>
                  <a:cxn ang="0">
                    <a:pos x="T2" y="T3"/>
                  </a:cxn>
                  <a:cxn ang="0">
                    <a:pos x="T4" y="T5"/>
                  </a:cxn>
                  <a:cxn ang="0">
                    <a:pos x="T6" y="T7"/>
                  </a:cxn>
                  <a:cxn ang="0">
                    <a:pos x="T8" y="T9"/>
                  </a:cxn>
                </a:cxnLst>
                <a:rect l="0" t="0" r="r" b="b"/>
                <a:pathLst>
                  <a:path w="4" h="4">
                    <a:moveTo>
                      <a:pt x="1" y="1"/>
                    </a:moveTo>
                    <a:cubicBezTo>
                      <a:pt x="2" y="0"/>
                      <a:pt x="4" y="2"/>
                      <a:pt x="3" y="3"/>
                    </a:cubicBezTo>
                    <a:cubicBezTo>
                      <a:pt x="3" y="3"/>
                      <a:pt x="3" y="3"/>
                      <a:pt x="3" y="3"/>
                    </a:cubicBezTo>
                    <a:cubicBezTo>
                      <a:pt x="3" y="3"/>
                      <a:pt x="3" y="3"/>
                      <a:pt x="3" y="4"/>
                    </a:cubicBezTo>
                    <a:cubicBezTo>
                      <a:pt x="2" y="4"/>
                      <a:pt x="0" y="2"/>
                      <a:pt x="1" y="1"/>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58" name="Freeform 408"/>
              <p:cNvSpPr>
                <a:spLocks/>
              </p:cNvSpPr>
              <p:nvPr/>
            </p:nvSpPr>
            <p:spPr bwMode="auto">
              <a:xfrm>
                <a:off x="2663826" y="5761038"/>
                <a:ext cx="7938" cy="3175"/>
              </a:xfrm>
              <a:custGeom>
                <a:avLst/>
                <a:gdLst>
                  <a:gd name="T0" fmla="*/ 2 w 2"/>
                  <a:gd name="T1" fmla="*/ 1 h 1"/>
                  <a:gd name="T2" fmla="*/ 1 w 2"/>
                  <a:gd name="T3" fmla="*/ 1 h 1"/>
                  <a:gd name="T4" fmla="*/ 1 w 2"/>
                  <a:gd name="T5" fmla="*/ 0 h 1"/>
                  <a:gd name="T6" fmla="*/ 2 w 2"/>
                  <a:gd name="T7" fmla="*/ 1 h 1"/>
                </a:gdLst>
                <a:ahLst/>
                <a:cxnLst>
                  <a:cxn ang="0">
                    <a:pos x="T0" y="T1"/>
                  </a:cxn>
                  <a:cxn ang="0">
                    <a:pos x="T2" y="T3"/>
                  </a:cxn>
                  <a:cxn ang="0">
                    <a:pos x="T4" y="T5"/>
                  </a:cxn>
                  <a:cxn ang="0">
                    <a:pos x="T6" y="T7"/>
                  </a:cxn>
                </a:cxnLst>
                <a:rect l="0" t="0" r="r" b="b"/>
                <a:pathLst>
                  <a:path w="2" h="1">
                    <a:moveTo>
                      <a:pt x="2" y="1"/>
                    </a:moveTo>
                    <a:cubicBezTo>
                      <a:pt x="1" y="1"/>
                      <a:pt x="1" y="1"/>
                      <a:pt x="1" y="1"/>
                    </a:cubicBezTo>
                    <a:cubicBezTo>
                      <a:pt x="0" y="0"/>
                      <a:pt x="1" y="0"/>
                      <a:pt x="1" y="0"/>
                    </a:cubicBezTo>
                    <a:cubicBezTo>
                      <a:pt x="2" y="0"/>
                      <a:pt x="2" y="0"/>
                      <a:pt x="2" y="1"/>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59" name="Freeform 409"/>
              <p:cNvSpPr>
                <a:spLocks/>
              </p:cNvSpPr>
              <p:nvPr/>
            </p:nvSpPr>
            <p:spPr bwMode="auto">
              <a:xfrm>
                <a:off x="2674938" y="5618163"/>
                <a:ext cx="11113" cy="14288"/>
              </a:xfrm>
              <a:custGeom>
                <a:avLst/>
                <a:gdLst>
                  <a:gd name="T0" fmla="*/ 0 w 3"/>
                  <a:gd name="T1" fmla="*/ 1 h 4"/>
                  <a:gd name="T2" fmla="*/ 2 w 3"/>
                  <a:gd name="T3" fmla="*/ 1 h 4"/>
                  <a:gd name="T4" fmla="*/ 2 w 3"/>
                  <a:gd name="T5" fmla="*/ 2 h 4"/>
                  <a:gd name="T6" fmla="*/ 2 w 3"/>
                  <a:gd name="T7" fmla="*/ 2 h 4"/>
                  <a:gd name="T8" fmla="*/ 2 w 3"/>
                  <a:gd name="T9" fmla="*/ 4 h 4"/>
                  <a:gd name="T10" fmla="*/ 1 w 3"/>
                  <a:gd name="T11" fmla="*/ 3 h 4"/>
                  <a:gd name="T12" fmla="*/ 0 w 3"/>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0" y="1"/>
                    </a:moveTo>
                    <a:cubicBezTo>
                      <a:pt x="1" y="0"/>
                      <a:pt x="2" y="0"/>
                      <a:pt x="2" y="1"/>
                    </a:cubicBezTo>
                    <a:cubicBezTo>
                      <a:pt x="2" y="1"/>
                      <a:pt x="2" y="2"/>
                      <a:pt x="2" y="2"/>
                    </a:cubicBezTo>
                    <a:cubicBezTo>
                      <a:pt x="2" y="2"/>
                      <a:pt x="2" y="2"/>
                      <a:pt x="2" y="2"/>
                    </a:cubicBezTo>
                    <a:cubicBezTo>
                      <a:pt x="2" y="3"/>
                      <a:pt x="3" y="3"/>
                      <a:pt x="2" y="4"/>
                    </a:cubicBezTo>
                    <a:cubicBezTo>
                      <a:pt x="2" y="4"/>
                      <a:pt x="1" y="4"/>
                      <a:pt x="1" y="3"/>
                    </a:cubicBezTo>
                    <a:cubicBezTo>
                      <a:pt x="0" y="3"/>
                      <a:pt x="0" y="1"/>
                      <a:pt x="0" y="1"/>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60" name="Freeform 410"/>
              <p:cNvSpPr>
                <a:spLocks/>
              </p:cNvSpPr>
              <p:nvPr/>
            </p:nvSpPr>
            <p:spPr bwMode="auto">
              <a:xfrm>
                <a:off x="2674938" y="5746751"/>
                <a:ext cx="6350" cy="3175"/>
              </a:xfrm>
              <a:custGeom>
                <a:avLst/>
                <a:gdLst>
                  <a:gd name="T0" fmla="*/ 0 w 2"/>
                  <a:gd name="T1" fmla="*/ 1 h 1"/>
                  <a:gd name="T2" fmla="*/ 1 w 2"/>
                  <a:gd name="T3" fmla="*/ 0 h 1"/>
                  <a:gd name="T4" fmla="*/ 2 w 2"/>
                  <a:gd name="T5" fmla="*/ 1 h 1"/>
                  <a:gd name="T6" fmla="*/ 0 w 2"/>
                  <a:gd name="T7" fmla="*/ 1 h 1"/>
                </a:gdLst>
                <a:ahLst/>
                <a:cxnLst>
                  <a:cxn ang="0">
                    <a:pos x="T0" y="T1"/>
                  </a:cxn>
                  <a:cxn ang="0">
                    <a:pos x="T2" y="T3"/>
                  </a:cxn>
                  <a:cxn ang="0">
                    <a:pos x="T4" y="T5"/>
                  </a:cxn>
                  <a:cxn ang="0">
                    <a:pos x="T6" y="T7"/>
                  </a:cxn>
                </a:cxnLst>
                <a:rect l="0" t="0" r="r" b="b"/>
                <a:pathLst>
                  <a:path w="2" h="1">
                    <a:moveTo>
                      <a:pt x="0" y="1"/>
                    </a:moveTo>
                    <a:cubicBezTo>
                      <a:pt x="0" y="1"/>
                      <a:pt x="0" y="0"/>
                      <a:pt x="1" y="0"/>
                    </a:cubicBezTo>
                    <a:cubicBezTo>
                      <a:pt x="1" y="0"/>
                      <a:pt x="2" y="0"/>
                      <a:pt x="2" y="1"/>
                    </a:cubicBezTo>
                    <a:lnTo>
                      <a:pt x="0" y="1"/>
                    </a:ln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61" name="Freeform 411"/>
              <p:cNvSpPr>
                <a:spLocks/>
              </p:cNvSpPr>
              <p:nvPr/>
            </p:nvSpPr>
            <p:spPr bwMode="auto">
              <a:xfrm>
                <a:off x="2678113" y="5484813"/>
                <a:ext cx="14288" cy="17463"/>
              </a:xfrm>
              <a:custGeom>
                <a:avLst/>
                <a:gdLst>
                  <a:gd name="T0" fmla="*/ 3 w 4"/>
                  <a:gd name="T1" fmla="*/ 4 h 5"/>
                  <a:gd name="T2" fmla="*/ 3 w 4"/>
                  <a:gd name="T3" fmla="*/ 4 h 5"/>
                  <a:gd name="T4" fmla="*/ 3 w 4"/>
                  <a:gd name="T5" fmla="*/ 4 h 5"/>
                  <a:gd name="T6" fmla="*/ 2 w 4"/>
                  <a:gd name="T7" fmla="*/ 0 h 5"/>
                  <a:gd name="T8" fmla="*/ 3 w 4"/>
                  <a:gd name="T9" fmla="*/ 4 h 5"/>
                </a:gdLst>
                <a:ahLst/>
                <a:cxnLst>
                  <a:cxn ang="0">
                    <a:pos x="T0" y="T1"/>
                  </a:cxn>
                  <a:cxn ang="0">
                    <a:pos x="T2" y="T3"/>
                  </a:cxn>
                  <a:cxn ang="0">
                    <a:pos x="T4" y="T5"/>
                  </a:cxn>
                  <a:cxn ang="0">
                    <a:pos x="T6" y="T7"/>
                  </a:cxn>
                  <a:cxn ang="0">
                    <a:pos x="T8" y="T9"/>
                  </a:cxn>
                </a:cxnLst>
                <a:rect l="0" t="0" r="r" b="b"/>
                <a:pathLst>
                  <a:path w="4" h="5">
                    <a:moveTo>
                      <a:pt x="3" y="4"/>
                    </a:moveTo>
                    <a:cubicBezTo>
                      <a:pt x="3" y="4"/>
                      <a:pt x="3" y="4"/>
                      <a:pt x="3" y="4"/>
                    </a:cubicBezTo>
                    <a:cubicBezTo>
                      <a:pt x="3" y="4"/>
                      <a:pt x="3" y="4"/>
                      <a:pt x="3" y="4"/>
                    </a:cubicBezTo>
                    <a:cubicBezTo>
                      <a:pt x="0" y="5"/>
                      <a:pt x="2" y="1"/>
                      <a:pt x="2" y="0"/>
                    </a:cubicBezTo>
                    <a:cubicBezTo>
                      <a:pt x="3" y="1"/>
                      <a:pt x="4" y="3"/>
                      <a:pt x="3" y="4"/>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62" name="Freeform 412"/>
              <p:cNvSpPr>
                <a:spLocks/>
              </p:cNvSpPr>
              <p:nvPr/>
            </p:nvSpPr>
            <p:spPr bwMode="auto">
              <a:xfrm>
                <a:off x="2698751" y="5600701"/>
                <a:ext cx="11113" cy="7938"/>
              </a:xfrm>
              <a:custGeom>
                <a:avLst/>
                <a:gdLst>
                  <a:gd name="T0" fmla="*/ 2 w 3"/>
                  <a:gd name="T1" fmla="*/ 2 h 2"/>
                  <a:gd name="T2" fmla="*/ 1 w 3"/>
                  <a:gd name="T3" fmla="*/ 0 h 2"/>
                  <a:gd name="T4" fmla="*/ 2 w 3"/>
                  <a:gd name="T5" fmla="*/ 2 h 2"/>
                </a:gdLst>
                <a:ahLst/>
                <a:cxnLst>
                  <a:cxn ang="0">
                    <a:pos x="T0" y="T1"/>
                  </a:cxn>
                  <a:cxn ang="0">
                    <a:pos x="T2" y="T3"/>
                  </a:cxn>
                  <a:cxn ang="0">
                    <a:pos x="T4" y="T5"/>
                  </a:cxn>
                </a:cxnLst>
                <a:rect l="0" t="0" r="r" b="b"/>
                <a:pathLst>
                  <a:path w="3" h="2">
                    <a:moveTo>
                      <a:pt x="2" y="2"/>
                    </a:moveTo>
                    <a:cubicBezTo>
                      <a:pt x="1" y="2"/>
                      <a:pt x="0" y="1"/>
                      <a:pt x="1" y="0"/>
                    </a:cubicBezTo>
                    <a:cubicBezTo>
                      <a:pt x="2" y="0"/>
                      <a:pt x="3" y="2"/>
                      <a:pt x="2" y="2"/>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63" name="Freeform 413"/>
              <p:cNvSpPr>
                <a:spLocks/>
              </p:cNvSpPr>
              <p:nvPr/>
            </p:nvSpPr>
            <p:spPr bwMode="auto">
              <a:xfrm>
                <a:off x="2744788" y="5626101"/>
                <a:ext cx="7938" cy="6350"/>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cubicBezTo>
                      <a:pt x="1" y="0"/>
                      <a:pt x="2" y="2"/>
                      <a:pt x="2" y="2"/>
                    </a:cubicBezTo>
                    <a:cubicBezTo>
                      <a:pt x="0" y="2"/>
                      <a:pt x="0" y="2"/>
                      <a:pt x="0" y="0"/>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64" name="Freeform 414"/>
              <p:cNvSpPr>
                <a:spLocks/>
              </p:cNvSpPr>
              <p:nvPr/>
            </p:nvSpPr>
            <p:spPr bwMode="auto">
              <a:xfrm>
                <a:off x="2744788" y="5686426"/>
                <a:ext cx="25400" cy="17463"/>
              </a:xfrm>
              <a:custGeom>
                <a:avLst/>
                <a:gdLst>
                  <a:gd name="T0" fmla="*/ 0 w 7"/>
                  <a:gd name="T1" fmla="*/ 4 h 5"/>
                  <a:gd name="T2" fmla="*/ 0 w 7"/>
                  <a:gd name="T3" fmla="*/ 0 h 5"/>
                  <a:gd name="T4" fmla="*/ 0 w 7"/>
                  <a:gd name="T5" fmla="*/ 4 h 5"/>
                </a:gdLst>
                <a:ahLst/>
                <a:cxnLst>
                  <a:cxn ang="0">
                    <a:pos x="T0" y="T1"/>
                  </a:cxn>
                  <a:cxn ang="0">
                    <a:pos x="T2" y="T3"/>
                  </a:cxn>
                  <a:cxn ang="0">
                    <a:pos x="T4" y="T5"/>
                  </a:cxn>
                </a:cxnLst>
                <a:rect l="0" t="0" r="r" b="b"/>
                <a:pathLst>
                  <a:path w="7" h="5">
                    <a:moveTo>
                      <a:pt x="0" y="4"/>
                    </a:moveTo>
                    <a:cubicBezTo>
                      <a:pt x="0" y="2"/>
                      <a:pt x="0" y="1"/>
                      <a:pt x="0" y="0"/>
                    </a:cubicBezTo>
                    <a:cubicBezTo>
                      <a:pt x="7" y="0"/>
                      <a:pt x="0" y="5"/>
                      <a:pt x="0" y="4"/>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65" name="Freeform 415"/>
              <p:cNvSpPr>
                <a:spLocks/>
              </p:cNvSpPr>
              <p:nvPr/>
            </p:nvSpPr>
            <p:spPr bwMode="auto">
              <a:xfrm>
                <a:off x="2790826" y="5476876"/>
                <a:ext cx="4763" cy="7938"/>
              </a:xfrm>
              <a:custGeom>
                <a:avLst/>
                <a:gdLst>
                  <a:gd name="T0" fmla="*/ 0 w 1"/>
                  <a:gd name="T1" fmla="*/ 0 h 2"/>
                  <a:gd name="T2" fmla="*/ 1 w 1"/>
                  <a:gd name="T3" fmla="*/ 0 h 2"/>
                  <a:gd name="T4" fmla="*/ 0 w 1"/>
                  <a:gd name="T5" fmla="*/ 0 h 2"/>
                  <a:gd name="T6" fmla="*/ 1 w 1"/>
                  <a:gd name="T7" fmla="*/ 2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1" y="0"/>
                      <a:pt x="1" y="0"/>
                    </a:cubicBezTo>
                    <a:cubicBezTo>
                      <a:pt x="0" y="0"/>
                      <a:pt x="0" y="0"/>
                      <a:pt x="0" y="0"/>
                    </a:cubicBezTo>
                    <a:cubicBezTo>
                      <a:pt x="1" y="1"/>
                      <a:pt x="1" y="1"/>
                      <a:pt x="1" y="2"/>
                    </a:cubicBezTo>
                    <a:cubicBezTo>
                      <a:pt x="0" y="1"/>
                      <a:pt x="0" y="1"/>
                      <a:pt x="0" y="0"/>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66" name="Freeform 416"/>
              <p:cNvSpPr>
                <a:spLocks/>
              </p:cNvSpPr>
              <p:nvPr/>
            </p:nvSpPr>
            <p:spPr bwMode="auto">
              <a:xfrm>
                <a:off x="2784476" y="5554663"/>
                <a:ext cx="6350" cy="14288"/>
              </a:xfrm>
              <a:custGeom>
                <a:avLst/>
                <a:gdLst>
                  <a:gd name="T0" fmla="*/ 2 w 2"/>
                  <a:gd name="T1" fmla="*/ 3 h 4"/>
                  <a:gd name="T2" fmla="*/ 2 w 2"/>
                  <a:gd name="T3" fmla="*/ 2 h 4"/>
                  <a:gd name="T4" fmla="*/ 2 w 2"/>
                  <a:gd name="T5" fmla="*/ 2 h 4"/>
                  <a:gd name="T6" fmla="*/ 0 w 2"/>
                  <a:gd name="T7" fmla="*/ 4 h 4"/>
                  <a:gd name="T8" fmla="*/ 0 w 2"/>
                  <a:gd name="T9" fmla="*/ 0 h 4"/>
                  <a:gd name="T10" fmla="*/ 2 w 2"/>
                  <a:gd name="T11" fmla="*/ 2 h 4"/>
                  <a:gd name="T12" fmla="*/ 2 w 2"/>
                  <a:gd name="T13" fmla="*/ 2 h 4"/>
                  <a:gd name="T14" fmla="*/ 2 w 2"/>
                  <a:gd name="T15" fmla="*/ 2 h 4"/>
                  <a:gd name="T16" fmla="*/ 2 w 2"/>
                  <a:gd name="T1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4">
                    <a:moveTo>
                      <a:pt x="2" y="3"/>
                    </a:moveTo>
                    <a:cubicBezTo>
                      <a:pt x="2" y="2"/>
                      <a:pt x="2" y="2"/>
                      <a:pt x="2" y="2"/>
                    </a:cubicBezTo>
                    <a:cubicBezTo>
                      <a:pt x="2" y="2"/>
                      <a:pt x="2" y="2"/>
                      <a:pt x="2" y="2"/>
                    </a:cubicBezTo>
                    <a:cubicBezTo>
                      <a:pt x="2" y="3"/>
                      <a:pt x="2" y="4"/>
                      <a:pt x="0" y="4"/>
                    </a:cubicBezTo>
                    <a:cubicBezTo>
                      <a:pt x="0" y="3"/>
                      <a:pt x="0" y="2"/>
                      <a:pt x="0" y="0"/>
                    </a:cubicBezTo>
                    <a:cubicBezTo>
                      <a:pt x="1" y="0"/>
                      <a:pt x="2" y="1"/>
                      <a:pt x="2" y="2"/>
                    </a:cubicBezTo>
                    <a:cubicBezTo>
                      <a:pt x="2" y="2"/>
                      <a:pt x="2" y="2"/>
                      <a:pt x="2" y="2"/>
                    </a:cubicBezTo>
                    <a:cubicBezTo>
                      <a:pt x="2" y="2"/>
                      <a:pt x="2" y="2"/>
                      <a:pt x="2" y="2"/>
                    </a:cubicBezTo>
                    <a:cubicBezTo>
                      <a:pt x="2" y="2"/>
                      <a:pt x="2" y="3"/>
                      <a:pt x="2" y="3"/>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67" name="Freeform 417"/>
              <p:cNvSpPr>
                <a:spLocks/>
              </p:cNvSpPr>
              <p:nvPr/>
            </p:nvSpPr>
            <p:spPr bwMode="auto">
              <a:xfrm>
                <a:off x="2790826" y="6067426"/>
                <a:ext cx="11113" cy="22225"/>
              </a:xfrm>
              <a:custGeom>
                <a:avLst/>
                <a:gdLst>
                  <a:gd name="T0" fmla="*/ 0 w 3"/>
                  <a:gd name="T1" fmla="*/ 6 h 6"/>
                  <a:gd name="T2" fmla="*/ 0 w 3"/>
                  <a:gd name="T3" fmla="*/ 6 h 6"/>
                  <a:gd name="T4" fmla="*/ 2 w 3"/>
                  <a:gd name="T5" fmla="*/ 1 h 6"/>
                  <a:gd name="T6" fmla="*/ 2 w 3"/>
                  <a:gd name="T7" fmla="*/ 3 h 6"/>
                  <a:gd name="T8" fmla="*/ 3 w 3"/>
                  <a:gd name="T9" fmla="*/ 3 h 6"/>
                  <a:gd name="T10" fmla="*/ 0 w 3"/>
                  <a:gd name="T11" fmla="*/ 6 h 6"/>
                </a:gdLst>
                <a:ahLst/>
                <a:cxnLst>
                  <a:cxn ang="0">
                    <a:pos x="T0" y="T1"/>
                  </a:cxn>
                  <a:cxn ang="0">
                    <a:pos x="T2" y="T3"/>
                  </a:cxn>
                  <a:cxn ang="0">
                    <a:pos x="T4" y="T5"/>
                  </a:cxn>
                  <a:cxn ang="0">
                    <a:pos x="T6" y="T7"/>
                  </a:cxn>
                  <a:cxn ang="0">
                    <a:pos x="T8" y="T9"/>
                  </a:cxn>
                  <a:cxn ang="0">
                    <a:pos x="T10" y="T11"/>
                  </a:cxn>
                </a:cxnLst>
                <a:rect l="0" t="0" r="r" b="b"/>
                <a:pathLst>
                  <a:path w="3" h="6">
                    <a:moveTo>
                      <a:pt x="0" y="6"/>
                    </a:moveTo>
                    <a:cubicBezTo>
                      <a:pt x="0" y="6"/>
                      <a:pt x="0" y="6"/>
                      <a:pt x="0" y="6"/>
                    </a:cubicBezTo>
                    <a:cubicBezTo>
                      <a:pt x="1" y="6"/>
                      <a:pt x="0" y="0"/>
                      <a:pt x="2" y="1"/>
                    </a:cubicBezTo>
                    <a:cubicBezTo>
                      <a:pt x="2" y="2"/>
                      <a:pt x="2" y="2"/>
                      <a:pt x="2" y="3"/>
                    </a:cubicBezTo>
                    <a:cubicBezTo>
                      <a:pt x="3" y="3"/>
                      <a:pt x="3" y="3"/>
                      <a:pt x="3" y="3"/>
                    </a:cubicBezTo>
                    <a:cubicBezTo>
                      <a:pt x="3" y="5"/>
                      <a:pt x="2" y="6"/>
                      <a:pt x="0" y="6"/>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68" name="Freeform 418"/>
              <p:cNvSpPr>
                <a:spLocks/>
              </p:cNvSpPr>
              <p:nvPr/>
            </p:nvSpPr>
            <p:spPr bwMode="auto">
              <a:xfrm>
                <a:off x="2841626" y="5519738"/>
                <a:ext cx="6350" cy="6350"/>
              </a:xfrm>
              <a:custGeom>
                <a:avLst/>
                <a:gdLst>
                  <a:gd name="T0" fmla="*/ 2 w 2"/>
                  <a:gd name="T1" fmla="*/ 1 h 2"/>
                  <a:gd name="T2" fmla="*/ 0 w 2"/>
                  <a:gd name="T3" fmla="*/ 2 h 2"/>
                  <a:gd name="T4" fmla="*/ 1 w 2"/>
                  <a:gd name="T5" fmla="*/ 0 h 2"/>
                  <a:gd name="T6" fmla="*/ 2 w 2"/>
                  <a:gd name="T7" fmla="*/ 1 h 2"/>
                </a:gdLst>
                <a:ahLst/>
                <a:cxnLst>
                  <a:cxn ang="0">
                    <a:pos x="T0" y="T1"/>
                  </a:cxn>
                  <a:cxn ang="0">
                    <a:pos x="T2" y="T3"/>
                  </a:cxn>
                  <a:cxn ang="0">
                    <a:pos x="T4" y="T5"/>
                  </a:cxn>
                  <a:cxn ang="0">
                    <a:pos x="T6" y="T7"/>
                  </a:cxn>
                </a:cxnLst>
                <a:rect l="0" t="0" r="r" b="b"/>
                <a:pathLst>
                  <a:path w="2" h="2">
                    <a:moveTo>
                      <a:pt x="2" y="1"/>
                    </a:moveTo>
                    <a:cubicBezTo>
                      <a:pt x="2" y="2"/>
                      <a:pt x="0" y="1"/>
                      <a:pt x="0" y="2"/>
                    </a:cubicBezTo>
                    <a:cubicBezTo>
                      <a:pt x="1" y="1"/>
                      <a:pt x="0" y="0"/>
                      <a:pt x="1" y="0"/>
                    </a:cubicBezTo>
                    <a:cubicBezTo>
                      <a:pt x="2" y="0"/>
                      <a:pt x="2" y="1"/>
                      <a:pt x="2" y="1"/>
                    </a:cubicBez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69" name="Freeform 419"/>
              <p:cNvSpPr>
                <a:spLocks/>
              </p:cNvSpPr>
              <p:nvPr/>
            </p:nvSpPr>
            <p:spPr bwMode="auto">
              <a:xfrm>
                <a:off x="2928938" y="5764213"/>
                <a:ext cx="7938" cy="17463"/>
              </a:xfrm>
              <a:custGeom>
                <a:avLst/>
                <a:gdLst>
                  <a:gd name="T0" fmla="*/ 1 w 2"/>
                  <a:gd name="T1" fmla="*/ 5 h 5"/>
                  <a:gd name="T2" fmla="*/ 2 w 2"/>
                  <a:gd name="T3" fmla="*/ 0 h 5"/>
                  <a:gd name="T4" fmla="*/ 2 w 2"/>
                  <a:gd name="T5" fmla="*/ 3 h 5"/>
                  <a:gd name="T6" fmla="*/ 1 w 2"/>
                  <a:gd name="T7" fmla="*/ 5 h 5"/>
                </a:gdLst>
                <a:ahLst/>
                <a:cxnLst>
                  <a:cxn ang="0">
                    <a:pos x="T0" y="T1"/>
                  </a:cxn>
                  <a:cxn ang="0">
                    <a:pos x="T2" y="T3"/>
                  </a:cxn>
                  <a:cxn ang="0">
                    <a:pos x="T4" y="T5"/>
                  </a:cxn>
                  <a:cxn ang="0">
                    <a:pos x="T6" y="T7"/>
                  </a:cxn>
                </a:cxnLst>
                <a:rect l="0" t="0" r="r" b="b"/>
                <a:pathLst>
                  <a:path w="2" h="5">
                    <a:moveTo>
                      <a:pt x="1" y="5"/>
                    </a:moveTo>
                    <a:cubicBezTo>
                      <a:pt x="0" y="4"/>
                      <a:pt x="1" y="2"/>
                      <a:pt x="2" y="0"/>
                    </a:cubicBezTo>
                    <a:cubicBezTo>
                      <a:pt x="2" y="1"/>
                      <a:pt x="2" y="2"/>
                      <a:pt x="2" y="3"/>
                    </a:cubicBezTo>
                    <a:lnTo>
                      <a:pt x="1" y="5"/>
                    </a:ln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70" name="Freeform 420"/>
              <p:cNvSpPr>
                <a:spLocks/>
              </p:cNvSpPr>
              <p:nvPr/>
            </p:nvSpPr>
            <p:spPr bwMode="auto">
              <a:xfrm>
                <a:off x="2749551" y="5657851"/>
                <a:ext cx="0" cy="3175"/>
              </a:xfrm>
              <a:custGeom>
                <a:avLst/>
                <a:gdLst>
                  <a:gd name="T0" fmla="*/ 0 h 2"/>
                  <a:gd name="T1" fmla="*/ 2 h 2"/>
                  <a:gd name="T2" fmla="*/ 0 h 2"/>
                  <a:gd name="T3" fmla="*/ 0 h 2"/>
                  <a:gd name="T4" fmla="*/ 0 h 2"/>
                </a:gdLst>
                <a:ahLst/>
                <a:cxnLst>
                  <a:cxn ang="0">
                    <a:pos x="0" y="T0"/>
                  </a:cxn>
                  <a:cxn ang="0">
                    <a:pos x="0" y="T1"/>
                  </a:cxn>
                  <a:cxn ang="0">
                    <a:pos x="0" y="T2"/>
                  </a:cxn>
                  <a:cxn ang="0">
                    <a:pos x="0" y="T3"/>
                  </a:cxn>
                  <a:cxn ang="0">
                    <a:pos x="0" y="T4"/>
                  </a:cxn>
                </a:cxnLst>
                <a:rect l="0" t="0" r="r" b="b"/>
                <a:pathLst>
                  <a:path h="2">
                    <a:moveTo>
                      <a:pt x="0" y="0"/>
                    </a:moveTo>
                    <a:lnTo>
                      <a:pt x="0" y="2"/>
                    </a:lnTo>
                    <a:lnTo>
                      <a:pt x="0" y="0"/>
                    </a:lnTo>
                    <a:lnTo>
                      <a:pt x="0" y="0"/>
                    </a:lnTo>
                    <a:lnTo>
                      <a:pt x="0" y="0"/>
                    </a:ln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71" name="Freeform 421"/>
              <p:cNvSpPr>
                <a:spLocks/>
              </p:cNvSpPr>
              <p:nvPr/>
            </p:nvSpPr>
            <p:spPr bwMode="auto">
              <a:xfrm>
                <a:off x="2749551" y="5657851"/>
                <a:ext cx="0" cy="3175"/>
              </a:xfrm>
              <a:custGeom>
                <a:avLst/>
                <a:gdLst>
                  <a:gd name="T0" fmla="*/ 0 h 2"/>
                  <a:gd name="T1" fmla="*/ 2 h 2"/>
                  <a:gd name="T2" fmla="*/ 0 h 2"/>
                  <a:gd name="T3" fmla="*/ 0 h 2"/>
                  <a:gd name="T4" fmla="*/ 0 h 2"/>
                </a:gdLst>
                <a:ahLst/>
                <a:cxnLst>
                  <a:cxn ang="0">
                    <a:pos x="0" y="T0"/>
                  </a:cxn>
                  <a:cxn ang="0">
                    <a:pos x="0" y="T1"/>
                  </a:cxn>
                  <a:cxn ang="0">
                    <a:pos x="0" y="T2"/>
                  </a:cxn>
                  <a:cxn ang="0">
                    <a:pos x="0" y="T3"/>
                  </a:cxn>
                  <a:cxn ang="0">
                    <a:pos x="0" y="T4"/>
                  </a:cxn>
                </a:cxnLst>
                <a:rect l="0" t="0" r="r" b="b"/>
                <a:pathLst>
                  <a:path h="2">
                    <a:moveTo>
                      <a:pt x="0" y="0"/>
                    </a:moveTo>
                    <a:lnTo>
                      <a:pt x="0"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72" name="Rectangle 422"/>
              <p:cNvSpPr>
                <a:spLocks noChangeArrowheads="1"/>
              </p:cNvSpPr>
              <p:nvPr/>
            </p:nvSpPr>
            <p:spPr bwMode="auto">
              <a:xfrm>
                <a:off x="2749551" y="5657851"/>
                <a:ext cx="1588" cy="3175"/>
              </a:xfrm>
              <a:prstGeom prst="rect">
                <a:avLst/>
              </a:prstGeom>
              <a:solidFill>
                <a:srgbClr val="68C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73" name="Rectangle 423"/>
              <p:cNvSpPr>
                <a:spLocks noChangeArrowheads="1"/>
              </p:cNvSpPr>
              <p:nvPr/>
            </p:nvSpPr>
            <p:spPr bwMode="auto">
              <a:xfrm>
                <a:off x="2749551" y="5657851"/>
                <a:ext cx="1588"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pic>
            <p:nvPicPr>
              <p:cNvPr id="174" name="Picture 424"/>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743201" y="5646738"/>
                <a:ext cx="28575"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5" name="Freeform 425"/>
              <p:cNvSpPr>
                <a:spLocks/>
              </p:cNvSpPr>
              <p:nvPr/>
            </p:nvSpPr>
            <p:spPr bwMode="auto">
              <a:xfrm>
                <a:off x="2744788" y="5718176"/>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close/>
                  </a:path>
                </a:pathLst>
              </a:custGeom>
              <a:solidFill>
                <a:srgbClr val="68C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76" name="Rectangle 426"/>
              <p:cNvSpPr>
                <a:spLocks noChangeArrowheads="1"/>
              </p:cNvSpPr>
              <p:nvPr/>
            </p:nvSpPr>
            <p:spPr bwMode="auto">
              <a:xfrm>
                <a:off x="2744788" y="5718176"/>
                <a:ext cx="1588" cy="1588"/>
              </a:xfrm>
              <a:prstGeom prst="rect">
                <a:avLst/>
              </a:prstGeom>
              <a:solidFill>
                <a:srgbClr val="68C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grpSp>
        <p:sp>
          <p:nvSpPr>
            <p:cNvPr id="133" name="Freeform 427"/>
            <p:cNvSpPr>
              <a:spLocks/>
            </p:cNvSpPr>
            <p:nvPr/>
          </p:nvSpPr>
          <p:spPr bwMode="auto">
            <a:xfrm>
              <a:off x="3536951" y="2422526"/>
              <a:ext cx="4763"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1" y="0"/>
                    <a:pt x="0" y="0"/>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34" name="Freeform 428"/>
            <p:cNvSpPr>
              <a:spLocks/>
            </p:cNvSpPr>
            <p:nvPr/>
          </p:nvSpPr>
          <p:spPr bwMode="auto">
            <a:xfrm>
              <a:off x="3530601" y="2425701"/>
              <a:ext cx="0" cy="317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35" name="Freeform 429"/>
            <p:cNvSpPr>
              <a:spLocks/>
            </p:cNvSpPr>
            <p:nvPr/>
          </p:nvSpPr>
          <p:spPr bwMode="auto">
            <a:xfrm>
              <a:off x="3530601" y="2422526"/>
              <a:ext cx="3175" cy="3175"/>
            </a:xfrm>
            <a:custGeom>
              <a:avLst/>
              <a:gdLst>
                <a:gd name="T0" fmla="*/ 0 w 2"/>
                <a:gd name="T1" fmla="*/ 2 h 2"/>
                <a:gd name="T2" fmla="*/ 2 w 2"/>
                <a:gd name="T3" fmla="*/ 0 h 2"/>
                <a:gd name="T4" fmla="*/ 0 w 2"/>
                <a:gd name="T5" fmla="*/ 2 h 2"/>
              </a:gdLst>
              <a:ahLst/>
              <a:cxnLst>
                <a:cxn ang="0">
                  <a:pos x="T0" y="T1"/>
                </a:cxn>
                <a:cxn ang="0">
                  <a:pos x="T2" y="T3"/>
                </a:cxn>
                <a:cxn ang="0">
                  <a:pos x="T4" y="T5"/>
                </a:cxn>
              </a:cxnLst>
              <a:rect l="0" t="0" r="r" b="b"/>
              <a:pathLst>
                <a:path w="2" h="2">
                  <a:moveTo>
                    <a:pt x="0" y="2"/>
                  </a:moveTo>
                  <a:lnTo>
                    <a:pt x="2" y="0"/>
                  </a:lnTo>
                  <a:lnTo>
                    <a:pt x="0" y="2"/>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36" name="Freeform 430"/>
            <p:cNvSpPr>
              <a:spLocks/>
            </p:cNvSpPr>
            <p:nvPr/>
          </p:nvSpPr>
          <p:spPr bwMode="auto">
            <a:xfrm>
              <a:off x="3286126" y="227330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37" name="Freeform 431"/>
            <p:cNvSpPr>
              <a:spLocks/>
            </p:cNvSpPr>
            <p:nvPr/>
          </p:nvSpPr>
          <p:spPr bwMode="auto">
            <a:xfrm>
              <a:off x="2493963" y="2347913"/>
              <a:ext cx="1411288" cy="1216025"/>
            </a:xfrm>
            <a:custGeom>
              <a:avLst/>
              <a:gdLst>
                <a:gd name="T0" fmla="*/ 392 w 399"/>
                <a:gd name="T1" fmla="*/ 167 h 344"/>
                <a:gd name="T2" fmla="*/ 375 w 399"/>
                <a:gd name="T3" fmla="*/ 167 h 344"/>
                <a:gd name="T4" fmla="*/ 366 w 399"/>
                <a:gd name="T5" fmla="*/ 166 h 344"/>
                <a:gd name="T6" fmla="*/ 372 w 399"/>
                <a:gd name="T7" fmla="*/ 156 h 344"/>
                <a:gd name="T8" fmla="*/ 369 w 399"/>
                <a:gd name="T9" fmla="*/ 146 h 344"/>
                <a:gd name="T10" fmla="*/ 357 w 399"/>
                <a:gd name="T11" fmla="*/ 124 h 344"/>
                <a:gd name="T12" fmla="*/ 341 w 399"/>
                <a:gd name="T13" fmla="*/ 122 h 344"/>
                <a:gd name="T14" fmla="*/ 336 w 399"/>
                <a:gd name="T15" fmla="*/ 109 h 344"/>
                <a:gd name="T16" fmla="*/ 316 w 399"/>
                <a:gd name="T17" fmla="*/ 107 h 344"/>
                <a:gd name="T18" fmla="*/ 309 w 399"/>
                <a:gd name="T19" fmla="*/ 121 h 344"/>
                <a:gd name="T20" fmla="*/ 295 w 399"/>
                <a:gd name="T21" fmla="*/ 94 h 344"/>
                <a:gd name="T22" fmla="*/ 281 w 399"/>
                <a:gd name="T23" fmla="*/ 61 h 344"/>
                <a:gd name="T24" fmla="*/ 274 w 399"/>
                <a:gd name="T25" fmla="*/ 48 h 344"/>
                <a:gd name="T26" fmla="*/ 250 w 399"/>
                <a:gd name="T27" fmla="*/ 44 h 344"/>
                <a:gd name="T28" fmla="*/ 242 w 399"/>
                <a:gd name="T29" fmla="*/ 38 h 344"/>
                <a:gd name="T30" fmla="*/ 242 w 399"/>
                <a:gd name="T31" fmla="*/ 18 h 344"/>
                <a:gd name="T32" fmla="*/ 237 w 399"/>
                <a:gd name="T33" fmla="*/ 10 h 344"/>
                <a:gd name="T34" fmla="*/ 213 w 399"/>
                <a:gd name="T35" fmla="*/ 0 h 344"/>
                <a:gd name="T36" fmla="*/ 190 w 399"/>
                <a:gd name="T37" fmla="*/ 8 h 344"/>
                <a:gd name="T38" fmla="*/ 166 w 399"/>
                <a:gd name="T39" fmla="*/ 52 h 344"/>
                <a:gd name="T40" fmla="*/ 132 w 399"/>
                <a:gd name="T41" fmla="*/ 80 h 344"/>
                <a:gd name="T42" fmla="*/ 94 w 399"/>
                <a:gd name="T43" fmla="*/ 101 h 344"/>
                <a:gd name="T44" fmla="*/ 58 w 399"/>
                <a:gd name="T45" fmla="*/ 92 h 344"/>
                <a:gd name="T46" fmla="*/ 22 w 399"/>
                <a:gd name="T47" fmla="*/ 116 h 344"/>
                <a:gd name="T48" fmla="*/ 12 w 399"/>
                <a:gd name="T49" fmla="*/ 152 h 344"/>
                <a:gd name="T50" fmla="*/ 29 w 399"/>
                <a:gd name="T51" fmla="*/ 158 h 344"/>
                <a:gd name="T52" fmla="*/ 25 w 399"/>
                <a:gd name="T53" fmla="*/ 187 h 344"/>
                <a:gd name="T54" fmla="*/ 35 w 399"/>
                <a:gd name="T55" fmla="*/ 200 h 344"/>
                <a:gd name="T56" fmla="*/ 55 w 399"/>
                <a:gd name="T57" fmla="*/ 226 h 344"/>
                <a:gd name="T58" fmla="*/ 78 w 399"/>
                <a:gd name="T59" fmla="*/ 252 h 344"/>
                <a:gd name="T60" fmla="*/ 92 w 399"/>
                <a:gd name="T61" fmla="*/ 255 h 344"/>
                <a:gd name="T62" fmla="*/ 109 w 399"/>
                <a:gd name="T63" fmla="*/ 258 h 344"/>
                <a:gd name="T64" fmla="*/ 127 w 399"/>
                <a:gd name="T65" fmla="*/ 262 h 344"/>
                <a:gd name="T66" fmla="*/ 143 w 399"/>
                <a:gd name="T67" fmla="*/ 272 h 344"/>
                <a:gd name="T68" fmla="*/ 163 w 399"/>
                <a:gd name="T69" fmla="*/ 273 h 344"/>
                <a:gd name="T70" fmla="*/ 165 w 399"/>
                <a:gd name="T71" fmla="*/ 291 h 344"/>
                <a:gd name="T72" fmla="*/ 173 w 399"/>
                <a:gd name="T73" fmla="*/ 310 h 344"/>
                <a:gd name="T74" fmla="*/ 193 w 399"/>
                <a:gd name="T75" fmla="*/ 330 h 344"/>
                <a:gd name="T76" fmla="*/ 206 w 399"/>
                <a:gd name="T77" fmla="*/ 339 h 344"/>
                <a:gd name="T78" fmla="*/ 215 w 399"/>
                <a:gd name="T79" fmla="*/ 344 h 344"/>
                <a:gd name="T80" fmla="*/ 235 w 399"/>
                <a:gd name="T81" fmla="*/ 322 h 344"/>
                <a:gd name="T82" fmla="*/ 241 w 399"/>
                <a:gd name="T83" fmla="*/ 296 h 344"/>
                <a:gd name="T84" fmla="*/ 237 w 399"/>
                <a:gd name="T85" fmla="*/ 279 h 344"/>
                <a:gd name="T86" fmla="*/ 238 w 399"/>
                <a:gd name="T87" fmla="*/ 263 h 344"/>
                <a:gd name="T88" fmla="*/ 242 w 399"/>
                <a:gd name="T89" fmla="*/ 257 h 344"/>
                <a:gd name="T90" fmla="*/ 260 w 399"/>
                <a:gd name="T91" fmla="*/ 257 h 344"/>
                <a:gd name="T92" fmla="*/ 275 w 399"/>
                <a:gd name="T93" fmla="*/ 268 h 344"/>
                <a:gd name="T94" fmla="*/ 282 w 399"/>
                <a:gd name="T95" fmla="*/ 281 h 344"/>
                <a:gd name="T96" fmla="*/ 284 w 399"/>
                <a:gd name="T97" fmla="*/ 299 h 344"/>
                <a:gd name="T98" fmla="*/ 275 w 399"/>
                <a:gd name="T99" fmla="*/ 314 h 344"/>
                <a:gd name="T100" fmla="*/ 287 w 399"/>
                <a:gd name="T101" fmla="*/ 302 h 344"/>
                <a:gd name="T102" fmla="*/ 315 w 399"/>
                <a:gd name="T103" fmla="*/ 296 h 344"/>
                <a:gd name="T104" fmla="*/ 320 w 399"/>
                <a:gd name="T105" fmla="*/ 296 h 344"/>
                <a:gd name="T106" fmla="*/ 330 w 399"/>
                <a:gd name="T107" fmla="*/ 280 h 344"/>
                <a:gd name="T108" fmla="*/ 330 w 399"/>
                <a:gd name="T109" fmla="*/ 266 h 344"/>
                <a:gd name="T110" fmla="*/ 344 w 399"/>
                <a:gd name="T111" fmla="*/ 255 h 344"/>
                <a:gd name="T112" fmla="*/ 357 w 399"/>
                <a:gd name="T113" fmla="*/ 243 h 344"/>
                <a:gd name="T114" fmla="*/ 341 w 399"/>
                <a:gd name="T115" fmla="*/ 242 h 344"/>
                <a:gd name="T116" fmla="*/ 320 w 399"/>
                <a:gd name="T117" fmla="*/ 216 h 344"/>
                <a:gd name="T118" fmla="*/ 351 w 399"/>
                <a:gd name="T119" fmla="*/ 196 h 344"/>
                <a:gd name="T120" fmla="*/ 378 w 399"/>
                <a:gd name="T121" fmla="*/ 185 h 344"/>
                <a:gd name="T122" fmla="*/ 399 w 399"/>
                <a:gd name="T123" fmla="*/ 169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9" h="344">
                  <a:moveTo>
                    <a:pt x="399" y="169"/>
                  </a:moveTo>
                  <a:cubicBezTo>
                    <a:pt x="398" y="169"/>
                    <a:pt x="396" y="167"/>
                    <a:pt x="396" y="165"/>
                  </a:cubicBezTo>
                  <a:cubicBezTo>
                    <a:pt x="395" y="165"/>
                    <a:pt x="394" y="166"/>
                    <a:pt x="394" y="167"/>
                  </a:cubicBezTo>
                  <a:cubicBezTo>
                    <a:pt x="393" y="167"/>
                    <a:pt x="393" y="167"/>
                    <a:pt x="392" y="167"/>
                  </a:cubicBezTo>
                  <a:cubicBezTo>
                    <a:pt x="392" y="168"/>
                    <a:pt x="391" y="170"/>
                    <a:pt x="391" y="171"/>
                  </a:cubicBezTo>
                  <a:cubicBezTo>
                    <a:pt x="389" y="171"/>
                    <a:pt x="389" y="169"/>
                    <a:pt x="388" y="167"/>
                  </a:cubicBezTo>
                  <a:cubicBezTo>
                    <a:pt x="386" y="167"/>
                    <a:pt x="383" y="171"/>
                    <a:pt x="382" y="169"/>
                  </a:cubicBezTo>
                  <a:cubicBezTo>
                    <a:pt x="380" y="167"/>
                    <a:pt x="378" y="167"/>
                    <a:pt x="375" y="167"/>
                  </a:cubicBezTo>
                  <a:cubicBezTo>
                    <a:pt x="375" y="168"/>
                    <a:pt x="375" y="169"/>
                    <a:pt x="375" y="171"/>
                  </a:cubicBezTo>
                  <a:cubicBezTo>
                    <a:pt x="370" y="171"/>
                    <a:pt x="363" y="168"/>
                    <a:pt x="364" y="175"/>
                  </a:cubicBezTo>
                  <a:cubicBezTo>
                    <a:pt x="360" y="175"/>
                    <a:pt x="362" y="167"/>
                    <a:pt x="366" y="167"/>
                  </a:cubicBezTo>
                  <a:cubicBezTo>
                    <a:pt x="366" y="166"/>
                    <a:pt x="366" y="166"/>
                    <a:pt x="366" y="166"/>
                  </a:cubicBezTo>
                  <a:cubicBezTo>
                    <a:pt x="368" y="166"/>
                    <a:pt x="370" y="166"/>
                    <a:pt x="372" y="166"/>
                  </a:cubicBezTo>
                  <a:cubicBezTo>
                    <a:pt x="372" y="164"/>
                    <a:pt x="376" y="164"/>
                    <a:pt x="378" y="164"/>
                  </a:cubicBezTo>
                  <a:cubicBezTo>
                    <a:pt x="377" y="160"/>
                    <a:pt x="372" y="161"/>
                    <a:pt x="369" y="161"/>
                  </a:cubicBezTo>
                  <a:cubicBezTo>
                    <a:pt x="369" y="158"/>
                    <a:pt x="369" y="156"/>
                    <a:pt x="372" y="156"/>
                  </a:cubicBezTo>
                  <a:cubicBezTo>
                    <a:pt x="372" y="155"/>
                    <a:pt x="372" y="154"/>
                    <a:pt x="374" y="154"/>
                  </a:cubicBezTo>
                  <a:cubicBezTo>
                    <a:pt x="375" y="149"/>
                    <a:pt x="370" y="152"/>
                    <a:pt x="370" y="149"/>
                  </a:cubicBezTo>
                  <a:cubicBezTo>
                    <a:pt x="370" y="149"/>
                    <a:pt x="374" y="149"/>
                    <a:pt x="372" y="147"/>
                  </a:cubicBezTo>
                  <a:cubicBezTo>
                    <a:pt x="371" y="146"/>
                    <a:pt x="370" y="146"/>
                    <a:pt x="369" y="146"/>
                  </a:cubicBezTo>
                  <a:cubicBezTo>
                    <a:pt x="367" y="145"/>
                    <a:pt x="363" y="145"/>
                    <a:pt x="363" y="142"/>
                  </a:cubicBezTo>
                  <a:cubicBezTo>
                    <a:pt x="363" y="137"/>
                    <a:pt x="356" y="129"/>
                    <a:pt x="361" y="124"/>
                  </a:cubicBezTo>
                  <a:cubicBezTo>
                    <a:pt x="363" y="122"/>
                    <a:pt x="364" y="122"/>
                    <a:pt x="362" y="120"/>
                  </a:cubicBezTo>
                  <a:cubicBezTo>
                    <a:pt x="360" y="121"/>
                    <a:pt x="359" y="123"/>
                    <a:pt x="357" y="124"/>
                  </a:cubicBezTo>
                  <a:cubicBezTo>
                    <a:pt x="355" y="126"/>
                    <a:pt x="350" y="126"/>
                    <a:pt x="347" y="125"/>
                  </a:cubicBezTo>
                  <a:cubicBezTo>
                    <a:pt x="348" y="126"/>
                    <a:pt x="348" y="127"/>
                    <a:pt x="348" y="128"/>
                  </a:cubicBezTo>
                  <a:cubicBezTo>
                    <a:pt x="345" y="128"/>
                    <a:pt x="343" y="128"/>
                    <a:pt x="343" y="131"/>
                  </a:cubicBezTo>
                  <a:cubicBezTo>
                    <a:pt x="338" y="133"/>
                    <a:pt x="340" y="124"/>
                    <a:pt x="341" y="122"/>
                  </a:cubicBezTo>
                  <a:cubicBezTo>
                    <a:pt x="341" y="119"/>
                    <a:pt x="340" y="111"/>
                    <a:pt x="344" y="110"/>
                  </a:cubicBezTo>
                  <a:cubicBezTo>
                    <a:pt x="344" y="109"/>
                    <a:pt x="344" y="109"/>
                    <a:pt x="344" y="109"/>
                  </a:cubicBezTo>
                  <a:cubicBezTo>
                    <a:pt x="341" y="108"/>
                    <a:pt x="339" y="103"/>
                    <a:pt x="337" y="105"/>
                  </a:cubicBezTo>
                  <a:cubicBezTo>
                    <a:pt x="337" y="106"/>
                    <a:pt x="336" y="107"/>
                    <a:pt x="336" y="109"/>
                  </a:cubicBezTo>
                  <a:cubicBezTo>
                    <a:pt x="335" y="109"/>
                    <a:pt x="332" y="108"/>
                    <a:pt x="331" y="109"/>
                  </a:cubicBezTo>
                  <a:cubicBezTo>
                    <a:pt x="330" y="110"/>
                    <a:pt x="331" y="112"/>
                    <a:pt x="330" y="113"/>
                  </a:cubicBezTo>
                  <a:cubicBezTo>
                    <a:pt x="323" y="114"/>
                    <a:pt x="322" y="103"/>
                    <a:pt x="313" y="105"/>
                  </a:cubicBezTo>
                  <a:cubicBezTo>
                    <a:pt x="313" y="106"/>
                    <a:pt x="314" y="107"/>
                    <a:pt x="316" y="107"/>
                  </a:cubicBezTo>
                  <a:cubicBezTo>
                    <a:pt x="316" y="107"/>
                    <a:pt x="315" y="107"/>
                    <a:pt x="315" y="107"/>
                  </a:cubicBezTo>
                  <a:cubicBezTo>
                    <a:pt x="314" y="109"/>
                    <a:pt x="315" y="111"/>
                    <a:pt x="316" y="113"/>
                  </a:cubicBezTo>
                  <a:cubicBezTo>
                    <a:pt x="314" y="113"/>
                    <a:pt x="309" y="111"/>
                    <a:pt x="308" y="114"/>
                  </a:cubicBezTo>
                  <a:cubicBezTo>
                    <a:pt x="308" y="116"/>
                    <a:pt x="309" y="119"/>
                    <a:pt x="309" y="121"/>
                  </a:cubicBezTo>
                  <a:cubicBezTo>
                    <a:pt x="308" y="121"/>
                    <a:pt x="307" y="120"/>
                    <a:pt x="305" y="120"/>
                  </a:cubicBezTo>
                  <a:cubicBezTo>
                    <a:pt x="305" y="120"/>
                    <a:pt x="304" y="121"/>
                    <a:pt x="303" y="121"/>
                  </a:cubicBezTo>
                  <a:cubicBezTo>
                    <a:pt x="293" y="119"/>
                    <a:pt x="304" y="107"/>
                    <a:pt x="302" y="103"/>
                  </a:cubicBezTo>
                  <a:cubicBezTo>
                    <a:pt x="301" y="99"/>
                    <a:pt x="298" y="96"/>
                    <a:pt x="295" y="94"/>
                  </a:cubicBezTo>
                  <a:cubicBezTo>
                    <a:pt x="292" y="93"/>
                    <a:pt x="291" y="91"/>
                    <a:pt x="291" y="88"/>
                  </a:cubicBezTo>
                  <a:cubicBezTo>
                    <a:pt x="289" y="88"/>
                    <a:pt x="285" y="89"/>
                    <a:pt x="284" y="86"/>
                  </a:cubicBezTo>
                  <a:cubicBezTo>
                    <a:pt x="284" y="84"/>
                    <a:pt x="283" y="82"/>
                    <a:pt x="282" y="80"/>
                  </a:cubicBezTo>
                  <a:cubicBezTo>
                    <a:pt x="279" y="74"/>
                    <a:pt x="280" y="67"/>
                    <a:pt x="281" y="61"/>
                  </a:cubicBezTo>
                  <a:cubicBezTo>
                    <a:pt x="281" y="62"/>
                    <a:pt x="278" y="60"/>
                    <a:pt x="278" y="60"/>
                  </a:cubicBezTo>
                  <a:cubicBezTo>
                    <a:pt x="277" y="59"/>
                    <a:pt x="278" y="57"/>
                    <a:pt x="278" y="56"/>
                  </a:cubicBezTo>
                  <a:cubicBezTo>
                    <a:pt x="278" y="53"/>
                    <a:pt x="278" y="50"/>
                    <a:pt x="274" y="50"/>
                  </a:cubicBezTo>
                  <a:cubicBezTo>
                    <a:pt x="274" y="49"/>
                    <a:pt x="274" y="49"/>
                    <a:pt x="274" y="48"/>
                  </a:cubicBezTo>
                  <a:cubicBezTo>
                    <a:pt x="271" y="48"/>
                    <a:pt x="262" y="53"/>
                    <a:pt x="261" y="47"/>
                  </a:cubicBezTo>
                  <a:cubicBezTo>
                    <a:pt x="260" y="48"/>
                    <a:pt x="260" y="47"/>
                    <a:pt x="259" y="47"/>
                  </a:cubicBezTo>
                  <a:cubicBezTo>
                    <a:pt x="259" y="46"/>
                    <a:pt x="259" y="45"/>
                    <a:pt x="259" y="44"/>
                  </a:cubicBezTo>
                  <a:cubicBezTo>
                    <a:pt x="256" y="43"/>
                    <a:pt x="251" y="39"/>
                    <a:pt x="250" y="44"/>
                  </a:cubicBezTo>
                  <a:cubicBezTo>
                    <a:pt x="247" y="43"/>
                    <a:pt x="245" y="42"/>
                    <a:pt x="242" y="43"/>
                  </a:cubicBezTo>
                  <a:cubicBezTo>
                    <a:pt x="242" y="42"/>
                    <a:pt x="241" y="42"/>
                    <a:pt x="241" y="41"/>
                  </a:cubicBezTo>
                  <a:cubicBezTo>
                    <a:pt x="240" y="41"/>
                    <a:pt x="238" y="40"/>
                    <a:pt x="238" y="38"/>
                  </a:cubicBezTo>
                  <a:cubicBezTo>
                    <a:pt x="239" y="38"/>
                    <a:pt x="241" y="38"/>
                    <a:pt x="242" y="38"/>
                  </a:cubicBezTo>
                  <a:cubicBezTo>
                    <a:pt x="242" y="36"/>
                    <a:pt x="241" y="33"/>
                    <a:pt x="242" y="31"/>
                  </a:cubicBezTo>
                  <a:cubicBezTo>
                    <a:pt x="244" y="29"/>
                    <a:pt x="244" y="27"/>
                    <a:pt x="243" y="25"/>
                  </a:cubicBezTo>
                  <a:cubicBezTo>
                    <a:pt x="242" y="25"/>
                    <a:pt x="241" y="25"/>
                    <a:pt x="240" y="24"/>
                  </a:cubicBezTo>
                  <a:cubicBezTo>
                    <a:pt x="239" y="22"/>
                    <a:pt x="239" y="18"/>
                    <a:pt x="242" y="18"/>
                  </a:cubicBezTo>
                  <a:cubicBezTo>
                    <a:pt x="243" y="18"/>
                    <a:pt x="243" y="16"/>
                    <a:pt x="242" y="15"/>
                  </a:cubicBezTo>
                  <a:cubicBezTo>
                    <a:pt x="242" y="15"/>
                    <a:pt x="240" y="15"/>
                    <a:pt x="239" y="15"/>
                  </a:cubicBezTo>
                  <a:cubicBezTo>
                    <a:pt x="238" y="14"/>
                    <a:pt x="238" y="12"/>
                    <a:pt x="238" y="11"/>
                  </a:cubicBezTo>
                  <a:cubicBezTo>
                    <a:pt x="237" y="10"/>
                    <a:pt x="237" y="10"/>
                    <a:pt x="237" y="10"/>
                  </a:cubicBezTo>
                  <a:cubicBezTo>
                    <a:pt x="235" y="9"/>
                    <a:pt x="232" y="10"/>
                    <a:pt x="229" y="9"/>
                  </a:cubicBezTo>
                  <a:cubicBezTo>
                    <a:pt x="226" y="8"/>
                    <a:pt x="224" y="7"/>
                    <a:pt x="221" y="7"/>
                  </a:cubicBezTo>
                  <a:cubicBezTo>
                    <a:pt x="219" y="7"/>
                    <a:pt x="215" y="8"/>
                    <a:pt x="216" y="6"/>
                  </a:cubicBezTo>
                  <a:cubicBezTo>
                    <a:pt x="216" y="2"/>
                    <a:pt x="215" y="1"/>
                    <a:pt x="213" y="0"/>
                  </a:cubicBezTo>
                  <a:cubicBezTo>
                    <a:pt x="212" y="1"/>
                    <a:pt x="211" y="1"/>
                    <a:pt x="210" y="2"/>
                  </a:cubicBezTo>
                  <a:cubicBezTo>
                    <a:pt x="209" y="5"/>
                    <a:pt x="209" y="7"/>
                    <a:pt x="206" y="7"/>
                  </a:cubicBezTo>
                  <a:cubicBezTo>
                    <a:pt x="203" y="7"/>
                    <a:pt x="201" y="6"/>
                    <a:pt x="199" y="6"/>
                  </a:cubicBezTo>
                  <a:cubicBezTo>
                    <a:pt x="195" y="6"/>
                    <a:pt x="193" y="7"/>
                    <a:pt x="190" y="8"/>
                  </a:cubicBezTo>
                  <a:cubicBezTo>
                    <a:pt x="189" y="14"/>
                    <a:pt x="188" y="18"/>
                    <a:pt x="186" y="23"/>
                  </a:cubicBezTo>
                  <a:cubicBezTo>
                    <a:pt x="185" y="25"/>
                    <a:pt x="184" y="28"/>
                    <a:pt x="183" y="31"/>
                  </a:cubicBezTo>
                  <a:cubicBezTo>
                    <a:pt x="182" y="33"/>
                    <a:pt x="181" y="36"/>
                    <a:pt x="179" y="37"/>
                  </a:cubicBezTo>
                  <a:cubicBezTo>
                    <a:pt x="173" y="42"/>
                    <a:pt x="172" y="48"/>
                    <a:pt x="166" y="52"/>
                  </a:cubicBezTo>
                  <a:cubicBezTo>
                    <a:pt x="161" y="56"/>
                    <a:pt x="156" y="56"/>
                    <a:pt x="151" y="60"/>
                  </a:cubicBezTo>
                  <a:cubicBezTo>
                    <a:pt x="149" y="62"/>
                    <a:pt x="147" y="61"/>
                    <a:pt x="144" y="62"/>
                  </a:cubicBezTo>
                  <a:cubicBezTo>
                    <a:pt x="139" y="63"/>
                    <a:pt x="136" y="68"/>
                    <a:pt x="134" y="72"/>
                  </a:cubicBezTo>
                  <a:cubicBezTo>
                    <a:pt x="131" y="73"/>
                    <a:pt x="133" y="77"/>
                    <a:pt x="132" y="80"/>
                  </a:cubicBezTo>
                  <a:cubicBezTo>
                    <a:pt x="131" y="82"/>
                    <a:pt x="130" y="82"/>
                    <a:pt x="128" y="83"/>
                  </a:cubicBezTo>
                  <a:cubicBezTo>
                    <a:pt x="125" y="84"/>
                    <a:pt x="123" y="85"/>
                    <a:pt x="122" y="87"/>
                  </a:cubicBezTo>
                  <a:cubicBezTo>
                    <a:pt x="119" y="91"/>
                    <a:pt x="119" y="96"/>
                    <a:pt x="115" y="99"/>
                  </a:cubicBezTo>
                  <a:cubicBezTo>
                    <a:pt x="109" y="104"/>
                    <a:pt x="101" y="102"/>
                    <a:pt x="94" y="101"/>
                  </a:cubicBezTo>
                  <a:cubicBezTo>
                    <a:pt x="89" y="101"/>
                    <a:pt x="85" y="102"/>
                    <a:pt x="82" y="103"/>
                  </a:cubicBezTo>
                  <a:cubicBezTo>
                    <a:pt x="77" y="105"/>
                    <a:pt x="73" y="109"/>
                    <a:pt x="68" y="107"/>
                  </a:cubicBezTo>
                  <a:cubicBezTo>
                    <a:pt x="65" y="107"/>
                    <a:pt x="60" y="102"/>
                    <a:pt x="60" y="99"/>
                  </a:cubicBezTo>
                  <a:cubicBezTo>
                    <a:pt x="59" y="96"/>
                    <a:pt x="61" y="94"/>
                    <a:pt x="58" y="92"/>
                  </a:cubicBezTo>
                  <a:cubicBezTo>
                    <a:pt x="52" y="87"/>
                    <a:pt x="43" y="91"/>
                    <a:pt x="39" y="96"/>
                  </a:cubicBezTo>
                  <a:cubicBezTo>
                    <a:pt x="38" y="97"/>
                    <a:pt x="38" y="98"/>
                    <a:pt x="37" y="100"/>
                  </a:cubicBezTo>
                  <a:cubicBezTo>
                    <a:pt x="35" y="102"/>
                    <a:pt x="33" y="104"/>
                    <a:pt x="30" y="107"/>
                  </a:cubicBezTo>
                  <a:cubicBezTo>
                    <a:pt x="28" y="110"/>
                    <a:pt x="25" y="114"/>
                    <a:pt x="22" y="116"/>
                  </a:cubicBezTo>
                  <a:cubicBezTo>
                    <a:pt x="19" y="118"/>
                    <a:pt x="15" y="120"/>
                    <a:pt x="11" y="122"/>
                  </a:cubicBezTo>
                  <a:cubicBezTo>
                    <a:pt x="6" y="125"/>
                    <a:pt x="7" y="127"/>
                    <a:pt x="5" y="133"/>
                  </a:cubicBezTo>
                  <a:cubicBezTo>
                    <a:pt x="5" y="135"/>
                    <a:pt x="3" y="136"/>
                    <a:pt x="3" y="139"/>
                  </a:cubicBezTo>
                  <a:cubicBezTo>
                    <a:pt x="0" y="148"/>
                    <a:pt x="7" y="148"/>
                    <a:pt x="12" y="152"/>
                  </a:cubicBezTo>
                  <a:cubicBezTo>
                    <a:pt x="13" y="153"/>
                    <a:pt x="14" y="154"/>
                    <a:pt x="15" y="155"/>
                  </a:cubicBezTo>
                  <a:cubicBezTo>
                    <a:pt x="16" y="156"/>
                    <a:pt x="16" y="157"/>
                    <a:pt x="18" y="157"/>
                  </a:cubicBezTo>
                  <a:cubicBezTo>
                    <a:pt x="19" y="157"/>
                    <a:pt x="19" y="156"/>
                    <a:pt x="19" y="156"/>
                  </a:cubicBezTo>
                  <a:cubicBezTo>
                    <a:pt x="22" y="155"/>
                    <a:pt x="27" y="156"/>
                    <a:pt x="29" y="158"/>
                  </a:cubicBezTo>
                  <a:cubicBezTo>
                    <a:pt x="33" y="160"/>
                    <a:pt x="31" y="164"/>
                    <a:pt x="31" y="168"/>
                  </a:cubicBezTo>
                  <a:cubicBezTo>
                    <a:pt x="31" y="170"/>
                    <a:pt x="31" y="172"/>
                    <a:pt x="30" y="173"/>
                  </a:cubicBezTo>
                  <a:cubicBezTo>
                    <a:pt x="29" y="175"/>
                    <a:pt x="28" y="175"/>
                    <a:pt x="27" y="177"/>
                  </a:cubicBezTo>
                  <a:cubicBezTo>
                    <a:pt x="25" y="179"/>
                    <a:pt x="25" y="184"/>
                    <a:pt x="25" y="187"/>
                  </a:cubicBezTo>
                  <a:cubicBezTo>
                    <a:pt x="26" y="188"/>
                    <a:pt x="28" y="189"/>
                    <a:pt x="28" y="190"/>
                  </a:cubicBezTo>
                  <a:cubicBezTo>
                    <a:pt x="29" y="191"/>
                    <a:pt x="28" y="193"/>
                    <a:pt x="28" y="195"/>
                  </a:cubicBezTo>
                  <a:cubicBezTo>
                    <a:pt x="32" y="195"/>
                    <a:pt x="30" y="197"/>
                    <a:pt x="31" y="198"/>
                  </a:cubicBezTo>
                  <a:cubicBezTo>
                    <a:pt x="32" y="199"/>
                    <a:pt x="34" y="199"/>
                    <a:pt x="35" y="200"/>
                  </a:cubicBezTo>
                  <a:cubicBezTo>
                    <a:pt x="38" y="201"/>
                    <a:pt x="41" y="201"/>
                    <a:pt x="45" y="201"/>
                  </a:cubicBezTo>
                  <a:cubicBezTo>
                    <a:pt x="51" y="201"/>
                    <a:pt x="50" y="202"/>
                    <a:pt x="50" y="208"/>
                  </a:cubicBezTo>
                  <a:cubicBezTo>
                    <a:pt x="50" y="211"/>
                    <a:pt x="50" y="214"/>
                    <a:pt x="51" y="217"/>
                  </a:cubicBezTo>
                  <a:cubicBezTo>
                    <a:pt x="52" y="220"/>
                    <a:pt x="54" y="223"/>
                    <a:pt x="55" y="226"/>
                  </a:cubicBezTo>
                  <a:cubicBezTo>
                    <a:pt x="57" y="229"/>
                    <a:pt x="59" y="231"/>
                    <a:pt x="60" y="234"/>
                  </a:cubicBezTo>
                  <a:cubicBezTo>
                    <a:pt x="60" y="238"/>
                    <a:pt x="62" y="239"/>
                    <a:pt x="64" y="243"/>
                  </a:cubicBezTo>
                  <a:cubicBezTo>
                    <a:pt x="66" y="245"/>
                    <a:pt x="70" y="250"/>
                    <a:pt x="70" y="253"/>
                  </a:cubicBezTo>
                  <a:cubicBezTo>
                    <a:pt x="73" y="252"/>
                    <a:pt x="77" y="251"/>
                    <a:pt x="78" y="252"/>
                  </a:cubicBezTo>
                  <a:cubicBezTo>
                    <a:pt x="79" y="253"/>
                    <a:pt x="78" y="255"/>
                    <a:pt x="79" y="256"/>
                  </a:cubicBezTo>
                  <a:cubicBezTo>
                    <a:pt x="79" y="258"/>
                    <a:pt x="81" y="258"/>
                    <a:pt x="83" y="258"/>
                  </a:cubicBezTo>
                  <a:cubicBezTo>
                    <a:pt x="83" y="257"/>
                    <a:pt x="83" y="256"/>
                    <a:pt x="83" y="255"/>
                  </a:cubicBezTo>
                  <a:cubicBezTo>
                    <a:pt x="86" y="255"/>
                    <a:pt x="89" y="254"/>
                    <a:pt x="92" y="255"/>
                  </a:cubicBezTo>
                  <a:cubicBezTo>
                    <a:pt x="94" y="256"/>
                    <a:pt x="96" y="257"/>
                    <a:pt x="98" y="257"/>
                  </a:cubicBezTo>
                  <a:cubicBezTo>
                    <a:pt x="100" y="256"/>
                    <a:pt x="103" y="256"/>
                    <a:pt x="103" y="259"/>
                  </a:cubicBezTo>
                  <a:cubicBezTo>
                    <a:pt x="104" y="260"/>
                    <a:pt x="105" y="262"/>
                    <a:pt x="107" y="262"/>
                  </a:cubicBezTo>
                  <a:cubicBezTo>
                    <a:pt x="107" y="260"/>
                    <a:pt x="108" y="258"/>
                    <a:pt x="109" y="258"/>
                  </a:cubicBezTo>
                  <a:cubicBezTo>
                    <a:pt x="109" y="259"/>
                    <a:pt x="110" y="260"/>
                    <a:pt x="111" y="260"/>
                  </a:cubicBezTo>
                  <a:cubicBezTo>
                    <a:pt x="112" y="258"/>
                    <a:pt x="116" y="256"/>
                    <a:pt x="118" y="256"/>
                  </a:cubicBezTo>
                  <a:cubicBezTo>
                    <a:pt x="118" y="258"/>
                    <a:pt x="118" y="260"/>
                    <a:pt x="120" y="261"/>
                  </a:cubicBezTo>
                  <a:cubicBezTo>
                    <a:pt x="122" y="262"/>
                    <a:pt x="126" y="260"/>
                    <a:pt x="127" y="262"/>
                  </a:cubicBezTo>
                  <a:cubicBezTo>
                    <a:pt x="128" y="264"/>
                    <a:pt x="128" y="265"/>
                    <a:pt x="130" y="267"/>
                  </a:cubicBezTo>
                  <a:cubicBezTo>
                    <a:pt x="132" y="268"/>
                    <a:pt x="132" y="269"/>
                    <a:pt x="132" y="272"/>
                  </a:cubicBezTo>
                  <a:cubicBezTo>
                    <a:pt x="134" y="271"/>
                    <a:pt x="135" y="270"/>
                    <a:pt x="136" y="268"/>
                  </a:cubicBezTo>
                  <a:cubicBezTo>
                    <a:pt x="138" y="267"/>
                    <a:pt x="140" y="272"/>
                    <a:pt x="143" y="272"/>
                  </a:cubicBezTo>
                  <a:cubicBezTo>
                    <a:pt x="143" y="274"/>
                    <a:pt x="143" y="275"/>
                    <a:pt x="143" y="277"/>
                  </a:cubicBezTo>
                  <a:cubicBezTo>
                    <a:pt x="146" y="277"/>
                    <a:pt x="152" y="275"/>
                    <a:pt x="153" y="279"/>
                  </a:cubicBezTo>
                  <a:cubicBezTo>
                    <a:pt x="156" y="280"/>
                    <a:pt x="156" y="275"/>
                    <a:pt x="157" y="273"/>
                  </a:cubicBezTo>
                  <a:cubicBezTo>
                    <a:pt x="158" y="271"/>
                    <a:pt x="161" y="272"/>
                    <a:pt x="163" y="273"/>
                  </a:cubicBezTo>
                  <a:cubicBezTo>
                    <a:pt x="163" y="275"/>
                    <a:pt x="162" y="277"/>
                    <a:pt x="163" y="278"/>
                  </a:cubicBezTo>
                  <a:cubicBezTo>
                    <a:pt x="164" y="279"/>
                    <a:pt x="166" y="278"/>
                    <a:pt x="167" y="279"/>
                  </a:cubicBezTo>
                  <a:cubicBezTo>
                    <a:pt x="164" y="281"/>
                    <a:pt x="161" y="281"/>
                    <a:pt x="160" y="285"/>
                  </a:cubicBezTo>
                  <a:cubicBezTo>
                    <a:pt x="160" y="288"/>
                    <a:pt x="162" y="292"/>
                    <a:pt x="165" y="291"/>
                  </a:cubicBezTo>
                  <a:cubicBezTo>
                    <a:pt x="164" y="295"/>
                    <a:pt x="166" y="297"/>
                    <a:pt x="169" y="294"/>
                  </a:cubicBezTo>
                  <a:cubicBezTo>
                    <a:pt x="172" y="290"/>
                    <a:pt x="176" y="295"/>
                    <a:pt x="175" y="299"/>
                  </a:cubicBezTo>
                  <a:cubicBezTo>
                    <a:pt x="174" y="301"/>
                    <a:pt x="167" y="305"/>
                    <a:pt x="169" y="308"/>
                  </a:cubicBezTo>
                  <a:cubicBezTo>
                    <a:pt x="170" y="310"/>
                    <a:pt x="172" y="309"/>
                    <a:pt x="173" y="310"/>
                  </a:cubicBezTo>
                  <a:cubicBezTo>
                    <a:pt x="175" y="312"/>
                    <a:pt x="173" y="315"/>
                    <a:pt x="175" y="317"/>
                  </a:cubicBezTo>
                  <a:cubicBezTo>
                    <a:pt x="184" y="312"/>
                    <a:pt x="177" y="322"/>
                    <a:pt x="181" y="325"/>
                  </a:cubicBezTo>
                  <a:cubicBezTo>
                    <a:pt x="182" y="327"/>
                    <a:pt x="186" y="326"/>
                    <a:pt x="188" y="326"/>
                  </a:cubicBezTo>
                  <a:cubicBezTo>
                    <a:pt x="190" y="327"/>
                    <a:pt x="190" y="331"/>
                    <a:pt x="193" y="330"/>
                  </a:cubicBezTo>
                  <a:cubicBezTo>
                    <a:pt x="193" y="331"/>
                    <a:pt x="193" y="331"/>
                    <a:pt x="193" y="331"/>
                  </a:cubicBezTo>
                  <a:cubicBezTo>
                    <a:pt x="195" y="331"/>
                    <a:pt x="198" y="330"/>
                    <a:pt x="200" y="332"/>
                  </a:cubicBezTo>
                  <a:cubicBezTo>
                    <a:pt x="202" y="334"/>
                    <a:pt x="201" y="335"/>
                    <a:pt x="200" y="338"/>
                  </a:cubicBezTo>
                  <a:cubicBezTo>
                    <a:pt x="200" y="341"/>
                    <a:pt x="205" y="339"/>
                    <a:pt x="206" y="339"/>
                  </a:cubicBezTo>
                  <a:cubicBezTo>
                    <a:pt x="208" y="339"/>
                    <a:pt x="208" y="342"/>
                    <a:pt x="208" y="344"/>
                  </a:cubicBezTo>
                  <a:cubicBezTo>
                    <a:pt x="209" y="344"/>
                    <a:pt x="209" y="344"/>
                    <a:pt x="209" y="344"/>
                  </a:cubicBezTo>
                  <a:cubicBezTo>
                    <a:pt x="210" y="344"/>
                    <a:pt x="210" y="344"/>
                    <a:pt x="210" y="343"/>
                  </a:cubicBezTo>
                  <a:cubicBezTo>
                    <a:pt x="210" y="342"/>
                    <a:pt x="214" y="343"/>
                    <a:pt x="215" y="344"/>
                  </a:cubicBezTo>
                  <a:cubicBezTo>
                    <a:pt x="217" y="340"/>
                    <a:pt x="224" y="342"/>
                    <a:pt x="227" y="338"/>
                  </a:cubicBezTo>
                  <a:cubicBezTo>
                    <a:pt x="229" y="335"/>
                    <a:pt x="221" y="333"/>
                    <a:pt x="219" y="332"/>
                  </a:cubicBezTo>
                  <a:cubicBezTo>
                    <a:pt x="222" y="330"/>
                    <a:pt x="220" y="329"/>
                    <a:pt x="221" y="327"/>
                  </a:cubicBezTo>
                  <a:cubicBezTo>
                    <a:pt x="225" y="325"/>
                    <a:pt x="230" y="324"/>
                    <a:pt x="235" y="322"/>
                  </a:cubicBezTo>
                  <a:cubicBezTo>
                    <a:pt x="238" y="320"/>
                    <a:pt x="239" y="316"/>
                    <a:pt x="239" y="313"/>
                  </a:cubicBezTo>
                  <a:cubicBezTo>
                    <a:pt x="239" y="311"/>
                    <a:pt x="238" y="309"/>
                    <a:pt x="238" y="307"/>
                  </a:cubicBezTo>
                  <a:cubicBezTo>
                    <a:pt x="239" y="304"/>
                    <a:pt x="240" y="303"/>
                    <a:pt x="242" y="301"/>
                  </a:cubicBezTo>
                  <a:cubicBezTo>
                    <a:pt x="243" y="299"/>
                    <a:pt x="242" y="298"/>
                    <a:pt x="241" y="296"/>
                  </a:cubicBezTo>
                  <a:cubicBezTo>
                    <a:pt x="240" y="294"/>
                    <a:pt x="240" y="291"/>
                    <a:pt x="240" y="289"/>
                  </a:cubicBezTo>
                  <a:cubicBezTo>
                    <a:pt x="237" y="288"/>
                    <a:pt x="235" y="288"/>
                    <a:pt x="232" y="288"/>
                  </a:cubicBezTo>
                  <a:cubicBezTo>
                    <a:pt x="233" y="287"/>
                    <a:pt x="235" y="286"/>
                    <a:pt x="235" y="284"/>
                  </a:cubicBezTo>
                  <a:cubicBezTo>
                    <a:pt x="236" y="283"/>
                    <a:pt x="234" y="280"/>
                    <a:pt x="237" y="279"/>
                  </a:cubicBezTo>
                  <a:cubicBezTo>
                    <a:pt x="236" y="278"/>
                    <a:pt x="234" y="277"/>
                    <a:pt x="232" y="277"/>
                  </a:cubicBezTo>
                  <a:cubicBezTo>
                    <a:pt x="232" y="275"/>
                    <a:pt x="231" y="273"/>
                    <a:pt x="232" y="272"/>
                  </a:cubicBezTo>
                  <a:cubicBezTo>
                    <a:pt x="233" y="270"/>
                    <a:pt x="236" y="270"/>
                    <a:pt x="236" y="269"/>
                  </a:cubicBezTo>
                  <a:cubicBezTo>
                    <a:pt x="236" y="266"/>
                    <a:pt x="232" y="262"/>
                    <a:pt x="238" y="263"/>
                  </a:cubicBezTo>
                  <a:cubicBezTo>
                    <a:pt x="237" y="265"/>
                    <a:pt x="239" y="264"/>
                    <a:pt x="240" y="265"/>
                  </a:cubicBezTo>
                  <a:cubicBezTo>
                    <a:pt x="241" y="266"/>
                    <a:pt x="242" y="268"/>
                    <a:pt x="244" y="267"/>
                  </a:cubicBezTo>
                  <a:cubicBezTo>
                    <a:pt x="244" y="262"/>
                    <a:pt x="235" y="258"/>
                    <a:pt x="238" y="253"/>
                  </a:cubicBezTo>
                  <a:cubicBezTo>
                    <a:pt x="241" y="253"/>
                    <a:pt x="241" y="256"/>
                    <a:pt x="242" y="257"/>
                  </a:cubicBezTo>
                  <a:cubicBezTo>
                    <a:pt x="243" y="259"/>
                    <a:pt x="247" y="259"/>
                    <a:pt x="248" y="258"/>
                  </a:cubicBezTo>
                  <a:cubicBezTo>
                    <a:pt x="251" y="257"/>
                    <a:pt x="250" y="254"/>
                    <a:pt x="251" y="252"/>
                  </a:cubicBezTo>
                  <a:cubicBezTo>
                    <a:pt x="253" y="249"/>
                    <a:pt x="258" y="250"/>
                    <a:pt x="261" y="250"/>
                  </a:cubicBezTo>
                  <a:cubicBezTo>
                    <a:pt x="261" y="253"/>
                    <a:pt x="261" y="255"/>
                    <a:pt x="260" y="257"/>
                  </a:cubicBezTo>
                  <a:cubicBezTo>
                    <a:pt x="257" y="256"/>
                    <a:pt x="258" y="260"/>
                    <a:pt x="258" y="262"/>
                  </a:cubicBezTo>
                  <a:cubicBezTo>
                    <a:pt x="254" y="262"/>
                    <a:pt x="253" y="266"/>
                    <a:pt x="257" y="267"/>
                  </a:cubicBezTo>
                  <a:cubicBezTo>
                    <a:pt x="261" y="268"/>
                    <a:pt x="266" y="268"/>
                    <a:pt x="270" y="268"/>
                  </a:cubicBezTo>
                  <a:cubicBezTo>
                    <a:pt x="269" y="273"/>
                    <a:pt x="273" y="270"/>
                    <a:pt x="275" y="268"/>
                  </a:cubicBezTo>
                  <a:cubicBezTo>
                    <a:pt x="278" y="267"/>
                    <a:pt x="279" y="266"/>
                    <a:pt x="282" y="267"/>
                  </a:cubicBezTo>
                  <a:cubicBezTo>
                    <a:pt x="283" y="269"/>
                    <a:pt x="282" y="272"/>
                    <a:pt x="282" y="275"/>
                  </a:cubicBezTo>
                  <a:cubicBezTo>
                    <a:pt x="284" y="275"/>
                    <a:pt x="285" y="275"/>
                    <a:pt x="287" y="275"/>
                  </a:cubicBezTo>
                  <a:cubicBezTo>
                    <a:pt x="287" y="278"/>
                    <a:pt x="286" y="286"/>
                    <a:pt x="282" y="281"/>
                  </a:cubicBezTo>
                  <a:cubicBezTo>
                    <a:pt x="279" y="281"/>
                    <a:pt x="278" y="284"/>
                    <a:pt x="279" y="286"/>
                  </a:cubicBezTo>
                  <a:cubicBezTo>
                    <a:pt x="279" y="288"/>
                    <a:pt x="281" y="287"/>
                    <a:pt x="281" y="290"/>
                  </a:cubicBezTo>
                  <a:cubicBezTo>
                    <a:pt x="281" y="292"/>
                    <a:pt x="280" y="293"/>
                    <a:pt x="280" y="295"/>
                  </a:cubicBezTo>
                  <a:cubicBezTo>
                    <a:pt x="281" y="298"/>
                    <a:pt x="284" y="297"/>
                    <a:pt x="284" y="299"/>
                  </a:cubicBezTo>
                  <a:cubicBezTo>
                    <a:pt x="281" y="300"/>
                    <a:pt x="280" y="302"/>
                    <a:pt x="276" y="302"/>
                  </a:cubicBezTo>
                  <a:cubicBezTo>
                    <a:pt x="274" y="303"/>
                    <a:pt x="272" y="302"/>
                    <a:pt x="270" y="301"/>
                  </a:cubicBezTo>
                  <a:cubicBezTo>
                    <a:pt x="266" y="299"/>
                    <a:pt x="266" y="307"/>
                    <a:pt x="267" y="309"/>
                  </a:cubicBezTo>
                  <a:cubicBezTo>
                    <a:pt x="272" y="309"/>
                    <a:pt x="271" y="312"/>
                    <a:pt x="275" y="314"/>
                  </a:cubicBezTo>
                  <a:cubicBezTo>
                    <a:pt x="275" y="312"/>
                    <a:pt x="275" y="310"/>
                    <a:pt x="276" y="309"/>
                  </a:cubicBezTo>
                  <a:cubicBezTo>
                    <a:pt x="278" y="308"/>
                    <a:pt x="282" y="309"/>
                    <a:pt x="285" y="309"/>
                  </a:cubicBezTo>
                  <a:cubicBezTo>
                    <a:pt x="285" y="308"/>
                    <a:pt x="286" y="307"/>
                    <a:pt x="288" y="308"/>
                  </a:cubicBezTo>
                  <a:cubicBezTo>
                    <a:pt x="288" y="305"/>
                    <a:pt x="287" y="304"/>
                    <a:pt x="287" y="302"/>
                  </a:cubicBezTo>
                  <a:cubicBezTo>
                    <a:pt x="289" y="302"/>
                    <a:pt x="291" y="302"/>
                    <a:pt x="292" y="300"/>
                  </a:cubicBezTo>
                  <a:cubicBezTo>
                    <a:pt x="294" y="298"/>
                    <a:pt x="296" y="295"/>
                    <a:pt x="296" y="292"/>
                  </a:cubicBezTo>
                  <a:cubicBezTo>
                    <a:pt x="299" y="291"/>
                    <a:pt x="302" y="293"/>
                    <a:pt x="306" y="294"/>
                  </a:cubicBezTo>
                  <a:cubicBezTo>
                    <a:pt x="309" y="294"/>
                    <a:pt x="312" y="294"/>
                    <a:pt x="315" y="296"/>
                  </a:cubicBezTo>
                  <a:cubicBezTo>
                    <a:pt x="315" y="295"/>
                    <a:pt x="316" y="294"/>
                    <a:pt x="316" y="293"/>
                  </a:cubicBezTo>
                  <a:cubicBezTo>
                    <a:pt x="317" y="293"/>
                    <a:pt x="318" y="293"/>
                    <a:pt x="320" y="293"/>
                  </a:cubicBezTo>
                  <a:cubicBezTo>
                    <a:pt x="320" y="292"/>
                    <a:pt x="320" y="292"/>
                    <a:pt x="320" y="292"/>
                  </a:cubicBezTo>
                  <a:cubicBezTo>
                    <a:pt x="320" y="293"/>
                    <a:pt x="320" y="295"/>
                    <a:pt x="320" y="296"/>
                  </a:cubicBezTo>
                  <a:cubicBezTo>
                    <a:pt x="322" y="296"/>
                    <a:pt x="323" y="298"/>
                    <a:pt x="325" y="297"/>
                  </a:cubicBezTo>
                  <a:cubicBezTo>
                    <a:pt x="325" y="299"/>
                    <a:pt x="326" y="301"/>
                    <a:pt x="328" y="301"/>
                  </a:cubicBezTo>
                  <a:cubicBezTo>
                    <a:pt x="328" y="298"/>
                    <a:pt x="333" y="298"/>
                    <a:pt x="333" y="296"/>
                  </a:cubicBezTo>
                  <a:cubicBezTo>
                    <a:pt x="329" y="295"/>
                    <a:pt x="331" y="283"/>
                    <a:pt x="330" y="280"/>
                  </a:cubicBezTo>
                  <a:cubicBezTo>
                    <a:pt x="333" y="279"/>
                    <a:pt x="334" y="282"/>
                    <a:pt x="336" y="283"/>
                  </a:cubicBezTo>
                  <a:cubicBezTo>
                    <a:pt x="340" y="284"/>
                    <a:pt x="341" y="279"/>
                    <a:pt x="341" y="277"/>
                  </a:cubicBezTo>
                  <a:cubicBezTo>
                    <a:pt x="341" y="273"/>
                    <a:pt x="340" y="272"/>
                    <a:pt x="337" y="271"/>
                  </a:cubicBezTo>
                  <a:cubicBezTo>
                    <a:pt x="333" y="270"/>
                    <a:pt x="331" y="269"/>
                    <a:pt x="330" y="266"/>
                  </a:cubicBezTo>
                  <a:cubicBezTo>
                    <a:pt x="332" y="266"/>
                    <a:pt x="336" y="266"/>
                    <a:pt x="335" y="263"/>
                  </a:cubicBezTo>
                  <a:cubicBezTo>
                    <a:pt x="335" y="261"/>
                    <a:pt x="333" y="261"/>
                    <a:pt x="333" y="259"/>
                  </a:cubicBezTo>
                  <a:cubicBezTo>
                    <a:pt x="332" y="258"/>
                    <a:pt x="333" y="256"/>
                    <a:pt x="333" y="255"/>
                  </a:cubicBezTo>
                  <a:cubicBezTo>
                    <a:pt x="337" y="254"/>
                    <a:pt x="340" y="255"/>
                    <a:pt x="344" y="255"/>
                  </a:cubicBezTo>
                  <a:cubicBezTo>
                    <a:pt x="347" y="254"/>
                    <a:pt x="349" y="253"/>
                    <a:pt x="352" y="252"/>
                  </a:cubicBezTo>
                  <a:cubicBezTo>
                    <a:pt x="352" y="252"/>
                    <a:pt x="352" y="254"/>
                    <a:pt x="352" y="254"/>
                  </a:cubicBezTo>
                  <a:cubicBezTo>
                    <a:pt x="354" y="254"/>
                    <a:pt x="355" y="253"/>
                    <a:pt x="357" y="254"/>
                  </a:cubicBezTo>
                  <a:cubicBezTo>
                    <a:pt x="357" y="250"/>
                    <a:pt x="357" y="247"/>
                    <a:pt x="357" y="243"/>
                  </a:cubicBezTo>
                  <a:cubicBezTo>
                    <a:pt x="354" y="244"/>
                    <a:pt x="355" y="240"/>
                    <a:pt x="355" y="238"/>
                  </a:cubicBezTo>
                  <a:cubicBezTo>
                    <a:pt x="351" y="238"/>
                    <a:pt x="350" y="239"/>
                    <a:pt x="349" y="243"/>
                  </a:cubicBezTo>
                  <a:cubicBezTo>
                    <a:pt x="348" y="243"/>
                    <a:pt x="347" y="242"/>
                    <a:pt x="346" y="241"/>
                  </a:cubicBezTo>
                  <a:cubicBezTo>
                    <a:pt x="344" y="241"/>
                    <a:pt x="343" y="242"/>
                    <a:pt x="341" y="242"/>
                  </a:cubicBezTo>
                  <a:cubicBezTo>
                    <a:pt x="336" y="243"/>
                    <a:pt x="330" y="242"/>
                    <a:pt x="325" y="240"/>
                  </a:cubicBezTo>
                  <a:cubicBezTo>
                    <a:pt x="322" y="239"/>
                    <a:pt x="321" y="238"/>
                    <a:pt x="320" y="235"/>
                  </a:cubicBezTo>
                  <a:cubicBezTo>
                    <a:pt x="319" y="231"/>
                    <a:pt x="318" y="226"/>
                    <a:pt x="316" y="222"/>
                  </a:cubicBezTo>
                  <a:cubicBezTo>
                    <a:pt x="320" y="223"/>
                    <a:pt x="318" y="218"/>
                    <a:pt x="320" y="216"/>
                  </a:cubicBezTo>
                  <a:cubicBezTo>
                    <a:pt x="324" y="216"/>
                    <a:pt x="328" y="215"/>
                    <a:pt x="331" y="211"/>
                  </a:cubicBezTo>
                  <a:cubicBezTo>
                    <a:pt x="333" y="208"/>
                    <a:pt x="336" y="203"/>
                    <a:pt x="341" y="202"/>
                  </a:cubicBezTo>
                  <a:cubicBezTo>
                    <a:pt x="343" y="202"/>
                    <a:pt x="346" y="202"/>
                    <a:pt x="348" y="200"/>
                  </a:cubicBezTo>
                  <a:cubicBezTo>
                    <a:pt x="349" y="198"/>
                    <a:pt x="349" y="197"/>
                    <a:pt x="351" y="196"/>
                  </a:cubicBezTo>
                  <a:cubicBezTo>
                    <a:pt x="354" y="195"/>
                    <a:pt x="359" y="195"/>
                    <a:pt x="361" y="192"/>
                  </a:cubicBezTo>
                  <a:cubicBezTo>
                    <a:pt x="364" y="192"/>
                    <a:pt x="367" y="191"/>
                    <a:pt x="369" y="189"/>
                  </a:cubicBezTo>
                  <a:cubicBezTo>
                    <a:pt x="370" y="188"/>
                    <a:pt x="371" y="187"/>
                    <a:pt x="372" y="186"/>
                  </a:cubicBezTo>
                  <a:cubicBezTo>
                    <a:pt x="374" y="185"/>
                    <a:pt x="376" y="185"/>
                    <a:pt x="378" y="185"/>
                  </a:cubicBezTo>
                  <a:cubicBezTo>
                    <a:pt x="379" y="177"/>
                    <a:pt x="389" y="180"/>
                    <a:pt x="394" y="179"/>
                  </a:cubicBezTo>
                  <a:cubicBezTo>
                    <a:pt x="395" y="176"/>
                    <a:pt x="395" y="176"/>
                    <a:pt x="395" y="176"/>
                  </a:cubicBezTo>
                  <a:cubicBezTo>
                    <a:pt x="396" y="174"/>
                    <a:pt x="398" y="173"/>
                    <a:pt x="399" y="172"/>
                  </a:cubicBezTo>
                  <a:cubicBezTo>
                    <a:pt x="398" y="172"/>
                    <a:pt x="398" y="170"/>
                    <a:pt x="399" y="169"/>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38" name="Freeform 432"/>
            <p:cNvSpPr>
              <a:spLocks/>
            </p:cNvSpPr>
            <p:nvPr/>
          </p:nvSpPr>
          <p:spPr bwMode="auto">
            <a:xfrm>
              <a:off x="3533776" y="2422526"/>
              <a:ext cx="3175"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39" name="Freeform 433"/>
            <p:cNvSpPr>
              <a:spLocks/>
            </p:cNvSpPr>
            <p:nvPr/>
          </p:nvSpPr>
          <p:spPr bwMode="auto">
            <a:xfrm>
              <a:off x="3248026" y="2344738"/>
              <a:ext cx="6350" cy="3175"/>
            </a:xfrm>
            <a:custGeom>
              <a:avLst/>
              <a:gdLst>
                <a:gd name="T0" fmla="*/ 0 w 2"/>
                <a:gd name="T1" fmla="*/ 1 h 1"/>
                <a:gd name="T2" fmla="*/ 2 w 2"/>
                <a:gd name="T3" fmla="*/ 0 h 1"/>
                <a:gd name="T4" fmla="*/ 0 w 2"/>
                <a:gd name="T5" fmla="*/ 1 h 1"/>
              </a:gdLst>
              <a:ahLst/>
              <a:cxnLst>
                <a:cxn ang="0">
                  <a:pos x="T0" y="T1"/>
                </a:cxn>
                <a:cxn ang="0">
                  <a:pos x="T2" y="T3"/>
                </a:cxn>
                <a:cxn ang="0">
                  <a:pos x="T4" y="T5"/>
                </a:cxn>
              </a:cxnLst>
              <a:rect l="0" t="0" r="r" b="b"/>
              <a:pathLst>
                <a:path w="2" h="1">
                  <a:moveTo>
                    <a:pt x="0" y="1"/>
                  </a:moveTo>
                  <a:cubicBezTo>
                    <a:pt x="1" y="1"/>
                    <a:pt x="1" y="1"/>
                    <a:pt x="2" y="0"/>
                  </a:cubicBezTo>
                  <a:cubicBezTo>
                    <a:pt x="1" y="1"/>
                    <a:pt x="1" y="1"/>
                    <a:pt x="0" y="1"/>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40" name="Freeform 434"/>
            <p:cNvSpPr>
              <a:spLocks/>
            </p:cNvSpPr>
            <p:nvPr/>
          </p:nvSpPr>
          <p:spPr bwMode="auto">
            <a:xfrm>
              <a:off x="3536951" y="4133851"/>
              <a:ext cx="1401763" cy="1258888"/>
            </a:xfrm>
            <a:custGeom>
              <a:avLst/>
              <a:gdLst>
                <a:gd name="T0" fmla="*/ 381 w 396"/>
                <a:gd name="T1" fmla="*/ 69 h 356"/>
                <a:gd name="T2" fmla="*/ 360 w 396"/>
                <a:gd name="T3" fmla="*/ 91 h 356"/>
                <a:gd name="T4" fmla="*/ 325 w 396"/>
                <a:gd name="T5" fmla="*/ 118 h 356"/>
                <a:gd name="T6" fmla="*/ 291 w 396"/>
                <a:gd name="T7" fmla="*/ 138 h 356"/>
                <a:gd name="T8" fmla="*/ 278 w 396"/>
                <a:gd name="T9" fmla="*/ 150 h 356"/>
                <a:gd name="T10" fmla="*/ 276 w 396"/>
                <a:gd name="T11" fmla="*/ 166 h 356"/>
                <a:gd name="T12" fmla="*/ 248 w 396"/>
                <a:gd name="T13" fmla="*/ 176 h 356"/>
                <a:gd name="T14" fmla="*/ 233 w 396"/>
                <a:gd name="T15" fmla="*/ 177 h 356"/>
                <a:gd name="T16" fmla="*/ 221 w 396"/>
                <a:gd name="T17" fmla="*/ 194 h 356"/>
                <a:gd name="T18" fmla="*/ 211 w 396"/>
                <a:gd name="T19" fmla="*/ 204 h 356"/>
                <a:gd name="T20" fmla="*/ 203 w 396"/>
                <a:gd name="T21" fmla="*/ 198 h 356"/>
                <a:gd name="T22" fmla="*/ 176 w 396"/>
                <a:gd name="T23" fmla="*/ 215 h 356"/>
                <a:gd name="T24" fmla="*/ 173 w 396"/>
                <a:gd name="T25" fmla="*/ 261 h 356"/>
                <a:gd name="T26" fmla="*/ 170 w 396"/>
                <a:gd name="T27" fmla="*/ 283 h 356"/>
                <a:gd name="T28" fmla="*/ 174 w 396"/>
                <a:gd name="T29" fmla="*/ 315 h 356"/>
                <a:gd name="T30" fmla="*/ 165 w 396"/>
                <a:gd name="T31" fmla="*/ 296 h 356"/>
                <a:gd name="T32" fmla="*/ 163 w 396"/>
                <a:gd name="T33" fmla="*/ 314 h 356"/>
                <a:gd name="T34" fmla="*/ 154 w 396"/>
                <a:gd name="T35" fmla="*/ 324 h 356"/>
                <a:gd name="T36" fmla="*/ 130 w 396"/>
                <a:gd name="T37" fmla="*/ 324 h 356"/>
                <a:gd name="T38" fmla="*/ 106 w 396"/>
                <a:gd name="T39" fmla="*/ 332 h 356"/>
                <a:gd name="T40" fmla="*/ 75 w 396"/>
                <a:gd name="T41" fmla="*/ 354 h 356"/>
                <a:gd name="T42" fmla="*/ 79 w 396"/>
                <a:gd name="T43" fmla="*/ 342 h 356"/>
                <a:gd name="T44" fmla="*/ 76 w 396"/>
                <a:gd name="T45" fmla="*/ 317 h 356"/>
                <a:gd name="T46" fmla="*/ 66 w 396"/>
                <a:gd name="T47" fmla="*/ 303 h 356"/>
                <a:gd name="T48" fmla="*/ 58 w 396"/>
                <a:gd name="T49" fmla="*/ 288 h 356"/>
                <a:gd name="T50" fmla="*/ 46 w 396"/>
                <a:gd name="T51" fmla="*/ 295 h 356"/>
                <a:gd name="T52" fmla="*/ 30 w 396"/>
                <a:gd name="T53" fmla="*/ 292 h 356"/>
                <a:gd name="T54" fmla="*/ 12 w 396"/>
                <a:gd name="T55" fmla="*/ 284 h 356"/>
                <a:gd name="T56" fmla="*/ 18 w 396"/>
                <a:gd name="T57" fmla="*/ 285 h 356"/>
                <a:gd name="T58" fmla="*/ 33 w 396"/>
                <a:gd name="T59" fmla="*/ 273 h 356"/>
                <a:gd name="T60" fmla="*/ 25 w 396"/>
                <a:gd name="T61" fmla="*/ 268 h 356"/>
                <a:gd name="T62" fmla="*/ 6 w 396"/>
                <a:gd name="T63" fmla="*/ 265 h 356"/>
                <a:gd name="T64" fmla="*/ 1 w 396"/>
                <a:gd name="T65" fmla="*/ 257 h 356"/>
                <a:gd name="T66" fmla="*/ 3 w 396"/>
                <a:gd name="T67" fmla="*/ 231 h 356"/>
                <a:gd name="T68" fmla="*/ 19 w 396"/>
                <a:gd name="T69" fmla="*/ 223 h 356"/>
                <a:gd name="T70" fmla="*/ 41 w 396"/>
                <a:gd name="T71" fmla="*/ 194 h 356"/>
                <a:gd name="T72" fmla="*/ 37 w 396"/>
                <a:gd name="T73" fmla="*/ 165 h 356"/>
                <a:gd name="T74" fmla="*/ 41 w 396"/>
                <a:gd name="T75" fmla="*/ 146 h 356"/>
                <a:gd name="T76" fmla="*/ 46 w 396"/>
                <a:gd name="T77" fmla="*/ 116 h 356"/>
                <a:gd name="T78" fmla="*/ 56 w 396"/>
                <a:gd name="T79" fmla="*/ 90 h 356"/>
                <a:gd name="T80" fmla="*/ 50 w 396"/>
                <a:gd name="T81" fmla="*/ 77 h 356"/>
                <a:gd name="T82" fmla="*/ 61 w 396"/>
                <a:gd name="T83" fmla="*/ 57 h 356"/>
                <a:gd name="T84" fmla="*/ 70 w 396"/>
                <a:gd name="T85" fmla="*/ 26 h 356"/>
                <a:gd name="T86" fmla="*/ 78 w 396"/>
                <a:gd name="T87" fmla="*/ 24 h 356"/>
                <a:gd name="T88" fmla="*/ 91 w 396"/>
                <a:gd name="T89" fmla="*/ 0 h 356"/>
                <a:gd name="T90" fmla="*/ 120 w 396"/>
                <a:gd name="T91" fmla="*/ 16 h 356"/>
                <a:gd name="T92" fmla="*/ 134 w 396"/>
                <a:gd name="T93" fmla="*/ 15 h 356"/>
                <a:gd name="T94" fmla="*/ 147 w 396"/>
                <a:gd name="T95" fmla="*/ 22 h 356"/>
                <a:gd name="T96" fmla="*/ 168 w 396"/>
                <a:gd name="T97" fmla="*/ 25 h 356"/>
                <a:gd name="T98" fmla="*/ 170 w 396"/>
                <a:gd name="T99" fmla="*/ 60 h 356"/>
                <a:gd name="T100" fmla="*/ 205 w 396"/>
                <a:gd name="T101" fmla="*/ 85 h 356"/>
                <a:gd name="T102" fmla="*/ 215 w 396"/>
                <a:gd name="T103" fmla="*/ 97 h 356"/>
                <a:gd name="T104" fmla="*/ 251 w 396"/>
                <a:gd name="T105" fmla="*/ 106 h 356"/>
                <a:gd name="T106" fmla="*/ 278 w 396"/>
                <a:gd name="T107" fmla="*/ 99 h 356"/>
                <a:gd name="T108" fmla="*/ 282 w 396"/>
                <a:gd name="T109" fmla="*/ 86 h 356"/>
                <a:gd name="T110" fmla="*/ 301 w 396"/>
                <a:gd name="T111" fmla="*/ 84 h 356"/>
                <a:gd name="T112" fmla="*/ 317 w 396"/>
                <a:gd name="T113" fmla="*/ 78 h 356"/>
                <a:gd name="T114" fmla="*/ 327 w 396"/>
                <a:gd name="T115" fmla="*/ 63 h 356"/>
                <a:gd name="T116" fmla="*/ 338 w 396"/>
                <a:gd name="T117" fmla="*/ 53 h 356"/>
                <a:gd name="T118" fmla="*/ 354 w 396"/>
                <a:gd name="T119" fmla="*/ 60 h 356"/>
                <a:gd name="T120" fmla="*/ 379 w 396"/>
                <a:gd name="T121" fmla="*/ 55 h 356"/>
                <a:gd name="T122" fmla="*/ 396 w 396"/>
                <a:gd name="T123" fmla="*/ 52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6" h="356">
                  <a:moveTo>
                    <a:pt x="396" y="52"/>
                  </a:moveTo>
                  <a:cubicBezTo>
                    <a:pt x="396" y="53"/>
                    <a:pt x="396" y="54"/>
                    <a:pt x="395" y="55"/>
                  </a:cubicBezTo>
                  <a:cubicBezTo>
                    <a:pt x="394" y="57"/>
                    <a:pt x="392" y="58"/>
                    <a:pt x="390" y="59"/>
                  </a:cubicBezTo>
                  <a:cubicBezTo>
                    <a:pt x="389" y="60"/>
                    <a:pt x="387" y="62"/>
                    <a:pt x="386" y="63"/>
                  </a:cubicBezTo>
                  <a:cubicBezTo>
                    <a:pt x="385" y="64"/>
                    <a:pt x="385" y="66"/>
                    <a:pt x="384" y="67"/>
                  </a:cubicBezTo>
                  <a:cubicBezTo>
                    <a:pt x="383" y="68"/>
                    <a:pt x="382" y="68"/>
                    <a:pt x="381" y="69"/>
                  </a:cubicBezTo>
                  <a:cubicBezTo>
                    <a:pt x="380" y="71"/>
                    <a:pt x="379" y="73"/>
                    <a:pt x="378" y="75"/>
                  </a:cubicBezTo>
                  <a:cubicBezTo>
                    <a:pt x="377" y="75"/>
                    <a:pt x="376" y="75"/>
                    <a:pt x="376" y="76"/>
                  </a:cubicBezTo>
                  <a:cubicBezTo>
                    <a:pt x="374" y="76"/>
                    <a:pt x="372" y="79"/>
                    <a:pt x="370" y="80"/>
                  </a:cubicBezTo>
                  <a:cubicBezTo>
                    <a:pt x="368" y="81"/>
                    <a:pt x="367" y="81"/>
                    <a:pt x="366" y="82"/>
                  </a:cubicBezTo>
                  <a:cubicBezTo>
                    <a:pt x="366" y="83"/>
                    <a:pt x="367" y="87"/>
                    <a:pt x="364" y="88"/>
                  </a:cubicBezTo>
                  <a:cubicBezTo>
                    <a:pt x="362" y="88"/>
                    <a:pt x="362" y="90"/>
                    <a:pt x="360" y="91"/>
                  </a:cubicBezTo>
                  <a:cubicBezTo>
                    <a:pt x="358" y="93"/>
                    <a:pt x="356" y="94"/>
                    <a:pt x="353" y="95"/>
                  </a:cubicBezTo>
                  <a:cubicBezTo>
                    <a:pt x="352" y="95"/>
                    <a:pt x="351" y="96"/>
                    <a:pt x="350" y="96"/>
                  </a:cubicBezTo>
                  <a:cubicBezTo>
                    <a:pt x="349" y="97"/>
                    <a:pt x="348" y="98"/>
                    <a:pt x="347" y="99"/>
                  </a:cubicBezTo>
                  <a:cubicBezTo>
                    <a:pt x="342" y="102"/>
                    <a:pt x="338" y="103"/>
                    <a:pt x="334" y="107"/>
                  </a:cubicBezTo>
                  <a:cubicBezTo>
                    <a:pt x="331" y="109"/>
                    <a:pt x="329" y="111"/>
                    <a:pt x="327" y="114"/>
                  </a:cubicBezTo>
                  <a:cubicBezTo>
                    <a:pt x="326" y="115"/>
                    <a:pt x="326" y="117"/>
                    <a:pt x="325" y="118"/>
                  </a:cubicBezTo>
                  <a:cubicBezTo>
                    <a:pt x="325" y="119"/>
                    <a:pt x="323" y="120"/>
                    <a:pt x="322" y="121"/>
                  </a:cubicBezTo>
                  <a:cubicBezTo>
                    <a:pt x="320" y="122"/>
                    <a:pt x="320" y="123"/>
                    <a:pt x="318" y="124"/>
                  </a:cubicBezTo>
                  <a:cubicBezTo>
                    <a:pt x="317" y="125"/>
                    <a:pt x="314" y="126"/>
                    <a:pt x="312" y="126"/>
                  </a:cubicBezTo>
                  <a:cubicBezTo>
                    <a:pt x="309" y="127"/>
                    <a:pt x="306" y="128"/>
                    <a:pt x="303" y="130"/>
                  </a:cubicBezTo>
                  <a:cubicBezTo>
                    <a:pt x="300" y="131"/>
                    <a:pt x="298" y="132"/>
                    <a:pt x="296" y="134"/>
                  </a:cubicBezTo>
                  <a:cubicBezTo>
                    <a:pt x="295" y="136"/>
                    <a:pt x="293" y="137"/>
                    <a:pt x="291" y="138"/>
                  </a:cubicBezTo>
                  <a:cubicBezTo>
                    <a:pt x="289" y="140"/>
                    <a:pt x="287" y="142"/>
                    <a:pt x="284" y="143"/>
                  </a:cubicBezTo>
                  <a:cubicBezTo>
                    <a:pt x="282" y="144"/>
                    <a:pt x="280" y="145"/>
                    <a:pt x="278" y="147"/>
                  </a:cubicBezTo>
                  <a:cubicBezTo>
                    <a:pt x="277" y="148"/>
                    <a:pt x="273" y="159"/>
                    <a:pt x="278" y="158"/>
                  </a:cubicBezTo>
                  <a:cubicBezTo>
                    <a:pt x="279" y="156"/>
                    <a:pt x="278" y="154"/>
                    <a:pt x="278" y="152"/>
                  </a:cubicBezTo>
                  <a:cubicBezTo>
                    <a:pt x="278" y="152"/>
                    <a:pt x="278" y="152"/>
                    <a:pt x="278" y="152"/>
                  </a:cubicBezTo>
                  <a:cubicBezTo>
                    <a:pt x="277" y="151"/>
                    <a:pt x="277" y="150"/>
                    <a:pt x="278" y="150"/>
                  </a:cubicBezTo>
                  <a:cubicBezTo>
                    <a:pt x="279" y="150"/>
                    <a:pt x="281" y="152"/>
                    <a:pt x="281" y="153"/>
                  </a:cubicBezTo>
                  <a:cubicBezTo>
                    <a:pt x="281" y="155"/>
                    <a:pt x="280" y="156"/>
                    <a:pt x="279" y="158"/>
                  </a:cubicBezTo>
                  <a:cubicBezTo>
                    <a:pt x="278" y="159"/>
                    <a:pt x="278" y="162"/>
                    <a:pt x="277" y="163"/>
                  </a:cubicBezTo>
                  <a:cubicBezTo>
                    <a:pt x="277" y="164"/>
                    <a:pt x="278" y="169"/>
                    <a:pt x="277" y="169"/>
                  </a:cubicBezTo>
                  <a:cubicBezTo>
                    <a:pt x="277" y="169"/>
                    <a:pt x="277" y="169"/>
                    <a:pt x="276" y="169"/>
                  </a:cubicBezTo>
                  <a:cubicBezTo>
                    <a:pt x="276" y="168"/>
                    <a:pt x="276" y="167"/>
                    <a:pt x="276" y="166"/>
                  </a:cubicBezTo>
                  <a:cubicBezTo>
                    <a:pt x="275" y="167"/>
                    <a:pt x="276" y="168"/>
                    <a:pt x="275" y="170"/>
                  </a:cubicBezTo>
                  <a:cubicBezTo>
                    <a:pt x="274" y="171"/>
                    <a:pt x="274" y="171"/>
                    <a:pt x="273" y="172"/>
                  </a:cubicBezTo>
                  <a:cubicBezTo>
                    <a:pt x="270" y="173"/>
                    <a:pt x="267" y="173"/>
                    <a:pt x="265" y="175"/>
                  </a:cubicBezTo>
                  <a:cubicBezTo>
                    <a:pt x="262" y="176"/>
                    <a:pt x="261" y="178"/>
                    <a:pt x="258" y="179"/>
                  </a:cubicBezTo>
                  <a:cubicBezTo>
                    <a:pt x="255" y="180"/>
                    <a:pt x="252" y="181"/>
                    <a:pt x="249" y="180"/>
                  </a:cubicBezTo>
                  <a:cubicBezTo>
                    <a:pt x="249" y="179"/>
                    <a:pt x="250" y="177"/>
                    <a:pt x="248" y="176"/>
                  </a:cubicBezTo>
                  <a:cubicBezTo>
                    <a:pt x="248" y="178"/>
                    <a:pt x="248" y="179"/>
                    <a:pt x="248" y="180"/>
                  </a:cubicBezTo>
                  <a:cubicBezTo>
                    <a:pt x="248" y="179"/>
                    <a:pt x="248" y="179"/>
                    <a:pt x="248" y="179"/>
                  </a:cubicBezTo>
                  <a:cubicBezTo>
                    <a:pt x="246" y="179"/>
                    <a:pt x="244" y="177"/>
                    <a:pt x="243" y="177"/>
                  </a:cubicBezTo>
                  <a:cubicBezTo>
                    <a:pt x="241" y="176"/>
                    <a:pt x="239" y="176"/>
                    <a:pt x="237" y="176"/>
                  </a:cubicBezTo>
                  <a:cubicBezTo>
                    <a:pt x="235" y="176"/>
                    <a:pt x="229" y="176"/>
                    <a:pt x="229" y="178"/>
                  </a:cubicBezTo>
                  <a:cubicBezTo>
                    <a:pt x="231" y="179"/>
                    <a:pt x="231" y="177"/>
                    <a:pt x="233" y="177"/>
                  </a:cubicBezTo>
                  <a:cubicBezTo>
                    <a:pt x="235" y="176"/>
                    <a:pt x="238" y="176"/>
                    <a:pt x="238" y="178"/>
                  </a:cubicBezTo>
                  <a:cubicBezTo>
                    <a:pt x="236" y="179"/>
                    <a:pt x="233" y="179"/>
                    <a:pt x="231" y="179"/>
                  </a:cubicBezTo>
                  <a:cubicBezTo>
                    <a:pt x="228" y="180"/>
                    <a:pt x="227" y="180"/>
                    <a:pt x="227" y="183"/>
                  </a:cubicBezTo>
                  <a:cubicBezTo>
                    <a:pt x="226" y="186"/>
                    <a:pt x="227" y="186"/>
                    <a:pt x="225" y="187"/>
                  </a:cubicBezTo>
                  <a:cubicBezTo>
                    <a:pt x="224" y="188"/>
                    <a:pt x="223" y="189"/>
                    <a:pt x="222" y="190"/>
                  </a:cubicBezTo>
                  <a:cubicBezTo>
                    <a:pt x="221" y="191"/>
                    <a:pt x="222" y="192"/>
                    <a:pt x="221" y="194"/>
                  </a:cubicBezTo>
                  <a:cubicBezTo>
                    <a:pt x="220" y="197"/>
                    <a:pt x="217" y="197"/>
                    <a:pt x="215" y="200"/>
                  </a:cubicBezTo>
                  <a:cubicBezTo>
                    <a:pt x="213" y="201"/>
                    <a:pt x="213" y="204"/>
                    <a:pt x="215" y="204"/>
                  </a:cubicBezTo>
                  <a:cubicBezTo>
                    <a:pt x="214" y="204"/>
                    <a:pt x="213" y="204"/>
                    <a:pt x="212" y="203"/>
                  </a:cubicBezTo>
                  <a:cubicBezTo>
                    <a:pt x="213" y="204"/>
                    <a:pt x="212" y="205"/>
                    <a:pt x="212" y="205"/>
                  </a:cubicBezTo>
                  <a:cubicBezTo>
                    <a:pt x="212" y="205"/>
                    <a:pt x="212" y="205"/>
                    <a:pt x="211" y="205"/>
                  </a:cubicBezTo>
                  <a:cubicBezTo>
                    <a:pt x="211" y="204"/>
                    <a:pt x="211" y="204"/>
                    <a:pt x="211" y="204"/>
                  </a:cubicBezTo>
                  <a:cubicBezTo>
                    <a:pt x="209" y="205"/>
                    <a:pt x="209" y="202"/>
                    <a:pt x="209" y="201"/>
                  </a:cubicBezTo>
                  <a:cubicBezTo>
                    <a:pt x="208" y="203"/>
                    <a:pt x="209" y="207"/>
                    <a:pt x="206" y="207"/>
                  </a:cubicBezTo>
                  <a:cubicBezTo>
                    <a:pt x="206" y="206"/>
                    <a:pt x="207" y="205"/>
                    <a:pt x="207" y="203"/>
                  </a:cubicBezTo>
                  <a:cubicBezTo>
                    <a:pt x="205" y="204"/>
                    <a:pt x="205" y="205"/>
                    <a:pt x="205" y="206"/>
                  </a:cubicBezTo>
                  <a:cubicBezTo>
                    <a:pt x="203" y="207"/>
                    <a:pt x="204" y="204"/>
                    <a:pt x="204" y="203"/>
                  </a:cubicBezTo>
                  <a:cubicBezTo>
                    <a:pt x="203" y="201"/>
                    <a:pt x="203" y="200"/>
                    <a:pt x="203" y="198"/>
                  </a:cubicBezTo>
                  <a:cubicBezTo>
                    <a:pt x="199" y="198"/>
                    <a:pt x="196" y="197"/>
                    <a:pt x="193" y="199"/>
                  </a:cubicBezTo>
                  <a:cubicBezTo>
                    <a:pt x="193" y="200"/>
                    <a:pt x="193" y="200"/>
                    <a:pt x="193" y="200"/>
                  </a:cubicBezTo>
                  <a:cubicBezTo>
                    <a:pt x="191" y="200"/>
                    <a:pt x="191" y="201"/>
                    <a:pt x="189" y="202"/>
                  </a:cubicBezTo>
                  <a:cubicBezTo>
                    <a:pt x="188" y="202"/>
                    <a:pt x="187" y="201"/>
                    <a:pt x="185" y="202"/>
                  </a:cubicBezTo>
                  <a:cubicBezTo>
                    <a:pt x="183" y="202"/>
                    <a:pt x="182" y="205"/>
                    <a:pt x="181" y="206"/>
                  </a:cubicBezTo>
                  <a:cubicBezTo>
                    <a:pt x="179" y="209"/>
                    <a:pt x="179" y="212"/>
                    <a:pt x="176" y="215"/>
                  </a:cubicBezTo>
                  <a:cubicBezTo>
                    <a:pt x="173" y="217"/>
                    <a:pt x="172" y="222"/>
                    <a:pt x="171" y="226"/>
                  </a:cubicBezTo>
                  <a:cubicBezTo>
                    <a:pt x="170" y="227"/>
                    <a:pt x="170" y="227"/>
                    <a:pt x="169" y="229"/>
                  </a:cubicBezTo>
                  <a:cubicBezTo>
                    <a:pt x="168" y="232"/>
                    <a:pt x="167" y="236"/>
                    <a:pt x="168" y="239"/>
                  </a:cubicBezTo>
                  <a:cubicBezTo>
                    <a:pt x="168" y="242"/>
                    <a:pt x="169" y="246"/>
                    <a:pt x="170" y="249"/>
                  </a:cubicBezTo>
                  <a:cubicBezTo>
                    <a:pt x="171" y="252"/>
                    <a:pt x="172" y="255"/>
                    <a:pt x="173" y="258"/>
                  </a:cubicBezTo>
                  <a:cubicBezTo>
                    <a:pt x="173" y="259"/>
                    <a:pt x="173" y="260"/>
                    <a:pt x="173" y="261"/>
                  </a:cubicBezTo>
                  <a:cubicBezTo>
                    <a:pt x="173" y="264"/>
                    <a:pt x="173" y="267"/>
                    <a:pt x="172" y="269"/>
                  </a:cubicBezTo>
                  <a:cubicBezTo>
                    <a:pt x="172" y="271"/>
                    <a:pt x="171" y="271"/>
                    <a:pt x="170" y="272"/>
                  </a:cubicBezTo>
                  <a:cubicBezTo>
                    <a:pt x="169" y="273"/>
                    <a:pt x="169" y="274"/>
                    <a:pt x="169" y="275"/>
                  </a:cubicBezTo>
                  <a:cubicBezTo>
                    <a:pt x="167" y="275"/>
                    <a:pt x="165" y="275"/>
                    <a:pt x="166" y="277"/>
                  </a:cubicBezTo>
                  <a:cubicBezTo>
                    <a:pt x="166" y="276"/>
                    <a:pt x="167" y="276"/>
                    <a:pt x="169" y="276"/>
                  </a:cubicBezTo>
                  <a:cubicBezTo>
                    <a:pt x="169" y="279"/>
                    <a:pt x="170" y="280"/>
                    <a:pt x="170" y="283"/>
                  </a:cubicBezTo>
                  <a:cubicBezTo>
                    <a:pt x="170" y="285"/>
                    <a:pt x="171" y="288"/>
                    <a:pt x="171" y="290"/>
                  </a:cubicBezTo>
                  <a:cubicBezTo>
                    <a:pt x="172" y="293"/>
                    <a:pt x="171" y="295"/>
                    <a:pt x="172" y="297"/>
                  </a:cubicBezTo>
                  <a:cubicBezTo>
                    <a:pt x="172" y="301"/>
                    <a:pt x="173" y="304"/>
                    <a:pt x="173" y="307"/>
                  </a:cubicBezTo>
                  <a:cubicBezTo>
                    <a:pt x="174" y="309"/>
                    <a:pt x="173" y="311"/>
                    <a:pt x="173" y="313"/>
                  </a:cubicBezTo>
                  <a:cubicBezTo>
                    <a:pt x="173" y="313"/>
                    <a:pt x="175" y="314"/>
                    <a:pt x="174" y="315"/>
                  </a:cubicBezTo>
                  <a:cubicBezTo>
                    <a:pt x="174" y="315"/>
                    <a:pt x="174" y="315"/>
                    <a:pt x="174" y="315"/>
                  </a:cubicBezTo>
                  <a:cubicBezTo>
                    <a:pt x="173" y="315"/>
                    <a:pt x="173" y="315"/>
                    <a:pt x="172" y="314"/>
                  </a:cubicBezTo>
                  <a:cubicBezTo>
                    <a:pt x="172" y="314"/>
                    <a:pt x="172" y="314"/>
                    <a:pt x="172" y="313"/>
                  </a:cubicBezTo>
                  <a:cubicBezTo>
                    <a:pt x="171" y="312"/>
                    <a:pt x="172" y="311"/>
                    <a:pt x="171" y="310"/>
                  </a:cubicBezTo>
                  <a:cubicBezTo>
                    <a:pt x="171" y="309"/>
                    <a:pt x="170" y="309"/>
                    <a:pt x="170" y="307"/>
                  </a:cubicBezTo>
                  <a:cubicBezTo>
                    <a:pt x="170" y="303"/>
                    <a:pt x="167" y="300"/>
                    <a:pt x="167" y="296"/>
                  </a:cubicBezTo>
                  <a:cubicBezTo>
                    <a:pt x="165" y="296"/>
                    <a:pt x="165" y="296"/>
                    <a:pt x="165" y="296"/>
                  </a:cubicBezTo>
                  <a:cubicBezTo>
                    <a:pt x="165" y="298"/>
                    <a:pt x="165" y="301"/>
                    <a:pt x="165" y="303"/>
                  </a:cubicBezTo>
                  <a:cubicBezTo>
                    <a:pt x="165" y="304"/>
                    <a:pt x="169" y="309"/>
                    <a:pt x="166" y="309"/>
                  </a:cubicBezTo>
                  <a:cubicBezTo>
                    <a:pt x="166" y="310"/>
                    <a:pt x="167" y="311"/>
                    <a:pt x="168" y="313"/>
                  </a:cubicBezTo>
                  <a:cubicBezTo>
                    <a:pt x="168" y="312"/>
                    <a:pt x="168" y="312"/>
                    <a:pt x="168" y="312"/>
                  </a:cubicBezTo>
                  <a:cubicBezTo>
                    <a:pt x="167" y="312"/>
                    <a:pt x="167" y="312"/>
                    <a:pt x="166" y="312"/>
                  </a:cubicBezTo>
                  <a:cubicBezTo>
                    <a:pt x="165" y="313"/>
                    <a:pt x="165" y="314"/>
                    <a:pt x="163" y="314"/>
                  </a:cubicBezTo>
                  <a:cubicBezTo>
                    <a:pt x="163" y="313"/>
                    <a:pt x="163" y="312"/>
                    <a:pt x="163" y="312"/>
                  </a:cubicBezTo>
                  <a:cubicBezTo>
                    <a:pt x="162" y="311"/>
                    <a:pt x="162" y="311"/>
                    <a:pt x="162" y="311"/>
                  </a:cubicBezTo>
                  <a:cubicBezTo>
                    <a:pt x="161" y="311"/>
                    <a:pt x="160" y="310"/>
                    <a:pt x="159" y="311"/>
                  </a:cubicBezTo>
                  <a:cubicBezTo>
                    <a:pt x="159" y="312"/>
                    <a:pt x="159" y="314"/>
                    <a:pt x="159" y="315"/>
                  </a:cubicBezTo>
                  <a:cubicBezTo>
                    <a:pt x="155" y="315"/>
                    <a:pt x="156" y="319"/>
                    <a:pt x="153" y="321"/>
                  </a:cubicBezTo>
                  <a:cubicBezTo>
                    <a:pt x="152" y="322"/>
                    <a:pt x="154" y="323"/>
                    <a:pt x="154" y="324"/>
                  </a:cubicBezTo>
                  <a:cubicBezTo>
                    <a:pt x="150" y="324"/>
                    <a:pt x="147" y="323"/>
                    <a:pt x="147" y="328"/>
                  </a:cubicBezTo>
                  <a:cubicBezTo>
                    <a:pt x="146" y="328"/>
                    <a:pt x="144" y="328"/>
                    <a:pt x="143" y="328"/>
                  </a:cubicBezTo>
                  <a:cubicBezTo>
                    <a:pt x="143" y="325"/>
                    <a:pt x="139" y="321"/>
                    <a:pt x="139" y="325"/>
                  </a:cubicBezTo>
                  <a:cubicBezTo>
                    <a:pt x="138" y="326"/>
                    <a:pt x="137" y="326"/>
                    <a:pt x="136" y="326"/>
                  </a:cubicBezTo>
                  <a:cubicBezTo>
                    <a:pt x="136" y="323"/>
                    <a:pt x="136" y="322"/>
                    <a:pt x="132" y="321"/>
                  </a:cubicBezTo>
                  <a:cubicBezTo>
                    <a:pt x="129" y="321"/>
                    <a:pt x="125" y="322"/>
                    <a:pt x="130" y="324"/>
                  </a:cubicBezTo>
                  <a:cubicBezTo>
                    <a:pt x="127" y="325"/>
                    <a:pt x="130" y="328"/>
                    <a:pt x="127" y="329"/>
                  </a:cubicBezTo>
                  <a:cubicBezTo>
                    <a:pt x="125" y="329"/>
                    <a:pt x="125" y="330"/>
                    <a:pt x="124" y="332"/>
                  </a:cubicBezTo>
                  <a:cubicBezTo>
                    <a:pt x="122" y="335"/>
                    <a:pt x="119" y="328"/>
                    <a:pt x="119" y="334"/>
                  </a:cubicBezTo>
                  <a:cubicBezTo>
                    <a:pt x="118" y="334"/>
                    <a:pt x="117" y="334"/>
                    <a:pt x="117" y="334"/>
                  </a:cubicBezTo>
                  <a:cubicBezTo>
                    <a:pt x="117" y="336"/>
                    <a:pt x="114" y="337"/>
                    <a:pt x="112" y="336"/>
                  </a:cubicBezTo>
                  <a:cubicBezTo>
                    <a:pt x="109" y="336"/>
                    <a:pt x="109" y="333"/>
                    <a:pt x="106" y="332"/>
                  </a:cubicBezTo>
                  <a:cubicBezTo>
                    <a:pt x="101" y="331"/>
                    <a:pt x="94" y="333"/>
                    <a:pt x="89" y="335"/>
                  </a:cubicBezTo>
                  <a:cubicBezTo>
                    <a:pt x="89" y="336"/>
                    <a:pt x="88" y="337"/>
                    <a:pt x="89" y="338"/>
                  </a:cubicBezTo>
                  <a:cubicBezTo>
                    <a:pt x="89" y="338"/>
                    <a:pt x="89" y="338"/>
                    <a:pt x="89" y="338"/>
                  </a:cubicBezTo>
                  <a:cubicBezTo>
                    <a:pt x="89" y="340"/>
                    <a:pt x="89" y="342"/>
                    <a:pt x="89" y="344"/>
                  </a:cubicBezTo>
                  <a:cubicBezTo>
                    <a:pt x="86" y="344"/>
                    <a:pt x="85" y="349"/>
                    <a:pt x="83" y="350"/>
                  </a:cubicBezTo>
                  <a:cubicBezTo>
                    <a:pt x="81" y="352"/>
                    <a:pt x="78" y="356"/>
                    <a:pt x="75" y="354"/>
                  </a:cubicBezTo>
                  <a:cubicBezTo>
                    <a:pt x="73" y="353"/>
                    <a:pt x="70" y="352"/>
                    <a:pt x="69" y="350"/>
                  </a:cubicBezTo>
                  <a:cubicBezTo>
                    <a:pt x="69" y="350"/>
                    <a:pt x="69" y="348"/>
                    <a:pt x="68" y="347"/>
                  </a:cubicBezTo>
                  <a:cubicBezTo>
                    <a:pt x="69" y="346"/>
                    <a:pt x="69" y="344"/>
                    <a:pt x="71" y="343"/>
                  </a:cubicBezTo>
                  <a:cubicBezTo>
                    <a:pt x="72" y="342"/>
                    <a:pt x="75" y="342"/>
                    <a:pt x="75" y="341"/>
                  </a:cubicBezTo>
                  <a:cubicBezTo>
                    <a:pt x="73" y="341"/>
                    <a:pt x="70" y="338"/>
                    <a:pt x="73" y="337"/>
                  </a:cubicBezTo>
                  <a:cubicBezTo>
                    <a:pt x="76" y="337"/>
                    <a:pt x="77" y="342"/>
                    <a:pt x="79" y="342"/>
                  </a:cubicBezTo>
                  <a:cubicBezTo>
                    <a:pt x="82" y="342"/>
                    <a:pt x="79" y="336"/>
                    <a:pt x="80" y="335"/>
                  </a:cubicBezTo>
                  <a:cubicBezTo>
                    <a:pt x="80" y="332"/>
                    <a:pt x="82" y="332"/>
                    <a:pt x="84" y="332"/>
                  </a:cubicBezTo>
                  <a:cubicBezTo>
                    <a:pt x="84" y="331"/>
                    <a:pt x="84" y="329"/>
                    <a:pt x="85" y="329"/>
                  </a:cubicBezTo>
                  <a:cubicBezTo>
                    <a:pt x="86" y="327"/>
                    <a:pt x="87" y="321"/>
                    <a:pt x="86" y="321"/>
                  </a:cubicBezTo>
                  <a:cubicBezTo>
                    <a:pt x="83" y="319"/>
                    <a:pt x="80" y="320"/>
                    <a:pt x="77" y="320"/>
                  </a:cubicBezTo>
                  <a:cubicBezTo>
                    <a:pt x="77" y="319"/>
                    <a:pt x="77" y="318"/>
                    <a:pt x="76" y="317"/>
                  </a:cubicBezTo>
                  <a:cubicBezTo>
                    <a:pt x="76" y="316"/>
                    <a:pt x="76" y="314"/>
                    <a:pt x="76" y="313"/>
                  </a:cubicBezTo>
                  <a:cubicBezTo>
                    <a:pt x="76" y="312"/>
                    <a:pt x="78" y="308"/>
                    <a:pt x="76" y="307"/>
                  </a:cubicBezTo>
                  <a:cubicBezTo>
                    <a:pt x="75" y="306"/>
                    <a:pt x="68" y="306"/>
                    <a:pt x="68" y="308"/>
                  </a:cubicBezTo>
                  <a:cubicBezTo>
                    <a:pt x="67" y="308"/>
                    <a:pt x="67" y="308"/>
                    <a:pt x="67" y="308"/>
                  </a:cubicBezTo>
                  <a:cubicBezTo>
                    <a:pt x="67" y="307"/>
                    <a:pt x="68" y="305"/>
                    <a:pt x="67" y="304"/>
                  </a:cubicBezTo>
                  <a:cubicBezTo>
                    <a:pt x="67" y="304"/>
                    <a:pt x="66" y="303"/>
                    <a:pt x="66" y="303"/>
                  </a:cubicBezTo>
                  <a:cubicBezTo>
                    <a:pt x="65" y="303"/>
                    <a:pt x="64" y="304"/>
                    <a:pt x="63" y="303"/>
                  </a:cubicBezTo>
                  <a:cubicBezTo>
                    <a:pt x="61" y="302"/>
                    <a:pt x="63" y="301"/>
                    <a:pt x="64" y="302"/>
                  </a:cubicBezTo>
                  <a:cubicBezTo>
                    <a:pt x="64" y="300"/>
                    <a:pt x="66" y="294"/>
                    <a:pt x="63" y="293"/>
                  </a:cubicBezTo>
                  <a:cubicBezTo>
                    <a:pt x="62" y="292"/>
                    <a:pt x="58" y="292"/>
                    <a:pt x="58" y="294"/>
                  </a:cubicBezTo>
                  <a:cubicBezTo>
                    <a:pt x="58" y="294"/>
                    <a:pt x="57" y="294"/>
                    <a:pt x="57" y="294"/>
                  </a:cubicBezTo>
                  <a:cubicBezTo>
                    <a:pt x="57" y="292"/>
                    <a:pt x="58" y="291"/>
                    <a:pt x="58" y="288"/>
                  </a:cubicBezTo>
                  <a:cubicBezTo>
                    <a:pt x="58" y="288"/>
                    <a:pt x="57" y="288"/>
                    <a:pt x="57" y="288"/>
                  </a:cubicBezTo>
                  <a:cubicBezTo>
                    <a:pt x="56" y="289"/>
                    <a:pt x="57" y="290"/>
                    <a:pt x="56" y="290"/>
                  </a:cubicBezTo>
                  <a:cubicBezTo>
                    <a:pt x="56" y="290"/>
                    <a:pt x="55" y="290"/>
                    <a:pt x="55" y="290"/>
                  </a:cubicBezTo>
                  <a:cubicBezTo>
                    <a:pt x="55" y="288"/>
                    <a:pt x="51" y="289"/>
                    <a:pt x="49" y="289"/>
                  </a:cubicBezTo>
                  <a:cubicBezTo>
                    <a:pt x="50" y="290"/>
                    <a:pt x="50" y="291"/>
                    <a:pt x="50" y="292"/>
                  </a:cubicBezTo>
                  <a:cubicBezTo>
                    <a:pt x="48" y="292"/>
                    <a:pt x="47" y="293"/>
                    <a:pt x="46" y="295"/>
                  </a:cubicBezTo>
                  <a:cubicBezTo>
                    <a:pt x="45" y="296"/>
                    <a:pt x="43" y="296"/>
                    <a:pt x="42" y="296"/>
                  </a:cubicBezTo>
                  <a:cubicBezTo>
                    <a:pt x="42" y="297"/>
                    <a:pt x="42" y="297"/>
                    <a:pt x="42" y="297"/>
                  </a:cubicBezTo>
                  <a:cubicBezTo>
                    <a:pt x="39" y="297"/>
                    <a:pt x="36" y="296"/>
                    <a:pt x="34" y="296"/>
                  </a:cubicBezTo>
                  <a:cubicBezTo>
                    <a:pt x="34" y="297"/>
                    <a:pt x="34" y="298"/>
                    <a:pt x="33" y="299"/>
                  </a:cubicBezTo>
                  <a:cubicBezTo>
                    <a:pt x="33" y="297"/>
                    <a:pt x="33" y="297"/>
                    <a:pt x="33" y="297"/>
                  </a:cubicBezTo>
                  <a:cubicBezTo>
                    <a:pt x="29" y="297"/>
                    <a:pt x="30" y="294"/>
                    <a:pt x="30" y="292"/>
                  </a:cubicBezTo>
                  <a:cubicBezTo>
                    <a:pt x="28" y="292"/>
                    <a:pt x="23" y="292"/>
                    <a:pt x="21" y="290"/>
                  </a:cubicBezTo>
                  <a:cubicBezTo>
                    <a:pt x="20" y="289"/>
                    <a:pt x="19" y="287"/>
                    <a:pt x="17" y="288"/>
                  </a:cubicBezTo>
                  <a:cubicBezTo>
                    <a:pt x="16" y="289"/>
                    <a:pt x="17" y="295"/>
                    <a:pt x="16" y="295"/>
                  </a:cubicBezTo>
                  <a:cubicBezTo>
                    <a:pt x="14" y="295"/>
                    <a:pt x="11" y="295"/>
                    <a:pt x="9" y="294"/>
                  </a:cubicBezTo>
                  <a:cubicBezTo>
                    <a:pt x="9" y="293"/>
                    <a:pt x="10" y="291"/>
                    <a:pt x="10" y="289"/>
                  </a:cubicBezTo>
                  <a:cubicBezTo>
                    <a:pt x="14" y="289"/>
                    <a:pt x="14" y="286"/>
                    <a:pt x="12" y="284"/>
                  </a:cubicBezTo>
                  <a:cubicBezTo>
                    <a:pt x="11" y="283"/>
                    <a:pt x="10" y="283"/>
                    <a:pt x="9" y="282"/>
                  </a:cubicBezTo>
                  <a:cubicBezTo>
                    <a:pt x="8" y="281"/>
                    <a:pt x="9" y="280"/>
                    <a:pt x="9" y="278"/>
                  </a:cubicBezTo>
                  <a:cubicBezTo>
                    <a:pt x="8" y="278"/>
                    <a:pt x="6" y="277"/>
                    <a:pt x="5" y="277"/>
                  </a:cubicBezTo>
                  <a:cubicBezTo>
                    <a:pt x="5" y="276"/>
                    <a:pt x="5" y="275"/>
                    <a:pt x="5" y="274"/>
                  </a:cubicBezTo>
                  <a:cubicBezTo>
                    <a:pt x="9" y="275"/>
                    <a:pt x="12" y="277"/>
                    <a:pt x="13" y="280"/>
                  </a:cubicBezTo>
                  <a:cubicBezTo>
                    <a:pt x="14" y="283"/>
                    <a:pt x="17" y="281"/>
                    <a:pt x="18" y="285"/>
                  </a:cubicBezTo>
                  <a:cubicBezTo>
                    <a:pt x="19" y="286"/>
                    <a:pt x="19" y="285"/>
                    <a:pt x="20" y="284"/>
                  </a:cubicBezTo>
                  <a:cubicBezTo>
                    <a:pt x="23" y="283"/>
                    <a:pt x="26" y="285"/>
                    <a:pt x="28" y="288"/>
                  </a:cubicBezTo>
                  <a:cubicBezTo>
                    <a:pt x="30" y="292"/>
                    <a:pt x="35" y="287"/>
                    <a:pt x="30" y="285"/>
                  </a:cubicBezTo>
                  <a:cubicBezTo>
                    <a:pt x="28" y="284"/>
                    <a:pt x="27" y="280"/>
                    <a:pt x="29" y="278"/>
                  </a:cubicBezTo>
                  <a:cubicBezTo>
                    <a:pt x="31" y="277"/>
                    <a:pt x="36" y="279"/>
                    <a:pt x="36" y="276"/>
                  </a:cubicBezTo>
                  <a:cubicBezTo>
                    <a:pt x="34" y="276"/>
                    <a:pt x="33" y="274"/>
                    <a:pt x="33" y="273"/>
                  </a:cubicBezTo>
                  <a:cubicBezTo>
                    <a:pt x="32" y="272"/>
                    <a:pt x="32" y="272"/>
                    <a:pt x="32" y="271"/>
                  </a:cubicBezTo>
                  <a:cubicBezTo>
                    <a:pt x="32" y="269"/>
                    <a:pt x="31" y="270"/>
                    <a:pt x="30" y="269"/>
                  </a:cubicBezTo>
                  <a:cubicBezTo>
                    <a:pt x="30" y="270"/>
                    <a:pt x="31" y="274"/>
                    <a:pt x="30" y="274"/>
                  </a:cubicBezTo>
                  <a:cubicBezTo>
                    <a:pt x="30" y="275"/>
                    <a:pt x="27" y="272"/>
                    <a:pt x="26" y="272"/>
                  </a:cubicBezTo>
                  <a:cubicBezTo>
                    <a:pt x="26" y="271"/>
                    <a:pt x="26" y="270"/>
                    <a:pt x="26" y="268"/>
                  </a:cubicBezTo>
                  <a:cubicBezTo>
                    <a:pt x="25" y="268"/>
                    <a:pt x="25" y="268"/>
                    <a:pt x="25" y="268"/>
                  </a:cubicBezTo>
                  <a:cubicBezTo>
                    <a:pt x="25" y="270"/>
                    <a:pt x="22" y="269"/>
                    <a:pt x="20" y="269"/>
                  </a:cubicBezTo>
                  <a:cubicBezTo>
                    <a:pt x="17" y="269"/>
                    <a:pt x="17" y="271"/>
                    <a:pt x="17" y="273"/>
                  </a:cubicBezTo>
                  <a:cubicBezTo>
                    <a:pt x="16" y="273"/>
                    <a:pt x="15" y="273"/>
                    <a:pt x="14" y="273"/>
                  </a:cubicBezTo>
                  <a:cubicBezTo>
                    <a:pt x="13" y="272"/>
                    <a:pt x="11" y="273"/>
                    <a:pt x="9" y="273"/>
                  </a:cubicBezTo>
                  <a:cubicBezTo>
                    <a:pt x="7" y="272"/>
                    <a:pt x="8" y="269"/>
                    <a:pt x="8" y="268"/>
                  </a:cubicBezTo>
                  <a:cubicBezTo>
                    <a:pt x="6" y="268"/>
                    <a:pt x="6" y="267"/>
                    <a:pt x="6" y="265"/>
                  </a:cubicBezTo>
                  <a:cubicBezTo>
                    <a:pt x="6" y="265"/>
                    <a:pt x="6" y="265"/>
                    <a:pt x="6" y="265"/>
                  </a:cubicBezTo>
                  <a:cubicBezTo>
                    <a:pt x="7" y="265"/>
                    <a:pt x="7" y="265"/>
                    <a:pt x="7" y="264"/>
                  </a:cubicBezTo>
                  <a:cubicBezTo>
                    <a:pt x="7" y="263"/>
                    <a:pt x="8" y="263"/>
                    <a:pt x="10" y="263"/>
                  </a:cubicBezTo>
                  <a:cubicBezTo>
                    <a:pt x="10" y="261"/>
                    <a:pt x="9" y="261"/>
                    <a:pt x="7" y="261"/>
                  </a:cubicBezTo>
                  <a:cubicBezTo>
                    <a:pt x="5" y="262"/>
                    <a:pt x="5" y="260"/>
                    <a:pt x="3" y="259"/>
                  </a:cubicBezTo>
                  <a:cubicBezTo>
                    <a:pt x="3" y="258"/>
                    <a:pt x="2" y="258"/>
                    <a:pt x="1" y="257"/>
                  </a:cubicBezTo>
                  <a:cubicBezTo>
                    <a:pt x="0" y="256"/>
                    <a:pt x="0" y="254"/>
                    <a:pt x="0" y="252"/>
                  </a:cubicBezTo>
                  <a:cubicBezTo>
                    <a:pt x="1" y="252"/>
                    <a:pt x="2" y="247"/>
                    <a:pt x="2" y="247"/>
                  </a:cubicBezTo>
                  <a:cubicBezTo>
                    <a:pt x="2" y="247"/>
                    <a:pt x="3" y="246"/>
                    <a:pt x="3" y="247"/>
                  </a:cubicBezTo>
                  <a:cubicBezTo>
                    <a:pt x="4" y="243"/>
                    <a:pt x="4" y="240"/>
                    <a:pt x="5" y="237"/>
                  </a:cubicBezTo>
                  <a:cubicBezTo>
                    <a:pt x="1" y="237"/>
                    <a:pt x="1" y="236"/>
                    <a:pt x="1" y="233"/>
                  </a:cubicBezTo>
                  <a:cubicBezTo>
                    <a:pt x="2" y="233"/>
                    <a:pt x="2" y="232"/>
                    <a:pt x="3" y="231"/>
                  </a:cubicBezTo>
                  <a:cubicBezTo>
                    <a:pt x="4" y="232"/>
                    <a:pt x="5" y="235"/>
                    <a:pt x="8" y="235"/>
                  </a:cubicBezTo>
                  <a:cubicBezTo>
                    <a:pt x="10" y="235"/>
                    <a:pt x="12" y="234"/>
                    <a:pt x="14" y="235"/>
                  </a:cubicBezTo>
                  <a:cubicBezTo>
                    <a:pt x="16" y="235"/>
                    <a:pt x="17" y="237"/>
                    <a:pt x="18" y="234"/>
                  </a:cubicBezTo>
                  <a:cubicBezTo>
                    <a:pt x="20" y="232"/>
                    <a:pt x="23" y="232"/>
                    <a:pt x="21" y="229"/>
                  </a:cubicBezTo>
                  <a:cubicBezTo>
                    <a:pt x="21" y="229"/>
                    <a:pt x="20" y="228"/>
                    <a:pt x="20" y="228"/>
                  </a:cubicBezTo>
                  <a:cubicBezTo>
                    <a:pt x="19" y="227"/>
                    <a:pt x="19" y="224"/>
                    <a:pt x="19" y="223"/>
                  </a:cubicBezTo>
                  <a:cubicBezTo>
                    <a:pt x="19" y="220"/>
                    <a:pt x="16" y="218"/>
                    <a:pt x="14" y="216"/>
                  </a:cubicBezTo>
                  <a:cubicBezTo>
                    <a:pt x="12" y="214"/>
                    <a:pt x="16" y="213"/>
                    <a:pt x="16" y="211"/>
                  </a:cubicBezTo>
                  <a:cubicBezTo>
                    <a:pt x="16" y="208"/>
                    <a:pt x="16" y="206"/>
                    <a:pt x="20" y="206"/>
                  </a:cubicBezTo>
                  <a:cubicBezTo>
                    <a:pt x="20" y="205"/>
                    <a:pt x="20" y="204"/>
                    <a:pt x="20" y="203"/>
                  </a:cubicBezTo>
                  <a:cubicBezTo>
                    <a:pt x="17" y="203"/>
                    <a:pt x="17" y="200"/>
                    <a:pt x="18" y="197"/>
                  </a:cubicBezTo>
                  <a:cubicBezTo>
                    <a:pt x="21" y="188"/>
                    <a:pt x="34" y="194"/>
                    <a:pt x="41" y="194"/>
                  </a:cubicBezTo>
                  <a:cubicBezTo>
                    <a:pt x="41" y="189"/>
                    <a:pt x="39" y="180"/>
                    <a:pt x="43" y="176"/>
                  </a:cubicBezTo>
                  <a:cubicBezTo>
                    <a:pt x="45" y="176"/>
                    <a:pt x="47" y="176"/>
                    <a:pt x="47" y="173"/>
                  </a:cubicBezTo>
                  <a:cubicBezTo>
                    <a:pt x="47" y="173"/>
                    <a:pt x="46" y="173"/>
                    <a:pt x="45" y="173"/>
                  </a:cubicBezTo>
                  <a:cubicBezTo>
                    <a:pt x="44" y="171"/>
                    <a:pt x="40" y="171"/>
                    <a:pt x="39" y="171"/>
                  </a:cubicBezTo>
                  <a:cubicBezTo>
                    <a:pt x="35" y="171"/>
                    <a:pt x="32" y="169"/>
                    <a:pt x="29" y="168"/>
                  </a:cubicBezTo>
                  <a:cubicBezTo>
                    <a:pt x="28" y="164"/>
                    <a:pt x="34" y="166"/>
                    <a:pt x="37" y="165"/>
                  </a:cubicBezTo>
                  <a:cubicBezTo>
                    <a:pt x="37" y="164"/>
                    <a:pt x="39" y="162"/>
                    <a:pt x="40" y="162"/>
                  </a:cubicBezTo>
                  <a:cubicBezTo>
                    <a:pt x="40" y="161"/>
                    <a:pt x="40" y="160"/>
                    <a:pt x="41" y="160"/>
                  </a:cubicBezTo>
                  <a:cubicBezTo>
                    <a:pt x="41" y="158"/>
                    <a:pt x="41" y="158"/>
                    <a:pt x="39" y="158"/>
                  </a:cubicBezTo>
                  <a:cubicBezTo>
                    <a:pt x="40" y="156"/>
                    <a:pt x="39" y="154"/>
                    <a:pt x="39" y="152"/>
                  </a:cubicBezTo>
                  <a:cubicBezTo>
                    <a:pt x="40" y="152"/>
                    <a:pt x="41" y="152"/>
                    <a:pt x="42" y="152"/>
                  </a:cubicBezTo>
                  <a:cubicBezTo>
                    <a:pt x="42" y="150"/>
                    <a:pt x="39" y="148"/>
                    <a:pt x="41" y="146"/>
                  </a:cubicBezTo>
                  <a:cubicBezTo>
                    <a:pt x="43" y="143"/>
                    <a:pt x="43" y="141"/>
                    <a:pt x="43" y="138"/>
                  </a:cubicBezTo>
                  <a:cubicBezTo>
                    <a:pt x="44" y="134"/>
                    <a:pt x="42" y="135"/>
                    <a:pt x="40" y="134"/>
                  </a:cubicBezTo>
                  <a:cubicBezTo>
                    <a:pt x="37" y="132"/>
                    <a:pt x="40" y="129"/>
                    <a:pt x="42" y="130"/>
                  </a:cubicBezTo>
                  <a:cubicBezTo>
                    <a:pt x="43" y="124"/>
                    <a:pt x="51" y="119"/>
                    <a:pt x="56" y="119"/>
                  </a:cubicBezTo>
                  <a:cubicBezTo>
                    <a:pt x="57" y="116"/>
                    <a:pt x="52" y="116"/>
                    <a:pt x="51" y="116"/>
                  </a:cubicBezTo>
                  <a:cubicBezTo>
                    <a:pt x="49" y="116"/>
                    <a:pt x="48" y="116"/>
                    <a:pt x="46" y="116"/>
                  </a:cubicBezTo>
                  <a:cubicBezTo>
                    <a:pt x="44" y="115"/>
                    <a:pt x="44" y="114"/>
                    <a:pt x="42" y="114"/>
                  </a:cubicBezTo>
                  <a:cubicBezTo>
                    <a:pt x="41" y="111"/>
                    <a:pt x="43" y="111"/>
                    <a:pt x="45" y="111"/>
                  </a:cubicBezTo>
                  <a:cubicBezTo>
                    <a:pt x="46" y="108"/>
                    <a:pt x="46" y="108"/>
                    <a:pt x="49" y="107"/>
                  </a:cubicBezTo>
                  <a:cubicBezTo>
                    <a:pt x="49" y="106"/>
                    <a:pt x="49" y="105"/>
                    <a:pt x="49" y="104"/>
                  </a:cubicBezTo>
                  <a:cubicBezTo>
                    <a:pt x="51" y="104"/>
                    <a:pt x="55" y="100"/>
                    <a:pt x="55" y="99"/>
                  </a:cubicBezTo>
                  <a:cubicBezTo>
                    <a:pt x="56" y="96"/>
                    <a:pt x="52" y="90"/>
                    <a:pt x="56" y="90"/>
                  </a:cubicBezTo>
                  <a:cubicBezTo>
                    <a:pt x="56" y="89"/>
                    <a:pt x="56" y="88"/>
                    <a:pt x="56" y="87"/>
                  </a:cubicBezTo>
                  <a:cubicBezTo>
                    <a:pt x="55" y="87"/>
                    <a:pt x="55" y="83"/>
                    <a:pt x="55" y="82"/>
                  </a:cubicBezTo>
                  <a:cubicBezTo>
                    <a:pt x="56" y="82"/>
                    <a:pt x="56" y="82"/>
                    <a:pt x="57" y="82"/>
                  </a:cubicBezTo>
                  <a:cubicBezTo>
                    <a:pt x="56" y="79"/>
                    <a:pt x="56" y="79"/>
                    <a:pt x="56" y="79"/>
                  </a:cubicBezTo>
                  <a:cubicBezTo>
                    <a:pt x="56" y="79"/>
                    <a:pt x="51" y="78"/>
                    <a:pt x="49" y="78"/>
                  </a:cubicBezTo>
                  <a:cubicBezTo>
                    <a:pt x="50" y="78"/>
                    <a:pt x="50" y="77"/>
                    <a:pt x="50" y="77"/>
                  </a:cubicBezTo>
                  <a:cubicBezTo>
                    <a:pt x="51" y="75"/>
                    <a:pt x="52" y="73"/>
                    <a:pt x="51" y="71"/>
                  </a:cubicBezTo>
                  <a:cubicBezTo>
                    <a:pt x="51" y="69"/>
                    <a:pt x="50" y="69"/>
                    <a:pt x="50" y="67"/>
                  </a:cubicBezTo>
                  <a:cubicBezTo>
                    <a:pt x="51" y="67"/>
                    <a:pt x="51" y="65"/>
                    <a:pt x="51" y="64"/>
                  </a:cubicBezTo>
                  <a:cubicBezTo>
                    <a:pt x="52" y="65"/>
                    <a:pt x="53" y="64"/>
                    <a:pt x="53" y="62"/>
                  </a:cubicBezTo>
                  <a:cubicBezTo>
                    <a:pt x="55" y="62"/>
                    <a:pt x="57" y="63"/>
                    <a:pt x="59" y="63"/>
                  </a:cubicBezTo>
                  <a:cubicBezTo>
                    <a:pt x="59" y="62"/>
                    <a:pt x="60" y="58"/>
                    <a:pt x="61" y="57"/>
                  </a:cubicBezTo>
                  <a:cubicBezTo>
                    <a:pt x="62" y="54"/>
                    <a:pt x="64" y="52"/>
                    <a:pt x="67" y="51"/>
                  </a:cubicBezTo>
                  <a:cubicBezTo>
                    <a:pt x="68" y="50"/>
                    <a:pt x="69" y="49"/>
                    <a:pt x="69" y="47"/>
                  </a:cubicBezTo>
                  <a:cubicBezTo>
                    <a:pt x="67" y="47"/>
                    <a:pt x="67" y="47"/>
                    <a:pt x="67" y="47"/>
                  </a:cubicBezTo>
                  <a:cubicBezTo>
                    <a:pt x="67" y="44"/>
                    <a:pt x="58" y="39"/>
                    <a:pt x="65" y="37"/>
                  </a:cubicBezTo>
                  <a:cubicBezTo>
                    <a:pt x="68" y="36"/>
                    <a:pt x="66" y="33"/>
                    <a:pt x="67" y="31"/>
                  </a:cubicBezTo>
                  <a:cubicBezTo>
                    <a:pt x="68" y="29"/>
                    <a:pt x="71" y="29"/>
                    <a:pt x="70" y="26"/>
                  </a:cubicBezTo>
                  <a:cubicBezTo>
                    <a:pt x="71" y="26"/>
                    <a:pt x="72" y="26"/>
                    <a:pt x="73" y="26"/>
                  </a:cubicBezTo>
                  <a:cubicBezTo>
                    <a:pt x="73" y="29"/>
                    <a:pt x="77" y="29"/>
                    <a:pt x="75" y="32"/>
                  </a:cubicBezTo>
                  <a:cubicBezTo>
                    <a:pt x="77" y="30"/>
                    <a:pt x="80" y="31"/>
                    <a:pt x="82" y="31"/>
                  </a:cubicBezTo>
                  <a:cubicBezTo>
                    <a:pt x="83" y="30"/>
                    <a:pt x="83" y="30"/>
                    <a:pt x="83" y="30"/>
                  </a:cubicBezTo>
                  <a:cubicBezTo>
                    <a:pt x="82" y="29"/>
                    <a:pt x="82" y="27"/>
                    <a:pt x="80" y="26"/>
                  </a:cubicBezTo>
                  <a:cubicBezTo>
                    <a:pt x="79" y="26"/>
                    <a:pt x="78" y="25"/>
                    <a:pt x="78" y="24"/>
                  </a:cubicBezTo>
                  <a:cubicBezTo>
                    <a:pt x="83" y="24"/>
                    <a:pt x="85" y="24"/>
                    <a:pt x="88" y="21"/>
                  </a:cubicBezTo>
                  <a:cubicBezTo>
                    <a:pt x="90" y="20"/>
                    <a:pt x="90" y="14"/>
                    <a:pt x="90" y="12"/>
                  </a:cubicBezTo>
                  <a:cubicBezTo>
                    <a:pt x="90" y="11"/>
                    <a:pt x="88" y="11"/>
                    <a:pt x="89" y="10"/>
                  </a:cubicBezTo>
                  <a:cubicBezTo>
                    <a:pt x="89" y="9"/>
                    <a:pt x="91" y="9"/>
                    <a:pt x="91" y="8"/>
                  </a:cubicBezTo>
                  <a:cubicBezTo>
                    <a:pt x="94" y="5"/>
                    <a:pt x="89" y="4"/>
                    <a:pt x="89" y="1"/>
                  </a:cubicBezTo>
                  <a:cubicBezTo>
                    <a:pt x="90" y="1"/>
                    <a:pt x="91" y="1"/>
                    <a:pt x="91" y="0"/>
                  </a:cubicBezTo>
                  <a:cubicBezTo>
                    <a:pt x="93" y="1"/>
                    <a:pt x="99" y="4"/>
                    <a:pt x="99" y="6"/>
                  </a:cubicBezTo>
                  <a:cubicBezTo>
                    <a:pt x="102" y="6"/>
                    <a:pt x="105" y="4"/>
                    <a:pt x="108" y="6"/>
                  </a:cubicBezTo>
                  <a:cubicBezTo>
                    <a:pt x="110" y="7"/>
                    <a:pt x="113" y="6"/>
                    <a:pt x="116" y="6"/>
                  </a:cubicBezTo>
                  <a:cubicBezTo>
                    <a:pt x="116" y="9"/>
                    <a:pt x="115" y="11"/>
                    <a:pt x="115" y="13"/>
                  </a:cubicBezTo>
                  <a:cubicBezTo>
                    <a:pt x="118" y="14"/>
                    <a:pt x="120" y="13"/>
                    <a:pt x="122" y="13"/>
                  </a:cubicBezTo>
                  <a:cubicBezTo>
                    <a:pt x="122" y="15"/>
                    <a:pt x="122" y="15"/>
                    <a:pt x="120" y="16"/>
                  </a:cubicBezTo>
                  <a:cubicBezTo>
                    <a:pt x="119" y="17"/>
                    <a:pt x="119" y="19"/>
                    <a:pt x="119" y="20"/>
                  </a:cubicBezTo>
                  <a:cubicBezTo>
                    <a:pt x="122" y="21"/>
                    <a:pt x="125" y="20"/>
                    <a:pt x="127" y="20"/>
                  </a:cubicBezTo>
                  <a:cubicBezTo>
                    <a:pt x="127" y="20"/>
                    <a:pt x="127" y="20"/>
                    <a:pt x="127" y="20"/>
                  </a:cubicBezTo>
                  <a:cubicBezTo>
                    <a:pt x="130" y="19"/>
                    <a:pt x="131" y="23"/>
                    <a:pt x="134" y="22"/>
                  </a:cubicBezTo>
                  <a:cubicBezTo>
                    <a:pt x="133" y="21"/>
                    <a:pt x="132" y="19"/>
                    <a:pt x="134" y="19"/>
                  </a:cubicBezTo>
                  <a:cubicBezTo>
                    <a:pt x="134" y="17"/>
                    <a:pt x="134" y="16"/>
                    <a:pt x="134" y="15"/>
                  </a:cubicBezTo>
                  <a:cubicBezTo>
                    <a:pt x="134" y="15"/>
                    <a:pt x="135" y="15"/>
                    <a:pt x="135" y="15"/>
                  </a:cubicBezTo>
                  <a:cubicBezTo>
                    <a:pt x="136" y="15"/>
                    <a:pt x="136" y="17"/>
                    <a:pt x="136" y="17"/>
                  </a:cubicBezTo>
                  <a:cubicBezTo>
                    <a:pt x="137" y="18"/>
                    <a:pt x="139" y="17"/>
                    <a:pt x="141" y="17"/>
                  </a:cubicBezTo>
                  <a:cubicBezTo>
                    <a:pt x="141" y="18"/>
                    <a:pt x="141" y="19"/>
                    <a:pt x="141" y="19"/>
                  </a:cubicBezTo>
                  <a:cubicBezTo>
                    <a:pt x="141" y="19"/>
                    <a:pt x="142" y="19"/>
                    <a:pt x="143" y="19"/>
                  </a:cubicBezTo>
                  <a:cubicBezTo>
                    <a:pt x="142" y="21"/>
                    <a:pt x="145" y="24"/>
                    <a:pt x="147" y="22"/>
                  </a:cubicBezTo>
                  <a:cubicBezTo>
                    <a:pt x="148" y="21"/>
                    <a:pt x="146" y="20"/>
                    <a:pt x="147" y="19"/>
                  </a:cubicBezTo>
                  <a:cubicBezTo>
                    <a:pt x="149" y="18"/>
                    <a:pt x="149" y="20"/>
                    <a:pt x="149" y="21"/>
                  </a:cubicBezTo>
                  <a:cubicBezTo>
                    <a:pt x="151" y="21"/>
                    <a:pt x="151" y="19"/>
                    <a:pt x="152" y="18"/>
                  </a:cubicBezTo>
                  <a:cubicBezTo>
                    <a:pt x="154" y="18"/>
                    <a:pt x="156" y="19"/>
                    <a:pt x="158" y="19"/>
                  </a:cubicBezTo>
                  <a:cubicBezTo>
                    <a:pt x="159" y="18"/>
                    <a:pt x="160" y="18"/>
                    <a:pt x="160" y="19"/>
                  </a:cubicBezTo>
                  <a:cubicBezTo>
                    <a:pt x="162" y="22"/>
                    <a:pt x="165" y="24"/>
                    <a:pt x="168" y="25"/>
                  </a:cubicBezTo>
                  <a:cubicBezTo>
                    <a:pt x="168" y="26"/>
                    <a:pt x="170" y="27"/>
                    <a:pt x="170" y="28"/>
                  </a:cubicBezTo>
                  <a:cubicBezTo>
                    <a:pt x="170" y="30"/>
                    <a:pt x="169" y="31"/>
                    <a:pt x="168" y="33"/>
                  </a:cubicBezTo>
                  <a:cubicBezTo>
                    <a:pt x="167" y="36"/>
                    <a:pt x="169" y="39"/>
                    <a:pt x="166" y="41"/>
                  </a:cubicBezTo>
                  <a:cubicBezTo>
                    <a:pt x="164" y="43"/>
                    <a:pt x="163" y="46"/>
                    <a:pt x="166" y="47"/>
                  </a:cubicBezTo>
                  <a:cubicBezTo>
                    <a:pt x="168" y="48"/>
                    <a:pt x="169" y="54"/>
                    <a:pt x="169" y="56"/>
                  </a:cubicBezTo>
                  <a:cubicBezTo>
                    <a:pt x="166" y="57"/>
                    <a:pt x="169" y="59"/>
                    <a:pt x="170" y="60"/>
                  </a:cubicBezTo>
                  <a:cubicBezTo>
                    <a:pt x="172" y="62"/>
                    <a:pt x="176" y="63"/>
                    <a:pt x="179" y="64"/>
                  </a:cubicBezTo>
                  <a:cubicBezTo>
                    <a:pt x="180" y="64"/>
                    <a:pt x="182" y="63"/>
                    <a:pt x="183" y="64"/>
                  </a:cubicBezTo>
                  <a:cubicBezTo>
                    <a:pt x="184" y="65"/>
                    <a:pt x="184" y="66"/>
                    <a:pt x="185" y="67"/>
                  </a:cubicBezTo>
                  <a:cubicBezTo>
                    <a:pt x="186" y="68"/>
                    <a:pt x="190" y="69"/>
                    <a:pt x="191" y="68"/>
                  </a:cubicBezTo>
                  <a:cubicBezTo>
                    <a:pt x="194" y="64"/>
                    <a:pt x="201" y="75"/>
                    <a:pt x="202" y="77"/>
                  </a:cubicBezTo>
                  <a:cubicBezTo>
                    <a:pt x="203" y="80"/>
                    <a:pt x="204" y="82"/>
                    <a:pt x="205" y="85"/>
                  </a:cubicBezTo>
                  <a:cubicBezTo>
                    <a:pt x="206" y="87"/>
                    <a:pt x="203" y="88"/>
                    <a:pt x="204" y="91"/>
                  </a:cubicBezTo>
                  <a:cubicBezTo>
                    <a:pt x="206" y="92"/>
                    <a:pt x="208" y="89"/>
                    <a:pt x="211" y="89"/>
                  </a:cubicBezTo>
                  <a:cubicBezTo>
                    <a:pt x="211" y="90"/>
                    <a:pt x="211" y="91"/>
                    <a:pt x="211" y="92"/>
                  </a:cubicBezTo>
                  <a:cubicBezTo>
                    <a:pt x="213" y="93"/>
                    <a:pt x="213" y="91"/>
                    <a:pt x="215" y="91"/>
                  </a:cubicBezTo>
                  <a:cubicBezTo>
                    <a:pt x="215" y="92"/>
                    <a:pt x="215" y="92"/>
                    <a:pt x="215" y="92"/>
                  </a:cubicBezTo>
                  <a:cubicBezTo>
                    <a:pt x="216" y="93"/>
                    <a:pt x="213" y="95"/>
                    <a:pt x="215" y="97"/>
                  </a:cubicBezTo>
                  <a:cubicBezTo>
                    <a:pt x="217" y="99"/>
                    <a:pt x="217" y="102"/>
                    <a:pt x="217" y="105"/>
                  </a:cubicBezTo>
                  <a:cubicBezTo>
                    <a:pt x="216" y="113"/>
                    <a:pt x="220" y="107"/>
                    <a:pt x="225" y="107"/>
                  </a:cubicBezTo>
                  <a:cubicBezTo>
                    <a:pt x="227" y="107"/>
                    <a:pt x="229" y="109"/>
                    <a:pt x="231" y="108"/>
                  </a:cubicBezTo>
                  <a:cubicBezTo>
                    <a:pt x="234" y="108"/>
                    <a:pt x="237" y="107"/>
                    <a:pt x="241" y="108"/>
                  </a:cubicBezTo>
                  <a:cubicBezTo>
                    <a:pt x="243" y="108"/>
                    <a:pt x="244" y="107"/>
                    <a:pt x="247" y="106"/>
                  </a:cubicBezTo>
                  <a:cubicBezTo>
                    <a:pt x="248" y="106"/>
                    <a:pt x="250" y="107"/>
                    <a:pt x="251" y="106"/>
                  </a:cubicBezTo>
                  <a:cubicBezTo>
                    <a:pt x="252" y="106"/>
                    <a:pt x="253" y="106"/>
                    <a:pt x="254" y="105"/>
                  </a:cubicBezTo>
                  <a:cubicBezTo>
                    <a:pt x="255" y="101"/>
                    <a:pt x="257" y="102"/>
                    <a:pt x="260" y="102"/>
                  </a:cubicBezTo>
                  <a:cubicBezTo>
                    <a:pt x="264" y="101"/>
                    <a:pt x="264" y="97"/>
                    <a:pt x="268" y="97"/>
                  </a:cubicBezTo>
                  <a:cubicBezTo>
                    <a:pt x="270" y="98"/>
                    <a:pt x="272" y="97"/>
                    <a:pt x="273" y="99"/>
                  </a:cubicBezTo>
                  <a:cubicBezTo>
                    <a:pt x="273" y="100"/>
                    <a:pt x="273" y="102"/>
                    <a:pt x="275" y="102"/>
                  </a:cubicBezTo>
                  <a:cubicBezTo>
                    <a:pt x="277" y="102"/>
                    <a:pt x="277" y="100"/>
                    <a:pt x="278" y="99"/>
                  </a:cubicBezTo>
                  <a:cubicBezTo>
                    <a:pt x="278" y="97"/>
                    <a:pt x="279" y="98"/>
                    <a:pt x="280" y="98"/>
                  </a:cubicBezTo>
                  <a:cubicBezTo>
                    <a:pt x="281" y="96"/>
                    <a:pt x="280" y="94"/>
                    <a:pt x="282" y="95"/>
                  </a:cubicBezTo>
                  <a:cubicBezTo>
                    <a:pt x="282" y="94"/>
                    <a:pt x="282" y="93"/>
                    <a:pt x="282" y="93"/>
                  </a:cubicBezTo>
                  <a:cubicBezTo>
                    <a:pt x="281" y="93"/>
                    <a:pt x="281" y="92"/>
                    <a:pt x="280" y="92"/>
                  </a:cubicBezTo>
                  <a:cubicBezTo>
                    <a:pt x="280" y="91"/>
                    <a:pt x="279" y="88"/>
                    <a:pt x="281" y="88"/>
                  </a:cubicBezTo>
                  <a:cubicBezTo>
                    <a:pt x="282" y="87"/>
                    <a:pt x="283" y="87"/>
                    <a:pt x="282" y="86"/>
                  </a:cubicBezTo>
                  <a:cubicBezTo>
                    <a:pt x="282" y="86"/>
                    <a:pt x="282" y="86"/>
                    <a:pt x="282" y="86"/>
                  </a:cubicBezTo>
                  <a:cubicBezTo>
                    <a:pt x="282" y="84"/>
                    <a:pt x="281" y="82"/>
                    <a:pt x="281" y="80"/>
                  </a:cubicBezTo>
                  <a:cubicBezTo>
                    <a:pt x="284" y="79"/>
                    <a:pt x="285" y="78"/>
                    <a:pt x="287" y="76"/>
                  </a:cubicBezTo>
                  <a:cubicBezTo>
                    <a:pt x="290" y="77"/>
                    <a:pt x="292" y="81"/>
                    <a:pt x="293" y="84"/>
                  </a:cubicBezTo>
                  <a:cubicBezTo>
                    <a:pt x="295" y="85"/>
                    <a:pt x="292" y="86"/>
                    <a:pt x="291" y="87"/>
                  </a:cubicBezTo>
                  <a:cubicBezTo>
                    <a:pt x="293" y="93"/>
                    <a:pt x="299" y="84"/>
                    <a:pt x="301" y="84"/>
                  </a:cubicBezTo>
                  <a:cubicBezTo>
                    <a:pt x="302" y="83"/>
                    <a:pt x="302" y="82"/>
                    <a:pt x="302" y="81"/>
                  </a:cubicBezTo>
                  <a:cubicBezTo>
                    <a:pt x="303" y="80"/>
                    <a:pt x="305" y="81"/>
                    <a:pt x="306" y="82"/>
                  </a:cubicBezTo>
                  <a:cubicBezTo>
                    <a:pt x="307" y="83"/>
                    <a:pt x="308" y="85"/>
                    <a:pt x="309" y="85"/>
                  </a:cubicBezTo>
                  <a:cubicBezTo>
                    <a:pt x="311" y="85"/>
                    <a:pt x="312" y="82"/>
                    <a:pt x="315" y="82"/>
                  </a:cubicBezTo>
                  <a:cubicBezTo>
                    <a:pt x="315" y="81"/>
                    <a:pt x="315" y="81"/>
                    <a:pt x="314" y="81"/>
                  </a:cubicBezTo>
                  <a:cubicBezTo>
                    <a:pt x="314" y="79"/>
                    <a:pt x="314" y="77"/>
                    <a:pt x="317" y="78"/>
                  </a:cubicBezTo>
                  <a:cubicBezTo>
                    <a:pt x="317" y="77"/>
                    <a:pt x="317" y="76"/>
                    <a:pt x="315" y="76"/>
                  </a:cubicBezTo>
                  <a:cubicBezTo>
                    <a:pt x="315" y="74"/>
                    <a:pt x="312" y="74"/>
                    <a:pt x="313" y="72"/>
                  </a:cubicBezTo>
                  <a:cubicBezTo>
                    <a:pt x="313" y="70"/>
                    <a:pt x="314" y="69"/>
                    <a:pt x="315" y="69"/>
                  </a:cubicBezTo>
                  <a:cubicBezTo>
                    <a:pt x="318" y="68"/>
                    <a:pt x="316" y="64"/>
                    <a:pt x="317" y="64"/>
                  </a:cubicBezTo>
                  <a:cubicBezTo>
                    <a:pt x="319" y="64"/>
                    <a:pt x="320" y="64"/>
                    <a:pt x="322" y="64"/>
                  </a:cubicBezTo>
                  <a:cubicBezTo>
                    <a:pt x="324" y="64"/>
                    <a:pt x="326" y="64"/>
                    <a:pt x="327" y="63"/>
                  </a:cubicBezTo>
                  <a:cubicBezTo>
                    <a:pt x="329" y="62"/>
                    <a:pt x="330" y="58"/>
                    <a:pt x="332" y="58"/>
                  </a:cubicBezTo>
                  <a:cubicBezTo>
                    <a:pt x="331" y="58"/>
                    <a:pt x="331" y="58"/>
                    <a:pt x="331" y="58"/>
                  </a:cubicBezTo>
                  <a:cubicBezTo>
                    <a:pt x="331" y="57"/>
                    <a:pt x="326" y="56"/>
                    <a:pt x="328" y="54"/>
                  </a:cubicBezTo>
                  <a:cubicBezTo>
                    <a:pt x="331" y="51"/>
                    <a:pt x="332" y="55"/>
                    <a:pt x="334" y="56"/>
                  </a:cubicBezTo>
                  <a:cubicBezTo>
                    <a:pt x="334" y="54"/>
                    <a:pt x="335" y="51"/>
                    <a:pt x="336" y="50"/>
                  </a:cubicBezTo>
                  <a:cubicBezTo>
                    <a:pt x="337" y="50"/>
                    <a:pt x="337" y="52"/>
                    <a:pt x="338" y="53"/>
                  </a:cubicBezTo>
                  <a:cubicBezTo>
                    <a:pt x="338" y="52"/>
                    <a:pt x="338" y="52"/>
                    <a:pt x="339" y="51"/>
                  </a:cubicBezTo>
                  <a:cubicBezTo>
                    <a:pt x="342" y="54"/>
                    <a:pt x="342" y="48"/>
                    <a:pt x="342" y="46"/>
                  </a:cubicBezTo>
                  <a:cubicBezTo>
                    <a:pt x="343" y="46"/>
                    <a:pt x="343" y="46"/>
                    <a:pt x="343" y="47"/>
                  </a:cubicBezTo>
                  <a:cubicBezTo>
                    <a:pt x="343" y="49"/>
                    <a:pt x="345" y="54"/>
                    <a:pt x="348" y="53"/>
                  </a:cubicBezTo>
                  <a:cubicBezTo>
                    <a:pt x="348" y="52"/>
                    <a:pt x="349" y="52"/>
                    <a:pt x="350" y="52"/>
                  </a:cubicBezTo>
                  <a:cubicBezTo>
                    <a:pt x="351" y="55"/>
                    <a:pt x="353" y="57"/>
                    <a:pt x="354" y="60"/>
                  </a:cubicBezTo>
                  <a:cubicBezTo>
                    <a:pt x="354" y="63"/>
                    <a:pt x="357" y="62"/>
                    <a:pt x="359" y="62"/>
                  </a:cubicBezTo>
                  <a:cubicBezTo>
                    <a:pt x="362" y="62"/>
                    <a:pt x="364" y="63"/>
                    <a:pt x="367" y="65"/>
                  </a:cubicBezTo>
                  <a:cubicBezTo>
                    <a:pt x="369" y="65"/>
                    <a:pt x="372" y="65"/>
                    <a:pt x="375" y="65"/>
                  </a:cubicBezTo>
                  <a:cubicBezTo>
                    <a:pt x="375" y="64"/>
                    <a:pt x="375" y="64"/>
                    <a:pt x="375" y="63"/>
                  </a:cubicBezTo>
                  <a:cubicBezTo>
                    <a:pt x="379" y="63"/>
                    <a:pt x="378" y="59"/>
                    <a:pt x="382" y="59"/>
                  </a:cubicBezTo>
                  <a:cubicBezTo>
                    <a:pt x="381" y="59"/>
                    <a:pt x="379" y="56"/>
                    <a:pt x="379" y="55"/>
                  </a:cubicBezTo>
                  <a:cubicBezTo>
                    <a:pt x="380" y="54"/>
                    <a:pt x="381" y="55"/>
                    <a:pt x="382" y="55"/>
                  </a:cubicBezTo>
                  <a:cubicBezTo>
                    <a:pt x="383" y="55"/>
                    <a:pt x="383" y="54"/>
                    <a:pt x="384" y="53"/>
                  </a:cubicBezTo>
                  <a:cubicBezTo>
                    <a:pt x="385" y="52"/>
                    <a:pt x="392" y="53"/>
                    <a:pt x="391" y="50"/>
                  </a:cubicBezTo>
                  <a:cubicBezTo>
                    <a:pt x="390" y="50"/>
                    <a:pt x="389" y="49"/>
                    <a:pt x="390" y="48"/>
                  </a:cubicBezTo>
                  <a:cubicBezTo>
                    <a:pt x="391" y="47"/>
                    <a:pt x="392" y="47"/>
                    <a:pt x="395" y="47"/>
                  </a:cubicBezTo>
                  <a:cubicBezTo>
                    <a:pt x="395" y="49"/>
                    <a:pt x="394" y="51"/>
                    <a:pt x="396" y="52"/>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41" name="Freeform 435"/>
            <p:cNvSpPr>
              <a:spLocks/>
            </p:cNvSpPr>
            <p:nvPr/>
          </p:nvSpPr>
          <p:spPr bwMode="auto">
            <a:xfrm>
              <a:off x="5451476" y="2743201"/>
              <a:ext cx="144463" cy="184150"/>
            </a:xfrm>
            <a:custGeom>
              <a:avLst/>
              <a:gdLst>
                <a:gd name="T0" fmla="*/ 0 w 41"/>
                <a:gd name="T1" fmla="*/ 44 h 52"/>
                <a:gd name="T2" fmla="*/ 0 w 41"/>
                <a:gd name="T3" fmla="*/ 44 h 52"/>
                <a:gd name="T4" fmla="*/ 1 w 41"/>
                <a:gd name="T5" fmla="*/ 38 h 52"/>
                <a:gd name="T6" fmla="*/ 2 w 41"/>
                <a:gd name="T7" fmla="*/ 35 h 52"/>
                <a:gd name="T8" fmla="*/ 2 w 41"/>
                <a:gd name="T9" fmla="*/ 29 h 52"/>
                <a:gd name="T10" fmla="*/ 5 w 41"/>
                <a:gd name="T11" fmla="*/ 26 h 52"/>
                <a:gd name="T12" fmla="*/ 5 w 41"/>
                <a:gd name="T13" fmla="*/ 23 h 52"/>
                <a:gd name="T14" fmla="*/ 6 w 41"/>
                <a:gd name="T15" fmla="*/ 21 h 52"/>
                <a:gd name="T16" fmla="*/ 8 w 41"/>
                <a:gd name="T17" fmla="*/ 18 h 52"/>
                <a:gd name="T18" fmla="*/ 9 w 41"/>
                <a:gd name="T19" fmla="*/ 13 h 52"/>
                <a:gd name="T20" fmla="*/ 7 w 41"/>
                <a:gd name="T21" fmla="*/ 9 h 52"/>
                <a:gd name="T22" fmla="*/ 10 w 41"/>
                <a:gd name="T23" fmla="*/ 9 h 52"/>
                <a:gd name="T24" fmla="*/ 14 w 41"/>
                <a:gd name="T25" fmla="*/ 9 h 52"/>
                <a:gd name="T26" fmla="*/ 18 w 41"/>
                <a:gd name="T27" fmla="*/ 6 h 52"/>
                <a:gd name="T28" fmla="*/ 20 w 41"/>
                <a:gd name="T29" fmla="*/ 8 h 52"/>
                <a:gd name="T30" fmla="*/ 20 w 41"/>
                <a:gd name="T31" fmla="*/ 6 h 52"/>
                <a:gd name="T32" fmla="*/ 22 w 41"/>
                <a:gd name="T33" fmla="*/ 4 h 52"/>
                <a:gd name="T34" fmla="*/ 25 w 41"/>
                <a:gd name="T35" fmla="*/ 5 h 52"/>
                <a:gd name="T36" fmla="*/ 25 w 41"/>
                <a:gd name="T37" fmla="*/ 2 h 52"/>
                <a:gd name="T38" fmla="*/ 27 w 41"/>
                <a:gd name="T39" fmla="*/ 2 h 52"/>
                <a:gd name="T40" fmla="*/ 27 w 41"/>
                <a:gd name="T41" fmla="*/ 1 h 52"/>
                <a:gd name="T42" fmla="*/ 30 w 41"/>
                <a:gd name="T43" fmla="*/ 1 h 52"/>
                <a:gd name="T44" fmla="*/ 31 w 41"/>
                <a:gd name="T45" fmla="*/ 3 h 52"/>
                <a:gd name="T46" fmla="*/ 33 w 41"/>
                <a:gd name="T47" fmla="*/ 3 h 52"/>
                <a:gd name="T48" fmla="*/ 36 w 41"/>
                <a:gd name="T49" fmla="*/ 4 h 52"/>
                <a:gd name="T50" fmla="*/ 38 w 41"/>
                <a:gd name="T51" fmla="*/ 8 h 52"/>
                <a:gd name="T52" fmla="*/ 40 w 41"/>
                <a:gd name="T53" fmla="*/ 12 h 52"/>
                <a:gd name="T54" fmla="*/ 39 w 41"/>
                <a:gd name="T55" fmla="*/ 16 h 52"/>
                <a:gd name="T56" fmla="*/ 40 w 41"/>
                <a:gd name="T57" fmla="*/ 19 h 52"/>
                <a:gd name="T58" fmla="*/ 38 w 41"/>
                <a:gd name="T59" fmla="*/ 23 h 52"/>
                <a:gd name="T60" fmla="*/ 36 w 41"/>
                <a:gd name="T61" fmla="*/ 28 h 52"/>
                <a:gd name="T62" fmla="*/ 35 w 41"/>
                <a:gd name="T63" fmla="*/ 28 h 52"/>
                <a:gd name="T64" fmla="*/ 35 w 41"/>
                <a:gd name="T65" fmla="*/ 29 h 52"/>
                <a:gd name="T66" fmla="*/ 36 w 41"/>
                <a:gd name="T67" fmla="*/ 30 h 52"/>
                <a:gd name="T68" fmla="*/ 38 w 41"/>
                <a:gd name="T69" fmla="*/ 37 h 52"/>
                <a:gd name="T70" fmla="*/ 41 w 41"/>
                <a:gd name="T71" fmla="*/ 39 h 52"/>
                <a:gd name="T72" fmla="*/ 40 w 41"/>
                <a:gd name="T73" fmla="*/ 44 h 52"/>
                <a:gd name="T74" fmla="*/ 37 w 41"/>
                <a:gd name="T75" fmla="*/ 47 h 52"/>
                <a:gd name="T76" fmla="*/ 35 w 41"/>
                <a:gd name="T77" fmla="*/ 46 h 52"/>
                <a:gd name="T78" fmla="*/ 33 w 41"/>
                <a:gd name="T79" fmla="*/ 48 h 52"/>
                <a:gd name="T80" fmla="*/ 29 w 41"/>
                <a:gd name="T81" fmla="*/ 47 h 52"/>
                <a:gd name="T82" fmla="*/ 23 w 41"/>
                <a:gd name="T83" fmla="*/ 46 h 52"/>
                <a:gd name="T84" fmla="*/ 23 w 41"/>
                <a:gd name="T85" fmla="*/ 48 h 52"/>
                <a:gd name="T86" fmla="*/ 15 w 41"/>
                <a:gd name="T87" fmla="*/ 50 h 52"/>
                <a:gd name="T88" fmla="*/ 11 w 41"/>
                <a:gd name="T89" fmla="*/ 49 h 52"/>
                <a:gd name="T90" fmla="*/ 5 w 41"/>
                <a:gd name="T91" fmla="*/ 49 h 52"/>
                <a:gd name="T92" fmla="*/ 4 w 41"/>
                <a:gd name="T93" fmla="*/ 48 h 52"/>
                <a:gd name="T94" fmla="*/ 0 w 41"/>
                <a:gd name="T95"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1" h="52">
                  <a:moveTo>
                    <a:pt x="0" y="44"/>
                  </a:moveTo>
                  <a:cubicBezTo>
                    <a:pt x="0" y="44"/>
                    <a:pt x="0" y="44"/>
                    <a:pt x="0" y="44"/>
                  </a:cubicBezTo>
                  <a:cubicBezTo>
                    <a:pt x="3" y="42"/>
                    <a:pt x="2" y="41"/>
                    <a:pt x="1" y="38"/>
                  </a:cubicBezTo>
                  <a:cubicBezTo>
                    <a:pt x="1" y="37"/>
                    <a:pt x="2" y="36"/>
                    <a:pt x="2" y="35"/>
                  </a:cubicBezTo>
                  <a:cubicBezTo>
                    <a:pt x="3" y="33"/>
                    <a:pt x="2" y="31"/>
                    <a:pt x="2" y="29"/>
                  </a:cubicBezTo>
                  <a:cubicBezTo>
                    <a:pt x="2" y="27"/>
                    <a:pt x="4" y="27"/>
                    <a:pt x="5" y="26"/>
                  </a:cubicBezTo>
                  <a:cubicBezTo>
                    <a:pt x="5" y="25"/>
                    <a:pt x="5" y="24"/>
                    <a:pt x="5" y="23"/>
                  </a:cubicBezTo>
                  <a:cubicBezTo>
                    <a:pt x="6" y="22"/>
                    <a:pt x="6" y="22"/>
                    <a:pt x="6" y="21"/>
                  </a:cubicBezTo>
                  <a:cubicBezTo>
                    <a:pt x="7" y="20"/>
                    <a:pt x="8" y="19"/>
                    <a:pt x="8" y="18"/>
                  </a:cubicBezTo>
                  <a:cubicBezTo>
                    <a:pt x="8" y="17"/>
                    <a:pt x="9" y="14"/>
                    <a:pt x="9" y="13"/>
                  </a:cubicBezTo>
                  <a:cubicBezTo>
                    <a:pt x="8" y="12"/>
                    <a:pt x="7" y="11"/>
                    <a:pt x="7" y="9"/>
                  </a:cubicBezTo>
                  <a:cubicBezTo>
                    <a:pt x="8" y="9"/>
                    <a:pt x="9" y="9"/>
                    <a:pt x="10" y="9"/>
                  </a:cubicBezTo>
                  <a:cubicBezTo>
                    <a:pt x="10" y="7"/>
                    <a:pt x="13" y="9"/>
                    <a:pt x="14" y="9"/>
                  </a:cubicBezTo>
                  <a:cubicBezTo>
                    <a:pt x="16" y="8"/>
                    <a:pt x="15" y="5"/>
                    <a:pt x="18" y="6"/>
                  </a:cubicBezTo>
                  <a:cubicBezTo>
                    <a:pt x="19" y="6"/>
                    <a:pt x="18" y="9"/>
                    <a:pt x="20" y="8"/>
                  </a:cubicBezTo>
                  <a:cubicBezTo>
                    <a:pt x="20" y="6"/>
                    <a:pt x="20" y="6"/>
                    <a:pt x="20" y="6"/>
                  </a:cubicBezTo>
                  <a:cubicBezTo>
                    <a:pt x="21" y="5"/>
                    <a:pt x="22" y="5"/>
                    <a:pt x="22" y="4"/>
                  </a:cubicBezTo>
                  <a:cubicBezTo>
                    <a:pt x="23" y="4"/>
                    <a:pt x="24" y="5"/>
                    <a:pt x="25" y="5"/>
                  </a:cubicBezTo>
                  <a:cubicBezTo>
                    <a:pt x="25" y="4"/>
                    <a:pt x="25" y="3"/>
                    <a:pt x="25" y="2"/>
                  </a:cubicBezTo>
                  <a:cubicBezTo>
                    <a:pt x="26" y="2"/>
                    <a:pt x="27" y="2"/>
                    <a:pt x="27" y="2"/>
                  </a:cubicBezTo>
                  <a:cubicBezTo>
                    <a:pt x="27" y="2"/>
                    <a:pt x="27" y="1"/>
                    <a:pt x="27" y="1"/>
                  </a:cubicBezTo>
                  <a:cubicBezTo>
                    <a:pt x="28" y="1"/>
                    <a:pt x="29" y="0"/>
                    <a:pt x="30" y="1"/>
                  </a:cubicBezTo>
                  <a:cubicBezTo>
                    <a:pt x="31" y="2"/>
                    <a:pt x="29" y="3"/>
                    <a:pt x="31" y="3"/>
                  </a:cubicBezTo>
                  <a:cubicBezTo>
                    <a:pt x="32" y="3"/>
                    <a:pt x="32" y="3"/>
                    <a:pt x="33" y="3"/>
                  </a:cubicBezTo>
                  <a:cubicBezTo>
                    <a:pt x="34" y="3"/>
                    <a:pt x="35" y="3"/>
                    <a:pt x="36" y="4"/>
                  </a:cubicBezTo>
                  <a:cubicBezTo>
                    <a:pt x="38" y="5"/>
                    <a:pt x="38" y="6"/>
                    <a:pt x="38" y="8"/>
                  </a:cubicBezTo>
                  <a:cubicBezTo>
                    <a:pt x="38" y="10"/>
                    <a:pt x="37" y="12"/>
                    <a:pt x="40" y="12"/>
                  </a:cubicBezTo>
                  <a:cubicBezTo>
                    <a:pt x="40" y="13"/>
                    <a:pt x="40" y="14"/>
                    <a:pt x="39" y="16"/>
                  </a:cubicBezTo>
                  <a:cubicBezTo>
                    <a:pt x="39" y="16"/>
                    <a:pt x="37" y="19"/>
                    <a:pt x="40" y="19"/>
                  </a:cubicBezTo>
                  <a:cubicBezTo>
                    <a:pt x="40" y="20"/>
                    <a:pt x="39" y="22"/>
                    <a:pt x="38" y="23"/>
                  </a:cubicBezTo>
                  <a:cubicBezTo>
                    <a:pt x="38" y="25"/>
                    <a:pt x="36" y="26"/>
                    <a:pt x="36" y="28"/>
                  </a:cubicBezTo>
                  <a:cubicBezTo>
                    <a:pt x="35" y="28"/>
                    <a:pt x="35" y="28"/>
                    <a:pt x="35" y="28"/>
                  </a:cubicBezTo>
                  <a:cubicBezTo>
                    <a:pt x="35" y="28"/>
                    <a:pt x="35" y="29"/>
                    <a:pt x="35" y="29"/>
                  </a:cubicBezTo>
                  <a:cubicBezTo>
                    <a:pt x="36" y="30"/>
                    <a:pt x="36" y="30"/>
                    <a:pt x="36" y="30"/>
                  </a:cubicBezTo>
                  <a:cubicBezTo>
                    <a:pt x="36" y="32"/>
                    <a:pt x="36" y="35"/>
                    <a:pt x="38" y="37"/>
                  </a:cubicBezTo>
                  <a:cubicBezTo>
                    <a:pt x="39" y="38"/>
                    <a:pt x="40" y="38"/>
                    <a:pt x="41" y="39"/>
                  </a:cubicBezTo>
                  <a:cubicBezTo>
                    <a:pt x="41" y="41"/>
                    <a:pt x="40" y="42"/>
                    <a:pt x="40" y="44"/>
                  </a:cubicBezTo>
                  <a:cubicBezTo>
                    <a:pt x="37" y="43"/>
                    <a:pt x="37" y="45"/>
                    <a:pt x="37" y="47"/>
                  </a:cubicBezTo>
                  <a:cubicBezTo>
                    <a:pt x="36" y="47"/>
                    <a:pt x="36" y="47"/>
                    <a:pt x="35" y="46"/>
                  </a:cubicBezTo>
                  <a:cubicBezTo>
                    <a:pt x="34" y="47"/>
                    <a:pt x="34" y="48"/>
                    <a:pt x="33" y="48"/>
                  </a:cubicBezTo>
                  <a:cubicBezTo>
                    <a:pt x="32" y="45"/>
                    <a:pt x="32" y="48"/>
                    <a:pt x="29" y="47"/>
                  </a:cubicBezTo>
                  <a:cubicBezTo>
                    <a:pt x="27" y="47"/>
                    <a:pt x="26" y="44"/>
                    <a:pt x="23" y="46"/>
                  </a:cubicBezTo>
                  <a:cubicBezTo>
                    <a:pt x="23" y="47"/>
                    <a:pt x="23" y="47"/>
                    <a:pt x="23" y="48"/>
                  </a:cubicBezTo>
                  <a:cubicBezTo>
                    <a:pt x="20" y="50"/>
                    <a:pt x="19" y="52"/>
                    <a:pt x="15" y="50"/>
                  </a:cubicBezTo>
                  <a:cubicBezTo>
                    <a:pt x="13" y="49"/>
                    <a:pt x="13" y="49"/>
                    <a:pt x="11" y="49"/>
                  </a:cubicBezTo>
                  <a:cubicBezTo>
                    <a:pt x="9" y="49"/>
                    <a:pt x="7" y="49"/>
                    <a:pt x="5" y="49"/>
                  </a:cubicBezTo>
                  <a:cubicBezTo>
                    <a:pt x="4" y="48"/>
                    <a:pt x="4" y="48"/>
                    <a:pt x="4" y="48"/>
                  </a:cubicBezTo>
                  <a:cubicBezTo>
                    <a:pt x="2" y="46"/>
                    <a:pt x="4" y="45"/>
                    <a:pt x="0" y="44"/>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42" name="Freeform 436"/>
            <p:cNvSpPr>
              <a:spLocks/>
            </p:cNvSpPr>
            <p:nvPr/>
          </p:nvSpPr>
          <p:spPr bwMode="auto">
            <a:xfrm>
              <a:off x="3179763" y="5332413"/>
              <a:ext cx="434975" cy="806450"/>
            </a:xfrm>
            <a:custGeom>
              <a:avLst/>
              <a:gdLst>
                <a:gd name="T0" fmla="*/ 95 w 123"/>
                <a:gd name="T1" fmla="*/ 222 h 228"/>
                <a:gd name="T2" fmla="*/ 81 w 123"/>
                <a:gd name="T3" fmla="*/ 201 h 228"/>
                <a:gd name="T4" fmla="*/ 77 w 123"/>
                <a:gd name="T5" fmla="*/ 196 h 228"/>
                <a:gd name="T6" fmla="*/ 76 w 123"/>
                <a:gd name="T7" fmla="*/ 193 h 228"/>
                <a:gd name="T8" fmla="*/ 73 w 123"/>
                <a:gd name="T9" fmla="*/ 188 h 228"/>
                <a:gd name="T10" fmla="*/ 71 w 123"/>
                <a:gd name="T11" fmla="*/ 181 h 228"/>
                <a:gd name="T12" fmla="*/ 72 w 123"/>
                <a:gd name="T13" fmla="*/ 189 h 228"/>
                <a:gd name="T14" fmla="*/ 67 w 123"/>
                <a:gd name="T15" fmla="*/ 175 h 228"/>
                <a:gd name="T16" fmla="*/ 64 w 123"/>
                <a:gd name="T17" fmla="*/ 153 h 228"/>
                <a:gd name="T18" fmla="*/ 64 w 123"/>
                <a:gd name="T19" fmla="*/ 147 h 228"/>
                <a:gd name="T20" fmla="*/ 67 w 123"/>
                <a:gd name="T21" fmla="*/ 159 h 228"/>
                <a:gd name="T22" fmla="*/ 71 w 123"/>
                <a:gd name="T23" fmla="*/ 162 h 228"/>
                <a:gd name="T24" fmla="*/ 68 w 123"/>
                <a:gd name="T25" fmla="*/ 152 h 228"/>
                <a:gd name="T26" fmla="*/ 61 w 123"/>
                <a:gd name="T27" fmla="*/ 140 h 228"/>
                <a:gd name="T28" fmla="*/ 61 w 123"/>
                <a:gd name="T29" fmla="*/ 132 h 228"/>
                <a:gd name="T30" fmla="*/ 61 w 123"/>
                <a:gd name="T31" fmla="*/ 131 h 228"/>
                <a:gd name="T32" fmla="*/ 57 w 123"/>
                <a:gd name="T33" fmla="*/ 125 h 228"/>
                <a:gd name="T34" fmla="*/ 54 w 123"/>
                <a:gd name="T35" fmla="*/ 115 h 228"/>
                <a:gd name="T36" fmla="*/ 54 w 123"/>
                <a:gd name="T37" fmla="*/ 115 h 228"/>
                <a:gd name="T38" fmla="*/ 49 w 123"/>
                <a:gd name="T39" fmla="*/ 106 h 228"/>
                <a:gd name="T40" fmla="*/ 50 w 123"/>
                <a:gd name="T41" fmla="*/ 102 h 228"/>
                <a:gd name="T42" fmla="*/ 48 w 123"/>
                <a:gd name="T43" fmla="*/ 105 h 228"/>
                <a:gd name="T44" fmla="*/ 45 w 123"/>
                <a:gd name="T45" fmla="*/ 92 h 228"/>
                <a:gd name="T46" fmla="*/ 45 w 123"/>
                <a:gd name="T47" fmla="*/ 80 h 228"/>
                <a:gd name="T48" fmla="*/ 41 w 123"/>
                <a:gd name="T49" fmla="*/ 75 h 228"/>
                <a:gd name="T50" fmla="*/ 38 w 123"/>
                <a:gd name="T51" fmla="*/ 70 h 228"/>
                <a:gd name="T52" fmla="*/ 34 w 123"/>
                <a:gd name="T53" fmla="*/ 65 h 228"/>
                <a:gd name="T54" fmla="*/ 33 w 123"/>
                <a:gd name="T55" fmla="*/ 60 h 228"/>
                <a:gd name="T56" fmla="*/ 26 w 123"/>
                <a:gd name="T57" fmla="*/ 50 h 228"/>
                <a:gd name="T58" fmla="*/ 22 w 123"/>
                <a:gd name="T59" fmla="*/ 43 h 228"/>
                <a:gd name="T60" fmla="*/ 14 w 123"/>
                <a:gd name="T61" fmla="*/ 38 h 228"/>
                <a:gd name="T62" fmla="*/ 9 w 123"/>
                <a:gd name="T63" fmla="*/ 23 h 228"/>
                <a:gd name="T64" fmla="*/ 3 w 123"/>
                <a:gd name="T65" fmla="*/ 1 h 228"/>
                <a:gd name="T66" fmla="*/ 11 w 123"/>
                <a:gd name="T67" fmla="*/ 7 h 228"/>
                <a:gd name="T68" fmla="*/ 18 w 123"/>
                <a:gd name="T69" fmla="*/ 12 h 228"/>
                <a:gd name="T70" fmla="*/ 25 w 123"/>
                <a:gd name="T71" fmla="*/ 16 h 228"/>
                <a:gd name="T72" fmla="*/ 30 w 123"/>
                <a:gd name="T73" fmla="*/ 26 h 228"/>
                <a:gd name="T74" fmla="*/ 51 w 123"/>
                <a:gd name="T75" fmla="*/ 45 h 228"/>
                <a:gd name="T76" fmla="*/ 66 w 123"/>
                <a:gd name="T77" fmla="*/ 49 h 228"/>
                <a:gd name="T78" fmla="*/ 77 w 123"/>
                <a:gd name="T79" fmla="*/ 57 h 228"/>
                <a:gd name="T80" fmla="*/ 73 w 123"/>
                <a:gd name="T81" fmla="*/ 64 h 228"/>
                <a:gd name="T82" fmla="*/ 76 w 123"/>
                <a:gd name="T83" fmla="*/ 72 h 228"/>
                <a:gd name="T84" fmla="*/ 76 w 123"/>
                <a:gd name="T85" fmla="*/ 83 h 228"/>
                <a:gd name="T86" fmla="*/ 87 w 123"/>
                <a:gd name="T87" fmla="*/ 98 h 228"/>
                <a:gd name="T88" fmla="*/ 95 w 123"/>
                <a:gd name="T89" fmla="*/ 125 h 228"/>
                <a:gd name="T90" fmla="*/ 108 w 123"/>
                <a:gd name="T91" fmla="*/ 129 h 228"/>
                <a:gd name="T92" fmla="*/ 113 w 123"/>
                <a:gd name="T93" fmla="*/ 152 h 228"/>
                <a:gd name="T94" fmla="*/ 116 w 123"/>
                <a:gd name="T95" fmla="*/ 166 h 228"/>
                <a:gd name="T96" fmla="*/ 112 w 123"/>
                <a:gd name="T97" fmla="*/ 189 h 228"/>
                <a:gd name="T98" fmla="*/ 109 w 123"/>
                <a:gd name="T99" fmla="*/ 207 h 228"/>
                <a:gd name="T100" fmla="*/ 109 w 123"/>
                <a:gd name="T101" fmla="*/ 221 h 228"/>
                <a:gd name="T102" fmla="*/ 102 w 123"/>
                <a:gd name="T103"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3" h="228">
                  <a:moveTo>
                    <a:pt x="102" y="228"/>
                  </a:moveTo>
                  <a:cubicBezTo>
                    <a:pt x="102" y="228"/>
                    <a:pt x="102" y="228"/>
                    <a:pt x="102" y="228"/>
                  </a:cubicBezTo>
                  <a:cubicBezTo>
                    <a:pt x="101" y="227"/>
                    <a:pt x="100" y="226"/>
                    <a:pt x="99" y="225"/>
                  </a:cubicBezTo>
                  <a:cubicBezTo>
                    <a:pt x="97" y="224"/>
                    <a:pt x="96" y="224"/>
                    <a:pt x="95" y="222"/>
                  </a:cubicBezTo>
                  <a:cubicBezTo>
                    <a:pt x="94" y="220"/>
                    <a:pt x="94" y="219"/>
                    <a:pt x="92" y="217"/>
                  </a:cubicBezTo>
                  <a:cubicBezTo>
                    <a:pt x="90" y="214"/>
                    <a:pt x="87" y="212"/>
                    <a:pt x="85" y="209"/>
                  </a:cubicBezTo>
                  <a:cubicBezTo>
                    <a:pt x="83" y="207"/>
                    <a:pt x="79" y="203"/>
                    <a:pt x="79" y="200"/>
                  </a:cubicBezTo>
                  <a:cubicBezTo>
                    <a:pt x="80" y="200"/>
                    <a:pt x="80" y="200"/>
                    <a:pt x="81" y="201"/>
                  </a:cubicBezTo>
                  <a:cubicBezTo>
                    <a:pt x="81" y="200"/>
                    <a:pt x="81" y="199"/>
                    <a:pt x="81" y="199"/>
                  </a:cubicBezTo>
                  <a:cubicBezTo>
                    <a:pt x="81" y="199"/>
                    <a:pt x="78" y="199"/>
                    <a:pt x="78" y="199"/>
                  </a:cubicBezTo>
                  <a:cubicBezTo>
                    <a:pt x="77" y="198"/>
                    <a:pt x="75" y="197"/>
                    <a:pt x="76" y="196"/>
                  </a:cubicBezTo>
                  <a:cubicBezTo>
                    <a:pt x="76" y="196"/>
                    <a:pt x="77" y="196"/>
                    <a:pt x="77" y="196"/>
                  </a:cubicBezTo>
                  <a:cubicBezTo>
                    <a:pt x="77" y="196"/>
                    <a:pt x="77" y="195"/>
                    <a:pt x="76" y="195"/>
                  </a:cubicBezTo>
                  <a:cubicBezTo>
                    <a:pt x="77" y="194"/>
                    <a:pt x="79" y="194"/>
                    <a:pt x="80" y="193"/>
                  </a:cubicBezTo>
                  <a:cubicBezTo>
                    <a:pt x="79" y="192"/>
                    <a:pt x="78" y="191"/>
                    <a:pt x="76" y="191"/>
                  </a:cubicBezTo>
                  <a:cubicBezTo>
                    <a:pt x="76" y="192"/>
                    <a:pt x="76" y="192"/>
                    <a:pt x="76" y="193"/>
                  </a:cubicBezTo>
                  <a:cubicBezTo>
                    <a:pt x="75" y="193"/>
                    <a:pt x="74" y="193"/>
                    <a:pt x="74" y="194"/>
                  </a:cubicBezTo>
                  <a:cubicBezTo>
                    <a:pt x="73" y="192"/>
                    <a:pt x="74" y="191"/>
                    <a:pt x="72" y="190"/>
                  </a:cubicBezTo>
                  <a:cubicBezTo>
                    <a:pt x="72" y="190"/>
                    <a:pt x="73" y="190"/>
                    <a:pt x="73" y="189"/>
                  </a:cubicBezTo>
                  <a:cubicBezTo>
                    <a:pt x="73" y="189"/>
                    <a:pt x="73" y="188"/>
                    <a:pt x="73" y="188"/>
                  </a:cubicBezTo>
                  <a:cubicBezTo>
                    <a:pt x="73" y="187"/>
                    <a:pt x="73" y="187"/>
                    <a:pt x="73" y="186"/>
                  </a:cubicBezTo>
                  <a:cubicBezTo>
                    <a:pt x="72" y="185"/>
                    <a:pt x="72" y="185"/>
                    <a:pt x="72" y="184"/>
                  </a:cubicBezTo>
                  <a:cubicBezTo>
                    <a:pt x="72" y="184"/>
                    <a:pt x="72" y="183"/>
                    <a:pt x="71" y="182"/>
                  </a:cubicBezTo>
                  <a:cubicBezTo>
                    <a:pt x="71" y="182"/>
                    <a:pt x="71" y="182"/>
                    <a:pt x="71" y="181"/>
                  </a:cubicBezTo>
                  <a:cubicBezTo>
                    <a:pt x="71" y="182"/>
                    <a:pt x="71" y="182"/>
                    <a:pt x="72" y="183"/>
                  </a:cubicBezTo>
                  <a:cubicBezTo>
                    <a:pt x="72" y="184"/>
                    <a:pt x="72" y="184"/>
                    <a:pt x="72" y="185"/>
                  </a:cubicBezTo>
                  <a:cubicBezTo>
                    <a:pt x="72" y="185"/>
                    <a:pt x="72" y="186"/>
                    <a:pt x="72" y="187"/>
                  </a:cubicBezTo>
                  <a:cubicBezTo>
                    <a:pt x="72" y="187"/>
                    <a:pt x="72" y="188"/>
                    <a:pt x="72" y="189"/>
                  </a:cubicBezTo>
                  <a:cubicBezTo>
                    <a:pt x="71" y="189"/>
                    <a:pt x="71" y="188"/>
                    <a:pt x="71" y="187"/>
                  </a:cubicBezTo>
                  <a:cubicBezTo>
                    <a:pt x="71" y="186"/>
                    <a:pt x="71" y="185"/>
                    <a:pt x="71" y="184"/>
                  </a:cubicBezTo>
                  <a:cubicBezTo>
                    <a:pt x="70" y="183"/>
                    <a:pt x="69" y="181"/>
                    <a:pt x="69" y="179"/>
                  </a:cubicBezTo>
                  <a:cubicBezTo>
                    <a:pt x="68" y="178"/>
                    <a:pt x="67" y="176"/>
                    <a:pt x="67" y="175"/>
                  </a:cubicBezTo>
                  <a:cubicBezTo>
                    <a:pt x="66" y="173"/>
                    <a:pt x="67" y="171"/>
                    <a:pt x="66" y="170"/>
                  </a:cubicBezTo>
                  <a:cubicBezTo>
                    <a:pt x="65" y="168"/>
                    <a:pt x="65" y="167"/>
                    <a:pt x="64" y="165"/>
                  </a:cubicBezTo>
                  <a:cubicBezTo>
                    <a:pt x="64" y="163"/>
                    <a:pt x="64" y="161"/>
                    <a:pt x="64" y="159"/>
                  </a:cubicBezTo>
                  <a:cubicBezTo>
                    <a:pt x="64" y="157"/>
                    <a:pt x="64" y="155"/>
                    <a:pt x="64" y="153"/>
                  </a:cubicBezTo>
                  <a:cubicBezTo>
                    <a:pt x="63" y="149"/>
                    <a:pt x="61" y="145"/>
                    <a:pt x="61" y="141"/>
                  </a:cubicBezTo>
                  <a:cubicBezTo>
                    <a:pt x="61" y="142"/>
                    <a:pt x="62" y="142"/>
                    <a:pt x="62" y="143"/>
                  </a:cubicBezTo>
                  <a:cubicBezTo>
                    <a:pt x="62" y="143"/>
                    <a:pt x="63" y="144"/>
                    <a:pt x="63" y="144"/>
                  </a:cubicBezTo>
                  <a:cubicBezTo>
                    <a:pt x="63" y="145"/>
                    <a:pt x="64" y="146"/>
                    <a:pt x="64" y="147"/>
                  </a:cubicBezTo>
                  <a:cubicBezTo>
                    <a:pt x="64" y="148"/>
                    <a:pt x="65" y="150"/>
                    <a:pt x="65" y="151"/>
                  </a:cubicBezTo>
                  <a:cubicBezTo>
                    <a:pt x="66" y="152"/>
                    <a:pt x="65" y="153"/>
                    <a:pt x="66" y="154"/>
                  </a:cubicBezTo>
                  <a:cubicBezTo>
                    <a:pt x="66" y="156"/>
                    <a:pt x="68" y="155"/>
                    <a:pt x="68" y="157"/>
                  </a:cubicBezTo>
                  <a:cubicBezTo>
                    <a:pt x="68" y="158"/>
                    <a:pt x="67" y="159"/>
                    <a:pt x="67" y="159"/>
                  </a:cubicBezTo>
                  <a:cubicBezTo>
                    <a:pt x="66" y="161"/>
                    <a:pt x="66" y="162"/>
                    <a:pt x="66" y="163"/>
                  </a:cubicBezTo>
                  <a:cubicBezTo>
                    <a:pt x="66" y="165"/>
                    <a:pt x="68" y="165"/>
                    <a:pt x="69" y="165"/>
                  </a:cubicBezTo>
                  <a:cubicBezTo>
                    <a:pt x="71" y="165"/>
                    <a:pt x="72" y="166"/>
                    <a:pt x="74" y="166"/>
                  </a:cubicBezTo>
                  <a:cubicBezTo>
                    <a:pt x="74" y="164"/>
                    <a:pt x="73" y="163"/>
                    <a:pt x="71" y="162"/>
                  </a:cubicBezTo>
                  <a:cubicBezTo>
                    <a:pt x="71" y="163"/>
                    <a:pt x="71" y="163"/>
                    <a:pt x="71" y="163"/>
                  </a:cubicBezTo>
                  <a:cubicBezTo>
                    <a:pt x="71" y="163"/>
                    <a:pt x="70" y="163"/>
                    <a:pt x="69" y="163"/>
                  </a:cubicBezTo>
                  <a:cubicBezTo>
                    <a:pt x="69" y="161"/>
                    <a:pt x="69" y="158"/>
                    <a:pt x="69" y="155"/>
                  </a:cubicBezTo>
                  <a:cubicBezTo>
                    <a:pt x="69" y="154"/>
                    <a:pt x="68" y="154"/>
                    <a:pt x="68" y="152"/>
                  </a:cubicBezTo>
                  <a:cubicBezTo>
                    <a:pt x="68" y="151"/>
                    <a:pt x="68" y="150"/>
                    <a:pt x="68" y="149"/>
                  </a:cubicBezTo>
                  <a:cubicBezTo>
                    <a:pt x="68" y="147"/>
                    <a:pt x="67" y="147"/>
                    <a:pt x="66" y="146"/>
                  </a:cubicBezTo>
                  <a:cubicBezTo>
                    <a:pt x="65" y="145"/>
                    <a:pt x="65" y="144"/>
                    <a:pt x="64" y="143"/>
                  </a:cubicBezTo>
                  <a:cubicBezTo>
                    <a:pt x="63" y="142"/>
                    <a:pt x="62" y="141"/>
                    <a:pt x="61" y="140"/>
                  </a:cubicBezTo>
                  <a:cubicBezTo>
                    <a:pt x="60" y="139"/>
                    <a:pt x="60" y="138"/>
                    <a:pt x="60" y="136"/>
                  </a:cubicBezTo>
                  <a:cubicBezTo>
                    <a:pt x="60" y="136"/>
                    <a:pt x="60" y="135"/>
                    <a:pt x="59" y="134"/>
                  </a:cubicBezTo>
                  <a:cubicBezTo>
                    <a:pt x="60" y="134"/>
                    <a:pt x="60" y="134"/>
                    <a:pt x="60" y="134"/>
                  </a:cubicBezTo>
                  <a:cubicBezTo>
                    <a:pt x="60" y="133"/>
                    <a:pt x="60" y="131"/>
                    <a:pt x="61" y="132"/>
                  </a:cubicBezTo>
                  <a:cubicBezTo>
                    <a:pt x="61" y="132"/>
                    <a:pt x="61" y="132"/>
                    <a:pt x="61" y="132"/>
                  </a:cubicBezTo>
                  <a:cubicBezTo>
                    <a:pt x="62" y="132"/>
                    <a:pt x="62" y="134"/>
                    <a:pt x="63" y="133"/>
                  </a:cubicBezTo>
                  <a:cubicBezTo>
                    <a:pt x="62" y="134"/>
                    <a:pt x="61" y="129"/>
                    <a:pt x="60" y="128"/>
                  </a:cubicBezTo>
                  <a:cubicBezTo>
                    <a:pt x="60" y="129"/>
                    <a:pt x="61" y="130"/>
                    <a:pt x="61" y="131"/>
                  </a:cubicBezTo>
                  <a:cubicBezTo>
                    <a:pt x="60" y="131"/>
                    <a:pt x="59" y="130"/>
                    <a:pt x="58" y="131"/>
                  </a:cubicBezTo>
                  <a:cubicBezTo>
                    <a:pt x="58" y="130"/>
                    <a:pt x="58" y="128"/>
                    <a:pt x="58" y="127"/>
                  </a:cubicBezTo>
                  <a:cubicBezTo>
                    <a:pt x="57" y="126"/>
                    <a:pt x="57" y="126"/>
                    <a:pt x="57" y="126"/>
                  </a:cubicBezTo>
                  <a:cubicBezTo>
                    <a:pt x="57" y="125"/>
                    <a:pt x="57" y="125"/>
                    <a:pt x="57" y="125"/>
                  </a:cubicBezTo>
                  <a:cubicBezTo>
                    <a:pt x="57" y="124"/>
                    <a:pt x="57" y="123"/>
                    <a:pt x="57" y="123"/>
                  </a:cubicBezTo>
                  <a:cubicBezTo>
                    <a:pt x="57" y="122"/>
                    <a:pt x="56" y="122"/>
                    <a:pt x="56" y="121"/>
                  </a:cubicBezTo>
                  <a:cubicBezTo>
                    <a:pt x="56" y="120"/>
                    <a:pt x="56" y="120"/>
                    <a:pt x="55" y="119"/>
                  </a:cubicBezTo>
                  <a:cubicBezTo>
                    <a:pt x="55" y="118"/>
                    <a:pt x="54" y="117"/>
                    <a:pt x="54" y="115"/>
                  </a:cubicBezTo>
                  <a:cubicBezTo>
                    <a:pt x="55" y="115"/>
                    <a:pt x="55" y="115"/>
                    <a:pt x="55" y="115"/>
                  </a:cubicBezTo>
                  <a:cubicBezTo>
                    <a:pt x="55" y="117"/>
                    <a:pt x="55" y="117"/>
                    <a:pt x="57" y="117"/>
                  </a:cubicBezTo>
                  <a:cubicBezTo>
                    <a:pt x="56" y="117"/>
                    <a:pt x="56" y="115"/>
                    <a:pt x="55" y="115"/>
                  </a:cubicBezTo>
                  <a:cubicBezTo>
                    <a:pt x="55" y="114"/>
                    <a:pt x="54" y="114"/>
                    <a:pt x="54" y="115"/>
                  </a:cubicBezTo>
                  <a:cubicBezTo>
                    <a:pt x="52" y="115"/>
                    <a:pt x="52" y="113"/>
                    <a:pt x="52" y="113"/>
                  </a:cubicBezTo>
                  <a:cubicBezTo>
                    <a:pt x="52" y="112"/>
                    <a:pt x="52" y="111"/>
                    <a:pt x="51" y="111"/>
                  </a:cubicBezTo>
                  <a:cubicBezTo>
                    <a:pt x="51" y="110"/>
                    <a:pt x="50" y="108"/>
                    <a:pt x="49" y="108"/>
                  </a:cubicBezTo>
                  <a:cubicBezTo>
                    <a:pt x="49" y="107"/>
                    <a:pt x="49" y="107"/>
                    <a:pt x="49" y="106"/>
                  </a:cubicBezTo>
                  <a:cubicBezTo>
                    <a:pt x="49" y="106"/>
                    <a:pt x="50" y="106"/>
                    <a:pt x="51" y="106"/>
                  </a:cubicBezTo>
                  <a:cubicBezTo>
                    <a:pt x="51" y="106"/>
                    <a:pt x="50" y="105"/>
                    <a:pt x="50" y="104"/>
                  </a:cubicBezTo>
                  <a:cubicBezTo>
                    <a:pt x="51" y="104"/>
                    <a:pt x="51" y="104"/>
                    <a:pt x="51" y="103"/>
                  </a:cubicBezTo>
                  <a:cubicBezTo>
                    <a:pt x="51" y="102"/>
                    <a:pt x="50" y="102"/>
                    <a:pt x="50" y="102"/>
                  </a:cubicBezTo>
                  <a:cubicBezTo>
                    <a:pt x="49" y="102"/>
                    <a:pt x="49" y="102"/>
                    <a:pt x="49" y="102"/>
                  </a:cubicBezTo>
                  <a:cubicBezTo>
                    <a:pt x="49" y="102"/>
                    <a:pt x="49" y="103"/>
                    <a:pt x="49" y="103"/>
                  </a:cubicBezTo>
                  <a:cubicBezTo>
                    <a:pt x="49" y="103"/>
                    <a:pt x="49" y="103"/>
                    <a:pt x="49" y="103"/>
                  </a:cubicBezTo>
                  <a:cubicBezTo>
                    <a:pt x="48" y="104"/>
                    <a:pt x="48" y="105"/>
                    <a:pt x="48" y="105"/>
                  </a:cubicBezTo>
                  <a:cubicBezTo>
                    <a:pt x="48" y="105"/>
                    <a:pt x="48" y="103"/>
                    <a:pt x="48" y="102"/>
                  </a:cubicBezTo>
                  <a:cubicBezTo>
                    <a:pt x="48" y="101"/>
                    <a:pt x="47" y="100"/>
                    <a:pt x="47" y="99"/>
                  </a:cubicBezTo>
                  <a:cubicBezTo>
                    <a:pt x="47" y="98"/>
                    <a:pt x="47" y="96"/>
                    <a:pt x="47" y="95"/>
                  </a:cubicBezTo>
                  <a:cubicBezTo>
                    <a:pt x="46" y="94"/>
                    <a:pt x="46" y="93"/>
                    <a:pt x="45" y="92"/>
                  </a:cubicBezTo>
                  <a:cubicBezTo>
                    <a:pt x="45" y="91"/>
                    <a:pt x="45" y="90"/>
                    <a:pt x="45" y="89"/>
                  </a:cubicBezTo>
                  <a:cubicBezTo>
                    <a:pt x="45" y="88"/>
                    <a:pt x="45" y="87"/>
                    <a:pt x="44" y="86"/>
                  </a:cubicBezTo>
                  <a:cubicBezTo>
                    <a:pt x="44" y="85"/>
                    <a:pt x="43" y="83"/>
                    <a:pt x="43" y="83"/>
                  </a:cubicBezTo>
                  <a:cubicBezTo>
                    <a:pt x="43" y="81"/>
                    <a:pt x="45" y="82"/>
                    <a:pt x="45" y="80"/>
                  </a:cubicBezTo>
                  <a:cubicBezTo>
                    <a:pt x="44" y="80"/>
                    <a:pt x="43" y="80"/>
                    <a:pt x="43" y="81"/>
                  </a:cubicBezTo>
                  <a:cubicBezTo>
                    <a:pt x="42" y="81"/>
                    <a:pt x="42" y="81"/>
                    <a:pt x="42" y="81"/>
                  </a:cubicBezTo>
                  <a:cubicBezTo>
                    <a:pt x="42" y="79"/>
                    <a:pt x="41" y="78"/>
                    <a:pt x="41" y="77"/>
                  </a:cubicBezTo>
                  <a:cubicBezTo>
                    <a:pt x="41" y="76"/>
                    <a:pt x="41" y="75"/>
                    <a:pt x="41" y="75"/>
                  </a:cubicBezTo>
                  <a:cubicBezTo>
                    <a:pt x="41" y="74"/>
                    <a:pt x="40" y="74"/>
                    <a:pt x="40" y="73"/>
                  </a:cubicBezTo>
                  <a:cubicBezTo>
                    <a:pt x="41" y="73"/>
                    <a:pt x="42" y="73"/>
                    <a:pt x="43" y="73"/>
                  </a:cubicBezTo>
                  <a:cubicBezTo>
                    <a:pt x="43" y="72"/>
                    <a:pt x="40" y="73"/>
                    <a:pt x="39" y="72"/>
                  </a:cubicBezTo>
                  <a:cubicBezTo>
                    <a:pt x="39" y="72"/>
                    <a:pt x="39" y="71"/>
                    <a:pt x="38" y="70"/>
                  </a:cubicBezTo>
                  <a:cubicBezTo>
                    <a:pt x="38" y="70"/>
                    <a:pt x="37" y="69"/>
                    <a:pt x="37" y="69"/>
                  </a:cubicBezTo>
                  <a:cubicBezTo>
                    <a:pt x="36" y="68"/>
                    <a:pt x="37" y="68"/>
                    <a:pt x="35" y="68"/>
                  </a:cubicBezTo>
                  <a:cubicBezTo>
                    <a:pt x="35" y="68"/>
                    <a:pt x="34" y="67"/>
                    <a:pt x="34" y="67"/>
                  </a:cubicBezTo>
                  <a:cubicBezTo>
                    <a:pt x="34" y="66"/>
                    <a:pt x="34" y="65"/>
                    <a:pt x="34" y="65"/>
                  </a:cubicBezTo>
                  <a:cubicBezTo>
                    <a:pt x="34" y="64"/>
                    <a:pt x="33" y="63"/>
                    <a:pt x="33" y="62"/>
                  </a:cubicBezTo>
                  <a:cubicBezTo>
                    <a:pt x="33" y="62"/>
                    <a:pt x="34" y="62"/>
                    <a:pt x="35" y="62"/>
                  </a:cubicBezTo>
                  <a:cubicBezTo>
                    <a:pt x="35" y="62"/>
                    <a:pt x="35" y="62"/>
                    <a:pt x="35" y="62"/>
                  </a:cubicBezTo>
                  <a:cubicBezTo>
                    <a:pt x="33" y="62"/>
                    <a:pt x="33" y="60"/>
                    <a:pt x="33" y="60"/>
                  </a:cubicBezTo>
                  <a:cubicBezTo>
                    <a:pt x="32" y="58"/>
                    <a:pt x="33" y="58"/>
                    <a:pt x="32" y="56"/>
                  </a:cubicBezTo>
                  <a:cubicBezTo>
                    <a:pt x="32" y="55"/>
                    <a:pt x="30" y="54"/>
                    <a:pt x="30" y="54"/>
                  </a:cubicBezTo>
                  <a:cubicBezTo>
                    <a:pt x="29" y="53"/>
                    <a:pt x="28" y="52"/>
                    <a:pt x="28" y="51"/>
                  </a:cubicBezTo>
                  <a:cubicBezTo>
                    <a:pt x="27" y="51"/>
                    <a:pt x="26" y="50"/>
                    <a:pt x="26" y="50"/>
                  </a:cubicBezTo>
                  <a:cubicBezTo>
                    <a:pt x="25" y="49"/>
                    <a:pt x="24" y="49"/>
                    <a:pt x="22" y="48"/>
                  </a:cubicBezTo>
                  <a:cubicBezTo>
                    <a:pt x="21" y="47"/>
                    <a:pt x="22" y="47"/>
                    <a:pt x="21" y="45"/>
                  </a:cubicBezTo>
                  <a:cubicBezTo>
                    <a:pt x="21" y="45"/>
                    <a:pt x="19" y="44"/>
                    <a:pt x="20" y="43"/>
                  </a:cubicBezTo>
                  <a:cubicBezTo>
                    <a:pt x="20" y="43"/>
                    <a:pt x="21" y="43"/>
                    <a:pt x="22" y="43"/>
                  </a:cubicBezTo>
                  <a:cubicBezTo>
                    <a:pt x="21" y="43"/>
                    <a:pt x="17" y="40"/>
                    <a:pt x="17" y="40"/>
                  </a:cubicBezTo>
                  <a:cubicBezTo>
                    <a:pt x="18" y="40"/>
                    <a:pt x="18" y="39"/>
                    <a:pt x="18" y="39"/>
                  </a:cubicBezTo>
                  <a:cubicBezTo>
                    <a:pt x="18" y="38"/>
                    <a:pt x="16" y="39"/>
                    <a:pt x="16" y="39"/>
                  </a:cubicBezTo>
                  <a:cubicBezTo>
                    <a:pt x="15" y="39"/>
                    <a:pt x="15" y="38"/>
                    <a:pt x="14" y="38"/>
                  </a:cubicBezTo>
                  <a:cubicBezTo>
                    <a:pt x="14" y="38"/>
                    <a:pt x="14" y="39"/>
                    <a:pt x="13" y="38"/>
                  </a:cubicBezTo>
                  <a:cubicBezTo>
                    <a:pt x="13" y="37"/>
                    <a:pt x="13" y="35"/>
                    <a:pt x="13" y="34"/>
                  </a:cubicBezTo>
                  <a:cubicBezTo>
                    <a:pt x="13" y="33"/>
                    <a:pt x="12" y="32"/>
                    <a:pt x="12" y="31"/>
                  </a:cubicBezTo>
                  <a:cubicBezTo>
                    <a:pt x="10" y="28"/>
                    <a:pt x="10" y="25"/>
                    <a:pt x="9" y="23"/>
                  </a:cubicBezTo>
                  <a:cubicBezTo>
                    <a:pt x="8" y="20"/>
                    <a:pt x="7" y="17"/>
                    <a:pt x="6" y="14"/>
                  </a:cubicBezTo>
                  <a:cubicBezTo>
                    <a:pt x="6" y="10"/>
                    <a:pt x="4" y="7"/>
                    <a:pt x="2" y="5"/>
                  </a:cubicBezTo>
                  <a:cubicBezTo>
                    <a:pt x="1" y="3"/>
                    <a:pt x="1" y="2"/>
                    <a:pt x="0" y="1"/>
                  </a:cubicBezTo>
                  <a:cubicBezTo>
                    <a:pt x="1" y="1"/>
                    <a:pt x="2" y="1"/>
                    <a:pt x="3" y="1"/>
                  </a:cubicBezTo>
                  <a:cubicBezTo>
                    <a:pt x="5" y="1"/>
                    <a:pt x="5" y="0"/>
                    <a:pt x="7" y="0"/>
                  </a:cubicBezTo>
                  <a:cubicBezTo>
                    <a:pt x="8" y="0"/>
                    <a:pt x="7" y="3"/>
                    <a:pt x="7" y="3"/>
                  </a:cubicBezTo>
                  <a:cubicBezTo>
                    <a:pt x="9" y="3"/>
                    <a:pt x="11" y="5"/>
                    <a:pt x="9" y="5"/>
                  </a:cubicBezTo>
                  <a:cubicBezTo>
                    <a:pt x="9" y="6"/>
                    <a:pt x="10" y="7"/>
                    <a:pt x="11" y="7"/>
                  </a:cubicBezTo>
                  <a:cubicBezTo>
                    <a:pt x="11" y="5"/>
                    <a:pt x="12" y="5"/>
                    <a:pt x="14" y="6"/>
                  </a:cubicBezTo>
                  <a:cubicBezTo>
                    <a:pt x="17" y="8"/>
                    <a:pt x="14" y="8"/>
                    <a:pt x="15" y="9"/>
                  </a:cubicBezTo>
                  <a:cubicBezTo>
                    <a:pt x="16" y="10"/>
                    <a:pt x="17" y="10"/>
                    <a:pt x="18" y="10"/>
                  </a:cubicBezTo>
                  <a:cubicBezTo>
                    <a:pt x="18" y="10"/>
                    <a:pt x="18" y="11"/>
                    <a:pt x="18" y="12"/>
                  </a:cubicBezTo>
                  <a:cubicBezTo>
                    <a:pt x="18" y="11"/>
                    <a:pt x="20" y="9"/>
                    <a:pt x="21" y="9"/>
                  </a:cubicBezTo>
                  <a:cubicBezTo>
                    <a:pt x="21" y="11"/>
                    <a:pt x="21" y="12"/>
                    <a:pt x="20" y="13"/>
                  </a:cubicBezTo>
                  <a:cubicBezTo>
                    <a:pt x="22" y="13"/>
                    <a:pt x="23" y="15"/>
                    <a:pt x="23" y="16"/>
                  </a:cubicBezTo>
                  <a:cubicBezTo>
                    <a:pt x="25" y="16"/>
                    <a:pt x="25" y="16"/>
                    <a:pt x="25" y="16"/>
                  </a:cubicBezTo>
                  <a:cubicBezTo>
                    <a:pt x="25" y="15"/>
                    <a:pt x="28" y="15"/>
                    <a:pt x="27" y="16"/>
                  </a:cubicBezTo>
                  <a:cubicBezTo>
                    <a:pt x="27" y="18"/>
                    <a:pt x="25" y="18"/>
                    <a:pt x="25" y="19"/>
                  </a:cubicBezTo>
                  <a:cubicBezTo>
                    <a:pt x="25" y="21"/>
                    <a:pt x="26" y="21"/>
                    <a:pt x="26" y="23"/>
                  </a:cubicBezTo>
                  <a:cubicBezTo>
                    <a:pt x="26" y="26"/>
                    <a:pt x="27" y="25"/>
                    <a:pt x="30" y="26"/>
                  </a:cubicBezTo>
                  <a:cubicBezTo>
                    <a:pt x="32" y="26"/>
                    <a:pt x="34" y="31"/>
                    <a:pt x="34" y="33"/>
                  </a:cubicBezTo>
                  <a:cubicBezTo>
                    <a:pt x="37" y="33"/>
                    <a:pt x="38" y="35"/>
                    <a:pt x="40" y="36"/>
                  </a:cubicBezTo>
                  <a:cubicBezTo>
                    <a:pt x="41" y="38"/>
                    <a:pt x="46" y="37"/>
                    <a:pt x="47" y="39"/>
                  </a:cubicBezTo>
                  <a:cubicBezTo>
                    <a:pt x="47" y="42"/>
                    <a:pt x="48" y="43"/>
                    <a:pt x="51" y="45"/>
                  </a:cubicBezTo>
                  <a:cubicBezTo>
                    <a:pt x="52" y="45"/>
                    <a:pt x="54" y="45"/>
                    <a:pt x="55" y="45"/>
                  </a:cubicBezTo>
                  <a:cubicBezTo>
                    <a:pt x="57" y="45"/>
                    <a:pt x="59" y="44"/>
                    <a:pt x="61" y="44"/>
                  </a:cubicBezTo>
                  <a:cubicBezTo>
                    <a:pt x="61" y="45"/>
                    <a:pt x="61" y="47"/>
                    <a:pt x="61" y="48"/>
                  </a:cubicBezTo>
                  <a:cubicBezTo>
                    <a:pt x="62" y="48"/>
                    <a:pt x="65" y="48"/>
                    <a:pt x="66" y="49"/>
                  </a:cubicBezTo>
                  <a:cubicBezTo>
                    <a:pt x="66" y="50"/>
                    <a:pt x="67" y="52"/>
                    <a:pt x="67" y="52"/>
                  </a:cubicBezTo>
                  <a:cubicBezTo>
                    <a:pt x="67" y="52"/>
                    <a:pt x="67" y="52"/>
                    <a:pt x="67" y="52"/>
                  </a:cubicBezTo>
                  <a:cubicBezTo>
                    <a:pt x="69" y="51"/>
                    <a:pt x="70" y="54"/>
                    <a:pt x="72" y="55"/>
                  </a:cubicBezTo>
                  <a:cubicBezTo>
                    <a:pt x="74" y="55"/>
                    <a:pt x="77" y="55"/>
                    <a:pt x="77" y="57"/>
                  </a:cubicBezTo>
                  <a:cubicBezTo>
                    <a:pt x="77" y="57"/>
                    <a:pt x="78" y="58"/>
                    <a:pt x="78" y="59"/>
                  </a:cubicBezTo>
                  <a:cubicBezTo>
                    <a:pt x="78" y="59"/>
                    <a:pt x="78" y="59"/>
                    <a:pt x="78" y="59"/>
                  </a:cubicBezTo>
                  <a:cubicBezTo>
                    <a:pt x="77" y="59"/>
                    <a:pt x="77" y="59"/>
                    <a:pt x="77" y="59"/>
                  </a:cubicBezTo>
                  <a:cubicBezTo>
                    <a:pt x="77" y="63"/>
                    <a:pt x="73" y="61"/>
                    <a:pt x="73" y="64"/>
                  </a:cubicBezTo>
                  <a:cubicBezTo>
                    <a:pt x="70" y="64"/>
                    <a:pt x="69" y="63"/>
                    <a:pt x="67" y="62"/>
                  </a:cubicBezTo>
                  <a:cubicBezTo>
                    <a:pt x="67" y="65"/>
                    <a:pt x="67" y="67"/>
                    <a:pt x="67" y="70"/>
                  </a:cubicBezTo>
                  <a:cubicBezTo>
                    <a:pt x="69" y="70"/>
                    <a:pt x="71" y="69"/>
                    <a:pt x="72" y="71"/>
                  </a:cubicBezTo>
                  <a:cubicBezTo>
                    <a:pt x="73" y="72"/>
                    <a:pt x="75" y="71"/>
                    <a:pt x="76" y="72"/>
                  </a:cubicBezTo>
                  <a:cubicBezTo>
                    <a:pt x="77" y="73"/>
                    <a:pt x="78" y="74"/>
                    <a:pt x="79" y="75"/>
                  </a:cubicBezTo>
                  <a:cubicBezTo>
                    <a:pt x="80" y="75"/>
                    <a:pt x="82" y="75"/>
                    <a:pt x="82" y="77"/>
                  </a:cubicBezTo>
                  <a:cubicBezTo>
                    <a:pt x="80" y="77"/>
                    <a:pt x="77" y="82"/>
                    <a:pt x="77" y="83"/>
                  </a:cubicBezTo>
                  <a:cubicBezTo>
                    <a:pt x="76" y="83"/>
                    <a:pt x="76" y="83"/>
                    <a:pt x="76" y="83"/>
                  </a:cubicBezTo>
                  <a:cubicBezTo>
                    <a:pt x="80" y="84"/>
                    <a:pt x="85" y="82"/>
                    <a:pt x="89" y="84"/>
                  </a:cubicBezTo>
                  <a:cubicBezTo>
                    <a:pt x="92" y="85"/>
                    <a:pt x="91" y="90"/>
                    <a:pt x="90" y="92"/>
                  </a:cubicBezTo>
                  <a:cubicBezTo>
                    <a:pt x="90" y="92"/>
                    <a:pt x="89" y="92"/>
                    <a:pt x="88" y="92"/>
                  </a:cubicBezTo>
                  <a:cubicBezTo>
                    <a:pt x="87" y="94"/>
                    <a:pt x="88" y="96"/>
                    <a:pt x="87" y="98"/>
                  </a:cubicBezTo>
                  <a:cubicBezTo>
                    <a:pt x="89" y="98"/>
                    <a:pt x="95" y="101"/>
                    <a:pt x="96" y="102"/>
                  </a:cubicBezTo>
                  <a:cubicBezTo>
                    <a:pt x="98" y="104"/>
                    <a:pt x="98" y="108"/>
                    <a:pt x="97" y="110"/>
                  </a:cubicBezTo>
                  <a:cubicBezTo>
                    <a:pt x="95" y="112"/>
                    <a:pt x="96" y="115"/>
                    <a:pt x="95" y="118"/>
                  </a:cubicBezTo>
                  <a:cubicBezTo>
                    <a:pt x="94" y="120"/>
                    <a:pt x="94" y="122"/>
                    <a:pt x="95" y="125"/>
                  </a:cubicBezTo>
                  <a:cubicBezTo>
                    <a:pt x="95" y="127"/>
                    <a:pt x="95" y="130"/>
                    <a:pt x="97" y="131"/>
                  </a:cubicBezTo>
                  <a:cubicBezTo>
                    <a:pt x="98" y="132"/>
                    <a:pt x="100" y="131"/>
                    <a:pt x="101" y="134"/>
                  </a:cubicBezTo>
                  <a:cubicBezTo>
                    <a:pt x="101" y="134"/>
                    <a:pt x="102" y="134"/>
                    <a:pt x="102" y="133"/>
                  </a:cubicBezTo>
                  <a:cubicBezTo>
                    <a:pt x="102" y="130"/>
                    <a:pt x="106" y="131"/>
                    <a:pt x="108" y="129"/>
                  </a:cubicBezTo>
                  <a:cubicBezTo>
                    <a:pt x="109" y="127"/>
                    <a:pt x="112" y="127"/>
                    <a:pt x="114" y="128"/>
                  </a:cubicBezTo>
                  <a:cubicBezTo>
                    <a:pt x="117" y="129"/>
                    <a:pt x="118" y="139"/>
                    <a:pt x="113" y="138"/>
                  </a:cubicBezTo>
                  <a:cubicBezTo>
                    <a:pt x="113" y="140"/>
                    <a:pt x="114" y="140"/>
                    <a:pt x="114" y="141"/>
                  </a:cubicBezTo>
                  <a:cubicBezTo>
                    <a:pt x="121" y="143"/>
                    <a:pt x="113" y="148"/>
                    <a:pt x="113" y="152"/>
                  </a:cubicBezTo>
                  <a:cubicBezTo>
                    <a:pt x="114" y="152"/>
                    <a:pt x="114" y="152"/>
                    <a:pt x="114" y="152"/>
                  </a:cubicBezTo>
                  <a:cubicBezTo>
                    <a:pt x="114" y="153"/>
                    <a:pt x="114" y="154"/>
                    <a:pt x="114" y="155"/>
                  </a:cubicBezTo>
                  <a:cubicBezTo>
                    <a:pt x="110" y="156"/>
                    <a:pt x="113" y="163"/>
                    <a:pt x="110" y="163"/>
                  </a:cubicBezTo>
                  <a:cubicBezTo>
                    <a:pt x="112" y="163"/>
                    <a:pt x="113" y="166"/>
                    <a:pt x="116" y="166"/>
                  </a:cubicBezTo>
                  <a:cubicBezTo>
                    <a:pt x="117" y="165"/>
                    <a:pt x="117" y="164"/>
                    <a:pt x="119" y="164"/>
                  </a:cubicBezTo>
                  <a:cubicBezTo>
                    <a:pt x="119" y="167"/>
                    <a:pt x="123" y="168"/>
                    <a:pt x="120" y="170"/>
                  </a:cubicBezTo>
                  <a:cubicBezTo>
                    <a:pt x="118" y="171"/>
                    <a:pt x="117" y="176"/>
                    <a:pt x="117" y="178"/>
                  </a:cubicBezTo>
                  <a:cubicBezTo>
                    <a:pt x="113" y="177"/>
                    <a:pt x="114" y="186"/>
                    <a:pt x="112" y="189"/>
                  </a:cubicBezTo>
                  <a:cubicBezTo>
                    <a:pt x="111" y="191"/>
                    <a:pt x="108" y="190"/>
                    <a:pt x="109" y="192"/>
                  </a:cubicBezTo>
                  <a:cubicBezTo>
                    <a:pt x="109" y="194"/>
                    <a:pt x="111" y="198"/>
                    <a:pt x="113" y="198"/>
                  </a:cubicBezTo>
                  <a:cubicBezTo>
                    <a:pt x="113" y="200"/>
                    <a:pt x="113" y="202"/>
                    <a:pt x="113" y="203"/>
                  </a:cubicBezTo>
                  <a:cubicBezTo>
                    <a:pt x="111" y="203"/>
                    <a:pt x="109" y="206"/>
                    <a:pt x="109" y="207"/>
                  </a:cubicBezTo>
                  <a:cubicBezTo>
                    <a:pt x="108" y="209"/>
                    <a:pt x="111" y="211"/>
                    <a:pt x="111" y="213"/>
                  </a:cubicBezTo>
                  <a:cubicBezTo>
                    <a:pt x="111" y="213"/>
                    <a:pt x="111" y="213"/>
                    <a:pt x="111" y="213"/>
                  </a:cubicBezTo>
                  <a:cubicBezTo>
                    <a:pt x="112" y="216"/>
                    <a:pt x="114" y="220"/>
                    <a:pt x="109" y="218"/>
                  </a:cubicBezTo>
                  <a:cubicBezTo>
                    <a:pt x="109" y="219"/>
                    <a:pt x="109" y="220"/>
                    <a:pt x="109" y="221"/>
                  </a:cubicBezTo>
                  <a:cubicBezTo>
                    <a:pt x="108" y="221"/>
                    <a:pt x="108" y="221"/>
                    <a:pt x="108" y="221"/>
                  </a:cubicBezTo>
                  <a:cubicBezTo>
                    <a:pt x="108" y="223"/>
                    <a:pt x="108" y="225"/>
                    <a:pt x="108" y="226"/>
                  </a:cubicBezTo>
                  <a:cubicBezTo>
                    <a:pt x="106" y="226"/>
                    <a:pt x="106" y="226"/>
                    <a:pt x="106" y="226"/>
                  </a:cubicBezTo>
                  <a:cubicBezTo>
                    <a:pt x="106" y="227"/>
                    <a:pt x="104" y="228"/>
                    <a:pt x="102" y="228"/>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43" name="Freeform 437"/>
            <p:cNvSpPr>
              <a:spLocks/>
            </p:cNvSpPr>
            <p:nvPr/>
          </p:nvSpPr>
          <p:spPr bwMode="auto">
            <a:xfrm>
              <a:off x="2992438" y="4787901"/>
              <a:ext cx="123825" cy="158750"/>
            </a:xfrm>
            <a:custGeom>
              <a:avLst/>
              <a:gdLst>
                <a:gd name="T0" fmla="*/ 19 w 35"/>
                <a:gd name="T1" fmla="*/ 45 h 45"/>
                <a:gd name="T2" fmla="*/ 18 w 35"/>
                <a:gd name="T3" fmla="*/ 41 h 45"/>
                <a:gd name="T4" fmla="*/ 15 w 35"/>
                <a:gd name="T5" fmla="*/ 37 h 45"/>
                <a:gd name="T6" fmla="*/ 13 w 35"/>
                <a:gd name="T7" fmla="*/ 34 h 45"/>
                <a:gd name="T8" fmla="*/ 14 w 35"/>
                <a:gd name="T9" fmla="*/ 33 h 45"/>
                <a:gd name="T10" fmla="*/ 9 w 35"/>
                <a:gd name="T11" fmla="*/ 21 h 45"/>
                <a:gd name="T12" fmla="*/ 14 w 35"/>
                <a:gd name="T13" fmla="*/ 21 h 45"/>
                <a:gd name="T14" fmla="*/ 8 w 35"/>
                <a:gd name="T15" fmla="*/ 20 h 45"/>
                <a:gd name="T16" fmla="*/ 12 w 35"/>
                <a:gd name="T17" fmla="*/ 17 h 45"/>
                <a:gd name="T18" fmla="*/ 6 w 35"/>
                <a:gd name="T19" fmla="*/ 15 h 45"/>
                <a:gd name="T20" fmla="*/ 3 w 35"/>
                <a:gd name="T21" fmla="*/ 10 h 45"/>
                <a:gd name="T22" fmla="*/ 0 w 35"/>
                <a:gd name="T23" fmla="*/ 2 h 45"/>
                <a:gd name="T24" fmla="*/ 7 w 35"/>
                <a:gd name="T25" fmla="*/ 2 h 45"/>
                <a:gd name="T26" fmla="*/ 12 w 35"/>
                <a:gd name="T27" fmla="*/ 0 h 45"/>
                <a:gd name="T28" fmla="*/ 16 w 35"/>
                <a:gd name="T29" fmla="*/ 9 h 45"/>
                <a:gd name="T30" fmla="*/ 26 w 35"/>
                <a:gd name="T31" fmla="*/ 11 h 45"/>
                <a:gd name="T32" fmla="*/ 26 w 35"/>
                <a:gd name="T33" fmla="*/ 11 h 45"/>
                <a:gd name="T34" fmla="*/ 27 w 35"/>
                <a:gd name="T35" fmla="*/ 11 h 45"/>
                <a:gd name="T36" fmla="*/ 29 w 35"/>
                <a:gd name="T37" fmla="*/ 11 h 45"/>
                <a:gd name="T38" fmla="*/ 31 w 35"/>
                <a:gd name="T39" fmla="*/ 13 h 45"/>
                <a:gd name="T40" fmla="*/ 32 w 35"/>
                <a:gd name="T41" fmla="*/ 18 h 45"/>
                <a:gd name="T42" fmla="*/ 31 w 35"/>
                <a:gd name="T43" fmla="*/ 25 h 45"/>
                <a:gd name="T44" fmla="*/ 34 w 35"/>
                <a:gd name="T45" fmla="*/ 29 h 45"/>
                <a:gd name="T46" fmla="*/ 33 w 35"/>
                <a:gd name="T47" fmla="*/ 30 h 45"/>
                <a:gd name="T48" fmla="*/ 30 w 35"/>
                <a:gd name="T49" fmla="*/ 31 h 45"/>
                <a:gd name="T50" fmla="*/ 32 w 35"/>
                <a:gd name="T51" fmla="*/ 35 h 45"/>
                <a:gd name="T52" fmla="*/ 32 w 35"/>
                <a:gd name="T53" fmla="*/ 35 h 45"/>
                <a:gd name="T54" fmla="*/ 30 w 35"/>
                <a:gd name="T55" fmla="*/ 41 h 45"/>
                <a:gd name="T56" fmla="*/ 29 w 35"/>
                <a:gd name="T57" fmla="*/ 45 h 45"/>
                <a:gd name="T58" fmla="*/ 25 w 35"/>
                <a:gd name="T59" fmla="*/ 43 h 45"/>
                <a:gd name="T60" fmla="*/ 25 w 35"/>
                <a:gd name="T61" fmla="*/ 45 h 45"/>
                <a:gd name="T62" fmla="*/ 19 w 35"/>
                <a:gd name="T6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 h="45">
                  <a:moveTo>
                    <a:pt x="19" y="45"/>
                  </a:moveTo>
                  <a:cubicBezTo>
                    <a:pt x="18" y="44"/>
                    <a:pt x="19" y="43"/>
                    <a:pt x="18" y="41"/>
                  </a:cubicBezTo>
                  <a:cubicBezTo>
                    <a:pt x="17" y="40"/>
                    <a:pt x="16" y="38"/>
                    <a:pt x="15" y="37"/>
                  </a:cubicBezTo>
                  <a:cubicBezTo>
                    <a:pt x="15" y="36"/>
                    <a:pt x="13" y="35"/>
                    <a:pt x="13" y="34"/>
                  </a:cubicBezTo>
                  <a:cubicBezTo>
                    <a:pt x="14" y="33"/>
                    <a:pt x="14" y="33"/>
                    <a:pt x="14" y="33"/>
                  </a:cubicBezTo>
                  <a:cubicBezTo>
                    <a:pt x="14" y="29"/>
                    <a:pt x="11" y="25"/>
                    <a:pt x="9" y="21"/>
                  </a:cubicBezTo>
                  <a:cubicBezTo>
                    <a:pt x="10" y="20"/>
                    <a:pt x="12" y="21"/>
                    <a:pt x="14" y="21"/>
                  </a:cubicBezTo>
                  <a:cubicBezTo>
                    <a:pt x="13" y="19"/>
                    <a:pt x="10" y="21"/>
                    <a:pt x="8" y="20"/>
                  </a:cubicBezTo>
                  <a:cubicBezTo>
                    <a:pt x="6" y="17"/>
                    <a:pt x="10" y="17"/>
                    <a:pt x="12" y="17"/>
                  </a:cubicBezTo>
                  <a:cubicBezTo>
                    <a:pt x="11" y="17"/>
                    <a:pt x="6" y="16"/>
                    <a:pt x="6" y="15"/>
                  </a:cubicBezTo>
                  <a:cubicBezTo>
                    <a:pt x="4" y="14"/>
                    <a:pt x="4" y="12"/>
                    <a:pt x="3" y="10"/>
                  </a:cubicBezTo>
                  <a:cubicBezTo>
                    <a:pt x="2" y="7"/>
                    <a:pt x="1" y="5"/>
                    <a:pt x="0" y="2"/>
                  </a:cubicBezTo>
                  <a:cubicBezTo>
                    <a:pt x="2" y="2"/>
                    <a:pt x="5" y="2"/>
                    <a:pt x="7" y="2"/>
                  </a:cubicBezTo>
                  <a:cubicBezTo>
                    <a:pt x="8" y="0"/>
                    <a:pt x="10" y="0"/>
                    <a:pt x="12" y="0"/>
                  </a:cubicBezTo>
                  <a:cubicBezTo>
                    <a:pt x="13" y="4"/>
                    <a:pt x="16" y="5"/>
                    <a:pt x="16" y="9"/>
                  </a:cubicBezTo>
                  <a:cubicBezTo>
                    <a:pt x="19" y="10"/>
                    <a:pt x="23" y="11"/>
                    <a:pt x="26" y="11"/>
                  </a:cubicBezTo>
                  <a:cubicBezTo>
                    <a:pt x="26" y="11"/>
                    <a:pt x="26" y="11"/>
                    <a:pt x="26" y="11"/>
                  </a:cubicBezTo>
                  <a:cubicBezTo>
                    <a:pt x="27" y="11"/>
                    <a:pt x="27" y="11"/>
                    <a:pt x="27" y="11"/>
                  </a:cubicBezTo>
                  <a:cubicBezTo>
                    <a:pt x="29" y="11"/>
                    <a:pt x="29" y="11"/>
                    <a:pt x="29" y="11"/>
                  </a:cubicBezTo>
                  <a:cubicBezTo>
                    <a:pt x="29" y="12"/>
                    <a:pt x="30" y="12"/>
                    <a:pt x="31" y="13"/>
                  </a:cubicBezTo>
                  <a:cubicBezTo>
                    <a:pt x="32" y="14"/>
                    <a:pt x="35" y="17"/>
                    <a:pt x="32" y="18"/>
                  </a:cubicBezTo>
                  <a:cubicBezTo>
                    <a:pt x="33" y="20"/>
                    <a:pt x="31" y="23"/>
                    <a:pt x="31" y="25"/>
                  </a:cubicBezTo>
                  <a:cubicBezTo>
                    <a:pt x="33" y="25"/>
                    <a:pt x="35" y="27"/>
                    <a:pt x="34" y="29"/>
                  </a:cubicBezTo>
                  <a:cubicBezTo>
                    <a:pt x="34" y="29"/>
                    <a:pt x="33" y="29"/>
                    <a:pt x="33" y="30"/>
                  </a:cubicBezTo>
                  <a:cubicBezTo>
                    <a:pt x="33" y="31"/>
                    <a:pt x="30" y="31"/>
                    <a:pt x="30" y="31"/>
                  </a:cubicBezTo>
                  <a:cubicBezTo>
                    <a:pt x="29" y="33"/>
                    <a:pt x="33" y="32"/>
                    <a:pt x="32" y="35"/>
                  </a:cubicBezTo>
                  <a:cubicBezTo>
                    <a:pt x="32" y="35"/>
                    <a:pt x="32" y="35"/>
                    <a:pt x="32" y="35"/>
                  </a:cubicBezTo>
                  <a:cubicBezTo>
                    <a:pt x="31" y="37"/>
                    <a:pt x="32" y="40"/>
                    <a:pt x="30" y="41"/>
                  </a:cubicBezTo>
                  <a:cubicBezTo>
                    <a:pt x="29" y="42"/>
                    <a:pt x="29" y="43"/>
                    <a:pt x="29" y="45"/>
                  </a:cubicBezTo>
                  <a:cubicBezTo>
                    <a:pt x="27" y="45"/>
                    <a:pt x="26" y="43"/>
                    <a:pt x="25" y="43"/>
                  </a:cubicBezTo>
                  <a:cubicBezTo>
                    <a:pt x="25" y="44"/>
                    <a:pt x="25" y="45"/>
                    <a:pt x="25" y="45"/>
                  </a:cubicBezTo>
                  <a:cubicBezTo>
                    <a:pt x="23" y="45"/>
                    <a:pt x="21" y="45"/>
                    <a:pt x="19" y="45"/>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44" name="Freeform 438"/>
            <p:cNvSpPr>
              <a:spLocks/>
            </p:cNvSpPr>
            <p:nvPr/>
          </p:nvSpPr>
          <p:spPr bwMode="auto">
            <a:xfrm>
              <a:off x="3248026" y="1955801"/>
              <a:ext cx="476250" cy="512763"/>
            </a:xfrm>
            <a:custGeom>
              <a:avLst/>
              <a:gdLst>
                <a:gd name="T0" fmla="*/ 129 w 135"/>
                <a:gd name="T1" fmla="*/ 89 h 145"/>
                <a:gd name="T2" fmla="*/ 127 w 135"/>
                <a:gd name="T3" fmla="*/ 85 h 145"/>
                <a:gd name="T4" fmla="*/ 131 w 135"/>
                <a:gd name="T5" fmla="*/ 83 h 145"/>
                <a:gd name="T6" fmla="*/ 129 w 135"/>
                <a:gd name="T7" fmla="*/ 76 h 145"/>
                <a:gd name="T8" fmla="*/ 121 w 135"/>
                <a:gd name="T9" fmla="*/ 62 h 145"/>
                <a:gd name="T10" fmla="*/ 113 w 135"/>
                <a:gd name="T11" fmla="*/ 54 h 145"/>
                <a:gd name="T12" fmla="*/ 102 w 135"/>
                <a:gd name="T13" fmla="*/ 49 h 145"/>
                <a:gd name="T14" fmla="*/ 91 w 135"/>
                <a:gd name="T15" fmla="*/ 25 h 145"/>
                <a:gd name="T16" fmla="*/ 82 w 135"/>
                <a:gd name="T17" fmla="*/ 20 h 145"/>
                <a:gd name="T18" fmla="*/ 90 w 135"/>
                <a:gd name="T19" fmla="*/ 9 h 145"/>
                <a:gd name="T20" fmla="*/ 91 w 135"/>
                <a:gd name="T21" fmla="*/ 0 h 145"/>
                <a:gd name="T22" fmla="*/ 87 w 135"/>
                <a:gd name="T23" fmla="*/ 4 h 145"/>
                <a:gd name="T24" fmla="*/ 75 w 135"/>
                <a:gd name="T25" fmla="*/ 6 h 145"/>
                <a:gd name="T26" fmla="*/ 72 w 135"/>
                <a:gd name="T27" fmla="*/ 6 h 145"/>
                <a:gd name="T28" fmla="*/ 67 w 135"/>
                <a:gd name="T29" fmla="*/ 20 h 145"/>
                <a:gd name="T30" fmla="*/ 49 w 135"/>
                <a:gd name="T31" fmla="*/ 23 h 145"/>
                <a:gd name="T32" fmla="*/ 38 w 135"/>
                <a:gd name="T33" fmla="*/ 32 h 145"/>
                <a:gd name="T34" fmla="*/ 38 w 135"/>
                <a:gd name="T35" fmla="*/ 45 h 145"/>
                <a:gd name="T36" fmla="*/ 38 w 135"/>
                <a:gd name="T37" fmla="*/ 50 h 145"/>
                <a:gd name="T38" fmla="*/ 35 w 135"/>
                <a:gd name="T39" fmla="*/ 63 h 145"/>
                <a:gd name="T40" fmla="*/ 40 w 135"/>
                <a:gd name="T41" fmla="*/ 62 h 145"/>
                <a:gd name="T42" fmla="*/ 36 w 135"/>
                <a:gd name="T43" fmla="*/ 66 h 145"/>
                <a:gd name="T44" fmla="*/ 31 w 135"/>
                <a:gd name="T45" fmla="*/ 70 h 145"/>
                <a:gd name="T46" fmla="*/ 21 w 135"/>
                <a:gd name="T47" fmla="*/ 80 h 145"/>
                <a:gd name="T48" fmla="*/ 13 w 135"/>
                <a:gd name="T49" fmla="*/ 88 h 145"/>
                <a:gd name="T50" fmla="*/ 4 w 135"/>
                <a:gd name="T51" fmla="*/ 93 h 145"/>
                <a:gd name="T52" fmla="*/ 5 w 135"/>
                <a:gd name="T53" fmla="*/ 100 h 145"/>
                <a:gd name="T54" fmla="*/ 0 w 135"/>
                <a:gd name="T55" fmla="*/ 111 h 145"/>
                <a:gd name="T56" fmla="*/ 16 w 135"/>
                <a:gd name="T57" fmla="*/ 120 h 145"/>
                <a:gd name="T58" fmla="*/ 36 w 135"/>
                <a:gd name="T59" fmla="*/ 121 h 145"/>
                <a:gd name="T60" fmla="*/ 57 w 135"/>
                <a:gd name="T61" fmla="*/ 131 h 145"/>
                <a:gd name="T62" fmla="*/ 55 w 135"/>
                <a:gd name="T63" fmla="*/ 139 h 145"/>
                <a:gd name="T64" fmla="*/ 62 w 135"/>
                <a:gd name="T65" fmla="*/ 142 h 145"/>
                <a:gd name="T66" fmla="*/ 80 w 135"/>
                <a:gd name="T67" fmla="*/ 134 h 145"/>
                <a:gd name="T68" fmla="*/ 97 w 135"/>
                <a:gd name="T69" fmla="*/ 135 h 145"/>
                <a:gd name="T70" fmla="*/ 100 w 135"/>
                <a:gd name="T71" fmla="*/ 132 h 145"/>
                <a:gd name="T72" fmla="*/ 103 w 135"/>
                <a:gd name="T73" fmla="*/ 125 h 145"/>
                <a:gd name="T74" fmla="*/ 112 w 135"/>
                <a:gd name="T75" fmla="*/ 116 h 145"/>
                <a:gd name="T76" fmla="*/ 119 w 135"/>
                <a:gd name="T77" fmla="*/ 118 h 145"/>
                <a:gd name="T78" fmla="*/ 119 w 135"/>
                <a:gd name="T79" fmla="*/ 111 h 145"/>
                <a:gd name="T80" fmla="*/ 126 w 135"/>
                <a:gd name="T81" fmla="*/ 105 h 145"/>
                <a:gd name="T82" fmla="*/ 131 w 135"/>
                <a:gd name="T83" fmla="*/ 103 h 145"/>
                <a:gd name="T84" fmla="*/ 134 w 135"/>
                <a:gd name="T85" fmla="*/ 9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5" h="145">
                  <a:moveTo>
                    <a:pt x="134" y="94"/>
                  </a:moveTo>
                  <a:cubicBezTo>
                    <a:pt x="132" y="92"/>
                    <a:pt x="130" y="93"/>
                    <a:pt x="129" y="90"/>
                  </a:cubicBezTo>
                  <a:cubicBezTo>
                    <a:pt x="129" y="89"/>
                    <a:pt x="129" y="89"/>
                    <a:pt x="129" y="89"/>
                  </a:cubicBezTo>
                  <a:cubicBezTo>
                    <a:pt x="129" y="89"/>
                    <a:pt x="128" y="89"/>
                    <a:pt x="128" y="89"/>
                  </a:cubicBezTo>
                  <a:cubicBezTo>
                    <a:pt x="127" y="87"/>
                    <a:pt x="127" y="87"/>
                    <a:pt x="127" y="87"/>
                  </a:cubicBezTo>
                  <a:cubicBezTo>
                    <a:pt x="126" y="87"/>
                    <a:pt x="127" y="86"/>
                    <a:pt x="127" y="85"/>
                  </a:cubicBezTo>
                  <a:cubicBezTo>
                    <a:pt x="126" y="85"/>
                    <a:pt x="125" y="84"/>
                    <a:pt x="126" y="83"/>
                  </a:cubicBezTo>
                  <a:cubicBezTo>
                    <a:pt x="126" y="82"/>
                    <a:pt x="128" y="83"/>
                    <a:pt x="130" y="83"/>
                  </a:cubicBezTo>
                  <a:cubicBezTo>
                    <a:pt x="130" y="83"/>
                    <a:pt x="130" y="83"/>
                    <a:pt x="131" y="83"/>
                  </a:cubicBezTo>
                  <a:cubicBezTo>
                    <a:pt x="131" y="82"/>
                    <a:pt x="131" y="82"/>
                    <a:pt x="131" y="82"/>
                  </a:cubicBezTo>
                  <a:cubicBezTo>
                    <a:pt x="131" y="81"/>
                    <a:pt x="130" y="80"/>
                    <a:pt x="129" y="79"/>
                  </a:cubicBezTo>
                  <a:cubicBezTo>
                    <a:pt x="129" y="78"/>
                    <a:pt x="129" y="77"/>
                    <a:pt x="129" y="76"/>
                  </a:cubicBezTo>
                  <a:cubicBezTo>
                    <a:pt x="127" y="75"/>
                    <a:pt x="123" y="75"/>
                    <a:pt x="121" y="72"/>
                  </a:cubicBezTo>
                  <a:cubicBezTo>
                    <a:pt x="120" y="70"/>
                    <a:pt x="121" y="69"/>
                    <a:pt x="122" y="67"/>
                  </a:cubicBezTo>
                  <a:cubicBezTo>
                    <a:pt x="122" y="66"/>
                    <a:pt x="121" y="63"/>
                    <a:pt x="121" y="62"/>
                  </a:cubicBezTo>
                  <a:cubicBezTo>
                    <a:pt x="121" y="61"/>
                    <a:pt x="121" y="61"/>
                    <a:pt x="121" y="61"/>
                  </a:cubicBezTo>
                  <a:cubicBezTo>
                    <a:pt x="121" y="58"/>
                    <a:pt x="119" y="60"/>
                    <a:pt x="117" y="59"/>
                  </a:cubicBezTo>
                  <a:cubicBezTo>
                    <a:pt x="115" y="59"/>
                    <a:pt x="114" y="55"/>
                    <a:pt x="113" y="54"/>
                  </a:cubicBezTo>
                  <a:cubicBezTo>
                    <a:pt x="111" y="51"/>
                    <a:pt x="110" y="51"/>
                    <a:pt x="109" y="54"/>
                  </a:cubicBezTo>
                  <a:cubicBezTo>
                    <a:pt x="109" y="57"/>
                    <a:pt x="105" y="56"/>
                    <a:pt x="102" y="56"/>
                  </a:cubicBezTo>
                  <a:cubicBezTo>
                    <a:pt x="102" y="54"/>
                    <a:pt x="103" y="51"/>
                    <a:pt x="102" y="49"/>
                  </a:cubicBezTo>
                  <a:cubicBezTo>
                    <a:pt x="101" y="47"/>
                    <a:pt x="100" y="45"/>
                    <a:pt x="98" y="43"/>
                  </a:cubicBezTo>
                  <a:cubicBezTo>
                    <a:pt x="97" y="42"/>
                    <a:pt x="89" y="32"/>
                    <a:pt x="96" y="33"/>
                  </a:cubicBezTo>
                  <a:cubicBezTo>
                    <a:pt x="96" y="32"/>
                    <a:pt x="92" y="26"/>
                    <a:pt x="91" y="25"/>
                  </a:cubicBezTo>
                  <a:cubicBezTo>
                    <a:pt x="90" y="24"/>
                    <a:pt x="87" y="23"/>
                    <a:pt x="85" y="22"/>
                  </a:cubicBezTo>
                  <a:cubicBezTo>
                    <a:pt x="83" y="21"/>
                    <a:pt x="81" y="22"/>
                    <a:pt x="79" y="21"/>
                  </a:cubicBezTo>
                  <a:cubicBezTo>
                    <a:pt x="80" y="20"/>
                    <a:pt x="81" y="20"/>
                    <a:pt x="82" y="20"/>
                  </a:cubicBezTo>
                  <a:cubicBezTo>
                    <a:pt x="84" y="19"/>
                    <a:pt x="83" y="17"/>
                    <a:pt x="83" y="15"/>
                  </a:cubicBezTo>
                  <a:cubicBezTo>
                    <a:pt x="82" y="12"/>
                    <a:pt x="86" y="13"/>
                    <a:pt x="88" y="13"/>
                  </a:cubicBezTo>
                  <a:cubicBezTo>
                    <a:pt x="90" y="9"/>
                    <a:pt x="90" y="9"/>
                    <a:pt x="90" y="9"/>
                  </a:cubicBezTo>
                  <a:cubicBezTo>
                    <a:pt x="91" y="7"/>
                    <a:pt x="93" y="7"/>
                    <a:pt x="95" y="7"/>
                  </a:cubicBezTo>
                  <a:cubicBezTo>
                    <a:pt x="95" y="5"/>
                    <a:pt x="93" y="4"/>
                    <a:pt x="92" y="2"/>
                  </a:cubicBezTo>
                  <a:cubicBezTo>
                    <a:pt x="91" y="2"/>
                    <a:pt x="91" y="1"/>
                    <a:pt x="91" y="0"/>
                  </a:cubicBezTo>
                  <a:cubicBezTo>
                    <a:pt x="91" y="0"/>
                    <a:pt x="91" y="0"/>
                    <a:pt x="91" y="0"/>
                  </a:cubicBezTo>
                  <a:cubicBezTo>
                    <a:pt x="90" y="0"/>
                    <a:pt x="90" y="0"/>
                    <a:pt x="89" y="2"/>
                  </a:cubicBezTo>
                  <a:cubicBezTo>
                    <a:pt x="89" y="3"/>
                    <a:pt x="89" y="4"/>
                    <a:pt x="87" y="4"/>
                  </a:cubicBezTo>
                  <a:cubicBezTo>
                    <a:pt x="85" y="4"/>
                    <a:pt x="84" y="4"/>
                    <a:pt x="82" y="4"/>
                  </a:cubicBezTo>
                  <a:cubicBezTo>
                    <a:pt x="82" y="6"/>
                    <a:pt x="80" y="5"/>
                    <a:pt x="80" y="7"/>
                  </a:cubicBezTo>
                  <a:cubicBezTo>
                    <a:pt x="78" y="8"/>
                    <a:pt x="77" y="7"/>
                    <a:pt x="75" y="6"/>
                  </a:cubicBezTo>
                  <a:cubicBezTo>
                    <a:pt x="74" y="6"/>
                    <a:pt x="73" y="6"/>
                    <a:pt x="72" y="6"/>
                  </a:cubicBezTo>
                  <a:cubicBezTo>
                    <a:pt x="72" y="6"/>
                    <a:pt x="72" y="6"/>
                    <a:pt x="72" y="6"/>
                  </a:cubicBezTo>
                  <a:cubicBezTo>
                    <a:pt x="72" y="6"/>
                    <a:pt x="72" y="6"/>
                    <a:pt x="72" y="6"/>
                  </a:cubicBezTo>
                  <a:cubicBezTo>
                    <a:pt x="73" y="9"/>
                    <a:pt x="71" y="12"/>
                    <a:pt x="71" y="14"/>
                  </a:cubicBezTo>
                  <a:cubicBezTo>
                    <a:pt x="71" y="16"/>
                    <a:pt x="71" y="16"/>
                    <a:pt x="69" y="17"/>
                  </a:cubicBezTo>
                  <a:cubicBezTo>
                    <a:pt x="68" y="18"/>
                    <a:pt x="67" y="18"/>
                    <a:pt x="67" y="20"/>
                  </a:cubicBezTo>
                  <a:cubicBezTo>
                    <a:pt x="64" y="20"/>
                    <a:pt x="60" y="20"/>
                    <a:pt x="57" y="20"/>
                  </a:cubicBezTo>
                  <a:cubicBezTo>
                    <a:pt x="55" y="20"/>
                    <a:pt x="53" y="19"/>
                    <a:pt x="52" y="20"/>
                  </a:cubicBezTo>
                  <a:cubicBezTo>
                    <a:pt x="51" y="21"/>
                    <a:pt x="51" y="23"/>
                    <a:pt x="49" y="23"/>
                  </a:cubicBezTo>
                  <a:cubicBezTo>
                    <a:pt x="49" y="27"/>
                    <a:pt x="46" y="25"/>
                    <a:pt x="43" y="26"/>
                  </a:cubicBezTo>
                  <a:cubicBezTo>
                    <a:pt x="42" y="26"/>
                    <a:pt x="41" y="27"/>
                    <a:pt x="40" y="29"/>
                  </a:cubicBezTo>
                  <a:cubicBezTo>
                    <a:pt x="38" y="30"/>
                    <a:pt x="39" y="30"/>
                    <a:pt x="38" y="32"/>
                  </a:cubicBezTo>
                  <a:cubicBezTo>
                    <a:pt x="37" y="34"/>
                    <a:pt x="36" y="32"/>
                    <a:pt x="35" y="33"/>
                  </a:cubicBezTo>
                  <a:cubicBezTo>
                    <a:pt x="34" y="34"/>
                    <a:pt x="36" y="37"/>
                    <a:pt x="37" y="38"/>
                  </a:cubicBezTo>
                  <a:cubicBezTo>
                    <a:pt x="38" y="40"/>
                    <a:pt x="39" y="42"/>
                    <a:pt x="38" y="45"/>
                  </a:cubicBezTo>
                  <a:cubicBezTo>
                    <a:pt x="38" y="45"/>
                    <a:pt x="37" y="45"/>
                    <a:pt x="37" y="45"/>
                  </a:cubicBezTo>
                  <a:cubicBezTo>
                    <a:pt x="39" y="45"/>
                    <a:pt x="40" y="46"/>
                    <a:pt x="40" y="49"/>
                  </a:cubicBezTo>
                  <a:cubicBezTo>
                    <a:pt x="40" y="49"/>
                    <a:pt x="38" y="49"/>
                    <a:pt x="38" y="50"/>
                  </a:cubicBezTo>
                  <a:cubicBezTo>
                    <a:pt x="37" y="50"/>
                    <a:pt x="36" y="52"/>
                    <a:pt x="35" y="53"/>
                  </a:cubicBezTo>
                  <a:cubicBezTo>
                    <a:pt x="35" y="54"/>
                    <a:pt x="32" y="63"/>
                    <a:pt x="35" y="63"/>
                  </a:cubicBezTo>
                  <a:cubicBezTo>
                    <a:pt x="35" y="63"/>
                    <a:pt x="35" y="63"/>
                    <a:pt x="35" y="63"/>
                  </a:cubicBezTo>
                  <a:cubicBezTo>
                    <a:pt x="35" y="64"/>
                    <a:pt x="36" y="64"/>
                    <a:pt x="37" y="64"/>
                  </a:cubicBezTo>
                  <a:cubicBezTo>
                    <a:pt x="37" y="62"/>
                    <a:pt x="37" y="62"/>
                    <a:pt x="37" y="62"/>
                  </a:cubicBezTo>
                  <a:cubicBezTo>
                    <a:pt x="38" y="62"/>
                    <a:pt x="39" y="62"/>
                    <a:pt x="40" y="62"/>
                  </a:cubicBezTo>
                  <a:cubicBezTo>
                    <a:pt x="40" y="63"/>
                    <a:pt x="41" y="64"/>
                    <a:pt x="40" y="65"/>
                  </a:cubicBezTo>
                  <a:cubicBezTo>
                    <a:pt x="40" y="65"/>
                    <a:pt x="38" y="65"/>
                    <a:pt x="38" y="65"/>
                  </a:cubicBezTo>
                  <a:cubicBezTo>
                    <a:pt x="37" y="65"/>
                    <a:pt x="37" y="66"/>
                    <a:pt x="36" y="66"/>
                  </a:cubicBezTo>
                  <a:cubicBezTo>
                    <a:pt x="35" y="67"/>
                    <a:pt x="35" y="67"/>
                    <a:pt x="34" y="67"/>
                  </a:cubicBezTo>
                  <a:cubicBezTo>
                    <a:pt x="33" y="68"/>
                    <a:pt x="33" y="68"/>
                    <a:pt x="33" y="69"/>
                  </a:cubicBezTo>
                  <a:cubicBezTo>
                    <a:pt x="32" y="69"/>
                    <a:pt x="32" y="70"/>
                    <a:pt x="31" y="70"/>
                  </a:cubicBezTo>
                  <a:cubicBezTo>
                    <a:pt x="30" y="72"/>
                    <a:pt x="29" y="73"/>
                    <a:pt x="27" y="74"/>
                  </a:cubicBezTo>
                  <a:cubicBezTo>
                    <a:pt x="26" y="76"/>
                    <a:pt x="25" y="76"/>
                    <a:pt x="23" y="77"/>
                  </a:cubicBezTo>
                  <a:cubicBezTo>
                    <a:pt x="20" y="77"/>
                    <a:pt x="22" y="79"/>
                    <a:pt x="21" y="80"/>
                  </a:cubicBezTo>
                  <a:cubicBezTo>
                    <a:pt x="20" y="82"/>
                    <a:pt x="18" y="82"/>
                    <a:pt x="17" y="83"/>
                  </a:cubicBezTo>
                  <a:cubicBezTo>
                    <a:pt x="16" y="85"/>
                    <a:pt x="16" y="85"/>
                    <a:pt x="13" y="85"/>
                  </a:cubicBezTo>
                  <a:cubicBezTo>
                    <a:pt x="13" y="86"/>
                    <a:pt x="13" y="87"/>
                    <a:pt x="13" y="88"/>
                  </a:cubicBezTo>
                  <a:cubicBezTo>
                    <a:pt x="12" y="88"/>
                    <a:pt x="11" y="91"/>
                    <a:pt x="10" y="91"/>
                  </a:cubicBezTo>
                  <a:cubicBezTo>
                    <a:pt x="9" y="91"/>
                    <a:pt x="9" y="91"/>
                    <a:pt x="9" y="91"/>
                  </a:cubicBezTo>
                  <a:cubicBezTo>
                    <a:pt x="8" y="91"/>
                    <a:pt x="4" y="91"/>
                    <a:pt x="4" y="93"/>
                  </a:cubicBezTo>
                  <a:cubicBezTo>
                    <a:pt x="6" y="93"/>
                    <a:pt x="7" y="94"/>
                    <a:pt x="6" y="95"/>
                  </a:cubicBezTo>
                  <a:cubicBezTo>
                    <a:pt x="6" y="95"/>
                    <a:pt x="3" y="96"/>
                    <a:pt x="3" y="96"/>
                  </a:cubicBezTo>
                  <a:cubicBezTo>
                    <a:pt x="1" y="98"/>
                    <a:pt x="3" y="99"/>
                    <a:pt x="5" y="100"/>
                  </a:cubicBezTo>
                  <a:cubicBezTo>
                    <a:pt x="5" y="103"/>
                    <a:pt x="4" y="105"/>
                    <a:pt x="4" y="107"/>
                  </a:cubicBezTo>
                  <a:cubicBezTo>
                    <a:pt x="3" y="109"/>
                    <a:pt x="4" y="110"/>
                    <a:pt x="2" y="110"/>
                  </a:cubicBezTo>
                  <a:cubicBezTo>
                    <a:pt x="1" y="111"/>
                    <a:pt x="1" y="111"/>
                    <a:pt x="0" y="111"/>
                  </a:cubicBezTo>
                  <a:cubicBezTo>
                    <a:pt x="2" y="112"/>
                    <a:pt x="3" y="113"/>
                    <a:pt x="3" y="117"/>
                  </a:cubicBezTo>
                  <a:cubicBezTo>
                    <a:pt x="2" y="119"/>
                    <a:pt x="6" y="118"/>
                    <a:pt x="8" y="118"/>
                  </a:cubicBezTo>
                  <a:cubicBezTo>
                    <a:pt x="11" y="118"/>
                    <a:pt x="13" y="119"/>
                    <a:pt x="16" y="120"/>
                  </a:cubicBezTo>
                  <a:cubicBezTo>
                    <a:pt x="19" y="121"/>
                    <a:pt x="22" y="120"/>
                    <a:pt x="25" y="121"/>
                  </a:cubicBezTo>
                  <a:cubicBezTo>
                    <a:pt x="29" y="121"/>
                    <a:pt x="31" y="124"/>
                    <a:pt x="34" y="123"/>
                  </a:cubicBezTo>
                  <a:cubicBezTo>
                    <a:pt x="35" y="122"/>
                    <a:pt x="36" y="122"/>
                    <a:pt x="36" y="121"/>
                  </a:cubicBezTo>
                  <a:cubicBezTo>
                    <a:pt x="40" y="121"/>
                    <a:pt x="46" y="121"/>
                    <a:pt x="48" y="124"/>
                  </a:cubicBezTo>
                  <a:cubicBezTo>
                    <a:pt x="52" y="130"/>
                    <a:pt x="52" y="123"/>
                    <a:pt x="54" y="126"/>
                  </a:cubicBezTo>
                  <a:cubicBezTo>
                    <a:pt x="54" y="126"/>
                    <a:pt x="53" y="135"/>
                    <a:pt x="57" y="131"/>
                  </a:cubicBezTo>
                  <a:cubicBezTo>
                    <a:pt x="57" y="131"/>
                    <a:pt x="56" y="130"/>
                    <a:pt x="58" y="130"/>
                  </a:cubicBezTo>
                  <a:cubicBezTo>
                    <a:pt x="59" y="130"/>
                    <a:pt x="59" y="132"/>
                    <a:pt x="58" y="133"/>
                  </a:cubicBezTo>
                  <a:cubicBezTo>
                    <a:pt x="58" y="135"/>
                    <a:pt x="55" y="136"/>
                    <a:pt x="55" y="139"/>
                  </a:cubicBezTo>
                  <a:cubicBezTo>
                    <a:pt x="55" y="139"/>
                    <a:pt x="57" y="140"/>
                    <a:pt x="57" y="141"/>
                  </a:cubicBezTo>
                  <a:cubicBezTo>
                    <a:pt x="58" y="142"/>
                    <a:pt x="59" y="143"/>
                    <a:pt x="59" y="145"/>
                  </a:cubicBezTo>
                  <a:cubicBezTo>
                    <a:pt x="62" y="145"/>
                    <a:pt x="62" y="144"/>
                    <a:pt x="62" y="142"/>
                  </a:cubicBezTo>
                  <a:cubicBezTo>
                    <a:pt x="62" y="139"/>
                    <a:pt x="65" y="138"/>
                    <a:pt x="66" y="136"/>
                  </a:cubicBezTo>
                  <a:cubicBezTo>
                    <a:pt x="68" y="134"/>
                    <a:pt x="69" y="131"/>
                    <a:pt x="72" y="133"/>
                  </a:cubicBezTo>
                  <a:cubicBezTo>
                    <a:pt x="75" y="134"/>
                    <a:pt x="77" y="135"/>
                    <a:pt x="80" y="134"/>
                  </a:cubicBezTo>
                  <a:cubicBezTo>
                    <a:pt x="80" y="130"/>
                    <a:pt x="89" y="131"/>
                    <a:pt x="89" y="136"/>
                  </a:cubicBezTo>
                  <a:cubicBezTo>
                    <a:pt x="91" y="136"/>
                    <a:pt x="93" y="136"/>
                    <a:pt x="94" y="136"/>
                  </a:cubicBezTo>
                  <a:cubicBezTo>
                    <a:pt x="97" y="137"/>
                    <a:pt x="96" y="136"/>
                    <a:pt x="97" y="135"/>
                  </a:cubicBezTo>
                  <a:cubicBezTo>
                    <a:pt x="97" y="134"/>
                    <a:pt x="98" y="134"/>
                    <a:pt x="98" y="133"/>
                  </a:cubicBezTo>
                  <a:cubicBezTo>
                    <a:pt x="98" y="134"/>
                    <a:pt x="99" y="134"/>
                    <a:pt x="99" y="134"/>
                  </a:cubicBezTo>
                  <a:cubicBezTo>
                    <a:pt x="100" y="134"/>
                    <a:pt x="99" y="133"/>
                    <a:pt x="100" y="132"/>
                  </a:cubicBezTo>
                  <a:cubicBezTo>
                    <a:pt x="101" y="132"/>
                    <a:pt x="102" y="132"/>
                    <a:pt x="103" y="132"/>
                  </a:cubicBezTo>
                  <a:cubicBezTo>
                    <a:pt x="103" y="131"/>
                    <a:pt x="104" y="130"/>
                    <a:pt x="104" y="130"/>
                  </a:cubicBezTo>
                  <a:cubicBezTo>
                    <a:pt x="102" y="130"/>
                    <a:pt x="102" y="126"/>
                    <a:pt x="103" y="125"/>
                  </a:cubicBezTo>
                  <a:cubicBezTo>
                    <a:pt x="103" y="124"/>
                    <a:pt x="103" y="123"/>
                    <a:pt x="104" y="122"/>
                  </a:cubicBezTo>
                  <a:cubicBezTo>
                    <a:pt x="104" y="120"/>
                    <a:pt x="104" y="117"/>
                    <a:pt x="105" y="115"/>
                  </a:cubicBezTo>
                  <a:cubicBezTo>
                    <a:pt x="106" y="116"/>
                    <a:pt x="111" y="119"/>
                    <a:pt x="112" y="116"/>
                  </a:cubicBezTo>
                  <a:cubicBezTo>
                    <a:pt x="112" y="114"/>
                    <a:pt x="114" y="113"/>
                    <a:pt x="115" y="116"/>
                  </a:cubicBezTo>
                  <a:cubicBezTo>
                    <a:pt x="115" y="117"/>
                    <a:pt x="115" y="118"/>
                    <a:pt x="116" y="119"/>
                  </a:cubicBezTo>
                  <a:cubicBezTo>
                    <a:pt x="118" y="121"/>
                    <a:pt x="118" y="119"/>
                    <a:pt x="119" y="118"/>
                  </a:cubicBezTo>
                  <a:cubicBezTo>
                    <a:pt x="121" y="117"/>
                    <a:pt x="122" y="117"/>
                    <a:pt x="122" y="115"/>
                  </a:cubicBezTo>
                  <a:cubicBezTo>
                    <a:pt x="122" y="113"/>
                    <a:pt x="121" y="112"/>
                    <a:pt x="119" y="112"/>
                  </a:cubicBezTo>
                  <a:cubicBezTo>
                    <a:pt x="119" y="111"/>
                    <a:pt x="119" y="111"/>
                    <a:pt x="119" y="111"/>
                  </a:cubicBezTo>
                  <a:cubicBezTo>
                    <a:pt x="121" y="112"/>
                    <a:pt x="121" y="110"/>
                    <a:pt x="122" y="109"/>
                  </a:cubicBezTo>
                  <a:cubicBezTo>
                    <a:pt x="123" y="109"/>
                    <a:pt x="125" y="108"/>
                    <a:pt x="126" y="108"/>
                  </a:cubicBezTo>
                  <a:cubicBezTo>
                    <a:pt x="126" y="107"/>
                    <a:pt x="126" y="106"/>
                    <a:pt x="126" y="105"/>
                  </a:cubicBezTo>
                  <a:cubicBezTo>
                    <a:pt x="125" y="104"/>
                    <a:pt x="125" y="103"/>
                    <a:pt x="125" y="102"/>
                  </a:cubicBezTo>
                  <a:cubicBezTo>
                    <a:pt x="126" y="101"/>
                    <a:pt x="127" y="101"/>
                    <a:pt x="128" y="102"/>
                  </a:cubicBezTo>
                  <a:cubicBezTo>
                    <a:pt x="128" y="103"/>
                    <a:pt x="130" y="103"/>
                    <a:pt x="131" y="103"/>
                  </a:cubicBezTo>
                  <a:cubicBezTo>
                    <a:pt x="133" y="104"/>
                    <a:pt x="132" y="106"/>
                    <a:pt x="133" y="107"/>
                  </a:cubicBezTo>
                  <a:cubicBezTo>
                    <a:pt x="135" y="107"/>
                    <a:pt x="134" y="100"/>
                    <a:pt x="134" y="99"/>
                  </a:cubicBezTo>
                  <a:cubicBezTo>
                    <a:pt x="134" y="97"/>
                    <a:pt x="135" y="95"/>
                    <a:pt x="134" y="94"/>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45" name="Freeform 439"/>
            <p:cNvSpPr>
              <a:spLocks/>
            </p:cNvSpPr>
            <p:nvPr/>
          </p:nvSpPr>
          <p:spPr bwMode="auto">
            <a:xfrm>
              <a:off x="3130551" y="1173163"/>
              <a:ext cx="1160463" cy="838200"/>
            </a:xfrm>
            <a:custGeom>
              <a:avLst/>
              <a:gdLst>
                <a:gd name="T0" fmla="*/ 93 w 328"/>
                <a:gd name="T1" fmla="*/ 219 h 237"/>
                <a:gd name="T2" fmla="*/ 87 w 328"/>
                <a:gd name="T3" fmla="*/ 220 h 237"/>
                <a:gd name="T4" fmla="*/ 78 w 328"/>
                <a:gd name="T5" fmla="*/ 208 h 237"/>
                <a:gd name="T6" fmla="*/ 66 w 328"/>
                <a:gd name="T7" fmla="*/ 203 h 237"/>
                <a:gd name="T8" fmla="*/ 40 w 328"/>
                <a:gd name="T9" fmla="*/ 191 h 237"/>
                <a:gd name="T10" fmla="*/ 34 w 328"/>
                <a:gd name="T11" fmla="*/ 175 h 237"/>
                <a:gd name="T12" fmla="*/ 36 w 328"/>
                <a:gd name="T13" fmla="*/ 156 h 237"/>
                <a:gd name="T14" fmla="*/ 33 w 328"/>
                <a:gd name="T15" fmla="*/ 132 h 237"/>
                <a:gd name="T16" fmla="*/ 41 w 328"/>
                <a:gd name="T17" fmla="*/ 115 h 237"/>
                <a:gd name="T18" fmla="*/ 50 w 328"/>
                <a:gd name="T19" fmla="*/ 104 h 237"/>
                <a:gd name="T20" fmla="*/ 61 w 328"/>
                <a:gd name="T21" fmla="*/ 97 h 237"/>
                <a:gd name="T22" fmla="*/ 52 w 328"/>
                <a:gd name="T23" fmla="*/ 83 h 237"/>
                <a:gd name="T24" fmla="*/ 41 w 328"/>
                <a:gd name="T25" fmla="*/ 68 h 237"/>
                <a:gd name="T26" fmla="*/ 26 w 328"/>
                <a:gd name="T27" fmla="*/ 59 h 237"/>
                <a:gd name="T28" fmla="*/ 18 w 328"/>
                <a:gd name="T29" fmla="*/ 50 h 237"/>
                <a:gd name="T30" fmla="*/ 1 w 328"/>
                <a:gd name="T31" fmla="*/ 48 h 237"/>
                <a:gd name="T32" fmla="*/ 4 w 328"/>
                <a:gd name="T33" fmla="*/ 33 h 237"/>
                <a:gd name="T34" fmla="*/ 24 w 328"/>
                <a:gd name="T35" fmla="*/ 18 h 237"/>
                <a:gd name="T36" fmla="*/ 52 w 328"/>
                <a:gd name="T37" fmla="*/ 14 h 237"/>
                <a:gd name="T38" fmla="*/ 51 w 328"/>
                <a:gd name="T39" fmla="*/ 5 h 237"/>
                <a:gd name="T40" fmla="*/ 87 w 328"/>
                <a:gd name="T41" fmla="*/ 3 h 237"/>
                <a:gd name="T42" fmla="*/ 106 w 328"/>
                <a:gd name="T43" fmla="*/ 4 h 237"/>
                <a:gd name="T44" fmla="*/ 125 w 328"/>
                <a:gd name="T45" fmla="*/ 9 h 237"/>
                <a:gd name="T46" fmla="*/ 144 w 328"/>
                <a:gd name="T47" fmla="*/ 27 h 237"/>
                <a:gd name="T48" fmla="*/ 168 w 328"/>
                <a:gd name="T49" fmla="*/ 47 h 237"/>
                <a:gd name="T50" fmla="*/ 193 w 328"/>
                <a:gd name="T51" fmla="*/ 66 h 237"/>
                <a:gd name="T52" fmla="*/ 206 w 328"/>
                <a:gd name="T53" fmla="*/ 74 h 237"/>
                <a:gd name="T54" fmla="*/ 216 w 328"/>
                <a:gd name="T55" fmla="*/ 81 h 237"/>
                <a:gd name="T56" fmla="*/ 237 w 328"/>
                <a:gd name="T57" fmla="*/ 76 h 237"/>
                <a:gd name="T58" fmla="*/ 254 w 328"/>
                <a:gd name="T59" fmla="*/ 70 h 237"/>
                <a:gd name="T60" fmla="*/ 286 w 328"/>
                <a:gd name="T61" fmla="*/ 63 h 237"/>
                <a:gd name="T62" fmla="*/ 320 w 328"/>
                <a:gd name="T63" fmla="*/ 80 h 237"/>
                <a:gd name="T64" fmla="*/ 323 w 328"/>
                <a:gd name="T65" fmla="*/ 100 h 237"/>
                <a:gd name="T66" fmla="*/ 307 w 328"/>
                <a:gd name="T67" fmla="*/ 124 h 237"/>
                <a:gd name="T68" fmla="*/ 293 w 328"/>
                <a:gd name="T69" fmla="*/ 138 h 237"/>
                <a:gd name="T70" fmla="*/ 287 w 328"/>
                <a:gd name="T71" fmla="*/ 154 h 237"/>
                <a:gd name="T72" fmla="*/ 266 w 328"/>
                <a:gd name="T73" fmla="*/ 155 h 237"/>
                <a:gd name="T74" fmla="*/ 265 w 328"/>
                <a:gd name="T75" fmla="*/ 181 h 237"/>
                <a:gd name="T76" fmla="*/ 286 w 328"/>
                <a:gd name="T77" fmla="*/ 211 h 237"/>
                <a:gd name="T78" fmla="*/ 282 w 328"/>
                <a:gd name="T79" fmla="*/ 226 h 237"/>
                <a:gd name="T80" fmla="*/ 269 w 328"/>
                <a:gd name="T81" fmla="*/ 233 h 237"/>
                <a:gd name="T82" fmla="*/ 257 w 328"/>
                <a:gd name="T83" fmla="*/ 228 h 237"/>
                <a:gd name="T84" fmla="*/ 243 w 328"/>
                <a:gd name="T85" fmla="*/ 225 h 237"/>
                <a:gd name="T86" fmla="*/ 242 w 328"/>
                <a:gd name="T87" fmla="*/ 230 h 237"/>
                <a:gd name="T88" fmla="*/ 234 w 328"/>
                <a:gd name="T89" fmla="*/ 217 h 237"/>
                <a:gd name="T90" fmla="*/ 221 w 328"/>
                <a:gd name="T91" fmla="*/ 214 h 237"/>
                <a:gd name="T92" fmla="*/ 198 w 328"/>
                <a:gd name="T93" fmla="*/ 206 h 237"/>
                <a:gd name="T94" fmla="*/ 176 w 328"/>
                <a:gd name="T95" fmla="*/ 195 h 237"/>
                <a:gd name="T96" fmla="*/ 146 w 328"/>
                <a:gd name="T97" fmla="*/ 197 h 237"/>
                <a:gd name="T98" fmla="*/ 133 w 328"/>
                <a:gd name="T99" fmla="*/ 202 h 237"/>
                <a:gd name="T100" fmla="*/ 131 w 328"/>
                <a:gd name="T101" fmla="*/ 211 h 237"/>
                <a:gd name="T102" fmla="*/ 122 w 328"/>
                <a:gd name="T103" fmla="*/ 223 h 237"/>
                <a:gd name="T104" fmla="*/ 105 w 328"/>
                <a:gd name="T105"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8" h="237">
                  <a:moveTo>
                    <a:pt x="105" y="227"/>
                  </a:moveTo>
                  <a:cubicBezTo>
                    <a:pt x="105" y="225"/>
                    <a:pt x="102" y="223"/>
                    <a:pt x="101" y="223"/>
                  </a:cubicBezTo>
                  <a:cubicBezTo>
                    <a:pt x="100" y="222"/>
                    <a:pt x="98" y="223"/>
                    <a:pt x="97" y="223"/>
                  </a:cubicBezTo>
                  <a:cubicBezTo>
                    <a:pt x="97" y="221"/>
                    <a:pt x="95" y="220"/>
                    <a:pt x="95" y="219"/>
                  </a:cubicBezTo>
                  <a:cubicBezTo>
                    <a:pt x="94" y="219"/>
                    <a:pt x="93" y="219"/>
                    <a:pt x="93" y="219"/>
                  </a:cubicBezTo>
                  <a:cubicBezTo>
                    <a:pt x="92" y="219"/>
                    <a:pt x="92" y="219"/>
                    <a:pt x="92" y="219"/>
                  </a:cubicBezTo>
                  <a:cubicBezTo>
                    <a:pt x="91" y="219"/>
                    <a:pt x="91" y="220"/>
                    <a:pt x="91" y="221"/>
                  </a:cubicBezTo>
                  <a:cubicBezTo>
                    <a:pt x="90" y="221"/>
                    <a:pt x="89" y="221"/>
                    <a:pt x="89" y="221"/>
                  </a:cubicBezTo>
                  <a:cubicBezTo>
                    <a:pt x="88" y="220"/>
                    <a:pt x="88" y="220"/>
                    <a:pt x="88" y="220"/>
                  </a:cubicBezTo>
                  <a:cubicBezTo>
                    <a:pt x="87" y="220"/>
                    <a:pt x="87" y="220"/>
                    <a:pt x="87" y="220"/>
                  </a:cubicBezTo>
                  <a:cubicBezTo>
                    <a:pt x="87" y="219"/>
                    <a:pt x="86" y="218"/>
                    <a:pt x="86" y="217"/>
                  </a:cubicBezTo>
                  <a:cubicBezTo>
                    <a:pt x="84" y="217"/>
                    <a:pt x="79" y="216"/>
                    <a:pt x="77" y="218"/>
                  </a:cubicBezTo>
                  <a:cubicBezTo>
                    <a:pt x="77" y="218"/>
                    <a:pt x="77" y="216"/>
                    <a:pt x="77" y="215"/>
                  </a:cubicBezTo>
                  <a:cubicBezTo>
                    <a:pt x="74" y="215"/>
                    <a:pt x="77" y="213"/>
                    <a:pt x="77" y="212"/>
                  </a:cubicBezTo>
                  <a:cubicBezTo>
                    <a:pt x="78" y="211"/>
                    <a:pt x="78" y="210"/>
                    <a:pt x="78" y="208"/>
                  </a:cubicBezTo>
                  <a:cubicBezTo>
                    <a:pt x="77" y="208"/>
                    <a:pt x="77" y="208"/>
                    <a:pt x="77" y="208"/>
                  </a:cubicBezTo>
                  <a:cubicBezTo>
                    <a:pt x="77" y="206"/>
                    <a:pt x="79" y="204"/>
                    <a:pt x="79" y="201"/>
                  </a:cubicBezTo>
                  <a:cubicBezTo>
                    <a:pt x="77" y="201"/>
                    <a:pt x="76" y="202"/>
                    <a:pt x="75" y="202"/>
                  </a:cubicBezTo>
                  <a:cubicBezTo>
                    <a:pt x="75" y="203"/>
                    <a:pt x="75" y="204"/>
                    <a:pt x="75" y="205"/>
                  </a:cubicBezTo>
                  <a:cubicBezTo>
                    <a:pt x="72" y="205"/>
                    <a:pt x="70" y="203"/>
                    <a:pt x="66" y="203"/>
                  </a:cubicBezTo>
                  <a:cubicBezTo>
                    <a:pt x="66" y="204"/>
                    <a:pt x="66" y="204"/>
                    <a:pt x="66" y="204"/>
                  </a:cubicBezTo>
                  <a:cubicBezTo>
                    <a:pt x="61" y="205"/>
                    <a:pt x="63" y="200"/>
                    <a:pt x="60" y="198"/>
                  </a:cubicBezTo>
                  <a:cubicBezTo>
                    <a:pt x="59" y="198"/>
                    <a:pt x="58" y="199"/>
                    <a:pt x="56" y="198"/>
                  </a:cubicBezTo>
                  <a:cubicBezTo>
                    <a:pt x="55" y="197"/>
                    <a:pt x="55" y="195"/>
                    <a:pt x="53" y="195"/>
                  </a:cubicBezTo>
                  <a:cubicBezTo>
                    <a:pt x="52" y="191"/>
                    <a:pt x="43" y="191"/>
                    <a:pt x="40" y="191"/>
                  </a:cubicBezTo>
                  <a:cubicBezTo>
                    <a:pt x="41" y="187"/>
                    <a:pt x="38" y="186"/>
                    <a:pt x="35" y="186"/>
                  </a:cubicBezTo>
                  <a:cubicBezTo>
                    <a:pt x="35" y="184"/>
                    <a:pt x="35" y="183"/>
                    <a:pt x="35" y="181"/>
                  </a:cubicBezTo>
                  <a:cubicBezTo>
                    <a:pt x="35" y="181"/>
                    <a:pt x="35" y="181"/>
                    <a:pt x="35" y="181"/>
                  </a:cubicBezTo>
                  <a:cubicBezTo>
                    <a:pt x="35" y="180"/>
                    <a:pt x="35" y="179"/>
                    <a:pt x="35" y="178"/>
                  </a:cubicBezTo>
                  <a:cubicBezTo>
                    <a:pt x="34" y="177"/>
                    <a:pt x="34" y="177"/>
                    <a:pt x="34" y="175"/>
                  </a:cubicBezTo>
                  <a:cubicBezTo>
                    <a:pt x="34" y="175"/>
                    <a:pt x="35" y="174"/>
                    <a:pt x="36" y="173"/>
                  </a:cubicBezTo>
                  <a:cubicBezTo>
                    <a:pt x="36" y="172"/>
                    <a:pt x="36" y="170"/>
                    <a:pt x="36" y="170"/>
                  </a:cubicBezTo>
                  <a:cubicBezTo>
                    <a:pt x="36" y="168"/>
                    <a:pt x="36" y="167"/>
                    <a:pt x="35" y="165"/>
                  </a:cubicBezTo>
                  <a:cubicBezTo>
                    <a:pt x="35" y="165"/>
                    <a:pt x="34" y="163"/>
                    <a:pt x="34" y="163"/>
                  </a:cubicBezTo>
                  <a:cubicBezTo>
                    <a:pt x="34" y="160"/>
                    <a:pt x="36" y="159"/>
                    <a:pt x="36" y="156"/>
                  </a:cubicBezTo>
                  <a:cubicBezTo>
                    <a:pt x="36" y="156"/>
                    <a:pt x="36" y="155"/>
                    <a:pt x="36" y="155"/>
                  </a:cubicBezTo>
                  <a:cubicBezTo>
                    <a:pt x="36" y="154"/>
                    <a:pt x="35" y="154"/>
                    <a:pt x="35" y="153"/>
                  </a:cubicBezTo>
                  <a:cubicBezTo>
                    <a:pt x="35" y="152"/>
                    <a:pt x="35" y="152"/>
                    <a:pt x="36" y="151"/>
                  </a:cubicBezTo>
                  <a:cubicBezTo>
                    <a:pt x="36" y="149"/>
                    <a:pt x="35" y="147"/>
                    <a:pt x="34" y="145"/>
                  </a:cubicBezTo>
                  <a:cubicBezTo>
                    <a:pt x="33" y="141"/>
                    <a:pt x="33" y="137"/>
                    <a:pt x="33" y="132"/>
                  </a:cubicBezTo>
                  <a:cubicBezTo>
                    <a:pt x="32" y="132"/>
                    <a:pt x="32" y="132"/>
                    <a:pt x="32" y="132"/>
                  </a:cubicBezTo>
                  <a:cubicBezTo>
                    <a:pt x="32" y="130"/>
                    <a:pt x="32" y="127"/>
                    <a:pt x="32" y="125"/>
                  </a:cubicBezTo>
                  <a:cubicBezTo>
                    <a:pt x="30" y="124"/>
                    <a:pt x="32" y="120"/>
                    <a:pt x="32" y="119"/>
                  </a:cubicBezTo>
                  <a:cubicBezTo>
                    <a:pt x="32" y="118"/>
                    <a:pt x="32" y="116"/>
                    <a:pt x="33" y="115"/>
                  </a:cubicBezTo>
                  <a:cubicBezTo>
                    <a:pt x="34" y="114"/>
                    <a:pt x="39" y="115"/>
                    <a:pt x="41" y="115"/>
                  </a:cubicBezTo>
                  <a:cubicBezTo>
                    <a:pt x="43" y="115"/>
                    <a:pt x="42" y="116"/>
                    <a:pt x="43" y="113"/>
                  </a:cubicBezTo>
                  <a:cubicBezTo>
                    <a:pt x="44" y="112"/>
                    <a:pt x="44" y="111"/>
                    <a:pt x="45" y="110"/>
                  </a:cubicBezTo>
                  <a:cubicBezTo>
                    <a:pt x="45" y="109"/>
                    <a:pt x="44" y="106"/>
                    <a:pt x="45" y="106"/>
                  </a:cubicBezTo>
                  <a:cubicBezTo>
                    <a:pt x="45" y="105"/>
                    <a:pt x="48" y="105"/>
                    <a:pt x="49" y="105"/>
                  </a:cubicBezTo>
                  <a:cubicBezTo>
                    <a:pt x="49" y="105"/>
                    <a:pt x="50" y="104"/>
                    <a:pt x="50" y="104"/>
                  </a:cubicBezTo>
                  <a:cubicBezTo>
                    <a:pt x="51" y="103"/>
                    <a:pt x="52" y="103"/>
                    <a:pt x="53" y="103"/>
                  </a:cubicBezTo>
                  <a:cubicBezTo>
                    <a:pt x="54" y="103"/>
                    <a:pt x="55" y="104"/>
                    <a:pt x="56" y="103"/>
                  </a:cubicBezTo>
                  <a:cubicBezTo>
                    <a:pt x="57" y="103"/>
                    <a:pt x="57" y="102"/>
                    <a:pt x="58" y="101"/>
                  </a:cubicBezTo>
                  <a:cubicBezTo>
                    <a:pt x="58" y="101"/>
                    <a:pt x="60" y="101"/>
                    <a:pt x="60" y="100"/>
                  </a:cubicBezTo>
                  <a:cubicBezTo>
                    <a:pt x="61" y="99"/>
                    <a:pt x="60" y="98"/>
                    <a:pt x="61" y="97"/>
                  </a:cubicBezTo>
                  <a:cubicBezTo>
                    <a:pt x="61" y="96"/>
                    <a:pt x="61" y="96"/>
                    <a:pt x="62" y="95"/>
                  </a:cubicBezTo>
                  <a:cubicBezTo>
                    <a:pt x="63" y="94"/>
                    <a:pt x="64" y="91"/>
                    <a:pt x="63" y="90"/>
                  </a:cubicBezTo>
                  <a:cubicBezTo>
                    <a:pt x="62" y="88"/>
                    <a:pt x="60" y="89"/>
                    <a:pt x="58" y="88"/>
                  </a:cubicBezTo>
                  <a:cubicBezTo>
                    <a:pt x="57" y="86"/>
                    <a:pt x="55" y="86"/>
                    <a:pt x="54" y="85"/>
                  </a:cubicBezTo>
                  <a:cubicBezTo>
                    <a:pt x="53" y="84"/>
                    <a:pt x="53" y="83"/>
                    <a:pt x="52" y="83"/>
                  </a:cubicBezTo>
                  <a:cubicBezTo>
                    <a:pt x="51" y="82"/>
                    <a:pt x="50" y="83"/>
                    <a:pt x="49" y="83"/>
                  </a:cubicBezTo>
                  <a:cubicBezTo>
                    <a:pt x="46" y="81"/>
                    <a:pt x="47" y="74"/>
                    <a:pt x="50" y="74"/>
                  </a:cubicBezTo>
                  <a:cubicBezTo>
                    <a:pt x="50" y="73"/>
                    <a:pt x="51" y="72"/>
                    <a:pt x="52" y="72"/>
                  </a:cubicBezTo>
                  <a:cubicBezTo>
                    <a:pt x="52" y="72"/>
                    <a:pt x="52" y="71"/>
                    <a:pt x="52" y="70"/>
                  </a:cubicBezTo>
                  <a:cubicBezTo>
                    <a:pt x="49" y="68"/>
                    <a:pt x="45" y="69"/>
                    <a:pt x="41" y="68"/>
                  </a:cubicBezTo>
                  <a:cubicBezTo>
                    <a:pt x="40" y="68"/>
                    <a:pt x="39" y="68"/>
                    <a:pt x="39" y="67"/>
                  </a:cubicBezTo>
                  <a:cubicBezTo>
                    <a:pt x="38" y="67"/>
                    <a:pt x="37" y="66"/>
                    <a:pt x="36" y="65"/>
                  </a:cubicBezTo>
                  <a:cubicBezTo>
                    <a:pt x="35" y="64"/>
                    <a:pt x="33" y="65"/>
                    <a:pt x="32" y="64"/>
                  </a:cubicBezTo>
                  <a:cubicBezTo>
                    <a:pt x="30" y="64"/>
                    <a:pt x="30" y="62"/>
                    <a:pt x="29" y="61"/>
                  </a:cubicBezTo>
                  <a:cubicBezTo>
                    <a:pt x="28" y="60"/>
                    <a:pt x="27" y="61"/>
                    <a:pt x="26" y="59"/>
                  </a:cubicBezTo>
                  <a:cubicBezTo>
                    <a:pt x="26" y="58"/>
                    <a:pt x="26" y="57"/>
                    <a:pt x="26" y="55"/>
                  </a:cubicBezTo>
                  <a:cubicBezTo>
                    <a:pt x="25" y="54"/>
                    <a:pt x="24" y="53"/>
                    <a:pt x="24" y="52"/>
                  </a:cubicBezTo>
                  <a:cubicBezTo>
                    <a:pt x="23" y="52"/>
                    <a:pt x="21" y="52"/>
                    <a:pt x="21" y="52"/>
                  </a:cubicBezTo>
                  <a:cubicBezTo>
                    <a:pt x="20" y="51"/>
                    <a:pt x="19" y="52"/>
                    <a:pt x="19" y="52"/>
                  </a:cubicBezTo>
                  <a:cubicBezTo>
                    <a:pt x="18" y="51"/>
                    <a:pt x="19" y="50"/>
                    <a:pt x="18" y="50"/>
                  </a:cubicBezTo>
                  <a:cubicBezTo>
                    <a:pt x="16" y="50"/>
                    <a:pt x="15" y="52"/>
                    <a:pt x="12" y="51"/>
                  </a:cubicBezTo>
                  <a:cubicBezTo>
                    <a:pt x="12" y="51"/>
                    <a:pt x="12" y="51"/>
                    <a:pt x="12" y="51"/>
                  </a:cubicBezTo>
                  <a:cubicBezTo>
                    <a:pt x="10" y="50"/>
                    <a:pt x="10" y="53"/>
                    <a:pt x="8" y="52"/>
                  </a:cubicBezTo>
                  <a:cubicBezTo>
                    <a:pt x="8" y="50"/>
                    <a:pt x="4" y="51"/>
                    <a:pt x="4" y="48"/>
                  </a:cubicBezTo>
                  <a:cubicBezTo>
                    <a:pt x="4" y="48"/>
                    <a:pt x="2" y="48"/>
                    <a:pt x="1" y="48"/>
                  </a:cubicBezTo>
                  <a:cubicBezTo>
                    <a:pt x="0" y="47"/>
                    <a:pt x="2" y="47"/>
                    <a:pt x="2" y="46"/>
                  </a:cubicBezTo>
                  <a:cubicBezTo>
                    <a:pt x="2" y="44"/>
                    <a:pt x="3" y="43"/>
                    <a:pt x="2" y="41"/>
                  </a:cubicBezTo>
                  <a:cubicBezTo>
                    <a:pt x="2" y="40"/>
                    <a:pt x="1" y="40"/>
                    <a:pt x="1" y="39"/>
                  </a:cubicBezTo>
                  <a:cubicBezTo>
                    <a:pt x="1" y="39"/>
                    <a:pt x="3" y="37"/>
                    <a:pt x="3" y="36"/>
                  </a:cubicBezTo>
                  <a:cubicBezTo>
                    <a:pt x="3" y="35"/>
                    <a:pt x="3" y="34"/>
                    <a:pt x="4" y="33"/>
                  </a:cubicBezTo>
                  <a:cubicBezTo>
                    <a:pt x="5" y="31"/>
                    <a:pt x="7" y="33"/>
                    <a:pt x="9" y="33"/>
                  </a:cubicBezTo>
                  <a:cubicBezTo>
                    <a:pt x="10" y="32"/>
                    <a:pt x="10" y="32"/>
                    <a:pt x="10" y="32"/>
                  </a:cubicBezTo>
                  <a:cubicBezTo>
                    <a:pt x="10" y="27"/>
                    <a:pt x="18" y="28"/>
                    <a:pt x="17" y="23"/>
                  </a:cubicBezTo>
                  <a:cubicBezTo>
                    <a:pt x="19" y="23"/>
                    <a:pt x="21" y="23"/>
                    <a:pt x="22" y="23"/>
                  </a:cubicBezTo>
                  <a:cubicBezTo>
                    <a:pt x="23" y="22"/>
                    <a:pt x="23" y="20"/>
                    <a:pt x="24" y="18"/>
                  </a:cubicBezTo>
                  <a:cubicBezTo>
                    <a:pt x="26" y="18"/>
                    <a:pt x="27" y="17"/>
                    <a:pt x="27" y="15"/>
                  </a:cubicBezTo>
                  <a:cubicBezTo>
                    <a:pt x="28" y="14"/>
                    <a:pt x="29" y="13"/>
                    <a:pt x="30" y="12"/>
                  </a:cubicBezTo>
                  <a:cubicBezTo>
                    <a:pt x="31" y="12"/>
                    <a:pt x="33" y="12"/>
                    <a:pt x="34" y="12"/>
                  </a:cubicBezTo>
                  <a:cubicBezTo>
                    <a:pt x="37" y="12"/>
                    <a:pt x="40" y="11"/>
                    <a:pt x="43" y="12"/>
                  </a:cubicBezTo>
                  <a:cubicBezTo>
                    <a:pt x="46" y="13"/>
                    <a:pt x="48" y="15"/>
                    <a:pt x="52" y="14"/>
                  </a:cubicBezTo>
                  <a:cubicBezTo>
                    <a:pt x="53" y="14"/>
                    <a:pt x="54" y="13"/>
                    <a:pt x="56" y="13"/>
                  </a:cubicBezTo>
                  <a:cubicBezTo>
                    <a:pt x="58" y="13"/>
                    <a:pt x="59" y="13"/>
                    <a:pt x="60" y="13"/>
                  </a:cubicBezTo>
                  <a:cubicBezTo>
                    <a:pt x="60" y="12"/>
                    <a:pt x="60" y="11"/>
                    <a:pt x="60" y="10"/>
                  </a:cubicBezTo>
                  <a:cubicBezTo>
                    <a:pt x="59" y="10"/>
                    <a:pt x="59" y="10"/>
                    <a:pt x="58" y="9"/>
                  </a:cubicBezTo>
                  <a:cubicBezTo>
                    <a:pt x="57" y="5"/>
                    <a:pt x="54" y="7"/>
                    <a:pt x="51" y="5"/>
                  </a:cubicBezTo>
                  <a:cubicBezTo>
                    <a:pt x="53" y="4"/>
                    <a:pt x="59" y="6"/>
                    <a:pt x="62" y="6"/>
                  </a:cubicBezTo>
                  <a:cubicBezTo>
                    <a:pt x="66" y="7"/>
                    <a:pt x="68" y="9"/>
                    <a:pt x="72" y="8"/>
                  </a:cubicBezTo>
                  <a:cubicBezTo>
                    <a:pt x="72" y="8"/>
                    <a:pt x="72" y="7"/>
                    <a:pt x="72" y="6"/>
                  </a:cubicBezTo>
                  <a:cubicBezTo>
                    <a:pt x="75" y="6"/>
                    <a:pt x="77" y="5"/>
                    <a:pt x="80" y="4"/>
                  </a:cubicBezTo>
                  <a:cubicBezTo>
                    <a:pt x="82" y="4"/>
                    <a:pt x="84" y="2"/>
                    <a:pt x="87" y="3"/>
                  </a:cubicBezTo>
                  <a:cubicBezTo>
                    <a:pt x="88" y="3"/>
                    <a:pt x="89" y="4"/>
                    <a:pt x="90" y="4"/>
                  </a:cubicBezTo>
                  <a:cubicBezTo>
                    <a:pt x="92" y="3"/>
                    <a:pt x="92" y="1"/>
                    <a:pt x="93" y="1"/>
                  </a:cubicBezTo>
                  <a:cubicBezTo>
                    <a:pt x="94" y="1"/>
                    <a:pt x="96" y="0"/>
                    <a:pt x="97" y="1"/>
                  </a:cubicBezTo>
                  <a:cubicBezTo>
                    <a:pt x="98" y="1"/>
                    <a:pt x="98" y="2"/>
                    <a:pt x="100" y="3"/>
                  </a:cubicBezTo>
                  <a:cubicBezTo>
                    <a:pt x="101" y="6"/>
                    <a:pt x="103" y="5"/>
                    <a:pt x="106" y="4"/>
                  </a:cubicBezTo>
                  <a:cubicBezTo>
                    <a:pt x="107" y="3"/>
                    <a:pt x="109" y="4"/>
                    <a:pt x="110" y="4"/>
                  </a:cubicBezTo>
                  <a:cubicBezTo>
                    <a:pt x="111" y="4"/>
                    <a:pt x="112" y="3"/>
                    <a:pt x="112" y="4"/>
                  </a:cubicBezTo>
                  <a:cubicBezTo>
                    <a:pt x="113" y="4"/>
                    <a:pt x="113" y="4"/>
                    <a:pt x="113" y="5"/>
                  </a:cubicBezTo>
                  <a:cubicBezTo>
                    <a:pt x="115" y="6"/>
                    <a:pt x="118" y="6"/>
                    <a:pt x="120" y="6"/>
                  </a:cubicBezTo>
                  <a:cubicBezTo>
                    <a:pt x="124" y="6"/>
                    <a:pt x="125" y="6"/>
                    <a:pt x="125" y="9"/>
                  </a:cubicBezTo>
                  <a:cubicBezTo>
                    <a:pt x="125" y="11"/>
                    <a:pt x="124" y="14"/>
                    <a:pt x="125" y="16"/>
                  </a:cubicBezTo>
                  <a:cubicBezTo>
                    <a:pt x="125" y="17"/>
                    <a:pt x="126" y="18"/>
                    <a:pt x="128" y="18"/>
                  </a:cubicBezTo>
                  <a:cubicBezTo>
                    <a:pt x="129" y="17"/>
                    <a:pt x="129" y="16"/>
                    <a:pt x="130" y="16"/>
                  </a:cubicBezTo>
                  <a:cubicBezTo>
                    <a:pt x="135" y="14"/>
                    <a:pt x="139" y="18"/>
                    <a:pt x="142" y="21"/>
                  </a:cubicBezTo>
                  <a:cubicBezTo>
                    <a:pt x="143" y="23"/>
                    <a:pt x="143" y="25"/>
                    <a:pt x="144" y="27"/>
                  </a:cubicBezTo>
                  <a:cubicBezTo>
                    <a:pt x="145" y="29"/>
                    <a:pt x="146" y="31"/>
                    <a:pt x="147" y="33"/>
                  </a:cubicBezTo>
                  <a:cubicBezTo>
                    <a:pt x="148" y="34"/>
                    <a:pt x="150" y="34"/>
                    <a:pt x="151" y="35"/>
                  </a:cubicBezTo>
                  <a:cubicBezTo>
                    <a:pt x="152" y="36"/>
                    <a:pt x="152" y="38"/>
                    <a:pt x="154" y="39"/>
                  </a:cubicBezTo>
                  <a:cubicBezTo>
                    <a:pt x="157" y="40"/>
                    <a:pt x="161" y="37"/>
                    <a:pt x="163" y="41"/>
                  </a:cubicBezTo>
                  <a:cubicBezTo>
                    <a:pt x="164" y="43"/>
                    <a:pt x="164" y="46"/>
                    <a:pt x="168" y="47"/>
                  </a:cubicBezTo>
                  <a:cubicBezTo>
                    <a:pt x="171" y="48"/>
                    <a:pt x="172" y="47"/>
                    <a:pt x="174" y="49"/>
                  </a:cubicBezTo>
                  <a:cubicBezTo>
                    <a:pt x="175" y="50"/>
                    <a:pt x="176" y="52"/>
                    <a:pt x="177" y="54"/>
                  </a:cubicBezTo>
                  <a:cubicBezTo>
                    <a:pt x="177" y="57"/>
                    <a:pt x="176" y="60"/>
                    <a:pt x="179" y="63"/>
                  </a:cubicBezTo>
                  <a:cubicBezTo>
                    <a:pt x="181" y="65"/>
                    <a:pt x="182" y="65"/>
                    <a:pt x="186" y="65"/>
                  </a:cubicBezTo>
                  <a:cubicBezTo>
                    <a:pt x="188" y="65"/>
                    <a:pt x="191" y="65"/>
                    <a:pt x="193" y="66"/>
                  </a:cubicBezTo>
                  <a:cubicBezTo>
                    <a:pt x="194" y="67"/>
                    <a:pt x="194" y="68"/>
                    <a:pt x="195" y="69"/>
                  </a:cubicBezTo>
                  <a:cubicBezTo>
                    <a:pt x="195" y="69"/>
                    <a:pt x="197" y="70"/>
                    <a:pt x="198" y="70"/>
                  </a:cubicBezTo>
                  <a:cubicBezTo>
                    <a:pt x="200" y="70"/>
                    <a:pt x="202" y="70"/>
                    <a:pt x="204" y="72"/>
                  </a:cubicBezTo>
                  <a:cubicBezTo>
                    <a:pt x="204" y="72"/>
                    <a:pt x="204" y="73"/>
                    <a:pt x="205" y="73"/>
                  </a:cubicBezTo>
                  <a:cubicBezTo>
                    <a:pt x="205" y="73"/>
                    <a:pt x="206" y="73"/>
                    <a:pt x="206" y="74"/>
                  </a:cubicBezTo>
                  <a:cubicBezTo>
                    <a:pt x="207" y="75"/>
                    <a:pt x="207" y="75"/>
                    <a:pt x="207" y="77"/>
                  </a:cubicBezTo>
                  <a:cubicBezTo>
                    <a:pt x="205" y="77"/>
                    <a:pt x="197" y="80"/>
                    <a:pt x="201" y="82"/>
                  </a:cubicBezTo>
                  <a:cubicBezTo>
                    <a:pt x="202" y="82"/>
                    <a:pt x="205" y="81"/>
                    <a:pt x="206" y="81"/>
                  </a:cubicBezTo>
                  <a:cubicBezTo>
                    <a:pt x="208" y="81"/>
                    <a:pt x="209" y="81"/>
                    <a:pt x="211" y="81"/>
                  </a:cubicBezTo>
                  <a:cubicBezTo>
                    <a:pt x="213" y="81"/>
                    <a:pt x="214" y="82"/>
                    <a:pt x="216" y="81"/>
                  </a:cubicBezTo>
                  <a:cubicBezTo>
                    <a:pt x="218" y="81"/>
                    <a:pt x="218" y="80"/>
                    <a:pt x="220" y="81"/>
                  </a:cubicBezTo>
                  <a:cubicBezTo>
                    <a:pt x="222" y="82"/>
                    <a:pt x="223" y="83"/>
                    <a:pt x="225" y="81"/>
                  </a:cubicBezTo>
                  <a:cubicBezTo>
                    <a:pt x="226" y="79"/>
                    <a:pt x="225" y="78"/>
                    <a:pt x="228" y="77"/>
                  </a:cubicBezTo>
                  <a:cubicBezTo>
                    <a:pt x="230" y="77"/>
                    <a:pt x="233" y="78"/>
                    <a:pt x="236" y="78"/>
                  </a:cubicBezTo>
                  <a:cubicBezTo>
                    <a:pt x="236" y="77"/>
                    <a:pt x="237" y="77"/>
                    <a:pt x="237" y="76"/>
                  </a:cubicBezTo>
                  <a:cubicBezTo>
                    <a:pt x="238" y="76"/>
                    <a:pt x="239" y="76"/>
                    <a:pt x="239" y="75"/>
                  </a:cubicBezTo>
                  <a:cubicBezTo>
                    <a:pt x="240" y="75"/>
                    <a:pt x="241" y="74"/>
                    <a:pt x="242" y="73"/>
                  </a:cubicBezTo>
                  <a:cubicBezTo>
                    <a:pt x="243" y="73"/>
                    <a:pt x="244" y="74"/>
                    <a:pt x="245" y="74"/>
                  </a:cubicBezTo>
                  <a:cubicBezTo>
                    <a:pt x="246" y="73"/>
                    <a:pt x="247" y="73"/>
                    <a:pt x="248" y="72"/>
                  </a:cubicBezTo>
                  <a:cubicBezTo>
                    <a:pt x="250" y="71"/>
                    <a:pt x="252" y="71"/>
                    <a:pt x="254" y="70"/>
                  </a:cubicBezTo>
                  <a:cubicBezTo>
                    <a:pt x="256" y="69"/>
                    <a:pt x="258" y="68"/>
                    <a:pt x="260" y="67"/>
                  </a:cubicBezTo>
                  <a:cubicBezTo>
                    <a:pt x="263" y="66"/>
                    <a:pt x="269" y="68"/>
                    <a:pt x="272" y="68"/>
                  </a:cubicBezTo>
                  <a:cubicBezTo>
                    <a:pt x="274" y="68"/>
                    <a:pt x="277" y="69"/>
                    <a:pt x="278" y="68"/>
                  </a:cubicBezTo>
                  <a:cubicBezTo>
                    <a:pt x="280" y="68"/>
                    <a:pt x="280" y="66"/>
                    <a:pt x="281" y="64"/>
                  </a:cubicBezTo>
                  <a:cubicBezTo>
                    <a:pt x="282" y="64"/>
                    <a:pt x="283" y="62"/>
                    <a:pt x="286" y="63"/>
                  </a:cubicBezTo>
                  <a:cubicBezTo>
                    <a:pt x="287" y="64"/>
                    <a:pt x="288" y="65"/>
                    <a:pt x="288" y="67"/>
                  </a:cubicBezTo>
                  <a:cubicBezTo>
                    <a:pt x="291" y="67"/>
                    <a:pt x="295" y="69"/>
                    <a:pt x="298" y="70"/>
                  </a:cubicBezTo>
                  <a:cubicBezTo>
                    <a:pt x="302" y="72"/>
                    <a:pt x="304" y="73"/>
                    <a:pt x="308" y="72"/>
                  </a:cubicBezTo>
                  <a:cubicBezTo>
                    <a:pt x="313" y="71"/>
                    <a:pt x="314" y="72"/>
                    <a:pt x="316" y="76"/>
                  </a:cubicBezTo>
                  <a:cubicBezTo>
                    <a:pt x="317" y="77"/>
                    <a:pt x="318" y="79"/>
                    <a:pt x="320" y="80"/>
                  </a:cubicBezTo>
                  <a:cubicBezTo>
                    <a:pt x="321" y="80"/>
                    <a:pt x="322" y="80"/>
                    <a:pt x="323" y="80"/>
                  </a:cubicBezTo>
                  <a:cubicBezTo>
                    <a:pt x="323" y="81"/>
                    <a:pt x="324" y="81"/>
                    <a:pt x="324" y="81"/>
                  </a:cubicBezTo>
                  <a:cubicBezTo>
                    <a:pt x="325" y="83"/>
                    <a:pt x="326" y="84"/>
                    <a:pt x="326" y="85"/>
                  </a:cubicBezTo>
                  <a:cubicBezTo>
                    <a:pt x="328" y="88"/>
                    <a:pt x="326" y="88"/>
                    <a:pt x="325" y="90"/>
                  </a:cubicBezTo>
                  <a:cubicBezTo>
                    <a:pt x="323" y="93"/>
                    <a:pt x="325" y="97"/>
                    <a:pt x="323" y="100"/>
                  </a:cubicBezTo>
                  <a:cubicBezTo>
                    <a:pt x="319" y="101"/>
                    <a:pt x="321" y="107"/>
                    <a:pt x="320" y="110"/>
                  </a:cubicBezTo>
                  <a:cubicBezTo>
                    <a:pt x="319" y="110"/>
                    <a:pt x="319" y="112"/>
                    <a:pt x="319" y="113"/>
                  </a:cubicBezTo>
                  <a:cubicBezTo>
                    <a:pt x="318" y="115"/>
                    <a:pt x="318" y="115"/>
                    <a:pt x="317" y="116"/>
                  </a:cubicBezTo>
                  <a:cubicBezTo>
                    <a:pt x="315" y="119"/>
                    <a:pt x="315" y="121"/>
                    <a:pt x="315" y="124"/>
                  </a:cubicBezTo>
                  <a:cubicBezTo>
                    <a:pt x="312" y="124"/>
                    <a:pt x="310" y="123"/>
                    <a:pt x="307" y="124"/>
                  </a:cubicBezTo>
                  <a:cubicBezTo>
                    <a:pt x="305" y="126"/>
                    <a:pt x="303" y="127"/>
                    <a:pt x="302" y="129"/>
                  </a:cubicBezTo>
                  <a:cubicBezTo>
                    <a:pt x="302" y="130"/>
                    <a:pt x="303" y="132"/>
                    <a:pt x="302" y="133"/>
                  </a:cubicBezTo>
                  <a:cubicBezTo>
                    <a:pt x="301" y="134"/>
                    <a:pt x="298" y="133"/>
                    <a:pt x="297" y="133"/>
                  </a:cubicBezTo>
                  <a:cubicBezTo>
                    <a:pt x="295" y="133"/>
                    <a:pt x="293" y="134"/>
                    <a:pt x="291" y="134"/>
                  </a:cubicBezTo>
                  <a:cubicBezTo>
                    <a:pt x="292" y="135"/>
                    <a:pt x="293" y="137"/>
                    <a:pt x="293" y="138"/>
                  </a:cubicBezTo>
                  <a:cubicBezTo>
                    <a:pt x="293" y="140"/>
                    <a:pt x="292" y="141"/>
                    <a:pt x="292" y="142"/>
                  </a:cubicBezTo>
                  <a:cubicBezTo>
                    <a:pt x="292" y="143"/>
                    <a:pt x="293" y="144"/>
                    <a:pt x="293" y="145"/>
                  </a:cubicBezTo>
                  <a:cubicBezTo>
                    <a:pt x="293" y="147"/>
                    <a:pt x="291" y="149"/>
                    <a:pt x="289" y="150"/>
                  </a:cubicBezTo>
                  <a:cubicBezTo>
                    <a:pt x="288" y="151"/>
                    <a:pt x="287" y="150"/>
                    <a:pt x="287" y="152"/>
                  </a:cubicBezTo>
                  <a:cubicBezTo>
                    <a:pt x="287" y="152"/>
                    <a:pt x="287" y="154"/>
                    <a:pt x="287" y="154"/>
                  </a:cubicBezTo>
                  <a:cubicBezTo>
                    <a:pt x="285" y="154"/>
                    <a:pt x="284" y="154"/>
                    <a:pt x="282" y="154"/>
                  </a:cubicBezTo>
                  <a:cubicBezTo>
                    <a:pt x="279" y="155"/>
                    <a:pt x="278" y="154"/>
                    <a:pt x="276" y="153"/>
                  </a:cubicBezTo>
                  <a:cubicBezTo>
                    <a:pt x="275" y="153"/>
                    <a:pt x="274" y="153"/>
                    <a:pt x="273" y="153"/>
                  </a:cubicBezTo>
                  <a:cubicBezTo>
                    <a:pt x="272" y="153"/>
                    <a:pt x="271" y="152"/>
                    <a:pt x="270" y="152"/>
                  </a:cubicBezTo>
                  <a:cubicBezTo>
                    <a:pt x="269" y="152"/>
                    <a:pt x="267" y="154"/>
                    <a:pt x="266" y="155"/>
                  </a:cubicBezTo>
                  <a:cubicBezTo>
                    <a:pt x="266" y="155"/>
                    <a:pt x="266" y="155"/>
                    <a:pt x="266" y="155"/>
                  </a:cubicBezTo>
                  <a:cubicBezTo>
                    <a:pt x="268" y="160"/>
                    <a:pt x="269" y="165"/>
                    <a:pt x="271" y="169"/>
                  </a:cubicBezTo>
                  <a:cubicBezTo>
                    <a:pt x="272" y="171"/>
                    <a:pt x="272" y="171"/>
                    <a:pt x="271" y="172"/>
                  </a:cubicBezTo>
                  <a:cubicBezTo>
                    <a:pt x="265" y="173"/>
                    <a:pt x="265" y="173"/>
                    <a:pt x="265" y="173"/>
                  </a:cubicBezTo>
                  <a:cubicBezTo>
                    <a:pt x="266" y="175"/>
                    <a:pt x="265" y="178"/>
                    <a:pt x="265" y="181"/>
                  </a:cubicBezTo>
                  <a:cubicBezTo>
                    <a:pt x="266" y="185"/>
                    <a:pt x="270" y="189"/>
                    <a:pt x="274" y="190"/>
                  </a:cubicBezTo>
                  <a:cubicBezTo>
                    <a:pt x="278" y="190"/>
                    <a:pt x="287" y="190"/>
                    <a:pt x="283" y="196"/>
                  </a:cubicBezTo>
                  <a:cubicBezTo>
                    <a:pt x="282" y="198"/>
                    <a:pt x="280" y="199"/>
                    <a:pt x="281" y="202"/>
                  </a:cubicBezTo>
                  <a:cubicBezTo>
                    <a:pt x="281" y="205"/>
                    <a:pt x="284" y="206"/>
                    <a:pt x="285" y="208"/>
                  </a:cubicBezTo>
                  <a:cubicBezTo>
                    <a:pt x="286" y="209"/>
                    <a:pt x="286" y="210"/>
                    <a:pt x="286" y="211"/>
                  </a:cubicBezTo>
                  <a:cubicBezTo>
                    <a:pt x="287" y="212"/>
                    <a:pt x="288" y="213"/>
                    <a:pt x="289" y="213"/>
                  </a:cubicBezTo>
                  <a:cubicBezTo>
                    <a:pt x="290" y="215"/>
                    <a:pt x="289" y="217"/>
                    <a:pt x="291" y="219"/>
                  </a:cubicBezTo>
                  <a:cubicBezTo>
                    <a:pt x="289" y="219"/>
                    <a:pt x="288" y="220"/>
                    <a:pt x="287" y="221"/>
                  </a:cubicBezTo>
                  <a:cubicBezTo>
                    <a:pt x="285" y="221"/>
                    <a:pt x="285" y="222"/>
                    <a:pt x="284" y="223"/>
                  </a:cubicBezTo>
                  <a:cubicBezTo>
                    <a:pt x="283" y="225"/>
                    <a:pt x="283" y="226"/>
                    <a:pt x="282" y="226"/>
                  </a:cubicBezTo>
                  <a:cubicBezTo>
                    <a:pt x="280" y="226"/>
                    <a:pt x="279" y="225"/>
                    <a:pt x="279" y="224"/>
                  </a:cubicBezTo>
                  <a:cubicBezTo>
                    <a:pt x="277" y="225"/>
                    <a:pt x="274" y="227"/>
                    <a:pt x="275" y="229"/>
                  </a:cubicBezTo>
                  <a:cubicBezTo>
                    <a:pt x="275" y="229"/>
                    <a:pt x="271" y="230"/>
                    <a:pt x="271" y="230"/>
                  </a:cubicBezTo>
                  <a:cubicBezTo>
                    <a:pt x="270" y="230"/>
                    <a:pt x="270" y="231"/>
                    <a:pt x="269" y="232"/>
                  </a:cubicBezTo>
                  <a:cubicBezTo>
                    <a:pt x="269" y="232"/>
                    <a:pt x="269" y="232"/>
                    <a:pt x="269" y="233"/>
                  </a:cubicBezTo>
                  <a:cubicBezTo>
                    <a:pt x="268" y="233"/>
                    <a:pt x="268" y="233"/>
                    <a:pt x="268" y="233"/>
                  </a:cubicBezTo>
                  <a:cubicBezTo>
                    <a:pt x="266" y="234"/>
                    <a:pt x="265" y="234"/>
                    <a:pt x="265" y="236"/>
                  </a:cubicBezTo>
                  <a:cubicBezTo>
                    <a:pt x="265" y="237"/>
                    <a:pt x="262" y="234"/>
                    <a:pt x="262" y="234"/>
                  </a:cubicBezTo>
                  <a:cubicBezTo>
                    <a:pt x="260" y="233"/>
                    <a:pt x="259" y="231"/>
                    <a:pt x="257" y="231"/>
                  </a:cubicBezTo>
                  <a:cubicBezTo>
                    <a:pt x="257" y="230"/>
                    <a:pt x="257" y="229"/>
                    <a:pt x="257" y="228"/>
                  </a:cubicBezTo>
                  <a:cubicBezTo>
                    <a:pt x="256" y="228"/>
                    <a:pt x="256" y="227"/>
                    <a:pt x="255" y="227"/>
                  </a:cubicBezTo>
                  <a:cubicBezTo>
                    <a:pt x="254" y="224"/>
                    <a:pt x="256" y="221"/>
                    <a:pt x="256" y="218"/>
                  </a:cubicBezTo>
                  <a:cubicBezTo>
                    <a:pt x="255" y="218"/>
                    <a:pt x="255" y="218"/>
                    <a:pt x="255" y="218"/>
                  </a:cubicBezTo>
                  <a:cubicBezTo>
                    <a:pt x="254" y="219"/>
                    <a:pt x="253" y="219"/>
                    <a:pt x="253" y="221"/>
                  </a:cubicBezTo>
                  <a:cubicBezTo>
                    <a:pt x="250" y="221"/>
                    <a:pt x="244" y="221"/>
                    <a:pt x="243" y="225"/>
                  </a:cubicBezTo>
                  <a:cubicBezTo>
                    <a:pt x="242" y="225"/>
                    <a:pt x="240" y="225"/>
                    <a:pt x="241" y="227"/>
                  </a:cubicBezTo>
                  <a:cubicBezTo>
                    <a:pt x="241" y="227"/>
                    <a:pt x="243" y="228"/>
                    <a:pt x="243" y="228"/>
                  </a:cubicBezTo>
                  <a:cubicBezTo>
                    <a:pt x="244" y="229"/>
                    <a:pt x="245" y="230"/>
                    <a:pt x="245" y="231"/>
                  </a:cubicBezTo>
                  <a:cubicBezTo>
                    <a:pt x="244" y="231"/>
                    <a:pt x="244" y="231"/>
                    <a:pt x="244" y="231"/>
                  </a:cubicBezTo>
                  <a:cubicBezTo>
                    <a:pt x="243" y="231"/>
                    <a:pt x="243" y="231"/>
                    <a:pt x="242" y="230"/>
                  </a:cubicBezTo>
                  <a:cubicBezTo>
                    <a:pt x="241" y="229"/>
                    <a:pt x="241" y="228"/>
                    <a:pt x="239" y="228"/>
                  </a:cubicBezTo>
                  <a:cubicBezTo>
                    <a:pt x="238" y="228"/>
                    <a:pt x="236" y="228"/>
                    <a:pt x="235" y="229"/>
                  </a:cubicBezTo>
                  <a:cubicBezTo>
                    <a:pt x="236" y="228"/>
                    <a:pt x="236" y="226"/>
                    <a:pt x="238" y="227"/>
                  </a:cubicBezTo>
                  <a:cubicBezTo>
                    <a:pt x="239" y="224"/>
                    <a:pt x="242" y="212"/>
                    <a:pt x="235" y="216"/>
                  </a:cubicBezTo>
                  <a:cubicBezTo>
                    <a:pt x="234" y="216"/>
                    <a:pt x="234" y="217"/>
                    <a:pt x="234" y="217"/>
                  </a:cubicBezTo>
                  <a:cubicBezTo>
                    <a:pt x="233" y="217"/>
                    <a:pt x="232" y="217"/>
                    <a:pt x="232" y="217"/>
                  </a:cubicBezTo>
                  <a:cubicBezTo>
                    <a:pt x="231" y="218"/>
                    <a:pt x="231" y="219"/>
                    <a:pt x="229" y="219"/>
                  </a:cubicBezTo>
                  <a:cubicBezTo>
                    <a:pt x="228" y="220"/>
                    <a:pt x="227" y="219"/>
                    <a:pt x="225" y="219"/>
                  </a:cubicBezTo>
                  <a:cubicBezTo>
                    <a:pt x="224" y="218"/>
                    <a:pt x="223" y="219"/>
                    <a:pt x="221" y="218"/>
                  </a:cubicBezTo>
                  <a:cubicBezTo>
                    <a:pt x="221" y="217"/>
                    <a:pt x="222" y="215"/>
                    <a:pt x="221" y="214"/>
                  </a:cubicBezTo>
                  <a:cubicBezTo>
                    <a:pt x="221" y="212"/>
                    <a:pt x="219" y="211"/>
                    <a:pt x="218" y="210"/>
                  </a:cubicBezTo>
                  <a:cubicBezTo>
                    <a:pt x="217" y="208"/>
                    <a:pt x="215" y="208"/>
                    <a:pt x="214" y="206"/>
                  </a:cubicBezTo>
                  <a:cubicBezTo>
                    <a:pt x="213" y="205"/>
                    <a:pt x="214" y="203"/>
                    <a:pt x="214" y="202"/>
                  </a:cubicBezTo>
                  <a:cubicBezTo>
                    <a:pt x="211" y="201"/>
                    <a:pt x="209" y="204"/>
                    <a:pt x="207" y="204"/>
                  </a:cubicBezTo>
                  <a:cubicBezTo>
                    <a:pt x="204" y="205"/>
                    <a:pt x="201" y="206"/>
                    <a:pt x="198" y="206"/>
                  </a:cubicBezTo>
                  <a:cubicBezTo>
                    <a:pt x="195" y="206"/>
                    <a:pt x="192" y="206"/>
                    <a:pt x="190" y="204"/>
                  </a:cubicBezTo>
                  <a:cubicBezTo>
                    <a:pt x="189" y="202"/>
                    <a:pt x="189" y="201"/>
                    <a:pt x="187" y="201"/>
                  </a:cubicBezTo>
                  <a:cubicBezTo>
                    <a:pt x="186" y="201"/>
                    <a:pt x="184" y="201"/>
                    <a:pt x="182" y="201"/>
                  </a:cubicBezTo>
                  <a:cubicBezTo>
                    <a:pt x="182" y="200"/>
                    <a:pt x="180" y="199"/>
                    <a:pt x="179" y="197"/>
                  </a:cubicBezTo>
                  <a:cubicBezTo>
                    <a:pt x="178" y="195"/>
                    <a:pt x="179" y="195"/>
                    <a:pt x="176" y="195"/>
                  </a:cubicBezTo>
                  <a:cubicBezTo>
                    <a:pt x="175" y="195"/>
                    <a:pt x="173" y="195"/>
                    <a:pt x="172" y="194"/>
                  </a:cubicBezTo>
                  <a:cubicBezTo>
                    <a:pt x="170" y="193"/>
                    <a:pt x="171" y="191"/>
                    <a:pt x="171" y="190"/>
                  </a:cubicBezTo>
                  <a:cubicBezTo>
                    <a:pt x="167" y="189"/>
                    <a:pt x="163" y="189"/>
                    <a:pt x="159" y="189"/>
                  </a:cubicBezTo>
                  <a:cubicBezTo>
                    <a:pt x="155" y="189"/>
                    <a:pt x="151" y="188"/>
                    <a:pt x="150" y="192"/>
                  </a:cubicBezTo>
                  <a:cubicBezTo>
                    <a:pt x="148" y="193"/>
                    <a:pt x="149" y="196"/>
                    <a:pt x="146" y="197"/>
                  </a:cubicBezTo>
                  <a:cubicBezTo>
                    <a:pt x="145" y="198"/>
                    <a:pt x="142" y="197"/>
                    <a:pt x="140" y="197"/>
                  </a:cubicBezTo>
                  <a:cubicBezTo>
                    <a:pt x="139" y="198"/>
                    <a:pt x="139" y="199"/>
                    <a:pt x="139" y="200"/>
                  </a:cubicBezTo>
                  <a:cubicBezTo>
                    <a:pt x="138" y="200"/>
                    <a:pt x="138" y="200"/>
                    <a:pt x="137" y="200"/>
                  </a:cubicBezTo>
                  <a:cubicBezTo>
                    <a:pt x="137" y="201"/>
                    <a:pt x="137" y="201"/>
                    <a:pt x="136" y="202"/>
                  </a:cubicBezTo>
                  <a:cubicBezTo>
                    <a:pt x="135" y="203"/>
                    <a:pt x="135" y="203"/>
                    <a:pt x="133" y="202"/>
                  </a:cubicBezTo>
                  <a:cubicBezTo>
                    <a:pt x="132" y="202"/>
                    <a:pt x="132" y="201"/>
                    <a:pt x="131" y="200"/>
                  </a:cubicBezTo>
                  <a:cubicBezTo>
                    <a:pt x="130" y="200"/>
                    <a:pt x="130" y="200"/>
                    <a:pt x="129" y="200"/>
                  </a:cubicBezTo>
                  <a:cubicBezTo>
                    <a:pt x="128" y="202"/>
                    <a:pt x="128" y="203"/>
                    <a:pt x="128" y="204"/>
                  </a:cubicBezTo>
                  <a:cubicBezTo>
                    <a:pt x="130" y="204"/>
                    <a:pt x="131" y="204"/>
                    <a:pt x="131" y="206"/>
                  </a:cubicBezTo>
                  <a:cubicBezTo>
                    <a:pt x="132" y="208"/>
                    <a:pt x="131" y="209"/>
                    <a:pt x="131" y="211"/>
                  </a:cubicBezTo>
                  <a:cubicBezTo>
                    <a:pt x="130" y="214"/>
                    <a:pt x="131" y="217"/>
                    <a:pt x="128" y="219"/>
                  </a:cubicBezTo>
                  <a:cubicBezTo>
                    <a:pt x="128" y="219"/>
                    <a:pt x="127" y="219"/>
                    <a:pt x="127" y="220"/>
                  </a:cubicBezTo>
                  <a:cubicBezTo>
                    <a:pt x="126" y="220"/>
                    <a:pt x="126" y="220"/>
                    <a:pt x="126" y="220"/>
                  </a:cubicBezTo>
                  <a:cubicBezTo>
                    <a:pt x="125" y="220"/>
                    <a:pt x="126" y="221"/>
                    <a:pt x="125" y="221"/>
                  </a:cubicBezTo>
                  <a:cubicBezTo>
                    <a:pt x="123" y="222"/>
                    <a:pt x="123" y="220"/>
                    <a:pt x="122" y="223"/>
                  </a:cubicBezTo>
                  <a:cubicBezTo>
                    <a:pt x="122" y="224"/>
                    <a:pt x="122" y="225"/>
                    <a:pt x="120" y="225"/>
                  </a:cubicBezTo>
                  <a:cubicBezTo>
                    <a:pt x="118" y="225"/>
                    <a:pt x="117" y="225"/>
                    <a:pt x="115" y="225"/>
                  </a:cubicBezTo>
                  <a:cubicBezTo>
                    <a:pt x="115" y="227"/>
                    <a:pt x="113" y="226"/>
                    <a:pt x="113" y="228"/>
                  </a:cubicBezTo>
                  <a:cubicBezTo>
                    <a:pt x="111" y="229"/>
                    <a:pt x="110" y="228"/>
                    <a:pt x="108" y="227"/>
                  </a:cubicBezTo>
                  <a:cubicBezTo>
                    <a:pt x="107" y="227"/>
                    <a:pt x="106" y="227"/>
                    <a:pt x="105" y="227"/>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46" name="Freeform 440"/>
            <p:cNvSpPr>
              <a:spLocks/>
            </p:cNvSpPr>
            <p:nvPr/>
          </p:nvSpPr>
          <p:spPr bwMode="auto">
            <a:xfrm>
              <a:off x="5988051" y="3355976"/>
              <a:ext cx="187325" cy="257175"/>
            </a:xfrm>
            <a:custGeom>
              <a:avLst/>
              <a:gdLst>
                <a:gd name="T0" fmla="*/ 51 w 53"/>
                <a:gd name="T1" fmla="*/ 19 h 73"/>
                <a:gd name="T2" fmla="*/ 52 w 53"/>
                <a:gd name="T3" fmla="*/ 15 h 73"/>
                <a:gd name="T4" fmla="*/ 50 w 53"/>
                <a:gd name="T5" fmla="*/ 12 h 73"/>
                <a:gd name="T6" fmla="*/ 50 w 53"/>
                <a:gd name="T7" fmla="*/ 7 h 73"/>
                <a:gd name="T8" fmla="*/ 45 w 53"/>
                <a:gd name="T9" fmla="*/ 7 h 73"/>
                <a:gd name="T10" fmla="*/ 45 w 53"/>
                <a:gd name="T11" fmla="*/ 1 h 73"/>
                <a:gd name="T12" fmla="*/ 44 w 53"/>
                <a:gd name="T13" fmla="*/ 0 h 73"/>
                <a:gd name="T14" fmla="*/ 41 w 53"/>
                <a:gd name="T15" fmla="*/ 3 h 73"/>
                <a:gd name="T16" fmla="*/ 41 w 53"/>
                <a:gd name="T17" fmla="*/ 3 h 73"/>
                <a:gd name="T18" fmla="*/ 40 w 53"/>
                <a:gd name="T19" fmla="*/ 6 h 73"/>
                <a:gd name="T20" fmla="*/ 36 w 53"/>
                <a:gd name="T21" fmla="*/ 4 h 73"/>
                <a:gd name="T22" fmla="*/ 35 w 53"/>
                <a:gd name="T23" fmla="*/ 7 h 73"/>
                <a:gd name="T24" fmla="*/ 35 w 53"/>
                <a:gd name="T25" fmla="*/ 9 h 73"/>
                <a:gd name="T26" fmla="*/ 33 w 53"/>
                <a:gd name="T27" fmla="*/ 10 h 73"/>
                <a:gd name="T28" fmla="*/ 32 w 53"/>
                <a:gd name="T29" fmla="*/ 16 h 73"/>
                <a:gd name="T30" fmla="*/ 28 w 53"/>
                <a:gd name="T31" fmla="*/ 13 h 73"/>
                <a:gd name="T32" fmla="*/ 25 w 53"/>
                <a:gd name="T33" fmla="*/ 16 h 73"/>
                <a:gd name="T34" fmla="*/ 22 w 53"/>
                <a:gd name="T35" fmla="*/ 14 h 73"/>
                <a:gd name="T36" fmla="*/ 21 w 53"/>
                <a:gd name="T37" fmla="*/ 17 h 73"/>
                <a:gd name="T38" fmla="*/ 18 w 53"/>
                <a:gd name="T39" fmla="*/ 20 h 73"/>
                <a:gd name="T40" fmla="*/ 14 w 53"/>
                <a:gd name="T41" fmla="*/ 20 h 73"/>
                <a:gd name="T42" fmla="*/ 10 w 53"/>
                <a:gd name="T43" fmla="*/ 19 h 73"/>
                <a:gd name="T44" fmla="*/ 10 w 53"/>
                <a:gd name="T45" fmla="*/ 22 h 73"/>
                <a:gd name="T46" fmla="*/ 5 w 53"/>
                <a:gd name="T47" fmla="*/ 24 h 73"/>
                <a:gd name="T48" fmla="*/ 4 w 53"/>
                <a:gd name="T49" fmla="*/ 30 h 73"/>
                <a:gd name="T50" fmla="*/ 1 w 53"/>
                <a:gd name="T51" fmla="*/ 35 h 73"/>
                <a:gd name="T52" fmla="*/ 4 w 53"/>
                <a:gd name="T53" fmla="*/ 41 h 73"/>
                <a:gd name="T54" fmla="*/ 4 w 53"/>
                <a:gd name="T55" fmla="*/ 43 h 73"/>
                <a:gd name="T56" fmla="*/ 5 w 53"/>
                <a:gd name="T57" fmla="*/ 47 h 73"/>
                <a:gd name="T58" fmla="*/ 7 w 53"/>
                <a:gd name="T59" fmla="*/ 50 h 73"/>
                <a:gd name="T60" fmla="*/ 7 w 53"/>
                <a:gd name="T61" fmla="*/ 54 h 73"/>
                <a:gd name="T62" fmla="*/ 9 w 53"/>
                <a:gd name="T63" fmla="*/ 58 h 73"/>
                <a:gd name="T64" fmla="*/ 8 w 53"/>
                <a:gd name="T65" fmla="*/ 62 h 73"/>
                <a:gd name="T66" fmla="*/ 9 w 53"/>
                <a:gd name="T67" fmla="*/ 66 h 73"/>
                <a:gd name="T68" fmla="*/ 12 w 53"/>
                <a:gd name="T69" fmla="*/ 67 h 73"/>
                <a:gd name="T70" fmla="*/ 15 w 53"/>
                <a:gd name="T71" fmla="*/ 57 h 73"/>
                <a:gd name="T72" fmla="*/ 19 w 53"/>
                <a:gd name="T73" fmla="*/ 70 h 73"/>
                <a:gd name="T74" fmla="*/ 30 w 53"/>
                <a:gd name="T75" fmla="*/ 65 h 73"/>
                <a:gd name="T76" fmla="*/ 29 w 53"/>
                <a:gd name="T77" fmla="*/ 61 h 73"/>
                <a:gd name="T78" fmla="*/ 28 w 53"/>
                <a:gd name="T79" fmla="*/ 56 h 73"/>
                <a:gd name="T80" fmla="*/ 31 w 53"/>
                <a:gd name="T81" fmla="*/ 51 h 73"/>
                <a:gd name="T82" fmla="*/ 36 w 53"/>
                <a:gd name="T83" fmla="*/ 48 h 73"/>
                <a:gd name="T84" fmla="*/ 34 w 53"/>
                <a:gd name="T85" fmla="*/ 42 h 73"/>
                <a:gd name="T86" fmla="*/ 34 w 53"/>
                <a:gd name="T87" fmla="*/ 35 h 73"/>
                <a:gd name="T88" fmla="*/ 37 w 53"/>
                <a:gd name="T89" fmla="*/ 39 h 73"/>
                <a:gd name="T90" fmla="*/ 44 w 53"/>
                <a:gd name="T91" fmla="*/ 35 h 73"/>
                <a:gd name="T92" fmla="*/ 46 w 53"/>
                <a:gd name="T93" fmla="*/ 38 h 73"/>
                <a:gd name="T94" fmla="*/ 48 w 53"/>
                <a:gd name="T95" fmla="*/ 36 h 73"/>
                <a:gd name="T96" fmla="*/ 50 w 53"/>
                <a:gd name="T97" fmla="*/ 33 h 73"/>
                <a:gd name="T98" fmla="*/ 51 w 53"/>
                <a:gd name="T99" fmla="*/ 33 h 73"/>
                <a:gd name="T100" fmla="*/ 53 w 53"/>
                <a:gd name="T101" fmla="*/ 23 h 73"/>
                <a:gd name="T102" fmla="*/ 51 w 53"/>
                <a:gd name="T103" fmla="*/ 1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3" h="73">
                  <a:moveTo>
                    <a:pt x="51" y="19"/>
                  </a:moveTo>
                  <a:cubicBezTo>
                    <a:pt x="51" y="17"/>
                    <a:pt x="52" y="16"/>
                    <a:pt x="52" y="15"/>
                  </a:cubicBezTo>
                  <a:cubicBezTo>
                    <a:pt x="52" y="13"/>
                    <a:pt x="50" y="13"/>
                    <a:pt x="50" y="12"/>
                  </a:cubicBezTo>
                  <a:cubicBezTo>
                    <a:pt x="49" y="10"/>
                    <a:pt x="49" y="9"/>
                    <a:pt x="50" y="7"/>
                  </a:cubicBezTo>
                  <a:cubicBezTo>
                    <a:pt x="48" y="7"/>
                    <a:pt x="45" y="7"/>
                    <a:pt x="45" y="7"/>
                  </a:cubicBezTo>
                  <a:cubicBezTo>
                    <a:pt x="46" y="5"/>
                    <a:pt x="46" y="3"/>
                    <a:pt x="45" y="1"/>
                  </a:cubicBezTo>
                  <a:cubicBezTo>
                    <a:pt x="44" y="0"/>
                    <a:pt x="44" y="0"/>
                    <a:pt x="44" y="0"/>
                  </a:cubicBezTo>
                  <a:cubicBezTo>
                    <a:pt x="42" y="1"/>
                    <a:pt x="42" y="2"/>
                    <a:pt x="41" y="3"/>
                  </a:cubicBezTo>
                  <a:cubicBezTo>
                    <a:pt x="41" y="3"/>
                    <a:pt x="41" y="3"/>
                    <a:pt x="41" y="3"/>
                  </a:cubicBezTo>
                  <a:cubicBezTo>
                    <a:pt x="41" y="4"/>
                    <a:pt x="41" y="6"/>
                    <a:pt x="40" y="6"/>
                  </a:cubicBezTo>
                  <a:cubicBezTo>
                    <a:pt x="38" y="7"/>
                    <a:pt x="37" y="5"/>
                    <a:pt x="36" y="4"/>
                  </a:cubicBezTo>
                  <a:cubicBezTo>
                    <a:pt x="36" y="5"/>
                    <a:pt x="35" y="5"/>
                    <a:pt x="35" y="7"/>
                  </a:cubicBezTo>
                  <a:cubicBezTo>
                    <a:pt x="35" y="7"/>
                    <a:pt x="35" y="8"/>
                    <a:pt x="35" y="9"/>
                  </a:cubicBezTo>
                  <a:cubicBezTo>
                    <a:pt x="34" y="9"/>
                    <a:pt x="34" y="9"/>
                    <a:pt x="33" y="10"/>
                  </a:cubicBezTo>
                  <a:cubicBezTo>
                    <a:pt x="32" y="12"/>
                    <a:pt x="34" y="14"/>
                    <a:pt x="32" y="16"/>
                  </a:cubicBezTo>
                  <a:cubicBezTo>
                    <a:pt x="31" y="15"/>
                    <a:pt x="30" y="13"/>
                    <a:pt x="28" y="13"/>
                  </a:cubicBezTo>
                  <a:cubicBezTo>
                    <a:pt x="26" y="13"/>
                    <a:pt x="25" y="14"/>
                    <a:pt x="25" y="16"/>
                  </a:cubicBezTo>
                  <a:cubicBezTo>
                    <a:pt x="24" y="16"/>
                    <a:pt x="23" y="15"/>
                    <a:pt x="22" y="14"/>
                  </a:cubicBezTo>
                  <a:cubicBezTo>
                    <a:pt x="21" y="15"/>
                    <a:pt x="22" y="16"/>
                    <a:pt x="21" y="17"/>
                  </a:cubicBezTo>
                  <a:cubicBezTo>
                    <a:pt x="20" y="18"/>
                    <a:pt x="19" y="19"/>
                    <a:pt x="18" y="20"/>
                  </a:cubicBezTo>
                  <a:cubicBezTo>
                    <a:pt x="17" y="21"/>
                    <a:pt x="16" y="20"/>
                    <a:pt x="14" y="20"/>
                  </a:cubicBezTo>
                  <a:cubicBezTo>
                    <a:pt x="13" y="19"/>
                    <a:pt x="12" y="19"/>
                    <a:pt x="10" y="19"/>
                  </a:cubicBezTo>
                  <a:cubicBezTo>
                    <a:pt x="10" y="20"/>
                    <a:pt x="10" y="21"/>
                    <a:pt x="10" y="22"/>
                  </a:cubicBezTo>
                  <a:cubicBezTo>
                    <a:pt x="8" y="22"/>
                    <a:pt x="7" y="24"/>
                    <a:pt x="5" y="24"/>
                  </a:cubicBezTo>
                  <a:cubicBezTo>
                    <a:pt x="4" y="26"/>
                    <a:pt x="5" y="28"/>
                    <a:pt x="4" y="30"/>
                  </a:cubicBezTo>
                  <a:cubicBezTo>
                    <a:pt x="4" y="32"/>
                    <a:pt x="2" y="33"/>
                    <a:pt x="1" y="35"/>
                  </a:cubicBezTo>
                  <a:cubicBezTo>
                    <a:pt x="0" y="38"/>
                    <a:pt x="3" y="38"/>
                    <a:pt x="4" y="41"/>
                  </a:cubicBezTo>
                  <a:cubicBezTo>
                    <a:pt x="4" y="42"/>
                    <a:pt x="3" y="42"/>
                    <a:pt x="4" y="43"/>
                  </a:cubicBezTo>
                  <a:cubicBezTo>
                    <a:pt x="4" y="44"/>
                    <a:pt x="5" y="46"/>
                    <a:pt x="5" y="47"/>
                  </a:cubicBezTo>
                  <a:cubicBezTo>
                    <a:pt x="6" y="48"/>
                    <a:pt x="6" y="49"/>
                    <a:pt x="7" y="50"/>
                  </a:cubicBezTo>
                  <a:cubicBezTo>
                    <a:pt x="7" y="51"/>
                    <a:pt x="7" y="52"/>
                    <a:pt x="7" y="54"/>
                  </a:cubicBezTo>
                  <a:cubicBezTo>
                    <a:pt x="7" y="55"/>
                    <a:pt x="9" y="56"/>
                    <a:pt x="9" y="58"/>
                  </a:cubicBezTo>
                  <a:cubicBezTo>
                    <a:pt x="9" y="59"/>
                    <a:pt x="8" y="61"/>
                    <a:pt x="8" y="62"/>
                  </a:cubicBezTo>
                  <a:cubicBezTo>
                    <a:pt x="8" y="63"/>
                    <a:pt x="8" y="65"/>
                    <a:pt x="9" y="66"/>
                  </a:cubicBezTo>
                  <a:cubicBezTo>
                    <a:pt x="9" y="66"/>
                    <a:pt x="12" y="68"/>
                    <a:pt x="12" y="67"/>
                  </a:cubicBezTo>
                  <a:cubicBezTo>
                    <a:pt x="12" y="65"/>
                    <a:pt x="11" y="54"/>
                    <a:pt x="15" y="57"/>
                  </a:cubicBezTo>
                  <a:cubicBezTo>
                    <a:pt x="19" y="60"/>
                    <a:pt x="16" y="67"/>
                    <a:pt x="19" y="70"/>
                  </a:cubicBezTo>
                  <a:cubicBezTo>
                    <a:pt x="22" y="73"/>
                    <a:pt x="30" y="69"/>
                    <a:pt x="30" y="65"/>
                  </a:cubicBezTo>
                  <a:cubicBezTo>
                    <a:pt x="30" y="64"/>
                    <a:pt x="29" y="62"/>
                    <a:pt x="29" y="61"/>
                  </a:cubicBezTo>
                  <a:cubicBezTo>
                    <a:pt x="28" y="60"/>
                    <a:pt x="27" y="57"/>
                    <a:pt x="28" y="56"/>
                  </a:cubicBezTo>
                  <a:cubicBezTo>
                    <a:pt x="29" y="54"/>
                    <a:pt x="31" y="53"/>
                    <a:pt x="31" y="51"/>
                  </a:cubicBezTo>
                  <a:cubicBezTo>
                    <a:pt x="32" y="49"/>
                    <a:pt x="33" y="48"/>
                    <a:pt x="36" y="48"/>
                  </a:cubicBezTo>
                  <a:cubicBezTo>
                    <a:pt x="36" y="45"/>
                    <a:pt x="34" y="44"/>
                    <a:pt x="34" y="42"/>
                  </a:cubicBezTo>
                  <a:cubicBezTo>
                    <a:pt x="34" y="40"/>
                    <a:pt x="33" y="37"/>
                    <a:pt x="34" y="35"/>
                  </a:cubicBezTo>
                  <a:cubicBezTo>
                    <a:pt x="37" y="34"/>
                    <a:pt x="35" y="38"/>
                    <a:pt x="37" y="39"/>
                  </a:cubicBezTo>
                  <a:cubicBezTo>
                    <a:pt x="40" y="41"/>
                    <a:pt x="42" y="36"/>
                    <a:pt x="44" y="35"/>
                  </a:cubicBezTo>
                  <a:cubicBezTo>
                    <a:pt x="46" y="35"/>
                    <a:pt x="46" y="37"/>
                    <a:pt x="46" y="38"/>
                  </a:cubicBezTo>
                  <a:cubicBezTo>
                    <a:pt x="46" y="37"/>
                    <a:pt x="48" y="36"/>
                    <a:pt x="48" y="36"/>
                  </a:cubicBezTo>
                  <a:cubicBezTo>
                    <a:pt x="49" y="35"/>
                    <a:pt x="49" y="33"/>
                    <a:pt x="50" y="33"/>
                  </a:cubicBezTo>
                  <a:cubicBezTo>
                    <a:pt x="51" y="32"/>
                    <a:pt x="51" y="32"/>
                    <a:pt x="51" y="33"/>
                  </a:cubicBezTo>
                  <a:cubicBezTo>
                    <a:pt x="52" y="29"/>
                    <a:pt x="53" y="26"/>
                    <a:pt x="53" y="23"/>
                  </a:cubicBezTo>
                  <a:cubicBezTo>
                    <a:pt x="53" y="21"/>
                    <a:pt x="52" y="20"/>
                    <a:pt x="51" y="19"/>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47" name="Freeform 441"/>
            <p:cNvSpPr>
              <a:spLocks/>
            </p:cNvSpPr>
            <p:nvPr/>
          </p:nvSpPr>
          <p:spPr bwMode="auto">
            <a:xfrm>
              <a:off x="4173538" y="3408363"/>
              <a:ext cx="700088" cy="1125538"/>
            </a:xfrm>
            <a:custGeom>
              <a:avLst/>
              <a:gdLst>
                <a:gd name="T0" fmla="*/ 196 w 198"/>
                <a:gd name="T1" fmla="*/ 72 h 318"/>
                <a:gd name="T2" fmla="*/ 185 w 198"/>
                <a:gd name="T3" fmla="*/ 58 h 318"/>
                <a:gd name="T4" fmla="*/ 175 w 198"/>
                <a:gd name="T5" fmla="*/ 34 h 318"/>
                <a:gd name="T6" fmla="*/ 167 w 198"/>
                <a:gd name="T7" fmla="*/ 21 h 318"/>
                <a:gd name="T8" fmla="*/ 128 w 198"/>
                <a:gd name="T9" fmla="*/ 0 h 318"/>
                <a:gd name="T10" fmla="*/ 123 w 198"/>
                <a:gd name="T11" fmla="*/ 8 h 318"/>
                <a:gd name="T12" fmla="*/ 128 w 198"/>
                <a:gd name="T13" fmla="*/ 15 h 318"/>
                <a:gd name="T14" fmla="*/ 121 w 198"/>
                <a:gd name="T15" fmla="*/ 21 h 318"/>
                <a:gd name="T16" fmla="*/ 114 w 198"/>
                <a:gd name="T17" fmla="*/ 29 h 318"/>
                <a:gd name="T18" fmla="*/ 100 w 198"/>
                <a:gd name="T19" fmla="*/ 25 h 318"/>
                <a:gd name="T20" fmla="*/ 75 w 198"/>
                <a:gd name="T21" fmla="*/ 29 h 318"/>
                <a:gd name="T22" fmla="*/ 85 w 198"/>
                <a:gd name="T23" fmla="*/ 38 h 318"/>
                <a:gd name="T24" fmla="*/ 87 w 198"/>
                <a:gd name="T25" fmla="*/ 60 h 318"/>
                <a:gd name="T26" fmla="*/ 80 w 198"/>
                <a:gd name="T27" fmla="*/ 71 h 318"/>
                <a:gd name="T28" fmla="*/ 71 w 198"/>
                <a:gd name="T29" fmla="*/ 82 h 318"/>
                <a:gd name="T30" fmla="*/ 57 w 198"/>
                <a:gd name="T31" fmla="*/ 87 h 318"/>
                <a:gd name="T32" fmla="*/ 45 w 198"/>
                <a:gd name="T33" fmla="*/ 96 h 318"/>
                <a:gd name="T34" fmla="*/ 37 w 198"/>
                <a:gd name="T35" fmla="*/ 104 h 318"/>
                <a:gd name="T36" fmla="*/ 34 w 198"/>
                <a:gd name="T37" fmla="*/ 118 h 318"/>
                <a:gd name="T38" fmla="*/ 17 w 198"/>
                <a:gd name="T39" fmla="*/ 142 h 318"/>
                <a:gd name="T40" fmla="*/ 25 w 198"/>
                <a:gd name="T41" fmla="*/ 147 h 318"/>
                <a:gd name="T42" fmla="*/ 13 w 198"/>
                <a:gd name="T43" fmla="*/ 150 h 318"/>
                <a:gd name="T44" fmla="*/ 19 w 198"/>
                <a:gd name="T45" fmla="*/ 163 h 318"/>
                <a:gd name="T46" fmla="*/ 21 w 198"/>
                <a:gd name="T47" fmla="*/ 183 h 318"/>
                <a:gd name="T48" fmla="*/ 11 w 198"/>
                <a:gd name="T49" fmla="*/ 196 h 318"/>
                <a:gd name="T50" fmla="*/ 18 w 198"/>
                <a:gd name="T51" fmla="*/ 204 h 318"/>
                <a:gd name="T52" fmla="*/ 12 w 198"/>
                <a:gd name="T53" fmla="*/ 217 h 318"/>
                <a:gd name="T54" fmla="*/ 26 w 198"/>
                <a:gd name="T55" fmla="*/ 225 h 318"/>
                <a:gd name="T56" fmla="*/ 32 w 198"/>
                <a:gd name="T57" fmla="*/ 235 h 318"/>
                <a:gd name="T58" fmla="*/ 31 w 198"/>
                <a:gd name="T59" fmla="*/ 239 h 318"/>
                <a:gd name="T60" fmla="*/ 18 w 198"/>
                <a:gd name="T61" fmla="*/ 236 h 318"/>
                <a:gd name="T62" fmla="*/ 5 w 198"/>
                <a:gd name="T63" fmla="*/ 249 h 318"/>
                <a:gd name="T64" fmla="*/ 1 w 198"/>
                <a:gd name="T65" fmla="*/ 266 h 318"/>
                <a:gd name="T66" fmla="*/ 0 w 198"/>
                <a:gd name="T67" fmla="*/ 269 h 318"/>
                <a:gd name="T68" fmla="*/ 11 w 198"/>
                <a:gd name="T69" fmla="*/ 273 h 318"/>
                <a:gd name="T70" fmla="*/ 24 w 198"/>
                <a:gd name="T71" fmla="*/ 296 h 318"/>
                <a:gd name="T72" fmla="*/ 35 w 198"/>
                <a:gd name="T73" fmla="*/ 296 h 318"/>
                <a:gd name="T74" fmla="*/ 37 w 198"/>
                <a:gd name="T75" fmla="*/ 310 h 318"/>
                <a:gd name="T76" fmla="*/ 51 w 198"/>
                <a:gd name="T77" fmla="*/ 313 h 318"/>
                <a:gd name="T78" fmla="*/ 56 w 198"/>
                <a:gd name="T79" fmla="*/ 303 h 318"/>
                <a:gd name="T80" fmla="*/ 66 w 198"/>
                <a:gd name="T81" fmla="*/ 288 h 318"/>
                <a:gd name="T82" fmla="*/ 81 w 198"/>
                <a:gd name="T83" fmla="*/ 278 h 318"/>
                <a:gd name="T84" fmla="*/ 89 w 198"/>
                <a:gd name="T85" fmla="*/ 267 h 318"/>
                <a:gd name="T86" fmla="*/ 92 w 198"/>
                <a:gd name="T87" fmla="*/ 243 h 318"/>
                <a:gd name="T88" fmla="*/ 85 w 198"/>
                <a:gd name="T89" fmla="*/ 231 h 318"/>
                <a:gd name="T90" fmla="*/ 79 w 198"/>
                <a:gd name="T91" fmla="*/ 213 h 318"/>
                <a:gd name="T92" fmla="*/ 101 w 198"/>
                <a:gd name="T93" fmla="*/ 207 h 318"/>
                <a:gd name="T94" fmla="*/ 113 w 198"/>
                <a:gd name="T95" fmla="*/ 217 h 318"/>
                <a:gd name="T96" fmla="*/ 111 w 198"/>
                <a:gd name="T97" fmla="*/ 207 h 318"/>
                <a:gd name="T98" fmla="*/ 105 w 198"/>
                <a:gd name="T99" fmla="*/ 184 h 318"/>
                <a:gd name="T100" fmla="*/ 103 w 198"/>
                <a:gd name="T101" fmla="*/ 161 h 318"/>
                <a:gd name="T102" fmla="*/ 112 w 198"/>
                <a:gd name="T103" fmla="*/ 161 h 318"/>
                <a:gd name="T104" fmla="*/ 138 w 198"/>
                <a:gd name="T105" fmla="*/ 151 h 318"/>
                <a:gd name="T106" fmla="*/ 145 w 198"/>
                <a:gd name="T107" fmla="*/ 142 h 318"/>
                <a:gd name="T108" fmla="*/ 153 w 198"/>
                <a:gd name="T109" fmla="*/ 128 h 318"/>
                <a:gd name="T110" fmla="*/ 164 w 198"/>
                <a:gd name="T111" fmla="*/ 115 h 318"/>
                <a:gd name="T112" fmla="*/ 168 w 198"/>
                <a:gd name="T113" fmla="*/ 99 h 318"/>
                <a:gd name="T114" fmla="*/ 183 w 198"/>
                <a:gd name="T115" fmla="*/ 84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8" h="318">
                  <a:moveTo>
                    <a:pt x="186" y="84"/>
                  </a:moveTo>
                  <a:cubicBezTo>
                    <a:pt x="187" y="82"/>
                    <a:pt x="188" y="79"/>
                    <a:pt x="191" y="77"/>
                  </a:cubicBezTo>
                  <a:cubicBezTo>
                    <a:pt x="193" y="75"/>
                    <a:pt x="196" y="76"/>
                    <a:pt x="196" y="72"/>
                  </a:cubicBezTo>
                  <a:cubicBezTo>
                    <a:pt x="197" y="70"/>
                    <a:pt x="197" y="67"/>
                    <a:pt x="198" y="65"/>
                  </a:cubicBezTo>
                  <a:cubicBezTo>
                    <a:pt x="195" y="64"/>
                    <a:pt x="191" y="65"/>
                    <a:pt x="189" y="62"/>
                  </a:cubicBezTo>
                  <a:cubicBezTo>
                    <a:pt x="188" y="61"/>
                    <a:pt x="188" y="58"/>
                    <a:pt x="185" y="58"/>
                  </a:cubicBezTo>
                  <a:cubicBezTo>
                    <a:pt x="185" y="56"/>
                    <a:pt x="186" y="49"/>
                    <a:pt x="182" y="49"/>
                  </a:cubicBezTo>
                  <a:cubicBezTo>
                    <a:pt x="181" y="44"/>
                    <a:pt x="186" y="38"/>
                    <a:pt x="181" y="34"/>
                  </a:cubicBezTo>
                  <a:cubicBezTo>
                    <a:pt x="180" y="33"/>
                    <a:pt x="177" y="35"/>
                    <a:pt x="175" y="34"/>
                  </a:cubicBezTo>
                  <a:cubicBezTo>
                    <a:pt x="174" y="33"/>
                    <a:pt x="174" y="31"/>
                    <a:pt x="174" y="29"/>
                  </a:cubicBezTo>
                  <a:cubicBezTo>
                    <a:pt x="171" y="30"/>
                    <a:pt x="171" y="27"/>
                    <a:pt x="170" y="26"/>
                  </a:cubicBezTo>
                  <a:cubicBezTo>
                    <a:pt x="170" y="24"/>
                    <a:pt x="169" y="22"/>
                    <a:pt x="167" y="21"/>
                  </a:cubicBezTo>
                  <a:cubicBezTo>
                    <a:pt x="163" y="19"/>
                    <a:pt x="161" y="18"/>
                    <a:pt x="161" y="13"/>
                  </a:cubicBezTo>
                  <a:cubicBezTo>
                    <a:pt x="161" y="10"/>
                    <a:pt x="157" y="9"/>
                    <a:pt x="154" y="9"/>
                  </a:cubicBezTo>
                  <a:cubicBezTo>
                    <a:pt x="128" y="0"/>
                    <a:pt x="128" y="0"/>
                    <a:pt x="128" y="0"/>
                  </a:cubicBezTo>
                  <a:cubicBezTo>
                    <a:pt x="128" y="1"/>
                    <a:pt x="128" y="1"/>
                    <a:pt x="128" y="1"/>
                  </a:cubicBezTo>
                  <a:cubicBezTo>
                    <a:pt x="127" y="4"/>
                    <a:pt x="125" y="5"/>
                    <a:pt x="125" y="8"/>
                  </a:cubicBezTo>
                  <a:cubicBezTo>
                    <a:pt x="124" y="8"/>
                    <a:pt x="124" y="8"/>
                    <a:pt x="123" y="8"/>
                  </a:cubicBezTo>
                  <a:cubicBezTo>
                    <a:pt x="123" y="8"/>
                    <a:pt x="123" y="9"/>
                    <a:pt x="123" y="10"/>
                  </a:cubicBezTo>
                  <a:cubicBezTo>
                    <a:pt x="124" y="10"/>
                    <a:pt x="126" y="11"/>
                    <a:pt x="126" y="12"/>
                  </a:cubicBezTo>
                  <a:cubicBezTo>
                    <a:pt x="127" y="14"/>
                    <a:pt x="126" y="16"/>
                    <a:pt x="128" y="15"/>
                  </a:cubicBezTo>
                  <a:cubicBezTo>
                    <a:pt x="128" y="16"/>
                    <a:pt x="128" y="16"/>
                    <a:pt x="128" y="16"/>
                  </a:cubicBezTo>
                  <a:cubicBezTo>
                    <a:pt x="127" y="17"/>
                    <a:pt x="127" y="19"/>
                    <a:pt x="125" y="19"/>
                  </a:cubicBezTo>
                  <a:cubicBezTo>
                    <a:pt x="123" y="20"/>
                    <a:pt x="121" y="19"/>
                    <a:pt x="121" y="21"/>
                  </a:cubicBezTo>
                  <a:cubicBezTo>
                    <a:pt x="121" y="22"/>
                    <a:pt x="121" y="24"/>
                    <a:pt x="120" y="25"/>
                  </a:cubicBezTo>
                  <a:cubicBezTo>
                    <a:pt x="118" y="25"/>
                    <a:pt x="117" y="24"/>
                    <a:pt x="116" y="24"/>
                  </a:cubicBezTo>
                  <a:cubicBezTo>
                    <a:pt x="115" y="25"/>
                    <a:pt x="116" y="28"/>
                    <a:pt x="114" y="29"/>
                  </a:cubicBezTo>
                  <a:cubicBezTo>
                    <a:pt x="113" y="29"/>
                    <a:pt x="113" y="27"/>
                    <a:pt x="112" y="26"/>
                  </a:cubicBezTo>
                  <a:cubicBezTo>
                    <a:pt x="110" y="25"/>
                    <a:pt x="108" y="26"/>
                    <a:pt x="107" y="26"/>
                  </a:cubicBezTo>
                  <a:cubicBezTo>
                    <a:pt x="107" y="23"/>
                    <a:pt x="102" y="25"/>
                    <a:pt x="100" y="25"/>
                  </a:cubicBezTo>
                  <a:cubicBezTo>
                    <a:pt x="101" y="21"/>
                    <a:pt x="82" y="23"/>
                    <a:pt x="79" y="23"/>
                  </a:cubicBezTo>
                  <a:cubicBezTo>
                    <a:pt x="80" y="16"/>
                    <a:pt x="69" y="20"/>
                    <a:pt x="73" y="23"/>
                  </a:cubicBezTo>
                  <a:cubicBezTo>
                    <a:pt x="75" y="25"/>
                    <a:pt x="79" y="26"/>
                    <a:pt x="75" y="29"/>
                  </a:cubicBezTo>
                  <a:cubicBezTo>
                    <a:pt x="72" y="32"/>
                    <a:pt x="69" y="34"/>
                    <a:pt x="73" y="38"/>
                  </a:cubicBezTo>
                  <a:cubicBezTo>
                    <a:pt x="75" y="40"/>
                    <a:pt x="78" y="36"/>
                    <a:pt x="80" y="37"/>
                  </a:cubicBezTo>
                  <a:cubicBezTo>
                    <a:pt x="82" y="38"/>
                    <a:pt x="84" y="41"/>
                    <a:pt x="85" y="38"/>
                  </a:cubicBezTo>
                  <a:cubicBezTo>
                    <a:pt x="87" y="39"/>
                    <a:pt x="88" y="41"/>
                    <a:pt x="88" y="42"/>
                  </a:cubicBezTo>
                  <a:cubicBezTo>
                    <a:pt x="92" y="42"/>
                    <a:pt x="96" y="49"/>
                    <a:pt x="97" y="52"/>
                  </a:cubicBezTo>
                  <a:cubicBezTo>
                    <a:pt x="98" y="60"/>
                    <a:pt x="93" y="60"/>
                    <a:pt x="87" y="60"/>
                  </a:cubicBezTo>
                  <a:cubicBezTo>
                    <a:pt x="87" y="62"/>
                    <a:pt x="86" y="62"/>
                    <a:pt x="84" y="63"/>
                  </a:cubicBezTo>
                  <a:cubicBezTo>
                    <a:pt x="83" y="64"/>
                    <a:pt x="83" y="66"/>
                    <a:pt x="83" y="68"/>
                  </a:cubicBezTo>
                  <a:cubicBezTo>
                    <a:pt x="83" y="70"/>
                    <a:pt x="81" y="70"/>
                    <a:pt x="80" y="71"/>
                  </a:cubicBezTo>
                  <a:cubicBezTo>
                    <a:pt x="78" y="73"/>
                    <a:pt x="79" y="74"/>
                    <a:pt x="78" y="76"/>
                  </a:cubicBezTo>
                  <a:cubicBezTo>
                    <a:pt x="78" y="78"/>
                    <a:pt x="76" y="78"/>
                    <a:pt x="74" y="79"/>
                  </a:cubicBezTo>
                  <a:cubicBezTo>
                    <a:pt x="72" y="80"/>
                    <a:pt x="72" y="81"/>
                    <a:pt x="71" y="82"/>
                  </a:cubicBezTo>
                  <a:cubicBezTo>
                    <a:pt x="70" y="84"/>
                    <a:pt x="64" y="83"/>
                    <a:pt x="64" y="87"/>
                  </a:cubicBezTo>
                  <a:cubicBezTo>
                    <a:pt x="62" y="87"/>
                    <a:pt x="61" y="86"/>
                    <a:pt x="60" y="86"/>
                  </a:cubicBezTo>
                  <a:cubicBezTo>
                    <a:pt x="58" y="86"/>
                    <a:pt x="58" y="86"/>
                    <a:pt x="57" y="87"/>
                  </a:cubicBezTo>
                  <a:cubicBezTo>
                    <a:pt x="54" y="88"/>
                    <a:pt x="51" y="87"/>
                    <a:pt x="48" y="87"/>
                  </a:cubicBezTo>
                  <a:cubicBezTo>
                    <a:pt x="48" y="90"/>
                    <a:pt x="48" y="93"/>
                    <a:pt x="48" y="96"/>
                  </a:cubicBezTo>
                  <a:cubicBezTo>
                    <a:pt x="47" y="96"/>
                    <a:pt x="46" y="96"/>
                    <a:pt x="45" y="96"/>
                  </a:cubicBezTo>
                  <a:cubicBezTo>
                    <a:pt x="44" y="97"/>
                    <a:pt x="41" y="101"/>
                    <a:pt x="43" y="102"/>
                  </a:cubicBezTo>
                  <a:cubicBezTo>
                    <a:pt x="43" y="103"/>
                    <a:pt x="43" y="104"/>
                    <a:pt x="43" y="105"/>
                  </a:cubicBezTo>
                  <a:cubicBezTo>
                    <a:pt x="41" y="106"/>
                    <a:pt x="40" y="104"/>
                    <a:pt x="37" y="104"/>
                  </a:cubicBezTo>
                  <a:cubicBezTo>
                    <a:pt x="37" y="106"/>
                    <a:pt x="37" y="108"/>
                    <a:pt x="37" y="110"/>
                  </a:cubicBezTo>
                  <a:cubicBezTo>
                    <a:pt x="35" y="111"/>
                    <a:pt x="33" y="110"/>
                    <a:pt x="33" y="112"/>
                  </a:cubicBezTo>
                  <a:cubicBezTo>
                    <a:pt x="33" y="114"/>
                    <a:pt x="34" y="116"/>
                    <a:pt x="34" y="118"/>
                  </a:cubicBezTo>
                  <a:cubicBezTo>
                    <a:pt x="35" y="121"/>
                    <a:pt x="33" y="124"/>
                    <a:pt x="29" y="124"/>
                  </a:cubicBezTo>
                  <a:cubicBezTo>
                    <a:pt x="29" y="129"/>
                    <a:pt x="32" y="140"/>
                    <a:pt x="24" y="141"/>
                  </a:cubicBezTo>
                  <a:cubicBezTo>
                    <a:pt x="17" y="142"/>
                    <a:pt x="17" y="142"/>
                    <a:pt x="17" y="142"/>
                  </a:cubicBezTo>
                  <a:cubicBezTo>
                    <a:pt x="15" y="141"/>
                    <a:pt x="14" y="140"/>
                    <a:pt x="13" y="139"/>
                  </a:cubicBezTo>
                  <a:cubicBezTo>
                    <a:pt x="14" y="141"/>
                    <a:pt x="16" y="142"/>
                    <a:pt x="19" y="142"/>
                  </a:cubicBezTo>
                  <a:cubicBezTo>
                    <a:pt x="22" y="143"/>
                    <a:pt x="26" y="143"/>
                    <a:pt x="25" y="147"/>
                  </a:cubicBezTo>
                  <a:cubicBezTo>
                    <a:pt x="24" y="149"/>
                    <a:pt x="22" y="150"/>
                    <a:pt x="21" y="150"/>
                  </a:cubicBezTo>
                  <a:cubicBezTo>
                    <a:pt x="19" y="150"/>
                    <a:pt x="18" y="153"/>
                    <a:pt x="16" y="152"/>
                  </a:cubicBezTo>
                  <a:cubicBezTo>
                    <a:pt x="16" y="150"/>
                    <a:pt x="15" y="150"/>
                    <a:pt x="13" y="150"/>
                  </a:cubicBezTo>
                  <a:cubicBezTo>
                    <a:pt x="13" y="152"/>
                    <a:pt x="14" y="153"/>
                    <a:pt x="14" y="154"/>
                  </a:cubicBezTo>
                  <a:cubicBezTo>
                    <a:pt x="14" y="156"/>
                    <a:pt x="14" y="158"/>
                    <a:pt x="14" y="160"/>
                  </a:cubicBezTo>
                  <a:cubicBezTo>
                    <a:pt x="15" y="162"/>
                    <a:pt x="18" y="161"/>
                    <a:pt x="19" y="163"/>
                  </a:cubicBezTo>
                  <a:cubicBezTo>
                    <a:pt x="23" y="168"/>
                    <a:pt x="16" y="173"/>
                    <a:pt x="17" y="178"/>
                  </a:cubicBezTo>
                  <a:cubicBezTo>
                    <a:pt x="18" y="179"/>
                    <a:pt x="20" y="177"/>
                    <a:pt x="22" y="177"/>
                  </a:cubicBezTo>
                  <a:cubicBezTo>
                    <a:pt x="22" y="179"/>
                    <a:pt x="21" y="181"/>
                    <a:pt x="21" y="183"/>
                  </a:cubicBezTo>
                  <a:cubicBezTo>
                    <a:pt x="21" y="185"/>
                    <a:pt x="21" y="188"/>
                    <a:pt x="20" y="190"/>
                  </a:cubicBezTo>
                  <a:cubicBezTo>
                    <a:pt x="20" y="191"/>
                    <a:pt x="13" y="194"/>
                    <a:pt x="13" y="192"/>
                  </a:cubicBezTo>
                  <a:cubicBezTo>
                    <a:pt x="13" y="194"/>
                    <a:pt x="12" y="194"/>
                    <a:pt x="11" y="196"/>
                  </a:cubicBezTo>
                  <a:cubicBezTo>
                    <a:pt x="11" y="197"/>
                    <a:pt x="11" y="198"/>
                    <a:pt x="11" y="200"/>
                  </a:cubicBezTo>
                  <a:cubicBezTo>
                    <a:pt x="12" y="200"/>
                    <a:pt x="13" y="199"/>
                    <a:pt x="14" y="198"/>
                  </a:cubicBezTo>
                  <a:cubicBezTo>
                    <a:pt x="16" y="200"/>
                    <a:pt x="18" y="201"/>
                    <a:pt x="18" y="204"/>
                  </a:cubicBezTo>
                  <a:cubicBezTo>
                    <a:pt x="17" y="208"/>
                    <a:pt x="17" y="209"/>
                    <a:pt x="13" y="209"/>
                  </a:cubicBezTo>
                  <a:cubicBezTo>
                    <a:pt x="12" y="210"/>
                    <a:pt x="14" y="211"/>
                    <a:pt x="14" y="213"/>
                  </a:cubicBezTo>
                  <a:cubicBezTo>
                    <a:pt x="13" y="215"/>
                    <a:pt x="11" y="215"/>
                    <a:pt x="12" y="217"/>
                  </a:cubicBezTo>
                  <a:cubicBezTo>
                    <a:pt x="14" y="216"/>
                    <a:pt x="16" y="213"/>
                    <a:pt x="19" y="215"/>
                  </a:cubicBezTo>
                  <a:cubicBezTo>
                    <a:pt x="21" y="216"/>
                    <a:pt x="20" y="219"/>
                    <a:pt x="22" y="220"/>
                  </a:cubicBezTo>
                  <a:cubicBezTo>
                    <a:pt x="23" y="223"/>
                    <a:pt x="22" y="225"/>
                    <a:pt x="26" y="225"/>
                  </a:cubicBezTo>
                  <a:cubicBezTo>
                    <a:pt x="26" y="226"/>
                    <a:pt x="26" y="227"/>
                    <a:pt x="26" y="227"/>
                  </a:cubicBezTo>
                  <a:cubicBezTo>
                    <a:pt x="29" y="228"/>
                    <a:pt x="33" y="227"/>
                    <a:pt x="34" y="230"/>
                  </a:cubicBezTo>
                  <a:cubicBezTo>
                    <a:pt x="35" y="232"/>
                    <a:pt x="31" y="233"/>
                    <a:pt x="32" y="235"/>
                  </a:cubicBezTo>
                  <a:cubicBezTo>
                    <a:pt x="33" y="235"/>
                    <a:pt x="33" y="235"/>
                    <a:pt x="33" y="235"/>
                  </a:cubicBezTo>
                  <a:cubicBezTo>
                    <a:pt x="33" y="236"/>
                    <a:pt x="31" y="237"/>
                    <a:pt x="32" y="238"/>
                  </a:cubicBezTo>
                  <a:cubicBezTo>
                    <a:pt x="31" y="239"/>
                    <a:pt x="31" y="238"/>
                    <a:pt x="31" y="239"/>
                  </a:cubicBezTo>
                  <a:cubicBezTo>
                    <a:pt x="29" y="240"/>
                    <a:pt x="29" y="240"/>
                    <a:pt x="28" y="241"/>
                  </a:cubicBezTo>
                  <a:cubicBezTo>
                    <a:pt x="26" y="241"/>
                    <a:pt x="24" y="241"/>
                    <a:pt x="22" y="240"/>
                  </a:cubicBezTo>
                  <a:cubicBezTo>
                    <a:pt x="20" y="240"/>
                    <a:pt x="19" y="237"/>
                    <a:pt x="18" y="236"/>
                  </a:cubicBezTo>
                  <a:cubicBezTo>
                    <a:pt x="16" y="235"/>
                    <a:pt x="11" y="243"/>
                    <a:pt x="8" y="242"/>
                  </a:cubicBezTo>
                  <a:cubicBezTo>
                    <a:pt x="8" y="243"/>
                    <a:pt x="8" y="243"/>
                    <a:pt x="8" y="243"/>
                  </a:cubicBezTo>
                  <a:cubicBezTo>
                    <a:pt x="5" y="244"/>
                    <a:pt x="8" y="248"/>
                    <a:pt x="5" y="249"/>
                  </a:cubicBezTo>
                  <a:cubicBezTo>
                    <a:pt x="2" y="249"/>
                    <a:pt x="3" y="255"/>
                    <a:pt x="4" y="256"/>
                  </a:cubicBezTo>
                  <a:cubicBezTo>
                    <a:pt x="5" y="258"/>
                    <a:pt x="10" y="260"/>
                    <a:pt x="6" y="262"/>
                  </a:cubicBezTo>
                  <a:cubicBezTo>
                    <a:pt x="4" y="263"/>
                    <a:pt x="0" y="262"/>
                    <a:pt x="1" y="266"/>
                  </a:cubicBezTo>
                  <a:cubicBezTo>
                    <a:pt x="2" y="266"/>
                    <a:pt x="3" y="267"/>
                    <a:pt x="3" y="267"/>
                  </a:cubicBezTo>
                  <a:cubicBezTo>
                    <a:pt x="2" y="268"/>
                    <a:pt x="1" y="268"/>
                    <a:pt x="1" y="268"/>
                  </a:cubicBezTo>
                  <a:cubicBezTo>
                    <a:pt x="0" y="269"/>
                    <a:pt x="0" y="269"/>
                    <a:pt x="0" y="269"/>
                  </a:cubicBezTo>
                  <a:cubicBezTo>
                    <a:pt x="1" y="269"/>
                    <a:pt x="2" y="268"/>
                    <a:pt x="3" y="269"/>
                  </a:cubicBezTo>
                  <a:cubicBezTo>
                    <a:pt x="4" y="270"/>
                    <a:pt x="4" y="271"/>
                    <a:pt x="5" y="272"/>
                  </a:cubicBezTo>
                  <a:cubicBezTo>
                    <a:pt x="6" y="273"/>
                    <a:pt x="10" y="274"/>
                    <a:pt x="11" y="273"/>
                  </a:cubicBezTo>
                  <a:cubicBezTo>
                    <a:pt x="14" y="269"/>
                    <a:pt x="21" y="280"/>
                    <a:pt x="22" y="282"/>
                  </a:cubicBezTo>
                  <a:cubicBezTo>
                    <a:pt x="23" y="285"/>
                    <a:pt x="24" y="287"/>
                    <a:pt x="25" y="290"/>
                  </a:cubicBezTo>
                  <a:cubicBezTo>
                    <a:pt x="26" y="292"/>
                    <a:pt x="23" y="293"/>
                    <a:pt x="24" y="296"/>
                  </a:cubicBezTo>
                  <a:cubicBezTo>
                    <a:pt x="26" y="297"/>
                    <a:pt x="28" y="294"/>
                    <a:pt x="31" y="294"/>
                  </a:cubicBezTo>
                  <a:cubicBezTo>
                    <a:pt x="31" y="295"/>
                    <a:pt x="31" y="296"/>
                    <a:pt x="31" y="297"/>
                  </a:cubicBezTo>
                  <a:cubicBezTo>
                    <a:pt x="33" y="298"/>
                    <a:pt x="33" y="296"/>
                    <a:pt x="35" y="296"/>
                  </a:cubicBezTo>
                  <a:cubicBezTo>
                    <a:pt x="35" y="297"/>
                    <a:pt x="35" y="297"/>
                    <a:pt x="35" y="297"/>
                  </a:cubicBezTo>
                  <a:cubicBezTo>
                    <a:pt x="36" y="298"/>
                    <a:pt x="33" y="300"/>
                    <a:pt x="35" y="302"/>
                  </a:cubicBezTo>
                  <a:cubicBezTo>
                    <a:pt x="37" y="304"/>
                    <a:pt x="37" y="307"/>
                    <a:pt x="37" y="310"/>
                  </a:cubicBezTo>
                  <a:cubicBezTo>
                    <a:pt x="36" y="318"/>
                    <a:pt x="40" y="312"/>
                    <a:pt x="45" y="312"/>
                  </a:cubicBezTo>
                  <a:cubicBezTo>
                    <a:pt x="47" y="312"/>
                    <a:pt x="49" y="314"/>
                    <a:pt x="51" y="313"/>
                  </a:cubicBezTo>
                  <a:cubicBezTo>
                    <a:pt x="51" y="313"/>
                    <a:pt x="51" y="313"/>
                    <a:pt x="51" y="313"/>
                  </a:cubicBezTo>
                  <a:cubicBezTo>
                    <a:pt x="51" y="313"/>
                    <a:pt x="51" y="313"/>
                    <a:pt x="51" y="313"/>
                  </a:cubicBezTo>
                  <a:cubicBezTo>
                    <a:pt x="51" y="313"/>
                    <a:pt x="51" y="312"/>
                    <a:pt x="51" y="311"/>
                  </a:cubicBezTo>
                  <a:cubicBezTo>
                    <a:pt x="52" y="308"/>
                    <a:pt x="54" y="306"/>
                    <a:pt x="56" y="303"/>
                  </a:cubicBezTo>
                  <a:cubicBezTo>
                    <a:pt x="58" y="300"/>
                    <a:pt x="58" y="296"/>
                    <a:pt x="59" y="293"/>
                  </a:cubicBezTo>
                  <a:cubicBezTo>
                    <a:pt x="61" y="292"/>
                    <a:pt x="62" y="291"/>
                    <a:pt x="64" y="289"/>
                  </a:cubicBezTo>
                  <a:cubicBezTo>
                    <a:pt x="65" y="289"/>
                    <a:pt x="65" y="288"/>
                    <a:pt x="66" y="288"/>
                  </a:cubicBezTo>
                  <a:cubicBezTo>
                    <a:pt x="67" y="288"/>
                    <a:pt x="69" y="289"/>
                    <a:pt x="70" y="288"/>
                  </a:cubicBezTo>
                  <a:cubicBezTo>
                    <a:pt x="73" y="286"/>
                    <a:pt x="74" y="281"/>
                    <a:pt x="76" y="278"/>
                  </a:cubicBezTo>
                  <a:cubicBezTo>
                    <a:pt x="78" y="278"/>
                    <a:pt x="79" y="278"/>
                    <a:pt x="81" y="278"/>
                  </a:cubicBezTo>
                  <a:cubicBezTo>
                    <a:pt x="81" y="274"/>
                    <a:pt x="81" y="273"/>
                    <a:pt x="78" y="271"/>
                  </a:cubicBezTo>
                  <a:cubicBezTo>
                    <a:pt x="79" y="271"/>
                    <a:pt x="82" y="271"/>
                    <a:pt x="84" y="271"/>
                  </a:cubicBezTo>
                  <a:cubicBezTo>
                    <a:pt x="84" y="268"/>
                    <a:pt x="87" y="269"/>
                    <a:pt x="89" y="267"/>
                  </a:cubicBezTo>
                  <a:cubicBezTo>
                    <a:pt x="91" y="266"/>
                    <a:pt x="91" y="262"/>
                    <a:pt x="91" y="260"/>
                  </a:cubicBezTo>
                  <a:cubicBezTo>
                    <a:pt x="92" y="260"/>
                    <a:pt x="93" y="260"/>
                    <a:pt x="94" y="260"/>
                  </a:cubicBezTo>
                  <a:cubicBezTo>
                    <a:pt x="95" y="254"/>
                    <a:pt x="92" y="248"/>
                    <a:pt x="92" y="243"/>
                  </a:cubicBezTo>
                  <a:cubicBezTo>
                    <a:pt x="92" y="240"/>
                    <a:pt x="93" y="237"/>
                    <a:pt x="92" y="235"/>
                  </a:cubicBezTo>
                  <a:cubicBezTo>
                    <a:pt x="91" y="233"/>
                    <a:pt x="89" y="233"/>
                    <a:pt x="88" y="231"/>
                  </a:cubicBezTo>
                  <a:cubicBezTo>
                    <a:pt x="88" y="231"/>
                    <a:pt x="86" y="230"/>
                    <a:pt x="85" y="231"/>
                  </a:cubicBezTo>
                  <a:cubicBezTo>
                    <a:pt x="85" y="226"/>
                    <a:pt x="90" y="222"/>
                    <a:pt x="88" y="218"/>
                  </a:cubicBezTo>
                  <a:cubicBezTo>
                    <a:pt x="87" y="215"/>
                    <a:pt x="83" y="217"/>
                    <a:pt x="83" y="213"/>
                  </a:cubicBezTo>
                  <a:cubicBezTo>
                    <a:pt x="82" y="213"/>
                    <a:pt x="80" y="214"/>
                    <a:pt x="79" y="213"/>
                  </a:cubicBezTo>
                  <a:cubicBezTo>
                    <a:pt x="77" y="209"/>
                    <a:pt x="80" y="206"/>
                    <a:pt x="80" y="202"/>
                  </a:cubicBezTo>
                  <a:cubicBezTo>
                    <a:pt x="82" y="202"/>
                    <a:pt x="86" y="201"/>
                    <a:pt x="86" y="204"/>
                  </a:cubicBezTo>
                  <a:cubicBezTo>
                    <a:pt x="91" y="205"/>
                    <a:pt x="97" y="204"/>
                    <a:pt x="101" y="207"/>
                  </a:cubicBezTo>
                  <a:cubicBezTo>
                    <a:pt x="101" y="209"/>
                    <a:pt x="99" y="215"/>
                    <a:pt x="103" y="214"/>
                  </a:cubicBezTo>
                  <a:cubicBezTo>
                    <a:pt x="103" y="210"/>
                    <a:pt x="111" y="211"/>
                    <a:pt x="113" y="212"/>
                  </a:cubicBezTo>
                  <a:cubicBezTo>
                    <a:pt x="114" y="214"/>
                    <a:pt x="113" y="216"/>
                    <a:pt x="113" y="217"/>
                  </a:cubicBezTo>
                  <a:cubicBezTo>
                    <a:pt x="116" y="218"/>
                    <a:pt x="117" y="216"/>
                    <a:pt x="118" y="215"/>
                  </a:cubicBezTo>
                  <a:cubicBezTo>
                    <a:pt x="119" y="212"/>
                    <a:pt x="120" y="209"/>
                    <a:pt x="118" y="207"/>
                  </a:cubicBezTo>
                  <a:cubicBezTo>
                    <a:pt x="118" y="207"/>
                    <a:pt x="112" y="207"/>
                    <a:pt x="111" y="207"/>
                  </a:cubicBezTo>
                  <a:cubicBezTo>
                    <a:pt x="109" y="207"/>
                    <a:pt x="105" y="207"/>
                    <a:pt x="104" y="204"/>
                  </a:cubicBezTo>
                  <a:cubicBezTo>
                    <a:pt x="104" y="202"/>
                    <a:pt x="105" y="199"/>
                    <a:pt x="105" y="197"/>
                  </a:cubicBezTo>
                  <a:cubicBezTo>
                    <a:pt x="106" y="193"/>
                    <a:pt x="108" y="188"/>
                    <a:pt x="105" y="184"/>
                  </a:cubicBezTo>
                  <a:cubicBezTo>
                    <a:pt x="105" y="183"/>
                    <a:pt x="103" y="184"/>
                    <a:pt x="103" y="182"/>
                  </a:cubicBezTo>
                  <a:cubicBezTo>
                    <a:pt x="103" y="180"/>
                    <a:pt x="103" y="178"/>
                    <a:pt x="103" y="177"/>
                  </a:cubicBezTo>
                  <a:cubicBezTo>
                    <a:pt x="103" y="172"/>
                    <a:pt x="103" y="167"/>
                    <a:pt x="103" y="161"/>
                  </a:cubicBezTo>
                  <a:cubicBezTo>
                    <a:pt x="104" y="161"/>
                    <a:pt x="105" y="162"/>
                    <a:pt x="106" y="162"/>
                  </a:cubicBezTo>
                  <a:cubicBezTo>
                    <a:pt x="106" y="164"/>
                    <a:pt x="107" y="166"/>
                    <a:pt x="109" y="166"/>
                  </a:cubicBezTo>
                  <a:cubicBezTo>
                    <a:pt x="111" y="165"/>
                    <a:pt x="112" y="163"/>
                    <a:pt x="112" y="161"/>
                  </a:cubicBezTo>
                  <a:cubicBezTo>
                    <a:pt x="114" y="158"/>
                    <a:pt x="116" y="154"/>
                    <a:pt x="116" y="149"/>
                  </a:cubicBezTo>
                  <a:cubicBezTo>
                    <a:pt x="121" y="149"/>
                    <a:pt x="126" y="150"/>
                    <a:pt x="132" y="150"/>
                  </a:cubicBezTo>
                  <a:cubicBezTo>
                    <a:pt x="133" y="150"/>
                    <a:pt x="136" y="149"/>
                    <a:pt x="138" y="151"/>
                  </a:cubicBezTo>
                  <a:cubicBezTo>
                    <a:pt x="139" y="152"/>
                    <a:pt x="141" y="152"/>
                    <a:pt x="143" y="152"/>
                  </a:cubicBezTo>
                  <a:cubicBezTo>
                    <a:pt x="143" y="150"/>
                    <a:pt x="144" y="149"/>
                    <a:pt x="145" y="147"/>
                  </a:cubicBezTo>
                  <a:cubicBezTo>
                    <a:pt x="145" y="146"/>
                    <a:pt x="145" y="144"/>
                    <a:pt x="145" y="142"/>
                  </a:cubicBezTo>
                  <a:cubicBezTo>
                    <a:pt x="147" y="140"/>
                    <a:pt x="152" y="141"/>
                    <a:pt x="154" y="141"/>
                  </a:cubicBezTo>
                  <a:cubicBezTo>
                    <a:pt x="155" y="139"/>
                    <a:pt x="152" y="138"/>
                    <a:pt x="152" y="136"/>
                  </a:cubicBezTo>
                  <a:cubicBezTo>
                    <a:pt x="152" y="134"/>
                    <a:pt x="152" y="130"/>
                    <a:pt x="153" y="128"/>
                  </a:cubicBezTo>
                  <a:cubicBezTo>
                    <a:pt x="154" y="127"/>
                    <a:pt x="157" y="127"/>
                    <a:pt x="157" y="125"/>
                  </a:cubicBezTo>
                  <a:cubicBezTo>
                    <a:pt x="157" y="124"/>
                    <a:pt x="156" y="122"/>
                    <a:pt x="158" y="122"/>
                  </a:cubicBezTo>
                  <a:cubicBezTo>
                    <a:pt x="159" y="118"/>
                    <a:pt x="161" y="117"/>
                    <a:pt x="164" y="115"/>
                  </a:cubicBezTo>
                  <a:cubicBezTo>
                    <a:pt x="163" y="112"/>
                    <a:pt x="159" y="111"/>
                    <a:pt x="161" y="107"/>
                  </a:cubicBezTo>
                  <a:cubicBezTo>
                    <a:pt x="162" y="105"/>
                    <a:pt x="164" y="107"/>
                    <a:pt x="164" y="104"/>
                  </a:cubicBezTo>
                  <a:cubicBezTo>
                    <a:pt x="164" y="102"/>
                    <a:pt x="167" y="100"/>
                    <a:pt x="168" y="99"/>
                  </a:cubicBezTo>
                  <a:cubicBezTo>
                    <a:pt x="171" y="97"/>
                    <a:pt x="176" y="94"/>
                    <a:pt x="179" y="93"/>
                  </a:cubicBezTo>
                  <a:cubicBezTo>
                    <a:pt x="185" y="92"/>
                    <a:pt x="184" y="90"/>
                    <a:pt x="184" y="85"/>
                  </a:cubicBezTo>
                  <a:cubicBezTo>
                    <a:pt x="183" y="84"/>
                    <a:pt x="183" y="84"/>
                    <a:pt x="183" y="84"/>
                  </a:cubicBezTo>
                  <a:cubicBezTo>
                    <a:pt x="184" y="84"/>
                    <a:pt x="185" y="84"/>
                    <a:pt x="186" y="84"/>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48" name="Freeform 442"/>
            <p:cNvSpPr>
              <a:spLocks/>
            </p:cNvSpPr>
            <p:nvPr/>
          </p:nvSpPr>
          <p:spPr bwMode="auto">
            <a:xfrm>
              <a:off x="5716588" y="2711451"/>
              <a:ext cx="1011238" cy="685800"/>
            </a:xfrm>
            <a:custGeom>
              <a:avLst/>
              <a:gdLst>
                <a:gd name="T0" fmla="*/ 13 w 286"/>
                <a:gd name="T1" fmla="*/ 76 h 194"/>
                <a:gd name="T2" fmla="*/ 12 w 286"/>
                <a:gd name="T3" fmla="*/ 92 h 194"/>
                <a:gd name="T4" fmla="*/ 2 w 286"/>
                <a:gd name="T5" fmla="*/ 104 h 194"/>
                <a:gd name="T6" fmla="*/ 3 w 286"/>
                <a:gd name="T7" fmla="*/ 129 h 194"/>
                <a:gd name="T8" fmla="*/ 15 w 286"/>
                <a:gd name="T9" fmla="*/ 124 h 194"/>
                <a:gd name="T10" fmla="*/ 32 w 286"/>
                <a:gd name="T11" fmla="*/ 113 h 194"/>
                <a:gd name="T12" fmla="*/ 53 w 286"/>
                <a:gd name="T13" fmla="*/ 114 h 194"/>
                <a:gd name="T14" fmla="*/ 70 w 286"/>
                <a:gd name="T15" fmla="*/ 120 h 194"/>
                <a:gd name="T16" fmla="*/ 80 w 286"/>
                <a:gd name="T17" fmla="*/ 123 h 194"/>
                <a:gd name="T18" fmla="*/ 90 w 286"/>
                <a:gd name="T19" fmla="*/ 113 h 194"/>
                <a:gd name="T20" fmla="*/ 101 w 286"/>
                <a:gd name="T21" fmla="*/ 110 h 194"/>
                <a:gd name="T22" fmla="*/ 124 w 286"/>
                <a:gd name="T23" fmla="*/ 106 h 194"/>
                <a:gd name="T24" fmla="*/ 121 w 286"/>
                <a:gd name="T25" fmla="*/ 122 h 194"/>
                <a:gd name="T26" fmla="*/ 143 w 286"/>
                <a:gd name="T27" fmla="*/ 125 h 194"/>
                <a:gd name="T28" fmla="*/ 145 w 286"/>
                <a:gd name="T29" fmla="*/ 144 h 194"/>
                <a:gd name="T30" fmla="*/ 118 w 286"/>
                <a:gd name="T31" fmla="*/ 158 h 194"/>
                <a:gd name="T32" fmla="*/ 122 w 286"/>
                <a:gd name="T33" fmla="*/ 181 h 194"/>
                <a:gd name="T34" fmla="*/ 132 w 286"/>
                <a:gd name="T35" fmla="*/ 194 h 194"/>
                <a:gd name="T36" fmla="*/ 141 w 286"/>
                <a:gd name="T37" fmla="*/ 185 h 194"/>
                <a:gd name="T38" fmla="*/ 154 w 286"/>
                <a:gd name="T39" fmla="*/ 180 h 194"/>
                <a:gd name="T40" fmla="*/ 162 w 286"/>
                <a:gd name="T41" fmla="*/ 159 h 194"/>
                <a:gd name="T42" fmla="*/ 170 w 286"/>
                <a:gd name="T43" fmla="*/ 148 h 194"/>
                <a:gd name="T44" fmla="*/ 178 w 286"/>
                <a:gd name="T45" fmla="*/ 137 h 194"/>
                <a:gd name="T46" fmla="*/ 171 w 286"/>
                <a:gd name="T47" fmla="*/ 123 h 194"/>
                <a:gd name="T48" fmla="*/ 186 w 286"/>
                <a:gd name="T49" fmla="*/ 109 h 194"/>
                <a:gd name="T50" fmla="*/ 194 w 286"/>
                <a:gd name="T51" fmla="*/ 109 h 194"/>
                <a:gd name="T52" fmla="*/ 203 w 286"/>
                <a:gd name="T53" fmla="*/ 86 h 194"/>
                <a:gd name="T54" fmla="*/ 212 w 286"/>
                <a:gd name="T55" fmla="*/ 79 h 194"/>
                <a:gd name="T56" fmla="*/ 219 w 286"/>
                <a:gd name="T57" fmla="*/ 72 h 194"/>
                <a:gd name="T58" fmla="*/ 238 w 286"/>
                <a:gd name="T59" fmla="*/ 55 h 194"/>
                <a:gd name="T60" fmla="*/ 249 w 286"/>
                <a:gd name="T61" fmla="*/ 49 h 194"/>
                <a:gd name="T62" fmla="*/ 256 w 286"/>
                <a:gd name="T63" fmla="*/ 46 h 194"/>
                <a:gd name="T64" fmla="*/ 265 w 286"/>
                <a:gd name="T65" fmla="*/ 36 h 194"/>
                <a:gd name="T66" fmla="*/ 285 w 286"/>
                <a:gd name="T67" fmla="*/ 30 h 194"/>
                <a:gd name="T68" fmla="*/ 278 w 286"/>
                <a:gd name="T69" fmla="*/ 24 h 194"/>
                <a:gd name="T70" fmla="*/ 277 w 286"/>
                <a:gd name="T71" fmla="*/ 7 h 194"/>
                <a:gd name="T72" fmla="*/ 269 w 286"/>
                <a:gd name="T73" fmla="*/ 2 h 194"/>
                <a:gd name="T74" fmla="*/ 256 w 286"/>
                <a:gd name="T75" fmla="*/ 7 h 194"/>
                <a:gd name="T76" fmla="*/ 248 w 286"/>
                <a:gd name="T77" fmla="*/ 10 h 194"/>
                <a:gd name="T78" fmla="*/ 239 w 286"/>
                <a:gd name="T79" fmla="*/ 13 h 194"/>
                <a:gd name="T80" fmla="*/ 233 w 286"/>
                <a:gd name="T81" fmla="*/ 17 h 194"/>
                <a:gd name="T82" fmla="*/ 229 w 286"/>
                <a:gd name="T83" fmla="*/ 19 h 194"/>
                <a:gd name="T84" fmla="*/ 215 w 286"/>
                <a:gd name="T85" fmla="*/ 25 h 194"/>
                <a:gd name="T86" fmla="*/ 203 w 286"/>
                <a:gd name="T87" fmla="*/ 25 h 194"/>
                <a:gd name="T88" fmla="*/ 203 w 286"/>
                <a:gd name="T89" fmla="*/ 34 h 194"/>
                <a:gd name="T90" fmla="*/ 195 w 286"/>
                <a:gd name="T91" fmla="*/ 40 h 194"/>
                <a:gd name="T92" fmla="*/ 187 w 286"/>
                <a:gd name="T93" fmla="*/ 52 h 194"/>
                <a:gd name="T94" fmla="*/ 177 w 286"/>
                <a:gd name="T95" fmla="*/ 57 h 194"/>
                <a:gd name="T96" fmla="*/ 159 w 286"/>
                <a:gd name="T97" fmla="*/ 61 h 194"/>
                <a:gd name="T98" fmla="*/ 138 w 286"/>
                <a:gd name="T99" fmla="*/ 59 h 194"/>
                <a:gd name="T100" fmla="*/ 125 w 286"/>
                <a:gd name="T101" fmla="*/ 63 h 194"/>
                <a:gd name="T102" fmla="*/ 110 w 286"/>
                <a:gd name="T103" fmla="*/ 65 h 194"/>
                <a:gd name="T104" fmla="*/ 66 w 286"/>
                <a:gd name="T105" fmla="*/ 56 h 194"/>
                <a:gd name="T106" fmla="*/ 14 w 286"/>
                <a:gd name="T107" fmla="*/ 7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194">
                  <a:moveTo>
                    <a:pt x="14" y="74"/>
                  </a:moveTo>
                  <a:cubicBezTo>
                    <a:pt x="8" y="78"/>
                    <a:pt x="8" y="78"/>
                    <a:pt x="8" y="78"/>
                  </a:cubicBezTo>
                  <a:cubicBezTo>
                    <a:pt x="8" y="77"/>
                    <a:pt x="9" y="77"/>
                    <a:pt x="10" y="77"/>
                  </a:cubicBezTo>
                  <a:cubicBezTo>
                    <a:pt x="11" y="77"/>
                    <a:pt x="12" y="77"/>
                    <a:pt x="13" y="76"/>
                  </a:cubicBezTo>
                  <a:cubicBezTo>
                    <a:pt x="13" y="77"/>
                    <a:pt x="13" y="78"/>
                    <a:pt x="12" y="79"/>
                  </a:cubicBezTo>
                  <a:cubicBezTo>
                    <a:pt x="11" y="81"/>
                    <a:pt x="10" y="85"/>
                    <a:pt x="11" y="87"/>
                  </a:cubicBezTo>
                  <a:cubicBezTo>
                    <a:pt x="12" y="88"/>
                    <a:pt x="12" y="89"/>
                    <a:pt x="14" y="89"/>
                  </a:cubicBezTo>
                  <a:cubicBezTo>
                    <a:pt x="13" y="90"/>
                    <a:pt x="13" y="91"/>
                    <a:pt x="12" y="92"/>
                  </a:cubicBezTo>
                  <a:cubicBezTo>
                    <a:pt x="11" y="93"/>
                    <a:pt x="10" y="94"/>
                    <a:pt x="9" y="96"/>
                  </a:cubicBezTo>
                  <a:cubicBezTo>
                    <a:pt x="8" y="96"/>
                    <a:pt x="7" y="97"/>
                    <a:pt x="6" y="98"/>
                  </a:cubicBezTo>
                  <a:cubicBezTo>
                    <a:pt x="4" y="99"/>
                    <a:pt x="3" y="101"/>
                    <a:pt x="3" y="103"/>
                  </a:cubicBezTo>
                  <a:cubicBezTo>
                    <a:pt x="2" y="104"/>
                    <a:pt x="2" y="104"/>
                    <a:pt x="2" y="104"/>
                  </a:cubicBezTo>
                  <a:cubicBezTo>
                    <a:pt x="1" y="105"/>
                    <a:pt x="0" y="105"/>
                    <a:pt x="0" y="105"/>
                  </a:cubicBezTo>
                  <a:cubicBezTo>
                    <a:pt x="2" y="108"/>
                    <a:pt x="2" y="108"/>
                    <a:pt x="2" y="108"/>
                  </a:cubicBezTo>
                  <a:cubicBezTo>
                    <a:pt x="2" y="114"/>
                    <a:pt x="2" y="120"/>
                    <a:pt x="2" y="125"/>
                  </a:cubicBezTo>
                  <a:cubicBezTo>
                    <a:pt x="2" y="127"/>
                    <a:pt x="2" y="128"/>
                    <a:pt x="3" y="129"/>
                  </a:cubicBezTo>
                  <a:cubicBezTo>
                    <a:pt x="4" y="131"/>
                    <a:pt x="6" y="131"/>
                    <a:pt x="8" y="131"/>
                  </a:cubicBezTo>
                  <a:cubicBezTo>
                    <a:pt x="10" y="131"/>
                    <a:pt x="16" y="132"/>
                    <a:pt x="17" y="131"/>
                  </a:cubicBezTo>
                  <a:cubicBezTo>
                    <a:pt x="19" y="130"/>
                    <a:pt x="17" y="125"/>
                    <a:pt x="16" y="124"/>
                  </a:cubicBezTo>
                  <a:cubicBezTo>
                    <a:pt x="16" y="124"/>
                    <a:pt x="15" y="124"/>
                    <a:pt x="15" y="124"/>
                  </a:cubicBezTo>
                  <a:cubicBezTo>
                    <a:pt x="15" y="123"/>
                    <a:pt x="15" y="122"/>
                    <a:pt x="15" y="120"/>
                  </a:cubicBezTo>
                  <a:cubicBezTo>
                    <a:pt x="17" y="120"/>
                    <a:pt x="18" y="118"/>
                    <a:pt x="19" y="117"/>
                  </a:cubicBezTo>
                  <a:cubicBezTo>
                    <a:pt x="20" y="116"/>
                    <a:pt x="20" y="116"/>
                    <a:pt x="22" y="116"/>
                  </a:cubicBezTo>
                  <a:cubicBezTo>
                    <a:pt x="24" y="115"/>
                    <a:pt x="32" y="117"/>
                    <a:pt x="32" y="113"/>
                  </a:cubicBezTo>
                  <a:cubicBezTo>
                    <a:pt x="34" y="113"/>
                    <a:pt x="36" y="113"/>
                    <a:pt x="38" y="112"/>
                  </a:cubicBezTo>
                  <a:cubicBezTo>
                    <a:pt x="40" y="112"/>
                    <a:pt x="41" y="112"/>
                    <a:pt x="43" y="112"/>
                  </a:cubicBezTo>
                  <a:cubicBezTo>
                    <a:pt x="44" y="113"/>
                    <a:pt x="45" y="114"/>
                    <a:pt x="46" y="114"/>
                  </a:cubicBezTo>
                  <a:cubicBezTo>
                    <a:pt x="48" y="114"/>
                    <a:pt x="51" y="114"/>
                    <a:pt x="53" y="114"/>
                  </a:cubicBezTo>
                  <a:cubicBezTo>
                    <a:pt x="55" y="114"/>
                    <a:pt x="56" y="113"/>
                    <a:pt x="58" y="113"/>
                  </a:cubicBezTo>
                  <a:cubicBezTo>
                    <a:pt x="60" y="113"/>
                    <a:pt x="61" y="114"/>
                    <a:pt x="63" y="115"/>
                  </a:cubicBezTo>
                  <a:cubicBezTo>
                    <a:pt x="65" y="116"/>
                    <a:pt x="66" y="114"/>
                    <a:pt x="68" y="116"/>
                  </a:cubicBezTo>
                  <a:cubicBezTo>
                    <a:pt x="69" y="117"/>
                    <a:pt x="69" y="119"/>
                    <a:pt x="70" y="120"/>
                  </a:cubicBezTo>
                  <a:cubicBezTo>
                    <a:pt x="72" y="120"/>
                    <a:pt x="72" y="118"/>
                    <a:pt x="73" y="117"/>
                  </a:cubicBezTo>
                  <a:cubicBezTo>
                    <a:pt x="74" y="117"/>
                    <a:pt x="75" y="117"/>
                    <a:pt x="76" y="117"/>
                  </a:cubicBezTo>
                  <a:cubicBezTo>
                    <a:pt x="76" y="118"/>
                    <a:pt x="75" y="120"/>
                    <a:pt x="76" y="122"/>
                  </a:cubicBezTo>
                  <a:cubicBezTo>
                    <a:pt x="77" y="124"/>
                    <a:pt x="78" y="123"/>
                    <a:pt x="80" y="123"/>
                  </a:cubicBezTo>
                  <a:cubicBezTo>
                    <a:pt x="80" y="122"/>
                    <a:pt x="80" y="121"/>
                    <a:pt x="81" y="120"/>
                  </a:cubicBezTo>
                  <a:cubicBezTo>
                    <a:pt x="82" y="120"/>
                    <a:pt x="83" y="120"/>
                    <a:pt x="83" y="120"/>
                  </a:cubicBezTo>
                  <a:cubicBezTo>
                    <a:pt x="84" y="116"/>
                    <a:pt x="87" y="117"/>
                    <a:pt x="89" y="117"/>
                  </a:cubicBezTo>
                  <a:cubicBezTo>
                    <a:pt x="93" y="116"/>
                    <a:pt x="89" y="115"/>
                    <a:pt x="90" y="113"/>
                  </a:cubicBezTo>
                  <a:cubicBezTo>
                    <a:pt x="90" y="111"/>
                    <a:pt x="93" y="111"/>
                    <a:pt x="93" y="109"/>
                  </a:cubicBezTo>
                  <a:cubicBezTo>
                    <a:pt x="94" y="109"/>
                    <a:pt x="96" y="109"/>
                    <a:pt x="97" y="110"/>
                  </a:cubicBezTo>
                  <a:cubicBezTo>
                    <a:pt x="98" y="111"/>
                    <a:pt x="98" y="114"/>
                    <a:pt x="100" y="114"/>
                  </a:cubicBezTo>
                  <a:cubicBezTo>
                    <a:pt x="100" y="112"/>
                    <a:pt x="101" y="112"/>
                    <a:pt x="101" y="110"/>
                  </a:cubicBezTo>
                  <a:cubicBezTo>
                    <a:pt x="102" y="108"/>
                    <a:pt x="101" y="107"/>
                    <a:pt x="103" y="106"/>
                  </a:cubicBezTo>
                  <a:cubicBezTo>
                    <a:pt x="106" y="104"/>
                    <a:pt x="110" y="110"/>
                    <a:pt x="113" y="106"/>
                  </a:cubicBezTo>
                  <a:cubicBezTo>
                    <a:pt x="114" y="106"/>
                    <a:pt x="116" y="106"/>
                    <a:pt x="118" y="106"/>
                  </a:cubicBezTo>
                  <a:cubicBezTo>
                    <a:pt x="120" y="106"/>
                    <a:pt x="122" y="106"/>
                    <a:pt x="124" y="106"/>
                  </a:cubicBezTo>
                  <a:cubicBezTo>
                    <a:pt x="124" y="108"/>
                    <a:pt x="122" y="107"/>
                    <a:pt x="121" y="108"/>
                  </a:cubicBezTo>
                  <a:cubicBezTo>
                    <a:pt x="120" y="108"/>
                    <a:pt x="119" y="110"/>
                    <a:pt x="119" y="111"/>
                  </a:cubicBezTo>
                  <a:cubicBezTo>
                    <a:pt x="122" y="112"/>
                    <a:pt x="122" y="114"/>
                    <a:pt x="121" y="116"/>
                  </a:cubicBezTo>
                  <a:cubicBezTo>
                    <a:pt x="121" y="118"/>
                    <a:pt x="120" y="120"/>
                    <a:pt x="121" y="122"/>
                  </a:cubicBezTo>
                  <a:cubicBezTo>
                    <a:pt x="123" y="123"/>
                    <a:pt x="124" y="121"/>
                    <a:pt x="126" y="120"/>
                  </a:cubicBezTo>
                  <a:cubicBezTo>
                    <a:pt x="128" y="120"/>
                    <a:pt x="131" y="119"/>
                    <a:pt x="133" y="120"/>
                  </a:cubicBezTo>
                  <a:cubicBezTo>
                    <a:pt x="135" y="120"/>
                    <a:pt x="135" y="123"/>
                    <a:pt x="137" y="124"/>
                  </a:cubicBezTo>
                  <a:cubicBezTo>
                    <a:pt x="138" y="125"/>
                    <a:pt x="141" y="125"/>
                    <a:pt x="143" y="125"/>
                  </a:cubicBezTo>
                  <a:cubicBezTo>
                    <a:pt x="141" y="125"/>
                    <a:pt x="141" y="130"/>
                    <a:pt x="141" y="132"/>
                  </a:cubicBezTo>
                  <a:cubicBezTo>
                    <a:pt x="142" y="135"/>
                    <a:pt x="146" y="135"/>
                    <a:pt x="148" y="137"/>
                  </a:cubicBezTo>
                  <a:cubicBezTo>
                    <a:pt x="149" y="139"/>
                    <a:pt x="149" y="141"/>
                    <a:pt x="148" y="143"/>
                  </a:cubicBezTo>
                  <a:cubicBezTo>
                    <a:pt x="148" y="143"/>
                    <a:pt x="146" y="143"/>
                    <a:pt x="145" y="144"/>
                  </a:cubicBezTo>
                  <a:cubicBezTo>
                    <a:pt x="143" y="145"/>
                    <a:pt x="142" y="148"/>
                    <a:pt x="139" y="149"/>
                  </a:cubicBezTo>
                  <a:cubicBezTo>
                    <a:pt x="137" y="150"/>
                    <a:pt x="135" y="150"/>
                    <a:pt x="133" y="151"/>
                  </a:cubicBezTo>
                  <a:cubicBezTo>
                    <a:pt x="131" y="153"/>
                    <a:pt x="131" y="155"/>
                    <a:pt x="129" y="156"/>
                  </a:cubicBezTo>
                  <a:cubicBezTo>
                    <a:pt x="125" y="157"/>
                    <a:pt x="121" y="155"/>
                    <a:pt x="118" y="158"/>
                  </a:cubicBezTo>
                  <a:cubicBezTo>
                    <a:pt x="116" y="160"/>
                    <a:pt x="115" y="165"/>
                    <a:pt x="115" y="168"/>
                  </a:cubicBezTo>
                  <a:cubicBezTo>
                    <a:pt x="114" y="170"/>
                    <a:pt x="115" y="172"/>
                    <a:pt x="117" y="174"/>
                  </a:cubicBezTo>
                  <a:cubicBezTo>
                    <a:pt x="117" y="174"/>
                    <a:pt x="123" y="178"/>
                    <a:pt x="123" y="177"/>
                  </a:cubicBezTo>
                  <a:cubicBezTo>
                    <a:pt x="123" y="178"/>
                    <a:pt x="123" y="180"/>
                    <a:pt x="122" y="181"/>
                  </a:cubicBezTo>
                  <a:cubicBezTo>
                    <a:pt x="122" y="181"/>
                    <a:pt x="121" y="181"/>
                    <a:pt x="121" y="181"/>
                  </a:cubicBezTo>
                  <a:cubicBezTo>
                    <a:pt x="122" y="183"/>
                    <a:pt x="123" y="187"/>
                    <a:pt x="122" y="189"/>
                  </a:cubicBezTo>
                  <a:cubicBezTo>
                    <a:pt x="122" y="189"/>
                    <a:pt x="131" y="188"/>
                    <a:pt x="132" y="188"/>
                  </a:cubicBezTo>
                  <a:cubicBezTo>
                    <a:pt x="132" y="190"/>
                    <a:pt x="132" y="192"/>
                    <a:pt x="132" y="194"/>
                  </a:cubicBezTo>
                  <a:cubicBezTo>
                    <a:pt x="134" y="194"/>
                    <a:pt x="136" y="193"/>
                    <a:pt x="137" y="192"/>
                  </a:cubicBezTo>
                  <a:cubicBezTo>
                    <a:pt x="138" y="191"/>
                    <a:pt x="138" y="190"/>
                    <a:pt x="138" y="188"/>
                  </a:cubicBezTo>
                  <a:cubicBezTo>
                    <a:pt x="139" y="188"/>
                    <a:pt x="140" y="188"/>
                    <a:pt x="141" y="188"/>
                  </a:cubicBezTo>
                  <a:cubicBezTo>
                    <a:pt x="141" y="187"/>
                    <a:pt x="141" y="185"/>
                    <a:pt x="141" y="185"/>
                  </a:cubicBezTo>
                  <a:cubicBezTo>
                    <a:pt x="142" y="183"/>
                    <a:pt x="143" y="184"/>
                    <a:pt x="144" y="183"/>
                  </a:cubicBezTo>
                  <a:cubicBezTo>
                    <a:pt x="145" y="181"/>
                    <a:pt x="145" y="178"/>
                    <a:pt x="145" y="176"/>
                  </a:cubicBezTo>
                  <a:cubicBezTo>
                    <a:pt x="146" y="178"/>
                    <a:pt x="149" y="179"/>
                    <a:pt x="150" y="182"/>
                  </a:cubicBezTo>
                  <a:cubicBezTo>
                    <a:pt x="152" y="182"/>
                    <a:pt x="153" y="180"/>
                    <a:pt x="154" y="180"/>
                  </a:cubicBezTo>
                  <a:cubicBezTo>
                    <a:pt x="156" y="179"/>
                    <a:pt x="158" y="180"/>
                    <a:pt x="159" y="180"/>
                  </a:cubicBezTo>
                  <a:cubicBezTo>
                    <a:pt x="159" y="178"/>
                    <a:pt x="160" y="177"/>
                    <a:pt x="160" y="175"/>
                  </a:cubicBezTo>
                  <a:cubicBezTo>
                    <a:pt x="161" y="173"/>
                    <a:pt x="162" y="172"/>
                    <a:pt x="162" y="170"/>
                  </a:cubicBezTo>
                  <a:cubicBezTo>
                    <a:pt x="162" y="166"/>
                    <a:pt x="162" y="163"/>
                    <a:pt x="162" y="159"/>
                  </a:cubicBezTo>
                  <a:cubicBezTo>
                    <a:pt x="164" y="159"/>
                    <a:pt x="166" y="160"/>
                    <a:pt x="167" y="160"/>
                  </a:cubicBezTo>
                  <a:cubicBezTo>
                    <a:pt x="168" y="158"/>
                    <a:pt x="168" y="156"/>
                    <a:pt x="168" y="154"/>
                  </a:cubicBezTo>
                  <a:cubicBezTo>
                    <a:pt x="169" y="152"/>
                    <a:pt x="169" y="151"/>
                    <a:pt x="168" y="149"/>
                  </a:cubicBezTo>
                  <a:cubicBezTo>
                    <a:pt x="169" y="148"/>
                    <a:pt x="170" y="148"/>
                    <a:pt x="170" y="148"/>
                  </a:cubicBezTo>
                  <a:cubicBezTo>
                    <a:pt x="171" y="147"/>
                    <a:pt x="172" y="146"/>
                    <a:pt x="172" y="145"/>
                  </a:cubicBezTo>
                  <a:cubicBezTo>
                    <a:pt x="172" y="144"/>
                    <a:pt x="172" y="142"/>
                    <a:pt x="172" y="141"/>
                  </a:cubicBezTo>
                  <a:cubicBezTo>
                    <a:pt x="173" y="140"/>
                    <a:pt x="174" y="139"/>
                    <a:pt x="175" y="138"/>
                  </a:cubicBezTo>
                  <a:cubicBezTo>
                    <a:pt x="176" y="137"/>
                    <a:pt x="176" y="137"/>
                    <a:pt x="178" y="137"/>
                  </a:cubicBezTo>
                  <a:cubicBezTo>
                    <a:pt x="177" y="135"/>
                    <a:pt x="177" y="133"/>
                    <a:pt x="177" y="131"/>
                  </a:cubicBezTo>
                  <a:cubicBezTo>
                    <a:pt x="177" y="127"/>
                    <a:pt x="176" y="129"/>
                    <a:pt x="173" y="127"/>
                  </a:cubicBezTo>
                  <a:cubicBezTo>
                    <a:pt x="172" y="125"/>
                    <a:pt x="172" y="125"/>
                    <a:pt x="172" y="125"/>
                  </a:cubicBezTo>
                  <a:cubicBezTo>
                    <a:pt x="171" y="124"/>
                    <a:pt x="171" y="125"/>
                    <a:pt x="171" y="123"/>
                  </a:cubicBezTo>
                  <a:cubicBezTo>
                    <a:pt x="172" y="122"/>
                    <a:pt x="175" y="121"/>
                    <a:pt x="177" y="121"/>
                  </a:cubicBezTo>
                  <a:cubicBezTo>
                    <a:pt x="177" y="119"/>
                    <a:pt x="178" y="119"/>
                    <a:pt x="179" y="118"/>
                  </a:cubicBezTo>
                  <a:cubicBezTo>
                    <a:pt x="179" y="116"/>
                    <a:pt x="178" y="115"/>
                    <a:pt x="179" y="114"/>
                  </a:cubicBezTo>
                  <a:cubicBezTo>
                    <a:pt x="181" y="112"/>
                    <a:pt x="185" y="112"/>
                    <a:pt x="186" y="109"/>
                  </a:cubicBezTo>
                  <a:cubicBezTo>
                    <a:pt x="185" y="108"/>
                    <a:pt x="185" y="107"/>
                    <a:pt x="185" y="106"/>
                  </a:cubicBezTo>
                  <a:cubicBezTo>
                    <a:pt x="187" y="105"/>
                    <a:pt x="189" y="105"/>
                    <a:pt x="190" y="104"/>
                  </a:cubicBezTo>
                  <a:cubicBezTo>
                    <a:pt x="189" y="105"/>
                    <a:pt x="190" y="107"/>
                    <a:pt x="190" y="108"/>
                  </a:cubicBezTo>
                  <a:cubicBezTo>
                    <a:pt x="191" y="110"/>
                    <a:pt x="192" y="110"/>
                    <a:pt x="194" y="109"/>
                  </a:cubicBezTo>
                  <a:cubicBezTo>
                    <a:pt x="198" y="109"/>
                    <a:pt x="199" y="106"/>
                    <a:pt x="198" y="102"/>
                  </a:cubicBezTo>
                  <a:cubicBezTo>
                    <a:pt x="198" y="100"/>
                    <a:pt x="198" y="100"/>
                    <a:pt x="200" y="98"/>
                  </a:cubicBezTo>
                  <a:cubicBezTo>
                    <a:pt x="202" y="96"/>
                    <a:pt x="200" y="96"/>
                    <a:pt x="199" y="94"/>
                  </a:cubicBezTo>
                  <a:cubicBezTo>
                    <a:pt x="199" y="94"/>
                    <a:pt x="203" y="87"/>
                    <a:pt x="203" y="86"/>
                  </a:cubicBezTo>
                  <a:cubicBezTo>
                    <a:pt x="205" y="85"/>
                    <a:pt x="206" y="85"/>
                    <a:pt x="207" y="84"/>
                  </a:cubicBezTo>
                  <a:cubicBezTo>
                    <a:pt x="209" y="81"/>
                    <a:pt x="208" y="78"/>
                    <a:pt x="210" y="76"/>
                  </a:cubicBezTo>
                  <a:cubicBezTo>
                    <a:pt x="210" y="75"/>
                    <a:pt x="212" y="75"/>
                    <a:pt x="212" y="75"/>
                  </a:cubicBezTo>
                  <a:cubicBezTo>
                    <a:pt x="213" y="76"/>
                    <a:pt x="212" y="78"/>
                    <a:pt x="212" y="79"/>
                  </a:cubicBezTo>
                  <a:cubicBezTo>
                    <a:pt x="213" y="79"/>
                    <a:pt x="213" y="80"/>
                    <a:pt x="214" y="79"/>
                  </a:cubicBezTo>
                  <a:cubicBezTo>
                    <a:pt x="215" y="79"/>
                    <a:pt x="215" y="79"/>
                    <a:pt x="215" y="78"/>
                  </a:cubicBezTo>
                  <a:cubicBezTo>
                    <a:pt x="216" y="77"/>
                    <a:pt x="218" y="77"/>
                    <a:pt x="218" y="75"/>
                  </a:cubicBezTo>
                  <a:cubicBezTo>
                    <a:pt x="218" y="74"/>
                    <a:pt x="218" y="73"/>
                    <a:pt x="219" y="72"/>
                  </a:cubicBezTo>
                  <a:cubicBezTo>
                    <a:pt x="221" y="67"/>
                    <a:pt x="227" y="66"/>
                    <a:pt x="231" y="63"/>
                  </a:cubicBezTo>
                  <a:cubicBezTo>
                    <a:pt x="232" y="63"/>
                    <a:pt x="234" y="62"/>
                    <a:pt x="235" y="61"/>
                  </a:cubicBezTo>
                  <a:cubicBezTo>
                    <a:pt x="235" y="60"/>
                    <a:pt x="236" y="58"/>
                    <a:pt x="237" y="58"/>
                  </a:cubicBezTo>
                  <a:cubicBezTo>
                    <a:pt x="238" y="57"/>
                    <a:pt x="237" y="55"/>
                    <a:pt x="238" y="55"/>
                  </a:cubicBezTo>
                  <a:cubicBezTo>
                    <a:pt x="239" y="54"/>
                    <a:pt x="241" y="54"/>
                    <a:pt x="242" y="54"/>
                  </a:cubicBezTo>
                  <a:cubicBezTo>
                    <a:pt x="243" y="53"/>
                    <a:pt x="244" y="54"/>
                    <a:pt x="245" y="53"/>
                  </a:cubicBezTo>
                  <a:cubicBezTo>
                    <a:pt x="245" y="53"/>
                    <a:pt x="246" y="52"/>
                    <a:pt x="247" y="52"/>
                  </a:cubicBezTo>
                  <a:cubicBezTo>
                    <a:pt x="247" y="51"/>
                    <a:pt x="249" y="50"/>
                    <a:pt x="249" y="49"/>
                  </a:cubicBezTo>
                  <a:cubicBezTo>
                    <a:pt x="250" y="49"/>
                    <a:pt x="250" y="48"/>
                    <a:pt x="251" y="48"/>
                  </a:cubicBezTo>
                  <a:cubicBezTo>
                    <a:pt x="252" y="47"/>
                    <a:pt x="253" y="48"/>
                    <a:pt x="254" y="48"/>
                  </a:cubicBezTo>
                  <a:cubicBezTo>
                    <a:pt x="255" y="47"/>
                    <a:pt x="256" y="47"/>
                    <a:pt x="256" y="46"/>
                  </a:cubicBezTo>
                  <a:cubicBezTo>
                    <a:pt x="256" y="46"/>
                    <a:pt x="256" y="46"/>
                    <a:pt x="256" y="46"/>
                  </a:cubicBezTo>
                  <a:cubicBezTo>
                    <a:pt x="256" y="46"/>
                    <a:pt x="258" y="44"/>
                    <a:pt x="259" y="43"/>
                  </a:cubicBezTo>
                  <a:cubicBezTo>
                    <a:pt x="259" y="43"/>
                    <a:pt x="262" y="42"/>
                    <a:pt x="262" y="42"/>
                  </a:cubicBezTo>
                  <a:cubicBezTo>
                    <a:pt x="262" y="41"/>
                    <a:pt x="262" y="39"/>
                    <a:pt x="262" y="38"/>
                  </a:cubicBezTo>
                  <a:cubicBezTo>
                    <a:pt x="263" y="36"/>
                    <a:pt x="263" y="36"/>
                    <a:pt x="265" y="36"/>
                  </a:cubicBezTo>
                  <a:cubicBezTo>
                    <a:pt x="266" y="37"/>
                    <a:pt x="271" y="37"/>
                    <a:pt x="272" y="37"/>
                  </a:cubicBezTo>
                  <a:cubicBezTo>
                    <a:pt x="273" y="36"/>
                    <a:pt x="274" y="36"/>
                    <a:pt x="275" y="36"/>
                  </a:cubicBezTo>
                  <a:cubicBezTo>
                    <a:pt x="276" y="35"/>
                    <a:pt x="278" y="35"/>
                    <a:pt x="278" y="34"/>
                  </a:cubicBezTo>
                  <a:cubicBezTo>
                    <a:pt x="281" y="35"/>
                    <a:pt x="284" y="33"/>
                    <a:pt x="285" y="30"/>
                  </a:cubicBezTo>
                  <a:cubicBezTo>
                    <a:pt x="285" y="28"/>
                    <a:pt x="286" y="25"/>
                    <a:pt x="284" y="26"/>
                  </a:cubicBezTo>
                  <a:cubicBezTo>
                    <a:pt x="283" y="26"/>
                    <a:pt x="283" y="27"/>
                    <a:pt x="282" y="27"/>
                  </a:cubicBezTo>
                  <a:cubicBezTo>
                    <a:pt x="281" y="28"/>
                    <a:pt x="280" y="28"/>
                    <a:pt x="280" y="28"/>
                  </a:cubicBezTo>
                  <a:cubicBezTo>
                    <a:pt x="279" y="26"/>
                    <a:pt x="279" y="25"/>
                    <a:pt x="278" y="24"/>
                  </a:cubicBezTo>
                  <a:cubicBezTo>
                    <a:pt x="278" y="23"/>
                    <a:pt x="278" y="22"/>
                    <a:pt x="278" y="20"/>
                  </a:cubicBezTo>
                  <a:cubicBezTo>
                    <a:pt x="274" y="19"/>
                    <a:pt x="274" y="16"/>
                    <a:pt x="274" y="13"/>
                  </a:cubicBezTo>
                  <a:cubicBezTo>
                    <a:pt x="274" y="11"/>
                    <a:pt x="274" y="9"/>
                    <a:pt x="275" y="8"/>
                  </a:cubicBezTo>
                  <a:cubicBezTo>
                    <a:pt x="275" y="7"/>
                    <a:pt x="276" y="7"/>
                    <a:pt x="277" y="7"/>
                  </a:cubicBezTo>
                  <a:cubicBezTo>
                    <a:pt x="278" y="6"/>
                    <a:pt x="278" y="6"/>
                    <a:pt x="279" y="5"/>
                  </a:cubicBezTo>
                  <a:cubicBezTo>
                    <a:pt x="279" y="4"/>
                    <a:pt x="281" y="3"/>
                    <a:pt x="280" y="2"/>
                  </a:cubicBezTo>
                  <a:cubicBezTo>
                    <a:pt x="279" y="0"/>
                    <a:pt x="275" y="1"/>
                    <a:pt x="273" y="1"/>
                  </a:cubicBezTo>
                  <a:cubicBezTo>
                    <a:pt x="272" y="1"/>
                    <a:pt x="271" y="2"/>
                    <a:pt x="269" y="2"/>
                  </a:cubicBezTo>
                  <a:cubicBezTo>
                    <a:pt x="268" y="2"/>
                    <a:pt x="267" y="2"/>
                    <a:pt x="266" y="3"/>
                  </a:cubicBezTo>
                  <a:cubicBezTo>
                    <a:pt x="264" y="4"/>
                    <a:pt x="264" y="4"/>
                    <a:pt x="263" y="5"/>
                  </a:cubicBezTo>
                  <a:cubicBezTo>
                    <a:pt x="261" y="5"/>
                    <a:pt x="261" y="5"/>
                    <a:pt x="259" y="6"/>
                  </a:cubicBezTo>
                  <a:cubicBezTo>
                    <a:pt x="258" y="7"/>
                    <a:pt x="257" y="7"/>
                    <a:pt x="256" y="7"/>
                  </a:cubicBezTo>
                  <a:cubicBezTo>
                    <a:pt x="255" y="7"/>
                    <a:pt x="253" y="7"/>
                    <a:pt x="252" y="8"/>
                  </a:cubicBezTo>
                  <a:cubicBezTo>
                    <a:pt x="251" y="8"/>
                    <a:pt x="252" y="8"/>
                    <a:pt x="251" y="9"/>
                  </a:cubicBezTo>
                  <a:cubicBezTo>
                    <a:pt x="251" y="9"/>
                    <a:pt x="250" y="9"/>
                    <a:pt x="249" y="9"/>
                  </a:cubicBezTo>
                  <a:cubicBezTo>
                    <a:pt x="249" y="9"/>
                    <a:pt x="248" y="10"/>
                    <a:pt x="248" y="10"/>
                  </a:cubicBezTo>
                  <a:cubicBezTo>
                    <a:pt x="247" y="11"/>
                    <a:pt x="247" y="11"/>
                    <a:pt x="246" y="11"/>
                  </a:cubicBezTo>
                  <a:cubicBezTo>
                    <a:pt x="246" y="11"/>
                    <a:pt x="245" y="11"/>
                    <a:pt x="244" y="11"/>
                  </a:cubicBezTo>
                  <a:cubicBezTo>
                    <a:pt x="244" y="12"/>
                    <a:pt x="243" y="12"/>
                    <a:pt x="243" y="12"/>
                  </a:cubicBezTo>
                  <a:cubicBezTo>
                    <a:pt x="241" y="13"/>
                    <a:pt x="240" y="13"/>
                    <a:pt x="239" y="13"/>
                  </a:cubicBezTo>
                  <a:cubicBezTo>
                    <a:pt x="239" y="14"/>
                    <a:pt x="239" y="14"/>
                    <a:pt x="238" y="14"/>
                  </a:cubicBezTo>
                  <a:cubicBezTo>
                    <a:pt x="237" y="15"/>
                    <a:pt x="237" y="15"/>
                    <a:pt x="236" y="15"/>
                  </a:cubicBezTo>
                  <a:cubicBezTo>
                    <a:pt x="236" y="16"/>
                    <a:pt x="235" y="16"/>
                    <a:pt x="234" y="16"/>
                  </a:cubicBezTo>
                  <a:cubicBezTo>
                    <a:pt x="234" y="16"/>
                    <a:pt x="234" y="16"/>
                    <a:pt x="233" y="17"/>
                  </a:cubicBezTo>
                  <a:cubicBezTo>
                    <a:pt x="233" y="17"/>
                    <a:pt x="233" y="17"/>
                    <a:pt x="233" y="17"/>
                  </a:cubicBezTo>
                  <a:cubicBezTo>
                    <a:pt x="232" y="17"/>
                    <a:pt x="232" y="17"/>
                    <a:pt x="232" y="17"/>
                  </a:cubicBezTo>
                  <a:cubicBezTo>
                    <a:pt x="231" y="17"/>
                    <a:pt x="231" y="17"/>
                    <a:pt x="231" y="17"/>
                  </a:cubicBezTo>
                  <a:cubicBezTo>
                    <a:pt x="230" y="18"/>
                    <a:pt x="229" y="18"/>
                    <a:pt x="229" y="19"/>
                  </a:cubicBezTo>
                  <a:cubicBezTo>
                    <a:pt x="228" y="20"/>
                    <a:pt x="227" y="20"/>
                    <a:pt x="226" y="21"/>
                  </a:cubicBezTo>
                  <a:cubicBezTo>
                    <a:pt x="224" y="21"/>
                    <a:pt x="223" y="22"/>
                    <a:pt x="222" y="23"/>
                  </a:cubicBezTo>
                  <a:cubicBezTo>
                    <a:pt x="220" y="24"/>
                    <a:pt x="219" y="23"/>
                    <a:pt x="218" y="24"/>
                  </a:cubicBezTo>
                  <a:cubicBezTo>
                    <a:pt x="218" y="25"/>
                    <a:pt x="216" y="25"/>
                    <a:pt x="215" y="25"/>
                  </a:cubicBezTo>
                  <a:cubicBezTo>
                    <a:pt x="213" y="25"/>
                    <a:pt x="213" y="26"/>
                    <a:pt x="211" y="26"/>
                  </a:cubicBezTo>
                  <a:cubicBezTo>
                    <a:pt x="210" y="26"/>
                    <a:pt x="209" y="25"/>
                    <a:pt x="208" y="24"/>
                  </a:cubicBezTo>
                  <a:cubicBezTo>
                    <a:pt x="207" y="24"/>
                    <a:pt x="205" y="23"/>
                    <a:pt x="204" y="24"/>
                  </a:cubicBezTo>
                  <a:cubicBezTo>
                    <a:pt x="204" y="24"/>
                    <a:pt x="203" y="24"/>
                    <a:pt x="203" y="25"/>
                  </a:cubicBezTo>
                  <a:cubicBezTo>
                    <a:pt x="204" y="26"/>
                    <a:pt x="204" y="25"/>
                    <a:pt x="205" y="26"/>
                  </a:cubicBezTo>
                  <a:cubicBezTo>
                    <a:pt x="206" y="27"/>
                    <a:pt x="206" y="30"/>
                    <a:pt x="206" y="31"/>
                  </a:cubicBezTo>
                  <a:cubicBezTo>
                    <a:pt x="205" y="31"/>
                    <a:pt x="205" y="31"/>
                    <a:pt x="205" y="32"/>
                  </a:cubicBezTo>
                  <a:cubicBezTo>
                    <a:pt x="204" y="32"/>
                    <a:pt x="203" y="33"/>
                    <a:pt x="203" y="34"/>
                  </a:cubicBezTo>
                  <a:cubicBezTo>
                    <a:pt x="202" y="35"/>
                    <a:pt x="201" y="35"/>
                    <a:pt x="200" y="36"/>
                  </a:cubicBezTo>
                  <a:cubicBezTo>
                    <a:pt x="200" y="37"/>
                    <a:pt x="199" y="37"/>
                    <a:pt x="198" y="38"/>
                  </a:cubicBezTo>
                  <a:cubicBezTo>
                    <a:pt x="197" y="39"/>
                    <a:pt x="197" y="39"/>
                    <a:pt x="197" y="39"/>
                  </a:cubicBezTo>
                  <a:cubicBezTo>
                    <a:pt x="196" y="40"/>
                    <a:pt x="196" y="40"/>
                    <a:pt x="195" y="40"/>
                  </a:cubicBezTo>
                  <a:cubicBezTo>
                    <a:pt x="194" y="42"/>
                    <a:pt x="193" y="43"/>
                    <a:pt x="191" y="45"/>
                  </a:cubicBezTo>
                  <a:cubicBezTo>
                    <a:pt x="191" y="46"/>
                    <a:pt x="190" y="47"/>
                    <a:pt x="190" y="48"/>
                  </a:cubicBezTo>
                  <a:cubicBezTo>
                    <a:pt x="190" y="49"/>
                    <a:pt x="191" y="50"/>
                    <a:pt x="190" y="51"/>
                  </a:cubicBezTo>
                  <a:cubicBezTo>
                    <a:pt x="189" y="51"/>
                    <a:pt x="188" y="51"/>
                    <a:pt x="187" y="52"/>
                  </a:cubicBezTo>
                  <a:cubicBezTo>
                    <a:pt x="187" y="53"/>
                    <a:pt x="186" y="54"/>
                    <a:pt x="186" y="55"/>
                  </a:cubicBezTo>
                  <a:cubicBezTo>
                    <a:pt x="185" y="56"/>
                    <a:pt x="184" y="57"/>
                    <a:pt x="182" y="57"/>
                  </a:cubicBezTo>
                  <a:cubicBezTo>
                    <a:pt x="181" y="57"/>
                    <a:pt x="180" y="57"/>
                    <a:pt x="178" y="57"/>
                  </a:cubicBezTo>
                  <a:cubicBezTo>
                    <a:pt x="178" y="57"/>
                    <a:pt x="177" y="57"/>
                    <a:pt x="177" y="57"/>
                  </a:cubicBezTo>
                  <a:cubicBezTo>
                    <a:pt x="176" y="57"/>
                    <a:pt x="175" y="58"/>
                    <a:pt x="175" y="58"/>
                  </a:cubicBezTo>
                  <a:cubicBezTo>
                    <a:pt x="174" y="58"/>
                    <a:pt x="172" y="58"/>
                    <a:pt x="171" y="58"/>
                  </a:cubicBezTo>
                  <a:cubicBezTo>
                    <a:pt x="168" y="58"/>
                    <a:pt x="166" y="58"/>
                    <a:pt x="163" y="60"/>
                  </a:cubicBezTo>
                  <a:cubicBezTo>
                    <a:pt x="162" y="61"/>
                    <a:pt x="160" y="61"/>
                    <a:pt x="159" y="61"/>
                  </a:cubicBezTo>
                  <a:cubicBezTo>
                    <a:pt x="157" y="61"/>
                    <a:pt x="155" y="61"/>
                    <a:pt x="153" y="60"/>
                  </a:cubicBezTo>
                  <a:cubicBezTo>
                    <a:pt x="152" y="59"/>
                    <a:pt x="150" y="59"/>
                    <a:pt x="149" y="59"/>
                  </a:cubicBezTo>
                  <a:cubicBezTo>
                    <a:pt x="146" y="58"/>
                    <a:pt x="144" y="57"/>
                    <a:pt x="141" y="57"/>
                  </a:cubicBezTo>
                  <a:cubicBezTo>
                    <a:pt x="139" y="57"/>
                    <a:pt x="139" y="58"/>
                    <a:pt x="138" y="59"/>
                  </a:cubicBezTo>
                  <a:cubicBezTo>
                    <a:pt x="137" y="59"/>
                    <a:pt x="137" y="59"/>
                    <a:pt x="136" y="59"/>
                  </a:cubicBezTo>
                  <a:cubicBezTo>
                    <a:pt x="135" y="59"/>
                    <a:pt x="135" y="60"/>
                    <a:pt x="134" y="60"/>
                  </a:cubicBezTo>
                  <a:cubicBezTo>
                    <a:pt x="132" y="61"/>
                    <a:pt x="131" y="62"/>
                    <a:pt x="129" y="62"/>
                  </a:cubicBezTo>
                  <a:cubicBezTo>
                    <a:pt x="128" y="62"/>
                    <a:pt x="126" y="62"/>
                    <a:pt x="125" y="63"/>
                  </a:cubicBezTo>
                  <a:cubicBezTo>
                    <a:pt x="124" y="63"/>
                    <a:pt x="123" y="64"/>
                    <a:pt x="122" y="64"/>
                  </a:cubicBezTo>
                  <a:cubicBezTo>
                    <a:pt x="121" y="64"/>
                    <a:pt x="120" y="64"/>
                    <a:pt x="120" y="64"/>
                  </a:cubicBezTo>
                  <a:cubicBezTo>
                    <a:pt x="118" y="65"/>
                    <a:pt x="117" y="65"/>
                    <a:pt x="116" y="65"/>
                  </a:cubicBezTo>
                  <a:cubicBezTo>
                    <a:pt x="114" y="66"/>
                    <a:pt x="112" y="66"/>
                    <a:pt x="110" y="65"/>
                  </a:cubicBezTo>
                  <a:cubicBezTo>
                    <a:pt x="108" y="65"/>
                    <a:pt x="107" y="63"/>
                    <a:pt x="105" y="62"/>
                  </a:cubicBezTo>
                  <a:cubicBezTo>
                    <a:pt x="102" y="61"/>
                    <a:pt x="100" y="61"/>
                    <a:pt x="98" y="60"/>
                  </a:cubicBezTo>
                  <a:cubicBezTo>
                    <a:pt x="92" y="58"/>
                    <a:pt x="87" y="59"/>
                    <a:pt x="80" y="59"/>
                  </a:cubicBezTo>
                  <a:cubicBezTo>
                    <a:pt x="75" y="58"/>
                    <a:pt x="71" y="56"/>
                    <a:pt x="66" y="56"/>
                  </a:cubicBezTo>
                  <a:cubicBezTo>
                    <a:pt x="57" y="55"/>
                    <a:pt x="49" y="52"/>
                    <a:pt x="41" y="53"/>
                  </a:cubicBezTo>
                  <a:cubicBezTo>
                    <a:pt x="33" y="54"/>
                    <a:pt x="29" y="60"/>
                    <a:pt x="21" y="63"/>
                  </a:cubicBezTo>
                  <a:cubicBezTo>
                    <a:pt x="20" y="64"/>
                    <a:pt x="16" y="64"/>
                    <a:pt x="14" y="65"/>
                  </a:cubicBezTo>
                  <a:cubicBezTo>
                    <a:pt x="13" y="67"/>
                    <a:pt x="14" y="72"/>
                    <a:pt x="14" y="74"/>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49" name="Freeform 443"/>
            <p:cNvSpPr>
              <a:spLocks/>
            </p:cNvSpPr>
            <p:nvPr/>
          </p:nvSpPr>
          <p:spPr bwMode="auto">
            <a:xfrm>
              <a:off x="3332163" y="2224088"/>
              <a:ext cx="495300" cy="593725"/>
            </a:xfrm>
            <a:custGeom>
              <a:avLst/>
              <a:gdLst>
                <a:gd name="T0" fmla="*/ 129 w 140"/>
                <a:gd name="T1" fmla="*/ 29 h 168"/>
                <a:gd name="T2" fmla="*/ 117 w 140"/>
                <a:gd name="T3" fmla="*/ 13 h 168"/>
                <a:gd name="T4" fmla="*/ 105 w 140"/>
                <a:gd name="T5" fmla="*/ 0 h 168"/>
                <a:gd name="T6" fmla="*/ 107 w 140"/>
                <a:gd name="T7" fmla="*/ 7 h 168"/>
                <a:gd name="T8" fmla="*/ 103 w 140"/>
                <a:gd name="T9" fmla="*/ 9 h 168"/>
                <a:gd name="T10" fmla="*/ 105 w 140"/>
                <a:gd name="T11" fmla="*/ 13 h 168"/>
                <a:gd name="T12" fmla="*/ 110 w 140"/>
                <a:gd name="T13" fmla="*/ 23 h 168"/>
                <a:gd name="T14" fmla="*/ 104 w 140"/>
                <a:gd name="T15" fmla="*/ 26 h 168"/>
                <a:gd name="T16" fmla="*/ 102 w 140"/>
                <a:gd name="T17" fmla="*/ 32 h 168"/>
                <a:gd name="T18" fmla="*/ 95 w 140"/>
                <a:gd name="T19" fmla="*/ 36 h 168"/>
                <a:gd name="T20" fmla="*/ 92 w 140"/>
                <a:gd name="T21" fmla="*/ 43 h 168"/>
                <a:gd name="T22" fmla="*/ 81 w 140"/>
                <a:gd name="T23" fmla="*/ 39 h 168"/>
                <a:gd name="T24" fmla="*/ 80 w 140"/>
                <a:gd name="T25" fmla="*/ 54 h 168"/>
                <a:gd name="T26" fmla="*/ 75 w 140"/>
                <a:gd name="T27" fmla="*/ 58 h 168"/>
                <a:gd name="T28" fmla="*/ 70 w 140"/>
                <a:gd name="T29" fmla="*/ 60 h 168"/>
                <a:gd name="T30" fmla="*/ 48 w 140"/>
                <a:gd name="T31" fmla="*/ 57 h 168"/>
                <a:gd name="T32" fmla="*/ 35 w 140"/>
                <a:gd name="T33" fmla="*/ 69 h 168"/>
                <a:gd name="T34" fmla="*/ 34 w 140"/>
                <a:gd name="T35" fmla="*/ 57 h 168"/>
                <a:gd name="T36" fmla="*/ 30 w 140"/>
                <a:gd name="T37" fmla="*/ 50 h 168"/>
                <a:gd name="T38" fmla="*/ 10 w 140"/>
                <a:gd name="T39" fmla="*/ 47 h 168"/>
                <a:gd name="T40" fmla="*/ 1 w 140"/>
                <a:gd name="T41" fmla="*/ 46 h 168"/>
                <a:gd name="T42" fmla="*/ 5 w 140"/>
                <a:gd name="T43" fmla="*/ 53 h 168"/>
                <a:gd name="T44" fmla="*/ 5 w 140"/>
                <a:gd name="T45" fmla="*/ 66 h 168"/>
                <a:gd name="T46" fmla="*/ 4 w 140"/>
                <a:gd name="T47" fmla="*/ 76 h 168"/>
                <a:gd name="T48" fmla="*/ 22 w 140"/>
                <a:gd name="T49" fmla="*/ 79 h 168"/>
                <a:gd name="T50" fmla="*/ 37 w 140"/>
                <a:gd name="T51" fmla="*/ 83 h 168"/>
                <a:gd name="T52" fmla="*/ 41 w 140"/>
                <a:gd name="T53" fmla="*/ 95 h 168"/>
                <a:gd name="T54" fmla="*/ 47 w 140"/>
                <a:gd name="T55" fmla="*/ 121 h 168"/>
                <a:gd name="T56" fmla="*/ 65 w 140"/>
                <a:gd name="T57" fmla="*/ 138 h 168"/>
                <a:gd name="T58" fmla="*/ 72 w 140"/>
                <a:gd name="T59" fmla="*/ 156 h 168"/>
                <a:gd name="T60" fmla="*/ 78 w 140"/>
                <a:gd name="T61" fmla="*/ 142 h 168"/>
                <a:gd name="T62" fmla="*/ 93 w 140"/>
                <a:gd name="T63" fmla="*/ 148 h 168"/>
                <a:gd name="T64" fmla="*/ 100 w 140"/>
                <a:gd name="T65" fmla="*/ 140 h 168"/>
                <a:gd name="T66" fmla="*/ 104 w 140"/>
                <a:gd name="T67" fmla="*/ 157 h 168"/>
                <a:gd name="T68" fmla="*/ 110 w 140"/>
                <a:gd name="T69" fmla="*/ 160 h 168"/>
                <a:gd name="T70" fmla="*/ 125 w 140"/>
                <a:gd name="T71" fmla="*/ 155 h 168"/>
                <a:gd name="T72" fmla="*/ 131 w 140"/>
                <a:gd name="T73" fmla="*/ 154 h 168"/>
                <a:gd name="T74" fmla="*/ 132 w 140"/>
                <a:gd name="T75" fmla="*/ 152 h 168"/>
                <a:gd name="T76" fmla="*/ 131 w 140"/>
                <a:gd name="T77" fmla="*/ 148 h 168"/>
                <a:gd name="T78" fmla="*/ 129 w 140"/>
                <a:gd name="T79" fmla="*/ 139 h 168"/>
                <a:gd name="T80" fmla="*/ 121 w 140"/>
                <a:gd name="T81" fmla="*/ 123 h 168"/>
                <a:gd name="T82" fmla="*/ 118 w 140"/>
                <a:gd name="T83" fmla="*/ 125 h 168"/>
                <a:gd name="T84" fmla="*/ 115 w 140"/>
                <a:gd name="T85" fmla="*/ 125 h 168"/>
                <a:gd name="T86" fmla="*/ 114 w 140"/>
                <a:gd name="T87" fmla="*/ 123 h 168"/>
                <a:gd name="T88" fmla="*/ 112 w 140"/>
                <a:gd name="T89" fmla="*/ 122 h 168"/>
                <a:gd name="T90" fmla="*/ 110 w 140"/>
                <a:gd name="T91" fmla="*/ 122 h 168"/>
                <a:gd name="T92" fmla="*/ 106 w 140"/>
                <a:gd name="T93" fmla="*/ 122 h 168"/>
                <a:gd name="T94" fmla="*/ 104 w 140"/>
                <a:gd name="T95" fmla="*/ 119 h 168"/>
                <a:gd name="T96" fmla="*/ 107 w 140"/>
                <a:gd name="T97" fmla="*/ 117 h 168"/>
                <a:gd name="T98" fmla="*/ 108 w 140"/>
                <a:gd name="T99" fmla="*/ 115 h 168"/>
                <a:gd name="T100" fmla="*/ 108 w 140"/>
                <a:gd name="T101" fmla="*/ 110 h 168"/>
                <a:gd name="T102" fmla="*/ 112 w 140"/>
                <a:gd name="T103" fmla="*/ 108 h 168"/>
                <a:gd name="T104" fmla="*/ 115 w 140"/>
                <a:gd name="T105" fmla="*/ 109 h 168"/>
                <a:gd name="T106" fmla="*/ 115 w 140"/>
                <a:gd name="T107" fmla="*/ 70 h 168"/>
                <a:gd name="T108" fmla="*/ 120 w 140"/>
                <a:gd name="T109" fmla="*/ 61 h 168"/>
                <a:gd name="T110" fmla="*/ 130 w 140"/>
                <a:gd name="T111" fmla="*/ 50 h 168"/>
                <a:gd name="T112" fmla="*/ 140 w 140"/>
                <a:gd name="T113" fmla="*/ 35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0" h="168">
                  <a:moveTo>
                    <a:pt x="139" y="33"/>
                  </a:moveTo>
                  <a:cubicBezTo>
                    <a:pt x="137" y="34"/>
                    <a:pt x="136" y="34"/>
                    <a:pt x="136" y="31"/>
                  </a:cubicBezTo>
                  <a:cubicBezTo>
                    <a:pt x="134" y="30"/>
                    <a:pt x="131" y="31"/>
                    <a:pt x="129" y="29"/>
                  </a:cubicBezTo>
                  <a:cubicBezTo>
                    <a:pt x="127" y="26"/>
                    <a:pt x="125" y="26"/>
                    <a:pt x="122" y="25"/>
                  </a:cubicBezTo>
                  <a:cubicBezTo>
                    <a:pt x="122" y="23"/>
                    <a:pt x="122" y="20"/>
                    <a:pt x="122" y="18"/>
                  </a:cubicBezTo>
                  <a:cubicBezTo>
                    <a:pt x="122" y="16"/>
                    <a:pt x="119" y="15"/>
                    <a:pt x="117" y="13"/>
                  </a:cubicBezTo>
                  <a:cubicBezTo>
                    <a:pt x="116" y="12"/>
                    <a:pt x="114" y="10"/>
                    <a:pt x="112" y="8"/>
                  </a:cubicBezTo>
                  <a:cubicBezTo>
                    <a:pt x="110" y="6"/>
                    <a:pt x="109" y="3"/>
                    <a:pt x="107" y="1"/>
                  </a:cubicBezTo>
                  <a:cubicBezTo>
                    <a:pt x="107" y="1"/>
                    <a:pt x="106" y="0"/>
                    <a:pt x="105" y="0"/>
                  </a:cubicBezTo>
                  <a:cubicBezTo>
                    <a:pt x="105" y="1"/>
                    <a:pt x="105" y="2"/>
                    <a:pt x="105" y="3"/>
                  </a:cubicBezTo>
                  <a:cubicBezTo>
                    <a:pt x="106" y="4"/>
                    <a:pt x="107" y="5"/>
                    <a:pt x="107" y="6"/>
                  </a:cubicBezTo>
                  <a:cubicBezTo>
                    <a:pt x="107" y="7"/>
                    <a:pt x="107" y="7"/>
                    <a:pt x="107" y="7"/>
                  </a:cubicBezTo>
                  <a:cubicBezTo>
                    <a:pt x="106" y="7"/>
                    <a:pt x="106" y="7"/>
                    <a:pt x="106" y="7"/>
                  </a:cubicBezTo>
                  <a:cubicBezTo>
                    <a:pt x="104" y="7"/>
                    <a:pt x="102" y="6"/>
                    <a:pt x="102" y="7"/>
                  </a:cubicBezTo>
                  <a:cubicBezTo>
                    <a:pt x="101" y="8"/>
                    <a:pt x="102" y="9"/>
                    <a:pt x="103" y="9"/>
                  </a:cubicBezTo>
                  <a:cubicBezTo>
                    <a:pt x="103" y="10"/>
                    <a:pt x="102" y="11"/>
                    <a:pt x="103" y="11"/>
                  </a:cubicBezTo>
                  <a:cubicBezTo>
                    <a:pt x="104" y="13"/>
                    <a:pt x="104" y="13"/>
                    <a:pt x="104" y="13"/>
                  </a:cubicBezTo>
                  <a:cubicBezTo>
                    <a:pt x="104" y="13"/>
                    <a:pt x="105" y="13"/>
                    <a:pt x="105" y="13"/>
                  </a:cubicBezTo>
                  <a:cubicBezTo>
                    <a:pt x="105" y="14"/>
                    <a:pt x="105" y="14"/>
                    <a:pt x="105" y="14"/>
                  </a:cubicBezTo>
                  <a:cubicBezTo>
                    <a:pt x="106" y="17"/>
                    <a:pt x="108" y="16"/>
                    <a:pt x="110" y="18"/>
                  </a:cubicBezTo>
                  <a:cubicBezTo>
                    <a:pt x="111" y="19"/>
                    <a:pt x="110" y="21"/>
                    <a:pt x="110" y="23"/>
                  </a:cubicBezTo>
                  <a:cubicBezTo>
                    <a:pt x="110" y="24"/>
                    <a:pt x="111" y="31"/>
                    <a:pt x="109" y="31"/>
                  </a:cubicBezTo>
                  <a:cubicBezTo>
                    <a:pt x="108" y="30"/>
                    <a:pt x="109" y="28"/>
                    <a:pt x="107" y="27"/>
                  </a:cubicBezTo>
                  <a:cubicBezTo>
                    <a:pt x="106" y="27"/>
                    <a:pt x="104" y="27"/>
                    <a:pt x="104" y="26"/>
                  </a:cubicBezTo>
                  <a:cubicBezTo>
                    <a:pt x="103" y="25"/>
                    <a:pt x="102" y="25"/>
                    <a:pt x="101" y="26"/>
                  </a:cubicBezTo>
                  <a:cubicBezTo>
                    <a:pt x="101" y="27"/>
                    <a:pt x="101" y="28"/>
                    <a:pt x="102" y="29"/>
                  </a:cubicBezTo>
                  <a:cubicBezTo>
                    <a:pt x="102" y="30"/>
                    <a:pt x="102" y="31"/>
                    <a:pt x="102" y="32"/>
                  </a:cubicBezTo>
                  <a:cubicBezTo>
                    <a:pt x="101" y="32"/>
                    <a:pt x="99" y="33"/>
                    <a:pt x="98" y="33"/>
                  </a:cubicBezTo>
                  <a:cubicBezTo>
                    <a:pt x="97" y="34"/>
                    <a:pt x="97" y="36"/>
                    <a:pt x="95" y="35"/>
                  </a:cubicBezTo>
                  <a:cubicBezTo>
                    <a:pt x="95" y="36"/>
                    <a:pt x="95" y="36"/>
                    <a:pt x="95" y="36"/>
                  </a:cubicBezTo>
                  <a:cubicBezTo>
                    <a:pt x="97" y="36"/>
                    <a:pt x="98" y="37"/>
                    <a:pt x="98" y="39"/>
                  </a:cubicBezTo>
                  <a:cubicBezTo>
                    <a:pt x="98" y="41"/>
                    <a:pt x="97" y="41"/>
                    <a:pt x="95" y="42"/>
                  </a:cubicBezTo>
                  <a:cubicBezTo>
                    <a:pt x="94" y="43"/>
                    <a:pt x="94" y="45"/>
                    <a:pt x="92" y="43"/>
                  </a:cubicBezTo>
                  <a:cubicBezTo>
                    <a:pt x="91" y="42"/>
                    <a:pt x="91" y="41"/>
                    <a:pt x="91" y="40"/>
                  </a:cubicBezTo>
                  <a:cubicBezTo>
                    <a:pt x="90" y="37"/>
                    <a:pt x="88" y="38"/>
                    <a:pt x="88" y="40"/>
                  </a:cubicBezTo>
                  <a:cubicBezTo>
                    <a:pt x="87" y="43"/>
                    <a:pt x="82" y="40"/>
                    <a:pt x="81" y="39"/>
                  </a:cubicBezTo>
                  <a:cubicBezTo>
                    <a:pt x="80" y="41"/>
                    <a:pt x="80" y="44"/>
                    <a:pt x="80" y="46"/>
                  </a:cubicBezTo>
                  <a:cubicBezTo>
                    <a:pt x="79" y="47"/>
                    <a:pt x="79" y="48"/>
                    <a:pt x="79" y="49"/>
                  </a:cubicBezTo>
                  <a:cubicBezTo>
                    <a:pt x="78" y="50"/>
                    <a:pt x="78" y="54"/>
                    <a:pt x="80" y="54"/>
                  </a:cubicBezTo>
                  <a:cubicBezTo>
                    <a:pt x="80" y="54"/>
                    <a:pt x="79" y="55"/>
                    <a:pt x="79" y="56"/>
                  </a:cubicBezTo>
                  <a:cubicBezTo>
                    <a:pt x="78" y="56"/>
                    <a:pt x="77" y="56"/>
                    <a:pt x="76" y="56"/>
                  </a:cubicBezTo>
                  <a:cubicBezTo>
                    <a:pt x="75" y="57"/>
                    <a:pt x="76" y="58"/>
                    <a:pt x="75" y="58"/>
                  </a:cubicBezTo>
                  <a:cubicBezTo>
                    <a:pt x="75" y="58"/>
                    <a:pt x="74" y="58"/>
                    <a:pt x="74" y="57"/>
                  </a:cubicBezTo>
                  <a:cubicBezTo>
                    <a:pt x="74" y="58"/>
                    <a:pt x="73" y="58"/>
                    <a:pt x="73" y="59"/>
                  </a:cubicBezTo>
                  <a:cubicBezTo>
                    <a:pt x="72" y="60"/>
                    <a:pt x="73" y="61"/>
                    <a:pt x="70" y="60"/>
                  </a:cubicBezTo>
                  <a:cubicBezTo>
                    <a:pt x="69" y="60"/>
                    <a:pt x="67" y="60"/>
                    <a:pt x="65" y="60"/>
                  </a:cubicBezTo>
                  <a:cubicBezTo>
                    <a:pt x="65" y="55"/>
                    <a:pt x="56" y="54"/>
                    <a:pt x="56" y="58"/>
                  </a:cubicBezTo>
                  <a:cubicBezTo>
                    <a:pt x="53" y="59"/>
                    <a:pt x="51" y="58"/>
                    <a:pt x="48" y="57"/>
                  </a:cubicBezTo>
                  <a:cubicBezTo>
                    <a:pt x="45" y="55"/>
                    <a:pt x="44" y="58"/>
                    <a:pt x="42" y="60"/>
                  </a:cubicBezTo>
                  <a:cubicBezTo>
                    <a:pt x="41" y="62"/>
                    <a:pt x="38" y="63"/>
                    <a:pt x="38" y="66"/>
                  </a:cubicBezTo>
                  <a:cubicBezTo>
                    <a:pt x="38" y="68"/>
                    <a:pt x="38" y="69"/>
                    <a:pt x="35" y="69"/>
                  </a:cubicBezTo>
                  <a:cubicBezTo>
                    <a:pt x="35" y="67"/>
                    <a:pt x="34" y="66"/>
                    <a:pt x="33" y="65"/>
                  </a:cubicBezTo>
                  <a:cubicBezTo>
                    <a:pt x="33" y="64"/>
                    <a:pt x="31" y="63"/>
                    <a:pt x="31" y="63"/>
                  </a:cubicBezTo>
                  <a:cubicBezTo>
                    <a:pt x="31" y="60"/>
                    <a:pt x="34" y="59"/>
                    <a:pt x="34" y="57"/>
                  </a:cubicBezTo>
                  <a:cubicBezTo>
                    <a:pt x="35" y="56"/>
                    <a:pt x="35" y="54"/>
                    <a:pt x="34" y="54"/>
                  </a:cubicBezTo>
                  <a:cubicBezTo>
                    <a:pt x="32" y="54"/>
                    <a:pt x="33" y="55"/>
                    <a:pt x="33" y="55"/>
                  </a:cubicBezTo>
                  <a:cubicBezTo>
                    <a:pt x="29" y="59"/>
                    <a:pt x="30" y="50"/>
                    <a:pt x="30" y="50"/>
                  </a:cubicBezTo>
                  <a:cubicBezTo>
                    <a:pt x="28" y="47"/>
                    <a:pt x="28" y="54"/>
                    <a:pt x="24" y="48"/>
                  </a:cubicBezTo>
                  <a:cubicBezTo>
                    <a:pt x="22" y="45"/>
                    <a:pt x="16" y="45"/>
                    <a:pt x="12" y="45"/>
                  </a:cubicBezTo>
                  <a:cubicBezTo>
                    <a:pt x="12" y="46"/>
                    <a:pt x="11" y="46"/>
                    <a:pt x="10" y="47"/>
                  </a:cubicBezTo>
                  <a:cubicBezTo>
                    <a:pt x="7" y="48"/>
                    <a:pt x="5" y="45"/>
                    <a:pt x="1" y="45"/>
                  </a:cubicBezTo>
                  <a:cubicBezTo>
                    <a:pt x="0" y="44"/>
                    <a:pt x="0" y="44"/>
                    <a:pt x="0" y="44"/>
                  </a:cubicBezTo>
                  <a:cubicBezTo>
                    <a:pt x="0" y="45"/>
                    <a:pt x="0" y="45"/>
                    <a:pt x="1" y="46"/>
                  </a:cubicBezTo>
                  <a:cubicBezTo>
                    <a:pt x="1" y="47"/>
                    <a:pt x="1" y="49"/>
                    <a:pt x="2" y="50"/>
                  </a:cubicBezTo>
                  <a:cubicBezTo>
                    <a:pt x="3" y="50"/>
                    <a:pt x="5" y="50"/>
                    <a:pt x="5" y="50"/>
                  </a:cubicBezTo>
                  <a:cubicBezTo>
                    <a:pt x="6" y="51"/>
                    <a:pt x="6" y="53"/>
                    <a:pt x="5" y="53"/>
                  </a:cubicBezTo>
                  <a:cubicBezTo>
                    <a:pt x="2" y="53"/>
                    <a:pt x="2" y="57"/>
                    <a:pt x="3" y="59"/>
                  </a:cubicBezTo>
                  <a:cubicBezTo>
                    <a:pt x="4" y="60"/>
                    <a:pt x="5" y="60"/>
                    <a:pt x="6" y="60"/>
                  </a:cubicBezTo>
                  <a:cubicBezTo>
                    <a:pt x="7" y="62"/>
                    <a:pt x="7" y="64"/>
                    <a:pt x="5" y="66"/>
                  </a:cubicBezTo>
                  <a:cubicBezTo>
                    <a:pt x="4" y="68"/>
                    <a:pt x="5" y="71"/>
                    <a:pt x="5" y="73"/>
                  </a:cubicBezTo>
                  <a:cubicBezTo>
                    <a:pt x="4" y="73"/>
                    <a:pt x="2" y="73"/>
                    <a:pt x="1" y="73"/>
                  </a:cubicBezTo>
                  <a:cubicBezTo>
                    <a:pt x="1" y="75"/>
                    <a:pt x="3" y="76"/>
                    <a:pt x="4" y="76"/>
                  </a:cubicBezTo>
                  <a:cubicBezTo>
                    <a:pt x="4" y="77"/>
                    <a:pt x="5" y="77"/>
                    <a:pt x="5" y="78"/>
                  </a:cubicBezTo>
                  <a:cubicBezTo>
                    <a:pt x="8" y="77"/>
                    <a:pt x="10" y="78"/>
                    <a:pt x="13" y="79"/>
                  </a:cubicBezTo>
                  <a:cubicBezTo>
                    <a:pt x="14" y="74"/>
                    <a:pt x="19" y="78"/>
                    <a:pt x="22" y="79"/>
                  </a:cubicBezTo>
                  <a:cubicBezTo>
                    <a:pt x="22" y="80"/>
                    <a:pt x="22" y="81"/>
                    <a:pt x="22" y="82"/>
                  </a:cubicBezTo>
                  <a:cubicBezTo>
                    <a:pt x="23" y="82"/>
                    <a:pt x="23" y="83"/>
                    <a:pt x="24" y="82"/>
                  </a:cubicBezTo>
                  <a:cubicBezTo>
                    <a:pt x="25" y="88"/>
                    <a:pt x="34" y="83"/>
                    <a:pt x="37" y="83"/>
                  </a:cubicBezTo>
                  <a:cubicBezTo>
                    <a:pt x="37" y="84"/>
                    <a:pt x="37" y="84"/>
                    <a:pt x="37" y="85"/>
                  </a:cubicBezTo>
                  <a:cubicBezTo>
                    <a:pt x="41" y="85"/>
                    <a:pt x="41" y="88"/>
                    <a:pt x="41" y="91"/>
                  </a:cubicBezTo>
                  <a:cubicBezTo>
                    <a:pt x="41" y="92"/>
                    <a:pt x="40" y="94"/>
                    <a:pt x="41" y="95"/>
                  </a:cubicBezTo>
                  <a:cubicBezTo>
                    <a:pt x="41" y="95"/>
                    <a:pt x="44" y="97"/>
                    <a:pt x="44" y="96"/>
                  </a:cubicBezTo>
                  <a:cubicBezTo>
                    <a:pt x="43" y="102"/>
                    <a:pt x="42" y="109"/>
                    <a:pt x="45" y="115"/>
                  </a:cubicBezTo>
                  <a:cubicBezTo>
                    <a:pt x="46" y="117"/>
                    <a:pt x="47" y="119"/>
                    <a:pt x="47" y="121"/>
                  </a:cubicBezTo>
                  <a:cubicBezTo>
                    <a:pt x="48" y="124"/>
                    <a:pt x="52" y="123"/>
                    <a:pt x="54" y="123"/>
                  </a:cubicBezTo>
                  <a:cubicBezTo>
                    <a:pt x="54" y="126"/>
                    <a:pt x="55" y="128"/>
                    <a:pt x="58" y="129"/>
                  </a:cubicBezTo>
                  <a:cubicBezTo>
                    <a:pt x="61" y="131"/>
                    <a:pt x="64" y="134"/>
                    <a:pt x="65" y="138"/>
                  </a:cubicBezTo>
                  <a:cubicBezTo>
                    <a:pt x="67" y="142"/>
                    <a:pt x="56" y="154"/>
                    <a:pt x="66" y="156"/>
                  </a:cubicBezTo>
                  <a:cubicBezTo>
                    <a:pt x="67" y="156"/>
                    <a:pt x="68" y="155"/>
                    <a:pt x="68" y="155"/>
                  </a:cubicBezTo>
                  <a:cubicBezTo>
                    <a:pt x="70" y="155"/>
                    <a:pt x="71" y="156"/>
                    <a:pt x="72" y="156"/>
                  </a:cubicBezTo>
                  <a:cubicBezTo>
                    <a:pt x="72" y="154"/>
                    <a:pt x="71" y="151"/>
                    <a:pt x="71" y="149"/>
                  </a:cubicBezTo>
                  <a:cubicBezTo>
                    <a:pt x="72" y="146"/>
                    <a:pt x="77" y="148"/>
                    <a:pt x="79" y="148"/>
                  </a:cubicBezTo>
                  <a:cubicBezTo>
                    <a:pt x="78" y="146"/>
                    <a:pt x="77" y="144"/>
                    <a:pt x="78" y="142"/>
                  </a:cubicBezTo>
                  <a:cubicBezTo>
                    <a:pt x="78" y="142"/>
                    <a:pt x="79" y="142"/>
                    <a:pt x="79" y="142"/>
                  </a:cubicBezTo>
                  <a:cubicBezTo>
                    <a:pt x="77" y="142"/>
                    <a:pt x="76" y="141"/>
                    <a:pt x="76" y="140"/>
                  </a:cubicBezTo>
                  <a:cubicBezTo>
                    <a:pt x="85" y="138"/>
                    <a:pt x="86" y="149"/>
                    <a:pt x="93" y="148"/>
                  </a:cubicBezTo>
                  <a:cubicBezTo>
                    <a:pt x="94" y="147"/>
                    <a:pt x="93" y="145"/>
                    <a:pt x="94" y="144"/>
                  </a:cubicBezTo>
                  <a:cubicBezTo>
                    <a:pt x="95" y="143"/>
                    <a:pt x="98" y="144"/>
                    <a:pt x="99" y="144"/>
                  </a:cubicBezTo>
                  <a:cubicBezTo>
                    <a:pt x="99" y="142"/>
                    <a:pt x="100" y="141"/>
                    <a:pt x="100" y="140"/>
                  </a:cubicBezTo>
                  <a:cubicBezTo>
                    <a:pt x="102" y="138"/>
                    <a:pt x="104" y="143"/>
                    <a:pt x="107" y="144"/>
                  </a:cubicBezTo>
                  <a:cubicBezTo>
                    <a:pt x="107" y="145"/>
                    <a:pt x="107" y="145"/>
                    <a:pt x="107" y="145"/>
                  </a:cubicBezTo>
                  <a:cubicBezTo>
                    <a:pt x="103" y="146"/>
                    <a:pt x="104" y="154"/>
                    <a:pt x="104" y="157"/>
                  </a:cubicBezTo>
                  <a:cubicBezTo>
                    <a:pt x="103" y="159"/>
                    <a:pt x="101" y="168"/>
                    <a:pt x="106" y="166"/>
                  </a:cubicBezTo>
                  <a:cubicBezTo>
                    <a:pt x="106" y="163"/>
                    <a:pt x="108" y="163"/>
                    <a:pt x="111" y="163"/>
                  </a:cubicBezTo>
                  <a:cubicBezTo>
                    <a:pt x="111" y="162"/>
                    <a:pt x="111" y="161"/>
                    <a:pt x="110" y="160"/>
                  </a:cubicBezTo>
                  <a:cubicBezTo>
                    <a:pt x="113" y="161"/>
                    <a:pt x="118" y="161"/>
                    <a:pt x="120" y="159"/>
                  </a:cubicBezTo>
                  <a:cubicBezTo>
                    <a:pt x="122" y="158"/>
                    <a:pt x="123" y="156"/>
                    <a:pt x="125" y="155"/>
                  </a:cubicBezTo>
                  <a:cubicBezTo>
                    <a:pt x="125" y="155"/>
                    <a:pt x="125" y="155"/>
                    <a:pt x="125" y="155"/>
                  </a:cubicBezTo>
                  <a:cubicBezTo>
                    <a:pt x="126" y="155"/>
                    <a:pt x="126" y="155"/>
                    <a:pt x="126" y="155"/>
                  </a:cubicBezTo>
                  <a:cubicBezTo>
                    <a:pt x="126" y="155"/>
                    <a:pt x="126" y="155"/>
                    <a:pt x="126" y="155"/>
                  </a:cubicBezTo>
                  <a:cubicBezTo>
                    <a:pt x="127" y="154"/>
                    <a:pt x="129" y="155"/>
                    <a:pt x="131" y="154"/>
                  </a:cubicBezTo>
                  <a:cubicBezTo>
                    <a:pt x="132" y="154"/>
                    <a:pt x="132" y="154"/>
                    <a:pt x="132" y="154"/>
                  </a:cubicBezTo>
                  <a:cubicBezTo>
                    <a:pt x="132" y="154"/>
                    <a:pt x="132" y="154"/>
                    <a:pt x="132" y="154"/>
                  </a:cubicBezTo>
                  <a:cubicBezTo>
                    <a:pt x="132" y="153"/>
                    <a:pt x="132" y="153"/>
                    <a:pt x="132" y="152"/>
                  </a:cubicBezTo>
                  <a:cubicBezTo>
                    <a:pt x="132" y="151"/>
                    <a:pt x="132" y="151"/>
                    <a:pt x="132" y="151"/>
                  </a:cubicBezTo>
                  <a:cubicBezTo>
                    <a:pt x="131" y="151"/>
                    <a:pt x="131" y="150"/>
                    <a:pt x="131" y="149"/>
                  </a:cubicBezTo>
                  <a:cubicBezTo>
                    <a:pt x="131" y="148"/>
                    <a:pt x="131" y="148"/>
                    <a:pt x="131" y="148"/>
                  </a:cubicBezTo>
                  <a:cubicBezTo>
                    <a:pt x="131" y="145"/>
                    <a:pt x="131" y="143"/>
                    <a:pt x="129" y="140"/>
                  </a:cubicBezTo>
                  <a:cubicBezTo>
                    <a:pt x="129" y="139"/>
                    <a:pt x="129" y="139"/>
                    <a:pt x="129" y="139"/>
                  </a:cubicBezTo>
                  <a:cubicBezTo>
                    <a:pt x="129" y="139"/>
                    <a:pt x="129" y="139"/>
                    <a:pt x="129" y="139"/>
                  </a:cubicBezTo>
                  <a:cubicBezTo>
                    <a:pt x="128" y="136"/>
                    <a:pt x="126" y="134"/>
                    <a:pt x="124" y="131"/>
                  </a:cubicBezTo>
                  <a:cubicBezTo>
                    <a:pt x="122" y="129"/>
                    <a:pt x="123" y="127"/>
                    <a:pt x="122" y="125"/>
                  </a:cubicBezTo>
                  <a:cubicBezTo>
                    <a:pt x="122" y="124"/>
                    <a:pt x="121" y="124"/>
                    <a:pt x="121" y="123"/>
                  </a:cubicBezTo>
                  <a:cubicBezTo>
                    <a:pt x="120" y="123"/>
                    <a:pt x="120" y="123"/>
                    <a:pt x="120" y="123"/>
                  </a:cubicBezTo>
                  <a:cubicBezTo>
                    <a:pt x="120" y="123"/>
                    <a:pt x="119" y="123"/>
                    <a:pt x="118" y="123"/>
                  </a:cubicBezTo>
                  <a:cubicBezTo>
                    <a:pt x="117" y="124"/>
                    <a:pt x="119" y="124"/>
                    <a:pt x="118" y="125"/>
                  </a:cubicBezTo>
                  <a:cubicBezTo>
                    <a:pt x="118" y="126"/>
                    <a:pt x="116" y="127"/>
                    <a:pt x="115" y="126"/>
                  </a:cubicBezTo>
                  <a:cubicBezTo>
                    <a:pt x="115" y="126"/>
                    <a:pt x="115" y="126"/>
                    <a:pt x="115" y="126"/>
                  </a:cubicBezTo>
                  <a:cubicBezTo>
                    <a:pt x="115" y="125"/>
                    <a:pt x="115" y="125"/>
                    <a:pt x="115" y="125"/>
                  </a:cubicBezTo>
                  <a:cubicBezTo>
                    <a:pt x="115" y="125"/>
                    <a:pt x="114" y="125"/>
                    <a:pt x="114" y="124"/>
                  </a:cubicBezTo>
                  <a:cubicBezTo>
                    <a:pt x="114" y="124"/>
                    <a:pt x="114" y="124"/>
                    <a:pt x="114" y="123"/>
                  </a:cubicBezTo>
                  <a:cubicBezTo>
                    <a:pt x="114" y="123"/>
                    <a:pt x="114" y="123"/>
                    <a:pt x="114" y="123"/>
                  </a:cubicBezTo>
                  <a:cubicBezTo>
                    <a:pt x="113" y="122"/>
                    <a:pt x="113" y="122"/>
                    <a:pt x="113" y="122"/>
                  </a:cubicBezTo>
                  <a:cubicBezTo>
                    <a:pt x="113" y="122"/>
                    <a:pt x="113" y="122"/>
                    <a:pt x="113" y="122"/>
                  </a:cubicBezTo>
                  <a:cubicBezTo>
                    <a:pt x="112" y="122"/>
                    <a:pt x="112" y="122"/>
                    <a:pt x="112" y="122"/>
                  </a:cubicBezTo>
                  <a:cubicBezTo>
                    <a:pt x="111" y="122"/>
                    <a:pt x="111" y="121"/>
                    <a:pt x="111" y="121"/>
                  </a:cubicBezTo>
                  <a:cubicBezTo>
                    <a:pt x="110" y="121"/>
                    <a:pt x="109" y="121"/>
                    <a:pt x="110" y="121"/>
                  </a:cubicBezTo>
                  <a:cubicBezTo>
                    <a:pt x="111" y="121"/>
                    <a:pt x="110" y="122"/>
                    <a:pt x="110" y="122"/>
                  </a:cubicBezTo>
                  <a:cubicBezTo>
                    <a:pt x="109" y="122"/>
                    <a:pt x="109" y="122"/>
                    <a:pt x="109" y="122"/>
                  </a:cubicBezTo>
                  <a:cubicBezTo>
                    <a:pt x="108" y="122"/>
                    <a:pt x="108" y="122"/>
                    <a:pt x="107" y="122"/>
                  </a:cubicBezTo>
                  <a:cubicBezTo>
                    <a:pt x="107" y="122"/>
                    <a:pt x="106" y="122"/>
                    <a:pt x="106" y="122"/>
                  </a:cubicBezTo>
                  <a:cubicBezTo>
                    <a:pt x="105" y="123"/>
                    <a:pt x="106" y="122"/>
                    <a:pt x="106" y="121"/>
                  </a:cubicBezTo>
                  <a:cubicBezTo>
                    <a:pt x="105" y="120"/>
                    <a:pt x="105" y="120"/>
                    <a:pt x="105" y="120"/>
                  </a:cubicBezTo>
                  <a:cubicBezTo>
                    <a:pt x="104" y="120"/>
                    <a:pt x="104" y="120"/>
                    <a:pt x="104" y="119"/>
                  </a:cubicBezTo>
                  <a:cubicBezTo>
                    <a:pt x="104" y="118"/>
                    <a:pt x="105" y="119"/>
                    <a:pt x="105" y="118"/>
                  </a:cubicBezTo>
                  <a:cubicBezTo>
                    <a:pt x="105" y="118"/>
                    <a:pt x="105" y="117"/>
                    <a:pt x="106" y="117"/>
                  </a:cubicBezTo>
                  <a:cubicBezTo>
                    <a:pt x="107" y="117"/>
                    <a:pt x="107" y="117"/>
                    <a:pt x="107" y="117"/>
                  </a:cubicBezTo>
                  <a:cubicBezTo>
                    <a:pt x="107" y="117"/>
                    <a:pt x="107" y="116"/>
                    <a:pt x="107" y="116"/>
                  </a:cubicBezTo>
                  <a:cubicBezTo>
                    <a:pt x="107" y="115"/>
                    <a:pt x="108" y="116"/>
                    <a:pt x="108" y="115"/>
                  </a:cubicBezTo>
                  <a:cubicBezTo>
                    <a:pt x="108" y="115"/>
                    <a:pt x="108" y="115"/>
                    <a:pt x="108" y="115"/>
                  </a:cubicBezTo>
                  <a:cubicBezTo>
                    <a:pt x="109" y="114"/>
                    <a:pt x="108" y="114"/>
                    <a:pt x="108" y="114"/>
                  </a:cubicBezTo>
                  <a:cubicBezTo>
                    <a:pt x="108" y="114"/>
                    <a:pt x="109" y="113"/>
                    <a:pt x="108" y="112"/>
                  </a:cubicBezTo>
                  <a:cubicBezTo>
                    <a:pt x="108" y="110"/>
                    <a:pt x="108" y="110"/>
                    <a:pt x="108" y="110"/>
                  </a:cubicBezTo>
                  <a:cubicBezTo>
                    <a:pt x="108" y="109"/>
                    <a:pt x="109" y="109"/>
                    <a:pt x="109" y="109"/>
                  </a:cubicBezTo>
                  <a:cubicBezTo>
                    <a:pt x="110" y="109"/>
                    <a:pt x="111" y="109"/>
                    <a:pt x="111" y="109"/>
                  </a:cubicBezTo>
                  <a:cubicBezTo>
                    <a:pt x="111" y="109"/>
                    <a:pt x="112" y="108"/>
                    <a:pt x="112" y="108"/>
                  </a:cubicBezTo>
                  <a:cubicBezTo>
                    <a:pt x="113" y="107"/>
                    <a:pt x="114" y="108"/>
                    <a:pt x="114" y="108"/>
                  </a:cubicBezTo>
                  <a:cubicBezTo>
                    <a:pt x="114" y="108"/>
                    <a:pt x="114" y="108"/>
                    <a:pt x="114" y="108"/>
                  </a:cubicBezTo>
                  <a:cubicBezTo>
                    <a:pt x="115" y="109"/>
                    <a:pt x="115" y="109"/>
                    <a:pt x="115" y="109"/>
                  </a:cubicBezTo>
                  <a:cubicBezTo>
                    <a:pt x="115" y="102"/>
                    <a:pt x="115" y="102"/>
                    <a:pt x="115" y="102"/>
                  </a:cubicBezTo>
                  <a:cubicBezTo>
                    <a:pt x="115" y="97"/>
                    <a:pt x="115" y="92"/>
                    <a:pt x="113" y="87"/>
                  </a:cubicBezTo>
                  <a:cubicBezTo>
                    <a:pt x="112" y="82"/>
                    <a:pt x="114" y="75"/>
                    <a:pt x="115" y="70"/>
                  </a:cubicBezTo>
                  <a:cubicBezTo>
                    <a:pt x="116" y="70"/>
                    <a:pt x="116" y="70"/>
                    <a:pt x="116" y="70"/>
                  </a:cubicBezTo>
                  <a:cubicBezTo>
                    <a:pt x="117" y="68"/>
                    <a:pt x="117" y="67"/>
                    <a:pt x="118" y="65"/>
                  </a:cubicBezTo>
                  <a:cubicBezTo>
                    <a:pt x="119" y="64"/>
                    <a:pt x="120" y="63"/>
                    <a:pt x="120" y="61"/>
                  </a:cubicBezTo>
                  <a:cubicBezTo>
                    <a:pt x="121" y="59"/>
                    <a:pt x="120" y="55"/>
                    <a:pt x="124" y="55"/>
                  </a:cubicBezTo>
                  <a:cubicBezTo>
                    <a:pt x="124" y="54"/>
                    <a:pt x="125" y="54"/>
                    <a:pt x="126" y="52"/>
                  </a:cubicBezTo>
                  <a:cubicBezTo>
                    <a:pt x="126" y="50"/>
                    <a:pt x="128" y="51"/>
                    <a:pt x="130" y="50"/>
                  </a:cubicBezTo>
                  <a:cubicBezTo>
                    <a:pt x="130" y="45"/>
                    <a:pt x="136" y="42"/>
                    <a:pt x="138" y="38"/>
                  </a:cubicBezTo>
                  <a:cubicBezTo>
                    <a:pt x="139" y="37"/>
                    <a:pt x="139" y="36"/>
                    <a:pt x="139" y="35"/>
                  </a:cubicBezTo>
                  <a:cubicBezTo>
                    <a:pt x="140" y="35"/>
                    <a:pt x="140" y="35"/>
                    <a:pt x="140" y="35"/>
                  </a:cubicBezTo>
                  <a:cubicBezTo>
                    <a:pt x="139" y="34"/>
                    <a:pt x="139" y="33"/>
                    <a:pt x="139" y="33"/>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50" name="Rectangle 444"/>
            <p:cNvSpPr>
              <a:spLocks noChangeArrowheads="1"/>
            </p:cNvSpPr>
            <p:nvPr/>
          </p:nvSpPr>
          <p:spPr bwMode="auto">
            <a:xfrm>
              <a:off x="3703638" y="2224088"/>
              <a:ext cx="1588" cy="1588"/>
            </a:xfrm>
            <a:prstGeom prst="rect">
              <a:avLst/>
            </a:prstGeom>
            <a:solidFill>
              <a:srgbClr val="68CEF2"/>
            </a:solidFill>
            <a:ln w="3175">
              <a:solidFill>
                <a:schemeClr val="bg1"/>
              </a:solidFill>
              <a:miter lim="800000"/>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51" name="Freeform 445"/>
            <p:cNvSpPr>
              <a:spLocks/>
            </p:cNvSpPr>
            <p:nvPr/>
          </p:nvSpPr>
          <p:spPr bwMode="auto">
            <a:xfrm>
              <a:off x="3729038" y="2347913"/>
              <a:ext cx="1195388" cy="1092200"/>
            </a:xfrm>
            <a:custGeom>
              <a:avLst/>
              <a:gdLst>
                <a:gd name="T0" fmla="*/ 317 w 338"/>
                <a:gd name="T1" fmla="*/ 205 h 309"/>
                <a:gd name="T2" fmla="*/ 325 w 338"/>
                <a:gd name="T3" fmla="*/ 189 h 309"/>
                <a:gd name="T4" fmla="*/ 311 w 338"/>
                <a:gd name="T5" fmla="*/ 168 h 309"/>
                <a:gd name="T6" fmla="*/ 280 w 338"/>
                <a:gd name="T7" fmla="*/ 151 h 309"/>
                <a:gd name="T8" fmla="*/ 252 w 338"/>
                <a:gd name="T9" fmla="*/ 139 h 309"/>
                <a:gd name="T10" fmla="*/ 217 w 338"/>
                <a:gd name="T11" fmla="*/ 125 h 309"/>
                <a:gd name="T12" fmla="*/ 189 w 338"/>
                <a:gd name="T13" fmla="*/ 112 h 309"/>
                <a:gd name="T14" fmla="*/ 173 w 338"/>
                <a:gd name="T15" fmla="*/ 97 h 309"/>
                <a:gd name="T16" fmla="*/ 148 w 338"/>
                <a:gd name="T17" fmla="*/ 87 h 309"/>
                <a:gd name="T18" fmla="*/ 129 w 338"/>
                <a:gd name="T19" fmla="*/ 82 h 309"/>
                <a:gd name="T20" fmla="*/ 95 w 338"/>
                <a:gd name="T21" fmla="*/ 69 h 309"/>
                <a:gd name="T22" fmla="*/ 78 w 338"/>
                <a:gd name="T23" fmla="*/ 46 h 309"/>
                <a:gd name="T24" fmla="*/ 42 w 338"/>
                <a:gd name="T25" fmla="*/ 37 h 309"/>
                <a:gd name="T26" fmla="*/ 43 w 338"/>
                <a:gd name="T27" fmla="*/ 8 h 309"/>
                <a:gd name="T28" fmla="*/ 14 w 338"/>
                <a:gd name="T29" fmla="*/ 17 h 309"/>
                <a:gd name="T30" fmla="*/ 1 w 338"/>
                <a:gd name="T31" fmla="*/ 52 h 309"/>
                <a:gd name="T32" fmla="*/ 5 w 338"/>
                <a:gd name="T33" fmla="*/ 76 h 309"/>
                <a:gd name="T34" fmla="*/ 8 w 338"/>
                <a:gd name="T35" fmla="*/ 79 h 309"/>
                <a:gd name="T36" fmla="*/ 9 w 338"/>
                <a:gd name="T37" fmla="*/ 88 h 309"/>
                <a:gd name="T38" fmla="*/ 17 w 338"/>
                <a:gd name="T39" fmla="*/ 105 h 309"/>
                <a:gd name="T40" fmla="*/ 20 w 338"/>
                <a:gd name="T41" fmla="*/ 119 h 309"/>
                <a:gd name="T42" fmla="*/ 19 w 338"/>
                <a:gd name="T43" fmla="*/ 119 h 309"/>
                <a:gd name="T44" fmla="*/ 19 w 338"/>
                <a:gd name="T45" fmla="*/ 119 h 309"/>
                <a:gd name="T46" fmla="*/ 19 w 338"/>
                <a:gd name="T47" fmla="*/ 119 h 309"/>
                <a:gd name="T48" fmla="*/ 14 w 338"/>
                <a:gd name="T49" fmla="*/ 120 h 309"/>
                <a:gd name="T50" fmla="*/ 13 w 338"/>
                <a:gd name="T51" fmla="*/ 120 h 309"/>
                <a:gd name="T52" fmla="*/ 13 w 338"/>
                <a:gd name="T53" fmla="*/ 120 h 309"/>
                <a:gd name="T54" fmla="*/ 14 w 338"/>
                <a:gd name="T55" fmla="*/ 142 h 309"/>
                <a:gd name="T56" fmla="*/ 20 w 338"/>
                <a:gd name="T57" fmla="*/ 161 h 309"/>
                <a:gd name="T58" fmla="*/ 26 w 338"/>
                <a:gd name="T59" fmla="*/ 171 h 309"/>
                <a:gd name="T60" fmla="*/ 45 w 338"/>
                <a:gd name="T61" fmla="*/ 167 h 309"/>
                <a:gd name="T62" fmla="*/ 71 w 338"/>
                <a:gd name="T63" fmla="*/ 174 h 309"/>
                <a:gd name="T64" fmla="*/ 87 w 338"/>
                <a:gd name="T65" fmla="*/ 199 h 309"/>
                <a:gd name="T66" fmla="*/ 72 w 338"/>
                <a:gd name="T67" fmla="*/ 224 h 309"/>
                <a:gd name="T68" fmla="*/ 51 w 338"/>
                <a:gd name="T69" fmla="*/ 238 h 309"/>
                <a:gd name="T70" fmla="*/ 42 w 338"/>
                <a:gd name="T71" fmla="*/ 265 h 309"/>
                <a:gd name="T72" fmla="*/ 62 w 338"/>
                <a:gd name="T73" fmla="*/ 292 h 309"/>
                <a:gd name="T74" fmla="*/ 76 w 338"/>
                <a:gd name="T75" fmla="*/ 286 h 309"/>
                <a:gd name="T76" fmla="*/ 66 w 338"/>
                <a:gd name="T77" fmla="*/ 265 h 309"/>
                <a:gd name="T78" fmla="*/ 71 w 338"/>
                <a:gd name="T79" fmla="*/ 240 h 309"/>
                <a:gd name="T80" fmla="*/ 74 w 338"/>
                <a:gd name="T81" fmla="*/ 247 h 309"/>
                <a:gd name="T82" fmla="*/ 79 w 338"/>
                <a:gd name="T83" fmla="*/ 250 h 309"/>
                <a:gd name="T84" fmla="*/ 95 w 338"/>
                <a:gd name="T85" fmla="*/ 252 h 309"/>
                <a:gd name="T86" fmla="*/ 106 w 338"/>
                <a:gd name="T87" fmla="*/ 256 h 309"/>
                <a:gd name="T88" fmla="*/ 140 w 338"/>
                <a:gd name="T89" fmla="*/ 243 h 309"/>
                <a:gd name="T90" fmla="*/ 142 w 338"/>
                <a:gd name="T91" fmla="*/ 261 h 309"/>
                <a:gd name="T92" fmla="*/ 153 w 338"/>
                <a:gd name="T93" fmla="*/ 259 h 309"/>
                <a:gd name="T94" fmla="*/ 164 w 338"/>
                <a:gd name="T95" fmla="*/ 257 h 309"/>
                <a:gd name="T96" fmla="*/ 164 w 338"/>
                <a:gd name="T97" fmla="*/ 268 h 309"/>
                <a:gd name="T98" fmla="*/ 191 w 338"/>
                <a:gd name="T99" fmla="*/ 257 h 309"/>
                <a:gd name="T100" fmla="*/ 206 w 338"/>
                <a:gd name="T101" fmla="*/ 263 h 309"/>
                <a:gd name="T102" fmla="*/ 229 w 338"/>
                <a:gd name="T103" fmla="*/ 281 h 309"/>
                <a:gd name="T104" fmla="*/ 252 w 338"/>
                <a:gd name="T105" fmla="*/ 282 h 309"/>
                <a:gd name="T106" fmla="*/ 252 w 338"/>
                <a:gd name="T107" fmla="*/ 296 h 309"/>
                <a:gd name="T108" fmla="*/ 283 w 338"/>
                <a:gd name="T109" fmla="*/ 297 h 309"/>
                <a:gd name="T110" fmla="*/ 280 w 338"/>
                <a:gd name="T111" fmla="*/ 259 h 309"/>
                <a:gd name="T112" fmla="*/ 313 w 338"/>
                <a:gd name="T113" fmla="*/ 23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8" h="309">
                  <a:moveTo>
                    <a:pt x="333" y="226"/>
                  </a:moveTo>
                  <a:cubicBezTo>
                    <a:pt x="328" y="225"/>
                    <a:pt x="325" y="222"/>
                    <a:pt x="321" y="220"/>
                  </a:cubicBezTo>
                  <a:cubicBezTo>
                    <a:pt x="319" y="219"/>
                    <a:pt x="318" y="219"/>
                    <a:pt x="317" y="218"/>
                  </a:cubicBezTo>
                  <a:cubicBezTo>
                    <a:pt x="316" y="217"/>
                    <a:pt x="316" y="216"/>
                    <a:pt x="316" y="214"/>
                  </a:cubicBezTo>
                  <a:cubicBezTo>
                    <a:pt x="314" y="211"/>
                    <a:pt x="311" y="210"/>
                    <a:pt x="309" y="207"/>
                  </a:cubicBezTo>
                  <a:cubicBezTo>
                    <a:pt x="312" y="207"/>
                    <a:pt x="315" y="206"/>
                    <a:pt x="317" y="205"/>
                  </a:cubicBezTo>
                  <a:cubicBezTo>
                    <a:pt x="318" y="204"/>
                    <a:pt x="317" y="202"/>
                    <a:pt x="317" y="200"/>
                  </a:cubicBezTo>
                  <a:cubicBezTo>
                    <a:pt x="316" y="199"/>
                    <a:pt x="315" y="199"/>
                    <a:pt x="313" y="199"/>
                  </a:cubicBezTo>
                  <a:cubicBezTo>
                    <a:pt x="311" y="198"/>
                    <a:pt x="309" y="197"/>
                    <a:pt x="307" y="197"/>
                  </a:cubicBezTo>
                  <a:cubicBezTo>
                    <a:pt x="305" y="194"/>
                    <a:pt x="306" y="192"/>
                    <a:pt x="309" y="192"/>
                  </a:cubicBezTo>
                  <a:cubicBezTo>
                    <a:pt x="313" y="191"/>
                    <a:pt x="311" y="190"/>
                    <a:pt x="314" y="189"/>
                  </a:cubicBezTo>
                  <a:cubicBezTo>
                    <a:pt x="318" y="188"/>
                    <a:pt x="322" y="189"/>
                    <a:pt x="325" y="189"/>
                  </a:cubicBezTo>
                  <a:cubicBezTo>
                    <a:pt x="327" y="189"/>
                    <a:pt x="328" y="188"/>
                    <a:pt x="327" y="186"/>
                  </a:cubicBezTo>
                  <a:cubicBezTo>
                    <a:pt x="326" y="185"/>
                    <a:pt x="324" y="185"/>
                    <a:pt x="323" y="185"/>
                  </a:cubicBezTo>
                  <a:cubicBezTo>
                    <a:pt x="323" y="184"/>
                    <a:pt x="322" y="183"/>
                    <a:pt x="321" y="183"/>
                  </a:cubicBezTo>
                  <a:cubicBezTo>
                    <a:pt x="320" y="181"/>
                    <a:pt x="320" y="179"/>
                    <a:pt x="320" y="177"/>
                  </a:cubicBezTo>
                  <a:cubicBezTo>
                    <a:pt x="318" y="177"/>
                    <a:pt x="315" y="178"/>
                    <a:pt x="312" y="176"/>
                  </a:cubicBezTo>
                  <a:cubicBezTo>
                    <a:pt x="310" y="174"/>
                    <a:pt x="312" y="171"/>
                    <a:pt x="311" y="168"/>
                  </a:cubicBezTo>
                  <a:cubicBezTo>
                    <a:pt x="310" y="165"/>
                    <a:pt x="306" y="166"/>
                    <a:pt x="307" y="163"/>
                  </a:cubicBezTo>
                  <a:cubicBezTo>
                    <a:pt x="308" y="160"/>
                    <a:pt x="304" y="158"/>
                    <a:pt x="305" y="155"/>
                  </a:cubicBezTo>
                  <a:cubicBezTo>
                    <a:pt x="302" y="155"/>
                    <a:pt x="301" y="153"/>
                    <a:pt x="301" y="152"/>
                  </a:cubicBezTo>
                  <a:cubicBezTo>
                    <a:pt x="298" y="152"/>
                    <a:pt x="296" y="150"/>
                    <a:pt x="294" y="149"/>
                  </a:cubicBezTo>
                  <a:cubicBezTo>
                    <a:pt x="290" y="147"/>
                    <a:pt x="286" y="147"/>
                    <a:pt x="282" y="148"/>
                  </a:cubicBezTo>
                  <a:cubicBezTo>
                    <a:pt x="282" y="149"/>
                    <a:pt x="281" y="150"/>
                    <a:pt x="280" y="151"/>
                  </a:cubicBezTo>
                  <a:cubicBezTo>
                    <a:pt x="280" y="152"/>
                    <a:pt x="277" y="152"/>
                    <a:pt x="277" y="153"/>
                  </a:cubicBezTo>
                  <a:cubicBezTo>
                    <a:pt x="274" y="154"/>
                    <a:pt x="274" y="151"/>
                    <a:pt x="273" y="150"/>
                  </a:cubicBezTo>
                  <a:cubicBezTo>
                    <a:pt x="273" y="149"/>
                    <a:pt x="272" y="147"/>
                    <a:pt x="270" y="147"/>
                  </a:cubicBezTo>
                  <a:cubicBezTo>
                    <a:pt x="267" y="146"/>
                    <a:pt x="264" y="147"/>
                    <a:pt x="261" y="147"/>
                  </a:cubicBezTo>
                  <a:cubicBezTo>
                    <a:pt x="260" y="144"/>
                    <a:pt x="254" y="145"/>
                    <a:pt x="252" y="145"/>
                  </a:cubicBezTo>
                  <a:cubicBezTo>
                    <a:pt x="252" y="143"/>
                    <a:pt x="252" y="141"/>
                    <a:pt x="252" y="139"/>
                  </a:cubicBezTo>
                  <a:cubicBezTo>
                    <a:pt x="252" y="138"/>
                    <a:pt x="250" y="136"/>
                    <a:pt x="250" y="134"/>
                  </a:cubicBezTo>
                  <a:cubicBezTo>
                    <a:pt x="246" y="134"/>
                    <a:pt x="242" y="136"/>
                    <a:pt x="238" y="136"/>
                  </a:cubicBezTo>
                  <a:cubicBezTo>
                    <a:pt x="236" y="135"/>
                    <a:pt x="236" y="134"/>
                    <a:pt x="235" y="132"/>
                  </a:cubicBezTo>
                  <a:cubicBezTo>
                    <a:pt x="233" y="131"/>
                    <a:pt x="232" y="131"/>
                    <a:pt x="230" y="130"/>
                  </a:cubicBezTo>
                  <a:cubicBezTo>
                    <a:pt x="227" y="129"/>
                    <a:pt x="224" y="127"/>
                    <a:pt x="221" y="125"/>
                  </a:cubicBezTo>
                  <a:cubicBezTo>
                    <a:pt x="219" y="124"/>
                    <a:pt x="219" y="124"/>
                    <a:pt x="217" y="125"/>
                  </a:cubicBezTo>
                  <a:cubicBezTo>
                    <a:pt x="216" y="126"/>
                    <a:pt x="215" y="128"/>
                    <a:pt x="213" y="127"/>
                  </a:cubicBezTo>
                  <a:cubicBezTo>
                    <a:pt x="212" y="125"/>
                    <a:pt x="209" y="124"/>
                    <a:pt x="207" y="123"/>
                  </a:cubicBezTo>
                  <a:cubicBezTo>
                    <a:pt x="205" y="122"/>
                    <a:pt x="203" y="122"/>
                    <a:pt x="201" y="121"/>
                  </a:cubicBezTo>
                  <a:cubicBezTo>
                    <a:pt x="201" y="120"/>
                    <a:pt x="201" y="119"/>
                    <a:pt x="201" y="119"/>
                  </a:cubicBezTo>
                  <a:cubicBezTo>
                    <a:pt x="199" y="118"/>
                    <a:pt x="197" y="117"/>
                    <a:pt x="195" y="115"/>
                  </a:cubicBezTo>
                  <a:cubicBezTo>
                    <a:pt x="193" y="113"/>
                    <a:pt x="192" y="111"/>
                    <a:pt x="189" y="112"/>
                  </a:cubicBezTo>
                  <a:cubicBezTo>
                    <a:pt x="189" y="113"/>
                    <a:pt x="189" y="113"/>
                    <a:pt x="189" y="113"/>
                  </a:cubicBezTo>
                  <a:cubicBezTo>
                    <a:pt x="186" y="113"/>
                    <a:pt x="187" y="108"/>
                    <a:pt x="187" y="107"/>
                  </a:cubicBezTo>
                  <a:cubicBezTo>
                    <a:pt x="186" y="105"/>
                    <a:pt x="185" y="103"/>
                    <a:pt x="183" y="102"/>
                  </a:cubicBezTo>
                  <a:cubicBezTo>
                    <a:pt x="182" y="101"/>
                    <a:pt x="181" y="102"/>
                    <a:pt x="179" y="101"/>
                  </a:cubicBezTo>
                  <a:cubicBezTo>
                    <a:pt x="178" y="100"/>
                    <a:pt x="178" y="100"/>
                    <a:pt x="176" y="99"/>
                  </a:cubicBezTo>
                  <a:cubicBezTo>
                    <a:pt x="175" y="99"/>
                    <a:pt x="174" y="97"/>
                    <a:pt x="173" y="97"/>
                  </a:cubicBezTo>
                  <a:cubicBezTo>
                    <a:pt x="172" y="97"/>
                    <a:pt x="170" y="97"/>
                    <a:pt x="169" y="97"/>
                  </a:cubicBezTo>
                  <a:cubicBezTo>
                    <a:pt x="169" y="96"/>
                    <a:pt x="169" y="95"/>
                    <a:pt x="169" y="95"/>
                  </a:cubicBezTo>
                  <a:cubicBezTo>
                    <a:pt x="164" y="95"/>
                    <a:pt x="162" y="92"/>
                    <a:pt x="159" y="89"/>
                  </a:cubicBezTo>
                  <a:cubicBezTo>
                    <a:pt x="158" y="88"/>
                    <a:pt x="157" y="86"/>
                    <a:pt x="155" y="86"/>
                  </a:cubicBezTo>
                  <a:cubicBezTo>
                    <a:pt x="152" y="86"/>
                    <a:pt x="153" y="89"/>
                    <a:pt x="153" y="91"/>
                  </a:cubicBezTo>
                  <a:cubicBezTo>
                    <a:pt x="151" y="91"/>
                    <a:pt x="150" y="88"/>
                    <a:pt x="148" y="87"/>
                  </a:cubicBezTo>
                  <a:cubicBezTo>
                    <a:pt x="146" y="86"/>
                    <a:pt x="145" y="88"/>
                    <a:pt x="143" y="86"/>
                  </a:cubicBezTo>
                  <a:cubicBezTo>
                    <a:pt x="142" y="85"/>
                    <a:pt x="142" y="84"/>
                    <a:pt x="142" y="83"/>
                  </a:cubicBezTo>
                  <a:cubicBezTo>
                    <a:pt x="141" y="82"/>
                    <a:pt x="140" y="81"/>
                    <a:pt x="139" y="81"/>
                  </a:cubicBezTo>
                  <a:cubicBezTo>
                    <a:pt x="137" y="82"/>
                    <a:pt x="137" y="84"/>
                    <a:pt x="136" y="85"/>
                  </a:cubicBezTo>
                  <a:cubicBezTo>
                    <a:pt x="135" y="86"/>
                    <a:pt x="133" y="85"/>
                    <a:pt x="132" y="85"/>
                  </a:cubicBezTo>
                  <a:cubicBezTo>
                    <a:pt x="133" y="82"/>
                    <a:pt x="129" y="84"/>
                    <a:pt x="129" y="82"/>
                  </a:cubicBezTo>
                  <a:cubicBezTo>
                    <a:pt x="128" y="81"/>
                    <a:pt x="127" y="81"/>
                    <a:pt x="126" y="82"/>
                  </a:cubicBezTo>
                  <a:cubicBezTo>
                    <a:pt x="126" y="80"/>
                    <a:pt x="126" y="79"/>
                    <a:pt x="126" y="77"/>
                  </a:cubicBezTo>
                  <a:cubicBezTo>
                    <a:pt x="123" y="77"/>
                    <a:pt x="120" y="79"/>
                    <a:pt x="116" y="78"/>
                  </a:cubicBezTo>
                  <a:cubicBezTo>
                    <a:pt x="113" y="77"/>
                    <a:pt x="111" y="77"/>
                    <a:pt x="108" y="77"/>
                  </a:cubicBezTo>
                  <a:cubicBezTo>
                    <a:pt x="108" y="74"/>
                    <a:pt x="107" y="74"/>
                    <a:pt x="104" y="73"/>
                  </a:cubicBezTo>
                  <a:cubicBezTo>
                    <a:pt x="101" y="72"/>
                    <a:pt x="98" y="69"/>
                    <a:pt x="95" y="69"/>
                  </a:cubicBezTo>
                  <a:cubicBezTo>
                    <a:pt x="95" y="66"/>
                    <a:pt x="95" y="64"/>
                    <a:pt x="90" y="63"/>
                  </a:cubicBezTo>
                  <a:cubicBezTo>
                    <a:pt x="87" y="63"/>
                    <a:pt x="83" y="65"/>
                    <a:pt x="83" y="61"/>
                  </a:cubicBezTo>
                  <a:cubicBezTo>
                    <a:pt x="80" y="60"/>
                    <a:pt x="80" y="57"/>
                    <a:pt x="77" y="56"/>
                  </a:cubicBezTo>
                  <a:cubicBezTo>
                    <a:pt x="77" y="55"/>
                    <a:pt x="78" y="54"/>
                    <a:pt x="78" y="53"/>
                  </a:cubicBezTo>
                  <a:cubicBezTo>
                    <a:pt x="80" y="53"/>
                    <a:pt x="85" y="53"/>
                    <a:pt x="85" y="51"/>
                  </a:cubicBezTo>
                  <a:cubicBezTo>
                    <a:pt x="84" y="49"/>
                    <a:pt x="79" y="47"/>
                    <a:pt x="78" y="46"/>
                  </a:cubicBezTo>
                  <a:cubicBezTo>
                    <a:pt x="75" y="44"/>
                    <a:pt x="71" y="41"/>
                    <a:pt x="68" y="38"/>
                  </a:cubicBezTo>
                  <a:cubicBezTo>
                    <a:pt x="66" y="36"/>
                    <a:pt x="66" y="33"/>
                    <a:pt x="63" y="31"/>
                  </a:cubicBezTo>
                  <a:cubicBezTo>
                    <a:pt x="60" y="29"/>
                    <a:pt x="58" y="32"/>
                    <a:pt x="55" y="31"/>
                  </a:cubicBezTo>
                  <a:cubicBezTo>
                    <a:pt x="53" y="31"/>
                    <a:pt x="53" y="34"/>
                    <a:pt x="51" y="35"/>
                  </a:cubicBezTo>
                  <a:cubicBezTo>
                    <a:pt x="48" y="36"/>
                    <a:pt x="49" y="38"/>
                    <a:pt x="47" y="40"/>
                  </a:cubicBezTo>
                  <a:cubicBezTo>
                    <a:pt x="45" y="41"/>
                    <a:pt x="43" y="37"/>
                    <a:pt x="42" y="37"/>
                  </a:cubicBezTo>
                  <a:cubicBezTo>
                    <a:pt x="43" y="35"/>
                    <a:pt x="42" y="33"/>
                    <a:pt x="42" y="32"/>
                  </a:cubicBezTo>
                  <a:cubicBezTo>
                    <a:pt x="40" y="33"/>
                    <a:pt x="36" y="34"/>
                    <a:pt x="33" y="33"/>
                  </a:cubicBezTo>
                  <a:cubicBezTo>
                    <a:pt x="32" y="32"/>
                    <a:pt x="32" y="28"/>
                    <a:pt x="31" y="26"/>
                  </a:cubicBezTo>
                  <a:cubicBezTo>
                    <a:pt x="29" y="23"/>
                    <a:pt x="33" y="20"/>
                    <a:pt x="35" y="18"/>
                  </a:cubicBezTo>
                  <a:cubicBezTo>
                    <a:pt x="37" y="16"/>
                    <a:pt x="38" y="12"/>
                    <a:pt x="39" y="9"/>
                  </a:cubicBezTo>
                  <a:cubicBezTo>
                    <a:pt x="40" y="9"/>
                    <a:pt x="41" y="8"/>
                    <a:pt x="43" y="8"/>
                  </a:cubicBezTo>
                  <a:cubicBezTo>
                    <a:pt x="39" y="6"/>
                    <a:pt x="35" y="6"/>
                    <a:pt x="32" y="3"/>
                  </a:cubicBezTo>
                  <a:cubicBezTo>
                    <a:pt x="31" y="2"/>
                    <a:pt x="29" y="1"/>
                    <a:pt x="28" y="0"/>
                  </a:cubicBezTo>
                  <a:cubicBezTo>
                    <a:pt x="27" y="0"/>
                    <a:pt x="27" y="0"/>
                    <a:pt x="27" y="0"/>
                  </a:cubicBezTo>
                  <a:cubicBezTo>
                    <a:pt x="27" y="1"/>
                    <a:pt x="27" y="2"/>
                    <a:pt x="26" y="3"/>
                  </a:cubicBezTo>
                  <a:cubicBezTo>
                    <a:pt x="24" y="7"/>
                    <a:pt x="18" y="10"/>
                    <a:pt x="18" y="15"/>
                  </a:cubicBezTo>
                  <a:cubicBezTo>
                    <a:pt x="16" y="16"/>
                    <a:pt x="14" y="15"/>
                    <a:pt x="14" y="17"/>
                  </a:cubicBezTo>
                  <a:cubicBezTo>
                    <a:pt x="13" y="19"/>
                    <a:pt x="12" y="19"/>
                    <a:pt x="12" y="20"/>
                  </a:cubicBezTo>
                  <a:cubicBezTo>
                    <a:pt x="8" y="20"/>
                    <a:pt x="9" y="24"/>
                    <a:pt x="8" y="26"/>
                  </a:cubicBezTo>
                  <a:cubicBezTo>
                    <a:pt x="8" y="28"/>
                    <a:pt x="7" y="29"/>
                    <a:pt x="6" y="30"/>
                  </a:cubicBezTo>
                  <a:cubicBezTo>
                    <a:pt x="5" y="32"/>
                    <a:pt x="5" y="33"/>
                    <a:pt x="4" y="35"/>
                  </a:cubicBezTo>
                  <a:cubicBezTo>
                    <a:pt x="3" y="35"/>
                    <a:pt x="3" y="35"/>
                    <a:pt x="3" y="35"/>
                  </a:cubicBezTo>
                  <a:cubicBezTo>
                    <a:pt x="2" y="40"/>
                    <a:pt x="0" y="47"/>
                    <a:pt x="1" y="52"/>
                  </a:cubicBezTo>
                  <a:cubicBezTo>
                    <a:pt x="3" y="57"/>
                    <a:pt x="3" y="62"/>
                    <a:pt x="3" y="67"/>
                  </a:cubicBezTo>
                  <a:cubicBezTo>
                    <a:pt x="3" y="74"/>
                    <a:pt x="3" y="74"/>
                    <a:pt x="3" y="74"/>
                  </a:cubicBezTo>
                  <a:cubicBezTo>
                    <a:pt x="4" y="74"/>
                    <a:pt x="4" y="73"/>
                    <a:pt x="5" y="73"/>
                  </a:cubicBezTo>
                  <a:cubicBezTo>
                    <a:pt x="6" y="74"/>
                    <a:pt x="6" y="74"/>
                    <a:pt x="6" y="74"/>
                  </a:cubicBezTo>
                  <a:cubicBezTo>
                    <a:pt x="6" y="76"/>
                    <a:pt x="5" y="75"/>
                    <a:pt x="5" y="75"/>
                  </a:cubicBezTo>
                  <a:cubicBezTo>
                    <a:pt x="5" y="76"/>
                    <a:pt x="5" y="76"/>
                    <a:pt x="5" y="76"/>
                  </a:cubicBezTo>
                  <a:cubicBezTo>
                    <a:pt x="6" y="76"/>
                    <a:pt x="6" y="76"/>
                    <a:pt x="6" y="76"/>
                  </a:cubicBezTo>
                  <a:cubicBezTo>
                    <a:pt x="6" y="77"/>
                    <a:pt x="6" y="77"/>
                    <a:pt x="6" y="77"/>
                  </a:cubicBezTo>
                  <a:cubicBezTo>
                    <a:pt x="6" y="77"/>
                    <a:pt x="6" y="77"/>
                    <a:pt x="6" y="77"/>
                  </a:cubicBezTo>
                  <a:cubicBezTo>
                    <a:pt x="7" y="78"/>
                    <a:pt x="7" y="78"/>
                    <a:pt x="7" y="78"/>
                  </a:cubicBezTo>
                  <a:cubicBezTo>
                    <a:pt x="7" y="78"/>
                    <a:pt x="7" y="78"/>
                    <a:pt x="7" y="78"/>
                  </a:cubicBezTo>
                  <a:cubicBezTo>
                    <a:pt x="7" y="79"/>
                    <a:pt x="8" y="79"/>
                    <a:pt x="8" y="79"/>
                  </a:cubicBezTo>
                  <a:cubicBezTo>
                    <a:pt x="8" y="80"/>
                    <a:pt x="9" y="79"/>
                    <a:pt x="9" y="79"/>
                  </a:cubicBezTo>
                  <a:cubicBezTo>
                    <a:pt x="9" y="81"/>
                    <a:pt x="9" y="81"/>
                    <a:pt x="9" y="81"/>
                  </a:cubicBezTo>
                  <a:cubicBezTo>
                    <a:pt x="9" y="81"/>
                    <a:pt x="9" y="82"/>
                    <a:pt x="9" y="82"/>
                  </a:cubicBezTo>
                  <a:cubicBezTo>
                    <a:pt x="9" y="83"/>
                    <a:pt x="11" y="83"/>
                    <a:pt x="9" y="84"/>
                  </a:cubicBezTo>
                  <a:cubicBezTo>
                    <a:pt x="8" y="84"/>
                    <a:pt x="8" y="85"/>
                    <a:pt x="9" y="86"/>
                  </a:cubicBezTo>
                  <a:cubicBezTo>
                    <a:pt x="10" y="87"/>
                    <a:pt x="10" y="88"/>
                    <a:pt x="9" y="88"/>
                  </a:cubicBezTo>
                  <a:cubicBezTo>
                    <a:pt x="9" y="88"/>
                    <a:pt x="9" y="88"/>
                    <a:pt x="9" y="88"/>
                  </a:cubicBezTo>
                  <a:cubicBezTo>
                    <a:pt x="9" y="89"/>
                    <a:pt x="10" y="89"/>
                    <a:pt x="10" y="90"/>
                  </a:cubicBezTo>
                  <a:cubicBezTo>
                    <a:pt x="11" y="92"/>
                    <a:pt x="10" y="94"/>
                    <a:pt x="12" y="96"/>
                  </a:cubicBezTo>
                  <a:cubicBezTo>
                    <a:pt x="14" y="99"/>
                    <a:pt x="16" y="101"/>
                    <a:pt x="17" y="104"/>
                  </a:cubicBezTo>
                  <a:cubicBezTo>
                    <a:pt x="17" y="104"/>
                    <a:pt x="17" y="104"/>
                    <a:pt x="17" y="104"/>
                  </a:cubicBezTo>
                  <a:cubicBezTo>
                    <a:pt x="17" y="105"/>
                    <a:pt x="17" y="105"/>
                    <a:pt x="17" y="105"/>
                  </a:cubicBezTo>
                  <a:cubicBezTo>
                    <a:pt x="19" y="108"/>
                    <a:pt x="19" y="110"/>
                    <a:pt x="19" y="113"/>
                  </a:cubicBezTo>
                  <a:cubicBezTo>
                    <a:pt x="19" y="114"/>
                    <a:pt x="19" y="114"/>
                    <a:pt x="19" y="114"/>
                  </a:cubicBezTo>
                  <a:cubicBezTo>
                    <a:pt x="19" y="115"/>
                    <a:pt x="19" y="116"/>
                    <a:pt x="20" y="116"/>
                  </a:cubicBezTo>
                  <a:cubicBezTo>
                    <a:pt x="20" y="117"/>
                    <a:pt x="20" y="117"/>
                    <a:pt x="20" y="117"/>
                  </a:cubicBezTo>
                  <a:cubicBezTo>
                    <a:pt x="20" y="118"/>
                    <a:pt x="20" y="118"/>
                    <a:pt x="20" y="119"/>
                  </a:cubicBezTo>
                  <a:cubicBezTo>
                    <a:pt x="20" y="119"/>
                    <a:pt x="20" y="119"/>
                    <a:pt x="20" y="119"/>
                  </a:cubicBezTo>
                  <a:cubicBezTo>
                    <a:pt x="20" y="119"/>
                    <a:pt x="20" y="119"/>
                    <a:pt x="20"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7" y="120"/>
                    <a:pt x="15" y="119"/>
                    <a:pt x="14" y="120"/>
                  </a:cubicBezTo>
                  <a:cubicBezTo>
                    <a:pt x="14" y="120"/>
                    <a:pt x="14" y="120"/>
                    <a:pt x="14" y="120"/>
                  </a:cubicBezTo>
                  <a:cubicBezTo>
                    <a:pt x="14" y="120"/>
                    <a:pt x="14" y="120"/>
                    <a:pt x="14" y="120"/>
                  </a:cubicBezTo>
                  <a:cubicBezTo>
                    <a:pt x="14" y="120"/>
                    <a:pt x="14" y="120"/>
                    <a:pt x="14"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5" y="122"/>
                    <a:pt x="14" y="122"/>
                    <a:pt x="12" y="124"/>
                  </a:cubicBezTo>
                  <a:cubicBezTo>
                    <a:pt x="7" y="129"/>
                    <a:pt x="14" y="137"/>
                    <a:pt x="14" y="142"/>
                  </a:cubicBezTo>
                  <a:cubicBezTo>
                    <a:pt x="14" y="145"/>
                    <a:pt x="18" y="145"/>
                    <a:pt x="20" y="146"/>
                  </a:cubicBezTo>
                  <a:cubicBezTo>
                    <a:pt x="21" y="146"/>
                    <a:pt x="22" y="146"/>
                    <a:pt x="23" y="147"/>
                  </a:cubicBezTo>
                  <a:cubicBezTo>
                    <a:pt x="25" y="149"/>
                    <a:pt x="21" y="149"/>
                    <a:pt x="21" y="149"/>
                  </a:cubicBezTo>
                  <a:cubicBezTo>
                    <a:pt x="21" y="152"/>
                    <a:pt x="26" y="149"/>
                    <a:pt x="25" y="154"/>
                  </a:cubicBezTo>
                  <a:cubicBezTo>
                    <a:pt x="23" y="154"/>
                    <a:pt x="23" y="155"/>
                    <a:pt x="23" y="156"/>
                  </a:cubicBezTo>
                  <a:cubicBezTo>
                    <a:pt x="20" y="156"/>
                    <a:pt x="20" y="158"/>
                    <a:pt x="20" y="161"/>
                  </a:cubicBezTo>
                  <a:cubicBezTo>
                    <a:pt x="23" y="161"/>
                    <a:pt x="28" y="160"/>
                    <a:pt x="29" y="164"/>
                  </a:cubicBezTo>
                  <a:cubicBezTo>
                    <a:pt x="27" y="164"/>
                    <a:pt x="23" y="164"/>
                    <a:pt x="23" y="166"/>
                  </a:cubicBezTo>
                  <a:cubicBezTo>
                    <a:pt x="21" y="166"/>
                    <a:pt x="19" y="166"/>
                    <a:pt x="17" y="166"/>
                  </a:cubicBezTo>
                  <a:cubicBezTo>
                    <a:pt x="17" y="167"/>
                    <a:pt x="17" y="167"/>
                    <a:pt x="17" y="167"/>
                  </a:cubicBezTo>
                  <a:cubicBezTo>
                    <a:pt x="13" y="167"/>
                    <a:pt x="11" y="175"/>
                    <a:pt x="15" y="175"/>
                  </a:cubicBezTo>
                  <a:cubicBezTo>
                    <a:pt x="14" y="168"/>
                    <a:pt x="21" y="171"/>
                    <a:pt x="26" y="171"/>
                  </a:cubicBezTo>
                  <a:cubicBezTo>
                    <a:pt x="26" y="169"/>
                    <a:pt x="26" y="168"/>
                    <a:pt x="26" y="167"/>
                  </a:cubicBezTo>
                  <a:cubicBezTo>
                    <a:pt x="29" y="167"/>
                    <a:pt x="31" y="167"/>
                    <a:pt x="33" y="169"/>
                  </a:cubicBezTo>
                  <a:cubicBezTo>
                    <a:pt x="34" y="171"/>
                    <a:pt x="37" y="167"/>
                    <a:pt x="39" y="167"/>
                  </a:cubicBezTo>
                  <a:cubicBezTo>
                    <a:pt x="40" y="169"/>
                    <a:pt x="40" y="171"/>
                    <a:pt x="42" y="171"/>
                  </a:cubicBezTo>
                  <a:cubicBezTo>
                    <a:pt x="42" y="170"/>
                    <a:pt x="43" y="168"/>
                    <a:pt x="43" y="167"/>
                  </a:cubicBezTo>
                  <a:cubicBezTo>
                    <a:pt x="44" y="167"/>
                    <a:pt x="44" y="167"/>
                    <a:pt x="45" y="167"/>
                  </a:cubicBezTo>
                  <a:cubicBezTo>
                    <a:pt x="45" y="166"/>
                    <a:pt x="46" y="165"/>
                    <a:pt x="47" y="165"/>
                  </a:cubicBezTo>
                  <a:cubicBezTo>
                    <a:pt x="47" y="167"/>
                    <a:pt x="49" y="169"/>
                    <a:pt x="50" y="169"/>
                  </a:cubicBezTo>
                  <a:cubicBezTo>
                    <a:pt x="49" y="170"/>
                    <a:pt x="49" y="172"/>
                    <a:pt x="51" y="172"/>
                  </a:cubicBezTo>
                  <a:cubicBezTo>
                    <a:pt x="53" y="173"/>
                    <a:pt x="55" y="172"/>
                    <a:pt x="57" y="172"/>
                  </a:cubicBezTo>
                  <a:cubicBezTo>
                    <a:pt x="59" y="172"/>
                    <a:pt x="61" y="174"/>
                    <a:pt x="64" y="174"/>
                  </a:cubicBezTo>
                  <a:cubicBezTo>
                    <a:pt x="66" y="174"/>
                    <a:pt x="68" y="174"/>
                    <a:pt x="71" y="174"/>
                  </a:cubicBezTo>
                  <a:cubicBezTo>
                    <a:pt x="71" y="173"/>
                    <a:pt x="71" y="173"/>
                    <a:pt x="71" y="173"/>
                  </a:cubicBezTo>
                  <a:cubicBezTo>
                    <a:pt x="75" y="173"/>
                    <a:pt x="76" y="174"/>
                    <a:pt x="78" y="176"/>
                  </a:cubicBezTo>
                  <a:cubicBezTo>
                    <a:pt x="78" y="178"/>
                    <a:pt x="80" y="178"/>
                    <a:pt x="82" y="179"/>
                  </a:cubicBezTo>
                  <a:cubicBezTo>
                    <a:pt x="84" y="179"/>
                    <a:pt x="84" y="181"/>
                    <a:pt x="84" y="183"/>
                  </a:cubicBezTo>
                  <a:cubicBezTo>
                    <a:pt x="84" y="186"/>
                    <a:pt x="86" y="188"/>
                    <a:pt x="87" y="190"/>
                  </a:cubicBezTo>
                  <a:cubicBezTo>
                    <a:pt x="89" y="193"/>
                    <a:pt x="87" y="196"/>
                    <a:pt x="87" y="199"/>
                  </a:cubicBezTo>
                  <a:cubicBezTo>
                    <a:pt x="83" y="200"/>
                    <a:pt x="85" y="203"/>
                    <a:pt x="83" y="203"/>
                  </a:cubicBezTo>
                  <a:cubicBezTo>
                    <a:pt x="82" y="205"/>
                    <a:pt x="83" y="206"/>
                    <a:pt x="82" y="208"/>
                  </a:cubicBezTo>
                  <a:cubicBezTo>
                    <a:pt x="80" y="209"/>
                    <a:pt x="80" y="213"/>
                    <a:pt x="78" y="215"/>
                  </a:cubicBezTo>
                  <a:cubicBezTo>
                    <a:pt x="77" y="217"/>
                    <a:pt x="75" y="219"/>
                    <a:pt x="75" y="221"/>
                  </a:cubicBezTo>
                  <a:cubicBezTo>
                    <a:pt x="73" y="219"/>
                    <a:pt x="73" y="223"/>
                    <a:pt x="73" y="224"/>
                  </a:cubicBezTo>
                  <a:cubicBezTo>
                    <a:pt x="72" y="224"/>
                    <a:pt x="72" y="224"/>
                    <a:pt x="72" y="224"/>
                  </a:cubicBezTo>
                  <a:cubicBezTo>
                    <a:pt x="72" y="226"/>
                    <a:pt x="75" y="228"/>
                    <a:pt x="74" y="229"/>
                  </a:cubicBezTo>
                  <a:cubicBezTo>
                    <a:pt x="73" y="231"/>
                    <a:pt x="72" y="230"/>
                    <a:pt x="70" y="230"/>
                  </a:cubicBezTo>
                  <a:cubicBezTo>
                    <a:pt x="69" y="230"/>
                    <a:pt x="68" y="231"/>
                    <a:pt x="67" y="232"/>
                  </a:cubicBezTo>
                  <a:cubicBezTo>
                    <a:pt x="64" y="233"/>
                    <a:pt x="61" y="232"/>
                    <a:pt x="58" y="232"/>
                  </a:cubicBezTo>
                  <a:cubicBezTo>
                    <a:pt x="55" y="232"/>
                    <a:pt x="56" y="236"/>
                    <a:pt x="55" y="238"/>
                  </a:cubicBezTo>
                  <a:cubicBezTo>
                    <a:pt x="54" y="238"/>
                    <a:pt x="52" y="237"/>
                    <a:pt x="51" y="238"/>
                  </a:cubicBezTo>
                  <a:cubicBezTo>
                    <a:pt x="51" y="239"/>
                    <a:pt x="51" y="241"/>
                    <a:pt x="51" y="242"/>
                  </a:cubicBezTo>
                  <a:cubicBezTo>
                    <a:pt x="51" y="244"/>
                    <a:pt x="50" y="249"/>
                    <a:pt x="54" y="249"/>
                  </a:cubicBezTo>
                  <a:cubicBezTo>
                    <a:pt x="54" y="250"/>
                    <a:pt x="55" y="251"/>
                    <a:pt x="55" y="253"/>
                  </a:cubicBezTo>
                  <a:cubicBezTo>
                    <a:pt x="52" y="252"/>
                    <a:pt x="53" y="256"/>
                    <a:pt x="50" y="255"/>
                  </a:cubicBezTo>
                  <a:cubicBezTo>
                    <a:pt x="50" y="258"/>
                    <a:pt x="50" y="260"/>
                    <a:pt x="48" y="262"/>
                  </a:cubicBezTo>
                  <a:cubicBezTo>
                    <a:pt x="47" y="263"/>
                    <a:pt x="44" y="265"/>
                    <a:pt x="42" y="265"/>
                  </a:cubicBezTo>
                  <a:cubicBezTo>
                    <a:pt x="42" y="268"/>
                    <a:pt x="51" y="280"/>
                    <a:pt x="45" y="282"/>
                  </a:cubicBezTo>
                  <a:cubicBezTo>
                    <a:pt x="44" y="284"/>
                    <a:pt x="46" y="284"/>
                    <a:pt x="48" y="285"/>
                  </a:cubicBezTo>
                  <a:cubicBezTo>
                    <a:pt x="53" y="286"/>
                    <a:pt x="50" y="291"/>
                    <a:pt x="50" y="294"/>
                  </a:cubicBezTo>
                  <a:cubicBezTo>
                    <a:pt x="51" y="294"/>
                    <a:pt x="52" y="295"/>
                    <a:pt x="54" y="295"/>
                  </a:cubicBezTo>
                  <a:cubicBezTo>
                    <a:pt x="54" y="292"/>
                    <a:pt x="54" y="290"/>
                    <a:pt x="57" y="289"/>
                  </a:cubicBezTo>
                  <a:cubicBezTo>
                    <a:pt x="57" y="292"/>
                    <a:pt x="60" y="290"/>
                    <a:pt x="62" y="292"/>
                  </a:cubicBezTo>
                  <a:cubicBezTo>
                    <a:pt x="64" y="293"/>
                    <a:pt x="62" y="298"/>
                    <a:pt x="66" y="298"/>
                  </a:cubicBezTo>
                  <a:cubicBezTo>
                    <a:pt x="66" y="298"/>
                    <a:pt x="67" y="297"/>
                    <a:pt x="66" y="297"/>
                  </a:cubicBezTo>
                  <a:cubicBezTo>
                    <a:pt x="68" y="296"/>
                    <a:pt x="71" y="296"/>
                    <a:pt x="71" y="299"/>
                  </a:cubicBezTo>
                  <a:cubicBezTo>
                    <a:pt x="74" y="298"/>
                    <a:pt x="75" y="296"/>
                    <a:pt x="78" y="295"/>
                  </a:cubicBezTo>
                  <a:cubicBezTo>
                    <a:pt x="78" y="293"/>
                    <a:pt x="79" y="291"/>
                    <a:pt x="80" y="290"/>
                  </a:cubicBezTo>
                  <a:cubicBezTo>
                    <a:pt x="79" y="289"/>
                    <a:pt x="78" y="287"/>
                    <a:pt x="76" y="286"/>
                  </a:cubicBezTo>
                  <a:cubicBezTo>
                    <a:pt x="76" y="285"/>
                    <a:pt x="77" y="284"/>
                    <a:pt x="78" y="284"/>
                  </a:cubicBezTo>
                  <a:cubicBezTo>
                    <a:pt x="78" y="283"/>
                    <a:pt x="78" y="282"/>
                    <a:pt x="78" y="281"/>
                  </a:cubicBezTo>
                  <a:cubicBezTo>
                    <a:pt x="78" y="280"/>
                    <a:pt x="76" y="280"/>
                    <a:pt x="76" y="278"/>
                  </a:cubicBezTo>
                  <a:cubicBezTo>
                    <a:pt x="74" y="278"/>
                    <a:pt x="72" y="280"/>
                    <a:pt x="69" y="279"/>
                  </a:cubicBezTo>
                  <a:cubicBezTo>
                    <a:pt x="69" y="275"/>
                    <a:pt x="71" y="271"/>
                    <a:pt x="71" y="268"/>
                  </a:cubicBezTo>
                  <a:cubicBezTo>
                    <a:pt x="70" y="265"/>
                    <a:pt x="67" y="267"/>
                    <a:pt x="66" y="265"/>
                  </a:cubicBezTo>
                  <a:cubicBezTo>
                    <a:pt x="65" y="263"/>
                    <a:pt x="68" y="254"/>
                    <a:pt x="63" y="254"/>
                  </a:cubicBezTo>
                  <a:cubicBezTo>
                    <a:pt x="62" y="252"/>
                    <a:pt x="64" y="248"/>
                    <a:pt x="61" y="246"/>
                  </a:cubicBezTo>
                  <a:cubicBezTo>
                    <a:pt x="60" y="246"/>
                    <a:pt x="56" y="246"/>
                    <a:pt x="57" y="244"/>
                  </a:cubicBezTo>
                  <a:cubicBezTo>
                    <a:pt x="59" y="244"/>
                    <a:pt x="60" y="242"/>
                    <a:pt x="62" y="240"/>
                  </a:cubicBezTo>
                  <a:cubicBezTo>
                    <a:pt x="65" y="239"/>
                    <a:pt x="67" y="239"/>
                    <a:pt x="67" y="243"/>
                  </a:cubicBezTo>
                  <a:cubicBezTo>
                    <a:pt x="70" y="243"/>
                    <a:pt x="71" y="243"/>
                    <a:pt x="71" y="240"/>
                  </a:cubicBezTo>
                  <a:cubicBezTo>
                    <a:pt x="72" y="240"/>
                    <a:pt x="73" y="240"/>
                    <a:pt x="73" y="240"/>
                  </a:cubicBezTo>
                  <a:cubicBezTo>
                    <a:pt x="73" y="239"/>
                    <a:pt x="73" y="238"/>
                    <a:pt x="73" y="237"/>
                  </a:cubicBezTo>
                  <a:cubicBezTo>
                    <a:pt x="76" y="237"/>
                    <a:pt x="77" y="234"/>
                    <a:pt x="79" y="234"/>
                  </a:cubicBezTo>
                  <a:cubicBezTo>
                    <a:pt x="80" y="235"/>
                    <a:pt x="79" y="236"/>
                    <a:pt x="78" y="237"/>
                  </a:cubicBezTo>
                  <a:cubicBezTo>
                    <a:pt x="77" y="239"/>
                    <a:pt x="80" y="241"/>
                    <a:pt x="80" y="243"/>
                  </a:cubicBezTo>
                  <a:cubicBezTo>
                    <a:pt x="77" y="243"/>
                    <a:pt x="74" y="243"/>
                    <a:pt x="74" y="247"/>
                  </a:cubicBezTo>
                  <a:cubicBezTo>
                    <a:pt x="75" y="247"/>
                    <a:pt x="76" y="248"/>
                    <a:pt x="76" y="248"/>
                  </a:cubicBezTo>
                  <a:cubicBezTo>
                    <a:pt x="76" y="247"/>
                    <a:pt x="77" y="246"/>
                    <a:pt x="77" y="245"/>
                  </a:cubicBezTo>
                  <a:cubicBezTo>
                    <a:pt x="77" y="245"/>
                    <a:pt x="78" y="245"/>
                    <a:pt x="79" y="245"/>
                  </a:cubicBezTo>
                  <a:cubicBezTo>
                    <a:pt x="79" y="247"/>
                    <a:pt x="79" y="249"/>
                    <a:pt x="77" y="250"/>
                  </a:cubicBezTo>
                  <a:cubicBezTo>
                    <a:pt x="77" y="250"/>
                    <a:pt x="77" y="251"/>
                    <a:pt x="77" y="252"/>
                  </a:cubicBezTo>
                  <a:cubicBezTo>
                    <a:pt x="78" y="252"/>
                    <a:pt x="79" y="251"/>
                    <a:pt x="79" y="250"/>
                  </a:cubicBezTo>
                  <a:cubicBezTo>
                    <a:pt x="80" y="250"/>
                    <a:pt x="82" y="249"/>
                    <a:pt x="83" y="249"/>
                  </a:cubicBezTo>
                  <a:cubicBezTo>
                    <a:pt x="84" y="250"/>
                    <a:pt x="82" y="252"/>
                    <a:pt x="85" y="253"/>
                  </a:cubicBezTo>
                  <a:cubicBezTo>
                    <a:pt x="84" y="253"/>
                    <a:pt x="85" y="254"/>
                    <a:pt x="85" y="254"/>
                  </a:cubicBezTo>
                  <a:cubicBezTo>
                    <a:pt x="86" y="254"/>
                    <a:pt x="87" y="253"/>
                    <a:pt x="89" y="253"/>
                  </a:cubicBezTo>
                  <a:cubicBezTo>
                    <a:pt x="91" y="254"/>
                    <a:pt x="92" y="255"/>
                    <a:pt x="95" y="254"/>
                  </a:cubicBezTo>
                  <a:cubicBezTo>
                    <a:pt x="95" y="254"/>
                    <a:pt x="95" y="253"/>
                    <a:pt x="95" y="252"/>
                  </a:cubicBezTo>
                  <a:cubicBezTo>
                    <a:pt x="97" y="252"/>
                    <a:pt x="94" y="246"/>
                    <a:pt x="94" y="245"/>
                  </a:cubicBezTo>
                  <a:cubicBezTo>
                    <a:pt x="96" y="245"/>
                    <a:pt x="97" y="247"/>
                    <a:pt x="99" y="246"/>
                  </a:cubicBezTo>
                  <a:cubicBezTo>
                    <a:pt x="98" y="250"/>
                    <a:pt x="101" y="249"/>
                    <a:pt x="103" y="249"/>
                  </a:cubicBezTo>
                  <a:cubicBezTo>
                    <a:pt x="104" y="251"/>
                    <a:pt x="93" y="259"/>
                    <a:pt x="100" y="260"/>
                  </a:cubicBezTo>
                  <a:cubicBezTo>
                    <a:pt x="101" y="258"/>
                    <a:pt x="99" y="257"/>
                    <a:pt x="101" y="256"/>
                  </a:cubicBezTo>
                  <a:cubicBezTo>
                    <a:pt x="102" y="255"/>
                    <a:pt x="104" y="256"/>
                    <a:pt x="106" y="256"/>
                  </a:cubicBezTo>
                  <a:cubicBezTo>
                    <a:pt x="106" y="252"/>
                    <a:pt x="109" y="253"/>
                    <a:pt x="109" y="256"/>
                  </a:cubicBezTo>
                  <a:cubicBezTo>
                    <a:pt x="113" y="256"/>
                    <a:pt x="117" y="256"/>
                    <a:pt x="121" y="256"/>
                  </a:cubicBezTo>
                  <a:cubicBezTo>
                    <a:pt x="121" y="255"/>
                    <a:pt x="120" y="248"/>
                    <a:pt x="123" y="250"/>
                  </a:cubicBezTo>
                  <a:cubicBezTo>
                    <a:pt x="125" y="251"/>
                    <a:pt x="131" y="248"/>
                    <a:pt x="129" y="245"/>
                  </a:cubicBezTo>
                  <a:cubicBezTo>
                    <a:pt x="131" y="245"/>
                    <a:pt x="133" y="245"/>
                    <a:pt x="134" y="246"/>
                  </a:cubicBezTo>
                  <a:cubicBezTo>
                    <a:pt x="134" y="244"/>
                    <a:pt x="139" y="243"/>
                    <a:pt x="140" y="243"/>
                  </a:cubicBezTo>
                  <a:cubicBezTo>
                    <a:pt x="140" y="245"/>
                    <a:pt x="140" y="247"/>
                    <a:pt x="142" y="248"/>
                  </a:cubicBezTo>
                  <a:cubicBezTo>
                    <a:pt x="143" y="249"/>
                    <a:pt x="145" y="251"/>
                    <a:pt x="147" y="252"/>
                  </a:cubicBezTo>
                  <a:cubicBezTo>
                    <a:pt x="147" y="256"/>
                    <a:pt x="142" y="255"/>
                    <a:pt x="143" y="258"/>
                  </a:cubicBezTo>
                  <a:cubicBezTo>
                    <a:pt x="144" y="259"/>
                    <a:pt x="144" y="259"/>
                    <a:pt x="144" y="259"/>
                  </a:cubicBezTo>
                  <a:cubicBezTo>
                    <a:pt x="143" y="260"/>
                    <a:pt x="143" y="260"/>
                    <a:pt x="143" y="260"/>
                  </a:cubicBezTo>
                  <a:cubicBezTo>
                    <a:pt x="142" y="260"/>
                    <a:pt x="142" y="260"/>
                    <a:pt x="142" y="261"/>
                  </a:cubicBezTo>
                  <a:cubicBezTo>
                    <a:pt x="141" y="261"/>
                    <a:pt x="140" y="262"/>
                    <a:pt x="140" y="263"/>
                  </a:cubicBezTo>
                  <a:cubicBezTo>
                    <a:pt x="141" y="263"/>
                    <a:pt x="142" y="263"/>
                    <a:pt x="143" y="262"/>
                  </a:cubicBezTo>
                  <a:cubicBezTo>
                    <a:pt x="143" y="261"/>
                    <a:pt x="145" y="259"/>
                    <a:pt x="147" y="260"/>
                  </a:cubicBezTo>
                  <a:cubicBezTo>
                    <a:pt x="148" y="261"/>
                    <a:pt x="148" y="263"/>
                    <a:pt x="148" y="264"/>
                  </a:cubicBezTo>
                  <a:cubicBezTo>
                    <a:pt x="151" y="265"/>
                    <a:pt x="150" y="260"/>
                    <a:pt x="150" y="259"/>
                  </a:cubicBezTo>
                  <a:cubicBezTo>
                    <a:pt x="151" y="258"/>
                    <a:pt x="152" y="258"/>
                    <a:pt x="153" y="259"/>
                  </a:cubicBezTo>
                  <a:cubicBezTo>
                    <a:pt x="153" y="258"/>
                    <a:pt x="154" y="258"/>
                    <a:pt x="154" y="257"/>
                  </a:cubicBezTo>
                  <a:cubicBezTo>
                    <a:pt x="156" y="257"/>
                    <a:pt x="155" y="258"/>
                    <a:pt x="156" y="259"/>
                  </a:cubicBezTo>
                  <a:cubicBezTo>
                    <a:pt x="157" y="261"/>
                    <a:pt x="160" y="260"/>
                    <a:pt x="161" y="260"/>
                  </a:cubicBezTo>
                  <a:cubicBezTo>
                    <a:pt x="161" y="259"/>
                    <a:pt x="161" y="259"/>
                    <a:pt x="161" y="259"/>
                  </a:cubicBezTo>
                  <a:cubicBezTo>
                    <a:pt x="160" y="259"/>
                    <a:pt x="160" y="258"/>
                    <a:pt x="160" y="257"/>
                  </a:cubicBezTo>
                  <a:cubicBezTo>
                    <a:pt x="161" y="257"/>
                    <a:pt x="163" y="257"/>
                    <a:pt x="164" y="257"/>
                  </a:cubicBezTo>
                  <a:cubicBezTo>
                    <a:pt x="164" y="258"/>
                    <a:pt x="164" y="259"/>
                    <a:pt x="164" y="259"/>
                  </a:cubicBezTo>
                  <a:cubicBezTo>
                    <a:pt x="165" y="258"/>
                    <a:pt x="165" y="257"/>
                    <a:pt x="165" y="257"/>
                  </a:cubicBezTo>
                  <a:cubicBezTo>
                    <a:pt x="166" y="257"/>
                    <a:pt x="167" y="257"/>
                    <a:pt x="168" y="257"/>
                  </a:cubicBezTo>
                  <a:cubicBezTo>
                    <a:pt x="168" y="257"/>
                    <a:pt x="168" y="258"/>
                    <a:pt x="167" y="258"/>
                  </a:cubicBezTo>
                  <a:cubicBezTo>
                    <a:pt x="166" y="259"/>
                    <a:pt x="166" y="260"/>
                    <a:pt x="166" y="262"/>
                  </a:cubicBezTo>
                  <a:cubicBezTo>
                    <a:pt x="166" y="264"/>
                    <a:pt x="165" y="266"/>
                    <a:pt x="164" y="268"/>
                  </a:cubicBezTo>
                  <a:cubicBezTo>
                    <a:pt x="167" y="269"/>
                    <a:pt x="168" y="266"/>
                    <a:pt x="170" y="266"/>
                  </a:cubicBezTo>
                  <a:cubicBezTo>
                    <a:pt x="170" y="268"/>
                    <a:pt x="180" y="267"/>
                    <a:pt x="182" y="267"/>
                  </a:cubicBezTo>
                  <a:cubicBezTo>
                    <a:pt x="180" y="263"/>
                    <a:pt x="186" y="261"/>
                    <a:pt x="184" y="258"/>
                  </a:cubicBezTo>
                  <a:cubicBezTo>
                    <a:pt x="184" y="257"/>
                    <a:pt x="185" y="257"/>
                    <a:pt x="186" y="257"/>
                  </a:cubicBezTo>
                  <a:cubicBezTo>
                    <a:pt x="186" y="258"/>
                    <a:pt x="186" y="259"/>
                    <a:pt x="187" y="259"/>
                  </a:cubicBezTo>
                  <a:cubicBezTo>
                    <a:pt x="187" y="258"/>
                    <a:pt x="189" y="256"/>
                    <a:pt x="191" y="257"/>
                  </a:cubicBezTo>
                  <a:cubicBezTo>
                    <a:pt x="191" y="257"/>
                    <a:pt x="191" y="258"/>
                    <a:pt x="191" y="258"/>
                  </a:cubicBezTo>
                  <a:cubicBezTo>
                    <a:pt x="192" y="259"/>
                    <a:pt x="193" y="260"/>
                    <a:pt x="195" y="260"/>
                  </a:cubicBezTo>
                  <a:cubicBezTo>
                    <a:pt x="194" y="258"/>
                    <a:pt x="196" y="257"/>
                    <a:pt x="196" y="255"/>
                  </a:cubicBezTo>
                  <a:cubicBezTo>
                    <a:pt x="197" y="255"/>
                    <a:pt x="199" y="254"/>
                    <a:pt x="201" y="255"/>
                  </a:cubicBezTo>
                  <a:cubicBezTo>
                    <a:pt x="203" y="257"/>
                    <a:pt x="200" y="260"/>
                    <a:pt x="201" y="262"/>
                  </a:cubicBezTo>
                  <a:cubicBezTo>
                    <a:pt x="202" y="262"/>
                    <a:pt x="206" y="261"/>
                    <a:pt x="206" y="263"/>
                  </a:cubicBezTo>
                  <a:cubicBezTo>
                    <a:pt x="207" y="267"/>
                    <a:pt x="212" y="265"/>
                    <a:pt x="215" y="266"/>
                  </a:cubicBezTo>
                  <a:cubicBezTo>
                    <a:pt x="215" y="268"/>
                    <a:pt x="214" y="271"/>
                    <a:pt x="215" y="273"/>
                  </a:cubicBezTo>
                  <a:cubicBezTo>
                    <a:pt x="217" y="275"/>
                    <a:pt x="221" y="273"/>
                    <a:pt x="224" y="274"/>
                  </a:cubicBezTo>
                  <a:cubicBezTo>
                    <a:pt x="224" y="274"/>
                    <a:pt x="224" y="275"/>
                    <a:pt x="224" y="276"/>
                  </a:cubicBezTo>
                  <a:cubicBezTo>
                    <a:pt x="225" y="276"/>
                    <a:pt x="227" y="276"/>
                    <a:pt x="229" y="276"/>
                  </a:cubicBezTo>
                  <a:cubicBezTo>
                    <a:pt x="229" y="278"/>
                    <a:pt x="229" y="280"/>
                    <a:pt x="229" y="281"/>
                  </a:cubicBezTo>
                  <a:cubicBezTo>
                    <a:pt x="230" y="281"/>
                    <a:pt x="231" y="281"/>
                    <a:pt x="232" y="281"/>
                  </a:cubicBezTo>
                  <a:cubicBezTo>
                    <a:pt x="232" y="282"/>
                    <a:pt x="232" y="283"/>
                    <a:pt x="232" y="284"/>
                  </a:cubicBezTo>
                  <a:cubicBezTo>
                    <a:pt x="234" y="284"/>
                    <a:pt x="234" y="286"/>
                    <a:pt x="236" y="286"/>
                  </a:cubicBezTo>
                  <a:cubicBezTo>
                    <a:pt x="236" y="284"/>
                    <a:pt x="235" y="283"/>
                    <a:pt x="236" y="282"/>
                  </a:cubicBezTo>
                  <a:cubicBezTo>
                    <a:pt x="239" y="282"/>
                    <a:pt x="246" y="283"/>
                    <a:pt x="248" y="281"/>
                  </a:cubicBezTo>
                  <a:cubicBezTo>
                    <a:pt x="249" y="280"/>
                    <a:pt x="251" y="281"/>
                    <a:pt x="252" y="282"/>
                  </a:cubicBezTo>
                  <a:cubicBezTo>
                    <a:pt x="252" y="282"/>
                    <a:pt x="252" y="283"/>
                    <a:pt x="252" y="284"/>
                  </a:cubicBezTo>
                  <a:cubicBezTo>
                    <a:pt x="253" y="285"/>
                    <a:pt x="254" y="284"/>
                    <a:pt x="255" y="285"/>
                  </a:cubicBezTo>
                  <a:cubicBezTo>
                    <a:pt x="258" y="288"/>
                    <a:pt x="253" y="290"/>
                    <a:pt x="251" y="288"/>
                  </a:cubicBezTo>
                  <a:cubicBezTo>
                    <a:pt x="250" y="290"/>
                    <a:pt x="250" y="291"/>
                    <a:pt x="250" y="292"/>
                  </a:cubicBezTo>
                  <a:cubicBezTo>
                    <a:pt x="251" y="292"/>
                    <a:pt x="251" y="292"/>
                    <a:pt x="252" y="292"/>
                  </a:cubicBezTo>
                  <a:cubicBezTo>
                    <a:pt x="252" y="294"/>
                    <a:pt x="252" y="295"/>
                    <a:pt x="252" y="296"/>
                  </a:cubicBezTo>
                  <a:cubicBezTo>
                    <a:pt x="255" y="296"/>
                    <a:pt x="255" y="298"/>
                    <a:pt x="254" y="300"/>
                  </a:cubicBezTo>
                  <a:cubicBezTo>
                    <a:pt x="280" y="309"/>
                    <a:pt x="280" y="309"/>
                    <a:pt x="280" y="309"/>
                  </a:cubicBezTo>
                  <a:cubicBezTo>
                    <a:pt x="280" y="309"/>
                    <a:pt x="280" y="309"/>
                    <a:pt x="280" y="309"/>
                  </a:cubicBezTo>
                  <a:cubicBezTo>
                    <a:pt x="279" y="308"/>
                    <a:pt x="278" y="307"/>
                    <a:pt x="280" y="306"/>
                  </a:cubicBezTo>
                  <a:cubicBezTo>
                    <a:pt x="281" y="305"/>
                    <a:pt x="284" y="304"/>
                    <a:pt x="282" y="302"/>
                  </a:cubicBezTo>
                  <a:cubicBezTo>
                    <a:pt x="280" y="300"/>
                    <a:pt x="281" y="298"/>
                    <a:pt x="283" y="297"/>
                  </a:cubicBezTo>
                  <a:cubicBezTo>
                    <a:pt x="284" y="295"/>
                    <a:pt x="282" y="295"/>
                    <a:pt x="282" y="294"/>
                  </a:cubicBezTo>
                  <a:cubicBezTo>
                    <a:pt x="282" y="293"/>
                    <a:pt x="282" y="291"/>
                    <a:pt x="282" y="290"/>
                  </a:cubicBezTo>
                  <a:cubicBezTo>
                    <a:pt x="285" y="290"/>
                    <a:pt x="288" y="289"/>
                    <a:pt x="288" y="285"/>
                  </a:cubicBezTo>
                  <a:cubicBezTo>
                    <a:pt x="288" y="282"/>
                    <a:pt x="286" y="280"/>
                    <a:pt x="283" y="278"/>
                  </a:cubicBezTo>
                  <a:cubicBezTo>
                    <a:pt x="280" y="276"/>
                    <a:pt x="281" y="272"/>
                    <a:pt x="280" y="269"/>
                  </a:cubicBezTo>
                  <a:cubicBezTo>
                    <a:pt x="278" y="266"/>
                    <a:pt x="278" y="263"/>
                    <a:pt x="280" y="259"/>
                  </a:cubicBezTo>
                  <a:cubicBezTo>
                    <a:pt x="281" y="257"/>
                    <a:pt x="282" y="254"/>
                    <a:pt x="285" y="253"/>
                  </a:cubicBezTo>
                  <a:cubicBezTo>
                    <a:pt x="289" y="253"/>
                    <a:pt x="290" y="251"/>
                    <a:pt x="294" y="249"/>
                  </a:cubicBezTo>
                  <a:cubicBezTo>
                    <a:pt x="296" y="248"/>
                    <a:pt x="300" y="248"/>
                    <a:pt x="301" y="245"/>
                  </a:cubicBezTo>
                  <a:cubicBezTo>
                    <a:pt x="303" y="243"/>
                    <a:pt x="304" y="239"/>
                    <a:pt x="307" y="239"/>
                  </a:cubicBezTo>
                  <a:cubicBezTo>
                    <a:pt x="308" y="238"/>
                    <a:pt x="310" y="238"/>
                    <a:pt x="311" y="237"/>
                  </a:cubicBezTo>
                  <a:cubicBezTo>
                    <a:pt x="313" y="236"/>
                    <a:pt x="313" y="235"/>
                    <a:pt x="313" y="233"/>
                  </a:cubicBezTo>
                  <a:cubicBezTo>
                    <a:pt x="314" y="230"/>
                    <a:pt x="319" y="231"/>
                    <a:pt x="319" y="234"/>
                  </a:cubicBezTo>
                  <a:cubicBezTo>
                    <a:pt x="321" y="235"/>
                    <a:pt x="322" y="233"/>
                    <a:pt x="323" y="232"/>
                  </a:cubicBezTo>
                  <a:cubicBezTo>
                    <a:pt x="326" y="230"/>
                    <a:pt x="329" y="233"/>
                    <a:pt x="332" y="233"/>
                  </a:cubicBezTo>
                  <a:cubicBezTo>
                    <a:pt x="338" y="234"/>
                    <a:pt x="338" y="228"/>
                    <a:pt x="333" y="226"/>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sp>
          <p:nvSpPr>
            <p:cNvPr id="152" name="Freeform 446"/>
            <p:cNvSpPr>
              <a:spLocks/>
            </p:cNvSpPr>
            <p:nvPr/>
          </p:nvSpPr>
          <p:spPr bwMode="auto">
            <a:xfrm>
              <a:off x="3700463" y="2601913"/>
              <a:ext cx="66675" cy="71438"/>
            </a:xfrm>
            <a:custGeom>
              <a:avLst/>
              <a:gdLst>
                <a:gd name="T0" fmla="*/ 10 w 19"/>
                <a:gd name="T1" fmla="*/ 1 h 20"/>
                <a:gd name="T2" fmla="*/ 11 w 19"/>
                <a:gd name="T3" fmla="*/ 2 h 20"/>
                <a:gd name="T4" fmla="*/ 13 w 19"/>
                <a:gd name="T5" fmla="*/ 1 h 20"/>
                <a:gd name="T6" fmla="*/ 14 w 19"/>
                <a:gd name="T7" fmla="*/ 2 h 20"/>
                <a:gd name="T8" fmla="*/ 13 w 19"/>
                <a:gd name="T9" fmla="*/ 3 h 20"/>
                <a:gd name="T10" fmla="*/ 13 w 19"/>
                <a:gd name="T11" fmla="*/ 4 h 20"/>
                <a:gd name="T12" fmla="*/ 14 w 19"/>
                <a:gd name="T13" fmla="*/ 4 h 20"/>
                <a:gd name="T14" fmla="*/ 14 w 19"/>
                <a:gd name="T15" fmla="*/ 5 h 20"/>
                <a:gd name="T16" fmla="*/ 14 w 19"/>
                <a:gd name="T17" fmla="*/ 5 h 20"/>
                <a:gd name="T18" fmla="*/ 15 w 19"/>
                <a:gd name="T19" fmla="*/ 6 h 20"/>
                <a:gd name="T20" fmla="*/ 15 w 19"/>
                <a:gd name="T21" fmla="*/ 6 h 20"/>
                <a:gd name="T22" fmla="*/ 16 w 19"/>
                <a:gd name="T23" fmla="*/ 7 h 20"/>
                <a:gd name="T24" fmla="*/ 17 w 19"/>
                <a:gd name="T25" fmla="*/ 7 h 20"/>
                <a:gd name="T26" fmla="*/ 17 w 19"/>
                <a:gd name="T27" fmla="*/ 9 h 20"/>
                <a:gd name="T28" fmla="*/ 17 w 19"/>
                <a:gd name="T29" fmla="*/ 10 h 20"/>
                <a:gd name="T30" fmla="*/ 17 w 19"/>
                <a:gd name="T31" fmla="*/ 12 h 20"/>
                <a:gd name="T32" fmla="*/ 17 w 19"/>
                <a:gd name="T33" fmla="*/ 14 h 20"/>
                <a:gd name="T34" fmla="*/ 17 w 19"/>
                <a:gd name="T35" fmla="*/ 16 h 20"/>
                <a:gd name="T36" fmla="*/ 16 w 19"/>
                <a:gd name="T37" fmla="*/ 16 h 20"/>
                <a:gd name="T38" fmla="*/ 14 w 19"/>
                <a:gd name="T39" fmla="*/ 16 h 20"/>
                <a:gd name="T40" fmla="*/ 14 w 19"/>
                <a:gd name="T41" fmla="*/ 18 h 20"/>
                <a:gd name="T42" fmla="*/ 11 w 19"/>
                <a:gd name="T43" fmla="*/ 19 h 20"/>
                <a:gd name="T44" fmla="*/ 11 w 19"/>
                <a:gd name="T45" fmla="*/ 19 h 20"/>
                <a:gd name="T46" fmla="*/ 11 w 19"/>
                <a:gd name="T47" fmla="*/ 18 h 20"/>
                <a:gd name="T48" fmla="*/ 10 w 19"/>
                <a:gd name="T49" fmla="*/ 17 h 20"/>
                <a:gd name="T50" fmla="*/ 10 w 19"/>
                <a:gd name="T51" fmla="*/ 16 h 20"/>
                <a:gd name="T52" fmla="*/ 10 w 19"/>
                <a:gd name="T53" fmla="*/ 16 h 20"/>
                <a:gd name="T54" fmla="*/ 9 w 19"/>
                <a:gd name="T55" fmla="*/ 15 h 20"/>
                <a:gd name="T56" fmla="*/ 9 w 19"/>
                <a:gd name="T57" fmla="*/ 15 h 20"/>
                <a:gd name="T58" fmla="*/ 8 w 19"/>
                <a:gd name="T59" fmla="*/ 15 h 20"/>
                <a:gd name="T60" fmla="*/ 7 w 19"/>
                <a:gd name="T61" fmla="*/ 14 h 20"/>
                <a:gd name="T62" fmla="*/ 6 w 19"/>
                <a:gd name="T63" fmla="*/ 14 h 20"/>
                <a:gd name="T64" fmla="*/ 6 w 19"/>
                <a:gd name="T65" fmla="*/ 15 h 20"/>
                <a:gd name="T66" fmla="*/ 5 w 19"/>
                <a:gd name="T67" fmla="*/ 15 h 20"/>
                <a:gd name="T68" fmla="*/ 3 w 19"/>
                <a:gd name="T69" fmla="*/ 15 h 20"/>
                <a:gd name="T70" fmla="*/ 2 w 19"/>
                <a:gd name="T71" fmla="*/ 15 h 20"/>
                <a:gd name="T72" fmla="*/ 2 w 19"/>
                <a:gd name="T73" fmla="*/ 14 h 20"/>
                <a:gd name="T74" fmla="*/ 1 w 19"/>
                <a:gd name="T75" fmla="*/ 13 h 20"/>
                <a:gd name="T76" fmla="*/ 0 w 19"/>
                <a:gd name="T77" fmla="*/ 12 h 20"/>
                <a:gd name="T78" fmla="*/ 1 w 19"/>
                <a:gd name="T79" fmla="*/ 11 h 20"/>
                <a:gd name="T80" fmla="*/ 2 w 19"/>
                <a:gd name="T81" fmla="*/ 10 h 20"/>
                <a:gd name="T82" fmla="*/ 3 w 19"/>
                <a:gd name="T83" fmla="*/ 10 h 20"/>
                <a:gd name="T84" fmla="*/ 3 w 19"/>
                <a:gd name="T85" fmla="*/ 9 h 20"/>
                <a:gd name="T86" fmla="*/ 4 w 19"/>
                <a:gd name="T87" fmla="*/ 8 h 20"/>
                <a:gd name="T88" fmla="*/ 4 w 19"/>
                <a:gd name="T89" fmla="*/ 8 h 20"/>
                <a:gd name="T90" fmla="*/ 4 w 19"/>
                <a:gd name="T91" fmla="*/ 7 h 20"/>
                <a:gd name="T92" fmla="*/ 4 w 19"/>
                <a:gd name="T93" fmla="*/ 5 h 20"/>
                <a:gd name="T94" fmla="*/ 4 w 19"/>
                <a:gd name="T95" fmla="*/ 3 h 20"/>
                <a:gd name="T96" fmla="*/ 5 w 19"/>
                <a:gd name="T97" fmla="*/ 2 h 20"/>
                <a:gd name="T98" fmla="*/ 7 w 19"/>
                <a:gd name="T99" fmla="*/ 2 h 20"/>
                <a:gd name="T100" fmla="*/ 8 w 19"/>
                <a:gd name="T101" fmla="*/ 1 h 20"/>
                <a:gd name="T102" fmla="*/ 10 w 19"/>
                <a:gd name="T103"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 h="20">
                  <a:moveTo>
                    <a:pt x="10" y="1"/>
                  </a:moveTo>
                  <a:cubicBezTo>
                    <a:pt x="11" y="2"/>
                    <a:pt x="11" y="2"/>
                    <a:pt x="11" y="2"/>
                  </a:cubicBezTo>
                  <a:cubicBezTo>
                    <a:pt x="12" y="2"/>
                    <a:pt x="12" y="1"/>
                    <a:pt x="13" y="1"/>
                  </a:cubicBezTo>
                  <a:cubicBezTo>
                    <a:pt x="14" y="2"/>
                    <a:pt x="14" y="2"/>
                    <a:pt x="14" y="2"/>
                  </a:cubicBezTo>
                  <a:cubicBezTo>
                    <a:pt x="14" y="4"/>
                    <a:pt x="13" y="3"/>
                    <a:pt x="13" y="3"/>
                  </a:cubicBezTo>
                  <a:cubicBezTo>
                    <a:pt x="13" y="4"/>
                    <a:pt x="13" y="4"/>
                    <a:pt x="13" y="4"/>
                  </a:cubicBezTo>
                  <a:cubicBezTo>
                    <a:pt x="14" y="4"/>
                    <a:pt x="14" y="4"/>
                    <a:pt x="14" y="4"/>
                  </a:cubicBezTo>
                  <a:cubicBezTo>
                    <a:pt x="14" y="5"/>
                    <a:pt x="14" y="5"/>
                    <a:pt x="14" y="5"/>
                  </a:cubicBezTo>
                  <a:cubicBezTo>
                    <a:pt x="14" y="5"/>
                    <a:pt x="14" y="5"/>
                    <a:pt x="14" y="5"/>
                  </a:cubicBezTo>
                  <a:cubicBezTo>
                    <a:pt x="15" y="6"/>
                    <a:pt x="15" y="6"/>
                    <a:pt x="15" y="6"/>
                  </a:cubicBezTo>
                  <a:cubicBezTo>
                    <a:pt x="15" y="6"/>
                    <a:pt x="15" y="6"/>
                    <a:pt x="15" y="6"/>
                  </a:cubicBezTo>
                  <a:cubicBezTo>
                    <a:pt x="15" y="7"/>
                    <a:pt x="16" y="7"/>
                    <a:pt x="16" y="7"/>
                  </a:cubicBezTo>
                  <a:cubicBezTo>
                    <a:pt x="16" y="8"/>
                    <a:pt x="17" y="7"/>
                    <a:pt x="17" y="7"/>
                  </a:cubicBezTo>
                  <a:cubicBezTo>
                    <a:pt x="17" y="9"/>
                    <a:pt x="17" y="9"/>
                    <a:pt x="17" y="9"/>
                  </a:cubicBezTo>
                  <a:cubicBezTo>
                    <a:pt x="17" y="9"/>
                    <a:pt x="17" y="10"/>
                    <a:pt x="17" y="10"/>
                  </a:cubicBezTo>
                  <a:cubicBezTo>
                    <a:pt x="17" y="11"/>
                    <a:pt x="19" y="11"/>
                    <a:pt x="17" y="12"/>
                  </a:cubicBezTo>
                  <a:cubicBezTo>
                    <a:pt x="16" y="12"/>
                    <a:pt x="16" y="13"/>
                    <a:pt x="17" y="14"/>
                  </a:cubicBezTo>
                  <a:cubicBezTo>
                    <a:pt x="18" y="15"/>
                    <a:pt x="18" y="16"/>
                    <a:pt x="17" y="16"/>
                  </a:cubicBezTo>
                  <a:cubicBezTo>
                    <a:pt x="16" y="16"/>
                    <a:pt x="16" y="16"/>
                    <a:pt x="16" y="16"/>
                  </a:cubicBezTo>
                  <a:cubicBezTo>
                    <a:pt x="16" y="16"/>
                    <a:pt x="15" y="16"/>
                    <a:pt x="14" y="16"/>
                  </a:cubicBezTo>
                  <a:cubicBezTo>
                    <a:pt x="13" y="17"/>
                    <a:pt x="15" y="17"/>
                    <a:pt x="14" y="18"/>
                  </a:cubicBezTo>
                  <a:cubicBezTo>
                    <a:pt x="14" y="19"/>
                    <a:pt x="12" y="20"/>
                    <a:pt x="11" y="19"/>
                  </a:cubicBezTo>
                  <a:cubicBezTo>
                    <a:pt x="11" y="19"/>
                    <a:pt x="11" y="19"/>
                    <a:pt x="11" y="19"/>
                  </a:cubicBezTo>
                  <a:cubicBezTo>
                    <a:pt x="11" y="18"/>
                    <a:pt x="11" y="18"/>
                    <a:pt x="11" y="18"/>
                  </a:cubicBezTo>
                  <a:cubicBezTo>
                    <a:pt x="11" y="18"/>
                    <a:pt x="10" y="18"/>
                    <a:pt x="10" y="17"/>
                  </a:cubicBezTo>
                  <a:cubicBezTo>
                    <a:pt x="10" y="17"/>
                    <a:pt x="10" y="17"/>
                    <a:pt x="10" y="16"/>
                  </a:cubicBezTo>
                  <a:cubicBezTo>
                    <a:pt x="10" y="16"/>
                    <a:pt x="10" y="16"/>
                    <a:pt x="10" y="16"/>
                  </a:cubicBezTo>
                  <a:cubicBezTo>
                    <a:pt x="9" y="15"/>
                    <a:pt x="9" y="15"/>
                    <a:pt x="9" y="15"/>
                  </a:cubicBezTo>
                  <a:cubicBezTo>
                    <a:pt x="9" y="15"/>
                    <a:pt x="9" y="15"/>
                    <a:pt x="9" y="15"/>
                  </a:cubicBezTo>
                  <a:cubicBezTo>
                    <a:pt x="8" y="15"/>
                    <a:pt x="8" y="15"/>
                    <a:pt x="8" y="15"/>
                  </a:cubicBezTo>
                  <a:cubicBezTo>
                    <a:pt x="7" y="15"/>
                    <a:pt x="7" y="14"/>
                    <a:pt x="7" y="14"/>
                  </a:cubicBezTo>
                  <a:cubicBezTo>
                    <a:pt x="6" y="14"/>
                    <a:pt x="5" y="14"/>
                    <a:pt x="6" y="14"/>
                  </a:cubicBezTo>
                  <a:cubicBezTo>
                    <a:pt x="7" y="14"/>
                    <a:pt x="6" y="15"/>
                    <a:pt x="6" y="15"/>
                  </a:cubicBezTo>
                  <a:cubicBezTo>
                    <a:pt x="5" y="15"/>
                    <a:pt x="5" y="15"/>
                    <a:pt x="5" y="15"/>
                  </a:cubicBezTo>
                  <a:cubicBezTo>
                    <a:pt x="4" y="15"/>
                    <a:pt x="4" y="15"/>
                    <a:pt x="3" y="15"/>
                  </a:cubicBezTo>
                  <a:cubicBezTo>
                    <a:pt x="3" y="15"/>
                    <a:pt x="2" y="15"/>
                    <a:pt x="2" y="15"/>
                  </a:cubicBezTo>
                  <a:cubicBezTo>
                    <a:pt x="1" y="16"/>
                    <a:pt x="2" y="15"/>
                    <a:pt x="2" y="14"/>
                  </a:cubicBezTo>
                  <a:cubicBezTo>
                    <a:pt x="1" y="13"/>
                    <a:pt x="1" y="13"/>
                    <a:pt x="1" y="13"/>
                  </a:cubicBezTo>
                  <a:cubicBezTo>
                    <a:pt x="0" y="13"/>
                    <a:pt x="0" y="13"/>
                    <a:pt x="0" y="12"/>
                  </a:cubicBezTo>
                  <a:cubicBezTo>
                    <a:pt x="0" y="11"/>
                    <a:pt x="1" y="12"/>
                    <a:pt x="1" y="11"/>
                  </a:cubicBezTo>
                  <a:cubicBezTo>
                    <a:pt x="1" y="11"/>
                    <a:pt x="1" y="10"/>
                    <a:pt x="2" y="10"/>
                  </a:cubicBezTo>
                  <a:cubicBezTo>
                    <a:pt x="3" y="10"/>
                    <a:pt x="3" y="10"/>
                    <a:pt x="3" y="10"/>
                  </a:cubicBezTo>
                  <a:cubicBezTo>
                    <a:pt x="3" y="10"/>
                    <a:pt x="3" y="9"/>
                    <a:pt x="3" y="9"/>
                  </a:cubicBezTo>
                  <a:cubicBezTo>
                    <a:pt x="3" y="8"/>
                    <a:pt x="4" y="9"/>
                    <a:pt x="4" y="8"/>
                  </a:cubicBezTo>
                  <a:cubicBezTo>
                    <a:pt x="4" y="8"/>
                    <a:pt x="4" y="8"/>
                    <a:pt x="4" y="8"/>
                  </a:cubicBezTo>
                  <a:cubicBezTo>
                    <a:pt x="5" y="7"/>
                    <a:pt x="4" y="7"/>
                    <a:pt x="4" y="7"/>
                  </a:cubicBezTo>
                  <a:cubicBezTo>
                    <a:pt x="4" y="7"/>
                    <a:pt x="5" y="6"/>
                    <a:pt x="4" y="5"/>
                  </a:cubicBezTo>
                  <a:cubicBezTo>
                    <a:pt x="4" y="3"/>
                    <a:pt x="4" y="3"/>
                    <a:pt x="4" y="3"/>
                  </a:cubicBezTo>
                  <a:cubicBezTo>
                    <a:pt x="4" y="2"/>
                    <a:pt x="5" y="2"/>
                    <a:pt x="5" y="2"/>
                  </a:cubicBezTo>
                  <a:cubicBezTo>
                    <a:pt x="6" y="2"/>
                    <a:pt x="7" y="2"/>
                    <a:pt x="7" y="2"/>
                  </a:cubicBezTo>
                  <a:cubicBezTo>
                    <a:pt x="7" y="2"/>
                    <a:pt x="8" y="1"/>
                    <a:pt x="8" y="1"/>
                  </a:cubicBezTo>
                  <a:cubicBezTo>
                    <a:pt x="9" y="0"/>
                    <a:pt x="10" y="1"/>
                    <a:pt x="10" y="1"/>
                  </a:cubicBezTo>
                  <a:close/>
                </a:path>
              </a:pathLst>
            </a:custGeom>
            <a:solidFill>
              <a:srgbClr val="68CEF2"/>
            </a:solidFill>
            <a:ln w="317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buClrTx/>
              </a:pPr>
              <a:endParaRPr lang="en-GB" sz="1350" kern="1200">
                <a:solidFill>
                  <a:prstClr val="black"/>
                </a:solidFill>
                <a:ea typeface="+mn-ea"/>
                <a:cs typeface="+mn-cs"/>
              </a:endParaRPr>
            </a:p>
          </p:txBody>
        </p:sp>
      </p:grpSp>
      <p:sp>
        <p:nvSpPr>
          <p:cNvPr id="222" name="TextBox 221"/>
          <p:cNvSpPr txBox="1"/>
          <p:nvPr/>
        </p:nvSpPr>
        <p:spPr>
          <a:xfrm>
            <a:off x="5337546" y="733425"/>
            <a:ext cx="2663455" cy="1107996"/>
          </a:xfrm>
          <a:prstGeom prst="rect">
            <a:avLst/>
          </a:prstGeom>
          <a:solidFill>
            <a:srgbClr val="ED1B2F"/>
          </a:solidFill>
        </p:spPr>
        <p:txBody>
          <a:bodyPr wrap="square" lIns="68580" tIns="68580" rIns="68580" bIns="68580" rtlCol="0">
            <a:spAutoFit/>
          </a:bodyPr>
          <a:lstStyle/>
          <a:p>
            <a:pPr defTabSz="685800">
              <a:buClrTx/>
            </a:pPr>
            <a:r>
              <a:rPr lang="en-US" sz="1050" kern="1200" dirty="0">
                <a:solidFill>
                  <a:prstClr val="white"/>
                </a:solidFill>
                <a:ea typeface="+mn-ea"/>
                <a:cs typeface="+mn-cs"/>
              </a:rPr>
              <a:t>Maps are for directional purposes only and are not intended to be exact renditions of country borders. For specific information about country borders and maps, please contact the local member firm.</a:t>
            </a:r>
          </a:p>
        </p:txBody>
      </p:sp>
    </p:spTree>
  </p:cSld>
  <p:clrMapOvr>
    <a:masterClrMapping/>
  </p:clrMapOvr>
  <p:transition>
    <p:fade/>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9873" name="Title 1"/>
          <p:cNvSpPr>
            <a:spLocks noGrp="1"/>
          </p:cNvSpPr>
          <p:nvPr>
            <p:ph type="title"/>
          </p:nvPr>
        </p:nvSpPr>
        <p:spPr/>
        <p:txBody>
          <a:bodyPr/>
          <a:lstStyle/>
          <a:p>
            <a:r>
              <a:rPr lang="en-US" dirty="0">
                <a:solidFill>
                  <a:srgbClr val="81BC00"/>
                </a:solidFill>
              </a:rPr>
              <a:t>Flags</a:t>
            </a:r>
          </a:p>
        </p:txBody>
      </p:sp>
      <p:pic>
        <p:nvPicPr>
          <p:cNvPr id="38" name="Picture 4" descr="au"/>
          <p:cNvPicPr>
            <a:picLocks noChangeAspect="1" noChangeArrowheads="1"/>
          </p:cNvPicPr>
          <p:nvPr/>
        </p:nvPicPr>
        <p:blipFill>
          <a:blip r:embed="rId3" cstate="print"/>
          <a:srcRect/>
          <a:stretch>
            <a:fillRect/>
          </a:stretch>
        </p:blipFill>
        <p:spPr bwMode="auto">
          <a:xfrm>
            <a:off x="1440656" y="1027178"/>
            <a:ext cx="514350" cy="257175"/>
          </a:xfrm>
          <a:prstGeom prst="rect">
            <a:avLst/>
          </a:prstGeom>
          <a:noFill/>
          <a:ln w="9525">
            <a:solidFill>
              <a:schemeClr val="bg1">
                <a:lumMod val="50000"/>
              </a:schemeClr>
            </a:solidFill>
            <a:miter lim="800000"/>
            <a:headEnd/>
            <a:tailEnd/>
          </a:ln>
        </p:spPr>
      </p:pic>
      <p:pic>
        <p:nvPicPr>
          <p:cNvPr id="39" name="Picture 5" descr="ca"/>
          <p:cNvPicPr>
            <a:picLocks noChangeAspect="1" noChangeArrowheads="1"/>
          </p:cNvPicPr>
          <p:nvPr/>
        </p:nvPicPr>
        <p:blipFill>
          <a:blip r:embed="rId4" cstate="print"/>
          <a:srcRect/>
          <a:stretch>
            <a:fillRect/>
          </a:stretch>
        </p:blipFill>
        <p:spPr bwMode="auto">
          <a:xfrm>
            <a:off x="1440656" y="1454661"/>
            <a:ext cx="514350" cy="257175"/>
          </a:xfrm>
          <a:prstGeom prst="rect">
            <a:avLst/>
          </a:prstGeom>
          <a:noFill/>
          <a:ln w="9525">
            <a:solidFill>
              <a:schemeClr val="bg1">
                <a:lumMod val="50000"/>
              </a:schemeClr>
            </a:solidFill>
            <a:miter lim="800000"/>
            <a:headEnd/>
            <a:tailEnd/>
          </a:ln>
        </p:spPr>
      </p:pic>
      <p:pic>
        <p:nvPicPr>
          <p:cNvPr id="40" name="Picture 6" descr="cn"/>
          <p:cNvPicPr>
            <a:picLocks noChangeAspect="1" noChangeArrowheads="1"/>
          </p:cNvPicPr>
          <p:nvPr/>
        </p:nvPicPr>
        <p:blipFill>
          <a:blip r:embed="rId5" cstate="print"/>
          <a:srcRect/>
          <a:stretch>
            <a:fillRect/>
          </a:stretch>
        </p:blipFill>
        <p:spPr bwMode="auto">
          <a:xfrm>
            <a:off x="1440656" y="1882144"/>
            <a:ext cx="514350" cy="257175"/>
          </a:xfrm>
          <a:prstGeom prst="rect">
            <a:avLst/>
          </a:prstGeom>
          <a:noFill/>
          <a:ln w="9525">
            <a:solidFill>
              <a:schemeClr val="bg1">
                <a:lumMod val="50000"/>
              </a:schemeClr>
            </a:solidFill>
            <a:miter lim="800000"/>
            <a:headEnd/>
            <a:tailEnd/>
          </a:ln>
        </p:spPr>
      </p:pic>
      <p:pic>
        <p:nvPicPr>
          <p:cNvPr id="41" name="Picture 7" descr="dk"/>
          <p:cNvPicPr>
            <a:picLocks noChangeAspect="1" noChangeArrowheads="1"/>
          </p:cNvPicPr>
          <p:nvPr/>
        </p:nvPicPr>
        <p:blipFill>
          <a:blip r:embed="rId6" cstate="print"/>
          <a:srcRect/>
          <a:stretch>
            <a:fillRect/>
          </a:stretch>
        </p:blipFill>
        <p:spPr bwMode="auto">
          <a:xfrm>
            <a:off x="1440656" y="2309627"/>
            <a:ext cx="514350" cy="257175"/>
          </a:xfrm>
          <a:prstGeom prst="rect">
            <a:avLst/>
          </a:prstGeom>
          <a:noFill/>
          <a:ln w="9525">
            <a:solidFill>
              <a:schemeClr val="bg1">
                <a:lumMod val="50000"/>
              </a:schemeClr>
            </a:solidFill>
            <a:miter lim="800000"/>
            <a:headEnd/>
            <a:tailEnd/>
          </a:ln>
        </p:spPr>
      </p:pic>
      <p:pic>
        <p:nvPicPr>
          <p:cNvPr id="42" name="Picture 8" descr="fr"/>
          <p:cNvPicPr>
            <a:picLocks noChangeAspect="1" noChangeArrowheads="1"/>
          </p:cNvPicPr>
          <p:nvPr/>
        </p:nvPicPr>
        <p:blipFill>
          <a:blip r:embed="rId7" cstate="print"/>
          <a:srcRect/>
          <a:stretch>
            <a:fillRect/>
          </a:stretch>
        </p:blipFill>
        <p:spPr bwMode="auto">
          <a:xfrm>
            <a:off x="1440656" y="2737109"/>
            <a:ext cx="514350" cy="257175"/>
          </a:xfrm>
          <a:prstGeom prst="rect">
            <a:avLst/>
          </a:prstGeom>
          <a:noFill/>
          <a:ln w="9525">
            <a:solidFill>
              <a:schemeClr val="bg1">
                <a:lumMod val="50000"/>
              </a:schemeClr>
            </a:solidFill>
            <a:miter lim="800000"/>
            <a:headEnd/>
            <a:tailEnd/>
          </a:ln>
        </p:spPr>
      </p:pic>
      <p:pic>
        <p:nvPicPr>
          <p:cNvPr id="43" name="Picture 9" descr="de"/>
          <p:cNvPicPr>
            <a:picLocks noChangeAspect="1" noChangeArrowheads="1"/>
          </p:cNvPicPr>
          <p:nvPr/>
        </p:nvPicPr>
        <p:blipFill>
          <a:blip r:embed="rId8" cstate="print"/>
          <a:srcRect/>
          <a:stretch>
            <a:fillRect/>
          </a:stretch>
        </p:blipFill>
        <p:spPr bwMode="auto">
          <a:xfrm>
            <a:off x="1440656" y="3164592"/>
            <a:ext cx="514350" cy="257175"/>
          </a:xfrm>
          <a:prstGeom prst="rect">
            <a:avLst/>
          </a:prstGeom>
          <a:noFill/>
          <a:ln w="9525">
            <a:solidFill>
              <a:schemeClr val="bg1">
                <a:lumMod val="50000"/>
              </a:schemeClr>
            </a:solidFill>
            <a:miter lim="800000"/>
            <a:headEnd/>
            <a:tailEnd/>
          </a:ln>
        </p:spPr>
      </p:pic>
      <p:pic>
        <p:nvPicPr>
          <p:cNvPr id="44" name="Picture 10" descr="it"/>
          <p:cNvPicPr>
            <a:picLocks noChangeAspect="1" noChangeArrowheads="1"/>
          </p:cNvPicPr>
          <p:nvPr/>
        </p:nvPicPr>
        <p:blipFill>
          <a:blip r:embed="rId9" cstate="print"/>
          <a:srcRect/>
          <a:stretch>
            <a:fillRect/>
          </a:stretch>
        </p:blipFill>
        <p:spPr bwMode="auto">
          <a:xfrm>
            <a:off x="1440656" y="4019558"/>
            <a:ext cx="514350" cy="257175"/>
          </a:xfrm>
          <a:prstGeom prst="rect">
            <a:avLst/>
          </a:prstGeom>
          <a:noFill/>
          <a:ln w="9525">
            <a:solidFill>
              <a:schemeClr val="bg1">
                <a:lumMod val="50000"/>
              </a:schemeClr>
            </a:solidFill>
            <a:miter lim="800000"/>
            <a:headEnd/>
            <a:tailEnd/>
          </a:ln>
        </p:spPr>
      </p:pic>
      <p:pic>
        <p:nvPicPr>
          <p:cNvPr id="45" name="Picture 11" descr="ie75"/>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440656" y="3592075"/>
            <a:ext cx="514350" cy="257175"/>
          </a:xfrm>
          <a:prstGeom prst="rect">
            <a:avLst/>
          </a:prstGeom>
          <a:noFill/>
          <a:ln w="9525">
            <a:solidFill>
              <a:schemeClr val="bg1">
                <a:lumMod val="50000"/>
              </a:schemeClr>
            </a:solidFill>
            <a:miter lim="800000"/>
            <a:headEnd/>
            <a:tailEnd/>
          </a:ln>
        </p:spPr>
      </p:pic>
      <p:pic>
        <p:nvPicPr>
          <p:cNvPr id="47" name="Picture 13" descr="lu"/>
          <p:cNvPicPr>
            <a:picLocks noChangeAspect="1" noChangeArrowheads="1"/>
          </p:cNvPicPr>
          <p:nvPr/>
        </p:nvPicPr>
        <p:blipFill>
          <a:blip r:embed="rId11" cstate="print"/>
          <a:srcRect/>
          <a:stretch>
            <a:fillRect/>
          </a:stretch>
        </p:blipFill>
        <p:spPr bwMode="auto">
          <a:xfrm>
            <a:off x="4105275" y="1027178"/>
            <a:ext cx="514350" cy="257175"/>
          </a:xfrm>
          <a:prstGeom prst="rect">
            <a:avLst/>
          </a:prstGeom>
          <a:noFill/>
          <a:ln w="9525">
            <a:solidFill>
              <a:schemeClr val="bg1">
                <a:lumMod val="50000"/>
              </a:schemeClr>
            </a:solidFill>
            <a:miter lim="800000"/>
            <a:headEnd/>
            <a:tailEnd/>
          </a:ln>
        </p:spPr>
      </p:pic>
      <p:pic>
        <p:nvPicPr>
          <p:cNvPr id="48" name="Picture 14" descr="mx"/>
          <p:cNvPicPr>
            <a:picLocks noChangeAspect="1" noChangeArrowheads="1"/>
          </p:cNvPicPr>
          <p:nvPr/>
        </p:nvPicPr>
        <p:blipFill>
          <a:blip r:embed="rId12" cstate="print"/>
          <a:srcRect/>
          <a:stretch>
            <a:fillRect/>
          </a:stretch>
        </p:blipFill>
        <p:spPr bwMode="auto">
          <a:xfrm>
            <a:off x="4105275" y="1454661"/>
            <a:ext cx="514350" cy="257175"/>
          </a:xfrm>
          <a:prstGeom prst="rect">
            <a:avLst/>
          </a:prstGeom>
          <a:noFill/>
          <a:ln w="9525">
            <a:solidFill>
              <a:schemeClr val="bg1">
                <a:lumMod val="50000"/>
              </a:schemeClr>
            </a:solidFill>
            <a:miter lim="800000"/>
            <a:headEnd/>
            <a:tailEnd/>
          </a:ln>
        </p:spPr>
      </p:pic>
      <p:pic>
        <p:nvPicPr>
          <p:cNvPr id="49" name="Picture 15" descr="nl"/>
          <p:cNvPicPr>
            <a:picLocks noChangeAspect="1" noChangeArrowheads="1"/>
          </p:cNvPicPr>
          <p:nvPr/>
        </p:nvPicPr>
        <p:blipFill>
          <a:blip r:embed="rId13" cstate="print"/>
          <a:srcRect/>
          <a:stretch>
            <a:fillRect/>
          </a:stretch>
        </p:blipFill>
        <p:spPr bwMode="auto">
          <a:xfrm>
            <a:off x="4105275" y="1882144"/>
            <a:ext cx="514350" cy="257175"/>
          </a:xfrm>
          <a:prstGeom prst="rect">
            <a:avLst/>
          </a:prstGeom>
          <a:noFill/>
          <a:ln w="9525">
            <a:solidFill>
              <a:schemeClr val="bg1">
                <a:lumMod val="50000"/>
              </a:schemeClr>
            </a:solidFill>
            <a:miter lim="800000"/>
            <a:headEnd/>
            <a:tailEnd/>
          </a:ln>
        </p:spPr>
      </p:pic>
      <p:pic>
        <p:nvPicPr>
          <p:cNvPr id="50" name="Picture 16" descr="sg"/>
          <p:cNvPicPr>
            <a:picLocks noChangeAspect="1" noChangeArrowheads="1"/>
          </p:cNvPicPr>
          <p:nvPr/>
        </p:nvPicPr>
        <p:blipFill>
          <a:blip r:embed="rId14" cstate="print"/>
          <a:srcRect/>
          <a:stretch>
            <a:fillRect/>
          </a:stretch>
        </p:blipFill>
        <p:spPr bwMode="auto">
          <a:xfrm>
            <a:off x="4105275" y="2309627"/>
            <a:ext cx="514350" cy="257175"/>
          </a:xfrm>
          <a:prstGeom prst="rect">
            <a:avLst/>
          </a:prstGeom>
          <a:noFill/>
          <a:ln w="9525">
            <a:solidFill>
              <a:schemeClr val="bg1">
                <a:lumMod val="50000"/>
              </a:schemeClr>
            </a:solidFill>
            <a:miter lim="800000"/>
            <a:headEnd/>
            <a:tailEnd/>
          </a:ln>
        </p:spPr>
      </p:pic>
      <p:pic>
        <p:nvPicPr>
          <p:cNvPr id="51" name="Picture 17" descr="es"/>
          <p:cNvPicPr>
            <a:picLocks noChangeAspect="1" noChangeArrowheads="1"/>
          </p:cNvPicPr>
          <p:nvPr/>
        </p:nvPicPr>
        <p:blipFill>
          <a:blip r:embed="rId15" cstate="print"/>
          <a:srcRect/>
          <a:stretch>
            <a:fillRect/>
          </a:stretch>
        </p:blipFill>
        <p:spPr bwMode="auto">
          <a:xfrm>
            <a:off x="4105275" y="2737109"/>
            <a:ext cx="514350" cy="257175"/>
          </a:xfrm>
          <a:prstGeom prst="rect">
            <a:avLst/>
          </a:prstGeom>
          <a:noFill/>
          <a:ln w="9525">
            <a:solidFill>
              <a:schemeClr val="bg1">
                <a:lumMod val="50000"/>
              </a:schemeClr>
            </a:solidFill>
            <a:miter lim="800000"/>
            <a:headEnd/>
            <a:tailEnd/>
          </a:ln>
        </p:spPr>
      </p:pic>
      <p:pic>
        <p:nvPicPr>
          <p:cNvPr id="52" name="Picture 18" descr="za"/>
          <p:cNvPicPr>
            <a:picLocks noChangeAspect="1" noChangeArrowheads="1"/>
          </p:cNvPicPr>
          <p:nvPr/>
        </p:nvPicPr>
        <p:blipFill>
          <a:blip r:embed="rId16" cstate="print"/>
          <a:srcRect/>
          <a:stretch>
            <a:fillRect/>
          </a:stretch>
        </p:blipFill>
        <p:spPr bwMode="auto">
          <a:xfrm>
            <a:off x="4105275" y="3164592"/>
            <a:ext cx="514350" cy="257175"/>
          </a:xfrm>
          <a:prstGeom prst="rect">
            <a:avLst/>
          </a:prstGeom>
          <a:noFill/>
          <a:ln w="9525">
            <a:solidFill>
              <a:schemeClr val="bg1">
                <a:lumMod val="50000"/>
              </a:schemeClr>
            </a:solidFill>
            <a:miter lim="800000"/>
            <a:headEnd/>
            <a:tailEnd/>
          </a:ln>
        </p:spPr>
      </p:pic>
      <p:pic>
        <p:nvPicPr>
          <p:cNvPr id="53" name="Picture 19" descr="gb"/>
          <p:cNvPicPr>
            <a:picLocks noChangeAspect="1" noChangeArrowheads="1"/>
          </p:cNvPicPr>
          <p:nvPr/>
        </p:nvPicPr>
        <p:blipFill>
          <a:blip r:embed="rId17" cstate="print"/>
          <a:srcRect/>
          <a:stretch>
            <a:fillRect/>
          </a:stretch>
        </p:blipFill>
        <p:spPr bwMode="auto">
          <a:xfrm>
            <a:off x="4105275" y="3592075"/>
            <a:ext cx="514350" cy="257175"/>
          </a:xfrm>
          <a:prstGeom prst="rect">
            <a:avLst/>
          </a:prstGeom>
          <a:noFill/>
          <a:ln w="9525">
            <a:solidFill>
              <a:schemeClr val="bg1">
                <a:lumMod val="50000"/>
              </a:schemeClr>
            </a:solidFill>
            <a:miter lim="800000"/>
            <a:headEnd/>
            <a:tailEnd/>
          </a:ln>
        </p:spPr>
      </p:pic>
      <p:pic>
        <p:nvPicPr>
          <p:cNvPr id="54" name="Picture 20" descr="us"/>
          <p:cNvPicPr>
            <a:picLocks noChangeAspect="1" noChangeArrowheads="1"/>
          </p:cNvPicPr>
          <p:nvPr/>
        </p:nvPicPr>
        <p:blipFill>
          <a:blip r:embed="rId18" cstate="print"/>
          <a:srcRect/>
          <a:stretch>
            <a:fillRect/>
          </a:stretch>
        </p:blipFill>
        <p:spPr bwMode="auto">
          <a:xfrm>
            <a:off x="4105275" y="4019558"/>
            <a:ext cx="514350" cy="266700"/>
          </a:xfrm>
          <a:prstGeom prst="rect">
            <a:avLst/>
          </a:prstGeom>
          <a:noFill/>
          <a:ln w="9525">
            <a:solidFill>
              <a:schemeClr val="bg1">
                <a:lumMod val="50000"/>
              </a:schemeClr>
            </a:solidFill>
            <a:miter lim="800000"/>
            <a:headEnd/>
            <a:tailEnd/>
          </a:ln>
        </p:spPr>
      </p:pic>
      <p:sp>
        <p:nvSpPr>
          <p:cNvPr id="55" name="Rectangle 21"/>
          <p:cNvSpPr>
            <a:spLocks noChangeArrowheads="1"/>
          </p:cNvSpPr>
          <p:nvPr/>
        </p:nvSpPr>
        <p:spPr bwMode="auto">
          <a:xfrm>
            <a:off x="2225278" y="1028701"/>
            <a:ext cx="627460" cy="208031"/>
          </a:xfrm>
          <a:prstGeom prst="rect">
            <a:avLst/>
          </a:prstGeom>
          <a:noFill/>
          <a:ln w="12700">
            <a:noFill/>
            <a:miter lim="800000"/>
            <a:headEnd/>
            <a:tailEnd/>
          </a:ln>
        </p:spPr>
        <p:txBody>
          <a:bodyPr lIns="27000" tIns="27000" rIns="27000" bIns="27000">
            <a:noAutofit/>
          </a:bodyPr>
          <a:lstStyle/>
          <a:p>
            <a:pPr defTabSz="571500">
              <a:lnSpc>
                <a:spcPct val="95000"/>
              </a:lnSpc>
              <a:buClrTx/>
            </a:pPr>
            <a:r>
              <a:rPr lang="en-US" sz="825" kern="1200" dirty="0">
                <a:solidFill>
                  <a:srgbClr val="313131"/>
                </a:solidFill>
                <a:ea typeface="MS PGothic" pitchFamily="34" charset="-128"/>
                <a:cs typeface="+mn-cs"/>
              </a:rPr>
              <a:t>Australia</a:t>
            </a:r>
          </a:p>
        </p:txBody>
      </p:sp>
      <p:sp>
        <p:nvSpPr>
          <p:cNvPr id="56" name="Rectangle 22"/>
          <p:cNvSpPr>
            <a:spLocks noChangeArrowheads="1"/>
          </p:cNvSpPr>
          <p:nvPr/>
        </p:nvSpPr>
        <p:spPr bwMode="auto">
          <a:xfrm>
            <a:off x="2225278" y="1456183"/>
            <a:ext cx="627460" cy="208031"/>
          </a:xfrm>
          <a:prstGeom prst="rect">
            <a:avLst/>
          </a:prstGeom>
          <a:noFill/>
          <a:ln w="12700">
            <a:noFill/>
            <a:miter lim="800000"/>
            <a:headEnd/>
            <a:tailEnd/>
          </a:ln>
        </p:spPr>
        <p:txBody>
          <a:bodyPr lIns="27000" tIns="27000" rIns="27000" bIns="27000">
            <a:noAutofit/>
          </a:bodyPr>
          <a:lstStyle/>
          <a:p>
            <a:pPr defTabSz="571500">
              <a:lnSpc>
                <a:spcPct val="95000"/>
              </a:lnSpc>
              <a:buClrTx/>
            </a:pPr>
            <a:r>
              <a:rPr lang="en-US" sz="825" kern="1200">
                <a:solidFill>
                  <a:srgbClr val="313131"/>
                </a:solidFill>
                <a:ea typeface="MS PGothic" pitchFamily="34" charset="-128"/>
                <a:cs typeface="+mn-cs"/>
              </a:rPr>
              <a:t>Canada</a:t>
            </a:r>
          </a:p>
        </p:txBody>
      </p:sp>
      <p:sp>
        <p:nvSpPr>
          <p:cNvPr id="57" name="Rectangle 23"/>
          <p:cNvSpPr>
            <a:spLocks noChangeArrowheads="1"/>
          </p:cNvSpPr>
          <p:nvPr/>
        </p:nvSpPr>
        <p:spPr bwMode="auto">
          <a:xfrm>
            <a:off x="2225278" y="1883666"/>
            <a:ext cx="627460" cy="208031"/>
          </a:xfrm>
          <a:prstGeom prst="rect">
            <a:avLst/>
          </a:prstGeom>
          <a:noFill/>
          <a:ln w="12700">
            <a:noFill/>
            <a:miter lim="800000"/>
            <a:headEnd/>
            <a:tailEnd/>
          </a:ln>
        </p:spPr>
        <p:txBody>
          <a:bodyPr lIns="27000" tIns="27000" rIns="27000" bIns="27000">
            <a:noAutofit/>
          </a:bodyPr>
          <a:lstStyle/>
          <a:p>
            <a:pPr defTabSz="571500">
              <a:lnSpc>
                <a:spcPct val="95000"/>
              </a:lnSpc>
              <a:buClrTx/>
            </a:pPr>
            <a:r>
              <a:rPr lang="en-US" sz="825" kern="1200">
                <a:solidFill>
                  <a:srgbClr val="313131"/>
                </a:solidFill>
                <a:ea typeface="MS PGothic" pitchFamily="34" charset="-128"/>
                <a:cs typeface="+mn-cs"/>
              </a:rPr>
              <a:t>China</a:t>
            </a:r>
          </a:p>
        </p:txBody>
      </p:sp>
      <p:sp>
        <p:nvSpPr>
          <p:cNvPr id="58" name="Rectangle 24"/>
          <p:cNvSpPr>
            <a:spLocks noChangeArrowheads="1"/>
          </p:cNvSpPr>
          <p:nvPr/>
        </p:nvSpPr>
        <p:spPr bwMode="auto">
          <a:xfrm>
            <a:off x="2225278" y="2311149"/>
            <a:ext cx="627460" cy="208031"/>
          </a:xfrm>
          <a:prstGeom prst="rect">
            <a:avLst/>
          </a:prstGeom>
          <a:noFill/>
          <a:ln w="12700">
            <a:noFill/>
            <a:miter lim="800000"/>
            <a:headEnd/>
            <a:tailEnd/>
          </a:ln>
        </p:spPr>
        <p:txBody>
          <a:bodyPr lIns="27000" tIns="27000" rIns="27000" bIns="27000">
            <a:noAutofit/>
          </a:bodyPr>
          <a:lstStyle/>
          <a:p>
            <a:pPr defTabSz="571500">
              <a:lnSpc>
                <a:spcPct val="95000"/>
              </a:lnSpc>
              <a:buClrTx/>
            </a:pPr>
            <a:r>
              <a:rPr lang="en-US" sz="825" kern="1200">
                <a:solidFill>
                  <a:srgbClr val="313131"/>
                </a:solidFill>
                <a:ea typeface="MS PGothic" pitchFamily="34" charset="-128"/>
                <a:cs typeface="+mn-cs"/>
              </a:rPr>
              <a:t>Denmark</a:t>
            </a:r>
          </a:p>
        </p:txBody>
      </p:sp>
      <p:sp>
        <p:nvSpPr>
          <p:cNvPr id="59" name="Rectangle 25"/>
          <p:cNvSpPr>
            <a:spLocks noChangeArrowheads="1"/>
          </p:cNvSpPr>
          <p:nvPr/>
        </p:nvSpPr>
        <p:spPr bwMode="auto">
          <a:xfrm>
            <a:off x="2225278" y="2738632"/>
            <a:ext cx="627460" cy="208031"/>
          </a:xfrm>
          <a:prstGeom prst="rect">
            <a:avLst/>
          </a:prstGeom>
          <a:noFill/>
          <a:ln w="12700">
            <a:noFill/>
            <a:miter lim="800000"/>
            <a:headEnd/>
            <a:tailEnd/>
          </a:ln>
        </p:spPr>
        <p:txBody>
          <a:bodyPr lIns="27000" tIns="27000" rIns="27000" bIns="27000">
            <a:noAutofit/>
          </a:bodyPr>
          <a:lstStyle/>
          <a:p>
            <a:pPr defTabSz="571500">
              <a:lnSpc>
                <a:spcPct val="95000"/>
              </a:lnSpc>
              <a:buClrTx/>
            </a:pPr>
            <a:r>
              <a:rPr lang="en-US" sz="825" kern="1200">
                <a:solidFill>
                  <a:srgbClr val="313131"/>
                </a:solidFill>
                <a:ea typeface="MS PGothic" pitchFamily="34" charset="-128"/>
                <a:cs typeface="+mn-cs"/>
              </a:rPr>
              <a:t>France</a:t>
            </a:r>
          </a:p>
        </p:txBody>
      </p:sp>
      <p:sp>
        <p:nvSpPr>
          <p:cNvPr id="60" name="Rectangle 26"/>
          <p:cNvSpPr>
            <a:spLocks noChangeArrowheads="1"/>
          </p:cNvSpPr>
          <p:nvPr/>
        </p:nvSpPr>
        <p:spPr bwMode="auto">
          <a:xfrm>
            <a:off x="2225278" y="3166115"/>
            <a:ext cx="627460" cy="208031"/>
          </a:xfrm>
          <a:prstGeom prst="rect">
            <a:avLst/>
          </a:prstGeom>
          <a:noFill/>
          <a:ln w="12700">
            <a:noFill/>
            <a:miter lim="800000"/>
            <a:headEnd/>
            <a:tailEnd/>
          </a:ln>
        </p:spPr>
        <p:txBody>
          <a:bodyPr lIns="27000" tIns="27000" rIns="27000" bIns="27000">
            <a:noAutofit/>
          </a:bodyPr>
          <a:lstStyle/>
          <a:p>
            <a:pPr defTabSz="571500">
              <a:lnSpc>
                <a:spcPct val="95000"/>
              </a:lnSpc>
              <a:buClrTx/>
            </a:pPr>
            <a:r>
              <a:rPr lang="en-US" sz="825" kern="1200">
                <a:solidFill>
                  <a:srgbClr val="313131"/>
                </a:solidFill>
                <a:ea typeface="MS PGothic" pitchFamily="34" charset="-128"/>
                <a:cs typeface="+mn-cs"/>
              </a:rPr>
              <a:t>Germany</a:t>
            </a:r>
          </a:p>
        </p:txBody>
      </p:sp>
      <p:sp>
        <p:nvSpPr>
          <p:cNvPr id="61" name="Rectangle 27"/>
          <p:cNvSpPr>
            <a:spLocks noChangeArrowheads="1"/>
          </p:cNvSpPr>
          <p:nvPr/>
        </p:nvSpPr>
        <p:spPr bwMode="auto">
          <a:xfrm>
            <a:off x="2225278" y="3593599"/>
            <a:ext cx="627460" cy="208031"/>
          </a:xfrm>
          <a:prstGeom prst="rect">
            <a:avLst/>
          </a:prstGeom>
          <a:noFill/>
          <a:ln w="12700">
            <a:noFill/>
            <a:miter lim="800000"/>
            <a:headEnd/>
            <a:tailEnd/>
          </a:ln>
        </p:spPr>
        <p:txBody>
          <a:bodyPr lIns="27000" tIns="27000" rIns="27000" bIns="27000">
            <a:noAutofit/>
          </a:bodyPr>
          <a:lstStyle/>
          <a:p>
            <a:pPr defTabSz="571500">
              <a:lnSpc>
                <a:spcPct val="95000"/>
              </a:lnSpc>
              <a:buClrTx/>
            </a:pPr>
            <a:r>
              <a:rPr lang="en-US" sz="825" kern="1200">
                <a:solidFill>
                  <a:srgbClr val="313131"/>
                </a:solidFill>
                <a:ea typeface="MS PGothic" pitchFamily="34" charset="-128"/>
                <a:cs typeface="+mn-cs"/>
              </a:rPr>
              <a:t>Ireland</a:t>
            </a:r>
          </a:p>
        </p:txBody>
      </p:sp>
      <p:sp>
        <p:nvSpPr>
          <p:cNvPr id="62" name="Rectangle 28"/>
          <p:cNvSpPr>
            <a:spLocks noChangeArrowheads="1"/>
          </p:cNvSpPr>
          <p:nvPr/>
        </p:nvSpPr>
        <p:spPr bwMode="auto">
          <a:xfrm>
            <a:off x="2225278" y="4021081"/>
            <a:ext cx="627460" cy="208031"/>
          </a:xfrm>
          <a:prstGeom prst="rect">
            <a:avLst/>
          </a:prstGeom>
          <a:noFill/>
          <a:ln w="12700">
            <a:noFill/>
            <a:miter lim="800000"/>
            <a:headEnd/>
            <a:tailEnd/>
          </a:ln>
        </p:spPr>
        <p:txBody>
          <a:bodyPr lIns="27000" tIns="27000" rIns="27000" bIns="27000">
            <a:noAutofit/>
          </a:bodyPr>
          <a:lstStyle/>
          <a:p>
            <a:pPr defTabSz="571500">
              <a:lnSpc>
                <a:spcPct val="95000"/>
              </a:lnSpc>
              <a:buClrTx/>
            </a:pPr>
            <a:r>
              <a:rPr lang="en-US" sz="825" kern="1200">
                <a:solidFill>
                  <a:srgbClr val="313131"/>
                </a:solidFill>
                <a:ea typeface="MS PGothic" pitchFamily="34" charset="-128"/>
                <a:cs typeface="+mn-cs"/>
              </a:rPr>
              <a:t>Italy</a:t>
            </a:r>
          </a:p>
        </p:txBody>
      </p:sp>
      <p:sp>
        <p:nvSpPr>
          <p:cNvPr id="63" name="Rectangle 29"/>
          <p:cNvSpPr>
            <a:spLocks noChangeArrowheads="1"/>
          </p:cNvSpPr>
          <p:nvPr/>
        </p:nvSpPr>
        <p:spPr bwMode="auto">
          <a:xfrm>
            <a:off x="2225278" y="4448563"/>
            <a:ext cx="627460" cy="208031"/>
          </a:xfrm>
          <a:prstGeom prst="rect">
            <a:avLst/>
          </a:prstGeom>
          <a:noFill/>
          <a:ln w="12700">
            <a:noFill/>
            <a:miter lim="800000"/>
            <a:headEnd/>
            <a:tailEnd/>
          </a:ln>
        </p:spPr>
        <p:txBody>
          <a:bodyPr lIns="27000" tIns="27000" rIns="27000" bIns="27000">
            <a:noAutofit/>
          </a:bodyPr>
          <a:lstStyle/>
          <a:p>
            <a:pPr defTabSz="571500">
              <a:lnSpc>
                <a:spcPct val="95000"/>
              </a:lnSpc>
              <a:buClrTx/>
            </a:pPr>
            <a:r>
              <a:rPr lang="en-US" sz="825" kern="1200">
                <a:solidFill>
                  <a:srgbClr val="313131"/>
                </a:solidFill>
                <a:ea typeface="MS PGothic" pitchFamily="34" charset="-128"/>
                <a:cs typeface="+mn-cs"/>
              </a:rPr>
              <a:t>Japan</a:t>
            </a:r>
          </a:p>
        </p:txBody>
      </p:sp>
      <p:sp>
        <p:nvSpPr>
          <p:cNvPr id="64" name="Rectangle 30"/>
          <p:cNvSpPr>
            <a:spLocks noChangeArrowheads="1"/>
          </p:cNvSpPr>
          <p:nvPr/>
        </p:nvSpPr>
        <p:spPr bwMode="auto">
          <a:xfrm>
            <a:off x="4905375" y="1085850"/>
            <a:ext cx="1409700" cy="120610"/>
          </a:xfrm>
          <a:prstGeom prst="rect">
            <a:avLst/>
          </a:prstGeom>
          <a:noFill/>
          <a:ln w="12700">
            <a:noFill/>
            <a:miter lim="800000"/>
            <a:headEnd/>
            <a:tailEnd/>
          </a:ln>
        </p:spPr>
        <p:txBody>
          <a:bodyPr lIns="0" tIns="0" rIns="0" bIns="0">
            <a:spAutoFit/>
          </a:bodyPr>
          <a:lstStyle/>
          <a:p>
            <a:pPr defTabSz="571500">
              <a:lnSpc>
                <a:spcPct val="95000"/>
              </a:lnSpc>
              <a:buClrTx/>
            </a:pPr>
            <a:r>
              <a:rPr lang="en-US" sz="825" kern="1200" dirty="0">
                <a:solidFill>
                  <a:srgbClr val="313131"/>
                </a:solidFill>
                <a:ea typeface="MS PGothic" pitchFamily="34" charset="-128"/>
                <a:cs typeface="+mn-cs"/>
              </a:rPr>
              <a:t>Luxembourg</a:t>
            </a:r>
          </a:p>
        </p:txBody>
      </p:sp>
      <p:sp>
        <p:nvSpPr>
          <p:cNvPr id="65" name="Rectangle 31"/>
          <p:cNvSpPr>
            <a:spLocks noChangeArrowheads="1"/>
          </p:cNvSpPr>
          <p:nvPr/>
        </p:nvSpPr>
        <p:spPr bwMode="auto">
          <a:xfrm>
            <a:off x="4905375" y="1513333"/>
            <a:ext cx="1409700" cy="120610"/>
          </a:xfrm>
          <a:prstGeom prst="rect">
            <a:avLst/>
          </a:prstGeom>
          <a:noFill/>
          <a:ln w="12700">
            <a:noFill/>
            <a:miter lim="800000"/>
            <a:headEnd/>
            <a:tailEnd/>
          </a:ln>
        </p:spPr>
        <p:txBody>
          <a:bodyPr lIns="0" tIns="0" rIns="0" bIns="0">
            <a:spAutoFit/>
          </a:bodyPr>
          <a:lstStyle/>
          <a:p>
            <a:pPr defTabSz="571500">
              <a:lnSpc>
                <a:spcPct val="95000"/>
              </a:lnSpc>
              <a:buClrTx/>
            </a:pPr>
            <a:r>
              <a:rPr lang="en-US" sz="825" kern="1200">
                <a:solidFill>
                  <a:srgbClr val="313131"/>
                </a:solidFill>
                <a:ea typeface="MS PGothic" pitchFamily="34" charset="-128"/>
                <a:cs typeface="+mn-cs"/>
              </a:rPr>
              <a:t>Mexico</a:t>
            </a:r>
          </a:p>
        </p:txBody>
      </p:sp>
      <p:sp>
        <p:nvSpPr>
          <p:cNvPr id="66" name="Rectangle 32"/>
          <p:cNvSpPr>
            <a:spLocks noChangeArrowheads="1"/>
          </p:cNvSpPr>
          <p:nvPr/>
        </p:nvSpPr>
        <p:spPr bwMode="auto">
          <a:xfrm>
            <a:off x="4905375" y="1940817"/>
            <a:ext cx="1409700" cy="120610"/>
          </a:xfrm>
          <a:prstGeom prst="rect">
            <a:avLst/>
          </a:prstGeom>
          <a:noFill/>
          <a:ln w="12700">
            <a:noFill/>
            <a:miter lim="800000"/>
            <a:headEnd/>
            <a:tailEnd/>
          </a:ln>
        </p:spPr>
        <p:txBody>
          <a:bodyPr lIns="0" tIns="0" rIns="0" bIns="0">
            <a:spAutoFit/>
          </a:bodyPr>
          <a:lstStyle/>
          <a:p>
            <a:pPr defTabSz="571500">
              <a:lnSpc>
                <a:spcPct val="95000"/>
              </a:lnSpc>
              <a:buClrTx/>
            </a:pPr>
            <a:r>
              <a:rPr lang="en-US" sz="825" kern="1200">
                <a:solidFill>
                  <a:srgbClr val="313131"/>
                </a:solidFill>
                <a:ea typeface="MS PGothic" pitchFamily="34" charset="-128"/>
                <a:cs typeface="+mn-cs"/>
              </a:rPr>
              <a:t>Netherlands</a:t>
            </a:r>
          </a:p>
        </p:txBody>
      </p:sp>
      <p:sp>
        <p:nvSpPr>
          <p:cNvPr id="67" name="Rectangle 33"/>
          <p:cNvSpPr>
            <a:spLocks noChangeArrowheads="1"/>
          </p:cNvSpPr>
          <p:nvPr/>
        </p:nvSpPr>
        <p:spPr bwMode="auto">
          <a:xfrm>
            <a:off x="4905375" y="2368300"/>
            <a:ext cx="1409700" cy="120610"/>
          </a:xfrm>
          <a:prstGeom prst="rect">
            <a:avLst/>
          </a:prstGeom>
          <a:noFill/>
          <a:ln w="12700">
            <a:noFill/>
            <a:miter lim="800000"/>
            <a:headEnd/>
            <a:tailEnd/>
          </a:ln>
        </p:spPr>
        <p:txBody>
          <a:bodyPr lIns="0" tIns="0" rIns="0" bIns="0">
            <a:spAutoFit/>
          </a:bodyPr>
          <a:lstStyle/>
          <a:p>
            <a:pPr defTabSz="571500">
              <a:lnSpc>
                <a:spcPct val="95000"/>
              </a:lnSpc>
              <a:buClrTx/>
            </a:pPr>
            <a:r>
              <a:rPr lang="en-US" sz="825" kern="1200">
                <a:solidFill>
                  <a:srgbClr val="313131"/>
                </a:solidFill>
                <a:ea typeface="MS PGothic" pitchFamily="34" charset="-128"/>
                <a:cs typeface="+mn-cs"/>
              </a:rPr>
              <a:t>Singapore</a:t>
            </a:r>
          </a:p>
        </p:txBody>
      </p:sp>
      <p:sp>
        <p:nvSpPr>
          <p:cNvPr id="68" name="Rectangle 34"/>
          <p:cNvSpPr>
            <a:spLocks noChangeArrowheads="1"/>
          </p:cNvSpPr>
          <p:nvPr/>
        </p:nvSpPr>
        <p:spPr bwMode="auto">
          <a:xfrm>
            <a:off x="4905375" y="2795783"/>
            <a:ext cx="1409700" cy="120610"/>
          </a:xfrm>
          <a:prstGeom prst="rect">
            <a:avLst/>
          </a:prstGeom>
          <a:noFill/>
          <a:ln w="12700">
            <a:noFill/>
            <a:miter lim="800000"/>
            <a:headEnd/>
            <a:tailEnd/>
          </a:ln>
        </p:spPr>
        <p:txBody>
          <a:bodyPr lIns="0" tIns="0" rIns="0" bIns="0">
            <a:spAutoFit/>
          </a:bodyPr>
          <a:lstStyle/>
          <a:p>
            <a:pPr defTabSz="571500">
              <a:lnSpc>
                <a:spcPct val="95000"/>
              </a:lnSpc>
              <a:buClrTx/>
            </a:pPr>
            <a:r>
              <a:rPr lang="en-US" sz="825" kern="1200">
                <a:solidFill>
                  <a:srgbClr val="313131"/>
                </a:solidFill>
                <a:ea typeface="MS PGothic" pitchFamily="34" charset="-128"/>
                <a:cs typeface="+mn-cs"/>
              </a:rPr>
              <a:t>Spain</a:t>
            </a:r>
          </a:p>
        </p:txBody>
      </p:sp>
      <p:sp>
        <p:nvSpPr>
          <p:cNvPr id="69" name="Rectangle 35"/>
          <p:cNvSpPr>
            <a:spLocks noChangeArrowheads="1"/>
          </p:cNvSpPr>
          <p:nvPr/>
        </p:nvSpPr>
        <p:spPr bwMode="auto">
          <a:xfrm>
            <a:off x="4905375" y="3223267"/>
            <a:ext cx="1409700" cy="120610"/>
          </a:xfrm>
          <a:prstGeom prst="rect">
            <a:avLst/>
          </a:prstGeom>
          <a:noFill/>
          <a:ln w="12700">
            <a:noFill/>
            <a:miter lim="800000"/>
            <a:headEnd/>
            <a:tailEnd/>
          </a:ln>
        </p:spPr>
        <p:txBody>
          <a:bodyPr lIns="0" tIns="0" rIns="0" bIns="0">
            <a:spAutoFit/>
          </a:bodyPr>
          <a:lstStyle/>
          <a:p>
            <a:pPr defTabSz="571500">
              <a:lnSpc>
                <a:spcPct val="95000"/>
              </a:lnSpc>
              <a:buClrTx/>
            </a:pPr>
            <a:r>
              <a:rPr lang="en-US" sz="825" kern="1200">
                <a:solidFill>
                  <a:srgbClr val="313131"/>
                </a:solidFill>
                <a:ea typeface="MS PGothic" pitchFamily="34" charset="-128"/>
                <a:cs typeface="+mn-cs"/>
              </a:rPr>
              <a:t>South Africa</a:t>
            </a:r>
          </a:p>
        </p:txBody>
      </p:sp>
      <p:sp>
        <p:nvSpPr>
          <p:cNvPr id="70" name="Rectangle 36"/>
          <p:cNvSpPr>
            <a:spLocks noChangeArrowheads="1"/>
          </p:cNvSpPr>
          <p:nvPr/>
        </p:nvSpPr>
        <p:spPr bwMode="auto">
          <a:xfrm>
            <a:off x="4905375" y="3650749"/>
            <a:ext cx="1409700" cy="120610"/>
          </a:xfrm>
          <a:prstGeom prst="rect">
            <a:avLst/>
          </a:prstGeom>
          <a:noFill/>
          <a:ln w="12700">
            <a:noFill/>
            <a:miter lim="800000"/>
            <a:headEnd/>
            <a:tailEnd/>
          </a:ln>
        </p:spPr>
        <p:txBody>
          <a:bodyPr lIns="0" tIns="0" rIns="0" bIns="0">
            <a:spAutoFit/>
          </a:bodyPr>
          <a:lstStyle/>
          <a:p>
            <a:pPr defTabSz="571500">
              <a:lnSpc>
                <a:spcPct val="95000"/>
              </a:lnSpc>
              <a:buClrTx/>
            </a:pPr>
            <a:r>
              <a:rPr lang="en-US" sz="825" kern="1200" dirty="0">
                <a:solidFill>
                  <a:srgbClr val="313131"/>
                </a:solidFill>
                <a:ea typeface="MS PGothic" pitchFamily="34" charset="-128"/>
                <a:cs typeface="+mn-cs"/>
              </a:rPr>
              <a:t>United Kingdom</a:t>
            </a:r>
          </a:p>
        </p:txBody>
      </p:sp>
      <p:sp>
        <p:nvSpPr>
          <p:cNvPr id="71" name="Rectangle 37"/>
          <p:cNvSpPr>
            <a:spLocks noChangeArrowheads="1"/>
          </p:cNvSpPr>
          <p:nvPr/>
        </p:nvSpPr>
        <p:spPr bwMode="auto">
          <a:xfrm>
            <a:off x="4905375" y="4078231"/>
            <a:ext cx="1409700" cy="120610"/>
          </a:xfrm>
          <a:prstGeom prst="rect">
            <a:avLst/>
          </a:prstGeom>
          <a:noFill/>
          <a:ln w="12700">
            <a:noFill/>
            <a:miter lim="800000"/>
            <a:headEnd/>
            <a:tailEnd/>
          </a:ln>
        </p:spPr>
        <p:txBody>
          <a:bodyPr lIns="0" tIns="0" rIns="0" bIns="0">
            <a:spAutoFit/>
          </a:bodyPr>
          <a:lstStyle/>
          <a:p>
            <a:pPr defTabSz="571500">
              <a:lnSpc>
                <a:spcPct val="95000"/>
              </a:lnSpc>
              <a:buClrTx/>
            </a:pPr>
            <a:r>
              <a:rPr lang="en-US" sz="825" kern="1200">
                <a:solidFill>
                  <a:srgbClr val="313131"/>
                </a:solidFill>
                <a:ea typeface="MS PGothic" pitchFamily="34" charset="-128"/>
                <a:cs typeface="+mn-cs"/>
              </a:rPr>
              <a:t>United States</a:t>
            </a:r>
            <a:endParaRPr lang="en-US" sz="825" kern="1200" dirty="0">
              <a:solidFill>
                <a:srgbClr val="313131"/>
              </a:solidFill>
              <a:ea typeface="MS PGothic" pitchFamily="34" charset="-128"/>
              <a:cs typeface="+mn-cs"/>
            </a:endParaRPr>
          </a:p>
        </p:txBody>
      </p:sp>
      <p:sp>
        <p:nvSpPr>
          <p:cNvPr id="74" name="Rectangle 3"/>
          <p:cNvSpPr>
            <a:spLocks noChangeArrowheads="1"/>
          </p:cNvSpPr>
          <p:nvPr/>
        </p:nvSpPr>
        <p:spPr bwMode="auto">
          <a:xfrm>
            <a:off x="5337545" y="0"/>
            <a:ext cx="2663456" cy="369332"/>
          </a:xfrm>
          <a:prstGeom prst="rect">
            <a:avLst/>
          </a:prstGeom>
          <a:solidFill>
            <a:schemeClr val="accent6"/>
          </a:solidFill>
          <a:ln w="6350" algn="ctr">
            <a:solidFill>
              <a:schemeClr val="bg1"/>
            </a:solidFill>
            <a:miter lim="800000"/>
            <a:headEnd/>
            <a:tailEnd/>
          </a:ln>
        </p:spPr>
        <p:txBody>
          <a:bodyPr wrap="square" tIns="68580" bIns="68580">
            <a:spAutoFit/>
          </a:bodyPr>
          <a:lstStyle/>
          <a:p>
            <a:pPr defTabSz="685800">
              <a:buClrTx/>
              <a:defRPr/>
            </a:pPr>
            <a:r>
              <a:rPr lang="en-US" altLang="ja-JP" sz="750" kern="1200" dirty="0">
                <a:solidFill>
                  <a:srgbClr val="313131"/>
                </a:solidFill>
                <a:ea typeface="ＭＳ Ｐゴシック" pitchFamily="50" charset="-128"/>
                <a:cs typeface="+mn-cs"/>
              </a:rPr>
              <a:t>The flags displayed below are a representative sample – more will be added</a:t>
            </a:r>
            <a:endParaRPr lang="en-US" sz="750" kern="1200" dirty="0">
              <a:solidFill>
                <a:srgbClr val="313131"/>
              </a:solidFill>
              <a:ea typeface="ＭＳ Ｐゴシック" pitchFamily="50" charset="-128"/>
              <a:cs typeface="+mn-cs"/>
            </a:endParaRPr>
          </a:p>
        </p:txBody>
      </p:sp>
      <p:sp>
        <p:nvSpPr>
          <p:cNvPr id="75" name="Oval 74"/>
          <p:cNvSpPr/>
          <p:nvPr/>
        </p:nvSpPr>
        <p:spPr>
          <a:xfrm>
            <a:off x="1615535" y="4425112"/>
            <a:ext cx="164592" cy="303892"/>
          </a:xfrm>
          <a:prstGeom prst="ellipse">
            <a:avLst/>
          </a:prstGeom>
          <a:solidFill>
            <a:srgbClr val="ED1B2F"/>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77" name="Rectangle 76"/>
          <p:cNvSpPr/>
          <p:nvPr/>
        </p:nvSpPr>
        <p:spPr>
          <a:xfrm>
            <a:off x="1440656" y="4469004"/>
            <a:ext cx="514350" cy="216110"/>
          </a:xfrm>
          <a:prstGeom prst="rect">
            <a:avLst/>
          </a:prstGeom>
          <a:noFill/>
          <a:ln w="9525">
            <a:solidFill>
              <a:schemeClr val="bg1">
                <a:lumMod val="50000"/>
              </a:schemeClr>
            </a:solid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Tree>
  </p:cSld>
  <p:clrMapOvr>
    <a:masterClrMapping/>
  </p:clrMapOvr>
  <p:transition>
    <p:fade/>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normAutofit lnSpcReduction="10000"/>
          </a:bodyPr>
          <a:lstStyle/>
          <a:p>
            <a:pPr marL="0" lvl="1" indent="0">
              <a:spcBef>
                <a:spcPts val="1350"/>
              </a:spcBef>
              <a:buNone/>
            </a:pPr>
            <a:r>
              <a:rPr lang="en-US" dirty="0"/>
              <a:t>Structured text				3</a:t>
            </a:r>
          </a:p>
          <a:p>
            <a:pPr marL="0" lvl="1" indent="0">
              <a:spcBef>
                <a:spcPts val="1350"/>
              </a:spcBef>
              <a:buNone/>
            </a:pPr>
            <a:r>
              <a:rPr lang="en-US" dirty="0"/>
              <a:t>Trees					35</a:t>
            </a:r>
          </a:p>
          <a:p>
            <a:pPr marL="0" lvl="1" indent="0">
              <a:spcBef>
                <a:spcPts val="1350"/>
              </a:spcBef>
              <a:buNone/>
            </a:pPr>
            <a:r>
              <a:rPr lang="en-US" dirty="0"/>
              <a:t>Graphs					50</a:t>
            </a:r>
          </a:p>
          <a:p>
            <a:pPr marL="0" lvl="1" indent="0">
              <a:spcBef>
                <a:spcPts val="1350"/>
              </a:spcBef>
              <a:buNone/>
            </a:pPr>
            <a:r>
              <a:rPr lang="en-US" dirty="0"/>
              <a:t>Shapes					93</a:t>
            </a:r>
          </a:p>
          <a:p>
            <a:pPr marL="0" lvl="1" indent="0">
              <a:spcBef>
                <a:spcPts val="1350"/>
              </a:spcBef>
              <a:buNone/>
            </a:pPr>
            <a:r>
              <a:rPr lang="en-US" dirty="0"/>
              <a:t>Maps					117</a:t>
            </a:r>
          </a:p>
          <a:p>
            <a:pPr marL="0" lvl="1" indent="0">
              <a:spcBef>
                <a:spcPts val="1350"/>
              </a:spcBef>
              <a:buNone/>
            </a:pPr>
            <a:r>
              <a:rPr lang="en-US" dirty="0">
                <a:solidFill>
                  <a:srgbClr val="00A1DE"/>
                </a:solidFill>
              </a:rPr>
              <a:t>Special graphics</a:t>
            </a:r>
            <a:r>
              <a:rPr lang="en-US" dirty="0"/>
              <a:t>			137</a:t>
            </a:r>
          </a:p>
          <a:p>
            <a:pPr marL="0" lvl="1" indent="0">
              <a:spcBef>
                <a:spcPts val="1350"/>
              </a:spcBef>
              <a:buNone/>
            </a:pPr>
            <a:r>
              <a:rPr lang="en-US" dirty="0"/>
              <a:t>Conceptual charts			164</a:t>
            </a:r>
          </a:p>
          <a:p>
            <a:pPr marL="0" lvl="1" indent="0">
              <a:spcBef>
                <a:spcPts val="1350"/>
              </a:spcBef>
              <a:buNone/>
            </a:pPr>
            <a:r>
              <a:rPr lang="en-US" dirty="0" err="1"/>
              <a:t>Infographics</a:t>
            </a:r>
            <a:r>
              <a:rPr lang="en-US" dirty="0"/>
              <a:t> 				215</a:t>
            </a:r>
          </a:p>
          <a:p>
            <a:pPr marL="0" lvl="1" indent="0">
              <a:spcBef>
                <a:spcPts val="1350"/>
              </a:spcBef>
              <a:buNone/>
            </a:pPr>
            <a:r>
              <a:rPr lang="en-US" dirty="0"/>
              <a:t>Iconography				241</a:t>
            </a:r>
          </a:p>
          <a:p>
            <a:endParaRPr lang="en-US" dirty="0"/>
          </a:p>
        </p:txBody>
      </p:sp>
      <p:sp>
        <p:nvSpPr>
          <p:cNvPr id="6" name="Title 5"/>
          <p:cNvSpPr>
            <a:spLocks noGrp="1"/>
          </p:cNvSpPr>
          <p:nvPr>
            <p:ph type="title"/>
          </p:nvPr>
        </p:nvSpPr>
        <p:spPr>
          <a:xfrm>
            <a:off x="1420585" y="134679"/>
            <a:ext cx="6291000" cy="665422"/>
          </a:xfrm>
        </p:spPr>
        <p:txBody>
          <a:bodyPr>
            <a:normAutofit/>
          </a:bodyPr>
          <a:lstStyle/>
          <a:p>
            <a:r>
              <a:rPr lang="en-US" sz="2250" dirty="0"/>
              <a:t>Contents</a:t>
            </a:r>
          </a:p>
        </p:txBody>
      </p:sp>
    </p:spTree>
    <p:extLst>
      <p:ext uri="{BB962C8B-B14F-4D97-AF65-F5344CB8AC3E}">
        <p14:creationId xmlns:p14="http://schemas.microsoft.com/office/powerpoint/2010/main" val="780875393"/>
      </p:ext>
    </p:extLst>
  </p:cSld>
  <p:clrMapOvr>
    <a:masterClrMapping/>
  </p:clrMapOvr>
  <p:transition>
    <p:fade/>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42" name="Title 1"/>
          <p:cNvSpPr>
            <a:spLocks noGrp="1"/>
          </p:cNvSpPr>
          <p:nvPr>
            <p:ph type="title"/>
          </p:nvPr>
        </p:nvSpPr>
        <p:spPr/>
        <p:txBody>
          <a:bodyPr/>
          <a:lstStyle/>
          <a:p>
            <a:r>
              <a:rPr lang="en-US" altLang="ja-JP" dirty="0"/>
              <a:t>Generic strategy development framework </a:t>
            </a:r>
            <a:br>
              <a:rPr lang="en-US" altLang="ja-JP" dirty="0"/>
            </a:br>
            <a:r>
              <a:rPr lang="en-US" altLang="ja-JP" dirty="0">
                <a:solidFill>
                  <a:srgbClr val="575757"/>
                </a:solidFill>
              </a:rPr>
              <a:t>English</a:t>
            </a:r>
            <a:endParaRPr lang="en-US" dirty="0">
              <a:solidFill>
                <a:srgbClr val="575757"/>
              </a:solidFill>
            </a:endParaRPr>
          </a:p>
        </p:txBody>
      </p:sp>
      <p:sp>
        <p:nvSpPr>
          <p:cNvPr id="52" name="Oval 51"/>
          <p:cNvSpPr/>
          <p:nvPr/>
        </p:nvSpPr>
        <p:spPr>
          <a:xfrm>
            <a:off x="4129088" y="1973682"/>
            <a:ext cx="942975" cy="421481"/>
          </a:xfrm>
          <a:prstGeom prst="ellipse">
            <a:avLst/>
          </a:prstGeom>
          <a:solidFill>
            <a:srgbClr val="81BC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anchor="ctr"/>
          <a:lstStyle/>
          <a:p>
            <a:pPr algn="ctr" defTabSz="685800">
              <a:buClrTx/>
              <a:defRPr/>
            </a:pPr>
            <a:r>
              <a:rPr lang="en-US" sz="825" kern="1200" dirty="0">
                <a:solidFill>
                  <a:prstClr val="white"/>
                </a:solidFill>
                <a:latin typeface="Arial"/>
              </a:rPr>
              <a:t>Creativity</a:t>
            </a:r>
          </a:p>
        </p:txBody>
      </p:sp>
      <p:sp>
        <p:nvSpPr>
          <p:cNvPr id="778244" name="AutoShape 6"/>
          <p:cNvSpPr>
            <a:spLocks noChangeArrowheads="1"/>
          </p:cNvSpPr>
          <p:nvPr/>
        </p:nvSpPr>
        <p:spPr bwMode="auto">
          <a:xfrm>
            <a:off x="2493169" y="2779870"/>
            <a:ext cx="564356" cy="252413"/>
          </a:xfrm>
          <a:prstGeom prst="rightArrow">
            <a:avLst>
              <a:gd name="adj1" fmla="val 50000"/>
              <a:gd name="adj2" fmla="val 50244"/>
            </a:avLst>
          </a:prstGeom>
          <a:solidFill>
            <a:srgbClr val="313131"/>
          </a:solidFill>
          <a:ln w="12700" algn="ctr">
            <a:solidFill>
              <a:schemeClr val="bg1"/>
            </a:solidFill>
            <a:miter lim="800000"/>
            <a:headEnd type="none" w="sm" len="sm"/>
            <a:tailEnd type="none" w="sm" len="sm"/>
          </a:ln>
        </p:spPr>
        <p:txBody>
          <a:bodyPr wrap="square" lIns="27000" tIns="27000" rIns="27000" bIns="27000" anchor="ctr"/>
          <a:lstStyle/>
          <a:p>
            <a:pPr algn="ctr" defTabSz="685800">
              <a:buClrTx/>
            </a:pPr>
            <a:endParaRPr lang="en-US" sz="900" kern="1200">
              <a:solidFill>
                <a:prstClr val="white"/>
              </a:solidFill>
              <a:ea typeface="+mn-ea"/>
              <a:cs typeface="+mn-cs"/>
            </a:endParaRPr>
          </a:p>
        </p:txBody>
      </p:sp>
      <p:sp>
        <p:nvSpPr>
          <p:cNvPr id="778245" name="AutoShape 7"/>
          <p:cNvSpPr>
            <a:spLocks noChangeArrowheads="1"/>
          </p:cNvSpPr>
          <p:nvPr/>
        </p:nvSpPr>
        <p:spPr bwMode="auto">
          <a:xfrm>
            <a:off x="3680223" y="2779870"/>
            <a:ext cx="564356" cy="252413"/>
          </a:xfrm>
          <a:prstGeom prst="rightArrow">
            <a:avLst>
              <a:gd name="adj1" fmla="val 50000"/>
              <a:gd name="adj2" fmla="val 50244"/>
            </a:avLst>
          </a:prstGeom>
          <a:solidFill>
            <a:srgbClr val="313131"/>
          </a:solidFill>
          <a:ln w="12700" algn="ctr">
            <a:solidFill>
              <a:schemeClr val="bg1"/>
            </a:solidFill>
            <a:miter lim="800000"/>
            <a:headEnd type="none" w="sm" len="sm"/>
            <a:tailEnd type="none" w="sm" len="sm"/>
          </a:ln>
        </p:spPr>
        <p:txBody>
          <a:bodyPr wrap="square" lIns="27000" tIns="27000" rIns="27000" bIns="27000" anchor="ctr"/>
          <a:lstStyle/>
          <a:p>
            <a:pPr algn="ctr" defTabSz="685800">
              <a:buClrTx/>
            </a:pPr>
            <a:endParaRPr lang="en-US" sz="900" kern="1200">
              <a:solidFill>
                <a:prstClr val="white"/>
              </a:solidFill>
              <a:ea typeface="+mn-ea"/>
              <a:cs typeface="+mn-cs"/>
            </a:endParaRPr>
          </a:p>
        </p:txBody>
      </p:sp>
      <p:sp>
        <p:nvSpPr>
          <p:cNvPr id="778246" name="AutoShape 8"/>
          <p:cNvSpPr>
            <a:spLocks noChangeArrowheads="1"/>
          </p:cNvSpPr>
          <p:nvPr/>
        </p:nvSpPr>
        <p:spPr bwMode="auto">
          <a:xfrm>
            <a:off x="4654154" y="2778084"/>
            <a:ext cx="465534" cy="255985"/>
          </a:xfrm>
          <a:prstGeom prst="rightArrow">
            <a:avLst>
              <a:gd name="adj1" fmla="val 50000"/>
              <a:gd name="adj2" fmla="val 49254"/>
            </a:avLst>
          </a:prstGeom>
          <a:solidFill>
            <a:srgbClr val="313131"/>
          </a:solidFill>
          <a:ln w="12700" algn="ctr">
            <a:solidFill>
              <a:schemeClr val="bg1"/>
            </a:solidFill>
            <a:miter lim="800000"/>
            <a:headEnd type="none" w="sm" len="sm"/>
            <a:tailEnd type="none" w="sm" len="sm"/>
          </a:ln>
        </p:spPr>
        <p:txBody>
          <a:bodyPr wrap="square" lIns="27000" tIns="27000" rIns="27000" bIns="27000" anchor="ctr"/>
          <a:lstStyle/>
          <a:p>
            <a:pPr algn="ctr" defTabSz="685800">
              <a:buClrTx/>
            </a:pPr>
            <a:endParaRPr lang="en-US" sz="900" kern="1200">
              <a:solidFill>
                <a:prstClr val="white"/>
              </a:solidFill>
              <a:ea typeface="+mn-ea"/>
              <a:cs typeface="+mn-cs"/>
            </a:endParaRPr>
          </a:p>
        </p:txBody>
      </p:sp>
      <p:sp>
        <p:nvSpPr>
          <p:cNvPr id="778247" name="AutoShape 9"/>
          <p:cNvSpPr>
            <a:spLocks noChangeArrowheads="1"/>
          </p:cNvSpPr>
          <p:nvPr/>
        </p:nvSpPr>
        <p:spPr bwMode="auto">
          <a:xfrm>
            <a:off x="5817864" y="2778084"/>
            <a:ext cx="463153" cy="255985"/>
          </a:xfrm>
          <a:prstGeom prst="rightArrow">
            <a:avLst>
              <a:gd name="adj1" fmla="val 50000"/>
              <a:gd name="adj2" fmla="val 49002"/>
            </a:avLst>
          </a:prstGeom>
          <a:solidFill>
            <a:srgbClr val="313131"/>
          </a:solidFill>
          <a:ln w="12700" algn="ctr">
            <a:solidFill>
              <a:schemeClr val="bg1"/>
            </a:solidFill>
            <a:miter lim="800000"/>
            <a:headEnd type="none" w="sm" len="sm"/>
            <a:tailEnd type="none" w="sm" len="sm"/>
          </a:ln>
        </p:spPr>
        <p:txBody>
          <a:bodyPr wrap="square" lIns="27000" tIns="27000" rIns="27000" bIns="27000" anchor="ctr"/>
          <a:lstStyle/>
          <a:p>
            <a:pPr algn="ctr" defTabSz="685800">
              <a:buClrTx/>
            </a:pPr>
            <a:endParaRPr lang="en-US" sz="900" kern="1200">
              <a:solidFill>
                <a:prstClr val="white"/>
              </a:solidFill>
              <a:ea typeface="+mn-ea"/>
              <a:cs typeface="+mn-cs"/>
            </a:endParaRPr>
          </a:p>
        </p:txBody>
      </p:sp>
      <p:sp>
        <p:nvSpPr>
          <p:cNvPr id="14" name="AutoShape 10"/>
          <p:cNvSpPr>
            <a:spLocks noChangeArrowheads="1"/>
          </p:cNvSpPr>
          <p:nvPr/>
        </p:nvSpPr>
        <p:spPr bwMode="auto">
          <a:xfrm>
            <a:off x="2965450" y="1371600"/>
            <a:ext cx="1245394" cy="432197"/>
          </a:xfrm>
          <a:prstGeom prst="chevron">
            <a:avLst>
              <a:gd name="adj" fmla="val 27802"/>
            </a:avLst>
          </a:prstGeom>
          <a:solidFill>
            <a:srgbClr val="00A1DE"/>
          </a:solidFill>
          <a:ln w="12700" algn="ctr">
            <a:solidFill>
              <a:schemeClr val="bg1"/>
            </a:solidFill>
            <a:miter lim="800000"/>
            <a:headEnd type="none" w="sm" len="sm"/>
            <a:tailEnd type="none" w="sm" len="sm"/>
          </a:ln>
        </p:spPr>
        <p:txBody>
          <a:bodyPr wrap="square" lIns="27000" tIns="27000" rIns="27000" bIns="27000" anchor="ctr"/>
          <a:lstStyle/>
          <a:p>
            <a:pPr algn="ctr" defTabSz="685800">
              <a:lnSpc>
                <a:spcPct val="106000"/>
              </a:lnSpc>
              <a:buClr>
                <a:prstClr val="black"/>
              </a:buClr>
              <a:defRPr/>
            </a:pPr>
            <a:r>
              <a:rPr lang="en-US" sz="825" b="1" kern="1200" dirty="0">
                <a:solidFill>
                  <a:prstClr val="white"/>
                </a:solidFill>
                <a:ea typeface="+mn-ea"/>
                <a:cs typeface="+mn-cs"/>
              </a:rPr>
              <a:t>2. Conduct</a:t>
            </a:r>
          </a:p>
          <a:p>
            <a:pPr algn="ctr" defTabSz="685800">
              <a:lnSpc>
                <a:spcPct val="106000"/>
              </a:lnSpc>
              <a:buClr>
                <a:prstClr val="black"/>
              </a:buClr>
              <a:defRPr/>
            </a:pPr>
            <a:r>
              <a:rPr lang="en-US" sz="825" b="1" kern="1200" dirty="0">
                <a:solidFill>
                  <a:prstClr val="white"/>
                </a:solidFill>
                <a:ea typeface="+mn-ea"/>
                <a:cs typeface="+mn-cs"/>
              </a:rPr>
              <a:t>analysis</a:t>
            </a:r>
            <a:endParaRPr lang="en-US" altLang="ja-JP" sz="825" b="1" kern="1200" dirty="0">
              <a:solidFill>
                <a:prstClr val="white"/>
              </a:solidFill>
              <a:ea typeface="ＭＳ Ｐゴシック" pitchFamily="50" charset="-128"/>
              <a:cs typeface="+mn-cs"/>
            </a:endParaRPr>
          </a:p>
        </p:txBody>
      </p:sp>
      <p:sp>
        <p:nvSpPr>
          <p:cNvPr id="15" name="AutoShape 11"/>
          <p:cNvSpPr>
            <a:spLocks noChangeArrowheads="1"/>
          </p:cNvSpPr>
          <p:nvPr/>
        </p:nvSpPr>
        <p:spPr bwMode="auto">
          <a:xfrm>
            <a:off x="1829991" y="1371600"/>
            <a:ext cx="1156097" cy="432197"/>
          </a:xfrm>
          <a:prstGeom prst="homePlate">
            <a:avLst>
              <a:gd name="adj" fmla="val 28686"/>
            </a:avLst>
          </a:prstGeom>
          <a:solidFill>
            <a:srgbClr val="00A1DE"/>
          </a:solidFill>
          <a:ln w="12700" algn="ctr">
            <a:solidFill>
              <a:schemeClr val="bg1"/>
            </a:solidFill>
            <a:miter lim="800000"/>
            <a:headEnd type="none" w="sm" len="sm"/>
            <a:tailEnd type="none" w="sm" len="sm"/>
          </a:ln>
        </p:spPr>
        <p:txBody>
          <a:bodyPr wrap="square" lIns="27000" tIns="27000" rIns="27000" bIns="27000" anchor="ctr"/>
          <a:lstStyle/>
          <a:p>
            <a:pPr algn="ctr" defTabSz="685800">
              <a:buClrTx/>
              <a:defRPr/>
            </a:pPr>
            <a:r>
              <a:rPr lang="en-US" sz="825" b="1" kern="1200" dirty="0">
                <a:solidFill>
                  <a:prstClr val="white"/>
                </a:solidFill>
                <a:ea typeface="+mn-ea"/>
                <a:cs typeface="+mn-cs"/>
              </a:rPr>
              <a:t>1. Evaluate</a:t>
            </a:r>
            <a:br>
              <a:rPr lang="en-US" sz="825" b="1" kern="1200" dirty="0">
                <a:solidFill>
                  <a:prstClr val="white"/>
                </a:solidFill>
                <a:ea typeface="+mn-ea"/>
                <a:cs typeface="+mn-cs"/>
              </a:rPr>
            </a:br>
            <a:r>
              <a:rPr lang="en-US" sz="825" b="1" kern="1200" dirty="0">
                <a:solidFill>
                  <a:prstClr val="white"/>
                </a:solidFill>
                <a:ea typeface="+mn-ea"/>
                <a:cs typeface="+mn-cs"/>
              </a:rPr>
              <a:t>situation</a:t>
            </a:r>
            <a:endParaRPr lang="en-US" altLang="ja-JP" sz="825" b="1" kern="1200" dirty="0">
              <a:solidFill>
                <a:prstClr val="white"/>
              </a:solidFill>
              <a:ea typeface="ＭＳ Ｐゴシック" pitchFamily="50" charset="-128"/>
              <a:cs typeface="+mn-cs"/>
            </a:endParaRPr>
          </a:p>
        </p:txBody>
      </p:sp>
      <p:sp>
        <p:nvSpPr>
          <p:cNvPr id="778250" name="Rectangle 12"/>
          <p:cNvSpPr>
            <a:spLocks noChangeArrowheads="1"/>
          </p:cNvSpPr>
          <p:nvPr/>
        </p:nvSpPr>
        <p:spPr bwMode="auto">
          <a:xfrm>
            <a:off x="1827014" y="1894283"/>
            <a:ext cx="945000" cy="2025000"/>
          </a:xfrm>
          <a:prstGeom prst="rect">
            <a:avLst/>
          </a:prstGeom>
          <a:solidFill>
            <a:srgbClr val="DCDCDC"/>
          </a:solidFill>
          <a:ln w="12700" algn="ctr">
            <a:solidFill>
              <a:schemeClr val="bg1"/>
            </a:solidFill>
            <a:miter lim="800000"/>
            <a:headEnd type="none" w="sm" len="sm"/>
            <a:tailEnd type="none" w="sm" len="sm"/>
          </a:ln>
        </p:spPr>
        <p:txBody>
          <a:bodyPr wrap="square" lIns="27000" tIns="27000" rIns="27000" bIns="27000" anchor="ctr"/>
          <a:lstStyle/>
          <a:p>
            <a:pPr algn="ctr" defTabSz="685800">
              <a:buClrTx/>
            </a:pPr>
            <a:endParaRPr lang="en-US" sz="900" kern="1200">
              <a:solidFill>
                <a:prstClr val="black"/>
              </a:solidFill>
              <a:ea typeface="ＭＳ Ｐゴシック" charset="-128"/>
              <a:cs typeface="+mn-cs"/>
            </a:endParaRPr>
          </a:p>
        </p:txBody>
      </p:sp>
      <p:sp>
        <p:nvSpPr>
          <p:cNvPr id="778251" name="AutoShape 13"/>
          <p:cNvSpPr>
            <a:spLocks noChangeArrowheads="1"/>
          </p:cNvSpPr>
          <p:nvPr/>
        </p:nvSpPr>
        <p:spPr bwMode="auto">
          <a:xfrm flipV="1">
            <a:off x="2126875" y="2513308"/>
            <a:ext cx="345281" cy="97631"/>
          </a:xfrm>
          <a:prstGeom prst="triangle">
            <a:avLst>
              <a:gd name="adj" fmla="val 50000"/>
            </a:avLst>
          </a:prstGeom>
          <a:solidFill>
            <a:srgbClr val="B4B4B4"/>
          </a:solidFill>
          <a:ln w="12700" algn="ctr">
            <a:solidFill>
              <a:schemeClr val="bg1"/>
            </a:solidFill>
            <a:miter lim="800000"/>
            <a:headEnd type="none" w="sm" len="sm"/>
            <a:tailEnd type="none" w="sm" len="sm"/>
          </a:ln>
        </p:spPr>
        <p:txBody>
          <a:bodyPr rot="10800000" wrap="square" lIns="27000" tIns="27000" rIns="27000" bIns="27000" anchor="ctr"/>
          <a:lstStyle/>
          <a:p>
            <a:pPr algn="ctr" defTabSz="685800">
              <a:buClrTx/>
            </a:pPr>
            <a:endParaRPr lang="en-US" sz="900" kern="1200">
              <a:solidFill>
                <a:prstClr val="white"/>
              </a:solidFill>
              <a:ea typeface="+mn-ea"/>
              <a:cs typeface="+mn-cs"/>
            </a:endParaRPr>
          </a:p>
        </p:txBody>
      </p:sp>
      <p:sp>
        <p:nvSpPr>
          <p:cNvPr id="778252" name="AutoShape 14"/>
          <p:cNvSpPr>
            <a:spLocks noChangeArrowheads="1"/>
          </p:cNvSpPr>
          <p:nvPr/>
        </p:nvSpPr>
        <p:spPr bwMode="auto">
          <a:xfrm>
            <a:off x="2126875" y="3201214"/>
            <a:ext cx="345281" cy="98822"/>
          </a:xfrm>
          <a:prstGeom prst="triangle">
            <a:avLst>
              <a:gd name="adj" fmla="val 50000"/>
            </a:avLst>
          </a:prstGeom>
          <a:solidFill>
            <a:srgbClr val="B4B4B4"/>
          </a:solidFill>
          <a:ln w="12700" algn="ctr">
            <a:solidFill>
              <a:schemeClr val="bg1"/>
            </a:solidFill>
            <a:miter lim="800000"/>
            <a:headEnd type="none" w="sm" len="sm"/>
            <a:tailEnd type="none" w="sm" len="sm"/>
          </a:ln>
        </p:spPr>
        <p:txBody>
          <a:bodyPr wrap="square" lIns="27000" tIns="27000" rIns="27000" bIns="27000" anchor="ctr"/>
          <a:lstStyle/>
          <a:p>
            <a:pPr algn="ctr" defTabSz="685800">
              <a:buClrTx/>
            </a:pPr>
            <a:endParaRPr lang="en-US" sz="900" kern="1200">
              <a:solidFill>
                <a:prstClr val="white"/>
              </a:solidFill>
              <a:ea typeface="+mn-ea"/>
              <a:cs typeface="+mn-cs"/>
            </a:endParaRPr>
          </a:p>
        </p:txBody>
      </p:sp>
      <p:sp>
        <p:nvSpPr>
          <p:cNvPr id="778253" name="Rectangle 15"/>
          <p:cNvSpPr>
            <a:spLocks noChangeArrowheads="1"/>
          </p:cNvSpPr>
          <p:nvPr/>
        </p:nvSpPr>
        <p:spPr bwMode="auto">
          <a:xfrm>
            <a:off x="1894514" y="1948172"/>
            <a:ext cx="810000" cy="472500"/>
          </a:xfrm>
          <a:prstGeom prst="rect">
            <a:avLst/>
          </a:prstGeom>
          <a:solidFill>
            <a:schemeClr val="bg1"/>
          </a:solidFill>
          <a:ln w="12700">
            <a:solidFill>
              <a:srgbClr val="B4B4B4"/>
            </a:solidFill>
            <a:miter lim="800000"/>
            <a:headEnd type="none" w="sm" len="sm"/>
            <a:tailEnd type="none" w="sm" len="sm"/>
          </a:ln>
        </p:spPr>
        <p:txBody>
          <a:bodyPr wrap="square" lIns="27000" tIns="27000" rIns="27000" bIns="27000" anchor="ctr"/>
          <a:lstStyle/>
          <a:p>
            <a:pPr algn="ctr" defTabSz="685800">
              <a:buClrTx/>
            </a:pPr>
            <a:r>
              <a:rPr lang="en-US" altLang="ja-JP" sz="825" kern="1200" dirty="0">
                <a:solidFill>
                  <a:srgbClr val="313131"/>
                </a:solidFill>
                <a:ea typeface="ＭＳ Ｐゴシック" charset="-128"/>
                <a:cs typeface="+mn-cs"/>
              </a:rPr>
              <a:t>Business</a:t>
            </a:r>
          </a:p>
          <a:p>
            <a:pPr algn="ctr" defTabSz="685800">
              <a:buClrTx/>
            </a:pPr>
            <a:r>
              <a:rPr lang="en-US" altLang="ja-JP" sz="825" kern="1200" dirty="0">
                <a:solidFill>
                  <a:srgbClr val="313131"/>
                </a:solidFill>
                <a:ea typeface="ＭＳ Ｐゴシック" charset="-128"/>
                <a:cs typeface="+mn-cs"/>
              </a:rPr>
              <a:t>definition</a:t>
            </a:r>
          </a:p>
        </p:txBody>
      </p:sp>
      <p:sp>
        <p:nvSpPr>
          <p:cNvPr id="778254" name="Rectangle 16"/>
          <p:cNvSpPr>
            <a:spLocks noChangeArrowheads="1"/>
          </p:cNvSpPr>
          <p:nvPr/>
        </p:nvSpPr>
        <p:spPr bwMode="auto">
          <a:xfrm>
            <a:off x="1894514" y="3392672"/>
            <a:ext cx="810000" cy="472500"/>
          </a:xfrm>
          <a:prstGeom prst="rect">
            <a:avLst/>
          </a:prstGeom>
          <a:solidFill>
            <a:schemeClr val="bg1"/>
          </a:solidFill>
          <a:ln w="12700">
            <a:solidFill>
              <a:srgbClr val="B4B4B4"/>
            </a:solidFill>
            <a:miter lim="800000"/>
            <a:headEnd type="none" w="sm" len="sm"/>
            <a:tailEnd type="none" w="sm" len="sm"/>
          </a:ln>
        </p:spPr>
        <p:txBody>
          <a:bodyPr wrap="square" lIns="27000" tIns="27000" rIns="27000" bIns="27000" anchor="ctr"/>
          <a:lstStyle/>
          <a:p>
            <a:pPr algn="ctr" defTabSz="685800">
              <a:buClrTx/>
            </a:pPr>
            <a:r>
              <a:rPr lang="en-US" altLang="ja-JP" sz="825" kern="1200" dirty="0">
                <a:solidFill>
                  <a:srgbClr val="313131"/>
                </a:solidFill>
                <a:ea typeface="ＭＳ Ｐゴシック" charset="-128"/>
                <a:cs typeface="+mn-cs"/>
              </a:rPr>
              <a:t>Business</a:t>
            </a:r>
          </a:p>
          <a:p>
            <a:pPr algn="ctr" defTabSz="685800">
              <a:buClrTx/>
            </a:pPr>
            <a:r>
              <a:rPr lang="en-US" altLang="ja-JP" sz="825" kern="1200" dirty="0">
                <a:solidFill>
                  <a:srgbClr val="313131"/>
                </a:solidFill>
                <a:ea typeface="ＭＳ Ｐゴシック" charset="-128"/>
                <a:cs typeface="+mn-cs"/>
              </a:rPr>
              <a:t>constraints</a:t>
            </a:r>
          </a:p>
        </p:txBody>
      </p:sp>
      <p:sp>
        <p:nvSpPr>
          <p:cNvPr id="778255" name="Oval 17"/>
          <p:cNvSpPr>
            <a:spLocks noChangeArrowheads="1"/>
          </p:cNvSpPr>
          <p:nvPr/>
        </p:nvSpPr>
        <p:spPr bwMode="auto">
          <a:xfrm>
            <a:off x="1854014" y="2703576"/>
            <a:ext cx="891000" cy="405000"/>
          </a:xfrm>
          <a:prstGeom prst="ellipse">
            <a:avLst/>
          </a:prstGeom>
          <a:solidFill>
            <a:srgbClr val="575757"/>
          </a:solidFill>
          <a:ln w="12700" algn="ctr">
            <a:solidFill>
              <a:schemeClr val="bg1"/>
            </a:solidFill>
            <a:round/>
            <a:headEnd type="none" w="sm" len="sm"/>
            <a:tailEnd type="none" w="sm" len="sm"/>
          </a:ln>
        </p:spPr>
        <p:txBody>
          <a:bodyPr wrap="square" lIns="13500" tIns="13500" rIns="13500" bIns="13500" anchor="ctr"/>
          <a:lstStyle/>
          <a:p>
            <a:pPr algn="ctr" defTabSz="685800">
              <a:buClrTx/>
            </a:pPr>
            <a:r>
              <a:rPr lang="en-US" altLang="ja-JP" sz="825" kern="1200" dirty="0">
                <a:solidFill>
                  <a:prstClr val="white"/>
                </a:solidFill>
                <a:ea typeface="ＭＳ Ｐゴシック" charset="-128"/>
                <a:cs typeface="+mn-cs"/>
              </a:rPr>
              <a:t>Business</a:t>
            </a:r>
          </a:p>
          <a:p>
            <a:pPr algn="ctr" defTabSz="685800">
              <a:buClrTx/>
            </a:pPr>
            <a:r>
              <a:rPr lang="en-US" altLang="ja-JP" sz="825" kern="1200" dirty="0">
                <a:solidFill>
                  <a:prstClr val="white"/>
                </a:solidFill>
                <a:ea typeface="ＭＳ Ｐゴシック" charset="-128"/>
                <a:cs typeface="+mn-cs"/>
              </a:rPr>
              <a:t>imperatives</a:t>
            </a:r>
          </a:p>
        </p:txBody>
      </p:sp>
      <p:sp>
        <p:nvSpPr>
          <p:cNvPr id="778256" name="Rectangle 18"/>
          <p:cNvSpPr>
            <a:spLocks noChangeArrowheads="1"/>
          </p:cNvSpPr>
          <p:nvPr/>
        </p:nvSpPr>
        <p:spPr bwMode="auto">
          <a:xfrm>
            <a:off x="3093244" y="1894283"/>
            <a:ext cx="945000" cy="2025000"/>
          </a:xfrm>
          <a:prstGeom prst="rect">
            <a:avLst/>
          </a:prstGeom>
          <a:solidFill>
            <a:srgbClr val="DCDCDC"/>
          </a:solidFill>
          <a:ln w="12700" algn="ctr">
            <a:solidFill>
              <a:schemeClr val="bg1"/>
            </a:solidFill>
            <a:miter lim="800000"/>
            <a:headEnd type="none" w="sm" len="sm"/>
            <a:tailEnd type="none" w="sm" len="sm"/>
          </a:ln>
        </p:spPr>
        <p:txBody>
          <a:bodyPr wrap="square" lIns="27000" tIns="27000" rIns="27000" bIns="27000" anchor="ctr"/>
          <a:lstStyle/>
          <a:p>
            <a:pPr algn="ctr" defTabSz="685800">
              <a:buClrTx/>
            </a:pPr>
            <a:endParaRPr lang="en-US" sz="900" kern="1200">
              <a:solidFill>
                <a:prstClr val="black"/>
              </a:solidFill>
              <a:ea typeface="ＭＳ Ｐゴシック" charset="-128"/>
              <a:cs typeface="+mn-cs"/>
            </a:endParaRPr>
          </a:p>
        </p:txBody>
      </p:sp>
      <p:sp>
        <p:nvSpPr>
          <p:cNvPr id="778257" name="AutoShape 19"/>
          <p:cNvSpPr>
            <a:spLocks noChangeArrowheads="1"/>
          </p:cNvSpPr>
          <p:nvPr/>
        </p:nvSpPr>
        <p:spPr bwMode="auto">
          <a:xfrm flipV="1">
            <a:off x="3394294" y="2513308"/>
            <a:ext cx="342900" cy="97631"/>
          </a:xfrm>
          <a:prstGeom prst="triangle">
            <a:avLst>
              <a:gd name="adj" fmla="val 50000"/>
            </a:avLst>
          </a:prstGeom>
          <a:solidFill>
            <a:srgbClr val="B4B4B4"/>
          </a:solidFill>
          <a:ln w="12700" algn="ctr">
            <a:solidFill>
              <a:schemeClr val="bg1"/>
            </a:solidFill>
            <a:miter lim="800000"/>
            <a:headEnd type="none" w="sm" len="sm"/>
            <a:tailEnd type="none" w="sm" len="sm"/>
          </a:ln>
        </p:spPr>
        <p:txBody>
          <a:bodyPr rot="10800000" wrap="square" lIns="27000" tIns="27000" rIns="27000" bIns="27000" anchor="ctr"/>
          <a:lstStyle/>
          <a:p>
            <a:pPr algn="ctr" defTabSz="685800">
              <a:buClrTx/>
            </a:pPr>
            <a:endParaRPr lang="en-US" sz="900" kern="1200">
              <a:solidFill>
                <a:prstClr val="white"/>
              </a:solidFill>
              <a:ea typeface="+mn-ea"/>
              <a:cs typeface="+mn-cs"/>
            </a:endParaRPr>
          </a:p>
        </p:txBody>
      </p:sp>
      <p:sp>
        <p:nvSpPr>
          <p:cNvPr id="778258" name="AutoShape 20"/>
          <p:cNvSpPr>
            <a:spLocks noChangeArrowheads="1"/>
          </p:cNvSpPr>
          <p:nvPr/>
        </p:nvSpPr>
        <p:spPr bwMode="auto">
          <a:xfrm>
            <a:off x="3394294" y="3201214"/>
            <a:ext cx="342900" cy="98822"/>
          </a:xfrm>
          <a:prstGeom prst="triangle">
            <a:avLst>
              <a:gd name="adj" fmla="val 50000"/>
            </a:avLst>
          </a:prstGeom>
          <a:solidFill>
            <a:srgbClr val="B4B4B4"/>
          </a:solidFill>
          <a:ln w="12700" algn="ctr">
            <a:solidFill>
              <a:schemeClr val="bg1"/>
            </a:solidFill>
            <a:miter lim="800000"/>
            <a:headEnd type="none" w="sm" len="sm"/>
            <a:tailEnd type="none" w="sm" len="sm"/>
          </a:ln>
        </p:spPr>
        <p:txBody>
          <a:bodyPr wrap="square" lIns="27000" tIns="27000" rIns="27000" bIns="27000" anchor="ctr"/>
          <a:lstStyle/>
          <a:p>
            <a:pPr algn="ctr" defTabSz="685800">
              <a:buClrTx/>
            </a:pPr>
            <a:endParaRPr lang="en-US" sz="900" kern="1200">
              <a:solidFill>
                <a:prstClr val="white"/>
              </a:solidFill>
              <a:ea typeface="+mn-ea"/>
              <a:cs typeface="+mn-cs"/>
            </a:endParaRPr>
          </a:p>
        </p:txBody>
      </p:sp>
      <p:sp>
        <p:nvSpPr>
          <p:cNvPr id="778259" name="Rectangle 21"/>
          <p:cNvSpPr>
            <a:spLocks noChangeArrowheads="1"/>
          </p:cNvSpPr>
          <p:nvPr/>
        </p:nvSpPr>
        <p:spPr bwMode="auto">
          <a:xfrm>
            <a:off x="3160744" y="1948172"/>
            <a:ext cx="810000" cy="472500"/>
          </a:xfrm>
          <a:prstGeom prst="rect">
            <a:avLst/>
          </a:prstGeom>
          <a:solidFill>
            <a:schemeClr val="bg1"/>
          </a:solidFill>
          <a:ln w="12700">
            <a:solidFill>
              <a:srgbClr val="B4B4B4"/>
            </a:solidFill>
            <a:miter lim="800000"/>
            <a:headEnd type="none" w="sm" len="sm"/>
            <a:tailEnd type="none" w="sm" len="sm"/>
          </a:ln>
        </p:spPr>
        <p:txBody>
          <a:bodyPr wrap="square" lIns="27000" tIns="27000" rIns="27000" bIns="27000" anchor="ctr"/>
          <a:lstStyle/>
          <a:p>
            <a:pPr algn="ctr" defTabSz="685800">
              <a:buClrTx/>
            </a:pPr>
            <a:r>
              <a:rPr lang="en-US" altLang="ja-JP" sz="825" kern="1200" dirty="0">
                <a:solidFill>
                  <a:srgbClr val="313131"/>
                </a:solidFill>
                <a:ea typeface="ＭＳ Ｐゴシック" charset="-128"/>
                <a:cs typeface="+mn-cs"/>
              </a:rPr>
              <a:t>External analysis</a:t>
            </a:r>
          </a:p>
        </p:txBody>
      </p:sp>
      <p:sp>
        <p:nvSpPr>
          <p:cNvPr id="778260" name="Rectangle 22"/>
          <p:cNvSpPr>
            <a:spLocks noChangeArrowheads="1"/>
          </p:cNvSpPr>
          <p:nvPr/>
        </p:nvSpPr>
        <p:spPr bwMode="auto">
          <a:xfrm>
            <a:off x="3160744" y="3392672"/>
            <a:ext cx="810000" cy="472500"/>
          </a:xfrm>
          <a:prstGeom prst="rect">
            <a:avLst/>
          </a:prstGeom>
          <a:solidFill>
            <a:schemeClr val="bg1"/>
          </a:solidFill>
          <a:ln w="12700">
            <a:solidFill>
              <a:srgbClr val="B4B4B4"/>
            </a:solidFill>
            <a:miter lim="800000"/>
            <a:headEnd type="none" w="sm" len="sm"/>
            <a:tailEnd type="none" w="sm" len="sm"/>
          </a:ln>
        </p:spPr>
        <p:txBody>
          <a:bodyPr wrap="square" lIns="27000" tIns="27000" rIns="27000" bIns="27000" anchor="ctr"/>
          <a:lstStyle/>
          <a:p>
            <a:pPr algn="ctr" defTabSz="685800">
              <a:buClrTx/>
            </a:pPr>
            <a:r>
              <a:rPr lang="en-US" altLang="ja-JP" sz="825" kern="1200" dirty="0">
                <a:solidFill>
                  <a:srgbClr val="313131"/>
                </a:solidFill>
                <a:ea typeface="ＭＳ Ｐゴシック" charset="-128"/>
                <a:cs typeface="+mn-cs"/>
              </a:rPr>
              <a:t>Internal analysis</a:t>
            </a:r>
          </a:p>
        </p:txBody>
      </p:sp>
      <p:sp>
        <p:nvSpPr>
          <p:cNvPr id="778261" name="Oval 23"/>
          <p:cNvSpPr>
            <a:spLocks noChangeArrowheads="1"/>
          </p:cNvSpPr>
          <p:nvPr/>
        </p:nvSpPr>
        <p:spPr bwMode="auto">
          <a:xfrm>
            <a:off x="3120244" y="2703576"/>
            <a:ext cx="891000" cy="405000"/>
          </a:xfrm>
          <a:prstGeom prst="ellipse">
            <a:avLst/>
          </a:prstGeom>
          <a:solidFill>
            <a:srgbClr val="575757"/>
          </a:solidFill>
          <a:ln w="12700" algn="ctr">
            <a:solidFill>
              <a:schemeClr val="bg1"/>
            </a:solidFill>
            <a:round/>
            <a:headEnd type="none" w="sm" len="sm"/>
            <a:tailEnd type="none" w="sm" len="sm"/>
          </a:ln>
        </p:spPr>
        <p:txBody>
          <a:bodyPr wrap="square" lIns="13500" tIns="13500" rIns="13500" bIns="13500" anchor="ctr"/>
          <a:lstStyle/>
          <a:p>
            <a:pPr algn="ctr" defTabSz="685800">
              <a:buClrTx/>
            </a:pPr>
            <a:r>
              <a:rPr lang="en-US" altLang="ja-JP" sz="825" kern="1200" dirty="0">
                <a:solidFill>
                  <a:prstClr val="white"/>
                </a:solidFill>
                <a:ea typeface="ＭＳ Ｐゴシック" charset="-128"/>
                <a:cs typeface="+mn-cs"/>
              </a:rPr>
              <a:t>Key insights</a:t>
            </a:r>
          </a:p>
        </p:txBody>
      </p:sp>
      <p:sp>
        <p:nvSpPr>
          <p:cNvPr id="31" name="Rectangle 27"/>
          <p:cNvSpPr>
            <a:spLocks noChangeArrowheads="1"/>
          </p:cNvSpPr>
          <p:nvPr/>
        </p:nvSpPr>
        <p:spPr bwMode="auto">
          <a:xfrm>
            <a:off x="4244579" y="2643544"/>
            <a:ext cx="625078" cy="525065"/>
          </a:xfrm>
          <a:prstGeom prst="rect">
            <a:avLst/>
          </a:prstGeom>
          <a:solidFill>
            <a:schemeClr val="bg1"/>
          </a:solidFill>
          <a:ln w="12700" algn="ctr">
            <a:solidFill>
              <a:srgbClr val="B4B4B4"/>
            </a:solidFill>
            <a:miter lim="800000"/>
            <a:headEnd type="none" w="sm" len="sm"/>
            <a:tailEnd type="none" w="sm" len="sm"/>
          </a:ln>
        </p:spPr>
        <p:txBody>
          <a:bodyPr wrap="square" lIns="27000" tIns="27000" rIns="27000" bIns="27000" anchor="ctr"/>
          <a:lstStyle/>
          <a:p>
            <a:pPr algn="ctr" defTabSz="685800">
              <a:buClrTx/>
              <a:defRPr/>
            </a:pPr>
            <a:r>
              <a:rPr lang="en-US" altLang="ja-JP" sz="825" kern="1200" dirty="0">
                <a:solidFill>
                  <a:srgbClr val="313131"/>
                </a:solidFill>
                <a:ea typeface="ＭＳ Ｐゴシック" pitchFamily="50" charset="-128"/>
                <a:cs typeface="+mn-cs"/>
              </a:rPr>
              <a:t>Future industry</a:t>
            </a:r>
            <a:br>
              <a:rPr lang="en-US" altLang="ja-JP" sz="825" kern="1200" dirty="0">
                <a:solidFill>
                  <a:srgbClr val="313131"/>
                </a:solidFill>
                <a:ea typeface="ＭＳ Ｐゴシック" pitchFamily="50" charset="-128"/>
                <a:cs typeface="+mn-cs"/>
              </a:rPr>
            </a:br>
            <a:r>
              <a:rPr lang="en-US" altLang="ja-JP" sz="825" kern="1200" dirty="0">
                <a:solidFill>
                  <a:srgbClr val="313131"/>
                </a:solidFill>
                <a:ea typeface="ＭＳ Ｐゴシック" pitchFamily="50" charset="-128"/>
                <a:cs typeface="+mn-cs"/>
              </a:rPr>
              <a:t>scenarios</a:t>
            </a:r>
          </a:p>
        </p:txBody>
      </p:sp>
      <p:sp>
        <p:nvSpPr>
          <p:cNvPr id="32" name="AutoShape 28"/>
          <p:cNvSpPr>
            <a:spLocks noChangeArrowheads="1"/>
          </p:cNvSpPr>
          <p:nvPr/>
        </p:nvSpPr>
        <p:spPr bwMode="auto">
          <a:xfrm>
            <a:off x="4190206" y="1371600"/>
            <a:ext cx="1893094" cy="432197"/>
          </a:xfrm>
          <a:prstGeom prst="chevron">
            <a:avLst>
              <a:gd name="adj" fmla="val 29754"/>
            </a:avLst>
          </a:prstGeom>
          <a:solidFill>
            <a:srgbClr val="00A1DE"/>
          </a:solidFill>
          <a:ln w="12700" algn="ctr">
            <a:solidFill>
              <a:schemeClr val="bg1"/>
            </a:solidFill>
            <a:miter lim="800000"/>
            <a:headEnd type="none" w="sm" len="sm"/>
            <a:tailEnd type="none" w="sm" len="sm"/>
          </a:ln>
        </p:spPr>
        <p:txBody>
          <a:bodyPr wrap="square" lIns="27000" tIns="27000" rIns="27000" bIns="27000" anchor="ctr"/>
          <a:lstStyle/>
          <a:p>
            <a:pPr algn="ctr" defTabSz="685800">
              <a:buClrTx/>
              <a:defRPr/>
            </a:pPr>
            <a:r>
              <a:rPr lang="en-US" sz="825" b="1" kern="1200" dirty="0">
                <a:solidFill>
                  <a:prstClr val="white"/>
                </a:solidFill>
                <a:ea typeface="+mn-ea"/>
                <a:cs typeface="+mn-cs"/>
              </a:rPr>
              <a:t>3. Formulate</a:t>
            </a:r>
            <a:br>
              <a:rPr lang="en-US" sz="825" b="1" kern="1200" dirty="0">
                <a:solidFill>
                  <a:prstClr val="white"/>
                </a:solidFill>
                <a:ea typeface="+mn-ea"/>
                <a:cs typeface="+mn-cs"/>
              </a:rPr>
            </a:br>
            <a:r>
              <a:rPr lang="en-US" sz="825" b="1" kern="1200" dirty="0">
                <a:solidFill>
                  <a:prstClr val="white"/>
                </a:solidFill>
                <a:ea typeface="+mn-ea"/>
                <a:cs typeface="+mn-cs"/>
              </a:rPr>
              <a:t>strategy</a:t>
            </a:r>
            <a:endParaRPr lang="en-US" altLang="ja-JP" sz="825" b="1" kern="1200" dirty="0">
              <a:solidFill>
                <a:prstClr val="white"/>
              </a:solidFill>
              <a:ea typeface="ＭＳ Ｐゴシック" pitchFamily="50" charset="-128"/>
              <a:cs typeface="+mn-cs"/>
            </a:endParaRPr>
          </a:p>
        </p:txBody>
      </p:sp>
      <p:sp>
        <p:nvSpPr>
          <p:cNvPr id="33" name="AutoShape 29"/>
          <p:cNvSpPr>
            <a:spLocks noChangeArrowheads="1"/>
          </p:cNvSpPr>
          <p:nvPr/>
        </p:nvSpPr>
        <p:spPr bwMode="auto">
          <a:xfrm>
            <a:off x="6062662" y="1371600"/>
            <a:ext cx="1387079" cy="432197"/>
          </a:xfrm>
          <a:prstGeom prst="chevron">
            <a:avLst>
              <a:gd name="adj" fmla="val 30967"/>
            </a:avLst>
          </a:prstGeom>
          <a:solidFill>
            <a:srgbClr val="00A1DE"/>
          </a:solidFill>
          <a:ln w="12700" algn="ctr">
            <a:solidFill>
              <a:schemeClr val="bg1"/>
            </a:solidFill>
            <a:miter lim="800000"/>
            <a:headEnd type="none" w="sm" len="sm"/>
            <a:tailEnd type="none" w="sm" len="sm"/>
          </a:ln>
        </p:spPr>
        <p:txBody>
          <a:bodyPr wrap="square" lIns="27000" tIns="27000" rIns="27000" bIns="27000" anchor="ctr"/>
          <a:lstStyle/>
          <a:p>
            <a:pPr algn="ctr" defTabSz="685800">
              <a:buClrTx/>
              <a:defRPr/>
            </a:pPr>
            <a:r>
              <a:rPr lang="en-US" sz="825" b="1" kern="1200" dirty="0">
                <a:solidFill>
                  <a:prstClr val="white"/>
                </a:solidFill>
                <a:ea typeface="ＭＳ Ｐゴシック" pitchFamily="50" charset="-128"/>
                <a:cs typeface="+mn-cs"/>
              </a:rPr>
              <a:t>4. Plan</a:t>
            </a:r>
            <a:br>
              <a:rPr lang="en-US" sz="825" b="1" kern="1200" dirty="0">
                <a:solidFill>
                  <a:prstClr val="white"/>
                </a:solidFill>
                <a:ea typeface="ＭＳ Ｐゴシック" pitchFamily="50" charset="-128"/>
                <a:cs typeface="+mn-cs"/>
              </a:rPr>
            </a:br>
            <a:r>
              <a:rPr lang="en-US" sz="825" b="1" kern="1200" dirty="0">
                <a:solidFill>
                  <a:prstClr val="white"/>
                </a:solidFill>
                <a:ea typeface="ＭＳ Ｐゴシック" pitchFamily="50" charset="-128"/>
                <a:cs typeface="+mn-cs"/>
              </a:rPr>
              <a:t>implementation</a:t>
            </a:r>
            <a:endParaRPr lang="en-US" altLang="ja-JP" sz="825" b="1" kern="1200" dirty="0">
              <a:solidFill>
                <a:prstClr val="white"/>
              </a:solidFill>
              <a:ea typeface="ＭＳ Ｐゴシック" pitchFamily="50" charset="-128"/>
              <a:cs typeface="+mn-cs"/>
            </a:endParaRPr>
          </a:p>
        </p:txBody>
      </p:sp>
      <p:sp>
        <p:nvSpPr>
          <p:cNvPr id="778267" name="Rectangle 30"/>
          <p:cNvSpPr>
            <a:spLocks noChangeArrowheads="1"/>
          </p:cNvSpPr>
          <p:nvPr/>
        </p:nvSpPr>
        <p:spPr bwMode="auto">
          <a:xfrm>
            <a:off x="6280547" y="1894283"/>
            <a:ext cx="945000" cy="2025000"/>
          </a:xfrm>
          <a:prstGeom prst="rect">
            <a:avLst/>
          </a:prstGeom>
          <a:solidFill>
            <a:srgbClr val="DCDCDC"/>
          </a:solidFill>
          <a:ln w="12700" algn="ctr">
            <a:solidFill>
              <a:schemeClr val="bg1"/>
            </a:solidFill>
            <a:miter lim="800000"/>
            <a:headEnd type="none" w="sm" len="sm"/>
            <a:tailEnd type="none" w="sm" len="sm"/>
          </a:ln>
        </p:spPr>
        <p:txBody>
          <a:bodyPr wrap="square" lIns="27000" tIns="27000" rIns="27000" bIns="27000" anchor="ctr"/>
          <a:lstStyle/>
          <a:p>
            <a:pPr algn="ctr" defTabSz="685800">
              <a:buClrTx/>
            </a:pPr>
            <a:endParaRPr lang="en-US" sz="900" kern="1200">
              <a:solidFill>
                <a:prstClr val="black"/>
              </a:solidFill>
              <a:ea typeface="ＭＳ Ｐゴシック" charset="-128"/>
              <a:cs typeface="+mn-cs"/>
            </a:endParaRPr>
          </a:p>
        </p:txBody>
      </p:sp>
      <p:sp>
        <p:nvSpPr>
          <p:cNvPr id="778268" name="AutoShape 31"/>
          <p:cNvSpPr>
            <a:spLocks noChangeArrowheads="1"/>
          </p:cNvSpPr>
          <p:nvPr/>
        </p:nvSpPr>
        <p:spPr bwMode="auto">
          <a:xfrm>
            <a:off x="6595079" y="2513308"/>
            <a:ext cx="345281" cy="97631"/>
          </a:xfrm>
          <a:prstGeom prst="triangle">
            <a:avLst>
              <a:gd name="adj" fmla="val 50000"/>
            </a:avLst>
          </a:prstGeom>
          <a:solidFill>
            <a:srgbClr val="B4B4B4"/>
          </a:solidFill>
          <a:ln w="12700" algn="ctr">
            <a:solidFill>
              <a:schemeClr val="bg1"/>
            </a:solidFill>
            <a:miter lim="800000"/>
            <a:headEnd type="none" w="sm" len="sm"/>
            <a:tailEnd type="none" w="sm" len="sm"/>
          </a:ln>
        </p:spPr>
        <p:txBody>
          <a:bodyPr wrap="square" lIns="27000" tIns="27000" rIns="27000" bIns="27000" anchor="ctr"/>
          <a:lstStyle/>
          <a:p>
            <a:pPr algn="ctr" defTabSz="685800">
              <a:buClrTx/>
            </a:pPr>
            <a:endParaRPr lang="en-US" sz="900" kern="1200">
              <a:solidFill>
                <a:prstClr val="white"/>
              </a:solidFill>
              <a:ea typeface="+mn-ea"/>
              <a:cs typeface="+mn-cs"/>
            </a:endParaRPr>
          </a:p>
        </p:txBody>
      </p:sp>
      <p:sp>
        <p:nvSpPr>
          <p:cNvPr id="778269" name="AutoShape 32"/>
          <p:cNvSpPr>
            <a:spLocks noChangeArrowheads="1"/>
          </p:cNvSpPr>
          <p:nvPr/>
        </p:nvSpPr>
        <p:spPr bwMode="auto">
          <a:xfrm flipV="1">
            <a:off x="6595079" y="3201214"/>
            <a:ext cx="345281" cy="98822"/>
          </a:xfrm>
          <a:prstGeom prst="triangle">
            <a:avLst>
              <a:gd name="adj" fmla="val 50000"/>
            </a:avLst>
          </a:prstGeom>
          <a:solidFill>
            <a:srgbClr val="B4B4B4"/>
          </a:solidFill>
          <a:ln w="12700" algn="ctr">
            <a:solidFill>
              <a:schemeClr val="bg1"/>
            </a:solidFill>
            <a:miter lim="800000"/>
            <a:headEnd type="none" w="sm" len="sm"/>
            <a:tailEnd type="none" w="sm" len="sm"/>
          </a:ln>
        </p:spPr>
        <p:txBody>
          <a:bodyPr rot="10800000" wrap="square" lIns="27000" tIns="27000" rIns="27000" bIns="27000" anchor="ctr"/>
          <a:lstStyle/>
          <a:p>
            <a:pPr algn="ctr" defTabSz="685800">
              <a:buClrTx/>
            </a:pPr>
            <a:endParaRPr lang="en-US" sz="900" kern="1200">
              <a:solidFill>
                <a:prstClr val="white"/>
              </a:solidFill>
              <a:ea typeface="+mn-ea"/>
              <a:cs typeface="+mn-cs"/>
            </a:endParaRPr>
          </a:p>
        </p:txBody>
      </p:sp>
      <p:sp>
        <p:nvSpPr>
          <p:cNvPr id="778270" name="Rectangle 33"/>
          <p:cNvSpPr>
            <a:spLocks noChangeArrowheads="1"/>
          </p:cNvSpPr>
          <p:nvPr/>
        </p:nvSpPr>
        <p:spPr bwMode="auto">
          <a:xfrm>
            <a:off x="6362719" y="1948172"/>
            <a:ext cx="810000" cy="472500"/>
          </a:xfrm>
          <a:prstGeom prst="rect">
            <a:avLst/>
          </a:prstGeom>
          <a:solidFill>
            <a:schemeClr val="bg1"/>
          </a:solidFill>
          <a:ln w="12700">
            <a:solidFill>
              <a:srgbClr val="B4B4B4"/>
            </a:solidFill>
            <a:miter lim="800000"/>
            <a:headEnd type="none" w="sm" len="sm"/>
            <a:tailEnd type="none" w="sm" len="sm"/>
          </a:ln>
        </p:spPr>
        <p:txBody>
          <a:bodyPr wrap="square" lIns="27000" tIns="27000" rIns="27000" bIns="27000" anchor="ctr"/>
          <a:lstStyle/>
          <a:p>
            <a:pPr algn="ctr" defTabSz="685800">
              <a:buClrTx/>
            </a:pPr>
            <a:r>
              <a:rPr lang="en-US" altLang="ja-JP" sz="825" kern="1200" dirty="0">
                <a:solidFill>
                  <a:srgbClr val="313131"/>
                </a:solidFill>
                <a:ea typeface="ＭＳ Ｐゴシック" charset="-128"/>
                <a:cs typeface="+mn-cs"/>
              </a:rPr>
              <a:t>Action plan</a:t>
            </a:r>
          </a:p>
        </p:txBody>
      </p:sp>
      <p:sp>
        <p:nvSpPr>
          <p:cNvPr id="778271" name="Rectangle 34"/>
          <p:cNvSpPr>
            <a:spLocks noChangeArrowheads="1"/>
          </p:cNvSpPr>
          <p:nvPr/>
        </p:nvSpPr>
        <p:spPr bwMode="auto">
          <a:xfrm>
            <a:off x="6362719" y="3392672"/>
            <a:ext cx="810000" cy="472500"/>
          </a:xfrm>
          <a:prstGeom prst="rect">
            <a:avLst/>
          </a:prstGeom>
          <a:solidFill>
            <a:schemeClr val="bg1"/>
          </a:solidFill>
          <a:ln w="12700">
            <a:solidFill>
              <a:srgbClr val="B4B4B4"/>
            </a:solidFill>
            <a:miter lim="800000"/>
            <a:headEnd type="none" w="sm" len="sm"/>
            <a:tailEnd type="none" w="sm" len="sm"/>
          </a:ln>
        </p:spPr>
        <p:txBody>
          <a:bodyPr wrap="square" lIns="27000" tIns="27000" rIns="27000" bIns="27000" anchor="ctr"/>
          <a:lstStyle/>
          <a:p>
            <a:pPr algn="ctr" defTabSz="685800">
              <a:buClrTx/>
            </a:pPr>
            <a:r>
              <a:rPr lang="en-US" altLang="ja-JP" sz="825" kern="1200" dirty="0">
                <a:solidFill>
                  <a:srgbClr val="313131"/>
                </a:solidFill>
                <a:ea typeface="ＭＳ Ｐゴシック" charset="-128"/>
                <a:cs typeface="+mn-cs"/>
              </a:rPr>
              <a:t>Financial plan</a:t>
            </a:r>
          </a:p>
        </p:txBody>
      </p:sp>
      <p:sp>
        <p:nvSpPr>
          <p:cNvPr id="778272" name="Oval 35"/>
          <p:cNvSpPr>
            <a:spLocks noChangeArrowheads="1"/>
          </p:cNvSpPr>
          <p:nvPr/>
        </p:nvSpPr>
        <p:spPr bwMode="auto">
          <a:xfrm>
            <a:off x="6322219" y="2703576"/>
            <a:ext cx="891000" cy="405000"/>
          </a:xfrm>
          <a:prstGeom prst="ellipse">
            <a:avLst/>
          </a:prstGeom>
          <a:solidFill>
            <a:srgbClr val="575757"/>
          </a:solidFill>
          <a:ln w="12700" algn="ctr">
            <a:solidFill>
              <a:schemeClr val="bg1"/>
            </a:solidFill>
            <a:round/>
            <a:headEnd type="none" w="sm" len="sm"/>
            <a:tailEnd type="none" w="sm" len="sm"/>
          </a:ln>
        </p:spPr>
        <p:txBody>
          <a:bodyPr wrap="square" lIns="13500" tIns="13500" rIns="13500" bIns="13500" anchor="ctr"/>
          <a:lstStyle/>
          <a:p>
            <a:pPr algn="ctr" defTabSz="685800">
              <a:buClrTx/>
            </a:pPr>
            <a:r>
              <a:rPr lang="en-US" altLang="ja-JP" sz="825" kern="1200">
                <a:solidFill>
                  <a:prstClr val="white"/>
                </a:solidFill>
                <a:ea typeface="ＭＳ Ｐゴシック" charset="-128"/>
                <a:cs typeface="+mn-cs"/>
              </a:rPr>
              <a:t>Plans</a:t>
            </a:r>
            <a:endParaRPr lang="en-US" altLang="ja-JP" sz="825" kern="1200" dirty="0">
              <a:solidFill>
                <a:prstClr val="white"/>
              </a:solidFill>
              <a:ea typeface="ＭＳ Ｐゴシック" charset="-128"/>
              <a:cs typeface="+mn-cs"/>
            </a:endParaRPr>
          </a:p>
        </p:txBody>
      </p:sp>
      <p:sp>
        <p:nvSpPr>
          <p:cNvPr id="778273" name="Rectangle 36"/>
          <p:cNvSpPr>
            <a:spLocks noChangeArrowheads="1"/>
          </p:cNvSpPr>
          <p:nvPr/>
        </p:nvSpPr>
        <p:spPr bwMode="auto">
          <a:xfrm>
            <a:off x="5136356" y="1894283"/>
            <a:ext cx="945000" cy="2025000"/>
          </a:xfrm>
          <a:prstGeom prst="rect">
            <a:avLst/>
          </a:prstGeom>
          <a:solidFill>
            <a:srgbClr val="DCDCDC"/>
          </a:solidFill>
          <a:ln w="12700" algn="ctr">
            <a:solidFill>
              <a:schemeClr val="bg1"/>
            </a:solidFill>
            <a:miter lim="800000"/>
            <a:headEnd type="none" w="sm" len="sm"/>
            <a:tailEnd type="none" w="sm" len="sm"/>
          </a:ln>
        </p:spPr>
        <p:txBody>
          <a:bodyPr wrap="square" lIns="27000" tIns="27000" rIns="27000" bIns="27000" anchor="ctr"/>
          <a:lstStyle/>
          <a:p>
            <a:pPr algn="ctr" defTabSz="685800">
              <a:buClrTx/>
            </a:pPr>
            <a:endParaRPr lang="en-US" sz="900" kern="1200">
              <a:solidFill>
                <a:prstClr val="black"/>
              </a:solidFill>
              <a:ea typeface="ＭＳ Ｐゴシック" charset="-128"/>
              <a:cs typeface="+mn-cs"/>
            </a:endParaRPr>
          </a:p>
        </p:txBody>
      </p:sp>
      <p:sp>
        <p:nvSpPr>
          <p:cNvPr id="778274" name="AutoShape 37"/>
          <p:cNvSpPr>
            <a:spLocks noChangeArrowheads="1"/>
          </p:cNvSpPr>
          <p:nvPr/>
        </p:nvSpPr>
        <p:spPr bwMode="auto">
          <a:xfrm flipV="1">
            <a:off x="5437406" y="2513308"/>
            <a:ext cx="342900" cy="97631"/>
          </a:xfrm>
          <a:prstGeom prst="triangle">
            <a:avLst>
              <a:gd name="adj" fmla="val 50000"/>
            </a:avLst>
          </a:prstGeom>
          <a:solidFill>
            <a:srgbClr val="B4B4B4"/>
          </a:solidFill>
          <a:ln w="12700" algn="ctr">
            <a:solidFill>
              <a:schemeClr val="bg1"/>
            </a:solidFill>
            <a:miter lim="800000"/>
            <a:headEnd type="none" w="sm" len="sm"/>
            <a:tailEnd type="none" w="sm" len="sm"/>
          </a:ln>
        </p:spPr>
        <p:txBody>
          <a:bodyPr rot="10800000" wrap="square" lIns="27000" tIns="27000" rIns="27000" bIns="27000" anchor="ctr"/>
          <a:lstStyle/>
          <a:p>
            <a:pPr algn="ctr" defTabSz="685800">
              <a:buClrTx/>
            </a:pPr>
            <a:endParaRPr lang="en-US" sz="900" kern="1200">
              <a:solidFill>
                <a:prstClr val="white"/>
              </a:solidFill>
              <a:ea typeface="+mn-ea"/>
              <a:cs typeface="+mn-cs"/>
            </a:endParaRPr>
          </a:p>
        </p:txBody>
      </p:sp>
      <p:sp>
        <p:nvSpPr>
          <p:cNvPr id="778275" name="AutoShape 38"/>
          <p:cNvSpPr>
            <a:spLocks noChangeArrowheads="1"/>
          </p:cNvSpPr>
          <p:nvPr/>
        </p:nvSpPr>
        <p:spPr bwMode="auto">
          <a:xfrm>
            <a:off x="5437406" y="3201214"/>
            <a:ext cx="342900" cy="98822"/>
          </a:xfrm>
          <a:prstGeom prst="triangle">
            <a:avLst>
              <a:gd name="adj" fmla="val 50000"/>
            </a:avLst>
          </a:prstGeom>
          <a:solidFill>
            <a:srgbClr val="B4B4B4"/>
          </a:solidFill>
          <a:ln w="12700" algn="ctr">
            <a:solidFill>
              <a:schemeClr val="bg1"/>
            </a:solidFill>
            <a:miter lim="800000"/>
            <a:headEnd type="none" w="sm" len="sm"/>
            <a:tailEnd type="none" w="sm" len="sm"/>
          </a:ln>
        </p:spPr>
        <p:txBody>
          <a:bodyPr wrap="square" lIns="27000" tIns="27000" rIns="27000" bIns="27000" anchor="ctr"/>
          <a:lstStyle/>
          <a:p>
            <a:pPr algn="ctr" defTabSz="685800">
              <a:buClrTx/>
            </a:pPr>
            <a:endParaRPr lang="en-US" sz="900" kern="1200">
              <a:solidFill>
                <a:prstClr val="white"/>
              </a:solidFill>
              <a:ea typeface="+mn-ea"/>
              <a:cs typeface="+mn-cs"/>
            </a:endParaRPr>
          </a:p>
        </p:txBody>
      </p:sp>
      <p:sp>
        <p:nvSpPr>
          <p:cNvPr id="778276" name="Rectangle 39"/>
          <p:cNvSpPr>
            <a:spLocks noChangeArrowheads="1"/>
          </p:cNvSpPr>
          <p:nvPr/>
        </p:nvSpPr>
        <p:spPr bwMode="auto">
          <a:xfrm>
            <a:off x="5203856" y="1948172"/>
            <a:ext cx="810000" cy="472500"/>
          </a:xfrm>
          <a:prstGeom prst="rect">
            <a:avLst/>
          </a:prstGeom>
          <a:solidFill>
            <a:schemeClr val="bg1"/>
          </a:solidFill>
          <a:ln w="12700">
            <a:solidFill>
              <a:srgbClr val="B4B4B4"/>
            </a:solidFill>
            <a:miter lim="800000"/>
            <a:headEnd type="none" w="sm" len="sm"/>
            <a:tailEnd type="none" w="sm" len="sm"/>
          </a:ln>
        </p:spPr>
        <p:txBody>
          <a:bodyPr wrap="square" lIns="27000" tIns="27000" rIns="27000" bIns="27000" anchor="ctr"/>
          <a:lstStyle/>
          <a:p>
            <a:pPr algn="ctr" defTabSz="685800">
              <a:buClrTx/>
            </a:pPr>
            <a:r>
              <a:rPr lang="en-US" altLang="ja-JP" sz="825" kern="1200" dirty="0">
                <a:solidFill>
                  <a:srgbClr val="313131"/>
                </a:solidFill>
                <a:ea typeface="ＭＳ Ｐゴシック" charset="-128"/>
                <a:cs typeface="+mn-cs"/>
              </a:rPr>
              <a:t>Strategic options</a:t>
            </a:r>
          </a:p>
        </p:txBody>
      </p:sp>
      <p:sp>
        <p:nvSpPr>
          <p:cNvPr id="778277" name="Rectangle 40"/>
          <p:cNvSpPr>
            <a:spLocks noChangeArrowheads="1"/>
          </p:cNvSpPr>
          <p:nvPr/>
        </p:nvSpPr>
        <p:spPr bwMode="auto">
          <a:xfrm>
            <a:off x="5203856" y="3392672"/>
            <a:ext cx="810000" cy="472500"/>
          </a:xfrm>
          <a:prstGeom prst="rect">
            <a:avLst/>
          </a:prstGeom>
          <a:solidFill>
            <a:schemeClr val="bg1"/>
          </a:solidFill>
          <a:ln w="12700">
            <a:solidFill>
              <a:srgbClr val="B4B4B4"/>
            </a:solidFill>
            <a:miter lim="800000"/>
            <a:headEnd type="none" w="sm" len="sm"/>
            <a:tailEnd type="none" w="sm" len="sm"/>
          </a:ln>
        </p:spPr>
        <p:txBody>
          <a:bodyPr wrap="square" lIns="27000" tIns="27000" rIns="27000" bIns="27000" anchor="ctr"/>
          <a:lstStyle/>
          <a:p>
            <a:pPr algn="ctr" defTabSz="685800">
              <a:buClrTx/>
            </a:pPr>
            <a:r>
              <a:rPr lang="en-US" altLang="ja-JP" sz="825" kern="1200" dirty="0">
                <a:solidFill>
                  <a:srgbClr val="313131"/>
                </a:solidFill>
                <a:ea typeface="ＭＳ Ｐゴシック" charset="-128"/>
                <a:cs typeface="+mn-cs"/>
              </a:rPr>
              <a:t>Risk and reward</a:t>
            </a:r>
          </a:p>
        </p:txBody>
      </p:sp>
      <p:sp>
        <p:nvSpPr>
          <p:cNvPr id="778278" name="Oval 41"/>
          <p:cNvSpPr>
            <a:spLocks noChangeArrowheads="1"/>
          </p:cNvSpPr>
          <p:nvPr/>
        </p:nvSpPr>
        <p:spPr bwMode="auto">
          <a:xfrm>
            <a:off x="5163356" y="2703576"/>
            <a:ext cx="891000" cy="405000"/>
          </a:xfrm>
          <a:prstGeom prst="ellipse">
            <a:avLst/>
          </a:prstGeom>
          <a:solidFill>
            <a:srgbClr val="575757"/>
          </a:solidFill>
          <a:ln w="12700" algn="ctr">
            <a:solidFill>
              <a:schemeClr val="bg1"/>
            </a:solidFill>
            <a:round/>
            <a:headEnd type="none" w="sm" len="sm"/>
            <a:tailEnd type="none" w="sm" len="sm"/>
          </a:ln>
        </p:spPr>
        <p:txBody>
          <a:bodyPr wrap="square" lIns="13500" tIns="13500" rIns="13500" bIns="13500" anchor="ctr"/>
          <a:lstStyle/>
          <a:p>
            <a:pPr algn="ctr" defTabSz="685800">
              <a:buClrTx/>
            </a:pPr>
            <a:r>
              <a:rPr lang="en-US" altLang="ja-JP" sz="825" kern="1200" dirty="0">
                <a:solidFill>
                  <a:prstClr val="white"/>
                </a:solidFill>
                <a:ea typeface="ＭＳ Ｐゴシック" charset="-128"/>
                <a:cs typeface="+mn-cs"/>
              </a:rPr>
              <a:t>Strategic direction</a:t>
            </a:r>
          </a:p>
        </p:txBody>
      </p:sp>
      <p:sp>
        <p:nvSpPr>
          <p:cNvPr id="46" name="AutoShape 42"/>
          <p:cNvSpPr>
            <a:spLocks noChangeArrowheads="1"/>
          </p:cNvSpPr>
          <p:nvPr/>
        </p:nvSpPr>
        <p:spPr bwMode="auto">
          <a:xfrm>
            <a:off x="2905126" y="4080272"/>
            <a:ext cx="1364456" cy="432197"/>
          </a:xfrm>
          <a:prstGeom prst="chevron">
            <a:avLst>
              <a:gd name="adj" fmla="val 27802"/>
            </a:avLst>
          </a:prstGeom>
          <a:solidFill>
            <a:srgbClr val="00A1DE"/>
          </a:solidFill>
          <a:ln w="12700" algn="ctr">
            <a:solidFill>
              <a:schemeClr val="bg1"/>
            </a:solidFill>
            <a:miter lim="800000"/>
            <a:headEnd type="none" w="sm" len="sm"/>
            <a:tailEnd type="none" w="sm" len="sm"/>
          </a:ln>
        </p:spPr>
        <p:txBody>
          <a:bodyPr wrap="square" lIns="27000" tIns="27000" rIns="27000" bIns="27000" anchor="ctr"/>
          <a:lstStyle/>
          <a:p>
            <a:pPr algn="ctr" defTabSz="685800">
              <a:buClrTx/>
              <a:defRPr/>
            </a:pPr>
            <a:r>
              <a:rPr lang="en-US" altLang="ja-JP" sz="825" b="1" kern="1200" dirty="0">
                <a:solidFill>
                  <a:prstClr val="white"/>
                </a:solidFill>
                <a:ea typeface="ＭＳ Ｐゴシック" pitchFamily="50" charset="-128"/>
                <a:cs typeface="+mn-cs"/>
              </a:rPr>
              <a:t>Desk research and interviews</a:t>
            </a:r>
          </a:p>
        </p:txBody>
      </p:sp>
      <p:sp>
        <p:nvSpPr>
          <p:cNvPr id="47" name="AutoShape 43"/>
          <p:cNvSpPr>
            <a:spLocks noChangeArrowheads="1"/>
          </p:cNvSpPr>
          <p:nvPr/>
        </p:nvSpPr>
        <p:spPr bwMode="auto">
          <a:xfrm>
            <a:off x="1829991" y="4080272"/>
            <a:ext cx="1156097" cy="432197"/>
          </a:xfrm>
          <a:prstGeom prst="homePlate">
            <a:avLst>
              <a:gd name="adj" fmla="val 28686"/>
            </a:avLst>
          </a:prstGeom>
          <a:solidFill>
            <a:srgbClr val="00A1DE"/>
          </a:solidFill>
          <a:ln w="12700" algn="ctr">
            <a:solidFill>
              <a:schemeClr val="bg1"/>
            </a:solidFill>
            <a:miter lim="800000"/>
            <a:headEnd type="none" w="sm" len="sm"/>
            <a:tailEnd type="none" w="sm" len="sm"/>
          </a:ln>
        </p:spPr>
        <p:txBody>
          <a:bodyPr wrap="square" lIns="27000" tIns="27000" rIns="27000" bIns="27000" anchor="ctr"/>
          <a:lstStyle/>
          <a:p>
            <a:pPr algn="ctr" defTabSz="685800">
              <a:buClrTx/>
              <a:defRPr/>
            </a:pPr>
            <a:r>
              <a:rPr lang="en-US" altLang="ja-JP" sz="825" b="1" kern="1200" dirty="0">
                <a:solidFill>
                  <a:prstClr val="white"/>
                </a:solidFill>
                <a:ea typeface="ＭＳ Ｐゴシック" pitchFamily="50" charset="-128"/>
                <a:cs typeface="+mn-cs"/>
              </a:rPr>
              <a:t>Interviews and workshops</a:t>
            </a:r>
          </a:p>
        </p:txBody>
      </p:sp>
      <p:sp>
        <p:nvSpPr>
          <p:cNvPr id="48" name="AutoShape 44"/>
          <p:cNvSpPr>
            <a:spLocks noChangeArrowheads="1"/>
          </p:cNvSpPr>
          <p:nvPr/>
        </p:nvSpPr>
        <p:spPr bwMode="auto">
          <a:xfrm>
            <a:off x="4188619" y="4080272"/>
            <a:ext cx="1843088" cy="432197"/>
          </a:xfrm>
          <a:prstGeom prst="chevron">
            <a:avLst>
              <a:gd name="adj" fmla="val 29754"/>
            </a:avLst>
          </a:prstGeom>
          <a:solidFill>
            <a:srgbClr val="00A1DE"/>
          </a:solidFill>
          <a:ln w="12700" algn="ctr">
            <a:solidFill>
              <a:schemeClr val="bg1"/>
            </a:solidFill>
            <a:miter lim="800000"/>
            <a:headEnd type="none" w="sm" len="sm"/>
            <a:tailEnd type="none" w="sm" len="sm"/>
          </a:ln>
        </p:spPr>
        <p:txBody>
          <a:bodyPr wrap="square" lIns="27000" tIns="27000" rIns="27000" bIns="27000" anchor="ctr"/>
          <a:lstStyle/>
          <a:p>
            <a:pPr algn="ctr" defTabSz="685800">
              <a:buClrTx/>
              <a:defRPr/>
            </a:pPr>
            <a:r>
              <a:rPr lang="en-US" altLang="ja-JP" sz="825" b="1" kern="1200" dirty="0">
                <a:solidFill>
                  <a:prstClr val="white"/>
                </a:solidFill>
                <a:ea typeface="ＭＳ Ｐゴシック" pitchFamily="50" charset="-128"/>
                <a:cs typeface="+mn-cs"/>
              </a:rPr>
              <a:t>Workshops and analyses</a:t>
            </a:r>
          </a:p>
        </p:txBody>
      </p:sp>
      <p:sp>
        <p:nvSpPr>
          <p:cNvPr id="49" name="AutoShape 45"/>
          <p:cNvSpPr>
            <a:spLocks noChangeArrowheads="1"/>
          </p:cNvSpPr>
          <p:nvPr/>
        </p:nvSpPr>
        <p:spPr bwMode="auto">
          <a:xfrm>
            <a:off x="5950744" y="4080272"/>
            <a:ext cx="1498997" cy="432197"/>
          </a:xfrm>
          <a:prstGeom prst="chevron">
            <a:avLst>
              <a:gd name="adj" fmla="val 30967"/>
            </a:avLst>
          </a:prstGeom>
          <a:solidFill>
            <a:srgbClr val="00A1DE"/>
          </a:solidFill>
          <a:ln w="12700" algn="ctr">
            <a:solidFill>
              <a:schemeClr val="bg1"/>
            </a:solidFill>
            <a:miter lim="800000"/>
            <a:headEnd type="none" w="sm" len="sm"/>
            <a:tailEnd type="none" w="sm" len="sm"/>
          </a:ln>
        </p:spPr>
        <p:txBody>
          <a:bodyPr wrap="square" lIns="27000" tIns="27000" rIns="27000" bIns="27000" anchor="ctr"/>
          <a:lstStyle/>
          <a:p>
            <a:pPr algn="ctr" defTabSz="685800">
              <a:buClrTx/>
              <a:defRPr/>
            </a:pPr>
            <a:r>
              <a:rPr lang="en-US" altLang="ja-JP" sz="825" b="1" kern="1200" dirty="0">
                <a:solidFill>
                  <a:prstClr val="white"/>
                </a:solidFill>
                <a:ea typeface="ＭＳ Ｐゴシック" pitchFamily="50" charset="-128"/>
                <a:cs typeface="+mn-cs"/>
              </a:rPr>
              <a:t>Business plan writing</a:t>
            </a:r>
          </a:p>
        </p:txBody>
      </p:sp>
      <p:sp>
        <p:nvSpPr>
          <p:cNvPr id="45"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Tree>
  </p:cSld>
  <p:clrMapOvr>
    <a:masterClrMapping/>
  </p:clrMapOvr>
  <p:transition>
    <p:fade/>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2337" name="Title 1"/>
          <p:cNvSpPr>
            <a:spLocks noGrp="1"/>
          </p:cNvSpPr>
          <p:nvPr>
            <p:ph type="title"/>
          </p:nvPr>
        </p:nvSpPr>
        <p:spPr/>
        <p:txBody>
          <a:bodyPr/>
          <a:lstStyle/>
          <a:p>
            <a:r>
              <a:rPr lang="en-US"/>
              <a:t>Restructuring framework</a:t>
            </a:r>
          </a:p>
        </p:txBody>
      </p:sp>
      <p:sp>
        <p:nvSpPr>
          <p:cNvPr id="782339" name="AutoShape 3"/>
          <p:cNvSpPr>
            <a:spLocks noChangeArrowheads="1"/>
          </p:cNvSpPr>
          <p:nvPr/>
        </p:nvSpPr>
        <p:spPr bwMode="auto">
          <a:xfrm>
            <a:off x="5904310" y="2984898"/>
            <a:ext cx="458390" cy="239315"/>
          </a:xfrm>
          <a:prstGeom prst="rightArrow">
            <a:avLst>
              <a:gd name="adj1" fmla="val 50000"/>
              <a:gd name="adj2" fmla="val 43044"/>
            </a:avLst>
          </a:prstGeom>
          <a:solidFill>
            <a:srgbClr val="313131"/>
          </a:solidFill>
          <a:ln w="12700" algn="ctr">
            <a:solidFill>
              <a:schemeClr val="bg1"/>
            </a:solidFill>
            <a:miter lim="800000"/>
            <a:headEnd type="none" w="sm" len="sm"/>
            <a:tailEnd type="none" w="sm" len="sm"/>
          </a:ln>
        </p:spPr>
        <p:txBody>
          <a:bodyPr wrap="square" lIns="27000" tIns="27000" rIns="27000" bIns="27000" anchor="ctr">
            <a:noAutofit/>
          </a:bodyPr>
          <a:lstStyle/>
          <a:p>
            <a:pPr algn="ctr" defTabSz="685800">
              <a:buClrTx/>
            </a:pPr>
            <a:endParaRPr lang="en-US" sz="900" kern="1200">
              <a:solidFill>
                <a:prstClr val="white"/>
              </a:solidFill>
              <a:ea typeface="+mn-ea"/>
              <a:cs typeface="+mn-cs"/>
            </a:endParaRPr>
          </a:p>
        </p:txBody>
      </p:sp>
      <p:sp>
        <p:nvSpPr>
          <p:cNvPr id="782340" name="AutoShape 4"/>
          <p:cNvSpPr>
            <a:spLocks noChangeArrowheads="1"/>
          </p:cNvSpPr>
          <p:nvPr/>
        </p:nvSpPr>
        <p:spPr bwMode="auto">
          <a:xfrm>
            <a:off x="4826794" y="2964656"/>
            <a:ext cx="521494" cy="239316"/>
          </a:xfrm>
          <a:prstGeom prst="rightArrow">
            <a:avLst>
              <a:gd name="adj1" fmla="val 50000"/>
              <a:gd name="adj2" fmla="val 48969"/>
            </a:avLst>
          </a:prstGeom>
          <a:solidFill>
            <a:srgbClr val="313131"/>
          </a:solidFill>
          <a:ln w="12700" algn="ctr">
            <a:solidFill>
              <a:schemeClr val="bg1"/>
            </a:solidFill>
            <a:miter lim="800000"/>
            <a:headEnd type="none" w="sm" len="sm"/>
            <a:tailEnd type="none" w="sm" len="sm"/>
          </a:ln>
        </p:spPr>
        <p:txBody>
          <a:bodyPr wrap="square" lIns="27000" tIns="27000" rIns="27000" bIns="27000" anchor="ctr">
            <a:noAutofit/>
          </a:bodyPr>
          <a:lstStyle/>
          <a:p>
            <a:pPr algn="ctr" defTabSz="685800">
              <a:buClrTx/>
            </a:pPr>
            <a:endParaRPr lang="en-US" sz="900" kern="1200">
              <a:solidFill>
                <a:prstClr val="white"/>
              </a:solidFill>
              <a:ea typeface="+mn-ea"/>
              <a:cs typeface="+mn-cs"/>
            </a:endParaRPr>
          </a:p>
        </p:txBody>
      </p:sp>
      <p:sp>
        <p:nvSpPr>
          <p:cNvPr id="782341" name="AutoShape 5"/>
          <p:cNvSpPr>
            <a:spLocks noChangeArrowheads="1"/>
          </p:cNvSpPr>
          <p:nvPr/>
        </p:nvSpPr>
        <p:spPr bwMode="auto">
          <a:xfrm>
            <a:off x="2524125" y="2964656"/>
            <a:ext cx="458391" cy="239316"/>
          </a:xfrm>
          <a:prstGeom prst="rightArrow">
            <a:avLst>
              <a:gd name="adj1" fmla="val 50000"/>
              <a:gd name="adj2" fmla="val 43044"/>
            </a:avLst>
          </a:prstGeom>
          <a:solidFill>
            <a:srgbClr val="313131"/>
          </a:solidFill>
          <a:ln w="12700" algn="ctr">
            <a:solidFill>
              <a:schemeClr val="bg1"/>
            </a:solidFill>
            <a:miter lim="800000"/>
            <a:headEnd type="none" w="sm" len="sm"/>
            <a:tailEnd type="none" w="sm" len="sm"/>
          </a:ln>
        </p:spPr>
        <p:txBody>
          <a:bodyPr wrap="square" lIns="27000" tIns="27000" rIns="27000" bIns="27000" anchor="ctr">
            <a:noAutofit/>
          </a:bodyPr>
          <a:lstStyle/>
          <a:p>
            <a:pPr algn="ctr" defTabSz="685800">
              <a:buClrTx/>
            </a:pPr>
            <a:endParaRPr lang="en-US" sz="900" kern="1200">
              <a:solidFill>
                <a:prstClr val="white"/>
              </a:solidFill>
              <a:ea typeface="+mn-ea"/>
              <a:cs typeface="+mn-cs"/>
            </a:endParaRPr>
          </a:p>
        </p:txBody>
      </p:sp>
      <p:sp>
        <p:nvSpPr>
          <p:cNvPr id="782342" name="AutoShape 6"/>
          <p:cNvSpPr>
            <a:spLocks noChangeArrowheads="1"/>
          </p:cNvSpPr>
          <p:nvPr/>
        </p:nvSpPr>
        <p:spPr bwMode="auto">
          <a:xfrm>
            <a:off x="3690938" y="2964656"/>
            <a:ext cx="459581" cy="239316"/>
          </a:xfrm>
          <a:prstGeom prst="rightArrow">
            <a:avLst>
              <a:gd name="adj1" fmla="val 50000"/>
              <a:gd name="adj2" fmla="val 43156"/>
            </a:avLst>
          </a:prstGeom>
          <a:solidFill>
            <a:srgbClr val="313131"/>
          </a:solidFill>
          <a:ln w="12700" algn="ctr">
            <a:solidFill>
              <a:schemeClr val="bg1"/>
            </a:solidFill>
            <a:miter lim="800000"/>
            <a:headEnd type="none" w="sm" len="sm"/>
            <a:tailEnd type="none" w="sm" len="sm"/>
          </a:ln>
        </p:spPr>
        <p:txBody>
          <a:bodyPr wrap="square" lIns="27000" tIns="27000" rIns="27000" bIns="27000" anchor="ctr">
            <a:noAutofit/>
          </a:bodyPr>
          <a:lstStyle/>
          <a:p>
            <a:pPr algn="ctr" defTabSz="685800">
              <a:buClrTx/>
            </a:pPr>
            <a:endParaRPr lang="en-US" sz="900" kern="1200">
              <a:solidFill>
                <a:prstClr val="white"/>
              </a:solidFill>
              <a:ea typeface="+mn-ea"/>
              <a:cs typeface="+mn-cs"/>
            </a:endParaRPr>
          </a:p>
        </p:txBody>
      </p:sp>
      <p:sp>
        <p:nvSpPr>
          <p:cNvPr id="782343" name="Rectangle 7"/>
          <p:cNvSpPr>
            <a:spLocks noChangeArrowheads="1"/>
          </p:cNvSpPr>
          <p:nvPr/>
        </p:nvSpPr>
        <p:spPr bwMode="auto">
          <a:xfrm>
            <a:off x="4205288" y="2153841"/>
            <a:ext cx="847725" cy="1860947"/>
          </a:xfrm>
          <a:prstGeom prst="rect">
            <a:avLst/>
          </a:prstGeom>
          <a:solidFill>
            <a:srgbClr val="DCDCDC"/>
          </a:solidFill>
          <a:ln w="12700" algn="ctr">
            <a:solidFill>
              <a:schemeClr val="bg1"/>
            </a:solidFill>
            <a:miter lim="800000"/>
            <a:headEnd type="none" w="sm" len="sm"/>
            <a:tailEnd type="none" w="sm" len="sm"/>
          </a:ln>
        </p:spPr>
        <p:txBody>
          <a:bodyPr wrap="square" lIns="27000" tIns="27000" rIns="27000" bIns="27000" anchor="ctr">
            <a:noAutofit/>
          </a:bodyPr>
          <a:lstStyle/>
          <a:p>
            <a:pPr algn="ctr" defTabSz="685800">
              <a:buClrTx/>
            </a:pPr>
            <a:endParaRPr lang="en-US" sz="900" kern="1200">
              <a:solidFill>
                <a:prstClr val="black"/>
              </a:solidFill>
              <a:ea typeface="ＭＳ Ｐゴシック" charset="-128"/>
              <a:cs typeface="+mn-cs"/>
            </a:endParaRPr>
          </a:p>
        </p:txBody>
      </p:sp>
      <p:sp>
        <p:nvSpPr>
          <p:cNvPr id="15" name="AutoShape 8"/>
          <p:cNvSpPr>
            <a:spLocks noChangeArrowheads="1"/>
          </p:cNvSpPr>
          <p:nvPr/>
        </p:nvSpPr>
        <p:spPr bwMode="auto">
          <a:xfrm>
            <a:off x="4067175" y="1631156"/>
            <a:ext cx="2150269" cy="409575"/>
          </a:xfrm>
          <a:prstGeom prst="chevron">
            <a:avLst>
              <a:gd name="adj" fmla="val 28509"/>
            </a:avLst>
          </a:prstGeom>
          <a:solidFill>
            <a:srgbClr val="00A1DE"/>
          </a:solidFill>
          <a:ln w="12700" algn="ctr">
            <a:solidFill>
              <a:schemeClr val="bg1"/>
            </a:solidFill>
            <a:miter lim="800000"/>
            <a:headEnd type="none" w="sm" len="sm"/>
            <a:tailEnd type="none" w="sm" len="sm"/>
          </a:ln>
        </p:spPr>
        <p:txBody>
          <a:bodyPr wrap="square" lIns="27000" tIns="27000" rIns="27000" bIns="27000" anchor="ctr">
            <a:noAutofit/>
          </a:bodyPr>
          <a:lstStyle/>
          <a:p>
            <a:pPr algn="ctr" defTabSz="685800">
              <a:buClrTx/>
              <a:defRPr/>
            </a:pPr>
            <a:r>
              <a:rPr lang="en-US" altLang="ja-JP" sz="825" b="1" kern="1200" dirty="0">
                <a:solidFill>
                  <a:prstClr val="white"/>
                </a:solidFill>
                <a:ea typeface="ＭＳ Ｐゴシック" pitchFamily="50" charset="-128"/>
                <a:cs typeface="+mn-cs"/>
              </a:rPr>
              <a:t>Restructuring concept</a:t>
            </a:r>
          </a:p>
        </p:txBody>
      </p:sp>
      <p:sp>
        <p:nvSpPr>
          <p:cNvPr id="782345" name="AutoShape 9"/>
          <p:cNvSpPr>
            <a:spLocks noChangeArrowheads="1"/>
          </p:cNvSpPr>
          <p:nvPr/>
        </p:nvSpPr>
        <p:spPr bwMode="auto">
          <a:xfrm flipV="1">
            <a:off x="4469606" y="2764632"/>
            <a:ext cx="319088" cy="92869"/>
          </a:xfrm>
          <a:prstGeom prst="triangle">
            <a:avLst>
              <a:gd name="adj" fmla="val 50000"/>
            </a:avLst>
          </a:prstGeom>
          <a:solidFill>
            <a:srgbClr val="B4B4B4"/>
          </a:solidFill>
          <a:ln w="12700" algn="ctr">
            <a:solidFill>
              <a:schemeClr val="bg1"/>
            </a:solidFill>
            <a:miter lim="800000"/>
            <a:headEnd type="none" w="sm" len="sm"/>
            <a:tailEnd type="none" w="sm" len="sm"/>
          </a:ln>
        </p:spPr>
        <p:txBody>
          <a:bodyPr rot="10800000" wrap="square" lIns="27000" tIns="27000" rIns="27000" bIns="27000" anchor="ctr">
            <a:noAutofit/>
          </a:bodyPr>
          <a:lstStyle/>
          <a:p>
            <a:pPr algn="ctr" defTabSz="685800">
              <a:buClrTx/>
            </a:pPr>
            <a:endParaRPr lang="en-US" sz="900" kern="1200">
              <a:solidFill>
                <a:prstClr val="white"/>
              </a:solidFill>
              <a:ea typeface="+mn-ea"/>
              <a:cs typeface="+mn-cs"/>
            </a:endParaRPr>
          </a:p>
        </p:txBody>
      </p:sp>
      <p:sp>
        <p:nvSpPr>
          <p:cNvPr id="782346" name="AutoShape 10"/>
          <p:cNvSpPr>
            <a:spLocks noChangeArrowheads="1"/>
          </p:cNvSpPr>
          <p:nvPr/>
        </p:nvSpPr>
        <p:spPr bwMode="auto">
          <a:xfrm>
            <a:off x="4469606" y="3345657"/>
            <a:ext cx="319088" cy="94060"/>
          </a:xfrm>
          <a:prstGeom prst="triangle">
            <a:avLst>
              <a:gd name="adj" fmla="val 50000"/>
            </a:avLst>
          </a:prstGeom>
          <a:solidFill>
            <a:srgbClr val="B4B4B4"/>
          </a:solidFill>
          <a:ln w="12700" algn="ctr">
            <a:solidFill>
              <a:schemeClr val="bg1"/>
            </a:solidFill>
            <a:miter lim="800000"/>
            <a:headEnd type="none" w="sm" len="sm"/>
            <a:tailEnd type="none" w="sm" len="sm"/>
          </a:ln>
        </p:spPr>
        <p:txBody>
          <a:bodyPr wrap="square" lIns="27000" tIns="27000" rIns="27000" bIns="27000" anchor="ctr">
            <a:noAutofit/>
          </a:bodyPr>
          <a:lstStyle/>
          <a:p>
            <a:pPr algn="ctr" defTabSz="685800">
              <a:buClrTx/>
            </a:pPr>
            <a:endParaRPr lang="en-US" sz="900" kern="1200">
              <a:solidFill>
                <a:prstClr val="white"/>
              </a:solidFill>
              <a:ea typeface="+mn-ea"/>
              <a:cs typeface="+mn-cs"/>
            </a:endParaRPr>
          </a:p>
        </p:txBody>
      </p:sp>
      <p:sp>
        <p:nvSpPr>
          <p:cNvPr id="782347" name="Rectangle 11"/>
          <p:cNvSpPr>
            <a:spLocks noChangeArrowheads="1"/>
          </p:cNvSpPr>
          <p:nvPr/>
        </p:nvSpPr>
        <p:spPr bwMode="auto">
          <a:xfrm>
            <a:off x="4291013" y="2252663"/>
            <a:ext cx="686991" cy="439341"/>
          </a:xfrm>
          <a:prstGeom prst="rect">
            <a:avLst/>
          </a:prstGeom>
          <a:solidFill>
            <a:schemeClr val="bg1"/>
          </a:solidFill>
          <a:ln w="12700">
            <a:solidFill>
              <a:srgbClr val="B4B4B4"/>
            </a:solidFill>
            <a:miter lim="800000"/>
            <a:headEnd type="none" w="sm" len="sm"/>
            <a:tailEnd type="none" w="sm" len="sm"/>
          </a:ln>
        </p:spPr>
        <p:txBody>
          <a:bodyPr wrap="square" lIns="27000" tIns="27000" rIns="27000" bIns="27000" anchor="ctr">
            <a:noAutofit/>
          </a:bodyPr>
          <a:lstStyle/>
          <a:p>
            <a:pPr algn="ctr" defTabSz="685800">
              <a:buClrTx/>
            </a:pPr>
            <a:r>
              <a:rPr lang="en-US" altLang="ja-JP" sz="825" kern="1200" dirty="0">
                <a:solidFill>
                  <a:srgbClr val="313131"/>
                </a:solidFill>
                <a:ea typeface="ＭＳ Ｐゴシック" charset="-128"/>
                <a:cs typeface="+mn-cs"/>
              </a:rPr>
              <a:t>Cost and asset reduction</a:t>
            </a:r>
          </a:p>
        </p:txBody>
      </p:sp>
      <p:sp>
        <p:nvSpPr>
          <p:cNvPr id="782348" name="Rectangle 12"/>
          <p:cNvSpPr>
            <a:spLocks noChangeArrowheads="1"/>
          </p:cNvSpPr>
          <p:nvPr/>
        </p:nvSpPr>
        <p:spPr bwMode="auto">
          <a:xfrm>
            <a:off x="4321969" y="3507581"/>
            <a:ext cx="614363" cy="439341"/>
          </a:xfrm>
          <a:prstGeom prst="rect">
            <a:avLst/>
          </a:prstGeom>
          <a:solidFill>
            <a:schemeClr val="bg1"/>
          </a:solidFill>
          <a:ln w="12700">
            <a:solidFill>
              <a:srgbClr val="B4B4B4"/>
            </a:solidFill>
            <a:miter lim="800000"/>
            <a:headEnd type="none" w="sm" len="sm"/>
            <a:tailEnd type="none" w="sm" len="sm"/>
          </a:ln>
        </p:spPr>
        <p:txBody>
          <a:bodyPr wrap="square" lIns="27000" tIns="27000" rIns="27000" bIns="27000" anchor="ctr">
            <a:noAutofit/>
          </a:bodyPr>
          <a:lstStyle/>
          <a:p>
            <a:pPr algn="ctr" defTabSz="685800">
              <a:buClrTx/>
            </a:pPr>
            <a:r>
              <a:rPr lang="en-US" altLang="ja-JP" sz="825" kern="1200" dirty="0">
                <a:solidFill>
                  <a:srgbClr val="313131"/>
                </a:solidFill>
                <a:ea typeface="ＭＳ Ｐゴシック" charset="-128"/>
                <a:cs typeface="+mn-cs"/>
              </a:rPr>
              <a:t>Portfolio adjustment</a:t>
            </a:r>
          </a:p>
        </p:txBody>
      </p:sp>
      <p:sp>
        <p:nvSpPr>
          <p:cNvPr id="782349" name="Oval 13"/>
          <p:cNvSpPr>
            <a:spLocks noChangeArrowheads="1"/>
          </p:cNvSpPr>
          <p:nvPr/>
        </p:nvSpPr>
        <p:spPr bwMode="auto">
          <a:xfrm>
            <a:off x="4241007" y="2905125"/>
            <a:ext cx="775097" cy="357188"/>
          </a:xfrm>
          <a:prstGeom prst="ellipse">
            <a:avLst/>
          </a:prstGeom>
          <a:solidFill>
            <a:srgbClr val="575757"/>
          </a:solidFill>
          <a:ln w="12700" algn="ctr">
            <a:solidFill>
              <a:schemeClr val="bg1"/>
            </a:solidFill>
            <a:round/>
            <a:headEnd type="none" w="sm" len="sm"/>
            <a:tailEnd type="none" w="sm" len="sm"/>
          </a:ln>
        </p:spPr>
        <p:txBody>
          <a:bodyPr wrap="square" lIns="27000" tIns="27000" rIns="27000" bIns="27000" anchor="ctr">
            <a:noAutofit/>
          </a:bodyPr>
          <a:lstStyle/>
          <a:p>
            <a:pPr algn="ctr" defTabSz="685800">
              <a:buClrTx/>
            </a:pPr>
            <a:r>
              <a:rPr lang="en-US" altLang="ja-JP" sz="825" kern="1200" dirty="0">
                <a:solidFill>
                  <a:prstClr val="white"/>
                </a:solidFill>
                <a:ea typeface="ＭＳ Ｐゴシック" charset="-128"/>
                <a:cs typeface="+mn-cs"/>
              </a:rPr>
              <a:t>Opportunities</a:t>
            </a:r>
          </a:p>
        </p:txBody>
      </p:sp>
      <p:sp>
        <p:nvSpPr>
          <p:cNvPr id="21" name="Rectangle 14"/>
          <p:cNvSpPr>
            <a:spLocks noChangeArrowheads="1"/>
          </p:cNvSpPr>
          <p:nvPr/>
        </p:nvSpPr>
        <p:spPr bwMode="auto">
          <a:xfrm>
            <a:off x="5344716" y="2896792"/>
            <a:ext cx="741759" cy="382190"/>
          </a:xfrm>
          <a:prstGeom prst="rect">
            <a:avLst/>
          </a:prstGeom>
          <a:solidFill>
            <a:schemeClr val="bg1"/>
          </a:solidFill>
          <a:ln w="12700" algn="ctr">
            <a:solidFill>
              <a:srgbClr val="B4B4B4"/>
            </a:solidFill>
            <a:miter lim="800000"/>
            <a:headEnd type="none" w="sm" len="sm"/>
            <a:tailEnd type="none" w="sm" len="sm"/>
          </a:ln>
        </p:spPr>
        <p:txBody>
          <a:bodyPr wrap="square" lIns="27000" tIns="27000" rIns="27000" bIns="27000" anchor="ctr">
            <a:noAutofit/>
          </a:bodyPr>
          <a:lstStyle/>
          <a:p>
            <a:pPr algn="ctr" defTabSz="685800">
              <a:buClrTx/>
              <a:defRPr/>
            </a:pPr>
            <a:r>
              <a:rPr lang="en-US" altLang="ja-JP" sz="825" kern="1200" dirty="0">
                <a:solidFill>
                  <a:srgbClr val="313131"/>
                </a:solidFill>
                <a:ea typeface="ＭＳ Ｐゴシック" pitchFamily="50" charset="-128"/>
                <a:cs typeface="+mn-cs"/>
              </a:rPr>
              <a:t>Restructuring plan</a:t>
            </a:r>
          </a:p>
        </p:txBody>
      </p:sp>
      <p:sp>
        <p:nvSpPr>
          <p:cNvPr id="22" name="AutoShape 15"/>
          <p:cNvSpPr>
            <a:spLocks noChangeArrowheads="1"/>
          </p:cNvSpPr>
          <p:nvPr/>
        </p:nvSpPr>
        <p:spPr bwMode="auto">
          <a:xfrm>
            <a:off x="1828800" y="4226719"/>
            <a:ext cx="5504260" cy="409575"/>
          </a:xfrm>
          <a:prstGeom prst="homePlate">
            <a:avLst>
              <a:gd name="adj" fmla="val 50010"/>
            </a:avLst>
          </a:prstGeom>
          <a:solidFill>
            <a:srgbClr val="00A1DE"/>
          </a:solidFill>
          <a:ln w="12700" algn="ctr">
            <a:solidFill>
              <a:schemeClr val="bg1"/>
            </a:solidFill>
            <a:miter lim="800000"/>
            <a:headEnd type="none" w="sm" len="sm"/>
            <a:tailEnd type="none" w="sm" len="sm"/>
          </a:ln>
        </p:spPr>
        <p:txBody>
          <a:bodyPr wrap="square" lIns="27000" tIns="27000" rIns="27000" bIns="27000" anchor="ctr">
            <a:noAutofit/>
          </a:bodyPr>
          <a:lstStyle/>
          <a:p>
            <a:pPr algn="ctr" defTabSz="685800">
              <a:buClrTx/>
              <a:defRPr/>
            </a:pPr>
            <a:r>
              <a:rPr lang="en-US" altLang="ja-JP" sz="825" b="1" kern="1200" dirty="0">
                <a:solidFill>
                  <a:prstClr val="white"/>
                </a:solidFill>
                <a:ea typeface="ＭＳ Ｐゴシック" pitchFamily="50" charset="-128"/>
                <a:cs typeface="+mn-cs"/>
              </a:rPr>
              <a:t>Project management</a:t>
            </a:r>
          </a:p>
          <a:p>
            <a:pPr algn="ctr" defTabSz="685800">
              <a:buClrTx/>
              <a:defRPr/>
            </a:pPr>
            <a:r>
              <a:rPr lang="en-US" altLang="ja-JP" sz="825" b="1" kern="1200" dirty="0">
                <a:solidFill>
                  <a:prstClr val="white"/>
                </a:solidFill>
                <a:ea typeface="ＭＳ Ｐゴシック" pitchFamily="50" charset="-128"/>
                <a:cs typeface="+mn-cs"/>
              </a:rPr>
              <a:t>stakeholder communication</a:t>
            </a:r>
          </a:p>
        </p:txBody>
      </p:sp>
      <p:sp>
        <p:nvSpPr>
          <p:cNvPr id="782352" name="Rectangle 16"/>
          <p:cNvSpPr>
            <a:spLocks noChangeArrowheads="1"/>
          </p:cNvSpPr>
          <p:nvPr/>
        </p:nvSpPr>
        <p:spPr bwMode="auto">
          <a:xfrm>
            <a:off x="1828800" y="2153841"/>
            <a:ext cx="847725" cy="1860947"/>
          </a:xfrm>
          <a:prstGeom prst="rect">
            <a:avLst/>
          </a:prstGeom>
          <a:solidFill>
            <a:srgbClr val="DCDCDC"/>
          </a:solidFill>
          <a:ln w="12700" algn="ctr">
            <a:solidFill>
              <a:schemeClr val="bg1"/>
            </a:solidFill>
            <a:miter lim="800000"/>
            <a:headEnd type="none" w="sm" len="sm"/>
            <a:tailEnd type="none" w="sm" len="sm"/>
          </a:ln>
        </p:spPr>
        <p:txBody>
          <a:bodyPr wrap="square" lIns="27000" tIns="27000" rIns="27000" bIns="27000" anchor="ctr">
            <a:noAutofit/>
          </a:bodyPr>
          <a:lstStyle/>
          <a:p>
            <a:pPr algn="ctr" defTabSz="685800">
              <a:buClrTx/>
            </a:pPr>
            <a:endParaRPr lang="en-US" sz="900" kern="1200">
              <a:solidFill>
                <a:prstClr val="black"/>
              </a:solidFill>
              <a:ea typeface="ＭＳ Ｐゴシック" charset="-128"/>
              <a:cs typeface="+mn-cs"/>
            </a:endParaRPr>
          </a:p>
        </p:txBody>
      </p:sp>
      <p:sp>
        <p:nvSpPr>
          <p:cNvPr id="782353" name="AutoShape 17"/>
          <p:cNvSpPr>
            <a:spLocks noChangeArrowheads="1"/>
          </p:cNvSpPr>
          <p:nvPr/>
        </p:nvSpPr>
        <p:spPr bwMode="auto">
          <a:xfrm flipV="1">
            <a:off x="2093119" y="2764632"/>
            <a:ext cx="319088" cy="92869"/>
          </a:xfrm>
          <a:prstGeom prst="triangle">
            <a:avLst>
              <a:gd name="adj" fmla="val 50000"/>
            </a:avLst>
          </a:prstGeom>
          <a:solidFill>
            <a:srgbClr val="B4B4B4"/>
          </a:solidFill>
          <a:ln w="12700" algn="ctr">
            <a:solidFill>
              <a:schemeClr val="bg1"/>
            </a:solidFill>
            <a:miter lim="800000"/>
            <a:headEnd type="none" w="sm" len="sm"/>
            <a:tailEnd type="none" w="sm" len="sm"/>
          </a:ln>
        </p:spPr>
        <p:txBody>
          <a:bodyPr rot="10800000" wrap="square" lIns="27000" tIns="27000" rIns="27000" bIns="27000" anchor="ctr">
            <a:noAutofit/>
          </a:bodyPr>
          <a:lstStyle/>
          <a:p>
            <a:pPr algn="ctr" defTabSz="685800">
              <a:buClrTx/>
            </a:pPr>
            <a:endParaRPr lang="en-US" sz="900" kern="1200">
              <a:solidFill>
                <a:prstClr val="white"/>
              </a:solidFill>
              <a:ea typeface="+mn-ea"/>
              <a:cs typeface="+mn-cs"/>
            </a:endParaRPr>
          </a:p>
        </p:txBody>
      </p:sp>
      <p:sp>
        <p:nvSpPr>
          <p:cNvPr id="782354" name="AutoShape 18"/>
          <p:cNvSpPr>
            <a:spLocks noChangeArrowheads="1"/>
          </p:cNvSpPr>
          <p:nvPr/>
        </p:nvSpPr>
        <p:spPr bwMode="auto">
          <a:xfrm>
            <a:off x="2093119" y="3315891"/>
            <a:ext cx="319088" cy="92869"/>
          </a:xfrm>
          <a:prstGeom prst="triangle">
            <a:avLst>
              <a:gd name="adj" fmla="val 50000"/>
            </a:avLst>
          </a:prstGeom>
          <a:solidFill>
            <a:srgbClr val="B4B4B4"/>
          </a:solidFill>
          <a:ln w="12700" algn="ctr">
            <a:solidFill>
              <a:schemeClr val="bg1"/>
            </a:solidFill>
            <a:miter lim="800000"/>
            <a:headEnd type="none" w="sm" len="sm"/>
            <a:tailEnd type="none" w="sm" len="sm"/>
          </a:ln>
        </p:spPr>
        <p:txBody>
          <a:bodyPr wrap="square" lIns="27000" tIns="27000" rIns="27000" bIns="27000" anchor="ctr">
            <a:noAutofit/>
          </a:bodyPr>
          <a:lstStyle/>
          <a:p>
            <a:pPr algn="ctr" defTabSz="685800">
              <a:buClrTx/>
            </a:pPr>
            <a:endParaRPr lang="en-US" sz="900" kern="1200">
              <a:solidFill>
                <a:prstClr val="white"/>
              </a:solidFill>
              <a:ea typeface="+mn-ea"/>
              <a:cs typeface="+mn-cs"/>
            </a:endParaRPr>
          </a:p>
        </p:txBody>
      </p:sp>
      <p:sp>
        <p:nvSpPr>
          <p:cNvPr id="782355" name="Rectangle 19"/>
          <p:cNvSpPr>
            <a:spLocks noChangeArrowheads="1"/>
          </p:cNvSpPr>
          <p:nvPr/>
        </p:nvSpPr>
        <p:spPr bwMode="auto">
          <a:xfrm>
            <a:off x="1945481" y="2262188"/>
            <a:ext cx="614363" cy="439341"/>
          </a:xfrm>
          <a:prstGeom prst="rect">
            <a:avLst/>
          </a:prstGeom>
          <a:solidFill>
            <a:schemeClr val="bg1"/>
          </a:solidFill>
          <a:ln w="12700">
            <a:solidFill>
              <a:srgbClr val="B4B4B4"/>
            </a:solidFill>
            <a:miter lim="800000"/>
            <a:headEnd type="none" w="sm" len="sm"/>
            <a:tailEnd type="none" w="sm" len="sm"/>
          </a:ln>
        </p:spPr>
        <p:txBody>
          <a:bodyPr wrap="square" lIns="27000" tIns="27000" rIns="27000" bIns="27000" anchor="ctr">
            <a:noAutofit/>
          </a:bodyPr>
          <a:lstStyle/>
          <a:p>
            <a:pPr algn="ctr" defTabSz="685800">
              <a:buClrTx/>
            </a:pPr>
            <a:r>
              <a:rPr lang="en-US" altLang="ja-JP" sz="825" kern="1200" dirty="0">
                <a:solidFill>
                  <a:srgbClr val="313131"/>
                </a:solidFill>
                <a:ea typeface="ＭＳ Ｐゴシック" charset="-128"/>
                <a:cs typeface="+mn-cs"/>
              </a:rPr>
              <a:t>Financial</a:t>
            </a:r>
          </a:p>
          <a:p>
            <a:pPr algn="ctr" defTabSz="685800">
              <a:buClrTx/>
            </a:pPr>
            <a:r>
              <a:rPr lang="en-US" altLang="ja-JP" sz="825" kern="1200" dirty="0">
                <a:solidFill>
                  <a:srgbClr val="313131"/>
                </a:solidFill>
                <a:ea typeface="ＭＳ Ｐゴシック" charset="-128"/>
                <a:cs typeface="+mn-cs"/>
              </a:rPr>
              <a:t>review</a:t>
            </a:r>
          </a:p>
        </p:txBody>
      </p:sp>
      <p:sp>
        <p:nvSpPr>
          <p:cNvPr id="782356" name="Rectangle 20"/>
          <p:cNvSpPr>
            <a:spLocks noChangeArrowheads="1"/>
          </p:cNvSpPr>
          <p:nvPr/>
        </p:nvSpPr>
        <p:spPr bwMode="auto">
          <a:xfrm>
            <a:off x="1945481" y="3507581"/>
            <a:ext cx="614363" cy="439341"/>
          </a:xfrm>
          <a:prstGeom prst="rect">
            <a:avLst/>
          </a:prstGeom>
          <a:solidFill>
            <a:schemeClr val="bg1"/>
          </a:solidFill>
          <a:ln w="12700">
            <a:solidFill>
              <a:srgbClr val="B4B4B4"/>
            </a:solidFill>
            <a:miter lim="800000"/>
            <a:headEnd type="none" w="sm" len="sm"/>
            <a:tailEnd type="none" w="sm" len="sm"/>
          </a:ln>
        </p:spPr>
        <p:txBody>
          <a:bodyPr wrap="square" lIns="27000" tIns="27000" rIns="27000" bIns="27000" anchor="ctr">
            <a:noAutofit/>
          </a:bodyPr>
          <a:lstStyle/>
          <a:p>
            <a:pPr algn="ctr" defTabSz="685800">
              <a:buClrTx/>
            </a:pPr>
            <a:r>
              <a:rPr lang="en-US" altLang="ja-JP" sz="825" kern="1200" dirty="0">
                <a:solidFill>
                  <a:srgbClr val="313131"/>
                </a:solidFill>
                <a:ea typeface="ＭＳ Ｐゴシック" charset="-128"/>
                <a:cs typeface="+mn-cs"/>
              </a:rPr>
              <a:t>Strategic</a:t>
            </a:r>
          </a:p>
          <a:p>
            <a:pPr algn="ctr" defTabSz="685800">
              <a:buClrTx/>
            </a:pPr>
            <a:r>
              <a:rPr lang="en-US" altLang="ja-JP" sz="825" kern="1200" dirty="0">
                <a:solidFill>
                  <a:srgbClr val="313131"/>
                </a:solidFill>
                <a:ea typeface="ＭＳ Ｐゴシック" charset="-128"/>
                <a:cs typeface="+mn-cs"/>
              </a:rPr>
              <a:t>review</a:t>
            </a:r>
          </a:p>
        </p:txBody>
      </p:sp>
      <p:sp>
        <p:nvSpPr>
          <p:cNvPr id="782357" name="Oval 21"/>
          <p:cNvSpPr>
            <a:spLocks noChangeArrowheads="1"/>
          </p:cNvSpPr>
          <p:nvPr/>
        </p:nvSpPr>
        <p:spPr bwMode="auto">
          <a:xfrm>
            <a:off x="1834163" y="2905125"/>
            <a:ext cx="837000" cy="351000"/>
          </a:xfrm>
          <a:prstGeom prst="ellipse">
            <a:avLst/>
          </a:prstGeom>
          <a:solidFill>
            <a:srgbClr val="575757"/>
          </a:solidFill>
          <a:ln w="12700" algn="ctr">
            <a:solidFill>
              <a:schemeClr val="bg1"/>
            </a:solidFill>
            <a:round/>
            <a:headEnd type="none" w="sm" len="sm"/>
            <a:tailEnd type="none" w="sm" len="sm"/>
          </a:ln>
        </p:spPr>
        <p:txBody>
          <a:bodyPr wrap="square" lIns="27000" tIns="27000" rIns="27000" bIns="27000" anchor="ctr">
            <a:noAutofit/>
          </a:bodyPr>
          <a:lstStyle/>
          <a:p>
            <a:pPr algn="ctr" defTabSz="685800">
              <a:buClrTx/>
            </a:pPr>
            <a:r>
              <a:rPr lang="en-US" altLang="ja-JP" sz="825" kern="1200" dirty="0">
                <a:solidFill>
                  <a:prstClr val="white"/>
                </a:solidFill>
                <a:ea typeface="ＭＳ Ｐゴシック" charset="-128"/>
                <a:cs typeface="+mn-cs"/>
              </a:rPr>
              <a:t>Change imperative</a:t>
            </a:r>
          </a:p>
        </p:txBody>
      </p:sp>
      <p:sp>
        <p:nvSpPr>
          <p:cNvPr id="29" name="AutoShape 22"/>
          <p:cNvSpPr>
            <a:spLocks noChangeArrowheads="1"/>
          </p:cNvSpPr>
          <p:nvPr/>
        </p:nvSpPr>
        <p:spPr bwMode="auto">
          <a:xfrm>
            <a:off x="1828801" y="1629966"/>
            <a:ext cx="1069181" cy="409575"/>
          </a:xfrm>
          <a:prstGeom prst="homePlate">
            <a:avLst>
              <a:gd name="adj" fmla="val 27997"/>
            </a:avLst>
          </a:prstGeom>
          <a:solidFill>
            <a:srgbClr val="00A1DE"/>
          </a:solidFill>
          <a:ln w="12700" algn="ctr">
            <a:solidFill>
              <a:schemeClr val="bg1"/>
            </a:solidFill>
            <a:miter lim="800000"/>
            <a:headEnd type="none" w="sm" len="sm"/>
            <a:tailEnd type="none" w="sm" len="sm"/>
          </a:ln>
        </p:spPr>
        <p:txBody>
          <a:bodyPr wrap="square" lIns="27000" tIns="27000" rIns="27000" bIns="27000" anchor="ctr">
            <a:noAutofit/>
          </a:bodyPr>
          <a:lstStyle/>
          <a:p>
            <a:pPr algn="ctr" defTabSz="685800">
              <a:buClrTx/>
              <a:defRPr/>
            </a:pPr>
            <a:r>
              <a:rPr lang="en-US" altLang="ja-JP" sz="825" b="1" kern="1200" dirty="0">
                <a:solidFill>
                  <a:prstClr val="white"/>
                </a:solidFill>
                <a:ea typeface="ＭＳ Ｐゴシック" pitchFamily="50" charset="-128"/>
                <a:cs typeface="+mn-cs"/>
              </a:rPr>
              <a:t>Situation assessment</a:t>
            </a:r>
          </a:p>
        </p:txBody>
      </p:sp>
      <p:sp>
        <p:nvSpPr>
          <p:cNvPr id="782359" name="Rectangle 23"/>
          <p:cNvSpPr>
            <a:spLocks noChangeArrowheads="1"/>
          </p:cNvSpPr>
          <p:nvPr/>
        </p:nvSpPr>
        <p:spPr bwMode="auto">
          <a:xfrm>
            <a:off x="2995613" y="2153841"/>
            <a:ext cx="848916" cy="1860947"/>
          </a:xfrm>
          <a:prstGeom prst="rect">
            <a:avLst/>
          </a:prstGeom>
          <a:solidFill>
            <a:srgbClr val="DCDCDC"/>
          </a:solidFill>
          <a:ln w="12700" algn="ctr">
            <a:solidFill>
              <a:schemeClr val="bg1"/>
            </a:solidFill>
            <a:miter lim="800000"/>
            <a:headEnd type="none" w="sm" len="sm"/>
            <a:tailEnd type="none" w="sm" len="sm"/>
          </a:ln>
        </p:spPr>
        <p:txBody>
          <a:bodyPr wrap="square" lIns="27000" tIns="27000" rIns="27000" bIns="27000" anchor="ctr">
            <a:noAutofit/>
          </a:bodyPr>
          <a:lstStyle/>
          <a:p>
            <a:pPr algn="ctr" defTabSz="685800">
              <a:buClrTx/>
            </a:pPr>
            <a:endParaRPr lang="en-US" sz="900" kern="1200">
              <a:solidFill>
                <a:prstClr val="black"/>
              </a:solidFill>
              <a:ea typeface="ＭＳ Ｐゴシック" charset="-128"/>
              <a:cs typeface="+mn-cs"/>
            </a:endParaRPr>
          </a:p>
        </p:txBody>
      </p:sp>
      <p:sp>
        <p:nvSpPr>
          <p:cNvPr id="782360" name="AutoShape 24"/>
          <p:cNvSpPr>
            <a:spLocks noChangeArrowheads="1"/>
          </p:cNvSpPr>
          <p:nvPr/>
        </p:nvSpPr>
        <p:spPr bwMode="auto">
          <a:xfrm flipV="1">
            <a:off x="3259931" y="2764632"/>
            <a:ext cx="320279" cy="92869"/>
          </a:xfrm>
          <a:prstGeom prst="triangle">
            <a:avLst>
              <a:gd name="adj" fmla="val 50000"/>
            </a:avLst>
          </a:prstGeom>
          <a:solidFill>
            <a:srgbClr val="B4B4B4"/>
          </a:solidFill>
          <a:ln w="12700" algn="ctr">
            <a:solidFill>
              <a:schemeClr val="bg1"/>
            </a:solidFill>
            <a:miter lim="800000"/>
            <a:headEnd type="none" w="sm" len="sm"/>
            <a:tailEnd type="none" w="sm" len="sm"/>
          </a:ln>
        </p:spPr>
        <p:txBody>
          <a:bodyPr rot="10800000" wrap="square" lIns="27000" tIns="27000" rIns="27000" bIns="27000" anchor="ctr">
            <a:noAutofit/>
          </a:bodyPr>
          <a:lstStyle/>
          <a:p>
            <a:pPr algn="ctr" defTabSz="685800">
              <a:buClrTx/>
            </a:pPr>
            <a:endParaRPr lang="en-US" sz="900" kern="1200">
              <a:solidFill>
                <a:prstClr val="white"/>
              </a:solidFill>
              <a:ea typeface="+mn-ea"/>
              <a:cs typeface="+mn-cs"/>
            </a:endParaRPr>
          </a:p>
        </p:txBody>
      </p:sp>
      <p:sp>
        <p:nvSpPr>
          <p:cNvPr id="782361" name="AutoShape 25"/>
          <p:cNvSpPr>
            <a:spLocks noChangeArrowheads="1"/>
          </p:cNvSpPr>
          <p:nvPr/>
        </p:nvSpPr>
        <p:spPr bwMode="auto">
          <a:xfrm>
            <a:off x="3259931" y="3315891"/>
            <a:ext cx="320279" cy="92869"/>
          </a:xfrm>
          <a:prstGeom prst="triangle">
            <a:avLst>
              <a:gd name="adj" fmla="val 50000"/>
            </a:avLst>
          </a:prstGeom>
          <a:solidFill>
            <a:srgbClr val="B4B4B4"/>
          </a:solidFill>
          <a:ln w="12700" algn="ctr">
            <a:solidFill>
              <a:schemeClr val="bg1"/>
            </a:solidFill>
            <a:miter lim="800000"/>
            <a:headEnd type="none" w="sm" len="sm"/>
            <a:tailEnd type="none" w="sm" len="sm"/>
          </a:ln>
        </p:spPr>
        <p:txBody>
          <a:bodyPr wrap="square" lIns="27000" tIns="27000" rIns="27000" bIns="27000" anchor="ctr">
            <a:noAutofit/>
          </a:bodyPr>
          <a:lstStyle/>
          <a:p>
            <a:pPr algn="ctr" defTabSz="685800">
              <a:buClrTx/>
            </a:pPr>
            <a:endParaRPr lang="en-US" sz="900" kern="1200">
              <a:solidFill>
                <a:prstClr val="white"/>
              </a:solidFill>
              <a:ea typeface="+mn-ea"/>
              <a:cs typeface="+mn-cs"/>
            </a:endParaRPr>
          </a:p>
        </p:txBody>
      </p:sp>
      <p:sp>
        <p:nvSpPr>
          <p:cNvPr id="782362" name="Rectangle 26"/>
          <p:cNvSpPr>
            <a:spLocks noChangeArrowheads="1"/>
          </p:cNvSpPr>
          <p:nvPr/>
        </p:nvSpPr>
        <p:spPr bwMode="auto">
          <a:xfrm>
            <a:off x="3113485" y="2262188"/>
            <a:ext cx="613172" cy="439341"/>
          </a:xfrm>
          <a:prstGeom prst="rect">
            <a:avLst/>
          </a:prstGeom>
          <a:solidFill>
            <a:schemeClr val="bg1"/>
          </a:solidFill>
          <a:ln w="12700">
            <a:solidFill>
              <a:srgbClr val="B4B4B4"/>
            </a:solidFill>
            <a:miter lim="800000"/>
            <a:headEnd type="none" w="sm" len="sm"/>
            <a:tailEnd type="none" w="sm" len="sm"/>
          </a:ln>
        </p:spPr>
        <p:txBody>
          <a:bodyPr wrap="square" lIns="27000" tIns="27000" rIns="27000" bIns="27000" anchor="ctr">
            <a:noAutofit/>
          </a:bodyPr>
          <a:lstStyle/>
          <a:p>
            <a:pPr algn="ctr" defTabSz="685800">
              <a:buClrTx/>
            </a:pPr>
            <a:r>
              <a:rPr lang="en-US" altLang="ja-JP" sz="825" kern="1200" dirty="0">
                <a:solidFill>
                  <a:srgbClr val="313131"/>
                </a:solidFill>
                <a:ea typeface="ＭＳ Ｐゴシック" charset="-128"/>
                <a:cs typeface="+mn-cs"/>
              </a:rPr>
              <a:t>Financial needs</a:t>
            </a:r>
          </a:p>
        </p:txBody>
      </p:sp>
      <p:sp>
        <p:nvSpPr>
          <p:cNvPr id="782363" name="Rectangle 27"/>
          <p:cNvSpPr>
            <a:spLocks noChangeArrowheads="1"/>
          </p:cNvSpPr>
          <p:nvPr/>
        </p:nvSpPr>
        <p:spPr bwMode="auto">
          <a:xfrm>
            <a:off x="3113485" y="3507581"/>
            <a:ext cx="613172" cy="439341"/>
          </a:xfrm>
          <a:prstGeom prst="rect">
            <a:avLst/>
          </a:prstGeom>
          <a:solidFill>
            <a:schemeClr val="bg1"/>
          </a:solidFill>
          <a:ln w="12700">
            <a:solidFill>
              <a:srgbClr val="B4B4B4"/>
            </a:solidFill>
            <a:miter lim="800000"/>
            <a:headEnd type="none" w="sm" len="sm"/>
            <a:tailEnd type="none" w="sm" len="sm"/>
          </a:ln>
        </p:spPr>
        <p:txBody>
          <a:bodyPr wrap="square" lIns="27000" tIns="27000" rIns="27000" bIns="27000" anchor="ctr">
            <a:noAutofit/>
          </a:bodyPr>
          <a:lstStyle/>
          <a:p>
            <a:pPr algn="ctr" defTabSz="685800">
              <a:buClrTx/>
            </a:pPr>
            <a:r>
              <a:rPr lang="en-US" altLang="ja-JP" sz="825" kern="1200" dirty="0">
                <a:solidFill>
                  <a:srgbClr val="313131"/>
                </a:solidFill>
                <a:ea typeface="ＭＳ Ｐゴシック" charset="-128"/>
                <a:cs typeface="+mn-cs"/>
              </a:rPr>
              <a:t>Benchmarking</a:t>
            </a:r>
          </a:p>
        </p:txBody>
      </p:sp>
      <p:sp>
        <p:nvSpPr>
          <p:cNvPr id="782364" name="Oval 28"/>
          <p:cNvSpPr>
            <a:spLocks noChangeArrowheads="1"/>
          </p:cNvSpPr>
          <p:nvPr/>
        </p:nvSpPr>
        <p:spPr bwMode="auto">
          <a:xfrm>
            <a:off x="3032522" y="2905125"/>
            <a:ext cx="775097" cy="357188"/>
          </a:xfrm>
          <a:prstGeom prst="ellipse">
            <a:avLst/>
          </a:prstGeom>
          <a:solidFill>
            <a:srgbClr val="575757"/>
          </a:solidFill>
          <a:ln w="12700" algn="ctr">
            <a:solidFill>
              <a:schemeClr val="bg1"/>
            </a:solidFill>
            <a:round/>
            <a:headEnd type="none" w="sm" len="sm"/>
            <a:tailEnd type="none" w="sm" len="sm"/>
          </a:ln>
        </p:spPr>
        <p:txBody>
          <a:bodyPr wrap="square" lIns="27000" tIns="27000" rIns="27000" bIns="27000" anchor="ctr">
            <a:noAutofit/>
          </a:bodyPr>
          <a:lstStyle/>
          <a:p>
            <a:pPr algn="ctr" defTabSz="685800">
              <a:buClrTx/>
            </a:pPr>
            <a:r>
              <a:rPr lang="en-US" altLang="ja-JP" sz="825" kern="1200">
                <a:solidFill>
                  <a:prstClr val="white"/>
                </a:solidFill>
                <a:ea typeface="ＭＳ Ｐゴシック" charset="-128"/>
                <a:cs typeface="+mn-cs"/>
              </a:rPr>
              <a:t>Targets</a:t>
            </a:r>
          </a:p>
        </p:txBody>
      </p:sp>
      <p:sp>
        <p:nvSpPr>
          <p:cNvPr id="36" name="AutoShape 29"/>
          <p:cNvSpPr>
            <a:spLocks noChangeArrowheads="1"/>
          </p:cNvSpPr>
          <p:nvPr/>
        </p:nvSpPr>
        <p:spPr bwMode="auto">
          <a:xfrm>
            <a:off x="2906316" y="1631156"/>
            <a:ext cx="1152525" cy="409575"/>
          </a:xfrm>
          <a:prstGeom prst="chevron">
            <a:avLst>
              <a:gd name="adj" fmla="val 28235"/>
            </a:avLst>
          </a:prstGeom>
          <a:solidFill>
            <a:srgbClr val="00A1DE"/>
          </a:solidFill>
          <a:ln w="12700" algn="ctr">
            <a:solidFill>
              <a:schemeClr val="bg1"/>
            </a:solidFill>
            <a:miter lim="800000"/>
            <a:headEnd type="none" w="sm" len="sm"/>
            <a:tailEnd type="none" w="sm" len="sm"/>
          </a:ln>
        </p:spPr>
        <p:txBody>
          <a:bodyPr wrap="square" lIns="27000" tIns="27000" rIns="27000" bIns="27000" anchor="ctr">
            <a:noAutofit/>
          </a:bodyPr>
          <a:lstStyle/>
          <a:p>
            <a:pPr algn="ctr" defTabSz="685800">
              <a:buClrTx/>
              <a:defRPr/>
            </a:pPr>
            <a:r>
              <a:rPr lang="en-US" altLang="ja-JP" sz="825" b="1" kern="1200" dirty="0">
                <a:solidFill>
                  <a:prstClr val="white"/>
                </a:solidFill>
                <a:ea typeface="ＭＳ Ｐゴシック" pitchFamily="50" charset="-128"/>
                <a:cs typeface="+mn-cs"/>
              </a:rPr>
              <a:t>Target</a:t>
            </a:r>
          </a:p>
          <a:p>
            <a:pPr algn="ctr" defTabSz="685800">
              <a:buClrTx/>
              <a:defRPr/>
            </a:pPr>
            <a:r>
              <a:rPr lang="en-US" altLang="ja-JP" sz="825" b="1" kern="1200" dirty="0">
                <a:solidFill>
                  <a:prstClr val="white"/>
                </a:solidFill>
                <a:ea typeface="ＭＳ Ｐゴシック" pitchFamily="50" charset="-128"/>
                <a:cs typeface="+mn-cs"/>
              </a:rPr>
              <a:t>setting</a:t>
            </a:r>
          </a:p>
        </p:txBody>
      </p:sp>
      <p:sp>
        <p:nvSpPr>
          <p:cNvPr id="37" name="AutoShape 30"/>
          <p:cNvSpPr>
            <a:spLocks noChangeArrowheads="1"/>
          </p:cNvSpPr>
          <p:nvPr/>
        </p:nvSpPr>
        <p:spPr bwMode="auto">
          <a:xfrm>
            <a:off x="6225779" y="1631156"/>
            <a:ext cx="1152525" cy="409575"/>
          </a:xfrm>
          <a:prstGeom prst="chevron">
            <a:avLst>
              <a:gd name="adj" fmla="val 28235"/>
            </a:avLst>
          </a:prstGeom>
          <a:solidFill>
            <a:srgbClr val="00A1DE"/>
          </a:solidFill>
          <a:ln w="12700" algn="ctr">
            <a:solidFill>
              <a:schemeClr val="bg1"/>
            </a:solidFill>
            <a:miter lim="800000"/>
            <a:headEnd type="none" w="sm" len="sm"/>
            <a:tailEnd type="none" w="sm" len="sm"/>
          </a:ln>
        </p:spPr>
        <p:txBody>
          <a:bodyPr wrap="square" lIns="27000" tIns="27000" rIns="27000" bIns="27000" anchor="ctr">
            <a:noAutofit/>
          </a:bodyPr>
          <a:lstStyle/>
          <a:p>
            <a:pPr algn="ctr" defTabSz="685800">
              <a:buClrTx/>
              <a:defRPr/>
            </a:pPr>
            <a:r>
              <a:rPr lang="en-US" altLang="ja-JP" sz="825" b="1" kern="1200" dirty="0">
                <a:solidFill>
                  <a:prstClr val="white"/>
                </a:solidFill>
                <a:ea typeface="ＭＳ Ｐゴシック" pitchFamily="50" charset="-128"/>
                <a:cs typeface="+mn-cs"/>
              </a:rPr>
              <a:t>Implementation</a:t>
            </a:r>
          </a:p>
        </p:txBody>
      </p:sp>
      <p:sp>
        <p:nvSpPr>
          <p:cNvPr id="782367" name="Rectangle 31"/>
          <p:cNvSpPr>
            <a:spLocks noChangeArrowheads="1"/>
          </p:cNvSpPr>
          <p:nvPr/>
        </p:nvSpPr>
        <p:spPr bwMode="auto">
          <a:xfrm>
            <a:off x="6363891" y="2153841"/>
            <a:ext cx="847725" cy="1860947"/>
          </a:xfrm>
          <a:prstGeom prst="rect">
            <a:avLst/>
          </a:prstGeom>
          <a:solidFill>
            <a:srgbClr val="DCDCDC"/>
          </a:solidFill>
          <a:ln w="12700" algn="ctr">
            <a:solidFill>
              <a:schemeClr val="bg1"/>
            </a:solidFill>
            <a:prstDash val="sysDot"/>
            <a:miter lim="800000"/>
            <a:headEnd type="none" w="sm" len="sm"/>
            <a:tailEnd type="none" w="sm" len="sm"/>
          </a:ln>
        </p:spPr>
        <p:txBody>
          <a:bodyPr wrap="square" lIns="27000" tIns="27000" rIns="27000" bIns="27000" anchor="ctr">
            <a:noAutofit/>
          </a:bodyPr>
          <a:lstStyle/>
          <a:p>
            <a:pPr algn="ctr" defTabSz="685800">
              <a:buClrTx/>
            </a:pPr>
            <a:endParaRPr lang="en-US" sz="900" kern="1200">
              <a:solidFill>
                <a:prstClr val="black"/>
              </a:solidFill>
              <a:ea typeface="ＭＳ Ｐゴシック" charset="-128"/>
              <a:cs typeface="+mn-cs"/>
            </a:endParaRPr>
          </a:p>
        </p:txBody>
      </p:sp>
      <p:sp>
        <p:nvSpPr>
          <p:cNvPr id="782368" name="AutoShape 32"/>
          <p:cNvSpPr>
            <a:spLocks noChangeArrowheads="1"/>
          </p:cNvSpPr>
          <p:nvPr/>
        </p:nvSpPr>
        <p:spPr bwMode="auto">
          <a:xfrm>
            <a:off x="6628210" y="2764632"/>
            <a:ext cx="320278" cy="92869"/>
          </a:xfrm>
          <a:prstGeom prst="triangle">
            <a:avLst>
              <a:gd name="adj" fmla="val 50000"/>
            </a:avLst>
          </a:prstGeom>
          <a:solidFill>
            <a:srgbClr val="B4B4B4"/>
          </a:solidFill>
          <a:ln w="12700" algn="ctr">
            <a:solidFill>
              <a:schemeClr val="bg1"/>
            </a:solidFill>
            <a:miter lim="800000"/>
            <a:headEnd type="none" w="sm" len="sm"/>
            <a:tailEnd type="none" w="sm" len="sm"/>
          </a:ln>
        </p:spPr>
        <p:txBody>
          <a:bodyPr wrap="square" lIns="27000" tIns="27000" rIns="27000" bIns="27000" anchor="ctr">
            <a:noAutofit/>
          </a:bodyPr>
          <a:lstStyle/>
          <a:p>
            <a:pPr algn="ctr" defTabSz="685800">
              <a:buClrTx/>
            </a:pPr>
            <a:endParaRPr lang="en-US" sz="900" kern="1200">
              <a:solidFill>
                <a:prstClr val="white"/>
              </a:solidFill>
              <a:ea typeface="+mn-ea"/>
              <a:cs typeface="+mn-cs"/>
            </a:endParaRPr>
          </a:p>
        </p:txBody>
      </p:sp>
      <p:sp>
        <p:nvSpPr>
          <p:cNvPr id="782369" name="AutoShape 33"/>
          <p:cNvSpPr>
            <a:spLocks noChangeArrowheads="1"/>
          </p:cNvSpPr>
          <p:nvPr/>
        </p:nvSpPr>
        <p:spPr bwMode="auto">
          <a:xfrm flipV="1">
            <a:off x="6628210" y="3345657"/>
            <a:ext cx="320278" cy="94060"/>
          </a:xfrm>
          <a:prstGeom prst="triangle">
            <a:avLst>
              <a:gd name="adj" fmla="val 50000"/>
            </a:avLst>
          </a:prstGeom>
          <a:solidFill>
            <a:srgbClr val="B4B4B4"/>
          </a:solidFill>
          <a:ln w="12700" algn="ctr">
            <a:solidFill>
              <a:schemeClr val="bg1"/>
            </a:solidFill>
            <a:miter lim="800000"/>
            <a:headEnd type="none" w="sm" len="sm"/>
            <a:tailEnd type="none" w="sm" len="sm"/>
          </a:ln>
        </p:spPr>
        <p:txBody>
          <a:bodyPr rot="10800000" wrap="square" lIns="27000" tIns="27000" rIns="27000" bIns="27000" anchor="ctr">
            <a:noAutofit/>
          </a:bodyPr>
          <a:lstStyle/>
          <a:p>
            <a:pPr algn="ctr" defTabSz="685800">
              <a:buClrTx/>
            </a:pPr>
            <a:endParaRPr lang="en-US" sz="900" kern="1200">
              <a:solidFill>
                <a:prstClr val="white"/>
              </a:solidFill>
              <a:ea typeface="+mn-ea"/>
              <a:cs typeface="+mn-cs"/>
            </a:endParaRPr>
          </a:p>
        </p:txBody>
      </p:sp>
      <p:sp>
        <p:nvSpPr>
          <p:cNvPr id="782370" name="Rectangle 34"/>
          <p:cNvSpPr>
            <a:spLocks noChangeArrowheads="1"/>
          </p:cNvSpPr>
          <p:nvPr/>
        </p:nvSpPr>
        <p:spPr bwMode="auto">
          <a:xfrm>
            <a:off x="6480572" y="2262188"/>
            <a:ext cx="614363" cy="439341"/>
          </a:xfrm>
          <a:prstGeom prst="rect">
            <a:avLst/>
          </a:prstGeom>
          <a:solidFill>
            <a:schemeClr val="bg1"/>
          </a:solidFill>
          <a:ln w="12700">
            <a:solidFill>
              <a:srgbClr val="B4B4B4"/>
            </a:solidFill>
            <a:miter lim="800000"/>
            <a:headEnd type="none" w="sm" len="sm"/>
            <a:tailEnd type="none" w="sm" len="sm"/>
          </a:ln>
        </p:spPr>
        <p:txBody>
          <a:bodyPr wrap="square" lIns="27000" tIns="27000" rIns="27000" bIns="27000" anchor="ctr">
            <a:noAutofit/>
          </a:bodyPr>
          <a:lstStyle/>
          <a:p>
            <a:pPr algn="ctr" defTabSz="685800">
              <a:buClrTx/>
            </a:pPr>
            <a:r>
              <a:rPr lang="en-US" altLang="ja-JP" sz="825" kern="1200" dirty="0">
                <a:solidFill>
                  <a:srgbClr val="313131"/>
                </a:solidFill>
                <a:ea typeface="ＭＳ Ｐゴシック" charset="-128"/>
                <a:cs typeface="+mn-cs"/>
              </a:rPr>
              <a:t>Detailed planning</a:t>
            </a:r>
          </a:p>
        </p:txBody>
      </p:sp>
      <p:sp>
        <p:nvSpPr>
          <p:cNvPr id="782371" name="Rectangle 35"/>
          <p:cNvSpPr>
            <a:spLocks noChangeArrowheads="1"/>
          </p:cNvSpPr>
          <p:nvPr/>
        </p:nvSpPr>
        <p:spPr bwMode="auto">
          <a:xfrm>
            <a:off x="6480572" y="3507581"/>
            <a:ext cx="614363" cy="439341"/>
          </a:xfrm>
          <a:prstGeom prst="rect">
            <a:avLst/>
          </a:prstGeom>
          <a:solidFill>
            <a:schemeClr val="bg1"/>
          </a:solidFill>
          <a:ln w="12700">
            <a:solidFill>
              <a:srgbClr val="B4B4B4"/>
            </a:solidFill>
            <a:miter lim="800000"/>
            <a:headEnd type="none" w="sm" len="sm"/>
            <a:tailEnd type="none" w="sm" len="sm"/>
          </a:ln>
        </p:spPr>
        <p:txBody>
          <a:bodyPr wrap="square" lIns="27000" tIns="27000" rIns="27000" bIns="27000" anchor="ctr">
            <a:noAutofit/>
          </a:bodyPr>
          <a:lstStyle/>
          <a:p>
            <a:pPr algn="ctr" defTabSz="685800">
              <a:buClrTx/>
            </a:pPr>
            <a:r>
              <a:rPr lang="en-US" altLang="ja-JP" sz="825" kern="1200" dirty="0">
                <a:solidFill>
                  <a:srgbClr val="313131"/>
                </a:solidFill>
                <a:ea typeface="ＭＳ Ｐゴシック" charset="-128"/>
                <a:cs typeface="+mn-cs"/>
              </a:rPr>
              <a:t>Performance mgmt</a:t>
            </a:r>
          </a:p>
        </p:txBody>
      </p:sp>
      <p:sp>
        <p:nvSpPr>
          <p:cNvPr id="782372" name="Oval 36"/>
          <p:cNvSpPr>
            <a:spLocks noChangeArrowheads="1"/>
          </p:cNvSpPr>
          <p:nvPr/>
        </p:nvSpPr>
        <p:spPr bwMode="auto">
          <a:xfrm>
            <a:off x="6399610" y="2905125"/>
            <a:ext cx="776288" cy="357188"/>
          </a:xfrm>
          <a:prstGeom prst="ellipse">
            <a:avLst/>
          </a:prstGeom>
          <a:solidFill>
            <a:srgbClr val="575757"/>
          </a:solidFill>
          <a:ln w="12700" algn="ctr">
            <a:solidFill>
              <a:schemeClr val="bg1"/>
            </a:solidFill>
            <a:round/>
            <a:headEnd type="none" w="sm" len="sm"/>
            <a:tailEnd type="none" w="sm" len="sm"/>
          </a:ln>
        </p:spPr>
        <p:txBody>
          <a:bodyPr wrap="square" lIns="27000" tIns="27000" rIns="27000" bIns="27000" anchor="ctr">
            <a:noAutofit/>
          </a:bodyPr>
          <a:lstStyle/>
          <a:p>
            <a:pPr algn="ctr" defTabSz="685800">
              <a:buClrTx/>
            </a:pPr>
            <a:r>
              <a:rPr lang="en-US" altLang="ja-JP" sz="825" kern="1200">
                <a:solidFill>
                  <a:prstClr val="white"/>
                </a:solidFill>
                <a:ea typeface="ＭＳ Ｐゴシック" charset="-128"/>
                <a:cs typeface="+mn-cs"/>
              </a:rPr>
              <a:t>Actions</a:t>
            </a:r>
          </a:p>
        </p:txBody>
      </p:sp>
      <p:sp>
        <p:nvSpPr>
          <p:cNvPr id="782373" name="Text Box 37"/>
          <p:cNvSpPr txBox="1">
            <a:spLocks noChangeArrowheads="1"/>
          </p:cNvSpPr>
          <p:nvPr/>
        </p:nvSpPr>
        <p:spPr bwMode="auto">
          <a:xfrm>
            <a:off x="2084785" y="1441240"/>
            <a:ext cx="524609" cy="216110"/>
          </a:xfrm>
          <a:prstGeom prst="rect">
            <a:avLst/>
          </a:prstGeom>
          <a:noFill/>
          <a:ln w="9525">
            <a:noFill/>
            <a:miter lim="800000"/>
            <a:headEnd type="none" w="sm" len="sm"/>
            <a:tailEnd type="none" w="med" len="lg"/>
          </a:ln>
        </p:spPr>
        <p:txBody>
          <a:bodyPr wrap="square" lIns="27000" tIns="27000" rIns="27000" bIns="27000">
            <a:noAutofit/>
          </a:bodyPr>
          <a:lstStyle/>
          <a:p>
            <a:pPr defTabSz="685800">
              <a:buClrTx/>
            </a:pPr>
            <a:r>
              <a:rPr lang="en-US" altLang="ja-JP" sz="825" b="1" kern="1200" dirty="0">
                <a:solidFill>
                  <a:srgbClr val="313131"/>
                </a:solidFill>
                <a:ea typeface="ＭＳ Ｐゴシック" charset="-128"/>
                <a:cs typeface="+mn-cs"/>
              </a:rPr>
              <a:t>Phase I</a:t>
            </a:r>
          </a:p>
        </p:txBody>
      </p:sp>
      <p:sp>
        <p:nvSpPr>
          <p:cNvPr id="782374" name="Text Box 38"/>
          <p:cNvSpPr txBox="1">
            <a:spLocks noChangeArrowheads="1"/>
          </p:cNvSpPr>
          <p:nvPr/>
        </p:nvSpPr>
        <p:spPr bwMode="auto">
          <a:xfrm>
            <a:off x="3187303" y="1441240"/>
            <a:ext cx="561878" cy="216110"/>
          </a:xfrm>
          <a:prstGeom prst="rect">
            <a:avLst/>
          </a:prstGeom>
          <a:noFill/>
          <a:ln w="9525">
            <a:noFill/>
            <a:miter lim="800000"/>
            <a:headEnd type="none" w="sm" len="sm"/>
            <a:tailEnd type="none" w="med" len="lg"/>
          </a:ln>
        </p:spPr>
        <p:txBody>
          <a:bodyPr wrap="square" lIns="27000" tIns="27000" rIns="27000" bIns="27000">
            <a:noAutofit/>
          </a:bodyPr>
          <a:lstStyle/>
          <a:p>
            <a:pPr defTabSz="685800">
              <a:buClrTx/>
            </a:pPr>
            <a:r>
              <a:rPr lang="en-US" altLang="ja-JP" sz="825" b="1" kern="1200" dirty="0">
                <a:solidFill>
                  <a:srgbClr val="313131"/>
                </a:solidFill>
                <a:ea typeface="ＭＳ Ｐゴシック" charset="-128"/>
                <a:cs typeface="+mn-cs"/>
              </a:rPr>
              <a:t>Phase II</a:t>
            </a:r>
          </a:p>
        </p:txBody>
      </p:sp>
      <p:sp>
        <p:nvSpPr>
          <p:cNvPr id="782375" name="Text Box 39"/>
          <p:cNvSpPr txBox="1">
            <a:spLocks noChangeArrowheads="1"/>
          </p:cNvSpPr>
          <p:nvPr/>
        </p:nvSpPr>
        <p:spPr bwMode="auto">
          <a:xfrm>
            <a:off x="4830366" y="1441240"/>
            <a:ext cx="599148" cy="216110"/>
          </a:xfrm>
          <a:prstGeom prst="rect">
            <a:avLst/>
          </a:prstGeom>
          <a:noFill/>
          <a:ln w="9525">
            <a:noFill/>
            <a:miter lim="800000"/>
            <a:headEnd type="none" w="sm" len="sm"/>
            <a:tailEnd type="none" w="med" len="lg"/>
          </a:ln>
        </p:spPr>
        <p:txBody>
          <a:bodyPr wrap="square" lIns="27000" tIns="27000" rIns="27000" bIns="27000">
            <a:noAutofit/>
          </a:bodyPr>
          <a:lstStyle/>
          <a:p>
            <a:pPr defTabSz="685800">
              <a:buClrTx/>
            </a:pPr>
            <a:r>
              <a:rPr lang="en-US" altLang="ja-JP" sz="825" b="1" kern="1200">
                <a:solidFill>
                  <a:srgbClr val="313131"/>
                </a:solidFill>
                <a:ea typeface="ＭＳ Ｐゴシック" charset="-128"/>
                <a:cs typeface="+mn-cs"/>
              </a:rPr>
              <a:t>Phase III</a:t>
            </a:r>
          </a:p>
        </p:txBody>
      </p:sp>
      <p:sp>
        <p:nvSpPr>
          <p:cNvPr id="782376" name="Text Box 40"/>
          <p:cNvSpPr txBox="1">
            <a:spLocks noChangeArrowheads="1"/>
          </p:cNvSpPr>
          <p:nvPr/>
        </p:nvSpPr>
        <p:spPr bwMode="auto">
          <a:xfrm>
            <a:off x="6482953" y="1441240"/>
            <a:ext cx="614777" cy="216110"/>
          </a:xfrm>
          <a:prstGeom prst="rect">
            <a:avLst/>
          </a:prstGeom>
          <a:noFill/>
          <a:ln w="9525">
            <a:noFill/>
            <a:miter lim="800000"/>
            <a:headEnd type="none" w="sm" len="sm"/>
            <a:tailEnd type="none" w="med" len="lg"/>
          </a:ln>
        </p:spPr>
        <p:txBody>
          <a:bodyPr wrap="square" lIns="27000" tIns="27000" rIns="27000" bIns="27000">
            <a:noAutofit/>
          </a:bodyPr>
          <a:lstStyle/>
          <a:p>
            <a:pPr defTabSz="685800">
              <a:buClrTx/>
            </a:pPr>
            <a:r>
              <a:rPr lang="en-US" altLang="ja-JP" sz="825" b="1" kern="1200">
                <a:solidFill>
                  <a:srgbClr val="313131"/>
                </a:solidFill>
                <a:ea typeface="ＭＳ Ｐゴシック" charset="-128"/>
                <a:cs typeface="+mn-cs"/>
              </a:rPr>
              <a:t>Phase IV</a:t>
            </a:r>
          </a:p>
        </p:txBody>
      </p:sp>
      <p:sp>
        <p:nvSpPr>
          <p:cNvPr id="43"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Tree>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1394" name="Title 1"/>
          <p:cNvSpPr>
            <a:spLocks noGrp="1"/>
          </p:cNvSpPr>
          <p:nvPr>
            <p:ph type="title"/>
          </p:nvPr>
        </p:nvSpPr>
        <p:spPr/>
        <p:txBody>
          <a:bodyPr/>
          <a:lstStyle/>
          <a:p>
            <a:r>
              <a:rPr lang="en-US" dirty="0">
                <a:solidFill>
                  <a:srgbClr val="81BC00"/>
                </a:solidFill>
              </a:rPr>
              <a:t>Tables </a:t>
            </a:r>
            <a:br>
              <a:rPr lang="en-US" dirty="0">
                <a:solidFill>
                  <a:srgbClr val="81BC00"/>
                </a:solidFill>
              </a:rPr>
            </a:br>
            <a:r>
              <a:rPr lang="en-US" dirty="0">
                <a:solidFill>
                  <a:srgbClr val="575757"/>
                </a:solidFill>
              </a:rPr>
              <a:t>Table with full column of bullets and dashes</a:t>
            </a:r>
          </a:p>
        </p:txBody>
      </p:sp>
      <p:graphicFrame>
        <p:nvGraphicFramePr>
          <p:cNvPr id="4" name="Group 3"/>
          <p:cNvGraphicFramePr>
            <a:graphicFrameLocks/>
          </p:cNvGraphicFramePr>
          <p:nvPr/>
        </p:nvGraphicFramePr>
        <p:xfrm>
          <a:off x="1440656" y="1268730"/>
          <a:ext cx="6262688" cy="3352800"/>
        </p:xfrm>
        <a:graphic>
          <a:graphicData uri="http://schemas.openxmlformats.org/drawingml/2006/table">
            <a:tbl>
              <a:tblPr/>
              <a:tblGrid>
                <a:gridCol w="1566767">
                  <a:extLst>
                    <a:ext uri="{9D8B030D-6E8A-4147-A177-3AD203B41FA5}">
                      <a16:colId xmlns:a16="http://schemas.microsoft.com/office/drawing/2014/main" val="20000"/>
                    </a:ext>
                  </a:extLst>
                </a:gridCol>
                <a:gridCol w="1564577">
                  <a:extLst>
                    <a:ext uri="{9D8B030D-6E8A-4147-A177-3AD203B41FA5}">
                      <a16:colId xmlns:a16="http://schemas.microsoft.com/office/drawing/2014/main" val="20001"/>
                    </a:ext>
                  </a:extLst>
                </a:gridCol>
                <a:gridCol w="1566767">
                  <a:extLst>
                    <a:ext uri="{9D8B030D-6E8A-4147-A177-3AD203B41FA5}">
                      <a16:colId xmlns:a16="http://schemas.microsoft.com/office/drawing/2014/main" val="20002"/>
                    </a:ext>
                  </a:extLst>
                </a:gridCol>
                <a:gridCol w="1564577">
                  <a:extLst>
                    <a:ext uri="{9D8B030D-6E8A-4147-A177-3AD203B41FA5}">
                      <a16:colId xmlns:a16="http://schemas.microsoft.com/office/drawing/2014/main" val="20003"/>
                    </a:ext>
                  </a:extLst>
                </a:gridCol>
              </a:tblGrid>
              <a:tr h="335474">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27000" marR="27000" marT="27000" marB="27000" anchor="ctr" anchorCtr="1" horzOverflow="overflow">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27000" marR="27000" marT="27000" marB="2700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27000" marR="27000" marT="27000" marB="2700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27000" marR="27000" marT="27000" marB="27000" anchor="ctr" anchorCtr="1" horzOverflow="overflow">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A1DE"/>
                    </a:solidFill>
                  </a:tcPr>
                </a:tc>
                <a:extLst>
                  <a:ext uri="{0D108BD9-81ED-4DB2-BD59-A6C34878D82A}">
                    <a16:rowId xmlns:a16="http://schemas.microsoft.com/office/drawing/2014/main" val="10000"/>
                  </a:ext>
                </a:extLst>
              </a:tr>
              <a:tr h="1508663">
                <a:tc>
                  <a:txBody>
                    <a:body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800" b="0" i="0" u="none" strike="noStrike" kern="1200" cap="none" spc="0" normalizeH="0" baseline="0" noProof="0" dirty="0">
                          <a:ln>
                            <a:noFill/>
                          </a:ln>
                          <a:solidFill>
                            <a:srgbClr val="313131"/>
                          </a:solidFill>
                          <a:effectLst/>
                          <a:uLnTx/>
                          <a:uFillTx/>
                          <a:latin typeface="+mn-lt"/>
                          <a:ea typeface="+mn-ea"/>
                          <a:cs typeface="+mn-cs"/>
                        </a:rPr>
                        <a:t>Level 1 text  </a:t>
                      </a:r>
                    </a:p>
                    <a:p>
                      <a:pPr marL="274320" marR="0" lvl="1"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US" sz="800" b="0" i="0" u="none" strike="noStrike" kern="1200" cap="none" spc="0" normalizeH="0" baseline="0" noProof="0" dirty="0">
                          <a:ln>
                            <a:noFill/>
                          </a:ln>
                          <a:solidFill>
                            <a:srgbClr val="313131"/>
                          </a:solidFill>
                          <a:effectLst/>
                          <a:uLnTx/>
                          <a:uFillTx/>
                          <a:latin typeface="+mn-lt"/>
                          <a:ea typeface="+mj-ea"/>
                          <a:cs typeface="+mj-cs"/>
                        </a:rPr>
                        <a:t>Level 2 text</a:t>
                      </a:r>
                    </a:p>
                    <a:p>
                      <a:pPr marL="274320" marR="0" lvl="1"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US" sz="800" b="0" i="1" u="none" strike="noStrike" kern="1200" cap="none" spc="0" normalizeH="0" baseline="0" noProof="0" dirty="0">
                          <a:ln>
                            <a:noFill/>
                          </a:ln>
                          <a:solidFill>
                            <a:srgbClr val="313131"/>
                          </a:solidFill>
                          <a:effectLst/>
                          <a:uLnTx/>
                          <a:uFillTx/>
                          <a:latin typeface="+mn-lt"/>
                          <a:ea typeface="+mj-ea"/>
                          <a:cs typeface="+mj-cs"/>
                        </a:rPr>
                        <a:t>Level 3 text </a:t>
                      </a:r>
                    </a:p>
                    <a:p>
                      <a:pPr marL="539496" marR="0" lvl="2" indent="-265176" algn="l" defTabSz="957263" rtl="0" eaLnBrk="1" fontAlgn="base" latinLnBrk="0" hangingPunct="1">
                        <a:lnSpc>
                          <a:spcPct val="100000"/>
                        </a:lnSpc>
                        <a:spcBef>
                          <a:spcPts val="600"/>
                        </a:spcBef>
                        <a:spcAft>
                          <a:spcPts val="0"/>
                        </a:spcAft>
                        <a:buClrTx/>
                        <a:buSzTx/>
                        <a:buFont typeface="Arial" charset="0"/>
                        <a:buChar char="‒"/>
                        <a:tabLst/>
                        <a:defRPr/>
                      </a:pPr>
                      <a:r>
                        <a:rPr kumimoji="0" lang="en-GB" sz="800" b="0" i="0" u="none" strike="noStrike" kern="1200" cap="none" spc="0" normalizeH="0" baseline="0" noProof="0" dirty="0">
                          <a:ln>
                            <a:noFill/>
                          </a:ln>
                          <a:solidFill>
                            <a:srgbClr val="313131"/>
                          </a:solidFill>
                          <a:effectLst/>
                          <a:uLnTx/>
                          <a:uFillTx/>
                          <a:latin typeface="+mn-lt"/>
                        </a:rPr>
                        <a:t>Level 4 text</a:t>
                      </a:r>
                    </a:p>
                    <a:p>
                      <a:pPr marL="804672" marR="0" lvl="2"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GB" sz="800" b="0" i="0" u="none" strike="noStrike" kern="1200" cap="none" spc="0" normalizeH="0" baseline="0" noProof="0" dirty="0">
                          <a:ln>
                            <a:noFill/>
                          </a:ln>
                          <a:solidFill>
                            <a:srgbClr val="313131"/>
                          </a:solidFill>
                          <a:effectLst/>
                          <a:uLnTx/>
                          <a:uFillTx/>
                          <a:latin typeface="+mn-lt"/>
                        </a:rPr>
                        <a:t>Level 5 text </a:t>
                      </a:r>
                    </a:p>
                  </a:txBody>
                  <a:tcPr marL="27000" marR="68580" marT="27000" marB="27000" horzOverflow="overflow">
                    <a:lnL cap="flat">
                      <a:noFill/>
                    </a:lnL>
                    <a:lnR>
                      <a:noFill/>
                    </a:lnR>
                    <a:lnT w="12700" cap="flat" cmpd="sng" algn="ctr">
                      <a:solidFill>
                        <a:schemeClr val="bg1"/>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800" b="0" i="0" u="none" strike="noStrike" kern="1200" cap="none" spc="0" normalizeH="0" baseline="0" noProof="0" dirty="0">
                          <a:ln>
                            <a:noFill/>
                          </a:ln>
                          <a:solidFill>
                            <a:srgbClr val="313131"/>
                          </a:solidFill>
                          <a:effectLst/>
                          <a:uLnTx/>
                          <a:uFillTx/>
                          <a:latin typeface="+mn-lt"/>
                          <a:ea typeface="+mn-ea"/>
                          <a:cs typeface="+mn-cs"/>
                        </a:rPr>
                        <a:t>Level 1 text  </a:t>
                      </a:r>
                    </a:p>
                    <a:p>
                      <a:pPr marL="274320" marR="0" lvl="1"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US" sz="800" b="0" i="0" u="none" strike="noStrike" kern="1200" cap="none" spc="0" normalizeH="0" baseline="0" noProof="0" dirty="0">
                          <a:ln>
                            <a:noFill/>
                          </a:ln>
                          <a:solidFill>
                            <a:srgbClr val="313131"/>
                          </a:solidFill>
                          <a:effectLst/>
                          <a:uLnTx/>
                          <a:uFillTx/>
                          <a:latin typeface="+mn-lt"/>
                          <a:ea typeface="+mj-ea"/>
                          <a:cs typeface="+mj-cs"/>
                        </a:rPr>
                        <a:t>Level 2 text</a:t>
                      </a:r>
                    </a:p>
                    <a:p>
                      <a:pPr marL="274320" marR="0" lvl="1"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US" sz="800" b="0" i="1" u="none" strike="noStrike" kern="1200" cap="none" spc="0" normalizeH="0" baseline="0" noProof="0" dirty="0">
                          <a:ln>
                            <a:noFill/>
                          </a:ln>
                          <a:solidFill>
                            <a:srgbClr val="313131"/>
                          </a:solidFill>
                          <a:effectLst/>
                          <a:uLnTx/>
                          <a:uFillTx/>
                          <a:latin typeface="+mn-lt"/>
                          <a:ea typeface="+mj-ea"/>
                          <a:cs typeface="+mj-cs"/>
                        </a:rPr>
                        <a:t>Level 3 text </a:t>
                      </a:r>
                    </a:p>
                    <a:p>
                      <a:pPr marL="539496" marR="0" lvl="2" indent="-265176" algn="l" defTabSz="957263" rtl="0" eaLnBrk="1" fontAlgn="base" latinLnBrk="0" hangingPunct="1">
                        <a:lnSpc>
                          <a:spcPct val="100000"/>
                        </a:lnSpc>
                        <a:spcBef>
                          <a:spcPts val="600"/>
                        </a:spcBef>
                        <a:spcAft>
                          <a:spcPts val="0"/>
                        </a:spcAft>
                        <a:buClrTx/>
                        <a:buSzTx/>
                        <a:buFont typeface="Arial" charset="0"/>
                        <a:buChar char="‒"/>
                        <a:tabLst/>
                        <a:defRPr/>
                      </a:pPr>
                      <a:r>
                        <a:rPr kumimoji="0" lang="en-GB" sz="800" b="0" i="0" u="none" strike="noStrike" kern="1200" cap="none" spc="0" normalizeH="0" baseline="0" noProof="0" dirty="0">
                          <a:ln>
                            <a:noFill/>
                          </a:ln>
                          <a:solidFill>
                            <a:srgbClr val="313131"/>
                          </a:solidFill>
                          <a:effectLst/>
                          <a:uLnTx/>
                          <a:uFillTx/>
                          <a:latin typeface="+mn-lt"/>
                        </a:rPr>
                        <a:t>Level 4 text</a:t>
                      </a:r>
                    </a:p>
                    <a:p>
                      <a:pPr marL="804672" marR="0" lvl="2"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GB" sz="800" b="0" i="0" u="none" strike="noStrike" kern="1200" cap="none" spc="0" normalizeH="0" baseline="0" noProof="0" dirty="0">
                          <a:ln>
                            <a:noFill/>
                          </a:ln>
                          <a:solidFill>
                            <a:srgbClr val="313131"/>
                          </a:solidFill>
                          <a:effectLst/>
                          <a:uLnTx/>
                          <a:uFillTx/>
                          <a:latin typeface="+mn-lt"/>
                        </a:rPr>
                        <a:t>Level 5 text </a:t>
                      </a:r>
                    </a:p>
                  </a:txBody>
                  <a:tcPr marL="27000" marR="68580" marT="27000" marB="27000" horzOverflow="overflow">
                    <a:lnL>
                      <a:noFill/>
                    </a:lnL>
                    <a:lnR>
                      <a:noFill/>
                    </a:lnR>
                    <a:lnT w="12700" cap="flat" cmpd="sng" algn="ctr">
                      <a:solidFill>
                        <a:schemeClr val="bg1"/>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800" b="0" i="0" u="none" strike="noStrike" kern="1200" cap="none" spc="0" normalizeH="0" baseline="0" noProof="0" dirty="0">
                          <a:ln>
                            <a:noFill/>
                          </a:ln>
                          <a:solidFill>
                            <a:srgbClr val="313131"/>
                          </a:solidFill>
                          <a:effectLst/>
                          <a:uLnTx/>
                          <a:uFillTx/>
                          <a:latin typeface="+mn-lt"/>
                          <a:ea typeface="+mn-ea"/>
                          <a:cs typeface="+mn-cs"/>
                        </a:rPr>
                        <a:t>Level 1 text  </a:t>
                      </a:r>
                    </a:p>
                    <a:p>
                      <a:pPr marL="274320" marR="0" lvl="1"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US" sz="800" b="0" i="0" u="none" strike="noStrike" kern="1200" cap="none" spc="0" normalizeH="0" baseline="0" noProof="0" dirty="0">
                          <a:ln>
                            <a:noFill/>
                          </a:ln>
                          <a:solidFill>
                            <a:srgbClr val="313131"/>
                          </a:solidFill>
                          <a:effectLst/>
                          <a:uLnTx/>
                          <a:uFillTx/>
                          <a:latin typeface="+mn-lt"/>
                          <a:ea typeface="+mj-ea"/>
                          <a:cs typeface="+mj-cs"/>
                        </a:rPr>
                        <a:t>Level 2 text</a:t>
                      </a:r>
                    </a:p>
                    <a:p>
                      <a:pPr marL="274320" marR="0" lvl="1"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US" sz="800" b="0" i="1" u="none" strike="noStrike" kern="1200" cap="none" spc="0" normalizeH="0" baseline="0" noProof="0" dirty="0">
                          <a:ln>
                            <a:noFill/>
                          </a:ln>
                          <a:solidFill>
                            <a:srgbClr val="313131"/>
                          </a:solidFill>
                          <a:effectLst/>
                          <a:uLnTx/>
                          <a:uFillTx/>
                          <a:latin typeface="+mn-lt"/>
                          <a:ea typeface="+mj-ea"/>
                          <a:cs typeface="+mj-cs"/>
                        </a:rPr>
                        <a:t>Level 3 text </a:t>
                      </a:r>
                    </a:p>
                    <a:p>
                      <a:pPr marL="539496" marR="0" lvl="2" indent="-265176" algn="l" defTabSz="957263" rtl="0" eaLnBrk="1" fontAlgn="base" latinLnBrk="0" hangingPunct="1">
                        <a:lnSpc>
                          <a:spcPct val="100000"/>
                        </a:lnSpc>
                        <a:spcBef>
                          <a:spcPts val="600"/>
                        </a:spcBef>
                        <a:spcAft>
                          <a:spcPts val="0"/>
                        </a:spcAft>
                        <a:buClrTx/>
                        <a:buSzTx/>
                        <a:buFont typeface="Arial" charset="0"/>
                        <a:buChar char="‒"/>
                        <a:tabLst/>
                        <a:defRPr/>
                      </a:pPr>
                      <a:r>
                        <a:rPr kumimoji="0" lang="en-GB" sz="800" b="0" i="0" u="none" strike="noStrike" kern="1200" cap="none" spc="0" normalizeH="0" baseline="0" noProof="0" dirty="0">
                          <a:ln>
                            <a:noFill/>
                          </a:ln>
                          <a:solidFill>
                            <a:srgbClr val="313131"/>
                          </a:solidFill>
                          <a:effectLst/>
                          <a:uLnTx/>
                          <a:uFillTx/>
                          <a:latin typeface="+mn-lt"/>
                        </a:rPr>
                        <a:t>Level 4 text</a:t>
                      </a:r>
                    </a:p>
                    <a:p>
                      <a:pPr marL="804672" marR="0" lvl="2"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GB" sz="800" b="0" i="0" u="none" strike="noStrike" kern="1200" cap="none" spc="0" normalizeH="0" baseline="0" noProof="0" dirty="0">
                          <a:ln>
                            <a:noFill/>
                          </a:ln>
                          <a:solidFill>
                            <a:srgbClr val="313131"/>
                          </a:solidFill>
                          <a:effectLst/>
                          <a:uLnTx/>
                          <a:uFillTx/>
                          <a:latin typeface="+mn-lt"/>
                        </a:rPr>
                        <a:t>Level 5 text </a:t>
                      </a:r>
                    </a:p>
                  </a:txBody>
                  <a:tcPr marL="27000" marR="68580" marT="27000" marB="27000" horzOverflow="overflow">
                    <a:lnL>
                      <a:noFill/>
                    </a:lnL>
                    <a:lnR>
                      <a:noFill/>
                    </a:lnR>
                    <a:lnT w="12700" cap="flat" cmpd="sng" algn="ctr">
                      <a:solidFill>
                        <a:schemeClr val="bg1"/>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800" b="0" i="0" u="none" strike="noStrike" kern="1200" cap="none" spc="0" normalizeH="0" baseline="0" noProof="0" dirty="0">
                          <a:ln>
                            <a:noFill/>
                          </a:ln>
                          <a:solidFill>
                            <a:srgbClr val="313131"/>
                          </a:solidFill>
                          <a:effectLst/>
                          <a:uLnTx/>
                          <a:uFillTx/>
                          <a:latin typeface="+mn-lt"/>
                          <a:ea typeface="+mn-ea"/>
                          <a:cs typeface="+mn-cs"/>
                        </a:rPr>
                        <a:t>Level 1 text  </a:t>
                      </a:r>
                    </a:p>
                    <a:p>
                      <a:pPr marL="274320" marR="0" lvl="1"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US" sz="800" b="0" i="0" u="none" strike="noStrike" kern="1200" cap="none" spc="0" normalizeH="0" baseline="0" noProof="0" dirty="0">
                          <a:ln>
                            <a:noFill/>
                          </a:ln>
                          <a:solidFill>
                            <a:srgbClr val="313131"/>
                          </a:solidFill>
                          <a:effectLst/>
                          <a:uLnTx/>
                          <a:uFillTx/>
                          <a:latin typeface="+mn-lt"/>
                          <a:ea typeface="+mj-ea"/>
                          <a:cs typeface="+mj-cs"/>
                        </a:rPr>
                        <a:t>Level 2 text</a:t>
                      </a:r>
                    </a:p>
                    <a:p>
                      <a:pPr marL="274320" marR="0" lvl="1"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US" sz="800" b="0" i="1" u="none" strike="noStrike" kern="1200" cap="none" spc="0" normalizeH="0" baseline="0" noProof="0" dirty="0">
                          <a:ln>
                            <a:noFill/>
                          </a:ln>
                          <a:solidFill>
                            <a:srgbClr val="313131"/>
                          </a:solidFill>
                          <a:effectLst/>
                          <a:uLnTx/>
                          <a:uFillTx/>
                          <a:latin typeface="+mn-lt"/>
                          <a:ea typeface="+mj-ea"/>
                          <a:cs typeface="+mj-cs"/>
                        </a:rPr>
                        <a:t>Level 3 text </a:t>
                      </a:r>
                    </a:p>
                    <a:p>
                      <a:pPr marL="539496" marR="0" lvl="2" indent="-265176" algn="l" defTabSz="957263" rtl="0" eaLnBrk="1" fontAlgn="base" latinLnBrk="0" hangingPunct="1">
                        <a:lnSpc>
                          <a:spcPct val="100000"/>
                        </a:lnSpc>
                        <a:spcBef>
                          <a:spcPts val="600"/>
                        </a:spcBef>
                        <a:spcAft>
                          <a:spcPts val="0"/>
                        </a:spcAft>
                        <a:buClrTx/>
                        <a:buSzTx/>
                        <a:buFont typeface="Arial" charset="0"/>
                        <a:buChar char="‒"/>
                        <a:tabLst/>
                        <a:defRPr/>
                      </a:pPr>
                      <a:r>
                        <a:rPr kumimoji="0" lang="en-GB" sz="800" b="0" i="0" u="none" strike="noStrike" kern="1200" cap="none" spc="0" normalizeH="0" baseline="0" noProof="0" dirty="0">
                          <a:ln>
                            <a:noFill/>
                          </a:ln>
                          <a:solidFill>
                            <a:srgbClr val="313131"/>
                          </a:solidFill>
                          <a:effectLst/>
                          <a:uLnTx/>
                          <a:uFillTx/>
                          <a:latin typeface="+mn-lt"/>
                        </a:rPr>
                        <a:t>Level 4 text</a:t>
                      </a:r>
                    </a:p>
                    <a:p>
                      <a:pPr marL="804672" marR="0" lvl="2"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GB" sz="800" b="0" i="0" u="none" strike="noStrike" kern="1200" cap="none" spc="0" normalizeH="0" baseline="0" noProof="0" dirty="0">
                          <a:ln>
                            <a:noFill/>
                          </a:ln>
                          <a:solidFill>
                            <a:srgbClr val="313131"/>
                          </a:solidFill>
                          <a:effectLst/>
                          <a:uLnTx/>
                          <a:uFillTx/>
                          <a:latin typeface="+mn-lt"/>
                        </a:rPr>
                        <a:t>Level 5 text </a:t>
                      </a:r>
                    </a:p>
                  </a:txBody>
                  <a:tcPr marL="27000" marR="68580" marT="27000" marB="27000" horzOverflow="overflow">
                    <a:lnL>
                      <a:noFill/>
                    </a:lnL>
                    <a:lnR cap="flat">
                      <a:noFill/>
                    </a:lnR>
                    <a:lnT w="12700" cap="flat" cmpd="sng" algn="ctr">
                      <a:solidFill>
                        <a:schemeClr val="bg1"/>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508663">
                <a:tc>
                  <a:txBody>
                    <a:body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800" b="0" i="0" u="none" strike="noStrike" kern="1200" cap="none" spc="0" normalizeH="0" baseline="0" noProof="0" dirty="0">
                          <a:ln>
                            <a:noFill/>
                          </a:ln>
                          <a:solidFill>
                            <a:srgbClr val="313131"/>
                          </a:solidFill>
                          <a:effectLst/>
                          <a:uLnTx/>
                          <a:uFillTx/>
                          <a:latin typeface="+mn-lt"/>
                          <a:ea typeface="+mn-ea"/>
                          <a:cs typeface="+mn-cs"/>
                        </a:rPr>
                        <a:t>Level 1 text  </a:t>
                      </a:r>
                    </a:p>
                    <a:p>
                      <a:pPr marL="274320" marR="0" lvl="1"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US" sz="800" b="0" i="0" u="none" strike="noStrike" kern="1200" cap="none" spc="0" normalizeH="0" baseline="0" noProof="0" dirty="0">
                          <a:ln>
                            <a:noFill/>
                          </a:ln>
                          <a:solidFill>
                            <a:srgbClr val="313131"/>
                          </a:solidFill>
                          <a:effectLst/>
                          <a:uLnTx/>
                          <a:uFillTx/>
                          <a:latin typeface="+mn-lt"/>
                          <a:ea typeface="+mj-ea"/>
                          <a:cs typeface="+mj-cs"/>
                        </a:rPr>
                        <a:t>Level 2 text</a:t>
                      </a:r>
                    </a:p>
                    <a:p>
                      <a:pPr marL="274320" marR="0" lvl="1"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US" sz="800" b="0" i="1" u="none" strike="noStrike" kern="1200" cap="none" spc="0" normalizeH="0" baseline="0" noProof="0" dirty="0">
                          <a:ln>
                            <a:noFill/>
                          </a:ln>
                          <a:solidFill>
                            <a:srgbClr val="313131"/>
                          </a:solidFill>
                          <a:effectLst/>
                          <a:uLnTx/>
                          <a:uFillTx/>
                          <a:latin typeface="+mn-lt"/>
                          <a:ea typeface="+mj-ea"/>
                          <a:cs typeface="+mj-cs"/>
                        </a:rPr>
                        <a:t>Level 3 text </a:t>
                      </a:r>
                    </a:p>
                    <a:p>
                      <a:pPr marL="539496" marR="0" lvl="2" indent="-265176" algn="l" defTabSz="957263" rtl="0" eaLnBrk="1" fontAlgn="base" latinLnBrk="0" hangingPunct="1">
                        <a:lnSpc>
                          <a:spcPct val="100000"/>
                        </a:lnSpc>
                        <a:spcBef>
                          <a:spcPts val="600"/>
                        </a:spcBef>
                        <a:spcAft>
                          <a:spcPts val="0"/>
                        </a:spcAft>
                        <a:buClrTx/>
                        <a:buSzTx/>
                        <a:buFont typeface="Arial" charset="0"/>
                        <a:buChar char="‒"/>
                        <a:tabLst/>
                        <a:defRPr/>
                      </a:pPr>
                      <a:r>
                        <a:rPr kumimoji="0" lang="en-GB" sz="800" b="0" i="0" u="none" strike="noStrike" kern="1200" cap="none" spc="0" normalizeH="0" baseline="0" noProof="0" dirty="0">
                          <a:ln>
                            <a:noFill/>
                          </a:ln>
                          <a:solidFill>
                            <a:srgbClr val="313131"/>
                          </a:solidFill>
                          <a:effectLst/>
                          <a:uLnTx/>
                          <a:uFillTx/>
                          <a:latin typeface="+mn-lt"/>
                        </a:rPr>
                        <a:t>Level 4 text</a:t>
                      </a:r>
                    </a:p>
                    <a:p>
                      <a:pPr marL="804672" marR="0" lvl="2"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GB" sz="800" b="0" i="0" u="none" strike="noStrike" kern="1200" cap="none" spc="0" normalizeH="0" baseline="0" noProof="0" dirty="0">
                          <a:ln>
                            <a:noFill/>
                          </a:ln>
                          <a:solidFill>
                            <a:srgbClr val="313131"/>
                          </a:solidFill>
                          <a:effectLst/>
                          <a:uLnTx/>
                          <a:uFillTx/>
                          <a:latin typeface="+mn-lt"/>
                        </a:rPr>
                        <a:t>Level 5 text </a:t>
                      </a:r>
                    </a:p>
                  </a:txBody>
                  <a:tcPr marL="27000" marR="68580" marT="27000" marB="27000" horzOverflow="overflow">
                    <a:lnL cap="flat">
                      <a:noFill/>
                    </a:lnL>
                    <a:lnR>
                      <a:noFill/>
                    </a:lnR>
                    <a:lnT w="12700" cap="flat" cmpd="sng" algn="ctr">
                      <a:solidFill>
                        <a:srgbClr val="00A1DE"/>
                      </a:solidFill>
                      <a:prstDash val="solid"/>
                      <a:round/>
                      <a:headEnd type="none" w="med" len="med"/>
                      <a:tailEnd type="none" w="med" len="med"/>
                    </a:lnT>
                    <a:lnB cap="flat">
                      <a:noFill/>
                    </a:lnB>
                    <a:lnTlToBr>
                      <a:noFill/>
                    </a:lnTlToBr>
                    <a:lnBlToTr>
                      <a:noFill/>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800" b="0" i="0" u="none" strike="noStrike" kern="1200" cap="none" spc="0" normalizeH="0" baseline="0" noProof="0" dirty="0">
                          <a:ln>
                            <a:noFill/>
                          </a:ln>
                          <a:solidFill>
                            <a:srgbClr val="313131"/>
                          </a:solidFill>
                          <a:effectLst/>
                          <a:uLnTx/>
                          <a:uFillTx/>
                          <a:latin typeface="+mn-lt"/>
                          <a:ea typeface="+mn-ea"/>
                          <a:cs typeface="+mn-cs"/>
                        </a:rPr>
                        <a:t>Level 1 text  </a:t>
                      </a:r>
                    </a:p>
                    <a:p>
                      <a:pPr marL="274320" marR="0" lvl="1"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US" sz="800" b="0" i="0" u="none" strike="noStrike" kern="1200" cap="none" spc="0" normalizeH="0" baseline="0" noProof="0" dirty="0">
                          <a:ln>
                            <a:noFill/>
                          </a:ln>
                          <a:solidFill>
                            <a:srgbClr val="313131"/>
                          </a:solidFill>
                          <a:effectLst/>
                          <a:uLnTx/>
                          <a:uFillTx/>
                          <a:latin typeface="+mn-lt"/>
                          <a:ea typeface="+mj-ea"/>
                          <a:cs typeface="+mj-cs"/>
                        </a:rPr>
                        <a:t>Level 2 text</a:t>
                      </a:r>
                    </a:p>
                    <a:p>
                      <a:pPr marL="274320" marR="0" lvl="1"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US" sz="800" b="0" i="1" u="none" strike="noStrike" kern="1200" cap="none" spc="0" normalizeH="0" baseline="0" noProof="0" dirty="0">
                          <a:ln>
                            <a:noFill/>
                          </a:ln>
                          <a:solidFill>
                            <a:srgbClr val="313131"/>
                          </a:solidFill>
                          <a:effectLst/>
                          <a:uLnTx/>
                          <a:uFillTx/>
                          <a:latin typeface="+mn-lt"/>
                          <a:ea typeface="+mj-ea"/>
                          <a:cs typeface="+mj-cs"/>
                        </a:rPr>
                        <a:t>Level 3 text </a:t>
                      </a:r>
                    </a:p>
                    <a:p>
                      <a:pPr marL="539496" marR="0" lvl="2" indent="-265176" algn="l" defTabSz="957263" rtl="0" eaLnBrk="1" fontAlgn="base" latinLnBrk="0" hangingPunct="1">
                        <a:lnSpc>
                          <a:spcPct val="100000"/>
                        </a:lnSpc>
                        <a:spcBef>
                          <a:spcPts val="600"/>
                        </a:spcBef>
                        <a:spcAft>
                          <a:spcPts val="0"/>
                        </a:spcAft>
                        <a:buClrTx/>
                        <a:buSzTx/>
                        <a:buFont typeface="Arial" charset="0"/>
                        <a:buChar char="‒"/>
                        <a:tabLst/>
                        <a:defRPr/>
                      </a:pPr>
                      <a:r>
                        <a:rPr kumimoji="0" lang="en-GB" sz="800" b="0" i="0" u="none" strike="noStrike" kern="1200" cap="none" spc="0" normalizeH="0" baseline="0" noProof="0" dirty="0">
                          <a:ln>
                            <a:noFill/>
                          </a:ln>
                          <a:solidFill>
                            <a:srgbClr val="313131"/>
                          </a:solidFill>
                          <a:effectLst/>
                          <a:uLnTx/>
                          <a:uFillTx/>
                          <a:latin typeface="+mn-lt"/>
                        </a:rPr>
                        <a:t>Level 4 text</a:t>
                      </a:r>
                    </a:p>
                    <a:p>
                      <a:pPr marL="804672" marR="0" lvl="2"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GB" sz="800" b="0" i="0" u="none" strike="noStrike" kern="1200" cap="none" spc="0" normalizeH="0" baseline="0" noProof="0" dirty="0">
                          <a:ln>
                            <a:noFill/>
                          </a:ln>
                          <a:solidFill>
                            <a:srgbClr val="313131"/>
                          </a:solidFill>
                          <a:effectLst/>
                          <a:uLnTx/>
                          <a:uFillTx/>
                          <a:latin typeface="+mn-lt"/>
                        </a:rPr>
                        <a:t>Level 5 text </a:t>
                      </a:r>
                    </a:p>
                  </a:txBody>
                  <a:tcPr marL="27000" marR="68580" marT="27000" marB="27000" horzOverflow="overflow">
                    <a:lnL>
                      <a:noFill/>
                    </a:lnL>
                    <a:lnR>
                      <a:noFill/>
                    </a:lnR>
                    <a:lnT w="12700" cap="flat" cmpd="sng" algn="ctr">
                      <a:solidFill>
                        <a:srgbClr val="00A1DE"/>
                      </a:solidFill>
                      <a:prstDash val="solid"/>
                      <a:round/>
                      <a:headEnd type="none" w="med" len="med"/>
                      <a:tailEnd type="none" w="med" len="med"/>
                    </a:lnT>
                    <a:lnB cap="flat">
                      <a:noFill/>
                    </a:lnB>
                    <a:lnTlToBr>
                      <a:noFill/>
                    </a:lnTlToBr>
                    <a:lnBlToTr>
                      <a:noFill/>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800" b="0" i="0" u="none" strike="noStrike" kern="1200" cap="none" spc="0" normalizeH="0" baseline="0" noProof="0" dirty="0">
                          <a:ln>
                            <a:noFill/>
                          </a:ln>
                          <a:solidFill>
                            <a:srgbClr val="313131"/>
                          </a:solidFill>
                          <a:effectLst/>
                          <a:uLnTx/>
                          <a:uFillTx/>
                          <a:latin typeface="+mn-lt"/>
                          <a:ea typeface="+mn-ea"/>
                          <a:cs typeface="+mn-cs"/>
                        </a:rPr>
                        <a:t>Level 1 text  </a:t>
                      </a:r>
                    </a:p>
                    <a:p>
                      <a:pPr marL="274320" marR="0" lvl="1"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US" sz="800" b="0" i="0" u="none" strike="noStrike" kern="1200" cap="none" spc="0" normalizeH="0" baseline="0" noProof="0" dirty="0">
                          <a:ln>
                            <a:noFill/>
                          </a:ln>
                          <a:solidFill>
                            <a:srgbClr val="313131"/>
                          </a:solidFill>
                          <a:effectLst/>
                          <a:uLnTx/>
                          <a:uFillTx/>
                          <a:latin typeface="+mn-lt"/>
                          <a:ea typeface="+mj-ea"/>
                          <a:cs typeface="+mj-cs"/>
                        </a:rPr>
                        <a:t>Level 2 text</a:t>
                      </a:r>
                    </a:p>
                    <a:p>
                      <a:pPr marL="274320" marR="0" lvl="1"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US" sz="800" b="0" i="1" u="none" strike="noStrike" kern="1200" cap="none" spc="0" normalizeH="0" baseline="0" noProof="0" dirty="0">
                          <a:ln>
                            <a:noFill/>
                          </a:ln>
                          <a:solidFill>
                            <a:srgbClr val="313131"/>
                          </a:solidFill>
                          <a:effectLst/>
                          <a:uLnTx/>
                          <a:uFillTx/>
                          <a:latin typeface="+mn-lt"/>
                          <a:ea typeface="+mj-ea"/>
                          <a:cs typeface="+mj-cs"/>
                        </a:rPr>
                        <a:t>Level 3 text </a:t>
                      </a:r>
                    </a:p>
                    <a:p>
                      <a:pPr marL="539496" marR="0" lvl="2" indent="-265176" algn="l" defTabSz="957263" rtl="0" eaLnBrk="1" fontAlgn="base" latinLnBrk="0" hangingPunct="1">
                        <a:lnSpc>
                          <a:spcPct val="100000"/>
                        </a:lnSpc>
                        <a:spcBef>
                          <a:spcPts val="600"/>
                        </a:spcBef>
                        <a:spcAft>
                          <a:spcPts val="0"/>
                        </a:spcAft>
                        <a:buClrTx/>
                        <a:buSzTx/>
                        <a:buFont typeface="Arial" charset="0"/>
                        <a:buChar char="‒"/>
                        <a:tabLst/>
                        <a:defRPr/>
                      </a:pPr>
                      <a:r>
                        <a:rPr kumimoji="0" lang="en-GB" sz="800" b="0" i="0" u="none" strike="noStrike" kern="1200" cap="none" spc="0" normalizeH="0" baseline="0" noProof="0" dirty="0">
                          <a:ln>
                            <a:noFill/>
                          </a:ln>
                          <a:solidFill>
                            <a:srgbClr val="313131"/>
                          </a:solidFill>
                          <a:effectLst/>
                          <a:uLnTx/>
                          <a:uFillTx/>
                          <a:latin typeface="+mn-lt"/>
                        </a:rPr>
                        <a:t>Level 4 text</a:t>
                      </a:r>
                    </a:p>
                    <a:p>
                      <a:pPr marL="804672" marR="0" lvl="2"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GB" sz="800" b="0" i="0" u="none" strike="noStrike" kern="1200" cap="none" spc="0" normalizeH="0" baseline="0" noProof="0" dirty="0">
                          <a:ln>
                            <a:noFill/>
                          </a:ln>
                          <a:solidFill>
                            <a:srgbClr val="313131"/>
                          </a:solidFill>
                          <a:effectLst/>
                          <a:uLnTx/>
                          <a:uFillTx/>
                          <a:latin typeface="+mn-lt"/>
                        </a:rPr>
                        <a:t>Level 5 text </a:t>
                      </a:r>
                    </a:p>
                  </a:txBody>
                  <a:tcPr marL="27000" marR="68580" marT="27000" marB="27000" horzOverflow="overflow">
                    <a:lnL>
                      <a:noFill/>
                    </a:lnL>
                    <a:lnR>
                      <a:noFill/>
                    </a:lnR>
                    <a:lnT w="12700" cap="flat" cmpd="sng" algn="ctr">
                      <a:solidFill>
                        <a:srgbClr val="00A1DE"/>
                      </a:solidFill>
                      <a:prstDash val="solid"/>
                      <a:round/>
                      <a:headEnd type="none" w="med" len="med"/>
                      <a:tailEnd type="none" w="med" len="med"/>
                    </a:lnT>
                    <a:lnB cap="flat">
                      <a:noFill/>
                    </a:lnB>
                    <a:lnTlToBr>
                      <a:noFill/>
                    </a:lnTlToBr>
                    <a:lnBlToTr>
                      <a:noFill/>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800" b="0" i="0" u="none" strike="noStrike" kern="1200" cap="none" spc="0" normalizeH="0" baseline="0" noProof="0" dirty="0">
                          <a:ln>
                            <a:noFill/>
                          </a:ln>
                          <a:solidFill>
                            <a:srgbClr val="313131"/>
                          </a:solidFill>
                          <a:effectLst/>
                          <a:uLnTx/>
                          <a:uFillTx/>
                          <a:latin typeface="+mn-lt"/>
                          <a:ea typeface="+mn-ea"/>
                          <a:cs typeface="+mn-cs"/>
                        </a:rPr>
                        <a:t>Level 1 text  </a:t>
                      </a:r>
                    </a:p>
                    <a:p>
                      <a:pPr marL="274320" marR="0" lvl="1"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US" sz="800" b="0" i="0" u="none" strike="noStrike" kern="1200" cap="none" spc="0" normalizeH="0" baseline="0" noProof="0" dirty="0">
                          <a:ln>
                            <a:noFill/>
                          </a:ln>
                          <a:solidFill>
                            <a:srgbClr val="313131"/>
                          </a:solidFill>
                          <a:effectLst/>
                          <a:uLnTx/>
                          <a:uFillTx/>
                          <a:latin typeface="+mn-lt"/>
                          <a:ea typeface="+mj-ea"/>
                          <a:cs typeface="+mj-cs"/>
                        </a:rPr>
                        <a:t>Level 2 text</a:t>
                      </a:r>
                    </a:p>
                    <a:p>
                      <a:pPr marL="274320" marR="0" lvl="1"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US" sz="800" b="0" i="1" u="none" strike="noStrike" kern="1200" cap="none" spc="0" normalizeH="0" baseline="0" noProof="0" dirty="0">
                          <a:ln>
                            <a:noFill/>
                          </a:ln>
                          <a:solidFill>
                            <a:srgbClr val="313131"/>
                          </a:solidFill>
                          <a:effectLst/>
                          <a:uLnTx/>
                          <a:uFillTx/>
                          <a:latin typeface="+mn-lt"/>
                          <a:ea typeface="+mj-ea"/>
                          <a:cs typeface="+mj-cs"/>
                        </a:rPr>
                        <a:t>Level 3 text </a:t>
                      </a:r>
                    </a:p>
                    <a:p>
                      <a:pPr marL="539496" marR="0" lvl="2" indent="-265176" algn="l" defTabSz="957263" rtl="0" eaLnBrk="1" fontAlgn="base" latinLnBrk="0" hangingPunct="1">
                        <a:lnSpc>
                          <a:spcPct val="100000"/>
                        </a:lnSpc>
                        <a:spcBef>
                          <a:spcPts val="600"/>
                        </a:spcBef>
                        <a:spcAft>
                          <a:spcPts val="0"/>
                        </a:spcAft>
                        <a:buClrTx/>
                        <a:buSzTx/>
                        <a:buFont typeface="Arial" charset="0"/>
                        <a:buChar char="‒"/>
                        <a:tabLst/>
                        <a:defRPr/>
                      </a:pPr>
                      <a:r>
                        <a:rPr kumimoji="0" lang="en-GB" sz="800" b="0" i="0" u="none" strike="noStrike" kern="1200" cap="none" spc="0" normalizeH="0" baseline="0" noProof="0" dirty="0">
                          <a:ln>
                            <a:noFill/>
                          </a:ln>
                          <a:solidFill>
                            <a:srgbClr val="313131"/>
                          </a:solidFill>
                          <a:effectLst/>
                          <a:uLnTx/>
                          <a:uFillTx/>
                          <a:latin typeface="+mn-lt"/>
                        </a:rPr>
                        <a:t>Level 4 text</a:t>
                      </a:r>
                    </a:p>
                    <a:p>
                      <a:pPr marL="804672" marR="0" lvl="2" indent="-274320" algn="l" defTabSz="957263" rtl="0" eaLnBrk="1" fontAlgn="base" latinLnBrk="0" hangingPunct="1">
                        <a:lnSpc>
                          <a:spcPct val="100000"/>
                        </a:lnSpc>
                        <a:spcBef>
                          <a:spcPts val="600"/>
                        </a:spcBef>
                        <a:spcAft>
                          <a:spcPts val="0"/>
                        </a:spcAft>
                        <a:buClrTx/>
                        <a:buSzTx/>
                        <a:buFont typeface="Arial" charset="0"/>
                        <a:buChar char="‒"/>
                        <a:tabLst/>
                        <a:defRPr/>
                      </a:pPr>
                      <a:r>
                        <a:rPr kumimoji="0" lang="en-GB" sz="800" b="0" i="0" u="none" strike="noStrike" kern="1200" cap="none" spc="0" normalizeH="0" baseline="0" noProof="0" dirty="0">
                          <a:ln>
                            <a:noFill/>
                          </a:ln>
                          <a:solidFill>
                            <a:srgbClr val="313131"/>
                          </a:solidFill>
                          <a:effectLst/>
                          <a:uLnTx/>
                          <a:uFillTx/>
                          <a:latin typeface="+mn-lt"/>
                        </a:rPr>
                        <a:t>Level 5 text </a:t>
                      </a:r>
                    </a:p>
                  </a:txBody>
                  <a:tcPr marL="27000" marR="68580" marT="27000" marB="27000" horzOverflow="overflow">
                    <a:lnL>
                      <a:noFill/>
                    </a:lnL>
                    <a:lnR cap="flat">
                      <a:noFill/>
                    </a:lnR>
                    <a:lnT w="12700" cap="flat" cmpd="sng" algn="ctr">
                      <a:solidFill>
                        <a:srgbClr val="00A1DE"/>
                      </a:solidFill>
                      <a:prstDash val="solid"/>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10002"/>
                  </a:ext>
                </a:extLst>
              </a:tr>
            </a:tbl>
          </a:graphicData>
        </a:graphic>
      </p:graphicFrame>
    </p:spTree>
  </p:cSld>
  <p:clrMapOvr>
    <a:masterClrMapping/>
  </p:clrMapOvr>
  <p:transition>
    <p:fade/>
  </p:transition>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3905" name="Title 1"/>
          <p:cNvSpPr>
            <a:spLocks noGrp="1"/>
          </p:cNvSpPr>
          <p:nvPr>
            <p:ph type="title"/>
          </p:nvPr>
        </p:nvSpPr>
        <p:spPr/>
        <p:txBody>
          <a:bodyPr/>
          <a:lstStyle/>
          <a:p>
            <a:r>
              <a:rPr lang="en-US"/>
              <a:t>Competitive strategy 3.0 framework</a:t>
            </a:r>
          </a:p>
        </p:txBody>
      </p:sp>
      <p:sp>
        <p:nvSpPr>
          <p:cNvPr id="763907" name="Text Box 3"/>
          <p:cNvSpPr txBox="1">
            <a:spLocks noChangeArrowheads="1"/>
          </p:cNvSpPr>
          <p:nvPr/>
        </p:nvSpPr>
        <p:spPr bwMode="auto">
          <a:xfrm>
            <a:off x="1529954" y="4326731"/>
            <a:ext cx="620363" cy="253916"/>
          </a:xfrm>
          <a:prstGeom prst="rect">
            <a:avLst/>
          </a:prstGeom>
          <a:noFill/>
          <a:ln w="9525" algn="ctr">
            <a:noFill/>
            <a:miter lim="800000"/>
            <a:headEnd/>
            <a:tailEnd/>
          </a:ln>
        </p:spPr>
        <p:txBody>
          <a:bodyPr wrap="none" lIns="0" tIns="0" rIns="0" bIns="0">
            <a:spAutoFit/>
          </a:bodyPr>
          <a:lstStyle/>
          <a:p>
            <a:pPr defTabSz="685800">
              <a:buClrTx/>
            </a:pPr>
            <a:r>
              <a:rPr lang="en-US" altLang="ja-JP" sz="825" kern="1200" dirty="0">
                <a:solidFill>
                  <a:srgbClr val="313131"/>
                </a:solidFill>
                <a:ea typeface="ＭＳ Ｐゴシック" charset="-128"/>
                <a:cs typeface="+mn-cs"/>
              </a:rPr>
              <a:t>Project</a:t>
            </a:r>
            <a:br>
              <a:rPr lang="en-US" altLang="ja-JP" sz="825" kern="1200" dirty="0">
                <a:solidFill>
                  <a:srgbClr val="313131"/>
                </a:solidFill>
                <a:ea typeface="ＭＳ Ｐゴシック" charset="-128"/>
                <a:cs typeface="+mn-cs"/>
              </a:rPr>
            </a:br>
            <a:r>
              <a:rPr lang="en-US" altLang="ja-JP" sz="825" kern="1200" dirty="0">
                <a:solidFill>
                  <a:srgbClr val="313131"/>
                </a:solidFill>
                <a:ea typeface="ＭＳ Ｐゴシック" charset="-128"/>
                <a:cs typeface="+mn-cs"/>
              </a:rPr>
              <a:t>management</a:t>
            </a:r>
          </a:p>
        </p:txBody>
      </p:sp>
      <p:sp>
        <p:nvSpPr>
          <p:cNvPr id="5" name="AutoShape 4"/>
          <p:cNvSpPr>
            <a:spLocks noChangeArrowheads="1"/>
          </p:cNvSpPr>
          <p:nvPr/>
        </p:nvSpPr>
        <p:spPr bwMode="auto">
          <a:xfrm>
            <a:off x="4874337" y="1371601"/>
            <a:ext cx="1289447" cy="317897"/>
          </a:xfrm>
          <a:prstGeom prst="chevron">
            <a:avLst>
              <a:gd name="adj" fmla="val 36855"/>
            </a:avLst>
          </a:prstGeom>
          <a:solidFill>
            <a:srgbClr val="00A1DE"/>
          </a:solidFill>
          <a:ln w="12700" algn="ctr">
            <a:solidFill>
              <a:schemeClr val="bg1"/>
            </a:solidFill>
            <a:miter lim="800000"/>
            <a:headEnd type="none" w="sm" len="sm"/>
            <a:tailEnd type="none" w="sm" len="sm"/>
          </a:ln>
        </p:spPr>
        <p:txBody>
          <a:bodyPr wrap="square" lIns="27000" tIns="27000" rIns="27000" bIns="27000" anchor="ctr">
            <a:noAutofit/>
          </a:bodyPr>
          <a:lstStyle/>
          <a:p>
            <a:pPr algn="ctr" defTabSz="685800">
              <a:buClrTx/>
              <a:defRPr/>
            </a:pPr>
            <a:r>
              <a:rPr lang="en-US" sz="825" b="1" kern="1200" dirty="0">
                <a:solidFill>
                  <a:prstClr val="white"/>
                </a:solidFill>
                <a:ea typeface="ＭＳ Ｐゴシック" pitchFamily="50" charset="-128"/>
                <a:cs typeface="+mn-cs"/>
              </a:rPr>
              <a:t>3. Formulate</a:t>
            </a:r>
            <a:br>
              <a:rPr lang="en-US" sz="825" b="1" kern="1200" dirty="0">
                <a:solidFill>
                  <a:prstClr val="white"/>
                </a:solidFill>
                <a:ea typeface="ＭＳ Ｐゴシック" pitchFamily="50" charset="-128"/>
                <a:cs typeface="+mn-cs"/>
              </a:rPr>
            </a:br>
            <a:r>
              <a:rPr lang="en-US" sz="825" b="1" kern="1200" dirty="0">
                <a:solidFill>
                  <a:prstClr val="white"/>
                </a:solidFill>
                <a:ea typeface="ＭＳ Ｐゴシック" pitchFamily="50" charset="-128"/>
                <a:cs typeface="+mn-cs"/>
              </a:rPr>
              <a:t>strategy</a:t>
            </a:r>
          </a:p>
        </p:txBody>
      </p:sp>
      <p:sp>
        <p:nvSpPr>
          <p:cNvPr id="6" name="AutoShape 5"/>
          <p:cNvSpPr>
            <a:spLocks noChangeArrowheads="1"/>
          </p:cNvSpPr>
          <p:nvPr/>
        </p:nvSpPr>
        <p:spPr bwMode="auto">
          <a:xfrm>
            <a:off x="6147669" y="1371601"/>
            <a:ext cx="1289447" cy="317897"/>
          </a:xfrm>
          <a:prstGeom prst="chevron">
            <a:avLst>
              <a:gd name="adj" fmla="val 36855"/>
            </a:avLst>
          </a:prstGeom>
          <a:solidFill>
            <a:srgbClr val="00A1DE"/>
          </a:solidFill>
          <a:ln w="12700" algn="ctr">
            <a:solidFill>
              <a:schemeClr val="bg1"/>
            </a:solidFill>
            <a:miter lim="800000"/>
            <a:headEnd type="none" w="sm" len="sm"/>
            <a:tailEnd type="none" w="sm" len="sm"/>
          </a:ln>
        </p:spPr>
        <p:txBody>
          <a:bodyPr wrap="square" lIns="27000" tIns="27000" rIns="27000" bIns="27000" anchor="ctr">
            <a:noAutofit/>
          </a:bodyPr>
          <a:lstStyle/>
          <a:p>
            <a:pPr algn="ctr" defTabSz="685800">
              <a:buClrTx/>
              <a:defRPr/>
            </a:pPr>
            <a:r>
              <a:rPr lang="en-US" sz="825" b="1" kern="1200" dirty="0">
                <a:solidFill>
                  <a:prstClr val="white"/>
                </a:solidFill>
                <a:ea typeface="ＭＳ Ｐゴシック" pitchFamily="50" charset="-128"/>
                <a:cs typeface="+mn-cs"/>
              </a:rPr>
              <a:t>4. Plan</a:t>
            </a:r>
            <a:br>
              <a:rPr lang="en-US" sz="825" b="1" kern="1200" dirty="0">
                <a:solidFill>
                  <a:prstClr val="white"/>
                </a:solidFill>
                <a:ea typeface="ＭＳ Ｐゴシック" pitchFamily="50" charset="-128"/>
                <a:cs typeface="+mn-cs"/>
              </a:rPr>
            </a:br>
            <a:r>
              <a:rPr lang="en-US" sz="825" b="1" kern="1200" dirty="0">
                <a:solidFill>
                  <a:prstClr val="white"/>
                </a:solidFill>
                <a:ea typeface="ＭＳ Ｐゴシック" pitchFamily="50" charset="-128"/>
                <a:cs typeface="+mn-cs"/>
              </a:rPr>
              <a:t>transformation</a:t>
            </a:r>
          </a:p>
        </p:txBody>
      </p:sp>
      <p:sp>
        <p:nvSpPr>
          <p:cNvPr id="7" name="AutoShape 6"/>
          <p:cNvSpPr>
            <a:spLocks noChangeArrowheads="1"/>
          </p:cNvSpPr>
          <p:nvPr/>
        </p:nvSpPr>
        <p:spPr bwMode="auto">
          <a:xfrm>
            <a:off x="2324100" y="1371601"/>
            <a:ext cx="1293019" cy="317897"/>
          </a:xfrm>
          <a:prstGeom prst="homePlate">
            <a:avLst>
              <a:gd name="adj" fmla="val 38784"/>
            </a:avLst>
          </a:prstGeom>
          <a:solidFill>
            <a:srgbClr val="00A1DE"/>
          </a:solidFill>
          <a:ln w="12700" algn="ctr">
            <a:solidFill>
              <a:schemeClr val="bg1"/>
            </a:solidFill>
            <a:miter lim="800000"/>
            <a:headEnd type="none" w="sm" len="sm"/>
            <a:tailEnd type="none" w="sm" len="sm"/>
          </a:ln>
        </p:spPr>
        <p:txBody>
          <a:bodyPr wrap="square" lIns="27000" tIns="27000" rIns="27000" bIns="27000" anchor="ctr">
            <a:noAutofit/>
          </a:bodyPr>
          <a:lstStyle/>
          <a:p>
            <a:pPr algn="ctr" defTabSz="685800">
              <a:buClrTx/>
              <a:defRPr/>
            </a:pPr>
            <a:r>
              <a:rPr lang="en-US" sz="825" b="1" kern="1200" dirty="0">
                <a:solidFill>
                  <a:prstClr val="white"/>
                </a:solidFill>
                <a:ea typeface="ＭＳ Ｐゴシック" pitchFamily="50" charset="-128"/>
                <a:cs typeface="+mn-cs"/>
              </a:rPr>
              <a:t>1. Evaluate</a:t>
            </a:r>
            <a:br>
              <a:rPr lang="en-US" sz="825" b="1" kern="1200" dirty="0">
                <a:solidFill>
                  <a:prstClr val="white"/>
                </a:solidFill>
                <a:ea typeface="ＭＳ Ｐゴシック" pitchFamily="50" charset="-128"/>
                <a:cs typeface="+mn-cs"/>
              </a:rPr>
            </a:br>
            <a:r>
              <a:rPr lang="en-US" sz="825" b="1" kern="1200" dirty="0">
                <a:solidFill>
                  <a:prstClr val="white"/>
                </a:solidFill>
                <a:ea typeface="ＭＳ Ｐゴシック" pitchFamily="50" charset="-128"/>
                <a:cs typeface="+mn-cs"/>
              </a:rPr>
              <a:t>situation</a:t>
            </a:r>
          </a:p>
        </p:txBody>
      </p:sp>
      <p:sp>
        <p:nvSpPr>
          <p:cNvPr id="8" name="AutoShape 7"/>
          <p:cNvSpPr>
            <a:spLocks noChangeArrowheads="1"/>
          </p:cNvSpPr>
          <p:nvPr/>
        </p:nvSpPr>
        <p:spPr bwMode="auto">
          <a:xfrm>
            <a:off x="3601005" y="1371601"/>
            <a:ext cx="1289447" cy="317897"/>
          </a:xfrm>
          <a:prstGeom prst="chevron">
            <a:avLst>
              <a:gd name="adj" fmla="val 36855"/>
            </a:avLst>
          </a:prstGeom>
          <a:solidFill>
            <a:srgbClr val="00A1DE"/>
          </a:solidFill>
          <a:ln w="12700" algn="ctr">
            <a:solidFill>
              <a:schemeClr val="bg1"/>
            </a:solidFill>
            <a:miter lim="800000"/>
            <a:headEnd type="none" w="sm" len="sm"/>
            <a:tailEnd type="none" w="sm" len="sm"/>
          </a:ln>
        </p:spPr>
        <p:txBody>
          <a:bodyPr wrap="square" lIns="27000" tIns="27000" rIns="27000" bIns="27000" anchor="ctr">
            <a:noAutofit/>
          </a:bodyPr>
          <a:lstStyle/>
          <a:p>
            <a:pPr algn="ctr" defTabSz="685800">
              <a:buClrTx/>
              <a:defRPr/>
            </a:pPr>
            <a:r>
              <a:rPr lang="en-US" sz="825" b="1" kern="1200" dirty="0">
                <a:solidFill>
                  <a:prstClr val="white"/>
                </a:solidFill>
                <a:ea typeface="ＭＳ Ｐゴシック" pitchFamily="50" charset="-128"/>
                <a:cs typeface="+mn-cs"/>
              </a:rPr>
              <a:t>2. Conduct</a:t>
            </a:r>
          </a:p>
          <a:p>
            <a:pPr algn="ctr" defTabSz="685800">
              <a:buClrTx/>
              <a:defRPr/>
            </a:pPr>
            <a:r>
              <a:rPr lang="en-US" sz="825" b="1" kern="1200" dirty="0">
                <a:solidFill>
                  <a:prstClr val="white"/>
                </a:solidFill>
                <a:ea typeface="ＭＳ Ｐゴシック" pitchFamily="50" charset="-128"/>
                <a:cs typeface="+mn-cs"/>
              </a:rPr>
              <a:t>analysis</a:t>
            </a:r>
          </a:p>
        </p:txBody>
      </p:sp>
      <p:sp>
        <p:nvSpPr>
          <p:cNvPr id="9" name="Rectangle 8"/>
          <p:cNvSpPr>
            <a:spLocks noChangeArrowheads="1"/>
          </p:cNvSpPr>
          <p:nvPr/>
        </p:nvSpPr>
        <p:spPr bwMode="auto">
          <a:xfrm>
            <a:off x="2324099" y="1712950"/>
            <a:ext cx="1152900" cy="324000"/>
          </a:xfrm>
          <a:prstGeom prst="rect">
            <a:avLst/>
          </a:prstGeom>
          <a:solidFill>
            <a:srgbClr val="313131"/>
          </a:solidFill>
          <a:ln w="12700" algn="ctr">
            <a:solidFill>
              <a:schemeClr val="bg1"/>
            </a:solidFill>
            <a:miter lim="800000"/>
            <a:headEnd type="none" w="sm" len="sm"/>
            <a:tailEnd/>
          </a:ln>
        </p:spPr>
        <p:txBody>
          <a:bodyPr wrap="square" lIns="27000" tIns="27000" rIns="27000" bIns="27000" anchor="ctr">
            <a:noAutofit/>
          </a:bodyPr>
          <a:lstStyle/>
          <a:p>
            <a:pPr algn="ctr" defTabSz="685800">
              <a:lnSpc>
                <a:spcPct val="75000"/>
              </a:lnSpc>
              <a:buClrTx/>
              <a:defRPr/>
            </a:pPr>
            <a:r>
              <a:rPr lang="en-US" altLang="ja-JP" sz="825" kern="1200" dirty="0">
                <a:solidFill>
                  <a:prstClr val="white"/>
                </a:solidFill>
                <a:ea typeface="ＭＳ Ｐゴシック" pitchFamily="50" charset="-128"/>
                <a:cs typeface="+mn-cs"/>
              </a:rPr>
              <a:t>Document strategic </a:t>
            </a:r>
            <a:br>
              <a:rPr lang="en-US" altLang="ja-JP" sz="825" kern="1200" dirty="0">
                <a:solidFill>
                  <a:prstClr val="white"/>
                </a:solidFill>
                <a:ea typeface="ＭＳ Ｐゴシック" pitchFamily="50" charset="-128"/>
                <a:cs typeface="+mn-cs"/>
              </a:rPr>
            </a:br>
            <a:r>
              <a:rPr lang="en-US" altLang="ja-JP" sz="825" kern="1200" dirty="0">
                <a:solidFill>
                  <a:prstClr val="white"/>
                </a:solidFill>
                <a:ea typeface="ＭＳ Ｐゴシック" pitchFamily="50" charset="-128"/>
                <a:cs typeface="+mn-cs"/>
              </a:rPr>
              <a:t>direction and objectives</a:t>
            </a:r>
          </a:p>
        </p:txBody>
      </p:sp>
      <p:sp>
        <p:nvSpPr>
          <p:cNvPr id="10" name="Rectangle 9"/>
          <p:cNvSpPr>
            <a:spLocks noChangeArrowheads="1"/>
          </p:cNvSpPr>
          <p:nvPr/>
        </p:nvSpPr>
        <p:spPr bwMode="auto">
          <a:xfrm>
            <a:off x="2324099" y="2089548"/>
            <a:ext cx="1152900" cy="264319"/>
          </a:xfrm>
          <a:prstGeom prst="rect">
            <a:avLst/>
          </a:prstGeom>
          <a:solidFill>
            <a:srgbClr val="8C8C8C"/>
          </a:solidFill>
          <a:ln w="12700" algn="ctr">
            <a:solidFill>
              <a:schemeClr val="bg1"/>
            </a:solidFill>
            <a:miter lim="800000"/>
            <a:headEnd type="none" w="sm" len="sm"/>
            <a:tailEnd/>
          </a:ln>
        </p:spPr>
        <p:txBody>
          <a:bodyPr wrap="square" lIns="27000" tIns="27000" rIns="27000" bIns="27000" anchor="ctr">
            <a:noAutofit/>
          </a:bodyPr>
          <a:lstStyle/>
          <a:p>
            <a:pPr algn="ctr" defTabSz="685800">
              <a:lnSpc>
                <a:spcPct val="75000"/>
              </a:lnSpc>
              <a:buClrTx/>
              <a:defRPr/>
            </a:pPr>
            <a:r>
              <a:rPr lang="en-US" altLang="ja-JP" sz="825" kern="1200" dirty="0">
                <a:solidFill>
                  <a:prstClr val="white"/>
                </a:solidFill>
                <a:ea typeface="ＭＳ Ｐゴシック" pitchFamily="50" charset="-128"/>
                <a:cs typeface="+mn-cs"/>
              </a:rPr>
              <a:t>Conduct preliminary</a:t>
            </a:r>
            <a:br>
              <a:rPr lang="en-US" altLang="ja-JP" sz="825" kern="1200" dirty="0">
                <a:solidFill>
                  <a:prstClr val="white"/>
                </a:solidFill>
                <a:ea typeface="ＭＳ Ｐゴシック" pitchFamily="50" charset="-128"/>
                <a:cs typeface="+mn-cs"/>
              </a:rPr>
            </a:br>
            <a:r>
              <a:rPr lang="en-US" altLang="ja-JP" sz="825" kern="1200" dirty="0">
                <a:solidFill>
                  <a:prstClr val="white"/>
                </a:solidFill>
                <a:ea typeface="ＭＳ Ｐゴシック" pitchFamily="50" charset="-128"/>
                <a:cs typeface="+mn-cs"/>
              </a:rPr>
              <a:t>situation assessment</a:t>
            </a:r>
          </a:p>
        </p:txBody>
      </p:sp>
      <p:sp>
        <p:nvSpPr>
          <p:cNvPr id="11" name="Rectangle 10"/>
          <p:cNvSpPr>
            <a:spLocks noChangeArrowheads="1"/>
          </p:cNvSpPr>
          <p:nvPr/>
        </p:nvSpPr>
        <p:spPr bwMode="auto">
          <a:xfrm>
            <a:off x="2324099" y="3696891"/>
            <a:ext cx="1152900" cy="263128"/>
          </a:xfrm>
          <a:prstGeom prst="rect">
            <a:avLst/>
          </a:prstGeom>
          <a:solidFill>
            <a:srgbClr val="DCDCDC"/>
          </a:solidFill>
          <a:ln w="12700" algn="ctr">
            <a:solidFill>
              <a:schemeClr val="bg1"/>
            </a:solidFill>
            <a:miter lim="800000"/>
            <a:headEnd type="none" w="sm" len="sm"/>
            <a:tailEnd/>
          </a:ln>
        </p:spPr>
        <p:txBody>
          <a:bodyPr wrap="square" lIns="27000" tIns="27000" rIns="27000" bIns="27000" anchor="ctr">
            <a:noAutofit/>
          </a:bodyPr>
          <a:lstStyle/>
          <a:p>
            <a:pPr algn="ctr" defTabSz="685800">
              <a:lnSpc>
                <a:spcPct val="75000"/>
              </a:lnSpc>
              <a:buClrTx/>
              <a:defRPr/>
            </a:pPr>
            <a:r>
              <a:rPr lang="en-US" altLang="ja-JP" sz="825" kern="1200" dirty="0">
                <a:solidFill>
                  <a:srgbClr val="313131"/>
                </a:solidFill>
                <a:ea typeface="ＭＳ Ｐゴシック" pitchFamily="50" charset="-128"/>
                <a:cs typeface="+mn-cs"/>
              </a:rPr>
              <a:t>Develop and test</a:t>
            </a:r>
            <a:br>
              <a:rPr lang="en-US" altLang="ja-JP" sz="825" kern="1200" dirty="0">
                <a:solidFill>
                  <a:srgbClr val="313131"/>
                </a:solidFill>
                <a:ea typeface="ＭＳ Ｐゴシック" pitchFamily="50" charset="-128"/>
                <a:cs typeface="+mn-cs"/>
              </a:rPr>
            </a:br>
            <a:r>
              <a:rPr lang="en-US" altLang="ja-JP" sz="825" kern="1200" dirty="0">
                <a:solidFill>
                  <a:srgbClr val="313131"/>
                </a:solidFill>
                <a:ea typeface="ＭＳ Ｐゴシック" pitchFamily="50" charset="-128"/>
                <a:cs typeface="+mn-cs"/>
              </a:rPr>
              <a:t>strategic hypotheses</a:t>
            </a:r>
          </a:p>
        </p:txBody>
      </p:sp>
      <p:sp>
        <p:nvSpPr>
          <p:cNvPr id="12" name="Rectangle 11"/>
          <p:cNvSpPr>
            <a:spLocks noChangeArrowheads="1"/>
          </p:cNvSpPr>
          <p:nvPr/>
        </p:nvSpPr>
        <p:spPr bwMode="auto">
          <a:xfrm>
            <a:off x="3615817" y="2089548"/>
            <a:ext cx="1152900" cy="264319"/>
          </a:xfrm>
          <a:prstGeom prst="rect">
            <a:avLst/>
          </a:prstGeom>
          <a:solidFill>
            <a:srgbClr val="8C8C8C"/>
          </a:solidFill>
          <a:ln w="12700" algn="ctr">
            <a:solidFill>
              <a:schemeClr val="bg1"/>
            </a:solidFill>
            <a:miter lim="800000"/>
            <a:headEnd type="none" w="sm" len="sm"/>
            <a:tailEnd/>
          </a:ln>
        </p:spPr>
        <p:txBody>
          <a:bodyPr wrap="square" lIns="27000" tIns="27000" rIns="27000" bIns="27000" anchor="ctr">
            <a:noAutofit/>
          </a:bodyPr>
          <a:lstStyle/>
          <a:p>
            <a:pPr algn="ctr" defTabSz="685800">
              <a:lnSpc>
                <a:spcPct val="75000"/>
              </a:lnSpc>
              <a:buClrTx/>
              <a:defRPr/>
            </a:pPr>
            <a:r>
              <a:rPr lang="en-US" altLang="ja-JP" sz="825" kern="1200" dirty="0">
                <a:solidFill>
                  <a:prstClr val="white"/>
                </a:solidFill>
                <a:ea typeface="ＭＳ Ｐゴシック" pitchFamily="50" charset="-128"/>
                <a:cs typeface="+mn-cs"/>
              </a:rPr>
              <a:t>Analyze market</a:t>
            </a:r>
            <a:br>
              <a:rPr lang="en-US" altLang="ja-JP" sz="825" kern="1200" dirty="0">
                <a:solidFill>
                  <a:prstClr val="white"/>
                </a:solidFill>
                <a:ea typeface="ＭＳ Ｐゴシック" pitchFamily="50" charset="-128"/>
                <a:cs typeface="+mn-cs"/>
              </a:rPr>
            </a:br>
            <a:r>
              <a:rPr lang="en-US" altLang="ja-JP" sz="825" kern="1200" dirty="0">
                <a:solidFill>
                  <a:prstClr val="white"/>
                </a:solidFill>
                <a:ea typeface="ＭＳ Ｐゴシック" pitchFamily="50" charset="-128"/>
                <a:cs typeface="+mn-cs"/>
              </a:rPr>
              <a:t>and industry</a:t>
            </a:r>
          </a:p>
        </p:txBody>
      </p:sp>
      <p:sp>
        <p:nvSpPr>
          <p:cNvPr id="13" name="Rectangle 12"/>
          <p:cNvSpPr>
            <a:spLocks noChangeArrowheads="1"/>
          </p:cNvSpPr>
          <p:nvPr/>
        </p:nvSpPr>
        <p:spPr bwMode="auto">
          <a:xfrm>
            <a:off x="3607991" y="3363516"/>
            <a:ext cx="1152900" cy="270000"/>
          </a:xfrm>
          <a:prstGeom prst="rect">
            <a:avLst/>
          </a:prstGeom>
          <a:solidFill>
            <a:srgbClr val="575757"/>
          </a:solidFill>
          <a:ln w="12700" algn="ctr">
            <a:solidFill>
              <a:schemeClr val="bg1"/>
            </a:solidFill>
            <a:miter lim="800000"/>
            <a:headEnd type="none" w="sm" len="sm"/>
            <a:tailEnd/>
          </a:ln>
        </p:spPr>
        <p:txBody>
          <a:bodyPr wrap="square" lIns="27000" tIns="27000" rIns="27000" bIns="27000" anchor="ctr">
            <a:noAutofit/>
          </a:bodyPr>
          <a:lstStyle/>
          <a:p>
            <a:pPr algn="ctr" defTabSz="685800">
              <a:lnSpc>
                <a:spcPct val="75000"/>
              </a:lnSpc>
              <a:buClrTx/>
              <a:defRPr/>
            </a:pPr>
            <a:r>
              <a:rPr lang="en-US" altLang="ja-JP" sz="825" kern="1200" dirty="0">
                <a:solidFill>
                  <a:prstClr val="white"/>
                </a:solidFill>
                <a:ea typeface="ＭＳ Ｐゴシック" pitchFamily="50" charset="-128"/>
                <a:cs typeface="+mn-cs"/>
              </a:rPr>
              <a:t>Conduct value, profiling and benchmarking</a:t>
            </a:r>
          </a:p>
        </p:txBody>
      </p:sp>
      <p:sp>
        <p:nvSpPr>
          <p:cNvPr id="14" name="Rectangle 13"/>
          <p:cNvSpPr>
            <a:spLocks noChangeArrowheads="1"/>
          </p:cNvSpPr>
          <p:nvPr/>
        </p:nvSpPr>
        <p:spPr bwMode="auto">
          <a:xfrm>
            <a:off x="3615817" y="2406254"/>
            <a:ext cx="1152900" cy="263128"/>
          </a:xfrm>
          <a:prstGeom prst="rect">
            <a:avLst/>
          </a:prstGeom>
          <a:solidFill>
            <a:srgbClr val="8C8C8C"/>
          </a:solidFill>
          <a:ln w="12700" algn="ctr">
            <a:solidFill>
              <a:schemeClr val="bg1"/>
            </a:solidFill>
            <a:miter lim="800000"/>
            <a:headEnd type="none" w="sm" len="sm"/>
            <a:tailEnd/>
          </a:ln>
        </p:spPr>
        <p:txBody>
          <a:bodyPr wrap="square" lIns="27000" tIns="27000" rIns="27000" bIns="27000" anchor="ctr">
            <a:noAutofit/>
          </a:bodyPr>
          <a:lstStyle/>
          <a:p>
            <a:pPr algn="ctr" defTabSz="685800">
              <a:lnSpc>
                <a:spcPct val="75000"/>
              </a:lnSpc>
              <a:buClrTx/>
              <a:defRPr/>
            </a:pPr>
            <a:r>
              <a:rPr lang="en-US" altLang="ja-JP" sz="825" kern="1200" dirty="0">
                <a:solidFill>
                  <a:prstClr val="white"/>
                </a:solidFill>
                <a:ea typeface="ＭＳ Ｐゴシック" pitchFamily="50" charset="-128"/>
                <a:cs typeface="+mn-cs"/>
              </a:rPr>
              <a:t>Conduct customer</a:t>
            </a:r>
            <a:br>
              <a:rPr lang="en-US" altLang="ja-JP" sz="825" kern="1200" dirty="0">
                <a:solidFill>
                  <a:prstClr val="white"/>
                </a:solidFill>
                <a:ea typeface="ＭＳ Ｐゴシック" pitchFamily="50" charset="-128"/>
                <a:cs typeface="+mn-cs"/>
              </a:rPr>
            </a:br>
            <a:r>
              <a:rPr lang="en-US" altLang="ja-JP" sz="825" kern="1200" dirty="0">
                <a:solidFill>
                  <a:prstClr val="white"/>
                </a:solidFill>
                <a:ea typeface="ＭＳ Ｐゴシック" pitchFamily="50" charset="-128"/>
                <a:cs typeface="+mn-cs"/>
              </a:rPr>
              <a:t>analysis</a:t>
            </a:r>
          </a:p>
        </p:txBody>
      </p:sp>
      <p:sp>
        <p:nvSpPr>
          <p:cNvPr id="15" name="Rectangle 14"/>
          <p:cNvSpPr>
            <a:spLocks noChangeArrowheads="1"/>
          </p:cNvSpPr>
          <p:nvPr/>
        </p:nvSpPr>
        <p:spPr bwMode="auto">
          <a:xfrm>
            <a:off x="3615817" y="2722960"/>
            <a:ext cx="1152900" cy="263128"/>
          </a:xfrm>
          <a:prstGeom prst="rect">
            <a:avLst/>
          </a:prstGeom>
          <a:solidFill>
            <a:srgbClr val="8C8C8C"/>
          </a:solidFill>
          <a:ln w="12700" algn="ctr">
            <a:solidFill>
              <a:schemeClr val="bg1"/>
            </a:solidFill>
            <a:miter lim="800000"/>
            <a:headEnd type="none" w="sm" len="sm"/>
            <a:tailEnd/>
          </a:ln>
        </p:spPr>
        <p:txBody>
          <a:bodyPr wrap="square" lIns="27000" tIns="27000" rIns="27000" bIns="27000" anchor="ctr">
            <a:noAutofit/>
          </a:bodyPr>
          <a:lstStyle/>
          <a:p>
            <a:pPr algn="ctr" defTabSz="685800">
              <a:lnSpc>
                <a:spcPct val="75000"/>
              </a:lnSpc>
              <a:buClrTx/>
              <a:defRPr/>
            </a:pPr>
            <a:r>
              <a:rPr lang="en-US" altLang="ja-JP" sz="825" kern="1200" dirty="0">
                <a:solidFill>
                  <a:prstClr val="white"/>
                </a:solidFill>
                <a:ea typeface="ＭＳ Ｐゴシック" pitchFamily="50" charset="-128"/>
                <a:cs typeface="+mn-cs"/>
              </a:rPr>
              <a:t>Analyze competition</a:t>
            </a:r>
            <a:br>
              <a:rPr lang="en-US" altLang="ja-JP" sz="825" kern="1200" dirty="0">
                <a:solidFill>
                  <a:prstClr val="white"/>
                </a:solidFill>
                <a:ea typeface="ＭＳ Ｐゴシック" pitchFamily="50" charset="-128"/>
                <a:cs typeface="+mn-cs"/>
              </a:rPr>
            </a:br>
            <a:r>
              <a:rPr lang="en-US" altLang="ja-JP" sz="825" kern="1200" dirty="0">
                <a:solidFill>
                  <a:prstClr val="white"/>
                </a:solidFill>
                <a:ea typeface="ＭＳ Ｐゴシック" pitchFamily="50" charset="-128"/>
                <a:cs typeface="+mn-cs"/>
              </a:rPr>
              <a:t>and positioning</a:t>
            </a:r>
          </a:p>
        </p:txBody>
      </p:sp>
      <p:sp>
        <p:nvSpPr>
          <p:cNvPr id="16" name="Rectangle 15"/>
          <p:cNvSpPr>
            <a:spLocks noChangeArrowheads="1"/>
          </p:cNvSpPr>
          <p:nvPr/>
        </p:nvSpPr>
        <p:spPr bwMode="auto">
          <a:xfrm>
            <a:off x="3615817" y="3696891"/>
            <a:ext cx="1152900" cy="263128"/>
          </a:xfrm>
          <a:prstGeom prst="rect">
            <a:avLst/>
          </a:prstGeom>
          <a:solidFill>
            <a:srgbClr val="DCDCDC"/>
          </a:solidFill>
          <a:ln w="12700" algn="ctr">
            <a:solidFill>
              <a:schemeClr val="bg1"/>
            </a:solidFill>
            <a:miter lim="800000"/>
            <a:headEnd type="none" w="sm" len="sm"/>
            <a:tailEnd/>
          </a:ln>
        </p:spPr>
        <p:txBody>
          <a:bodyPr wrap="square" lIns="27000" tIns="27000" rIns="27000" bIns="27000" anchor="ctr">
            <a:noAutofit/>
          </a:bodyPr>
          <a:lstStyle/>
          <a:p>
            <a:pPr algn="ctr" defTabSz="685800">
              <a:lnSpc>
                <a:spcPct val="75000"/>
              </a:lnSpc>
              <a:buClrTx/>
              <a:defRPr/>
            </a:pPr>
            <a:r>
              <a:rPr lang="en-US" altLang="ja-JP" sz="825" kern="1200" dirty="0">
                <a:solidFill>
                  <a:srgbClr val="313131"/>
                </a:solidFill>
                <a:ea typeface="ＭＳ Ｐゴシック" pitchFamily="50" charset="-128"/>
                <a:cs typeface="+mn-cs"/>
              </a:rPr>
              <a:t>Build strategic</a:t>
            </a:r>
            <a:br>
              <a:rPr lang="en-US" altLang="ja-JP" sz="825" kern="1200" dirty="0">
                <a:solidFill>
                  <a:srgbClr val="313131"/>
                </a:solidFill>
                <a:ea typeface="ＭＳ Ｐゴシック" pitchFamily="50" charset="-128"/>
                <a:cs typeface="+mn-cs"/>
              </a:rPr>
            </a:br>
            <a:r>
              <a:rPr lang="en-US" altLang="ja-JP" sz="825" kern="1200" dirty="0">
                <a:solidFill>
                  <a:srgbClr val="313131"/>
                </a:solidFill>
                <a:ea typeface="ＭＳ Ｐゴシック" pitchFamily="50" charset="-128"/>
                <a:cs typeface="+mn-cs"/>
              </a:rPr>
              <a:t>synthesis</a:t>
            </a:r>
          </a:p>
        </p:txBody>
      </p:sp>
      <p:sp>
        <p:nvSpPr>
          <p:cNvPr id="17" name="Rectangle 16"/>
          <p:cNvSpPr>
            <a:spLocks noChangeArrowheads="1"/>
          </p:cNvSpPr>
          <p:nvPr/>
        </p:nvSpPr>
        <p:spPr bwMode="auto">
          <a:xfrm>
            <a:off x="4891881" y="3696891"/>
            <a:ext cx="1152900" cy="263128"/>
          </a:xfrm>
          <a:prstGeom prst="rect">
            <a:avLst/>
          </a:prstGeom>
          <a:solidFill>
            <a:srgbClr val="DCDCDC"/>
          </a:solidFill>
          <a:ln w="12700" algn="ctr">
            <a:solidFill>
              <a:schemeClr val="bg1"/>
            </a:solidFill>
            <a:miter lim="800000"/>
            <a:headEnd type="none" w="sm" len="sm"/>
            <a:tailEnd/>
          </a:ln>
        </p:spPr>
        <p:txBody>
          <a:bodyPr wrap="square" lIns="27000" tIns="27000" rIns="27000" bIns="27000" anchor="ctr">
            <a:noAutofit/>
          </a:bodyPr>
          <a:lstStyle/>
          <a:p>
            <a:pPr algn="ctr" defTabSz="685800">
              <a:lnSpc>
                <a:spcPct val="75000"/>
              </a:lnSpc>
              <a:buClrTx/>
              <a:defRPr/>
            </a:pPr>
            <a:r>
              <a:rPr lang="en-US" altLang="ja-JP" sz="825" kern="1200" dirty="0">
                <a:solidFill>
                  <a:srgbClr val="313131"/>
                </a:solidFill>
                <a:ea typeface="ＭＳ Ｐゴシック" pitchFamily="50" charset="-128"/>
                <a:cs typeface="+mn-cs"/>
              </a:rPr>
              <a:t>Evaluate strategic </a:t>
            </a:r>
            <a:br>
              <a:rPr lang="en-US" altLang="ja-JP" sz="825" kern="1200" dirty="0">
                <a:solidFill>
                  <a:srgbClr val="313131"/>
                </a:solidFill>
                <a:ea typeface="ＭＳ Ｐゴシック" pitchFamily="50" charset="-128"/>
                <a:cs typeface="+mn-cs"/>
              </a:rPr>
            </a:br>
            <a:r>
              <a:rPr lang="en-US" altLang="ja-JP" sz="825" kern="1200" dirty="0">
                <a:solidFill>
                  <a:srgbClr val="313131"/>
                </a:solidFill>
                <a:ea typeface="ＭＳ Ｐゴシック" pitchFamily="50" charset="-128"/>
                <a:cs typeface="+mn-cs"/>
              </a:rPr>
              <a:t>options</a:t>
            </a:r>
          </a:p>
        </p:txBody>
      </p:sp>
      <p:sp>
        <p:nvSpPr>
          <p:cNvPr id="18" name="Rectangle 17"/>
          <p:cNvSpPr>
            <a:spLocks noChangeArrowheads="1"/>
          </p:cNvSpPr>
          <p:nvPr/>
        </p:nvSpPr>
        <p:spPr bwMode="auto">
          <a:xfrm>
            <a:off x="4891881" y="4011216"/>
            <a:ext cx="1152900" cy="263128"/>
          </a:xfrm>
          <a:prstGeom prst="rect">
            <a:avLst/>
          </a:prstGeom>
          <a:solidFill>
            <a:srgbClr val="DCDCDC"/>
          </a:solidFill>
          <a:ln w="12700" algn="ctr">
            <a:solidFill>
              <a:schemeClr val="bg1"/>
            </a:solidFill>
            <a:miter lim="800000"/>
            <a:headEnd type="none" w="sm" len="sm"/>
            <a:tailEnd/>
          </a:ln>
        </p:spPr>
        <p:txBody>
          <a:bodyPr wrap="square" lIns="27000" tIns="27000" rIns="27000" bIns="27000" anchor="ctr">
            <a:noAutofit/>
          </a:bodyPr>
          <a:lstStyle/>
          <a:p>
            <a:pPr algn="ctr" defTabSz="685800">
              <a:lnSpc>
                <a:spcPct val="75000"/>
              </a:lnSpc>
              <a:buClrTx/>
              <a:defRPr/>
            </a:pPr>
            <a:r>
              <a:rPr lang="en-US" altLang="ja-JP" sz="825" kern="1200" dirty="0">
                <a:solidFill>
                  <a:srgbClr val="313131"/>
                </a:solidFill>
                <a:ea typeface="ＭＳ Ｐゴシック" pitchFamily="50" charset="-128"/>
                <a:cs typeface="+mn-cs"/>
              </a:rPr>
              <a:t>Develop strategic</a:t>
            </a:r>
            <a:br>
              <a:rPr lang="en-US" altLang="ja-JP" sz="825" kern="1200" dirty="0">
                <a:solidFill>
                  <a:srgbClr val="313131"/>
                </a:solidFill>
                <a:ea typeface="ＭＳ Ｐゴシック" pitchFamily="50" charset="-128"/>
                <a:cs typeface="+mn-cs"/>
              </a:rPr>
            </a:br>
            <a:r>
              <a:rPr lang="en-US" altLang="ja-JP" sz="825" kern="1200" dirty="0">
                <a:solidFill>
                  <a:srgbClr val="313131"/>
                </a:solidFill>
                <a:ea typeface="ＭＳ Ｐゴシック" pitchFamily="50" charset="-128"/>
                <a:cs typeface="+mn-cs"/>
              </a:rPr>
              <a:t>recommendations</a:t>
            </a:r>
          </a:p>
        </p:txBody>
      </p:sp>
      <p:sp>
        <p:nvSpPr>
          <p:cNvPr id="19" name="Rectangle 18"/>
          <p:cNvSpPr>
            <a:spLocks noChangeArrowheads="1"/>
          </p:cNvSpPr>
          <p:nvPr/>
        </p:nvSpPr>
        <p:spPr bwMode="auto">
          <a:xfrm>
            <a:off x="6175772" y="1712950"/>
            <a:ext cx="1152900" cy="324000"/>
          </a:xfrm>
          <a:prstGeom prst="rect">
            <a:avLst/>
          </a:prstGeom>
          <a:solidFill>
            <a:srgbClr val="313131"/>
          </a:solidFill>
          <a:ln w="12700" algn="ctr">
            <a:solidFill>
              <a:schemeClr val="bg1"/>
            </a:solidFill>
            <a:miter lim="800000"/>
            <a:headEnd type="none" w="sm" len="sm"/>
            <a:tailEnd/>
          </a:ln>
        </p:spPr>
        <p:txBody>
          <a:bodyPr wrap="square" lIns="27000" tIns="27000" rIns="27000" bIns="27000" anchor="ctr">
            <a:noAutofit/>
          </a:bodyPr>
          <a:lstStyle/>
          <a:p>
            <a:pPr algn="ctr" defTabSz="685800">
              <a:lnSpc>
                <a:spcPct val="75000"/>
              </a:lnSpc>
              <a:buClrTx/>
              <a:defRPr/>
            </a:pPr>
            <a:r>
              <a:rPr lang="en-US" altLang="ja-JP" sz="825" kern="1200" dirty="0">
                <a:solidFill>
                  <a:prstClr val="white"/>
                </a:solidFill>
                <a:ea typeface="ＭＳ Ｐゴシック" pitchFamily="50" charset="-128"/>
                <a:cs typeface="+mn-cs"/>
              </a:rPr>
              <a:t>Develop preliminary</a:t>
            </a:r>
            <a:br>
              <a:rPr lang="en-US" altLang="ja-JP" sz="825" kern="1200" dirty="0">
                <a:solidFill>
                  <a:prstClr val="white"/>
                </a:solidFill>
                <a:ea typeface="ＭＳ Ｐゴシック" pitchFamily="50" charset="-128"/>
                <a:cs typeface="+mn-cs"/>
              </a:rPr>
            </a:br>
            <a:r>
              <a:rPr lang="en-US" altLang="ja-JP" sz="825" kern="1200" dirty="0">
                <a:solidFill>
                  <a:prstClr val="white"/>
                </a:solidFill>
                <a:ea typeface="ＭＳ Ｐゴシック" pitchFamily="50" charset="-128"/>
                <a:cs typeface="+mn-cs"/>
              </a:rPr>
              <a:t>action plan</a:t>
            </a:r>
          </a:p>
        </p:txBody>
      </p:sp>
      <p:sp>
        <p:nvSpPr>
          <p:cNvPr id="20" name="Rectangle 19"/>
          <p:cNvSpPr>
            <a:spLocks noChangeArrowheads="1"/>
          </p:cNvSpPr>
          <p:nvPr/>
        </p:nvSpPr>
        <p:spPr bwMode="auto">
          <a:xfrm>
            <a:off x="3615817" y="3039666"/>
            <a:ext cx="1152900" cy="263128"/>
          </a:xfrm>
          <a:prstGeom prst="rect">
            <a:avLst/>
          </a:prstGeom>
          <a:solidFill>
            <a:srgbClr val="8C8C8C"/>
          </a:solidFill>
          <a:ln w="12700" algn="ctr">
            <a:solidFill>
              <a:schemeClr val="bg1"/>
            </a:solidFill>
            <a:miter lim="800000"/>
            <a:headEnd type="none" w="sm" len="sm"/>
            <a:tailEnd/>
          </a:ln>
        </p:spPr>
        <p:txBody>
          <a:bodyPr wrap="square" lIns="27000" tIns="27000" rIns="27000" bIns="27000" anchor="ctr">
            <a:noAutofit/>
          </a:bodyPr>
          <a:lstStyle/>
          <a:p>
            <a:pPr algn="ctr" defTabSz="685800">
              <a:lnSpc>
                <a:spcPct val="75000"/>
              </a:lnSpc>
              <a:buClrTx/>
              <a:defRPr/>
            </a:pPr>
            <a:r>
              <a:rPr lang="en-US" altLang="ja-JP" sz="825" kern="1200" dirty="0">
                <a:solidFill>
                  <a:prstClr val="white"/>
                </a:solidFill>
                <a:ea typeface="ＭＳ Ｐゴシック" pitchFamily="50" charset="-128"/>
                <a:cs typeface="+mn-cs"/>
              </a:rPr>
              <a:t>Analyze internal operations</a:t>
            </a:r>
          </a:p>
        </p:txBody>
      </p:sp>
      <p:sp>
        <p:nvSpPr>
          <p:cNvPr id="763924" name="Text Box 20"/>
          <p:cNvSpPr txBox="1">
            <a:spLocks noChangeArrowheads="1"/>
          </p:cNvSpPr>
          <p:nvPr/>
        </p:nvSpPr>
        <p:spPr bwMode="auto">
          <a:xfrm>
            <a:off x="1529953" y="1716881"/>
            <a:ext cx="472886" cy="253916"/>
          </a:xfrm>
          <a:prstGeom prst="rect">
            <a:avLst/>
          </a:prstGeom>
          <a:noFill/>
          <a:ln w="9525" algn="ctr">
            <a:noFill/>
            <a:miter lim="800000"/>
            <a:headEnd/>
            <a:tailEnd/>
          </a:ln>
        </p:spPr>
        <p:txBody>
          <a:bodyPr wrap="none" lIns="0" tIns="0" rIns="0" bIns="0">
            <a:spAutoFit/>
          </a:bodyPr>
          <a:lstStyle/>
          <a:p>
            <a:pPr defTabSz="685800">
              <a:buClrTx/>
            </a:pPr>
            <a:r>
              <a:rPr lang="en-US" altLang="ja-JP" sz="825" kern="1200" dirty="0">
                <a:solidFill>
                  <a:srgbClr val="313131"/>
                </a:solidFill>
                <a:ea typeface="ＭＳ Ｐゴシック" charset="-128"/>
                <a:cs typeface="+mn-cs"/>
              </a:rPr>
              <a:t>Strategic</a:t>
            </a:r>
          </a:p>
          <a:p>
            <a:pPr defTabSz="685800">
              <a:buClrTx/>
            </a:pPr>
            <a:r>
              <a:rPr lang="en-US" altLang="ja-JP" sz="825" kern="1200" dirty="0">
                <a:solidFill>
                  <a:srgbClr val="313131"/>
                </a:solidFill>
                <a:ea typeface="ＭＳ Ｐゴシック" charset="-128"/>
                <a:cs typeface="+mn-cs"/>
              </a:rPr>
              <a:t>objectives</a:t>
            </a:r>
          </a:p>
        </p:txBody>
      </p:sp>
      <p:sp>
        <p:nvSpPr>
          <p:cNvPr id="763925" name="Text Box 21"/>
          <p:cNvSpPr txBox="1">
            <a:spLocks noChangeArrowheads="1"/>
          </p:cNvSpPr>
          <p:nvPr/>
        </p:nvSpPr>
        <p:spPr bwMode="auto">
          <a:xfrm>
            <a:off x="1529954" y="2071688"/>
            <a:ext cx="418384" cy="253916"/>
          </a:xfrm>
          <a:prstGeom prst="rect">
            <a:avLst/>
          </a:prstGeom>
          <a:noFill/>
          <a:ln w="9525" algn="ctr">
            <a:noFill/>
            <a:miter lim="800000"/>
            <a:headEnd/>
            <a:tailEnd/>
          </a:ln>
        </p:spPr>
        <p:txBody>
          <a:bodyPr wrap="none" lIns="0" tIns="0" rIns="0" bIns="0">
            <a:spAutoFit/>
          </a:bodyPr>
          <a:lstStyle/>
          <a:p>
            <a:pPr defTabSz="685800">
              <a:buClrTx/>
            </a:pPr>
            <a:r>
              <a:rPr lang="en-US" altLang="ja-JP" sz="825" kern="1200" dirty="0">
                <a:solidFill>
                  <a:srgbClr val="313131"/>
                </a:solidFill>
                <a:ea typeface="ＭＳ Ｐゴシック" charset="-128"/>
                <a:cs typeface="+mn-cs"/>
              </a:rPr>
              <a:t>Strategic</a:t>
            </a:r>
          </a:p>
          <a:p>
            <a:pPr defTabSz="685800">
              <a:buClrTx/>
            </a:pPr>
            <a:r>
              <a:rPr lang="en-US" altLang="ja-JP" sz="825" kern="1200" dirty="0">
                <a:solidFill>
                  <a:srgbClr val="313131"/>
                </a:solidFill>
                <a:ea typeface="ＭＳ Ｐゴシック" charset="-128"/>
                <a:cs typeface="+mn-cs"/>
              </a:rPr>
              <a:t>analysis</a:t>
            </a:r>
          </a:p>
        </p:txBody>
      </p:sp>
      <p:sp>
        <p:nvSpPr>
          <p:cNvPr id="763926" name="Text Box 22"/>
          <p:cNvSpPr txBox="1">
            <a:spLocks noChangeArrowheads="1"/>
          </p:cNvSpPr>
          <p:nvPr/>
        </p:nvSpPr>
        <p:spPr bwMode="auto">
          <a:xfrm>
            <a:off x="1529954" y="3659982"/>
            <a:ext cx="660437" cy="276999"/>
          </a:xfrm>
          <a:prstGeom prst="rect">
            <a:avLst/>
          </a:prstGeom>
          <a:noFill/>
          <a:ln w="9525" algn="ctr">
            <a:noFill/>
            <a:miter lim="800000"/>
            <a:headEnd/>
            <a:tailEnd/>
          </a:ln>
        </p:spPr>
        <p:txBody>
          <a:bodyPr wrap="none" lIns="0" tIns="0" rIns="0" bIns="0">
            <a:spAutoFit/>
          </a:bodyPr>
          <a:lstStyle/>
          <a:p>
            <a:pPr defTabSz="685800">
              <a:buClrTx/>
            </a:pPr>
            <a:r>
              <a:rPr lang="en-US" altLang="ja-JP" sz="900" kern="1200" dirty="0">
                <a:solidFill>
                  <a:srgbClr val="313131"/>
                </a:solidFill>
                <a:ea typeface="ＭＳ Ｐゴシック" charset="-128"/>
                <a:cs typeface="+mn-cs"/>
              </a:rPr>
              <a:t>Solution</a:t>
            </a:r>
          </a:p>
          <a:p>
            <a:pPr defTabSz="685800">
              <a:buClrTx/>
            </a:pPr>
            <a:r>
              <a:rPr lang="en-US" altLang="ja-JP" sz="900" kern="1200" dirty="0">
                <a:solidFill>
                  <a:srgbClr val="313131"/>
                </a:solidFill>
                <a:ea typeface="ＭＳ Ｐゴシック" charset="-128"/>
                <a:cs typeface="+mn-cs"/>
              </a:rPr>
              <a:t>development</a:t>
            </a:r>
          </a:p>
        </p:txBody>
      </p:sp>
      <p:sp>
        <p:nvSpPr>
          <p:cNvPr id="24" name="Line 23"/>
          <p:cNvSpPr>
            <a:spLocks noChangeShapeType="1"/>
          </p:cNvSpPr>
          <p:nvPr/>
        </p:nvSpPr>
        <p:spPr bwMode="auto">
          <a:xfrm>
            <a:off x="1519238" y="2069306"/>
            <a:ext cx="5855494" cy="0"/>
          </a:xfrm>
          <a:prstGeom prst="line">
            <a:avLst/>
          </a:prstGeom>
          <a:noFill/>
          <a:ln w="19050">
            <a:solidFill>
              <a:srgbClr val="B4B4B4"/>
            </a:solidFill>
            <a:prstDash val="dash"/>
            <a:round/>
            <a:headEnd/>
            <a:tailEnd/>
          </a:ln>
        </p:spPr>
        <p:txBody>
          <a:bodyPr wrap="square" lIns="27000" tIns="27000" rIns="27000" bIns="27000" anchor="ctr">
            <a:noAutofit/>
          </a:bodyPr>
          <a:lstStyle/>
          <a:p>
            <a:pPr defTabSz="685800">
              <a:buClrTx/>
              <a:defRPr/>
            </a:pPr>
            <a:endParaRPr lang="en-US" sz="900" kern="1200" dirty="0">
              <a:solidFill>
                <a:prstClr val="black"/>
              </a:solidFill>
              <a:ea typeface="+mn-ea"/>
              <a:cs typeface="+mn-cs"/>
            </a:endParaRPr>
          </a:p>
        </p:txBody>
      </p:sp>
      <p:sp>
        <p:nvSpPr>
          <p:cNvPr id="25" name="Line 24"/>
          <p:cNvSpPr>
            <a:spLocks noChangeShapeType="1"/>
          </p:cNvSpPr>
          <p:nvPr/>
        </p:nvSpPr>
        <p:spPr bwMode="auto">
          <a:xfrm>
            <a:off x="1519238" y="3655219"/>
            <a:ext cx="5855494" cy="0"/>
          </a:xfrm>
          <a:prstGeom prst="line">
            <a:avLst/>
          </a:prstGeom>
          <a:noFill/>
          <a:ln w="19050">
            <a:solidFill>
              <a:srgbClr val="B4B4B4"/>
            </a:solidFill>
            <a:prstDash val="dash"/>
            <a:round/>
            <a:headEnd/>
            <a:tailEnd/>
          </a:ln>
        </p:spPr>
        <p:txBody>
          <a:bodyPr wrap="square" lIns="27000" tIns="27000" rIns="27000" bIns="27000" anchor="ctr">
            <a:noAutofit/>
          </a:bodyPr>
          <a:lstStyle/>
          <a:p>
            <a:pPr defTabSz="685800">
              <a:buClrTx/>
              <a:defRPr/>
            </a:pPr>
            <a:endParaRPr lang="en-US" sz="825" kern="1200" dirty="0">
              <a:solidFill>
                <a:prstClr val="black"/>
              </a:solidFill>
              <a:ea typeface="+mn-ea"/>
              <a:cs typeface="+mn-cs"/>
            </a:endParaRPr>
          </a:p>
        </p:txBody>
      </p:sp>
      <p:sp>
        <p:nvSpPr>
          <p:cNvPr id="26" name="Line 25"/>
          <p:cNvSpPr>
            <a:spLocks noChangeShapeType="1"/>
          </p:cNvSpPr>
          <p:nvPr/>
        </p:nvSpPr>
        <p:spPr bwMode="auto">
          <a:xfrm>
            <a:off x="1519238" y="3333750"/>
            <a:ext cx="5855494" cy="0"/>
          </a:xfrm>
          <a:prstGeom prst="line">
            <a:avLst/>
          </a:prstGeom>
          <a:noFill/>
          <a:ln w="19050">
            <a:solidFill>
              <a:srgbClr val="B4B4B4"/>
            </a:solidFill>
            <a:prstDash val="dash"/>
            <a:round/>
            <a:headEnd/>
            <a:tailEnd/>
          </a:ln>
        </p:spPr>
        <p:txBody>
          <a:bodyPr wrap="square" lIns="27000" tIns="27000" rIns="27000" bIns="27000" anchor="ctr">
            <a:noAutofit/>
          </a:bodyPr>
          <a:lstStyle/>
          <a:p>
            <a:pPr defTabSz="685800">
              <a:buClrTx/>
              <a:defRPr/>
            </a:pPr>
            <a:endParaRPr lang="en-US" sz="900" kern="1200" dirty="0">
              <a:solidFill>
                <a:prstClr val="black"/>
              </a:solidFill>
              <a:ea typeface="+mn-ea"/>
              <a:cs typeface="+mn-cs"/>
            </a:endParaRPr>
          </a:p>
        </p:txBody>
      </p:sp>
      <p:sp>
        <p:nvSpPr>
          <p:cNvPr id="27" name="Rectangle 26"/>
          <p:cNvSpPr>
            <a:spLocks noChangeArrowheads="1"/>
          </p:cNvSpPr>
          <p:nvPr/>
        </p:nvSpPr>
        <p:spPr bwMode="auto">
          <a:xfrm>
            <a:off x="4891881" y="3363516"/>
            <a:ext cx="1152900" cy="270000"/>
          </a:xfrm>
          <a:prstGeom prst="rect">
            <a:avLst/>
          </a:prstGeom>
          <a:solidFill>
            <a:srgbClr val="575757"/>
          </a:solidFill>
          <a:ln w="12700" algn="ctr">
            <a:solidFill>
              <a:schemeClr val="bg1"/>
            </a:solidFill>
            <a:miter lim="800000"/>
            <a:headEnd type="none" w="sm" len="sm"/>
            <a:tailEnd/>
          </a:ln>
        </p:spPr>
        <p:txBody>
          <a:bodyPr wrap="square" lIns="27000" tIns="27000" rIns="27000" bIns="27000" anchor="ctr">
            <a:noAutofit/>
          </a:bodyPr>
          <a:lstStyle/>
          <a:p>
            <a:pPr algn="ctr" defTabSz="685800">
              <a:lnSpc>
                <a:spcPct val="75000"/>
              </a:lnSpc>
              <a:buClrTx/>
              <a:defRPr/>
            </a:pPr>
            <a:r>
              <a:rPr lang="en-US" altLang="ja-JP" sz="825" kern="1200" dirty="0">
                <a:solidFill>
                  <a:prstClr val="white"/>
                </a:solidFill>
                <a:ea typeface="ＭＳ Ｐゴシック" pitchFamily="50" charset="-128"/>
                <a:cs typeface="+mn-cs"/>
              </a:rPr>
              <a:t>Conduct financial modeling</a:t>
            </a:r>
          </a:p>
        </p:txBody>
      </p:sp>
      <p:sp>
        <p:nvSpPr>
          <p:cNvPr id="763931" name="Text Box 27"/>
          <p:cNvSpPr txBox="1">
            <a:spLocks noChangeArrowheads="1"/>
          </p:cNvSpPr>
          <p:nvPr/>
        </p:nvSpPr>
        <p:spPr bwMode="auto">
          <a:xfrm>
            <a:off x="1529954" y="3320654"/>
            <a:ext cx="426399" cy="253916"/>
          </a:xfrm>
          <a:prstGeom prst="rect">
            <a:avLst/>
          </a:prstGeom>
          <a:noFill/>
          <a:ln w="9525" algn="ctr">
            <a:noFill/>
            <a:miter lim="800000"/>
            <a:headEnd/>
            <a:tailEnd/>
          </a:ln>
        </p:spPr>
        <p:txBody>
          <a:bodyPr wrap="none" lIns="0" tIns="0" rIns="0" bIns="0">
            <a:spAutoFit/>
          </a:bodyPr>
          <a:lstStyle/>
          <a:p>
            <a:pPr defTabSz="685800">
              <a:buClrTx/>
            </a:pPr>
            <a:r>
              <a:rPr lang="en-US" altLang="ja-JP" sz="825" kern="1200" dirty="0">
                <a:solidFill>
                  <a:srgbClr val="313131"/>
                </a:solidFill>
                <a:ea typeface="ＭＳ Ｐゴシック" charset="-128"/>
                <a:cs typeface="+mn-cs"/>
              </a:rPr>
              <a:t>Financial</a:t>
            </a:r>
          </a:p>
          <a:p>
            <a:pPr defTabSz="685800">
              <a:buClrTx/>
            </a:pPr>
            <a:r>
              <a:rPr lang="en-US" altLang="ja-JP" sz="825" kern="1200" dirty="0">
                <a:solidFill>
                  <a:srgbClr val="313131"/>
                </a:solidFill>
                <a:ea typeface="ＭＳ Ｐゴシック" charset="-128"/>
                <a:cs typeface="+mn-cs"/>
              </a:rPr>
              <a:t>analysis</a:t>
            </a:r>
          </a:p>
        </p:txBody>
      </p:sp>
      <p:sp>
        <p:nvSpPr>
          <p:cNvPr id="29" name="Line 28"/>
          <p:cNvSpPr>
            <a:spLocks noChangeShapeType="1"/>
          </p:cNvSpPr>
          <p:nvPr/>
        </p:nvSpPr>
        <p:spPr bwMode="auto">
          <a:xfrm>
            <a:off x="1519238" y="4324350"/>
            <a:ext cx="5855494" cy="0"/>
          </a:xfrm>
          <a:prstGeom prst="line">
            <a:avLst/>
          </a:prstGeom>
          <a:noFill/>
          <a:ln w="19050">
            <a:solidFill>
              <a:srgbClr val="B4B4B4"/>
            </a:solidFill>
            <a:prstDash val="dash"/>
            <a:round/>
            <a:headEnd/>
            <a:tailEnd/>
          </a:ln>
        </p:spPr>
        <p:txBody>
          <a:bodyPr wrap="square" lIns="27000" tIns="27000" rIns="27000" bIns="27000" anchor="ctr">
            <a:noAutofit/>
          </a:bodyPr>
          <a:lstStyle/>
          <a:p>
            <a:pPr defTabSz="685800">
              <a:buClrTx/>
              <a:defRPr/>
            </a:pPr>
            <a:endParaRPr lang="en-US" sz="900" kern="1200" dirty="0">
              <a:solidFill>
                <a:prstClr val="black"/>
              </a:solidFill>
              <a:ea typeface="+mn-ea"/>
              <a:cs typeface="+mn-cs"/>
            </a:endParaRPr>
          </a:p>
        </p:txBody>
      </p:sp>
      <p:sp>
        <p:nvSpPr>
          <p:cNvPr id="30" name="Rectangle 29"/>
          <p:cNvSpPr>
            <a:spLocks noChangeArrowheads="1"/>
          </p:cNvSpPr>
          <p:nvPr/>
        </p:nvSpPr>
        <p:spPr bwMode="auto">
          <a:xfrm>
            <a:off x="2324100" y="4368404"/>
            <a:ext cx="4979194" cy="263128"/>
          </a:xfrm>
          <a:prstGeom prst="rect">
            <a:avLst/>
          </a:prstGeom>
          <a:solidFill>
            <a:srgbClr val="002776"/>
          </a:solidFill>
          <a:ln w="12700" algn="ctr">
            <a:solidFill>
              <a:schemeClr val="bg1"/>
            </a:solidFill>
            <a:miter lim="800000"/>
            <a:headEnd type="none" w="sm" len="sm"/>
            <a:tailEnd/>
          </a:ln>
        </p:spPr>
        <p:txBody>
          <a:bodyPr wrap="square" lIns="27000" tIns="27000" rIns="27000" bIns="27000" anchor="ctr">
            <a:noAutofit/>
          </a:bodyPr>
          <a:lstStyle/>
          <a:p>
            <a:pPr algn="ctr" defTabSz="685800">
              <a:lnSpc>
                <a:spcPct val="75000"/>
              </a:lnSpc>
              <a:buClrTx/>
              <a:defRPr/>
            </a:pPr>
            <a:r>
              <a:rPr lang="en-US" altLang="ja-JP" sz="825" kern="1200" dirty="0">
                <a:solidFill>
                  <a:prstClr val="white"/>
                </a:solidFill>
                <a:ea typeface="ＭＳ Ｐゴシック" pitchFamily="50" charset="-128"/>
                <a:cs typeface="+mn-cs"/>
              </a:rPr>
              <a:t>Manage project and communications</a:t>
            </a:r>
          </a:p>
        </p:txBody>
      </p:sp>
      <p:sp>
        <p:nvSpPr>
          <p:cNvPr id="31" name="Rectangle 30"/>
          <p:cNvSpPr>
            <a:spLocks noChangeArrowheads="1"/>
          </p:cNvSpPr>
          <p:nvPr/>
        </p:nvSpPr>
        <p:spPr bwMode="auto">
          <a:xfrm>
            <a:off x="2324100" y="3363516"/>
            <a:ext cx="1152900" cy="270000"/>
          </a:xfrm>
          <a:prstGeom prst="rect">
            <a:avLst/>
          </a:prstGeom>
          <a:solidFill>
            <a:srgbClr val="575757"/>
          </a:solidFill>
          <a:ln w="12700" algn="ctr">
            <a:solidFill>
              <a:schemeClr val="bg1"/>
            </a:solidFill>
            <a:miter lim="800000"/>
            <a:headEnd type="none" w="sm" len="sm"/>
            <a:tailEnd/>
          </a:ln>
        </p:spPr>
        <p:txBody>
          <a:bodyPr wrap="square" lIns="27000" tIns="27000" rIns="27000" bIns="27000" anchor="ctr">
            <a:noAutofit/>
          </a:bodyPr>
          <a:lstStyle/>
          <a:p>
            <a:pPr algn="ctr" defTabSz="685800">
              <a:lnSpc>
                <a:spcPct val="75000"/>
              </a:lnSpc>
              <a:buClrTx/>
              <a:defRPr/>
            </a:pPr>
            <a:r>
              <a:rPr lang="en-US" altLang="ja-JP" sz="825" kern="1200" dirty="0">
                <a:solidFill>
                  <a:prstClr val="white"/>
                </a:solidFill>
                <a:ea typeface="ＭＳ Ｐゴシック" pitchFamily="50" charset="-128"/>
                <a:cs typeface="+mn-cs"/>
              </a:rPr>
              <a:t>Conduct value, profiling and benchmarking</a:t>
            </a:r>
          </a:p>
        </p:txBody>
      </p:sp>
      <p:sp>
        <p:nvSpPr>
          <p:cNvPr id="32" name="Rectangle 31"/>
          <p:cNvSpPr>
            <a:spLocks noChangeArrowheads="1"/>
          </p:cNvSpPr>
          <p:nvPr/>
        </p:nvSpPr>
        <p:spPr bwMode="auto">
          <a:xfrm>
            <a:off x="6175772" y="3363516"/>
            <a:ext cx="1152900" cy="270000"/>
          </a:xfrm>
          <a:prstGeom prst="rect">
            <a:avLst/>
          </a:prstGeom>
          <a:solidFill>
            <a:srgbClr val="575757"/>
          </a:solidFill>
          <a:ln w="12700" algn="ctr">
            <a:solidFill>
              <a:schemeClr val="bg1"/>
            </a:solidFill>
            <a:miter lim="800000"/>
            <a:headEnd type="none" w="sm" len="sm"/>
            <a:tailEnd/>
          </a:ln>
        </p:spPr>
        <p:txBody>
          <a:bodyPr wrap="square" lIns="27000" tIns="27000" rIns="27000" bIns="27000" anchor="ctr">
            <a:noAutofit/>
          </a:bodyPr>
          <a:lstStyle/>
          <a:p>
            <a:pPr algn="ctr" defTabSz="685800">
              <a:lnSpc>
                <a:spcPct val="75000"/>
              </a:lnSpc>
              <a:buClrTx/>
              <a:defRPr/>
            </a:pPr>
            <a:r>
              <a:rPr lang="en-US" altLang="ja-JP" sz="825" kern="1200" dirty="0">
                <a:solidFill>
                  <a:prstClr val="white"/>
                </a:solidFill>
                <a:ea typeface="ＭＳ Ｐゴシック" pitchFamily="50" charset="-128"/>
                <a:cs typeface="+mn-cs"/>
              </a:rPr>
              <a:t>Develop financial plan</a:t>
            </a:r>
          </a:p>
        </p:txBody>
      </p:sp>
      <p:sp>
        <p:nvSpPr>
          <p:cNvPr id="34"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Tree>
  </p:cSld>
  <p:clrMapOvr>
    <a:masterClrMapping/>
  </p:clrMapOvr>
  <p:transition>
    <p:fade/>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143000" y="0"/>
          <a:ext cx="119063" cy="119063"/>
        </p:xfrm>
        <a:graphic>
          <a:graphicData uri="http://schemas.openxmlformats.org/presentationml/2006/ole">
            <mc:AlternateContent xmlns:mc="http://schemas.openxmlformats.org/markup-compatibility/2006">
              <mc:Choice xmlns:v="urn:schemas-microsoft-com:vml" Requires="v">
                <p:oleObj name="think-cell Slide" r:id="rId32" imgW="360" imgH="360" progId="">
                  <p:embed/>
                </p:oleObj>
              </mc:Choice>
              <mc:Fallback>
                <p:oleObj name="think-cell Slide" r:id="rId32" imgW="360" imgH="360" progId="">
                  <p:embed/>
                  <p:pic>
                    <p:nvPicPr>
                      <p:cNvPr id="2" name="Object 1" hidden="1"/>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143000" y="0"/>
                        <a:ext cx="119063"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64929" name="Title 1"/>
          <p:cNvSpPr>
            <a:spLocks noGrp="1"/>
          </p:cNvSpPr>
          <p:nvPr>
            <p:ph type="title"/>
            <p:custDataLst>
              <p:tags r:id="rId2"/>
            </p:custDataLst>
          </p:nvPr>
        </p:nvSpPr>
        <p:spPr/>
        <p:txBody>
          <a:bodyPr/>
          <a:lstStyle/>
          <a:p>
            <a:r>
              <a:rPr lang="en-US" altLang="ja-JP" dirty="0"/>
              <a:t>Strategy development </a:t>
            </a:r>
            <a:br>
              <a:rPr lang="en-US" altLang="ja-JP" dirty="0"/>
            </a:br>
            <a:r>
              <a:rPr lang="en-US" altLang="ja-JP" dirty="0">
                <a:solidFill>
                  <a:srgbClr val="575757"/>
                </a:solidFill>
              </a:rPr>
              <a:t>The fish</a:t>
            </a:r>
            <a:endParaRPr lang="en-US" dirty="0">
              <a:solidFill>
                <a:srgbClr val="575757"/>
              </a:solidFill>
            </a:endParaRPr>
          </a:p>
        </p:txBody>
      </p:sp>
      <p:sp>
        <p:nvSpPr>
          <p:cNvPr id="31" name="Text Placeholder 12"/>
          <p:cNvSpPr>
            <a:spLocks/>
          </p:cNvSpPr>
          <p:nvPr>
            <p:custDataLst>
              <p:tags r:id="rId3"/>
            </p:custDataLst>
          </p:nvPr>
        </p:nvSpPr>
        <p:spPr bwMode="auto">
          <a:xfrm>
            <a:off x="1440657" y="1049655"/>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
        <p:nvSpPr>
          <p:cNvPr id="34" name="Freeform 33"/>
          <p:cNvSpPr>
            <a:spLocks/>
          </p:cNvSpPr>
          <p:nvPr>
            <p:custDataLst>
              <p:tags r:id="rId4"/>
            </p:custDataLst>
          </p:nvPr>
        </p:nvSpPr>
        <p:spPr bwMode="auto">
          <a:xfrm>
            <a:off x="1604187" y="1315641"/>
            <a:ext cx="5988844" cy="3417094"/>
          </a:xfrm>
          <a:custGeom>
            <a:avLst/>
            <a:gdLst>
              <a:gd name="T0" fmla="*/ 0 w 5311"/>
              <a:gd name="T1" fmla="*/ 2147483647 h 3067"/>
              <a:gd name="T2" fmla="*/ 2147483647 w 5311"/>
              <a:gd name="T3" fmla="*/ 0 h 3067"/>
              <a:gd name="T4" fmla="*/ 2147483647 w 5311"/>
              <a:gd name="T5" fmla="*/ 0 h 3067"/>
              <a:gd name="T6" fmla="*/ 2147483647 w 5311"/>
              <a:gd name="T7" fmla="*/ 2147483647 h 3067"/>
              <a:gd name="T8" fmla="*/ 2147483647 w 5311"/>
              <a:gd name="T9" fmla="*/ 2147483647 h 3067"/>
              <a:gd name="T10" fmla="*/ 2147483647 w 5311"/>
              <a:gd name="T11" fmla="*/ 2147483647 h 3067"/>
              <a:gd name="T12" fmla="*/ 2147483647 w 5311"/>
              <a:gd name="T13" fmla="*/ 2147483647 h 3067"/>
              <a:gd name="T14" fmla="*/ 2147483647 w 5311"/>
              <a:gd name="T15" fmla="*/ 2147483647 h 3067"/>
              <a:gd name="T16" fmla="*/ 2147483647 w 5311"/>
              <a:gd name="T17" fmla="*/ 2147483647 h 3067"/>
              <a:gd name="T18" fmla="*/ 2147483647 w 5311"/>
              <a:gd name="T19" fmla="*/ 2147483647 h 3067"/>
              <a:gd name="T20" fmla="*/ 2147483647 w 5311"/>
              <a:gd name="T21" fmla="*/ 2147483647 h 3067"/>
              <a:gd name="T22" fmla="*/ 0 w 5311"/>
              <a:gd name="T23" fmla="*/ 2147483647 h 3067"/>
              <a:gd name="T24" fmla="*/ 0 w 5311"/>
              <a:gd name="T25" fmla="*/ 2147483647 h 30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11"/>
              <a:gd name="T40" fmla="*/ 0 h 3067"/>
              <a:gd name="T41" fmla="*/ 5311 w 5311"/>
              <a:gd name="T42" fmla="*/ 3067 h 30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11" h="3067">
                <a:moveTo>
                  <a:pt x="0" y="1062"/>
                </a:moveTo>
                <a:lnTo>
                  <a:pt x="792" y="0"/>
                </a:lnTo>
                <a:lnTo>
                  <a:pt x="2406" y="0"/>
                </a:lnTo>
                <a:lnTo>
                  <a:pt x="3114" y="972"/>
                </a:lnTo>
                <a:lnTo>
                  <a:pt x="4314" y="972"/>
                </a:lnTo>
                <a:lnTo>
                  <a:pt x="5310" y="300"/>
                </a:lnTo>
                <a:lnTo>
                  <a:pt x="5310" y="2760"/>
                </a:lnTo>
                <a:lnTo>
                  <a:pt x="4332" y="2094"/>
                </a:lnTo>
                <a:lnTo>
                  <a:pt x="3126" y="2094"/>
                </a:lnTo>
                <a:lnTo>
                  <a:pt x="2400" y="3066"/>
                </a:lnTo>
                <a:lnTo>
                  <a:pt x="786" y="3066"/>
                </a:lnTo>
                <a:lnTo>
                  <a:pt x="0" y="2004"/>
                </a:lnTo>
                <a:lnTo>
                  <a:pt x="0" y="1062"/>
                </a:lnTo>
              </a:path>
            </a:pathLst>
          </a:custGeom>
          <a:solidFill>
            <a:schemeClr val="bg1"/>
          </a:solidFill>
          <a:ln w="28575">
            <a:solidFill>
              <a:srgbClr val="B4B4B4"/>
            </a:solidFill>
            <a:round/>
            <a:headEnd/>
            <a:tailEnd/>
          </a:ln>
          <a:effectLst/>
        </p:spPr>
        <p:txBody>
          <a:bodyPr wrap="square" lIns="27000" tIns="27000" rIns="27000" bIns="27000" anchor="ctr"/>
          <a:lstStyle/>
          <a:p>
            <a:pPr defTabSz="685800">
              <a:buClrTx/>
            </a:pPr>
            <a:endParaRPr lang="en-US" sz="825" kern="1200">
              <a:solidFill>
                <a:prstClr val="black"/>
              </a:solidFill>
              <a:ea typeface="+mn-ea"/>
              <a:cs typeface="+mn-cs"/>
            </a:endParaRPr>
          </a:p>
        </p:txBody>
      </p:sp>
      <p:sp>
        <p:nvSpPr>
          <p:cNvPr id="35" name="Rectangle 34"/>
          <p:cNvSpPr>
            <a:spLocks noChangeArrowheads="1"/>
          </p:cNvSpPr>
          <p:nvPr>
            <p:custDataLst>
              <p:tags r:id="rId5"/>
            </p:custDataLst>
          </p:nvPr>
        </p:nvSpPr>
        <p:spPr bwMode="auto">
          <a:xfrm>
            <a:off x="5610377" y="2836069"/>
            <a:ext cx="650081" cy="375047"/>
          </a:xfrm>
          <a:prstGeom prst="rect">
            <a:avLst/>
          </a:prstGeom>
          <a:solidFill>
            <a:schemeClr val="accent2"/>
          </a:solidFill>
          <a:ln w="12700" algn="ctr">
            <a:solidFill>
              <a:schemeClr val="bg1"/>
            </a:solidFill>
            <a:miter lim="800000"/>
            <a:headEnd/>
            <a:tailEnd/>
          </a:ln>
          <a:effectLst/>
        </p:spPr>
        <p:txBody>
          <a:bodyPr wrap="square" lIns="27000" tIns="27000" rIns="27000" bIns="27000" anchor="ctr"/>
          <a:lstStyle/>
          <a:p>
            <a:pPr algn="ctr" defTabSz="685800">
              <a:spcBef>
                <a:spcPct val="0"/>
              </a:spcBef>
              <a:buClrTx/>
              <a:defRPr/>
            </a:pPr>
            <a:r>
              <a:rPr lang="en-US" altLang="ja-JP" sz="825" kern="1200" dirty="0">
                <a:solidFill>
                  <a:prstClr val="white"/>
                </a:solidFill>
                <a:ea typeface="ＭＳ Ｐゴシック" pitchFamily="50" charset="-128"/>
                <a:cs typeface="+mn-cs"/>
              </a:rPr>
              <a:t>Chosen</a:t>
            </a:r>
          </a:p>
          <a:p>
            <a:pPr algn="ctr" defTabSz="685800">
              <a:spcBef>
                <a:spcPct val="0"/>
              </a:spcBef>
              <a:buClrTx/>
              <a:defRPr/>
            </a:pPr>
            <a:r>
              <a:rPr lang="en-US" altLang="ja-JP" sz="825" kern="1200" dirty="0">
                <a:solidFill>
                  <a:prstClr val="white"/>
                </a:solidFill>
                <a:ea typeface="ＭＳ Ｐゴシック" pitchFamily="50" charset="-128"/>
                <a:cs typeface="+mn-cs"/>
              </a:rPr>
              <a:t>strategy</a:t>
            </a:r>
          </a:p>
        </p:txBody>
      </p:sp>
      <p:sp>
        <p:nvSpPr>
          <p:cNvPr id="36" name="Rectangle 35"/>
          <p:cNvSpPr>
            <a:spLocks noChangeArrowheads="1"/>
          </p:cNvSpPr>
          <p:nvPr>
            <p:custDataLst>
              <p:tags r:id="rId6"/>
            </p:custDataLst>
          </p:nvPr>
        </p:nvSpPr>
        <p:spPr bwMode="auto">
          <a:xfrm>
            <a:off x="6750664" y="2307432"/>
            <a:ext cx="779860" cy="375047"/>
          </a:xfrm>
          <a:prstGeom prst="rect">
            <a:avLst/>
          </a:prstGeom>
          <a:solidFill>
            <a:schemeClr val="bg1"/>
          </a:solidFill>
          <a:ln w="12700" algn="ctr">
            <a:solidFill>
              <a:srgbClr val="8C8C8C"/>
            </a:solidFill>
            <a:miter lim="800000"/>
            <a:headEnd/>
            <a:tailEnd/>
          </a:ln>
          <a:effectLst/>
        </p:spPr>
        <p:txBody>
          <a:bodyPr wrap="square" lIns="27000" tIns="27000" rIns="27000" bIns="27000" anchor="ctr"/>
          <a:lstStyle/>
          <a:p>
            <a:pPr marL="9525" indent="-9525" algn="ctr" defTabSz="685800">
              <a:lnSpc>
                <a:spcPct val="110000"/>
              </a:lnSpc>
              <a:spcBef>
                <a:spcPct val="0"/>
              </a:spcBef>
              <a:buClrTx/>
            </a:pPr>
            <a:r>
              <a:rPr lang="en-US" altLang="ja-JP" sz="825" kern="1200" dirty="0">
                <a:solidFill>
                  <a:srgbClr val="313131"/>
                </a:solidFill>
                <a:ea typeface="ＭＳ Ｐゴシック" pitchFamily="50" charset="-128"/>
                <a:cs typeface="+mn-cs"/>
              </a:rPr>
              <a:t>Projects and resources</a:t>
            </a:r>
          </a:p>
        </p:txBody>
      </p:sp>
      <p:sp>
        <p:nvSpPr>
          <p:cNvPr id="37" name="Rectangle 36"/>
          <p:cNvSpPr>
            <a:spLocks noChangeArrowheads="1"/>
          </p:cNvSpPr>
          <p:nvPr>
            <p:custDataLst>
              <p:tags r:id="rId7"/>
            </p:custDataLst>
          </p:nvPr>
        </p:nvSpPr>
        <p:spPr bwMode="auto">
          <a:xfrm>
            <a:off x="6750665" y="3350419"/>
            <a:ext cx="779859" cy="375047"/>
          </a:xfrm>
          <a:prstGeom prst="rect">
            <a:avLst/>
          </a:prstGeom>
          <a:solidFill>
            <a:schemeClr val="bg1"/>
          </a:solidFill>
          <a:ln w="12700" algn="ctr">
            <a:solidFill>
              <a:srgbClr val="8C8C8C"/>
            </a:solidFill>
            <a:miter lim="800000"/>
            <a:headEnd/>
            <a:tailEnd/>
          </a:ln>
          <a:effectLst/>
        </p:spPr>
        <p:txBody>
          <a:bodyPr wrap="square" lIns="27000" tIns="27000" rIns="27000" bIns="27000" anchor="ctr"/>
          <a:lstStyle/>
          <a:p>
            <a:pPr marL="9525" indent="-9525" algn="ctr" defTabSz="685800">
              <a:lnSpc>
                <a:spcPct val="110000"/>
              </a:lnSpc>
              <a:spcBef>
                <a:spcPct val="0"/>
              </a:spcBef>
              <a:buClrTx/>
            </a:pPr>
            <a:r>
              <a:rPr lang="en-US" altLang="ja-JP" sz="825" kern="1200">
                <a:solidFill>
                  <a:srgbClr val="313131"/>
                </a:solidFill>
                <a:ea typeface="ＭＳ Ｐゴシック" pitchFamily="50" charset="-128"/>
                <a:cs typeface="+mn-cs"/>
              </a:rPr>
              <a:t>Monitoring</a:t>
            </a:r>
          </a:p>
        </p:txBody>
      </p:sp>
      <p:sp>
        <p:nvSpPr>
          <p:cNvPr id="38" name="Rectangle 37"/>
          <p:cNvSpPr>
            <a:spLocks noChangeArrowheads="1"/>
          </p:cNvSpPr>
          <p:nvPr>
            <p:custDataLst>
              <p:tags r:id="rId8"/>
            </p:custDataLst>
          </p:nvPr>
        </p:nvSpPr>
        <p:spPr bwMode="auto">
          <a:xfrm>
            <a:off x="2778280" y="3529012"/>
            <a:ext cx="1246585" cy="223838"/>
          </a:xfrm>
          <a:prstGeom prst="rect">
            <a:avLst/>
          </a:prstGeom>
          <a:solidFill>
            <a:srgbClr val="00A1DE"/>
          </a:solidFill>
          <a:ln w="12700" algn="ctr">
            <a:solidFill>
              <a:schemeClr val="bg1"/>
            </a:solidFill>
            <a:miter lim="800000"/>
            <a:headEnd/>
            <a:tailEnd/>
          </a:ln>
          <a:effectLst/>
        </p:spPr>
        <p:txBody>
          <a:bodyPr wrap="square" lIns="27000" tIns="27000" rIns="27000" bIns="27000" anchor="ctr"/>
          <a:lstStyle/>
          <a:p>
            <a:pPr algn="ctr" defTabSz="685800">
              <a:spcBef>
                <a:spcPct val="0"/>
              </a:spcBef>
              <a:buClrTx/>
              <a:defRPr/>
            </a:pPr>
            <a:r>
              <a:rPr lang="en-US" altLang="ja-JP" sz="825" kern="1200" dirty="0">
                <a:solidFill>
                  <a:prstClr val="white"/>
                </a:solidFill>
                <a:ea typeface="ＭＳ Ｐゴシック" pitchFamily="50" charset="-128"/>
                <a:cs typeface="+mn-cs"/>
              </a:rPr>
              <a:t>Financial position</a:t>
            </a:r>
          </a:p>
        </p:txBody>
      </p:sp>
      <p:sp>
        <p:nvSpPr>
          <p:cNvPr id="39" name="Rectangle 38"/>
          <p:cNvSpPr>
            <a:spLocks noChangeArrowheads="1"/>
          </p:cNvSpPr>
          <p:nvPr>
            <p:custDataLst>
              <p:tags r:id="rId9"/>
            </p:custDataLst>
          </p:nvPr>
        </p:nvSpPr>
        <p:spPr bwMode="auto">
          <a:xfrm>
            <a:off x="2778280" y="2316955"/>
            <a:ext cx="1246585" cy="223838"/>
          </a:xfrm>
          <a:prstGeom prst="rect">
            <a:avLst/>
          </a:prstGeom>
          <a:solidFill>
            <a:srgbClr val="00A1DE"/>
          </a:solidFill>
          <a:ln w="12700" algn="ctr">
            <a:solidFill>
              <a:schemeClr val="bg1"/>
            </a:solidFill>
            <a:miter lim="800000"/>
            <a:headEnd/>
            <a:tailEnd/>
          </a:ln>
          <a:effectLst/>
        </p:spPr>
        <p:txBody>
          <a:bodyPr wrap="square" lIns="27000" tIns="27000" rIns="27000" bIns="27000" anchor="ctr"/>
          <a:lstStyle/>
          <a:p>
            <a:pPr algn="ctr" defTabSz="685800">
              <a:spcBef>
                <a:spcPct val="0"/>
              </a:spcBef>
              <a:buClrTx/>
              <a:defRPr/>
            </a:pPr>
            <a:r>
              <a:rPr lang="en-US" altLang="ja-JP" sz="825" kern="1200" dirty="0">
                <a:solidFill>
                  <a:prstClr val="white"/>
                </a:solidFill>
                <a:ea typeface="ＭＳ Ｐゴシック" pitchFamily="50" charset="-128"/>
                <a:cs typeface="+mn-cs"/>
              </a:rPr>
              <a:t>Strategic position</a:t>
            </a:r>
          </a:p>
        </p:txBody>
      </p:sp>
      <p:sp>
        <p:nvSpPr>
          <p:cNvPr id="40" name="Rectangle 39"/>
          <p:cNvSpPr>
            <a:spLocks noChangeArrowheads="1"/>
          </p:cNvSpPr>
          <p:nvPr>
            <p:custDataLst>
              <p:tags r:id="rId10"/>
            </p:custDataLst>
          </p:nvPr>
        </p:nvSpPr>
        <p:spPr bwMode="auto">
          <a:xfrm>
            <a:off x="2555632" y="4454129"/>
            <a:ext cx="1691879" cy="236934"/>
          </a:xfrm>
          <a:prstGeom prst="rect">
            <a:avLst/>
          </a:prstGeom>
          <a:solidFill>
            <a:srgbClr val="00A1DE"/>
          </a:solidFill>
          <a:ln w="12700" algn="ctr">
            <a:solidFill>
              <a:schemeClr val="bg1"/>
            </a:solidFill>
            <a:miter lim="800000"/>
            <a:headEnd/>
            <a:tailEnd/>
          </a:ln>
          <a:effectLst/>
        </p:spPr>
        <p:txBody>
          <a:bodyPr wrap="square" lIns="27000" tIns="27000" rIns="27000" bIns="27000" anchor="ctr"/>
          <a:lstStyle/>
          <a:p>
            <a:pPr algn="ctr" defTabSz="685800">
              <a:spcBef>
                <a:spcPct val="0"/>
              </a:spcBef>
              <a:buClrTx/>
              <a:defRPr/>
            </a:pPr>
            <a:r>
              <a:rPr lang="en-US" altLang="ja-JP" sz="825" kern="1200" dirty="0">
                <a:solidFill>
                  <a:prstClr val="white"/>
                </a:solidFill>
                <a:ea typeface="ＭＳ Ｐゴシック" pitchFamily="50" charset="-128"/>
                <a:cs typeface="+mn-cs"/>
              </a:rPr>
              <a:t>Capital market</a:t>
            </a:r>
          </a:p>
        </p:txBody>
      </p:sp>
      <p:sp>
        <p:nvSpPr>
          <p:cNvPr id="41" name="Rectangle 40"/>
          <p:cNvSpPr>
            <a:spLocks noChangeArrowheads="1"/>
          </p:cNvSpPr>
          <p:nvPr>
            <p:custDataLst>
              <p:tags r:id="rId11"/>
            </p:custDataLst>
          </p:nvPr>
        </p:nvSpPr>
        <p:spPr bwMode="auto">
          <a:xfrm>
            <a:off x="2555633" y="4055269"/>
            <a:ext cx="783000" cy="330994"/>
          </a:xfrm>
          <a:prstGeom prst="rect">
            <a:avLst/>
          </a:prstGeom>
          <a:solidFill>
            <a:schemeClr val="bg1"/>
          </a:solidFill>
          <a:ln w="12700" algn="ctr">
            <a:solidFill>
              <a:srgbClr val="8C8C8C"/>
            </a:solidFill>
            <a:miter lim="800000"/>
            <a:headEnd/>
            <a:tailEnd/>
          </a:ln>
          <a:effectLst/>
        </p:spPr>
        <p:txBody>
          <a:bodyPr wrap="square" lIns="27000" tIns="27000" rIns="27000" bIns="27000" anchor="ctr"/>
          <a:lstStyle/>
          <a:p>
            <a:pPr marL="9525" indent="-9525" algn="ctr" defTabSz="685800">
              <a:lnSpc>
                <a:spcPct val="110000"/>
              </a:lnSpc>
              <a:spcBef>
                <a:spcPct val="0"/>
              </a:spcBef>
              <a:buClrTx/>
            </a:pPr>
            <a:r>
              <a:rPr lang="en-US" altLang="ja-JP" sz="825" kern="1200" dirty="0">
                <a:solidFill>
                  <a:srgbClr val="313131"/>
                </a:solidFill>
                <a:ea typeface="ＭＳ Ｐゴシック" pitchFamily="50" charset="-128"/>
                <a:cs typeface="+mn-cs"/>
              </a:rPr>
              <a:t>Economic profitability</a:t>
            </a:r>
          </a:p>
        </p:txBody>
      </p:sp>
      <p:sp>
        <p:nvSpPr>
          <p:cNvPr id="42" name="Rectangle 41"/>
          <p:cNvSpPr>
            <a:spLocks noChangeArrowheads="1"/>
          </p:cNvSpPr>
          <p:nvPr>
            <p:custDataLst>
              <p:tags r:id="rId12"/>
            </p:custDataLst>
          </p:nvPr>
        </p:nvSpPr>
        <p:spPr bwMode="auto">
          <a:xfrm>
            <a:off x="3464511" y="4055269"/>
            <a:ext cx="783000" cy="330994"/>
          </a:xfrm>
          <a:prstGeom prst="rect">
            <a:avLst/>
          </a:prstGeom>
          <a:solidFill>
            <a:schemeClr val="bg1"/>
          </a:solidFill>
          <a:ln w="12700" algn="ctr">
            <a:solidFill>
              <a:srgbClr val="8C8C8C"/>
            </a:solidFill>
            <a:miter lim="800000"/>
            <a:headEnd/>
            <a:tailEnd/>
          </a:ln>
          <a:effectLst/>
        </p:spPr>
        <p:txBody>
          <a:bodyPr wrap="square" lIns="27000" tIns="27000" rIns="27000" bIns="27000" anchor="ctr"/>
          <a:lstStyle/>
          <a:p>
            <a:pPr marL="9525" indent="-9525" algn="ctr" defTabSz="685800">
              <a:lnSpc>
                <a:spcPct val="110000"/>
              </a:lnSpc>
              <a:spcBef>
                <a:spcPct val="0"/>
              </a:spcBef>
              <a:buClrTx/>
            </a:pPr>
            <a:r>
              <a:rPr lang="en-US" altLang="ja-JP" sz="825" kern="1200">
                <a:solidFill>
                  <a:srgbClr val="313131"/>
                </a:solidFill>
                <a:ea typeface="ＭＳ Ｐゴシック" pitchFamily="50" charset="-128"/>
                <a:cs typeface="+mn-cs"/>
              </a:rPr>
              <a:t>Growth</a:t>
            </a:r>
          </a:p>
        </p:txBody>
      </p:sp>
      <p:sp>
        <p:nvSpPr>
          <p:cNvPr id="43" name="Rectangle 42"/>
          <p:cNvSpPr>
            <a:spLocks noChangeArrowheads="1"/>
          </p:cNvSpPr>
          <p:nvPr>
            <p:custDataLst>
              <p:tags r:id="rId13"/>
            </p:custDataLst>
          </p:nvPr>
        </p:nvSpPr>
        <p:spPr bwMode="auto">
          <a:xfrm>
            <a:off x="2555632" y="1379935"/>
            <a:ext cx="1691879" cy="236935"/>
          </a:xfrm>
          <a:prstGeom prst="rect">
            <a:avLst/>
          </a:prstGeom>
          <a:solidFill>
            <a:srgbClr val="00A1DE"/>
          </a:solidFill>
          <a:ln w="12700" algn="ctr">
            <a:solidFill>
              <a:schemeClr val="bg1"/>
            </a:solidFill>
            <a:miter lim="800000"/>
            <a:headEnd/>
            <a:tailEnd/>
          </a:ln>
          <a:effectLst/>
        </p:spPr>
        <p:txBody>
          <a:bodyPr wrap="square" lIns="27000" tIns="27000" rIns="27000" bIns="27000" anchor="ctr"/>
          <a:lstStyle/>
          <a:p>
            <a:pPr algn="ctr" defTabSz="685800">
              <a:spcBef>
                <a:spcPct val="0"/>
              </a:spcBef>
              <a:buClrTx/>
              <a:defRPr/>
            </a:pPr>
            <a:r>
              <a:rPr lang="en-US" altLang="ja-JP" sz="825" kern="1200" dirty="0">
                <a:solidFill>
                  <a:prstClr val="white"/>
                </a:solidFill>
                <a:ea typeface="ＭＳ Ｐゴシック" pitchFamily="50" charset="-128"/>
                <a:cs typeface="+mn-cs"/>
              </a:rPr>
              <a:t>Commercial market</a:t>
            </a:r>
          </a:p>
        </p:txBody>
      </p:sp>
      <p:sp>
        <p:nvSpPr>
          <p:cNvPr id="44" name="Rectangle 43"/>
          <p:cNvSpPr>
            <a:spLocks noChangeArrowheads="1"/>
          </p:cNvSpPr>
          <p:nvPr>
            <p:custDataLst>
              <p:tags r:id="rId14"/>
            </p:custDataLst>
          </p:nvPr>
        </p:nvSpPr>
        <p:spPr bwMode="auto">
          <a:xfrm>
            <a:off x="2555633" y="1684735"/>
            <a:ext cx="783000" cy="330994"/>
          </a:xfrm>
          <a:prstGeom prst="rect">
            <a:avLst/>
          </a:prstGeom>
          <a:solidFill>
            <a:schemeClr val="bg1"/>
          </a:solidFill>
          <a:ln w="12700" algn="ctr">
            <a:solidFill>
              <a:srgbClr val="B4B4B4"/>
            </a:solidFill>
            <a:miter lim="800000"/>
            <a:headEnd/>
            <a:tailEnd/>
          </a:ln>
          <a:effectLst/>
        </p:spPr>
        <p:txBody>
          <a:bodyPr wrap="square" lIns="27000" tIns="27000" rIns="27000" bIns="27000" anchor="ctr"/>
          <a:lstStyle/>
          <a:p>
            <a:pPr marL="9525" indent="-9525" algn="ctr" defTabSz="685800">
              <a:lnSpc>
                <a:spcPct val="110000"/>
              </a:lnSpc>
              <a:spcBef>
                <a:spcPct val="0"/>
              </a:spcBef>
              <a:buClrTx/>
            </a:pPr>
            <a:r>
              <a:rPr lang="en-US" altLang="ja-JP" sz="825" kern="1200" dirty="0">
                <a:solidFill>
                  <a:srgbClr val="313131"/>
                </a:solidFill>
                <a:ea typeface="ＭＳ Ｐゴシック" pitchFamily="50" charset="-128"/>
                <a:cs typeface="+mn-cs"/>
              </a:rPr>
              <a:t>Market</a:t>
            </a:r>
            <a:br>
              <a:rPr lang="en-US" altLang="ja-JP" sz="825" kern="1200" dirty="0">
                <a:solidFill>
                  <a:srgbClr val="313131"/>
                </a:solidFill>
                <a:ea typeface="ＭＳ Ｐゴシック" pitchFamily="50" charset="-128"/>
                <a:cs typeface="+mn-cs"/>
              </a:rPr>
            </a:br>
            <a:r>
              <a:rPr lang="en-US" altLang="ja-JP" sz="825" kern="1200" dirty="0">
                <a:solidFill>
                  <a:srgbClr val="313131"/>
                </a:solidFill>
                <a:ea typeface="ＭＳ Ｐゴシック" pitchFamily="50" charset="-128"/>
                <a:cs typeface="+mn-cs"/>
              </a:rPr>
              <a:t>attractiveness</a:t>
            </a:r>
          </a:p>
        </p:txBody>
      </p:sp>
      <p:sp>
        <p:nvSpPr>
          <p:cNvPr id="45" name="Rectangle 44"/>
          <p:cNvSpPr>
            <a:spLocks noChangeArrowheads="1"/>
          </p:cNvSpPr>
          <p:nvPr>
            <p:custDataLst>
              <p:tags r:id="rId15"/>
            </p:custDataLst>
          </p:nvPr>
        </p:nvSpPr>
        <p:spPr bwMode="auto">
          <a:xfrm>
            <a:off x="3464511" y="1684734"/>
            <a:ext cx="783000" cy="330994"/>
          </a:xfrm>
          <a:prstGeom prst="rect">
            <a:avLst/>
          </a:prstGeom>
          <a:solidFill>
            <a:schemeClr val="bg1"/>
          </a:solidFill>
          <a:ln w="12700" algn="ctr">
            <a:solidFill>
              <a:srgbClr val="8C8C8C"/>
            </a:solidFill>
            <a:miter lim="800000"/>
            <a:headEnd/>
            <a:tailEnd/>
          </a:ln>
          <a:effectLst/>
        </p:spPr>
        <p:txBody>
          <a:bodyPr wrap="square" lIns="27000" tIns="27000" rIns="27000" bIns="27000" anchor="ctr"/>
          <a:lstStyle/>
          <a:p>
            <a:pPr marL="9525" indent="-9525" algn="ctr" defTabSz="685800">
              <a:lnSpc>
                <a:spcPct val="110000"/>
              </a:lnSpc>
              <a:spcBef>
                <a:spcPct val="0"/>
              </a:spcBef>
              <a:buClrTx/>
            </a:pPr>
            <a:r>
              <a:rPr lang="en-US" altLang="ja-JP" sz="825" kern="1200" dirty="0">
                <a:solidFill>
                  <a:srgbClr val="313131"/>
                </a:solidFill>
                <a:ea typeface="ＭＳ Ｐゴシック" pitchFamily="50" charset="-128"/>
                <a:cs typeface="+mn-cs"/>
              </a:rPr>
              <a:t>Competitive position</a:t>
            </a:r>
          </a:p>
        </p:txBody>
      </p:sp>
      <p:sp>
        <p:nvSpPr>
          <p:cNvPr id="46" name="Oval 45"/>
          <p:cNvSpPr>
            <a:spLocks noChangeArrowheads="1"/>
          </p:cNvSpPr>
          <p:nvPr>
            <p:custDataLst>
              <p:tags r:id="rId16"/>
            </p:custDataLst>
          </p:nvPr>
        </p:nvSpPr>
        <p:spPr bwMode="auto">
          <a:xfrm>
            <a:off x="2945563" y="2853333"/>
            <a:ext cx="912019" cy="341710"/>
          </a:xfrm>
          <a:prstGeom prst="ellipse">
            <a:avLst/>
          </a:prstGeom>
          <a:solidFill>
            <a:schemeClr val="accent2"/>
          </a:solidFill>
          <a:ln w="12700" algn="ctr">
            <a:solidFill>
              <a:schemeClr val="bg1"/>
            </a:solidFill>
            <a:round/>
            <a:headEnd/>
            <a:tailEnd/>
          </a:ln>
          <a:effectLst/>
        </p:spPr>
        <p:txBody>
          <a:bodyPr wrap="square" lIns="27000" tIns="27000" rIns="27000" bIns="27000" anchor="ctr"/>
          <a:lstStyle/>
          <a:p>
            <a:pPr algn="ctr" defTabSz="685800">
              <a:spcBef>
                <a:spcPct val="0"/>
              </a:spcBef>
              <a:buClrTx/>
              <a:defRPr/>
            </a:pPr>
            <a:r>
              <a:rPr lang="en-US" altLang="ja-JP" sz="825" kern="1200">
                <a:solidFill>
                  <a:prstClr val="white"/>
                </a:solidFill>
                <a:ea typeface="ＭＳ Ｐゴシック" pitchFamily="50" charset="-128"/>
                <a:cs typeface="+mn-cs"/>
              </a:rPr>
              <a:t>Insight</a:t>
            </a:r>
          </a:p>
        </p:txBody>
      </p:sp>
      <p:sp>
        <p:nvSpPr>
          <p:cNvPr id="47" name="AutoShape 16"/>
          <p:cNvSpPr>
            <a:spLocks noChangeArrowheads="1"/>
          </p:cNvSpPr>
          <p:nvPr>
            <p:custDataLst>
              <p:tags r:id="rId17"/>
            </p:custDataLst>
          </p:nvPr>
        </p:nvSpPr>
        <p:spPr bwMode="auto">
          <a:xfrm rot="16200000">
            <a:off x="3317037" y="3702249"/>
            <a:ext cx="169069" cy="379810"/>
          </a:xfrm>
          <a:prstGeom prst="rightArrow">
            <a:avLst>
              <a:gd name="adj1" fmla="val 50000"/>
              <a:gd name="adj2" fmla="val 50032"/>
            </a:avLst>
          </a:prstGeom>
          <a:solidFill>
            <a:srgbClr val="8C8C8C"/>
          </a:solidFill>
          <a:ln w="12700" algn="ctr">
            <a:solidFill>
              <a:schemeClr val="bg1"/>
            </a:solidFill>
            <a:miter lim="800000"/>
            <a:headEnd/>
            <a:tailEnd/>
          </a:ln>
          <a:effectLst/>
        </p:spPr>
        <p:txBody>
          <a:bodyPr wrap="square" lIns="27000" tIns="27000" rIns="27000" bIns="27000" anchor="ctr"/>
          <a:lstStyle/>
          <a:p>
            <a:pPr algn="ctr" defTabSz="685800">
              <a:spcBef>
                <a:spcPct val="0"/>
              </a:spcBef>
              <a:buClrTx/>
              <a:defRPr/>
            </a:pPr>
            <a:endParaRPr lang="en-US" sz="825" kern="1200">
              <a:solidFill>
                <a:prstClr val="white"/>
              </a:solidFill>
              <a:ea typeface="+mn-ea"/>
              <a:cs typeface="+mn-cs"/>
            </a:endParaRPr>
          </a:p>
        </p:txBody>
      </p:sp>
      <p:sp>
        <p:nvSpPr>
          <p:cNvPr id="48" name="Rectangle 47"/>
          <p:cNvSpPr>
            <a:spLocks noChangeArrowheads="1"/>
          </p:cNvSpPr>
          <p:nvPr>
            <p:custDataLst>
              <p:tags r:id="rId18"/>
            </p:custDataLst>
          </p:nvPr>
        </p:nvSpPr>
        <p:spPr bwMode="auto">
          <a:xfrm>
            <a:off x="6750664" y="2836069"/>
            <a:ext cx="779860" cy="375047"/>
          </a:xfrm>
          <a:prstGeom prst="rect">
            <a:avLst/>
          </a:prstGeom>
          <a:solidFill>
            <a:schemeClr val="bg1"/>
          </a:solidFill>
          <a:ln w="12700" algn="ctr">
            <a:solidFill>
              <a:srgbClr val="8C8C8C"/>
            </a:solidFill>
            <a:miter lim="800000"/>
            <a:headEnd/>
            <a:tailEnd/>
          </a:ln>
          <a:effectLst/>
        </p:spPr>
        <p:txBody>
          <a:bodyPr wrap="square" lIns="27000" tIns="27000" rIns="27000" bIns="27000" anchor="ctr"/>
          <a:lstStyle/>
          <a:p>
            <a:pPr marL="9525" indent="-9525" algn="ctr" defTabSz="685800">
              <a:lnSpc>
                <a:spcPct val="110000"/>
              </a:lnSpc>
              <a:spcBef>
                <a:spcPct val="0"/>
              </a:spcBef>
              <a:buClrTx/>
            </a:pPr>
            <a:r>
              <a:rPr lang="en-US" altLang="ja-JP" sz="825" kern="1200" dirty="0">
                <a:solidFill>
                  <a:srgbClr val="313131"/>
                </a:solidFill>
                <a:ea typeface="ＭＳ Ｐゴシック" pitchFamily="50" charset="-128"/>
                <a:cs typeface="+mn-cs"/>
              </a:rPr>
              <a:t>CSFs </a:t>
            </a:r>
          </a:p>
          <a:p>
            <a:pPr marL="9525" indent="-9525" algn="ctr" defTabSz="685800">
              <a:lnSpc>
                <a:spcPct val="110000"/>
              </a:lnSpc>
              <a:spcBef>
                <a:spcPct val="0"/>
              </a:spcBef>
              <a:buClrTx/>
            </a:pPr>
            <a:r>
              <a:rPr lang="en-US" altLang="ja-JP" sz="825" kern="1200" dirty="0">
                <a:solidFill>
                  <a:srgbClr val="313131"/>
                </a:solidFill>
                <a:ea typeface="ＭＳ Ｐゴシック" pitchFamily="50" charset="-128"/>
                <a:cs typeface="+mn-cs"/>
              </a:rPr>
              <a:t>and KPIs</a:t>
            </a:r>
          </a:p>
        </p:txBody>
      </p:sp>
      <p:sp>
        <p:nvSpPr>
          <p:cNvPr id="49" name="Rectangle 48"/>
          <p:cNvSpPr>
            <a:spLocks noChangeArrowheads="1"/>
          </p:cNvSpPr>
          <p:nvPr>
            <p:custDataLst>
              <p:tags r:id="rId19"/>
            </p:custDataLst>
          </p:nvPr>
        </p:nvSpPr>
        <p:spPr bwMode="auto">
          <a:xfrm>
            <a:off x="1681106" y="3092053"/>
            <a:ext cx="762000" cy="376238"/>
          </a:xfrm>
          <a:prstGeom prst="rect">
            <a:avLst/>
          </a:prstGeom>
          <a:solidFill>
            <a:schemeClr val="bg1"/>
          </a:solidFill>
          <a:ln w="12700" algn="ctr">
            <a:solidFill>
              <a:srgbClr val="8C8C8C"/>
            </a:solidFill>
            <a:miter lim="800000"/>
            <a:headEnd/>
            <a:tailEnd/>
          </a:ln>
          <a:effectLst/>
        </p:spPr>
        <p:txBody>
          <a:bodyPr wrap="square" lIns="27000" tIns="27000" rIns="27000" bIns="27000" anchor="ctr"/>
          <a:lstStyle/>
          <a:p>
            <a:pPr marL="9525" indent="-9525" algn="ctr" defTabSz="685800">
              <a:lnSpc>
                <a:spcPct val="110000"/>
              </a:lnSpc>
              <a:spcBef>
                <a:spcPct val="0"/>
              </a:spcBef>
              <a:buClrTx/>
            </a:pPr>
            <a:r>
              <a:rPr lang="en-US" altLang="ja-JP" sz="825" kern="1200" dirty="0">
                <a:solidFill>
                  <a:srgbClr val="313131"/>
                </a:solidFill>
                <a:ea typeface="ＭＳ Ｐゴシック" pitchFamily="50" charset="-128"/>
                <a:cs typeface="+mn-cs"/>
              </a:rPr>
              <a:t>Strategic </a:t>
            </a:r>
          </a:p>
          <a:p>
            <a:pPr marL="9525" indent="-9525" algn="ctr" defTabSz="685800">
              <a:lnSpc>
                <a:spcPct val="110000"/>
              </a:lnSpc>
              <a:spcBef>
                <a:spcPct val="0"/>
              </a:spcBef>
              <a:buClrTx/>
            </a:pPr>
            <a:r>
              <a:rPr lang="en-US" altLang="ja-JP" sz="825" kern="1200" dirty="0">
                <a:solidFill>
                  <a:srgbClr val="313131"/>
                </a:solidFill>
                <a:ea typeface="ＭＳ Ｐゴシック" pitchFamily="50" charset="-128"/>
                <a:cs typeface="+mn-cs"/>
              </a:rPr>
              <a:t>issues</a:t>
            </a:r>
          </a:p>
        </p:txBody>
      </p:sp>
      <p:sp>
        <p:nvSpPr>
          <p:cNvPr id="50" name="Rectangle 49"/>
          <p:cNvSpPr>
            <a:spLocks noChangeArrowheads="1"/>
          </p:cNvSpPr>
          <p:nvPr>
            <p:custDataLst>
              <p:tags r:id="rId20"/>
            </p:custDataLst>
          </p:nvPr>
        </p:nvSpPr>
        <p:spPr bwMode="auto">
          <a:xfrm>
            <a:off x="1684679" y="2580085"/>
            <a:ext cx="762000" cy="376238"/>
          </a:xfrm>
          <a:prstGeom prst="rect">
            <a:avLst/>
          </a:prstGeom>
          <a:solidFill>
            <a:schemeClr val="bg1"/>
          </a:solidFill>
          <a:ln w="12700" algn="ctr">
            <a:solidFill>
              <a:srgbClr val="8C8C8C"/>
            </a:solidFill>
            <a:miter lim="800000"/>
            <a:headEnd/>
            <a:tailEnd/>
          </a:ln>
          <a:effectLst/>
        </p:spPr>
        <p:txBody>
          <a:bodyPr wrap="square" lIns="27000" tIns="27000" rIns="27000" bIns="27000" anchor="ctr"/>
          <a:lstStyle/>
          <a:p>
            <a:pPr marL="9525" indent="-9525" algn="ctr" defTabSz="685800">
              <a:lnSpc>
                <a:spcPct val="110000"/>
              </a:lnSpc>
              <a:spcBef>
                <a:spcPct val="0"/>
              </a:spcBef>
              <a:buClrTx/>
            </a:pPr>
            <a:r>
              <a:rPr lang="en-US" altLang="ja-JP" sz="825" kern="1200" dirty="0">
                <a:solidFill>
                  <a:srgbClr val="313131"/>
                </a:solidFill>
                <a:ea typeface="ＭＳ Ｐゴシック" pitchFamily="50" charset="-128"/>
                <a:cs typeface="+mn-cs"/>
              </a:rPr>
              <a:t>Scope </a:t>
            </a:r>
            <a:br>
              <a:rPr lang="en-US" altLang="ja-JP" sz="825" kern="1200" dirty="0">
                <a:solidFill>
                  <a:srgbClr val="313131"/>
                </a:solidFill>
                <a:ea typeface="ＭＳ Ｐゴシック" pitchFamily="50" charset="-128"/>
                <a:cs typeface="+mn-cs"/>
              </a:rPr>
            </a:br>
            <a:r>
              <a:rPr lang="en-US" altLang="ja-JP" sz="825" kern="1200" dirty="0">
                <a:solidFill>
                  <a:srgbClr val="313131"/>
                </a:solidFill>
                <a:ea typeface="ＭＳ Ｐゴシック" pitchFamily="50" charset="-128"/>
                <a:cs typeface="+mn-cs"/>
              </a:rPr>
              <a:t>and context</a:t>
            </a:r>
          </a:p>
        </p:txBody>
      </p:sp>
      <p:sp>
        <p:nvSpPr>
          <p:cNvPr id="51" name="AutoShape 20"/>
          <p:cNvSpPr>
            <a:spLocks noChangeArrowheads="1"/>
          </p:cNvSpPr>
          <p:nvPr>
            <p:custDataLst>
              <p:tags r:id="rId21"/>
            </p:custDataLst>
          </p:nvPr>
        </p:nvSpPr>
        <p:spPr bwMode="auto">
          <a:xfrm rot="16200000">
            <a:off x="3317037" y="3199805"/>
            <a:ext cx="169069" cy="379810"/>
          </a:xfrm>
          <a:prstGeom prst="rightArrow">
            <a:avLst>
              <a:gd name="adj1" fmla="val 50000"/>
              <a:gd name="adj2" fmla="val 50032"/>
            </a:avLst>
          </a:prstGeom>
          <a:solidFill>
            <a:srgbClr val="8C8C8C"/>
          </a:solidFill>
          <a:ln w="12700" algn="ctr">
            <a:solidFill>
              <a:schemeClr val="bg1"/>
            </a:solidFill>
            <a:miter lim="800000"/>
            <a:headEnd/>
            <a:tailEnd/>
          </a:ln>
          <a:effectLst/>
        </p:spPr>
        <p:txBody>
          <a:bodyPr wrap="square" lIns="27000" tIns="27000" rIns="27000" bIns="27000" anchor="ctr"/>
          <a:lstStyle/>
          <a:p>
            <a:pPr algn="ctr" defTabSz="685800">
              <a:spcBef>
                <a:spcPct val="0"/>
              </a:spcBef>
              <a:buClrTx/>
              <a:defRPr/>
            </a:pPr>
            <a:endParaRPr lang="en-US" sz="825" kern="1200">
              <a:solidFill>
                <a:prstClr val="white"/>
              </a:solidFill>
              <a:ea typeface="+mn-ea"/>
              <a:cs typeface="+mn-cs"/>
            </a:endParaRPr>
          </a:p>
        </p:txBody>
      </p:sp>
      <p:sp>
        <p:nvSpPr>
          <p:cNvPr id="52" name="AutoShape 21"/>
          <p:cNvSpPr>
            <a:spLocks noChangeArrowheads="1"/>
          </p:cNvSpPr>
          <p:nvPr>
            <p:custDataLst>
              <p:tags r:id="rId22"/>
            </p:custDataLst>
          </p:nvPr>
        </p:nvSpPr>
        <p:spPr bwMode="auto">
          <a:xfrm rot="16200000" flipH="1">
            <a:off x="3316442" y="2494359"/>
            <a:ext cx="170259" cy="379810"/>
          </a:xfrm>
          <a:prstGeom prst="rightArrow">
            <a:avLst>
              <a:gd name="adj1" fmla="val 50000"/>
              <a:gd name="adj2" fmla="val 50032"/>
            </a:avLst>
          </a:prstGeom>
          <a:solidFill>
            <a:srgbClr val="8C8C8C"/>
          </a:solidFill>
          <a:ln w="12700" algn="ctr">
            <a:solidFill>
              <a:schemeClr val="bg1"/>
            </a:solidFill>
            <a:miter lim="800000"/>
            <a:headEnd/>
            <a:tailEnd/>
          </a:ln>
          <a:effectLst/>
        </p:spPr>
        <p:txBody>
          <a:bodyPr wrap="square" lIns="27000" tIns="27000" rIns="27000" bIns="27000" anchor="ctr"/>
          <a:lstStyle/>
          <a:p>
            <a:pPr algn="ctr" defTabSz="685800">
              <a:spcBef>
                <a:spcPct val="0"/>
              </a:spcBef>
              <a:buClrTx/>
              <a:defRPr/>
            </a:pPr>
            <a:endParaRPr lang="en-US" sz="825" kern="1200">
              <a:solidFill>
                <a:prstClr val="white"/>
              </a:solidFill>
              <a:ea typeface="+mn-ea"/>
              <a:cs typeface="+mn-cs"/>
            </a:endParaRPr>
          </a:p>
        </p:txBody>
      </p:sp>
      <p:sp>
        <p:nvSpPr>
          <p:cNvPr id="53" name="AutoShape 22"/>
          <p:cNvSpPr>
            <a:spLocks noChangeArrowheads="1"/>
          </p:cNvSpPr>
          <p:nvPr>
            <p:custDataLst>
              <p:tags r:id="rId23"/>
            </p:custDataLst>
          </p:nvPr>
        </p:nvSpPr>
        <p:spPr bwMode="auto">
          <a:xfrm rot="16200000" flipH="1">
            <a:off x="3317038" y="1978224"/>
            <a:ext cx="169069" cy="379810"/>
          </a:xfrm>
          <a:prstGeom prst="rightArrow">
            <a:avLst>
              <a:gd name="adj1" fmla="val 50000"/>
              <a:gd name="adj2" fmla="val 50032"/>
            </a:avLst>
          </a:prstGeom>
          <a:solidFill>
            <a:srgbClr val="8C8C8C"/>
          </a:solidFill>
          <a:ln w="12700" algn="ctr">
            <a:solidFill>
              <a:schemeClr val="bg1"/>
            </a:solidFill>
            <a:miter lim="800000"/>
            <a:headEnd/>
            <a:tailEnd/>
          </a:ln>
          <a:effectLst/>
        </p:spPr>
        <p:txBody>
          <a:bodyPr wrap="square" lIns="27000" tIns="27000" rIns="27000" bIns="27000" anchor="ctr"/>
          <a:lstStyle/>
          <a:p>
            <a:pPr algn="ctr" defTabSz="685800">
              <a:spcBef>
                <a:spcPct val="0"/>
              </a:spcBef>
              <a:buClrTx/>
              <a:defRPr/>
            </a:pPr>
            <a:endParaRPr lang="en-US" sz="825" kern="1200">
              <a:solidFill>
                <a:prstClr val="white"/>
              </a:solidFill>
              <a:ea typeface="+mn-ea"/>
              <a:cs typeface="+mn-cs"/>
            </a:endParaRPr>
          </a:p>
        </p:txBody>
      </p:sp>
      <p:sp>
        <p:nvSpPr>
          <p:cNvPr id="54" name="Rectangle 53"/>
          <p:cNvSpPr>
            <a:spLocks noChangeArrowheads="1"/>
          </p:cNvSpPr>
          <p:nvPr>
            <p:custDataLst>
              <p:tags r:id="rId24"/>
            </p:custDataLst>
          </p:nvPr>
        </p:nvSpPr>
        <p:spPr bwMode="auto">
          <a:xfrm>
            <a:off x="4358171" y="3092053"/>
            <a:ext cx="762000" cy="376238"/>
          </a:xfrm>
          <a:prstGeom prst="rect">
            <a:avLst/>
          </a:prstGeom>
          <a:solidFill>
            <a:schemeClr val="bg1"/>
          </a:solidFill>
          <a:ln w="12700" algn="ctr">
            <a:solidFill>
              <a:srgbClr val="8C8C8C"/>
            </a:solidFill>
            <a:miter lim="800000"/>
            <a:headEnd/>
            <a:tailEnd/>
          </a:ln>
          <a:effectLst/>
        </p:spPr>
        <p:txBody>
          <a:bodyPr wrap="square" lIns="27000" tIns="27000" rIns="27000" bIns="27000" anchor="ctr"/>
          <a:lstStyle/>
          <a:p>
            <a:pPr marL="9525" indent="-9525" algn="ctr" defTabSz="685800">
              <a:lnSpc>
                <a:spcPct val="110000"/>
              </a:lnSpc>
              <a:spcBef>
                <a:spcPct val="0"/>
              </a:spcBef>
              <a:buClrTx/>
            </a:pPr>
            <a:r>
              <a:rPr lang="en-US" altLang="ja-JP" sz="825" kern="1200">
                <a:solidFill>
                  <a:srgbClr val="313131"/>
                </a:solidFill>
                <a:ea typeface="ＭＳ Ｐゴシック" pitchFamily="50" charset="-128"/>
                <a:cs typeface="+mn-cs"/>
              </a:rPr>
              <a:t>Creativity</a:t>
            </a:r>
          </a:p>
        </p:txBody>
      </p:sp>
      <p:sp>
        <p:nvSpPr>
          <p:cNvPr id="55" name="Rectangle 54"/>
          <p:cNvSpPr>
            <a:spLocks noChangeArrowheads="1"/>
          </p:cNvSpPr>
          <p:nvPr>
            <p:custDataLst>
              <p:tags r:id="rId25"/>
            </p:custDataLst>
          </p:nvPr>
        </p:nvSpPr>
        <p:spPr bwMode="auto">
          <a:xfrm>
            <a:off x="4358171" y="2580085"/>
            <a:ext cx="762000" cy="376238"/>
          </a:xfrm>
          <a:prstGeom prst="rect">
            <a:avLst/>
          </a:prstGeom>
          <a:solidFill>
            <a:schemeClr val="bg1"/>
          </a:solidFill>
          <a:ln w="12700" algn="ctr">
            <a:solidFill>
              <a:srgbClr val="8C8C8C"/>
            </a:solidFill>
            <a:miter lim="800000"/>
            <a:headEnd/>
            <a:tailEnd/>
          </a:ln>
          <a:effectLst/>
        </p:spPr>
        <p:txBody>
          <a:bodyPr wrap="square" lIns="27000" tIns="27000" rIns="27000" bIns="27000" anchor="ctr"/>
          <a:lstStyle/>
          <a:p>
            <a:pPr marL="9525" indent="-9525" algn="ctr" defTabSz="685800">
              <a:lnSpc>
                <a:spcPct val="110000"/>
              </a:lnSpc>
              <a:spcBef>
                <a:spcPct val="0"/>
              </a:spcBef>
              <a:buClrTx/>
            </a:pPr>
            <a:r>
              <a:rPr lang="en-US" altLang="ja-JP" sz="825" kern="1200" dirty="0">
                <a:solidFill>
                  <a:srgbClr val="313131"/>
                </a:solidFill>
                <a:ea typeface="ＭＳ Ｐゴシック" pitchFamily="50" charset="-128"/>
                <a:cs typeface="+mn-cs"/>
              </a:rPr>
              <a:t>Scenarios</a:t>
            </a:r>
            <a:br>
              <a:rPr lang="en-US" altLang="ja-JP" sz="825" kern="1200" dirty="0">
                <a:solidFill>
                  <a:srgbClr val="313131"/>
                </a:solidFill>
                <a:ea typeface="ＭＳ Ｐゴシック" pitchFamily="50" charset="-128"/>
                <a:cs typeface="+mn-cs"/>
              </a:rPr>
            </a:br>
            <a:r>
              <a:rPr lang="en-US" altLang="ja-JP" sz="825" kern="1200" dirty="0">
                <a:solidFill>
                  <a:srgbClr val="313131"/>
                </a:solidFill>
                <a:ea typeface="ＭＳ Ｐゴシック" pitchFamily="50" charset="-128"/>
                <a:cs typeface="+mn-cs"/>
              </a:rPr>
              <a:t>and options</a:t>
            </a:r>
          </a:p>
        </p:txBody>
      </p:sp>
      <p:sp>
        <p:nvSpPr>
          <p:cNvPr id="56" name="Freeform 55"/>
          <p:cNvSpPr>
            <a:spLocks/>
          </p:cNvSpPr>
          <p:nvPr>
            <p:custDataLst>
              <p:tags r:id="rId26"/>
            </p:custDataLst>
          </p:nvPr>
        </p:nvSpPr>
        <p:spPr bwMode="auto">
          <a:xfrm>
            <a:off x="2513961" y="2856906"/>
            <a:ext cx="366713" cy="334565"/>
          </a:xfrm>
          <a:custGeom>
            <a:avLst/>
            <a:gdLst/>
            <a:ahLst/>
            <a:cxnLst>
              <a:cxn ang="0">
                <a:pos x="0" y="147"/>
              </a:cxn>
              <a:cxn ang="0">
                <a:pos x="84" y="0"/>
              </a:cxn>
              <a:cxn ang="0">
                <a:pos x="84" y="71"/>
              </a:cxn>
              <a:cxn ang="0">
                <a:pos x="246" y="71"/>
              </a:cxn>
              <a:cxn ang="0">
                <a:pos x="246" y="3"/>
              </a:cxn>
              <a:cxn ang="0">
                <a:pos x="323" y="147"/>
              </a:cxn>
              <a:cxn ang="0">
                <a:pos x="243" y="295"/>
              </a:cxn>
              <a:cxn ang="0">
                <a:pos x="243" y="219"/>
              </a:cxn>
              <a:cxn ang="0">
                <a:pos x="84" y="219"/>
              </a:cxn>
              <a:cxn ang="0">
                <a:pos x="84" y="292"/>
              </a:cxn>
              <a:cxn ang="0">
                <a:pos x="0" y="147"/>
              </a:cxn>
            </a:cxnLst>
            <a:rect l="0" t="0" r="r" b="b"/>
            <a:pathLst>
              <a:path w="324" h="296">
                <a:moveTo>
                  <a:pt x="0" y="147"/>
                </a:moveTo>
                <a:lnTo>
                  <a:pt x="84" y="0"/>
                </a:lnTo>
                <a:lnTo>
                  <a:pt x="84" y="71"/>
                </a:lnTo>
                <a:lnTo>
                  <a:pt x="246" y="71"/>
                </a:lnTo>
                <a:lnTo>
                  <a:pt x="246" y="3"/>
                </a:lnTo>
                <a:lnTo>
                  <a:pt x="323" y="147"/>
                </a:lnTo>
                <a:lnTo>
                  <a:pt x="243" y="295"/>
                </a:lnTo>
                <a:lnTo>
                  <a:pt x="243" y="219"/>
                </a:lnTo>
                <a:lnTo>
                  <a:pt x="84" y="219"/>
                </a:lnTo>
                <a:lnTo>
                  <a:pt x="84" y="292"/>
                </a:lnTo>
                <a:lnTo>
                  <a:pt x="0" y="147"/>
                </a:lnTo>
              </a:path>
            </a:pathLst>
          </a:custGeom>
          <a:solidFill>
            <a:srgbClr val="8C8C8C"/>
          </a:solidFill>
          <a:ln w="12700" cap="flat" cmpd="sng">
            <a:solidFill>
              <a:schemeClr val="bg1"/>
            </a:solidFill>
            <a:prstDash val="solid"/>
            <a:round/>
            <a:headEnd type="none" w="med" len="med"/>
            <a:tailEnd type="none" w="med" len="med"/>
          </a:ln>
          <a:effectLst/>
        </p:spPr>
        <p:txBody>
          <a:bodyPr wrap="square" lIns="27000" tIns="27000" rIns="27000" bIns="27000" anchor="ctr"/>
          <a:lstStyle/>
          <a:p>
            <a:pPr defTabSz="685800">
              <a:buClrTx/>
              <a:defRPr/>
            </a:pPr>
            <a:endParaRPr lang="en-US" sz="825" kern="1200">
              <a:solidFill>
                <a:prstClr val="white"/>
              </a:solidFill>
              <a:ea typeface="+mn-ea"/>
              <a:cs typeface="+mn-cs"/>
            </a:endParaRPr>
          </a:p>
        </p:txBody>
      </p:sp>
      <p:sp>
        <p:nvSpPr>
          <p:cNvPr id="57" name="Freeform 56"/>
          <p:cNvSpPr>
            <a:spLocks/>
          </p:cNvSpPr>
          <p:nvPr>
            <p:custDataLst>
              <p:tags r:id="rId27"/>
            </p:custDataLst>
          </p:nvPr>
        </p:nvSpPr>
        <p:spPr bwMode="auto">
          <a:xfrm>
            <a:off x="3920089" y="2856906"/>
            <a:ext cx="366713" cy="334565"/>
          </a:xfrm>
          <a:custGeom>
            <a:avLst/>
            <a:gdLst/>
            <a:ahLst/>
            <a:cxnLst>
              <a:cxn ang="0">
                <a:pos x="0" y="147"/>
              </a:cxn>
              <a:cxn ang="0">
                <a:pos x="84" y="0"/>
              </a:cxn>
              <a:cxn ang="0">
                <a:pos x="84" y="71"/>
              </a:cxn>
              <a:cxn ang="0">
                <a:pos x="246" y="71"/>
              </a:cxn>
              <a:cxn ang="0">
                <a:pos x="246" y="3"/>
              </a:cxn>
              <a:cxn ang="0">
                <a:pos x="323" y="147"/>
              </a:cxn>
              <a:cxn ang="0">
                <a:pos x="243" y="295"/>
              </a:cxn>
              <a:cxn ang="0">
                <a:pos x="243" y="219"/>
              </a:cxn>
              <a:cxn ang="0">
                <a:pos x="84" y="219"/>
              </a:cxn>
              <a:cxn ang="0">
                <a:pos x="84" y="292"/>
              </a:cxn>
              <a:cxn ang="0">
                <a:pos x="0" y="147"/>
              </a:cxn>
            </a:cxnLst>
            <a:rect l="0" t="0" r="r" b="b"/>
            <a:pathLst>
              <a:path w="324" h="296">
                <a:moveTo>
                  <a:pt x="0" y="147"/>
                </a:moveTo>
                <a:lnTo>
                  <a:pt x="84" y="0"/>
                </a:lnTo>
                <a:lnTo>
                  <a:pt x="84" y="71"/>
                </a:lnTo>
                <a:lnTo>
                  <a:pt x="246" y="71"/>
                </a:lnTo>
                <a:lnTo>
                  <a:pt x="246" y="3"/>
                </a:lnTo>
                <a:lnTo>
                  <a:pt x="323" y="147"/>
                </a:lnTo>
                <a:lnTo>
                  <a:pt x="243" y="295"/>
                </a:lnTo>
                <a:lnTo>
                  <a:pt x="243" y="219"/>
                </a:lnTo>
                <a:lnTo>
                  <a:pt x="84" y="219"/>
                </a:lnTo>
                <a:lnTo>
                  <a:pt x="84" y="292"/>
                </a:lnTo>
                <a:lnTo>
                  <a:pt x="0" y="147"/>
                </a:lnTo>
              </a:path>
            </a:pathLst>
          </a:custGeom>
          <a:solidFill>
            <a:srgbClr val="8C8C8C"/>
          </a:solidFill>
          <a:ln w="12700" cap="flat" cmpd="sng">
            <a:solidFill>
              <a:schemeClr val="bg1"/>
            </a:solidFill>
            <a:prstDash val="solid"/>
            <a:round/>
            <a:headEnd type="none" w="med" len="med"/>
            <a:tailEnd type="none" w="med" len="med"/>
          </a:ln>
          <a:effectLst/>
        </p:spPr>
        <p:txBody>
          <a:bodyPr wrap="square" lIns="27000" tIns="27000" rIns="27000" bIns="27000" anchor="ctr"/>
          <a:lstStyle/>
          <a:p>
            <a:pPr defTabSz="685800">
              <a:buClrTx/>
              <a:defRPr/>
            </a:pPr>
            <a:endParaRPr lang="en-US" sz="825" kern="1200">
              <a:solidFill>
                <a:prstClr val="white"/>
              </a:solidFill>
              <a:ea typeface="+mn-ea"/>
              <a:cs typeface="+mn-cs"/>
            </a:endParaRPr>
          </a:p>
        </p:txBody>
      </p:sp>
      <p:sp>
        <p:nvSpPr>
          <p:cNvPr id="58" name="Freeform 57"/>
          <p:cNvSpPr>
            <a:spLocks/>
          </p:cNvSpPr>
          <p:nvPr>
            <p:custDataLst>
              <p:tags r:id="rId28"/>
            </p:custDataLst>
          </p:nvPr>
        </p:nvSpPr>
        <p:spPr bwMode="auto">
          <a:xfrm>
            <a:off x="5181917" y="2861073"/>
            <a:ext cx="366713" cy="334565"/>
          </a:xfrm>
          <a:custGeom>
            <a:avLst/>
            <a:gdLst/>
            <a:ahLst/>
            <a:cxnLst>
              <a:cxn ang="0">
                <a:pos x="0" y="147"/>
              </a:cxn>
              <a:cxn ang="0">
                <a:pos x="84" y="0"/>
              </a:cxn>
              <a:cxn ang="0">
                <a:pos x="84" y="71"/>
              </a:cxn>
              <a:cxn ang="0">
                <a:pos x="246" y="71"/>
              </a:cxn>
              <a:cxn ang="0">
                <a:pos x="246" y="3"/>
              </a:cxn>
              <a:cxn ang="0">
                <a:pos x="323" y="147"/>
              </a:cxn>
              <a:cxn ang="0">
                <a:pos x="243" y="295"/>
              </a:cxn>
              <a:cxn ang="0">
                <a:pos x="243" y="219"/>
              </a:cxn>
              <a:cxn ang="0">
                <a:pos x="84" y="219"/>
              </a:cxn>
              <a:cxn ang="0">
                <a:pos x="84" y="292"/>
              </a:cxn>
              <a:cxn ang="0">
                <a:pos x="0" y="147"/>
              </a:cxn>
            </a:cxnLst>
            <a:rect l="0" t="0" r="r" b="b"/>
            <a:pathLst>
              <a:path w="324" h="296">
                <a:moveTo>
                  <a:pt x="0" y="147"/>
                </a:moveTo>
                <a:lnTo>
                  <a:pt x="84" y="0"/>
                </a:lnTo>
                <a:lnTo>
                  <a:pt x="84" y="71"/>
                </a:lnTo>
                <a:lnTo>
                  <a:pt x="246" y="71"/>
                </a:lnTo>
                <a:lnTo>
                  <a:pt x="246" y="3"/>
                </a:lnTo>
                <a:lnTo>
                  <a:pt x="323" y="147"/>
                </a:lnTo>
                <a:lnTo>
                  <a:pt x="243" y="295"/>
                </a:lnTo>
                <a:lnTo>
                  <a:pt x="243" y="219"/>
                </a:lnTo>
                <a:lnTo>
                  <a:pt x="84" y="219"/>
                </a:lnTo>
                <a:lnTo>
                  <a:pt x="84" y="292"/>
                </a:lnTo>
                <a:lnTo>
                  <a:pt x="0" y="147"/>
                </a:lnTo>
              </a:path>
            </a:pathLst>
          </a:custGeom>
          <a:solidFill>
            <a:srgbClr val="8C8C8C"/>
          </a:solidFill>
          <a:ln w="12700" cap="flat" cmpd="sng">
            <a:solidFill>
              <a:schemeClr val="bg1"/>
            </a:solidFill>
            <a:prstDash val="solid"/>
            <a:round/>
            <a:headEnd type="none" w="med" len="med"/>
            <a:tailEnd type="none" w="med" len="med"/>
          </a:ln>
          <a:effectLst/>
        </p:spPr>
        <p:txBody>
          <a:bodyPr wrap="square" lIns="27000" tIns="27000" rIns="27000" bIns="27000" anchor="ctr"/>
          <a:lstStyle/>
          <a:p>
            <a:pPr defTabSz="685800">
              <a:buClrTx/>
              <a:defRPr/>
            </a:pPr>
            <a:endParaRPr lang="en-US" sz="825" kern="1200">
              <a:solidFill>
                <a:prstClr val="white"/>
              </a:solidFill>
              <a:ea typeface="+mn-ea"/>
              <a:cs typeface="+mn-cs"/>
            </a:endParaRPr>
          </a:p>
        </p:txBody>
      </p:sp>
      <p:sp>
        <p:nvSpPr>
          <p:cNvPr id="59" name="Freeform 58"/>
          <p:cNvSpPr>
            <a:spLocks/>
          </p:cNvSpPr>
          <p:nvPr>
            <p:custDataLst>
              <p:tags r:id="rId29"/>
            </p:custDataLst>
          </p:nvPr>
        </p:nvSpPr>
        <p:spPr bwMode="auto">
          <a:xfrm>
            <a:off x="6322204" y="2861073"/>
            <a:ext cx="366713" cy="334565"/>
          </a:xfrm>
          <a:custGeom>
            <a:avLst/>
            <a:gdLst/>
            <a:ahLst/>
            <a:cxnLst>
              <a:cxn ang="0">
                <a:pos x="0" y="147"/>
              </a:cxn>
              <a:cxn ang="0">
                <a:pos x="84" y="0"/>
              </a:cxn>
              <a:cxn ang="0">
                <a:pos x="84" y="71"/>
              </a:cxn>
              <a:cxn ang="0">
                <a:pos x="246" y="71"/>
              </a:cxn>
              <a:cxn ang="0">
                <a:pos x="246" y="3"/>
              </a:cxn>
              <a:cxn ang="0">
                <a:pos x="323" y="147"/>
              </a:cxn>
              <a:cxn ang="0">
                <a:pos x="243" y="295"/>
              </a:cxn>
              <a:cxn ang="0">
                <a:pos x="243" y="219"/>
              </a:cxn>
              <a:cxn ang="0">
                <a:pos x="84" y="219"/>
              </a:cxn>
              <a:cxn ang="0">
                <a:pos x="84" y="292"/>
              </a:cxn>
              <a:cxn ang="0">
                <a:pos x="0" y="147"/>
              </a:cxn>
            </a:cxnLst>
            <a:rect l="0" t="0" r="r" b="b"/>
            <a:pathLst>
              <a:path w="324" h="296">
                <a:moveTo>
                  <a:pt x="0" y="147"/>
                </a:moveTo>
                <a:lnTo>
                  <a:pt x="84" y="0"/>
                </a:lnTo>
                <a:lnTo>
                  <a:pt x="84" y="71"/>
                </a:lnTo>
                <a:lnTo>
                  <a:pt x="246" y="71"/>
                </a:lnTo>
                <a:lnTo>
                  <a:pt x="246" y="3"/>
                </a:lnTo>
                <a:lnTo>
                  <a:pt x="323" y="147"/>
                </a:lnTo>
                <a:lnTo>
                  <a:pt x="243" y="295"/>
                </a:lnTo>
                <a:lnTo>
                  <a:pt x="243" y="219"/>
                </a:lnTo>
                <a:lnTo>
                  <a:pt x="84" y="219"/>
                </a:lnTo>
                <a:lnTo>
                  <a:pt x="84" y="292"/>
                </a:lnTo>
                <a:lnTo>
                  <a:pt x="0" y="147"/>
                </a:lnTo>
              </a:path>
            </a:pathLst>
          </a:custGeom>
          <a:solidFill>
            <a:srgbClr val="8C8C8C"/>
          </a:solidFill>
          <a:ln w="12700" cap="flat" cmpd="sng">
            <a:solidFill>
              <a:schemeClr val="bg1"/>
            </a:solidFill>
            <a:prstDash val="solid"/>
            <a:round/>
            <a:headEnd type="none" w="med" len="med"/>
            <a:tailEnd type="none" w="med" len="med"/>
          </a:ln>
          <a:effectLst/>
        </p:spPr>
        <p:txBody>
          <a:bodyPr wrap="square" lIns="27000" tIns="27000" rIns="27000" bIns="27000" anchor="ctr"/>
          <a:lstStyle/>
          <a:p>
            <a:pPr defTabSz="685800">
              <a:buClrTx/>
              <a:defRPr/>
            </a:pPr>
            <a:endParaRPr lang="en-US" sz="825" kern="1200">
              <a:solidFill>
                <a:prstClr val="white"/>
              </a:solidFill>
              <a:ea typeface="+mn-ea"/>
              <a:cs typeface="+mn-cs"/>
            </a:endParaRPr>
          </a:p>
        </p:txBody>
      </p:sp>
    </p:spTree>
  </p:cSld>
  <p:clrMapOvr>
    <a:masterClrMapping/>
  </p:clrMapOvr>
  <p:transition>
    <p:fade/>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143000" y="0"/>
          <a:ext cx="119063" cy="119063"/>
        </p:xfrm>
        <a:graphic>
          <a:graphicData uri="http://schemas.openxmlformats.org/presentationml/2006/ole">
            <mc:AlternateContent xmlns:mc="http://schemas.openxmlformats.org/markup-compatibility/2006">
              <mc:Choice xmlns:v="urn:schemas-microsoft-com:vml" Requires="v">
                <p:oleObj name="think-cell Slide" r:id="rId42" imgW="360" imgH="360" progId="">
                  <p:embed/>
                </p:oleObj>
              </mc:Choice>
              <mc:Fallback>
                <p:oleObj name="think-cell Slide" r:id="rId42" imgW="360" imgH="360" progId="">
                  <p:embed/>
                  <p:pic>
                    <p:nvPicPr>
                      <p:cNvPr id="2" name="Object 1" hidden="1"/>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143000" y="0"/>
                        <a:ext cx="119063"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88" name="Donut 387"/>
          <p:cNvSpPr/>
          <p:nvPr>
            <p:custDataLst>
              <p:tags r:id="rId2"/>
            </p:custDataLst>
          </p:nvPr>
        </p:nvSpPr>
        <p:spPr>
          <a:xfrm>
            <a:off x="4572000" y="1978819"/>
            <a:ext cx="3148013" cy="1843088"/>
          </a:xfrm>
          <a:prstGeom prst="donut">
            <a:avLst/>
          </a:prstGeom>
          <a:solidFill>
            <a:srgbClr val="DCDCD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buClrTx/>
              <a:defRPr/>
            </a:pPr>
            <a:endParaRPr lang="en-US" sz="825" kern="1200" dirty="0">
              <a:solidFill>
                <a:srgbClr val="313131"/>
              </a:solidFill>
              <a:latin typeface="Arial"/>
            </a:endParaRPr>
          </a:p>
        </p:txBody>
      </p:sp>
      <p:sp>
        <p:nvSpPr>
          <p:cNvPr id="387" name="Donut 386"/>
          <p:cNvSpPr/>
          <p:nvPr>
            <p:custDataLst>
              <p:tags r:id="rId3"/>
            </p:custDataLst>
          </p:nvPr>
        </p:nvSpPr>
        <p:spPr>
          <a:xfrm>
            <a:off x="1421606" y="1993106"/>
            <a:ext cx="3148013" cy="1843088"/>
          </a:xfrm>
          <a:prstGeom prst="donut">
            <a:avLst/>
          </a:prstGeom>
          <a:solidFill>
            <a:srgbClr val="DCDCD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buClrTx/>
              <a:defRPr/>
            </a:pPr>
            <a:endParaRPr lang="en-US" sz="825" kern="1200" dirty="0">
              <a:solidFill>
                <a:srgbClr val="313131"/>
              </a:solidFill>
              <a:latin typeface="Arial"/>
            </a:endParaRPr>
          </a:p>
        </p:txBody>
      </p:sp>
      <p:sp>
        <p:nvSpPr>
          <p:cNvPr id="765955" name="Title 1"/>
          <p:cNvSpPr>
            <a:spLocks noGrp="1"/>
          </p:cNvSpPr>
          <p:nvPr>
            <p:ph type="title"/>
            <p:custDataLst>
              <p:tags r:id="rId4"/>
            </p:custDataLst>
          </p:nvPr>
        </p:nvSpPr>
        <p:spPr/>
        <p:txBody>
          <a:bodyPr/>
          <a:lstStyle/>
          <a:p>
            <a:r>
              <a:rPr lang="en-US" altLang="ja-JP" dirty="0"/>
              <a:t>Strategy development </a:t>
            </a:r>
            <a:br>
              <a:rPr lang="en-US" altLang="ja-JP" dirty="0"/>
            </a:br>
            <a:r>
              <a:rPr lang="en-US" altLang="ja-JP" dirty="0">
                <a:solidFill>
                  <a:srgbClr val="575757"/>
                </a:solidFill>
              </a:rPr>
              <a:t>The loop</a:t>
            </a:r>
            <a:endParaRPr lang="en-US" dirty="0">
              <a:solidFill>
                <a:srgbClr val="575757"/>
              </a:solidFill>
            </a:endParaRPr>
          </a:p>
        </p:txBody>
      </p:sp>
      <p:sp>
        <p:nvSpPr>
          <p:cNvPr id="264" name="Oval 10"/>
          <p:cNvSpPr>
            <a:spLocks noChangeArrowheads="1"/>
          </p:cNvSpPr>
          <p:nvPr>
            <p:custDataLst>
              <p:tags r:id="rId5"/>
            </p:custDataLst>
          </p:nvPr>
        </p:nvSpPr>
        <p:spPr bwMode="auto">
          <a:xfrm>
            <a:off x="1879997" y="1488281"/>
            <a:ext cx="2119313" cy="295275"/>
          </a:xfrm>
          <a:prstGeom prst="ellipse">
            <a:avLst/>
          </a:prstGeom>
          <a:solidFill>
            <a:srgbClr val="8C8C8C"/>
          </a:solidFill>
          <a:ln w="12700" algn="ctr">
            <a:solidFill>
              <a:schemeClr val="bg1"/>
            </a:solidFill>
            <a:round/>
            <a:headEnd type="none" w="sm" len="sm"/>
            <a:tailEnd type="none" w="sm" len="sm"/>
          </a:ln>
          <a:effectLst/>
        </p:spPr>
        <p:txBody>
          <a:bodyPr tIns="68580" bIns="68580" anchor="ctr"/>
          <a:lstStyle/>
          <a:p>
            <a:pPr algn="ctr" defTabSz="685800">
              <a:buClrTx/>
              <a:defRPr/>
            </a:pPr>
            <a:r>
              <a:rPr lang="en-US" altLang="ja-JP" sz="825" b="1" kern="1200" dirty="0">
                <a:solidFill>
                  <a:prstClr val="white"/>
                </a:solidFill>
                <a:ea typeface="ＭＳ Ｐゴシック" pitchFamily="50" charset="-128"/>
                <a:cs typeface="+mn-cs"/>
              </a:rPr>
              <a:t>Commercial market</a:t>
            </a:r>
          </a:p>
        </p:txBody>
      </p:sp>
      <p:sp>
        <p:nvSpPr>
          <p:cNvPr id="305" name="Oval 51"/>
          <p:cNvSpPr>
            <a:spLocks noChangeArrowheads="1"/>
          </p:cNvSpPr>
          <p:nvPr>
            <p:custDataLst>
              <p:tags r:id="rId6"/>
            </p:custDataLst>
          </p:nvPr>
        </p:nvSpPr>
        <p:spPr bwMode="auto">
          <a:xfrm>
            <a:off x="2662833" y="2582466"/>
            <a:ext cx="665560" cy="664369"/>
          </a:xfrm>
          <a:prstGeom prst="ellipse">
            <a:avLst/>
          </a:prstGeom>
          <a:solidFill>
            <a:schemeClr val="bg1"/>
          </a:solidFill>
          <a:ln w="57150">
            <a:solidFill>
              <a:srgbClr val="81BC00"/>
            </a:solidFill>
            <a:round/>
            <a:headEnd type="none" w="sm" len="sm"/>
            <a:tailEnd type="none" w="sm" len="sm"/>
          </a:ln>
          <a:effectLst/>
        </p:spPr>
        <p:txBody>
          <a:bodyPr wrap="none" anchor="ctr"/>
          <a:lstStyle/>
          <a:p>
            <a:pPr algn="ctr" defTabSz="685800">
              <a:buClrTx/>
              <a:defRPr/>
            </a:pPr>
            <a:r>
              <a:rPr kumimoji="1" lang="en-US" altLang="ja-JP" sz="825" b="1" kern="1200">
                <a:solidFill>
                  <a:srgbClr val="313131"/>
                </a:solidFill>
                <a:ea typeface="ＭＳ Ｐゴシック" pitchFamily="50" charset="-128"/>
                <a:cs typeface="+mn-cs"/>
              </a:rPr>
              <a:t>Insight</a:t>
            </a:r>
            <a:endParaRPr kumimoji="1" lang="en-US" altLang="ja-JP" sz="825" b="1" kern="1200" dirty="0">
              <a:solidFill>
                <a:srgbClr val="313131"/>
              </a:solidFill>
              <a:ea typeface="ＭＳ Ｐゴシック" pitchFamily="50" charset="-128"/>
              <a:cs typeface="+mn-cs"/>
            </a:endParaRPr>
          </a:p>
        </p:txBody>
      </p:sp>
      <p:sp>
        <p:nvSpPr>
          <p:cNvPr id="306" name="Oval 52"/>
          <p:cNvSpPr>
            <a:spLocks noChangeArrowheads="1"/>
          </p:cNvSpPr>
          <p:nvPr>
            <p:custDataLst>
              <p:tags r:id="rId7"/>
            </p:custDataLst>
          </p:nvPr>
        </p:nvSpPr>
        <p:spPr bwMode="auto">
          <a:xfrm>
            <a:off x="5814418" y="2568179"/>
            <a:ext cx="663178" cy="664369"/>
          </a:xfrm>
          <a:prstGeom prst="ellipse">
            <a:avLst/>
          </a:prstGeom>
          <a:solidFill>
            <a:schemeClr val="bg1"/>
          </a:solidFill>
          <a:ln w="57150">
            <a:solidFill>
              <a:srgbClr val="81BC00"/>
            </a:solidFill>
            <a:round/>
            <a:headEnd type="none" w="sm" len="sm"/>
            <a:tailEnd type="none" w="sm" len="sm"/>
          </a:ln>
          <a:effectLst/>
        </p:spPr>
        <p:txBody>
          <a:bodyPr lIns="0" tIns="0" rIns="0" bIns="0" anchor="ctr"/>
          <a:lstStyle/>
          <a:p>
            <a:pPr algn="ctr" defTabSz="685800">
              <a:buClrTx/>
              <a:defRPr/>
            </a:pPr>
            <a:r>
              <a:rPr kumimoji="1" lang="en-US" sz="825" b="1" kern="1200" dirty="0">
                <a:solidFill>
                  <a:srgbClr val="313131"/>
                </a:solidFill>
                <a:ea typeface="ＭＳ Ｐゴシック" pitchFamily="50" charset="-128"/>
                <a:cs typeface="+mn-cs"/>
              </a:rPr>
              <a:t>Value creation</a:t>
            </a:r>
          </a:p>
        </p:txBody>
      </p:sp>
      <p:grpSp>
        <p:nvGrpSpPr>
          <p:cNvPr id="765976" name="Group 61"/>
          <p:cNvGrpSpPr>
            <a:grpSpLocks/>
          </p:cNvGrpSpPr>
          <p:nvPr>
            <p:custDataLst>
              <p:tags r:id="rId8"/>
            </p:custDataLst>
          </p:nvPr>
        </p:nvGrpSpPr>
        <p:grpSpPr bwMode="auto">
          <a:xfrm>
            <a:off x="4230291" y="2476501"/>
            <a:ext cx="664369" cy="813197"/>
            <a:chOff x="2650" y="1670"/>
            <a:chExt cx="558" cy="683"/>
          </a:xfrm>
        </p:grpSpPr>
        <p:sp>
          <p:nvSpPr>
            <p:cNvPr id="316" name="Oval 62"/>
            <p:cNvSpPr>
              <a:spLocks noChangeArrowheads="1"/>
            </p:cNvSpPr>
            <p:nvPr/>
          </p:nvSpPr>
          <p:spPr bwMode="auto">
            <a:xfrm>
              <a:off x="2650" y="1795"/>
              <a:ext cx="558" cy="558"/>
            </a:xfrm>
            <a:prstGeom prst="ellipse">
              <a:avLst/>
            </a:prstGeom>
            <a:noFill/>
            <a:ln w="57150">
              <a:solidFill>
                <a:srgbClr val="81BC00"/>
              </a:solidFill>
              <a:round/>
              <a:headEnd type="none" w="sm" len="sm"/>
              <a:tailEnd type="none" w="sm" len="sm"/>
            </a:ln>
          </p:spPr>
          <p:txBody>
            <a:bodyPr wrap="none" anchor="ctr"/>
            <a:lstStyle/>
            <a:p>
              <a:pPr algn="ctr" defTabSz="685800">
                <a:buClrTx/>
                <a:defRPr/>
              </a:pPr>
              <a:endParaRPr kumimoji="1" lang="en-US" sz="825" kern="1200" dirty="0">
                <a:solidFill>
                  <a:srgbClr val="313131"/>
                </a:solidFill>
                <a:ea typeface="ＭＳ Ｐゴシック" pitchFamily="50" charset="-128"/>
                <a:cs typeface="+mn-cs"/>
              </a:endParaRPr>
            </a:p>
          </p:txBody>
        </p:sp>
        <p:grpSp>
          <p:nvGrpSpPr>
            <p:cNvPr id="765998" name="Group 63"/>
            <p:cNvGrpSpPr>
              <a:grpSpLocks/>
            </p:cNvGrpSpPr>
            <p:nvPr/>
          </p:nvGrpSpPr>
          <p:grpSpPr bwMode="auto">
            <a:xfrm>
              <a:off x="2745" y="1670"/>
              <a:ext cx="375" cy="120"/>
              <a:chOff x="2745" y="1670"/>
              <a:chExt cx="375" cy="120"/>
            </a:xfrm>
          </p:grpSpPr>
          <p:sp>
            <p:nvSpPr>
              <p:cNvPr id="318" name="Line 64"/>
              <p:cNvSpPr>
                <a:spLocks noChangeShapeType="1"/>
              </p:cNvSpPr>
              <p:nvPr/>
            </p:nvSpPr>
            <p:spPr bwMode="auto">
              <a:xfrm>
                <a:off x="2745" y="1670"/>
                <a:ext cx="375" cy="0"/>
              </a:xfrm>
              <a:prstGeom prst="line">
                <a:avLst/>
              </a:prstGeom>
              <a:noFill/>
              <a:ln w="57150">
                <a:solidFill>
                  <a:srgbClr val="81BC00"/>
                </a:solidFill>
                <a:round/>
                <a:headEnd type="none" w="sm" len="sm"/>
                <a:tailEnd type="none" w="sm" len="sm"/>
              </a:ln>
            </p:spPr>
            <p:txBody>
              <a:bodyPr wrap="none" anchor="ctr"/>
              <a:lstStyle/>
              <a:p>
                <a:pPr defTabSz="685800">
                  <a:buClrTx/>
                  <a:defRPr/>
                </a:pPr>
                <a:endParaRPr lang="en-US" sz="825" kern="1200" dirty="0">
                  <a:solidFill>
                    <a:srgbClr val="313131"/>
                  </a:solidFill>
                  <a:ea typeface="+mn-ea"/>
                  <a:cs typeface="+mn-cs"/>
                </a:endParaRPr>
              </a:p>
            </p:txBody>
          </p:sp>
          <p:sp>
            <p:nvSpPr>
              <p:cNvPr id="319" name="Line 65"/>
              <p:cNvSpPr>
                <a:spLocks noChangeShapeType="1"/>
              </p:cNvSpPr>
              <p:nvPr/>
            </p:nvSpPr>
            <p:spPr bwMode="auto">
              <a:xfrm rot="5400000">
                <a:off x="2873" y="1730"/>
                <a:ext cx="120" cy="0"/>
              </a:xfrm>
              <a:prstGeom prst="line">
                <a:avLst/>
              </a:prstGeom>
              <a:noFill/>
              <a:ln w="57150">
                <a:solidFill>
                  <a:srgbClr val="81BC00"/>
                </a:solidFill>
                <a:round/>
                <a:headEnd type="none" w="sm" len="sm"/>
                <a:tailEnd type="none" w="sm" len="sm"/>
              </a:ln>
            </p:spPr>
            <p:txBody>
              <a:bodyPr wrap="none" anchor="ctr"/>
              <a:lstStyle/>
              <a:p>
                <a:pPr defTabSz="685800">
                  <a:buClrTx/>
                  <a:defRPr/>
                </a:pPr>
                <a:endParaRPr lang="en-US" sz="825" kern="1200" dirty="0">
                  <a:solidFill>
                    <a:srgbClr val="313131"/>
                  </a:solidFill>
                  <a:ea typeface="+mn-ea"/>
                  <a:cs typeface="+mn-cs"/>
                </a:endParaRPr>
              </a:p>
            </p:txBody>
          </p:sp>
        </p:grpSp>
      </p:grpSp>
      <p:sp>
        <p:nvSpPr>
          <p:cNvPr id="765977" name="Text Box 66"/>
          <p:cNvSpPr txBox="1">
            <a:spLocks noChangeArrowheads="1"/>
          </p:cNvSpPr>
          <p:nvPr>
            <p:custDataLst>
              <p:tags r:id="rId9"/>
            </p:custDataLst>
          </p:nvPr>
        </p:nvSpPr>
        <p:spPr bwMode="auto">
          <a:xfrm>
            <a:off x="4360204" y="2191785"/>
            <a:ext cx="416781" cy="253916"/>
          </a:xfrm>
          <a:prstGeom prst="rect">
            <a:avLst/>
          </a:prstGeom>
          <a:noFill/>
          <a:ln w="12700">
            <a:noFill/>
            <a:miter lim="800000"/>
            <a:headEnd type="none" w="sm" len="sm"/>
            <a:tailEnd type="none" w="sm" len="sm"/>
          </a:ln>
        </p:spPr>
        <p:txBody>
          <a:bodyPr wrap="none" lIns="0" tIns="0" rIns="0" bIns="0" anchor="ctr">
            <a:spAutoFit/>
          </a:bodyPr>
          <a:lstStyle/>
          <a:p>
            <a:pPr algn="ctr" defTabSz="685800">
              <a:buClrTx/>
            </a:pPr>
            <a:r>
              <a:rPr kumimoji="1" lang="en-US" altLang="ja-JP" sz="825" b="1" kern="1200" dirty="0">
                <a:solidFill>
                  <a:srgbClr val="313131"/>
                </a:solidFill>
                <a:ea typeface="ＭＳ Ｐゴシック" charset="-128"/>
                <a:cs typeface="+mn-cs"/>
              </a:rPr>
              <a:t>Chosen </a:t>
            </a:r>
            <a:br>
              <a:rPr kumimoji="1" lang="en-US" altLang="ja-JP" sz="825" b="1" kern="1200" dirty="0">
                <a:solidFill>
                  <a:srgbClr val="313131"/>
                </a:solidFill>
                <a:ea typeface="ＭＳ Ｐゴシック" charset="-128"/>
                <a:cs typeface="+mn-cs"/>
              </a:rPr>
            </a:br>
            <a:r>
              <a:rPr kumimoji="1" lang="en-US" altLang="ja-JP" sz="825" b="1" kern="1200" dirty="0">
                <a:solidFill>
                  <a:srgbClr val="313131"/>
                </a:solidFill>
                <a:ea typeface="ＭＳ Ｐゴシック" charset="-128"/>
                <a:cs typeface="+mn-cs"/>
              </a:rPr>
              <a:t>strategy</a:t>
            </a:r>
          </a:p>
        </p:txBody>
      </p:sp>
      <p:sp>
        <p:nvSpPr>
          <p:cNvPr id="262" name="Oval 261"/>
          <p:cNvSpPr>
            <a:spLocks noChangeArrowheads="1"/>
          </p:cNvSpPr>
          <p:nvPr>
            <p:custDataLst>
              <p:tags r:id="rId10"/>
            </p:custDataLst>
          </p:nvPr>
        </p:nvSpPr>
        <p:spPr bwMode="auto">
          <a:xfrm>
            <a:off x="5086350" y="4021931"/>
            <a:ext cx="2119313" cy="295275"/>
          </a:xfrm>
          <a:prstGeom prst="ellipse">
            <a:avLst/>
          </a:prstGeom>
          <a:solidFill>
            <a:srgbClr val="8C8C8C"/>
          </a:solidFill>
          <a:ln w="12700" algn="ctr">
            <a:solidFill>
              <a:schemeClr val="bg1"/>
            </a:solidFill>
            <a:round/>
            <a:headEnd type="none" w="sm" len="sm"/>
            <a:tailEnd type="none" w="sm" len="sm"/>
          </a:ln>
          <a:effectLst/>
        </p:spPr>
        <p:txBody>
          <a:bodyPr tIns="68580" bIns="68580" anchor="ctr"/>
          <a:lstStyle/>
          <a:p>
            <a:pPr algn="ctr" defTabSz="685800">
              <a:buClrTx/>
              <a:defRPr/>
            </a:pPr>
            <a:r>
              <a:rPr lang="en-US" altLang="ja-JP" sz="825" b="1" kern="1200" dirty="0">
                <a:solidFill>
                  <a:prstClr val="white"/>
                </a:solidFill>
                <a:ea typeface="ＭＳ Ｐゴシック" pitchFamily="50" charset="-128"/>
                <a:cs typeface="+mn-cs"/>
              </a:rPr>
              <a:t>Managed performance</a:t>
            </a:r>
          </a:p>
        </p:txBody>
      </p:sp>
      <p:sp>
        <p:nvSpPr>
          <p:cNvPr id="311" name="AutoShape 57"/>
          <p:cNvSpPr>
            <a:spLocks noChangeAspect="1" noChangeArrowheads="1"/>
          </p:cNvSpPr>
          <p:nvPr>
            <p:custDataLst>
              <p:tags r:id="rId11"/>
            </p:custDataLst>
          </p:nvPr>
        </p:nvSpPr>
        <p:spPr bwMode="auto">
          <a:xfrm>
            <a:off x="4857750" y="3451324"/>
            <a:ext cx="2606040" cy="189371"/>
          </a:xfrm>
          <a:prstGeom prst="roundRect">
            <a:avLst>
              <a:gd name="adj" fmla="val 50000"/>
            </a:avLst>
          </a:prstGeom>
          <a:solidFill>
            <a:schemeClr val="bg1"/>
          </a:solidFill>
          <a:ln w="12700" algn="ctr">
            <a:solidFill>
              <a:srgbClr val="B4B4B4"/>
            </a:solidFill>
            <a:round/>
            <a:headEnd type="none" w="sm" len="sm"/>
            <a:tailEnd type="none" w="sm" len="sm"/>
          </a:ln>
          <a:effectLst/>
        </p:spPr>
        <p:txBody>
          <a:bodyPr wrap="none" tIns="68580" bIns="68580" anchor="ctr"/>
          <a:lstStyle/>
          <a:p>
            <a:pPr marL="9525" indent="-9525" algn="ctr" defTabSz="685800">
              <a:lnSpc>
                <a:spcPct val="110000"/>
              </a:lnSpc>
              <a:buClrTx/>
              <a:defRPr/>
            </a:pPr>
            <a:r>
              <a:rPr lang="en-US" altLang="ja-JP" sz="825" kern="1200" dirty="0">
                <a:solidFill>
                  <a:srgbClr val="313131"/>
                </a:solidFill>
                <a:ea typeface="ＭＳ Ｐゴシック" pitchFamily="50" charset="-128"/>
                <a:cs typeface="+mn-cs"/>
              </a:rPr>
              <a:t>Critical success factors and key performance indicators</a:t>
            </a:r>
          </a:p>
        </p:txBody>
      </p:sp>
      <p:sp>
        <p:nvSpPr>
          <p:cNvPr id="312" name="AutoShape 58"/>
          <p:cNvSpPr>
            <a:spLocks noChangeAspect="1" noChangeArrowheads="1"/>
          </p:cNvSpPr>
          <p:nvPr>
            <p:custDataLst>
              <p:tags r:id="rId12"/>
            </p:custDataLst>
          </p:nvPr>
        </p:nvSpPr>
        <p:spPr bwMode="auto">
          <a:xfrm>
            <a:off x="4892040" y="3816251"/>
            <a:ext cx="2537460" cy="184653"/>
          </a:xfrm>
          <a:prstGeom prst="roundRect">
            <a:avLst>
              <a:gd name="adj" fmla="val 50000"/>
            </a:avLst>
          </a:prstGeom>
          <a:solidFill>
            <a:schemeClr val="bg1"/>
          </a:solidFill>
          <a:ln w="12700" algn="ctr">
            <a:solidFill>
              <a:srgbClr val="B4B4B4"/>
            </a:solidFill>
            <a:round/>
            <a:headEnd type="none" w="sm" len="sm"/>
            <a:tailEnd type="none" w="sm" len="sm"/>
          </a:ln>
          <a:effectLst/>
        </p:spPr>
        <p:txBody>
          <a:bodyPr wrap="none" tIns="68580" bIns="68580" anchor="ctr"/>
          <a:lstStyle/>
          <a:p>
            <a:pPr marL="9525" indent="-9525" algn="ctr" defTabSz="685800">
              <a:lnSpc>
                <a:spcPct val="110000"/>
              </a:lnSpc>
              <a:buClrTx/>
              <a:defRPr/>
            </a:pPr>
            <a:r>
              <a:rPr lang="en-US" altLang="ja-JP" sz="825" kern="1200" dirty="0">
                <a:solidFill>
                  <a:srgbClr val="313131"/>
                </a:solidFill>
                <a:ea typeface="ＭＳ Ｐゴシック" pitchFamily="50" charset="-128"/>
                <a:cs typeface="+mn-cs"/>
              </a:rPr>
              <a:t>Performance monitoring and incentive compensation</a:t>
            </a:r>
          </a:p>
        </p:txBody>
      </p:sp>
      <p:sp>
        <p:nvSpPr>
          <p:cNvPr id="393" name="Isosceles Triangle 392"/>
          <p:cNvSpPr/>
          <p:nvPr>
            <p:custDataLst>
              <p:tags r:id="rId13"/>
            </p:custDataLst>
          </p:nvPr>
        </p:nvSpPr>
        <p:spPr>
          <a:xfrm rot="10800000" flipV="1">
            <a:off x="6068617" y="3657005"/>
            <a:ext cx="154781" cy="133350"/>
          </a:xfrm>
          <a:prstGeom prst="triangl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buClrTx/>
              <a:defRPr/>
            </a:pPr>
            <a:endParaRPr lang="en-US" sz="825" kern="1200" dirty="0">
              <a:solidFill>
                <a:srgbClr val="313131"/>
              </a:solidFill>
              <a:latin typeface="Arial"/>
            </a:endParaRPr>
          </a:p>
        </p:txBody>
      </p:sp>
      <p:sp>
        <p:nvSpPr>
          <p:cNvPr id="395" name="Isosceles Triangle 394"/>
          <p:cNvSpPr/>
          <p:nvPr>
            <p:custDataLst>
              <p:tags r:id="rId14"/>
            </p:custDataLst>
          </p:nvPr>
        </p:nvSpPr>
        <p:spPr>
          <a:xfrm rot="10800000" flipV="1">
            <a:off x="6068617" y="3292079"/>
            <a:ext cx="154781" cy="133350"/>
          </a:xfrm>
          <a:prstGeom prst="triangl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buClrTx/>
              <a:defRPr/>
            </a:pPr>
            <a:endParaRPr lang="en-US" sz="825" kern="1200" dirty="0">
              <a:solidFill>
                <a:srgbClr val="313131"/>
              </a:solidFill>
              <a:latin typeface="Arial"/>
            </a:endParaRPr>
          </a:p>
        </p:txBody>
      </p:sp>
      <p:sp>
        <p:nvSpPr>
          <p:cNvPr id="261" name="Oval 260"/>
          <p:cNvSpPr>
            <a:spLocks noChangeArrowheads="1"/>
          </p:cNvSpPr>
          <p:nvPr>
            <p:custDataLst>
              <p:tags r:id="rId15"/>
            </p:custDataLst>
          </p:nvPr>
        </p:nvSpPr>
        <p:spPr bwMode="auto">
          <a:xfrm>
            <a:off x="1943100" y="4021931"/>
            <a:ext cx="2119313" cy="295275"/>
          </a:xfrm>
          <a:prstGeom prst="ellipse">
            <a:avLst/>
          </a:prstGeom>
          <a:solidFill>
            <a:srgbClr val="8C8C8C"/>
          </a:solidFill>
          <a:ln w="12700" algn="ctr">
            <a:solidFill>
              <a:schemeClr val="bg1"/>
            </a:solidFill>
            <a:round/>
            <a:headEnd type="none" w="sm" len="sm"/>
            <a:tailEnd type="none" w="sm" len="sm"/>
          </a:ln>
          <a:effectLst/>
        </p:spPr>
        <p:txBody>
          <a:bodyPr tIns="68580" bIns="68580" anchor="ctr"/>
          <a:lstStyle/>
          <a:p>
            <a:pPr algn="ctr" defTabSz="685800">
              <a:buClrTx/>
              <a:defRPr/>
            </a:pPr>
            <a:r>
              <a:rPr lang="en-US" altLang="ja-JP" sz="825" b="1" kern="1200" dirty="0">
                <a:solidFill>
                  <a:prstClr val="white"/>
                </a:solidFill>
                <a:ea typeface="ＭＳ Ｐゴシック" pitchFamily="50" charset="-128"/>
                <a:cs typeface="+mn-cs"/>
              </a:rPr>
              <a:t>Capital market</a:t>
            </a:r>
          </a:p>
        </p:txBody>
      </p:sp>
      <p:sp>
        <p:nvSpPr>
          <p:cNvPr id="308" name="AutoShape 54"/>
          <p:cNvSpPr>
            <a:spLocks noChangeAspect="1" noChangeArrowheads="1"/>
          </p:cNvSpPr>
          <p:nvPr>
            <p:custDataLst>
              <p:tags r:id="rId16"/>
            </p:custDataLst>
          </p:nvPr>
        </p:nvSpPr>
        <p:spPr bwMode="auto">
          <a:xfrm>
            <a:off x="2393156" y="3462041"/>
            <a:ext cx="1233488" cy="158353"/>
          </a:xfrm>
          <a:prstGeom prst="roundRect">
            <a:avLst>
              <a:gd name="adj" fmla="val 50000"/>
            </a:avLst>
          </a:prstGeom>
          <a:solidFill>
            <a:schemeClr val="bg1"/>
          </a:solidFill>
          <a:ln w="12700" algn="ctr">
            <a:solidFill>
              <a:srgbClr val="B4B4B4"/>
            </a:solidFill>
            <a:round/>
            <a:headEnd type="none" w="sm" len="sm"/>
            <a:tailEnd type="none" w="sm" len="sm"/>
          </a:ln>
          <a:effectLst/>
        </p:spPr>
        <p:txBody>
          <a:bodyPr wrap="none" tIns="68580" bIns="68580" anchor="ctr"/>
          <a:lstStyle/>
          <a:p>
            <a:pPr marL="9525" indent="-9525" algn="ctr" defTabSz="685800">
              <a:lnSpc>
                <a:spcPct val="110000"/>
              </a:lnSpc>
              <a:buClrTx/>
              <a:defRPr/>
            </a:pPr>
            <a:r>
              <a:rPr lang="en-US" altLang="ja-JP" sz="825" kern="1200" dirty="0">
                <a:solidFill>
                  <a:srgbClr val="313131"/>
                </a:solidFill>
                <a:ea typeface="ＭＳ Ｐゴシック" pitchFamily="50" charset="-128"/>
                <a:cs typeface="+mn-cs"/>
              </a:rPr>
              <a:t>Financial position</a:t>
            </a:r>
          </a:p>
        </p:txBody>
      </p:sp>
      <p:sp>
        <p:nvSpPr>
          <p:cNvPr id="309" name="AutoShape 55"/>
          <p:cNvSpPr>
            <a:spLocks noChangeAspect="1" noChangeArrowheads="1"/>
          </p:cNvSpPr>
          <p:nvPr>
            <p:custDataLst>
              <p:tags r:id="rId17"/>
            </p:custDataLst>
          </p:nvPr>
        </p:nvSpPr>
        <p:spPr bwMode="auto">
          <a:xfrm>
            <a:off x="3051572" y="3826967"/>
            <a:ext cx="1027510" cy="158354"/>
          </a:xfrm>
          <a:prstGeom prst="roundRect">
            <a:avLst>
              <a:gd name="adj" fmla="val 50000"/>
            </a:avLst>
          </a:prstGeom>
          <a:solidFill>
            <a:schemeClr val="bg1"/>
          </a:solidFill>
          <a:ln w="12700" algn="ctr">
            <a:solidFill>
              <a:srgbClr val="B4B4B4"/>
            </a:solidFill>
            <a:round/>
            <a:headEnd type="none" w="sm" len="sm"/>
            <a:tailEnd type="none" w="sm" len="sm"/>
          </a:ln>
          <a:effectLst/>
        </p:spPr>
        <p:txBody>
          <a:bodyPr wrap="none" tIns="68580" bIns="68580" anchor="ctr"/>
          <a:lstStyle/>
          <a:p>
            <a:pPr marL="9525" indent="-9525" algn="ctr" defTabSz="685800">
              <a:lnSpc>
                <a:spcPct val="110000"/>
              </a:lnSpc>
              <a:buClrTx/>
              <a:defRPr/>
            </a:pPr>
            <a:r>
              <a:rPr lang="en-US" altLang="ja-JP" sz="825" kern="1200">
                <a:solidFill>
                  <a:srgbClr val="313131"/>
                </a:solidFill>
                <a:ea typeface="ＭＳ Ｐゴシック" pitchFamily="50" charset="-128"/>
                <a:cs typeface="+mn-cs"/>
              </a:rPr>
              <a:t>Growth</a:t>
            </a:r>
            <a:endParaRPr lang="en-US" altLang="ja-JP" sz="825" kern="1200" dirty="0">
              <a:solidFill>
                <a:srgbClr val="313131"/>
              </a:solidFill>
              <a:ea typeface="ＭＳ Ｐゴシック" pitchFamily="50" charset="-128"/>
              <a:cs typeface="+mn-cs"/>
            </a:endParaRPr>
          </a:p>
        </p:txBody>
      </p:sp>
      <p:sp>
        <p:nvSpPr>
          <p:cNvPr id="310" name="AutoShape 56"/>
          <p:cNvSpPr>
            <a:spLocks noChangeAspect="1" noChangeArrowheads="1"/>
          </p:cNvSpPr>
          <p:nvPr>
            <p:custDataLst>
              <p:tags r:id="rId18"/>
            </p:custDataLst>
          </p:nvPr>
        </p:nvSpPr>
        <p:spPr bwMode="auto">
          <a:xfrm>
            <a:off x="1912144" y="3812381"/>
            <a:ext cx="1097280" cy="168911"/>
          </a:xfrm>
          <a:prstGeom prst="roundRect">
            <a:avLst>
              <a:gd name="adj" fmla="val 50000"/>
            </a:avLst>
          </a:prstGeom>
          <a:solidFill>
            <a:schemeClr val="bg1"/>
          </a:solidFill>
          <a:ln w="12700" algn="ctr">
            <a:solidFill>
              <a:srgbClr val="B4B4B4"/>
            </a:solidFill>
            <a:round/>
            <a:headEnd type="none" w="sm" len="sm"/>
            <a:tailEnd type="none" w="sm" len="sm"/>
          </a:ln>
          <a:effectLst/>
        </p:spPr>
        <p:txBody>
          <a:bodyPr wrap="none" tIns="68580" bIns="68580" anchor="ctr"/>
          <a:lstStyle/>
          <a:p>
            <a:pPr marL="9525" indent="-9525" algn="ctr" defTabSz="685800">
              <a:lnSpc>
                <a:spcPct val="110000"/>
              </a:lnSpc>
              <a:buClrTx/>
              <a:defRPr/>
            </a:pPr>
            <a:r>
              <a:rPr lang="en-US" altLang="ja-JP" sz="825" kern="1200" dirty="0">
                <a:solidFill>
                  <a:srgbClr val="313131"/>
                </a:solidFill>
                <a:ea typeface="ＭＳ Ｐゴシック" pitchFamily="50" charset="-128"/>
                <a:cs typeface="+mn-cs"/>
              </a:rPr>
              <a:t>Economic profitability</a:t>
            </a:r>
          </a:p>
        </p:txBody>
      </p:sp>
      <p:sp>
        <p:nvSpPr>
          <p:cNvPr id="394" name="Isosceles Triangle 393"/>
          <p:cNvSpPr/>
          <p:nvPr>
            <p:custDataLst>
              <p:tags r:id="rId19"/>
            </p:custDataLst>
          </p:nvPr>
        </p:nvSpPr>
        <p:spPr>
          <a:xfrm rot="10800000" flipV="1">
            <a:off x="2906316" y="3657005"/>
            <a:ext cx="154781" cy="133350"/>
          </a:xfrm>
          <a:prstGeom prst="triangl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buClrTx/>
              <a:defRPr/>
            </a:pPr>
            <a:endParaRPr lang="en-US" sz="825" kern="1200" dirty="0">
              <a:solidFill>
                <a:srgbClr val="313131"/>
              </a:solidFill>
              <a:latin typeface="Arial"/>
            </a:endParaRPr>
          </a:p>
        </p:txBody>
      </p:sp>
      <p:sp>
        <p:nvSpPr>
          <p:cNvPr id="396" name="Isosceles Triangle 395"/>
          <p:cNvSpPr/>
          <p:nvPr>
            <p:custDataLst>
              <p:tags r:id="rId20"/>
            </p:custDataLst>
          </p:nvPr>
        </p:nvSpPr>
        <p:spPr>
          <a:xfrm rot="10800000" flipV="1">
            <a:off x="2913460" y="3292079"/>
            <a:ext cx="154781" cy="133350"/>
          </a:xfrm>
          <a:prstGeom prst="triangl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buClrTx/>
              <a:defRPr/>
            </a:pPr>
            <a:endParaRPr lang="en-US" sz="825" kern="1200" dirty="0">
              <a:solidFill>
                <a:srgbClr val="313131"/>
              </a:solidFill>
              <a:latin typeface="Arial"/>
            </a:endParaRPr>
          </a:p>
        </p:txBody>
      </p:sp>
      <p:sp>
        <p:nvSpPr>
          <p:cNvPr id="265" name="Oval 11"/>
          <p:cNvSpPr>
            <a:spLocks noChangeArrowheads="1"/>
          </p:cNvSpPr>
          <p:nvPr>
            <p:custDataLst>
              <p:tags r:id="rId21"/>
            </p:custDataLst>
          </p:nvPr>
        </p:nvSpPr>
        <p:spPr bwMode="auto">
          <a:xfrm>
            <a:off x="5086350" y="1471613"/>
            <a:ext cx="2119313" cy="295275"/>
          </a:xfrm>
          <a:prstGeom prst="ellipse">
            <a:avLst/>
          </a:prstGeom>
          <a:solidFill>
            <a:srgbClr val="8C8C8C"/>
          </a:solidFill>
          <a:ln w="12700" algn="ctr">
            <a:solidFill>
              <a:schemeClr val="bg1"/>
            </a:solidFill>
            <a:round/>
            <a:headEnd type="none" w="sm" len="sm"/>
            <a:tailEnd type="none" w="sm" len="sm"/>
          </a:ln>
          <a:effectLst/>
        </p:spPr>
        <p:txBody>
          <a:bodyPr tIns="68580" bIns="68580" anchor="ctr"/>
          <a:lstStyle/>
          <a:p>
            <a:pPr algn="ctr" defTabSz="685800">
              <a:buClrTx/>
              <a:defRPr/>
            </a:pPr>
            <a:r>
              <a:rPr lang="en-US" altLang="ja-JP" sz="825" b="1" kern="1200" dirty="0">
                <a:solidFill>
                  <a:prstClr val="white"/>
                </a:solidFill>
                <a:ea typeface="ＭＳ Ｐゴシック" pitchFamily="50" charset="-128"/>
                <a:cs typeface="+mn-cs"/>
              </a:rPr>
              <a:t>Structure and resources</a:t>
            </a:r>
          </a:p>
        </p:txBody>
      </p:sp>
      <p:sp>
        <p:nvSpPr>
          <p:cNvPr id="313" name="AutoShape 59"/>
          <p:cNvSpPr>
            <a:spLocks noChangeAspect="1" noChangeArrowheads="1"/>
          </p:cNvSpPr>
          <p:nvPr>
            <p:custDataLst>
              <p:tags r:id="rId22"/>
            </p:custDataLst>
          </p:nvPr>
        </p:nvSpPr>
        <p:spPr bwMode="auto">
          <a:xfrm>
            <a:off x="5294591" y="1803797"/>
            <a:ext cx="1732360" cy="171450"/>
          </a:xfrm>
          <a:prstGeom prst="roundRect">
            <a:avLst>
              <a:gd name="adj" fmla="val 50000"/>
            </a:avLst>
          </a:prstGeom>
          <a:solidFill>
            <a:schemeClr val="bg1"/>
          </a:solidFill>
          <a:ln w="12700" algn="ctr">
            <a:solidFill>
              <a:srgbClr val="B4B4B4"/>
            </a:solidFill>
            <a:round/>
            <a:headEnd type="none" w="sm" len="sm"/>
            <a:tailEnd type="none" w="sm" len="sm"/>
          </a:ln>
          <a:effectLst/>
        </p:spPr>
        <p:txBody>
          <a:bodyPr wrap="none" tIns="68580" bIns="68580" anchor="ctr"/>
          <a:lstStyle/>
          <a:p>
            <a:pPr marL="9525" indent="-9525" algn="ctr" defTabSz="685800">
              <a:lnSpc>
                <a:spcPct val="110000"/>
              </a:lnSpc>
              <a:buClrTx/>
              <a:defRPr/>
            </a:pPr>
            <a:r>
              <a:rPr lang="en-US" altLang="ja-JP" sz="825" kern="1200" dirty="0">
                <a:solidFill>
                  <a:srgbClr val="313131"/>
                </a:solidFill>
                <a:ea typeface="ＭＳ Ｐゴシック" pitchFamily="50" charset="-128"/>
                <a:cs typeface="+mn-cs"/>
              </a:rPr>
              <a:t>Organizational architecture</a:t>
            </a:r>
          </a:p>
        </p:txBody>
      </p:sp>
      <p:sp>
        <p:nvSpPr>
          <p:cNvPr id="314" name="AutoShape 60"/>
          <p:cNvSpPr>
            <a:spLocks noChangeAspect="1" noChangeArrowheads="1"/>
          </p:cNvSpPr>
          <p:nvPr>
            <p:custDataLst>
              <p:tags r:id="rId23"/>
            </p:custDataLst>
          </p:nvPr>
        </p:nvSpPr>
        <p:spPr bwMode="auto">
          <a:xfrm>
            <a:off x="5519024" y="2182417"/>
            <a:ext cx="1283494" cy="158353"/>
          </a:xfrm>
          <a:prstGeom prst="roundRect">
            <a:avLst>
              <a:gd name="adj" fmla="val 50000"/>
            </a:avLst>
          </a:prstGeom>
          <a:solidFill>
            <a:schemeClr val="bg1"/>
          </a:solidFill>
          <a:ln w="12700" algn="ctr">
            <a:solidFill>
              <a:srgbClr val="B4B4B4"/>
            </a:solidFill>
            <a:round/>
            <a:headEnd type="none" w="sm" len="sm"/>
            <a:tailEnd type="none" w="sm" len="sm"/>
          </a:ln>
          <a:effectLst/>
        </p:spPr>
        <p:txBody>
          <a:bodyPr wrap="none" tIns="68580" bIns="68580" anchor="ctr"/>
          <a:lstStyle/>
          <a:p>
            <a:pPr marL="9525" indent="-9525" algn="ctr" defTabSz="685800">
              <a:lnSpc>
                <a:spcPct val="110000"/>
              </a:lnSpc>
              <a:buClrTx/>
              <a:defRPr/>
            </a:pPr>
            <a:r>
              <a:rPr lang="en-US" altLang="ja-JP" sz="825" kern="1200" dirty="0">
                <a:solidFill>
                  <a:srgbClr val="313131"/>
                </a:solidFill>
                <a:ea typeface="ＭＳ Ｐゴシック" pitchFamily="50" charset="-128"/>
                <a:cs typeface="+mn-cs"/>
              </a:rPr>
              <a:t>Projects and resources</a:t>
            </a:r>
          </a:p>
        </p:txBody>
      </p:sp>
      <p:sp>
        <p:nvSpPr>
          <p:cNvPr id="397" name="Isosceles Triangle 396"/>
          <p:cNvSpPr/>
          <p:nvPr>
            <p:custDataLst>
              <p:tags r:id="rId24"/>
            </p:custDataLst>
          </p:nvPr>
        </p:nvSpPr>
        <p:spPr>
          <a:xfrm rot="10800000">
            <a:off x="6068617" y="2377679"/>
            <a:ext cx="154781" cy="133350"/>
          </a:xfrm>
          <a:prstGeom prst="triangl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buClrTx/>
              <a:defRPr/>
            </a:pPr>
            <a:endParaRPr lang="en-US" sz="825" kern="1200" dirty="0">
              <a:solidFill>
                <a:srgbClr val="313131"/>
              </a:solidFill>
              <a:latin typeface="Arial"/>
            </a:endParaRPr>
          </a:p>
        </p:txBody>
      </p:sp>
      <p:sp>
        <p:nvSpPr>
          <p:cNvPr id="399" name="Isosceles Triangle 398"/>
          <p:cNvSpPr/>
          <p:nvPr>
            <p:custDataLst>
              <p:tags r:id="rId25"/>
            </p:custDataLst>
          </p:nvPr>
        </p:nvSpPr>
        <p:spPr>
          <a:xfrm rot="10800000">
            <a:off x="6068617" y="2012157"/>
            <a:ext cx="154781" cy="133350"/>
          </a:xfrm>
          <a:prstGeom prst="triangl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buClrTx/>
              <a:defRPr/>
            </a:pPr>
            <a:endParaRPr lang="en-US" sz="825" kern="1200" dirty="0">
              <a:solidFill>
                <a:srgbClr val="313131"/>
              </a:solidFill>
              <a:latin typeface="Arial"/>
            </a:endParaRPr>
          </a:p>
        </p:txBody>
      </p:sp>
      <p:sp>
        <p:nvSpPr>
          <p:cNvPr id="290" name="AutoShape 36"/>
          <p:cNvSpPr>
            <a:spLocks noChangeAspect="1" noChangeArrowheads="1"/>
          </p:cNvSpPr>
          <p:nvPr>
            <p:custDataLst>
              <p:tags r:id="rId26"/>
            </p:custDataLst>
          </p:nvPr>
        </p:nvSpPr>
        <p:spPr bwMode="auto">
          <a:xfrm>
            <a:off x="2380655" y="2183606"/>
            <a:ext cx="1233488" cy="158354"/>
          </a:xfrm>
          <a:prstGeom prst="roundRect">
            <a:avLst>
              <a:gd name="adj" fmla="val 50000"/>
            </a:avLst>
          </a:prstGeom>
          <a:solidFill>
            <a:schemeClr val="bg1"/>
          </a:solidFill>
          <a:ln w="12700" algn="ctr">
            <a:solidFill>
              <a:srgbClr val="B4B4B4"/>
            </a:solidFill>
            <a:round/>
            <a:headEnd type="none" w="sm" len="sm"/>
            <a:tailEnd type="none" w="sm" len="sm"/>
          </a:ln>
          <a:effectLst/>
        </p:spPr>
        <p:txBody>
          <a:bodyPr wrap="none" tIns="68580" bIns="68580" anchor="ctr"/>
          <a:lstStyle/>
          <a:p>
            <a:pPr marL="9525" indent="-9525" algn="ctr" defTabSz="685800">
              <a:lnSpc>
                <a:spcPct val="110000"/>
              </a:lnSpc>
              <a:buClrTx/>
              <a:defRPr/>
            </a:pPr>
            <a:r>
              <a:rPr lang="en-US" altLang="ja-JP" sz="825" kern="1200" dirty="0">
                <a:solidFill>
                  <a:srgbClr val="313131"/>
                </a:solidFill>
                <a:ea typeface="ＭＳ Ｐゴシック" pitchFamily="50" charset="-128"/>
                <a:cs typeface="+mn-cs"/>
              </a:rPr>
              <a:t>Strategic position</a:t>
            </a:r>
          </a:p>
        </p:txBody>
      </p:sp>
      <p:sp>
        <p:nvSpPr>
          <p:cNvPr id="291" name="AutoShape 37"/>
          <p:cNvSpPr>
            <a:spLocks noChangeAspect="1" noChangeArrowheads="1"/>
          </p:cNvSpPr>
          <p:nvPr>
            <p:custDataLst>
              <p:tags r:id="rId27"/>
            </p:custDataLst>
          </p:nvPr>
        </p:nvSpPr>
        <p:spPr bwMode="auto">
          <a:xfrm>
            <a:off x="3123606" y="1819275"/>
            <a:ext cx="1034653" cy="159544"/>
          </a:xfrm>
          <a:prstGeom prst="roundRect">
            <a:avLst>
              <a:gd name="adj" fmla="val 50000"/>
            </a:avLst>
          </a:prstGeom>
          <a:solidFill>
            <a:schemeClr val="bg1"/>
          </a:solidFill>
          <a:ln w="12700" algn="ctr">
            <a:solidFill>
              <a:srgbClr val="B4B4B4"/>
            </a:solidFill>
            <a:round/>
            <a:headEnd type="none" w="sm" len="sm"/>
            <a:tailEnd type="none" w="sm" len="sm"/>
          </a:ln>
          <a:effectLst/>
        </p:spPr>
        <p:txBody>
          <a:bodyPr wrap="none" tIns="68580" bIns="68580" anchor="ctr"/>
          <a:lstStyle/>
          <a:p>
            <a:pPr marL="9525" indent="-9525" algn="ctr" defTabSz="685800">
              <a:lnSpc>
                <a:spcPct val="110000"/>
              </a:lnSpc>
              <a:buClrTx/>
              <a:defRPr/>
            </a:pPr>
            <a:r>
              <a:rPr lang="en-US" altLang="ja-JP" sz="825" kern="1200" dirty="0">
                <a:solidFill>
                  <a:srgbClr val="313131"/>
                </a:solidFill>
                <a:ea typeface="ＭＳ Ｐゴシック" pitchFamily="50" charset="-128"/>
                <a:cs typeface="+mn-cs"/>
              </a:rPr>
              <a:t>Competitive position</a:t>
            </a:r>
          </a:p>
        </p:txBody>
      </p:sp>
      <p:sp>
        <p:nvSpPr>
          <p:cNvPr id="292" name="AutoShape 38"/>
          <p:cNvSpPr>
            <a:spLocks noChangeAspect="1" noChangeArrowheads="1"/>
          </p:cNvSpPr>
          <p:nvPr>
            <p:custDataLst>
              <p:tags r:id="rId28"/>
            </p:custDataLst>
          </p:nvPr>
        </p:nvSpPr>
        <p:spPr bwMode="auto">
          <a:xfrm>
            <a:off x="1832967" y="1819275"/>
            <a:ext cx="1097280" cy="169201"/>
          </a:xfrm>
          <a:prstGeom prst="roundRect">
            <a:avLst>
              <a:gd name="adj" fmla="val 50000"/>
            </a:avLst>
          </a:prstGeom>
          <a:solidFill>
            <a:schemeClr val="bg1"/>
          </a:solidFill>
          <a:ln w="12700" algn="ctr">
            <a:solidFill>
              <a:srgbClr val="B4B4B4"/>
            </a:solidFill>
            <a:round/>
            <a:headEnd type="none" w="sm" len="sm"/>
            <a:tailEnd type="none" w="sm" len="sm"/>
          </a:ln>
          <a:effectLst/>
        </p:spPr>
        <p:txBody>
          <a:bodyPr wrap="none" tIns="68580" bIns="68580" anchor="ctr"/>
          <a:lstStyle/>
          <a:p>
            <a:pPr marL="9525" indent="-9525" algn="ctr" defTabSz="685800">
              <a:lnSpc>
                <a:spcPct val="110000"/>
              </a:lnSpc>
              <a:buClrTx/>
              <a:defRPr/>
            </a:pPr>
            <a:r>
              <a:rPr lang="en-US" altLang="ja-JP" sz="825" kern="1200" dirty="0">
                <a:solidFill>
                  <a:srgbClr val="313131"/>
                </a:solidFill>
                <a:ea typeface="ＭＳ Ｐゴシック" pitchFamily="50" charset="-128"/>
                <a:cs typeface="+mn-cs"/>
              </a:rPr>
              <a:t>Market attractiveness</a:t>
            </a:r>
          </a:p>
        </p:txBody>
      </p:sp>
      <p:sp>
        <p:nvSpPr>
          <p:cNvPr id="398" name="Isosceles Triangle 397"/>
          <p:cNvSpPr/>
          <p:nvPr>
            <p:custDataLst>
              <p:tags r:id="rId29"/>
            </p:custDataLst>
          </p:nvPr>
        </p:nvSpPr>
        <p:spPr>
          <a:xfrm rot="10800000">
            <a:off x="2917627" y="2377679"/>
            <a:ext cx="154781" cy="133350"/>
          </a:xfrm>
          <a:prstGeom prst="triangl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buClrTx/>
              <a:defRPr/>
            </a:pPr>
            <a:endParaRPr lang="en-US" sz="825" kern="1200" dirty="0">
              <a:solidFill>
                <a:srgbClr val="313131"/>
              </a:solidFill>
              <a:latin typeface="Arial"/>
            </a:endParaRPr>
          </a:p>
        </p:txBody>
      </p:sp>
      <p:sp>
        <p:nvSpPr>
          <p:cNvPr id="400" name="Isosceles Triangle 399"/>
          <p:cNvSpPr/>
          <p:nvPr>
            <p:custDataLst>
              <p:tags r:id="rId30"/>
            </p:custDataLst>
          </p:nvPr>
        </p:nvSpPr>
        <p:spPr>
          <a:xfrm rot="10800000">
            <a:off x="2924771" y="2014538"/>
            <a:ext cx="154781" cy="133350"/>
          </a:xfrm>
          <a:prstGeom prst="triangl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buClrTx/>
              <a:defRPr/>
            </a:pPr>
            <a:endParaRPr lang="en-US" sz="825" kern="1200" dirty="0">
              <a:solidFill>
                <a:srgbClr val="313131"/>
              </a:solidFill>
              <a:latin typeface="Arial"/>
            </a:endParaRPr>
          </a:p>
        </p:txBody>
      </p:sp>
      <p:sp>
        <p:nvSpPr>
          <p:cNvPr id="321" name="AutoShape 67"/>
          <p:cNvSpPr>
            <a:spLocks noChangeAspect="1" noChangeArrowheads="1"/>
          </p:cNvSpPr>
          <p:nvPr>
            <p:custDataLst>
              <p:tags r:id="rId31"/>
            </p:custDataLst>
          </p:nvPr>
        </p:nvSpPr>
        <p:spPr bwMode="auto">
          <a:xfrm>
            <a:off x="3460179" y="2719387"/>
            <a:ext cx="994410" cy="155412"/>
          </a:xfrm>
          <a:prstGeom prst="roundRect">
            <a:avLst>
              <a:gd name="adj" fmla="val 50000"/>
            </a:avLst>
          </a:prstGeom>
          <a:solidFill>
            <a:schemeClr val="bg1"/>
          </a:solidFill>
          <a:ln w="12700" algn="ctr">
            <a:solidFill>
              <a:srgbClr val="B4B4B4"/>
            </a:solidFill>
            <a:round/>
            <a:headEnd type="none" w="sm" len="sm"/>
            <a:tailEnd type="none" w="sm" len="sm"/>
          </a:ln>
          <a:effectLst/>
        </p:spPr>
        <p:txBody>
          <a:bodyPr wrap="none" tIns="68580" bIns="68580" anchor="ctr"/>
          <a:lstStyle/>
          <a:p>
            <a:pPr marL="9525" indent="-9525" algn="ctr" defTabSz="685800">
              <a:lnSpc>
                <a:spcPct val="110000"/>
              </a:lnSpc>
              <a:buClrTx/>
              <a:defRPr/>
            </a:pPr>
            <a:r>
              <a:rPr lang="en-US" altLang="ja-JP" sz="825" kern="1200" dirty="0">
                <a:solidFill>
                  <a:srgbClr val="313131"/>
                </a:solidFill>
                <a:ea typeface="ＭＳ Ｐゴシック" pitchFamily="50" charset="-128"/>
                <a:cs typeface="+mn-cs"/>
              </a:rPr>
              <a:t>Scenarios &amp; options</a:t>
            </a:r>
          </a:p>
        </p:txBody>
      </p:sp>
      <p:sp>
        <p:nvSpPr>
          <p:cNvPr id="322" name="AutoShape 68"/>
          <p:cNvSpPr>
            <a:spLocks noChangeAspect="1" noChangeArrowheads="1"/>
          </p:cNvSpPr>
          <p:nvPr>
            <p:custDataLst>
              <p:tags r:id="rId32"/>
            </p:custDataLst>
          </p:nvPr>
        </p:nvSpPr>
        <p:spPr bwMode="auto">
          <a:xfrm>
            <a:off x="3460180" y="2951559"/>
            <a:ext cx="1013222" cy="158354"/>
          </a:xfrm>
          <a:prstGeom prst="roundRect">
            <a:avLst>
              <a:gd name="adj" fmla="val 50000"/>
            </a:avLst>
          </a:prstGeom>
          <a:solidFill>
            <a:schemeClr val="bg1"/>
          </a:solidFill>
          <a:ln w="12700" algn="ctr">
            <a:solidFill>
              <a:srgbClr val="B4B4B4"/>
            </a:solidFill>
            <a:round/>
            <a:headEnd type="none" w="sm" len="sm"/>
            <a:tailEnd type="none" w="sm" len="sm"/>
          </a:ln>
          <a:effectLst/>
        </p:spPr>
        <p:txBody>
          <a:bodyPr wrap="none" tIns="68580" bIns="68580" anchor="ctr"/>
          <a:lstStyle/>
          <a:p>
            <a:pPr marL="9525" indent="-9525" algn="ctr" defTabSz="685800">
              <a:lnSpc>
                <a:spcPct val="110000"/>
              </a:lnSpc>
              <a:buClrTx/>
              <a:defRPr/>
            </a:pPr>
            <a:r>
              <a:rPr lang="en-US" altLang="ja-JP" sz="825" kern="1200">
                <a:solidFill>
                  <a:srgbClr val="313131"/>
                </a:solidFill>
                <a:ea typeface="ＭＳ Ｐゴシック" pitchFamily="50" charset="-128"/>
                <a:cs typeface="+mn-cs"/>
              </a:rPr>
              <a:t>Creativity</a:t>
            </a:r>
            <a:endParaRPr lang="en-US" altLang="ja-JP" sz="825" kern="1200" dirty="0">
              <a:solidFill>
                <a:srgbClr val="313131"/>
              </a:solidFill>
              <a:ea typeface="ＭＳ Ｐゴシック" pitchFamily="50" charset="-128"/>
              <a:cs typeface="+mn-cs"/>
            </a:endParaRPr>
          </a:p>
        </p:txBody>
      </p:sp>
      <p:sp>
        <p:nvSpPr>
          <p:cNvPr id="68" name="Isosceles Triangle 67"/>
          <p:cNvSpPr/>
          <p:nvPr/>
        </p:nvSpPr>
        <p:spPr>
          <a:xfrm rot="5400000">
            <a:off x="3376241" y="2830115"/>
            <a:ext cx="196454" cy="169069"/>
          </a:xfrm>
          <a:prstGeom prst="triangl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buClrTx/>
              <a:defRPr/>
            </a:pPr>
            <a:endParaRPr lang="en-US" sz="825" kern="1200" dirty="0">
              <a:solidFill>
                <a:srgbClr val="313131"/>
              </a:solidFill>
              <a:latin typeface="Arial"/>
            </a:endParaRPr>
          </a:p>
        </p:txBody>
      </p:sp>
      <p:sp>
        <p:nvSpPr>
          <p:cNvPr id="69" name="Isosceles Triangle 68"/>
          <p:cNvSpPr/>
          <p:nvPr/>
        </p:nvSpPr>
        <p:spPr>
          <a:xfrm rot="16200000" flipH="1">
            <a:off x="3169072" y="2830115"/>
            <a:ext cx="196454" cy="169069"/>
          </a:xfrm>
          <a:prstGeom prst="triangl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buClrTx/>
              <a:defRPr/>
            </a:pPr>
            <a:endParaRPr lang="en-US" sz="825" kern="1200" dirty="0">
              <a:solidFill>
                <a:srgbClr val="313131"/>
              </a:solidFill>
              <a:latin typeface="Arial"/>
            </a:endParaRPr>
          </a:p>
        </p:txBody>
      </p:sp>
      <p:sp>
        <p:nvSpPr>
          <p:cNvPr id="293" name="AutoShape 39"/>
          <p:cNvSpPr>
            <a:spLocks noChangeAspect="1" noChangeArrowheads="1"/>
          </p:cNvSpPr>
          <p:nvPr>
            <p:custDataLst>
              <p:tags r:id="rId33"/>
            </p:custDataLst>
          </p:nvPr>
        </p:nvSpPr>
        <p:spPr bwMode="auto">
          <a:xfrm>
            <a:off x="1489584" y="2719388"/>
            <a:ext cx="1013222" cy="158353"/>
          </a:xfrm>
          <a:prstGeom prst="roundRect">
            <a:avLst>
              <a:gd name="adj" fmla="val 50000"/>
            </a:avLst>
          </a:prstGeom>
          <a:solidFill>
            <a:schemeClr val="bg1"/>
          </a:solidFill>
          <a:ln w="12700" algn="ctr">
            <a:solidFill>
              <a:srgbClr val="B4B4B4"/>
            </a:solidFill>
            <a:round/>
            <a:headEnd type="none" w="sm" len="sm"/>
            <a:tailEnd type="none" w="sm" len="sm"/>
          </a:ln>
          <a:effectLst/>
        </p:spPr>
        <p:txBody>
          <a:bodyPr wrap="none" tIns="68580" bIns="68580" anchor="ctr"/>
          <a:lstStyle/>
          <a:p>
            <a:pPr marL="9525" indent="-9525" algn="ctr" defTabSz="685800">
              <a:lnSpc>
                <a:spcPct val="110000"/>
              </a:lnSpc>
              <a:buClrTx/>
              <a:defRPr/>
            </a:pPr>
            <a:r>
              <a:rPr lang="en-US" altLang="ja-JP" sz="825" kern="1200" dirty="0">
                <a:solidFill>
                  <a:srgbClr val="313131"/>
                </a:solidFill>
                <a:ea typeface="ＭＳ Ｐゴシック" pitchFamily="50" charset="-128"/>
                <a:cs typeface="+mn-cs"/>
              </a:rPr>
              <a:t>Scope and context</a:t>
            </a:r>
          </a:p>
        </p:txBody>
      </p:sp>
      <p:sp>
        <p:nvSpPr>
          <p:cNvPr id="294" name="AutoShape 40"/>
          <p:cNvSpPr>
            <a:spLocks noChangeAspect="1" noChangeArrowheads="1"/>
          </p:cNvSpPr>
          <p:nvPr>
            <p:custDataLst>
              <p:tags r:id="rId34"/>
            </p:custDataLst>
          </p:nvPr>
        </p:nvSpPr>
        <p:spPr bwMode="auto">
          <a:xfrm>
            <a:off x="1489584" y="2951559"/>
            <a:ext cx="1013222" cy="158354"/>
          </a:xfrm>
          <a:prstGeom prst="roundRect">
            <a:avLst>
              <a:gd name="adj" fmla="val 50000"/>
            </a:avLst>
          </a:prstGeom>
          <a:solidFill>
            <a:schemeClr val="bg1"/>
          </a:solidFill>
          <a:ln w="12700" algn="ctr">
            <a:solidFill>
              <a:srgbClr val="B4B4B4"/>
            </a:solidFill>
            <a:round/>
            <a:headEnd type="none" w="sm" len="sm"/>
            <a:tailEnd type="none" w="sm" len="sm"/>
          </a:ln>
          <a:effectLst/>
        </p:spPr>
        <p:txBody>
          <a:bodyPr wrap="none" tIns="68580" bIns="68580" anchor="ctr"/>
          <a:lstStyle/>
          <a:p>
            <a:pPr marL="9525" indent="-9525" algn="ctr" defTabSz="685800">
              <a:lnSpc>
                <a:spcPct val="110000"/>
              </a:lnSpc>
              <a:buClrTx/>
              <a:defRPr/>
            </a:pPr>
            <a:r>
              <a:rPr lang="en-US" altLang="ja-JP" sz="825" kern="1200" dirty="0">
                <a:solidFill>
                  <a:srgbClr val="313131"/>
                </a:solidFill>
                <a:ea typeface="ＭＳ Ｐゴシック" pitchFamily="50" charset="-128"/>
                <a:cs typeface="+mn-cs"/>
              </a:rPr>
              <a:t>Strategic issues</a:t>
            </a:r>
          </a:p>
        </p:txBody>
      </p:sp>
      <p:sp>
        <p:nvSpPr>
          <p:cNvPr id="70" name="Isosceles Triangle 69"/>
          <p:cNvSpPr/>
          <p:nvPr>
            <p:custDataLst>
              <p:tags r:id="rId35"/>
            </p:custDataLst>
          </p:nvPr>
        </p:nvSpPr>
        <p:spPr>
          <a:xfrm rot="5400000">
            <a:off x="2609367" y="2830115"/>
            <a:ext cx="196454" cy="169069"/>
          </a:xfrm>
          <a:prstGeom prst="triangl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buClrTx/>
              <a:defRPr/>
            </a:pPr>
            <a:endParaRPr lang="en-US" sz="825" kern="1200" dirty="0">
              <a:solidFill>
                <a:srgbClr val="313131"/>
              </a:solidFill>
              <a:latin typeface="Arial"/>
            </a:endParaRPr>
          </a:p>
        </p:txBody>
      </p:sp>
      <p:sp>
        <p:nvSpPr>
          <p:cNvPr id="71" name="Isosceles Triangle 70"/>
          <p:cNvSpPr/>
          <p:nvPr>
            <p:custDataLst>
              <p:tags r:id="rId36"/>
            </p:custDataLst>
          </p:nvPr>
        </p:nvSpPr>
        <p:spPr>
          <a:xfrm rot="16200000" flipH="1">
            <a:off x="2402198" y="2830115"/>
            <a:ext cx="196454" cy="169069"/>
          </a:xfrm>
          <a:prstGeom prst="triangl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buClrTx/>
              <a:defRPr/>
            </a:pPr>
            <a:endParaRPr lang="en-US" sz="825" kern="1200" dirty="0">
              <a:solidFill>
                <a:srgbClr val="313131"/>
              </a:solidFill>
              <a:latin typeface="Arial"/>
            </a:endParaRPr>
          </a:p>
        </p:txBody>
      </p:sp>
      <p:sp>
        <p:nvSpPr>
          <p:cNvPr id="50" name="Text Placeholder 12"/>
          <p:cNvSpPr>
            <a:spLocks/>
          </p:cNvSpPr>
          <p:nvPr>
            <p:custDataLst>
              <p:tags r:id="rId37"/>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
        <p:nvSpPr>
          <p:cNvPr id="55" name="Isosceles Triangle 54"/>
          <p:cNvSpPr/>
          <p:nvPr>
            <p:custDataLst>
              <p:tags r:id="rId38"/>
            </p:custDataLst>
          </p:nvPr>
        </p:nvSpPr>
        <p:spPr>
          <a:xfrm rot="5400000">
            <a:off x="4574257" y="2830116"/>
            <a:ext cx="196454" cy="169069"/>
          </a:xfrm>
          <a:prstGeom prst="triangl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buClrTx/>
              <a:defRPr/>
            </a:pPr>
            <a:endParaRPr lang="en-US" sz="825" kern="1200" dirty="0">
              <a:solidFill>
                <a:srgbClr val="313131"/>
              </a:solidFill>
              <a:latin typeface="Arial"/>
            </a:endParaRPr>
          </a:p>
        </p:txBody>
      </p:sp>
      <p:sp>
        <p:nvSpPr>
          <p:cNvPr id="56" name="Isosceles Triangle 55"/>
          <p:cNvSpPr/>
          <p:nvPr>
            <p:custDataLst>
              <p:tags r:id="rId39"/>
            </p:custDataLst>
          </p:nvPr>
        </p:nvSpPr>
        <p:spPr>
          <a:xfrm rot="16200000" flipH="1">
            <a:off x="4367088" y="2830116"/>
            <a:ext cx="196454" cy="169069"/>
          </a:xfrm>
          <a:prstGeom prst="triangl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buClrTx/>
              <a:defRPr/>
            </a:pPr>
            <a:endParaRPr lang="en-US" sz="825" kern="1200" dirty="0">
              <a:solidFill>
                <a:srgbClr val="313131"/>
              </a:solidFill>
              <a:latin typeface="Arial"/>
            </a:endParaRPr>
          </a:p>
        </p:txBody>
      </p:sp>
    </p:spTree>
  </p:cSld>
  <p:clrMapOvr>
    <a:masterClrMapping/>
  </p:clrMapOvr>
  <p:transition>
    <p:fade/>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6977" name="Title 1"/>
          <p:cNvSpPr>
            <a:spLocks noGrp="1"/>
          </p:cNvSpPr>
          <p:nvPr>
            <p:ph type="title"/>
          </p:nvPr>
        </p:nvSpPr>
        <p:spPr/>
        <p:txBody>
          <a:bodyPr/>
          <a:lstStyle/>
          <a:p>
            <a:r>
              <a:rPr lang="en-US" altLang="ja-JP"/>
              <a:t>Backward strategic planning framework</a:t>
            </a:r>
            <a:endParaRPr lang="en-US"/>
          </a:p>
        </p:txBody>
      </p:sp>
      <p:sp>
        <p:nvSpPr>
          <p:cNvPr id="766979" name="Rectangle 3"/>
          <p:cNvSpPr>
            <a:spLocks noChangeArrowheads="1"/>
          </p:cNvSpPr>
          <p:nvPr/>
        </p:nvSpPr>
        <p:spPr bwMode="auto">
          <a:xfrm>
            <a:off x="4403921" y="4632817"/>
            <a:ext cx="246863" cy="107915"/>
          </a:xfrm>
          <a:prstGeom prst="rect">
            <a:avLst/>
          </a:prstGeom>
          <a:noFill/>
          <a:ln w="12700">
            <a:noFill/>
            <a:miter lim="800000"/>
            <a:headEnd/>
            <a:tailEnd/>
          </a:ln>
        </p:spPr>
        <p:txBody>
          <a:bodyPr wrap="none" lIns="0" tIns="0" rIns="0" bIns="0">
            <a:spAutoFit/>
          </a:bodyPr>
          <a:lstStyle/>
          <a:p>
            <a:pPr algn="ctr" defTabSz="677466">
              <a:lnSpc>
                <a:spcPct val="85000"/>
              </a:lnSpc>
              <a:buClrTx/>
            </a:pPr>
            <a:r>
              <a:rPr lang="en-US" altLang="ja-JP" sz="825" b="1" kern="1200">
                <a:solidFill>
                  <a:srgbClr val="313131"/>
                </a:solidFill>
                <a:ea typeface="ＭＳ Ｐゴシック" charset="-128"/>
                <a:cs typeface="+mn-cs"/>
              </a:rPr>
              <a:t>Time</a:t>
            </a:r>
            <a:endParaRPr lang="en-US" altLang="ja-JP" sz="825" b="1" kern="1200" dirty="0">
              <a:solidFill>
                <a:srgbClr val="313131"/>
              </a:solidFill>
              <a:ea typeface="ＭＳ Ｐゴシック" charset="-128"/>
              <a:cs typeface="+mn-cs"/>
            </a:endParaRPr>
          </a:p>
        </p:txBody>
      </p:sp>
      <p:sp>
        <p:nvSpPr>
          <p:cNvPr id="766980" name="Rectangle 4"/>
          <p:cNvSpPr>
            <a:spLocks noChangeArrowheads="1"/>
          </p:cNvSpPr>
          <p:nvPr/>
        </p:nvSpPr>
        <p:spPr bwMode="auto">
          <a:xfrm rot="-5400000">
            <a:off x="2400558" y="3369090"/>
            <a:ext cx="234038" cy="107915"/>
          </a:xfrm>
          <a:prstGeom prst="rect">
            <a:avLst/>
          </a:prstGeom>
          <a:noFill/>
          <a:ln w="12700">
            <a:noFill/>
            <a:miter lim="800000"/>
            <a:headEnd/>
            <a:tailEnd/>
          </a:ln>
        </p:spPr>
        <p:txBody>
          <a:bodyPr wrap="none" lIns="0" tIns="0" rIns="0" bIns="0">
            <a:spAutoFit/>
          </a:bodyPr>
          <a:lstStyle/>
          <a:p>
            <a:pPr algn="ctr" defTabSz="677466">
              <a:lnSpc>
                <a:spcPct val="85000"/>
              </a:lnSpc>
              <a:buClrTx/>
            </a:pPr>
            <a:r>
              <a:rPr lang="en-US" altLang="ja-JP" sz="825" b="1" kern="1200" dirty="0">
                <a:solidFill>
                  <a:srgbClr val="313131"/>
                </a:solidFill>
                <a:ea typeface="ＭＳ Ｐゴシック" charset="-128"/>
                <a:cs typeface="+mn-cs"/>
              </a:rPr>
              <a:t>Goal</a:t>
            </a:r>
          </a:p>
        </p:txBody>
      </p:sp>
      <p:sp>
        <p:nvSpPr>
          <p:cNvPr id="766981" name="Rectangle 5"/>
          <p:cNvSpPr>
            <a:spLocks noChangeArrowheads="1"/>
          </p:cNvSpPr>
          <p:nvPr/>
        </p:nvSpPr>
        <p:spPr bwMode="auto">
          <a:xfrm>
            <a:off x="4464146" y="3598069"/>
            <a:ext cx="695704" cy="215828"/>
          </a:xfrm>
          <a:prstGeom prst="rect">
            <a:avLst/>
          </a:prstGeom>
          <a:noFill/>
          <a:ln w="12700">
            <a:noFill/>
            <a:miter lim="800000"/>
            <a:headEnd/>
            <a:tailEnd/>
          </a:ln>
        </p:spPr>
        <p:txBody>
          <a:bodyPr wrap="none" lIns="0" tIns="0" rIns="0" bIns="0">
            <a:spAutoFit/>
          </a:bodyPr>
          <a:lstStyle/>
          <a:p>
            <a:pPr algn="ctr" defTabSz="677466">
              <a:lnSpc>
                <a:spcPct val="85000"/>
              </a:lnSpc>
              <a:buClrTx/>
            </a:pPr>
            <a:r>
              <a:rPr lang="en-US" altLang="ja-JP" sz="825" kern="1200" dirty="0">
                <a:solidFill>
                  <a:srgbClr val="313131"/>
                </a:solidFill>
                <a:ea typeface="ＭＳ Ｐゴシック" charset="-128"/>
                <a:cs typeface="+mn-cs"/>
              </a:rPr>
              <a:t>Actions driven </a:t>
            </a:r>
            <a:br>
              <a:rPr lang="en-US" altLang="ja-JP" sz="825" kern="1200" dirty="0">
                <a:solidFill>
                  <a:srgbClr val="313131"/>
                </a:solidFill>
                <a:ea typeface="ＭＳ Ｐゴシック" charset="-128"/>
                <a:cs typeface="+mn-cs"/>
              </a:rPr>
            </a:br>
            <a:r>
              <a:rPr lang="en-US" altLang="ja-JP" sz="825" kern="1200" dirty="0">
                <a:solidFill>
                  <a:srgbClr val="313131"/>
                </a:solidFill>
                <a:ea typeface="ＭＳ Ｐゴシック" charset="-128"/>
                <a:cs typeface="+mn-cs"/>
              </a:rPr>
              <a:t>by strategy</a:t>
            </a:r>
          </a:p>
        </p:txBody>
      </p:sp>
      <p:sp>
        <p:nvSpPr>
          <p:cNvPr id="766982" name="Rectangle 6"/>
          <p:cNvSpPr>
            <a:spLocks noChangeArrowheads="1"/>
          </p:cNvSpPr>
          <p:nvPr/>
        </p:nvSpPr>
        <p:spPr bwMode="auto">
          <a:xfrm>
            <a:off x="2892001" y="4126706"/>
            <a:ext cx="495328" cy="215828"/>
          </a:xfrm>
          <a:prstGeom prst="rect">
            <a:avLst/>
          </a:prstGeom>
          <a:noFill/>
          <a:ln w="12700">
            <a:noFill/>
            <a:miter lim="800000"/>
            <a:headEnd/>
            <a:tailEnd/>
          </a:ln>
        </p:spPr>
        <p:txBody>
          <a:bodyPr wrap="none" lIns="0" tIns="0" rIns="0" bIns="0">
            <a:spAutoFit/>
          </a:bodyPr>
          <a:lstStyle/>
          <a:p>
            <a:pPr algn="ctr" defTabSz="677466">
              <a:lnSpc>
                <a:spcPct val="85000"/>
              </a:lnSpc>
              <a:buClrTx/>
            </a:pPr>
            <a:r>
              <a:rPr lang="en-US" altLang="ja-JP" sz="825" kern="1200" dirty="0">
                <a:solidFill>
                  <a:srgbClr val="313131"/>
                </a:solidFill>
                <a:ea typeface="ＭＳ Ｐゴシック" charset="-128"/>
                <a:cs typeface="+mn-cs"/>
              </a:rPr>
              <a:t>Where are</a:t>
            </a:r>
            <a:br>
              <a:rPr lang="en-US" altLang="ja-JP" sz="825" kern="1200" dirty="0">
                <a:solidFill>
                  <a:srgbClr val="313131"/>
                </a:solidFill>
                <a:ea typeface="ＭＳ Ｐゴシック" charset="-128"/>
                <a:cs typeface="+mn-cs"/>
              </a:rPr>
            </a:br>
            <a:r>
              <a:rPr lang="en-US" altLang="ja-JP" sz="825" kern="1200" dirty="0">
                <a:solidFill>
                  <a:srgbClr val="313131"/>
                </a:solidFill>
                <a:ea typeface="ＭＳ Ｐゴシック" charset="-128"/>
                <a:cs typeface="+mn-cs"/>
              </a:rPr>
              <a:t> we now? </a:t>
            </a:r>
          </a:p>
        </p:txBody>
      </p:sp>
      <p:sp>
        <p:nvSpPr>
          <p:cNvPr id="766983" name="Line 7"/>
          <p:cNvSpPr>
            <a:spLocks noChangeShapeType="1"/>
          </p:cNvSpPr>
          <p:nvPr/>
        </p:nvSpPr>
        <p:spPr bwMode="auto">
          <a:xfrm flipH="1">
            <a:off x="2688431" y="4562475"/>
            <a:ext cx="3677841" cy="0"/>
          </a:xfrm>
          <a:prstGeom prst="line">
            <a:avLst/>
          </a:prstGeom>
          <a:noFill/>
          <a:ln w="12700">
            <a:solidFill>
              <a:srgbClr val="B4B4B4"/>
            </a:solidFill>
            <a:round/>
            <a:headEnd/>
            <a:tailEnd/>
          </a:ln>
        </p:spPr>
        <p:txBody>
          <a:bodyPr wrap="square" lIns="27000" tIns="27000" rIns="27000" bIns="27000" anchor="ctr"/>
          <a:lstStyle/>
          <a:p>
            <a:pPr defTabSz="685800">
              <a:buClrTx/>
            </a:pPr>
            <a:endParaRPr lang="en-US" sz="1350" kern="1200">
              <a:solidFill>
                <a:srgbClr val="313131"/>
              </a:solidFill>
              <a:ea typeface="+mn-ea"/>
              <a:cs typeface="+mn-cs"/>
            </a:endParaRPr>
          </a:p>
        </p:txBody>
      </p:sp>
      <p:sp>
        <p:nvSpPr>
          <p:cNvPr id="766984" name="Line 8"/>
          <p:cNvSpPr>
            <a:spLocks noChangeShapeType="1"/>
          </p:cNvSpPr>
          <p:nvPr/>
        </p:nvSpPr>
        <p:spPr bwMode="auto">
          <a:xfrm>
            <a:off x="2700338" y="2295524"/>
            <a:ext cx="0" cy="2268000"/>
          </a:xfrm>
          <a:prstGeom prst="line">
            <a:avLst/>
          </a:prstGeom>
          <a:noFill/>
          <a:ln w="12700">
            <a:solidFill>
              <a:srgbClr val="B4B4B4"/>
            </a:solidFill>
            <a:round/>
            <a:headEnd/>
            <a:tailEnd/>
          </a:ln>
        </p:spPr>
        <p:txBody>
          <a:bodyPr wrap="square" lIns="27000" tIns="27000" rIns="27000" bIns="27000" anchor="ctr"/>
          <a:lstStyle/>
          <a:p>
            <a:pPr defTabSz="685800">
              <a:buClrTx/>
            </a:pPr>
            <a:endParaRPr lang="en-US" sz="1350" kern="1200">
              <a:solidFill>
                <a:srgbClr val="313131"/>
              </a:solidFill>
              <a:ea typeface="+mn-ea"/>
              <a:cs typeface="+mn-cs"/>
            </a:endParaRPr>
          </a:p>
        </p:txBody>
      </p:sp>
      <p:sp>
        <p:nvSpPr>
          <p:cNvPr id="766985" name="Line 9"/>
          <p:cNvSpPr>
            <a:spLocks noChangeShapeType="1"/>
          </p:cNvSpPr>
          <p:nvPr/>
        </p:nvSpPr>
        <p:spPr bwMode="auto">
          <a:xfrm>
            <a:off x="2706291" y="2633663"/>
            <a:ext cx="40500" cy="0"/>
          </a:xfrm>
          <a:prstGeom prst="line">
            <a:avLst/>
          </a:prstGeom>
          <a:noFill/>
          <a:ln w="12700">
            <a:solidFill>
              <a:srgbClr val="B4B4B4"/>
            </a:solidFill>
            <a:round/>
            <a:headEnd/>
            <a:tailEnd/>
          </a:ln>
        </p:spPr>
        <p:txBody>
          <a:bodyPr wrap="square" lIns="27000" tIns="27000" rIns="27000" bIns="27000" anchor="ctr"/>
          <a:lstStyle/>
          <a:p>
            <a:pPr defTabSz="685800">
              <a:buClrTx/>
            </a:pPr>
            <a:endParaRPr lang="en-US" sz="1350" kern="1200">
              <a:solidFill>
                <a:srgbClr val="313131"/>
              </a:solidFill>
              <a:ea typeface="+mn-ea"/>
              <a:cs typeface="+mn-cs"/>
            </a:endParaRPr>
          </a:p>
        </p:txBody>
      </p:sp>
      <p:sp>
        <p:nvSpPr>
          <p:cNvPr id="766986" name="Line 10"/>
          <p:cNvSpPr>
            <a:spLocks noChangeShapeType="1"/>
          </p:cNvSpPr>
          <p:nvPr/>
        </p:nvSpPr>
        <p:spPr bwMode="auto">
          <a:xfrm>
            <a:off x="2706291" y="2955131"/>
            <a:ext cx="40500" cy="0"/>
          </a:xfrm>
          <a:prstGeom prst="line">
            <a:avLst/>
          </a:prstGeom>
          <a:noFill/>
          <a:ln w="12700">
            <a:solidFill>
              <a:srgbClr val="B4B4B4"/>
            </a:solidFill>
            <a:round/>
            <a:headEnd/>
            <a:tailEnd/>
          </a:ln>
        </p:spPr>
        <p:txBody>
          <a:bodyPr wrap="square" lIns="27000" tIns="27000" rIns="27000" bIns="27000" anchor="ctr"/>
          <a:lstStyle/>
          <a:p>
            <a:pPr defTabSz="685800">
              <a:buClrTx/>
            </a:pPr>
            <a:endParaRPr lang="en-US" sz="1350" kern="1200">
              <a:solidFill>
                <a:srgbClr val="313131"/>
              </a:solidFill>
              <a:ea typeface="+mn-ea"/>
              <a:cs typeface="+mn-cs"/>
            </a:endParaRPr>
          </a:p>
        </p:txBody>
      </p:sp>
      <p:sp>
        <p:nvSpPr>
          <p:cNvPr id="766987" name="Line 11"/>
          <p:cNvSpPr>
            <a:spLocks noChangeShapeType="1"/>
          </p:cNvSpPr>
          <p:nvPr/>
        </p:nvSpPr>
        <p:spPr bwMode="auto">
          <a:xfrm>
            <a:off x="2706291" y="3276600"/>
            <a:ext cx="40500" cy="0"/>
          </a:xfrm>
          <a:prstGeom prst="line">
            <a:avLst/>
          </a:prstGeom>
          <a:noFill/>
          <a:ln w="12700">
            <a:solidFill>
              <a:srgbClr val="B4B4B4"/>
            </a:solidFill>
            <a:round/>
            <a:headEnd/>
            <a:tailEnd/>
          </a:ln>
        </p:spPr>
        <p:txBody>
          <a:bodyPr wrap="square" lIns="27000" tIns="27000" rIns="27000" bIns="27000" anchor="ctr"/>
          <a:lstStyle/>
          <a:p>
            <a:pPr defTabSz="685800">
              <a:buClrTx/>
            </a:pPr>
            <a:endParaRPr lang="en-US" sz="1350" kern="1200">
              <a:solidFill>
                <a:srgbClr val="313131"/>
              </a:solidFill>
              <a:ea typeface="+mn-ea"/>
              <a:cs typeface="+mn-cs"/>
            </a:endParaRPr>
          </a:p>
        </p:txBody>
      </p:sp>
      <p:sp>
        <p:nvSpPr>
          <p:cNvPr id="766988" name="Line 12"/>
          <p:cNvSpPr>
            <a:spLocks noChangeShapeType="1"/>
          </p:cNvSpPr>
          <p:nvPr/>
        </p:nvSpPr>
        <p:spPr bwMode="auto">
          <a:xfrm>
            <a:off x="2706291" y="3598069"/>
            <a:ext cx="40500" cy="0"/>
          </a:xfrm>
          <a:prstGeom prst="line">
            <a:avLst/>
          </a:prstGeom>
          <a:noFill/>
          <a:ln w="12700">
            <a:solidFill>
              <a:srgbClr val="B4B4B4"/>
            </a:solidFill>
            <a:round/>
            <a:headEnd/>
            <a:tailEnd/>
          </a:ln>
        </p:spPr>
        <p:txBody>
          <a:bodyPr wrap="square" lIns="27000" tIns="27000" rIns="27000" bIns="27000" anchor="ctr"/>
          <a:lstStyle/>
          <a:p>
            <a:pPr defTabSz="685800">
              <a:buClrTx/>
            </a:pPr>
            <a:endParaRPr lang="en-US" sz="1350" kern="1200">
              <a:solidFill>
                <a:srgbClr val="313131"/>
              </a:solidFill>
              <a:ea typeface="+mn-ea"/>
              <a:cs typeface="+mn-cs"/>
            </a:endParaRPr>
          </a:p>
        </p:txBody>
      </p:sp>
      <p:sp>
        <p:nvSpPr>
          <p:cNvPr id="766989" name="Line 13"/>
          <p:cNvSpPr>
            <a:spLocks noChangeShapeType="1"/>
          </p:cNvSpPr>
          <p:nvPr/>
        </p:nvSpPr>
        <p:spPr bwMode="auto">
          <a:xfrm>
            <a:off x="2706291" y="3919538"/>
            <a:ext cx="40500" cy="0"/>
          </a:xfrm>
          <a:prstGeom prst="line">
            <a:avLst/>
          </a:prstGeom>
          <a:noFill/>
          <a:ln w="12700">
            <a:solidFill>
              <a:srgbClr val="B4B4B4"/>
            </a:solidFill>
            <a:round/>
            <a:headEnd/>
            <a:tailEnd/>
          </a:ln>
        </p:spPr>
        <p:txBody>
          <a:bodyPr wrap="square" lIns="27000" tIns="27000" rIns="27000" bIns="27000" anchor="ctr"/>
          <a:lstStyle/>
          <a:p>
            <a:pPr defTabSz="685800">
              <a:buClrTx/>
            </a:pPr>
            <a:endParaRPr lang="en-US" sz="1350" kern="1200">
              <a:solidFill>
                <a:srgbClr val="313131"/>
              </a:solidFill>
              <a:ea typeface="+mn-ea"/>
              <a:cs typeface="+mn-cs"/>
            </a:endParaRPr>
          </a:p>
        </p:txBody>
      </p:sp>
      <p:sp>
        <p:nvSpPr>
          <p:cNvPr id="766990" name="Line 14"/>
          <p:cNvSpPr>
            <a:spLocks noChangeShapeType="1"/>
          </p:cNvSpPr>
          <p:nvPr/>
        </p:nvSpPr>
        <p:spPr bwMode="auto">
          <a:xfrm>
            <a:off x="2706291" y="4241006"/>
            <a:ext cx="40500" cy="0"/>
          </a:xfrm>
          <a:prstGeom prst="line">
            <a:avLst/>
          </a:prstGeom>
          <a:noFill/>
          <a:ln w="12700">
            <a:solidFill>
              <a:srgbClr val="B4B4B4"/>
            </a:solidFill>
            <a:round/>
            <a:headEnd/>
            <a:tailEnd/>
          </a:ln>
        </p:spPr>
        <p:txBody>
          <a:bodyPr wrap="square" lIns="27000" tIns="27000" rIns="27000" bIns="27000" anchor="ctr"/>
          <a:lstStyle/>
          <a:p>
            <a:pPr defTabSz="685800">
              <a:buClrTx/>
            </a:pPr>
            <a:endParaRPr lang="en-US" sz="1350" kern="1200">
              <a:solidFill>
                <a:srgbClr val="313131"/>
              </a:solidFill>
              <a:ea typeface="+mn-ea"/>
              <a:cs typeface="+mn-cs"/>
            </a:endParaRPr>
          </a:p>
        </p:txBody>
      </p:sp>
      <p:sp>
        <p:nvSpPr>
          <p:cNvPr id="766991" name="Line 15"/>
          <p:cNvSpPr>
            <a:spLocks noChangeShapeType="1"/>
          </p:cNvSpPr>
          <p:nvPr/>
        </p:nvSpPr>
        <p:spPr bwMode="auto">
          <a:xfrm>
            <a:off x="2706291" y="2312194"/>
            <a:ext cx="40500" cy="0"/>
          </a:xfrm>
          <a:prstGeom prst="line">
            <a:avLst/>
          </a:prstGeom>
          <a:noFill/>
          <a:ln w="12700">
            <a:solidFill>
              <a:srgbClr val="B4B4B4"/>
            </a:solidFill>
            <a:round/>
            <a:headEnd/>
            <a:tailEnd/>
          </a:ln>
        </p:spPr>
        <p:txBody>
          <a:bodyPr wrap="square" lIns="27000" tIns="27000" rIns="27000" bIns="27000" anchor="ctr"/>
          <a:lstStyle/>
          <a:p>
            <a:pPr defTabSz="685800">
              <a:buClrTx/>
            </a:pPr>
            <a:endParaRPr lang="en-US" sz="1350" kern="1200">
              <a:solidFill>
                <a:srgbClr val="313131"/>
              </a:solidFill>
              <a:ea typeface="+mn-ea"/>
              <a:cs typeface="+mn-cs"/>
            </a:endParaRPr>
          </a:p>
        </p:txBody>
      </p:sp>
      <p:sp>
        <p:nvSpPr>
          <p:cNvPr id="766992" name="Line 16"/>
          <p:cNvSpPr>
            <a:spLocks noChangeShapeType="1"/>
          </p:cNvSpPr>
          <p:nvPr/>
        </p:nvSpPr>
        <p:spPr bwMode="auto">
          <a:xfrm>
            <a:off x="2706291" y="4562475"/>
            <a:ext cx="40500" cy="0"/>
          </a:xfrm>
          <a:prstGeom prst="line">
            <a:avLst/>
          </a:prstGeom>
          <a:noFill/>
          <a:ln w="12700">
            <a:solidFill>
              <a:srgbClr val="B4B4B4"/>
            </a:solidFill>
            <a:round/>
            <a:headEnd/>
            <a:tailEnd/>
          </a:ln>
        </p:spPr>
        <p:txBody>
          <a:bodyPr wrap="square" lIns="27000" tIns="27000" rIns="27000" bIns="27000" anchor="ctr"/>
          <a:lstStyle/>
          <a:p>
            <a:pPr defTabSz="685800">
              <a:buClrTx/>
            </a:pPr>
            <a:endParaRPr lang="en-US" sz="1350" kern="1200">
              <a:solidFill>
                <a:srgbClr val="313131"/>
              </a:solidFill>
              <a:ea typeface="+mn-ea"/>
              <a:cs typeface="+mn-cs"/>
            </a:endParaRPr>
          </a:p>
        </p:txBody>
      </p:sp>
      <p:sp>
        <p:nvSpPr>
          <p:cNvPr id="18" name="Oval 17"/>
          <p:cNvSpPr>
            <a:spLocks noChangeArrowheads="1"/>
          </p:cNvSpPr>
          <p:nvPr/>
        </p:nvSpPr>
        <p:spPr bwMode="auto">
          <a:xfrm>
            <a:off x="3700463" y="3611167"/>
            <a:ext cx="107156" cy="116681"/>
          </a:xfrm>
          <a:prstGeom prst="ellipse">
            <a:avLst/>
          </a:prstGeom>
          <a:solidFill>
            <a:schemeClr val="bg1"/>
          </a:solidFill>
          <a:ln w="19050">
            <a:solidFill>
              <a:srgbClr val="00A1DE"/>
            </a:solidFill>
            <a:round/>
            <a:headEnd/>
            <a:tailEnd/>
          </a:ln>
          <a:effectLst/>
        </p:spPr>
        <p:txBody>
          <a:bodyPr wrap="square" lIns="27000" tIns="27000" rIns="27000" bIns="27000" anchor="ctr"/>
          <a:lstStyle/>
          <a:p>
            <a:pPr algn="ctr" defTabSz="685800">
              <a:buClrTx/>
              <a:defRPr/>
            </a:pPr>
            <a:endParaRPr lang="en-US" sz="1050" kern="1200" dirty="0">
              <a:solidFill>
                <a:srgbClr val="313131"/>
              </a:solidFill>
              <a:ea typeface="+mn-ea"/>
              <a:cs typeface="+mn-cs"/>
            </a:endParaRPr>
          </a:p>
        </p:txBody>
      </p:sp>
      <p:sp>
        <p:nvSpPr>
          <p:cNvPr id="19" name="Oval 18"/>
          <p:cNvSpPr>
            <a:spLocks noChangeArrowheads="1"/>
          </p:cNvSpPr>
          <p:nvPr/>
        </p:nvSpPr>
        <p:spPr bwMode="auto">
          <a:xfrm>
            <a:off x="4140994" y="3324226"/>
            <a:ext cx="105966" cy="116681"/>
          </a:xfrm>
          <a:prstGeom prst="ellipse">
            <a:avLst/>
          </a:prstGeom>
          <a:solidFill>
            <a:schemeClr val="bg1"/>
          </a:solidFill>
          <a:ln w="19050">
            <a:solidFill>
              <a:srgbClr val="00A1DE"/>
            </a:solidFill>
            <a:round/>
            <a:headEnd/>
            <a:tailEnd/>
          </a:ln>
          <a:effectLst/>
        </p:spPr>
        <p:txBody>
          <a:bodyPr wrap="square" lIns="27000" tIns="27000" rIns="27000" bIns="27000" anchor="ctr"/>
          <a:lstStyle/>
          <a:p>
            <a:pPr algn="ctr" defTabSz="685800">
              <a:buClrTx/>
              <a:defRPr/>
            </a:pPr>
            <a:endParaRPr lang="en-US" sz="1050" kern="1200" dirty="0">
              <a:solidFill>
                <a:srgbClr val="313131"/>
              </a:solidFill>
              <a:ea typeface="+mn-ea"/>
              <a:cs typeface="+mn-cs"/>
            </a:endParaRPr>
          </a:p>
        </p:txBody>
      </p:sp>
      <p:sp>
        <p:nvSpPr>
          <p:cNvPr id="20" name="Oval 19"/>
          <p:cNvSpPr>
            <a:spLocks noChangeArrowheads="1"/>
          </p:cNvSpPr>
          <p:nvPr/>
        </p:nvSpPr>
        <p:spPr bwMode="auto">
          <a:xfrm>
            <a:off x="4599385" y="2997994"/>
            <a:ext cx="107156" cy="116681"/>
          </a:xfrm>
          <a:prstGeom prst="ellipse">
            <a:avLst/>
          </a:prstGeom>
          <a:solidFill>
            <a:schemeClr val="bg1"/>
          </a:solidFill>
          <a:ln w="19050">
            <a:solidFill>
              <a:srgbClr val="00A1DE"/>
            </a:solidFill>
            <a:round/>
            <a:headEnd/>
            <a:tailEnd/>
          </a:ln>
          <a:effectLst/>
        </p:spPr>
        <p:txBody>
          <a:bodyPr wrap="square" lIns="27000" tIns="27000" rIns="27000" bIns="27000" anchor="ctr"/>
          <a:lstStyle/>
          <a:p>
            <a:pPr algn="ctr" defTabSz="685800">
              <a:buClrTx/>
              <a:defRPr/>
            </a:pPr>
            <a:endParaRPr lang="en-US" sz="1050" kern="1200" dirty="0">
              <a:solidFill>
                <a:srgbClr val="313131"/>
              </a:solidFill>
              <a:ea typeface="+mn-ea"/>
              <a:cs typeface="+mn-cs"/>
            </a:endParaRPr>
          </a:p>
        </p:txBody>
      </p:sp>
      <p:sp>
        <p:nvSpPr>
          <p:cNvPr id="766996" name="Oval 20"/>
          <p:cNvSpPr>
            <a:spLocks noChangeArrowheads="1"/>
          </p:cNvSpPr>
          <p:nvPr/>
        </p:nvSpPr>
        <p:spPr bwMode="auto">
          <a:xfrm>
            <a:off x="5056585" y="2636044"/>
            <a:ext cx="108000" cy="108000"/>
          </a:xfrm>
          <a:prstGeom prst="ellipse">
            <a:avLst/>
          </a:prstGeom>
          <a:solidFill>
            <a:schemeClr val="accent2"/>
          </a:solidFill>
          <a:ln w="12700" algn="ctr">
            <a:solidFill>
              <a:schemeClr val="bg1"/>
            </a:solidFill>
            <a:round/>
            <a:headEnd/>
            <a:tailEnd/>
          </a:ln>
        </p:spPr>
        <p:txBody>
          <a:bodyPr wrap="square" lIns="27000" tIns="27000" rIns="27000" bIns="27000" anchor="ctr"/>
          <a:lstStyle/>
          <a:p>
            <a:pPr algn="ctr" defTabSz="685800">
              <a:buClrTx/>
            </a:pPr>
            <a:endParaRPr lang="en-US" sz="1050" kern="1200">
              <a:solidFill>
                <a:srgbClr val="313131"/>
              </a:solidFill>
              <a:ea typeface="+mn-ea"/>
              <a:cs typeface="+mn-cs"/>
            </a:endParaRPr>
          </a:p>
        </p:txBody>
      </p:sp>
      <p:sp>
        <p:nvSpPr>
          <p:cNvPr id="22" name="Arc 21"/>
          <p:cNvSpPr>
            <a:spLocks/>
          </p:cNvSpPr>
          <p:nvPr/>
        </p:nvSpPr>
        <p:spPr bwMode="auto">
          <a:xfrm rot="21300818">
            <a:off x="4757738" y="2812257"/>
            <a:ext cx="440531" cy="265510"/>
          </a:xfrm>
          <a:custGeom>
            <a:avLst/>
            <a:gdLst>
              <a:gd name="T0" fmla="*/ 2147483647 w 29823"/>
              <a:gd name="T1" fmla="*/ 0 h 23978"/>
              <a:gd name="T2" fmla="*/ 0 w 29823"/>
              <a:gd name="T3" fmla="*/ 2147483647 h 23978"/>
              <a:gd name="T4" fmla="*/ 2147483647 w 29823"/>
              <a:gd name="T5" fmla="*/ 1668163765 h 23978"/>
              <a:gd name="T6" fmla="*/ 0 60000 65536"/>
              <a:gd name="T7" fmla="*/ 0 60000 65536"/>
              <a:gd name="T8" fmla="*/ 0 60000 65536"/>
              <a:gd name="T9" fmla="*/ 0 w 29823"/>
              <a:gd name="T10" fmla="*/ 0 h 23978"/>
              <a:gd name="T11" fmla="*/ 29823 w 29823"/>
              <a:gd name="T12" fmla="*/ 23978 h 23978"/>
            </a:gdLst>
            <a:ahLst/>
            <a:cxnLst>
              <a:cxn ang="T6">
                <a:pos x="T0" y="T1"/>
              </a:cxn>
              <a:cxn ang="T7">
                <a:pos x="T2" y="T3"/>
              </a:cxn>
              <a:cxn ang="T8">
                <a:pos x="T4" y="T5"/>
              </a:cxn>
            </a:cxnLst>
            <a:rect l="T9" t="T10" r="T11" b="T12"/>
            <a:pathLst>
              <a:path w="29823" h="23978" fill="none" extrusionOk="0">
                <a:moveTo>
                  <a:pt x="29691" y="0"/>
                </a:moveTo>
                <a:cubicBezTo>
                  <a:pt x="29779" y="789"/>
                  <a:pt x="29823" y="1583"/>
                  <a:pt x="29823" y="2378"/>
                </a:cubicBezTo>
                <a:cubicBezTo>
                  <a:pt x="29823" y="14307"/>
                  <a:pt x="20152" y="23978"/>
                  <a:pt x="8223" y="23978"/>
                </a:cubicBezTo>
                <a:cubicBezTo>
                  <a:pt x="5402" y="23978"/>
                  <a:pt x="2608" y="23425"/>
                  <a:pt x="-1" y="22351"/>
                </a:cubicBezTo>
              </a:path>
              <a:path w="29823" h="23978" stroke="0" extrusionOk="0">
                <a:moveTo>
                  <a:pt x="29691" y="0"/>
                </a:moveTo>
                <a:cubicBezTo>
                  <a:pt x="29779" y="789"/>
                  <a:pt x="29823" y="1583"/>
                  <a:pt x="29823" y="2378"/>
                </a:cubicBezTo>
                <a:cubicBezTo>
                  <a:pt x="29823" y="14307"/>
                  <a:pt x="20152" y="23978"/>
                  <a:pt x="8223" y="23978"/>
                </a:cubicBezTo>
                <a:cubicBezTo>
                  <a:pt x="5402" y="23978"/>
                  <a:pt x="2608" y="23425"/>
                  <a:pt x="-1" y="22351"/>
                </a:cubicBezTo>
                <a:lnTo>
                  <a:pt x="8223" y="2378"/>
                </a:lnTo>
                <a:close/>
              </a:path>
            </a:pathLst>
          </a:custGeom>
          <a:noFill/>
          <a:ln w="19050" cap="rnd">
            <a:solidFill>
              <a:srgbClr val="B4B4B4"/>
            </a:solidFill>
            <a:round/>
            <a:headEnd type="none" w="sm" len="sm"/>
            <a:tailEnd type="triangle" w="lg" len="lg"/>
          </a:ln>
        </p:spPr>
        <p:txBody>
          <a:bodyPr wrap="square" lIns="27000" tIns="27000" rIns="27000" bIns="27000" anchor="ctr"/>
          <a:lstStyle/>
          <a:p>
            <a:pPr algn="ctr" defTabSz="685800">
              <a:buClrTx/>
              <a:defRPr/>
            </a:pPr>
            <a:endParaRPr lang="en-US" sz="1050" kern="1200" dirty="0">
              <a:solidFill>
                <a:srgbClr val="313131"/>
              </a:solidFill>
              <a:ea typeface="+mn-ea"/>
              <a:cs typeface="+mn-cs"/>
            </a:endParaRPr>
          </a:p>
        </p:txBody>
      </p:sp>
      <p:sp>
        <p:nvSpPr>
          <p:cNvPr id="766998" name="Oval 22"/>
          <p:cNvSpPr>
            <a:spLocks noChangeArrowheads="1"/>
          </p:cNvSpPr>
          <p:nvPr/>
        </p:nvSpPr>
        <p:spPr bwMode="auto">
          <a:xfrm>
            <a:off x="3168254" y="3970735"/>
            <a:ext cx="108000" cy="108000"/>
          </a:xfrm>
          <a:prstGeom prst="ellipse">
            <a:avLst/>
          </a:prstGeom>
          <a:solidFill>
            <a:srgbClr val="00A1DE"/>
          </a:solidFill>
          <a:ln w="12700" algn="ctr">
            <a:solidFill>
              <a:schemeClr val="bg1"/>
            </a:solidFill>
            <a:round/>
            <a:headEnd/>
            <a:tailEnd/>
          </a:ln>
        </p:spPr>
        <p:txBody>
          <a:bodyPr wrap="square" lIns="27000" tIns="27000" rIns="27000" bIns="27000" anchor="ctr"/>
          <a:lstStyle/>
          <a:p>
            <a:pPr algn="ctr" defTabSz="685800">
              <a:buClrTx/>
            </a:pPr>
            <a:endParaRPr lang="en-US" sz="1050" kern="1200">
              <a:solidFill>
                <a:srgbClr val="313131"/>
              </a:solidFill>
              <a:ea typeface="+mn-ea"/>
              <a:cs typeface="+mn-cs"/>
            </a:endParaRPr>
          </a:p>
        </p:txBody>
      </p:sp>
      <p:sp>
        <p:nvSpPr>
          <p:cNvPr id="24" name="Arc 23"/>
          <p:cNvSpPr>
            <a:spLocks/>
          </p:cNvSpPr>
          <p:nvPr/>
        </p:nvSpPr>
        <p:spPr bwMode="auto">
          <a:xfrm rot="21173617">
            <a:off x="4308873" y="3175397"/>
            <a:ext cx="439340" cy="289322"/>
          </a:xfrm>
          <a:custGeom>
            <a:avLst/>
            <a:gdLst>
              <a:gd name="T0" fmla="*/ 2147483647 w 29767"/>
              <a:gd name="T1" fmla="*/ 0 h 26228"/>
              <a:gd name="T2" fmla="*/ 0 w 29767"/>
              <a:gd name="T3" fmla="*/ 2147483647 h 26228"/>
              <a:gd name="T4" fmla="*/ 2147483647 w 29767"/>
              <a:gd name="T5" fmla="*/ 2147483647 h 26228"/>
              <a:gd name="T6" fmla="*/ 0 60000 65536"/>
              <a:gd name="T7" fmla="*/ 0 60000 65536"/>
              <a:gd name="T8" fmla="*/ 0 60000 65536"/>
              <a:gd name="T9" fmla="*/ 0 w 29767"/>
              <a:gd name="T10" fmla="*/ 0 h 26228"/>
              <a:gd name="T11" fmla="*/ 29767 w 29767"/>
              <a:gd name="T12" fmla="*/ 26228 h 26228"/>
            </a:gdLst>
            <a:ahLst/>
            <a:cxnLst>
              <a:cxn ang="T6">
                <a:pos x="T0" y="T1"/>
              </a:cxn>
              <a:cxn ang="T7">
                <a:pos x="T2" y="T3"/>
              </a:cxn>
              <a:cxn ang="T8">
                <a:pos x="T4" y="T5"/>
              </a:cxn>
            </a:cxnLst>
            <a:rect l="T9" t="T10" r="T11" b="T12"/>
            <a:pathLst>
              <a:path w="29767" h="26228" fill="none" extrusionOk="0">
                <a:moveTo>
                  <a:pt x="29265" y="-1"/>
                </a:moveTo>
                <a:cubicBezTo>
                  <a:pt x="29598" y="1520"/>
                  <a:pt x="29767" y="3071"/>
                  <a:pt x="29767" y="4628"/>
                </a:cubicBezTo>
                <a:cubicBezTo>
                  <a:pt x="29767" y="16557"/>
                  <a:pt x="20096" y="26228"/>
                  <a:pt x="8167" y="26228"/>
                </a:cubicBezTo>
                <a:cubicBezTo>
                  <a:pt x="5366" y="26228"/>
                  <a:pt x="2592" y="25683"/>
                  <a:pt x="-1" y="24624"/>
                </a:cubicBezTo>
              </a:path>
              <a:path w="29767" h="26228" stroke="0" extrusionOk="0">
                <a:moveTo>
                  <a:pt x="29265" y="-1"/>
                </a:moveTo>
                <a:cubicBezTo>
                  <a:pt x="29598" y="1520"/>
                  <a:pt x="29767" y="3071"/>
                  <a:pt x="29767" y="4628"/>
                </a:cubicBezTo>
                <a:cubicBezTo>
                  <a:pt x="29767" y="16557"/>
                  <a:pt x="20096" y="26228"/>
                  <a:pt x="8167" y="26228"/>
                </a:cubicBezTo>
                <a:cubicBezTo>
                  <a:pt x="5366" y="26228"/>
                  <a:pt x="2592" y="25683"/>
                  <a:pt x="-1" y="24624"/>
                </a:cubicBezTo>
                <a:lnTo>
                  <a:pt x="8167" y="4628"/>
                </a:lnTo>
                <a:close/>
              </a:path>
            </a:pathLst>
          </a:custGeom>
          <a:noFill/>
          <a:ln w="19050" cap="rnd">
            <a:solidFill>
              <a:schemeClr val="accent1"/>
            </a:solidFill>
            <a:round/>
            <a:headEnd type="none" w="sm" len="sm"/>
            <a:tailEnd type="triangle" w="lg" len="lg"/>
          </a:ln>
        </p:spPr>
        <p:txBody>
          <a:bodyPr wrap="square" lIns="27000" tIns="27000" rIns="27000" bIns="27000" anchor="ctr"/>
          <a:lstStyle/>
          <a:p>
            <a:pPr algn="ctr" defTabSz="685800">
              <a:buClrTx/>
              <a:defRPr/>
            </a:pPr>
            <a:endParaRPr lang="en-US" sz="1050" kern="1200" dirty="0">
              <a:solidFill>
                <a:srgbClr val="313131"/>
              </a:solidFill>
              <a:ea typeface="+mn-ea"/>
              <a:cs typeface="+mn-cs"/>
            </a:endParaRPr>
          </a:p>
        </p:txBody>
      </p:sp>
      <p:sp>
        <p:nvSpPr>
          <p:cNvPr id="25" name="Arc 24"/>
          <p:cNvSpPr>
            <a:spLocks/>
          </p:cNvSpPr>
          <p:nvPr/>
        </p:nvSpPr>
        <p:spPr bwMode="auto">
          <a:xfrm rot="720000">
            <a:off x="3365897" y="2452688"/>
            <a:ext cx="1543050" cy="1628775"/>
          </a:xfrm>
          <a:custGeom>
            <a:avLst/>
            <a:gdLst>
              <a:gd name="T0" fmla="*/ 0 w 21600"/>
              <a:gd name="T1" fmla="*/ 2147483647 h 21600"/>
              <a:gd name="T2" fmla="*/ 2147483647 w 21600"/>
              <a:gd name="T3" fmla="*/ 0 h 21600"/>
              <a:gd name="T4" fmla="*/ 2147483647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600"/>
                </a:moveTo>
                <a:cubicBezTo>
                  <a:pt x="0" y="9677"/>
                  <a:pt x="9660" y="9"/>
                  <a:pt x="21583" y="0"/>
                </a:cubicBezTo>
              </a:path>
              <a:path w="21600" h="21600" stroke="0" extrusionOk="0">
                <a:moveTo>
                  <a:pt x="0" y="21600"/>
                </a:moveTo>
                <a:cubicBezTo>
                  <a:pt x="0" y="9677"/>
                  <a:pt x="9660" y="9"/>
                  <a:pt x="21583" y="0"/>
                </a:cubicBezTo>
                <a:lnTo>
                  <a:pt x="21600" y="21600"/>
                </a:lnTo>
                <a:close/>
              </a:path>
            </a:pathLst>
          </a:custGeom>
          <a:noFill/>
          <a:ln w="19050" cap="rnd">
            <a:solidFill>
              <a:srgbClr val="B4B4B4"/>
            </a:solidFill>
            <a:round/>
            <a:headEnd type="none" w="sm" len="sm"/>
            <a:tailEnd type="triangle" w="lg" len="lg"/>
          </a:ln>
        </p:spPr>
        <p:txBody>
          <a:bodyPr wrap="square" lIns="27000" tIns="27000" rIns="27000" bIns="27000" anchor="ctr"/>
          <a:lstStyle/>
          <a:p>
            <a:pPr algn="ctr" defTabSz="685800">
              <a:buClrTx/>
              <a:defRPr/>
            </a:pPr>
            <a:endParaRPr lang="en-US" sz="1050" kern="1200" dirty="0">
              <a:solidFill>
                <a:srgbClr val="313131"/>
              </a:solidFill>
              <a:ea typeface="+mn-ea"/>
              <a:cs typeface="+mn-cs"/>
            </a:endParaRPr>
          </a:p>
        </p:txBody>
      </p:sp>
      <p:sp>
        <p:nvSpPr>
          <p:cNvPr id="26" name="Arc 25"/>
          <p:cNvSpPr>
            <a:spLocks/>
          </p:cNvSpPr>
          <p:nvPr/>
        </p:nvSpPr>
        <p:spPr bwMode="auto">
          <a:xfrm>
            <a:off x="3832623" y="3487341"/>
            <a:ext cx="439340" cy="289322"/>
          </a:xfrm>
          <a:custGeom>
            <a:avLst/>
            <a:gdLst>
              <a:gd name="T0" fmla="*/ 2147483647 w 29767"/>
              <a:gd name="T1" fmla="*/ 0 h 26228"/>
              <a:gd name="T2" fmla="*/ 0 w 29767"/>
              <a:gd name="T3" fmla="*/ 2147483647 h 26228"/>
              <a:gd name="T4" fmla="*/ 2147483647 w 29767"/>
              <a:gd name="T5" fmla="*/ 2147483647 h 26228"/>
              <a:gd name="T6" fmla="*/ 0 60000 65536"/>
              <a:gd name="T7" fmla="*/ 0 60000 65536"/>
              <a:gd name="T8" fmla="*/ 0 60000 65536"/>
              <a:gd name="T9" fmla="*/ 0 w 29767"/>
              <a:gd name="T10" fmla="*/ 0 h 26228"/>
              <a:gd name="T11" fmla="*/ 29767 w 29767"/>
              <a:gd name="T12" fmla="*/ 26228 h 26228"/>
            </a:gdLst>
            <a:ahLst/>
            <a:cxnLst>
              <a:cxn ang="T6">
                <a:pos x="T0" y="T1"/>
              </a:cxn>
              <a:cxn ang="T7">
                <a:pos x="T2" y="T3"/>
              </a:cxn>
              <a:cxn ang="T8">
                <a:pos x="T4" y="T5"/>
              </a:cxn>
            </a:cxnLst>
            <a:rect l="T9" t="T10" r="T11" b="T12"/>
            <a:pathLst>
              <a:path w="29767" h="26228" fill="none" extrusionOk="0">
                <a:moveTo>
                  <a:pt x="29265" y="-1"/>
                </a:moveTo>
                <a:cubicBezTo>
                  <a:pt x="29598" y="1520"/>
                  <a:pt x="29767" y="3071"/>
                  <a:pt x="29767" y="4628"/>
                </a:cubicBezTo>
                <a:cubicBezTo>
                  <a:pt x="29767" y="16557"/>
                  <a:pt x="20096" y="26228"/>
                  <a:pt x="8167" y="26228"/>
                </a:cubicBezTo>
                <a:cubicBezTo>
                  <a:pt x="5366" y="26228"/>
                  <a:pt x="2592" y="25683"/>
                  <a:pt x="-1" y="24624"/>
                </a:cubicBezTo>
              </a:path>
              <a:path w="29767" h="26228" stroke="0" extrusionOk="0">
                <a:moveTo>
                  <a:pt x="29265" y="-1"/>
                </a:moveTo>
                <a:cubicBezTo>
                  <a:pt x="29598" y="1520"/>
                  <a:pt x="29767" y="3071"/>
                  <a:pt x="29767" y="4628"/>
                </a:cubicBezTo>
                <a:cubicBezTo>
                  <a:pt x="29767" y="16557"/>
                  <a:pt x="20096" y="26228"/>
                  <a:pt x="8167" y="26228"/>
                </a:cubicBezTo>
                <a:cubicBezTo>
                  <a:pt x="5366" y="26228"/>
                  <a:pt x="2592" y="25683"/>
                  <a:pt x="-1" y="24624"/>
                </a:cubicBezTo>
                <a:lnTo>
                  <a:pt x="8167" y="4628"/>
                </a:lnTo>
                <a:close/>
              </a:path>
            </a:pathLst>
          </a:custGeom>
          <a:noFill/>
          <a:ln w="19050" cap="rnd">
            <a:solidFill>
              <a:srgbClr val="B4B4B4"/>
            </a:solidFill>
            <a:round/>
            <a:headEnd type="none" w="sm" len="sm"/>
            <a:tailEnd type="triangle" w="lg" len="lg"/>
          </a:ln>
        </p:spPr>
        <p:txBody>
          <a:bodyPr wrap="square" lIns="27000" tIns="27000" rIns="27000" bIns="27000" anchor="ctr"/>
          <a:lstStyle/>
          <a:p>
            <a:pPr algn="ctr" defTabSz="685800">
              <a:buClrTx/>
              <a:defRPr/>
            </a:pPr>
            <a:endParaRPr lang="en-US" sz="1050" kern="1200" dirty="0">
              <a:solidFill>
                <a:srgbClr val="313131"/>
              </a:solidFill>
              <a:ea typeface="+mn-ea"/>
              <a:cs typeface="+mn-cs"/>
            </a:endParaRPr>
          </a:p>
        </p:txBody>
      </p:sp>
      <p:sp>
        <p:nvSpPr>
          <p:cNvPr id="27" name="Oval 26"/>
          <p:cNvSpPr>
            <a:spLocks noChangeArrowheads="1"/>
          </p:cNvSpPr>
          <p:nvPr/>
        </p:nvSpPr>
        <p:spPr bwMode="auto">
          <a:xfrm>
            <a:off x="1618060" y="1202879"/>
            <a:ext cx="2066925" cy="575072"/>
          </a:xfrm>
          <a:prstGeom prst="ellipse">
            <a:avLst/>
          </a:prstGeom>
          <a:solidFill>
            <a:srgbClr val="DCDCDC"/>
          </a:solidFill>
          <a:ln w="12700" algn="ctr">
            <a:solidFill>
              <a:schemeClr val="bg1"/>
            </a:solidFill>
            <a:round/>
            <a:headEnd/>
            <a:tailEnd/>
          </a:ln>
        </p:spPr>
        <p:txBody>
          <a:bodyPr wrap="square" lIns="27000" tIns="27000" rIns="27000" bIns="27000" anchor="ctr"/>
          <a:lstStyle/>
          <a:p>
            <a:pPr marL="129779" indent="-129779" algn="ctr" defTabSz="685800">
              <a:buClrTx/>
              <a:tabLst>
                <a:tab pos="809625" algn="l"/>
              </a:tabLst>
              <a:defRPr/>
            </a:pPr>
            <a:r>
              <a:rPr lang="en-US" altLang="ja-JP" sz="1050" kern="1200" dirty="0">
                <a:solidFill>
                  <a:srgbClr val="313131"/>
                </a:solidFill>
                <a:ea typeface="ＭＳ Ｐゴシック" pitchFamily="50" charset="-128"/>
                <a:cs typeface="+mn-cs"/>
              </a:rPr>
              <a:t>Mission: Why are we in business?</a:t>
            </a:r>
          </a:p>
        </p:txBody>
      </p:sp>
      <p:sp>
        <p:nvSpPr>
          <p:cNvPr id="28" name="Oval 27"/>
          <p:cNvSpPr>
            <a:spLocks noChangeArrowheads="1"/>
          </p:cNvSpPr>
          <p:nvPr/>
        </p:nvSpPr>
        <p:spPr bwMode="auto">
          <a:xfrm>
            <a:off x="2505075" y="1660079"/>
            <a:ext cx="2066925" cy="575072"/>
          </a:xfrm>
          <a:prstGeom prst="ellipse">
            <a:avLst/>
          </a:prstGeom>
          <a:solidFill>
            <a:srgbClr val="DCDCDC"/>
          </a:solidFill>
          <a:ln w="12700" algn="ctr">
            <a:solidFill>
              <a:schemeClr val="bg1"/>
            </a:solidFill>
            <a:round/>
            <a:headEnd/>
            <a:tailEnd/>
          </a:ln>
        </p:spPr>
        <p:txBody>
          <a:bodyPr wrap="square" lIns="27000" tIns="27000" rIns="27000" bIns="27000" anchor="ctr"/>
          <a:lstStyle/>
          <a:p>
            <a:pPr marL="129779" indent="-129779" algn="ctr" defTabSz="685800">
              <a:buClrTx/>
              <a:tabLst>
                <a:tab pos="809625" algn="l"/>
              </a:tabLst>
              <a:defRPr/>
            </a:pPr>
            <a:r>
              <a:rPr lang="en-US" altLang="ja-JP" sz="1050" kern="1200" dirty="0">
                <a:solidFill>
                  <a:srgbClr val="313131"/>
                </a:solidFill>
                <a:ea typeface="ＭＳ Ｐゴシック" pitchFamily="50" charset="-128"/>
                <a:cs typeface="+mn-cs"/>
              </a:rPr>
              <a:t>Values: What are our enduring principles and beliefs?</a:t>
            </a:r>
          </a:p>
        </p:txBody>
      </p:sp>
      <p:sp>
        <p:nvSpPr>
          <p:cNvPr id="29" name="Oval 28"/>
          <p:cNvSpPr>
            <a:spLocks noChangeArrowheads="1"/>
          </p:cNvSpPr>
          <p:nvPr/>
        </p:nvSpPr>
        <p:spPr bwMode="auto">
          <a:xfrm>
            <a:off x="5416154" y="1660079"/>
            <a:ext cx="2068115" cy="575072"/>
          </a:xfrm>
          <a:prstGeom prst="ellipse">
            <a:avLst/>
          </a:prstGeom>
          <a:solidFill>
            <a:srgbClr val="DCDCDC"/>
          </a:solidFill>
          <a:ln w="12700" algn="ctr">
            <a:solidFill>
              <a:schemeClr val="bg1"/>
            </a:solidFill>
            <a:round/>
            <a:headEnd/>
            <a:tailEnd/>
          </a:ln>
        </p:spPr>
        <p:txBody>
          <a:bodyPr wrap="square" lIns="27000" tIns="27000" rIns="27000" bIns="27000" anchor="ctr"/>
          <a:lstStyle/>
          <a:p>
            <a:pPr marL="129779" indent="-129779" algn="ctr" defTabSz="685800">
              <a:buClrTx/>
              <a:tabLst>
                <a:tab pos="809625" algn="l"/>
              </a:tabLst>
              <a:defRPr/>
            </a:pPr>
            <a:r>
              <a:rPr lang="en-US" altLang="ja-JP" sz="1050" kern="1200">
                <a:solidFill>
                  <a:srgbClr val="313131"/>
                </a:solidFill>
                <a:ea typeface="ＭＳ Ｐゴシック" pitchFamily="50" charset="-128"/>
                <a:cs typeface="+mn-cs"/>
              </a:rPr>
              <a:t>Vision: Where do we want to be in 2010?</a:t>
            </a:r>
            <a:endParaRPr lang="en-US" altLang="ja-JP" sz="1050" kern="1200" dirty="0">
              <a:solidFill>
                <a:srgbClr val="313131"/>
              </a:solidFill>
              <a:ea typeface="ＭＳ Ｐゴシック" pitchFamily="50" charset="-128"/>
              <a:cs typeface="+mn-cs"/>
            </a:endParaRPr>
          </a:p>
        </p:txBody>
      </p:sp>
      <p:sp>
        <p:nvSpPr>
          <p:cNvPr id="30" name="Oval 29"/>
          <p:cNvSpPr>
            <a:spLocks noChangeArrowheads="1"/>
          </p:cNvSpPr>
          <p:nvPr/>
        </p:nvSpPr>
        <p:spPr bwMode="auto">
          <a:xfrm>
            <a:off x="5417344" y="3464719"/>
            <a:ext cx="2066925" cy="575072"/>
          </a:xfrm>
          <a:prstGeom prst="ellipse">
            <a:avLst/>
          </a:prstGeom>
          <a:solidFill>
            <a:srgbClr val="DCDCDC"/>
          </a:solidFill>
          <a:ln w="12700" algn="ctr">
            <a:solidFill>
              <a:schemeClr val="bg1"/>
            </a:solidFill>
            <a:round/>
            <a:headEnd/>
            <a:tailEnd/>
          </a:ln>
        </p:spPr>
        <p:txBody>
          <a:bodyPr wrap="square" lIns="27000" tIns="27000" rIns="27000" bIns="27000" anchor="ctr"/>
          <a:lstStyle/>
          <a:p>
            <a:pPr marL="129779" indent="-129779" algn="ctr" defTabSz="685800">
              <a:buClrTx/>
              <a:tabLst>
                <a:tab pos="809625" algn="l"/>
              </a:tabLst>
              <a:defRPr/>
            </a:pPr>
            <a:r>
              <a:rPr lang="en-US" altLang="ja-JP" sz="1050" kern="1200">
                <a:solidFill>
                  <a:srgbClr val="313131"/>
                </a:solidFill>
                <a:ea typeface="ＭＳ Ｐゴシック" pitchFamily="50" charset="-128"/>
                <a:cs typeface="+mn-cs"/>
              </a:rPr>
              <a:t>Strategy: How do we get there?</a:t>
            </a:r>
            <a:endParaRPr lang="en-US" altLang="ja-JP" sz="1050" kern="1200" dirty="0">
              <a:solidFill>
                <a:srgbClr val="313131"/>
              </a:solidFill>
              <a:ea typeface="ＭＳ Ｐゴシック" pitchFamily="50" charset="-128"/>
              <a:cs typeface="+mn-cs"/>
            </a:endParaRPr>
          </a:p>
        </p:txBody>
      </p:sp>
      <p:sp>
        <p:nvSpPr>
          <p:cNvPr id="32" name="Text Placeholder 12"/>
          <p:cNvSpPr>
            <a:spLocks/>
          </p:cNvSpPr>
          <p:nvPr>
            <p:custDataLst>
              <p:tags r:id="rId1"/>
            </p:custDataLst>
          </p:nvPr>
        </p:nvSpPr>
        <p:spPr bwMode="auto">
          <a:xfrm>
            <a:off x="1440657" y="842963"/>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Tree>
  </p:cSld>
  <p:clrMapOvr>
    <a:masterClrMapping/>
  </p:clrMapOvr>
  <p:transition>
    <p:fade/>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01" name="Title 1"/>
          <p:cNvSpPr>
            <a:spLocks noGrp="1"/>
          </p:cNvSpPr>
          <p:nvPr>
            <p:ph type="title"/>
          </p:nvPr>
        </p:nvSpPr>
        <p:spPr/>
        <p:txBody>
          <a:bodyPr/>
          <a:lstStyle/>
          <a:p>
            <a:r>
              <a:rPr lang="en-US" altLang="ja-JP"/>
              <a:t>Incremental versus dynamic strategic planning framework</a:t>
            </a:r>
            <a:endParaRPr lang="en-US" dirty="0"/>
          </a:p>
        </p:txBody>
      </p:sp>
      <p:sp>
        <p:nvSpPr>
          <p:cNvPr id="768003" name="Rectangle 3"/>
          <p:cNvSpPr>
            <a:spLocks noChangeArrowheads="1"/>
          </p:cNvSpPr>
          <p:nvPr/>
        </p:nvSpPr>
        <p:spPr bwMode="auto">
          <a:xfrm>
            <a:off x="4429397" y="2683669"/>
            <a:ext cx="354264" cy="126958"/>
          </a:xfrm>
          <a:prstGeom prst="rect">
            <a:avLst/>
          </a:prstGeom>
          <a:noFill/>
          <a:ln w="12700">
            <a:noFill/>
            <a:miter lim="800000"/>
            <a:headEnd/>
            <a:tailEnd/>
          </a:ln>
        </p:spPr>
        <p:txBody>
          <a:bodyPr wrap="none" lIns="0" tIns="0" rIns="0" bIns="0">
            <a:spAutoFit/>
          </a:bodyPr>
          <a:lstStyle/>
          <a:p>
            <a:pPr algn="ctr" defTabSz="677466">
              <a:buClrTx/>
            </a:pPr>
            <a:r>
              <a:rPr lang="en-US" altLang="ja-JP" sz="825" b="1" kern="1200" dirty="0">
                <a:solidFill>
                  <a:srgbClr val="313131"/>
                </a:solidFill>
                <a:ea typeface="ＭＳ Ｐゴシック" charset="-128"/>
                <a:cs typeface="+mn-cs"/>
              </a:rPr>
              <a:t>Versus</a:t>
            </a:r>
          </a:p>
        </p:txBody>
      </p:sp>
      <p:sp>
        <p:nvSpPr>
          <p:cNvPr id="6" name="Rectangle 5"/>
          <p:cNvSpPr>
            <a:spLocks noChangeArrowheads="1"/>
          </p:cNvSpPr>
          <p:nvPr/>
        </p:nvSpPr>
        <p:spPr bwMode="auto">
          <a:xfrm>
            <a:off x="1564814" y="3799285"/>
            <a:ext cx="2722960" cy="576263"/>
          </a:xfrm>
          <a:prstGeom prst="rect">
            <a:avLst/>
          </a:prstGeom>
          <a:solidFill>
            <a:srgbClr val="DCDCDC"/>
          </a:solidFill>
          <a:ln w="12700" algn="ctr">
            <a:solidFill>
              <a:schemeClr val="bg1"/>
            </a:solidFill>
            <a:miter lim="800000"/>
            <a:headEnd/>
            <a:tailEnd/>
          </a:ln>
          <a:effectLst/>
        </p:spPr>
        <p:txBody>
          <a:bodyPr wrap="square" lIns="27000" tIns="27000" rIns="27000" bIns="27000" anchor="ctr">
            <a:noAutofit/>
          </a:bodyPr>
          <a:lstStyle/>
          <a:p>
            <a:pPr algn="ctr" defTabSz="685800">
              <a:buClrTx/>
              <a:defRPr/>
            </a:pPr>
            <a:r>
              <a:rPr lang="en-US" altLang="ja-JP" sz="825" b="1" kern="1200" dirty="0" err="1">
                <a:solidFill>
                  <a:srgbClr val="313131"/>
                </a:solidFill>
                <a:ea typeface="ＭＳ Ｐゴシック" pitchFamily="50" charset="-128"/>
                <a:cs typeface="+mn-cs"/>
              </a:rPr>
              <a:t>Incrementalism</a:t>
            </a:r>
            <a:endParaRPr lang="en-US" altLang="ja-JP" sz="825" b="1" kern="1200" dirty="0">
              <a:solidFill>
                <a:srgbClr val="313131"/>
              </a:solidFill>
              <a:ea typeface="ＭＳ Ｐゴシック" pitchFamily="50" charset="-128"/>
              <a:cs typeface="+mn-cs"/>
            </a:endParaRPr>
          </a:p>
          <a:p>
            <a:pPr algn="ctr" defTabSz="685800">
              <a:buClrTx/>
              <a:defRPr/>
            </a:pPr>
            <a:r>
              <a:rPr lang="en-US" altLang="ja-JP" sz="825" b="1" kern="1200" dirty="0">
                <a:solidFill>
                  <a:srgbClr val="313131"/>
                </a:solidFill>
                <a:ea typeface="ＭＳ Ｐゴシック" pitchFamily="50" charset="-128"/>
                <a:cs typeface="+mn-cs"/>
              </a:rPr>
              <a:t>[One reason why companies stagnate]</a:t>
            </a:r>
          </a:p>
        </p:txBody>
      </p:sp>
      <p:sp>
        <p:nvSpPr>
          <p:cNvPr id="768006" name="Rectangle 9"/>
          <p:cNvSpPr>
            <a:spLocks noChangeArrowheads="1"/>
          </p:cNvSpPr>
          <p:nvPr/>
        </p:nvSpPr>
        <p:spPr bwMode="auto">
          <a:xfrm>
            <a:off x="2782884" y="3597026"/>
            <a:ext cx="246863" cy="107915"/>
          </a:xfrm>
          <a:prstGeom prst="rect">
            <a:avLst/>
          </a:prstGeom>
          <a:noFill/>
          <a:ln w="12700">
            <a:noFill/>
            <a:miter lim="800000"/>
            <a:headEnd/>
            <a:tailEnd/>
          </a:ln>
        </p:spPr>
        <p:txBody>
          <a:bodyPr wrap="none" lIns="0" tIns="0" rIns="0" bIns="0">
            <a:spAutoFit/>
          </a:bodyPr>
          <a:lstStyle/>
          <a:p>
            <a:pPr algn="ctr" defTabSz="677466">
              <a:lnSpc>
                <a:spcPct val="85000"/>
              </a:lnSpc>
              <a:buClrTx/>
            </a:pPr>
            <a:r>
              <a:rPr lang="en-US" altLang="ja-JP" sz="825" b="1" kern="1200" dirty="0">
                <a:solidFill>
                  <a:srgbClr val="313131"/>
                </a:solidFill>
                <a:ea typeface="ＭＳ Ｐゴシック" charset="-128"/>
                <a:cs typeface="+mn-cs"/>
              </a:rPr>
              <a:t>Time</a:t>
            </a:r>
          </a:p>
        </p:txBody>
      </p:sp>
      <p:sp>
        <p:nvSpPr>
          <p:cNvPr id="768007" name="Rectangle 10"/>
          <p:cNvSpPr>
            <a:spLocks noChangeArrowheads="1"/>
          </p:cNvSpPr>
          <p:nvPr/>
        </p:nvSpPr>
        <p:spPr bwMode="auto">
          <a:xfrm rot="-5400000">
            <a:off x="1458774" y="2609472"/>
            <a:ext cx="234038" cy="107915"/>
          </a:xfrm>
          <a:prstGeom prst="rect">
            <a:avLst/>
          </a:prstGeom>
          <a:noFill/>
          <a:ln w="12700">
            <a:noFill/>
            <a:miter lim="800000"/>
            <a:headEnd/>
            <a:tailEnd/>
          </a:ln>
        </p:spPr>
        <p:txBody>
          <a:bodyPr wrap="none" lIns="0" tIns="0" rIns="0" bIns="0">
            <a:spAutoFit/>
          </a:bodyPr>
          <a:lstStyle/>
          <a:p>
            <a:pPr algn="ctr" defTabSz="677466">
              <a:lnSpc>
                <a:spcPct val="85000"/>
              </a:lnSpc>
              <a:buClrTx/>
            </a:pPr>
            <a:r>
              <a:rPr lang="en-US" altLang="ja-JP" sz="825" b="1" kern="1200" dirty="0">
                <a:solidFill>
                  <a:srgbClr val="313131"/>
                </a:solidFill>
                <a:ea typeface="ＭＳ Ｐゴシック" charset="-128"/>
                <a:cs typeface="+mn-cs"/>
              </a:rPr>
              <a:t>Goal</a:t>
            </a:r>
          </a:p>
        </p:txBody>
      </p:sp>
      <p:sp>
        <p:nvSpPr>
          <p:cNvPr id="768008" name="Oval 11"/>
          <p:cNvSpPr>
            <a:spLocks noChangeArrowheads="1"/>
          </p:cNvSpPr>
          <p:nvPr/>
        </p:nvSpPr>
        <p:spPr bwMode="auto">
          <a:xfrm>
            <a:off x="2050256" y="3040856"/>
            <a:ext cx="110729" cy="95250"/>
          </a:xfrm>
          <a:prstGeom prst="ellipse">
            <a:avLst/>
          </a:prstGeom>
          <a:solidFill>
            <a:srgbClr val="00A1DE"/>
          </a:solidFill>
          <a:ln w="12700" algn="ctr">
            <a:solidFill>
              <a:schemeClr val="bg1"/>
            </a:solidFill>
            <a:round/>
            <a:headEnd/>
            <a:tailEnd/>
          </a:ln>
        </p:spPr>
        <p:txBody>
          <a:bodyPr wrap="square" lIns="27000" tIns="27000" rIns="27000" bIns="27000" anchor="ctr">
            <a:noAutofit/>
          </a:bodyPr>
          <a:lstStyle/>
          <a:p>
            <a:pPr algn="ctr" defTabSz="685800">
              <a:buClrTx/>
            </a:pPr>
            <a:endParaRPr lang="en-US" sz="900" kern="1200">
              <a:solidFill>
                <a:prstClr val="black"/>
              </a:solidFill>
              <a:ea typeface="+mn-ea"/>
              <a:cs typeface="+mn-cs"/>
            </a:endParaRPr>
          </a:p>
        </p:txBody>
      </p:sp>
      <p:sp>
        <p:nvSpPr>
          <p:cNvPr id="768009" name="Rectangle 12"/>
          <p:cNvSpPr>
            <a:spLocks noChangeArrowheads="1"/>
          </p:cNvSpPr>
          <p:nvPr/>
        </p:nvSpPr>
        <p:spPr bwMode="auto">
          <a:xfrm>
            <a:off x="1860824" y="3208596"/>
            <a:ext cx="477695" cy="215828"/>
          </a:xfrm>
          <a:prstGeom prst="rect">
            <a:avLst/>
          </a:prstGeom>
          <a:noFill/>
          <a:ln w="12700">
            <a:noFill/>
            <a:miter lim="800000"/>
            <a:headEnd/>
            <a:tailEnd/>
          </a:ln>
        </p:spPr>
        <p:txBody>
          <a:bodyPr wrap="none" lIns="0" tIns="0" rIns="0" bIns="0">
            <a:spAutoFit/>
          </a:bodyPr>
          <a:lstStyle/>
          <a:p>
            <a:pPr algn="ctr" defTabSz="677466">
              <a:lnSpc>
                <a:spcPct val="85000"/>
              </a:lnSpc>
              <a:buClrTx/>
            </a:pPr>
            <a:r>
              <a:rPr lang="en-US" altLang="ja-JP" sz="825" kern="1200" dirty="0">
                <a:solidFill>
                  <a:srgbClr val="313131"/>
                </a:solidFill>
                <a:ea typeface="ＭＳ Ｐゴシック" charset="-128"/>
                <a:cs typeface="+mn-cs"/>
              </a:rPr>
              <a:t>Where we</a:t>
            </a:r>
            <a:br>
              <a:rPr lang="en-US" altLang="ja-JP" sz="825" kern="1200" dirty="0">
                <a:solidFill>
                  <a:srgbClr val="313131"/>
                </a:solidFill>
                <a:ea typeface="ＭＳ Ｐゴシック" charset="-128"/>
                <a:cs typeface="+mn-cs"/>
              </a:rPr>
            </a:br>
            <a:r>
              <a:rPr lang="en-US" altLang="ja-JP" sz="825" kern="1200" dirty="0">
                <a:solidFill>
                  <a:srgbClr val="313131"/>
                </a:solidFill>
                <a:ea typeface="ＭＳ Ｐゴシック" charset="-128"/>
                <a:cs typeface="+mn-cs"/>
              </a:rPr>
              <a:t>are now?</a:t>
            </a:r>
          </a:p>
        </p:txBody>
      </p:sp>
      <p:sp>
        <p:nvSpPr>
          <p:cNvPr id="768010" name="Rectangle 13"/>
          <p:cNvSpPr>
            <a:spLocks noChangeArrowheads="1"/>
          </p:cNvSpPr>
          <p:nvPr/>
        </p:nvSpPr>
        <p:spPr bwMode="auto">
          <a:xfrm>
            <a:off x="3292202" y="3048001"/>
            <a:ext cx="795089" cy="323743"/>
          </a:xfrm>
          <a:prstGeom prst="rect">
            <a:avLst/>
          </a:prstGeom>
          <a:noFill/>
          <a:ln w="12700">
            <a:noFill/>
            <a:miter lim="800000"/>
            <a:headEnd/>
            <a:tailEnd/>
          </a:ln>
        </p:spPr>
        <p:txBody>
          <a:bodyPr wrap="none" lIns="0" tIns="0" rIns="0" bIns="0">
            <a:spAutoFit/>
          </a:bodyPr>
          <a:lstStyle/>
          <a:p>
            <a:pPr algn="ctr" defTabSz="677466">
              <a:lnSpc>
                <a:spcPct val="85000"/>
              </a:lnSpc>
              <a:buClrTx/>
            </a:pPr>
            <a:r>
              <a:rPr lang="en-US" altLang="ja-JP" sz="825" kern="1200" dirty="0">
                <a:solidFill>
                  <a:srgbClr val="313131"/>
                </a:solidFill>
                <a:ea typeface="ＭＳ Ｐゴシック" charset="-128"/>
                <a:cs typeface="+mn-cs"/>
              </a:rPr>
              <a:t>Actions taken </a:t>
            </a:r>
            <a:br>
              <a:rPr lang="en-US" altLang="ja-JP" sz="825" kern="1200" dirty="0">
                <a:solidFill>
                  <a:srgbClr val="313131"/>
                </a:solidFill>
                <a:ea typeface="ＭＳ Ｐゴシック" charset="-128"/>
                <a:cs typeface="+mn-cs"/>
              </a:rPr>
            </a:br>
            <a:r>
              <a:rPr lang="en-US" altLang="ja-JP" sz="825" kern="1200" dirty="0">
                <a:solidFill>
                  <a:srgbClr val="313131"/>
                </a:solidFill>
                <a:ea typeface="ＭＳ Ｐゴシック" charset="-128"/>
                <a:cs typeface="+mn-cs"/>
              </a:rPr>
              <a:t>in response </a:t>
            </a:r>
            <a:br>
              <a:rPr lang="en-US" altLang="ja-JP" sz="825" kern="1200" dirty="0">
                <a:solidFill>
                  <a:srgbClr val="313131"/>
                </a:solidFill>
                <a:ea typeface="ＭＳ Ｐゴシック" charset="-128"/>
                <a:cs typeface="+mn-cs"/>
              </a:rPr>
            </a:br>
            <a:r>
              <a:rPr lang="en-US" altLang="ja-JP" sz="825" kern="1200" dirty="0">
                <a:solidFill>
                  <a:srgbClr val="313131"/>
                </a:solidFill>
                <a:ea typeface="ＭＳ Ｐゴシック" charset="-128"/>
                <a:cs typeface="+mn-cs"/>
              </a:rPr>
              <a:t>to circumstances</a:t>
            </a:r>
          </a:p>
        </p:txBody>
      </p:sp>
      <p:sp>
        <p:nvSpPr>
          <p:cNvPr id="15" name="Oval 14"/>
          <p:cNvSpPr>
            <a:spLocks noChangeArrowheads="1"/>
          </p:cNvSpPr>
          <p:nvPr/>
        </p:nvSpPr>
        <p:spPr bwMode="auto">
          <a:xfrm>
            <a:off x="2501192" y="2939415"/>
            <a:ext cx="110728" cy="104775"/>
          </a:xfrm>
          <a:prstGeom prst="ellipse">
            <a:avLst/>
          </a:prstGeom>
          <a:solidFill>
            <a:schemeClr val="bg1"/>
          </a:solidFill>
          <a:ln w="19050">
            <a:solidFill>
              <a:srgbClr val="00A1DE"/>
            </a:solidFill>
            <a:round/>
            <a:headEnd/>
            <a:tailEnd/>
          </a:ln>
          <a:effectLst/>
        </p:spPr>
        <p:txBody>
          <a:bodyPr wrap="square" lIns="27000" tIns="27000" rIns="27000" bIns="27000" anchor="ctr">
            <a:noAutofit/>
          </a:bodyPr>
          <a:lstStyle/>
          <a:p>
            <a:pPr algn="ctr" defTabSz="685800">
              <a:buClrTx/>
              <a:defRPr/>
            </a:pPr>
            <a:endParaRPr lang="en-US" sz="900" kern="1200" dirty="0">
              <a:solidFill>
                <a:prstClr val="black"/>
              </a:solidFill>
              <a:ea typeface="+mn-ea"/>
              <a:cs typeface="+mn-cs"/>
            </a:endParaRPr>
          </a:p>
        </p:txBody>
      </p:sp>
      <p:sp>
        <p:nvSpPr>
          <p:cNvPr id="16" name="Oval 15"/>
          <p:cNvSpPr>
            <a:spLocks noChangeArrowheads="1"/>
          </p:cNvSpPr>
          <p:nvPr/>
        </p:nvSpPr>
        <p:spPr bwMode="auto">
          <a:xfrm>
            <a:off x="2976812" y="2856373"/>
            <a:ext cx="110728" cy="103585"/>
          </a:xfrm>
          <a:prstGeom prst="ellipse">
            <a:avLst/>
          </a:prstGeom>
          <a:solidFill>
            <a:schemeClr val="bg1"/>
          </a:solidFill>
          <a:ln w="19050">
            <a:solidFill>
              <a:srgbClr val="00A1DE"/>
            </a:solidFill>
            <a:round/>
            <a:headEnd/>
            <a:tailEnd/>
          </a:ln>
          <a:effectLst/>
        </p:spPr>
        <p:txBody>
          <a:bodyPr wrap="square" lIns="27000" tIns="27000" rIns="27000" bIns="27000" anchor="ctr">
            <a:noAutofit/>
          </a:bodyPr>
          <a:lstStyle/>
          <a:p>
            <a:pPr algn="ctr" defTabSz="685800">
              <a:buClrTx/>
              <a:defRPr/>
            </a:pPr>
            <a:endParaRPr lang="en-US" sz="900" kern="1200" dirty="0">
              <a:solidFill>
                <a:prstClr val="black"/>
              </a:solidFill>
              <a:ea typeface="+mn-ea"/>
              <a:cs typeface="+mn-cs"/>
            </a:endParaRPr>
          </a:p>
        </p:txBody>
      </p:sp>
      <p:sp>
        <p:nvSpPr>
          <p:cNvPr id="17" name="Oval 16"/>
          <p:cNvSpPr>
            <a:spLocks noChangeArrowheads="1"/>
          </p:cNvSpPr>
          <p:nvPr/>
        </p:nvSpPr>
        <p:spPr bwMode="auto">
          <a:xfrm>
            <a:off x="3431381" y="2746772"/>
            <a:ext cx="109538" cy="103584"/>
          </a:xfrm>
          <a:prstGeom prst="ellipse">
            <a:avLst/>
          </a:prstGeom>
          <a:solidFill>
            <a:schemeClr val="bg1"/>
          </a:solidFill>
          <a:ln w="19050">
            <a:solidFill>
              <a:srgbClr val="00A1DE"/>
            </a:solidFill>
            <a:round/>
            <a:headEnd/>
            <a:tailEnd/>
          </a:ln>
          <a:effectLst/>
        </p:spPr>
        <p:txBody>
          <a:bodyPr wrap="square" lIns="27000" tIns="27000" rIns="27000" bIns="27000" anchor="ctr">
            <a:noAutofit/>
          </a:bodyPr>
          <a:lstStyle/>
          <a:p>
            <a:pPr algn="ctr" defTabSz="685800">
              <a:buClrTx/>
              <a:defRPr/>
            </a:pPr>
            <a:endParaRPr lang="en-US" sz="900" kern="1200" dirty="0">
              <a:solidFill>
                <a:prstClr val="black"/>
              </a:solidFill>
              <a:ea typeface="+mn-ea"/>
              <a:cs typeface="+mn-cs"/>
            </a:endParaRPr>
          </a:p>
        </p:txBody>
      </p:sp>
      <p:sp>
        <p:nvSpPr>
          <p:cNvPr id="768014" name="Line 17"/>
          <p:cNvSpPr>
            <a:spLocks noChangeShapeType="1"/>
          </p:cNvSpPr>
          <p:nvPr/>
        </p:nvSpPr>
        <p:spPr bwMode="auto">
          <a:xfrm flipH="1">
            <a:off x="1715691" y="3502819"/>
            <a:ext cx="2381250" cy="0"/>
          </a:xfrm>
          <a:prstGeom prst="line">
            <a:avLst/>
          </a:prstGeom>
          <a:noFill/>
          <a:ln w="12700">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black"/>
              </a:solidFill>
              <a:ea typeface="+mn-ea"/>
              <a:cs typeface="+mn-cs"/>
            </a:endParaRPr>
          </a:p>
        </p:txBody>
      </p:sp>
      <p:sp>
        <p:nvSpPr>
          <p:cNvPr id="768015" name="Line 18"/>
          <p:cNvSpPr>
            <a:spLocks noChangeShapeType="1"/>
          </p:cNvSpPr>
          <p:nvPr/>
        </p:nvSpPr>
        <p:spPr bwMode="auto">
          <a:xfrm>
            <a:off x="1727597" y="1846660"/>
            <a:ext cx="0" cy="1658540"/>
          </a:xfrm>
          <a:prstGeom prst="line">
            <a:avLst/>
          </a:prstGeom>
          <a:noFill/>
          <a:ln w="12700">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black"/>
              </a:solidFill>
              <a:ea typeface="+mn-ea"/>
              <a:cs typeface="+mn-cs"/>
            </a:endParaRPr>
          </a:p>
        </p:txBody>
      </p:sp>
      <p:sp>
        <p:nvSpPr>
          <p:cNvPr id="768016" name="Line 19"/>
          <p:cNvSpPr>
            <a:spLocks noChangeShapeType="1"/>
          </p:cNvSpPr>
          <p:nvPr/>
        </p:nvSpPr>
        <p:spPr bwMode="auto">
          <a:xfrm>
            <a:off x="1727596" y="2082006"/>
            <a:ext cx="40500" cy="0"/>
          </a:xfrm>
          <a:prstGeom prst="line">
            <a:avLst/>
          </a:prstGeom>
          <a:noFill/>
          <a:ln w="12700">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black"/>
              </a:solidFill>
              <a:ea typeface="+mn-ea"/>
              <a:cs typeface="+mn-cs"/>
            </a:endParaRPr>
          </a:p>
        </p:txBody>
      </p:sp>
      <p:sp>
        <p:nvSpPr>
          <p:cNvPr id="768017" name="Line 20"/>
          <p:cNvSpPr>
            <a:spLocks noChangeShapeType="1"/>
          </p:cNvSpPr>
          <p:nvPr/>
        </p:nvSpPr>
        <p:spPr bwMode="auto">
          <a:xfrm>
            <a:off x="1727596" y="2317353"/>
            <a:ext cx="40500" cy="0"/>
          </a:xfrm>
          <a:prstGeom prst="line">
            <a:avLst/>
          </a:prstGeom>
          <a:noFill/>
          <a:ln w="12700">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black"/>
              </a:solidFill>
              <a:ea typeface="+mn-ea"/>
              <a:cs typeface="+mn-cs"/>
            </a:endParaRPr>
          </a:p>
        </p:txBody>
      </p:sp>
      <p:sp>
        <p:nvSpPr>
          <p:cNvPr id="768018" name="Line 21"/>
          <p:cNvSpPr>
            <a:spLocks noChangeShapeType="1"/>
          </p:cNvSpPr>
          <p:nvPr/>
        </p:nvSpPr>
        <p:spPr bwMode="auto">
          <a:xfrm>
            <a:off x="1727597" y="2552700"/>
            <a:ext cx="40500" cy="0"/>
          </a:xfrm>
          <a:prstGeom prst="line">
            <a:avLst/>
          </a:prstGeom>
          <a:noFill/>
          <a:ln w="12700">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black"/>
              </a:solidFill>
              <a:ea typeface="+mn-ea"/>
              <a:cs typeface="+mn-cs"/>
            </a:endParaRPr>
          </a:p>
        </p:txBody>
      </p:sp>
      <p:sp>
        <p:nvSpPr>
          <p:cNvPr id="768019" name="Line 22"/>
          <p:cNvSpPr>
            <a:spLocks noChangeShapeType="1"/>
          </p:cNvSpPr>
          <p:nvPr/>
        </p:nvSpPr>
        <p:spPr bwMode="auto">
          <a:xfrm>
            <a:off x="1727597" y="2788047"/>
            <a:ext cx="40500" cy="0"/>
          </a:xfrm>
          <a:prstGeom prst="line">
            <a:avLst/>
          </a:prstGeom>
          <a:noFill/>
          <a:ln w="12700">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black"/>
              </a:solidFill>
              <a:ea typeface="+mn-ea"/>
              <a:cs typeface="+mn-cs"/>
            </a:endParaRPr>
          </a:p>
        </p:txBody>
      </p:sp>
      <p:sp>
        <p:nvSpPr>
          <p:cNvPr id="768020" name="Line 23"/>
          <p:cNvSpPr>
            <a:spLocks noChangeShapeType="1"/>
          </p:cNvSpPr>
          <p:nvPr/>
        </p:nvSpPr>
        <p:spPr bwMode="auto">
          <a:xfrm>
            <a:off x="1727597" y="3023394"/>
            <a:ext cx="40500" cy="0"/>
          </a:xfrm>
          <a:prstGeom prst="line">
            <a:avLst/>
          </a:prstGeom>
          <a:noFill/>
          <a:ln w="12700">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black"/>
              </a:solidFill>
              <a:ea typeface="+mn-ea"/>
              <a:cs typeface="+mn-cs"/>
            </a:endParaRPr>
          </a:p>
        </p:txBody>
      </p:sp>
      <p:sp>
        <p:nvSpPr>
          <p:cNvPr id="768021" name="Line 24"/>
          <p:cNvSpPr>
            <a:spLocks noChangeShapeType="1"/>
          </p:cNvSpPr>
          <p:nvPr/>
        </p:nvSpPr>
        <p:spPr bwMode="auto">
          <a:xfrm>
            <a:off x="1727597" y="3258741"/>
            <a:ext cx="40500" cy="0"/>
          </a:xfrm>
          <a:prstGeom prst="line">
            <a:avLst/>
          </a:prstGeom>
          <a:noFill/>
          <a:ln w="12700">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black"/>
              </a:solidFill>
              <a:ea typeface="+mn-ea"/>
              <a:cs typeface="+mn-cs"/>
            </a:endParaRPr>
          </a:p>
        </p:txBody>
      </p:sp>
      <p:sp>
        <p:nvSpPr>
          <p:cNvPr id="768022" name="Line 25"/>
          <p:cNvSpPr>
            <a:spLocks noChangeShapeType="1"/>
          </p:cNvSpPr>
          <p:nvPr/>
        </p:nvSpPr>
        <p:spPr bwMode="auto">
          <a:xfrm>
            <a:off x="1727596" y="1846659"/>
            <a:ext cx="40500" cy="0"/>
          </a:xfrm>
          <a:prstGeom prst="line">
            <a:avLst/>
          </a:prstGeom>
          <a:noFill/>
          <a:ln w="12700">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black"/>
              </a:solidFill>
              <a:ea typeface="+mn-ea"/>
              <a:cs typeface="+mn-cs"/>
            </a:endParaRPr>
          </a:p>
        </p:txBody>
      </p:sp>
      <p:sp>
        <p:nvSpPr>
          <p:cNvPr id="28" name="Arc 27"/>
          <p:cNvSpPr>
            <a:spLocks/>
          </p:cNvSpPr>
          <p:nvPr/>
        </p:nvSpPr>
        <p:spPr bwMode="auto">
          <a:xfrm>
            <a:off x="2629745" y="2988847"/>
            <a:ext cx="320962" cy="109057"/>
          </a:xfrm>
          <a:custGeom>
            <a:avLst/>
            <a:gdLst>
              <a:gd name="T0" fmla="*/ 0 w 39642"/>
              <a:gd name="T1" fmla="*/ 0 h 21600"/>
              <a:gd name="T2" fmla="*/ 0 w 39642"/>
              <a:gd name="T3" fmla="*/ 0 h 21600"/>
              <a:gd name="T4" fmla="*/ 0 w 39642"/>
              <a:gd name="T5" fmla="*/ 0 h 21600"/>
              <a:gd name="T6" fmla="*/ 0 60000 65536"/>
              <a:gd name="T7" fmla="*/ 0 60000 65536"/>
              <a:gd name="T8" fmla="*/ 0 60000 65536"/>
              <a:gd name="T9" fmla="*/ 0 w 39642"/>
              <a:gd name="T10" fmla="*/ 0 h 21600"/>
              <a:gd name="T11" fmla="*/ 39642 w 39642"/>
              <a:gd name="T12" fmla="*/ 21600 h 21600"/>
            </a:gdLst>
            <a:ahLst/>
            <a:cxnLst>
              <a:cxn ang="T6">
                <a:pos x="T0" y="T1"/>
              </a:cxn>
              <a:cxn ang="T7">
                <a:pos x="T2" y="T3"/>
              </a:cxn>
              <a:cxn ang="T8">
                <a:pos x="T4" y="T5"/>
              </a:cxn>
            </a:cxnLst>
            <a:rect l="T9" t="T10" r="T11" b="T12"/>
            <a:pathLst>
              <a:path w="39642" h="21600" fill="none" extrusionOk="0">
                <a:moveTo>
                  <a:pt x="39642" y="0"/>
                </a:moveTo>
                <a:cubicBezTo>
                  <a:pt x="39642" y="11929"/>
                  <a:pt x="29971" y="21600"/>
                  <a:pt x="18042" y="21600"/>
                </a:cubicBezTo>
                <a:cubicBezTo>
                  <a:pt x="10775" y="21600"/>
                  <a:pt x="3995" y="17945"/>
                  <a:pt x="-1" y="11876"/>
                </a:cubicBezTo>
              </a:path>
              <a:path w="39642" h="21600" stroke="0" extrusionOk="0">
                <a:moveTo>
                  <a:pt x="39642" y="0"/>
                </a:moveTo>
                <a:cubicBezTo>
                  <a:pt x="39642" y="11929"/>
                  <a:pt x="29971" y="21600"/>
                  <a:pt x="18042" y="21600"/>
                </a:cubicBezTo>
                <a:cubicBezTo>
                  <a:pt x="10775" y="21600"/>
                  <a:pt x="3995" y="17945"/>
                  <a:pt x="-1" y="11876"/>
                </a:cubicBezTo>
                <a:lnTo>
                  <a:pt x="18042" y="0"/>
                </a:lnTo>
                <a:close/>
              </a:path>
            </a:pathLst>
          </a:custGeom>
          <a:noFill/>
          <a:ln w="19050" cap="rnd">
            <a:solidFill>
              <a:srgbClr val="8C8C8C"/>
            </a:solidFill>
            <a:round/>
            <a:headEnd/>
            <a:tailEnd type="triangle" w="lg" len="lg"/>
          </a:ln>
        </p:spPr>
        <p:txBody>
          <a:bodyPr wrap="square" lIns="27000" tIns="27000" rIns="27000" bIns="27000" anchor="ctr">
            <a:noAutofit/>
          </a:bodyPr>
          <a:lstStyle/>
          <a:p>
            <a:pPr algn="ctr" defTabSz="685800">
              <a:buClrTx/>
              <a:defRPr/>
            </a:pPr>
            <a:endParaRPr lang="en-US" sz="900" kern="1200" dirty="0">
              <a:solidFill>
                <a:prstClr val="black"/>
              </a:solidFill>
              <a:ea typeface="+mn-ea"/>
              <a:cs typeface="+mn-cs"/>
            </a:endParaRPr>
          </a:p>
        </p:txBody>
      </p:sp>
      <p:sp>
        <p:nvSpPr>
          <p:cNvPr id="33" name="Arc 32"/>
          <p:cNvSpPr>
            <a:spLocks/>
          </p:cNvSpPr>
          <p:nvPr/>
        </p:nvSpPr>
        <p:spPr bwMode="auto">
          <a:xfrm>
            <a:off x="3114676" y="2905253"/>
            <a:ext cx="322112" cy="109410"/>
          </a:xfrm>
          <a:custGeom>
            <a:avLst/>
            <a:gdLst>
              <a:gd name="T0" fmla="*/ 0 w 39738"/>
              <a:gd name="T1" fmla="*/ 0 h 21600"/>
              <a:gd name="T2" fmla="*/ 0 w 39738"/>
              <a:gd name="T3" fmla="*/ 0 h 21600"/>
              <a:gd name="T4" fmla="*/ 0 w 39738"/>
              <a:gd name="T5" fmla="*/ 0 h 21600"/>
              <a:gd name="T6" fmla="*/ 0 60000 65536"/>
              <a:gd name="T7" fmla="*/ 0 60000 65536"/>
              <a:gd name="T8" fmla="*/ 0 60000 65536"/>
              <a:gd name="T9" fmla="*/ 0 w 39738"/>
              <a:gd name="T10" fmla="*/ 0 h 21600"/>
              <a:gd name="T11" fmla="*/ 39738 w 39738"/>
              <a:gd name="T12" fmla="*/ 21600 h 21600"/>
            </a:gdLst>
            <a:ahLst/>
            <a:cxnLst>
              <a:cxn ang="T6">
                <a:pos x="T0" y="T1"/>
              </a:cxn>
              <a:cxn ang="T7">
                <a:pos x="T2" y="T3"/>
              </a:cxn>
              <a:cxn ang="T8">
                <a:pos x="T4" y="T5"/>
              </a:cxn>
            </a:cxnLst>
            <a:rect l="T9" t="T10" r="T11" b="T12"/>
            <a:pathLst>
              <a:path w="39738" h="21600" fill="none" extrusionOk="0">
                <a:moveTo>
                  <a:pt x="39738" y="0"/>
                </a:moveTo>
                <a:cubicBezTo>
                  <a:pt x="39738" y="11929"/>
                  <a:pt x="30067" y="21600"/>
                  <a:pt x="18138" y="21600"/>
                </a:cubicBezTo>
                <a:cubicBezTo>
                  <a:pt x="10808" y="21600"/>
                  <a:pt x="3979" y="17883"/>
                  <a:pt x="-1" y="11729"/>
                </a:cubicBezTo>
              </a:path>
              <a:path w="39738" h="21600" stroke="0" extrusionOk="0">
                <a:moveTo>
                  <a:pt x="39738" y="0"/>
                </a:moveTo>
                <a:cubicBezTo>
                  <a:pt x="39738" y="11929"/>
                  <a:pt x="30067" y="21600"/>
                  <a:pt x="18138" y="21600"/>
                </a:cubicBezTo>
                <a:cubicBezTo>
                  <a:pt x="10808" y="21600"/>
                  <a:pt x="3979" y="17883"/>
                  <a:pt x="-1" y="11729"/>
                </a:cubicBezTo>
                <a:lnTo>
                  <a:pt x="18138" y="0"/>
                </a:lnTo>
                <a:close/>
              </a:path>
            </a:pathLst>
          </a:custGeom>
          <a:noFill/>
          <a:ln w="19050" cap="rnd">
            <a:solidFill>
              <a:srgbClr val="8C8C8C"/>
            </a:solidFill>
            <a:round/>
            <a:headEnd/>
            <a:tailEnd type="triangle" w="lg" len="lg"/>
          </a:ln>
        </p:spPr>
        <p:txBody>
          <a:bodyPr wrap="square" lIns="27000" tIns="27000" rIns="27000" bIns="27000" anchor="ctr">
            <a:noAutofit/>
          </a:bodyPr>
          <a:lstStyle/>
          <a:p>
            <a:pPr algn="ctr" defTabSz="685800">
              <a:buClrTx/>
              <a:defRPr/>
            </a:pPr>
            <a:endParaRPr lang="en-US" sz="900" kern="1200" dirty="0">
              <a:solidFill>
                <a:prstClr val="black"/>
              </a:solidFill>
              <a:ea typeface="+mn-ea"/>
              <a:cs typeface="+mn-cs"/>
            </a:endParaRPr>
          </a:p>
        </p:txBody>
      </p:sp>
      <p:sp>
        <p:nvSpPr>
          <p:cNvPr id="768025" name="Rectangle 36"/>
          <p:cNvSpPr>
            <a:spLocks noChangeArrowheads="1"/>
          </p:cNvSpPr>
          <p:nvPr/>
        </p:nvSpPr>
        <p:spPr bwMode="auto">
          <a:xfrm>
            <a:off x="2239231" y="2491812"/>
            <a:ext cx="807914" cy="215828"/>
          </a:xfrm>
          <a:prstGeom prst="rect">
            <a:avLst/>
          </a:prstGeom>
          <a:noFill/>
          <a:ln w="12700" algn="ctr">
            <a:noFill/>
            <a:miter lim="800000"/>
            <a:headEnd/>
            <a:tailEnd/>
          </a:ln>
        </p:spPr>
        <p:txBody>
          <a:bodyPr wrap="none" lIns="0" tIns="0" rIns="0" bIns="0">
            <a:spAutoFit/>
          </a:bodyPr>
          <a:lstStyle/>
          <a:p>
            <a:pPr algn="ctr" defTabSz="677466">
              <a:lnSpc>
                <a:spcPct val="85000"/>
              </a:lnSpc>
              <a:buClrTx/>
            </a:pPr>
            <a:r>
              <a:rPr lang="en-US" altLang="ja-JP" sz="825" kern="1200" dirty="0">
                <a:solidFill>
                  <a:srgbClr val="313131"/>
                </a:solidFill>
                <a:ea typeface="ＭＳ Ｐゴシック" charset="-128"/>
                <a:cs typeface="+mn-cs"/>
              </a:rPr>
              <a:t>Where can </a:t>
            </a:r>
            <a:br>
              <a:rPr lang="en-US" altLang="ja-JP" sz="825" kern="1200" dirty="0">
                <a:solidFill>
                  <a:srgbClr val="313131"/>
                </a:solidFill>
                <a:ea typeface="ＭＳ Ｐゴシック" charset="-128"/>
                <a:cs typeface="+mn-cs"/>
              </a:rPr>
            </a:br>
            <a:r>
              <a:rPr lang="en-US" altLang="ja-JP" sz="825" kern="1200" dirty="0">
                <a:solidFill>
                  <a:srgbClr val="313131"/>
                </a:solidFill>
                <a:ea typeface="ＭＳ Ｐゴシック" charset="-128"/>
                <a:cs typeface="+mn-cs"/>
              </a:rPr>
              <a:t>we be next year?</a:t>
            </a:r>
          </a:p>
        </p:txBody>
      </p:sp>
      <p:sp>
        <p:nvSpPr>
          <p:cNvPr id="39" name="Rectangle 38"/>
          <p:cNvSpPr>
            <a:spLocks noChangeArrowheads="1"/>
          </p:cNvSpPr>
          <p:nvPr/>
        </p:nvSpPr>
        <p:spPr bwMode="auto">
          <a:xfrm>
            <a:off x="5118497" y="3814763"/>
            <a:ext cx="2584847" cy="579835"/>
          </a:xfrm>
          <a:prstGeom prst="rect">
            <a:avLst/>
          </a:prstGeom>
          <a:solidFill>
            <a:srgbClr val="DCDCDC"/>
          </a:solidFill>
          <a:ln w="12700" algn="ctr">
            <a:solidFill>
              <a:schemeClr val="bg1"/>
            </a:solidFill>
            <a:miter lim="800000"/>
            <a:headEnd/>
            <a:tailEnd/>
          </a:ln>
          <a:effectLst/>
        </p:spPr>
        <p:txBody>
          <a:bodyPr wrap="square" lIns="27000" tIns="27000" rIns="27000" bIns="27000" anchor="ctr">
            <a:noAutofit/>
          </a:bodyPr>
          <a:lstStyle/>
          <a:p>
            <a:pPr algn="ctr" defTabSz="685800">
              <a:buClrTx/>
              <a:defRPr/>
            </a:pPr>
            <a:r>
              <a:rPr lang="en-US" altLang="ja-JP" sz="825" b="1" kern="1200">
                <a:solidFill>
                  <a:srgbClr val="313131"/>
                </a:solidFill>
                <a:ea typeface="ＭＳ Ｐゴシック" pitchFamily="50" charset="-128"/>
                <a:cs typeface="+mn-cs"/>
              </a:rPr>
              <a:t>Focus</a:t>
            </a:r>
          </a:p>
          <a:p>
            <a:pPr algn="ctr" defTabSz="685800">
              <a:buClrTx/>
              <a:defRPr/>
            </a:pPr>
            <a:r>
              <a:rPr lang="en-US" altLang="ja-JP" sz="825" b="1" kern="1200">
                <a:solidFill>
                  <a:srgbClr val="313131"/>
                </a:solidFill>
                <a:ea typeface="ＭＳ Ｐゴシック" pitchFamily="50" charset="-128"/>
                <a:cs typeface="+mn-cs"/>
              </a:rPr>
              <a:t>[One reason why companies grow]</a:t>
            </a:r>
            <a:endParaRPr lang="en-US" altLang="ja-JP" sz="825" b="1" kern="1200" dirty="0">
              <a:solidFill>
                <a:srgbClr val="313131"/>
              </a:solidFill>
              <a:ea typeface="ＭＳ Ｐゴシック" pitchFamily="50" charset="-128"/>
              <a:cs typeface="+mn-cs"/>
            </a:endParaRPr>
          </a:p>
        </p:txBody>
      </p:sp>
      <p:sp>
        <p:nvSpPr>
          <p:cNvPr id="768029" name="Rectangle 41"/>
          <p:cNvSpPr>
            <a:spLocks noChangeArrowheads="1"/>
          </p:cNvSpPr>
          <p:nvPr/>
        </p:nvSpPr>
        <p:spPr bwMode="auto">
          <a:xfrm>
            <a:off x="6636038" y="2956322"/>
            <a:ext cx="695704" cy="215828"/>
          </a:xfrm>
          <a:prstGeom prst="rect">
            <a:avLst/>
          </a:prstGeom>
          <a:noFill/>
          <a:ln w="12700">
            <a:noFill/>
            <a:miter lim="800000"/>
            <a:headEnd/>
            <a:tailEnd/>
          </a:ln>
        </p:spPr>
        <p:txBody>
          <a:bodyPr wrap="none" lIns="0" tIns="0" rIns="0" bIns="0">
            <a:spAutoFit/>
          </a:bodyPr>
          <a:lstStyle/>
          <a:p>
            <a:pPr algn="ctr" defTabSz="677466">
              <a:lnSpc>
                <a:spcPct val="85000"/>
              </a:lnSpc>
              <a:buClrTx/>
            </a:pPr>
            <a:r>
              <a:rPr lang="en-US" altLang="ja-JP" sz="825" kern="1200" dirty="0">
                <a:solidFill>
                  <a:srgbClr val="313131"/>
                </a:solidFill>
                <a:ea typeface="ＭＳ Ｐゴシック" charset="-128"/>
                <a:cs typeface="+mn-cs"/>
              </a:rPr>
              <a:t>Actions driven </a:t>
            </a:r>
            <a:br>
              <a:rPr lang="en-US" altLang="ja-JP" sz="825" kern="1200" dirty="0">
                <a:solidFill>
                  <a:srgbClr val="313131"/>
                </a:solidFill>
                <a:ea typeface="ＭＳ Ｐゴシック" charset="-128"/>
                <a:cs typeface="+mn-cs"/>
              </a:rPr>
            </a:br>
            <a:r>
              <a:rPr lang="en-US" altLang="ja-JP" sz="825" kern="1200" dirty="0">
                <a:solidFill>
                  <a:srgbClr val="313131"/>
                </a:solidFill>
                <a:ea typeface="ＭＳ Ｐゴシック" charset="-128"/>
                <a:cs typeface="+mn-cs"/>
              </a:rPr>
              <a:t>by strategy</a:t>
            </a:r>
          </a:p>
        </p:txBody>
      </p:sp>
      <p:sp>
        <p:nvSpPr>
          <p:cNvPr id="43" name="Arc 42"/>
          <p:cNvSpPr>
            <a:spLocks/>
          </p:cNvSpPr>
          <p:nvPr/>
        </p:nvSpPr>
        <p:spPr bwMode="auto">
          <a:xfrm>
            <a:off x="5759029" y="1938338"/>
            <a:ext cx="1497806" cy="1179910"/>
          </a:xfrm>
          <a:custGeom>
            <a:avLst/>
            <a:gdLst>
              <a:gd name="T0" fmla="*/ 0 w 21600"/>
              <a:gd name="T1" fmla="*/ 2147483647 h 21600"/>
              <a:gd name="T2" fmla="*/ 2147483647 w 21600"/>
              <a:gd name="T3" fmla="*/ 0 h 21600"/>
              <a:gd name="T4" fmla="*/ 2147483647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600"/>
                </a:moveTo>
                <a:cubicBezTo>
                  <a:pt x="0" y="9676"/>
                  <a:pt x="9661" y="8"/>
                  <a:pt x="21585" y="0"/>
                </a:cubicBezTo>
              </a:path>
              <a:path w="21600" h="21600" stroke="0" extrusionOk="0">
                <a:moveTo>
                  <a:pt x="0" y="21600"/>
                </a:moveTo>
                <a:cubicBezTo>
                  <a:pt x="0" y="9676"/>
                  <a:pt x="9661" y="8"/>
                  <a:pt x="21585" y="0"/>
                </a:cubicBezTo>
                <a:lnTo>
                  <a:pt x="21600" y="21600"/>
                </a:lnTo>
                <a:close/>
              </a:path>
            </a:pathLst>
          </a:custGeom>
          <a:noFill/>
          <a:ln w="19050" cap="rnd">
            <a:solidFill>
              <a:srgbClr val="B4B4B4"/>
            </a:solidFill>
            <a:round/>
            <a:headEnd/>
            <a:tailEnd type="triangle" w="lg" len="lg"/>
          </a:ln>
          <a:effectLst/>
        </p:spPr>
        <p:txBody>
          <a:bodyPr wrap="square" lIns="27000" tIns="27000" rIns="27000" bIns="27000" anchor="ctr">
            <a:noAutofit/>
          </a:bodyPr>
          <a:lstStyle/>
          <a:p>
            <a:pPr algn="ctr" defTabSz="685800">
              <a:buClrTx/>
              <a:defRPr/>
            </a:pPr>
            <a:endParaRPr lang="en-US" sz="900" kern="1200" dirty="0">
              <a:solidFill>
                <a:prstClr val="black"/>
              </a:solidFill>
              <a:ea typeface="+mn-ea"/>
              <a:cs typeface="+mn-cs"/>
            </a:endParaRPr>
          </a:p>
        </p:txBody>
      </p:sp>
      <p:sp>
        <p:nvSpPr>
          <p:cNvPr id="768032" name="Rectangle 46"/>
          <p:cNvSpPr>
            <a:spLocks noChangeArrowheads="1"/>
          </p:cNvSpPr>
          <p:nvPr/>
        </p:nvSpPr>
        <p:spPr bwMode="auto">
          <a:xfrm>
            <a:off x="5444191" y="3163491"/>
            <a:ext cx="495328" cy="215828"/>
          </a:xfrm>
          <a:prstGeom prst="rect">
            <a:avLst/>
          </a:prstGeom>
          <a:noFill/>
          <a:ln w="12700">
            <a:noFill/>
            <a:miter lim="800000"/>
            <a:headEnd/>
            <a:tailEnd/>
          </a:ln>
        </p:spPr>
        <p:txBody>
          <a:bodyPr wrap="none" lIns="0" tIns="0" rIns="0" bIns="0">
            <a:spAutoFit/>
          </a:bodyPr>
          <a:lstStyle/>
          <a:p>
            <a:pPr algn="ctr" defTabSz="677466">
              <a:lnSpc>
                <a:spcPct val="85000"/>
              </a:lnSpc>
              <a:buClrTx/>
            </a:pPr>
            <a:r>
              <a:rPr lang="en-US" altLang="ja-JP" sz="825" kern="1200" dirty="0">
                <a:solidFill>
                  <a:srgbClr val="313131"/>
                </a:solidFill>
                <a:ea typeface="ＭＳ Ｐゴシック" charset="-128"/>
                <a:cs typeface="+mn-cs"/>
              </a:rPr>
              <a:t>Where are</a:t>
            </a:r>
            <a:br>
              <a:rPr lang="en-US" altLang="ja-JP" sz="825" kern="1200" dirty="0">
                <a:solidFill>
                  <a:srgbClr val="313131"/>
                </a:solidFill>
                <a:ea typeface="ＭＳ Ｐゴシック" charset="-128"/>
                <a:cs typeface="+mn-cs"/>
              </a:rPr>
            </a:br>
            <a:r>
              <a:rPr lang="en-US" altLang="ja-JP" sz="825" kern="1200" dirty="0">
                <a:solidFill>
                  <a:srgbClr val="313131"/>
                </a:solidFill>
                <a:ea typeface="ＭＳ Ｐゴシック" charset="-128"/>
                <a:cs typeface="+mn-cs"/>
              </a:rPr>
              <a:t> we now? </a:t>
            </a:r>
          </a:p>
        </p:txBody>
      </p:sp>
      <p:sp>
        <p:nvSpPr>
          <p:cNvPr id="768033" name="Oval 47"/>
          <p:cNvSpPr>
            <a:spLocks noChangeArrowheads="1"/>
          </p:cNvSpPr>
          <p:nvPr/>
        </p:nvSpPr>
        <p:spPr bwMode="auto">
          <a:xfrm>
            <a:off x="5726883" y="3043238"/>
            <a:ext cx="101203" cy="103585"/>
          </a:xfrm>
          <a:prstGeom prst="ellipse">
            <a:avLst/>
          </a:prstGeom>
          <a:solidFill>
            <a:srgbClr val="00A1DE"/>
          </a:solidFill>
          <a:ln w="12700" algn="ctr">
            <a:solidFill>
              <a:schemeClr val="bg1"/>
            </a:solidFill>
            <a:round/>
            <a:headEnd/>
            <a:tailEnd/>
          </a:ln>
        </p:spPr>
        <p:txBody>
          <a:bodyPr wrap="square" lIns="27000" tIns="27000" rIns="27000" bIns="27000" anchor="ctr">
            <a:noAutofit/>
          </a:bodyPr>
          <a:lstStyle/>
          <a:p>
            <a:pPr algn="ctr" defTabSz="685800">
              <a:buClrTx/>
            </a:pPr>
            <a:endParaRPr lang="en-US" sz="900" kern="1200">
              <a:solidFill>
                <a:prstClr val="black"/>
              </a:solidFill>
              <a:ea typeface="+mn-ea"/>
              <a:cs typeface="+mn-cs"/>
            </a:endParaRPr>
          </a:p>
        </p:txBody>
      </p:sp>
      <p:sp>
        <p:nvSpPr>
          <p:cNvPr id="49" name="Oval 48"/>
          <p:cNvSpPr>
            <a:spLocks noChangeArrowheads="1"/>
          </p:cNvSpPr>
          <p:nvPr/>
        </p:nvSpPr>
        <p:spPr bwMode="auto">
          <a:xfrm>
            <a:off x="6304335" y="2657476"/>
            <a:ext cx="102394" cy="97631"/>
          </a:xfrm>
          <a:prstGeom prst="ellipse">
            <a:avLst/>
          </a:prstGeom>
          <a:solidFill>
            <a:schemeClr val="bg1"/>
          </a:solidFill>
          <a:ln w="19050">
            <a:solidFill>
              <a:srgbClr val="00A1DE"/>
            </a:solidFill>
            <a:round/>
            <a:headEnd/>
            <a:tailEnd/>
          </a:ln>
          <a:effectLst/>
        </p:spPr>
        <p:txBody>
          <a:bodyPr wrap="square" lIns="27000" tIns="27000" rIns="27000" bIns="27000" anchor="ctr">
            <a:noAutofit/>
          </a:bodyPr>
          <a:lstStyle/>
          <a:p>
            <a:pPr algn="ctr" defTabSz="685800">
              <a:buClrTx/>
              <a:defRPr/>
            </a:pPr>
            <a:endParaRPr lang="en-US" sz="900" kern="1200" dirty="0">
              <a:solidFill>
                <a:prstClr val="black"/>
              </a:solidFill>
              <a:ea typeface="+mn-ea"/>
              <a:cs typeface="+mn-cs"/>
            </a:endParaRPr>
          </a:p>
        </p:txBody>
      </p:sp>
      <p:sp>
        <p:nvSpPr>
          <p:cNvPr id="50" name="Oval 49"/>
          <p:cNvSpPr>
            <a:spLocks noChangeArrowheads="1"/>
          </p:cNvSpPr>
          <p:nvPr/>
        </p:nvSpPr>
        <p:spPr bwMode="auto">
          <a:xfrm>
            <a:off x="6823447" y="2269331"/>
            <a:ext cx="100013" cy="104775"/>
          </a:xfrm>
          <a:prstGeom prst="ellipse">
            <a:avLst/>
          </a:prstGeom>
          <a:solidFill>
            <a:schemeClr val="bg1"/>
          </a:solidFill>
          <a:ln w="19050">
            <a:solidFill>
              <a:srgbClr val="00A1DE"/>
            </a:solidFill>
            <a:round/>
            <a:headEnd/>
            <a:tailEnd/>
          </a:ln>
          <a:effectLst/>
        </p:spPr>
        <p:txBody>
          <a:bodyPr wrap="square" lIns="27000" tIns="27000" rIns="27000" bIns="27000" anchor="ctr">
            <a:noAutofit/>
          </a:bodyPr>
          <a:lstStyle/>
          <a:p>
            <a:pPr algn="ctr" defTabSz="685800">
              <a:buClrTx/>
              <a:defRPr/>
            </a:pPr>
            <a:endParaRPr lang="en-US" sz="900" kern="1200" dirty="0">
              <a:solidFill>
                <a:prstClr val="black"/>
              </a:solidFill>
              <a:ea typeface="+mn-ea"/>
              <a:cs typeface="+mn-cs"/>
            </a:endParaRPr>
          </a:p>
        </p:txBody>
      </p:sp>
      <p:sp>
        <p:nvSpPr>
          <p:cNvPr id="768036" name="Oval 50"/>
          <p:cNvSpPr>
            <a:spLocks noChangeArrowheads="1"/>
          </p:cNvSpPr>
          <p:nvPr/>
        </p:nvSpPr>
        <p:spPr bwMode="auto">
          <a:xfrm>
            <a:off x="7310414" y="1914525"/>
            <a:ext cx="101203" cy="105966"/>
          </a:xfrm>
          <a:prstGeom prst="ellipse">
            <a:avLst/>
          </a:prstGeom>
          <a:solidFill>
            <a:schemeClr val="accent2"/>
          </a:solidFill>
          <a:ln w="12700" algn="ctr">
            <a:solidFill>
              <a:schemeClr val="bg1"/>
            </a:solidFill>
            <a:round/>
            <a:headEnd/>
            <a:tailEnd/>
          </a:ln>
        </p:spPr>
        <p:txBody>
          <a:bodyPr wrap="square" lIns="27000" tIns="27000" rIns="27000" bIns="27000" anchor="ctr">
            <a:noAutofit/>
          </a:bodyPr>
          <a:lstStyle/>
          <a:p>
            <a:pPr algn="ctr" defTabSz="685800">
              <a:buClrTx/>
            </a:pPr>
            <a:endParaRPr lang="en-US" sz="900" kern="1200">
              <a:solidFill>
                <a:prstClr val="black"/>
              </a:solidFill>
              <a:ea typeface="+mn-ea"/>
              <a:cs typeface="+mn-cs"/>
            </a:endParaRPr>
          </a:p>
        </p:txBody>
      </p:sp>
      <p:sp>
        <p:nvSpPr>
          <p:cNvPr id="768047" name="Rectangle 61"/>
          <p:cNvSpPr>
            <a:spLocks noChangeArrowheads="1"/>
          </p:cNvSpPr>
          <p:nvPr/>
        </p:nvSpPr>
        <p:spPr bwMode="auto">
          <a:xfrm>
            <a:off x="6193336" y="1552575"/>
            <a:ext cx="1450718" cy="215828"/>
          </a:xfrm>
          <a:prstGeom prst="rect">
            <a:avLst/>
          </a:prstGeom>
          <a:noFill/>
          <a:ln w="12700" algn="ctr">
            <a:noFill/>
            <a:miter lim="800000"/>
            <a:headEnd/>
            <a:tailEnd/>
          </a:ln>
        </p:spPr>
        <p:txBody>
          <a:bodyPr wrap="none" lIns="0" tIns="0" rIns="0" bIns="0">
            <a:spAutoFit/>
          </a:bodyPr>
          <a:lstStyle/>
          <a:p>
            <a:pPr algn="ctr" defTabSz="677466">
              <a:lnSpc>
                <a:spcPct val="85000"/>
              </a:lnSpc>
              <a:buClrTx/>
            </a:pPr>
            <a:r>
              <a:rPr lang="en-US" altLang="ja-JP" sz="825" kern="1200" dirty="0">
                <a:solidFill>
                  <a:srgbClr val="313131"/>
                </a:solidFill>
                <a:ea typeface="ＭＳ Ｐゴシック" charset="-128"/>
                <a:cs typeface="+mn-cs"/>
              </a:rPr>
              <a:t>Vision of where we need to be </a:t>
            </a:r>
            <a:br>
              <a:rPr lang="en-US" altLang="ja-JP" sz="825" kern="1200" dirty="0">
                <a:solidFill>
                  <a:srgbClr val="313131"/>
                </a:solidFill>
                <a:ea typeface="ＭＳ Ｐゴシック" charset="-128"/>
                <a:cs typeface="+mn-cs"/>
              </a:rPr>
            </a:br>
            <a:r>
              <a:rPr lang="en-US" altLang="ja-JP" sz="825" kern="1200" dirty="0">
                <a:solidFill>
                  <a:srgbClr val="313131"/>
                </a:solidFill>
                <a:ea typeface="ＭＳ Ｐゴシック" charset="-128"/>
                <a:cs typeface="+mn-cs"/>
              </a:rPr>
              <a:t>five years from now</a:t>
            </a:r>
          </a:p>
        </p:txBody>
      </p:sp>
      <p:sp>
        <p:nvSpPr>
          <p:cNvPr id="65" name="Arc 66"/>
          <p:cNvSpPr>
            <a:spLocks/>
          </p:cNvSpPr>
          <p:nvPr/>
        </p:nvSpPr>
        <p:spPr bwMode="auto">
          <a:xfrm>
            <a:off x="6533222" y="2431256"/>
            <a:ext cx="374761" cy="341027"/>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rgbClr val="B4B4B4"/>
            </a:solidFill>
            <a:round/>
            <a:headEnd/>
            <a:tailEnd type="triangle" w="lg" len="lg"/>
          </a:ln>
        </p:spPr>
        <p:txBody>
          <a:bodyPr wrap="square" lIns="27000" tIns="27000" rIns="27000" bIns="27000" anchor="ctr">
            <a:noAutofit/>
          </a:bodyPr>
          <a:lstStyle/>
          <a:p>
            <a:pPr algn="ctr" defTabSz="685800">
              <a:buClrTx/>
              <a:defRPr/>
            </a:pPr>
            <a:endParaRPr lang="en-US" sz="900" kern="1200" dirty="0">
              <a:solidFill>
                <a:prstClr val="black"/>
              </a:solidFill>
              <a:ea typeface="+mn-ea"/>
              <a:cs typeface="+mn-cs"/>
            </a:endParaRPr>
          </a:p>
        </p:txBody>
      </p:sp>
      <p:sp>
        <p:nvSpPr>
          <p:cNvPr id="70" name="Arc 71"/>
          <p:cNvSpPr>
            <a:spLocks/>
          </p:cNvSpPr>
          <p:nvPr/>
        </p:nvSpPr>
        <p:spPr bwMode="auto">
          <a:xfrm>
            <a:off x="5969748" y="2817019"/>
            <a:ext cx="373879" cy="33985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rgbClr val="B4B4B4"/>
            </a:solidFill>
            <a:round/>
            <a:headEnd/>
            <a:tailEnd type="triangle" w="lg" len="lg"/>
          </a:ln>
        </p:spPr>
        <p:txBody>
          <a:bodyPr wrap="square" lIns="27000" tIns="27000" rIns="27000" bIns="27000" anchor="ctr">
            <a:noAutofit/>
          </a:bodyPr>
          <a:lstStyle/>
          <a:p>
            <a:pPr algn="ctr" defTabSz="685800">
              <a:buClrTx/>
              <a:defRPr/>
            </a:pPr>
            <a:endParaRPr lang="en-US" sz="900" kern="1200" dirty="0">
              <a:solidFill>
                <a:prstClr val="black"/>
              </a:solidFill>
              <a:ea typeface="+mn-ea"/>
              <a:cs typeface="+mn-cs"/>
            </a:endParaRPr>
          </a:p>
        </p:txBody>
      </p:sp>
      <p:sp>
        <p:nvSpPr>
          <p:cNvPr id="75" name="Arc 76"/>
          <p:cNvSpPr>
            <a:spLocks/>
          </p:cNvSpPr>
          <p:nvPr/>
        </p:nvSpPr>
        <p:spPr bwMode="auto">
          <a:xfrm>
            <a:off x="7041619" y="2070497"/>
            <a:ext cx="374760" cy="341027"/>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rgbClr val="B4B4B4"/>
            </a:solidFill>
            <a:round/>
            <a:headEnd/>
            <a:tailEnd type="triangle" w="lg" len="lg"/>
          </a:ln>
        </p:spPr>
        <p:txBody>
          <a:bodyPr wrap="square" lIns="27000" tIns="27000" rIns="27000" bIns="27000" anchor="ctr">
            <a:noAutofit/>
          </a:bodyPr>
          <a:lstStyle/>
          <a:p>
            <a:pPr algn="ctr" defTabSz="685800">
              <a:buClrTx/>
              <a:defRPr/>
            </a:pPr>
            <a:endParaRPr lang="en-US" sz="900" kern="1200" dirty="0">
              <a:solidFill>
                <a:prstClr val="black"/>
              </a:solidFill>
              <a:ea typeface="+mn-ea"/>
              <a:cs typeface="+mn-cs"/>
            </a:endParaRPr>
          </a:p>
        </p:txBody>
      </p:sp>
      <p:sp>
        <p:nvSpPr>
          <p:cNvPr id="768051" name="Text Placeholder 12"/>
          <p:cNvSpPr>
            <a:spLocks/>
          </p:cNvSpPr>
          <p:nvPr>
            <p:custDataLst>
              <p:tags r:id="rId1"/>
            </p:custDataLst>
          </p:nvPr>
        </p:nvSpPr>
        <p:spPr bwMode="auto">
          <a:xfrm>
            <a:off x="1440656" y="1131570"/>
            <a:ext cx="1364156" cy="115416"/>
          </a:xfrm>
          <a:prstGeom prst="rect">
            <a:avLst/>
          </a:prstGeom>
          <a:noFill/>
          <a:ln w="9525">
            <a:noFill/>
            <a:miter lim="800000"/>
            <a:headEnd/>
            <a:tailEnd/>
          </a:ln>
        </p:spPr>
        <p:txBody>
          <a:bodyPr wrap="none" lIns="0" tIns="0" rIns="0" bIns="0">
            <a:spAutoFit/>
          </a:bodyPr>
          <a:lstStyle/>
          <a:p>
            <a:pPr defTabSz="764381">
              <a:spcAft>
                <a:spcPts val="225"/>
              </a:spcAft>
              <a:buClrTx/>
            </a:pPr>
            <a:r>
              <a:rPr lang="en-US" sz="750" b="1" kern="1200" dirty="0">
                <a:solidFill>
                  <a:srgbClr val="313131"/>
                </a:solidFill>
                <a:ea typeface="+mn-ea"/>
                <a:cs typeface="+mn-cs"/>
              </a:rPr>
              <a:t>Incremental planning process</a:t>
            </a:r>
          </a:p>
        </p:txBody>
      </p:sp>
      <p:sp>
        <p:nvSpPr>
          <p:cNvPr id="768052" name="Text Placeholder 12"/>
          <p:cNvSpPr>
            <a:spLocks/>
          </p:cNvSpPr>
          <p:nvPr>
            <p:custDataLst>
              <p:tags r:id="rId2"/>
            </p:custDataLst>
          </p:nvPr>
        </p:nvSpPr>
        <p:spPr bwMode="auto">
          <a:xfrm>
            <a:off x="5134727" y="1131571"/>
            <a:ext cx="1651093" cy="103875"/>
          </a:xfrm>
          <a:prstGeom prst="rect">
            <a:avLst/>
          </a:prstGeom>
          <a:noFill/>
          <a:ln w="9525">
            <a:noFill/>
            <a:miter lim="800000"/>
            <a:headEnd/>
            <a:tailEnd/>
          </a:ln>
        </p:spPr>
        <p:txBody>
          <a:bodyPr wrap="none" lIns="0" tIns="0" rIns="0" bIns="0">
            <a:spAutoFit/>
          </a:bodyPr>
          <a:lstStyle/>
          <a:p>
            <a:pPr defTabSz="677466">
              <a:lnSpc>
                <a:spcPct val="90000"/>
              </a:lnSpc>
              <a:buClrTx/>
            </a:pPr>
            <a:r>
              <a:rPr lang="en-US" altLang="ja-JP" sz="750" b="1" kern="1200" dirty="0">
                <a:solidFill>
                  <a:srgbClr val="313131"/>
                </a:solidFill>
                <a:ea typeface="ＭＳ Ｐゴシック" charset="-128"/>
                <a:cs typeface="+mn-cs"/>
              </a:rPr>
              <a:t>Dynamic strategic planning process</a:t>
            </a:r>
          </a:p>
        </p:txBody>
      </p:sp>
      <p:sp>
        <p:nvSpPr>
          <p:cNvPr id="79" name="Arc 27"/>
          <p:cNvSpPr>
            <a:spLocks/>
          </p:cNvSpPr>
          <p:nvPr/>
        </p:nvSpPr>
        <p:spPr bwMode="auto">
          <a:xfrm>
            <a:off x="2160673" y="3063006"/>
            <a:ext cx="320962" cy="109057"/>
          </a:xfrm>
          <a:custGeom>
            <a:avLst/>
            <a:gdLst>
              <a:gd name="T0" fmla="*/ 0 w 39642"/>
              <a:gd name="T1" fmla="*/ 0 h 21600"/>
              <a:gd name="T2" fmla="*/ 0 w 39642"/>
              <a:gd name="T3" fmla="*/ 0 h 21600"/>
              <a:gd name="T4" fmla="*/ 0 w 39642"/>
              <a:gd name="T5" fmla="*/ 0 h 21600"/>
              <a:gd name="T6" fmla="*/ 0 60000 65536"/>
              <a:gd name="T7" fmla="*/ 0 60000 65536"/>
              <a:gd name="T8" fmla="*/ 0 60000 65536"/>
              <a:gd name="T9" fmla="*/ 0 w 39642"/>
              <a:gd name="T10" fmla="*/ 0 h 21600"/>
              <a:gd name="T11" fmla="*/ 39642 w 39642"/>
              <a:gd name="T12" fmla="*/ 21600 h 21600"/>
            </a:gdLst>
            <a:ahLst/>
            <a:cxnLst>
              <a:cxn ang="T6">
                <a:pos x="T0" y="T1"/>
              </a:cxn>
              <a:cxn ang="T7">
                <a:pos x="T2" y="T3"/>
              </a:cxn>
              <a:cxn ang="T8">
                <a:pos x="T4" y="T5"/>
              </a:cxn>
            </a:cxnLst>
            <a:rect l="T9" t="T10" r="T11" b="T12"/>
            <a:pathLst>
              <a:path w="39642" h="21600" fill="none" extrusionOk="0">
                <a:moveTo>
                  <a:pt x="39642" y="0"/>
                </a:moveTo>
                <a:cubicBezTo>
                  <a:pt x="39642" y="11929"/>
                  <a:pt x="29971" y="21600"/>
                  <a:pt x="18042" y="21600"/>
                </a:cubicBezTo>
                <a:cubicBezTo>
                  <a:pt x="10775" y="21600"/>
                  <a:pt x="3995" y="17945"/>
                  <a:pt x="-1" y="11876"/>
                </a:cubicBezTo>
              </a:path>
              <a:path w="39642" h="21600" stroke="0" extrusionOk="0">
                <a:moveTo>
                  <a:pt x="39642" y="0"/>
                </a:moveTo>
                <a:cubicBezTo>
                  <a:pt x="39642" y="11929"/>
                  <a:pt x="29971" y="21600"/>
                  <a:pt x="18042" y="21600"/>
                </a:cubicBezTo>
                <a:cubicBezTo>
                  <a:pt x="10775" y="21600"/>
                  <a:pt x="3995" y="17945"/>
                  <a:pt x="-1" y="11876"/>
                </a:cubicBezTo>
                <a:lnTo>
                  <a:pt x="18042" y="0"/>
                </a:lnTo>
                <a:close/>
              </a:path>
            </a:pathLst>
          </a:custGeom>
          <a:noFill/>
          <a:ln w="19050" cap="rnd">
            <a:solidFill>
              <a:srgbClr val="8C8C8C"/>
            </a:solidFill>
            <a:round/>
            <a:headEnd/>
            <a:tailEnd type="triangle" w="lg" len="lg"/>
          </a:ln>
        </p:spPr>
        <p:txBody>
          <a:bodyPr wrap="square" lIns="27000" tIns="27000" rIns="27000" bIns="27000" anchor="ctr">
            <a:noAutofit/>
          </a:bodyPr>
          <a:lstStyle/>
          <a:p>
            <a:pPr algn="ctr" defTabSz="685800">
              <a:buClrTx/>
              <a:defRPr/>
            </a:pPr>
            <a:endParaRPr lang="en-US" sz="900" kern="1200" dirty="0">
              <a:solidFill>
                <a:prstClr val="black"/>
              </a:solidFill>
              <a:ea typeface="+mn-ea"/>
              <a:cs typeface="+mn-cs"/>
            </a:endParaRPr>
          </a:p>
        </p:txBody>
      </p:sp>
      <p:sp>
        <p:nvSpPr>
          <p:cNvPr id="83" name="Rectangle 9"/>
          <p:cNvSpPr>
            <a:spLocks noChangeArrowheads="1"/>
          </p:cNvSpPr>
          <p:nvPr/>
        </p:nvSpPr>
        <p:spPr bwMode="auto">
          <a:xfrm>
            <a:off x="6389287" y="3597026"/>
            <a:ext cx="246863" cy="107915"/>
          </a:xfrm>
          <a:prstGeom prst="rect">
            <a:avLst/>
          </a:prstGeom>
          <a:noFill/>
          <a:ln w="12700">
            <a:noFill/>
            <a:miter lim="800000"/>
            <a:headEnd/>
            <a:tailEnd/>
          </a:ln>
        </p:spPr>
        <p:txBody>
          <a:bodyPr wrap="none" lIns="0" tIns="0" rIns="0" bIns="0">
            <a:spAutoFit/>
          </a:bodyPr>
          <a:lstStyle/>
          <a:p>
            <a:pPr algn="ctr" defTabSz="677466">
              <a:lnSpc>
                <a:spcPct val="85000"/>
              </a:lnSpc>
              <a:buClrTx/>
            </a:pPr>
            <a:r>
              <a:rPr lang="en-US" altLang="ja-JP" sz="825" b="1" kern="1200">
                <a:solidFill>
                  <a:srgbClr val="313131"/>
                </a:solidFill>
                <a:ea typeface="ＭＳ Ｐゴシック" charset="-128"/>
                <a:cs typeface="+mn-cs"/>
              </a:rPr>
              <a:t>Time</a:t>
            </a:r>
            <a:endParaRPr lang="en-US" altLang="ja-JP" sz="825" b="1" kern="1200" dirty="0">
              <a:solidFill>
                <a:srgbClr val="313131"/>
              </a:solidFill>
              <a:ea typeface="ＭＳ Ｐゴシック" charset="-128"/>
              <a:cs typeface="+mn-cs"/>
            </a:endParaRPr>
          </a:p>
        </p:txBody>
      </p:sp>
      <p:sp>
        <p:nvSpPr>
          <p:cNvPr id="84" name="Rectangle 10"/>
          <p:cNvSpPr>
            <a:spLocks noChangeArrowheads="1"/>
          </p:cNvSpPr>
          <p:nvPr/>
        </p:nvSpPr>
        <p:spPr bwMode="auto">
          <a:xfrm rot="-5400000">
            <a:off x="5065176" y="2609472"/>
            <a:ext cx="234038" cy="107915"/>
          </a:xfrm>
          <a:prstGeom prst="rect">
            <a:avLst/>
          </a:prstGeom>
          <a:noFill/>
          <a:ln w="12700">
            <a:noFill/>
            <a:miter lim="800000"/>
            <a:headEnd/>
            <a:tailEnd/>
          </a:ln>
        </p:spPr>
        <p:txBody>
          <a:bodyPr wrap="none" lIns="0" tIns="0" rIns="0" bIns="0">
            <a:spAutoFit/>
          </a:bodyPr>
          <a:lstStyle/>
          <a:p>
            <a:pPr algn="ctr" defTabSz="677466">
              <a:lnSpc>
                <a:spcPct val="85000"/>
              </a:lnSpc>
              <a:buClrTx/>
            </a:pPr>
            <a:r>
              <a:rPr lang="en-US" altLang="ja-JP" sz="825" b="1" kern="1200" dirty="0">
                <a:solidFill>
                  <a:srgbClr val="313131"/>
                </a:solidFill>
                <a:ea typeface="ＭＳ Ｐゴシック" charset="-128"/>
                <a:cs typeface="+mn-cs"/>
              </a:rPr>
              <a:t>Goal</a:t>
            </a:r>
          </a:p>
        </p:txBody>
      </p:sp>
      <p:sp>
        <p:nvSpPr>
          <p:cNvPr id="85" name="Line 17"/>
          <p:cNvSpPr>
            <a:spLocks noChangeShapeType="1"/>
          </p:cNvSpPr>
          <p:nvPr/>
        </p:nvSpPr>
        <p:spPr bwMode="auto">
          <a:xfrm flipH="1">
            <a:off x="5322094" y="3502819"/>
            <a:ext cx="2381250" cy="0"/>
          </a:xfrm>
          <a:prstGeom prst="line">
            <a:avLst/>
          </a:prstGeom>
          <a:noFill/>
          <a:ln w="12700">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black"/>
              </a:solidFill>
              <a:ea typeface="+mn-ea"/>
              <a:cs typeface="+mn-cs"/>
            </a:endParaRPr>
          </a:p>
        </p:txBody>
      </p:sp>
      <p:sp>
        <p:nvSpPr>
          <p:cNvPr id="86" name="Line 18"/>
          <p:cNvSpPr>
            <a:spLocks noChangeShapeType="1"/>
          </p:cNvSpPr>
          <p:nvPr/>
        </p:nvSpPr>
        <p:spPr bwMode="auto">
          <a:xfrm>
            <a:off x="5333999" y="1846660"/>
            <a:ext cx="0" cy="1658540"/>
          </a:xfrm>
          <a:prstGeom prst="line">
            <a:avLst/>
          </a:prstGeom>
          <a:noFill/>
          <a:ln w="12700">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black"/>
              </a:solidFill>
              <a:ea typeface="+mn-ea"/>
              <a:cs typeface="+mn-cs"/>
            </a:endParaRPr>
          </a:p>
        </p:txBody>
      </p:sp>
      <p:sp>
        <p:nvSpPr>
          <p:cNvPr id="87" name="Line 19"/>
          <p:cNvSpPr>
            <a:spLocks noChangeShapeType="1"/>
          </p:cNvSpPr>
          <p:nvPr/>
        </p:nvSpPr>
        <p:spPr bwMode="auto">
          <a:xfrm>
            <a:off x="5333999" y="2082006"/>
            <a:ext cx="40500" cy="0"/>
          </a:xfrm>
          <a:prstGeom prst="line">
            <a:avLst/>
          </a:prstGeom>
          <a:noFill/>
          <a:ln w="12700">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black"/>
              </a:solidFill>
              <a:ea typeface="+mn-ea"/>
              <a:cs typeface="+mn-cs"/>
            </a:endParaRPr>
          </a:p>
        </p:txBody>
      </p:sp>
      <p:sp>
        <p:nvSpPr>
          <p:cNvPr id="88" name="Line 20"/>
          <p:cNvSpPr>
            <a:spLocks noChangeShapeType="1"/>
          </p:cNvSpPr>
          <p:nvPr/>
        </p:nvSpPr>
        <p:spPr bwMode="auto">
          <a:xfrm>
            <a:off x="5333999" y="2317353"/>
            <a:ext cx="40500" cy="0"/>
          </a:xfrm>
          <a:prstGeom prst="line">
            <a:avLst/>
          </a:prstGeom>
          <a:noFill/>
          <a:ln w="12700">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black"/>
              </a:solidFill>
              <a:ea typeface="+mn-ea"/>
              <a:cs typeface="+mn-cs"/>
            </a:endParaRPr>
          </a:p>
        </p:txBody>
      </p:sp>
      <p:sp>
        <p:nvSpPr>
          <p:cNvPr id="89" name="Line 21"/>
          <p:cNvSpPr>
            <a:spLocks noChangeShapeType="1"/>
          </p:cNvSpPr>
          <p:nvPr/>
        </p:nvSpPr>
        <p:spPr bwMode="auto">
          <a:xfrm>
            <a:off x="5333999" y="2552700"/>
            <a:ext cx="40500" cy="0"/>
          </a:xfrm>
          <a:prstGeom prst="line">
            <a:avLst/>
          </a:prstGeom>
          <a:noFill/>
          <a:ln w="12700">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black"/>
              </a:solidFill>
              <a:ea typeface="+mn-ea"/>
              <a:cs typeface="+mn-cs"/>
            </a:endParaRPr>
          </a:p>
        </p:txBody>
      </p:sp>
      <p:sp>
        <p:nvSpPr>
          <p:cNvPr id="90" name="Line 22"/>
          <p:cNvSpPr>
            <a:spLocks noChangeShapeType="1"/>
          </p:cNvSpPr>
          <p:nvPr/>
        </p:nvSpPr>
        <p:spPr bwMode="auto">
          <a:xfrm>
            <a:off x="5333999" y="2788047"/>
            <a:ext cx="40500" cy="0"/>
          </a:xfrm>
          <a:prstGeom prst="line">
            <a:avLst/>
          </a:prstGeom>
          <a:noFill/>
          <a:ln w="12700">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black"/>
              </a:solidFill>
              <a:ea typeface="+mn-ea"/>
              <a:cs typeface="+mn-cs"/>
            </a:endParaRPr>
          </a:p>
        </p:txBody>
      </p:sp>
      <p:sp>
        <p:nvSpPr>
          <p:cNvPr id="91" name="Line 23"/>
          <p:cNvSpPr>
            <a:spLocks noChangeShapeType="1"/>
          </p:cNvSpPr>
          <p:nvPr/>
        </p:nvSpPr>
        <p:spPr bwMode="auto">
          <a:xfrm>
            <a:off x="5333999" y="3023394"/>
            <a:ext cx="40500" cy="0"/>
          </a:xfrm>
          <a:prstGeom prst="line">
            <a:avLst/>
          </a:prstGeom>
          <a:noFill/>
          <a:ln w="12700">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black"/>
              </a:solidFill>
              <a:ea typeface="+mn-ea"/>
              <a:cs typeface="+mn-cs"/>
            </a:endParaRPr>
          </a:p>
        </p:txBody>
      </p:sp>
      <p:sp>
        <p:nvSpPr>
          <p:cNvPr id="92" name="Line 24"/>
          <p:cNvSpPr>
            <a:spLocks noChangeShapeType="1"/>
          </p:cNvSpPr>
          <p:nvPr/>
        </p:nvSpPr>
        <p:spPr bwMode="auto">
          <a:xfrm>
            <a:off x="5333999" y="3258741"/>
            <a:ext cx="40500" cy="0"/>
          </a:xfrm>
          <a:prstGeom prst="line">
            <a:avLst/>
          </a:prstGeom>
          <a:noFill/>
          <a:ln w="12700">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black"/>
              </a:solidFill>
              <a:ea typeface="+mn-ea"/>
              <a:cs typeface="+mn-cs"/>
            </a:endParaRPr>
          </a:p>
        </p:txBody>
      </p:sp>
      <p:sp>
        <p:nvSpPr>
          <p:cNvPr id="93" name="Line 25"/>
          <p:cNvSpPr>
            <a:spLocks noChangeShapeType="1"/>
          </p:cNvSpPr>
          <p:nvPr/>
        </p:nvSpPr>
        <p:spPr bwMode="auto">
          <a:xfrm>
            <a:off x="5333999" y="1846659"/>
            <a:ext cx="40500" cy="0"/>
          </a:xfrm>
          <a:prstGeom prst="line">
            <a:avLst/>
          </a:prstGeom>
          <a:noFill/>
          <a:ln w="12700">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black"/>
              </a:solidFill>
              <a:ea typeface="+mn-ea"/>
              <a:cs typeface="+mn-cs"/>
            </a:endParaRPr>
          </a:p>
        </p:txBody>
      </p:sp>
    </p:spTree>
  </p:cSld>
  <p:clrMapOvr>
    <a:masterClrMapping/>
  </p:clrMapOvr>
  <p:transition>
    <p:fade/>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0834" name="Rectangle 2" hidden="1"/>
          <p:cNvGraphicFramePr>
            <a:graphicFrameLocks/>
          </p:cNvGraphicFramePr>
          <p:nvPr>
            <p:custDataLst>
              <p:tags r:id="rId1"/>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13" imgW="0" imgH="0" progId="">
                  <p:embed/>
                </p:oleObj>
              </mc:Choice>
              <mc:Fallback>
                <p:oleObj name="think-cell Slide" r:id="rId13" imgW="0" imgH="0" progId="">
                  <p:embed/>
                  <p:pic>
                    <p:nvPicPr>
                      <p:cNvPr id="760834"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4" name="Group 48"/>
          <p:cNvGrpSpPr>
            <a:grpSpLocks/>
          </p:cNvGrpSpPr>
          <p:nvPr>
            <p:custDataLst>
              <p:tags r:id="rId2"/>
            </p:custDataLst>
          </p:nvPr>
        </p:nvGrpSpPr>
        <p:grpSpPr bwMode="auto">
          <a:xfrm>
            <a:off x="2816161" y="1268730"/>
            <a:ext cx="3471863" cy="3327797"/>
            <a:chOff x="1292" y="928"/>
            <a:chExt cx="3177" cy="3046"/>
          </a:xfrm>
        </p:grpSpPr>
        <p:sp>
          <p:nvSpPr>
            <p:cNvPr id="25" name="Freeform 5"/>
            <p:cNvSpPr>
              <a:spLocks/>
            </p:cNvSpPr>
            <p:nvPr/>
          </p:nvSpPr>
          <p:spPr bwMode="blackWhite">
            <a:xfrm>
              <a:off x="1807" y="1375"/>
              <a:ext cx="2155" cy="1829"/>
            </a:xfrm>
            <a:custGeom>
              <a:avLst/>
              <a:gdLst>
                <a:gd name="T0" fmla="*/ 3827 w 1009"/>
                <a:gd name="T1" fmla="*/ 16313 h 881"/>
                <a:gd name="T2" fmla="*/ 17479 w 1009"/>
                <a:gd name="T3" fmla="*/ 16313 h 881"/>
                <a:gd name="T4" fmla="*/ 20973 w 1009"/>
                <a:gd name="T5" fmla="*/ 6673 h 881"/>
                <a:gd name="T6" fmla="*/ 10482 w 1009"/>
                <a:gd name="T7" fmla="*/ 0 h 881"/>
                <a:gd name="T8" fmla="*/ 0 w 1009"/>
                <a:gd name="T9" fmla="*/ 6673 h 881"/>
                <a:gd name="T10" fmla="*/ 3827 w 1009"/>
                <a:gd name="T11" fmla="*/ 16313 h 881"/>
                <a:gd name="T12" fmla="*/ 0 60000 65536"/>
                <a:gd name="T13" fmla="*/ 0 60000 65536"/>
                <a:gd name="T14" fmla="*/ 0 60000 65536"/>
                <a:gd name="T15" fmla="*/ 0 60000 65536"/>
                <a:gd name="T16" fmla="*/ 0 60000 65536"/>
                <a:gd name="T17" fmla="*/ 0 60000 65536"/>
                <a:gd name="T18" fmla="*/ 0 w 1009"/>
                <a:gd name="T19" fmla="*/ 0 h 881"/>
                <a:gd name="T20" fmla="*/ 1009 w 1009"/>
                <a:gd name="T21" fmla="*/ 881 h 881"/>
              </a:gdLst>
              <a:ahLst/>
              <a:cxnLst>
                <a:cxn ang="T12">
                  <a:pos x="T0" y="T1"/>
                </a:cxn>
                <a:cxn ang="T13">
                  <a:pos x="T2" y="T3"/>
                </a:cxn>
                <a:cxn ang="T14">
                  <a:pos x="T4" y="T5"/>
                </a:cxn>
                <a:cxn ang="T15">
                  <a:pos x="T6" y="T7"/>
                </a:cxn>
                <a:cxn ang="T16">
                  <a:pos x="T8" y="T9"/>
                </a:cxn>
                <a:cxn ang="T17">
                  <a:pos x="T10" y="T11"/>
                </a:cxn>
              </a:cxnLst>
              <a:rect l="T18" t="T19" r="T20" b="T21"/>
              <a:pathLst>
                <a:path w="1009" h="881">
                  <a:moveTo>
                    <a:pt x="184" y="880"/>
                  </a:moveTo>
                  <a:lnTo>
                    <a:pt x="840" y="880"/>
                  </a:lnTo>
                  <a:lnTo>
                    <a:pt x="1008" y="360"/>
                  </a:lnTo>
                  <a:lnTo>
                    <a:pt x="504" y="0"/>
                  </a:lnTo>
                  <a:lnTo>
                    <a:pt x="0" y="360"/>
                  </a:lnTo>
                  <a:lnTo>
                    <a:pt x="184" y="880"/>
                  </a:lnTo>
                </a:path>
              </a:pathLst>
            </a:custGeom>
            <a:solidFill>
              <a:schemeClr val="bg1"/>
            </a:solidFill>
            <a:ln w="28575" cap="rnd">
              <a:solidFill>
                <a:srgbClr val="575757"/>
              </a:solidFill>
              <a:round/>
              <a:headEnd/>
              <a:tailEnd/>
            </a:ln>
          </p:spPr>
          <p:txBody>
            <a:bodyPr lIns="0" tIns="0" rIns="0" bIns="0">
              <a:noAutofit/>
            </a:bodyPr>
            <a:lstStyle/>
            <a:p>
              <a:pPr defTabSz="685800">
                <a:buClrTx/>
                <a:defRPr/>
              </a:pPr>
              <a:endParaRPr lang="en-GB" sz="1350" kern="1200">
                <a:solidFill>
                  <a:prstClr val="black"/>
                </a:solidFill>
                <a:latin typeface="Arial" charset="0"/>
                <a:ea typeface="+mn-ea"/>
                <a:cs typeface="Arial" charset="0"/>
              </a:endParaRPr>
            </a:p>
          </p:txBody>
        </p:sp>
        <p:sp>
          <p:nvSpPr>
            <p:cNvPr id="26" name="Arc 6"/>
            <p:cNvSpPr>
              <a:spLocks/>
            </p:cNvSpPr>
            <p:nvPr/>
          </p:nvSpPr>
          <p:spPr bwMode="blackWhite">
            <a:xfrm>
              <a:off x="1292" y="928"/>
              <a:ext cx="3177" cy="3046"/>
            </a:xfrm>
            <a:custGeom>
              <a:avLst/>
              <a:gdLst>
                <a:gd name="T0" fmla="*/ 0 w 43200"/>
                <a:gd name="T1" fmla="*/ 0 h 40309"/>
                <a:gd name="T2" fmla="*/ 0 w 43200"/>
                <a:gd name="T3" fmla="*/ 0 h 40309"/>
                <a:gd name="T4" fmla="*/ 0 w 43200"/>
                <a:gd name="T5" fmla="*/ 0 h 40309"/>
                <a:gd name="T6" fmla="*/ 0 60000 65536"/>
                <a:gd name="T7" fmla="*/ 0 60000 65536"/>
                <a:gd name="T8" fmla="*/ 0 60000 65536"/>
                <a:gd name="T9" fmla="*/ 0 w 43200"/>
                <a:gd name="T10" fmla="*/ 0 h 40309"/>
                <a:gd name="T11" fmla="*/ 43200 w 43200"/>
                <a:gd name="T12" fmla="*/ 40309 h 40309"/>
              </a:gdLst>
              <a:ahLst/>
              <a:cxnLst>
                <a:cxn ang="T6">
                  <a:pos x="T0" y="T1"/>
                </a:cxn>
                <a:cxn ang="T7">
                  <a:pos x="T2" y="T3"/>
                </a:cxn>
                <a:cxn ang="T8">
                  <a:pos x="T4" y="T5"/>
                </a:cxn>
              </a:cxnLst>
              <a:rect l="T9" t="T10" r="T11" b="T12"/>
              <a:pathLst>
                <a:path w="43200" h="40309" fill="none" extrusionOk="0">
                  <a:moveTo>
                    <a:pt x="32395" y="-1"/>
                  </a:moveTo>
                  <a:cubicBezTo>
                    <a:pt x="39080" y="3857"/>
                    <a:pt x="43200" y="10990"/>
                    <a:pt x="43200" y="18709"/>
                  </a:cubicBezTo>
                  <a:cubicBezTo>
                    <a:pt x="43200" y="30638"/>
                    <a:pt x="33529" y="40309"/>
                    <a:pt x="21600" y="40309"/>
                  </a:cubicBezTo>
                  <a:cubicBezTo>
                    <a:pt x="9670" y="40309"/>
                    <a:pt x="0" y="30638"/>
                    <a:pt x="0" y="18709"/>
                  </a:cubicBezTo>
                  <a:cubicBezTo>
                    <a:pt x="-1" y="10995"/>
                    <a:pt x="4113" y="3866"/>
                    <a:pt x="10792" y="7"/>
                  </a:cubicBezTo>
                </a:path>
                <a:path w="43200" h="40309" stroke="0" extrusionOk="0">
                  <a:moveTo>
                    <a:pt x="32395" y="-1"/>
                  </a:moveTo>
                  <a:cubicBezTo>
                    <a:pt x="39080" y="3857"/>
                    <a:pt x="43200" y="10990"/>
                    <a:pt x="43200" y="18709"/>
                  </a:cubicBezTo>
                  <a:cubicBezTo>
                    <a:pt x="43200" y="30638"/>
                    <a:pt x="33529" y="40309"/>
                    <a:pt x="21600" y="40309"/>
                  </a:cubicBezTo>
                  <a:cubicBezTo>
                    <a:pt x="9670" y="40309"/>
                    <a:pt x="0" y="30638"/>
                    <a:pt x="0" y="18709"/>
                  </a:cubicBezTo>
                  <a:cubicBezTo>
                    <a:pt x="-1" y="10995"/>
                    <a:pt x="4113" y="3866"/>
                    <a:pt x="10792" y="7"/>
                  </a:cubicBezTo>
                  <a:lnTo>
                    <a:pt x="21600" y="18709"/>
                  </a:lnTo>
                  <a:close/>
                </a:path>
              </a:pathLst>
            </a:custGeom>
            <a:noFill/>
            <a:ln w="28575" cap="rnd">
              <a:solidFill>
                <a:srgbClr val="575757"/>
              </a:solidFill>
              <a:round/>
              <a:headEnd type="triangle" w="lg" len="lg"/>
              <a:tailEnd type="none" w="sm" len="sm"/>
            </a:ln>
          </p:spPr>
          <p:txBody>
            <a:bodyPr lIns="0" tIns="0" rIns="0" bIns="0">
              <a:noAutofit/>
            </a:bodyPr>
            <a:lstStyle/>
            <a:p>
              <a:pPr algn="ctr" defTabSz="685800">
                <a:buClrTx/>
                <a:defRPr/>
              </a:pPr>
              <a:endParaRPr lang="en-GB" sz="1350" kern="1200">
                <a:solidFill>
                  <a:prstClr val="black"/>
                </a:solidFill>
                <a:latin typeface="Arial" charset="0"/>
                <a:ea typeface="+mn-ea"/>
                <a:cs typeface="Arial" charset="0"/>
              </a:endParaRPr>
            </a:p>
          </p:txBody>
        </p:sp>
      </p:grpSp>
      <p:sp>
        <p:nvSpPr>
          <p:cNvPr id="760836" name="Title 1"/>
          <p:cNvSpPr>
            <a:spLocks noGrp="1"/>
          </p:cNvSpPr>
          <p:nvPr>
            <p:ph type="title"/>
            <p:custDataLst>
              <p:tags r:id="rId3"/>
            </p:custDataLst>
          </p:nvPr>
        </p:nvSpPr>
        <p:spPr/>
        <p:txBody>
          <a:bodyPr/>
          <a:lstStyle/>
          <a:p>
            <a:r>
              <a:rPr lang="en-US"/>
              <a:t>Pentagon</a:t>
            </a:r>
          </a:p>
        </p:txBody>
      </p:sp>
      <p:sp>
        <p:nvSpPr>
          <p:cNvPr id="47" name="Text Placeholder 12"/>
          <p:cNvSpPr>
            <a:spLocks/>
          </p:cNvSpPr>
          <p:nvPr>
            <p:custDataLst>
              <p:tags r:id="rId4"/>
            </p:custDataLst>
          </p:nvPr>
        </p:nvSpPr>
        <p:spPr bwMode="auto">
          <a:xfrm>
            <a:off x="1440657" y="1131570"/>
            <a:ext cx="1043555" cy="230832"/>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a:p>
            <a:pPr defTabSz="764381">
              <a:buClrTx/>
            </a:pPr>
            <a:endParaRPr lang="en-US" sz="750" b="1" kern="1200" dirty="0">
              <a:solidFill>
                <a:srgbClr val="313131"/>
              </a:solidFill>
              <a:ea typeface="+mn-ea"/>
              <a:cs typeface="+mn-cs"/>
            </a:endParaRPr>
          </a:p>
        </p:txBody>
      </p:sp>
      <p:sp>
        <p:nvSpPr>
          <p:cNvPr id="15" name="Oval 8"/>
          <p:cNvSpPr>
            <a:spLocks noChangeArrowheads="1"/>
          </p:cNvSpPr>
          <p:nvPr>
            <p:custDataLst>
              <p:tags r:id="rId5"/>
            </p:custDataLst>
          </p:nvPr>
        </p:nvSpPr>
        <p:spPr bwMode="blackWhite">
          <a:xfrm>
            <a:off x="3591838" y="3597682"/>
            <a:ext cx="323850" cy="323850"/>
          </a:xfrm>
          <a:prstGeom prst="ellipse">
            <a:avLst/>
          </a:prstGeom>
          <a:solidFill>
            <a:srgbClr val="B4B4B4"/>
          </a:solidFill>
          <a:ln w="12700">
            <a:solidFill>
              <a:schemeClr val="bg1"/>
            </a:solidFill>
            <a:round/>
            <a:headEnd/>
            <a:tailEnd/>
          </a:ln>
        </p:spPr>
        <p:txBody>
          <a:bodyPr lIns="27000" tIns="27000" rIns="27000" bIns="27000" anchor="ctr" anchorCtr="0"/>
          <a:lstStyle/>
          <a:p>
            <a:pPr algn="ctr" defTabSz="685800">
              <a:buClrTx/>
              <a:defRPr/>
            </a:pPr>
            <a:r>
              <a:rPr lang="en-US" sz="1050" kern="1200" dirty="0">
                <a:solidFill>
                  <a:srgbClr val="262626"/>
                </a:solidFill>
                <a:latin typeface="Arial" charset="0"/>
                <a:ea typeface="+mn-ea"/>
                <a:cs typeface="Arial" charset="0"/>
              </a:rPr>
              <a:t>3</a:t>
            </a:r>
          </a:p>
        </p:txBody>
      </p:sp>
      <p:sp>
        <p:nvSpPr>
          <p:cNvPr id="19" name="Rectangle 7"/>
          <p:cNvSpPr>
            <a:spLocks noChangeArrowheads="1"/>
          </p:cNvSpPr>
          <p:nvPr>
            <p:custDataLst>
              <p:tags r:id="rId6"/>
            </p:custDataLst>
          </p:nvPr>
        </p:nvSpPr>
        <p:spPr bwMode="blackWhite">
          <a:xfrm>
            <a:off x="3798681" y="2756176"/>
            <a:ext cx="1506823" cy="153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0">
            <a:spAutoFit/>
          </a:bodyPr>
          <a:lstStyle/>
          <a:p>
            <a:pPr algn="ctr" defTabSz="615554">
              <a:lnSpc>
                <a:spcPct val="95000"/>
              </a:lnSpc>
              <a:spcAft>
                <a:spcPct val="37000"/>
              </a:spcAft>
              <a:buClrTx/>
            </a:pPr>
            <a:r>
              <a:rPr lang="en-US" sz="1050" kern="1200" dirty="0">
                <a:solidFill>
                  <a:srgbClr val="313131"/>
                </a:solidFill>
                <a:ea typeface="MS PGothic" pitchFamily="34" charset="-128"/>
                <a:cs typeface="+mn-cs"/>
              </a:rPr>
              <a:t>Restructuring framework </a:t>
            </a:r>
          </a:p>
        </p:txBody>
      </p:sp>
      <p:sp>
        <p:nvSpPr>
          <p:cNvPr id="20" name="Oval 8"/>
          <p:cNvSpPr>
            <a:spLocks noChangeArrowheads="1"/>
          </p:cNvSpPr>
          <p:nvPr>
            <p:custDataLst>
              <p:tags r:id="rId7"/>
            </p:custDataLst>
          </p:nvPr>
        </p:nvSpPr>
        <p:spPr bwMode="blackWhite">
          <a:xfrm>
            <a:off x="4388976" y="1597819"/>
            <a:ext cx="323850" cy="323850"/>
          </a:xfrm>
          <a:prstGeom prst="ellipse">
            <a:avLst/>
          </a:prstGeom>
          <a:solidFill>
            <a:srgbClr val="00A1DE"/>
          </a:solidFill>
          <a:ln w="12700">
            <a:solidFill>
              <a:schemeClr val="bg1"/>
            </a:solidFill>
            <a:round/>
            <a:headEnd/>
            <a:tailEnd/>
          </a:ln>
        </p:spPr>
        <p:txBody>
          <a:bodyPr lIns="27000" tIns="27000" rIns="27000" bIns="27000" anchor="ctr" anchorCtr="0"/>
          <a:lstStyle/>
          <a:p>
            <a:pPr algn="ctr" defTabSz="685800">
              <a:buClrTx/>
              <a:defRPr/>
            </a:pPr>
            <a:r>
              <a:rPr lang="en-US" sz="1050" kern="1200" dirty="0">
                <a:solidFill>
                  <a:prstClr val="white"/>
                </a:solidFill>
                <a:latin typeface="Arial" charset="0"/>
                <a:ea typeface="+mn-ea"/>
                <a:cs typeface="Arial" charset="0"/>
              </a:rPr>
              <a:t>1</a:t>
            </a:r>
          </a:p>
        </p:txBody>
      </p:sp>
      <p:sp>
        <p:nvSpPr>
          <p:cNvPr id="21" name="Oval 8"/>
          <p:cNvSpPr>
            <a:spLocks noChangeArrowheads="1"/>
          </p:cNvSpPr>
          <p:nvPr>
            <p:custDataLst>
              <p:tags r:id="rId8"/>
            </p:custDataLst>
          </p:nvPr>
        </p:nvSpPr>
        <p:spPr bwMode="blackWhite">
          <a:xfrm>
            <a:off x="3224545" y="2363391"/>
            <a:ext cx="325041" cy="323850"/>
          </a:xfrm>
          <a:prstGeom prst="ellipse">
            <a:avLst/>
          </a:prstGeom>
          <a:solidFill>
            <a:srgbClr val="DCDCDC"/>
          </a:solidFill>
          <a:ln w="12700">
            <a:solidFill>
              <a:schemeClr val="bg1"/>
            </a:solidFill>
            <a:round/>
            <a:headEnd/>
            <a:tailEnd/>
          </a:ln>
        </p:spPr>
        <p:txBody>
          <a:bodyPr lIns="27000" tIns="27000" rIns="27000" bIns="27000" anchor="ctr" anchorCtr="0"/>
          <a:lstStyle/>
          <a:p>
            <a:pPr algn="ctr" defTabSz="685800">
              <a:buClrTx/>
              <a:defRPr/>
            </a:pPr>
            <a:r>
              <a:rPr lang="en-US" sz="1050" kern="1200">
                <a:solidFill>
                  <a:srgbClr val="262626"/>
                </a:solidFill>
                <a:latin typeface="Arial" charset="0"/>
                <a:ea typeface="+mn-ea"/>
                <a:cs typeface="Arial" charset="0"/>
              </a:rPr>
              <a:t>2</a:t>
            </a:r>
            <a:endParaRPr lang="en-US" sz="1050" kern="1200" dirty="0">
              <a:solidFill>
                <a:srgbClr val="262626"/>
              </a:solidFill>
              <a:latin typeface="Arial" charset="0"/>
              <a:ea typeface="+mn-ea"/>
              <a:cs typeface="Arial" charset="0"/>
            </a:endParaRPr>
          </a:p>
        </p:txBody>
      </p:sp>
      <p:sp>
        <p:nvSpPr>
          <p:cNvPr id="22" name="Oval 8"/>
          <p:cNvSpPr>
            <a:spLocks noChangeArrowheads="1"/>
          </p:cNvSpPr>
          <p:nvPr>
            <p:custDataLst>
              <p:tags r:id="rId9"/>
            </p:custDataLst>
          </p:nvPr>
        </p:nvSpPr>
        <p:spPr bwMode="blackWhite">
          <a:xfrm>
            <a:off x="5234096" y="3597682"/>
            <a:ext cx="325041" cy="323850"/>
          </a:xfrm>
          <a:prstGeom prst="ellipse">
            <a:avLst/>
          </a:prstGeom>
          <a:solidFill>
            <a:srgbClr val="8C8C8C"/>
          </a:solidFill>
          <a:ln w="12700">
            <a:solidFill>
              <a:schemeClr val="bg1"/>
            </a:solidFill>
            <a:round/>
            <a:headEnd/>
            <a:tailEnd/>
          </a:ln>
        </p:spPr>
        <p:txBody>
          <a:bodyPr lIns="27000" tIns="27000" rIns="27000" bIns="27000" anchor="ctr" anchorCtr="0"/>
          <a:lstStyle/>
          <a:p>
            <a:pPr algn="ctr" defTabSz="685800">
              <a:buClrTx/>
              <a:defRPr/>
            </a:pPr>
            <a:r>
              <a:rPr lang="en-US" sz="1050" kern="1200" dirty="0">
                <a:solidFill>
                  <a:prstClr val="white"/>
                </a:solidFill>
                <a:latin typeface="Arial" charset="0"/>
                <a:ea typeface="+mn-ea"/>
                <a:cs typeface="Arial" charset="0"/>
              </a:rPr>
              <a:t>4</a:t>
            </a:r>
          </a:p>
        </p:txBody>
      </p:sp>
      <p:sp>
        <p:nvSpPr>
          <p:cNvPr id="23" name="Oval 8"/>
          <p:cNvSpPr>
            <a:spLocks noChangeArrowheads="1"/>
          </p:cNvSpPr>
          <p:nvPr>
            <p:custDataLst>
              <p:tags r:id="rId10"/>
            </p:custDataLst>
          </p:nvPr>
        </p:nvSpPr>
        <p:spPr bwMode="blackWhite">
          <a:xfrm>
            <a:off x="5593889" y="2363391"/>
            <a:ext cx="323850" cy="323850"/>
          </a:xfrm>
          <a:prstGeom prst="ellipse">
            <a:avLst/>
          </a:prstGeom>
          <a:solidFill>
            <a:srgbClr val="575757"/>
          </a:solidFill>
          <a:ln w="12700">
            <a:solidFill>
              <a:schemeClr val="bg1"/>
            </a:solidFill>
            <a:round/>
            <a:headEnd/>
            <a:tailEnd/>
          </a:ln>
        </p:spPr>
        <p:txBody>
          <a:bodyPr lIns="27000" tIns="27000" rIns="27000" bIns="27000" anchor="ctr" anchorCtr="0"/>
          <a:lstStyle/>
          <a:p>
            <a:pPr algn="ctr" defTabSz="685800">
              <a:buClrTx/>
              <a:defRPr/>
            </a:pPr>
            <a:r>
              <a:rPr lang="en-US" sz="1050" kern="1200" dirty="0">
                <a:solidFill>
                  <a:prstClr val="white"/>
                </a:solidFill>
                <a:latin typeface="Arial" charset="0"/>
                <a:ea typeface="+mn-ea"/>
                <a:cs typeface="Arial" charset="0"/>
              </a:rPr>
              <a:t>5</a:t>
            </a:r>
          </a:p>
        </p:txBody>
      </p:sp>
    </p:spTree>
  </p:cSld>
  <p:clrMapOvr>
    <a:masterClrMapping/>
  </p:clrMapOvr>
  <p:transition>
    <p:fade/>
  </p:transition>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1073" name="Title 1"/>
          <p:cNvSpPr>
            <a:spLocks noGrp="1"/>
          </p:cNvSpPr>
          <p:nvPr>
            <p:ph type="title"/>
          </p:nvPr>
        </p:nvSpPr>
        <p:spPr/>
        <p:txBody>
          <a:bodyPr/>
          <a:lstStyle/>
          <a:p>
            <a:r>
              <a:rPr lang="en-US" altLang="ja-JP"/>
              <a:t>Strategic disciplines</a:t>
            </a:r>
            <a:endParaRPr lang="en-US"/>
          </a:p>
        </p:txBody>
      </p:sp>
      <p:sp>
        <p:nvSpPr>
          <p:cNvPr id="14"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
        <p:nvSpPr>
          <p:cNvPr id="15" name="Oval 3"/>
          <p:cNvSpPr>
            <a:spLocks noChangeAspect="1" noChangeArrowheads="1"/>
          </p:cNvSpPr>
          <p:nvPr/>
        </p:nvSpPr>
        <p:spPr bwMode="auto">
          <a:xfrm>
            <a:off x="3094020" y="1690687"/>
            <a:ext cx="2959894" cy="2757488"/>
          </a:xfrm>
          <a:prstGeom prst="ellipse">
            <a:avLst/>
          </a:prstGeom>
          <a:solidFill>
            <a:schemeClr val="bg1"/>
          </a:solidFill>
          <a:ln w="19050">
            <a:solidFill>
              <a:srgbClr val="B4B4B4"/>
            </a:solidFill>
            <a:round/>
            <a:headEnd/>
            <a:tailEnd/>
          </a:ln>
        </p:spPr>
        <p:txBody>
          <a:bodyPr wrap="square" lIns="27000" tIns="27000" rIns="27000" bIns="27000" anchor="ctr"/>
          <a:lstStyle/>
          <a:p>
            <a:pPr algn="ctr" defTabSz="685800">
              <a:spcBef>
                <a:spcPct val="0"/>
              </a:spcBef>
              <a:buClrTx/>
            </a:pPr>
            <a:endParaRPr lang="en-US" sz="1050" kern="1200">
              <a:solidFill>
                <a:prstClr val="white"/>
              </a:solidFill>
              <a:ea typeface="+mn-ea"/>
              <a:cs typeface="+mn-cs"/>
            </a:endParaRPr>
          </a:p>
        </p:txBody>
      </p:sp>
      <p:sp>
        <p:nvSpPr>
          <p:cNvPr id="16" name="Rectangle 4"/>
          <p:cNvSpPr>
            <a:spLocks noChangeAspect="1" noChangeArrowheads="1"/>
          </p:cNvSpPr>
          <p:nvPr/>
        </p:nvSpPr>
        <p:spPr bwMode="auto">
          <a:xfrm>
            <a:off x="2332020" y="4074319"/>
            <a:ext cx="1721644" cy="208360"/>
          </a:xfrm>
          <a:prstGeom prst="rect">
            <a:avLst/>
          </a:prstGeom>
          <a:solidFill>
            <a:srgbClr val="8C8C8C"/>
          </a:solidFill>
          <a:ln w="12700" algn="ctr">
            <a:solidFill>
              <a:schemeClr val="bg1"/>
            </a:solidFill>
            <a:miter lim="800000"/>
            <a:headEnd/>
            <a:tailEnd/>
          </a:ln>
        </p:spPr>
        <p:txBody>
          <a:bodyPr wrap="square" lIns="27000" tIns="27000" rIns="27000" bIns="27000" anchor="ctr"/>
          <a:lstStyle/>
          <a:p>
            <a:pPr algn="ctr" defTabSz="685800">
              <a:spcBef>
                <a:spcPct val="0"/>
              </a:spcBef>
              <a:buClrTx/>
            </a:pPr>
            <a:r>
              <a:rPr lang="en-US" altLang="ja-JP" sz="1050" kern="1200">
                <a:solidFill>
                  <a:prstClr val="white"/>
                </a:solidFill>
                <a:ea typeface="ＭＳ Ｐゴシック" pitchFamily="50" charset="-128"/>
                <a:cs typeface="+mn-cs"/>
              </a:rPr>
              <a:t>Text</a:t>
            </a:r>
          </a:p>
        </p:txBody>
      </p:sp>
      <p:sp>
        <p:nvSpPr>
          <p:cNvPr id="17" name="Rectangle 5"/>
          <p:cNvSpPr>
            <a:spLocks noChangeAspect="1" noChangeArrowheads="1"/>
          </p:cNvSpPr>
          <p:nvPr/>
        </p:nvSpPr>
        <p:spPr bwMode="auto">
          <a:xfrm>
            <a:off x="4920438" y="4074319"/>
            <a:ext cx="1721644" cy="208360"/>
          </a:xfrm>
          <a:prstGeom prst="rect">
            <a:avLst/>
          </a:prstGeom>
          <a:solidFill>
            <a:srgbClr val="B4B4B4"/>
          </a:solidFill>
          <a:ln w="12700" algn="ctr">
            <a:solidFill>
              <a:schemeClr val="bg1"/>
            </a:solidFill>
            <a:miter lim="800000"/>
            <a:headEnd/>
            <a:tailEnd/>
          </a:ln>
        </p:spPr>
        <p:txBody>
          <a:bodyPr wrap="square" lIns="27000" tIns="27000" rIns="27000" bIns="27000" anchor="ctr"/>
          <a:lstStyle/>
          <a:p>
            <a:pPr algn="ctr" defTabSz="685800">
              <a:spcBef>
                <a:spcPct val="0"/>
              </a:spcBef>
              <a:buClrTx/>
            </a:pPr>
            <a:r>
              <a:rPr lang="en-US" altLang="ja-JP"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
        <p:nvSpPr>
          <p:cNvPr id="18" name="Line 6"/>
          <p:cNvSpPr>
            <a:spLocks noChangeAspect="1" noChangeShapeType="1"/>
          </p:cNvSpPr>
          <p:nvPr/>
        </p:nvSpPr>
        <p:spPr bwMode="auto">
          <a:xfrm>
            <a:off x="4566823" y="1684487"/>
            <a:ext cx="0" cy="1351360"/>
          </a:xfrm>
          <a:prstGeom prst="line">
            <a:avLst/>
          </a:prstGeom>
          <a:noFill/>
          <a:ln w="38100">
            <a:solidFill>
              <a:srgbClr val="8C8C8C"/>
            </a:solidFill>
            <a:round/>
            <a:headEnd type="triangle" w="med" len="med"/>
            <a:tailEnd/>
          </a:ln>
        </p:spPr>
        <p:txBody>
          <a:bodyPr wrap="square" lIns="27000" tIns="27000" rIns="27000" bIns="27000" anchor="ctr"/>
          <a:lstStyle/>
          <a:p>
            <a:pPr defTabSz="685800">
              <a:buClrTx/>
            </a:pPr>
            <a:endParaRPr lang="en-US" sz="1350" kern="1200">
              <a:solidFill>
                <a:prstClr val="white"/>
              </a:solidFill>
              <a:ea typeface="+mn-ea"/>
              <a:cs typeface="+mn-cs"/>
            </a:endParaRPr>
          </a:p>
        </p:txBody>
      </p:sp>
      <p:sp>
        <p:nvSpPr>
          <p:cNvPr id="19" name="Line 7"/>
          <p:cNvSpPr>
            <a:spLocks noChangeAspect="1" noChangeShapeType="1"/>
          </p:cNvSpPr>
          <p:nvPr/>
        </p:nvSpPr>
        <p:spPr bwMode="auto">
          <a:xfrm flipH="1">
            <a:off x="3554073" y="3113708"/>
            <a:ext cx="1015603" cy="947738"/>
          </a:xfrm>
          <a:prstGeom prst="line">
            <a:avLst/>
          </a:prstGeom>
          <a:noFill/>
          <a:ln w="38100">
            <a:solidFill>
              <a:srgbClr val="8C8C8C"/>
            </a:solidFill>
            <a:round/>
            <a:headEnd/>
            <a:tailEnd type="triangle" w="med" len="med"/>
          </a:ln>
        </p:spPr>
        <p:txBody>
          <a:bodyPr wrap="square" lIns="27000" tIns="27000" rIns="27000" bIns="27000" anchor="ctr"/>
          <a:lstStyle/>
          <a:p>
            <a:pPr defTabSz="685800">
              <a:buClrTx/>
            </a:pPr>
            <a:endParaRPr lang="en-US" sz="1350" kern="1200">
              <a:solidFill>
                <a:prstClr val="white"/>
              </a:solidFill>
              <a:ea typeface="+mn-ea"/>
              <a:cs typeface="+mn-cs"/>
            </a:endParaRPr>
          </a:p>
        </p:txBody>
      </p:sp>
      <p:sp>
        <p:nvSpPr>
          <p:cNvPr id="20" name="Line 8"/>
          <p:cNvSpPr>
            <a:spLocks noChangeAspect="1" noChangeShapeType="1"/>
          </p:cNvSpPr>
          <p:nvPr/>
        </p:nvSpPr>
        <p:spPr bwMode="auto">
          <a:xfrm>
            <a:off x="4641584" y="3113708"/>
            <a:ext cx="947738" cy="947738"/>
          </a:xfrm>
          <a:prstGeom prst="line">
            <a:avLst/>
          </a:prstGeom>
          <a:noFill/>
          <a:ln w="38100">
            <a:solidFill>
              <a:srgbClr val="8C8C8C"/>
            </a:solidFill>
            <a:round/>
            <a:headEnd/>
            <a:tailEnd type="triangle" w="med" len="med"/>
          </a:ln>
        </p:spPr>
        <p:txBody>
          <a:bodyPr wrap="square" lIns="27000" tIns="27000" rIns="27000" bIns="27000" anchor="ctr"/>
          <a:lstStyle/>
          <a:p>
            <a:pPr defTabSz="685800">
              <a:buClrTx/>
            </a:pPr>
            <a:endParaRPr lang="en-US" sz="1350" kern="1200">
              <a:solidFill>
                <a:prstClr val="white"/>
              </a:solidFill>
              <a:ea typeface="+mn-ea"/>
              <a:cs typeface="+mn-cs"/>
            </a:endParaRPr>
          </a:p>
        </p:txBody>
      </p:sp>
      <p:sp>
        <p:nvSpPr>
          <p:cNvPr id="21" name="Rectangle 9"/>
          <p:cNvSpPr>
            <a:spLocks noChangeAspect="1" noChangeArrowheads="1"/>
          </p:cNvSpPr>
          <p:nvPr/>
        </p:nvSpPr>
        <p:spPr bwMode="auto">
          <a:xfrm>
            <a:off x="3689332" y="1381125"/>
            <a:ext cx="1721644" cy="208360"/>
          </a:xfrm>
          <a:prstGeom prst="rect">
            <a:avLst/>
          </a:prstGeom>
          <a:solidFill>
            <a:srgbClr val="DCDCDC"/>
          </a:solidFill>
          <a:ln w="12700" algn="ctr">
            <a:solidFill>
              <a:schemeClr val="bg1"/>
            </a:solidFill>
            <a:miter lim="800000"/>
            <a:headEnd/>
            <a:tailEnd/>
          </a:ln>
        </p:spPr>
        <p:txBody>
          <a:bodyPr wrap="square" lIns="27000" tIns="27000" rIns="27000" bIns="27000" anchor="ctr"/>
          <a:lstStyle/>
          <a:p>
            <a:pPr algn="ctr" defTabSz="685800">
              <a:spcBef>
                <a:spcPct val="0"/>
              </a:spcBef>
              <a:buClrTx/>
            </a:pPr>
            <a:r>
              <a:rPr lang="en-US" altLang="ja-JP" sz="1050" kern="1200">
                <a:solidFill>
                  <a:srgbClr val="313131"/>
                </a:solidFill>
                <a:ea typeface="ＭＳ Ｐゴシック" pitchFamily="50" charset="-128"/>
                <a:cs typeface="+mn-cs"/>
              </a:rPr>
              <a:t>Text</a:t>
            </a:r>
          </a:p>
        </p:txBody>
      </p:sp>
      <p:sp>
        <p:nvSpPr>
          <p:cNvPr id="22" name="Oval 10"/>
          <p:cNvSpPr>
            <a:spLocks noChangeAspect="1" noChangeArrowheads="1"/>
          </p:cNvSpPr>
          <p:nvPr/>
        </p:nvSpPr>
        <p:spPr bwMode="auto">
          <a:xfrm>
            <a:off x="4489432" y="2993231"/>
            <a:ext cx="151210" cy="153591"/>
          </a:xfrm>
          <a:prstGeom prst="ellipse">
            <a:avLst/>
          </a:prstGeom>
          <a:solidFill>
            <a:schemeClr val="accent3"/>
          </a:solidFill>
          <a:ln w="12700">
            <a:solidFill>
              <a:schemeClr val="tx1"/>
            </a:solidFill>
            <a:round/>
            <a:headEnd/>
            <a:tailEnd/>
          </a:ln>
        </p:spPr>
        <p:txBody>
          <a:bodyPr wrap="square" lIns="27000" tIns="27000" rIns="27000" bIns="27000" anchor="ctr"/>
          <a:lstStyle/>
          <a:p>
            <a:pPr algn="ctr" defTabSz="685800">
              <a:spcBef>
                <a:spcPct val="0"/>
              </a:spcBef>
              <a:buClrTx/>
            </a:pPr>
            <a:r>
              <a:rPr lang="en-US" altLang="ja-JP" sz="1050" b="1" kern="1200" dirty="0">
                <a:solidFill>
                  <a:prstClr val="white"/>
                </a:solidFill>
                <a:ea typeface="ＭＳ Ｐゴシック" pitchFamily="50" charset="-128"/>
                <a:cs typeface="+mn-cs"/>
              </a:rPr>
              <a:t>Text</a:t>
            </a:r>
          </a:p>
        </p:txBody>
      </p:sp>
      <p:sp>
        <p:nvSpPr>
          <p:cNvPr id="23" name="Oval 11"/>
          <p:cNvSpPr>
            <a:spLocks noChangeArrowheads="1"/>
          </p:cNvSpPr>
          <p:nvPr/>
        </p:nvSpPr>
        <p:spPr bwMode="auto">
          <a:xfrm>
            <a:off x="3894119" y="2390775"/>
            <a:ext cx="1350000" cy="1350000"/>
          </a:xfrm>
          <a:prstGeom prst="ellipse">
            <a:avLst/>
          </a:prstGeom>
          <a:solidFill>
            <a:srgbClr val="00A1DE"/>
          </a:solidFill>
          <a:ln w="12700">
            <a:solidFill>
              <a:schemeClr val="bg1"/>
            </a:solidFill>
            <a:prstDash val="sysDot"/>
            <a:round/>
            <a:headEnd/>
            <a:tailEnd/>
          </a:ln>
        </p:spPr>
        <p:txBody>
          <a:bodyPr wrap="square" lIns="27000" tIns="27000" rIns="27000" bIns="27000" anchor="ctr"/>
          <a:lstStyle/>
          <a:p>
            <a:pPr algn="ctr" defTabSz="685800">
              <a:spcBef>
                <a:spcPct val="0"/>
              </a:spcBef>
              <a:buClrTx/>
            </a:pPr>
            <a:r>
              <a:rPr lang="en-US" altLang="ja-JP" sz="1050" kern="1200" dirty="0">
                <a:solidFill>
                  <a:prstClr val="white"/>
                </a:solidFill>
                <a:ea typeface="ＭＳ Ｐゴシック" pitchFamily="50" charset="-128"/>
                <a:cs typeface="+mn-cs"/>
              </a:rPr>
              <a:t>Text</a:t>
            </a:r>
          </a:p>
        </p:txBody>
      </p:sp>
    </p:spTree>
  </p:cSld>
  <p:clrMapOvr>
    <a:masterClrMapping/>
  </p:clrMapOvr>
  <p:transition>
    <p:fade/>
  </p:transition>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2097" name="Title 1"/>
          <p:cNvSpPr>
            <a:spLocks noGrp="1"/>
          </p:cNvSpPr>
          <p:nvPr>
            <p:ph type="title"/>
          </p:nvPr>
        </p:nvSpPr>
        <p:spPr/>
        <p:txBody>
          <a:bodyPr/>
          <a:lstStyle/>
          <a:p>
            <a:r>
              <a:rPr lang="en-US"/>
              <a:t>7S</a:t>
            </a:r>
          </a:p>
        </p:txBody>
      </p:sp>
      <p:sp>
        <p:nvSpPr>
          <p:cNvPr id="49" name="Line 27"/>
          <p:cNvSpPr>
            <a:spLocks noChangeShapeType="1"/>
          </p:cNvSpPr>
          <p:nvPr/>
        </p:nvSpPr>
        <p:spPr bwMode="blackWhite">
          <a:xfrm>
            <a:off x="4570810" y="1514475"/>
            <a:ext cx="1038225" cy="1857375"/>
          </a:xfrm>
          <a:prstGeom prst="line">
            <a:avLst/>
          </a:prstGeom>
          <a:noFill/>
          <a:ln w="28575">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white"/>
              </a:solidFill>
              <a:ea typeface="+mn-ea"/>
              <a:cs typeface="+mn-cs"/>
            </a:endParaRPr>
          </a:p>
        </p:txBody>
      </p:sp>
      <p:sp>
        <p:nvSpPr>
          <p:cNvPr id="50" name="Line 28"/>
          <p:cNvSpPr>
            <a:spLocks noChangeShapeType="1"/>
          </p:cNvSpPr>
          <p:nvPr/>
        </p:nvSpPr>
        <p:spPr bwMode="blackWhite">
          <a:xfrm flipH="1">
            <a:off x="3511154" y="1514475"/>
            <a:ext cx="1039416" cy="1857375"/>
          </a:xfrm>
          <a:prstGeom prst="line">
            <a:avLst/>
          </a:prstGeom>
          <a:noFill/>
          <a:ln w="28575">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white"/>
              </a:solidFill>
              <a:ea typeface="+mn-ea"/>
              <a:cs typeface="+mn-cs"/>
            </a:endParaRPr>
          </a:p>
        </p:txBody>
      </p:sp>
      <p:sp>
        <p:nvSpPr>
          <p:cNvPr id="51" name="Line 29"/>
          <p:cNvSpPr>
            <a:spLocks noChangeShapeType="1"/>
          </p:cNvSpPr>
          <p:nvPr/>
        </p:nvSpPr>
        <p:spPr bwMode="blackWhite">
          <a:xfrm>
            <a:off x="3502820" y="2194322"/>
            <a:ext cx="1037034" cy="1857375"/>
          </a:xfrm>
          <a:prstGeom prst="line">
            <a:avLst/>
          </a:prstGeom>
          <a:noFill/>
          <a:ln w="28575">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white"/>
              </a:solidFill>
              <a:ea typeface="+mn-ea"/>
              <a:cs typeface="+mn-cs"/>
            </a:endParaRPr>
          </a:p>
        </p:txBody>
      </p:sp>
      <p:sp>
        <p:nvSpPr>
          <p:cNvPr id="52" name="Line 30"/>
          <p:cNvSpPr>
            <a:spLocks noChangeShapeType="1"/>
          </p:cNvSpPr>
          <p:nvPr/>
        </p:nvSpPr>
        <p:spPr bwMode="blackWhite">
          <a:xfrm flipH="1">
            <a:off x="4589860" y="2194322"/>
            <a:ext cx="1039416" cy="1857375"/>
          </a:xfrm>
          <a:prstGeom prst="line">
            <a:avLst/>
          </a:prstGeom>
          <a:noFill/>
          <a:ln w="28575">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white"/>
              </a:solidFill>
              <a:ea typeface="+mn-ea"/>
              <a:cs typeface="+mn-cs"/>
            </a:endParaRPr>
          </a:p>
        </p:txBody>
      </p:sp>
      <p:sp>
        <p:nvSpPr>
          <p:cNvPr id="53" name="Line 31"/>
          <p:cNvSpPr>
            <a:spLocks noChangeShapeType="1"/>
          </p:cNvSpPr>
          <p:nvPr/>
        </p:nvSpPr>
        <p:spPr bwMode="blackWhite">
          <a:xfrm>
            <a:off x="5647135" y="2169319"/>
            <a:ext cx="0" cy="1041797"/>
          </a:xfrm>
          <a:prstGeom prst="line">
            <a:avLst/>
          </a:prstGeom>
          <a:noFill/>
          <a:ln w="28575">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white"/>
              </a:solidFill>
              <a:ea typeface="+mn-ea"/>
              <a:cs typeface="+mn-cs"/>
            </a:endParaRPr>
          </a:p>
        </p:txBody>
      </p:sp>
      <p:sp>
        <p:nvSpPr>
          <p:cNvPr id="54" name="Line 32"/>
          <p:cNvSpPr>
            <a:spLocks noChangeShapeType="1"/>
          </p:cNvSpPr>
          <p:nvPr/>
        </p:nvSpPr>
        <p:spPr bwMode="blackWhite">
          <a:xfrm>
            <a:off x="3475435" y="2169319"/>
            <a:ext cx="0" cy="1041797"/>
          </a:xfrm>
          <a:prstGeom prst="line">
            <a:avLst/>
          </a:prstGeom>
          <a:noFill/>
          <a:ln w="28575">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white"/>
              </a:solidFill>
              <a:ea typeface="+mn-ea"/>
              <a:cs typeface="+mn-cs"/>
            </a:endParaRPr>
          </a:p>
        </p:txBody>
      </p:sp>
      <p:sp>
        <p:nvSpPr>
          <p:cNvPr id="55" name="Line 33"/>
          <p:cNvSpPr>
            <a:spLocks noChangeShapeType="1"/>
          </p:cNvSpPr>
          <p:nvPr/>
        </p:nvSpPr>
        <p:spPr bwMode="blackWhite">
          <a:xfrm rot="16200000" flipH="1" flipV="1">
            <a:off x="3701059" y="1301949"/>
            <a:ext cx="648890" cy="1042988"/>
          </a:xfrm>
          <a:prstGeom prst="line">
            <a:avLst/>
          </a:prstGeom>
          <a:noFill/>
          <a:ln w="28575">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white"/>
              </a:solidFill>
              <a:ea typeface="+mn-ea"/>
              <a:cs typeface="+mn-cs"/>
            </a:endParaRPr>
          </a:p>
        </p:txBody>
      </p:sp>
      <p:sp>
        <p:nvSpPr>
          <p:cNvPr id="56" name="Line 34"/>
          <p:cNvSpPr>
            <a:spLocks noChangeShapeType="1"/>
          </p:cNvSpPr>
          <p:nvPr/>
        </p:nvSpPr>
        <p:spPr bwMode="blackWhite">
          <a:xfrm rot="5400000" flipV="1">
            <a:off x="4764883" y="1302544"/>
            <a:ext cx="648890" cy="1041797"/>
          </a:xfrm>
          <a:prstGeom prst="line">
            <a:avLst/>
          </a:prstGeom>
          <a:noFill/>
          <a:ln w="28575">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white"/>
              </a:solidFill>
              <a:ea typeface="+mn-ea"/>
              <a:cs typeface="+mn-cs"/>
            </a:endParaRPr>
          </a:p>
        </p:txBody>
      </p:sp>
      <p:sp>
        <p:nvSpPr>
          <p:cNvPr id="57" name="Line 35"/>
          <p:cNvSpPr>
            <a:spLocks noChangeShapeType="1"/>
          </p:cNvSpPr>
          <p:nvPr/>
        </p:nvSpPr>
        <p:spPr bwMode="blackWhite">
          <a:xfrm rot="5400000" flipH="1">
            <a:off x="3701059" y="3233143"/>
            <a:ext cx="648890" cy="1042988"/>
          </a:xfrm>
          <a:prstGeom prst="line">
            <a:avLst/>
          </a:prstGeom>
          <a:noFill/>
          <a:ln w="28575">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white"/>
              </a:solidFill>
              <a:ea typeface="+mn-ea"/>
              <a:cs typeface="+mn-cs"/>
            </a:endParaRPr>
          </a:p>
        </p:txBody>
      </p:sp>
      <p:sp>
        <p:nvSpPr>
          <p:cNvPr id="58" name="Line 36"/>
          <p:cNvSpPr>
            <a:spLocks noChangeShapeType="1"/>
          </p:cNvSpPr>
          <p:nvPr/>
        </p:nvSpPr>
        <p:spPr bwMode="blackWhite">
          <a:xfrm rot="16200000">
            <a:off x="4764883" y="3233738"/>
            <a:ext cx="648890" cy="1041797"/>
          </a:xfrm>
          <a:prstGeom prst="line">
            <a:avLst/>
          </a:prstGeom>
          <a:noFill/>
          <a:ln w="28575">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white"/>
              </a:solidFill>
              <a:ea typeface="+mn-ea"/>
              <a:cs typeface="+mn-cs"/>
            </a:endParaRPr>
          </a:p>
        </p:txBody>
      </p:sp>
      <p:sp>
        <p:nvSpPr>
          <p:cNvPr id="59" name="Line 37"/>
          <p:cNvSpPr>
            <a:spLocks noChangeShapeType="1"/>
          </p:cNvSpPr>
          <p:nvPr/>
        </p:nvSpPr>
        <p:spPr bwMode="blackWhite">
          <a:xfrm rot="16200000">
            <a:off x="3934421" y="1731765"/>
            <a:ext cx="1260872" cy="2107406"/>
          </a:xfrm>
          <a:prstGeom prst="line">
            <a:avLst/>
          </a:prstGeom>
          <a:noFill/>
          <a:ln w="28575">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white"/>
              </a:solidFill>
              <a:ea typeface="+mn-ea"/>
              <a:cs typeface="+mn-cs"/>
            </a:endParaRPr>
          </a:p>
        </p:txBody>
      </p:sp>
      <p:sp>
        <p:nvSpPr>
          <p:cNvPr id="60" name="Line 38"/>
          <p:cNvSpPr>
            <a:spLocks noChangeShapeType="1"/>
          </p:cNvSpPr>
          <p:nvPr/>
        </p:nvSpPr>
        <p:spPr bwMode="blackWhite">
          <a:xfrm rot="5400000" flipH="1">
            <a:off x="3923705" y="1706761"/>
            <a:ext cx="1268016" cy="2164556"/>
          </a:xfrm>
          <a:prstGeom prst="line">
            <a:avLst/>
          </a:prstGeom>
          <a:noFill/>
          <a:ln w="28575">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white"/>
              </a:solidFill>
              <a:ea typeface="+mn-ea"/>
              <a:cs typeface="+mn-cs"/>
            </a:endParaRPr>
          </a:p>
        </p:txBody>
      </p:sp>
      <p:sp>
        <p:nvSpPr>
          <p:cNvPr id="61" name="Line 39"/>
          <p:cNvSpPr>
            <a:spLocks noChangeShapeType="1"/>
          </p:cNvSpPr>
          <p:nvPr/>
        </p:nvSpPr>
        <p:spPr bwMode="blackWhite">
          <a:xfrm>
            <a:off x="4568429" y="1833563"/>
            <a:ext cx="0" cy="2084785"/>
          </a:xfrm>
          <a:prstGeom prst="line">
            <a:avLst/>
          </a:prstGeom>
          <a:noFill/>
          <a:ln w="28575">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white"/>
              </a:solidFill>
              <a:ea typeface="+mn-ea"/>
              <a:cs typeface="+mn-cs"/>
            </a:endParaRPr>
          </a:p>
        </p:txBody>
      </p:sp>
      <p:sp>
        <p:nvSpPr>
          <p:cNvPr id="62" name="Oval 40"/>
          <p:cNvSpPr>
            <a:spLocks noChangeArrowheads="1"/>
          </p:cNvSpPr>
          <p:nvPr/>
        </p:nvSpPr>
        <p:spPr bwMode="auto">
          <a:xfrm>
            <a:off x="3022997" y="1693069"/>
            <a:ext cx="947738" cy="947738"/>
          </a:xfrm>
          <a:prstGeom prst="ellipse">
            <a:avLst/>
          </a:prstGeom>
          <a:solidFill>
            <a:srgbClr val="575757"/>
          </a:solidFill>
          <a:ln w="12700">
            <a:solidFill>
              <a:schemeClr val="bg1"/>
            </a:solidFill>
            <a:round/>
            <a:headEnd/>
            <a:tailEnd/>
          </a:ln>
        </p:spPr>
        <p:txBody>
          <a:bodyPr wrap="square" lIns="27000" tIns="27000" rIns="27000" bIns="27000" anchor="ctr">
            <a:noAutofit/>
          </a:bodyPr>
          <a:lstStyle/>
          <a:p>
            <a:pPr algn="ctr" defTabSz="684610">
              <a:lnSpc>
                <a:spcPct val="95000"/>
              </a:lnSpc>
              <a:spcBef>
                <a:spcPct val="0"/>
              </a:spcBef>
              <a:spcAft>
                <a:spcPct val="37000"/>
              </a:spcAft>
              <a:buClrTx/>
              <a:buSzPct val="75000"/>
            </a:pPr>
            <a:r>
              <a:rPr lang="en-US" sz="1050" kern="1200">
                <a:solidFill>
                  <a:prstClr val="white"/>
                </a:solidFill>
                <a:ea typeface="ＭＳ Ｐゴシック" pitchFamily="50" charset="-128"/>
                <a:cs typeface="+mn-cs"/>
              </a:rPr>
              <a:t>Strategy</a:t>
            </a:r>
            <a:endParaRPr lang="en-US" sz="1050" kern="1200" dirty="0">
              <a:solidFill>
                <a:prstClr val="white"/>
              </a:solidFill>
              <a:ea typeface="ＭＳ Ｐゴシック" pitchFamily="50" charset="-128"/>
              <a:cs typeface="+mn-cs"/>
            </a:endParaRPr>
          </a:p>
        </p:txBody>
      </p:sp>
      <p:sp>
        <p:nvSpPr>
          <p:cNvPr id="63" name="Oval 41"/>
          <p:cNvSpPr>
            <a:spLocks noChangeArrowheads="1"/>
          </p:cNvSpPr>
          <p:nvPr/>
        </p:nvSpPr>
        <p:spPr bwMode="auto">
          <a:xfrm>
            <a:off x="5174457" y="1693069"/>
            <a:ext cx="946547" cy="947738"/>
          </a:xfrm>
          <a:prstGeom prst="ellipse">
            <a:avLst/>
          </a:prstGeom>
          <a:solidFill>
            <a:srgbClr val="8C8C8C"/>
          </a:solidFill>
          <a:ln w="12700">
            <a:solidFill>
              <a:schemeClr val="bg1"/>
            </a:solidFill>
            <a:round/>
            <a:headEnd/>
            <a:tailEnd/>
          </a:ln>
        </p:spPr>
        <p:txBody>
          <a:bodyPr wrap="square" lIns="27000" tIns="27000" rIns="27000" bIns="27000" anchor="ctr">
            <a:noAutofit/>
          </a:bodyPr>
          <a:lstStyle/>
          <a:p>
            <a:pPr algn="ctr" defTabSz="684610">
              <a:lnSpc>
                <a:spcPct val="95000"/>
              </a:lnSpc>
              <a:spcBef>
                <a:spcPct val="0"/>
              </a:spcBef>
              <a:spcAft>
                <a:spcPct val="37000"/>
              </a:spcAft>
              <a:buClrTx/>
              <a:buSzPct val="75000"/>
            </a:pPr>
            <a:r>
              <a:rPr lang="en-US" sz="1050" kern="1200">
                <a:solidFill>
                  <a:prstClr val="white"/>
                </a:solidFill>
                <a:ea typeface="+mn-ea"/>
                <a:cs typeface="+mn-cs"/>
              </a:rPr>
              <a:t>Systems</a:t>
            </a:r>
            <a:endParaRPr lang="en-US" sz="1050" kern="1200">
              <a:solidFill>
                <a:prstClr val="white"/>
              </a:solidFill>
              <a:ea typeface="ＭＳ Ｐゴシック" pitchFamily="50" charset="-128"/>
              <a:cs typeface="+mn-cs"/>
            </a:endParaRPr>
          </a:p>
        </p:txBody>
      </p:sp>
      <p:sp>
        <p:nvSpPr>
          <p:cNvPr id="64" name="Oval 42"/>
          <p:cNvSpPr>
            <a:spLocks noChangeArrowheads="1"/>
          </p:cNvSpPr>
          <p:nvPr/>
        </p:nvSpPr>
        <p:spPr bwMode="auto">
          <a:xfrm>
            <a:off x="5174457" y="2949178"/>
            <a:ext cx="946547" cy="947738"/>
          </a:xfrm>
          <a:prstGeom prst="ellipse">
            <a:avLst/>
          </a:prstGeom>
          <a:solidFill>
            <a:srgbClr val="DCDCDC"/>
          </a:solidFill>
          <a:ln w="12700">
            <a:solidFill>
              <a:schemeClr val="bg1"/>
            </a:solidFill>
            <a:round/>
            <a:headEnd/>
            <a:tailEnd/>
          </a:ln>
        </p:spPr>
        <p:txBody>
          <a:bodyPr wrap="square" lIns="27000" tIns="27000" rIns="27000" bIns="27000" anchor="ctr">
            <a:noAutofit/>
          </a:bodyPr>
          <a:lstStyle/>
          <a:p>
            <a:pPr algn="ctr" defTabSz="684610">
              <a:lnSpc>
                <a:spcPct val="95000"/>
              </a:lnSpc>
              <a:spcBef>
                <a:spcPct val="0"/>
              </a:spcBef>
              <a:spcAft>
                <a:spcPct val="37000"/>
              </a:spcAft>
              <a:buClrTx/>
              <a:buSzPct val="75000"/>
            </a:pPr>
            <a:r>
              <a:rPr lang="en-US" sz="1050" kern="1200">
                <a:solidFill>
                  <a:srgbClr val="313131"/>
                </a:solidFill>
                <a:ea typeface="+mn-ea"/>
                <a:cs typeface="+mn-cs"/>
              </a:rPr>
              <a:t>Style</a:t>
            </a:r>
            <a:endParaRPr lang="en-US" sz="1050" kern="1200">
              <a:solidFill>
                <a:srgbClr val="313131"/>
              </a:solidFill>
              <a:ea typeface="ＭＳ Ｐゴシック" pitchFamily="50" charset="-128"/>
              <a:cs typeface="+mn-cs"/>
            </a:endParaRPr>
          </a:p>
        </p:txBody>
      </p:sp>
      <p:sp>
        <p:nvSpPr>
          <p:cNvPr id="65" name="Oval 43"/>
          <p:cNvSpPr>
            <a:spLocks noChangeArrowheads="1"/>
          </p:cNvSpPr>
          <p:nvPr/>
        </p:nvSpPr>
        <p:spPr bwMode="auto">
          <a:xfrm>
            <a:off x="3033714" y="2949178"/>
            <a:ext cx="948928" cy="947738"/>
          </a:xfrm>
          <a:prstGeom prst="ellipse">
            <a:avLst/>
          </a:prstGeom>
          <a:solidFill>
            <a:srgbClr val="002776"/>
          </a:solidFill>
          <a:ln w="12700">
            <a:solidFill>
              <a:schemeClr val="bg1"/>
            </a:solidFill>
            <a:round/>
            <a:headEnd/>
            <a:tailEnd/>
          </a:ln>
        </p:spPr>
        <p:txBody>
          <a:bodyPr wrap="square" lIns="27000" tIns="27000" rIns="27000" bIns="27000" anchor="ctr">
            <a:noAutofit/>
          </a:bodyPr>
          <a:lstStyle/>
          <a:p>
            <a:pPr algn="ctr" defTabSz="684610">
              <a:lnSpc>
                <a:spcPct val="95000"/>
              </a:lnSpc>
              <a:spcBef>
                <a:spcPct val="0"/>
              </a:spcBef>
              <a:spcAft>
                <a:spcPct val="37000"/>
              </a:spcAft>
              <a:buClrTx/>
              <a:buSzPct val="75000"/>
            </a:pPr>
            <a:r>
              <a:rPr lang="en-US" sz="1050" kern="1200">
                <a:solidFill>
                  <a:prstClr val="white"/>
                </a:solidFill>
                <a:ea typeface="+mn-ea"/>
                <a:cs typeface="+mn-cs"/>
              </a:rPr>
              <a:t>Skills</a:t>
            </a:r>
          </a:p>
        </p:txBody>
      </p:sp>
      <p:sp>
        <p:nvSpPr>
          <p:cNvPr id="66" name="Oval 44"/>
          <p:cNvSpPr>
            <a:spLocks noChangeArrowheads="1"/>
          </p:cNvSpPr>
          <p:nvPr/>
        </p:nvSpPr>
        <p:spPr bwMode="auto">
          <a:xfrm>
            <a:off x="4098132" y="2303860"/>
            <a:ext cx="947738" cy="947738"/>
          </a:xfrm>
          <a:prstGeom prst="ellipse">
            <a:avLst/>
          </a:prstGeom>
          <a:solidFill>
            <a:srgbClr val="00A1DE"/>
          </a:solidFill>
          <a:ln w="12700">
            <a:solidFill>
              <a:schemeClr val="bg1"/>
            </a:solidFill>
            <a:round/>
            <a:headEnd/>
            <a:tailEnd/>
          </a:ln>
        </p:spPr>
        <p:txBody>
          <a:bodyPr wrap="square" lIns="27000" tIns="27000" rIns="27000" bIns="27000" anchor="ctr">
            <a:noAutofit/>
          </a:bodyPr>
          <a:lstStyle/>
          <a:p>
            <a:pPr algn="ctr" defTabSz="684610">
              <a:lnSpc>
                <a:spcPct val="95000"/>
              </a:lnSpc>
              <a:spcBef>
                <a:spcPct val="0"/>
              </a:spcBef>
              <a:spcAft>
                <a:spcPct val="37000"/>
              </a:spcAft>
              <a:buClrTx/>
              <a:buSzPct val="75000"/>
            </a:pPr>
            <a:r>
              <a:rPr lang="en-US" sz="1050" kern="1200" dirty="0">
                <a:solidFill>
                  <a:prstClr val="white"/>
                </a:solidFill>
                <a:ea typeface="ＭＳ Ｐゴシック" pitchFamily="50" charset="-128"/>
                <a:cs typeface="+mn-cs"/>
              </a:rPr>
              <a:t>Shared values</a:t>
            </a:r>
          </a:p>
        </p:txBody>
      </p:sp>
      <p:sp>
        <p:nvSpPr>
          <p:cNvPr id="67" name="Oval 45"/>
          <p:cNvSpPr>
            <a:spLocks noChangeArrowheads="1"/>
          </p:cNvSpPr>
          <p:nvPr/>
        </p:nvSpPr>
        <p:spPr bwMode="auto">
          <a:xfrm>
            <a:off x="4098132" y="3614737"/>
            <a:ext cx="947738" cy="947738"/>
          </a:xfrm>
          <a:prstGeom prst="ellipse">
            <a:avLst/>
          </a:prstGeom>
          <a:solidFill>
            <a:srgbClr val="313131"/>
          </a:solidFill>
          <a:ln w="12700">
            <a:solidFill>
              <a:schemeClr val="bg1"/>
            </a:solidFill>
            <a:round/>
            <a:headEnd/>
            <a:tailEnd/>
          </a:ln>
        </p:spPr>
        <p:txBody>
          <a:bodyPr wrap="square" lIns="27000" tIns="27000" rIns="27000" bIns="27000" anchor="ctr">
            <a:noAutofit/>
          </a:bodyPr>
          <a:lstStyle/>
          <a:p>
            <a:pPr algn="ctr" defTabSz="684610">
              <a:lnSpc>
                <a:spcPct val="95000"/>
              </a:lnSpc>
              <a:spcBef>
                <a:spcPct val="0"/>
              </a:spcBef>
              <a:spcAft>
                <a:spcPct val="37000"/>
              </a:spcAft>
              <a:buClrTx/>
              <a:buSzPct val="75000"/>
            </a:pPr>
            <a:r>
              <a:rPr lang="en-US" sz="1050" kern="1200">
                <a:solidFill>
                  <a:prstClr val="white"/>
                </a:solidFill>
                <a:ea typeface="+mn-ea"/>
                <a:cs typeface="+mn-cs"/>
              </a:rPr>
              <a:t>Staff</a:t>
            </a:r>
          </a:p>
        </p:txBody>
      </p:sp>
      <p:sp>
        <p:nvSpPr>
          <p:cNvPr id="68" name="Oval 46"/>
          <p:cNvSpPr>
            <a:spLocks noChangeArrowheads="1"/>
          </p:cNvSpPr>
          <p:nvPr/>
        </p:nvSpPr>
        <p:spPr bwMode="auto">
          <a:xfrm>
            <a:off x="4098132" y="1028700"/>
            <a:ext cx="947738" cy="947738"/>
          </a:xfrm>
          <a:prstGeom prst="ellipse">
            <a:avLst/>
          </a:prstGeom>
          <a:solidFill>
            <a:srgbClr val="B4B4B4"/>
          </a:solidFill>
          <a:ln w="12700">
            <a:solidFill>
              <a:schemeClr val="bg1"/>
            </a:solidFill>
            <a:round/>
            <a:headEnd/>
            <a:tailEnd/>
          </a:ln>
        </p:spPr>
        <p:txBody>
          <a:bodyPr wrap="square" lIns="27000" tIns="27000" rIns="27000" bIns="27000" anchor="ctr">
            <a:noAutofit/>
          </a:bodyPr>
          <a:lstStyle/>
          <a:p>
            <a:pPr algn="ctr" defTabSz="684610">
              <a:lnSpc>
                <a:spcPct val="95000"/>
              </a:lnSpc>
              <a:spcBef>
                <a:spcPct val="0"/>
              </a:spcBef>
              <a:spcAft>
                <a:spcPct val="37000"/>
              </a:spcAft>
              <a:buClrTx/>
              <a:buSzPct val="75000"/>
            </a:pPr>
            <a:r>
              <a:rPr lang="en-US" sz="1050" kern="1200" dirty="0">
                <a:solidFill>
                  <a:prstClr val="white"/>
                </a:solidFill>
                <a:ea typeface="+mn-ea"/>
                <a:cs typeface="+mn-cs"/>
              </a:rPr>
              <a:t>Structure</a:t>
            </a:r>
            <a:endParaRPr lang="en-US" sz="1050" kern="1200" dirty="0">
              <a:solidFill>
                <a:prstClr val="white"/>
              </a:solidFill>
              <a:ea typeface="ＭＳ Ｐゴシック" pitchFamily="50" charset="-128"/>
              <a:cs typeface="+mn-cs"/>
            </a:endParaRPr>
          </a:p>
        </p:txBody>
      </p:sp>
      <p:sp>
        <p:nvSpPr>
          <p:cNvPr id="69" name="Line 47"/>
          <p:cNvSpPr>
            <a:spLocks noChangeShapeType="1"/>
          </p:cNvSpPr>
          <p:nvPr/>
        </p:nvSpPr>
        <p:spPr bwMode="blackWhite">
          <a:xfrm rot="16200000">
            <a:off x="4576168" y="2824758"/>
            <a:ext cx="0" cy="1196579"/>
          </a:xfrm>
          <a:prstGeom prst="line">
            <a:avLst/>
          </a:prstGeom>
          <a:noFill/>
          <a:ln w="28575">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white"/>
              </a:solidFill>
              <a:ea typeface="+mn-ea"/>
              <a:cs typeface="+mn-cs"/>
            </a:endParaRPr>
          </a:p>
        </p:txBody>
      </p:sp>
      <p:sp>
        <p:nvSpPr>
          <p:cNvPr id="70" name="Line 48"/>
          <p:cNvSpPr>
            <a:spLocks noChangeShapeType="1"/>
          </p:cNvSpPr>
          <p:nvPr/>
        </p:nvSpPr>
        <p:spPr bwMode="blackWhite">
          <a:xfrm rot="16200000">
            <a:off x="4578549" y="1532929"/>
            <a:ext cx="0" cy="1196579"/>
          </a:xfrm>
          <a:prstGeom prst="line">
            <a:avLst/>
          </a:prstGeom>
          <a:noFill/>
          <a:ln w="28575">
            <a:solidFill>
              <a:srgbClr val="B4B4B4"/>
            </a:solidFill>
            <a:round/>
            <a:headEnd/>
            <a:tailEnd/>
          </a:ln>
        </p:spPr>
        <p:txBody>
          <a:bodyPr wrap="square" lIns="27000" tIns="27000" rIns="27000" bIns="27000" anchor="ctr">
            <a:noAutofit/>
          </a:bodyPr>
          <a:lstStyle/>
          <a:p>
            <a:pPr defTabSz="685800">
              <a:buClrTx/>
            </a:pPr>
            <a:endParaRPr lang="en-US" sz="1350" kern="1200">
              <a:solidFill>
                <a:prstClr val="white"/>
              </a:solidFill>
              <a:ea typeface="+mn-ea"/>
              <a:cs typeface="+mn-cs"/>
            </a:endParaRPr>
          </a:p>
        </p:txBody>
      </p:sp>
      <p:sp>
        <p:nvSpPr>
          <p:cNvPr id="71"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Tree>
  </p:cSld>
  <p:clrMapOvr>
    <a:masterClrMapping/>
  </p:clrMapOvr>
  <p:transition>
    <p:fade/>
  </p:transition>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3121" name="Title 1"/>
          <p:cNvSpPr>
            <a:spLocks noGrp="1"/>
          </p:cNvSpPr>
          <p:nvPr>
            <p:ph type="title"/>
          </p:nvPr>
        </p:nvSpPr>
        <p:spPr/>
        <p:txBody>
          <a:bodyPr/>
          <a:lstStyle/>
          <a:p>
            <a:r>
              <a:rPr lang="en-US" dirty="0"/>
              <a:t>3Cs triangle</a:t>
            </a:r>
          </a:p>
        </p:txBody>
      </p:sp>
      <p:sp>
        <p:nvSpPr>
          <p:cNvPr id="10" name="Oval 9"/>
          <p:cNvSpPr>
            <a:spLocks noChangeArrowheads="1"/>
          </p:cNvSpPr>
          <p:nvPr/>
        </p:nvSpPr>
        <p:spPr bwMode="auto">
          <a:xfrm>
            <a:off x="4143375" y="1028700"/>
            <a:ext cx="945000" cy="945000"/>
          </a:xfrm>
          <a:prstGeom prst="ellipse">
            <a:avLst/>
          </a:prstGeom>
          <a:solidFill>
            <a:srgbClr val="8C8C8C"/>
          </a:solidFill>
          <a:ln w="12700">
            <a:solidFill>
              <a:schemeClr val="bg1"/>
            </a:solidFill>
            <a:round/>
            <a:headEnd/>
            <a:tailEnd/>
          </a:ln>
        </p:spPr>
        <p:txBody>
          <a:bodyPr wrap="none" lIns="0" tIns="0" rIns="0" bIns="0" anchor="ctr" anchorCtr="1"/>
          <a:lstStyle/>
          <a:p>
            <a:pPr defTabSz="615554">
              <a:lnSpc>
                <a:spcPct val="95000"/>
              </a:lnSpc>
              <a:spcAft>
                <a:spcPct val="37000"/>
              </a:spcAft>
              <a:buClrTx/>
              <a:defRPr/>
            </a:pPr>
            <a:r>
              <a:rPr lang="en-US" sz="1050" kern="1200" dirty="0">
                <a:solidFill>
                  <a:prstClr val="white"/>
                </a:solidFill>
                <a:ea typeface="ＭＳ Ｐゴシック" pitchFamily="50" charset="-128"/>
                <a:cs typeface="+mn-cs"/>
              </a:rPr>
              <a:t>Customer</a:t>
            </a:r>
          </a:p>
        </p:txBody>
      </p:sp>
      <p:sp>
        <p:nvSpPr>
          <p:cNvPr id="11" name="Oval 10"/>
          <p:cNvSpPr>
            <a:spLocks noChangeArrowheads="1"/>
          </p:cNvSpPr>
          <p:nvPr/>
        </p:nvSpPr>
        <p:spPr bwMode="auto">
          <a:xfrm>
            <a:off x="2744390" y="3055144"/>
            <a:ext cx="945000" cy="945000"/>
          </a:xfrm>
          <a:prstGeom prst="ellipse">
            <a:avLst/>
          </a:prstGeom>
          <a:solidFill>
            <a:srgbClr val="DCDCDC"/>
          </a:solidFill>
          <a:ln w="12700">
            <a:solidFill>
              <a:schemeClr val="bg1"/>
            </a:solidFill>
            <a:round/>
            <a:headEnd/>
            <a:tailEnd/>
          </a:ln>
        </p:spPr>
        <p:txBody>
          <a:bodyPr wrap="none" lIns="0" tIns="0" rIns="0" bIns="0" anchor="ctr" anchorCtr="1"/>
          <a:lstStyle/>
          <a:p>
            <a:pPr defTabSz="615554">
              <a:lnSpc>
                <a:spcPct val="95000"/>
              </a:lnSpc>
              <a:spcAft>
                <a:spcPct val="37000"/>
              </a:spcAft>
              <a:buClrTx/>
              <a:defRPr/>
            </a:pPr>
            <a:r>
              <a:rPr lang="en-US" sz="1050" kern="1200">
                <a:solidFill>
                  <a:srgbClr val="262626"/>
                </a:solidFill>
                <a:ea typeface="ＭＳ Ｐゴシック" pitchFamily="50" charset="-128"/>
                <a:cs typeface="+mn-cs"/>
              </a:rPr>
              <a:t>Clients</a:t>
            </a:r>
            <a:endParaRPr lang="en-US" sz="1050" kern="1200" dirty="0">
              <a:solidFill>
                <a:srgbClr val="262626"/>
              </a:solidFill>
              <a:ea typeface="ＭＳ Ｐゴシック" pitchFamily="50" charset="-128"/>
              <a:cs typeface="+mn-cs"/>
            </a:endParaRPr>
          </a:p>
        </p:txBody>
      </p:sp>
      <p:sp>
        <p:nvSpPr>
          <p:cNvPr id="14" name="Oval 13"/>
          <p:cNvSpPr>
            <a:spLocks noChangeArrowheads="1"/>
          </p:cNvSpPr>
          <p:nvPr/>
        </p:nvSpPr>
        <p:spPr bwMode="auto">
          <a:xfrm>
            <a:off x="4142184" y="2331243"/>
            <a:ext cx="945000" cy="945000"/>
          </a:xfrm>
          <a:prstGeom prst="ellipse">
            <a:avLst/>
          </a:prstGeom>
          <a:solidFill>
            <a:srgbClr val="00A1DE"/>
          </a:solidFill>
          <a:ln w="12700">
            <a:solidFill>
              <a:schemeClr val="bg1"/>
            </a:solidFill>
            <a:round/>
            <a:headEnd/>
            <a:tailEnd/>
          </a:ln>
        </p:spPr>
        <p:txBody>
          <a:bodyPr wrap="none" lIns="0" tIns="0" rIns="0" bIns="0" anchor="ctr" anchorCtr="1"/>
          <a:lstStyle/>
          <a:p>
            <a:pPr defTabSz="615554">
              <a:lnSpc>
                <a:spcPct val="95000"/>
              </a:lnSpc>
              <a:spcAft>
                <a:spcPct val="37000"/>
              </a:spcAft>
              <a:buClrTx/>
              <a:defRPr/>
            </a:pPr>
            <a:r>
              <a:rPr lang="en-US" sz="1050" kern="1200" dirty="0">
                <a:solidFill>
                  <a:prstClr val="white"/>
                </a:solidFill>
                <a:ea typeface="ＭＳ Ｐゴシック" pitchFamily="50" charset="-128"/>
                <a:cs typeface="+mn-cs"/>
              </a:rPr>
              <a:t>Distributors</a:t>
            </a:r>
          </a:p>
        </p:txBody>
      </p:sp>
      <p:sp>
        <p:nvSpPr>
          <p:cNvPr id="15" name="Oval 14"/>
          <p:cNvSpPr>
            <a:spLocks noChangeArrowheads="1"/>
          </p:cNvSpPr>
          <p:nvPr/>
        </p:nvSpPr>
        <p:spPr bwMode="auto">
          <a:xfrm>
            <a:off x="5568553" y="3055144"/>
            <a:ext cx="945000" cy="945000"/>
          </a:xfrm>
          <a:prstGeom prst="ellipse">
            <a:avLst/>
          </a:prstGeom>
          <a:solidFill>
            <a:srgbClr val="B4B4B4"/>
          </a:solidFill>
          <a:ln w="12700">
            <a:solidFill>
              <a:schemeClr val="bg1"/>
            </a:solidFill>
            <a:round/>
            <a:headEnd/>
            <a:tailEnd/>
          </a:ln>
        </p:spPr>
        <p:txBody>
          <a:bodyPr wrap="none" lIns="0" tIns="0" rIns="0" bIns="0" anchor="ctr" anchorCtr="1"/>
          <a:lstStyle/>
          <a:p>
            <a:pPr defTabSz="615554">
              <a:lnSpc>
                <a:spcPct val="95000"/>
              </a:lnSpc>
              <a:spcAft>
                <a:spcPct val="37000"/>
              </a:spcAft>
              <a:buClrTx/>
              <a:defRPr/>
            </a:pPr>
            <a:r>
              <a:rPr lang="en-US" sz="1050" kern="1200" dirty="0">
                <a:solidFill>
                  <a:prstClr val="white"/>
                </a:solidFill>
                <a:ea typeface="ＭＳ Ｐゴシック" pitchFamily="50" charset="-128"/>
                <a:cs typeface="+mn-cs"/>
              </a:rPr>
              <a:t>Competitors</a:t>
            </a:r>
          </a:p>
        </p:txBody>
      </p:sp>
      <p:sp>
        <p:nvSpPr>
          <p:cNvPr id="16" name="Oval 15"/>
          <p:cNvSpPr>
            <a:spLocks noChangeArrowheads="1"/>
          </p:cNvSpPr>
          <p:nvPr/>
        </p:nvSpPr>
        <p:spPr bwMode="auto">
          <a:xfrm>
            <a:off x="4142184" y="3754040"/>
            <a:ext cx="945000" cy="945000"/>
          </a:xfrm>
          <a:prstGeom prst="ellipse">
            <a:avLst/>
          </a:prstGeom>
          <a:solidFill>
            <a:srgbClr val="575757"/>
          </a:solidFill>
          <a:ln w="12700">
            <a:solidFill>
              <a:schemeClr val="bg1"/>
            </a:solidFill>
            <a:round/>
            <a:headEnd/>
            <a:tailEnd/>
          </a:ln>
        </p:spPr>
        <p:txBody>
          <a:bodyPr wrap="none" lIns="0" tIns="0" rIns="0" bIns="0" anchor="ctr" anchorCtr="1"/>
          <a:lstStyle/>
          <a:p>
            <a:pPr defTabSz="615554">
              <a:lnSpc>
                <a:spcPct val="95000"/>
              </a:lnSpc>
              <a:spcAft>
                <a:spcPct val="37000"/>
              </a:spcAft>
              <a:buClrTx/>
              <a:defRPr/>
            </a:pPr>
            <a:r>
              <a:rPr lang="en-US" sz="1050" kern="1200">
                <a:solidFill>
                  <a:prstClr val="white"/>
                </a:solidFill>
                <a:ea typeface="ＭＳ Ｐゴシック" pitchFamily="50" charset="-128"/>
                <a:cs typeface="+mn-cs"/>
              </a:rPr>
              <a:t>Suppliers</a:t>
            </a:r>
            <a:endParaRPr lang="en-US" sz="1050" kern="1200" dirty="0">
              <a:solidFill>
                <a:prstClr val="white"/>
              </a:solidFill>
              <a:ea typeface="ＭＳ Ｐゴシック" pitchFamily="50" charset="-128"/>
              <a:cs typeface="+mn-cs"/>
            </a:endParaRPr>
          </a:p>
        </p:txBody>
      </p:sp>
      <p:cxnSp>
        <p:nvCxnSpPr>
          <p:cNvPr id="21" name="Straight Arrow Connector 20"/>
          <p:cNvCxnSpPr>
            <a:stCxn id="10" idx="5"/>
            <a:endCxn id="15" idx="0"/>
          </p:cNvCxnSpPr>
          <p:nvPr/>
        </p:nvCxnSpPr>
        <p:spPr bwMode="auto">
          <a:xfrm>
            <a:off x="4949983" y="1835308"/>
            <a:ext cx="1091070" cy="1219836"/>
          </a:xfrm>
          <a:prstGeom prst="straightConnector1">
            <a:avLst/>
          </a:prstGeom>
          <a:ln w="28575">
            <a:solidFill>
              <a:srgbClr val="B4B4B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10" idx="3"/>
            <a:endCxn id="11" idx="0"/>
          </p:cNvCxnSpPr>
          <p:nvPr/>
        </p:nvCxnSpPr>
        <p:spPr bwMode="auto">
          <a:xfrm flipH="1">
            <a:off x="3216890" y="1835308"/>
            <a:ext cx="1064877" cy="1219836"/>
          </a:xfrm>
          <a:prstGeom prst="straightConnector1">
            <a:avLst/>
          </a:prstGeom>
          <a:ln w="28575">
            <a:solidFill>
              <a:srgbClr val="B4B4B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10" idx="4"/>
            <a:endCxn id="14" idx="0"/>
          </p:cNvCxnSpPr>
          <p:nvPr/>
        </p:nvCxnSpPr>
        <p:spPr bwMode="auto">
          <a:xfrm flipH="1">
            <a:off x="4614684" y="1973700"/>
            <a:ext cx="1191" cy="357543"/>
          </a:xfrm>
          <a:prstGeom prst="straightConnector1">
            <a:avLst/>
          </a:prstGeom>
          <a:ln w="28575">
            <a:solidFill>
              <a:srgbClr val="B4B4B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4" idx="2"/>
            <a:endCxn id="11" idx="7"/>
          </p:cNvCxnSpPr>
          <p:nvPr/>
        </p:nvCxnSpPr>
        <p:spPr bwMode="auto">
          <a:xfrm flipH="1">
            <a:off x="3550998" y="2803743"/>
            <a:ext cx="591186" cy="389793"/>
          </a:xfrm>
          <a:prstGeom prst="straightConnector1">
            <a:avLst/>
          </a:prstGeom>
          <a:ln w="28575">
            <a:solidFill>
              <a:srgbClr val="B4B4B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14" idx="6"/>
            <a:endCxn id="15" idx="1"/>
          </p:cNvCxnSpPr>
          <p:nvPr/>
        </p:nvCxnSpPr>
        <p:spPr bwMode="auto">
          <a:xfrm>
            <a:off x="5087184" y="2803743"/>
            <a:ext cx="619761" cy="389793"/>
          </a:xfrm>
          <a:prstGeom prst="straightConnector1">
            <a:avLst/>
          </a:prstGeom>
          <a:ln w="28575">
            <a:solidFill>
              <a:srgbClr val="B4B4B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15" idx="2"/>
            <a:endCxn id="11" idx="6"/>
          </p:cNvCxnSpPr>
          <p:nvPr/>
        </p:nvCxnSpPr>
        <p:spPr bwMode="auto">
          <a:xfrm flipH="1">
            <a:off x="3689390" y="3527644"/>
            <a:ext cx="1879163" cy="0"/>
          </a:xfrm>
          <a:prstGeom prst="straightConnector1">
            <a:avLst/>
          </a:prstGeom>
          <a:ln w="28575">
            <a:solidFill>
              <a:srgbClr val="B4B4B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16" idx="2"/>
            <a:endCxn id="11" idx="5"/>
          </p:cNvCxnSpPr>
          <p:nvPr/>
        </p:nvCxnSpPr>
        <p:spPr bwMode="auto">
          <a:xfrm flipH="1" flipV="1">
            <a:off x="3550998" y="3861752"/>
            <a:ext cx="591186" cy="364789"/>
          </a:xfrm>
          <a:prstGeom prst="straightConnector1">
            <a:avLst/>
          </a:prstGeom>
          <a:ln w="28575">
            <a:solidFill>
              <a:srgbClr val="B4B4B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15" idx="3"/>
            <a:endCxn id="16" idx="6"/>
          </p:cNvCxnSpPr>
          <p:nvPr/>
        </p:nvCxnSpPr>
        <p:spPr bwMode="auto">
          <a:xfrm rot="5400000">
            <a:off x="5214671" y="3734265"/>
            <a:ext cx="364789" cy="619761"/>
          </a:xfrm>
          <a:prstGeom prst="straightConnector1">
            <a:avLst/>
          </a:prstGeom>
          <a:ln w="28575">
            <a:solidFill>
              <a:srgbClr val="B4B4B4"/>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9"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Tree>
  </p:cSld>
  <p:clrMapOvr>
    <a:masterClrMapping/>
  </p:clrMapOvr>
  <p:transition>
    <p:fade/>
  </p:transition>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4145" name="Title 1"/>
          <p:cNvSpPr>
            <a:spLocks noGrp="1"/>
          </p:cNvSpPr>
          <p:nvPr>
            <p:ph type="title"/>
          </p:nvPr>
        </p:nvSpPr>
        <p:spPr/>
        <p:txBody>
          <a:bodyPr/>
          <a:lstStyle/>
          <a:p>
            <a:r>
              <a:rPr lang="en-US"/>
              <a:t>Value creation</a:t>
            </a:r>
          </a:p>
        </p:txBody>
      </p:sp>
      <p:sp>
        <p:nvSpPr>
          <p:cNvPr id="5" name="Line 4"/>
          <p:cNvSpPr>
            <a:spLocks noChangeShapeType="1"/>
          </p:cNvSpPr>
          <p:nvPr/>
        </p:nvSpPr>
        <p:spPr bwMode="blackWhite">
          <a:xfrm>
            <a:off x="4636844" y="2790825"/>
            <a:ext cx="0" cy="1484709"/>
          </a:xfrm>
          <a:prstGeom prst="line">
            <a:avLst/>
          </a:prstGeom>
          <a:solidFill>
            <a:schemeClr val="accent3"/>
          </a:solidFill>
          <a:ln w="28575">
            <a:solidFill>
              <a:srgbClr val="B4B4B4"/>
            </a:solidFill>
            <a:round/>
            <a:headEnd type="none" w="sm" len="sm"/>
            <a:tailEnd type="none" w="sm" len="sm"/>
          </a:ln>
        </p:spPr>
        <p:txBody>
          <a:bodyPr lIns="27000" tIns="27000" rIns="27000" bIns="27000" anchor="ctr">
            <a:spAutoFit/>
          </a:bodyPr>
          <a:lstStyle/>
          <a:p>
            <a:pPr defTabSz="685800">
              <a:buClrTx/>
              <a:defRPr/>
            </a:pPr>
            <a:endParaRPr lang="en-US" sz="1350" kern="1200" dirty="0">
              <a:solidFill>
                <a:prstClr val="white"/>
              </a:solidFill>
              <a:ea typeface="+mn-ea"/>
              <a:cs typeface="+mn-cs"/>
            </a:endParaRPr>
          </a:p>
        </p:txBody>
      </p:sp>
      <p:sp>
        <p:nvSpPr>
          <p:cNvPr id="6" name="Line 5"/>
          <p:cNvSpPr>
            <a:spLocks noChangeShapeType="1"/>
          </p:cNvSpPr>
          <p:nvPr/>
        </p:nvSpPr>
        <p:spPr bwMode="blackWhite">
          <a:xfrm>
            <a:off x="3374049" y="1983581"/>
            <a:ext cx="2388211" cy="1600200"/>
          </a:xfrm>
          <a:prstGeom prst="line">
            <a:avLst/>
          </a:prstGeom>
          <a:solidFill>
            <a:schemeClr val="accent3"/>
          </a:solidFill>
          <a:ln w="28575">
            <a:solidFill>
              <a:srgbClr val="B4B4B4"/>
            </a:solidFill>
            <a:round/>
            <a:headEnd type="none" w="sm" len="sm"/>
            <a:tailEnd type="none" w="sm" len="sm"/>
          </a:ln>
        </p:spPr>
        <p:txBody>
          <a:bodyPr lIns="27000" tIns="27000" rIns="27000" bIns="27000" anchor="ctr">
            <a:spAutoFit/>
          </a:bodyPr>
          <a:lstStyle/>
          <a:p>
            <a:pPr defTabSz="685800">
              <a:buClrTx/>
              <a:defRPr/>
            </a:pPr>
            <a:endParaRPr lang="en-US" sz="1350" kern="1200" dirty="0">
              <a:solidFill>
                <a:prstClr val="white"/>
              </a:solidFill>
              <a:ea typeface="+mn-ea"/>
              <a:cs typeface="+mn-cs"/>
            </a:endParaRPr>
          </a:p>
        </p:txBody>
      </p:sp>
      <p:sp>
        <p:nvSpPr>
          <p:cNvPr id="7" name="Line 6"/>
          <p:cNvSpPr>
            <a:spLocks noChangeShapeType="1"/>
          </p:cNvSpPr>
          <p:nvPr/>
        </p:nvSpPr>
        <p:spPr bwMode="blackWhite">
          <a:xfrm flipV="1">
            <a:off x="3374049" y="1984772"/>
            <a:ext cx="2388211" cy="1601390"/>
          </a:xfrm>
          <a:prstGeom prst="line">
            <a:avLst/>
          </a:prstGeom>
          <a:solidFill>
            <a:schemeClr val="accent3"/>
          </a:solidFill>
          <a:ln w="28575">
            <a:solidFill>
              <a:srgbClr val="B4B4B4"/>
            </a:solidFill>
            <a:round/>
            <a:headEnd type="none" w="sm" len="sm"/>
            <a:tailEnd type="none" w="sm" len="sm"/>
          </a:ln>
        </p:spPr>
        <p:txBody>
          <a:bodyPr lIns="27000" tIns="27000" rIns="27000" bIns="27000" anchor="ctr">
            <a:spAutoFit/>
          </a:bodyPr>
          <a:lstStyle/>
          <a:p>
            <a:pPr defTabSz="685800">
              <a:buClrTx/>
              <a:defRPr/>
            </a:pPr>
            <a:endParaRPr lang="en-US" sz="1350" kern="1200" dirty="0">
              <a:solidFill>
                <a:prstClr val="white"/>
              </a:solidFill>
              <a:ea typeface="+mn-ea"/>
              <a:cs typeface="+mn-cs"/>
            </a:endParaRPr>
          </a:p>
        </p:txBody>
      </p:sp>
      <p:sp>
        <p:nvSpPr>
          <p:cNvPr id="9" name="Oval 8"/>
          <p:cNvSpPr>
            <a:spLocks noChangeArrowheads="1"/>
          </p:cNvSpPr>
          <p:nvPr/>
        </p:nvSpPr>
        <p:spPr bwMode="blackWhite">
          <a:xfrm>
            <a:off x="3920270" y="3793332"/>
            <a:ext cx="1435344" cy="801290"/>
          </a:xfrm>
          <a:prstGeom prst="ellipse">
            <a:avLst/>
          </a:prstGeom>
          <a:solidFill>
            <a:srgbClr val="DCDCDC"/>
          </a:solidFill>
          <a:ln w="12700">
            <a:noFill/>
            <a:round/>
            <a:headEnd/>
            <a:tailEnd/>
          </a:ln>
        </p:spPr>
        <p:txBody>
          <a:bodyPr lIns="27000" tIns="27000" rIns="27000" bIns="27000" anchor="ctr"/>
          <a:lstStyle/>
          <a:p>
            <a:pPr algn="ctr" defTabSz="615554">
              <a:lnSpc>
                <a:spcPct val="95000"/>
              </a:lnSpc>
              <a:buClrTx/>
              <a:defRPr/>
            </a:pPr>
            <a:r>
              <a:rPr lang="en-US" sz="1050" kern="1200">
                <a:solidFill>
                  <a:srgbClr val="313131"/>
                </a:solidFill>
                <a:ea typeface="ＭＳ Ｐゴシック" pitchFamily="50" charset="-128"/>
                <a:cs typeface="+mn-cs"/>
              </a:rPr>
              <a:t>Grow</a:t>
            </a:r>
          </a:p>
          <a:p>
            <a:pPr algn="ctr" defTabSz="615554">
              <a:lnSpc>
                <a:spcPct val="95000"/>
              </a:lnSpc>
              <a:buClrTx/>
              <a:defRPr/>
            </a:pPr>
            <a:r>
              <a:rPr lang="en-US" sz="1050" kern="1200">
                <a:solidFill>
                  <a:srgbClr val="313131"/>
                </a:solidFill>
                <a:ea typeface="ＭＳ Ｐゴシック" pitchFamily="50" charset="-128"/>
                <a:cs typeface="+mn-cs"/>
              </a:rPr>
              <a:t>through</a:t>
            </a:r>
          </a:p>
          <a:p>
            <a:pPr algn="ctr" defTabSz="615554">
              <a:lnSpc>
                <a:spcPct val="95000"/>
              </a:lnSpc>
              <a:buClrTx/>
              <a:defRPr/>
            </a:pPr>
            <a:r>
              <a:rPr lang="en-US" sz="1050" kern="1200">
                <a:solidFill>
                  <a:srgbClr val="313131"/>
                </a:solidFill>
                <a:ea typeface="ＭＳ Ｐゴシック" pitchFamily="50" charset="-128"/>
                <a:cs typeface="+mn-cs"/>
              </a:rPr>
              <a:t>cultural</a:t>
            </a:r>
          </a:p>
          <a:p>
            <a:pPr algn="ctr" defTabSz="615554">
              <a:lnSpc>
                <a:spcPct val="95000"/>
              </a:lnSpc>
              <a:buClrTx/>
              <a:defRPr/>
            </a:pPr>
            <a:r>
              <a:rPr lang="en-US" sz="1050" kern="1200">
                <a:solidFill>
                  <a:srgbClr val="313131"/>
                </a:solidFill>
                <a:ea typeface="ＭＳ Ｐゴシック" pitchFamily="50" charset="-128"/>
                <a:cs typeface="+mn-cs"/>
              </a:rPr>
              <a:t>initiative</a:t>
            </a:r>
            <a:endParaRPr lang="en-US" sz="1050" kern="1200" dirty="0">
              <a:solidFill>
                <a:srgbClr val="313131"/>
              </a:solidFill>
              <a:ea typeface="ＭＳ Ｐゴシック" pitchFamily="50" charset="-128"/>
              <a:cs typeface="+mn-cs"/>
            </a:endParaRPr>
          </a:p>
        </p:txBody>
      </p:sp>
      <p:sp>
        <p:nvSpPr>
          <p:cNvPr id="10" name="Oval 9"/>
          <p:cNvSpPr>
            <a:spLocks noChangeArrowheads="1"/>
          </p:cNvSpPr>
          <p:nvPr/>
        </p:nvSpPr>
        <p:spPr bwMode="blackWhite">
          <a:xfrm>
            <a:off x="5120421" y="1371600"/>
            <a:ext cx="1445236" cy="803672"/>
          </a:xfrm>
          <a:prstGeom prst="ellipse">
            <a:avLst/>
          </a:prstGeom>
          <a:solidFill>
            <a:srgbClr val="DCDCDC"/>
          </a:solidFill>
          <a:ln w="12700">
            <a:noFill/>
            <a:round/>
            <a:headEnd/>
            <a:tailEnd/>
          </a:ln>
        </p:spPr>
        <p:txBody>
          <a:bodyPr lIns="27000" tIns="27000" rIns="27000" bIns="27000" anchor="ctr"/>
          <a:lstStyle/>
          <a:p>
            <a:pPr algn="ctr" defTabSz="615554">
              <a:lnSpc>
                <a:spcPct val="95000"/>
              </a:lnSpc>
              <a:buClrTx/>
              <a:defRPr/>
            </a:pPr>
            <a:r>
              <a:rPr lang="en-US" sz="1050" kern="1200">
                <a:solidFill>
                  <a:srgbClr val="313131"/>
                </a:solidFill>
                <a:ea typeface="ＭＳ Ｐゴシック" pitchFamily="50" charset="-128"/>
                <a:cs typeface="+mn-cs"/>
              </a:rPr>
              <a:t>Redeploy</a:t>
            </a:r>
          </a:p>
          <a:p>
            <a:pPr algn="ctr" defTabSz="615554">
              <a:lnSpc>
                <a:spcPct val="95000"/>
              </a:lnSpc>
              <a:buClrTx/>
              <a:defRPr/>
            </a:pPr>
            <a:r>
              <a:rPr lang="en-US" sz="1050" kern="1200">
                <a:solidFill>
                  <a:srgbClr val="313131"/>
                </a:solidFill>
                <a:ea typeface="ＭＳ Ｐゴシック" pitchFamily="50" charset="-128"/>
                <a:cs typeface="+mn-cs"/>
              </a:rPr>
              <a:t>assets</a:t>
            </a:r>
            <a:endParaRPr lang="en-US" sz="1050" kern="1200" dirty="0">
              <a:solidFill>
                <a:srgbClr val="313131"/>
              </a:solidFill>
              <a:ea typeface="ＭＳ Ｐゴシック" pitchFamily="50" charset="-128"/>
              <a:cs typeface="+mn-cs"/>
            </a:endParaRPr>
          </a:p>
        </p:txBody>
      </p:sp>
      <p:sp>
        <p:nvSpPr>
          <p:cNvPr id="11" name="Oval 10"/>
          <p:cNvSpPr>
            <a:spLocks noChangeArrowheads="1"/>
          </p:cNvSpPr>
          <p:nvPr/>
        </p:nvSpPr>
        <p:spPr bwMode="blackWhite">
          <a:xfrm>
            <a:off x="2630000" y="1371600"/>
            <a:ext cx="1445236" cy="803672"/>
          </a:xfrm>
          <a:prstGeom prst="ellipse">
            <a:avLst/>
          </a:prstGeom>
          <a:solidFill>
            <a:srgbClr val="DCDCDC"/>
          </a:solidFill>
          <a:ln w="12700">
            <a:noFill/>
            <a:round/>
            <a:headEnd/>
            <a:tailEnd/>
          </a:ln>
        </p:spPr>
        <p:txBody>
          <a:bodyPr lIns="27000" tIns="27000" rIns="27000" bIns="27000" anchor="ctr"/>
          <a:lstStyle/>
          <a:p>
            <a:pPr algn="ctr" defTabSz="615554">
              <a:lnSpc>
                <a:spcPct val="95000"/>
              </a:lnSpc>
              <a:buClrTx/>
              <a:defRPr/>
            </a:pPr>
            <a:r>
              <a:rPr lang="en-US" sz="1050" kern="1200" dirty="0">
                <a:solidFill>
                  <a:srgbClr val="313131"/>
                </a:solidFill>
                <a:ea typeface="ＭＳ Ｐゴシック" pitchFamily="50" charset="-128"/>
                <a:cs typeface="+mn-cs"/>
              </a:rPr>
              <a:t>Improve core</a:t>
            </a:r>
          </a:p>
          <a:p>
            <a:pPr algn="ctr" defTabSz="615554">
              <a:lnSpc>
                <a:spcPct val="95000"/>
              </a:lnSpc>
              <a:buClrTx/>
              <a:defRPr/>
            </a:pPr>
            <a:r>
              <a:rPr lang="en-US" sz="1050" kern="1200" dirty="0">
                <a:solidFill>
                  <a:srgbClr val="313131"/>
                </a:solidFill>
                <a:ea typeface="ＭＳ Ｐゴシック" pitchFamily="50" charset="-128"/>
                <a:cs typeface="+mn-cs"/>
              </a:rPr>
              <a:t>business</a:t>
            </a:r>
          </a:p>
          <a:p>
            <a:pPr algn="ctr" defTabSz="615554">
              <a:lnSpc>
                <a:spcPct val="95000"/>
              </a:lnSpc>
              <a:buClrTx/>
              <a:defRPr/>
            </a:pPr>
            <a:r>
              <a:rPr lang="en-US" sz="1050" kern="1200" dirty="0">
                <a:solidFill>
                  <a:srgbClr val="313131"/>
                </a:solidFill>
                <a:ea typeface="ＭＳ Ｐゴシック" pitchFamily="50" charset="-128"/>
                <a:cs typeface="+mn-cs"/>
              </a:rPr>
              <a:t>performance</a:t>
            </a:r>
          </a:p>
        </p:txBody>
      </p:sp>
      <p:sp>
        <p:nvSpPr>
          <p:cNvPr id="12" name="Oval 11"/>
          <p:cNvSpPr>
            <a:spLocks noChangeArrowheads="1"/>
          </p:cNvSpPr>
          <p:nvPr/>
        </p:nvSpPr>
        <p:spPr bwMode="blackWhite">
          <a:xfrm>
            <a:off x="5124817" y="3240711"/>
            <a:ext cx="1440839" cy="724241"/>
          </a:xfrm>
          <a:prstGeom prst="ellipse">
            <a:avLst/>
          </a:prstGeom>
          <a:solidFill>
            <a:srgbClr val="DCDCDC"/>
          </a:solidFill>
          <a:ln w="12700">
            <a:noFill/>
            <a:round/>
            <a:headEnd/>
            <a:tailEnd/>
          </a:ln>
        </p:spPr>
        <p:txBody>
          <a:bodyPr lIns="27000" tIns="27000" rIns="27000" bIns="27000" anchor="ctr">
            <a:spAutoFit/>
          </a:bodyPr>
          <a:lstStyle/>
          <a:p>
            <a:pPr algn="ctr" defTabSz="615554">
              <a:lnSpc>
                <a:spcPct val="95000"/>
              </a:lnSpc>
              <a:buClrTx/>
              <a:defRPr/>
            </a:pPr>
            <a:r>
              <a:rPr lang="en-US" sz="1050" kern="1200">
                <a:solidFill>
                  <a:srgbClr val="313131"/>
                </a:solidFill>
                <a:ea typeface="ＭＳ Ｐゴシック" pitchFamily="50" charset="-128"/>
                <a:cs typeface="+mn-cs"/>
              </a:rPr>
              <a:t>Grow through</a:t>
            </a:r>
          </a:p>
          <a:p>
            <a:pPr algn="ctr" defTabSz="615554">
              <a:lnSpc>
                <a:spcPct val="95000"/>
              </a:lnSpc>
              <a:buClrTx/>
              <a:defRPr/>
            </a:pPr>
            <a:r>
              <a:rPr lang="en-US" sz="1050" kern="1200">
                <a:solidFill>
                  <a:srgbClr val="313131"/>
                </a:solidFill>
                <a:ea typeface="ＭＳ Ｐゴシック" pitchFamily="50" charset="-128"/>
                <a:cs typeface="+mn-cs"/>
              </a:rPr>
              <a:t>acquisition</a:t>
            </a:r>
          </a:p>
          <a:p>
            <a:pPr algn="ctr" defTabSz="615554">
              <a:lnSpc>
                <a:spcPct val="95000"/>
              </a:lnSpc>
              <a:buClrTx/>
              <a:defRPr/>
            </a:pPr>
            <a:r>
              <a:rPr lang="en-US" sz="1050" kern="1200">
                <a:solidFill>
                  <a:srgbClr val="313131"/>
                </a:solidFill>
                <a:ea typeface="ＭＳ Ｐゴシック" pitchFamily="50" charset="-128"/>
                <a:cs typeface="+mn-cs"/>
              </a:rPr>
              <a:t>and/or merger</a:t>
            </a:r>
            <a:endParaRPr lang="en-US" sz="1050" kern="1200" dirty="0">
              <a:solidFill>
                <a:srgbClr val="313131"/>
              </a:solidFill>
              <a:ea typeface="ＭＳ Ｐゴシック" pitchFamily="50" charset="-128"/>
              <a:cs typeface="+mn-cs"/>
            </a:endParaRPr>
          </a:p>
        </p:txBody>
      </p:sp>
      <p:sp>
        <p:nvSpPr>
          <p:cNvPr id="13" name="Oval 12"/>
          <p:cNvSpPr>
            <a:spLocks noChangeArrowheads="1"/>
          </p:cNvSpPr>
          <p:nvPr/>
        </p:nvSpPr>
        <p:spPr bwMode="blackWhite">
          <a:xfrm>
            <a:off x="2630000" y="3199209"/>
            <a:ext cx="1445236" cy="803672"/>
          </a:xfrm>
          <a:prstGeom prst="ellipse">
            <a:avLst/>
          </a:prstGeom>
          <a:solidFill>
            <a:srgbClr val="DCDCDC"/>
          </a:solidFill>
          <a:ln w="12700">
            <a:noFill/>
            <a:round/>
            <a:headEnd/>
            <a:tailEnd/>
          </a:ln>
        </p:spPr>
        <p:txBody>
          <a:bodyPr lIns="27000" tIns="27000" rIns="27000" bIns="27000" anchor="ctr"/>
          <a:lstStyle/>
          <a:p>
            <a:pPr algn="ctr" defTabSz="615554">
              <a:lnSpc>
                <a:spcPct val="95000"/>
              </a:lnSpc>
              <a:buClrTx/>
              <a:defRPr/>
            </a:pPr>
            <a:r>
              <a:rPr lang="en-US" sz="1050" kern="1200">
                <a:solidFill>
                  <a:srgbClr val="313131"/>
                </a:solidFill>
                <a:ea typeface="ＭＳ Ｐゴシック" pitchFamily="50" charset="-128"/>
                <a:cs typeface="+mn-cs"/>
              </a:rPr>
              <a:t>Adopt sound</a:t>
            </a:r>
          </a:p>
          <a:p>
            <a:pPr algn="ctr" defTabSz="615554">
              <a:lnSpc>
                <a:spcPct val="95000"/>
              </a:lnSpc>
              <a:buClrTx/>
              <a:defRPr/>
            </a:pPr>
            <a:r>
              <a:rPr lang="en-US" sz="1050" kern="1200">
                <a:solidFill>
                  <a:srgbClr val="313131"/>
                </a:solidFill>
                <a:ea typeface="ＭＳ Ｐゴシック" pitchFamily="50" charset="-128"/>
                <a:cs typeface="+mn-cs"/>
              </a:rPr>
              <a:t>financing</a:t>
            </a:r>
          </a:p>
          <a:p>
            <a:pPr algn="ctr" defTabSz="615554">
              <a:lnSpc>
                <a:spcPct val="95000"/>
              </a:lnSpc>
              <a:buClrTx/>
              <a:defRPr/>
            </a:pPr>
            <a:r>
              <a:rPr lang="en-US" sz="1050" kern="1200">
                <a:solidFill>
                  <a:srgbClr val="313131"/>
                </a:solidFill>
                <a:ea typeface="ＭＳ Ｐゴシック" pitchFamily="50" charset="-128"/>
                <a:cs typeface="+mn-cs"/>
              </a:rPr>
              <a:t>approach</a:t>
            </a:r>
            <a:endParaRPr lang="en-US" sz="1050" kern="1200" dirty="0">
              <a:solidFill>
                <a:srgbClr val="313131"/>
              </a:solidFill>
              <a:ea typeface="ＭＳ Ｐゴシック" pitchFamily="50" charset="-128"/>
              <a:cs typeface="+mn-cs"/>
            </a:endParaRPr>
          </a:p>
        </p:txBody>
      </p:sp>
      <p:sp>
        <p:nvSpPr>
          <p:cNvPr id="8" name="Oval 7"/>
          <p:cNvSpPr>
            <a:spLocks noChangeArrowheads="1"/>
          </p:cNvSpPr>
          <p:nvPr/>
        </p:nvSpPr>
        <p:spPr bwMode="blackWhite">
          <a:xfrm>
            <a:off x="3923568" y="2284809"/>
            <a:ext cx="1435344" cy="804863"/>
          </a:xfrm>
          <a:prstGeom prst="ellipse">
            <a:avLst/>
          </a:prstGeom>
          <a:solidFill>
            <a:srgbClr val="8C8C8C"/>
          </a:solidFill>
          <a:ln w="12700">
            <a:solidFill>
              <a:srgbClr val="8C8C8C"/>
            </a:solidFill>
            <a:round/>
            <a:headEnd/>
            <a:tailEnd/>
          </a:ln>
        </p:spPr>
        <p:txBody>
          <a:bodyPr lIns="27000" tIns="27000" rIns="27000" bIns="27000" anchor="ctr"/>
          <a:lstStyle/>
          <a:p>
            <a:pPr algn="ctr" defTabSz="615554">
              <a:lnSpc>
                <a:spcPct val="95000"/>
              </a:lnSpc>
              <a:buClrTx/>
              <a:defRPr/>
            </a:pPr>
            <a:r>
              <a:rPr lang="en-US" sz="1050" kern="1200">
                <a:solidFill>
                  <a:prstClr val="white"/>
                </a:solidFill>
                <a:ea typeface="ＭＳ Ｐゴシック" pitchFamily="50" charset="-128"/>
                <a:cs typeface="+mn-cs"/>
              </a:rPr>
              <a:t>Maximize</a:t>
            </a:r>
          </a:p>
          <a:p>
            <a:pPr algn="ctr" defTabSz="615554">
              <a:lnSpc>
                <a:spcPct val="95000"/>
              </a:lnSpc>
              <a:buClrTx/>
              <a:defRPr/>
            </a:pPr>
            <a:r>
              <a:rPr lang="en-US" sz="1050" kern="1200">
                <a:solidFill>
                  <a:prstClr val="white"/>
                </a:solidFill>
                <a:ea typeface="ＭＳ Ｐゴシック" pitchFamily="50" charset="-128"/>
                <a:cs typeface="+mn-cs"/>
              </a:rPr>
              <a:t>shareholder</a:t>
            </a:r>
          </a:p>
          <a:p>
            <a:pPr algn="ctr" defTabSz="615554">
              <a:lnSpc>
                <a:spcPct val="95000"/>
              </a:lnSpc>
              <a:buClrTx/>
              <a:defRPr/>
            </a:pPr>
            <a:r>
              <a:rPr lang="en-US" sz="1050" kern="1200">
                <a:solidFill>
                  <a:prstClr val="white"/>
                </a:solidFill>
                <a:ea typeface="ＭＳ Ｐゴシック" pitchFamily="50" charset="-128"/>
                <a:cs typeface="+mn-cs"/>
              </a:rPr>
              <a:t>value</a:t>
            </a:r>
            <a:endParaRPr lang="en-US" sz="1050" kern="1200" dirty="0">
              <a:solidFill>
                <a:prstClr val="white"/>
              </a:solidFill>
              <a:ea typeface="ＭＳ Ｐゴシック" pitchFamily="50" charset="-128"/>
              <a:cs typeface="+mn-cs"/>
            </a:endParaRPr>
          </a:p>
        </p:txBody>
      </p:sp>
      <p:sp>
        <p:nvSpPr>
          <p:cNvPr id="15"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Tree>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1394" name="Title 1"/>
          <p:cNvSpPr>
            <a:spLocks noGrp="1"/>
          </p:cNvSpPr>
          <p:nvPr>
            <p:ph type="title"/>
          </p:nvPr>
        </p:nvSpPr>
        <p:spPr/>
        <p:txBody>
          <a:bodyPr/>
          <a:lstStyle/>
          <a:p>
            <a:r>
              <a:rPr lang="en-US" dirty="0">
                <a:solidFill>
                  <a:srgbClr val="81BC00"/>
                </a:solidFill>
              </a:rPr>
              <a:t>Tables </a:t>
            </a:r>
            <a:br>
              <a:rPr lang="en-US" dirty="0">
                <a:solidFill>
                  <a:srgbClr val="81BC00"/>
                </a:solidFill>
              </a:rPr>
            </a:br>
            <a:r>
              <a:rPr lang="en-US" dirty="0">
                <a:solidFill>
                  <a:srgbClr val="575757"/>
                </a:solidFill>
              </a:rPr>
              <a:t>Data table</a:t>
            </a:r>
          </a:p>
        </p:txBody>
      </p:sp>
      <p:graphicFrame>
        <p:nvGraphicFramePr>
          <p:cNvPr id="6" name="Group 3"/>
          <p:cNvGraphicFramePr>
            <a:graphicFrameLocks/>
          </p:cNvGraphicFramePr>
          <p:nvPr>
            <p:custDataLst>
              <p:tags r:id="rId1"/>
            </p:custDataLst>
          </p:nvPr>
        </p:nvGraphicFramePr>
        <p:xfrm>
          <a:off x="1440656" y="1268730"/>
          <a:ext cx="6262686" cy="3227061"/>
        </p:xfrm>
        <a:graphic>
          <a:graphicData uri="http://schemas.openxmlformats.org/drawingml/2006/table">
            <a:tbl>
              <a:tblPr>
                <a:tableStyleId>{8799B23B-EC83-4686-B30A-512413B5E67A}</a:tableStyleId>
              </a:tblPr>
              <a:tblGrid>
                <a:gridCol w="1024046">
                  <a:extLst>
                    <a:ext uri="{9D8B030D-6E8A-4147-A177-3AD203B41FA5}">
                      <a16:colId xmlns:a16="http://schemas.microsoft.com/office/drawing/2014/main" val="20000"/>
                    </a:ext>
                  </a:extLst>
                </a:gridCol>
                <a:gridCol w="654830">
                  <a:extLst>
                    <a:ext uri="{9D8B030D-6E8A-4147-A177-3AD203B41FA5}">
                      <a16:colId xmlns:a16="http://schemas.microsoft.com/office/drawing/2014/main" val="20001"/>
                    </a:ext>
                  </a:extLst>
                </a:gridCol>
                <a:gridCol w="654830">
                  <a:extLst>
                    <a:ext uri="{9D8B030D-6E8A-4147-A177-3AD203B41FA5}">
                      <a16:colId xmlns:a16="http://schemas.microsoft.com/office/drawing/2014/main" val="20002"/>
                    </a:ext>
                  </a:extLst>
                </a:gridCol>
                <a:gridCol w="654830">
                  <a:extLst>
                    <a:ext uri="{9D8B030D-6E8A-4147-A177-3AD203B41FA5}">
                      <a16:colId xmlns:a16="http://schemas.microsoft.com/office/drawing/2014/main" val="20003"/>
                    </a:ext>
                  </a:extLst>
                </a:gridCol>
                <a:gridCol w="654830">
                  <a:extLst>
                    <a:ext uri="{9D8B030D-6E8A-4147-A177-3AD203B41FA5}">
                      <a16:colId xmlns:a16="http://schemas.microsoft.com/office/drawing/2014/main" val="20004"/>
                    </a:ext>
                  </a:extLst>
                </a:gridCol>
                <a:gridCol w="654830">
                  <a:extLst>
                    <a:ext uri="{9D8B030D-6E8A-4147-A177-3AD203B41FA5}">
                      <a16:colId xmlns:a16="http://schemas.microsoft.com/office/drawing/2014/main" val="20005"/>
                    </a:ext>
                  </a:extLst>
                </a:gridCol>
                <a:gridCol w="654830">
                  <a:extLst>
                    <a:ext uri="{9D8B030D-6E8A-4147-A177-3AD203B41FA5}">
                      <a16:colId xmlns:a16="http://schemas.microsoft.com/office/drawing/2014/main" val="20006"/>
                    </a:ext>
                  </a:extLst>
                </a:gridCol>
                <a:gridCol w="654830">
                  <a:extLst>
                    <a:ext uri="{9D8B030D-6E8A-4147-A177-3AD203B41FA5}">
                      <a16:colId xmlns:a16="http://schemas.microsoft.com/office/drawing/2014/main" val="20007"/>
                    </a:ext>
                  </a:extLst>
                </a:gridCol>
                <a:gridCol w="654830">
                  <a:extLst>
                    <a:ext uri="{9D8B030D-6E8A-4147-A177-3AD203B41FA5}">
                      <a16:colId xmlns:a16="http://schemas.microsoft.com/office/drawing/2014/main" val="20008"/>
                    </a:ext>
                  </a:extLst>
                </a:gridCol>
              </a:tblGrid>
              <a:tr h="24788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1" i="0" u="none" strike="noStrike" kern="1200" cap="none" normalizeH="0" baseline="0" dirty="0">
                        <a:ln>
                          <a:noFill/>
                        </a:ln>
                        <a:solidFill>
                          <a:schemeClr val="tx1"/>
                        </a:solidFill>
                        <a:effectLst/>
                        <a:latin typeface="Arial" charset="0"/>
                        <a:ea typeface="+mn-ea"/>
                        <a:cs typeface="+mn-cs"/>
                      </a:endParaRPr>
                    </a:p>
                  </a:txBody>
                  <a:tcPr marL="27000" marR="27000" marT="27000" marB="27000" anchor="ctr" horzOverflow="overflow">
                    <a:lnL w="12700" cmpd="sng">
                      <a:noFill/>
                    </a:lnL>
                    <a:lnR w="12700"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u="none" strike="noStrike" cap="none" normalizeH="0" baseline="0" dirty="0">
                          <a:ln>
                            <a:noFill/>
                          </a:ln>
                          <a:solidFill>
                            <a:schemeClr val="bg1"/>
                          </a:solidFill>
                          <a:effectLst/>
                        </a:rPr>
                        <a:t>Subhead</a:t>
                      </a:r>
                      <a:endParaRPr kumimoji="0" lang="en-US" sz="800" b="1" i="0" u="none" strike="noStrike" cap="none" normalizeH="0" baseline="0" dirty="0">
                        <a:ln>
                          <a:noFill/>
                        </a:ln>
                        <a:solidFill>
                          <a:schemeClr val="bg1"/>
                        </a:solidFill>
                        <a:effectLst/>
                        <a:latin typeface="Arial" charset="0"/>
                      </a:endParaRPr>
                    </a:p>
                  </a:txBody>
                  <a:tcPr marL="27000" marR="27000" marT="27000" marB="27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u="none" strike="noStrike" cap="none" normalizeH="0" baseline="0" dirty="0">
                          <a:ln>
                            <a:noFill/>
                          </a:ln>
                          <a:solidFill>
                            <a:schemeClr val="bg1"/>
                          </a:solidFill>
                          <a:effectLst/>
                        </a:rPr>
                        <a:t>Subhead</a:t>
                      </a:r>
                      <a:endParaRPr kumimoji="0" lang="en-US" sz="800" b="1" i="0" u="none" strike="noStrike" cap="none" normalizeH="0" baseline="0" dirty="0">
                        <a:ln>
                          <a:noFill/>
                        </a:ln>
                        <a:solidFill>
                          <a:schemeClr val="bg1"/>
                        </a:solidFill>
                        <a:effectLst/>
                        <a:latin typeface="Arial" charset="0"/>
                      </a:endParaRPr>
                    </a:p>
                  </a:txBody>
                  <a:tcPr marL="27000" marR="27000" marT="27000" marB="27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u="none" strike="noStrike" cap="none" normalizeH="0" baseline="0" dirty="0">
                          <a:ln>
                            <a:noFill/>
                          </a:ln>
                          <a:solidFill>
                            <a:schemeClr val="bg1"/>
                          </a:solidFill>
                          <a:effectLst/>
                        </a:rPr>
                        <a:t>Subhead</a:t>
                      </a:r>
                      <a:endParaRPr kumimoji="0" lang="en-US" sz="800" b="1" i="0" u="none" strike="noStrike" cap="none" normalizeH="0" baseline="0" dirty="0">
                        <a:ln>
                          <a:noFill/>
                        </a:ln>
                        <a:solidFill>
                          <a:schemeClr val="bg1"/>
                        </a:solidFill>
                        <a:effectLst/>
                        <a:latin typeface="Arial" charset="0"/>
                      </a:endParaRPr>
                    </a:p>
                  </a:txBody>
                  <a:tcPr marL="27000" marR="27000" marT="27000" marB="27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u="none" strike="noStrike" cap="none" normalizeH="0" baseline="0" dirty="0">
                          <a:ln>
                            <a:noFill/>
                          </a:ln>
                          <a:solidFill>
                            <a:schemeClr val="bg1"/>
                          </a:solidFill>
                          <a:effectLst/>
                        </a:rPr>
                        <a:t>Subhead</a:t>
                      </a:r>
                      <a:endParaRPr kumimoji="0" lang="en-US" sz="800" b="1" i="0" u="none" strike="noStrike" cap="none" normalizeH="0" baseline="0" dirty="0">
                        <a:ln>
                          <a:noFill/>
                        </a:ln>
                        <a:solidFill>
                          <a:schemeClr val="bg1"/>
                        </a:solidFill>
                        <a:effectLst/>
                        <a:latin typeface="Arial" charset="0"/>
                      </a:endParaRPr>
                    </a:p>
                  </a:txBody>
                  <a:tcPr marL="27000" marR="27000" marT="27000" marB="27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u="none" strike="noStrike" cap="none" normalizeH="0" baseline="0" dirty="0">
                          <a:ln>
                            <a:noFill/>
                          </a:ln>
                          <a:solidFill>
                            <a:schemeClr val="bg1"/>
                          </a:solidFill>
                          <a:effectLst/>
                        </a:rPr>
                        <a:t>Subhead</a:t>
                      </a:r>
                      <a:endParaRPr kumimoji="0" lang="en-US" sz="800" b="1" i="0" u="none" strike="noStrike" cap="none" normalizeH="0" baseline="0" dirty="0">
                        <a:ln>
                          <a:noFill/>
                        </a:ln>
                        <a:solidFill>
                          <a:schemeClr val="bg1"/>
                        </a:solidFill>
                        <a:effectLst/>
                        <a:latin typeface="Arial" charset="0"/>
                      </a:endParaRPr>
                    </a:p>
                  </a:txBody>
                  <a:tcPr marL="27000" marR="27000" marT="27000" marB="27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u="none" strike="noStrike" cap="none" normalizeH="0" baseline="0" dirty="0">
                          <a:ln>
                            <a:noFill/>
                          </a:ln>
                          <a:solidFill>
                            <a:schemeClr val="bg1"/>
                          </a:solidFill>
                          <a:effectLst/>
                        </a:rPr>
                        <a:t>Subhead</a:t>
                      </a:r>
                      <a:endParaRPr kumimoji="0" lang="en-US" sz="800" b="1" i="0" u="none" strike="noStrike" cap="none" normalizeH="0" baseline="0" dirty="0">
                        <a:ln>
                          <a:noFill/>
                        </a:ln>
                        <a:solidFill>
                          <a:schemeClr val="bg1"/>
                        </a:solidFill>
                        <a:effectLst/>
                        <a:latin typeface="Arial" charset="0"/>
                      </a:endParaRPr>
                    </a:p>
                  </a:txBody>
                  <a:tcPr marL="27000" marR="27000" marT="27000" marB="27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u="none" strike="noStrike" cap="none" normalizeH="0" baseline="0" dirty="0">
                          <a:ln>
                            <a:noFill/>
                          </a:ln>
                          <a:solidFill>
                            <a:schemeClr val="bg1"/>
                          </a:solidFill>
                          <a:effectLst/>
                        </a:rPr>
                        <a:t>Subhead</a:t>
                      </a:r>
                      <a:endParaRPr kumimoji="0" lang="en-US" sz="800" b="1" i="0" u="none" strike="noStrike" cap="none" normalizeH="0" baseline="0" dirty="0">
                        <a:ln>
                          <a:noFill/>
                        </a:ln>
                        <a:solidFill>
                          <a:schemeClr val="bg1"/>
                        </a:solidFill>
                        <a:effectLst/>
                        <a:latin typeface="Arial" charset="0"/>
                      </a:endParaRPr>
                    </a:p>
                  </a:txBody>
                  <a:tcPr marL="27000" marR="27000" marT="27000" marB="27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u="none" strike="noStrike" cap="none" normalizeH="0" baseline="0" dirty="0">
                          <a:ln>
                            <a:noFill/>
                          </a:ln>
                          <a:solidFill>
                            <a:schemeClr val="bg1"/>
                          </a:solidFill>
                          <a:effectLst/>
                        </a:rPr>
                        <a:t>Subhead</a:t>
                      </a:r>
                      <a:endParaRPr kumimoji="0" lang="en-US" sz="800" b="1" i="0" u="none" strike="noStrike" cap="none" normalizeH="0" baseline="0" dirty="0">
                        <a:ln>
                          <a:noFill/>
                        </a:ln>
                        <a:solidFill>
                          <a:schemeClr val="bg1"/>
                        </a:solidFill>
                        <a:effectLst/>
                        <a:latin typeface="Arial" charset="0"/>
                      </a:endParaRPr>
                    </a:p>
                  </a:txBody>
                  <a:tcPr marL="27000" marR="27000" marT="27000" marB="27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A1DE"/>
                    </a:solidFill>
                  </a:tcPr>
                </a:tc>
                <a:extLst>
                  <a:ext uri="{0D108BD9-81ED-4DB2-BD59-A6C34878D82A}">
                    <a16:rowId xmlns:a16="http://schemas.microsoft.com/office/drawing/2014/main" val="10000"/>
                  </a:ext>
                </a:extLst>
              </a:tr>
              <a:tr h="372397">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u="none" strike="noStrike" cap="none" normalizeH="0" baseline="0" dirty="0">
                          <a:ln>
                            <a:noFill/>
                          </a:ln>
                          <a:solidFill>
                            <a:srgbClr val="313131"/>
                          </a:solidFill>
                          <a:effectLst/>
                        </a:rPr>
                        <a:t>Row description</a:t>
                      </a:r>
                      <a:endParaRPr kumimoji="0" lang="en-US" sz="800" b="1"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72397">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u="none" strike="noStrike" cap="none" normalizeH="0" baseline="0" dirty="0">
                          <a:ln>
                            <a:noFill/>
                          </a:ln>
                          <a:solidFill>
                            <a:srgbClr val="313131"/>
                          </a:solidFill>
                          <a:effectLst/>
                        </a:rPr>
                        <a:t>Row description</a:t>
                      </a:r>
                      <a:endParaRPr kumimoji="0" lang="en-US" sz="800" b="1"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72397">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u="none" strike="noStrike" cap="none" normalizeH="0" baseline="0" dirty="0">
                          <a:ln>
                            <a:noFill/>
                          </a:ln>
                          <a:solidFill>
                            <a:srgbClr val="313131"/>
                          </a:solidFill>
                          <a:effectLst/>
                        </a:rPr>
                        <a:t>Row description</a:t>
                      </a:r>
                      <a:endParaRPr kumimoji="0" lang="en-US" sz="800" b="1"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72397">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u="none" strike="noStrike" cap="none" normalizeH="0" baseline="0" dirty="0">
                          <a:ln>
                            <a:noFill/>
                          </a:ln>
                          <a:solidFill>
                            <a:srgbClr val="313131"/>
                          </a:solidFill>
                          <a:effectLst/>
                        </a:rPr>
                        <a:t>Row description</a:t>
                      </a:r>
                      <a:endParaRPr kumimoji="0" lang="en-US" sz="800" b="1"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72397">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u="none" strike="noStrike" cap="none" normalizeH="0" baseline="0" dirty="0">
                          <a:ln>
                            <a:noFill/>
                          </a:ln>
                          <a:solidFill>
                            <a:srgbClr val="313131"/>
                          </a:solidFill>
                          <a:effectLst/>
                        </a:rPr>
                        <a:t>Row description</a:t>
                      </a:r>
                      <a:endParaRPr kumimoji="0" lang="en-US" sz="800" b="1"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72397">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u="none" strike="noStrike" cap="none" normalizeH="0" baseline="0" dirty="0">
                          <a:ln>
                            <a:noFill/>
                          </a:ln>
                          <a:solidFill>
                            <a:srgbClr val="313131"/>
                          </a:solidFill>
                          <a:effectLst/>
                        </a:rPr>
                        <a:t>Row description</a:t>
                      </a:r>
                      <a:endParaRPr kumimoji="0" lang="en-US" sz="800" b="1"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372397">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u="none" strike="noStrike" cap="none" normalizeH="0" baseline="0" dirty="0">
                          <a:ln>
                            <a:noFill/>
                          </a:ln>
                          <a:solidFill>
                            <a:srgbClr val="313131"/>
                          </a:solidFill>
                          <a:effectLst/>
                        </a:rPr>
                        <a:t>Row description</a:t>
                      </a:r>
                      <a:endParaRPr kumimoji="0" lang="en-US" sz="800" b="1"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372397">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u="none" strike="noStrike" cap="none" normalizeH="0" baseline="0" dirty="0">
                          <a:ln>
                            <a:noFill/>
                          </a:ln>
                          <a:solidFill>
                            <a:srgbClr val="313131"/>
                          </a:solidFill>
                          <a:effectLst/>
                        </a:rPr>
                        <a:t>Row description</a:t>
                      </a:r>
                      <a:endParaRPr kumimoji="0" lang="en-US" sz="800" b="1"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u="none" strike="noStrike" cap="none" normalizeH="0" baseline="0" dirty="0">
                          <a:ln>
                            <a:noFill/>
                          </a:ln>
                          <a:solidFill>
                            <a:srgbClr val="313131"/>
                          </a:solidFill>
                          <a:effectLst/>
                        </a:rPr>
                        <a:t>xx</a:t>
                      </a:r>
                      <a:endParaRPr kumimoji="0" lang="en-US" sz="800" b="0" i="0" u="none" strike="noStrike" cap="none" normalizeH="0" baseline="0" dirty="0">
                        <a:ln>
                          <a:noFill/>
                        </a:ln>
                        <a:solidFill>
                          <a:srgbClr val="313131"/>
                        </a:solidFill>
                        <a:effectLst/>
                        <a:latin typeface="Arial" charset="0"/>
                      </a:endParaRPr>
                    </a:p>
                  </a:txBody>
                  <a:tcPr marL="27000" marR="27000" marT="27000" marB="27000" anchor="ctr" horzOverflow="overflow">
                    <a:lnL w="12700" cmpd="sng">
                      <a:noFill/>
                    </a:lnL>
                    <a:lnR w="12700" cmpd="sng">
                      <a:noFill/>
                    </a:lnR>
                    <a:lnT w="12700" cap="flat" cmpd="sng" algn="ctr">
                      <a:solidFill>
                        <a:srgbClr val="00A1DE"/>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7" name="Text Placeholder 12"/>
          <p:cNvSpPr>
            <a:spLocks/>
          </p:cNvSpPr>
          <p:nvPr>
            <p:custDataLst>
              <p:tags r:id="rId2"/>
            </p:custDataLst>
          </p:nvPr>
        </p:nvSpPr>
        <p:spPr bwMode="auto">
          <a:xfrm>
            <a:off x="1440656" y="1131570"/>
            <a:ext cx="197170"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Text</a:t>
            </a:r>
          </a:p>
        </p:txBody>
      </p:sp>
    </p:spTree>
    <p:extLst>
      <p:ext uri="{BB962C8B-B14F-4D97-AF65-F5344CB8AC3E}">
        <p14:creationId xmlns:p14="http://schemas.microsoft.com/office/powerpoint/2010/main" val="3913411119"/>
      </p:ext>
    </p:extLst>
  </p:cSld>
  <p:clrMapOvr>
    <a:masterClrMapping/>
  </p:clrMapOvr>
  <p:transition>
    <p:fade/>
  </p:transition>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5169" name="Title 1"/>
          <p:cNvSpPr>
            <a:spLocks noGrp="1"/>
          </p:cNvSpPr>
          <p:nvPr>
            <p:ph type="title"/>
          </p:nvPr>
        </p:nvSpPr>
        <p:spPr/>
        <p:txBody>
          <a:bodyPr/>
          <a:lstStyle/>
          <a:p>
            <a:r>
              <a:rPr lang="en-US" altLang="ja-JP"/>
              <a:t>Portfolio matrix</a:t>
            </a:r>
            <a:endParaRPr lang="en-US"/>
          </a:p>
        </p:txBody>
      </p:sp>
      <p:grpSp>
        <p:nvGrpSpPr>
          <p:cNvPr id="7" name="Group 6"/>
          <p:cNvGrpSpPr/>
          <p:nvPr/>
        </p:nvGrpSpPr>
        <p:grpSpPr>
          <a:xfrm>
            <a:off x="4745916" y="1404546"/>
            <a:ext cx="2815695" cy="2769245"/>
            <a:chOff x="4803888" y="1781288"/>
            <a:chExt cx="3754260" cy="3692326"/>
          </a:xfrm>
        </p:grpSpPr>
        <p:sp>
          <p:nvSpPr>
            <p:cNvPr id="775171" name="Rectangle 3"/>
            <p:cNvSpPr>
              <a:spLocks noChangeArrowheads="1"/>
            </p:cNvSpPr>
            <p:nvPr/>
          </p:nvSpPr>
          <p:spPr bwMode="auto">
            <a:xfrm>
              <a:off x="5976146" y="5165838"/>
              <a:ext cx="2391681" cy="307776"/>
            </a:xfrm>
            <a:prstGeom prst="rect">
              <a:avLst/>
            </a:prstGeom>
            <a:noFill/>
            <a:ln w="9525">
              <a:noFill/>
              <a:miter lim="800000"/>
              <a:headEnd/>
              <a:tailEnd/>
            </a:ln>
          </p:spPr>
          <p:txBody>
            <a:bodyPr wrap="none" lIns="0" tIns="0" rIns="0" bIns="0">
              <a:spAutoFit/>
            </a:bodyPr>
            <a:lstStyle/>
            <a:p>
              <a:pPr algn="ctr" defTabSz="685800">
                <a:buClrTx/>
              </a:pPr>
              <a:r>
                <a:rPr lang="en-US" altLang="ja-JP" sz="750" b="1" kern="1200" dirty="0">
                  <a:solidFill>
                    <a:srgbClr val="313131"/>
                  </a:solidFill>
                  <a:ea typeface="ＭＳ Ｐゴシック" charset="-128"/>
                  <a:cs typeface="+mn-cs"/>
                </a:rPr>
                <a:t>Competitive position</a:t>
              </a:r>
            </a:p>
            <a:p>
              <a:pPr algn="ctr" defTabSz="685800">
                <a:buClrTx/>
              </a:pPr>
              <a:r>
                <a:rPr lang="en-US" altLang="ja-JP" sz="750" b="1" kern="1200" dirty="0">
                  <a:solidFill>
                    <a:srgbClr val="313131"/>
                  </a:solidFill>
                  <a:ea typeface="ＭＳ Ｐゴシック" charset="-128"/>
                  <a:cs typeface="+mn-cs"/>
                </a:rPr>
                <a:t>(returns compared to industry average)</a:t>
              </a:r>
            </a:p>
          </p:txBody>
        </p:sp>
        <p:sp>
          <p:nvSpPr>
            <p:cNvPr id="775172" name="Text Box 4"/>
            <p:cNvSpPr txBox="1">
              <a:spLocks noChangeArrowheads="1"/>
            </p:cNvSpPr>
            <p:nvPr/>
          </p:nvSpPr>
          <p:spPr bwMode="auto">
            <a:xfrm>
              <a:off x="5706724" y="4772947"/>
              <a:ext cx="232971" cy="153888"/>
            </a:xfrm>
            <a:prstGeom prst="rect">
              <a:avLst/>
            </a:prstGeom>
            <a:noFill/>
            <a:ln w="9525">
              <a:noFill/>
              <a:miter lim="800000"/>
              <a:headEnd type="none" w="sm" len="sm"/>
              <a:tailEnd type="none" w="med" len="lg"/>
            </a:ln>
          </p:spPr>
          <p:txBody>
            <a:bodyPr wrap="none" lIns="0" tIns="0" rIns="0" bIns="0">
              <a:spAutoFit/>
            </a:bodyPr>
            <a:lstStyle/>
            <a:p>
              <a:pPr defTabSz="685800">
                <a:buClrTx/>
              </a:pPr>
              <a:r>
                <a:rPr lang="en-US" altLang="ja-JP" sz="750" kern="1200" dirty="0">
                  <a:solidFill>
                    <a:srgbClr val="313131"/>
                  </a:solidFill>
                  <a:ea typeface="ＭＳ Ｐゴシック" charset="-128"/>
                  <a:cs typeface="+mn-cs"/>
                </a:rPr>
                <a:t>Low</a:t>
              </a:r>
            </a:p>
          </p:txBody>
        </p:sp>
        <p:sp>
          <p:nvSpPr>
            <p:cNvPr id="775173" name="Text Box 5"/>
            <p:cNvSpPr txBox="1">
              <a:spLocks noChangeArrowheads="1"/>
            </p:cNvSpPr>
            <p:nvPr/>
          </p:nvSpPr>
          <p:spPr bwMode="auto">
            <a:xfrm>
              <a:off x="8286707" y="4772947"/>
              <a:ext cx="260755" cy="153888"/>
            </a:xfrm>
            <a:prstGeom prst="rect">
              <a:avLst/>
            </a:prstGeom>
            <a:noFill/>
            <a:ln w="9525">
              <a:noFill/>
              <a:miter lim="800000"/>
              <a:headEnd type="none" w="sm" len="sm"/>
              <a:tailEnd type="none" w="med" len="lg"/>
            </a:ln>
          </p:spPr>
          <p:txBody>
            <a:bodyPr wrap="none" lIns="0" tIns="0" rIns="0" bIns="0">
              <a:spAutoFit/>
            </a:bodyPr>
            <a:lstStyle/>
            <a:p>
              <a:pPr defTabSz="685800">
                <a:buClrTx/>
              </a:pPr>
              <a:r>
                <a:rPr lang="en-US" altLang="ja-JP" sz="750" kern="1200" dirty="0">
                  <a:solidFill>
                    <a:srgbClr val="313131"/>
                  </a:solidFill>
                  <a:ea typeface="ＭＳ Ｐゴシック" charset="-128"/>
                  <a:cs typeface="+mn-cs"/>
                </a:rPr>
                <a:t>High</a:t>
              </a:r>
            </a:p>
          </p:txBody>
        </p:sp>
        <p:sp>
          <p:nvSpPr>
            <p:cNvPr id="22" name="AutoShape 6"/>
            <p:cNvSpPr>
              <a:spLocks noChangeArrowheads="1"/>
            </p:cNvSpPr>
            <p:nvPr/>
          </p:nvSpPr>
          <p:spPr bwMode="auto">
            <a:xfrm flipH="1" flipV="1">
              <a:off x="5678148" y="1781288"/>
              <a:ext cx="2880000" cy="2880000"/>
            </a:xfrm>
            <a:prstGeom prst="rtTriangle">
              <a:avLst/>
            </a:prstGeom>
            <a:solidFill>
              <a:srgbClr val="00A1DE"/>
            </a:solidFill>
            <a:ln w="12700" algn="ctr">
              <a:solidFill>
                <a:schemeClr val="bg1"/>
              </a:solidFill>
              <a:miter lim="800000"/>
              <a:headEnd/>
              <a:tailEnd/>
            </a:ln>
          </p:spPr>
          <p:txBody>
            <a:bodyPr rot="10800000" wrap="none" lIns="67500" tIns="35100" rIns="67500" bIns="35100" anchor="ctr"/>
            <a:lstStyle/>
            <a:p>
              <a:pPr algn="ctr" defTabSz="685800">
                <a:buClrTx/>
                <a:defRPr/>
              </a:pPr>
              <a:endParaRPr lang="en-US" sz="750" kern="1200" dirty="0">
                <a:solidFill>
                  <a:prstClr val="black"/>
                </a:solidFill>
                <a:ea typeface="+mn-ea"/>
                <a:cs typeface="+mn-cs"/>
              </a:endParaRPr>
            </a:p>
          </p:txBody>
        </p:sp>
        <p:sp>
          <p:nvSpPr>
            <p:cNvPr id="775175" name="Rectangle 7"/>
            <p:cNvSpPr>
              <a:spLocks noChangeArrowheads="1"/>
            </p:cNvSpPr>
            <p:nvPr/>
          </p:nvSpPr>
          <p:spPr bwMode="auto">
            <a:xfrm rot="16200000">
              <a:off x="3511867" y="3181562"/>
              <a:ext cx="2891817" cy="307776"/>
            </a:xfrm>
            <a:prstGeom prst="rect">
              <a:avLst/>
            </a:prstGeom>
            <a:noFill/>
            <a:ln w="9525">
              <a:noFill/>
              <a:miter lim="800000"/>
              <a:headEnd/>
              <a:tailEnd/>
            </a:ln>
          </p:spPr>
          <p:txBody>
            <a:bodyPr wrap="none" lIns="0" tIns="0" rIns="0" bIns="0">
              <a:spAutoFit/>
            </a:bodyPr>
            <a:lstStyle/>
            <a:p>
              <a:pPr algn="ctr" defTabSz="685800">
                <a:buClrTx/>
              </a:pPr>
              <a:r>
                <a:rPr lang="en-US" altLang="ja-JP" sz="750" b="1" kern="1200" dirty="0">
                  <a:solidFill>
                    <a:srgbClr val="313131"/>
                  </a:solidFill>
                  <a:ea typeface="ＭＳ Ｐゴシック" charset="-128"/>
                  <a:cs typeface="+mn-cs"/>
                </a:rPr>
                <a:t>Market attractiveness</a:t>
              </a:r>
            </a:p>
            <a:p>
              <a:pPr algn="ctr" defTabSz="685800">
                <a:buClrTx/>
              </a:pPr>
              <a:r>
                <a:rPr lang="en-US" altLang="ja-JP" sz="750" b="1" kern="1200" dirty="0">
                  <a:solidFill>
                    <a:srgbClr val="313131"/>
                  </a:solidFill>
                  <a:ea typeface="ＭＳ Ｐゴシック" charset="-128"/>
                  <a:cs typeface="+mn-cs"/>
                </a:rPr>
                <a:t>(industry average returns above cost of capital)</a:t>
              </a:r>
            </a:p>
          </p:txBody>
        </p:sp>
        <p:sp>
          <p:nvSpPr>
            <p:cNvPr id="775176" name="Rectangle 8"/>
            <p:cNvSpPr>
              <a:spLocks noChangeArrowheads="1"/>
            </p:cNvSpPr>
            <p:nvPr/>
          </p:nvSpPr>
          <p:spPr bwMode="auto">
            <a:xfrm>
              <a:off x="5678148" y="1781288"/>
              <a:ext cx="2880000" cy="2880000"/>
            </a:xfrm>
            <a:prstGeom prst="rect">
              <a:avLst/>
            </a:prstGeom>
            <a:noFill/>
            <a:ln w="9525">
              <a:solidFill>
                <a:srgbClr val="B4B4B4"/>
              </a:solidFill>
              <a:miter lim="800000"/>
              <a:headEnd/>
              <a:tailEnd/>
            </a:ln>
          </p:spPr>
          <p:txBody>
            <a:bodyPr/>
            <a:lstStyle/>
            <a:p>
              <a:pPr algn="ctr" defTabSz="685800">
                <a:buClrTx/>
              </a:pPr>
              <a:endParaRPr lang="en-US" sz="750" kern="1200">
                <a:solidFill>
                  <a:prstClr val="black"/>
                </a:solidFill>
                <a:ea typeface="+mn-ea"/>
                <a:cs typeface="+mn-cs"/>
              </a:endParaRPr>
            </a:p>
          </p:txBody>
        </p:sp>
        <p:sp>
          <p:nvSpPr>
            <p:cNvPr id="775178" name="Text Box 11"/>
            <p:cNvSpPr txBox="1">
              <a:spLocks noChangeArrowheads="1"/>
            </p:cNvSpPr>
            <p:nvPr/>
          </p:nvSpPr>
          <p:spPr bwMode="auto">
            <a:xfrm>
              <a:off x="7749391" y="1815585"/>
              <a:ext cx="771580" cy="153888"/>
            </a:xfrm>
            <a:prstGeom prst="rect">
              <a:avLst/>
            </a:prstGeom>
            <a:noFill/>
            <a:ln w="9525" algn="ctr">
              <a:noFill/>
              <a:miter lim="800000"/>
              <a:headEnd/>
              <a:tailEnd/>
            </a:ln>
          </p:spPr>
          <p:txBody>
            <a:bodyPr wrap="none" lIns="0" tIns="0" rIns="0" bIns="0">
              <a:spAutoFit/>
            </a:bodyPr>
            <a:lstStyle/>
            <a:p>
              <a:pPr defTabSz="685800">
                <a:buClrTx/>
              </a:pPr>
              <a:r>
                <a:rPr lang="en-US" altLang="ja-JP" sz="750" kern="1200" dirty="0">
                  <a:solidFill>
                    <a:prstClr val="white"/>
                  </a:solidFill>
                  <a:ea typeface="ＭＳ Ｐゴシック" charset="-128"/>
                  <a:cs typeface="+mn-cs"/>
                </a:rPr>
                <a:t>ROCE &gt; </a:t>
              </a:r>
              <a:r>
                <a:rPr lang="en-US" altLang="ja-JP" sz="750" kern="1200" dirty="0" err="1">
                  <a:solidFill>
                    <a:prstClr val="white"/>
                  </a:solidFill>
                  <a:ea typeface="ＭＳ Ｐゴシック" charset="-128"/>
                  <a:cs typeface="+mn-cs"/>
                </a:rPr>
                <a:t>CoC</a:t>
              </a:r>
              <a:endParaRPr lang="en-US" altLang="ja-JP" sz="750" kern="1200" dirty="0">
                <a:solidFill>
                  <a:prstClr val="white"/>
                </a:solidFill>
                <a:ea typeface="ＭＳ Ｐゴシック" charset="-128"/>
                <a:cs typeface="+mn-cs"/>
              </a:endParaRPr>
            </a:p>
          </p:txBody>
        </p:sp>
        <p:sp>
          <p:nvSpPr>
            <p:cNvPr id="775179" name="Text Box 12"/>
            <p:cNvSpPr txBox="1">
              <a:spLocks noChangeArrowheads="1"/>
            </p:cNvSpPr>
            <p:nvPr/>
          </p:nvSpPr>
          <p:spPr bwMode="auto">
            <a:xfrm>
              <a:off x="5714956" y="4463352"/>
              <a:ext cx="771580" cy="153888"/>
            </a:xfrm>
            <a:prstGeom prst="rect">
              <a:avLst/>
            </a:prstGeom>
            <a:noFill/>
            <a:ln w="9525" algn="ctr">
              <a:noFill/>
              <a:miter lim="800000"/>
              <a:headEnd/>
              <a:tailEnd/>
            </a:ln>
          </p:spPr>
          <p:txBody>
            <a:bodyPr wrap="none" lIns="0" tIns="0" rIns="0" bIns="0">
              <a:spAutoFit/>
            </a:bodyPr>
            <a:lstStyle/>
            <a:p>
              <a:pPr defTabSz="685800">
                <a:buClrTx/>
              </a:pPr>
              <a:r>
                <a:rPr lang="en-US" altLang="ja-JP" sz="750" kern="1200" dirty="0">
                  <a:solidFill>
                    <a:srgbClr val="262626"/>
                  </a:solidFill>
                  <a:ea typeface="ＭＳ Ｐゴシック" charset="-128"/>
                  <a:cs typeface="+mn-cs"/>
                </a:rPr>
                <a:t>ROCE &lt; </a:t>
              </a:r>
              <a:r>
                <a:rPr lang="en-US" altLang="ja-JP" sz="750" kern="1200" dirty="0" err="1">
                  <a:solidFill>
                    <a:srgbClr val="262626"/>
                  </a:solidFill>
                  <a:ea typeface="ＭＳ Ｐゴシック" charset="-128"/>
                  <a:cs typeface="+mn-cs"/>
                </a:rPr>
                <a:t>CoC</a:t>
              </a:r>
              <a:endParaRPr lang="en-US" altLang="ja-JP" sz="750" kern="1200" dirty="0">
                <a:solidFill>
                  <a:srgbClr val="262626"/>
                </a:solidFill>
                <a:ea typeface="ＭＳ Ｐゴシック" charset="-128"/>
                <a:cs typeface="+mn-cs"/>
              </a:endParaRPr>
            </a:p>
          </p:txBody>
        </p:sp>
        <p:sp>
          <p:nvSpPr>
            <p:cNvPr id="775180" name="Text Box 13"/>
            <p:cNvSpPr txBox="1">
              <a:spLocks noChangeArrowheads="1"/>
            </p:cNvSpPr>
            <p:nvPr/>
          </p:nvSpPr>
          <p:spPr bwMode="auto">
            <a:xfrm rot="2587060">
              <a:off x="7150527" y="3684584"/>
              <a:ext cx="771580" cy="153888"/>
            </a:xfrm>
            <a:prstGeom prst="rect">
              <a:avLst/>
            </a:prstGeom>
            <a:noFill/>
            <a:ln w="9525" algn="ctr">
              <a:noFill/>
              <a:miter lim="800000"/>
              <a:headEnd/>
              <a:tailEnd/>
            </a:ln>
          </p:spPr>
          <p:txBody>
            <a:bodyPr wrap="none" lIns="0" tIns="0" rIns="0" bIns="0">
              <a:spAutoFit/>
            </a:bodyPr>
            <a:lstStyle/>
            <a:p>
              <a:pPr defTabSz="685800">
                <a:buClrTx/>
              </a:pPr>
              <a:r>
                <a:rPr lang="en-US" altLang="ja-JP" sz="750" kern="1200" dirty="0">
                  <a:solidFill>
                    <a:srgbClr val="313131"/>
                  </a:solidFill>
                  <a:ea typeface="ＭＳ Ｐゴシック" charset="-128"/>
                  <a:cs typeface="+mn-cs"/>
                </a:rPr>
                <a:t>ROCE = </a:t>
              </a:r>
              <a:r>
                <a:rPr lang="en-US" altLang="ja-JP" sz="750" kern="1200" dirty="0" err="1">
                  <a:solidFill>
                    <a:srgbClr val="313131"/>
                  </a:solidFill>
                  <a:ea typeface="ＭＳ Ｐゴシック" charset="-128"/>
                  <a:cs typeface="+mn-cs"/>
                </a:rPr>
                <a:t>CoC</a:t>
              </a:r>
              <a:endParaRPr lang="en-US" altLang="ja-JP" sz="750" kern="1200" dirty="0">
                <a:solidFill>
                  <a:srgbClr val="313131"/>
                </a:solidFill>
                <a:ea typeface="ＭＳ Ｐゴシック" charset="-128"/>
                <a:cs typeface="+mn-cs"/>
              </a:endParaRPr>
            </a:p>
          </p:txBody>
        </p:sp>
        <p:sp>
          <p:nvSpPr>
            <p:cNvPr id="775181" name="Text Box 14"/>
            <p:cNvSpPr txBox="1">
              <a:spLocks noChangeArrowheads="1"/>
            </p:cNvSpPr>
            <p:nvPr/>
          </p:nvSpPr>
          <p:spPr bwMode="auto">
            <a:xfrm>
              <a:off x="5368076" y="1787639"/>
              <a:ext cx="260755" cy="153888"/>
            </a:xfrm>
            <a:prstGeom prst="rect">
              <a:avLst/>
            </a:prstGeom>
            <a:noFill/>
            <a:ln w="9525">
              <a:noFill/>
              <a:miter lim="800000"/>
              <a:headEnd type="none" w="sm" len="sm"/>
              <a:tailEnd type="none" w="med" len="lg"/>
            </a:ln>
          </p:spPr>
          <p:txBody>
            <a:bodyPr wrap="none" lIns="0" tIns="0" rIns="0" bIns="0">
              <a:spAutoFit/>
            </a:bodyPr>
            <a:lstStyle/>
            <a:p>
              <a:pPr algn="r" defTabSz="685800">
                <a:buClrTx/>
              </a:pPr>
              <a:r>
                <a:rPr lang="en-US" altLang="ja-JP" sz="750" kern="1200" dirty="0">
                  <a:solidFill>
                    <a:srgbClr val="313131"/>
                  </a:solidFill>
                  <a:ea typeface="ＭＳ Ｐゴシック" charset="-128"/>
                  <a:cs typeface="+mn-cs"/>
                </a:rPr>
                <a:t>High</a:t>
              </a:r>
            </a:p>
          </p:txBody>
        </p:sp>
        <p:sp>
          <p:nvSpPr>
            <p:cNvPr id="775182" name="Text Box 15"/>
            <p:cNvSpPr txBox="1">
              <a:spLocks noChangeArrowheads="1"/>
            </p:cNvSpPr>
            <p:nvPr/>
          </p:nvSpPr>
          <p:spPr bwMode="auto">
            <a:xfrm>
              <a:off x="5395860" y="4523678"/>
              <a:ext cx="232971" cy="153888"/>
            </a:xfrm>
            <a:prstGeom prst="rect">
              <a:avLst/>
            </a:prstGeom>
            <a:noFill/>
            <a:ln w="9525">
              <a:noFill/>
              <a:miter lim="800000"/>
              <a:headEnd type="none" w="sm" len="sm"/>
              <a:tailEnd type="none" w="med" len="lg"/>
            </a:ln>
          </p:spPr>
          <p:txBody>
            <a:bodyPr wrap="none" lIns="0" tIns="0" rIns="0" bIns="0">
              <a:spAutoFit/>
            </a:bodyPr>
            <a:lstStyle/>
            <a:p>
              <a:pPr algn="r" defTabSz="685800">
                <a:buClrTx/>
              </a:pPr>
              <a:r>
                <a:rPr lang="en-US" altLang="ja-JP" sz="750" kern="1200" dirty="0">
                  <a:solidFill>
                    <a:srgbClr val="313131"/>
                  </a:solidFill>
                  <a:ea typeface="ＭＳ Ｐゴシック" charset="-128"/>
                  <a:cs typeface="+mn-cs"/>
                </a:rPr>
                <a:t>Low</a:t>
              </a:r>
            </a:p>
          </p:txBody>
        </p:sp>
        <p:cxnSp>
          <p:nvCxnSpPr>
            <p:cNvPr id="25" name="Straight Connector 24"/>
            <p:cNvCxnSpPr/>
            <p:nvPr/>
          </p:nvCxnSpPr>
          <p:spPr>
            <a:xfrm>
              <a:off x="5678148" y="3221288"/>
              <a:ext cx="1440000" cy="0"/>
            </a:xfrm>
            <a:prstGeom prst="line">
              <a:avLst/>
            </a:prstGeom>
            <a:ln w="12700">
              <a:solidFill>
                <a:srgbClr val="8C8C8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118148" y="3221288"/>
              <a:ext cx="1440000" cy="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rot="5400000">
              <a:off x="6398148" y="2501288"/>
              <a:ext cx="1440000" cy="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rot="5400000">
              <a:off x="6398148" y="3941288"/>
              <a:ext cx="1440000" cy="0"/>
            </a:xfrm>
            <a:prstGeom prst="line">
              <a:avLst/>
            </a:prstGeom>
            <a:ln w="12700">
              <a:solidFill>
                <a:srgbClr val="8C8C8C"/>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4" name="Text Placeholder 3"/>
          <p:cNvSpPr txBox="1">
            <a:spLocks/>
          </p:cNvSpPr>
          <p:nvPr/>
        </p:nvSpPr>
        <p:spPr>
          <a:xfrm>
            <a:off x="1440656" y="1268731"/>
            <a:ext cx="2227437" cy="2862836"/>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5979" indent="-205979" defTabSz="685800">
              <a:spcBef>
                <a:spcPts val="900"/>
              </a:spcBef>
              <a:buClrTx/>
              <a:defRPr/>
            </a:pPr>
            <a:r>
              <a:rPr lang="en-GB" sz="1350" dirty="0">
                <a:solidFill>
                  <a:srgbClr val="313131"/>
                </a:solidFill>
                <a:latin typeface="Arial"/>
              </a:rPr>
              <a:t>This is a level one bullet this is dummy text</a:t>
            </a:r>
          </a:p>
          <a:p>
            <a:pPr marL="205979" indent="-205979" defTabSz="685800">
              <a:spcBef>
                <a:spcPts val="900"/>
              </a:spcBef>
              <a:buClrTx/>
              <a:defRPr/>
            </a:pPr>
            <a:r>
              <a:rPr lang="en-GB" sz="1350" dirty="0">
                <a:solidFill>
                  <a:srgbClr val="313131"/>
                </a:solidFill>
                <a:latin typeface="Arial"/>
              </a:rPr>
              <a:t>This is a level one bullet this is dummy text</a:t>
            </a:r>
          </a:p>
          <a:p>
            <a:pPr marL="205979" indent="-205979" defTabSz="685800">
              <a:spcBef>
                <a:spcPts val="900"/>
              </a:spcBef>
              <a:buClrTx/>
              <a:defRPr/>
            </a:pPr>
            <a:r>
              <a:rPr lang="en-GB" sz="1350" dirty="0">
                <a:solidFill>
                  <a:srgbClr val="313131"/>
                </a:solidFill>
                <a:latin typeface="Arial"/>
              </a:rPr>
              <a:t>This is a level one bullet this is dummy text</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205979" indent="-205979" defTabSz="685800">
              <a:spcBef>
                <a:spcPts val="900"/>
              </a:spcBef>
              <a:buClrTx/>
              <a:defRPr/>
            </a:pPr>
            <a:endParaRPr lang="en-GB" sz="1350" dirty="0">
              <a:solidFill>
                <a:srgbClr val="313131"/>
              </a:solidFill>
              <a:latin typeface="Arial"/>
            </a:endParaRPr>
          </a:p>
          <a:p>
            <a:pPr marL="205979" indent="-205979" defTabSz="685800">
              <a:spcBef>
                <a:spcPts val="900"/>
              </a:spcBef>
              <a:buClrTx/>
              <a:defRPr/>
            </a:pPr>
            <a:endParaRPr lang="en-GB" sz="1350" dirty="0">
              <a:solidFill>
                <a:srgbClr val="313131"/>
              </a:solidFill>
              <a:latin typeface="Arial"/>
            </a:endParaRPr>
          </a:p>
        </p:txBody>
      </p:sp>
    </p:spTree>
  </p:cSld>
  <p:clrMapOvr>
    <a:masterClrMapping/>
  </p:clrMapOvr>
  <p:transition>
    <p:fade/>
  </p:transition>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6193" name="Title 1"/>
          <p:cNvSpPr>
            <a:spLocks noGrp="1"/>
          </p:cNvSpPr>
          <p:nvPr>
            <p:ph type="title"/>
          </p:nvPr>
        </p:nvSpPr>
        <p:spPr/>
        <p:txBody>
          <a:bodyPr/>
          <a:lstStyle/>
          <a:p>
            <a:r>
              <a:rPr lang="en-US"/>
              <a:t>Business portfolio 3x3</a:t>
            </a:r>
          </a:p>
        </p:txBody>
      </p:sp>
      <p:sp>
        <p:nvSpPr>
          <p:cNvPr id="776195" name="Rectangle 3"/>
          <p:cNvSpPr>
            <a:spLocks noChangeArrowheads="1"/>
          </p:cNvSpPr>
          <p:nvPr/>
        </p:nvSpPr>
        <p:spPr bwMode="auto">
          <a:xfrm rot="16200000">
            <a:off x="4122871" y="2631408"/>
            <a:ext cx="953787" cy="109645"/>
          </a:xfrm>
          <a:prstGeom prst="rect">
            <a:avLst/>
          </a:prstGeom>
          <a:noFill/>
          <a:ln w="9525">
            <a:noFill/>
            <a:miter lim="800000"/>
            <a:headEnd/>
            <a:tailEnd/>
          </a:ln>
        </p:spPr>
        <p:txBody>
          <a:bodyPr wrap="none" lIns="0" tIns="0" rIns="0" bIns="0" anchor="ctr" anchorCtr="1">
            <a:spAutoFit/>
          </a:bodyPr>
          <a:lstStyle/>
          <a:p>
            <a:pPr defTabSz="669131">
              <a:lnSpc>
                <a:spcPct val="95000"/>
              </a:lnSpc>
              <a:spcAft>
                <a:spcPct val="37000"/>
              </a:spcAft>
              <a:buClrTx/>
            </a:pPr>
            <a:r>
              <a:rPr lang="en-US" sz="750" b="1" kern="1200" dirty="0">
                <a:solidFill>
                  <a:srgbClr val="313131"/>
                </a:solidFill>
                <a:ea typeface="ＭＳ Ｐゴシック" charset="-128"/>
                <a:cs typeface="+mn-cs"/>
              </a:rPr>
              <a:t>Competitive position</a:t>
            </a:r>
          </a:p>
        </p:txBody>
      </p:sp>
      <p:sp>
        <p:nvSpPr>
          <p:cNvPr id="776196" name="Rectangle 4"/>
          <p:cNvSpPr>
            <a:spLocks noChangeArrowheads="1"/>
          </p:cNvSpPr>
          <p:nvPr/>
        </p:nvSpPr>
        <p:spPr bwMode="auto">
          <a:xfrm rot="16200000">
            <a:off x="4769575" y="3576408"/>
            <a:ext cx="174728" cy="109645"/>
          </a:xfrm>
          <a:prstGeom prst="rect">
            <a:avLst/>
          </a:prstGeom>
          <a:noFill/>
          <a:ln w="9525">
            <a:noFill/>
            <a:miter lim="800000"/>
            <a:headEnd/>
            <a:tailEnd/>
          </a:ln>
        </p:spPr>
        <p:txBody>
          <a:bodyPr wrap="none" lIns="0" tIns="0" rIns="0" bIns="0" anchor="ctr" anchorCtr="1">
            <a:spAutoFit/>
          </a:bodyPr>
          <a:lstStyle/>
          <a:p>
            <a:pPr defTabSz="669131">
              <a:lnSpc>
                <a:spcPct val="95000"/>
              </a:lnSpc>
              <a:spcAft>
                <a:spcPct val="37000"/>
              </a:spcAft>
              <a:buClrTx/>
            </a:pPr>
            <a:r>
              <a:rPr lang="en-US" sz="750" kern="1200" dirty="0">
                <a:solidFill>
                  <a:srgbClr val="313131"/>
                </a:solidFill>
                <a:ea typeface="ＭＳ Ｐゴシック" charset="-128"/>
                <a:cs typeface="+mn-cs"/>
              </a:rPr>
              <a:t>Low</a:t>
            </a:r>
          </a:p>
        </p:txBody>
      </p:sp>
      <p:sp>
        <p:nvSpPr>
          <p:cNvPr id="776197" name="Rectangle 5"/>
          <p:cNvSpPr>
            <a:spLocks noChangeArrowheads="1"/>
          </p:cNvSpPr>
          <p:nvPr/>
        </p:nvSpPr>
        <p:spPr bwMode="auto">
          <a:xfrm rot="16200000">
            <a:off x="4687021" y="2631408"/>
            <a:ext cx="339837" cy="109645"/>
          </a:xfrm>
          <a:prstGeom prst="rect">
            <a:avLst/>
          </a:prstGeom>
          <a:noFill/>
          <a:ln w="9525">
            <a:noFill/>
            <a:miter lim="800000"/>
            <a:headEnd/>
            <a:tailEnd/>
          </a:ln>
        </p:spPr>
        <p:txBody>
          <a:bodyPr wrap="none" lIns="0" tIns="0" rIns="0" bIns="0" anchor="ctr" anchorCtr="1">
            <a:spAutoFit/>
          </a:bodyPr>
          <a:lstStyle/>
          <a:p>
            <a:pPr defTabSz="669131">
              <a:lnSpc>
                <a:spcPct val="95000"/>
              </a:lnSpc>
              <a:spcAft>
                <a:spcPct val="37000"/>
              </a:spcAft>
              <a:buClrTx/>
            </a:pPr>
            <a:r>
              <a:rPr lang="en-US" sz="750" kern="1200" dirty="0">
                <a:solidFill>
                  <a:srgbClr val="313131"/>
                </a:solidFill>
                <a:ea typeface="ＭＳ Ｐゴシック" charset="-128"/>
                <a:cs typeface="+mn-cs"/>
              </a:rPr>
              <a:t>Medium</a:t>
            </a:r>
          </a:p>
        </p:txBody>
      </p:sp>
      <p:sp>
        <p:nvSpPr>
          <p:cNvPr id="776198" name="Rectangle 6"/>
          <p:cNvSpPr>
            <a:spLocks noChangeArrowheads="1"/>
          </p:cNvSpPr>
          <p:nvPr/>
        </p:nvSpPr>
        <p:spPr bwMode="auto">
          <a:xfrm rot="16200000">
            <a:off x="4768086" y="1686408"/>
            <a:ext cx="195566" cy="109645"/>
          </a:xfrm>
          <a:prstGeom prst="rect">
            <a:avLst/>
          </a:prstGeom>
          <a:noFill/>
          <a:ln w="9525">
            <a:noFill/>
            <a:miter lim="800000"/>
            <a:headEnd/>
            <a:tailEnd/>
          </a:ln>
        </p:spPr>
        <p:txBody>
          <a:bodyPr wrap="none" lIns="0" tIns="0" rIns="0" bIns="0" anchor="ctr" anchorCtr="1">
            <a:spAutoFit/>
          </a:bodyPr>
          <a:lstStyle/>
          <a:p>
            <a:pPr defTabSz="669131">
              <a:lnSpc>
                <a:spcPct val="95000"/>
              </a:lnSpc>
              <a:spcAft>
                <a:spcPct val="37000"/>
              </a:spcAft>
              <a:buClrTx/>
            </a:pPr>
            <a:r>
              <a:rPr lang="en-US" sz="750" kern="1200" dirty="0">
                <a:solidFill>
                  <a:srgbClr val="313131"/>
                </a:solidFill>
                <a:ea typeface="ＭＳ Ｐゴシック" charset="-128"/>
                <a:cs typeface="+mn-cs"/>
              </a:rPr>
              <a:t>High</a:t>
            </a:r>
          </a:p>
        </p:txBody>
      </p:sp>
      <p:sp>
        <p:nvSpPr>
          <p:cNvPr id="776199" name="Rectangle 7"/>
          <p:cNvSpPr>
            <a:spLocks noChangeArrowheads="1"/>
          </p:cNvSpPr>
          <p:nvPr/>
        </p:nvSpPr>
        <p:spPr bwMode="auto">
          <a:xfrm>
            <a:off x="5698621" y="4472630"/>
            <a:ext cx="1373774" cy="109645"/>
          </a:xfrm>
          <a:prstGeom prst="rect">
            <a:avLst/>
          </a:prstGeom>
          <a:noFill/>
          <a:ln w="9525">
            <a:noFill/>
            <a:miter lim="800000"/>
            <a:headEnd/>
            <a:tailEnd/>
          </a:ln>
        </p:spPr>
        <p:txBody>
          <a:bodyPr wrap="none" lIns="0" tIns="0" rIns="0" bIns="0" anchor="ctr" anchorCtr="1">
            <a:spAutoFit/>
          </a:bodyPr>
          <a:lstStyle/>
          <a:p>
            <a:pPr defTabSz="669131">
              <a:lnSpc>
                <a:spcPct val="95000"/>
              </a:lnSpc>
              <a:spcAft>
                <a:spcPct val="37000"/>
              </a:spcAft>
              <a:buClrTx/>
            </a:pPr>
            <a:r>
              <a:rPr lang="en-US" sz="750" b="1" kern="1200">
                <a:solidFill>
                  <a:srgbClr val="313131"/>
                </a:solidFill>
                <a:ea typeface="ＭＳ Ｐゴシック" charset="-128"/>
                <a:cs typeface="+mn-cs"/>
              </a:rPr>
              <a:t>Product/market attractiveness</a:t>
            </a:r>
          </a:p>
        </p:txBody>
      </p:sp>
      <p:sp>
        <p:nvSpPr>
          <p:cNvPr id="776200" name="Rectangle 8"/>
          <p:cNvSpPr>
            <a:spLocks noChangeArrowheads="1"/>
          </p:cNvSpPr>
          <p:nvPr/>
        </p:nvSpPr>
        <p:spPr bwMode="auto">
          <a:xfrm>
            <a:off x="5316876" y="4149596"/>
            <a:ext cx="174728" cy="109645"/>
          </a:xfrm>
          <a:prstGeom prst="rect">
            <a:avLst/>
          </a:prstGeom>
          <a:noFill/>
          <a:ln w="9525">
            <a:noFill/>
            <a:miter lim="800000"/>
            <a:headEnd/>
            <a:tailEnd/>
          </a:ln>
        </p:spPr>
        <p:txBody>
          <a:bodyPr wrap="none" lIns="0" tIns="0" rIns="0" bIns="0" anchor="ctr" anchorCtr="1">
            <a:spAutoFit/>
          </a:bodyPr>
          <a:lstStyle/>
          <a:p>
            <a:pPr defTabSz="669131">
              <a:lnSpc>
                <a:spcPct val="95000"/>
              </a:lnSpc>
              <a:spcAft>
                <a:spcPct val="37000"/>
              </a:spcAft>
              <a:buClrTx/>
            </a:pPr>
            <a:r>
              <a:rPr lang="en-US" sz="750" kern="1200" dirty="0">
                <a:solidFill>
                  <a:srgbClr val="313131"/>
                </a:solidFill>
                <a:ea typeface="ＭＳ Ｐゴシック" charset="-128"/>
                <a:cs typeface="+mn-cs"/>
              </a:rPr>
              <a:t>Low</a:t>
            </a:r>
          </a:p>
        </p:txBody>
      </p:sp>
      <p:sp>
        <p:nvSpPr>
          <p:cNvPr id="776201" name="Rectangle 9"/>
          <p:cNvSpPr>
            <a:spLocks noChangeArrowheads="1"/>
          </p:cNvSpPr>
          <p:nvPr/>
        </p:nvSpPr>
        <p:spPr bwMode="auto">
          <a:xfrm>
            <a:off x="6146460" y="4149596"/>
            <a:ext cx="339837" cy="109645"/>
          </a:xfrm>
          <a:prstGeom prst="rect">
            <a:avLst/>
          </a:prstGeom>
          <a:noFill/>
          <a:ln w="9525">
            <a:noFill/>
            <a:miter lim="800000"/>
            <a:headEnd/>
            <a:tailEnd/>
          </a:ln>
        </p:spPr>
        <p:txBody>
          <a:bodyPr wrap="none" lIns="0" tIns="0" rIns="0" bIns="0" anchor="ctr" anchorCtr="1">
            <a:spAutoFit/>
          </a:bodyPr>
          <a:lstStyle/>
          <a:p>
            <a:pPr defTabSz="669131">
              <a:lnSpc>
                <a:spcPct val="95000"/>
              </a:lnSpc>
              <a:spcAft>
                <a:spcPct val="37000"/>
              </a:spcAft>
              <a:buClrTx/>
            </a:pPr>
            <a:r>
              <a:rPr lang="en-US" sz="750" kern="1200" dirty="0">
                <a:solidFill>
                  <a:srgbClr val="313131"/>
                </a:solidFill>
                <a:ea typeface="ＭＳ Ｐゴシック" charset="-128"/>
                <a:cs typeface="+mn-cs"/>
              </a:rPr>
              <a:t>Medium</a:t>
            </a:r>
          </a:p>
        </p:txBody>
      </p:sp>
      <p:sp>
        <p:nvSpPr>
          <p:cNvPr id="776202" name="Rectangle 10"/>
          <p:cNvSpPr>
            <a:spLocks noChangeArrowheads="1"/>
          </p:cNvSpPr>
          <p:nvPr/>
        </p:nvSpPr>
        <p:spPr bwMode="auto">
          <a:xfrm>
            <a:off x="7191848" y="4149596"/>
            <a:ext cx="195566" cy="109645"/>
          </a:xfrm>
          <a:prstGeom prst="rect">
            <a:avLst/>
          </a:prstGeom>
          <a:noFill/>
          <a:ln w="9525">
            <a:noFill/>
            <a:miter lim="800000"/>
            <a:headEnd/>
            <a:tailEnd/>
          </a:ln>
        </p:spPr>
        <p:txBody>
          <a:bodyPr wrap="none" lIns="0" tIns="0" rIns="0" bIns="0" anchor="ctr" anchorCtr="1">
            <a:spAutoFit/>
          </a:bodyPr>
          <a:lstStyle/>
          <a:p>
            <a:pPr defTabSz="669131">
              <a:lnSpc>
                <a:spcPct val="95000"/>
              </a:lnSpc>
              <a:spcAft>
                <a:spcPct val="37000"/>
              </a:spcAft>
              <a:buClrTx/>
            </a:pPr>
            <a:r>
              <a:rPr lang="en-US" sz="750" kern="1200" dirty="0">
                <a:solidFill>
                  <a:srgbClr val="313131"/>
                </a:solidFill>
                <a:ea typeface="ＭＳ Ｐゴシック" charset="-128"/>
                <a:cs typeface="+mn-cs"/>
              </a:rPr>
              <a:t>High</a:t>
            </a:r>
          </a:p>
        </p:txBody>
      </p:sp>
      <p:grpSp>
        <p:nvGrpSpPr>
          <p:cNvPr id="26" name="Group 25"/>
          <p:cNvGrpSpPr/>
          <p:nvPr/>
        </p:nvGrpSpPr>
        <p:grpSpPr>
          <a:xfrm>
            <a:off x="4967607" y="1268730"/>
            <a:ext cx="2835000" cy="2835000"/>
            <a:chOff x="2682000" y="1749098"/>
            <a:chExt cx="3780000" cy="3780000"/>
          </a:xfrm>
          <a:solidFill>
            <a:srgbClr val="00A1DE"/>
          </a:solidFill>
        </p:grpSpPr>
        <p:sp>
          <p:nvSpPr>
            <p:cNvPr id="12" name="Rectangle 11"/>
            <p:cNvSpPr>
              <a:spLocks noChangeArrowheads="1"/>
            </p:cNvSpPr>
            <p:nvPr/>
          </p:nvSpPr>
          <p:spPr bwMode="blackWhite">
            <a:xfrm>
              <a:off x="2682000" y="1749098"/>
              <a:ext cx="1260000" cy="1260000"/>
            </a:xfrm>
            <a:prstGeom prst="rect">
              <a:avLst/>
            </a:prstGeom>
            <a:grpFill/>
            <a:ln w="12700">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13" name="Rectangle 12"/>
            <p:cNvSpPr>
              <a:spLocks noChangeArrowheads="1"/>
            </p:cNvSpPr>
            <p:nvPr/>
          </p:nvSpPr>
          <p:spPr bwMode="blackWhite">
            <a:xfrm>
              <a:off x="3942000" y="1749098"/>
              <a:ext cx="1260000" cy="1260000"/>
            </a:xfrm>
            <a:prstGeom prst="rect">
              <a:avLst/>
            </a:prstGeom>
            <a:grpFill/>
            <a:ln w="12700">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14" name="Rectangle 13"/>
            <p:cNvSpPr>
              <a:spLocks noChangeArrowheads="1"/>
            </p:cNvSpPr>
            <p:nvPr/>
          </p:nvSpPr>
          <p:spPr bwMode="blackWhite">
            <a:xfrm>
              <a:off x="5202000" y="1749098"/>
              <a:ext cx="1260000" cy="1260000"/>
            </a:xfrm>
            <a:prstGeom prst="rect">
              <a:avLst/>
            </a:prstGeom>
            <a:grpFill/>
            <a:ln w="12700">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15" name="Rectangle 14"/>
            <p:cNvSpPr>
              <a:spLocks noChangeArrowheads="1"/>
            </p:cNvSpPr>
            <p:nvPr/>
          </p:nvSpPr>
          <p:spPr bwMode="blackWhite">
            <a:xfrm>
              <a:off x="2682000" y="3009098"/>
              <a:ext cx="1260000" cy="1260000"/>
            </a:xfrm>
            <a:prstGeom prst="rect">
              <a:avLst/>
            </a:prstGeom>
            <a:grpFill/>
            <a:ln w="12700">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16" name="Rectangle 15"/>
            <p:cNvSpPr>
              <a:spLocks noChangeArrowheads="1"/>
            </p:cNvSpPr>
            <p:nvPr/>
          </p:nvSpPr>
          <p:spPr bwMode="blackWhite">
            <a:xfrm>
              <a:off x="3942000" y="3009098"/>
              <a:ext cx="1260000" cy="1260000"/>
            </a:xfrm>
            <a:prstGeom prst="rect">
              <a:avLst/>
            </a:prstGeom>
            <a:grpFill/>
            <a:ln w="12700">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17" name="Rectangle 16"/>
            <p:cNvSpPr>
              <a:spLocks noChangeArrowheads="1"/>
            </p:cNvSpPr>
            <p:nvPr/>
          </p:nvSpPr>
          <p:spPr bwMode="blackWhite">
            <a:xfrm>
              <a:off x="5202000" y="3009098"/>
              <a:ext cx="1260000" cy="1260000"/>
            </a:xfrm>
            <a:prstGeom prst="rect">
              <a:avLst/>
            </a:prstGeom>
            <a:grpFill/>
            <a:ln w="12700">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18" name="Rectangle 17"/>
            <p:cNvSpPr>
              <a:spLocks noChangeArrowheads="1"/>
            </p:cNvSpPr>
            <p:nvPr/>
          </p:nvSpPr>
          <p:spPr bwMode="blackWhite">
            <a:xfrm>
              <a:off x="2682000" y="4269098"/>
              <a:ext cx="1260000" cy="1260000"/>
            </a:xfrm>
            <a:prstGeom prst="rect">
              <a:avLst/>
            </a:prstGeom>
            <a:grpFill/>
            <a:ln w="12700">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19" name="Rectangle 18"/>
            <p:cNvSpPr>
              <a:spLocks noChangeArrowheads="1"/>
            </p:cNvSpPr>
            <p:nvPr/>
          </p:nvSpPr>
          <p:spPr bwMode="blackWhite">
            <a:xfrm>
              <a:off x="3942000" y="4269098"/>
              <a:ext cx="1260000" cy="1260000"/>
            </a:xfrm>
            <a:prstGeom prst="rect">
              <a:avLst/>
            </a:prstGeom>
            <a:grpFill/>
            <a:ln w="12700">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20" name="Rectangle 19"/>
            <p:cNvSpPr>
              <a:spLocks noChangeArrowheads="1"/>
            </p:cNvSpPr>
            <p:nvPr/>
          </p:nvSpPr>
          <p:spPr bwMode="blackWhite">
            <a:xfrm>
              <a:off x="5202000" y="4269098"/>
              <a:ext cx="1260000" cy="1260000"/>
            </a:xfrm>
            <a:prstGeom prst="rect">
              <a:avLst/>
            </a:prstGeom>
            <a:grpFill/>
            <a:ln w="12700">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grpSp>
      <p:sp>
        <p:nvSpPr>
          <p:cNvPr id="25" name="Text Placeholder 3"/>
          <p:cNvSpPr txBox="1">
            <a:spLocks/>
          </p:cNvSpPr>
          <p:nvPr/>
        </p:nvSpPr>
        <p:spPr>
          <a:xfrm>
            <a:off x="1440656" y="1268731"/>
            <a:ext cx="2227437" cy="2862836"/>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5979" indent="-205979" defTabSz="685800">
              <a:spcBef>
                <a:spcPts val="900"/>
              </a:spcBef>
              <a:buClrTx/>
              <a:defRPr/>
            </a:pPr>
            <a:r>
              <a:rPr lang="en-GB" sz="1350" dirty="0">
                <a:solidFill>
                  <a:srgbClr val="313131"/>
                </a:solidFill>
                <a:latin typeface="Arial"/>
              </a:rPr>
              <a:t>This is a level one bullet this is dummy text</a:t>
            </a:r>
          </a:p>
          <a:p>
            <a:pPr marL="205979" indent="-205979" defTabSz="685800">
              <a:spcBef>
                <a:spcPts val="900"/>
              </a:spcBef>
              <a:buClrTx/>
              <a:defRPr/>
            </a:pPr>
            <a:r>
              <a:rPr lang="en-GB" sz="1350" dirty="0">
                <a:solidFill>
                  <a:srgbClr val="313131"/>
                </a:solidFill>
                <a:latin typeface="Arial"/>
              </a:rPr>
              <a:t>This is a level one bullet this is dummy text</a:t>
            </a:r>
          </a:p>
          <a:p>
            <a:pPr marL="205979" indent="-205979" defTabSz="685800">
              <a:spcBef>
                <a:spcPts val="900"/>
              </a:spcBef>
              <a:buClrTx/>
              <a:defRPr/>
            </a:pPr>
            <a:r>
              <a:rPr lang="en-GB" sz="1350" dirty="0">
                <a:solidFill>
                  <a:srgbClr val="313131"/>
                </a:solidFill>
                <a:latin typeface="Arial"/>
              </a:rPr>
              <a:t>This is a level one bullet this is dummy text</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205979" indent="-205979" defTabSz="685800">
              <a:spcBef>
                <a:spcPts val="900"/>
              </a:spcBef>
              <a:buClrTx/>
              <a:defRPr/>
            </a:pPr>
            <a:endParaRPr lang="en-GB" sz="1350" dirty="0">
              <a:solidFill>
                <a:srgbClr val="313131"/>
              </a:solidFill>
              <a:latin typeface="Arial"/>
            </a:endParaRPr>
          </a:p>
          <a:p>
            <a:pPr marL="205979" indent="-205979" defTabSz="685800">
              <a:spcBef>
                <a:spcPts val="900"/>
              </a:spcBef>
              <a:buClrTx/>
              <a:defRPr/>
            </a:pPr>
            <a:endParaRPr lang="en-GB" sz="1350" dirty="0">
              <a:solidFill>
                <a:srgbClr val="313131"/>
              </a:solidFill>
              <a:latin typeface="Arial"/>
            </a:endParaRPr>
          </a:p>
        </p:txBody>
      </p:sp>
    </p:spTree>
  </p:cSld>
  <p:clrMapOvr>
    <a:masterClrMapping/>
  </p:clrMapOvr>
  <p:transition>
    <p:fade/>
  </p:transition>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1858" name="Rectangle 2" hidden="1"/>
          <p:cNvGraphicFramePr>
            <a:graphicFrameLocks/>
          </p:cNvGraphicFramePr>
          <p:nvPr>
            <p:custDataLst>
              <p:tags r:id="rId1"/>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14" imgW="0" imgH="0" progId="">
                  <p:embed/>
                </p:oleObj>
              </mc:Choice>
              <mc:Fallback>
                <p:oleObj name="think-cell Slide" r:id="rId14" imgW="0" imgH="0" progId="">
                  <p:embed/>
                  <p:pic>
                    <p:nvPicPr>
                      <p:cNvPr id="761858"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61859" name="Title 1"/>
          <p:cNvSpPr>
            <a:spLocks noGrp="1"/>
          </p:cNvSpPr>
          <p:nvPr>
            <p:ph type="title"/>
            <p:custDataLst>
              <p:tags r:id="rId2"/>
            </p:custDataLst>
          </p:nvPr>
        </p:nvSpPr>
        <p:spPr/>
        <p:txBody>
          <a:bodyPr/>
          <a:lstStyle/>
          <a:p>
            <a:r>
              <a:rPr lang="en-US" dirty="0"/>
              <a:t>Business portfolio 3x3</a:t>
            </a:r>
          </a:p>
        </p:txBody>
      </p:sp>
      <p:sp>
        <p:nvSpPr>
          <p:cNvPr id="17" name="Rectangle 16"/>
          <p:cNvSpPr>
            <a:spLocks noChangeArrowheads="1"/>
          </p:cNvSpPr>
          <p:nvPr>
            <p:custDataLst>
              <p:tags r:id="rId3"/>
            </p:custDataLst>
          </p:nvPr>
        </p:nvSpPr>
        <p:spPr bwMode="blackWhite">
          <a:xfrm>
            <a:off x="5010782" y="1271111"/>
            <a:ext cx="2456259" cy="588617"/>
          </a:xfrm>
          <a:prstGeom prst="rect">
            <a:avLst/>
          </a:prstGeom>
          <a:solidFill>
            <a:srgbClr val="00A1DE"/>
          </a:solidFill>
          <a:ln w="12700">
            <a:solidFill>
              <a:schemeClr val="bg1"/>
            </a:solidFill>
            <a:miter lim="800000"/>
            <a:headEnd/>
            <a:tailEnd/>
          </a:ln>
        </p:spPr>
        <p:txBody>
          <a:bodyPr wrap="square" lIns="0" tIns="0" rIns="0" bIns="0">
            <a:noAutofit/>
          </a:bodyPr>
          <a:lstStyle/>
          <a:p>
            <a:pPr algn="ctr" defTabSz="685800">
              <a:spcBef>
                <a:spcPct val="0"/>
              </a:spcBef>
              <a:buClrTx/>
            </a:pPr>
            <a:endParaRPr lang="en-US" sz="750" kern="1200">
              <a:solidFill>
                <a:prstClr val="black"/>
              </a:solidFill>
              <a:ea typeface="+mn-ea"/>
              <a:cs typeface="+mn-cs"/>
            </a:endParaRPr>
          </a:p>
        </p:txBody>
      </p:sp>
      <p:sp>
        <p:nvSpPr>
          <p:cNvPr id="18" name="Freeform 17"/>
          <p:cNvSpPr>
            <a:spLocks/>
          </p:cNvSpPr>
          <p:nvPr>
            <p:custDataLst>
              <p:tags r:id="rId4"/>
            </p:custDataLst>
          </p:nvPr>
        </p:nvSpPr>
        <p:spPr bwMode="blackWhite">
          <a:xfrm>
            <a:off x="4998045" y="1273492"/>
            <a:ext cx="2470547" cy="2407444"/>
          </a:xfrm>
          <a:custGeom>
            <a:avLst/>
            <a:gdLst>
              <a:gd name="T0" fmla="*/ 0 w 1812"/>
              <a:gd name="T1" fmla="*/ 2147483647 h 1817"/>
              <a:gd name="T2" fmla="*/ 2147483647 w 1812"/>
              <a:gd name="T3" fmla="*/ 2147483647 h 1817"/>
              <a:gd name="T4" fmla="*/ 2147483647 w 1812"/>
              <a:gd name="T5" fmla="*/ 0 h 1817"/>
              <a:gd name="T6" fmla="*/ 0 w 1812"/>
              <a:gd name="T7" fmla="*/ 2147483647 h 1817"/>
              <a:gd name="T8" fmla="*/ 0 60000 65536"/>
              <a:gd name="T9" fmla="*/ 0 60000 65536"/>
              <a:gd name="T10" fmla="*/ 0 60000 65536"/>
              <a:gd name="T11" fmla="*/ 0 60000 65536"/>
              <a:gd name="T12" fmla="*/ 0 w 1812"/>
              <a:gd name="T13" fmla="*/ 0 h 1817"/>
              <a:gd name="T14" fmla="*/ 1812 w 1812"/>
              <a:gd name="T15" fmla="*/ 1817 h 1817"/>
            </a:gdLst>
            <a:ahLst/>
            <a:cxnLst>
              <a:cxn ang="T8">
                <a:pos x="T0" y="T1"/>
              </a:cxn>
              <a:cxn ang="T9">
                <a:pos x="T2" y="T3"/>
              </a:cxn>
              <a:cxn ang="T10">
                <a:pos x="T4" y="T5"/>
              </a:cxn>
              <a:cxn ang="T11">
                <a:pos x="T6" y="T7"/>
              </a:cxn>
            </a:cxnLst>
            <a:rect l="T12" t="T13" r="T14" b="T15"/>
            <a:pathLst>
              <a:path w="1812" h="1817">
                <a:moveTo>
                  <a:pt x="0" y="1816"/>
                </a:moveTo>
                <a:lnTo>
                  <a:pt x="1811" y="1816"/>
                </a:lnTo>
                <a:lnTo>
                  <a:pt x="1811" y="0"/>
                </a:lnTo>
                <a:lnTo>
                  <a:pt x="0" y="1816"/>
                </a:lnTo>
              </a:path>
            </a:pathLst>
          </a:custGeom>
          <a:solidFill>
            <a:schemeClr val="bg1"/>
          </a:solidFill>
          <a:ln w="12700" cap="rnd">
            <a:solidFill>
              <a:srgbClr val="8C8C8C"/>
            </a:solidFill>
            <a:round/>
            <a:headEnd/>
            <a:tailEnd/>
          </a:ln>
        </p:spPr>
        <p:txBody>
          <a:bodyPr lIns="0" tIns="0" rIns="0" bIns="0">
            <a:noAutofit/>
          </a:bodyPr>
          <a:lstStyle/>
          <a:p>
            <a:pPr defTabSz="685800">
              <a:buClrTx/>
            </a:pPr>
            <a:endParaRPr lang="en-US" sz="750" kern="1200">
              <a:solidFill>
                <a:prstClr val="black"/>
              </a:solidFill>
              <a:ea typeface="+mn-ea"/>
              <a:cs typeface="+mn-cs"/>
            </a:endParaRPr>
          </a:p>
        </p:txBody>
      </p:sp>
      <p:sp>
        <p:nvSpPr>
          <p:cNvPr id="19" name="Rectangle 18"/>
          <p:cNvSpPr>
            <a:spLocks noChangeArrowheads="1"/>
          </p:cNvSpPr>
          <p:nvPr>
            <p:custDataLst>
              <p:tags r:id="rId5"/>
            </p:custDataLst>
          </p:nvPr>
        </p:nvSpPr>
        <p:spPr bwMode="blackWhite">
          <a:xfrm rot="16200000">
            <a:off x="4412139" y="2436084"/>
            <a:ext cx="352662" cy="109645"/>
          </a:xfrm>
          <a:prstGeom prst="rect">
            <a:avLst/>
          </a:prstGeom>
          <a:noFill/>
          <a:ln w="9525">
            <a:noFill/>
            <a:miter lim="800000"/>
            <a:headEnd/>
            <a:tailEnd/>
          </a:ln>
        </p:spPr>
        <p:txBody>
          <a:bodyPr wrap="none" lIns="0" tIns="0" rIns="0" bIns="0" anchor="ctr" anchorCtr="1">
            <a:spAutoFit/>
          </a:bodyPr>
          <a:lstStyle/>
          <a:p>
            <a:pPr algn="ctr" defTabSz="615554">
              <a:lnSpc>
                <a:spcPct val="95000"/>
              </a:lnSpc>
              <a:spcBef>
                <a:spcPct val="0"/>
              </a:spcBef>
              <a:spcAft>
                <a:spcPct val="37000"/>
              </a:spcAft>
              <a:buClrTx/>
            </a:pPr>
            <a:r>
              <a:rPr lang="en-US" sz="750" b="1" kern="1200" dirty="0">
                <a:solidFill>
                  <a:srgbClr val="262626"/>
                </a:solidFill>
                <a:ea typeface="ＭＳ Ｐゴシック" pitchFamily="50" charset="-128"/>
                <a:cs typeface="+mn-cs"/>
              </a:rPr>
              <a:t>Benefit </a:t>
            </a:r>
          </a:p>
        </p:txBody>
      </p:sp>
      <p:sp>
        <p:nvSpPr>
          <p:cNvPr id="20" name="Rectangle 19"/>
          <p:cNvSpPr>
            <a:spLocks noChangeArrowheads="1"/>
          </p:cNvSpPr>
          <p:nvPr>
            <p:custDataLst>
              <p:tags r:id="rId6"/>
            </p:custDataLst>
          </p:nvPr>
        </p:nvSpPr>
        <p:spPr bwMode="blackWhite">
          <a:xfrm>
            <a:off x="6093744" y="3856457"/>
            <a:ext cx="261290" cy="109645"/>
          </a:xfrm>
          <a:prstGeom prst="rect">
            <a:avLst/>
          </a:prstGeom>
          <a:noFill/>
          <a:ln w="9525">
            <a:noFill/>
            <a:miter lim="800000"/>
            <a:headEnd/>
            <a:tailEnd/>
          </a:ln>
        </p:spPr>
        <p:txBody>
          <a:bodyPr wrap="none" lIns="0" tIns="0" rIns="0" bIns="0" anchor="ctr" anchorCtr="1">
            <a:spAutoFit/>
          </a:bodyPr>
          <a:lstStyle/>
          <a:p>
            <a:pPr algn="ctr" defTabSz="615554">
              <a:lnSpc>
                <a:spcPct val="95000"/>
              </a:lnSpc>
              <a:spcBef>
                <a:spcPct val="0"/>
              </a:spcBef>
              <a:spcAft>
                <a:spcPct val="37000"/>
              </a:spcAft>
              <a:buClrTx/>
            </a:pPr>
            <a:r>
              <a:rPr lang="en-US" sz="750" b="1" kern="1200">
                <a:solidFill>
                  <a:srgbClr val="262626"/>
                </a:solidFill>
                <a:ea typeface="ＭＳ Ｐゴシック" pitchFamily="50" charset="-128"/>
                <a:cs typeface="+mn-cs"/>
              </a:rPr>
              <a:t>Price </a:t>
            </a:r>
            <a:endParaRPr lang="en-US" sz="750" b="1" kern="1200" dirty="0">
              <a:solidFill>
                <a:srgbClr val="262626"/>
              </a:solidFill>
              <a:ea typeface="ＭＳ Ｐゴシック" pitchFamily="50" charset="-128"/>
              <a:cs typeface="+mn-cs"/>
            </a:endParaRPr>
          </a:p>
        </p:txBody>
      </p:sp>
      <p:sp>
        <p:nvSpPr>
          <p:cNvPr id="21" name="Rectangle 20"/>
          <p:cNvSpPr>
            <a:spLocks noChangeArrowheads="1"/>
          </p:cNvSpPr>
          <p:nvPr>
            <p:custDataLst>
              <p:tags r:id="rId7"/>
            </p:custDataLst>
          </p:nvPr>
        </p:nvSpPr>
        <p:spPr bwMode="blackWhite">
          <a:xfrm>
            <a:off x="6695489" y="3337399"/>
            <a:ext cx="594715" cy="219291"/>
          </a:xfrm>
          <a:prstGeom prst="rect">
            <a:avLst/>
          </a:prstGeom>
          <a:noFill/>
          <a:ln w="9525">
            <a:noFill/>
            <a:miter lim="800000"/>
            <a:headEnd/>
            <a:tailEnd/>
          </a:ln>
        </p:spPr>
        <p:txBody>
          <a:bodyPr wrap="none" lIns="0" tIns="0" rIns="0" bIns="0" anchor="ctr" anchorCtr="1">
            <a:spAutoFit/>
          </a:bodyPr>
          <a:lstStyle/>
          <a:p>
            <a:pPr defTabSz="615554">
              <a:lnSpc>
                <a:spcPct val="95000"/>
              </a:lnSpc>
              <a:spcBef>
                <a:spcPct val="0"/>
              </a:spcBef>
              <a:spcAft>
                <a:spcPct val="37000"/>
              </a:spcAft>
              <a:buClrTx/>
            </a:pPr>
            <a:r>
              <a:rPr lang="en-US" sz="750" kern="1200" dirty="0">
                <a:solidFill>
                  <a:srgbClr val="262626"/>
                </a:solidFill>
                <a:ea typeface="ＭＳ Ｐゴシック" pitchFamily="50" charset="-128"/>
                <a:cs typeface="+mn-cs"/>
              </a:rPr>
              <a:t>Competitive</a:t>
            </a:r>
            <a:br>
              <a:rPr lang="en-US" sz="750" kern="1200" dirty="0">
                <a:solidFill>
                  <a:srgbClr val="262626"/>
                </a:solidFill>
                <a:ea typeface="ＭＳ Ｐゴシック" pitchFamily="50" charset="-128"/>
                <a:cs typeface="+mn-cs"/>
              </a:rPr>
            </a:br>
            <a:r>
              <a:rPr lang="en-US" sz="750" kern="1200" dirty="0">
                <a:solidFill>
                  <a:srgbClr val="262626"/>
                </a:solidFill>
                <a:ea typeface="ＭＳ Ｐゴシック" pitchFamily="50" charset="-128"/>
                <a:cs typeface="+mn-cs"/>
              </a:rPr>
              <a:t>disadvantage </a:t>
            </a:r>
          </a:p>
        </p:txBody>
      </p:sp>
      <p:sp>
        <p:nvSpPr>
          <p:cNvPr id="22" name="Rectangle 21"/>
          <p:cNvSpPr>
            <a:spLocks noChangeArrowheads="1"/>
          </p:cNvSpPr>
          <p:nvPr>
            <p:custDataLst>
              <p:tags r:id="rId8"/>
            </p:custDataLst>
          </p:nvPr>
        </p:nvSpPr>
        <p:spPr bwMode="blackWhite">
          <a:xfrm>
            <a:off x="5056440" y="1323720"/>
            <a:ext cx="504946" cy="219291"/>
          </a:xfrm>
          <a:prstGeom prst="rect">
            <a:avLst/>
          </a:prstGeom>
          <a:noFill/>
          <a:ln w="9525">
            <a:noFill/>
            <a:miter lim="800000"/>
            <a:headEnd/>
            <a:tailEnd/>
          </a:ln>
        </p:spPr>
        <p:txBody>
          <a:bodyPr wrap="none" lIns="0" tIns="0" rIns="0" bIns="0" anchor="ctr" anchorCtr="1">
            <a:spAutoFit/>
          </a:bodyPr>
          <a:lstStyle/>
          <a:p>
            <a:pPr defTabSz="615554">
              <a:lnSpc>
                <a:spcPct val="95000"/>
              </a:lnSpc>
              <a:spcBef>
                <a:spcPct val="0"/>
              </a:spcBef>
              <a:spcAft>
                <a:spcPct val="37000"/>
              </a:spcAft>
              <a:buClrTx/>
            </a:pPr>
            <a:r>
              <a:rPr lang="en-US" sz="750" kern="1200" dirty="0">
                <a:solidFill>
                  <a:prstClr val="white"/>
                </a:solidFill>
                <a:ea typeface="ＭＳ Ｐゴシック" pitchFamily="50" charset="-128"/>
                <a:cs typeface="+mn-cs"/>
              </a:rPr>
              <a:t>Competitive</a:t>
            </a:r>
            <a:br>
              <a:rPr lang="en-US" sz="750" kern="1200" dirty="0">
                <a:solidFill>
                  <a:prstClr val="white"/>
                </a:solidFill>
                <a:ea typeface="ＭＳ Ｐゴシック" pitchFamily="50" charset="-128"/>
                <a:cs typeface="+mn-cs"/>
              </a:rPr>
            </a:br>
            <a:r>
              <a:rPr lang="en-US" sz="750" kern="1200" dirty="0">
                <a:solidFill>
                  <a:prstClr val="white"/>
                </a:solidFill>
                <a:ea typeface="ＭＳ Ｐゴシック" pitchFamily="50" charset="-128"/>
                <a:cs typeface="+mn-cs"/>
              </a:rPr>
              <a:t>advantage </a:t>
            </a:r>
          </a:p>
        </p:txBody>
      </p:sp>
      <p:sp>
        <p:nvSpPr>
          <p:cNvPr id="24" name="Line 11"/>
          <p:cNvSpPr>
            <a:spLocks noChangeShapeType="1"/>
          </p:cNvSpPr>
          <p:nvPr>
            <p:custDataLst>
              <p:tags r:id="rId9"/>
            </p:custDataLst>
          </p:nvPr>
        </p:nvSpPr>
        <p:spPr bwMode="auto">
          <a:xfrm>
            <a:off x="4998045" y="3679746"/>
            <a:ext cx="2482453" cy="0"/>
          </a:xfrm>
          <a:prstGeom prst="line">
            <a:avLst/>
          </a:prstGeom>
          <a:noFill/>
          <a:ln w="28575">
            <a:solidFill>
              <a:srgbClr val="575757"/>
            </a:solidFill>
            <a:round/>
            <a:headEnd/>
            <a:tailEnd type="triangle" w="med" len="lg"/>
          </a:ln>
        </p:spPr>
        <p:txBody>
          <a:bodyPr wrap="none" lIns="0" tIns="0" rIns="0" bIns="0" anchor="ctr"/>
          <a:lstStyle/>
          <a:p>
            <a:pPr defTabSz="685800">
              <a:buClrTx/>
            </a:pPr>
            <a:endParaRPr lang="en-US" sz="750" kern="1200">
              <a:solidFill>
                <a:prstClr val="black"/>
              </a:solidFill>
              <a:ea typeface="+mn-ea"/>
              <a:cs typeface="+mn-cs"/>
            </a:endParaRPr>
          </a:p>
        </p:txBody>
      </p:sp>
      <p:sp>
        <p:nvSpPr>
          <p:cNvPr id="25" name="Line 12"/>
          <p:cNvSpPr>
            <a:spLocks noChangeShapeType="1"/>
          </p:cNvSpPr>
          <p:nvPr>
            <p:custDataLst>
              <p:tags r:id="rId10"/>
            </p:custDataLst>
          </p:nvPr>
        </p:nvSpPr>
        <p:spPr bwMode="auto">
          <a:xfrm flipV="1">
            <a:off x="5001617" y="1268731"/>
            <a:ext cx="0" cy="2412206"/>
          </a:xfrm>
          <a:prstGeom prst="line">
            <a:avLst/>
          </a:prstGeom>
          <a:noFill/>
          <a:ln w="28575">
            <a:solidFill>
              <a:srgbClr val="575757"/>
            </a:solidFill>
            <a:round/>
            <a:headEnd/>
            <a:tailEnd type="triangle" w="med" len="lg"/>
          </a:ln>
        </p:spPr>
        <p:txBody>
          <a:bodyPr wrap="none" lIns="0" tIns="0" rIns="0" bIns="0" anchor="ctr"/>
          <a:lstStyle/>
          <a:p>
            <a:pPr defTabSz="685800">
              <a:buClrTx/>
            </a:pPr>
            <a:endParaRPr lang="en-US" sz="750" kern="1200">
              <a:solidFill>
                <a:prstClr val="black"/>
              </a:solidFill>
              <a:ea typeface="+mn-ea"/>
              <a:cs typeface="+mn-cs"/>
            </a:endParaRPr>
          </a:p>
        </p:txBody>
      </p:sp>
      <p:sp>
        <p:nvSpPr>
          <p:cNvPr id="26" name="Line 9"/>
          <p:cNvSpPr>
            <a:spLocks noChangeShapeType="1"/>
          </p:cNvSpPr>
          <p:nvPr>
            <p:custDataLst>
              <p:tags r:id="rId11"/>
            </p:custDataLst>
          </p:nvPr>
        </p:nvSpPr>
        <p:spPr bwMode="blackWhite">
          <a:xfrm>
            <a:off x="5924352" y="2085499"/>
            <a:ext cx="673894" cy="703660"/>
          </a:xfrm>
          <a:prstGeom prst="line">
            <a:avLst/>
          </a:prstGeom>
          <a:noFill/>
          <a:ln w="76200">
            <a:solidFill>
              <a:srgbClr val="B4B4B4"/>
            </a:solidFill>
            <a:round/>
            <a:headEnd type="triangle" w="med" len="lg"/>
            <a:tailEnd type="triangle" w="med" len="lg"/>
          </a:ln>
        </p:spPr>
        <p:txBody>
          <a:bodyPr lIns="0" tIns="0" rIns="0" bIns="0">
            <a:spAutoFit/>
          </a:bodyPr>
          <a:lstStyle/>
          <a:p>
            <a:pPr defTabSz="685800">
              <a:buClrTx/>
            </a:pPr>
            <a:endParaRPr lang="en-US" sz="750" kern="1200">
              <a:solidFill>
                <a:prstClr val="black"/>
              </a:solidFill>
              <a:ea typeface="+mn-ea"/>
              <a:cs typeface="+mn-cs"/>
            </a:endParaRPr>
          </a:p>
        </p:txBody>
      </p:sp>
      <p:sp>
        <p:nvSpPr>
          <p:cNvPr id="29" name="Text Placeholder 3"/>
          <p:cNvSpPr txBox="1">
            <a:spLocks/>
          </p:cNvSpPr>
          <p:nvPr/>
        </p:nvSpPr>
        <p:spPr>
          <a:xfrm>
            <a:off x="1440656" y="1268731"/>
            <a:ext cx="2227437" cy="2862836"/>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5979" indent="-205979" defTabSz="685800">
              <a:spcBef>
                <a:spcPts val="900"/>
              </a:spcBef>
              <a:buClrTx/>
              <a:defRPr/>
            </a:pPr>
            <a:r>
              <a:rPr lang="en-GB" sz="1350" dirty="0">
                <a:solidFill>
                  <a:srgbClr val="313131"/>
                </a:solidFill>
                <a:latin typeface="Arial"/>
              </a:rPr>
              <a:t>This is a level one bullet this is dummy text</a:t>
            </a:r>
          </a:p>
          <a:p>
            <a:pPr marL="205979" indent="-205979" defTabSz="685800">
              <a:spcBef>
                <a:spcPts val="900"/>
              </a:spcBef>
              <a:buClrTx/>
              <a:defRPr/>
            </a:pPr>
            <a:r>
              <a:rPr lang="en-GB" sz="1350" dirty="0">
                <a:solidFill>
                  <a:srgbClr val="313131"/>
                </a:solidFill>
                <a:latin typeface="Arial"/>
              </a:rPr>
              <a:t>This is a level one bullet this is dummy text</a:t>
            </a:r>
          </a:p>
          <a:p>
            <a:pPr marL="205979" indent="-205979" defTabSz="685800">
              <a:spcBef>
                <a:spcPts val="900"/>
              </a:spcBef>
              <a:buClrTx/>
              <a:defRPr/>
            </a:pPr>
            <a:r>
              <a:rPr lang="en-GB" sz="1350" dirty="0">
                <a:solidFill>
                  <a:srgbClr val="313131"/>
                </a:solidFill>
                <a:latin typeface="Arial"/>
              </a:rPr>
              <a:t>This is a level one bullet this is dummy text</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205979" indent="-205979" defTabSz="685800">
              <a:spcBef>
                <a:spcPts val="900"/>
              </a:spcBef>
              <a:buClrTx/>
              <a:defRPr/>
            </a:pPr>
            <a:endParaRPr lang="en-GB" sz="1350" dirty="0">
              <a:solidFill>
                <a:srgbClr val="313131"/>
              </a:solidFill>
              <a:latin typeface="Arial"/>
            </a:endParaRPr>
          </a:p>
          <a:p>
            <a:pPr marL="205979" indent="-205979" defTabSz="685800">
              <a:spcBef>
                <a:spcPts val="900"/>
              </a:spcBef>
              <a:buClrTx/>
              <a:defRPr/>
            </a:pPr>
            <a:endParaRPr lang="en-GB" sz="1350" dirty="0">
              <a:solidFill>
                <a:srgbClr val="313131"/>
              </a:solidFill>
              <a:latin typeface="Arial"/>
            </a:endParaRPr>
          </a:p>
        </p:txBody>
      </p:sp>
    </p:spTree>
  </p:cSld>
  <p:clrMapOvr>
    <a:masterClrMapping/>
  </p:clrMapOvr>
  <p:transition>
    <p:fade/>
  </p:transition>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p:cNvGraphicFramePr>
          <p:nvPr>
            <p:custDataLst>
              <p:tags r:id="rId1"/>
            </p:custDataLst>
          </p:nvPr>
        </p:nvGraphicFramePr>
        <p:xfrm>
          <a:off x="1143000" y="0"/>
          <a:ext cx="119063" cy="119063"/>
        </p:xfrm>
        <a:graphic>
          <a:graphicData uri="http://schemas.openxmlformats.org/presentationml/2006/ole">
            <mc:AlternateContent xmlns:mc="http://schemas.openxmlformats.org/markup-compatibility/2006">
              <mc:Choice xmlns:v="urn:schemas-microsoft-com:vml" Requires="v">
                <p:oleObj name="think-cell Slide" r:id="rId15" imgW="0" imgH="0" progId="">
                  <p:embed/>
                </p:oleObj>
              </mc:Choice>
              <mc:Fallback>
                <p:oleObj name="think-cell Slide" r:id="rId15" imgW="0" imgH="0" progId="">
                  <p:embed/>
                  <p:pic>
                    <p:nvPicPr>
                      <p:cNvPr id="22" name="Object 2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19063"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79265" name="Title 1"/>
          <p:cNvSpPr>
            <a:spLocks noGrp="1"/>
          </p:cNvSpPr>
          <p:nvPr>
            <p:ph type="title"/>
            <p:custDataLst>
              <p:tags r:id="rId2"/>
            </p:custDataLst>
          </p:nvPr>
        </p:nvSpPr>
        <p:spPr/>
        <p:txBody>
          <a:bodyPr/>
          <a:lstStyle/>
          <a:p>
            <a:r>
              <a:rPr lang="en-US" altLang="ja-JP"/>
              <a:t>Five forces</a:t>
            </a:r>
            <a:endParaRPr lang="en-US"/>
          </a:p>
        </p:txBody>
      </p:sp>
      <p:sp>
        <p:nvSpPr>
          <p:cNvPr id="4" name="AutoShape 3"/>
          <p:cNvSpPr>
            <a:spLocks noChangeArrowheads="1"/>
          </p:cNvSpPr>
          <p:nvPr>
            <p:custDataLst>
              <p:tags r:id="rId3"/>
            </p:custDataLst>
          </p:nvPr>
        </p:nvSpPr>
        <p:spPr bwMode="auto">
          <a:xfrm>
            <a:off x="5477636" y="2458640"/>
            <a:ext cx="1069181" cy="617934"/>
          </a:xfrm>
          <a:prstGeom prst="rect">
            <a:avLst/>
          </a:prstGeom>
          <a:solidFill>
            <a:srgbClr val="00A1DE"/>
          </a:solidFill>
          <a:ln w="12700" cap="sq">
            <a:solidFill>
              <a:schemeClr val="bg1"/>
            </a:solidFill>
            <a:round/>
            <a:headEnd type="none" w="sm" len="sm"/>
            <a:tailEnd type="none" w="sm" len="sm"/>
          </a:ln>
        </p:spPr>
        <p:txBody>
          <a:bodyPr wrap="square" lIns="27000" tIns="27000" rIns="27000" bIns="27000" anchor="ctr">
            <a:noAutofit/>
          </a:bodyPr>
          <a:lstStyle/>
          <a:p>
            <a:pPr algn="ctr" defTabSz="685800">
              <a:buClrTx/>
              <a:defRPr/>
            </a:pPr>
            <a:r>
              <a:rPr lang="en-US" sz="1050" kern="1200">
                <a:solidFill>
                  <a:prstClr val="white"/>
                </a:solidFill>
                <a:ea typeface="ＭＳ Ｐゴシック" pitchFamily="50" charset="-128"/>
                <a:cs typeface="+mn-cs"/>
              </a:rPr>
              <a:t>Competitors</a:t>
            </a:r>
          </a:p>
          <a:p>
            <a:pPr algn="ctr" defTabSz="685800">
              <a:buClrTx/>
              <a:defRPr/>
            </a:pPr>
            <a:endParaRPr lang="en-US" sz="1050" kern="1200">
              <a:solidFill>
                <a:prstClr val="white"/>
              </a:solidFill>
              <a:ea typeface="ＭＳ Ｐゴシック" pitchFamily="50" charset="-128"/>
              <a:cs typeface="+mn-cs"/>
            </a:endParaRPr>
          </a:p>
          <a:p>
            <a:pPr algn="ctr" defTabSz="685800">
              <a:buClrTx/>
              <a:defRPr/>
            </a:pPr>
            <a:endParaRPr lang="en-US" sz="1050" kern="1200" dirty="0">
              <a:solidFill>
                <a:prstClr val="white"/>
              </a:solidFill>
              <a:ea typeface="ＭＳ Ｐゴシック" pitchFamily="50" charset="-128"/>
              <a:cs typeface="+mn-cs"/>
            </a:endParaRPr>
          </a:p>
        </p:txBody>
      </p:sp>
      <p:sp>
        <p:nvSpPr>
          <p:cNvPr id="5" name="AutoShape 4"/>
          <p:cNvSpPr>
            <a:spLocks noChangeArrowheads="1"/>
          </p:cNvSpPr>
          <p:nvPr>
            <p:custDataLst>
              <p:tags r:id="rId4"/>
            </p:custDataLst>
          </p:nvPr>
        </p:nvSpPr>
        <p:spPr bwMode="auto">
          <a:xfrm>
            <a:off x="6942104" y="2458641"/>
            <a:ext cx="947738" cy="617935"/>
          </a:xfrm>
          <a:prstGeom prst="rect">
            <a:avLst/>
          </a:prstGeom>
          <a:solidFill>
            <a:srgbClr val="00A1DE"/>
          </a:solidFill>
          <a:ln w="12700" cap="sq" algn="ctr">
            <a:solidFill>
              <a:schemeClr val="bg1"/>
            </a:solidFill>
            <a:round/>
            <a:headEnd type="none" w="sm" len="sm"/>
            <a:tailEnd type="none" w="sm" len="sm"/>
          </a:ln>
        </p:spPr>
        <p:txBody>
          <a:bodyPr wrap="square" lIns="27000" tIns="27000" rIns="27000" bIns="27000" anchor="ctr">
            <a:noAutofit/>
          </a:bodyPr>
          <a:lstStyle/>
          <a:p>
            <a:pPr algn="ctr" defTabSz="685800">
              <a:buClrTx/>
              <a:defRPr/>
            </a:pPr>
            <a:r>
              <a:rPr lang="en-US" sz="1050" kern="1200">
                <a:solidFill>
                  <a:prstClr val="white"/>
                </a:solidFill>
                <a:ea typeface="ＭＳ Ｐゴシック" pitchFamily="50" charset="-128"/>
                <a:cs typeface="+mn-cs"/>
              </a:rPr>
              <a:t>Customers</a:t>
            </a:r>
            <a:endParaRPr lang="en-US" sz="1050" kern="1200" dirty="0">
              <a:solidFill>
                <a:prstClr val="white"/>
              </a:solidFill>
              <a:ea typeface="ＭＳ Ｐゴシック" pitchFamily="50" charset="-128"/>
              <a:cs typeface="+mn-cs"/>
            </a:endParaRPr>
          </a:p>
        </p:txBody>
      </p:sp>
      <p:sp>
        <p:nvSpPr>
          <p:cNvPr id="6" name="AutoShape 5"/>
          <p:cNvSpPr>
            <a:spLocks noChangeArrowheads="1"/>
          </p:cNvSpPr>
          <p:nvPr>
            <p:custDataLst>
              <p:tags r:id="rId5"/>
            </p:custDataLst>
          </p:nvPr>
        </p:nvSpPr>
        <p:spPr bwMode="auto">
          <a:xfrm>
            <a:off x="4166758" y="2458641"/>
            <a:ext cx="948928" cy="617935"/>
          </a:xfrm>
          <a:prstGeom prst="rect">
            <a:avLst/>
          </a:prstGeom>
          <a:solidFill>
            <a:srgbClr val="00A1DE"/>
          </a:solidFill>
          <a:ln w="12700" cap="sq">
            <a:solidFill>
              <a:schemeClr val="bg1"/>
            </a:solidFill>
            <a:round/>
            <a:headEnd type="none" w="sm" len="sm"/>
            <a:tailEnd type="none" w="sm" len="sm"/>
          </a:ln>
        </p:spPr>
        <p:txBody>
          <a:bodyPr wrap="square" lIns="27000" tIns="27000" rIns="27000" bIns="27000" anchor="ctr">
            <a:noAutofit/>
          </a:bodyPr>
          <a:lstStyle/>
          <a:p>
            <a:pPr algn="ctr" defTabSz="685800">
              <a:buClrTx/>
              <a:defRPr/>
            </a:pPr>
            <a:r>
              <a:rPr lang="en-US" sz="1050" kern="1200">
                <a:solidFill>
                  <a:prstClr val="white"/>
                </a:solidFill>
                <a:ea typeface="ＭＳ Ｐゴシック" pitchFamily="50" charset="-128"/>
                <a:cs typeface="+mn-cs"/>
              </a:rPr>
              <a:t>Suppliers</a:t>
            </a:r>
            <a:endParaRPr lang="en-US" sz="1050" kern="1200" dirty="0">
              <a:solidFill>
                <a:prstClr val="white"/>
              </a:solidFill>
              <a:ea typeface="ＭＳ Ｐゴシック" pitchFamily="50" charset="-128"/>
              <a:cs typeface="+mn-cs"/>
            </a:endParaRPr>
          </a:p>
        </p:txBody>
      </p:sp>
      <p:sp>
        <p:nvSpPr>
          <p:cNvPr id="7" name="AutoShape 6"/>
          <p:cNvSpPr>
            <a:spLocks noChangeArrowheads="1"/>
          </p:cNvSpPr>
          <p:nvPr>
            <p:custDataLst>
              <p:tags r:id="rId6"/>
            </p:custDataLst>
          </p:nvPr>
        </p:nvSpPr>
        <p:spPr bwMode="auto">
          <a:xfrm>
            <a:off x="5477636" y="3465910"/>
            <a:ext cx="1069181" cy="617934"/>
          </a:xfrm>
          <a:prstGeom prst="rect">
            <a:avLst/>
          </a:prstGeom>
          <a:solidFill>
            <a:srgbClr val="00A1DE"/>
          </a:solidFill>
          <a:ln w="12700" cap="sq" algn="ctr">
            <a:solidFill>
              <a:schemeClr val="bg1"/>
            </a:solidFill>
            <a:round/>
            <a:headEnd type="none" w="sm" len="sm"/>
            <a:tailEnd type="none" w="sm" len="sm"/>
          </a:ln>
        </p:spPr>
        <p:txBody>
          <a:bodyPr wrap="square" lIns="27000" tIns="27000" rIns="27000" bIns="27000" anchor="ctr">
            <a:noAutofit/>
          </a:bodyPr>
          <a:lstStyle/>
          <a:p>
            <a:pPr algn="ctr" defTabSz="685800">
              <a:buClrTx/>
              <a:defRPr/>
            </a:pPr>
            <a:r>
              <a:rPr lang="en-US" sz="1050" kern="1200">
                <a:solidFill>
                  <a:prstClr val="white"/>
                </a:solidFill>
                <a:ea typeface="ＭＳ Ｐゴシック" pitchFamily="50" charset="-128"/>
                <a:cs typeface="+mn-cs"/>
              </a:rPr>
              <a:t>Substitutes</a:t>
            </a:r>
            <a:endParaRPr lang="en-US" sz="1050" kern="1200" dirty="0">
              <a:solidFill>
                <a:prstClr val="white"/>
              </a:solidFill>
              <a:ea typeface="ＭＳ Ｐゴシック" pitchFamily="50" charset="-128"/>
              <a:cs typeface="+mn-cs"/>
            </a:endParaRPr>
          </a:p>
        </p:txBody>
      </p:sp>
      <p:sp>
        <p:nvSpPr>
          <p:cNvPr id="8" name="AutoShape 7"/>
          <p:cNvSpPr>
            <a:spLocks noChangeArrowheads="1"/>
          </p:cNvSpPr>
          <p:nvPr>
            <p:custDataLst>
              <p:tags r:id="rId7"/>
            </p:custDataLst>
          </p:nvPr>
        </p:nvSpPr>
        <p:spPr bwMode="auto">
          <a:xfrm>
            <a:off x="5477636" y="1454944"/>
            <a:ext cx="1069181" cy="617935"/>
          </a:xfrm>
          <a:prstGeom prst="rect">
            <a:avLst/>
          </a:prstGeom>
          <a:solidFill>
            <a:srgbClr val="00A1DE"/>
          </a:solidFill>
          <a:ln w="12700" cap="sq" algn="ctr">
            <a:solidFill>
              <a:schemeClr val="bg1"/>
            </a:solidFill>
            <a:round/>
            <a:headEnd type="none" w="sm" len="sm"/>
            <a:tailEnd type="none" w="sm" len="sm"/>
          </a:ln>
        </p:spPr>
        <p:txBody>
          <a:bodyPr wrap="square" lIns="27000" tIns="27000" rIns="27000" bIns="27000" anchor="ctr">
            <a:noAutofit/>
          </a:bodyPr>
          <a:lstStyle/>
          <a:p>
            <a:pPr algn="ctr" defTabSz="685800">
              <a:buClrTx/>
              <a:defRPr/>
            </a:pPr>
            <a:r>
              <a:rPr lang="en-US" sz="1050" kern="1200" dirty="0">
                <a:solidFill>
                  <a:prstClr val="white"/>
                </a:solidFill>
                <a:ea typeface="ＭＳ Ｐゴシック" pitchFamily="50" charset="-128"/>
                <a:cs typeface="+mn-cs"/>
              </a:rPr>
              <a:t>New entrants</a:t>
            </a:r>
          </a:p>
        </p:txBody>
      </p:sp>
      <p:sp>
        <p:nvSpPr>
          <p:cNvPr id="779272" name="AutoShape 8"/>
          <p:cNvSpPr>
            <a:spLocks noChangeArrowheads="1"/>
          </p:cNvSpPr>
          <p:nvPr>
            <p:custDataLst>
              <p:tags r:id="rId8"/>
            </p:custDataLst>
          </p:nvPr>
        </p:nvSpPr>
        <p:spPr bwMode="gray">
          <a:xfrm>
            <a:off x="5778865" y="3157537"/>
            <a:ext cx="467915" cy="205979"/>
          </a:xfrm>
          <a:prstGeom prst="upArrow">
            <a:avLst>
              <a:gd name="adj1" fmla="val 46694"/>
              <a:gd name="adj2" fmla="val 52602"/>
            </a:avLst>
          </a:prstGeom>
          <a:solidFill>
            <a:srgbClr val="575757"/>
          </a:solidFill>
          <a:ln w="12700" algn="ctr">
            <a:solidFill>
              <a:schemeClr val="bg1"/>
            </a:solidFill>
            <a:miter lim="800000"/>
            <a:headEnd type="none" w="sm" len="sm"/>
            <a:tailEnd type="none" w="sm" len="sm"/>
          </a:ln>
        </p:spPr>
        <p:txBody>
          <a:bodyPr wrap="square" lIns="27000" tIns="27000" rIns="27000" bIns="27000" anchor="ctr">
            <a:noAutofit/>
          </a:bodyPr>
          <a:lstStyle/>
          <a:p>
            <a:pPr algn="ctr" defTabSz="685800">
              <a:buClrTx/>
            </a:pPr>
            <a:endParaRPr lang="en-US" sz="900" kern="1200">
              <a:solidFill>
                <a:prstClr val="white"/>
              </a:solidFill>
              <a:ea typeface="+mn-ea"/>
              <a:cs typeface="+mn-cs"/>
            </a:endParaRPr>
          </a:p>
        </p:txBody>
      </p:sp>
      <p:sp>
        <p:nvSpPr>
          <p:cNvPr id="779273" name="AutoShape 9"/>
          <p:cNvSpPr>
            <a:spLocks noChangeArrowheads="1"/>
          </p:cNvSpPr>
          <p:nvPr>
            <p:custDataLst>
              <p:tags r:id="rId9"/>
            </p:custDataLst>
          </p:nvPr>
        </p:nvSpPr>
        <p:spPr bwMode="gray">
          <a:xfrm flipV="1">
            <a:off x="5778865" y="2156223"/>
            <a:ext cx="467915" cy="205978"/>
          </a:xfrm>
          <a:prstGeom prst="upArrow">
            <a:avLst>
              <a:gd name="adj1" fmla="val 46694"/>
              <a:gd name="adj2" fmla="val 52602"/>
            </a:avLst>
          </a:prstGeom>
          <a:solidFill>
            <a:srgbClr val="B4B4B4"/>
          </a:solidFill>
          <a:ln w="12700" algn="ctr">
            <a:solidFill>
              <a:schemeClr val="bg1"/>
            </a:solidFill>
            <a:miter lim="800000"/>
            <a:headEnd type="none" w="sm" len="sm"/>
            <a:tailEnd type="none" w="sm" len="sm"/>
          </a:ln>
        </p:spPr>
        <p:txBody>
          <a:bodyPr rot="10800000" wrap="square" lIns="27000" tIns="27000" rIns="27000" bIns="27000" anchor="ctr">
            <a:noAutofit/>
          </a:bodyPr>
          <a:lstStyle/>
          <a:p>
            <a:pPr algn="ctr" defTabSz="685800">
              <a:buClrTx/>
            </a:pPr>
            <a:endParaRPr lang="en-US" sz="900" kern="1200">
              <a:solidFill>
                <a:prstClr val="white"/>
              </a:solidFill>
              <a:ea typeface="+mn-ea"/>
              <a:cs typeface="+mn-cs"/>
            </a:endParaRPr>
          </a:p>
        </p:txBody>
      </p:sp>
      <p:sp>
        <p:nvSpPr>
          <p:cNvPr id="779274" name="AutoShape 10"/>
          <p:cNvSpPr>
            <a:spLocks noChangeArrowheads="1"/>
          </p:cNvSpPr>
          <p:nvPr>
            <p:custDataLst>
              <p:tags r:id="rId10"/>
            </p:custDataLst>
          </p:nvPr>
        </p:nvSpPr>
        <p:spPr bwMode="gray">
          <a:xfrm rot="5400000" flipV="1">
            <a:off x="6474785" y="2674739"/>
            <a:ext cx="504825" cy="189310"/>
          </a:xfrm>
          <a:prstGeom prst="upArrow">
            <a:avLst>
              <a:gd name="adj1" fmla="val 46694"/>
              <a:gd name="adj2" fmla="val 52602"/>
            </a:avLst>
          </a:prstGeom>
          <a:solidFill>
            <a:srgbClr val="DCDCDC"/>
          </a:solidFill>
          <a:ln w="12700" algn="ctr">
            <a:solidFill>
              <a:schemeClr val="bg1"/>
            </a:solidFill>
            <a:miter lim="800000"/>
            <a:headEnd type="none" w="sm" len="sm"/>
            <a:tailEnd type="none" w="sm" len="sm"/>
          </a:ln>
        </p:spPr>
        <p:txBody>
          <a:bodyPr vert="eaVert" wrap="square" lIns="27000" tIns="27000" rIns="27000" bIns="27000" anchor="ctr">
            <a:noAutofit/>
          </a:bodyPr>
          <a:lstStyle/>
          <a:p>
            <a:pPr algn="ctr" defTabSz="685800">
              <a:buClrTx/>
            </a:pPr>
            <a:endParaRPr lang="en-US" sz="900" kern="1200">
              <a:solidFill>
                <a:prstClr val="white"/>
              </a:solidFill>
              <a:ea typeface="+mn-ea"/>
              <a:cs typeface="+mn-cs"/>
            </a:endParaRPr>
          </a:p>
        </p:txBody>
      </p:sp>
      <p:sp>
        <p:nvSpPr>
          <p:cNvPr id="779275" name="AutoShape 11"/>
          <p:cNvSpPr>
            <a:spLocks noChangeArrowheads="1"/>
          </p:cNvSpPr>
          <p:nvPr>
            <p:custDataLst>
              <p:tags r:id="rId11"/>
            </p:custDataLst>
          </p:nvPr>
        </p:nvSpPr>
        <p:spPr bwMode="gray">
          <a:xfrm rot="16200000" flipH="1" flipV="1">
            <a:off x="5041866" y="2674144"/>
            <a:ext cx="504825" cy="190500"/>
          </a:xfrm>
          <a:prstGeom prst="upArrow">
            <a:avLst>
              <a:gd name="adj1" fmla="val 46694"/>
              <a:gd name="adj2" fmla="val 52602"/>
            </a:avLst>
          </a:prstGeom>
          <a:solidFill>
            <a:srgbClr val="575757"/>
          </a:solidFill>
          <a:ln w="12700" algn="ctr">
            <a:solidFill>
              <a:schemeClr val="bg1"/>
            </a:solidFill>
            <a:miter lim="800000"/>
            <a:headEnd type="none" w="sm" len="sm"/>
            <a:tailEnd type="none" w="sm" len="sm"/>
          </a:ln>
        </p:spPr>
        <p:txBody>
          <a:bodyPr rot="10800000" vert="eaVert" wrap="square" lIns="27000" tIns="27000" rIns="27000" bIns="27000" anchor="ctr">
            <a:noAutofit/>
          </a:bodyPr>
          <a:lstStyle/>
          <a:p>
            <a:pPr algn="ctr" defTabSz="685800">
              <a:buClrTx/>
            </a:pPr>
            <a:endParaRPr lang="en-US" sz="900" kern="1200">
              <a:solidFill>
                <a:prstClr val="white"/>
              </a:solidFill>
              <a:ea typeface="+mn-ea"/>
              <a:cs typeface="+mn-cs"/>
            </a:endParaRPr>
          </a:p>
        </p:txBody>
      </p:sp>
      <p:sp>
        <p:nvSpPr>
          <p:cNvPr id="779276" name="Freeform 12"/>
          <p:cNvSpPr>
            <a:spLocks/>
          </p:cNvSpPr>
          <p:nvPr>
            <p:custDataLst>
              <p:tags r:id="rId12"/>
            </p:custDataLst>
          </p:nvPr>
        </p:nvSpPr>
        <p:spPr bwMode="gray">
          <a:xfrm rot="6101577">
            <a:off x="5840181" y="2660452"/>
            <a:ext cx="276225" cy="434579"/>
          </a:xfrm>
          <a:custGeom>
            <a:avLst/>
            <a:gdLst>
              <a:gd name="T0" fmla="*/ 2147483647 w 679"/>
              <a:gd name="T1" fmla="*/ 2147483647 h 1274"/>
              <a:gd name="T2" fmla="*/ 2147483647 w 679"/>
              <a:gd name="T3" fmla="*/ 2147483647 h 1274"/>
              <a:gd name="T4" fmla="*/ 2147483647 w 679"/>
              <a:gd name="T5" fmla="*/ 2147483647 h 1274"/>
              <a:gd name="T6" fmla="*/ 2147483647 w 679"/>
              <a:gd name="T7" fmla="*/ 2147483647 h 1274"/>
              <a:gd name="T8" fmla="*/ 2147483647 w 679"/>
              <a:gd name="T9" fmla="*/ 2147483647 h 1274"/>
              <a:gd name="T10" fmla="*/ 2147483647 w 679"/>
              <a:gd name="T11" fmla="*/ 2147483647 h 1274"/>
              <a:gd name="T12" fmla="*/ 2147483647 w 679"/>
              <a:gd name="T13" fmla="*/ 2147483647 h 1274"/>
              <a:gd name="T14" fmla="*/ 2147483647 w 679"/>
              <a:gd name="T15" fmla="*/ 2147483647 h 1274"/>
              <a:gd name="T16" fmla="*/ 2147483647 w 679"/>
              <a:gd name="T17" fmla="*/ 2147483647 h 1274"/>
              <a:gd name="T18" fmla="*/ 2147483647 w 679"/>
              <a:gd name="T19" fmla="*/ 2147483647 h 1274"/>
              <a:gd name="T20" fmla="*/ 2147483647 w 679"/>
              <a:gd name="T21" fmla="*/ 2147483647 h 1274"/>
              <a:gd name="T22" fmla="*/ 2147483647 w 679"/>
              <a:gd name="T23" fmla="*/ 2147483647 h 1274"/>
              <a:gd name="T24" fmla="*/ 2147483647 w 679"/>
              <a:gd name="T25" fmla="*/ 2147483647 h 1274"/>
              <a:gd name="T26" fmla="*/ 2147483647 w 679"/>
              <a:gd name="T27" fmla="*/ 2147483647 h 1274"/>
              <a:gd name="T28" fmla="*/ 2147483647 w 679"/>
              <a:gd name="T29" fmla="*/ 2147483647 h 1274"/>
              <a:gd name="T30" fmla="*/ 2147483647 w 679"/>
              <a:gd name="T31" fmla="*/ 2147483647 h 1274"/>
              <a:gd name="T32" fmla="*/ 2147483647 w 679"/>
              <a:gd name="T33" fmla="*/ 2147483647 h 1274"/>
              <a:gd name="T34" fmla="*/ 2147483647 w 679"/>
              <a:gd name="T35" fmla="*/ 2147483647 h 1274"/>
              <a:gd name="T36" fmla="*/ 2147483647 w 679"/>
              <a:gd name="T37" fmla="*/ 2147483647 h 1274"/>
              <a:gd name="T38" fmla="*/ 2147483647 w 679"/>
              <a:gd name="T39" fmla="*/ 2147483647 h 1274"/>
              <a:gd name="T40" fmla="*/ 2147483647 w 679"/>
              <a:gd name="T41" fmla="*/ 2147483647 h 1274"/>
              <a:gd name="T42" fmla="*/ 2147483647 w 679"/>
              <a:gd name="T43" fmla="*/ 2147483647 h 1274"/>
              <a:gd name="T44" fmla="*/ 2147483647 w 679"/>
              <a:gd name="T45" fmla="*/ 2147483647 h 1274"/>
              <a:gd name="T46" fmla="*/ 2147483647 w 679"/>
              <a:gd name="T47" fmla="*/ 2147483647 h 1274"/>
              <a:gd name="T48" fmla="*/ 2147483647 w 679"/>
              <a:gd name="T49" fmla="*/ 2147483647 h 1274"/>
              <a:gd name="T50" fmla="*/ 2147483647 w 679"/>
              <a:gd name="T51" fmla="*/ 2147483647 h 1274"/>
              <a:gd name="T52" fmla="*/ 2147483647 w 679"/>
              <a:gd name="T53" fmla="*/ 2147483647 h 1274"/>
              <a:gd name="T54" fmla="*/ 2147483647 w 679"/>
              <a:gd name="T55" fmla="*/ 2147483647 h 1274"/>
              <a:gd name="T56" fmla="*/ 2147483647 w 679"/>
              <a:gd name="T57" fmla="*/ 2147483647 h 1274"/>
              <a:gd name="T58" fmla="*/ 2147483647 w 679"/>
              <a:gd name="T59" fmla="*/ 2147483647 h 1274"/>
              <a:gd name="T60" fmla="*/ 2147483647 w 679"/>
              <a:gd name="T61" fmla="*/ 2147483647 h 1274"/>
              <a:gd name="T62" fmla="*/ 2147483647 w 679"/>
              <a:gd name="T63" fmla="*/ 2147483647 h 1274"/>
              <a:gd name="T64" fmla="*/ 2147483647 w 679"/>
              <a:gd name="T65" fmla="*/ 2147483647 h 1274"/>
              <a:gd name="T66" fmla="*/ 2147483647 w 679"/>
              <a:gd name="T67" fmla="*/ 2147483647 h 1274"/>
              <a:gd name="T68" fmla="*/ 2147483647 w 679"/>
              <a:gd name="T69" fmla="*/ 2147483647 h 1274"/>
              <a:gd name="T70" fmla="*/ 2147483647 w 679"/>
              <a:gd name="T71" fmla="*/ 2147483647 h 1274"/>
              <a:gd name="T72" fmla="*/ 2147483647 w 679"/>
              <a:gd name="T73" fmla="*/ 2147483647 h 1274"/>
              <a:gd name="T74" fmla="*/ 2147483647 w 679"/>
              <a:gd name="T75" fmla="*/ 2147483647 h 1274"/>
              <a:gd name="T76" fmla="*/ 2147483647 w 679"/>
              <a:gd name="T77" fmla="*/ 2147483647 h 1274"/>
              <a:gd name="T78" fmla="*/ 2147483647 w 679"/>
              <a:gd name="T79" fmla="*/ 2147483647 h 1274"/>
              <a:gd name="T80" fmla="*/ 2147483647 w 679"/>
              <a:gd name="T81" fmla="*/ 2147483647 h 1274"/>
              <a:gd name="T82" fmla="*/ 2147483647 w 679"/>
              <a:gd name="T83" fmla="*/ 2147483647 h 1274"/>
              <a:gd name="T84" fmla="*/ 2147483647 w 679"/>
              <a:gd name="T85" fmla="*/ 2147483647 h 1274"/>
              <a:gd name="T86" fmla="*/ 2147483647 w 679"/>
              <a:gd name="T87" fmla="*/ 2147483647 h 1274"/>
              <a:gd name="T88" fmla="*/ 2147483647 w 679"/>
              <a:gd name="T89" fmla="*/ 2147483647 h 1274"/>
              <a:gd name="T90" fmla="*/ 0 w 679"/>
              <a:gd name="T91" fmla="*/ 2147483647 h 127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79"/>
              <a:gd name="T139" fmla="*/ 0 h 1274"/>
              <a:gd name="T140" fmla="*/ 679 w 679"/>
              <a:gd name="T141" fmla="*/ 1274 h 127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79" h="1274">
                <a:moveTo>
                  <a:pt x="0" y="0"/>
                </a:moveTo>
                <a:lnTo>
                  <a:pt x="13" y="2"/>
                </a:lnTo>
                <a:lnTo>
                  <a:pt x="29" y="4"/>
                </a:lnTo>
                <a:lnTo>
                  <a:pt x="48" y="9"/>
                </a:lnTo>
                <a:lnTo>
                  <a:pt x="64" y="13"/>
                </a:lnTo>
                <a:lnTo>
                  <a:pt x="79" y="18"/>
                </a:lnTo>
                <a:lnTo>
                  <a:pt x="92" y="22"/>
                </a:lnTo>
                <a:lnTo>
                  <a:pt x="108" y="27"/>
                </a:lnTo>
                <a:lnTo>
                  <a:pt x="123" y="31"/>
                </a:lnTo>
                <a:lnTo>
                  <a:pt x="138" y="38"/>
                </a:lnTo>
                <a:lnTo>
                  <a:pt x="156" y="44"/>
                </a:lnTo>
                <a:lnTo>
                  <a:pt x="171" y="51"/>
                </a:lnTo>
                <a:lnTo>
                  <a:pt x="189" y="58"/>
                </a:lnTo>
                <a:lnTo>
                  <a:pt x="206" y="67"/>
                </a:lnTo>
                <a:lnTo>
                  <a:pt x="222" y="73"/>
                </a:lnTo>
                <a:lnTo>
                  <a:pt x="237" y="82"/>
                </a:lnTo>
                <a:lnTo>
                  <a:pt x="252" y="91"/>
                </a:lnTo>
                <a:lnTo>
                  <a:pt x="265" y="100"/>
                </a:lnTo>
                <a:lnTo>
                  <a:pt x="279" y="109"/>
                </a:lnTo>
                <a:lnTo>
                  <a:pt x="292" y="118"/>
                </a:lnTo>
                <a:lnTo>
                  <a:pt x="309" y="129"/>
                </a:lnTo>
                <a:lnTo>
                  <a:pt x="323" y="140"/>
                </a:lnTo>
                <a:lnTo>
                  <a:pt x="338" y="151"/>
                </a:lnTo>
                <a:lnTo>
                  <a:pt x="351" y="160"/>
                </a:lnTo>
                <a:lnTo>
                  <a:pt x="371" y="177"/>
                </a:lnTo>
                <a:lnTo>
                  <a:pt x="393" y="200"/>
                </a:lnTo>
                <a:lnTo>
                  <a:pt x="410" y="215"/>
                </a:lnTo>
                <a:lnTo>
                  <a:pt x="430" y="237"/>
                </a:lnTo>
                <a:lnTo>
                  <a:pt x="443" y="253"/>
                </a:lnTo>
                <a:lnTo>
                  <a:pt x="459" y="273"/>
                </a:lnTo>
                <a:lnTo>
                  <a:pt x="476" y="293"/>
                </a:lnTo>
                <a:lnTo>
                  <a:pt x="489" y="313"/>
                </a:lnTo>
                <a:lnTo>
                  <a:pt x="505" y="335"/>
                </a:lnTo>
                <a:lnTo>
                  <a:pt x="518" y="357"/>
                </a:lnTo>
                <a:lnTo>
                  <a:pt x="531" y="379"/>
                </a:lnTo>
                <a:lnTo>
                  <a:pt x="542" y="399"/>
                </a:lnTo>
                <a:lnTo>
                  <a:pt x="553" y="426"/>
                </a:lnTo>
                <a:lnTo>
                  <a:pt x="564" y="448"/>
                </a:lnTo>
                <a:lnTo>
                  <a:pt x="573" y="475"/>
                </a:lnTo>
                <a:lnTo>
                  <a:pt x="584" y="501"/>
                </a:lnTo>
                <a:lnTo>
                  <a:pt x="595" y="534"/>
                </a:lnTo>
                <a:lnTo>
                  <a:pt x="601" y="566"/>
                </a:lnTo>
                <a:lnTo>
                  <a:pt x="610" y="597"/>
                </a:lnTo>
                <a:lnTo>
                  <a:pt x="614" y="628"/>
                </a:lnTo>
                <a:lnTo>
                  <a:pt x="619" y="665"/>
                </a:lnTo>
                <a:lnTo>
                  <a:pt x="623" y="710"/>
                </a:lnTo>
                <a:lnTo>
                  <a:pt x="623" y="745"/>
                </a:lnTo>
                <a:lnTo>
                  <a:pt x="623" y="781"/>
                </a:lnTo>
                <a:lnTo>
                  <a:pt x="619" y="814"/>
                </a:lnTo>
                <a:lnTo>
                  <a:pt x="617" y="845"/>
                </a:lnTo>
                <a:lnTo>
                  <a:pt x="612" y="878"/>
                </a:lnTo>
                <a:lnTo>
                  <a:pt x="606" y="912"/>
                </a:lnTo>
                <a:lnTo>
                  <a:pt x="597" y="947"/>
                </a:lnTo>
                <a:lnTo>
                  <a:pt x="584" y="985"/>
                </a:lnTo>
                <a:lnTo>
                  <a:pt x="573" y="1018"/>
                </a:lnTo>
                <a:lnTo>
                  <a:pt x="560" y="1051"/>
                </a:lnTo>
                <a:lnTo>
                  <a:pt x="544" y="1084"/>
                </a:lnTo>
                <a:lnTo>
                  <a:pt x="527" y="1116"/>
                </a:lnTo>
                <a:lnTo>
                  <a:pt x="678" y="1204"/>
                </a:lnTo>
                <a:lnTo>
                  <a:pt x="213" y="1273"/>
                </a:lnTo>
                <a:lnTo>
                  <a:pt x="42" y="841"/>
                </a:lnTo>
                <a:lnTo>
                  <a:pt x="222" y="936"/>
                </a:lnTo>
                <a:lnTo>
                  <a:pt x="239" y="909"/>
                </a:lnTo>
                <a:lnTo>
                  <a:pt x="248" y="883"/>
                </a:lnTo>
                <a:lnTo>
                  <a:pt x="259" y="858"/>
                </a:lnTo>
                <a:lnTo>
                  <a:pt x="265" y="832"/>
                </a:lnTo>
                <a:lnTo>
                  <a:pt x="270" y="807"/>
                </a:lnTo>
                <a:lnTo>
                  <a:pt x="272" y="783"/>
                </a:lnTo>
                <a:lnTo>
                  <a:pt x="274" y="758"/>
                </a:lnTo>
                <a:lnTo>
                  <a:pt x="274" y="736"/>
                </a:lnTo>
                <a:lnTo>
                  <a:pt x="272" y="707"/>
                </a:lnTo>
                <a:lnTo>
                  <a:pt x="270" y="679"/>
                </a:lnTo>
                <a:lnTo>
                  <a:pt x="263" y="648"/>
                </a:lnTo>
                <a:lnTo>
                  <a:pt x="257" y="623"/>
                </a:lnTo>
                <a:lnTo>
                  <a:pt x="246" y="594"/>
                </a:lnTo>
                <a:lnTo>
                  <a:pt x="237" y="570"/>
                </a:lnTo>
                <a:lnTo>
                  <a:pt x="224" y="548"/>
                </a:lnTo>
                <a:lnTo>
                  <a:pt x="213" y="530"/>
                </a:lnTo>
                <a:lnTo>
                  <a:pt x="202" y="515"/>
                </a:lnTo>
                <a:lnTo>
                  <a:pt x="191" y="499"/>
                </a:lnTo>
                <a:lnTo>
                  <a:pt x="180" y="486"/>
                </a:lnTo>
                <a:lnTo>
                  <a:pt x="167" y="470"/>
                </a:lnTo>
                <a:lnTo>
                  <a:pt x="154" y="459"/>
                </a:lnTo>
                <a:lnTo>
                  <a:pt x="140" y="444"/>
                </a:lnTo>
                <a:lnTo>
                  <a:pt x="129" y="432"/>
                </a:lnTo>
                <a:lnTo>
                  <a:pt x="114" y="421"/>
                </a:lnTo>
                <a:lnTo>
                  <a:pt x="94" y="410"/>
                </a:lnTo>
                <a:lnTo>
                  <a:pt x="79" y="399"/>
                </a:lnTo>
                <a:lnTo>
                  <a:pt x="66" y="393"/>
                </a:lnTo>
                <a:lnTo>
                  <a:pt x="46" y="381"/>
                </a:lnTo>
                <a:lnTo>
                  <a:pt x="29" y="373"/>
                </a:lnTo>
                <a:lnTo>
                  <a:pt x="0" y="364"/>
                </a:lnTo>
                <a:lnTo>
                  <a:pt x="0" y="0"/>
                </a:lnTo>
              </a:path>
            </a:pathLst>
          </a:custGeom>
          <a:solidFill>
            <a:srgbClr val="DCDCDC"/>
          </a:solidFill>
          <a:ln w="12700">
            <a:solidFill>
              <a:schemeClr val="bg1"/>
            </a:solidFill>
            <a:round/>
            <a:headEnd/>
            <a:tailEnd/>
          </a:ln>
        </p:spPr>
        <p:txBody>
          <a:bodyPr wrap="square" lIns="27000" tIns="27000" rIns="27000" bIns="27000" anchor="ctr">
            <a:noAutofit/>
          </a:bodyPr>
          <a:lstStyle/>
          <a:p>
            <a:pPr defTabSz="685800">
              <a:buClrTx/>
            </a:pPr>
            <a:endParaRPr lang="en-US" sz="900" kern="1200">
              <a:solidFill>
                <a:prstClr val="white"/>
              </a:solidFill>
              <a:ea typeface="+mn-ea"/>
              <a:cs typeface="+mn-cs"/>
            </a:endParaRPr>
          </a:p>
        </p:txBody>
      </p:sp>
      <p:sp>
        <p:nvSpPr>
          <p:cNvPr id="25" name="Text Box 3"/>
          <p:cNvSpPr txBox="1">
            <a:spLocks noChangeArrowheads="1"/>
          </p:cNvSpPr>
          <p:nvPr/>
        </p:nvSpPr>
        <p:spPr bwMode="auto">
          <a:xfrm>
            <a:off x="5990472" y="4569961"/>
            <a:ext cx="282129" cy="115416"/>
          </a:xfrm>
          <a:prstGeom prst="rect">
            <a:avLst/>
          </a:prstGeom>
          <a:noFill/>
          <a:ln w="9525">
            <a:noFill/>
            <a:miter lim="800000"/>
            <a:headEnd type="none" w="sm" len="sm"/>
            <a:tailEnd type="none" w="med" len="lg"/>
          </a:ln>
        </p:spPr>
        <p:txBody>
          <a:bodyPr wrap="none" lIns="0" tIns="0" rIns="0" bIns="0">
            <a:spAutoFit/>
          </a:bodyPr>
          <a:lstStyle/>
          <a:p>
            <a:pPr defTabSz="685800">
              <a:buClrTx/>
            </a:pPr>
            <a:r>
              <a:rPr lang="en-US" altLang="ja-JP" sz="750" kern="1200" dirty="0">
                <a:solidFill>
                  <a:srgbClr val="313131"/>
                </a:solidFill>
                <a:ea typeface="ＭＳ Ｐゴシック" charset="-128"/>
                <a:cs typeface="+mn-cs"/>
              </a:rPr>
              <a:t>Strong</a:t>
            </a:r>
          </a:p>
        </p:txBody>
      </p:sp>
      <p:sp>
        <p:nvSpPr>
          <p:cNvPr id="26" name="Text Box 4"/>
          <p:cNvSpPr txBox="1">
            <a:spLocks noChangeArrowheads="1"/>
          </p:cNvSpPr>
          <p:nvPr/>
        </p:nvSpPr>
        <p:spPr bwMode="auto">
          <a:xfrm>
            <a:off x="6587640" y="4569961"/>
            <a:ext cx="403957" cy="115416"/>
          </a:xfrm>
          <a:prstGeom prst="rect">
            <a:avLst/>
          </a:prstGeom>
          <a:noFill/>
          <a:ln w="9525">
            <a:noFill/>
            <a:miter lim="800000"/>
            <a:headEnd type="none" w="sm" len="sm"/>
            <a:tailEnd type="none" w="med" len="lg"/>
          </a:ln>
        </p:spPr>
        <p:txBody>
          <a:bodyPr wrap="none" lIns="0" tIns="0" rIns="0" bIns="0">
            <a:spAutoFit/>
          </a:bodyPr>
          <a:lstStyle/>
          <a:p>
            <a:pPr defTabSz="685800">
              <a:buClrTx/>
            </a:pPr>
            <a:r>
              <a:rPr lang="en-US" altLang="ja-JP" sz="750" kern="1200" dirty="0">
                <a:solidFill>
                  <a:srgbClr val="313131"/>
                </a:solidFill>
                <a:ea typeface="ＭＳ Ｐゴシック" charset="-128"/>
                <a:cs typeface="+mn-cs"/>
              </a:rPr>
              <a:t>Moderate</a:t>
            </a:r>
          </a:p>
        </p:txBody>
      </p:sp>
      <p:sp>
        <p:nvSpPr>
          <p:cNvPr id="27" name="Text Box 5"/>
          <p:cNvSpPr txBox="1">
            <a:spLocks noChangeArrowheads="1"/>
          </p:cNvSpPr>
          <p:nvPr/>
        </p:nvSpPr>
        <p:spPr bwMode="auto">
          <a:xfrm>
            <a:off x="7363143" y="4569961"/>
            <a:ext cx="245260" cy="115416"/>
          </a:xfrm>
          <a:prstGeom prst="rect">
            <a:avLst/>
          </a:prstGeom>
          <a:noFill/>
          <a:ln w="9525">
            <a:noFill/>
            <a:miter lim="800000"/>
            <a:headEnd type="none" w="sm" len="sm"/>
            <a:tailEnd type="none" w="med" len="lg"/>
          </a:ln>
        </p:spPr>
        <p:txBody>
          <a:bodyPr wrap="none" lIns="0" tIns="0" rIns="0" bIns="0">
            <a:spAutoFit/>
          </a:bodyPr>
          <a:lstStyle/>
          <a:p>
            <a:pPr defTabSz="685800">
              <a:buClrTx/>
            </a:pPr>
            <a:r>
              <a:rPr lang="en-US" altLang="ja-JP" sz="750" kern="1200" dirty="0">
                <a:solidFill>
                  <a:srgbClr val="313131"/>
                </a:solidFill>
                <a:ea typeface="ＭＳ Ｐゴシック" charset="-128"/>
                <a:cs typeface="+mn-cs"/>
              </a:rPr>
              <a:t>Weak</a:t>
            </a:r>
          </a:p>
        </p:txBody>
      </p:sp>
      <p:sp>
        <p:nvSpPr>
          <p:cNvPr id="28" name="AutoShape 112"/>
          <p:cNvSpPr>
            <a:spLocks noChangeArrowheads="1"/>
          </p:cNvSpPr>
          <p:nvPr/>
        </p:nvSpPr>
        <p:spPr bwMode="grayWhite">
          <a:xfrm>
            <a:off x="5779787" y="4548600"/>
            <a:ext cx="202500" cy="135000"/>
          </a:xfrm>
          <a:prstGeom prst="upArrow">
            <a:avLst>
              <a:gd name="adj1" fmla="val 49880"/>
              <a:gd name="adj2" fmla="val 49801"/>
            </a:avLst>
          </a:prstGeom>
          <a:solidFill>
            <a:srgbClr val="575757"/>
          </a:solidFill>
          <a:ln w="12700" algn="ctr">
            <a:solidFill>
              <a:schemeClr val="bg1"/>
            </a:solidFill>
            <a:miter lim="800000"/>
            <a:headEnd/>
            <a:tailEnd/>
          </a:ln>
        </p:spPr>
        <p:txBody>
          <a:bodyPr wrap="none" anchor="ctr"/>
          <a:lstStyle/>
          <a:p>
            <a:pPr algn="ctr" defTabSz="685800">
              <a:buClrTx/>
            </a:pPr>
            <a:endParaRPr lang="en-US" sz="825" kern="1200">
              <a:solidFill>
                <a:srgbClr val="313131"/>
              </a:solidFill>
              <a:ea typeface="+mn-ea"/>
              <a:cs typeface="+mn-cs"/>
            </a:endParaRPr>
          </a:p>
        </p:txBody>
      </p:sp>
      <p:sp>
        <p:nvSpPr>
          <p:cNvPr id="29" name="AutoShape 110"/>
          <p:cNvSpPr>
            <a:spLocks noChangeArrowheads="1"/>
          </p:cNvSpPr>
          <p:nvPr/>
        </p:nvSpPr>
        <p:spPr bwMode="grayWhite">
          <a:xfrm>
            <a:off x="7180700" y="4548600"/>
            <a:ext cx="202500" cy="135000"/>
          </a:xfrm>
          <a:prstGeom prst="downArrow">
            <a:avLst/>
          </a:prstGeom>
          <a:solidFill>
            <a:srgbClr val="B4B4B4"/>
          </a:solidFill>
          <a:ln w="12700" algn="ctr">
            <a:solidFill>
              <a:schemeClr val="bg1"/>
            </a:solidFill>
            <a:miter lim="800000"/>
            <a:headEnd/>
            <a:tailEnd/>
          </a:ln>
        </p:spPr>
        <p:txBody>
          <a:bodyPr wrap="none" anchor="ctr"/>
          <a:lstStyle/>
          <a:p>
            <a:pPr algn="ctr" defTabSz="685800">
              <a:buClrTx/>
            </a:pPr>
            <a:endParaRPr lang="en-US" sz="825" kern="1200">
              <a:solidFill>
                <a:srgbClr val="313131"/>
              </a:solidFill>
              <a:ea typeface="+mn-ea"/>
              <a:cs typeface="+mn-cs"/>
            </a:endParaRPr>
          </a:p>
        </p:txBody>
      </p:sp>
      <p:sp>
        <p:nvSpPr>
          <p:cNvPr id="30" name="AutoShape 110"/>
          <p:cNvSpPr>
            <a:spLocks noChangeArrowheads="1"/>
          </p:cNvSpPr>
          <p:nvPr/>
        </p:nvSpPr>
        <p:spPr bwMode="grayWhite">
          <a:xfrm>
            <a:off x="6437393" y="4514850"/>
            <a:ext cx="135000" cy="202500"/>
          </a:xfrm>
          <a:prstGeom prst="rightArrow">
            <a:avLst/>
          </a:prstGeom>
          <a:solidFill>
            <a:srgbClr val="DCDCDC"/>
          </a:solidFill>
          <a:ln w="12700" algn="ctr">
            <a:solidFill>
              <a:schemeClr val="bg1"/>
            </a:solidFill>
            <a:miter lim="800000"/>
            <a:headEnd/>
            <a:tailEnd/>
          </a:ln>
        </p:spPr>
        <p:txBody>
          <a:bodyPr wrap="none" anchor="ctr"/>
          <a:lstStyle/>
          <a:p>
            <a:pPr algn="ctr" defTabSz="685800">
              <a:buClrTx/>
            </a:pPr>
            <a:endParaRPr lang="en-US" sz="825" kern="1200">
              <a:solidFill>
                <a:srgbClr val="313131"/>
              </a:solidFill>
              <a:ea typeface="+mn-ea"/>
              <a:cs typeface="+mn-cs"/>
            </a:endParaRPr>
          </a:p>
        </p:txBody>
      </p:sp>
      <p:sp>
        <p:nvSpPr>
          <p:cNvPr id="33" name="Text Placeholder 3"/>
          <p:cNvSpPr txBox="1">
            <a:spLocks/>
          </p:cNvSpPr>
          <p:nvPr/>
        </p:nvSpPr>
        <p:spPr>
          <a:xfrm>
            <a:off x="1440656" y="1268730"/>
            <a:ext cx="2227437" cy="34020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5979" indent="-205979" defTabSz="685800">
              <a:spcBef>
                <a:spcPts val="900"/>
              </a:spcBef>
              <a:buClrTx/>
              <a:defRPr/>
            </a:pPr>
            <a:r>
              <a:rPr lang="en-GB" sz="1350" dirty="0">
                <a:solidFill>
                  <a:srgbClr val="313131"/>
                </a:solidFill>
                <a:latin typeface="Arial"/>
              </a:rPr>
              <a:t>This is a level one bullet this is dummy text</a:t>
            </a:r>
          </a:p>
          <a:p>
            <a:pPr marL="205979" indent="-205979" defTabSz="685800">
              <a:spcBef>
                <a:spcPts val="900"/>
              </a:spcBef>
              <a:buClrTx/>
              <a:defRPr/>
            </a:pPr>
            <a:r>
              <a:rPr lang="en-GB" sz="1350" dirty="0">
                <a:solidFill>
                  <a:srgbClr val="313131"/>
                </a:solidFill>
                <a:latin typeface="Arial"/>
              </a:rPr>
              <a:t>This is a level one bullet this is dummy text</a:t>
            </a:r>
          </a:p>
          <a:p>
            <a:pPr marL="205979" indent="-205979" defTabSz="685800">
              <a:spcBef>
                <a:spcPts val="900"/>
              </a:spcBef>
              <a:buClrTx/>
              <a:defRPr/>
            </a:pPr>
            <a:r>
              <a:rPr lang="en-GB" sz="1350" dirty="0">
                <a:solidFill>
                  <a:srgbClr val="313131"/>
                </a:solidFill>
                <a:latin typeface="Arial"/>
              </a:rPr>
              <a:t>This is a level one bullet this is dummy text</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205979" indent="-205979" defTabSz="685800">
              <a:spcBef>
                <a:spcPts val="900"/>
              </a:spcBef>
              <a:buClrTx/>
              <a:defRPr/>
            </a:pPr>
            <a:endParaRPr lang="en-GB" sz="1350" dirty="0">
              <a:solidFill>
                <a:srgbClr val="313131"/>
              </a:solidFill>
              <a:latin typeface="Arial"/>
            </a:endParaRPr>
          </a:p>
          <a:p>
            <a:pPr marL="205979" indent="-205979" defTabSz="685800">
              <a:spcBef>
                <a:spcPts val="900"/>
              </a:spcBef>
              <a:buClrTx/>
              <a:defRPr/>
            </a:pPr>
            <a:endParaRPr lang="en-GB" sz="1350" dirty="0">
              <a:solidFill>
                <a:srgbClr val="313131"/>
              </a:solidFill>
              <a:latin typeface="Arial"/>
            </a:endParaRPr>
          </a:p>
        </p:txBody>
      </p:sp>
    </p:spTree>
  </p:cSld>
  <p:clrMapOvr>
    <a:masterClrMapping/>
  </p:clrMapOvr>
  <p:transition>
    <p:fade/>
  </p:transition>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0289" name="Title 1"/>
          <p:cNvSpPr>
            <a:spLocks noGrp="1"/>
          </p:cNvSpPr>
          <p:nvPr>
            <p:ph type="title"/>
          </p:nvPr>
        </p:nvSpPr>
        <p:spPr/>
        <p:txBody>
          <a:bodyPr/>
          <a:lstStyle/>
          <a:p>
            <a:r>
              <a:rPr lang="en-US" altLang="ja-JP" dirty="0"/>
              <a:t>Activity map – generic</a:t>
            </a:r>
            <a:endParaRPr lang="en-US" dirty="0"/>
          </a:p>
        </p:txBody>
      </p:sp>
      <p:sp>
        <p:nvSpPr>
          <p:cNvPr id="780291" name="Text Box 3"/>
          <p:cNvSpPr txBox="1">
            <a:spLocks noChangeArrowheads="1"/>
          </p:cNvSpPr>
          <p:nvPr/>
        </p:nvSpPr>
        <p:spPr bwMode="auto">
          <a:xfrm>
            <a:off x="1765697" y="1560816"/>
            <a:ext cx="205184" cy="126958"/>
          </a:xfrm>
          <a:prstGeom prst="rect">
            <a:avLst/>
          </a:prstGeom>
          <a:noFill/>
          <a:ln w="9525">
            <a:noFill/>
            <a:miter lim="800000"/>
            <a:headEnd type="none" w="sm" len="sm"/>
            <a:tailEnd type="none" w="med" len="lg"/>
          </a:ln>
        </p:spPr>
        <p:txBody>
          <a:bodyPr wrap="none" lIns="0" tIns="0" rIns="0" bIns="0" anchor="ctr" anchorCtr="0">
            <a:spAutoFit/>
          </a:bodyPr>
          <a:lstStyle/>
          <a:p>
            <a:pPr defTabSz="685800">
              <a:buClrTx/>
            </a:pPr>
            <a:r>
              <a:rPr lang="en-US" altLang="ja-JP" sz="825" kern="1200" dirty="0">
                <a:solidFill>
                  <a:srgbClr val="313131"/>
                </a:solidFill>
                <a:ea typeface="ＭＳ Ｐゴシック" charset="-128"/>
                <a:cs typeface="+mn-cs"/>
              </a:rPr>
              <a:t>Text</a:t>
            </a:r>
          </a:p>
        </p:txBody>
      </p:sp>
      <p:sp>
        <p:nvSpPr>
          <p:cNvPr id="5" name="Rectangle 4"/>
          <p:cNvSpPr>
            <a:spLocks noChangeArrowheads="1"/>
          </p:cNvSpPr>
          <p:nvPr/>
        </p:nvSpPr>
        <p:spPr bwMode="auto">
          <a:xfrm>
            <a:off x="2328863" y="1531620"/>
            <a:ext cx="448866" cy="161925"/>
          </a:xfrm>
          <a:prstGeom prst="rect">
            <a:avLst/>
          </a:prstGeom>
          <a:solidFill>
            <a:srgbClr val="00A1DE"/>
          </a:solidFill>
          <a:ln w="12700">
            <a:solidFill>
              <a:schemeClr val="bg1"/>
            </a:solidFill>
            <a:miter lim="800000"/>
            <a:headEnd type="none" w="sm" len="sm"/>
            <a:tailEnd type="none" w="med" len="lg"/>
          </a:ln>
        </p:spPr>
        <p:txBody>
          <a:bodyPr wrap="none" anchor="ctr"/>
          <a:lstStyle/>
          <a:p>
            <a:pPr defTabSz="685800">
              <a:buClrTx/>
              <a:defRPr/>
            </a:pPr>
            <a:endParaRPr lang="en-US" sz="750" kern="1200" dirty="0">
              <a:solidFill>
                <a:srgbClr val="313131"/>
              </a:solidFill>
              <a:ea typeface="+mn-ea"/>
              <a:cs typeface="+mn-cs"/>
            </a:endParaRPr>
          </a:p>
        </p:txBody>
      </p:sp>
      <p:sp>
        <p:nvSpPr>
          <p:cNvPr id="780293" name="Rectangle 5"/>
          <p:cNvSpPr>
            <a:spLocks noChangeArrowheads="1"/>
          </p:cNvSpPr>
          <p:nvPr/>
        </p:nvSpPr>
        <p:spPr bwMode="auto">
          <a:xfrm>
            <a:off x="2986088" y="1531620"/>
            <a:ext cx="448866" cy="161925"/>
          </a:xfrm>
          <a:prstGeom prst="rect">
            <a:avLst/>
          </a:prstGeom>
          <a:solidFill>
            <a:srgbClr val="B4B4B4"/>
          </a:solidFill>
          <a:ln w="12700" algn="ctr">
            <a:solidFill>
              <a:schemeClr val="bg1"/>
            </a:solidFill>
            <a:miter lim="800000"/>
            <a:headEnd type="none" w="sm" len="sm"/>
            <a:tailEnd type="none" w="med" len="lg"/>
          </a:ln>
        </p:spPr>
        <p:txBody>
          <a:bodyPr wrap="none" anchor="ctr"/>
          <a:lstStyle/>
          <a:p>
            <a:pPr defTabSz="685800">
              <a:buClrTx/>
            </a:pPr>
            <a:endParaRPr lang="en-US" sz="750" kern="1200">
              <a:solidFill>
                <a:srgbClr val="313131"/>
              </a:solidFill>
              <a:ea typeface="+mn-ea"/>
              <a:cs typeface="+mn-cs"/>
            </a:endParaRPr>
          </a:p>
        </p:txBody>
      </p:sp>
      <p:sp>
        <p:nvSpPr>
          <p:cNvPr id="7" name="Rectangle 6"/>
          <p:cNvSpPr>
            <a:spLocks noChangeArrowheads="1"/>
          </p:cNvSpPr>
          <p:nvPr/>
        </p:nvSpPr>
        <p:spPr bwMode="auto">
          <a:xfrm>
            <a:off x="3644504" y="1531620"/>
            <a:ext cx="448865" cy="161925"/>
          </a:xfrm>
          <a:prstGeom prst="rect">
            <a:avLst/>
          </a:prstGeom>
          <a:solidFill>
            <a:srgbClr val="00A1DE"/>
          </a:solidFill>
          <a:ln w="12700">
            <a:solidFill>
              <a:schemeClr val="bg1"/>
            </a:solidFill>
            <a:miter lim="800000"/>
            <a:headEnd type="none" w="sm" len="sm"/>
            <a:tailEnd type="none" w="med" len="lg"/>
          </a:ln>
        </p:spPr>
        <p:txBody>
          <a:bodyPr wrap="none" anchor="ctr"/>
          <a:lstStyle/>
          <a:p>
            <a:pPr defTabSz="685800">
              <a:buClrTx/>
              <a:defRPr/>
            </a:pPr>
            <a:endParaRPr lang="en-US" sz="750" kern="1200" dirty="0">
              <a:solidFill>
                <a:srgbClr val="313131"/>
              </a:solidFill>
              <a:ea typeface="+mn-ea"/>
              <a:cs typeface="+mn-cs"/>
            </a:endParaRPr>
          </a:p>
        </p:txBody>
      </p:sp>
      <p:sp>
        <p:nvSpPr>
          <p:cNvPr id="8" name="Rectangle 7"/>
          <p:cNvSpPr>
            <a:spLocks noChangeArrowheads="1"/>
          </p:cNvSpPr>
          <p:nvPr/>
        </p:nvSpPr>
        <p:spPr bwMode="auto">
          <a:xfrm>
            <a:off x="4302919" y="1531620"/>
            <a:ext cx="447675" cy="161925"/>
          </a:xfrm>
          <a:prstGeom prst="rect">
            <a:avLst/>
          </a:prstGeom>
          <a:solidFill>
            <a:schemeClr val="bg1"/>
          </a:solidFill>
          <a:ln w="12700">
            <a:solidFill>
              <a:srgbClr val="B4B4B4"/>
            </a:solidFill>
            <a:miter lim="800000"/>
            <a:headEnd type="none" w="sm" len="sm"/>
            <a:tailEnd type="none" w="med" len="lg"/>
          </a:ln>
        </p:spPr>
        <p:txBody>
          <a:bodyPr wrap="none" anchor="ctr"/>
          <a:lstStyle/>
          <a:p>
            <a:pPr defTabSz="685800">
              <a:buClrTx/>
              <a:defRPr/>
            </a:pPr>
            <a:endParaRPr lang="en-US" sz="750" kern="1200" dirty="0">
              <a:solidFill>
                <a:srgbClr val="313131"/>
              </a:solidFill>
              <a:ea typeface="+mn-ea"/>
              <a:cs typeface="+mn-cs"/>
            </a:endParaRPr>
          </a:p>
        </p:txBody>
      </p:sp>
      <p:sp>
        <p:nvSpPr>
          <p:cNvPr id="9" name="Rectangle 8"/>
          <p:cNvSpPr>
            <a:spLocks noChangeArrowheads="1"/>
          </p:cNvSpPr>
          <p:nvPr/>
        </p:nvSpPr>
        <p:spPr bwMode="auto">
          <a:xfrm>
            <a:off x="4961335" y="1531620"/>
            <a:ext cx="447675" cy="161925"/>
          </a:xfrm>
          <a:prstGeom prst="rect">
            <a:avLst/>
          </a:prstGeom>
          <a:solidFill>
            <a:schemeClr val="bg1"/>
          </a:solidFill>
          <a:ln w="12700">
            <a:solidFill>
              <a:srgbClr val="B4B4B4"/>
            </a:solidFill>
            <a:miter lim="800000"/>
            <a:headEnd type="none" w="sm" len="sm"/>
            <a:tailEnd type="none" w="med" len="lg"/>
          </a:ln>
        </p:spPr>
        <p:txBody>
          <a:bodyPr wrap="none" anchor="ctr"/>
          <a:lstStyle/>
          <a:p>
            <a:pPr defTabSz="685800">
              <a:buClrTx/>
              <a:defRPr/>
            </a:pPr>
            <a:endParaRPr lang="en-US" sz="750" kern="1200" dirty="0">
              <a:solidFill>
                <a:srgbClr val="313131"/>
              </a:solidFill>
              <a:ea typeface="+mn-ea"/>
              <a:cs typeface="+mn-cs"/>
            </a:endParaRPr>
          </a:p>
        </p:txBody>
      </p:sp>
      <p:sp>
        <p:nvSpPr>
          <p:cNvPr id="10" name="Rectangle 9"/>
          <p:cNvSpPr>
            <a:spLocks noChangeArrowheads="1"/>
          </p:cNvSpPr>
          <p:nvPr/>
        </p:nvSpPr>
        <p:spPr bwMode="auto">
          <a:xfrm>
            <a:off x="5619750" y="1531620"/>
            <a:ext cx="447675" cy="161925"/>
          </a:xfrm>
          <a:prstGeom prst="rect">
            <a:avLst/>
          </a:prstGeom>
          <a:solidFill>
            <a:schemeClr val="bg1"/>
          </a:solidFill>
          <a:ln w="12700">
            <a:solidFill>
              <a:srgbClr val="B4B4B4"/>
            </a:solidFill>
            <a:miter lim="800000"/>
            <a:headEnd type="none" w="sm" len="sm"/>
            <a:tailEnd type="none" w="med" len="lg"/>
          </a:ln>
        </p:spPr>
        <p:txBody>
          <a:bodyPr wrap="none" anchor="ctr"/>
          <a:lstStyle/>
          <a:p>
            <a:pPr defTabSz="685800">
              <a:buClrTx/>
              <a:defRPr/>
            </a:pPr>
            <a:endParaRPr lang="en-US" sz="750" kern="1200" dirty="0">
              <a:solidFill>
                <a:srgbClr val="313131"/>
              </a:solidFill>
              <a:ea typeface="+mn-ea"/>
              <a:cs typeface="+mn-cs"/>
            </a:endParaRPr>
          </a:p>
        </p:txBody>
      </p:sp>
      <p:sp>
        <p:nvSpPr>
          <p:cNvPr id="780298" name="Text Box 10"/>
          <p:cNvSpPr txBox="1">
            <a:spLocks noChangeArrowheads="1"/>
          </p:cNvSpPr>
          <p:nvPr/>
        </p:nvSpPr>
        <p:spPr bwMode="auto">
          <a:xfrm>
            <a:off x="1765697" y="1972772"/>
            <a:ext cx="205184" cy="126958"/>
          </a:xfrm>
          <a:prstGeom prst="rect">
            <a:avLst/>
          </a:prstGeom>
          <a:noFill/>
          <a:ln w="9525">
            <a:noFill/>
            <a:miter lim="800000"/>
            <a:headEnd type="none" w="sm" len="sm"/>
            <a:tailEnd type="none" w="med" len="lg"/>
          </a:ln>
        </p:spPr>
        <p:txBody>
          <a:bodyPr wrap="none" lIns="0" tIns="0" rIns="0" bIns="0" anchor="ctr" anchorCtr="0">
            <a:spAutoFit/>
          </a:bodyPr>
          <a:lstStyle/>
          <a:p>
            <a:pPr defTabSz="685800">
              <a:buClrTx/>
            </a:pPr>
            <a:r>
              <a:rPr lang="en-US" altLang="ja-JP" sz="825" kern="1200" dirty="0">
                <a:solidFill>
                  <a:srgbClr val="313131"/>
                </a:solidFill>
                <a:ea typeface="ＭＳ Ｐゴシック" charset="-128"/>
                <a:cs typeface="+mn-cs"/>
              </a:rPr>
              <a:t>Text</a:t>
            </a:r>
          </a:p>
        </p:txBody>
      </p:sp>
      <p:sp>
        <p:nvSpPr>
          <p:cNvPr id="12" name="Rectangle 11"/>
          <p:cNvSpPr>
            <a:spLocks noChangeArrowheads="1"/>
          </p:cNvSpPr>
          <p:nvPr/>
        </p:nvSpPr>
        <p:spPr bwMode="auto">
          <a:xfrm>
            <a:off x="2328863" y="1943576"/>
            <a:ext cx="448866" cy="161925"/>
          </a:xfrm>
          <a:prstGeom prst="rect">
            <a:avLst/>
          </a:prstGeom>
          <a:solidFill>
            <a:schemeClr val="bg1"/>
          </a:solidFill>
          <a:ln w="12700">
            <a:solidFill>
              <a:srgbClr val="B4B4B4"/>
            </a:solidFill>
            <a:miter lim="800000"/>
            <a:headEnd type="none" w="sm" len="sm"/>
            <a:tailEnd type="none" w="med" len="lg"/>
          </a:ln>
        </p:spPr>
        <p:txBody>
          <a:bodyPr wrap="none" anchor="ctr"/>
          <a:lstStyle/>
          <a:p>
            <a:pPr defTabSz="685800">
              <a:buClrTx/>
              <a:defRPr/>
            </a:pPr>
            <a:endParaRPr lang="en-US" sz="750" kern="1200" dirty="0">
              <a:solidFill>
                <a:srgbClr val="313131"/>
              </a:solidFill>
              <a:ea typeface="+mn-ea"/>
              <a:cs typeface="+mn-cs"/>
            </a:endParaRPr>
          </a:p>
        </p:txBody>
      </p:sp>
      <p:sp>
        <p:nvSpPr>
          <p:cNvPr id="13" name="Rectangle 12"/>
          <p:cNvSpPr>
            <a:spLocks noChangeArrowheads="1"/>
          </p:cNvSpPr>
          <p:nvPr/>
        </p:nvSpPr>
        <p:spPr bwMode="auto">
          <a:xfrm>
            <a:off x="2986088" y="1943576"/>
            <a:ext cx="448866" cy="161925"/>
          </a:xfrm>
          <a:prstGeom prst="rect">
            <a:avLst/>
          </a:prstGeom>
          <a:solidFill>
            <a:srgbClr val="00A1DE"/>
          </a:solidFill>
          <a:ln w="12700">
            <a:solidFill>
              <a:schemeClr val="bg1"/>
            </a:solidFill>
            <a:miter lim="800000"/>
            <a:headEnd type="none" w="sm" len="sm"/>
            <a:tailEnd type="none" w="med" len="lg"/>
          </a:ln>
        </p:spPr>
        <p:txBody>
          <a:bodyPr wrap="none" anchor="ctr"/>
          <a:lstStyle/>
          <a:p>
            <a:pPr defTabSz="685800">
              <a:buClrTx/>
              <a:defRPr/>
            </a:pPr>
            <a:endParaRPr lang="en-US" sz="750" kern="1200" dirty="0">
              <a:solidFill>
                <a:srgbClr val="313131"/>
              </a:solidFill>
              <a:ea typeface="+mn-ea"/>
              <a:cs typeface="+mn-cs"/>
            </a:endParaRPr>
          </a:p>
        </p:txBody>
      </p:sp>
      <p:sp>
        <p:nvSpPr>
          <p:cNvPr id="780301" name="Rectangle 13"/>
          <p:cNvSpPr>
            <a:spLocks noChangeArrowheads="1"/>
          </p:cNvSpPr>
          <p:nvPr/>
        </p:nvSpPr>
        <p:spPr bwMode="auto">
          <a:xfrm>
            <a:off x="3644504" y="1943576"/>
            <a:ext cx="448865" cy="161925"/>
          </a:xfrm>
          <a:prstGeom prst="rect">
            <a:avLst/>
          </a:prstGeom>
          <a:solidFill>
            <a:srgbClr val="B4B4B4"/>
          </a:solidFill>
          <a:ln w="12700" algn="ctr">
            <a:solidFill>
              <a:schemeClr val="bg1"/>
            </a:solidFill>
            <a:miter lim="800000"/>
            <a:headEnd type="none" w="sm" len="sm"/>
            <a:tailEnd type="none" w="med" len="lg"/>
          </a:ln>
        </p:spPr>
        <p:txBody>
          <a:bodyPr wrap="none" anchor="ctr"/>
          <a:lstStyle/>
          <a:p>
            <a:pPr defTabSz="685800">
              <a:buClrTx/>
            </a:pPr>
            <a:endParaRPr lang="en-US" sz="750" kern="1200">
              <a:solidFill>
                <a:srgbClr val="313131"/>
              </a:solidFill>
              <a:ea typeface="+mn-ea"/>
              <a:cs typeface="+mn-cs"/>
            </a:endParaRPr>
          </a:p>
        </p:txBody>
      </p:sp>
      <p:sp>
        <p:nvSpPr>
          <p:cNvPr id="15" name="Rectangle 14"/>
          <p:cNvSpPr>
            <a:spLocks noChangeArrowheads="1"/>
          </p:cNvSpPr>
          <p:nvPr/>
        </p:nvSpPr>
        <p:spPr bwMode="auto">
          <a:xfrm>
            <a:off x="4302919" y="1943576"/>
            <a:ext cx="447675" cy="161925"/>
          </a:xfrm>
          <a:prstGeom prst="rect">
            <a:avLst/>
          </a:prstGeom>
          <a:solidFill>
            <a:srgbClr val="00A1DE"/>
          </a:solidFill>
          <a:ln w="12700">
            <a:solidFill>
              <a:schemeClr val="bg1"/>
            </a:solidFill>
            <a:miter lim="800000"/>
            <a:headEnd type="none" w="sm" len="sm"/>
            <a:tailEnd type="none" w="med" len="lg"/>
          </a:ln>
        </p:spPr>
        <p:txBody>
          <a:bodyPr wrap="none" anchor="ctr"/>
          <a:lstStyle/>
          <a:p>
            <a:pPr defTabSz="685800">
              <a:buClrTx/>
              <a:defRPr/>
            </a:pPr>
            <a:endParaRPr lang="en-US" sz="750" kern="1200" dirty="0">
              <a:solidFill>
                <a:srgbClr val="313131"/>
              </a:solidFill>
              <a:ea typeface="+mn-ea"/>
              <a:cs typeface="+mn-cs"/>
            </a:endParaRPr>
          </a:p>
        </p:txBody>
      </p:sp>
      <p:sp>
        <p:nvSpPr>
          <p:cNvPr id="16" name="Rectangle 15"/>
          <p:cNvSpPr>
            <a:spLocks noChangeArrowheads="1"/>
          </p:cNvSpPr>
          <p:nvPr/>
        </p:nvSpPr>
        <p:spPr bwMode="auto">
          <a:xfrm>
            <a:off x="4961335" y="1943576"/>
            <a:ext cx="447675" cy="161925"/>
          </a:xfrm>
          <a:prstGeom prst="rect">
            <a:avLst/>
          </a:prstGeom>
          <a:solidFill>
            <a:srgbClr val="00A1DE"/>
          </a:solidFill>
          <a:ln w="12700">
            <a:solidFill>
              <a:schemeClr val="bg1"/>
            </a:solidFill>
            <a:miter lim="800000"/>
            <a:headEnd type="none" w="sm" len="sm"/>
            <a:tailEnd type="none" w="med" len="lg"/>
          </a:ln>
        </p:spPr>
        <p:txBody>
          <a:bodyPr wrap="none" anchor="ctr"/>
          <a:lstStyle/>
          <a:p>
            <a:pPr defTabSz="685800">
              <a:buClrTx/>
              <a:defRPr/>
            </a:pPr>
            <a:endParaRPr lang="en-US" sz="750" kern="1200" dirty="0">
              <a:solidFill>
                <a:srgbClr val="313131"/>
              </a:solidFill>
              <a:ea typeface="+mn-ea"/>
              <a:cs typeface="+mn-cs"/>
            </a:endParaRPr>
          </a:p>
        </p:txBody>
      </p:sp>
      <p:sp>
        <p:nvSpPr>
          <p:cNvPr id="17" name="Rectangle 16"/>
          <p:cNvSpPr>
            <a:spLocks noChangeArrowheads="1"/>
          </p:cNvSpPr>
          <p:nvPr/>
        </p:nvSpPr>
        <p:spPr bwMode="auto">
          <a:xfrm>
            <a:off x="5619750" y="1943576"/>
            <a:ext cx="447675" cy="161925"/>
          </a:xfrm>
          <a:prstGeom prst="rect">
            <a:avLst/>
          </a:prstGeom>
          <a:solidFill>
            <a:srgbClr val="00A1DE"/>
          </a:solidFill>
          <a:ln w="12700">
            <a:solidFill>
              <a:schemeClr val="bg1"/>
            </a:solidFill>
            <a:miter lim="800000"/>
            <a:headEnd type="none" w="sm" len="sm"/>
            <a:tailEnd type="none" w="med" len="lg"/>
          </a:ln>
        </p:spPr>
        <p:txBody>
          <a:bodyPr wrap="none" anchor="ctr"/>
          <a:lstStyle/>
          <a:p>
            <a:pPr defTabSz="685800">
              <a:buClrTx/>
              <a:defRPr/>
            </a:pPr>
            <a:endParaRPr lang="en-US" sz="750" kern="1200" dirty="0">
              <a:solidFill>
                <a:srgbClr val="313131"/>
              </a:solidFill>
              <a:ea typeface="+mn-ea"/>
              <a:cs typeface="+mn-cs"/>
            </a:endParaRPr>
          </a:p>
        </p:txBody>
      </p:sp>
      <p:sp>
        <p:nvSpPr>
          <p:cNvPr id="780305" name="Text Box 17"/>
          <p:cNvSpPr txBox="1">
            <a:spLocks noChangeArrowheads="1"/>
          </p:cNvSpPr>
          <p:nvPr/>
        </p:nvSpPr>
        <p:spPr bwMode="auto">
          <a:xfrm>
            <a:off x="1765697" y="2384729"/>
            <a:ext cx="205184" cy="126958"/>
          </a:xfrm>
          <a:prstGeom prst="rect">
            <a:avLst/>
          </a:prstGeom>
          <a:noFill/>
          <a:ln w="9525">
            <a:noFill/>
            <a:miter lim="800000"/>
            <a:headEnd type="none" w="sm" len="sm"/>
            <a:tailEnd type="none" w="med" len="lg"/>
          </a:ln>
        </p:spPr>
        <p:txBody>
          <a:bodyPr wrap="none" lIns="0" tIns="0" rIns="0" bIns="0" anchor="ctr" anchorCtr="0">
            <a:spAutoFit/>
          </a:bodyPr>
          <a:lstStyle/>
          <a:p>
            <a:pPr defTabSz="685800">
              <a:buClrTx/>
            </a:pPr>
            <a:r>
              <a:rPr lang="en-US" altLang="ja-JP" sz="825" kern="1200" dirty="0">
                <a:solidFill>
                  <a:srgbClr val="313131"/>
                </a:solidFill>
                <a:ea typeface="ＭＳ Ｐゴシック" charset="-128"/>
                <a:cs typeface="+mn-cs"/>
              </a:rPr>
              <a:t>Text</a:t>
            </a:r>
          </a:p>
        </p:txBody>
      </p:sp>
      <p:sp>
        <p:nvSpPr>
          <p:cNvPr id="19" name="Rectangle 18"/>
          <p:cNvSpPr>
            <a:spLocks noChangeArrowheads="1"/>
          </p:cNvSpPr>
          <p:nvPr/>
        </p:nvSpPr>
        <p:spPr bwMode="auto">
          <a:xfrm>
            <a:off x="2328863" y="2355533"/>
            <a:ext cx="448866" cy="161925"/>
          </a:xfrm>
          <a:prstGeom prst="rect">
            <a:avLst/>
          </a:prstGeom>
          <a:solidFill>
            <a:schemeClr val="bg1"/>
          </a:solidFill>
          <a:ln w="12700">
            <a:solidFill>
              <a:srgbClr val="B4B4B4"/>
            </a:solidFill>
            <a:miter lim="800000"/>
            <a:headEnd type="none" w="sm" len="sm"/>
            <a:tailEnd type="none" w="med" len="lg"/>
          </a:ln>
        </p:spPr>
        <p:txBody>
          <a:bodyPr wrap="none" anchor="ctr"/>
          <a:lstStyle/>
          <a:p>
            <a:pPr defTabSz="685800">
              <a:buClrTx/>
              <a:defRPr/>
            </a:pPr>
            <a:endParaRPr lang="en-US" sz="750" kern="1200" dirty="0">
              <a:solidFill>
                <a:srgbClr val="313131"/>
              </a:solidFill>
              <a:ea typeface="+mn-ea"/>
              <a:cs typeface="+mn-cs"/>
            </a:endParaRPr>
          </a:p>
        </p:txBody>
      </p:sp>
      <p:sp>
        <p:nvSpPr>
          <p:cNvPr id="780307" name="Rectangle 19"/>
          <p:cNvSpPr>
            <a:spLocks noChangeArrowheads="1"/>
          </p:cNvSpPr>
          <p:nvPr/>
        </p:nvSpPr>
        <p:spPr bwMode="auto">
          <a:xfrm>
            <a:off x="2986088" y="2355533"/>
            <a:ext cx="448866" cy="161925"/>
          </a:xfrm>
          <a:prstGeom prst="rect">
            <a:avLst/>
          </a:prstGeom>
          <a:solidFill>
            <a:srgbClr val="B4B4B4"/>
          </a:solidFill>
          <a:ln w="12700" algn="ctr">
            <a:solidFill>
              <a:schemeClr val="bg1"/>
            </a:solidFill>
            <a:miter lim="800000"/>
            <a:headEnd type="none" w="sm" len="sm"/>
            <a:tailEnd type="none" w="med" len="lg"/>
          </a:ln>
        </p:spPr>
        <p:txBody>
          <a:bodyPr wrap="none" anchor="ctr"/>
          <a:lstStyle/>
          <a:p>
            <a:pPr defTabSz="685800">
              <a:buClrTx/>
            </a:pPr>
            <a:endParaRPr lang="en-US" sz="750" kern="1200">
              <a:solidFill>
                <a:srgbClr val="313131"/>
              </a:solidFill>
              <a:ea typeface="+mn-ea"/>
              <a:cs typeface="+mn-cs"/>
            </a:endParaRPr>
          </a:p>
        </p:txBody>
      </p:sp>
      <p:sp>
        <p:nvSpPr>
          <p:cNvPr id="780308" name="Rectangle 20"/>
          <p:cNvSpPr>
            <a:spLocks noChangeArrowheads="1"/>
          </p:cNvSpPr>
          <p:nvPr/>
        </p:nvSpPr>
        <p:spPr bwMode="auto">
          <a:xfrm>
            <a:off x="3644504" y="2355533"/>
            <a:ext cx="448865" cy="161925"/>
          </a:xfrm>
          <a:prstGeom prst="rect">
            <a:avLst/>
          </a:prstGeom>
          <a:solidFill>
            <a:srgbClr val="B4B4B4"/>
          </a:solidFill>
          <a:ln w="12700">
            <a:solidFill>
              <a:schemeClr val="bg1"/>
            </a:solidFill>
            <a:miter lim="800000"/>
            <a:headEnd type="none" w="sm" len="sm"/>
            <a:tailEnd type="none" w="med" len="lg"/>
          </a:ln>
        </p:spPr>
        <p:txBody>
          <a:bodyPr wrap="none" anchor="ctr"/>
          <a:lstStyle/>
          <a:p>
            <a:pPr defTabSz="685800">
              <a:buClrTx/>
            </a:pPr>
            <a:endParaRPr lang="en-US" sz="750" kern="1200">
              <a:solidFill>
                <a:srgbClr val="313131"/>
              </a:solidFill>
              <a:ea typeface="+mn-ea"/>
              <a:cs typeface="+mn-cs"/>
            </a:endParaRPr>
          </a:p>
        </p:txBody>
      </p:sp>
      <p:sp>
        <p:nvSpPr>
          <p:cNvPr id="780309" name="Rectangle 21"/>
          <p:cNvSpPr>
            <a:spLocks noChangeArrowheads="1"/>
          </p:cNvSpPr>
          <p:nvPr/>
        </p:nvSpPr>
        <p:spPr bwMode="auto">
          <a:xfrm>
            <a:off x="4302919" y="2355533"/>
            <a:ext cx="447675" cy="161925"/>
          </a:xfrm>
          <a:prstGeom prst="rect">
            <a:avLst/>
          </a:prstGeom>
          <a:solidFill>
            <a:srgbClr val="B4B4B4"/>
          </a:solidFill>
          <a:ln w="12700" algn="ctr">
            <a:solidFill>
              <a:schemeClr val="bg1"/>
            </a:solidFill>
            <a:miter lim="800000"/>
            <a:headEnd type="none" w="sm" len="sm"/>
            <a:tailEnd type="none" w="med" len="lg"/>
          </a:ln>
        </p:spPr>
        <p:txBody>
          <a:bodyPr wrap="none" anchor="ctr"/>
          <a:lstStyle/>
          <a:p>
            <a:pPr defTabSz="685800">
              <a:buClrTx/>
            </a:pPr>
            <a:endParaRPr lang="en-US" sz="750" kern="1200">
              <a:solidFill>
                <a:srgbClr val="313131"/>
              </a:solidFill>
              <a:ea typeface="+mn-ea"/>
              <a:cs typeface="+mn-cs"/>
            </a:endParaRPr>
          </a:p>
        </p:txBody>
      </p:sp>
      <p:sp>
        <p:nvSpPr>
          <p:cNvPr id="780310" name="Rectangle 22"/>
          <p:cNvSpPr>
            <a:spLocks noChangeArrowheads="1"/>
          </p:cNvSpPr>
          <p:nvPr/>
        </p:nvSpPr>
        <p:spPr bwMode="auto">
          <a:xfrm>
            <a:off x="4961335" y="2355533"/>
            <a:ext cx="447675" cy="161925"/>
          </a:xfrm>
          <a:prstGeom prst="rect">
            <a:avLst/>
          </a:prstGeom>
          <a:solidFill>
            <a:srgbClr val="B4B4B4"/>
          </a:solidFill>
          <a:ln w="12700" algn="ctr">
            <a:solidFill>
              <a:schemeClr val="bg1"/>
            </a:solidFill>
            <a:miter lim="800000"/>
            <a:headEnd type="none" w="sm" len="sm"/>
            <a:tailEnd type="none" w="med" len="lg"/>
          </a:ln>
        </p:spPr>
        <p:txBody>
          <a:bodyPr wrap="none" anchor="ctr"/>
          <a:lstStyle/>
          <a:p>
            <a:pPr defTabSz="685800">
              <a:buClrTx/>
            </a:pPr>
            <a:endParaRPr lang="en-US" sz="750" kern="1200">
              <a:solidFill>
                <a:srgbClr val="313131"/>
              </a:solidFill>
              <a:ea typeface="+mn-ea"/>
              <a:cs typeface="+mn-cs"/>
            </a:endParaRPr>
          </a:p>
        </p:txBody>
      </p:sp>
      <p:sp>
        <p:nvSpPr>
          <p:cNvPr id="24" name="Rectangle 23"/>
          <p:cNvSpPr>
            <a:spLocks noChangeArrowheads="1"/>
          </p:cNvSpPr>
          <p:nvPr/>
        </p:nvSpPr>
        <p:spPr bwMode="auto">
          <a:xfrm>
            <a:off x="5619750" y="2355533"/>
            <a:ext cx="447675" cy="161925"/>
          </a:xfrm>
          <a:prstGeom prst="rect">
            <a:avLst/>
          </a:prstGeom>
          <a:solidFill>
            <a:srgbClr val="00A1DE"/>
          </a:solidFill>
          <a:ln w="12700">
            <a:solidFill>
              <a:schemeClr val="bg1"/>
            </a:solidFill>
            <a:miter lim="800000"/>
            <a:headEnd type="none" w="sm" len="sm"/>
            <a:tailEnd type="none" w="med" len="lg"/>
          </a:ln>
        </p:spPr>
        <p:txBody>
          <a:bodyPr wrap="none" anchor="ctr"/>
          <a:lstStyle/>
          <a:p>
            <a:pPr defTabSz="685800">
              <a:buClrTx/>
              <a:defRPr/>
            </a:pPr>
            <a:endParaRPr lang="en-US" sz="750" kern="1200" dirty="0">
              <a:solidFill>
                <a:srgbClr val="313131"/>
              </a:solidFill>
              <a:ea typeface="+mn-ea"/>
              <a:cs typeface="+mn-cs"/>
            </a:endParaRPr>
          </a:p>
        </p:txBody>
      </p:sp>
      <p:sp>
        <p:nvSpPr>
          <p:cNvPr id="780312" name="Text Box 24"/>
          <p:cNvSpPr txBox="1">
            <a:spLocks noChangeArrowheads="1"/>
          </p:cNvSpPr>
          <p:nvPr/>
        </p:nvSpPr>
        <p:spPr bwMode="auto">
          <a:xfrm>
            <a:off x="1765697" y="2796685"/>
            <a:ext cx="205184" cy="126958"/>
          </a:xfrm>
          <a:prstGeom prst="rect">
            <a:avLst/>
          </a:prstGeom>
          <a:noFill/>
          <a:ln w="9525">
            <a:noFill/>
            <a:miter lim="800000"/>
            <a:headEnd type="none" w="sm" len="sm"/>
            <a:tailEnd type="none" w="med" len="lg"/>
          </a:ln>
        </p:spPr>
        <p:txBody>
          <a:bodyPr wrap="none" lIns="0" tIns="0" rIns="0" bIns="0" anchor="ctr" anchorCtr="0">
            <a:spAutoFit/>
          </a:bodyPr>
          <a:lstStyle/>
          <a:p>
            <a:pPr defTabSz="685800">
              <a:buClrTx/>
            </a:pPr>
            <a:r>
              <a:rPr lang="en-US" altLang="ja-JP" sz="825" kern="1200" dirty="0">
                <a:solidFill>
                  <a:srgbClr val="313131"/>
                </a:solidFill>
                <a:ea typeface="ＭＳ Ｐゴシック" charset="-128"/>
                <a:cs typeface="+mn-cs"/>
              </a:rPr>
              <a:t>Text</a:t>
            </a:r>
          </a:p>
        </p:txBody>
      </p:sp>
      <p:sp>
        <p:nvSpPr>
          <p:cNvPr id="26" name="Rectangle 25"/>
          <p:cNvSpPr>
            <a:spLocks noChangeArrowheads="1"/>
          </p:cNvSpPr>
          <p:nvPr/>
        </p:nvSpPr>
        <p:spPr bwMode="auto">
          <a:xfrm>
            <a:off x="2328863" y="2767489"/>
            <a:ext cx="448866" cy="161925"/>
          </a:xfrm>
          <a:prstGeom prst="rect">
            <a:avLst/>
          </a:prstGeom>
          <a:solidFill>
            <a:srgbClr val="00A1DE"/>
          </a:solidFill>
          <a:ln w="12700">
            <a:solidFill>
              <a:schemeClr val="bg1"/>
            </a:solidFill>
            <a:miter lim="800000"/>
            <a:headEnd type="none" w="sm" len="sm"/>
            <a:tailEnd type="none" w="med" len="lg"/>
          </a:ln>
        </p:spPr>
        <p:txBody>
          <a:bodyPr wrap="none" anchor="ctr"/>
          <a:lstStyle/>
          <a:p>
            <a:pPr defTabSz="685800">
              <a:buClrTx/>
              <a:defRPr/>
            </a:pPr>
            <a:endParaRPr lang="en-US" sz="750" kern="1200" dirty="0">
              <a:solidFill>
                <a:srgbClr val="313131"/>
              </a:solidFill>
              <a:ea typeface="+mn-ea"/>
              <a:cs typeface="+mn-cs"/>
            </a:endParaRPr>
          </a:p>
        </p:txBody>
      </p:sp>
      <p:sp>
        <p:nvSpPr>
          <p:cNvPr id="27" name="Rectangle 26"/>
          <p:cNvSpPr>
            <a:spLocks noChangeArrowheads="1"/>
          </p:cNvSpPr>
          <p:nvPr/>
        </p:nvSpPr>
        <p:spPr bwMode="auto">
          <a:xfrm>
            <a:off x="2986088" y="2767489"/>
            <a:ext cx="448866" cy="161925"/>
          </a:xfrm>
          <a:prstGeom prst="rect">
            <a:avLst/>
          </a:prstGeom>
          <a:solidFill>
            <a:srgbClr val="00A1DE"/>
          </a:solidFill>
          <a:ln w="12700" algn="ctr">
            <a:solidFill>
              <a:schemeClr val="bg1"/>
            </a:solidFill>
            <a:miter lim="800000"/>
            <a:headEnd type="none" w="sm" len="sm"/>
            <a:tailEnd type="none" w="med" len="lg"/>
          </a:ln>
        </p:spPr>
        <p:txBody>
          <a:bodyPr wrap="none" anchor="ctr"/>
          <a:lstStyle/>
          <a:p>
            <a:pPr defTabSz="685800">
              <a:buClrTx/>
              <a:defRPr/>
            </a:pPr>
            <a:endParaRPr lang="en-US" sz="750" kern="1200" dirty="0">
              <a:solidFill>
                <a:srgbClr val="313131"/>
              </a:solidFill>
              <a:ea typeface="+mn-ea"/>
              <a:cs typeface="+mn-cs"/>
            </a:endParaRPr>
          </a:p>
        </p:txBody>
      </p:sp>
      <p:sp>
        <p:nvSpPr>
          <p:cNvPr id="28" name="Rectangle 27"/>
          <p:cNvSpPr>
            <a:spLocks noChangeArrowheads="1"/>
          </p:cNvSpPr>
          <p:nvPr/>
        </p:nvSpPr>
        <p:spPr bwMode="auto">
          <a:xfrm>
            <a:off x="3644504" y="2767489"/>
            <a:ext cx="448865" cy="161925"/>
          </a:xfrm>
          <a:prstGeom prst="rect">
            <a:avLst/>
          </a:prstGeom>
          <a:solidFill>
            <a:srgbClr val="00A1DE"/>
          </a:solidFill>
          <a:ln w="12700">
            <a:solidFill>
              <a:schemeClr val="bg1"/>
            </a:solidFill>
            <a:miter lim="800000"/>
            <a:headEnd type="none" w="sm" len="sm"/>
            <a:tailEnd type="none" w="med" len="lg"/>
          </a:ln>
        </p:spPr>
        <p:txBody>
          <a:bodyPr wrap="none" anchor="ctr"/>
          <a:lstStyle/>
          <a:p>
            <a:pPr defTabSz="685800">
              <a:buClrTx/>
              <a:defRPr/>
            </a:pPr>
            <a:endParaRPr lang="en-US" sz="750" kern="1200" dirty="0">
              <a:solidFill>
                <a:srgbClr val="313131"/>
              </a:solidFill>
              <a:ea typeface="+mn-ea"/>
              <a:cs typeface="+mn-cs"/>
            </a:endParaRPr>
          </a:p>
        </p:txBody>
      </p:sp>
      <p:sp>
        <p:nvSpPr>
          <p:cNvPr id="780316" name="Rectangle 28"/>
          <p:cNvSpPr>
            <a:spLocks noChangeArrowheads="1"/>
          </p:cNvSpPr>
          <p:nvPr/>
        </p:nvSpPr>
        <p:spPr bwMode="auto">
          <a:xfrm>
            <a:off x="4302919" y="2767489"/>
            <a:ext cx="447675" cy="161925"/>
          </a:xfrm>
          <a:prstGeom prst="rect">
            <a:avLst/>
          </a:prstGeom>
          <a:solidFill>
            <a:srgbClr val="B4B4B4"/>
          </a:solidFill>
          <a:ln w="12700" algn="ctr">
            <a:solidFill>
              <a:schemeClr val="bg1"/>
            </a:solidFill>
            <a:miter lim="800000"/>
            <a:headEnd type="none" w="sm" len="sm"/>
            <a:tailEnd type="none" w="med" len="lg"/>
          </a:ln>
        </p:spPr>
        <p:txBody>
          <a:bodyPr wrap="none" anchor="ctr"/>
          <a:lstStyle/>
          <a:p>
            <a:pPr defTabSz="685800">
              <a:buClrTx/>
            </a:pPr>
            <a:endParaRPr lang="en-US" sz="750" kern="1200">
              <a:solidFill>
                <a:srgbClr val="313131"/>
              </a:solidFill>
              <a:ea typeface="+mn-ea"/>
              <a:cs typeface="+mn-cs"/>
            </a:endParaRPr>
          </a:p>
        </p:txBody>
      </p:sp>
      <p:sp>
        <p:nvSpPr>
          <p:cNvPr id="30" name="Rectangle 29"/>
          <p:cNvSpPr>
            <a:spLocks noChangeArrowheads="1"/>
          </p:cNvSpPr>
          <p:nvPr/>
        </p:nvSpPr>
        <p:spPr bwMode="auto">
          <a:xfrm>
            <a:off x="4961335" y="2767489"/>
            <a:ext cx="447675" cy="161925"/>
          </a:xfrm>
          <a:prstGeom prst="rect">
            <a:avLst/>
          </a:prstGeom>
          <a:solidFill>
            <a:srgbClr val="00A1DE"/>
          </a:solidFill>
          <a:ln w="12700">
            <a:solidFill>
              <a:schemeClr val="bg1"/>
            </a:solidFill>
            <a:miter lim="800000"/>
            <a:headEnd type="none" w="sm" len="sm"/>
            <a:tailEnd type="none" w="med" len="lg"/>
          </a:ln>
        </p:spPr>
        <p:txBody>
          <a:bodyPr wrap="none" anchor="ctr"/>
          <a:lstStyle/>
          <a:p>
            <a:pPr defTabSz="685800">
              <a:buClrTx/>
              <a:defRPr/>
            </a:pPr>
            <a:endParaRPr lang="en-US" sz="750" kern="1200" dirty="0">
              <a:solidFill>
                <a:srgbClr val="313131"/>
              </a:solidFill>
              <a:ea typeface="+mn-ea"/>
              <a:cs typeface="+mn-cs"/>
            </a:endParaRPr>
          </a:p>
        </p:txBody>
      </p:sp>
      <p:sp>
        <p:nvSpPr>
          <p:cNvPr id="31" name="Rectangle 30"/>
          <p:cNvSpPr>
            <a:spLocks noChangeArrowheads="1"/>
          </p:cNvSpPr>
          <p:nvPr/>
        </p:nvSpPr>
        <p:spPr bwMode="auto">
          <a:xfrm>
            <a:off x="5619750" y="2767489"/>
            <a:ext cx="447675" cy="161925"/>
          </a:xfrm>
          <a:prstGeom prst="rect">
            <a:avLst/>
          </a:prstGeom>
          <a:solidFill>
            <a:srgbClr val="00A1DE"/>
          </a:solidFill>
          <a:ln w="12700">
            <a:solidFill>
              <a:schemeClr val="bg1"/>
            </a:solidFill>
            <a:miter lim="800000"/>
            <a:headEnd type="none" w="sm" len="sm"/>
            <a:tailEnd type="none" w="med" len="lg"/>
          </a:ln>
        </p:spPr>
        <p:txBody>
          <a:bodyPr wrap="none" anchor="ctr"/>
          <a:lstStyle/>
          <a:p>
            <a:pPr defTabSz="685800">
              <a:buClrTx/>
              <a:defRPr/>
            </a:pPr>
            <a:endParaRPr lang="en-US" sz="750" kern="1200" dirty="0">
              <a:solidFill>
                <a:srgbClr val="313131"/>
              </a:solidFill>
              <a:ea typeface="+mn-ea"/>
              <a:cs typeface="+mn-cs"/>
            </a:endParaRPr>
          </a:p>
        </p:txBody>
      </p:sp>
      <p:sp>
        <p:nvSpPr>
          <p:cNvPr id="780319" name="Text Box 31"/>
          <p:cNvSpPr txBox="1">
            <a:spLocks noChangeArrowheads="1"/>
          </p:cNvSpPr>
          <p:nvPr/>
        </p:nvSpPr>
        <p:spPr bwMode="auto">
          <a:xfrm>
            <a:off x="1765697" y="3208641"/>
            <a:ext cx="205184" cy="126958"/>
          </a:xfrm>
          <a:prstGeom prst="rect">
            <a:avLst/>
          </a:prstGeom>
          <a:noFill/>
          <a:ln w="9525">
            <a:noFill/>
            <a:miter lim="800000"/>
            <a:headEnd type="none" w="sm" len="sm"/>
            <a:tailEnd type="none" w="med" len="lg"/>
          </a:ln>
        </p:spPr>
        <p:txBody>
          <a:bodyPr wrap="none" lIns="0" tIns="0" rIns="0" bIns="0" anchor="ctr" anchorCtr="0">
            <a:spAutoFit/>
          </a:bodyPr>
          <a:lstStyle/>
          <a:p>
            <a:pPr defTabSz="685800">
              <a:buClrTx/>
            </a:pPr>
            <a:r>
              <a:rPr lang="en-US" altLang="ja-JP" sz="825" kern="1200" dirty="0">
                <a:solidFill>
                  <a:srgbClr val="313131"/>
                </a:solidFill>
                <a:ea typeface="ＭＳ Ｐゴシック" charset="-128"/>
                <a:cs typeface="+mn-cs"/>
              </a:rPr>
              <a:t>Text</a:t>
            </a:r>
          </a:p>
        </p:txBody>
      </p:sp>
      <p:sp>
        <p:nvSpPr>
          <p:cNvPr id="33" name="Rectangle 32"/>
          <p:cNvSpPr>
            <a:spLocks noChangeArrowheads="1"/>
          </p:cNvSpPr>
          <p:nvPr/>
        </p:nvSpPr>
        <p:spPr bwMode="auto">
          <a:xfrm>
            <a:off x="2328863" y="3179445"/>
            <a:ext cx="448866" cy="161925"/>
          </a:xfrm>
          <a:prstGeom prst="rect">
            <a:avLst/>
          </a:prstGeom>
          <a:solidFill>
            <a:schemeClr val="bg1"/>
          </a:solidFill>
          <a:ln w="12700">
            <a:solidFill>
              <a:srgbClr val="B4B4B4"/>
            </a:solidFill>
            <a:miter lim="800000"/>
            <a:headEnd type="none" w="sm" len="sm"/>
            <a:tailEnd type="none" w="med" len="lg"/>
          </a:ln>
        </p:spPr>
        <p:txBody>
          <a:bodyPr wrap="none" anchor="ctr"/>
          <a:lstStyle/>
          <a:p>
            <a:pPr defTabSz="685800">
              <a:buClrTx/>
              <a:defRPr/>
            </a:pPr>
            <a:endParaRPr lang="en-US" sz="750" kern="1200" dirty="0">
              <a:solidFill>
                <a:srgbClr val="313131"/>
              </a:solidFill>
              <a:ea typeface="+mn-ea"/>
              <a:cs typeface="+mn-cs"/>
            </a:endParaRPr>
          </a:p>
        </p:txBody>
      </p:sp>
      <p:sp>
        <p:nvSpPr>
          <p:cNvPr id="34" name="Rectangle 33"/>
          <p:cNvSpPr>
            <a:spLocks noChangeArrowheads="1"/>
          </p:cNvSpPr>
          <p:nvPr/>
        </p:nvSpPr>
        <p:spPr bwMode="auto">
          <a:xfrm>
            <a:off x="2986088" y="3179445"/>
            <a:ext cx="448866" cy="161925"/>
          </a:xfrm>
          <a:prstGeom prst="rect">
            <a:avLst/>
          </a:prstGeom>
          <a:solidFill>
            <a:schemeClr val="bg1"/>
          </a:solidFill>
          <a:ln w="12700">
            <a:solidFill>
              <a:srgbClr val="B4B4B4"/>
            </a:solidFill>
            <a:miter lim="800000"/>
            <a:headEnd type="none" w="sm" len="sm"/>
            <a:tailEnd type="none" w="med" len="lg"/>
          </a:ln>
        </p:spPr>
        <p:txBody>
          <a:bodyPr wrap="none" anchor="ctr"/>
          <a:lstStyle/>
          <a:p>
            <a:pPr defTabSz="685800">
              <a:buClrTx/>
              <a:defRPr/>
            </a:pPr>
            <a:endParaRPr lang="en-US" sz="750" kern="1200" dirty="0">
              <a:solidFill>
                <a:srgbClr val="313131"/>
              </a:solidFill>
              <a:ea typeface="+mn-ea"/>
              <a:cs typeface="+mn-cs"/>
            </a:endParaRPr>
          </a:p>
        </p:txBody>
      </p:sp>
      <p:sp>
        <p:nvSpPr>
          <p:cNvPr id="35" name="Rectangle 34"/>
          <p:cNvSpPr>
            <a:spLocks noChangeArrowheads="1"/>
          </p:cNvSpPr>
          <p:nvPr/>
        </p:nvSpPr>
        <p:spPr bwMode="auto">
          <a:xfrm>
            <a:off x="3644504" y="3179445"/>
            <a:ext cx="448865" cy="161925"/>
          </a:xfrm>
          <a:prstGeom prst="rect">
            <a:avLst/>
          </a:prstGeom>
          <a:solidFill>
            <a:srgbClr val="00A1DE"/>
          </a:solidFill>
          <a:ln w="12700">
            <a:solidFill>
              <a:schemeClr val="bg1"/>
            </a:solidFill>
            <a:miter lim="800000"/>
            <a:headEnd type="none" w="sm" len="sm"/>
            <a:tailEnd type="none" w="med" len="lg"/>
          </a:ln>
        </p:spPr>
        <p:txBody>
          <a:bodyPr wrap="none" anchor="ctr"/>
          <a:lstStyle/>
          <a:p>
            <a:pPr defTabSz="685800">
              <a:buClrTx/>
              <a:defRPr/>
            </a:pPr>
            <a:endParaRPr lang="en-US" sz="750" kern="1200" dirty="0">
              <a:solidFill>
                <a:srgbClr val="313131"/>
              </a:solidFill>
              <a:ea typeface="+mn-ea"/>
              <a:cs typeface="+mn-cs"/>
            </a:endParaRPr>
          </a:p>
        </p:txBody>
      </p:sp>
      <p:sp>
        <p:nvSpPr>
          <p:cNvPr id="780323" name="Rectangle 35"/>
          <p:cNvSpPr>
            <a:spLocks noChangeArrowheads="1"/>
          </p:cNvSpPr>
          <p:nvPr/>
        </p:nvSpPr>
        <p:spPr bwMode="auto">
          <a:xfrm>
            <a:off x="4302919" y="3179445"/>
            <a:ext cx="447675" cy="161925"/>
          </a:xfrm>
          <a:prstGeom prst="rect">
            <a:avLst/>
          </a:prstGeom>
          <a:solidFill>
            <a:srgbClr val="B4B4B4"/>
          </a:solidFill>
          <a:ln w="12700" algn="ctr">
            <a:solidFill>
              <a:schemeClr val="bg1"/>
            </a:solidFill>
            <a:miter lim="800000"/>
            <a:headEnd type="none" w="sm" len="sm"/>
            <a:tailEnd type="none" w="med" len="lg"/>
          </a:ln>
        </p:spPr>
        <p:txBody>
          <a:bodyPr wrap="none" anchor="ctr"/>
          <a:lstStyle/>
          <a:p>
            <a:pPr defTabSz="685800">
              <a:buClrTx/>
            </a:pPr>
            <a:endParaRPr lang="en-US" sz="750" kern="1200">
              <a:solidFill>
                <a:srgbClr val="313131"/>
              </a:solidFill>
              <a:ea typeface="+mn-ea"/>
              <a:cs typeface="+mn-cs"/>
            </a:endParaRPr>
          </a:p>
        </p:txBody>
      </p:sp>
      <p:sp>
        <p:nvSpPr>
          <p:cNvPr id="780324" name="Rectangle 36"/>
          <p:cNvSpPr>
            <a:spLocks noChangeArrowheads="1"/>
          </p:cNvSpPr>
          <p:nvPr/>
        </p:nvSpPr>
        <p:spPr bwMode="auto">
          <a:xfrm>
            <a:off x="4961335" y="3179445"/>
            <a:ext cx="447675" cy="161925"/>
          </a:xfrm>
          <a:prstGeom prst="rect">
            <a:avLst/>
          </a:prstGeom>
          <a:solidFill>
            <a:srgbClr val="B4B4B4"/>
          </a:solidFill>
          <a:ln w="12700" algn="ctr">
            <a:solidFill>
              <a:schemeClr val="bg1"/>
            </a:solidFill>
            <a:miter lim="800000"/>
            <a:headEnd type="none" w="sm" len="sm"/>
            <a:tailEnd type="none" w="med" len="lg"/>
          </a:ln>
        </p:spPr>
        <p:txBody>
          <a:bodyPr wrap="none" anchor="ctr"/>
          <a:lstStyle/>
          <a:p>
            <a:pPr defTabSz="685800">
              <a:buClrTx/>
            </a:pPr>
            <a:endParaRPr lang="en-US" sz="750" kern="1200">
              <a:solidFill>
                <a:srgbClr val="313131"/>
              </a:solidFill>
              <a:ea typeface="+mn-ea"/>
              <a:cs typeface="+mn-cs"/>
            </a:endParaRPr>
          </a:p>
        </p:txBody>
      </p:sp>
      <p:sp>
        <p:nvSpPr>
          <p:cNvPr id="38" name="Rectangle 37"/>
          <p:cNvSpPr>
            <a:spLocks noChangeArrowheads="1"/>
          </p:cNvSpPr>
          <p:nvPr/>
        </p:nvSpPr>
        <p:spPr bwMode="auto">
          <a:xfrm>
            <a:off x="5619750" y="3179445"/>
            <a:ext cx="447675" cy="161925"/>
          </a:xfrm>
          <a:prstGeom prst="rect">
            <a:avLst/>
          </a:prstGeom>
          <a:solidFill>
            <a:srgbClr val="00A1DE"/>
          </a:solidFill>
          <a:ln w="12700">
            <a:solidFill>
              <a:schemeClr val="bg1"/>
            </a:solidFill>
            <a:miter lim="800000"/>
            <a:headEnd type="none" w="sm" len="sm"/>
            <a:tailEnd type="none" w="med" len="lg"/>
          </a:ln>
        </p:spPr>
        <p:txBody>
          <a:bodyPr wrap="none" anchor="ctr"/>
          <a:lstStyle/>
          <a:p>
            <a:pPr defTabSz="685800">
              <a:buClrTx/>
              <a:defRPr/>
            </a:pPr>
            <a:endParaRPr lang="en-US" sz="750" kern="1200" dirty="0">
              <a:solidFill>
                <a:srgbClr val="313131"/>
              </a:solidFill>
              <a:ea typeface="+mn-ea"/>
              <a:cs typeface="+mn-cs"/>
            </a:endParaRPr>
          </a:p>
        </p:txBody>
      </p:sp>
      <p:sp>
        <p:nvSpPr>
          <p:cNvPr id="780326" name="Text Box 38"/>
          <p:cNvSpPr txBox="1">
            <a:spLocks noChangeArrowheads="1"/>
          </p:cNvSpPr>
          <p:nvPr/>
        </p:nvSpPr>
        <p:spPr bwMode="auto">
          <a:xfrm>
            <a:off x="1765697" y="3620597"/>
            <a:ext cx="205184" cy="126958"/>
          </a:xfrm>
          <a:prstGeom prst="rect">
            <a:avLst/>
          </a:prstGeom>
          <a:noFill/>
          <a:ln w="9525">
            <a:noFill/>
            <a:miter lim="800000"/>
            <a:headEnd type="none" w="sm" len="sm"/>
            <a:tailEnd type="none" w="med" len="lg"/>
          </a:ln>
        </p:spPr>
        <p:txBody>
          <a:bodyPr wrap="none" lIns="0" tIns="0" rIns="0" bIns="0" anchor="ctr" anchorCtr="0">
            <a:spAutoFit/>
          </a:bodyPr>
          <a:lstStyle/>
          <a:p>
            <a:pPr defTabSz="685800">
              <a:buClrTx/>
            </a:pPr>
            <a:r>
              <a:rPr lang="en-US" altLang="ja-JP" sz="825" kern="1200" dirty="0">
                <a:solidFill>
                  <a:srgbClr val="313131"/>
                </a:solidFill>
                <a:ea typeface="ＭＳ Ｐゴシック" charset="-128"/>
                <a:cs typeface="+mn-cs"/>
              </a:rPr>
              <a:t>Text</a:t>
            </a:r>
          </a:p>
        </p:txBody>
      </p:sp>
      <p:sp>
        <p:nvSpPr>
          <p:cNvPr id="40" name="Rectangle 39"/>
          <p:cNvSpPr>
            <a:spLocks noChangeArrowheads="1"/>
          </p:cNvSpPr>
          <p:nvPr/>
        </p:nvSpPr>
        <p:spPr bwMode="auto">
          <a:xfrm>
            <a:off x="2328863" y="3591401"/>
            <a:ext cx="448866" cy="161925"/>
          </a:xfrm>
          <a:prstGeom prst="rect">
            <a:avLst/>
          </a:prstGeom>
          <a:solidFill>
            <a:srgbClr val="00A1DE"/>
          </a:solidFill>
          <a:ln w="12700">
            <a:solidFill>
              <a:schemeClr val="bg1"/>
            </a:solidFill>
            <a:miter lim="800000"/>
            <a:headEnd type="none" w="sm" len="sm"/>
            <a:tailEnd type="none" w="med" len="lg"/>
          </a:ln>
        </p:spPr>
        <p:txBody>
          <a:bodyPr wrap="none" anchor="ctr"/>
          <a:lstStyle/>
          <a:p>
            <a:pPr defTabSz="685800">
              <a:buClrTx/>
              <a:defRPr/>
            </a:pPr>
            <a:endParaRPr lang="en-US" sz="750" kern="1200" dirty="0">
              <a:solidFill>
                <a:srgbClr val="313131"/>
              </a:solidFill>
              <a:ea typeface="+mn-ea"/>
              <a:cs typeface="+mn-cs"/>
            </a:endParaRPr>
          </a:p>
        </p:txBody>
      </p:sp>
      <p:sp>
        <p:nvSpPr>
          <p:cNvPr id="41" name="Rectangle 40"/>
          <p:cNvSpPr>
            <a:spLocks noChangeArrowheads="1"/>
          </p:cNvSpPr>
          <p:nvPr/>
        </p:nvSpPr>
        <p:spPr bwMode="auto">
          <a:xfrm>
            <a:off x="2986088" y="3591401"/>
            <a:ext cx="448866" cy="161925"/>
          </a:xfrm>
          <a:prstGeom prst="rect">
            <a:avLst/>
          </a:prstGeom>
          <a:solidFill>
            <a:srgbClr val="00A1DE"/>
          </a:solidFill>
          <a:ln w="12700">
            <a:solidFill>
              <a:schemeClr val="bg1"/>
            </a:solidFill>
            <a:miter lim="800000"/>
            <a:headEnd type="none" w="sm" len="sm"/>
            <a:tailEnd type="none" w="med" len="lg"/>
          </a:ln>
        </p:spPr>
        <p:txBody>
          <a:bodyPr wrap="none" anchor="ctr"/>
          <a:lstStyle/>
          <a:p>
            <a:pPr defTabSz="685800">
              <a:buClrTx/>
              <a:defRPr/>
            </a:pPr>
            <a:endParaRPr lang="en-US" sz="750" kern="1200" dirty="0">
              <a:solidFill>
                <a:srgbClr val="313131"/>
              </a:solidFill>
              <a:ea typeface="+mn-ea"/>
              <a:cs typeface="+mn-cs"/>
            </a:endParaRPr>
          </a:p>
        </p:txBody>
      </p:sp>
      <p:sp>
        <p:nvSpPr>
          <p:cNvPr id="42" name="Rectangle 41"/>
          <p:cNvSpPr>
            <a:spLocks noChangeArrowheads="1"/>
          </p:cNvSpPr>
          <p:nvPr/>
        </p:nvSpPr>
        <p:spPr bwMode="auto">
          <a:xfrm>
            <a:off x="3644504" y="3591401"/>
            <a:ext cx="448865" cy="161925"/>
          </a:xfrm>
          <a:prstGeom prst="rect">
            <a:avLst/>
          </a:prstGeom>
          <a:solidFill>
            <a:srgbClr val="00A1DE"/>
          </a:solidFill>
          <a:ln w="12700">
            <a:solidFill>
              <a:schemeClr val="bg1"/>
            </a:solidFill>
            <a:miter lim="800000"/>
            <a:headEnd type="none" w="sm" len="sm"/>
            <a:tailEnd type="none" w="med" len="lg"/>
          </a:ln>
        </p:spPr>
        <p:txBody>
          <a:bodyPr wrap="none" anchor="ctr"/>
          <a:lstStyle/>
          <a:p>
            <a:pPr defTabSz="685800">
              <a:buClrTx/>
              <a:defRPr/>
            </a:pPr>
            <a:endParaRPr lang="en-US" sz="750" kern="1200" dirty="0">
              <a:solidFill>
                <a:srgbClr val="313131"/>
              </a:solidFill>
              <a:ea typeface="+mn-ea"/>
              <a:cs typeface="+mn-cs"/>
            </a:endParaRPr>
          </a:p>
        </p:txBody>
      </p:sp>
      <p:sp>
        <p:nvSpPr>
          <p:cNvPr id="780330" name="Rectangle 42"/>
          <p:cNvSpPr>
            <a:spLocks noChangeArrowheads="1"/>
          </p:cNvSpPr>
          <p:nvPr/>
        </p:nvSpPr>
        <p:spPr bwMode="auto">
          <a:xfrm>
            <a:off x="4302919" y="3591401"/>
            <a:ext cx="447675" cy="161925"/>
          </a:xfrm>
          <a:prstGeom prst="rect">
            <a:avLst/>
          </a:prstGeom>
          <a:solidFill>
            <a:srgbClr val="B4B4B4"/>
          </a:solidFill>
          <a:ln w="12700" algn="ctr">
            <a:solidFill>
              <a:schemeClr val="bg1"/>
            </a:solidFill>
            <a:miter lim="800000"/>
            <a:headEnd type="none" w="sm" len="sm"/>
            <a:tailEnd type="none" w="med" len="lg"/>
          </a:ln>
        </p:spPr>
        <p:txBody>
          <a:bodyPr wrap="none" anchor="ctr"/>
          <a:lstStyle/>
          <a:p>
            <a:pPr defTabSz="685800">
              <a:buClrTx/>
            </a:pPr>
            <a:endParaRPr lang="en-US" sz="750" kern="1200">
              <a:solidFill>
                <a:srgbClr val="313131"/>
              </a:solidFill>
              <a:ea typeface="+mn-ea"/>
              <a:cs typeface="+mn-cs"/>
            </a:endParaRPr>
          </a:p>
        </p:txBody>
      </p:sp>
      <p:sp>
        <p:nvSpPr>
          <p:cNvPr id="44" name="Rectangle 43"/>
          <p:cNvSpPr>
            <a:spLocks noChangeArrowheads="1"/>
          </p:cNvSpPr>
          <p:nvPr/>
        </p:nvSpPr>
        <p:spPr bwMode="auto">
          <a:xfrm>
            <a:off x="4961335" y="3591401"/>
            <a:ext cx="447675" cy="161925"/>
          </a:xfrm>
          <a:prstGeom prst="rect">
            <a:avLst/>
          </a:prstGeom>
          <a:solidFill>
            <a:srgbClr val="00A1DE"/>
          </a:solidFill>
          <a:ln w="12700">
            <a:solidFill>
              <a:schemeClr val="bg1"/>
            </a:solidFill>
            <a:miter lim="800000"/>
            <a:headEnd type="none" w="sm" len="sm"/>
            <a:tailEnd type="none" w="med" len="lg"/>
          </a:ln>
        </p:spPr>
        <p:txBody>
          <a:bodyPr wrap="none" anchor="ctr"/>
          <a:lstStyle/>
          <a:p>
            <a:pPr defTabSz="685800">
              <a:buClrTx/>
              <a:defRPr/>
            </a:pPr>
            <a:endParaRPr lang="en-US" sz="750" kern="1200" dirty="0">
              <a:solidFill>
                <a:srgbClr val="313131"/>
              </a:solidFill>
              <a:ea typeface="+mn-ea"/>
              <a:cs typeface="+mn-cs"/>
            </a:endParaRPr>
          </a:p>
        </p:txBody>
      </p:sp>
      <p:sp>
        <p:nvSpPr>
          <p:cNvPr id="45" name="Rectangle 44"/>
          <p:cNvSpPr>
            <a:spLocks noChangeArrowheads="1"/>
          </p:cNvSpPr>
          <p:nvPr/>
        </p:nvSpPr>
        <p:spPr bwMode="auto">
          <a:xfrm>
            <a:off x="5619750" y="3591401"/>
            <a:ext cx="447675" cy="161925"/>
          </a:xfrm>
          <a:prstGeom prst="rect">
            <a:avLst/>
          </a:prstGeom>
          <a:solidFill>
            <a:srgbClr val="00A1DE"/>
          </a:solidFill>
          <a:ln w="12700">
            <a:solidFill>
              <a:schemeClr val="bg1"/>
            </a:solidFill>
            <a:miter lim="800000"/>
            <a:headEnd type="none" w="sm" len="sm"/>
            <a:tailEnd type="none" w="med" len="lg"/>
          </a:ln>
        </p:spPr>
        <p:txBody>
          <a:bodyPr wrap="none" anchor="ctr"/>
          <a:lstStyle/>
          <a:p>
            <a:pPr defTabSz="685800">
              <a:buClrTx/>
              <a:defRPr/>
            </a:pPr>
            <a:endParaRPr lang="en-US" sz="750" kern="1200" dirty="0">
              <a:solidFill>
                <a:srgbClr val="313131"/>
              </a:solidFill>
              <a:ea typeface="+mn-ea"/>
              <a:cs typeface="+mn-cs"/>
            </a:endParaRPr>
          </a:p>
        </p:txBody>
      </p:sp>
      <p:sp>
        <p:nvSpPr>
          <p:cNvPr id="780333" name="Text Box 45"/>
          <p:cNvSpPr txBox="1">
            <a:spLocks noChangeArrowheads="1"/>
          </p:cNvSpPr>
          <p:nvPr/>
        </p:nvSpPr>
        <p:spPr bwMode="auto">
          <a:xfrm>
            <a:off x="1765697" y="4033745"/>
            <a:ext cx="205184" cy="126958"/>
          </a:xfrm>
          <a:prstGeom prst="rect">
            <a:avLst/>
          </a:prstGeom>
          <a:noFill/>
          <a:ln w="9525">
            <a:noFill/>
            <a:miter lim="800000"/>
            <a:headEnd type="none" w="sm" len="sm"/>
            <a:tailEnd type="none" w="med" len="lg"/>
          </a:ln>
        </p:spPr>
        <p:txBody>
          <a:bodyPr wrap="none" lIns="0" tIns="0" rIns="0" bIns="0" anchor="ctr" anchorCtr="0">
            <a:spAutoFit/>
          </a:bodyPr>
          <a:lstStyle/>
          <a:p>
            <a:pPr defTabSz="685800">
              <a:buClrTx/>
            </a:pPr>
            <a:r>
              <a:rPr lang="en-US" altLang="ja-JP" sz="825" kern="1200" dirty="0">
                <a:solidFill>
                  <a:srgbClr val="313131"/>
                </a:solidFill>
                <a:ea typeface="ＭＳ Ｐゴシック" charset="-128"/>
                <a:cs typeface="+mn-cs"/>
              </a:rPr>
              <a:t>Text</a:t>
            </a:r>
          </a:p>
        </p:txBody>
      </p:sp>
      <p:sp>
        <p:nvSpPr>
          <p:cNvPr id="47" name="Rectangle 46"/>
          <p:cNvSpPr>
            <a:spLocks noChangeArrowheads="1"/>
          </p:cNvSpPr>
          <p:nvPr/>
        </p:nvSpPr>
        <p:spPr bwMode="auto">
          <a:xfrm>
            <a:off x="2328863" y="4004549"/>
            <a:ext cx="448866" cy="161925"/>
          </a:xfrm>
          <a:prstGeom prst="rect">
            <a:avLst/>
          </a:prstGeom>
          <a:solidFill>
            <a:srgbClr val="00A1DE"/>
          </a:solidFill>
          <a:ln w="12700">
            <a:solidFill>
              <a:schemeClr val="bg1"/>
            </a:solidFill>
            <a:miter lim="800000"/>
            <a:headEnd type="none" w="sm" len="sm"/>
            <a:tailEnd type="none" w="med" len="lg"/>
          </a:ln>
        </p:spPr>
        <p:txBody>
          <a:bodyPr wrap="none" anchor="ctr"/>
          <a:lstStyle/>
          <a:p>
            <a:pPr defTabSz="685800">
              <a:buClrTx/>
              <a:defRPr/>
            </a:pPr>
            <a:endParaRPr lang="en-US" sz="750" kern="1200" dirty="0">
              <a:solidFill>
                <a:srgbClr val="313131"/>
              </a:solidFill>
              <a:ea typeface="+mn-ea"/>
              <a:cs typeface="+mn-cs"/>
            </a:endParaRPr>
          </a:p>
        </p:txBody>
      </p:sp>
      <p:sp>
        <p:nvSpPr>
          <p:cNvPr id="48" name="Rectangle 47"/>
          <p:cNvSpPr>
            <a:spLocks noChangeArrowheads="1"/>
          </p:cNvSpPr>
          <p:nvPr/>
        </p:nvSpPr>
        <p:spPr bwMode="auto">
          <a:xfrm>
            <a:off x="2986088" y="4004549"/>
            <a:ext cx="448866" cy="161925"/>
          </a:xfrm>
          <a:prstGeom prst="rect">
            <a:avLst/>
          </a:prstGeom>
          <a:solidFill>
            <a:srgbClr val="00A1DE"/>
          </a:solidFill>
          <a:ln w="12700">
            <a:solidFill>
              <a:schemeClr val="bg1"/>
            </a:solidFill>
            <a:miter lim="800000"/>
            <a:headEnd type="none" w="sm" len="sm"/>
            <a:tailEnd type="none" w="med" len="lg"/>
          </a:ln>
        </p:spPr>
        <p:txBody>
          <a:bodyPr wrap="none" anchor="ctr"/>
          <a:lstStyle/>
          <a:p>
            <a:pPr defTabSz="685800">
              <a:buClrTx/>
              <a:defRPr/>
            </a:pPr>
            <a:endParaRPr lang="en-US" sz="750" kern="1200" dirty="0">
              <a:solidFill>
                <a:srgbClr val="313131"/>
              </a:solidFill>
              <a:ea typeface="+mn-ea"/>
              <a:cs typeface="+mn-cs"/>
            </a:endParaRPr>
          </a:p>
        </p:txBody>
      </p:sp>
      <p:sp>
        <p:nvSpPr>
          <p:cNvPr id="780336" name="Rectangle 48"/>
          <p:cNvSpPr>
            <a:spLocks noChangeArrowheads="1"/>
          </p:cNvSpPr>
          <p:nvPr/>
        </p:nvSpPr>
        <p:spPr bwMode="auto">
          <a:xfrm>
            <a:off x="3644504" y="4004549"/>
            <a:ext cx="448865" cy="161925"/>
          </a:xfrm>
          <a:prstGeom prst="rect">
            <a:avLst/>
          </a:prstGeom>
          <a:solidFill>
            <a:srgbClr val="B4B4B4"/>
          </a:solidFill>
          <a:ln w="12700" algn="ctr">
            <a:solidFill>
              <a:schemeClr val="bg1"/>
            </a:solidFill>
            <a:miter lim="800000"/>
            <a:headEnd type="none" w="sm" len="sm"/>
            <a:tailEnd type="none" w="med" len="lg"/>
          </a:ln>
        </p:spPr>
        <p:txBody>
          <a:bodyPr wrap="none" anchor="ctr"/>
          <a:lstStyle/>
          <a:p>
            <a:pPr defTabSz="685800">
              <a:buClrTx/>
            </a:pPr>
            <a:endParaRPr lang="en-US" sz="750" kern="1200">
              <a:solidFill>
                <a:srgbClr val="313131"/>
              </a:solidFill>
              <a:ea typeface="+mn-ea"/>
              <a:cs typeface="+mn-cs"/>
            </a:endParaRPr>
          </a:p>
        </p:txBody>
      </p:sp>
      <p:sp>
        <p:nvSpPr>
          <p:cNvPr id="780337" name="Rectangle 49"/>
          <p:cNvSpPr>
            <a:spLocks noChangeArrowheads="1"/>
          </p:cNvSpPr>
          <p:nvPr/>
        </p:nvSpPr>
        <p:spPr bwMode="auto">
          <a:xfrm>
            <a:off x="4302919" y="4004549"/>
            <a:ext cx="447675" cy="161925"/>
          </a:xfrm>
          <a:prstGeom prst="rect">
            <a:avLst/>
          </a:prstGeom>
          <a:solidFill>
            <a:srgbClr val="B4B4B4"/>
          </a:solidFill>
          <a:ln w="12700" algn="ctr">
            <a:solidFill>
              <a:schemeClr val="bg1"/>
            </a:solidFill>
            <a:miter lim="800000"/>
            <a:headEnd type="none" w="sm" len="sm"/>
            <a:tailEnd type="none" w="med" len="lg"/>
          </a:ln>
        </p:spPr>
        <p:txBody>
          <a:bodyPr wrap="none" anchor="ctr"/>
          <a:lstStyle/>
          <a:p>
            <a:pPr defTabSz="685800">
              <a:buClrTx/>
            </a:pPr>
            <a:endParaRPr lang="en-US" sz="750" kern="1200">
              <a:solidFill>
                <a:srgbClr val="313131"/>
              </a:solidFill>
              <a:ea typeface="+mn-ea"/>
              <a:cs typeface="+mn-cs"/>
            </a:endParaRPr>
          </a:p>
        </p:txBody>
      </p:sp>
      <p:sp>
        <p:nvSpPr>
          <p:cNvPr id="51" name="Rectangle 50"/>
          <p:cNvSpPr>
            <a:spLocks noChangeArrowheads="1"/>
          </p:cNvSpPr>
          <p:nvPr/>
        </p:nvSpPr>
        <p:spPr bwMode="auto">
          <a:xfrm>
            <a:off x="4961335" y="4004549"/>
            <a:ext cx="447675" cy="161925"/>
          </a:xfrm>
          <a:prstGeom prst="rect">
            <a:avLst/>
          </a:prstGeom>
          <a:solidFill>
            <a:srgbClr val="00A1DE"/>
          </a:solidFill>
          <a:ln w="12700">
            <a:solidFill>
              <a:schemeClr val="bg1"/>
            </a:solidFill>
            <a:miter lim="800000"/>
            <a:headEnd type="none" w="sm" len="sm"/>
            <a:tailEnd type="none" w="med" len="lg"/>
          </a:ln>
        </p:spPr>
        <p:txBody>
          <a:bodyPr wrap="none" anchor="ctr"/>
          <a:lstStyle/>
          <a:p>
            <a:pPr defTabSz="685800">
              <a:buClrTx/>
              <a:defRPr/>
            </a:pPr>
            <a:endParaRPr lang="en-US" sz="750" kern="1200" dirty="0">
              <a:solidFill>
                <a:srgbClr val="313131"/>
              </a:solidFill>
              <a:ea typeface="+mn-ea"/>
              <a:cs typeface="+mn-cs"/>
            </a:endParaRPr>
          </a:p>
        </p:txBody>
      </p:sp>
      <p:sp>
        <p:nvSpPr>
          <p:cNvPr id="52" name="Rectangle 51"/>
          <p:cNvSpPr>
            <a:spLocks noChangeArrowheads="1"/>
          </p:cNvSpPr>
          <p:nvPr/>
        </p:nvSpPr>
        <p:spPr bwMode="auto">
          <a:xfrm>
            <a:off x="5619750" y="4004549"/>
            <a:ext cx="447675" cy="161925"/>
          </a:xfrm>
          <a:prstGeom prst="rect">
            <a:avLst/>
          </a:prstGeom>
          <a:solidFill>
            <a:srgbClr val="00A1DE"/>
          </a:solidFill>
          <a:ln w="12700">
            <a:solidFill>
              <a:schemeClr val="bg1"/>
            </a:solidFill>
            <a:miter lim="800000"/>
            <a:headEnd type="none" w="sm" len="sm"/>
            <a:tailEnd type="none" w="med" len="lg"/>
          </a:ln>
        </p:spPr>
        <p:txBody>
          <a:bodyPr wrap="none" anchor="ctr"/>
          <a:lstStyle/>
          <a:p>
            <a:pPr defTabSz="685800">
              <a:buClrTx/>
              <a:defRPr/>
            </a:pPr>
            <a:endParaRPr lang="en-US" sz="750" kern="1200" dirty="0">
              <a:solidFill>
                <a:srgbClr val="313131"/>
              </a:solidFill>
              <a:ea typeface="+mn-ea"/>
              <a:cs typeface="+mn-cs"/>
            </a:endParaRPr>
          </a:p>
        </p:txBody>
      </p:sp>
      <p:sp>
        <p:nvSpPr>
          <p:cNvPr id="780340" name="Rectangle 52"/>
          <p:cNvSpPr>
            <a:spLocks noChangeArrowheads="1"/>
          </p:cNvSpPr>
          <p:nvPr/>
        </p:nvSpPr>
        <p:spPr bwMode="auto">
          <a:xfrm>
            <a:off x="6441281" y="1474470"/>
            <a:ext cx="377429" cy="153591"/>
          </a:xfrm>
          <a:prstGeom prst="rect">
            <a:avLst/>
          </a:prstGeom>
          <a:solidFill>
            <a:srgbClr val="B4B4B4"/>
          </a:solidFill>
          <a:ln w="12700">
            <a:solidFill>
              <a:schemeClr val="bg1"/>
            </a:solidFill>
            <a:miter lim="800000"/>
            <a:headEnd/>
            <a:tailEnd/>
          </a:ln>
        </p:spPr>
        <p:txBody>
          <a:bodyPr wrap="none" anchor="ctr"/>
          <a:lstStyle/>
          <a:p>
            <a:pPr defTabSz="685800">
              <a:buClrTx/>
            </a:pPr>
            <a:endParaRPr lang="en-US" sz="750" kern="1200">
              <a:solidFill>
                <a:srgbClr val="313131"/>
              </a:solidFill>
              <a:ea typeface="+mn-ea"/>
              <a:cs typeface="+mn-cs"/>
            </a:endParaRPr>
          </a:p>
        </p:txBody>
      </p:sp>
      <p:sp>
        <p:nvSpPr>
          <p:cNvPr id="54" name="Rectangle 53"/>
          <p:cNvSpPr>
            <a:spLocks noChangeArrowheads="1"/>
          </p:cNvSpPr>
          <p:nvPr/>
        </p:nvSpPr>
        <p:spPr bwMode="auto">
          <a:xfrm>
            <a:off x="6441281" y="1744743"/>
            <a:ext cx="377429" cy="153590"/>
          </a:xfrm>
          <a:prstGeom prst="rect">
            <a:avLst/>
          </a:prstGeom>
          <a:solidFill>
            <a:srgbClr val="00A1DE"/>
          </a:solidFill>
          <a:ln w="12700" algn="ctr">
            <a:solidFill>
              <a:schemeClr val="bg1"/>
            </a:solidFill>
            <a:miter lim="800000"/>
            <a:headEnd/>
            <a:tailEnd/>
          </a:ln>
        </p:spPr>
        <p:txBody>
          <a:bodyPr wrap="none" anchor="ctr"/>
          <a:lstStyle/>
          <a:p>
            <a:pPr defTabSz="685800">
              <a:buClrTx/>
              <a:defRPr/>
            </a:pPr>
            <a:endParaRPr lang="en-US" sz="750" kern="1200" dirty="0">
              <a:solidFill>
                <a:srgbClr val="313131"/>
              </a:solidFill>
              <a:ea typeface="+mn-ea"/>
              <a:cs typeface="+mn-cs"/>
            </a:endParaRPr>
          </a:p>
        </p:txBody>
      </p:sp>
      <p:sp>
        <p:nvSpPr>
          <p:cNvPr id="780342" name="Text Box 54"/>
          <p:cNvSpPr txBox="1">
            <a:spLocks noChangeArrowheads="1"/>
          </p:cNvSpPr>
          <p:nvPr/>
        </p:nvSpPr>
        <p:spPr bwMode="auto">
          <a:xfrm>
            <a:off x="6886797" y="1493558"/>
            <a:ext cx="509755" cy="115416"/>
          </a:xfrm>
          <a:prstGeom prst="rect">
            <a:avLst/>
          </a:prstGeom>
          <a:noFill/>
          <a:ln w="9525" algn="ctr">
            <a:noFill/>
            <a:miter lim="800000"/>
            <a:headEnd/>
            <a:tailEnd/>
          </a:ln>
        </p:spPr>
        <p:txBody>
          <a:bodyPr wrap="none" lIns="0" tIns="0" rIns="0" bIns="0">
            <a:spAutoFit/>
          </a:bodyPr>
          <a:lstStyle/>
          <a:p>
            <a:pPr defTabSz="685800">
              <a:buClrTx/>
            </a:pPr>
            <a:r>
              <a:rPr lang="en-US" altLang="ja-JP" sz="750" kern="1200" dirty="0">
                <a:solidFill>
                  <a:srgbClr val="313131"/>
                </a:solidFill>
                <a:ea typeface="ＭＳ Ｐゴシック" charset="-128"/>
                <a:cs typeface="+mn-cs"/>
              </a:rPr>
              <a:t>Advantaged</a:t>
            </a:r>
          </a:p>
        </p:txBody>
      </p:sp>
      <p:sp>
        <p:nvSpPr>
          <p:cNvPr id="780343" name="Text Box 55"/>
          <p:cNvSpPr txBox="1">
            <a:spLocks noChangeArrowheads="1"/>
          </p:cNvSpPr>
          <p:nvPr/>
        </p:nvSpPr>
        <p:spPr bwMode="auto">
          <a:xfrm>
            <a:off x="6886797" y="1763829"/>
            <a:ext cx="307777" cy="115416"/>
          </a:xfrm>
          <a:prstGeom prst="rect">
            <a:avLst/>
          </a:prstGeom>
          <a:noFill/>
          <a:ln w="9525" algn="ctr">
            <a:noFill/>
            <a:miter lim="800000"/>
            <a:headEnd/>
            <a:tailEnd/>
          </a:ln>
        </p:spPr>
        <p:txBody>
          <a:bodyPr wrap="none" lIns="0" tIns="0" rIns="0" bIns="0">
            <a:spAutoFit/>
          </a:bodyPr>
          <a:lstStyle/>
          <a:p>
            <a:pPr defTabSz="685800">
              <a:buClrTx/>
            </a:pPr>
            <a:r>
              <a:rPr lang="en-US" altLang="ja-JP" sz="750" kern="1200" dirty="0">
                <a:solidFill>
                  <a:srgbClr val="313131"/>
                </a:solidFill>
                <a:ea typeface="ＭＳ Ｐゴシック" charset="-128"/>
                <a:cs typeface="+mn-cs"/>
              </a:rPr>
              <a:t>Neutral</a:t>
            </a:r>
          </a:p>
        </p:txBody>
      </p:sp>
      <p:sp>
        <p:nvSpPr>
          <p:cNvPr id="57" name="Rectangle 56"/>
          <p:cNvSpPr>
            <a:spLocks noChangeArrowheads="1"/>
          </p:cNvSpPr>
          <p:nvPr/>
        </p:nvSpPr>
        <p:spPr bwMode="auto">
          <a:xfrm>
            <a:off x="6441281" y="2015014"/>
            <a:ext cx="377429" cy="153591"/>
          </a:xfrm>
          <a:prstGeom prst="rect">
            <a:avLst/>
          </a:prstGeom>
          <a:solidFill>
            <a:schemeClr val="bg1"/>
          </a:solidFill>
          <a:ln w="12700">
            <a:solidFill>
              <a:srgbClr val="B4B4B4"/>
            </a:solidFill>
            <a:miter lim="800000"/>
            <a:headEnd/>
            <a:tailEnd/>
          </a:ln>
        </p:spPr>
        <p:txBody>
          <a:bodyPr wrap="none" anchor="ctr"/>
          <a:lstStyle/>
          <a:p>
            <a:pPr defTabSz="685800">
              <a:buClrTx/>
              <a:defRPr/>
            </a:pPr>
            <a:endParaRPr lang="en-US" sz="750" kern="1200" dirty="0">
              <a:solidFill>
                <a:srgbClr val="313131"/>
              </a:solidFill>
              <a:ea typeface="+mn-ea"/>
              <a:cs typeface="+mn-cs"/>
            </a:endParaRPr>
          </a:p>
        </p:txBody>
      </p:sp>
      <p:sp>
        <p:nvSpPr>
          <p:cNvPr id="780345" name="Text Box 57"/>
          <p:cNvSpPr txBox="1">
            <a:spLocks noChangeArrowheads="1"/>
          </p:cNvSpPr>
          <p:nvPr/>
        </p:nvSpPr>
        <p:spPr bwMode="auto">
          <a:xfrm>
            <a:off x="6886797" y="2034101"/>
            <a:ext cx="636393" cy="115416"/>
          </a:xfrm>
          <a:prstGeom prst="rect">
            <a:avLst/>
          </a:prstGeom>
          <a:noFill/>
          <a:ln w="9525" algn="ctr">
            <a:noFill/>
            <a:miter lim="800000"/>
            <a:headEnd/>
            <a:tailEnd/>
          </a:ln>
        </p:spPr>
        <p:txBody>
          <a:bodyPr wrap="none" lIns="0" tIns="0" rIns="0" bIns="0">
            <a:spAutoFit/>
          </a:bodyPr>
          <a:lstStyle/>
          <a:p>
            <a:pPr defTabSz="685800">
              <a:buClrTx/>
            </a:pPr>
            <a:r>
              <a:rPr lang="en-US" altLang="ja-JP" sz="750" kern="1200" dirty="0">
                <a:solidFill>
                  <a:srgbClr val="313131"/>
                </a:solidFill>
                <a:ea typeface="ＭＳ Ｐゴシック" charset="-128"/>
                <a:cs typeface="+mn-cs"/>
              </a:rPr>
              <a:t>Disadvantaged</a:t>
            </a:r>
          </a:p>
        </p:txBody>
      </p:sp>
      <p:sp>
        <p:nvSpPr>
          <p:cNvPr id="780346" name="Text Box 58"/>
          <p:cNvSpPr txBox="1">
            <a:spLocks noChangeArrowheads="1"/>
          </p:cNvSpPr>
          <p:nvPr/>
        </p:nvSpPr>
        <p:spPr bwMode="auto">
          <a:xfrm>
            <a:off x="2328863" y="1701880"/>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dirty="0">
                <a:solidFill>
                  <a:srgbClr val="313131"/>
                </a:solidFill>
                <a:ea typeface="ＭＳ Ｐゴシック" charset="-128"/>
                <a:cs typeface="+mn-cs"/>
              </a:rPr>
              <a:t>Text</a:t>
            </a:r>
          </a:p>
        </p:txBody>
      </p:sp>
      <p:sp>
        <p:nvSpPr>
          <p:cNvPr id="780347" name="Text Box 59"/>
          <p:cNvSpPr txBox="1">
            <a:spLocks noChangeArrowheads="1"/>
          </p:cNvSpPr>
          <p:nvPr/>
        </p:nvSpPr>
        <p:spPr bwMode="auto">
          <a:xfrm>
            <a:off x="2328863" y="2101930"/>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dirty="0">
                <a:solidFill>
                  <a:srgbClr val="313131"/>
                </a:solidFill>
                <a:ea typeface="ＭＳ Ｐゴシック" charset="-128"/>
                <a:cs typeface="+mn-cs"/>
              </a:rPr>
              <a:t>Text</a:t>
            </a:r>
          </a:p>
        </p:txBody>
      </p:sp>
      <p:sp>
        <p:nvSpPr>
          <p:cNvPr id="780348" name="Text Box 60"/>
          <p:cNvSpPr txBox="1">
            <a:spLocks noChangeArrowheads="1"/>
          </p:cNvSpPr>
          <p:nvPr/>
        </p:nvSpPr>
        <p:spPr bwMode="auto">
          <a:xfrm>
            <a:off x="2328863" y="2518649"/>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49" name="Text Box 61"/>
          <p:cNvSpPr txBox="1">
            <a:spLocks noChangeArrowheads="1"/>
          </p:cNvSpPr>
          <p:nvPr/>
        </p:nvSpPr>
        <p:spPr bwMode="auto">
          <a:xfrm>
            <a:off x="2328863" y="2936558"/>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dirty="0">
                <a:solidFill>
                  <a:srgbClr val="313131"/>
                </a:solidFill>
                <a:ea typeface="ＭＳ Ｐゴシック" charset="-128"/>
                <a:cs typeface="+mn-cs"/>
              </a:rPr>
              <a:t>Text</a:t>
            </a:r>
          </a:p>
        </p:txBody>
      </p:sp>
      <p:sp>
        <p:nvSpPr>
          <p:cNvPr id="780350" name="Text Box 62"/>
          <p:cNvSpPr txBox="1">
            <a:spLocks noChangeArrowheads="1"/>
          </p:cNvSpPr>
          <p:nvPr/>
        </p:nvSpPr>
        <p:spPr bwMode="auto">
          <a:xfrm>
            <a:off x="2328863" y="3353276"/>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dirty="0">
                <a:solidFill>
                  <a:srgbClr val="313131"/>
                </a:solidFill>
                <a:ea typeface="ＭＳ Ｐゴシック" charset="-128"/>
                <a:cs typeface="+mn-cs"/>
              </a:rPr>
              <a:t>Text</a:t>
            </a:r>
          </a:p>
        </p:txBody>
      </p:sp>
      <p:sp>
        <p:nvSpPr>
          <p:cNvPr id="780351" name="Text Box 63"/>
          <p:cNvSpPr txBox="1">
            <a:spLocks noChangeArrowheads="1"/>
          </p:cNvSpPr>
          <p:nvPr/>
        </p:nvSpPr>
        <p:spPr bwMode="auto">
          <a:xfrm>
            <a:off x="2328863" y="3769995"/>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dirty="0">
                <a:solidFill>
                  <a:srgbClr val="313131"/>
                </a:solidFill>
                <a:ea typeface="ＭＳ Ｐゴシック" charset="-128"/>
                <a:cs typeface="+mn-cs"/>
              </a:rPr>
              <a:t>Text</a:t>
            </a:r>
          </a:p>
        </p:txBody>
      </p:sp>
      <p:sp>
        <p:nvSpPr>
          <p:cNvPr id="780352" name="Text Box 64"/>
          <p:cNvSpPr txBox="1">
            <a:spLocks noChangeArrowheads="1"/>
          </p:cNvSpPr>
          <p:nvPr/>
        </p:nvSpPr>
        <p:spPr bwMode="auto">
          <a:xfrm>
            <a:off x="2328863" y="4187905"/>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53" name="Text Box 65"/>
          <p:cNvSpPr txBox="1">
            <a:spLocks noChangeArrowheads="1"/>
          </p:cNvSpPr>
          <p:nvPr/>
        </p:nvSpPr>
        <p:spPr bwMode="auto">
          <a:xfrm>
            <a:off x="2986088" y="1701880"/>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54" name="Text Box 66"/>
          <p:cNvSpPr txBox="1">
            <a:spLocks noChangeArrowheads="1"/>
          </p:cNvSpPr>
          <p:nvPr/>
        </p:nvSpPr>
        <p:spPr bwMode="auto">
          <a:xfrm>
            <a:off x="2986088" y="2101930"/>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55" name="Text Box 67"/>
          <p:cNvSpPr txBox="1">
            <a:spLocks noChangeArrowheads="1"/>
          </p:cNvSpPr>
          <p:nvPr/>
        </p:nvSpPr>
        <p:spPr bwMode="auto">
          <a:xfrm>
            <a:off x="2986088" y="2518649"/>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56" name="Text Box 68"/>
          <p:cNvSpPr txBox="1">
            <a:spLocks noChangeArrowheads="1"/>
          </p:cNvSpPr>
          <p:nvPr/>
        </p:nvSpPr>
        <p:spPr bwMode="auto">
          <a:xfrm>
            <a:off x="2986088" y="2936558"/>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57" name="Text Box 69"/>
          <p:cNvSpPr txBox="1">
            <a:spLocks noChangeArrowheads="1"/>
          </p:cNvSpPr>
          <p:nvPr/>
        </p:nvSpPr>
        <p:spPr bwMode="auto">
          <a:xfrm>
            <a:off x="2986088" y="3353276"/>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58" name="Text Box 70"/>
          <p:cNvSpPr txBox="1">
            <a:spLocks noChangeArrowheads="1"/>
          </p:cNvSpPr>
          <p:nvPr/>
        </p:nvSpPr>
        <p:spPr bwMode="auto">
          <a:xfrm>
            <a:off x="2986088" y="3769995"/>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59" name="Text Box 71"/>
          <p:cNvSpPr txBox="1">
            <a:spLocks noChangeArrowheads="1"/>
          </p:cNvSpPr>
          <p:nvPr/>
        </p:nvSpPr>
        <p:spPr bwMode="auto">
          <a:xfrm>
            <a:off x="2986088" y="4187905"/>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60" name="Text Box 72"/>
          <p:cNvSpPr txBox="1">
            <a:spLocks noChangeArrowheads="1"/>
          </p:cNvSpPr>
          <p:nvPr/>
        </p:nvSpPr>
        <p:spPr bwMode="auto">
          <a:xfrm>
            <a:off x="3644504" y="1701880"/>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61" name="Text Box 73"/>
          <p:cNvSpPr txBox="1">
            <a:spLocks noChangeArrowheads="1"/>
          </p:cNvSpPr>
          <p:nvPr/>
        </p:nvSpPr>
        <p:spPr bwMode="auto">
          <a:xfrm>
            <a:off x="3644504" y="2101930"/>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62" name="Text Box 74"/>
          <p:cNvSpPr txBox="1">
            <a:spLocks noChangeArrowheads="1"/>
          </p:cNvSpPr>
          <p:nvPr/>
        </p:nvSpPr>
        <p:spPr bwMode="auto">
          <a:xfrm>
            <a:off x="3644504" y="2518649"/>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63" name="Text Box 75"/>
          <p:cNvSpPr txBox="1">
            <a:spLocks noChangeArrowheads="1"/>
          </p:cNvSpPr>
          <p:nvPr/>
        </p:nvSpPr>
        <p:spPr bwMode="auto">
          <a:xfrm>
            <a:off x="3644504" y="2936558"/>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64" name="Text Box 76"/>
          <p:cNvSpPr txBox="1">
            <a:spLocks noChangeArrowheads="1"/>
          </p:cNvSpPr>
          <p:nvPr/>
        </p:nvSpPr>
        <p:spPr bwMode="auto">
          <a:xfrm>
            <a:off x="3644504" y="3353276"/>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65" name="Text Box 77"/>
          <p:cNvSpPr txBox="1">
            <a:spLocks noChangeArrowheads="1"/>
          </p:cNvSpPr>
          <p:nvPr/>
        </p:nvSpPr>
        <p:spPr bwMode="auto">
          <a:xfrm>
            <a:off x="3644504" y="3769995"/>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66" name="Text Box 78"/>
          <p:cNvSpPr txBox="1">
            <a:spLocks noChangeArrowheads="1"/>
          </p:cNvSpPr>
          <p:nvPr/>
        </p:nvSpPr>
        <p:spPr bwMode="auto">
          <a:xfrm>
            <a:off x="3644504" y="4187905"/>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67" name="Text Box 79"/>
          <p:cNvSpPr txBox="1">
            <a:spLocks noChangeArrowheads="1"/>
          </p:cNvSpPr>
          <p:nvPr/>
        </p:nvSpPr>
        <p:spPr bwMode="auto">
          <a:xfrm>
            <a:off x="4302919" y="1701880"/>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dirty="0">
                <a:solidFill>
                  <a:srgbClr val="313131"/>
                </a:solidFill>
                <a:ea typeface="ＭＳ Ｐゴシック" charset="-128"/>
                <a:cs typeface="+mn-cs"/>
              </a:rPr>
              <a:t>Text</a:t>
            </a:r>
          </a:p>
        </p:txBody>
      </p:sp>
      <p:sp>
        <p:nvSpPr>
          <p:cNvPr id="780368" name="Text Box 80"/>
          <p:cNvSpPr txBox="1">
            <a:spLocks noChangeArrowheads="1"/>
          </p:cNvSpPr>
          <p:nvPr/>
        </p:nvSpPr>
        <p:spPr bwMode="auto">
          <a:xfrm>
            <a:off x="4302919" y="2101930"/>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69" name="Text Box 81"/>
          <p:cNvSpPr txBox="1">
            <a:spLocks noChangeArrowheads="1"/>
          </p:cNvSpPr>
          <p:nvPr/>
        </p:nvSpPr>
        <p:spPr bwMode="auto">
          <a:xfrm>
            <a:off x="4302919" y="2518649"/>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70" name="Text Box 82"/>
          <p:cNvSpPr txBox="1">
            <a:spLocks noChangeArrowheads="1"/>
          </p:cNvSpPr>
          <p:nvPr/>
        </p:nvSpPr>
        <p:spPr bwMode="auto">
          <a:xfrm>
            <a:off x="4302919" y="2936558"/>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71" name="Text Box 83"/>
          <p:cNvSpPr txBox="1">
            <a:spLocks noChangeArrowheads="1"/>
          </p:cNvSpPr>
          <p:nvPr/>
        </p:nvSpPr>
        <p:spPr bwMode="auto">
          <a:xfrm>
            <a:off x="4302919" y="3353276"/>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72" name="Text Box 84"/>
          <p:cNvSpPr txBox="1">
            <a:spLocks noChangeArrowheads="1"/>
          </p:cNvSpPr>
          <p:nvPr/>
        </p:nvSpPr>
        <p:spPr bwMode="auto">
          <a:xfrm>
            <a:off x="4302919" y="3769995"/>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73" name="Text Box 85"/>
          <p:cNvSpPr txBox="1">
            <a:spLocks noChangeArrowheads="1"/>
          </p:cNvSpPr>
          <p:nvPr/>
        </p:nvSpPr>
        <p:spPr bwMode="auto">
          <a:xfrm>
            <a:off x="4302919" y="4187905"/>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74" name="Text Box 86"/>
          <p:cNvSpPr txBox="1">
            <a:spLocks noChangeArrowheads="1"/>
          </p:cNvSpPr>
          <p:nvPr/>
        </p:nvSpPr>
        <p:spPr bwMode="auto">
          <a:xfrm>
            <a:off x="4961335" y="1701880"/>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75" name="Text Box 87"/>
          <p:cNvSpPr txBox="1">
            <a:spLocks noChangeArrowheads="1"/>
          </p:cNvSpPr>
          <p:nvPr/>
        </p:nvSpPr>
        <p:spPr bwMode="auto">
          <a:xfrm>
            <a:off x="4961335" y="2101930"/>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76" name="Text Box 88"/>
          <p:cNvSpPr txBox="1">
            <a:spLocks noChangeArrowheads="1"/>
          </p:cNvSpPr>
          <p:nvPr/>
        </p:nvSpPr>
        <p:spPr bwMode="auto">
          <a:xfrm>
            <a:off x="4961335" y="2518649"/>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77" name="Text Box 89"/>
          <p:cNvSpPr txBox="1">
            <a:spLocks noChangeArrowheads="1"/>
          </p:cNvSpPr>
          <p:nvPr/>
        </p:nvSpPr>
        <p:spPr bwMode="auto">
          <a:xfrm>
            <a:off x="4961335" y="2936558"/>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78" name="Text Box 90"/>
          <p:cNvSpPr txBox="1">
            <a:spLocks noChangeArrowheads="1"/>
          </p:cNvSpPr>
          <p:nvPr/>
        </p:nvSpPr>
        <p:spPr bwMode="auto">
          <a:xfrm>
            <a:off x="4961335" y="3353276"/>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79" name="Text Box 91"/>
          <p:cNvSpPr txBox="1">
            <a:spLocks noChangeArrowheads="1"/>
          </p:cNvSpPr>
          <p:nvPr/>
        </p:nvSpPr>
        <p:spPr bwMode="auto">
          <a:xfrm>
            <a:off x="4961335" y="3769995"/>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80" name="Text Box 92"/>
          <p:cNvSpPr txBox="1">
            <a:spLocks noChangeArrowheads="1"/>
          </p:cNvSpPr>
          <p:nvPr/>
        </p:nvSpPr>
        <p:spPr bwMode="auto">
          <a:xfrm>
            <a:off x="4961335" y="4187905"/>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81" name="Text Box 93"/>
          <p:cNvSpPr txBox="1">
            <a:spLocks noChangeArrowheads="1"/>
          </p:cNvSpPr>
          <p:nvPr/>
        </p:nvSpPr>
        <p:spPr bwMode="auto">
          <a:xfrm>
            <a:off x="5619750" y="1701880"/>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dirty="0">
                <a:solidFill>
                  <a:srgbClr val="313131"/>
                </a:solidFill>
                <a:ea typeface="ＭＳ Ｐゴシック" charset="-128"/>
                <a:cs typeface="+mn-cs"/>
              </a:rPr>
              <a:t>Text</a:t>
            </a:r>
          </a:p>
        </p:txBody>
      </p:sp>
      <p:sp>
        <p:nvSpPr>
          <p:cNvPr id="780382" name="Text Box 94"/>
          <p:cNvSpPr txBox="1">
            <a:spLocks noChangeArrowheads="1"/>
          </p:cNvSpPr>
          <p:nvPr/>
        </p:nvSpPr>
        <p:spPr bwMode="auto">
          <a:xfrm>
            <a:off x="5619750" y="2101930"/>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83" name="Text Box 95"/>
          <p:cNvSpPr txBox="1">
            <a:spLocks noChangeArrowheads="1"/>
          </p:cNvSpPr>
          <p:nvPr/>
        </p:nvSpPr>
        <p:spPr bwMode="auto">
          <a:xfrm>
            <a:off x="5619750" y="2518649"/>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84" name="Text Box 96"/>
          <p:cNvSpPr txBox="1">
            <a:spLocks noChangeArrowheads="1"/>
          </p:cNvSpPr>
          <p:nvPr/>
        </p:nvSpPr>
        <p:spPr bwMode="auto">
          <a:xfrm>
            <a:off x="5619750" y="2936558"/>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85" name="Text Box 97"/>
          <p:cNvSpPr txBox="1">
            <a:spLocks noChangeArrowheads="1"/>
          </p:cNvSpPr>
          <p:nvPr/>
        </p:nvSpPr>
        <p:spPr bwMode="auto">
          <a:xfrm>
            <a:off x="5619750" y="3353276"/>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86" name="Text Box 98"/>
          <p:cNvSpPr txBox="1">
            <a:spLocks noChangeArrowheads="1"/>
          </p:cNvSpPr>
          <p:nvPr/>
        </p:nvSpPr>
        <p:spPr bwMode="auto">
          <a:xfrm>
            <a:off x="5619750" y="3769995"/>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780387" name="Text Box 99"/>
          <p:cNvSpPr txBox="1">
            <a:spLocks noChangeArrowheads="1"/>
          </p:cNvSpPr>
          <p:nvPr/>
        </p:nvSpPr>
        <p:spPr bwMode="auto">
          <a:xfrm>
            <a:off x="5619750" y="4187905"/>
            <a:ext cx="187552" cy="115416"/>
          </a:xfrm>
          <a:prstGeom prst="rect">
            <a:avLst/>
          </a:prstGeom>
          <a:noFill/>
          <a:ln w="9525">
            <a:noFill/>
            <a:miter lim="800000"/>
            <a:headEnd type="none" w="sm" len="sm"/>
            <a:tailEnd type="none" w="med" len="lg"/>
          </a:ln>
        </p:spPr>
        <p:txBody>
          <a:bodyPr wrap="none" lIns="0" tIns="0" rIns="0" bIns="0" anchor="t" anchorCtr="1">
            <a:spAutoFit/>
          </a:bodyPr>
          <a:lstStyle/>
          <a:p>
            <a:pPr defTabSz="685800">
              <a:buClrTx/>
            </a:pPr>
            <a:r>
              <a:rPr lang="en-US" altLang="ja-JP" sz="750" kern="1200">
                <a:solidFill>
                  <a:srgbClr val="313131"/>
                </a:solidFill>
                <a:ea typeface="ＭＳ Ｐゴシック" charset="-128"/>
                <a:cs typeface="+mn-cs"/>
              </a:rPr>
              <a:t>Text</a:t>
            </a:r>
          </a:p>
        </p:txBody>
      </p:sp>
      <p:sp>
        <p:nvSpPr>
          <p:cNvPr id="102" name="Text Placeholder 12"/>
          <p:cNvSpPr>
            <a:spLocks/>
          </p:cNvSpPr>
          <p:nvPr>
            <p:custDataLst>
              <p:tags r:id="rId1"/>
            </p:custDataLst>
          </p:nvPr>
        </p:nvSpPr>
        <p:spPr bwMode="auto">
          <a:xfrm>
            <a:off x="1440656" y="1131570"/>
            <a:ext cx="1070806"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262626"/>
                </a:solidFill>
                <a:ea typeface="+mn-ea"/>
                <a:cs typeface="+mn-cs"/>
              </a:rPr>
              <a:t>Graphic title goes here </a:t>
            </a:r>
          </a:p>
        </p:txBody>
      </p:sp>
    </p:spTree>
  </p:cSld>
  <p:clrMapOvr>
    <a:masterClrMapping/>
  </p:clrMapOvr>
  <p:transition>
    <p:fade/>
  </p:transition>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2882" name="Rectangle 2" hidden="1"/>
          <p:cNvGraphicFramePr>
            <a:graphicFrameLocks/>
          </p:cNvGraphicFramePr>
          <p:nvPr>
            <p:custDataLst>
              <p:tags r:id="rId1"/>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204" imgW="0" imgH="0" progId="">
                  <p:embed/>
                </p:oleObj>
              </mc:Choice>
              <mc:Fallback>
                <p:oleObj name="think-cell Slide" r:id="rId204" imgW="0" imgH="0" progId="">
                  <p:embed/>
                  <p:pic>
                    <p:nvPicPr>
                      <p:cNvPr id="762882"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62884" name="Title 1"/>
          <p:cNvSpPr>
            <a:spLocks noGrp="1"/>
          </p:cNvSpPr>
          <p:nvPr>
            <p:ph type="title"/>
            <p:custDataLst>
              <p:tags r:id="rId2"/>
            </p:custDataLst>
          </p:nvPr>
        </p:nvSpPr>
        <p:spPr/>
        <p:txBody>
          <a:bodyPr/>
          <a:lstStyle/>
          <a:p>
            <a:r>
              <a:rPr lang="en-US" altLang="ja-JP" dirty="0"/>
              <a:t>Activity map </a:t>
            </a:r>
            <a:br>
              <a:rPr lang="en-US" altLang="ja-JP" dirty="0"/>
            </a:br>
            <a:r>
              <a:rPr lang="en-US" altLang="ja-JP" dirty="0">
                <a:solidFill>
                  <a:srgbClr val="575757"/>
                </a:solidFill>
              </a:rPr>
              <a:t>Very detailed</a:t>
            </a:r>
            <a:endParaRPr lang="en-US" dirty="0">
              <a:solidFill>
                <a:srgbClr val="575757"/>
              </a:solidFill>
            </a:endParaRPr>
          </a:p>
        </p:txBody>
      </p:sp>
      <p:sp>
        <p:nvSpPr>
          <p:cNvPr id="762886" name="Rectangle 3"/>
          <p:cNvSpPr>
            <a:spLocks noChangeArrowheads="1"/>
          </p:cNvSpPr>
          <p:nvPr>
            <p:custDataLst>
              <p:tags r:id="rId3"/>
            </p:custDataLst>
          </p:nvPr>
        </p:nvSpPr>
        <p:spPr bwMode="auto">
          <a:xfrm>
            <a:off x="1438276" y="4450421"/>
            <a:ext cx="336631" cy="138499"/>
          </a:xfrm>
          <a:prstGeom prst="rect">
            <a:avLst/>
          </a:prstGeom>
          <a:noFill/>
          <a:ln w="9525">
            <a:noFill/>
            <a:miter lim="800000"/>
            <a:headEnd/>
            <a:tailEnd/>
          </a:ln>
        </p:spPr>
        <p:txBody>
          <a:bodyPr wrap="none" lIns="0" tIns="0" rIns="0" bIns="0" anchor="ctr" anchorCtr="0">
            <a:spAutoFit/>
          </a:bodyPr>
          <a:lstStyle/>
          <a:p>
            <a:pPr defTabSz="685800">
              <a:buClrTx/>
            </a:pPr>
            <a:r>
              <a:rPr lang="en-US" altLang="ja-JP" sz="450" b="1" kern="1200" dirty="0">
                <a:solidFill>
                  <a:srgbClr val="313131"/>
                </a:solidFill>
                <a:ea typeface="ＭＳ Ｐゴシック" charset="-128"/>
                <a:cs typeface="+mn-cs"/>
              </a:rPr>
              <a:t>Geographic </a:t>
            </a:r>
            <a:br>
              <a:rPr lang="en-US" altLang="ja-JP" sz="450" b="1" kern="1200" dirty="0">
                <a:solidFill>
                  <a:srgbClr val="313131"/>
                </a:solidFill>
                <a:ea typeface="ＭＳ Ｐゴシック" charset="-128"/>
                <a:cs typeface="+mn-cs"/>
              </a:rPr>
            </a:br>
            <a:r>
              <a:rPr lang="en-US" altLang="ja-JP" sz="450" b="1" kern="1200" dirty="0">
                <a:solidFill>
                  <a:srgbClr val="313131"/>
                </a:solidFill>
                <a:ea typeface="ＭＳ Ｐゴシック" charset="-128"/>
                <a:cs typeface="+mn-cs"/>
              </a:rPr>
              <a:t>markets </a:t>
            </a:r>
          </a:p>
        </p:txBody>
      </p:sp>
      <p:sp>
        <p:nvSpPr>
          <p:cNvPr id="762887" name="Rectangle 4"/>
          <p:cNvSpPr>
            <a:spLocks noChangeArrowheads="1"/>
          </p:cNvSpPr>
          <p:nvPr>
            <p:custDataLst>
              <p:tags r:id="rId4"/>
            </p:custDataLst>
          </p:nvPr>
        </p:nvSpPr>
        <p:spPr bwMode="auto">
          <a:xfrm>
            <a:off x="1438275" y="3853271"/>
            <a:ext cx="339837" cy="138499"/>
          </a:xfrm>
          <a:prstGeom prst="rect">
            <a:avLst/>
          </a:prstGeom>
          <a:noFill/>
          <a:ln w="9525">
            <a:noFill/>
            <a:miter lim="800000"/>
            <a:headEnd/>
            <a:tailEnd/>
          </a:ln>
        </p:spPr>
        <p:txBody>
          <a:bodyPr wrap="none" lIns="0" tIns="0" rIns="0" bIns="0" anchor="ctr" anchorCtr="0">
            <a:spAutoFit/>
          </a:bodyPr>
          <a:lstStyle/>
          <a:p>
            <a:pPr defTabSz="685800">
              <a:buClrTx/>
            </a:pPr>
            <a:r>
              <a:rPr lang="en-US" altLang="ja-JP" sz="450" b="1" kern="1200" dirty="0">
                <a:solidFill>
                  <a:srgbClr val="313131"/>
                </a:solidFill>
                <a:ea typeface="ＭＳ Ｐゴシック" charset="-128"/>
                <a:cs typeface="+mn-cs"/>
              </a:rPr>
              <a:t>Distribution </a:t>
            </a:r>
            <a:br>
              <a:rPr lang="en-US" altLang="ja-JP" sz="450" b="1" kern="1200" dirty="0">
                <a:solidFill>
                  <a:srgbClr val="313131"/>
                </a:solidFill>
                <a:ea typeface="ＭＳ Ｐゴシック" charset="-128"/>
                <a:cs typeface="+mn-cs"/>
              </a:rPr>
            </a:br>
            <a:r>
              <a:rPr lang="en-US" altLang="ja-JP" sz="450" b="1" kern="1200" dirty="0">
                <a:solidFill>
                  <a:srgbClr val="313131"/>
                </a:solidFill>
                <a:ea typeface="ＭＳ Ｐゴシック" charset="-128"/>
                <a:cs typeface="+mn-cs"/>
              </a:rPr>
              <a:t>channel </a:t>
            </a:r>
          </a:p>
        </p:txBody>
      </p:sp>
      <p:sp>
        <p:nvSpPr>
          <p:cNvPr id="762888" name="Rectangle 5"/>
          <p:cNvSpPr>
            <a:spLocks noChangeArrowheads="1"/>
          </p:cNvSpPr>
          <p:nvPr>
            <p:custDataLst>
              <p:tags r:id="rId5"/>
            </p:custDataLst>
          </p:nvPr>
        </p:nvSpPr>
        <p:spPr bwMode="auto">
          <a:xfrm>
            <a:off x="1438276" y="4144701"/>
            <a:ext cx="285335" cy="69250"/>
          </a:xfrm>
          <a:prstGeom prst="rect">
            <a:avLst/>
          </a:prstGeom>
          <a:noFill/>
          <a:ln w="9525">
            <a:noFill/>
            <a:miter lim="800000"/>
            <a:headEnd/>
            <a:tailEnd/>
          </a:ln>
        </p:spPr>
        <p:txBody>
          <a:bodyPr wrap="none" lIns="0" tIns="0" rIns="0" bIns="0" anchor="ctr" anchorCtr="0">
            <a:spAutoFit/>
          </a:bodyPr>
          <a:lstStyle/>
          <a:p>
            <a:pPr defTabSz="685800">
              <a:buClrTx/>
            </a:pPr>
            <a:r>
              <a:rPr lang="en-US" altLang="ja-JP" sz="450" b="1" kern="1200" dirty="0">
                <a:solidFill>
                  <a:srgbClr val="313131"/>
                </a:solidFill>
                <a:ea typeface="ＭＳ Ｐゴシック" charset="-128"/>
                <a:cs typeface="+mn-cs"/>
              </a:rPr>
              <a:t>Customer </a:t>
            </a:r>
          </a:p>
        </p:txBody>
      </p:sp>
      <p:sp>
        <p:nvSpPr>
          <p:cNvPr id="762890" name="Rectangle 7"/>
          <p:cNvSpPr>
            <a:spLocks noChangeArrowheads="1"/>
          </p:cNvSpPr>
          <p:nvPr>
            <p:custDataLst>
              <p:tags r:id="rId6"/>
            </p:custDataLst>
          </p:nvPr>
        </p:nvSpPr>
        <p:spPr bwMode="auto">
          <a:xfrm>
            <a:off x="1438275" y="3590413"/>
            <a:ext cx="243656" cy="69250"/>
          </a:xfrm>
          <a:prstGeom prst="rect">
            <a:avLst/>
          </a:prstGeom>
          <a:noFill/>
          <a:ln w="9525">
            <a:noFill/>
            <a:miter lim="800000"/>
            <a:headEnd/>
            <a:tailEnd/>
          </a:ln>
        </p:spPr>
        <p:txBody>
          <a:bodyPr wrap="none" lIns="0" tIns="0" rIns="0" bIns="0" anchor="ctr" anchorCtr="0">
            <a:spAutoFit/>
          </a:bodyPr>
          <a:lstStyle/>
          <a:p>
            <a:pPr defTabSz="685800">
              <a:buClrTx/>
            </a:pPr>
            <a:r>
              <a:rPr lang="en-US" altLang="ja-JP" sz="450" b="1" kern="1200" dirty="0">
                <a:solidFill>
                  <a:srgbClr val="313131"/>
                </a:solidFill>
                <a:ea typeface="ＭＳ Ｐゴシック" charset="-128"/>
                <a:cs typeface="+mn-cs"/>
              </a:rPr>
              <a:t>Industry </a:t>
            </a:r>
          </a:p>
        </p:txBody>
      </p:sp>
      <p:sp>
        <p:nvSpPr>
          <p:cNvPr id="762891" name="Rectangle 8"/>
          <p:cNvSpPr>
            <a:spLocks noChangeArrowheads="1"/>
          </p:cNvSpPr>
          <p:nvPr>
            <p:custDataLst>
              <p:tags r:id="rId7"/>
            </p:custDataLst>
          </p:nvPr>
        </p:nvSpPr>
        <p:spPr bwMode="auto">
          <a:xfrm>
            <a:off x="1438275" y="2168977"/>
            <a:ext cx="423193" cy="207749"/>
          </a:xfrm>
          <a:prstGeom prst="rect">
            <a:avLst/>
          </a:prstGeom>
          <a:noFill/>
          <a:ln w="9525">
            <a:noFill/>
            <a:miter lim="800000"/>
            <a:headEnd/>
            <a:tailEnd/>
          </a:ln>
        </p:spPr>
        <p:txBody>
          <a:bodyPr wrap="none" lIns="0" tIns="0" rIns="0" bIns="0" anchor="ctr" anchorCtr="0">
            <a:spAutoFit/>
          </a:bodyPr>
          <a:lstStyle/>
          <a:p>
            <a:pPr defTabSz="685800">
              <a:buClrTx/>
            </a:pPr>
            <a:r>
              <a:rPr lang="en-US" altLang="ja-JP" sz="450" b="1" kern="1200" dirty="0">
                <a:solidFill>
                  <a:srgbClr val="313131"/>
                </a:solidFill>
                <a:ea typeface="ＭＳ Ｐゴシック" charset="-128"/>
                <a:cs typeface="+mn-cs"/>
              </a:rPr>
              <a:t>System design </a:t>
            </a:r>
            <a:br>
              <a:rPr lang="en-US" altLang="ja-JP" sz="450" b="1" kern="1200" dirty="0">
                <a:solidFill>
                  <a:srgbClr val="313131"/>
                </a:solidFill>
                <a:ea typeface="ＭＳ Ｐゴシック" charset="-128"/>
                <a:cs typeface="+mn-cs"/>
              </a:rPr>
            </a:br>
            <a:r>
              <a:rPr lang="en-US" altLang="ja-JP" sz="450" b="1" kern="1200" dirty="0">
                <a:solidFill>
                  <a:srgbClr val="313131"/>
                </a:solidFill>
                <a:ea typeface="ＭＳ Ｐゴシック" charset="-128"/>
                <a:cs typeface="+mn-cs"/>
              </a:rPr>
              <a:t>/Application </a:t>
            </a:r>
            <a:br>
              <a:rPr lang="en-US" altLang="ja-JP" sz="450" b="1" kern="1200" dirty="0">
                <a:solidFill>
                  <a:srgbClr val="313131"/>
                </a:solidFill>
                <a:ea typeface="ＭＳ Ｐゴシック" charset="-128"/>
                <a:cs typeface="+mn-cs"/>
              </a:rPr>
            </a:br>
            <a:r>
              <a:rPr lang="en-US" altLang="ja-JP" sz="450" b="1" kern="1200" dirty="0">
                <a:solidFill>
                  <a:srgbClr val="313131"/>
                </a:solidFill>
                <a:ea typeface="ＭＳ Ｐゴシック" charset="-128"/>
                <a:cs typeface="+mn-cs"/>
              </a:rPr>
              <a:t>engineering</a:t>
            </a:r>
          </a:p>
        </p:txBody>
      </p:sp>
      <p:sp>
        <p:nvSpPr>
          <p:cNvPr id="762892" name="Rectangle 9"/>
          <p:cNvSpPr>
            <a:spLocks noChangeArrowheads="1"/>
          </p:cNvSpPr>
          <p:nvPr>
            <p:custDataLst>
              <p:tags r:id="rId8"/>
            </p:custDataLst>
          </p:nvPr>
        </p:nvSpPr>
        <p:spPr bwMode="auto">
          <a:xfrm>
            <a:off x="1438275" y="2744694"/>
            <a:ext cx="320601" cy="69250"/>
          </a:xfrm>
          <a:prstGeom prst="rect">
            <a:avLst/>
          </a:prstGeom>
          <a:noFill/>
          <a:ln w="9525">
            <a:noFill/>
            <a:miter lim="800000"/>
            <a:headEnd/>
            <a:tailEnd/>
          </a:ln>
        </p:spPr>
        <p:txBody>
          <a:bodyPr wrap="none" lIns="0" tIns="0" rIns="0" bIns="0" anchor="ctr" anchorCtr="0">
            <a:spAutoFit/>
          </a:bodyPr>
          <a:lstStyle/>
          <a:p>
            <a:pPr defTabSz="685800">
              <a:buClrTx/>
            </a:pPr>
            <a:r>
              <a:rPr lang="en-US" altLang="ja-JP" sz="450" b="1" kern="1200" dirty="0">
                <a:solidFill>
                  <a:srgbClr val="313131"/>
                </a:solidFill>
                <a:ea typeface="ＭＳ Ｐゴシック" charset="-128"/>
                <a:cs typeface="+mn-cs"/>
              </a:rPr>
              <a:t>Installation </a:t>
            </a:r>
          </a:p>
        </p:txBody>
      </p:sp>
      <p:sp>
        <p:nvSpPr>
          <p:cNvPr id="762893" name="Rectangle 10"/>
          <p:cNvSpPr>
            <a:spLocks noChangeArrowheads="1"/>
          </p:cNvSpPr>
          <p:nvPr>
            <p:custDataLst>
              <p:tags r:id="rId9"/>
            </p:custDataLst>
          </p:nvPr>
        </p:nvSpPr>
        <p:spPr bwMode="auto">
          <a:xfrm>
            <a:off x="1438275" y="3064701"/>
            <a:ext cx="221214" cy="69250"/>
          </a:xfrm>
          <a:prstGeom prst="rect">
            <a:avLst/>
          </a:prstGeom>
          <a:noFill/>
          <a:ln w="9525">
            <a:noFill/>
            <a:miter lim="800000"/>
            <a:headEnd/>
            <a:tailEnd/>
          </a:ln>
        </p:spPr>
        <p:txBody>
          <a:bodyPr wrap="none" lIns="0" tIns="0" rIns="0" bIns="0" anchor="ctr" anchorCtr="0">
            <a:spAutoFit/>
          </a:bodyPr>
          <a:lstStyle/>
          <a:p>
            <a:pPr defTabSz="685800">
              <a:buClrTx/>
            </a:pPr>
            <a:r>
              <a:rPr lang="en-US" altLang="ja-JP" sz="450" b="1" kern="1200" dirty="0">
                <a:solidFill>
                  <a:srgbClr val="313131"/>
                </a:solidFill>
                <a:ea typeface="ＭＳ Ｐゴシック" charset="-128"/>
                <a:cs typeface="+mn-cs"/>
              </a:rPr>
              <a:t>Service </a:t>
            </a:r>
          </a:p>
        </p:txBody>
      </p:sp>
      <p:sp>
        <p:nvSpPr>
          <p:cNvPr id="762895" name="Rectangle 12"/>
          <p:cNvSpPr>
            <a:spLocks noChangeArrowheads="1"/>
          </p:cNvSpPr>
          <p:nvPr>
            <p:custDataLst>
              <p:tags r:id="rId10"/>
            </p:custDataLst>
          </p:nvPr>
        </p:nvSpPr>
        <p:spPr bwMode="auto">
          <a:xfrm>
            <a:off x="1438276" y="1215001"/>
            <a:ext cx="400751" cy="138499"/>
          </a:xfrm>
          <a:prstGeom prst="rect">
            <a:avLst/>
          </a:prstGeom>
          <a:noFill/>
          <a:ln w="9525">
            <a:noFill/>
            <a:miter lim="800000"/>
            <a:headEnd/>
            <a:tailEnd/>
          </a:ln>
        </p:spPr>
        <p:txBody>
          <a:bodyPr wrap="none" lIns="0" tIns="0" rIns="0" bIns="0" anchor="ctr" anchorCtr="0">
            <a:spAutoFit/>
          </a:bodyPr>
          <a:lstStyle/>
          <a:p>
            <a:pPr defTabSz="685800">
              <a:buClrTx/>
            </a:pPr>
            <a:r>
              <a:rPr lang="en-US" altLang="ja-JP" sz="450" b="1" kern="1200" dirty="0">
                <a:solidFill>
                  <a:srgbClr val="313131"/>
                </a:solidFill>
                <a:ea typeface="ＭＳ Ｐゴシック" charset="-128"/>
                <a:cs typeface="+mn-cs"/>
              </a:rPr>
              <a:t>New business </a:t>
            </a:r>
            <a:br>
              <a:rPr lang="en-US" altLang="ja-JP" sz="450" b="1" kern="1200" dirty="0">
                <a:solidFill>
                  <a:srgbClr val="313131"/>
                </a:solidFill>
                <a:ea typeface="ＭＳ Ｐゴシック" charset="-128"/>
                <a:cs typeface="+mn-cs"/>
              </a:rPr>
            </a:br>
            <a:r>
              <a:rPr lang="en-US" altLang="ja-JP" sz="450" b="1" kern="1200" dirty="0">
                <a:solidFill>
                  <a:srgbClr val="313131"/>
                </a:solidFill>
                <a:ea typeface="ＭＳ Ｐゴシック" charset="-128"/>
                <a:cs typeface="+mn-cs"/>
              </a:rPr>
              <a:t>strengths</a:t>
            </a:r>
          </a:p>
        </p:txBody>
      </p:sp>
      <p:sp>
        <p:nvSpPr>
          <p:cNvPr id="762896" name="Rectangle 13"/>
          <p:cNvSpPr>
            <a:spLocks noChangeArrowheads="1"/>
          </p:cNvSpPr>
          <p:nvPr>
            <p:custDataLst>
              <p:tags r:id="rId11"/>
            </p:custDataLst>
          </p:nvPr>
        </p:nvSpPr>
        <p:spPr bwMode="auto">
          <a:xfrm>
            <a:off x="1438275" y="1813252"/>
            <a:ext cx="397545" cy="138499"/>
          </a:xfrm>
          <a:prstGeom prst="rect">
            <a:avLst/>
          </a:prstGeom>
          <a:noFill/>
          <a:ln w="9525">
            <a:noFill/>
            <a:miter lim="800000"/>
            <a:headEnd/>
            <a:tailEnd/>
          </a:ln>
        </p:spPr>
        <p:txBody>
          <a:bodyPr wrap="none" lIns="0" tIns="0" rIns="0" bIns="0" anchor="ctr" anchorCtr="0">
            <a:spAutoFit/>
          </a:bodyPr>
          <a:lstStyle/>
          <a:p>
            <a:pPr defTabSz="685800">
              <a:buClrTx/>
            </a:pPr>
            <a:r>
              <a:rPr lang="en-US" altLang="ja-JP" sz="450" b="1" kern="1200" dirty="0">
                <a:solidFill>
                  <a:srgbClr val="313131"/>
                </a:solidFill>
                <a:ea typeface="ＭＳ Ｐゴシック" charset="-128"/>
                <a:cs typeface="+mn-cs"/>
              </a:rPr>
              <a:t>Installed base </a:t>
            </a:r>
            <a:br>
              <a:rPr lang="en-US" altLang="ja-JP" sz="450" b="1" kern="1200" dirty="0">
                <a:solidFill>
                  <a:srgbClr val="313131"/>
                </a:solidFill>
                <a:ea typeface="ＭＳ Ｐゴシック" charset="-128"/>
                <a:cs typeface="+mn-cs"/>
              </a:rPr>
            </a:br>
            <a:r>
              <a:rPr lang="en-US" altLang="ja-JP" sz="450" b="1" kern="1200" dirty="0">
                <a:solidFill>
                  <a:srgbClr val="313131"/>
                </a:solidFill>
                <a:ea typeface="ＭＳ Ｐゴシック" charset="-128"/>
                <a:cs typeface="+mn-cs"/>
              </a:rPr>
              <a:t>strengths</a:t>
            </a:r>
          </a:p>
        </p:txBody>
      </p:sp>
      <p:sp>
        <p:nvSpPr>
          <p:cNvPr id="762922" name="Rectangle 41"/>
          <p:cNvSpPr>
            <a:spLocks noChangeArrowheads="1"/>
          </p:cNvSpPr>
          <p:nvPr>
            <p:custDataLst>
              <p:tags r:id="rId12"/>
            </p:custDataLst>
          </p:nvPr>
        </p:nvSpPr>
        <p:spPr bwMode="auto">
          <a:xfrm>
            <a:off x="1953001" y="3961270"/>
            <a:ext cx="159899"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System</a:t>
            </a:r>
          </a:p>
        </p:txBody>
      </p:sp>
      <p:sp>
        <p:nvSpPr>
          <p:cNvPr id="762923" name="Rectangle 42"/>
          <p:cNvSpPr>
            <a:spLocks noChangeArrowheads="1"/>
          </p:cNvSpPr>
          <p:nvPr>
            <p:custDataLst>
              <p:tags r:id="rId13"/>
            </p:custDataLst>
          </p:nvPr>
        </p:nvSpPr>
        <p:spPr bwMode="auto">
          <a:xfrm>
            <a:off x="2250000" y="3961270"/>
            <a:ext cx="239248"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Sales force</a:t>
            </a:r>
          </a:p>
        </p:txBody>
      </p:sp>
      <p:sp>
        <p:nvSpPr>
          <p:cNvPr id="762924" name="Rectangle 43"/>
          <p:cNvSpPr>
            <a:spLocks noChangeArrowheads="1"/>
          </p:cNvSpPr>
          <p:nvPr>
            <p:custDataLst>
              <p:tags r:id="rId14"/>
            </p:custDataLst>
          </p:nvPr>
        </p:nvSpPr>
        <p:spPr bwMode="auto">
          <a:xfrm>
            <a:off x="2547000" y="3961270"/>
            <a:ext cx="109406"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OEM</a:t>
            </a:r>
          </a:p>
        </p:txBody>
      </p:sp>
      <p:sp>
        <p:nvSpPr>
          <p:cNvPr id="762925" name="Rectangle 44"/>
          <p:cNvSpPr>
            <a:spLocks noChangeArrowheads="1"/>
          </p:cNvSpPr>
          <p:nvPr>
            <p:custDataLst>
              <p:tags r:id="rId15"/>
            </p:custDataLst>
          </p:nvPr>
        </p:nvSpPr>
        <p:spPr bwMode="auto">
          <a:xfrm>
            <a:off x="2844000" y="3961270"/>
            <a:ext cx="125034"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Direct</a:t>
            </a:r>
          </a:p>
        </p:txBody>
      </p:sp>
      <p:sp>
        <p:nvSpPr>
          <p:cNvPr id="762926" name="Rectangle 45"/>
          <p:cNvSpPr>
            <a:spLocks noChangeArrowheads="1"/>
          </p:cNvSpPr>
          <p:nvPr>
            <p:custDataLst>
              <p:tags r:id="rId16"/>
            </p:custDataLst>
          </p:nvPr>
        </p:nvSpPr>
        <p:spPr bwMode="auto">
          <a:xfrm>
            <a:off x="3141000" y="3961270"/>
            <a:ext cx="264496"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Independent</a:t>
            </a:r>
          </a:p>
        </p:txBody>
      </p:sp>
      <p:sp>
        <p:nvSpPr>
          <p:cNvPr id="762927" name="Rectangle 46"/>
          <p:cNvSpPr>
            <a:spLocks noChangeArrowheads="1"/>
          </p:cNvSpPr>
          <p:nvPr>
            <p:custDataLst>
              <p:tags r:id="rId17"/>
            </p:custDataLst>
          </p:nvPr>
        </p:nvSpPr>
        <p:spPr bwMode="auto">
          <a:xfrm>
            <a:off x="3438000" y="3961270"/>
            <a:ext cx="125034"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Agent</a:t>
            </a:r>
          </a:p>
        </p:txBody>
      </p:sp>
      <p:sp>
        <p:nvSpPr>
          <p:cNvPr id="762928" name="Rectangle 47"/>
          <p:cNvSpPr>
            <a:spLocks noChangeArrowheads="1"/>
          </p:cNvSpPr>
          <p:nvPr>
            <p:custDataLst>
              <p:tags r:id="rId18"/>
            </p:custDataLst>
          </p:nvPr>
        </p:nvSpPr>
        <p:spPr bwMode="auto">
          <a:xfrm>
            <a:off x="1953000" y="4144701"/>
            <a:ext cx="216000" cy="94500"/>
          </a:xfrm>
          <a:prstGeom prst="rect">
            <a:avLst/>
          </a:prstGeom>
          <a:solidFill>
            <a:srgbClr val="575757"/>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762929" name="Rectangle 48"/>
          <p:cNvSpPr>
            <a:spLocks noChangeArrowheads="1"/>
          </p:cNvSpPr>
          <p:nvPr>
            <p:custDataLst>
              <p:tags r:id="rId19"/>
            </p:custDataLst>
          </p:nvPr>
        </p:nvSpPr>
        <p:spPr bwMode="auto">
          <a:xfrm>
            <a:off x="2250000" y="4144701"/>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762930" name="Rectangle 49"/>
          <p:cNvSpPr>
            <a:spLocks noChangeArrowheads="1"/>
          </p:cNvSpPr>
          <p:nvPr>
            <p:custDataLst>
              <p:tags r:id="rId20"/>
            </p:custDataLst>
          </p:nvPr>
        </p:nvSpPr>
        <p:spPr bwMode="auto">
          <a:xfrm>
            <a:off x="2547000" y="4144701"/>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762931" name="Rectangle 50"/>
          <p:cNvSpPr>
            <a:spLocks noChangeArrowheads="1"/>
          </p:cNvSpPr>
          <p:nvPr>
            <p:custDataLst>
              <p:tags r:id="rId21"/>
            </p:custDataLst>
          </p:nvPr>
        </p:nvSpPr>
        <p:spPr bwMode="auto">
          <a:xfrm>
            <a:off x="1953000" y="4252701"/>
            <a:ext cx="109406"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MNC</a:t>
            </a:r>
          </a:p>
        </p:txBody>
      </p:sp>
      <p:sp>
        <p:nvSpPr>
          <p:cNvPr id="762932" name="Rectangle 51"/>
          <p:cNvSpPr>
            <a:spLocks noChangeArrowheads="1"/>
          </p:cNvSpPr>
          <p:nvPr>
            <p:custDataLst>
              <p:tags r:id="rId22"/>
            </p:custDataLst>
          </p:nvPr>
        </p:nvSpPr>
        <p:spPr bwMode="auto">
          <a:xfrm>
            <a:off x="2250000" y="4252701"/>
            <a:ext cx="188754"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Regional</a:t>
            </a:r>
          </a:p>
        </p:txBody>
      </p:sp>
      <p:sp>
        <p:nvSpPr>
          <p:cNvPr id="762933" name="Rectangle 52"/>
          <p:cNvSpPr>
            <a:spLocks noChangeArrowheads="1"/>
          </p:cNvSpPr>
          <p:nvPr>
            <p:custDataLst>
              <p:tags r:id="rId23"/>
            </p:custDataLst>
          </p:nvPr>
        </p:nvSpPr>
        <p:spPr bwMode="auto">
          <a:xfrm>
            <a:off x="2547000" y="4252701"/>
            <a:ext cx="175529"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National</a:t>
            </a:r>
          </a:p>
        </p:txBody>
      </p:sp>
      <p:sp>
        <p:nvSpPr>
          <p:cNvPr id="762894" name="Rectangle 11"/>
          <p:cNvSpPr>
            <a:spLocks noChangeArrowheads="1"/>
          </p:cNvSpPr>
          <p:nvPr>
            <p:custDataLst>
              <p:tags r:id="rId24"/>
            </p:custDataLst>
          </p:nvPr>
        </p:nvSpPr>
        <p:spPr bwMode="auto">
          <a:xfrm>
            <a:off x="3141000" y="4558420"/>
            <a:ext cx="168315" cy="173124"/>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Middle </a:t>
            </a:r>
            <a:br>
              <a:rPr lang="en-US" altLang="ja-JP" sz="375" kern="1200" dirty="0">
                <a:solidFill>
                  <a:srgbClr val="313131"/>
                </a:solidFill>
                <a:ea typeface="ＭＳ Ｐゴシック" charset="-128"/>
                <a:cs typeface="+mn-cs"/>
              </a:rPr>
            </a:br>
            <a:r>
              <a:rPr lang="en-US" altLang="ja-JP" sz="375" kern="1200" dirty="0">
                <a:solidFill>
                  <a:srgbClr val="313131"/>
                </a:solidFill>
                <a:ea typeface="ＭＳ Ｐゴシック" charset="-128"/>
                <a:cs typeface="+mn-cs"/>
              </a:rPr>
              <a:t>East   </a:t>
            </a:r>
            <a:br>
              <a:rPr lang="en-US" altLang="ja-JP" sz="375" kern="1200" dirty="0">
                <a:solidFill>
                  <a:srgbClr val="313131"/>
                </a:solidFill>
                <a:ea typeface="ＭＳ Ｐゴシック" charset="-128"/>
                <a:cs typeface="+mn-cs"/>
              </a:rPr>
            </a:br>
            <a:r>
              <a:rPr lang="en-US" altLang="ja-JP" sz="375" kern="1200" dirty="0">
                <a:solidFill>
                  <a:srgbClr val="313131"/>
                </a:solidFill>
                <a:ea typeface="ＭＳ Ｐゴシック" charset="-128"/>
                <a:cs typeface="+mn-cs"/>
              </a:rPr>
              <a:t>&amp; Africa</a:t>
            </a:r>
          </a:p>
        </p:txBody>
      </p:sp>
      <p:sp>
        <p:nvSpPr>
          <p:cNvPr id="762934" name="Rectangle 53"/>
          <p:cNvSpPr>
            <a:spLocks noChangeArrowheads="1"/>
          </p:cNvSpPr>
          <p:nvPr>
            <p:custDataLst>
              <p:tags r:id="rId25"/>
            </p:custDataLst>
          </p:nvPr>
        </p:nvSpPr>
        <p:spPr bwMode="auto">
          <a:xfrm>
            <a:off x="1953001" y="4558420"/>
            <a:ext cx="223619"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err="1">
                <a:solidFill>
                  <a:srgbClr val="313131"/>
                </a:solidFill>
                <a:ea typeface="ＭＳ Ｐゴシック" charset="-128"/>
                <a:cs typeface="+mn-cs"/>
              </a:rPr>
              <a:t>N.America</a:t>
            </a:r>
            <a:endParaRPr lang="en-US" altLang="ja-JP" sz="375" kern="1200" dirty="0">
              <a:solidFill>
                <a:srgbClr val="313131"/>
              </a:solidFill>
              <a:ea typeface="ＭＳ Ｐゴシック" charset="-128"/>
              <a:cs typeface="+mn-cs"/>
            </a:endParaRPr>
          </a:p>
        </p:txBody>
      </p:sp>
      <p:sp>
        <p:nvSpPr>
          <p:cNvPr id="762935" name="Rectangle 54"/>
          <p:cNvSpPr>
            <a:spLocks noChangeArrowheads="1"/>
          </p:cNvSpPr>
          <p:nvPr>
            <p:custDataLst>
              <p:tags r:id="rId26"/>
            </p:custDataLst>
          </p:nvPr>
        </p:nvSpPr>
        <p:spPr bwMode="auto">
          <a:xfrm>
            <a:off x="2250000" y="4558420"/>
            <a:ext cx="215203"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L.America</a:t>
            </a:r>
          </a:p>
        </p:txBody>
      </p:sp>
      <p:sp>
        <p:nvSpPr>
          <p:cNvPr id="762936" name="Rectangle 55"/>
          <p:cNvSpPr>
            <a:spLocks noChangeArrowheads="1"/>
          </p:cNvSpPr>
          <p:nvPr>
            <p:custDataLst>
              <p:tags r:id="rId27"/>
            </p:custDataLst>
          </p:nvPr>
        </p:nvSpPr>
        <p:spPr bwMode="auto">
          <a:xfrm>
            <a:off x="2547001" y="4558420"/>
            <a:ext cx="212798"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W.Europe</a:t>
            </a:r>
          </a:p>
        </p:txBody>
      </p:sp>
      <p:sp>
        <p:nvSpPr>
          <p:cNvPr id="762937" name="Rectangle 56"/>
          <p:cNvSpPr>
            <a:spLocks noChangeArrowheads="1"/>
          </p:cNvSpPr>
          <p:nvPr>
            <p:custDataLst>
              <p:tags r:id="rId28"/>
            </p:custDataLst>
          </p:nvPr>
        </p:nvSpPr>
        <p:spPr bwMode="auto">
          <a:xfrm>
            <a:off x="2844000" y="4558420"/>
            <a:ext cx="199574"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E.Europe</a:t>
            </a:r>
          </a:p>
        </p:txBody>
      </p:sp>
      <p:sp>
        <p:nvSpPr>
          <p:cNvPr id="762938" name="Rectangle 57"/>
          <p:cNvSpPr>
            <a:spLocks noChangeArrowheads="1"/>
          </p:cNvSpPr>
          <p:nvPr>
            <p:custDataLst>
              <p:tags r:id="rId29"/>
            </p:custDataLst>
          </p:nvPr>
        </p:nvSpPr>
        <p:spPr bwMode="auto">
          <a:xfrm>
            <a:off x="3438000" y="4558420"/>
            <a:ext cx="93776"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Asia</a:t>
            </a:r>
          </a:p>
        </p:txBody>
      </p:sp>
      <p:sp>
        <p:nvSpPr>
          <p:cNvPr id="762939" name="Rectangle 58"/>
          <p:cNvSpPr>
            <a:spLocks noChangeArrowheads="1"/>
          </p:cNvSpPr>
          <p:nvPr>
            <p:custDataLst>
              <p:tags r:id="rId30"/>
            </p:custDataLst>
          </p:nvPr>
        </p:nvSpPr>
        <p:spPr bwMode="auto">
          <a:xfrm>
            <a:off x="3735000" y="4558420"/>
            <a:ext cx="129843"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Japan</a:t>
            </a:r>
          </a:p>
        </p:txBody>
      </p:sp>
      <p:sp>
        <p:nvSpPr>
          <p:cNvPr id="762940" name="Rectangle 59"/>
          <p:cNvSpPr>
            <a:spLocks noChangeArrowheads="1"/>
          </p:cNvSpPr>
          <p:nvPr>
            <p:custDataLst>
              <p:tags r:id="rId31"/>
            </p:custDataLst>
          </p:nvPr>
        </p:nvSpPr>
        <p:spPr bwMode="auto">
          <a:xfrm>
            <a:off x="4032001" y="4558420"/>
            <a:ext cx="236843"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Australasia</a:t>
            </a:r>
          </a:p>
        </p:txBody>
      </p:sp>
      <p:sp>
        <p:nvSpPr>
          <p:cNvPr id="762889" name="Rectangle 6"/>
          <p:cNvSpPr>
            <a:spLocks noChangeArrowheads="1"/>
          </p:cNvSpPr>
          <p:nvPr>
            <p:custDataLst>
              <p:tags r:id="rId32"/>
            </p:custDataLst>
          </p:nvPr>
        </p:nvSpPr>
        <p:spPr bwMode="auto">
          <a:xfrm>
            <a:off x="1438275" y="3434385"/>
            <a:ext cx="240450" cy="69250"/>
          </a:xfrm>
          <a:prstGeom prst="rect">
            <a:avLst/>
          </a:prstGeom>
          <a:noFill/>
          <a:ln w="9525">
            <a:noFill/>
            <a:miter lim="800000"/>
            <a:headEnd/>
            <a:tailEnd/>
          </a:ln>
        </p:spPr>
        <p:txBody>
          <a:bodyPr wrap="none" lIns="0" tIns="0" rIns="0" bIns="0" anchor="ctr" anchorCtr="0">
            <a:spAutoFit/>
          </a:bodyPr>
          <a:lstStyle/>
          <a:p>
            <a:pPr defTabSz="685800">
              <a:buClrTx/>
            </a:pPr>
            <a:r>
              <a:rPr lang="en-US" altLang="ja-JP" sz="450" b="1" kern="1200" dirty="0">
                <a:solidFill>
                  <a:srgbClr val="313131"/>
                </a:solidFill>
                <a:ea typeface="ＭＳ Ｐゴシック" charset="-128"/>
                <a:cs typeface="+mn-cs"/>
              </a:rPr>
              <a:t>End use </a:t>
            </a:r>
          </a:p>
        </p:txBody>
      </p:sp>
      <p:sp>
        <p:nvSpPr>
          <p:cNvPr id="762944" name="Rectangle 63"/>
          <p:cNvSpPr>
            <a:spLocks noChangeArrowheads="1"/>
          </p:cNvSpPr>
          <p:nvPr>
            <p:custDataLst>
              <p:tags r:id="rId33"/>
            </p:custDataLst>
          </p:nvPr>
        </p:nvSpPr>
        <p:spPr bwMode="auto">
          <a:xfrm>
            <a:off x="1953000" y="3422845"/>
            <a:ext cx="173124" cy="69250"/>
          </a:xfrm>
          <a:prstGeom prst="rect">
            <a:avLst/>
          </a:prstGeom>
          <a:noFill/>
          <a:ln w="9525">
            <a:noFill/>
            <a:miter lim="800000"/>
            <a:headEnd/>
            <a:tailEnd/>
          </a:ln>
        </p:spPr>
        <p:txBody>
          <a:bodyPr wrap="none" lIns="0" tIns="0" rIns="0" bIns="0">
            <a:spAutoFit/>
          </a:bodyPr>
          <a:lstStyle/>
          <a:p>
            <a:pPr defTabSz="685800">
              <a:buClrTx/>
            </a:pPr>
            <a:r>
              <a:rPr lang="en-US" altLang="ja-JP" sz="450" b="1" kern="1200" dirty="0">
                <a:solidFill>
                  <a:srgbClr val="313131"/>
                </a:solidFill>
                <a:ea typeface="ＭＳ Ｐゴシック" charset="-128"/>
                <a:cs typeface="+mn-cs"/>
              </a:rPr>
              <a:t>Liquid</a:t>
            </a:r>
          </a:p>
        </p:txBody>
      </p:sp>
      <p:sp>
        <p:nvSpPr>
          <p:cNvPr id="762945" name="Rectangle 64"/>
          <p:cNvSpPr>
            <a:spLocks noChangeArrowheads="1"/>
          </p:cNvSpPr>
          <p:nvPr>
            <p:custDataLst>
              <p:tags r:id="rId34"/>
            </p:custDataLst>
          </p:nvPr>
        </p:nvSpPr>
        <p:spPr bwMode="auto">
          <a:xfrm>
            <a:off x="3141000" y="3422845"/>
            <a:ext cx="182742" cy="69250"/>
          </a:xfrm>
          <a:prstGeom prst="rect">
            <a:avLst/>
          </a:prstGeom>
          <a:noFill/>
          <a:ln w="9525">
            <a:noFill/>
            <a:miter lim="800000"/>
            <a:headEnd/>
            <a:tailEnd/>
          </a:ln>
        </p:spPr>
        <p:txBody>
          <a:bodyPr wrap="none" lIns="0" tIns="0" rIns="0" bIns="0">
            <a:spAutoFit/>
          </a:bodyPr>
          <a:lstStyle/>
          <a:p>
            <a:pPr defTabSz="685800">
              <a:buClrTx/>
            </a:pPr>
            <a:r>
              <a:rPr lang="en-US" altLang="ja-JP" sz="450" b="1" kern="1200">
                <a:solidFill>
                  <a:srgbClr val="313131"/>
                </a:solidFill>
                <a:ea typeface="ＭＳ Ｐゴシック" charset="-128"/>
                <a:cs typeface="+mn-cs"/>
              </a:rPr>
              <a:t>Hybrid</a:t>
            </a:r>
          </a:p>
        </p:txBody>
      </p:sp>
      <p:sp>
        <p:nvSpPr>
          <p:cNvPr id="762946" name="Rectangle 65"/>
          <p:cNvSpPr>
            <a:spLocks noChangeArrowheads="1"/>
          </p:cNvSpPr>
          <p:nvPr>
            <p:custDataLst>
              <p:tags r:id="rId35"/>
            </p:custDataLst>
          </p:nvPr>
        </p:nvSpPr>
        <p:spPr bwMode="auto">
          <a:xfrm>
            <a:off x="4032000" y="3422845"/>
            <a:ext cx="96180" cy="69250"/>
          </a:xfrm>
          <a:prstGeom prst="rect">
            <a:avLst/>
          </a:prstGeom>
          <a:noFill/>
          <a:ln w="9525">
            <a:noFill/>
            <a:miter lim="800000"/>
            <a:headEnd/>
            <a:tailEnd/>
          </a:ln>
        </p:spPr>
        <p:txBody>
          <a:bodyPr wrap="none" lIns="0" tIns="0" rIns="0" bIns="0">
            <a:spAutoFit/>
          </a:bodyPr>
          <a:lstStyle/>
          <a:p>
            <a:pPr defTabSz="685800">
              <a:buClrTx/>
            </a:pPr>
            <a:r>
              <a:rPr lang="en-US" altLang="ja-JP" sz="450" b="1" kern="1200">
                <a:solidFill>
                  <a:srgbClr val="313131"/>
                </a:solidFill>
                <a:ea typeface="ＭＳ Ｐゴシック" charset="-128"/>
                <a:cs typeface="+mn-cs"/>
              </a:rPr>
              <a:t>Dry</a:t>
            </a:r>
          </a:p>
        </p:txBody>
      </p:sp>
      <p:sp>
        <p:nvSpPr>
          <p:cNvPr id="762947" name="Rectangle 66"/>
          <p:cNvSpPr>
            <a:spLocks noChangeArrowheads="1"/>
          </p:cNvSpPr>
          <p:nvPr>
            <p:custDataLst>
              <p:tags r:id="rId36"/>
            </p:custDataLst>
          </p:nvPr>
        </p:nvSpPr>
        <p:spPr bwMode="auto">
          <a:xfrm>
            <a:off x="4923001" y="3422845"/>
            <a:ext cx="291747" cy="69250"/>
          </a:xfrm>
          <a:prstGeom prst="rect">
            <a:avLst/>
          </a:prstGeom>
          <a:noFill/>
          <a:ln w="9525">
            <a:noFill/>
            <a:miter lim="800000"/>
            <a:headEnd/>
            <a:tailEnd/>
          </a:ln>
        </p:spPr>
        <p:txBody>
          <a:bodyPr wrap="none" lIns="0" tIns="0" rIns="0" bIns="0">
            <a:spAutoFit/>
          </a:bodyPr>
          <a:lstStyle/>
          <a:p>
            <a:pPr defTabSz="685800">
              <a:buClrTx/>
            </a:pPr>
            <a:r>
              <a:rPr lang="en-US" altLang="ja-JP" sz="450" b="1" kern="1200">
                <a:solidFill>
                  <a:srgbClr val="313131"/>
                </a:solidFill>
                <a:ea typeface="ＭＳ Ｐゴシック" charset="-128"/>
                <a:cs typeface="+mn-cs"/>
              </a:rPr>
              <a:t>Processed</a:t>
            </a:r>
          </a:p>
        </p:txBody>
      </p:sp>
      <p:sp>
        <p:nvSpPr>
          <p:cNvPr id="762909" name="Rectangle 28"/>
          <p:cNvSpPr>
            <a:spLocks noChangeArrowheads="1"/>
          </p:cNvSpPr>
          <p:nvPr>
            <p:custDataLst>
              <p:tags r:id="rId37"/>
            </p:custDataLst>
          </p:nvPr>
        </p:nvSpPr>
        <p:spPr bwMode="auto">
          <a:xfrm>
            <a:off x="4923000" y="1026000"/>
            <a:ext cx="442429" cy="69250"/>
          </a:xfrm>
          <a:prstGeom prst="rect">
            <a:avLst/>
          </a:prstGeom>
          <a:noFill/>
          <a:ln w="9525">
            <a:noFill/>
            <a:miter lim="800000"/>
            <a:headEnd/>
            <a:tailEnd/>
          </a:ln>
        </p:spPr>
        <p:txBody>
          <a:bodyPr wrap="none" lIns="0" tIns="0" rIns="0" bIns="0">
            <a:spAutoFit/>
          </a:bodyPr>
          <a:lstStyle/>
          <a:p>
            <a:pPr defTabSz="685800">
              <a:buClrTx/>
            </a:pPr>
            <a:r>
              <a:rPr lang="en-US" altLang="ja-JP" sz="450" b="1" kern="1200" dirty="0">
                <a:solidFill>
                  <a:srgbClr val="313131"/>
                </a:solidFill>
                <a:ea typeface="ＭＳ Ｐゴシック" charset="-128"/>
                <a:cs typeface="+mn-cs"/>
              </a:rPr>
              <a:t>Food packaging</a:t>
            </a:r>
          </a:p>
        </p:txBody>
      </p:sp>
      <p:sp>
        <p:nvSpPr>
          <p:cNvPr id="762952" name="Rectangle 71"/>
          <p:cNvSpPr>
            <a:spLocks noChangeArrowheads="1"/>
          </p:cNvSpPr>
          <p:nvPr>
            <p:custDataLst>
              <p:tags r:id="rId38"/>
            </p:custDataLst>
          </p:nvPr>
        </p:nvSpPr>
        <p:spPr bwMode="auto">
          <a:xfrm>
            <a:off x="1953001" y="1026000"/>
            <a:ext cx="464871" cy="69250"/>
          </a:xfrm>
          <a:prstGeom prst="rect">
            <a:avLst/>
          </a:prstGeom>
          <a:noFill/>
          <a:ln w="9525">
            <a:noFill/>
            <a:miter lim="800000"/>
            <a:headEnd/>
            <a:tailEnd/>
          </a:ln>
        </p:spPr>
        <p:txBody>
          <a:bodyPr wrap="none" lIns="0" tIns="0" rIns="0" bIns="0">
            <a:spAutoFit/>
          </a:bodyPr>
          <a:lstStyle/>
          <a:p>
            <a:pPr defTabSz="685800">
              <a:buClrTx/>
            </a:pPr>
            <a:r>
              <a:rPr lang="en-US" altLang="ja-JP" sz="450" b="1" kern="1200" dirty="0">
                <a:solidFill>
                  <a:srgbClr val="313131"/>
                </a:solidFill>
                <a:ea typeface="ＭＳ Ｐゴシック" charset="-128"/>
                <a:cs typeface="+mn-cs"/>
              </a:rPr>
              <a:t>Food processing</a:t>
            </a:r>
          </a:p>
        </p:txBody>
      </p:sp>
      <p:sp>
        <p:nvSpPr>
          <p:cNvPr id="762963" name="Rectangle 87"/>
          <p:cNvSpPr>
            <a:spLocks noChangeArrowheads="1"/>
          </p:cNvSpPr>
          <p:nvPr>
            <p:custDataLst>
              <p:tags r:id="rId39"/>
            </p:custDataLst>
          </p:nvPr>
        </p:nvSpPr>
        <p:spPr bwMode="auto">
          <a:xfrm>
            <a:off x="6111000" y="1026000"/>
            <a:ext cx="153888" cy="69250"/>
          </a:xfrm>
          <a:prstGeom prst="rect">
            <a:avLst/>
          </a:prstGeom>
          <a:noFill/>
          <a:ln w="9525">
            <a:noFill/>
            <a:miter lim="800000"/>
            <a:headEnd/>
            <a:tailEnd/>
          </a:ln>
        </p:spPr>
        <p:txBody>
          <a:bodyPr wrap="none" lIns="0" tIns="0" rIns="0" bIns="0">
            <a:spAutoFit/>
          </a:bodyPr>
          <a:lstStyle/>
          <a:p>
            <a:pPr defTabSz="685800">
              <a:buClrTx/>
            </a:pPr>
            <a:r>
              <a:rPr lang="en-US" altLang="ja-JP" sz="450" b="1" kern="1200" dirty="0">
                <a:solidFill>
                  <a:srgbClr val="313131"/>
                </a:solidFill>
                <a:ea typeface="ＭＳ Ｐゴシック" charset="-128"/>
                <a:cs typeface="+mn-cs"/>
              </a:rPr>
              <a:t>Other</a:t>
            </a:r>
          </a:p>
        </p:txBody>
      </p:sp>
      <p:sp>
        <p:nvSpPr>
          <p:cNvPr id="762902" name="Rectangle 20"/>
          <p:cNvSpPr>
            <a:spLocks noChangeArrowheads="1"/>
          </p:cNvSpPr>
          <p:nvPr>
            <p:custDataLst>
              <p:tags r:id="rId40"/>
            </p:custDataLst>
          </p:nvPr>
        </p:nvSpPr>
        <p:spPr bwMode="auto">
          <a:xfrm>
            <a:off x="2250001" y="2546976"/>
            <a:ext cx="289742"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Sub-systems </a:t>
            </a:r>
          </a:p>
        </p:txBody>
      </p:sp>
      <p:sp>
        <p:nvSpPr>
          <p:cNvPr id="762977" name="Rectangle 104"/>
          <p:cNvSpPr>
            <a:spLocks noChangeArrowheads="1"/>
          </p:cNvSpPr>
          <p:nvPr>
            <p:custDataLst>
              <p:tags r:id="rId41"/>
            </p:custDataLst>
          </p:nvPr>
        </p:nvSpPr>
        <p:spPr bwMode="auto">
          <a:xfrm>
            <a:off x="1953000" y="2546976"/>
            <a:ext cx="197169"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Systems </a:t>
            </a:r>
          </a:p>
        </p:txBody>
      </p:sp>
      <p:sp>
        <p:nvSpPr>
          <p:cNvPr id="762978" name="Rectangle 105"/>
          <p:cNvSpPr>
            <a:spLocks noChangeArrowheads="1"/>
          </p:cNvSpPr>
          <p:nvPr>
            <p:custDataLst>
              <p:tags r:id="rId42"/>
            </p:custDataLst>
          </p:nvPr>
        </p:nvSpPr>
        <p:spPr bwMode="auto">
          <a:xfrm>
            <a:off x="1953000" y="2744695"/>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762980" name="Rectangle 107"/>
          <p:cNvSpPr>
            <a:spLocks noChangeArrowheads="1"/>
          </p:cNvSpPr>
          <p:nvPr>
            <p:custDataLst>
              <p:tags r:id="rId43"/>
            </p:custDataLst>
          </p:nvPr>
        </p:nvSpPr>
        <p:spPr bwMode="auto">
          <a:xfrm>
            <a:off x="2250000" y="2744695"/>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762883" name="Rectangle 125"/>
          <p:cNvSpPr>
            <a:spLocks noChangeArrowheads="1"/>
          </p:cNvSpPr>
          <p:nvPr>
            <p:custDataLst>
              <p:tags r:id="rId44"/>
            </p:custDataLst>
          </p:nvPr>
        </p:nvSpPr>
        <p:spPr bwMode="auto">
          <a:xfrm>
            <a:off x="6408000" y="1323000"/>
            <a:ext cx="244058" cy="173124"/>
          </a:xfrm>
          <a:prstGeom prst="rect">
            <a:avLst/>
          </a:prstGeom>
          <a:noFill/>
          <a:ln w="317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Thermal &amp; </a:t>
            </a:r>
            <a:br>
              <a:rPr lang="en-US" altLang="ja-JP" sz="375" kern="1200" dirty="0">
                <a:solidFill>
                  <a:srgbClr val="313131"/>
                </a:solidFill>
                <a:ea typeface="ＭＳ Ｐゴシック" charset="-128"/>
                <a:cs typeface="+mn-cs"/>
              </a:rPr>
            </a:br>
            <a:r>
              <a:rPr lang="en-US" altLang="ja-JP" sz="375" kern="1200" dirty="0">
                <a:solidFill>
                  <a:srgbClr val="313131"/>
                </a:solidFill>
                <a:ea typeface="ＭＳ Ｐゴシック" charset="-128"/>
                <a:cs typeface="+mn-cs"/>
              </a:rPr>
              <a:t>energy</a:t>
            </a:r>
          </a:p>
        </p:txBody>
      </p:sp>
      <p:sp>
        <p:nvSpPr>
          <p:cNvPr id="762900" name="Rectangle 18"/>
          <p:cNvSpPr>
            <a:spLocks noChangeArrowheads="1"/>
          </p:cNvSpPr>
          <p:nvPr>
            <p:custDataLst>
              <p:tags r:id="rId45"/>
            </p:custDataLst>
          </p:nvPr>
        </p:nvSpPr>
        <p:spPr bwMode="auto">
          <a:xfrm>
            <a:off x="6705001" y="1323000"/>
            <a:ext cx="265697" cy="57708"/>
          </a:xfrm>
          <a:prstGeom prst="rect">
            <a:avLst/>
          </a:prstGeom>
          <a:noFill/>
          <a:ln w="317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Customized </a:t>
            </a:r>
          </a:p>
        </p:txBody>
      </p:sp>
      <p:sp>
        <p:nvSpPr>
          <p:cNvPr id="762901" name="Rectangle 19"/>
          <p:cNvSpPr>
            <a:spLocks noChangeArrowheads="1"/>
          </p:cNvSpPr>
          <p:nvPr>
            <p:custDataLst>
              <p:tags r:id="rId46"/>
            </p:custDataLst>
          </p:nvPr>
        </p:nvSpPr>
        <p:spPr bwMode="auto">
          <a:xfrm>
            <a:off x="7002001" y="1323000"/>
            <a:ext cx="193562" cy="57708"/>
          </a:xfrm>
          <a:prstGeom prst="rect">
            <a:avLst/>
          </a:prstGeom>
          <a:noFill/>
          <a:ln w="317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Standard</a:t>
            </a:r>
          </a:p>
        </p:txBody>
      </p:sp>
      <p:sp>
        <p:nvSpPr>
          <p:cNvPr id="762915" name="Rectangle 34"/>
          <p:cNvSpPr>
            <a:spLocks noChangeArrowheads="1"/>
          </p:cNvSpPr>
          <p:nvPr>
            <p:custDataLst>
              <p:tags r:id="rId47"/>
            </p:custDataLst>
          </p:nvPr>
        </p:nvSpPr>
        <p:spPr bwMode="auto">
          <a:xfrm>
            <a:off x="5220000" y="1323000"/>
            <a:ext cx="191159" cy="57708"/>
          </a:xfrm>
          <a:prstGeom prst="rect">
            <a:avLst/>
          </a:prstGeom>
          <a:noFill/>
          <a:ln w="317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Canning </a:t>
            </a:r>
          </a:p>
        </p:txBody>
      </p:sp>
      <p:sp>
        <p:nvSpPr>
          <p:cNvPr id="762916" name="Rectangle 35"/>
          <p:cNvSpPr>
            <a:spLocks noChangeArrowheads="1"/>
          </p:cNvSpPr>
          <p:nvPr>
            <p:custDataLst>
              <p:tags r:id="rId48"/>
            </p:custDataLst>
          </p:nvPr>
        </p:nvSpPr>
        <p:spPr bwMode="auto">
          <a:xfrm>
            <a:off x="5517000" y="1323000"/>
            <a:ext cx="173124" cy="57708"/>
          </a:xfrm>
          <a:prstGeom prst="rect">
            <a:avLst/>
          </a:prstGeom>
          <a:noFill/>
          <a:ln w="317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Bottling </a:t>
            </a:r>
          </a:p>
        </p:txBody>
      </p:sp>
      <p:sp>
        <p:nvSpPr>
          <p:cNvPr id="762948" name="Rectangle 67"/>
          <p:cNvSpPr>
            <a:spLocks noChangeArrowheads="1"/>
          </p:cNvSpPr>
          <p:nvPr>
            <p:custDataLst>
              <p:tags r:id="rId49"/>
            </p:custDataLst>
          </p:nvPr>
        </p:nvSpPr>
        <p:spPr bwMode="auto">
          <a:xfrm>
            <a:off x="1953000" y="1323000"/>
            <a:ext cx="149079" cy="57708"/>
          </a:xfrm>
          <a:prstGeom prst="rect">
            <a:avLst/>
          </a:prstGeom>
          <a:noFill/>
          <a:ln w="317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Pumps</a:t>
            </a:r>
          </a:p>
        </p:txBody>
      </p:sp>
      <p:sp>
        <p:nvSpPr>
          <p:cNvPr id="762949" name="Rectangle 68"/>
          <p:cNvSpPr>
            <a:spLocks noChangeArrowheads="1"/>
          </p:cNvSpPr>
          <p:nvPr>
            <p:custDataLst>
              <p:tags r:id="rId50"/>
            </p:custDataLst>
          </p:nvPr>
        </p:nvSpPr>
        <p:spPr bwMode="auto">
          <a:xfrm>
            <a:off x="2250000" y="1323000"/>
            <a:ext cx="157496" cy="57708"/>
          </a:xfrm>
          <a:prstGeom prst="rect">
            <a:avLst/>
          </a:prstGeom>
          <a:noFill/>
          <a:ln w="317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Valves </a:t>
            </a:r>
          </a:p>
        </p:txBody>
      </p:sp>
      <p:sp>
        <p:nvSpPr>
          <p:cNvPr id="762950" name="Rectangle 69"/>
          <p:cNvSpPr>
            <a:spLocks noChangeArrowheads="1"/>
          </p:cNvSpPr>
          <p:nvPr>
            <p:custDataLst>
              <p:tags r:id="rId51"/>
            </p:custDataLst>
          </p:nvPr>
        </p:nvSpPr>
        <p:spPr bwMode="auto">
          <a:xfrm>
            <a:off x="4626000" y="1323000"/>
            <a:ext cx="321002" cy="57708"/>
          </a:xfrm>
          <a:prstGeom prst="rect">
            <a:avLst/>
          </a:prstGeom>
          <a:noFill/>
          <a:ln w="317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Homogenize</a:t>
            </a:r>
          </a:p>
        </p:txBody>
      </p:sp>
      <p:sp>
        <p:nvSpPr>
          <p:cNvPr id="762951" name="Rectangle 70"/>
          <p:cNvSpPr>
            <a:spLocks noChangeArrowheads="1"/>
          </p:cNvSpPr>
          <p:nvPr>
            <p:custDataLst>
              <p:tags r:id="rId52"/>
            </p:custDataLst>
          </p:nvPr>
        </p:nvSpPr>
        <p:spPr bwMode="auto">
          <a:xfrm>
            <a:off x="2844001" y="1323000"/>
            <a:ext cx="266900" cy="115416"/>
          </a:xfrm>
          <a:prstGeom prst="rect">
            <a:avLst/>
          </a:prstGeom>
          <a:noFill/>
          <a:ln w="317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Tubular heat</a:t>
            </a:r>
          </a:p>
          <a:p>
            <a:pPr defTabSz="685800">
              <a:buClrTx/>
            </a:pPr>
            <a:r>
              <a:rPr lang="en-US" altLang="ja-JP" sz="375" kern="1200" dirty="0">
                <a:solidFill>
                  <a:srgbClr val="313131"/>
                </a:solidFill>
                <a:ea typeface="ＭＳ Ｐゴシック" charset="-128"/>
                <a:cs typeface="+mn-cs"/>
              </a:rPr>
              <a:t>exchangers </a:t>
            </a:r>
          </a:p>
        </p:txBody>
      </p:sp>
      <p:sp>
        <p:nvSpPr>
          <p:cNvPr id="762957" name="Rectangle 81"/>
          <p:cNvSpPr>
            <a:spLocks noChangeArrowheads="1"/>
          </p:cNvSpPr>
          <p:nvPr>
            <p:custDataLst>
              <p:tags r:id="rId53"/>
            </p:custDataLst>
          </p:nvPr>
        </p:nvSpPr>
        <p:spPr bwMode="auto">
          <a:xfrm>
            <a:off x="4032000" y="1323000"/>
            <a:ext cx="270507" cy="57708"/>
          </a:xfrm>
          <a:prstGeom prst="rect">
            <a:avLst/>
          </a:prstGeom>
          <a:noFill/>
          <a:ln w="317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Evaporators </a:t>
            </a:r>
          </a:p>
        </p:txBody>
      </p:sp>
      <p:sp>
        <p:nvSpPr>
          <p:cNvPr id="762958" name="Rectangle 82"/>
          <p:cNvSpPr>
            <a:spLocks noChangeArrowheads="1"/>
          </p:cNvSpPr>
          <p:nvPr>
            <p:custDataLst>
              <p:tags r:id="rId54"/>
            </p:custDataLst>
          </p:nvPr>
        </p:nvSpPr>
        <p:spPr bwMode="auto">
          <a:xfrm>
            <a:off x="4329000" y="1323000"/>
            <a:ext cx="143069" cy="57708"/>
          </a:xfrm>
          <a:prstGeom prst="rect">
            <a:avLst/>
          </a:prstGeom>
          <a:noFill/>
          <a:ln w="317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Tanks </a:t>
            </a:r>
          </a:p>
        </p:txBody>
      </p:sp>
      <p:sp>
        <p:nvSpPr>
          <p:cNvPr id="762965" name="Rectangle 89"/>
          <p:cNvSpPr>
            <a:spLocks noChangeArrowheads="1"/>
          </p:cNvSpPr>
          <p:nvPr>
            <p:custDataLst>
              <p:tags r:id="rId55"/>
            </p:custDataLst>
          </p:nvPr>
        </p:nvSpPr>
        <p:spPr bwMode="auto">
          <a:xfrm>
            <a:off x="3141000" y="1323000"/>
            <a:ext cx="158697" cy="115416"/>
          </a:xfrm>
          <a:prstGeom prst="rect">
            <a:avLst/>
          </a:prstGeom>
          <a:noFill/>
          <a:ln w="3175">
            <a:noFill/>
            <a:miter lim="800000"/>
            <a:headEnd/>
            <a:tailEnd/>
          </a:ln>
        </p:spPr>
        <p:txBody>
          <a:bodyPr wrap="none" lIns="0" tIns="0" rIns="0" bIns="0" anchor="t" anchorCtr="0">
            <a:noAutofit/>
          </a:bodyPr>
          <a:lstStyle/>
          <a:p>
            <a:pPr defTabSz="685800">
              <a:buClrTx/>
            </a:pPr>
            <a:r>
              <a:rPr lang="en-US" altLang="ja-JP" sz="375" kern="1200" dirty="0" err="1">
                <a:solidFill>
                  <a:srgbClr val="313131"/>
                </a:solidFill>
                <a:ea typeface="ＭＳ Ｐゴシック" charset="-128"/>
                <a:cs typeface="+mn-cs"/>
              </a:rPr>
              <a:t>Ohmic</a:t>
            </a:r>
            <a:r>
              <a:rPr lang="en-US" altLang="ja-JP" sz="375" kern="1200" dirty="0">
                <a:solidFill>
                  <a:srgbClr val="313131"/>
                </a:solidFill>
                <a:ea typeface="ＭＳ Ｐゴシック" charset="-128"/>
                <a:cs typeface="+mn-cs"/>
              </a:rPr>
              <a:t> </a:t>
            </a:r>
            <a:br>
              <a:rPr lang="en-US" altLang="ja-JP" sz="375" kern="1200" dirty="0">
                <a:solidFill>
                  <a:srgbClr val="313131"/>
                </a:solidFill>
                <a:ea typeface="ＭＳ Ｐゴシック" charset="-128"/>
                <a:cs typeface="+mn-cs"/>
              </a:rPr>
            </a:br>
            <a:r>
              <a:rPr lang="en-US" altLang="ja-JP" sz="375" kern="1200" dirty="0">
                <a:solidFill>
                  <a:srgbClr val="313131"/>
                </a:solidFill>
                <a:ea typeface="ＭＳ Ｐゴシック" charset="-128"/>
                <a:cs typeface="+mn-cs"/>
              </a:rPr>
              <a:t>heaters</a:t>
            </a:r>
          </a:p>
        </p:txBody>
      </p:sp>
      <p:sp>
        <p:nvSpPr>
          <p:cNvPr id="762967" name="Rectangle 91"/>
          <p:cNvSpPr>
            <a:spLocks noChangeArrowheads="1"/>
          </p:cNvSpPr>
          <p:nvPr>
            <p:custDataLst>
              <p:tags r:id="rId56"/>
            </p:custDataLst>
          </p:nvPr>
        </p:nvSpPr>
        <p:spPr bwMode="auto">
          <a:xfrm>
            <a:off x="2547000" y="1323000"/>
            <a:ext cx="259687" cy="115416"/>
          </a:xfrm>
          <a:prstGeom prst="rect">
            <a:avLst/>
          </a:prstGeom>
          <a:noFill/>
          <a:ln w="317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Plate heat</a:t>
            </a:r>
          </a:p>
          <a:p>
            <a:pPr defTabSz="685800">
              <a:buClrTx/>
            </a:pPr>
            <a:r>
              <a:rPr lang="en-US" altLang="ja-JP" sz="375" kern="1200" dirty="0">
                <a:solidFill>
                  <a:srgbClr val="313131"/>
                </a:solidFill>
                <a:ea typeface="ＭＳ Ｐゴシック" charset="-128"/>
                <a:cs typeface="+mn-cs"/>
              </a:rPr>
              <a:t>exchangers </a:t>
            </a:r>
          </a:p>
        </p:txBody>
      </p:sp>
      <p:sp>
        <p:nvSpPr>
          <p:cNvPr id="762969" name="Rectangle 93"/>
          <p:cNvSpPr>
            <a:spLocks noChangeArrowheads="1"/>
          </p:cNvSpPr>
          <p:nvPr>
            <p:custDataLst>
              <p:tags r:id="rId57"/>
            </p:custDataLst>
          </p:nvPr>
        </p:nvSpPr>
        <p:spPr bwMode="auto">
          <a:xfrm>
            <a:off x="3438001" y="1323000"/>
            <a:ext cx="233237" cy="57708"/>
          </a:xfrm>
          <a:prstGeom prst="rect">
            <a:avLst/>
          </a:prstGeom>
          <a:noFill/>
          <a:ln w="317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Separators</a:t>
            </a:r>
          </a:p>
        </p:txBody>
      </p:sp>
      <p:sp>
        <p:nvSpPr>
          <p:cNvPr id="762971" name="Rectangle 95"/>
          <p:cNvSpPr>
            <a:spLocks noChangeArrowheads="1"/>
          </p:cNvSpPr>
          <p:nvPr>
            <p:custDataLst>
              <p:tags r:id="rId58"/>
            </p:custDataLst>
          </p:nvPr>
        </p:nvSpPr>
        <p:spPr bwMode="auto">
          <a:xfrm>
            <a:off x="6111001" y="1323000"/>
            <a:ext cx="286136" cy="57708"/>
          </a:xfrm>
          <a:prstGeom prst="rect">
            <a:avLst/>
          </a:prstGeom>
          <a:noFill/>
          <a:ln w="317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Air treatment </a:t>
            </a:r>
          </a:p>
        </p:txBody>
      </p:sp>
      <p:sp>
        <p:nvSpPr>
          <p:cNvPr id="762975" name="Rectangle 102"/>
          <p:cNvSpPr>
            <a:spLocks noChangeArrowheads="1"/>
          </p:cNvSpPr>
          <p:nvPr>
            <p:custDataLst>
              <p:tags r:id="rId59"/>
            </p:custDataLst>
          </p:nvPr>
        </p:nvSpPr>
        <p:spPr bwMode="auto">
          <a:xfrm>
            <a:off x="3735001" y="1323000"/>
            <a:ext cx="140663" cy="57708"/>
          </a:xfrm>
          <a:prstGeom prst="rect">
            <a:avLst/>
          </a:prstGeom>
          <a:noFill/>
          <a:ln w="317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Dryers</a:t>
            </a:r>
          </a:p>
        </p:txBody>
      </p:sp>
      <p:sp>
        <p:nvSpPr>
          <p:cNvPr id="762976" name="Rectangle 103"/>
          <p:cNvSpPr>
            <a:spLocks noChangeArrowheads="1"/>
          </p:cNvSpPr>
          <p:nvPr>
            <p:custDataLst>
              <p:tags r:id="rId60"/>
            </p:custDataLst>
          </p:nvPr>
        </p:nvSpPr>
        <p:spPr bwMode="auto">
          <a:xfrm>
            <a:off x="4923000" y="1323000"/>
            <a:ext cx="220013" cy="57708"/>
          </a:xfrm>
          <a:prstGeom prst="rect">
            <a:avLst/>
          </a:prstGeom>
          <a:noFill/>
          <a:ln w="3175">
            <a:noFill/>
            <a:miter lim="800000"/>
            <a:headEnd/>
            <a:tailEnd/>
          </a:ln>
        </p:spPr>
        <p:txBody>
          <a:bodyPr wrap="none" lIns="0" tIns="0" rIns="0" bIns="0" anchor="t" anchorCtr="0">
            <a:noAutofit/>
          </a:bodyPr>
          <a:lstStyle/>
          <a:p>
            <a:pPr defTabSz="685800">
              <a:buClrTx/>
            </a:pPr>
            <a:r>
              <a:rPr lang="en-US" altLang="ja-JP" sz="375" kern="1200" dirty="0" err="1">
                <a:solidFill>
                  <a:srgbClr val="313131"/>
                </a:solidFill>
                <a:ea typeface="ＭＳ Ｐゴシック" charset="-128"/>
                <a:cs typeface="+mn-cs"/>
              </a:rPr>
              <a:t>Cartoning</a:t>
            </a:r>
            <a:r>
              <a:rPr lang="en-US" altLang="ja-JP" sz="375" kern="1200" dirty="0">
                <a:solidFill>
                  <a:srgbClr val="313131"/>
                </a:solidFill>
                <a:ea typeface="ＭＳ Ｐゴシック" charset="-128"/>
                <a:cs typeface="+mn-cs"/>
              </a:rPr>
              <a:t> </a:t>
            </a:r>
          </a:p>
        </p:txBody>
      </p:sp>
      <p:sp>
        <p:nvSpPr>
          <p:cNvPr id="763001" name="Rectangle 129"/>
          <p:cNvSpPr>
            <a:spLocks noChangeArrowheads="1"/>
          </p:cNvSpPr>
          <p:nvPr>
            <p:custDataLst>
              <p:tags r:id="rId61"/>
            </p:custDataLst>
          </p:nvPr>
        </p:nvSpPr>
        <p:spPr bwMode="auto">
          <a:xfrm>
            <a:off x="5814000" y="1323000"/>
            <a:ext cx="204383" cy="57708"/>
          </a:xfrm>
          <a:prstGeom prst="rect">
            <a:avLst/>
          </a:prstGeom>
          <a:noFill/>
          <a:ln w="317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Labelling </a:t>
            </a:r>
          </a:p>
        </p:txBody>
      </p:sp>
      <p:sp>
        <p:nvSpPr>
          <p:cNvPr id="763002" name="Rectangle 130"/>
          <p:cNvSpPr>
            <a:spLocks noChangeArrowheads="1"/>
          </p:cNvSpPr>
          <p:nvPr>
            <p:custDataLst>
              <p:tags r:id="rId62"/>
            </p:custDataLst>
          </p:nvPr>
        </p:nvSpPr>
        <p:spPr bwMode="auto">
          <a:xfrm>
            <a:off x="7299000" y="1323000"/>
            <a:ext cx="347663" cy="57708"/>
          </a:xfrm>
          <a:prstGeom prst="rect">
            <a:avLst/>
          </a:prstGeom>
          <a:noFill/>
          <a:ln w="317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Global standard</a:t>
            </a:r>
          </a:p>
        </p:txBody>
      </p:sp>
      <p:sp>
        <p:nvSpPr>
          <p:cNvPr id="60" name="Line 60"/>
          <p:cNvSpPr>
            <a:spLocks noChangeShapeType="1"/>
          </p:cNvSpPr>
          <p:nvPr/>
        </p:nvSpPr>
        <p:spPr bwMode="auto">
          <a:xfrm>
            <a:off x="1953000" y="3530845"/>
            <a:ext cx="1119188" cy="0"/>
          </a:xfrm>
          <a:prstGeom prst="line">
            <a:avLst/>
          </a:prstGeom>
          <a:noFill/>
          <a:ln w="19050">
            <a:solidFill>
              <a:schemeClr val="accent1"/>
            </a:solidFill>
            <a:round/>
            <a:headEnd type="none" w="sm" len="sm"/>
            <a:tailEnd type="none" w="sm" len="sm"/>
          </a:ln>
        </p:spPr>
        <p:txBody>
          <a:bodyPr wrap="none" anchor="ctr"/>
          <a:lstStyle/>
          <a:p>
            <a:pPr defTabSz="685800">
              <a:buClrTx/>
              <a:defRPr/>
            </a:pPr>
            <a:endParaRPr lang="en-US" sz="1350" kern="1200" dirty="0">
              <a:solidFill>
                <a:srgbClr val="313131"/>
              </a:solidFill>
              <a:ea typeface="+mn-ea"/>
              <a:cs typeface="+mn-cs"/>
            </a:endParaRPr>
          </a:p>
        </p:txBody>
      </p:sp>
      <p:sp>
        <p:nvSpPr>
          <p:cNvPr id="61" name="Line 61"/>
          <p:cNvSpPr>
            <a:spLocks noChangeShapeType="1"/>
          </p:cNvSpPr>
          <p:nvPr/>
        </p:nvSpPr>
        <p:spPr bwMode="auto">
          <a:xfrm>
            <a:off x="3141001" y="3530845"/>
            <a:ext cx="823781" cy="0"/>
          </a:xfrm>
          <a:prstGeom prst="line">
            <a:avLst/>
          </a:prstGeom>
          <a:noFill/>
          <a:ln w="19050">
            <a:solidFill>
              <a:schemeClr val="accent1"/>
            </a:solidFill>
            <a:round/>
            <a:headEnd type="none" w="sm" len="sm"/>
            <a:tailEnd type="none" w="sm" len="sm"/>
          </a:ln>
        </p:spPr>
        <p:txBody>
          <a:bodyPr wrap="none" anchor="ctr"/>
          <a:lstStyle/>
          <a:p>
            <a:pPr defTabSz="685800">
              <a:buClrTx/>
              <a:defRPr/>
            </a:pPr>
            <a:endParaRPr lang="en-US" sz="1350" kern="1200" dirty="0">
              <a:solidFill>
                <a:srgbClr val="313131"/>
              </a:solidFill>
              <a:ea typeface="+mn-ea"/>
              <a:cs typeface="+mn-cs"/>
            </a:endParaRPr>
          </a:p>
        </p:txBody>
      </p:sp>
      <p:sp>
        <p:nvSpPr>
          <p:cNvPr id="62" name="Line 62"/>
          <p:cNvSpPr>
            <a:spLocks noChangeShapeType="1"/>
          </p:cNvSpPr>
          <p:nvPr/>
        </p:nvSpPr>
        <p:spPr bwMode="auto">
          <a:xfrm>
            <a:off x="4032001" y="3530845"/>
            <a:ext cx="818606" cy="0"/>
          </a:xfrm>
          <a:prstGeom prst="line">
            <a:avLst/>
          </a:prstGeom>
          <a:noFill/>
          <a:ln w="19050">
            <a:solidFill>
              <a:schemeClr val="accent1"/>
            </a:solidFill>
            <a:round/>
            <a:headEnd type="none" w="sm" len="sm"/>
            <a:tailEnd type="none" w="sm" len="sm"/>
          </a:ln>
        </p:spPr>
        <p:txBody>
          <a:bodyPr wrap="none" anchor="ctr"/>
          <a:lstStyle/>
          <a:p>
            <a:pPr defTabSz="685800">
              <a:buClrTx/>
              <a:defRPr/>
            </a:pPr>
            <a:endParaRPr lang="en-US" sz="1350" kern="1200" dirty="0">
              <a:solidFill>
                <a:srgbClr val="313131"/>
              </a:solidFill>
              <a:ea typeface="+mn-ea"/>
              <a:cs typeface="+mn-cs"/>
            </a:endParaRPr>
          </a:p>
        </p:txBody>
      </p:sp>
      <p:sp>
        <p:nvSpPr>
          <p:cNvPr id="149" name="Line 153"/>
          <p:cNvSpPr>
            <a:spLocks noChangeShapeType="1"/>
          </p:cNvSpPr>
          <p:nvPr>
            <p:custDataLst>
              <p:tags r:id="rId63"/>
            </p:custDataLst>
          </p:nvPr>
        </p:nvSpPr>
        <p:spPr bwMode="auto">
          <a:xfrm>
            <a:off x="4923000" y="3530845"/>
            <a:ext cx="827719" cy="0"/>
          </a:xfrm>
          <a:prstGeom prst="line">
            <a:avLst/>
          </a:prstGeom>
          <a:noFill/>
          <a:ln w="19050">
            <a:solidFill>
              <a:schemeClr val="accent1"/>
            </a:solidFill>
            <a:round/>
            <a:headEnd type="none" w="sm" len="sm"/>
            <a:tailEnd type="none" w="sm" len="sm"/>
          </a:ln>
        </p:spPr>
        <p:txBody>
          <a:bodyPr wrap="none" anchor="ctr"/>
          <a:lstStyle/>
          <a:p>
            <a:pPr defTabSz="685800">
              <a:buClrTx/>
              <a:defRPr/>
            </a:pPr>
            <a:endParaRPr lang="en-US" sz="1350" kern="1200" dirty="0">
              <a:solidFill>
                <a:srgbClr val="313131"/>
              </a:solidFill>
              <a:ea typeface="+mn-ea"/>
              <a:cs typeface="+mn-cs"/>
            </a:endParaRPr>
          </a:p>
        </p:txBody>
      </p:sp>
      <p:sp>
        <p:nvSpPr>
          <p:cNvPr id="762984" name="Rectangle 111"/>
          <p:cNvSpPr>
            <a:spLocks noChangeArrowheads="1"/>
          </p:cNvSpPr>
          <p:nvPr>
            <p:custDataLst>
              <p:tags r:id="rId64"/>
            </p:custDataLst>
          </p:nvPr>
        </p:nvSpPr>
        <p:spPr bwMode="auto">
          <a:xfrm>
            <a:off x="2250001" y="2852695"/>
            <a:ext cx="310181" cy="115416"/>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Subcontractor </a:t>
            </a:r>
            <a:br>
              <a:rPr lang="en-US" altLang="ja-JP" sz="375" kern="1200" dirty="0">
                <a:solidFill>
                  <a:srgbClr val="313131"/>
                </a:solidFill>
                <a:ea typeface="ＭＳ Ｐゴシック" charset="-128"/>
                <a:cs typeface="+mn-cs"/>
              </a:rPr>
            </a:br>
            <a:r>
              <a:rPr lang="en-US" altLang="ja-JP" sz="375" kern="1200" dirty="0">
                <a:solidFill>
                  <a:srgbClr val="313131"/>
                </a:solidFill>
                <a:ea typeface="ＭＳ Ｐゴシック" charset="-128"/>
                <a:cs typeface="+mn-cs"/>
              </a:rPr>
              <a:t>management</a:t>
            </a:r>
          </a:p>
        </p:txBody>
      </p:sp>
      <p:sp>
        <p:nvSpPr>
          <p:cNvPr id="763028" name="Rectangle 156"/>
          <p:cNvSpPr>
            <a:spLocks noChangeArrowheads="1"/>
          </p:cNvSpPr>
          <p:nvPr>
            <p:custDataLst>
              <p:tags r:id="rId65"/>
            </p:custDataLst>
          </p:nvPr>
        </p:nvSpPr>
        <p:spPr bwMode="auto">
          <a:xfrm>
            <a:off x="1943100" y="2852695"/>
            <a:ext cx="277721" cy="115416"/>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Project </a:t>
            </a:r>
            <a:br>
              <a:rPr lang="en-US" altLang="ja-JP" sz="375" kern="1200" dirty="0">
                <a:solidFill>
                  <a:srgbClr val="313131"/>
                </a:solidFill>
                <a:ea typeface="ＭＳ Ｐゴシック" charset="-128"/>
                <a:cs typeface="+mn-cs"/>
              </a:rPr>
            </a:br>
            <a:r>
              <a:rPr lang="en-US" altLang="ja-JP" sz="375" kern="1200" dirty="0">
                <a:solidFill>
                  <a:srgbClr val="313131"/>
                </a:solidFill>
                <a:ea typeface="ＭＳ Ｐゴシック" charset="-128"/>
                <a:cs typeface="+mn-cs"/>
              </a:rPr>
              <a:t>management</a:t>
            </a:r>
          </a:p>
        </p:txBody>
      </p:sp>
      <p:sp>
        <p:nvSpPr>
          <p:cNvPr id="762966" name="Rectangle 90"/>
          <p:cNvSpPr>
            <a:spLocks noChangeArrowheads="1"/>
          </p:cNvSpPr>
          <p:nvPr>
            <p:custDataLst>
              <p:tags r:id="rId66"/>
            </p:custDataLst>
          </p:nvPr>
        </p:nvSpPr>
        <p:spPr bwMode="auto">
          <a:xfrm>
            <a:off x="1953001" y="1593000"/>
            <a:ext cx="334226" cy="115416"/>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Freezers </a:t>
            </a:r>
            <a:br>
              <a:rPr lang="en-US" altLang="ja-JP" sz="375" kern="1200" dirty="0">
                <a:solidFill>
                  <a:srgbClr val="313131"/>
                </a:solidFill>
                <a:ea typeface="ＭＳ Ｐゴシック" charset="-128"/>
                <a:cs typeface="+mn-cs"/>
              </a:rPr>
            </a:br>
            <a:r>
              <a:rPr lang="en-US" altLang="ja-JP" sz="375" kern="1200" dirty="0">
                <a:solidFill>
                  <a:srgbClr val="313131"/>
                </a:solidFill>
                <a:ea typeface="ＭＳ Ｐゴシック" charset="-128"/>
                <a:cs typeface="+mn-cs"/>
              </a:rPr>
              <a:t>&amp; </a:t>
            </a:r>
            <a:r>
              <a:rPr lang="en-US" altLang="ja-JP" sz="375" kern="1200" dirty="0" err="1">
                <a:solidFill>
                  <a:srgbClr val="313131"/>
                </a:solidFill>
                <a:ea typeface="ＭＳ Ｐゴシック" charset="-128"/>
                <a:cs typeface="+mn-cs"/>
              </a:rPr>
              <a:t>refrig</a:t>
            </a:r>
            <a:endParaRPr lang="en-US" altLang="ja-JP" sz="375" kern="1200" dirty="0">
              <a:solidFill>
                <a:srgbClr val="313131"/>
              </a:solidFill>
              <a:ea typeface="ＭＳ Ｐゴシック" charset="-128"/>
              <a:cs typeface="+mn-cs"/>
            </a:endParaRPr>
          </a:p>
        </p:txBody>
      </p:sp>
      <p:sp>
        <p:nvSpPr>
          <p:cNvPr id="762972" name="Rectangle 96"/>
          <p:cNvSpPr>
            <a:spLocks noChangeArrowheads="1"/>
          </p:cNvSpPr>
          <p:nvPr>
            <p:custDataLst>
              <p:tags r:id="rId67"/>
            </p:custDataLst>
          </p:nvPr>
        </p:nvSpPr>
        <p:spPr bwMode="auto">
          <a:xfrm>
            <a:off x="3438000" y="1593000"/>
            <a:ext cx="241653"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Automation</a:t>
            </a:r>
          </a:p>
        </p:txBody>
      </p:sp>
      <p:sp>
        <p:nvSpPr>
          <p:cNvPr id="762973" name="Rectangle 100"/>
          <p:cNvSpPr>
            <a:spLocks noChangeArrowheads="1"/>
          </p:cNvSpPr>
          <p:nvPr>
            <p:custDataLst>
              <p:tags r:id="rId68"/>
            </p:custDataLst>
          </p:nvPr>
        </p:nvSpPr>
        <p:spPr bwMode="auto">
          <a:xfrm>
            <a:off x="5517000" y="1593000"/>
            <a:ext cx="217608"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Wrapping </a:t>
            </a:r>
          </a:p>
        </p:txBody>
      </p:sp>
      <p:sp>
        <p:nvSpPr>
          <p:cNvPr id="762991" name="Rectangle 118"/>
          <p:cNvSpPr>
            <a:spLocks noChangeArrowheads="1"/>
          </p:cNvSpPr>
          <p:nvPr>
            <p:custDataLst>
              <p:tags r:id="rId69"/>
            </p:custDataLst>
          </p:nvPr>
        </p:nvSpPr>
        <p:spPr bwMode="auto">
          <a:xfrm>
            <a:off x="3141000" y="1593000"/>
            <a:ext cx="217608" cy="115416"/>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Conveyer </a:t>
            </a:r>
            <a:br>
              <a:rPr lang="en-US" altLang="ja-JP" sz="375" kern="1200" dirty="0">
                <a:solidFill>
                  <a:srgbClr val="313131"/>
                </a:solidFill>
                <a:ea typeface="ＭＳ Ｐゴシック" charset="-128"/>
                <a:cs typeface="+mn-cs"/>
              </a:rPr>
            </a:br>
            <a:r>
              <a:rPr lang="en-US" altLang="ja-JP" sz="375" kern="1200" dirty="0">
                <a:solidFill>
                  <a:srgbClr val="313131"/>
                </a:solidFill>
                <a:ea typeface="ＭＳ Ｐゴシック" charset="-128"/>
                <a:cs typeface="+mn-cs"/>
              </a:rPr>
              <a:t>systems </a:t>
            </a:r>
          </a:p>
        </p:txBody>
      </p:sp>
      <p:sp>
        <p:nvSpPr>
          <p:cNvPr id="762992" name="Rectangle 119"/>
          <p:cNvSpPr>
            <a:spLocks noChangeArrowheads="1"/>
          </p:cNvSpPr>
          <p:nvPr>
            <p:custDataLst>
              <p:tags r:id="rId70"/>
            </p:custDataLst>
          </p:nvPr>
        </p:nvSpPr>
        <p:spPr bwMode="auto">
          <a:xfrm>
            <a:off x="2250000" y="1593000"/>
            <a:ext cx="244058" cy="173124"/>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Aseptic </a:t>
            </a:r>
            <a:br>
              <a:rPr lang="en-US" altLang="ja-JP" sz="375" kern="1200" dirty="0">
                <a:solidFill>
                  <a:srgbClr val="313131"/>
                </a:solidFill>
                <a:ea typeface="ＭＳ Ｐゴシック" charset="-128"/>
                <a:cs typeface="+mn-cs"/>
              </a:rPr>
            </a:br>
            <a:r>
              <a:rPr lang="en-US" altLang="ja-JP" sz="375" kern="1200" dirty="0">
                <a:solidFill>
                  <a:srgbClr val="313131"/>
                </a:solidFill>
                <a:ea typeface="ＭＳ Ｐゴシック" charset="-128"/>
                <a:cs typeface="+mn-cs"/>
              </a:rPr>
              <a:t>processing</a:t>
            </a:r>
          </a:p>
        </p:txBody>
      </p:sp>
      <p:sp>
        <p:nvSpPr>
          <p:cNvPr id="762993" name="Rectangle 120"/>
          <p:cNvSpPr>
            <a:spLocks noChangeArrowheads="1"/>
          </p:cNvSpPr>
          <p:nvPr>
            <p:custDataLst>
              <p:tags r:id="rId71"/>
            </p:custDataLst>
          </p:nvPr>
        </p:nvSpPr>
        <p:spPr bwMode="auto">
          <a:xfrm>
            <a:off x="2844000" y="1593000"/>
            <a:ext cx="222417" cy="173124"/>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Blow </a:t>
            </a:r>
            <a:br>
              <a:rPr lang="en-US" altLang="ja-JP" sz="375" kern="1200" dirty="0">
                <a:solidFill>
                  <a:srgbClr val="313131"/>
                </a:solidFill>
                <a:ea typeface="ＭＳ Ｐゴシック" charset="-128"/>
                <a:cs typeface="+mn-cs"/>
              </a:rPr>
            </a:br>
            <a:r>
              <a:rPr lang="en-US" altLang="ja-JP" sz="375" kern="1200" dirty="0">
                <a:solidFill>
                  <a:srgbClr val="313131"/>
                </a:solidFill>
                <a:ea typeface="ＭＳ Ｐゴシック" charset="-128"/>
                <a:cs typeface="+mn-cs"/>
              </a:rPr>
              <a:t>molding</a:t>
            </a:r>
          </a:p>
        </p:txBody>
      </p:sp>
      <p:sp>
        <p:nvSpPr>
          <p:cNvPr id="762995" name="Rectangle 122"/>
          <p:cNvSpPr>
            <a:spLocks noChangeArrowheads="1"/>
          </p:cNvSpPr>
          <p:nvPr>
            <p:custDataLst>
              <p:tags r:id="rId72"/>
            </p:custDataLst>
          </p:nvPr>
        </p:nvSpPr>
        <p:spPr bwMode="auto">
          <a:xfrm>
            <a:off x="2547000" y="1593000"/>
            <a:ext cx="235642" cy="115416"/>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Filtration </a:t>
            </a:r>
            <a:br>
              <a:rPr lang="en-US" altLang="ja-JP" sz="375" kern="1200" dirty="0">
                <a:solidFill>
                  <a:srgbClr val="313131"/>
                </a:solidFill>
                <a:ea typeface="ＭＳ Ｐゴシック" charset="-128"/>
                <a:cs typeface="+mn-cs"/>
              </a:rPr>
            </a:br>
            <a:r>
              <a:rPr lang="en-US" altLang="ja-JP" sz="375" kern="1200" dirty="0">
                <a:solidFill>
                  <a:srgbClr val="313131"/>
                </a:solidFill>
                <a:ea typeface="ＭＳ Ｐゴシック" charset="-128"/>
                <a:cs typeface="+mn-cs"/>
              </a:rPr>
              <a:t>equipment </a:t>
            </a:r>
          </a:p>
        </p:txBody>
      </p:sp>
      <p:sp>
        <p:nvSpPr>
          <p:cNvPr id="762998" name="Rectangle 126"/>
          <p:cNvSpPr>
            <a:spLocks noChangeArrowheads="1"/>
          </p:cNvSpPr>
          <p:nvPr>
            <p:custDataLst>
              <p:tags r:id="rId73"/>
            </p:custDataLst>
          </p:nvPr>
        </p:nvSpPr>
        <p:spPr bwMode="auto">
          <a:xfrm>
            <a:off x="3735000" y="1593000"/>
            <a:ext cx="355867"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Control systems </a:t>
            </a:r>
          </a:p>
        </p:txBody>
      </p:sp>
      <p:sp>
        <p:nvSpPr>
          <p:cNvPr id="763000" name="Rectangle 128"/>
          <p:cNvSpPr>
            <a:spLocks noChangeArrowheads="1"/>
          </p:cNvSpPr>
          <p:nvPr>
            <p:custDataLst>
              <p:tags r:id="rId74"/>
            </p:custDataLst>
          </p:nvPr>
        </p:nvSpPr>
        <p:spPr bwMode="auto">
          <a:xfrm>
            <a:off x="5220000" y="1593000"/>
            <a:ext cx="173124"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Sealing </a:t>
            </a:r>
          </a:p>
        </p:txBody>
      </p:sp>
      <p:sp>
        <p:nvSpPr>
          <p:cNvPr id="763029" name="Rectangle 158"/>
          <p:cNvSpPr>
            <a:spLocks noChangeArrowheads="1"/>
          </p:cNvSpPr>
          <p:nvPr>
            <p:custDataLst>
              <p:tags r:id="rId75"/>
            </p:custDataLst>
          </p:nvPr>
        </p:nvSpPr>
        <p:spPr bwMode="auto">
          <a:xfrm>
            <a:off x="4923000" y="1593000"/>
            <a:ext cx="236844"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Filling lines</a:t>
            </a:r>
          </a:p>
        </p:txBody>
      </p:sp>
      <p:sp>
        <p:nvSpPr>
          <p:cNvPr id="763034" name="Rectangle 163"/>
          <p:cNvSpPr>
            <a:spLocks noChangeArrowheads="1"/>
          </p:cNvSpPr>
          <p:nvPr>
            <p:custDataLst>
              <p:tags r:id="rId76"/>
            </p:custDataLst>
          </p:nvPr>
        </p:nvSpPr>
        <p:spPr bwMode="auto">
          <a:xfrm>
            <a:off x="5220000" y="1921251"/>
            <a:ext cx="191159"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Canning </a:t>
            </a:r>
          </a:p>
        </p:txBody>
      </p:sp>
      <p:sp>
        <p:nvSpPr>
          <p:cNvPr id="763035" name="Rectangle 164"/>
          <p:cNvSpPr>
            <a:spLocks noChangeArrowheads="1"/>
          </p:cNvSpPr>
          <p:nvPr>
            <p:custDataLst>
              <p:tags r:id="rId77"/>
            </p:custDataLst>
          </p:nvPr>
        </p:nvSpPr>
        <p:spPr bwMode="auto">
          <a:xfrm>
            <a:off x="5517000" y="1921251"/>
            <a:ext cx="173124"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Bottling </a:t>
            </a:r>
          </a:p>
        </p:txBody>
      </p:sp>
      <p:sp>
        <p:nvSpPr>
          <p:cNvPr id="763036" name="Rectangle 165"/>
          <p:cNvSpPr>
            <a:spLocks noChangeArrowheads="1"/>
          </p:cNvSpPr>
          <p:nvPr>
            <p:custDataLst>
              <p:tags r:id="rId78"/>
            </p:custDataLst>
          </p:nvPr>
        </p:nvSpPr>
        <p:spPr bwMode="auto">
          <a:xfrm>
            <a:off x="1953000" y="1921251"/>
            <a:ext cx="162305"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Pumps </a:t>
            </a:r>
          </a:p>
        </p:txBody>
      </p:sp>
      <p:sp>
        <p:nvSpPr>
          <p:cNvPr id="763037" name="Rectangle 166"/>
          <p:cNvSpPr>
            <a:spLocks noChangeArrowheads="1"/>
          </p:cNvSpPr>
          <p:nvPr>
            <p:custDataLst>
              <p:tags r:id="rId79"/>
            </p:custDataLst>
          </p:nvPr>
        </p:nvSpPr>
        <p:spPr bwMode="auto">
          <a:xfrm>
            <a:off x="2250000" y="1921251"/>
            <a:ext cx="157496"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Valves </a:t>
            </a:r>
          </a:p>
        </p:txBody>
      </p:sp>
      <p:sp>
        <p:nvSpPr>
          <p:cNvPr id="763038" name="Rectangle 167"/>
          <p:cNvSpPr>
            <a:spLocks noChangeArrowheads="1"/>
          </p:cNvSpPr>
          <p:nvPr>
            <p:custDataLst>
              <p:tags r:id="rId80"/>
            </p:custDataLst>
          </p:nvPr>
        </p:nvSpPr>
        <p:spPr bwMode="auto">
          <a:xfrm>
            <a:off x="4329000" y="1921251"/>
            <a:ext cx="321002"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Homogenisers </a:t>
            </a:r>
          </a:p>
        </p:txBody>
      </p:sp>
      <p:sp>
        <p:nvSpPr>
          <p:cNvPr id="763039" name="Rectangle 168"/>
          <p:cNvSpPr>
            <a:spLocks noChangeArrowheads="1"/>
          </p:cNvSpPr>
          <p:nvPr>
            <p:custDataLst>
              <p:tags r:id="rId81"/>
            </p:custDataLst>
          </p:nvPr>
        </p:nvSpPr>
        <p:spPr bwMode="auto">
          <a:xfrm>
            <a:off x="2844001" y="1921251"/>
            <a:ext cx="266900" cy="115416"/>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Tubular heat</a:t>
            </a:r>
          </a:p>
          <a:p>
            <a:pPr defTabSz="685800">
              <a:buClrTx/>
            </a:pPr>
            <a:r>
              <a:rPr lang="en-US" altLang="ja-JP" sz="375" kern="1200">
                <a:solidFill>
                  <a:srgbClr val="313131"/>
                </a:solidFill>
                <a:ea typeface="ＭＳ Ｐゴシック" charset="-128"/>
                <a:cs typeface="+mn-cs"/>
              </a:rPr>
              <a:t>exchangers </a:t>
            </a:r>
          </a:p>
        </p:txBody>
      </p:sp>
      <p:sp>
        <p:nvSpPr>
          <p:cNvPr id="763046" name="Rectangle 177"/>
          <p:cNvSpPr>
            <a:spLocks noChangeArrowheads="1"/>
          </p:cNvSpPr>
          <p:nvPr>
            <p:custDataLst>
              <p:tags r:id="rId82"/>
            </p:custDataLst>
          </p:nvPr>
        </p:nvSpPr>
        <p:spPr bwMode="auto">
          <a:xfrm>
            <a:off x="3735000" y="1921251"/>
            <a:ext cx="270507" cy="193299"/>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Evaporators </a:t>
            </a:r>
          </a:p>
        </p:txBody>
      </p:sp>
      <p:sp>
        <p:nvSpPr>
          <p:cNvPr id="763047" name="Rectangle 178"/>
          <p:cNvSpPr>
            <a:spLocks noChangeArrowheads="1"/>
          </p:cNvSpPr>
          <p:nvPr>
            <p:custDataLst>
              <p:tags r:id="rId83"/>
            </p:custDataLst>
          </p:nvPr>
        </p:nvSpPr>
        <p:spPr bwMode="auto">
          <a:xfrm>
            <a:off x="4032000" y="1921251"/>
            <a:ext cx="143069"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Tanks </a:t>
            </a:r>
          </a:p>
        </p:txBody>
      </p:sp>
      <p:sp>
        <p:nvSpPr>
          <p:cNvPr id="763048" name="Rectangle 179"/>
          <p:cNvSpPr>
            <a:spLocks noChangeArrowheads="1"/>
          </p:cNvSpPr>
          <p:nvPr>
            <p:custDataLst>
              <p:tags r:id="rId84"/>
            </p:custDataLst>
          </p:nvPr>
        </p:nvSpPr>
        <p:spPr bwMode="auto">
          <a:xfrm>
            <a:off x="3141001" y="1921251"/>
            <a:ext cx="230850" cy="115416"/>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err="1">
                <a:solidFill>
                  <a:srgbClr val="313131"/>
                </a:solidFill>
                <a:ea typeface="ＭＳ Ｐゴシック" charset="-128"/>
                <a:cs typeface="+mn-cs"/>
              </a:rPr>
              <a:t>Ohmic</a:t>
            </a:r>
            <a:endParaRPr lang="en-US" altLang="ja-JP" sz="375" kern="1200" dirty="0">
              <a:solidFill>
                <a:srgbClr val="313131"/>
              </a:solidFill>
              <a:ea typeface="ＭＳ Ｐゴシック" charset="-128"/>
              <a:cs typeface="+mn-cs"/>
            </a:endParaRPr>
          </a:p>
          <a:p>
            <a:pPr defTabSz="685800">
              <a:buClrTx/>
            </a:pPr>
            <a:r>
              <a:rPr lang="en-US" altLang="ja-JP" sz="375" kern="1200" dirty="0">
                <a:solidFill>
                  <a:srgbClr val="313131"/>
                </a:solidFill>
                <a:ea typeface="ＭＳ Ｐゴシック" charset="-128"/>
                <a:cs typeface="+mn-cs"/>
              </a:rPr>
              <a:t>heaters</a:t>
            </a:r>
          </a:p>
          <a:p>
            <a:pPr defTabSz="685800">
              <a:buClrTx/>
            </a:pPr>
            <a:endParaRPr lang="en-US" altLang="ja-JP" sz="375" kern="1200" dirty="0">
              <a:solidFill>
                <a:srgbClr val="313131"/>
              </a:solidFill>
              <a:ea typeface="ＭＳ Ｐゴシック" charset="-128"/>
              <a:cs typeface="+mn-cs"/>
            </a:endParaRPr>
          </a:p>
        </p:txBody>
      </p:sp>
      <p:sp>
        <p:nvSpPr>
          <p:cNvPr id="763049" name="Rectangle 180"/>
          <p:cNvSpPr>
            <a:spLocks noChangeArrowheads="1"/>
          </p:cNvSpPr>
          <p:nvPr>
            <p:custDataLst>
              <p:tags r:id="rId85"/>
            </p:custDataLst>
          </p:nvPr>
        </p:nvSpPr>
        <p:spPr bwMode="auto">
          <a:xfrm>
            <a:off x="2547000" y="1921251"/>
            <a:ext cx="259687" cy="115416"/>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Plate heat</a:t>
            </a:r>
          </a:p>
          <a:p>
            <a:pPr defTabSz="685800">
              <a:buClrTx/>
            </a:pPr>
            <a:r>
              <a:rPr lang="en-US" altLang="ja-JP" sz="375" kern="1200">
                <a:solidFill>
                  <a:srgbClr val="313131"/>
                </a:solidFill>
                <a:ea typeface="ＭＳ Ｐゴシック" charset="-128"/>
                <a:cs typeface="+mn-cs"/>
              </a:rPr>
              <a:t>exchangers </a:t>
            </a:r>
          </a:p>
        </p:txBody>
      </p:sp>
      <p:sp>
        <p:nvSpPr>
          <p:cNvPr id="763051" name="Rectangle 182"/>
          <p:cNvSpPr>
            <a:spLocks noChangeArrowheads="1"/>
          </p:cNvSpPr>
          <p:nvPr>
            <p:custDataLst>
              <p:tags r:id="rId86"/>
            </p:custDataLst>
          </p:nvPr>
        </p:nvSpPr>
        <p:spPr bwMode="auto">
          <a:xfrm>
            <a:off x="3438001" y="1921251"/>
            <a:ext cx="233237" cy="115416"/>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Separators</a:t>
            </a:r>
          </a:p>
          <a:p>
            <a:pPr defTabSz="685800">
              <a:buClrTx/>
            </a:pPr>
            <a:endParaRPr lang="en-US" altLang="ja-JP" sz="375" kern="1200">
              <a:solidFill>
                <a:srgbClr val="313131"/>
              </a:solidFill>
              <a:ea typeface="ＭＳ Ｐゴシック" charset="-128"/>
              <a:cs typeface="+mn-cs"/>
            </a:endParaRPr>
          </a:p>
        </p:txBody>
      </p:sp>
      <p:sp>
        <p:nvSpPr>
          <p:cNvPr id="763056" name="Rectangle 190"/>
          <p:cNvSpPr>
            <a:spLocks noChangeArrowheads="1"/>
          </p:cNvSpPr>
          <p:nvPr>
            <p:custDataLst>
              <p:tags r:id="rId87"/>
            </p:custDataLst>
          </p:nvPr>
        </p:nvSpPr>
        <p:spPr bwMode="auto">
          <a:xfrm>
            <a:off x="4923000" y="1921251"/>
            <a:ext cx="220013"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Cartoning </a:t>
            </a:r>
          </a:p>
        </p:txBody>
      </p:sp>
      <p:sp>
        <p:nvSpPr>
          <p:cNvPr id="763058" name="Rectangle 192"/>
          <p:cNvSpPr>
            <a:spLocks noChangeArrowheads="1"/>
          </p:cNvSpPr>
          <p:nvPr>
            <p:custDataLst>
              <p:tags r:id="rId88"/>
            </p:custDataLst>
          </p:nvPr>
        </p:nvSpPr>
        <p:spPr bwMode="auto">
          <a:xfrm>
            <a:off x="5814000" y="1921251"/>
            <a:ext cx="204383"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Labelling </a:t>
            </a:r>
          </a:p>
        </p:txBody>
      </p:sp>
      <p:sp>
        <p:nvSpPr>
          <p:cNvPr id="763013" name="Rectangle 141"/>
          <p:cNvSpPr>
            <a:spLocks noChangeArrowheads="1"/>
          </p:cNvSpPr>
          <p:nvPr>
            <p:custDataLst>
              <p:tags r:id="rId89"/>
            </p:custDataLst>
          </p:nvPr>
        </p:nvSpPr>
        <p:spPr bwMode="auto">
          <a:xfrm>
            <a:off x="1953001" y="3698414"/>
            <a:ext cx="111809"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Dairy</a:t>
            </a:r>
          </a:p>
        </p:txBody>
      </p:sp>
      <p:sp>
        <p:nvSpPr>
          <p:cNvPr id="763014" name="Rectangle 142"/>
          <p:cNvSpPr>
            <a:spLocks noChangeArrowheads="1"/>
          </p:cNvSpPr>
          <p:nvPr>
            <p:custDataLst>
              <p:tags r:id="rId90"/>
            </p:custDataLst>
          </p:nvPr>
        </p:nvSpPr>
        <p:spPr bwMode="auto">
          <a:xfrm>
            <a:off x="2250000" y="3698414"/>
            <a:ext cx="173124"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Brewing</a:t>
            </a:r>
          </a:p>
        </p:txBody>
      </p:sp>
      <p:sp>
        <p:nvSpPr>
          <p:cNvPr id="763015" name="Rectangle 143"/>
          <p:cNvSpPr>
            <a:spLocks noChangeArrowheads="1"/>
          </p:cNvSpPr>
          <p:nvPr>
            <p:custDataLst>
              <p:tags r:id="rId91"/>
            </p:custDataLst>
          </p:nvPr>
        </p:nvSpPr>
        <p:spPr bwMode="auto">
          <a:xfrm>
            <a:off x="2547000" y="3698414"/>
            <a:ext cx="226024"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Soft drinks</a:t>
            </a:r>
          </a:p>
        </p:txBody>
      </p:sp>
      <p:sp>
        <p:nvSpPr>
          <p:cNvPr id="763016" name="Rectangle 144"/>
          <p:cNvSpPr>
            <a:spLocks noChangeArrowheads="1"/>
          </p:cNvSpPr>
          <p:nvPr>
            <p:custDataLst>
              <p:tags r:id="rId92"/>
            </p:custDataLst>
          </p:nvPr>
        </p:nvSpPr>
        <p:spPr bwMode="auto">
          <a:xfrm>
            <a:off x="2844000" y="3698414"/>
            <a:ext cx="149079"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Juices </a:t>
            </a:r>
          </a:p>
        </p:txBody>
      </p:sp>
      <p:sp>
        <p:nvSpPr>
          <p:cNvPr id="763017" name="Rectangle 145"/>
          <p:cNvSpPr>
            <a:spLocks noChangeArrowheads="1"/>
          </p:cNvSpPr>
          <p:nvPr>
            <p:custDataLst>
              <p:tags r:id="rId93"/>
            </p:custDataLst>
          </p:nvPr>
        </p:nvSpPr>
        <p:spPr bwMode="auto">
          <a:xfrm>
            <a:off x="3141000" y="3698414"/>
            <a:ext cx="177933"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Cheese </a:t>
            </a:r>
          </a:p>
        </p:txBody>
      </p:sp>
      <p:sp>
        <p:nvSpPr>
          <p:cNvPr id="763018" name="Rectangle 146"/>
          <p:cNvSpPr>
            <a:spLocks noChangeArrowheads="1"/>
          </p:cNvSpPr>
          <p:nvPr>
            <p:custDataLst>
              <p:tags r:id="rId94"/>
            </p:custDataLst>
          </p:nvPr>
        </p:nvSpPr>
        <p:spPr bwMode="auto">
          <a:xfrm>
            <a:off x="3438001" y="3698414"/>
            <a:ext cx="233237"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Ice Cream </a:t>
            </a:r>
          </a:p>
        </p:txBody>
      </p:sp>
      <p:sp>
        <p:nvSpPr>
          <p:cNvPr id="763019" name="Rectangle 147"/>
          <p:cNvSpPr>
            <a:spLocks noChangeArrowheads="1"/>
          </p:cNvSpPr>
          <p:nvPr>
            <p:custDataLst>
              <p:tags r:id="rId95"/>
            </p:custDataLst>
          </p:nvPr>
        </p:nvSpPr>
        <p:spPr bwMode="auto">
          <a:xfrm>
            <a:off x="4032001" y="3698414"/>
            <a:ext cx="135854"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Baked</a:t>
            </a:r>
          </a:p>
        </p:txBody>
      </p:sp>
      <p:sp>
        <p:nvSpPr>
          <p:cNvPr id="763020" name="Rectangle 148"/>
          <p:cNvSpPr>
            <a:spLocks noChangeArrowheads="1"/>
          </p:cNvSpPr>
          <p:nvPr>
            <p:custDataLst>
              <p:tags r:id="rId96"/>
            </p:custDataLst>
          </p:nvPr>
        </p:nvSpPr>
        <p:spPr bwMode="auto">
          <a:xfrm>
            <a:off x="4329000" y="3698414"/>
            <a:ext cx="321002" cy="115416"/>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Snacks/ </a:t>
            </a:r>
          </a:p>
          <a:p>
            <a:pPr defTabSz="685800">
              <a:buClrTx/>
            </a:pPr>
            <a:r>
              <a:rPr lang="en-US" altLang="ja-JP" sz="375" kern="1200" dirty="0">
                <a:solidFill>
                  <a:srgbClr val="313131"/>
                </a:solidFill>
                <a:ea typeface="ＭＳ Ｐゴシック" charset="-128"/>
                <a:cs typeface="+mn-cs"/>
              </a:rPr>
              <a:t>Confectionery</a:t>
            </a:r>
          </a:p>
        </p:txBody>
      </p:sp>
      <p:sp>
        <p:nvSpPr>
          <p:cNvPr id="763022" name="Rectangle 150"/>
          <p:cNvSpPr>
            <a:spLocks noChangeArrowheads="1"/>
          </p:cNvSpPr>
          <p:nvPr>
            <p:custDataLst>
              <p:tags r:id="rId97"/>
            </p:custDataLst>
          </p:nvPr>
        </p:nvSpPr>
        <p:spPr bwMode="auto">
          <a:xfrm>
            <a:off x="4626000" y="3698414"/>
            <a:ext cx="164709"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Cereals</a:t>
            </a:r>
          </a:p>
        </p:txBody>
      </p:sp>
      <p:sp>
        <p:nvSpPr>
          <p:cNvPr id="763024" name="Rectangle 152"/>
          <p:cNvSpPr>
            <a:spLocks noChangeArrowheads="1"/>
          </p:cNvSpPr>
          <p:nvPr>
            <p:custDataLst>
              <p:tags r:id="rId98"/>
            </p:custDataLst>
          </p:nvPr>
        </p:nvSpPr>
        <p:spPr bwMode="auto">
          <a:xfrm>
            <a:off x="3735001" y="3698414"/>
            <a:ext cx="313787"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Soups/</a:t>
            </a:r>
          </a:p>
          <a:p>
            <a:pPr defTabSz="685800">
              <a:buClrTx/>
            </a:pPr>
            <a:r>
              <a:rPr lang="en-US" altLang="ja-JP" sz="375" kern="1200" dirty="0">
                <a:solidFill>
                  <a:srgbClr val="313131"/>
                </a:solidFill>
                <a:ea typeface="ＭＳ Ｐゴシック" charset="-128"/>
                <a:cs typeface="+mn-cs"/>
              </a:rPr>
              <a:t>sauces </a:t>
            </a:r>
          </a:p>
        </p:txBody>
      </p:sp>
      <p:sp>
        <p:nvSpPr>
          <p:cNvPr id="763026" name="Rectangle 154"/>
          <p:cNvSpPr>
            <a:spLocks noChangeArrowheads="1"/>
          </p:cNvSpPr>
          <p:nvPr>
            <p:custDataLst>
              <p:tags r:id="rId99"/>
            </p:custDataLst>
          </p:nvPr>
        </p:nvSpPr>
        <p:spPr bwMode="auto">
          <a:xfrm>
            <a:off x="4923000" y="3698414"/>
            <a:ext cx="230833"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Baby Food</a:t>
            </a:r>
          </a:p>
        </p:txBody>
      </p:sp>
      <p:sp>
        <p:nvSpPr>
          <p:cNvPr id="763027" name="Rectangle 155"/>
          <p:cNvSpPr>
            <a:spLocks noChangeArrowheads="1"/>
          </p:cNvSpPr>
          <p:nvPr>
            <p:custDataLst>
              <p:tags r:id="rId100"/>
            </p:custDataLst>
          </p:nvPr>
        </p:nvSpPr>
        <p:spPr bwMode="auto">
          <a:xfrm>
            <a:off x="5220000" y="3698414"/>
            <a:ext cx="200175" cy="115416"/>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Oil/fats/</a:t>
            </a:r>
          </a:p>
          <a:p>
            <a:pPr defTabSz="685800">
              <a:buClrTx/>
            </a:pPr>
            <a:r>
              <a:rPr lang="en-US" altLang="ja-JP" sz="375" kern="1200" dirty="0">
                <a:solidFill>
                  <a:srgbClr val="313131"/>
                </a:solidFill>
                <a:ea typeface="ＭＳ Ｐゴシック" charset="-128"/>
                <a:cs typeface="+mn-cs"/>
              </a:rPr>
              <a:t>margarines</a:t>
            </a:r>
          </a:p>
        </p:txBody>
      </p:sp>
      <p:sp>
        <p:nvSpPr>
          <p:cNvPr id="763060" name="Rectangle 195"/>
          <p:cNvSpPr>
            <a:spLocks noChangeArrowheads="1"/>
          </p:cNvSpPr>
          <p:nvPr>
            <p:custDataLst>
              <p:tags r:id="rId101"/>
            </p:custDataLst>
          </p:nvPr>
        </p:nvSpPr>
        <p:spPr bwMode="auto">
          <a:xfrm>
            <a:off x="5517000" y="3698414"/>
            <a:ext cx="292148" cy="115416"/>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Convenience </a:t>
            </a:r>
            <a:br>
              <a:rPr lang="en-US" altLang="ja-JP" sz="375" kern="1200" dirty="0">
                <a:solidFill>
                  <a:srgbClr val="313131"/>
                </a:solidFill>
                <a:ea typeface="ＭＳ Ｐゴシック" charset="-128"/>
                <a:cs typeface="+mn-cs"/>
              </a:rPr>
            </a:br>
            <a:r>
              <a:rPr lang="en-US" altLang="ja-JP" sz="375" kern="1200" dirty="0">
                <a:solidFill>
                  <a:srgbClr val="313131"/>
                </a:solidFill>
                <a:ea typeface="ＭＳ Ｐゴシック" charset="-128"/>
                <a:cs typeface="+mn-cs"/>
              </a:rPr>
              <a:t>food</a:t>
            </a:r>
          </a:p>
        </p:txBody>
      </p:sp>
      <p:sp>
        <p:nvSpPr>
          <p:cNvPr id="102" name="Rectangle 106"/>
          <p:cNvSpPr>
            <a:spLocks noChangeArrowheads="1"/>
          </p:cNvSpPr>
          <p:nvPr>
            <p:custDataLst>
              <p:tags r:id="rId102"/>
            </p:custDataLst>
          </p:nvPr>
        </p:nvSpPr>
        <p:spPr bwMode="auto">
          <a:xfrm>
            <a:off x="1953000" y="3064701"/>
            <a:ext cx="216000" cy="94500"/>
          </a:xfrm>
          <a:prstGeom prst="rect">
            <a:avLst/>
          </a:prstGeom>
          <a:solidFill>
            <a:srgbClr val="575757"/>
          </a:solidFill>
          <a:ln w="12700">
            <a:solidFill>
              <a:schemeClr val="bg1"/>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104" name="Rectangle 108"/>
          <p:cNvSpPr>
            <a:spLocks noChangeArrowheads="1"/>
          </p:cNvSpPr>
          <p:nvPr>
            <p:custDataLst>
              <p:tags r:id="rId103"/>
            </p:custDataLst>
          </p:nvPr>
        </p:nvSpPr>
        <p:spPr bwMode="auto">
          <a:xfrm>
            <a:off x="2250000" y="3064701"/>
            <a:ext cx="216000" cy="94500"/>
          </a:xfrm>
          <a:prstGeom prst="rect">
            <a:avLst/>
          </a:prstGeom>
          <a:solidFill>
            <a:schemeClr val="bg1"/>
          </a:solidFill>
          <a:ln w="12700">
            <a:solidFill>
              <a:srgbClr val="8C8C8C"/>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105" name="Rectangle 109"/>
          <p:cNvSpPr>
            <a:spLocks noChangeArrowheads="1"/>
          </p:cNvSpPr>
          <p:nvPr>
            <p:custDataLst>
              <p:tags r:id="rId104"/>
            </p:custDataLst>
          </p:nvPr>
        </p:nvSpPr>
        <p:spPr bwMode="auto">
          <a:xfrm>
            <a:off x="2844000" y="3064701"/>
            <a:ext cx="216000" cy="94500"/>
          </a:xfrm>
          <a:prstGeom prst="rect">
            <a:avLst/>
          </a:prstGeom>
          <a:solidFill>
            <a:srgbClr val="575757"/>
          </a:solidFill>
          <a:ln w="12700">
            <a:solidFill>
              <a:schemeClr val="bg1"/>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106" name="Rectangle 110"/>
          <p:cNvSpPr>
            <a:spLocks noChangeArrowheads="1"/>
          </p:cNvSpPr>
          <p:nvPr>
            <p:custDataLst>
              <p:tags r:id="rId105"/>
            </p:custDataLst>
          </p:nvPr>
        </p:nvSpPr>
        <p:spPr bwMode="auto">
          <a:xfrm>
            <a:off x="3141000" y="3064701"/>
            <a:ext cx="216000" cy="94500"/>
          </a:xfrm>
          <a:prstGeom prst="rect">
            <a:avLst/>
          </a:prstGeom>
          <a:solidFill>
            <a:srgbClr val="575757"/>
          </a:solidFill>
          <a:ln w="12700">
            <a:solidFill>
              <a:schemeClr val="bg1"/>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762988" name="Rectangle 115"/>
          <p:cNvSpPr>
            <a:spLocks noChangeArrowheads="1"/>
          </p:cNvSpPr>
          <p:nvPr>
            <p:custDataLst>
              <p:tags r:id="rId106"/>
            </p:custDataLst>
          </p:nvPr>
        </p:nvSpPr>
        <p:spPr bwMode="auto">
          <a:xfrm>
            <a:off x="3438000" y="3064701"/>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192" name="Rectangle 196"/>
          <p:cNvSpPr>
            <a:spLocks noChangeArrowheads="1"/>
          </p:cNvSpPr>
          <p:nvPr>
            <p:custDataLst>
              <p:tags r:id="rId107"/>
            </p:custDataLst>
          </p:nvPr>
        </p:nvSpPr>
        <p:spPr bwMode="auto">
          <a:xfrm>
            <a:off x="2547000" y="3064701"/>
            <a:ext cx="216000" cy="94500"/>
          </a:xfrm>
          <a:prstGeom prst="rect">
            <a:avLst/>
          </a:prstGeom>
          <a:solidFill>
            <a:schemeClr val="bg1"/>
          </a:solidFill>
          <a:ln w="12700">
            <a:solidFill>
              <a:srgbClr val="8C8C8C"/>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763063" name="Rectangle 198"/>
          <p:cNvSpPr>
            <a:spLocks noChangeArrowheads="1"/>
          </p:cNvSpPr>
          <p:nvPr>
            <p:custDataLst>
              <p:tags r:id="rId108"/>
            </p:custDataLst>
          </p:nvPr>
        </p:nvSpPr>
        <p:spPr bwMode="auto">
          <a:xfrm>
            <a:off x="3735000" y="3064701"/>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762985" name="Rectangle 112"/>
          <p:cNvSpPr>
            <a:spLocks noChangeArrowheads="1"/>
          </p:cNvSpPr>
          <p:nvPr>
            <p:custDataLst>
              <p:tags r:id="rId109"/>
            </p:custDataLst>
          </p:nvPr>
        </p:nvSpPr>
        <p:spPr bwMode="auto">
          <a:xfrm>
            <a:off x="2250000" y="3172701"/>
            <a:ext cx="272912" cy="115416"/>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3rd party </a:t>
            </a:r>
            <a:br>
              <a:rPr lang="en-US" altLang="ja-JP" sz="375" kern="1200" dirty="0">
                <a:solidFill>
                  <a:srgbClr val="313131"/>
                </a:solidFill>
                <a:ea typeface="ＭＳ Ｐゴシック" charset="-128"/>
                <a:cs typeface="+mn-cs"/>
              </a:rPr>
            </a:br>
            <a:r>
              <a:rPr lang="en-US" altLang="ja-JP" sz="375" kern="1200" dirty="0">
                <a:solidFill>
                  <a:srgbClr val="313131"/>
                </a:solidFill>
                <a:ea typeface="ＭＳ Ｐゴシック" charset="-128"/>
                <a:cs typeface="+mn-cs"/>
              </a:rPr>
              <a:t>maintenance</a:t>
            </a:r>
          </a:p>
        </p:txBody>
      </p:sp>
      <p:sp>
        <p:nvSpPr>
          <p:cNvPr id="762986" name="Rectangle 113"/>
          <p:cNvSpPr>
            <a:spLocks noChangeArrowheads="1"/>
          </p:cNvSpPr>
          <p:nvPr>
            <p:custDataLst>
              <p:tags r:id="rId110"/>
            </p:custDataLst>
          </p:nvPr>
        </p:nvSpPr>
        <p:spPr bwMode="auto">
          <a:xfrm>
            <a:off x="2844001" y="3172701"/>
            <a:ext cx="305372" cy="115416"/>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Upgrades/</a:t>
            </a:r>
          </a:p>
          <a:p>
            <a:pPr defTabSz="685800">
              <a:buClrTx/>
            </a:pPr>
            <a:r>
              <a:rPr lang="en-US" altLang="ja-JP" sz="375" kern="1200" dirty="0">
                <a:solidFill>
                  <a:srgbClr val="313131"/>
                </a:solidFill>
                <a:ea typeface="ＭＳ Ｐゴシック" charset="-128"/>
                <a:cs typeface="+mn-cs"/>
              </a:rPr>
              <a:t>modifications</a:t>
            </a:r>
          </a:p>
        </p:txBody>
      </p:sp>
      <p:sp>
        <p:nvSpPr>
          <p:cNvPr id="762987" name="Rectangle 114"/>
          <p:cNvSpPr>
            <a:spLocks noChangeArrowheads="1"/>
          </p:cNvSpPr>
          <p:nvPr>
            <p:custDataLst>
              <p:tags r:id="rId111"/>
            </p:custDataLst>
          </p:nvPr>
        </p:nvSpPr>
        <p:spPr bwMode="auto">
          <a:xfrm>
            <a:off x="3141000" y="3172701"/>
            <a:ext cx="193563"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Contract </a:t>
            </a:r>
          </a:p>
        </p:txBody>
      </p:sp>
      <p:sp>
        <p:nvSpPr>
          <p:cNvPr id="762989" name="Rectangle 116"/>
          <p:cNvSpPr>
            <a:spLocks noChangeArrowheads="1"/>
          </p:cNvSpPr>
          <p:nvPr>
            <p:custDataLst>
              <p:tags r:id="rId112"/>
            </p:custDataLst>
          </p:nvPr>
        </p:nvSpPr>
        <p:spPr bwMode="auto">
          <a:xfrm>
            <a:off x="3438000" y="3172701"/>
            <a:ext cx="301766"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Time/</a:t>
            </a:r>
          </a:p>
          <a:p>
            <a:pPr defTabSz="685800">
              <a:buClrTx/>
            </a:pPr>
            <a:r>
              <a:rPr lang="en-US" altLang="ja-JP" sz="375" kern="1200" dirty="0">
                <a:solidFill>
                  <a:srgbClr val="313131"/>
                </a:solidFill>
                <a:ea typeface="ＭＳ Ｐゴシック" charset="-128"/>
                <a:cs typeface="+mn-cs"/>
              </a:rPr>
              <a:t>material </a:t>
            </a:r>
          </a:p>
        </p:txBody>
      </p:sp>
      <p:sp>
        <p:nvSpPr>
          <p:cNvPr id="762990" name="Rectangle 117"/>
          <p:cNvSpPr>
            <a:spLocks noChangeArrowheads="1"/>
          </p:cNvSpPr>
          <p:nvPr>
            <p:custDataLst>
              <p:tags r:id="rId113"/>
            </p:custDataLst>
          </p:nvPr>
        </p:nvSpPr>
        <p:spPr bwMode="auto">
          <a:xfrm>
            <a:off x="1953000" y="3172701"/>
            <a:ext cx="272912" cy="115416"/>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 Own </a:t>
            </a:r>
            <a:br>
              <a:rPr lang="en-US" altLang="ja-JP" sz="375" kern="1200" dirty="0">
                <a:solidFill>
                  <a:srgbClr val="313131"/>
                </a:solidFill>
                <a:ea typeface="ＭＳ Ｐゴシック" charset="-128"/>
                <a:cs typeface="+mn-cs"/>
              </a:rPr>
            </a:br>
            <a:r>
              <a:rPr lang="en-US" altLang="ja-JP" sz="375" kern="1200" dirty="0">
                <a:solidFill>
                  <a:srgbClr val="313131"/>
                </a:solidFill>
                <a:ea typeface="ＭＳ Ｐゴシック" charset="-128"/>
                <a:cs typeface="+mn-cs"/>
              </a:rPr>
              <a:t>maintenance</a:t>
            </a:r>
          </a:p>
        </p:txBody>
      </p:sp>
      <p:sp>
        <p:nvSpPr>
          <p:cNvPr id="763062" name="Rectangle 197"/>
          <p:cNvSpPr>
            <a:spLocks noChangeArrowheads="1"/>
          </p:cNvSpPr>
          <p:nvPr>
            <p:custDataLst>
              <p:tags r:id="rId114"/>
            </p:custDataLst>
          </p:nvPr>
        </p:nvSpPr>
        <p:spPr bwMode="auto">
          <a:xfrm>
            <a:off x="2547000" y="3172701"/>
            <a:ext cx="220013" cy="115416"/>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Customer </a:t>
            </a:r>
            <a:br>
              <a:rPr lang="en-US" altLang="ja-JP" sz="375" kern="1200" dirty="0">
                <a:solidFill>
                  <a:srgbClr val="313131"/>
                </a:solidFill>
                <a:ea typeface="ＭＳ Ｐゴシック" charset="-128"/>
                <a:cs typeface="+mn-cs"/>
              </a:rPr>
            </a:br>
            <a:r>
              <a:rPr lang="en-US" altLang="ja-JP" sz="375" kern="1200" dirty="0">
                <a:solidFill>
                  <a:srgbClr val="313131"/>
                </a:solidFill>
                <a:ea typeface="ＭＳ Ｐゴシック" charset="-128"/>
                <a:cs typeface="+mn-cs"/>
              </a:rPr>
              <a:t>DIY</a:t>
            </a:r>
          </a:p>
        </p:txBody>
      </p:sp>
      <p:sp>
        <p:nvSpPr>
          <p:cNvPr id="763064" name="Rectangle 199"/>
          <p:cNvSpPr>
            <a:spLocks noChangeArrowheads="1"/>
          </p:cNvSpPr>
          <p:nvPr>
            <p:custDataLst>
              <p:tags r:id="rId115"/>
            </p:custDataLst>
          </p:nvPr>
        </p:nvSpPr>
        <p:spPr bwMode="auto">
          <a:xfrm>
            <a:off x="3735000" y="3172701"/>
            <a:ext cx="127439" cy="115416"/>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Spare</a:t>
            </a:r>
            <a:br>
              <a:rPr lang="en-US" altLang="ja-JP" sz="375" kern="1200" dirty="0">
                <a:solidFill>
                  <a:srgbClr val="313131"/>
                </a:solidFill>
                <a:ea typeface="ＭＳ Ｐゴシック" charset="-128"/>
                <a:cs typeface="+mn-cs"/>
              </a:rPr>
            </a:br>
            <a:r>
              <a:rPr lang="en-US" altLang="ja-JP" sz="375" kern="1200" dirty="0">
                <a:solidFill>
                  <a:srgbClr val="313131"/>
                </a:solidFill>
                <a:ea typeface="ＭＳ Ｐゴシック" charset="-128"/>
                <a:cs typeface="+mn-cs"/>
              </a:rPr>
              <a:t>parts </a:t>
            </a:r>
          </a:p>
        </p:txBody>
      </p:sp>
      <p:sp>
        <p:nvSpPr>
          <p:cNvPr id="763053" name="Rectangle 187"/>
          <p:cNvSpPr>
            <a:spLocks noChangeArrowheads="1"/>
          </p:cNvSpPr>
          <p:nvPr>
            <p:custDataLst>
              <p:tags r:id="rId116"/>
            </p:custDataLst>
          </p:nvPr>
        </p:nvSpPr>
        <p:spPr bwMode="auto">
          <a:xfrm>
            <a:off x="5517000" y="2276976"/>
            <a:ext cx="217608"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Wrapping </a:t>
            </a:r>
          </a:p>
        </p:txBody>
      </p:sp>
      <p:sp>
        <p:nvSpPr>
          <p:cNvPr id="763057" name="Rectangle 191"/>
          <p:cNvSpPr>
            <a:spLocks noChangeArrowheads="1"/>
          </p:cNvSpPr>
          <p:nvPr>
            <p:custDataLst>
              <p:tags r:id="rId117"/>
            </p:custDataLst>
          </p:nvPr>
        </p:nvSpPr>
        <p:spPr bwMode="auto">
          <a:xfrm>
            <a:off x="5220000" y="2276976"/>
            <a:ext cx="173124"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Sealing </a:t>
            </a:r>
          </a:p>
        </p:txBody>
      </p:sp>
      <p:sp>
        <p:nvSpPr>
          <p:cNvPr id="763059" name="Rectangle 194"/>
          <p:cNvSpPr>
            <a:spLocks noChangeArrowheads="1"/>
          </p:cNvSpPr>
          <p:nvPr>
            <p:custDataLst>
              <p:tags r:id="rId118"/>
            </p:custDataLst>
          </p:nvPr>
        </p:nvSpPr>
        <p:spPr bwMode="auto">
          <a:xfrm>
            <a:off x="4923000" y="2276976"/>
            <a:ext cx="236844"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a:solidFill>
                  <a:srgbClr val="313131"/>
                </a:solidFill>
                <a:ea typeface="ＭＳ Ｐゴシック" charset="-128"/>
                <a:cs typeface="+mn-cs"/>
              </a:rPr>
              <a:t>Filling lines</a:t>
            </a:r>
          </a:p>
        </p:txBody>
      </p:sp>
      <p:sp>
        <p:nvSpPr>
          <p:cNvPr id="763069" name="Rectangle 207"/>
          <p:cNvSpPr>
            <a:spLocks noChangeArrowheads="1"/>
          </p:cNvSpPr>
          <p:nvPr>
            <p:custDataLst>
              <p:tags r:id="rId119"/>
            </p:custDataLst>
          </p:nvPr>
        </p:nvSpPr>
        <p:spPr bwMode="auto">
          <a:xfrm>
            <a:off x="1953001" y="2276976"/>
            <a:ext cx="334226" cy="115416"/>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Freezers </a:t>
            </a:r>
            <a:br>
              <a:rPr lang="en-US" altLang="ja-JP" sz="375" kern="1200" dirty="0">
                <a:solidFill>
                  <a:srgbClr val="313131"/>
                </a:solidFill>
                <a:ea typeface="ＭＳ Ｐゴシック" charset="-128"/>
                <a:cs typeface="+mn-cs"/>
              </a:rPr>
            </a:br>
            <a:r>
              <a:rPr lang="en-US" altLang="ja-JP" sz="375" kern="1200" dirty="0">
                <a:solidFill>
                  <a:srgbClr val="313131"/>
                </a:solidFill>
                <a:ea typeface="ＭＳ Ｐゴシック" charset="-128"/>
                <a:cs typeface="+mn-cs"/>
              </a:rPr>
              <a:t>&amp; </a:t>
            </a:r>
            <a:r>
              <a:rPr lang="en-US" altLang="ja-JP" sz="375" kern="1200" dirty="0" err="1">
                <a:solidFill>
                  <a:srgbClr val="313131"/>
                </a:solidFill>
                <a:ea typeface="ＭＳ Ｐゴシック" charset="-128"/>
                <a:cs typeface="+mn-cs"/>
              </a:rPr>
              <a:t>refrig</a:t>
            </a:r>
            <a:r>
              <a:rPr lang="en-US" altLang="ja-JP" sz="375" kern="1200" dirty="0">
                <a:solidFill>
                  <a:srgbClr val="313131"/>
                </a:solidFill>
                <a:ea typeface="ＭＳ Ｐゴシック" charset="-128"/>
                <a:cs typeface="+mn-cs"/>
              </a:rPr>
              <a:t>.</a:t>
            </a:r>
          </a:p>
        </p:txBody>
      </p:sp>
      <p:sp>
        <p:nvSpPr>
          <p:cNvPr id="763070" name="Rectangle 208"/>
          <p:cNvSpPr>
            <a:spLocks noChangeArrowheads="1"/>
          </p:cNvSpPr>
          <p:nvPr>
            <p:custDataLst>
              <p:tags r:id="rId120"/>
            </p:custDataLst>
          </p:nvPr>
        </p:nvSpPr>
        <p:spPr bwMode="auto">
          <a:xfrm>
            <a:off x="3438000" y="2276976"/>
            <a:ext cx="241653"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Automation</a:t>
            </a:r>
          </a:p>
        </p:txBody>
      </p:sp>
      <p:sp>
        <p:nvSpPr>
          <p:cNvPr id="763071" name="Rectangle 209"/>
          <p:cNvSpPr>
            <a:spLocks noChangeArrowheads="1"/>
          </p:cNvSpPr>
          <p:nvPr>
            <p:custDataLst>
              <p:tags r:id="rId121"/>
            </p:custDataLst>
          </p:nvPr>
        </p:nvSpPr>
        <p:spPr bwMode="auto">
          <a:xfrm>
            <a:off x="3141000" y="2276976"/>
            <a:ext cx="217608" cy="115416"/>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Conveyer </a:t>
            </a:r>
            <a:br>
              <a:rPr lang="en-US" altLang="ja-JP" sz="375" kern="1200" dirty="0">
                <a:solidFill>
                  <a:srgbClr val="313131"/>
                </a:solidFill>
                <a:ea typeface="ＭＳ Ｐゴシック" charset="-128"/>
                <a:cs typeface="+mn-cs"/>
              </a:rPr>
            </a:br>
            <a:r>
              <a:rPr lang="en-US" altLang="ja-JP" sz="375" kern="1200" dirty="0">
                <a:solidFill>
                  <a:srgbClr val="313131"/>
                </a:solidFill>
                <a:ea typeface="ＭＳ Ｐゴシック" charset="-128"/>
                <a:cs typeface="+mn-cs"/>
              </a:rPr>
              <a:t>systems </a:t>
            </a:r>
          </a:p>
        </p:txBody>
      </p:sp>
      <p:sp>
        <p:nvSpPr>
          <p:cNvPr id="763072" name="Rectangle 210"/>
          <p:cNvSpPr>
            <a:spLocks noChangeArrowheads="1"/>
          </p:cNvSpPr>
          <p:nvPr>
            <p:custDataLst>
              <p:tags r:id="rId122"/>
            </p:custDataLst>
          </p:nvPr>
        </p:nvSpPr>
        <p:spPr bwMode="auto">
          <a:xfrm>
            <a:off x="2250000" y="2276976"/>
            <a:ext cx="244058" cy="173124"/>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Aseptic </a:t>
            </a:r>
            <a:br>
              <a:rPr lang="en-US" altLang="ja-JP" sz="375" kern="1200" dirty="0">
                <a:solidFill>
                  <a:srgbClr val="313131"/>
                </a:solidFill>
                <a:ea typeface="ＭＳ Ｐゴシック" charset="-128"/>
                <a:cs typeface="+mn-cs"/>
              </a:rPr>
            </a:br>
            <a:r>
              <a:rPr lang="en-US" altLang="ja-JP" sz="375" kern="1200" dirty="0">
                <a:solidFill>
                  <a:srgbClr val="313131"/>
                </a:solidFill>
                <a:ea typeface="ＭＳ Ｐゴシック" charset="-128"/>
                <a:cs typeface="+mn-cs"/>
              </a:rPr>
              <a:t>processing</a:t>
            </a:r>
          </a:p>
        </p:txBody>
      </p:sp>
      <p:sp>
        <p:nvSpPr>
          <p:cNvPr id="763073" name="Rectangle 211"/>
          <p:cNvSpPr>
            <a:spLocks noChangeArrowheads="1"/>
          </p:cNvSpPr>
          <p:nvPr>
            <p:custDataLst>
              <p:tags r:id="rId123"/>
            </p:custDataLst>
          </p:nvPr>
        </p:nvSpPr>
        <p:spPr bwMode="auto">
          <a:xfrm>
            <a:off x="2844000" y="2276976"/>
            <a:ext cx="222417" cy="173124"/>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Blow </a:t>
            </a:r>
            <a:br>
              <a:rPr lang="en-US" altLang="ja-JP" sz="375" kern="1200" dirty="0">
                <a:solidFill>
                  <a:srgbClr val="313131"/>
                </a:solidFill>
                <a:ea typeface="ＭＳ Ｐゴシック" charset="-128"/>
                <a:cs typeface="+mn-cs"/>
              </a:rPr>
            </a:br>
            <a:r>
              <a:rPr lang="en-US" altLang="ja-JP" sz="375" kern="1200" dirty="0">
                <a:solidFill>
                  <a:srgbClr val="313131"/>
                </a:solidFill>
                <a:ea typeface="ＭＳ Ｐゴシック" charset="-128"/>
                <a:cs typeface="+mn-cs"/>
              </a:rPr>
              <a:t>molding</a:t>
            </a:r>
          </a:p>
        </p:txBody>
      </p:sp>
      <p:sp>
        <p:nvSpPr>
          <p:cNvPr id="763075" name="Rectangle 213"/>
          <p:cNvSpPr>
            <a:spLocks noChangeArrowheads="1"/>
          </p:cNvSpPr>
          <p:nvPr>
            <p:custDataLst>
              <p:tags r:id="rId124"/>
            </p:custDataLst>
          </p:nvPr>
        </p:nvSpPr>
        <p:spPr bwMode="auto">
          <a:xfrm>
            <a:off x="2547000" y="2276976"/>
            <a:ext cx="235642" cy="115416"/>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Filtration </a:t>
            </a:r>
            <a:br>
              <a:rPr lang="en-US" altLang="ja-JP" sz="375" kern="1200" dirty="0">
                <a:solidFill>
                  <a:srgbClr val="313131"/>
                </a:solidFill>
                <a:ea typeface="ＭＳ Ｐゴシック" charset="-128"/>
                <a:cs typeface="+mn-cs"/>
              </a:rPr>
            </a:br>
            <a:r>
              <a:rPr lang="en-US" altLang="ja-JP" sz="375" kern="1200" dirty="0">
                <a:solidFill>
                  <a:srgbClr val="313131"/>
                </a:solidFill>
                <a:ea typeface="ＭＳ Ｐゴシック" charset="-128"/>
                <a:cs typeface="+mn-cs"/>
              </a:rPr>
              <a:t>equipment </a:t>
            </a:r>
          </a:p>
        </p:txBody>
      </p:sp>
      <p:sp>
        <p:nvSpPr>
          <p:cNvPr id="763076" name="Rectangle 214"/>
          <p:cNvSpPr>
            <a:spLocks noChangeArrowheads="1"/>
          </p:cNvSpPr>
          <p:nvPr>
            <p:custDataLst>
              <p:tags r:id="rId125"/>
            </p:custDataLst>
          </p:nvPr>
        </p:nvSpPr>
        <p:spPr bwMode="auto">
          <a:xfrm>
            <a:off x="3735000" y="2276976"/>
            <a:ext cx="355867" cy="57708"/>
          </a:xfrm>
          <a:prstGeom prst="rect">
            <a:avLst/>
          </a:prstGeom>
          <a:noFill/>
          <a:ln w="9525">
            <a:noFill/>
            <a:miter lim="800000"/>
            <a:headEnd/>
            <a:tailEnd/>
          </a:ln>
        </p:spPr>
        <p:txBody>
          <a:bodyPr wrap="none" lIns="0" tIns="0" rIns="0" bIns="0" anchor="t" anchorCtr="0">
            <a:noAutofit/>
          </a:bodyPr>
          <a:lstStyle/>
          <a:p>
            <a:pPr defTabSz="685800">
              <a:buClrTx/>
            </a:pPr>
            <a:r>
              <a:rPr lang="en-US" altLang="ja-JP" sz="375" kern="1200" dirty="0">
                <a:solidFill>
                  <a:srgbClr val="313131"/>
                </a:solidFill>
                <a:ea typeface="ＭＳ Ｐゴシック" charset="-128"/>
                <a:cs typeface="+mn-cs"/>
              </a:rPr>
              <a:t>Control systems </a:t>
            </a:r>
          </a:p>
        </p:txBody>
      </p:sp>
      <p:sp>
        <p:nvSpPr>
          <p:cNvPr id="763084" name="Rectangle 238"/>
          <p:cNvSpPr>
            <a:spLocks noChangeArrowheads="1"/>
          </p:cNvSpPr>
          <p:nvPr>
            <p:custDataLst>
              <p:tags r:id="rId126"/>
            </p:custDataLst>
          </p:nvPr>
        </p:nvSpPr>
        <p:spPr bwMode="auto">
          <a:xfrm>
            <a:off x="7089473" y="4163966"/>
            <a:ext cx="216000" cy="94500"/>
          </a:xfrm>
          <a:prstGeom prst="rect">
            <a:avLst/>
          </a:prstGeom>
          <a:solidFill>
            <a:srgbClr val="B4B4B4"/>
          </a:solidFill>
          <a:ln w="12700">
            <a:solidFill>
              <a:schemeClr val="bg1"/>
            </a:solidFill>
            <a:miter lim="800000"/>
            <a:headEnd/>
            <a:tailEnd/>
          </a:ln>
        </p:spPr>
        <p:txBody>
          <a:bodyPr wrap="none" anchor="ctr"/>
          <a:lstStyle/>
          <a:p>
            <a:pPr defTabSz="685800">
              <a:buClrTx/>
            </a:pPr>
            <a:endParaRPr lang="en-US" sz="1350" kern="1200">
              <a:solidFill>
                <a:srgbClr val="313131"/>
              </a:solidFill>
              <a:ea typeface="+mn-ea"/>
              <a:cs typeface="+mn-cs"/>
            </a:endParaRPr>
          </a:p>
        </p:txBody>
      </p:sp>
      <p:sp>
        <p:nvSpPr>
          <p:cNvPr id="763088" name="Rectangle 242"/>
          <p:cNvSpPr>
            <a:spLocks noChangeArrowheads="1"/>
          </p:cNvSpPr>
          <p:nvPr>
            <p:custDataLst>
              <p:tags r:id="rId127"/>
            </p:custDataLst>
          </p:nvPr>
        </p:nvSpPr>
        <p:spPr bwMode="auto">
          <a:xfrm>
            <a:off x="7385938" y="4182362"/>
            <a:ext cx="259686" cy="57708"/>
          </a:xfrm>
          <a:prstGeom prst="rect">
            <a:avLst/>
          </a:prstGeom>
          <a:noFill/>
          <a:ln w="9525">
            <a:noFill/>
            <a:miter lim="800000"/>
            <a:headEnd/>
            <a:tailEnd/>
          </a:ln>
        </p:spPr>
        <p:txBody>
          <a:bodyPr wrap="none" lIns="0" tIns="0" rIns="0" bIns="0" anchor="ctr" anchorCtr="0">
            <a:spAutoFit/>
          </a:bodyPr>
          <a:lstStyle/>
          <a:p>
            <a:pPr defTabSz="685800">
              <a:buClrTx/>
            </a:pPr>
            <a:r>
              <a:rPr lang="en-US" altLang="ja-JP" sz="375" kern="1200" dirty="0">
                <a:solidFill>
                  <a:srgbClr val="313131"/>
                </a:solidFill>
                <a:ea typeface="ＭＳ Ｐゴシック" charset="-128"/>
                <a:cs typeface="+mn-cs"/>
              </a:rPr>
              <a:t>Advantaged</a:t>
            </a:r>
          </a:p>
        </p:txBody>
      </p:sp>
      <p:sp>
        <p:nvSpPr>
          <p:cNvPr id="763085" name="Rectangle 239"/>
          <p:cNvSpPr>
            <a:spLocks noChangeArrowheads="1"/>
          </p:cNvSpPr>
          <p:nvPr>
            <p:custDataLst>
              <p:tags r:id="rId128"/>
            </p:custDataLst>
          </p:nvPr>
        </p:nvSpPr>
        <p:spPr bwMode="auto">
          <a:xfrm>
            <a:off x="7089473" y="4316366"/>
            <a:ext cx="216000" cy="94500"/>
          </a:xfrm>
          <a:prstGeom prst="rect">
            <a:avLst/>
          </a:prstGeom>
          <a:solidFill>
            <a:srgbClr val="00A1DE"/>
          </a:solidFill>
          <a:ln w="12700">
            <a:solidFill>
              <a:schemeClr val="bg1"/>
            </a:solidFill>
            <a:miter lim="800000"/>
            <a:headEnd/>
            <a:tailEnd/>
          </a:ln>
        </p:spPr>
        <p:txBody>
          <a:bodyPr wrap="none" anchor="ctr"/>
          <a:lstStyle/>
          <a:p>
            <a:pPr defTabSz="685800">
              <a:buClrTx/>
            </a:pPr>
            <a:endParaRPr lang="en-US" sz="1350" kern="1200">
              <a:solidFill>
                <a:srgbClr val="313131"/>
              </a:solidFill>
              <a:ea typeface="+mn-ea"/>
              <a:cs typeface="+mn-cs"/>
            </a:endParaRPr>
          </a:p>
        </p:txBody>
      </p:sp>
      <p:sp>
        <p:nvSpPr>
          <p:cNvPr id="763089" name="Rectangle 243"/>
          <p:cNvSpPr>
            <a:spLocks noChangeArrowheads="1"/>
          </p:cNvSpPr>
          <p:nvPr>
            <p:custDataLst>
              <p:tags r:id="rId129"/>
            </p:custDataLst>
          </p:nvPr>
        </p:nvSpPr>
        <p:spPr bwMode="auto">
          <a:xfrm>
            <a:off x="7385938" y="4334762"/>
            <a:ext cx="157094" cy="57708"/>
          </a:xfrm>
          <a:prstGeom prst="rect">
            <a:avLst/>
          </a:prstGeom>
          <a:noFill/>
          <a:ln w="9525">
            <a:noFill/>
            <a:miter lim="800000"/>
            <a:headEnd/>
            <a:tailEnd/>
          </a:ln>
        </p:spPr>
        <p:txBody>
          <a:bodyPr wrap="none" lIns="0" tIns="0" rIns="0" bIns="0" anchor="ctr" anchorCtr="0">
            <a:spAutoFit/>
          </a:bodyPr>
          <a:lstStyle/>
          <a:p>
            <a:pPr defTabSz="685800">
              <a:buClrTx/>
            </a:pPr>
            <a:r>
              <a:rPr lang="en-US" altLang="ja-JP" sz="375" kern="1200" dirty="0">
                <a:solidFill>
                  <a:srgbClr val="313131"/>
                </a:solidFill>
                <a:ea typeface="ＭＳ Ｐゴシック" charset="-128"/>
                <a:cs typeface="+mn-cs"/>
              </a:rPr>
              <a:t>Neutral</a:t>
            </a:r>
          </a:p>
        </p:txBody>
      </p:sp>
      <p:sp>
        <p:nvSpPr>
          <p:cNvPr id="234" name="Rectangle 240"/>
          <p:cNvSpPr>
            <a:spLocks noChangeArrowheads="1"/>
          </p:cNvSpPr>
          <p:nvPr>
            <p:custDataLst>
              <p:tags r:id="rId130"/>
            </p:custDataLst>
          </p:nvPr>
        </p:nvSpPr>
        <p:spPr bwMode="auto">
          <a:xfrm>
            <a:off x="7089473" y="4468766"/>
            <a:ext cx="216000" cy="94500"/>
          </a:xfrm>
          <a:prstGeom prst="rect">
            <a:avLst/>
          </a:prstGeom>
          <a:solidFill>
            <a:srgbClr val="575757"/>
          </a:solidFill>
          <a:ln w="12700">
            <a:solidFill>
              <a:schemeClr val="bg1"/>
            </a:solidFill>
            <a:miter lim="800000"/>
            <a:headEnd/>
            <a:tailEnd/>
          </a:ln>
        </p:spPr>
        <p:txBody>
          <a:bodyPr wrap="none" anchor="ctr"/>
          <a:lstStyle/>
          <a:p>
            <a:pPr defTabSz="685800">
              <a:buClrTx/>
              <a:defRPr/>
            </a:pPr>
            <a:endParaRPr lang="en-US" sz="1350" kern="1200" dirty="0">
              <a:solidFill>
                <a:srgbClr val="313131"/>
              </a:solidFill>
              <a:ea typeface="+mn-ea"/>
              <a:cs typeface="+mn-cs"/>
            </a:endParaRPr>
          </a:p>
        </p:txBody>
      </p:sp>
      <p:sp>
        <p:nvSpPr>
          <p:cNvPr id="763090" name="Rectangle 244"/>
          <p:cNvSpPr>
            <a:spLocks noChangeArrowheads="1"/>
          </p:cNvSpPr>
          <p:nvPr>
            <p:custDataLst>
              <p:tags r:id="rId131"/>
            </p:custDataLst>
          </p:nvPr>
        </p:nvSpPr>
        <p:spPr bwMode="auto">
          <a:xfrm>
            <a:off x="7385938" y="4487162"/>
            <a:ext cx="325410" cy="57708"/>
          </a:xfrm>
          <a:prstGeom prst="rect">
            <a:avLst/>
          </a:prstGeom>
          <a:noFill/>
          <a:ln w="9525">
            <a:noFill/>
            <a:miter lim="800000"/>
            <a:headEnd/>
            <a:tailEnd/>
          </a:ln>
        </p:spPr>
        <p:txBody>
          <a:bodyPr wrap="none" lIns="0" tIns="0" rIns="0" bIns="0" anchor="ctr" anchorCtr="0">
            <a:spAutoFit/>
          </a:bodyPr>
          <a:lstStyle/>
          <a:p>
            <a:pPr defTabSz="685800">
              <a:buClrTx/>
            </a:pPr>
            <a:r>
              <a:rPr lang="en-US" altLang="ja-JP" sz="375" kern="1200" dirty="0">
                <a:solidFill>
                  <a:srgbClr val="313131"/>
                </a:solidFill>
                <a:ea typeface="ＭＳ Ｐゴシック" charset="-128"/>
                <a:cs typeface="+mn-cs"/>
              </a:rPr>
              <a:t>Disadvantaged</a:t>
            </a:r>
          </a:p>
        </p:txBody>
      </p:sp>
      <p:sp>
        <p:nvSpPr>
          <p:cNvPr id="235" name="Rectangle 241"/>
          <p:cNvSpPr>
            <a:spLocks noChangeArrowheads="1"/>
          </p:cNvSpPr>
          <p:nvPr>
            <p:custDataLst>
              <p:tags r:id="rId132"/>
            </p:custDataLst>
          </p:nvPr>
        </p:nvSpPr>
        <p:spPr bwMode="auto">
          <a:xfrm>
            <a:off x="7089473" y="4637044"/>
            <a:ext cx="216000" cy="94500"/>
          </a:xfrm>
          <a:prstGeom prst="rect">
            <a:avLst/>
          </a:prstGeom>
          <a:solidFill>
            <a:schemeClr val="bg1"/>
          </a:solidFill>
          <a:ln w="12700">
            <a:solidFill>
              <a:srgbClr val="8C8C8C"/>
            </a:solidFill>
            <a:miter lim="800000"/>
            <a:headEnd/>
            <a:tailEnd/>
          </a:ln>
        </p:spPr>
        <p:txBody>
          <a:bodyPr wrap="none" anchor="ctr"/>
          <a:lstStyle/>
          <a:p>
            <a:pPr defTabSz="685800">
              <a:buClrTx/>
              <a:defRPr/>
            </a:pPr>
            <a:endParaRPr lang="en-US" sz="1350" kern="1200" dirty="0">
              <a:solidFill>
                <a:srgbClr val="313131"/>
              </a:solidFill>
              <a:ea typeface="+mn-ea"/>
              <a:cs typeface="+mn-cs"/>
            </a:endParaRPr>
          </a:p>
        </p:txBody>
      </p:sp>
      <p:sp>
        <p:nvSpPr>
          <p:cNvPr id="763091" name="Rectangle 245"/>
          <p:cNvSpPr>
            <a:spLocks noChangeArrowheads="1"/>
          </p:cNvSpPr>
          <p:nvPr>
            <p:custDataLst>
              <p:tags r:id="rId133"/>
            </p:custDataLst>
          </p:nvPr>
        </p:nvSpPr>
        <p:spPr bwMode="auto">
          <a:xfrm>
            <a:off x="7385938" y="4655440"/>
            <a:ext cx="243656" cy="57708"/>
          </a:xfrm>
          <a:prstGeom prst="rect">
            <a:avLst/>
          </a:prstGeom>
          <a:noFill/>
          <a:ln w="9525">
            <a:noFill/>
            <a:miter lim="800000"/>
            <a:headEnd/>
            <a:tailEnd/>
          </a:ln>
        </p:spPr>
        <p:txBody>
          <a:bodyPr wrap="none" lIns="0" tIns="0" rIns="0" bIns="0" anchor="ctr" anchorCtr="0">
            <a:spAutoFit/>
          </a:bodyPr>
          <a:lstStyle/>
          <a:p>
            <a:pPr defTabSz="685800">
              <a:buClrTx/>
            </a:pPr>
            <a:r>
              <a:rPr lang="en-US" altLang="ja-JP" sz="375" kern="1200">
                <a:solidFill>
                  <a:srgbClr val="313131"/>
                </a:solidFill>
                <a:ea typeface="ＭＳ Ｐゴシック" charset="-128"/>
                <a:cs typeface="+mn-cs"/>
              </a:rPr>
              <a:t>No position</a:t>
            </a:r>
          </a:p>
        </p:txBody>
      </p:sp>
      <p:sp>
        <p:nvSpPr>
          <p:cNvPr id="762903" name="Rectangle 21"/>
          <p:cNvSpPr>
            <a:spLocks noChangeArrowheads="1"/>
          </p:cNvSpPr>
          <p:nvPr>
            <p:custDataLst>
              <p:tags r:id="rId134"/>
            </p:custDataLst>
          </p:nvPr>
        </p:nvSpPr>
        <p:spPr bwMode="auto">
          <a:xfrm>
            <a:off x="1953000" y="4450420"/>
            <a:ext cx="216000" cy="94500"/>
          </a:xfrm>
          <a:prstGeom prst="rect">
            <a:avLst/>
          </a:prstGeom>
          <a:solidFill>
            <a:srgbClr val="575757"/>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762904" name="Rectangle 23"/>
          <p:cNvSpPr>
            <a:spLocks noChangeArrowheads="1"/>
          </p:cNvSpPr>
          <p:nvPr>
            <p:custDataLst>
              <p:tags r:id="rId135"/>
            </p:custDataLst>
          </p:nvPr>
        </p:nvSpPr>
        <p:spPr bwMode="auto">
          <a:xfrm>
            <a:off x="2547000" y="4450420"/>
            <a:ext cx="216000" cy="94500"/>
          </a:xfrm>
          <a:prstGeom prst="rect">
            <a:avLst/>
          </a:prstGeom>
          <a:solidFill>
            <a:srgbClr val="575757"/>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762905" name="Rectangle 24"/>
          <p:cNvSpPr>
            <a:spLocks noChangeArrowheads="1"/>
          </p:cNvSpPr>
          <p:nvPr>
            <p:custDataLst>
              <p:tags r:id="rId136"/>
            </p:custDataLst>
          </p:nvPr>
        </p:nvSpPr>
        <p:spPr bwMode="auto">
          <a:xfrm>
            <a:off x="2844000" y="4450420"/>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25" name="Rectangle 25"/>
          <p:cNvSpPr>
            <a:spLocks noChangeArrowheads="1"/>
          </p:cNvSpPr>
          <p:nvPr>
            <p:custDataLst>
              <p:tags r:id="rId137"/>
            </p:custDataLst>
          </p:nvPr>
        </p:nvSpPr>
        <p:spPr bwMode="auto">
          <a:xfrm>
            <a:off x="3141000" y="4450420"/>
            <a:ext cx="216000" cy="94500"/>
          </a:xfrm>
          <a:prstGeom prst="rect">
            <a:avLst/>
          </a:prstGeom>
          <a:solidFill>
            <a:schemeClr val="bg1"/>
          </a:solidFill>
          <a:ln w="12700">
            <a:solidFill>
              <a:srgbClr val="8C8C8C"/>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26" name="Rectangle 26"/>
          <p:cNvSpPr>
            <a:spLocks noChangeArrowheads="1"/>
          </p:cNvSpPr>
          <p:nvPr>
            <p:custDataLst>
              <p:tags r:id="rId138"/>
            </p:custDataLst>
          </p:nvPr>
        </p:nvSpPr>
        <p:spPr bwMode="auto">
          <a:xfrm>
            <a:off x="3438000" y="4450420"/>
            <a:ext cx="216000" cy="94500"/>
          </a:xfrm>
          <a:prstGeom prst="rect">
            <a:avLst/>
          </a:prstGeom>
          <a:solidFill>
            <a:schemeClr val="bg1"/>
          </a:solidFill>
          <a:ln w="12700">
            <a:solidFill>
              <a:srgbClr val="8C8C8C"/>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27" name="Rectangle 27"/>
          <p:cNvSpPr>
            <a:spLocks noChangeArrowheads="1"/>
          </p:cNvSpPr>
          <p:nvPr>
            <p:custDataLst>
              <p:tags r:id="rId139"/>
            </p:custDataLst>
          </p:nvPr>
        </p:nvSpPr>
        <p:spPr bwMode="auto">
          <a:xfrm>
            <a:off x="3735000" y="4450420"/>
            <a:ext cx="216000" cy="94500"/>
          </a:xfrm>
          <a:prstGeom prst="rect">
            <a:avLst/>
          </a:prstGeom>
          <a:solidFill>
            <a:srgbClr val="575757"/>
          </a:solidFill>
          <a:ln w="12700">
            <a:solidFill>
              <a:schemeClr val="bg1"/>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258" name="Rectangle 266"/>
          <p:cNvSpPr>
            <a:spLocks noChangeArrowheads="1"/>
          </p:cNvSpPr>
          <p:nvPr>
            <p:custDataLst>
              <p:tags r:id="rId140"/>
            </p:custDataLst>
          </p:nvPr>
        </p:nvSpPr>
        <p:spPr bwMode="auto">
          <a:xfrm>
            <a:off x="4032000" y="4450420"/>
            <a:ext cx="216000" cy="94500"/>
          </a:xfrm>
          <a:prstGeom prst="rect">
            <a:avLst/>
          </a:prstGeom>
          <a:solidFill>
            <a:srgbClr val="575757"/>
          </a:solidFill>
          <a:ln w="12700">
            <a:solidFill>
              <a:schemeClr val="bg1"/>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763104" name="Rectangle 21"/>
          <p:cNvSpPr>
            <a:spLocks noChangeArrowheads="1"/>
          </p:cNvSpPr>
          <p:nvPr>
            <p:custDataLst>
              <p:tags r:id="rId141"/>
            </p:custDataLst>
          </p:nvPr>
        </p:nvSpPr>
        <p:spPr bwMode="auto">
          <a:xfrm>
            <a:off x="2250000" y="4450420"/>
            <a:ext cx="216000" cy="94500"/>
          </a:xfrm>
          <a:prstGeom prst="rect">
            <a:avLst/>
          </a:prstGeom>
          <a:solidFill>
            <a:srgbClr val="575757"/>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281" name="Line 60"/>
          <p:cNvSpPr>
            <a:spLocks noChangeShapeType="1"/>
          </p:cNvSpPr>
          <p:nvPr>
            <p:custDataLst>
              <p:tags r:id="rId142"/>
            </p:custDataLst>
          </p:nvPr>
        </p:nvSpPr>
        <p:spPr bwMode="auto">
          <a:xfrm>
            <a:off x="1953000" y="1134000"/>
            <a:ext cx="2904750" cy="0"/>
          </a:xfrm>
          <a:prstGeom prst="line">
            <a:avLst/>
          </a:prstGeom>
          <a:noFill/>
          <a:ln w="19050">
            <a:solidFill>
              <a:schemeClr val="accent1"/>
            </a:solidFill>
            <a:round/>
            <a:headEnd type="none" w="sm" len="sm"/>
            <a:tailEnd type="none" w="sm" len="sm"/>
          </a:ln>
        </p:spPr>
        <p:txBody>
          <a:bodyPr wrap="none" anchor="ctr"/>
          <a:lstStyle/>
          <a:p>
            <a:pPr defTabSz="685800">
              <a:buClrTx/>
              <a:defRPr/>
            </a:pPr>
            <a:endParaRPr lang="en-US" sz="1350" kern="1200" dirty="0">
              <a:solidFill>
                <a:srgbClr val="313131"/>
              </a:solidFill>
              <a:ea typeface="+mn-ea"/>
              <a:cs typeface="+mn-cs"/>
            </a:endParaRPr>
          </a:p>
        </p:txBody>
      </p:sp>
      <p:sp>
        <p:nvSpPr>
          <p:cNvPr id="282" name="Line 61"/>
          <p:cNvSpPr>
            <a:spLocks noChangeShapeType="1"/>
          </p:cNvSpPr>
          <p:nvPr>
            <p:custDataLst>
              <p:tags r:id="rId143"/>
            </p:custDataLst>
          </p:nvPr>
        </p:nvSpPr>
        <p:spPr bwMode="auto">
          <a:xfrm>
            <a:off x="4923000" y="1134000"/>
            <a:ext cx="1127756" cy="0"/>
          </a:xfrm>
          <a:prstGeom prst="line">
            <a:avLst/>
          </a:prstGeom>
          <a:noFill/>
          <a:ln w="19050">
            <a:solidFill>
              <a:schemeClr val="accent1"/>
            </a:solidFill>
            <a:round/>
            <a:headEnd type="none" w="sm" len="sm"/>
            <a:tailEnd type="none" w="sm" len="sm"/>
          </a:ln>
        </p:spPr>
        <p:txBody>
          <a:bodyPr wrap="none" anchor="ctr"/>
          <a:lstStyle/>
          <a:p>
            <a:pPr defTabSz="685800">
              <a:buClrTx/>
              <a:defRPr/>
            </a:pPr>
            <a:endParaRPr lang="en-US" sz="1350" kern="1200" dirty="0">
              <a:solidFill>
                <a:srgbClr val="313131"/>
              </a:solidFill>
              <a:ea typeface="+mn-ea"/>
              <a:cs typeface="+mn-cs"/>
            </a:endParaRPr>
          </a:p>
        </p:txBody>
      </p:sp>
      <p:sp>
        <p:nvSpPr>
          <p:cNvPr id="283" name="Line 62"/>
          <p:cNvSpPr>
            <a:spLocks noChangeShapeType="1"/>
          </p:cNvSpPr>
          <p:nvPr>
            <p:custDataLst>
              <p:tags r:id="rId144"/>
            </p:custDataLst>
          </p:nvPr>
        </p:nvSpPr>
        <p:spPr bwMode="auto">
          <a:xfrm>
            <a:off x="6111000" y="1134000"/>
            <a:ext cx="1411369" cy="0"/>
          </a:xfrm>
          <a:prstGeom prst="line">
            <a:avLst/>
          </a:prstGeom>
          <a:noFill/>
          <a:ln w="19050">
            <a:solidFill>
              <a:schemeClr val="accent1"/>
            </a:solidFill>
            <a:round/>
            <a:headEnd type="none" w="sm" len="sm"/>
            <a:tailEnd type="none" w="sm" len="sm"/>
          </a:ln>
        </p:spPr>
        <p:txBody>
          <a:bodyPr wrap="none" anchor="ctr"/>
          <a:lstStyle/>
          <a:p>
            <a:pPr defTabSz="685800">
              <a:buClrTx/>
              <a:defRPr/>
            </a:pPr>
            <a:endParaRPr lang="en-US" sz="1350" kern="1200" dirty="0">
              <a:solidFill>
                <a:srgbClr val="313131"/>
              </a:solidFill>
              <a:ea typeface="+mn-ea"/>
              <a:cs typeface="+mn-cs"/>
            </a:endParaRPr>
          </a:p>
        </p:txBody>
      </p:sp>
      <p:sp>
        <p:nvSpPr>
          <p:cNvPr id="763004" name="Rectangle 132"/>
          <p:cNvSpPr>
            <a:spLocks noChangeArrowheads="1"/>
          </p:cNvSpPr>
          <p:nvPr>
            <p:custDataLst>
              <p:tags r:id="rId145"/>
            </p:custDataLst>
          </p:nvPr>
        </p:nvSpPr>
        <p:spPr bwMode="auto">
          <a:xfrm>
            <a:off x="2250000" y="3590414"/>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763005" name="Rectangle 133"/>
          <p:cNvSpPr>
            <a:spLocks noChangeArrowheads="1"/>
          </p:cNvSpPr>
          <p:nvPr>
            <p:custDataLst>
              <p:tags r:id="rId146"/>
            </p:custDataLst>
          </p:nvPr>
        </p:nvSpPr>
        <p:spPr bwMode="auto">
          <a:xfrm>
            <a:off x="2547000" y="3590414"/>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763006" name="Rectangle 134"/>
          <p:cNvSpPr>
            <a:spLocks noChangeArrowheads="1"/>
          </p:cNvSpPr>
          <p:nvPr>
            <p:custDataLst>
              <p:tags r:id="rId147"/>
            </p:custDataLst>
          </p:nvPr>
        </p:nvSpPr>
        <p:spPr bwMode="auto">
          <a:xfrm>
            <a:off x="2844000" y="3590414"/>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131" name="Rectangle 135"/>
          <p:cNvSpPr>
            <a:spLocks noChangeArrowheads="1"/>
          </p:cNvSpPr>
          <p:nvPr>
            <p:custDataLst>
              <p:tags r:id="rId148"/>
            </p:custDataLst>
          </p:nvPr>
        </p:nvSpPr>
        <p:spPr bwMode="auto">
          <a:xfrm>
            <a:off x="3141000" y="3590414"/>
            <a:ext cx="216000" cy="94500"/>
          </a:xfrm>
          <a:prstGeom prst="rect">
            <a:avLst/>
          </a:prstGeom>
          <a:solidFill>
            <a:srgbClr val="575757"/>
          </a:solidFill>
          <a:ln w="12700">
            <a:solidFill>
              <a:schemeClr val="bg1"/>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763008" name="Rectangle 136"/>
          <p:cNvSpPr>
            <a:spLocks noChangeArrowheads="1"/>
          </p:cNvSpPr>
          <p:nvPr>
            <p:custDataLst>
              <p:tags r:id="rId149"/>
            </p:custDataLst>
          </p:nvPr>
        </p:nvSpPr>
        <p:spPr bwMode="auto">
          <a:xfrm>
            <a:off x="4032000" y="3590414"/>
            <a:ext cx="216000" cy="94500"/>
          </a:xfrm>
          <a:prstGeom prst="rect">
            <a:avLst/>
          </a:prstGeom>
          <a:solidFill>
            <a:srgbClr val="575757"/>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133" name="Rectangle 137"/>
          <p:cNvSpPr>
            <a:spLocks noChangeArrowheads="1"/>
          </p:cNvSpPr>
          <p:nvPr>
            <p:custDataLst>
              <p:tags r:id="rId150"/>
            </p:custDataLst>
          </p:nvPr>
        </p:nvSpPr>
        <p:spPr bwMode="auto">
          <a:xfrm>
            <a:off x="4329000" y="3590414"/>
            <a:ext cx="216000" cy="94500"/>
          </a:xfrm>
          <a:prstGeom prst="rect">
            <a:avLst/>
          </a:prstGeom>
          <a:solidFill>
            <a:srgbClr val="575757"/>
          </a:solidFill>
          <a:ln w="12700">
            <a:solidFill>
              <a:schemeClr val="bg1"/>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763010" name="Rectangle 138"/>
          <p:cNvSpPr>
            <a:spLocks noChangeArrowheads="1"/>
          </p:cNvSpPr>
          <p:nvPr>
            <p:custDataLst>
              <p:tags r:id="rId151"/>
            </p:custDataLst>
          </p:nvPr>
        </p:nvSpPr>
        <p:spPr bwMode="auto">
          <a:xfrm>
            <a:off x="4923000" y="3590414"/>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763011" name="Rectangle 139"/>
          <p:cNvSpPr>
            <a:spLocks noChangeArrowheads="1"/>
          </p:cNvSpPr>
          <p:nvPr>
            <p:custDataLst>
              <p:tags r:id="rId152"/>
            </p:custDataLst>
          </p:nvPr>
        </p:nvSpPr>
        <p:spPr bwMode="auto">
          <a:xfrm>
            <a:off x="5220000" y="3590414"/>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763012" name="Rectangle 140"/>
          <p:cNvSpPr>
            <a:spLocks noChangeArrowheads="1"/>
          </p:cNvSpPr>
          <p:nvPr>
            <p:custDataLst>
              <p:tags r:id="rId153"/>
            </p:custDataLst>
          </p:nvPr>
        </p:nvSpPr>
        <p:spPr bwMode="auto">
          <a:xfrm>
            <a:off x="5517000" y="3590414"/>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145" name="Rectangle 149"/>
          <p:cNvSpPr>
            <a:spLocks noChangeArrowheads="1"/>
          </p:cNvSpPr>
          <p:nvPr>
            <p:custDataLst>
              <p:tags r:id="rId154"/>
            </p:custDataLst>
          </p:nvPr>
        </p:nvSpPr>
        <p:spPr bwMode="auto">
          <a:xfrm>
            <a:off x="4626000" y="3590414"/>
            <a:ext cx="216000" cy="94500"/>
          </a:xfrm>
          <a:prstGeom prst="rect">
            <a:avLst/>
          </a:prstGeom>
          <a:solidFill>
            <a:srgbClr val="575757"/>
          </a:solidFill>
          <a:ln w="12700">
            <a:solidFill>
              <a:schemeClr val="bg1"/>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763023" name="Rectangle 151"/>
          <p:cNvSpPr>
            <a:spLocks noChangeArrowheads="1"/>
          </p:cNvSpPr>
          <p:nvPr>
            <p:custDataLst>
              <p:tags r:id="rId155"/>
            </p:custDataLst>
          </p:nvPr>
        </p:nvSpPr>
        <p:spPr bwMode="auto">
          <a:xfrm>
            <a:off x="3735000" y="3590414"/>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763094" name="Rectangle 272"/>
          <p:cNvSpPr>
            <a:spLocks noChangeArrowheads="1"/>
          </p:cNvSpPr>
          <p:nvPr>
            <p:custDataLst>
              <p:tags r:id="rId156"/>
            </p:custDataLst>
          </p:nvPr>
        </p:nvSpPr>
        <p:spPr bwMode="auto">
          <a:xfrm>
            <a:off x="3438000" y="3590414"/>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grpSp>
        <p:nvGrpSpPr>
          <p:cNvPr id="342" name="Group 341"/>
          <p:cNvGrpSpPr/>
          <p:nvPr/>
        </p:nvGrpSpPr>
        <p:grpSpPr>
          <a:xfrm>
            <a:off x="1953000" y="3590414"/>
            <a:ext cx="216000" cy="94500"/>
            <a:chOff x="1170000" y="4755713"/>
            <a:chExt cx="288000" cy="126000"/>
          </a:xfrm>
          <a:solidFill>
            <a:schemeClr val="accent4"/>
          </a:solidFill>
        </p:grpSpPr>
        <p:sp>
          <p:nvSpPr>
            <p:cNvPr id="763003" name="Rectangle 131"/>
            <p:cNvSpPr>
              <a:spLocks noChangeArrowheads="1"/>
            </p:cNvSpPr>
            <p:nvPr>
              <p:custDataLst>
                <p:tags r:id="rId201"/>
              </p:custDataLst>
            </p:nvPr>
          </p:nvSpPr>
          <p:spPr bwMode="auto">
            <a:xfrm>
              <a:off x="1170000" y="4755713"/>
              <a:ext cx="284162" cy="120650"/>
            </a:xfrm>
            <a:prstGeom prst="rect">
              <a:avLst/>
            </a:prstGeom>
            <a:solidFill>
              <a:srgbClr val="B4B4B4"/>
            </a:solidFill>
            <a:ln w="12700">
              <a:solidFill>
                <a:schemeClr val="bg1"/>
              </a:solidFill>
              <a:miter lim="800000"/>
              <a:headEnd/>
              <a:tailEnd/>
            </a:ln>
          </p:spPr>
          <p:txBody>
            <a:bodyPr wrap="none" anchor="ctr"/>
            <a:lstStyle/>
            <a:p>
              <a:pPr defTabSz="685800">
                <a:buClrTx/>
              </a:pPr>
              <a:endParaRPr lang="en-US" sz="1350" kern="1200">
                <a:solidFill>
                  <a:srgbClr val="313131"/>
                </a:solidFill>
                <a:ea typeface="+mn-ea"/>
                <a:cs typeface="+mn-cs"/>
              </a:endParaRPr>
            </a:p>
          </p:txBody>
        </p:sp>
        <p:sp>
          <p:nvSpPr>
            <p:cNvPr id="299" name="Right Triangle 298"/>
            <p:cNvSpPr/>
            <p:nvPr/>
          </p:nvSpPr>
          <p:spPr>
            <a:xfrm flipH="1">
              <a:off x="1170000" y="4755713"/>
              <a:ext cx="288000" cy="126000"/>
            </a:xfrm>
            <a:prstGeom prst="rtTriangle">
              <a:avLst/>
            </a:prstGeom>
            <a:solidFill>
              <a:srgbClr val="00A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buClrTx/>
              </a:pPr>
              <a:endParaRPr lang="en-GB" sz="1050" kern="1200">
                <a:solidFill>
                  <a:srgbClr val="313131"/>
                </a:solidFill>
                <a:latin typeface="Arial"/>
              </a:endParaRPr>
            </a:p>
          </p:txBody>
        </p:sp>
      </p:grpSp>
      <p:sp>
        <p:nvSpPr>
          <p:cNvPr id="211" name="Rectangle 215"/>
          <p:cNvSpPr>
            <a:spLocks noChangeArrowheads="1"/>
          </p:cNvSpPr>
          <p:nvPr>
            <p:custDataLst>
              <p:tags r:id="rId157"/>
            </p:custDataLst>
          </p:nvPr>
        </p:nvSpPr>
        <p:spPr bwMode="auto">
          <a:xfrm>
            <a:off x="1953000" y="2168976"/>
            <a:ext cx="216000" cy="94500"/>
          </a:xfrm>
          <a:prstGeom prst="rect">
            <a:avLst/>
          </a:prstGeom>
          <a:solidFill>
            <a:schemeClr val="bg1"/>
          </a:solidFill>
          <a:ln w="12700">
            <a:solidFill>
              <a:srgbClr val="8C8C8C"/>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212" name="Rectangle 216"/>
          <p:cNvSpPr>
            <a:spLocks noChangeArrowheads="1"/>
          </p:cNvSpPr>
          <p:nvPr>
            <p:custDataLst>
              <p:tags r:id="rId158"/>
            </p:custDataLst>
          </p:nvPr>
        </p:nvSpPr>
        <p:spPr bwMode="auto">
          <a:xfrm>
            <a:off x="2250000" y="2168976"/>
            <a:ext cx="216000" cy="94500"/>
          </a:xfrm>
          <a:prstGeom prst="rect">
            <a:avLst/>
          </a:prstGeom>
          <a:solidFill>
            <a:srgbClr val="575757"/>
          </a:solidFill>
          <a:ln w="12700">
            <a:solidFill>
              <a:schemeClr val="bg1"/>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213" name="Rectangle 217"/>
          <p:cNvSpPr>
            <a:spLocks noChangeArrowheads="1"/>
          </p:cNvSpPr>
          <p:nvPr>
            <p:custDataLst>
              <p:tags r:id="rId159"/>
            </p:custDataLst>
          </p:nvPr>
        </p:nvSpPr>
        <p:spPr bwMode="auto">
          <a:xfrm>
            <a:off x="2547000" y="2168976"/>
            <a:ext cx="216000" cy="94500"/>
          </a:xfrm>
          <a:prstGeom prst="rect">
            <a:avLst/>
          </a:prstGeom>
          <a:solidFill>
            <a:schemeClr val="bg1"/>
          </a:solidFill>
          <a:ln w="12700">
            <a:solidFill>
              <a:srgbClr val="8C8C8C"/>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763080" name="Rectangle 218"/>
          <p:cNvSpPr>
            <a:spLocks noChangeArrowheads="1"/>
          </p:cNvSpPr>
          <p:nvPr>
            <p:custDataLst>
              <p:tags r:id="rId160"/>
            </p:custDataLst>
          </p:nvPr>
        </p:nvSpPr>
        <p:spPr bwMode="auto">
          <a:xfrm>
            <a:off x="2844000" y="2168976"/>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763081" name="Rectangle 219"/>
          <p:cNvSpPr>
            <a:spLocks noChangeArrowheads="1"/>
          </p:cNvSpPr>
          <p:nvPr>
            <p:custDataLst>
              <p:tags r:id="rId161"/>
            </p:custDataLst>
          </p:nvPr>
        </p:nvSpPr>
        <p:spPr bwMode="auto">
          <a:xfrm>
            <a:off x="3141000" y="2168976"/>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763082" name="Rectangle 220"/>
          <p:cNvSpPr>
            <a:spLocks noChangeArrowheads="1"/>
          </p:cNvSpPr>
          <p:nvPr>
            <p:custDataLst>
              <p:tags r:id="rId162"/>
            </p:custDataLst>
          </p:nvPr>
        </p:nvSpPr>
        <p:spPr bwMode="auto">
          <a:xfrm>
            <a:off x="3438000" y="2168976"/>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763095" name="Rectangle 273"/>
          <p:cNvSpPr>
            <a:spLocks noChangeArrowheads="1"/>
          </p:cNvSpPr>
          <p:nvPr>
            <p:custDataLst>
              <p:tags r:id="rId163"/>
            </p:custDataLst>
          </p:nvPr>
        </p:nvSpPr>
        <p:spPr bwMode="auto">
          <a:xfrm>
            <a:off x="3735000" y="2168976"/>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grpSp>
        <p:nvGrpSpPr>
          <p:cNvPr id="337" name="Group 336"/>
          <p:cNvGrpSpPr/>
          <p:nvPr/>
        </p:nvGrpSpPr>
        <p:grpSpPr>
          <a:xfrm>
            <a:off x="4923000" y="2168976"/>
            <a:ext cx="216000" cy="94500"/>
            <a:chOff x="5670000" y="2828925"/>
            <a:chExt cx="288000" cy="126000"/>
          </a:xfrm>
          <a:solidFill>
            <a:schemeClr val="accent5"/>
          </a:solidFill>
        </p:grpSpPr>
        <p:sp>
          <p:nvSpPr>
            <p:cNvPr id="763133" name="Rectangle 73"/>
            <p:cNvSpPr>
              <a:spLocks noChangeArrowheads="1"/>
            </p:cNvSpPr>
            <p:nvPr/>
          </p:nvSpPr>
          <p:spPr bwMode="auto">
            <a:xfrm>
              <a:off x="5670000" y="2828925"/>
              <a:ext cx="288000" cy="126000"/>
            </a:xfrm>
            <a:prstGeom prst="rect">
              <a:avLst/>
            </a:prstGeom>
            <a:solidFill>
              <a:srgbClr val="00A1DE"/>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301" name="Right Triangle 300"/>
            <p:cNvSpPr/>
            <p:nvPr/>
          </p:nvSpPr>
          <p:spPr>
            <a:xfrm flipH="1">
              <a:off x="5670000" y="2828925"/>
              <a:ext cx="288000" cy="126000"/>
            </a:xfrm>
            <a:prstGeom prst="rtTriangl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buClrTx/>
              </a:pPr>
              <a:endParaRPr lang="en-GB" sz="1050" kern="1200">
                <a:solidFill>
                  <a:srgbClr val="313131"/>
                </a:solidFill>
                <a:latin typeface="Arial"/>
              </a:endParaRPr>
            </a:p>
          </p:txBody>
        </p:sp>
      </p:grpSp>
      <p:grpSp>
        <p:nvGrpSpPr>
          <p:cNvPr id="335" name="Group 334"/>
          <p:cNvGrpSpPr/>
          <p:nvPr/>
        </p:nvGrpSpPr>
        <p:grpSpPr>
          <a:xfrm>
            <a:off x="5220000" y="2168976"/>
            <a:ext cx="216000" cy="94500"/>
            <a:chOff x="6120000" y="2828925"/>
            <a:chExt cx="288000" cy="126000"/>
          </a:xfrm>
          <a:solidFill>
            <a:schemeClr val="accent5"/>
          </a:solidFill>
        </p:grpSpPr>
        <p:sp>
          <p:nvSpPr>
            <p:cNvPr id="763131" name="Rectangle 73"/>
            <p:cNvSpPr>
              <a:spLocks noChangeArrowheads="1"/>
            </p:cNvSpPr>
            <p:nvPr/>
          </p:nvSpPr>
          <p:spPr bwMode="auto">
            <a:xfrm>
              <a:off x="6120000" y="2828925"/>
              <a:ext cx="288000" cy="126000"/>
            </a:xfrm>
            <a:prstGeom prst="rect">
              <a:avLst/>
            </a:prstGeom>
            <a:solidFill>
              <a:srgbClr val="00A1DE"/>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302" name="Right Triangle 301"/>
            <p:cNvSpPr/>
            <p:nvPr/>
          </p:nvSpPr>
          <p:spPr>
            <a:xfrm flipH="1">
              <a:off x="6120000" y="2828925"/>
              <a:ext cx="288000" cy="126000"/>
            </a:xfrm>
            <a:prstGeom prst="rtTriangl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buClrTx/>
              </a:pPr>
              <a:endParaRPr lang="en-GB" sz="1050" kern="1200">
                <a:solidFill>
                  <a:srgbClr val="313131"/>
                </a:solidFill>
                <a:latin typeface="Arial"/>
              </a:endParaRPr>
            </a:p>
          </p:txBody>
        </p:sp>
      </p:grpSp>
      <p:grpSp>
        <p:nvGrpSpPr>
          <p:cNvPr id="334" name="Group 333"/>
          <p:cNvGrpSpPr/>
          <p:nvPr/>
        </p:nvGrpSpPr>
        <p:grpSpPr>
          <a:xfrm>
            <a:off x="5517000" y="2168976"/>
            <a:ext cx="216000" cy="94500"/>
            <a:chOff x="6570000" y="2828925"/>
            <a:chExt cx="288000" cy="126000"/>
          </a:xfrm>
          <a:solidFill>
            <a:schemeClr val="accent5"/>
          </a:solidFill>
        </p:grpSpPr>
        <p:sp>
          <p:nvSpPr>
            <p:cNvPr id="763129" name="Rectangle 73"/>
            <p:cNvSpPr>
              <a:spLocks noChangeArrowheads="1"/>
            </p:cNvSpPr>
            <p:nvPr/>
          </p:nvSpPr>
          <p:spPr bwMode="auto">
            <a:xfrm>
              <a:off x="6570000" y="2828925"/>
              <a:ext cx="288000" cy="126000"/>
            </a:xfrm>
            <a:prstGeom prst="rect">
              <a:avLst/>
            </a:prstGeom>
            <a:solidFill>
              <a:srgbClr val="00A1DE"/>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304" name="Right Triangle 303"/>
            <p:cNvSpPr/>
            <p:nvPr/>
          </p:nvSpPr>
          <p:spPr>
            <a:xfrm flipH="1">
              <a:off x="6570000" y="2828925"/>
              <a:ext cx="288000" cy="126000"/>
            </a:xfrm>
            <a:prstGeom prst="rtTriangl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buClrTx/>
              </a:pPr>
              <a:endParaRPr lang="en-GB" sz="1050" kern="1200">
                <a:solidFill>
                  <a:srgbClr val="313131"/>
                </a:solidFill>
                <a:latin typeface="Arial"/>
              </a:endParaRPr>
            </a:p>
          </p:txBody>
        </p:sp>
      </p:grpSp>
      <p:sp>
        <p:nvSpPr>
          <p:cNvPr id="155" name="Rectangle 159"/>
          <p:cNvSpPr>
            <a:spLocks noChangeArrowheads="1"/>
          </p:cNvSpPr>
          <p:nvPr>
            <p:custDataLst>
              <p:tags r:id="rId164"/>
            </p:custDataLst>
          </p:nvPr>
        </p:nvSpPr>
        <p:spPr bwMode="auto">
          <a:xfrm>
            <a:off x="4923000" y="1813251"/>
            <a:ext cx="216000" cy="94500"/>
          </a:xfrm>
          <a:prstGeom prst="rect">
            <a:avLst/>
          </a:prstGeom>
          <a:solidFill>
            <a:schemeClr val="bg1"/>
          </a:solidFill>
          <a:ln w="12700">
            <a:solidFill>
              <a:srgbClr val="8C8C8C"/>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156" name="Rectangle 160"/>
          <p:cNvSpPr>
            <a:spLocks noChangeArrowheads="1"/>
          </p:cNvSpPr>
          <p:nvPr>
            <p:custDataLst>
              <p:tags r:id="rId165"/>
            </p:custDataLst>
          </p:nvPr>
        </p:nvSpPr>
        <p:spPr bwMode="auto">
          <a:xfrm>
            <a:off x="5220000" y="1813251"/>
            <a:ext cx="216000" cy="94500"/>
          </a:xfrm>
          <a:prstGeom prst="rect">
            <a:avLst/>
          </a:prstGeom>
          <a:solidFill>
            <a:schemeClr val="bg1"/>
          </a:solidFill>
          <a:ln w="12700">
            <a:solidFill>
              <a:srgbClr val="8C8C8C"/>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763032" name="Rectangle 161"/>
          <p:cNvSpPr>
            <a:spLocks noChangeArrowheads="1"/>
          </p:cNvSpPr>
          <p:nvPr>
            <p:custDataLst>
              <p:tags r:id="rId166"/>
            </p:custDataLst>
          </p:nvPr>
        </p:nvSpPr>
        <p:spPr bwMode="auto">
          <a:xfrm>
            <a:off x="5517000" y="1813251"/>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165" name="Rectangle 169"/>
          <p:cNvSpPr>
            <a:spLocks noChangeArrowheads="1"/>
          </p:cNvSpPr>
          <p:nvPr>
            <p:custDataLst>
              <p:tags r:id="rId167"/>
            </p:custDataLst>
          </p:nvPr>
        </p:nvSpPr>
        <p:spPr bwMode="auto">
          <a:xfrm>
            <a:off x="1953000" y="1813251"/>
            <a:ext cx="216000" cy="94500"/>
          </a:xfrm>
          <a:prstGeom prst="rect">
            <a:avLst/>
          </a:prstGeom>
          <a:solidFill>
            <a:schemeClr val="bg1"/>
          </a:solidFill>
          <a:ln w="12700">
            <a:solidFill>
              <a:srgbClr val="8C8C8C"/>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166" name="Rectangle 170"/>
          <p:cNvSpPr>
            <a:spLocks noChangeArrowheads="1"/>
          </p:cNvSpPr>
          <p:nvPr>
            <p:custDataLst>
              <p:tags r:id="rId168"/>
            </p:custDataLst>
          </p:nvPr>
        </p:nvSpPr>
        <p:spPr bwMode="auto">
          <a:xfrm>
            <a:off x="2250000" y="1813251"/>
            <a:ext cx="216000" cy="94500"/>
          </a:xfrm>
          <a:prstGeom prst="rect">
            <a:avLst/>
          </a:prstGeom>
          <a:solidFill>
            <a:schemeClr val="bg1"/>
          </a:solidFill>
          <a:ln w="12700">
            <a:solidFill>
              <a:srgbClr val="8C8C8C"/>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167" name="Rectangle 171"/>
          <p:cNvSpPr>
            <a:spLocks noChangeArrowheads="1"/>
          </p:cNvSpPr>
          <p:nvPr>
            <p:custDataLst>
              <p:tags r:id="rId169"/>
            </p:custDataLst>
          </p:nvPr>
        </p:nvSpPr>
        <p:spPr bwMode="auto">
          <a:xfrm>
            <a:off x="2547000" y="1813251"/>
            <a:ext cx="216000" cy="94500"/>
          </a:xfrm>
          <a:prstGeom prst="rect">
            <a:avLst/>
          </a:prstGeom>
          <a:solidFill>
            <a:schemeClr val="bg1"/>
          </a:solidFill>
          <a:ln w="12700">
            <a:solidFill>
              <a:srgbClr val="8C8C8C"/>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763043" name="Rectangle 173"/>
          <p:cNvSpPr>
            <a:spLocks noChangeArrowheads="1"/>
          </p:cNvSpPr>
          <p:nvPr>
            <p:custDataLst>
              <p:tags r:id="rId170"/>
            </p:custDataLst>
          </p:nvPr>
        </p:nvSpPr>
        <p:spPr bwMode="auto">
          <a:xfrm>
            <a:off x="3141000" y="1813251"/>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763044" name="Rectangle 175"/>
          <p:cNvSpPr>
            <a:spLocks noChangeArrowheads="1"/>
          </p:cNvSpPr>
          <p:nvPr>
            <p:custDataLst>
              <p:tags r:id="rId171"/>
            </p:custDataLst>
          </p:nvPr>
        </p:nvSpPr>
        <p:spPr bwMode="auto">
          <a:xfrm>
            <a:off x="4032000" y="1813251"/>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763045" name="Rectangle 176"/>
          <p:cNvSpPr>
            <a:spLocks noChangeArrowheads="1"/>
          </p:cNvSpPr>
          <p:nvPr>
            <p:custDataLst>
              <p:tags r:id="rId172"/>
            </p:custDataLst>
          </p:nvPr>
        </p:nvSpPr>
        <p:spPr bwMode="auto">
          <a:xfrm>
            <a:off x="4329000" y="1813251"/>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177" name="Rectangle 181"/>
          <p:cNvSpPr>
            <a:spLocks noChangeArrowheads="1"/>
          </p:cNvSpPr>
          <p:nvPr>
            <p:custDataLst>
              <p:tags r:id="rId173"/>
            </p:custDataLst>
          </p:nvPr>
        </p:nvSpPr>
        <p:spPr bwMode="auto">
          <a:xfrm>
            <a:off x="3438000" y="1813251"/>
            <a:ext cx="216000" cy="94500"/>
          </a:xfrm>
          <a:prstGeom prst="rect">
            <a:avLst/>
          </a:prstGeom>
          <a:solidFill>
            <a:schemeClr val="bg1"/>
          </a:solidFill>
          <a:ln w="12700">
            <a:solidFill>
              <a:srgbClr val="8C8C8C"/>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179" name="Rectangle 183"/>
          <p:cNvSpPr>
            <a:spLocks noChangeArrowheads="1"/>
          </p:cNvSpPr>
          <p:nvPr>
            <p:custDataLst>
              <p:tags r:id="rId174"/>
            </p:custDataLst>
          </p:nvPr>
        </p:nvSpPr>
        <p:spPr bwMode="auto">
          <a:xfrm>
            <a:off x="5814000" y="1813251"/>
            <a:ext cx="216000" cy="94500"/>
          </a:xfrm>
          <a:prstGeom prst="rect">
            <a:avLst/>
          </a:prstGeom>
          <a:solidFill>
            <a:schemeClr val="bg1"/>
          </a:solidFill>
          <a:ln w="12700">
            <a:solidFill>
              <a:srgbClr val="8C8C8C"/>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grpSp>
        <p:nvGrpSpPr>
          <p:cNvPr id="379" name="Group 378"/>
          <p:cNvGrpSpPr/>
          <p:nvPr/>
        </p:nvGrpSpPr>
        <p:grpSpPr>
          <a:xfrm>
            <a:off x="2844000" y="1813251"/>
            <a:ext cx="216000" cy="94500"/>
            <a:chOff x="2268000" y="2417668"/>
            <a:chExt cx="288000" cy="126000"/>
          </a:xfrm>
          <a:solidFill>
            <a:schemeClr val="accent1"/>
          </a:solidFill>
        </p:grpSpPr>
        <p:sp>
          <p:nvSpPr>
            <p:cNvPr id="763145" name="Rectangle 73"/>
            <p:cNvSpPr>
              <a:spLocks noChangeArrowheads="1"/>
            </p:cNvSpPr>
            <p:nvPr/>
          </p:nvSpPr>
          <p:spPr bwMode="auto">
            <a:xfrm>
              <a:off x="2268000" y="2417668"/>
              <a:ext cx="288000" cy="126000"/>
            </a:xfrm>
            <a:prstGeom prst="rect">
              <a:avLst/>
            </a:prstGeom>
            <a:solidFill>
              <a:srgbClr val="00A1DE"/>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307" name="Right Triangle 306"/>
            <p:cNvSpPr/>
            <p:nvPr/>
          </p:nvSpPr>
          <p:spPr>
            <a:xfrm flipH="1">
              <a:off x="2268000" y="2417668"/>
              <a:ext cx="288000" cy="126000"/>
            </a:xfrm>
            <a:prstGeom prst="rtTriangl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buClrTx/>
              </a:pPr>
              <a:endParaRPr lang="en-GB" sz="1050" kern="1200">
                <a:solidFill>
                  <a:srgbClr val="313131"/>
                </a:solidFill>
                <a:latin typeface="Arial"/>
              </a:endParaRPr>
            </a:p>
          </p:txBody>
        </p:sp>
      </p:grpSp>
      <p:grpSp>
        <p:nvGrpSpPr>
          <p:cNvPr id="380" name="Group 379"/>
          <p:cNvGrpSpPr/>
          <p:nvPr/>
        </p:nvGrpSpPr>
        <p:grpSpPr>
          <a:xfrm>
            <a:off x="3735000" y="1813251"/>
            <a:ext cx="216000" cy="94500"/>
            <a:chOff x="3456000" y="2417668"/>
            <a:chExt cx="288000" cy="126000"/>
          </a:xfrm>
          <a:solidFill>
            <a:schemeClr val="accent1"/>
          </a:solidFill>
        </p:grpSpPr>
        <p:sp>
          <p:nvSpPr>
            <p:cNvPr id="763143" name="Rectangle 73"/>
            <p:cNvSpPr>
              <a:spLocks noChangeArrowheads="1"/>
            </p:cNvSpPr>
            <p:nvPr/>
          </p:nvSpPr>
          <p:spPr bwMode="auto">
            <a:xfrm>
              <a:off x="3456000" y="2417668"/>
              <a:ext cx="288000" cy="126000"/>
            </a:xfrm>
            <a:prstGeom prst="rect">
              <a:avLst/>
            </a:prstGeom>
            <a:grp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763141" name="Rectangle 73"/>
            <p:cNvSpPr>
              <a:spLocks noChangeArrowheads="1"/>
            </p:cNvSpPr>
            <p:nvPr/>
          </p:nvSpPr>
          <p:spPr bwMode="auto">
            <a:xfrm>
              <a:off x="3456000" y="2417668"/>
              <a:ext cx="288000" cy="126000"/>
            </a:xfrm>
            <a:prstGeom prst="rect">
              <a:avLst/>
            </a:prstGeom>
            <a:solidFill>
              <a:srgbClr val="00A1DE"/>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305" name="Right Triangle 304"/>
            <p:cNvSpPr/>
            <p:nvPr/>
          </p:nvSpPr>
          <p:spPr>
            <a:xfrm flipH="1">
              <a:off x="3456000" y="2417668"/>
              <a:ext cx="288000" cy="126000"/>
            </a:xfrm>
            <a:prstGeom prst="rtTriangl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buClrTx/>
              </a:pPr>
              <a:endParaRPr lang="en-GB" sz="1050" kern="1200">
                <a:solidFill>
                  <a:srgbClr val="313131"/>
                </a:solidFill>
                <a:latin typeface="Arial"/>
              </a:endParaRPr>
            </a:p>
          </p:txBody>
        </p:sp>
        <p:sp>
          <p:nvSpPr>
            <p:cNvPr id="308" name="Right Triangle 307"/>
            <p:cNvSpPr/>
            <p:nvPr/>
          </p:nvSpPr>
          <p:spPr>
            <a:xfrm flipH="1">
              <a:off x="3456000" y="2417668"/>
              <a:ext cx="288000" cy="126000"/>
            </a:xfrm>
            <a:prstGeom prst="rtTriangl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buClrTx/>
              </a:pPr>
              <a:endParaRPr lang="en-GB" sz="1050" kern="1200">
                <a:solidFill>
                  <a:srgbClr val="313131"/>
                </a:solidFill>
                <a:latin typeface="Arial"/>
              </a:endParaRPr>
            </a:p>
          </p:txBody>
        </p:sp>
      </p:grpSp>
      <p:grpSp>
        <p:nvGrpSpPr>
          <p:cNvPr id="338" name="Group 337"/>
          <p:cNvGrpSpPr/>
          <p:nvPr/>
        </p:nvGrpSpPr>
        <p:grpSpPr>
          <a:xfrm>
            <a:off x="1953000" y="2438976"/>
            <a:ext cx="216000" cy="94500"/>
            <a:chOff x="1170000" y="3163890"/>
            <a:chExt cx="288000" cy="126000"/>
          </a:xfrm>
          <a:solidFill>
            <a:schemeClr val="accent5"/>
          </a:solidFill>
        </p:grpSpPr>
        <p:sp>
          <p:nvSpPr>
            <p:cNvPr id="763123" name="Rectangle 73"/>
            <p:cNvSpPr>
              <a:spLocks noChangeArrowheads="1"/>
            </p:cNvSpPr>
            <p:nvPr/>
          </p:nvSpPr>
          <p:spPr bwMode="auto">
            <a:xfrm>
              <a:off x="1170000" y="3163890"/>
              <a:ext cx="288000" cy="126000"/>
            </a:xfrm>
            <a:prstGeom prst="rect">
              <a:avLst/>
            </a:prstGeom>
            <a:solidFill>
              <a:srgbClr val="00A1DE"/>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310" name="Right Triangle 309"/>
            <p:cNvSpPr/>
            <p:nvPr/>
          </p:nvSpPr>
          <p:spPr>
            <a:xfrm flipH="1">
              <a:off x="1170000" y="3163890"/>
              <a:ext cx="288000" cy="126000"/>
            </a:xfrm>
            <a:prstGeom prst="rtTriangl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buClrTx/>
              </a:pPr>
              <a:endParaRPr lang="en-GB" sz="1050" kern="1200">
                <a:solidFill>
                  <a:srgbClr val="313131"/>
                </a:solidFill>
                <a:latin typeface="Arial"/>
              </a:endParaRPr>
            </a:p>
          </p:txBody>
        </p:sp>
      </p:grpSp>
      <p:grpSp>
        <p:nvGrpSpPr>
          <p:cNvPr id="340" name="Group 339"/>
          <p:cNvGrpSpPr/>
          <p:nvPr/>
        </p:nvGrpSpPr>
        <p:grpSpPr>
          <a:xfrm>
            <a:off x="2250000" y="2438976"/>
            <a:ext cx="216000" cy="94500"/>
            <a:chOff x="1620000" y="3163890"/>
            <a:chExt cx="288000" cy="126000"/>
          </a:xfrm>
          <a:solidFill>
            <a:schemeClr val="accent5"/>
          </a:solidFill>
        </p:grpSpPr>
        <p:sp>
          <p:nvSpPr>
            <p:cNvPr id="763125" name="Rectangle 73"/>
            <p:cNvSpPr>
              <a:spLocks noChangeArrowheads="1"/>
            </p:cNvSpPr>
            <p:nvPr/>
          </p:nvSpPr>
          <p:spPr bwMode="auto">
            <a:xfrm>
              <a:off x="1620000" y="3163890"/>
              <a:ext cx="288000" cy="126000"/>
            </a:xfrm>
            <a:prstGeom prst="rect">
              <a:avLst/>
            </a:prstGeom>
            <a:solidFill>
              <a:srgbClr val="00A1DE"/>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311" name="Right Triangle 310"/>
            <p:cNvSpPr/>
            <p:nvPr/>
          </p:nvSpPr>
          <p:spPr>
            <a:xfrm flipH="1">
              <a:off x="1620000" y="3163890"/>
              <a:ext cx="288000" cy="126000"/>
            </a:xfrm>
            <a:prstGeom prst="rtTriangl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buClrTx/>
              </a:pPr>
              <a:endParaRPr lang="en-GB" sz="1050" kern="1200">
                <a:solidFill>
                  <a:srgbClr val="313131"/>
                </a:solidFill>
                <a:latin typeface="Arial"/>
              </a:endParaRPr>
            </a:p>
          </p:txBody>
        </p:sp>
      </p:grpSp>
      <p:sp>
        <p:nvSpPr>
          <p:cNvPr id="762917" name="Rectangle 36"/>
          <p:cNvSpPr>
            <a:spLocks noChangeArrowheads="1"/>
          </p:cNvSpPr>
          <p:nvPr>
            <p:custDataLst>
              <p:tags r:id="rId175"/>
            </p:custDataLst>
          </p:nvPr>
        </p:nvSpPr>
        <p:spPr bwMode="auto">
          <a:xfrm>
            <a:off x="1953000" y="3853270"/>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762918" name="Rectangle 37"/>
          <p:cNvSpPr>
            <a:spLocks noChangeArrowheads="1"/>
          </p:cNvSpPr>
          <p:nvPr>
            <p:custDataLst>
              <p:tags r:id="rId176"/>
            </p:custDataLst>
          </p:nvPr>
        </p:nvSpPr>
        <p:spPr bwMode="auto">
          <a:xfrm>
            <a:off x="2250000" y="3853270"/>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762919" name="Rectangle 38"/>
          <p:cNvSpPr>
            <a:spLocks noChangeArrowheads="1"/>
          </p:cNvSpPr>
          <p:nvPr>
            <p:custDataLst>
              <p:tags r:id="rId177"/>
            </p:custDataLst>
          </p:nvPr>
        </p:nvSpPr>
        <p:spPr bwMode="auto">
          <a:xfrm>
            <a:off x="2547000" y="3853270"/>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39" name="Rectangle 39"/>
          <p:cNvSpPr>
            <a:spLocks noChangeArrowheads="1"/>
          </p:cNvSpPr>
          <p:nvPr>
            <p:custDataLst>
              <p:tags r:id="rId178"/>
            </p:custDataLst>
          </p:nvPr>
        </p:nvSpPr>
        <p:spPr bwMode="auto">
          <a:xfrm>
            <a:off x="3141000" y="3853270"/>
            <a:ext cx="216000" cy="94500"/>
          </a:xfrm>
          <a:prstGeom prst="rect">
            <a:avLst/>
          </a:prstGeom>
          <a:solidFill>
            <a:schemeClr val="bg1"/>
          </a:solidFill>
          <a:ln w="12700">
            <a:solidFill>
              <a:srgbClr val="8C8C8C"/>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40" name="Rectangle 40"/>
          <p:cNvSpPr>
            <a:spLocks noChangeArrowheads="1"/>
          </p:cNvSpPr>
          <p:nvPr>
            <p:custDataLst>
              <p:tags r:id="rId179"/>
            </p:custDataLst>
          </p:nvPr>
        </p:nvSpPr>
        <p:spPr bwMode="auto">
          <a:xfrm>
            <a:off x="3438000" y="3853270"/>
            <a:ext cx="216000" cy="94500"/>
          </a:xfrm>
          <a:prstGeom prst="rect">
            <a:avLst/>
          </a:prstGeom>
          <a:solidFill>
            <a:schemeClr val="bg1"/>
          </a:solidFill>
          <a:ln w="12700">
            <a:solidFill>
              <a:srgbClr val="8C8C8C"/>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grpSp>
        <p:nvGrpSpPr>
          <p:cNvPr id="341" name="Group 340"/>
          <p:cNvGrpSpPr/>
          <p:nvPr/>
        </p:nvGrpSpPr>
        <p:grpSpPr>
          <a:xfrm>
            <a:off x="2844000" y="3853270"/>
            <a:ext cx="216000" cy="94500"/>
            <a:chOff x="2520000" y="5049757"/>
            <a:chExt cx="288000" cy="126000"/>
          </a:xfrm>
          <a:solidFill>
            <a:schemeClr val="accent5"/>
          </a:solidFill>
        </p:grpSpPr>
        <p:sp>
          <p:nvSpPr>
            <p:cNvPr id="763127" name="Rectangle 73"/>
            <p:cNvSpPr>
              <a:spLocks noChangeArrowheads="1"/>
            </p:cNvSpPr>
            <p:nvPr/>
          </p:nvSpPr>
          <p:spPr bwMode="auto">
            <a:xfrm>
              <a:off x="2520000" y="5049757"/>
              <a:ext cx="288000" cy="126000"/>
            </a:xfrm>
            <a:prstGeom prst="rect">
              <a:avLst/>
            </a:prstGeom>
            <a:solidFill>
              <a:srgbClr val="00A1DE"/>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316" name="Right Triangle 315"/>
            <p:cNvSpPr/>
            <p:nvPr/>
          </p:nvSpPr>
          <p:spPr>
            <a:xfrm flipH="1">
              <a:off x="2520000" y="5049757"/>
              <a:ext cx="288000" cy="126000"/>
            </a:xfrm>
            <a:prstGeom prst="rtTriangl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buClrTx/>
              </a:pPr>
              <a:endParaRPr lang="en-GB" sz="1050" kern="1200">
                <a:solidFill>
                  <a:srgbClr val="313131"/>
                </a:solidFill>
                <a:latin typeface="Arial"/>
              </a:endParaRPr>
            </a:p>
          </p:txBody>
        </p:sp>
      </p:grpSp>
      <p:sp>
        <p:nvSpPr>
          <p:cNvPr id="762898" name="Rectangle 16"/>
          <p:cNvSpPr>
            <a:spLocks noChangeArrowheads="1"/>
          </p:cNvSpPr>
          <p:nvPr>
            <p:custDataLst>
              <p:tags r:id="rId180"/>
            </p:custDataLst>
          </p:nvPr>
        </p:nvSpPr>
        <p:spPr bwMode="auto">
          <a:xfrm>
            <a:off x="7002000" y="1215000"/>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30" name="Rectangle 30"/>
          <p:cNvSpPr>
            <a:spLocks noChangeArrowheads="1"/>
          </p:cNvSpPr>
          <p:nvPr>
            <p:custDataLst>
              <p:tags r:id="rId181"/>
            </p:custDataLst>
          </p:nvPr>
        </p:nvSpPr>
        <p:spPr bwMode="auto">
          <a:xfrm>
            <a:off x="4923000" y="1215000"/>
            <a:ext cx="216000" cy="94500"/>
          </a:xfrm>
          <a:prstGeom prst="rect">
            <a:avLst/>
          </a:prstGeom>
          <a:solidFill>
            <a:schemeClr val="bg1"/>
          </a:solidFill>
          <a:ln w="12700">
            <a:solidFill>
              <a:srgbClr val="8C8C8C"/>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31" name="Rectangle 31"/>
          <p:cNvSpPr>
            <a:spLocks noChangeArrowheads="1"/>
          </p:cNvSpPr>
          <p:nvPr>
            <p:custDataLst>
              <p:tags r:id="rId182"/>
            </p:custDataLst>
          </p:nvPr>
        </p:nvSpPr>
        <p:spPr bwMode="auto">
          <a:xfrm>
            <a:off x="5220000" y="1215000"/>
            <a:ext cx="216000" cy="94500"/>
          </a:xfrm>
          <a:prstGeom prst="rect">
            <a:avLst/>
          </a:prstGeom>
          <a:solidFill>
            <a:schemeClr val="bg1"/>
          </a:solidFill>
          <a:ln w="12700">
            <a:solidFill>
              <a:srgbClr val="8C8C8C"/>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762913" name="Rectangle 32"/>
          <p:cNvSpPr>
            <a:spLocks noChangeArrowheads="1"/>
          </p:cNvSpPr>
          <p:nvPr>
            <p:custDataLst>
              <p:tags r:id="rId183"/>
            </p:custDataLst>
          </p:nvPr>
        </p:nvSpPr>
        <p:spPr bwMode="auto">
          <a:xfrm>
            <a:off x="5517000" y="1215000"/>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375" kern="1200">
              <a:solidFill>
                <a:srgbClr val="313131"/>
              </a:solidFill>
              <a:ea typeface="ＭＳ Ｐゴシック" charset="-128"/>
              <a:cs typeface="+mn-cs"/>
            </a:endParaRPr>
          </a:p>
        </p:txBody>
      </p:sp>
      <p:sp>
        <p:nvSpPr>
          <p:cNvPr id="74" name="Rectangle 77"/>
          <p:cNvSpPr>
            <a:spLocks noChangeArrowheads="1"/>
          </p:cNvSpPr>
          <p:nvPr>
            <p:custDataLst>
              <p:tags r:id="rId184"/>
            </p:custDataLst>
          </p:nvPr>
        </p:nvSpPr>
        <p:spPr bwMode="auto">
          <a:xfrm>
            <a:off x="3141000" y="1215000"/>
            <a:ext cx="216000" cy="94500"/>
          </a:xfrm>
          <a:prstGeom prst="rect">
            <a:avLst/>
          </a:prstGeom>
          <a:solidFill>
            <a:schemeClr val="bg1"/>
          </a:solidFill>
          <a:ln w="12700">
            <a:solidFill>
              <a:srgbClr val="8C8C8C"/>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76" name="Rectangle 79"/>
          <p:cNvSpPr>
            <a:spLocks noChangeArrowheads="1"/>
          </p:cNvSpPr>
          <p:nvPr/>
        </p:nvSpPr>
        <p:spPr bwMode="auto">
          <a:xfrm>
            <a:off x="4329000" y="1215000"/>
            <a:ext cx="216000" cy="94500"/>
          </a:xfrm>
          <a:prstGeom prst="rect">
            <a:avLst/>
          </a:prstGeom>
          <a:solidFill>
            <a:schemeClr val="bg1"/>
          </a:solidFill>
          <a:ln w="12700">
            <a:solidFill>
              <a:srgbClr val="8C8C8C"/>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77" name="Rectangle 80"/>
          <p:cNvSpPr>
            <a:spLocks noChangeArrowheads="1"/>
          </p:cNvSpPr>
          <p:nvPr>
            <p:custDataLst>
              <p:tags r:id="rId185"/>
            </p:custDataLst>
          </p:nvPr>
        </p:nvSpPr>
        <p:spPr bwMode="auto">
          <a:xfrm>
            <a:off x="4626000" y="1215000"/>
            <a:ext cx="216000" cy="94500"/>
          </a:xfrm>
          <a:prstGeom prst="rect">
            <a:avLst/>
          </a:prstGeom>
          <a:solidFill>
            <a:schemeClr val="bg1"/>
          </a:solidFill>
          <a:ln w="12700">
            <a:solidFill>
              <a:srgbClr val="8C8C8C"/>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83" name="Rectangle 86"/>
          <p:cNvSpPr>
            <a:spLocks noChangeArrowheads="1"/>
          </p:cNvSpPr>
          <p:nvPr>
            <p:custDataLst>
              <p:tags r:id="rId186"/>
            </p:custDataLst>
          </p:nvPr>
        </p:nvSpPr>
        <p:spPr bwMode="auto">
          <a:xfrm>
            <a:off x="6111000" y="1215000"/>
            <a:ext cx="216000" cy="94500"/>
          </a:xfrm>
          <a:prstGeom prst="rect">
            <a:avLst/>
          </a:prstGeom>
          <a:solidFill>
            <a:schemeClr val="bg1"/>
          </a:solidFill>
          <a:ln w="12700">
            <a:solidFill>
              <a:srgbClr val="8C8C8C"/>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762968" name="Rectangle 92"/>
          <p:cNvSpPr>
            <a:spLocks noChangeArrowheads="1"/>
          </p:cNvSpPr>
          <p:nvPr>
            <p:custDataLst>
              <p:tags r:id="rId187"/>
            </p:custDataLst>
          </p:nvPr>
        </p:nvSpPr>
        <p:spPr bwMode="auto">
          <a:xfrm>
            <a:off x="3438000" y="1215000"/>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91" name="Rectangle 94"/>
          <p:cNvSpPr>
            <a:spLocks noChangeArrowheads="1"/>
          </p:cNvSpPr>
          <p:nvPr>
            <p:custDataLst>
              <p:tags r:id="rId188"/>
            </p:custDataLst>
          </p:nvPr>
        </p:nvSpPr>
        <p:spPr bwMode="auto">
          <a:xfrm>
            <a:off x="5814000" y="1215000"/>
            <a:ext cx="216000" cy="94500"/>
          </a:xfrm>
          <a:prstGeom prst="rect">
            <a:avLst/>
          </a:prstGeom>
          <a:solidFill>
            <a:schemeClr val="bg1"/>
          </a:solidFill>
          <a:ln w="12700">
            <a:solidFill>
              <a:srgbClr val="8C8C8C"/>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120" name="Rectangle 124"/>
          <p:cNvSpPr>
            <a:spLocks noChangeArrowheads="1"/>
          </p:cNvSpPr>
          <p:nvPr>
            <p:custDataLst>
              <p:tags r:id="rId189"/>
            </p:custDataLst>
          </p:nvPr>
        </p:nvSpPr>
        <p:spPr bwMode="auto">
          <a:xfrm>
            <a:off x="6408000" y="1215000"/>
            <a:ext cx="216000" cy="94500"/>
          </a:xfrm>
          <a:prstGeom prst="rect">
            <a:avLst/>
          </a:prstGeom>
          <a:solidFill>
            <a:schemeClr val="bg1"/>
          </a:solidFill>
          <a:ln w="12700">
            <a:solidFill>
              <a:srgbClr val="8C8C8C"/>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123" name="Rectangle 127"/>
          <p:cNvSpPr>
            <a:spLocks noChangeArrowheads="1"/>
          </p:cNvSpPr>
          <p:nvPr>
            <p:custDataLst>
              <p:tags r:id="rId190"/>
            </p:custDataLst>
          </p:nvPr>
        </p:nvSpPr>
        <p:spPr bwMode="auto">
          <a:xfrm>
            <a:off x="7299000" y="1215000"/>
            <a:ext cx="216000" cy="94500"/>
          </a:xfrm>
          <a:prstGeom prst="rect">
            <a:avLst/>
          </a:prstGeom>
          <a:solidFill>
            <a:schemeClr val="bg1"/>
          </a:solidFill>
          <a:ln w="12700">
            <a:solidFill>
              <a:srgbClr val="8C8C8C"/>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grpSp>
        <p:nvGrpSpPr>
          <p:cNvPr id="325" name="Group 324"/>
          <p:cNvGrpSpPr/>
          <p:nvPr/>
        </p:nvGrpSpPr>
        <p:grpSpPr>
          <a:xfrm>
            <a:off x="2844000" y="1215000"/>
            <a:ext cx="216000" cy="94500"/>
            <a:chOff x="2520000" y="1624013"/>
            <a:chExt cx="288000" cy="126000"/>
          </a:xfrm>
          <a:solidFill>
            <a:schemeClr val="accent4"/>
          </a:solidFill>
        </p:grpSpPr>
        <p:sp>
          <p:nvSpPr>
            <p:cNvPr id="763102" name="Rectangle 73"/>
            <p:cNvSpPr>
              <a:spLocks noChangeArrowheads="1"/>
            </p:cNvSpPr>
            <p:nvPr>
              <p:custDataLst>
                <p:tags r:id="rId200"/>
              </p:custDataLst>
            </p:nvPr>
          </p:nvSpPr>
          <p:spPr bwMode="auto">
            <a:xfrm>
              <a:off x="2520000" y="1624013"/>
              <a:ext cx="288000" cy="1260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284" name="Right Triangle 283"/>
            <p:cNvSpPr/>
            <p:nvPr/>
          </p:nvSpPr>
          <p:spPr>
            <a:xfrm flipH="1">
              <a:off x="2520000" y="1624013"/>
              <a:ext cx="288000" cy="126000"/>
            </a:xfrm>
            <a:prstGeom prst="rtTriangle">
              <a:avLst/>
            </a:prstGeom>
            <a:solidFill>
              <a:srgbClr val="00A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buClrTx/>
              </a:pPr>
              <a:endParaRPr lang="en-GB" sz="1050" kern="1200">
                <a:solidFill>
                  <a:srgbClr val="313131"/>
                </a:solidFill>
                <a:latin typeface="Arial"/>
              </a:endParaRPr>
            </a:p>
          </p:txBody>
        </p:sp>
      </p:grpSp>
      <p:grpSp>
        <p:nvGrpSpPr>
          <p:cNvPr id="323" name="Group 322"/>
          <p:cNvGrpSpPr/>
          <p:nvPr/>
        </p:nvGrpSpPr>
        <p:grpSpPr>
          <a:xfrm>
            <a:off x="2547000" y="1215000"/>
            <a:ext cx="216000" cy="94500"/>
            <a:chOff x="2070000" y="1624013"/>
            <a:chExt cx="288000" cy="126000"/>
          </a:xfrm>
          <a:solidFill>
            <a:schemeClr val="accent4"/>
          </a:solidFill>
        </p:grpSpPr>
        <p:sp>
          <p:nvSpPr>
            <p:cNvPr id="763100" name="Rectangle 73"/>
            <p:cNvSpPr>
              <a:spLocks noChangeArrowheads="1"/>
            </p:cNvSpPr>
            <p:nvPr>
              <p:custDataLst>
                <p:tags r:id="rId199"/>
              </p:custDataLst>
            </p:nvPr>
          </p:nvSpPr>
          <p:spPr bwMode="auto">
            <a:xfrm>
              <a:off x="2070000" y="1624013"/>
              <a:ext cx="288000" cy="1260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285" name="Right Triangle 284"/>
            <p:cNvSpPr/>
            <p:nvPr/>
          </p:nvSpPr>
          <p:spPr>
            <a:xfrm flipH="1">
              <a:off x="2070000" y="1624013"/>
              <a:ext cx="288000" cy="126000"/>
            </a:xfrm>
            <a:prstGeom prst="rtTriangle">
              <a:avLst/>
            </a:prstGeom>
            <a:solidFill>
              <a:srgbClr val="00A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buClrTx/>
              </a:pPr>
              <a:endParaRPr lang="en-GB" sz="1050" kern="1200">
                <a:solidFill>
                  <a:srgbClr val="313131"/>
                </a:solidFill>
                <a:latin typeface="Arial"/>
              </a:endParaRPr>
            </a:p>
          </p:txBody>
        </p:sp>
      </p:grpSp>
      <p:grpSp>
        <p:nvGrpSpPr>
          <p:cNvPr id="322" name="Group 321"/>
          <p:cNvGrpSpPr/>
          <p:nvPr/>
        </p:nvGrpSpPr>
        <p:grpSpPr>
          <a:xfrm>
            <a:off x="2250000" y="1215000"/>
            <a:ext cx="216000" cy="94500"/>
            <a:chOff x="1620000" y="1624013"/>
            <a:chExt cx="288000" cy="126000"/>
          </a:xfrm>
          <a:solidFill>
            <a:schemeClr val="accent4"/>
          </a:solidFill>
        </p:grpSpPr>
        <p:sp>
          <p:nvSpPr>
            <p:cNvPr id="763098" name="Rectangle 73"/>
            <p:cNvSpPr>
              <a:spLocks noChangeArrowheads="1"/>
            </p:cNvSpPr>
            <p:nvPr>
              <p:custDataLst>
                <p:tags r:id="rId198"/>
              </p:custDataLst>
            </p:nvPr>
          </p:nvSpPr>
          <p:spPr bwMode="auto">
            <a:xfrm>
              <a:off x="1620000" y="1624013"/>
              <a:ext cx="288000" cy="1260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286" name="Right Triangle 285"/>
            <p:cNvSpPr/>
            <p:nvPr/>
          </p:nvSpPr>
          <p:spPr>
            <a:xfrm flipH="1">
              <a:off x="1620000" y="1624013"/>
              <a:ext cx="288000" cy="126000"/>
            </a:xfrm>
            <a:prstGeom prst="rtTriangle">
              <a:avLst/>
            </a:prstGeom>
            <a:solidFill>
              <a:srgbClr val="00A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buClrTx/>
              </a:pPr>
              <a:endParaRPr lang="en-GB" sz="1050" kern="1200">
                <a:solidFill>
                  <a:srgbClr val="313131"/>
                </a:solidFill>
                <a:latin typeface="Arial"/>
              </a:endParaRPr>
            </a:p>
          </p:txBody>
        </p:sp>
      </p:grpSp>
      <p:grpSp>
        <p:nvGrpSpPr>
          <p:cNvPr id="320" name="Group 319"/>
          <p:cNvGrpSpPr/>
          <p:nvPr/>
        </p:nvGrpSpPr>
        <p:grpSpPr>
          <a:xfrm>
            <a:off x="1953000" y="1215000"/>
            <a:ext cx="216000" cy="94500"/>
            <a:chOff x="1170000" y="1624013"/>
            <a:chExt cx="288000" cy="126000"/>
          </a:xfrm>
          <a:solidFill>
            <a:schemeClr val="accent4"/>
          </a:solidFill>
        </p:grpSpPr>
        <p:sp>
          <p:nvSpPr>
            <p:cNvPr id="763096" name="Rectangle 73"/>
            <p:cNvSpPr>
              <a:spLocks noChangeArrowheads="1"/>
            </p:cNvSpPr>
            <p:nvPr>
              <p:custDataLst>
                <p:tags r:id="rId197"/>
              </p:custDataLst>
            </p:nvPr>
          </p:nvSpPr>
          <p:spPr bwMode="auto">
            <a:xfrm>
              <a:off x="1170000" y="1624013"/>
              <a:ext cx="288000" cy="1260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287" name="Right Triangle 286"/>
            <p:cNvSpPr/>
            <p:nvPr/>
          </p:nvSpPr>
          <p:spPr>
            <a:xfrm flipH="1">
              <a:off x="1170000" y="1624013"/>
              <a:ext cx="288000" cy="126000"/>
            </a:xfrm>
            <a:prstGeom prst="rtTriangle">
              <a:avLst/>
            </a:prstGeom>
            <a:solidFill>
              <a:srgbClr val="00A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buClrTx/>
              </a:pPr>
              <a:endParaRPr lang="en-GB" sz="1050" kern="1200">
                <a:solidFill>
                  <a:srgbClr val="313131"/>
                </a:solidFill>
                <a:latin typeface="Arial"/>
              </a:endParaRPr>
            </a:p>
          </p:txBody>
        </p:sp>
      </p:grpSp>
      <p:grpSp>
        <p:nvGrpSpPr>
          <p:cNvPr id="328" name="Group 327"/>
          <p:cNvGrpSpPr/>
          <p:nvPr/>
        </p:nvGrpSpPr>
        <p:grpSpPr>
          <a:xfrm>
            <a:off x="6705000" y="1215000"/>
            <a:ext cx="216000" cy="94500"/>
            <a:chOff x="8370000" y="1624013"/>
            <a:chExt cx="288000" cy="126000"/>
          </a:xfrm>
          <a:solidFill>
            <a:schemeClr val="accent1"/>
          </a:solidFill>
        </p:grpSpPr>
        <p:sp>
          <p:nvSpPr>
            <p:cNvPr id="763153" name="Rectangle 73"/>
            <p:cNvSpPr>
              <a:spLocks noChangeArrowheads="1"/>
            </p:cNvSpPr>
            <p:nvPr/>
          </p:nvSpPr>
          <p:spPr bwMode="auto">
            <a:xfrm>
              <a:off x="8370000" y="1624013"/>
              <a:ext cx="288000" cy="126000"/>
            </a:xfrm>
            <a:prstGeom prst="rect">
              <a:avLst/>
            </a:prstGeom>
            <a:solidFill>
              <a:srgbClr val="00A1DE"/>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288" name="Right Triangle 287"/>
            <p:cNvSpPr/>
            <p:nvPr/>
          </p:nvSpPr>
          <p:spPr>
            <a:xfrm flipH="1">
              <a:off x="8370000" y="1624013"/>
              <a:ext cx="288000" cy="126000"/>
            </a:xfrm>
            <a:prstGeom prst="rtTriangl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buClrTx/>
              </a:pPr>
              <a:endParaRPr lang="en-GB" sz="1050" kern="1200">
                <a:solidFill>
                  <a:srgbClr val="313131"/>
                </a:solidFill>
                <a:latin typeface="Arial"/>
              </a:endParaRPr>
            </a:p>
          </p:txBody>
        </p:sp>
      </p:grpSp>
      <p:grpSp>
        <p:nvGrpSpPr>
          <p:cNvPr id="326" name="Group 325"/>
          <p:cNvGrpSpPr/>
          <p:nvPr/>
        </p:nvGrpSpPr>
        <p:grpSpPr>
          <a:xfrm>
            <a:off x="3735000" y="1215000"/>
            <a:ext cx="216000" cy="94500"/>
            <a:chOff x="3870000" y="1624013"/>
            <a:chExt cx="288000" cy="126000"/>
          </a:xfrm>
          <a:solidFill>
            <a:schemeClr val="accent5"/>
          </a:solidFill>
        </p:grpSpPr>
        <p:sp>
          <p:nvSpPr>
            <p:cNvPr id="763105" name="Rectangle 73"/>
            <p:cNvSpPr>
              <a:spLocks noChangeArrowheads="1"/>
            </p:cNvSpPr>
            <p:nvPr>
              <p:custDataLst>
                <p:tags r:id="rId196"/>
              </p:custDataLst>
            </p:nvPr>
          </p:nvSpPr>
          <p:spPr bwMode="auto">
            <a:xfrm>
              <a:off x="3870000" y="1624013"/>
              <a:ext cx="288000" cy="126000"/>
            </a:xfrm>
            <a:prstGeom prst="rect">
              <a:avLst/>
            </a:prstGeom>
            <a:solidFill>
              <a:srgbClr val="00A1DE"/>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289" name="Right Triangle 288"/>
            <p:cNvSpPr/>
            <p:nvPr/>
          </p:nvSpPr>
          <p:spPr>
            <a:xfrm flipH="1">
              <a:off x="3870000" y="1624013"/>
              <a:ext cx="288000" cy="126000"/>
            </a:xfrm>
            <a:prstGeom prst="rtTriangl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buClrTx/>
              </a:pPr>
              <a:endParaRPr lang="en-GB" sz="1050" kern="1200">
                <a:solidFill>
                  <a:srgbClr val="313131"/>
                </a:solidFill>
                <a:latin typeface="Arial"/>
              </a:endParaRPr>
            </a:p>
          </p:txBody>
        </p:sp>
      </p:grpSp>
      <p:sp>
        <p:nvSpPr>
          <p:cNvPr id="317" name="Rectangle 79"/>
          <p:cNvSpPr>
            <a:spLocks noChangeArrowheads="1"/>
          </p:cNvSpPr>
          <p:nvPr>
            <p:custDataLst>
              <p:tags r:id="rId191"/>
            </p:custDataLst>
          </p:nvPr>
        </p:nvSpPr>
        <p:spPr bwMode="auto">
          <a:xfrm>
            <a:off x="4032000" y="1215000"/>
            <a:ext cx="216000" cy="94500"/>
          </a:xfrm>
          <a:prstGeom prst="rect">
            <a:avLst/>
          </a:prstGeom>
          <a:solidFill>
            <a:schemeClr val="bg1"/>
          </a:solidFill>
          <a:ln w="12700">
            <a:solidFill>
              <a:srgbClr val="8C8C8C"/>
            </a:solidFill>
            <a:miter lim="800000"/>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763065" name="Rectangle 203"/>
          <p:cNvSpPr>
            <a:spLocks noChangeArrowheads="1"/>
          </p:cNvSpPr>
          <p:nvPr>
            <p:custDataLst>
              <p:tags r:id="rId192"/>
            </p:custDataLst>
          </p:nvPr>
        </p:nvSpPr>
        <p:spPr bwMode="auto">
          <a:xfrm>
            <a:off x="2844000" y="1485000"/>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763066" name="Rectangle 204"/>
          <p:cNvSpPr>
            <a:spLocks noChangeArrowheads="1"/>
          </p:cNvSpPr>
          <p:nvPr>
            <p:custDataLst>
              <p:tags r:id="rId193"/>
            </p:custDataLst>
          </p:nvPr>
        </p:nvSpPr>
        <p:spPr bwMode="auto">
          <a:xfrm>
            <a:off x="3141000" y="1485000"/>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763067" name="Rectangle 205"/>
          <p:cNvSpPr>
            <a:spLocks noChangeArrowheads="1"/>
          </p:cNvSpPr>
          <p:nvPr>
            <p:custDataLst>
              <p:tags r:id="rId194"/>
            </p:custDataLst>
          </p:nvPr>
        </p:nvSpPr>
        <p:spPr bwMode="auto">
          <a:xfrm>
            <a:off x="3438000" y="1485000"/>
            <a:ext cx="216000" cy="94500"/>
          </a:xfrm>
          <a:prstGeom prst="rect">
            <a:avLst/>
          </a:prstGeom>
          <a:solidFill>
            <a:schemeClr val="accent2"/>
          </a:solidFill>
          <a:ln w="12700">
            <a:solidFill>
              <a:schemeClr val="tx2"/>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763068" name="Rectangle 206"/>
          <p:cNvSpPr>
            <a:spLocks noChangeArrowheads="1"/>
          </p:cNvSpPr>
          <p:nvPr/>
        </p:nvSpPr>
        <p:spPr bwMode="auto">
          <a:xfrm>
            <a:off x="3438000" y="1485000"/>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grpSp>
        <p:nvGrpSpPr>
          <p:cNvPr id="376" name="Group 375"/>
          <p:cNvGrpSpPr/>
          <p:nvPr/>
        </p:nvGrpSpPr>
        <p:grpSpPr>
          <a:xfrm>
            <a:off x="1953000" y="1485000"/>
            <a:ext cx="216000" cy="94500"/>
            <a:chOff x="1080000" y="1980000"/>
            <a:chExt cx="288000" cy="126000"/>
          </a:xfrm>
        </p:grpSpPr>
        <p:sp>
          <p:nvSpPr>
            <p:cNvPr id="763151" name="Rectangle 73"/>
            <p:cNvSpPr>
              <a:spLocks noChangeArrowheads="1"/>
            </p:cNvSpPr>
            <p:nvPr/>
          </p:nvSpPr>
          <p:spPr bwMode="auto">
            <a:xfrm>
              <a:off x="1080000" y="1980000"/>
              <a:ext cx="288000" cy="126000"/>
            </a:xfrm>
            <a:prstGeom prst="rect">
              <a:avLst/>
            </a:prstGeom>
            <a:solidFill>
              <a:srgbClr val="00A1DE"/>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290" name="Right Triangle 289"/>
            <p:cNvSpPr/>
            <p:nvPr/>
          </p:nvSpPr>
          <p:spPr>
            <a:xfrm flipH="1">
              <a:off x="1080000" y="1980000"/>
              <a:ext cx="288000" cy="126000"/>
            </a:xfrm>
            <a:prstGeom prst="rtTriangl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buClrTx/>
              </a:pPr>
              <a:endParaRPr lang="en-GB" sz="1050" kern="1200">
                <a:solidFill>
                  <a:srgbClr val="313131"/>
                </a:solidFill>
                <a:latin typeface="Arial"/>
              </a:endParaRPr>
            </a:p>
          </p:txBody>
        </p:sp>
      </p:grpSp>
      <p:grpSp>
        <p:nvGrpSpPr>
          <p:cNvPr id="377" name="Group 376"/>
          <p:cNvGrpSpPr/>
          <p:nvPr/>
        </p:nvGrpSpPr>
        <p:grpSpPr>
          <a:xfrm>
            <a:off x="2250000" y="1485000"/>
            <a:ext cx="216000" cy="94500"/>
            <a:chOff x="1476000" y="1980000"/>
            <a:chExt cx="288000" cy="126000"/>
          </a:xfrm>
        </p:grpSpPr>
        <p:sp>
          <p:nvSpPr>
            <p:cNvPr id="763149" name="Rectangle 73"/>
            <p:cNvSpPr>
              <a:spLocks noChangeArrowheads="1"/>
            </p:cNvSpPr>
            <p:nvPr/>
          </p:nvSpPr>
          <p:spPr bwMode="auto">
            <a:xfrm>
              <a:off x="1476000" y="1980000"/>
              <a:ext cx="288000" cy="126000"/>
            </a:xfrm>
            <a:prstGeom prst="rect">
              <a:avLst/>
            </a:prstGeom>
            <a:solidFill>
              <a:srgbClr val="00A1DE"/>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292" name="Right Triangle 291"/>
            <p:cNvSpPr/>
            <p:nvPr/>
          </p:nvSpPr>
          <p:spPr>
            <a:xfrm flipH="1">
              <a:off x="1476000" y="1980000"/>
              <a:ext cx="288000" cy="126000"/>
            </a:xfrm>
            <a:prstGeom prst="rtTriangl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buClrTx/>
              </a:pPr>
              <a:endParaRPr lang="en-GB" sz="1050" kern="1200">
                <a:solidFill>
                  <a:srgbClr val="313131"/>
                </a:solidFill>
                <a:latin typeface="Arial"/>
              </a:endParaRPr>
            </a:p>
          </p:txBody>
        </p:sp>
      </p:grpSp>
      <p:grpSp>
        <p:nvGrpSpPr>
          <p:cNvPr id="378" name="Group 377"/>
          <p:cNvGrpSpPr/>
          <p:nvPr/>
        </p:nvGrpSpPr>
        <p:grpSpPr>
          <a:xfrm>
            <a:off x="2547000" y="1485000"/>
            <a:ext cx="216000" cy="94500"/>
            <a:chOff x="1872000" y="1980000"/>
            <a:chExt cx="288000" cy="126000"/>
          </a:xfrm>
        </p:grpSpPr>
        <p:sp>
          <p:nvSpPr>
            <p:cNvPr id="763147" name="Rectangle 73"/>
            <p:cNvSpPr>
              <a:spLocks noChangeArrowheads="1"/>
            </p:cNvSpPr>
            <p:nvPr/>
          </p:nvSpPr>
          <p:spPr bwMode="auto">
            <a:xfrm>
              <a:off x="1872000" y="1980000"/>
              <a:ext cx="288000" cy="126000"/>
            </a:xfrm>
            <a:prstGeom prst="rect">
              <a:avLst/>
            </a:prstGeom>
            <a:solidFill>
              <a:srgbClr val="00A1DE"/>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294" name="Right Triangle 293"/>
            <p:cNvSpPr/>
            <p:nvPr/>
          </p:nvSpPr>
          <p:spPr>
            <a:xfrm flipH="1">
              <a:off x="1872000" y="1980000"/>
              <a:ext cx="288000" cy="126000"/>
            </a:xfrm>
            <a:prstGeom prst="rtTriangl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buClrTx/>
              </a:pPr>
              <a:endParaRPr lang="en-GB" sz="1050" kern="1200">
                <a:solidFill>
                  <a:srgbClr val="313131"/>
                </a:solidFill>
                <a:latin typeface="Arial"/>
              </a:endParaRPr>
            </a:p>
          </p:txBody>
        </p:sp>
      </p:grpSp>
      <p:grpSp>
        <p:nvGrpSpPr>
          <p:cNvPr id="329" name="Group 328"/>
          <p:cNvGrpSpPr/>
          <p:nvPr/>
        </p:nvGrpSpPr>
        <p:grpSpPr>
          <a:xfrm>
            <a:off x="4923000" y="1485000"/>
            <a:ext cx="216000" cy="94500"/>
            <a:chOff x="5670000" y="1982788"/>
            <a:chExt cx="288000" cy="126000"/>
          </a:xfrm>
          <a:solidFill>
            <a:schemeClr val="accent5"/>
          </a:solidFill>
        </p:grpSpPr>
        <p:sp>
          <p:nvSpPr>
            <p:cNvPr id="763139" name="Rectangle 73"/>
            <p:cNvSpPr>
              <a:spLocks noChangeArrowheads="1"/>
            </p:cNvSpPr>
            <p:nvPr/>
          </p:nvSpPr>
          <p:spPr bwMode="auto">
            <a:xfrm>
              <a:off x="5670000" y="1982788"/>
              <a:ext cx="288000" cy="126000"/>
            </a:xfrm>
            <a:prstGeom prst="rect">
              <a:avLst/>
            </a:prstGeom>
            <a:solidFill>
              <a:srgbClr val="00A1DE"/>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295" name="Right Triangle 294"/>
            <p:cNvSpPr/>
            <p:nvPr/>
          </p:nvSpPr>
          <p:spPr>
            <a:xfrm flipH="1">
              <a:off x="5670000" y="1982788"/>
              <a:ext cx="288000" cy="126000"/>
            </a:xfrm>
            <a:prstGeom prst="rtTriangl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buClrTx/>
              </a:pPr>
              <a:endParaRPr lang="en-GB" sz="1050" kern="1200">
                <a:solidFill>
                  <a:srgbClr val="313131"/>
                </a:solidFill>
                <a:latin typeface="Arial"/>
              </a:endParaRPr>
            </a:p>
          </p:txBody>
        </p:sp>
      </p:grpSp>
      <p:grpSp>
        <p:nvGrpSpPr>
          <p:cNvPr id="331" name="Group 330"/>
          <p:cNvGrpSpPr/>
          <p:nvPr/>
        </p:nvGrpSpPr>
        <p:grpSpPr>
          <a:xfrm>
            <a:off x="5220000" y="1485000"/>
            <a:ext cx="216000" cy="94500"/>
            <a:chOff x="6120000" y="1982788"/>
            <a:chExt cx="288000" cy="126000"/>
          </a:xfrm>
          <a:solidFill>
            <a:schemeClr val="accent5"/>
          </a:solidFill>
        </p:grpSpPr>
        <p:sp>
          <p:nvSpPr>
            <p:cNvPr id="763137" name="Rectangle 73"/>
            <p:cNvSpPr>
              <a:spLocks noChangeArrowheads="1"/>
            </p:cNvSpPr>
            <p:nvPr/>
          </p:nvSpPr>
          <p:spPr bwMode="auto">
            <a:xfrm>
              <a:off x="6120000" y="1982788"/>
              <a:ext cx="288000" cy="126000"/>
            </a:xfrm>
            <a:prstGeom prst="rect">
              <a:avLst/>
            </a:prstGeom>
            <a:solidFill>
              <a:srgbClr val="00A1DE"/>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296" name="Right Triangle 295"/>
            <p:cNvSpPr/>
            <p:nvPr/>
          </p:nvSpPr>
          <p:spPr>
            <a:xfrm flipH="1">
              <a:off x="6120000" y="1982788"/>
              <a:ext cx="288000" cy="126000"/>
            </a:xfrm>
            <a:prstGeom prst="rtTriangl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buClrTx/>
              </a:pPr>
              <a:endParaRPr lang="en-GB" sz="1050" kern="1200">
                <a:solidFill>
                  <a:srgbClr val="313131"/>
                </a:solidFill>
                <a:latin typeface="Arial"/>
              </a:endParaRPr>
            </a:p>
          </p:txBody>
        </p:sp>
      </p:grpSp>
      <p:grpSp>
        <p:nvGrpSpPr>
          <p:cNvPr id="332" name="Group 331"/>
          <p:cNvGrpSpPr/>
          <p:nvPr/>
        </p:nvGrpSpPr>
        <p:grpSpPr>
          <a:xfrm>
            <a:off x="5517000" y="1485000"/>
            <a:ext cx="216000" cy="94500"/>
            <a:chOff x="6570000" y="1982788"/>
            <a:chExt cx="288000" cy="126000"/>
          </a:xfrm>
          <a:solidFill>
            <a:schemeClr val="accent5"/>
          </a:solidFill>
        </p:grpSpPr>
        <p:sp>
          <p:nvSpPr>
            <p:cNvPr id="763135" name="Rectangle 73"/>
            <p:cNvSpPr>
              <a:spLocks noChangeArrowheads="1"/>
            </p:cNvSpPr>
            <p:nvPr/>
          </p:nvSpPr>
          <p:spPr bwMode="auto">
            <a:xfrm>
              <a:off x="6570000" y="1982788"/>
              <a:ext cx="288000" cy="126000"/>
            </a:xfrm>
            <a:prstGeom prst="rect">
              <a:avLst/>
            </a:prstGeom>
            <a:solidFill>
              <a:srgbClr val="00A1DE"/>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
          <p:nvSpPr>
            <p:cNvPr id="298" name="Right Triangle 297"/>
            <p:cNvSpPr/>
            <p:nvPr/>
          </p:nvSpPr>
          <p:spPr>
            <a:xfrm flipH="1">
              <a:off x="6570000" y="1982788"/>
              <a:ext cx="288000" cy="126000"/>
            </a:xfrm>
            <a:prstGeom prst="rtTriangl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buClrTx/>
              </a:pPr>
              <a:endParaRPr lang="en-GB" sz="1050" kern="1200">
                <a:solidFill>
                  <a:srgbClr val="313131"/>
                </a:solidFill>
                <a:latin typeface="Arial"/>
              </a:endParaRPr>
            </a:p>
          </p:txBody>
        </p:sp>
      </p:grpSp>
      <p:sp>
        <p:nvSpPr>
          <p:cNvPr id="319" name="Rectangle 206"/>
          <p:cNvSpPr>
            <a:spLocks noChangeArrowheads="1"/>
          </p:cNvSpPr>
          <p:nvPr>
            <p:custDataLst>
              <p:tags r:id="rId195"/>
            </p:custDataLst>
          </p:nvPr>
        </p:nvSpPr>
        <p:spPr bwMode="auto">
          <a:xfrm>
            <a:off x="3735000" y="1485000"/>
            <a:ext cx="216000" cy="94500"/>
          </a:xfrm>
          <a:prstGeom prst="rect">
            <a:avLst/>
          </a:prstGeom>
          <a:solidFill>
            <a:srgbClr val="B4B4B4"/>
          </a:solidFill>
          <a:ln w="12700">
            <a:solidFill>
              <a:schemeClr val="bg1"/>
            </a:solidFill>
            <a:miter lim="800000"/>
            <a:headEnd/>
            <a:tailEnd/>
          </a:ln>
        </p:spPr>
        <p:txBody>
          <a:bodyPr wrap="none" lIns="0" tIns="0" rIns="0" bIns="0" anchor="ctr"/>
          <a:lstStyle/>
          <a:p>
            <a:pPr defTabSz="685800">
              <a:buClrTx/>
            </a:pPr>
            <a:endParaRPr lang="en-US" sz="1350" kern="1200">
              <a:solidFill>
                <a:srgbClr val="313131"/>
              </a:solidFill>
              <a:ea typeface="+mn-ea"/>
              <a:cs typeface="+mn-cs"/>
            </a:endParaRPr>
          </a:p>
        </p:txBody>
      </p:sp>
    </p:spTree>
  </p:cSld>
  <p:clrMapOvr>
    <a:masterClrMapping/>
  </p:clrMapOvr>
  <p:transition>
    <p:fade/>
  </p:transition>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3361" name="Title 1"/>
          <p:cNvSpPr>
            <a:spLocks noGrp="1"/>
          </p:cNvSpPr>
          <p:nvPr>
            <p:ph type="title"/>
          </p:nvPr>
        </p:nvSpPr>
        <p:spPr/>
        <p:txBody>
          <a:bodyPr/>
          <a:lstStyle/>
          <a:p>
            <a:r>
              <a:rPr lang="en-US" altLang="ja-JP" dirty="0"/>
              <a:t>Activity map </a:t>
            </a:r>
            <a:br>
              <a:rPr lang="en-US" altLang="ja-JP" dirty="0"/>
            </a:br>
            <a:r>
              <a:rPr lang="en-US" altLang="ja-JP" dirty="0">
                <a:solidFill>
                  <a:srgbClr val="575757"/>
                </a:solidFill>
              </a:rPr>
              <a:t>Competitor overview</a:t>
            </a:r>
            <a:endParaRPr lang="en-US" dirty="0">
              <a:solidFill>
                <a:srgbClr val="575757"/>
              </a:solidFill>
            </a:endParaRPr>
          </a:p>
        </p:txBody>
      </p:sp>
      <p:sp>
        <p:nvSpPr>
          <p:cNvPr id="783364" name="Rectangle 4"/>
          <p:cNvSpPr>
            <a:spLocks noChangeArrowheads="1"/>
          </p:cNvSpPr>
          <p:nvPr/>
        </p:nvSpPr>
        <p:spPr bwMode="auto">
          <a:xfrm>
            <a:off x="4502681" y="4577953"/>
            <a:ext cx="377429" cy="153591"/>
          </a:xfrm>
          <a:prstGeom prst="rect">
            <a:avLst/>
          </a:prstGeom>
          <a:solidFill>
            <a:srgbClr val="B4B4B4"/>
          </a:solidFill>
          <a:ln w="12700">
            <a:solidFill>
              <a:schemeClr val="bg1"/>
            </a:solidFill>
            <a:miter lim="800000"/>
            <a:headEnd/>
            <a:tailEnd/>
          </a:ln>
        </p:spPr>
        <p:txBody>
          <a:bodyPr wrap="none" anchor="ctr"/>
          <a:lstStyle/>
          <a:p>
            <a:pPr algn="ctr" defTabSz="685800">
              <a:buClrTx/>
            </a:pPr>
            <a:endParaRPr lang="en-US" sz="900" kern="1200">
              <a:solidFill>
                <a:srgbClr val="313131"/>
              </a:solidFill>
              <a:ea typeface="+mn-ea"/>
              <a:cs typeface="+mn-cs"/>
            </a:endParaRPr>
          </a:p>
        </p:txBody>
      </p:sp>
      <p:sp>
        <p:nvSpPr>
          <p:cNvPr id="6" name="Rectangle 5"/>
          <p:cNvSpPr>
            <a:spLocks noChangeArrowheads="1"/>
          </p:cNvSpPr>
          <p:nvPr/>
        </p:nvSpPr>
        <p:spPr bwMode="auto">
          <a:xfrm>
            <a:off x="5661160" y="4577953"/>
            <a:ext cx="377428" cy="153591"/>
          </a:xfrm>
          <a:prstGeom prst="rect">
            <a:avLst/>
          </a:prstGeom>
          <a:solidFill>
            <a:srgbClr val="00A1DE"/>
          </a:solidFill>
          <a:ln w="12700" algn="ctr">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783366" name="Text Box 6"/>
          <p:cNvSpPr txBox="1">
            <a:spLocks noChangeArrowheads="1"/>
          </p:cNvSpPr>
          <p:nvPr/>
        </p:nvSpPr>
        <p:spPr bwMode="auto">
          <a:xfrm>
            <a:off x="4920592" y="4597040"/>
            <a:ext cx="509755" cy="115416"/>
          </a:xfrm>
          <a:prstGeom prst="rect">
            <a:avLst/>
          </a:prstGeom>
          <a:noFill/>
          <a:ln w="9525" algn="ctr">
            <a:noFill/>
            <a:miter lim="800000"/>
            <a:headEnd/>
            <a:tailEnd/>
          </a:ln>
        </p:spPr>
        <p:txBody>
          <a:bodyPr wrap="none" lIns="0" tIns="0" rIns="0" bIns="0">
            <a:spAutoFit/>
          </a:bodyPr>
          <a:lstStyle/>
          <a:p>
            <a:pPr defTabSz="685800">
              <a:buClrTx/>
            </a:pPr>
            <a:r>
              <a:rPr lang="en-US" altLang="ja-JP" sz="750" kern="1200" dirty="0">
                <a:solidFill>
                  <a:srgbClr val="313131"/>
                </a:solidFill>
                <a:ea typeface="ＭＳ Ｐゴシック" charset="-128"/>
                <a:cs typeface="+mn-cs"/>
              </a:rPr>
              <a:t>Advantaged</a:t>
            </a:r>
          </a:p>
        </p:txBody>
      </p:sp>
      <p:sp>
        <p:nvSpPr>
          <p:cNvPr id="783367" name="Text Box 7"/>
          <p:cNvSpPr txBox="1">
            <a:spLocks noChangeArrowheads="1"/>
          </p:cNvSpPr>
          <p:nvPr/>
        </p:nvSpPr>
        <p:spPr bwMode="auto">
          <a:xfrm>
            <a:off x="6068354" y="4597040"/>
            <a:ext cx="307777" cy="115416"/>
          </a:xfrm>
          <a:prstGeom prst="rect">
            <a:avLst/>
          </a:prstGeom>
          <a:noFill/>
          <a:ln w="9525" algn="ctr">
            <a:noFill/>
            <a:miter lim="800000"/>
            <a:headEnd/>
            <a:tailEnd/>
          </a:ln>
        </p:spPr>
        <p:txBody>
          <a:bodyPr wrap="none" lIns="0" tIns="0" rIns="0" bIns="0">
            <a:spAutoFit/>
          </a:bodyPr>
          <a:lstStyle/>
          <a:p>
            <a:pPr defTabSz="685800">
              <a:buClrTx/>
            </a:pPr>
            <a:r>
              <a:rPr lang="en-US" altLang="ja-JP" sz="750" kern="1200" dirty="0">
                <a:solidFill>
                  <a:srgbClr val="313131"/>
                </a:solidFill>
                <a:ea typeface="ＭＳ Ｐゴシック" charset="-128"/>
                <a:cs typeface="+mn-cs"/>
              </a:rPr>
              <a:t>Neutral</a:t>
            </a:r>
          </a:p>
        </p:txBody>
      </p:sp>
      <p:sp>
        <p:nvSpPr>
          <p:cNvPr id="783363" name="Text Box 3"/>
          <p:cNvSpPr txBox="1">
            <a:spLocks noChangeArrowheads="1"/>
          </p:cNvSpPr>
          <p:nvPr/>
        </p:nvSpPr>
        <p:spPr bwMode="auto">
          <a:xfrm>
            <a:off x="1464469" y="1662113"/>
            <a:ext cx="205184" cy="128881"/>
          </a:xfrm>
          <a:prstGeom prst="rect">
            <a:avLst/>
          </a:prstGeom>
          <a:noFill/>
          <a:ln w="9525" algn="ctr">
            <a:noFill/>
            <a:miter lim="800000"/>
            <a:headEnd type="none" w="sm" len="sm"/>
            <a:tailEnd type="none" w="sm" len="sm"/>
          </a:ln>
        </p:spPr>
        <p:txBody>
          <a:bodyPr wrap="none" lIns="0" tIns="0" rIns="0" bIns="0">
            <a:spAutoFit/>
          </a:bodyPr>
          <a:lstStyle/>
          <a:p>
            <a:pPr marL="138113" indent="-138113" defTabSz="685800">
              <a:lnSpc>
                <a:spcPct val="110000"/>
              </a:lnSpc>
              <a:buClrTx/>
            </a:pPr>
            <a:r>
              <a:rPr lang="en-US" altLang="ja-JP" sz="825" kern="1200">
                <a:solidFill>
                  <a:srgbClr val="313131"/>
                </a:solidFill>
                <a:ea typeface="ＭＳ Ｐゴシック" charset="-128"/>
                <a:cs typeface="+mn-cs"/>
              </a:rPr>
              <a:t>Text</a:t>
            </a:r>
          </a:p>
        </p:txBody>
      </p:sp>
      <p:sp>
        <p:nvSpPr>
          <p:cNvPr id="783369" name="Text Box 9"/>
          <p:cNvSpPr txBox="1">
            <a:spLocks noChangeArrowheads="1"/>
          </p:cNvSpPr>
          <p:nvPr/>
        </p:nvSpPr>
        <p:spPr bwMode="auto">
          <a:xfrm>
            <a:off x="1464469" y="2325291"/>
            <a:ext cx="205184" cy="128881"/>
          </a:xfrm>
          <a:prstGeom prst="rect">
            <a:avLst/>
          </a:prstGeom>
          <a:noFill/>
          <a:ln w="9525" algn="ctr">
            <a:noFill/>
            <a:miter lim="800000"/>
            <a:headEnd type="none" w="sm" len="sm"/>
            <a:tailEnd type="none" w="sm" len="sm"/>
          </a:ln>
        </p:spPr>
        <p:txBody>
          <a:bodyPr wrap="none" lIns="0" tIns="0" rIns="0" bIns="0">
            <a:spAutoFit/>
          </a:bodyPr>
          <a:lstStyle/>
          <a:p>
            <a:pPr marL="138113" indent="-138113" defTabSz="685800">
              <a:lnSpc>
                <a:spcPct val="110000"/>
              </a:lnSpc>
              <a:buClrTx/>
            </a:pPr>
            <a:r>
              <a:rPr lang="en-US" altLang="ja-JP" sz="825" kern="1200">
                <a:solidFill>
                  <a:srgbClr val="313131"/>
                </a:solidFill>
                <a:ea typeface="ＭＳ Ｐゴシック" charset="-128"/>
                <a:cs typeface="+mn-cs"/>
              </a:rPr>
              <a:t>Text</a:t>
            </a:r>
          </a:p>
        </p:txBody>
      </p:sp>
      <p:sp>
        <p:nvSpPr>
          <p:cNvPr id="783370" name="Text Box 10"/>
          <p:cNvSpPr txBox="1">
            <a:spLocks noChangeArrowheads="1"/>
          </p:cNvSpPr>
          <p:nvPr/>
        </p:nvSpPr>
        <p:spPr bwMode="auto">
          <a:xfrm>
            <a:off x="1464469" y="2657475"/>
            <a:ext cx="205184" cy="128881"/>
          </a:xfrm>
          <a:prstGeom prst="rect">
            <a:avLst/>
          </a:prstGeom>
          <a:noFill/>
          <a:ln w="9525" algn="ctr">
            <a:noFill/>
            <a:miter lim="800000"/>
            <a:headEnd type="none" w="sm" len="sm"/>
            <a:tailEnd type="none" w="sm" len="sm"/>
          </a:ln>
        </p:spPr>
        <p:txBody>
          <a:bodyPr wrap="none" lIns="0" tIns="0" rIns="0" bIns="0">
            <a:spAutoFit/>
          </a:bodyPr>
          <a:lstStyle/>
          <a:p>
            <a:pPr marL="138113" indent="-138113" defTabSz="685800">
              <a:lnSpc>
                <a:spcPct val="110000"/>
              </a:lnSpc>
              <a:buClrTx/>
            </a:pPr>
            <a:r>
              <a:rPr lang="en-US" altLang="ja-JP" sz="825" kern="1200">
                <a:solidFill>
                  <a:srgbClr val="313131"/>
                </a:solidFill>
                <a:ea typeface="ＭＳ Ｐゴシック" charset="-128"/>
                <a:cs typeface="+mn-cs"/>
              </a:rPr>
              <a:t>Text</a:t>
            </a:r>
          </a:p>
        </p:txBody>
      </p:sp>
      <p:sp>
        <p:nvSpPr>
          <p:cNvPr id="783371" name="Text Box 11"/>
          <p:cNvSpPr txBox="1">
            <a:spLocks noChangeArrowheads="1"/>
          </p:cNvSpPr>
          <p:nvPr/>
        </p:nvSpPr>
        <p:spPr bwMode="auto">
          <a:xfrm>
            <a:off x="1464469" y="2988469"/>
            <a:ext cx="205184" cy="128881"/>
          </a:xfrm>
          <a:prstGeom prst="rect">
            <a:avLst/>
          </a:prstGeom>
          <a:noFill/>
          <a:ln w="9525" algn="ctr">
            <a:noFill/>
            <a:miter lim="800000"/>
            <a:headEnd type="none" w="sm" len="sm"/>
            <a:tailEnd type="none" w="sm" len="sm"/>
          </a:ln>
        </p:spPr>
        <p:txBody>
          <a:bodyPr wrap="none" lIns="0" tIns="0" rIns="0" bIns="0">
            <a:spAutoFit/>
          </a:bodyPr>
          <a:lstStyle/>
          <a:p>
            <a:pPr marL="138113" indent="-138113" defTabSz="685800">
              <a:lnSpc>
                <a:spcPct val="110000"/>
              </a:lnSpc>
              <a:buClrTx/>
            </a:pPr>
            <a:r>
              <a:rPr lang="en-US" altLang="ja-JP" sz="825" kern="1200">
                <a:solidFill>
                  <a:srgbClr val="313131"/>
                </a:solidFill>
                <a:ea typeface="ＭＳ Ｐゴシック" charset="-128"/>
                <a:cs typeface="+mn-cs"/>
              </a:rPr>
              <a:t>Text</a:t>
            </a:r>
          </a:p>
        </p:txBody>
      </p:sp>
      <p:sp>
        <p:nvSpPr>
          <p:cNvPr id="783372" name="Text Box 12"/>
          <p:cNvSpPr txBox="1">
            <a:spLocks noChangeArrowheads="1"/>
          </p:cNvSpPr>
          <p:nvPr/>
        </p:nvSpPr>
        <p:spPr bwMode="auto">
          <a:xfrm>
            <a:off x="1464469" y="3320653"/>
            <a:ext cx="205184" cy="128881"/>
          </a:xfrm>
          <a:prstGeom prst="rect">
            <a:avLst/>
          </a:prstGeom>
          <a:noFill/>
          <a:ln w="9525" algn="ctr">
            <a:noFill/>
            <a:miter lim="800000"/>
            <a:headEnd type="none" w="sm" len="sm"/>
            <a:tailEnd type="none" w="sm" len="sm"/>
          </a:ln>
        </p:spPr>
        <p:txBody>
          <a:bodyPr wrap="none" lIns="0" tIns="0" rIns="0" bIns="0">
            <a:spAutoFit/>
          </a:bodyPr>
          <a:lstStyle/>
          <a:p>
            <a:pPr marL="138113" indent="-138113" defTabSz="685800">
              <a:lnSpc>
                <a:spcPct val="110000"/>
              </a:lnSpc>
              <a:buClrTx/>
            </a:pPr>
            <a:r>
              <a:rPr lang="en-US" altLang="ja-JP" sz="825" kern="1200">
                <a:solidFill>
                  <a:srgbClr val="313131"/>
                </a:solidFill>
                <a:ea typeface="ＭＳ Ｐゴシック" charset="-128"/>
                <a:cs typeface="+mn-cs"/>
              </a:rPr>
              <a:t>Text</a:t>
            </a:r>
          </a:p>
        </p:txBody>
      </p:sp>
      <p:sp>
        <p:nvSpPr>
          <p:cNvPr id="783373" name="Text Box 13"/>
          <p:cNvSpPr txBox="1">
            <a:spLocks noChangeArrowheads="1"/>
          </p:cNvSpPr>
          <p:nvPr/>
        </p:nvSpPr>
        <p:spPr bwMode="auto">
          <a:xfrm>
            <a:off x="1464469" y="3652838"/>
            <a:ext cx="205184" cy="128881"/>
          </a:xfrm>
          <a:prstGeom prst="rect">
            <a:avLst/>
          </a:prstGeom>
          <a:noFill/>
          <a:ln w="9525" algn="ctr">
            <a:noFill/>
            <a:miter lim="800000"/>
            <a:headEnd type="none" w="sm" len="sm"/>
            <a:tailEnd type="none" w="sm" len="sm"/>
          </a:ln>
        </p:spPr>
        <p:txBody>
          <a:bodyPr wrap="none" lIns="0" tIns="0" rIns="0" bIns="0">
            <a:spAutoFit/>
          </a:bodyPr>
          <a:lstStyle/>
          <a:p>
            <a:pPr marL="138113" indent="-138113" defTabSz="685800">
              <a:lnSpc>
                <a:spcPct val="110000"/>
              </a:lnSpc>
              <a:buClrTx/>
            </a:pPr>
            <a:r>
              <a:rPr lang="en-US" altLang="ja-JP" sz="825" kern="1200">
                <a:solidFill>
                  <a:srgbClr val="313131"/>
                </a:solidFill>
                <a:ea typeface="ＭＳ Ｐゴシック" charset="-128"/>
                <a:cs typeface="+mn-cs"/>
              </a:rPr>
              <a:t>Text</a:t>
            </a:r>
          </a:p>
        </p:txBody>
      </p:sp>
      <p:sp>
        <p:nvSpPr>
          <p:cNvPr id="783374" name="Text Box 14"/>
          <p:cNvSpPr txBox="1">
            <a:spLocks noChangeArrowheads="1"/>
          </p:cNvSpPr>
          <p:nvPr/>
        </p:nvSpPr>
        <p:spPr bwMode="auto">
          <a:xfrm>
            <a:off x="1464469" y="3985022"/>
            <a:ext cx="205184" cy="128881"/>
          </a:xfrm>
          <a:prstGeom prst="rect">
            <a:avLst/>
          </a:prstGeom>
          <a:noFill/>
          <a:ln w="9525" algn="ctr">
            <a:noFill/>
            <a:miter lim="800000"/>
            <a:headEnd type="none" w="sm" len="sm"/>
            <a:tailEnd type="none" w="sm" len="sm"/>
          </a:ln>
        </p:spPr>
        <p:txBody>
          <a:bodyPr wrap="none" lIns="0" tIns="0" rIns="0" bIns="0">
            <a:spAutoFit/>
          </a:bodyPr>
          <a:lstStyle/>
          <a:p>
            <a:pPr marL="138113" indent="-138113" defTabSz="685800">
              <a:lnSpc>
                <a:spcPct val="110000"/>
              </a:lnSpc>
              <a:buClrTx/>
            </a:pPr>
            <a:r>
              <a:rPr lang="en-US" altLang="ja-JP" sz="825" kern="1200">
                <a:solidFill>
                  <a:srgbClr val="313131"/>
                </a:solidFill>
                <a:ea typeface="ＭＳ Ｐゴシック" charset="-128"/>
                <a:cs typeface="+mn-cs"/>
              </a:rPr>
              <a:t>Text</a:t>
            </a:r>
          </a:p>
        </p:txBody>
      </p:sp>
      <p:sp>
        <p:nvSpPr>
          <p:cNvPr id="783375" name="Text Box 15"/>
          <p:cNvSpPr txBox="1">
            <a:spLocks noChangeArrowheads="1"/>
          </p:cNvSpPr>
          <p:nvPr/>
        </p:nvSpPr>
        <p:spPr bwMode="auto">
          <a:xfrm>
            <a:off x="3252638" y="1371600"/>
            <a:ext cx="205184" cy="126958"/>
          </a:xfrm>
          <a:prstGeom prst="rect">
            <a:avLst/>
          </a:prstGeom>
          <a:noFill/>
          <a:ln w="9525">
            <a:noFill/>
            <a:miter lim="800000"/>
            <a:headEnd type="none" w="sm" len="sm"/>
            <a:tailEnd type="none" w="sm" len="sm"/>
          </a:ln>
        </p:spPr>
        <p:txBody>
          <a:bodyPr wrap="none" lIns="0" tIns="0" rIns="0" bIns="0">
            <a:spAutoFit/>
          </a:bodyPr>
          <a:lstStyle/>
          <a:p>
            <a:pPr algn="ctr" defTabSz="685800">
              <a:buClrTx/>
            </a:pPr>
            <a:r>
              <a:rPr lang="en-US" altLang="ja-JP" sz="825" kern="1200">
                <a:solidFill>
                  <a:srgbClr val="313131"/>
                </a:solidFill>
                <a:ea typeface="ＭＳ Ｐゴシック" charset="-128"/>
                <a:cs typeface="+mn-cs"/>
              </a:rPr>
              <a:t>Text</a:t>
            </a:r>
          </a:p>
        </p:txBody>
      </p:sp>
      <p:sp>
        <p:nvSpPr>
          <p:cNvPr id="783376" name="Text Box 16"/>
          <p:cNvSpPr txBox="1">
            <a:spLocks noChangeArrowheads="1"/>
          </p:cNvSpPr>
          <p:nvPr/>
        </p:nvSpPr>
        <p:spPr bwMode="auto">
          <a:xfrm>
            <a:off x="4879032" y="1371600"/>
            <a:ext cx="205184" cy="126958"/>
          </a:xfrm>
          <a:prstGeom prst="rect">
            <a:avLst/>
          </a:prstGeom>
          <a:noFill/>
          <a:ln w="9525">
            <a:noFill/>
            <a:miter lim="800000"/>
            <a:headEnd type="none" w="sm" len="sm"/>
            <a:tailEnd type="none" w="sm" len="sm"/>
          </a:ln>
        </p:spPr>
        <p:txBody>
          <a:bodyPr wrap="none" lIns="0" tIns="0" rIns="0" bIns="0">
            <a:spAutoFit/>
          </a:bodyPr>
          <a:lstStyle/>
          <a:p>
            <a:pPr algn="ctr" defTabSz="685800">
              <a:buClrTx/>
            </a:pPr>
            <a:r>
              <a:rPr lang="en-US" altLang="ja-JP" sz="825" kern="1200">
                <a:solidFill>
                  <a:srgbClr val="313131"/>
                </a:solidFill>
                <a:ea typeface="ＭＳ Ｐゴシック" charset="-128"/>
                <a:cs typeface="+mn-cs"/>
              </a:rPr>
              <a:t>Text</a:t>
            </a:r>
          </a:p>
        </p:txBody>
      </p:sp>
      <p:sp>
        <p:nvSpPr>
          <p:cNvPr id="783377" name="Text Box 17"/>
          <p:cNvSpPr txBox="1">
            <a:spLocks noChangeArrowheads="1"/>
          </p:cNvSpPr>
          <p:nvPr/>
        </p:nvSpPr>
        <p:spPr bwMode="auto">
          <a:xfrm>
            <a:off x="4038451" y="1371600"/>
            <a:ext cx="205184" cy="126958"/>
          </a:xfrm>
          <a:prstGeom prst="rect">
            <a:avLst/>
          </a:prstGeom>
          <a:noFill/>
          <a:ln w="9525">
            <a:noFill/>
            <a:miter lim="800000"/>
            <a:headEnd type="none" w="sm" len="sm"/>
            <a:tailEnd type="none" w="sm" len="sm"/>
          </a:ln>
        </p:spPr>
        <p:txBody>
          <a:bodyPr wrap="none" lIns="0" tIns="0" rIns="0" bIns="0">
            <a:spAutoFit/>
          </a:bodyPr>
          <a:lstStyle/>
          <a:p>
            <a:pPr algn="ctr" defTabSz="685800">
              <a:buClrTx/>
            </a:pPr>
            <a:r>
              <a:rPr lang="en-US" altLang="ja-JP" sz="825" kern="1200">
                <a:solidFill>
                  <a:srgbClr val="313131"/>
                </a:solidFill>
                <a:ea typeface="ＭＳ Ｐゴシック" charset="-128"/>
                <a:cs typeface="+mn-cs"/>
              </a:rPr>
              <a:t>Text</a:t>
            </a:r>
          </a:p>
        </p:txBody>
      </p:sp>
      <p:sp>
        <p:nvSpPr>
          <p:cNvPr id="783378" name="Text Box 18"/>
          <p:cNvSpPr txBox="1">
            <a:spLocks noChangeArrowheads="1"/>
          </p:cNvSpPr>
          <p:nvPr/>
        </p:nvSpPr>
        <p:spPr bwMode="auto">
          <a:xfrm>
            <a:off x="5713660" y="1371600"/>
            <a:ext cx="205184" cy="126958"/>
          </a:xfrm>
          <a:prstGeom prst="rect">
            <a:avLst/>
          </a:prstGeom>
          <a:noFill/>
          <a:ln w="9525">
            <a:noFill/>
            <a:miter lim="800000"/>
            <a:headEnd type="none" w="sm" len="sm"/>
            <a:tailEnd type="none" w="sm" len="sm"/>
          </a:ln>
        </p:spPr>
        <p:txBody>
          <a:bodyPr wrap="none" lIns="0" tIns="0" rIns="0" bIns="0">
            <a:spAutoFit/>
          </a:bodyPr>
          <a:lstStyle/>
          <a:p>
            <a:pPr algn="ctr" defTabSz="685800">
              <a:buClrTx/>
            </a:pPr>
            <a:r>
              <a:rPr lang="en-US" altLang="ja-JP" sz="825" kern="1200">
                <a:solidFill>
                  <a:srgbClr val="313131"/>
                </a:solidFill>
                <a:ea typeface="ＭＳ Ｐゴシック" charset="-128"/>
                <a:cs typeface="+mn-cs"/>
              </a:rPr>
              <a:t>Text</a:t>
            </a:r>
          </a:p>
        </p:txBody>
      </p:sp>
      <p:sp>
        <p:nvSpPr>
          <p:cNvPr id="20" name="Rectangle 19"/>
          <p:cNvSpPr>
            <a:spLocks noChangeArrowheads="1"/>
          </p:cNvSpPr>
          <p:nvPr/>
        </p:nvSpPr>
        <p:spPr bwMode="auto">
          <a:xfrm>
            <a:off x="3249216" y="1662113"/>
            <a:ext cx="375047" cy="153591"/>
          </a:xfrm>
          <a:prstGeom prst="rect">
            <a:avLst/>
          </a:prstGeom>
          <a:solidFill>
            <a:srgbClr val="00A1DE"/>
          </a:solidFill>
          <a:ln w="12700" algn="ctr">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21" name="Rectangle 20"/>
          <p:cNvSpPr>
            <a:spLocks noChangeArrowheads="1"/>
          </p:cNvSpPr>
          <p:nvPr/>
        </p:nvSpPr>
        <p:spPr bwMode="auto">
          <a:xfrm>
            <a:off x="3249216" y="2988469"/>
            <a:ext cx="375047" cy="153591"/>
          </a:xfrm>
          <a:prstGeom prst="rect">
            <a:avLst/>
          </a:prstGeom>
          <a:solidFill>
            <a:schemeClr val="bg1"/>
          </a:solidFill>
          <a:ln w="12700" algn="ctr">
            <a:solidFill>
              <a:srgbClr val="B4B4B4"/>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783381" name="Rectangle 21"/>
          <p:cNvSpPr>
            <a:spLocks noChangeArrowheads="1"/>
          </p:cNvSpPr>
          <p:nvPr/>
        </p:nvSpPr>
        <p:spPr bwMode="auto">
          <a:xfrm>
            <a:off x="3249216" y="3316181"/>
            <a:ext cx="375047" cy="153591"/>
          </a:xfrm>
          <a:prstGeom prst="rect">
            <a:avLst/>
          </a:prstGeom>
          <a:solidFill>
            <a:srgbClr val="B4B4B4"/>
          </a:solidFill>
          <a:ln w="12700" algn="ctr">
            <a:solidFill>
              <a:schemeClr val="bg1"/>
            </a:solidFill>
            <a:miter lim="800000"/>
            <a:headEnd/>
            <a:tailEnd/>
          </a:ln>
        </p:spPr>
        <p:txBody>
          <a:bodyPr wrap="none" anchor="ctr"/>
          <a:lstStyle/>
          <a:p>
            <a:pPr algn="ctr" defTabSz="685800">
              <a:buClrTx/>
            </a:pPr>
            <a:endParaRPr lang="en-US" sz="900" kern="1200">
              <a:solidFill>
                <a:srgbClr val="313131"/>
              </a:solidFill>
              <a:ea typeface="+mn-ea"/>
              <a:cs typeface="+mn-cs"/>
            </a:endParaRPr>
          </a:p>
        </p:txBody>
      </p:sp>
      <p:sp>
        <p:nvSpPr>
          <p:cNvPr id="783382" name="Rectangle 22"/>
          <p:cNvSpPr>
            <a:spLocks noChangeArrowheads="1"/>
          </p:cNvSpPr>
          <p:nvPr/>
        </p:nvSpPr>
        <p:spPr bwMode="auto">
          <a:xfrm>
            <a:off x="3249216" y="3648366"/>
            <a:ext cx="375047" cy="153590"/>
          </a:xfrm>
          <a:prstGeom prst="rect">
            <a:avLst/>
          </a:prstGeom>
          <a:solidFill>
            <a:srgbClr val="B4B4B4"/>
          </a:solidFill>
          <a:ln w="12700" algn="ctr">
            <a:solidFill>
              <a:schemeClr val="bg1"/>
            </a:solidFill>
            <a:miter lim="800000"/>
            <a:headEnd/>
            <a:tailEnd/>
          </a:ln>
        </p:spPr>
        <p:txBody>
          <a:bodyPr wrap="none" anchor="ctr"/>
          <a:lstStyle/>
          <a:p>
            <a:pPr algn="ctr" defTabSz="685800">
              <a:buClrTx/>
            </a:pPr>
            <a:endParaRPr lang="en-US" sz="900" kern="1200">
              <a:solidFill>
                <a:srgbClr val="313131"/>
              </a:solidFill>
              <a:ea typeface="+mn-ea"/>
              <a:cs typeface="+mn-cs"/>
            </a:endParaRPr>
          </a:p>
        </p:txBody>
      </p:sp>
      <p:sp>
        <p:nvSpPr>
          <p:cNvPr id="24" name="Rectangle 23"/>
          <p:cNvSpPr>
            <a:spLocks noChangeArrowheads="1"/>
          </p:cNvSpPr>
          <p:nvPr/>
        </p:nvSpPr>
        <p:spPr bwMode="auto">
          <a:xfrm>
            <a:off x="3249216" y="3985022"/>
            <a:ext cx="375047" cy="153590"/>
          </a:xfrm>
          <a:prstGeom prst="rect">
            <a:avLst/>
          </a:prstGeom>
          <a:solidFill>
            <a:srgbClr val="00A1DE"/>
          </a:solidFill>
          <a:ln w="12700">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25" name="Rectangle 24"/>
          <p:cNvSpPr>
            <a:spLocks noChangeArrowheads="1"/>
          </p:cNvSpPr>
          <p:nvPr/>
        </p:nvSpPr>
        <p:spPr bwMode="auto">
          <a:xfrm>
            <a:off x="3249216" y="1993107"/>
            <a:ext cx="375047" cy="153590"/>
          </a:xfrm>
          <a:prstGeom prst="rect">
            <a:avLst/>
          </a:prstGeom>
          <a:solidFill>
            <a:schemeClr val="bg1"/>
          </a:solidFill>
          <a:ln w="12700" algn="ctr">
            <a:solidFill>
              <a:srgbClr val="B4B4B4"/>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26" name="Rectangle 25"/>
          <p:cNvSpPr>
            <a:spLocks noChangeArrowheads="1"/>
          </p:cNvSpPr>
          <p:nvPr/>
        </p:nvSpPr>
        <p:spPr bwMode="auto">
          <a:xfrm>
            <a:off x="3249216" y="2325290"/>
            <a:ext cx="375047" cy="153591"/>
          </a:xfrm>
          <a:prstGeom prst="rect">
            <a:avLst/>
          </a:prstGeom>
          <a:solidFill>
            <a:schemeClr val="bg1"/>
          </a:solidFill>
          <a:ln w="12700" algn="ctr">
            <a:solidFill>
              <a:srgbClr val="B4B4B4"/>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27" name="Rectangle 26"/>
          <p:cNvSpPr>
            <a:spLocks noChangeArrowheads="1"/>
          </p:cNvSpPr>
          <p:nvPr/>
        </p:nvSpPr>
        <p:spPr bwMode="auto">
          <a:xfrm>
            <a:off x="3249216" y="2657476"/>
            <a:ext cx="375047" cy="153590"/>
          </a:xfrm>
          <a:prstGeom prst="rect">
            <a:avLst/>
          </a:prstGeom>
          <a:solidFill>
            <a:schemeClr val="bg1"/>
          </a:solidFill>
          <a:ln w="12700" algn="ctr">
            <a:solidFill>
              <a:srgbClr val="B4B4B4"/>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783387" name="Text Box 27"/>
          <p:cNvSpPr txBox="1">
            <a:spLocks noChangeArrowheads="1"/>
          </p:cNvSpPr>
          <p:nvPr/>
        </p:nvSpPr>
        <p:spPr bwMode="auto">
          <a:xfrm>
            <a:off x="2431107" y="1371600"/>
            <a:ext cx="205184" cy="126958"/>
          </a:xfrm>
          <a:prstGeom prst="rect">
            <a:avLst/>
          </a:prstGeom>
          <a:noFill/>
          <a:ln w="9525">
            <a:noFill/>
            <a:miter lim="800000"/>
            <a:headEnd type="none" w="sm" len="sm"/>
            <a:tailEnd type="none" w="sm" len="sm"/>
          </a:ln>
        </p:spPr>
        <p:txBody>
          <a:bodyPr wrap="none" lIns="0" tIns="0" rIns="0" bIns="0">
            <a:spAutoFit/>
          </a:bodyPr>
          <a:lstStyle/>
          <a:p>
            <a:pPr algn="ctr" defTabSz="685800">
              <a:buClrTx/>
            </a:pPr>
            <a:r>
              <a:rPr lang="en-US" altLang="ja-JP" sz="825" kern="1200">
                <a:solidFill>
                  <a:srgbClr val="313131"/>
                </a:solidFill>
                <a:ea typeface="ＭＳ Ｐゴシック" charset="-128"/>
                <a:cs typeface="+mn-cs"/>
              </a:rPr>
              <a:t>Text</a:t>
            </a:r>
          </a:p>
        </p:txBody>
      </p:sp>
      <p:sp>
        <p:nvSpPr>
          <p:cNvPr id="29" name="Rectangle 28"/>
          <p:cNvSpPr>
            <a:spLocks noChangeArrowheads="1"/>
          </p:cNvSpPr>
          <p:nvPr/>
        </p:nvSpPr>
        <p:spPr bwMode="auto">
          <a:xfrm>
            <a:off x="2427685" y="1662113"/>
            <a:ext cx="378619" cy="153591"/>
          </a:xfrm>
          <a:prstGeom prst="rect">
            <a:avLst/>
          </a:prstGeom>
          <a:solidFill>
            <a:schemeClr val="bg1"/>
          </a:solidFill>
          <a:ln w="12700" algn="ctr">
            <a:solidFill>
              <a:srgbClr val="B4B4B4"/>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30" name="Rectangle 29"/>
          <p:cNvSpPr>
            <a:spLocks noChangeArrowheads="1"/>
          </p:cNvSpPr>
          <p:nvPr/>
        </p:nvSpPr>
        <p:spPr bwMode="auto">
          <a:xfrm>
            <a:off x="2427685" y="1993107"/>
            <a:ext cx="378619" cy="153590"/>
          </a:xfrm>
          <a:prstGeom prst="rect">
            <a:avLst/>
          </a:prstGeom>
          <a:solidFill>
            <a:srgbClr val="00A1DE"/>
          </a:solidFill>
          <a:ln w="12700">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31" name="Rectangle 30"/>
          <p:cNvSpPr>
            <a:spLocks noChangeArrowheads="1"/>
          </p:cNvSpPr>
          <p:nvPr/>
        </p:nvSpPr>
        <p:spPr bwMode="auto">
          <a:xfrm>
            <a:off x="2427685" y="2325290"/>
            <a:ext cx="378619" cy="153591"/>
          </a:xfrm>
          <a:prstGeom prst="rect">
            <a:avLst/>
          </a:prstGeom>
          <a:solidFill>
            <a:srgbClr val="00A1DE"/>
          </a:solidFill>
          <a:ln w="12700">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32" name="Rectangle 31"/>
          <p:cNvSpPr>
            <a:spLocks noChangeArrowheads="1"/>
          </p:cNvSpPr>
          <p:nvPr/>
        </p:nvSpPr>
        <p:spPr bwMode="auto">
          <a:xfrm>
            <a:off x="2427685" y="2657476"/>
            <a:ext cx="378619" cy="153590"/>
          </a:xfrm>
          <a:prstGeom prst="rect">
            <a:avLst/>
          </a:prstGeom>
          <a:solidFill>
            <a:srgbClr val="00A1DE"/>
          </a:solidFill>
          <a:ln w="12700" algn="ctr">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783392" name="Rectangle 32"/>
          <p:cNvSpPr>
            <a:spLocks noChangeArrowheads="1"/>
          </p:cNvSpPr>
          <p:nvPr/>
        </p:nvSpPr>
        <p:spPr bwMode="auto">
          <a:xfrm>
            <a:off x="2427685" y="2983997"/>
            <a:ext cx="378619" cy="153591"/>
          </a:xfrm>
          <a:prstGeom prst="rect">
            <a:avLst/>
          </a:prstGeom>
          <a:solidFill>
            <a:srgbClr val="B4B4B4"/>
          </a:solidFill>
          <a:ln w="12700" algn="ctr">
            <a:solidFill>
              <a:schemeClr val="bg1"/>
            </a:solidFill>
            <a:miter lim="800000"/>
            <a:headEnd/>
            <a:tailEnd/>
          </a:ln>
        </p:spPr>
        <p:txBody>
          <a:bodyPr wrap="none" anchor="ctr"/>
          <a:lstStyle/>
          <a:p>
            <a:pPr algn="ctr" defTabSz="685800">
              <a:buClrTx/>
            </a:pPr>
            <a:endParaRPr lang="en-US" sz="900" kern="1200">
              <a:solidFill>
                <a:srgbClr val="313131"/>
              </a:solidFill>
              <a:ea typeface="+mn-ea"/>
              <a:cs typeface="+mn-cs"/>
            </a:endParaRPr>
          </a:p>
        </p:txBody>
      </p:sp>
      <p:sp>
        <p:nvSpPr>
          <p:cNvPr id="783393" name="Text Box 33"/>
          <p:cNvSpPr txBox="1">
            <a:spLocks noChangeArrowheads="1"/>
          </p:cNvSpPr>
          <p:nvPr/>
        </p:nvSpPr>
        <p:spPr bwMode="auto">
          <a:xfrm>
            <a:off x="6526857" y="1371600"/>
            <a:ext cx="205184" cy="126958"/>
          </a:xfrm>
          <a:prstGeom prst="rect">
            <a:avLst/>
          </a:prstGeom>
          <a:noFill/>
          <a:ln w="9525">
            <a:noFill/>
            <a:miter lim="800000"/>
            <a:headEnd type="none" w="sm" len="sm"/>
            <a:tailEnd type="none" w="sm" len="sm"/>
          </a:ln>
        </p:spPr>
        <p:txBody>
          <a:bodyPr wrap="none" lIns="0" tIns="0" rIns="0" bIns="0">
            <a:spAutoFit/>
          </a:bodyPr>
          <a:lstStyle/>
          <a:p>
            <a:pPr algn="ctr" defTabSz="685800">
              <a:buClrTx/>
            </a:pPr>
            <a:r>
              <a:rPr lang="en-US" altLang="ja-JP" sz="825" kern="1200">
                <a:solidFill>
                  <a:srgbClr val="313131"/>
                </a:solidFill>
                <a:ea typeface="ＭＳ Ｐゴシック" charset="-128"/>
                <a:cs typeface="+mn-cs"/>
              </a:rPr>
              <a:t>Text</a:t>
            </a:r>
          </a:p>
        </p:txBody>
      </p:sp>
      <p:sp>
        <p:nvSpPr>
          <p:cNvPr id="35" name="Rectangle 34"/>
          <p:cNvSpPr>
            <a:spLocks noChangeArrowheads="1"/>
          </p:cNvSpPr>
          <p:nvPr/>
        </p:nvSpPr>
        <p:spPr bwMode="auto">
          <a:xfrm>
            <a:off x="2427685" y="3320653"/>
            <a:ext cx="378619" cy="153591"/>
          </a:xfrm>
          <a:prstGeom prst="rect">
            <a:avLst/>
          </a:prstGeom>
          <a:solidFill>
            <a:srgbClr val="00A1DE"/>
          </a:solidFill>
          <a:ln w="12700">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36" name="Rectangle 35"/>
          <p:cNvSpPr>
            <a:spLocks noChangeArrowheads="1"/>
          </p:cNvSpPr>
          <p:nvPr/>
        </p:nvSpPr>
        <p:spPr bwMode="auto">
          <a:xfrm>
            <a:off x="2427685" y="3652838"/>
            <a:ext cx="378619" cy="153590"/>
          </a:xfrm>
          <a:prstGeom prst="rect">
            <a:avLst/>
          </a:prstGeom>
          <a:solidFill>
            <a:srgbClr val="00A1DE"/>
          </a:solidFill>
          <a:ln w="12700" algn="ctr">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37" name="Rectangle 36"/>
          <p:cNvSpPr>
            <a:spLocks noChangeArrowheads="1"/>
          </p:cNvSpPr>
          <p:nvPr/>
        </p:nvSpPr>
        <p:spPr bwMode="auto">
          <a:xfrm>
            <a:off x="2427685" y="3985022"/>
            <a:ext cx="378619" cy="153590"/>
          </a:xfrm>
          <a:prstGeom prst="rect">
            <a:avLst/>
          </a:prstGeom>
          <a:solidFill>
            <a:srgbClr val="00A1DE"/>
          </a:solidFill>
          <a:ln w="12700">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38" name="Rectangle 37"/>
          <p:cNvSpPr>
            <a:spLocks noChangeArrowheads="1"/>
          </p:cNvSpPr>
          <p:nvPr/>
        </p:nvSpPr>
        <p:spPr bwMode="auto">
          <a:xfrm>
            <a:off x="4875610" y="1662113"/>
            <a:ext cx="377428" cy="153591"/>
          </a:xfrm>
          <a:prstGeom prst="rect">
            <a:avLst/>
          </a:prstGeom>
          <a:solidFill>
            <a:schemeClr val="bg1"/>
          </a:solidFill>
          <a:ln w="12700" algn="ctr">
            <a:solidFill>
              <a:srgbClr val="B4B4B4"/>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39" name="Rectangle 38"/>
          <p:cNvSpPr>
            <a:spLocks noChangeArrowheads="1"/>
          </p:cNvSpPr>
          <p:nvPr/>
        </p:nvSpPr>
        <p:spPr bwMode="auto">
          <a:xfrm>
            <a:off x="4875610" y="2988469"/>
            <a:ext cx="377428" cy="153591"/>
          </a:xfrm>
          <a:prstGeom prst="rect">
            <a:avLst/>
          </a:prstGeom>
          <a:solidFill>
            <a:schemeClr val="bg1"/>
          </a:solidFill>
          <a:ln w="12700" algn="ctr">
            <a:solidFill>
              <a:srgbClr val="B4B4B4"/>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40" name="Rectangle 39"/>
          <p:cNvSpPr>
            <a:spLocks noChangeArrowheads="1"/>
          </p:cNvSpPr>
          <p:nvPr/>
        </p:nvSpPr>
        <p:spPr bwMode="auto">
          <a:xfrm>
            <a:off x="4875610" y="3320653"/>
            <a:ext cx="377428" cy="153591"/>
          </a:xfrm>
          <a:prstGeom prst="rect">
            <a:avLst/>
          </a:prstGeom>
          <a:solidFill>
            <a:srgbClr val="00A1DE"/>
          </a:solidFill>
          <a:ln w="12700">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783400" name="Rectangle 40"/>
          <p:cNvSpPr>
            <a:spLocks noChangeArrowheads="1"/>
          </p:cNvSpPr>
          <p:nvPr/>
        </p:nvSpPr>
        <p:spPr bwMode="auto">
          <a:xfrm>
            <a:off x="4875610" y="3648366"/>
            <a:ext cx="377428" cy="153590"/>
          </a:xfrm>
          <a:prstGeom prst="rect">
            <a:avLst/>
          </a:prstGeom>
          <a:solidFill>
            <a:srgbClr val="B4B4B4"/>
          </a:solidFill>
          <a:ln w="12700" algn="ctr">
            <a:solidFill>
              <a:schemeClr val="bg1"/>
            </a:solidFill>
            <a:miter lim="800000"/>
            <a:headEnd/>
            <a:tailEnd/>
          </a:ln>
        </p:spPr>
        <p:txBody>
          <a:bodyPr wrap="none" anchor="ctr"/>
          <a:lstStyle/>
          <a:p>
            <a:pPr algn="ctr" defTabSz="685800">
              <a:buClrTx/>
            </a:pPr>
            <a:endParaRPr lang="en-US" sz="900" kern="1200">
              <a:solidFill>
                <a:srgbClr val="313131"/>
              </a:solidFill>
              <a:ea typeface="+mn-ea"/>
              <a:cs typeface="+mn-cs"/>
            </a:endParaRPr>
          </a:p>
        </p:txBody>
      </p:sp>
      <p:sp>
        <p:nvSpPr>
          <p:cNvPr id="42" name="Rectangle 41"/>
          <p:cNvSpPr>
            <a:spLocks noChangeArrowheads="1"/>
          </p:cNvSpPr>
          <p:nvPr/>
        </p:nvSpPr>
        <p:spPr bwMode="auto">
          <a:xfrm>
            <a:off x="4875610" y="1993107"/>
            <a:ext cx="377428" cy="153590"/>
          </a:xfrm>
          <a:prstGeom prst="rect">
            <a:avLst/>
          </a:prstGeom>
          <a:solidFill>
            <a:schemeClr val="bg1"/>
          </a:solidFill>
          <a:ln w="12700" algn="ctr">
            <a:solidFill>
              <a:srgbClr val="B4B4B4"/>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43" name="Rectangle 42"/>
          <p:cNvSpPr>
            <a:spLocks noChangeArrowheads="1"/>
          </p:cNvSpPr>
          <p:nvPr/>
        </p:nvSpPr>
        <p:spPr bwMode="auto">
          <a:xfrm>
            <a:off x="4875610" y="2325290"/>
            <a:ext cx="377428" cy="153591"/>
          </a:xfrm>
          <a:prstGeom prst="rect">
            <a:avLst/>
          </a:prstGeom>
          <a:solidFill>
            <a:schemeClr val="bg1"/>
          </a:solidFill>
          <a:ln w="12700" algn="ctr">
            <a:solidFill>
              <a:srgbClr val="B4B4B4"/>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44" name="Rectangle 43"/>
          <p:cNvSpPr>
            <a:spLocks noChangeArrowheads="1"/>
          </p:cNvSpPr>
          <p:nvPr/>
        </p:nvSpPr>
        <p:spPr bwMode="auto">
          <a:xfrm>
            <a:off x="4875610" y="2657476"/>
            <a:ext cx="377428" cy="153590"/>
          </a:xfrm>
          <a:prstGeom prst="rect">
            <a:avLst/>
          </a:prstGeom>
          <a:solidFill>
            <a:schemeClr val="bg1"/>
          </a:solidFill>
          <a:ln w="12700" algn="ctr">
            <a:solidFill>
              <a:srgbClr val="B4B4B4"/>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45" name="Rectangle 44"/>
          <p:cNvSpPr>
            <a:spLocks noChangeArrowheads="1"/>
          </p:cNvSpPr>
          <p:nvPr/>
        </p:nvSpPr>
        <p:spPr bwMode="auto">
          <a:xfrm>
            <a:off x="4035029" y="1662113"/>
            <a:ext cx="378619" cy="153591"/>
          </a:xfrm>
          <a:prstGeom prst="rect">
            <a:avLst/>
          </a:prstGeom>
          <a:solidFill>
            <a:schemeClr val="bg1"/>
          </a:solidFill>
          <a:ln w="12700" algn="ctr">
            <a:solidFill>
              <a:srgbClr val="B4B4B4"/>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46" name="Rectangle 45"/>
          <p:cNvSpPr>
            <a:spLocks noChangeArrowheads="1"/>
          </p:cNvSpPr>
          <p:nvPr/>
        </p:nvSpPr>
        <p:spPr bwMode="auto">
          <a:xfrm>
            <a:off x="4035029" y="1993107"/>
            <a:ext cx="378619" cy="153590"/>
          </a:xfrm>
          <a:prstGeom prst="rect">
            <a:avLst/>
          </a:prstGeom>
          <a:solidFill>
            <a:srgbClr val="00A1DE"/>
          </a:solidFill>
          <a:ln w="12700">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47" name="Rectangle 46"/>
          <p:cNvSpPr>
            <a:spLocks noChangeArrowheads="1"/>
          </p:cNvSpPr>
          <p:nvPr/>
        </p:nvSpPr>
        <p:spPr bwMode="auto">
          <a:xfrm>
            <a:off x="4035029" y="2325290"/>
            <a:ext cx="378619" cy="153591"/>
          </a:xfrm>
          <a:prstGeom prst="rect">
            <a:avLst/>
          </a:prstGeom>
          <a:solidFill>
            <a:srgbClr val="00A1DE"/>
          </a:solidFill>
          <a:ln w="12700">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48" name="Rectangle 47"/>
          <p:cNvSpPr>
            <a:spLocks noChangeArrowheads="1"/>
          </p:cNvSpPr>
          <p:nvPr/>
        </p:nvSpPr>
        <p:spPr bwMode="auto">
          <a:xfrm>
            <a:off x="4035029" y="2657476"/>
            <a:ext cx="378619" cy="153590"/>
          </a:xfrm>
          <a:prstGeom prst="rect">
            <a:avLst/>
          </a:prstGeom>
          <a:solidFill>
            <a:srgbClr val="00A1DE"/>
          </a:solidFill>
          <a:ln w="12700" algn="ctr">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783408" name="Rectangle 48"/>
          <p:cNvSpPr>
            <a:spLocks noChangeArrowheads="1"/>
          </p:cNvSpPr>
          <p:nvPr/>
        </p:nvSpPr>
        <p:spPr bwMode="auto">
          <a:xfrm>
            <a:off x="4035029" y="2983997"/>
            <a:ext cx="378619" cy="153591"/>
          </a:xfrm>
          <a:prstGeom prst="rect">
            <a:avLst/>
          </a:prstGeom>
          <a:solidFill>
            <a:srgbClr val="B4B4B4"/>
          </a:solidFill>
          <a:ln w="12700" algn="ctr">
            <a:solidFill>
              <a:schemeClr val="bg1"/>
            </a:solidFill>
            <a:miter lim="800000"/>
            <a:headEnd/>
            <a:tailEnd/>
          </a:ln>
        </p:spPr>
        <p:txBody>
          <a:bodyPr wrap="none" anchor="ctr"/>
          <a:lstStyle/>
          <a:p>
            <a:pPr algn="ctr" defTabSz="685800">
              <a:buClrTx/>
            </a:pPr>
            <a:endParaRPr lang="en-US" sz="900" kern="1200">
              <a:solidFill>
                <a:srgbClr val="313131"/>
              </a:solidFill>
              <a:ea typeface="+mn-ea"/>
              <a:cs typeface="+mn-cs"/>
            </a:endParaRPr>
          </a:p>
        </p:txBody>
      </p:sp>
      <p:sp>
        <p:nvSpPr>
          <p:cNvPr id="50" name="Rectangle 49"/>
          <p:cNvSpPr>
            <a:spLocks noChangeArrowheads="1"/>
          </p:cNvSpPr>
          <p:nvPr/>
        </p:nvSpPr>
        <p:spPr bwMode="auto">
          <a:xfrm>
            <a:off x="4035029" y="3320653"/>
            <a:ext cx="378619" cy="153591"/>
          </a:xfrm>
          <a:prstGeom prst="rect">
            <a:avLst/>
          </a:prstGeom>
          <a:solidFill>
            <a:srgbClr val="00A1DE"/>
          </a:solidFill>
          <a:ln w="12700">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51" name="Rectangle 50"/>
          <p:cNvSpPr>
            <a:spLocks noChangeArrowheads="1"/>
          </p:cNvSpPr>
          <p:nvPr/>
        </p:nvSpPr>
        <p:spPr bwMode="auto">
          <a:xfrm>
            <a:off x="4035029" y="3652838"/>
            <a:ext cx="378619" cy="153590"/>
          </a:xfrm>
          <a:prstGeom prst="rect">
            <a:avLst/>
          </a:prstGeom>
          <a:solidFill>
            <a:srgbClr val="00A1DE"/>
          </a:solidFill>
          <a:ln w="12700" algn="ctr">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52" name="Rectangle 51"/>
          <p:cNvSpPr>
            <a:spLocks noChangeArrowheads="1"/>
          </p:cNvSpPr>
          <p:nvPr/>
        </p:nvSpPr>
        <p:spPr bwMode="auto">
          <a:xfrm>
            <a:off x="6523435" y="1662113"/>
            <a:ext cx="376238" cy="153591"/>
          </a:xfrm>
          <a:prstGeom prst="rect">
            <a:avLst/>
          </a:prstGeom>
          <a:solidFill>
            <a:srgbClr val="00A1DE"/>
          </a:solidFill>
          <a:ln w="12700" algn="ctr">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53" name="Rectangle 52"/>
          <p:cNvSpPr>
            <a:spLocks noChangeArrowheads="1"/>
          </p:cNvSpPr>
          <p:nvPr/>
        </p:nvSpPr>
        <p:spPr bwMode="auto">
          <a:xfrm>
            <a:off x="6523435" y="2988469"/>
            <a:ext cx="376238" cy="153591"/>
          </a:xfrm>
          <a:prstGeom prst="rect">
            <a:avLst/>
          </a:prstGeom>
          <a:solidFill>
            <a:schemeClr val="bg1"/>
          </a:solidFill>
          <a:ln w="12700" algn="ctr">
            <a:solidFill>
              <a:srgbClr val="B4B4B4"/>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54" name="Rectangle 53"/>
          <p:cNvSpPr>
            <a:spLocks noChangeArrowheads="1"/>
          </p:cNvSpPr>
          <p:nvPr/>
        </p:nvSpPr>
        <p:spPr bwMode="auto">
          <a:xfrm>
            <a:off x="6523435" y="3320653"/>
            <a:ext cx="376238" cy="153591"/>
          </a:xfrm>
          <a:prstGeom prst="rect">
            <a:avLst/>
          </a:prstGeom>
          <a:solidFill>
            <a:srgbClr val="00A1DE"/>
          </a:solidFill>
          <a:ln w="12700">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55" name="Rectangle 54"/>
          <p:cNvSpPr>
            <a:spLocks noChangeArrowheads="1"/>
          </p:cNvSpPr>
          <p:nvPr/>
        </p:nvSpPr>
        <p:spPr bwMode="auto">
          <a:xfrm>
            <a:off x="6523435" y="3652838"/>
            <a:ext cx="376238" cy="153590"/>
          </a:xfrm>
          <a:prstGeom prst="rect">
            <a:avLst/>
          </a:prstGeom>
          <a:solidFill>
            <a:srgbClr val="00A1DE"/>
          </a:solidFill>
          <a:ln w="12700" algn="ctr">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56" name="Rectangle 55"/>
          <p:cNvSpPr>
            <a:spLocks noChangeArrowheads="1"/>
          </p:cNvSpPr>
          <p:nvPr/>
        </p:nvSpPr>
        <p:spPr bwMode="auto">
          <a:xfrm>
            <a:off x="6523435" y="1993107"/>
            <a:ext cx="376238" cy="153590"/>
          </a:xfrm>
          <a:prstGeom prst="rect">
            <a:avLst/>
          </a:prstGeom>
          <a:solidFill>
            <a:schemeClr val="bg1"/>
          </a:solidFill>
          <a:ln w="12700" algn="ctr">
            <a:solidFill>
              <a:srgbClr val="B4B4B4"/>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57" name="Rectangle 56"/>
          <p:cNvSpPr>
            <a:spLocks noChangeArrowheads="1"/>
          </p:cNvSpPr>
          <p:nvPr/>
        </p:nvSpPr>
        <p:spPr bwMode="auto">
          <a:xfrm>
            <a:off x="6523435" y="2325290"/>
            <a:ext cx="376238" cy="153591"/>
          </a:xfrm>
          <a:prstGeom prst="rect">
            <a:avLst/>
          </a:prstGeom>
          <a:solidFill>
            <a:schemeClr val="bg1"/>
          </a:solidFill>
          <a:ln w="12700" algn="ctr">
            <a:solidFill>
              <a:srgbClr val="B4B4B4"/>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58" name="Rectangle 57"/>
          <p:cNvSpPr>
            <a:spLocks noChangeArrowheads="1"/>
          </p:cNvSpPr>
          <p:nvPr/>
        </p:nvSpPr>
        <p:spPr bwMode="auto">
          <a:xfrm>
            <a:off x="6523435" y="2657476"/>
            <a:ext cx="376238" cy="153590"/>
          </a:xfrm>
          <a:prstGeom prst="rect">
            <a:avLst/>
          </a:prstGeom>
          <a:solidFill>
            <a:schemeClr val="bg1"/>
          </a:solidFill>
          <a:ln w="12700" algn="ctr">
            <a:solidFill>
              <a:srgbClr val="B4B4B4"/>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59" name="Rectangle 58"/>
          <p:cNvSpPr>
            <a:spLocks noChangeArrowheads="1"/>
          </p:cNvSpPr>
          <p:nvPr/>
        </p:nvSpPr>
        <p:spPr bwMode="auto">
          <a:xfrm>
            <a:off x="5710237" y="1662113"/>
            <a:ext cx="377429" cy="153591"/>
          </a:xfrm>
          <a:prstGeom prst="rect">
            <a:avLst/>
          </a:prstGeom>
          <a:solidFill>
            <a:schemeClr val="bg1"/>
          </a:solidFill>
          <a:ln w="12700" algn="ctr">
            <a:solidFill>
              <a:srgbClr val="B4B4B4"/>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60" name="Rectangle 59"/>
          <p:cNvSpPr>
            <a:spLocks noChangeArrowheads="1"/>
          </p:cNvSpPr>
          <p:nvPr/>
        </p:nvSpPr>
        <p:spPr bwMode="auto">
          <a:xfrm>
            <a:off x="5710237" y="1993107"/>
            <a:ext cx="377429" cy="153590"/>
          </a:xfrm>
          <a:prstGeom prst="rect">
            <a:avLst/>
          </a:prstGeom>
          <a:solidFill>
            <a:srgbClr val="00A1DE"/>
          </a:solidFill>
          <a:ln w="12700">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61" name="Rectangle 60"/>
          <p:cNvSpPr>
            <a:spLocks noChangeArrowheads="1"/>
          </p:cNvSpPr>
          <p:nvPr/>
        </p:nvSpPr>
        <p:spPr bwMode="auto">
          <a:xfrm>
            <a:off x="5710237" y="2325290"/>
            <a:ext cx="377429" cy="153591"/>
          </a:xfrm>
          <a:prstGeom prst="rect">
            <a:avLst/>
          </a:prstGeom>
          <a:solidFill>
            <a:srgbClr val="00A1DE"/>
          </a:solidFill>
          <a:ln w="12700">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62" name="Rectangle 61"/>
          <p:cNvSpPr>
            <a:spLocks noChangeArrowheads="1"/>
          </p:cNvSpPr>
          <p:nvPr/>
        </p:nvSpPr>
        <p:spPr bwMode="auto">
          <a:xfrm>
            <a:off x="5710237" y="2657476"/>
            <a:ext cx="377429" cy="153590"/>
          </a:xfrm>
          <a:prstGeom prst="rect">
            <a:avLst/>
          </a:prstGeom>
          <a:solidFill>
            <a:srgbClr val="00A1DE"/>
          </a:solidFill>
          <a:ln w="12700" algn="ctr">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783422" name="Rectangle 62"/>
          <p:cNvSpPr>
            <a:spLocks noChangeArrowheads="1"/>
          </p:cNvSpPr>
          <p:nvPr/>
        </p:nvSpPr>
        <p:spPr bwMode="auto">
          <a:xfrm>
            <a:off x="5710237" y="2988469"/>
            <a:ext cx="377429" cy="153591"/>
          </a:xfrm>
          <a:prstGeom prst="rect">
            <a:avLst/>
          </a:prstGeom>
          <a:solidFill>
            <a:srgbClr val="B4B4B4"/>
          </a:solidFill>
          <a:ln w="12700" algn="ctr">
            <a:solidFill>
              <a:schemeClr val="bg1"/>
            </a:solidFill>
            <a:miter lim="800000"/>
            <a:headEnd/>
            <a:tailEnd/>
          </a:ln>
        </p:spPr>
        <p:txBody>
          <a:bodyPr wrap="none" anchor="ctr"/>
          <a:lstStyle/>
          <a:p>
            <a:pPr algn="ctr" defTabSz="685800">
              <a:buClrTx/>
            </a:pPr>
            <a:endParaRPr lang="en-US" sz="900" kern="1200">
              <a:solidFill>
                <a:srgbClr val="313131"/>
              </a:solidFill>
              <a:ea typeface="+mn-ea"/>
              <a:cs typeface="+mn-cs"/>
            </a:endParaRPr>
          </a:p>
        </p:txBody>
      </p:sp>
      <p:sp>
        <p:nvSpPr>
          <p:cNvPr id="64" name="Rectangle 63"/>
          <p:cNvSpPr>
            <a:spLocks noChangeArrowheads="1"/>
          </p:cNvSpPr>
          <p:nvPr/>
        </p:nvSpPr>
        <p:spPr bwMode="auto">
          <a:xfrm>
            <a:off x="5710237" y="3320653"/>
            <a:ext cx="377429" cy="153591"/>
          </a:xfrm>
          <a:prstGeom prst="rect">
            <a:avLst/>
          </a:prstGeom>
          <a:solidFill>
            <a:srgbClr val="00A1DE"/>
          </a:solidFill>
          <a:ln w="12700">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65" name="Rectangle 64"/>
          <p:cNvSpPr>
            <a:spLocks noChangeArrowheads="1"/>
          </p:cNvSpPr>
          <p:nvPr/>
        </p:nvSpPr>
        <p:spPr bwMode="auto">
          <a:xfrm>
            <a:off x="5710237" y="3652838"/>
            <a:ext cx="377429" cy="153590"/>
          </a:xfrm>
          <a:prstGeom prst="rect">
            <a:avLst/>
          </a:prstGeom>
          <a:solidFill>
            <a:srgbClr val="00A1DE"/>
          </a:solidFill>
          <a:ln w="12700" algn="ctr">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66" name="Rectangle 65"/>
          <p:cNvSpPr>
            <a:spLocks noChangeArrowheads="1"/>
          </p:cNvSpPr>
          <p:nvPr/>
        </p:nvSpPr>
        <p:spPr bwMode="auto">
          <a:xfrm>
            <a:off x="4875610" y="3985022"/>
            <a:ext cx="377428" cy="153590"/>
          </a:xfrm>
          <a:prstGeom prst="rect">
            <a:avLst/>
          </a:prstGeom>
          <a:solidFill>
            <a:srgbClr val="00A1DE"/>
          </a:solidFill>
          <a:ln w="12700" algn="ctr">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67" name="Rectangle 66"/>
          <p:cNvSpPr>
            <a:spLocks noChangeArrowheads="1"/>
          </p:cNvSpPr>
          <p:nvPr/>
        </p:nvSpPr>
        <p:spPr bwMode="auto">
          <a:xfrm>
            <a:off x="4035029" y="3985022"/>
            <a:ext cx="378619" cy="153590"/>
          </a:xfrm>
          <a:prstGeom prst="rect">
            <a:avLst/>
          </a:prstGeom>
          <a:solidFill>
            <a:srgbClr val="00A1DE"/>
          </a:solidFill>
          <a:ln w="12700" algn="ctr">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68" name="Rectangle 67"/>
          <p:cNvSpPr>
            <a:spLocks noChangeArrowheads="1"/>
          </p:cNvSpPr>
          <p:nvPr/>
        </p:nvSpPr>
        <p:spPr bwMode="auto">
          <a:xfrm>
            <a:off x="6523435" y="3985022"/>
            <a:ext cx="376238" cy="153590"/>
          </a:xfrm>
          <a:prstGeom prst="rect">
            <a:avLst/>
          </a:prstGeom>
          <a:solidFill>
            <a:srgbClr val="00A1DE"/>
          </a:solidFill>
          <a:ln w="12700" algn="ctr">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783428" name="Rectangle 68"/>
          <p:cNvSpPr>
            <a:spLocks noChangeArrowheads="1"/>
          </p:cNvSpPr>
          <p:nvPr/>
        </p:nvSpPr>
        <p:spPr bwMode="auto">
          <a:xfrm>
            <a:off x="5710237" y="3980550"/>
            <a:ext cx="377429" cy="153590"/>
          </a:xfrm>
          <a:prstGeom prst="rect">
            <a:avLst/>
          </a:prstGeom>
          <a:solidFill>
            <a:srgbClr val="B4B4B4"/>
          </a:solidFill>
          <a:ln w="12700" algn="ctr">
            <a:solidFill>
              <a:schemeClr val="bg1"/>
            </a:solidFill>
            <a:miter lim="800000"/>
            <a:headEnd/>
            <a:tailEnd/>
          </a:ln>
        </p:spPr>
        <p:txBody>
          <a:bodyPr wrap="none" anchor="ctr"/>
          <a:lstStyle/>
          <a:p>
            <a:pPr algn="ctr" defTabSz="685800">
              <a:buClrTx/>
            </a:pPr>
            <a:endParaRPr lang="en-US" sz="900" kern="1200">
              <a:solidFill>
                <a:srgbClr val="313131"/>
              </a:solidFill>
              <a:ea typeface="+mn-ea"/>
              <a:cs typeface="+mn-cs"/>
            </a:endParaRPr>
          </a:p>
        </p:txBody>
      </p:sp>
      <p:sp>
        <p:nvSpPr>
          <p:cNvPr id="783429" name="Text Box 69"/>
          <p:cNvSpPr txBox="1">
            <a:spLocks noChangeArrowheads="1"/>
          </p:cNvSpPr>
          <p:nvPr/>
        </p:nvSpPr>
        <p:spPr bwMode="auto">
          <a:xfrm>
            <a:off x="1464469" y="1993107"/>
            <a:ext cx="205184" cy="128881"/>
          </a:xfrm>
          <a:prstGeom prst="rect">
            <a:avLst/>
          </a:prstGeom>
          <a:noFill/>
          <a:ln w="9525" algn="ctr">
            <a:noFill/>
            <a:miter lim="800000"/>
            <a:headEnd type="none" w="sm" len="sm"/>
            <a:tailEnd type="none" w="sm" len="sm"/>
          </a:ln>
        </p:spPr>
        <p:txBody>
          <a:bodyPr wrap="none" lIns="0" tIns="0" rIns="0" bIns="0">
            <a:spAutoFit/>
          </a:bodyPr>
          <a:lstStyle/>
          <a:p>
            <a:pPr marL="138113" indent="-138113" defTabSz="685800">
              <a:lnSpc>
                <a:spcPct val="110000"/>
              </a:lnSpc>
              <a:buClrTx/>
            </a:pPr>
            <a:r>
              <a:rPr lang="en-US" altLang="ja-JP" sz="825" kern="1200">
                <a:solidFill>
                  <a:srgbClr val="313131"/>
                </a:solidFill>
                <a:ea typeface="ＭＳ Ｐゴシック" charset="-128"/>
                <a:cs typeface="+mn-cs"/>
              </a:rPr>
              <a:t>Text</a:t>
            </a:r>
          </a:p>
        </p:txBody>
      </p:sp>
      <p:sp>
        <p:nvSpPr>
          <p:cNvPr id="71" name="Rectangle 70"/>
          <p:cNvSpPr>
            <a:spLocks noChangeArrowheads="1"/>
          </p:cNvSpPr>
          <p:nvPr/>
        </p:nvSpPr>
        <p:spPr bwMode="auto">
          <a:xfrm>
            <a:off x="6531506" y="4577953"/>
            <a:ext cx="377429" cy="153591"/>
          </a:xfrm>
          <a:prstGeom prst="rect">
            <a:avLst/>
          </a:prstGeom>
          <a:solidFill>
            <a:schemeClr val="bg1"/>
          </a:solidFill>
          <a:ln w="12700">
            <a:solidFill>
              <a:srgbClr val="B4B4B4"/>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783431" name="Text Box 71"/>
          <p:cNvSpPr txBox="1">
            <a:spLocks noChangeArrowheads="1"/>
          </p:cNvSpPr>
          <p:nvPr/>
        </p:nvSpPr>
        <p:spPr bwMode="auto">
          <a:xfrm>
            <a:off x="6938700" y="4597040"/>
            <a:ext cx="636393" cy="115416"/>
          </a:xfrm>
          <a:prstGeom prst="rect">
            <a:avLst/>
          </a:prstGeom>
          <a:noFill/>
          <a:ln w="9525" algn="ctr">
            <a:noFill/>
            <a:miter lim="800000"/>
            <a:headEnd/>
            <a:tailEnd/>
          </a:ln>
        </p:spPr>
        <p:txBody>
          <a:bodyPr wrap="none" lIns="0" tIns="0" rIns="0" bIns="0">
            <a:spAutoFit/>
          </a:bodyPr>
          <a:lstStyle/>
          <a:p>
            <a:pPr defTabSz="685800">
              <a:buClrTx/>
            </a:pPr>
            <a:r>
              <a:rPr lang="en-US" altLang="ja-JP" sz="750" kern="1200" dirty="0">
                <a:solidFill>
                  <a:srgbClr val="313131"/>
                </a:solidFill>
                <a:ea typeface="ＭＳ Ｐゴシック" charset="-128"/>
                <a:cs typeface="+mn-cs"/>
              </a:rPr>
              <a:t>Disadvantaged</a:t>
            </a:r>
          </a:p>
        </p:txBody>
      </p:sp>
      <p:sp>
        <p:nvSpPr>
          <p:cNvPr id="74"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Tree>
  </p:cSld>
  <p:clrMapOvr>
    <a:masterClrMapping/>
  </p:clrMapOvr>
  <p:transition>
    <p:fade/>
  </p:transition>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4385" name="Title 1"/>
          <p:cNvSpPr>
            <a:spLocks noGrp="1"/>
          </p:cNvSpPr>
          <p:nvPr>
            <p:ph type="title"/>
          </p:nvPr>
        </p:nvSpPr>
        <p:spPr/>
        <p:txBody>
          <a:bodyPr/>
          <a:lstStyle/>
          <a:p>
            <a:r>
              <a:rPr lang="en-US" altLang="ja-JP" dirty="0"/>
              <a:t>Activity map </a:t>
            </a:r>
            <a:br>
              <a:rPr lang="en-US" altLang="ja-JP" dirty="0"/>
            </a:br>
            <a:r>
              <a:rPr lang="en-US" altLang="ja-JP" dirty="0">
                <a:solidFill>
                  <a:srgbClr val="575757"/>
                </a:solidFill>
              </a:rPr>
              <a:t>Synergy analysis</a:t>
            </a:r>
            <a:endParaRPr lang="en-US" dirty="0">
              <a:solidFill>
                <a:srgbClr val="575757"/>
              </a:solidFill>
            </a:endParaRPr>
          </a:p>
        </p:txBody>
      </p:sp>
      <p:sp>
        <p:nvSpPr>
          <p:cNvPr id="131"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
        <p:nvSpPr>
          <p:cNvPr id="784390" name="Text Box 6"/>
          <p:cNvSpPr txBox="1">
            <a:spLocks noChangeArrowheads="1"/>
          </p:cNvSpPr>
          <p:nvPr/>
        </p:nvSpPr>
        <p:spPr bwMode="auto">
          <a:xfrm>
            <a:off x="6606516" y="1448916"/>
            <a:ext cx="509755" cy="115416"/>
          </a:xfrm>
          <a:prstGeom prst="rect">
            <a:avLst/>
          </a:prstGeom>
          <a:noFill/>
          <a:ln w="9525">
            <a:noFill/>
            <a:miter lim="800000"/>
            <a:headEnd type="none" w="sm" len="sm"/>
            <a:tailEnd type="none" w="med" len="lg"/>
          </a:ln>
        </p:spPr>
        <p:txBody>
          <a:bodyPr wrap="none" lIns="0" tIns="0" rIns="0" bIns="0" anchor="t" anchorCtr="0">
            <a:spAutoFit/>
          </a:bodyPr>
          <a:lstStyle/>
          <a:p>
            <a:pPr defTabSz="685800">
              <a:buClrTx/>
            </a:pPr>
            <a:r>
              <a:rPr lang="en-US" altLang="ja-JP" sz="750" kern="1200" dirty="0">
                <a:solidFill>
                  <a:srgbClr val="313131"/>
                </a:solidFill>
                <a:ea typeface="ＭＳ Ｐゴシック" charset="-128"/>
                <a:cs typeface="+mn-cs"/>
              </a:rPr>
              <a:t>Advantaged</a:t>
            </a:r>
          </a:p>
        </p:txBody>
      </p:sp>
      <p:sp>
        <p:nvSpPr>
          <p:cNvPr id="784391" name="Text Box 7"/>
          <p:cNvSpPr txBox="1">
            <a:spLocks noChangeArrowheads="1"/>
          </p:cNvSpPr>
          <p:nvPr/>
        </p:nvSpPr>
        <p:spPr bwMode="auto">
          <a:xfrm>
            <a:off x="6606516" y="1875755"/>
            <a:ext cx="636393" cy="115416"/>
          </a:xfrm>
          <a:prstGeom prst="rect">
            <a:avLst/>
          </a:prstGeom>
          <a:noFill/>
          <a:ln w="9525">
            <a:noFill/>
            <a:miter lim="800000"/>
            <a:headEnd type="none" w="sm" len="sm"/>
            <a:tailEnd type="none" w="med" len="lg"/>
          </a:ln>
        </p:spPr>
        <p:txBody>
          <a:bodyPr wrap="none" lIns="0" tIns="0" rIns="0" bIns="0" anchor="t" anchorCtr="0">
            <a:spAutoFit/>
          </a:bodyPr>
          <a:lstStyle/>
          <a:p>
            <a:pPr defTabSz="685800">
              <a:buClrTx/>
            </a:pPr>
            <a:r>
              <a:rPr lang="en-US" altLang="ja-JP" sz="750" kern="1200" dirty="0">
                <a:solidFill>
                  <a:srgbClr val="313131"/>
                </a:solidFill>
                <a:ea typeface="ＭＳ Ｐゴシック" charset="-128"/>
                <a:cs typeface="+mn-cs"/>
              </a:rPr>
              <a:t>Disadvantaged</a:t>
            </a:r>
          </a:p>
        </p:txBody>
      </p:sp>
      <p:sp>
        <p:nvSpPr>
          <p:cNvPr id="9" name="Oval 8"/>
          <p:cNvSpPr>
            <a:spLocks noChangeArrowheads="1"/>
          </p:cNvSpPr>
          <p:nvPr/>
        </p:nvSpPr>
        <p:spPr bwMode="auto">
          <a:xfrm>
            <a:off x="2030017" y="3541634"/>
            <a:ext cx="896540" cy="485775"/>
          </a:xfrm>
          <a:prstGeom prst="ellipse">
            <a:avLst/>
          </a:prstGeom>
          <a:noFill/>
          <a:ln w="19050" algn="ctr">
            <a:solidFill>
              <a:schemeClr val="accent1"/>
            </a:solidFill>
            <a:round/>
            <a:headEnd type="none" w="sm" len="sm"/>
            <a:tailEnd type="none" w="med" len="lg"/>
          </a:ln>
        </p:spPr>
        <p:txBody>
          <a:bodyPr wrap="none" anchor="ctr"/>
          <a:lstStyle/>
          <a:p>
            <a:pPr algn="ctr" defTabSz="685800">
              <a:buClrTx/>
              <a:defRPr/>
            </a:pPr>
            <a:endParaRPr lang="en-US" sz="900" kern="1200" dirty="0">
              <a:solidFill>
                <a:srgbClr val="313131"/>
              </a:solidFill>
              <a:ea typeface="+mn-ea"/>
              <a:cs typeface="+mn-cs"/>
            </a:endParaRPr>
          </a:p>
        </p:txBody>
      </p:sp>
      <p:sp>
        <p:nvSpPr>
          <p:cNvPr id="784393" name="Text Box 9"/>
          <p:cNvSpPr txBox="1">
            <a:spLocks noChangeArrowheads="1"/>
          </p:cNvSpPr>
          <p:nvPr/>
        </p:nvSpPr>
        <p:spPr bwMode="auto">
          <a:xfrm>
            <a:off x="1579960" y="1523524"/>
            <a:ext cx="205184" cy="126958"/>
          </a:xfrm>
          <a:prstGeom prst="rect">
            <a:avLst/>
          </a:prstGeom>
          <a:noFill/>
          <a:ln w="9525">
            <a:noFill/>
            <a:miter lim="800000"/>
            <a:headEnd type="none" w="sm" len="sm"/>
            <a:tailEnd type="none" w="med" len="lg"/>
          </a:ln>
        </p:spPr>
        <p:txBody>
          <a:bodyPr wrap="none" lIns="0" tIns="0" rIns="0" bIns="0" anchor="t" anchorCtr="0">
            <a:spAutoFit/>
          </a:bodyPr>
          <a:lstStyle/>
          <a:p>
            <a:pPr defTabSz="685800">
              <a:buClrTx/>
            </a:pPr>
            <a:r>
              <a:rPr lang="en-US" altLang="ja-JP" sz="825" kern="1200">
                <a:solidFill>
                  <a:srgbClr val="313131"/>
                </a:solidFill>
                <a:ea typeface="ＭＳ Ｐゴシック" charset="-128"/>
                <a:cs typeface="+mn-cs"/>
              </a:rPr>
              <a:t>Text</a:t>
            </a:r>
          </a:p>
        </p:txBody>
      </p:sp>
      <p:sp>
        <p:nvSpPr>
          <p:cNvPr id="784394" name="Text Box 10"/>
          <p:cNvSpPr txBox="1">
            <a:spLocks noChangeArrowheads="1"/>
          </p:cNvSpPr>
          <p:nvPr/>
        </p:nvSpPr>
        <p:spPr bwMode="auto">
          <a:xfrm>
            <a:off x="1579960" y="1902142"/>
            <a:ext cx="205184" cy="126958"/>
          </a:xfrm>
          <a:prstGeom prst="rect">
            <a:avLst/>
          </a:prstGeom>
          <a:noFill/>
          <a:ln w="9525">
            <a:noFill/>
            <a:miter lim="800000"/>
            <a:headEnd type="none" w="sm" len="sm"/>
            <a:tailEnd type="none" w="med" len="lg"/>
          </a:ln>
        </p:spPr>
        <p:txBody>
          <a:bodyPr wrap="none" lIns="0" tIns="0" rIns="0" bIns="0" anchor="t" anchorCtr="0">
            <a:spAutoFit/>
          </a:bodyPr>
          <a:lstStyle/>
          <a:p>
            <a:pPr defTabSz="685800">
              <a:buClrTx/>
            </a:pPr>
            <a:r>
              <a:rPr lang="en-US" altLang="ja-JP" sz="825" kern="1200">
                <a:solidFill>
                  <a:srgbClr val="313131"/>
                </a:solidFill>
                <a:ea typeface="ＭＳ Ｐゴシック" charset="-128"/>
                <a:cs typeface="+mn-cs"/>
              </a:rPr>
              <a:t>Text</a:t>
            </a:r>
          </a:p>
        </p:txBody>
      </p:sp>
      <p:sp>
        <p:nvSpPr>
          <p:cNvPr id="784395" name="Text Box 11"/>
          <p:cNvSpPr txBox="1">
            <a:spLocks noChangeArrowheads="1"/>
          </p:cNvSpPr>
          <p:nvPr/>
        </p:nvSpPr>
        <p:spPr bwMode="auto">
          <a:xfrm>
            <a:off x="1579960" y="2334340"/>
            <a:ext cx="205184" cy="126958"/>
          </a:xfrm>
          <a:prstGeom prst="rect">
            <a:avLst/>
          </a:prstGeom>
          <a:noFill/>
          <a:ln w="9525">
            <a:noFill/>
            <a:miter lim="800000"/>
            <a:headEnd type="none" w="sm" len="sm"/>
            <a:tailEnd type="none" w="med" len="lg"/>
          </a:ln>
        </p:spPr>
        <p:txBody>
          <a:bodyPr wrap="none" lIns="0" tIns="0" rIns="0" bIns="0" anchor="t" anchorCtr="0">
            <a:spAutoFit/>
          </a:bodyPr>
          <a:lstStyle/>
          <a:p>
            <a:pPr defTabSz="685800">
              <a:buClrTx/>
            </a:pPr>
            <a:r>
              <a:rPr lang="en-US" altLang="ja-JP" sz="825" kern="1200">
                <a:solidFill>
                  <a:srgbClr val="313131"/>
                </a:solidFill>
                <a:ea typeface="ＭＳ Ｐゴシック" charset="-128"/>
                <a:cs typeface="+mn-cs"/>
              </a:rPr>
              <a:t>Text</a:t>
            </a:r>
          </a:p>
        </p:txBody>
      </p:sp>
      <p:sp>
        <p:nvSpPr>
          <p:cNvPr id="784396" name="Text Box 12"/>
          <p:cNvSpPr txBox="1">
            <a:spLocks noChangeArrowheads="1"/>
          </p:cNvSpPr>
          <p:nvPr/>
        </p:nvSpPr>
        <p:spPr bwMode="auto">
          <a:xfrm>
            <a:off x="1579960" y="2805827"/>
            <a:ext cx="205184" cy="126958"/>
          </a:xfrm>
          <a:prstGeom prst="rect">
            <a:avLst/>
          </a:prstGeom>
          <a:noFill/>
          <a:ln w="9525">
            <a:noFill/>
            <a:miter lim="800000"/>
            <a:headEnd type="none" w="sm" len="sm"/>
            <a:tailEnd type="none" w="med" len="lg"/>
          </a:ln>
        </p:spPr>
        <p:txBody>
          <a:bodyPr wrap="none" lIns="0" tIns="0" rIns="0" bIns="0" anchor="t" anchorCtr="0">
            <a:spAutoFit/>
          </a:bodyPr>
          <a:lstStyle/>
          <a:p>
            <a:pPr defTabSz="685800">
              <a:buClrTx/>
            </a:pPr>
            <a:r>
              <a:rPr lang="en-US" altLang="ja-JP" sz="825" kern="1200" dirty="0">
                <a:solidFill>
                  <a:srgbClr val="313131"/>
                </a:solidFill>
                <a:ea typeface="ＭＳ Ｐゴシック" charset="-128"/>
                <a:cs typeface="+mn-cs"/>
              </a:rPr>
              <a:t>Text</a:t>
            </a:r>
          </a:p>
        </p:txBody>
      </p:sp>
      <p:sp>
        <p:nvSpPr>
          <p:cNvPr id="784397" name="Text Box 13"/>
          <p:cNvSpPr txBox="1">
            <a:spLocks noChangeArrowheads="1"/>
          </p:cNvSpPr>
          <p:nvPr/>
        </p:nvSpPr>
        <p:spPr bwMode="auto">
          <a:xfrm>
            <a:off x="1579960" y="3232071"/>
            <a:ext cx="205184" cy="126958"/>
          </a:xfrm>
          <a:prstGeom prst="rect">
            <a:avLst/>
          </a:prstGeom>
          <a:noFill/>
          <a:ln w="9525">
            <a:noFill/>
            <a:miter lim="800000"/>
            <a:headEnd type="none" w="sm" len="sm"/>
            <a:tailEnd type="none" w="med" len="lg"/>
          </a:ln>
        </p:spPr>
        <p:txBody>
          <a:bodyPr wrap="none" lIns="0" tIns="0" rIns="0" bIns="0" anchor="t" anchorCtr="0">
            <a:spAutoFit/>
          </a:bodyPr>
          <a:lstStyle/>
          <a:p>
            <a:pPr defTabSz="685800">
              <a:buClrTx/>
            </a:pPr>
            <a:r>
              <a:rPr lang="en-US" altLang="ja-JP" sz="825" kern="1200">
                <a:solidFill>
                  <a:srgbClr val="313131"/>
                </a:solidFill>
                <a:ea typeface="ＭＳ Ｐゴシック" charset="-128"/>
                <a:cs typeface="+mn-cs"/>
              </a:rPr>
              <a:t>Text</a:t>
            </a:r>
          </a:p>
        </p:txBody>
      </p:sp>
      <p:sp>
        <p:nvSpPr>
          <p:cNvPr id="784398" name="Text Box 14"/>
          <p:cNvSpPr txBox="1">
            <a:spLocks noChangeArrowheads="1"/>
          </p:cNvSpPr>
          <p:nvPr/>
        </p:nvSpPr>
        <p:spPr bwMode="auto">
          <a:xfrm>
            <a:off x="1579960" y="3658315"/>
            <a:ext cx="205184" cy="126958"/>
          </a:xfrm>
          <a:prstGeom prst="rect">
            <a:avLst/>
          </a:prstGeom>
          <a:noFill/>
          <a:ln w="9525">
            <a:noFill/>
            <a:miter lim="800000"/>
            <a:headEnd type="none" w="sm" len="sm"/>
            <a:tailEnd type="none" w="med" len="lg"/>
          </a:ln>
        </p:spPr>
        <p:txBody>
          <a:bodyPr wrap="none" lIns="0" tIns="0" rIns="0" bIns="0" anchor="t" anchorCtr="0">
            <a:spAutoFit/>
          </a:bodyPr>
          <a:lstStyle/>
          <a:p>
            <a:pPr defTabSz="685800">
              <a:buClrTx/>
            </a:pPr>
            <a:r>
              <a:rPr lang="en-US" altLang="ja-JP" sz="825" kern="1200">
                <a:solidFill>
                  <a:srgbClr val="313131"/>
                </a:solidFill>
                <a:ea typeface="ＭＳ Ｐゴシック" charset="-128"/>
                <a:cs typeface="+mn-cs"/>
              </a:rPr>
              <a:t>Text</a:t>
            </a:r>
          </a:p>
        </p:txBody>
      </p:sp>
      <p:sp>
        <p:nvSpPr>
          <p:cNvPr id="784399" name="Text Box 15"/>
          <p:cNvSpPr txBox="1">
            <a:spLocks noChangeArrowheads="1"/>
          </p:cNvSpPr>
          <p:nvPr/>
        </p:nvSpPr>
        <p:spPr bwMode="auto">
          <a:xfrm>
            <a:off x="1579960" y="4084558"/>
            <a:ext cx="205184" cy="126958"/>
          </a:xfrm>
          <a:prstGeom prst="rect">
            <a:avLst/>
          </a:prstGeom>
          <a:noFill/>
          <a:ln w="9525">
            <a:noFill/>
            <a:miter lim="800000"/>
            <a:headEnd type="none" w="sm" len="sm"/>
            <a:tailEnd type="none" w="med" len="lg"/>
          </a:ln>
        </p:spPr>
        <p:txBody>
          <a:bodyPr wrap="none" lIns="0" tIns="0" rIns="0" bIns="0" anchor="t" anchorCtr="0">
            <a:spAutoFit/>
          </a:bodyPr>
          <a:lstStyle/>
          <a:p>
            <a:pPr defTabSz="685800">
              <a:buClrTx/>
            </a:pPr>
            <a:r>
              <a:rPr lang="en-US" altLang="ja-JP" sz="825" kern="1200">
                <a:solidFill>
                  <a:srgbClr val="313131"/>
                </a:solidFill>
                <a:ea typeface="ＭＳ Ｐゴシック" charset="-128"/>
                <a:cs typeface="+mn-cs"/>
              </a:rPr>
              <a:t>Text</a:t>
            </a:r>
          </a:p>
        </p:txBody>
      </p:sp>
      <p:sp>
        <p:nvSpPr>
          <p:cNvPr id="784400" name="Text Box 16"/>
          <p:cNvSpPr txBox="1">
            <a:spLocks noChangeArrowheads="1"/>
          </p:cNvSpPr>
          <p:nvPr/>
        </p:nvSpPr>
        <p:spPr bwMode="auto">
          <a:xfrm>
            <a:off x="1579960" y="4510802"/>
            <a:ext cx="205184" cy="126958"/>
          </a:xfrm>
          <a:prstGeom prst="rect">
            <a:avLst/>
          </a:prstGeom>
          <a:noFill/>
          <a:ln w="9525">
            <a:noFill/>
            <a:miter lim="800000"/>
            <a:headEnd type="none" w="sm" len="sm"/>
            <a:tailEnd type="none" w="med" len="lg"/>
          </a:ln>
        </p:spPr>
        <p:txBody>
          <a:bodyPr wrap="none" lIns="0" tIns="0" rIns="0" bIns="0" anchor="t" anchorCtr="0">
            <a:spAutoFit/>
          </a:bodyPr>
          <a:lstStyle/>
          <a:p>
            <a:pPr defTabSz="685800">
              <a:buClrTx/>
            </a:pPr>
            <a:r>
              <a:rPr lang="en-US" altLang="ja-JP" sz="825" kern="1200">
                <a:solidFill>
                  <a:srgbClr val="313131"/>
                </a:solidFill>
                <a:ea typeface="ＭＳ Ｐゴシック" charset="-128"/>
                <a:cs typeface="+mn-cs"/>
              </a:rPr>
              <a:t>Text</a:t>
            </a:r>
          </a:p>
        </p:txBody>
      </p:sp>
      <p:sp>
        <p:nvSpPr>
          <p:cNvPr id="784401" name="Rectangle 17"/>
          <p:cNvSpPr>
            <a:spLocks noChangeArrowheads="1"/>
          </p:cNvSpPr>
          <p:nvPr/>
        </p:nvSpPr>
        <p:spPr bwMode="auto">
          <a:xfrm>
            <a:off x="3027760" y="3453819"/>
            <a:ext cx="205184" cy="90794"/>
          </a:xfrm>
          <a:prstGeom prst="rect">
            <a:avLst/>
          </a:prstGeom>
          <a:noFill/>
          <a:ln w="9525">
            <a:noFill/>
            <a:miter lim="800000"/>
            <a:headEnd type="none" w="sm" len="sm"/>
            <a:tailEnd type="none" w="med" len="lg"/>
          </a:ln>
        </p:spPr>
        <p:txBody>
          <a:bodyPr wrap="none" lIns="0" tIns="0" rIns="0" bIns="0" anchor="t" anchorCtr="0">
            <a:spAutoFit/>
          </a:bodyPr>
          <a:lstStyle/>
          <a:p>
            <a:pPr defTabSz="685800">
              <a:lnSpc>
                <a:spcPct val="70000"/>
              </a:lnSpc>
              <a:buClrTx/>
            </a:pPr>
            <a:r>
              <a:rPr lang="en-US" altLang="ja-JP" sz="825" kern="1200" dirty="0">
                <a:solidFill>
                  <a:srgbClr val="313131"/>
                </a:solidFill>
                <a:ea typeface="ＭＳ Ｐゴシック" charset="-128"/>
                <a:cs typeface="+mn-cs"/>
              </a:rPr>
              <a:t>Text</a:t>
            </a:r>
          </a:p>
        </p:txBody>
      </p:sp>
      <p:sp>
        <p:nvSpPr>
          <p:cNvPr id="24" name="Rectangle 23"/>
          <p:cNvSpPr>
            <a:spLocks noChangeArrowheads="1"/>
          </p:cNvSpPr>
          <p:nvPr/>
        </p:nvSpPr>
        <p:spPr bwMode="auto">
          <a:xfrm>
            <a:off x="2330054" y="2334340"/>
            <a:ext cx="198834" cy="161925"/>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25" name="Rectangle 24"/>
          <p:cNvSpPr>
            <a:spLocks noChangeArrowheads="1"/>
          </p:cNvSpPr>
          <p:nvPr/>
        </p:nvSpPr>
        <p:spPr bwMode="auto">
          <a:xfrm>
            <a:off x="3027760" y="2334340"/>
            <a:ext cx="198834" cy="161925"/>
          </a:xfrm>
          <a:prstGeom prst="rect">
            <a:avLst/>
          </a:prstGeom>
          <a:solidFill>
            <a:srgbClr val="575757"/>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26" name="Rectangle 25"/>
          <p:cNvSpPr>
            <a:spLocks noChangeArrowheads="1"/>
          </p:cNvSpPr>
          <p:nvPr/>
        </p:nvSpPr>
        <p:spPr bwMode="auto">
          <a:xfrm>
            <a:off x="2330054" y="4084559"/>
            <a:ext cx="198834" cy="161925"/>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784412" name="Rectangle 28"/>
          <p:cNvSpPr>
            <a:spLocks noChangeArrowheads="1"/>
          </p:cNvSpPr>
          <p:nvPr/>
        </p:nvSpPr>
        <p:spPr bwMode="auto">
          <a:xfrm>
            <a:off x="2987279" y="3414237"/>
            <a:ext cx="577453" cy="178594"/>
          </a:xfrm>
          <a:prstGeom prst="rect">
            <a:avLst/>
          </a:prstGeom>
          <a:noFill/>
          <a:ln w="9525">
            <a:noFill/>
            <a:miter lim="800000"/>
            <a:headEnd type="none" w="sm" len="sm"/>
            <a:tailEnd type="none" w="sm" len="sm"/>
          </a:ln>
        </p:spPr>
        <p:txBody>
          <a:bodyPr wrap="none" bIns="8100" anchor="ctr"/>
          <a:lstStyle/>
          <a:p>
            <a:pPr algn="ctr" defTabSz="685800">
              <a:lnSpc>
                <a:spcPct val="70000"/>
              </a:lnSpc>
              <a:buClrTx/>
            </a:pPr>
            <a:endParaRPr lang="en-US" sz="900" kern="1200">
              <a:solidFill>
                <a:srgbClr val="313131"/>
              </a:solidFill>
              <a:ea typeface="ＭＳ Ｐゴシック" charset="-128"/>
              <a:cs typeface="+mn-cs"/>
            </a:endParaRPr>
          </a:p>
        </p:txBody>
      </p:sp>
      <p:sp>
        <p:nvSpPr>
          <p:cNvPr id="33" name="Rectangle 32"/>
          <p:cNvSpPr>
            <a:spLocks noChangeArrowheads="1"/>
          </p:cNvSpPr>
          <p:nvPr/>
        </p:nvSpPr>
        <p:spPr bwMode="auto">
          <a:xfrm>
            <a:off x="2330054" y="3232071"/>
            <a:ext cx="198834" cy="161925"/>
          </a:xfrm>
          <a:prstGeom prst="rect">
            <a:avLst/>
          </a:prstGeom>
          <a:solidFill>
            <a:srgbClr val="575757"/>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784417" name="Rectangle 33"/>
          <p:cNvSpPr>
            <a:spLocks noChangeArrowheads="1"/>
          </p:cNvSpPr>
          <p:nvPr/>
        </p:nvSpPr>
        <p:spPr bwMode="auto">
          <a:xfrm>
            <a:off x="2987279" y="3397568"/>
            <a:ext cx="577453" cy="178594"/>
          </a:xfrm>
          <a:prstGeom prst="rect">
            <a:avLst/>
          </a:prstGeom>
          <a:noFill/>
          <a:ln w="9525">
            <a:noFill/>
            <a:miter lim="800000"/>
            <a:headEnd type="none" w="sm" len="sm"/>
            <a:tailEnd type="none" w="sm" len="sm"/>
          </a:ln>
        </p:spPr>
        <p:txBody>
          <a:bodyPr wrap="none" bIns="8100" anchor="ctr"/>
          <a:lstStyle/>
          <a:p>
            <a:pPr algn="ctr" defTabSz="685800">
              <a:lnSpc>
                <a:spcPct val="70000"/>
              </a:lnSpc>
              <a:buClrTx/>
            </a:pPr>
            <a:endParaRPr lang="en-US" sz="900" kern="1200">
              <a:solidFill>
                <a:srgbClr val="313131"/>
              </a:solidFill>
              <a:ea typeface="ＭＳ Ｐゴシック" charset="-128"/>
              <a:cs typeface="+mn-cs"/>
            </a:endParaRPr>
          </a:p>
        </p:txBody>
      </p:sp>
      <p:sp>
        <p:nvSpPr>
          <p:cNvPr id="36" name="Rectangle 35"/>
          <p:cNvSpPr>
            <a:spLocks noChangeArrowheads="1"/>
          </p:cNvSpPr>
          <p:nvPr/>
        </p:nvSpPr>
        <p:spPr bwMode="auto">
          <a:xfrm>
            <a:off x="3027760" y="4510802"/>
            <a:ext cx="198834" cy="161925"/>
          </a:xfrm>
          <a:prstGeom prst="rect">
            <a:avLst/>
          </a:prstGeom>
          <a:solidFill>
            <a:schemeClr val="bg1"/>
          </a:solidFill>
          <a:ln w="12700" algn="ctr">
            <a:solidFill>
              <a:srgbClr val="B4B4B4"/>
            </a:solidFill>
            <a:prstDash val="solid"/>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37" name="Rectangle 36"/>
          <p:cNvSpPr>
            <a:spLocks noChangeArrowheads="1"/>
          </p:cNvSpPr>
          <p:nvPr/>
        </p:nvSpPr>
        <p:spPr bwMode="auto">
          <a:xfrm>
            <a:off x="3774282" y="2334340"/>
            <a:ext cx="198835" cy="161925"/>
          </a:xfrm>
          <a:prstGeom prst="rect">
            <a:avLst/>
          </a:prstGeom>
          <a:solidFill>
            <a:srgbClr val="B4B4B4"/>
          </a:solidFill>
          <a:ln w="12700">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38" name="Rectangle 37"/>
          <p:cNvSpPr>
            <a:spLocks noChangeArrowheads="1"/>
          </p:cNvSpPr>
          <p:nvPr/>
        </p:nvSpPr>
        <p:spPr bwMode="auto">
          <a:xfrm>
            <a:off x="3027760" y="2805827"/>
            <a:ext cx="198834" cy="161925"/>
          </a:xfrm>
          <a:prstGeom prst="rect">
            <a:avLst/>
          </a:prstGeom>
          <a:solidFill>
            <a:srgbClr val="575757"/>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39" name="Rectangle 38"/>
          <p:cNvSpPr>
            <a:spLocks noChangeArrowheads="1"/>
          </p:cNvSpPr>
          <p:nvPr/>
        </p:nvSpPr>
        <p:spPr bwMode="auto">
          <a:xfrm>
            <a:off x="3027760" y="3232071"/>
            <a:ext cx="198834" cy="161925"/>
          </a:xfrm>
          <a:prstGeom prst="rect">
            <a:avLst/>
          </a:prstGeom>
          <a:solidFill>
            <a:srgbClr val="575757"/>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40" name="Rectangle 39"/>
          <p:cNvSpPr>
            <a:spLocks noChangeArrowheads="1"/>
          </p:cNvSpPr>
          <p:nvPr/>
        </p:nvSpPr>
        <p:spPr bwMode="auto">
          <a:xfrm>
            <a:off x="3027760" y="4084559"/>
            <a:ext cx="198834" cy="161925"/>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41" name="Rectangle 40"/>
          <p:cNvSpPr>
            <a:spLocks noChangeArrowheads="1"/>
          </p:cNvSpPr>
          <p:nvPr/>
        </p:nvSpPr>
        <p:spPr bwMode="auto">
          <a:xfrm>
            <a:off x="3774282" y="4084559"/>
            <a:ext cx="198835" cy="161925"/>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42" name="Rectangle 41"/>
          <p:cNvSpPr>
            <a:spLocks noChangeArrowheads="1"/>
          </p:cNvSpPr>
          <p:nvPr/>
        </p:nvSpPr>
        <p:spPr bwMode="auto">
          <a:xfrm>
            <a:off x="4471988" y="4084559"/>
            <a:ext cx="198835" cy="161925"/>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43" name="Rectangle 42"/>
          <p:cNvSpPr>
            <a:spLocks noChangeArrowheads="1"/>
          </p:cNvSpPr>
          <p:nvPr/>
        </p:nvSpPr>
        <p:spPr bwMode="auto">
          <a:xfrm>
            <a:off x="2330054" y="4510802"/>
            <a:ext cx="198834" cy="161925"/>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44" name="Rectangle 43"/>
          <p:cNvSpPr>
            <a:spLocks noChangeArrowheads="1"/>
          </p:cNvSpPr>
          <p:nvPr/>
        </p:nvSpPr>
        <p:spPr bwMode="auto">
          <a:xfrm>
            <a:off x="3774282" y="4510802"/>
            <a:ext cx="198835" cy="161925"/>
          </a:xfrm>
          <a:prstGeom prst="rect">
            <a:avLst/>
          </a:prstGeom>
          <a:solidFill>
            <a:schemeClr val="bg1"/>
          </a:solidFill>
          <a:ln w="12700" algn="ctr">
            <a:solidFill>
              <a:srgbClr val="B4B4B4"/>
            </a:solidFill>
            <a:prstDash val="solid"/>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45" name="Rectangle 44"/>
          <p:cNvSpPr>
            <a:spLocks noChangeArrowheads="1"/>
          </p:cNvSpPr>
          <p:nvPr/>
        </p:nvSpPr>
        <p:spPr bwMode="auto">
          <a:xfrm>
            <a:off x="2330054" y="2805827"/>
            <a:ext cx="198834" cy="161925"/>
          </a:xfrm>
          <a:prstGeom prst="rect">
            <a:avLst/>
          </a:prstGeom>
          <a:solidFill>
            <a:srgbClr val="00A1DE"/>
          </a:solidFill>
          <a:ln w="12700">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47" name="Rectangle 46"/>
          <p:cNvSpPr>
            <a:spLocks noChangeArrowheads="1"/>
          </p:cNvSpPr>
          <p:nvPr/>
        </p:nvSpPr>
        <p:spPr bwMode="auto">
          <a:xfrm>
            <a:off x="2330054" y="1523524"/>
            <a:ext cx="198834" cy="161925"/>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48" name="Rectangle 47"/>
          <p:cNvSpPr>
            <a:spLocks noChangeArrowheads="1"/>
          </p:cNvSpPr>
          <p:nvPr/>
        </p:nvSpPr>
        <p:spPr bwMode="auto">
          <a:xfrm>
            <a:off x="3027760" y="1523524"/>
            <a:ext cx="198834" cy="161925"/>
          </a:xfrm>
          <a:prstGeom prst="rect">
            <a:avLst/>
          </a:prstGeom>
          <a:solidFill>
            <a:srgbClr val="575757"/>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51" name="Rectangle 50"/>
          <p:cNvSpPr>
            <a:spLocks noChangeArrowheads="1"/>
          </p:cNvSpPr>
          <p:nvPr/>
        </p:nvSpPr>
        <p:spPr bwMode="auto">
          <a:xfrm>
            <a:off x="3775472" y="1523524"/>
            <a:ext cx="198834" cy="161925"/>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52" name="Rectangle 51"/>
          <p:cNvSpPr>
            <a:spLocks noChangeArrowheads="1"/>
          </p:cNvSpPr>
          <p:nvPr/>
        </p:nvSpPr>
        <p:spPr bwMode="auto">
          <a:xfrm>
            <a:off x="4473179" y="1523524"/>
            <a:ext cx="198834" cy="161925"/>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55" name="Rectangle 54"/>
          <p:cNvSpPr>
            <a:spLocks noChangeArrowheads="1"/>
          </p:cNvSpPr>
          <p:nvPr/>
        </p:nvSpPr>
        <p:spPr bwMode="auto">
          <a:xfrm>
            <a:off x="2330054" y="1902143"/>
            <a:ext cx="198834" cy="161925"/>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56" name="Rectangle 55"/>
          <p:cNvSpPr>
            <a:spLocks noChangeArrowheads="1"/>
          </p:cNvSpPr>
          <p:nvPr/>
        </p:nvSpPr>
        <p:spPr bwMode="auto">
          <a:xfrm>
            <a:off x="3027760" y="1902143"/>
            <a:ext cx="198834" cy="161925"/>
          </a:xfrm>
          <a:prstGeom prst="rect">
            <a:avLst/>
          </a:prstGeom>
          <a:solidFill>
            <a:srgbClr val="575757"/>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575757"/>
              </a:solidFill>
              <a:ea typeface="+mn-ea"/>
              <a:cs typeface="+mn-cs"/>
            </a:endParaRPr>
          </a:p>
        </p:txBody>
      </p:sp>
      <p:sp>
        <p:nvSpPr>
          <p:cNvPr id="59" name="Rectangle 58"/>
          <p:cNvSpPr>
            <a:spLocks noChangeArrowheads="1"/>
          </p:cNvSpPr>
          <p:nvPr/>
        </p:nvSpPr>
        <p:spPr bwMode="auto">
          <a:xfrm>
            <a:off x="3775472" y="1902143"/>
            <a:ext cx="198834" cy="161925"/>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60" name="Rectangle 59"/>
          <p:cNvSpPr>
            <a:spLocks noChangeArrowheads="1"/>
          </p:cNvSpPr>
          <p:nvPr/>
        </p:nvSpPr>
        <p:spPr bwMode="auto">
          <a:xfrm>
            <a:off x="4473179" y="1902143"/>
            <a:ext cx="198834" cy="161925"/>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61" name="Rectangle 60"/>
          <p:cNvSpPr>
            <a:spLocks noChangeArrowheads="1"/>
          </p:cNvSpPr>
          <p:nvPr/>
        </p:nvSpPr>
        <p:spPr bwMode="auto">
          <a:xfrm>
            <a:off x="2528888" y="2334340"/>
            <a:ext cx="198835" cy="161925"/>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62" name="Rectangle 61"/>
          <p:cNvSpPr>
            <a:spLocks noChangeArrowheads="1"/>
          </p:cNvSpPr>
          <p:nvPr/>
        </p:nvSpPr>
        <p:spPr bwMode="auto">
          <a:xfrm>
            <a:off x="3226594" y="2334340"/>
            <a:ext cx="198835" cy="161925"/>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63" name="Rectangle 62"/>
          <p:cNvSpPr>
            <a:spLocks noChangeArrowheads="1"/>
          </p:cNvSpPr>
          <p:nvPr/>
        </p:nvSpPr>
        <p:spPr bwMode="auto">
          <a:xfrm>
            <a:off x="2528888" y="4084559"/>
            <a:ext cx="198835" cy="161925"/>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64" name="Rectangle 63"/>
          <p:cNvSpPr>
            <a:spLocks noChangeArrowheads="1"/>
          </p:cNvSpPr>
          <p:nvPr/>
        </p:nvSpPr>
        <p:spPr bwMode="auto">
          <a:xfrm>
            <a:off x="3226594" y="4510802"/>
            <a:ext cx="198835" cy="161925"/>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65" name="Rectangle 64"/>
          <p:cNvSpPr>
            <a:spLocks noChangeArrowheads="1"/>
          </p:cNvSpPr>
          <p:nvPr/>
        </p:nvSpPr>
        <p:spPr bwMode="auto">
          <a:xfrm>
            <a:off x="3974307" y="2334340"/>
            <a:ext cx="198835" cy="161925"/>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66" name="Rectangle 65"/>
          <p:cNvSpPr>
            <a:spLocks noChangeArrowheads="1"/>
          </p:cNvSpPr>
          <p:nvPr/>
        </p:nvSpPr>
        <p:spPr bwMode="auto">
          <a:xfrm>
            <a:off x="3226594" y="4084559"/>
            <a:ext cx="198835" cy="161925"/>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67" name="Rectangle 66"/>
          <p:cNvSpPr>
            <a:spLocks noChangeArrowheads="1"/>
          </p:cNvSpPr>
          <p:nvPr/>
        </p:nvSpPr>
        <p:spPr bwMode="auto">
          <a:xfrm>
            <a:off x="3974307" y="4084559"/>
            <a:ext cx="198835" cy="161925"/>
          </a:xfrm>
          <a:prstGeom prst="rect">
            <a:avLst/>
          </a:prstGeom>
          <a:solidFill>
            <a:srgbClr val="575757"/>
          </a:solidFill>
          <a:ln w="12700">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68" name="Rectangle 67"/>
          <p:cNvSpPr>
            <a:spLocks noChangeArrowheads="1"/>
          </p:cNvSpPr>
          <p:nvPr/>
        </p:nvSpPr>
        <p:spPr bwMode="auto">
          <a:xfrm>
            <a:off x="4672013" y="4084559"/>
            <a:ext cx="198835" cy="161925"/>
          </a:xfrm>
          <a:prstGeom prst="rect">
            <a:avLst/>
          </a:prstGeom>
          <a:solidFill>
            <a:srgbClr val="575757"/>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69" name="Rectangle 68"/>
          <p:cNvSpPr>
            <a:spLocks noChangeArrowheads="1"/>
          </p:cNvSpPr>
          <p:nvPr/>
        </p:nvSpPr>
        <p:spPr bwMode="auto">
          <a:xfrm>
            <a:off x="2528888" y="4510802"/>
            <a:ext cx="198835" cy="161925"/>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70" name="Rectangle 69"/>
          <p:cNvSpPr>
            <a:spLocks noChangeArrowheads="1"/>
          </p:cNvSpPr>
          <p:nvPr/>
        </p:nvSpPr>
        <p:spPr bwMode="auto">
          <a:xfrm>
            <a:off x="3974307" y="4510802"/>
            <a:ext cx="198835" cy="161925"/>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71" name="Rectangle 70"/>
          <p:cNvSpPr>
            <a:spLocks noChangeArrowheads="1"/>
          </p:cNvSpPr>
          <p:nvPr/>
        </p:nvSpPr>
        <p:spPr bwMode="auto">
          <a:xfrm>
            <a:off x="2528888" y="1523524"/>
            <a:ext cx="198835" cy="161925"/>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72" name="Rectangle 71"/>
          <p:cNvSpPr>
            <a:spLocks noChangeArrowheads="1"/>
          </p:cNvSpPr>
          <p:nvPr/>
        </p:nvSpPr>
        <p:spPr bwMode="auto">
          <a:xfrm>
            <a:off x="3226594" y="1523524"/>
            <a:ext cx="198835" cy="161925"/>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73" name="Rectangle 72"/>
          <p:cNvSpPr>
            <a:spLocks noChangeArrowheads="1"/>
          </p:cNvSpPr>
          <p:nvPr/>
        </p:nvSpPr>
        <p:spPr bwMode="auto">
          <a:xfrm>
            <a:off x="3975497" y="1523524"/>
            <a:ext cx="198834" cy="161925"/>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74" name="Rectangle 73"/>
          <p:cNvSpPr>
            <a:spLocks noChangeArrowheads="1"/>
          </p:cNvSpPr>
          <p:nvPr/>
        </p:nvSpPr>
        <p:spPr bwMode="auto">
          <a:xfrm>
            <a:off x="4673204" y="1523524"/>
            <a:ext cx="198834" cy="161925"/>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75" name="Rectangle 74"/>
          <p:cNvSpPr>
            <a:spLocks noChangeArrowheads="1"/>
          </p:cNvSpPr>
          <p:nvPr/>
        </p:nvSpPr>
        <p:spPr bwMode="auto">
          <a:xfrm>
            <a:off x="2528888" y="1902143"/>
            <a:ext cx="198835" cy="161925"/>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76" name="Rectangle 75"/>
          <p:cNvSpPr>
            <a:spLocks noChangeArrowheads="1"/>
          </p:cNvSpPr>
          <p:nvPr/>
        </p:nvSpPr>
        <p:spPr bwMode="auto">
          <a:xfrm>
            <a:off x="3226594" y="1902143"/>
            <a:ext cx="198835" cy="161925"/>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77" name="Rectangle 76"/>
          <p:cNvSpPr>
            <a:spLocks noChangeArrowheads="1"/>
          </p:cNvSpPr>
          <p:nvPr/>
        </p:nvSpPr>
        <p:spPr bwMode="auto">
          <a:xfrm>
            <a:off x="3975497" y="1902143"/>
            <a:ext cx="198834" cy="161925"/>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78" name="Rectangle 77"/>
          <p:cNvSpPr>
            <a:spLocks noChangeArrowheads="1"/>
          </p:cNvSpPr>
          <p:nvPr/>
        </p:nvSpPr>
        <p:spPr bwMode="auto">
          <a:xfrm>
            <a:off x="4673204" y="1902143"/>
            <a:ext cx="198834" cy="161925"/>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84" name="Rectangle 83"/>
          <p:cNvSpPr>
            <a:spLocks noChangeArrowheads="1"/>
          </p:cNvSpPr>
          <p:nvPr/>
        </p:nvSpPr>
        <p:spPr bwMode="auto">
          <a:xfrm>
            <a:off x="2330054" y="3658315"/>
            <a:ext cx="198834" cy="161925"/>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85" name="Rectangle 84"/>
          <p:cNvSpPr>
            <a:spLocks noChangeArrowheads="1"/>
          </p:cNvSpPr>
          <p:nvPr/>
        </p:nvSpPr>
        <p:spPr bwMode="auto">
          <a:xfrm>
            <a:off x="3027760" y="3658315"/>
            <a:ext cx="198834" cy="161925"/>
          </a:xfrm>
          <a:prstGeom prst="rect">
            <a:avLst/>
          </a:prstGeom>
          <a:solidFill>
            <a:srgbClr val="575757"/>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86" name="Rectangle 85"/>
          <p:cNvSpPr>
            <a:spLocks noChangeArrowheads="1"/>
          </p:cNvSpPr>
          <p:nvPr/>
        </p:nvSpPr>
        <p:spPr bwMode="auto">
          <a:xfrm>
            <a:off x="3774282" y="3658315"/>
            <a:ext cx="198835" cy="161925"/>
          </a:xfrm>
          <a:prstGeom prst="rect">
            <a:avLst/>
          </a:prstGeom>
          <a:solidFill>
            <a:srgbClr val="575757"/>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88" name="Rectangle 87"/>
          <p:cNvSpPr>
            <a:spLocks noChangeArrowheads="1"/>
          </p:cNvSpPr>
          <p:nvPr/>
        </p:nvSpPr>
        <p:spPr bwMode="auto">
          <a:xfrm>
            <a:off x="4471988" y="3658315"/>
            <a:ext cx="198835" cy="161925"/>
          </a:xfrm>
          <a:prstGeom prst="rect">
            <a:avLst/>
          </a:prstGeom>
          <a:solidFill>
            <a:srgbClr val="575757"/>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89" name="Rectangle 88"/>
          <p:cNvSpPr>
            <a:spLocks noChangeArrowheads="1"/>
          </p:cNvSpPr>
          <p:nvPr/>
        </p:nvSpPr>
        <p:spPr bwMode="auto">
          <a:xfrm>
            <a:off x="5222081" y="3658315"/>
            <a:ext cx="200025" cy="161925"/>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90" name="Rectangle 89"/>
          <p:cNvSpPr>
            <a:spLocks noChangeArrowheads="1"/>
          </p:cNvSpPr>
          <p:nvPr/>
        </p:nvSpPr>
        <p:spPr bwMode="auto">
          <a:xfrm>
            <a:off x="5919788" y="3658315"/>
            <a:ext cx="198835" cy="161925"/>
          </a:xfrm>
          <a:prstGeom prst="rect">
            <a:avLst/>
          </a:prstGeom>
          <a:solidFill>
            <a:srgbClr val="575757"/>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91" name="Rectangle 90"/>
          <p:cNvSpPr>
            <a:spLocks noChangeArrowheads="1"/>
          </p:cNvSpPr>
          <p:nvPr/>
        </p:nvSpPr>
        <p:spPr bwMode="auto">
          <a:xfrm>
            <a:off x="2528888" y="3658315"/>
            <a:ext cx="198835" cy="161925"/>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92" name="Rectangle 91"/>
          <p:cNvSpPr>
            <a:spLocks noChangeArrowheads="1"/>
          </p:cNvSpPr>
          <p:nvPr/>
        </p:nvSpPr>
        <p:spPr bwMode="auto">
          <a:xfrm>
            <a:off x="3226594" y="3658315"/>
            <a:ext cx="198835" cy="161925"/>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93" name="Rectangle 92"/>
          <p:cNvSpPr>
            <a:spLocks noChangeArrowheads="1"/>
          </p:cNvSpPr>
          <p:nvPr/>
        </p:nvSpPr>
        <p:spPr bwMode="auto">
          <a:xfrm>
            <a:off x="3974307" y="3658315"/>
            <a:ext cx="198835" cy="161925"/>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94" name="Rectangle 93"/>
          <p:cNvSpPr>
            <a:spLocks noChangeArrowheads="1"/>
          </p:cNvSpPr>
          <p:nvPr/>
        </p:nvSpPr>
        <p:spPr bwMode="auto">
          <a:xfrm>
            <a:off x="4672013" y="3658315"/>
            <a:ext cx="198835" cy="161925"/>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95" name="Rectangle 94"/>
          <p:cNvSpPr>
            <a:spLocks noChangeArrowheads="1"/>
          </p:cNvSpPr>
          <p:nvPr/>
        </p:nvSpPr>
        <p:spPr bwMode="auto">
          <a:xfrm>
            <a:off x="5422107" y="3658315"/>
            <a:ext cx="197644" cy="161925"/>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96" name="Rectangle 95"/>
          <p:cNvSpPr>
            <a:spLocks noChangeArrowheads="1"/>
          </p:cNvSpPr>
          <p:nvPr/>
        </p:nvSpPr>
        <p:spPr bwMode="auto">
          <a:xfrm>
            <a:off x="6118622" y="3658315"/>
            <a:ext cx="198834" cy="161925"/>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97" name="Rectangle 96"/>
          <p:cNvSpPr>
            <a:spLocks noChangeArrowheads="1"/>
          </p:cNvSpPr>
          <p:nvPr/>
        </p:nvSpPr>
        <p:spPr bwMode="auto">
          <a:xfrm>
            <a:off x="6334125" y="1437203"/>
            <a:ext cx="197644" cy="161925"/>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98" name="Rectangle 97"/>
          <p:cNvSpPr>
            <a:spLocks noChangeArrowheads="1"/>
          </p:cNvSpPr>
          <p:nvPr/>
        </p:nvSpPr>
        <p:spPr bwMode="auto">
          <a:xfrm>
            <a:off x="6334125" y="1864043"/>
            <a:ext cx="197644" cy="161925"/>
          </a:xfrm>
          <a:prstGeom prst="rect">
            <a:avLst/>
          </a:prstGeom>
          <a:solidFill>
            <a:srgbClr val="575757"/>
          </a:solidFill>
          <a:ln w="12700">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100" name="Rectangle 99"/>
          <p:cNvSpPr>
            <a:spLocks noChangeArrowheads="1"/>
          </p:cNvSpPr>
          <p:nvPr/>
        </p:nvSpPr>
        <p:spPr bwMode="auto">
          <a:xfrm>
            <a:off x="6334125" y="2084309"/>
            <a:ext cx="197644" cy="161925"/>
          </a:xfrm>
          <a:prstGeom prst="rect">
            <a:avLst/>
          </a:prstGeom>
          <a:solidFill>
            <a:schemeClr val="bg1"/>
          </a:solidFill>
          <a:ln w="12700">
            <a:solidFill>
              <a:srgbClr val="B4B4B4"/>
            </a:solidFill>
            <a:prstDash val="solid"/>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784484" name="Text Box 100"/>
          <p:cNvSpPr txBox="1">
            <a:spLocks noChangeArrowheads="1"/>
          </p:cNvSpPr>
          <p:nvPr/>
        </p:nvSpPr>
        <p:spPr bwMode="auto">
          <a:xfrm>
            <a:off x="6606516" y="2096021"/>
            <a:ext cx="477695" cy="115416"/>
          </a:xfrm>
          <a:prstGeom prst="rect">
            <a:avLst/>
          </a:prstGeom>
          <a:noFill/>
          <a:ln w="9525">
            <a:noFill/>
            <a:miter lim="800000"/>
            <a:headEnd type="none" w="sm" len="sm"/>
            <a:tailEnd type="none" w="med" len="lg"/>
          </a:ln>
        </p:spPr>
        <p:txBody>
          <a:bodyPr wrap="none" lIns="0" tIns="0" rIns="0" bIns="0" anchor="t" anchorCtr="0">
            <a:spAutoFit/>
          </a:bodyPr>
          <a:lstStyle/>
          <a:p>
            <a:pPr defTabSz="685800">
              <a:buClrTx/>
            </a:pPr>
            <a:r>
              <a:rPr lang="en-US" altLang="ja-JP" sz="750" kern="1200" dirty="0">
                <a:solidFill>
                  <a:srgbClr val="313131"/>
                </a:solidFill>
                <a:ea typeface="ＭＳ Ｐゴシック" charset="-128"/>
                <a:cs typeface="+mn-cs"/>
              </a:rPr>
              <a:t>No position</a:t>
            </a:r>
          </a:p>
        </p:txBody>
      </p:sp>
      <p:sp>
        <p:nvSpPr>
          <p:cNvPr id="102" name="Rectangle 101"/>
          <p:cNvSpPr>
            <a:spLocks noChangeArrowheads="1"/>
          </p:cNvSpPr>
          <p:nvPr/>
        </p:nvSpPr>
        <p:spPr bwMode="auto">
          <a:xfrm>
            <a:off x="6334125" y="1650326"/>
            <a:ext cx="197644" cy="161925"/>
          </a:xfrm>
          <a:prstGeom prst="rect">
            <a:avLst/>
          </a:prstGeom>
          <a:solidFill>
            <a:srgbClr val="00A1DE"/>
          </a:solidFill>
          <a:ln w="12700">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103" name="Rectangle 102"/>
          <p:cNvSpPr>
            <a:spLocks noChangeArrowheads="1"/>
          </p:cNvSpPr>
          <p:nvPr/>
        </p:nvSpPr>
        <p:spPr bwMode="auto">
          <a:xfrm>
            <a:off x="6134100" y="1864043"/>
            <a:ext cx="200025" cy="161925"/>
          </a:xfrm>
          <a:prstGeom prst="rect">
            <a:avLst/>
          </a:prstGeom>
          <a:solidFill>
            <a:srgbClr val="575757"/>
          </a:solidFill>
          <a:ln w="12700">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104" name="Rectangle 103"/>
          <p:cNvSpPr>
            <a:spLocks noChangeArrowheads="1"/>
          </p:cNvSpPr>
          <p:nvPr/>
        </p:nvSpPr>
        <p:spPr bwMode="auto">
          <a:xfrm>
            <a:off x="6134100" y="2084309"/>
            <a:ext cx="200025" cy="161925"/>
          </a:xfrm>
          <a:prstGeom prst="rect">
            <a:avLst/>
          </a:prstGeom>
          <a:solidFill>
            <a:schemeClr val="bg1"/>
          </a:solidFill>
          <a:ln w="12700">
            <a:solidFill>
              <a:srgbClr val="B4B4B4"/>
            </a:solidFill>
            <a:prstDash val="solid"/>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105" name="Rectangle 104"/>
          <p:cNvSpPr>
            <a:spLocks noChangeArrowheads="1"/>
          </p:cNvSpPr>
          <p:nvPr/>
        </p:nvSpPr>
        <p:spPr bwMode="auto">
          <a:xfrm>
            <a:off x="6134100" y="1650326"/>
            <a:ext cx="200025" cy="161925"/>
          </a:xfrm>
          <a:prstGeom prst="rect">
            <a:avLst/>
          </a:prstGeom>
          <a:solidFill>
            <a:srgbClr val="00A1DE"/>
          </a:solidFill>
          <a:ln w="12700">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784489" name="Rectangle 105"/>
          <p:cNvSpPr>
            <a:spLocks noChangeArrowheads="1"/>
          </p:cNvSpPr>
          <p:nvPr/>
        </p:nvSpPr>
        <p:spPr bwMode="auto">
          <a:xfrm>
            <a:off x="6208465" y="1268730"/>
            <a:ext cx="64120" cy="115416"/>
          </a:xfrm>
          <a:prstGeom prst="rect">
            <a:avLst/>
          </a:prstGeom>
          <a:noFill/>
          <a:ln w="9525">
            <a:noFill/>
            <a:miter lim="800000"/>
            <a:headEnd type="none" w="sm" len="sm"/>
            <a:tailEnd type="none" w="med" len="lg"/>
          </a:ln>
        </p:spPr>
        <p:txBody>
          <a:bodyPr wrap="none" lIns="0" tIns="0" rIns="0" bIns="0" anchor="t" anchorCtr="0">
            <a:spAutoFit/>
          </a:bodyPr>
          <a:lstStyle/>
          <a:p>
            <a:pPr algn="r" defTabSz="685800">
              <a:buClrTx/>
            </a:pPr>
            <a:r>
              <a:rPr lang="en-US" altLang="ja-JP" sz="750" kern="1200">
                <a:solidFill>
                  <a:srgbClr val="313131"/>
                </a:solidFill>
                <a:ea typeface="ＭＳ Ｐゴシック" charset="-128"/>
                <a:cs typeface="+mn-cs"/>
              </a:rPr>
              <a:t>A</a:t>
            </a:r>
          </a:p>
        </p:txBody>
      </p:sp>
      <p:sp>
        <p:nvSpPr>
          <p:cNvPr id="784490" name="Text Box 106"/>
          <p:cNvSpPr txBox="1">
            <a:spLocks noChangeArrowheads="1"/>
          </p:cNvSpPr>
          <p:nvPr/>
        </p:nvSpPr>
        <p:spPr bwMode="auto">
          <a:xfrm>
            <a:off x="6606516" y="1662038"/>
            <a:ext cx="307777" cy="115416"/>
          </a:xfrm>
          <a:prstGeom prst="rect">
            <a:avLst/>
          </a:prstGeom>
          <a:noFill/>
          <a:ln w="9525">
            <a:noFill/>
            <a:miter lim="800000"/>
            <a:headEnd type="none" w="sm" len="sm"/>
            <a:tailEnd type="none" w="med" len="lg"/>
          </a:ln>
        </p:spPr>
        <p:txBody>
          <a:bodyPr wrap="none" lIns="0" tIns="0" rIns="0" bIns="0" anchor="t" anchorCtr="0">
            <a:spAutoFit/>
          </a:bodyPr>
          <a:lstStyle/>
          <a:p>
            <a:pPr defTabSz="685800">
              <a:buClrTx/>
            </a:pPr>
            <a:r>
              <a:rPr lang="en-US" altLang="ja-JP" sz="750" kern="1200" dirty="0">
                <a:solidFill>
                  <a:srgbClr val="313131"/>
                </a:solidFill>
                <a:ea typeface="ＭＳ Ｐゴシック" charset="-128"/>
                <a:cs typeface="+mn-cs"/>
              </a:rPr>
              <a:t>Neutral</a:t>
            </a:r>
          </a:p>
        </p:txBody>
      </p:sp>
      <p:sp>
        <p:nvSpPr>
          <p:cNvPr id="109" name="Rectangle 108"/>
          <p:cNvSpPr>
            <a:spLocks noChangeArrowheads="1"/>
          </p:cNvSpPr>
          <p:nvPr/>
        </p:nvSpPr>
        <p:spPr bwMode="auto">
          <a:xfrm>
            <a:off x="5222081" y="4084559"/>
            <a:ext cx="200025" cy="161925"/>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110" name="Rectangle 109"/>
          <p:cNvSpPr>
            <a:spLocks noChangeArrowheads="1"/>
          </p:cNvSpPr>
          <p:nvPr/>
        </p:nvSpPr>
        <p:spPr bwMode="auto">
          <a:xfrm>
            <a:off x="5422106" y="4084559"/>
            <a:ext cx="200025" cy="161925"/>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112" name="Rectangle 111"/>
          <p:cNvSpPr>
            <a:spLocks noChangeArrowheads="1"/>
          </p:cNvSpPr>
          <p:nvPr/>
        </p:nvSpPr>
        <p:spPr bwMode="auto">
          <a:xfrm>
            <a:off x="5918597" y="4084559"/>
            <a:ext cx="198834" cy="161925"/>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113" name="Rectangle 112"/>
          <p:cNvSpPr>
            <a:spLocks noChangeArrowheads="1"/>
          </p:cNvSpPr>
          <p:nvPr/>
        </p:nvSpPr>
        <p:spPr bwMode="auto">
          <a:xfrm>
            <a:off x="6118622" y="4084559"/>
            <a:ext cx="198834" cy="161925"/>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114" name="Oval 113"/>
          <p:cNvSpPr>
            <a:spLocks noChangeArrowheads="1"/>
          </p:cNvSpPr>
          <p:nvPr/>
        </p:nvSpPr>
        <p:spPr bwMode="auto">
          <a:xfrm>
            <a:off x="4979194" y="4003596"/>
            <a:ext cx="817960" cy="464344"/>
          </a:xfrm>
          <a:prstGeom prst="ellipse">
            <a:avLst/>
          </a:prstGeom>
          <a:noFill/>
          <a:ln w="19050" algn="ctr">
            <a:solidFill>
              <a:schemeClr val="accent1"/>
            </a:solidFill>
            <a:round/>
            <a:headEnd type="none" w="sm" len="sm"/>
            <a:tailEnd type="none" w="med" len="lg"/>
          </a:ln>
        </p:spPr>
        <p:txBody>
          <a:bodyPr wrap="none" anchor="ctr"/>
          <a:lstStyle/>
          <a:p>
            <a:pPr algn="ctr" defTabSz="685800">
              <a:buClrTx/>
              <a:defRPr/>
            </a:pPr>
            <a:endParaRPr lang="en-US" sz="900" kern="1200" dirty="0">
              <a:solidFill>
                <a:srgbClr val="313131"/>
              </a:solidFill>
              <a:ea typeface="+mn-ea"/>
              <a:cs typeface="+mn-cs"/>
            </a:endParaRPr>
          </a:p>
        </p:txBody>
      </p:sp>
      <p:sp>
        <p:nvSpPr>
          <p:cNvPr id="115" name="Rectangle 114"/>
          <p:cNvSpPr>
            <a:spLocks noChangeArrowheads="1"/>
          </p:cNvSpPr>
          <p:nvPr/>
        </p:nvSpPr>
        <p:spPr bwMode="auto">
          <a:xfrm>
            <a:off x="2528888" y="3232071"/>
            <a:ext cx="198835" cy="161925"/>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116" name="Rectangle 115"/>
          <p:cNvSpPr>
            <a:spLocks noChangeArrowheads="1"/>
          </p:cNvSpPr>
          <p:nvPr/>
        </p:nvSpPr>
        <p:spPr bwMode="auto">
          <a:xfrm>
            <a:off x="2528888" y="2805827"/>
            <a:ext cx="198835" cy="161925"/>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117" name="Rectangle 116"/>
          <p:cNvSpPr>
            <a:spLocks noChangeArrowheads="1"/>
          </p:cNvSpPr>
          <p:nvPr/>
        </p:nvSpPr>
        <p:spPr bwMode="auto">
          <a:xfrm>
            <a:off x="3226594" y="2805827"/>
            <a:ext cx="198835" cy="161925"/>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118" name="Rectangle 117"/>
          <p:cNvSpPr>
            <a:spLocks noChangeArrowheads="1"/>
          </p:cNvSpPr>
          <p:nvPr/>
        </p:nvSpPr>
        <p:spPr bwMode="auto">
          <a:xfrm>
            <a:off x="3226594" y="3232071"/>
            <a:ext cx="198835" cy="161925"/>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119" name="Oval 118"/>
          <p:cNvSpPr>
            <a:spLocks noChangeArrowheads="1"/>
          </p:cNvSpPr>
          <p:nvPr/>
        </p:nvSpPr>
        <p:spPr bwMode="auto">
          <a:xfrm>
            <a:off x="3525442" y="1814036"/>
            <a:ext cx="897731" cy="466725"/>
          </a:xfrm>
          <a:prstGeom prst="ellipse">
            <a:avLst/>
          </a:prstGeom>
          <a:noFill/>
          <a:ln w="19050">
            <a:solidFill>
              <a:schemeClr val="accent1"/>
            </a:solidFill>
            <a:round/>
            <a:headEnd type="none" w="sm" len="sm"/>
            <a:tailEnd type="none" w="med" len="lg"/>
          </a:ln>
        </p:spPr>
        <p:txBody>
          <a:bodyPr wrap="none" anchor="ctr"/>
          <a:lstStyle/>
          <a:p>
            <a:pPr algn="ctr" defTabSz="685800">
              <a:buClrTx/>
              <a:defRPr/>
            </a:pPr>
            <a:endParaRPr lang="en-US" sz="900" kern="1200" dirty="0">
              <a:solidFill>
                <a:srgbClr val="313131"/>
              </a:solidFill>
              <a:ea typeface="+mn-ea"/>
              <a:cs typeface="+mn-cs"/>
            </a:endParaRPr>
          </a:p>
        </p:txBody>
      </p:sp>
      <p:sp>
        <p:nvSpPr>
          <p:cNvPr id="120" name="Oval 119"/>
          <p:cNvSpPr>
            <a:spLocks noChangeArrowheads="1"/>
          </p:cNvSpPr>
          <p:nvPr/>
        </p:nvSpPr>
        <p:spPr bwMode="auto">
          <a:xfrm>
            <a:off x="5719763" y="3526155"/>
            <a:ext cx="896541" cy="485775"/>
          </a:xfrm>
          <a:prstGeom prst="ellipse">
            <a:avLst/>
          </a:prstGeom>
          <a:noFill/>
          <a:ln w="19050" algn="ctr">
            <a:solidFill>
              <a:schemeClr val="accent1"/>
            </a:solidFill>
            <a:round/>
            <a:headEnd type="none" w="sm" len="sm"/>
            <a:tailEnd type="none" w="med" len="lg"/>
          </a:ln>
        </p:spPr>
        <p:txBody>
          <a:bodyPr wrap="none" anchor="ctr"/>
          <a:lstStyle/>
          <a:p>
            <a:pPr algn="ctr" defTabSz="685800">
              <a:buClrTx/>
              <a:defRPr/>
            </a:pPr>
            <a:endParaRPr lang="en-US" sz="900" kern="1200" dirty="0">
              <a:solidFill>
                <a:srgbClr val="313131"/>
              </a:solidFill>
              <a:ea typeface="+mn-ea"/>
              <a:cs typeface="+mn-cs"/>
            </a:endParaRPr>
          </a:p>
        </p:txBody>
      </p:sp>
      <p:sp>
        <p:nvSpPr>
          <p:cNvPr id="121" name="Oval 120"/>
          <p:cNvSpPr>
            <a:spLocks noChangeArrowheads="1"/>
          </p:cNvSpPr>
          <p:nvPr/>
        </p:nvSpPr>
        <p:spPr bwMode="auto">
          <a:xfrm>
            <a:off x="4922044" y="3526155"/>
            <a:ext cx="896541" cy="485775"/>
          </a:xfrm>
          <a:prstGeom prst="ellipse">
            <a:avLst/>
          </a:prstGeom>
          <a:noFill/>
          <a:ln w="19050" algn="ctr">
            <a:solidFill>
              <a:schemeClr val="accent1"/>
            </a:solidFill>
            <a:round/>
            <a:headEnd type="none" w="sm" len="sm"/>
            <a:tailEnd type="none" w="med" len="lg"/>
          </a:ln>
        </p:spPr>
        <p:txBody>
          <a:bodyPr wrap="none" anchor="ctr"/>
          <a:lstStyle/>
          <a:p>
            <a:pPr algn="ctr" defTabSz="685800">
              <a:buClrTx/>
              <a:defRPr/>
            </a:pPr>
            <a:endParaRPr lang="en-US" sz="900" kern="1200" dirty="0">
              <a:solidFill>
                <a:srgbClr val="313131"/>
              </a:solidFill>
              <a:ea typeface="+mn-ea"/>
              <a:cs typeface="+mn-cs"/>
            </a:endParaRPr>
          </a:p>
        </p:txBody>
      </p:sp>
      <p:sp>
        <p:nvSpPr>
          <p:cNvPr id="122" name="Oval 121"/>
          <p:cNvSpPr>
            <a:spLocks noChangeArrowheads="1"/>
          </p:cNvSpPr>
          <p:nvPr/>
        </p:nvSpPr>
        <p:spPr bwMode="auto">
          <a:xfrm>
            <a:off x="2778919" y="4019074"/>
            <a:ext cx="917972" cy="432197"/>
          </a:xfrm>
          <a:prstGeom prst="ellipse">
            <a:avLst/>
          </a:prstGeom>
          <a:noFill/>
          <a:ln w="19050">
            <a:solidFill>
              <a:schemeClr val="accent1"/>
            </a:solidFill>
            <a:round/>
            <a:headEnd type="none" w="sm" len="sm"/>
            <a:tailEnd type="none" w="med" len="lg"/>
          </a:ln>
        </p:spPr>
        <p:txBody>
          <a:bodyPr wrap="none" anchor="ctr"/>
          <a:lstStyle/>
          <a:p>
            <a:pPr algn="ctr" defTabSz="685800">
              <a:buClrTx/>
              <a:defRPr/>
            </a:pPr>
            <a:endParaRPr lang="en-US" sz="900" kern="1200" dirty="0">
              <a:solidFill>
                <a:srgbClr val="313131"/>
              </a:solidFill>
              <a:ea typeface="+mn-ea"/>
              <a:cs typeface="+mn-cs"/>
            </a:endParaRPr>
          </a:p>
        </p:txBody>
      </p:sp>
      <p:sp>
        <p:nvSpPr>
          <p:cNvPr id="123" name="Oval 122"/>
          <p:cNvSpPr>
            <a:spLocks noChangeArrowheads="1"/>
          </p:cNvSpPr>
          <p:nvPr/>
        </p:nvSpPr>
        <p:spPr bwMode="auto">
          <a:xfrm>
            <a:off x="3555206" y="4019074"/>
            <a:ext cx="896541" cy="432197"/>
          </a:xfrm>
          <a:prstGeom prst="ellipse">
            <a:avLst/>
          </a:prstGeom>
          <a:noFill/>
          <a:ln w="19050">
            <a:solidFill>
              <a:schemeClr val="accent1"/>
            </a:solidFill>
            <a:round/>
            <a:headEnd type="none" w="sm" len="sm"/>
            <a:tailEnd type="none" w="med" len="lg"/>
          </a:ln>
        </p:spPr>
        <p:txBody>
          <a:bodyPr wrap="none" anchor="ctr"/>
          <a:lstStyle/>
          <a:p>
            <a:pPr algn="ctr" defTabSz="685800">
              <a:buClrTx/>
              <a:defRPr/>
            </a:pPr>
            <a:endParaRPr lang="en-US" sz="900" kern="1200" dirty="0">
              <a:solidFill>
                <a:srgbClr val="313131"/>
              </a:solidFill>
              <a:ea typeface="+mn-ea"/>
              <a:cs typeface="+mn-cs"/>
            </a:endParaRPr>
          </a:p>
        </p:txBody>
      </p:sp>
      <p:sp>
        <p:nvSpPr>
          <p:cNvPr id="124" name="Oval 123"/>
          <p:cNvSpPr>
            <a:spLocks noChangeArrowheads="1"/>
          </p:cNvSpPr>
          <p:nvPr/>
        </p:nvSpPr>
        <p:spPr bwMode="auto">
          <a:xfrm>
            <a:off x="4231482" y="4019074"/>
            <a:ext cx="883444" cy="432197"/>
          </a:xfrm>
          <a:prstGeom prst="ellipse">
            <a:avLst/>
          </a:prstGeom>
          <a:noFill/>
          <a:ln w="19050">
            <a:solidFill>
              <a:schemeClr val="accent1"/>
            </a:solidFill>
            <a:round/>
            <a:headEnd type="none" w="sm" len="sm"/>
            <a:tailEnd type="none" w="med" len="lg"/>
          </a:ln>
        </p:spPr>
        <p:txBody>
          <a:bodyPr wrap="none" anchor="ctr"/>
          <a:lstStyle/>
          <a:p>
            <a:pPr algn="ctr" defTabSz="685800">
              <a:buClrTx/>
              <a:defRPr/>
            </a:pPr>
            <a:endParaRPr lang="en-US" sz="900" kern="1200" dirty="0">
              <a:solidFill>
                <a:srgbClr val="313131"/>
              </a:solidFill>
              <a:ea typeface="+mn-ea"/>
              <a:cs typeface="+mn-cs"/>
            </a:endParaRPr>
          </a:p>
        </p:txBody>
      </p:sp>
      <p:sp>
        <p:nvSpPr>
          <p:cNvPr id="125" name="Oval 124"/>
          <p:cNvSpPr>
            <a:spLocks noChangeArrowheads="1"/>
          </p:cNvSpPr>
          <p:nvPr/>
        </p:nvSpPr>
        <p:spPr bwMode="auto">
          <a:xfrm>
            <a:off x="4223147" y="3526155"/>
            <a:ext cx="898922" cy="485775"/>
          </a:xfrm>
          <a:prstGeom prst="ellipse">
            <a:avLst/>
          </a:prstGeom>
          <a:noFill/>
          <a:ln w="19050" algn="ctr">
            <a:solidFill>
              <a:schemeClr val="accent1"/>
            </a:solidFill>
            <a:round/>
            <a:headEnd type="none" w="sm" len="sm"/>
            <a:tailEnd type="none" w="med" len="lg"/>
          </a:ln>
        </p:spPr>
        <p:txBody>
          <a:bodyPr wrap="none" anchor="ctr"/>
          <a:lstStyle/>
          <a:p>
            <a:pPr algn="ctr" defTabSz="685800">
              <a:buClrTx/>
              <a:defRPr/>
            </a:pPr>
            <a:endParaRPr lang="en-US" sz="900" kern="1200" dirty="0">
              <a:solidFill>
                <a:srgbClr val="313131"/>
              </a:solidFill>
              <a:ea typeface="+mn-ea"/>
              <a:cs typeface="+mn-cs"/>
            </a:endParaRPr>
          </a:p>
        </p:txBody>
      </p:sp>
      <p:sp>
        <p:nvSpPr>
          <p:cNvPr id="126" name="Oval 125"/>
          <p:cNvSpPr>
            <a:spLocks noChangeArrowheads="1"/>
          </p:cNvSpPr>
          <p:nvPr/>
        </p:nvSpPr>
        <p:spPr bwMode="auto">
          <a:xfrm>
            <a:off x="2778919" y="3541634"/>
            <a:ext cx="896541" cy="485775"/>
          </a:xfrm>
          <a:prstGeom prst="ellipse">
            <a:avLst/>
          </a:prstGeom>
          <a:noFill/>
          <a:ln w="19050" algn="ctr">
            <a:solidFill>
              <a:schemeClr val="accent1"/>
            </a:solidFill>
            <a:round/>
            <a:headEnd type="none" w="sm" len="sm"/>
            <a:tailEnd type="none" w="med" len="lg"/>
          </a:ln>
        </p:spPr>
        <p:txBody>
          <a:bodyPr wrap="none" anchor="ctr"/>
          <a:lstStyle/>
          <a:p>
            <a:pPr algn="ctr" defTabSz="685800">
              <a:buClrTx/>
              <a:defRPr/>
            </a:pPr>
            <a:endParaRPr lang="en-US" sz="900" kern="1200" dirty="0">
              <a:solidFill>
                <a:srgbClr val="313131"/>
              </a:solidFill>
              <a:ea typeface="+mn-ea"/>
              <a:cs typeface="+mn-cs"/>
            </a:endParaRPr>
          </a:p>
        </p:txBody>
      </p:sp>
      <p:sp>
        <p:nvSpPr>
          <p:cNvPr id="127" name="Rectangle 126"/>
          <p:cNvSpPr>
            <a:spLocks noChangeArrowheads="1"/>
          </p:cNvSpPr>
          <p:nvPr/>
        </p:nvSpPr>
        <p:spPr bwMode="auto">
          <a:xfrm>
            <a:off x="6135291" y="1437203"/>
            <a:ext cx="197644" cy="161925"/>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784511" name="Rectangle 127"/>
          <p:cNvSpPr>
            <a:spLocks noChangeArrowheads="1"/>
          </p:cNvSpPr>
          <p:nvPr/>
        </p:nvSpPr>
        <p:spPr bwMode="auto">
          <a:xfrm>
            <a:off x="6394475" y="1268730"/>
            <a:ext cx="64120" cy="115416"/>
          </a:xfrm>
          <a:prstGeom prst="rect">
            <a:avLst/>
          </a:prstGeom>
          <a:noFill/>
          <a:ln w="9525">
            <a:noFill/>
            <a:miter lim="800000"/>
            <a:headEnd type="none" w="sm" len="sm"/>
            <a:tailEnd type="none" w="med" len="lg"/>
          </a:ln>
        </p:spPr>
        <p:txBody>
          <a:bodyPr wrap="none" lIns="0" tIns="0" rIns="0" bIns="0" anchor="t" anchorCtr="0">
            <a:spAutoFit/>
          </a:bodyPr>
          <a:lstStyle/>
          <a:p>
            <a:pPr defTabSz="685800">
              <a:buClrTx/>
            </a:pPr>
            <a:r>
              <a:rPr lang="en-US" altLang="ja-JP" sz="750" kern="1200" dirty="0">
                <a:solidFill>
                  <a:srgbClr val="313131"/>
                </a:solidFill>
                <a:ea typeface="ＭＳ Ｐゴシック" charset="-128"/>
                <a:cs typeface="+mn-cs"/>
              </a:rPr>
              <a:t>B</a:t>
            </a:r>
          </a:p>
        </p:txBody>
      </p:sp>
      <p:sp>
        <p:nvSpPr>
          <p:cNvPr id="134" name="Rectangle 17"/>
          <p:cNvSpPr>
            <a:spLocks noChangeArrowheads="1"/>
          </p:cNvSpPr>
          <p:nvPr/>
        </p:nvSpPr>
        <p:spPr bwMode="auto">
          <a:xfrm>
            <a:off x="3027760" y="3025194"/>
            <a:ext cx="205184" cy="90794"/>
          </a:xfrm>
          <a:prstGeom prst="rect">
            <a:avLst/>
          </a:prstGeom>
          <a:noFill/>
          <a:ln w="9525">
            <a:noFill/>
            <a:miter lim="800000"/>
            <a:headEnd type="none" w="sm" len="sm"/>
            <a:tailEnd type="none" w="med" len="lg"/>
          </a:ln>
        </p:spPr>
        <p:txBody>
          <a:bodyPr wrap="none" lIns="0" tIns="0" rIns="0" bIns="0" anchor="t" anchorCtr="0">
            <a:spAutoFit/>
          </a:bodyPr>
          <a:lstStyle/>
          <a:p>
            <a:pPr defTabSz="685800">
              <a:lnSpc>
                <a:spcPct val="70000"/>
              </a:lnSpc>
              <a:buClrTx/>
            </a:pPr>
            <a:r>
              <a:rPr lang="en-US" altLang="ja-JP" sz="825" kern="1200" dirty="0">
                <a:solidFill>
                  <a:srgbClr val="313131"/>
                </a:solidFill>
                <a:ea typeface="ＭＳ Ｐゴシック" charset="-128"/>
                <a:cs typeface="+mn-cs"/>
              </a:rPr>
              <a:t>Text</a:t>
            </a:r>
          </a:p>
        </p:txBody>
      </p:sp>
      <p:sp>
        <p:nvSpPr>
          <p:cNvPr id="135" name="Rectangle 17"/>
          <p:cNvSpPr>
            <a:spLocks noChangeArrowheads="1"/>
          </p:cNvSpPr>
          <p:nvPr/>
        </p:nvSpPr>
        <p:spPr bwMode="auto">
          <a:xfrm>
            <a:off x="3027760" y="2546563"/>
            <a:ext cx="205184" cy="90794"/>
          </a:xfrm>
          <a:prstGeom prst="rect">
            <a:avLst/>
          </a:prstGeom>
          <a:noFill/>
          <a:ln w="9525">
            <a:noFill/>
            <a:miter lim="800000"/>
            <a:headEnd type="none" w="sm" len="sm"/>
            <a:tailEnd type="none" w="med" len="lg"/>
          </a:ln>
        </p:spPr>
        <p:txBody>
          <a:bodyPr wrap="none" lIns="0" tIns="0" rIns="0" bIns="0" anchor="t" anchorCtr="0">
            <a:spAutoFit/>
          </a:bodyPr>
          <a:lstStyle/>
          <a:p>
            <a:pPr defTabSz="685800">
              <a:lnSpc>
                <a:spcPct val="70000"/>
              </a:lnSpc>
              <a:buClrTx/>
            </a:pPr>
            <a:r>
              <a:rPr lang="en-US" altLang="ja-JP" sz="825" kern="1200" dirty="0">
                <a:solidFill>
                  <a:srgbClr val="262626"/>
                </a:solidFill>
                <a:ea typeface="ＭＳ Ｐゴシック" charset="-128"/>
                <a:cs typeface="+mn-cs"/>
              </a:rPr>
              <a:t>Text</a:t>
            </a:r>
          </a:p>
        </p:txBody>
      </p:sp>
      <p:sp>
        <p:nvSpPr>
          <p:cNvPr id="136" name="Rectangle 17"/>
          <p:cNvSpPr>
            <a:spLocks noChangeArrowheads="1"/>
          </p:cNvSpPr>
          <p:nvPr/>
        </p:nvSpPr>
        <p:spPr bwMode="auto">
          <a:xfrm>
            <a:off x="3027760" y="2103650"/>
            <a:ext cx="205184" cy="90794"/>
          </a:xfrm>
          <a:prstGeom prst="rect">
            <a:avLst/>
          </a:prstGeom>
          <a:noFill/>
          <a:ln w="9525">
            <a:noFill/>
            <a:miter lim="800000"/>
            <a:headEnd type="none" w="sm" len="sm"/>
            <a:tailEnd type="none" w="med" len="lg"/>
          </a:ln>
        </p:spPr>
        <p:txBody>
          <a:bodyPr wrap="none" lIns="0" tIns="0" rIns="0" bIns="0" anchor="t" anchorCtr="0">
            <a:spAutoFit/>
          </a:bodyPr>
          <a:lstStyle/>
          <a:p>
            <a:pPr defTabSz="685800">
              <a:lnSpc>
                <a:spcPct val="70000"/>
              </a:lnSpc>
              <a:buClrTx/>
            </a:pPr>
            <a:r>
              <a:rPr lang="en-US" altLang="ja-JP" sz="825" kern="1200" dirty="0">
                <a:solidFill>
                  <a:srgbClr val="262626"/>
                </a:solidFill>
                <a:ea typeface="ＭＳ Ｐゴシック" charset="-128"/>
                <a:cs typeface="+mn-cs"/>
              </a:rPr>
              <a:t>Text</a:t>
            </a:r>
          </a:p>
        </p:txBody>
      </p:sp>
      <p:sp>
        <p:nvSpPr>
          <p:cNvPr id="137" name="Rectangle 17"/>
          <p:cNvSpPr>
            <a:spLocks noChangeArrowheads="1"/>
          </p:cNvSpPr>
          <p:nvPr/>
        </p:nvSpPr>
        <p:spPr bwMode="auto">
          <a:xfrm>
            <a:off x="3027760" y="1725031"/>
            <a:ext cx="205184" cy="90794"/>
          </a:xfrm>
          <a:prstGeom prst="rect">
            <a:avLst/>
          </a:prstGeom>
          <a:noFill/>
          <a:ln w="9525">
            <a:noFill/>
            <a:miter lim="800000"/>
            <a:headEnd type="none" w="sm" len="sm"/>
            <a:tailEnd type="none" w="med" len="lg"/>
          </a:ln>
        </p:spPr>
        <p:txBody>
          <a:bodyPr wrap="none" lIns="0" tIns="0" rIns="0" bIns="0" anchor="t" anchorCtr="0">
            <a:spAutoFit/>
          </a:bodyPr>
          <a:lstStyle/>
          <a:p>
            <a:pPr defTabSz="685800">
              <a:lnSpc>
                <a:spcPct val="70000"/>
              </a:lnSpc>
              <a:buClrTx/>
            </a:pPr>
            <a:r>
              <a:rPr lang="en-US" altLang="ja-JP" sz="825" kern="1200" dirty="0">
                <a:solidFill>
                  <a:srgbClr val="262626"/>
                </a:solidFill>
                <a:ea typeface="ＭＳ Ｐゴシック" charset="-128"/>
                <a:cs typeface="+mn-cs"/>
              </a:rPr>
              <a:t>Text</a:t>
            </a:r>
          </a:p>
        </p:txBody>
      </p:sp>
      <p:sp>
        <p:nvSpPr>
          <p:cNvPr id="138" name="Rectangle 17"/>
          <p:cNvSpPr>
            <a:spLocks noChangeArrowheads="1"/>
          </p:cNvSpPr>
          <p:nvPr/>
        </p:nvSpPr>
        <p:spPr bwMode="auto">
          <a:xfrm>
            <a:off x="3027760" y="3868156"/>
            <a:ext cx="205184" cy="90794"/>
          </a:xfrm>
          <a:prstGeom prst="rect">
            <a:avLst/>
          </a:prstGeom>
          <a:noFill/>
          <a:ln w="9525">
            <a:noFill/>
            <a:miter lim="800000"/>
            <a:headEnd type="none" w="sm" len="sm"/>
            <a:tailEnd type="none" w="med" len="lg"/>
          </a:ln>
        </p:spPr>
        <p:txBody>
          <a:bodyPr wrap="none" lIns="0" tIns="0" rIns="0" bIns="0" anchor="t" anchorCtr="0">
            <a:spAutoFit/>
          </a:bodyPr>
          <a:lstStyle/>
          <a:p>
            <a:pPr defTabSz="685800">
              <a:lnSpc>
                <a:spcPct val="70000"/>
              </a:lnSpc>
              <a:buClrTx/>
            </a:pPr>
            <a:r>
              <a:rPr lang="en-US" altLang="ja-JP" sz="825" kern="1200" dirty="0">
                <a:solidFill>
                  <a:srgbClr val="313131"/>
                </a:solidFill>
                <a:ea typeface="ＭＳ Ｐゴシック" charset="-128"/>
                <a:cs typeface="+mn-cs"/>
              </a:rPr>
              <a:t>Text</a:t>
            </a:r>
          </a:p>
        </p:txBody>
      </p:sp>
      <p:sp>
        <p:nvSpPr>
          <p:cNvPr id="139" name="Rectangle 17"/>
          <p:cNvSpPr>
            <a:spLocks noChangeArrowheads="1"/>
          </p:cNvSpPr>
          <p:nvPr/>
        </p:nvSpPr>
        <p:spPr bwMode="auto">
          <a:xfrm>
            <a:off x="3027760" y="4282494"/>
            <a:ext cx="205184" cy="90794"/>
          </a:xfrm>
          <a:prstGeom prst="rect">
            <a:avLst/>
          </a:prstGeom>
          <a:noFill/>
          <a:ln w="9525">
            <a:noFill/>
            <a:miter lim="800000"/>
            <a:headEnd type="none" w="sm" len="sm"/>
            <a:tailEnd type="none" w="med" len="lg"/>
          </a:ln>
        </p:spPr>
        <p:txBody>
          <a:bodyPr wrap="none" lIns="0" tIns="0" rIns="0" bIns="0" anchor="t" anchorCtr="0">
            <a:spAutoFit/>
          </a:bodyPr>
          <a:lstStyle/>
          <a:p>
            <a:pPr defTabSz="685800">
              <a:lnSpc>
                <a:spcPct val="70000"/>
              </a:lnSpc>
              <a:buClrTx/>
            </a:pPr>
            <a:r>
              <a:rPr lang="en-US" altLang="ja-JP" sz="825" kern="1200" dirty="0">
                <a:solidFill>
                  <a:srgbClr val="313131"/>
                </a:solidFill>
                <a:ea typeface="ＭＳ Ｐゴシック" charset="-128"/>
                <a:cs typeface="+mn-cs"/>
              </a:rPr>
              <a:t>Text</a:t>
            </a:r>
          </a:p>
        </p:txBody>
      </p:sp>
      <p:sp>
        <p:nvSpPr>
          <p:cNvPr id="140" name="Rectangle 17"/>
          <p:cNvSpPr>
            <a:spLocks noChangeArrowheads="1"/>
          </p:cNvSpPr>
          <p:nvPr/>
        </p:nvSpPr>
        <p:spPr bwMode="auto">
          <a:xfrm>
            <a:off x="3027760" y="4753981"/>
            <a:ext cx="205184" cy="90794"/>
          </a:xfrm>
          <a:prstGeom prst="rect">
            <a:avLst/>
          </a:prstGeom>
          <a:noFill/>
          <a:ln w="9525">
            <a:noFill/>
            <a:miter lim="800000"/>
            <a:headEnd type="none" w="sm" len="sm"/>
            <a:tailEnd type="none" w="med" len="lg"/>
          </a:ln>
        </p:spPr>
        <p:txBody>
          <a:bodyPr wrap="none" lIns="0" tIns="0" rIns="0" bIns="0" anchor="t" anchorCtr="0">
            <a:spAutoFit/>
          </a:bodyPr>
          <a:lstStyle/>
          <a:p>
            <a:pPr defTabSz="685800">
              <a:lnSpc>
                <a:spcPct val="70000"/>
              </a:lnSpc>
              <a:buClrTx/>
            </a:pPr>
            <a:r>
              <a:rPr lang="en-US" altLang="ja-JP" sz="825" kern="1200" dirty="0">
                <a:solidFill>
                  <a:srgbClr val="313131"/>
                </a:solidFill>
                <a:ea typeface="ＭＳ Ｐゴシック" charset="-128"/>
                <a:cs typeface="+mn-cs"/>
              </a:rPr>
              <a:t>Text</a:t>
            </a:r>
          </a:p>
        </p:txBody>
      </p:sp>
      <p:sp>
        <p:nvSpPr>
          <p:cNvPr id="141" name="Rectangle 17"/>
          <p:cNvSpPr>
            <a:spLocks noChangeArrowheads="1"/>
          </p:cNvSpPr>
          <p:nvPr/>
        </p:nvSpPr>
        <p:spPr bwMode="auto">
          <a:xfrm>
            <a:off x="2330054" y="3453819"/>
            <a:ext cx="205184" cy="90794"/>
          </a:xfrm>
          <a:prstGeom prst="rect">
            <a:avLst/>
          </a:prstGeom>
          <a:noFill/>
          <a:ln w="9525">
            <a:noFill/>
            <a:miter lim="800000"/>
            <a:headEnd type="none" w="sm" len="sm"/>
            <a:tailEnd type="none" w="med" len="lg"/>
          </a:ln>
        </p:spPr>
        <p:txBody>
          <a:bodyPr wrap="none" lIns="0" tIns="0" rIns="0" bIns="0" anchor="t" anchorCtr="0">
            <a:spAutoFit/>
          </a:bodyPr>
          <a:lstStyle/>
          <a:p>
            <a:pPr defTabSz="685800">
              <a:lnSpc>
                <a:spcPct val="70000"/>
              </a:lnSpc>
              <a:buClrTx/>
            </a:pPr>
            <a:r>
              <a:rPr lang="en-US" altLang="ja-JP" sz="825" kern="1200" dirty="0">
                <a:solidFill>
                  <a:srgbClr val="313131"/>
                </a:solidFill>
                <a:ea typeface="ＭＳ Ｐゴシック" charset="-128"/>
                <a:cs typeface="+mn-cs"/>
              </a:rPr>
              <a:t>Text</a:t>
            </a:r>
          </a:p>
        </p:txBody>
      </p:sp>
      <p:sp>
        <p:nvSpPr>
          <p:cNvPr id="142" name="Rectangle 17"/>
          <p:cNvSpPr>
            <a:spLocks noChangeArrowheads="1"/>
          </p:cNvSpPr>
          <p:nvPr/>
        </p:nvSpPr>
        <p:spPr bwMode="auto">
          <a:xfrm>
            <a:off x="2330054" y="3025194"/>
            <a:ext cx="205184" cy="90794"/>
          </a:xfrm>
          <a:prstGeom prst="rect">
            <a:avLst/>
          </a:prstGeom>
          <a:noFill/>
          <a:ln w="9525">
            <a:noFill/>
            <a:miter lim="800000"/>
            <a:headEnd type="none" w="sm" len="sm"/>
            <a:tailEnd type="none" w="med" len="lg"/>
          </a:ln>
        </p:spPr>
        <p:txBody>
          <a:bodyPr wrap="none" lIns="0" tIns="0" rIns="0" bIns="0" anchor="t" anchorCtr="0">
            <a:spAutoFit/>
          </a:bodyPr>
          <a:lstStyle/>
          <a:p>
            <a:pPr defTabSz="685800">
              <a:lnSpc>
                <a:spcPct val="70000"/>
              </a:lnSpc>
              <a:buClrTx/>
            </a:pPr>
            <a:r>
              <a:rPr lang="en-US" altLang="ja-JP" sz="825" kern="1200" dirty="0">
                <a:solidFill>
                  <a:srgbClr val="313131"/>
                </a:solidFill>
                <a:ea typeface="ＭＳ Ｐゴシック" charset="-128"/>
                <a:cs typeface="+mn-cs"/>
              </a:rPr>
              <a:t>Text</a:t>
            </a:r>
          </a:p>
        </p:txBody>
      </p:sp>
      <p:sp>
        <p:nvSpPr>
          <p:cNvPr id="143" name="Rectangle 17"/>
          <p:cNvSpPr>
            <a:spLocks noChangeArrowheads="1"/>
          </p:cNvSpPr>
          <p:nvPr/>
        </p:nvSpPr>
        <p:spPr bwMode="auto">
          <a:xfrm>
            <a:off x="2330054" y="2546563"/>
            <a:ext cx="205184" cy="90794"/>
          </a:xfrm>
          <a:prstGeom prst="rect">
            <a:avLst/>
          </a:prstGeom>
          <a:noFill/>
          <a:ln w="9525">
            <a:noFill/>
            <a:miter lim="800000"/>
            <a:headEnd type="none" w="sm" len="sm"/>
            <a:tailEnd type="none" w="med" len="lg"/>
          </a:ln>
        </p:spPr>
        <p:txBody>
          <a:bodyPr wrap="none" lIns="0" tIns="0" rIns="0" bIns="0" anchor="t" anchorCtr="0">
            <a:spAutoFit/>
          </a:bodyPr>
          <a:lstStyle/>
          <a:p>
            <a:pPr defTabSz="685800">
              <a:lnSpc>
                <a:spcPct val="70000"/>
              </a:lnSpc>
              <a:buClrTx/>
            </a:pPr>
            <a:r>
              <a:rPr lang="en-US" altLang="ja-JP" sz="825" kern="1200" dirty="0">
                <a:solidFill>
                  <a:srgbClr val="262626"/>
                </a:solidFill>
                <a:ea typeface="ＭＳ Ｐゴシック" charset="-128"/>
                <a:cs typeface="+mn-cs"/>
              </a:rPr>
              <a:t>Text</a:t>
            </a:r>
          </a:p>
        </p:txBody>
      </p:sp>
      <p:sp>
        <p:nvSpPr>
          <p:cNvPr id="144" name="Rectangle 17"/>
          <p:cNvSpPr>
            <a:spLocks noChangeArrowheads="1"/>
          </p:cNvSpPr>
          <p:nvPr/>
        </p:nvSpPr>
        <p:spPr bwMode="auto">
          <a:xfrm>
            <a:off x="2330054" y="2103650"/>
            <a:ext cx="205184" cy="90794"/>
          </a:xfrm>
          <a:prstGeom prst="rect">
            <a:avLst/>
          </a:prstGeom>
          <a:noFill/>
          <a:ln w="9525">
            <a:noFill/>
            <a:miter lim="800000"/>
            <a:headEnd type="none" w="sm" len="sm"/>
            <a:tailEnd type="none" w="med" len="lg"/>
          </a:ln>
        </p:spPr>
        <p:txBody>
          <a:bodyPr wrap="none" lIns="0" tIns="0" rIns="0" bIns="0" anchor="t" anchorCtr="0">
            <a:spAutoFit/>
          </a:bodyPr>
          <a:lstStyle/>
          <a:p>
            <a:pPr defTabSz="685800">
              <a:lnSpc>
                <a:spcPct val="70000"/>
              </a:lnSpc>
              <a:buClrTx/>
            </a:pPr>
            <a:r>
              <a:rPr lang="en-US" altLang="ja-JP" sz="825" kern="1200" dirty="0">
                <a:solidFill>
                  <a:srgbClr val="262626"/>
                </a:solidFill>
                <a:ea typeface="ＭＳ Ｐゴシック" charset="-128"/>
                <a:cs typeface="+mn-cs"/>
              </a:rPr>
              <a:t>Text</a:t>
            </a:r>
          </a:p>
        </p:txBody>
      </p:sp>
      <p:sp>
        <p:nvSpPr>
          <p:cNvPr id="145" name="Rectangle 17"/>
          <p:cNvSpPr>
            <a:spLocks noChangeArrowheads="1"/>
          </p:cNvSpPr>
          <p:nvPr/>
        </p:nvSpPr>
        <p:spPr bwMode="auto">
          <a:xfrm>
            <a:off x="2330054" y="1725031"/>
            <a:ext cx="205184" cy="90794"/>
          </a:xfrm>
          <a:prstGeom prst="rect">
            <a:avLst/>
          </a:prstGeom>
          <a:noFill/>
          <a:ln w="9525">
            <a:noFill/>
            <a:miter lim="800000"/>
            <a:headEnd type="none" w="sm" len="sm"/>
            <a:tailEnd type="none" w="med" len="lg"/>
          </a:ln>
        </p:spPr>
        <p:txBody>
          <a:bodyPr wrap="none" lIns="0" tIns="0" rIns="0" bIns="0" anchor="t" anchorCtr="0">
            <a:spAutoFit/>
          </a:bodyPr>
          <a:lstStyle/>
          <a:p>
            <a:pPr defTabSz="685800">
              <a:lnSpc>
                <a:spcPct val="70000"/>
              </a:lnSpc>
              <a:buClrTx/>
            </a:pPr>
            <a:r>
              <a:rPr lang="en-US" altLang="ja-JP" sz="825" kern="1200" dirty="0">
                <a:solidFill>
                  <a:srgbClr val="262626"/>
                </a:solidFill>
                <a:ea typeface="ＭＳ Ｐゴシック" charset="-128"/>
                <a:cs typeface="+mn-cs"/>
              </a:rPr>
              <a:t>Text</a:t>
            </a:r>
          </a:p>
        </p:txBody>
      </p:sp>
      <p:sp>
        <p:nvSpPr>
          <p:cNvPr id="146" name="Rectangle 17"/>
          <p:cNvSpPr>
            <a:spLocks noChangeArrowheads="1"/>
          </p:cNvSpPr>
          <p:nvPr/>
        </p:nvSpPr>
        <p:spPr bwMode="auto">
          <a:xfrm>
            <a:off x="2330054" y="3868156"/>
            <a:ext cx="205184" cy="90794"/>
          </a:xfrm>
          <a:prstGeom prst="rect">
            <a:avLst/>
          </a:prstGeom>
          <a:noFill/>
          <a:ln w="9525">
            <a:noFill/>
            <a:miter lim="800000"/>
            <a:headEnd type="none" w="sm" len="sm"/>
            <a:tailEnd type="none" w="med" len="lg"/>
          </a:ln>
        </p:spPr>
        <p:txBody>
          <a:bodyPr wrap="none" lIns="0" tIns="0" rIns="0" bIns="0" anchor="t" anchorCtr="0">
            <a:spAutoFit/>
          </a:bodyPr>
          <a:lstStyle/>
          <a:p>
            <a:pPr defTabSz="685800">
              <a:lnSpc>
                <a:spcPct val="70000"/>
              </a:lnSpc>
              <a:buClrTx/>
            </a:pPr>
            <a:r>
              <a:rPr lang="en-US" altLang="ja-JP" sz="825" kern="1200" dirty="0">
                <a:solidFill>
                  <a:srgbClr val="313131"/>
                </a:solidFill>
                <a:ea typeface="ＭＳ Ｐゴシック" charset="-128"/>
                <a:cs typeface="+mn-cs"/>
              </a:rPr>
              <a:t>Text</a:t>
            </a:r>
          </a:p>
        </p:txBody>
      </p:sp>
      <p:sp>
        <p:nvSpPr>
          <p:cNvPr id="147" name="Rectangle 17"/>
          <p:cNvSpPr>
            <a:spLocks noChangeArrowheads="1"/>
          </p:cNvSpPr>
          <p:nvPr/>
        </p:nvSpPr>
        <p:spPr bwMode="auto">
          <a:xfrm>
            <a:off x="2330054" y="4282494"/>
            <a:ext cx="205184" cy="90794"/>
          </a:xfrm>
          <a:prstGeom prst="rect">
            <a:avLst/>
          </a:prstGeom>
          <a:noFill/>
          <a:ln w="9525">
            <a:noFill/>
            <a:miter lim="800000"/>
            <a:headEnd type="none" w="sm" len="sm"/>
            <a:tailEnd type="none" w="med" len="lg"/>
          </a:ln>
        </p:spPr>
        <p:txBody>
          <a:bodyPr wrap="none" lIns="0" tIns="0" rIns="0" bIns="0" anchor="t" anchorCtr="0">
            <a:spAutoFit/>
          </a:bodyPr>
          <a:lstStyle/>
          <a:p>
            <a:pPr defTabSz="685800">
              <a:lnSpc>
                <a:spcPct val="70000"/>
              </a:lnSpc>
              <a:buClrTx/>
            </a:pPr>
            <a:r>
              <a:rPr lang="en-US" altLang="ja-JP" sz="825" kern="1200" dirty="0">
                <a:solidFill>
                  <a:srgbClr val="313131"/>
                </a:solidFill>
                <a:ea typeface="ＭＳ Ｐゴシック" charset="-128"/>
                <a:cs typeface="+mn-cs"/>
              </a:rPr>
              <a:t>Text</a:t>
            </a:r>
          </a:p>
        </p:txBody>
      </p:sp>
      <p:sp>
        <p:nvSpPr>
          <p:cNvPr id="148" name="Rectangle 17"/>
          <p:cNvSpPr>
            <a:spLocks noChangeArrowheads="1"/>
          </p:cNvSpPr>
          <p:nvPr/>
        </p:nvSpPr>
        <p:spPr bwMode="auto">
          <a:xfrm>
            <a:off x="2330054" y="4753981"/>
            <a:ext cx="205184" cy="90794"/>
          </a:xfrm>
          <a:prstGeom prst="rect">
            <a:avLst/>
          </a:prstGeom>
          <a:noFill/>
          <a:ln w="9525">
            <a:noFill/>
            <a:miter lim="800000"/>
            <a:headEnd type="none" w="sm" len="sm"/>
            <a:tailEnd type="none" w="med" len="lg"/>
          </a:ln>
        </p:spPr>
        <p:txBody>
          <a:bodyPr wrap="none" lIns="0" tIns="0" rIns="0" bIns="0" anchor="t" anchorCtr="0">
            <a:spAutoFit/>
          </a:bodyPr>
          <a:lstStyle/>
          <a:p>
            <a:pPr defTabSz="685800">
              <a:lnSpc>
                <a:spcPct val="70000"/>
              </a:lnSpc>
              <a:buClrTx/>
            </a:pPr>
            <a:r>
              <a:rPr lang="en-US" altLang="ja-JP" sz="825" kern="1200" dirty="0">
                <a:solidFill>
                  <a:srgbClr val="313131"/>
                </a:solidFill>
                <a:ea typeface="ＭＳ Ｐゴシック" charset="-128"/>
                <a:cs typeface="+mn-cs"/>
              </a:rPr>
              <a:t>Text</a:t>
            </a:r>
          </a:p>
        </p:txBody>
      </p:sp>
      <p:sp>
        <p:nvSpPr>
          <p:cNvPr id="151" name="Rectangle 17"/>
          <p:cNvSpPr>
            <a:spLocks noChangeArrowheads="1"/>
          </p:cNvSpPr>
          <p:nvPr/>
        </p:nvSpPr>
        <p:spPr bwMode="auto">
          <a:xfrm>
            <a:off x="3775472" y="2546563"/>
            <a:ext cx="205184" cy="90794"/>
          </a:xfrm>
          <a:prstGeom prst="rect">
            <a:avLst/>
          </a:prstGeom>
          <a:noFill/>
          <a:ln w="9525">
            <a:noFill/>
            <a:miter lim="800000"/>
            <a:headEnd type="none" w="sm" len="sm"/>
            <a:tailEnd type="none" w="med" len="lg"/>
          </a:ln>
        </p:spPr>
        <p:txBody>
          <a:bodyPr wrap="none" lIns="0" tIns="0" rIns="0" bIns="0" anchor="t" anchorCtr="0">
            <a:spAutoFit/>
          </a:bodyPr>
          <a:lstStyle/>
          <a:p>
            <a:pPr defTabSz="685800">
              <a:lnSpc>
                <a:spcPct val="70000"/>
              </a:lnSpc>
              <a:buClrTx/>
            </a:pPr>
            <a:r>
              <a:rPr lang="en-US" altLang="ja-JP" sz="825" kern="1200" dirty="0">
                <a:solidFill>
                  <a:srgbClr val="262626"/>
                </a:solidFill>
                <a:ea typeface="ＭＳ Ｐゴシック" charset="-128"/>
                <a:cs typeface="+mn-cs"/>
              </a:rPr>
              <a:t>Text</a:t>
            </a:r>
          </a:p>
        </p:txBody>
      </p:sp>
      <p:sp>
        <p:nvSpPr>
          <p:cNvPr id="152" name="Rectangle 17"/>
          <p:cNvSpPr>
            <a:spLocks noChangeArrowheads="1"/>
          </p:cNvSpPr>
          <p:nvPr/>
        </p:nvSpPr>
        <p:spPr bwMode="auto">
          <a:xfrm>
            <a:off x="3775472" y="2103650"/>
            <a:ext cx="205184" cy="90794"/>
          </a:xfrm>
          <a:prstGeom prst="rect">
            <a:avLst/>
          </a:prstGeom>
          <a:noFill/>
          <a:ln w="9525">
            <a:noFill/>
            <a:miter lim="800000"/>
            <a:headEnd type="none" w="sm" len="sm"/>
            <a:tailEnd type="none" w="med" len="lg"/>
          </a:ln>
        </p:spPr>
        <p:txBody>
          <a:bodyPr wrap="none" lIns="0" tIns="0" rIns="0" bIns="0" anchor="t" anchorCtr="0">
            <a:spAutoFit/>
          </a:bodyPr>
          <a:lstStyle/>
          <a:p>
            <a:pPr defTabSz="685800">
              <a:lnSpc>
                <a:spcPct val="70000"/>
              </a:lnSpc>
              <a:buClrTx/>
            </a:pPr>
            <a:r>
              <a:rPr lang="en-US" altLang="ja-JP" sz="825" kern="1200" dirty="0">
                <a:solidFill>
                  <a:srgbClr val="262626"/>
                </a:solidFill>
                <a:ea typeface="ＭＳ Ｐゴシック" charset="-128"/>
                <a:cs typeface="+mn-cs"/>
              </a:rPr>
              <a:t>Text</a:t>
            </a:r>
          </a:p>
        </p:txBody>
      </p:sp>
      <p:sp>
        <p:nvSpPr>
          <p:cNvPr id="153" name="Rectangle 17"/>
          <p:cNvSpPr>
            <a:spLocks noChangeArrowheads="1"/>
          </p:cNvSpPr>
          <p:nvPr/>
        </p:nvSpPr>
        <p:spPr bwMode="auto">
          <a:xfrm>
            <a:off x="3775472" y="1725031"/>
            <a:ext cx="205184" cy="90794"/>
          </a:xfrm>
          <a:prstGeom prst="rect">
            <a:avLst/>
          </a:prstGeom>
          <a:noFill/>
          <a:ln w="9525">
            <a:noFill/>
            <a:miter lim="800000"/>
            <a:headEnd type="none" w="sm" len="sm"/>
            <a:tailEnd type="none" w="med" len="lg"/>
          </a:ln>
        </p:spPr>
        <p:txBody>
          <a:bodyPr wrap="none" lIns="0" tIns="0" rIns="0" bIns="0" anchor="t" anchorCtr="0">
            <a:spAutoFit/>
          </a:bodyPr>
          <a:lstStyle/>
          <a:p>
            <a:pPr defTabSz="685800">
              <a:lnSpc>
                <a:spcPct val="70000"/>
              </a:lnSpc>
              <a:buClrTx/>
            </a:pPr>
            <a:r>
              <a:rPr lang="en-US" altLang="ja-JP" sz="825" kern="1200" dirty="0">
                <a:solidFill>
                  <a:srgbClr val="262626"/>
                </a:solidFill>
                <a:ea typeface="ＭＳ Ｐゴシック" charset="-128"/>
                <a:cs typeface="+mn-cs"/>
              </a:rPr>
              <a:t>Text</a:t>
            </a:r>
          </a:p>
        </p:txBody>
      </p:sp>
      <p:sp>
        <p:nvSpPr>
          <p:cNvPr id="154" name="Rectangle 17"/>
          <p:cNvSpPr>
            <a:spLocks noChangeArrowheads="1"/>
          </p:cNvSpPr>
          <p:nvPr/>
        </p:nvSpPr>
        <p:spPr bwMode="auto">
          <a:xfrm>
            <a:off x="3775472" y="3868156"/>
            <a:ext cx="205184" cy="90794"/>
          </a:xfrm>
          <a:prstGeom prst="rect">
            <a:avLst/>
          </a:prstGeom>
          <a:noFill/>
          <a:ln w="9525">
            <a:noFill/>
            <a:miter lim="800000"/>
            <a:headEnd type="none" w="sm" len="sm"/>
            <a:tailEnd type="none" w="med" len="lg"/>
          </a:ln>
        </p:spPr>
        <p:txBody>
          <a:bodyPr wrap="none" lIns="0" tIns="0" rIns="0" bIns="0" anchor="t" anchorCtr="0">
            <a:spAutoFit/>
          </a:bodyPr>
          <a:lstStyle/>
          <a:p>
            <a:pPr defTabSz="685800">
              <a:lnSpc>
                <a:spcPct val="70000"/>
              </a:lnSpc>
              <a:buClrTx/>
            </a:pPr>
            <a:r>
              <a:rPr lang="en-US" altLang="ja-JP" sz="825" kern="1200" dirty="0">
                <a:solidFill>
                  <a:srgbClr val="313131"/>
                </a:solidFill>
                <a:ea typeface="ＭＳ Ｐゴシック" charset="-128"/>
                <a:cs typeface="+mn-cs"/>
              </a:rPr>
              <a:t>Text</a:t>
            </a:r>
          </a:p>
        </p:txBody>
      </p:sp>
      <p:sp>
        <p:nvSpPr>
          <p:cNvPr id="155" name="Rectangle 17"/>
          <p:cNvSpPr>
            <a:spLocks noChangeArrowheads="1"/>
          </p:cNvSpPr>
          <p:nvPr/>
        </p:nvSpPr>
        <p:spPr bwMode="auto">
          <a:xfrm>
            <a:off x="3775472" y="4282494"/>
            <a:ext cx="205184" cy="90794"/>
          </a:xfrm>
          <a:prstGeom prst="rect">
            <a:avLst/>
          </a:prstGeom>
          <a:noFill/>
          <a:ln w="9525">
            <a:noFill/>
            <a:miter lim="800000"/>
            <a:headEnd type="none" w="sm" len="sm"/>
            <a:tailEnd type="none" w="med" len="lg"/>
          </a:ln>
        </p:spPr>
        <p:txBody>
          <a:bodyPr wrap="none" lIns="0" tIns="0" rIns="0" bIns="0" anchor="t" anchorCtr="0">
            <a:spAutoFit/>
          </a:bodyPr>
          <a:lstStyle/>
          <a:p>
            <a:pPr defTabSz="685800">
              <a:lnSpc>
                <a:spcPct val="70000"/>
              </a:lnSpc>
              <a:buClrTx/>
            </a:pPr>
            <a:r>
              <a:rPr lang="en-US" altLang="ja-JP" sz="825" kern="1200" dirty="0">
                <a:solidFill>
                  <a:srgbClr val="313131"/>
                </a:solidFill>
                <a:ea typeface="ＭＳ Ｐゴシック" charset="-128"/>
                <a:cs typeface="+mn-cs"/>
              </a:rPr>
              <a:t>Text</a:t>
            </a:r>
          </a:p>
        </p:txBody>
      </p:sp>
      <p:sp>
        <p:nvSpPr>
          <p:cNvPr id="156" name="Rectangle 17"/>
          <p:cNvSpPr>
            <a:spLocks noChangeArrowheads="1"/>
          </p:cNvSpPr>
          <p:nvPr/>
        </p:nvSpPr>
        <p:spPr bwMode="auto">
          <a:xfrm>
            <a:off x="3775472" y="4753981"/>
            <a:ext cx="205184" cy="90794"/>
          </a:xfrm>
          <a:prstGeom prst="rect">
            <a:avLst/>
          </a:prstGeom>
          <a:noFill/>
          <a:ln w="9525">
            <a:noFill/>
            <a:miter lim="800000"/>
            <a:headEnd type="none" w="sm" len="sm"/>
            <a:tailEnd type="none" w="med" len="lg"/>
          </a:ln>
        </p:spPr>
        <p:txBody>
          <a:bodyPr wrap="none" lIns="0" tIns="0" rIns="0" bIns="0" anchor="t" anchorCtr="0">
            <a:spAutoFit/>
          </a:bodyPr>
          <a:lstStyle/>
          <a:p>
            <a:pPr defTabSz="685800">
              <a:lnSpc>
                <a:spcPct val="70000"/>
              </a:lnSpc>
              <a:buClrTx/>
            </a:pPr>
            <a:r>
              <a:rPr lang="en-US" altLang="ja-JP" sz="825" kern="1200" dirty="0">
                <a:solidFill>
                  <a:srgbClr val="313131"/>
                </a:solidFill>
                <a:ea typeface="ＭＳ Ｐゴシック" charset="-128"/>
                <a:cs typeface="+mn-cs"/>
              </a:rPr>
              <a:t>Text</a:t>
            </a:r>
          </a:p>
        </p:txBody>
      </p:sp>
      <p:sp>
        <p:nvSpPr>
          <p:cNvPr id="160" name="Rectangle 17"/>
          <p:cNvSpPr>
            <a:spLocks noChangeArrowheads="1"/>
          </p:cNvSpPr>
          <p:nvPr/>
        </p:nvSpPr>
        <p:spPr bwMode="auto">
          <a:xfrm>
            <a:off x="4473179" y="2103650"/>
            <a:ext cx="205184" cy="90794"/>
          </a:xfrm>
          <a:prstGeom prst="rect">
            <a:avLst/>
          </a:prstGeom>
          <a:noFill/>
          <a:ln w="9525">
            <a:noFill/>
            <a:miter lim="800000"/>
            <a:headEnd type="none" w="sm" len="sm"/>
            <a:tailEnd type="none" w="med" len="lg"/>
          </a:ln>
        </p:spPr>
        <p:txBody>
          <a:bodyPr wrap="none" lIns="0" tIns="0" rIns="0" bIns="0" anchor="t" anchorCtr="0">
            <a:spAutoFit/>
          </a:bodyPr>
          <a:lstStyle/>
          <a:p>
            <a:pPr defTabSz="685800">
              <a:lnSpc>
                <a:spcPct val="70000"/>
              </a:lnSpc>
              <a:buClrTx/>
            </a:pPr>
            <a:r>
              <a:rPr lang="en-US" altLang="ja-JP" sz="825" kern="1200" dirty="0">
                <a:solidFill>
                  <a:srgbClr val="262626"/>
                </a:solidFill>
                <a:ea typeface="ＭＳ Ｐゴシック" charset="-128"/>
                <a:cs typeface="+mn-cs"/>
              </a:rPr>
              <a:t>Text</a:t>
            </a:r>
          </a:p>
        </p:txBody>
      </p:sp>
      <p:sp>
        <p:nvSpPr>
          <p:cNvPr id="161" name="Rectangle 17"/>
          <p:cNvSpPr>
            <a:spLocks noChangeArrowheads="1"/>
          </p:cNvSpPr>
          <p:nvPr/>
        </p:nvSpPr>
        <p:spPr bwMode="auto">
          <a:xfrm>
            <a:off x="4473179" y="1725031"/>
            <a:ext cx="205184" cy="90794"/>
          </a:xfrm>
          <a:prstGeom prst="rect">
            <a:avLst/>
          </a:prstGeom>
          <a:noFill/>
          <a:ln w="9525">
            <a:noFill/>
            <a:miter lim="800000"/>
            <a:headEnd type="none" w="sm" len="sm"/>
            <a:tailEnd type="none" w="med" len="lg"/>
          </a:ln>
        </p:spPr>
        <p:txBody>
          <a:bodyPr wrap="none" lIns="0" tIns="0" rIns="0" bIns="0" anchor="t" anchorCtr="0">
            <a:spAutoFit/>
          </a:bodyPr>
          <a:lstStyle/>
          <a:p>
            <a:pPr defTabSz="685800">
              <a:lnSpc>
                <a:spcPct val="70000"/>
              </a:lnSpc>
              <a:buClrTx/>
            </a:pPr>
            <a:r>
              <a:rPr lang="en-US" altLang="ja-JP" sz="825" kern="1200" dirty="0">
                <a:solidFill>
                  <a:srgbClr val="262626"/>
                </a:solidFill>
                <a:ea typeface="ＭＳ Ｐゴシック" charset="-128"/>
                <a:cs typeface="+mn-cs"/>
              </a:rPr>
              <a:t>Text</a:t>
            </a:r>
          </a:p>
        </p:txBody>
      </p:sp>
      <p:sp>
        <p:nvSpPr>
          <p:cNvPr id="162" name="Rectangle 17"/>
          <p:cNvSpPr>
            <a:spLocks noChangeArrowheads="1"/>
          </p:cNvSpPr>
          <p:nvPr/>
        </p:nvSpPr>
        <p:spPr bwMode="auto">
          <a:xfrm>
            <a:off x="4473179" y="3868156"/>
            <a:ext cx="205184" cy="90794"/>
          </a:xfrm>
          <a:prstGeom prst="rect">
            <a:avLst/>
          </a:prstGeom>
          <a:noFill/>
          <a:ln w="9525">
            <a:noFill/>
            <a:miter lim="800000"/>
            <a:headEnd type="none" w="sm" len="sm"/>
            <a:tailEnd type="none" w="med" len="lg"/>
          </a:ln>
        </p:spPr>
        <p:txBody>
          <a:bodyPr wrap="none" lIns="0" tIns="0" rIns="0" bIns="0" anchor="t" anchorCtr="0">
            <a:spAutoFit/>
          </a:bodyPr>
          <a:lstStyle/>
          <a:p>
            <a:pPr defTabSz="685800">
              <a:lnSpc>
                <a:spcPct val="70000"/>
              </a:lnSpc>
              <a:buClrTx/>
            </a:pPr>
            <a:r>
              <a:rPr lang="en-US" altLang="ja-JP" sz="825" kern="1200" dirty="0">
                <a:solidFill>
                  <a:srgbClr val="313131"/>
                </a:solidFill>
                <a:ea typeface="ＭＳ Ｐゴシック" charset="-128"/>
                <a:cs typeface="+mn-cs"/>
              </a:rPr>
              <a:t>Text</a:t>
            </a:r>
          </a:p>
        </p:txBody>
      </p:sp>
      <p:sp>
        <p:nvSpPr>
          <p:cNvPr id="163" name="Rectangle 17"/>
          <p:cNvSpPr>
            <a:spLocks noChangeArrowheads="1"/>
          </p:cNvSpPr>
          <p:nvPr/>
        </p:nvSpPr>
        <p:spPr bwMode="auto">
          <a:xfrm>
            <a:off x="4473179" y="4282494"/>
            <a:ext cx="205184" cy="90794"/>
          </a:xfrm>
          <a:prstGeom prst="rect">
            <a:avLst/>
          </a:prstGeom>
          <a:noFill/>
          <a:ln w="9525">
            <a:noFill/>
            <a:miter lim="800000"/>
            <a:headEnd type="none" w="sm" len="sm"/>
            <a:tailEnd type="none" w="med" len="lg"/>
          </a:ln>
        </p:spPr>
        <p:txBody>
          <a:bodyPr wrap="none" lIns="0" tIns="0" rIns="0" bIns="0" anchor="t" anchorCtr="0">
            <a:spAutoFit/>
          </a:bodyPr>
          <a:lstStyle/>
          <a:p>
            <a:pPr defTabSz="685800">
              <a:lnSpc>
                <a:spcPct val="70000"/>
              </a:lnSpc>
              <a:buClrTx/>
            </a:pPr>
            <a:r>
              <a:rPr lang="en-US" altLang="ja-JP" sz="825" kern="1200" dirty="0">
                <a:solidFill>
                  <a:srgbClr val="313131"/>
                </a:solidFill>
                <a:ea typeface="ＭＳ Ｐゴシック" charset="-128"/>
                <a:cs typeface="+mn-cs"/>
              </a:rPr>
              <a:t>Text</a:t>
            </a:r>
          </a:p>
        </p:txBody>
      </p:sp>
      <p:sp>
        <p:nvSpPr>
          <p:cNvPr id="165" name="Rectangle 17"/>
          <p:cNvSpPr>
            <a:spLocks noChangeArrowheads="1"/>
          </p:cNvSpPr>
          <p:nvPr/>
        </p:nvSpPr>
        <p:spPr bwMode="auto">
          <a:xfrm>
            <a:off x="5222081" y="3868156"/>
            <a:ext cx="205184" cy="90794"/>
          </a:xfrm>
          <a:prstGeom prst="rect">
            <a:avLst/>
          </a:prstGeom>
          <a:noFill/>
          <a:ln w="9525">
            <a:noFill/>
            <a:miter lim="800000"/>
            <a:headEnd type="none" w="sm" len="sm"/>
            <a:tailEnd type="none" w="med" len="lg"/>
          </a:ln>
        </p:spPr>
        <p:txBody>
          <a:bodyPr wrap="none" lIns="0" tIns="0" rIns="0" bIns="0" anchor="t" anchorCtr="0">
            <a:spAutoFit/>
          </a:bodyPr>
          <a:lstStyle/>
          <a:p>
            <a:pPr defTabSz="685800">
              <a:lnSpc>
                <a:spcPct val="70000"/>
              </a:lnSpc>
              <a:buClrTx/>
            </a:pPr>
            <a:r>
              <a:rPr lang="en-US" altLang="ja-JP" sz="825" kern="1200" dirty="0">
                <a:solidFill>
                  <a:srgbClr val="313131"/>
                </a:solidFill>
                <a:ea typeface="ＭＳ Ｐゴシック" charset="-128"/>
                <a:cs typeface="+mn-cs"/>
              </a:rPr>
              <a:t>Text</a:t>
            </a:r>
          </a:p>
        </p:txBody>
      </p:sp>
      <p:sp>
        <p:nvSpPr>
          <p:cNvPr id="166" name="Rectangle 17"/>
          <p:cNvSpPr>
            <a:spLocks noChangeArrowheads="1"/>
          </p:cNvSpPr>
          <p:nvPr/>
        </p:nvSpPr>
        <p:spPr bwMode="auto">
          <a:xfrm>
            <a:off x="5222081" y="4282494"/>
            <a:ext cx="205184" cy="90794"/>
          </a:xfrm>
          <a:prstGeom prst="rect">
            <a:avLst/>
          </a:prstGeom>
          <a:noFill/>
          <a:ln w="9525">
            <a:noFill/>
            <a:miter lim="800000"/>
            <a:headEnd type="none" w="sm" len="sm"/>
            <a:tailEnd type="none" w="med" len="lg"/>
          </a:ln>
        </p:spPr>
        <p:txBody>
          <a:bodyPr wrap="none" lIns="0" tIns="0" rIns="0" bIns="0" anchor="t" anchorCtr="0">
            <a:spAutoFit/>
          </a:bodyPr>
          <a:lstStyle/>
          <a:p>
            <a:pPr defTabSz="685800">
              <a:lnSpc>
                <a:spcPct val="70000"/>
              </a:lnSpc>
              <a:buClrTx/>
            </a:pPr>
            <a:r>
              <a:rPr lang="en-US" altLang="ja-JP" sz="825" kern="1200" dirty="0">
                <a:solidFill>
                  <a:srgbClr val="313131"/>
                </a:solidFill>
                <a:ea typeface="ＭＳ Ｐゴシック" charset="-128"/>
                <a:cs typeface="+mn-cs"/>
              </a:rPr>
              <a:t>Text</a:t>
            </a:r>
          </a:p>
        </p:txBody>
      </p:sp>
      <p:sp>
        <p:nvSpPr>
          <p:cNvPr id="167" name="Rectangle 17"/>
          <p:cNvSpPr>
            <a:spLocks noChangeArrowheads="1"/>
          </p:cNvSpPr>
          <p:nvPr/>
        </p:nvSpPr>
        <p:spPr bwMode="auto">
          <a:xfrm>
            <a:off x="5919788" y="3868156"/>
            <a:ext cx="205184" cy="90794"/>
          </a:xfrm>
          <a:prstGeom prst="rect">
            <a:avLst/>
          </a:prstGeom>
          <a:noFill/>
          <a:ln w="9525">
            <a:noFill/>
            <a:miter lim="800000"/>
            <a:headEnd type="none" w="sm" len="sm"/>
            <a:tailEnd type="none" w="med" len="lg"/>
          </a:ln>
        </p:spPr>
        <p:txBody>
          <a:bodyPr wrap="none" lIns="0" tIns="0" rIns="0" bIns="0" anchor="t" anchorCtr="0">
            <a:spAutoFit/>
          </a:bodyPr>
          <a:lstStyle/>
          <a:p>
            <a:pPr defTabSz="685800">
              <a:lnSpc>
                <a:spcPct val="70000"/>
              </a:lnSpc>
              <a:buClrTx/>
            </a:pPr>
            <a:r>
              <a:rPr lang="en-US" altLang="ja-JP" sz="825" kern="1200" dirty="0">
                <a:solidFill>
                  <a:srgbClr val="313131"/>
                </a:solidFill>
                <a:ea typeface="ＭＳ Ｐゴシック" charset="-128"/>
                <a:cs typeface="+mn-cs"/>
              </a:rPr>
              <a:t>Text</a:t>
            </a:r>
          </a:p>
        </p:txBody>
      </p:sp>
      <p:sp>
        <p:nvSpPr>
          <p:cNvPr id="168" name="Rectangle 17"/>
          <p:cNvSpPr>
            <a:spLocks noChangeArrowheads="1"/>
          </p:cNvSpPr>
          <p:nvPr/>
        </p:nvSpPr>
        <p:spPr bwMode="auto">
          <a:xfrm>
            <a:off x="5919788" y="4282494"/>
            <a:ext cx="205184" cy="90794"/>
          </a:xfrm>
          <a:prstGeom prst="rect">
            <a:avLst/>
          </a:prstGeom>
          <a:noFill/>
          <a:ln w="9525">
            <a:noFill/>
            <a:miter lim="800000"/>
            <a:headEnd type="none" w="sm" len="sm"/>
            <a:tailEnd type="none" w="med" len="lg"/>
          </a:ln>
        </p:spPr>
        <p:txBody>
          <a:bodyPr wrap="none" lIns="0" tIns="0" rIns="0" bIns="0" anchor="t" anchorCtr="0">
            <a:spAutoFit/>
          </a:bodyPr>
          <a:lstStyle/>
          <a:p>
            <a:pPr defTabSz="685800">
              <a:lnSpc>
                <a:spcPct val="70000"/>
              </a:lnSpc>
              <a:buClrTx/>
            </a:pPr>
            <a:r>
              <a:rPr lang="en-US" altLang="ja-JP" sz="825" kern="1200" dirty="0">
                <a:solidFill>
                  <a:srgbClr val="313131"/>
                </a:solidFill>
                <a:ea typeface="ＭＳ Ｐゴシック" charset="-128"/>
                <a:cs typeface="+mn-cs"/>
              </a:rPr>
              <a:t>Text</a:t>
            </a:r>
          </a:p>
        </p:txBody>
      </p:sp>
    </p:spTree>
  </p:cSld>
  <p:clrMapOvr>
    <a:masterClrMapping/>
  </p:clrMapOvr>
  <p:transition>
    <p:fade/>
  </p:transition>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5409" name="Title 1"/>
          <p:cNvSpPr>
            <a:spLocks noGrp="1"/>
          </p:cNvSpPr>
          <p:nvPr>
            <p:ph type="title"/>
          </p:nvPr>
        </p:nvSpPr>
        <p:spPr/>
        <p:txBody>
          <a:bodyPr/>
          <a:lstStyle/>
          <a:p>
            <a:r>
              <a:rPr lang="en-US" altLang="ja-JP" dirty="0"/>
              <a:t>Activity map </a:t>
            </a:r>
            <a:br>
              <a:rPr lang="en-US" altLang="ja-JP" dirty="0"/>
            </a:br>
            <a:r>
              <a:rPr lang="en-US" altLang="ja-JP" dirty="0">
                <a:solidFill>
                  <a:srgbClr val="575757"/>
                </a:solidFill>
              </a:rPr>
              <a:t>Synergy summary</a:t>
            </a:r>
            <a:endParaRPr lang="en-US" dirty="0">
              <a:solidFill>
                <a:srgbClr val="575757"/>
              </a:solidFill>
            </a:endParaRPr>
          </a:p>
        </p:txBody>
      </p:sp>
      <p:sp>
        <p:nvSpPr>
          <p:cNvPr id="5" name="Rectangle 3"/>
          <p:cNvSpPr>
            <a:spLocks noChangeArrowheads="1"/>
          </p:cNvSpPr>
          <p:nvPr/>
        </p:nvSpPr>
        <p:spPr bwMode="auto">
          <a:xfrm>
            <a:off x="2478882" y="1655757"/>
            <a:ext cx="548878" cy="161925"/>
          </a:xfrm>
          <a:prstGeom prst="rect">
            <a:avLst/>
          </a:prstGeom>
          <a:solidFill>
            <a:srgbClr val="00A1DE"/>
          </a:solidFill>
          <a:ln w="12700" algn="ctr">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6" name="Rectangle 4"/>
          <p:cNvSpPr>
            <a:spLocks noChangeArrowheads="1"/>
          </p:cNvSpPr>
          <p:nvPr/>
        </p:nvSpPr>
        <p:spPr bwMode="auto">
          <a:xfrm>
            <a:off x="2478881" y="2924963"/>
            <a:ext cx="548879" cy="161925"/>
          </a:xfrm>
          <a:prstGeom prst="rect">
            <a:avLst/>
          </a:prstGeom>
          <a:solidFill>
            <a:srgbClr val="575757"/>
          </a:solidFill>
          <a:ln w="12700">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7" name="Rectangle 5"/>
          <p:cNvSpPr>
            <a:spLocks noChangeArrowheads="1"/>
          </p:cNvSpPr>
          <p:nvPr/>
        </p:nvSpPr>
        <p:spPr bwMode="auto">
          <a:xfrm>
            <a:off x="2478881" y="3242265"/>
            <a:ext cx="548879" cy="161925"/>
          </a:xfrm>
          <a:prstGeom prst="rect">
            <a:avLst/>
          </a:prstGeom>
          <a:solidFill>
            <a:srgbClr val="575757"/>
          </a:solidFill>
          <a:ln w="12700">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8" name="Rectangle 6"/>
          <p:cNvSpPr>
            <a:spLocks noChangeArrowheads="1"/>
          </p:cNvSpPr>
          <p:nvPr/>
        </p:nvSpPr>
        <p:spPr bwMode="auto">
          <a:xfrm>
            <a:off x="3613548" y="1655757"/>
            <a:ext cx="548878" cy="161925"/>
          </a:xfrm>
          <a:prstGeom prst="rect">
            <a:avLst/>
          </a:prstGeom>
          <a:solidFill>
            <a:srgbClr val="00A1DE"/>
          </a:solidFill>
          <a:ln w="12700" algn="ctr">
            <a:solidFill>
              <a:schemeClr val="bg1"/>
            </a:solidFill>
            <a:miter lim="800000"/>
            <a:headEnd/>
            <a:tailEnd/>
          </a:ln>
        </p:spPr>
        <p:txBody>
          <a:bodyPr wrap="none" anchor="ctr"/>
          <a:lstStyle/>
          <a:p>
            <a:pPr algn="ctr" defTabSz="685800">
              <a:buClrTx/>
              <a:defRPr/>
            </a:pPr>
            <a:endParaRPr lang="en-US" altLang="ja-JP" sz="900" kern="1200">
              <a:solidFill>
                <a:srgbClr val="313131"/>
              </a:solidFill>
              <a:ea typeface="ＭＳ Ｐゴシック" pitchFamily="50" charset="-128"/>
              <a:cs typeface="+mn-cs"/>
            </a:endParaRPr>
          </a:p>
        </p:txBody>
      </p:sp>
      <p:sp>
        <p:nvSpPr>
          <p:cNvPr id="785415" name="Rectangle 7"/>
          <p:cNvSpPr>
            <a:spLocks noChangeArrowheads="1"/>
          </p:cNvSpPr>
          <p:nvPr/>
        </p:nvSpPr>
        <p:spPr bwMode="auto">
          <a:xfrm>
            <a:off x="3613548" y="2924963"/>
            <a:ext cx="548878" cy="161925"/>
          </a:xfrm>
          <a:prstGeom prst="rect">
            <a:avLst/>
          </a:prstGeom>
          <a:solidFill>
            <a:srgbClr val="B4B4B4"/>
          </a:solidFill>
          <a:ln w="12700" algn="ctr">
            <a:solidFill>
              <a:schemeClr val="bg1"/>
            </a:solidFill>
            <a:miter lim="800000"/>
            <a:headEnd/>
            <a:tailEnd/>
          </a:ln>
        </p:spPr>
        <p:txBody>
          <a:bodyPr wrap="none" anchor="ctr"/>
          <a:lstStyle/>
          <a:p>
            <a:pPr algn="ctr" defTabSz="685800">
              <a:buClrTx/>
            </a:pPr>
            <a:endParaRPr lang="en-US" sz="900" kern="1200">
              <a:solidFill>
                <a:srgbClr val="313131"/>
              </a:solidFill>
              <a:ea typeface="+mn-ea"/>
              <a:cs typeface="+mn-cs"/>
            </a:endParaRPr>
          </a:p>
        </p:txBody>
      </p:sp>
      <p:sp>
        <p:nvSpPr>
          <p:cNvPr id="10" name="Rectangle 8"/>
          <p:cNvSpPr>
            <a:spLocks noChangeArrowheads="1"/>
          </p:cNvSpPr>
          <p:nvPr/>
        </p:nvSpPr>
        <p:spPr bwMode="auto">
          <a:xfrm>
            <a:off x="3613548" y="3242265"/>
            <a:ext cx="548878" cy="161925"/>
          </a:xfrm>
          <a:prstGeom prst="rect">
            <a:avLst/>
          </a:prstGeom>
          <a:solidFill>
            <a:srgbClr val="575757"/>
          </a:solidFill>
          <a:ln w="12700">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11" name="Rectangle 9"/>
          <p:cNvSpPr>
            <a:spLocks noChangeArrowheads="1"/>
          </p:cNvSpPr>
          <p:nvPr/>
        </p:nvSpPr>
        <p:spPr bwMode="auto">
          <a:xfrm>
            <a:off x="2478882" y="3559567"/>
            <a:ext cx="548878" cy="161925"/>
          </a:xfrm>
          <a:prstGeom prst="rect">
            <a:avLst/>
          </a:prstGeom>
          <a:solidFill>
            <a:schemeClr val="bg1"/>
          </a:solidFill>
          <a:ln w="12700">
            <a:solidFill>
              <a:srgbClr val="B4B4B4"/>
            </a:solidFill>
            <a:prstDash val="solid"/>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12" name="Rectangle 10"/>
          <p:cNvSpPr>
            <a:spLocks noChangeArrowheads="1"/>
          </p:cNvSpPr>
          <p:nvPr/>
        </p:nvSpPr>
        <p:spPr bwMode="auto">
          <a:xfrm>
            <a:off x="2478882" y="3876868"/>
            <a:ext cx="548878" cy="161925"/>
          </a:xfrm>
          <a:prstGeom prst="rect">
            <a:avLst/>
          </a:prstGeom>
          <a:solidFill>
            <a:srgbClr val="575757"/>
          </a:solidFill>
          <a:ln w="12700">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13" name="Rectangle 11"/>
          <p:cNvSpPr>
            <a:spLocks noChangeArrowheads="1"/>
          </p:cNvSpPr>
          <p:nvPr/>
        </p:nvSpPr>
        <p:spPr bwMode="auto">
          <a:xfrm>
            <a:off x="3613548" y="4194170"/>
            <a:ext cx="548878" cy="161925"/>
          </a:xfrm>
          <a:prstGeom prst="rect">
            <a:avLst/>
          </a:prstGeom>
          <a:solidFill>
            <a:srgbClr val="00A1DE"/>
          </a:solidFill>
          <a:ln w="12700" algn="ctr">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785420" name="Rectangle 12"/>
          <p:cNvSpPr>
            <a:spLocks noChangeArrowheads="1"/>
          </p:cNvSpPr>
          <p:nvPr/>
        </p:nvSpPr>
        <p:spPr bwMode="auto">
          <a:xfrm>
            <a:off x="4922044" y="1655757"/>
            <a:ext cx="547688" cy="161925"/>
          </a:xfrm>
          <a:prstGeom prst="rect">
            <a:avLst/>
          </a:prstGeom>
          <a:solidFill>
            <a:srgbClr val="B4B4B4"/>
          </a:solidFill>
          <a:ln w="12700" algn="ctr">
            <a:solidFill>
              <a:schemeClr val="bg1"/>
            </a:solidFill>
            <a:miter lim="800000"/>
            <a:headEnd/>
            <a:tailEnd/>
          </a:ln>
        </p:spPr>
        <p:txBody>
          <a:bodyPr wrap="none" anchor="ctr"/>
          <a:lstStyle/>
          <a:p>
            <a:pPr algn="ctr" defTabSz="685800">
              <a:buClrTx/>
            </a:pPr>
            <a:endParaRPr lang="en-US" sz="900" kern="1200">
              <a:solidFill>
                <a:srgbClr val="313131"/>
              </a:solidFill>
              <a:ea typeface="+mn-ea"/>
              <a:cs typeface="+mn-cs"/>
            </a:endParaRPr>
          </a:p>
        </p:txBody>
      </p:sp>
      <p:sp>
        <p:nvSpPr>
          <p:cNvPr id="15" name="Rectangle 13"/>
          <p:cNvSpPr>
            <a:spLocks noChangeArrowheads="1"/>
          </p:cNvSpPr>
          <p:nvPr/>
        </p:nvSpPr>
        <p:spPr bwMode="auto">
          <a:xfrm>
            <a:off x="4922044" y="1973059"/>
            <a:ext cx="547688" cy="161925"/>
          </a:xfrm>
          <a:prstGeom prst="rect">
            <a:avLst/>
          </a:prstGeom>
          <a:solidFill>
            <a:srgbClr val="575757"/>
          </a:solidFill>
          <a:ln w="12700">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16" name="Rectangle 14"/>
          <p:cNvSpPr>
            <a:spLocks noChangeArrowheads="1"/>
          </p:cNvSpPr>
          <p:nvPr/>
        </p:nvSpPr>
        <p:spPr bwMode="auto">
          <a:xfrm>
            <a:off x="4922044" y="2290361"/>
            <a:ext cx="547688" cy="161925"/>
          </a:xfrm>
          <a:prstGeom prst="rect">
            <a:avLst/>
          </a:prstGeom>
          <a:solidFill>
            <a:schemeClr val="bg1"/>
          </a:solidFill>
          <a:ln w="12700">
            <a:solidFill>
              <a:srgbClr val="B4B4B4"/>
            </a:solidFill>
            <a:prstDash val="solid"/>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785423" name="Rectangle 15"/>
          <p:cNvSpPr>
            <a:spLocks noChangeArrowheads="1"/>
          </p:cNvSpPr>
          <p:nvPr/>
        </p:nvSpPr>
        <p:spPr bwMode="auto">
          <a:xfrm>
            <a:off x="4922044" y="2607662"/>
            <a:ext cx="547688" cy="161925"/>
          </a:xfrm>
          <a:prstGeom prst="rect">
            <a:avLst/>
          </a:prstGeom>
          <a:solidFill>
            <a:srgbClr val="B4B4B4"/>
          </a:solidFill>
          <a:ln w="12700" algn="ctr">
            <a:solidFill>
              <a:schemeClr val="bg1"/>
            </a:solidFill>
            <a:miter lim="800000"/>
            <a:headEnd/>
            <a:tailEnd/>
          </a:ln>
        </p:spPr>
        <p:txBody>
          <a:bodyPr wrap="none" anchor="ctr"/>
          <a:lstStyle/>
          <a:p>
            <a:pPr algn="ctr" defTabSz="685800">
              <a:buClrTx/>
            </a:pPr>
            <a:endParaRPr lang="en-US" sz="900" kern="1200">
              <a:solidFill>
                <a:srgbClr val="313131"/>
              </a:solidFill>
              <a:ea typeface="+mn-ea"/>
              <a:cs typeface="+mn-cs"/>
            </a:endParaRPr>
          </a:p>
        </p:txBody>
      </p:sp>
      <p:sp>
        <p:nvSpPr>
          <p:cNvPr id="785424" name="Rectangle 16"/>
          <p:cNvSpPr>
            <a:spLocks noChangeArrowheads="1"/>
          </p:cNvSpPr>
          <p:nvPr/>
        </p:nvSpPr>
        <p:spPr bwMode="auto">
          <a:xfrm>
            <a:off x="4922044" y="2924963"/>
            <a:ext cx="547688" cy="161925"/>
          </a:xfrm>
          <a:prstGeom prst="rect">
            <a:avLst/>
          </a:prstGeom>
          <a:solidFill>
            <a:srgbClr val="B4B4B4"/>
          </a:solidFill>
          <a:ln w="12700" algn="ctr">
            <a:solidFill>
              <a:schemeClr val="bg1"/>
            </a:solidFill>
            <a:miter lim="800000"/>
            <a:headEnd/>
            <a:tailEnd/>
          </a:ln>
        </p:spPr>
        <p:txBody>
          <a:bodyPr wrap="none" anchor="ctr"/>
          <a:lstStyle/>
          <a:p>
            <a:pPr algn="ctr" defTabSz="685800">
              <a:buClrTx/>
            </a:pPr>
            <a:endParaRPr lang="en-US" sz="900" kern="1200">
              <a:solidFill>
                <a:srgbClr val="313131"/>
              </a:solidFill>
              <a:ea typeface="+mn-ea"/>
              <a:cs typeface="+mn-cs"/>
            </a:endParaRPr>
          </a:p>
        </p:txBody>
      </p:sp>
      <p:sp>
        <p:nvSpPr>
          <p:cNvPr id="785425" name="Rectangle 17"/>
          <p:cNvSpPr>
            <a:spLocks noChangeArrowheads="1"/>
          </p:cNvSpPr>
          <p:nvPr/>
        </p:nvSpPr>
        <p:spPr bwMode="auto">
          <a:xfrm>
            <a:off x="4922044" y="3242265"/>
            <a:ext cx="547688" cy="161925"/>
          </a:xfrm>
          <a:prstGeom prst="rect">
            <a:avLst/>
          </a:prstGeom>
          <a:solidFill>
            <a:srgbClr val="B4B4B4"/>
          </a:solidFill>
          <a:ln w="12700" algn="ctr">
            <a:solidFill>
              <a:schemeClr val="bg1"/>
            </a:solidFill>
            <a:miter lim="800000"/>
            <a:headEnd/>
            <a:tailEnd/>
          </a:ln>
        </p:spPr>
        <p:txBody>
          <a:bodyPr wrap="none" anchor="ctr"/>
          <a:lstStyle/>
          <a:p>
            <a:pPr algn="ctr" defTabSz="685800">
              <a:buClrTx/>
            </a:pPr>
            <a:endParaRPr lang="en-US" sz="900" kern="1200">
              <a:solidFill>
                <a:srgbClr val="313131"/>
              </a:solidFill>
              <a:ea typeface="+mn-ea"/>
              <a:cs typeface="+mn-cs"/>
            </a:endParaRPr>
          </a:p>
        </p:txBody>
      </p:sp>
      <p:sp>
        <p:nvSpPr>
          <p:cNvPr id="20" name="Rectangle 18"/>
          <p:cNvSpPr>
            <a:spLocks noChangeArrowheads="1"/>
          </p:cNvSpPr>
          <p:nvPr/>
        </p:nvSpPr>
        <p:spPr bwMode="auto">
          <a:xfrm>
            <a:off x="4922044" y="3559567"/>
            <a:ext cx="547688" cy="161925"/>
          </a:xfrm>
          <a:prstGeom prst="rect">
            <a:avLst/>
          </a:prstGeom>
          <a:solidFill>
            <a:schemeClr val="bg1"/>
          </a:solidFill>
          <a:ln w="12700">
            <a:solidFill>
              <a:srgbClr val="B4B4B4"/>
            </a:solidFill>
            <a:prstDash val="solid"/>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21" name="Rectangle 19"/>
          <p:cNvSpPr>
            <a:spLocks noChangeArrowheads="1"/>
          </p:cNvSpPr>
          <p:nvPr/>
        </p:nvSpPr>
        <p:spPr bwMode="auto">
          <a:xfrm>
            <a:off x="4922044" y="3876868"/>
            <a:ext cx="547688" cy="161925"/>
          </a:xfrm>
          <a:prstGeom prst="rect">
            <a:avLst/>
          </a:prstGeom>
          <a:solidFill>
            <a:srgbClr val="575757"/>
          </a:solidFill>
          <a:ln w="12700">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785428" name="Rectangle 20"/>
          <p:cNvSpPr>
            <a:spLocks noChangeArrowheads="1"/>
          </p:cNvSpPr>
          <p:nvPr/>
        </p:nvSpPr>
        <p:spPr bwMode="auto">
          <a:xfrm>
            <a:off x="4922044" y="4194170"/>
            <a:ext cx="547688" cy="161925"/>
          </a:xfrm>
          <a:prstGeom prst="rect">
            <a:avLst/>
          </a:prstGeom>
          <a:solidFill>
            <a:srgbClr val="B4B4B4"/>
          </a:solidFill>
          <a:ln w="12700" algn="ctr">
            <a:solidFill>
              <a:schemeClr val="bg1"/>
            </a:solidFill>
            <a:miter lim="800000"/>
            <a:headEnd/>
            <a:tailEnd/>
          </a:ln>
        </p:spPr>
        <p:txBody>
          <a:bodyPr wrap="none" anchor="ctr"/>
          <a:lstStyle/>
          <a:p>
            <a:pPr algn="ctr" defTabSz="685800">
              <a:buClrTx/>
            </a:pPr>
            <a:endParaRPr lang="en-US" sz="900" kern="1200">
              <a:solidFill>
                <a:srgbClr val="313131"/>
              </a:solidFill>
              <a:ea typeface="+mn-ea"/>
              <a:cs typeface="+mn-cs"/>
            </a:endParaRPr>
          </a:p>
        </p:txBody>
      </p:sp>
      <p:sp>
        <p:nvSpPr>
          <p:cNvPr id="785429" name="Text Box 21"/>
          <p:cNvSpPr txBox="1">
            <a:spLocks noChangeArrowheads="1"/>
          </p:cNvSpPr>
          <p:nvPr/>
        </p:nvSpPr>
        <p:spPr bwMode="auto">
          <a:xfrm>
            <a:off x="2478881" y="1417438"/>
            <a:ext cx="76944" cy="126958"/>
          </a:xfrm>
          <a:prstGeom prst="rect">
            <a:avLst/>
          </a:prstGeom>
          <a:noFill/>
          <a:ln w="9525">
            <a:noFill/>
            <a:miter lim="800000"/>
            <a:headEnd/>
            <a:tailEnd/>
          </a:ln>
        </p:spPr>
        <p:txBody>
          <a:bodyPr wrap="none" lIns="0" tIns="0" rIns="0" bIns="0">
            <a:spAutoFit/>
          </a:bodyPr>
          <a:lstStyle/>
          <a:p>
            <a:pPr defTabSz="685800">
              <a:buClrTx/>
            </a:pPr>
            <a:r>
              <a:rPr lang="en-US" altLang="ja-JP" sz="825" b="1" kern="1200" dirty="0">
                <a:solidFill>
                  <a:srgbClr val="313131"/>
                </a:solidFill>
                <a:ea typeface="ＭＳ Ｐゴシック" charset="-128"/>
                <a:cs typeface="+mn-cs"/>
              </a:rPr>
              <a:t>A</a:t>
            </a:r>
          </a:p>
        </p:txBody>
      </p:sp>
      <p:sp>
        <p:nvSpPr>
          <p:cNvPr id="785430" name="Text Box 22"/>
          <p:cNvSpPr txBox="1">
            <a:spLocks noChangeArrowheads="1"/>
          </p:cNvSpPr>
          <p:nvPr/>
        </p:nvSpPr>
        <p:spPr bwMode="auto">
          <a:xfrm>
            <a:off x="3613547" y="1417438"/>
            <a:ext cx="76944" cy="126958"/>
          </a:xfrm>
          <a:prstGeom prst="rect">
            <a:avLst/>
          </a:prstGeom>
          <a:noFill/>
          <a:ln w="9525">
            <a:noFill/>
            <a:miter lim="800000"/>
            <a:headEnd/>
            <a:tailEnd/>
          </a:ln>
        </p:spPr>
        <p:txBody>
          <a:bodyPr wrap="none" lIns="0" tIns="0" rIns="0" bIns="0">
            <a:spAutoFit/>
          </a:bodyPr>
          <a:lstStyle/>
          <a:p>
            <a:pPr defTabSz="685800">
              <a:buClrTx/>
            </a:pPr>
            <a:r>
              <a:rPr lang="en-US" altLang="ja-JP" sz="825" b="1" kern="1200">
                <a:solidFill>
                  <a:srgbClr val="313131"/>
                </a:solidFill>
                <a:ea typeface="ＭＳ Ｐゴシック" charset="-128"/>
                <a:cs typeface="+mn-cs"/>
              </a:rPr>
              <a:t>B</a:t>
            </a:r>
          </a:p>
        </p:txBody>
      </p:sp>
      <p:sp>
        <p:nvSpPr>
          <p:cNvPr id="785431" name="Text Box 23"/>
          <p:cNvSpPr txBox="1">
            <a:spLocks noChangeArrowheads="1"/>
          </p:cNvSpPr>
          <p:nvPr/>
        </p:nvSpPr>
        <p:spPr bwMode="auto">
          <a:xfrm>
            <a:off x="4922044" y="1417438"/>
            <a:ext cx="387927" cy="126958"/>
          </a:xfrm>
          <a:prstGeom prst="rect">
            <a:avLst/>
          </a:prstGeom>
          <a:noFill/>
          <a:ln w="9525">
            <a:noFill/>
            <a:miter lim="800000"/>
            <a:headEnd/>
            <a:tailEnd/>
          </a:ln>
        </p:spPr>
        <p:txBody>
          <a:bodyPr wrap="none" lIns="0" tIns="0" rIns="0" bIns="0">
            <a:spAutoFit/>
          </a:bodyPr>
          <a:lstStyle/>
          <a:p>
            <a:pPr defTabSz="685800">
              <a:buClrTx/>
            </a:pPr>
            <a:r>
              <a:rPr lang="en-US" altLang="ja-JP" sz="825" b="1" kern="1200">
                <a:solidFill>
                  <a:srgbClr val="313131"/>
                </a:solidFill>
                <a:ea typeface="ＭＳ Ｐゴシック" charset="-128"/>
                <a:cs typeface="+mn-cs"/>
              </a:rPr>
              <a:t>New Co</a:t>
            </a:r>
          </a:p>
        </p:txBody>
      </p:sp>
      <p:sp>
        <p:nvSpPr>
          <p:cNvPr id="785432" name="Text Box 24"/>
          <p:cNvSpPr txBox="1">
            <a:spLocks noChangeArrowheads="1"/>
          </p:cNvSpPr>
          <p:nvPr/>
        </p:nvSpPr>
        <p:spPr bwMode="auto">
          <a:xfrm>
            <a:off x="3286990" y="2936677"/>
            <a:ext cx="67326" cy="138499"/>
          </a:xfrm>
          <a:prstGeom prst="rect">
            <a:avLst/>
          </a:prstGeom>
          <a:noFill/>
          <a:ln w="9525">
            <a:noFill/>
            <a:miter lim="800000"/>
            <a:headEnd/>
            <a:tailEnd/>
          </a:ln>
        </p:spPr>
        <p:txBody>
          <a:bodyPr wrap="none" lIns="0" tIns="0" rIns="0" bIns="0">
            <a:spAutoFit/>
          </a:bodyPr>
          <a:lstStyle/>
          <a:p>
            <a:pPr defTabSz="685800">
              <a:buClrTx/>
            </a:pPr>
            <a:r>
              <a:rPr lang="en-US" altLang="ja-JP" sz="900" b="1" kern="1200" dirty="0">
                <a:solidFill>
                  <a:srgbClr val="262626"/>
                </a:solidFill>
                <a:ea typeface="ＭＳ Ｐゴシック" charset="-128"/>
                <a:cs typeface="+mn-cs"/>
              </a:rPr>
              <a:t>+</a:t>
            </a:r>
          </a:p>
        </p:txBody>
      </p:sp>
      <p:sp>
        <p:nvSpPr>
          <p:cNvPr id="785433" name="Text Box 25"/>
          <p:cNvSpPr txBox="1">
            <a:spLocks noChangeArrowheads="1"/>
          </p:cNvSpPr>
          <p:nvPr/>
        </p:nvSpPr>
        <p:spPr bwMode="auto">
          <a:xfrm>
            <a:off x="4508572" y="2936677"/>
            <a:ext cx="67326" cy="138499"/>
          </a:xfrm>
          <a:prstGeom prst="rect">
            <a:avLst/>
          </a:prstGeom>
          <a:noFill/>
          <a:ln w="9525">
            <a:noFill/>
            <a:miter lim="800000"/>
            <a:headEnd/>
            <a:tailEnd/>
          </a:ln>
        </p:spPr>
        <p:txBody>
          <a:bodyPr wrap="none" lIns="0" tIns="0" rIns="0" bIns="0">
            <a:spAutoFit/>
          </a:bodyPr>
          <a:lstStyle/>
          <a:p>
            <a:pPr defTabSz="685800">
              <a:buClrTx/>
            </a:pPr>
            <a:r>
              <a:rPr lang="en-US" altLang="ja-JP" sz="900" b="1" kern="1200" dirty="0">
                <a:solidFill>
                  <a:srgbClr val="262626"/>
                </a:solidFill>
                <a:ea typeface="ＭＳ Ｐゴシック" charset="-128"/>
                <a:cs typeface="+mn-cs"/>
              </a:rPr>
              <a:t>=</a:t>
            </a:r>
          </a:p>
        </p:txBody>
      </p:sp>
      <p:sp>
        <p:nvSpPr>
          <p:cNvPr id="28" name="Rectangle 26"/>
          <p:cNvSpPr>
            <a:spLocks noChangeArrowheads="1"/>
          </p:cNvSpPr>
          <p:nvPr/>
        </p:nvSpPr>
        <p:spPr bwMode="auto">
          <a:xfrm>
            <a:off x="3613547" y="1973059"/>
            <a:ext cx="548879" cy="161925"/>
          </a:xfrm>
          <a:prstGeom prst="rect">
            <a:avLst/>
          </a:prstGeom>
          <a:solidFill>
            <a:srgbClr val="575757"/>
          </a:solidFill>
          <a:ln w="12700">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29" name="Rectangle 27"/>
          <p:cNvSpPr>
            <a:spLocks noChangeArrowheads="1"/>
          </p:cNvSpPr>
          <p:nvPr/>
        </p:nvSpPr>
        <p:spPr bwMode="auto">
          <a:xfrm>
            <a:off x="3613547" y="2290361"/>
            <a:ext cx="548879" cy="161925"/>
          </a:xfrm>
          <a:prstGeom prst="rect">
            <a:avLst/>
          </a:prstGeom>
          <a:solidFill>
            <a:schemeClr val="bg1"/>
          </a:solidFill>
          <a:ln w="12700">
            <a:solidFill>
              <a:srgbClr val="B4B4B4"/>
            </a:solidFill>
            <a:prstDash val="solid"/>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785436" name="Rectangle 28"/>
          <p:cNvSpPr>
            <a:spLocks noChangeArrowheads="1"/>
          </p:cNvSpPr>
          <p:nvPr/>
        </p:nvSpPr>
        <p:spPr bwMode="auto">
          <a:xfrm>
            <a:off x="3613547" y="2607662"/>
            <a:ext cx="548879" cy="161925"/>
          </a:xfrm>
          <a:prstGeom prst="rect">
            <a:avLst/>
          </a:prstGeom>
          <a:solidFill>
            <a:srgbClr val="B4B4B4"/>
          </a:solidFill>
          <a:ln w="12700" algn="ctr">
            <a:solidFill>
              <a:schemeClr val="bg1"/>
            </a:solidFill>
            <a:miter lim="800000"/>
            <a:headEnd/>
            <a:tailEnd/>
          </a:ln>
        </p:spPr>
        <p:txBody>
          <a:bodyPr wrap="none" anchor="ctr"/>
          <a:lstStyle/>
          <a:p>
            <a:pPr algn="ctr" defTabSz="685800">
              <a:buClrTx/>
            </a:pPr>
            <a:endParaRPr lang="en-US" sz="900" kern="1200">
              <a:solidFill>
                <a:srgbClr val="313131"/>
              </a:solidFill>
              <a:ea typeface="+mn-ea"/>
              <a:cs typeface="+mn-cs"/>
            </a:endParaRPr>
          </a:p>
        </p:txBody>
      </p:sp>
      <p:sp>
        <p:nvSpPr>
          <p:cNvPr id="31" name="Rectangle 29"/>
          <p:cNvSpPr>
            <a:spLocks noChangeArrowheads="1"/>
          </p:cNvSpPr>
          <p:nvPr/>
        </p:nvSpPr>
        <p:spPr bwMode="auto">
          <a:xfrm>
            <a:off x="2478881" y="4194170"/>
            <a:ext cx="547688" cy="161925"/>
          </a:xfrm>
          <a:prstGeom prst="rect">
            <a:avLst/>
          </a:prstGeom>
          <a:solidFill>
            <a:srgbClr val="00A1DE"/>
          </a:solidFill>
          <a:ln w="12700" algn="ctr">
            <a:solidFill>
              <a:schemeClr val="bg1"/>
            </a:solidFill>
            <a:miter lim="800000"/>
            <a:headEnd/>
            <a:tailEnd/>
          </a:ln>
        </p:spPr>
        <p:txBody>
          <a:bodyPr wrap="none" anchor="ctr"/>
          <a:lstStyle/>
          <a:p>
            <a:pPr algn="ctr" defTabSz="685800">
              <a:buClrTx/>
              <a:defRPr/>
            </a:pPr>
            <a:endParaRPr lang="en-US" sz="900" kern="1200" dirty="0">
              <a:solidFill>
                <a:srgbClr val="313131"/>
              </a:solidFill>
              <a:ea typeface="+mn-ea"/>
              <a:cs typeface="+mn-cs"/>
            </a:endParaRPr>
          </a:p>
        </p:txBody>
      </p:sp>
      <p:sp>
        <p:nvSpPr>
          <p:cNvPr id="785438" name="Rectangle 30"/>
          <p:cNvSpPr>
            <a:spLocks noChangeArrowheads="1"/>
          </p:cNvSpPr>
          <p:nvPr/>
        </p:nvSpPr>
        <p:spPr bwMode="auto">
          <a:xfrm>
            <a:off x="6371035" y="1371600"/>
            <a:ext cx="414338" cy="161925"/>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defTabSz="685800">
              <a:buClrTx/>
            </a:pPr>
            <a:endParaRPr lang="en-US" sz="900" kern="1200">
              <a:solidFill>
                <a:srgbClr val="313131"/>
              </a:solidFill>
              <a:ea typeface="+mn-ea"/>
              <a:cs typeface="+mn-cs"/>
            </a:endParaRPr>
          </a:p>
        </p:txBody>
      </p:sp>
      <p:sp>
        <p:nvSpPr>
          <p:cNvPr id="33" name="Rectangle 31"/>
          <p:cNvSpPr>
            <a:spLocks noChangeArrowheads="1"/>
          </p:cNvSpPr>
          <p:nvPr/>
        </p:nvSpPr>
        <p:spPr bwMode="auto">
          <a:xfrm>
            <a:off x="6371035" y="1799034"/>
            <a:ext cx="414338" cy="161925"/>
          </a:xfrm>
          <a:prstGeom prst="rect">
            <a:avLst/>
          </a:prstGeom>
          <a:solidFill>
            <a:srgbClr val="575757"/>
          </a:solidFill>
          <a:ln w="12700">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785441" name="Text Box 33"/>
          <p:cNvSpPr txBox="1">
            <a:spLocks noChangeArrowheads="1"/>
          </p:cNvSpPr>
          <p:nvPr/>
        </p:nvSpPr>
        <p:spPr bwMode="auto">
          <a:xfrm>
            <a:off x="6835116" y="1377553"/>
            <a:ext cx="509755" cy="115416"/>
          </a:xfrm>
          <a:prstGeom prst="rect">
            <a:avLst/>
          </a:prstGeom>
          <a:noFill/>
          <a:ln w="9525">
            <a:noFill/>
            <a:miter lim="800000"/>
            <a:headEnd type="none" w="sm" len="sm"/>
            <a:tailEnd type="none" w="med" len="lg"/>
          </a:ln>
        </p:spPr>
        <p:txBody>
          <a:bodyPr wrap="none" lIns="0" tIns="0" rIns="0" bIns="0">
            <a:spAutoFit/>
          </a:bodyPr>
          <a:lstStyle/>
          <a:p>
            <a:pPr defTabSz="685800">
              <a:buClrTx/>
            </a:pPr>
            <a:r>
              <a:rPr lang="en-US" sz="750" kern="1200" dirty="0">
                <a:solidFill>
                  <a:srgbClr val="313131"/>
                </a:solidFill>
                <a:ea typeface="ＭＳ Ｐゴシック" charset="-128"/>
                <a:cs typeface="+mn-cs"/>
              </a:rPr>
              <a:t>Advantaged</a:t>
            </a:r>
          </a:p>
        </p:txBody>
      </p:sp>
      <p:sp>
        <p:nvSpPr>
          <p:cNvPr id="785442" name="Text Box 34"/>
          <p:cNvSpPr txBox="1">
            <a:spLocks noChangeArrowheads="1"/>
          </p:cNvSpPr>
          <p:nvPr/>
        </p:nvSpPr>
        <p:spPr bwMode="auto">
          <a:xfrm>
            <a:off x="6835116" y="1803797"/>
            <a:ext cx="636393" cy="115416"/>
          </a:xfrm>
          <a:prstGeom prst="rect">
            <a:avLst/>
          </a:prstGeom>
          <a:noFill/>
          <a:ln w="9525">
            <a:noFill/>
            <a:miter lim="800000"/>
            <a:headEnd type="none" w="sm" len="sm"/>
            <a:tailEnd type="none" w="med" len="lg"/>
          </a:ln>
        </p:spPr>
        <p:txBody>
          <a:bodyPr wrap="none" lIns="0" tIns="0" rIns="0" bIns="0">
            <a:spAutoFit/>
          </a:bodyPr>
          <a:lstStyle/>
          <a:p>
            <a:pPr defTabSz="685800">
              <a:buClrTx/>
            </a:pPr>
            <a:r>
              <a:rPr lang="en-US" sz="750" kern="1200">
                <a:solidFill>
                  <a:srgbClr val="313131"/>
                </a:solidFill>
                <a:ea typeface="ＭＳ Ｐゴシック" charset="-128"/>
                <a:cs typeface="+mn-cs"/>
              </a:rPr>
              <a:t>Disadvantaged</a:t>
            </a:r>
          </a:p>
        </p:txBody>
      </p:sp>
      <p:sp>
        <p:nvSpPr>
          <p:cNvPr id="37" name="Rectangle 35"/>
          <p:cNvSpPr>
            <a:spLocks noChangeArrowheads="1"/>
          </p:cNvSpPr>
          <p:nvPr/>
        </p:nvSpPr>
        <p:spPr bwMode="auto">
          <a:xfrm>
            <a:off x="6371035" y="2019300"/>
            <a:ext cx="414338" cy="161925"/>
          </a:xfrm>
          <a:prstGeom prst="rect">
            <a:avLst/>
          </a:prstGeom>
          <a:solidFill>
            <a:schemeClr val="bg1"/>
          </a:solidFill>
          <a:ln w="12700">
            <a:solidFill>
              <a:srgbClr val="B4B4B4"/>
            </a:solidFill>
            <a:prstDash val="solid"/>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785444" name="Text Box 36"/>
          <p:cNvSpPr txBox="1">
            <a:spLocks noChangeArrowheads="1"/>
          </p:cNvSpPr>
          <p:nvPr/>
        </p:nvSpPr>
        <p:spPr bwMode="auto">
          <a:xfrm>
            <a:off x="6835116" y="2024063"/>
            <a:ext cx="477695" cy="115416"/>
          </a:xfrm>
          <a:prstGeom prst="rect">
            <a:avLst/>
          </a:prstGeom>
          <a:noFill/>
          <a:ln w="9525">
            <a:noFill/>
            <a:miter lim="800000"/>
            <a:headEnd type="none" w="sm" len="sm"/>
            <a:tailEnd type="none" w="med" len="lg"/>
          </a:ln>
        </p:spPr>
        <p:txBody>
          <a:bodyPr wrap="none" lIns="0" tIns="0" rIns="0" bIns="0">
            <a:spAutoFit/>
          </a:bodyPr>
          <a:lstStyle/>
          <a:p>
            <a:pPr defTabSz="685800">
              <a:buClrTx/>
            </a:pPr>
            <a:r>
              <a:rPr lang="en-US" altLang="ja-JP" sz="750" kern="1200" dirty="0">
                <a:solidFill>
                  <a:srgbClr val="313131"/>
                </a:solidFill>
                <a:ea typeface="ＭＳ Ｐゴシック" charset="-128"/>
                <a:cs typeface="+mn-cs"/>
              </a:rPr>
              <a:t>No position</a:t>
            </a:r>
          </a:p>
        </p:txBody>
      </p:sp>
      <p:sp>
        <p:nvSpPr>
          <p:cNvPr id="39" name="Rectangle 37"/>
          <p:cNvSpPr>
            <a:spLocks noChangeArrowheads="1"/>
          </p:cNvSpPr>
          <p:nvPr/>
        </p:nvSpPr>
        <p:spPr bwMode="auto">
          <a:xfrm>
            <a:off x="6371035" y="1583531"/>
            <a:ext cx="414338" cy="161925"/>
          </a:xfrm>
          <a:prstGeom prst="rect">
            <a:avLst/>
          </a:prstGeom>
          <a:solidFill>
            <a:srgbClr val="00A1DE"/>
          </a:solidFill>
          <a:ln w="12700">
            <a:solidFill>
              <a:schemeClr val="bg1"/>
            </a:solidFill>
            <a:miter lim="800000"/>
            <a:headEnd type="none" w="sm" len="sm"/>
            <a:tailEnd type="none" w="sm" len="sm"/>
          </a:ln>
        </p:spPr>
        <p:txBody>
          <a:bodyPr wrap="none" anchor="ctr"/>
          <a:lstStyle/>
          <a:p>
            <a:pPr algn="ctr" defTabSz="685800">
              <a:buClrTx/>
              <a:defRPr/>
            </a:pPr>
            <a:endParaRPr lang="en-US" sz="900" kern="1200" dirty="0">
              <a:solidFill>
                <a:srgbClr val="313131"/>
              </a:solidFill>
              <a:ea typeface="+mn-ea"/>
              <a:cs typeface="+mn-cs"/>
            </a:endParaRPr>
          </a:p>
        </p:txBody>
      </p:sp>
      <p:sp>
        <p:nvSpPr>
          <p:cNvPr id="785446" name="Text Box 38"/>
          <p:cNvSpPr txBox="1">
            <a:spLocks noChangeArrowheads="1"/>
          </p:cNvSpPr>
          <p:nvPr/>
        </p:nvSpPr>
        <p:spPr bwMode="auto">
          <a:xfrm>
            <a:off x="6835116" y="1591865"/>
            <a:ext cx="307777" cy="115416"/>
          </a:xfrm>
          <a:prstGeom prst="rect">
            <a:avLst/>
          </a:prstGeom>
          <a:noFill/>
          <a:ln w="9525">
            <a:noFill/>
            <a:miter lim="800000"/>
            <a:headEnd type="none" w="sm" len="sm"/>
            <a:tailEnd type="none" w="med" len="lg"/>
          </a:ln>
        </p:spPr>
        <p:txBody>
          <a:bodyPr wrap="none" lIns="0" tIns="0" rIns="0" bIns="0">
            <a:spAutoFit/>
          </a:bodyPr>
          <a:lstStyle/>
          <a:p>
            <a:pPr defTabSz="685800">
              <a:buClrTx/>
            </a:pPr>
            <a:r>
              <a:rPr lang="en-US" altLang="ja-JP" sz="750" kern="1200" dirty="0">
                <a:solidFill>
                  <a:srgbClr val="313131"/>
                </a:solidFill>
                <a:ea typeface="ＭＳ Ｐゴシック" charset="-128"/>
                <a:cs typeface="+mn-cs"/>
              </a:rPr>
              <a:t>Neutral</a:t>
            </a:r>
          </a:p>
        </p:txBody>
      </p:sp>
      <p:sp>
        <p:nvSpPr>
          <p:cNvPr id="785447" name="Text Box 39"/>
          <p:cNvSpPr txBox="1">
            <a:spLocks noChangeArrowheads="1"/>
          </p:cNvSpPr>
          <p:nvPr/>
        </p:nvSpPr>
        <p:spPr bwMode="auto">
          <a:xfrm>
            <a:off x="1930004" y="1667470"/>
            <a:ext cx="205184" cy="126958"/>
          </a:xfrm>
          <a:prstGeom prst="rect">
            <a:avLst/>
          </a:prstGeom>
          <a:noFill/>
          <a:ln w="9525">
            <a:noFill/>
            <a:miter lim="800000"/>
            <a:headEnd type="none" w="sm" len="sm"/>
            <a:tailEnd type="none" w="med" len="lg"/>
          </a:ln>
        </p:spPr>
        <p:txBody>
          <a:bodyPr wrap="none" lIns="0" tIns="0" rIns="0" bIns="0">
            <a:spAutoFit/>
          </a:bodyPr>
          <a:lstStyle/>
          <a:p>
            <a:pPr defTabSz="685800">
              <a:buClrTx/>
            </a:pPr>
            <a:r>
              <a:rPr lang="en-US" altLang="ja-JP" sz="825" kern="1200">
                <a:solidFill>
                  <a:srgbClr val="313131"/>
                </a:solidFill>
                <a:ea typeface="ＭＳ Ｐゴシック" charset="-128"/>
                <a:cs typeface="+mn-cs"/>
              </a:rPr>
              <a:t>Text</a:t>
            </a:r>
          </a:p>
        </p:txBody>
      </p:sp>
      <p:sp>
        <p:nvSpPr>
          <p:cNvPr id="785448" name="Text Box 40"/>
          <p:cNvSpPr txBox="1">
            <a:spLocks noChangeArrowheads="1"/>
          </p:cNvSpPr>
          <p:nvPr/>
        </p:nvSpPr>
        <p:spPr bwMode="auto">
          <a:xfrm>
            <a:off x="1930004" y="1984771"/>
            <a:ext cx="205184" cy="126958"/>
          </a:xfrm>
          <a:prstGeom prst="rect">
            <a:avLst/>
          </a:prstGeom>
          <a:noFill/>
          <a:ln w="9525">
            <a:noFill/>
            <a:miter lim="800000"/>
            <a:headEnd type="none" w="sm" len="sm"/>
            <a:tailEnd type="none" w="med" len="lg"/>
          </a:ln>
        </p:spPr>
        <p:txBody>
          <a:bodyPr wrap="none" lIns="0" tIns="0" rIns="0" bIns="0">
            <a:spAutoFit/>
          </a:bodyPr>
          <a:lstStyle/>
          <a:p>
            <a:pPr defTabSz="685800">
              <a:buClrTx/>
            </a:pPr>
            <a:r>
              <a:rPr lang="en-US" altLang="ja-JP" sz="825" kern="1200">
                <a:solidFill>
                  <a:srgbClr val="313131"/>
                </a:solidFill>
                <a:ea typeface="ＭＳ Ｐゴシック" charset="-128"/>
                <a:cs typeface="+mn-cs"/>
              </a:rPr>
              <a:t>Text</a:t>
            </a:r>
          </a:p>
        </p:txBody>
      </p:sp>
      <p:sp>
        <p:nvSpPr>
          <p:cNvPr id="785449" name="Text Box 41"/>
          <p:cNvSpPr txBox="1">
            <a:spLocks noChangeArrowheads="1"/>
          </p:cNvSpPr>
          <p:nvPr/>
        </p:nvSpPr>
        <p:spPr bwMode="auto">
          <a:xfrm>
            <a:off x="1930004" y="2302073"/>
            <a:ext cx="205184" cy="126958"/>
          </a:xfrm>
          <a:prstGeom prst="rect">
            <a:avLst/>
          </a:prstGeom>
          <a:noFill/>
          <a:ln w="9525">
            <a:noFill/>
            <a:miter lim="800000"/>
            <a:headEnd type="none" w="sm" len="sm"/>
            <a:tailEnd type="none" w="med" len="lg"/>
          </a:ln>
        </p:spPr>
        <p:txBody>
          <a:bodyPr wrap="none" lIns="0" tIns="0" rIns="0" bIns="0">
            <a:spAutoFit/>
          </a:bodyPr>
          <a:lstStyle/>
          <a:p>
            <a:pPr defTabSz="685800">
              <a:buClrTx/>
            </a:pPr>
            <a:r>
              <a:rPr lang="en-US" altLang="ja-JP" sz="825" kern="1200">
                <a:solidFill>
                  <a:srgbClr val="313131"/>
                </a:solidFill>
                <a:ea typeface="ＭＳ Ｐゴシック" charset="-128"/>
                <a:cs typeface="+mn-cs"/>
              </a:rPr>
              <a:t>Text</a:t>
            </a:r>
          </a:p>
        </p:txBody>
      </p:sp>
      <p:sp>
        <p:nvSpPr>
          <p:cNvPr id="785450" name="Text Box 42"/>
          <p:cNvSpPr txBox="1">
            <a:spLocks noChangeArrowheads="1"/>
          </p:cNvSpPr>
          <p:nvPr/>
        </p:nvSpPr>
        <p:spPr bwMode="auto">
          <a:xfrm>
            <a:off x="1930004" y="2619374"/>
            <a:ext cx="205184" cy="126958"/>
          </a:xfrm>
          <a:prstGeom prst="rect">
            <a:avLst/>
          </a:prstGeom>
          <a:noFill/>
          <a:ln w="9525">
            <a:noFill/>
            <a:miter lim="800000"/>
            <a:headEnd type="none" w="sm" len="sm"/>
            <a:tailEnd type="none" w="med" len="lg"/>
          </a:ln>
        </p:spPr>
        <p:txBody>
          <a:bodyPr wrap="none" lIns="0" tIns="0" rIns="0" bIns="0">
            <a:spAutoFit/>
          </a:bodyPr>
          <a:lstStyle/>
          <a:p>
            <a:pPr defTabSz="685800">
              <a:buClrTx/>
            </a:pPr>
            <a:r>
              <a:rPr lang="en-US" altLang="ja-JP" sz="825" kern="1200">
                <a:solidFill>
                  <a:srgbClr val="313131"/>
                </a:solidFill>
                <a:ea typeface="ＭＳ Ｐゴシック" charset="-128"/>
                <a:cs typeface="+mn-cs"/>
              </a:rPr>
              <a:t>Text</a:t>
            </a:r>
          </a:p>
        </p:txBody>
      </p:sp>
      <p:sp>
        <p:nvSpPr>
          <p:cNvPr id="785451" name="Text Box 43"/>
          <p:cNvSpPr txBox="1">
            <a:spLocks noChangeArrowheads="1"/>
          </p:cNvSpPr>
          <p:nvPr/>
        </p:nvSpPr>
        <p:spPr bwMode="auto">
          <a:xfrm>
            <a:off x="1930004" y="2936676"/>
            <a:ext cx="205184" cy="126958"/>
          </a:xfrm>
          <a:prstGeom prst="rect">
            <a:avLst/>
          </a:prstGeom>
          <a:noFill/>
          <a:ln w="9525">
            <a:noFill/>
            <a:miter lim="800000"/>
            <a:headEnd type="none" w="sm" len="sm"/>
            <a:tailEnd type="none" w="med" len="lg"/>
          </a:ln>
        </p:spPr>
        <p:txBody>
          <a:bodyPr wrap="none" lIns="0" tIns="0" rIns="0" bIns="0">
            <a:spAutoFit/>
          </a:bodyPr>
          <a:lstStyle/>
          <a:p>
            <a:pPr defTabSz="685800">
              <a:buClrTx/>
            </a:pPr>
            <a:r>
              <a:rPr lang="en-US" altLang="ja-JP" sz="825" kern="1200">
                <a:solidFill>
                  <a:srgbClr val="313131"/>
                </a:solidFill>
                <a:ea typeface="ＭＳ Ｐゴシック" charset="-128"/>
                <a:cs typeface="+mn-cs"/>
              </a:rPr>
              <a:t>Text</a:t>
            </a:r>
          </a:p>
        </p:txBody>
      </p:sp>
      <p:sp>
        <p:nvSpPr>
          <p:cNvPr id="785452" name="Text Box 44"/>
          <p:cNvSpPr txBox="1">
            <a:spLocks noChangeArrowheads="1"/>
          </p:cNvSpPr>
          <p:nvPr/>
        </p:nvSpPr>
        <p:spPr bwMode="auto">
          <a:xfrm>
            <a:off x="1930004" y="3253978"/>
            <a:ext cx="205184" cy="126958"/>
          </a:xfrm>
          <a:prstGeom prst="rect">
            <a:avLst/>
          </a:prstGeom>
          <a:noFill/>
          <a:ln w="9525">
            <a:noFill/>
            <a:miter lim="800000"/>
            <a:headEnd type="none" w="sm" len="sm"/>
            <a:tailEnd type="none" w="med" len="lg"/>
          </a:ln>
        </p:spPr>
        <p:txBody>
          <a:bodyPr wrap="none" lIns="0" tIns="0" rIns="0" bIns="0">
            <a:spAutoFit/>
          </a:bodyPr>
          <a:lstStyle/>
          <a:p>
            <a:pPr defTabSz="685800">
              <a:buClrTx/>
            </a:pPr>
            <a:r>
              <a:rPr lang="en-US" altLang="ja-JP" sz="825" kern="1200">
                <a:solidFill>
                  <a:srgbClr val="313131"/>
                </a:solidFill>
                <a:ea typeface="ＭＳ Ｐゴシック" charset="-128"/>
                <a:cs typeface="+mn-cs"/>
              </a:rPr>
              <a:t>Text</a:t>
            </a:r>
          </a:p>
        </p:txBody>
      </p:sp>
      <p:sp>
        <p:nvSpPr>
          <p:cNvPr id="785453" name="Text Box 45"/>
          <p:cNvSpPr txBox="1">
            <a:spLocks noChangeArrowheads="1"/>
          </p:cNvSpPr>
          <p:nvPr/>
        </p:nvSpPr>
        <p:spPr bwMode="auto">
          <a:xfrm>
            <a:off x="1930004" y="3571279"/>
            <a:ext cx="205184" cy="126958"/>
          </a:xfrm>
          <a:prstGeom prst="rect">
            <a:avLst/>
          </a:prstGeom>
          <a:noFill/>
          <a:ln w="9525">
            <a:noFill/>
            <a:miter lim="800000"/>
            <a:headEnd type="none" w="sm" len="sm"/>
            <a:tailEnd type="none" w="med" len="lg"/>
          </a:ln>
        </p:spPr>
        <p:txBody>
          <a:bodyPr wrap="none" lIns="0" tIns="0" rIns="0" bIns="0">
            <a:spAutoFit/>
          </a:bodyPr>
          <a:lstStyle/>
          <a:p>
            <a:pPr defTabSz="685800">
              <a:buClrTx/>
            </a:pPr>
            <a:r>
              <a:rPr lang="en-US" altLang="ja-JP" sz="825" kern="1200">
                <a:solidFill>
                  <a:srgbClr val="313131"/>
                </a:solidFill>
                <a:ea typeface="ＭＳ Ｐゴシック" charset="-128"/>
                <a:cs typeface="+mn-cs"/>
              </a:rPr>
              <a:t>Text</a:t>
            </a:r>
          </a:p>
        </p:txBody>
      </p:sp>
      <p:sp>
        <p:nvSpPr>
          <p:cNvPr id="785454" name="Text Box 46"/>
          <p:cNvSpPr txBox="1">
            <a:spLocks noChangeArrowheads="1"/>
          </p:cNvSpPr>
          <p:nvPr/>
        </p:nvSpPr>
        <p:spPr bwMode="auto">
          <a:xfrm>
            <a:off x="1930004" y="3888580"/>
            <a:ext cx="205184" cy="126958"/>
          </a:xfrm>
          <a:prstGeom prst="rect">
            <a:avLst/>
          </a:prstGeom>
          <a:noFill/>
          <a:ln w="9525">
            <a:noFill/>
            <a:miter lim="800000"/>
            <a:headEnd type="none" w="sm" len="sm"/>
            <a:tailEnd type="none" w="med" len="lg"/>
          </a:ln>
        </p:spPr>
        <p:txBody>
          <a:bodyPr wrap="none" lIns="0" tIns="0" rIns="0" bIns="0">
            <a:spAutoFit/>
          </a:bodyPr>
          <a:lstStyle/>
          <a:p>
            <a:pPr defTabSz="685800">
              <a:buClrTx/>
            </a:pPr>
            <a:r>
              <a:rPr lang="en-US" altLang="ja-JP" sz="825" kern="1200">
                <a:solidFill>
                  <a:srgbClr val="313131"/>
                </a:solidFill>
                <a:ea typeface="ＭＳ Ｐゴシック" charset="-128"/>
                <a:cs typeface="+mn-cs"/>
              </a:rPr>
              <a:t>Text</a:t>
            </a:r>
          </a:p>
        </p:txBody>
      </p:sp>
      <p:sp>
        <p:nvSpPr>
          <p:cNvPr id="785455" name="Text Box 47"/>
          <p:cNvSpPr txBox="1">
            <a:spLocks noChangeArrowheads="1"/>
          </p:cNvSpPr>
          <p:nvPr/>
        </p:nvSpPr>
        <p:spPr bwMode="auto">
          <a:xfrm>
            <a:off x="1930004" y="4205882"/>
            <a:ext cx="205184" cy="126958"/>
          </a:xfrm>
          <a:prstGeom prst="rect">
            <a:avLst/>
          </a:prstGeom>
          <a:noFill/>
          <a:ln w="9525">
            <a:noFill/>
            <a:miter lim="800000"/>
            <a:headEnd type="none" w="sm" len="sm"/>
            <a:tailEnd type="none" w="med" len="lg"/>
          </a:ln>
        </p:spPr>
        <p:txBody>
          <a:bodyPr wrap="none" lIns="0" tIns="0" rIns="0" bIns="0">
            <a:spAutoFit/>
          </a:bodyPr>
          <a:lstStyle/>
          <a:p>
            <a:pPr defTabSz="685800">
              <a:buClrTx/>
            </a:pPr>
            <a:r>
              <a:rPr lang="en-US" altLang="ja-JP" sz="825" kern="1200" dirty="0">
                <a:solidFill>
                  <a:srgbClr val="313131"/>
                </a:solidFill>
                <a:ea typeface="ＭＳ Ｐゴシック" charset="-128"/>
                <a:cs typeface="+mn-cs"/>
              </a:rPr>
              <a:t>Text</a:t>
            </a:r>
          </a:p>
        </p:txBody>
      </p:sp>
      <p:sp>
        <p:nvSpPr>
          <p:cNvPr id="50"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Tree>
  </p:cSld>
  <p:clrMapOvr>
    <a:masterClrMapping/>
  </p:clrMapOvr>
  <p:transition>
    <p:fade/>
  </p:transition>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6433" name="Title 1"/>
          <p:cNvSpPr>
            <a:spLocks noGrp="1"/>
          </p:cNvSpPr>
          <p:nvPr>
            <p:ph type="title"/>
          </p:nvPr>
        </p:nvSpPr>
        <p:spPr/>
        <p:txBody>
          <a:bodyPr/>
          <a:lstStyle/>
          <a:p>
            <a:r>
              <a:rPr lang="en-US" altLang="ja-JP" dirty="0"/>
              <a:t>Activity map </a:t>
            </a:r>
            <a:br>
              <a:rPr lang="en-US" altLang="ja-JP" dirty="0"/>
            </a:br>
            <a:r>
              <a:rPr lang="en-US" altLang="ja-JP" dirty="0">
                <a:solidFill>
                  <a:srgbClr val="575757"/>
                </a:solidFill>
              </a:rPr>
              <a:t>Competitive groups</a:t>
            </a:r>
            <a:endParaRPr lang="en-US" dirty="0">
              <a:solidFill>
                <a:srgbClr val="575757"/>
              </a:solidFill>
            </a:endParaRPr>
          </a:p>
        </p:txBody>
      </p:sp>
      <p:sp>
        <p:nvSpPr>
          <p:cNvPr id="786435" name="Text Box 3"/>
          <p:cNvSpPr txBox="1">
            <a:spLocks noChangeArrowheads="1"/>
          </p:cNvSpPr>
          <p:nvPr/>
        </p:nvSpPr>
        <p:spPr bwMode="auto">
          <a:xfrm>
            <a:off x="1464498" y="2607469"/>
            <a:ext cx="726223" cy="324801"/>
          </a:xfrm>
          <a:prstGeom prst="rect">
            <a:avLst/>
          </a:prstGeom>
          <a:noFill/>
          <a:ln w="9525" algn="ctr">
            <a:noFill/>
            <a:miter lim="800000"/>
            <a:headEnd/>
            <a:tailEnd/>
          </a:ln>
        </p:spPr>
        <p:txBody>
          <a:bodyPr wrap="none" lIns="67500" tIns="35100" rIns="67500" bIns="35100">
            <a:spAutoFit/>
          </a:bodyPr>
          <a:lstStyle/>
          <a:p>
            <a:pPr algn="ctr" defTabSz="685800">
              <a:buClrTx/>
            </a:pPr>
            <a:r>
              <a:rPr lang="en-US" altLang="ja-JP" sz="825" kern="1200" dirty="0">
                <a:solidFill>
                  <a:srgbClr val="313131"/>
                </a:solidFill>
                <a:ea typeface="ＭＳ Ｐゴシック" charset="-128"/>
                <a:cs typeface="+mn-cs"/>
              </a:rPr>
              <a:t>Competitive </a:t>
            </a:r>
            <a:br>
              <a:rPr lang="en-US" altLang="ja-JP" sz="825" kern="1200" dirty="0">
                <a:solidFill>
                  <a:srgbClr val="313131"/>
                </a:solidFill>
                <a:ea typeface="ＭＳ Ｐゴシック" charset="-128"/>
                <a:cs typeface="+mn-cs"/>
              </a:rPr>
            </a:br>
            <a:r>
              <a:rPr lang="en-US" altLang="ja-JP" sz="825" kern="1200" dirty="0">
                <a:solidFill>
                  <a:srgbClr val="313131"/>
                </a:solidFill>
                <a:ea typeface="ＭＳ Ｐゴシック" charset="-128"/>
                <a:cs typeface="+mn-cs"/>
              </a:rPr>
              <a:t>advantage</a:t>
            </a:r>
          </a:p>
        </p:txBody>
      </p:sp>
      <p:sp>
        <p:nvSpPr>
          <p:cNvPr id="786436" name="Text Box 4"/>
          <p:cNvSpPr txBox="1">
            <a:spLocks noChangeArrowheads="1"/>
          </p:cNvSpPr>
          <p:nvPr/>
        </p:nvSpPr>
        <p:spPr bwMode="auto">
          <a:xfrm>
            <a:off x="2952751" y="4363641"/>
            <a:ext cx="472308" cy="324801"/>
          </a:xfrm>
          <a:prstGeom prst="rect">
            <a:avLst/>
          </a:prstGeom>
          <a:noFill/>
          <a:ln w="9525" algn="ctr">
            <a:noFill/>
            <a:miter lim="800000"/>
            <a:headEnd/>
            <a:tailEnd/>
          </a:ln>
        </p:spPr>
        <p:txBody>
          <a:bodyPr wrap="none" lIns="67500" tIns="35100" rIns="67500" bIns="35100">
            <a:spAutoFit/>
          </a:bodyPr>
          <a:lstStyle/>
          <a:p>
            <a:pPr marL="129779" indent="-129779" defTabSz="685800">
              <a:buClrTx/>
              <a:buFontTx/>
              <a:buChar char="•"/>
            </a:pPr>
            <a:r>
              <a:rPr lang="en-US" altLang="ja-JP" sz="825" kern="1200">
                <a:solidFill>
                  <a:srgbClr val="313131"/>
                </a:solidFill>
                <a:ea typeface="ＭＳ Ｐゴシック" charset="-128"/>
                <a:cs typeface="+mn-cs"/>
              </a:rPr>
              <a:t>Text</a:t>
            </a:r>
          </a:p>
          <a:p>
            <a:pPr marL="129779" indent="-129779" defTabSz="685800">
              <a:buClrTx/>
              <a:buFontTx/>
              <a:buChar char="•"/>
            </a:pPr>
            <a:r>
              <a:rPr lang="en-US" altLang="ja-JP" sz="825" kern="1200">
                <a:solidFill>
                  <a:srgbClr val="313131"/>
                </a:solidFill>
                <a:ea typeface="ＭＳ Ｐゴシック" charset="-128"/>
                <a:cs typeface="+mn-cs"/>
              </a:rPr>
              <a:t>Text</a:t>
            </a:r>
          </a:p>
        </p:txBody>
      </p:sp>
      <p:sp>
        <p:nvSpPr>
          <p:cNvPr id="786437" name="Text Box 5"/>
          <p:cNvSpPr txBox="1">
            <a:spLocks noChangeArrowheads="1"/>
          </p:cNvSpPr>
          <p:nvPr/>
        </p:nvSpPr>
        <p:spPr bwMode="auto">
          <a:xfrm>
            <a:off x="1464498" y="4363641"/>
            <a:ext cx="726223" cy="324801"/>
          </a:xfrm>
          <a:prstGeom prst="rect">
            <a:avLst/>
          </a:prstGeom>
          <a:noFill/>
          <a:ln w="9525" algn="ctr">
            <a:noFill/>
            <a:miter lim="800000"/>
            <a:headEnd/>
            <a:tailEnd/>
          </a:ln>
        </p:spPr>
        <p:txBody>
          <a:bodyPr wrap="none" lIns="67500" tIns="35100" rIns="67500" bIns="35100">
            <a:spAutoFit/>
          </a:bodyPr>
          <a:lstStyle/>
          <a:p>
            <a:pPr algn="ctr" defTabSz="685800">
              <a:buClrTx/>
            </a:pPr>
            <a:r>
              <a:rPr lang="en-US" altLang="ja-JP" sz="825" kern="1200" dirty="0">
                <a:solidFill>
                  <a:srgbClr val="313131"/>
                </a:solidFill>
                <a:ea typeface="ＭＳ Ｐゴシック" charset="-128"/>
                <a:cs typeface="+mn-cs"/>
              </a:rPr>
              <a:t>Competitive </a:t>
            </a:r>
            <a:br>
              <a:rPr lang="en-US" altLang="ja-JP" sz="825" kern="1200" dirty="0">
                <a:solidFill>
                  <a:srgbClr val="313131"/>
                </a:solidFill>
                <a:ea typeface="ＭＳ Ｐゴシック" charset="-128"/>
                <a:cs typeface="+mn-cs"/>
              </a:rPr>
            </a:br>
            <a:r>
              <a:rPr lang="en-US" altLang="ja-JP" sz="825" kern="1200" dirty="0">
                <a:solidFill>
                  <a:srgbClr val="313131"/>
                </a:solidFill>
                <a:ea typeface="ＭＳ Ｐゴシック" charset="-128"/>
                <a:cs typeface="+mn-cs"/>
              </a:rPr>
              <a:t>advantage</a:t>
            </a:r>
          </a:p>
        </p:txBody>
      </p:sp>
      <p:sp>
        <p:nvSpPr>
          <p:cNvPr id="786438" name="Text Box 6"/>
          <p:cNvSpPr txBox="1">
            <a:spLocks noChangeArrowheads="1"/>
          </p:cNvSpPr>
          <p:nvPr/>
        </p:nvSpPr>
        <p:spPr bwMode="auto">
          <a:xfrm>
            <a:off x="5793582" y="4363641"/>
            <a:ext cx="472308" cy="324801"/>
          </a:xfrm>
          <a:prstGeom prst="rect">
            <a:avLst/>
          </a:prstGeom>
          <a:noFill/>
          <a:ln w="9525" algn="ctr">
            <a:noFill/>
            <a:miter lim="800000"/>
            <a:headEnd/>
            <a:tailEnd/>
          </a:ln>
        </p:spPr>
        <p:txBody>
          <a:bodyPr wrap="none" lIns="67500" tIns="35100" rIns="67500" bIns="35100">
            <a:spAutoFit/>
          </a:bodyPr>
          <a:lstStyle/>
          <a:p>
            <a:pPr marL="129779" indent="-129779" defTabSz="685800">
              <a:buClrTx/>
              <a:buFontTx/>
              <a:buChar char="•"/>
            </a:pPr>
            <a:r>
              <a:rPr lang="en-US" altLang="ja-JP" sz="825" kern="1200">
                <a:solidFill>
                  <a:srgbClr val="313131"/>
                </a:solidFill>
                <a:ea typeface="ＭＳ Ｐゴシック" charset="-128"/>
                <a:cs typeface="+mn-cs"/>
              </a:rPr>
              <a:t>Text</a:t>
            </a:r>
          </a:p>
          <a:p>
            <a:pPr marL="129779" indent="-129779" defTabSz="685800">
              <a:buClrTx/>
              <a:buFontTx/>
              <a:buChar char="•"/>
            </a:pPr>
            <a:r>
              <a:rPr lang="en-US" altLang="ja-JP" sz="825" kern="1200">
                <a:solidFill>
                  <a:srgbClr val="313131"/>
                </a:solidFill>
                <a:ea typeface="ＭＳ Ｐゴシック" charset="-128"/>
                <a:cs typeface="+mn-cs"/>
              </a:rPr>
              <a:t>Text</a:t>
            </a:r>
          </a:p>
        </p:txBody>
      </p:sp>
      <p:sp>
        <p:nvSpPr>
          <p:cNvPr id="786439" name="Rectangle 7"/>
          <p:cNvSpPr>
            <a:spLocks noChangeArrowheads="1"/>
          </p:cNvSpPr>
          <p:nvPr/>
        </p:nvSpPr>
        <p:spPr bwMode="auto">
          <a:xfrm>
            <a:off x="2344341" y="1854994"/>
            <a:ext cx="444083" cy="126958"/>
          </a:xfrm>
          <a:prstGeom prst="rect">
            <a:avLst/>
          </a:prstGeom>
          <a:noFill/>
          <a:ln w="9525">
            <a:noFill/>
            <a:miter lim="800000"/>
            <a:headEnd/>
            <a:tailEnd/>
          </a:ln>
        </p:spPr>
        <p:txBody>
          <a:bodyPr wrap="none" lIns="54000" tIns="0" rIns="54000" bIns="0">
            <a:spAutoFit/>
          </a:bodyPr>
          <a:lstStyle/>
          <a:p>
            <a:pPr defTabSz="685800">
              <a:buClrTx/>
            </a:pPr>
            <a:r>
              <a:rPr lang="en-US" altLang="ja-JP" sz="825" kern="1200">
                <a:solidFill>
                  <a:srgbClr val="313131"/>
                </a:solidFill>
                <a:ea typeface="ＭＳ Ｐゴシック" charset="-128"/>
                <a:cs typeface="+mn-cs"/>
              </a:rPr>
              <a:t>Activity</a:t>
            </a:r>
          </a:p>
        </p:txBody>
      </p:sp>
      <p:sp>
        <p:nvSpPr>
          <p:cNvPr id="9" name="Rectangle 8"/>
          <p:cNvSpPr>
            <a:spLocks noChangeArrowheads="1"/>
          </p:cNvSpPr>
          <p:nvPr/>
        </p:nvSpPr>
        <p:spPr bwMode="auto">
          <a:xfrm>
            <a:off x="2988469" y="1865710"/>
            <a:ext cx="219075"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10" name="Rectangle 9"/>
          <p:cNvSpPr>
            <a:spLocks noChangeArrowheads="1"/>
          </p:cNvSpPr>
          <p:nvPr/>
        </p:nvSpPr>
        <p:spPr bwMode="auto">
          <a:xfrm>
            <a:off x="2988469" y="2049067"/>
            <a:ext cx="219075"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11" name="Rectangle 10"/>
          <p:cNvSpPr>
            <a:spLocks noChangeArrowheads="1"/>
          </p:cNvSpPr>
          <p:nvPr/>
        </p:nvSpPr>
        <p:spPr bwMode="auto">
          <a:xfrm>
            <a:off x="2988469" y="2232422"/>
            <a:ext cx="219075" cy="117872"/>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786443" name="Text Box 11"/>
          <p:cNvSpPr txBox="1">
            <a:spLocks noChangeArrowheads="1"/>
          </p:cNvSpPr>
          <p:nvPr/>
        </p:nvSpPr>
        <p:spPr bwMode="auto">
          <a:xfrm>
            <a:off x="2875700" y="1238250"/>
            <a:ext cx="1154226" cy="324801"/>
          </a:xfrm>
          <a:prstGeom prst="rect">
            <a:avLst/>
          </a:prstGeom>
          <a:noFill/>
          <a:ln w="9525" algn="ctr">
            <a:noFill/>
            <a:miter lim="800000"/>
            <a:headEnd/>
            <a:tailEnd/>
          </a:ln>
        </p:spPr>
        <p:txBody>
          <a:bodyPr wrap="none" lIns="67500" tIns="35100" rIns="67500" bIns="35100">
            <a:spAutoFit/>
          </a:bodyPr>
          <a:lstStyle/>
          <a:p>
            <a:pPr algn="ctr" defTabSz="685800">
              <a:buClrTx/>
            </a:pPr>
            <a:r>
              <a:rPr lang="en-US" altLang="ja-JP" sz="825" b="1" kern="1200" dirty="0">
                <a:solidFill>
                  <a:srgbClr val="313131"/>
                </a:solidFill>
                <a:ea typeface="ＭＳ Ｐゴシック" charset="-128"/>
                <a:cs typeface="+mn-cs"/>
              </a:rPr>
              <a:t>Competitive group</a:t>
            </a:r>
          </a:p>
          <a:p>
            <a:pPr algn="ctr" defTabSz="685800">
              <a:buClrTx/>
            </a:pPr>
            <a:r>
              <a:rPr lang="en-US" altLang="ja-JP" sz="825" b="1" kern="1200" dirty="0">
                <a:solidFill>
                  <a:srgbClr val="313131"/>
                </a:solidFill>
                <a:ea typeface="ＭＳ Ｐゴシック" charset="-128"/>
                <a:cs typeface="+mn-cs"/>
              </a:rPr>
              <a:t>(sample companies)</a:t>
            </a:r>
          </a:p>
        </p:txBody>
      </p:sp>
      <p:sp>
        <p:nvSpPr>
          <p:cNvPr id="13" name="Rectangle 12"/>
          <p:cNvSpPr>
            <a:spLocks noChangeArrowheads="1"/>
          </p:cNvSpPr>
          <p:nvPr/>
        </p:nvSpPr>
        <p:spPr bwMode="auto">
          <a:xfrm>
            <a:off x="2344341" y="1256110"/>
            <a:ext cx="2190750" cy="1348978"/>
          </a:xfrm>
          <a:prstGeom prst="rect">
            <a:avLst/>
          </a:prstGeom>
          <a:noFill/>
          <a:ln w="9525" algn="ctr">
            <a:solidFill>
              <a:srgbClr val="B4B4B4"/>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ＭＳ Ｐゴシック" pitchFamily="50" charset="-128"/>
              <a:cs typeface="+mn-cs"/>
            </a:endParaRPr>
          </a:p>
        </p:txBody>
      </p:sp>
      <p:sp>
        <p:nvSpPr>
          <p:cNvPr id="786445" name="Text Box 13"/>
          <p:cNvSpPr txBox="1">
            <a:spLocks noChangeArrowheads="1"/>
          </p:cNvSpPr>
          <p:nvPr/>
        </p:nvSpPr>
        <p:spPr bwMode="auto">
          <a:xfrm>
            <a:off x="2843213" y="2607469"/>
            <a:ext cx="472308" cy="324801"/>
          </a:xfrm>
          <a:prstGeom prst="rect">
            <a:avLst/>
          </a:prstGeom>
          <a:noFill/>
          <a:ln w="9525" algn="ctr">
            <a:noFill/>
            <a:miter lim="800000"/>
            <a:headEnd/>
            <a:tailEnd/>
          </a:ln>
        </p:spPr>
        <p:txBody>
          <a:bodyPr wrap="none" lIns="67500" tIns="35100" rIns="67500" bIns="35100">
            <a:spAutoFit/>
          </a:bodyPr>
          <a:lstStyle/>
          <a:p>
            <a:pPr marL="129779" indent="-129779" defTabSz="685800">
              <a:buClrTx/>
              <a:buFontTx/>
              <a:buChar char="•"/>
            </a:pPr>
            <a:r>
              <a:rPr lang="en-US" altLang="ja-JP" sz="825" kern="1200" dirty="0">
                <a:solidFill>
                  <a:srgbClr val="313131"/>
                </a:solidFill>
                <a:ea typeface="ＭＳ Ｐゴシック" charset="-128"/>
                <a:cs typeface="+mn-cs"/>
              </a:rPr>
              <a:t>Text</a:t>
            </a:r>
          </a:p>
          <a:p>
            <a:pPr marL="129779" indent="-129779" defTabSz="685800">
              <a:buClrTx/>
              <a:buFontTx/>
              <a:buChar char="•"/>
            </a:pPr>
            <a:r>
              <a:rPr lang="en-US" altLang="ja-JP" sz="825" kern="1200" dirty="0">
                <a:solidFill>
                  <a:srgbClr val="313131"/>
                </a:solidFill>
                <a:ea typeface="ＭＳ Ｐゴシック" charset="-128"/>
                <a:cs typeface="+mn-cs"/>
              </a:rPr>
              <a:t>Text</a:t>
            </a:r>
          </a:p>
        </p:txBody>
      </p:sp>
      <p:sp>
        <p:nvSpPr>
          <p:cNvPr id="15" name="Line 14"/>
          <p:cNvSpPr>
            <a:spLocks noChangeShapeType="1"/>
          </p:cNvSpPr>
          <p:nvPr/>
        </p:nvSpPr>
        <p:spPr bwMode="auto">
          <a:xfrm>
            <a:off x="2311004" y="2803922"/>
            <a:ext cx="200025" cy="0"/>
          </a:xfrm>
          <a:prstGeom prst="line">
            <a:avLst/>
          </a:prstGeom>
          <a:noFill/>
          <a:ln w="9525">
            <a:solidFill>
              <a:schemeClr val="accent1"/>
            </a:solidFill>
            <a:round/>
            <a:headEnd/>
            <a:tailEnd type="triangle" w="med" len="med"/>
          </a:ln>
        </p:spPr>
        <p:txBody>
          <a:bodyPr lIns="67500" tIns="35100" rIns="67500" bIns="35100" anchor="ctr"/>
          <a:lstStyle/>
          <a:p>
            <a:pPr defTabSz="685800">
              <a:buClrTx/>
              <a:defRPr/>
            </a:pPr>
            <a:endParaRPr lang="en-US" sz="900" kern="1200" dirty="0">
              <a:solidFill>
                <a:srgbClr val="313131"/>
              </a:solidFill>
              <a:ea typeface="+mn-ea"/>
              <a:cs typeface="+mn-cs"/>
            </a:endParaRPr>
          </a:p>
        </p:txBody>
      </p:sp>
      <p:sp>
        <p:nvSpPr>
          <p:cNvPr id="786447" name="Rectangle 15"/>
          <p:cNvSpPr>
            <a:spLocks noChangeArrowheads="1"/>
          </p:cNvSpPr>
          <p:nvPr/>
        </p:nvSpPr>
        <p:spPr bwMode="auto">
          <a:xfrm>
            <a:off x="2344341" y="2038350"/>
            <a:ext cx="444083" cy="126958"/>
          </a:xfrm>
          <a:prstGeom prst="rect">
            <a:avLst/>
          </a:prstGeom>
          <a:noFill/>
          <a:ln w="9525">
            <a:noFill/>
            <a:miter lim="800000"/>
            <a:headEnd/>
            <a:tailEnd/>
          </a:ln>
        </p:spPr>
        <p:txBody>
          <a:bodyPr wrap="none" lIns="54000" tIns="0" rIns="54000" bIns="0">
            <a:spAutoFit/>
          </a:bodyPr>
          <a:lstStyle/>
          <a:p>
            <a:pPr defTabSz="685800">
              <a:buClrTx/>
            </a:pPr>
            <a:r>
              <a:rPr lang="en-US" altLang="ja-JP" sz="825" kern="1200">
                <a:solidFill>
                  <a:srgbClr val="313131"/>
                </a:solidFill>
                <a:ea typeface="ＭＳ Ｐゴシック" charset="-128"/>
                <a:cs typeface="+mn-cs"/>
              </a:rPr>
              <a:t>Activity</a:t>
            </a:r>
          </a:p>
        </p:txBody>
      </p:sp>
      <p:sp>
        <p:nvSpPr>
          <p:cNvPr id="786448" name="Rectangle 16"/>
          <p:cNvSpPr>
            <a:spLocks noChangeArrowheads="1"/>
          </p:cNvSpPr>
          <p:nvPr/>
        </p:nvSpPr>
        <p:spPr bwMode="auto">
          <a:xfrm>
            <a:off x="2344341" y="2221706"/>
            <a:ext cx="444083" cy="126958"/>
          </a:xfrm>
          <a:prstGeom prst="rect">
            <a:avLst/>
          </a:prstGeom>
          <a:noFill/>
          <a:ln w="9525">
            <a:noFill/>
            <a:miter lim="800000"/>
            <a:headEnd/>
            <a:tailEnd/>
          </a:ln>
        </p:spPr>
        <p:txBody>
          <a:bodyPr wrap="none" lIns="54000" tIns="0" rIns="54000" bIns="0">
            <a:spAutoFit/>
          </a:bodyPr>
          <a:lstStyle/>
          <a:p>
            <a:pPr defTabSz="685800">
              <a:buClrTx/>
            </a:pPr>
            <a:r>
              <a:rPr lang="en-US" altLang="ja-JP" sz="825" kern="1200">
                <a:solidFill>
                  <a:srgbClr val="313131"/>
                </a:solidFill>
                <a:ea typeface="ＭＳ Ｐゴシック" charset="-128"/>
                <a:cs typeface="+mn-cs"/>
              </a:rPr>
              <a:t>Activity</a:t>
            </a:r>
          </a:p>
        </p:txBody>
      </p:sp>
      <p:sp>
        <p:nvSpPr>
          <p:cNvPr id="786449" name="Rectangle 17"/>
          <p:cNvSpPr>
            <a:spLocks noChangeArrowheads="1"/>
          </p:cNvSpPr>
          <p:nvPr/>
        </p:nvSpPr>
        <p:spPr bwMode="auto">
          <a:xfrm>
            <a:off x="2344341" y="2406253"/>
            <a:ext cx="444083" cy="126958"/>
          </a:xfrm>
          <a:prstGeom prst="rect">
            <a:avLst/>
          </a:prstGeom>
          <a:noFill/>
          <a:ln w="9525">
            <a:noFill/>
            <a:miter lim="800000"/>
            <a:headEnd/>
            <a:tailEnd/>
          </a:ln>
        </p:spPr>
        <p:txBody>
          <a:bodyPr wrap="none" lIns="54000" tIns="0" rIns="54000" bIns="0">
            <a:spAutoFit/>
          </a:bodyPr>
          <a:lstStyle/>
          <a:p>
            <a:pPr defTabSz="685800">
              <a:buClrTx/>
            </a:pPr>
            <a:r>
              <a:rPr lang="en-US" altLang="ja-JP" sz="825" kern="1200">
                <a:solidFill>
                  <a:srgbClr val="313131"/>
                </a:solidFill>
                <a:ea typeface="ＭＳ Ｐゴシック" charset="-128"/>
                <a:cs typeface="+mn-cs"/>
              </a:rPr>
              <a:t>Activity</a:t>
            </a:r>
          </a:p>
        </p:txBody>
      </p:sp>
      <p:sp>
        <p:nvSpPr>
          <p:cNvPr id="19" name="Rectangle 18"/>
          <p:cNvSpPr>
            <a:spLocks noChangeArrowheads="1"/>
          </p:cNvSpPr>
          <p:nvPr/>
        </p:nvSpPr>
        <p:spPr bwMode="auto">
          <a:xfrm>
            <a:off x="2988469" y="2416969"/>
            <a:ext cx="219075" cy="117872"/>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786451" name="Rectangle 19"/>
          <p:cNvSpPr>
            <a:spLocks noChangeArrowheads="1"/>
          </p:cNvSpPr>
          <p:nvPr/>
        </p:nvSpPr>
        <p:spPr bwMode="auto">
          <a:xfrm>
            <a:off x="2344341" y="1671637"/>
            <a:ext cx="444083" cy="126958"/>
          </a:xfrm>
          <a:prstGeom prst="rect">
            <a:avLst/>
          </a:prstGeom>
          <a:noFill/>
          <a:ln w="9525">
            <a:noFill/>
            <a:miter lim="800000"/>
            <a:headEnd/>
            <a:tailEnd/>
          </a:ln>
        </p:spPr>
        <p:txBody>
          <a:bodyPr wrap="none" lIns="54000" tIns="0" rIns="54000" bIns="0">
            <a:spAutoFit/>
          </a:bodyPr>
          <a:lstStyle/>
          <a:p>
            <a:pPr defTabSz="685800">
              <a:buClrTx/>
            </a:pPr>
            <a:r>
              <a:rPr lang="en-US" altLang="ja-JP" sz="825" kern="1200" dirty="0">
                <a:solidFill>
                  <a:srgbClr val="313131"/>
                </a:solidFill>
                <a:ea typeface="ＭＳ Ｐゴシック" charset="-128"/>
                <a:cs typeface="+mn-cs"/>
              </a:rPr>
              <a:t>Activity</a:t>
            </a:r>
          </a:p>
        </p:txBody>
      </p:sp>
      <p:sp>
        <p:nvSpPr>
          <p:cNvPr id="21" name="Rectangle 20"/>
          <p:cNvSpPr>
            <a:spLocks noChangeArrowheads="1"/>
          </p:cNvSpPr>
          <p:nvPr/>
        </p:nvSpPr>
        <p:spPr bwMode="auto">
          <a:xfrm>
            <a:off x="2988469" y="1682354"/>
            <a:ext cx="219075"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22" name="Rectangle 21"/>
          <p:cNvSpPr>
            <a:spLocks noChangeArrowheads="1"/>
          </p:cNvSpPr>
          <p:nvPr/>
        </p:nvSpPr>
        <p:spPr bwMode="auto">
          <a:xfrm>
            <a:off x="3338513" y="1865710"/>
            <a:ext cx="217885"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23" name="Rectangle 22"/>
          <p:cNvSpPr>
            <a:spLocks noChangeArrowheads="1"/>
          </p:cNvSpPr>
          <p:nvPr/>
        </p:nvSpPr>
        <p:spPr bwMode="auto">
          <a:xfrm>
            <a:off x="3338513" y="2049067"/>
            <a:ext cx="217885"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24" name="Rectangle 23"/>
          <p:cNvSpPr>
            <a:spLocks noChangeArrowheads="1"/>
          </p:cNvSpPr>
          <p:nvPr/>
        </p:nvSpPr>
        <p:spPr bwMode="auto">
          <a:xfrm>
            <a:off x="3338513" y="2232422"/>
            <a:ext cx="217885" cy="117872"/>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25" name="Rectangle 24"/>
          <p:cNvSpPr>
            <a:spLocks noChangeArrowheads="1"/>
          </p:cNvSpPr>
          <p:nvPr/>
        </p:nvSpPr>
        <p:spPr bwMode="auto">
          <a:xfrm>
            <a:off x="3338513" y="2416969"/>
            <a:ext cx="217885" cy="117872"/>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26" name="Rectangle 25"/>
          <p:cNvSpPr>
            <a:spLocks noChangeArrowheads="1"/>
          </p:cNvSpPr>
          <p:nvPr/>
        </p:nvSpPr>
        <p:spPr bwMode="auto">
          <a:xfrm>
            <a:off x="3338513" y="1682354"/>
            <a:ext cx="217885"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27" name="Rectangle 26"/>
          <p:cNvSpPr>
            <a:spLocks noChangeArrowheads="1"/>
          </p:cNvSpPr>
          <p:nvPr/>
        </p:nvSpPr>
        <p:spPr bwMode="auto">
          <a:xfrm>
            <a:off x="3686175" y="1865710"/>
            <a:ext cx="220266"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28" name="Rectangle 27"/>
          <p:cNvSpPr>
            <a:spLocks noChangeArrowheads="1"/>
          </p:cNvSpPr>
          <p:nvPr/>
        </p:nvSpPr>
        <p:spPr bwMode="auto">
          <a:xfrm>
            <a:off x="3686175" y="2049067"/>
            <a:ext cx="220266"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29" name="Rectangle 28"/>
          <p:cNvSpPr>
            <a:spLocks noChangeArrowheads="1"/>
          </p:cNvSpPr>
          <p:nvPr/>
        </p:nvSpPr>
        <p:spPr bwMode="auto">
          <a:xfrm>
            <a:off x="3686175" y="2232422"/>
            <a:ext cx="220266" cy="117872"/>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30" name="Rectangle 29"/>
          <p:cNvSpPr>
            <a:spLocks noChangeArrowheads="1"/>
          </p:cNvSpPr>
          <p:nvPr/>
        </p:nvSpPr>
        <p:spPr bwMode="auto">
          <a:xfrm>
            <a:off x="3686175" y="2416969"/>
            <a:ext cx="220266" cy="117872"/>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31" name="Rectangle 30"/>
          <p:cNvSpPr>
            <a:spLocks noChangeArrowheads="1"/>
          </p:cNvSpPr>
          <p:nvPr/>
        </p:nvSpPr>
        <p:spPr bwMode="auto">
          <a:xfrm>
            <a:off x="3686175" y="1682354"/>
            <a:ext cx="220266"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32" name="Rectangle 31"/>
          <p:cNvSpPr>
            <a:spLocks noChangeArrowheads="1"/>
          </p:cNvSpPr>
          <p:nvPr/>
        </p:nvSpPr>
        <p:spPr bwMode="auto">
          <a:xfrm>
            <a:off x="4036219" y="1865710"/>
            <a:ext cx="219075"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33" name="Rectangle 32"/>
          <p:cNvSpPr>
            <a:spLocks noChangeArrowheads="1"/>
          </p:cNvSpPr>
          <p:nvPr/>
        </p:nvSpPr>
        <p:spPr bwMode="auto">
          <a:xfrm>
            <a:off x="4036219" y="2049067"/>
            <a:ext cx="219075"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34" name="Rectangle 33"/>
          <p:cNvSpPr>
            <a:spLocks noChangeArrowheads="1"/>
          </p:cNvSpPr>
          <p:nvPr/>
        </p:nvSpPr>
        <p:spPr bwMode="auto">
          <a:xfrm>
            <a:off x="4036219" y="2232422"/>
            <a:ext cx="219075" cy="117872"/>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35" name="Rectangle 34"/>
          <p:cNvSpPr>
            <a:spLocks noChangeArrowheads="1"/>
          </p:cNvSpPr>
          <p:nvPr/>
        </p:nvSpPr>
        <p:spPr bwMode="auto">
          <a:xfrm>
            <a:off x="4036219" y="2416969"/>
            <a:ext cx="219075" cy="117872"/>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36" name="Rectangle 35"/>
          <p:cNvSpPr>
            <a:spLocks noChangeArrowheads="1"/>
          </p:cNvSpPr>
          <p:nvPr/>
        </p:nvSpPr>
        <p:spPr bwMode="auto">
          <a:xfrm>
            <a:off x="4036219" y="1682354"/>
            <a:ext cx="219075"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786468" name="Rectangle 36"/>
          <p:cNvSpPr>
            <a:spLocks noChangeArrowheads="1"/>
          </p:cNvSpPr>
          <p:nvPr/>
        </p:nvSpPr>
        <p:spPr bwMode="auto">
          <a:xfrm>
            <a:off x="5185172" y="1854994"/>
            <a:ext cx="444083" cy="126958"/>
          </a:xfrm>
          <a:prstGeom prst="rect">
            <a:avLst/>
          </a:prstGeom>
          <a:noFill/>
          <a:ln w="9525">
            <a:noFill/>
            <a:miter lim="800000"/>
            <a:headEnd/>
            <a:tailEnd/>
          </a:ln>
        </p:spPr>
        <p:txBody>
          <a:bodyPr wrap="none" lIns="54000" tIns="0" rIns="54000" bIns="0">
            <a:spAutoFit/>
          </a:bodyPr>
          <a:lstStyle/>
          <a:p>
            <a:pPr defTabSz="685800">
              <a:buClrTx/>
            </a:pPr>
            <a:r>
              <a:rPr lang="en-US" altLang="ja-JP" sz="825" kern="1200">
                <a:solidFill>
                  <a:srgbClr val="313131"/>
                </a:solidFill>
                <a:ea typeface="ＭＳ Ｐゴシック" charset="-128"/>
                <a:cs typeface="+mn-cs"/>
              </a:rPr>
              <a:t>Activity</a:t>
            </a:r>
          </a:p>
        </p:txBody>
      </p:sp>
      <p:sp>
        <p:nvSpPr>
          <p:cNvPr id="38" name="Rectangle 37"/>
          <p:cNvSpPr>
            <a:spLocks noChangeArrowheads="1"/>
          </p:cNvSpPr>
          <p:nvPr/>
        </p:nvSpPr>
        <p:spPr bwMode="auto">
          <a:xfrm>
            <a:off x="5830491" y="1865710"/>
            <a:ext cx="219075"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39" name="Rectangle 38"/>
          <p:cNvSpPr>
            <a:spLocks noChangeArrowheads="1"/>
          </p:cNvSpPr>
          <p:nvPr/>
        </p:nvSpPr>
        <p:spPr bwMode="auto">
          <a:xfrm>
            <a:off x="5830491" y="2049067"/>
            <a:ext cx="219075"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40" name="Rectangle 39"/>
          <p:cNvSpPr>
            <a:spLocks noChangeArrowheads="1"/>
          </p:cNvSpPr>
          <p:nvPr/>
        </p:nvSpPr>
        <p:spPr bwMode="auto">
          <a:xfrm>
            <a:off x="5830491" y="2232422"/>
            <a:ext cx="219075" cy="117872"/>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786472" name="Text Box 40"/>
          <p:cNvSpPr txBox="1">
            <a:spLocks noChangeArrowheads="1"/>
          </p:cNvSpPr>
          <p:nvPr/>
        </p:nvSpPr>
        <p:spPr bwMode="auto">
          <a:xfrm>
            <a:off x="5716531" y="1238250"/>
            <a:ext cx="1154226" cy="324801"/>
          </a:xfrm>
          <a:prstGeom prst="rect">
            <a:avLst/>
          </a:prstGeom>
          <a:noFill/>
          <a:ln w="9525" algn="ctr">
            <a:noFill/>
            <a:miter lim="800000"/>
            <a:headEnd/>
            <a:tailEnd/>
          </a:ln>
        </p:spPr>
        <p:txBody>
          <a:bodyPr wrap="none" lIns="67500" tIns="35100" rIns="67500" bIns="35100">
            <a:spAutoFit/>
          </a:bodyPr>
          <a:lstStyle/>
          <a:p>
            <a:pPr algn="ctr" defTabSz="685800">
              <a:buClrTx/>
            </a:pPr>
            <a:r>
              <a:rPr lang="en-US" altLang="ja-JP" sz="825" b="1" kern="1200" dirty="0">
                <a:solidFill>
                  <a:srgbClr val="313131"/>
                </a:solidFill>
                <a:ea typeface="ＭＳ Ｐゴシック" charset="-128"/>
                <a:cs typeface="+mn-cs"/>
              </a:rPr>
              <a:t>Competitive group</a:t>
            </a:r>
          </a:p>
          <a:p>
            <a:pPr algn="ctr" defTabSz="685800">
              <a:buClrTx/>
            </a:pPr>
            <a:r>
              <a:rPr lang="en-US" altLang="ja-JP" sz="825" b="1" kern="1200" dirty="0">
                <a:solidFill>
                  <a:srgbClr val="313131"/>
                </a:solidFill>
                <a:ea typeface="ＭＳ Ｐゴシック" charset="-128"/>
                <a:cs typeface="+mn-cs"/>
              </a:rPr>
              <a:t>(sample companies)</a:t>
            </a:r>
          </a:p>
        </p:txBody>
      </p:sp>
      <p:sp>
        <p:nvSpPr>
          <p:cNvPr id="42" name="Rectangle 41"/>
          <p:cNvSpPr>
            <a:spLocks noChangeArrowheads="1"/>
          </p:cNvSpPr>
          <p:nvPr/>
        </p:nvSpPr>
        <p:spPr bwMode="auto">
          <a:xfrm>
            <a:off x="5185172" y="1256110"/>
            <a:ext cx="2190750" cy="1348978"/>
          </a:xfrm>
          <a:prstGeom prst="rect">
            <a:avLst/>
          </a:prstGeom>
          <a:noFill/>
          <a:ln w="9525" algn="ctr">
            <a:solidFill>
              <a:srgbClr val="B4B4B4"/>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ＭＳ Ｐゴシック" pitchFamily="50" charset="-128"/>
              <a:cs typeface="+mn-cs"/>
            </a:endParaRPr>
          </a:p>
        </p:txBody>
      </p:sp>
      <p:sp>
        <p:nvSpPr>
          <p:cNvPr id="786474" name="Text Box 42"/>
          <p:cNvSpPr txBox="1">
            <a:spLocks noChangeArrowheads="1"/>
          </p:cNvSpPr>
          <p:nvPr/>
        </p:nvSpPr>
        <p:spPr bwMode="auto">
          <a:xfrm>
            <a:off x="5684044" y="2607469"/>
            <a:ext cx="472308" cy="324801"/>
          </a:xfrm>
          <a:prstGeom prst="rect">
            <a:avLst/>
          </a:prstGeom>
          <a:noFill/>
          <a:ln w="9525" algn="ctr">
            <a:noFill/>
            <a:miter lim="800000"/>
            <a:headEnd/>
            <a:tailEnd/>
          </a:ln>
        </p:spPr>
        <p:txBody>
          <a:bodyPr wrap="none" lIns="67500" tIns="35100" rIns="67500" bIns="35100">
            <a:spAutoFit/>
          </a:bodyPr>
          <a:lstStyle/>
          <a:p>
            <a:pPr marL="129779" indent="-129779" defTabSz="685800">
              <a:buClrTx/>
              <a:buFontTx/>
              <a:buChar char="•"/>
            </a:pPr>
            <a:r>
              <a:rPr lang="en-US" altLang="ja-JP" sz="825" kern="1200">
                <a:solidFill>
                  <a:srgbClr val="313131"/>
                </a:solidFill>
                <a:ea typeface="ＭＳ Ｐゴシック" charset="-128"/>
                <a:cs typeface="+mn-cs"/>
              </a:rPr>
              <a:t>Text</a:t>
            </a:r>
          </a:p>
          <a:p>
            <a:pPr marL="129779" indent="-129779" defTabSz="685800">
              <a:buClrTx/>
              <a:buFontTx/>
              <a:buChar char="•"/>
            </a:pPr>
            <a:r>
              <a:rPr lang="en-US" altLang="ja-JP" sz="825" kern="1200">
                <a:solidFill>
                  <a:srgbClr val="313131"/>
                </a:solidFill>
                <a:ea typeface="ＭＳ Ｐゴシック" charset="-128"/>
                <a:cs typeface="+mn-cs"/>
              </a:rPr>
              <a:t>Text</a:t>
            </a:r>
          </a:p>
        </p:txBody>
      </p:sp>
      <p:sp>
        <p:nvSpPr>
          <p:cNvPr id="786475" name="Rectangle 43"/>
          <p:cNvSpPr>
            <a:spLocks noChangeArrowheads="1"/>
          </p:cNvSpPr>
          <p:nvPr/>
        </p:nvSpPr>
        <p:spPr bwMode="auto">
          <a:xfrm>
            <a:off x="5185172" y="2038350"/>
            <a:ext cx="444083" cy="126958"/>
          </a:xfrm>
          <a:prstGeom prst="rect">
            <a:avLst/>
          </a:prstGeom>
          <a:noFill/>
          <a:ln w="9525">
            <a:noFill/>
            <a:miter lim="800000"/>
            <a:headEnd/>
            <a:tailEnd/>
          </a:ln>
        </p:spPr>
        <p:txBody>
          <a:bodyPr wrap="none" lIns="54000" tIns="0" rIns="54000" bIns="0">
            <a:spAutoFit/>
          </a:bodyPr>
          <a:lstStyle/>
          <a:p>
            <a:pPr defTabSz="685800">
              <a:buClrTx/>
            </a:pPr>
            <a:r>
              <a:rPr lang="en-US" altLang="ja-JP" sz="825" kern="1200">
                <a:solidFill>
                  <a:srgbClr val="313131"/>
                </a:solidFill>
                <a:ea typeface="ＭＳ Ｐゴシック" charset="-128"/>
                <a:cs typeface="+mn-cs"/>
              </a:rPr>
              <a:t>Activity</a:t>
            </a:r>
          </a:p>
        </p:txBody>
      </p:sp>
      <p:sp>
        <p:nvSpPr>
          <p:cNvPr id="786476" name="Rectangle 44"/>
          <p:cNvSpPr>
            <a:spLocks noChangeArrowheads="1"/>
          </p:cNvSpPr>
          <p:nvPr/>
        </p:nvSpPr>
        <p:spPr bwMode="auto">
          <a:xfrm>
            <a:off x="5185172" y="2221706"/>
            <a:ext cx="444083" cy="126958"/>
          </a:xfrm>
          <a:prstGeom prst="rect">
            <a:avLst/>
          </a:prstGeom>
          <a:noFill/>
          <a:ln w="9525">
            <a:noFill/>
            <a:miter lim="800000"/>
            <a:headEnd/>
            <a:tailEnd/>
          </a:ln>
        </p:spPr>
        <p:txBody>
          <a:bodyPr wrap="none" lIns="54000" tIns="0" rIns="54000" bIns="0">
            <a:spAutoFit/>
          </a:bodyPr>
          <a:lstStyle/>
          <a:p>
            <a:pPr defTabSz="685800">
              <a:buClrTx/>
            </a:pPr>
            <a:r>
              <a:rPr lang="en-US" altLang="ja-JP" sz="825" kern="1200">
                <a:solidFill>
                  <a:srgbClr val="313131"/>
                </a:solidFill>
                <a:ea typeface="ＭＳ Ｐゴシック" charset="-128"/>
                <a:cs typeface="+mn-cs"/>
              </a:rPr>
              <a:t>Activity</a:t>
            </a:r>
          </a:p>
        </p:txBody>
      </p:sp>
      <p:sp>
        <p:nvSpPr>
          <p:cNvPr id="786477" name="Rectangle 45"/>
          <p:cNvSpPr>
            <a:spLocks noChangeArrowheads="1"/>
          </p:cNvSpPr>
          <p:nvPr/>
        </p:nvSpPr>
        <p:spPr bwMode="auto">
          <a:xfrm>
            <a:off x="5185172" y="2406253"/>
            <a:ext cx="444083" cy="126958"/>
          </a:xfrm>
          <a:prstGeom prst="rect">
            <a:avLst/>
          </a:prstGeom>
          <a:noFill/>
          <a:ln w="9525">
            <a:noFill/>
            <a:miter lim="800000"/>
            <a:headEnd/>
            <a:tailEnd/>
          </a:ln>
        </p:spPr>
        <p:txBody>
          <a:bodyPr wrap="none" lIns="54000" tIns="0" rIns="54000" bIns="0">
            <a:spAutoFit/>
          </a:bodyPr>
          <a:lstStyle/>
          <a:p>
            <a:pPr defTabSz="685800">
              <a:buClrTx/>
            </a:pPr>
            <a:r>
              <a:rPr lang="en-US" altLang="ja-JP" sz="825" kern="1200">
                <a:solidFill>
                  <a:srgbClr val="313131"/>
                </a:solidFill>
                <a:ea typeface="ＭＳ Ｐゴシック" charset="-128"/>
                <a:cs typeface="+mn-cs"/>
              </a:rPr>
              <a:t>Activity</a:t>
            </a:r>
          </a:p>
        </p:txBody>
      </p:sp>
      <p:sp>
        <p:nvSpPr>
          <p:cNvPr id="47" name="Rectangle 46"/>
          <p:cNvSpPr>
            <a:spLocks noChangeArrowheads="1"/>
          </p:cNvSpPr>
          <p:nvPr/>
        </p:nvSpPr>
        <p:spPr bwMode="auto">
          <a:xfrm>
            <a:off x="5830491" y="2416969"/>
            <a:ext cx="219075" cy="117872"/>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786479" name="Rectangle 47"/>
          <p:cNvSpPr>
            <a:spLocks noChangeArrowheads="1"/>
          </p:cNvSpPr>
          <p:nvPr/>
        </p:nvSpPr>
        <p:spPr bwMode="auto">
          <a:xfrm>
            <a:off x="5185172" y="1671637"/>
            <a:ext cx="444083" cy="126958"/>
          </a:xfrm>
          <a:prstGeom prst="rect">
            <a:avLst/>
          </a:prstGeom>
          <a:noFill/>
          <a:ln w="9525">
            <a:noFill/>
            <a:miter lim="800000"/>
            <a:headEnd/>
            <a:tailEnd/>
          </a:ln>
        </p:spPr>
        <p:txBody>
          <a:bodyPr wrap="none" lIns="54000" tIns="0" rIns="54000" bIns="0">
            <a:spAutoFit/>
          </a:bodyPr>
          <a:lstStyle/>
          <a:p>
            <a:pPr defTabSz="685800">
              <a:buClrTx/>
            </a:pPr>
            <a:r>
              <a:rPr lang="en-US" altLang="ja-JP" sz="825" kern="1200">
                <a:solidFill>
                  <a:srgbClr val="313131"/>
                </a:solidFill>
                <a:ea typeface="ＭＳ Ｐゴシック" charset="-128"/>
                <a:cs typeface="+mn-cs"/>
              </a:rPr>
              <a:t>Activity</a:t>
            </a:r>
          </a:p>
        </p:txBody>
      </p:sp>
      <p:sp>
        <p:nvSpPr>
          <p:cNvPr id="49" name="Rectangle 48"/>
          <p:cNvSpPr>
            <a:spLocks noChangeArrowheads="1"/>
          </p:cNvSpPr>
          <p:nvPr/>
        </p:nvSpPr>
        <p:spPr bwMode="auto">
          <a:xfrm>
            <a:off x="5830491" y="1682354"/>
            <a:ext cx="219075"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50" name="Rectangle 49"/>
          <p:cNvSpPr>
            <a:spLocks noChangeArrowheads="1"/>
          </p:cNvSpPr>
          <p:nvPr/>
        </p:nvSpPr>
        <p:spPr bwMode="auto">
          <a:xfrm>
            <a:off x="6179344" y="1865710"/>
            <a:ext cx="220266"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51" name="Rectangle 50"/>
          <p:cNvSpPr>
            <a:spLocks noChangeArrowheads="1"/>
          </p:cNvSpPr>
          <p:nvPr/>
        </p:nvSpPr>
        <p:spPr bwMode="auto">
          <a:xfrm>
            <a:off x="6179344" y="2049067"/>
            <a:ext cx="220266"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52" name="Rectangle 51"/>
          <p:cNvSpPr>
            <a:spLocks noChangeArrowheads="1"/>
          </p:cNvSpPr>
          <p:nvPr/>
        </p:nvSpPr>
        <p:spPr bwMode="auto">
          <a:xfrm>
            <a:off x="6179344" y="2232422"/>
            <a:ext cx="220266" cy="117872"/>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53" name="Rectangle 52"/>
          <p:cNvSpPr>
            <a:spLocks noChangeArrowheads="1"/>
          </p:cNvSpPr>
          <p:nvPr/>
        </p:nvSpPr>
        <p:spPr bwMode="auto">
          <a:xfrm>
            <a:off x="6179344" y="2416969"/>
            <a:ext cx="220266" cy="117872"/>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54" name="Rectangle 53"/>
          <p:cNvSpPr>
            <a:spLocks noChangeArrowheads="1"/>
          </p:cNvSpPr>
          <p:nvPr/>
        </p:nvSpPr>
        <p:spPr bwMode="auto">
          <a:xfrm>
            <a:off x="6179344" y="1682354"/>
            <a:ext cx="220266"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55" name="Rectangle 54"/>
          <p:cNvSpPr>
            <a:spLocks noChangeArrowheads="1"/>
          </p:cNvSpPr>
          <p:nvPr/>
        </p:nvSpPr>
        <p:spPr bwMode="auto">
          <a:xfrm>
            <a:off x="6528197" y="1865710"/>
            <a:ext cx="219075"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56" name="Rectangle 55"/>
          <p:cNvSpPr>
            <a:spLocks noChangeArrowheads="1"/>
          </p:cNvSpPr>
          <p:nvPr/>
        </p:nvSpPr>
        <p:spPr bwMode="auto">
          <a:xfrm>
            <a:off x="6528197" y="2049067"/>
            <a:ext cx="219075"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57" name="Rectangle 56"/>
          <p:cNvSpPr>
            <a:spLocks noChangeArrowheads="1"/>
          </p:cNvSpPr>
          <p:nvPr/>
        </p:nvSpPr>
        <p:spPr bwMode="auto">
          <a:xfrm>
            <a:off x="6528197" y="2232422"/>
            <a:ext cx="219075" cy="117872"/>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58" name="Rectangle 57"/>
          <p:cNvSpPr>
            <a:spLocks noChangeArrowheads="1"/>
          </p:cNvSpPr>
          <p:nvPr/>
        </p:nvSpPr>
        <p:spPr bwMode="auto">
          <a:xfrm>
            <a:off x="6528197" y="2416969"/>
            <a:ext cx="219075" cy="117872"/>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59" name="Rectangle 58"/>
          <p:cNvSpPr>
            <a:spLocks noChangeArrowheads="1"/>
          </p:cNvSpPr>
          <p:nvPr/>
        </p:nvSpPr>
        <p:spPr bwMode="auto">
          <a:xfrm>
            <a:off x="6528197" y="1682354"/>
            <a:ext cx="219075"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60" name="Rectangle 59"/>
          <p:cNvSpPr>
            <a:spLocks noChangeArrowheads="1"/>
          </p:cNvSpPr>
          <p:nvPr/>
        </p:nvSpPr>
        <p:spPr bwMode="auto">
          <a:xfrm>
            <a:off x="6878241" y="1865710"/>
            <a:ext cx="217884"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61" name="Rectangle 60"/>
          <p:cNvSpPr>
            <a:spLocks noChangeArrowheads="1"/>
          </p:cNvSpPr>
          <p:nvPr/>
        </p:nvSpPr>
        <p:spPr bwMode="auto">
          <a:xfrm>
            <a:off x="6878241" y="2049067"/>
            <a:ext cx="217884"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62" name="Rectangle 61"/>
          <p:cNvSpPr>
            <a:spLocks noChangeArrowheads="1"/>
          </p:cNvSpPr>
          <p:nvPr/>
        </p:nvSpPr>
        <p:spPr bwMode="auto">
          <a:xfrm>
            <a:off x="6878241" y="2232422"/>
            <a:ext cx="217884" cy="117872"/>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63" name="Rectangle 62"/>
          <p:cNvSpPr>
            <a:spLocks noChangeArrowheads="1"/>
          </p:cNvSpPr>
          <p:nvPr/>
        </p:nvSpPr>
        <p:spPr bwMode="auto">
          <a:xfrm>
            <a:off x="6878241" y="2416969"/>
            <a:ext cx="217884" cy="117872"/>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64" name="Rectangle 63"/>
          <p:cNvSpPr>
            <a:spLocks noChangeArrowheads="1"/>
          </p:cNvSpPr>
          <p:nvPr/>
        </p:nvSpPr>
        <p:spPr bwMode="auto">
          <a:xfrm>
            <a:off x="6878241" y="1682354"/>
            <a:ext cx="217884"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786496" name="Rectangle 64"/>
          <p:cNvSpPr>
            <a:spLocks noChangeArrowheads="1"/>
          </p:cNvSpPr>
          <p:nvPr/>
        </p:nvSpPr>
        <p:spPr bwMode="auto">
          <a:xfrm>
            <a:off x="2344341" y="3611166"/>
            <a:ext cx="444083" cy="126958"/>
          </a:xfrm>
          <a:prstGeom prst="rect">
            <a:avLst/>
          </a:prstGeom>
          <a:noFill/>
          <a:ln w="9525">
            <a:noFill/>
            <a:miter lim="800000"/>
            <a:headEnd/>
            <a:tailEnd/>
          </a:ln>
        </p:spPr>
        <p:txBody>
          <a:bodyPr wrap="none" lIns="54000" tIns="0" rIns="54000" bIns="0">
            <a:spAutoFit/>
          </a:bodyPr>
          <a:lstStyle/>
          <a:p>
            <a:pPr defTabSz="685800">
              <a:buClrTx/>
            </a:pPr>
            <a:r>
              <a:rPr lang="en-US" altLang="ja-JP" sz="825" kern="1200">
                <a:solidFill>
                  <a:srgbClr val="313131"/>
                </a:solidFill>
                <a:ea typeface="ＭＳ Ｐゴシック" charset="-128"/>
                <a:cs typeface="+mn-cs"/>
              </a:rPr>
              <a:t>Activity</a:t>
            </a:r>
          </a:p>
        </p:txBody>
      </p:sp>
      <p:sp>
        <p:nvSpPr>
          <p:cNvPr id="66" name="Rectangle 65"/>
          <p:cNvSpPr>
            <a:spLocks noChangeArrowheads="1"/>
          </p:cNvSpPr>
          <p:nvPr/>
        </p:nvSpPr>
        <p:spPr bwMode="auto">
          <a:xfrm>
            <a:off x="2988469" y="3621882"/>
            <a:ext cx="219075"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67" name="Rectangle 66"/>
          <p:cNvSpPr>
            <a:spLocks noChangeArrowheads="1"/>
          </p:cNvSpPr>
          <p:nvPr/>
        </p:nvSpPr>
        <p:spPr bwMode="auto">
          <a:xfrm>
            <a:off x="2988469" y="3805238"/>
            <a:ext cx="219075"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68" name="Rectangle 67"/>
          <p:cNvSpPr>
            <a:spLocks noChangeArrowheads="1"/>
          </p:cNvSpPr>
          <p:nvPr/>
        </p:nvSpPr>
        <p:spPr bwMode="auto">
          <a:xfrm>
            <a:off x="2988469" y="3988594"/>
            <a:ext cx="219075" cy="117872"/>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786500" name="Text Box 68"/>
          <p:cNvSpPr txBox="1">
            <a:spLocks noChangeArrowheads="1"/>
          </p:cNvSpPr>
          <p:nvPr/>
        </p:nvSpPr>
        <p:spPr bwMode="auto">
          <a:xfrm>
            <a:off x="2875700" y="2994422"/>
            <a:ext cx="1154226" cy="324801"/>
          </a:xfrm>
          <a:prstGeom prst="rect">
            <a:avLst/>
          </a:prstGeom>
          <a:noFill/>
          <a:ln w="9525" algn="ctr">
            <a:noFill/>
            <a:miter lim="800000"/>
            <a:headEnd/>
            <a:tailEnd/>
          </a:ln>
        </p:spPr>
        <p:txBody>
          <a:bodyPr wrap="none" lIns="67500" tIns="35100" rIns="67500" bIns="35100">
            <a:spAutoFit/>
          </a:bodyPr>
          <a:lstStyle/>
          <a:p>
            <a:pPr algn="ctr" defTabSz="685800">
              <a:buClrTx/>
            </a:pPr>
            <a:r>
              <a:rPr lang="en-US" altLang="ja-JP" sz="825" b="1" kern="1200" dirty="0">
                <a:solidFill>
                  <a:srgbClr val="313131"/>
                </a:solidFill>
                <a:ea typeface="ＭＳ Ｐゴシック" charset="-128"/>
                <a:cs typeface="+mn-cs"/>
              </a:rPr>
              <a:t>Competitive group</a:t>
            </a:r>
          </a:p>
          <a:p>
            <a:pPr algn="ctr" defTabSz="685800">
              <a:buClrTx/>
            </a:pPr>
            <a:r>
              <a:rPr lang="en-US" altLang="ja-JP" sz="825" b="1" kern="1200" dirty="0">
                <a:solidFill>
                  <a:srgbClr val="313131"/>
                </a:solidFill>
                <a:ea typeface="ＭＳ Ｐゴシック" charset="-128"/>
                <a:cs typeface="+mn-cs"/>
              </a:rPr>
              <a:t>(sample companies)</a:t>
            </a:r>
          </a:p>
        </p:txBody>
      </p:sp>
      <p:sp>
        <p:nvSpPr>
          <p:cNvPr id="70" name="Rectangle 69"/>
          <p:cNvSpPr>
            <a:spLocks noChangeArrowheads="1"/>
          </p:cNvSpPr>
          <p:nvPr/>
        </p:nvSpPr>
        <p:spPr bwMode="auto">
          <a:xfrm>
            <a:off x="2344341" y="3012281"/>
            <a:ext cx="2190750" cy="1348979"/>
          </a:xfrm>
          <a:prstGeom prst="rect">
            <a:avLst/>
          </a:prstGeom>
          <a:noFill/>
          <a:ln w="9525" algn="ctr">
            <a:solidFill>
              <a:srgbClr val="B4B4B4"/>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ＭＳ Ｐゴシック" pitchFamily="50" charset="-128"/>
              <a:cs typeface="+mn-cs"/>
            </a:endParaRPr>
          </a:p>
        </p:txBody>
      </p:sp>
      <p:sp>
        <p:nvSpPr>
          <p:cNvPr id="71" name="Line 70"/>
          <p:cNvSpPr>
            <a:spLocks noChangeShapeType="1"/>
          </p:cNvSpPr>
          <p:nvPr/>
        </p:nvSpPr>
        <p:spPr bwMode="auto">
          <a:xfrm>
            <a:off x="2311004" y="4560094"/>
            <a:ext cx="200025" cy="0"/>
          </a:xfrm>
          <a:prstGeom prst="line">
            <a:avLst/>
          </a:prstGeom>
          <a:noFill/>
          <a:ln w="9525">
            <a:solidFill>
              <a:schemeClr val="accent1"/>
            </a:solidFill>
            <a:round/>
            <a:headEnd/>
            <a:tailEnd type="triangle" w="med" len="med"/>
          </a:ln>
        </p:spPr>
        <p:txBody>
          <a:bodyPr lIns="67500" tIns="35100" rIns="67500" bIns="35100" anchor="ctr"/>
          <a:lstStyle/>
          <a:p>
            <a:pPr defTabSz="685800">
              <a:buClrTx/>
              <a:defRPr/>
            </a:pPr>
            <a:endParaRPr lang="en-US" sz="900" kern="1200" dirty="0">
              <a:solidFill>
                <a:srgbClr val="313131"/>
              </a:solidFill>
              <a:ea typeface="+mn-ea"/>
              <a:cs typeface="+mn-cs"/>
            </a:endParaRPr>
          </a:p>
        </p:txBody>
      </p:sp>
      <p:sp>
        <p:nvSpPr>
          <p:cNvPr id="786503" name="Rectangle 71"/>
          <p:cNvSpPr>
            <a:spLocks noChangeArrowheads="1"/>
          </p:cNvSpPr>
          <p:nvPr/>
        </p:nvSpPr>
        <p:spPr bwMode="auto">
          <a:xfrm>
            <a:off x="2344341" y="3794522"/>
            <a:ext cx="444083" cy="126958"/>
          </a:xfrm>
          <a:prstGeom prst="rect">
            <a:avLst/>
          </a:prstGeom>
          <a:noFill/>
          <a:ln w="9525">
            <a:noFill/>
            <a:miter lim="800000"/>
            <a:headEnd/>
            <a:tailEnd/>
          </a:ln>
        </p:spPr>
        <p:txBody>
          <a:bodyPr wrap="none" lIns="54000" tIns="0" rIns="54000" bIns="0">
            <a:spAutoFit/>
          </a:bodyPr>
          <a:lstStyle/>
          <a:p>
            <a:pPr defTabSz="685800">
              <a:buClrTx/>
            </a:pPr>
            <a:r>
              <a:rPr lang="en-US" altLang="ja-JP" sz="825" kern="1200">
                <a:solidFill>
                  <a:srgbClr val="313131"/>
                </a:solidFill>
                <a:ea typeface="ＭＳ Ｐゴシック" charset="-128"/>
                <a:cs typeface="+mn-cs"/>
              </a:rPr>
              <a:t>Activity</a:t>
            </a:r>
          </a:p>
        </p:txBody>
      </p:sp>
      <p:sp>
        <p:nvSpPr>
          <p:cNvPr id="786504" name="Rectangle 72"/>
          <p:cNvSpPr>
            <a:spLocks noChangeArrowheads="1"/>
          </p:cNvSpPr>
          <p:nvPr/>
        </p:nvSpPr>
        <p:spPr bwMode="auto">
          <a:xfrm>
            <a:off x="2344341" y="3977878"/>
            <a:ext cx="444083" cy="126958"/>
          </a:xfrm>
          <a:prstGeom prst="rect">
            <a:avLst/>
          </a:prstGeom>
          <a:noFill/>
          <a:ln w="9525">
            <a:noFill/>
            <a:miter lim="800000"/>
            <a:headEnd/>
            <a:tailEnd/>
          </a:ln>
        </p:spPr>
        <p:txBody>
          <a:bodyPr wrap="none" lIns="54000" tIns="0" rIns="54000" bIns="0">
            <a:spAutoFit/>
          </a:bodyPr>
          <a:lstStyle/>
          <a:p>
            <a:pPr defTabSz="685800">
              <a:buClrTx/>
            </a:pPr>
            <a:r>
              <a:rPr lang="en-US" altLang="ja-JP" sz="825" kern="1200">
                <a:solidFill>
                  <a:srgbClr val="313131"/>
                </a:solidFill>
                <a:ea typeface="ＭＳ Ｐゴシック" charset="-128"/>
                <a:cs typeface="+mn-cs"/>
              </a:rPr>
              <a:t>Activity</a:t>
            </a:r>
          </a:p>
        </p:txBody>
      </p:sp>
      <p:sp>
        <p:nvSpPr>
          <p:cNvPr id="786505" name="Rectangle 73"/>
          <p:cNvSpPr>
            <a:spLocks noChangeArrowheads="1"/>
          </p:cNvSpPr>
          <p:nvPr/>
        </p:nvSpPr>
        <p:spPr bwMode="auto">
          <a:xfrm>
            <a:off x="2344341" y="4162425"/>
            <a:ext cx="444083" cy="126958"/>
          </a:xfrm>
          <a:prstGeom prst="rect">
            <a:avLst/>
          </a:prstGeom>
          <a:noFill/>
          <a:ln w="9525">
            <a:noFill/>
            <a:miter lim="800000"/>
            <a:headEnd/>
            <a:tailEnd/>
          </a:ln>
        </p:spPr>
        <p:txBody>
          <a:bodyPr wrap="none" lIns="54000" tIns="0" rIns="54000" bIns="0">
            <a:spAutoFit/>
          </a:bodyPr>
          <a:lstStyle/>
          <a:p>
            <a:pPr defTabSz="685800">
              <a:buClrTx/>
            </a:pPr>
            <a:r>
              <a:rPr lang="en-US" altLang="ja-JP" sz="825" kern="1200">
                <a:solidFill>
                  <a:srgbClr val="313131"/>
                </a:solidFill>
                <a:ea typeface="ＭＳ Ｐゴシック" charset="-128"/>
                <a:cs typeface="+mn-cs"/>
              </a:rPr>
              <a:t>Activity</a:t>
            </a:r>
          </a:p>
        </p:txBody>
      </p:sp>
      <p:sp>
        <p:nvSpPr>
          <p:cNvPr id="75" name="Rectangle 74"/>
          <p:cNvSpPr>
            <a:spLocks noChangeArrowheads="1"/>
          </p:cNvSpPr>
          <p:nvPr/>
        </p:nvSpPr>
        <p:spPr bwMode="auto">
          <a:xfrm>
            <a:off x="2988469" y="4173141"/>
            <a:ext cx="219075" cy="117872"/>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786507" name="Rectangle 75"/>
          <p:cNvSpPr>
            <a:spLocks noChangeArrowheads="1"/>
          </p:cNvSpPr>
          <p:nvPr/>
        </p:nvSpPr>
        <p:spPr bwMode="auto">
          <a:xfrm>
            <a:off x="2344341" y="3427810"/>
            <a:ext cx="444083" cy="126958"/>
          </a:xfrm>
          <a:prstGeom prst="rect">
            <a:avLst/>
          </a:prstGeom>
          <a:noFill/>
          <a:ln w="9525">
            <a:noFill/>
            <a:miter lim="800000"/>
            <a:headEnd/>
            <a:tailEnd/>
          </a:ln>
        </p:spPr>
        <p:txBody>
          <a:bodyPr wrap="none" lIns="54000" tIns="0" rIns="54000" bIns="0">
            <a:spAutoFit/>
          </a:bodyPr>
          <a:lstStyle/>
          <a:p>
            <a:pPr defTabSz="685800">
              <a:buClrTx/>
            </a:pPr>
            <a:r>
              <a:rPr lang="en-US" altLang="ja-JP" sz="825" kern="1200">
                <a:solidFill>
                  <a:srgbClr val="313131"/>
                </a:solidFill>
                <a:ea typeface="ＭＳ Ｐゴシック" charset="-128"/>
                <a:cs typeface="+mn-cs"/>
              </a:rPr>
              <a:t>Activity</a:t>
            </a:r>
          </a:p>
        </p:txBody>
      </p:sp>
      <p:sp>
        <p:nvSpPr>
          <p:cNvPr id="77" name="Rectangle 76"/>
          <p:cNvSpPr>
            <a:spLocks noChangeArrowheads="1"/>
          </p:cNvSpPr>
          <p:nvPr/>
        </p:nvSpPr>
        <p:spPr bwMode="auto">
          <a:xfrm>
            <a:off x="2988469" y="3438526"/>
            <a:ext cx="219075"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78" name="Rectangle 77"/>
          <p:cNvSpPr>
            <a:spLocks noChangeArrowheads="1"/>
          </p:cNvSpPr>
          <p:nvPr/>
        </p:nvSpPr>
        <p:spPr bwMode="auto">
          <a:xfrm>
            <a:off x="3338513" y="3621882"/>
            <a:ext cx="217885"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79" name="Rectangle 78"/>
          <p:cNvSpPr>
            <a:spLocks noChangeArrowheads="1"/>
          </p:cNvSpPr>
          <p:nvPr/>
        </p:nvSpPr>
        <p:spPr bwMode="auto">
          <a:xfrm>
            <a:off x="3338513" y="3805238"/>
            <a:ext cx="217885"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80" name="Rectangle 79"/>
          <p:cNvSpPr>
            <a:spLocks noChangeArrowheads="1"/>
          </p:cNvSpPr>
          <p:nvPr/>
        </p:nvSpPr>
        <p:spPr bwMode="auto">
          <a:xfrm>
            <a:off x="3338513" y="3988594"/>
            <a:ext cx="217885" cy="117872"/>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81" name="Rectangle 80"/>
          <p:cNvSpPr>
            <a:spLocks noChangeArrowheads="1"/>
          </p:cNvSpPr>
          <p:nvPr/>
        </p:nvSpPr>
        <p:spPr bwMode="auto">
          <a:xfrm>
            <a:off x="3338513" y="4173141"/>
            <a:ext cx="217885" cy="117872"/>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82" name="Rectangle 81"/>
          <p:cNvSpPr>
            <a:spLocks noChangeArrowheads="1"/>
          </p:cNvSpPr>
          <p:nvPr/>
        </p:nvSpPr>
        <p:spPr bwMode="auto">
          <a:xfrm>
            <a:off x="3338513" y="3438526"/>
            <a:ext cx="217885"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83" name="Rectangle 82"/>
          <p:cNvSpPr>
            <a:spLocks noChangeArrowheads="1"/>
          </p:cNvSpPr>
          <p:nvPr/>
        </p:nvSpPr>
        <p:spPr bwMode="auto">
          <a:xfrm>
            <a:off x="3686175" y="3621882"/>
            <a:ext cx="220266"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84" name="Rectangle 83"/>
          <p:cNvSpPr>
            <a:spLocks noChangeArrowheads="1"/>
          </p:cNvSpPr>
          <p:nvPr/>
        </p:nvSpPr>
        <p:spPr bwMode="auto">
          <a:xfrm>
            <a:off x="3686175" y="3805238"/>
            <a:ext cx="220266"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85" name="Rectangle 84"/>
          <p:cNvSpPr>
            <a:spLocks noChangeArrowheads="1"/>
          </p:cNvSpPr>
          <p:nvPr/>
        </p:nvSpPr>
        <p:spPr bwMode="auto">
          <a:xfrm>
            <a:off x="3686175" y="3988594"/>
            <a:ext cx="220266" cy="117872"/>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86" name="Rectangle 85"/>
          <p:cNvSpPr>
            <a:spLocks noChangeArrowheads="1"/>
          </p:cNvSpPr>
          <p:nvPr/>
        </p:nvSpPr>
        <p:spPr bwMode="auto">
          <a:xfrm>
            <a:off x="3686175" y="4173141"/>
            <a:ext cx="220266" cy="117872"/>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87" name="Rectangle 86"/>
          <p:cNvSpPr>
            <a:spLocks noChangeArrowheads="1"/>
          </p:cNvSpPr>
          <p:nvPr/>
        </p:nvSpPr>
        <p:spPr bwMode="auto">
          <a:xfrm>
            <a:off x="3686175" y="3438526"/>
            <a:ext cx="220266"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88" name="Rectangle 87"/>
          <p:cNvSpPr>
            <a:spLocks noChangeArrowheads="1"/>
          </p:cNvSpPr>
          <p:nvPr/>
        </p:nvSpPr>
        <p:spPr bwMode="auto">
          <a:xfrm>
            <a:off x="4036219" y="3621882"/>
            <a:ext cx="219075"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89" name="Rectangle 88"/>
          <p:cNvSpPr>
            <a:spLocks noChangeArrowheads="1"/>
          </p:cNvSpPr>
          <p:nvPr/>
        </p:nvSpPr>
        <p:spPr bwMode="auto">
          <a:xfrm>
            <a:off x="4036219" y="3805238"/>
            <a:ext cx="219075"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90" name="Rectangle 89"/>
          <p:cNvSpPr>
            <a:spLocks noChangeArrowheads="1"/>
          </p:cNvSpPr>
          <p:nvPr/>
        </p:nvSpPr>
        <p:spPr bwMode="auto">
          <a:xfrm>
            <a:off x="4036219" y="3988594"/>
            <a:ext cx="219075" cy="117872"/>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91" name="Rectangle 90"/>
          <p:cNvSpPr>
            <a:spLocks noChangeArrowheads="1"/>
          </p:cNvSpPr>
          <p:nvPr/>
        </p:nvSpPr>
        <p:spPr bwMode="auto">
          <a:xfrm>
            <a:off x="4036219" y="4173141"/>
            <a:ext cx="219075" cy="117872"/>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92" name="Rectangle 91"/>
          <p:cNvSpPr>
            <a:spLocks noChangeArrowheads="1"/>
          </p:cNvSpPr>
          <p:nvPr/>
        </p:nvSpPr>
        <p:spPr bwMode="auto">
          <a:xfrm>
            <a:off x="4036219" y="3438526"/>
            <a:ext cx="219075"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786524" name="Rectangle 92"/>
          <p:cNvSpPr>
            <a:spLocks noChangeArrowheads="1"/>
          </p:cNvSpPr>
          <p:nvPr/>
        </p:nvSpPr>
        <p:spPr bwMode="auto">
          <a:xfrm>
            <a:off x="5185172" y="3611166"/>
            <a:ext cx="444083" cy="126958"/>
          </a:xfrm>
          <a:prstGeom prst="rect">
            <a:avLst/>
          </a:prstGeom>
          <a:noFill/>
          <a:ln w="9525">
            <a:noFill/>
            <a:miter lim="800000"/>
            <a:headEnd/>
            <a:tailEnd/>
          </a:ln>
        </p:spPr>
        <p:txBody>
          <a:bodyPr wrap="none" lIns="54000" tIns="0" rIns="54000" bIns="0">
            <a:spAutoFit/>
          </a:bodyPr>
          <a:lstStyle/>
          <a:p>
            <a:pPr defTabSz="685800">
              <a:buClrTx/>
            </a:pPr>
            <a:r>
              <a:rPr lang="en-US" altLang="ja-JP" sz="825" kern="1200">
                <a:solidFill>
                  <a:srgbClr val="313131"/>
                </a:solidFill>
                <a:ea typeface="ＭＳ Ｐゴシック" charset="-128"/>
                <a:cs typeface="+mn-cs"/>
              </a:rPr>
              <a:t>Activity</a:t>
            </a:r>
          </a:p>
        </p:txBody>
      </p:sp>
      <p:sp>
        <p:nvSpPr>
          <p:cNvPr id="94" name="Rectangle 93"/>
          <p:cNvSpPr>
            <a:spLocks noChangeArrowheads="1"/>
          </p:cNvSpPr>
          <p:nvPr/>
        </p:nvSpPr>
        <p:spPr bwMode="auto">
          <a:xfrm>
            <a:off x="5830491" y="3621882"/>
            <a:ext cx="219075"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95" name="Rectangle 94"/>
          <p:cNvSpPr>
            <a:spLocks noChangeArrowheads="1"/>
          </p:cNvSpPr>
          <p:nvPr/>
        </p:nvSpPr>
        <p:spPr bwMode="auto">
          <a:xfrm>
            <a:off x="5830491" y="3805238"/>
            <a:ext cx="219075"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96" name="Rectangle 95"/>
          <p:cNvSpPr>
            <a:spLocks noChangeArrowheads="1"/>
          </p:cNvSpPr>
          <p:nvPr/>
        </p:nvSpPr>
        <p:spPr bwMode="auto">
          <a:xfrm>
            <a:off x="5830491" y="3988594"/>
            <a:ext cx="219075" cy="117872"/>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786528" name="Text Box 96"/>
          <p:cNvSpPr txBox="1">
            <a:spLocks noChangeArrowheads="1"/>
          </p:cNvSpPr>
          <p:nvPr/>
        </p:nvSpPr>
        <p:spPr bwMode="auto">
          <a:xfrm>
            <a:off x="5716531" y="2994422"/>
            <a:ext cx="1154226" cy="324801"/>
          </a:xfrm>
          <a:prstGeom prst="rect">
            <a:avLst/>
          </a:prstGeom>
          <a:noFill/>
          <a:ln w="9525" algn="ctr">
            <a:noFill/>
            <a:miter lim="800000"/>
            <a:headEnd/>
            <a:tailEnd/>
          </a:ln>
        </p:spPr>
        <p:txBody>
          <a:bodyPr wrap="none" lIns="67500" tIns="35100" rIns="67500" bIns="35100">
            <a:spAutoFit/>
          </a:bodyPr>
          <a:lstStyle/>
          <a:p>
            <a:pPr algn="ctr" defTabSz="685800">
              <a:buClrTx/>
            </a:pPr>
            <a:r>
              <a:rPr lang="en-US" altLang="ja-JP" sz="825" b="1" kern="1200" dirty="0">
                <a:solidFill>
                  <a:srgbClr val="313131"/>
                </a:solidFill>
                <a:ea typeface="ＭＳ Ｐゴシック" charset="-128"/>
                <a:cs typeface="+mn-cs"/>
              </a:rPr>
              <a:t>Competitive group</a:t>
            </a:r>
          </a:p>
          <a:p>
            <a:pPr algn="ctr" defTabSz="685800">
              <a:buClrTx/>
            </a:pPr>
            <a:r>
              <a:rPr lang="en-US" altLang="ja-JP" sz="825" b="1" kern="1200" dirty="0">
                <a:solidFill>
                  <a:srgbClr val="313131"/>
                </a:solidFill>
                <a:ea typeface="ＭＳ Ｐゴシック" charset="-128"/>
                <a:cs typeface="+mn-cs"/>
              </a:rPr>
              <a:t>(sample companies)</a:t>
            </a:r>
          </a:p>
        </p:txBody>
      </p:sp>
      <p:sp>
        <p:nvSpPr>
          <p:cNvPr id="98" name="Rectangle 97"/>
          <p:cNvSpPr>
            <a:spLocks noChangeArrowheads="1"/>
          </p:cNvSpPr>
          <p:nvPr/>
        </p:nvSpPr>
        <p:spPr bwMode="auto">
          <a:xfrm>
            <a:off x="5185172" y="3012281"/>
            <a:ext cx="2190750" cy="1348979"/>
          </a:xfrm>
          <a:prstGeom prst="rect">
            <a:avLst/>
          </a:prstGeom>
          <a:noFill/>
          <a:ln w="9525" algn="ctr">
            <a:solidFill>
              <a:srgbClr val="B4B4B4"/>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ＭＳ Ｐゴシック" pitchFamily="50" charset="-128"/>
              <a:cs typeface="+mn-cs"/>
            </a:endParaRPr>
          </a:p>
        </p:txBody>
      </p:sp>
      <p:sp>
        <p:nvSpPr>
          <p:cNvPr id="786530" name="Rectangle 98"/>
          <p:cNvSpPr>
            <a:spLocks noChangeArrowheads="1"/>
          </p:cNvSpPr>
          <p:nvPr/>
        </p:nvSpPr>
        <p:spPr bwMode="auto">
          <a:xfrm>
            <a:off x="5185172" y="3794522"/>
            <a:ext cx="444083" cy="126958"/>
          </a:xfrm>
          <a:prstGeom prst="rect">
            <a:avLst/>
          </a:prstGeom>
          <a:noFill/>
          <a:ln w="9525">
            <a:noFill/>
            <a:miter lim="800000"/>
            <a:headEnd/>
            <a:tailEnd/>
          </a:ln>
        </p:spPr>
        <p:txBody>
          <a:bodyPr wrap="none" lIns="54000" tIns="0" rIns="54000" bIns="0">
            <a:spAutoFit/>
          </a:bodyPr>
          <a:lstStyle/>
          <a:p>
            <a:pPr defTabSz="685800">
              <a:buClrTx/>
            </a:pPr>
            <a:r>
              <a:rPr lang="en-US" altLang="ja-JP" sz="825" kern="1200">
                <a:solidFill>
                  <a:srgbClr val="313131"/>
                </a:solidFill>
                <a:ea typeface="ＭＳ Ｐゴシック" charset="-128"/>
                <a:cs typeface="+mn-cs"/>
              </a:rPr>
              <a:t>Activity</a:t>
            </a:r>
          </a:p>
        </p:txBody>
      </p:sp>
      <p:sp>
        <p:nvSpPr>
          <p:cNvPr id="786531" name="Rectangle 99"/>
          <p:cNvSpPr>
            <a:spLocks noChangeArrowheads="1"/>
          </p:cNvSpPr>
          <p:nvPr/>
        </p:nvSpPr>
        <p:spPr bwMode="auto">
          <a:xfrm>
            <a:off x="5185172" y="3977878"/>
            <a:ext cx="444083" cy="126958"/>
          </a:xfrm>
          <a:prstGeom prst="rect">
            <a:avLst/>
          </a:prstGeom>
          <a:noFill/>
          <a:ln w="9525">
            <a:noFill/>
            <a:miter lim="800000"/>
            <a:headEnd/>
            <a:tailEnd/>
          </a:ln>
        </p:spPr>
        <p:txBody>
          <a:bodyPr wrap="none" lIns="54000" tIns="0" rIns="54000" bIns="0">
            <a:spAutoFit/>
          </a:bodyPr>
          <a:lstStyle/>
          <a:p>
            <a:pPr defTabSz="685800">
              <a:buClrTx/>
            </a:pPr>
            <a:r>
              <a:rPr lang="en-US" altLang="ja-JP" sz="825" kern="1200">
                <a:solidFill>
                  <a:srgbClr val="313131"/>
                </a:solidFill>
                <a:ea typeface="ＭＳ Ｐゴシック" charset="-128"/>
                <a:cs typeface="+mn-cs"/>
              </a:rPr>
              <a:t>Activity</a:t>
            </a:r>
          </a:p>
        </p:txBody>
      </p:sp>
      <p:sp>
        <p:nvSpPr>
          <p:cNvPr id="786532" name="Rectangle 100"/>
          <p:cNvSpPr>
            <a:spLocks noChangeArrowheads="1"/>
          </p:cNvSpPr>
          <p:nvPr/>
        </p:nvSpPr>
        <p:spPr bwMode="auto">
          <a:xfrm>
            <a:off x="5185172" y="4162425"/>
            <a:ext cx="444083" cy="126958"/>
          </a:xfrm>
          <a:prstGeom prst="rect">
            <a:avLst/>
          </a:prstGeom>
          <a:noFill/>
          <a:ln w="9525">
            <a:noFill/>
            <a:miter lim="800000"/>
            <a:headEnd/>
            <a:tailEnd/>
          </a:ln>
        </p:spPr>
        <p:txBody>
          <a:bodyPr wrap="none" lIns="54000" tIns="0" rIns="54000" bIns="0">
            <a:spAutoFit/>
          </a:bodyPr>
          <a:lstStyle/>
          <a:p>
            <a:pPr defTabSz="685800">
              <a:buClrTx/>
            </a:pPr>
            <a:r>
              <a:rPr lang="en-US" altLang="ja-JP" sz="825" kern="1200">
                <a:solidFill>
                  <a:srgbClr val="313131"/>
                </a:solidFill>
                <a:ea typeface="ＭＳ Ｐゴシック" charset="-128"/>
                <a:cs typeface="+mn-cs"/>
              </a:rPr>
              <a:t>Activity</a:t>
            </a:r>
          </a:p>
        </p:txBody>
      </p:sp>
      <p:sp>
        <p:nvSpPr>
          <p:cNvPr id="102" name="Rectangle 101"/>
          <p:cNvSpPr>
            <a:spLocks noChangeArrowheads="1"/>
          </p:cNvSpPr>
          <p:nvPr/>
        </p:nvSpPr>
        <p:spPr bwMode="auto">
          <a:xfrm>
            <a:off x="5830491" y="4173141"/>
            <a:ext cx="219075" cy="117872"/>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786534" name="Rectangle 102"/>
          <p:cNvSpPr>
            <a:spLocks noChangeArrowheads="1"/>
          </p:cNvSpPr>
          <p:nvPr/>
        </p:nvSpPr>
        <p:spPr bwMode="auto">
          <a:xfrm>
            <a:off x="5185172" y="3427810"/>
            <a:ext cx="444083" cy="126958"/>
          </a:xfrm>
          <a:prstGeom prst="rect">
            <a:avLst/>
          </a:prstGeom>
          <a:noFill/>
          <a:ln w="9525">
            <a:noFill/>
            <a:miter lim="800000"/>
            <a:headEnd/>
            <a:tailEnd/>
          </a:ln>
        </p:spPr>
        <p:txBody>
          <a:bodyPr wrap="none" lIns="54000" tIns="0" rIns="54000" bIns="0">
            <a:spAutoFit/>
          </a:bodyPr>
          <a:lstStyle/>
          <a:p>
            <a:pPr defTabSz="685800">
              <a:buClrTx/>
            </a:pPr>
            <a:r>
              <a:rPr lang="en-US" altLang="ja-JP" sz="825" kern="1200">
                <a:solidFill>
                  <a:srgbClr val="313131"/>
                </a:solidFill>
                <a:ea typeface="ＭＳ Ｐゴシック" charset="-128"/>
                <a:cs typeface="+mn-cs"/>
              </a:rPr>
              <a:t>Activity</a:t>
            </a:r>
          </a:p>
        </p:txBody>
      </p:sp>
      <p:sp>
        <p:nvSpPr>
          <p:cNvPr id="104" name="Rectangle 103"/>
          <p:cNvSpPr>
            <a:spLocks noChangeArrowheads="1"/>
          </p:cNvSpPr>
          <p:nvPr/>
        </p:nvSpPr>
        <p:spPr bwMode="auto">
          <a:xfrm>
            <a:off x="5830491" y="3438526"/>
            <a:ext cx="219075"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105" name="Rectangle 104"/>
          <p:cNvSpPr>
            <a:spLocks noChangeArrowheads="1"/>
          </p:cNvSpPr>
          <p:nvPr/>
        </p:nvSpPr>
        <p:spPr bwMode="auto">
          <a:xfrm>
            <a:off x="6179344" y="3621882"/>
            <a:ext cx="220266"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106" name="Rectangle 105"/>
          <p:cNvSpPr>
            <a:spLocks noChangeArrowheads="1"/>
          </p:cNvSpPr>
          <p:nvPr/>
        </p:nvSpPr>
        <p:spPr bwMode="auto">
          <a:xfrm>
            <a:off x="6179344" y="3805238"/>
            <a:ext cx="220266"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107" name="Rectangle 106"/>
          <p:cNvSpPr>
            <a:spLocks noChangeArrowheads="1"/>
          </p:cNvSpPr>
          <p:nvPr/>
        </p:nvSpPr>
        <p:spPr bwMode="auto">
          <a:xfrm>
            <a:off x="6179344" y="3988594"/>
            <a:ext cx="220266" cy="117872"/>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108" name="Rectangle 107"/>
          <p:cNvSpPr>
            <a:spLocks noChangeArrowheads="1"/>
          </p:cNvSpPr>
          <p:nvPr/>
        </p:nvSpPr>
        <p:spPr bwMode="auto">
          <a:xfrm>
            <a:off x="6179344" y="4173141"/>
            <a:ext cx="220266" cy="117872"/>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109" name="Rectangle 108"/>
          <p:cNvSpPr>
            <a:spLocks noChangeArrowheads="1"/>
          </p:cNvSpPr>
          <p:nvPr/>
        </p:nvSpPr>
        <p:spPr bwMode="auto">
          <a:xfrm>
            <a:off x="6179344" y="3438526"/>
            <a:ext cx="220266"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110" name="Rectangle 109"/>
          <p:cNvSpPr>
            <a:spLocks noChangeArrowheads="1"/>
          </p:cNvSpPr>
          <p:nvPr/>
        </p:nvSpPr>
        <p:spPr bwMode="auto">
          <a:xfrm>
            <a:off x="6528197" y="3621882"/>
            <a:ext cx="219075"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111" name="Rectangle 110"/>
          <p:cNvSpPr>
            <a:spLocks noChangeArrowheads="1"/>
          </p:cNvSpPr>
          <p:nvPr/>
        </p:nvSpPr>
        <p:spPr bwMode="auto">
          <a:xfrm>
            <a:off x="6528197" y="3805238"/>
            <a:ext cx="219075"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112" name="Rectangle 111"/>
          <p:cNvSpPr>
            <a:spLocks noChangeArrowheads="1"/>
          </p:cNvSpPr>
          <p:nvPr/>
        </p:nvSpPr>
        <p:spPr bwMode="auto">
          <a:xfrm>
            <a:off x="6528197" y="3988594"/>
            <a:ext cx="219075" cy="117872"/>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113" name="Rectangle 112"/>
          <p:cNvSpPr>
            <a:spLocks noChangeArrowheads="1"/>
          </p:cNvSpPr>
          <p:nvPr/>
        </p:nvSpPr>
        <p:spPr bwMode="auto">
          <a:xfrm>
            <a:off x="6528197" y="4173141"/>
            <a:ext cx="219075" cy="117872"/>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114" name="Rectangle 113"/>
          <p:cNvSpPr>
            <a:spLocks noChangeArrowheads="1"/>
          </p:cNvSpPr>
          <p:nvPr/>
        </p:nvSpPr>
        <p:spPr bwMode="auto">
          <a:xfrm>
            <a:off x="6528197" y="3438526"/>
            <a:ext cx="219075"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115" name="Rectangle 114"/>
          <p:cNvSpPr>
            <a:spLocks noChangeArrowheads="1"/>
          </p:cNvSpPr>
          <p:nvPr/>
        </p:nvSpPr>
        <p:spPr bwMode="auto">
          <a:xfrm>
            <a:off x="6878241" y="3621882"/>
            <a:ext cx="217884"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116" name="Rectangle 115"/>
          <p:cNvSpPr>
            <a:spLocks noChangeArrowheads="1"/>
          </p:cNvSpPr>
          <p:nvPr/>
        </p:nvSpPr>
        <p:spPr bwMode="auto">
          <a:xfrm>
            <a:off x="6878241" y="3805238"/>
            <a:ext cx="217884"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117" name="Rectangle 116"/>
          <p:cNvSpPr>
            <a:spLocks noChangeArrowheads="1"/>
          </p:cNvSpPr>
          <p:nvPr/>
        </p:nvSpPr>
        <p:spPr bwMode="auto">
          <a:xfrm>
            <a:off x="6878241" y="3988594"/>
            <a:ext cx="217884" cy="117872"/>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118" name="Rectangle 117"/>
          <p:cNvSpPr>
            <a:spLocks noChangeArrowheads="1"/>
          </p:cNvSpPr>
          <p:nvPr/>
        </p:nvSpPr>
        <p:spPr bwMode="auto">
          <a:xfrm>
            <a:off x="6878241" y="4173141"/>
            <a:ext cx="217884" cy="117872"/>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119" name="Rectangle 118"/>
          <p:cNvSpPr>
            <a:spLocks noChangeArrowheads="1"/>
          </p:cNvSpPr>
          <p:nvPr/>
        </p:nvSpPr>
        <p:spPr bwMode="auto">
          <a:xfrm>
            <a:off x="6878241" y="3438526"/>
            <a:ext cx="217884" cy="116681"/>
          </a:xfrm>
          <a:prstGeom prst="rect">
            <a:avLst/>
          </a:prstGeom>
          <a:solidFill>
            <a:schemeClr val="bg1"/>
          </a:solidFill>
          <a:ln w="9525" algn="ctr">
            <a:solidFill>
              <a:srgbClr val="00A1DE"/>
            </a:solidFill>
            <a:miter lim="800000"/>
            <a:headEnd/>
            <a:tailEnd/>
          </a:ln>
        </p:spPr>
        <p:txBody>
          <a:bodyPr wrap="none" lIns="67500" tIns="35100" rIns="67500" bIns="35100" anchor="ctr"/>
          <a:lstStyle/>
          <a:p>
            <a:pPr algn="ctr" defTabSz="685800">
              <a:buClrTx/>
              <a:defRPr/>
            </a:pPr>
            <a:endParaRPr lang="en-US" sz="900" kern="1200" dirty="0">
              <a:solidFill>
                <a:srgbClr val="313131"/>
              </a:solidFill>
              <a:ea typeface="+mn-ea"/>
              <a:cs typeface="+mn-cs"/>
            </a:endParaRPr>
          </a:p>
        </p:txBody>
      </p:sp>
      <p:sp>
        <p:nvSpPr>
          <p:cNvPr id="121" name="Text Placeholder 12"/>
          <p:cNvSpPr>
            <a:spLocks/>
          </p:cNvSpPr>
          <p:nvPr>
            <p:custDataLst>
              <p:tags r:id="rId1"/>
            </p:custDataLst>
          </p:nvPr>
        </p:nvSpPr>
        <p:spPr bwMode="auto">
          <a:xfrm>
            <a:off x="1440657" y="9791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Tree>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1394" name="Title 1"/>
          <p:cNvSpPr>
            <a:spLocks noGrp="1"/>
          </p:cNvSpPr>
          <p:nvPr>
            <p:ph type="title"/>
          </p:nvPr>
        </p:nvSpPr>
        <p:spPr/>
        <p:txBody>
          <a:bodyPr/>
          <a:lstStyle/>
          <a:p>
            <a:r>
              <a:rPr lang="en-US" dirty="0">
                <a:solidFill>
                  <a:srgbClr val="81BC00"/>
                </a:solidFill>
              </a:rPr>
              <a:t>Tables </a:t>
            </a:r>
            <a:br>
              <a:rPr lang="en-US" dirty="0">
                <a:solidFill>
                  <a:srgbClr val="81BC00"/>
                </a:solidFill>
              </a:rPr>
            </a:br>
            <a:r>
              <a:rPr lang="en-US" dirty="0">
                <a:solidFill>
                  <a:srgbClr val="575757"/>
                </a:solidFill>
              </a:rPr>
              <a:t>Alternative data table</a:t>
            </a:r>
          </a:p>
        </p:txBody>
      </p:sp>
      <p:graphicFrame>
        <p:nvGraphicFramePr>
          <p:cNvPr id="6" name="Group 3"/>
          <p:cNvGraphicFramePr>
            <a:graphicFrameLocks/>
          </p:cNvGraphicFramePr>
          <p:nvPr>
            <p:custDataLst>
              <p:tags r:id="rId1"/>
            </p:custDataLst>
          </p:nvPr>
        </p:nvGraphicFramePr>
        <p:xfrm>
          <a:off x="1440657" y="1268730"/>
          <a:ext cx="6262688" cy="3114672"/>
        </p:xfrm>
        <a:graphic>
          <a:graphicData uri="http://schemas.openxmlformats.org/drawingml/2006/table">
            <a:tbl>
              <a:tblPr/>
              <a:tblGrid>
                <a:gridCol w="842990">
                  <a:extLst>
                    <a:ext uri="{9D8B030D-6E8A-4147-A177-3AD203B41FA5}">
                      <a16:colId xmlns:a16="http://schemas.microsoft.com/office/drawing/2014/main" val="20000"/>
                    </a:ext>
                  </a:extLst>
                </a:gridCol>
                <a:gridCol w="903283">
                  <a:extLst>
                    <a:ext uri="{9D8B030D-6E8A-4147-A177-3AD203B41FA5}">
                      <a16:colId xmlns:a16="http://schemas.microsoft.com/office/drawing/2014/main" val="20001"/>
                    </a:ext>
                  </a:extLst>
                </a:gridCol>
                <a:gridCol w="903283">
                  <a:extLst>
                    <a:ext uri="{9D8B030D-6E8A-4147-A177-3AD203B41FA5}">
                      <a16:colId xmlns:a16="http://schemas.microsoft.com/office/drawing/2014/main" val="20002"/>
                    </a:ext>
                  </a:extLst>
                </a:gridCol>
                <a:gridCol w="903283">
                  <a:extLst>
                    <a:ext uri="{9D8B030D-6E8A-4147-A177-3AD203B41FA5}">
                      <a16:colId xmlns:a16="http://schemas.microsoft.com/office/drawing/2014/main" val="20003"/>
                    </a:ext>
                  </a:extLst>
                </a:gridCol>
                <a:gridCol w="903283">
                  <a:extLst>
                    <a:ext uri="{9D8B030D-6E8A-4147-A177-3AD203B41FA5}">
                      <a16:colId xmlns:a16="http://schemas.microsoft.com/office/drawing/2014/main" val="20004"/>
                    </a:ext>
                  </a:extLst>
                </a:gridCol>
                <a:gridCol w="903283">
                  <a:extLst>
                    <a:ext uri="{9D8B030D-6E8A-4147-A177-3AD203B41FA5}">
                      <a16:colId xmlns:a16="http://schemas.microsoft.com/office/drawing/2014/main" val="20005"/>
                    </a:ext>
                  </a:extLst>
                </a:gridCol>
                <a:gridCol w="903283">
                  <a:extLst>
                    <a:ext uri="{9D8B030D-6E8A-4147-A177-3AD203B41FA5}">
                      <a16:colId xmlns:a16="http://schemas.microsoft.com/office/drawing/2014/main" val="20006"/>
                    </a:ext>
                  </a:extLst>
                </a:gridCol>
              </a:tblGrid>
              <a:tr h="259556">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1" i="0" u="none" strike="noStrike" cap="none" normalizeH="0" baseline="0" dirty="0">
                        <a:ln>
                          <a:noFill/>
                        </a:ln>
                        <a:solidFill>
                          <a:schemeClr val="tx1"/>
                        </a:solidFill>
                        <a:effectLst/>
                        <a:latin typeface="Arial" charset="0"/>
                      </a:endParaRPr>
                    </a:p>
                  </a:txBody>
                  <a:tcPr marL="49847" marR="49847" marT="27000" marB="27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49847" marR="49847" marT="27000" marB="27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49847" marR="49847" marT="27000" marB="27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49847" marR="49847" marT="27000" marB="27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49847" marR="49847" marT="27000" marB="27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49847" marR="49847" marT="27000" marB="27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49847" marR="49847" marT="27000" marB="27000" anchor="ctr" anchorCtr="1" horzOverflow="overflow">
                    <a:lnL w="12700" cap="flat" cmpd="sng" algn="ctr">
                      <a:solidFill>
                        <a:schemeClr val="bg1"/>
                      </a:solidFill>
                      <a:prstDash val="solid"/>
                      <a:round/>
                      <a:headEnd type="none" w="med" len="med"/>
                      <a:tailEnd type="none" w="med" len="med"/>
                    </a:lnL>
                    <a:lnR cap="flat">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A1DE"/>
                    </a:solidFill>
                  </a:tcPr>
                </a:tc>
                <a:extLst>
                  <a:ext uri="{0D108BD9-81ED-4DB2-BD59-A6C34878D82A}">
                    <a16:rowId xmlns:a16="http://schemas.microsoft.com/office/drawing/2014/main" val="10000"/>
                  </a:ext>
                </a:extLst>
              </a:tr>
              <a:tr h="25955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Row 1</a:t>
                      </a:r>
                    </a:p>
                  </a:txBody>
                  <a:tcPr marL="49847" marR="49847" marT="27000" marB="27000" anchor="ctr" horzOverflow="overflow">
                    <a:lnL cap="flat">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cap="flat">
                      <a:noFill/>
                    </a:lnR>
                    <a:lnT w="12700" cap="flat" cmpd="sng" algn="ctr">
                      <a:solidFill>
                        <a:schemeClr val="bg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r h="25955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Row 2</a:t>
                      </a:r>
                    </a:p>
                  </a:txBody>
                  <a:tcPr marL="49847" marR="49847" marT="27000" marB="27000" anchor="ctr" horzOverflow="overflow">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2"/>
                  </a:ext>
                </a:extLst>
              </a:tr>
              <a:tr h="25955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Row 3</a:t>
                      </a:r>
                    </a:p>
                  </a:txBody>
                  <a:tcPr marL="49847" marR="49847" marT="27000" marB="27000" anchor="ctr" horzOverflow="overflow">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3"/>
                  </a:ext>
                </a:extLst>
              </a:tr>
              <a:tr h="25955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Row 4</a:t>
                      </a:r>
                    </a:p>
                  </a:txBody>
                  <a:tcPr marL="49847" marR="49847" marT="27000" marB="27000" anchor="ctr" horzOverflow="overflow">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a:noFill/>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a:noFill/>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a:noFill/>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a:noFill/>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a:noFill/>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cap="flat">
                      <a:noFill/>
                    </a:lnR>
                    <a:lnT>
                      <a:noFill/>
                    </a:lnT>
                    <a:lnB w="12700" cap="flat" cmpd="sng" algn="ctr">
                      <a:solidFill>
                        <a:srgbClr val="00A1D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5955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Subtotal</a:t>
                      </a:r>
                    </a:p>
                  </a:txBody>
                  <a:tcPr marL="49847" marR="49847" marT="27000" marB="27000" anchor="ctr" horzOverflow="overflow">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cap="flat">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5955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Row 1</a:t>
                      </a:r>
                    </a:p>
                  </a:txBody>
                  <a:tcPr marL="49847" marR="49847" marT="27000" marB="27000" anchor="ctr" horzOverflow="overflow">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w="12700" cap="flat" cmpd="sng" algn="ctr">
                      <a:solidFill>
                        <a:srgbClr val="00A1DE"/>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w="12700" cap="flat" cmpd="sng" algn="ctr">
                      <a:solidFill>
                        <a:srgbClr val="00A1DE"/>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w="12700" cap="flat" cmpd="sng" algn="ctr">
                      <a:solidFill>
                        <a:srgbClr val="00A1DE"/>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w="12700" cap="flat" cmpd="sng" algn="ctr">
                      <a:solidFill>
                        <a:srgbClr val="00A1DE"/>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w="12700" cap="flat" cmpd="sng" algn="ctr">
                      <a:solidFill>
                        <a:srgbClr val="00A1DE"/>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cap="flat">
                      <a:noFill/>
                    </a:lnR>
                    <a:lnT w="12700" cap="flat" cmpd="sng" algn="ctr">
                      <a:solidFill>
                        <a:srgbClr val="00A1DE"/>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6"/>
                  </a:ext>
                </a:extLst>
              </a:tr>
              <a:tr h="25955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Row 2</a:t>
                      </a:r>
                    </a:p>
                  </a:txBody>
                  <a:tcPr marL="49847" marR="49847" marT="27000" marB="27000" anchor="ctr" horzOverflow="overflow">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7"/>
                  </a:ext>
                </a:extLst>
              </a:tr>
              <a:tr h="25955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Row 3</a:t>
                      </a:r>
                    </a:p>
                  </a:txBody>
                  <a:tcPr marL="49847" marR="49847" marT="27000" marB="27000" anchor="ctr" horzOverflow="overflow">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8"/>
                  </a:ext>
                </a:extLst>
              </a:tr>
              <a:tr h="25955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Row 4</a:t>
                      </a:r>
                    </a:p>
                  </a:txBody>
                  <a:tcPr marL="49847" marR="49847" marT="27000" marB="27000" anchor="ctr" horzOverflow="overflow">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a:noFill/>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a:noFill/>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a:noFill/>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a:noFill/>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a:noFill/>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cap="flat">
                      <a:noFill/>
                    </a:lnR>
                    <a:lnT>
                      <a:noFill/>
                    </a:lnT>
                    <a:lnB w="12700" cap="flat" cmpd="sng" algn="ctr">
                      <a:solidFill>
                        <a:srgbClr val="00A1D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25955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Subtotal</a:t>
                      </a:r>
                    </a:p>
                  </a:txBody>
                  <a:tcPr marL="49847" marR="49847" marT="27000" marB="27000" anchor="ctr" horzOverflow="overflow">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cap="flat">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25955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Total</a:t>
                      </a:r>
                    </a:p>
                  </a:txBody>
                  <a:tcPr marL="49847" marR="49847" marT="27000" marB="27000" anchor="ctr" horzOverflow="overflow">
                    <a:lnL cap="flat">
                      <a:noFill/>
                    </a:lnL>
                    <a:lnR>
                      <a:noFill/>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w="12700" cap="flat" cmpd="sng" algn="ctr">
                      <a:solidFill>
                        <a:srgbClr val="00A1DE"/>
                      </a:solidFill>
                      <a:prstDash val="solid"/>
                      <a:round/>
                      <a:headEnd type="none" w="med" len="med"/>
                      <a:tailEnd type="none" w="med" len="med"/>
                    </a:lnT>
                    <a:lnB cap="flat">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w="12700" cap="flat" cmpd="sng" algn="ctr">
                      <a:solidFill>
                        <a:srgbClr val="00A1DE"/>
                      </a:solidFill>
                      <a:prstDash val="solid"/>
                      <a:round/>
                      <a:headEnd type="none" w="med" len="med"/>
                      <a:tailEnd type="none" w="med" len="med"/>
                    </a:lnT>
                    <a:lnB cap="flat">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w="12700" cap="flat" cmpd="sng" algn="ctr">
                      <a:solidFill>
                        <a:srgbClr val="00A1DE"/>
                      </a:solidFill>
                      <a:prstDash val="solid"/>
                      <a:round/>
                      <a:headEnd type="none" w="med" len="med"/>
                      <a:tailEnd type="none" w="med" len="med"/>
                    </a:lnT>
                    <a:lnB cap="flat">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w="12700" cap="flat" cmpd="sng" algn="ctr">
                      <a:solidFill>
                        <a:srgbClr val="00A1DE"/>
                      </a:solidFill>
                      <a:prstDash val="solid"/>
                      <a:round/>
                      <a:headEnd type="none" w="med" len="med"/>
                      <a:tailEnd type="none" w="med" len="med"/>
                    </a:lnT>
                    <a:lnB cap="flat">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a:noFill/>
                    </a:lnR>
                    <a:lnT w="12700" cap="flat" cmpd="sng" algn="ctr">
                      <a:solidFill>
                        <a:srgbClr val="00A1DE"/>
                      </a:solidFill>
                      <a:prstDash val="solid"/>
                      <a:round/>
                      <a:headEnd type="none" w="med" len="med"/>
                      <a:tailEnd type="none" w="med" len="med"/>
                    </a:lnT>
                    <a:lnB cap="flat">
                      <a:noFill/>
                    </a:lnB>
                    <a:lnTlToBr>
                      <a:noFill/>
                    </a:lnTlToBr>
                    <a:lnBlToTr>
                      <a:noFill/>
                    </a:lnBlToTr>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xx</a:t>
                      </a:r>
                    </a:p>
                  </a:txBody>
                  <a:tcPr marL="49847" marR="49847" marT="27000" marB="27000" anchor="ctr" anchorCtr="1" horzOverflow="overflow">
                    <a:lnL>
                      <a:noFill/>
                    </a:lnL>
                    <a:lnR cap="flat">
                      <a:noFill/>
                    </a:lnR>
                    <a:lnT w="12700" cap="flat" cmpd="sng" algn="ctr">
                      <a:solidFill>
                        <a:srgbClr val="00A1DE"/>
                      </a:solidFill>
                      <a:prstDash val="solid"/>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10011"/>
                  </a:ext>
                </a:extLst>
              </a:tr>
            </a:tbl>
          </a:graphicData>
        </a:graphic>
      </p:graphicFrame>
      <p:sp>
        <p:nvSpPr>
          <p:cNvPr id="7" name="Text Placeholder 12"/>
          <p:cNvSpPr>
            <a:spLocks/>
          </p:cNvSpPr>
          <p:nvPr>
            <p:custDataLst>
              <p:tags r:id="rId2"/>
            </p:custDataLst>
          </p:nvPr>
        </p:nvSpPr>
        <p:spPr bwMode="auto">
          <a:xfrm>
            <a:off x="1440656" y="1131570"/>
            <a:ext cx="197170"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Text</a:t>
            </a:r>
          </a:p>
        </p:txBody>
      </p:sp>
    </p:spTree>
    <p:extLst>
      <p:ext uri="{BB962C8B-B14F-4D97-AF65-F5344CB8AC3E}">
        <p14:creationId xmlns:p14="http://schemas.microsoft.com/office/powerpoint/2010/main" val="3648301759"/>
      </p:ext>
    </p:extLst>
  </p:cSld>
  <p:clrMapOvr>
    <a:masterClrMapping/>
  </p:clrMapOvr>
  <p:transition>
    <p:fade/>
  </p:transition>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7457" name="Title 1"/>
          <p:cNvSpPr>
            <a:spLocks noGrp="1"/>
          </p:cNvSpPr>
          <p:nvPr>
            <p:ph type="title"/>
          </p:nvPr>
        </p:nvSpPr>
        <p:spPr/>
        <p:txBody>
          <a:bodyPr/>
          <a:lstStyle/>
          <a:p>
            <a:r>
              <a:rPr lang="en-US" altLang="ja-JP" dirty="0"/>
              <a:t>Activity map </a:t>
            </a:r>
            <a:br>
              <a:rPr lang="en-US" altLang="ja-JP" dirty="0"/>
            </a:br>
            <a:r>
              <a:rPr lang="en-US" altLang="ja-JP" dirty="0">
                <a:solidFill>
                  <a:srgbClr val="575757"/>
                </a:solidFill>
              </a:rPr>
              <a:t>Ranges of activities across value chain</a:t>
            </a:r>
            <a:endParaRPr lang="en-US" dirty="0">
              <a:solidFill>
                <a:srgbClr val="575757"/>
              </a:solidFill>
            </a:endParaRPr>
          </a:p>
        </p:txBody>
      </p:sp>
      <p:sp>
        <p:nvSpPr>
          <p:cNvPr id="4" name="Rectangle 3"/>
          <p:cNvSpPr>
            <a:spLocks noChangeArrowheads="1"/>
          </p:cNvSpPr>
          <p:nvPr/>
        </p:nvSpPr>
        <p:spPr bwMode="auto">
          <a:xfrm>
            <a:off x="2119313" y="2513411"/>
            <a:ext cx="1296591" cy="315515"/>
          </a:xfrm>
          <a:prstGeom prst="rect">
            <a:avLst/>
          </a:prstGeom>
          <a:solidFill>
            <a:srgbClr val="00A1DE"/>
          </a:solidFill>
          <a:ln w="12700" algn="ctr">
            <a:solidFill>
              <a:schemeClr val="bg1"/>
            </a:solidFill>
            <a:miter lim="800000"/>
            <a:headEnd type="none" w="sm" len="sm"/>
            <a:tailEnd type="none" w="med" len="lg"/>
          </a:ln>
        </p:spPr>
        <p:txBody>
          <a:bodyPr wrap="square" lIns="27000" tIns="27000" rIns="27000" bIns="27000" anchor="ctr"/>
          <a:lstStyle/>
          <a:p>
            <a:pPr algn="ctr" defTabSz="685800">
              <a:buClr>
                <a:prstClr val="white"/>
              </a:buClr>
              <a:buSzPct val="100000"/>
              <a:buFontTx/>
              <a:buChar char=" "/>
              <a:defRPr/>
            </a:pPr>
            <a:r>
              <a:rPr lang="en-US" altLang="ja-JP" sz="825" kern="1200">
                <a:solidFill>
                  <a:prstClr val="white"/>
                </a:solidFill>
                <a:ea typeface="ＭＳ Ｐゴシック" pitchFamily="50" charset="-128"/>
                <a:cs typeface="+mn-cs"/>
              </a:rPr>
              <a:t>Text</a:t>
            </a:r>
            <a:endParaRPr lang="en-US" altLang="ja-JP" sz="825" kern="1200" dirty="0">
              <a:solidFill>
                <a:prstClr val="white"/>
              </a:solidFill>
              <a:ea typeface="ＭＳ Ｐゴシック" pitchFamily="50" charset="-128"/>
              <a:cs typeface="+mn-cs"/>
            </a:endParaRPr>
          </a:p>
        </p:txBody>
      </p:sp>
      <p:sp>
        <p:nvSpPr>
          <p:cNvPr id="5" name="Rectangle 4"/>
          <p:cNvSpPr>
            <a:spLocks noChangeArrowheads="1"/>
          </p:cNvSpPr>
          <p:nvPr/>
        </p:nvSpPr>
        <p:spPr bwMode="auto">
          <a:xfrm>
            <a:off x="3548461" y="2513410"/>
            <a:ext cx="1297781" cy="315516"/>
          </a:xfrm>
          <a:prstGeom prst="rect">
            <a:avLst/>
          </a:prstGeom>
          <a:solidFill>
            <a:srgbClr val="00A1DE"/>
          </a:solidFill>
          <a:ln w="12700" algn="ctr">
            <a:solidFill>
              <a:schemeClr val="bg1"/>
            </a:solidFill>
            <a:miter lim="800000"/>
            <a:headEnd type="none" w="sm" len="sm"/>
            <a:tailEnd type="none" w="med" len="lg"/>
          </a:ln>
        </p:spPr>
        <p:txBody>
          <a:bodyPr wrap="square" lIns="27000" tIns="27000" rIns="27000" bIns="27000" anchor="ctr"/>
          <a:lstStyle/>
          <a:p>
            <a:pPr algn="ctr" defTabSz="685800">
              <a:buClr>
                <a:prstClr val="white"/>
              </a:buClr>
              <a:buSzPct val="100000"/>
              <a:buFontTx/>
              <a:buChar char=" "/>
              <a:defRPr/>
            </a:pPr>
            <a:r>
              <a:rPr lang="en-US" altLang="ja-JP" sz="825" kern="1200">
                <a:solidFill>
                  <a:prstClr val="white"/>
                </a:solidFill>
                <a:ea typeface="ＭＳ Ｐゴシック" pitchFamily="50" charset="-128"/>
                <a:cs typeface="+mn-cs"/>
              </a:rPr>
              <a:t>Text</a:t>
            </a:r>
            <a:endParaRPr lang="en-US" altLang="ja-JP" sz="825" kern="1200" dirty="0">
              <a:solidFill>
                <a:prstClr val="white"/>
              </a:solidFill>
              <a:ea typeface="ＭＳ Ｐゴシック" pitchFamily="50" charset="-128"/>
              <a:cs typeface="+mn-cs"/>
            </a:endParaRPr>
          </a:p>
        </p:txBody>
      </p:sp>
      <p:sp>
        <p:nvSpPr>
          <p:cNvPr id="6" name="Rectangle 5"/>
          <p:cNvSpPr>
            <a:spLocks noChangeArrowheads="1"/>
          </p:cNvSpPr>
          <p:nvPr/>
        </p:nvSpPr>
        <p:spPr bwMode="auto">
          <a:xfrm>
            <a:off x="4978798" y="2513410"/>
            <a:ext cx="1295400" cy="315516"/>
          </a:xfrm>
          <a:prstGeom prst="rect">
            <a:avLst/>
          </a:prstGeom>
          <a:solidFill>
            <a:srgbClr val="00A1DE"/>
          </a:solidFill>
          <a:ln w="12700" algn="ctr">
            <a:solidFill>
              <a:schemeClr val="bg1"/>
            </a:solidFill>
            <a:miter lim="800000"/>
            <a:headEnd type="none" w="sm" len="sm"/>
            <a:tailEnd type="none" w="med" len="lg"/>
          </a:ln>
        </p:spPr>
        <p:txBody>
          <a:bodyPr wrap="square" lIns="27000" tIns="27000" rIns="27000" bIns="27000" anchor="ctr"/>
          <a:lstStyle/>
          <a:p>
            <a:pPr algn="ctr" defTabSz="685800">
              <a:buClr>
                <a:prstClr val="white"/>
              </a:buClr>
              <a:buSzPct val="100000"/>
              <a:buFontTx/>
              <a:buChar char=" "/>
              <a:defRPr/>
            </a:pPr>
            <a:r>
              <a:rPr lang="en-US" altLang="ja-JP" sz="825" kern="1200">
                <a:solidFill>
                  <a:prstClr val="white"/>
                </a:solidFill>
                <a:ea typeface="ＭＳ Ｐゴシック" pitchFamily="50" charset="-128"/>
                <a:cs typeface="+mn-cs"/>
              </a:rPr>
              <a:t>Text</a:t>
            </a:r>
            <a:endParaRPr lang="en-US" altLang="ja-JP" sz="825" kern="1200" dirty="0">
              <a:solidFill>
                <a:prstClr val="white"/>
              </a:solidFill>
              <a:ea typeface="ＭＳ Ｐゴシック" pitchFamily="50" charset="-128"/>
              <a:cs typeface="+mn-cs"/>
            </a:endParaRPr>
          </a:p>
        </p:txBody>
      </p:sp>
      <p:sp>
        <p:nvSpPr>
          <p:cNvPr id="7" name="Rectangle 6"/>
          <p:cNvSpPr>
            <a:spLocks noChangeArrowheads="1"/>
          </p:cNvSpPr>
          <p:nvPr/>
        </p:nvSpPr>
        <p:spPr bwMode="auto">
          <a:xfrm>
            <a:off x="6406754" y="2513410"/>
            <a:ext cx="1296590" cy="315516"/>
          </a:xfrm>
          <a:prstGeom prst="rect">
            <a:avLst/>
          </a:prstGeom>
          <a:solidFill>
            <a:srgbClr val="00A1DE"/>
          </a:solidFill>
          <a:ln w="12700" algn="ctr">
            <a:solidFill>
              <a:schemeClr val="bg1"/>
            </a:solidFill>
            <a:miter lim="800000"/>
            <a:headEnd type="none" w="sm" len="sm"/>
            <a:tailEnd type="none" w="med" len="lg"/>
          </a:ln>
        </p:spPr>
        <p:txBody>
          <a:bodyPr wrap="square" lIns="27000" tIns="27000" rIns="27000" bIns="27000" anchor="ctr"/>
          <a:lstStyle/>
          <a:p>
            <a:pPr algn="ctr" defTabSz="685800">
              <a:buClr>
                <a:prstClr val="white"/>
              </a:buClr>
              <a:buSzPct val="100000"/>
              <a:buFontTx/>
              <a:buChar char=" "/>
              <a:defRPr/>
            </a:pPr>
            <a:r>
              <a:rPr lang="en-US" altLang="ja-JP" sz="825" kern="1200">
                <a:solidFill>
                  <a:prstClr val="white"/>
                </a:solidFill>
                <a:ea typeface="ＭＳ Ｐゴシック" pitchFamily="50" charset="-128"/>
                <a:cs typeface="+mn-cs"/>
              </a:rPr>
              <a:t>Text</a:t>
            </a:r>
            <a:endParaRPr lang="en-US" altLang="ja-JP" sz="825" kern="1200" dirty="0">
              <a:solidFill>
                <a:prstClr val="white"/>
              </a:solidFill>
              <a:ea typeface="ＭＳ Ｐゴシック" pitchFamily="50" charset="-128"/>
              <a:cs typeface="+mn-cs"/>
            </a:endParaRPr>
          </a:p>
        </p:txBody>
      </p:sp>
      <p:sp>
        <p:nvSpPr>
          <p:cNvPr id="8" name="Rectangle 7"/>
          <p:cNvSpPr>
            <a:spLocks noChangeArrowheads="1"/>
          </p:cNvSpPr>
          <p:nvPr/>
        </p:nvSpPr>
        <p:spPr bwMode="auto">
          <a:xfrm>
            <a:off x="2119313" y="3020617"/>
            <a:ext cx="1744266" cy="315515"/>
          </a:xfrm>
          <a:prstGeom prst="rect">
            <a:avLst/>
          </a:prstGeom>
          <a:solidFill>
            <a:srgbClr val="00A1DE"/>
          </a:solidFill>
          <a:ln w="12700" algn="ctr">
            <a:solidFill>
              <a:schemeClr val="bg1"/>
            </a:solidFill>
            <a:miter lim="800000"/>
            <a:headEnd type="none" w="sm" len="sm"/>
            <a:tailEnd type="none" w="med" len="lg"/>
          </a:ln>
        </p:spPr>
        <p:txBody>
          <a:bodyPr wrap="square" lIns="27000" tIns="27000" rIns="27000" bIns="27000" anchor="ctr"/>
          <a:lstStyle/>
          <a:p>
            <a:pPr algn="ctr" defTabSz="685800">
              <a:buClr>
                <a:prstClr val="white"/>
              </a:buClr>
              <a:buSzPct val="100000"/>
              <a:buFontTx/>
              <a:buChar char=" "/>
              <a:defRPr/>
            </a:pPr>
            <a:r>
              <a:rPr lang="en-US" altLang="ja-JP" sz="825" kern="1200">
                <a:solidFill>
                  <a:prstClr val="white"/>
                </a:solidFill>
                <a:ea typeface="ＭＳ Ｐゴシック" pitchFamily="50" charset="-128"/>
                <a:cs typeface="+mn-cs"/>
              </a:rPr>
              <a:t>Text</a:t>
            </a:r>
            <a:endParaRPr lang="en-US" altLang="ja-JP" sz="825" kern="1200" dirty="0">
              <a:solidFill>
                <a:prstClr val="white"/>
              </a:solidFill>
              <a:ea typeface="ＭＳ Ｐゴシック" pitchFamily="50" charset="-128"/>
              <a:cs typeface="+mn-cs"/>
            </a:endParaRPr>
          </a:p>
        </p:txBody>
      </p:sp>
      <p:sp>
        <p:nvSpPr>
          <p:cNvPr id="9" name="Rectangle 8"/>
          <p:cNvSpPr>
            <a:spLocks noChangeArrowheads="1"/>
          </p:cNvSpPr>
          <p:nvPr/>
        </p:nvSpPr>
        <p:spPr bwMode="auto">
          <a:xfrm>
            <a:off x="4038006" y="3020616"/>
            <a:ext cx="1745456" cy="315516"/>
          </a:xfrm>
          <a:prstGeom prst="rect">
            <a:avLst/>
          </a:prstGeom>
          <a:solidFill>
            <a:srgbClr val="00A1DE"/>
          </a:solidFill>
          <a:ln w="12700" algn="ctr">
            <a:solidFill>
              <a:schemeClr val="bg1"/>
            </a:solidFill>
            <a:miter lim="800000"/>
            <a:headEnd type="none" w="sm" len="sm"/>
            <a:tailEnd type="none" w="med" len="lg"/>
          </a:ln>
        </p:spPr>
        <p:txBody>
          <a:bodyPr wrap="square" lIns="27000" tIns="27000" rIns="27000" bIns="27000" anchor="ctr"/>
          <a:lstStyle/>
          <a:p>
            <a:pPr algn="ctr" defTabSz="685800">
              <a:buClr>
                <a:prstClr val="white"/>
              </a:buClr>
              <a:buSzPct val="100000"/>
              <a:buFontTx/>
              <a:buChar char=" "/>
              <a:defRPr/>
            </a:pPr>
            <a:r>
              <a:rPr lang="en-US" altLang="ja-JP" sz="825" kern="1200">
                <a:solidFill>
                  <a:prstClr val="white"/>
                </a:solidFill>
                <a:ea typeface="ＭＳ Ｐゴシック" pitchFamily="50" charset="-128"/>
                <a:cs typeface="+mn-cs"/>
              </a:rPr>
              <a:t>Text</a:t>
            </a:r>
            <a:endParaRPr lang="en-US" altLang="ja-JP" sz="825" kern="1200" dirty="0">
              <a:solidFill>
                <a:prstClr val="white"/>
              </a:solidFill>
              <a:ea typeface="ＭＳ Ｐゴシック" pitchFamily="50" charset="-128"/>
              <a:cs typeface="+mn-cs"/>
            </a:endParaRPr>
          </a:p>
        </p:txBody>
      </p:sp>
      <p:sp>
        <p:nvSpPr>
          <p:cNvPr id="10" name="Rectangle 9"/>
          <p:cNvSpPr>
            <a:spLocks noChangeArrowheads="1"/>
          </p:cNvSpPr>
          <p:nvPr/>
        </p:nvSpPr>
        <p:spPr bwMode="auto">
          <a:xfrm>
            <a:off x="5957888" y="3020616"/>
            <a:ext cx="1745456" cy="315516"/>
          </a:xfrm>
          <a:prstGeom prst="rect">
            <a:avLst/>
          </a:prstGeom>
          <a:solidFill>
            <a:srgbClr val="00A1DE"/>
          </a:solidFill>
          <a:ln w="12700" algn="ctr">
            <a:solidFill>
              <a:schemeClr val="bg1"/>
            </a:solidFill>
            <a:miter lim="800000"/>
            <a:headEnd type="none" w="sm" len="sm"/>
            <a:tailEnd type="none" w="med" len="lg"/>
          </a:ln>
        </p:spPr>
        <p:txBody>
          <a:bodyPr wrap="square" lIns="27000" tIns="27000" rIns="27000" bIns="27000" anchor="ctr"/>
          <a:lstStyle/>
          <a:p>
            <a:pPr algn="ctr" defTabSz="685800">
              <a:buClr>
                <a:prstClr val="white"/>
              </a:buClr>
              <a:buSzPct val="100000"/>
              <a:buFontTx/>
              <a:buChar char=" "/>
              <a:defRPr/>
            </a:pPr>
            <a:r>
              <a:rPr lang="en-US" altLang="ja-JP" sz="825" kern="1200">
                <a:solidFill>
                  <a:prstClr val="white"/>
                </a:solidFill>
                <a:ea typeface="ＭＳ Ｐゴシック" pitchFamily="50" charset="-128"/>
                <a:cs typeface="+mn-cs"/>
              </a:rPr>
              <a:t>Text</a:t>
            </a:r>
            <a:endParaRPr lang="en-US" altLang="ja-JP" sz="825" kern="1200" dirty="0">
              <a:solidFill>
                <a:prstClr val="white"/>
              </a:solidFill>
              <a:ea typeface="ＭＳ Ｐゴシック" pitchFamily="50" charset="-128"/>
              <a:cs typeface="+mn-cs"/>
            </a:endParaRPr>
          </a:p>
        </p:txBody>
      </p:sp>
      <p:sp>
        <p:nvSpPr>
          <p:cNvPr id="11" name="Rectangle 10"/>
          <p:cNvSpPr>
            <a:spLocks noChangeArrowheads="1"/>
          </p:cNvSpPr>
          <p:nvPr/>
        </p:nvSpPr>
        <p:spPr bwMode="auto">
          <a:xfrm>
            <a:off x="5559327" y="2006204"/>
            <a:ext cx="997744" cy="315515"/>
          </a:xfrm>
          <a:prstGeom prst="rect">
            <a:avLst/>
          </a:prstGeom>
          <a:solidFill>
            <a:srgbClr val="00A1DE"/>
          </a:solidFill>
          <a:ln w="12700" algn="ctr">
            <a:solidFill>
              <a:schemeClr val="bg1"/>
            </a:solidFill>
            <a:miter lim="800000"/>
            <a:headEnd type="none" w="sm" len="sm"/>
            <a:tailEnd type="none" w="med" len="lg"/>
          </a:ln>
        </p:spPr>
        <p:txBody>
          <a:bodyPr wrap="square" lIns="27000" tIns="27000" rIns="27000" bIns="27000" anchor="ctr"/>
          <a:lstStyle/>
          <a:p>
            <a:pPr algn="ctr" defTabSz="685800">
              <a:buClr>
                <a:prstClr val="white"/>
              </a:buClr>
              <a:buSzPct val="100000"/>
              <a:buFontTx/>
              <a:buChar char=" "/>
              <a:defRPr/>
            </a:pPr>
            <a:r>
              <a:rPr lang="en-US" altLang="ja-JP" sz="825" kern="1200">
                <a:solidFill>
                  <a:prstClr val="white"/>
                </a:solidFill>
                <a:ea typeface="ＭＳ Ｐゴシック" pitchFamily="50" charset="-128"/>
                <a:cs typeface="+mn-cs"/>
              </a:rPr>
              <a:t>Text</a:t>
            </a:r>
            <a:endParaRPr lang="en-US" altLang="ja-JP" sz="825" kern="1200" dirty="0">
              <a:solidFill>
                <a:prstClr val="white"/>
              </a:solidFill>
              <a:ea typeface="ＭＳ Ｐゴシック" pitchFamily="50" charset="-128"/>
              <a:cs typeface="+mn-cs"/>
            </a:endParaRPr>
          </a:p>
        </p:txBody>
      </p:sp>
      <p:sp>
        <p:nvSpPr>
          <p:cNvPr id="12" name="Rectangle 11"/>
          <p:cNvSpPr>
            <a:spLocks noChangeArrowheads="1"/>
          </p:cNvSpPr>
          <p:nvPr/>
        </p:nvSpPr>
        <p:spPr bwMode="auto">
          <a:xfrm>
            <a:off x="4413053" y="2006204"/>
            <a:ext cx="997744" cy="315515"/>
          </a:xfrm>
          <a:prstGeom prst="rect">
            <a:avLst/>
          </a:prstGeom>
          <a:solidFill>
            <a:srgbClr val="00A1DE"/>
          </a:solidFill>
          <a:ln w="12700" algn="ctr">
            <a:solidFill>
              <a:schemeClr val="bg1"/>
            </a:solidFill>
            <a:miter lim="800000"/>
            <a:headEnd type="none" w="sm" len="sm"/>
            <a:tailEnd type="none" w="med" len="lg"/>
          </a:ln>
        </p:spPr>
        <p:txBody>
          <a:bodyPr wrap="square" lIns="27000" tIns="27000" rIns="27000" bIns="27000" anchor="ctr"/>
          <a:lstStyle/>
          <a:p>
            <a:pPr algn="ctr" defTabSz="685800">
              <a:buClr>
                <a:prstClr val="white"/>
              </a:buClr>
              <a:buSzPct val="100000"/>
              <a:buFontTx/>
              <a:buChar char=" "/>
              <a:defRPr/>
            </a:pPr>
            <a:r>
              <a:rPr lang="en-US" altLang="ja-JP" sz="825" kern="1200">
                <a:solidFill>
                  <a:prstClr val="white"/>
                </a:solidFill>
                <a:ea typeface="ＭＳ Ｐゴシック" pitchFamily="50" charset="-128"/>
                <a:cs typeface="+mn-cs"/>
              </a:rPr>
              <a:t>Text</a:t>
            </a:r>
            <a:endParaRPr lang="en-US" altLang="ja-JP" sz="825" kern="1200" dirty="0">
              <a:solidFill>
                <a:prstClr val="white"/>
              </a:solidFill>
              <a:ea typeface="ＭＳ Ｐゴシック" pitchFamily="50" charset="-128"/>
              <a:cs typeface="+mn-cs"/>
            </a:endParaRPr>
          </a:p>
        </p:txBody>
      </p:sp>
      <p:sp>
        <p:nvSpPr>
          <p:cNvPr id="13" name="Rectangle 12"/>
          <p:cNvSpPr>
            <a:spLocks noChangeArrowheads="1"/>
          </p:cNvSpPr>
          <p:nvPr/>
        </p:nvSpPr>
        <p:spPr bwMode="auto">
          <a:xfrm>
            <a:off x="3266778" y="2006204"/>
            <a:ext cx="997744" cy="315515"/>
          </a:xfrm>
          <a:prstGeom prst="rect">
            <a:avLst/>
          </a:prstGeom>
          <a:solidFill>
            <a:srgbClr val="00A1DE"/>
          </a:solidFill>
          <a:ln w="12700" algn="ctr">
            <a:solidFill>
              <a:schemeClr val="bg1"/>
            </a:solidFill>
            <a:miter lim="800000"/>
            <a:headEnd type="none" w="sm" len="sm"/>
            <a:tailEnd type="none" w="med" len="lg"/>
          </a:ln>
        </p:spPr>
        <p:txBody>
          <a:bodyPr wrap="square" lIns="27000" tIns="27000" rIns="27000" bIns="27000" anchor="ctr"/>
          <a:lstStyle/>
          <a:p>
            <a:pPr algn="ctr" defTabSz="685800">
              <a:buClr>
                <a:prstClr val="white"/>
              </a:buClr>
              <a:buSzPct val="100000"/>
              <a:buFontTx/>
              <a:buChar char=" "/>
              <a:defRPr/>
            </a:pPr>
            <a:r>
              <a:rPr lang="en-US" altLang="ja-JP" sz="825" kern="1200">
                <a:solidFill>
                  <a:prstClr val="white"/>
                </a:solidFill>
                <a:ea typeface="ＭＳ Ｐゴシック" pitchFamily="50" charset="-128"/>
                <a:cs typeface="+mn-cs"/>
              </a:rPr>
              <a:t>Text</a:t>
            </a:r>
            <a:endParaRPr lang="en-US" altLang="ja-JP" sz="825" kern="1200" dirty="0">
              <a:solidFill>
                <a:prstClr val="white"/>
              </a:solidFill>
              <a:ea typeface="ＭＳ Ｐゴシック" pitchFamily="50" charset="-128"/>
              <a:cs typeface="+mn-cs"/>
            </a:endParaRPr>
          </a:p>
        </p:txBody>
      </p:sp>
      <p:sp>
        <p:nvSpPr>
          <p:cNvPr id="14" name="Rectangle 13"/>
          <p:cNvSpPr>
            <a:spLocks noChangeArrowheads="1"/>
          </p:cNvSpPr>
          <p:nvPr/>
        </p:nvSpPr>
        <p:spPr bwMode="auto">
          <a:xfrm>
            <a:off x="2119313" y="2006204"/>
            <a:ext cx="998935" cy="315515"/>
          </a:xfrm>
          <a:prstGeom prst="rect">
            <a:avLst/>
          </a:prstGeom>
          <a:solidFill>
            <a:srgbClr val="00A1DE"/>
          </a:solidFill>
          <a:ln w="12700" algn="ctr">
            <a:solidFill>
              <a:schemeClr val="bg1"/>
            </a:solidFill>
            <a:miter lim="800000"/>
            <a:headEnd type="none" w="sm" len="sm"/>
            <a:tailEnd type="none" w="med" len="lg"/>
          </a:ln>
        </p:spPr>
        <p:txBody>
          <a:bodyPr wrap="square" lIns="27000" tIns="27000" rIns="27000" bIns="27000" anchor="ctr"/>
          <a:lstStyle/>
          <a:p>
            <a:pPr algn="ctr" defTabSz="685800">
              <a:buClr>
                <a:prstClr val="white"/>
              </a:buClr>
              <a:buSzPct val="100000"/>
              <a:buFontTx/>
              <a:buChar char=" "/>
              <a:defRPr/>
            </a:pPr>
            <a:r>
              <a:rPr lang="en-US" altLang="ja-JP" sz="825" kern="1200">
                <a:solidFill>
                  <a:prstClr val="white"/>
                </a:solidFill>
                <a:ea typeface="ＭＳ Ｐゴシック" pitchFamily="50" charset="-128"/>
                <a:cs typeface="+mn-cs"/>
              </a:rPr>
              <a:t>Text</a:t>
            </a:r>
            <a:endParaRPr lang="en-US" altLang="ja-JP" sz="825" kern="1200" dirty="0">
              <a:solidFill>
                <a:prstClr val="white"/>
              </a:solidFill>
              <a:ea typeface="ＭＳ Ｐゴシック" pitchFamily="50" charset="-128"/>
              <a:cs typeface="+mn-cs"/>
            </a:endParaRPr>
          </a:p>
        </p:txBody>
      </p:sp>
      <p:sp>
        <p:nvSpPr>
          <p:cNvPr id="15" name="Rectangle 14"/>
          <p:cNvSpPr>
            <a:spLocks noChangeArrowheads="1"/>
          </p:cNvSpPr>
          <p:nvPr/>
        </p:nvSpPr>
        <p:spPr bwMode="auto">
          <a:xfrm>
            <a:off x="6955631" y="1482329"/>
            <a:ext cx="747713" cy="315515"/>
          </a:xfrm>
          <a:prstGeom prst="rect">
            <a:avLst/>
          </a:prstGeom>
          <a:solidFill>
            <a:srgbClr val="00A1DE"/>
          </a:solidFill>
          <a:ln w="12700" algn="ctr">
            <a:solidFill>
              <a:schemeClr val="bg1"/>
            </a:solidFill>
            <a:miter lim="800000"/>
            <a:headEnd type="none" w="sm" len="sm"/>
            <a:tailEnd type="none" w="med" len="lg"/>
          </a:ln>
        </p:spPr>
        <p:txBody>
          <a:bodyPr wrap="square" lIns="27000" tIns="27000" rIns="27000" bIns="27000" anchor="ctr"/>
          <a:lstStyle/>
          <a:p>
            <a:pPr algn="ctr" defTabSz="685800">
              <a:buClr>
                <a:prstClr val="white"/>
              </a:buClr>
              <a:buSzPct val="100000"/>
              <a:buFontTx/>
              <a:buChar char=" "/>
              <a:defRPr/>
            </a:pPr>
            <a:r>
              <a:rPr lang="en-US" altLang="ja-JP" sz="825" kern="1200">
                <a:solidFill>
                  <a:prstClr val="white"/>
                </a:solidFill>
                <a:ea typeface="ＭＳ Ｐゴシック" pitchFamily="50" charset="-128"/>
                <a:cs typeface="+mn-cs"/>
              </a:rPr>
              <a:t>Text</a:t>
            </a:r>
            <a:endParaRPr lang="en-US" altLang="ja-JP" sz="825" kern="1200" dirty="0">
              <a:solidFill>
                <a:prstClr val="white"/>
              </a:solidFill>
              <a:ea typeface="ＭＳ Ｐゴシック" pitchFamily="50" charset="-128"/>
              <a:cs typeface="+mn-cs"/>
            </a:endParaRPr>
          </a:p>
        </p:txBody>
      </p:sp>
      <p:sp>
        <p:nvSpPr>
          <p:cNvPr id="16" name="Rectangle 15"/>
          <p:cNvSpPr>
            <a:spLocks noChangeArrowheads="1"/>
          </p:cNvSpPr>
          <p:nvPr/>
        </p:nvSpPr>
        <p:spPr bwMode="auto">
          <a:xfrm>
            <a:off x="6149380" y="1482329"/>
            <a:ext cx="747713" cy="315515"/>
          </a:xfrm>
          <a:prstGeom prst="rect">
            <a:avLst/>
          </a:prstGeom>
          <a:solidFill>
            <a:srgbClr val="00A1DE"/>
          </a:solidFill>
          <a:ln w="12700" algn="ctr">
            <a:solidFill>
              <a:schemeClr val="bg1"/>
            </a:solidFill>
            <a:miter lim="800000"/>
            <a:headEnd type="none" w="sm" len="sm"/>
            <a:tailEnd type="none" w="med" len="lg"/>
          </a:ln>
        </p:spPr>
        <p:txBody>
          <a:bodyPr wrap="square" lIns="27000" tIns="27000" rIns="27000" bIns="27000" anchor="ctr"/>
          <a:lstStyle/>
          <a:p>
            <a:pPr algn="ctr" defTabSz="685800">
              <a:buClr>
                <a:prstClr val="white"/>
              </a:buClr>
              <a:buSzPct val="100000"/>
              <a:buFontTx/>
              <a:buChar char=" "/>
              <a:defRPr/>
            </a:pPr>
            <a:r>
              <a:rPr lang="en-US" altLang="ja-JP" sz="825" kern="1200">
                <a:solidFill>
                  <a:prstClr val="white"/>
                </a:solidFill>
                <a:ea typeface="ＭＳ Ｐゴシック" pitchFamily="50" charset="-128"/>
                <a:cs typeface="+mn-cs"/>
              </a:rPr>
              <a:t>Text</a:t>
            </a:r>
            <a:endParaRPr lang="en-US" altLang="ja-JP" sz="825" kern="1200" dirty="0">
              <a:solidFill>
                <a:prstClr val="white"/>
              </a:solidFill>
              <a:ea typeface="ＭＳ Ｐゴシック" pitchFamily="50" charset="-128"/>
              <a:cs typeface="+mn-cs"/>
            </a:endParaRPr>
          </a:p>
        </p:txBody>
      </p:sp>
      <p:sp>
        <p:nvSpPr>
          <p:cNvPr id="17" name="Rectangle 16"/>
          <p:cNvSpPr>
            <a:spLocks noChangeArrowheads="1"/>
          </p:cNvSpPr>
          <p:nvPr/>
        </p:nvSpPr>
        <p:spPr bwMode="auto">
          <a:xfrm>
            <a:off x="2925564" y="1482329"/>
            <a:ext cx="747713" cy="315515"/>
          </a:xfrm>
          <a:prstGeom prst="rect">
            <a:avLst/>
          </a:prstGeom>
          <a:solidFill>
            <a:srgbClr val="00A1DE"/>
          </a:solidFill>
          <a:ln w="12700" algn="ctr">
            <a:solidFill>
              <a:schemeClr val="bg1"/>
            </a:solidFill>
            <a:miter lim="800000"/>
            <a:headEnd type="none" w="sm" len="sm"/>
            <a:tailEnd type="none" w="med" len="lg"/>
          </a:ln>
        </p:spPr>
        <p:txBody>
          <a:bodyPr wrap="square" lIns="27000" tIns="27000" rIns="27000" bIns="27000" anchor="ctr"/>
          <a:lstStyle/>
          <a:p>
            <a:pPr algn="ctr" defTabSz="685800">
              <a:buClr>
                <a:prstClr val="white"/>
              </a:buClr>
              <a:buSzPct val="100000"/>
              <a:buFontTx/>
              <a:buChar char=" "/>
              <a:defRPr/>
            </a:pPr>
            <a:r>
              <a:rPr lang="en-US" altLang="ja-JP" sz="825" kern="1200" dirty="0">
                <a:solidFill>
                  <a:prstClr val="white"/>
                </a:solidFill>
                <a:ea typeface="ＭＳ Ｐゴシック" pitchFamily="50" charset="-128"/>
                <a:cs typeface="+mn-cs"/>
              </a:rPr>
              <a:t>Text</a:t>
            </a:r>
          </a:p>
        </p:txBody>
      </p:sp>
      <p:sp>
        <p:nvSpPr>
          <p:cNvPr id="18" name="Rectangle 17"/>
          <p:cNvSpPr>
            <a:spLocks noChangeArrowheads="1"/>
          </p:cNvSpPr>
          <p:nvPr/>
        </p:nvSpPr>
        <p:spPr bwMode="auto">
          <a:xfrm>
            <a:off x="2119312" y="1482329"/>
            <a:ext cx="747713" cy="315515"/>
          </a:xfrm>
          <a:prstGeom prst="rect">
            <a:avLst/>
          </a:prstGeom>
          <a:solidFill>
            <a:srgbClr val="00A1DE"/>
          </a:solidFill>
          <a:ln w="12700" algn="ctr">
            <a:solidFill>
              <a:schemeClr val="bg1"/>
            </a:solidFill>
            <a:miter lim="800000"/>
            <a:headEnd type="none" w="sm" len="sm"/>
            <a:tailEnd type="none" w="med" len="lg"/>
          </a:ln>
        </p:spPr>
        <p:txBody>
          <a:bodyPr wrap="square" lIns="27000" tIns="27000" rIns="27000" bIns="27000" anchor="ctr"/>
          <a:lstStyle/>
          <a:p>
            <a:pPr algn="ctr" defTabSz="685800">
              <a:buClr>
                <a:prstClr val="white"/>
              </a:buClr>
              <a:buSzPct val="100000"/>
              <a:buFontTx/>
              <a:buChar char=" "/>
              <a:defRPr/>
            </a:pPr>
            <a:r>
              <a:rPr lang="en-US" altLang="ja-JP" sz="825" kern="1200" dirty="0">
                <a:solidFill>
                  <a:prstClr val="white"/>
                </a:solidFill>
                <a:ea typeface="ＭＳ Ｐゴシック" pitchFamily="50" charset="-128"/>
                <a:cs typeface="+mn-cs"/>
              </a:rPr>
              <a:t>Text</a:t>
            </a:r>
          </a:p>
        </p:txBody>
      </p:sp>
      <p:sp>
        <p:nvSpPr>
          <p:cNvPr id="19" name="Rectangle 18"/>
          <p:cNvSpPr>
            <a:spLocks noChangeArrowheads="1"/>
          </p:cNvSpPr>
          <p:nvPr/>
        </p:nvSpPr>
        <p:spPr bwMode="auto">
          <a:xfrm>
            <a:off x="5343128" y="1482329"/>
            <a:ext cx="747713" cy="315515"/>
          </a:xfrm>
          <a:prstGeom prst="rect">
            <a:avLst/>
          </a:prstGeom>
          <a:solidFill>
            <a:srgbClr val="00A1DE"/>
          </a:solidFill>
          <a:ln w="12700" algn="ctr">
            <a:solidFill>
              <a:schemeClr val="bg1"/>
            </a:solidFill>
            <a:miter lim="800000"/>
            <a:headEnd type="none" w="sm" len="sm"/>
            <a:tailEnd type="none" w="med" len="lg"/>
          </a:ln>
        </p:spPr>
        <p:txBody>
          <a:bodyPr wrap="square" lIns="27000" tIns="27000" rIns="27000" bIns="27000" anchor="ctr"/>
          <a:lstStyle/>
          <a:p>
            <a:pPr algn="ctr" defTabSz="685800">
              <a:buClr>
                <a:prstClr val="white"/>
              </a:buClr>
              <a:buSzPct val="100000"/>
              <a:buFontTx/>
              <a:buChar char=" "/>
              <a:defRPr/>
            </a:pPr>
            <a:r>
              <a:rPr lang="en-US" altLang="ja-JP" sz="825" kern="1200">
                <a:solidFill>
                  <a:prstClr val="white"/>
                </a:solidFill>
                <a:ea typeface="ＭＳ Ｐゴシック" pitchFamily="50" charset="-128"/>
                <a:cs typeface="+mn-cs"/>
              </a:rPr>
              <a:t>Text</a:t>
            </a:r>
            <a:endParaRPr lang="en-US" altLang="ja-JP" sz="825" kern="1200" dirty="0">
              <a:solidFill>
                <a:prstClr val="white"/>
              </a:solidFill>
              <a:ea typeface="ＭＳ Ｐゴシック" pitchFamily="50" charset="-128"/>
              <a:cs typeface="+mn-cs"/>
            </a:endParaRPr>
          </a:p>
        </p:txBody>
      </p:sp>
      <p:sp>
        <p:nvSpPr>
          <p:cNvPr id="20" name="Rectangle 19"/>
          <p:cNvSpPr>
            <a:spLocks noChangeArrowheads="1"/>
          </p:cNvSpPr>
          <p:nvPr/>
        </p:nvSpPr>
        <p:spPr bwMode="auto">
          <a:xfrm>
            <a:off x="2119312" y="3507581"/>
            <a:ext cx="2692004" cy="315516"/>
          </a:xfrm>
          <a:prstGeom prst="rect">
            <a:avLst/>
          </a:prstGeom>
          <a:solidFill>
            <a:srgbClr val="00A1DE"/>
          </a:solidFill>
          <a:ln w="12700" algn="ctr">
            <a:solidFill>
              <a:schemeClr val="bg1"/>
            </a:solidFill>
            <a:miter lim="800000"/>
            <a:headEnd type="none" w="sm" len="sm"/>
            <a:tailEnd type="none" w="med" len="lg"/>
          </a:ln>
        </p:spPr>
        <p:txBody>
          <a:bodyPr wrap="square" lIns="27000" tIns="27000" rIns="27000" bIns="27000" anchor="ctr"/>
          <a:lstStyle/>
          <a:p>
            <a:pPr algn="ctr" defTabSz="685800">
              <a:buClr>
                <a:prstClr val="white"/>
              </a:buClr>
              <a:buSzPct val="100000"/>
              <a:buFontTx/>
              <a:buChar char=" "/>
              <a:defRPr/>
            </a:pPr>
            <a:r>
              <a:rPr lang="en-US" altLang="ja-JP" sz="825" kern="1200">
                <a:solidFill>
                  <a:prstClr val="white"/>
                </a:solidFill>
                <a:ea typeface="ＭＳ Ｐゴシック" pitchFamily="50" charset="-128"/>
                <a:cs typeface="+mn-cs"/>
              </a:rPr>
              <a:t>Text</a:t>
            </a:r>
            <a:endParaRPr lang="en-US" altLang="ja-JP" sz="825" kern="1200" dirty="0">
              <a:solidFill>
                <a:prstClr val="white"/>
              </a:solidFill>
              <a:ea typeface="ＭＳ Ｐゴシック" pitchFamily="50" charset="-128"/>
              <a:cs typeface="+mn-cs"/>
            </a:endParaRPr>
          </a:p>
        </p:txBody>
      </p:sp>
      <p:sp>
        <p:nvSpPr>
          <p:cNvPr id="21" name="Rectangle 20"/>
          <p:cNvSpPr>
            <a:spLocks noChangeArrowheads="1"/>
          </p:cNvSpPr>
          <p:nvPr/>
        </p:nvSpPr>
        <p:spPr bwMode="auto">
          <a:xfrm>
            <a:off x="5011341" y="3507581"/>
            <a:ext cx="2692003" cy="315516"/>
          </a:xfrm>
          <a:prstGeom prst="rect">
            <a:avLst/>
          </a:prstGeom>
          <a:solidFill>
            <a:srgbClr val="00A1DE"/>
          </a:solidFill>
          <a:ln w="12700" algn="ctr">
            <a:solidFill>
              <a:schemeClr val="bg1"/>
            </a:solidFill>
            <a:miter lim="800000"/>
            <a:headEnd type="none" w="sm" len="sm"/>
            <a:tailEnd type="none" w="med" len="lg"/>
          </a:ln>
        </p:spPr>
        <p:txBody>
          <a:bodyPr wrap="square" lIns="27000" tIns="27000" rIns="27000" bIns="27000" anchor="ctr"/>
          <a:lstStyle/>
          <a:p>
            <a:pPr algn="ctr" defTabSz="685800">
              <a:buClr>
                <a:prstClr val="white"/>
              </a:buClr>
              <a:buSzPct val="100000"/>
              <a:buFontTx/>
              <a:buChar char=" "/>
              <a:defRPr/>
            </a:pPr>
            <a:r>
              <a:rPr lang="en-US" altLang="ja-JP" sz="825" kern="1200">
                <a:solidFill>
                  <a:prstClr val="white"/>
                </a:solidFill>
                <a:ea typeface="ＭＳ Ｐゴシック" pitchFamily="50" charset="-128"/>
                <a:cs typeface="+mn-cs"/>
              </a:rPr>
              <a:t>Text</a:t>
            </a:r>
            <a:endParaRPr lang="en-US" altLang="ja-JP" sz="825" kern="1200" dirty="0">
              <a:solidFill>
                <a:prstClr val="white"/>
              </a:solidFill>
              <a:ea typeface="ＭＳ Ｐゴシック" pitchFamily="50" charset="-128"/>
              <a:cs typeface="+mn-cs"/>
            </a:endParaRPr>
          </a:p>
        </p:txBody>
      </p:sp>
      <p:sp>
        <p:nvSpPr>
          <p:cNvPr id="787477" name="Text Box 21"/>
          <p:cNvSpPr txBox="1">
            <a:spLocks noChangeArrowheads="1"/>
          </p:cNvSpPr>
          <p:nvPr/>
        </p:nvSpPr>
        <p:spPr bwMode="auto">
          <a:xfrm>
            <a:off x="1431131" y="1524596"/>
            <a:ext cx="531822" cy="181485"/>
          </a:xfrm>
          <a:prstGeom prst="rect">
            <a:avLst/>
          </a:prstGeom>
          <a:noFill/>
          <a:ln w="9525">
            <a:noFill/>
            <a:miter lim="800000"/>
            <a:headEnd type="none" w="sm" len="sm"/>
            <a:tailEnd type="none" w="med" len="lg"/>
          </a:ln>
        </p:spPr>
        <p:txBody>
          <a:bodyPr wrap="square" lIns="27000" tIns="27000" rIns="27000" bIns="27000">
            <a:spAutoFit/>
          </a:bodyPr>
          <a:lstStyle/>
          <a:p>
            <a:pPr defTabSz="685800">
              <a:buClrTx/>
            </a:pPr>
            <a:r>
              <a:rPr lang="en-US" altLang="ja-JP" sz="825" b="1" kern="1200" dirty="0">
                <a:solidFill>
                  <a:srgbClr val="313131"/>
                </a:solidFill>
                <a:ea typeface="ＭＳ Ｐゴシック" charset="-128"/>
                <a:cs typeface="+mn-cs"/>
              </a:rPr>
              <a:t>Stage ..</a:t>
            </a:r>
          </a:p>
        </p:txBody>
      </p:sp>
      <p:sp>
        <p:nvSpPr>
          <p:cNvPr id="23" name="Line 22"/>
          <p:cNvSpPr>
            <a:spLocks noChangeShapeType="1"/>
          </p:cNvSpPr>
          <p:nvPr/>
        </p:nvSpPr>
        <p:spPr bwMode="auto">
          <a:xfrm>
            <a:off x="1431132" y="1878806"/>
            <a:ext cx="6272213" cy="0"/>
          </a:xfrm>
          <a:prstGeom prst="line">
            <a:avLst/>
          </a:prstGeom>
          <a:noFill/>
          <a:ln w="19050">
            <a:solidFill>
              <a:srgbClr val="B4B4B4"/>
            </a:solidFill>
            <a:prstDash val="dash"/>
            <a:round/>
            <a:headEnd type="none" w="sm" len="sm"/>
            <a:tailEnd type="none" w="med" len="lg"/>
          </a:ln>
        </p:spPr>
        <p:txBody>
          <a:bodyPr wrap="square" lIns="27000" tIns="27000" rIns="27000" bIns="27000"/>
          <a:lstStyle/>
          <a:p>
            <a:pPr defTabSz="685800">
              <a:buClrTx/>
              <a:defRPr/>
            </a:pPr>
            <a:endParaRPr lang="en-US" sz="825" kern="1200" dirty="0">
              <a:solidFill>
                <a:prstClr val="black"/>
              </a:solidFill>
              <a:ea typeface="+mn-ea"/>
              <a:cs typeface="+mn-cs"/>
            </a:endParaRPr>
          </a:p>
        </p:txBody>
      </p:sp>
      <p:sp>
        <p:nvSpPr>
          <p:cNvPr id="24" name="Line 23"/>
          <p:cNvSpPr>
            <a:spLocks noChangeShapeType="1"/>
          </p:cNvSpPr>
          <p:nvPr/>
        </p:nvSpPr>
        <p:spPr bwMode="auto">
          <a:xfrm>
            <a:off x="1431131" y="2396729"/>
            <a:ext cx="6272100" cy="0"/>
          </a:xfrm>
          <a:prstGeom prst="line">
            <a:avLst/>
          </a:prstGeom>
          <a:noFill/>
          <a:ln w="19050">
            <a:solidFill>
              <a:srgbClr val="B4B4B4"/>
            </a:solidFill>
            <a:prstDash val="dash"/>
            <a:round/>
            <a:headEnd type="none" w="sm" len="sm"/>
            <a:tailEnd type="none" w="med" len="lg"/>
          </a:ln>
        </p:spPr>
        <p:txBody>
          <a:bodyPr wrap="square" lIns="27000" tIns="27000" rIns="27000" bIns="27000"/>
          <a:lstStyle/>
          <a:p>
            <a:pPr defTabSz="685800">
              <a:buClrTx/>
              <a:defRPr/>
            </a:pPr>
            <a:endParaRPr lang="en-US" sz="825" kern="1200" dirty="0">
              <a:solidFill>
                <a:prstClr val="black"/>
              </a:solidFill>
              <a:ea typeface="+mn-ea"/>
              <a:cs typeface="+mn-cs"/>
            </a:endParaRPr>
          </a:p>
        </p:txBody>
      </p:sp>
      <p:sp>
        <p:nvSpPr>
          <p:cNvPr id="25" name="Line 24"/>
          <p:cNvSpPr>
            <a:spLocks noChangeShapeType="1"/>
          </p:cNvSpPr>
          <p:nvPr/>
        </p:nvSpPr>
        <p:spPr bwMode="auto">
          <a:xfrm>
            <a:off x="1431131" y="2905125"/>
            <a:ext cx="6272100" cy="0"/>
          </a:xfrm>
          <a:prstGeom prst="line">
            <a:avLst/>
          </a:prstGeom>
          <a:noFill/>
          <a:ln w="19050">
            <a:solidFill>
              <a:srgbClr val="B4B4B4"/>
            </a:solidFill>
            <a:prstDash val="dash"/>
            <a:round/>
            <a:headEnd type="none" w="sm" len="sm"/>
            <a:tailEnd type="none" w="med" len="lg"/>
          </a:ln>
        </p:spPr>
        <p:txBody>
          <a:bodyPr wrap="square" lIns="27000" tIns="27000" rIns="27000" bIns="27000"/>
          <a:lstStyle/>
          <a:p>
            <a:pPr defTabSz="685800">
              <a:buClrTx/>
              <a:defRPr/>
            </a:pPr>
            <a:endParaRPr lang="en-US" sz="825" kern="1200" dirty="0">
              <a:solidFill>
                <a:prstClr val="black"/>
              </a:solidFill>
              <a:ea typeface="+mn-ea"/>
              <a:cs typeface="+mn-cs"/>
            </a:endParaRPr>
          </a:p>
        </p:txBody>
      </p:sp>
      <p:sp>
        <p:nvSpPr>
          <p:cNvPr id="26" name="Line 25"/>
          <p:cNvSpPr>
            <a:spLocks noChangeShapeType="1"/>
          </p:cNvSpPr>
          <p:nvPr/>
        </p:nvSpPr>
        <p:spPr bwMode="auto">
          <a:xfrm>
            <a:off x="1431131" y="3444479"/>
            <a:ext cx="6272100" cy="0"/>
          </a:xfrm>
          <a:prstGeom prst="line">
            <a:avLst/>
          </a:prstGeom>
          <a:noFill/>
          <a:ln w="19050">
            <a:solidFill>
              <a:srgbClr val="B4B4B4"/>
            </a:solidFill>
            <a:prstDash val="dash"/>
            <a:round/>
            <a:headEnd type="none" w="sm" len="sm"/>
            <a:tailEnd type="none" w="med" len="lg"/>
          </a:ln>
        </p:spPr>
        <p:txBody>
          <a:bodyPr wrap="square" lIns="27000" tIns="27000" rIns="27000" bIns="27000"/>
          <a:lstStyle/>
          <a:p>
            <a:pPr defTabSz="685800">
              <a:buClrTx/>
              <a:defRPr/>
            </a:pPr>
            <a:endParaRPr lang="en-US" sz="825" kern="1200" dirty="0">
              <a:solidFill>
                <a:prstClr val="black"/>
              </a:solidFill>
              <a:ea typeface="+mn-ea"/>
              <a:cs typeface="+mn-cs"/>
            </a:endParaRPr>
          </a:p>
        </p:txBody>
      </p:sp>
      <p:sp>
        <p:nvSpPr>
          <p:cNvPr id="28" name="Rectangle 27"/>
          <p:cNvSpPr>
            <a:spLocks noChangeArrowheads="1"/>
          </p:cNvSpPr>
          <p:nvPr/>
        </p:nvSpPr>
        <p:spPr bwMode="auto">
          <a:xfrm>
            <a:off x="3564732" y="4037409"/>
            <a:ext cx="1297781" cy="315516"/>
          </a:xfrm>
          <a:prstGeom prst="rect">
            <a:avLst/>
          </a:prstGeom>
          <a:solidFill>
            <a:srgbClr val="00A1DE"/>
          </a:solidFill>
          <a:ln w="12700" algn="ctr">
            <a:solidFill>
              <a:schemeClr val="bg1"/>
            </a:solidFill>
            <a:miter lim="800000"/>
            <a:headEnd type="none" w="sm" len="sm"/>
            <a:tailEnd type="none" w="med" len="lg"/>
          </a:ln>
        </p:spPr>
        <p:txBody>
          <a:bodyPr wrap="square" lIns="27000" tIns="27000" rIns="27000" bIns="27000" anchor="ctr"/>
          <a:lstStyle/>
          <a:p>
            <a:pPr algn="ctr" defTabSz="685800">
              <a:buClr>
                <a:prstClr val="white"/>
              </a:buClr>
              <a:buSzPct val="100000"/>
              <a:buFontTx/>
              <a:buChar char=" "/>
              <a:defRPr/>
            </a:pPr>
            <a:r>
              <a:rPr lang="en-US" altLang="ja-JP" sz="825" kern="1200">
                <a:solidFill>
                  <a:prstClr val="white"/>
                </a:solidFill>
                <a:ea typeface="ＭＳ Ｐゴシック" pitchFamily="50" charset="-128"/>
                <a:cs typeface="+mn-cs"/>
              </a:rPr>
              <a:t>Text</a:t>
            </a:r>
            <a:endParaRPr lang="en-US" altLang="ja-JP" sz="825" kern="1200" dirty="0">
              <a:solidFill>
                <a:prstClr val="white"/>
              </a:solidFill>
              <a:ea typeface="ＭＳ Ｐゴシック" pitchFamily="50" charset="-128"/>
              <a:cs typeface="+mn-cs"/>
            </a:endParaRPr>
          </a:p>
        </p:txBody>
      </p:sp>
      <p:sp>
        <p:nvSpPr>
          <p:cNvPr id="29" name="Rectangle 28"/>
          <p:cNvSpPr>
            <a:spLocks noChangeArrowheads="1"/>
          </p:cNvSpPr>
          <p:nvPr/>
        </p:nvSpPr>
        <p:spPr bwMode="auto">
          <a:xfrm>
            <a:off x="4986933" y="4037409"/>
            <a:ext cx="1295400" cy="315516"/>
          </a:xfrm>
          <a:prstGeom prst="rect">
            <a:avLst/>
          </a:prstGeom>
          <a:solidFill>
            <a:srgbClr val="00A1DE"/>
          </a:solidFill>
          <a:ln w="12700" algn="ctr">
            <a:solidFill>
              <a:schemeClr val="bg1"/>
            </a:solidFill>
            <a:miter lim="800000"/>
            <a:headEnd type="none" w="sm" len="sm"/>
            <a:tailEnd type="none" w="med" len="lg"/>
          </a:ln>
        </p:spPr>
        <p:txBody>
          <a:bodyPr wrap="square" lIns="27000" tIns="27000" rIns="27000" bIns="27000" anchor="ctr"/>
          <a:lstStyle/>
          <a:p>
            <a:pPr algn="ctr" defTabSz="685800">
              <a:buClr>
                <a:prstClr val="white"/>
              </a:buClr>
              <a:buSzPct val="100000"/>
              <a:buFontTx/>
              <a:buChar char=" "/>
              <a:defRPr/>
            </a:pPr>
            <a:r>
              <a:rPr lang="en-US" altLang="ja-JP" sz="825" kern="1200">
                <a:solidFill>
                  <a:prstClr val="white"/>
                </a:solidFill>
                <a:ea typeface="ＭＳ Ｐゴシック" pitchFamily="50" charset="-128"/>
                <a:cs typeface="+mn-cs"/>
              </a:rPr>
              <a:t>Text</a:t>
            </a:r>
            <a:endParaRPr lang="en-US" altLang="ja-JP" sz="825" kern="1200" dirty="0">
              <a:solidFill>
                <a:prstClr val="white"/>
              </a:solidFill>
              <a:ea typeface="ＭＳ Ｐゴシック" pitchFamily="50" charset="-128"/>
              <a:cs typeface="+mn-cs"/>
            </a:endParaRPr>
          </a:p>
        </p:txBody>
      </p:sp>
      <p:sp>
        <p:nvSpPr>
          <p:cNvPr id="30" name="Rectangle 29"/>
          <p:cNvSpPr>
            <a:spLocks noChangeArrowheads="1"/>
          </p:cNvSpPr>
          <p:nvPr/>
        </p:nvSpPr>
        <p:spPr bwMode="auto">
          <a:xfrm>
            <a:off x="6406754" y="4037409"/>
            <a:ext cx="1296590" cy="315516"/>
          </a:xfrm>
          <a:prstGeom prst="rect">
            <a:avLst/>
          </a:prstGeom>
          <a:solidFill>
            <a:srgbClr val="00A1DE"/>
          </a:solidFill>
          <a:ln w="12700" algn="ctr">
            <a:solidFill>
              <a:schemeClr val="bg1"/>
            </a:solidFill>
            <a:miter lim="800000"/>
            <a:headEnd type="none" w="sm" len="sm"/>
            <a:tailEnd type="none" w="med" len="lg"/>
          </a:ln>
        </p:spPr>
        <p:txBody>
          <a:bodyPr wrap="square" lIns="27000" tIns="27000" rIns="27000" bIns="27000" anchor="ctr"/>
          <a:lstStyle/>
          <a:p>
            <a:pPr algn="ctr" defTabSz="685800">
              <a:buClr>
                <a:prstClr val="white"/>
              </a:buClr>
              <a:buSzPct val="100000"/>
              <a:buFontTx/>
              <a:buChar char=" "/>
              <a:defRPr/>
            </a:pPr>
            <a:r>
              <a:rPr lang="en-US" altLang="ja-JP" sz="825" kern="1200">
                <a:solidFill>
                  <a:prstClr val="white"/>
                </a:solidFill>
                <a:ea typeface="ＭＳ Ｐゴシック" pitchFamily="50" charset="-128"/>
                <a:cs typeface="+mn-cs"/>
              </a:rPr>
              <a:t>Text</a:t>
            </a:r>
            <a:endParaRPr lang="en-US" altLang="ja-JP" sz="825" kern="1200" dirty="0">
              <a:solidFill>
                <a:prstClr val="white"/>
              </a:solidFill>
              <a:ea typeface="ＭＳ Ｐゴシック" pitchFamily="50" charset="-128"/>
              <a:cs typeface="+mn-cs"/>
            </a:endParaRPr>
          </a:p>
        </p:txBody>
      </p:sp>
      <p:sp>
        <p:nvSpPr>
          <p:cNvPr id="31" name="Line 30"/>
          <p:cNvSpPr>
            <a:spLocks noChangeShapeType="1"/>
          </p:cNvSpPr>
          <p:nvPr/>
        </p:nvSpPr>
        <p:spPr bwMode="auto">
          <a:xfrm>
            <a:off x="1431131" y="3920729"/>
            <a:ext cx="6272100" cy="0"/>
          </a:xfrm>
          <a:prstGeom prst="line">
            <a:avLst/>
          </a:prstGeom>
          <a:noFill/>
          <a:ln w="19050">
            <a:solidFill>
              <a:srgbClr val="B4B4B4"/>
            </a:solidFill>
            <a:prstDash val="dash"/>
            <a:round/>
            <a:headEnd type="none" w="sm" len="sm"/>
            <a:tailEnd type="none" w="med" len="lg"/>
          </a:ln>
        </p:spPr>
        <p:txBody>
          <a:bodyPr wrap="square" lIns="27000" tIns="27000" rIns="27000" bIns="27000"/>
          <a:lstStyle/>
          <a:p>
            <a:pPr defTabSz="685800">
              <a:buClrTx/>
              <a:defRPr/>
            </a:pPr>
            <a:endParaRPr lang="en-US" sz="825" kern="1200" dirty="0">
              <a:solidFill>
                <a:prstClr val="black"/>
              </a:solidFill>
              <a:ea typeface="+mn-ea"/>
              <a:cs typeface="+mn-cs"/>
            </a:endParaRPr>
          </a:p>
        </p:txBody>
      </p:sp>
      <p:sp>
        <p:nvSpPr>
          <p:cNvPr id="32" name="Rectangle 31"/>
          <p:cNvSpPr>
            <a:spLocks noChangeArrowheads="1"/>
          </p:cNvSpPr>
          <p:nvPr/>
        </p:nvSpPr>
        <p:spPr bwMode="auto">
          <a:xfrm>
            <a:off x="6705600" y="2006204"/>
            <a:ext cx="997744" cy="315515"/>
          </a:xfrm>
          <a:prstGeom prst="rect">
            <a:avLst/>
          </a:prstGeom>
          <a:solidFill>
            <a:srgbClr val="00A1DE"/>
          </a:solidFill>
          <a:ln w="12700" algn="ctr">
            <a:solidFill>
              <a:schemeClr val="bg1"/>
            </a:solidFill>
            <a:miter lim="800000"/>
            <a:headEnd type="none" w="sm" len="sm"/>
            <a:tailEnd type="none" w="med" len="lg"/>
          </a:ln>
        </p:spPr>
        <p:txBody>
          <a:bodyPr wrap="square" lIns="27000" tIns="27000" rIns="27000" bIns="27000" anchor="ctr"/>
          <a:lstStyle/>
          <a:p>
            <a:pPr algn="ctr" defTabSz="685800">
              <a:buClr>
                <a:prstClr val="white"/>
              </a:buClr>
              <a:buSzPct val="100000"/>
              <a:buFontTx/>
              <a:buChar char=" "/>
              <a:defRPr/>
            </a:pPr>
            <a:r>
              <a:rPr lang="en-US" altLang="ja-JP" sz="825" kern="1200">
                <a:solidFill>
                  <a:prstClr val="white"/>
                </a:solidFill>
                <a:ea typeface="ＭＳ Ｐゴシック" pitchFamily="50" charset="-128"/>
                <a:cs typeface="+mn-cs"/>
              </a:rPr>
              <a:t>Text</a:t>
            </a:r>
            <a:endParaRPr lang="en-US" altLang="ja-JP" sz="825" kern="1200" dirty="0">
              <a:solidFill>
                <a:prstClr val="white"/>
              </a:solidFill>
              <a:ea typeface="ＭＳ Ｐゴシック" pitchFamily="50" charset="-128"/>
              <a:cs typeface="+mn-cs"/>
            </a:endParaRPr>
          </a:p>
        </p:txBody>
      </p:sp>
      <p:sp>
        <p:nvSpPr>
          <p:cNvPr id="787487" name="Text Box 32"/>
          <p:cNvSpPr txBox="1">
            <a:spLocks noChangeArrowheads="1"/>
          </p:cNvSpPr>
          <p:nvPr/>
        </p:nvSpPr>
        <p:spPr bwMode="auto">
          <a:xfrm>
            <a:off x="1431131" y="2048471"/>
            <a:ext cx="531822" cy="181485"/>
          </a:xfrm>
          <a:prstGeom prst="rect">
            <a:avLst/>
          </a:prstGeom>
          <a:noFill/>
          <a:ln w="9525">
            <a:noFill/>
            <a:miter lim="800000"/>
            <a:headEnd type="none" w="sm" len="sm"/>
            <a:tailEnd type="none" w="med" len="lg"/>
          </a:ln>
        </p:spPr>
        <p:txBody>
          <a:bodyPr wrap="square" lIns="27000" tIns="27000" rIns="27000" bIns="27000">
            <a:spAutoFit/>
          </a:bodyPr>
          <a:lstStyle/>
          <a:p>
            <a:pPr defTabSz="685800">
              <a:buClrTx/>
            </a:pPr>
            <a:r>
              <a:rPr lang="en-US" altLang="ja-JP" sz="825" b="1" kern="1200">
                <a:solidFill>
                  <a:srgbClr val="313131"/>
                </a:solidFill>
                <a:ea typeface="ＭＳ Ｐゴシック" charset="-128"/>
                <a:cs typeface="+mn-cs"/>
              </a:rPr>
              <a:t>Stage ..</a:t>
            </a:r>
          </a:p>
        </p:txBody>
      </p:sp>
      <p:sp>
        <p:nvSpPr>
          <p:cNvPr id="787488" name="Text Box 33"/>
          <p:cNvSpPr txBox="1">
            <a:spLocks noChangeArrowheads="1"/>
          </p:cNvSpPr>
          <p:nvPr/>
        </p:nvSpPr>
        <p:spPr bwMode="auto">
          <a:xfrm>
            <a:off x="1431131" y="2555678"/>
            <a:ext cx="531822" cy="181485"/>
          </a:xfrm>
          <a:prstGeom prst="rect">
            <a:avLst/>
          </a:prstGeom>
          <a:noFill/>
          <a:ln w="9525">
            <a:noFill/>
            <a:miter lim="800000"/>
            <a:headEnd type="none" w="sm" len="sm"/>
            <a:tailEnd type="none" w="med" len="lg"/>
          </a:ln>
        </p:spPr>
        <p:txBody>
          <a:bodyPr wrap="square" lIns="27000" tIns="27000" rIns="27000" bIns="27000">
            <a:spAutoFit/>
          </a:bodyPr>
          <a:lstStyle/>
          <a:p>
            <a:pPr defTabSz="685800">
              <a:buClrTx/>
            </a:pPr>
            <a:r>
              <a:rPr lang="en-US" altLang="ja-JP" sz="825" b="1" kern="1200">
                <a:solidFill>
                  <a:srgbClr val="313131"/>
                </a:solidFill>
                <a:ea typeface="ＭＳ Ｐゴシック" charset="-128"/>
                <a:cs typeface="+mn-cs"/>
              </a:rPr>
              <a:t>Stage ..</a:t>
            </a:r>
          </a:p>
        </p:txBody>
      </p:sp>
      <p:sp>
        <p:nvSpPr>
          <p:cNvPr id="787489" name="Text Box 34"/>
          <p:cNvSpPr txBox="1">
            <a:spLocks noChangeArrowheads="1"/>
          </p:cNvSpPr>
          <p:nvPr/>
        </p:nvSpPr>
        <p:spPr bwMode="auto">
          <a:xfrm>
            <a:off x="1431131" y="3062884"/>
            <a:ext cx="531822" cy="181485"/>
          </a:xfrm>
          <a:prstGeom prst="rect">
            <a:avLst/>
          </a:prstGeom>
          <a:noFill/>
          <a:ln w="9525">
            <a:noFill/>
            <a:miter lim="800000"/>
            <a:headEnd type="none" w="sm" len="sm"/>
            <a:tailEnd type="none" w="med" len="lg"/>
          </a:ln>
        </p:spPr>
        <p:txBody>
          <a:bodyPr wrap="square" lIns="27000" tIns="27000" rIns="27000" bIns="27000">
            <a:spAutoFit/>
          </a:bodyPr>
          <a:lstStyle/>
          <a:p>
            <a:pPr defTabSz="685800">
              <a:buClrTx/>
            </a:pPr>
            <a:r>
              <a:rPr lang="en-US" altLang="ja-JP" sz="825" b="1" kern="1200">
                <a:solidFill>
                  <a:srgbClr val="313131"/>
                </a:solidFill>
                <a:ea typeface="ＭＳ Ｐゴシック" charset="-128"/>
                <a:cs typeface="+mn-cs"/>
              </a:rPr>
              <a:t>Stage ..</a:t>
            </a:r>
          </a:p>
        </p:txBody>
      </p:sp>
      <p:sp>
        <p:nvSpPr>
          <p:cNvPr id="787490" name="Text Box 35"/>
          <p:cNvSpPr txBox="1">
            <a:spLocks noChangeArrowheads="1"/>
          </p:cNvSpPr>
          <p:nvPr/>
        </p:nvSpPr>
        <p:spPr bwMode="auto">
          <a:xfrm>
            <a:off x="1431131" y="3549849"/>
            <a:ext cx="531822" cy="181485"/>
          </a:xfrm>
          <a:prstGeom prst="rect">
            <a:avLst/>
          </a:prstGeom>
          <a:noFill/>
          <a:ln w="9525">
            <a:noFill/>
            <a:miter lim="800000"/>
            <a:headEnd type="none" w="sm" len="sm"/>
            <a:tailEnd type="none" w="med" len="lg"/>
          </a:ln>
        </p:spPr>
        <p:txBody>
          <a:bodyPr wrap="square" lIns="27000" tIns="27000" rIns="27000" bIns="27000">
            <a:spAutoFit/>
          </a:bodyPr>
          <a:lstStyle/>
          <a:p>
            <a:pPr defTabSz="685800">
              <a:buClrTx/>
            </a:pPr>
            <a:r>
              <a:rPr lang="en-US" altLang="ja-JP" sz="825" b="1" kern="1200">
                <a:solidFill>
                  <a:srgbClr val="313131"/>
                </a:solidFill>
                <a:ea typeface="ＭＳ Ｐゴシック" charset="-128"/>
                <a:cs typeface="+mn-cs"/>
              </a:rPr>
              <a:t>Stage ..</a:t>
            </a:r>
          </a:p>
        </p:txBody>
      </p:sp>
      <p:sp>
        <p:nvSpPr>
          <p:cNvPr id="787491" name="Text Box 36"/>
          <p:cNvSpPr txBox="1">
            <a:spLocks noChangeArrowheads="1"/>
          </p:cNvSpPr>
          <p:nvPr/>
        </p:nvSpPr>
        <p:spPr bwMode="auto">
          <a:xfrm>
            <a:off x="1431131" y="4079677"/>
            <a:ext cx="531822" cy="181485"/>
          </a:xfrm>
          <a:prstGeom prst="rect">
            <a:avLst/>
          </a:prstGeom>
          <a:noFill/>
          <a:ln w="9525">
            <a:noFill/>
            <a:miter lim="800000"/>
            <a:headEnd type="none" w="sm" len="sm"/>
            <a:tailEnd type="none" w="med" len="lg"/>
          </a:ln>
        </p:spPr>
        <p:txBody>
          <a:bodyPr wrap="square" lIns="27000" tIns="27000" rIns="27000" bIns="27000">
            <a:spAutoFit/>
          </a:bodyPr>
          <a:lstStyle/>
          <a:p>
            <a:pPr defTabSz="685800">
              <a:buClrTx/>
            </a:pPr>
            <a:r>
              <a:rPr lang="en-US" altLang="ja-JP" sz="825" b="1" kern="1200">
                <a:solidFill>
                  <a:srgbClr val="313131"/>
                </a:solidFill>
                <a:ea typeface="ＭＳ Ｐゴシック" charset="-128"/>
                <a:cs typeface="+mn-cs"/>
              </a:rPr>
              <a:t>Stage ..</a:t>
            </a:r>
          </a:p>
        </p:txBody>
      </p:sp>
      <p:sp>
        <p:nvSpPr>
          <p:cNvPr id="38" name="Rectangle 37"/>
          <p:cNvSpPr>
            <a:spLocks noChangeArrowheads="1"/>
          </p:cNvSpPr>
          <p:nvPr/>
        </p:nvSpPr>
        <p:spPr bwMode="auto">
          <a:xfrm>
            <a:off x="3731816" y="1482329"/>
            <a:ext cx="746522" cy="315515"/>
          </a:xfrm>
          <a:prstGeom prst="rect">
            <a:avLst/>
          </a:prstGeom>
          <a:solidFill>
            <a:srgbClr val="00A1DE"/>
          </a:solidFill>
          <a:ln w="12700" algn="ctr">
            <a:solidFill>
              <a:schemeClr val="bg1"/>
            </a:solidFill>
            <a:miter lim="800000"/>
            <a:headEnd type="none" w="sm" len="sm"/>
            <a:tailEnd type="none" w="med" len="lg"/>
          </a:ln>
        </p:spPr>
        <p:txBody>
          <a:bodyPr wrap="square" lIns="27000" tIns="27000" rIns="27000" bIns="27000" anchor="ctr"/>
          <a:lstStyle/>
          <a:p>
            <a:pPr algn="ctr" defTabSz="685800">
              <a:buClr>
                <a:prstClr val="white"/>
              </a:buClr>
              <a:buSzPct val="100000"/>
              <a:buFontTx/>
              <a:buChar char=" "/>
              <a:defRPr/>
            </a:pPr>
            <a:r>
              <a:rPr lang="en-US" altLang="ja-JP" sz="825" kern="1200">
                <a:solidFill>
                  <a:prstClr val="white"/>
                </a:solidFill>
                <a:ea typeface="ＭＳ Ｐゴシック" pitchFamily="50" charset="-128"/>
                <a:cs typeface="+mn-cs"/>
              </a:rPr>
              <a:t>Text</a:t>
            </a:r>
            <a:endParaRPr lang="en-US" altLang="ja-JP" sz="825" kern="1200" dirty="0">
              <a:solidFill>
                <a:prstClr val="white"/>
              </a:solidFill>
              <a:ea typeface="ＭＳ Ｐゴシック" pitchFamily="50" charset="-128"/>
              <a:cs typeface="+mn-cs"/>
            </a:endParaRPr>
          </a:p>
        </p:txBody>
      </p:sp>
      <p:sp>
        <p:nvSpPr>
          <p:cNvPr id="39" name="Rectangle 38"/>
          <p:cNvSpPr>
            <a:spLocks noChangeArrowheads="1"/>
          </p:cNvSpPr>
          <p:nvPr/>
        </p:nvSpPr>
        <p:spPr bwMode="auto">
          <a:xfrm>
            <a:off x="4536877" y="1482329"/>
            <a:ext cx="747713" cy="315515"/>
          </a:xfrm>
          <a:prstGeom prst="rect">
            <a:avLst/>
          </a:prstGeom>
          <a:solidFill>
            <a:srgbClr val="00A1DE"/>
          </a:solidFill>
          <a:ln w="12700" algn="ctr">
            <a:solidFill>
              <a:schemeClr val="bg1"/>
            </a:solidFill>
            <a:miter lim="800000"/>
            <a:headEnd type="none" w="sm" len="sm"/>
            <a:tailEnd type="none" w="med" len="lg"/>
          </a:ln>
        </p:spPr>
        <p:txBody>
          <a:bodyPr wrap="square" lIns="27000" tIns="27000" rIns="27000" bIns="27000" anchor="ctr"/>
          <a:lstStyle/>
          <a:p>
            <a:pPr algn="ctr" defTabSz="685800">
              <a:buClr>
                <a:prstClr val="white"/>
              </a:buClr>
              <a:buSzPct val="100000"/>
              <a:buFontTx/>
              <a:buChar char=" "/>
              <a:defRPr/>
            </a:pPr>
            <a:r>
              <a:rPr lang="en-US" altLang="ja-JP" sz="825" kern="1200">
                <a:solidFill>
                  <a:prstClr val="white"/>
                </a:solidFill>
                <a:ea typeface="ＭＳ Ｐゴシック" pitchFamily="50" charset="-128"/>
                <a:cs typeface="+mn-cs"/>
              </a:rPr>
              <a:t>Text</a:t>
            </a:r>
            <a:endParaRPr lang="en-US" altLang="ja-JP" sz="825" kern="1200" dirty="0">
              <a:solidFill>
                <a:prstClr val="white"/>
              </a:solidFill>
              <a:ea typeface="ＭＳ Ｐゴシック" pitchFamily="50" charset="-128"/>
              <a:cs typeface="+mn-cs"/>
            </a:endParaRPr>
          </a:p>
        </p:txBody>
      </p:sp>
      <p:sp>
        <p:nvSpPr>
          <p:cNvPr id="40"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Tree>
  </p:cSld>
  <p:clrMapOvr>
    <a:masterClrMapping/>
  </p:clrMapOvr>
  <p:transition>
    <p:fade/>
  </p:transition>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81" name="Title 1"/>
          <p:cNvSpPr>
            <a:spLocks noGrp="1"/>
          </p:cNvSpPr>
          <p:nvPr>
            <p:ph type="title"/>
          </p:nvPr>
        </p:nvSpPr>
        <p:spPr/>
        <p:txBody>
          <a:bodyPr/>
          <a:lstStyle/>
          <a:p>
            <a:r>
              <a:rPr lang="en-US"/>
              <a:t>Swimlanes</a:t>
            </a:r>
          </a:p>
        </p:txBody>
      </p:sp>
      <p:sp>
        <p:nvSpPr>
          <p:cNvPr id="4" name="Rectangle 2"/>
          <p:cNvSpPr>
            <a:spLocks noChangeArrowheads="1"/>
          </p:cNvSpPr>
          <p:nvPr/>
        </p:nvSpPr>
        <p:spPr bwMode="auto">
          <a:xfrm>
            <a:off x="1431131" y="1329929"/>
            <a:ext cx="6281738" cy="647700"/>
          </a:xfrm>
          <a:prstGeom prst="rect">
            <a:avLst/>
          </a:prstGeom>
          <a:solidFill>
            <a:srgbClr val="DCDCDC"/>
          </a:solidFill>
          <a:ln w="12700" algn="ctr">
            <a:solidFill>
              <a:schemeClr val="bg1"/>
            </a:solidFill>
            <a:miter lim="800000"/>
            <a:headEnd/>
            <a:tailEnd/>
          </a:ln>
        </p:spPr>
        <p:txBody>
          <a:bodyPr wrap="none" tIns="68580" bIns="68580" anchor="ctr"/>
          <a:lstStyle/>
          <a:p>
            <a:pPr algn="ctr" defTabSz="685800">
              <a:buClrTx/>
              <a:defRPr/>
            </a:pPr>
            <a:endParaRPr lang="en-US" sz="825" kern="1200" dirty="0">
              <a:solidFill>
                <a:prstClr val="white"/>
              </a:solidFill>
              <a:ea typeface="+mn-ea"/>
              <a:cs typeface="+mn-cs"/>
            </a:endParaRPr>
          </a:p>
        </p:txBody>
      </p:sp>
      <p:sp>
        <p:nvSpPr>
          <p:cNvPr id="5" name="Rectangle 3"/>
          <p:cNvSpPr>
            <a:spLocks noChangeArrowheads="1"/>
          </p:cNvSpPr>
          <p:nvPr/>
        </p:nvSpPr>
        <p:spPr bwMode="auto">
          <a:xfrm>
            <a:off x="1431131" y="2599135"/>
            <a:ext cx="6281738" cy="647700"/>
          </a:xfrm>
          <a:prstGeom prst="rect">
            <a:avLst/>
          </a:prstGeom>
          <a:solidFill>
            <a:srgbClr val="DCDCDC"/>
          </a:solidFill>
          <a:ln w="12700" algn="ctr">
            <a:solidFill>
              <a:schemeClr val="bg1"/>
            </a:solidFill>
            <a:miter lim="800000"/>
            <a:headEnd/>
            <a:tailEnd/>
          </a:ln>
        </p:spPr>
        <p:txBody>
          <a:bodyPr wrap="none" tIns="68580" bIns="68580" anchor="ctr"/>
          <a:lstStyle/>
          <a:p>
            <a:pPr algn="ctr" defTabSz="685800">
              <a:buClrTx/>
              <a:defRPr/>
            </a:pPr>
            <a:endParaRPr lang="en-US" sz="825" kern="1200" dirty="0">
              <a:solidFill>
                <a:prstClr val="white"/>
              </a:solidFill>
              <a:ea typeface="+mn-ea"/>
              <a:cs typeface="+mn-cs"/>
            </a:endParaRPr>
          </a:p>
        </p:txBody>
      </p:sp>
      <p:sp>
        <p:nvSpPr>
          <p:cNvPr id="6" name="Rectangle 4"/>
          <p:cNvSpPr>
            <a:spLocks noChangeArrowheads="1"/>
          </p:cNvSpPr>
          <p:nvPr/>
        </p:nvSpPr>
        <p:spPr bwMode="auto">
          <a:xfrm>
            <a:off x="1431131" y="3868341"/>
            <a:ext cx="6281738" cy="647700"/>
          </a:xfrm>
          <a:prstGeom prst="rect">
            <a:avLst/>
          </a:prstGeom>
          <a:solidFill>
            <a:srgbClr val="DCDCDC"/>
          </a:solidFill>
          <a:ln w="12700" algn="ctr">
            <a:solidFill>
              <a:schemeClr val="bg1"/>
            </a:solidFill>
            <a:miter lim="800000"/>
            <a:headEnd/>
            <a:tailEnd/>
          </a:ln>
        </p:spPr>
        <p:txBody>
          <a:bodyPr wrap="none" tIns="68580" bIns="68580" anchor="ctr"/>
          <a:lstStyle/>
          <a:p>
            <a:pPr algn="ctr" defTabSz="685800">
              <a:buClrTx/>
              <a:defRPr/>
            </a:pPr>
            <a:endParaRPr lang="en-US" sz="825" kern="1200" dirty="0">
              <a:solidFill>
                <a:prstClr val="white"/>
              </a:solidFill>
              <a:ea typeface="+mn-ea"/>
              <a:cs typeface="+mn-cs"/>
            </a:endParaRPr>
          </a:p>
        </p:txBody>
      </p:sp>
      <p:sp>
        <p:nvSpPr>
          <p:cNvPr id="788486" name="Text Box 6"/>
          <p:cNvSpPr txBox="1">
            <a:spLocks noChangeArrowheads="1"/>
          </p:cNvSpPr>
          <p:nvPr/>
        </p:nvSpPr>
        <p:spPr bwMode="auto">
          <a:xfrm>
            <a:off x="1427560" y="1534716"/>
            <a:ext cx="726223" cy="197843"/>
          </a:xfrm>
          <a:prstGeom prst="rect">
            <a:avLst/>
          </a:prstGeom>
          <a:noFill/>
          <a:ln w="9525" algn="ctr">
            <a:noFill/>
            <a:miter lim="800000"/>
            <a:headEnd/>
            <a:tailEnd/>
          </a:ln>
        </p:spPr>
        <p:txBody>
          <a:bodyPr wrap="none" lIns="67500" tIns="35100" rIns="67500" bIns="35100">
            <a:spAutoFit/>
          </a:bodyPr>
          <a:lstStyle/>
          <a:p>
            <a:pPr defTabSz="685800">
              <a:buClrTx/>
            </a:pPr>
            <a:r>
              <a:rPr lang="en-US" sz="825" b="1" kern="1200" dirty="0">
                <a:solidFill>
                  <a:srgbClr val="313131"/>
                </a:solidFill>
                <a:ea typeface="ＭＳ Ｐゴシック" charset="-128"/>
                <a:cs typeface="+mn-cs"/>
              </a:rPr>
              <a:t>Department</a:t>
            </a:r>
          </a:p>
        </p:txBody>
      </p:sp>
      <p:sp>
        <p:nvSpPr>
          <p:cNvPr id="8" name="Rectangle 7"/>
          <p:cNvSpPr>
            <a:spLocks noChangeArrowheads="1"/>
          </p:cNvSpPr>
          <p:nvPr/>
        </p:nvSpPr>
        <p:spPr bwMode="auto">
          <a:xfrm>
            <a:off x="2503885" y="1465660"/>
            <a:ext cx="736997" cy="377428"/>
          </a:xfrm>
          <a:prstGeom prst="rect">
            <a:avLst/>
          </a:prstGeom>
          <a:solidFill>
            <a:schemeClr val="bg1"/>
          </a:solidFill>
          <a:ln w="12700" algn="ctr">
            <a:solidFill>
              <a:srgbClr val="575757"/>
            </a:solidFill>
            <a:miter lim="800000"/>
            <a:headEnd/>
            <a:tailEnd/>
          </a:ln>
        </p:spPr>
        <p:txBody>
          <a:bodyPr lIns="67500" tIns="35100" rIns="67500" bIns="35100" anchor="ctr"/>
          <a:lstStyle/>
          <a:p>
            <a:pPr algn="ctr" defTabSz="685800">
              <a:buClrTx/>
              <a:defRPr/>
            </a:pPr>
            <a:r>
              <a:rPr lang="en-US" sz="825" kern="1200" dirty="0">
                <a:solidFill>
                  <a:srgbClr val="313131"/>
                </a:solidFill>
                <a:ea typeface="ＭＳ Ｐゴシック" pitchFamily="50" charset="-128"/>
                <a:cs typeface="+mn-cs"/>
              </a:rPr>
              <a:t>Activity</a:t>
            </a:r>
          </a:p>
        </p:txBody>
      </p:sp>
      <p:sp>
        <p:nvSpPr>
          <p:cNvPr id="9" name="Rectangle 8"/>
          <p:cNvSpPr>
            <a:spLocks noChangeArrowheads="1"/>
          </p:cNvSpPr>
          <p:nvPr/>
        </p:nvSpPr>
        <p:spPr bwMode="auto">
          <a:xfrm>
            <a:off x="3357563" y="1465660"/>
            <a:ext cx="736997" cy="377428"/>
          </a:xfrm>
          <a:prstGeom prst="rect">
            <a:avLst/>
          </a:prstGeom>
          <a:solidFill>
            <a:schemeClr val="bg1"/>
          </a:solidFill>
          <a:ln w="12700" algn="ctr">
            <a:solidFill>
              <a:srgbClr val="575757"/>
            </a:solidFill>
            <a:miter lim="800000"/>
            <a:headEnd/>
            <a:tailEnd/>
          </a:ln>
        </p:spPr>
        <p:txBody>
          <a:bodyPr lIns="67500" tIns="35100" rIns="67500" bIns="35100" anchor="ctr"/>
          <a:lstStyle/>
          <a:p>
            <a:pPr algn="ctr" defTabSz="685800">
              <a:buClrTx/>
              <a:defRPr/>
            </a:pPr>
            <a:r>
              <a:rPr lang="en-US" sz="825" kern="1200">
                <a:solidFill>
                  <a:srgbClr val="313131"/>
                </a:solidFill>
                <a:ea typeface="ＭＳ Ｐゴシック" pitchFamily="50" charset="-128"/>
                <a:cs typeface="+mn-cs"/>
              </a:rPr>
              <a:t>Activity</a:t>
            </a:r>
            <a:endParaRPr lang="en-US" sz="825" kern="1200" dirty="0">
              <a:solidFill>
                <a:srgbClr val="313131"/>
              </a:solidFill>
              <a:ea typeface="ＭＳ Ｐゴシック" pitchFamily="50" charset="-128"/>
              <a:cs typeface="+mn-cs"/>
            </a:endParaRPr>
          </a:p>
        </p:txBody>
      </p:sp>
      <p:sp>
        <p:nvSpPr>
          <p:cNvPr id="10" name="Rectangle 9"/>
          <p:cNvSpPr>
            <a:spLocks noChangeArrowheads="1"/>
          </p:cNvSpPr>
          <p:nvPr/>
        </p:nvSpPr>
        <p:spPr bwMode="auto">
          <a:xfrm>
            <a:off x="4211241" y="1465660"/>
            <a:ext cx="738188" cy="377428"/>
          </a:xfrm>
          <a:prstGeom prst="rect">
            <a:avLst/>
          </a:prstGeom>
          <a:solidFill>
            <a:schemeClr val="bg1"/>
          </a:solidFill>
          <a:ln w="12700" algn="ctr">
            <a:solidFill>
              <a:srgbClr val="575757"/>
            </a:solidFill>
            <a:miter lim="800000"/>
            <a:headEnd/>
            <a:tailEnd/>
          </a:ln>
        </p:spPr>
        <p:txBody>
          <a:bodyPr lIns="67500" tIns="35100" rIns="67500" bIns="35100" anchor="ctr"/>
          <a:lstStyle/>
          <a:p>
            <a:pPr algn="ctr" defTabSz="685800">
              <a:buClrTx/>
              <a:defRPr/>
            </a:pPr>
            <a:r>
              <a:rPr lang="en-US" sz="825" kern="1200">
                <a:solidFill>
                  <a:srgbClr val="313131"/>
                </a:solidFill>
                <a:ea typeface="ＭＳ Ｐゴシック" pitchFamily="50" charset="-128"/>
                <a:cs typeface="+mn-cs"/>
              </a:rPr>
              <a:t>Activity</a:t>
            </a:r>
            <a:endParaRPr lang="en-US" sz="825" kern="1200" dirty="0">
              <a:solidFill>
                <a:srgbClr val="313131"/>
              </a:solidFill>
              <a:ea typeface="ＭＳ Ｐゴシック" pitchFamily="50" charset="-128"/>
              <a:cs typeface="+mn-cs"/>
            </a:endParaRPr>
          </a:p>
        </p:txBody>
      </p:sp>
      <p:sp>
        <p:nvSpPr>
          <p:cNvPr id="11" name="Rectangle 10"/>
          <p:cNvSpPr>
            <a:spLocks noChangeArrowheads="1"/>
          </p:cNvSpPr>
          <p:nvPr/>
        </p:nvSpPr>
        <p:spPr bwMode="auto">
          <a:xfrm>
            <a:off x="5066110" y="1465660"/>
            <a:ext cx="738188" cy="377428"/>
          </a:xfrm>
          <a:prstGeom prst="rect">
            <a:avLst/>
          </a:prstGeom>
          <a:solidFill>
            <a:schemeClr val="bg1"/>
          </a:solidFill>
          <a:ln w="12700" algn="ctr">
            <a:solidFill>
              <a:srgbClr val="575757"/>
            </a:solidFill>
            <a:miter lim="800000"/>
            <a:headEnd/>
            <a:tailEnd/>
          </a:ln>
        </p:spPr>
        <p:txBody>
          <a:bodyPr lIns="67500" tIns="35100" rIns="67500" bIns="35100" anchor="ctr"/>
          <a:lstStyle/>
          <a:p>
            <a:pPr algn="ctr" defTabSz="685800">
              <a:buClrTx/>
              <a:defRPr/>
            </a:pPr>
            <a:r>
              <a:rPr lang="en-US" sz="825" kern="1200">
                <a:solidFill>
                  <a:srgbClr val="313131"/>
                </a:solidFill>
                <a:ea typeface="ＭＳ Ｐゴシック" pitchFamily="50" charset="-128"/>
                <a:cs typeface="+mn-cs"/>
              </a:rPr>
              <a:t>Activity</a:t>
            </a:r>
            <a:endParaRPr lang="en-US" sz="825" kern="1200" dirty="0">
              <a:solidFill>
                <a:srgbClr val="313131"/>
              </a:solidFill>
              <a:ea typeface="ＭＳ Ｐゴシック" pitchFamily="50" charset="-128"/>
              <a:cs typeface="+mn-cs"/>
            </a:endParaRPr>
          </a:p>
        </p:txBody>
      </p:sp>
      <p:sp>
        <p:nvSpPr>
          <p:cNvPr id="12" name="Rectangle 11"/>
          <p:cNvSpPr>
            <a:spLocks noChangeArrowheads="1"/>
          </p:cNvSpPr>
          <p:nvPr/>
        </p:nvSpPr>
        <p:spPr bwMode="auto">
          <a:xfrm>
            <a:off x="5920978" y="1465660"/>
            <a:ext cx="736997" cy="377428"/>
          </a:xfrm>
          <a:prstGeom prst="rect">
            <a:avLst/>
          </a:prstGeom>
          <a:solidFill>
            <a:schemeClr val="bg1"/>
          </a:solidFill>
          <a:ln w="12700" algn="ctr">
            <a:solidFill>
              <a:srgbClr val="575757"/>
            </a:solidFill>
            <a:miter lim="800000"/>
            <a:headEnd/>
            <a:tailEnd/>
          </a:ln>
        </p:spPr>
        <p:txBody>
          <a:bodyPr lIns="67500" tIns="35100" rIns="67500" bIns="35100" anchor="ctr"/>
          <a:lstStyle/>
          <a:p>
            <a:pPr algn="ctr" defTabSz="685800">
              <a:buClrTx/>
              <a:defRPr/>
            </a:pPr>
            <a:r>
              <a:rPr lang="en-US" sz="825" kern="1200">
                <a:solidFill>
                  <a:srgbClr val="313131"/>
                </a:solidFill>
                <a:ea typeface="ＭＳ Ｐゴシック" pitchFamily="50" charset="-128"/>
                <a:cs typeface="+mn-cs"/>
              </a:rPr>
              <a:t>Activity</a:t>
            </a:r>
            <a:endParaRPr lang="en-US" sz="825" kern="1200" dirty="0">
              <a:solidFill>
                <a:srgbClr val="313131"/>
              </a:solidFill>
              <a:ea typeface="ＭＳ Ｐゴシック" pitchFamily="50" charset="-128"/>
              <a:cs typeface="+mn-cs"/>
            </a:endParaRPr>
          </a:p>
        </p:txBody>
      </p:sp>
      <p:sp>
        <p:nvSpPr>
          <p:cNvPr id="13" name="Rectangle 12"/>
          <p:cNvSpPr>
            <a:spLocks noChangeArrowheads="1"/>
          </p:cNvSpPr>
          <p:nvPr/>
        </p:nvSpPr>
        <p:spPr bwMode="auto">
          <a:xfrm>
            <a:off x="6775847" y="1465660"/>
            <a:ext cx="736997" cy="377428"/>
          </a:xfrm>
          <a:prstGeom prst="rect">
            <a:avLst/>
          </a:prstGeom>
          <a:solidFill>
            <a:schemeClr val="bg1"/>
          </a:solidFill>
          <a:ln w="12700" algn="ctr">
            <a:solidFill>
              <a:srgbClr val="575757"/>
            </a:solidFill>
            <a:miter lim="800000"/>
            <a:headEnd/>
            <a:tailEnd/>
          </a:ln>
        </p:spPr>
        <p:txBody>
          <a:bodyPr lIns="67500" tIns="35100" rIns="67500" bIns="35100" anchor="ctr"/>
          <a:lstStyle/>
          <a:p>
            <a:pPr algn="ctr" defTabSz="685800">
              <a:buClrTx/>
              <a:defRPr/>
            </a:pPr>
            <a:r>
              <a:rPr lang="en-US" sz="825" kern="1200">
                <a:solidFill>
                  <a:srgbClr val="313131"/>
                </a:solidFill>
                <a:ea typeface="ＭＳ Ｐゴシック" pitchFamily="50" charset="-128"/>
                <a:cs typeface="+mn-cs"/>
              </a:rPr>
              <a:t>Activity</a:t>
            </a:r>
            <a:endParaRPr lang="en-US" sz="825" kern="1200" dirty="0">
              <a:solidFill>
                <a:srgbClr val="313131"/>
              </a:solidFill>
              <a:ea typeface="ＭＳ Ｐゴシック" pitchFamily="50" charset="-128"/>
              <a:cs typeface="+mn-cs"/>
            </a:endParaRPr>
          </a:p>
        </p:txBody>
      </p:sp>
      <p:cxnSp>
        <p:nvCxnSpPr>
          <p:cNvPr id="14" name="AutoShape 13"/>
          <p:cNvCxnSpPr>
            <a:cxnSpLocks noChangeShapeType="1"/>
            <a:stCxn id="8" idx="3"/>
            <a:endCxn id="9" idx="1"/>
          </p:cNvCxnSpPr>
          <p:nvPr/>
        </p:nvCxnSpPr>
        <p:spPr bwMode="auto">
          <a:xfrm>
            <a:off x="3240882" y="1654969"/>
            <a:ext cx="116681" cy="1191"/>
          </a:xfrm>
          <a:prstGeom prst="straightConnector1">
            <a:avLst/>
          </a:prstGeom>
          <a:noFill/>
          <a:ln w="19050">
            <a:solidFill>
              <a:srgbClr val="575757"/>
            </a:solidFill>
            <a:round/>
            <a:headEnd/>
            <a:tailEnd type="triangle" w="med" len="med"/>
          </a:ln>
        </p:spPr>
      </p:cxnSp>
      <p:cxnSp>
        <p:nvCxnSpPr>
          <p:cNvPr id="15" name="AutoShape 14"/>
          <p:cNvCxnSpPr>
            <a:cxnSpLocks noChangeShapeType="1"/>
            <a:stCxn id="9" idx="3"/>
            <a:endCxn id="10" idx="1"/>
          </p:cNvCxnSpPr>
          <p:nvPr/>
        </p:nvCxnSpPr>
        <p:spPr bwMode="auto">
          <a:xfrm>
            <a:off x="4094560" y="1654969"/>
            <a:ext cx="116681" cy="1191"/>
          </a:xfrm>
          <a:prstGeom prst="straightConnector1">
            <a:avLst/>
          </a:prstGeom>
          <a:noFill/>
          <a:ln w="19050">
            <a:solidFill>
              <a:srgbClr val="575757"/>
            </a:solidFill>
            <a:round/>
            <a:headEnd/>
            <a:tailEnd type="triangle" w="med" len="med"/>
          </a:ln>
        </p:spPr>
      </p:cxnSp>
      <p:cxnSp>
        <p:nvCxnSpPr>
          <p:cNvPr id="16" name="AutoShape 15"/>
          <p:cNvCxnSpPr>
            <a:cxnSpLocks noChangeShapeType="1"/>
            <a:stCxn id="10" idx="3"/>
            <a:endCxn id="11" idx="1"/>
          </p:cNvCxnSpPr>
          <p:nvPr/>
        </p:nvCxnSpPr>
        <p:spPr bwMode="auto">
          <a:xfrm>
            <a:off x="4949429" y="1654969"/>
            <a:ext cx="116681" cy="1191"/>
          </a:xfrm>
          <a:prstGeom prst="straightConnector1">
            <a:avLst/>
          </a:prstGeom>
          <a:noFill/>
          <a:ln w="19050">
            <a:solidFill>
              <a:srgbClr val="575757"/>
            </a:solidFill>
            <a:round/>
            <a:headEnd/>
            <a:tailEnd type="triangle" w="med" len="med"/>
          </a:ln>
        </p:spPr>
      </p:cxnSp>
      <p:cxnSp>
        <p:nvCxnSpPr>
          <p:cNvPr id="17" name="AutoShape 16"/>
          <p:cNvCxnSpPr>
            <a:cxnSpLocks noChangeShapeType="1"/>
            <a:stCxn id="11" idx="3"/>
            <a:endCxn id="12" idx="1"/>
          </p:cNvCxnSpPr>
          <p:nvPr/>
        </p:nvCxnSpPr>
        <p:spPr bwMode="auto">
          <a:xfrm>
            <a:off x="5804298" y="1654969"/>
            <a:ext cx="116681" cy="1191"/>
          </a:xfrm>
          <a:prstGeom prst="straightConnector1">
            <a:avLst/>
          </a:prstGeom>
          <a:noFill/>
          <a:ln w="19050">
            <a:solidFill>
              <a:srgbClr val="575757"/>
            </a:solidFill>
            <a:round/>
            <a:headEnd/>
            <a:tailEnd type="triangle" w="med" len="med"/>
          </a:ln>
        </p:spPr>
      </p:cxnSp>
      <p:cxnSp>
        <p:nvCxnSpPr>
          <p:cNvPr id="18" name="AutoShape 17"/>
          <p:cNvCxnSpPr>
            <a:cxnSpLocks noChangeShapeType="1"/>
            <a:stCxn id="12" idx="3"/>
            <a:endCxn id="13" idx="1"/>
          </p:cNvCxnSpPr>
          <p:nvPr/>
        </p:nvCxnSpPr>
        <p:spPr bwMode="auto">
          <a:xfrm>
            <a:off x="6657976" y="1654969"/>
            <a:ext cx="117872" cy="1191"/>
          </a:xfrm>
          <a:prstGeom prst="straightConnector1">
            <a:avLst/>
          </a:prstGeom>
          <a:noFill/>
          <a:ln w="19050">
            <a:solidFill>
              <a:srgbClr val="575757"/>
            </a:solidFill>
            <a:round/>
            <a:headEnd/>
            <a:tailEnd type="triangle" w="med" len="med"/>
          </a:ln>
        </p:spPr>
      </p:cxnSp>
      <p:sp>
        <p:nvSpPr>
          <p:cNvPr id="788498" name="Text Box 18"/>
          <p:cNvSpPr txBox="1">
            <a:spLocks noChangeArrowheads="1"/>
          </p:cNvSpPr>
          <p:nvPr/>
        </p:nvSpPr>
        <p:spPr bwMode="auto">
          <a:xfrm>
            <a:off x="1427560" y="2169319"/>
            <a:ext cx="726223" cy="197843"/>
          </a:xfrm>
          <a:prstGeom prst="rect">
            <a:avLst/>
          </a:prstGeom>
          <a:noFill/>
          <a:ln w="9525" algn="ctr">
            <a:noFill/>
            <a:miter lim="800000"/>
            <a:headEnd/>
            <a:tailEnd/>
          </a:ln>
        </p:spPr>
        <p:txBody>
          <a:bodyPr wrap="none" lIns="67500" tIns="35100" rIns="67500" bIns="35100">
            <a:spAutoFit/>
          </a:bodyPr>
          <a:lstStyle/>
          <a:p>
            <a:pPr defTabSz="685800">
              <a:buClrTx/>
            </a:pPr>
            <a:r>
              <a:rPr lang="en-US" sz="825" b="1" kern="1200" dirty="0">
                <a:solidFill>
                  <a:srgbClr val="313131"/>
                </a:solidFill>
                <a:ea typeface="ＭＳ Ｐゴシック" charset="-128"/>
                <a:cs typeface="+mn-cs"/>
              </a:rPr>
              <a:t>Department</a:t>
            </a:r>
          </a:p>
        </p:txBody>
      </p:sp>
      <p:sp>
        <p:nvSpPr>
          <p:cNvPr id="20" name="Rectangle 19"/>
          <p:cNvSpPr>
            <a:spLocks noChangeArrowheads="1"/>
          </p:cNvSpPr>
          <p:nvPr/>
        </p:nvSpPr>
        <p:spPr bwMode="auto">
          <a:xfrm>
            <a:off x="2503885" y="2100262"/>
            <a:ext cx="736997" cy="377429"/>
          </a:xfrm>
          <a:prstGeom prst="rect">
            <a:avLst/>
          </a:prstGeom>
          <a:solidFill>
            <a:srgbClr val="00A1DE"/>
          </a:solidFill>
          <a:ln w="12700" algn="ctr">
            <a:solidFill>
              <a:schemeClr val="bg1"/>
            </a:solidFill>
            <a:miter lim="800000"/>
            <a:headEnd/>
            <a:tailEnd/>
          </a:ln>
        </p:spPr>
        <p:txBody>
          <a:bodyPr lIns="67500" tIns="35100" rIns="67500" bIns="35100" anchor="ctr"/>
          <a:lstStyle/>
          <a:p>
            <a:pPr algn="ctr" defTabSz="685800">
              <a:buClrTx/>
              <a:defRPr/>
            </a:pPr>
            <a:r>
              <a:rPr lang="en-US" sz="825" kern="1200">
                <a:solidFill>
                  <a:prstClr val="white"/>
                </a:solidFill>
                <a:ea typeface="ＭＳ Ｐゴシック" pitchFamily="50" charset="-128"/>
                <a:cs typeface="+mn-cs"/>
              </a:rPr>
              <a:t>Activity</a:t>
            </a:r>
            <a:endParaRPr lang="en-US" sz="825" kern="1200" dirty="0">
              <a:solidFill>
                <a:prstClr val="white"/>
              </a:solidFill>
              <a:ea typeface="ＭＳ Ｐゴシック" pitchFamily="50" charset="-128"/>
              <a:cs typeface="+mn-cs"/>
            </a:endParaRPr>
          </a:p>
        </p:txBody>
      </p:sp>
      <p:sp>
        <p:nvSpPr>
          <p:cNvPr id="21" name="Rectangle 20"/>
          <p:cNvSpPr>
            <a:spLocks noChangeArrowheads="1"/>
          </p:cNvSpPr>
          <p:nvPr/>
        </p:nvSpPr>
        <p:spPr bwMode="auto">
          <a:xfrm>
            <a:off x="3357563" y="2100262"/>
            <a:ext cx="736997" cy="377429"/>
          </a:xfrm>
          <a:prstGeom prst="rect">
            <a:avLst/>
          </a:prstGeom>
          <a:solidFill>
            <a:srgbClr val="00A1DE"/>
          </a:solidFill>
          <a:ln w="12700" algn="ctr">
            <a:solidFill>
              <a:schemeClr val="bg1"/>
            </a:solidFill>
            <a:miter lim="800000"/>
            <a:headEnd/>
            <a:tailEnd/>
          </a:ln>
        </p:spPr>
        <p:txBody>
          <a:bodyPr lIns="67500" tIns="35100" rIns="67500" bIns="35100" anchor="ctr"/>
          <a:lstStyle/>
          <a:p>
            <a:pPr algn="ctr" defTabSz="685800">
              <a:buClrTx/>
              <a:defRPr/>
            </a:pPr>
            <a:r>
              <a:rPr lang="en-US" sz="825" kern="1200">
                <a:solidFill>
                  <a:prstClr val="white"/>
                </a:solidFill>
                <a:ea typeface="ＭＳ Ｐゴシック" pitchFamily="50" charset="-128"/>
                <a:cs typeface="+mn-cs"/>
              </a:rPr>
              <a:t>Activity</a:t>
            </a:r>
            <a:endParaRPr lang="en-US" sz="825" kern="1200" dirty="0">
              <a:solidFill>
                <a:prstClr val="white"/>
              </a:solidFill>
              <a:ea typeface="ＭＳ Ｐゴシック" pitchFamily="50" charset="-128"/>
              <a:cs typeface="+mn-cs"/>
            </a:endParaRPr>
          </a:p>
        </p:txBody>
      </p:sp>
      <p:sp>
        <p:nvSpPr>
          <p:cNvPr id="22" name="Rectangle 21"/>
          <p:cNvSpPr>
            <a:spLocks noChangeArrowheads="1"/>
          </p:cNvSpPr>
          <p:nvPr/>
        </p:nvSpPr>
        <p:spPr bwMode="auto">
          <a:xfrm>
            <a:off x="4211241" y="2100262"/>
            <a:ext cx="738188" cy="377429"/>
          </a:xfrm>
          <a:prstGeom prst="rect">
            <a:avLst/>
          </a:prstGeom>
          <a:solidFill>
            <a:srgbClr val="00A1DE"/>
          </a:solidFill>
          <a:ln w="12700" algn="ctr">
            <a:solidFill>
              <a:schemeClr val="bg1"/>
            </a:solidFill>
            <a:miter lim="800000"/>
            <a:headEnd/>
            <a:tailEnd/>
          </a:ln>
        </p:spPr>
        <p:txBody>
          <a:bodyPr lIns="67500" tIns="35100" rIns="67500" bIns="35100" anchor="ctr"/>
          <a:lstStyle/>
          <a:p>
            <a:pPr algn="ctr" defTabSz="685800">
              <a:buClrTx/>
              <a:defRPr/>
            </a:pPr>
            <a:r>
              <a:rPr lang="en-US" sz="825" kern="1200">
                <a:solidFill>
                  <a:prstClr val="white"/>
                </a:solidFill>
                <a:ea typeface="ＭＳ Ｐゴシック" pitchFamily="50" charset="-128"/>
                <a:cs typeface="+mn-cs"/>
              </a:rPr>
              <a:t>Activity</a:t>
            </a:r>
            <a:endParaRPr lang="en-US" sz="825" kern="1200" dirty="0">
              <a:solidFill>
                <a:prstClr val="white"/>
              </a:solidFill>
              <a:ea typeface="ＭＳ Ｐゴシック" pitchFamily="50" charset="-128"/>
              <a:cs typeface="+mn-cs"/>
            </a:endParaRPr>
          </a:p>
        </p:txBody>
      </p:sp>
      <p:sp>
        <p:nvSpPr>
          <p:cNvPr id="23" name="Rectangle 22"/>
          <p:cNvSpPr>
            <a:spLocks noChangeArrowheads="1"/>
          </p:cNvSpPr>
          <p:nvPr/>
        </p:nvSpPr>
        <p:spPr bwMode="auto">
          <a:xfrm>
            <a:off x="5066110" y="2100262"/>
            <a:ext cx="738188" cy="377429"/>
          </a:xfrm>
          <a:prstGeom prst="rect">
            <a:avLst/>
          </a:prstGeom>
          <a:solidFill>
            <a:srgbClr val="00A1DE"/>
          </a:solidFill>
          <a:ln w="12700" algn="ctr">
            <a:solidFill>
              <a:schemeClr val="bg1"/>
            </a:solidFill>
            <a:miter lim="800000"/>
            <a:headEnd/>
            <a:tailEnd/>
          </a:ln>
        </p:spPr>
        <p:txBody>
          <a:bodyPr lIns="67500" tIns="35100" rIns="67500" bIns="35100" anchor="ctr"/>
          <a:lstStyle/>
          <a:p>
            <a:pPr algn="ctr" defTabSz="685800">
              <a:buClrTx/>
              <a:defRPr/>
            </a:pPr>
            <a:r>
              <a:rPr lang="en-US" sz="825" kern="1200">
                <a:solidFill>
                  <a:prstClr val="white"/>
                </a:solidFill>
                <a:ea typeface="ＭＳ Ｐゴシック" pitchFamily="50" charset="-128"/>
                <a:cs typeface="+mn-cs"/>
              </a:rPr>
              <a:t>Activity</a:t>
            </a:r>
            <a:endParaRPr lang="en-US" sz="825" kern="1200" dirty="0">
              <a:solidFill>
                <a:prstClr val="white"/>
              </a:solidFill>
              <a:ea typeface="ＭＳ Ｐゴシック" pitchFamily="50" charset="-128"/>
              <a:cs typeface="+mn-cs"/>
            </a:endParaRPr>
          </a:p>
        </p:txBody>
      </p:sp>
      <p:sp>
        <p:nvSpPr>
          <p:cNvPr id="24" name="Rectangle 23"/>
          <p:cNvSpPr>
            <a:spLocks noChangeArrowheads="1"/>
          </p:cNvSpPr>
          <p:nvPr/>
        </p:nvSpPr>
        <p:spPr bwMode="auto">
          <a:xfrm>
            <a:off x="5920978" y="2100262"/>
            <a:ext cx="736997" cy="377429"/>
          </a:xfrm>
          <a:prstGeom prst="rect">
            <a:avLst/>
          </a:prstGeom>
          <a:solidFill>
            <a:srgbClr val="00A1DE"/>
          </a:solidFill>
          <a:ln w="12700" algn="ctr">
            <a:solidFill>
              <a:schemeClr val="bg1"/>
            </a:solidFill>
            <a:miter lim="800000"/>
            <a:headEnd/>
            <a:tailEnd/>
          </a:ln>
        </p:spPr>
        <p:txBody>
          <a:bodyPr lIns="67500" tIns="35100" rIns="67500" bIns="35100" anchor="ctr"/>
          <a:lstStyle/>
          <a:p>
            <a:pPr algn="ctr" defTabSz="685800">
              <a:buClrTx/>
              <a:defRPr/>
            </a:pPr>
            <a:r>
              <a:rPr lang="en-US" sz="825" kern="1200">
                <a:solidFill>
                  <a:prstClr val="white"/>
                </a:solidFill>
                <a:ea typeface="ＭＳ Ｐゴシック" pitchFamily="50" charset="-128"/>
                <a:cs typeface="+mn-cs"/>
              </a:rPr>
              <a:t>Activity</a:t>
            </a:r>
            <a:endParaRPr lang="en-US" sz="825" kern="1200" dirty="0">
              <a:solidFill>
                <a:prstClr val="white"/>
              </a:solidFill>
              <a:ea typeface="ＭＳ Ｐゴシック" pitchFamily="50" charset="-128"/>
              <a:cs typeface="+mn-cs"/>
            </a:endParaRPr>
          </a:p>
        </p:txBody>
      </p:sp>
      <p:sp>
        <p:nvSpPr>
          <p:cNvPr id="25" name="Rectangle 24"/>
          <p:cNvSpPr>
            <a:spLocks noChangeArrowheads="1"/>
          </p:cNvSpPr>
          <p:nvPr/>
        </p:nvSpPr>
        <p:spPr bwMode="auto">
          <a:xfrm>
            <a:off x="6775847" y="2100262"/>
            <a:ext cx="736997" cy="377429"/>
          </a:xfrm>
          <a:prstGeom prst="rect">
            <a:avLst/>
          </a:prstGeom>
          <a:solidFill>
            <a:srgbClr val="00A1DE"/>
          </a:solidFill>
          <a:ln w="12700" algn="ctr">
            <a:solidFill>
              <a:schemeClr val="bg1"/>
            </a:solidFill>
            <a:miter lim="800000"/>
            <a:headEnd/>
            <a:tailEnd/>
          </a:ln>
        </p:spPr>
        <p:txBody>
          <a:bodyPr lIns="67500" tIns="35100" rIns="67500" bIns="35100" anchor="ctr"/>
          <a:lstStyle/>
          <a:p>
            <a:pPr algn="ctr" defTabSz="685800">
              <a:buClrTx/>
              <a:defRPr/>
            </a:pPr>
            <a:r>
              <a:rPr lang="en-US" sz="825" kern="1200">
                <a:solidFill>
                  <a:prstClr val="white"/>
                </a:solidFill>
                <a:ea typeface="ＭＳ Ｐゴシック" pitchFamily="50" charset="-128"/>
                <a:cs typeface="+mn-cs"/>
              </a:rPr>
              <a:t>Activity</a:t>
            </a:r>
            <a:endParaRPr lang="en-US" sz="825" kern="1200" dirty="0">
              <a:solidFill>
                <a:prstClr val="white"/>
              </a:solidFill>
              <a:ea typeface="ＭＳ Ｐゴシック" pitchFamily="50" charset="-128"/>
              <a:cs typeface="+mn-cs"/>
            </a:endParaRPr>
          </a:p>
        </p:txBody>
      </p:sp>
      <p:cxnSp>
        <p:nvCxnSpPr>
          <p:cNvPr id="26" name="AutoShape 25"/>
          <p:cNvCxnSpPr>
            <a:cxnSpLocks noChangeShapeType="1"/>
            <a:stCxn id="20" idx="3"/>
            <a:endCxn id="21" idx="1"/>
          </p:cNvCxnSpPr>
          <p:nvPr/>
        </p:nvCxnSpPr>
        <p:spPr bwMode="auto">
          <a:xfrm>
            <a:off x="3240882" y="2289573"/>
            <a:ext cx="116681" cy="1190"/>
          </a:xfrm>
          <a:prstGeom prst="straightConnector1">
            <a:avLst/>
          </a:prstGeom>
          <a:noFill/>
          <a:ln w="19050">
            <a:solidFill>
              <a:srgbClr val="575757"/>
            </a:solidFill>
            <a:round/>
            <a:headEnd/>
            <a:tailEnd type="triangle" w="med" len="med"/>
          </a:ln>
        </p:spPr>
      </p:cxnSp>
      <p:cxnSp>
        <p:nvCxnSpPr>
          <p:cNvPr id="27" name="AutoShape 26"/>
          <p:cNvCxnSpPr>
            <a:cxnSpLocks noChangeShapeType="1"/>
            <a:stCxn id="21" idx="3"/>
            <a:endCxn id="22" idx="1"/>
          </p:cNvCxnSpPr>
          <p:nvPr/>
        </p:nvCxnSpPr>
        <p:spPr bwMode="auto">
          <a:xfrm>
            <a:off x="4094560" y="2289573"/>
            <a:ext cx="116681" cy="1190"/>
          </a:xfrm>
          <a:prstGeom prst="straightConnector1">
            <a:avLst/>
          </a:prstGeom>
          <a:noFill/>
          <a:ln w="19050">
            <a:solidFill>
              <a:srgbClr val="575757"/>
            </a:solidFill>
            <a:round/>
            <a:headEnd/>
            <a:tailEnd type="triangle" w="med" len="med"/>
          </a:ln>
        </p:spPr>
      </p:cxnSp>
      <p:cxnSp>
        <p:nvCxnSpPr>
          <p:cNvPr id="28" name="AutoShape 27"/>
          <p:cNvCxnSpPr>
            <a:cxnSpLocks noChangeShapeType="1"/>
            <a:stCxn id="22" idx="3"/>
            <a:endCxn id="23" idx="1"/>
          </p:cNvCxnSpPr>
          <p:nvPr/>
        </p:nvCxnSpPr>
        <p:spPr bwMode="auto">
          <a:xfrm>
            <a:off x="4949429" y="2289573"/>
            <a:ext cx="116681" cy="1190"/>
          </a:xfrm>
          <a:prstGeom prst="straightConnector1">
            <a:avLst/>
          </a:prstGeom>
          <a:noFill/>
          <a:ln w="19050">
            <a:solidFill>
              <a:srgbClr val="575757"/>
            </a:solidFill>
            <a:round/>
            <a:headEnd/>
            <a:tailEnd type="triangle" w="med" len="med"/>
          </a:ln>
        </p:spPr>
      </p:cxnSp>
      <p:cxnSp>
        <p:nvCxnSpPr>
          <p:cNvPr id="29" name="AutoShape 28"/>
          <p:cNvCxnSpPr>
            <a:cxnSpLocks noChangeShapeType="1"/>
            <a:stCxn id="23" idx="3"/>
            <a:endCxn id="24" idx="1"/>
          </p:cNvCxnSpPr>
          <p:nvPr/>
        </p:nvCxnSpPr>
        <p:spPr bwMode="auto">
          <a:xfrm>
            <a:off x="5804298" y="2289573"/>
            <a:ext cx="116681" cy="1190"/>
          </a:xfrm>
          <a:prstGeom prst="straightConnector1">
            <a:avLst/>
          </a:prstGeom>
          <a:noFill/>
          <a:ln w="19050">
            <a:solidFill>
              <a:srgbClr val="575757"/>
            </a:solidFill>
            <a:round/>
            <a:headEnd/>
            <a:tailEnd type="triangle" w="med" len="med"/>
          </a:ln>
        </p:spPr>
      </p:cxnSp>
      <p:cxnSp>
        <p:nvCxnSpPr>
          <p:cNvPr id="30" name="AutoShape 29"/>
          <p:cNvCxnSpPr>
            <a:cxnSpLocks noChangeShapeType="1"/>
            <a:stCxn id="24" idx="3"/>
            <a:endCxn id="25" idx="1"/>
          </p:cNvCxnSpPr>
          <p:nvPr/>
        </p:nvCxnSpPr>
        <p:spPr bwMode="auto">
          <a:xfrm>
            <a:off x="6657976" y="2289573"/>
            <a:ext cx="117872" cy="1190"/>
          </a:xfrm>
          <a:prstGeom prst="straightConnector1">
            <a:avLst/>
          </a:prstGeom>
          <a:noFill/>
          <a:ln w="19050">
            <a:solidFill>
              <a:srgbClr val="575757"/>
            </a:solidFill>
            <a:round/>
            <a:headEnd/>
            <a:tailEnd type="triangle" w="med" len="med"/>
          </a:ln>
        </p:spPr>
      </p:cxnSp>
      <p:sp>
        <p:nvSpPr>
          <p:cNvPr id="788510" name="Text Box 30"/>
          <p:cNvSpPr txBox="1">
            <a:spLocks noChangeArrowheads="1"/>
          </p:cNvSpPr>
          <p:nvPr/>
        </p:nvSpPr>
        <p:spPr bwMode="auto">
          <a:xfrm>
            <a:off x="1427560" y="2803922"/>
            <a:ext cx="726223" cy="197843"/>
          </a:xfrm>
          <a:prstGeom prst="rect">
            <a:avLst/>
          </a:prstGeom>
          <a:noFill/>
          <a:ln w="9525" algn="ctr">
            <a:noFill/>
            <a:miter lim="800000"/>
            <a:headEnd/>
            <a:tailEnd/>
          </a:ln>
        </p:spPr>
        <p:txBody>
          <a:bodyPr wrap="none" lIns="67500" tIns="35100" rIns="67500" bIns="35100">
            <a:spAutoFit/>
          </a:bodyPr>
          <a:lstStyle/>
          <a:p>
            <a:pPr defTabSz="685800">
              <a:buClrTx/>
            </a:pPr>
            <a:r>
              <a:rPr lang="en-US" sz="825" b="1" kern="1200">
                <a:solidFill>
                  <a:srgbClr val="313131"/>
                </a:solidFill>
                <a:ea typeface="ＭＳ Ｐゴシック" charset="-128"/>
                <a:cs typeface="+mn-cs"/>
              </a:rPr>
              <a:t>Department</a:t>
            </a:r>
          </a:p>
        </p:txBody>
      </p:sp>
      <p:sp>
        <p:nvSpPr>
          <p:cNvPr id="788511" name="Text Box 42"/>
          <p:cNvSpPr txBox="1">
            <a:spLocks noChangeArrowheads="1"/>
          </p:cNvSpPr>
          <p:nvPr/>
        </p:nvSpPr>
        <p:spPr bwMode="auto">
          <a:xfrm>
            <a:off x="1427560" y="3438525"/>
            <a:ext cx="726223" cy="197843"/>
          </a:xfrm>
          <a:prstGeom prst="rect">
            <a:avLst/>
          </a:prstGeom>
          <a:noFill/>
          <a:ln w="9525" algn="ctr">
            <a:noFill/>
            <a:miter lim="800000"/>
            <a:headEnd/>
            <a:tailEnd/>
          </a:ln>
        </p:spPr>
        <p:txBody>
          <a:bodyPr wrap="none" lIns="67500" tIns="35100" rIns="67500" bIns="35100">
            <a:spAutoFit/>
          </a:bodyPr>
          <a:lstStyle/>
          <a:p>
            <a:pPr defTabSz="685800">
              <a:buClrTx/>
            </a:pPr>
            <a:r>
              <a:rPr lang="en-US" sz="825" b="1" kern="1200">
                <a:solidFill>
                  <a:srgbClr val="313131"/>
                </a:solidFill>
                <a:ea typeface="ＭＳ Ｐゴシック" charset="-128"/>
                <a:cs typeface="+mn-cs"/>
              </a:rPr>
              <a:t>Department</a:t>
            </a:r>
          </a:p>
        </p:txBody>
      </p:sp>
      <p:sp>
        <p:nvSpPr>
          <p:cNvPr id="788512" name="Text Box 54"/>
          <p:cNvSpPr txBox="1">
            <a:spLocks noChangeArrowheads="1"/>
          </p:cNvSpPr>
          <p:nvPr/>
        </p:nvSpPr>
        <p:spPr bwMode="auto">
          <a:xfrm>
            <a:off x="1427560" y="4073129"/>
            <a:ext cx="726223" cy="197843"/>
          </a:xfrm>
          <a:prstGeom prst="rect">
            <a:avLst/>
          </a:prstGeom>
          <a:noFill/>
          <a:ln w="9525" algn="ctr">
            <a:noFill/>
            <a:miter lim="800000"/>
            <a:headEnd/>
            <a:tailEnd/>
          </a:ln>
        </p:spPr>
        <p:txBody>
          <a:bodyPr wrap="none" lIns="67500" tIns="35100" rIns="67500" bIns="35100">
            <a:spAutoFit/>
          </a:bodyPr>
          <a:lstStyle/>
          <a:p>
            <a:pPr defTabSz="685800">
              <a:buClrTx/>
            </a:pPr>
            <a:r>
              <a:rPr lang="en-US" sz="825" b="1" kern="1200">
                <a:solidFill>
                  <a:srgbClr val="313131"/>
                </a:solidFill>
                <a:ea typeface="ＭＳ Ｐゴシック" charset="-128"/>
                <a:cs typeface="+mn-cs"/>
              </a:rPr>
              <a:t>Department</a:t>
            </a:r>
          </a:p>
        </p:txBody>
      </p:sp>
      <p:cxnSp>
        <p:nvCxnSpPr>
          <p:cNvPr id="67" name="AutoShape 66"/>
          <p:cNvCxnSpPr>
            <a:cxnSpLocks noChangeShapeType="1"/>
            <a:stCxn id="8" idx="2"/>
            <a:endCxn id="21" idx="0"/>
          </p:cNvCxnSpPr>
          <p:nvPr/>
        </p:nvCxnSpPr>
        <p:spPr bwMode="auto">
          <a:xfrm rot="16200000" flipH="1">
            <a:off x="3170635" y="1544241"/>
            <a:ext cx="257175" cy="854869"/>
          </a:xfrm>
          <a:prstGeom prst="bentConnector3">
            <a:avLst>
              <a:gd name="adj1" fmla="val 62403"/>
            </a:avLst>
          </a:prstGeom>
          <a:noFill/>
          <a:ln w="19050">
            <a:solidFill>
              <a:srgbClr val="8C8C8C"/>
            </a:solidFill>
            <a:miter lim="800000"/>
            <a:headEnd/>
            <a:tailEnd type="triangle" w="med" len="med"/>
          </a:ln>
        </p:spPr>
      </p:cxnSp>
      <p:cxnSp>
        <p:nvCxnSpPr>
          <p:cNvPr id="68" name="AutoShape 67"/>
          <p:cNvCxnSpPr>
            <a:cxnSpLocks noChangeShapeType="1"/>
            <a:stCxn id="22" idx="0"/>
            <a:endCxn id="10" idx="2"/>
          </p:cNvCxnSpPr>
          <p:nvPr/>
        </p:nvCxnSpPr>
        <p:spPr bwMode="auto">
          <a:xfrm rot="5400000" flipH="1" flipV="1">
            <a:off x="4451152" y="1972271"/>
            <a:ext cx="257175" cy="1191"/>
          </a:xfrm>
          <a:prstGeom prst="straightConnector1">
            <a:avLst/>
          </a:prstGeom>
          <a:noFill/>
          <a:ln w="19050">
            <a:solidFill>
              <a:srgbClr val="8C8C8C"/>
            </a:solidFill>
            <a:round/>
            <a:headEnd/>
            <a:tailEnd type="triangle" w="med" len="med"/>
          </a:ln>
        </p:spPr>
      </p:cxnSp>
      <p:cxnSp>
        <p:nvCxnSpPr>
          <p:cNvPr id="69" name="AutoShape 68"/>
          <p:cNvCxnSpPr>
            <a:cxnSpLocks noChangeShapeType="1"/>
            <a:stCxn id="23" idx="2"/>
            <a:endCxn id="106" idx="0"/>
          </p:cNvCxnSpPr>
          <p:nvPr/>
        </p:nvCxnSpPr>
        <p:spPr bwMode="auto">
          <a:xfrm rot="16200000" flipH="1">
            <a:off x="6162081" y="1750815"/>
            <a:ext cx="258365" cy="1712119"/>
          </a:xfrm>
          <a:prstGeom prst="bentConnector3">
            <a:avLst>
              <a:gd name="adj1" fmla="val 22242"/>
            </a:avLst>
          </a:prstGeom>
          <a:noFill/>
          <a:ln w="19050">
            <a:solidFill>
              <a:srgbClr val="8C8C8C"/>
            </a:solidFill>
            <a:miter lim="800000"/>
            <a:headEnd/>
            <a:tailEnd type="triangle" w="med" len="med"/>
          </a:ln>
        </p:spPr>
      </p:cxnSp>
      <p:sp>
        <p:nvSpPr>
          <p:cNvPr id="101" name="Rectangle 100"/>
          <p:cNvSpPr>
            <a:spLocks noChangeArrowheads="1"/>
          </p:cNvSpPr>
          <p:nvPr/>
        </p:nvSpPr>
        <p:spPr bwMode="auto">
          <a:xfrm>
            <a:off x="2506266" y="2736056"/>
            <a:ext cx="736997" cy="377429"/>
          </a:xfrm>
          <a:prstGeom prst="rect">
            <a:avLst/>
          </a:prstGeom>
          <a:solidFill>
            <a:schemeClr val="bg1"/>
          </a:solidFill>
          <a:ln w="12700" algn="ctr">
            <a:solidFill>
              <a:srgbClr val="575757"/>
            </a:solidFill>
            <a:miter lim="800000"/>
            <a:headEnd/>
            <a:tailEnd/>
          </a:ln>
        </p:spPr>
        <p:txBody>
          <a:bodyPr lIns="67500" tIns="35100" rIns="67500" bIns="35100" anchor="ctr"/>
          <a:lstStyle/>
          <a:p>
            <a:pPr algn="ctr" defTabSz="685800">
              <a:buClrTx/>
              <a:defRPr/>
            </a:pPr>
            <a:r>
              <a:rPr lang="en-US" sz="825" kern="1200" dirty="0">
                <a:solidFill>
                  <a:srgbClr val="313131"/>
                </a:solidFill>
                <a:ea typeface="ＭＳ Ｐゴシック" pitchFamily="50" charset="-128"/>
                <a:cs typeface="+mn-cs"/>
              </a:rPr>
              <a:t>Activity</a:t>
            </a:r>
          </a:p>
        </p:txBody>
      </p:sp>
      <p:sp>
        <p:nvSpPr>
          <p:cNvPr id="102" name="Rectangle 101"/>
          <p:cNvSpPr>
            <a:spLocks noChangeArrowheads="1"/>
          </p:cNvSpPr>
          <p:nvPr/>
        </p:nvSpPr>
        <p:spPr bwMode="auto">
          <a:xfrm>
            <a:off x="3359944" y="2736056"/>
            <a:ext cx="736997" cy="377429"/>
          </a:xfrm>
          <a:prstGeom prst="rect">
            <a:avLst/>
          </a:prstGeom>
          <a:solidFill>
            <a:schemeClr val="bg1"/>
          </a:solidFill>
          <a:ln w="12700" algn="ctr">
            <a:solidFill>
              <a:srgbClr val="575757"/>
            </a:solidFill>
            <a:miter lim="800000"/>
            <a:headEnd/>
            <a:tailEnd/>
          </a:ln>
        </p:spPr>
        <p:txBody>
          <a:bodyPr lIns="67500" tIns="35100" rIns="67500" bIns="35100" anchor="ctr"/>
          <a:lstStyle/>
          <a:p>
            <a:pPr algn="ctr" defTabSz="685800">
              <a:buClrTx/>
              <a:defRPr/>
            </a:pPr>
            <a:r>
              <a:rPr lang="en-US" sz="825" kern="1200">
                <a:solidFill>
                  <a:srgbClr val="313131"/>
                </a:solidFill>
                <a:ea typeface="ＭＳ Ｐゴシック" pitchFamily="50" charset="-128"/>
                <a:cs typeface="+mn-cs"/>
              </a:rPr>
              <a:t>Activity</a:t>
            </a:r>
            <a:endParaRPr lang="en-US" sz="825" kern="1200" dirty="0">
              <a:solidFill>
                <a:srgbClr val="313131"/>
              </a:solidFill>
              <a:ea typeface="ＭＳ Ｐゴシック" pitchFamily="50" charset="-128"/>
              <a:cs typeface="+mn-cs"/>
            </a:endParaRPr>
          </a:p>
        </p:txBody>
      </p:sp>
      <p:sp>
        <p:nvSpPr>
          <p:cNvPr id="103" name="Rectangle 102"/>
          <p:cNvSpPr>
            <a:spLocks noChangeArrowheads="1"/>
          </p:cNvSpPr>
          <p:nvPr/>
        </p:nvSpPr>
        <p:spPr bwMode="auto">
          <a:xfrm>
            <a:off x="4213622" y="2736056"/>
            <a:ext cx="738188" cy="377429"/>
          </a:xfrm>
          <a:prstGeom prst="rect">
            <a:avLst/>
          </a:prstGeom>
          <a:solidFill>
            <a:schemeClr val="bg1"/>
          </a:solidFill>
          <a:ln w="12700" algn="ctr">
            <a:solidFill>
              <a:srgbClr val="575757"/>
            </a:solidFill>
            <a:miter lim="800000"/>
            <a:headEnd/>
            <a:tailEnd/>
          </a:ln>
        </p:spPr>
        <p:txBody>
          <a:bodyPr lIns="67500" tIns="35100" rIns="67500" bIns="35100" anchor="ctr"/>
          <a:lstStyle/>
          <a:p>
            <a:pPr algn="ctr" defTabSz="685800">
              <a:buClrTx/>
              <a:defRPr/>
            </a:pPr>
            <a:r>
              <a:rPr lang="en-US" sz="825" kern="1200">
                <a:solidFill>
                  <a:srgbClr val="313131"/>
                </a:solidFill>
                <a:ea typeface="ＭＳ Ｐゴシック" pitchFamily="50" charset="-128"/>
                <a:cs typeface="+mn-cs"/>
              </a:rPr>
              <a:t>Activity</a:t>
            </a:r>
            <a:endParaRPr lang="en-US" sz="825" kern="1200" dirty="0">
              <a:solidFill>
                <a:srgbClr val="313131"/>
              </a:solidFill>
              <a:ea typeface="ＭＳ Ｐゴシック" pitchFamily="50" charset="-128"/>
              <a:cs typeface="+mn-cs"/>
            </a:endParaRPr>
          </a:p>
        </p:txBody>
      </p:sp>
      <p:sp>
        <p:nvSpPr>
          <p:cNvPr id="104" name="Rectangle 103"/>
          <p:cNvSpPr>
            <a:spLocks noChangeArrowheads="1"/>
          </p:cNvSpPr>
          <p:nvPr/>
        </p:nvSpPr>
        <p:spPr bwMode="auto">
          <a:xfrm>
            <a:off x="5068491" y="2736056"/>
            <a:ext cx="738188" cy="377429"/>
          </a:xfrm>
          <a:prstGeom prst="rect">
            <a:avLst/>
          </a:prstGeom>
          <a:solidFill>
            <a:schemeClr val="bg1"/>
          </a:solidFill>
          <a:ln w="12700" algn="ctr">
            <a:solidFill>
              <a:srgbClr val="575757"/>
            </a:solidFill>
            <a:miter lim="800000"/>
            <a:headEnd/>
            <a:tailEnd/>
          </a:ln>
        </p:spPr>
        <p:txBody>
          <a:bodyPr lIns="67500" tIns="35100" rIns="67500" bIns="35100" anchor="ctr"/>
          <a:lstStyle/>
          <a:p>
            <a:pPr algn="ctr" defTabSz="685800">
              <a:buClrTx/>
              <a:defRPr/>
            </a:pPr>
            <a:r>
              <a:rPr lang="en-US" sz="825" kern="1200">
                <a:solidFill>
                  <a:srgbClr val="313131"/>
                </a:solidFill>
                <a:ea typeface="ＭＳ Ｐゴシック" pitchFamily="50" charset="-128"/>
                <a:cs typeface="+mn-cs"/>
              </a:rPr>
              <a:t>Activity</a:t>
            </a:r>
            <a:endParaRPr lang="en-US" sz="825" kern="1200" dirty="0">
              <a:solidFill>
                <a:srgbClr val="313131"/>
              </a:solidFill>
              <a:ea typeface="ＭＳ Ｐゴシック" pitchFamily="50" charset="-128"/>
              <a:cs typeface="+mn-cs"/>
            </a:endParaRPr>
          </a:p>
        </p:txBody>
      </p:sp>
      <p:sp>
        <p:nvSpPr>
          <p:cNvPr id="105" name="Rectangle 104"/>
          <p:cNvSpPr>
            <a:spLocks noChangeArrowheads="1"/>
          </p:cNvSpPr>
          <p:nvPr/>
        </p:nvSpPr>
        <p:spPr bwMode="auto">
          <a:xfrm>
            <a:off x="5923360" y="2736056"/>
            <a:ext cx="736997" cy="377429"/>
          </a:xfrm>
          <a:prstGeom prst="rect">
            <a:avLst/>
          </a:prstGeom>
          <a:solidFill>
            <a:schemeClr val="bg1"/>
          </a:solidFill>
          <a:ln w="12700" algn="ctr">
            <a:solidFill>
              <a:srgbClr val="575757"/>
            </a:solidFill>
            <a:miter lim="800000"/>
            <a:headEnd/>
            <a:tailEnd/>
          </a:ln>
        </p:spPr>
        <p:txBody>
          <a:bodyPr lIns="67500" tIns="35100" rIns="67500" bIns="35100" anchor="ctr"/>
          <a:lstStyle/>
          <a:p>
            <a:pPr algn="ctr" defTabSz="685800">
              <a:buClrTx/>
              <a:defRPr/>
            </a:pPr>
            <a:r>
              <a:rPr lang="en-US" sz="825" kern="1200">
                <a:solidFill>
                  <a:srgbClr val="313131"/>
                </a:solidFill>
                <a:ea typeface="ＭＳ Ｐゴシック" pitchFamily="50" charset="-128"/>
                <a:cs typeface="+mn-cs"/>
              </a:rPr>
              <a:t>Activity</a:t>
            </a:r>
            <a:endParaRPr lang="en-US" sz="825" kern="1200" dirty="0">
              <a:solidFill>
                <a:srgbClr val="313131"/>
              </a:solidFill>
              <a:ea typeface="ＭＳ Ｐゴシック" pitchFamily="50" charset="-128"/>
              <a:cs typeface="+mn-cs"/>
            </a:endParaRPr>
          </a:p>
        </p:txBody>
      </p:sp>
      <p:sp>
        <p:nvSpPr>
          <p:cNvPr id="106" name="Rectangle 105"/>
          <p:cNvSpPr>
            <a:spLocks noChangeArrowheads="1"/>
          </p:cNvSpPr>
          <p:nvPr/>
        </p:nvSpPr>
        <p:spPr bwMode="auto">
          <a:xfrm>
            <a:off x="6778228" y="2736056"/>
            <a:ext cx="736997" cy="377429"/>
          </a:xfrm>
          <a:prstGeom prst="rect">
            <a:avLst/>
          </a:prstGeom>
          <a:solidFill>
            <a:schemeClr val="bg1"/>
          </a:solidFill>
          <a:ln w="12700" algn="ctr">
            <a:solidFill>
              <a:srgbClr val="575757"/>
            </a:solidFill>
            <a:miter lim="800000"/>
            <a:headEnd/>
            <a:tailEnd/>
          </a:ln>
        </p:spPr>
        <p:txBody>
          <a:bodyPr lIns="67500" tIns="35100" rIns="67500" bIns="35100" anchor="ctr"/>
          <a:lstStyle/>
          <a:p>
            <a:pPr algn="ctr" defTabSz="685800">
              <a:buClrTx/>
              <a:defRPr/>
            </a:pPr>
            <a:r>
              <a:rPr lang="en-US" sz="825" kern="1200">
                <a:solidFill>
                  <a:srgbClr val="313131"/>
                </a:solidFill>
                <a:ea typeface="ＭＳ Ｐゴシック" pitchFamily="50" charset="-128"/>
                <a:cs typeface="+mn-cs"/>
              </a:rPr>
              <a:t>Activity</a:t>
            </a:r>
            <a:endParaRPr lang="en-US" sz="825" kern="1200" dirty="0">
              <a:solidFill>
                <a:srgbClr val="313131"/>
              </a:solidFill>
              <a:ea typeface="ＭＳ Ｐゴシック" pitchFamily="50" charset="-128"/>
              <a:cs typeface="+mn-cs"/>
            </a:endParaRPr>
          </a:p>
        </p:txBody>
      </p:sp>
      <p:cxnSp>
        <p:nvCxnSpPr>
          <p:cNvPr id="107" name="AutoShape 13"/>
          <p:cNvCxnSpPr>
            <a:cxnSpLocks noChangeShapeType="1"/>
            <a:stCxn id="101" idx="3"/>
            <a:endCxn id="102" idx="1"/>
          </p:cNvCxnSpPr>
          <p:nvPr/>
        </p:nvCxnSpPr>
        <p:spPr bwMode="auto">
          <a:xfrm>
            <a:off x="3243263" y="2925367"/>
            <a:ext cx="116681" cy="1190"/>
          </a:xfrm>
          <a:prstGeom prst="straightConnector1">
            <a:avLst/>
          </a:prstGeom>
          <a:noFill/>
          <a:ln w="19050">
            <a:solidFill>
              <a:srgbClr val="575757"/>
            </a:solidFill>
            <a:round/>
            <a:headEnd/>
            <a:tailEnd type="triangle" w="med" len="med"/>
          </a:ln>
        </p:spPr>
      </p:cxnSp>
      <p:cxnSp>
        <p:nvCxnSpPr>
          <p:cNvPr id="108" name="AutoShape 14"/>
          <p:cNvCxnSpPr>
            <a:cxnSpLocks noChangeShapeType="1"/>
            <a:stCxn id="102" idx="3"/>
            <a:endCxn id="103" idx="1"/>
          </p:cNvCxnSpPr>
          <p:nvPr/>
        </p:nvCxnSpPr>
        <p:spPr bwMode="auto">
          <a:xfrm>
            <a:off x="4096942" y="2925367"/>
            <a:ext cx="116681" cy="1190"/>
          </a:xfrm>
          <a:prstGeom prst="straightConnector1">
            <a:avLst/>
          </a:prstGeom>
          <a:noFill/>
          <a:ln w="19050">
            <a:solidFill>
              <a:srgbClr val="575757"/>
            </a:solidFill>
            <a:round/>
            <a:headEnd/>
            <a:tailEnd type="triangle" w="med" len="med"/>
          </a:ln>
        </p:spPr>
      </p:cxnSp>
      <p:cxnSp>
        <p:nvCxnSpPr>
          <p:cNvPr id="109" name="AutoShape 15"/>
          <p:cNvCxnSpPr>
            <a:cxnSpLocks noChangeShapeType="1"/>
            <a:stCxn id="103" idx="3"/>
            <a:endCxn id="104" idx="1"/>
          </p:cNvCxnSpPr>
          <p:nvPr/>
        </p:nvCxnSpPr>
        <p:spPr bwMode="auto">
          <a:xfrm>
            <a:off x="4951810" y="2925367"/>
            <a:ext cx="116681" cy="1190"/>
          </a:xfrm>
          <a:prstGeom prst="straightConnector1">
            <a:avLst/>
          </a:prstGeom>
          <a:noFill/>
          <a:ln w="19050">
            <a:solidFill>
              <a:srgbClr val="575757"/>
            </a:solidFill>
            <a:round/>
            <a:headEnd/>
            <a:tailEnd type="triangle" w="med" len="med"/>
          </a:ln>
        </p:spPr>
      </p:cxnSp>
      <p:cxnSp>
        <p:nvCxnSpPr>
          <p:cNvPr id="110" name="AutoShape 16"/>
          <p:cNvCxnSpPr>
            <a:cxnSpLocks noChangeShapeType="1"/>
            <a:stCxn id="104" idx="3"/>
            <a:endCxn id="105" idx="1"/>
          </p:cNvCxnSpPr>
          <p:nvPr/>
        </p:nvCxnSpPr>
        <p:spPr bwMode="auto">
          <a:xfrm>
            <a:off x="5806679" y="2925367"/>
            <a:ext cx="116681" cy="1190"/>
          </a:xfrm>
          <a:prstGeom prst="straightConnector1">
            <a:avLst/>
          </a:prstGeom>
          <a:noFill/>
          <a:ln w="19050">
            <a:solidFill>
              <a:srgbClr val="575757"/>
            </a:solidFill>
            <a:round/>
            <a:headEnd/>
            <a:tailEnd type="triangle" w="med" len="med"/>
          </a:ln>
        </p:spPr>
      </p:cxnSp>
      <p:cxnSp>
        <p:nvCxnSpPr>
          <p:cNvPr id="111" name="AutoShape 17"/>
          <p:cNvCxnSpPr>
            <a:cxnSpLocks noChangeShapeType="1"/>
            <a:stCxn id="105" idx="3"/>
            <a:endCxn id="106" idx="1"/>
          </p:cNvCxnSpPr>
          <p:nvPr/>
        </p:nvCxnSpPr>
        <p:spPr bwMode="auto">
          <a:xfrm>
            <a:off x="6660357" y="2925367"/>
            <a:ext cx="117872" cy="1190"/>
          </a:xfrm>
          <a:prstGeom prst="straightConnector1">
            <a:avLst/>
          </a:prstGeom>
          <a:noFill/>
          <a:ln w="19050">
            <a:solidFill>
              <a:srgbClr val="575757"/>
            </a:solidFill>
            <a:round/>
            <a:headEnd/>
            <a:tailEnd type="triangle" w="med" len="med"/>
          </a:ln>
        </p:spPr>
      </p:cxnSp>
      <p:sp>
        <p:nvSpPr>
          <p:cNvPr id="115" name="Rectangle 114"/>
          <p:cNvSpPr>
            <a:spLocks noChangeArrowheads="1"/>
          </p:cNvSpPr>
          <p:nvPr/>
        </p:nvSpPr>
        <p:spPr bwMode="auto">
          <a:xfrm>
            <a:off x="2506266" y="3365898"/>
            <a:ext cx="736997" cy="377428"/>
          </a:xfrm>
          <a:prstGeom prst="rect">
            <a:avLst/>
          </a:prstGeom>
          <a:solidFill>
            <a:srgbClr val="00A1DE"/>
          </a:solidFill>
          <a:ln w="12700" algn="ctr">
            <a:solidFill>
              <a:schemeClr val="bg1"/>
            </a:solidFill>
            <a:miter lim="800000"/>
            <a:headEnd/>
            <a:tailEnd/>
          </a:ln>
        </p:spPr>
        <p:txBody>
          <a:bodyPr lIns="67500" tIns="35100" rIns="67500" bIns="35100" anchor="ctr"/>
          <a:lstStyle/>
          <a:p>
            <a:pPr algn="ctr" defTabSz="685800">
              <a:buClrTx/>
              <a:defRPr/>
            </a:pPr>
            <a:r>
              <a:rPr lang="en-US" sz="825" kern="1200">
                <a:solidFill>
                  <a:prstClr val="white"/>
                </a:solidFill>
                <a:ea typeface="ＭＳ Ｐゴシック" pitchFamily="50" charset="-128"/>
                <a:cs typeface="+mn-cs"/>
              </a:rPr>
              <a:t>Activity</a:t>
            </a:r>
            <a:endParaRPr lang="en-US" sz="825" kern="1200" dirty="0">
              <a:solidFill>
                <a:prstClr val="white"/>
              </a:solidFill>
              <a:ea typeface="ＭＳ Ｐゴシック" pitchFamily="50" charset="-128"/>
              <a:cs typeface="+mn-cs"/>
            </a:endParaRPr>
          </a:p>
        </p:txBody>
      </p:sp>
      <p:sp>
        <p:nvSpPr>
          <p:cNvPr id="116" name="Rectangle 115"/>
          <p:cNvSpPr>
            <a:spLocks noChangeArrowheads="1"/>
          </p:cNvSpPr>
          <p:nvPr/>
        </p:nvSpPr>
        <p:spPr bwMode="auto">
          <a:xfrm>
            <a:off x="3359944" y="3365898"/>
            <a:ext cx="736997" cy="377428"/>
          </a:xfrm>
          <a:prstGeom prst="rect">
            <a:avLst/>
          </a:prstGeom>
          <a:solidFill>
            <a:srgbClr val="00A1DE"/>
          </a:solidFill>
          <a:ln w="12700" algn="ctr">
            <a:solidFill>
              <a:schemeClr val="bg1"/>
            </a:solidFill>
            <a:miter lim="800000"/>
            <a:headEnd/>
            <a:tailEnd/>
          </a:ln>
        </p:spPr>
        <p:txBody>
          <a:bodyPr lIns="67500" tIns="35100" rIns="67500" bIns="35100" anchor="ctr"/>
          <a:lstStyle/>
          <a:p>
            <a:pPr algn="ctr" defTabSz="685800">
              <a:buClrTx/>
              <a:defRPr/>
            </a:pPr>
            <a:r>
              <a:rPr lang="en-US" sz="825" kern="1200">
                <a:solidFill>
                  <a:prstClr val="white"/>
                </a:solidFill>
                <a:ea typeface="ＭＳ Ｐゴシック" pitchFamily="50" charset="-128"/>
                <a:cs typeface="+mn-cs"/>
              </a:rPr>
              <a:t>Activity</a:t>
            </a:r>
            <a:endParaRPr lang="en-US" sz="825" kern="1200" dirty="0">
              <a:solidFill>
                <a:prstClr val="white"/>
              </a:solidFill>
              <a:ea typeface="ＭＳ Ｐゴシック" pitchFamily="50" charset="-128"/>
              <a:cs typeface="+mn-cs"/>
            </a:endParaRPr>
          </a:p>
        </p:txBody>
      </p:sp>
      <p:sp>
        <p:nvSpPr>
          <p:cNvPr id="117" name="Rectangle 116"/>
          <p:cNvSpPr>
            <a:spLocks noChangeArrowheads="1"/>
          </p:cNvSpPr>
          <p:nvPr/>
        </p:nvSpPr>
        <p:spPr bwMode="auto">
          <a:xfrm>
            <a:off x="4213622" y="3365898"/>
            <a:ext cx="738188" cy="377428"/>
          </a:xfrm>
          <a:prstGeom prst="rect">
            <a:avLst/>
          </a:prstGeom>
          <a:solidFill>
            <a:srgbClr val="00A1DE"/>
          </a:solidFill>
          <a:ln w="12700" algn="ctr">
            <a:solidFill>
              <a:schemeClr val="bg1"/>
            </a:solidFill>
            <a:miter lim="800000"/>
            <a:headEnd/>
            <a:tailEnd/>
          </a:ln>
        </p:spPr>
        <p:txBody>
          <a:bodyPr lIns="67500" tIns="35100" rIns="67500" bIns="35100" anchor="ctr"/>
          <a:lstStyle/>
          <a:p>
            <a:pPr algn="ctr" defTabSz="685800">
              <a:buClrTx/>
              <a:defRPr/>
            </a:pPr>
            <a:r>
              <a:rPr lang="en-US" sz="825" kern="1200">
                <a:solidFill>
                  <a:prstClr val="white"/>
                </a:solidFill>
                <a:ea typeface="ＭＳ Ｐゴシック" pitchFamily="50" charset="-128"/>
                <a:cs typeface="+mn-cs"/>
              </a:rPr>
              <a:t>Activity</a:t>
            </a:r>
            <a:endParaRPr lang="en-US" sz="825" kern="1200" dirty="0">
              <a:solidFill>
                <a:prstClr val="white"/>
              </a:solidFill>
              <a:ea typeface="ＭＳ Ｐゴシック" pitchFamily="50" charset="-128"/>
              <a:cs typeface="+mn-cs"/>
            </a:endParaRPr>
          </a:p>
        </p:txBody>
      </p:sp>
      <p:sp>
        <p:nvSpPr>
          <p:cNvPr id="118" name="Rectangle 117"/>
          <p:cNvSpPr>
            <a:spLocks noChangeArrowheads="1"/>
          </p:cNvSpPr>
          <p:nvPr/>
        </p:nvSpPr>
        <p:spPr bwMode="auto">
          <a:xfrm>
            <a:off x="5068491" y="3365898"/>
            <a:ext cx="738188" cy="377428"/>
          </a:xfrm>
          <a:prstGeom prst="rect">
            <a:avLst/>
          </a:prstGeom>
          <a:solidFill>
            <a:srgbClr val="00A1DE"/>
          </a:solidFill>
          <a:ln w="12700" algn="ctr">
            <a:solidFill>
              <a:schemeClr val="bg1"/>
            </a:solidFill>
            <a:miter lim="800000"/>
            <a:headEnd/>
            <a:tailEnd/>
          </a:ln>
        </p:spPr>
        <p:txBody>
          <a:bodyPr lIns="67500" tIns="35100" rIns="67500" bIns="35100" anchor="ctr"/>
          <a:lstStyle/>
          <a:p>
            <a:pPr algn="ctr" defTabSz="685800">
              <a:buClrTx/>
              <a:defRPr/>
            </a:pPr>
            <a:r>
              <a:rPr lang="en-US" sz="825" kern="1200">
                <a:solidFill>
                  <a:prstClr val="white"/>
                </a:solidFill>
                <a:ea typeface="ＭＳ Ｐゴシック" pitchFamily="50" charset="-128"/>
                <a:cs typeface="+mn-cs"/>
              </a:rPr>
              <a:t>Activity</a:t>
            </a:r>
            <a:endParaRPr lang="en-US" sz="825" kern="1200" dirty="0">
              <a:solidFill>
                <a:prstClr val="white"/>
              </a:solidFill>
              <a:ea typeface="ＭＳ Ｐゴシック" pitchFamily="50" charset="-128"/>
              <a:cs typeface="+mn-cs"/>
            </a:endParaRPr>
          </a:p>
        </p:txBody>
      </p:sp>
      <p:sp>
        <p:nvSpPr>
          <p:cNvPr id="119" name="Rectangle 118"/>
          <p:cNvSpPr>
            <a:spLocks noChangeArrowheads="1"/>
          </p:cNvSpPr>
          <p:nvPr/>
        </p:nvSpPr>
        <p:spPr bwMode="auto">
          <a:xfrm>
            <a:off x="5923360" y="3365898"/>
            <a:ext cx="736997" cy="377428"/>
          </a:xfrm>
          <a:prstGeom prst="rect">
            <a:avLst/>
          </a:prstGeom>
          <a:solidFill>
            <a:srgbClr val="00A1DE"/>
          </a:solidFill>
          <a:ln w="12700" algn="ctr">
            <a:solidFill>
              <a:schemeClr val="bg1"/>
            </a:solidFill>
            <a:miter lim="800000"/>
            <a:headEnd/>
            <a:tailEnd/>
          </a:ln>
        </p:spPr>
        <p:txBody>
          <a:bodyPr lIns="67500" tIns="35100" rIns="67500" bIns="35100" anchor="ctr"/>
          <a:lstStyle/>
          <a:p>
            <a:pPr algn="ctr" defTabSz="685800">
              <a:buClrTx/>
              <a:defRPr/>
            </a:pPr>
            <a:r>
              <a:rPr lang="en-US" sz="825" kern="1200">
                <a:solidFill>
                  <a:prstClr val="white"/>
                </a:solidFill>
                <a:ea typeface="ＭＳ Ｐゴシック" pitchFamily="50" charset="-128"/>
                <a:cs typeface="+mn-cs"/>
              </a:rPr>
              <a:t>Activity</a:t>
            </a:r>
            <a:endParaRPr lang="en-US" sz="825" kern="1200" dirty="0">
              <a:solidFill>
                <a:prstClr val="white"/>
              </a:solidFill>
              <a:ea typeface="ＭＳ Ｐゴシック" pitchFamily="50" charset="-128"/>
              <a:cs typeface="+mn-cs"/>
            </a:endParaRPr>
          </a:p>
        </p:txBody>
      </p:sp>
      <p:sp>
        <p:nvSpPr>
          <p:cNvPr id="120" name="Rectangle 119"/>
          <p:cNvSpPr>
            <a:spLocks noChangeArrowheads="1"/>
          </p:cNvSpPr>
          <p:nvPr/>
        </p:nvSpPr>
        <p:spPr bwMode="auto">
          <a:xfrm>
            <a:off x="6778228" y="3365898"/>
            <a:ext cx="736997" cy="377428"/>
          </a:xfrm>
          <a:prstGeom prst="rect">
            <a:avLst/>
          </a:prstGeom>
          <a:solidFill>
            <a:srgbClr val="00A1DE"/>
          </a:solidFill>
          <a:ln w="12700" algn="ctr">
            <a:solidFill>
              <a:schemeClr val="bg1"/>
            </a:solidFill>
            <a:miter lim="800000"/>
            <a:headEnd/>
            <a:tailEnd/>
          </a:ln>
        </p:spPr>
        <p:txBody>
          <a:bodyPr lIns="67500" tIns="35100" rIns="67500" bIns="35100" anchor="ctr"/>
          <a:lstStyle/>
          <a:p>
            <a:pPr algn="ctr" defTabSz="685800">
              <a:buClrTx/>
              <a:defRPr/>
            </a:pPr>
            <a:r>
              <a:rPr lang="en-US" sz="825" kern="1200">
                <a:solidFill>
                  <a:prstClr val="white"/>
                </a:solidFill>
                <a:ea typeface="ＭＳ Ｐゴシック" pitchFamily="50" charset="-128"/>
                <a:cs typeface="+mn-cs"/>
              </a:rPr>
              <a:t>Activity</a:t>
            </a:r>
            <a:endParaRPr lang="en-US" sz="825" kern="1200" dirty="0">
              <a:solidFill>
                <a:prstClr val="white"/>
              </a:solidFill>
              <a:ea typeface="ＭＳ Ｐゴシック" pitchFamily="50" charset="-128"/>
              <a:cs typeface="+mn-cs"/>
            </a:endParaRPr>
          </a:p>
        </p:txBody>
      </p:sp>
      <p:cxnSp>
        <p:nvCxnSpPr>
          <p:cNvPr id="121" name="AutoShape 13"/>
          <p:cNvCxnSpPr>
            <a:cxnSpLocks noChangeShapeType="1"/>
            <a:stCxn id="115" idx="3"/>
            <a:endCxn id="116" idx="1"/>
          </p:cNvCxnSpPr>
          <p:nvPr/>
        </p:nvCxnSpPr>
        <p:spPr bwMode="auto">
          <a:xfrm>
            <a:off x="3243263" y="3555206"/>
            <a:ext cx="116681" cy="1191"/>
          </a:xfrm>
          <a:prstGeom prst="straightConnector1">
            <a:avLst/>
          </a:prstGeom>
          <a:noFill/>
          <a:ln w="19050">
            <a:solidFill>
              <a:srgbClr val="575757"/>
            </a:solidFill>
            <a:round/>
            <a:headEnd/>
            <a:tailEnd type="triangle" w="med" len="med"/>
          </a:ln>
        </p:spPr>
      </p:cxnSp>
      <p:cxnSp>
        <p:nvCxnSpPr>
          <p:cNvPr id="122" name="AutoShape 14"/>
          <p:cNvCxnSpPr>
            <a:cxnSpLocks noChangeShapeType="1"/>
            <a:stCxn id="116" idx="3"/>
            <a:endCxn id="117" idx="1"/>
          </p:cNvCxnSpPr>
          <p:nvPr/>
        </p:nvCxnSpPr>
        <p:spPr bwMode="auto">
          <a:xfrm>
            <a:off x="4096942" y="3555206"/>
            <a:ext cx="116681" cy="1191"/>
          </a:xfrm>
          <a:prstGeom prst="straightConnector1">
            <a:avLst/>
          </a:prstGeom>
          <a:noFill/>
          <a:ln w="19050">
            <a:solidFill>
              <a:srgbClr val="575757"/>
            </a:solidFill>
            <a:round/>
            <a:headEnd/>
            <a:tailEnd type="triangle" w="med" len="med"/>
          </a:ln>
        </p:spPr>
      </p:cxnSp>
      <p:cxnSp>
        <p:nvCxnSpPr>
          <p:cNvPr id="123" name="AutoShape 15"/>
          <p:cNvCxnSpPr>
            <a:cxnSpLocks noChangeShapeType="1"/>
            <a:stCxn id="117" idx="3"/>
            <a:endCxn id="118" idx="1"/>
          </p:cNvCxnSpPr>
          <p:nvPr/>
        </p:nvCxnSpPr>
        <p:spPr bwMode="auto">
          <a:xfrm>
            <a:off x="4951810" y="3555206"/>
            <a:ext cx="116681" cy="1191"/>
          </a:xfrm>
          <a:prstGeom prst="straightConnector1">
            <a:avLst/>
          </a:prstGeom>
          <a:noFill/>
          <a:ln w="19050">
            <a:solidFill>
              <a:srgbClr val="575757"/>
            </a:solidFill>
            <a:round/>
            <a:headEnd/>
            <a:tailEnd type="triangle" w="med" len="med"/>
          </a:ln>
        </p:spPr>
      </p:cxnSp>
      <p:cxnSp>
        <p:nvCxnSpPr>
          <p:cNvPr id="124" name="AutoShape 16"/>
          <p:cNvCxnSpPr>
            <a:cxnSpLocks noChangeShapeType="1"/>
            <a:stCxn id="118" idx="3"/>
            <a:endCxn id="119" idx="1"/>
          </p:cNvCxnSpPr>
          <p:nvPr/>
        </p:nvCxnSpPr>
        <p:spPr bwMode="auto">
          <a:xfrm>
            <a:off x="5806679" y="3555206"/>
            <a:ext cx="116681" cy="1191"/>
          </a:xfrm>
          <a:prstGeom prst="straightConnector1">
            <a:avLst/>
          </a:prstGeom>
          <a:noFill/>
          <a:ln w="19050">
            <a:solidFill>
              <a:srgbClr val="575757"/>
            </a:solidFill>
            <a:round/>
            <a:headEnd/>
            <a:tailEnd type="triangle" w="med" len="med"/>
          </a:ln>
        </p:spPr>
      </p:cxnSp>
      <p:cxnSp>
        <p:nvCxnSpPr>
          <p:cNvPr id="125" name="AutoShape 17"/>
          <p:cNvCxnSpPr>
            <a:cxnSpLocks noChangeShapeType="1"/>
            <a:stCxn id="119" idx="3"/>
            <a:endCxn id="120" idx="1"/>
          </p:cNvCxnSpPr>
          <p:nvPr/>
        </p:nvCxnSpPr>
        <p:spPr bwMode="auto">
          <a:xfrm>
            <a:off x="6660357" y="3555206"/>
            <a:ext cx="117872" cy="1191"/>
          </a:xfrm>
          <a:prstGeom prst="straightConnector1">
            <a:avLst/>
          </a:prstGeom>
          <a:noFill/>
          <a:ln w="19050">
            <a:solidFill>
              <a:srgbClr val="575757"/>
            </a:solidFill>
            <a:round/>
            <a:headEnd/>
            <a:tailEnd type="triangle" w="med" len="med"/>
          </a:ln>
        </p:spPr>
      </p:cxnSp>
      <p:sp>
        <p:nvSpPr>
          <p:cNvPr id="126" name="Rectangle 125"/>
          <p:cNvSpPr>
            <a:spLocks noChangeArrowheads="1"/>
          </p:cNvSpPr>
          <p:nvPr/>
        </p:nvSpPr>
        <p:spPr bwMode="auto">
          <a:xfrm>
            <a:off x="2506266" y="4012406"/>
            <a:ext cx="736997" cy="377429"/>
          </a:xfrm>
          <a:prstGeom prst="rect">
            <a:avLst/>
          </a:prstGeom>
          <a:solidFill>
            <a:schemeClr val="bg1"/>
          </a:solidFill>
          <a:ln w="12700" algn="ctr">
            <a:solidFill>
              <a:srgbClr val="575757"/>
            </a:solidFill>
            <a:miter lim="800000"/>
            <a:headEnd/>
            <a:tailEnd/>
          </a:ln>
        </p:spPr>
        <p:txBody>
          <a:bodyPr lIns="67500" tIns="35100" rIns="67500" bIns="35100" anchor="ctr"/>
          <a:lstStyle/>
          <a:p>
            <a:pPr algn="ctr" defTabSz="685800">
              <a:buClrTx/>
              <a:defRPr/>
            </a:pPr>
            <a:r>
              <a:rPr lang="en-US" sz="825" kern="1200" dirty="0">
                <a:solidFill>
                  <a:srgbClr val="313131"/>
                </a:solidFill>
                <a:ea typeface="ＭＳ Ｐゴシック" pitchFamily="50" charset="-128"/>
                <a:cs typeface="+mn-cs"/>
              </a:rPr>
              <a:t>Activity</a:t>
            </a:r>
          </a:p>
        </p:txBody>
      </p:sp>
      <p:sp>
        <p:nvSpPr>
          <p:cNvPr id="127" name="Rectangle 126"/>
          <p:cNvSpPr>
            <a:spLocks noChangeArrowheads="1"/>
          </p:cNvSpPr>
          <p:nvPr/>
        </p:nvSpPr>
        <p:spPr bwMode="auto">
          <a:xfrm>
            <a:off x="3359944" y="4012406"/>
            <a:ext cx="736997" cy="377429"/>
          </a:xfrm>
          <a:prstGeom prst="rect">
            <a:avLst/>
          </a:prstGeom>
          <a:solidFill>
            <a:schemeClr val="bg1"/>
          </a:solidFill>
          <a:ln w="12700" algn="ctr">
            <a:solidFill>
              <a:srgbClr val="575757"/>
            </a:solidFill>
            <a:miter lim="800000"/>
            <a:headEnd/>
            <a:tailEnd/>
          </a:ln>
        </p:spPr>
        <p:txBody>
          <a:bodyPr lIns="67500" tIns="35100" rIns="67500" bIns="35100" anchor="ctr"/>
          <a:lstStyle/>
          <a:p>
            <a:pPr algn="ctr" defTabSz="685800">
              <a:buClrTx/>
              <a:defRPr/>
            </a:pPr>
            <a:r>
              <a:rPr lang="en-US" sz="825" kern="1200">
                <a:solidFill>
                  <a:srgbClr val="313131"/>
                </a:solidFill>
                <a:ea typeface="ＭＳ Ｐゴシック" pitchFamily="50" charset="-128"/>
                <a:cs typeface="+mn-cs"/>
              </a:rPr>
              <a:t>Activity</a:t>
            </a:r>
            <a:endParaRPr lang="en-US" sz="825" kern="1200" dirty="0">
              <a:solidFill>
                <a:srgbClr val="313131"/>
              </a:solidFill>
              <a:ea typeface="ＭＳ Ｐゴシック" pitchFamily="50" charset="-128"/>
              <a:cs typeface="+mn-cs"/>
            </a:endParaRPr>
          </a:p>
        </p:txBody>
      </p:sp>
      <p:sp>
        <p:nvSpPr>
          <p:cNvPr id="128" name="Rectangle 127"/>
          <p:cNvSpPr>
            <a:spLocks noChangeArrowheads="1"/>
          </p:cNvSpPr>
          <p:nvPr/>
        </p:nvSpPr>
        <p:spPr bwMode="auto">
          <a:xfrm>
            <a:off x="4213622" y="4012406"/>
            <a:ext cx="738188" cy="377429"/>
          </a:xfrm>
          <a:prstGeom prst="rect">
            <a:avLst/>
          </a:prstGeom>
          <a:solidFill>
            <a:schemeClr val="bg1"/>
          </a:solidFill>
          <a:ln w="12700" algn="ctr">
            <a:solidFill>
              <a:srgbClr val="575757"/>
            </a:solidFill>
            <a:miter lim="800000"/>
            <a:headEnd/>
            <a:tailEnd/>
          </a:ln>
        </p:spPr>
        <p:txBody>
          <a:bodyPr lIns="67500" tIns="35100" rIns="67500" bIns="35100" anchor="ctr"/>
          <a:lstStyle/>
          <a:p>
            <a:pPr algn="ctr" defTabSz="685800">
              <a:buClrTx/>
              <a:defRPr/>
            </a:pPr>
            <a:r>
              <a:rPr lang="en-US" sz="825" kern="1200">
                <a:solidFill>
                  <a:srgbClr val="313131"/>
                </a:solidFill>
                <a:ea typeface="ＭＳ Ｐゴシック" pitchFamily="50" charset="-128"/>
                <a:cs typeface="+mn-cs"/>
              </a:rPr>
              <a:t>Activity</a:t>
            </a:r>
            <a:endParaRPr lang="en-US" sz="825" kern="1200" dirty="0">
              <a:solidFill>
                <a:srgbClr val="313131"/>
              </a:solidFill>
              <a:ea typeface="ＭＳ Ｐゴシック" pitchFamily="50" charset="-128"/>
              <a:cs typeface="+mn-cs"/>
            </a:endParaRPr>
          </a:p>
        </p:txBody>
      </p:sp>
      <p:sp>
        <p:nvSpPr>
          <p:cNvPr id="129" name="Rectangle 128"/>
          <p:cNvSpPr>
            <a:spLocks noChangeArrowheads="1"/>
          </p:cNvSpPr>
          <p:nvPr/>
        </p:nvSpPr>
        <p:spPr bwMode="auto">
          <a:xfrm>
            <a:off x="5068491" y="4012406"/>
            <a:ext cx="738188" cy="377429"/>
          </a:xfrm>
          <a:prstGeom prst="rect">
            <a:avLst/>
          </a:prstGeom>
          <a:solidFill>
            <a:schemeClr val="bg1"/>
          </a:solidFill>
          <a:ln w="12700" algn="ctr">
            <a:solidFill>
              <a:srgbClr val="575757"/>
            </a:solidFill>
            <a:miter lim="800000"/>
            <a:headEnd/>
            <a:tailEnd/>
          </a:ln>
        </p:spPr>
        <p:txBody>
          <a:bodyPr lIns="67500" tIns="35100" rIns="67500" bIns="35100" anchor="ctr"/>
          <a:lstStyle/>
          <a:p>
            <a:pPr algn="ctr" defTabSz="685800">
              <a:buClrTx/>
              <a:defRPr/>
            </a:pPr>
            <a:r>
              <a:rPr lang="en-US" sz="825" kern="1200">
                <a:solidFill>
                  <a:srgbClr val="313131"/>
                </a:solidFill>
                <a:ea typeface="ＭＳ Ｐゴシック" pitchFamily="50" charset="-128"/>
                <a:cs typeface="+mn-cs"/>
              </a:rPr>
              <a:t>Activity</a:t>
            </a:r>
            <a:endParaRPr lang="en-US" sz="825" kern="1200" dirty="0">
              <a:solidFill>
                <a:srgbClr val="313131"/>
              </a:solidFill>
              <a:ea typeface="ＭＳ Ｐゴシック" pitchFamily="50" charset="-128"/>
              <a:cs typeface="+mn-cs"/>
            </a:endParaRPr>
          </a:p>
        </p:txBody>
      </p:sp>
      <p:sp>
        <p:nvSpPr>
          <p:cNvPr id="130" name="Rectangle 129"/>
          <p:cNvSpPr>
            <a:spLocks noChangeArrowheads="1"/>
          </p:cNvSpPr>
          <p:nvPr/>
        </p:nvSpPr>
        <p:spPr bwMode="auto">
          <a:xfrm>
            <a:off x="5923360" y="4012406"/>
            <a:ext cx="736997" cy="377429"/>
          </a:xfrm>
          <a:prstGeom prst="rect">
            <a:avLst/>
          </a:prstGeom>
          <a:solidFill>
            <a:schemeClr val="bg1"/>
          </a:solidFill>
          <a:ln w="12700" algn="ctr">
            <a:solidFill>
              <a:srgbClr val="575757"/>
            </a:solidFill>
            <a:miter lim="800000"/>
            <a:headEnd/>
            <a:tailEnd/>
          </a:ln>
        </p:spPr>
        <p:txBody>
          <a:bodyPr lIns="67500" tIns="35100" rIns="67500" bIns="35100" anchor="ctr"/>
          <a:lstStyle/>
          <a:p>
            <a:pPr algn="ctr" defTabSz="685800">
              <a:buClrTx/>
              <a:defRPr/>
            </a:pPr>
            <a:r>
              <a:rPr lang="en-US" sz="825" kern="1200">
                <a:solidFill>
                  <a:srgbClr val="313131"/>
                </a:solidFill>
                <a:ea typeface="ＭＳ Ｐゴシック" pitchFamily="50" charset="-128"/>
                <a:cs typeface="+mn-cs"/>
              </a:rPr>
              <a:t>Activity</a:t>
            </a:r>
            <a:endParaRPr lang="en-US" sz="825" kern="1200" dirty="0">
              <a:solidFill>
                <a:srgbClr val="313131"/>
              </a:solidFill>
              <a:ea typeface="ＭＳ Ｐゴシック" pitchFamily="50" charset="-128"/>
              <a:cs typeface="+mn-cs"/>
            </a:endParaRPr>
          </a:p>
        </p:txBody>
      </p:sp>
      <p:sp>
        <p:nvSpPr>
          <p:cNvPr id="131" name="Rectangle 130"/>
          <p:cNvSpPr>
            <a:spLocks noChangeArrowheads="1"/>
          </p:cNvSpPr>
          <p:nvPr/>
        </p:nvSpPr>
        <p:spPr bwMode="auto">
          <a:xfrm>
            <a:off x="6778228" y="4012406"/>
            <a:ext cx="736997" cy="377429"/>
          </a:xfrm>
          <a:prstGeom prst="rect">
            <a:avLst/>
          </a:prstGeom>
          <a:solidFill>
            <a:schemeClr val="bg1"/>
          </a:solidFill>
          <a:ln w="12700" algn="ctr">
            <a:solidFill>
              <a:srgbClr val="575757"/>
            </a:solidFill>
            <a:miter lim="800000"/>
            <a:headEnd/>
            <a:tailEnd/>
          </a:ln>
        </p:spPr>
        <p:txBody>
          <a:bodyPr lIns="67500" tIns="35100" rIns="67500" bIns="35100" anchor="ctr"/>
          <a:lstStyle/>
          <a:p>
            <a:pPr algn="ctr" defTabSz="685800">
              <a:buClrTx/>
              <a:defRPr/>
            </a:pPr>
            <a:r>
              <a:rPr lang="en-US" sz="825" kern="1200">
                <a:solidFill>
                  <a:srgbClr val="313131"/>
                </a:solidFill>
                <a:ea typeface="ＭＳ Ｐゴシック" pitchFamily="50" charset="-128"/>
                <a:cs typeface="+mn-cs"/>
              </a:rPr>
              <a:t>Activity</a:t>
            </a:r>
            <a:endParaRPr lang="en-US" sz="825" kern="1200" dirty="0">
              <a:solidFill>
                <a:srgbClr val="313131"/>
              </a:solidFill>
              <a:ea typeface="ＭＳ Ｐゴシック" pitchFamily="50" charset="-128"/>
              <a:cs typeface="+mn-cs"/>
            </a:endParaRPr>
          </a:p>
        </p:txBody>
      </p:sp>
      <p:cxnSp>
        <p:nvCxnSpPr>
          <p:cNvPr id="132" name="AutoShape 13"/>
          <p:cNvCxnSpPr>
            <a:cxnSpLocks noChangeShapeType="1"/>
            <a:stCxn id="126" idx="3"/>
            <a:endCxn id="127" idx="1"/>
          </p:cNvCxnSpPr>
          <p:nvPr/>
        </p:nvCxnSpPr>
        <p:spPr bwMode="auto">
          <a:xfrm>
            <a:off x="3243263" y="4200525"/>
            <a:ext cx="116681" cy="1191"/>
          </a:xfrm>
          <a:prstGeom prst="straightConnector1">
            <a:avLst/>
          </a:prstGeom>
          <a:noFill/>
          <a:ln w="19050">
            <a:solidFill>
              <a:srgbClr val="575757"/>
            </a:solidFill>
            <a:round/>
            <a:headEnd/>
            <a:tailEnd type="triangle" w="med" len="med"/>
          </a:ln>
        </p:spPr>
      </p:cxnSp>
      <p:cxnSp>
        <p:nvCxnSpPr>
          <p:cNvPr id="133" name="AutoShape 14"/>
          <p:cNvCxnSpPr>
            <a:cxnSpLocks noChangeShapeType="1"/>
            <a:stCxn id="127" idx="3"/>
            <a:endCxn id="128" idx="1"/>
          </p:cNvCxnSpPr>
          <p:nvPr/>
        </p:nvCxnSpPr>
        <p:spPr bwMode="auto">
          <a:xfrm>
            <a:off x="4096942" y="4200525"/>
            <a:ext cx="116681" cy="1191"/>
          </a:xfrm>
          <a:prstGeom prst="straightConnector1">
            <a:avLst/>
          </a:prstGeom>
          <a:noFill/>
          <a:ln w="19050">
            <a:solidFill>
              <a:srgbClr val="575757"/>
            </a:solidFill>
            <a:round/>
            <a:headEnd/>
            <a:tailEnd type="triangle" w="med" len="med"/>
          </a:ln>
        </p:spPr>
      </p:cxnSp>
      <p:cxnSp>
        <p:nvCxnSpPr>
          <p:cNvPr id="134" name="AutoShape 15"/>
          <p:cNvCxnSpPr>
            <a:cxnSpLocks noChangeShapeType="1"/>
            <a:stCxn id="128" idx="3"/>
            <a:endCxn id="129" idx="1"/>
          </p:cNvCxnSpPr>
          <p:nvPr/>
        </p:nvCxnSpPr>
        <p:spPr bwMode="auto">
          <a:xfrm>
            <a:off x="4951810" y="4200525"/>
            <a:ext cx="116681" cy="1191"/>
          </a:xfrm>
          <a:prstGeom prst="straightConnector1">
            <a:avLst/>
          </a:prstGeom>
          <a:noFill/>
          <a:ln w="19050">
            <a:solidFill>
              <a:srgbClr val="575757"/>
            </a:solidFill>
            <a:round/>
            <a:headEnd/>
            <a:tailEnd type="triangle" w="med" len="med"/>
          </a:ln>
        </p:spPr>
      </p:cxnSp>
      <p:cxnSp>
        <p:nvCxnSpPr>
          <p:cNvPr id="135" name="AutoShape 16"/>
          <p:cNvCxnSpPr>
            <a:cxnSpLocks noChangeShapeType="1"/>
            <a:stCxn id="129" idx="3"/>
            <a:endCxn id="130" idx="1"/>
          </p:cNvCxnSpPr>
          <p:nvPr/>
        </p:nvCxnSpPr>
        <p:spPr bwMode="auto">
          <a:xfrm>
            <a:off x="5806679" y="4200525"/>
            <a:ext cx="116681" cy="1191"/>
          </a:xfrm>
          <a:prstGeom prst="straightConnector1">
            <a:avLst/>
          </a:prstGeom>
          <a:noFill/>
          <a:ln w="19050">
            <a:solidFill>
              <a:srgbClr val="575757"/>
            </a:solidFill>
            <a:round/>
            <a:headEnd/>
            <a:tailEnd type="triangle" w="med" len="med"/>
          </a:ln>
        </p:spPr>
      </p:cxnSp>
      <p:cxnSp>
        <p:nvCxnSpPr>
          <p:cNvPr id="136" name="AutoShape 17"/>
          <p:cNvCxnSpPr>
            <a:cxnSpLocks noChangeShapeType="1"/>
            <a:stCxn id="130" idx="3"/>
            <a:endCxn id="131" idx="1"/>
          </p:cNvCxnSpPr>
          <p:nvPr/>
        </p:nvCxnSpPr>
        <p:spPr bwMode="auto">
          <a:xfrm>
            <a:off x="6660357" y="4200525"/>
            <a:ext cx="117872" cy="1191"/>
          </a:xfrm>
          <a:prstGeom prst="straightConnector1">
            <a:avLst/>
          </a:prstGeom>
          <a:noFill/>
          <a:ln w="19050">
            <a:solidFill>
              <a:srgbClr val="575757"/>
            </a:solidFill>
            <a:round/>
            <a:headEnd/>
            <a:tailEnd type="triangle" w="med" len="med"/>
          </a:ln>
        </p:spPr>
      </p:cxnSp>
      <p:sp>
        <p:nvSpPr>
          <p:cNvPr id="71" name="Text Placeholder 12"/>
          <p:cNvSpPr>
            <a:spLocks/>
          </p:cNvSpPr>
          <p:nvPr>
            <p:custDataLst>
              <p:tags r:id="rId1"/>
            </p:custDataLst>
          </p:nvPr>
        </p:nvSpPr>
        <p:spPr bwMode="auto">
          <a:xfrm>
            <a:off x="1440657" y="89154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Tree>
  </p:cSld>
  <p:clrMapOvr>
    <a:masterClrMapping/>
  </p:clrMapOvr>
  <p:transition>
    <p:fade/>
  </p:transition>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9505" name="Title 1"/>
          <p:cNvSpPr>
            <a:spLocks noGrp="1"/>
          </p:cNvSpPr>
          <p:nvPr>
            <p:ph type="title"/>
          </p:nvPr>
        </p:nvSpPr>
        <p:spPr/>
        <p:txBody>
          <a:bodyPr/>
          <a:lstStyle/>
          <a:p>
            <a:r>
              <a:rPr lang="en-US"/>
              <a:t>Process flow</a:t>
            </a:r>
          </a:p>
        </p:txBody>
      </p:sp>
      <p:sp>
        <p:nvSpPr>
          <p:cNvPr id="4" name="Rectangle 3"/>
          <p:cNvSpPr>
            <a:spLocks noChangeArrowheads="1"/>
          </p:cNvSpPr>
          <p:nvPr/>
        </p:nvSpPr>
        <p:spPr bwMode="auto">
          <a:xfrm>
            <a:off x="1438275" y="1300163"/>
            <a:ext cx="913210" cy="364331"/>
          </a:xfrm>
          <a:prstGeom prst="rect">
            <a:avLst/>
          </a:prstGeom>
          <a:solidFill>
            <a:srgbClr val="00A1DE"/>
          </a:solidFill>
          <a:ln w="12700">
            <a:solidFill>
              <a:schemeClr val="bg1"/>
            </a:solidFill>
            <a:miter lim="800000"/>
            <a:headEnd/>
            <a:tailEnd/>
          </a:ln>
        </p:spPr>
        <p:txBody>
          <a:bodyPr lIns="34290" rIns="34290" anchor="ctr"/>
          <a:lstStyle/>
          <a:p>
            <a:pPr algn="ctr" defTabSz="685800">
              <a:lnSpc>
                <a:spcPct val="95000"/>
              </a:lnSpc>
              <a:buClrTx/>
              <a:defRPr/>
            </a:pPr>
            <a:r>
              <a:rPr lang="en-US" sz="825" b="1" kern="1200">
                <a:solidFill>
                  <a:prstClr val="white"/>
                </a:solidFill>
                <a:ea typeface="ＭＳ Ｐゴシック" pitchFamily="50" charset="-128"/>
                <a:cs typeface="+mn-cs"/>
              </a:rPr>
              <a:t>Process</a:t>
            </a:r>
            <a:endParaRPr lang="en-US" sz="825" b="1" kern="1200" dirty="0">
              <a:solidFill>
                <a:prstClr val="white"/>
              </a:solidFill>
              <a:ea typeface="ＭＳ Ｐゴシック" pitchFamily="50" charset="-128"/>
              <a:cs typeface="+mn-cs"/>
            </a:endParaRPr>
          </a:p>
        </p:txBody>
      </p:sp>
      <p:sp>
        <p:nvSpPr>
          <p:cNvPr id="5" name="Rectangle 4"/>
          <p:cNvSpPr>
            <a:spLocks noChangeArrowheads="1"/>
          </p:cNvSpPr>
          <p:nvPr/>
        </p:nvSpPr>
        <p:spPr bwMode="auto">
          <a:xfrm>
            <a:off x="1438275" y="1785938"/>
            <a:ext cx="913210" cy="364331"/>
          </a:xfrm>
          <a:prstGeom prst="rect">
            <a:avLst/>
          </a:prstGeom>
          <a:solidFill>
            <a:srgbClr val="00A1DE"/>
          </a:solidFill>
          <a:ln w="12700">
            <a:solidFill>
              <a:schemeClr val="bg1"/>
            </a:solidFill>
            <a:miter lim="800000"/>
            <a:headEnd/>
            <a:tailEnd/>
          </a:ln>
        </p:spPr>
        <p:txBody>
          <a:bodyPr lIns="34290" rIns="34290" anchor="ctr"/>
          <a:lstStyle/>
          <a:p>
            <a:pPr algn="ctr" defTabSz="685800">
              <a:lnSpc>
                <a:spcPct val="95000"/>
              </a:lnSpc>
              <a:buClrTx/>
              <a:defRPr/>
            </a:pPr>
            <a:r>
              <a:rPr lang="en-US" sz="825" b="1" kern="1200">
                <a:solidFill>
                  <a:prstClr val="white"/>
                </a:solidFill>
                <a:ea typeface="ＭＳ Ｐゴシック" pitchFamily="50" charset="-128"/>
                <a:cs typeface="+mn-cs"/>
              </a:rPr>
              <a:t>Process</a:t>
            </a:r>
            <a:endParaRPr lang="en-US" sz="825" b="1" kern="1200" dirty="0">
              <a:solidFill>
                <a:prstClr val="white"/>
              </a:solidFill>
              <a:ea typeface="ＭＳ Ｐゴシック" pitchFamily="50" charset="-128"/>
              <a:cs typeface="+mn-cs"/>
            </a:endParaRPr>
          </a:p>
        </p:txBody>
      </p:sp>
      <p:sp>
        <p:nvSpPr>
          <p:cNvPr id="6" name="Rectangle 5"/>
          <p:cNvSpPr>
            <a:spLocks noChangeArrowheads="1"/>
          </p:cNvSpPr>
          <p:nvPr/>
        </p:nvSpPr>
        <p:spPr bwMode="auto">
          <a:xfrm>
            <a:off x="1438275" y="2272904"/>
            <a:ext cx="913210" cy="364331"/>
          </a:xfrm>
          <a:prstGeom prst="rect">
            <a:avLst/>
          </a:prstGeom>
          <a:solidFill>
            <a:srgbClr val="00A1DE"/>
          </a:solidFill>
          <a:ln w="12700">
            <a:solidFill>
              <a:schemeClr val="bg1"/>
            </a:solidFill>
            <a:miter lim="800000"/>
            <a:headEnd/>
            <a:tailEnd/>
          </a:ln>
        </p:spPr>
        <p:txBody>
          <a:bodyPr lIns="34290" rIns="34290" anchor="ctr"/>
          <a:lstStyle/>
          <a:p>
            <a:pPr algn="ctr" defTabSz="685800">
              <a:lnSpc>
                <a:spcPct val="95000"/>
              </a:lnSpc>
              <a:buClrTx/>
              <a:defRPr/>
            </a:pPr>
            <a:r>
              <a:rPr lang="en-US" sz="825" b="1" kern="1200">
                <a:solidFill>
                  <a:prstClr val="white"/>
                </a:solidFill>
                <a:ea typeface="ＭＳ Ｐゴシック" pitchFamily="50" charset="-128"/>
                <a:cs typeface="+mn-cs"/>
              </a:rPr>
              <a:t>Process</a:t>
            </a:r>
            <a:endParaRPr lang="en-US" sz="825" b="1" kern="1200" dirty="0">
              <a:solidFill>
                <a:prstClr val="white"/>
              </a:solidFill>
              <a:ea typeface="ＭＳ Ｐゴシック" pitchFamily="50" charset="-128"/>
              <a:cs typeface="+mn-cs"/>
            </a:endParaRPr>
          </a:p>
        </p:txBody>
      </p:sp>
      <p:sp>
        <p:nvSpPr>
          <p:cNvPr id="7" name="Rectangle 6"/>
          <p:cNvSpPr>
            <a:spLocks noChangeArrowheads="1"/>
          </p:cNvSpPr>
          <p:nvPr/>
        </p:nvSpPr>
        <p:spPr bwMode="auto">
          <a:xfrm>
            <a:off x="1438275" y="2758679"/>
            <a:ext cx="913210" cy="364331"/>
          </a:xfrm>
          <a:prstGeom prst="rect">
            <a:avLst/>
          </a:prstGeom>
          <a:solidFill>
            <a:srgbClr val="00A1DE"/>
          </a:solidFill>
          <a:ln w="12700">
            <a:solidFill>
              <a:schemeClr val="bg1"/>
            </a:solidFill>
            <a:miter lim="800000"/>
            <a:headEnd/>
            <a:tailEnd/>
          </a:ln>
        </p:spPr>
        <p:txBody>
          <a:bodyPr lIns="34290" rIns="34290" anchor="ctr"/>
          <a:lstStyle/>
          <a:p>
            <a:pPr algn="ctr" defTabSz="685800">
              <a:lnSpc>
                <a:spcPct val="95000"/>
              </a:lnSpc>
              <a:buClrTx/>
              <a:defRPr/>
            </a:pPr>
            <a:r>
              <a:rPr lang="en-US" sz="825" b="1" kern="1200">
                <a:solidFill>
                  <a:prstClr val="white"/>
                </a:solidFill>
                <a:ea typeface="ＭＳ Ｐゴシック" pitchFamily="50" charset="-128"/>
                <a:cs typeface="+mn-cs"/>
              </a:rPr>
              <a:t>Process</a:t>
            </a:r>
            <a:endParaRPr lang="en-US" sz="825" b="1" kern="1200" dirty="0">
              <a:solidFill>
                <a:prstClr val="white"/>
              </a:solidFill>
              <a:ea typeface="ＭＳ Ｐゴシック" pitchFamily="50" charset="-128"/>
              <a:cs typeface="+mn-cs"/>
            </a:endParaRPr>
          </a:p>
        </p:txBody>
      </p:sp>
      <p:sp>
        <p:nvSpPr>
          <p:cNvPr id="8" name="Rectangle 7"/>
          <p:cNvSpPr>
            <a:spLocks noChangeArrowheads="1"/>
          </p:cNvSpPr>
          <p:nvPr/>
        </p:nvSpPr>
        <p:spPr bwMode="auto">
          <a:xfrm>
            <a:off x="1438275" y="3244454"/>
            <a:ext cx="913210" cy="364331"/>
          </a:xfrm>
          <a:prstGeom prst="rect">
            <a:avLst/>
          </a:prstGeom>
          <a:solidFill>
            <a:srgbClr val="00A1DE"/>
          </a:solidFill>
          <a:ln w="12700">
            <a:solidFill>
              <a:schemeClr val="bg1"/>
            </a:solidFill>
            <a:miter lim="800000"/>
            <a:headEnd/>
            <a:tailEnd/>
          </a:ln>
        </p:spPr>
        <p:txBody>
          <a:bodyPr lIns="34290" rIns="34290" anchor="ctr"/>
          <a:lstStyle/>
          <a:p>
            <a:pPr algn="ctr" defTabSz="685800">
              <a:lnSpc>
                <a:spcPct val="95000"/>
              </a:lnSpc>
              <a:buClrTx/>
              <a:defRPr/>
            </a:pPr>
            <a:r>
              <a:rPr lang="en-US" sz="825" b="1" kern="1200">
                <a:solidFill>
                  <a:prstClr val="white"/>
                </a:solidFill>
                <a:ea typeface="ＭＳ Ｐゴシック" pitchFamily="50" charset="-128"/>
                <a:cs typeface="+mn-cs"/>
              </a:rPr>
              <a:t>Process</a:t>
            </a:r>
            <a:endParaRPr lang="en-US" sz="825" b="1" kern="1200" dirty="0">
              <a:solidFill>
                <a:prstClr val="white"/>
              </a:solidFill>
              <a:ea typeface="ＭＳ Ｐゴシック" pitchFamily="50" charset="-128"/>
              <a:cs typeface="+mn-cs"/>
            </a:endParaRPr>
          </a:p>
        </p:txBody>
      </p:sp>
      <p:sp>
        <p:nvSpPr>
          <p:cNvPr id="9" name="Rectangle 8"/>
          <p:cNvSpPr>
            <a:spLocks noChangeArrowheads="1"/>
          </p:cNvSpPr>
          <p:nvPr/>
        </p:nvSpPr>
        <p:spPr bwMode="auto">
          <a:xfrm>
            <a:off x="1438275" y="3717132"/>
            <a:ext cx="913210" cy="364331"/>
          </a:xfrm>
          <a:prstGeom prst="rect">
            <a:avLst/>
          </a:prstGeom>
          <a:solidFill>
            <a:srgbClr val="00A1DE"/>
          </a:solidFill>
          <a:ln w="12700">
            <a:solidFill>
              <a:schemeClr val="bg1"/>
            </a:solidFill>
            <a:miter lim="800000"/>
            <a:headEnd/>
            <a:tailEnd/>
          </a:ln>
        </p:spPr>
        <p:txBody>
          <a:bodyPr lIns="34290" rIns="34290" anchor="ctr"/>
          <a:lstStyle/>
          <a:p>
            <a:pPr algn="ctr" defTabSz="685800">
              <a:lnSpc>
                <a:spcPct val="95000"/>
              </a:lnSpc>
              <a:buClrTx/>
              <a:defRPr/>
            </a:pPr>
            <a:r>
              <a:rPr lang="en-US" sz="825" b="1" kern="1200">
                <a:solidFill>
                  <a:prstClr val="white"/>
                </a:solidFill>
                <a:ea typeface="ＭＳ Ｐゴシック" pitchFamily="50" charset="-128"/>
                <a:cs typeface="+mn-cs"/>
              </a:rPr>
              <a:t>Process</a:t>
            </a:r>
            <a:endParaRPr lang="en-US" sz="825" b="1" kern="1200" dirty="0">
              <a:solidFill>
                <a:prstClr val="white"/>
              </a:solidFill>
              <a:ea typeface="ＭＳ Ｐゴシック" pitchFamily="50" charset="-128"/>
              <a:cs typeface="+mn-cs"/>
            </a:endParaRPr>
          </a:p>
        </p:txBody>
      </p:sp>
      <p:sp>
        <p:nvSpPr>
          <p:cNvPr id="10" name="Rectangle 9"/>
          <p:cNvSpPr>
            <a:spLocks noChangeArrowheads="1"/>
          </p:cNvSpPr>
          <p:nvPr/>
        </p:nvSpPr>
        <p:spPr bwMode="auto">
          <a:xfrm>
            <a:off x="2539604" y="1300162"/>
            <a:ext cx="621506"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dirty="0">
                <a:solidFill>
                  <a:srgbClr val="313131"/>
                </a:solidFill>
                <a:ea typeface="ＭＳ Ｐゴシック" pitchFamily="50" charset="-128"/>
                <a:cs typeface="+mn-cs"/>
              </a:rPr>
              <a:t>Text</a:t>
            </a:r>
          </a:p>
        </p:txBody>
      </p:sp>
      <p:sp>
        <p:nvSpPr>
          <p:cNvPr id="11" name="Rectangle 10"/>
          <p:cNvSpPr>
            <a:spLocks noChangeArrowheads="1"/>
          </p:cNvSpPr>
          <p:nvPr/>
        </p:nvSpPr>
        <p:spPr bwMode="auto">
          <a:xfrm>
            <a:off x="2539604" y="1785937"/>
            <a:ext cx="621506"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12" name="Rectangle 11"/>
          <p:cNvSpPr>
            <a:spLocks noChangeArrowheads="1"/>
          </p:cNvSpPr>
          <p:nvPr/>
        </p:nvSpPr>
        <p:spPr bwMode="auto">
          <a:xfrm>
            <a:off x="2539604" y="2272903"/>
            <a:ext cx="621506"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13" name="Rectangle 12"/>
          <p:cNvSpPr>
            <a:spLocks noChangeArrowheads="1"/>
          </p:cNvSpPr>
          <p:nvPr/>
        </p:nvSpPr>
        <p:spPr bwMode="auto">
          <a:xfrm>
            <a:off x="2539604" y="2758678"/>
            <a:ext cx="621506"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14" name="Rectangle 13"/>
          <p:cNvSpPr>
            <a:spLocks noChangeArrowheads="1"/>
          </p:cNvSpPr>
          <p:nvPr/>
        </p:nvSpPr>
        <p:spPr bwMode="auto">
          <a:xfrm>
            <a:off x="2539604" y="3244453"/>
            <a:ext cx="621506"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15" name="Rectangle 14"/>
          <p:cNvSpPr>
            <a:spLocks noChangeArrowheads="1"/>
          </p:cNvSpPr>
          <p:nvPr/>
        </p:nvSpPr>
        <p:spPr bwMode="auto">
          <a:xfrm>
            <a:off x="2539604" y="3717131"/>
            <a:ext cx="621506"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16" name="Rectangle 15"/>
          <p:cNvSpPr>
            <a:spLocks noChangeArrowheads="1"/>
          </p:cNvSpPr>
          <p:nvPr/>
        </p:nvSpPr>
        <p:spPr bwMode="auto">
          <a:xfrm>
            <a:off x="3350419" y="1300162"/>
            <a:ext cx="620316"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dirty="0">
                <a:solidFill>
                  <a:srgbClr val="313131"/>
                </a:solidFill>
                <a:ea typeface="ＭＳ Ｐゴシック" pitchFamily="50" charset="-128"/>
                <a:cs typeface="+mn-cs"/>
              </a:rPr>
              <a:t>Text</a:t>
            </a:r>
          </a:p>
        </p:txBody>
      </p:sp>
      <p:sp>
        <p:nvSpPr>
          <p:cNvPr id="17" name="Rectangle 16"/>
          <p:cNvSpPr>
            <a:spLocks noChangeArrowheads="1"/>
          </p:cNvSpPr>
          <p:nvPr/>
        </p:nvSpPr>
        <p:spPr bwMode="auto">
          <a:xfrm>
            <a:off x="3350419" y="1785937"/>
            <a:ext cx="620316"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18" name="Rectangle 17"/>
          <p:cNvSpPr>
            <a:spLocks noChangeArrowheads="1"/>
          </p:cNvSpPr>
          <p:nvPr/>
        </p:nvSpPr>
        <p:spPr bwMode="auto">
          <a:xfrm>
            <a:off x="3350419" y="2272903"/>
            <a:ext cx="620316"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19" name="Rectangle 18"/>
          <p:cNvSpPr>
            <a:spLocks noChangeArrowheads="1"/>
          </p:cNvSpPr>
          <p:nvPr/>
        </p:nvSpPr>
        <p:spPr bwMode="auto">
          <a:xfrm>
            <a:off x="3350419" y="2758678"/>
            <a:ext cx="620316"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20" name="Rectangle 19"/>
          <p:cNvSpPr>
            <a:spLocks noChangeArrowheads="1"/>
          </p:cNvSpPr>
          <p:nvPr/>
        </p:nvSpPr>
        <p:spPr bwMode="auto">
          <a:xfrm>
            <a:off x="3350419" y="3244453"/>
            <a:ext cx="620316"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21" name="Rectangle 20"/>
          <p:cNvSpPr>
            <a:spLocks noChangeArrowheads="1"/>
          </p:cNvSpPr>
          <p:nvPr/>
        </p:nvSpPr>
        <p:spPr bwMode="auto">
          <a:xfrm>
            <a:off x="3350419" y="3717131"/>
            <a:ext cx="620316"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22" name="Rectangle 21"/>
          <p:cNvSpPr>
            <a:spLocks noChangeArrowheads="1"/>
          </p:cNvSpPr>
          <p:nvPr/>
        </p:nvSpPr>
        <p:spPr bwMode="auto">
          <a:xfrm>
            <a:off x="4160044" y="1300163"/>
            <a:ext cx="619125"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23" name="Rectangle 22"/>
          <p:cNvSpPr>
            <a:spLocks noChangeArrowheads="1"/>
          </p:cNvSpPr>
          <p:nvPr/>
        </p:nvSpPr>
        <p:spPr bwMode="auto">
          <a:xfrm>
            <a:off x="4160044" y="1785938"/>
            <a:ext cx="619125"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24" name="Rectangle 23"/>
          <p:cNvSpPr>
            <a:spLocks noChangeArrowheads="1"/>
          </p:cNvSpPr>
          <p:nvPr/>
        </p:nvSpPr>
        <p:spPr bwMode="auto">
          <a:xfrm>
            <a:off x="4160044" y="2272904"/>
            <a:ext cx="619125"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25" name="Rectangle 24"/>
          <p:cNvSpPr>
            <a:spLocks noChangeArrowheads="1"/>
          </p:cNvSpPr>
          <p:nvPr/>
        </p:nvSpPr>
        <p:spPr bwMode="auto">
          <a:xfrm>
            <a:off x="4160044" y="2758679"/>
            <a:ext cx="619125"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26" name="Rectangle 25"/>
          <p:cNvSpPr>
            <a:spLocks noChangeArrowheads="1"/>
          </p:cNvSpPr>
          <p:nvPr/>
        </p:nvSpPr>
        <p:spPr bwMode="auto">
          <a:xfrm>
            <a:off x="4160044" y="3244454"/>
            <a:ext cx="619125"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27" name="Rectangle 26"/>
          <p:cNvSpPr>
            <a:spLocks noChangeArrowheads="1"/>
          </p:cNvSpPr>
          <p:nvPr/>
        </p:nvSpPr>
        <p:spPr bwMode="auto">
          <a:xfrm>
            <a:off x="4160044" y="3717131"/>
            <a:ext cx="619125"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28" name="Rectangle 27"/>
          <p:cNvSpPr>
            <a:spLocks noChangeArrowheads="1"/>
          </p:cNvSpPr>
          <p:nvPr/>
        </p:nvSpPr>
        <p:spPr bwMode="auto">
          <a:xfrm>
            <a:off x="4968479" y="1300163"/>
            <a:ext cx="621506"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29" name="Rectangle 28"/>
          <p:cNvSpPr>
            <a:spLocks noChangeArrowheads="1"/>
          </p:cNvSpPr>
          <p:nvPr/>
        </p:nvSpPr>
        <p:spPr bwMode="auto">
          <a:xfrm>
            <a:off x="4968479" y="1785938"/>
            <a:ext cx="621506"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30" name="Rectangle 29"/>
          <p:cNvSpPr>
            <a:spLocks noChangeArrowheads="1"/>
          </p:cNvSpPr>
          <p:nvPr/>
        </p:nvSpPr>
        <p:spPr bwMode="auto">
          <a:xfrm>
            <a:off x="4968479" y="2272904"/>
            <a:ext cx="621506"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31" name="Rectangle 30"/>
          <p:cNvSpPr>
            <a:spLocks noChangeArrowheads="1"/>
          </p:cNvSpPr>
          <p:nvPr/>
        </p:nvSpPr>
        <p:spPr bwMode="auto">
          <a:xfrm>
            <a:off x="4968479" y="2758679"/>
            <a:ext cx="621506"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32" name="Rectangle 31"/>
          <p:cNvSpPr>
            <a:spLocks noChangeArrowheads="1"/>
          </p:cNvSpPr>
          <p:nvPr/>
        </p:nvSpPr>
        <p:spPr bwMode="auto">
          <a:xfrm>
            <a:off x="4968479" y="3244454"/>
            <a:ext cx="621506"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33" name="Rectangle 32"/>
          <p:cNvSpPr>
            <a:spLocks noChangeArrowheads="1"/>
          </p:cNvSpPr>
          <p:nvPr/>
        </p:nvSpPr>
        <p:spPr bwMode="auto">
          <a:xfrm>
            <a:off x="4968479" y="3717132"/>
            <a:ext cx="621506"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34" name="Rectangle 33"/>
          <p:cNvSpPr>
            <a:spLocks noChangeArrowheads="1"/>
          </p:cNvSpPr>
          <p:nvPr/>
        </p:nvSpPr>
        <p:spPr bwMode="auto">
          <a:xfrm>
            <a:off x="5779294" y="1300163"/>
            <a:ext cx="620316"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35" name="Rectangle 34"/>
          <p:cNvSpPr>
            <a:spLocks noChangeArrowheads="1"/>
          </p:cNvSpPr>
          <p:nvPr/>
        </p:nvSpPr>
        <p:spPr bwMode="auto">
          <a:xfrm>
            <a:off x="5779294" y="1785938"/>
            <a:ext cx="620316"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36" name="Rectangle 35"/>
          <p:cNvSpPr>
            <a:spLocks noChangeArrowheads="1"/>
          </p:cNvSpPr>
          <p:nvPr/>
        </p:nvSpPr>
        <p:spPr bwMode="auto">
          <a:xfrm>
            <a:off x="5779294" y="2272904"/>
            <a:ext cx="620316"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37" name="Rectangle 36"/>
          <p:cNvSpPr>
            <a:spLocks noChangeArrowheads="1"/>
          </p:cNvSpPr>
          <p:nvPr/>
        </p:nvSpPr>
        <p:spPr bwMode="auto">
          <a:xfrm>
            <a:off x="5779294" y="2758679"/>
            <a:ext cx="620316"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38" name="Rectangle 37"/>
          <p:cNvSpPr>
            <a:spLocks noChangeArrowheads="1"/>
          </p:cNvSpPr>
          <p:nvPr/>
        </p:nvSpPr>
        <p:spPr bwMode="auto">
          <a:xfrm>
            <a:off x="5779294" y="3244454"/>
            <a:ext cx="620316"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39" name="Rectangle 38"/>
          <p:cNvSpPr>
            <a:spLocks noChangeArrowheads="1"/>
          </p:cNvSpPr>
          <p:nvPr/>
        </p:nvSpPr>
        <p:spPr bwMode="auto">
          <a:xfrm>
            <a:off x="5779294" y="3717132"/>
            <a:ext cx="620316"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40" name="Rectangle 39"/>
          <p:cNvSpPr>
            <a:spLocks noChangeArrowheads="1"/>
          </p:cNvSpPr>
          <p:nvPr/>
        </p:nvSpPr>
        <p:spPr bwMode="auto">
          <a:xfrm>
            <a:off x="6587729" y="1300163"/>
            <a:ext cx="620315"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41" name="Rectangle 40"/>
          <p:cNvSpPr>
            <a:spLocks noChangeArrowheads="1"/>
          </p:cNvSpPr>
          <p:nvPr/>
        </p:nvSpPr>
        <p:spPr bwMode="auto">
          <a:xfrm>
            <a:off x="6587729" y="1785938"/>
            <a:ext cx="620315"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42" name="Rectangle 41"/>
          <p:cNvSpPr>
            <a:spLocks noChangeArrowheads="1"/>
          </p:cNvSpPr>
          <p:nvPr/>
        </p:nvSpPr>
        <p:spPr bwMode="auto">
          <a:xfrm>
            <a:off x="6587729" y="2272904"/>
            <a:ext cx="620315"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43" name="Rectangle 42"/>
          <p:cNvSpPr>
            <a:spLocks noChangeArrowheads="1"/>
          </p:cNvSpPr>
          <p:nvPr/>
        </p:nvSpPr>
        <p:spPr bwMode="auto">
          <a:xfrm>
            <a:off x="6587729" y="2758679"/>
            <a:ext cx="620315"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44" name="Rectangle 43"/>
          <p:cNvSpPr>
            <a:spLocks noChangeArrowheads="1"/>
          </p:cNvSpPr>
          <p:nvPr/>
        </p:nvSpPr>
        <p:spPr bwMode="auto">
          <a:xfrm>
            <a:off x="6587729" y="3244454"/>
            <a:ext cx="620315"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sp>
        <p:nvSpPr>
          <p:cNvPr id="45" name="Rectangle 44"/>
          <p:cNvSpPr>
            <a:spLocks noChangeArrowheads="1"/>
          </p:cNvSpPr>
          <p:nvPr/>
        </p:nvSpPr>
        <p:spPr bwMode="auto">
          <a:xfrm>
            <a:off x="6587729" y="3717132"/>
            <a:ext cx="620315" cy="364331"/>
          </a:xfrm>
          <a:prstGeom prst="rect">
            <a:avLst/>
          </a:prstGeom>
          <a:solidFill>
            <a:schemeClr val="bg1"/>
          </a:solidFill>
          <a:ln w="12700">
            <a:solidFill>
              <a:srgbClr val="B4B4B4"/>
            </a:solidFill>
            <a:miter lim="800000"/>
            <a:headEnd/>
            <a:tailEnd/>
          </a:ln>
        </p:spPr>
        <p:txBody>
          <a:bodyPr lIns="34290" rIns="34290" anchor="ctr"/>
          <a:lstStyle/>
          <a:p>
            <a:pPr algn="ctr" defTabSz="685800">
              <a:lnSpc>
                <a:spcPct val="95000"/>
              </a:lnSpc>
              <a:buClrTx/>
              <a:defRPr/>
            </a:pPr>
            <a:r>
              <a:rPr lang="en-US" sz="825" kern="1200">
                <a:solidFill>
                  <a:srgbClr val="313131"/>
                </a:solidFill>
                <a:ea typeface="ＭＳ Ｐゴシック" pitchFamily="50" charset="-128"/>
                <a:cs typeface="+mn-cs"/>
              </a:rPr>
              <a:t>Text</a:t>
            </a:r>
            <a:endParaRPr lang="en-US" sz="825" kern="1200" dirty="0">
              <a:solidFill>
                <a:srgbClr val="313131"/>
              </a:solidFill>
              <a:ea typeface="ＭＳ Ｐゴシック" pitchFamily="50" charset="-128"/>
              <a:cs typeface="+mn-cs"/>
            </a:endParaRPr>
          </a:p>
        </p:txBody>
      </p:sp>
      <p:cxnSp>
        <p:nvCxnSpPr>
          <p:cNvPr id="46" name="AutoShape 45"/>
          <p:cNvCxnSpPr>
            <a:cxnSpLocks noChangeShapeType="1"/>
            <a:stCxn id="10" idx="3"/>
            <a:endCxn id="17" idx="1"/>
          </p:cNvCxnSpPr>
          <p:nvPr/>
        </p:nvCxnSpPr>
        <p:spPr bwMode="auto">
          <a:xfrm>
            <a:off x="3161110" y="1482328"/>
            <a:ext cx="189309" cy="485775"/>
          </a:xfrm>
          <a:prstGeom prst="bentConnector3">
            <a:avLst>
              <a:gd name="adj1" fmla="val 50000"/>
            </a:avLst>
          </a:prstGeom>
          <a:noFill/>
          <a:ln w="19050">
            <a:solidFill>
              <a:srgbClr val="575757"/>
            </a:solidFill>
            <a:miter lim="800000"/>
            <a:headEnd/>
            <a:tailEnd type="triangle" w="med" len="sm"/>
          </a:ln>
        </p:spPr>
      </p:cxnSp>
      <p:cxnSp>
        <p:nvCxnSpPr>
          <p:cNvPr id="47" name="AutoShape 46"/>
          <p:cNvCxnSpPr>
            <a:cxnSpLocks noChangeShapeType="1"/>
            <a:stCxn id="12" idx="3"/>
            <a:endCxn id="21" idx="1"/>
          </p:cNvCxnSpPr>
          <p:nvPr/>
        </p:nvCxnSpPr>
        <p:spPr bwMode="auto">
          <a:xfrm>
            <a:off x="3161110" y="2455069"/>
            <a:ext cx="189309" cy="1444228"/>
          </a:xfrm>
          <a:prstGeom prst="bentConnector3">
            <a:avLst>
              <a:gd name="adj1" fmla="val 50000"/>
            </a:avLst>
          </a:prstGeom>
          <a:noFill/>
          <a:ln w="19050">
            <a:solidFill>
              <a:srgbClr val="575757"/>
            </a:solidFill>
            <a:miter lim="800000"/>
            <a:headEnd/>
            <a:tailEnd type="triangle" w="med" len="sm"/>
          </a:ln>
        </p:spPr>
      </p:cxnSp>
      <p:cxnSp>
        <p:nvCxnSpPr>
          <p:cNvPr id="48" name="AutoShape 47"/>
          <p:cNvCxnSpPr>
            <a:cxnSpLocks noChangeShapeType="1"/>
            <a:stCxn id="16" idx="3"/>
            <a:endCxn id="24" idx="1"/>
          </p:cNvCxnSpPr>
          <p:nvPr/>
        </p:nvCxnSpPr>
        <p:spPr bwMode="auto">
          <a:xfrm>
            <a:off x="3970735" y="1482328"/>
            <a:ext cx="189309" cy="972742"/>
          </a:xfrm>
          <a:prstGeom prst="bentConnector3">
            <a:avLst>
              <a:gd name="adj1" fmla="val 50000"/>
            </a:avLst>
          </a:prstGeom>
          <a:noFill/>
          <a:ln w="19050">
            <a:solidFill>
              <a:srgbClr val="575757"/>
            </a:solidFill>
            <a:miter lim="800000"/>
            <a:headEnd/>
            <a:tailEnd type="triangle" w="med" len="sm"/>
          </a:ln>
        </p:spPr>
      </p:cxnSp>
      <p:cxnSp>
        <p:nvCxnSpPr>
          <p:cNvPr id="49" name="AutoShape 48"/>
          <p:cNvCxnSpPr>
            <a:cxnSpLocks noChangeShapeType="1"/>
            <a:stCxn id="22" idx="3"/>
            <a:endCxn id="31" idx="1"/>
          </p:cNvCxnSpPr>
          <p:nvPr/>
        </p:nvCxnSpPr>
        <p:spPr bwMode="auto">
          <a:xfrm>
            <a:off x="4779169" y="1482329"/>
            <a:ext cx="189310" cy="1458515"/>
          </a:xfrm>
          <a:prstGeom prst="bentConnector3">
            <a:avLst>
              <a:gd name="adj1" fmla="val 50000"/>
            </a:avLst>
          </a:prstGeom>
          <a:noFill/>
          <a:ln w="19050">
            <a:solidFill>
              <a:srgbClr val="575757"/>
            </a:solidFill>
            <a:miter lim="800000"/>
            <a:headEnd/>
            <a:tailEnd type="triangle" w="med" len="sm"/>
          </a:ln>
        </p:spPr>
      </p:cxnSp>
      <p:cxnSp>
        <p:nvCxnSpPr>
          <p:cNvPr id="50" name="AutoShape 49"/>
          <p:cNvCxnSpPr>
            <a:cxnSpLocks noChangeShapeType="1"/>
            <a:stCxn id="28" idx="3"/>
            <a:endCxn id="38" idx="1"/>
          </p:cNvCxnSpPr>
          <p:nvPr/>
        </p:nvCxnSpPr>
        <p:spPr bwMode="auto">
          <a:xfrm>
            <a:off x="5589985" y="1482329"/>
            <a:ext cx="189309" cy="1944290"/>
          </a:xfrm>
          <a:prstGeom prst="bentConnector3">
            <a:avLst>
              <a:gd name="adj1" fmla="val 49713"/>
            </a:avLst>
          </a:prstGeom>
          <a:noFill/>
          <a:ln w="19050">
            <a:solidFill>
              <a:srgbClr val="575757"/>
            </a:solidFill>
            <a:miter lim="800000"/>
            <a:headEnd/>
            <a:tailEnd type="triangle" w="med" len="sm"/>
          </a:ln>
        </p:spPr>
      </p:cxnSp>
      <p:cxnSp>
        <p:nvCxnSpPr>
          <p:cNvPr id="51" name="AutoShape 50"/>
          <p:cNvCxnSpPr>
            <a:cxnSpLocks noChangeShapeType="1"/>
            <a:stCxn id="34" idx="3"/>
            <a:endCxn id="45" idx="1"/>
          </p:cNvCxnSpPr>
          <p:nvPr/>
        </p:nvCxnSpPr>
        <p:spPr bwMode="auto">
          <a:xfrm>
            <a:off x="6399610" y="1482329"/>
            <a:ext cx="188119" cy="2416969"/>
          </a:xfrm>
          <a:prstGeom prst="bentConnector3">
            <a:avLst>
              <a:gd name="adj1" fmla="val 49708"/>
            </a:avLst>
          </a:prstGeom>
          <a:noFill/>
          <a:ln w="19050">
            <a:solidFill>
              <a:srgbClr val="575757"/>
            </a:solidFill>
            <a:miter lim="800000"/>
            <a:headEnd/>
            <a:tailEnd type="triangle" w="med" len="sm"/>
          </a:ln>
        </p:spPr>
      </p:cxnSp>
      <p:sp>
        <p:nvSpPr>
          <p:cNvPr id="53" name="Text Placeholder 12"/>
          <p:cNvSpPr>
            <a:spLocks/>
          </p:cNvSpPr>
          <p:nvPr>
            <p:custDataLst>
              <p:tags r:id="rId1"/>
            </p:custDataLst>
          </p:nvPr>
        </p:nvSpPr>
        <p:spPr bwMode="auto">
          <a:xfrm>
            <a:off x="1440657" y="89154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Tree>
  </p:cSld>
  <p:clrMapOvr>
    <a:masterClrMapping/>
  </p:clrMapOvr>
  <p:transition>
    <p:fade/>
  </p:transition>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0529" name="Title 1"/>
          <p:cNvSpPr>
            <a:spLocks noGrp="1"/>
          </p:cNvSpPr>
          <p:nvPr>
            <p:ph type="title"/>
          </p:nvPr>
        </p:nvSpPr>
        <p:spPr/>
        <p:txBody>
          <a:bodyPr/>
          <a:lstStyle/>
          <a:p>
            <a:r>
              <a:rPr lang="en-US"/>
              <a:t>Process map</a:t>
            </a:r>
          </a:p>
        </p:txBody>
      </p:sp>
      <p:sp>
        <p:nvSpPr>
          <p:cNvPr id="9" name="Line 8"/>
          <p:cNvSpPr>
            <a:spLocks noChangeShapeType="1"/>
          </p:cNvSpPr>
          <p:nvPr/>
        </p:nvSpPr>
        <p:spPr bwMode="auto">
          <a:xfrm>
            <a:off x="1731169" y="1790700"/>
            <a:ext cx="5582841" cy="0"/>
          </a:xfrm>
          <a:prstGeom prst="line">
            <a:avLst/>
          </a:prstGeom>
          <a:noFill/>
          <a:ln w="12700">
            <a:solidFill>
              <a:srgbClr val="B4B4B4"/>
            </a:solidFill>
            <a:round/>
            <a:headEnd/>
            <a:tailEnd/>
          </a:ln>
        </p:spPr>
        <p:txBody>
          <a:bodyPr wrap="square" lIns="27000" tIns="27000" rIns="27000" bIns="27000" anchor="ctr">
            <a:noAutofit/>
          </a:bodyPr>
          <a:lstStyle/>
          <a:p>
            <a:pPr defTabSz="685800">
              <a:buClrTx/>
              <a:defRPr/>
            </a:pPr>
            <a:endParaRPr lang="en-US" sz="825" kern="1200" dirty="0">
              <a:solidFill>
                <a:srgbClr val="313131"/>
              </a:solidFill>
              <a:ea typeface="+mn-ea"/>
              <a:cs typeface="+mn-cs"/>
            </a:endParaRPr>
          </a:p>
        </p:txBody>
      </p:sp>
      <p:sp>
        <p:nvSpPr>
          <p:cNvPr id="10" name="Line 9"/>
          <p:cNvSpPr>
            <a:spLocks noChangeShapeType="1"/>
          </p:cNvSpPr>
          <p:nvPr/>
        </p:nvSpPr>
        <p:spPr bwMode="auto">
          <a:xfrm>
            <a:off x="1731169" y="2363391"/>
            <a:ext cx="5582841" cy="0"/>
          </a:xfrm>
          <a:prstGeom prst="line">
            <a:avLst/>
          </a:prstGeom>
          <a:noFill/>
          <a:ln w="12700">
            <a:solidFill>
              <a:srgbClr val="B4B4B4"/>
            </a:solidFill>
            <a:round/>
            <a:headEnd/>
            <a:tailEnd/>
          </a:ln>
        </p:spPr>
        <p:txBody>
          <a:bodyPr wrap="square" lIns="27000" tIns="27000" rIns="27000" bIns="27000" anchor="ctr">
            <a:noAutofit/>
          </a:bodyPr>
          <a:lstStyle/>
          <a:p>
            <a:pPr defTabSz="685800">
              <a:buClrTx/>
              <a:defRPr/>
            </a:pPr>
            <a:endParaRPr lang="en-US" sz="825" kern="1200" dirty="0">
              <a:solidFill>
                <a:srgbClr val="313131"/>
              </a:solidFill>
              <a:ea typeface="+mn-ea"/>
              <a:cs typeface="+mn-cs"/>
            </a:endParaRPr>
          </a:p>
        </p:txBody>
      </p:sp>
      <p:sp>
        <p:nvSpPr>
          <p:cNvPr id="11" name="Line 10"/>
          <p:cNvSpPr>
            <a:spLocks noChangeShapeType="1"/>
          </p:cNvSpPr>
          <p:nvPr/>
        </p:nvSpPr>
        <p:spPr bwMode="auto">
          <a:xfrm>
            <a:off x="1731169" y="2924175"/>
            <a:ext cx="5582841" cy="0"/>
          </a:xfrm>
          <a:prstGeom prst="line">
            <a:avLst/>
          </a:prstGeom>
          <a:noFill/>
          <a:ln w="12700">
            <a:solidFill>
              <a:srgbClr val="B4B4B4"/>
            </a:solidFill>
            <a:round/>
            <a:headEnd/>
            <a:tailEnd/>
          </a:ln>
        </p:spPr>
        <p:txBody>
          <a:bodyPr wrap="square" lIns="27000" tIns="27000" rIns="27000" bIns="27000" anchor="ctr">
            <a:noAutofit/>
          </a:bodyPr>
          <a:lstStyle/>
          <a:p>
            <a:pPr defTabSz="685800">
              <a:buClrTx/>
              <a:defRPr/>
            </a:pPr>
            <a:endParaRPr lang="en-US" sz="825" kern="1200" dirty="0">
              <a:solidFill>
                <a:srgbClr val="313131"/>
              </a:solidFill>
              <a:ea typeface="+mn-ea"/>
              <a:cs typeface="+mn-cs"/>
            </a:endParaRPr>
          </a:p>
        </p:txBody>
      </p:sp>
      <p:sp>
        <p:nvSpPr>
          <p:cNvPr id="12" name="Line 11"/>
          <p:cNvSpPr>
            <a:spLocks noChangeShapeType="1"/>
          </p:cNvSpPr>
          <p:nvPr/>
        </p:nvSpPr>
        <p:spPr bwMode="auto">
          <a:xfrm>
            <a:off x="1731169" y="3486150"/>
            <a:ext cx="5582841" cy="0"/>
          </a:xfrm>
          <a:prstGeom prst="line">
            <a:avLst/>
          </a:prstGeom>
          <a:noFill/>
          <a:ln w="12700">
            <a:solidFill>
              <a:srgbClr val="B4B4B4"/>
            </a:solidFill>
            <a:round/>
            <a:headEnd/>
            <a:tailEnd/>
          </a:ln>
        </p:spPr>
        <p:txBody>
          <a:bodyPr wrap="square" lIns="27000" tIns="27000" rIns="27000" bIns="27000" anchor="ctr">
            <a:noAutofit/>
          </a:bodyPr>
          <a:lstStyle/>
          <a:p>
            <a:pPr defTabSz="685800">
              <a:buClrTx/>
              <a:defRPr/>
            </a:pPr>
            <a:endParaRPr lang="en-US" sz="825" kern="1200" dirty="0">
              <a:solidFill>
                <a:srgbClr val="313131"/>
              </a:solidFill>
              <a:ea typeface="+mn-ea"/>
              <a:cs typeface="+mn-cs"/>
            </a:endParaRPr>
          </a:p>
        </p:txBody>
      </p:sp>
      <p:sp>
        <p:nvSpPr>
          <p:cNvPr id="13" name="Line 12"/>
          <p:cNvSpPr>
            <a:spLocks noChangeShapeType="1"/>
          </p:cNvSpPr>
          <p:nvPr/>
        </p:nvSpPr>
        <p:spPr bwMode="auto">
          <a:xfrm>
            <a:off x="1731169" y="4058841"/>
            <a:ext cx="5582841" cy="0"/>
          </a:xfrm>
          <a:prstGeom prst="line">
            <a:avLst/>
          </a:prstGeom>
          <a:noFill/>
          <a:ln w="12700">
            <a:solidFill>
              <a:srgbClr val="B4B4B4"/>
            </a:solidFill>
            <a:round/>
            <a:headEnd/>
            <a:tailEnd/>
          </a:ln>
        </p:spPr>
        <p:txBody>
          <a:bodyPr wrap="square" lIns="27000" tIns="27000" rIns="27000" bIns="27000" anchor="ctr">
            <a:noAutofit/>
          </a:bodyPr>
          <a:lstStyle/>
          <a:p>
            <a:pPr defTabSz="685800">
              <a:buClrTx/>
              <a:defRPr/>
            </a:pPr>
            <a:endParaRPr lang="en-US" sz="825" kern="1200" dirty="0">
              <a:solidFill>
                <a:srgbClr val="313131"/>
              </a:solidFill>
              <a:ea typeface="+mn-ea"/>
              <a:cs typeface="+mn-cs"/>
            </a:endParaRPr>
          </a:p>
        </p:txBody>
      </p:sp>
      <p:sp>
        <p:nvSpPr>
          <p:cNvPr id="15" name="Line 14"/>
          <p:cNvSpPr>
            <a:spLocks noChangeShapeType="1"/>
          </p:cNvSpPr>
          <p:nvPr/>
        </p:nvSpPr>
        <p:spPr bwMode="auto">
          <a:xfrm>
            <a:off x="2428875" y="1250157"/>
            <a:ext cx="0" cy="3402806"/>
          </a:xfrm>
          <a:prstGeom prst="line">
            <a:avLst/>
          </a:prstGeom>
          <a:noFill/>
          <a:ln w="12700">
            <a:solidFill>
              <a:srgbClr val="B4B4B4"/>
            </a:solidFill>
            <a:round/>
            <a:headEnd/>
            <a:tailEnd/>
          </a:ln>
        </p:spPr>
        <p:txBody>
          <a:bodyPr wrap="square" lIns="27000" tIns="27000" rIns="27000" bIns="27000" anchor="ctr">
            <a:noAutofit/>
          </a:bodyPr>
          <a:lstStyle/>
          <a:p>
            <a:pPr defTabSz="685800">
              <a:buClrTx/>
              <a:defRPr/>
            </a:pPr>
            <a:endParaRPr lang="en-US" sz="825" kern="1200" dirty="0">
              <a:solidFill>
                <a:srgbClr val="313131"/>
              </a:solidFill>
              <a:ea typeface="+mn-ea"/>
              <a:cs typeface="+mn-cs"/>
            </a:endParaRPr>
          </a:p>
        </p:txBody>
      </p:sp>
      <p:sp>
        <p:nvSpPr>
          <p:cNvPr id="790541" name="Rectangle 15"/>
          <p:cNvSpPr>
            <a:spLocks noChangeArrowheads="1"/>
          </p:cNvSpPr>
          <p:nvPr/>
        </p:nvSpPr>
        <p:spPr bwMode="auto">
          <a:xfrm>
            <a:off x="1755093" y="1432858"/>
            <a:ext cx="647700" cy="175138"/>
          </a:xfrm>
          <a:prstGeom prst="rect">
            <a:avLst/>
          </a:prstGeom>
          <a:noFill/>
          <a:ln w="12700" algn="ctr">
            <a:noFill/>
            <a:miter lim="800000"/>
            <a:headEnd/>
            <a:tailEnd/>
          </a:ln>
        </p:spPr>
        <p:txBody>
          <a:bodyPr wrap="square" lIns="27000" tIns="27000" rIns="27000" bIns="27000">
            <a:spAutoFit/>
          </a:bodyPr>
          <a:lstStyle/>
          <a:p>
            <a:pPr algn="ctr" defTabSz="571500">
              <a:lnSpc>
                <a:spcPct val="95000"/>
              </a:lnSpc>
              <a:buClrTx/>
            </a:pPr>
            <a:r>
              <a:rPr lang="en-US" sz="825" b="1" kern="1200" dirty="0">
                <a:solidFill>
                  <a:srgbClr val="313131"/>
                </a:solidFill>
                <a:ea typeface="ＭＳ Ｐゴシック" charset="-128"/>
                <a:cs typeface="+mn-cs"/>
              </a:rPr>
              <a:t>Participant</a:t>
            </a:r>
          </a:p>
        </p:txBody>
      </p:sp>
      <p:sp>
        <p:nvSpPr>
          <p:cNvPr id="790542" name="Rectangle 16"/>
          <p:cNvSpPr>
            <a:spLocks noChangeArrowheads="1"/>
          </p:cNvSpPr>
          <p:nvPr/>
        </p:nvSpPr>
        <p:spPr bwMode="auto">
          <a:xfrm>
            <a:off x="1755093" y="1989477"/>
            <a:ext cx="647700" cy="175138"/>
          </a:xfrm>
          <a:prstGeom prst="rect">
            <a:avLst/>
          </a:prstGeom>
          <a:noFill/>
          <a:ln w="12700" algn="ctr">
            <a:noFill/>
            <a:miter lim="800000"/>
            <a:headEnd/>
            <a:tailEnd/>
          </a:ln>
        </p:spPr>
        <p:txBody>
          <a:bodyPr wrap="square" lIns="27000" tIns="27000" rIns="27000" bIns="27000">
            <a:spAutoFit/>
          </a:bodyPr>
          <a:lstStyle/>
          <a:p>
            <a:pPr algn="ctr" defTabSz="571500">
              <a:lnSpc>
                <a:spcPct val="95000"/>
              </a:lnSpc>
              <a:buClrTx/>
            </a:pPr>
            <a:r>
              <a:rPr lang="en-US" sz="825" b="1" kern="1200" dirty="0">
                <a:solidFill>
                  <a:srgbClr val="313131"/>
                </a:solidFill>
                <a:ea typeface="ＭＳ Ｐゴシック" charset="-128"/>
                <a:cs typeface="+mn-cs"/>
              </a:rPr>
              <a:t>Participant</a:t>
            </a:r>
          </a:p>
        </p:txBody>
      </p:sp>
      <p:sp>
        <p:nvSpPr>
          <p:cNvPr id="790543" name="Rectangle 17"/>
          <p:cNvSpPr>
            <a:spLocks noChangeArrowheads="1"/>
          </p:cNvSpPr>
          <p:nvPr/>
        </p:nvSpPr>
        <p:spPr bwMode="auto">
          <a:xfrm>
            <a:off x="1755093" y="2556214"/>
            <a:ext cx="647700" cy="175138"/>
          </a:xfrm>
          <a:prstGeom prst="rect">
            <a:avLst/>
          </a:prstGeom>
          <a:noFill/>
          <a:ln w="12700" algn="ctr">
            <a:noFill/>
            <a:miter lim="800000"/>
            <a:headEnd/>
            <a:tailEnd/>
          </a:ln>
        </p:spPr>
        <p:txBody>
          <a:bodyPr wrap="square" lIns="27000" tIns="27000" rIns="27000" bIns="27000">
            <a:spAutoFit/>
          </a:bodyPr>
          <a:lstStyle/>
          <a:p>
            <a:pPr algn="ctr" defTabSz="571500">
              <a:lnSpc>
                <a:spcPct val="95000"/>
              </a:lnSpc>
              <a:buClrTx/>
            </a:pPr>
            <a:r>
              <a:rPr lang="en-US" sz="825" b="1" kern="1200">
                <a:solidFill>
                  <a:srgbClr val="313131"/>
                </a:solidFill>
                <a:ea typeface="ＭＳ Ｐゴシック" charset="-128"/>
                <a:cs typeface="+mn-cs"/>
              </a:rPr>
              <a:t>Participant</a:t>
            </a:r>
          </a:p>
        </p:txBody>
      </p:sp>
      <p:sp>
        <p:nvSpPr>
          <p:cNvPr id="790544" name="Rectangle 18"/>
          <p:cNvSpPr>
            <a:spLocks noChangeArrowheads="1"/>
          </p:cNvSpPr>
          <p:nvPr/>
        </p:nvSpPr>
        <p:spPr bwMode="auto">
          <a:xfrm>
            <a:off x="1755093" y="3117594"/>
            <a:ext cx="647700" cy="175138"/>
          </a:xfrm>
          <a:prstGeom prst="rect">
            <a:avLst/>
          </a:prstGeom>
          <a:noFill/>
          <a:ln w="12700" algn="ctr">
            <a:noFill/>
            <a:miter lim="800000"/>
            <a:headEnd/>
            <a:tailEnd/>
          </a:ln>
        </p:spPr>
        <p:txBody>
          <a:bodyPr wrap="square" lIns="27000" tIns="27000" rIns="27000" bIns="27000">
            <a:spAutoFit/>
          </a:bodyPr>
          <a:lstStyle/>
          <a:p>
            <a:pPr algn="ctr" defTabSz="571500">
              <a:lnSpc>
                <a:spcPct val="95000"/>
              </a:lnSpc>
              <a:buClrTx/>
            </a:pPr>
            <a:r>
              <a:rPr lang="en-US" sz="825" b="1" kern="1200">
                <a:solidFill>
                  <a:srgbClr val="313131"/>
                </a:solidFill>
                <a:ea typeface="ＭＳ Ｐゴシック" charset="-128"/>
                <a:cs typeface="+mn-cs"/>
              </a:rPr>
              <a:t>Participant</a:t>
            </a:r>
            <a:endParaRPr lang="en-US" sz="825" b="1" kern="1200" dirty="0">
              <a:solidFill>
                <a:srgbClr val="313131"/>
              </a:solidFill>
              <a:ea typeface="ＭＳ Ｐゴシック" charset="-128"/>
              <a:cs typeface="+mn-cs"/>
            </a:endParaRPr>
          </a:p>
        </p:txBody>
      </p:sp>
      <p:sp>
        <p:nvSpPr>
          <p:cNvPr id="790545" name="Rectangle 19"/>
          <p:cNvSpPr>
            <a:spLocks noChangeArrowheads="1"/>
          </p:cNvSpPr>
          <p:nvPr/>
        </p:nvSpPr>
        <p:spPr bwMode="auto">
          <a:xfrm>
            <a:off x="1755093" y="3684927"/>
            <a:ext cx="647700" cy="175138"/>
          </a:xfrm>
          <a:prstGeom prst="rect">
            <a:avLst/>
          </a:prstGeom>
          <a:noFill/>
          <a:ln w="12700" algn="ctr">
            <a:noFill/>
            <a:miter lim="800000"/>
            <a:headEnd/>
            <a:tailEnd/>
          </a:ln>
        </p:spPr>
        <p:txBody>
          <a:bodyPr wrap="square" lIns="27000" tIns="27000" rIns="27000" bIns="27000">
            <a:spAutoFit/>
          </a:bodyPr>
          <a:lstStyle/>
          <a:p>
            <a:pPr algn="ctr" defTabSz="571500">
              <a:lnSpc>
                <a:spcPct val="95000"/>
              </a:lnSpc>
              <a:buClrTx/>
            </a:pPr>
            <a:r>
              <a:rPr lang="en-US" sz="825" b="1" kern="1200">
                <a:solidFill>
                  <a:srgbClr val="313131"/>
                </a:solidFill>
                <a:ea typeface="ＭＳ Ｐゴシック" charset="-128"/>
                <a:cs typeface="+mn-cs"/>
              </a:rPr>
              <a:t>Participant</a:t>
            </a:r>
            <a:endParaRPr lang="en-US" sz="825" b="1" kern="1200" dirty="0">
              <a:solidFill>
                <a:srgbClr val="313131"/>
              </a:solidFill>
              <a:ea typeface="ＭＳ Ｐゴシック" charset="-128"/>
              <a:cs typeface="+mn-cs"/>
            </a:endParaRPr>
          </a:p>
        </p:txBody>
      </p:sp>
      <p:sp>
        <p:nvSpPr>
          <p:cNvPr id="790546" name="Rectangle 20"/>
          <p:cNvSpPr>
            <a:spLocks noChangeArrowheads="1"/>
          </p:cNvSpPr>
          <p:nvPr/>
        </p:nvSpPr>
        <p:spPr bwMode="auto">
          <a:xfrm>
            <a:off x="1755093" y="4268333"/>
            <a:ext cx="647700" cy="175138"/>
          </a:xfrm>
          <a:prstGeom prst="rect">
            <a:avLst/>
          </a:prstGeom>
          <a:noFill/>
          <a:ln w="12700" algn="ctr">
            <a:noFill/>
            <a:miter lim="800000"/>
            <a:headEnd/>
            <a:tailEnd/>
          </a:ln>
        </p:spPr>
        <p:txBody>
          <a:bodyPr wrap="square" lIns="27000" tIns="27000" rIns="27000" bIns="27000">
            <a:spAutoFit/>
          </a:bodyPr>
          <a:lstStyle/>
          <a:p>
            <a:pPr algn="ctr" defTabSz="571500">
              <a:lnSpc>
                <a:spcPct val="95000"/>
              </a:lnSpc>
              <a:buClrTx/>
            </a:pPr>
            <a:r>
              <a:rPr lang="en-US" sz="825" b="1" kern="1200">
                <a:solidFill>
                  <a:srgbClr val="313131"/>
                </a:solidFill>
                <a:ea typeface="ＭＳ Ｐゴシック" charset="-128"/>
                <a:cs typeface="+mn-cs"/>
              </a:rPr>
              <a:t>Participant</a:t>
            </a:r>
            <a:endParaRPr lang="en-US" sz="825" b="1" kern="1200" dirty="0">
              <a:solidFill>
                <a:srgbClr val="313131"/>
              </a:solidFill>
              <a:ea typeface="ＭＳ Ｐゴシック" charset="-128"/>
              <a:cs typeface="+mn-cs"/>
            </a:endParaRPr>
          </a:p>
        </p:txBody>
      </p:sp>
      <p:sp>
        <p:nvSpPr>
          <p:cNvPr id="22" name="Rectangle 21"/>
          <p:cNvSpPr>
            <a:spLocks noChangeArrowheads="1"/>
          </p:cNvSpPr>
          <p:nvPr/>
        </p:nvSpPr>
        <p:spPr bwMode="auto">
          <a:xfrm>
            <a:off x="3757164" y="2405658"/>
            <a:ext cx="511969" cy="476250"/>
          </a:xfrm>
          <a:prstGeom prst="rect">
            <a:avLst/>
          </a:prstGeom>
          <a:solidFill>
            <a:srgbClr val="DCDCDC"/>
          </a:solidFill>
          <a:ln w="12700">
            <a:solidFill>
              <a:srgbClr val="B4B4B4"/>
            </a:solidFill>
            <a:miter lim="800000"/>
            <a:headEnd/>
            <a:tailEnd/>
          </a:ln>
        </p:spPr>
        <p:txBody>
          <a:bodyPr wrap="square" lIns="27000" tIns="27000" rIns="27000" bIns="27000" anchor="ctr">
            <a:noAutofit/>
          </a:bodyPr>
          <a:lstStyle/>
          <a:p>
            <a:pPr algn="ctr" defTabSz="685800">
              <a:lnSpc>
                <a:spcPct val="95000"/>
              </a:lnSpc>
              <a:buClrTx/>
              <a:defRPr/>
            </a:pPr>
            <a:r>
              <a:rPr lang="en-US" sz="825" kern="1200">
                <a:solidFill>
                  <a:srgbClr val="313131"/>
                </a:solidFill>
                <a:ea typeface="ＭＳ Ｐゴシック" pitchFamily="50" charset="-128"/>
                <a:cs typeface="+mn-cs"/>
              </a:rPr>
              <a:t>Activity</a:t>
            </a:r>
            <a:endParaRPr lang="en-US" sz="825" kern="1200" dirty="0">
              <a:solidFill>
                <a:srgbClr val="313131"/>
              </a:solidFill>
              <a:ea typeface="ＭＳ Ｐゴシック" pitchFamily="50" charset="-128"/>
              <a:cs typeface="+mn-cs"/>
            </a:endParaRPr>
          </a:p>
        </p:txBody>
      </p:sp>
      <p:sp>
        <p:nvSpPr>
          <p:cNvPr id="23" name="Rectangle 22"/>
          <p:cNvSpPr>
            <a:spLocks noChangeArrowheads="1"/>
          </p:cNvSpPr>
          <p:nvPr/>
        </p:nvSpPr>
        <p:spPr bwMode="auto">
          <a:xfrm>
            <a:off x="3757164" y="2967038"/>
            <a:ext cx="511969" cy="476250"/>
          </a:xfrm>
          <a:prstGeom prst="rect">
            <a:avLst/>
          </a:prstGeom>
          <a:solidFill>
            <a:srgbClr val="DCDCDC"/>
          </a:solidFill>
          <a:ln w="12700">
            <a:solidFill>
              <a:srgbClr val="B4B4B4"/>
            </a:solidFill>
            <a:miter lim="800000"/>
            <a:headEnd/>
            <a:tailEnd/>
          </a:ln>
        </p:spPr>
        <p:txBody>
          <a:bodyPr wrap="square" lIns="27000" tIns="27000" rIns="27000" bIns="27000" anchor="ctr">
            <a:noAutofit/>
          </a:bodyPr>
          <a:lstStyle/>
          <a:p>
            <a:pPr algn="ctr" defTabSz="685800">
              <a:lnSpc>
                <a:spcPct val="95000"/>
              </a:lnSpc>
              <a:buClrTx/>
              <a:defRPr/>
            </a:pPr>
            <a:r>
              <a:rPr lang="en-US" sz="825" kern="1200">
                <a:solidFill>
                  <a:srgbClr val="313131"/>
                </a:solidFill>
                <a:ea typeface="ＭＳ Ｐゴシック" pitchFamily="50" charset="-128"/>
                <a:cs typeface="+mn-cs"/>
              </a:rPr>
              <a:t>Activity</a:t>
            </a:r>
            <a:endParaRPr lang="en-US" sz="825" kern="1200" dirty="0">
              <a:solidFill>
                <a:srgbClr val="313131"/>
              </a:solidFill>
              <a:ea typeface="ＭＳ Ｐゴシック" pitchFamily="50" charset="-128"/>
              <a:cs typeface="+mn-cs"/>
            </a:endParaRPr>
          </a:p>
        </p:txBody>
      </p:sp>
      <p:sp>
        <p:nvSpPr>
          <p:cNvPr id="25" name="Rectangle 24"/>
          <p:cNvSpPr>
            <a:spLocks noChangeArrowheads="1"/>
          </p:cNvSpPr>
          <p:nvPr/>
        </p:nvSpPr>
        <p:spPr bwMode="auto">
          <a:xfrm>
            <a:off x="5574507" y="1838921"/>
            <a:ext cx="511969" cy="476250"/>
          </a:xfrm>
          <a:prstGeom prst="rect">
            <a:avLst/>
          </a:prstGeom>
          <a:solidFill>
            <a:srgbClr val="DCDCDC"/>
          </a:solidFill>
          <a:ln w="12700">
            <a:solidFill>
              <a:srgbClr val="B4B4B4"/>
            </a:solidFill>
            <a:miter lim="800000"/>
            <a:headEnd/>
            <a:tailEnd/>
          </a:ln>
        </p:spPr>
        <p:txBody>
          <a:bodyPr wrap="square" lIns="27000" tIns="27000" rIns="27000" bIns="27000" anchor="ctr">
            <a:noAutofit/>
          </a:bodyPr>
          <a:lstStyle/>
          <a:p>
            <a:pPr algn="ctr" defTabSz="685800">
              <a:lnSpc>
                <a:spcPct val="95000"/>
              </a:lnSpc>
              <a:buClrTx/>
              <a:defRPr/>
            </a:pPr>
            <a:r>
              <a:rPr lang="en-US" sz="825" kern="1200">
                <a:solidFill>
                  <a:srgbClr val="313131"/>
                </a:solidFill>
                <a:ea typeface="ＭＳ Ｐゴシック" pitchFamily="50" charset="-128"/>
                <a:cs typeface="+mn-cs"/>
              </a:rPr>
              <a:t>Activity</a:t>
            </a:r>
            <a:endParaRPr lang="en-US" sz="825" kern="1200" dirty="0">
              <a:solidFill>
                <a:srgbClr val="313131"/>
              </a:solidFill>
              <a:ea typeface="ＭＳ Ｐゴシック" pitchFamily="50" charset="-128"/>
              <a:cs typeface="+mn-cs"/>
            </a:endParaRPr>
          </a:p>
        </p:txBody>
      </p:sp>
      <p:sp>
        <p:nvSpPr>
          <p:cNvPr id="26" name="Oval 25"/>
          <p:cNvSpPr>
            <a:spLocks noChangeArrowheads="1"/>
          </p:cNvSpPr>
          <p:nvPr/>
        </p:nvSpPr>
        <p:spPr bwMode="auto">
          <a:xfrm>
            <a:off x="2462212" y="1284088"/>
            <a:ext cx="500063" cy="472679"/>
          </a:xfrm>
          <a:prstGeom prst="ellipse">
            <a:avLst/>
          </a:prstGeom>
          <a:solidFill>
            <a:srgbClr val="DCDCDC"/>
          </a:solidFill>
          <a:ln w="12700">
            <a:solidFill>
              <a:srgbClr val="B4B4B4"/>
            </a:solidFill>
            <a:round/>
            <a:headEnd/>
            <a:tailEnd/>
          </a:ln>
        </p:spPr>
        <p:txBody>
          <a:bodyPr wrap="square" lIns="27000" tIns="27000" rIns="27000" bIns="27000" anchor="ctr">
            <a:noAutofit/>
          </a:bodyPr>
          <a:lstStyle/>
          <a:p>
            <a:pPr algn="ctr" defTabSz="685800">
              <a:lnSpc>
                <a:spcPct val="95000"/>
              </a:lnSpc>
              <a:buClrTx/>
              <a:defRPr/>
            </a:pPr>
            <a:r>
              <a:rPr lang="en-US" sz="825" kern="1200" dirty="0">
                <a:solidFill>
                  <a:srgbClr val="313131"/>
                </a:solidFill>
                <a:ea typeface="ＭＳ Ｐゴシック" pitchFamily="50" charset="-128"/>
                <a:cs typeface="+mn-cs"/>
              </a:rPr>
              <a:t>Start</a:t>
            </a:r>
          </a:p>
        </p:txBody>
      </p:sp>
      <p:sp>
        <p:nvSpPr>
          <p:cNvPr id="27" name="Rectangle 26"/>
          <p:cNvSpPr>
            <a:spLocks noChangeArrowheads="1"/>
          </p:cNvSpPr>
          <p:nvPr/>
        </p:nvSpPr>
        <p:spPr bwMode="auto">
          <a:xfrm>
            <a:off x="1731169" y="1250157"/>
            <a:ext cx="5582841" cy="3402806"/>
          </a:xfrm>
          <a:prstGeom prst="rect">
            <a:avLst/>
          </a:prstGeom>
          <a:noFill/>
          <a:ln w="12700" algn="ctr">
            <a:solidFill>
              <a:srgbClr val="B4B4B4"/>
            </a:solidFill>
            <a:miter lim="800000"/>
            <a:headEnd/>
            <a:tailEnd/>
          </a:ln>
        </p:spPr>
        <p:txBody>
          <a:bodyPr wrap="square" lIns="27000" tIns="27000" rIns="27000" bIns="27000" anchor="ctr">
            <a:noAutofit/>
          </a:bodyPr>
          <a:lstStyle/>
          <a:p>
            <a:pPr algn="ctr" defTabSz="685800">
              <a:buClrTx/>
              <a:defRPr/>
            </a:pPr>
            <a:endParaRPr lang="en-US" sz="825" kern="1200" dirty="0">
              <a:solidFill>
                <a:srgbClr val="313131"/>
              </a:solidFill>
              <a:ea typeface="+mn-ea"/>
              <a:cs typeface="+mn-cs"/>
            </a:endParaRPr>
          </a:p>
        </p:txBody>
      </p:sp>
      <p:sp>
        <p:nvSpPr>
          <p:cNvPr id="28" name="Rectangle 27"/>
          <p:cNvSpPr>
            <a:spLocks noChangeArrowheads="1"/>
          </p:cNvSpPr>
          <p:nvPr/>
        </p:nvSpPr>
        <p:spPr bwMode="auto">
          <a:xfrm>
            <a:off x="4557713" y="1287067"/>
            <a:ext cx="511969" cy="1039415"/>
          </a:xfrm>
          <a:prstGeom prst="rect">
            <a:avLst/>
          </a:prstGeom>
          <a:solidFill>
            <a:srgbClr val="DCDCDC"/>
          </a:solidFill>
          <a:ln w="12700">
            <a:solidFill>
              <a:srgbClr val="B4B4B4"/>
            </a:solidFill>
            <a:miter lim="800000"/>
            <a:headEnd/>
            <a:tailEnd/>
          </a:ln>
        </p:spPr>
        <p:txBody>
          <a:bodyPr wrap="square" lIns="27000" tIns="27000" rIns="27000" bIns="27000" anchor="ctr">
            <a:noAutofit/>
          </a:bodyPr>
          <a:lstStyle/>
          <a:p>
            <a:pPr algn="ctr" defTabSz="685800">
              <a:lnSpc>
                <a:spcPct val="95000"/>
              </a:lnSpc>
              <a:buClrTx/>
              <a:defRPr/>
            </a:pPr>
            <a:r>
              <a:rPr lang="en-US" sz="825" kern="1200">
                <a:solidFill>
                  <a:srgbClr val="313131"/>
                </a:solidFill>
                <a:ea typeface="ＭＳ Ｐゴシック" pitchFamily="50" charset="-128"/>
                <a:cs typeface="+mn-cs"/>
              </a:rPr>
              <a:t>Activity</a:t>
            </a:r>
            <a:endParaRPr lang="en-US" sz="825" kern="1200" dirty="0">
              <a:solidFill>
                <a:srgbClr val="313131"/>
              </a:solidFill>
              <a:ea typeface="ＭＳ Ｐゴシック" pitchFamily="50" charset="-128"/>
              <a:cs typeface="+mn-cs"/>
            </a:endParaRPr>
          </a:p>
        </p:txBody>
      </p:sp>
      <p:sp>
        <p:nvSpPr>
          <p:cNvPr id="29" name="Rectangle 28"/>
          <p:cNvSpPr>
            <a:spLocks noChangeArrowheads="1"/>
          </p:cNvSpPr>
          <p:nvPr/>
        </p:nvSpPr>
        <p:spPr bwMode="auto">
          <a:xfrm>
            <a:off x="6169819" y="4113610"/>
            <a:ext cx="511969" cy="484584"/>
          </a:xfrm>
          <a:prstGeom prst="rect">
            <a:avLst/>
          </a:prstGeom>
          <a:solidFill>
            <a:srgbClr val="DCDCDC"/>
          </a:solidFill>
          <a:ln w="12700">
            <a:solidFill>
              <a:srgbClr val="B4B4B4"/>
            </a:solidFill>
            <a:miter lim="800000"/>
            <a:headEnd/>
            <a:tailEnd/>
          </a:ln>
        </p:spPr>
        <p:txBody>
          <a:bodyPr wrap="square" lIns="27000" tIns="27000" rIns="27000" bIns="27000" anchor="ctr">
            <a:noAutofit/>
          </a:bodyPr>
          <a:lstStyle/>
          <a:p>
            <a:pPr algn="ctr" defTabSz="685800">
              <a:lnSpc>
                <a:spcPct val="95000"/>
              </a:lnSpc>
              <a:buClrTx/>
              <a:defRPr/>
            </a:pPr>
            <a:r>
              <a:rPr lang="en-US" sz="825" kern="1200" dirty="0">
                <a:solidFill>
                  <a:srgbClr val="313131"/>
                </a:solidFill>
                <a:ea typeface="ＭＳ Ｐゴシック" pitchFamily="50" charset="-128"/>
                <a:cs typeface="+mn-cs"/>
              </a:rPr>
              <a:t>Activity</a:t>
            </a:r>
          </a:p>
        </p:txBody>
      </p:sp>
      <p:sp>
        <p:nvSpPr>
          <p:cNvPr id="30" name="Rectangle 29"/>
          <p:cNvSpPr>
            <a:spLocks noChangeArrowheads="1"/>
          </p:cNvSpPr>
          <p:nvPr/>
        </p:nvSpPr>
        <p:spPr bwMode="auto">
          <a:xfrm>
            <a:off x="4549738" y="2965847"/>
            <a:ext cx="511969" cy="1603772"/>
          </a:xfrm>
          <a:prstGeom prst="rect">
            <a:avLst/>
          </a:prstGeom>
          <a:solidFill>
            <a:srgbClr val="DCDCDC"/>
          </a:solidFill>
          <a:ln w="12700">
            <a:solidFill>
              <a:srgbClr val="B4B4B4"/>
            </a:solidFill>
            <a:miter lim="800000"/>
            <a:headEnd/>
            <a:tailEnd/>
          </a:ln>
        </p:spPr>
        <p:txBody>
          <a:bodyPr wrap="square" lIns="27000" tIns="27000" rIns="27000" bIns="27000" anchor="ctr">
            <a:noAutofit/>
          </a:bodyPr>
          <a:lstStyle/>
          <a:p>
            <a:pPr algn="ctr" defTabSz="685800">
              <a:lnSpc>
                <a:spcPct val="95000"/>
              </a:lnSpc>
              <a:buClrTx/>
              <a:defRPr/>
            </a:pPr>
            <a:r>
              <a:rPr lang="en-US" sz="825" kern="1200">
                <a:solidFill>
                  <a:srgbClr val="313131"/>
                </a:solidFill>
                <a:ea typeface="ＭＳ Ｐゴシック" pitchFamily="50" charset="-128"/>
                <a:cs typeface="+mn-cs"/>
              </a:rPr>
              <a:t>Activity</a:t>
            </a:r>
            <a:endParaRPr lang="en-US" sz="825" kern="1200" dirty="0">
              <a:solidFill>
                <a:srgbClr val="313131"/>
              </a:solidFill>
              <a:ea typeface="ＭＳ Ｐゴシック" pitchFamily="50" charset="-128"/>
              <a:cs typeface="+mn-cs"/>
            </a:endParaRPr>
          </a:p>
        </p:txBody>
      </p:sp>
      <p:sp>
        <p:nvSpPr>
          <p:cNvPr id="33" name="Rectangle 32"/>
          <p:cNvSpPr>
            <a:spLocks noChangeArrowheads="1"/>
          </p:cNvSpPr>
          <p:nvPr/>
        </p:nvSpPr>
        <p:spPr bwMode="auto">
          <a:xfrm>
            <a:off x="3083719" y="1282302"/>
            <a:ext cx="512228" cy="476250"/>
          </a:xfrm>
          <a:prstGeom prst="rect">
            <a:avLst/>
          </a:prstGeom>
          <a:solidFill>
            <a:srgbClr val="DCDCDC"/>
          </a:solidFill>
          <a:ln w="12700">
            <a:solidFill>
              <a:srgbClr val="B4B4B4"/>
            </a:solidFill>
            <a:miter lim="800000"/>
            <a:headEnd/>
            <a:tailEnd/>
          </a:ln>
        </p:spPr>
        <p:txBody>
          <a:bodyPr wrap="square" lIns="27000" tIns="27000" rIns="27000" bIns="27000" anchor="ctr">
            <a:noAutofit/>
          </a:bodyPr>
          <a:lstStyle/>
          <a:p>
            <a:pPr algn="ctr" defTabSz="685800">
              <a:lnSpc>
                <a:spcPct val="95000"/>
              </a:lnSpc>
              <a:buClrTx/>
              <a:defRPr/>
            </a:pPr>
            <a:r>
              <a:rPr lang="en-US" sz="825" kern="1200">
                <a:solidFill>
                  <a:srgbClr val="313131"/>
                </a:solidFill>
                <a:ea typeface="ＭＳ Ｐゴシック" pitchFamily="50" charset="-128"/>
                <a:cs typeface="+mn-cs"/>
              </a:rPr>
              <a:t>Activity</a:t>
            </a:r>
            <a:endParaRPr lang="en-US" sz="825" kern="1200" dirty="0">
              <a:solidFill>
                <a:srgbClr val="313131"/>
              </a:solidFill>
              <a:ea typeface="ＭＳ Ｐゴシック" pitchFamily="50" charset="-128"/>
              <a:cs typeface="+mn-cs"/>
            </a:endParaRPr>
          </a:p>
        </p:txBody>
      </p:sp>
      <p:sp>
        <p:nvSpPr>
          <p:cNvPr id="34" name="AutoShape 33"/>
          <p:cNvSpPr>
            <a:spLocks noChangeArrowheads="1"/>
          </p:cNvSpPr>
          <p:nvPr/>
        </p:nvSpPr>
        <p:spPr bwMode="auto">
          <a:xfrm>
            <a:off x="3711967" y="1287660"/>
            <a:ext cx="602362" cy="476250"/>
          </a:xfrm>
          <a:prstGeom prst="diamond">
            <a:avLst/>
          </a:prstGeom>
          <a:solidFill>
            <a:srgbClr val="DCDCDC"/>
          </a:solidFill>
          <a:ln w="12700">
            <a:solidFill>
              <a:srgbClr val="B4B4B4"/>
            </a:solidFill>
            <a:miter lim="800000"/>
            <a:headEnd/>
            <a:tailEnd/>
          </a:ln>
        </p:spPr>
        <p:txBody>
          <a:bodyPr wrap="square" lIns="27000" tIns="27000" rIns="27000" bIns="27000" anchor="ctr">
            <a:noAutofit/>
          </a:bodyPr>
          <a:lstStyle/>
          <a:p>
            <a:pPr algn="ctr" defTabSz="685800">
              <a:lnSpc>
                <a:spcPct val="95000"/>
              </a:lnSpc>
              <a:buClrTx/>
              <a:defRPr/>
            </a:pPr>
            <a:r>
              <a:rPr lang="en-US" sz="825" kern="1200">
                <a:solidFill>
                  <a:srgbClr val="313131"/>
                </a:solidFill>
                <a:ea typeface="ＭＳ Ｐゴシック" pitchFamily="50" charset="-128"/>
                <a:cs typeface="+mn-cs"/>
              </a:rPr>
              <a:t>Decision</a:t>
            </a:r>
            <a:endParaRPr lang="en-US" sz="825" kern="1200" dirty="0">
              <a:solidFill>
                <a:srgbClr val="313131"/>
              </a:solidFill>
              <a:ea typeface="ＭＳ Ｐゴシック" pitchFamily="50" charset="-128"/>
              <a:cs typeface="+mn-cs"/>
            </a:endParaRPr>
          </a:p>
        </p:txBody>
      </p:sp>
      <p:sp>
        <p:nvSpPr>
          <p:cNvPr id="41" name="Oval 40"/>
          <p:cNvSpPr>
            <a:spLocks noChangeArrowheads="1"/>
          </p:cNvSpPr>
          <p:nvPr/>
        </p:nvSpPr>
        <p:spPr bwMode="auto">
          <a:xfrm>
            <a:off x="6787753" y="4119564"/>
            <a:ext cx="500063" cy="472678"/>
          </a:xfrm>
          <a:prstGeom prst="ellipse">
            <a:avLst/>
          </a:prstGeom>
          <a:solidFill>
            <a:srgbClr val="DCDCDC"/>
          </a:solidFill>
          <a:ln w="12700">
            <a:solidFill>
              <a:srgbClr val="B4B4B4"/>
            </a:solidFill>
            <a:round/>
            <a:headEnd/>
            <a:tailEnd/>
          </a:ln>
        </p:spPr>
        <p:txBody>
          <a:bodyPr wrap="square" lIns="27000" tIns="27000" rIns="27000" bIns="27000" anchor="ctr">
            <a:noAutofit/>
          </a:bodyPr>
          <a:lstStyle/>
          <a:p>
            <a:pPr algn="ctr" defTabSz="685800">
              <a:lnSpc>
                <a:spcPct val="95000"/>
              </a:lnSpc>
              <a:buClrTx/>
              <a:defRPr/>
            </a:pPr>
            <a:r>
              <a:rPr lang="en-US" sz="825" kern="1200">
                <a:solidFill>
                  <a:srgbClr val="313131"/>
                </a:solidFill>
                <a:ea typeface="ＭＳ Ｐゴシック" pitchFamily="50" charset="-128"/>
                <a:cs typeface="+mn-cs"/>
              </a:rPr>
              <a:t>End</a:t>
            </a:r>
            <a:endParaRPr lang="en-US" sz="825" kern="1200" dirty="0">
              <a:solidFill>
                <a:srgbClr val="313131"/>
              </a:solidFill>
              <a:ea typeface="ＭＳ Ｐゴシック" pitchFamily="50" charset="-128"/>
              <a:cs typeface="+mn-cs"/>
            </a:endParaRPr>
          </a:p>
        </p:txBody>
      </p:sp>
      <p:sp>
        <p:nvSpPr>
          <p:cNvPr id="44" name="Text Placeholder 12"/>
          <p:cNvSpPr>
            <a:spLocks/>
          </p:cNvSpPr>
          <p:nvPr>
            <p:custDataLst>
              <p:tags r:id="rId1"/>
            </p:custDataLst>
          </p:nvPr>
        </p:nvSpPr>
        <p:spPr bwMode="auto">
          <a:xfrm>
            <a:off x="1440657" y="891540"/>
            <a:ext cx="854401"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Participant activity</a:t>
            </a:r>
          </a:p>
        </p:txBody>
      </p:sp>
      <p:sp>
        <p:nvSpPr>
          <p:cNvPr id="50" name="Rectangle 49"/>
          <p:cNvSpPr>
            <a:spLocks noChangeArrowheads="1"/>
          </p:cNvSpPr>
          <p:nvPr/>
        </p:nvSpPr>
        <p:spPr bwMode="auto">
          <a:xfrm>
            <a:off x="5574376" y="1282302"/>
            <a:ext cx="512228" cy="476250"/>
          </a:xfrm>
          <a:prstGeom prst="rect">
            <a:avLst/>
          </a:prstGeom>
          <a:solidFill>
            <a:srgbClr val="DCDCDC"/>
          </a:solidFill>
          <a:ln w="12700">
            <a:solidFill>
              <a:srgbClr val="B4B4B4"/>
            </a:solidFill>
            <a:miter lim="800000"/>
            <a:headEnd/>
            <a:tailEnd/>
          </a:ln>
        </p:spPr>
        <p:txBody>
          <a:bodyPr wrap="square" lIns="27000" tIns="27000" rIns="27000" bIns="27000" anchor="ctr">
            <a:noAutofit/>
          </a:bodyPr>
          <a:lstStyle/>
          <a:p>
            <a:pPr algn="ctr" defTabSz="685800">
              <a:lnSpc>
                <a:spcPct val="95000"/>
              </a:lnSpc>
              <a:buClrTx/>
              <a:defRPr/>
            </a:pPr>
            <a:r>
              <a:rPr lang="en-US" sz="825" kern="1200">
                <a:solidFill>
                  <a:srgbClr val="313131"/>
                </a:solidFill>
                <a:ea typeface="ＭＳ Ｐゴシック" pitchFamily="50" charset="-128"/>
                <a:cs typeface="+mn-cs"/>
              </a:rPr>
              <a:t>Activity</a:t>
            </a:r>
            <a:endParaRPr lang="en-US" sz="825" kern="1200" dirty="0">
              <a:solidFill>
                <a:srgbClr val="313131"/>
              </a:solidFill>
              <a:ea typeface="ＭＳ Ｐゴシック" pitchFamily="50" charset="-128"/>
              <a:cs typeface="+mn-cs"/>
            </a:endParaRPr>
          </a:p>
        </p:txBody>
      </p:sp>
      <p:cxnSp>
        <p:nvCxnSpPr>
          <p:cNvPr id="3" name="Straight Arrow Connector 2"/>
          <p:cNvCxnSpPr>
            <a:stCxn id="26" idx="6"/>
            <a:endCxn id="33" idx="1"/>
          </p:cNvCxnSpPr>
          <p:nvPr/>
        </p:nvCxnSpPr>
        <p:spPr>
          <a:xfrm>
            <a:off x="2962275" y="1520427"/>
            <a:ext cx="121444" cy="0"/>
          </a:xfrm>
          <a:prstGeom prst="straightConnector1">
            <a:avLst/>
          </a:prstGeom>
          <a:ln w="19050">
            <a:solidFill>
              <a:srgbClr val="575757"/>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33" idx="3"/>
            <a:endCxn id="34" idx="1"/>
          </p:cNvCxnSpPr>
          <p:nvPr/>
        </p:nvCxnSpPr>
        <p:spPr>
          <a:xfrm>
            <a:off x="3595946" y="1520427"/>
            <a:ext cx="116021" cy="5358"/>
          </a:xfrm>
          <a:prstGeom prst="straightConnector1">
            <a:avLst/>
          </a:prstGeom>
          <a:ln w="19050">
            <a:solidFill>
              <a:srgbClr val="575757"/>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34" idx="3"/>
          </p:cNvCxnSpPr>
          <p:nvPr/>
        </p:nvCxnSpPr>
        <p:spPr>
          <a:xfrm>
            <a:off x="4314329" y="1525785"/>
            <a:ext cx="235409" cy="0"/>
          </a:xfrm>
          <a:prstGeom prst="straightConnector1">
            <a:avLst/>
          </a:prstGeom>
          <a:ln w="19050">
            <a:solidFill>
              <a:srgbClr val="575757"/>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endCxn id="50" idx="1"/>
          </p:cNvCxnSpPr>
          <p:nvPr/>
        </p:nvCxnSpPr>
        <p:spPr>
          <a:xfrm flipV="1">
            <a:off x="5069682" y="1520427"/>
            <a:ext cx="504695" cy="0"/>
          </a:xfrm>
          <a:prstGeom prst="straightConnector1">
            <a:avLst/>
          </a:prstGeom>
          <a:ln w="19050">
            <a:solidFill>
              <a:srgbClr val="575757"/>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50" idx="2"/>
            <a:endCxn id="25" idx="0"/>
          </p:cNvCxnSpPr>
          <p:nvPr/>
        </p:nvCxnSpPr>
        <p:spPr>
          <a:xfrm>
            <a:off x="5830491" y="1758552"/>
            <a:ext cx="1" cy="80369"/>
          </a:xfrm>
          <a:prstGeom prst="straightConnector1">
            <a:avLst/>
          </a:prstGeom>
          <a:ln w="190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34" idx="2"/>
            <a:endCxn id="22" idx="0"/>
          </p:cNvCxnSpPr>
          <p:nvPr/>
        </p:nvCxnSpPr>
        <p:spPr>
          <a:xfrm>
            <a:off x="4013148" y="1763910"/>
            <a:ext cx="0" cy="641748"/>
          </a:xfrm>
          <a:prstGeom prst="straightConnector1">
            <a:avLst/>
          </a:prstGeom>
          <a:ln w="19050">
            <a:solidFill>
              <a:srgbClr val="575757"/>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a:stCxn id="22" idx="2"/>
            <a:endCxn id="23" idx="0"/>
          </p:cNvCxnSpPr>
          <p:nvPr/>
        </p:nvCxnSpPr>
        <p:spPr>
          <a:xfrm>
            <a:off x="4013148" y="2881908"/>
            <a:ext cx="0" cy="85130"/>
          </a:xfrm>
          <a:prstGeom prst="straightConnector1">
            <a:avLst/>
          </a:prstGeom>
          <a:ln w="190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a:stCxn id="23" idx="3"/>
          </p:cNvCxnSpPr>
          <p:nvPr/>
        </p:nvCxnSpPr>
        <p:spPr>
          <a:xfrm>
            <a:off x="4269132" y="3205163"/>
            <a:ext cx="280606" cy="0"/>
          </a:xfrm>
          <a:prstGeom prst="straightConnector1">
            <a:avLst/>
          </a:prstGeom>
          <a:ln w="19050">
            <a:solidFill>
              <a:srgbClr val="575757"/>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endCxn id="29" idx="1"/>
          </p:cNvCxnSpPr>
          <p:nvPr/>
        </p:nvCxnSpPr>
        <p:spPr>
          <a:xfrm>
            <a:off x="5069681" y="4355902"/>
            <a:ext cx="1100138" cy="0"/>
          </a:xfrm>
          <a:prstGeom prst="straightConnector1">
            <a:avLst/>
          </a:prstGeom>
          <a:ln w="19050">
            <a:solidFill>
              <a:srgbClr val="575757"/>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stCxn id="29" idx="3"/>
            <a:endCxn id="41" idx="2"/>
          </p:cNvCxnSpPr>
          <p:nvPr/>
        </p:nvCxnSpPr>
        <p:spPr>
          <a:xfrm>
            <a:off x="6681788" y="4355902"/>
            <a:ext cx="105966" cy="1"/>
          </a:xfrm>
          <a:prstGeom prst="straightConnector1">
            <a:avLst/>
          </a:prstGeom>
          <a:ln w="190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stCxn id="25" idx="3"/>
            <a:endCxn id="29" idx="0"/>
          </p:cNvCxnSpPr>
          <p:nvPr/>
        </p:nvCxnSpPr>
        <p:spPr>
          <a:xfrm>
            <a:off x="6086475" y="2077046"/>
            <a:ext cx="339329" cy="2036564"/>
          </a:xfrm>
          <a:prstGeom prst="bentConnector2">
            <a:avLst/>
          </a:prstGeom>
          <a:ln w="19050">
            <a:solidFill>
              <a:srgbClr val="575757"/>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normAutofit lnSpcReduction="10000"/>
          </a:bodyPr>
          <a:lstStyle/>
          <a:p>
            <a:pPr marL="0" lvl="1" indent="0">
              <a:spcBef>
                <a:spcPts val="1350"/>
              </a:spcBef>
              <a:buNone/>
            </a:pPr>
            <a:r>
              <a:rPr lang="en-US" dirty="0"/>
              <a:t>Structured text				3</a:t>
            </a:r>
          </a:p>
          <a:p>
            <a:pPr marL="0" lvl="1" indent="0">
              <a:spcBef>
                <a:spcPts val="1350"/>
              </a:spcBef>
              <a:buNone/>
            </a:pPr>
            <a:r>
              <a:rPr lang="en-US" dirty="0"/>
              <a:t>Trees					35</a:t>
            </a:r>
          </a:p>
          <a:p>
            <a:pPr marL="0" lvl="1" indent="0">
              <a:spcBef>
                <a:spcPts val="1350"/>
              </a:spcBef>
              <a:buNone/>
            </a:pPr>
            <a:r>
              <a:rPr lang="en-US" dirty="0"/>
              <a:t>Graphs					50</a:t>
            </a:r>
          </a:p>
          <a:p>
            <a:pPr marL="0" lvl="1" indent="0">
              <a:spcBef>
                <a:spcPts val="1350"/>
              </a:spcBef>
              <a:buNone/>
            </a:pPr>
            <a:r>
              <a:rPr lang="en-US" dirty="0"/>
              <a:t>Shapes					93</a:t>
            </a:r>
          </a:p>
          <a:p>
            <a:pPr marL="0" lvl="1" indent="0">
              <a:spcBef>
                <a:spcPts val="1350"/>
              </a:spcBef>
              <a:buNone/>
            </a:pPr>
            <a:r>
              <a:rPr lang="en-US" dirty="0"/>
              <a:t>Maps					117</a:t>
            </a:r>
          </a:p>
          <a:p>
            <a:pPr marL="0" lvl="1" indent="0">
              <a:spcBef>
                <a:spcPts val="1350"/>
              </a:spcBef>
              <a:buNone/>
            </a:pPr>
            <a:r>
              <a:rPr lang="en-US" dirty="0"/>
              <a:t>Special graphics			137</a:t>
            </a:r>
          </a:p>
          <a:p>
            <a:pPr marL="0" lvl="1" indent="0">
              <a:spcBef>
                <a:spcPts val="1350"/>
              </a:spcBef>
              <a:buNone/>
            </a:pPr>
            <a:r>
              <a:rPr lang="en-US" dirty="0">
                <a:solidFill>
                  <a:srgbClr val="00A1DE"/>
                </a:solidFill>
              </a:rPr>
              <a:t>Conceptual charts</a:t>
            </a:r>
            <a:r>
              <a:rPr lang="en-US" dirty="0"/>
              <a:t>			164</a:t>
            </a:r>
          </a:p>
          <a:p>
            <a:pPr marL="0" lvl="1" indent="0">
              <a:spcBef>
                <a:spcPts val="1350"/>
              </a:spcBef>
              <a:buNone/>
            </a:pPr>
            <a:r>
              <a:rPr lang="en-US" dirty="0" err="1"/>
              <a:t>Infographics</a:t>
            </a:r>
            <a:r>
              <a:rPr lang="en-US" dirty="0"/>
              <a:t> 				215</a:t>
            </a:r>
          </a:p>
          <a:p>
            <a:pPr marL="0" lvl="1" indent="0">
              <a:spcBef>
                <a:spcPts val="1350"/>
              </a:spcBef>
              <a:buNone/>
            </a:pPr>
            <a:r>
              <a:rPr lang="en-US" dirty="0"/>
              <a:t>Iconography				241</a:t>
            </a:r>
          </a:p>
          <a:p>
            <a:endParaRPr lang="en-US" dirty="0"/>
          </a:p>
        </p:txBody>
      </p:sp>
      <p:sp>
        <p:nvSpPr>
          <p:cNvPr id="6" name="Title 5"/>
          <p:cNvSpPr>
            <a:spLocks noGrp="1"/>
          </p:cNvSpPr>
          <p:nvPr>
            <p:ph type="title"/>
          </p:nvPr>
        </p:nvSpPr>
        <p:spPr>
          <a:xfrm>
            <a:off x="1420585" y="134679"/>
            <a:ext cx="6291000" cy="665422"/>
          </a:xfrm>
        </p:spPr>
        <p:txBody>
          <a:bodyPr>
            <a:normAutofit/>
          </a:bodyPr>
          <a:lstStyle/>
          <a:p>
            <a:r>
              <a:rPr lang="en-US" sz="2250" dirty="0"/>
              <a:t>Contents</a:t>
            </a:r>
          </a:p>
        </p:txBody>
      </p:sp>
    </p:spTree>
    <p:extLst>
      <p:ext uri="{BB962C8B-B14F-4D97-AF65-F5344CB8AC3E}">
        <p14:creationId xmlns:p14="http://schemas.microsoft.com/office/powerpoint/2010/main" val="920560646"/>
      </p:ext>
    </p:extLst>
  </p:cSld>
  <p:clrMapOvr>
    <a:masterClrMapping/>
  </p:clrMapOvr>
  <p:transition>
    <p:fade/>
  </p:transition>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Group 8"/>
          <p:cNvGraphicFramePr>
            <a:graphicFrameLocks noGrp="1"/>
          </p:cNvGraphicFramePr>
          <p:nvPr>
            <p:custDataLst>
              <p:tags r:id="rId1"/>
            </p:custDataLst>
          </p:nvPr>
        </p:nvGraphicFramePr>
        <p:xfrm>
          <a:off x="1440655" y="1431131"/>
          <a:ext cx="6262691" cy="2796780"/>
        </p:xfrm>
        <a:graphic>
          <a:graphicData uri="http://schemas.openxmlformats.org/drawingml/2006/table">
            <a:tbl>
              <a:tblPr/>
              <a:tblGrid>
                <a:gridCol w="1194812">
                  <a:extLst>
                    <a:ext uri="{9D8B030D-6E8A-4147-A177-3AD203B41FA5}">
                      <a16:colId xmlns:a16="http://schemas.microsoft.com/office/drawing/2014/main" val="20000"/>
                    </a:ext>
                  </a:extLst>
                </a:gridCol>
                <a:gridCol w="844103">
                  <a:extLst>
                    <a:ext uri="{9D8B030D-6E8A-4147-A177-3AD203B41FA5}">
                      <a16:colId xmlns:a16="http://schemas.microsoft.com/office/drawing/2014/main" val="20001"/>
                    </a:ext>
                  </a:extLst>
                </a:gridCol>
                <a:gridCol w="877865">
                  <a:extLst>
                    <a:ext uri="{9D8B030D-6E8A-4147-A177-3AD203B41FA5}">
                      <a16:colId xmlns:a16="http://schemas.microsoft.com/office/drawing/2014/main" val="20002"/>
                    </a:ext>
                  </a:extLst>
                </a:gridCol>
                <a:gridCol w="812516">
                  <a:extLst>
                    <a:ext uri="{9D8B030D-6E8A-4147-A177-3AD203B41FA5}">
                      <a16:colId xmlns:a16="http://schemas.microsoft.com/office/drawing/2014/main" val="20003"/>
                    </a:ext>
                  </a:extLst>
                </a:gridCol>
                <a:gridCol w="844103">
                  <a:extLst>
                    <a:ext uri="{9D8B030D-6E8A-4147-A177-3AD203B41FA5}">
                      <a16:colId xmlns:a16="http://schemas.microsoft.com/office/drawing/2014/main" val="20004"/>
                    </a:ext>
                  </a:extLst>
                </a:gridCol>
                <a:gridCol w="845190">
                  <a:extLst>
                    <a:ext uri="{9D8B030D-6E8A-4147-A177-3AD203B41FA5}">
                      <a16:colId xmlns:a16="http://schemas.microsoft.com/office/drawing/2014/main" val="20005"/>
                    </a:ext>
                  </a:extLst>
                </a:gridCol>
                <a:gridCol w="422051">
                  <a:extLst>
                    <a:ext uri="{9D8B030D-6E8A-4147-A177-3AD203B41FA5}">
                      <a16:colId xmlns:a16="http://schemas.microsoft.com/office/drawing/2014/main" val="20006"/>
                    </a:ext>
                  </a:extLst>
                </a:gridCol>
                <a:gridCol w="422051">
                  <a:extLst>
                    <a:ext uri="{9D8B030D-6E8A-4147-A177-3AD203B41FA5}">
                      <a16:colId xmlns:a16="http://schemas.microsoft.com/office/drawing/2014/main" val="20007"/>
                    </a:ext>
                  </a:extLst>
                </a:gridCol>
              </a:tblGrid>
              <a:tr h="367904">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1" i="0" u="none" strike="noStrike" cap="none" normalizeH="0" baseline="0" dirty="0">
                        <a:ln>
                          <a:noFill/>
                        </a:ln>
                        <a:solidFill>
                          <a:srgbClr val="313131"/>
                        </a:solidFill>
                        <a:effectLst/>
                        <a:latin typeface="Arial" charset="0"/>
                      </a:endParaRPr>
                    </a:p>
                  </a:txBody>
                  <a:tcPr marL="50644" marR="50644" marT="54864" marB="54864" anchor="ctr" horzOverflow="overflow">
                    <a:lnL cap="flat">
                      <a:noFill/>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50644" marR="50644" marT="54864" marB="54864" anchor="ctr" anchorCtr="1" horzOverflow="overflow">
                    <a:lnL w="762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50644" marR="50644" marT="54864" marB="54864"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50644" marR="50644" marT="54864" marB="54864"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50644" marR="50644" marT="54864" marB="54864"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50644" marR="50644" marT="54864" marB="54864"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8C8C8C"/>
                    </a:solidFill>
                  </a:tcPr>
                </a:tc>
                <a:tc gridSpan="2">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50644" marR="50644" marT="54864" marB="54864"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8C8C8C"/>
                    </a:solidFill>
                  </a:tcPr>
                </a:tc>
                <a:tc hMerge="1">
                  <a:txBody>
                    <a:bodyPr/>
                    <a:lstStyle/>
                    <a:p>
                      <a:endParaRPr lang="nl-NL"/>
                    </a:p>
                  </a:txBody>
                  <a:tcPr/>
                </a:tc>
                <a:extLst>
                  <a:ext uri="{0D108BD9-81ED-4DB2-BD59-A6C34878D82A}">
                    <a16:rowId xmlns:a16="http://schemas.microsoft.com/office/drawing/2014/main" val="10000"/>
                  </a:ext>
                </a:extLst>
              </a:tr>
              <a:tr h="485775">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Row description</a:t>
                      </a:r>
                    </a:p>
                  </a:txBody>
                  <a:tcPr marL="50644" marR="50644" marT="96012" marB="96012"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w="762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no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no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no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no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cap="flat">
                      <a:noFill/>
                    </a:lnR>
                    <a:lnT w="12700" cap="flat" cmpd="sng" algn="ctr">
                      <a:no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cap="flat">
                      <a:noFill/>
                    </a:lnR>
                    <a:lnT w="12700" cap="flat" cmpd="sng" algn="ctr">
                      <a:no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84585">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Row description</a:t>
                      </a:r>
                    </a:p>
                  </a:txBody>
                  <a:tcPr marL="50644" marR="50644" marT="96012" marB="96012"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w="76200" cap="flat" cmpd="sng" algn="ctr">
                      <a:noFill/>
                      <a:prstDash val="solid"/>
                      <a:round/>
                      <a:headEnd type="none" w="med" len="med"/>
                      <a:tailEnd type="none" w="med" len="med"/>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gridSpan="2">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cap="flat">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2"/>
                  </a:ext>
                </a:extLst>
              </a:tr>
              <a:tr h="486966">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Row description</a:t>
                      </a:r>
                    </a:p>
                  </a:txBody>
                  <a:tcPr marL="50644" marR="50644" marT="96012" marB="96012"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w="76200" cap="flat" cmpd="sng" algn="ctr">
                      <a:noFill/>
                      <a:prstDash val="solid"/>
                      <a:round/>
                      <a:headEnd type="none" w="med" len="med"/>
                      <a:tailEnd type="none" w="med" len="med"/>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gridSpan="2">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cap="flat">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3"/>
                  </a:ext>
                </a:extLst>
              </a:tr>
              <a:tr h="484585">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Row description</a:t>
                      </a:r>
                    </a:p>
                  </a:txBody>
                  <a:tcPr marL="50644" marR="50644" marT="96012" marB="96012"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w="76200" cap="flat" cmpd="sng" algn="ctr">
                      <a:noFill/>
                      <a:prstDash val="solid"/>
                      <a:round/>
                      <a:headEnd type="none" w="med" len="med"/>
                      <a:tailEnd type="none" w="med" len="med"/>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gridSpan="2">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cap="flat">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4"/>
                  </a:ext>
                </a:extLst>
              </a:tr>
              <a:tr h="486966">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Row description</a:t>
                      </a:r>
                    </a:p>
                  </a:txBody>
                  <a:tcPr marL="50644" marR="50644" marT="96012" marB="96012" anchor="ctr" horzOverflow="overflow">
                    <a:lnL cap="flat">
                      <a:noFill/>
                    </a:lnL>
                    <a:lnR w="76200" cap="flat" cmpd="sng" algn="ctr">
                      <a:noFill/>
                      <a:prstDash val="solid"/>
                      <a:round/>
                      <a:headEnd type="none" w="med" len="med"/>
                      <a:tailEnd type="none" w="med" len="med"/>
                    </a:lnR>
                    <a:lnT>
                      <a:noFill/>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w="76200" cap="flat" cmpd="sng" algn="ctr">
                      <a:noFill/>
                      <a:prstDash val="solid"/>
                      <a:round/>
                      <a:headEnd type="none" w="med" len="med"/>
                      <a:tailEnd type="none" w="med" len="med"/>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gridSpan="2">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cap="flat">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5"/>
                  </a:ext>
                </a:extLst>
              </a:tr>
            </a:tbl>
          </a:graphicData>
        </a:graphic>
      </p:graphicFrame>
      <p:sp>
        <p:nvSpPr>
          <p:cNvPr id="275516" name="Title 1"/>
          <p:cNvSpPr>
            <a:spLocks noGrp="1"/>
          </p:cNvSpPr>
          <p:nvPr>
            <p:ph type="title"/>
            <p:custDataLst>
              <p:tags r:id="rId2"/>
            </p:custDataLst>
          </p:nvPr>
        </p:nvSpPr>
        <p:spPr/>
        <p:txBody>
          <a:bodyPr/>
          <a:lstStyle/>
          <a:p>
            <a:r>
              <a:rPr lang="en-US" altLang="ja-JP" dirty="0"/>
              <a:t>Table with moons</a:t>
            </a:r>
            <a:endParaRPr lang="en-US" dirty="0"/>
          </a:p>
        </p:txBody>
      </p:sp>
      <p:sp>
        <p:nvSpPr>
          <p:cNvPr id="4" name="Rectangle 7"/>
          <p:cNvSpPr>
            <a:spLocks noChangeArrowheads="1"/>
          </p:cNvSpPr>
          <p:nvPr>
            <p:custDataLst>
              <p:tags r:id="rId3"/>
            </p:custDataLst>
          </p:nvPr>
        </p:nvSpPr>
        <p:spPr bwMode="auto">
          <a:xfrm>
            <a:off x="4706541" y="0"/>
            <a:ext cx="3294460" cy="484748"/>
          </a:xfrm>
          <a:prstGeom prst="rect">
            <a:avLst/>
          </a:prstGeom>
          <a:solidFill>
            <a:schemeClr val="accent6"/>
          </a:solidFill>
          <a:ln w="6350" algn="ctr">
            <a:solidFill>
              <a:schemeClr val="bg1"/>
            </a:solidFill>
            <a:miter lim="800000"/>
            <a:headEnd/>
            <a:tailEnd/>
          </a:ln>
        </p:spPr>
        <p:txBody>
          <a:bodyPr tIns="68580" bIns="68580">
            <a:spAutoFit/>
          </a:bodyPr>
          <a:lstStyle/>
          <a:p>
            <a:pPr defTabSz="685800">
              <a:buClrTx/>
              <a:defRPr/>
            </a:pPr>
            <a:r>
              <a:rPr lang="en-US" altLang="ja-JP" sz="750" kern="1200">
                <a:solidFill>
                  <a:srgbClr val="313131"/>
                </a:solidFill>
                <a:ea typeface="ＭＳ Ｐゴシック" pitchFamily="50" charset="-128"/>
                <a:cs typeface="+mn-cs"/>
              </a:rPr>
              <a:t>Tip! This is a table. Add or remove rows and columns as appropriate. Use Distribute Columns Evenly and Distribute Rows Evenly in Layout ribbon to keep equal column and row widths</a:t>
            </a:r>
            <a:endParaRPr lang="en-US" sz="750" kern="1200" dirty="0">
              <a:solidFill>
                <a:srgbClr val="313131"/>
              </a:solidFill>
              <a:ea typeface="ＭＳ Ｐゴシック" pitchFamily="50" charset="-128"/>
              <a:cs typeface="+mn-cs"/>
            </a:endParaRPr>
          </a:p>
        </p:txBody>
      </p:sp>
      <p:graphicFrame>
        <p:nvGraphicFramePr>
          <p:cNvPr id="275458" name="Rectangle 2" hidden="1"/>
          <p:cNvGraphicFramePr>
            <a:graphicFrameLocks/>
          </p:cNvGraphicFramePr>
          <p:nvPr>
            <p:custDataLst>
              <p:tags r:id="rId4"/>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275458"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2" name="Text Placeholder 12"/>
          <p:cNvSpPr>
            <a:spLocks/>
          </p:cNvSpPr>
          <p:nvPr>
            <p:custDataLst>
              <p:tags r:id="rId5"/>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
        <p:nvSpPr>
          <p:cNvPr id="104" name="Oval 19"/>
          <p:cNvSpPr>
            <a:spLocks noChangeArrowheads="1"/>
          </p:cNvSpPr>
          <p:nvPr/>
        </p:nvSpPr>
        <p:spPr bwMode="auto">
          <a:xfrm>
            <a:off x="7164322" y="1944638"/>
            <a:ext cx="216000" cy="216000"/>
          </a:xfrm>
          <a:prstGeom prst="ellipse">
            <a:avLst/>
          </a:prstGeom>
          <a:solidFill>
            <a:srgbClr val="00A1DE"/>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121" name="Oval 20"/>
          <p:cNvSpPr>
            <a:spLocks noChangeArrowheads="1"/>
          </p:cNvSpPr>
          <p:nvPr/>
        </p:nvSpPr>
        <p:spPr bwMode="auto">
          <a:xfrm>
            <a:off x="7164322" y="3867191"/>
            <a:ext cx="216000" cy="216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nvGrpSpPr>
          <p:cNvPr id="124" name="Group 123"/>
          <p:cNvGrpSpPr/>
          <p:nvPr/>
        </p:nvGrpSpPr>
        <p:grpSpPr>
          <a:xfrm>
            <a:off x="7164322" y="2905472"/>
            <a:ext cx="216000" cy="216000"/>
            <a:chOff x="7858741" y="3820267"/>
            <a:chExt cx="288000" cy="288000"/>
          </a:xfrm>
        </p:grpSpPr>
        <p:sp>
          <p:nvSpPr>
            <p:cNvPr id="127" name="Oval 22"/>
            <p:cNvSpPr>
              <a:spLocks noChangeArrowheads="1"/>
            </p:cNvSpPr>
            <p:nvPr/>
          </p:nvSpPr>
          <p:spPr bwMode="auto">
            <a:xfrm flipH="1">
              <a:off x="7858741" y="382026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131"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134" name="Group 133"/>
          <p:cNvGrpSpPr/>
          <p:nvPr/>
        </p:nvGrpSpPr>
        <p:grpSpPr>
          <a:xfrm>
            <a:off x="7164322" y="2418506"/>
            <a:ext cx="216000" cy="216000"/>
            <a:chOff x="7858741" y="3007459"/>
            <a:chExt cx="288000" cy="288000"/>
          </a:xfrm>
        </p:grpSpPr>
        <p:sp>
          <p:nvSpPr>
            <p:cNvPr id="137" name="Oval 25"/>
            <p:cNvSpPr>
              <a:spLocks noChangeArrowheads="1"/>
            </p:cNvSpPr>
            <p:nvPr/>
          </p:nvSpPr>
          <p:spPr bwMode="auto">
            <a:xfrm flipH="1">
              <a:off x="7858741" y="3007459"/>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141"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144" name="Group 143"/>
          <p:cNvGrpSpPr/>
          <p:nvPr/>
        </p:nvGrpSpPr>
        <p:grpSpPr>
          <a:xfrm>
            <a:off x="7164322" y="3374438"/>
            <a:ext cx="216000" cy="216000"/>
            <a:chOff x="7858741" y="4628297"/>
            <a:chExt cx="288000" cy="288000"/>
          </a:xfrm>
        </p:grpSpPr>
        <p:sp>
          <p:nvSpPr>
            <p:cNvPr id="147" name="Oval 28"/>
            <p:cNvSpPr>
              <a:spLocks noChangeArrowheads="1"/>
            </p:cNvSpPr>
            <p:nvPr/>
          </p:nvSpPr>
          <p:spPr bwMode="auto">
            <a:xfrm flipH="1">
              <a:off x="7858741" y="462829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151"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sp>
        <p:nvSpPr>
          <p:cNvPr id="154" name="Oval 153"/>
          <p:cNvSpPr>
            <a:spLocks noChangeArrowheads="1"/>
          </p:cNvSpPr>
          <p:nvPr/>
        </p:nvSpPr>
        <p:spPr bwMode="auto">
          <a:xfrm>
            <a:off x="5477957" y="1944638"/>
            <a:ext cx="216000" cy="216000"/>
          </a:xfrm>
          <a:prstGeom prst="ellipse">
            <a:avLst/>
          </a:prstGeom>
          <a:solidFill>
            <a:srgbClr val="00A1DE"/>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157" name="Oval 156"/>
          <p:cNvSpPr>
            <a:spLocks noChangeArrowheads="1"/>
          </p:cNvSpPr>
          <p:nvPr/>
        </p:nvSpPr>
        <p:spPr bwMode="auto">
          <a:xfrm>
            <a:off x="5477957" y="3867191"/>
            <a:ext cx="216000" cy="216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nvGrpSpPr>
          <p:cNvPr id="161" name="Group 160"/>
          <p:cNvGrpSpPr/>
          <p:nvPr/>
        </p:nvGrpSpPr>
        <p:grpSpPr>
          <a:xfrm>
            <a:off x="5477957" y="2905472"/>
            <a:ext cx="216000" cy="216000"/>
            <a:chOff x="6960216" y="3820267"/>
            <a:chExt cx="288000" cy="288000"/>
          </a:xfrm>
        </p:grpSpPr>
        <p:sp>
          <p:nvSpPr>
            <p:cNvPr id="164" name="Oval 163"/>
            <p:cNvSpPr>
              <a:spLocks noChangeArrowheads="1"/>
            </p:cNvSpPr>
            <p:nvPr/>
          </p:nvSpPr>
          <p:spPr bwMode="auto">
            <a:xfrm flipH="1">
              <a:off x="6960216" y="382026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167" name="Arc 40"/>
            <p:cNvSpPr>
              <a:spLocks/>
            </p:cNvSpPr>
            <p:nvPr/>
          </p:nvSpPr>
          <p:spPr bwMode="auto">
            <a:xfrm flipH="1">
              <a:off x="7104216"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170" name="Group 169"/>
          <p:cNvGrpSpPr/>
          <p:nvPr/>
        </p:nvGrpSpPr>
        <p:grpSpPr>
          <a:xfrm>
            <a:off x="5477957" y="2418506"/>
            <a:ext cx="216000" cy="216000"/>
            <a:chOff x="6960216" y="3007459"/>
            <a:chExt cx="288000" cy="288000"/>
          </a:xfrm>
        </p:grpSpPr>
        <p:sp>
          <p:nvSpPr>
            <p:cNvPr id="172" name="Oval 171"/>
            <p:cNvSpPr>
              <a:spLocks noChangeArrowheads="1"/>
            </p:cNvSpPr>
            <p:nvPr/>
          </p:nvSpPr>
          <p:spPr bwMode="auto">
            <a:xfrm flipH="1">
              <a:off x="6960216" y="3007459"/>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174" name="Arc 43"/>
            <p:cNvSpPr>
              <a:spLocks/>
            </p:cNvSpPr>
            <p:nvPr/>
          </p:nvSpPr>
          <p:spPr bwMode="auto">
            <a:xfrm flipH="1">
              <a:off x="6960216"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176" name="Group 175"/>
          <p:cNvGrpSpPr/>
          <p:nvPr/>
        </p:nvGrpSpPr>
        <p:grpSpPr>
          <a:xfrm>
            <a:off x="5477957" y="3374438"/>
            <a:ext cx="216000" cy="216000"/>
            <a:chOff x="6960216" y="4628297"/>
            <a:chExt cx="288000" cy="288000"/>
          </a:xfrm>
        </p:grpSpPr>
        <p:sp>
          <p:nvSpPr>
            <p:cNvPr id="177" name="Oval 176"/>
            <p:cNvSpPr>
              <a:spLocks noChangeArrowheads="1"/>
            </p:cNvSpPr>
            <p:nvPr/>
          </p:nvSpPr>
          <p:spPr bwMode="auto">
            <a:xfrm flipH="1">
              <a:off x="6960216" y="462829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178" name="Arc 46"/>
            <p:cNvSpPr>
              <a:spLocks/>
            </p:cNvSpPr>
            <p:nvPr/>
          </p:nvSpPr>
          <p:spPr bwMode="auto">
            <a:xfrm flipH="1">
              <a:off x="7104216"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sp>
        <p:nvSpPr>
          <p:cNvPr id="179" name="Oval 178"/>
          <p:cNvSpPr>
            <a:spLocks noChangeArrowheads="1"/>
          </p:cNvSpPr>
          <p:nvPr/>
        </p:nvSpPr>
        <p:spPr bwMode="auto">
          <a:xfrm>
            <a:off x="4634775" y="1944638"/>
            <a:ext cx="216000" cy="216000"/>
          </a:xfrm>
          <a:prstGeom prst="ellipse">
            <a:avLst/>
          </a:prstGeom>
          <a:solidFill>
            <a:srgbClr val="00A1DE"/>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180" name="Oval 179"/>
          <p:cNvSpPr>
            <a:spLocks noChangeArrowheads="1"/>
          </p:cNvSpPr>
          <p:nvPr/>
        </p:nvSpPr>
        <p:spPr bwMode="auto">
          <a:xfrm>
            <a:off x="4634775" y="3867191"/>
            <a:ext cx="216000" cy="216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nvGrpSpPr>
          <p:cNvPr id="181" name="Group 180"/>
          <p:cNvGrpSpPr/>
          <p:nvPr/>
        </p:nvGrpSpPr>
        <p:grpSpPr>
          <a:xfrm>
            <a:off x="4634775" y="2905472"/>
            <a:ext cx="216000" cy="216000"/>
            <a:chOff x="6063278" y="3820267"/>
            <a:chExt cx="288000" cy="288000"/>
          </a:xfrm>
        </p:grpSpPr>
        <p:sp>
          <p:nvSpPr>
            <p:cNvPr id="182" name="Oval 181"/>
            <p:cNvSpPr>
              <a:spLocks noChangeArrowheads="1"/>
            </p:cNvSpPr>
            <p:nvPr/>
          </p:nvSpPr>
          <p:spPr bwMode="auto">
            <a:xfrm flipH="1">
              <a:off x="6063278" y="382026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183" name="Arc 51"/>
            <p:cNvSpPr>
              <a:spLocks/>
            </p:cNvSpPr>
            <p:nvPr/>
          </p:nvSpPr>
          <p:spPr bwMode="auto">
            <a:xfrm flipH="1">
              <a:off x="6207278"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184" name="Group 183"/>
          <p:cNvGrpSpPr/>
          <p:nvPr/>
        </p:nvGrpSpPr>
        <p:grpSpPr>
          <a:xfrm>
            <a:off x="4634775" y="2418506"/>
            <a:ext cx="216000" cy="216000"/>
            <a:chOff x="6063278" y="3007459"/>
            <a:chExt cx="288000" cy="288000"/>
          </a:xfrm>
        </p:grpSpPr>
        <p:sp>
          <p:nvSpPr>
            <p:cNvPr id="185" name="Oval 184"/>
            <p:cNvSpPr>
              <a:spLocks noChangeArrowheads="1"/>
            </p:cNvSpPr>
            <p:nvPr/>
          </p:nvSpPr>
          <p:spPr bwMode="auto">
            <a:xfrm flipH="1">
              <a:off x="6063278" y="3007459"/>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186" name="Arc 54"/>
            <p:cNvSpPr>
              <a:spLocks/>
            </p:cNvSpPr>
            <p:nvPr/>
          </p:nvSpPr>
          <p:spPr bwMode="auto">
            <a:xfrm flipH="1">
              <a:off x="6063278"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187" name="Group 186"/>
          <p:cNvGrpSpPr/>
          <p:nvPr/>
        </p:nvGrpSpPr>
        <p:grpSpPr>
          <a:xfrm>
            <a:off x="4634775" y="3374438"/>
            <a:ext cx="216000" cy="216000"/>
            <a:chOff x="6063278" y="4628297"/>
            <a:chExt cx="288000" cy="288000"/>
          </a:xfrm>
        </p:grpSpPr>
        <p:sp>
          <p:nvSpPr>
            <p:cNvPr id="188" name="Oval 187"/>
            <p:cNvSpPr>
              <a:spLocks noChangeArrowheads="1"/>
            </p:cNvSpPr>
            <p:nvPr/>
          </p:nvSpPr>
          <p:spPr bwMode="auto">
            <a:xfrm flipH="1">
              <a:off x="6063278" y="462829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189" name="Arc 57"/>
            <p:cNvSpPr>
              <a:spLocks/>
            </p:cNvSpPr>
            <p:nvPr/>
          </p:nvSpPr>
          <p:spPr bwMode="auto">
            <a:xfrm flipH="1">
              <a:off x="6207278"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sp>
        <p:nvSpPr>
          <p:cNvPr id="190" name="Oval 189"/>
          <p:cNvSpPr>
            <a:spLocks noChangeArrowheads="1"/>
          </p:cNvSpPr>
          <p:nvPr/>
        </p:nvSpPr>
        <p:spPr bwMode="auto">
          <a:xfrm>
            <a:off x="3791593" y="1944638"/>
            <a:ext cx="216000" cy="216000"/>
          </a:xfrm>
          <a:prstGeom prst="ellipse">
            <a:avLst/>
          </a:prstGeom>
          <a:solidFill>
            <a:srgbClr val="00A1DE"/>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191" name="Oval 190"/>
          <p:cNvSpPr>
            <a:spLocks noChangeArrowheads="1"/>
          </p:cNvSpPr>
          <p:nvPr/>
        </p:nvSpPr>
        <p:spPr bwMode="auto">
          <a:xfrm>
            <a:off x="3791593" y="3867191"/>
            <a:ext cx="216000" cy="216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nvGrpSpPr>
          <p:cNvPr id="192" name="Group 191"/>
          <p:cNvGrpSpPr/>
          <p:nvPr/>
        </p:nvGrpSpPr>
        <p:grpSpPr>
          <a:xfrm>
            <a:off x="3791593" y="2905472"/>
            <a:ext cx="216000" cy="216000"/>
            <a:chOff x="5164693" y="3820267"/>
            <a:chExt cx="288000" cy="288000"/>
          </a:xfrm>
        </p:grpSpPr>
        <p:sp>
          <p:nvSpPr>
            <p:cNvPr id="193" name="Oval 192"/>
            <p:cNvSpPr>
              <a:spLocks noChangeArrowheads="1"/>
            </p:cNvSpPr>
            <p:nvPr/>
          </p:nvSpPr>
          <p:spPr bwMode="auto">
            <a:xfrm flipH="1">
              <a:off x="5164693" y="382026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194" name="Arc 62"/>
            <p:cNvSpPr>
              <a:spLocks/>
            </p:cNvSpPr>
            <p:nvPr/>
          </p:nvSpPr>
          <p:spPr bwMode="auto">
            <a:xfrm flipH="1">
              <a:off x="5308693"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195" name="Group 194"/>
          <p:cNvGrpSpPr/>
          <p:nvPr/>
        </p:nvGrpSpPr>
        <p:grpSpPr>
          <a:xfrm>
            <a:off x="3791593" y="2418506"/>
            <a:ext cx="216000" cy="216000"/>
            <a:chOff x="5164693" y="3007459"/>
            <a:chExt cx="288000" cy="288000"/>
          </a:xfrm>
        </p:grpSpPr>
        <p:sp>
          <p:nvSpPr>
            <p:cNvPr id="196" name="Oval 195"/>
            <p:cNvSpPr>
              <a:spLocks noChangeArrowheads="1"/>
            </p:cNvSpPr>
            <p:nvPr/>
          </p:nvSpPr>
          <p:spPr bwMode="auto">
            <a:xfrm flipH="1">
              <a:off x="5164693" y="3007459"/>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197" name="Arc 65"/>
            <p:cNvSpPr>
              <a:spLocks/>
            </p:cNvSpPr>
            <p:nvPr/>
          </p:nvSpPr>
          <p:spPr bwMode="auto">
            <a:xfrm flipH="1">
              <a:off x="5164693"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198" name="Group 197"/>
          <p:cNvGrpSpPr/>
          <p:nvPr/>
        </p:nvGrpSpPr>
        <p:grpSpPr>
          <a:xfrm>
            <a:off x="3791593" y="3374438"/>
            <a:ext cx="216000" cy="216000"/>
            <a:chOff x="5164693" y="4628297"/>
            <a:chExt cx="288000" cy="288000"/>
          </a:xfrm>
        </p:grpSpPr>
        <p:sp>
          <p:nvSpPr>
            <p:cNvPr id="199" name="Oval 198"/>
            <p:cNvSpPr>
              <a:spLocks noChangeArrowheads="1"/>
            </p:cNvSpPr>
            <p:nvPr/>
          </p:nvSpPr>
          <p:spPr bwMode="auto">
            <a:xfrm flipH="1">
              <a:off x="5164693" y="462829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200" name="Arc 68"/>
            <p:cNvSpPr>
              <a:spLocks/>
            </p:cNvSpPr>
            <p:nvPr/>
          </p:nvSpPr>
          <p:spPr bwMode="auto">
            <a:xfrm flipH="1">
              <a:off x="5308693"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sp>
        <p:nvSpPr>
          <p:cNvPr id="201" name="Oval 200"/>
          <p:cNvSpPr>
            <a:spLocks noChangeArrowheads="1"/>
          </p:cNvSpPr>
          <p:nvPr/>
        </p:nvSpPr>
        <p:spPr bwMode="auto">
          <a:xfrm>
            <a:off x="2948411" y="1944638"/>
            <a:ext cx="216000" cy="216000"/>
          </a:xfrm>
          <a:prstGeom prst="ellipse">
            <a:avLst/>
          </a:prstGeom>
          <a:solidFill>
            <a:srgbClr val="00A1DE"/>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202" name="Oval 201"/>
          <p:cNvSpPr>
            <a:spLocks noChangeArrowheads="1"/>
          </p:cNvSpPr>
          <p:nvPr/>
        </p:nvSpPr>
        <p:spPr bwMode="auto">
          <a:xfrm>
            <a:off x="2948411" y="3867191"/>
            <a:ext cx="216000" cy="216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nvGrpSpPr>
          <p:cNvPr id="203" name="Group 202"/>
          <p:cNvGrpSpPr/>
          <p:nvPr/>
        </p:nvGrpSpPr>
        <p:grpSpPr>
          <a:xfrm>
            <a:off x="2948411" y="2905472"/>
            <a:ext cx="216000" cy="216000"/>
            <a:chOff x="4266228" y="3820267"/>
            <a:chExt cx="288000" cy="288000"/>
          </a:xfrm>
        </p:grpSpPr>
        <p:sp>
          <p:nvSpPr>
            <p:cNvPr id="204" name="Oval 203"/>
            <p:cNvSpPr>
              <a:spLocks noChangeArrowheads="1"/>
            </p:cNvSpPr>
            <p:nvPr/>
          </p:nvSpPr>
          <p:spPr bwMode="auto">
            <a:xfrm flipH="1">
              <a:off x="4266228" y="382026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205" name="Arc 73"/>
            <p:cNvSpPr>
              <a:spLocks/>
            </p:cNvSpPr>
            <p:nvPr/>
          </p:nvSpPr>
          <p:spPr bwMode="auto">
            <a:xfrm flipH="1">
              <a:off x="4410228"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206" name="Group 205"/>
          <p:cNvGrpSpPr/>
          <p:nvPr/>
        </p:nvGrpSpPr>
        <p:grpSpPr>
          <a:xfrm>
            <a:off x="2948411" y="2418506"/>
            <a:ext cx="216000" cy="216000"/>
            <a:chOff x="4266228" y="3007459"/>
            <a:chExt cx="288000" cy="288000"/>
          </a:xfrm>
        </p:grpSpPr>
        <p:sp>
          <p:nvSpPr>
            <p:cNvPr id="207" name="Oval 206"/>
            <p:cNvSpPr>
              <a:spLocks noChangeArrowheads="1"/>
            </p:cNvSpPr>
            <p:nvPr/>
          </p:nvSpPr>
          <p:spPr bwMode="auto">
            <a:xfrm flipH="1">
              <a:off x="4266228" y="3007459"/>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208" name="Arc 76"/>
            <p:cNvSpPr>
              <a:spLocks/>
            </p:cNvSpPr>
            <p:nvPr/>
          </p:nvSpPr>
          <p:spPr bwMode="auto">
            <a:xfrm flipH="1">
              <a:off x="4266228"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209" name="Group 208"/>
          <p:cNvGrpSpPr/>
          <p:nvPr/>
        </p:nvGrpSpPr>
        <p:grpSpPr>
          <a:xfrm>
            <a:off x="2948411" y="3374438"/>
            <a:ext cx="216000" cy="216000"/>
            <a:chOff x="4266228" y="4628297"/>
            <a:chExt cx="288000" cy="288000"/>
          </a:xfrm>
        </p:grpSpPr>
        <p:sp>
          <p:nvSpPr>
            <p:cNvPr id="210" name="Oval 209"/>
            <p:cNvSpPr>
              <a:spLocks noChangeArrowheads="1"/>
            </p:cNvSpPr>
            <p:nvPr/>
          </p:nvSpPr>
          <p:spPr bwMode="auto">
            <a:xfrm flipH="1">
              <a:off x="4266228" y="462829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211" name="Arc 79"/>
            <p:cNvSpPr>
              <a:spLocks/>
            </p:cNvSpPr>
            <p:nvPr/>
          </p:nvSpPr>
          <p:spPr bwMode="auto">
            <a:xfrm flipH="1">
              <a:off x="4410228"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sp>
        <p:nvSpPr>
          <p:cNvPr id="212" name="Oval 19"/>
          <p:cNvSpPr>
            <a:spLocks noChangeArrowheads="1"/>
          </p:cNvSpPr>
          <p:nvPr/>
        </p:nvSpPr>
        <p:spPr bwMode="auto">
          <a:xfrm>
            <a:off x="6321140" y="1944638"/>
            <a:ext cx="216000" cy="216000"/>
          </a:xfrm>
          <a:prstGeom prst="ellipse">
            <a:avLst/>
          </a:prstGeom>
          <a:solidFill>
            <a:srgbClr val="00A1DE"/>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213" name="Oval 20"/>
          <p:cNvSpPr>
            <a:spLocks noChangeArrowheads="1"/>
          </p:cNvSpPr>
          <p:nvPr/>
        </p:nvSpPr>
        <p:spPr bwMode="auto">
          <a:xfrm>
            <a:off x="6321140" y="3867191"/>
            <a:ext cx="216000" cy="216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nvGrpSpPr>
          <p:cNvPr id="214" name="Group 213"/>
          <p:cNvGrpSpPr/>
          <p:nvPr/>
        </p:nvGrpSpPr>
        <p:grpSpPr>
          <a:xfrm>
            <a:off x="6321140" y="2905472"/>
            <a:ext cx="216000" cy="216000"/>
            <a:chOff x="7858741" y="3820267"/>
            <a:chExt cx="288000" cy="288000"/>
          </a:xfrm>
        </p:grpSpPr>
        <p:sp>
          <p:nvSpPr>
            <p:cNvPr id="215" name="Oval 22"/>
            <p:cNvSpPr>
              <a:spLocks noChangeArrowheads="1"/>
            </p:cNvSpPr>
            <p:nvPr/>
          </p:nvSpPr>
          <p:spPr bwMode="auto">
            <a:xfrm flipH="1">
              <a:off x="7858741" y="382026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216"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217" name="Group 216"/>
          <p:cNvGrpSpPr/>
          <p:nvPr/>
        </p:nvGrpSpPr>
        <p:grpSpPr>
          <a:xfrm>
            <a:off x="6321140" y="2418506"/>
            <a:ext cx="216000" cy="216000"/>
            <a:chOff x="7858741" y="3007459"/>
            <a:chExt cx="288000" cy="288000"/>
          </a:xfrm>
        </p:grpSpPr>
        <p:sp>
          <p:nvSpPr>
            <p:cNvPr id="218" name="Oval 25"/>
            <p:cNvSpPr>
              <a:spLocks noChangeArrowheads="1"/>
            </p:cNvSpPr>
            <p:nvPr/>
          </p:nvSpPr>
          <p:spPr bwMode="auto">
            <a:xfrm flipH="1">
              <a:off x="7858741" y="3007459"/>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219"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220" name="Group 219"/>
          <p:cNvGrpSpPr/>
          <p:nvPr/>
        </p:nvGrpSpPr>
        <p:grpSpPr>
          <a:xfrm>
            <a:off x="6321140" y="3374438"/>
            <a:ext cx="216000" cy="216000"/>
            <a:chOff x="7858741" y="4628297"/>
            <a:chExt cx="288000" cy="288000"/>
          </a:xfrm>
        </p:grpSpPr>
        <p:sp>
          <p:nvSpPr>
            <p:cNvPr id="221" name="Oval 28"/>
            <p:cNvSpPr>
              <a:spLocks noChangeArrowheads="1"/>
            </p:cNvSpPr>
            <p:nvPr/>
          </p:nvSpPr>
          <p:spPr bwMode="auto">
            <a:xfrm flipH="1">
              <a:off x="7858741" y="462829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222"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sp>
        <p:nvSpPr>
          <p:cNvPr id="275551" name="Text Box 32"/>
          <p:cNvSpPr txBox="1">
            <a:spLocks noChangeArrowheads="1"/>
          </p:cNvSpPr>
          <p:nvPr/>
        </p:nvSpPr>
        <p:spPr bwMode="auto">
          <a:xfrm>
            <a:off x="6592240" y="4538400"/>
            <a:ext cx="320626" cy="169944"/>
          </a:xfrm>
          <a:prstGeom prst="rect">
            <a:avLst/>
          </a:prstGeom>
          <a:noFill/>
          <a:ln w="9525">
            <a:noFill/>
            <a:miter lim="800000"/>
            <a:headEnd type="none" w="sm" len="sm"/>
            <a:tailEnd type="none" w="sm" len="sm"/>
          </a:ln>
        </p:spPr>
        <p:txBody>
          <a:bodyPr wrap="none" lIns="27000" tIns="27000" rIns="27000" bIns="27000">
            <a:spAutoFit/>
          </a:bodyPr>
          <a:lstStyle/>
          <a:p>
            <a:pPr defTabSz="685800">
              <a:buClrTx/>
            </a:pPr>
            <a:r>
              <a:rPr lang="en-US" altLang="ja-JP" sz="750" kern="1200" dirty="0">
                <a:solidFill>
                  <a:srgbClr val="313131"/>
                </a:solidFill>
                <a:ea typeface="ＭＳ Ｐゴシック" charset="-128"/>
                <a:cs typeface="+mn-cs"/>
              </a:rPr>
              <a:t>strong</a:t>
            </a:r>
          </a:p>
        </p:txBody>
      </p:sp>
      <p:sp>
        <p:nvSpPr>
          <p:cNvPr id="275553" name="Text Box 34"/>
          <p:cNvSpPr txBox="1">
            <a:spLocks noChangeArrowheads="1"/>
          </p:cNvSpPr>
          <p:nvPr/>
        </p:nvSpPr>
        <p:spPr bwMode="auto">
          <a:xfrm>
            <a:off x="7336267" y="4538400"/>
            <a:ext cx="277345" cy="169944"/>
          </a:xfrm>
          <a:prstGeom prst="rect">
            <a:avLst/>
          </a:prstGeom>
          <a:noFill/>
          <a:ln w="9525">
            <a:noFill/>
            <a:miter lim="800000"/>
            <a:headEnd type="none" w="sm" len="sm"/>
            <a:tailEnd type="none" w="sm" len="sm"/>
          </a:ln>
        </p:spPr>
        <p:txBody>
          <a:bodyPr wrap="none" lIns="27000" tIns="27000" rIns="27000" bIns="27000">
            <a:spAutoFit/>
          </a:bodyPr>
          <a:lstStyle/>
          <a:p>
            <a:pPr defTabSz="685800">
              <a:buClrTx/>
            </a:pPr>
            <a:r>
              <a:rPr lang="en-US" altLang="ja-JP" sz="750" kern="1200" dirty="0">
                <a:solidFill>
                  <a:srgbClr val="313131"/>
                </a:solidFill>
                <a:ea typeface="ＭＳ Ｐゴシック" charset="-128"/>
                <a:cs typeface="+mn-cs"/>
              </a:rPr>
              <a:t>weak</a:t>
            </a:r>
          </a:p>
        </p:txBody>
      </p:sp>
      <p:sp>
        <p:nvSpPr>
          <p:cNvPr id="223" name="Oval 222"/>
          <p:cNvSpPr>
            <a:spLocks noChangeArrowheads="1"/>
          </p:cNvSpPr>
          <p:nvPr/>
        </p:nvSpPr>
        <p:spPr bwMode="auto">
          <a:xfrm>
            <a:off x="6349392" y="4515371"/>
            <a:ext cx="216000" cy="216000"/>
          </a:xfrm>
          <a:prstGeom prst="ellipse">
            <a:avLst/>
          </a:prstGeom>
          <a:solidFill>
            <a:srgbClr val="00A1DE"/>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224" name="Oval 223"/>
          <p:cNvSpPr>
            <a:spLocks noChangeArrowheads="1"/>
          </p:cNvSpPr>
          <p:nvPr/>
        </p:nvSpPr>
        <p:spPr bwMode="auto">
          <a:xfrm>
            <a:off x="7110317" y="4515371"/>
            <a:ext cx="216000" cy="216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Tree>
  </p:cSld>
  <p:clrMapOvr>
    <a:masterClrMapping/>
  </p:clrMapOvr>
  <p:transition>
    <p:fade/>
  </p:transition>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 name="Oval 19"/>
          <p:cNvSpPr>
            <a:spLocks noChangeArrowheads="1"/>
          </p:cNvSpPr>
          <p:nvPr/>
        </p:nvSpPr>
        <p:spPr bwMode="auto">
          <a:xfrm>
            <a:off x="6617494" y="4264322"/>
            <a:ext cx="216000" cy="216000"/>
          </a:xfrm>
          <a:prstGeom prst="ellipse">
            <a:avLst/>
          </a:prstGeom>
          <a:solidFill>
            <a:srgbClr val="575757"/>
          </a:solidFill>
          <a:ln w="12700">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266" name="Oval 20"/>
          <p:cNvSpPr>
            <a:spLocks noChangeArrowheads="1"/>
          </p:cNvSpPr>
          <p:nvPr/>
        </p:nvSpPr>
        <p:spPr bwMode="auto">
          <a:xfrm>
            <a:off x="6617494" y="2901056"/>
            <a:ext cx="216000" cy="216000"/>
          </a:xfrm>
          <a:prstGeom prst="ellipse">
            <a:avLst/>
          </a:prstGeom>
          <a:solidFill>
            <a:schemeClr val="bg1"/>
          </a:solidFill>
          <a:ln w="12700">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nvGrpSpPr>
          <p:cNvPr id="267" name="Group 266"/>
          <p:cNvGrpSpPr/>
          <p:nvPr/>
        </p:nvGrpSpPr>
        <p:grpSpPr>
          <a:xfrm>
            <a:off x="6617494" y="3582094"/>
            <a:ext cx="216000" cy="216000"/>
            <a:chOff x="7858741" y="3820267"/>
            <a:chExt cx="288000" cy="288000"/>
          </a:xfrm>
        </p:grpSpPr>
        <p:sp>
          <p:nvSpPr>
            <p:cNvPr id="268" name="Oval 22"/>
            <p:cNvSpPr>
              <a:spLocks noChangeArrowheads="1"/>
            </p:cNvSpPr>
            <p:nvPr/>
          </p:nvSpPr>
          <p:spPr bwMode="auto">
            <a:xfrm flipH="1">
              <a:off x="7858741" y="3820267"/>
              <a:ext cx="288000" cy="288000"/>
            </a:xfrm>
            <a:prstGeom prst="ellipse">
              <a:avLst/>
            </a:prstGeom>
            <a:solidFill>
              <a:schemeClr val="bg1"/>
            </a:solidFill>
            <a:ln w="12700">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269"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270" name="Group 269"/>
          <p:cNvGrpSpPr/>
          <p:nvPr/>
        </p:nvGrpSpPr>
        <p:grpSpPr>
          <a:xfrm>
            <a:off x="6617494" y="3923804"/>
            <a:ext cx="216000" cy="216000"/>
            <a:chOff x="7858741" y="3007459"/>
            <a:chExt cx="288000" cy="288000"/>
          </a:xfrm>
        </p:grpSpPr>
        <p:sp>
          <p:nvSpPr>
            <p:cNvPr id="271" name="Oval 25"/>
            <p:cNvSpPr>
              <a:spLocks noChangeArrowheads="1"/>
            </p:cNvSpPr>
            <p:nvPr/>
          </p:nvSpPr>
          <p:spPr bwMode="auto">
            <a:xfrm flipH="1">
              <a:off x="7858741" y="3007459"/>
              <a:ext cx="288000" cy="288000"/>
            </a:xfrm>
            <a:prstGeom prst="ellipse">
              <a:avLst/>
            </a:prstGeom>
            <a:solidFill>
              <a:schemeClr val="bg1"/>
            </a:solidFill>
            <a:ln w="12700">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272"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273" name="Group 272"/>
          <p:cNvGrpSpPr/>
          <p:nvPr/>
        </p:nvGrpSpPr>
        <p:grpSpPr>
          <a:xfrm>
            <a:off x="6617494" y="3241575"/>
            <a:ext cx="216000" cy="216000"/>
            <a:chOff x="7858741" y="4628297"/>
            <a:chExt cx="288000" cy="288000"/>
          </a:xfrm>
        </p:grpSpPr>
        <p:sp>
          <p:nvSpPr>
            <p:cNvPr id="274" name="Oval 28"/>
            <p:cNvSpPr>
              <a:spLocks noChangeArrowheads="1"/>
            </p:cNvSpPr>
            <p:nvPr/>
          </p:nvSpPr>
          <p:spPr bwMode="auto">
            <a:xfrm flipH="1">
              <a:off x="7858741" y="4628297"/>
              <a:ext cx="288000" cy="288000"/>
            </a:xfrm>
            <a:prstGeom prst="ellipse">
              <a:avLst/>
            </a:prstGeom>
            <a:solidFill>
              <a:schemeClr val="bg1"/>
            </a:solidFill>
            <a:ln w="12700">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275"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sp>
        <p:nvSpPr>
          <p:cNvPr id="254" name="Oval 19"/>
          <p:cNvSpPr>
            <a:spLocks noChangeArrowheads="1"/>
          </p:cNvSpPr>
          <p:nvPr/>
        </p:nvSpPr>
        <p:spPr bwMode="auto">
          <a:xfrm>
            <a:off x="6617494" y="2517329"/>
            <a:ext cx="216000" cy="216000"/>
          </a:xfrm>
          <a:prstGeom prst="ellipse">
            <a:avLst/>
          </a:prstGeom>
          <a:solidFill>
            <a:srgbClr val="00A1DE"/>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255" name="Oval 20"/>
          <p:cNvSpPr>
            <a:spLocks noChangeArrowheads="1"/>
          </p:cNvSpPr>
          <p:nvPr/>
        </p:nvSpPr>
        <p:spPr bwMode="auto">
          <a:xfrm>
            <a:off x="6617494" y="1153467"/>
            <a:ext cx="216000" cy="216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nvGrpSpPr>
          <p:cNvPr id="256" name="Group 255"/>
          <p:cNvGrpSpPr/>
          <p:nvPr/>
        </p:nvGrpSpPr>
        <p:grpSpPr>
          <a:xfrm>
            <a:off x="6617494" y="1835100"/>
            <a:ext cx="216000" cy="216000"/>
            <a:chOff x="7858741" y="3820267"/>
            <a:chExt cx="288000" cy="288000"/>
          </a:xfrm>
        </p:grpSpPr>
        <p:sp>
          <p:nvSpPr>
            <p:cNvPr id="257" name="Oval 22"/>
            <p:cNvSpPr>
              <a:spLocks noChangeArrowheads="1"/>
            </p:cNvSpPr>
            <p:nvPr/>
          </p:nvSpPr>
          <p:spPr bwMode="auto">
            <a:xfrm flipH="1">
              <a:off x="7858741" y="382026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258"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259" name="Group 258"/>
          <p:cNvGrpSpPr/>
          <p:nvPr/>
        </p:nvGrpSpPr>
        <p:grpSpPr>
          <a:xfrm>
            <a:off x="6617494" y="2176214"/>
            <a:ext cx="216000" cy="216000"/>
            <a:chOff x="7858741" y="3007459"/>
            <a:chExt cx="288000" cy="288000"/>
          </a:xfrm>
        </p:grpSpPr>
        <p:sp>
          <p:nvSpPr>
            <p:cNvPr id="260" name="Oval 25"/>
            <p:cNvSpPr>
              <a:spLocks noChangeArrowheads="1"/>
            </p:cNvSpPr>
            <p:nvPr/>
          </p:nvSpPr>
          <p:spPr bwMode="auto">
            <a:xfrm flipH="1">
              <a:off x="7858741" y="3007459"/>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261"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262" name="Group 261"/>
          <p:cNvGrpSpPr/>
          <p:nvPr/>
        </p:nvGrpSpPr>
        <p:grpSpPr>
          <a:xfrm>
            <a:off x="6617494" y="1494581"/>
            <a:ext cx="216000" cy="216000"/>
            <a:chOff x="7858741" y="4628297"/>
            <a:chExt cx="288000" cy="288000"/>
          </a:xfrm>
        </p:grpSpPr>
        <p:sp>
          <p:nvSpPr>
            <p:cNvPr id="263" name="Oval 28"/>
            <p:cNvSpPr>
              <a:spLocks noChangeArrowheads="1"/>
            </p:cNvSpPr>
            <p:nvPr/>
          </p:nvSpPr>
          <p:spPr bwMode="auto">
            <a:xfrm flipH="1">
              <a:off x="7858741" y="462829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264"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sp>
        <p:nvSpPr>
          <p:cNvPr id="794625" name="Title 1"/>
          <p:cNvSpPr>
            <a:spLocks noGrp="1"/>
          </p:cNvSpPr>
          <p:nvPr>
            <p:ph type="title"/>
          </p:nvPr>
        </p:nvSpPr>
        <p:spPr/>
        <p:txBody>
          <a:bodyPr/>
          <a:lstStyle/>
          <a:p>
            <a:r>
              <a:rPr lang="en-US" altLang="ja-JP"/>
              <a:t>More moons (a.k.a. Harvey Balls)</a:t>
            </a:r>
            <a:endParaRPr lang="en-US"/>
          </a:p>
        </p:txBody>
      </p:sp>
      <p:sp>
        <p:nvSpPr>
          <p:cNvPr id="794632" name="Text Box 30"/>
          <p:cNvSpPr txBox="1">
            <a:spLocks noChangeArrowheads="1"/>
          </p:cNvSpPr>
          <p:nvPr/>
        </p:nvSpPr>
        <p:spPr bwMode="auto">
          <a:xfrm>
            <a:off x="2278710" y="2203252"/>
            <a:ext cx="112210" cy="161583"/>
          </a:xfrm>
          <a:prstGeom prst="rect">
            <a:avLst/>
          </a:prstGeom>
          <a:noFill/>
          <a:ln w="9525">
            <a:noFill/>
            <a:miter lim="800000"/>
            <a:headEnd/>
            <a:tailEnd/>
          </a:ln>
        </p:spPr>
        <p:txBody>
          <a:bodyPr wrap="none" lIns="0" tIns="0" rIns="0" bIns="0">
            <a:spAutoFit/>
          </a:bodyPr>
          <a:lstStyle/>
          <a:p>
            <a:pPr algn="ctr" defTabSz="685800">
              <a:buClrTx/>
            </a:pPr>
            <a:r>
              <a:rPr lang="en-US" altLang="ja-JP" sz="1050" kern="1200">
                <a:solidFill>
                  <a:srgbClr val="313131"/>
                </a:solidFill>
                <a:ea typeface="ＭＳ Ｐゴシック" charset="-128"/>
                <a:cs typeface="+mn-cs"/>
              </a:rPr>
              <a:t>¾</a:t>
            </a:r>
          </a:p>
        </p:txBody>
      </p:sp>
      <p:sp>
        <p:nvSpPr>
          <p:cNvPr id="794642" name="Text Box 64"/>
          <p:cNvSpPr txBox="1">
            <a:spLocks noChangeArrowheads="1"/>
          </p:cNvSpPr>
          <p:nvPr/>
        </p:nvSpPr>
        <p:spPr bwMode="auto">
          <a:xfrm>
            <a:off x="2278710" y="1862138"/>
            <a:ext cx="112210" cy="161583"/>
          </a:xfrm>
          <a:prstGeom prst="rect">
            <a:avLst/>
          </a:prstGeom>
          <a:noFill/>
          <a:ln w="9525">
            <a:noFill/>
            <a:miter lim="800000"/>
            <a:headEnd/>
            <a:tailEnd/>
          </a:ln>
        </p:spPr>
        <p:txBody>
          <a:bodyPr wrap="none" lIns="0" tIns="0" rIns="0" bIns="0">
            <a:spAutoFit/>
          </a:bodyPr>
          <a:lstStyle/>
          <a:p>
            <a:pPr algn="ctr" defTabSz="685800">
              <a:buClrTx/>
            </a:pPr>
            <a:r>
              <a:rPr lang="en-US" altLang="ja-JP" sz="1050" kern="1200">
                <a:solidFill>
                  <a:srgbClr val="313131"/>
                </a:solidFill>
                <a:ea typeface="ＭＳ Ｐゴシック" charset="-128"/>
                <a:cs typeface="+mn-cs"/>
              </a:rPr>
              <a:t>½</a:t>
            </a:r>
          </a:p>
        </p:txBody>
      </p:sp>
      <p:sp>
        <p:nvSpPr>
          <p:cNvPr id="794648" name="Text Box 95"/>
          <p:cNvSpPr txBox="1">
            <a:spLocks noChangeArrowheads="1"/>
          </p:cNvSpPr>
          <p:nvPr/>
        </p:nvSpPr>
        <p:spPr bwMode="auto">
          <a:xfrm>
            <a:off x="2278710" y="1521619"/>
            <a:ext cx="112210" cy="161583"/>
          </a:xfrm>
          <a:prstGeom prst="rect">
            <a:avLst/>
          </a:prstGeom>
          <a:noFill/>
          <a:ln w="9525">
            <a:noFill/>
            <a:miter lim="800000"/>
            <a:headEnd/>
            <a:tailEnd/>
          </a:ln>
        </p:spPr>
        <p:txBody>
          <a:bodyPr wrap="none" lIns="0" tIns="0" rIns="0" bIns="0">
            <a:spAutoFit/>
          </a:bodyPr>
          <a:lstStyle/>
          <a:p>
            <a:pPr algn="ctr" defTabSz="685800">
              <a:buClrTx/>
            </a:pPr>
            <a:r>
              <a:rPr lang="en-US" altLang="ja-JP" sz="1050" kern="1200">
                <a:solidFill>
                  <a:srgbClr val="313131"/>
                </a:solidFill>
                <a:ea typeface="ＭＳ Ｐゴシック" charset="-128"/>
                <a:cs typeface="+mn-cs"/>
              </a:rPr>
              <a:t>¼</a:t>
            </a:r>
          </a:p>
        </p:txBody>
      </p:sp>
      <p:sp>
        <p:nvSpPr>
          <p:cNvPr id="794654" name="Text Box 107"/>
          <p:cNvSpPr txBox="1">
            <a:spLocks noChangeArrowheads="1"/>
          </p:cNvSpPr>
          <p:nvPr/>
        </p:nvSpPr>
        <p:spPr bwMode="auto">
          <a:xfrm>
            <a:off x="2293574" y="1180505"/>
            <a:ext cx="75342" cy="161583"/>
          </a:xfrm>
          <a:prstGeom prst="rect">
            <a:avLst/>
          </a:prstGeom>
          <a:noFill/>
          <a:ln w="9525">
            <a:noFill/>
            <a:miter lim="800000"/>
            <a:headEnd/>
            <a:tailEnd/>
          </a:ln>
        </p:spPr>
        <p:txBody>
          <a:bodyPr wrap="none" lIns="0" tIns="0" rIns="0" bIns="0">
            <a:spAutoFit/>
          </a:bodyPr>
          <a:lstStyle/>
          <a:p>
            <a:pPr algn="ctr" defTabSz="685800">
              <a:buClrTx/>
            </a:pPr>
            <a:r>
              <a:rPr lang="en-US" altLang="ja-JP" sz="1050" kern="1200">
                <a:solidFill>
                  <a:srgbClr val="313131"/>
                </a:solidFill>
                <a:ea typeface="ＭＳ Ｐゴシック" charset="-128"/>
                <a:cs typeface="+mn-cs"/>
              </a:rPr>
              <a:t>0</a:t>
            </a:r>
          </a:p>
        </p:txBody>
      </p:sp>
      <p:sp>
        <p:nvSpPr>
          <p:cNvPr id="794661" name="Text Box 114"/>
          <p:cNvSpPr txBox="1">
            <a:spLocks noChangeArrowheads="1"/>
          </p:cNvSpPr>
          <p:nvPr/>
        </p:nvSpPr>
        <p:spPr bwMode="auto">
          <a:xfrm>
            <a:off x="2293574" y="2544367"/>
            <a:ext cx="75342" cy="161583"/>
          </a:xfrm>
          <a:prstGeom prst="rect">
            <a:avLst/>
          </a:prstGeom>
          <a:noFill/>
          <a:ln w="9525">
            <a:noFill/>
            <a:miter lim="800000"/>
            <a:headEnd/>
            <a:tailEnd/>
          </a:ln>
        </p:spPr>
        <p:txBody>
          <a:bodyPr wrap="none" lIns="0" tIns="0" rIns="0" bIns="0">
            <a:spAutoFit/>
          </a:bodyPr>
          <a:lstStyle/>
          <a:p>
            <a:pPr algn="ctr" defTabSz="685800">
              <a:buClrTx/>
            </a:pPr>
            <a:r>
              <a:rPr lang="en-US" altLang="ja-JP" sz="1050" kern="1200">
                <a:solidFill>
                  <a:srgbClr val="313131"/>
                </a:solidFill>
                <a:ea typeface="ＭＳ Ｐゴシック" charset="-128"/>
                <a:cs typeface="+mn-cs"/>
              </a:rPr>
              <a:t>1</a:t>
            </a:r>
          </a:p>
        </p:txBody>
      </p:sp>
      <p:sp>
        <p:nvSpPr>
          <p:cNvPr id="794668" name="Text Box 141"/>
          <p:cNvSpPr txBox="1">
            <a:spLocks noChangeArrowheads="1"/>
          </p:cNvSpPr>
          <p:nvPr/>
        </p:nvSpPr>
        <p:spPr bwMode="auto">
          <a:xfrm>
            <a:off x="2278710" y="3950842"/>
            <a:ext cx="112210" cy="161583"/>
          </a:xfrm>
          <a:prstGeom prst="rect">
            <a:avLst/>
          </a:prstGeom>
          <a:noFill/>
          <a:ln w="9525">
            <a:noFill/>
            <a:miter lim="800000"/>
            <a:headEnd/>
            <a:tailEnd/>
          </a:ln>
        </p:spPr>
        <p:txBody>
          <a:bodyPr wrap="none" lIns="0" tIns="0" rIns="0" bIns="0">
            <a:spAutoFit/>
          </a:bodyPr>
          <a:lstStyle/>
          <a:p>
            <a:pPr algn="ctr" defTabSz="685800">
              <a:buClrTx/>
            </a:pPr>
            <a:r>
              <a:rPr lang="en-US" altLang="ja-JP" sz="1050" kern="1200">
                <a:solidFill>
                  <a:srgbClr val="313131"/>
                </a:solidFill>
                <a:ea typeface="ＭＳ Ｐゴシック" charset="-128"/>
                <a:cs typeface="+mn-cs"/>
              </a:rPr>
              <a:t>¾</a:t>
            </a:r>
          </a:p>
        </p:txBody>
      </p:sp>
      <p:sp>
        <p:nvSpPr>
          <p:cNvPr id="794673" name="Text Box 166"/>
          <p:cNvSpPr txBox="1">
            <a:spLocks noChangeArrowheads="1"/>
          </p:cNvSpPr>
          <p:nvPr/>
        </p:nvSpPr>
        <p:spPr bwMode="auto">
          <a:xfrm>
            <a:off x="2278710" y="3609132"/>
            <a:ext cx="112210" cy="161583"/>
          </a:xfrm>
          <a:prstGeom prst="rect">
            <a:avLst/>
          </a:prstGeom>
          <a:noFill/>
          <a:ln w="9525">
            <a:noFill/>
            <a:miter lim="800000"/>
            <a:headEnd/>
            <a:tailEnd/>
          </a:ln>
        </p:spPr>
        <p:txBody>
          <a:bodyPr wrap="none" lIns="0" tIns="0" rIns="0" bIns="0">
            <a:spAutoFit/>
          </a:bodyPr>
          <a:lstStyle/>
          <a:p>
            <a:pPr algn="ctr" defTabSz="685800">
              <a:buClrTx/>
            </a:pPr>
            <a:r>
              <a:rPr lang="en-US" altLang="ja-JP" sz="1050" kern="1200">
                <a:solidFill>
                  <a:srgbClr val="313131"/>
                </a:solidFill>
                <a:ea typeface="ＭＳ Ｐゴシック" charset="-128"/>
                <a:cs typeface="+mn-cs"/>
              </a:rPr>
              <a:t>½</a:t>
            </a:r>
          </a:p>
        </p:txBody>
      </p:sp>
      <p:sp>
        <p:nvSpPr>
          <p:cNvPr id="794676" name="Text Box 179"/>
          <p:cNvSpPr txBox="1">
            <a:spLocks noChangeArrowheads="1"/>
          </p:cNvSpPr>
          <p:nvPr/>
        </p:nvSpPr>
        <p:spPr bwMode="auto">
          <a:xfrm>
            <a:off x="2278710" y="3268613"/>
            <a:ext cx="112210" cy="161583"/>
          </a:xfrm>
          <a:prstGeom prst="rect">
            <a:avLst/>
          </a:prstGeom>
          <a:noFill/>
          <a:ln w="9525">
            <a:noFill/>
            <a:miter lim="800000"/>
            <a:headEnd/>
            <a:tailEnd/>
          </a:ln>
        </p:spPr>
        <p:txBody>
          <a:bodyPr wrap="none" lIns="0" tIns="0" rIns="0" bIns="0">
            <a:spAutoFit/>
          </a:bodyPr>
          <a:lstStyle/>
          <a:p>
            <a:pPr algn="ctr" defTabSz="685800">
              <a:buClrTx/>
            </a:pPr>
            <a:r>
              <a:rPr lang="en-US" altLang="ja-JP" sz="1050" kern="1200">
                <a:solidFill>
                  <a:srgbClr val="313131"/>
                </a:solidFill>
                <a:ea typeface="ＭＳ Ｐゴシック" charset="-128"/>
                <a:cs typeface="+mn-cs"/>
              </a:rPr>
              <a:t>¼</a:t>
            </a:r>
          </a:p>
        </p:txBody>
      </p:sp>
      <p:sp>
        <p:nvSpPr>
          <p:cNvPr id="794683" name="Text Box 198"/>
          <p:cNvSpPr txBox="1">
            <a:spLocks noChangeArrowheads="1"/>
          </p:cNvSpPr>
          <p:nvPr/>
        </p:nvSpPr>
        <p:spPr bwMode="auto">
          <a:xfrm>
            <a:off x="2293574" y="2928094"/>
            <a:ext cx="75342" cy="161583"/>
          </a:xfrm>
          <a:prstGeom prst="rect">
            <a:avLst/>
          </a:prstGeom>
          <a:noFill/>
          <a:ln w="9525">
            <a:noFill/>
            <a:miter lim="800000"/>
            <a:headEnd/>
            <a:tailEnd/>
          </a:ln>
        </p:spPr>
        <p:txBody>
          <a:bodyPr wrap="none" lIns="0" tIns="0" rIns="0" bIns="0">
            <a:spAutoFit/>
          </a:bodyPr>
          <a:lstStyle/>
          <a:p>
            <a:pPr algn="ctr" defTabSz="685800">
              <a:buClrTx/>
            </a:pPr>
            <a:r>
              <a:rPr lang="en-US" altLang="ja-JP" sz="1050" kern="1200">
                <a:solidFill>
                  <a:srgbClr val="313131"/>
                </a:solidFill>
                <a:ea typeface="ＭＳ Ｐゴシック" charset="-128"/>
                <a:cs typeface="+mn-cs"/>
              </a:rPr>
              <a:t>0</a:t>
            </a:r>
          </a:p>
        </p:txBody>
      </p:sp>
      <p:sp>
        <p:nvSpPr>
          <p:cNvPr id="794690" name="Text Box 205"/>
          <p:cNvSpPr txBox="1">
            <a:spLocks noChangeArrowheads="1"/>
          </p:cNvSpPr>
          <p:nvPr/>
        </p:nvSpPr>
        <p:spPr bwMode="auto">
          <a:xfrm>
            <a:off x="2293574" y="4291360"/>
            <a:ext cx="75342" cy="161583"/>
          </a:xfrm>
          <a:prstGeom prst="rect">
            <a:avLst/>
          </a:prstGeom>
          <a:noFill/>
          <a:ln w="9525">
            <a:noFill/>
            <a:miter lim="800000"/>
            <a:headEnd/>
            <a:tailEnd/>
          </a:ln>
        </p:spPr>
        <p:txBody>
          <a:bodyPr wrap="none" lIns="0" tIns="0" rIns="0" bIns="0">
            <a:spAutoFit/>
          </a:bodyPr>
          <a:lstStyle/>
          <a:p>
            <a:pPr algn="ctr" defTabSz="685800">
              <a:buClrTx/>
            </a:pPr>
            <a:r>
              <a:rPr lang="en-US" altLang="ja-JP" sz="1050" kern="1200">
                <a:solidFill>
                  <a:srgbClr val="313131"/>
                </a:solidFill>
                <a:ea typeface="ＭＳ Ｐゴシック" charset="-128"/>
                <a:cs typeface="+mn-cs"/>
              </a:rPr>
              <a:t>1</a:t>
            </a:r>
          </a:p>
        </p:txBody>
      </p:sp>
      <p:sp>
        <p:nvSpPr>
          <p:cNvPr id="276" name="Oval 19"/>
          <p:cNvSpPr>
            <a:spLocks noChangeArrowheads="1"/>
          </p:cNvSpPr>
          <p:nvPr/>
        </p:nvSpPr>
        <p:spPr bwMode="auto">
          <a:xfrm>
            <a:off x="5834656" y="4277822"/>
            <a:ext cx="189000" cy="189000"/>
          </a:xfrm>
          <a:prstGeom prst="ellipse">
            <a:avLst/>
          </a:prstGeom>
          <a:solidFill>
            <a:srgbClr val="575757"/>
          </a:solidFill>
          <a:ln w="12700">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277" name="Oval 20"/>
          <p:cNvSpPr>
            <a:spLocks noChangeArrowheads="1"/>
          </p:cNvSpPr>
          <p:nvPr/>
        </p:nvSpPr>
        <p:spPr bwMode="auto">
          <a:xfrm>
            <a:off x="5834656" y="2914556"/>
            <a:ext cx="189000" cy="189000"/>
          </a:xfrm>
          <a:prstGeom prst="ellipse">
            <a:avLst/>
          </a:prstGeom>
          <a:solidFill>
            <a:schemeClr val="bg1"/>
          </a:solidFill>
          <a:ln w="12700">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nvGrpSpPr>
          <p:cNvPr id="278" name="Group 277"/>
          <p:cNvGrpSpPr/>
          <p:nvPr/>
        </p:nvGrpSpPr>
        <p:grpSpPr>
          <a:xfrm>
            <a:off x="5834656" y="3595594"/>
            <a:ext cx="189000" cy="189000"/>
            <a:chOff x="7858741" y="3820267"/>
            <a:chExt cx="288000" cy="288000"/>
          </a:xfrm>
        </p:grpSpPr>
        <p:sp>
          <p:nvSpPr>
            <p:cNvPr id="279" name="Oval 22"/>
            <p:cNvSpPr>
              <a:spLocks noChangeArrowheads="1"/>
            </p:cNvSpPr>
            <p:nvPr/>
          </p:nvSpPr>
          <p:spPr bwMode="auto">
            <a:xfrm flipH="1">
              <a:off x="7858741" y="3820267"/>
              <a:ext cx="288000" cy="288000"/>
            </a:xfrm>
            <a:prstGeom prst="ellipse">
              <a:avLst/>
            </a:prstGeom>
            <a:solidFill>
              <a:schemeClr val="bg1"/>
            </a:solidFill>
            <a:ln w="12700">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280"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281" name="Group 280"/>
          <p:cNvGrpSpPr/>
          <p:nvPr/>
        </p:nvGrpSpPr>
        <p:grpSpPr>
          <a:xfrm>
            <a:off x="5834656" y="3937304"/>
            <a:ext cx="189000" cy="189000"/>
            <a:chOff x="7858741" y="3007459"/>
            <a:chExt cx="288000" cy="288000"/>
          </a:xfrm>
        </p:grpSpPr>
        <p:sp>
          <p:nvSpPr>
            <p:cNvPr id="282" name="Oval 25"/>
            <p:cNvSpPr>
              <a:spLocks noChangeArrowheads="1"/>
            </p:cNvSpPr>
            <p:nvPr/>
          </p:nvSpPr>
          <p:spPr bwMode="auto">
            <a:xfrm flipH="1">
              <a:off x="7858741" y="3007459"/>
              <a:ext cx="288000" cy="288000"/>
            </a:xfrm>
            <a:prstGeom prst="ellipse">
              <a:avLst/>
            </a:prstGeom>
            <a:solidFill>
              <a:schemeClr val="bg1"/>
            </a:solidFill>
            <a:ln w="12700">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283"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284" name="Group 283"/>
          <p:cNvGrpSpPr/>
          <p:nvPr/>
        </p:nvGrpSpPr>
        <p:grpSpPr>
          <a:xfrm>
            <a:off x="5834656" y="3255075"/>
            <a:ext cx="189000" cy="189000"/>
            <a:chOff x="7858741" y="4628297"/>
            <a:chExt cx="288000" cy="288000"/>
          </a:xfrm>
        </p:grpSpPr>
        <p:sp>
          <p:nvSpPr>
            <p:cNvPr id="285" name="Oval 28"/>
            <p:cNvSpPr>
              <a:spLocks noChangeArrowheads="1"/>
            </p:cNvSpPr>
            <p:nvPr/>
          </p:nvSpPr>
          <p:spPr bwMode="auto">
            <a:xfrm flipH="1">
              <a:off x="7858741" y="4628297"/>
              <a:ext cx="288000" cy="288000"/>
            </a:xfrm>
            <a:prstGeom prst="ellipse">
              <a:avLst/>
            </a:prstGeom>
            <a:solidFill>
              <a:schemeClr val="bg1"/>
            </a:solidFill>
            <a:ln w="12700">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286"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sp>
        <p:nvSpPr>
          <p:cNvPr id="287" name="Oval 19"/>
          <p:cNvSpPr>
            <a:spLocks noChangeArrowheads="1"/>
          </p:cNvSpPr>
          <p:nvPr/>
        </p:nvSpPr>
        <p:spPr bwMode="auto">
          <a:xfrm>
            <a:off x="5834656" y="2530829"/>
            <a:ext cx="189000" cy="189000"/>
          </a:xfrm>
          <a:prstGeom prst="ellipse">
            <a:avLst/>
          </a:prstGeom>
          <a:solidFill>
            <a:srgbClr val="00A1DE"/>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288" name="Oval 20"/>
          <p:cNvSpPr>
            <a:spLocks noChangeArrowheads="1"/>
          </p:cNvSpPr>
          <p:nvPr/>
        </p:nvSpPr>
        <p:spPr bwMode="auto">
          <a:xfrm>
            <a:off x="5834656" y="1166967"/>
            <a:ext cx="189000" cy="189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nvGrpSpPr>
          <p:cNvPr id="289" name="Group 288"/>
          <p:cNvGrpSpPr/>
          <p:nvPr/>
        </p:nvGrpSpPr>
        <p:grpSpPr>
          <a:xfrm>
            <a:off x="5834656" y="1848600"/>
            <a:ext cx="189000" cy="189000"/>
            <a:chOff x="7858741" y="3820267"/>
            <a:chExt cx="288000" cy="288000"/>
          </a:xfrm>
        </p:grpSpPr>
        <p:sp>
          <p:nvSpPr>
            <p:cNvPr id="290" name="Oval 22"/>
            <p:cNvSpPr>
              <a:spLocks noChangeArrowheads="1"/>
            </p:cNvSpPr>
            <p:nvPr/>
          </p:nvSpPr>
          <p:spPr bwMode="auto">
            <a:xfrm flipH="1">
              <a:off x="7858741" y="382026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291"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292" name="Group 291"/>
          <p:cNvGrpSpPr/>
          <p:nvPr/>
        </p:nvGrpSpPr>
        <p:grpSpPr>
          <a:xfrm>
            <a:off x="5834656" y="2189714"/>
            <a:ext cx="189000" cy="189000"/>
            <a:chOff x="7858741" y="3007459"/>
            <a:chExt cx="288000" cy="288000"/>
          </a:xfrm>
        </p:grpSpPr>
        <p:sp>
          <p:nvSpPr>
            <p:cNvPr id="293" name="Oval 25"/>
            <p:cNvSpPr>
              <a:spLocks noChangeArrowheads="1"/>
            </p:cNvSpPr>
            <p:nvPr/>
          </p:nvSpPr>
          <p:spPr bwMode="auto">
            <a:xfrm flipH="1">
              <a:off x="7858741" y="3007459"/>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294"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295" name="Group 294"/>
          <p:cNvGrpSpPr/>
          <p:nvPr/>
        </p:nvGrpSpPr>
        <p:grpSpPr>
          <a:xfrm>
            <a:off x="5834656" y="1508081"/>
            <a:ext cx="189000" cy="189000"/>
            <a:chOff x="7858741" y="4628297"/>
            <a:chExt cx="288000" cy="288000"/>
          </a:xfrm>
        </p:grpSpPr>
        <p:sp>
          <p:nvSpPr>
            <p:cNvPr id="296" name="Oval 28"/>
            <p:cNvSpPr>
              <a:spLocks noChangeArrowheads="1"/>
            </p:cNvSpPr>
            <p:nvPr/>
          </p:nvSpPr>
          <p:spPr bwMode="auto">
            <a:xfrm flipH="1">
              <a:off x="7858741" y="462829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297"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sp>
        <p:nvSpPr>
          <p:cNvPr id="298" name="Oval 19"/>
          <p:cNvSpPr>
            <a:spLocks noChangeArrowheads="1"/>
          </p:cNvSpPr>
          <p:nvPr/>
        </p:nvSpPr>
        <p:spPr bwMode="auto">
          <a:xfrm>
            <a:off x="5078818" y="4291322"/>
            <a:ext cx="162000" cy="162000"/>
          </a:xfrm>
          <a:prstGeom prst="ellipse">
            <a:avLst/>
          </a:prstGeom>
          <a:solidFill>
            <a:srgbClr val="575757"/>
          </a:solidFill>
          <a:ln w="12700">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299" name="Oval 20"/>
          <p:cNvSpPr>
            <a:spLocks noChangeArrowheads="1"/>
          </p:cNvSpPr>
          <p:nvPr/>
        </p:nvSpPr>
        <p:spPr bwMode="auto">
          <a:xfrm>
            <a:off x="5078818" y="2928056"/>
            <a:ext cx="162000" cy="162000"/>
          </a:xfrm>
          <a:prstGeom prst="ellipse">
            <a:avLst/>
          </a:prstGeom>
          <a:solidFill>
            <a:schemeClr val="bg1"/>
          </a:solidFill>
          <a:ln w="12700">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nvGrpSpPr>
          <p:cNvPr id="300" name="Group 299"/>
          <p:cNvGrpSpPr/>
          <p:nvPr/>
        </p:nvGrpSpPr>
        <p:grpSpPr>
          <a:xfrm>
            <a:off x="5078818" y="3609094"/>
            <a:ext cx="162000" cy="162000"/>
            <a:chOff x="7858741" y="3820267"/>
            <a:chExt cx="288000" cy="288000"/>
          </a:xfrm>
        </p:grpSpPr>
        <p:sp>
          <p:nvSpPr>
            <p:cNvPr id="301" name="Oval 22"/>
            <p:cNvSpPr>
              <a:spLocks noChangeArrowheads="1"/>
            </p:cNvSpPr>
            <p:nvPr/>
          </p:nvSpPr>
          <p:spPr bwMode="auto">
            <a:xfrm flipH="1">
              <a:off x="7858741" y="3820267"/>
              <a:ext cx="288000" cy="288000"/>
            </a:xfrm>
            <a:prstGeom prst="ellipse">
              <a:avLst/>
            </a:prstGeom>
            <a:solidFill>
              <a:schemeClr val="bg1"/>
            </a:solidFill>
            <a:ln w="12700">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02"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303" name="Group 302"/>
          <p:cNvGrpSpPr/>
          <p:nvPr/>
        </p:nvGrpSpPr>
        <p:grpSpPr>
          <a:xfrm>
            <a:off x="5078818" y="3950804"/>
            <a:ext cx="162000" cy="162000"/>
            <a:chOff x="7858741" y="3007459"/>
            <a:chExt cx="288000" cy="288000"/>
          </a:xfrm>
        </p:grpSpPr>
        <p:sp>
          <p:nvSpPr>
            <p:cNvPr id="304" name="Oval 25"/>
            <p:cNvSpPr>
              <a:spLocks noChangeArrowheads="1"/>
            </p:cNvSpPr>
            <p:nvPr/>
          </p:nvSpPr>
          <p:spPr bwMode="auto">
            <a:xfrm flipH="1">
              <a:off x="7858741" y="3007459"/>
              <a:ext cx="288000" cy="288000"/>
            </a:xfrm>
            <a:prstGeom prst="ellipse">
              <a:avLst/>
            </a:prstGeom>
            <a:solidFill>
              <a:schemeClr val="bg1"/>
            </a:solidFill>
            <a:ln w="12700">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05"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306" name="Group 305"/>
          <p:cNvGrpSpPr/>
          <p:nvPr/>
        </p:nvGrpSpPr>
        <p:grpSpPr>
          <a:xfrm>
            <a:off x="5078818" y="3268575"/>
            <a:ext cx="162000" cy="162000"/>
            <a:chOff x="7858741" y="4628297"/>
            <a:chExt cx="288000" cy="288000"/>
          </a:xfrm>
        </p:grpSpPr>
        <p:sp>
          <p:nvSpPr>
            <p:cNvPr id="307" name="Oval 28"/>
            <p:cNvSpPr>
              <a:spLocks noChangeArrowheads="1"/>
            </p:cNvSpPr>
            <p:nvPr/>
          </p:nvSpPr>
          <p:spPr bwMode="auto">
            <a:xfrm flipH="1">
              <a:off x="7858741" y="4628297"/>
              <a:ext cx="288000" cy="288000"/>
            </a:xfrm>
            <a:prstGeom prst="ellipse">
              <a:avLst/>
            </a:prstGeom>
            <a:solidFill>
              <a:schemeClr val="bg1"/>
            </a:solidFill>
            <a:ln w="12700">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08"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sp>
        <p:nvSpPr>
          <p:cNvPr id="309" name="Oval 19"/>
          <p:cNvSpPr>
            <a:spLocks noChangeArrowheads="1"/>
          </p:cNvSpPr>
          <p:nvPr/>
        </p:nvSpPr>
        <p:spPr bwMode="auto">
          <a:xfrm>
            <a:off x="5078818" y="2544329"/>
            <a:ext cx="162000" cy="162000"/>
          </a:xfrm>
          <a:prstGeom prst="ellipse">
            <a:avLst/>
          </a:prstGeom>
          <a:solidFill>
            <a:srgbClr val="00A1DE"/>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10" name="Oval 20"/>
          <p:cNvSpPr>
            <a:spLocks noChangeArrowheads="1"/>
          </p:cNvSpPr>
          <p:nvPr/>
        </p:nvSpPr>
        <p:spPr bwMode="auto">
          <a:xfrm>
            <a:off x="5078818" y="1180467"/>
            <a:ext cx="162000" cy="162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nvGrpSpPr>
          <p:cNvPr id="311" name="Group 310"/>
          <p:cNvGrpSpPr/>
          <p:nvPr/>
        </p:nvGrpSpPr>
        <p:grpSpPr>
          <a:xfrm>
            <a:off x="5078818" y="1862100"/>
            <a:ext cx="162000" cy="162000"/>
            <a:chOff x="7858741" y="3820267"/>
            <a:chExt cx="288000" cy="288000"/>
          </a:xfrm>
        </p:grpSpPr>
        <p:sp>
          <p:nvSpPr>
            <p:cNvPr id="312" name="Oval 22"/>
            <p:cNvSpPr>
              <a:spLocks noChangeArrowheads="1"/>
            </p:cNvSpPr>
            <p:nvPr/>
          </p:nvSpPr>
          <p:spPr bwMode="auto">
            <a:xfrm flipH="1">
              <a:off x="7858741" y="382026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13"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314" name="Group 313"/>
          <p:cNvGrpSpPr/>
          <p:nvPr/>
        </p:nvGrpSpPr>
        <p:grpSpPr>
          <a:xfrm>
            <a:off x="5078818" y="2203214"/>
            <a:ext cx="162000" cy="162000"/>
            <a:chOff x="7858741" y="3007459"/>
            <a:chExt cx="288000" cy="288000"/>
          </a:xfrm>
        </p:grpSpPr>
        <p:sp>
          <p:nvSpPr>
            <p:cNvPr id="315" name="Oval 25"/>
            <p:cNvSpPr>
              <a:spLocks noChangeArrowheads="1"/>
            </p:cNvSpPr>
            <p:nvPr/>
          </p:nvSpPr>
          <p:spPr bwMode="auto">
            <a:xfrm flipH="1">
              <a:off x="7858741" y="3007459"/>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16"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317" name="Group 316"/>
          <p:cNvGrpSpPr/>
          <p:nvPr/>
        </p:nvGrpSpPr>
        <p:grpSpPr>
          <a:xfrm>
            <a:off x="5078818" y="1521581"/>
            <a:ext cx="162000" cy="162000"/>
            <a:chOff x="7858741" y="4628297"/>
            <a:chExt cx="288000" cy="288000"/>
          </a:xfrm>
        </p:grpSpPr>
        <p:sp>
          <p:nvSpPr>
            <p:cNvPr id="318" name="Oval 28"/>
            <p:cNvSpPr>
              <a:spLocks noChangeArrowheads="1"/>
            </p:cNvSpPr>
            <p:nvPr/>
          </p:nvSpPr>
          <p:spPr bwMode="auto">
            <a:xfrm flipH="1">
              <a:off x="7858741" y="462829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19"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sp>
        <p:nvSpPr>
          <p:cNvPr id="320" name="Oval 19"/>
          <p:cNvSpPr>
            <a:spLocks noChangeArrowheads="1"/>
          </p:cNvSpPr>
          <p:nvPr/>
        </p:nvSpPr>
        <p:spPr bwMode="auto">
          <a:xfrm>
            <a:off x="4351601" y="4304822"/>
            <a:ext cx="135000" cy="135000"/>
          </a:xfrm>
          <a:prstGeom prst="ellipse">
            <a:avLst/>
          </a:prstGeom>
          <a:solidFill>
            <a:srgbClr val="575757"/>
          </a:solidFill>
          <a:ln w="12700">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21" name="Oval 20"/>
          <p:cNvSpPr>
            <a:spLocks noChangeArrowheads="1"/>
          </p:cNvSpPr>
          <p:nvPr/>
        </p:nvSpPr>
        <p:spPr bwMode="auto">
          <a:xfrm>
            <a:off x="4351601" y="2941556"/>
            <a:ext cx="135000" cy="135000"/>
          </a:xfrm>
          <a:prstGeom prst="ellipse">
            <a:avLst/>
          </a:prstGeom>
          <a:solidFill>
            <a:schemeClr val="bg1"/>
          </a:solidFill>
          <a:ln w="12700">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nvGrpSpPr>
          <p:cNvPr id="322" name="Group 321"/>
          <p:cNvGrpSpPr/>
          <p:nvPr/>
        </p:nvGrpSpPr>
        <p:grpSpPr>
          <a:xfrm>
            <a:off x="4351601" y="3622594"/>
            <a:ext cx="135000" cy="135000"/>
            <a:chOff x="7858741" y="3820267"/>
            <a:chExt cx="288000" cy="288000"/>
          </a:xfrm>
        </p:grpSpPr>
        <p:sp>
          <p:nvSpPr>
            <p:cNvPr id="323" name="Oval 22"/>
            <p:cNvSpPr>
              <a:spLocks noChangeArrowheads="1"/>
            </p:cNvSpPr>
            <p:nvPr/>
          </p:nvSpPr>
          <p:spPr bwMode="auto">
            <a:xfrm flipH="1">
              <a:off x="7858741" y="3820267"/>
              <a:ext cx="288000" cy="288000"/>
            </a:xfrm>
            <a:prstGeom prst="ellipse">
              <a:avLst/>
            </a:prstGeom>
            <a:solidFill>
              <a:schemeClr val="bg1"/>
            </a:solidFill>
            <a:ln w="12700">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24"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325" name="Group 324"/>
          <p:cNvGrpSpPr/>
          <p:nvPr/>
        </p:nvGrpSpPr>
        <p:grpSpPr>
          <a:xfrm>
            <a:off x="4351601" y="3964304"/>
            <a:ext cx="135000" cy="135000"/>
            <a:chOff x="7858741" y="3007459"/>
            <a:chExt cx="288000" cy="288000"/>
          </a:xfrm>
        </p:grpSpPr>
        <p:sp>
          <p:nvSpPr>
            <p:cNvPr id="326" name="Oval 25"/>
            <p:cNvSpPr>
              <a:spLocks noChangeArrowheads="1"/>
            </p:cNvSpPr>
            <p:nvPr/>
          </p:nvSpPr>
          <p:spPr bwMode="auto">
            <a:xfrm flipH="1">
              <a:off x="7858741" y="3007459"/>
              <a:ext cx="288000" cy="288000"/>
            </a:xfrm>
            <a:prstGeom prst="ellipse">
              <a:avLst/>
            </a:prstGeom>
            <a:solidFill>
              <a:schemeClr val="bg1"/>
            </a:solidFill>
            <a:ln w="12700">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27"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328" name="Group 327"/>
          <p:cNvGrpSpPr/>
          <p:nvPr/>
        </p:nvGrpSpPr>
        <p:grpSpPr>
          <a:xfrm>
            <a:off x="4351601" y="3282075"/>
            <a:ext cx="135000" cy="135000"/>
            <a:chOff x="7858741" y="4628297"/>
            <a:chExt cx="288000" cy="288000"/>
          </a:xfrm>
        </p:grpSpPr>
        <p:sp>
          <p:nvSpPr>
            <p:cNvPr id="329" name="Oval 28"/>
            <p:cNvSpPr>
              <a:spLocks noChangeArrowheads="1"/>
            </p:cNvSpPr>
            <p:nvPr/>
          </p:nvSpPr>
          <p:spPr bwMode="auto">
            <a:xfrm flipH="1">
              <a:off x="7858741" y="4628297"/>
              <a:ext cx="288000" cy="288000"/>
            </a:xfrm>
            <a:prstGeom prst="ellipse">
              <a:avLst/>
            </a:prstGeom>
            <a:solidFill>
              <a:schemeClr val="bg1"/>
            </a:solidFill>
            <a:ln w="12700">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30"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sp>
        <p:nvSpPr>
          <p:cNvPr id="331" name="Oval 19"/>
          <p:cNvSpPr>
            <a:spLocks noChangeArrowheads="1"/>
          </p:cNvSpPr>
          <p:nvPr/>
        </p:nvSpPr>
        <p:spPr bwMode="auto">
          <a:xfrm>
            <a:off x="4351601" y="2557829"/>
            <a:ext cx="135000" cy="135000"/>
          </a:xfrm>
          <a:prstGeom prst="ellipse">
            <a:avLst/>
          </a:prstGeom>
          <a:solidFill>
            <a:srgbClr val="00A1DE"/>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32" name="Oval 20"/>
          <p:cNvSpPr>
            <a:spLocks noChangeArrowheads="1"/>
          </p:cNvSpPr>
          <p:nvPr/>
        </p:nvSpPr>
        <p:spPr bwMode="auto">
          <a:xfrm>
            <a:off x="4351601" y="1193967"/>
            <a:ext cx="135000" cy="135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nvGrpSpPr>
          <p:cNvPr id="333" name="Group 332"/>
          <p:cNvGrpSpPr/>
          <p:nvPr/>
        </p:nvGrpSpPr>
        <p:grpSpPr>
          <a:xfrm>
            <a:off x="4351601" y="1875600"/>
            <a:ext cx="135000" cy="135000"/>
            <a:chOff x="7858741" y="3820267"/>
            <a:chExt cx="288000" cy="288000"/>
          </a:xfrm>
        </p:grpSpPr>
        <p:sp>
          <p:nvSpPr>
            <p:cNvPr id="334" name="Oval 22"/>
            <p:cNvSpPr>
              <a:spLocks noChangeArrowheads="1"/>
            </p:cNvSpPr>
            <p:nvPr/>
          </p:nvSpPr>
          <p:spPr bwMode="auto">
            <a:xfrm flipH="1">
              <a:off x="7858741" y="382026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35"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336" name="Group 335"/>
          <p:cNvGrpSpPr/>
          <p:nvPr/>
        </p:nvGrpSpPr>
        <p:grpSpPr>
          <a:xfrm>
            <a:off x="4351601" y="2216714"/>
            <a:ext cx="135000" cy="135000"/>
            <a:chOff x="7858741" y="3007459"/>
            <a:chExt cx="288000" cy="288000"/>
          </a:xfrm>
        </p:grpSpPr>
        <p:sp>
          <p:nvSpPr>
            <p:cNvPr id="337" name="Oval 25"/>
            <p:cNvSpPr>
              <a:spLocks noChangeArrowheads="1"/>
            </p:cNvSpPr>
            <p:nvPr/>
          </p:nvSpPr>
          <p:spPr bwMode="auto">
            <a:xfrm flipH="1">
              <a:off x="7858741" y="3007459"/>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38"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339" name="Group 338"/>
          <p:cNvGrpSpPr/>
          <p:nvPr/>
        </p:nvGrpSpPr>
        <p:grpSpPr>
          <a:xfrm>
            <a:off x="4351601" y="1535081"/>
            <a:ext cx="135000" cy="135000"/>
            <a:chOff x="7858741" y="4628297"/>
            <a:chExt cx="288000" cy="288000"/>
          </a:xfrm>
        </p:grpSpPr>
        <p:sp>
          <p:nvSpPr>
            <p:cNvPr id="340" name="Oval 28"/>
            <p:cNvSpPr>
              <a:spLocks noChangeArrowheads="1"/>
            </p:cNvSpPr>
            <p:nvPr/>
          </p:nvSpPr>
          <p:spPr bwMode="auto">
            <a:xfrm flipH="1">
              <a:off x="7858741" y="462829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41"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sp>
        <p:nvSpPr>
          <p:cNvPr id="342" name="Oval 19"/>
          <p:cNvSpPr>
            <a:spLocks noChangeArrowheads="1"/>
          </p:cNvSpPr>
          <p:nvPr/>
        </p:nvSpPr>
        <p:spPr bwMode="auto">
          <a:xfrm>
            <a:off x="3652077" y="4318322"/>
            <a:ext cx="108000" cy="108000"/>
          </a:xfrm>
          <a:prstGeom prst="ellipse">
            <a:avLst/>
          </a:prstGeom>
          <a:solidFill>
            <a:srgbClr val="575757"/>
          </a:solidFill>
          <a:ln w="12700">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43" name="Oval 20"/>
          <p:cNvSpPr>
            <a:spLocks noChangeArrowheads="1"/>
          </p:cNvSpPr>
          <p:nvPr/>
        </p:nvSpPr>
        <p:spPr bwMode="auto">
          <a:xfrm>
            <a:off x="3652077" y="2955056"/>
            <a:ext cx="108000" cy="108000"/>
          </a:xfrm>
          <a:prstGeom prst="ellipse">
            <a:avLst/>
          </a:prstGeom>
          <a:solidFill>
            <a:schemeClr val="bg1"/>
          </a:solidFill>
          <a:ln w="12700">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nvGrpSpPr>
          <p:cNvPr id="344" name="Group 343"/>
          <p:cNvGrpSpPr/>
          <p:nvPr/>
        </p:nvGrpSpPr>
        <p:grpSpPr>
          <a:xfrm>
            <a:off x="3652077" y="3636094"/>
            <a:ext cx="108000" cy="108000"/>
            <a:chOff x="7858741" y="3820267"/>
            <a:chExt cx="288000" cy="288000"/>
          </a:xfrm>
        </p:grpSpPr>
        <p:sp>
          <p:nvSpPr>
            <p:cNvPr id="345" name="Oval 22"/>
            <p:cNvSpPr>
              <a:spLocks noChangeArrowheads="1"/>
            </p:cNvSpPr>
            <p:nvPr/>
          </p:nvSpPr>
          <p:spPr bwMode="auto">
            <a:xfrm flipH="1">
              <a:off x="7858741" y="3820267"/>
              <a:ext cx="288000" cy="288000"/>
            </a:xfrm>
            <a:prstGeom prst="ellipse">
              <a:avLst/>
            </a:prstGeom>
            <a:solidFill>
              <a:schemeClr val="bg1"/>
            </a:solidFill>
            <a:ln w="12700">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46"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347" name="Group 346"/>
          <p:cNvGrpSpPr/>
          <p:nvPr/>
        </p:nvGrpSpPr>
        <p:grpSpPr>
          <a:xfrm>
            <a:off x="3652077" y="3977804"/>
            <a:ext cx="108000" cy="108000"/>
            <a:chOff x="7858741" y="3007459"/>
            <a:chExt cx="288000" cy="288000"/>
          </a:xfrm>
        </p:grpSpPr>
        <p:sp>
          <p:nvSpPr>
            <p:cNvPr id="348" name="Oval 25"/>
            <p:cNvSpPr>
              <a:spLocks noChangeArrowheads="1"/>
            </p:cNvSpPr>
            <p:nvPr/>
          </p:nvSpPr>
          <p:spPr bwMode="auto">
            <a:xfrm flipH="1">
              <a:off x="7858741" y="3007459"/>
              <a:ext cx="288000" cy="288000"/>
            </a:xfrm>
            <a:prstGeom prst="ellipse">
              <a:avLst/>
            </a:prstGeom>
            <a:solidFill>
              <a:schemeClr val="bg1"/>
            </a:solidFill>
            <a:ln w="12700">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49"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350" name="Group 349"/>
          <p:cNvGrpSpPr/>
          <p:nvPr/>
        </p:nvGrpSpPr>
        <p:grpSpPr>
          <a:xfrm>
            <a:off x="3652077" y="3295575"/>
            <a:ext cx="108000" cy="108000"/>
            <a:chOff x="7858741" y="4628297"/>
            <a:chExt cx="288000" cy="288000"/>
          </a:xfrm>
        </p:grpSpPr>
        <p:sp>
          <p:nvSpPr>
            <p:cNvPr id="351" name="Oval 28"/>
            <p:cNvSpPr>
              <a:spLocks noChangeArrowheads="1"/>
            </p:cNvSpPr>
            <p:nvPr/>
          </p:nvSpPr>
          <p:spPr bwMode="auto">
            <a:xfrm flipH="1">
              <a:off x="7858741" y="4628297"/>
              <a:ext cx="288000" cy="288000"/>
            </a:xfrm>
            <a:prstGeom prst="ellipse">
              <a:avLst/>
            </a:prstGeom>
            <a:solidFill>
              <a:schemeClr val="bg1"/>
            </a:solidFill>
            <a:ln w="12700">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52"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sp>
        <p:nvSpPr>
          <p:cNvPr id="353" name="Oval 19"/>
          <p:cNvSpPr>
            <a:spLocks noChangeArrowheads="1"/>
          </p:cNvSpPr>
          <p:nvPr/>
        </p:nvSpPr>
        <p:spPr bwMode="auto">
          <a:xfrm>
            <a:off x="3652077" y="2571329"/>
            <a:ext cx="108000" cy="108000"/>
          </a:xfrm>
          <a:prstGeom prst="ellipse">
            <a:avLst/>
          </a:prstGeom>
          <a:solidFill>
            <a:srgbClr val="00A1DE"/>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54" name="Oval 20"/>
          <p:cNvSpPr>
            <a:spLocks noChangeArrowheads="1"/>
          </p:cNvSpPr>
          <p:nvPr/>
        </p:nvSpPr>
        <p:spPr bwMode="auto">
          <a:xfrm>
            <a:off x="3652077" y="1207467"/>
            <a:ext cx="108000" cy="10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nvGrpSpPr>
          <p:cNvPr id="355" name="Group 354"/>
          <p:cNvGrpSpPr/>
          <p:nvPr/>
        </p:nvGrpSpPr>
        <p:grpSpPr>
          <a:xfrm>
            <a:off x="3652077" y="1889100"/>
            <a:ext cx="108000" cy="108000"/>
            <a:chOff x="7858741" y="3820267"/>
            <a:chExt cx="288000" cy="288000"/>
          </a:xfrm>
        </p:grpSpPr>
        <p:sp>
          <p:nvSpPr>
            <p:cNvPr id="356" name="Oval 22"/>
            <p:cNvSpPr>
              <a:spLocks noChangeArrowheads="1"/>
            </p:cNvSpPr>
            <p:nvPr/>
          </p:nvSpPr>
          <p:spPr bwMode="auto">
            <a:xfrm flipH="1">
              <a:off x="7858741" y="382026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57"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358" name="Group 357"/>
          <p:cNvGrpSpPr/>
          <p:nvPr/>
        </p:nvGrpSpPr>
        <p:grpSpPr>
          <a:xfrm>
            <a:off x="3652077" y="2230214"/>
            <a:ext cx="108000" cy="108000"/>
            <a:chOff x="7858741" y="3007459"/>
            <a:chExt cx="288000" cy="288000"/>
          </a:xfrm>
        </p:grpSpPr>
        <p:sp>
          <p:nvSpPr>
            <p:cNvPr id="359" name="Oval 25"/>
            <p:cNvSpPr>
              <a:spLocks noChangeArrowheads="1"/>
            </p:cNvSpPr>
            <p:nvPr/>
          </p:nvSpPr>
          <p:spPr bwMode="auto">
            <a:xfrm flipH="1">
              <a:off x="7858741" y="3007459"/>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60"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361" name="Group 360"/>
          <p:cNvGrpSpPr/>
          <p:nvPr/>
        </p:nvGrpSpPr>
        <p:grpSpPr>
          <a:xfrm>
            <a:off x="3652077" y="1548581"/>
            <a:ext cx="108000" cy="108000"/>
            <a:chOff x="7858741" y="4628297"/>
            <a:chExt cx="288000" cy="288000"/>
          </a:xfrm>
        </p:grpSpPr>
        <p:sp>
          <p:nvSpPr>
            <p:cNvPr id="362" name="Oval 28"/>
            <p:cNvSpPr>
              <a:spLocks noChangeArrowheads="1"/>
            </p:cNvSpPr>
            <p:nvPr/>
          </p:nvSpPr>
          <p:spPr bwMode="auto">
            <a:xfrm flipH="1">
              <a:off x="7858741" y="462829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63"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sp>
        <p:nvSpPr>
          <p:cNvPr id="364" name="Oval 19"/>
          <p:cNvSpPr>
            <a:spLocks noChangeArrowheads="1"/>
          </p:cNvSpPr>
          <p:nvPr/>
        </p:nvSpPr>
        <p:spPr bwMode="auto">
          <a:xfrm>
            <a:off x="2980935" y="4331822"/>
            <a:ext cx="81000" cy="81000"/>
          </a:xfrm>
          <a:prstGeom prst="ellipse">
            <a:avLst/>
          </a:prstGeom>
          <a:solidFill>
            <a:srgbClr val="575757"/>
          </a:solidFill>
          <a:ln w="12700">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65" name="Oval 20"/>
          <p:cNvSpPr>
            <a:spLocks noChangeArrowheads="1"/>
          </p:cNvSpPr>
          <p:nvPr/>
        </p:nvSpPr>
        <p:spPr bwMode="auto">
          <a:xfrm>
            <a:off x="2980935" y="2968556"/>
            <a:ext cx="81000" cy="81000"/>
          </a:xfrm>
          <a:prstGeom prst="ellipse">
            <a:avLst/>
          </a:prstGeom>
          <a:solidFill>
            <a:schemeClr val="bg1"/>
          </a:solidFill>
          <a:ln w="12700">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nvGrpSpPr>
          <p:cNvPr id="366" name="Group 365"/>
          <p:cNvGrpSpPr/>
          <p:nvPr/>
        </p:nvGrpSpPr>
        <p:grpSpPr>
          <a:xfrm>
            <a:off x="2980935" y="3649594"/>
            <a:ext cx="81000" cy="81000"/>
            <a:chOff x="7858741" y="3820267"/>
            <a:chExt cx="288000" cy="288000"/>
          </a:xfrm>
        </p:grpSpPr>
        <p:sp>
          <p:nvSpPr>
            <p:cNvPr id="367" name="Oval 22"/>
            <p:cNvSpPr>
              <a:spLocks noChangeArrowheads="1"/>
            </p:cNvSpPr>
            <p:nvPr/>
          </p:nvSpPr>
          <p:spPr bwMode="auto">
            <a:xfrm flipH="1">
              <a:off x="7858741" y="3820267"/>
              <a:ext cx="288000" cy="288000"/>
            </a:xfrm>
            <a:prstGeom prst="ellipse">
              <a:avLst/>
            </a:prstGeom>
            <a:solidFill>
              <a:schemeClr val="bg1"/>
            </a:solidFill>
            <a:ln w="12700">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68"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369" name="Group 368"/>
          <p:cNvGrpSpPr/>
          <p:nvPr/>
        </p:nvGrpSpPr>
        <p:grpSpPr>
          <a:xfrm>
            <a:off x="2980935" y="3991304"/>
            <a:ext cx="81000" cy="81000"/>
            <a:chOff x="7858741" y="3007459"/>
            <a:chExt cx="288000" cy="288000"/>
          </a:xfrm>
        </p:grpSpPr>
        <p:sp>
          <p:nvSpPr>
            <p:cNvPr id="370" name="Oval 25"/>
            <p:cNvSpPr>
              <a:spLocks noChangeArrowheads="1"/>
            </p:cNvSpPr>
            <p:nvPr/>
          </p:nvSpPr>
          <p:spPr bwMode="auto">
            <a:xfrm flipH="1">
              <a:off x="7858741" y="3007459"/>
              <a:ext cx="288000" cy="288000"/>
            </a:xfrm>
            <a:prstGeom prst="ellipse">
              <a:avLst/>
            </a:prstGeom>
            <a:solidFill>
              <a:schemeClr val="bg1"/>
            </a:solidFill>
            <a:ln w="12700">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71"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372" name="Group 371"/>
          <p:cNvGrpSpPr/>
          <p:nvPr/>
        </p:nvGrpSpPr>
        <p:grpSpPr>
          <a:xfrm>
            <a:off x="2980935" y="3309075"/>
            <a:ext cx="81000" cy="81000"/>
            <a:chOff x="7858741" y="4628297"/>
            <a:chExt cx="288000" cy="288000"/>
          </a:xfrm>
        </p:grpSpPr>
        <p:sp>
          <p:nvSpPr>
            <p:cNvPr id="373" name="Oval 28"/>
            <p:cNvSpPr>
              <a:spLocks noChangeArrowheads="1"/>
            </p:cNvSpPr>
            <p:nvPr/>
          </p:nvSpPr>
          <p:spPr bwMode="auto">
            <a:xfrm flipH="1">
              <a:off x="7858741" y="4628297"/>
              <a:ext cx="288000" cy="288000"/>
            </a:xfrm>
            <a:prstGeom prst="ellipse">
              <a:avLst/>
            </a:prstGeom>
            <a:solidFill>
              <a:schemeClr val="bg1"/>
            </a:solidFill>
            <a:ln w="12700">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74"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sp>
        <p:nvSpPr>
          <p:cNvPr id="375" name="Oval 19"/>
          <p:cNvSpPr>
            <a:spLocks noChangeArrowheads="1"/>
          </p:cNvSpPr>
          <p:nvPr/>
        </p:nvSpPr>
        <p:spPr bwMode="auto">
          <a:xfrm>
            <a:off x="2980935" y="2584829"/>
            <a:ext cx="81000" cy="81000"/>
          </a:xfrm>
          <a:prstGeom prst="ellipse">
            <a:avLst/>
          </a:prstGeom>
          <a:solidFill>
            <a:srgbClr val="00A1DE"/>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76" name="Oval 20"/>
          <p:cNvSpPr>
            <a:spLocks noChangeArrowheads="1"/>
          </p:cNvSpPr>
          <p:nvPr/>
        </p:nvSpPr>
        <p:spPr bwMode="auto">
          <a:xfrm>
            <a:off x="2980935" y="1220967"/>
            <a:ext cx="81000" cy="81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nvGrpSpPr>
          <p:cNvPr id="377" name="Group 376"/>
          <p:cNvGrpSpPr/>
          <p:nvPr/>
        </p:nvGrpSpPr>
        <p:grpSpPr>
          <a:xfrm>
            <a:off x="2980935" y="1902600"/>
            <a:ext cx="81000" cy="81000"/>
            <a:chOff x="7858741" y="3820267"/>
            <a:chExt cx="288000" cy="288000"/>
          </a:xfrm>
        </p:grpSpPr>
        <p:sp>
          <p:nvSpPr>
            <p:cNvPr id="378" name="Oval 22"/>
            <p:cNvSpPr>
              <a:spLocks noChangeArrowheads="1"/>
            </p:cNvSpPr>
            <p:nvPr/>
          </p:nvSpPr>
          <p:spPr bwMode="auto">
            <a:xfrm flipH="1">
              <a:off x="7858741" y="382026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79"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380" name="Group 379"/>
          <p:cNvGrpSpPr/>
          <p:nvPr/>
        </p:nvGrpSpPr>
        <p:grpSpPr>
          <a:xfrm>
            <a:off x="2980935" y="2243714"/>
            <a:ext cx="81000" cy="81000"/>
            <a:chOff x="7858741" y="3007459"/>
            <a:chExt cx="288000" cy="288000"/>
          </a:xfrm>
        </p:grpSpPr>
        <p:sp>
          <p:nvSpPr>
            <p:cNvPr id="381" name="Oval 25"/>
            <p:cNvSpPr>
              <a:spLocks noChangeArrowheads="1"/>
            </p:cNvSpPr>
            <p:nvPr/>
          </p:nvSpPr>
          <p:spPr bwMode="auto">
            <a:xfrm flipH="1">
              <a:off x="7858741" y="3007459"/>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82"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383" name="Group 382"/>
          <p:cNvGrpSpPr/>
          <p:nvPr/>
        </p:nvGrpSpPr>
        <p:grpSpPr>
          <a:xfrm>
            <a:off x="2980935" y="1562081"/>
            <a:ext cx="81000" cy="81000"/>
            <a:chOff x="7858741" y="4628297"/>
            <a:chExt cx="288000" cy="288000"/>
          </a:xfrm>
        </p:grpSpPr>
        <p:sp>
          <p:nvSpPr>
            <p:cNvPr id="384" name="Oval 28"/>
            <p:cNvSpPr>
              <a:spLocks noChangeArrowheads="1"/>
            </p:cNvSpPr>
            <p:nvPr/>
          </p:nvSpPr>
          <p:spPr bwMode="auto">
            <a:xfrm flipH="1">
              <a:off x="7858741" y="462829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85"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spTree>
  </p:cSld>
  <p:clrMapOvr>
    <a:masterClrMapping/>
  </p:clrMapOvr>
  <p:transition>
    <p:fade/>
  </p:transition>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5649" name="Title 1"/>
          <p:cNvSpPr>
            <a:spLocks noGrp="1"/>
          </p:cNvSpPr>
          <p:nvPr>
            <p:ph type="title"/>
          </p:nvPr>
        </p:nvSpPr>
        <p:spPr/>
        <p:txBody>
          <a:bodyPr/>
          <a:lstStyle/>
          <a:p>
            <a:r>
              <a:rPr lang="en-US" altLang="ja-JP"/>
              <a:t>Table with traffic lights</a:t>
            </a:r>
            <a:endParaRPr lang="en-US"/>
          </a:p>
        </p:txBody>
      </p:sp>
      <p:sp>
        <p:nvSpPr>
          <p:cNvPr id="795651" name="Text Box 3"/>
          <p:cNvSpPr txBox="1">
            <a:spLocks noChangeArrowheads="1"/>
          </p:cNvSpPr>
          <p:nvPr/>
        </p:nvSpPr>
        <p:spPr bwMode="auto">
          <a:xfrm>
            <a:off x="7174341" y="4579649"/>
            <a:ext cx="376706" cy="115416"/>
          </a:xfrm>
          <a:prstGeom prst="rect">
            <a:avLst/>
          </a:prstGeom>
          <a:noFill/>
          <a:ln w="9525">
            <a:noFill/>
            <a:miter lim="800000"/>
            <a:headEnd type="none" w="sm" len="sm"/>
            <a:tailEnd type="none" w="med" len="lg"/>
          </a:ln>
        </p:spPr>
        <p:txBody>
          <a:bodyPr wrap="none" lIns="0" tIns="0" rIns="0" bIns="0">
            <a:spAutoFit/>
          </a:bodyPr>
          <a:lstStyle/>
          <a:p>
            <a:pPr defTabSz="685800">
              <a:buClrTx/>
            </a:pPr>
            <a:r>
              <a:rPr lang="en-US" altLang="ja-JP" sz="750" kern="1200" dirty="0">
                <a:solidFill>
                  <a:srgbClr val="313131"/>
                </a:solidFill>
                <a:ea typeface="ＭＳ Ｐゴシック" charset="-128"/>
                <a:cs typeface="+mn-cs"/>
              </a:rPr>
              <a:t>Negative</a:t>
            </a:r>
          </a:p>
        </p:txBody>
      </p:sp>
      <p:sp>
        <p:nvSpPr>
          <p:cNvPr id="795652" name="Text Box 4"/>
          <p:cNvSpPr txBox="1">
            <a:spLocks noChangeArrowheads="1"/>
          </p:cNvSpPr>
          <p:nvPr/>
        </p:nvSpPr>
        <p:spPr bwMode="auto">
          <a:xfrm>
            <a:off x="6538908" y="4579649"/>
            <a:ext cx="307777" cy="115416"/>
          </a:xfrm>
          <a:prstGeom prst="rect">
            <a:avLst/>
          </a:prstGeom>
          <a:noFill/>
          <a:ln w="9525">
            <a:noFill/>
            <a:miter lim="800000"/>
            <a:headEnd type="none" w="sm" len="sm"/>
            <a:tailEnd type="none" w="med" len="lg"/>
          </a:ln>
        </p:spPr>
        <p:txBody>
          <a:bodyPr wrap="none" lIns="0" tIns="0" rIns="0" bIns="0">
            <a:spAutoFit/>
          </a:bodyPr>
          <a:lstStyle/>
          <a:p>
            <a:pPr defTabSz="685800">
              <a:buClrTx/>
            </a:pPr>
            <a:r>
              <a:rPr lang="en-US" altLang="ja-JP" sz="750" kern="1200" dirty="0">
                <a:solidFill>
                  <a:srgbClr val="313131"/>
                </a:solidFill>
                <a:ea typeface="ＭＳ Ｐゴシック" charset="-128"/>
                <a:cs typeface="+mn-cs"/>
              </a:rPr>
              <a:t>Neutral</a:t>
            </a:r>
          </a:p>
        </p:txBody>
      </p:sp>
      <p:sp>
        <p:nvSpPr>
          <p:cNvPr id="795653" name="Text Box 5"/>
          <p:cNvSpPr txBox="1">
            <a:spLocks noChangeArrowheads="1"/>
          </p:cNvSpPr>
          <p:nvPr/>
        </p:nvSpPr>
        <p:spPr bwMode="auto">
          <a:xfrm>
            <a:off x="5856126" y="4579649"/>
            <a:ext cx="335028" cy="115416"/>
          </a:xfrm>
          <a:prstGeom prst="rect">
            <a:avLst/>
          </a:prstGeom>
          <a:noFill/>
          <a:ln w="9525">
            <a:noFill/>
            <a:miter lim="800000"/>
            <a:headEnd type="none" w="sm" len="sm"/>
            <a:tailEnd type="none" w="med" len="lg"/>
          </a:ln>
        </p:spPr>
        <p:txBody>
          <a:bodyPr wrap="none" lIns="0" tIns="0" rIns="0" bIns="0">
            <a:spAutoFit/>
          </a:bodyPr>
          <a:lstStyle/>
          <a:p>
            <a:pPr defTabSz="685800">
              <a:buClrTx/>
            </a:pPr>
            <a:r>
              <a:rPr lang="en-US" altLang="ja-JP" sz="750" kern="1200" dirty="0">
                <a:solidFill>
                  <a:srgbClr val="313131"/>
                </a:solidFill>
                <a:ea typeface="ＭＳ Ｐゴシック" charset="-128"/>
                <a:cs typeface="+mn-cs"/>
              </a:rPr>
              <a:t>Positive</a:t>
            </a:r>
          </a:p>
        </p:txBody>
      </p:sp>
      <p:graphicFrame>
        <p:nvGraphicFramePr>
          <p:cNvPr id="7" name="Group 6"/>
          <p:cNvGraphicFramePr>
            <a:graphicFrameLocks noGrp="1"/>
          </p:cNvGraphicFramePr>
          <p:nvPr/>
        </p:nvGraphicFramePr>
        <p:xfrm>
          <a:off x="1418033" y="1184673"/>
          <a:ext cx="6286502" cy="3181352"/>
        </p:xfrm>
        <a:graphic>
          <a:graphicData uri="http://schemas.openxmlformats.org/drawingml/2006/table">
            <a:tbl>
              <a:tblPr/>
              <a:tblGrid>
                <a:gridCol w="1080618">
                  <a:extLst>
                    <a:ext uri="{9D8B030D-6E8A-4147-A177-3AD203B41FA5}">
                      <a16:colId xmlns:a16="http://schemas.microsoft.com/office/drawing/2014/main" val="20000"/>
                    </a:ext>
                  </a:extLst>
                </a:gridCol>
                <a:gridCol w="867647">
                  <a:extLst>
                    <a:ext uri="{9D8B030D-6E8A-4147-A177-3AD203B41FA5}">
                      <a16:colId xmlns:a16="http://schemas.microsoft.com/office/drawing/2014/main" val="20001"/>
                    </a:ext>
                  </a:extLst>
                </a:gridCol>
                <a:gridCol w="867647">
                  <a:extLst>
                    <a:ext uri="{9D8B030D-6E8A-4147-A177-3AD203B41FA5}">
                      <a16:colId xmlns:a16="http://schemas.microsoft.com/office/drawing/2014/main" val="20002"/>
                    </a:ext>
                  </a:extLst>
                </a:gridCol>
                <a:gridCol w="867647">
                  <a:extLst>
                    <a:ext uri="{9D8B030D-6E8A-4147-A177-3AD203B41FA5}">
                      <a16:colId xmlns:a16="http://schemas.microsoft.com/office/drawing/2014/main" val="20003"/>
                    </a:ext>
                  </a:extLst>
                </a:gridCol>
                <a:gridCol w="867647">
                  <a:extLst>
                    <a:ext uri="{9D8B030D-6E8A-4147-A177-3AD203B41FA5}">
                      <a16:colId xmlns:a16="http://schemas.microsoft.com/office/drawing/2014/main" val="20004"/>
                    </a:ext>
                  </a:extLst>
                </a:gridCol>
                <a:gridCol w="867647">
                  <a:extLst>
                    <a:ext uri="{9D8B030D-6E8A-4147-A177-3AD203B41FA5}">
                      <a16:colId xmlns:a16="http://schemas.microsoft.com/office/drawing/2014/main" val="20005"/>
                    </a:ext>
                  </a:extLst>
                </a:gridCol>
                <a:gridCol w="867647">
                  <a:extLst>
                    <a:ext uri="{9D8B030D-6E8A-4147-A177-3AD203B41FA5}">
                      <a16:colId xmlns:a16="http://schemas.microsoft.com/office/drawing/2014/main" val="20006"/>
                    </a:ext>
                  </a:extLst>
                </a:gridCol>
              </a:tblGrid>
              <a:tr h="4179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1" i="0" u="none" strike="noStrike" cap="none" normalizeH="0" baseline="0" dirty="0">
                        <a:ln>
                          <a:noFill/>
                        </a:ln>
                        <a:solidFill>
                          <a:srgbClr val="313131"/>
                        </a:solidFill>
                        <a:effectLst/>
                        <a:latin typeface="Arial" charset="0"/>
                      </a:endParaRPr>
                    </a:p>
                  </a:txBody>
                  <a:tcPr marL="50644" marR="50644" marT="54864" marB="54864" anchor="ctr" horzOverflow="overflow">
                    <a:lnL cap="flat">
                      <a:noFill/>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50644" marR="50644" marT="54864" marB="54864" anchor="ctr" anchorCtr="1" horzOverflow="overflow">
                    <a:lnL w="762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50644" marR="50644" marT="54864" marB="54864"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50644" marR="50644" marT="54864" marB="54864"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50644" marR="50644" marT="54864" marB="54864"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50644" marR="50644" marT="54864" marB="54864"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50644" marR="50644" marT="54864" marB="54864"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extLst>
                  <a:ext uri="{0D108BD9-81ED-4DB2-BD59-A6C34878D82A}">
                    <a16:rowId xmlns:a16="http://schemas.microsoft.com/office/drawing/2014/main" val="10000"/>
                  </a:ext>
                </a:extLst>
              </a:tr>
              <a:tr h="553641">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Row description</a:t>
                      </a:r>
                    </a:p>
                  </a:txBody>
                  <a:tcPr marL="50644" marR="50644" marT="96012" marB="96012"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w="762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cap="flat">
                      <a:noFill/>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5126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Row description</a:t>
                      </a:r>
                    </a:p>
                  </a:txBody>
                  <a:tcPr marL="50644" marR="50644" marT="96012" marB="96012"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w="76200" cap="flat" cmpd="sng" algn="ctr">
                      <a:noFill/>
                      <a:prstDash val="solid"/>
                      <a:round/>
                      <a:headEnd type="none" w="med" len="med"/>
                      <a:tailEnd type="none" w="med" len="med"/>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cap="flat">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53641">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Row description</a:t>
                      </a:r>
                    </a:p>
                  </a:txBody>
                  <a:tcPr marL="50644" marR="50644" marT="96012" marB="96012"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w="76200" cap="flat" cmpd="sng" algn="ctr">
                      <a:noFill/>
                      <a:prstDash val="solid"/>
                      <a:round/>
                      <a:headEnd type="none" w="med" len="med"/>
                      <a:tailEnd type="none" w="med" len="med"/>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cap="flat">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5126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Row description</a:t>
                      </a:r>
                    </a:p>
                  </a:txBody>
                  <a:tcPr marL="50644" marR="50644" marT="96012" marB="96012"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w="76200" cap="flat" cmpd="sng" algn="ctr">
                      <a:noFill/>
                      <a:prstDash val="solid"/>
                      <a:round/>
                      <a:headEnd type="none" w="med" len="med"/>
                      <a:tailEnd type="none" w="med" len="med"/>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cap="flat">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53641">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Row description</a:t>
                      </a:r>
                    </a:p>
                  </a:txBody>
                  <a:tcPr marL="50644" marR="50644" marT="96012" marB="96012" anchor="ctr" horzOverflow="overflow">
                    <a:lnL cap="flat">
                      <a:noFill/>
                    </a:lnL>
                    <a:lnR w="76200" cap="flat" cmpd="sng" algn="ctr">
                      <a:noFill/>
                      <a:prstDash val="solid"/>
                      <a:round/>
                      <a:headEnd type="none" w="med" len="med"/>
                      <a:tailEnd type="none" w="med" len="med"/>
                    </a:lnR>
                    <a:lnT>
                      <a:noFill/>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w="76200" cap="flat" cmpd="sng" algn="ctr">
                      <a:noFill/>
                      <a:prstDash val="solid"/>
                      <a:round/>
                      <a:headEnd type="none" w="med" len="med"/>
                      <a:tailEnd type="none" w="med" len="med"/>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cap="flat">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10005"/>
                  </a:ext>
                </a:extLst>
              </a:tr>
            </a:tbl>
          </a:graphicData>
        </a:graphic>
      </p:graphicFrame>
      <p:sp>
        <p:nvSpPr>
          <p:cNvPr id="795710" name="Oval 81"/>
          <p:cNvSpPr>
            <a:spLocks noChangeArrowheads="1"/>
          </p:cNvSpPr>
          <p:nvPr/>
        </p:nvSpPr>
        <p:spPr bwMode="blackWhite">
          <a:xfrm>
            <a:off x="5714691" y="4583357"/>
            <a:ext cx="108000" cy="108000"/>
          </a:xfrm>
          <a:prstGeom prst="ellipse">
            <a:avLst/>
          </a:prstGeom>
          <a:solidFill>
            <a:schemeClr val="accent4"/>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795711" name="Oval 82"/>
          <p:cNvSpPr>
            <a:spLocks noChangeArrowheads="1"/>
          </p:cNvSpPr>
          <p:nvPr/>
        </p:nvSpPr>
        <p:spPr bwMode="black">
          <a:xfrm>
            <a:off x="7048852" y="4583357"/>
            <a:ext cx="108000" cy="108000"/>
          </a:xfrm>
          <a:prstGeom prst="ellipse">
            <a:avLst/>
          </a:prstGeom>
          <a:solidFill>
            <a:srgbClr val="C00000"/>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795712" name="Oval 83"/>
          <p:cNvSpPr>
            <a:spLocks noChangeArrowheads="1"/>
          </p:cNvSpPr>
          <p:nvPr/>
        </p:nvSpPr>
        <p:spPr bwMode="ltGray">
          <a:xfrm>
            <a:off x="6397472" y="4583357"/>
            <a:ext cx="108000" cy="108000"/>
          </a:xfrm>
          <a:prstGeom prst="ellipse">
            <a:avLst/>
          </a:prstGeom>
          <a:solidFill>
            <a:srgbClr val="FFC000"/>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795713" name="Oval 84"/>
          <p:cNvSpPr>
            <a:spLocks noChangeArrowheads="1"/>
          </p:cNvSpPr>
          <p:nvPr/>
        </p:nvSpPr>
        <p:spPr bwMode="grayWhite">
          <a:xfrm>
            <a:off x="2796110" y="2873574"/>
            <a:ext cx="216000" cy="216000"/>
          </a:xfrm>
          <a:prstGeom prst="ellipse">
            <a:avLst/>
          </a:prstGeom>
          <a:solidFill>
            <a:schemeClr val="accent4"/>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795714" name="Oval 85"/>
          <p:cNvSpPr>
            <a:spLocks noChangeArrowheads="1"/>
          </p:cNvSpPr>
          <p:nvPr/>
        </p:nvSpPr>
        <p:spPr bwMode="black">
          <a:xfrm>
            <a:off x="2808187" y="1772841"/>
            <a:ext cx="216000" cy="216000"/>
          </a:xfrm>
          <a:prstGeom prst="ellipse">
            <a:avLst/>
          </a:prstGeom>
          <a:solidFill>
            <a:srgbClr val="C00000"/>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795715" name="Oval 86"/>
          <p:cNvSpPr>
            <a:spLocks noChangeArrowheads="1"/>
          </p:cNvSpPr>
          <p:nvPr/>
        </p:nvSpPr>
        <p:spPr bwMode="ltGray">
          <a:xfrm>
            <a:off x="2796110" y="2323208"/>
            <a:ext cx="216000" cy="216000"/>
          </a:xfrm>
          <a:prstGeom prst="ellipse">
            <a:avLst/>
          </a:prstGeom>
          <a:solidFill>
            <a:srgbClr val="FFC000"/>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795716" name="Oval 87"/>
          <p:cNvSpPr>
            <a:spLocks noChangeArrowheads="1"/>
          </p:cNvSpPr>
          <p:nvPr/>
        </p:nvSpPr>
        <p:spPr bwMode="black">
          <a:xfrm>
            <a:off x="2796110" y="3423941"/>
            <a:ext cx="216000" cy="216000"/>
          </a:xfrm>
          <a:prstGeom prst="ellipse">
            <a:avLst/>
          </a:prstGeom>
          <a:solidFill>
            <a:srgbClr val="C00000"/>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795717" name="Oval 88"/>
          <p:cNvSpPr>
            <a:spLocks noChangeArrowheads="1"/>
          </p:cNvSpPr>
          <p:nvPr/>
        </p:nvSpPr>
        <p:spPr bwMode="ltGray">
          <a:xfrm>
            <a:off x="2796110" y="3974306"/>
            <a:ext cx="216000" cy="216000"/>
          </a:xfrm>
          <a:prstGeom prst="ellipse">
            <a:avLst/>
          </a:prstGeom>
          <a:solidFill>
            <a:srgbClr val="FFC000"/>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795718" name="Oval 89"/>
          <p:cNvSpPr>
            <a:spLocks noChangeArrowheads="1"/>
          </p:cNvSpPr>
          <p:nvPr/>
        </p:nvSpPr>
        <p:spPr bwMode="grayWhite">
          <a:xfrm>
            <a:off x="3679482" y="2884885"/>
            <a:ext cx="216000" cy="216000"/>
          </a:xfrm>
          <a:prstGeom prst="ellipse">
            <a:avLst/>
          </a:prstGeom>
          <a:solidFill>
            <a:schemeClr val="accent4"/>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795719" name="Oval 90"/>
          <p:cNvSpPr>
            <a:spLocks noChangeArrowheads="1"/>
          </p:cNvSpPr>
          <p:nvPr/>
        </p:nvSpPr>
        <p:spPr bwMode="black">
          <a:xfrm>
            <a:off x="3691559" y="1772841"/>
            <a:ext cx="216000" cy="216000"/>
          </a:xfrm>
          <a:prstGeom prst="ellipse">
            <a:avLst/>
          </a:prstGeom>
          <a:solidFill>
            <a:srgbClr val="C00000"/>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795720" name="Oval 91"/>
          <p:cNvSpPr>
            <a:spLocks noChangeArrowheads="1"/>
          </p:cNvSpPr>
          <p:nvPr/>
        </p:nvSpPr>
        <p:spPr bwMode="ltGray">
          <a:xfrm>
            <a:off x="3679482" y="2333626"/>
            <a:ext cx="216000" cy="216000"/>
          </a:xfrm>
          <a:prstGeom prst="ellipse">
            <a:avLst/>
          </a:prstGeom>
          <a:solidFill>
            <a:srgbClr val="FFC000"/>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795721" name="Oval 92"/>
          <p:cNvSpPr>
            <a:spLocks noChangeArrowheads="1"/>
          </p:cNvSpPr>
          <p:nvPr/>
        </p:nvSpPr>
        <p:spPr bwMode="black">
          <a:xfrm>
            <a:off x="3679482" y="3436145"/>
            <a:ext cx="216000" cy="216000"/>
          </a:xfrm>
          <a:prstGeom prst="ellipse">
            <a:avLst/>
          </a:prstGeom>
          <a:solidFill>
            <a:srgbClr val="C00000"/>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795722" name="Oval 93"/>
          <p:cNvSpPr>
            <a:spLocks noChangeArrowheads="1"/>
          </p:cNvSpPr>
          <p:nvPr/>
        </p:nvSpPr>
        <p:spPr bwMode="ltGray">
          <a:xfrm>
            <a:off x="3679482" y="3974306"/>
            <a:ext cx="216000" cy="216000"/>
          </a:xfrm>
          <a:prstGeom prst="ellipse">
            <a:avLst/>
          </a:prstGeom>
          <a:solidFill>
            <a:srgbClr val="FFC000"/>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795723" name="Oval 94"/>
          <p:cNvSpPr>
            <a:spLocks noChangeArrowheads="1"/>
          </p:cNvSpPr>
          <p:nvPr/>
        </p:nvSpPr>
        <p:spPr bwMode="grayWhite">
          <a:xfrm>
            <a:off x="4546364" y="2884885"/>
            <a:ext cx="216000" cy="216000"/>
          </a:xfrm>
          <a:prstGeom prst="ellipse">
            <a:avLst/>
          </a:prstGeom>
          <a:solidFill>
            <a:schemeClr val="accent4"/>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795724" name="Oval 95"/>
          <p:cNvSpPr>
            <a:spLocks noChangeArrowheads="1"/>
          </p:cNvSpPr>
          <p:nvPr/>
        </p:nvSpPr>
        <p:spPr bwMode="black">
          <a:xfrm>
            <a:off x="4558442" y="1772841"/>
            <a:ext cx="216000" cy="216000"/>
          </a:xfrm>
          <a:prstGeom prst="ellipse">
            <a:avLst/>
          </a:prstGeom>
          <a:solidFill>
            <a:srgbClr val="C00000"/>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795725" name="Oval 96"/>
          <p:cNvSpPr>
            <a:spLocks noChangeArrowheads="1"/>
          </p:cNvSpPr>
          <p:nvPr/>
        </p:nvSpPr>
        <p:spPr bwMode="ltGray">
          <a:xfrm>
            <a:off x="4546364" y="2333626"/>
            <a:ext cx="216000" cy="216000"/>
          </a:xfrm>
          <a:prstGeom prst="ellipse">
            <a:avLst/>
          </a:prstGeom>
          <a:solidFill>
            <a:srgbClr val="FFC000"/>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795726" name="Oval 97"/>
          <p:cNvSpPr>
            <a:spLocks noChangeArrowheads="1"/>
          </p:cNvSpPr>
          <p:nvPr/>
        </p:nvSpPr>
        <p:spPr bwMode="black">
          <a:xfrm>
            <a:off x="4546364" y="3436145"/>
            <a:ext cx="216000" cy="216000"/>
          </a:xfrm>
          <a:prstGeom prst="ellipse">
            <a:avLst/>
          </a:prstGeom>
          <a:solidFill>
            <a:srgbClr val="C00000"/>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795727" name="Oval 98"/>
          <p:cNvSpPr>
            <a:spLocks noChangeArrowheads="1"/>
          </p:cNvSpPr>
          <p:nvPr/>
        </p:nvSpPr>
        <p:spPr bwMode="ltGray">
          <a:xfrm>
            <a:off x="4546364" y="3974306"/>
            <a:ext cx="216000" cy="216000"/>
          </a:xfrm>
          <a:prstGeom prst="ellipse">
            <a:avLst/>
          </a:prstGeom>
          <a:solidFill>
            <a:srgbClr val="FFC000"/>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795728" name="Oval 99"/>
          <p:cNvSpPr>
            <a:spLocks noChangeArrowheads="1"/>
          </p:cNvSpPr>
          <p:nvPr/>
        </p:nvSpPr>
        <p:spPr bwMode="grayWhite">
          <a:xfrm>
            <a:off x="5413786" y="2884885"/>
            <a:ext cx="216000" cy="216000"/>
          </a:xfrm>
          <a:prstGeom prst="ellipse">
            <a:avLst/>
          </a:prstGeom>
          <a:solidFill>
            <a:schemeClr val="accent4"/>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795729" name="Oval 100"/>
          <p:cNvSpPr>
            <a:spLocks noChangeArrowheads="1"/>
          </p:cNvSpPr>
          <p:nvPr/>
        </p:nvSpPr>
        <p:spPr bwMode="black">
          <a:xfrm>
            <a:off x="5425863" y="1772841"/>
            <a:ext cx="216000" cy="216000"/>
          </a:xfrm>
          <a:prstGeom prst="ellipse">
            <a:avLst/>
          </a:prstGeom>
          <a:solidFill>
            <a:srgbClr val="C00000"/>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795730" name="Oval 101"/>
          <p:cNvSpPr>
            <a:spLocks noChangeArrowheads="1"/>
          </p:cNvSpPr>
          <p:nvPr/>
        </p:nvSpPr>
        <p:spPr bwMode="ltGray">
          <a:xfrm>
            <a:off x="5413786" y="2333626"/>
            <a:ext cx="216000" cy="216000"/>
          </a:xfrm>
          <a:prstGeom prst="ellipse">
            <a:avLst/>
          </a:prstGeom>
          <a:solidFill>
            <a:srgbClr val="FFC000"/>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795731" name="Oval 102"/>
          <p:cNvSpPr>
            <a:spLocks noChangeArrowheads="1"/>
          </p:cNvSpPr>
          <p:nvPr/>
        </p:nvSpPr>
        <p:spPr bwMode="black">
          <a:xfrm>
            <a:off x="5413786" y="3436145"/>
            <a:ext cx="216000" cy="216000"/>
          </a:xfrm>
          <a:prstGeom prst="ellipse">
            <a:avLst/>
          </a:prstGeom>
          <a:solidFill>
            <a:srgbClr val="C00000"/>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795732" name="Oval 103"/>
          <p:cNvSpPr>
            <a:spLocks noChangeArrowheads="1"/>
          </p:cNvSpPr>
          <p:nvPr/>
        </p:nvSpPr>
        <p:spPr bwMode="ltGray">
          <a:xfrm>
            <a:off x="5413786" y="3974306"/>
            <a:ext cx="216000" cy="216000"/>
          </a:xfrm>
          <a:prstGeom prst="ellipse">
            <a:avLst/>
          </a:prstGeom>
          <a:solidFill>
            <a:srgbClr val="FFC000"/>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795733" name="Oval 104"/>
          <p:cNvSpPr>
            <a:spLocks noChangeArrowheads="1"/>
          </p:cNvSpPr>
          <p:nvPr/>
        </p:nvSpPr>
        <p:spPr bwMode="grayWhite">
          <a:xfrm>
            <a:off x="6281210" y="2884885"/>
            <a:ext cx="216000" cy="216000"/>
          </a:xfrm>
          <a:prstGeom prst="ellipse">
            <a:avLst/>
          </a:prstGeom>
          <a:solidFill>
            <a:schemeClr val="accent4"/>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795734" name="Oval 105"/>
          <p:cNvSpPr>
            <a:spLocks noChangeArrowheads="1"/>
          </p:cNvSpPr>
          <p:nvPr/>
        </p:nvSpPr>
        <p:spPr bwMode="black">
          <a:xfrm>
            <a:off x="6293287" y="1772841"/>
            <a:ext cx="216000" cy="216000"/>
          </a:xfrm>
          <a:prstGeom prst="ellipse">
            <a:avLst/>
          </a:prstGeom>
          <a:solidFill>
            <a:srgbClr val="C00000"/>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795735" name="Oval 106"/>
          <p:cNvSpPr>
            <a:spLocks noChangeArrowheads="1"/>
          </p:cNvSpPr>
          <p:nvPr/>
        </p:nvSpPr>
        <p:spPr bwMode="ltGray">
          <a:xfrm>
            <a:off x="6281210" y="2333626"/>
            <a:ext cx="216000" cy="216000"/>
          </a:xfrm>
          <a:prstGeom prst="ellipse">
            <a:avLst/>
          </a:prstGeom>
          <a:solidFill>
            <a:srgbClr val="FFC000"/>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795736" name="Oval 107"/>
          <p:cNvSpPr>
            <a:spLocks noChangeArrowheads="1"/>
          </p:cNvSpPr>
          <p:nvPr/>
        </p:nvSpPr>
        <p:spPr bwMode="black">
          <a:xfrm>
            <a:off x="6281210" y="3436145"/>
            <a:ext cx="216000" cy="216000"/>
          </a:xfrm>
          <a:prstGeom prst="ellipse">
            <a:avLst/>
          </a:prstGeom>
          <a:solidFill>
            <a:srgbClr val="C00000"/>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795737" name="Oval 108"/>
          <p:cNvSpPr>
            <a:spLocks noChangeArrowheads="1"/>
          </p:cNvSpPr>
          <p:nvPr/>
        </p:nvSpPr>
        <p:spPr bwMode="ltGray">
          <a:xfrm>
            <a:off x="6281210" y="3974306"/>
            <a:ext cx="216000" cy="216000"/>
          </a:xfrm>
          <a:prstGeom prst="ellipse">
            <a:avLst/>
          </a:prstGeom>
          <a:solidFill>
            <a:srgbClr val="FFC000"/>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795738" name="Oval 109"/>
          <p:cNvSpPr>
            <a:spLocks noChangeArrowheads="1"/>
          </p:cNvSpPr>
          <p:nvPr/>
        </p:nvSpPr>
        <p:spPr bwMode="grayWhite">
          <a:xfrm>
            <a:off x="7156606" y="2873574"/>
            <a:ext cx="216000" cy="216000"/>
          </a:xfrm>
          <a:prstGeom prst="ellipse">
            <a:avLst/>
          </a:prstGeom>
          <a:solidFill>
            <a:schemeClr val="accent4"/>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795739" name="Oval 110"/>
          <p:cNvSpPr>
            <a:spLocks noChangeArrowheads="1"/>
          </p:cNvSpPr>
          <p:nvPr/>
        </p:nvSpPr>
        <p:spPr bwMode="black">
          <a:xfrm>
            <a:off x="7156606" y="1772841"/>
            <a:ext cx="216000" cy="216000"/>
          </a:xfrm>
          <a:prstGeom prst="ellipse">
            <a:avLst/>
          </a:prstGeom>
          <a:solidFill>
            <a:srgbClr val="C00000"/>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795740" name="Oval 111"/>
          <p:cNvSpPr>
            <a:spLocks noChangeArrowheads="1"/>
          </p:cNvSpPr>
          <p:nvPr/>
        </p:nvSpPr>
        <p:spPr bwMode="ltGray">
          <a:xfrm>
            <a:off x="7156606" y="2323208"/>
            <a:ext cx="216000" cy="216000"/>
          </a:xfrm>
          <a:prstGeom prst="ellipse">
            <a:avLst/>
          </a:prstGeom>
          <a:solidFill>
            <a:srgbClr val="FFC000"/>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795741" name="Oval 112"/>
          <p:cNvSpPr>
            <a:spLocks noChangeArrowheads="1"/>
          </p:cNvSpPr>
          <p:nvPr/>
        </p:nvSpPr>
        <p:spPr bwMode="black">
          <a:xfrm>
            <a:off x="7156606" y="3423941"/>
            <a:ext cx="216000" cy="216000"/>
          </a:xfrm>
          <a:prstGeom prst="ellipse">
            <a:avLst/>
          </a:prstGeom>
          <a:solidFill>
            <a:srgbClr val="C00000"/>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795742" name="Oval 113"/>
          <p:cNvSpPr>
            <a:spLocks noChangeArrowheads="1"/>
          </p:cNvSpPr>
          <p:nvPr/>
        </p:nvSpPr>
        <p:spPr bwMode="ltGray">
          <a:xfrm>
            <a:off x="7156606" y="3974306"/>
            <a:ext cx="216000" cy="216000"/>
          </a:xfrm>
          <a:prstGeom prst="ellipse">
            <a:avLst/>
          </a:prstGeom>
          <a:solidFill>
            <a:srgbClr val="FFC000"/>
          </a:solidFill>
          <a:ln w="12700" algn="ctr">
            <a:solidFill>
              <a:schemeClr val="bg1"/>
            </a:solidFill>
            <a:round/>
            <a:headEnd/>
            <a:tailEnd/>
          </a:ln>
        </p:spPr>
        <p:txBody>
          <a:bodyPr wrap="none" anchor="ctr"/>
          <a:lstStyle/>
          <a:p>
            <a:pPr defTabSz="685800">
              <a:buClrTx/>
            </a:pPr>
            <a:endParaRPr lang="en-US" sz="1350" kern="1200">
              <a:solidFill>
                <a:prstClr val="black"/>
              </a:solidFill>
              <a:ea typeface="+mn-ea"/>
              <a:cs typeface="+mn-cs"/>
            </a:endParaRPr>
          </a:p>
        </p:txBody>
      </p:sp>
      <p:sp>
        <p:nvSpPr>
          <p:cNvPr id="42" name="Text Placeholder 12"/>
          <p:cNvSpPr>
            <a:spLocks/>
          </p:cNvSpPr>
          <p:nvPr>
            <p:custDataLst>
              <p:tags r:id="rId1"/>
            </p:custDataLst>
          </p:nvPr>
        </p:nvSpPr>
        <p:spPr bwMode="auto">
          <a:xfrm>
            <a:off x="1440657" y="843534"/>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Tree>
  </p:cSld>
  <p:clrMapOvr>
    <a:masterClrMapping/>
  </p:clrMapOvr>
  <p:transition>
    <p:fade/>
  </p:transition>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7697" name="Title 1"/>
          <p:cNvSpPr>
            <a:spLocks noGrp="1"/>
          </p:cNvSpPr>
          <p:nvPr>
            <p:ph type="title"/>
          </p:nvPr>
        </p:nvSpPr>
        <p:spPr/>
        <p:txBody>
          <a:bodyPr/>
          <a:lstStyle/>
          <a:p>
            <a:r>
              <a:rPr lang="en-US" altLang="ja-JP"/>
              <a:t>Heat map</a:t>
            </a:r>
            <a:endParaRPr lang="en-US"/>
          </a:p>
        </p:txBody>
      </p:sp>
      <p:sp>
        <p:nvSpPr>
          <p:cNvPr id="4" name="Rectangle 3"/>
          <p:cNvSpPr>
            <a:spLocks noChangeArrowheads="1"/>
          </p:cNvSpPr>
          <p:nvPr/>
        </p:nvSpPr>
        <p:spPr bwMode="auto">
          <a:xfrm>
            <a:off x="6704410" y="0"/>
            <a:ext cx="1296590" cy="369332"/>
          </a:xfrm>
          <a:prstGeom prst="rect">
            <a:avLst/>
          </a:prstGeom>
          <a:solidFill>
            <a:schemeClr val="accent6"/>
          </a:solidFill>
          <a:ln w="6350" algn="ctr">
            <a:solidFill>
              <a:schemeClr val="bg1"/>
            </a:solidFill>
            <a:miter lim="800000"/>
            <a:headEnd/>
            <a:tailEnd/>
          </a:ln>
        </p:spPr>
        <p:txBody>
          <a:bodyPr tIns="68580" bIns="68580">
            <a:spAutoFit/>
          </a:bodyPr>
          <a:lstStyle/>
          <a:p>
            <a:pPr defTabSz="685800">
              <a:buClrTx/>
              <a:defRPr/>
            </a:pPr>
            <a:r>
              <a:rPr lang="en-US" altLang="ja-JP" sz="750" kern="1200">
                <a:solidFill>
                  <a:srgbClr val="313131"/>
                </a:solidFill>
                <a:ea typeface="ＭＳ Ｐゴシック" pitchFamily="50" charset="-128"/>
                <a:cs typeface="+mn-cs"/>
              </a:rPr>
              <a:t>Tip! Copy and paste cells to change cell colours</a:t>
            </a:r>
            <a:endParaRPr lang="en-US" sz="750" kern="1200" dirty="0">
              <a:solidFill>
                <a:srgbClr val="313131"/>
              </a:solidFill>
              <a:ea typeface="ＭＳ Ｐゴシック" pitchFamily="50" charset="-128"/>
              <a:cs typeface="+mn-cs"/>
            </a:endParaRPr>
          </a:p>
        </p:txBody>
      </p:sp>
      <p:sp>
        <p:nvSpPr>
          <p:cNvPr id="797700" name="Text Box 130"/>
          <p:cNvSpPr txBox="1">
            <a:spLocks noChangeArrowheads="1"/>
          </p:cNvSpPr>
          <p:nvPr/>
        </p:nvSpPr>
        <p:spPr bwMode="auto">
          <a:xfrm>
            <a:off x="5547169" y="4523795"/>
            <a:ext cx="519694" cy="207749"/>
          </a:xfrm>
          <a:prstGeom prst="rect">
            <a:avLst/>
          </a:prstGeom>
          <a:noFill/>
          <a:ln w="9525">
            <a:noFill/>
            <a:miter lim="800000"/>
            <a:headEnd type="none" w="sm" len="sm"/>
            <a:tailEnd type="none" w="med" len="lg"/>
          </a:ln>
        </p:spPr>
        <p:txBody>
          <a:bodyPr wrap="none">
            <a:spAutoFit/>
          </a:bodyPr>
          <a:lstStyle/>
          <a:p>
            <a:pPr defTabSz="685800">
              <a:buClrTx/>
            </a:pPr>
            <a:r>
              <a:rPr lang="en-US" altLang="ja-JP" sz="750" kern="1200" dirty="0">
                <a:solidFill>
                  <a:srgbClr val="313131"/>
                </a:solidFill>
                <a:ea typeface="ＭＳ Ｐゴシック" charset="-128"/>
                <a:cs typeface="+mn-cs"/>
              </a:rPr>
              <a:t>Positive</a:t>
            </a:r>
          </a:p>
        </p:txBody>
      </p:sp>
      <p:sp>
        <p:nvSpPr>
          <p:cNvPr id="797701" name="Text Box 131"/>
          <p:cNvSpPr txBox="1">
            <a:spLocks noChangeArrowheads="1"/>
          </p:cNvSpPr>
          <p:nvPr/>
        </p:nvSpPr>
        <p:spPr bwMode="auto">
          <a:xfrm>
            <a:off x="6392182" y="4523795"/>
            <a:ext cx="492443" cy="207749"/>
          </a:xfrm>
          <a:prstGeom prst="rect">
            <a:avLst/>
          </a:prstGeom>
          <a:noFill/>
          <a:ln w="9525">
            <a:noFill/>
            <a:miter lim="800000"/>
            <a:headEnd type="none" w="sm" len="sm"/>
            <a:tailEnd type="none" w="med" len="lg"/>
          </a:ln>
        </p:spPr>
        <p:txBody>
          <a:bodyPr wrap="none">
            <a:spAutoFit/>
          </a:bodyPr>
          <a:lstStyle/>
          <a:p>
            <a:pPr defTabSz="685800">
              <a:buClrTx/>
            </a:pPr>
            <a:r>
              <a:rPr lang="en-US" altLang="ja-JP" sz="750" kern="1200" dirty="0">
                <a:solidFill>
                  <a:srgbClr val="313131"/>
                </a:solidFill>
                <a:ea typeface="ＭＳ Ｐゴシック" charset="-128"/>
                <a:cs typeface="+mn-cs"/>
              </a:rPr>
              <a:t>Neutral</a:t>
            </a:r>
          </a:p>
        </p:txBody>
      </p:sp>
      <p:sp>
        <p:nvSpPr>
          <p:cNvPr id="797702" name="Text Box 132"/>
          <p:cNvSpPr txBox="1">
            <a:spLocks noChangeArrowheads="1"/>
          </p:cNvSpPr>
          <p:nvPr/>
        </p:nvSpPr>
        <p:spPr bwMode="auto">
          <a:xfrm>
            <a:off x="7112786" y="4523795"/>
            <a:ext cx="561372" cy="207749"/>
          </a:xfrm>
          <a:prstGeom prst="rect">
            <a:avLst/>
          </a:prstGeom>
          <a:noFill/>
          <a:ln w="9525">
            <a:noFill/>
            <a:miter lim="800000"/>
            <a:headEnd type="none" w="sm" len="sm"/>
            <a:tailEnd type="none" w="med" len="lg"/>
          </a:ln>
        </p:spPr>
        <p:txBody>
          <a:bodyPr wrap="none">
            <a:spAutoFit/>
          </a:bodyPr>
          <a:lstStyle/>
          <a:p>
            <a:pPr defTabSz="685800">
              <a:buClrTx/>
            </a:pPr>
            <a:r>
              <a:rPr lang="en-US" altLang="ja-JP" sz="750" kern="1200">
                <a:solidFill>
                  <a:srgbClr val="313131"/>
                </a:solidFill>
                <a:ea typeface="ＭＳ Ｐゴシック" charset="-128"/>
                <a:cs typeface="+mn-cs"/>
              </a:rPr>
              <a:t>Negative</a:t>
            </a:r>
          </a:p>
        </p:txBody>
      </p:sp>
      <p:sp>
        <p:nvSpPr>
          <p:cNvPr id="797703" name="Rectangle 133"/>
          <p:cNvSpPr>
            <a:spLocks noChangeArrowheads="1"/>
          </p:cNvSpPr>
          <p:nvPr/>
        </p:nvSpPr>
        <p:spPr bwMode="gray">
          <a:xfrm>
            <a:off x="5366194" y="4534569"/>
            <a:ext cx="163115" cy="163116"/>
          </a:xfrm>
          <a:prstGeom prst="rect">
            <a:avLst/>
          </a:prstGeom>
          <a:solidFill>
            <a:srgbClr val="81BC00"/>
          </a:solidFill>
          <a:ln w="12700" algn="ctr">
            <a:solidFill>
              <a:schemeClr val="bg1"/>
            </a:solidFill>
            <a:miter lim="800000"/>
            <a:headEnd/>
            <a:tailEnd/>
          </a:ln>
        </p:spPr>
        <p:txBody>
          <a:bodyPr wrap="none" anchor="ctr"/>
          <a:lstStyle/>
          <a:p>
            <a:pPr defTabSz="685800">
              <a:buClrTx/>
            </a:pPr>
            <a:endParaRPr lang="en-US" sz="750" kern="1200">
              <a:solidFill>
                <a:srgbClr val="313131"/>
              </a:solidFill>
              <a:ea typeface="+mn-ea"/>
              <a:cs typeface="+mn-cs"/>
            </a:endParaRPr>
          </a:p>
        </p:txBody>
      </p:sp>
      <p:sp>
        <p:nvSpPr>
          <p:cNvPr id="797704" name="Rectangle 134"/>
          <p:cNvSpPr>
            <a:spLocks noChangeArrowheads="1"/>
          </p:cNvSpPr>
          <p:nvPr/>
        </p:nvSpPr>
        <p:spPr bwMode="gray">
          <a:xfrm>
            <a:off x="6212396" y="4534569"/>
            <a:ext cx="163116" cy="163116"/>
          </a:xfrm>
          <a:prstGeom prst="rect">
            <a:avLst/>
          </a:prstGeom>
          <a:solidFill>
            <a:srgbClr val="FFC000"/>
          </a:solidFill>
          <a:ln w="12700" algn="ctr">
            <a:solidFill>
              <a:schemeClr val="bg1"/>
            </a:solidFill>
            <a:miter lim="800000"/>
            <a:headEnd/>
            <a:tailEnd/>
          </a:ln>
        </p:spPr>
        <p:txBody>
          <a:bodyPr rot="10800000" vert="eaVert" wrap="none" anchor="ctr"/>
          <a:lstStyle/>
          <a:p>
            <a:pPr defTabSz="685800">
              <a:buClrTx/>
            </a:pPr>
            <a:endParaRPr lang="en-US" sz="750" kern="1200">
              <a:solidFill>
                <a:srgbClr val="313131"/>
              </a:solidFill>
              <a:ea typeface="+mn-ea"/>
              <a:cs typeface="+mn-cs"/>
            </a:endParaRPr>
          </a:p>
        </p:txBody>
      </p:sp>
      <p:sp>
        <p:nvSpPr>
          <p:cNvPr id="797705" name="Rectangle 135"/>
          <p:cNvSpPr>
            <a:spLocks noChangeArrowheads="1"/>
          </p:cNvSpPr>
          <p:nvPr/>
        </p:nvSpPr>
        <p:spPr bwMode="black">
          <a:xfrm>
            <a:off x="6965148" y="4534569"/>
            <a:ext cx="163116" cy="163116"/>
          </a:xfrm>
          <a:prstGeom prst="rect">
            <a:avLst/>
          </a:prstGeom>
          <a:solidFill>
            <a:srgbClr val="C00000"/>
          </a:solidFill>
          <a:ln w="12700" algn="ctr">
            <a:solidFill>
              <a:schemeClr val="bg1"/>
            </a:solidFill>
            <a:miter lim="800000"/>
            <a:headEnd/>
            <a:tailEnd/>
          </a:ln>
        </p:spPr>
        <p:txBody>
          <a:bodyPr rot="10800000" wrap="none" anchor="ctr"/>
          <a:lstStyle/>
          <a:p>
            <a:pPr defTabSz="685800">
              <a:buClrTx/>
            </a:pPr>
            <a:endParaRPr lang="en-US" sz="750" kern="1200">
              <a:solidFill>
                <a:srgbClr val="313131"/>
              </a:solidFill>
              <a:ea typeface="+mn-ea"/>
              <a:cs typeface="+mn-cs"/>
            </a:endParaRPr>
          </a:p>
        </p:txBody>
      </p:sp>
      <p:graphicFrame>
        <p:nvGraphicFramePr>
          <p:cNvPr id="35" name="Group 4"/>
          <p:cNvGraphicFramePr>
            <a:graphicFrameLocks noGrp="1"/>
          </p:cNvGraphicFramePr>
          <p:nvPr/>
        </p:nvGraphicFramePr>
        <p:xfrm>
          <a:off x="1440659" y="1151335"/>
          <a:ext cx="6262681" cy="3086100"/>
        </p:xfrm>
        <a:graphic>
          <a:graphicData uri="http://schemas.openxmlformats.org/drawingml/2006/table">
            <a:tbl>
              <a:tblPr/>
              <a:tblGrid>
                <a:gridCol w="1177609">
                  <a:extLst>
                    <a:ext uri="{9D8B030D-6E8A-4147-A177-3AD203B41FA5}">
                      <a16:colId xmlns:a16="http://schemas.microsoft.com/office/drawing/2014/main" val="20000"/>
                    </a:ext>
                  </a:extLst>
                </a:gridCol>
                <a:gridCol w="635634">
                  <a:extLst>
                    <a:ext uri="{9D8B030D-6E8A-4147-A177-3AD203B41FA5}">
                      <a16:colId xmlns:a16="http://schemas.microsoft.com/office/drawing/2014/main" val="20001"/>
                    </a:ext>
                  </a:extLst>
                </a:gridCol>
                <a:gridCol w="635634">
                  <a:extLst>
                    <a:ext uri="{9D8B030D-6E8A-4147-A177-3AD203B41FA5}">
                      <a16:colId xmlns:a16="http://schemas.microsoft.com/office/drawing/2014/main" val="20002"/>
                    </a:ext>
                  </a:extLst>
                </a:gridCol>
                <a:gridCol w="635634">
                  <a:extLst>
                    <a:ext uri="{9D8B030D-6E8A-4147-A177-3AD203B41FA5}">
                      <a16:colId xmlns:a16="http://schemas.microsoft.com/office/drawing/2014/main" val="20003"/>
                    </a:ext>
                  </a:extLst>
                </a:gridCol>
                <a:gridCol w="635634">
                  <a:extLst>
                    <a:ext uri="{9D8B030D-6E8A-4147-A177-3AD203B41FA5}">
                      <a16:colId xmlns:a16="http://schemas.microsoft.com/office/drawing/2014/main" val="20004"/>
                    </a:ext>
                  </a:extLst>
                </a:gridCol>
                <a:gridCol w="635634">
                  <a:extLst>
                    <a:ext uri="{9D8B030D-6E8A-4147-A177-3AD203B41FA5}">
                      <a16:colId xmlns:a16="http://schemas.microsoft.com/office/drawing/2014/main" val="20005"/>
                    </a:ext>
                  </a:extLst>
                </a:gridCol>
                <a:gridCol w="635634">
                  <a:extLst>
                    <a:ext uri="{9D8B030D-6E8A-4147-A177-3AD203B41FA5}">
                      <a16:colId xmlns:a16="http://schemas.microsoft.com/office/drawing/2014/main" val="20006"/>
                    </a:ext>
                  </a:extLst>
                </a:gridCol>
                <a:gridCol w="635634">
                  <a:extLst>
                    <a:ext uri="{9D8B030D-6E8A-4147-A177-3AD203B41FA5}">
                      <a16:colId xmlns:a16="http://schemas.microsoft.com/office/drawing/2014/main" val="20007"/>
                    </a:ext>
                  </a:extLst>
                </a:gridCol>
                <a:gridCol w="635634">
                  <a:extLst>
                    <a:ext uri="{9D8B030D-6E8A-4147-A177-3AD203B41FA5}">
                      <a16:colId xmlns:a16="http://schemas.microsoft.com/office/drawing/2014/main" val="20008"/>
                    </a:ext>
                  </a:extLst>
                </a:gridCol>
              </a:tblGrid>
              <a:tr h="34290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1" i="0" u="none" strike="noStrike" cap="none" normalizeH="0" baseline="0" dirty="0">
                        <a:ln>
                          <a:noFill/>
                        </a:ln>
                        <a:solidFill>
                          <a:srgbClr val="313131"/>
                        </a:solidFill>
                        <a:effectLst/>
                        <a:latin typeface="Arial" charset="0"/>
                      </a:endParaRPr>
                    </a:p>
                  </a:txBody>
                  <a:tcPr marL="54864" marR="54864" marT="54864" marB="54864" anchor="ctr" horzOverflow="overflow">
                    <a:lnL cap="flat">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54864" marR="54864" marT="54864" marB="5486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54864" marR="54864" marT="54864" marB="5486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54864" marR="54864" marT="54864" marB="54864"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54864" marR="54864" marT="54864" marB="54864"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54864" marR="54864" marT="54864" marB="54864"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54864" marR="54864" marT="54864" marB="54864"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54864" marR="54864" marT="54864" marB="54864"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54864" marR="54864" marT="54864" marB="54864"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extLst>
                  <a:ext uri="{0D108BD9-81ED-4DB2-BD59-A6C34878D82A}">
                    <a16:rowId xmlns:a16="http://schemas.microsoft.com/office/drawing/2014/main" val="10000"/>
                  </a:ext>
                </a:extLst>
              </a:tr>
              <a:tr h="34290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Row description</a:t>
                      </a:r>
                    </a:p>
                  </a:txBody>
                  <a:tcPr marL="54864" marR="54864" marT="96012" marB="96012" anchor="ctr" horzOverflow="overflow">
                    <a:lnL cap="flat">
                      <a:noFill/>
                    </a:lnL>
                    <a:lnR w="12700"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extLst>
                  <a:ext uri="{0D108BD9-81ED-4DB2-BD59-A6C34878D82A}">
                    <a16:rowId xmlns:a16="http://schemas.microsoft.com/office/drawing/2014/main" val="10001"/>
                  </a:ext>
                </a:extLst>
              </a:tr>
              <a:tr h="34290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Row description</a:t>
                      </a:r>
                    </a:p>
                  </a:txBody>
                  <a:tcPr marL="54864" marR="54864" marT="96012" marB="96012" anchor="ctr" horzOverflow="overflow">
                    <a:lnL cap="flat">
                      <a:noFill/>
                    </a:lnL>
                    <a:lnR w="12700"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extLst>
                  <a:ext uri="{0D108BD9-81ED-4DB2-BD59-A6C34878D82A}">
                    <a16:rowId xmlns:a16="http://schemas.microsoft.com/office/drawing/2014/main" val="10002"/>
                  </a:ext>
                </a:extLst>
              </a:tr>
              <a:tr h="34290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Row description</a:t>
                      </a:r>
                    </a:p>
                  </a:txBody>
                  <a:tcPr marL="54864" marR="54864" marT="96012" marB="96012" anchor="ctr" horzOverflow="overflow">
                    <a:lnL cap="flat">
                      <a:noFill/>
                    </a:lnL>
                    <a:lnR w="12700"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extLst>
                  <a:ext uri="{0D108BD9-81ED-4DB2-BD59-A6C34878D82A}">
                    <a16:rowId xmlns:a16="http://schemas.microsoft.com/office/drawing/2014/main" val="10003"/>
                  </a:ext>
                </a:extLst>
              </a:tr>
              <a:tr h="34290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Row description</a:t>
                      </a:r>
                    </a:p>
                  </a:txBody>
                  <a:tcPr marL="54864" marR="54864" marT="96012" marB="96012" anchor="ctr" horzOverflow="overflow">
                    <a:lnL cap="flat">
                      <a:noFill/>
                    </a:lnL>
                    <a:lnR w="12700"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extLst>
                  <a:ext uri="{0D108BD9-81ED-4DB2-BD59-A6C34878D82A}">
                    <a16:rowId xmlns:a16="http://schemas.microsoft.com/office/drawing/2014/main" val="10004"/>
                  </a:ext>
                </a:extLst>
              </a:tr>
              <a:tr h="34290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Row description</a:t>
                      </a:r>
                    </a:p>
                  </a:txBody>
                  <a:tcPr marL="54864" marR="54864" marT="96012" marB="96012" anchor="ctr" horzOverflow="overflow">
                    <a:lnL cap="flat">
                      <a:noFill/>
                    </a:lnL>
                    <a:lnR w="12700"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extLst>
                  <a:ext uri="{0D108BD9-81ED-4DB2-BD59-A6C34878D82A}">
                    <a16:rowId xmlns:a16="http://schemas.microsoft.com/office/drawing/2014/main" val="10005"/>
                  </a:ext>
                </a:extLst>
              </a:tr>
              <a:tr h="34290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Row description</a:t>
                      </a:r>
                    </a:p>
                  </a:txBody>
                  <a:tcPr marL="54864" marR="54864" marT="96012" marB="96012" anchor="ctr" horzOverflow="overflow">
                    <a:lnL cap="flat">
                      <a:noFill/>
                    </a:lnL>
                    <a:lnR w="12700"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extLst>
                  <a:ext uri="{0D108BD9-81ED-4DB2-BD59-A6C34878D82A}">
                    <a16:rowId xmlns:a16="http://schemas.microsoft.com/office/drawing/2014/main" val="10006"/>
                  </a:ext>
                </a:extLst>
              </a:tr>
              <a:tr h="34290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Row description</a:t>
                      </a:r>
                    </a:p>
                  </a:txBody>
                  <a:tcPr marL="54864" marR="54864" marT="96012" marB="96012" anchor="ctr" horzOverflow="overflow">
                    <a:lnL cap="flat">
                      <a:noFill/>
                    </a:lnL>
                    <a:lnR w="12700"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extLst>
                  <a:ext uri="{0D108BD9-81ED-4DB2-BD59-A6C34878D82A}">
                    <a16:rowId xmlns:a16="http://schemas.microsoft.com/office/drawing/2014/main" val="10007"/>
                  </a:ext>
                </a:extLst>
              </a:tr>
              <a:tr h="34290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Row description</a:t>
                      </a:r>
                    </a:p>
                  </a:txBody>
                  <a:tcPr marL="54864" marR="54864" marT="96012" marB="96012" anchor="ctr" horzOverflow="overflow">
                    <a:lnL cap="flat">
                      <a:noFill/>
                    </a:lnL>
                    <a:lnR w="12700" cap="flat" cmpd="sng" algn="ctr">
                      <a:solidFill>
                        <a:schemeClr val="bg1"/>
                      </a:solidFill>
                      <a:prstDash val="solid"/>
                      <a:round/>
                      <a:headEnd type="none" w="med" len="med"/>
                      <a:tailEnd type="none" w="med" len="med"/>
                    </a:lnR>
                    <a:lnT>
                      <a:noFill/>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4864" marR="267462" marT="96012" marB="9601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extLst>
                  <a:ext uri="{0D108BD9-81ED-4DB2-BD59-A6C34878D82A}">
                    <a16:rowId xmlns:a16="http://schemas.microsoft.com/office/drawing/2014/main" val="10008"/>
                  </a:ext>
                </a:extLst>
              </a:tr>
            </a:tbl>
          </a:graphicData>
        </a:graphic>
      </p:graphicFrame>
      <p:sp>
        <p:nvSpPr>
          <p:cNvPr id="13" name="Text Placeholder 12"/>
          <p:cNvSpPr>
            <a:spLocks/>
          </p:cNvSpPr>
          <p:nvPr>
            <p:custDataLst>
              <p:tags r:id="rId1"/>
            </p:custDataLst>
          </p:nvPr>
        </p:nvSpPr>
        <p:spPr bwMode="auto">
          <a:xfrm>
            <a:off x="1440657" y="842963"/>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Tree>
  </p:cSld>
  <p:clrMapOvr>
    <a:masterClrMapping/>
  </p:clrMapOvr>
  <p:transition>
    <p:fade/>
  </p:transition>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6673" name="Title 1"/>
          <p:cNvSpPr>
            <a:spLocks noGrp="1"/>
          </p:cNvSpPr>
          <p:nvPr>
            <p:ph type="title"/>
          </p:nvPr>
        </p:nvSpPr>
        <p:spPr/>
        <p:txBody>
          <a:bodyPr/>
          <a:lstStyle/>
          <a:p>
            <a:r>
              <a:rPr lang="en-US" altLang="ja-JP"/>
              <a:t>Table with arrows</a:t>
            </a:r>
            <a:endParaRPr lang="en-US"/>
          </a:p>
        </p:txBody>
      </p:sp>
      <p:sp>
        <p:nvSpPr>
          <p:cNvPr id="796675" name="Text Box 3"/>
          <p:cNvSpPr txBox="1">
            <a:spLocks noChangeArrowheads="1"/>
          </p:cNvSpPr>
          <p:nvPr/>
        </p:nvSpPr>
        <p:spPr bwMode="auto">
          <a:xfrm>
            <a:off x="5767189" y="4593044"/>
            <a:ext cx="335028" cy="115416"/>
          </a:xfrm>
          <a:prstGeom prst="rect">
            <a:avLst/>
          </a:prstGeom>
          <a:noFill/>
          <a:ln w="9525">
            <a:noFill/>
            <a:miter lim="800000"/>
            <a:headEnd type="none" w="sm" len="sm"/>
            <a:tailEnd type="none" w="med" len="lg"/>
          </a:ln>
        </p:spPr>
        <p:txBody>
          <a:bodyPr wrap="none" lIns="0" tIns="0" rIns="0" bIns="0">
            <a:spAutoFit/>
          </a:bodyPr>
          <a:lstStyle/>
          <a:p>
            <a:pPr defTabSz="685800">
              <a:buClrTx/>
            </a:pPr>
            <a:r>
              <a:rPr lang="en-US" altLang="ja-JP" sz="750" kern="1200" dirty="0">
                <a:solidFill>
                  <a:srgbClr val="313131"/>
                </a:solidFill>
                <a:ea typeface="ＭＳ Ｐゴシック" charset="-128"/>
                <a:cs typeface="+mn-cs"/>
              </a:rPr>
              <a:t>Positive</a:t>
            </a:r>
          </a:p>
        </p:txBody>
      </p:sp>
      <p:sp>
        <p:nvSpPr>
          <p:cNvPr id="796676" name="Text Box 4"/>
          <p:cNvSpPr txBox="1">
            <a:spLocks noChangeArrowheads="1"/>
          </p:cNvSpPr>
          <p:nvPr/>
        </p:nvSpPr>
        <p:spPr bwMode="auto">
          <a:xfrm>
            <a:off x="6499921" y="4593044"/>
            <a:ext cx="307777" cy="115416"/>
          </a:xfrm>
          <a:prstGeom prst="rect">
            <a:avLst/>
          </a:prstGeom>
          <a:noFill/>
          <a:ln w="9525">
            <a:noFill/>
            <a:miter lim="800000"/>
            <a:headEnd type="none" w="sm" len="sm"/>
            <a:tailEnd type="none" w="med" len="lg"/>
          </a:ln>
        </p:spPr>
        <p:txBody>
          <a:bodyPr wrap="none" lIns="0" tIns="0" rIns="0" bIns="0">
            <a:spAutoFit/>
          </a:bodyPr>
          <a:lstStyle/>
          <a:p>
            <a:pPr defTabSz="685800">
              <a:buClrTx/>
            </a:pPr>
            <a:r>
              <a:rPr lang="en-US" altLang="ja-JP" sz="750" kern="1200" dirty="0">
                <a:solidFill>
                  <a:srgbClr val="313131"/>
                </a:solidFill>
                <a:ea typeface="ＭＳ Ｐゴシック" charset="-128"/>
                <a:cs typeface="+mn-cs"/>
              </a:rPr>
              <a:t>Neutral</a:t>
            </a:r>
          </a:p>
        </p:txBody>
      </p:sp>
      <p:sp>
        <p:nvSpPr>
          <p:cNvPr id="796677" name="Text Box 5"/>
          <p:cNvSpPr txBox="1">
            <a:spLocks noChangeArrowheads="1"/>
          </p:cNvSpPr>
          <p:nvPr/>
        </p:nvSpPr>
        <p:spPr bwMode="auto">
          <a:xfrm>
            <a:off x="7197201" y="4593044"/>
            <a:ext cx="376706" cy="115416"/>
          </a:xfrm>
          <a:prstGeom prst="rect">
            <a:avLst/>
          </a:prstGeom>
          <a:noFill/>
          <a:ln w="9525">
            <a:noFill/>
            <a:miter lim="800000"/>
            <a:headEnd type="none" w="sm" len="sm"/>
            <a:tailEnd type="none" w="med" len="lg"/>
          </a:ln>
        </p:spPr>
        <p:txBody>
          <a:bodyPr wrap="none" lIns="0" tIns="0" rIns="0" bIns="0">
            <a:spAutoFit/>
          </a:bodyPr>
          <a:lstStyle/>
          <a:p>
            <a:pPr defTabSz="685800">
              <a:buClrTx/>
            </a:pPr>
            <a:r>
              <a:rPr lang="en-US" altLang="ja-JP" sz="750" kern="1200" dirty="0">
                <a:solidFill>
                  <a:srgbClr val="313131"/>
                </a:solidFill>
                <a:ea typeface="ＭＳ Ｐゴシック" charset="-128"/>
                <a:cs typeface="+mn-cs"/>
              </a:rPr>
              <a:t>Negative</a:t>
            </a:r>
          </a:p>
        </p:txBody>
      </p:sp>
      <p:graphicFrame>
        <p:nvGraphicFramePr>
          <p:cNvPr id="9" name="Group 8"/>
          <p:cNvGraphicFramePr>
            <a:graphicFrameLocks noGrp="1"/>
          </p:cNvGraphicFramePr>
          <p:nvPr/>
        </p:nvGraphicFramePr>
        <p:xfrm>
          <a:off x="1418035" y="1184673"/>
          <a:ext cx="6274826" cy="3181352"/>
        </p:xfrm>
        <a:graphic>
          <a:graphicData uri="http://schemas.openxmlformats.org/drawingml/2006/table">
            <a:tbl>
              <a:tblPr/>
              <a:tblGrid>
                <a:gridCol w="1161000">
                  <a:extLst>
                    <a:ext uri="{9D8B030D-6E8A-4147-A177-3AD203B41FA5}">
                      <a16:colId xmlns:a16="http://schemas.microsoft.com/office/drawing/2014/main" val="20000"/>
                    </a:ext>
                  </a:extLst>
                </a:gridCol>
                <a:gridCol w="851755">
                  <a:extLst>
                    <a:ext uri="{9D8B030D-6E8A-4147-A177-3AD203B41FA5}">
                      <a16:colId xmlns:a16="http://schemas.microsoft.com/office/drawing/2014/main" val="20001"/>
                    </a:ext>
                  </a:extLst>
                </a:gridCol>
                <a:gridCol w="852854">
                  <a:extLst>
                    <a:ext uri="{9D8B030D-6E8A-4147-A177-3AD203B41FA5}">
                      <a16:colId xmlns:a16="http://schemas.microsoft.com/office/drawing/2014/main" val="20002"/>
                    </a:ext>
                  </a:extLst>
                </a:gridCol>
                <a:gridCol w="852854">
                  <a:extLst>
                    <a:ext uri="{9D8B030D-6E8A-4147-A177-3AD203B41FA5}">
                      <a16:colId xmlns:a16="http://schemas.microsoft.com/office/drawing/2014/main" val="20003"/>
                    </a:ext>
                  </a:extLst>
                </a:gridCol>
                <a:gridCol w="851756">
                  <a:extLst>
                    <a:ext uri="{9D8B030D-6E8A-4147-A177-3AD203B41FA5}">
                      <a16:colId xmlns:a16="http://schemas.microsoft.com/office/drawing/2014/main" val="20004"/>
                    </a:ext>
                  </a:extLst>
                </a:gridCol>
                <a:gridCol w="852854">
                  <a:extLst>
                    <a:ext uri="{9D8B030D-6E8A-4147-A177-3AD203B41FA5}">
                      <a16:colId xmlns:a16="http://schemas.microsoft.com/office/drawing/2014/main" val="20005"/>
                    </a:ext>
                  </a:extLst>
                </a:gridCol>
                <a:gridCol w="851755">
                  <a:extLst>
                    <a:ext uri="{9D8B030D-6E8A-4147-A177-3AD203B41FA5}">
                      <a16:colId xmlns:a16="http://schemas.microsoft.com/office/drawing/2014/main" val="20006"/>
                    </a:ext>
                  </a:extLst>
                </a:gridCol>
              </a:tblGrid>
              <a:tr h="4179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1" i="0" u="none" strike="noStrike" cap="none" normalizeH="0" baseline="0" dirty="0">
                        <a:ln>
                          <a:noFill/>
                        </a:ln>
                        <a:solidFill>
                          <a:srgbClr val="313131"/>
                        </a:solidFill>
                        <a:effectLst/>
                        <a:latin typeface="Arial" charset="0"/>
                      </a:endParaRPr>
                    </a:p>
                  </a:txBody>
                  <a:tcPr marL="50644" marR="50644" marT="54864" marB="54864" anchor="ctr" horzOverflow="overflow">
                    <a:lnL cap="flat">
                      <a:noFill/>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50644" marR="50644" marT="54864" marB="54864" anchor="ctr" anchorCtr="1" horzOverflow="overflow">
                    <a:lnL w="762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50644" marR="50644" marT="54864" marB="54864"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50644" marR="50644" marT="54864" marB="54864"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50644" marR="50644" marT="54864" marB="54864"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50644" marR="50644" marT="54864" marB="54864"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chemeClr val="bg1"/>
                          </a:solidFill>
                          <a:effectLst/>
                          <a:latin typeface="Arial" charset="0"/>
                        </a:rPr>
                        <a:t>Subhead</a:t>
                      </a:r>
                    </a:p>
                  </a:txBody>
                  <a:tcPr marL="50644" marR="50644" marT="54864" marB="54864"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extLst>
                  <a:ext uri="{0D108BD9-81ED-4DB2-BD59-A6C34878D82A}">
                    <a16:rowId xmlns:a16="http://schemas.microsoft.com/office/drawing/2014/main" val="10000"/>
                  </a:ext>
                </a:extLst>
              </a:tr>
              <a:tr h="553641">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Row description</a:t>
                      </a:r>
                    </a:p>
                  </a:txBody>
                  <a:tcPr marL="50644" marR="50644" marT="96012" marB="96012"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w="762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cap="flat">
                      <a:noFill/>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5126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Row description</a:t>
                      </a:r>
                    </a:p>
                  </a:txBody>
                  <a:tcPr marL="50644" marR="50644" marT="96012" marB="96012"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w="76200" cap="flat" cmpd="sng" algn="ctr">
                      <a:noFill/>
                      <a:prstDash val="solid"/>
                      <a:round/>
                      <a:headEnd type="none" w="med" len="med"/>
                      <a:tailEnd type="none" w="med" len="med"/>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cap="flat">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53641">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Row description</a:t>
                      </a:r>
                    </a:p>
                  </a:txBody>
                  <a:tcPr marL="50644" marR="50644" marT="96012" marB="96012"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w="76200" cap="flat" cmpd="sng" algn="ctr">
                      <a:noFill/>
                      <a:prstDash val="solid"/>
                      <a:round/>
                      <a:headEnd type="none" w="med" len="med"/>
                      <a:tailEnd type="none" w="med" len="med"/>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cap="flat">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5126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Row description</a:t>
                      </a:r>
                    </a:p>
                  </a:txBody>
                  <a:tcPr marL="50644" marR="50644" marT="96012" marB="96012"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w="76200" cap="flat" cmpd="sng" algn="ctr">
                      <a:noFill/>
                      <a:prstDash val="solid"/>
                      <a:round/>
                      <a:headEnd type="none" w="med" len="med"/>
                      <a:tailEnd type="none" w="med" len="med"/>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cap="flat">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53641">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Row description</a:t>
                      </a:r>
                    </a:p>
                  </a:txBody>
                  <a:tcPr marL="50644" marR="50644" marT="96012" marB="96012" anchor="ctr" horzOverflow="overflow">
                    <a:lnL cap="flat">
                      <a:noFill/>
                    </a:lnL>
                    <a:lnR w="76200" cap="flat" cmpd="sng" algn="ctr">
                      <a:noFill/>
                      <a:prstDash val="solid"/>
                      <a:round/>
                      <a:headEnd type="none" w="med" len="med"/>
                      <a:tailEnd type="none" w="med" len="med"/>
                    </a:lnR>
                    <a:lnT>
                      <a:noFill/>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w="76200" cap="flat" cmpd="sng" algn="ctr">
                      <a:noFill/>
                      <a:prstDash val="solid"/>
                      <a:round/>
                      <a:headEnd type="none" w="med" len="med"/>
                      <a:tailEnd type="none" w="med" len="med"/>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tx1"/>
                        </a:solidFill>
                        <a:effectLst/>
                        <a:latin typeface="Arial" charset="0"/>
                      </a:endParaRPr>
                    </a:p>
                  </a:txBody>
                  <a:tcPr marL="50644" marR="246888" marT="96012" marB="96012" anchor="ctr" horzOverflow="overflow">
                    <a:lnL>
                      <a:noFill/>
                    </a:lnL>
                    <a:lnR cap="flat">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10005"/>
                  </a:ext>
                </a:extLst>
              </a:tr>
            </a:tbl>
          </a:graphicData>
        </a:graphic>
      </p:graphicFrame>
      <p:sp>
        <p:nvSpPr>
          <p:cNvPr id="796738" name="AutoShape 85"/>
          <p:cNvSpPr>
            <a:spLocks noChangeArrowheads="1"/>
          </p:cNvSpPr>
          <p:nvPr/>
        </p:nvSpPr>
        <p:spPr bwMode="grayWhite">
          <a:xfrm>
            <a:off x="2812256" y="1775222"/>
            <a:ext cx="405000" cy="27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796740" name="AutoShape 87"/>
          <p:cNvSpPr>
            <a:spLocks noChangeArrowheads="1"/>
          </p:cNvSpPr>
          <p:nvPr/>
        </p:nvSpPr>
        <p:spPr bwMode="grayWhite">
          <a:xfrm>
            <a:off x="2817112" y="3421125"/>
            <a:ext cx="395288" cy="245269"/>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796743" name="AutoShape 90"/>
          <p:cNvSpPr>
            <a:spLocks noChangeArrowheads="1"/>
          </p:cNvSpPr>
          <p:nvPr/>
        </p:nvSpPr>
        <p:spPr bwMode="grayWhite">
          <a:xfrm>
            <a:off x="3666530" y="1775222"/>
            <a:ext cx="405000" cy="27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796745" name="AutoShape 92"/>
          <p:cNvSpPr>
            <a:spLocks noChangeArrowheads="1"/>
          </p:cNvSpPr>
          <p:nvPr/>
        </p:nvSpPr>
        <p:spPr bwMode="grayWhite">
          <a:xfrm>
            <a:off x="3666530" y="3408759"/>
            <a:ext cx="405000" cy="27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796748" name="AutoShape 95"/>
          <p:cNvSpPr>
            <a:spLocks noChangeArrowheads="1"/>
          </p:cNvSpPr>
          <p:nvPr/>
        </p:nvSpPr>
        <p:spPr bwMode="grayWhite">
          <a:xfrm>
            <a:off x="4520803" y="1775222"/>
            <a:ext cx="405000" cy="27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796750" name="AutoShape 97"/>
          <p:cNvSpPr>
            <a:spLocks noChangeArrowheads="1"/>
          </p:cNvSpPr>
          <p:nvPr/>
        </p:nvSpPr>
        <p:spPr bwMode="grayWhite">
          <a:xfrm>
            <a:off x="4520803" y="3408759"/>
            <a:ext cx="405000" cy="27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796753" name="AutoShape 100"/>
          <p:cNvSpPr>
            <a:spLocks noChangeArrowheads="1"/>
          </p:cNvSpPr>
          <p:nvPr/>
        </p:nvSpPr>
        <p:spPr bwMode="grayWhite">
          <a:xfrm>
            <a:off x="5375672" y="1775222"/>
            <a:ext cx="405000" cy="27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796755" name="AutoShape 102"/>
          <p:cNvSpPr>
            <a:spLocks noChangeArrowheads="1"/>
          </p:cNvSpPr>
          <p:nvPr/>
        </p:nvSpPr>
        <p:spPr bwMode="grayWhite">
          <a:xfrm>
            <a:off x="5375672" y="3408759"/>
            <a:ext cx="405000" cy="27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796758" name="AutoShape 105"/>
          <p:cNvSpPr>
            <a:spLocks noChangeArrowheads="1"/>
          </p:cNvSpPr>
          <p:nvPr/>
        </p:nvSpPr>
        <p:spPr bwMode="grayWhite">
          <a:xfrm>
            <a:off x="6229946" y="1775222"/>
            <a:ext cx="405000" cy="27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796760" name="AutoShape 107"/>
          <p:cNvSpPr>
            <a:spLocks noChangeArrowheads="1"/>
          </p:cNvSpPr>
          <p:nvPr/>
        </p:nvSpPr>
        <p:spPr bwMode="grayWhite">
          <a:xfrm>
            <a:off x="6229946" y="3408759"/>
            <a:ext cx="405000" cy="27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796763" name="AutoShape 110"/>
          <p:cNvSpPr>
            <a:spLocks noChangeArrowheads="1"/>
          </p:cNvSpPr>
          <p:nvPr/>
        </p:nvSpPr>
        <p:spPr bwMode="grayWhite">
          <a:xfrm>
            <a:off x="7084219" y="1775222"/>
            <a:ext cx="405000" cy="27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796765" name="AutoShape 112"/>
          <p:cNvSpPr>
            <a:spLocks noChangeArrowheads="1"/>
          </p:cNvSpPr>
          <p:nvPr/>
        </p:nvSpPr>
        <p:spPr bwMode="grayWhite">
          <a:xfrm>
            <a:off x="7084219" y="3408759"/>
            <a:ext cx="405000" cy="27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42" name="Text Placeholder 12"/>
          <p:cNvSpPr>
            <a:spLocks/>
          </p:cNvSpPr>
          <p:nvPr>
            <p:custDataLst>
              <p:tags r:id="rId1"/>
            </p:custDataLst>
          </p:nvPr>
        </p:nvSpPr>
        <p:spPr bwMode="auto">
          <a:xfrm>
            <a:off x="1440657" y="843534"/>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
        <p:nvSpPr>
          <p:cNvPr id="45" name="AutoShape 85"/>
          <p:cNvSpPr>
            <a:spLocks noChangeArrowheads="1"/>
          </p:cNvSpPr>
          <p:nvPr/>
        </p:nvSpPr>
        <p:spPr bwMode="grayWhite">
          <a:xfrm>
            <a:off x="2812256" y="2890517"/>
            <a:ext cx="405000" cy="270000"/>
          </a:xfrm>
          <a:prstGeom prst="downArrow">
            <a:avLst/>
          </a:prstGeom>
          <a:solidFill>
            <a:srgbClr val="C00000"/>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46" name="AutoShape 90"/>
          <p:cNvSpPr>
            <a:spLocks noChangeArrowheads="1"/>
          </p:cNvSpPr>
          <p:nvPr/>
        </p:nvSpPr>
        <p:spPr bwMode="grayWhite">
          <a:xfrm>
            <a:off x="3666530" y="2890517"/>
            <a:ext cx="405000" cy="270000"/>
          </a:xfrm>
          <a:prstGeom prst="downArrow">
            <a:avLst/>
          </a:prstGeom>
          <a:solidFill>
            <a:srgbClr val="C00000"/>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47" name="AutoShape 95"/>
          <p:cNvSpPr>
            <a:spLocks noChangeArrowheads="1"/>
          </p:cNvSpPr>
          <p:nvPr/>
        </p:nvSpPr>
        <p:spPr bwMode="grayWhite">
          <a:xfrm>
            <a:off x="4520803" y="2890517"/>
            <a:ext cx="405000" cy="270000"/>
          </a:xfrm>
          <a:prstGeom prst="downArrow">
            <a:avLst/>
          </a:prstGeom>
          <a:solidFill>
            <a:srgbClr val="C00000"/>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48" name="AutoShape 100"/>
          <p:cNvSpPr>
            <a:spLocks noChangeArrowheads="1"/>
          </p:cNvSpPr>
          <p:nvPr/>
        </p:nvSpPr>
        <p:spPr bwMode="grayWhite">
          <a:xfrm>
            <a:off x="5375672" y="2890517"/>
            <a:ext cx="405000" cy="270000"/>
          </a:xfrm>
          <a:prstGeom prst="downArrow">
            <a:avLst/>
          </a:prstGeom>
          <a:solidFill>
            <a:srgbClr val="C00000"/>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49" name="AutoShape 105"/>
          <p:cNvSpPr>
            <a:spLocks noChangeArrowheads="1"/>
          </p:cNvSpPr>
          <p:nvPr/>
        </p:nvSpPr>
        <p:spPr bwMode="grayWhite">
          <a:xfrm>
            <a:off x="6229946" y="2890517"/>
            <a:ext cx="405000" cy="270000"/>
          </a:xfrm>
          <a:prstGeom prst="downArrow">
            <a:avLst/>
          </a:prstGeom>
          <a:solidFill>
            <a:srgbClr val="C00000"/>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50" name="AutoShape 110"/>
          <p:cNvSpPr>
            <a:spLocks noChangeArrowheads="1"/>
          </p:cNvSpPr>
          <p:nvPr/>
        </p:nvSpPr>
        <p:spPr bwMode="grayWhite">
          <a:xfrm>
            <a:off x="7084219" y="2890517"/>
            <a:ext cx="405000" cy="270000"/>
          </a:xfrm>
          <a:prstGeom prst="downArrow">
            <a:avLst/>
          </a:prstGeom>
          <a:solidFill>
            <a:srgbClr val="C00000"/>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56" name="AutoShape 110"/>
          <p:cNvSpPr>
            <a:spLocks noChangeArrowheads="1"/>
          </p:cNvSpPr>
          <p:nvPr/>
        </p:nvSpPr>
        <p:spPr bwMode="grayWhite">
          <a:xfrm>
            <a:off x="7151719" y="2226888"/>
            <a:ext cx="270000" cy="405000"/>
          </a:xfrm>
          <a:prstGeom prst="rightArrow">
            <a:avLst/>
          </a:prstGeom>
          <a:solidFill>
            <a:srgbClr val="FFC000"/>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57" name="AutoShape 110"/>
          <p:cNvSpPr>
            <a:spLocks noChangeArrowheads="1"/>
          </p:cNvSpPr>
          <p:nvPr/>
        </p:nvSpPr>
        <p:spPr bwMode="grayWhite">
          <a:xfrm>
            <a:off x="7151719" y="3893542"/>
            <a:ext cx="270000" cy="405000"/>
          </a:xfrm>
          <a:prstGeom prst="rightArrow">
            <a:avLst/>
          </a:prstGeom>
          <a:solidFill>
            <a:srgbClr val="FFC000"/>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58" name="AutoShape 110"/>
          <p:cNvSpPr>
            <a:spLocks noChangeArrowheads="1"/>
          </p:cNvSpPr>
          <p:nvPr/>
        </p:nvSpPr>
        <p:spPr bwMode="grayWhite">
          <a:xfrm>
            <a:off x="6297446" y="2226888"/>
            <a:ext cx="270000" cy="405000"/>
          </a:xfrm>
          <a:prstGeom prst="rightArrow">
            <a:avLst/>
          </a:prstGeom>
          <a:solidFill>
            <a:srgbClr val="FFC000"/>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59" name="AutoShape 110"/>
          <p:cNvSpPr>
            <a:spLocks noChangeArrowheads="1"/>
          </p:cNvSpPr>
          <p:nvPr/>
        </p:nvSpPr>
        <p:spPr bwMode="grayWhite">
          <a:xfrm>
            <a:off x="6297446" y="3893542"/>
            <a:ext cx="270000" cy="405000"/>
          </a:xfrm>
          <a:prstGeom prst="rightArrow">
            <a:avLst/>
          </a:prstGeom>
          <a:solidFill>
            <a:srgbClr val="FFC000"/>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60" name="AutoShape 110"/>
          <p:cNvSpPr>
            <a:spLocks noChangeArrowheads="1"/>
          </p:cNvSpPr>
          <p:nvPr/>
        </p:nvSpPr>
        <p:spPr bwMode="grayWhite">
          <a:xfrm>
            <a:off x="5443172" y="2226888"/>
            <a:ext cx="270000" cy="405000"/>
          </a:xfrm>
          <a:prstGeom prst="rightArrow">
            <a:avLst/>
          </a:prstGeom>
          <a:solidFill>
            <a:srgbClr val="FFC000"/>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61" name="AutoShape 110"/>
          <p:cNvSpPr>
            <a:spLocks noChangeArrowheads="1"/>
          </p:cNvSpPr>
          <p:nvPr/>
        </p:nvSpPr>
        <p:spPr bwMode="grayWhite">
          <a:xfrm>
            <a:off x="5443172" y="3893542"/>
            <a:ext cx="270000" cy="405000"/>
          </a:xfrm>
          <a:prstGeom prst="rightArrow">
            <a:avLst/>
          </a:prstGeom>
          <a:solidFill>
            <a:srgbClr val="FFC000"/>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62" name="AutoShape 110"/>
          <p:cNvSpPr>
            <a:spLocks noChangeArrowheads="1"/>
          </p:cNvSpPr>
          <p:nvPr/>
        </p:nvSpPr>
        <p:spPr bwMode="grayWhite">
          <a:xfrm>
            <a:off x="4588303" y="2226888"/>
            <a:ext cx="270000" cy="405000"/>
          </a:xfrm>
          <a:prstGeom prst="rightArrow">
            <a:avLst/>
          </a:prstGeom>
          <a:solidFill>
            <a:srgbClr val="FFC000"/>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63" name="AutoShape 110"/>
          <p:cNvSpPr>
            <a:spLocks noChangeArrowheads="1"/>
          </p:cNvSpPr>
          <p:nvPr/>
        </p:nvSpPr>
        <p:spPr bwMode="grayWhite">
          <a:xfrm>
            <a:off x="4588303" y="3893542"/>
            <a:ext cx="270000" cy="405000"/>
          </a:xfrm>
          <a:prstGeom prst="rightArrow">
            <a:avLst/>
          </a:prstGeom>
          <a:solidFill>
            <a:srgbClr val="FFC000"/>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64" name="AutoShape 110"/>
          <p:cNvSpPr>
            <a:spLocks noChangeArrowheads="1"/>
          </p:cNvSpPr>
          <p:nvPr/>
        </p:nvSpPr>
        <p:spPr bwMode="grayWhite">
          <a:xfrm>
            <a:off x="3734030" y="2226888"/>
            <a:ext cx="270000" cy="405000"/>
          </a:xfrm>
          <a:prstGeom prst="rightArrow">
            <a:avLst/>
          </a:prstGeom>
          <a:solidFill>
            <a:srgbClr val="FFC000"/>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65" name="AutoShape 110"/>
          <p:cNvSpPr>
            <a:spLocks noChangeArrowheads="1"/>
          </p:cNvSpPr>
          <p:nvPr/>
        </p:nvSpPr>
        <p:spPr bwMode="grayWhite">
          <a:xfrm>
            <a:off x="3734030" y="3893542"/>
            <a:ext cx="270000" cy="405000"/>
          </a:xfrm>
          <a:prstGeom prst="rightArrow">
            <a:avLst/>
          </a:prstGeom>
          <a:solidFill>
            <a:srgbClr val="FFC000"/>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66" name="AutoShape 110"/>
          <p:cNvSpPr>
            <a:spLocks noChangeArrowheads="1"/>
          </p:cNvSpPr>
          <p:nvPr/>
        </p:nvSpPr>
        <p:spPr bwMode="grayWhite">
          <a:xfrm>
            <a:off x="2879756" y="2226888"/>
            <a:ext cx="270000" cy="405000"/>
          </a:xfrm>
          <a:prstGeom prst="rightArrow">
            <a:avLst/>
          </a:prstGeom>
          <a:solidFill>
            <a:srgbClr val="FFC000"/>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67" name="AutoShape 110"/>
          <p:cNvSpPr>
            <a:spLocks noChangeArrowheads="1"/>
          </p:cNvSpPr>
          <p:nvPr/>
        </p:nvSpPr>
        <p:spPr bwMode="grayWhite">
          <a:xfrm>
            <a:off x="2879756" y="3893542"/>
            <a:ext cx="270000" cy="405000"/>
          </a:xfrm>
          <a:prstGeom prst="rightArrow">
            <a:avLst/>
          </a:prstGeom>
          <a:solidFill>
            <a:srgbClr val="FFC000"/>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68" name="AutoShape 112"/>
          <p:cNvSpPr>
            <a:spLocks noChangeArrowheads="1"/>
          </p:cNvSpPr>
          <p:nvPr/>
        </p:nvSpPr>
        <p:spPr bwMode="grayWhite">
          <a:xfrm>
            <a:off x="5556503" y="4583252"/>
            <a:ext cx="202500" cy="135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685800">
              <a:buClrTx/>
            </a:pPr>
            <a:endParaRPr lang="en-US" sz="750" kern="1200">
              <a:solidFill>
                <a:prstClr val="black"/>
              </a:solidFill>
              <a:ea typeface="+mn-ea"/>
              <a:cs typeface="+mn-cs"/>
            </a:endParaRPr>
          </a:p>
        </p:txBody>
      </p:sp>
      <p:sp>
        <p:nvSpPr>
          <p:cNvPr id="69" name="AutoShape 110"/>
          <p:cNvSpPr>
            <a:spLocks noChangeArrowheads="1"/>
          </p:cNvSpPr>
          <p:nvPr/>
        </p:nvSpPr>
        <p:spPr bwMode="grayWhite">
          <a:xfrm>
            <a:off x="6976658" y="4583252"/>
            <a:ext cx="202500" cy="135000"/>
          </a:xfrm>
          <a:prstGeom prst="downArrow">
            <a:avLst/>
          </a:prstGeom>
          <a:solidFill>
            <a:srgbClr val="C00000"/>
          </a:solidFill>
          <a:ln w="12700" algn="ctr">
            <a:noFill/>
            <a:miter lim="800000"/>
            <a:headEnd/>
            <a:tailEnd/>
          </a:ln>
        </p:spPr>
        <p:txBody>
          <a:bodyPr wrap="none" anchor="ctr"/>
          <a:lstStyle/>
          <a:p>
            <a:pPr algn="ctr" defTabSz="685800">
              <a:buClrTx/>
            </a:pPr>
            <a:endParaRPr lang="en-US" sz="750" kern="1200">
              <a:solidFill>
                <a:prstClr val="black"/>
              </a:solidFill>
              <a:ea typeface="+mn-ea"/>
              <a:cs typeface="+mn-cs"/>
            </a:endParaRPr>
          </a:p>
        </p:txBody>
      </p:sp>
      <p:sp>
        <p:nvSpPr>
          <p:cNvPr id="70" name="AutoShape 110"/>
          <p:cNvSpPr>
            <a:spLocks noChangeArrowheads="1"/>
          </p:cNvSpPr>
          <p:nvPr/>
        </p:nvSpPr>
        <p:spPr bwMode="grayWhite">
          <a:xfrm>
            <a:off x="6338599" y="4549502"/>
            <a:ext cx="135000" cy="202500"/>
          </a:xfrm>
          <a:prstGeom prst="rightArrow">
            <a:avLst/>
          </a:prstGeom>
          <a:solidFill>
            <a:srgbClr val="FFC000"/>
          </a:solidFill>
          <a:ln w="12700" algn="ctr">
            <a:solidFill>
              <a:schemeClr val="bg1"/>
            </a:solidFill>
            <a:miter lim="800000"/>
            <a:headEnd/>
            <a:tailEnd/>
          </a:ln>
        </p:spPr>
        <p:txBody>
          <a:bodyPr wrap="none" anchor="ctr"/>
          <a:lstStyle/>
          <a:p>
            <a:pPr algn="ctr" defTabSz="685800">
              <a:buClrTx/>
            </a:pPr>
            <a:endParaRPr lang="en-US" sz="750" kern="1200">
              <a:solidFill>
                <a:prstClr val="black"/>
              </a:solidFill>
              <a:ea typeface="+mn-ea"/>
              <a:cs typeface="+mn-cs"/>
            </a:endParaRPr>
          </a:p>
        </p:txBody>
      </p:sp>
    </p:spTree>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2417" name="Title 1"/>
          <p:cNvSpPr>
            <a:spLocks noGrp="1"/>
          </p:cNvSpPr>
          <p:nvPr>
            <p:ph type="title"/>
          </p:nvPr>
        </p:nvSpPr>
        <p:spPr/>
        <p:txBody>
          <a:bodyPr/>
          <a:lstStyle/>
          <a:p>
            <a:r>
              <a:rPr lang="en-US" dirty="0">
                <a:solidFill>
                  <a:srgbClr val="81BC00"/>
                </a:solidFill>
              </a:rPr>
              <a:t>Tables </a:t>
            </a:r>
            <a:br>
              <a:rPr lang="en-US" dirty="0">
                <a:solidFill>
                  <a:srgbClr val="81BC00"/>
                </a:solidFill>
              </a:rPr>
            </a:br>
            <a:r>
              <a:rPr lang="en-US" dirty="0">
                <a:solidFill>
                  <a:srgbClr val="575757"/>
                </a:solidFill>
              </a:rPr>
              <a:t>Chevron table</a:t>
            </a:r>
          </a:p>
        </p:txBody>
      </p:sp>
      <p:graphicFrame>
        <p:nvGraphicFramePr>
          <p:cNvPr id="19" name="Table 18"/>
          <p:cNvGraphicFramePr>
            <a:graphicFrameLocks noGrp="1"/>
          </p:cNvGraphicFramePr>
          <p:nvPr/>
        </p:nvGraphicFramePr>
        <p:xfrm>
          <a:off x="1423989" y="1714500"/>
          <a:ext cx="6148405" cy="1553775"/>
        </p:xfrm>
        <a:graphic>
          <a:graphicData uri="http://schemas.openxmlformats.org/drawingml/2006/table">
            <a:tbl>
              <a:tblPr/>
              <a:tblGrid>
                <a:gridCol w="1229681">
                  <a:extLst>
                    <a:ext uri="{9D8B030D-6E8A-4147-A177-3AD203B41FA5}">
                      <a16:colId xmlns:a16="http://schemas.microsoft.com/office/drawing/2014/main" val="20000"/>
                    </a:ext>
                  </a:extLst>
                </a:gridCol>
                <a:gridCol w="1229681">
                  <a:extLst>
                    <a:ext uri="{9D8B030D-6E8A-4147-A177-3AD203B41FA5}">
                      <a16:colId xmlns:a16="http://schemas.microsoft.com/office/drawing/2014/main" val="20001"/>
                    </a:ext>
                  </a:extLst>
                </a:gridCol>
                <a:gridCol w="1229681">
                  <a:extLst>
                    <a:ext uri="{9D8B030D-6E8A-4147-A177-3AD203B41FA5}">
                      <a16:colId xmlns:a16="http://schemas.microsoft.com/office/drawing/2014/main" val="20002"/>
                    </a:ext>
                  </a:extLst>
                </a:gridCol>
                <a:gridCol w="1229681">
                  <a:extLst>
                    <a:ext uri="{9D8B030D-6E8A-4147-A177-3AD203B41FA5}">
                      <a16:colId xmlns:a16="http://schemas.microsoft.com/office/drawing/2014/main" val="20003"/>
                    </a:ext>
                  </a:extLst>
                </a:gridCol>
                <a:gridCol w="1229681">
                  <a:extLst>
                    <a:ext uri="{9D8B030D-6E8A-4147-A177-3AD203B41FA5}">
                      <a16:colId xmlns:a16="http://schemas.microsoft.com/office/drawing/2014/main" val="20004"/>
                    </a:ext>
                  </a:extLst>
                </a:gridCol>
              </a:tblGrid>
              <a:tr h="310755">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r>
                        <a:rPr lang="en-GB" sz="800" dirty="0">
                          <a:solidFill>
                            <a:srgbClr val="313131"/>
                          </a:solidFill>
                        </a:rPr>
                        <a:t>Activity #1</a:t>
                      </a:r>
                    </a:p>
                  </a:txBody>
                  <a:tcPr marL="68580" marR="68580" marT="5400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75000"/>
                      </a:sysClr>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r>
                        <a:rPr lang="en-GB" sz="800" dirty="0">
                          <a:solidFill>
                            <a:srgbClr val="313131"/>
                          </a:solidFill>
                        </a:rPr>
                        <a:t>Text here</a:t>
                      </a:r>
                    </a:p>
                  </a:txBody>
                  <a:tcPr marL="68580" marR="68580" marT="5400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r>
                        <a:rPr lang="en-GB" sz="800" dirty="0">
                          <a:solidFill>
                            <a:srgbClr val="313131"/>
                          </a:solidFill>
                        </a:rPr>
                        <a:t>Text here</a:t>
                      </a:r>
                    </a:p>
                  </a:txBody>
                  <a:tcPr marL="68580" marR="68580" marT="5400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r>
                        <a:rPr lang="en-GB" sz="800" dirty="0">
                          <a:solidFill>
                            <a:srgbClr val="313131"/>
                          </a:solidFill>
                        </a:rPr>
                        <a:t>Text here</a:t>
                      </a:r>
                    </a:p>
                  </a:txBody>
                  <a:tcPr marL="68580" marR="68580" marT="5400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r>
                        <a:rPr lang="en-GB" sz="800" dirty="0">
                          <a:solidFill>
                            <a:srgbClr val="313131"/>
                          </a:solidFill>
                        </a:rPr>
                        <a:t>Text here</a:t>
                      </a:r>
                    </a:p>
                  </a:txBody>
                  <a:tcPr marL="68580" marR="68580" marT="5400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0"/>
                  </a:ext>
                </a:extLst>
              </a:tr>
              <a:tr h="310755">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a:solidFill>
                            <a:srgbClr val="313131"/>
                          </a:solidFill>
                        </a:rPr>
                        <a:t>Activity #2</a:t>
                      </a:r>
                    </a:p>
                  </a:txBody>
                  <a:tcPr marL="68580" marR="68580" marT="5400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75000"/>
                      </a:sysClr>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a:solidFill>
                            <a:srgbClr val="313131"/>
                          </a:solidFill>
                        </a:rPr>
                        <a:t>Text here</a:t>
                      </a:r>
                    </a:p>
                  </a:txBody>
                  <a:tcPr marL="68580" marR="68580" marT="5400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a:solidFill>
                            <a:srgbClr val="313131"/>
                          </a:solidFill>
                        </a:rPr>
                        <a:t>Text here</a:t>
                      </a:r>
                    </a:p>
                  </a:txBody>
                  <a:tcPr marL="68580" marR="68580" marT="5400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a:solidFill>
                            <a:srgbClr val="313131"/>
                          </a:solidFill>
                        </a:rPr>
                        <a:t>Text here</a:t>
                      </a:r>
                    </a:p>
                  </a:txBody>
                  <a:tcPr marL="68580" marR="68580" marT="5400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a:solidFill>
                            <a:srgbClr val="313131"/>
                          </a:solidFill>
                        </a:rPr>
                        <a:t>Text here</a:t>
                      </a:r>
                    </a:p>
                  </a:txBody>
                  <a:tcPr marL="68580" marR="68580" marT="5400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1"/>
                  </a:ext>
                </a:extLst>
              </a:tr>
              <a:tr h="310755">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a:solidFill>
                            <a:srgbClr val="313131"/>
                          </a:solidFill>
                        </a:rPr>
                        <a:t>Activity #3</a:t>
                      </a:r>
                    </a:p>
                  </a:txBody>
                  <a:tcPr marL="68580" marR="68580" marT="5400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75000"/>
                      </a:sysClr>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r>
                        <a:rPr lang="en-GB" sz="800" dirty="0">
                          <a:solidFill>
                            <a:srgbClr val="313131"/>
                          </a:solidFill>
                        </a:rPr>
                        <a:t>Text here</a:t>
                      </a:r>
                    </a:p>
                  </a:txBody>
                  <a:tcPr marL="68580" marR="68580" marT="5400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r>
                        <a:rPr lang="en-GB" sz="800" dirty="0">
                          <a:solidFill>
                            <a:srgbClr val="313131"/>
                          </a:solidFill>
                        </a:rPr>
                        <a:t>Text here</a:t>
                      </a:r>
                    </a:p>
                  </a:txBody>
                  <a:tcPr marL="68580" marR="68580" marT="5400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r>
                        <a:rPr lang="en-GB" sz="800" dirty="0">
                          <a:solidFill>
                            <a:srgbClr val="313131"/>
                          </a:solidFill>
                        </a:rPr>
                        <a:t>Text here</a:t>
                      </a:r>
                    </a:p>
                  </a:txBody>
                  <a:tcPr marL="68580" marR="68580" marT="5400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r>
                        <a:rPr lang="en-GB" sz="800" dirty="0">
                          <a:solidFill>
                            <a:srgbClr val="313131"/>
                          </a:solidFill>
                        </a:rPr>
                        <a:t>Text here</a:t>
                      </a:r>
                    </a:p>
                  </a:txBody>
                  <a:tcPr marL="68580" marR="68580" marT="5400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2"/>
                  </a:ext>
                </a:extLst>
              </a:tr>
              <a:tr h="310755">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a:solidFill>
                            <a:srgbClr val="313131"/>
                          </a:solidFill>
                        </a:rPr>
                        <a:t>Activity #4</a:t>
                      </a:r>
                    </a:p>
                  </a:txBody>
                  <a:tcPr marL="68580" marR="68580" marT="5400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75000"/>
                      </a:sysClr>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a:solidFill>
                            <a:srgbClr val="313131"/>
                          </a:solidFill>
                        </a:rPr>
                        <a:t>Text here</a:t>
                      </a:r>
                    </a:p>
                  </a:txBody>
                  <a:tcPr marL="68580" marR="68580" marT="5400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a:solidFill>
                            <a:srgbClr val="313131"/>
                          </a:solidFill>
                        </a:rPr>
                        <a:t>Text here</a:t>
                      </a:r>
                    </a:p>
                  </a:txBody>
                  <a:tcPr marL="68580" marR="68580" marT="5400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a:solidFill>
                            <a:srgbClr val="313131"/>
                          </a:solidFill>
                        </a:rPr>
                        <a:t>Text here</a:t>
                      </a:r>
                    </a:p>
                  </a:txBody>
                  <a:tcPr marL="68580" marR="68580" marT="5400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a:solidFill>
                            <a:srgbClr val="313131"/>
                          </a:solidFill>
                        </a:rPr>
                        <a:t>Text here</a:t>
                      </a:r>
                    </a:p>
                  </a:txBody>
                  <a:tcPr marL="68580" marR="68580" marT="5400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3"/>
                  </a:ext>
                </a:extLst>
              </a:tr>
              <a:tr h="310755">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r>
                        <a:rPr lang="en-GB" sz="800" dirty="0">
                          <a:solidFill>
                            <a:srgbClr val="313131"/>
                          </a:solidFill>
                        </a:rPr>
                        <a:t>Activity #5</a:t>
                      </a:r>
                    </a:p>
                  </a:txBody>
                  <a:tcPr marL="68580" marR="68580" marT="5400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75000"/>
                      </a:sysClr>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a:solidFill>
                            <a:srgbClr val="313131"/>
                          </a:solidFill>
                        </a:rPr>
                        <a:t>Text here</a:t>
                      </a:r>
                    </a:p>
                  </a:txBody>
                  <a:tcPr marL="68580" marR="68580" marT="5400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a:solidFill>
                            <a:srgbClr val="313131"/>
                          </a:solidFill>
                        </a:rPr>
                        <a:t>Text here</a:t>
                      </a:r>
                    </a:p>
                  </a:txBody>
                  <a:tcPr marL="68580" marR="68580" marT="5400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a:solidFill>
                            <a:srgbClr val="313131"/>
                          </a:solidFill>
                        </a:rPr>
                        <a:t>Text here</a:t>
                      </a:r>
                    </a:p>
                  </a:txBody>
                  <a:tcPr marL="68580" marR="68580" marT="5400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a:solidFill>
                            <a:srgbClr val="313131"/>
                          </a:solidFill>
                        </a:rPr>
                        <a:t>Text here</a:t>
                      </a:r>
                    </a:p>
                  </a:txBody>
                  <a:tcPr marL="68580" marR="68580" marT="54000" marB="3429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4"/>
                  </a:ext>
                </a:extLst>
              </a:tr>
            </a:tbl>
          </a:graphicData>
        </a:graphic>
      </p:graphicFrame>
      <p:grpSp>
        <p:nvGrpSpPr>
          <p:cNvPr id="20" name="Group 19"/>
          <p:cNvGrpSpPr/>
          <p:nvPr/>
        </p:nvGrpSpPr>
        <p:grpSpPr>
          <a:xfrm>
            <a:off x="2679317" y="1268730"/>
            <a:ext cx="5043077" cy="351000"/>
            <a:chOff x="2048423" y="2000240"/>
            <a:chExt cx="6862814" cy="468000"/>
          </a:xfrm>
        </p:grpSpPr>
        <p:sp>
          <p:nvSpPr>
            <p:cNvPr id="21" name="Pentagon 20"/>
            <p:cNvSpPr/>
            <p:nvPr/>
          </p:nvSpPr>
          <p:spPr>
            <a:xfrm>
              <a:off x="2048423" y="2000240"/>
              <a:ext cx="1836000" cy="468000"/>
            </a:xfrm>
            <a:prstGeom prst="homePlate">
              <a:avLst/>
            </a:prstGeom>
            <a:solidFill>
              <a:srgbClr val="00A1DE"/>
            </a:solidFill>
            <a:ln w="12700" cap="flat" cmpd="sng" algn="ctr">
              <a:solidFill>
                <a:sysClr val="window" lastClr="FFFFFF"/>
              </a:solidFill>
              <a:prstDash val="solid"/>
            </a:ln>
            <a:effectLst/>
          </p:spPr>
          <p:txBody>
            <a:bodyPr rtlCol="0" anchor="ctr"/>
            <a:lstStyle/>
            <a:p>
              <a:pPr defTabSz="685800">
                <a:buClrTx/>
                <a:defRPr/>
              </a:pPr>
              <a:r>
                <a:rPr lang="en-GB" sz="825" b="1" dirty="0">
                  <a:solidFill>
                    <a:sysClr val="window" lastClr="FFFFFF"/>
                  </a:solidFill>
                  <a:ea typeface="+mn-ea"/>
                  <a:cs typeface="+mn-cs"/>
                </a:rPr>
                <a:t>Name of phase</a:t>
              </a:r>
            </a:p>
          </p:txBody>
        </p:sp>
        <p:sp>
          <p:nvSpPr>
            <p:cNvPr id="22" name="Chevron 21"/>
            <p:cNvSpPr/>
            <p:nvPr/>
          </p:nvSpPr>
          <p:spPr>
            <a:xfrm>
              <a:off x="3724028" y="2000240"/>
              <a:ext cx="1836000" cy="468000"/>
            </a:xfrm>
            <a:prstGeom prst="chevron">
              <a:avLst/>
            </a:prstGeom>
            <a:solidFill>
              <a:sysClr val="window" lastClr="FFFFFF">
                <a:lumMod val="65000"/>
              </a:sysClr>
            </a:solidFill>
            <a:ln w="12700" cap="flat" cmpd="sng" algn="ctr">
              <a:solidFill>
                <a:sysClr val="window" lastClr="FFFFFF"/>
              </a:solidFill>
              <a:prstDash val="solid"/>
            </a:ln>
            <a:effectLst/>
          </p:spPr>
          <p:txBody>
            <a:bodyPr rtlCol="0" anchor="ctr"/>
            <a:lstStyle/>
            <a:p>
              <a:pPr defTabSz="685800">
                <a:buClrTx/>
                <a:defRPr/>
              </a:pPr>
              <a:r>
                <a:rPr lang="en-GB" sz="825" b="1" dirty="0">
                  <a:solidFill>
                    <a:sysClr val="window" lastClr="FFFFFF"/>
                  </a:solidFill>
                  <a:ea typeface="+mn-ea"/>
                  <a:cs typeface="+mn-cs"/>
                </a:rPr>
                <a:t>Name of phase</a:t>
              </a:r>
            </a:p>
          </p:txBody>
        </p:sp>
        <p:sp>
          <p:nvSpPr>
            <p:cNvPr id="23" name="Chevron 22"/>
            <p:cNvSpPr/>
            <p:nvPr/>
          </p:nvSpPr>
          <p:spPr>
            <a:xfrm>
              <a:off x="5399633" y="2000240"/>
              <a:ext cx="1836000" cy="468000"/>
            </a:xfrm>
            <a:prstGeom prst="chevron">
              <a:avLst/>
            </a:prstGeom>
            <a:solidFill>
              <a:sysClr val="window" lastClr="FFFFFF">
                <a:lumMod val="65000"/>
              </a:sysClr>
            </a:solidFill>
            <a:ln w="12700" cap="flat" cmpd="sng" algn="ctr">
              <a:solidFill>
                <a:sysClr val="window" lastClr="FFFFFF"/>
              </a:solidFill>
              <a:prstDash val="solid"/>
            </a:ln>
            <a:effectLst/>
          </p:spPr>
          <p:txBody>
            <a:bodyPr rtlCol="0" anchor="ctr"/>
            <a:lstStyle/>
            <a:p>
              <a:pPr defTabSz="685800">
                <a:buClrTx/>
                <a:defRPr/>
              </a:pPr>
              <a:r>
                <a:rPr lang="en-GB" sz="825" b="1" dirty="0">
                  <a:solidFill>
                    <a:sysClr val="window" lastClr="FFFFFF"/>
                  </a:solidFill>
                  <a:ea typeface="+mn-ea"/>
                  <a:cs typeface="+mn-cs"/>
                </a:rPr>
                <a:t>Name of phase</a:t>
              </a:r>
            </a:p>
          </p:txBody>
        </p:sp>
        <p:sp>
          <p:nvSpPr>
            <p:cNvPr id="24" name="Chevron 23"/>
            <p:cNvSpPr/>
            <p:nvPr/>
          </p:nvSpPr>
          <p:spPr>
            <a:xfrm>
              <a:off x="7075237" y="2000240"/>
              <a:ext cx="1836000" cy="468000"/>
            </a:xfrm>
            <a:prstGeom prst="chevron">
              <a:avLst/>
            </a:prstGeom>
            <a:solidFill>
              <a:sysClr val="window" lastClr="FFFFFF">
                <a:lumMod val="65000"/>
              </a:sysClr>
            </a:solidFill>
            <a:ln w="12700" cap="flat" cmpd="sng" algn="ctr">
              <a:solidFill>
                <a:sysClr val="window" lastClr="FFFFFF"/>
              </a:solidFill>
              <a:prstDash val="solid"/>
            </a:ln>
            <a:effectLst/>
          </p:spPr>
          <p:txBody>
            <a:bodyPr rtlCol="0" anchor="ctr"/>
            <a:lstStyle/>
            <a:p>
              <a:pPr defTabSz="685800">
                <a:buClrTx/>
                <a:defRPr/>
              </a:pPr>
              <a:r>
                <a:rPr lang="en-GB" sz="825" b="1" dirty="0">
                  <a:solidFill>
                    <a:sysClr val="window" lastClr="FFFFFF"/>
                  </a:solidFill>
                  <a:ea typeface="+mn-ea"/>
                  <a:cs typeface="+mn-cs"/>
                </a:rPr>
                <a:t>Name of phase</a:t>
              </a:r>
            </a:p>
          </p:txBody>
        </p:sp>
      </p:grpSp>
    </p:spTree>
    <p:extLst>
      <p:ext uri="{BB962C8B-B14F-4D97-AF65-F5344CB8AC3E}">
        <p14:creationId xmlns:p14="http://schemas.microsoft.com/office/powerpoint/2010/main" val="4240971314"/>
      </p:ext>
    </p:extLst>
  </p:cSld>
  <p:clrMapOvr>
    <a:masterClrMapping/>
  </p:clrMapOvr>
  <p:transition>
    <p:fade/>
  </p:transition>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21" name="Title 1"/>
          <p:cNvSpPr>
            <a:spLocks noGrp="1"/>
          </p:cNvSpPr>
          <p:nvPr>
            <p:ph type="title"/>
          </p:nvPr>
        </p:nvSpPr>
        <p:spPr/>
        <p:txBody>
          <a:bodyPr/>
          <a:lstStyle/>
          <a:p>
            <a:r>
              <a:rPr lang="en-US"/>
              <a:t>Levels of maturity</a:t>
            </a:r>
            <a:endParaRPr lang="en-US" dirty="0"/>
          </a:p>
        </p:txBody>
      </p:sp>
      <p:sp>
        <p:nvSpPr>
          <p:cNvPr id="13"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
        <p:nvSpPr>
          <p:cNvPr id="22" name="Freeform 2"/>
          <p:cNvSpPr>
            <a:spLocks/>
          </p:cNvSpPr>
          <p:nvPr/>
        </p:nvSpPr>
        <p:spPr bwMode="blackWhite">
          <a:xfrm>
            <a:off x="5893594" y="1237060"/>
            <a:ext cx="1337072" cy="2955131"/>
          </a:xfrm>
          <a:custGeom>
            <a:avLst/>
            <a:gdLst>
              <a:gd name="T0" fmla="*/ 0 w 633"/>
              <a:gd name="T1" fmla="*/ 1127378 h 1744"/>
              <a:gd name="T2" fmla="*/ 2816 w 633"/>
              <a:gd name="T3" fmla="*/ 3937916 h 1744"/>
              <a:gd name="T4" fmla="*/ 1779947 w 633"/>
              <a:gd name="T5" fmla="*/ 3937916 h 1744"/>
              <a:gd name="T6" fmla="*/ 1779947 w 633"/>
              <a:gd name="T7" fmla="*/ 0 h 1744"/>
              <a:gd name="T8" fmla="*/ 1664475 w 633"/>
              <a:gd name="T9" fmla="*/ 124260 h 1744"/>
              <a:gd name="T10" fmla="*/ 1512391 w 633"/>
              <a:gd name="T11" fmla="*/ 246261 h 1744"/>
              <a:gd name="T12" fmla="*/ 1318062 w 633"/>
              <a:gd name="T13" fmla="*/ 388595 h 1744"/>
              <a:gd name="T14" fmla="*/ 1064588 w 633"/>
              <a:gd name="T15" fmla="*/ 551263 h 1744"/>
              <a:gd name="T16" fmla="*/ 811115 w 633"/>
              <a:gd name="T17" fmla="*/ 707153 h 1744"/>
              <a:gd name="T18" fmla="*/ 582989 w 633"/>
              <a:gd name="T19" fmla="*/ 829154 h 1744"/>
              <a:gd name="T20" fmla="*/ 253473 w 633"/>
              <a:gd name="T21" fmla="*/ 998599 h 1744"/>
              <a:gd name="T22" fmla="*/ 0 w 633"/>
              <a:gd name="T23" fmla="*/ 1127378 h 17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33"/>
              <a:gd name="T37" fmla="*/ 0 h 1744"/>
              <a:gd name="T38" fmla="*/ 633 w 633"/>
              <a:gd name="T39" fmla="*/ 1744 h 17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33" h="1744">
                <a:moveTo>
                  <a:pt x="0" y="499"/>
                </a:moveTo>
                <a:lnTo>
                  <a:pt x="1" y="1743"/>
                </a:lnTo>
                <a:lnTo>
                  <a:pt x="632" y="1743"/>
                </a:lnTo>
                <a:lnTo>
                  <a:pt x="632" y="0"/>
                </a:lnTo>
                <a:lnTo>
                  <a:pt x="591" y="55"/>
                </a:lnTo>
                <a:lnTo>
                  <a:pt x="537" y="109"/>
                </a:lnTo>
                <a:lnTo>
                  <a:pt x="468" y="172"/>
                </a:lnTo>
                <a:lnTo>
                  <a:pt x="378" y="244"/>
                </a:lnTo>
                <a:lnTo>
                  <a:pt x="288" y="313"/>
                </a:lnTo>
                <a:lnTo>
                  <a:pt x="207" y="367"/>
                </a:lnTo>
                <a:lnTo>
                  <a:pt x="90" y="442"/>
                </a:lnTo>
                <a:lnTo>
                  <a:pt x="0" y="499"/>
                </a:lnTo>
              </a:path>
            </a:pathLst>
          </a:custGeom>
          <a:solidFill>
            <a:srgbClr val="313131"/>
          </a:solidFill>
          <a:ln w="12700" cap="rnd">
            <a:solidFill>
              <a:schemeClr val="bg1"/>
            </a:solidFill>
            <a:round/>
            <a:headEnd/>
            <a:tailEnd/>
          </a:ln>
        </p:spPr>
        <p:txBody>
          <a:bodyPr lIns="0" tIns="0" rIns="0" bIns="0">
            <a:noAutofit/>
          </a:bodyPr>
          <a:lstStyle/>
          <a:p>
            <a:pPr defTabSz="685800">
              <a:buClrTx/>
              <a:defRPr/>
            </a:pPr>
            <a:endParaRPr lang="en-US" sz="1350" kern="1200">
              <a:solidFill>
                <a:prstClr val="black"/>
              </a:solidFill>
              <a:latin typeface="Arial" charset="0"/>
              <a:ea typeface="+mn-ea"/>
              <a:cs typeface="Arial" charset="0"/>
            </a:endParaRPr>
          </a:p>
        </p:txBody>
      </p:sp>
      <p:sp>
        <p:nvSpPr>
          <p:cNvPr id="23" name="Freeform 3"/>
          <p:cNvSpPr>
            <a:spLocks/>
          </p:cNvSpPr>
          <p:nvPr/>
        </p:nvSpPr>
        <p:spPr bwMode="blackWhite">
          <a:xfrm>
            <a:off x="4560094" y="2263378"/>
            <a:ext cx="1338263" cy="1928813"/>
          </a:xfrm>
          <a:custGeom>
            <a:avLst/>
            <a:gdLst>
              <a:gd name="T0" fmla="*/ 0 w 634"/>
              <a:gd name="T1" fmla="*/ 555217 h 1246"/>
              <a:gd name="T2" fmla="*/ 0 w 634"/>
              <a:gd name="T3" fmla="*/ 2569686 h 1246"/>
              <a:gd name="T4" fmla="*/ 1778721 w 634"/>
              <a:gd name="T5" fmla="*/ 2569686 h 1246"/>
              <a:gd name="T6" fmla="*/ 1781536 w 634"/>
              <a:gd name="T7" fmla="*/ 0 h 1246"/>
              <a:gd name="T8" fmla="*/ 1607041 w 634"/>
              <a:gd name="T9" fmla="*/ 70176 h 1246"/>
              <a:gd name="T10" fmla="*/ 1432546 w 634"/>
              <a:gd name="T11" fmla="*/ 136224 h 1246"/>
              <a:gd name="T12" fmla="*/ 1224278 w 634"/>
              <a:gd name="T13" fmla="*/ 206400 h 1246"/>
              <a:gd name="T14" fmla="*/ 1010381 w 634"/>
              <a:gd name="T15" fmla="*/ 276577 h 1246"/>
              <a:gd name="T16" fmla="*/ 723309 w 634"/>
              <a:gd name="T17" fmla="*/ 363265 h 1246"/>
              <a:gd name="T18" fmla="*/ 470010 w 634"/>
              <a:gd name="T19" fmla="*/ 437569 h 1246"/>
              <a:gd name="T20" fmla="*/ 194196 w 634"/>
              <a:gd name="T21" fmla="*/ 507745 h 1246"/>
              <a:gd name="T22" fmla="*/ 0 w 634"/>
              <a:gd name="T23" fmla="*/ 555217 h 12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34"/>
              <a:gd name="T37" fmla="*/ 0 h 1246"/>
              <a:gd name="T38" fmla="*/ 634 w 634"/>
              <a:gd name="T39" fmla="*/ 1246 h 12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34" h="1246">
                <a:moveTo>
                  <a:pt x="0" y="269"/>
                </a:moveTo>
                <a:lnTo>
                  <a:pt x="0" y="1245"/>
                </a:lnTo>
                <a:lnTo>
                  <a:pt x="632" y="1245"/>
                </a:lnTo>
                <a:lnTo>
                  <a:pt x="633" y="0"/>
                </a:lnTo>
                <a:lnTo>
                  <a:pt x="571" y="34"/>
                </a:lnTo>
                <a:lnTo>
                  <a:pt x="509" y="66"/>
                </a:lnTo>
                <a:lnTo>
                  <a:pt x="435" y="100"/>
                </a:lnTo>
                <a:lnTo>
                  <a:pt x="359" y="134"/>
                </a:lnTo>
                <a:lnTo>
                  <a:pt x="257" y="176"/>
                </a:lnTo>
                <a:lnTo>
                  <a:pt x="167" y="212"/>
                </a:lnTo>
                <a:lnTo>
                  <a:pt x="69" y="246"/>
                </a:lnTo>
                <a:lnTo>
                  <a:pt x="0" y="269"/>
                </a:lnTo>
              </a:path>
            </a:pathLst>
          </a:custGeom>
          <a:solidFill>
            <a:srgbClr val="8C8C8C"/>
          </a:solidFill>
          <a:ln w="12700" cap="rnd">
            <a:solidFill>
              <a:schemeClr val="bg1"/>
            </a:solidFill>
            <a:round/>
            <a:headEnd/>
            <a:tailEnd/>
          </a:ln>
        </p:spPr>
        <p:txBody>
          <a:bodyPr lIns="0" tIns="0" rIns="0" bIns="0">
            <a:noAutofit/>
          </a:bodyPr>
          <a:lstStyle/>
          <a:p>
            <a:pPr defTabSz="685800">
              <a:buClrTx/>
              <a:defRPr/>
            </a:pPr>
            <a:endParaRPr lang="en-US" sz="1350" kern="1200">
              <a:solidFill>
                <a:prstClr val="black"/>
              </a:solidFill>
              <a:latin typeface="Arial" charset="0"/>
              <a:ea typeface="+mn-ea"/>
              <a:cs typeface="Arial" charset="0"/>
            </a:endParaRPr>
          </a:p>
        </p:txBody>
      </p:sp>
      <p:sp>
        <p:nvSpPr>
          <p:cNvPr id="24" name="Freeform 4"/>
          <p:cNvSpPr>
            <a:spLocks/>
          </p:cNvSpPr>
          <p:nvPr/>
        </p:nvSpPr>
        <p:spPr bwMode="blackWhite">
          <a:xfrm>
            <a:off x="3211116" y="2911078"/>
            <a:ext cx="1350169" cy="1281113"/>
          </a:xfrm>
          <a:custGeom>
            <a:avLst/>
            <a:gdLst>
              <a:gd name="T0" fmla="*/ 0 w 640"/>
              <a:gd name="T1" fmla="*/ 2147483647 h 705"/>
              <a:gd name="T2" fmla="*/ 0 w 640"/>
              <a:gd name="T3" fmla="*/ 2147483647 h 705"/>
              <a:gd name="T4" fmla="*/ 2147483647 w 640"/>
              <a:gd name="T5" fmla="*/ 2147483647 h 705"/>
              <a:gd name="T6" fmla="*/ 2147483647 w 640"/>
              <a:gd name="T7" fmla="*/ 0 h 705"/>
              <a:gd name="T8" fmla="*/ 2147483647 w 640"/>
              <a:gd name="T9" fmla="*/ 2147483647 h 705"/>
              <a:gd name="T10" fmla="*/ 2147483647 w 640"/>
              <a:gd name="T11" fmla="*/ 2147483647 h 705"/>
              <a:gd name="T12" fmla="*/ 2147483647 w 640"/>
              <a:gd name="T13" fmla="*/ 2147483647 h 705"/>
              <a:gd name="T14" fmla="*/ 2147483647 w 640"/>
              <a:gd name="T15" fmla="*/ 2147483647 h 705"/>
              <a:gd name="T16" fmla="*/ 2147483647 w 640"/>
              <a:gd name="T17" fmla="*/ 2147483647 h 705"/>
              <a:gd name="T18" fmla="*/ 2147483647 w 640"/>
              <a:gd name="T19" fmla="*/ 2147483647 h 705"/>
              <a:gd name="T20" fmla="*/ 2147483647 w 640"/>
              <a:gd name="T21" fmla="*/ 2147483647 h 705"/>
              <a:gd name="T22" fmla="*/ 0 w 640"/>
              <a:gd name="T23" fmla="*/ 2147483647 h 70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0"/>
              <a:gd name="T37" fmla="*/ 0 h 705"/>
              <a:gd name="T38" fmla="*/ 640 w 640"/>
              <a:gd name="T39" fmla="*/ 705 h 70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0" h="705">
                <a:moveTo>
                  <a:pt x="0" y="159"/>
                </a:moveTo>
                <a:lnTo>
                  <a:pt x="0" y="704"/>
                </a:lnTo>
                <a:lnTo>
                  <a:pt x="639" y="704"/>
                </a:lnTo>
                <a:lnTo>
                  <a:pt x="639" y="0"/>
                </a:lnTo>
                <a:lnTo>
                  <a:pt x="599" y="16"/>
                </a:lnTo>
                <a:lnTo>
                  <a:pt x="556" y="33"/>
                </a:lnTo>
                <a:lnTo>
                  <a:pt x="493" y="54"/>
                </a:lnTo>
                <a:lnTo>
                  <a:pt x="403" y="78"/>
                </a:lnTo>
                <a:lnTo>
                  <a:pt x="308" y="101"/>
                </a:lnTo>
                <a:lnTo>
                  <a:pt x="218" y="119"/>
                </a:lnTo>
                <a:lnTo>
                  <a:pt x="112" y="138"/>
                </a:lnTo>
                <a:lnTo>
                  <a:pt x="0" y="159"/>
                </a:lnTo>
              </a:path>
            </a:pathLst>
          </a:custGeom>
          <a:solidFill>
            <a:srgbClr val="B4B4B4"/>
          </a:solidFill>
          <a:ln w="12700" cap="rnd">
            <a:solidFill>
              <a:schemeClr val="bg1"/>
            </a:solidFill>
            <a:round/>
            <a:headEnd/>
            <a:tailEnd/>
          </a:ln>
        </p:spPr>
        <p:txBody>
          <a:bodyPr lIns="0" tIns="0" rIns="0" bIns="0">
            <a:noAutofit/>
          </a:bodyPr>
          <a:lstStyle/>
          <a:p>
            <a:pPr defTabSz="685800">
              <a:buClrTx/>
            </a:pPr>
            <a:endParaRPr lang="en-US" sz="1350" kern="1200">
              <a:solidFill>
                <a:prstClr val="black"/>
              </a:solidFill>
              <a:ea typeface="+mn-ea"/>
              <a:cs typeface="+mn-cs"/>
            </a:endParaRPr>
          </a:p>
        </p:txBody>
      </p:sp>
      <p:sp>
        <p:nvSpPr>
          <p:cNvPr id="25" name="Freeform 5"/>
          <p:cNvSpPr>
            <a:spLocks/>
          </p:cNvSpPr>
          <p:nvPr/>
        </p:nvSpPr>
        <p:spPr bwMode="blackWhite">
          <a:xfrm>
            <a:off x="1844278" y="3343275"/>
            <a:ext cx="1365647" cy="848916"/>
          </a:xfrm>
          <a:custGeom>
            <a:avLst/>
            <a:gdLst>
              <a:gd name="T0" fmla="*/ 0 w 647"/>
              <a:gd name="T1" fmla="*/ 2147483647 h 548"/>
              <a:gd name="T2" fmla="*/ 0 w 647"/>
              <a:gd name="T3" fmla="*/ 2147483647 h 548"/>
              <a:gd name="T4" fmla="*/ 2147483647 w 647"/>
              <a:gd name="T5" fmla="*/ 2147483647 h 548"/>
              <a:gd name="T6" fmla="*/ 2147483647 w 647"/>
              <a:gd name="T7" fmla="*/ 0 h 548"/>
              <a:gd name="T8" fmla="*/ 2147483647 w 647"/>
              <a:gd name="T9" fmla="*/ 2147483647 h 548"/>
              <a:gd name="T10" fmla="*/ 2147483647 w 647"/>
              <a:gd name="T11" fmla="*/ 2147483647 h 548"/>
              <a:gd name="T12" fmla="*/ 2147483647 w 647"/>
              <a:gd name="T13" fmla="*/ 2147483647 h 548"/>
              <a:gd name="T14" fmla="*/ 2147483647 w 647"/>
              <a:gd name="T15" fmla="*/ 2147483647 h 548"/>
              <a:gd name="T16" fmla="*/ 2147483647 w 647"/>
              <a:gd name="T17" fmla="*/ 2147483647 h 548"/>
              <a:gd name="T18" fmla="*/ 2147483647 w 647"/>
              <a:gd name="T19" fmla="*/ 2147483647 h 548"/>
              <a:gd name="T20" fmla="*/ 2147483647 w 647"/>
              <a:gd name="T21" fmla="*/ 2147483647 h 548"/>
              <a:gd name="T22" fmla="*/ 0 w 647"/>
              <a:gd name="T23" fmla="*/ 2147483647 h 5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7"/>
              <a:gd name="T37" fmla="*/ 0 h 548"/>
              <a:gd name="T38" fmla="*/ 647 w 647"/>
              <a:gd name="T39" fmla="*/ 548 h 5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7" h="548">
                <a:moveTo>
                  <a:pt x="0" y="78"/>
                </a:moveTo>
                <a:lnTo>
                  <a:pt x="0" y="547"/>
                </a:lnTo>
                <a:lnTo>
                  <a:pt x="646" y="546"/>
                </a:lnTo>
                <a:lnTo>
                  <a:pt x="646" y="0"/>
                </a:lnTo>
                <a:lnTo>
                  <a:pt x="582" y="10"/>
                </a:lnTo>
                <a:lnTo>
                  <a:pt x="490" y="24"/>
                </a:lnTo>
                <a:lnTo>
                  <a:pt x="414" y="34"/>
                </a:lnTo>
                <a:lnTo>
                  <a:pt x="348" y="42"/>
                </a:lnTo>
                <a:lnTo>
                  <a:pt x="278" y="50"/>
                </a:lnTo>
                <a:lnTo>
                  <a:pt x="192" y="58"/>
                </a:lnTo>
                <a:lnTo>
                  <a:pt x="82" y="70"/>
                </a:lnTo>
                <a:lnTo>
                  <a:pt x="0" y="78"/>
                </a:lnTo>
              </a:path>
            </a:pathLst>
          </a:custGeom>
          <a:solidFill>
            <a:srgbClr val="00A1DE"/>
          </a:solidFill>
          <a:ln w="12700" cap="rnd">
            <a:solidFill>
              <a:schemeClr val="bg1"/>
            </a:solidFill>
            <a:round/>
            <a:headEnd/>
            <a:tailEnd/>
          </a:ln>
        </p:spPr>
        <p:txBody>
          <a:bodyPr lIns="0" tIns="0" rIns="0" bIns="0">
            <a:noAutofit/>
          </a:bodyPr>
          <a:lstStyle/>
          <a:p>
            <a:pPr defTabSz="685800">
              <a:buClrTx/>
            </a:pPr>
            <a:endParaRPr lang="en-US" sz="1350" kern="1200">
              <a:solidFill>
                <a:prstClr val="black"/>
              </a:solidFill>
              <a:ea typeface="+mn-ea"/>
              <a:cs typeface="+mn-cs"/>
            </a:endParaRPr>
          </a:p>
        </p:txBody>
      </p:sp>
      <p:sp>
        <p:nvSpPr>
          <p:cNvPr id="26" name="Rectangle 6"/>
          <p:cNvSpPr>
            <a:spLocks noChangeArrowheads="1"/>
          </p:cNvSpPr>
          <p:nvPr/>
        </p:nvSpPr>
        <p:spPr bwMode="blackWhite">
          <a:xfrm>
            <a:off x="2095500" y="3153966"/>
            <a:ext cx="862013" cy="153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615554">
              <a:lnSpc>
                <a:spcPct val="95000"/>
              </a:lnSpc>
              <a:buClrTx/>
            </a:pPr>
            <a:r>
              <a:rPr lang="en-US" sz="1050" kern="1200" dirty="0">
                <a:solidFill>
                  <a:srgbClr val="313131"/>
                </a:solidFill>
                <a:ea typeface="MS PGothic" pitchFamily="34" charset="-128"/>
                <a:cs typeface="+mn-cs"/>
              </a:rPr>
              <a:t>Stage 1 </a:t>
            </a:r>
          </a:p>
        </p:txBody>
      </p:sp>
      <p:sp>
        <p:nvSpPr>
          <p:cNvPr id="27" name="Rectangle 7"/>
          <p:cNvSpPr>
            <a:spLocks noChangeArrowheads="1"/>
          </p:cNvSpPr>
          <p:nvPr/>
        </p:nvSpPr>
        <p:spPr bwMode="blackWhite">
          <a:xfrm>
            <a:off x="3455194" y="2755106"/>
            <a:ext cx="862013" cy="153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615554">
              <a:lnSpc>
                <a:spcPct val="95000"/>
              </a:lnSpc>
              <a:buClrTx/>
            </a:pPr>
            <a:r>
              <a:rPr lang="en-US" sz="1050" kern="1200">
                <a:solidFill>
                  <a:srgbClr val="313131"/>
                </a:solidFill>
                <a:ea typeface="MS PGothic" pitchFamily="34" charset="-128"/>
                <a:cs typeface="+mn-cs"/>
              </a:rPr>
              <a:t>Stage 2 </a:t>
            </a:r>
          </a:p>
        </p:txBody>
      </p:sp>
      <p:sp>
        <p:nvSpPr>
          <p:cNvPr id="28" name="Rectangle 8"/>
          <p:cNvSpPr>
            <a:spLocks noChangeArrowheads="1"/>
          </p:cNvSpPr>
          <p:nvPr/>
        </p:nvSpPr>
        <p:spPr bwMode="blackWhite">
          <a:xfrm>
            <a:off x="4797029" y="2108597"/>
            <a:ext cx="863203" cy="153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615554">
              <a:lnSpc>
                <a:spcPct val="95000"/>
              </a:lnSpc>
              <a:buClrTx/>
            </a:pPr>
            <a:r>
              <a:rPr lang="en-US" sz="1050" kern="1200">
                <a:solidFill>
                  <a:srgbClr val="313131"/>
                </a:solidFill>
                <a:ea typeface="MS PGothic" pitchFamily="34" charset="-128"/>
                <a:cs typeface="+mn-cs"/>
              </a:rPr>
              <a:t>Stage 3 </a:t>
            </a:r>
          </a:p>
        </p:txBody>
      </p:sp>
      <p:sp>
        <p:nvSpPr>
          <p:cNvPr id="29" name="Rectangle 9"/>
          <p:cNvSpPr>
            <a:spLocks noChangeArrowheads="1"/>
          </p:cNvSpPr>
          <p:nvPr/>
        </p:nvSpPr>
        <p:spPr bwMode="blackWhite">
          <a:xfrm>
            <a:off x="6130529" y="1290638"/>
            <a:ext cx="863203" cy="153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615554">
              <a:lnSpc>
                <a:spcPct val="95000"/>
              </a:lnSpc>
              <a:buClrTx/>
            </a:pPr>
            <a:r>
              <a:rPr lang="en-US" sz="1050" kern="1200" dirty="0">
                <a:solidFill>
                  <a:srgbClr val="313131"/>
                </a:solidFill>
                <a:ea typeface="MS PGothic" pitchFamily="34" charset="-128"/>
                <a:cs typeface="+mn-cs"/>
              </a:rPr>
              <a:t>Stage 4 </a:t>
            </a:r>
          </a:p>
        </p:txBody>
      </p:sp>
    </p:spTree>
  </p:cSld>
  <p:clrMapOvr>
    <a:masterClrMapping/>
  </p:clrMapOvr>
  <p:transition>
    <p:fade/>
  </p:transition>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6482" name="Rectangle 2" hidden="1"/>
          <p:cNvGraphicFramePr>
            <a:graphicFrameLocks/>
          </p:cNvGraphicFramePr>
          <p:nvPr>
            <p:custDataLst>
              <p:tags r:id="rId1"/>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11" imgW="0" imgH="0" progId="">
                  <p:embed/>
                </p:oleObj>
              </mc:Choice>
              <mc:Fallback>
                <p:oleObj name="think-cell Slide" r:id="rId11" imgW="0" imgH="0" progId="">
                  <p:embed/>
                  <p:pic>
                    <p:nvPicPr>
                      <p:cNvPr id="276482"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6484" name="Title 1"/>
          <p:cNvSpPr>
            <a:spLocks noGrp="1"/>
          </p:cNvSpPr>
          <p:nvPr>
            <p:ph type="title"/>
            <p:custDataLst>
              <p:tags r:id="rId2"/>
            </p:custDataLst>
          </p:nvPr>
        </p:nvSpPr>
        <p:spPr/>
        <p:txBody>
          <a:bodyPr/>
          <a:lstStyle/>
          <a:p>
            <a:r>
              <a:rPr lang="en-US" dirty="0"/>
              <a:t>Steps </a:t>
            </a:r>
            <a:br>
              <a:rPr lang="en-US" dirty="0"/>
            </a:br>
            <a:r>
              <a:rPr lang="en-US" dirty="0">
                <a:solidFill>
                  <a:srgbClr val="575757"/>
                </a:solidFill>
              </a:rPr>
              <a:t>Three</a:t>
            </a:r>
          </a:p>
        </p:txBody>
      </p:sp>
      <p:sp>
        <p:nvSpPr>
          <p:cNvPr id="276488" name="Rectangle 3"/>
          <p:cNvSpPr>
            <a:spLocks noChangeArrowheads="1"/>
          </p:cNvSpPr>
          <p:nvPr>
            <p:custDataLst>
              <p:tags r:id="rId3"/>
            </p:custDataLst>
          </p:nvPr>
        </p:nvSpPr>
        <p:spPr bwMode="auto">
          <a:xfrm>
            <a:off x="1628776" y="3181350"/>
            <a:ext cx="1869281" cy="153504"/>
          </a:xfrm>
          <a:prstGeom prst="rect">
            <a:avLst/>
          </a:prstGeom>
          <a:noFill/>
          <a:ln w="12700" algn="ctr">
            <a:noFill/>
            <a:miter lim="800000"/>
            <a:headEnd/>
            <a:tailEnd/>
          </a:ln>
        </p:spPr>
        <p:txBody>
          <a:bodyPr lIns="0" tIns="0" rIns="0" bIns="0">
            <a:spAutoFit/>
          </a:bodyPr>
          <a:lstStyle/>
          <a:p>
            <a:pPr algn="ctr" defTabSz="571500">
              <a:lnSpc>
                <a:spcPct val="95000"/>
              </a:lnSpc>
              <a:buClrTx/>
            </a:pPr>
            <a:r>
              <a:rPr lang="en-US" sz="1050" b="1" kern="1200" dirty="0">
                <a:solidFill>
                  <a:srgbClr val="313131"/>
                </a:solidFill>
                <a:ea typeface="ＭＳ Ｐゴシック" charset="-128"/>
                <a:cs typeface="+mn-cs"/>
              </a:rPr>
              <a:t>Step 1</a:t>
            </a:r>
          </a:p>
        </p:txBody>
      </p:sp>
      <p:sp>
        <p:nvSpPr>
          <p:cNvPr id="276489" name="Rectangle 4"/>
          <p:cNvSpPr>
            <a:spLocks noChangeArrowheads="1"/>
          </p:cNvSpPr>
          <p:nvPr>
            <p:custDataLst>
              <p:tags r:id="rId4"/>
            </p:custDataLst>
          </p:nvPr>
        </p:nvSpPr>
        <p:spPr bwMode="auto">
          <a:xfrm>
            <a:off x="3623073" y="2575322"/>
            <a:ext cx="1844278" cy="153504"/>
          </a:xfrm>
          <a:prstGeom prst="rect">
            <a:avLst/>
          </a:prstGeom>
          <a:noFill/>
          <a:ln w="12700" algn="ctr">
            <a:noFill/>
            <a:miter lim="800000"/>
            <a:headEnd/>
            <a:tailEnd/>
          </a:ln>
        </p:spPr>
        <p:txBody>
          <a:bodyPr lIns="0" tIns="0" rIns="0" bIns="0">
            <a:spAutoFit/>
          </a:bodyPr>
          <a:lstStyle/>
          <a:p>
            <a:pPr algn="ctr" defTabSz="571500">
              <a:lnSpc>
                <a:spcPct val="95000"/>
              </a:lnSpc>
              <a:buClrTx/>
            </a:pPr>
            <a:r>
              <a:rPr lang="en-US" sz="1050" b="1" kern="1200">
                <a:solidFill>
                  <a:srgbClr val="313131"/>
                </a:solidFill>
                <a:ea typeface="ＭＳ Ｐゴシック" charset="-128"/>
                <a:cs typeface="+mn-cs"/>
              </a:rPr>
              <a:t>Step 2</a:t>
            </a:r>
          </a:p>
        </p:txBody>
      </p:sp>
      <p:sp>
        <p:nvSpPr>
          <p:cNvPr id="6" name="Freeform 5"/>
          <p:cNvSpPr>
            <a:spLocks/>
          </p:cNvSpPr>
          <p:nvPr>
            <p:custDataLst>
              <p:tags r:id="rId5"/>
            </p:custDataLst>
          </p:nvPr>
        </p:nvSpPr>
        <p:spPr bwMode="auto">
          <a:xfrm>
            <a:off x="1579960" y="1881187"/>
            <a:ext cx="5932884" cy="1825229"/>
          </a:xfrm>
          <a:custGeom>
            <a:avLst/>
            <a:gdLst>
              <a:gd name="T0" fmla="*/ 0 w 5281"/>
              <a:gd name="T1" fmla="*/ 2147483647 h 1635"/>
              <a:gd name="T2" fmla="*/ 0 w 5281"/>
              <a:gd name="T3" fmla="*/ 2147483647 h 1635"/>
              <a:gd name="T4" fmla="*/ 2147483647 w 5281"/>
              <a:gd name="T5" fmla="*/ 2147483647 h 1635"/>
              <a:gd name="T6" fmla="*/ 2147483647 w 5281"/>
              <a:gd name="T7" fmla="*/ 2147483647 h 1635"/>
              <a:gd name="T8" fmla="*/ 2147483647 w 5281"/>
              <a:gd name="T9" fmla="*/ 2147483647 h 1635"/>
              <a:gd name="T10" fmla="*/ 2147483647 w 5281"/>
              <a:gd name="T11" fmla="*/ 0 h 1635"/>
              <a:gd name="T12" fmla="*/ 2147483647 w 5281"/>
              <a:gd name="T13" fmla="*/ 0 h 1635"/>
              <a:gd name="T14" fmla="*/ 0 60000 65536"/>
              <a:gd name="T15" fmla="*/ 0 60000 65536"/>
              <a:gd name="T16" fmla="*/ 0 60000 65536"/>
              <a:gd name="T17" fmla="*/ 0 60000 65536"/>
              <a:gd name="T18" fmla="*/ 0 60000 65536"/>
              <a:gd name="T19" fmla="*/ 0 60000 65536"/>
              <a:gd name="T20" fmla="*/ 0 60000 65536"/>
              <a:gd name="T21" fmla="*/ 0 w 5281"/>
              <a:gd name="T22" fmla="*/ 0 h 1635"/>
              <a:gd name="T23" fmla="*/ 5281 w 5281"/>
              <a:gd name="T24" fmla="*/ 1635 h 16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81" h="1635">
                <a:moveTo>
                  <a:pt x="0" y="1634"/>
                </a:moveTo>
                <a:lnTo>
                  <a:pt x="0" y="1089"/>
                </a:lnTo>
                <a:lnTo>
                  <a:pt x="1760" y="1089"/>
                </a:lnTo>
                <a:lnTo>
                  <a:pt x="1760" y="544"/>
                </a:lnTo>
                <a:lnTo>
                  <a:pt x="3520" y="544"/>
                </a:lnTo>
                <a:lnTo>
                  <a:pt x="3520" y="0"/>
                </a:lnTo>
                <a:lnTo>
                  <a:pt x="5280" y="0"/>
                </a:lnTo>
              </a:path>
            </a:pathLst>
          </a:custGeom>
          <a:noFill/>
          <a:ln w="28575" cap="rnd">
            <a:solidFill>
              <a:srgbClr val="00A1DE"/>
            </a:solidFill>
            <a:round/>
            <a:headEnd type="none" w="sm" len="sm"/>
            <a:tailEnd type="none" w="sm" len="sm"/>
          </a:ln>
        </p:spPr>
        <p:txBody>
          <a:bodyPr/>
          <a:lstStyle/>
          <a:p>
            <a:pPr defTabSz="685800">
              <a:buClrTx/>
              <a:defRPr/>
            </a:pPr>
            <a:endParaRPr lang="en-US" sz="1350" kern="1200" dirty="0">
              <a:solidFill>
                <a:prstClr val="black"/>
              </a:solidFill>
              <a:ea typeface="+mn-ea"/>
              <a:cs typeface="+mn-cs"/>
            </a:endParaRPr>
          </a:p>
        </p:txBody>
      </p:sp>
      <p:sp>
        <p:nvSpPr>
          <p:cNvPr id="276491" name="Text Box 6"/>
          <p:cNvSpPr txBox="1">
            <a:spLocks noChangeArrowheads="1"/>
          </p:cNvSpPr>
          <p:nvPr>
            <p:custDataLst>
              <p:tags r:id="rId6"/>
            </p:custDataLst>
          </p:nvPr>
        </p:nvSpPr>
        <p:spPr bwMode="auto">
          <a:xfrm>
            <a:off x="5631657" y="1952625"/>
            <a:ext cx="1794272" cy="153504"/>
          </a:xfrm>
          <a:prstGeom prst="rect">
            <a:avLst/>
          </a:prstGeom>
          <a:noFill/>
          <a:ln w="12700" algn="ctr">
            <a:noFill/>
            <a:miter lim="800000"/>
            <a:headEnd/>
            <a:tailEnd/>
          </a:ln>
        </p:spPr>
        <p:txBody>
          <a:bodyPr lIns="0" tIns="0" rIns="0" bIns="0">
            <a:spAutoFit/>
          </a:bodyPr>
          <a:lstStyle/>
          <a:p>
            <a:pPr algn="ctr" defTabSz="571500">
              <a:lnSpc>
                <a:spcPct val="95000"/>
              </a:lnSpc>
              <a:buClrTx/>
            </a:pPr>
            <a:r>
              <a:rPr lang="en-US" sz="1050" b="1" kern="1200">
                <a:solidFill>
                  <a:srgbClr val="313131"/>
                </a:solidFill>
                <a:ea typeface="ＭＳ Ｐゴシック" charset="-128"/>
                <a:cs typeface="+mn-cs"/>
              </a:rPr>
              <a:t>Step 3</a:t>
            </a:r>
          </a:p>
        </p:txBody>
      </p:sp>
      <p:sp>
        <p:nvSpPr>
          <p:cNvPr id="13" name="Text Placeholder 12"/>
          <p:cNvSpPr>
            <a:spLocks/>
          </p:cNvSpPr>
          <p:nvPr>
            <p:custDataLst>
              <p:tags r:id="rId7"/>
            </p:custDataLst>
          </p:nvPr>
        </p:nvSpPr>
        <p:spPr bwMode="auto">
          <a:xfrm>
            <a:off x="1440656" y="1131570"/>
            <a:ext cx="1070806"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 </a:t>
            </a:r>
          </a:p>
        </p:txBody>
      </p:sp>
      <p:sp>
        <p:nvSpPr>
          <p:cNvPr id="16" name="Text Placeholder 5"/>
          <p:cNvSpPr txBox="1">
            <a:spLocks/>
          </p:cNvSpPr>
          <p:nvPr/>
        </p:nvSpPr>
        <p:spPr>
          <a:xfrm>
            <a:off x="1628775" y="3466976"/>
            <a:ext cx="1645920" cy="690599"/>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205740" defTabSz="717947">
              <a:spcBef>
                <a:spcPts val="450"/>
              </a:spcBef>
              <a:buClrTx/>
            </a:pPr>
            <a:r>
              <a:rPr lang="en-US" sz="825" dirty="0">
                <a:solidFill>
                  <a:srgbClr val="313131"/>
                </a:solidFill>
                <a:latin typeface="Arial"/>
              </a:rPr>
              <a:t>This is a level two bullet</a:t>
            </a:r>
          </a:p>
          <a:p>
            <a:pPr marL="603504" lvl="3" indent="-205740" defTabSz="717947">
              <a:spcBef>
                <a:spcPts val="450"/>
              </a:spcBef>
              <a:buClrTx/>
            </a:pPr>
            <a:r>
              <a:rPr lang="en-US" sz="825" dirty="0">
                <a:solidFill>
                  <a:srgbClr val="313131"/>
                </a:solidFill>
                <a:latin typeface="Arial"/>
              </a:rPr>
              <a:t>This is a level three bullet</a:t>
            </a:r>
          </a:p>
        </p:txBody>
      </p:sp>
      <p:sp>
        <p:nvSpPr>
          <p:cNvPr id="17" name="Text Placeholder 5"/>
          <p:cNvSpPr txBox="1">
            <a:spLocks/>
          </p:cNvSpPr>
          <p:nvPr/>
        </p:nvSpPr>
        <p:spPr>
          <a:xfrm>
            <a:off x="3622241" y="2844011"/>
            <a:ext cx="1714500" cy="690599"/>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205740" defTabSz="717947">
              <a:spcBef>
                <a:spcPts val="450"/>
              </a:spcBef>
              <a:buClrTx/>
            </a:pPr>
            <a:r>
              <a:rPr lang="en-US" sz="825" dirty="0">
                <a:solidFill>
                  <a:srgbClr val="313131"/>
                </a:solidFill>
                <a:latin typeface="Arial"/>
              </a:rPr>
              <a:t>This is a level two bullet</a:t>
            </a:r>
          </a:p>
          <a:p>
            <a:pPr marL="603504" lvl="3" indent="-205740" defTabSz="717947">
              <a:spcBef>
                <a:spcPts val="450"/>
              </a:spcBef>
              <a:buClrTx/>
            </a:pPr>
            <a:r>
              <a:rPr lang="en-US" sz="825" dirty="0">
                <a:solidFill>
                  <a:srgbClr val="313131"/>
                </a:solidFill>
                <a:latin typeface="Arial"/>
              </a:rPr>
              <a:t>This is a level three bullet</a:t>
            </a:r>
          </a:p>
        </p:txBody>
      </p:sp>
      <p:sp>
        <p:nvSpPr>
          <p:cNvPr id="18" name="Text Placeholder 5"/>
          <p:cNvSpPr txBox="1">
            <a:spLocks/>
          </p:cNvSpPr>
          <p:nvPr>
            <p:custDataLst>
              <p:tags r:id="rId8"/>
            </p:custDataLst>
          </p:nvPr>
        </p:nvSpPr>
        <p:spPr>
          <a:xfrm>
            <a:off x="5615706" y="2221046"/>
            <a:ext cx="1645920" cy="690599"/>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205740" defTabSz="717947">
              <a:spcBef>
                <a:spcPts val="450"/>
              </a:spcBef>
              <a:buClrTx/>
            </a:pPr>
            <a:r>
              <a:rPr lang="en-US" sz="825" dirty="0">
                <a:solidFill>
                  <a:srgbClr val="313131"/>
                </a:solidFill>
                <a:latin typeface="Arial"/>
              </a:rPr>
              <a:t>This is a level two bullet</a:t>
            </a:r>
          </a:p>
          <a:p>
            <a:pPr marL="603504" lvl="3" indent="-205740" defTabSz="717947">
              <a:spcBef>
                <a:spcPts val="450"/>
              </a:spcBef>
              <a:buClrTx/>
            </a:pPr>
            <a:r>
              <a:rPr lang="en-US" sz="825" dirty="0">
                <a:solidFill>
                  <a:srgbClr val="313131"/>
                </a:solidFill>
                <a:latin typeface="Arial"/>
              </a:rPr>
              <a:t>This is a level three bullet</a:t>
            </a:r>
          </a:p>
        </p:txBody>
      </p:sp>
    </p:spTree>
  </p:cSld>
  <p:clrMapOvr>
    <a:masterClrMapping/>
  </p:clrMapOvr>
  <p:transition>
    <p:fade/>
  </p:transition>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7506" name="Rectangle 2" hidden="1"/>
          <p:cNvGraphicFramePr>
            <a:graphicFrameLocks/>
          </p:cNvGraphicFramePr>
          <p:nvPr>
            <p:custDataLst>
              <p:tags r:id="rId1"/>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13" imgW="0" imgH="0" progId="">
                  <p:embed/>
                </p:oleObj>
              </mc:Choice>
              <mc:Fallback>
                <p:oleObj name="think-cell Slide" r:id="rId13" imgW="0" imgH="0" progId="">
                  <p:embed/>
                  <p:pic>
                    <p:nvPicPr>
                      <p:cNvPr id="27750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Text Placeholder 5"/>
          <p:cNvSpPr txBox="1">
            <a:spLocks/>
          </p:cNvSpPr>
          <p:nvPr>
            <p:custDataLst>
              <p:tags r:id="rId2"/>
            </p:custDataLst>
          </p:nvPr>
        </p:nvSpPr>
        <p:spPr>
          <a:xfrm>
            <a:off x="6028730" y="2054647"/>
            <a:ext cx="1303020" cy="944515"/>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205740" defTabSz="717947">
              <a:spcBef>
                <a:spcPts val="450"/>
              </a:spcBef>
              <a:buClrTx/>
            </a:pPr>
            <a:r>
              <a:rPr lang="en-US" sz="825" dirty="0">
                <a:solidFill>
                  <a:srgbClr val="313131"/>
                </a:solidFill>
                <a:latin typeface="Arial"/>
              </a:rPr>
              <a:t>This is a level two bullet</a:t>
            </a:r>
          </a:p>
          <a:p>
            <a:pPr marL="603504" lvl="3" indent="-205740" defTabSz="717947">
              <a:spcBef>
                <a:spcPts val="450"/>
              </a:spcBef>
              <a:buClrTx/>
            </a:pPr>
            <a:r>
              <a:rPr lang="en-US" sz="825" dirty="0">
                <a:solidFill>
                  <a:srgbClr val="313131"/>
                </a:solidFill>
                <a:latin typeface="Arial"/>
              </a:rPr>
              <a:t>This is a level three bullet</a:t>
            </a:r>
          </a:p>
        </p:txBody>
      </p:sp>
      <p:sp>
        <p:nvSpPr>
          <p:cNvPr id="277507" name="Title 1"/>
          <p:cNvSpPr>
            <a:spLocks noGrp="1"/>
          </p:cNvSpPr>
          <p:nvPr>
            <p:ph type="title"/>
            <p:custDataLst>
              <p:tags r:id="rId3"/>
            </p:custDataLst>
          </p:nvPr>
        </p:nvSpPr>
        <p:spPr/>
        <p:txBody>
          <a:bodyPr/>
          <a:lstStyle/>
          <a:p>
            <a:r>
              <a:rPr lang="en-US" dirty="0"/>
              <a:t>Steps </a:t>
            </a:r>
            <a:br>
              <a:rPr lang="en-US" dirty="0"/>
            </a:br>
            <a:r>
              <a:rPr lang="en-US" dirty="0">
                <a:solidFill>
                  <a:srgbClr val="575757"/>
                </a:solidFill>
              </a:rPr>
              <a:t>Four</a:t>
            </a:r>
          </a:p>
        </p:txBody>
      </p:sp>
      <p:sp>
        <p:nvSpPr>
          <p:cNvPr id="277513" name="Rectangle 3"/>
          <p:cNvSpPr>
            <a:spLocks noChangeArrowheads="1"/>
          </p:cNvSpPr>
          <p:nvPr>
            <p:custDataLst>
              <p:tags r:id="rId4"/>
            </p:custDataLst>
          </p:nvPr>
        </p:nvSpPr>
        <p:spPr bwMode="auto">
          <a:xfrm>
            <a:off x="1829992" y="3100388"/>
            <a:ext cx="1345406" cy="153504"/>
          </a:xfrm>
          <a:prstGeom prst="rect">
            <a:avLst/>
          </a:prstGeom>
          <a:noFill/>
          <a:ln w="12700" algn="ctr">
            <a:noFill/>
            <a:miter lim="800000"/>
            <a:headEnd/>
            <a:tailEnd/>
          </a:ln>
        </p:spPr>
        <p:txBody>
          <a:bodyPr lIns="0" tIns="0" rIns="0" bIns="0">
            <a:spAutoFit/>
          </a:bodyPr>
          <a:lstStyle/>
          <a:p>
            <a:pPr algn="ctr" defTabSz="571500">
              <a:lnSpc>
                <a:spcPct val="95000"/>
              </a:lnSpc>
              <a:buClrTx/>
            </a:pPr>
            <a:r>
              <a:rPr lang="en-US" sz="1050" b="1" kern="1200" dirty="0">
                <a:solidFill>
                  <a:srgbClr val="313131"/>
                </a:solidFill>
                <a:ea typeface="ＭＳ Ｐゴシック" charset="-128"/>
                <a:cs typeface="+mn-cs"/>
              </a:rPr>
              <a:t>Step 1</a:t>
            </a:r>
          </a:p>
        </p:txBody>
      </p:sp>
      <p:sp>
        <p:nvSpPr>
          <p:cNvPr id="277514" name="Rectangle 4"/>
          <p:cNvSpPr>
            <a:spLocks noChangeArrowheads="1"/>
          </p:cNvSpPr>
          <p:nvPr>
            <p:custDataLst>
              <p:tags r:id="rId5"/>
            </p:custDataLst>
          </p:nvPr>
        </p:nvSpPr>
        <p:spPr bwMode="auto">
          <a:xfrm>
            <a:off x="3200401" y="2655094"/>
            <a:ext cx="1345406" cy="153504"/>
          </a:xfrm>
          <a:prstGeom prst="rect">
            <a:avLst/>
          </a:prstGeom>
          <a:noFill/>
          <a:ln w="12700" algn="ctr">
            <a:noFill/>
            <a:miter lim="800000"/>
            <a:headEnd/>
            <a:tailEnd/>
          </a:ln>
        </p:spPr>
        <p:txBody>
          <a:bodyPr lIns="0" tIns="0" rIns="0" bIns="0">
            <a:spAutoFit/>
          </a:bodyPr>
          <a:lstStyle/>
          <a:p>
            <a:pPr algn="ctr" defTabSz="571500">
              <a:lnSpc>
                <a:spcPct val="95000"/>
              </a:lnSpc>
              <a:buClrTx/>
            </a:pPr>
            <a:r>
              <a:rPr lang="en-US" sz="1050" b="1" kern="1200">
                <a:solidFill>
                  <a:srgbClr val="313131"/>
                </a:solidFill>
                <a:ea typeface="ＭＳ Ｐゴシック" charset="-128"/>
                <a:cs typeface="+mn-cs"/>
              </a:rPr>
              <a:t>Step 2</a:t>
            </a:r>
          </a:p>
        </p:txBody>
      </p:sp>
      <p:sp>
        <p:nvSpPr>
          <p:cNvPr id="277515" name="Rectangle 5"/>
          <p:cNvSpPr>
            <a:spLocks noChangeArrowheads="1"/>
          </p:cNvSpPr>
          <p:nvPr>
            <p:custDataLst>
              <p:tags r:id="rId6"/>
            </p:custDataLst>
          </p:nvPr>
        </p:nvSpPr>
        <p:spPr bwMode="auto">
          <a:xfrm>
            <a:off x="4568428" y="2212181"/>
            <a:ext cx="1346597" cy="153504"/>
          </a:xfrm>
          <a:prstGeom prst="rect">
            <a:avLst/>
          </a:prstGeom>
          <a:noFill/>
          <a:ln w="12700" algn="ctr">
            <a:noFill/>
            <a:miter lim="800000"/>
            <a:headEnd/>
            <a:tailEnd/>
          </a:ln>
        </p:spPr>
        <p:txBody>
          <a:bodyPr lIns="0" tIns="0" rIns="0" bIns="0">
            <a:spAutoFit/>
          </a:bodyPr>
          <a:lstStyle/>
          <a:p>
            <a:pPr algn="ctr" defTabSz="571500">
              <a:lnSpc>
                <a:spcPct val="95000"/>
              </a:lnSpc>
              <a:buClrTx/>
            </a:pPr>
            <a:r>
              <a:rPr lang="en-US" sz="1050" b="1" kern="1200">
                <a:solidFill>
                  <a:srgbClr val="313131"/>
                </a:solidFill>
                <a:ea typeface="ＭＳ Ｐゴシック" charset="-128"/>
                <a:cs typeface="+mn-cs"/>
              </a:rPr>
              <a:t>Step 3</a:t>
            </a:r>
          </a:p>
        </p:txBody>
      </p:sp>
      <p:sp>
        <p:nvSpPr>
          <p:cNvPr id="277516" name="Rectangle 6"/>
          <p:cNvSpPr>
            <a:spLocks noChangeArrowheads="1"/>
          </p:cNvSpPr>
          <p:nvPr>
            <p:custDataLst>
              <p:tags r:id="rId7"/>
            </p:custDataLst>
          </p:nvPr>
        </p:nvSpPr>
        <p:spPr bwMode="auto">
          <a:xfrm>
            <a:off x="5938838" y="1766888"/>
            <a:ext cx="1346597" cy="153504"/>
          </a:xfrm>
          <a:prstGeom prst="rect">
            <a:avLst/>
          </a:prstGeom>
          <a:noFill/>
          <a:ln w="12700" algn="ctr">
            <a:noFill/>
            <a:miter lim="800000"/>
            <a:headEnd/>
            <a:tailEnd/>
          </a:ln>
        </p:spPr>
        <p:txBody>
          <a:bodyPr lIns="0" tIns="0" rIns="0" bIns="0">
            <a:spAutoFit/>
          </a:bodyPr>
          <a:lstStyle/>
          <a:p>
            <a:pPr algn="ctr" defTabSz="571500">
              <a:lnSpc>
                <a:spcPct val="95000"/>
              </a:lnSpc>
              <a:buClrTx/>
            </a:pPr>
            <a:r>
              <a:rPr lang="en-US" sz="1050" b="1" kern="1200">
                <a:solidFill>
                  <a:srgbClr val="313131"/>
                </a:solidFill>
                <a:ea typeface="ＭＳ Ｐゴシック" charset="-128"/>
                <a:cs typeface="+mn-cs"/>
              </a:rPr>
              <a:t>Step 4</a:t>
            </a:r>
          </a:p>
        </p:txBody>
      </p:sp>
      <p:sp>
        <p:nvSpPr>
          <p:cNvPr id="45" name="Freeform 7"/>
          <p:cNvSpPr>
            <a:spLocks/>
          </p:cNvSpPr>
          <p:nvPr>
            <p:custDataLst>
              <p:tags r:id="rId8"/>
            </p:custDataLst>
          </p:nvPr>
        </p:nvSpPr>
        <p:spPr bwMode="auto">
          <a:xfrm>
            <a:off x="1829992" y="1703785"/>
            <a:ext cx="5478065" cy="1779984"/>
          </a:xfrm>
          <a:custGeom>
            <a:avLst/>
            <a:gdLst>
              <a:gd name="T0" fmla="*/ 0 w 5233"/>
              <a:gd name="T1" fmla="*/ 2147483647 h 1595"/>
              <a:gd name="T2" fmla="*/ 0 w 5233"/>
              <a:gd name="T3" fmla="*/ 2147483647 h 1595"/>
              <a:gd name="T4" fmla="*/ 2147483647 w 5233"/>
              <a:gd name="T5" fmla="*/ 2147483647 h 1595"/>
              <a:gd name="T6" fmla="*/ 2147483647 w 5233"/>
              <a:gd name="T7" fmla="*/ 2147483647 h 1595"/>
              <a:gd name="T8" fmla="*/ 2147483647 w 5233"/>
              <a:gd name="T9" fmla="*/ 2147483647 h 1595"/>
              <a:gd name="T10" fmla="*/ 2147483647 w 5233"/>
              <a:gd name="T11" fmla="*/ 2147483647 h 1595"/>
              <a:gd name="T12" fmla="*/ 2147483647 w 5233"/>
              <a:gd name="T13" fmla="*/ 2147483647 h 1595"/>
              <a:gd name="T14" fmla="*/ 2147483647 w 5233"/>
              <a:gd name="T15" fmla="*/ 0 h 1595"/>
              <a:gd name="T16" fmla="*/ 2147483647 w 5233"/>
              <a:gd name="T17" fmla="*/ 0 h 15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33"/>
              <a:gd name="T28" fmla="*/ 0 h 1595"/>
              <a:gd name="T29" fmla="*/ 5233 w 5233"/>
              <a:gd name="T30" fmla="*/ 1595 h 15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33" h="1595">
                <a:moveTo>
                  <a:pt x="0" y="1594"/>
                </a:moveTo>
                <a:lnTo>
                  <a:pt x="0" y="1195"/>
                </a:lnTo>
                <a:lnTo>
                  <a:pt x="1308" y="1195"/>
                </a:lnTo>
                <a:lnTo>
                  <a:pt x="1308" y="797"/>
                </a:lnTo>
                <a:lnTo>
                  <a:pt x="2616" y="797"/>
                </a:lnTo>
                <a:lnTo>
                  <a:pt x="2616" y="398"/>
                </a:lnTo>
                <a:lnTo>
                  <a:pt x="3924" y="398"/>
                </a:lnTo>
                <a:lnTo>
                  <a:pt x="3924" y="0"/>
                </a:lnTo>
                <a:lnTo>
                  <a:pt x="5232" y="0"/>
                </a:lnTo>
              </a:path>
            </a:pathLst>
          </a:custGeom>
          <a:noFill/>
          <a:ln w="28575" cap="rnd">
            <a:solidFill>
              <a:srgbClr val="00A1DE"/>
            </a:solidFill>
            <a:round/>
            <a:headEnd type="none" w="sm" len="sm"/>
            <a:tailEnd type="none" w="sm" len="sm"/>
          </a:ln>
        </p:spPr>
        <p:txBody>
          <a:bodyPr/>
          <a:lstStyle/>
          <a:p>
            <a:pPr defTabSz="685800">
              <a:buClrTx/>
              <a:defRPr/>
            </a:pPr>
            <a:endParaRPr lang="en-US" sz="1350" kern="1200" dirty="0">
              <a:solidFill>
                <a:prstClr val="black"/>
              </a:solidFill>
              <a:ea typeface="+mn-ea"/>
              <a:cs typeface="+mn-cs"/>
            </a:endParaRPr>
          </a:p>
        </p:txBody>
      </p:sp>
      <p:sp>
        <p:nvSpPr>
          <p:cNvPr id="15" name="Text Placeholder 12"/>
          <p:cNvSpPr>
            <a:spLocks/>
          </p:cNvSpPr>
          <p:nvPr>
            <p:custDataLst>
              <p:tags r:id="rId9"/>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
        <p:nvSpPr>
          <p:cNvPr id="20" name="Text Placeholder 5"/>
          <p:cNvSpPr txBox="1">
            <a:spLocks/>
          </p:cNvSpPr>
          <p:nvPr>
            <p:custDataLst>
              <p:tags r:id="rId10"/>
            </p:custDataLst>
          </p:nvPr>
        </p:nvSpPr>
        <p:spPr>
          <a:xfrm>
            <a:off x="1919288" y="3431381"/>
            <a:ext cx="1371600" cy="944515"/>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205740" defTabSz="717947">
              <a:spcBef>
                <a:spcPts val="450"/>
              </a:spcBef>
              <a:buClrTx/>
            </a:pPr>
            <a:r>
              <a:rPr lang="en-US" sz="825" dirty="0">
                <a:solidFill>
                  <a:srgbClr val="313131"/>
                </a:solidFill>
                <a:latin typeface="Arial"/>
              </a:rPr>
              <a:t>This is a level two bullet</a:t>
            </a:r>
          </a:p>
          <a:p>
            <a:pPr marL="603504" lvl="3" indent="-205740" defTabSz="717947">
              <a:spcBef>
                <a:spcPts val="450"/>
              </a:spcBef>
              <a:buClrTx/>
            </a:pPr>
            <a:r>
              <a:rPr lang="en-US" sz="825" dirty="0">
                <a:solidFill>
                  <a:srgbClr val="313131"/>
                </a:solidFill>
                <a:latin typeface="Arial"/>
              </a:rPr>
              <a:t>This is a level three bullet</a:t>
            </a:r>
          </a:p>
        </p:txBody>
      </p:sp>
      <p:sp>
        <p:nvSpPr>
          <p:cNvPr id="22" name="Text Placeholder 5"/>
          <p:cNvSpPr txBox="1">
            <a:spLocks/>
          </p:cNvSpPr>
          <p:nvPr/>
        </p:nvSpPr>
        <p:spPr>
          <a:xfrm>
            <a:off x="3289102" y="2972470"/>
            <a:ext cx="1303020" cy="944515"/>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205740" defTabSz="717947">
              <a:spcBef>
                <a:spcPts val="450"/>
              </a:spcBef>
              <a:buClrTx/>
            </a:pPr>
            <a:r>
              <a:rPr lang="en-US" sz="825" dirty="0">
                <a:solidFill>
                  <a:srgbClr val="313131"/>
                </a:solidFill>
                <a:latin typeface="Arial"/>
              </a:rPr>
              <a:t>This is a level two bullet</a:t>
            </a:r>
          </a:p>
          <a:p>
            <a:pPr marL="603504" lvl="3" indent="-205740" defTabSz="717947">
              <a:spcBef>
                <a:spcPts val="450"/>
              </a:spcBef>
              <a:buClrTx/>
            </a:pPr>
            <a:r>
              <a:rPr lang="en-US" sz="825" dirty="0">
                <a:solidFill>
                  <a:srgbClr val="313131"/>
                </a:solidFill>
                <a:latin typeface="Arial"/>
              </a:rPr>
              <a:t>This is a level three bullet</a:t>
            </a:r>
          </a:p>
        </p:txBody>
      </p:sp>
      <p:sp>
        <p:nvSpPr>
          <p:cNvPr id="23" name="Text Placeholder 5"/>
          <p:cNvSpPr txBox="1">
            <a:spLocks/>
          </p:cNvSpPr>
          <p:nvPr/>
        </p:nvSpPr>
        <p:spPr>
          <a:xfrm>
            <a:off x="4658916" y="2513559"/>
            <a:ext cx="1303020" cy="944515"/>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205740" defTabSz="717947">
              <a:spcBef>
                <a:spcPts val="450"/>
              </a:spcBef>
              <a:buClrTx/>
            </a:pPr>
            <a:r>
              <a:rPr lang="en-US" sz="825" dirty="0">
                <a:solidFill>
                  <a:srgbClr val="313131"/>
                </a:solidFill>
                <a:latin typeface="Arial"/>
              </a:rPr>
              <a:t>This is a level two bullet</a:t>
            </a:r>
          </a:p>
          <a:p>
            <a:pPr marL="603504" lvl="3" indent="-205740" defTabSz="717947">
              <a:spcBef>
                <a:spcPts val="450"/>
              </a:spcBef>
              <a:buClrTx/>
            </a:pPr>
            <a:r>
              <a:rPr lang="en-US" sz="825" dirty="0">
                <a:solidFill>
                  <a:srgbClr val="313131"/>
                </a:solidFill>
                <a:latin typeface="Arial"/>
              </a:rPr>
              <a:t>This is a level three bullet</a:t>
            </a:r>
          </a:p>
        </p:txBody>
      </p:sp>
    </p:spTree>
  </p:cSld>
  <p:clrMapOvr>
    <a:masterClrMapping/>
  </p:clrMapOvr>
  <p:transition>
    <p:fade/>
  </p:transition>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1793" name="Title 1"/>
          <p:cNvSpPr>
            <a:spLocks noGrp="1"/>
          </p:cNvSpPr>
          <p:nvPr>
            <p:ph type="title"/>
          </p:nvPr>
        </p:nvSpPr>
        <p:spPr/>
        <p:txBody>
          <a:bodyPr/>
          <a:lstStyle/>
          <a:p>
            <a:r>
              <a:rPr lang="en-US" dirty="0"/>
              <a:t>Steps </a:t>
            </a:r>
            <a:br>
              <a:rPr lang="en-US" dirty="0"/>
            </a:br>
            <a:r>
              <a:rPr lang="en-US" dirty="0">
                <a:solidFill>
                  <a:srgbClr val="575757"/>
                </a:solidFill>
              </a:rPr>
              <a:t>Five</a:t>
            </a:r>
          </a:p>
        </p:txBody>
      </p:sp>
      <p:sp>
        <p:nvSpPr>
          <p:cNvPr id="801800" name="Rectangle 3"/>
          <p:cNvSpPr>
            <a:spLocks noChangeArrowheads="1"/>
          </p:cNvSpPr>
          <p:nvPr/>
        </p:nvSpPr>
        <p:spPr bwMode="auto">
          <a:xfrm>
            <a:off x="1900238" y="3089910"/>
            <a:ext cx="1046560" cy="153504"/>
          </a:xfrm>
          <a:prstGeom prst="rect">
            <a:avLst/>
          </a:prstGeom>
          <a:noFill/>
          <a:ln w="12700" algn="ctr">
            <a:noFill/>
            <a:miter lim="800000"/>
            <a:headEnd/>
            <a:tailEnd/>
          </a:ln>
        </p:spPr>
        <p:txBody>
          <a:bodyPr lIns="0" tIns="0" rIns="0" bIns="0">
            <a:spAutoFit/>
          </a:bodyPr>
          <a:lstStyle/>
          <a:p>
            <a:pPr algn="ctr" defTabSz="571500">
              <a:lnSpc>
                <a:spcPct val="95000"/>
              </a:lnSpc>
              <a:buClrTx/>
            </a:pPr>
            <a:r>
              <a:rPr lang="en-US" sz="1050" b="1" kern="1200" dirty="0">
                <a:solidFill>
                  <a:srgbClr val="313131"/>
                </a:solidFill>
                <a:ea typeface="ＭＳ Ｐゴシック" charset="-128"/>
                <a:cs typeface="+mn-cs"/>
              </a:rPr>
              <a:t>Step 1</a:t>
            </a:r>
          </a:p>
        </p:txBody>
      </p:sp>
      <p:sp>
        <p:nvSpPr>
          <p:cNvPr id="801801" name="Rectangle 4"/>
          <p:cNvSpPr>
            <a:spLocks noChangeArrowheads="1"/>
          </p:cNvSpPr>
          <p:nvPr/>
        </p:nvSpPr>
        <p:spPr bwMode="auto">
          <a:xfrm>
            <a:off x="2976563" y="2714864"/>
            <a:ext cx="1046560" cy="153504"/>
          </a:xfrm>
          <a:prstGeom prst="rect">
            <a:avLst/>
          </a:prstGeom>
          <a:noFill/>
          <a:ln w="12700" algn="ctr">
            <a:noFill/>
            <a:miter lim="800000"/>
            <a:headEnd/>
            <a:tailEnd/>
          </a:ln>
        </p:spPr>
        <p:txBody>
          <a:bodyPr lIns="0" tIns="0" rIns="0" bIns="0">
            <a:spAutoFit/>
          </a:bodyPr>
          <a:lstStyle/>
          <a:p>
            <a:pPr algn="ctr" defTabSz="571500">
              <a:lnSpc>
                <a:spcPct val="95000"/>
              </a:lnSpc>
              <a:buClrTx/>
            </a:pPr>
            <a:r>
              <a:rPr lang="en-US" sz="1050" b="1" kern="1200">
                <a:solidFill>
                  <a:srgbClr val="313131"/>
                </a:solidFill>
                <a:ea typeface="ＭＳ Ｐゴシック" charset="-128"/>
                <a:cs typeface="+mn-cs"/>
              </a:rPr>
              <a:t>Step 2</a:t>
            </a:r>
          </a:p>
        </p:txBody>
      </p:sp>
      <p:sp>
        <p:nvSpPr>
          <p:cNvPr id="27" name="Freeform 5"/>
          <p:cNvSpPr>
            <a:spLocks/>
          </p:cNvSpPr>
          <p:nvPr/>
        </p:nvSpPr>
        <p:spPr bwMode="auto">
          <a:xfrm>
            <a:off x="1900238" y="1537335"/>
            <a:ext cx="5312569" cy="1876425"/>
          </a:xfrm>
          <a:custGeom>
            <a:avLst/>
            <a:gdLst>
              <a:gd name="T0" fmla="*/ 0 w 5713"/>
              <a:gd name="T1" fmla="*/ 2147483647 h 1681"/>
              <a:gd name="T2" fmla="*/ 0 w 5713"/>
              <a:gd name="T3" fmla="*/ 2147483647 h 1681"/>
              <a:gd name="T4" fmla="*/ 2147483647 w 5713"/>
              <a:gd name="T5" fmla="*/ 2147483647 h 1681"/>
              <a:gd name="T6" fmla="*/ 2147483647 w 5713"/>
              <a:gd name="T7" fmla="*/ 2147483647 h 1681"/>
              <a:gd name="T8" fmla="*/ 2147483647 w 5713"/>
              <a:gd name="T9" fmla="*/ 2147483647 h 1681"/>
              <a:gd name="T10" fmla="*/ 2147483647 w 5713"/>
              <a:gd name="T11" fmla="*/ 2147483647 h 1681"/>
              <a:gd name="T12" fmla="*/ 2147483647 w 5713"/>
              <a:gd name="T13" fmla="*/ 2147483647 h 1681"/>
              <a:gd name="T14" fmla="*/ 2147483647 w 5713"/>
              <a:gd name="T15" fmla="*/ 2147483647 h 1681"/>
              <a:gd name="T16" fmla="*/ 2147483647 w 5713"/>
              <a:gd name="T17" fmla="*/ 2147483647 h 1681"/>
              <a:gd name="T18" fmla="*/ 2147483647 w 5713"/>
              <a:gd name="T19" fmla="*/ 0 h 1681"/>
              <a:gd name="T20" fmla="*/ 2147483647 w 5713"/>
              <a:gd name="T21" fmla="*/ 0 h 16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13"/>
              <a:gd name="T34" fmla="*/ 0 h 1681"/>
              <a:gd name="T35" fmla="*/ 5713 w 5713"/>
              <a:gd name="T36" fmla="*/ 1681 h 16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13" h="1681">
                <a:moveTo>
                  <a:pt x="0" y="1680"/>
                </a:moveTo>
                <a:lnTo>
                  <a:pt x="0" y="1344"/>
                </a:lnTo>
                <a:lnTo>
                  <a:pt x="1142" y="1344"/>
                </a:lnTo>
                <a:lnTo>
                  <a:pt x="1142" y="1008"/>
                </a:lnTo>
                <a:lnTo>
                  <a:pt x="2284" y="1008"/>
                </a:lnTo>
                <a:lnTo>
                  <a:pt x="2284" y="672"/>
                </a:lnTo>
                <a:lnTo>
                  <a:pt x="3427" y="672"/>
                </a:lnTo>
                <a:lnTo>
                  <a:pt x="3427" y="336"/>
                </a:lnTo>
                <a:lnTo>
                  <a:pt x="4569" y="336"/>
                </a:lnTo>
                <a:lnTo>
                  <a:pt x="4569" y="0"/>
                </a:lnTo>
                <a:lnTo>
                  <a:pt x="5712" y="0"/>
                </a:lnTo>
              </a:path>
            </a:pathLst>
          </a:custGeom>
          <a:noFill/>
          <a:ln w="28575" cap="rnd">
            <a:solidFill>
              <a:srgbClr val="00A1DE"/>
            </a:solidFill>
            <a:round/>
            <a:headEnd type="none" w="sm" len="sm"/>
            <a:tailEnd type="none" w="sm" len="sm"/>
          </a:ln>
        </p:spPr>
        <p:txBody>
          <a:bodyPr/>
          <a:lstStyle/>
          <a:p>
            <a:pPr defTabSz="685800">
              <a:buClrTx/>
              <a:defRPr/>
            </a:pPr>
            <a:endParaRPr lang="en-US" sz="1350" kern="1200" dirty="0">
              <a:solidFill>
                <a:prstClr val="black"/>
              </a:solidFill>
              <a:ea typeface="+mn-ea"/>
              <a:cs typeface="+mn-cs"/>
            </a:endParaRPr>
          </a:p>
        </p:txBody>
      </p:sp>
      <p:sp>
        <p:nvSpPr>
          <p:cNvPr id="801803" name="Rectangle 6"/>
          <p:cNvSpPr>
            <a:spLocks noChangeArrowheads="1"/>
          </p:cNvSpPr>
          <p:nvPr/>
        </p:nvSpPr>
        <p:spPr bwMode="auto">
          <a:xfrm>
            <a:off x="4021931" y="2400539"/>
            <a:ext cx="1047750" cy="153504"/>
          </a:xfrm>
          <a:prstGeom prst="rect">
            <a:avLst/>
          </a:prstGeom>
          <a:noFill/>
          <a:ln w="12700" algn="ctr">
            <a:noFill/>
            <a:miter lim="800000"/>
            <a:headEnd/>
            <a:tailEnd/>
          </a:ln>
        </p:spPr>
        <p:txBody>
          <a:bodyPr lIns="0" tIns="0" rIns="0" bIns="0">
            <a:spAutoFit/>
          </a:bodyPr>
          <a:lstStyle/>
          <a:p>
            <a:pPr algn="ctr" defTabSz="571500">
              <a:lnSpc>
                <a:spcPct val="95000"/>
              </a:lnSpc>
              <a:buClrTx/>
            </a:pPr>
            <a:r>
              <a:rPr lang="en-US" sz="1050" b="1" kern="1200">
                <a:solidFill>
                  <a:srgbClr val="313131"/>
                </a:solidFill>
                <a:ea typeface="ＭＳ Ｐゴシック" charset="-128"/>
                <a:cs typeface="+mn-cs"/>
              </a:rPr>
              <a:t>Step 3</a:t>
            </a:r>
          </a:p>
        </p:txBody>
      </p:sp>
      <p:sp>
        <p:nvSpPr>
          <p:cNvPr id="801804" name="Rectangle 7"/>
          <p:cNvSpPr>
            <a:spLocks noChangeArrowheads="1"/>
          </p:cNvSpPr>
          <p:nvPr/>
        </p:nvSpPr>
        <p:spPr bwMode="auto">
          <a:xfrm>
            <a:off x="5068491" y="1969532"/>
            <a:ext cx="1046559" cy="153504"/>
          </a:xfrm>
          <a:prstGeom prst="rect">
            <a:avLst/>
          </a:prstGeom>
          <a:noFill/>
          <a:ln w="12700" algn="ctr">
            <a:noFill/>
            <a:miter lim="800000"/>
            <a:headEnd/>
            <a:tailEnd/>
          </a:ln>
        </p:spPr>
        <p:txBody>
          <a:bodyPr lIns="0" tIns="0" rIns="0" bIns="0">
            <a:spAutoFit/>
          </a:bodyPr>
          <a:lstStyle/>
          <a:p>
            <a:pPr algn="ctr" defTabSz="571500">
              <a:lnSpc>
                <a:spcPct val="95000"/>
              </a:lnSpc>
              <a:buClrTx/>
            </a:pPr>
            <a:r>
              <a:rPr lang="en-US" sz="1050" b="1" kern="1200">
                <a:solidFill>
                  <a:srgbClr val="313131"/>
                </a:solidFill>
                <a:ea typeface="ＭＳ Ｐゴシック" charset="-128"/>
                <a:cs typeface="+mn-cs"/>
              </a:rPr>
              <a:t>Step 4</a:t>
            </a:r>
          </a:p>
        </p:txBody>
      </p:sp>
      <p:sp>
        <p:nvSpPr>
          <p:cNvPr id="801805" name="Rectangle 8"/>
          <p:cNvSpPr>
            <a:spLocks noChangeArrowheads="1"/>
          </p:cNvSpPr>
          <p:nvPr/>
        </p:nvSpPr>
        <p:spPr bwMode="auto">
          <a:xfrm>
            <a:off x="6166247" y="1600439"/>
            <a:ext cx="1047750" cy="153504"/>
          </a:xfrm>
          <a:prstGeom prst="rect">
            <a:avLst/>
          </a:prstGeom>
          <a:noFill/>
          <a:ln w="12700" algn="ctr">
            <a:noFill/>
            <a:miter lim="800000"/>
            <a:headEnd/>
            <a:tailEnd/>
          </a:ln>
        </p:spPr>
        <p:txBody>
          <a:bodyPr lIns="0" tIns="0" rIns="0" bIns="0">
            <a:spAutoFit/>
          </a:bodyPr>
          <a:lstStyle/>
          <a:p>
            <a:pPr algn="ctr" defTabSz="571500">
              <a:lnSpc>
                <a:spcPct val="95000"/>
              </a:lnSpc>
              <a:buClrTx/>
            </a:pPr>
            <a:r>
              <a:rPr lang="en-US" sz="1050" b="1" kern="1200" dirty="0">
                <a:solidFill>
                  <a:srgbClr val="313131"/>
                </a:solidFill>
                <a:ea typeface="ＭＳ Ｐゴシック" charset="-128"/>
                <a:cs typeface="+mn-cs"/>
              </a:rPr>
              <a:t>Step 5</a:t>
            </a:r>
          </a:p>
        </p:txBody>
      </p:sp>
      <p:sp>
        <p:nvSpPr>
          <p:cNvPr id="16"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
        <p:nvSpPr>
          <p:cNvPr id="22" name="Text Placeholder 5"/>
          <p:cNvSpPr txBox="1">
            <a:spLocks/>
          </p:cNvSpPr>
          <p:nvPr>
            <p:custDataLst>
              <p:tags r:id="rId2"/>
            </p:custDataLst>
          </p:nvPr>
        </p:nvSpPr>
        <p:spPr>
          <a:xfrm>
            <a:off x="1900237" y="3413760"/>
            <a:ext cx="1097280" cy="626479"/>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205740" defTabSz="717947">
              <a:spcBef>
                <a:spcPts val="450"/>
              </a:spcBef>
              <a:buClrTx/>
            </a:pPr>
            <a:r>
              <a:rPr lang="en-US" sz="825" dirty="0">
                <a:solidFill>
                  <a:srgbClr val="313131"/>
                </a:solidFill>
                <a:latin typeface="Arial"/>
              </a:rPr>
              <a:t>This is a level two bullet</a:t>
            </a:r>
          </a:p>
        </p:txBody>
      </p:sp>
      <p:sp>
        <p:nvSpPr>
          <p:cNvPr id="23" name="Text Placeholder 5"/>
          <p:cNvSpPr txBox="1">
            <a:spLocks/>
          </p:cNvSpPr>
          <p:nvPr>
            <p:custDataLst>
              <p:tags r:id="rId3"/>
            </p:custDataLst>
          </p:nvPr>
        </p:nvSpPr>
        <p:spPr>
          <a:xfrm>
            <a:off x="2966739" y="3036693"/>
            <a:ext cx="1097280" cy="626479"/>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205740" defTabSz="717947">
              <a:spcBef>
                <a:spcPts val="450"/>
              </a:spcBef>
              <a:buClrTx/>
            </a:pPr>
            <a:r>
              <a:rPr lang="en-US" sz="825" dirty="0">
                <a:solidFill>
                  <a:srgbClr val="313131"/>
                </a:solidFill>
                <a:latin typeface="Arial"/>
              </a:rPr>
              <a:t>This is a level two bullet</a:t>
            </a:r>
          </a:p>
        </p:txBody>
      </p:sp>
      <p:sp>
        <p:nvSpPr>
          <p:cNvPr id="24" name="Text Placeholder 5"/>
          <p:cNvSpPr txBox="1">
            <a:spLocks/>
          </p:cNvSpPr>
          <p:nvPr>
            <p:custDataLst>
              <p:tags r:id="rId4"/>
            </p:custDataLst>
          </p:nvPr>
        </p:nvSpPr>
        <p:spPr>
          <a:xfrm>
            <a:off x="4033241" y="2659627"/>
            <a:ext cx="1097280" cy="626479"/>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205740" defTabSz="717947">
              <a:spcBef>
                <a:spcPts val="450"/>
              </a:spcBef>
              <a:buClrTx/>
            </a:pPr>
            <a:r>
              <a:rPr lang="en-US" sz="825" dirty="0">
                <a:solidFill>
                  <a:srgbClr val="313131"/>
                </a:solidFill>
                <a:latin typeface="Arial"/>
              </a:rPr>
              <a:t>This is a level two bullet</a:t>
            </a:r>
          </a:p>
        </p:txBody>
      </p:sp>
      <p:sp>
        <p:nvSpPr>
          <p:cNvPr id="25" name="Text Placeholder 5"/>
          <p:cNvSpPr txBox="1">
            <a:spLocks/>
          </p:cNvSpPr>
          <p:nvPr>
            <p:custDataLst>
              <p:tags r:id="rId5"/>
            </p:custDataLst>
          </p:nvPr>
        </p:nvSpPr>
        <p:spPr>
          <a:xfrm>
            <a:off x="5099744" y="2282561"/>
            <a:ext cx="1097280" cy="626479"/>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205740" defTabSz="717947">
              <a:spcBef>
                <a:spcPts val="450"/>
              </a:spcBef>
              <a:buClrTx/>
            </a:pPr>
            <a:r>
              <a:rPr lang="en-US" sz="825" dirty="0">
                <a:solidFill>
                  <a:srgbClr val="313131"/>
                </a:solidFill>
                <a:latin typeface="Arial"/>
              </a:rPr>
              <a:t>This is a level two bullet</a:t>
            </a:r>
          </a:p>
        </p:txBody>
      </p:sp>
      <p:sp>
        <p:nvSpPr>
          <p:cNvPr id="26" name="Text Placeholder 5"/>
          <p:cNvSpPr txBox="1">
            <a:spLocks/>
          </p:cNvSpPr>
          <p:nvPr>
            <p:custDataLst>
              <p:tags r:id="rId6"/>
            </p:custDataLst>
          </p:nvPr>
        </p:nvSpPr>
        <p:spPr>
          <a:xfrm>
            <a:off x="6166246" y="1905495"/>
            <a:ext cx="1097280" cy="626479"/>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205740" defTabSz="717947">
              <a:spcBef>
                <a:spcPts val="450"/>
              </a:spcBef>
              <a:buClrTx/>
            </a:pPr>
            <a:r>
              <a:rPr lang="en-US" sz="825" dirty="0">
                <a:solidFill>
                  <a:srgbClr val="313131"/>
                </a:solidFill>
                <a:latin typeface="Arial"/>
              </a:rPr>
              <a:t>This is a level two bullet</a:t>
            </a:r>
          </a:p>
        </p:txBody>
      </p:sp>
    </p:spTree>
  </p:cSld>
  <p:clrMapOvr>
    <a:masterClrMapping/>
  </p:clrMapOvr>
  <p:transition>
    <p:fade/>
  </p:transition>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2817" name="Title 1"/>
          <p:cNvSpPr>
            <a:spLocks noGrp="1"/>
          </p:cNvSpPr>
          <p:nvPr>
            <p:ph type="title"/>
          </p:nvPr>
        </p:nvSpPr>
        <p:spPr/>
        <p:txBody>
          <a:bodyPr/>
          <a:lstStyle/>
          <a:p>
            <a:r>
              <a:rPr lang="en-US" dirty="0"/>
              <a:t>Steps </a:t>
            </a:r>
            <a:br>
              <a:rPr lang="en-US" dirty="0"/>
            </a:br>
            <a:r>
              <a:rPr lang="en-US" dirty="0">
                <a:solidFill>
                  <a:srgbClr val="575757"/>
                </a:solidFill>
              </a:rPr>
              <a:t>Six</a:t>
            </a:r>
          </a:p>
        </p:txBody>
      </p:sp>
      <p:sp>
        <p:nvSpPr>
          <p:cNvPr id="802825" name="Rectangle 3"/>
          <p:cNvSpPr>
            <a:spLocks noChangeArrowheads="1"/>
          </p:cNvSpPr>
          <p:nvPr/>
        </p:nvSpPr>
        <p:spPr bwMode="auto">
          <a:xfrm>
            <a:off x="1930004" y="3450431"/>
            <a:ext cx="847725" cy="153504"/>
          </a:xfrm>
          <a:prstGeom prst="rect">
            <a:avLst/>
          </a:prstGeom>
          <a:noFill/>
          <a:ln w="12700" algn="ctr">
            <a:noFill/>
            <a:miter lim="800000"/>
            <a:headEnd/>
            <a:tailEnd/>
          </a:ln>
        </p:spPr>
        <p:txBody>
          <a:bodyPr lIns="0" tIns="0" rIns="0" bIns="0">
            <a:spAutoFit/>
          </a:bodyPr>
          <a:lstStyle/>
          <a:p>
            <a:pPr algn="ctr" defTabSz="571500">
              <a:lnSpc>
                <a:spcPct val="95000"/>
              </a:lnSpc>
              <a:buClrTx/>
            </a:pPr>
            <a:r>
              <a:rPr lang="en-US" sz="1050" b="1" kern="1200" dirty="0">
                <a:solidFill>
                  <a:srgbClr val="313131"/>
                </a:solidFill>
                <a:ea typeface="ＭＳ Ｐゴシック" charset="-128"/>
                <a:cs typeface="+mn-cs"/>
              </a:rPr>
              <a:t>Step 1</a:t>
            </a:r>
          </a:p>
        </p:txBody>
      </p:sp>
      <p:sp>
        <p:nvSpPr>
          <p:cNvPr id="20" name="Freeform 4"/>
          <p:cNvSpPr>
            <a:spLocks/>
          </p:cNvSpPr>
          <p:nvPr/>
        </p:nvSpPr>
        <p:spPr bwMode="auto">
          <a:xfrm>
            <a:off x="1930004" y="1522810"/>
            <a:ext cx="5334000" cy="2251472"/>
          </a:xfrm>
          <a:custGeom>
            <a:avLst/>
            <a:gdLst>
              <a:gd name="T0" fmla="*/ 0 w 5713"/>
              <a:gd name="T1" fmla="*/ 2147483647 h 2017"/>
              <a:gd name="T2" fmla="*/ 0 w 5713"/>
              <a:gd name="T3" fmla="*/ 2147483647 h 2017"/>
              <a:gd name="T4" fmla="*/ 2147483647 w 5713"/>
              <a:gd name="T5" fmla="*/ 2147483647 h 2017"/>
              <a:gd name="T6" fmla="*/ 2147483647 w 5713"/>
              <a:gd name="T7" fmla="*/ 2147483647 h 2017"/>
              <a:gd name="T8" fmla="*/ 2147483647 w 5713"/>
              <a:gd name="T9" fmla="*/ 2147483647 h 2017"/>
              <a:gd name="T10" fmla="*/ 2147483647 w 5713"/>
              <a:gd name="T11" fmla="*/ 2147483647 h 2017"/>
              <a:gd name="T12" fmla="*/ 2147483647 w 5713"/>
              <a:gd name="T13" fmla="*/ 2147483647 h 2017"/>
              <a:gd name="T14" fmla="*/ 2147483647 w 5713"/>
              <a:gd name="T15" fmla="*/ 2147483647 h 2017"/>
              <a:gd name="T16" fmla="*/ 2147483647 w 5713"/>
              <a:gd name="T17" fmla="*/ 2147483647 h 2017"/>
              <a:gd name="T18" fmla="*/ 2147483647 w 5713"/>
              <a:gd name="T19" fmla="*/ 2147483647 h 2017"/>
              <a:gd name="T20" fmla="*/ 2147483647 w 5713"/>
              <a:gd name="T21" fmla="*/ 2147483647 h 2017"/>
              <a:gd name="T22" fmla="*/ 2147483647 w 5713"/>
              <a:gd name="T23" fmla="*/ 0 h 2017"/>
              <a:gd name="T24" fmla="*/ 2147483647 w 5713"/>
              <a:gd name="T25" fmla="*/ 0 h 20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713"/>
              <a:gd name="T40" fmla="*/ 0 h 2017"/>
              <a:gd name="T41" fmla="*/ 5713 w 5713"/>
              <a:gd name="T42" fmla="*/ 2017 h 20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713" h="2017">
                <a:moveTo>
                  <a:pt x="0" y="2016"/>
                </a:moveTo>
                <a:lnTo>
                  <a:pt x="0" y="1680"/>
                </a:lnTo>
                <a:lnTo>
                  <a:pt x="952" y="1680"/>
                </a:lnTo>
                <a:lnTo>
                  <a:pt x="952" y="1344"/>
                </a:lnTo>
                <a:lnTo>
                  <a:pt x="1904" y="1344"/>
                </a:lnTo>
                <a:lnTo>
                  <a:pt x="1904" y="1008"/>
                </a:lnTo>
                <a:lnTo>
                  <a:pt x="2856" y="1008"/>
                </a:lnTo>
                <a:lnTo>
                  <a:pt x="2856" y="672"/>
                </a:lnTo>
                <a:lnTo>
                  <a:pt x="3808" y="672"/>
                </a:lnTo>
                <a:lnTo>
                  <a:pt x="3808" y="336"/>
                </a:lnTo>
                <a:lnTo>
                  <a:pt x="4760" y="336"/>
                </a:lnTo>
                <a:lnTo>
                  <a:pt x="4760" y="0"/>
                </a:lnTo>
                <a:lnTo>
                  <a:pt x="5712" y="0"/>
                </a:lnTo>
              </a:path>
            </a:pathLst>
          </a:custGeom>
          <a:noFill/>
          <a:ln w="28575" cap="rnd">
            <a:solidFill>
              <a:srgbClr val="00A1DE"/>
            </a:solidFill>
            <a:round/>
            <a:headEnd type="none" w="sm" len="sm"/>
            <a:tailEnd type="none" w="sm" len="sm"/>
          </a:ln>
        </p:spPr>
        <p:txBody>
          <a:bodyPr/>
          <a:lstStyle/>
          <a:p>
            <a:pPr defTabSz="685800">
              <a:buClrTx/>
              <a:defRPr/>
            </a:pPr>
            <a:endParaRPr lang="en-US" sz="1350" kern="1200" dirty="0">
              <a:solidFill>
                <a:prstClr val="black"/>
              </a:solidFill>
              <a:ea typeface="+mn-ea"/>
              <a:cs typeface="+mn-cs"/>
            </a:endParaRPr>
          </a:p>
        </p:txBody>
      </p:sp>
      <p:sp>
        <p:nvSpPr>
          <p:cNvPr id="802827" name="Rectangle 5"/>
          <p:cNvSpPr>
            <a:spLocks noChangeArrowheads="1"/>
          </p:cNvSpPr>
          <p:nvPr/>
        </p:nvSpPr>
        <p:spPr bwMode="auto">
          <a:xfrm>
            <a:off x="2826544" y="3123010"/>
            <a:ext cx="847725" cy="153504"/>
          </a:xfrm>
          <a:prstGeom prst="rect">
            <a:avLst/>
          </a:prstGeom>
          <a:noFill/>
          <a:ln w="12700" algn="ctr">
            <a:noFill/>
            <a:miter lim="800000"/>
            <a:headEnd/>
            <a:tailEnd/>
          </a:ln>
        </p:spPr>
        <p:txBody>
          <a:bodyPr lIns="0" tIns="0" rIns="0" bIns="0">
            <a:spAutoFit/>
          </a:bodyPr>
          <a:lstStyle/>
          <a:p>
            <a:pPr algn="ctr" defTabSz="571500">
              <a:lnSpc>
                <a:spcPct val="95000"/>
              </a:lnSpc>
              <a:buClrTx/>
            </a:pPr>
            <a:r>
              <a:rPr lang="en-US" sz="1050" b="1" kern="1200">
                <a:solidFill>
                  <a:srgbClr val="313131"/>
                </a:solidFill>
                <a:ea typeface="ＭＳ Ｐゴシック" charset="-128"/>
                <a:cs typeface="+mn-cs"/>
              </a:rPr>
              <a:t>Step 2</a:t>
            </a:r>
          </a:p>
        </p:txBody>
      </p:sp>
      <p:sp>
        <p:nvSpPr>
          <p:cNvPr id="802828" name="Rectangle 6"/>
          <p:cNvSpPr>
            <a:spLocks noChangeArrowheads="1"/>
          </p:cNvSpPr>
          <p:nvPr/>
        </p:nvSpPr>
        <p:spPr bwMode="auto">
          <a:xfrm>
            <a:off x="3715942" y="2744391"/>
            <a:ext cx="848915" cy="153504"/>
          </a:xfrm>
          <a:prstGeom prst="rect">
            <a:avLst/>
          </a:prstGeom>
          <a:noFill/>
          <a:ln w="12700" algn="ctr">
            <a:noFill/>
            <a:miter lim="800000"/>
            <a:headEnd/>
            <a:tailEnd/>
          </a:ln>
        </p:spPr>
        <p:txBody>
          <a:bodyPr lIns="0" tIns="0" rIns="0" bIns="0">
            <a:spAutoFit/>
          </a:bodyPr>
          <a:lstStyle/>
          <a:p>
            <a:pPr algn="ctr" defTabSz="571500">
              <a:lnSpc>
                <a:spcPct val="95000"/>
              </a:lnSpc>
              <a:buClrTx/>
            </a:pPr>
            <a:r>
              <a:rPr lang="en-US" sz="1050" b="1" kern="1200">
                <a:solidFill>
                  <a:srgbClr val="313131"/>
                </a:solidFill>
                <a:ea typeface="ＭＳ Ｐゴシック" charset="-128"/>
                <a:cs typeface="+mn-cs"/>
              </a:rPr>
              <a:t>Step 3</a:t>
            </a:r>
          </a:p>
        </p:txBody>
      </p:sp>
      <p:sp>
        <p:nvSpPr>
          <p:cNvPr id="802829" name="Rectangle 7"/>
          <p:cNvSpPr>
            <a:spLocks noChangeArrowheads="1"/>
          </p:cNvSpPr>
          <p:nvPr/>
        </p:nvSpPr>
        <p:spPr bwMode="auto">
          <a:xfrm>
            <a:off x="4605338" y="2391966"/>
            <a:ext cx="847725" cy="153504"/>
          </a:xfrm>
          <a:prstGeom prst="rect">
            <a:avLst/>
          </a:prstGeom>
          <a:noFill/>
          <a:ln w="12700" algn="ctr">
            <a:noFill/>
            <a:miter lim="800000"/>
            <a:headEnd/>
            <a:tailEnd/>
          </a:ln>
        </p:spPr>
        <p:txBody>
          <a:bodyPr lIns="0" tIns="0" rIns="0" bIns="0">
            <a:spAutoFit/>
          </a:bodyPr>
          <a:lstStyle/>
          <a:p>
            <a:pPr algn="ctr" defTabSz="571500">
              <a:lnSpc>
                <a:spcPct val="95000"/>
              </a:lnSpc>
              <a:buClrTx/>
            </a:pPr>
            <a:r>
              <a:rPr lang="en-US" sz="1050" b="1" kern="1200">
                <a:solidFill>
                  <a:srgbClr val="313131"/>
                </a:solidFill>
                <a:ea typeface="ＭＳ Ｐゴシック" charset="-128"/>
                <a:cs typeface="+mn-cs"/>
              </a:rPr>
              <a:t>Step 4</a:t>
            </a:r>
          </a:p>
        </p:txBody>
      </p:sp>
      <p:sp>
        <p:nvSpPr>
          <p:cNvPr id="802830" name="Rectangle 8"/>
          <p:cNvSpPr>
            <a:spLocks noChangeArrowheads="1"/>
          </p:cNvSpPr>
          <p:nvPr/>
        </p:nvSpPr>
        <p:spPr bwMode="auto">
          <a:xfrm>
            <a:off x="5494735" y="1988344"/>
            <a:ext cx="847725" cy="153504"/>
          </a:xfrm>
          <a:prstGeom prst="rect">
            <a:avLst/>
          </a:prstGeom>
          <a:noFill/>
          <a:ln w="12700" algn="ctr">
            <a:noFill/>
            <a:miter lim="800000"/>
            <a:headEnd/>
            <a:tailEnd/>
          </a:ln>
        </p:spPr>
        <p:txBody>
          <a:bodyPr lIns="0" tIns="0" rIns="0" bIns="0">
            <a:spAutoFit/>
          </a:bodyPr>
          <a:lstStyle/>
          <a:p>
            <a:pPr algn="ctr" defTabSz="571500">
              <a:lnSpc>
                <a:spcPct val="95000"/>
              </a:lnSpc>
              <a:buClrTx/>
            </a:pPr>
            <a:r>
              <a:rPr lang="en-US" sz="1050" b="1" kern="1200">
                <a:solidFill>
                  <a:srgbClr val="313131"/>
                </a:solidFill>
                <a:ea typeface="ＭＳ Ｐゴシック" charset="-128"/>
                <a:cs typeface="+mn-cs"/>
              </a:rPr>
              <a:t>Step 5</a:t>
            </a:r>
          </a:p>
        </p:txBody>
      </p:sp>
      <p:sp>
        <p:nvSpPr>
          <p:cNvPr id="802831" name="Rectangle 9"/>
          <p:cNvSpPr>
            <a:spLocks noChangeArrowheads="1"/>
          </p:cNvSpPr>
          <p:nvPr/>
        </p:nvSpPr>
        <p:spPr bwMode="auto">
          <a:xfrm>
            <a:off x="6378179" y="1610916"/>
            <a:ext cx="846534" cy="153504"/>
          </a:xfrm>
          <a:prstGeom prst="rect">
            <a:avLst/>
          </a:prstGeom>
          <a:noFill/>
          <a:ln w="12700" algn="ctr">
            <a:noFill/>
            <a:miter lim="800000"/>
            <a:headEnd/>
            <a:tailEnd/>
          </a:ln>
        </p:spPr>
        <p:txBody>
          <a:bodyPr lIns="0" tIns="0" rIns="0" bIns="0">
            <a:spAutoFit/>
          </a:bodyPr>
          <a:lstStyle/>
          <a:p>
            <a:pPr algn="ctr" defTabSz="571500">
              <a:lnSpc>
                <a:spcPct val="95000"/>
              </a:lnSpc>
              <a:buClrTx/>
            </a:pPr>
            <a:r>
              <a:rPr lang="en-US" sz="1050" b="1" kern="1200">
                <a:solidFill>
                  <a:srgbClr val="313131"/>
                </a:solidFill>
                <a:ea typeface="ＭＳ Ｐゴシック" charset="-128"/>
                <a:cs typeface="+mn-cs"/>
              </a:rPr>
              <a:t>Step 6</a:t>
            </a:r>
          </a:p>
        </p:txBody>
      </p:sp>
      <p:sp>
        <p:nvSpPr>
          <p:cNvPr id="18"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
        <p:nvSpPr>
          <p:cNvPr id="19" name="Text Placeholder 5"/>
          <p:cNvSpPr txBox="1">
            <a:spLocks/>
          </p:cNvSpPr>
          <p:nvPr>
            <p:custDataLst>
              <p:tags r:id="rId2"/>
            </p:custDataLst>
          </p:nvPr>
        </p:nvSpPr>
        <p:spPr>
          <a:xfrm>
            <a:off x="1930004" y="3774282"/>
            <a:ext cx="891540" cy="880394"/>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205740" defTabSz="717947">
              <a:spcBef>
                <a:spcPts val="450"/>
              </a:spcBef>
              <a:buClrTx/>
            </a:pPr>
            <a:r>
              <a:rPr lang="en-US" sz="825" dirty="0">
                <a:solidFill>
                  <a:srgbClr val="313131"/>
                </a:solidFill>
                <a:latin typeface="Arial"/>
              </a:rPr>
              <a:t>This is a level two bullet  </a:t>
            </a:r>
          </a:p>
        </p:txBody>
      </p:sp>
      <p:sp>
        <p:nvSpPr>
          <p:cNvPr id="21" name="Text Placeholder 5"/>
          <p:cNvSpPr txBox="1">
            <a:spLocks/>
          </p:cNvSpPr>
          <p:nvPr>
            <p:custDataLst>
              <p:tags r:id="rId3"/>
            </p:custDataLst>
          </p:nvPr>
        </p:nvSpPr>
        <p:spPr>
          <a:xfrm>
            <a:off x="2819400" y="3395254"/>
            <a:ext cx="891540" cy="880394"/>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205740" defTabSz="717947">
              <a:spcBef>
                <a:spcPts val="450"/>
              </a:spcBef>
              <a:buClrTx/>
            </a:pPr>
            <a:r>
              <a:rPr lang="en-US" sz="825" dirty="0">
                <a:solidFill>
                  <a:srgbClr val="313131"/>
                </a:solidFill>
                <a:latin typeface="Arial"/>
              </a:rPr>
              <a:t>This is a level two bullet  </a:t>
            </a:r>
          </a:p>
        </p:txBody>
      </p:sp>
      <p:sp>
        <p:nvSpPr>
          <p:cNvPr id="22" name="Text Placeholder 5"/>
          <p:cNvSpPr txBox="1">
            <a:spLocks/>
          </p:cNvSpPr>
          <p:nvPr>
            <p:custDataLst>
              <p:tags r:id="rId4"/>
            </p:custDataLst>
          </p:nvPr>
        </p:nvSpPr>
        <p:spPr>
          <a:xfrm>
            <a:off x="3708797" y="3016225"/>
            <a:ext cx="891540" cy="880394"/>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205740" defTabSz="717947">
              <a:spcBef>
                <a:spcPts val="450"/>
              </a:spcBef>
              <a:buClrTx/>
            </a:pPr>
            <a:r>
              <a:rPr lang="en-US" sz="825" dirty="0">
                <a:solidFill>
                  <a:srgbClr val="313131"/>
                </a:solidFill>
                <a:latin typeface="Arial"/>
              </a:rPr>
              <a:t>This is a level two bullet  </a:t>
            </a:r>
          </a:p>
        </p:txBody>
      </p:sp>
      <p:sp>
        <p:nvSpPr>
          <p:cNvPr id="23" name="Text Placeholder 5"/>
          <p:cNvSpPr txBox="1">
            <a:spLocks/>
          </p:cNvSpPr>
          <p:nvPr>
            <p:custDataLst>
              <p:tags r:id="rId5"/>
            </p:custDataLst>
          </p:nvPr>
        </p:nvSpPr>
        <p:spPr>
          <a:xfrm>
            <a:off x="4598193" y="2637196"/>
            <a:ext cx="891540" cy="880394"/>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205740" defTabSz="717947">
              <a:spcBef>
                <a:spcPts val="450"/>
              </a:spcBef>
              <a:buClrTx/>
            </a:pPr>
            <a:r>
              <a:rPr lang="en-US" sz="825" dirty="0">
                <a:solidFill>
                  <a:srgbClr val="313131"/>
                </a:solidFill>
                <a:latin typeface="Arial"/>
              </a:rPr>
              <a:t>This is a level two bullet  </a:t>
            </a:r>
          </a:p>
        </p:txBody>
      </p:sp>
      <p:sp>
        <p:nvSpPr>
          <p:cNvPr id="24" name="Text Placeholder 5"/>
          <p:cNvSpPr txBox="1">
            <a:spLocks/>
          </p:cNvSpPr>
          <p:nvPr>
            <p:custDataLst>
              <p:tags r:id="rId6"/>
            </p:custDataLst>
          </p:nvPr>
        </p:nvSpPr>
        <p:spPr>
          <a:xfrm>
            <a:off x="5487590" y="2258167"/>
            <a:ext cx="891540" cy="880394"/>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205740" defTabSz="717947">
              <a:spcBef>
                <a:spcPts val="450"/>
              </a:spcBef>
              <a:buClrTx/>
            </a:pPr>
            <a:r>
              <a:rPr lang="en-US" sz="825" dirty="0">
                <a:solidFill>
                  <a:srgbClr val="313131"/>
                </a:solidFill>
                <a:latin typeface="Arial"/>
              </a:rPr>
              <a:t>This is a level two bullet  </a:t>
            </a:r>
          </a:p>
        </p:txBody>
      </p:sp>
      <p:sp>
        <p:nvSpPr>
          <p:cNvPr id="30" name="Text Placeholder 5"/>
          <p:cNvSpPr txBox="1">
            <a:spLocks/>
          </p:cNvSpPr>
          <p:nvPr>
            <p:custDataLst>
              <p:tags r:id="rId7"/>
            </p:custDataLst>
          </p:nvPr>
        </p:nvSpPr>
        <p:spPr>
          <a:xfrm>
            <a:off x="6376988" y="1879138"/>
            <a:ext cx="891540" cy="880394"/>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205740" defTabSz="717947">
              <a:spcBef>
                <a:spcPts val="450"/>
              </a:spcBef>
              <a:buClrTx/>
            </a:pPr>
            <a:r>
              <a:rPr lang="en-US" sz="825" dirty="0">
                <a:solidFill>
                  <a:srgbClr val="313131"/>
                </a:solidFill>
                <a:latin typeface="Arial"/>
              </a:rPr>
              <a:t>This is a level two bullet  </a:t>
            </a:r>
          </a:p>
        </p:txBody>
      </p:sp>
    </p:spTree>
  </p:cSld>
  <p:clrMapOvr>
    <a:masterClrMapping/>
  </p:clrMapOvr>
  <p:transition>
    <p:fade/>
  </p:transition>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4865" name="Title 1"/>
          <p:cNvSpPr>
            <a:spLocks noGrp="1"/>
          </p:cNvSpPr>
          <p:nvPr>
            <p:ph type="title"/>
          </p:nvPr>
        </p:nvSpPr>
        <p:spPr/>
        <p:txBody>
          <a:bodyPr/>
          <a:lstStyle/>
          <a:p>
            <a:r>
              <a:rPr lang="en-US" dirty="0"/>
              <a:t>Steps </a:t>
            </a:r>
            <a:br>
              <a:rPr lang="en-US" dirty="0"/>
            </a:br>
            <a:r>
              <a:rPr lang="en-US" dirty="0">
                <a:solidFill>
                  <a:srgbClr val="575757"/>
                </a:solidFill>
              </a:rPr>
              <a:t>With more flights</a:t>
            </a:r>
          </a:p>
        </p:txBody>
      </p:sp>
      <p:sp>
        <p:nvSpPr>
          <p:cNvPr id="4" name="Freeform 2"/>
          <p:cNvSpPr>
            <a:spLocks/>
          </p:cNvSpPr>
          <p:nvPr/>
        </p:nvSpPr>
        <p:spPr bwMode="auto">
          <a:xfrm>
            <a:off x="1538288" y="848916"/>
            <a:ext cx="5934075" cy="1779984"/>
          </a:xfrm>
          <a:custGeom>
            <a:avLst/>
            <a:gdLst>
              <a:gd name="T0" fmla="*/ 0 w 5233"/>
              <a:gd name="T1" fmla="*/ 2147483647 h 1595"/>
              <a:gd name="T2" fmla="*/ 0 w 5233"/>
              <a:gd name="T3" fmla="*/ 2147483647 h 1595"/>
              <a:gd name="T4" fmla="*/ 2147483647 w 5233"/>
              <a:gd name="T5" fmla="*/ 2147483647 h 1595"/>
              <a:gd name="T6" fmla="*/ 2147483647 w 5233"/>
              <a:gd name="T7" fmla="*/ 2147483647 h 1595"/>
              <a:gd name="T8" fmla="*/ 2147483647 w 5233"/>
              <a:gd name="T9" fmla="*/ 2147483647 h 1595"/>
              <a:gd name="T10" fmla="*/ 2147483647 w 5233"/>
              <a:gd name="T11" fmla="*/ 2147483647 h 1595"/>
              <a:gd name="T12" fmla="*/ 2147483647 w 5233"/>
              <a:gd name="T13" fmla="*/ 2147483647 h 1595"/>
              <a:gd name="T14" fmla="*/ 2147483647 w 5233"/>
              <a:gd name="T15" fmla="*/ 0 h 1595"/>
              <a:gd name="T16" fmla="*/ 2147483647 w 5233"/>
              <a:gd name="T17" fmla="*/ 0 h 15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33"/>
              <a:gd name="T28" fmla="*/ 0 h 1595"/>
              <a:gd name="T29" fmla="*/ 5233 w 5233"/>
              <a:gd name="T30" fmla="*/ 1595 h 15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33" h="1595">
                <a:moveTo>
                  <a:pt x="0" y="1594"/>
                </a:moveTo>
                <a:lnTo>
                  <a:pt x="0" y="1195"/>
                </a:lnTo>
                <a:lnTo>
                  <a:pt x="1308" y="1195"/>
                </a:lnTo>
                <a:lnTo>
                  <a:pt x="1308" y="797"/>
                </a:lnTo>
                <a:lnTo>
                  <a:pt x="2616" y="797"/>
                </a:lnTo>
                <a:lnTo>
                  <a:pt x="2616" y="398"/>
                </a:lnTo>
                <a:lnTo>
                  <a:pt x="3924" y="398"/>
                </a:lnTo>
                <a:lnTo>
                  <a:pt x="3924" y="0"/>
                </a:lnTo>
                <a:lnTo>
                  <a:pt x="5232" y="0"/>
                </a:lnTo>
              </a:path>
            </a:pathLst>
          </a:custGeom>
          <a:noFill/>
          <a:ln w="28575" cap="rnd">
            <a:solidFill>
              <a:srgbClr val="00A1DE"/>
            </a:solidFill>
            <a:round/>
            <a:headEnd type="none" w="sm" len="sm"/>
            <a:tailEnd type="none" w="sm" len="sm"/>
          </a:ln>
        </p:spPr>
        <p:txBody>
          <a:bodyPr/>
          <a:lstStyle/>
          <a:p>
            <a:pPr defTabSz="685800">
              <a:buClrTx/>
              <a:defRPr/>
            </a:pPr>
            <a:endParaRPr lang="en-US" sz="1350" kern="1200" dirty="0">
              <a:solidFill>
                <a:prstClr val="black"/>
              </a:solidFill>
              <a:ea typeface="+mn-ea"/>
              <a:cs typeface="+mn-cs"/>
            </a:endParaRPr>
          </a:p>
        </p:txBody>
      </p:sp>
      <p:sp>
        <p:nvSpPr>
          <p:cNvPr id="5" name="Freeform 4"/>
          <p:cNvSpPr>
            <a:spLocks/>
          </p:cNvSpPr>
          <p:nvPr/>
        </p:nvSpPr>
        <p:spPr bwMode="auto">
          <a:xfrm>
            <a:off x="1538288" y="1325749"/>
            <a:ext cx="5925741" cy="1876425"/>
          </a:xfrm>
          <a:custGeom>
            <a:avLst/>
            <a:gdLst>
              <a:gd name="T0" fmla="*/ 0 w 5713"/>
              <a:gd name="T1" fmla="*/ 2147483647 h 1681"/>
              <a:gd name="T2" fmla="*/ 0 w 5713"/>
              <a:gd name="T3" fmla="*/ 2147483647 h 1681"/>
              <a:gd name="T4" fmla="*/ 2147483647 w 5713"/>
              <a:gd name="T5" fmla="*/ 2147483647 h 1681"/>
              <a:gd name="T6" fmla="*/ 2147483647 w 5713"/>
              <a:gd name="T7" fmla="*/ 2147483647 h 1681"/>
              <a:gd name="T8" fmla="*/ 2147483647 w 5713"/>
              <a:gd name="T9" fmla="*/ 2147483647 h 1681"/>
              <a:gd name="T10" fmla="*/ 2147483647 w 5713"/>
              <a:gd name="T11" fmla="*/ 2147483647 h 1681"/>
              <a:gd name="T12" fmla="*/ 2147483647 w 5713"/>
              <a:gd name="T13" fmla="*/ 2147483647 h 1681"/>
              <a:gd name="T14" fmla="*/ 2147483647 w 5713"/>
              <a:gd name="T15" fmla="*/ 2147483647 h 1681"/>
              <a:gd name="T16" fmla="*/ 2147483647 w 5713"/>
              <a:gd name="T17" fmla="*/ 2147483647 h 1681"/>
              <a:gd name="T18" fmla="*/ 2147483647 w 5713"/>
              <a:gd name="T19" fmla="*/ 0 h 1681"/>
              <a:gd name="T20" fmla="*/ 2147483647 w 5713"/>
              <a:gd name="T21" fmla="*/ 0 h 16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13"/>
              <a:gd name="T34" fmla="*/ 0 h 1681"/>
              <a:gd name="T35" fmla="*/ 5713 w 5713"/>
              <a:gd name="T36" fmla="*/ 1681 h 16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13" h="1681">
                <a:moveTo>
                  <a:pt x="0" y="1680"/>
                </a:moveTo>
                <a:lnTo>
                  <a:pt x="0" y="1344"/>
                </a:lnTo>
                <a:lnTo>
                  <a:pt x="1142" y="1344"/>
                </a:lnTo>
                <a:lnTo>
                  <a:pt x="1142" y="1008"/>
                </a:lnTo>
                <a:lnTo>
                  <a:pt x="2284" y="1008"/>
                </a:lnTo>
                <a:lnTo>
                  <a:pt x="2284" y="672"/>
                </a:lnTo>
                <a:lnTo>
                  <a:pt x="3427" y="672"/>
                </a:lnTo>
                <a:lnTo>
                  <a:pt x="3427" y="336"/>
                </a:lnTo>
                <a:lnTo>
                  <a:pt x="4569" y="336"/>
                </a:lnTo>
                <a:lnTo>
                  <a:pt x="4569" y="0"/>
                </a:lnTo>
                <a:lnTo>
                  <a:pt x="5712" y="0"/>
                </a:lnTo>
              </a:path>
            </a:pathLst>
          </a:custGeom>
          <a:noFill/>
          <a:ln w="28575" cap="rnd">
            <a:solidFill>
              <a:srgbClr val="00A1DE"/>
            </a:solidFill>
            <a:round/>
            <a:headEnd type="none" w="sm" len="sm"/>
            <a:tailEnd type="none" w="sm" len="sm"/>
          </a:ln>
        </p:spPr>
        <p:txBody>
          <a:bodyPr/>
          <a:lstStyle/>
          <a:p>
            <a:pPr defTabSz="685800">
              <a:buClrTx/>
              <a:defRPr/>
            </a:pPr>
            <a:endParaRPr lang="en-US" sz="1350" kern="1200" dirty="0">
              <a:solidFill>
                <a:prstClr val="black"/>
              </a:solidFill>
              <a:ea typeface="+mn-ea"/>
              <a:cs typeface="+mn-cs"/>
            </a:endParaRPr>
          </a:p>
        </p:txBody>
      </p:sp>
      <p:sp>
        <p:nvSpPr>
          <p:cNvPr id="6" name="Freeform 5"/>
          <p:cNvSpPr>
            <a:spLocks/>
          </p:cNvSpPr>
          <p:nvPr/>
        </p:nvSpPr>
        <p:spPr bwMode="auto">
          <a:xfrm>
            <a:off x="1538288" y="1610357"/>
            <a:ext cx="5925741" cy="2251472"/>
          </a:xfrm>
          <a:custGeom>
            <a:avLst/>
            <a:gdLst>
              <a:gd name="T0" fmla="*/ 0 w 5713"/>
              <a:gd name="T1" fmla="*/ 2147483647 h 2017"/>
              <a:gd name="T2" fmla="*/ 0 w 5713"/>
              <a:gd name="T3" fmla="*/ 2147483647 h 2017"/>
              <a:gd name="T4" fmla="*/ 2147483647 w 5713"/>
              <a:gd name="T5" fmla="*/ 2147483647 h 2017"/>
              <a:gd name="T6" fmla="*/ 2147483647 w 5713"/>
              <a:gd name="T7" fmla="*/ 2147483647 h 2017"/>
              <a:gd name="T8" fmla="*/ 2147483647 w 5713"/>
              <a:gd name="T9" fmla="*/ 2147483647 h 2017"/>
              <a:gd name="T10" fmla="*/ 2147483647 w 5713"/>
              <a:gd name="T11" fmla="*/ 2147483647 h 2017"/>
              <a:gd name="T12" fmla="*/ 2147483647 w 5713"/>
              <a:gd name="T13" fmla="*/ 2147483647 h 2017"/>
              <a:gd name="T14" fmla="*/ 2147483647 w 5713"/>
              <a:gd name="T15" fmla="*/ 2147483647 h 2017"/>
              <a:gd name="T16" fmla="*/ 2147483647 w 5713"/>
              <a:gd name="T17" fmla="*/ 2147483647 h 2017"/>
              <a:gd name="T18" fmla="*/ 2147483647 w 5713"/>
              <a:gd name="T19" fmla="*/ 2147483647 h 2017"/>
              <a:gd name="T20" fmla="*/ 2147483647 w 5713"/>
              <a:gd name="T21" fmla="*/ 2147483647 h 2017"/>
              <a:gd name="T22" fmla="*/ 2147483647 w 5713"/>
              <a:gd name="T23" fmla="*/ 0 h 2017"/>
              <a:gd name="T24" fmla="*/ 2147483647 w 5713"/>
              <a:gd name="T25" fmla="*/ 0 h 20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713"/>
              <a:gd name="T40" fmla="*/ 0 h 2017"/>
              <a:gd name="T41" fmla="*/ 5713 w 5713"/>
              <a:gd name="T42" fmla="*/ 2017 h 20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713" h="2017">
                <a:moveTo>
                  <a:pt x="0" y="2016"/>
                </a:moveTo>
                <a:lnTo>
                  <a:pt x="0" y="1680"/>
                </a:lnTo>
                <a:lnTo>
                  <a:pt x="952" y="1680"/>
                </a:lnTo>
                <a:lnTo>
                  <a:pt x="952" y="1344"/>
                </a:lnTo>
                <a:lnTo>
                  <a:pt x="1904" y="1344"/>
                </a:lnTo>
                <a:lnTo>
                  <a:pt x="1904" y="1008"/>
                </a:lnTo>
                <a:lnTo>
                  <a:pt x="2856" y="1008"/>
                </a:lnTo>
                <a:lnTo>
                  <a:pt x="2856" y="672"/>
                </a:lnTo>
                <a:lnTo>
                  <a:pt x="3808" y="672"/>
                </a:lnTo>
                <a:lnTo>
                  <a:pt x="3808" y="336"/>
                </a:lnTo>
                <a:lnTo>
                  <a:pt x="4760" y="336"/>
                </a:lnTo>
                <a:lnTo>
                  <a:pt x="4760" y="0"/>
                </a:lnTo>
                <a:lnTo>
                  <a:pt x="5712" y="0"/>
                </a:lnTo>
              </a:path>
            </a:pathLst>
          </a:custGeom>
          <a:noFill/>
          <a:ln w="28575" cap="rnd">
            <a:solidFill>
              <a:srgbClr val="00A1DE"/>
            </a:solidFill>
            <a:round/>
            <a:headEnd type="none" w="sm" len="sm"/>
            <a:tailEnd type="none" w="sm" len="sm"/>
          </a:ln>
        </p:spPr>
        <p:txBody>
          <a:bodyPr/>
          <a:lstStyle/>
          <a:p>
            <a:pPr defTabSz="685800">
              <a:buClrTx/>
              <a:defRPr/>
            </a:pPr>
            <a:endParaRPr lang="en-US" sz="1350" kern="1200" dirty="0">
              <a:solidFill>
                <a:prstClr val="black"/>
              </a:solidFill>
              <a:ea typeface="+mn-ea"/>
              <a:cs typeface="+mn-cs"/>
            </a:endParaRPr>
          </a:p>
        </p:txBody>
      </p:sp>
      <p:sp>
        <p:nvSpPr>
          <p:cNvPr id="7" name="Freeform 6"/>
          <p:cNvSpPr>
            <a:spLocks/>
          </p:cNvSpPr>
          <p:nvPr/>
        </p:nvSpPr>
        <p:spPr bwMode="auto">
          <a:xfrm>
            <a:off x="1538288" y="2086966"/>
            <a:ext cx="5925741" cy="2625329"/>
          </a:xfrm>
          <a:custGeom>
            <a:avLst/>
            <a:gdLst>
              <a:gd name="T0" fmla="*/ 0 w 5761"/>
              <a:gd name="T1" fmla="*/ 2147483647 h 2353"/>
              <a:gd name="T2" fmla="*/ 0 w 5761"/>
              <a:gd name="T3" fmla="*/ 2147483647 h 2353"/>
              <a:gd name="T4" fmla="*/ 2147483647 w 5761"/>
              <a:gd name="T5" fmla="*/ 2147483647 h 2353"/>
              <a:gd name="T6" fmla="*/ 2147483647 w 5761"/>
              <a:gd name="T7" fmla="*/ 2147483647 h 2353"/>
              <a:gd name="T8" fmla="*/ 2147483647 w 5761"/>
              <a:gd name="T9" fmla="*/ 2147483647 h 2353"/>
              <a:gd name="T10" fmla="*/ 2147483647 w 5761"/>
              <a:gd name="T11" fmla="*/ 2147483647 h 2353"/>
              <a:gd name="T12" fmla="*/ 2147483647 w 5761"/>
              <a:gd name="T13" fmla="*/ 2147483647 h 2353"/>
              <a:gd name="T14" fmla="*/ 2147483647 w 5761"/>
              <a:gd name="T15" fmla="*/ 2147483647 h 2353"/>
              <a:gd name="T16" fmla="*/ 2147483647 w 5761"/>
              <a:gd name="T17" fmla="*/ 2147483647 h 2353"/>
              <a:gd name="T18" fmla="*/ 2147483647 w 5761"/>
              <a:gd name="T19" fmla="*/ 2147483647 h 2353"/>
              <a:gd name="T20" fmla="*/ 2147483647 w 5761"/>
              <a:gd name="T21" fmla="*/ 2147483647 h 2353"/>
              <a:gd name="T22" fmla="*/ 2147483647 w 5761"/>
              <a:gd name="T23" fmla="*/ 2147483647 h 2353"/>
              <a:gd name="T24" fmla="*/ 2147483647 w 5761"/>
              <a:gd name="T25" fmla="*/ 2147483647 h 2353"/>
              <a:gd name="T26" fmla="*/ 2147483647 w 5761"/>
              <a:gd name="T27" fmla="*/ 0 h 2353"/>
              <a:gd name="T28" fmla="*/ 2147483647 w 5761"/>
              <a:gd name="T29" fmla="*/ 0 h 235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761"/>
              <a:gd name="T46" fmla="*/ 0 h 2353"/>
              <a:gd name="T47" fmla="*/ 5761 w 5761"/>
              <a:gd name="T48" fmla="*/ 2353 h 235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761" h="2353">
                <a:moveTo>
                  <a:pt x="0" y="2352"/>
                </a:moveTo>
                <a:lnTo>
                  <a:pt x="0" y="2016"/>
                </a:lnTo>
                <a:lnTo>
                  <a:pt x="822" y="2016"/>
                </a:lnTo>
                <a:lnTo>
                  <a:pt x="822" y="1680"/>
                </a:lnTo>
                <a:lnTo>
                  <a:pt x="1645" y="1680"/>
                </a:lnTo>
                <a:lnTo>
                  <a:pt x="1645" y="1344"/>
                </a:lnTo>
                <a:lnTo>
                  <a:pt x="2468" y="1344"/>
                </a:lnTo>
                <a:lnTo>
                  <a:pt x="2468" y="1008"/>
                </a:lnTo>
                <a:lnTo>
                  <a:pt x="3291" y="1008"/>
                </a:lnTo>
                <a:lnTo>
                  <a:pt x="3291" y="672"/>
                </a:lnTo>
                <a:lnTo>
                  <a:pt x="4114" y="672"/>
                </a:lnTo>
                <a:lnTo>
                  <a:pt x="4114" y="336"/>
                </a:lnTo>
                <a:lnTo>
                  <a:pt x="4937" y="336"/>
                </a:lnTo>
                <a:lnTo>
                  <a:pt x="4937" y="0"/>
                </a:lnTo>
                <a:lnTo>
                  <a:pt x="5760" y="0"/>
                </a:lnTo>
              </a:path>
            </a:pathLst>
          </a:custGeom>
          <a:noFill/>
          <a:ln w="28575" cap="rnd">
            <a:solidFill>
              <a:srgbClr val="00A1DE"/>
            </a:solidFill>
            <a:round/>
            <a:headEnd type="none" w="sm" len="sm"/>
            <a:tailEnd type="none" w="sm" len="sm"/>
          </a:ln>
        </p:spPr>
        <p:txBody>
          <a:bodyPr/>
          <a:lstStyle/>
          <a:p>
            <a:pPr defTabSz="685800">
              <a:buClrTx/>
              <a:defRPr/>
            </a:pPr>
            <a:endParaRPr lang="en-US" sz="1350" kern="1200" dirty="0">
              <a:solidFill>
                <a:prstClr val="black"/>
              </a:solidFill>
              <a:ea typeface="+mn-ea"/>
              <a:cs typeface="+mn-cs"/>
            </a:endParaRPr>
          </a:p>
        </p:txBody>
      </p:sp>
    </p:spTree>
  </p:cSld>
  <p:clrMapOvr>
    <a:masterClrMapping/>
  </p:clrMapOvr>
  <p:transition>
    <p:fade/>
  </p:transition>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8530" name="Rectangle 2" hidden="1"/>
          <p:cNvGraphicFramePr>
            <a:graphicFrameLocks/>
          </p:cNvGraphicFramePr>
          <p:nvPr>
            <p:custDataLst>
              <p:tags r:id="rId1"/>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11" imgW="0" imgH="0" progId="">
                  <p:embed/>
                </p:oleObj>
              </mc:Choice>
              <mc:Fallback>
                <p:oleObj name="think-cell Slide" r:id="rId11" imgW="0" imgH="0" progId="">
                  <p:embed/>
                  <p:pic>
                    <p:nvPicPr>
                      <p:cNvPr id="278530"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8532" name="Title 1"/>
          <p:cNvSpPr>
            <a:spLocks noGrp="1"/>
          </p:cNvSpPr>
          <p:nvPr>
            <p:ph type="title"/>
            <p:custDataLst>
              <p:tags r:id="rId2"/>
            </p:custDataLst>
          </p:nvPr>
        </p:nvSpPr>
        <p:spPr/>
        <p:txBody>
          <a:bodyPr/>
          <a:lstStyle/>
          <a:p>
            <a:r>
              <a:rPr lang="en-US" dirty="0"/>
              <a:t>Diagonal boxes </a:t>
            </a:r>
            <a:br>
              <a:rPr lang="en-US" dirty="0"/>
            </a:br>
            <a:r>
              <a:rPr lang="en-US" dirty="0">
                <a:solidFill>
                  <a:srgbClr val="575757"/>
                </a:solidFill>
              </a:rPr>
              <a:t>Three steps</a:t>
            </a:r>
          </a:p>
        </p:txBody>
      </p:sp>
      <p:sp>
        <p:nvSpPr>
          <p:cNvPr id="13" name="Rectangle 3"/>
          <p:cNvSpPr>
            <a:spLocks noChangeArrowheads="1"/>
          </p:cNvSpPr>
          <p:nvPr>
            <p:custDataLst>
              <p:tags r:id="rId3"/>
            </p:custDataLst>
          </p:nvPr>
        </p:nvSpPr>
        <p:spPr bwMode="auto">
          <a:xfrm>
            <a:off x="3724275" y="2016919"/>
            <a:ext cx="1706166" cy="569119"/>
          </a:xfrm>
          <a:prstGeom prst="rect">
            <a:avLst/>
          </a:prstGeom>
          <a:solidFill>
            <a:srgbClr val="B4B4B4"/>
          </a:solidFill>
          <a:ln w="12700">
            <a:solidFill>
              <a:schemeClr val="bg1"/>
            </a:solidFill>
            <a:miter lim="800000"/>
            <a:headEnd/>
            <a:tailEnd/>
          </a:ln>
        </p:spPr>
        <p:txBody>
          <a:bodyPr lIns="27000" tIns="27000" rIns="27000" bIns="27000" anchor="ctr"/>
          <a:lstStyle/>
          <a:p>
            <a:pPr algn="ctr" defTabSz="648891">
              <a:lnSpc>
                <a:spcPct val="95000"/>
              </a:lnSpc>
              <a:buClrTx/>
              <a:defRPr/>
            </a:pPr>
            <a:r>
              <a:rPr lang="en-US" sz="1050" kern="1200">
                <a:solidFill>
                  <a:prstClr val="white"/>
                </a:solidFill>
                <a:ea typeface="ＭＳ Ｐゴシック" pitchFamily="50" charset="-128"/>
                <a:cs typeface="+mn-cs"/>
              </a:rPr>
              <a:t>Text</a:t>
            </a:r>
            <a:endParaRPr lang="en-US" sz="1050" kern="1200" dirty="0">
              <a:solidFill>
                <a:prstClr val="white"/>
              </a:solidFill>
              <a:ea typeface="ＭＳ Ｐゴシック" pitchFamily="50" charset="-128"/>
              <a:cs typeface="+mn-cs"/>
            </a:endParaRPr>
          </a:p>
        </p:txBody>
      </p:sp>
      <p:sp>
        <p:nvSpPr>
          <p:cNvPr id="19" name="Rectangle 4"/>
          <p:cNvSpPr>
            <a:spLocks noChangeArrowheads="1"/>
          </p:cNvSpPr>
          <p:nvPr>
            <p:custDataLst>
              <p:tags r:id="rId4"/>
            </p:custDataLst>
          </p:nvPr>
        </p:nvSpPr>
        <p:spPr bwMode="auto">
          <a:xfrm>
            <a:off x="5618560" y="1378744"/>
            <a:ext cx="1706165" cy="569119"/>
          </a:xfrm>
          <a:prstGeom prst="rect">
            <a:avLst/>
          </a:prstGeom>
          <a:solidFill>
            <a:srgbClr val="575757"/>
          </a:solidFill>
          <a:ln w="12700">
            <a:solidFill>
              <a:schemeClr val="bg1"/>
            </a:solidFill>
            <a:miter lim="800000"/>
            <a:headEnd/>
            <a:tailEnd/>
          </a:ln>
        </p:spPr>
        <p:txBody>
          <a:bodyPr lIns="27000" tIns="27000" rIns="27000" bIns="27000" anchor="ctr"/>
          <a:lstStyle/>
          <a:p>
            <a:pPr algn="ctr" defTabSz="648891">
              <a:lnSpc>
                <a:spcPct val="95000"/>
              </a:lnSpc>
              <a:buClrTx/>
              <a:defRPr/>
            </a:pPr>
            <a:r>
              <a:rPr lang="en-US" sz="1050" kern="1200">
                <a:solidFill>
                  <a:prstClr val="white"/>
                </a:solidFill>
                <a:ea typeface="ＭＳ Ｐゴシック" pitchFamily="50" charset="-128"/>
                <a:cs typeface="+mn-cs"/>
              </a:rPr>
              <a:t>Text</a:t>
            </a:r>
            <a:endParaRPr lang="en-US" sz="1050" kern="1200" dirty="0">
              <a:solidFill>
                <a:prstClr val="white"/>
              </a:solidFill>
              <a:ea typeface="ＭＳ Ｐゴシック" pitchFamily="50" charset="-128"/>
              <a:cs typeface="+mn-cs"/>
            </a:endParaRPr>
          </a:p>
        </p:txBody>
      </p:sp>
      <p:sp>
        <p:nvSpPr>
          <p:cNvPr id="20" name="Rectangle 5"/>
          <p:cNvSpPr>
            <a:spLocks noChangeArrowheads="1"/>
          </p:cNvSpPr>
          <p:nvPr>
            <p:custDataLst>
              <p:tags r:id="rId5"/>
            </p:custDataLst>
          </p:nvPr>
        </p:nvSpPr>
        <p:spPr bwMode="auto">
          <a:xfrm>
            <a:off x="1829991" y="2662237"/>
            <a:ext cx="1704975" cy="566738"/>
          </a:xfrm>
          <a:prstGeom prst="rect">
            <a:avLst/>
          </a:prstGeom>
          <a:solidFill>
            <a:srgbClr val="00A1DE"/>
          </a:solidFill>
          <a:ln w="12700">
            <a:solidFill>
              <a:schemeClr val="bg1"/>
            </a:solidFill>
            <a:miter lim="800000"/>
            <a:headEnd/>
            <a:tailEnd/>
          </a:ln>
        </p:spPr>
        <p:txBody>
          <a:bodyPr lIns="27000" tIns="27000" rIns="27000" bIns="27000" anchor="ctr"/>
          <a:lstStyle/>
          <a:p>
            <a:pPr algn="ctr" defTabSz="648891">
              <a:lnSpc>
                <a:spcPct val="95000"/>
              </a:lnSpc>
              <a:buClrTx/>
              <a:defRPr/>
            </a:pPr>
            <a:r>
              <a:rPr lang="en-US" sz="1050" kern="1200">
                <a:solidFill>
                  <a:prstClr val="white"/>
                </a:solidFill>
                <a:ea typeface="ＭＳ Ｐゴシック" pitchFamily="50" charset="-128"/>
                <a:cs typeface="+mn-cs"/>
              </a:rPr>
              <a:t>Text</a:t>
            </a:r>
            <a:endParaRPr lang="en-US" sz="1050" kern="1200" dirty="0">
              <a:solidFill>
                <a:prstClr val="white"/>
              </a:solidFill>
              <a:ea typeface="ＭＳ Ｐゴシック" pitchFamily="50" charset="-128"/>
              <a:cs typeface="+mn-cs"/>
            </a:endParaRPr>
          </a:p>
        </p:txBody>
      </p:sp>
      <p:cxnSp>
        <p:nvCxnSpPr>
          <p:cNvPr id="21" name="AutoShape 6"/>
          <p:cNvCxnSpPr>
            <a:cxnSpLocks noChangeShapeType="1"/>
            <a:stCxn id="20" idx="0"/>
            <a:endCxn id="13" idx="1"/>
          </p:cNvCxnSpPr>
          <p:nvPr>
            <p:custDataLst>
              <p:tags r:id="rId6"/>
            </p:custDataLst>
          </p:nvPr>
        </p:nvCxnSpPr>
        <p:spPr bwMode="auto">
          <a:xfrm rot="5400000" flipH="1" flipV="1">
            <a:off x="3022997" y="1960960"/>
            <a:ext cx="360759" cy="1041797"/>
          </a:xfrm>
          <a:prstGeom prst="bentConnector2">
            <a:avLst/>
          </a:prstGeom>
          <a:noFill/>
          <a:ln w="19050">
            <a:solidFill>
              <a:srgbClr val="B4B4B4"/>
            </a:solidFill>
            <a:miter lim="800000"/>
            <a:headEnd/>
            <a:tailEnd type="triangle" w="med" len="med"/>
          </a:ln>
        </p:spPr>
      </p:cxnSp>
      <p:cxnSp>
        <p:nvCxnSpPr>
          <p:cNvPr id="22" name="AutoShape 7"/>
          <p:cNvCxnSpPr>
            <a:cxnSpLocks noChangeShapeType="1"/>
            <a:stCxn id="13" idx="0"/>
            <a:endCxn id="19" idx="1"/>
          </p:cNvCxnSpPr>
          <p:nvPr>
            <p:custDataLst>
              <p:tags r:id="rId7"/>
            </p:custDataLst>
          </p:nvPr>
        </p:nvCxnSpPr>
        <p:spPr bwMode="auto">
          <a:xfrm rot="5400000" flipH="1" flipV="1">
            <a:off x="4921152" y="1319511"/>
            <a:ext cx="353615" cy="1041202"/>
          </a:xfrm>
          <a:prstGeom prst="bentConnector2">
            <a:avLst/>
          </a:prstGeom>
          <a:noFill/>
          <a:ln w="19050">
            <a:solidFill>
              <a:srgbClr val="B4B4B4"/>
            </a:solidFill>
            <a:miter lim="800000"/>
            <a:headEnd/>
            <a:tailEnd type="triangle" w="med" len="med"/>
          </a:ln>
        </p:spPr>
      </p:cxnSp>
      <p:sp>
        <p:nvSpPr>
          <p:cNvPr id="23" name="Text Placeholder 12"/>
          <p:cNvSpPr>
            <a:spLocks/>
          </p:cNvSpPr>
          <p:nvPr>
            <p:custDataLst>
              <p:tags r:id="rId8"/>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
        <p:nvSpPr>
          <p:cNvPr id="25" name="Text Placeholder 5"/>
          <p:cNvSpPr txBox="1">
            <a:spLocks/>
          </p:cNvSpPr>
          <p:nvPr/>
        </p:nvSpPr>
        <p:spPr>
          <a:xfrm>
            <a:off x="1829991" y="3296855"/>
            <a:ext cx="1558529" cy="31803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205740" defTabSz="717947">
              <a:spcBef>
                <a:spcPts val="450"/>
              </a:spcBef>
              <a:buClrTx/>
            </a:pPr>
            <a:r>
              <a:rPr lang="en-US" sz="825" dirty="0">
                <a:solidFill>
                  <a:srgbClr val="313131"/>
                </a:solidFill>
                <a:latin typeface="Arial"/>
              </a:rPr>
              <a:t>This is a level two bullet  </a:t>
            </a:r>
          </a:p>
        </p:txBody>
      </p:sp>
      <p:sp>
        <p:nvSpPr>
          <p:cNvPr id="27" name="Text Placeholder 5"/>
          <p:cNvSpPr txBox="1">
            <a:spLocks/>
          </p:cNvSpPr>
          <p:nvPr/>
        </p:nvSpPr>
        <p:spPr>
          <a:xfrm>
            <a:off x="3724275" y="2664686"/>
            <a:ext cx="1558529" cy="31803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205740" defTabSz="717947">
              <a:spcBef>
                <a:spcPts val="450"/>
              </a:spcBef>
              <a:buClrTx/>
            </a:pPr>
            <a:r>
              <a:rPr lang="en-US" sz="825" dirty="0">
                <a:solidFill>
                  <a:srgbClr val="313131"/>
                </a:solidFill>
                <a:latin typeface="Arial"/>
              </a:rPr>
              <a:t>This is a level two bullet  </a:t>
            </a:r>
          </a:p>
        </p:txBody>
      </p:sp>
      <p:sp>
        <p:nvSpPr>
          <p:cNvPr id="29" name="Text Placeholder 5"/>
          <p:cNvSpPr txBox="1">
            <a:spLocks/>
          </p:cNvSpPr>
          <p:nvPr/>
        </p:nvSpPr>
        <p:spPr>
          <a:xfrm>
            <a:off x="5618560" y="2016919"/>
            <a:ext cx="1558529" cy="31803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205740" defTabSz="717947">
              <a:spcBef>
                <a:spcPts val="450"/>
              </a:spcBef>
              <a:buClrTx/>
            </a:pPr>
            <a:r>
              <a:rPr lang="en-US" sz="825" dirty="0">
                <a:solidFill>
                  <a:srgbClr val="313131"/>
                </a:solidFill>
                <a:latin typeface="Arial"/>
              </a:rPr>
              <a:t>This is a level two bullet  </a:t>
            </a:r>
          </a:p>
        </p:txBody>
      </p:sp>
      <p:sp>
        <p:nvSpPr>
          <p:cNvPr id="32" name="Rectangle 5"/>
          <p:cNvSpPr>
            <a:spLocks noChangeArrowheads="1"/>
          </p:cNvSpPr>
          <p:nvPr/>
        </p:nvSpPr>
        <p:spPr bwMode="auto">
          <a:xfrm>
            <a:off x="2579886" y="4320000"/>
            <a:ext cx="205184" cy="120610"/>
          </a:xfrm>
          <a:prstGeom prst="rect">
            <a:avLst/>
          </a:prstGeom>
          <a:noFill/>
          <a:ln w="12700" algn="ctr">
            <a:noFill/>
            <a:miter lim="800000"/>
            <a:headEnd/>
            <a:tailEnd/>
          </a:ln>
        </p:spPr>
        <p:txBody>
          <a:bodyPr wrap="none" lIns="0" tIns="0" rIns="0" bIns="0">
            <a:spAutoFit/>
          </a:bodyPr>
          <a:lstStyle/>
          <a:p>
            <a:pPr algn="ctr" defTabSz="571500">
              <a:lnSpc>
                <a:spcPct val="95000"/>
              </a:lnSpc>
              <a:buClrTx/>
            </a:pPr>
            <a:r>
              <a:rPr lang="en-US" sz="825" kern="1200" dirty="0">
                <a:solidFill>
                  <a:srgbClr val="313131"/>
                </a:solidFill>
                <a:ea typeface="ＭＳ Ｐゴシック" charset="-128"/>
                <a:cs typeface="+mn-cs"/>
              </a:rPr>
              <a:t>Text</a:t>
            </a:r>
          </a:p>
        </p:txBody>
      </p:sp>
      <p:sp>
        <p:nvSpPr>
          <p:cNvPr id="33" name="AutoShape 6"/>
          <p:cNvSpPr>
            <a:spLocks noChangeArrowheads="1"/>
          </p:cNvSpPr>
          <p:nvPr/>
        </p:nvSpPr>
        <p:spPr bwMode="auto">
          <a:xfrm>
            <a:off x="2547479" y="4050000"/>
            <a:ext cx="270000" cy="202500"/>
          </a:xfrm>
          <a:prstGeom prst="downArrow">
            <a:avLst/>
          </a:prstGeom>
          <a:solidFill>
            <a:srgbClr val="00A1DE"/>
          </a:solidFill>
          <a:ln w="12700" algn="ctr">
            <a:solidFill>
              <a:schemeClr val="bg1"/>
            </a:solidFill>
            <a:miter lim="800000"/>
            <a:headEnd/>
            <a:tailEnd/>
          </a:ln>
        </p:spPr>
        <p:txBody>
          <a:bodyPr rot="10800000" vert="eaVert" wrap="none" lIns="27000" tIns="27000" rIns="27000" bIns="27000" anchor="ctr"/>
          <a:lstStyle/>
          <a:p>
            <a:pPr algn="ctr" defTabSz="685800">
              <a:buClrTx/>
              <a:defRPr/>
            </a:pPr>
            <a:endParaRPr lang="en-US" sz="1350" kern="1200" dirty="0">
              <a:solidFill>
                <a:prstClr val="white"/>
              </a:solidFill>
              <a:ea typeface="+mn-ea"/>
              <a:cs typeface="+mn-cs"/>
            </a:endParaRPr>
          </a:p>
        </p:txBody>
      </p:sp>
      <p:sp>
        <p:nvSpPr>
          <p:cNvPr id="34" name="Rectangle 7"/>
          <p:cNvSpPr>
            <a:spLocks noChangeArrowheads="1"/>
          </p:cNvSpPr>
          <p:nvPr/>
        </p:nvSpPr>
        <p:spPr bwMode="auto">
          <a:xfrm>
            <a:off x="4474766" y="4320000"/>
            <a:ext cx="205184" cy="120610"/>
          </a:xfrm>
          <a:prstGeom prst="rect">
            <a:avLst/>
          </a:prstGeom>
          <a:noFill/>
          <a:ln w="12700" algn="ctr">
            <a:noFill/>
            <a:miter lim="800000"/>
            <a:headEnd/>
            <a:tailEnd/>
          </a:ln>
        </p:spPr>
        <p:txBody>
          <a:bodyPr wrap="none" lIns="0" tIns="0" rIns="0" bIns="0">
            <a:spAutoFit/>
          </a:bodyPr>
          <a:lstStyle/>
          <a:p>
            <a:pPr algn="ctr" defTabSz="571500">
              <a:lnSpc>
                <a:spcPct val="95000"/>
              </a:lnSpc>
              <a:buClrTx/>
            </a:pPr>
            <a:r>
              <a:rPr lang="en-US" sz="825" kern="1200">
                <a:solidFill>
                  <a:srgbClr val="313131"/>
                </a:solidFill>
                <a:ea typeface="ＭＳ Ｐゴシック" charset="-128"/>
                <a:cs typeface="+mn-cs"/>
              </a:rPr>
              <a:t>Text</a:t>
            </a:r>
          </a:p>
        </p:txBody>
      </p:sp>
      <p:sp>
        <p:nvSpPr>
          <p:cNvPr id="35" name="AutoShape 8"/>
          <p:cNvSpPr>
            <a:spLocks noChangeArrowheads="1"/>
          </p:cNvSpPr>
          <p:nvPr/>
        </p:nvSpPr>
        <p:spPr bwMode="auto">
          <a:xfrm>
            <a:off x="4442358" y="4050000"/>
            <a:ext cx="270000" cy="202500"/>
          </a:xfrm>
          <a:prstGeom prst="downArrow">
            <a:avLst/>
          </a:prstGeom>
          <a:solidFill>
            <a:srgbClr val="8C8C8C"/>
          </a:solidFill>
          <a:ln w="12700" algn="ctr">
            <a:solidFill>
              <a:schemeClr val="bg1"/>
            </a:solidFill>
            <a:miter lim="800000"/>
            <a:headEnd/>
            <a:tailEnd/>
          </a:ln>
        </p:spPr>
        <p:txBody>
          <a:bodyPr rot="10800000" vert="eaVert" wrap="none" lIns="27000" tIns="27000" rIns="27000" bIns="27000" anchor="ctr"/>
          <a:lstStyle/>
          <a:p>
            <a:pPr algn="ctr" defTabSz="685800">
              <a:buClrTx/>
              <a:defRPr/>
            </a:pPr>
            <a:endParaRPr lang="en-US" sz="1350" kern="1200" dirty="0">
              <a:solidFill>
                <a:prstClr val="white"/>
              </a:solidFill>
              <a:ea typeface="+mn-ea"/>
              <a:cs typeface="+mn-cs"/>
            </a:endParaRPr>
          </a:p>
        </p:txBody>
      </p:sp>
      <p:sp>
        <p:nvSpPr>
          <p:cNvPr id="36" name="Rectangle 9"/>
          <p:cNvSpPr>
            <a:spLocks noChangeArrowheads="1"/>
          </p:cNvSpPr>
          <p:nvPr/>
        </p:nvSpPr>
        <p:spPr bwMode="auto">
          <a:xfrm>
            <a:off x="6369049" y="4320000"/>
            <a:ext cx="205184" cy="120610"/>
          </a:xfrm>
          <a:prstGeom prst="rect">
            <a:avLst/>
          </a:prstGeom>
          <a:noFill/>
          <a:ln w="12700" algn="ctr">
            <a:noFill/>
            <a:miter lim="800000"/>
            <a:headEnd/>
            <a:tailEnd/>
          </a:ln>
        </p:spPr>
        <p:txBody>
          <a:bodyPr wrap="none" lIns="0" tIns="0" rIns="0" bIns="0">
            <a:spAutoFit/>
          </a:bodyPr>
          <a:lstStyle/>
          <a:p>
            <a:pPr algn="ctr" defTabSz="571500">
              <a:lnSpc>
                <a:spcPct val="95000"/>
              </a:lnSpc>
              <a:buClrTx/>
            </a:pPr>
            <a:r>
              <a:rPr lang="en-US" sz="825" kern="1200">
                <a:solidFill>
                  <a:srgbClr val="313131"/>
                </a:solidFill>
                <a:ea typeface="ＭＳ Ｐゴシック" charset="-128"/>
                <a:cs typeface="+mn-cs"/>
              </a:rPr>
              <a:t>Text</a:t>
            </a:r>
          </a:p>
        </p:txBody>
      </p:sp>
      <p:sp>
        <p:nvSpPr>
          <p:cNvPr id="37" name="AutoShape 10"/>
          <p:cNvSpPr>
            <a:spLocks noChangeArrowheads="1"/>
          </p:cNvSpPr>
          <p:nvPr/>
        </p:nvSpPr>
        <p:spPr bwMode="auto">
          <a:xfrm>
            <a:off x="6336642" y="4050000"/>
            <a:ext cx="270000" cy="202500"/>
          </a:xfrm>
          <a:prstGeom prst="downArrow">
            <a:avLst/>
          </a:prstGeom>
          <a:solidFill>
            <a:srgbClr val="575757"/>
          </a:solidFill>
          <a:ln w="12700" algn="ctr">
            <a:solidFill>
              <a:schemeClr val="bg1"/>
            </a:solidFill>
            <a:miter lim="800000"/>
            <a:headEnd/>
            <a:tailEnd/>
          </a:ln>
        </p:spPr>
        <p:txBody>
          <a:bodyPr rot="10800000" vert="eaVert" wrap="none" lIns="27000" tIns="27000" rIns="27000" bIns="27000" anchor="ctr"/>
          <a:lstStyle/>
          <a:p>
            <a:pPr algn="ctr" defTabSz="685800">
              <a:buClrTx/>
              <a:defRPr/>
            </a:pPr>
            <a:endParaRPr lang="en-US" sz="1350" kern="1200" dirty="0">
              <a:solidFill>
                <a:prstClr val="white"/>
              </a:solidFill>
              <a:ea typeface="+mn-ea"/>
              <a:cs typeface="+mn-cs"/>
            </a:endParaRPr>
          </a:p>
        </p:txBody>
      </p:sp>
    </p:spTree>
  </p:cSld>
  <p:clrMapOvr>
    <a:masterClrMapping/>
  </p:clrMapOvr>
  <p:transition>
    <p:fade/>
  </p:transition>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9554" name="Rectangle 2" hidden="1"/>
          <p:cNvGraphicFramePr>
            <a:graphicFrameLocks/>
          </p:cNvGraphicFramePr>
          <p:nvPr>
            <p:custDataLst>
              <p:tags r:id="rId1"/>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18" imgW="0" imgH="0" progId="">
                  <p:embed/>
                </p:oleObj>
              </mc:Choice>
              <mc:Fallback>
                <p:oleObj name="think-cell Slide" r:id="rId18" imgW="0" imgH="0" progId="">
                  <p:embed/>
                  <p:pic>
                    <p:nvPicPr>
                      <p:cNvPr id="279554"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9555" name="Title 1"/>
          <p:cNvSpPr>
            <a:spLocks noGrp="1"/>
          </p:cNvSpPr>
          <p:nvPr>
            <p:ph type="title"/>
            <p:custDataLst>
              <p:tags r:id="rId2"/>
            </p:custDataLst>
          </p:nvPr>
        </p:nvSpPr>
        <p:spPr/>
        <p:txBody>
          <a:bodyPr/>
          <a:lstStyle/>
          <a:p>
            <a:r>
              <a:rPr lang="en-US" dirty="0"/>
              <a:t>Diagonal boxes </a:t>
            </a:r>
            <a:br>
              <a:rPr lang="en-US" dirty="0"/>
            </a:br>
            <a:r>
              <a:rPr lang="en-US" dirty="0">
                <a:solidFill>
                  <a:srgbClr val="575757"/>
                </a:solidFill>
              </a:rPr>
              <a:t>Four steps</a:t>
            </a:r>
          </a:p>
        </p:txBody>
      </p:sp>
      <p:sp>
        <p:nvSpPr>
          <p:cNvPr id="279561" name="Rectangle 3"/>
          <p:cNvSpPr>
            <a:spLocks noChangeArrowheads="1"/>
          </p:cNvSpPr>
          <p:nvPr>
            <p:custDataLst>
              <p:tags r:id="rId3"/>
            </p:custDataLst>
          </p:nvPr>
        </p:nvSpPr>
        <p:spPr bwMode="auto">
          <a:xfrm>
            <a:off x="1829992" y="3100388"/>
            <a:ext cx="1345406" cy="208031"/>
          </a:xfrm>
          <a:prstGeom prst="rect">
            <a:avLst/>
          </a:prstGeom>
          <a:noFill/>
          <a:ln w="12700" algn="ctr">
            <a:noFill/>
            <a:miter lim="800000"/>
            <a:headEnd/>
            <a:tailEnd/>
          </a:ln>
        </p:spPr>
        <p:txBody>
          <a:bodyPr lIns="27000" tIns="27000" rIns="27000" bIns="27000">
            <a:spAutoFit/>
          </a:bodyPr>
          <a:lstStyle/>
          <a:p>
            <a:pPr algn="ctr" defTabSz="571500">
              <a:lnSpc>
                <a:spcPct val="95000"/>
              </a:lnSpc>
              <a:buClrTx/>
            </a:pPr>
            <a:r>
              <a:rPr lang="en-US" sz="1050" b="1" kern="1200">
                <a:solidFill>
                  <a:srgbClr val="313131"/>
                </a:solidFill>
                <a:ea typeface="ＭＳ Ｐゴシック" charset="-128"/>
                <a:cs typeface="+mn-cs"/>
              </a:rPr>
              <a:t>Step 1</a:t>
            </a:r>
          </a:p>
        </p:txBody>
      </p:sp>
      <p:sp>
        <p:nvSpPr>
          <p:cNvPr id="15" name="Rectangle 3"/>
          <p:cNvSpPr>
            <a:spLocks noChangeArrowheads="1"/>
          </p:cNvSpPr>
          <p:nvPr>
            <p:custDataLst>
              <p:tags r:id="rId4"/>
            </p:custDataLst>
          </p:nvPr>
        </p:nvSpPr>
        <p:spPr bwMode="auto">
          <a:xfrm>
            <a:off x="1812132" y="2908697"/>
            <a:ext cx="1360885" cy="390525"/>
          </a:xfrm>
          <a:prstGeom prst="rect">
            <a:avLst/>
          </a:prstGeom>
          <a:solidFill>
            <a:srgbClr val="81BC00"/>
          </a:solidFill>
          <a:ln w="12700" algn="ctr">
            <a:solidFill>
              <a:schemeClr val="bg1"/>
            </a:solidFill>
            <a:miter lim="800000"/>
            <a:headEnd/>
            <a:tailEnd/>
          </a:ln>
        </p:spPr>
        <p:txBody>
          <a:bodyPr lIns="27000" tIns="27000" rIns="27000" bIns="27000" anchor="ctr"/>
          <a:lstStyle/>
          <a:p>
            <a:pPr algn="ctr" defTabSz="648891">
              <a:lnSpc>
                <a:spcPct val="95000"/>
              </a:lnSpc>
              <a:buClrTx/>
              <a:defRPr/>
            </a:pPr>
            <a:r>
              <a:rPr lang="en-US" sz="1050" kern="1200">
                <a:solidFill>
                  <a:prstClr val="white"/>
                </a:solidFill>
                <a:ea typeface="ＭＳ Ｐゴシック" pitchFamily="50" charset="-128"/>
                <a:cs typeface="+mn-cs"/>
              </a:rPr>
              <a:t>Text</a:t>
            </a:r>
            <a:endParaRPr lang="en-US" sz="1050" kern="1200" dirty="0">
              <a:solidFill>
                <a:prstClr val="white"/>
              </a:solidFill>
              <a:ea typeface="ＭＳ Ｐゴシック" pitchFamily="50" charset="-128"/>
              <a:cs typeface="+mn-cs"/>
            </a:endParaRPr>
          </a:p>
        </p:txBody>
      </p:sp>
      <p:sp>
        <p:nvSpPr>
          <p:cNvPr id="16" name="Rectangle 4"/>
          <p:cNvSpPr>
            <a:spLocks noChangeArrowheads="1"/>
          </p:cNvSpPr>
          <p:nvPr>
            <p:custDataLst>
              <p:tags r:id="rId5"/>
            </p:custDataLst>
          </p:nvPr>
        </p:nvSpPr>
        <p:spPr bwMode="auto">
          <a:xfrm>
            <a:off x="3207544" y="2339579"/>
            <a:ext cx="1362075" cy="390525"/>
          </a:xfrm>
          <a:prstGeom prst="rect">
            <a:avLst/>
          </a:prstGeom>
          <a:solidFill>
            <a:srgbClr val="DCDCDC"/>
          </a:solidFill>
          <a:ln w="12700" algn="ctr">
            <a:solidFill>
              <a:schemeClr val="bg1"/>
            </a:solidFill>
            <a:miter lim="800000"/>
            <a:headEnd/>
            <a:tailEnd/>
          </a:ln>
        </p:spPr>
        <p:txBody>
          <a:bodyPr lIns="27000" tIns="27000" rIns="27000" bIns="27000" anchor="ctr"/>
          <a:lstStyle/>
          <a:p>
            <a:pPr algn="ctr" defTabSz="648891">
              <a:lnSpc>
                <a:spcPct val="95000"/>
              </a:lnSpc>
              <a:buClrTx/>
              <a:defRPr/>
            </a:pPr>
            <a:r>
              <a:rPr lang="en-US" sz="1050" kern="1200">
                <a:solidFill>
                  <a:srgbClr val="313131"/>
                </a:solidFill>
                <a:ea typeface="ＭＳ Ｐゴシック" pitchFamily="50" charset="-128"/>
                <a:cs typeface="+mn-cs"/>
              </a:rPr>
              <a:t>Text</a:t>
            </a:r>
            <a:endParaRPr lang="en-US" sz="1050" kern="1200" dirty="0">
              <a:solidFill>
                <a:srgbClr val="313131"/>
              </a:solidFill>
              <a:ea typeface="ＭＳ Ｐゴシック" pitchFamily="50" charset="-128"/>
              <a:cs typeface="+mn-cs"/>
            </a:endParaRPr>
          </a:p>
        </p:txBody>
      </p:sp>
      <p:sp>
        <p:nvSpPr>
          <p:cNvPr id="17" name="Rectangle 5"/>
          <p:cNvSpPr>
            <a:spLocks noChangeArrowheads="1"/>
          </p:cNvSpPr>
          <p:nvPr>
            <p:custDataLst>
              <p:tags r:id="rId6"/>
            </p:custDataLst>
          </p:nvPr>
        </p:nvSpPr>
        <p:spPr bwMode="auto">
          <a:xfrm>
            <a:off x="4602956" y="1776413"/>
            <a:ext cx="1362075" cy="390525"/>
          </a:xfrm>
          <a:prstGeom prst="rect">
            <a:avLst/>
          </a:prstGeom>
          <a:solidFill>
            <a:srgbClr val="B4B4B4"/>
          </a:solidFill>
          <a:ln w="12700" algn="ctr">
            <a:solidFill>
              <a:schemeClr val="bg1"/>
            </a:solidFill>
            <a:miter lim="800000"/>
            <a:headEnd/>
            <a:tailEnd/>
          </a:ln>
        </p:spPr>
        <p:txBody>
          <a:bodyPr lIns="27000" tIns="27000" rIns="27000" bIns="27000" anchor="ctr"/>
          <a:lstStyle/>
          <a:p>
            <a:pPr algn="ctr" defTabSz="648891">
              <a:lnSpc>
                <a:spcPct val="95000"/>
              </a:lnSpc>
              <a:buClrTx/>
              <a:defRPr/>
            </a:pPr>
            <a:r>
              <a:rPr lang="en-US" sz="1050" kern="1200">
                <a:solidFill>
                  <a:prstClr val="white"/>
                </a:solidFill>
                <a:ea typeface="ＭＳ Ｐゴシック" pitchFamily="50" charset="-128"/>
                <a:cs typeface="+mn-cs"/>
              </a:rPr>
              <a:t>Text</a:t>
            </a:r>
            <a:endParaRPr lang="en-US" sz="1050" kern="1200" dirty="0">
              <a:solidFill>
                <a:prstClr val="white"/>
              </a:solidFill>
              <a:ea typeface="ＭＳ Ｐゴシック" pitchFamily="50" charset="-128"/>
              <a:cs typeface="+mn-cs"/>
            </a:endParaRPr>
          </a:p>
        </p:txBody>
      </p:sp>
      <p:sp>
        <p:nvSpPr>
          <p:cNvPr id="18" name="Rectangle 6"/>
          <p:cNvSpPr>
            <a:spLocks noChangeArrowheads="1"/>
          </p:cNvSpPr>
          <p:nvPr>
            <p:custDataLst>
              <p:tags r:id="rId7"/>
            </p:custDataLst>
          </p:nvPr>
        </p:nvSpPr>
        <p:spPr bwMode="auto">
          <a:xfrm>
            <a:off x="5998369" y="1200150"/>
            <a:ext cx="1360885" cy="390525"/>
          </a:xfrm>
          <a:prstGeom prst="rect">
            <a:avLst/>
          </a:prstGeom>
          <a:solidFill>
            <a:srgbClr val="575757"/>
          </a:solidFill>
          <a:ln w="12700" algn="ctr">
            <a:solidFill>
              <a:schemeClr val="bg1"/>
            </a:solidFill>
            <a:miter lim="800000"/>
            <a:headEnd/>
            <a:tailEnd/>
          </a:ln>
        </p:spPr>
        <p:txBody>
          <a:bodyPr lIns="27000" tIns="27000" rIns="27000" bIns="27000" anchor="ctr"/>
          <a:lstStyle/>
          <a:p>
            <a:pPr algn="ctr" defTabSz="648891">
              <a:lnSpc>
                <a:spcPct val="95000"/>
              </a:lnSpc>
              <a:buClrTx/>
              <a:defRPr/>
            </a:pPr>
            <a:r>
              <a:rPr lang="en-US" sz="1050" kern="1200">
                <a:solidFill>
                  <a:prstClr val="white"/>
                </a:solidFill>
                <a:ea typeface="ＭＳ Ｐゴシック" pitchFamily="50" charset="-128"/>
                <a:cs typeface="+mn-cs"/>
              </a:rPr>
              <a:t>Text</a:t>
            </a:r>
            <a:endParaRPr lang="en-US" sz="1050" kern="1200" dirty="0">
              <a:solidFill>
                <a:prstClr val="white"/>
              </a:solidFill>
              <a:ea typeface="ＭＳ Ｐゴシック" pitchFamily="50" charset="-128"/>
              <a:cs typeface="+mn-cs"/>
            </a:endParaRPr>
          </a:p>
        </p:txBody>
      </p:sp>
      <p:cxnSp>
        <p:nvCxnSpPr>
          <p:cNvPr id="19" name="AutoShape 7"/>
          <p:cNvCxnSpPr>
            <a:cxnSpLocks noChangeShapeType="1"/>
            <a:stCxn id="15" idx="0"/>
            <a:endCxn id="16" idx="1"/>
          </p:cNvCxnSpPr>
          <p:nvPr>
            <p:custDataLst>
              <p:tags r:id="rId8"/>
            </p:custDataLst>
          </p:nvPr>
        </p:nvCxnSpPr>
        <p:spPr bwMode="auto">
          <a:xfrm rot="5400000" flipH="1" flipV="1">
            <a:off x="2663131" y="2364285"/>
            <a:ext cx="373856" cy="714970"/>
          </a:xfrm>
          <a:prstGeom prst="bentConnector2">
            <a:avLst/>
          </a:prstGeom>
          <a:noFill/>
          <a:ln w="19050">
            <a:solidFill>
              <a:srgbClr val="B4B4B4"/>
            </a:solidFill>
            <a:miter lim="800000"/>
            <a:headEnd/>
            <a:tailEnd type="triangle" w="med" len="med"/>
          </a:ln>
        </p:spPr>
      </p:cxnSp>
      <p:cxnSp>
        <p:nvCxnSpPr>
          <p:cNvPr id="20" name="AutoShape 8"/>
          <p:cNvCxnSpPr>
            <a:cxnSpLocks noChangeShapeType="1"/>
            <a:stCxn id="16" idx="0"/>
            <a:endCxn id="17" idx="1"/>
          </p:cNvCxnSpPr>
          <p:nvPr>
            <p:custDataLst>
              <p:tags r:id="rId9"/>
            </p:custDataLst>
          </p:nvPr>
        </p:nvCxnSpPr>
        <p:spPr bwMode="auto">
          <a:xfrm rot="5400000" flipH="1" flipV="1">
            <a:off x="4061817" y="1798439"/>
            <a:ext cx="367904" cy="714375"/>
          </a:xfrm>
          <a:prstGeom prst="bentConnector2">
            <a:avLst/>
          </a:prstGeom>
          <a:noFill/>
          <a:ln w="19050">
            <a:solidFill>
              <a:srgbClr val="B4B4B4"/>
            </a:solidFill>
            <a:miter lim="800000"/>
            <a:headEnd/>
            <a:tailEnd type="triangle" w="med" len="med"/>
          </a:ln>
        </p:spPr>
      </p:cxnSp>
      <p:cxnSp>
        <p:nvCxnSpPr>
          <p:cNvPr id="21" name="AutoShape 9"/>
          <p:cNvCxnSpPr>
            <a:cxnSpLocks noChangeShapeType="1"/>
            <a:stCxn id="17" idx="0"/>
            <a:endCxn id="18" idx="1"/>
          </p:cNvCxnSpPr>
          <p:nvPr>
            <p:custDataLst>
              <p:tags r:id="rId10"/>
            </p:custDataLst>
          </p:nvPr>
        </p:nvCxnSpPr>
        <p:spPr bwMode="auto">
          <a:xfrm rot="5400000" flipH="1" flipV="1">
            <a:off x="5450681" y="1228725"/>
            <a:ext cx="381000" cy="714375"/>
          </a:xfrm>
          <a:prstGeom prst="bentConnector2">
            <a:avLst/>
          </a:prstGeom>
          <a:noFill/>
          <a:ln w="19050">
            <a:solidFill>
              <a:srgbClr val="B4B4B4"/>
            </a:solidFill>
            <a:miter lim="800000"/>
            <a:headEnd/>
            <a:tailEnd type="triangle" w="med" len="med"/>
          </a:ln>
        </p:spPr>
      </p:cxnSp>
      <p:sp>
        <p:nvSpPr>
          <p:cNvPr id="26" name="Text Placeholder 12"/>
          <p:cNvSpPr>
            <a:spLocks/>
          </p:cNvSpPr>
          <p:nvPr>
            <p:custDataLst>
              <p:tags r:id="rId1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
        <p:nvSpPr>
          <p:cNvPr id="28" name="Text Placeholder 5"/>
          <p:cNvSpPr txBox="1">
            <a:spLocks/>
          </p:cNvSpPr>
          <p:nvPr>
            <p:custDataLst>
              <p:tags r:id="rId12"/>
            </p:custDataLst>
          </p:nvPr>
        </p:nvSpPr>
        <p:spPr>
          <a:xfrm>
            <a:off x="5998369" y="1659614"/>
            <a:ext cx="1166813" cy="571951"/>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205740" defTabSz="717947">
              <a:spcBef>
                <a:spcPts val="450"/>
              </a:spcBef>
              <a:buClrTx/>
            </a:pPr>
            <a:r>
              <a:rPr lang="en-US" sz="825" dirty="0">
                <a:solidFill>
                  <a:srgbClr val="313131"/>
                </a:solidFill>
                <a:latin typeface="Arial"/>
              </a:rPr>
              <a:t>This is a level two bullet  </a:t>
            </a:r>
          </a:p>
        </p:txBody>
      </p:sp>
      <p:sp>
        <p:nvSpPr>
          <p:cNvPr id="30" name="Text Placeholder 5"/>
          <p:cNvSpPr txBox="1">
            <a:spLocks/>
          </p:cNvSpPr>
          <p:nvPr>
            <p:custDataLst>
              <p:tags r:id="rId13"/>
            </p:custDataLst>
          </p:nvPr>
        </p:nvSpPr>
        <p:spPr>
          <a:xfrm>
            <a:off x="1812131" y="3357819"/>
            <a:ext cx="1166813" cy="571951"/>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205740" defTabSz="717947">
              <a:spcBef>
                <a:spcPts val="450"/>
              </a:spcBef>
              <a:buClrTx/>
            </a:pPr>
            <a:r>
              <a:rPr lang="en-US" sz="825" dirty="0">
                <a:solidFill>
                  <a:srgbClr val="313131"/>
                </a:solidFill>
                <a:latin typeface="Arial"/>
              </a:rPr>
              <a:t>This is a level two bullet  </a:t>
            </a:r>
          </a:p>
        </p:txBody>
      </p:sp>
      <p:sp>
        <p:nvSpPr>
          <p:cNvPr id="31" name="Text Placeholder 5"/>
          <p:cNvSpPr txBox="1">
            <a:spLocks/>
          </p:cNvSpPr>
          <p:nvPr>
            <p:custDataLst>
              <p:tags r:id="rId14"/>
            </p:custDataLst>
          </p:nvPr>
        </p:nvSpPr>
        <p:spPr>
          <a:xfrm>
            <a:off x="3207544" y="2791751"/>
            <a:ext cx="1166813" cy="571951"/>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205740" defTabSz="717947">
              <a:spcBef>
                <a:spcPts val="450"/>
              </a:spcBef>
              <a:buClrTx/>
            </a:pPr>
            <a:r>
              <a:rPr lang="en-US" sz="825" dirty="0">
                <a:solidFill>
                  <a:srgbClr val="313131"/>
                </a:solidFill>
                <a:latin typeface="Arial"/>
              </a:rPr>
              <a:t>This is a level two bullet  </a:t>
            </a:r>
          </a:p>
        </p:txBody>
      </p:sp>
      <p:sp>
        <p:nvSpPr>
          <p:cNvPr id="32" name="Text Placeholder 5"/>
          <p:cNvSpPr txBox="1">
            <a:spLocks/>
          </p:cNvSpPr>
          <p:nvPr>
            <p:custDataLst>
              <p:tags r:id="rId15"/>
            </p:custDataLst>
          </p:nvPr>
        </p:nvSpPr>
        <p:spPr>
          <a:xfrm>
            <a:off x="4602956" y="2225683"/>
            <a:ext cx="1166813" cy="571951"/>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205740" defTabSz="717947">
              <a:spcBef>
                <a:spcPts val="450"/>
              </a:spcBef>
              <a:buClrTx/>
            </a:pPr>
            <a:r>
              <a:rPr lang="en-US" sz="825" dirty="0">
                <a:solidFill>
                  <a:srgbClr val="313131"/>
                </a:solidFill>
                <a:latin typeface="Arial"/>
              </a:rPr>
              <a:t>This is a level two bullet  </a:t>
            </a:r>
          </a:p>
        </p:txBody>
      </p:sp>
      <p:sp>
        <p:nvSpPr>
          <p:cNvPr id="35" name="Rectangle 5"/>
          <p:cNvSpPr>
            <a:spLocks noChangeArrowheads="1"/>
          </p:cNvSpPr>
          <p:nvPr/>
        </p:nvSpPr>
        <p:spPr bwMode="auto">
          <a:xfrm>
            <a:off x="2389981" y="4320000"/>
            <a:ext cx="205184" cy="120610"/>
          </a:xfrm>
          <a:prstGeom prst="rect">
            <a:avLst/>
          </a:prstGeom>
          <a:noFill/>
          <a:ln w="12700" algn="ctr">
            <a:noFill/>
            <a:miter lim="800000"/>
            <a:headEnd/>
            <a:tailEnd/>
          </a:ln>
        </p:spPr>
        <p:txBody>
          <a:bodyPr wrap="none" lIns="0" tIns="0" rIns="0" bIns="0">
            <a:spAutoFit/>
          </a:bodyPr>
          <a:lstStyle/>
          <a:p>
            <a:pPr algn="ctr" defTabSz="571500">
              <a:lnSpc>
                <a:spcPct val="95000"/>
              </a:lnSpc>
              <a:buClrTx/>
            </a:pPr>
            <a:r>
              <a:rPr lang="en-US" sz="825" kern="1200" dirty="0">
                <a:solidFill>
                  <a:srgbClr val="313131"/>
                </a:solidFill>
                <a:ea typeface="ＭＳ Ｐゴシック" charset="-128"/>
                <a:cs typeface="+mn-cs"/>
              </a:rPr>
              <a:t>Text</a:t>
            </a:r>
          </a:p>
        </p:txBody>
      </p:sp>
      <p:sp>
        <p:nvSpPr>
          <p:cNvPr id="36" name="AutoShape 6"/>
          <p:cNvSpPr>
            <a:spLocks noChangeArrowheads="1"/>
          </p:cNvSpPr>
          <p:nvPr/>
        </p:nvSpPr>
        <p:spPr bwMode="auto">
          <a:xfrm>
            <a:off x="2357573" y="4050000"/>
            <a:ext cx="270000" cy="202500"/>
          </a:xfrm>
          <a:prstGeom prst="downArrow">
            <a:avLst/>
          </a:prstGeom>
          <a:solidFill>
            <a:srgbClr val="81BC00"/>
          </a:solidFill>
          <a:ln w="12700" algn="ctr">
            <a:solidFill>
              <a:schemeClr val="bg1"/>
            </a:solidFill>
            <a:miter lim="800000"/>
            <a:headEnd/>
            <a:tailEnd/>
          </a:ln>
        </p:spPr>
        <p:txBody>
          <a:bodyPr rot="10800000" vert="eaVert" wrap="none" lIns="27000" tIns="27000" rIns="27000" bIns="27000" anchor="ctr"/>
          <a:lstStyle/>
          <a:p>
            <a:pPr algn="ctr" defTabSz="685800">
              <a:buClrTx/>
              <a:defRPr/>
            </a:pPr>
            <a:endParaRPr lang="en-US" sz="1350" kern="1200" dirty="0">
              <a:solidFill>
                <a:prstClr val="white"/>
              </a:solidFill>
              <a:ea typeface="+mn-ea"/>
              <a:cs typeface="+mn-cs"/>
            </a:endParaRPr>
          </a:p>
        </p:txBody>
      </p:sp>
      <p:sp>
        <p:nvSpPr>
          <p:cNvPr id="37" name="Rectangle 7"/>
          <p:cNvSpPr>
            <a:spLocks noChangeArrowheads="1"/>
          </p:cNvSpPr>
          <p:nvPr/>
        </p:nvSpPr>
        <p:spPr bwMode="auto">
          <a:xfrm>
            <a:off x="3785989" y="4320000"/>
            <a:ext cx="205184" cy="120610"/>
          </a:xfrm>
          <a:prstGeom prst="rect">
            <a:avLst/>
          </a:prstGeom>
          <a:noFill/>
          <a:ln w="12700" algn="ctr">
            <a:noFill/>
            <a:miter lim="800000"/>
            <a:headEnd/>
            <a:tailEnd/>
          </a:ln>
        </p:spPr>
        <p:txBody>
          <a:bodyPr wrap="none" lIns="0" tIns="0" rIns="0" bIns="0">
            <a:spAutoFit/>
          </a:bodyPr>
          <a:lstStyle/>
          <a:p>
            <a:pPr algn="ctr" defTabSz="571500">
              <a:lnSpc>
                <a:spcPct val="95000"/>
              </a:lnSpc>
              <a:buClrTx/>
            </a:pPr>
            <a:r>
              <a:rPr lang="en-US" sz="825" kern="1200">
                <a:solidFill>
                  <a:srgbClr val="313131"/>
                </a:solidFill>
                <a:ea typeface="ＭＳ Ｐゴシック" charset="-128"/>
                <a:cs typeface="+mn-cs"/>
              </a:rPr>
              <a:t>Text</a:t>
            </a:r>
          </a:p>
        </p:txBody>
      </p:sp>
      <p:sp>
        <p:nvSpPr>
          <p:cNvPr id="38" name="AutoShape 8"/>
          <p:cNvSpPr>
            <a:spLocks noChangeArrowheads="1"/>
          </p:cNvSpPr>
          <p:nvPr/>
        </p:nvSpPr>
        <p:spPr bwMode="auto">
          <a:xfrm>
            <a:off x="3753581" y="4050000"/>
            <a:ext cx="270000" cy="202500"/>
          </a:xfrm>
          <a:prstGeom prst="downArrow">
            <a:avLst/>
          </a:prstGeom>
          <a:solidFill>
            <a:srgbClr val="B4B4B4"/>
          </a:solidFill>
          <a:ln w="12700" algn="ctr">
            <a:solidFill>
              <a:schemeClr val="bg1"/>
            </a:solidFill>
            <a:miter lim="800000"/>
            <a:headEnd/>
            <a:tailEnd/>
          </a:ln>
        </p:spPr>
        <p:txBody>
          <a:bodyPr rot="10800000" vert="eaVert" wrap="none" lIns="27000" tIns="27000" rIns="27000" bIns="27000" anchor="ctr"/>
          <a:lstStyle/>
          <a:p>
            <a:pPr algn="ctr" defTabSz="685800">
              <a:buClrTx/>
              <a:defRPr/>
            </a:pPr>
            <a:endParaRPr lang="en-US" sz="1350" kern="1200" dirty="0">
              <a:solidFill>
                <a:prstClr val="white"/>
              </a:solidFill>
              <a:ea typeface="+mn-ea"/>
              <a:cs typeface="+mn-cs"/>
            </a:endParaRPr>
          </a:p>
        </p:txBody>
      </p:sp>
      <p:sp>
        <p:nvSpPr>
          <p:cNvPr id="39" name="Rectangle 9"/>
          <p:cNvSpPr>
            <a:spLocks noChangeArrowheads="1"/>
          </p:cNvSpPr>
          <p:nvPr/>
        </p:nvSpPr>
        <p:spPr bwMode="auto">
          <a:xfrm>
            <a:off x="5181401" y="4320000"/>
            <a:ext cx="205184" cy="120610"/>
          </a:xfrm>
          <a:prstGeom prst="rect">
            <a:avLst/>
          </a:prstGeom>
          <a:noFill/>
          <a:ln w="12700" algn="ctr">
            <a:noFill/>
            <a:miter lim="800000"/>
            <a:headEnd/>
            <a:tailEnd/>
          </a:ln>
        </p:spPr>
        <p:txBody>
          <a:bodyPr wrap="none" lIns="0" tIns="0" rIns="0" bIns="0">
            <a:spAutoFit/>
          </a:bodyPr>
          <a:lstStyle/>
          <a:p>
            <a:pPr algn="ctr" defTabSz="571500">
              <a:lnSpc>
                <a:spcPct val="95000"/>
              </a:lnSpc>
              <a:buClrTx/>
            </a:pPr>
            <a:r>
              <a:rPr lang="en-US" sz="825" kern="1200">
                <a:solidFill>
                  <a:srgbClr val="313131"/>
                </a:solidFill>
                <a:ea typeface="ＭＳ Ｐゴシック" charset="-128"/>
                <a:cs typeface="+mn-cs"/>
              </a:rPr>
              <a:t>Text</a:t>
            </a:r>
          </a:p>
        </p:txBody>
      </p:sp>
      <p:sp>
        <p:nvSpPr>
          <p:cNvPr id="40" name="AutoShape 10"/>
          <p:cNvSpPr>
            <a:spLocks noChangeArrowheads="1"/>
          </p:cNvSpPr>
          <p:nvPr/>
        </p:nvSpPr>
        <p:spPr bwMode="auto">
          <a:xfrm>
            <a:off x="5148994" y="4050000"/>
            <a:ext cx="270000" cy="202500"/>
          </a:xfrm>
          <a:prstGeom prst="downArrow">
            <a:avLst/>
          </a:prstGeom>
          <a:solidFill>
            <a:srgbClr val="575757"/>
          </a:solidFill>
          <a:ln w="12700" algn="ctr">
            <a:solidFill>
              <a:schemeClr val="bg1"/>
            </a:solidFill>
            <a:miter lim="800000"/>
            <a:headEnd/>
            <a:tailEnd/>
          </a:ln>
        </p:spPr>
        <p:txBody>
          <a:bodyPr rot="10800000" vert="eaVert" wrap="none" lIns="27000" tIns="27000" rIns="27000" bIns="27000" anchor="ctr"/>
          <a:lstStyle/>
          <a:p>
            <a:pPr algn="ctr" defTabSz="685800">
              <a:buClrTx/>
              <a:defRPr/>
            </a:pPr>
            <a:endParaRPr lang="en-US" sz="1350" kern="1200" dirty="0">
              <a:solidFill>
                <a:prstClr val="white"/>
              </a:solidFill>
              <a:ea typeface="+mn-ea"/>
              <a:cs typeface="+mn-cs"/>
            </a:endParaRPr>
          </a:p>
        </p:txBody>
      </p:sp>
      <p:sp>
        <p:nvSpPr>
          <p:cNvPr id="41" name="Rectangle 11"/>
          <p:cNvSpPr>
            <a:spLocks noChangeArrowheads="1"/>
          </p:cNvSpPr>
          <p:nvPr/>
        </p:nvSpPr>
        <p:spPr bwMode="auto">
          <a:xfrm>
            <a:off x="6576219" y="4320000"/>
            <a:ext cx="205184" cy="120610"/>
          </a:xfrm>
          <a:prstGeom prst="rect">
            <a:avLst/>
          </a:prstGeom>
          <a:noFill/>
          <a:ln w="12700" algn="ctr">
            <a:noFill/>
            <a:miter lim="800000"/>
            <a:headEnd/>
            <a:tailEnd/>
          </a:ln>
        </p:spPr>
        <p:txBody>
          <a:bodyPr wrap="none" lIns="0" tIns="0" rIns="0" bIns="0">
            <a:spAutoFit/>
          </a:bodyPr>
          <a:lstStyle/>
          <a:p>
            <a:pPr algn="ctr" defTabSz="571500">
              <a:lnSpc>
                <a:spcPct val="95000"/>
              </a:lnSpc>
              <a:buClrTx/>
            </a:pPr>
            <a:r>
              <a:rPr lang="en-US" sz="825" kern="1200" dirty="0">
                <a:solidFill>
                  <a:srgbClr val="313131"/>
                </a:solidFill>
                <a:ea typeface="ＭＳ Ｐゴシック" charset="-128"/>
                <a:cs typeface="+mn-cs"/>
              </a:rPr>
              <a:t>Text</a:t>
            </a:r>
          </a:p>
        </p:txBody>
      </p:sp>
      <p:sp>
        <p:nvSpPr>
          <p:cNvPr id="42" name="AutoShape 12"/>
          <p:cNvSpPr>
            <a:spLocks noChangeArrowheads="1"/>
          </p:cNvSpPr>
          <p:nvPr/>
        </p:nvSpPr>
        <p:spPr bwMode="auto">
          <a:xfrm>
            <a:off x="6543811" y="4050000"/>
            <a:ext cx="270000" cy="202500"/>
          </a:xfrm>
          <a:prstGeom prst="downArrow">
            <a:avLst/>
          </a:prstGeom>
          <a:solidFill>
            <a:srgbClr val="313131"/>
          </a:solidFill>
          <a:ln w="12700" algn="ctr">
            <a:solidFill>
              <a:schemeClr val="bg1"/>
            </a:solidFill>
            <a:miter lim="800000"/>
            <a:headEnd/>
            <a:tailEnd/>
          </a:ln>
        </p:spPr>
        <p:txBody>
          <a:bodyPr rot="10800000" vert="eaVert" wrap="none" lIns="27000" tIns="27000" rIns="27000" bIns="27000" anchor="ctr"/>
          <a:lstStyle/>
          <a:p>
            <a:pPr algn="ctr" defTabSz="685800">
              <a:buClrTx/>
              <a:defRPr/>
            </a:pPr>
            <a:endParaRPr lang="en-US" sz="1350" kern="1200" dirty="0">
              <a:solidFill>
                <a:prstClr val="white"/>
              </a:solidFill>
              <a:ea typeface="+mn-ea"/>
              <a:cs typeface="+mn-cs"/>
            </a:endParaRPr>
          </a:p>
        </p:txBody>
      </p:sp>
    </p:spTree>
  </p:cSld>
  <p:clrMapOvr>
    <a:masterClrMapping/>
  </p:clrMapOvr>
  <p:transition>
    <p:fade/>
  </p:transition>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7937" name="Title 1"/>
          <p:cNvSpPr>
            <a:spLocks noGrp="1"/>
          </p:cNvSpPr>
          <p:nvPr>
            <p:ph type="title"/>
          </p:nvPr>
        </p:nvSpPr>
        <p:spPr/>
        <p:txBody>
          <a:bodyPr/>
          <a:lstStyle/>
          <a:p>
            <a:r>
              <a:rPr lang="en-US" dirty="0"/>
              <a:t>Diagonal boxes </a:t>
            </a:r>
            <a:br>
              <a:rPr lang="en-US" dirty="0"/>
            </a:br>
            <a:r>
              <a:rPr lang="en-US" dirty="0">
                <a:solidFill>
                  <a:srgbClr val="575757"/>
                </a:solidFill>
              </a:rPr>
              <a:t>Five steps</a:t>
            </a:r>
          </a:p>
        </p:txBody>
      </p:sp>
      <p:sp>
        <p:nvSpPr>
          <p:cNvPr id="16" name="Rectangle 3"/>
          <p:cNvSpPr>
            <a:spLocks noChangeArrowheads="1"/>
          </p:cNvSpPr>
          <p:nvPr/>
        </p:nvSpPr>
        <p:spPr bwMode="auto">
          <a:xfrm>
            <a:off x="1438276" y="3034599"/>
            <a:ext cx="1040606" cy="391716"/>
          </a:xfrm>
          <a:prstGeom prst="rect">
            <a:avLst/>
          </a:prstGeom>
          <a:solidFill>
            <a:srgbClr val="313131"/>
          </a:solidFill>
          <a:ln w="12700" algn="ctr">
            <a:solidFill>
              <a:schemeClr val="bg1"/>
            </a:solidFill>
            <a:miter lim="800000"/>
            <a:headEnd/>
            <a:tailEnd/>
          </a:ln>
        </p:spPr>
        <p:txBody>
          <a:bodyPr lIns="27000" tIns="27000" rIns="27000" bIns="27000" anchor="ctr"/>
          <a:lstStyle/>
          <a:p>
            <a:pPr algn="ctr" defTabSz="648891">
              <a:lnSpc>
                <a:spcPct val="95000"/>
              </a:lnSpc>
              <a:buClrTx/>
              <a:defRPr/>
            </a:pPr>
            <a:r>
              <a:rPr lang="en-US" sz="1050" kern="1200" dirty="0">
                <a:solidFill>
                  <a:prstClr val="white"/>
                </a:solidFill>
                <a:ea typeface="ＭＳ Ｐゴシック" pitchFamily="50" charset="-128"/>
                <a:cs typeface="+mn-cs"/>
              </a:rPr>
              <a:t>Text</a:t>
            </a:r>
          </a:p>
        </p:txBody>
      </p:sp>
      <p:sp>
        <p:nvSpPr>
          <p:cNvPr id="17" name="Rectangle 4"/>
          <p:cNvSpPr>
            <a:spLocks noChangeArrowheads="1"/>
          </p:cNvSpPr>
          <p:nvPr/>
        </p:nvSpPr>
        <p:spPr bwMode="auto">
          <a:xfrm>
            <a:off x="2742307" y="2552397"/>
            <a:ext cx="1042988" cy="391715"/>
          </a:xfrm>
          <a:prstGeom prst="rect">
            <a:avLst/>
          </a:prstGeom>
          <a:solidFill>
            <a:srgbClr val="575757"/>
          </a:solidFill>
          <a:ln w="12700" algn="ctr">
            <a:solidFill>
              <a:schemeClr val="bg1"/>
            </a:solidFill>
            <a:miter lim="800000"/>
            <a:headEnd/>
            <a:tailEnd/>
          </a:ln>
        </p:spPr>
        <p:txBody>
          <a:bodyPr lIns="27000" tIns="27000" rIns="27000" bIns="27000" anchor="ctr"/>
          <a:lstStyle/>
          <a:p>
            <a:pPr algn="ctr" defTabSz="648891">
              <a:lnSpc>
                <a:spcPct val="95000"/>
              </a:lnSpc>
              <a:buClrTx/>
              <a:defRPr/>
            </a:pPr>
            <a:r>
              <a:rPr lang="en-US" sz="1050" kern="1200" dirty="0">
                <a:solidFill>
                  <a:prstClr val="white"/>
                </a:solidFill>
                <a:ea typeface="ＭＳ Ｐゴシック" pitchFamily="50" charset="-128"/>
                <a:cs typeface="+mn-cs"/>
              </a:rPr>
              <a:t>Text</a:t>
            </a:r>
          </a:p>
        </p:txBody>
      </p:sp>
      <p:sp>
        <p:nvSpPr>
          <p:cNvPr id="19" name="Rectangle 5"/>
          <p:cNvSpPr>
            <a:spLocks noChangeArrowheads="1"/>
          </p:cNvSpPr>
          <p:nvPr/>
        </p:nvSpPr>
        <p:spPr bwMode="auto">
          <a:xfrm>
            <a:off x="4048720" y="2070193"/>
            <a:ext cx="1041797" cy="391716"/>
          </a:xfrm>
          <a:prstGeom prst="rect">
            <a:avLst/>
          </a:prstGeom>
          <a:solidFill>
            <a:srgbClr val="B4B4B4"/>
          </a:solidFill>
          <a:ln w="12700" algn="ctr">
            <a:solidFill>
              <a:schemeClr val="bg1"/>
            </a:solidFill>
            <a:miter lim="800000"/>
            <a:headEnd/>
            <a:tailEnd/>
          </a:ln>
        </p:spPr>
        <p:txBody>
          <a:bodyPr lIns="27000" tIns="27000" rIns="27000" bIns="27000" anchor="ctr"/>
          <a:lstStyle/>
          <a:p>
            <a:pPr algn="ctr" defTabSz="648891">
              <a:lnSpc>
                <a:spcPct val="95000"/>
              </a:lnSpc>
              <a:buClrTx/>
              <a:defRPr/>
            </a:pPr>
            <a:r>
              <a:rPr lang="en-US" sz="1050" kern="1200">
                <a:solidFill>
                  <a:prstClr val="white"/>
                </a:solidFill>
                <a:ea typeface="ＭＳ Ｐゴシック" pitchFamily="50" charset="-128"/>
                <a:cs typeface="+mn-cs"/>
              </a:rPr>
              <a:t>Text</a:t>
            </a:r>
            <a:endParaRPr lang="en-US" sz="1050" kern="1200" dirty="0">
              <a:solidFill>
                <a:prstClr val="white"/>
              </a:solidFill>
              <a:ea typeface="ＭＳ Ｐゴシック" pitchFamily="50" charset="-128"/>
              <a:cs typeface="+mn-cs"/>
            </a:endParaRPr>
          </a:p>
        </p:txBody>
      </p:sp>
      <p:sp>
        <p:nvSpPr>
          <p:cNvPr id="20" name="Rectangle 6"/>
          <p:cNvSpPr>
            <a:spLocks noChangeArrowheads="1"/>
          </p:cNvSpPr>
          <p:nvPr/>
        </p:nvSpPr>
        <p:spPr bwMode="auto">
          <a:xfrm>
            <a:off x="5353942" y="1587991"/>
            <a:ext cx="1042988" cy="391715"/>
          </a:xfrm>
          <a:prstGeom prst="rect">
            <a:avLst/>
          </a:prstGeom>
          <a:solidFill>
            <a:schemeClr val="accent2"/>
          </a:solidFill>
          <a:ln w="12700" algn="ctr">
            <a:solidFill>
              <a:schemeClr val="bg1"/>
            </a:solidFill>
            <a:miter lim="800000"/>
            <a:headEnd/>
            <a:tailEnd/>
          </a:ln>
        </p:spPr>
        <p:txBody>
          <a:bodyPr lIns="27000" tIns="27000" rIns="27000" bIns="27000" anchor="ctr"/>
          <a:lstStyle/>
          <a:p>
            <a:pPr algn="ctr" defTabSz="648891">
              <a:lnSpc>
                <a:spcPct val="95000"/>
              </a:lnSpc>
              <a:buClrTx/>
              <a:defRPr/>
            </a:pPr>
            <a:r>
              <a:rPr lang="en-US" sz="1050" kern="1200">
                <a:solidFill>
                  <a:prstClr val="white"/>
                </a:solidFill>
                <a:ea typeface="ＭＳ Ｐゴシック" pitchFamily="50" charset="-128"/>
                <a:cs typeface="+mn-cs"/>
              </a:rPr>
              <a:t>Text</a:t>
            </a:r>
            <a:endParaRPr lang="en-US" sz="1050" kern="1200" dirty="0">
              <a:solidFill>
                <a:prstClr val="white"/>
              </a:solidFill>
              <a:ea typeface="ＭＳ Ｐゴシック" pitchFamily="50" charset="-128"/>
              <a:cs typeface="+mn-cs"/>
            </a:endParaRPr>
          </a:p>
        </p:txBody>
      </p:sp>
      <p:sp>
        <p:nvSpPr>
          <p:cNvPr id="21" name="Rectangle 7"/>
          <p:cNvSpPr>
            <a:spLocks noChangeArrowheads="1"/>
          </p:cNvSpPr>
          <p:nvPr/>
        </p:nvSpPr>
        <p:spPr bwMode="auto">
          <a:xfrm>
            <a:off x="6660356" y="1105787"/>
            <a:ext cx="1044179" cy="391716"/>
          </a:xfrm>
          <a:prstGeom prst="rect">
            <a:avLst/>
          </a:prstGeom>
          <a:solidFill>
            <a:srgbClr val="DCDCDC"/>
          </a:solidFill>
          <a:ln w="12700" algn="ctr">
            <a:solidFill>
              <a:schemeClr val="bg1"/>
            </a:solidFill>
            <a:miter lim="800000"/>
            <a:headEnd/>
            <a:tailEnd/>
          </a:ln>
        </p:spPr>
        <p:txBody>
          <a:bodyPr lIns="27000" tIns="27000" rIns="27000" bIns="27000" anchor="ctr"/>
          <a:lstStyle/>
          <a:p>
            <a:pPr algn="ctr" defTabSz="648891">
              <a:lnSpc>
                <a:spcPct val="95000"/>
              </a:lnSpc>
              <a:buClrTx/>
              <a:defRPr/>
            </a:pPr>
            <a:r>
              <a:rPr lang="en-US" sz="1050" kern="1200">
                <a:solidFill>
                  <a:srgbClr val="313131"/>
                </a:solidFill>
                <a:ea typeface="ＭＳ Ｐゴシック" pitchFamily="50" charset="-128"/>
                <a:cs typeface="+mn-cs"/>
              </a:rPr>
              <a:t>Text</a:t>
            </a:r>
            <a:endParaRPr lang="en-US" sz="1050" kern="1200" dirty="0">
              <a:solidFill>
                <a:srgbClr val="313131"/>
              </a:solidFill>
              <a:ea typeface="ＭＳ Ｐゴシック" pitchFamily="50" charset="-128"/>
              <a:cs typeface="+mn-cs"/>
            </a:endParaRPr>
          </a:p>
        </p:txBody>
      </p:sp>
      <p:cxnSp>
        <p:nvCxnSpPr>
          <p:cNvPr id="22" name="AutoShape 8"/>
          <p:cNvCxnSpPr>
            <a:cxnSpLocks noChangeShapeType="1"/>
            <a:stCxn id="16" idx="0"/>
            <a:endCxn id="17" idx="1"/>
          </p:cNvCxnSpPr>
          <p:nvPr/>
        </p:nvCxnSpPr>
        <p:spPr bwMode="auto">
          <a:xfrm rot="5400000" flipH="1" flipV="1">
            <a:off x="2207271" y="2499564"/>
            <a:ext cx="286345" cy="783728"/>
          </a:xfrm>
          <a:prstGeom prst="bentConnector2">
            <a:avLst/>
          </a:prstGeom>
          <a:noFill/>
          <a:ln w="19050">
            <a:solidFill>
              <a:srgbClr val="B4B4B4"/>
            </a:solidFill>
            <a:miter lim="800000"/>
            <a:headEnd/>
            <a:tailEnd type="triangle" w="med" len="med"/>
          </a:ln>
        </p:spPr>
      </p:cxnSp>
      <p:cxnSp>
        <p:nvCxnSpPr>
          <p:cNvPr id="23" name="AutoShape 9"/>
          <p:cNvCxnSpPr>
            <a:cxnSpLocks noChangeShapeType="1"/>
            <a:stCxn id="17" idx="0"/>
            <a:endCxn id="19" idx="1"/>
          </p:cNvCxnSpPr>
          <p:nvPr/>
        </p:nvCxnSpPr>
        <p:spPr bwMode="auto">
          <a:xfrm rot="5400000" flipH="1" flipV="1">
            <a:off x="3513087" y="2016765"/>
            <a:ext cx="286346" cy="784919"/>
          </a:xfrm>
          <a:prstGeom prst="bentConnector2">
            <a:avLst/>
          </a:prstGeom>
          <a:noFill/>
          <a:ln w="19050">
            <a:solidFill>
              <a:srgbClr val="B4B4B4"/>
            </a:solidFill>
            <a:miter lim="800000"/>
            <a:headEnd/>
            <a:tailEnd type="triangle" w="med" len="med"/>
          </a:ln>
        </p:spPr>
      </p:cxnSp>
      <p:cxnSp>
        <p:nvCxnSpPr>
          <p:cNvPr id="24" name="AutoShape 10"/>
          <p:cNvCxnSpPr>
            <a:cxnSpLocks noChangeShapeType="1"/>
            <a:stCxn id="19" idx="0"/>
            <a:endCxn id="20" idx="1"/>
          </p:cNvCxnSpPr>
          <p:nvPr/>
        </p:nvCxnSpPr>
        <p:spPr bwMode="auto">
          <a:xfrm rot="5400000" flipH="1" flipV="1">
            <a:off x="4818609" y="1534860"/>
            <a:ext cx="286345" cy="784324"/>
          </a:xfrm>
          <a:prstGeom prst="bentConnector2">
            <a:avLst/>
          </a:prstGeom>
          <a:noFill/>
          <a:ln w="19050">
            <a:solidFill>
              <a:srgbClr val="B4B4B4"/>
            </a:solidFill>
            <a:miter lim="800000"/>
            <a:headEnd/>
            <a:tailEnd type="triangle" w="med" len="med"/>
          </a:ln>
        </p:spPr>
      </p:cxnSp>
      <p:cxnSp>
        <p:nvCxnSpPr>
          <p:cNvPr id="25" name="AutoShape 11"/>
          <p:cNvCxnSpPr>
            <a:cxnSpLocks noChangeShapeType="1"/>
            <a:stCxn id="20" idx="0"/>
            <a:endCxn id="21" idx="1"/>
          </p:cNvCxnSpPr>
          <p:nvPr/>
        </p:nvCxnSpPr>
        <p:spPr bwMode="auto">
          <a:xfrm rot="5400000" flipH="1" flipV="1">
            <a:off x="6124723" y="1052357"/>
            <a:ext cx="286346" cy="784920"/>
          </a:xfrm>
          <a:prstGeom prst="bentConnector2">
            <a:avLst/>
          </a:prstGeom>
          <a:noFill/>
          <a:ln w="19050">
            <a:solidFill>
              <a:srgbClr val="B4B4B4"/>
            </a:solidFill>
            <a:miter lim="800000"/>
            <a:headEnd/>
            <a:tailEnd type="triangle" w="med" len="med"/>
          </a:ln>
        </p:spPr>
      </p:cxnSp>
      <p:sp>
        <p:nvSpPr>
          <p:cNvPr id="29"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
        <p:nvSpPr>
          <p:cNvPr id="30" name="Text Placeholder 5"/>
          <p:cNvSpPr txBox="1">
            <a:spLocks/>
          </p:cNvSpPr>
          <p:nvPr>
            <p:custDataLst>
              <p:tags r:id="rId2"/>
            </p:custDataLst>
          </p:nvPr>
        </p:nvSpPr>
        <p:spPr>
          <a:xfrm>
            <a:off x="1438275" y="3447271"/>
            <a:ext cx="1046560" cy="571951"/>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205740" defTabSz="717947">
              <a:spcBef>
                <a:spcPts val="450"/>
              </a:spcBef>
              <a:buClrTx/>
            </a:pPr>
            <a:r>
              <a:rPr lang="en-US" sz="825" dirty="0">
                <a:solidFill>
                  <a:srgbClr val="313131"/>
                </a:solidFill>
                <a:latin typeface="Arial"/>
              </a:rPr>
              <a:t>This is a level two bullet  </a:t>
            </a:r>
          </a:p>
        </p:txBody>
      </p:sp>
      <p:sp>
        <p:nvSpPr>
          <p:cNvPr id="31" name="Text Placeholder 5"/>
          <p:cNvSpPr txBox="1">
            <a:spLocks/>
          </p:cNvSpPr>
          <p:nvPr>
            <p:custDataLst>
              <p:tags r:id="rId3"/>
            </p:custDataLst>
          </p:nvPr>
        </p:nvSpPr>
        <p:spPr>
          <a:xfrm>
            <a:off x="2742307" y="2954636"/>
            <a:ext cx="1046560" cy="571951"/>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205740" defTabSz="717947">
              <a:spcBef>
                <a:spcPts val="450"/>
              </a:spcBef>
              <a:buClrTx/>
            </a:pPr>
            <a:r>
              <a:rPr lang="en-US" sz="825" dirty="0">
                <a:solidFill>
                  <a:srgbClr val="313131"/>
                </a:solidFill>
                <a:latin typeface="Arial"/>
              </a:rPr>
              <a:t>This is a level two bullet  </a:t>
            </a:r>
          </a:p>
        </p:txBody>
      </p:sp>
      <p:sp>
        <p:nvSpPr>
          <p:cNvPr id="32" name="Text Placeholder 5"/>
          <p:cNvSpPr txBox="1">
            <a:spLocks/>
          </p:cNvSpPr>
          <p:nvPr>
            <p:custDataLst>
              <p:tags r:id="rId4"/>
            </p:custDataLst>
          </p:nvPr>
        </p:nvSpPr>
        <p:spPr>
          <a:xfrm>
            <a:off x="4048720" y="2471527"/>
            <a:ext cx="1046560" cy="571951"/>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205740" defTabSz="717947">
              <a:spcBef>
                <a:spcPts val="450"/>
              </a:spcBef>
              <a:buClrTx/>
            </a:pPr>
            <a:r>
              <a:rPr lang="en-US" sz="825" dirty="0">
                <a:solidFill>
                  <a:srgbClr val="313131"/>
                </a:solidFill>
                <a:latin typeface="Arial"/>
              </a:rPr>
              <a:t>This is a level two bullet  </a:t>
            </a:r>
          </a:p>
        </p:txBody>
      </p:sp>
      <p:sp>
        <p:nvSpPr>
          <p:cNvPr id="33" name="Text Placeholder 5"/>
          <p:cNvSpPr txBox="1">
            <a:spLocks/>
          </p:cNvSpPr>
          <p:nvPr>
            <p:custDataLst>
              <p:tags r:id="rId5"/>
            </p:custDataLst>
          </p:nvPr>
        </p:nvSpPr>
        <p:spPr>
          <a:xfrm>
            <a:off x="5353943" y="1988417"/>
            <a:ext cx="1046560" cy="571951"/>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205740" defTabSz="717947">
              <a:spcBef>
                <a:spcPts val="450"/>
              </a:spcBef>
              <a:buClrTx/>
            </a:pPr>
            <a:r>
              <a:rPr lang="en-US" sz="825" dirty="0">
                <a:solidFill>
                  <a:srgbClr val="313131"/>
                </a:solidFill>
                <a:latin typeface="Arial"/>
              </a:rPr>
              <a:t>This is a level two bullet  </a:t>
            </a:r>
          </a:p>
        </p:txBody>
      </p:sp>
      <p:sp>
        <p:nvSpPr>
          <p:cNvPr id="34" name="Text Placeholder 5"/>
          <p:cNvSpPr txBox="1">
            <a:spLocks/>
          </p:cNvSpPr>
          <p:nvPr>
            <p:custDataLst>
              <p:tags r:id="rId6"/>
            </p:custDataLst>
          </p:nvPr>
        </p:nvSpPr>
        <p:spPr>
          <a:xfrm>
            <a:off x="6660357" y="1505308"/>
            <a:ext cx="1046560" cy="571951"/>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205740" defTabSz="717947">
              <a:spcBef>
                <a:spcPts val="450"/>
              </a:spcBef>
              <a:buClrTx/>
            </a:pPr>
            <a:r>
              <a:rPr lang="en-US" sz="825" dirty="0">
                <a:solidFill>
                  <a:srgbClr val="313131"/>
                </a:solidFill>
                <a:latin typeface="Arial"/>
              </a:rPr>
              <a:t>This is a level two bullet  </a:t>
            </a:r>
          </a:p>
        </p:txBody>
      </p:sp>
      <p:sp>
        <p:nvSpPr>
          <p:cNvPr id="38" name="Rectangle 5"/>
          <p:cNvSpPr>
            <a:spLocks noChangeArrowheads="1"/>
          </p:cNvSpPr>
          <p:nvPr/>
        </p:nvSpPr>
        <p:spPr bwMode="auto">
          <a:xfrm>
            <a:off x="1855985" y="4491450"/>
            <a:ext cx="205184" cy="120610"/>
          </a:xfrm>
          <a:prstGeom prst="rect">
            <a:avLst/>
          </a:prstGeom>
          <a:noFill/>
          <a:ln w="12700" algn="ctr">
            <a:noFill/>
            <a:miter lim="800000"/>
            <a:headEnd/>
            <a:tailEnd/>
          </a:ln>
        </p:spPr>
        <p:txBody>
          <a:bodyPr wrap="none" lIns="0" tIns="0" rIns="0" bIns="0">
            <a:spAutoFit/>
          </a:bodyPr>
          <a:lstStyle/>
          <a:p>
            <a:pPr algn="ctr" defTabSz="571500">
              <a:lnSpc>
                <a:spcPct val="95000"/>
              </a:lnSpc>
              <a:buClrTx/>
            </a:pPr>
            <a:r>
              <a:rPr lang="en-US" sz="825" kern="1200" dirty="0">
                <a:solidFill>
                  <a:srgbClr val="313131"/>
                </a:solidFill>
                <a:ea typeface="ＭＳ Ｐゴシック" charset="-128"/>
                <a:cs typeface="+mn-cs"/>
              </a:rPr>
              <a:t>Text</a:t>
            </a:r>
          </a:p>
        </p:txBody>
      </p:sp>
      <p:sp>
        <p:nvSpPr>
          <p:cNvPr id="39" name="AutoShape 6"/>
          <p:cNvSpPr>
            <a:spLocks noChangeArrowheads="1"/>
          </p:cNvSpPr>
          <p:nvPr/>
        </p:nvSpPr>
        <p:spPr bwMode="auto">
          <a:xfrm>
            <a:off x="1823578" y="4221450"/>
            <a:ext cx="270000" cy="202500"/>
          </a:xfrm>
          <a:prstGeom prst="downArrow">
            <a:avLst/>
          </a:prstGeom>
          <a:solidFill>
            <a:srgbClr val="313131"/>
          </a:solidFill>
          <a:ln w="12700" algn="ctr">
            <a:solidFill>
              <a:schemeClr val="bg1"/>
            </a:solidFill>
            <a:miter lim="800000"/>
            <a:headEnd/>
            <a:tailEnd/>
          </a:ln>
        </p:spPr>
        <p:txBody>
          <a:bodyPr rot="10800000" vert="eaVert" wrap="none" lIns="27000" tIns="27000" rIns="27000" bIns="27000" anchor="ctr"/>
          <a:lstStyle/>
          <a:p>
            <a:pPr algn="ctr" defTabSz="685800">
              <a:buClrTx/>
              <a:defRPr/>
            </a:pPr>
            <a:endParaRPr lang="en-US" sz="1350" kern="1200" dirty="0">
              <a:solidFill>
                <a:prstClr val="white"/>
              </a:solidFill>
              <a:ea typeface="+mn-ea"/>
              <a:cs typeface="+mn-cs"/>
            </a:endParaRPr>
          </a:p>
        </p:txBody>
      </p:sp>
      <p:sp>
        <p:nvSpPr>
          <p:cNvPr id="41" name="Rectangle 7"/>
          <p:cNvSpPr>
            <a:spLocks noChangeArrowheads="1"/>
          </p:cNvSpPr>
          <p:nvPr/>
        </p:nvSpPr>
        <p:spPr bwMode="auto">
          <a:xfrm>
            <a:off x="3161209" y="4491450"/>
            <a:ext cx="205184" cy="120610"/>
          </a:xfrm>
          <a:prstGeom prst="rect">
            <a:avLst/>
          </a:prstGeom>
          <a:noFill/>
          <a:ln w="12700" algn="ctr">
            <a:noFill/>
            <a:miter lim="800000"/>
            <a:headEnd/>
            <a:tailEnd/>
          </a:ln>
        </p:spPr>
        <p:txBody>
          <a:bodyPr wrap="none" lIns="0" tIns="0" rIns="0" bIns="0">
            <a:spAutoFit/>
          </a:bodyPr>
          <a:lstStyle/>
          <a:p>
            <a:pPr algn="ctr" defTabSz="571500">
              <a:lnSpc>
                <a:spcPct val="95000"/>
              </a:lnSpc>
              <a:buClrTx/>
            </a:pPr>
            <a:r>
              <a:rPr lang="en-US" sz="825" kern="1200" dirty="0">
                <a:solidFill>
                  <a:srgbClr val="313131"/>
                </a:solidFill>
                <a:ea typeface="ＭＳ Ｐゴシック" charset="-128"/>
                <a:cs typeface="+mn-cs"/>
              </a:rPr>
              <a:t>Text</a:t>
            </a:r>
          </a:p>
        </p:txBody>
      </p:sp>
      <p:sp>
        <p:nvSpPr>
          <p:cNvPr id="43" name="AutoShape 8"/>
          <p:cNvSpPr>
            <a:spLocks noChangeArrowheads="1"/>
          </p:cNvSpPr>
          <p:nvPr/>
        </p:nvSpPr>
        <p:spPr bwMode="auto">
          <a:xfrm>
            <a:off x="3128801" y="4221450"/>
            <a:ext cx="270000" cy="202500"/>
          </a:xfrm>
          <a:prstGeom prst="downArrow">
            <a:avLst/>
          </a:prstGeom>
          <a:solidFill>
            <a:srgbClr val="575757"/>
          </a:solidFill>
          <a:ln w="12700" algn="ctr">
            <a:solidFill>
              <a:schemeClr val="bg1"/>
            </a:solidFill>
            <a:miter lim="800000"/>
            <a:headEnd/>
            <a:tailEnd/>
          </a:ln>
        </p:spPr>
        <p:txBody>
          <a:bodyPr rot="10800000" vert="eaVert" wrap="none" lIns="27000" tIns="27000" rIns="27000" bIns="27000" anchor="ctr"/>
          <a:lstStyle/>
          <a:p>
            <a:pPr algn="ctr" defTabSz="685800">
              <a:buClrTx/>
              <a:defRPr/>
            </a:pPr>
            <a:endParaRPr lang="en-US" sz="1350" kern="1200" dirty="0">
              <a:solidFill>
                <a:prstClr val="white"/>
              </a:solidFill>
              <a:ea typeface="+mn-ea"/>
              <a:cs typeface="+mn-cs"/>
            </a:endParaRPr>
          </a:p>
        </p:txBody>
      </p:sp>
      <p:sp>
        <p:nvSpPr>
          <p:cNvPr id="45" name="Rectangle 9"/>
          <p:cNvSpPr>
            <a:spLocks noChangeArrowheads="1"/>
          </p:cNvSpPr>
          <p:nvPr/>
        </p:nvSpPr>
        <p:spPr bwMode="auto">
          <a:xfrm>
            <a:off x="4467025" y="4491450"/>
            <a:ext cx="205184" cy="120610"/>
          </a:xfrm>
          <a:prstGeom prst="rect">
            <a:avLst/>
          </a:prstGeom>
          <a:noFill/>
          <a:ln w="12700" algn="ctr">
            <a:noFill/>
            <a:miter lim="800000"/>
            <a:headEnd/>
            <a:tailEnd/>
          </a:ln>
        </p:spPr>
        <p:txBody>
          <a:bodyPr wrap="none" lIns="0" tIns="0" rIns="0" bIns="0">
            <a:spAutoFit/>
          </a:bodyPr>
          <a:lstStyle/>
          <a:p>
            <a:pPr algn="ctr" defTabSz="571500">
              <a:lnSpc>
                <a:spcPct val="95000"/>
              </a:lnSpc>
              <a:buClrTx/>
            </a:pPr>
            <a:r>
              <a:rPr lang="en-US" sz="825" kern="1200">
                <a:solidFill>
                  <a:srgbClr val="313131"/>
                </a:solidFill>
                <a:ea typeface="ＭＳ Ｐゴシック" charset="-128"/>
                <a:cs typeface="+mn-cs"/>
              </a:rPr>
              <a:t>Text</a:t>
            </a:r>
          </a:p>
        </p:txBody>
      </p:sp>
      <p:sp>
        <p:nvSpPr>
          <p:cNvPr id="47" name="AutoShape 10"/>
          <p:cNvSpPr>
            <a:spLocks noChangeArrowheads="1"/>
          </p:cNvSpPr>
          <p:nvPr/>
        </p:nvSpPr>
        <p:spPr bwMode="auto">
          <a:xfrm>
            <a:off x="4434618" y="4221450"/>
            <a:ext cx="270000" cy="202500"/>
          </a:xfrm>
          <a:prstGeom prst="downArrow">
            <a:avLst/>
          </a:prstGeom>
          <a:solidFill>
            <a:srgbClr val="8C8C8C"/>
          </a:solidFill>
          <a:ln w="12700" algn="ctr">
            <a:solidFill>
              <a:schemeClr val="bg1"/>
            </a:solidFill>
            <a:miter lim="800000"/>
            <a:headEnd/>
            <a:tailEnd/>
          </a:ln>
        </p:spPr>
        <p:txBody>
          <a:bodyPr rot="10800000" vert="eaVert" wrap="none" lIns="27000" tIns="27000" rIns="27000" bIns="27000" anchor="ctr"/>
          <a:lstStyle/>
          <a:p>
            <a:pPr algn="ctr" defTabSz="685800">
              <a:buClrTx/>
              <a:defRPr/>
            </a:pPr>
            <a:endParaRPr lang="en-US" sz="1350" kern="1200" dirty="0">
              <a:solidFill>
                <a:prstClr val="white"/>
              </a:solidFill>
              <a:ea typeface="+mn-ea"/>
              <a:cs typeface="+mn-cs"/>
            </a:endParaRPr>
          </a:p>
        </p:txBody>
      </p:sp>
      <p:sp>
        <p:nvSpPr>
          <p:cNvPr id="48" name="Rectangle 11"/>
          <p:cNvSpPr>
            <a:spLocks noChangeArrowheads="1"/>
          </p:cNvSpPr>
          <p:nvPr/>
        </p:nvSpPr>
        <p:spPr bwMode="auto">
          <a:xfrm>
            <a:off x="5772844" y="4491450"/>
            <a:ext cx="205184" cy="120610"/>
          </a:xfrm>
          <a:prstGeom prst="rect">
            <a:avLst/>
          </a:prstGeom>
          <a:noFill/>
          <a:ln w="12700" algn="ctr">
            <a:noFill/>
            <a:miter lim="800000"/>
            <a:headEnd/>
            <a:tailEnd/>
          </a:ln>
        </p:spPr>
        <p:txBody>
          <a:bodyPr wrap="none" lIns="0" tIns="0" rIns="0" bIns="0">
            <a:spAutoFit/>
          </a:bodyPr>
          <a:lstStyle/>
          <a:p>
            <a:pPr algn="ctr" defTabSz="571500">
              <a:lnSpc>
                <a:spcPct val="95000"/>
              </a:lnSpc>
              <a:buClrTx/>
            </a:pPr>
            <a:r>
              <a:rPr lang="en-US" sz="825" kern="1200" dirty="0">
                <a:solidFill>
                  <a:srgbClr val="313131"/>
                </a:solidFill>
                <a:ea typeface="ＭＳ Ｐゴシック" charset="-128"/>
                <a:cs typeface="+mn-cs"/>
              </a:rPr>
              <a:t>Text</a:t>
            </a:r>
          </a:p>
        </p:txBody>
      </p:sp>
      <p:sp>
        <p:nvSpPr>
          <p:cNvPr id="49" name="AutoShape 12"/>
          <p:cNvSpPr>
            <a:spLocks noChangeArrowheads="1"/>
          </p:cNvSpPr>
          <p:nvPr/>
        </p:nvSpPr>
        <p:spPr bwMode="auto">
          <a:xfrm>
            <a:off x="5740436" y="4221450"/>
            <a:ext cx="270000" cy="202500"/>
          </a:xfrm>
          <a:prstGeom prst="downArrow">
            <a:avLst/>
          </a:prstGeom>
          <a:solidFill>
            <a:srgbClr val="81BC00"/>
          </a:solidFill>
          <a:ln w="12700" algn="ctr">
            <a:solidFill>
              <a:schemeClr val="bg1"/>
            </a:solidFill>
            <a:miter lim="800000"/>
            <a:headEnd/>
            <a:tailEnd/>
          </a:ln>
        </p:spPr>
        <p:txBody>
          <a:bodyPr rot="10800000" vert="eaVert" wrap="none" lIns="27000" tIns="27000" rIns="27000" bIns="27000" anchor="ctr"/>
          <a:lstStyle/>
          <a:p>
            <a:pPr algn="ctr" defTabSz="685800">
              <a:buClrTx/>
              <a:defRPr/>
            </a:pPr>
            <a:endParaRPr lang="en-US" sz="1350" kern="1200" dirty="0">
              <a:solidFill>
                <a:prstClr val="white"/>
              </a:solidFill>
              <a:ea typeface="+mn-ea"/>
              <a:cs typeface="+mn-cs"/>
            </a:endParaRPr>
          </a:p>
        </p:txBody>
      </p:sp>
      <p:sp>
        <p:nvSpPr>
          <p:cNvPr id="50" name="Rectangle 13"/>
          <p:cNvSpPr>
            <a:spLocks noChangeArrowheads="1"/>
          </p:cNvSpPr>
          <p:nvPr/>
        </p:nvSpPr>
        <p:spPr bwMode="auto">
          <a:xfrm>
            <a:off x="7079854" y="4491450"/>
            <a:ext cx="205184" cy="120610"/>
          </a:xfrm>
          <a:prstGeom prst="rect">
            <a:avLst/>
          </a:prstGeom>
          <a:noFill/>
          <a:ln w="12700" algn="ctr">
            <a:noFill/>
            <a:miter lim="800000"/>
            <a:headEnd/>
            <a:tailEnd/>
          </a:ln>
        </p:spPr>
        <p:txBody>
          <a:bodyPr wrap="none" lIns="0" tIns="0" rIns="0" bIns="0">
            <a:spAutoFit/>
          </a:bodyPr>
          <a:lstStyle/>
          <a:p>
            <a:pPr algn="ctr" defTabSz="571500">
              <a:lnSpc>
                <a:spcPct val="95000"/>
              </a:lnSpc>
              <a:buClrTx/>
            </a:pPr>
            <a:r>
              <a:rPr lang="en-US" sz="825" kern="1200">
                <a:solidFill>
                  <a:srgbClr val="313131"/>
                </a:solidFill>
                <a:ea typeface="ＭＳ Ｐゴシック" charset="-128"/>
                <a:cs typeface="+mn-cs"/>
              </a:rPr>
              <a:t>Text</a:t>
            </a:r>
          </a:p>
        </p:txBody>
      </p:sp>
      <p:sp>
        <p:nvSpPr>
          <p:cNvPr id="51" name="AutoShape 14"/>
          <p:cNvSpPr>
            <a:spLocks noChangeArrowheads="1"/>
          </p:cNvSpPr>
          <p:nvPr/>
        </p:nvSpPr>
        <p:spPr bwMode="auto">
          <a:xfrm>
            <a:off x="7047446" y="4221450"/>
            <a:ext cx="270000" cy="202500"/>
          </a:xfrm>
          <a:prstGeom prst="downArrow">
            <a:avLst/>
          </a:prstGeom>
          <a:solidFill>
            <a:srgbClr val="B4B4B4"/>
          </a:solidFill>
          <a:ln w="12700" algn="ctr">
            <a:solidFill>
              <a:schemeClr val="bg1"/>
            </a:solidFill>
            <a:miter lim="800000"/>
            <a:headEnd/>
            <a:tailEnd/>
          </a:ln>
        </p:spPr>
        <p:txBody>
          <a:bodyPr rot="10800000" vert="eaVert" wrap="none" lIns="27000" tIns="27000" rIns="27000" bIns="27000" anchor="ctr"/>
          <a:lstStyle/>
          <a:p>
            <a:pPr algn="ctr" defTabSz="685800">
              <a:buClrTx/>
              <a:defRPr/>
            </a:pPr>
            <a:endParaRPr lang="en-US" sz="1350" kern="1200" dirty="0">
              <a:solidFill>
                <a:prstClr val="white"/>
              </a:solidFill>
              <a:ea typeface="+mn-ea"/>
              <a:cs typeface="+mn-cs"/>
            </a:endParaRPr>
          </a:p>
        </p:txBody>
      </p:sp>
    </p:spTree>
  </p:cSld>
  <p:clrMapOvr>
    <a:masterClrMapping/>
  </p:clrMapOvr>
  <p:transition>
    <p:fade/>
  </p:transition>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61" name="Title 1"/>
          <p:cNvSpPr>
            <a:spLocks noGrp="1"/>
          </p:cNvSpPr>
          <p:nvPr>
            <p:ph type="title"/>
          </p:nvPr>
        </p:nvSpPr>
        <p:spPr/>
        <p:txBody>
          <a:bodyPr/>
          <a:lstStyle/>
          <a:p>
            <a:r>
              <a:rPr lang="en-US" dirty="0"/>
              <a:t>Diagonal boxes </a:t>
            </a:r>
            <a:br>
              <a:rPr lang="en-US" dirty="0"/>
            </a:br>
            <a:r>
              <a:rPr lang="en-US" dirty="0">
                <a:solidFill>
                  <a:srgbClr val="575757"/>
                </a:solidFill>
              </a:rPr>
              <a:t>Six steps</a:t>
            </a:r>
          </a:p>
        </p:txBody>
      </p:sp>
      <p:sp>
        <p:nvSpPr>
          <p:cNvPr id="76" name="Rectangle 3"/>
          <p:cNvSpPr>
            <a:spLocks noChangeArrowheads="1"/>
          </p:cNvSpPr>
          <p:nvPr/>
        </p:nvSpPr>
        <p:spPr bwMode="auto">
          <a:xfrm>
            <a:off x="1438276" y="3121819"/>
            <a:ext cx="840581" cy="407194"/>
          </a:xfrm>
          <a:prstGeom prst="rect">
            <a:avLst/>
          </a:prstGeom>
          <a:solidFill>
            <a:srgbClr val="DCDCDC"/>
          </a:solidFill>
          <a:ln w="12700" algn="ctr">
            <a:solidFill>
              <a:schemeClr val="bg1"/>
            </a:solidFill>
            <a:miter lim="800000"/>
            <a:headEnd/>
            <a:tailEnd/>
          </a:ln>
        </p:spPr>
        <p:txBody>
          <a:bodyPr lIns="27000" tIns="27000" rIns="27000" bIns="27000" anchor="ctr"/>
          <a:lstStyle/>
          <a:p>
            <a:pPr algn="ctr" defTabSz="648891">
              <a:lnSpc>
                <a:spcPct val="95000"/>
              </a:lnSpc>
              <a:buClrTx/>
              <a:defRPr/>
            </a:pPr>
            <a:r>
              <a:rPr lang="en-US" sz="1050" kern="1200">
                <a:solidFill>
                  <a:srgbClr val="313131"/>
                </a:solidFill>
                <a:ea typeface="ＭＳ Ｐゴシック" pitchFamily="50" charset="-128"/>
                <a:cs typeface="+mn-cs"/>
              </a:rPr>
              <a:t>Text</a:t>
            </a:r>
            <a:endParaRPr lang="en-US" sz="1050" kern="1200" dirty="0">
              <a:solidFill>
                <a:srgbClr val="313131"/>
              </a:solidFill>
              <a:ea typeface="ＭＳ Ｐゴシック" pitchFamily="50" charset="-128"/>
              <a:cs typeface="+mn-cs"/>
            </a:endParaRPr>
          </a:p>
        </p:txBody>
      </p:sp>
      <p:cxnSp>
        <p:nvCxnSpPr>
          <p:cNvPr id="808969" name="AutoShape 4"/>
          <p:cNvCxnSpPr>
            <a:cxnSpLocks noChangeShapeType="1"/>
            <a:stCxn id="76" idx="0"/>
          </p:cNvCxnSpPr>
          <p:nvPr/>
        </p:nvCxnSpPr>
        <p:spPr bwMode="auto">
          <a:xfrm rot="16200000" flipV="1">
            <a:off x="1425179" y="2688432"/>
            <a:ext cx="340518" cy="526256"/>
          </a:xfrm>
          <a:prstGeom prst="bentConnector2">
            <a:avLst/>
          </a:prstGeom>
          <a:noFill/>
          <a:ln w="9525">
            <a:noFill/>
            <a:miter lim="800000"/>
            <a:headEnd/>
            <a:tailEnd type="triangle" w="med" len="med"/>
          </a:ln>
        </p:spPr>
      </p:cxnSp>
      <p:sp>
        <p:nvSpPr>
          <p:cNvPr id="808970" name="Rectangle 5"/>
          <p:cNvSpPr>
            <a:spLocks noChangeArrowheads="1"/>
          </p:cNvSpPr>
          <p:nvPr/>
        </p:nvSpPr>
        <p:spPr bwMode="auto">
          <a:xfrm>
            <a:off x="1755973" y="4529550"/>
            <a:ext cx="205184" cy="120610"/>
          </a:xfrm>
          <a:prstGeom prst="rect">
            <a:avLst/>
          </a:prstGeom>
          <a:noFill/>
          <a:ln w="12700" algn="ctr">
            <a:noFill/>
            <a:miter lim="800000"/>
            <a:headEnd/>
            <a:tailEnd/>
          </a:ln>
        </p:spPr>
        <p:txBody>
          <a:bodyPr wrap="none" lIns="0" tIns="0" rIns="0" bIns="0">
            <a:spAutoFit/>
          </a:bodyPr>
          <a:lstStyle/>
          <a:p>
            <a:pPr algn="ctr" defTabSz="571500">
              <a:lnSpc>
                <a:spcPct val="95000"/>
              </a:lnSpc>
              <a:buClrTx/>
            </a:pPr>
            <a:r>
              <a:rPr lang="en-US" sz="825" kern="1200" dirty="0">
                <a:solidFill>
                  <a:srgbClr val="313131"/>
                </a:solidFill>
                <a:ea typeface="ＭＳ Ｐゴシック" charset="-128"/>
                <a:cs typeface="+mn-cs"/>
              </a:rPr>
              <a:t>Text</a:t>
            </a:r>
          </a:p>
        </p:txBody>
      </p:sp>
      <p:sp>
        <p:nvSpPr>
          <p:cNvPr id="79" name="AutoShape 6"/>
          <p:cNvSpPr>
            <a:spLocks noChangeArrowheads="1"/>
          </p:cNvSpPr>
          <p:nvPr/>
        </p:nvSpPr>
        <p:spPr bwMode="auto">
          <a:xfrm>
            <a:off x="1723565" y="4259550"/>
            <a:ext cx="270000" cy="202500"/>
          </a:xfrm>
          <a:prstGeom prst="downArrow">
            <a:avLst/>
          </a:prstGeom>
          <a:solidFill>
            <a:srgbClr val="B4B4B4"/>
          </a:solidFill>
          <a:ln w="12700" algn="ctr">
            <a:solidFill>
              <a:schemeClr val="bg1"/>
            </a:solidFill>
            <a:miter lim="800000"/>
            <a:headEnd/>
            <a:tailEnd/>
          </a:ln>
        </p:spPr>
        <p:txBody>
          <a:bodyPr rot="10800000" vert="eaVert" wrap="none" lIns="27000" tIns="27000" rIns="27000" bIns="27000" anchor="ctr"/>
          <a:lstStyle/>
          <a:p>
            <a:pPr algn="ctr" defTabSz="685800">
              <a:buClrTx/>
              <a:defRPr/>
            </a:pPr>
            <a:endParaRPr lang="en-US" sz="1350" kern="1200" dirty="0">
              <a:solidFill>
                <a:prstClr val="white"/>
              </a:solidFill>
              <a:ea typeface="+mn-ea"/>
              <a:cs typeface="+mn-cs"/>
            </a:endParaRPr>
          </a:p>
        </p:txBody>
      </p:sp>
      <p:sp>
        <p:nvSpPr>
          <p:cNvPr id="808972" name="Rectangle 7"/>
          <p:cNvSpPr>
            <a:spLocks noChangeArrowheads="1"/>
          </p:cNvSpPr>
          <p:nvPr/>
        </p:nvSpPr>
        <p:spPr bwMode="auto">
          <a:xfrm>
            <a:off x="2840871" y="4529550"/>
            <a:ext cx="205184" cy="120610"/>
          </a:xfrm>
          <a:prstGeom prst="rect">
            <a:avLst/>
          </a:prstGeom>
          <a:noFill/>
          <a:ln w="12700" algn="ctr">
            <a:noFill/>
            <a:miter lim="800000"/>
            <a:headEnd/>
            <a:tailEnd/>
          </a:ln>
        </p:spPr>
        <p:txBody>
          <a:bodyPr wrap="none" lIns="0" tIns="0" rIns="0" bIns="0">
            <a:spAutoFit/>
          </a:bodyPr>
          <a:lstStyle/>
          <a:p>
            <a:pPr algn="ctr" defTabSz="571500">
              <a:lnSpc>
                <a:spcPct val="95000"/>
              </a:lnSpc>
              <a:buClrTx/>
            </a:pPr>
            <a:r>
              <a:rPr lang="en-US" sz="825" kern="1200">
                <a:solidFill>
                  <a:srgbClr val="313131"/>
                </a:solidFill>
                <a:ea typeface="ＭＳ Ｐゴシック" charset="-128"/>
                <a:cs typeface="+mn-cs"/>
              </a:rPr>
              <a:t>Text</a:t>
            </a:r>
          </a:p>
        </p:txBody>
      </p:sp>
      <p:sp>
        <p:nvSpPr>
          <p:cNvPr id="81" name="AutoShape 8"/>
          <p:cNvSpPr>
            <a:spLocks noChangeArrowheads="1"/>
          </p:cNvSpPr>
          <p:nvPr/>
        </p:nvSpPr>
        <p:spPr bwMode="auto">
          <a:xfrm>
            <a:off x="2808463" y="4259550"/>
            <a:ext cx="270000" cy="202500"/>
          </a:xfrm>
          <a:prstGeom prst="downArrow">
            <a:avLst/>
          </a:prstGeom>
          <a:solidFill>
            <a:srgbClr val="81BC00"/>
          </a:solidFill>
          <a:ln w="12700" algn="ctr">
            <a:solidFill>
              <a:schemeClr val="bg1"/>
            </a:solidFill>
            <a:miter lim="800000"/>
            <a:headEnd/>
            <a:tailEnd/>
          </a:ln>
        </p:spPr>
        <p:txBody>
          <a:bodyPr rot="10800000" vert="eaVert" wrap="none" lIns="27000" tIns="27000" rIns="27000" bIns="27000" anchor="ctr"/>
          <a:lstStyle/>
          <a:p>
            <a:pPr algn="ctr" defTabSz="685800">
              <a:buClrTx/>
              <a:defRPr/>
            </a:pPr>
            <a:endParaRPr lang="en-US" sz="1350" kern="1200" dirty="0">
              <a:solidFill>
                <a:prstClr val="white"/>
              </a:solidFill>
              <a:ea typeface="+mn-ea"/>
              <a:cs typeface="+mn-cs"/>
            </a:endParaRPr>
          </a:p>
        </p:txBody>
      </p:sp>
      <p:sp>
        <p:nvSpPr>
          <p:cNvPr id="808974" name="Rectangle 9"/>
          <p:cNvSpPr>
            <a:spLocks noChangeArrowheads="1"/>
          </p:cNvSpPr>
          <p:nvPr/>
        </p:nvSpPr>
        <p:spPr bwMode="auto">
          <a:xfrm>
            <a:off x="3925768" y="4529550"/>
            <a:ext cx="205184" cy="120610"/>
          </a:xfrm>
          <a:prstGeom prst="rect">
            <a:avLst/>
          </a:prstGeom>
          <a:noFill/>
          <a:ln w="12700" algn="ctr">
            <a:noFill/>
            <a:miter lim="800000"/>
            <a:headEnd/>
            <a:tailEnd/>
          </a:ln>
        </p:spPr>
        <p:txBody>
          <a:bodyPr wrap="none" lIns="0" tIns="0" rIns="0" bIns="0">
            <a:spAutoFit/>
          </a:bodyPr>
          <a:lstStyle/>
          <a:p>
            <a:pPr algn="ctr" defTabSz="571500">
              <a:lnSpc>
                <a:spcPct val="95000"/>
              </a:lnSpc>
              <a:buClrTx/>
            </a:pPr>
            <a:r>
              <a:rPr lang="en-US" sz="825" kern="1200">
                <a:solidFill>
                  <a:srgbClr val="313131"/>
                </a:solidFill>
                <a:ea typeface="ＭＳ Ｐゴシック" charset="-128"/>
                <a:cs typeface="+mn-cs"/>
              </a:rPr>
              <a:t>Text</a:t>
            </a:r>
          </a:p>
        </p:txBody>
      </p:sp>
      <p:sp>
        <p:nvSpPr>
          <p:cNvPr id="83" name="AutoShape 10"/>
          <p:cNvSpPr>
            <a:spLocks noChangeArrowheads="1"/>
          </p:cNvSpPr>
          <p:nvPr/>
        </p:nvSpPr>
        <p:spPr bwMode="auto">
          <a:xfrm>
            <a:off x="3893360" y="4259550"/>
            <a:ext cx="270000" cy="202500"/>
          </a:xfrm>
          <a:prstGeom prst="downArrow">
            <a:avLst/>
          </a:prstGeom>
          <a:solidFill>
            <a:srgbClr val="B4B4B4"/>
          </a:solidFill>
          <a:ln w="12700" algn="ctr">
            <a:solidFill>
              <a:schemeClr val="bg1"/>
            </a:solidFill>
            <a:miter lim="800000"/>
            <a:headEnd/>
            <a:tailEnd/>
          </a:ln>
        </p:spPr>
        <p:txBody>
          <a:bodyPr rot="10800000" vert="eaVert" wrap="none" lIns="27000" tIns="27000" rIns="27000" bIns="27000" anchor="ctr"/>
          <a:lstStyle/>
          <a:p>
            <a:pPr algn="ctr" defTabSz="685800">
              <a:buClrTx/>
              <a:defRPr/>
            </a:pPr>
            <a:endParaRPr lang="en-US" sz="1350" kern="1200" dirty="0">
              <a:solidFill>
                <a:prstClr val="white"/>
              </a:solidFill>
              <a:ea typeface="+mn-ea"/>
              <a:cs typeface="+mn-cs"/>
            </a:endParaRPr>
          </a:p>
        </p:txBody>
      </p:sp>
      <p:sp>
        <p:nvSpPr>
          <p:cNvPr id="808976" name="Rectangle 11"/>
          <p:cNvSpPr>
            <a:spLocks noChangeArrowheads="1"/>
          </p:cNvSpPr>
          <p:nvPr/>
        </p:nvSpPr>
        <p:spPr bwMode="auto">
          <a:xfrm>
            <a:off x="5010666" y="4529550"/>
            <a:ext cx="205184" cy="120610"/>
          </a:xfrm>
          <a:prstGeom prst="rect">
            <a:avLst/>
          </a:prstGeom>
          <a:noFill/>
          <a:ln w="12700" algn="ctr">
            <a:noFill/>
            <a:miter lim="800000"/>
            <a:headEnd/>
            <a:tailEnd/>
          </a:ln>
        </p:spPr>
        <p:txBody>
          <a:bodyPr wrap="none" lIns="0" tIns="0" rIns="0" bIns="0">
            <a:spAutoFit/>
          </a:bodyPr>
          <a:lstStyle/>
          <a:p>
            <a:pPr algn="ctr" defTabSz="571500">
              <a:lnSpc>
                <a:spcPct val="95000"/>
              </a:lnSpc>
              <a:buClrTx/>
            </a:pPr>
            <a:r>
              <a:rPr lang="en-US" sz="825" kern="1200" dirty="0">
                <a:solidFill>
                  <a:srgbClr val="313131"/>
                </a:solidFill>
                <a:ea typeface="ＭＳ Ｐゴシック" charset="-128"/>
                <a:cs typeface="+mn-cs"/>
              </a:rPr>
              <a:t>Text</a:t>
            </a:r>
          </a:p>
        </p:txBody>
      </p:sp>
      <p:sp>
        <p:nvSpPr>
          <p:cNvPr id="85" name="AutoShape 12"/>
          <p:cNvSpPr>
            <a:spLocks noChangeArrowheads="1"/>
          </p:cNvSpPr>
          <p:nvPr/>
        </p:nvSpPr>
        <p:spPr bwMode="auto">
          <a:xfrm>
            <a:off x="4978258" y="4259550"/>
            <a:ext cx="270000" cy="202500"/>
          </a:xfrm>
          <a:prstGeom prst="downArrow">
            <a:avLst/>
          </a:prstGeom>
          <a:solidFill>
            <a:srgbClr val="8C8C8C"/>
          </a:solidFill>
          <a:ln w="12700" algn="ctr">
            <a:solidFill>
              <a:schemeClr val="bg1"/>
            </a:solidFill>
            <a:miter lim="800000"/>
            <a:headEnd/>
            <a:tailEnd/>
          </a:ln>
        </p:spPr>
        <p:txBody>
          <a:bodyPr rot="10800000" vert="eaVert" wrap="none" lIns="27000" tIns="27000" rIns="27000" bIns="27000" anchor="ctr"/>
          <a:lstStyle/>
          <a:p>
            <a:pPr algn="ctr" defTabSz="685800">
              <a:buClrTx/>
              <a:defRPr/>
            </a:pPr>
            <a:endParaRPr lang="en-US" sz="1350" kern="1200" dirty="0">
              <a:solidFill>
                <a:prstClr val="white"/>
              </a:solidFill>
              <a:ea typeface="+mn-ea"/>
              <a:cs typeface="+mn-cs"/>
            </a:endParaRPr>
          </a:p>
        </p:txBody>
      </p:sp>
      <p:sp>
        <p:nvSpPr>
          <p:cNvPr id="808978" name="Rectangle 13"/>
          <p:cNvSpPr>
            <a:spLocks noChangeArrowheads="1"/>
          </p:cNvSpPr>
          <p:nvPr/>
        </p:nvSpPr>
        <p:spPr bwMode="auto">
          <a:xfrm>
            <a:off x="6095563" y="4529550"/>
            <a:ext cx="205184" cy="120610"/>
          </a:xfrm>
          <a:prstGeom prst="rect">
            <a:avLst/>
          </a:prstGeom>
          <a:noFill/>
          <a:ln w="12700" algn="ctr">
            <a:noFill/>
            <a:miter lim="800000"/>
            <a:headEnd/>
            <a:tailEnd/>
          </a:ln>
        </p:spPr>
        <p:txBody>
          <a:bodyPr wrap="none" lIns="0" tIns="0" rIns="0" bIns="0">
            <a:spAutoFit/>
          </a:bodyPr>
          <a:lstStyle/>
          <a:p>
            <a:pPr algn="ctr" defTabSz="571500">
              <a:lnSpc>
                <a:spcPct val="95000"/>
              </a:lnSpc>
              <a:buClrTx/>
            </a:pPr>
            <a:r>
              <a:rPr lang="en-US" sz="825" kern="1200">
                <a:solidFill>
                  <a:srgbClr val="313131"/>
                </a:solidFill>
                <a:ea typeface="ＭＳ Ｐゴシック" charset="-128"/>
                <a:cs typeface="+mn-cs"/>
              </a:rPr>
              <a:t>Text</a:t>
            </a:r>
          </a:p>
        </p:txBody>
      </p:sp>
      <p:sp>
        <p:nvSpPr>
          <p:cNvPr id="87" name="AutoShape 14"/>
          <p:cNvSpPr>
            <a:spLocks noChangeArrowheads="1"/>
          </p:cNvSpPr>
          <p:nvPr/>
        </p:nvSpPr>
        <p:spPr bwMode="auto">
          <a:xfrm>
            <a:off x="6063155" y="4259550"/>
            <a:ext cx="270000" cy="202500"/>
          </a:xfrm>
          <a:prstGeom prst="downArrow">
            <a:avLst/>
          </a:prstGeom>
          <a:solidFill>
            <a:srgbClr val="575757"/>
          </a:solidFill>
          <a:ln w="12700" algn="ctr">
            <a:solidFill>
              <a:schemeClr val="bg1"/>
            </a:solidFill>
            <a:miter lim="800000"/>
            <a:headEnd/>
            <a:tailEnd/>
          </a:ln>
        </p:spPr>
        <p:txBody>
          <a:bodyPr rot="10800000" vert="eaVert" wrap="none" lIns="27000" tIns="27000" rIns="27000" bIns="27000" anchor="ctr"/>
          <a:lstStyle/>
          <a:p>
            <a:pPr algn="ctr" defTabSz="685800">
              <a:buClrTx/>
              <a:defRPr/>
            </a:pPr>
            <a:endParaRPr lang="en-US" sz="1350" kern="1200" dirty="0">
              <a:solidFill>
                <a:prstClr val="white"/>
              </a:solidFill>
              <a:ea typeface="+mn-ea"/>
              <a:cs typeface="+mn-cs"/>
            </a:endParaRPr>
          </a:p>
        </p:txBody>
      </p:sp>
      <p:sp>
        <p:nvSpPr>
          <p:cNvPr id="808980" name="Rectangle 15"/>
          <p:cNvSpPr>
            <a:spLocks noChangeArrowheads="1"/>
          </p:cNvSpPr>
          <p:nvPr/>
        </p:nvSpPr>
        <p:spPr bwMode="auto">
          <a:xfrm>
            <a:off x="7181056" y="4529550"/>
            <a:ext cx="205184" cy="120610"/>
          </a:xfrm>
          <a:prstGeom prst="rect">
            <a:avLst/>
          </a:prstGeom>
          <a:noFill/>
          <a:ln w="12700" algn="ctr">
            <a:noFill/>
            <a:miter lim="800000"/>
            <a:headEnd/>
            <a:tailEnd/>
          </a:ln>
        </p:spPr>
        <p:txBody>
          <a:bodyPr wrap="none" lIns="0" tIns="0" rIns="0" bIns="0">
            <a:spAutoFit/>
          </a:bodyPr>
          <a:lstStyle/>
          <a:p>
            <a:pPr algn="ctr" defTabSz="571500">
              <a:lnSpc>
                <a:spcPct val="95000"/>
              </a:lnSpc>
              <a:buClrTx/>
            </a:pPr>
            <a:r>
              <a:rPr lang="en-US" sz="825" kern="1200">
                <a:solidFill>
                  <a:srgbClr val="313131"/>
                </a:solidFill>
                <a:ea typeface="ＭＳ Ｐゴシック" charset="-128"/>
                <a:cs typeface="+mn-cs"/>
              </a:rPr>
              <a:t>Text</a:t>
            </a:r>
          </a:p>
        </p:txBody>
      </p:sp>
      <p:sp>
        <p:nvSpPr>
          <p:cNvPr id="89" name="AutoShape 16"/>
          <p:cNvSpPr>
            <a:spLocks noChangeArrowheads="1"/>
          </p:cNvSpPr>
          <p:nvPr/>
        </p:nvSpPr>
        <p:spPr bwMode="auto">
          <a:xfrm>
            <a:off x="7148648" y="4259550"/>
            <a:ext cx="270000" cy="202500"/>
          </a:xfrm>
          <a:prstGeom prst="downArrow">
            <a:avLst/>
          </a:prstGeom>
          <a:solidFill>
            <a:srgbClr val="313131"/>
          </a:solidFill>
          <a:ln w="12700" algn="ctr">
            <a:solidFill>
              <a:schemeClr val="bg1"/>
            </a:solidFill>
            <a:miter lim="800000"/>
            <a:headEnd/>
            <a:tailEnd/>
          </a:ln>
        </p:spPr>
        <p:txBody>
          <a:bodyPr rot="10800000" vert="eaVert" wrap="none" lIns="27000" tIns="27000" rIns="27000" bIns="27000" anchor="ctr"/>
          <a:lstStyle/>
          <a:p>
            <a:pPr algn="ctr" defTabSz="685800">
              <a:buClrTx/>
              <a:defRPr/>
            </a:pPr>
            <a:endParaRPr lang="en-US" sz="1350" kern="1200" dirty="0">
              <a:solidFill>
                <a:prstClr val="white"/>
              </a:solidFill>
              <a:ea typeface="+mn-ea"/>
              <a:cs typeface="+mn-cs"/>
            </a:endParaRPr>
          </a:p>
        </p:txBody>
      </p:sp>
      <p:sp>
        <p:nvSpPr>
          <p:cNvPr id="90" name="Rectangle 17"/>
          <p:cNvSpPr>
            <a:spLocks noChangeArrowheads="1"/>
          </p:cNvSpPr>
          <p:nvPr/>
        </p:nvSpPr>
        <p:spPr bwMode="auto">
          <a:xfrm>
            <a:off x="2523173" y="2743200"/>
            <a:ext cx="840581" cy="407194"/>
          </a:xfrm>
          <a:prstGeom prst="rect">
            <a:avLst/>
          </a:prstGeom>
          <a:solidFill>
            <a:srgbClr val="81BC00"/>
          </a:solidFill>
          <a:ln w="12700" algn="ctr">
            <a:solidFill>
              <a:schemeClr val="bg1"/>
            </a:solidFill>
            <a:miter lim="800000"/>
            <a:headEnd/>
            <a:tailEnd/>
          </a:ln>
        </p:spPr>
        <p:txBody>
          <a:bodyPr lIns="27000" tIns="27000" rIns="27000" bIns="27000" anchor="ctr"/>
          <a:lstStyle/>
          <a:p>
            <a:pPr algn="ctr" defTabSz="648891">
              <a:lnSpc>
                <a:spcPct val="95000"/>
              </a:lnSpc>
              <a:buClrTx/>
              <a:defRPr/>
            </a:pPr>
            <a:r>
              <a:rPr lang="en-US" sz="1050" kern="1200" dirty="0">
                <a:solidFill>
                  <a:prstClr val="white"/>
                </a:solidFill>
                <a:ea typeface="ＭＳ Ｐゴシック" pitchFamily="50" charset="-128"/>
                <a:cs typeface="+mn-cs"/>
              </a:rPr>
              <a:t>Text</a:t>
            </a:r>
          </a:p>
        </p:txBody>
      </p:sp>
      <p:sp>
        <p:nvSpPr>
          <p:cNvPr id="91" name="Rectangle 18"/>
          <p:cNvSpPr>
            <a:spLocks noChangeArrowheads="1"/>
          </p:cNvSpPr>
          <p:nvPr/>
        </p:nvSpPr>
        <p:spPr bwMode="auto">
          <a:xfrm>
            <a:off x="3608071" y="2364582"/>
            <a:ext cx="840581" cy="407194"/>
          </a:xfrm>
          <a:prstGeom prst="rect">
            <a:avLst/>
          </a:prstGeom>
          <a:solidFill>
            <a:srgbClr val="B4B4B4"/>
          </a:solidFill>
          <a:ln w="12700" algn="ctr">
            <a:solidFill>
              <a:schemeClr val="bg1"/>
            </a:solidFill>
            <a:miter lim="800000"/>
            <a:headEnd/>
            <a:tailEnd/>
          </a:ln>
        </p:spPr>
        <p:txBody>
          <a:bodyPr lIns="27000" tIns="27000" rIns="27000" bIns="27000" anchor="ctr"/>
          <a:lstStyle/>
          <a:p>
            <a:pPr algn="ctr" defTabSz="648891">
              <a:lnSpc>
                <a:spcPct val="95000"/>
              </a:lnSpc>
              <a:buClrTx/>
              <a:defRPr/>
            </a:pPr>
            <a:r>
              <a:rPr lang="en-US" sz="1050" kern="1200" dirty="0">
                <a:solidFill>
                  <a:prstClr val="white"/>
                </a:solidFill>
                <a:ea typeface="ＭＳ Ｐゴシック" pitchFamily="50" charset="-128"/>
                <a:cs typeface="+mn-cs"/>
              </a:rPr>
              <a:t>Text</a:t>
            </a:r>
          </a:p>
        </p:txBody>
      </p:sp>
      <p:sp>
        <p:nvSpPr>
          <p:cNvPr id="92" name="Rectangle 19"/>
          <p:cNvSpPr>
            <a:spLocks noChangeArrowheads="1"/>
          </p:cNvSpPr>
          <p:nvPr/>
        </p:nvSpPr>
        <p:spPr bwMode="auto">
          <a:xfrm>
            <a:off x="4692968" y="1985963"/>
            <a:ext cx="840581" cy="407194"/>
          </a:xfrm>
          <a:prstGeom prst="rect">
            <a:avLst/>
          </a:prstGeom>
          <a:solidFill>
            <a:srgbClr val="8C8C8C"/>
          </a:solidFill>
          <a:ln w="12700" algn="ctr">
            <a:solidFill>
              <a:schemeClr val="bg1"/>
            </a:solidFill>
            <a:miter lim="800000"/>
            <a:headEnd/>
            <a:tailEnd/>
          </a:ln>
        </p:spPr>
        <p:txBody>
          <a:bodyPr lIns="27000" tIns="27000" rIns="27000" bIns="27000" anchor="ctr"/>
          <a:lstStyle/>
          <a:p>
            <a:pPr algn="ctr" defTabSz="648891">
              <a:lnSpc>
                <a:spcPct val="95000"/>
              </a:lnSpc>
              <a:buClrTx/>
              <a:defRPr/>
            </a:pPr>
            <a:r>
              <a:rPr lang="en-US" sz="1050" kern="1200">
                <a:solidFill>
                  <a:prstClr val="white"/>
                </a:solidFill>
                <a:ea typeface="ＭＳ Ｐゴシック" pitchFamily="50" charset="-128"/>
                <a:cs typeface="+mn-cs"/>
              </a:rPr>
              <a:t>Text</a:t>
            </a:r>
            <a:endParaRPr lang="en-US" sz="1050" kern="1200" dirty="0">
              <a:solidFill>
                <a:prstClr val="white"/>
              </a:solidFill>
              <a:ea typeface="ＭＳ Ｐゴシック" pitchFamily="50" charset="-128"/>
              <a:cs typeface="+mn-cs"/>
            </a:endParaRPr>
          </a:p>
        </p:txBody>
      </p:sp>
      <p:sp>
        <p:nvSpPr>
          <p:cNvPr id="93" name="Rectangle 20"/>
          <p:cNvSpPr>
            <a:spLocks noChangeArrowheads="1"/>
          </p:cNvSpPr>
          <p:nvPr/>
        </p:nvSpPr>
        <p:spPr bwMode="auto">
          <a:xfrm>
            <a:off x="5777866" y="1607344"/>
            <a:ext cx="840581" cy="407194"/>
          </a:xfrm>
          <a:prstGeom prst="rect">
            <a:avLst/>
          </a:prstGeom>
          <a:solidFill>
            <a:srgbClr val="575757"/>
          </a:solidFill>
          <a:ln w="12700" algn="ctr">
            <a:solidFill>
              <a:schemeClr val="bg1"/>
            </a:solidFill>
            <a:miter lim="800000"/>
            <a:headEnd/>
            <a:tailEnd/>
          </a:ln>
        </p:spPr>
        <p:txBody>
          <a:bodyPr lIns="27000" tIns="27000" rIns="27000" bIns="27000" anchor="ctr"/>
          <a:lstStyle/>
          <a:p>
            <a:pPr algn="ctr" defTabSz="648891">
              <a:lnSpc>
                <a:spcPct val="95000"/>
              </a:lnSpc>
              <a:buClrTx/>
              <a:defRPr/>
            </a:pPr>
            <a:r>
              <a:rPr lang="en-US" sz="1050" kern="1200">
                <a:solidFill>
                  <a:prstClr val="white"/>
                </a:solidFill>
                <a:ea typeface="ＭＳ Ｐゴシック" pitchFamily="50" charset="-128"/>
                <a:cs typeface="+mn-cs"/>
              </a:rPr>
              <a:t>Text</a:t>
            </a:r>
            <a:endParaRPr lang="en-US" sz="1050" kern="1200" dirty="0">
              <a:solidFill>
                <a:prstClr val="white"/>
              </a:solidFill>
              <a:ea typeface="ＭＳ Ｐゴシック" pitchFamily="50" charset="-128"/>
              <a:cs typeface="+mn-cs"/>
            </a:endParaRPr>
          </a:p>
        </p:txBody>
      </p:sp>
      <p:sp>
        <p:nvSpPr>
          <p:cNvPr id="94" name="Rectangle 21"/>
          <p:cNvSpPr>
            <a:spLocks noChangeArrowheads="1"/>
          </p:cNvSpPr>
          <p:nvPr/>
        </p:nvSpPr>
        <p:spPr bwMode="auto">
          <a:xfrm>
            <a:off x="6862762" y="1228725"/>
            <a:ext cx="841772" cy="407194"/>
          </a:xfrm>
          <a:prstGeom prst="rect">
            <a:avLst/>
          </a:prstGeom>
          <a:solidFill>
            <a:srgbClr val="313131"/>
          </a:solidFill>
          <a:ln w="12700" algn="ctr">
            <a:solidFill>
              <a:schemeClr val="bg1"/>
            </a:solidFill>
            <a:miter lim="800000"/>
            <a:headEnd/>
            <a:tailEnd/>
          </a:ln>
        </p:spPr>
        <p:txBody>
          <a:bodyPr lIns="27000" tIns="27000" rIns="27000" bIns="27000" anchor="ctr"/>
          <a:lstStyle/>
          <a:p>
            <a:pPr algn="ctr" defTabSz="648891">
              <a:lnSpc>
                <a:spcPct val="95000"/>
              </a:lnSpc>
              <a:buClrTx/>
              <a:defRPr/>
            </a:pPr>
            <a:r>
              <a:rPr lang="en-US" sz="1050" kern="1200" dirty="0">
                <a:solidFill>
                  <a:prstClr val="white"/>
                </a:solidFill>
                <a:ea typeface="ＭＳ Ｐゴシック" pitchFamily="50" charset="-128"/>
                <a:cs typeface="+mn-cs"/>
              </a:rPr>
              <a:t>Text</a:t>
            </a:r>
          </a:p>
        </p:txBody>
      </p:sp>
      <p:cxnSp>
        <p:nvCxnSpPr>
          <p:cNvPr id="95" name="AutoShape 22"/>
          <p:cNvCxnSpPr>
            <a:cxnSpLocks noChangeShapeType="1"/>
            <a:stCxn id="76" idx="0"/>
            <a:endCxn id="90" idx="1"/>
          </p:cNvCxnSpPr>
          <p:nvPr/>
        </p:nvCxnSpPr>
        <p:spPr bwMode="auto">
          <a:xfrm rot="5400000" flipH="1" flipV="1">
            <a:off x="2103358" y="2702005"/>
            <a:ext cx="175022" cy="664607"/>
          </a:xfrm>
          <a:prstGeom prst="bentConnector2">
            <a:avLst/>
          </a:prstGeom>
          <a:noFill/>
          <a:ln w="19050">
            <a:solidFill>
              <a:srgbClr val="B4B4B4"/>
            </a:solidFill>
            <a:miter lim="800000"/>
            <a:headEnd/>
            <a:tailEnd type="triangle" w="med" len="med"/>
          </a:ln>
        </p:spPr>
      </p:cxnSp>
      <p:cxnSp>
        <p:nvCxnSpPr>
          <p:cNvPr id="96" name="AutoShape 23"/>
          <p:cNvCxnSpPr>
            <a:cxnSpLocks noChangeShapeType="1"/>
            <a:stCxn id="90" idx="0"/>
            <a:endCxn id="91" idx="1"/>
          </p:cNvCxnSpPr>
          <p:nvPr/>
        </p:nvCxnSpPr>
        <p:spPr bwMode="auto">
          <a:xfrm rot="5400000" flipH="1" flipV="1">
            <a:off x="3188256" y="2323386"/>
            <a:ext cx="175022" cy="664607"/>
          </a:xfrm>
          <a:prstGeom prst="bentConnector2">
            <a:avLst/>
          </a:prstGeom>
          <a:noFill/>
          <a:ln w="19050">
            <a:solidFill>
              <a:srgbClr val="B4B4B4"/>
            </a:solidFill>
            <a:miter lim="800000"/>
            <a:headEnd/>
            <a:tailEnd type="triangle" w="med" len="med"/>
          </a:ln>
        </p:spPr>
      </p:cxnSp>
      <p:cxnSp>
        <p:nvCxnSpPr>
          <p:cNvPr id="97" name="AutoShape 24"/>
          <p:cNvCxnSpPr>
            <a:cxnSpLocks noChangeShapeType="1"/>
            <a:stCxn id="91" idx="0"/>
            <a:endCxn id="92" idx="1"/>
          </p:cNvCxnSpPr>
          <p:nvPr/>
        </p:nvCxnSpPr>
        <p:spPr bwMode="auto">
          <a:xfrm rot="5400000" flipH="1" flipV="1">
            <a:off x="4273153" y="1944767"/>
            <a:ext cx="175022" cy="664607"/>
          </a:xfrm>
          <a:prstGeom prst="bentConnector2">
            <a:avLst/>
          </a:prstGeom>
          <a:noFill/>
          <a:ln w="19050">
            <a:solidFill>
              <a:srgbClr val="B4B4B4"/>
            </a:solidFill>
            <a:miter lim="800000"/>
            <a:headEnd/>
            <a:tailEnd type="triangle" w="med" len="med"/>
          </a:ln>
        </p:spPr>
      </p:cxnSp>
      <p:cxnSp>
        <p:nvCxnSpPr>
          <p:cNvPr id="98" name="AutoShape 25"/>
          <p:cNvCxnSpPr>
            <a:cxnSpLocks noChangeShapeType="1"/>
            <a:stCxn id="92" idx="0"/>
            <a:endCxn id="93" idx="1"/>
          </p:cNvCxnSpPr>
          <p:nvPr/>
        </p:nvCxnSpPr>
        <p:spPr bwMode="auto">
          <a:xfrm rot="5400000" flipH="1" flipV="1">
            <a:off x="5358051" y="1566148"/>
            <a:ext cx="175022" cy="664607"/>
          </a:xfrm>
          <a:prstGeom prst="bentConnector2">
            <a:avLst/>
          </a:prstGeom>
          <a:noFill/>
          <a:ln w="19050">
            <a:solidFill>
              <a:srgbClr val="B4B4B4"/>
            </a:solidFill>
            <a:miter lim="800000"/>
            <a:headEnd/>
            <a:tailEnd type="triangle" w="med" len="med"/>
          </a:ln>
        </p:spPr>
      </p:cxnSp>
      <p:cxnSp>
        <p:nvCxnSpPr>
          <p:cNvPr id="99" name="AutoShape 26"/>
          <p:cNvCxnSpPr>
            <a:cxnSpLocks noChangeShapeType="1"/>
            <a:stCxn id="93" idx="0"/>
            <a:endCxn id="94" idx="1"/>
          </p:cNvCxnSpPr>
          <p:nvPr/>
        </p:nvCxnSpPr>
        <p:spPr bwMode="auto">
          <a:xfrm rot="5400000" flipH="1" flipV="1">
            <a:off x="6442948" y="1187530"/>
            <a:ext cx="175022" cy="664607"/>
          </a:xfrm>
          <a:prstGeom prst="bentConnector2">
            <a:avLst/>
          </a:prstGeom>
          <a:noFill/>
          <a:ln w="19050">
            <a:solidFill>
              <a:srgbClr val="B4B4B4"/>
            </a:solidFill>
            <a:miter lim="800000"/>
            <a:headEnd/>
            <a:tailEnd type="triangle" w="med" len="med"/>
          </a:ln>
        </p:spPr>
      </p:cxnSp>
      <p:sp>
        <p:nvSpPr>
          <p:cNvPr id="35"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
        <p:nvSpPr>
          <p:cNvPr id="36" name="Text Placeholder 5"/>
          <p:cNvSpPr txBox="1">
            <a:spLocks/>
          </p:cNvSpPr>
          <p:nvPr>
            <p:custDataLst>
              <p:tags r:id="rId2"/>
            </p:custDataLst>
          </p:nvPr>
        </p:nvSpPr>
        <p:spPr>
          <a:xfrm>
            <a:off x="1438276" y="3536752"/>
            <a:ext cx="841772" cy="6989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Level one bullet</a:t>
            </a:r>
          </a:p>
          <a:p>
            <a:pPr marL="404622" lvl="2" indent="-205740" defTabSz="717947">
              <a:spcBef>
                <a:spcPts val="450"/>
              </a:spcBef>
              <a:buClrTx/>
            </a:pPr>
            <a:r>
              <a:rPr lang="en-US" sz="825" dirty="0">
                <a:solidFill>
                  <a:srgbClr val="313131"/>
                </a:solidFill>
                <a:latin typeface="Arial"/>
              </a:rPr>
              <a:t>Level two bullet  </a:t>
            </a:r>
          </a:p>
        </p:txBody>
      </p:sp>
      <p:sp>
        <p:nvSpPr>
          <p:cNvPr id="37" name="Text Placeholder 5"/>
          <p:cNvSpPr txBox="1">
            <a:spLocks/>
          </p:cNvSpPr>
          <p:nvPr>
            <p:custDataLst>
              <p:tags r:id="rId3"/>
            </p:custDataLst>
          </p:nvPr>
        </p:nvSpPr>
        <p:spPr>
          <a:xfrm>
            <a:off x="2523172" y="3149212"/>
            <a:ext cx="841772" cy="6989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Level one bullet</a:t>
            </a:r>
          </a:p>
          <a:p>
            <a:pPr marL="404622" lvl="2" indent="-205740" defTabSz="717947">
              <a:spcBef>
                <a:spcPts val="450"/>
              </a:spcBef>
              <a:buClrTx/>
            </a:pPr>
            <a:r>
              <a:rPr lang="en-US" sz="825" dirty="0">
                <a:solidFill>
                  <a:srgbClr val="313131"/>
                </a:solidFill>
                <a:latin typeface="Arial"/>
              </a:rPr>
              <a:t>Level two bullet  </a:t>
            </a:r>
          </a:p>
        </p:txBody>
      </p:sp>
      <p:sp>
        <p:nvSpPr>
          <p:cNvPr id="38" name="Text Placeholder 5"/>
          <p:cNvSpPr txBox="1">
            <a:spLocks/>
          </p:cNvSpPr>
          <p:nvPr>
            <p:custDataLst>
              <p:tags r:id="rId4"/>
            </p:custDataLst>
          </p:nvPr>
        </p:nvSpPr>
        <p:spPr>
          <a:xfrm>
            <a:off x="3608070" y="2771197"/>
            <a:ext cx="841772" cy="6989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Level one bullet</a:t>
            </a:r>
          </a:p>
          <a:p>
            <a:pPr marL="404622" lvl="2" indent="-205740" defTabSz="717947">
              <a:spcBef>
                <a:spcPts val="450"/>
              </a:spcBef>
              <a:buClrTx/>
            </a:pPr>
            <a:r>
              <a:rPr lang="en-US" sz="825" dirty="0">
                <a:solidFill>
                  <a:srgbClr val="313131"/>
                </a:solidFill>
                <a:latin typeface="Arial"/>
              </a:rPr>
              <a:t>Level two bullet  </a:t>
            </a:r>
          </a:p>
        </p:txBody>
      </p:sp>
      <p:sp>
        <p:nvSpPr>
          <p:cNvPr id="39" name="Text Placeholder 5"/>
          <p:cNvSpPr txBox="1">
            <a:spLocks/>
          </p:cNvSpPr>
          <p:nvPr>
            <p:custDataLst>
              <p:tags r:id="rId5"/>
            </p:custDataLst>
          </p:nvPr>
        </p:nvSpPr>
        <p:spPr>
          <a:xfrm>
            <a:off x="4692967" y="2393182"/>
            <a:ext cx="841772" cy="6989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Level one bullet</a:t>
            </a:r>
          </a:p>
          <a:p>
            <a:pPr marL="404622" lvl="2" indent="-205740" defTabSz="717947">
              <a:spcBef>
                <a:spcPts val="450"/>
              </a:spcBef>
              <a:buClrTx/>
            </a:pPr>
            <a:r>
              <a:rPr lang="en-US" sz="825" dirty="0">
                <a:solidFill>
                  <a:srgbClr val="313131"/>
                </a:solidFill>
                <a:latin typeface="Arial"/>
              </a:rPr>
              <a:t>Level two bullet  </a:t>
            </a:r>
          </a:p>
        </p:txBody>
      </p:sp>
      <p:sp>
        <p:nvSpPr>
          <p:cNvPr id="40" name="Text Placeholder 5"/>
          <p:cNvSpPr txBox="1">
            <a:spLocks/>
          </p:cNvSpPr>
          <p:nvPr>
            <p:custDataLst>
              <p:tags r:id="rId6"/>
            </p:custDataLst>
          </p:nvPr>
        </p:nvSpPr>
        <p:spPr>
          <a:xfrm>
            <a:off x="6862763" y="1648462"/>
            <a:ext cx="841772" cy="6989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Level one bullet</a:t>
            </a:r>
          </a:p>
          <a:p>
            <a:pPr marL="404622" lvl="2" indent="-205740" defTabSz="717947">
              <a:spcBef>
                <a:spcPts val="450"/>
              </a:spcBef>
              <a:buClrTx/>
            </a:pPr>
            <a:r>
              <a:rPr lang="en-US" sz="825" dirty="0">
                <a:solidFill>
                  <a:srgbClr val="313131"/>
                </a:solidFill>
                <a:latin typeface="Arial"/>
              </a:rPr>
              <a:t>Level two bullet  </a:t>
            </a:r>
          </a:p>
        </p:txBody>
      </p:sp>
      <p:sp>
        <p:nvSpPr>
          <p:cNvPr id="41" name="Text Placeholder 5"/>
          <p:cNvSpPr txBox="1">
            <a:spLocks/>
          </p:cNvSpPr>
          <p:nvPr>
            <p:custDataLst>
              <p:tags r:id="rId7"/>
            </p:custDataLst>
          </p:nvPr>
        </p:nvSpPr>
        <p:spPr>
          <a:xfrm>
            <a:off x="5777865" y="2026477"/>
            <a:ext cx="841772" cy="69890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Level one bullet</a:t>
            </a:r>
          </a:p>
          <a:p>
            <a:pPr marL="404622" lvl="2" indent="-205740" defTabSz="717947">
              <a:spcBef>
                <a:spcPts val="450"/>
              </a:spcBef>
              <a:buClrTx/>
            </a:pPr>
            <a:r>
              <a:rPr lang="en-US" sz="825" dirty="0">
                <a:solidFill>
                  <a:srgbClr val="313131"/>
                </a:solidFill>
                <a:latin typeface="Arial"/>
              </a:rPr>
              <a:t>Level two bullet  </a:t>
            </a:r>
          </a:p>
        </p:txBody>
      </p:sp>
    </p:spTree>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143000" y="0"/>
          <a:ext cx="119063" cy="119063"/>
        </p:xfrm>
        <a:graphic>
          <a:graphicData uri="http://schemas.openxmlformats.org/presentationml/2006/ole">
            <mc:AlternateContent xmlns:mc="http://schemas.openxmlformats.org/markup-compatibility/2006">
              <mc:Choice xmlns:v="urn:schemas-microsoft-com:vml" Requires="v">
                <p:oleObj name="think-cell Slide" r:id="rId7" imgW="360" imgH="360" progId="">
                  <p:embed/>
                </p:oleObj>
              </mc:Choice>
              <mc:Fallback>
                <p:oleObj name="think-cell Slide" r:id="rId7" imgW="360" imgH="360" progId="">
                  <p:embed/>
                  <p:pic>
                    <p:nvPicPr>
                      <p:cNvPr id="2"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43000" y="0"/>
                        <a:ext cx="119063"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76513" name="Title 1"/>
          <p:cNvSpPr>
            <a:spLocks noGrp="1"/>
          </p:cNvSpPr>
          <p:nvPr>
            <p:ph type="title"/>
            <p:custDataLst>
              <p:tags r:id="rId2"/>
            </p:custDataLst>
          </p:nvPr>
        </p:nvSpPr>
        <p:spPr/>
        <p:txBody>
          <a:bodyPr/>
          <a:lstStyle/>
          <a:p>
            <a:pPr>
              <a:lnSpc>
                <a:spcPct val="100000"/>
              </a:lnSpc>
            </a:pPr>
            <a:r>
              <a:rPr lang="en-US" dirty="0">
                <a:solidFill>
                  <a:srgbClr val="81BC00"/>
                </a:solidFill>
              </a:rPr>
              <a:t>Text boxes </a:t>
            </a:r>
            <a:br>
              <a:rPr lang="en-US" dirty="0">
                <a:solidFill>
                  <a:srgbClr val="81BC00"/>
                </a:solidFill>
              </a:rPr>
            </a:br>
            <a:r>
              <a:rPr lang="en-US" dirty="0">
                <a:solidFill>
                  <a:srgbClr val="575757"/>
                </a:solidFill>
              </a:rPr>
              <a:t>Two text boxes with paragraph, bullet, and dash points</a:t>
            </a:r>
          </a:p>
        </p:txBody>
      </p:sp>
      <p:grpSp>
        <p:nvGrpSpPr>
          <p:cNvPr id="4" name="Group 3"/>
          <p:cNvGrpSpPr/>
          <p:nvPr/>
        </p:nvGrpSpPr>
        <p:grpSpPr>
          <a:xfrm>
            <a:off x="1455340" y="1371601"/>
            <a:ext cx="3088085" cy="3277787"/>
            <a:chOff x="393698" y="1376360"/>
            <a:chExt cx="3997326" cy="4932365"/>
          </a:xfrm>
        </p:grpSpPr>
        <p:sp>
          <p:nvSpPr>
            <p:cNvPr id="14" name="Text Box 10"/>
            <p:cNvSpPr txBox="1">
              <a:spLocks noChangeArrowheads="1"/>
            </p:cNvSpPr>
            <p:nvPr>
              <p:custDataLst>
                <p:tags r:id="rId4"/>
              </p:custDataLst>
            </p:nvPr>
          </p:nvSpPr>
          <p:spPr bwMode="auto">
            <a:xfrm>
              <a:off x="393699" y="1376360"/>
              <a:ext cx="3997325" cy="443561"/>
            </a:xfrm>
            <a:prstGeom prst="rect">
              <a:avLst/>
            </a:prstGeom>
            <a:solidFill>
              <a:srgbClr val="00A1DE"/>
            </a:solidFill>
            <a:ln w="12700" algn="ctr">
              <a:noFill/>
              <a:miter lim="800000"/>
              <a:headEnd/>
              <a:tailEnd type="none" w="sm" len="med"/>
            </a:ln>
          </p:spPr>
          <p:txBody>
            <a:bodyPr lIns="27000" tIns="27000" rIns="27000" bIns="27000" anchor="ctr" anchorCtr="1"/>
            <a:lstStyle/>
            <a:p>
              <a:pPr algn="ctr" defTabSz="717947">
                <a:buClrTx/>
              </a:pPr>
              <a:r>
                <a:rPr lang="en-US" sz="1050" b="1" kern="1200" dirty="0">
                  <a:solidFill>
                    <a:prstClr val="white"/>
                  </a:solidFill>
                  <a:ea typeface="+mn-ea"/>
                  <a:cs typeface="+mn-cs"/>
                </a:rPr>
                <a:t>Text</a:t>
              </a:r>
            </a:p>
          </p:txBody>
        </p:sp>
        <p:sp>
          <p:nvSpPr>
            <p:cNvPr id="22" name="Text Placeholder 5"/>
            <p:cNvSpPr txBox="1">
              <a:spLocks/>
            </p:cNvSpPr>
            <p:nvPr/>
          </p:nvSpPr>
          <p:spPr>
            <a:xfrm>
              <a:off x="393698" y="1819921"/>
              <a:ext cx="3997325" cy="4488804"/>
            </a:xfrm>
            <a:prstGeom prst="rect">
              <a:avLst/>
            </a:prstGeom>
            <a:solidFill>
              <a:srgbClr val="DCDCDC"/>
            </a:solidFill>
            <a:ln w="12700">
              <a:noFill/>
            </a:ln>
          </p:spPr>
          <p:txBody>
            <a:bodyPr wrap="square" lIns="82296" tIns="109728" rIns="82296" bIns="3429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defTabSz="717947">
                <a:spcBef>
                  <a:spcPts val="0"/>
                </a:spcBef>
                <a:spcAft>
                  <a:spcPts val="450"/>
                </a:spcAft>
                <a:buClrTx/>
                <a:buNone/>
              </a:pPr>
              <a:r>
                <a:rPr lang="en-US" sz="825" dirty="0">
                  <a:solidFill>
                    <a:srgbClr val="313131"/>
                  </a:solidFill>
                  <a:latin typeface="Arial"/>
                </a:rPr>
                <a:t>This is dummy text it is not here to be read this is dummy text it is not here to be read</a:t>
              </a:r>
            </a:p>
            <a:p>
              <a:pPr marL="130302" lvl="1" indent="-130302" defTabSz="717947">
                <a:spcBef>
                  <a:spcPts val="0"/>
                </a:spcBef>
                <a:spcAft>
                  <a:spcPts val="450"/>
                </a:spcAft>
                <a:buClrTx/>
              </a:pPr>
              <a:r>
                <a:rPr lang="en-US" sz="825" dirty="0">
                  <a:solidFill>
                    <a:srgbClr val="313131"/>
                  </a:solidFill>
                  <a:latin typeface="Arial"/>
                </a:rPr>
                <a:t>This is dummy text it is not here to be read this is dummy text it is not here to be read</a:t>
              </a:r>
            </a:p>
            <a:p>
              <a:pPr marL="130302" lvl="1" indent="-130302" defTabSz="717947">
                <a:spcBef>
                  <a:spcPts val="0"/>
                </a:spcBef>
                <a:spcAft>
                  <a:spcPts val="450"/>
                </a:spcAft>
                <a:buClrTx/>
              </a:pPr>
              <a:r>
                <a:rPr lang="en-US" sz="825" dirty="0">
                  <a:solidFill>
                    <a:srgbClr val="313131"/>
                  </a:solidFill>
                  <a:latin typeface="Arial"/>
                </a:rPr>
                <a:t>This is dummy text it is not here to be read this is dummy text it is not here to be read</a:t>
              </a:r>
            </a:p>
            <a:p>
              <a:pPr marL="270000" lvl="2" indent="-135000" defTabSz="717947">
                <a:spcBef>
                  <a:spcPts val="0"/>
                </a:spcBef>
                <a:spcAft>
                  <a:spcPts val="450"/>
                </a:spcAft>
                <a:buClrTx/>
              </a:pPr>
              <a:r>
                <a:rPr lang="en-US" sz="825" dirty="0">
                  <a:solidFill>
                    <a:srgbClr val="313131"/>
                  </a:solidFill>
                  <a:latin typeface="Arial"/>
                </a:rPr>
                <a:t>This is dummy text it is not here to be read</a:t>
              </a:r>
            </a:p>
            <a:p>
              <a:pPr marL="270000" lvl="2" indent="-135000" defTabSz="717947">
                <a:spcBef>
                  <a:spcPts val="0"/>
                </a:spcBef>
                <a:spcAft>
                  <a:spcPts val="450"/>
                </a:spcAft>
                <a:buClrTx/>
              </a:pPr>
              <a:r>
                <a:rPr lang="en-US" sz="825" dirty="0">
                  <a:solidFill>
                    <a:srgbClr val="313131"/>
                  </a:solidFill>
                  <a:latin typeface="Arial"/>
                </a:rPr>
                <a:t>This is dummy text it is not here to be read</a:t>
              </a:r>
            </a:p>
            <a:p>
              <a:pPr marL="270000" lvl="2" indent="-135000" defTabSz="717947">
                <a:spcBef>
                  <a:spcPts val="0"/>
                </a:spcBef>
                <a:spcAft>
                  <a:spcPts val="450"/>
                </a:spcAft>
                <a:buClrTx/>
              </a:pPr>
              <a:r>
                <a:rPr lang="en-US" sz="825" dirty="0">
                  <a:solidFill>
                    <a:srgbClr val="313131"/>
                  </a:solidFill>
                  <a:latin typeface="Arial"/>
                </a:rPr>
                <a:t>This is dummy text it is not here to be read</a:t>
              </a:r>
            </a:p>
          </p:txBody>
        </p:sp>
      </p:grpSp>
      <p:grpSp>
        <p:nvGrpSpPr>
          <p:cNvPr id="23" name="Group 22"/>
          <p:cNvGrpSpPr/>
          <p:nvPr/>
        </p:nvGrpSpPr>
        <p:grpSpPr>
          <a:xfrm>
            <a:off x="4723606" y="1371601"/>
            <a:ext cx="3088085" cy="3277787"/>
            <a:chOff x="393698" y="1376360"/>
            <a:chExt cx="3997326" cy="4932365"/>
          </a:xfrm>
        </p:grpSpPr>
        <p:sp>
          <p:nvSpPr>
            <p:cNvPr id="24" name="Text Box 10"/>
            <p:cNvSpPr txBox="1">
              <a:spLocks noChangeArrowheads="1"/>
            </p:cNvSpPr>
            <p:nvPr>
              <p:custDataLst>
                <p:tags r:id="rId3"/>
              </p:custDataLst>
            </p:nvPr>
          </p:nvSpPr>
          <p:spPr bwMode="auto">
            <a:xfrm>
              <a:off x="393699" y="1376360"/>
              <a:ext cx="3997325" cy="443561"/>
            </a:xfrm>
            <a:prstGeom prst="rect">
              <a:avLst/>
            </a:prstGeom>
            <a:solidFill>
              <a:srgbClr val="00A1DE"/>
            </a:solidFill>
            <a:ln w="12700" algn="ctr">
              <a:noFill/>
              <a:miter lim="800000"/>
              <a:headEnd/>
              <a:tailEnd type="none" w="sm" len="med"/>
            </a:ln>
          </p:spPr>
          <p:txBody>
            <a:bodyPr lIns="27000" tIns="27000" rIns="27000" bIns="27000" anchor="ctr" anchorCtr="1"/>
            <a:lstStyle/>
            <a:p>
              <a:pPr algn="ctr" defTabSz="717947">
                <a:buClrTx/>
              </a:pPr>
              <a:r>
                <a:rPr lang="en-US" sz="1050" b="1" kern="1200" dirty="0">
                  <a:solidFill>
                    <a:prstClr val="white"/>
                  </a:solidFill>
                  <a:ea typeface="+mn-ea"/>
                  <a:cs typeface="+mn-cs"/>
                </a:rPr>
                <a:t>Text</a:t>
              </a:r>
            </a:p>
          </p:txBody>
        </p:sp>
        <p:sp>
          <p:nvSpPr>
            <p:cNvPr id="25" name="Text Placeholder 5"/>
            <p:cNvSpPr txBox="1">
              <a:spLocks/>
            </p:cNvSpPr>
            <p:nvPr/>
          </p:nvSpPr>
          <p:spPr>
            <a:xfrm>
              <a:off x="393698" y="1819921"/>
              <a:ext cx="3997325" cy="4488804"/>
            </a:xfrm>
            <a:prstGeom prst="rect">
              <a:avLst/>
            </a:prstGeom>
            <a:solidFill>
              <a:srgbClr val="DCDCDC"/>
            </a:solidFill>
            <a:ln w="12700">
              <a:noFill/>
            </a:ln>
          </p:spPr>
          <p:txBody>
            <a:bodyPr wrap="square" lIns="82296" tIns="109728" rIns="82296" bIns="3429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defTabSz="717947">
                <a:spcBef>
                  <a:spcPts val="0"/>
                </a:spcBef>
                <a:spcAft>
                  <a:spcPts val="450"/>
                </a:spcAft>
                <a:buClrTx/>
                <a:buNone/>
              </a:pPr>
              <a:r>
                <a:rPr lang="en-US" sz="825" dirty="0">
                  <a:solidFill>
                    <a:srgbClr val="313131"/>
                  </a:solidFill>
                  <a:latin typeface="Arial"/>
                </a:rPr>
                <a:t>This is dummy text it is not here to be read this is dummy text it is not here to be read</a:t>
              </a:r>
            </a:p>
            <a:p>
              <a:pPr marL="130302" lvl="1" indent="-130302" defTabSz="717947">
                <a:spcBef>
                  <a:spcPts val="0"/>
                </a:spcBef>
                <a:spcAft>
                  <a:spcPts val="450"/>
                </a:spcAft>
                <a:buClrTx/>
              </a:pPr>
              <a:r>
                <a:rPr lang="en-US" sz="825" dirty="0">
                  <a:solidFill>
                    <a:srgbClr val="313131"/>
                  </a:solidFill>
                  <a:latin typeface="Arial"/>
                </a:rPr>
                <a:t>This is dummy text it is not here to be read this is dummy text it is not here to be read</a:t>
              </a:r>
            </a:p>
            <a:p>
              <a:pPr marL="130302" lvl="1" indent="-130302" defTabSz="717947">
                <a:spcBef>
                  <a:spcPts val="0"/>
                </a:spcBef>
                <a:spcAft>
                  <a:spcPts val="450"/>
                </a:spcAft>
                <a:buClrTx/>
              </a:pPr>
              <a:r>
                <a:rPr lang="en-US" sz="825" dirty="0">
                  <a:solidFill>
                    <a:srgbClr val="313131"/>
                  </a:solidFill>
                  <a:latin typeface="Arial"/>
                </a:rPr>
                <a:t>This is dummy text it is not here to be read this is dummy text it is not here to be read</a:t>
              </a:r>
            </a:p>
            <a:p>
              <a:pPr marL="270000" lvl="2" indent="-135000" defTabSz="717947">
                <a:spcBef>
                  <a:spcPts val="0"/>
                </a:spcBef>
                <a:spcAft>
                  <a:spcPts val="450"/>
                </a:spcAft>
                <a:buClrTx/>
              </a:pPr>
              <a:r>
                <a:rPr lang="en-US" sz="825" dirty="0">
                  <a:solidFill>
                    <a:srgbClr val="313131"/>
                  </a:solidFill>
                  <a:latin typeface="Arial"/>
                </a:rPr>
                <a:t>This is dummy text it is not here to be read</a:t>
              </a:r>
            </a:p>
            <a:p>
              <a:pPr marL="270000" lvl="2" indent="-135000" defTabSz="717947">
                <a:spcBef>
                  <a:spcPts val="0"/>
                </a:spcBef>
                <a:spcAft>
                  <a:spcPts val="450"/>
                </a:spcAft>
                <a:buClrTx/>
              </a:pPr>
              <a:r>
                <a:rPr lang="en-US" sz="825" dirty="0">
                  <a:solidFill>
                    <a:srgbClr val="313131"/>
                  </a:solidFill>
                  <a:latin typeface="Arial"/>
                </a:rPr>
                <a:t>This is dummy text it is not here to be read</a:t>
              </a:r>
            </a:p>
            <a:p>
              <a:pPr marL="270000" lvl="2" indent="-135000" defTabSz="717947">
                <a:spcBef>
                  <a:spcPts val="0"/>
                </a:spcBef>
                <a:spcAft>
                  <a:spcPts val="450"/>
                </a:spcAft>
                <a:buClrTx/>
              </a:pPr>
              <a:r>
                <a:rPr lang="en-US" sz="825" dirty="0">
                  <a:solidFill>
                    <a:srgbClr val="313131"/>
                  </a:solidFill>
                  <a:latin typeface="Arial"/>
                </a:rPr>
                <a:t>This is dummy text it is not here to be read</a:t>
              </a:r>
            </a:p>
          </p:txBody>
        </p:sp>
      </p:grpSp>
    </p:spTree>
  </p:cSld>
  <p:clrMapOvr>
    <a:masterClrMapping/>
  </p:clrMapOvr>
  <p:transition>
    <p:fade/>
  </p:transition>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143000" y="0"/>
          <a:ext cx="119063" cy="119063"/>
        </p:xfrm>
        <a:graphic>
          <a:graphicData uri="http://schemas.openxmlformats.org/presentationml/2006/ole">
            <mc:AlternateContent xmlns:mc="http://schemas.openxmlformats.org/markup-compatibility/2006">
              <mc:Choice xmlns:v="urn:schemas-microsoft-com:vml" Requires="v">
                <p:oleObj name="think-cell Slide" r:id="rId10" imgW="360" imgH="360" progId="">
                  <p:embed/>
                </p:oleObj>
              </mc:Choice>
              <mc:Fallback>
                <p:oleObj name="think-cell Slide" r:id="rId10" imgW="360" imgH="360" progId="">
                  <p:embed/>
                  <p:pic>
                    <p:nvPicPr>
                      <p:cNvPr id="2" name="Object 1"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43000" y="0"/>
                        <a:ext cx="119063"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Text Placeholder 5"/>
          <p:cNvSpPr txBox="1">
            <a:spLocks/>
          </p:cNvSpPr>
          <p:nvPr>
            <p:custDataLst>
              <p:tags r:id="rId2"/>
            </p:custDataLst>
          </p:nvPr>
        </p:nvSpPr>
        <p:spPr>
          <a:xfrm>
            <a:off x="5298876" y="1315641"/>
            <a:ext cx="1616274" cy="3132536"/>
          </a:xfrm>
          <a:custGeom>
            <a:avLst/>
            <a:gdLst>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692776 w 2262188"/>
              <a:gd name="connsiteY7" fmla="*/ 2097881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71332 w 2262188"/>
              <a:gd name="connsiteY7" fmla="*/ 2095499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85619 w 2262188"/>
              <a:gd name="connsiteY7" fmla="*/ 2114636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71331 w 2262188"/>
              <a:gd name="connsiteY7" fmla="*/ 2105068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83237 w 2262188"/>
              <a:gd name="connsiteY7" fmla="*/ 2105068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71331 w 2262188"/>
              <a:gd name="connsiteY7" fmla="*/ 2105068 h 4195762"/>
              <a:gd name="connsiteX8" fmla="*/ 0 w 2262188"/>
              <a:gd name="connsiteY8" fmla="*/ 635154 h 4195762"/>
              <a:gd name="connsiteX0" fmla="*/ 0 w 2155032"/>
              <a:gd name="connsiteY0" fmla="*/ 635154 h 4195762"/>
              <a:gd name="connsiteX1" fmla="*/ 1268590 w 2155032"/>
              <a:gd name="connsiteY1" fmla="*/ 635154 h 4195762"/>
              <a:gd name="connsiteX2" fmla="*/ 1268590 w 2155032"/>
              <a:gd name="connsiteY2" fmla="*/ 0 h 4195762"/>
              <a:gd name="connsiteX3" fmla="*/ 2155032 w 2155032"/>
              <a:gd name="connsiteY3" fmla="*/ 2105058 h 4195762"/>
              <a:gd name="connsiteX4" fmla="*/ 1268590 w 2155032"/>
              <a:gd name="connsiteY4" fmla="*/ 4195762 h 4195762"/>
              <a:gd name="connsiteX5" fmla="*/ 1268590 w 2155032"/>
              <a:gd name="connsiteY5" fmla="*/ 3560608 h 4195762"/>
              <a:gd name="connsiteX6" fmla="*/ 0 w 2155032"/>
              <a:gd name="connsiteY6" fmla="*/ 3560608 h 4195762"/>
              <a:gd name="connsiteX7" fmla="*/ 571331 w 2155032"/>
              <a:gd name="connsiteY7" fmla="*/ 2105068 h 4195762"/>
              <a:gd name="connsiteX8" fmla="*/ 0 w 2155032"/>
              <a:gd name="connsiteY8" fmla="*/ 635154 h 419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5032" h="4195762">
                <a:moveTo>
                  <a:pt x="0" y="635154"/>
                </a:moveTo>
                <a:lnTo>
                  <a:pt x="1268590" y="635154"/>
                </a:lnTo>
                <a:lnTo>
                  <a:pt x="1268590" y="0"/>
                </a:lnTo>
                <a:lnTo>
                  <a:pt x="2155032" y="2105058"/>
                </a:lnTo>
                <a:lnTo>
                  <a:pt x="1268590" y="4195762"/>
                </a:lnTo>
                <a:lnTo>
                  <a:pt x="1268590" y="3560608"/>
                </a:lnTo>
                <a:lnTo>
                  <a:pt x="0" y="3560608"/>
                </a:lnTo>
                <a:lnTo>
                  <a:pt x="571331" y="2105068"/>
                </a:lnTo>
                <a:lnTo>
                  <a:pt x="0" y="635154"/>
                </a:lnTo>
                <a:close/>
              </a:path>
            </a:pathLst>
          </a:custGeom>
          <a:solidFill>
            <a:srgbClr val="00A1DE"/>
          </a:solidFill>
          <a:ln w="12700">
            <a:solidFill>
              <a:schemeClr val="bg1"/>
            </a:solidFill>
          </a:ln>
        </p:spPr>
        <p:txBody>
          <a:bodyPr wrap="square" lIns="411480" tIns="27000" rIns="27000" bIns="27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prstClr val="white"/>
                </a:solidFill>
                <a:latin typeface="Arial"/>
              </a:rPr>
              <a:t>Level one bullet</a:t>
            </a:r>
          </a:p>
          <a:p>
            <a:pPr marL="404622" lvl="2" indent="-205740" defTabSz="717947">
              <a:spcBef>
                <a:spcPts val="450"/>
              </a:spcBef>
              <a:buClrTx/>
            </a:pPr>
            <a:r>
              <a:rPr lang="en-US" sz="825" dirty="0">
                <a:solidFill>
                  <a:prstClr val="white"/>
                </a:solidFill>
                <a:latin typeface="Arial"/>
              </a:rPr>
              <a:t>Level two bullet</a:t>
            </a:r>
          </a:p>
          <a:p>
            <a:pPr marL="603504" lvl="3" indent="-205740" defTabSz="717947">
              <a:spcBef>
                <a:spcPts val="450"/>
              </a:spcBef>
              <a:buClrTx/>
            </a:pPr>
            <a:r>
              <a:rPr lang="en-US" sz="825" dirty="0">
                <a:solidFill>
                  <a:prstClr val="white"/>
                </a:solidFill>
                <a:latin typeface="Arial"/>
              </a:rPr>
              <a:t>Level three bullet</a:t>
            </a:r>
          </a:p>
        </p:txBody>
      </p:sp>
      <p:sp>
        <p:nvSpPr>
          <p:cNvPr id="9" name="Text Placeholder 5"/>
          <p:cNvSpPr txBox="1">
            <a:spLocks/>
          </p:cNvSpPr>
          <p:nvPr>
            <p:custDataLst>
              <p:tags r:id="rId3"/>
            </p:custDataLst>
          </p:nvPr>
        </p:nvSpPr>
        <p:spPr>
          <a:xfrm>
            <a:off x="2250282" y="1793081"/>
            <a:ext cx="1703785" cy="2170511"/>
          </a:xfrm>
          <a:prstGeom prst="homePlate">
            <a:avLst>
              <a:gd name="adj" fmla="val 26427"/>
            </a:avLst>
          </a:prstGeom>
          <a:solidFill>
            <a:srgbClr val="00A1DE"/>
          </a:solidFill>
          <a:ln w="12700">
            <a:solidFill>
              <a:schemeClr val="bg1"/>
            </a:solidFill>
          </a:ln>
        </p:spPr>
        <p:txBody>
          <a:bodyPr wrap="square" lIns="68580" tIns="27000" rIns="27000" bIns="27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prstClr val="white"/>
                </a:solidFill>
                <a:latin typeface="Arial"/>
              </a:rPr>
              <a:t>Level one bullet</a:t>
            </a:r>
          </a:p>
          <a:p>
            <a:pPr marL="404622" lvl="2" indent="-205740" defTabSz="717947">
              <a:spcBef>
                <a:spcPts val="450"/>
              </a:spcBef>
              <a:buClrTx/>
            </a:pPr>
            <a:r>
              <a:rPr lang="en-US" sz="825" dirty="0">
                <a:solidFill>
                  <a:prstClr val="white"/>
                </a:solidFill>
                <a:latin typeface="Arial"/>
              </a:rPr>
              <a:t>Level two bullet</a:t>
            </a:r>
          </a:p>
          <a:p>
            <a:pPr marL="603504" lvl="3" indent="-205740" defTabSz="717947">
              <a:spcBef>
                <a:spcPts val="450"/>
              </a:spcBef>
              <a:buClrTx/>
            </a:pPr>
            <a:r>
              <a:rPr lang="en-US" sz="825" dirty="0">
                <a:solidFill>
                  <a:prstClr val="white"/>
                </a:solidFill>
                <a:latin typeface="Arial"/>
              </a:rPr>
              <a:t>Level three bullet</a:t>
            </a:r>
          </a:p>
        </p:txBody>
      </p:sp>
      <p:sp>
        <p:nvSpPr>
          <p:cNvPr id="809985" name="Title 1"/>
          <p:cNvSpPr>
            <a:spLocks noGrp="1"/>
          </p:cNvSpPr>
          <p:nvPr>
            <p:ph type="title"/>
            <p:custDataLst>
              <p:tags r:id="rId4"/>
            </p:custDataLst>
          </p:nvPr>
        </p:nvSpPr>
        <p:spPr/>
        <p:txBody>
          <a:bodyPr/>
          <a:lstStyle/>
          <a:p>
            <a:r>
              <a:rPr lang="en-US"/>
              <a:t>Linear text</a:t>
            </a:r>
            <a:endParaRPr lang="en-US" dirty="0"/>
          </a:p>
        </p:txBody>
      </p:sp>
      <p:sp>
        <p:nvSpPr>
          <p:cNvPr id="5" name="Freeform 3"/>
          <p:cNvSpPr>
            <a:spLocks/>
          </p:cNvSpPr>
          <p:nvPr>
            <p:custDataLst>
              <p:tags r:id="rId5"/>
            </p:custDataLst>
          </p:nvPr>
        </p:nvSpPr>
        <p:spPr bwMode="blackWhite">
          <a:xfrm>
            <a:off x="3611166" y="1793081"/>
            <a:ext cx="1987153" cy="1052513"/>
          </a:xfrm>
          <a:custGeom>
            <a:avLst/>
            <a:gdLst>
              <a:gd name="T0" fmla="*/ 2147483647 w 1636"/>
              <a:gd name="T1" fmla="*/ 0 h 867"/>
              <a:gd name="T2" fmla="*/ 2147483647 w 1636"/>
              <a:gd name="T3" fmla="*/ 2147483647 h 867"/>
              <a:gd name="T4" fmla="*/ 2147483647 w 1636"/>
              <a:gd name="T5" fmla="*/ 2147483647 h 867"/>
              <a:gd name="T6" fmla="*/ 0 w 1636"/>
              <a:gd name="T7" fmla="*/ 0 h 867"/>
              <a:gd name="T8" fmla="*/ 2147483647 w 1636"/>
              <a:gd name="T9" fmla="*/ 0 h 867"/>
              <a:gd name="T10" fmla="*/ 0 60000 65536"/>
              <a:gd name="T11" fmla="*/ 0 60000 65536"/>
              <a:gd name="T12" fmla="*/ 0 60000 65536"/>
              <a:gd name="T13" fmla="*/ 0 60000 65536"/>
              <a:gd name="T14" fmla="*/ 0 60000 65536"/>
              <a:gd name="T15" fmla="*/ 0 w 1636"/>
              <a:gd name="T16" fmla="*/ 0 h 867"/>
              <a:gd name="T17" fmla="*/ 1636 w 1636"/>
              <a:gd name="T18" fmla="*/ 867 h 867"/>
            </a:gdLst>
            <a:ahLst/>
            <a:cxnLst>
              <a:cxn ang="T10">
                <a:pos x="T0" y="T1"/>
              </a:cxn>
              <a:cxn ang="T11">
                <a:pos x="T2" y="T3"/>
              </a:cxn>
              <a:cxn ang="T12">
                <a:pos x="T4" y="T5"/>
              </a:cxn>
              <a:cxn ang="T13">
                <a:pos x="T6" y="T7"/>
              </a:cxn>
              <a:cxn ang="T14">
                <a:pos x="T8" y="T9"/>
              </a:cxn>
            </a:cxnLst>
            <a:rect l="T15" t="T16" r="T17" b="T18"/>
            <a:pathLst>
              <a:path w="1636" h="867">
                <a:moveTo>
                  <a:pt x="1298" y="0"/>
                </a:moveTo>
                <a:lnTo>
                  <a:pt x="1635" y="866"/>
                </a:lnTo>
                <a:lnTo>
                  <a:pt x="368" y="866"/>
                </a:lnTo>
                <a:lnTo>
                  <a:pt x="0" y="0"/>
                </a:lnTo>
                <a:lnTo>
                  <a:pt x="1298" y="0"/>
                </a:lnTo>
              </a:path>
            </a:pathLst>
          </a:custGeom>
          <a:solidFill>
            <a:srgbClr val="B4B4B4"/>
          </a:solidFill>
          <a:ln w="12700" cap="rnd">
            <a:solidFill>
              <a:schemeClr val="bg1"/>
            </a:solidFill>
            <a:round/>
            <a:headEnd/>
            <a:tailEnd/>
          </a:ln>
        </p:spPr>
        <p:txBody>
          <a:bodyPr lIns="274320" tIns="137160" rIns="27000" bIns="27000"/>
          <a:lstStyle/>
          <a:p>
            <a:pPr marL="205740" lvl="1" indent="-205740" defTabSz="685800">
              <a:spcBef>
                <a:spcPts val="450"/>
              </a:spcBef>
              <a:buClrTx/>
              <a:buFont typeface="Arial" panose="020B0604020202020204" pitchFamily="34" charset="0"/>
              <a:buChar char="•"/>
            </a:pPr>
            <a:r>
              <a:rPr lang="en-US" sz="825" kern="1200" dirty="0">
                <a:solidFill>
                  <a:srgbClr val="313131"/>
                </a:solidFill>
                <a:ea typeface="+mn-ea"/>
                <a:cs typeface="+mn-cs"/>
              </a:rPr>
              <a:t>Level one bullet</a:t>
            </a:r>
          </a:p>
          <a:p>
            <a:pPr marL="404622" lvl="1" indent="-205740" defTabSz="685800">
              <a:spcBef>
                <a:spcPts val="450"/>
              </a:spcBef>
              <a:buClrTx/>
              <a:buFont typeface="Symbol" panose="05050102010706020507" pitchFamily="18" charset="2"/>
              <a:buChar char="-"/>
            </a:pPr>
            <a:r>
              <a:rPr lang="en-US" sz="825" kern="1200" dirty="0">
                <a:solidFill>
                  <a:srgbClr val="313131"/>
                </a:solidFill>
                <a:ea typeface="+mn-ea"/>
                <a:cs typeface="+mn-cs"/>
              </a:rPr>
              <a:t>Level two bullet</a:t>
            </a:r>
          </a:p>
          <a:p>
            <a:pPr marL="603504" lvl="1" indent="-205740" defTabSz="685800">
              <a:spcBef>
                <a:spcPts val="450"/>
              </a:spcBef>
              <a:buClrTx/>
              <a:buFont typeface="Arial" panose="020B0604020202020204" pitchFamily="34" charset="0"/>
              <a:buChar char="•"/>
            </a:pPr>
            <a:r>
              <a:rPr lang="en-US" sz="825" kern="1200" dirty="0">
                <a:solidFill>
                  <a:srgbClr val="313131"/>
                </a:solidFill>
                <a:ea typeface="+mn-ea"/>
                <a:cs typeface="+mn-cs"/>
              </a:rPr>
              <a:t>Level three bullet</a:t>
            </a:r>
          </a:p>
          <a:p>
            <a:pPr lvl="1" defTabSz="685800">
              <a:spcBef>
                <a:spcPts val="450"/>
              </a:spcBef>
              <a:buClrTx/>
            </a:pPr>
            <a:endParaRPr lang="en-US" sz="825" kern="1200" dirty="0">
              <a:solidFill>
                <a:srgbClr val="313131"/>
              </a:solidFill>
              <a:ea typeface="+mn-ea"/>
              <a:cs typeface="+mn-cs"/>
            </a:endParaRPr>
          </a:p>
        </p:txBody>
      </p:sp>
      <p:sp>
        <p:nvSpPr>
          <p:cNvPr id="13" name="Text Placeholder 12"/>
          <p:cNvSpPr>
            <a:spLocks/>
          </p:cNvSpPr>
          <p:nvPr>
            <p:custDataLst>
              <p:tags r:id="rId6"/>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
        <p:nvSpPr>
          <p:cNvPr id="18" name="Text Placeholder 5"/>
          <p:cNvSpPr txBox="1">
            <a:spLocks/>
          </p:cNvSpPr>
          <p:nvPr>
            <p:custDataLst>
              <p:tags r:id="rId7"/>
            </p:custDataLst>
          </p:nvPr>
        </p:nvSpPr>
        <p:spPr>
          <a:xfrm>
            <a:off x="3611165" y="2911078"/>
            <a:ext cx="1987152" cy="1052513"/>
          </a:xfrm>
          <a:custGeom>
            <a:avLst/>
            <a:gdLst>
              <a:gd name="connsiteX0" fmla="*/ 0 w 2649536"/>
              <a:gd name="connsiteY0" fmla="*/ 0 h 1403350"/>
              <a:gd name="connsiteX1" fmla="*/ 2649536 w 2649536"/>
              <a:gd name="connsiteY1" fmla="*/ 0 h 1403350"/>
              <a:gd name="connsiteX2" fmla="*/ 2649536 w 2649536"/>
              <a:gd name="connsiteY2" fmla="*/ 1403350 h 1403350"/>
              <a:gd name="connsiteX3" fmla="*/ 0 w 2649536"/>
              <a:gd name="connsiteY3" fmla="*/ 1403350 h 1403350"/>
              <a:gd name="connsiteX4" fmla="*/ 0 w 2649536"/>
              <a:gd name="connsiteY4" fmla="*/ 0 h 1403350"/>
              <a:gd name="connsiteX0" fmla="*/ 0 w 2649536"/>
              <a:gd name="connsiteY0" fmla="*/ 0 h 1403350"/>
              <a:gd name="connsiteX1" fmla="*/ 2649536 w 2649536"/>
              <a:gd name="connsiteY1" fmla="*/ 0 h 1403350"/>
              <a:gd name="connsiteX2" fmla="*/ 2294730 w 2649536"/>
              <a:gd name="connsiteY2" fmla="*/ 1400969 h 1403350"/>
              <a:gd name="connsiteX3" fmla="*/ 0 w 2649536"/>
              <a:gd name="connsiteY3" fmla="*/ 1403350 h 1403350"/>
              <a:gd name="connsiteX4" fmla="*/ 0 w 2649536"/>
              <a:gd name="connsiteY4" fmla="*/ 0 h 1403350"/>
              <a:gd name="connsiteX0" fmla="*/ 0 w 2649536"/>
              <a:gd name="connsiteY0" fmla="*/ 0 h 1403350"/>
              <a:gd name="connsiteX1" fmla="*/ 2649536 w 2649536"/>
              <a:gd name="connsiteY1" fmla="*/ 0 h 1403350"/>
              <a:gd name="connsiteX2" fmla="*/ 2032793 w 2649536"/>
              <a:gd name="connsiteY2" fmla="*/ 1389063 h 1403350"/>
              <a:gd name="connsiteX3" fmla="*/ 0 w 2649536"/>
              <a:gd name="connsiteY3" fmla="*/ 1403350 h 1403350"/>
              <a:gd name="connsiteX4" fmla="*/ 0 w 2649536"/>
              <a:gd name="connsiteY4" fmla="*/ 0 h 1403350"/>
              <a:gd name="connsiteX0" fmla="*/ 0 w 2649536"/>
              <a:gd name="connsiteY0" fmla="*/ 0 h 1403351"/>
              <a:gd name="connsiteX1" fmla="*/ 2649536 w 2649536"/>
              <a:gd name="connsiteY1" fmla="*/ 0 h 1403351"/>
              <a:gd name="connsiteX2" fmla="*/ 2101849 w 2649536"/>
              <a:gd name="connsiteY2" fmla="*/ 1403351 h 1403351"/>
              <a:gd name="connsiteX3" fmla="*/ 0 w 2649536"/>
              <a:gd name="connsiteY3" fmla="*/ 1403350 h 1403351"/>
              <a:gd name="connsiteX4" fmla="*/ 0 w 2649536"/>
              <a:gd name="connsiteY4" fmla="*/ 0 h 1403351"/>
              <a:gd name="connsiteX0" fmla="*/ 771525 w 2649536"/>
              <a:gd name="connsiteY0" fmla="*/ 0 h 1403351"/>
              <a:gd name="connsiteX1" fmla="*/ 2649536 w 2649536"/>
              <a:gd name="connsiteY1" fmla="*/ 0 h 1403351"/>
              <a:gd name="connsiteX2" fmla="*/ 2101849 w 2649536"/>
              <a:gd name="connsiteY2" fmla="*/ 1403351 h 1403351"/>
              <a:gd name="connsiteX3" fmla="*/ 0 w 2649536"/>
              <a:gd name="connsiteY3" fmla="*/ 1403350 h 1403351"/>
              <a:gd name="connsiteX4" fmla="*/ 771525 w 2649536"/>
              <a:gd name="connsiteY4" fmla="*/ 0 h 1403351"/>
              <a:gd name="connsiteX0" fmla="*/ 595313 w 2649536"/>
              <a:gd name="connsiteY0" fmla="*/ 2381 h 1403351"/>
              <a:gd name="connsiteX1" fmla="*/ 2649536 w 2649536"/>
              <a:gd name="connsiteY1" fmla="*/ 0 h 1403351"/>
              <a:gd name="connsiteX2" fmla="*/ 2101849 w 2649536"/>
              <a:gd name="connsiteY2" fmla="*/ 1403351 h 1403351"/>
              <a:gd name="connsiteX3" fmla="*/ 0 w 2649536"/>
              <a:gd name="connsiteY3" fmla="*/ 1403350 h 1403351"/>
              <a:gd name="connsiteX4" fmla="*/ 595313 w 2649536"/>
              <a:gd name="connsiteY4" fmla="*/ 2381 h 1403351"/>
              <a:gd name="connsiteX0" fmla="*/ 595313 w 2649536"/>
              <a:gd name="connsiteY0" fmla="*/ 2381 h 1403351"/>
              <a:gd name="connsiteX1" fmla="*/ 2649536 w 2649536"/>
              <a:gd name="connsiteY1" fmla="*/ 0 h 1403351"/>
              <a:gd name="connsiteX2" fmla="*/ 2101849 w 2649536"/>
              <a:gd name="connsiteY2" fmla="*/ 1403351 h 1403351"/>
              <a:gd name="connsiteX3" fmla="*/ 0 w 2649536"/>
              <a:gd name="connsiteY3" fmla="*/ 1403350 h 1403351"/>
              <a:gd name="connsiteX4" fmla="*/ 595313 w 2649536"/>
              <a:gd name="connsiteY4" fmla="*/ 2381 h 1403351"/>
              <a:gd name="connsiteX0" fmla="*/ 602457 w 2649536"/>
              <a:gd name="connsiteY0" fmla="*/ 2381 h 1403351"/>
              <a:gd name="connsiteX1" fmla="*/ 2649536 w 2649536"/>
              <a:gd name="connsiteY1" fmla="*/ 0 h 1403351"/>
              <a:gd name="connsiteX2" fmla="*/ 2101849 w 2649536"/>
              <a:gd name="connsiteY2" fmla="*/ 1403351 h 1403351"/>
              <a:gd name="connsiteX3" fmla="*/ 0 w 2649536"/>
              <a:gd name="connsiteY3" fmla="*/ 1403350 h 1403351"/>
              <a:gd name="connsiteX4" fmla="*/ 602457 w 2649536"/>
              <a:gd name="connsiteY4" fmla="*/ 2381 h 1403351"/>
              <a:gd name="connsiteX0" fmla="*/ 597694 w 2649536"/>
              <a:gd name="connsiteY0" fmla="*/ 2381 h 1403351"/>
              <a:gd name="connsiteX1" fmla="*/ 2649536 w 2649536"/>
              <a:gd name="connsiteY1" fmla="*/ 0 h 1403351"/>
              <a:gd name="connsiteX2" fmla="*/ 2101849 w 2649536"/>
              <a:gd name="connsiteY2" fmla="*/ 1403351 h 1403351"/>
              <a:gd name="connsiteX3" fmla="*/ 0 w 2649536"/>
              <a:gd name="connsiteY3" fmla="*/ 1403350 h 1403351"/>
              <a:gd name="connsiteX4" fmla="*/ 597694 w 2649536"/>
              <a:gd name="connsiteY4" fmla="*/ 2381 h 1403351"/>
              <a:gd name="connsiteX0" fmla="*/ 600075 w 2649536"/>
              <a:gd name="connsiteY0" fmla="*/ 0 h 1403351"/>
              <a:gd name="connsiteX1" fmla="*/ 2649536 w 2649536"/>
              <a:gd name="connsiteY1" fmla="*/ 0 h 1403351"/>
              <a:gd name="connsiteX2" fmla="*/ 2101849 w 2649536"/>
              <a:gd name="connsiteY2" fmla="*/ 1403351 h 1403351"/>
              <a:gd name="connsiteX3" fmla="*/ 0 w 2649536"/>
              <a:gd name="connsiteY3" fmla="*/ 1403350 h 1403351"/>
              <a:gd name="connsiteX4" fmla="*/ 600075 w 2649536"/>
              <a:gd name="connsiteY4" fmla="*/ 0 h 1403351"/>
              <a:gd name="connsiteX0" fmla="*/ 597693 w 2649536"/>
              <a:gd name="connsiteY0" fmla="*/ 0 h 1403351"/>
              <a:gd name="connsiteX1" fmla="*/ 2649536 w 2649536"/>
              <a:gd name="connsiteY1" fmla="*/ 0 h 1403351"/>
              <a:gd name="connsiteX2" fmla="*/ 2101849 w 2649536"/>
              <a:gd name="connsiteY2" fmla="*/ 1403351 h 1403351"/>
              <a:gd name="connsiteX3" fmla="*/ 0 w 2649536"/>
              <a:gd name="connsiteY3" fmla="*/ 1403350 h 1403351"/>
              <a:gd name="connsiteX4" fmla="*/ 597693 w 2649536"/>
              <a:gd name="connsiteY4" fmla="*/ 0 h 1403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9536" h="1403351">
                <a:moveTo>
                  <a:pt x="597693" y="0"/>
                </a:moveTo>
                <a:lnTo>
                  <a:pt x="2649536" y="0"/>
                </a:lnTo>
                <a:lnTo>
                  <a:pt x="2101849" y="1403351"/>
                </a:lnTo>
                <a:lnTo>
                  <a:pt x="0" y="1403350"/>
                </a:lnTo>
                <a:lnTo>
                  <a:pt x="597693" y="0"/>
                </a:lnTo>
                <a:close/>
              </a:path>
            </a:pathLst>
          </a:custGeom>
          <a:solidFill>
            <a:srgbClr val="B4B4B4"/>
          </a:solidFill>
          <a:ln w="12700">
            <a:solidFill>
              <a:schemeClr val="bg1"/>
            </a:solidFill>
          </a:ln>
        </p:spPr>
        <p:txBody>
          <a:bodyPr wrap="square" lIns="459000" tIns="27000" rIns="405000" bIns="137160" anchor="b" anchorCtr="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Level one bullet</a:t>
            </a:r>
          </a:p>
          <a:p>
            <a:pPr marL="404622" lvl="2" indent="-205740" defTabSz="717947">
              <a:spcBef>
                <a:spcPts val="450"/>
              </a:spcBef>
              <a:buClrTx/>
            </a:pPr>
            <a:r>
              <a:rPr lang="en-US" sz="825" dirty="0">
                <a:solidFill>
                  <a:srgbClr val="313131"/>
                </a:solidFill>
                <a:latin typeface="Arial"/>
              </a:rPr>
              <a:t>Level two bullet</a:t>
            </a:r>
          </a:p>
          <a:p>
            <a:pPr marL="603504" lvl="3" indent="-205740" defTabSz="717947">
              <a:spcBef>
                <a:spcPts val="450"/>
              </a:spcBef>
              <a:buClrTx/>
            </a:pPr>
            <a:r>
              <a:rPr lang="en-US" sz="825" dirty="0">
                <a:solidFill>
                  <a:srgbClr val="313131"/>
                </a:solidFill>
                <a:latin typeface="Arial"/>
              </a:rPr>
              <a:t>Level three bullet</a:t>
            </a:r>
          </a:p>
        </p:txBody>
      </p:sp>
    </p:spTree>
  </p:cSld>
  <p:clrMapOvr>
    <a:masterClrMapping/>
  </p:clrMapOvr>
  <p:transition>
    <p:fade/>
  </p:transition>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1009" name="Title 1"/>
          <p:cNvSpPr>
            <a:spLocks noGrp="1"/>
          </p:cNvSpPr>
          <p:nvPr>
            <p:ph type="title"/>
          </p:nvPr>
        </p:nvSpPr>
        <p:spPr/>
        <p:txBody>
          <a:bodyPr/>
          <a:lstStyle/>
          <a:p>
            <a:r>
              <a:rPr lang="en-US" dirty="0"/>
              <a:t>Expansion</a:t>
            </a:r>
          </a:p>
        </p:txBody>
      </p:sp>
      <p:sp>
        <p:nvSpPr>
          <p:cNvPr id="4" name="Freeform 2"/>
          <p:cNvSpPr>
            <a:spLocks/>
          </p:cNvSpPr>
          <p:nvPr/>
        </p:nvSpPr>
        <p:spPr bwMode="blackWhite">
          <a:xfrm>
            <a:off x="5007769" y="1316737"/>
            <a:ext cx="2235994" cy="3077765"/>
          </a:xfrm>
          <a:custGeom>
            <a:avLst/>
            <a:gdLst>
              <a:gd name="T0" fmla="*/ 0 w 1448"/>
              <a:gd name="T1" fmla="*/ 3315273 h 1879"/>
              <a:gd name="T2" fmla="*/ 0 w 1448"/>
              <a:gd name="T3" fmla="*/ 1430503 h 1879"/>
              <a:gd name="T4" fmla="*/ 2423961 w 1448"/>
              <a:gd name="T5" fmla="*/ 856118 h 1879"/>
              <a:gd name="T6" fmla="*/ 2423961 w 1448"/>
              <a:gd name="T7" fmla="*/ 0 h 1879"/>
              <a:gd name="T8" fmla="*/ 3226745 w 1448"/>
              <a:gd name="T9" fmla="*/ 1954657 h 1879"/>
              <a:gd name="T10" fmla="*/ 2423961 w 1448"/>
              <a:gd name="T11" fmla="*/ 4101503 h 1879"/>
              <a:gd name="T12" fmla="*/ 2423961 w 1448"/>
              <a:gd name="T13" fmla="*/ 3315273 h 1879"/>
              <a:gd name="T14" fmla="*/ 0 w 1448"/>
              <a:gd name="T15" fmla="*/ 3315273 h 1879"/>
              <a:gd name="T16" fmla="*/ 0 60000 65536"/>
              <a:gd name="T17" fmla="*/ 0 60000 65536"/>
              <a:gd name="T18" fmla="*/ 0 60000 65536"/>
              <a:gd name="T19" fmla="*/ 0 60000 65536"/>
              <a:gd name="T20" fmla="*/ 0 60000 65536"/>
              <a:gd name="T21" fmla="*/ 0 60000 65536"/>
              <a:gd name="T22" fmla="*/ 0 60000 65536"/>
              <a:gd name="T23" fmla="*/ 0 60000 65536"/>
              <a:gd name="T24" fmla="*/ 0 w 1448"/>
              <a:gd name="T25" fmla="*/ 0 h 1879"/>
              <a:gd name="T26" fmla="*/ 1448 w 1448"/>
              <a:gd name="T27" fmla="*/ 1879 h 18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48" h="1879">
                <a:moveTo>
                  <a:pt x="0" y="1518"/>
                </a:moveTo>
                <a:lnTo>
                  <a:pt x="0" y="655"/>
                </a:lnTo>
                <a:lnTo>
                  <a:pt x="1087" y="392"/>
                </a:lnTo>
                <a:lnTo>
                  <a:pt x="1087" y="0"/>
                </a:lnTo>
                <a:lnTo>
                  <a:pt x="1447" y="895"/>
                </a:lnTo>
                <a:lnTo>
                  <a:pt x="1087" y="1878"/>
                </a:lnTo>
                <a:lnTo>
                  <a:pt x="1087" y="1518"/>
                </a:lnTo>
                <a:lnTo>
                  <a:pt x="0" y="1518"/>
                </a:lnTo>
              </a:path>
            </a:pathLst>
          </a:custGeom>
          <a:solidFill>
            <a:srgbClr val="00A1DE"/>
          </a:solidFill>
          <a:ln w="12700" cap="rnd">
            <a:solidFill>
              <a:schemeClr val="bg1"/>
            </a:solidFill>
            <a:round/>
            <a:headEnd/>
            <a:tailEnd/>
          </a:ln>
        </p:spPr>
        <p:txBody>
          <a:bodyPr lIns="621000" tIns="27000" rIns="411480" bIns="702000" anchor="b"/>
          <a:lstStyle/>
          <a:p>
            <a:pPr marL="205740" lvl="1" indent="-205740" defTabSz="717947">
              <a:spcBef>
                <a:spcPts val="450"/>
              </a:spcBef>
              <a:buClrTx/>
              <a:buFont typeface="Arial" charset="0"/>
              <a:buChar char="•"/>
            </a:pPr>
            <a:r>
              <a:rPr lang="en-US" sz="825" kern="1200" dirty="0">
                <a:solidFill>
                  <a:prstClr val="white"/>
                </a:solidFill>
                <a:ea typeface="+mn-ea"/>
                <a:cs typeface="+mn-cs"/>
              </a:rPr>
              <a:t>Level one bullet</a:t>
            </a:r>
          </a:p>
          <a:p>
            <a:pPr marL="404622" lvl="2" indent="-205740" defTabSz="717947">
              <a:spcBef>
                <a:spcPts val="450"/>
              </a:spcBef>
              <a:buClrTx/>
              <a:buFont typeface="Arial" charset="0"/>
              <a:buChar char="‒"/>
            </a:pPr>
            <a:r>
              <a:rPr lang="en-US" sz="825" kern="1200" dirty="0">
                <a:solidFill>
                  <a:prstClr val="white"/>
                </a:solidFill>
                <a:ea typeface="+mn-ea"/>
                <a:cs typeface="+mn-cs"/>
              </a:rPr>
              <a:t>Level two bullet</a:t>
            </a:r>
          </a:p>
          <a:p>
            <a:pPr marL="603504" lvl="3" indent="-205740" defTabSz="717947">
              <a:spcBef>
                <a:spcPts val="450"/>
              </a:spcBef>
              <a:buClrTx/>
              <a:buFont typeface="Arial" charset="0"/>
              <a:buChar char="•"/>
            </a:pPr>
            <a:r>
              <a:rPr lang="en-US" sz="825" kern="1200" dirty="0">
                <a:solidFill>
                  <a:prstClr val="white"/>
                </a:solidFill>
                <a:ea typeface="+mn-ea"/>
                <a:cs typeface="+mn-cs"/>
              </a:rPr>
              <a:t>Level three bullet</a:t>
            </a:r>
          </a:p>
        </p:txBody>
      </p:sp>
      <p:sp>
        <p:nvSpPr>
          <p:cNvPr id="811012" name="Freeform 3"/>
          <p:cNvSpPr>
            <a:spLocks/>
          </p:cNvSpPr>
          <p:nvPr/>
        </p:nvSpPr>
        <p:spPr bwMode="blackWhite">
          <a:xfrm>
            <a:off x="3438526" y="1947182"/>
            <a:ext cx="2089547" cy="2332435"/>
          </a:xfrm>
          <a:custGeom>
            <a:avLst/>
            <a:gdLst>
              <a:gd name="T0" fmla="*/ 0 w 1353"/>
              <a:gd name="T1" fmla="*/ 2147483647 h 1423"/>
              <a:gd name="T2" fmla="*/ 73478142 w 1353"/>
              <a:gd name="T3" fmla="*/ 2147483647 h 1423"/>
              <a:gd name="T4" fmla="*/ 2147483647 w 1353"/>
              <a:gd name="T5" fmla="*/ 1256153639 h 1423"/>
              <a:gd name="T6" fmla="*/ 2147483647 w 1353"/>
              <a:gd name="T7" fmla="*/ 0 h 1423"/>
              <a:gd name="T8" fmla="*/ 2147483647 w 1353"/>
              <a:gd name="T9" fmla="*/ 2147483647 h 1423"/>
              <a:gd name="T10" fmla="*/ 2147483647 w 1353"/>
              <a:gd name="T11" fmla="*/ 2147483647 h 1423"/>
              <a:gd name="T12" fmla="*/ 2147483647 w 1353"/>
              <a:gd name="T13" fmla="*/ 2147483647 h 1423"/>
              <a:gd name="T14" fmla="*/ 0 w 1353"/>
              <a:gd name="T15" fmla="*/ 2147483647 h 1423"/>
              <a:gd name="T16" fmla="*/ 0 60000 65536"/>
              <a:gd name="T17" fmla="*/ 0 60000 65536"/>
              <a:gd name="T18" fmla="*/ 0 60000 65536"/>
              <a:gd name="T19" fmla="*/ 0 60000 65536"/>
              <a:gd name="T20" fmla="*/ 0 60000 65536"/>
              <a:gd name="T21" fmla="*/ 0 60000 65536"/>
              <a:gd name="T22" fmla="*/ 0 60000 65536"/>
              <a:gd name="T23" fmla="*/ 0 60000 65536"/>
              <a:gd name="T24" fmla="*/ 0 w 1353"/>
              <a:gd name="T25" fmla="*/ 0 h 1423"/>
              <a:gd name="T26" fmla="*/ 1353 w 1353"/>
              <a:gd name="T27" fmla="*/ 1423 h 14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53" h="1423">
                <a:moveTo>
                  <a:pt x="0" y="1118"/>
                </a:moveTo>
                <a:lnTo>
                  <a:pt x="16" y="511"/>
                </a:lnTo>
                <a:lnTo>
                  <a:pt x="1016" y="263"/>
                </a:lnTo>
                <a:lnTo>
                  <a:pt x="1016" y="0"/>
                </a:lnTo>
                <a:lnTo>
                  <a:pt x="1352" y="679"/>
                </a:lnTo>
                <a:lnTo>
                  <a:pt x="1016" y="1422"/>
                </a:lnTo>
                <a:lnTo>
                  <a:pt x="1016" y="1118"/>
                </a:lnTo>
                <a:lnTo>
                  <a:pt x="0" y="1118"/>
                </a:lnTo>
              </a:path>
            </a:pathLst>
          </a:custGeom>
          <a:solidFill>
            <a:srgbClr val="575757"/>
          </a:solidFill>
          <a:ln w="12700" cap="rnd">
            <a:solidFill>
              <a:schemeClr val="bg1"/>
            </a:solidFill>
            <a:round/>
            <a:headEnd/>
            <a:tailEnd/>
          </a:ln>
        </p:spPr>
        <p:txBody>
          <a:bodyPr lIns="548640" tIns="27000" rIns="342900" bIns="594000" anchor="b" anchorCtr="0"/>
          <a:lstStyle/>
          <a:p>
            <a:pPr marL="205740" lvl="1" indent="-205740" defTabSz="717947">
              <a:spcBef>
                <a:spcPts val="450"/>
              </a:spcBef>
              <a:buClrTx/>
              <a:buFont typeface="Arial" charset="0"/>
              <a:buChar char="•"/>
            </a:pPr>
            <a:r>
              <a:rPr lang="en-US" sz="825" kern="1200" dirty="0">
                <a:solidFill>
                  <a:prstClr val="white"/>
                </a:solidFill>
                <a:ea typeface="+mn-ea"/>
                <a:cs typeface="+mn-cs"/>
              </a:rPr>
              <a:t>Level one bullet</a:t>
            </a:r>
          </a:p>
          <a:p>
            <a:pPr marL="404622" lvl="2" indent="-205740" defTabSz="717947">
              <a:spcBef>
                <a:spcPts val="450"/>
              </a:spcBef>
              <a:buClrTx/>
              <a:buFont typeface="Arial" charset="0"/>
              <a:buChar char="‒"/>
            </a:pPr>
            <a:r>
              <a:rPr lang="en-US" sz="825" kern="1200" dirty="0">
                <a:solidFill>
                  <a:prstClr val="white"/>
                </a:solidFill>
                <a:ea typeface="+mn-ea"/>
                <a:cs typeface="+mn-cs"/>
              </a:rPr>
              <a:t>Level two bullet</a:t>
            </a:r>
          </a:p>
          <a:p>
            <a:pPr marL="603504" lvl="3" indent="-205740" defTabSz="717947">
              <a:spcBef>
                <a:spcPts val="450"/>
              </a:spcBef>
              <a:buClrTx/>
              <a:buFont typeface="Arial" charset="0"/>
              <a:buChar char="•"/>
            </a:pPr>
            <a:r>
              <a:rPr lang="en-US" sz="825" kern="1200" dirty="0">
                <a:solidFill>
                  <a:prstClr val="white"/>
                </a:solidFill>
                <a:ea typeface="+mn-ea"/>
                <a:cs typeface="+mn-cs"/>
              </a:rPr>
              <a:t>Level three bullet</a:t>
            </a:r>
          </a:p>
        </p:txBody>
      </p:sp>
      <p:sp>
        <p:nvSpPr>
          <p:cNvPr id="811013" name="Freeform 4"/>
          <p:cNvSpPr>
            <a:spLocks/>
          </p:cNvSpPr>
          <p:nvPr/>
        </p:nvSpPr>
        <p:spPr bwMode="blackWhite">
          <a:xfrm>
            <a:off x="1869783" y="2482963"/>
            <a:ext cx="2088774" cy="1636662"/>
          </a:xfrm>
          <a:custGeom>
            <a:avLst/>
            <a:gdLst>
              <a:gd name="T0" fmla="*/ 0 w 1352"/>
              <a:gd name="T1" fmla="*/ 2147483647 h 1000"/>
              <a:gd name="T2" fmla="*/ 0 w 1352"/>
              <a:gd name="T3" fmla="*/ 2147483647 h 1000"/>
              <a:gd name="T4" fmla="*/ 2147483647 w 1352"/>
              <a:gd name="T5" fmla="*/ 2147483647 h 1000"/>
              <a:gd name="T6" fmla="*/ 2147483647 w 1352"/>
              <a:gd name="T7" fmla="*/ 0 h 1000"/>
              <a:gd name="T8" fmla="*/ 2147483647 w 1352"/>
              <a:gd name="T9" fmla="*/ 2147483647 h 1000"/>
              <a:gd name="T10" fmla="*/ 2147483647 w 1352"/>
              <a:gd name="T11" fmla="*/ 2147483647 h 1000"/>
              <a:gd name="T12" fmla="*/ 2147483647 w 1352"/>
              <a:gd name="T13" fmla="*/ 2147483647 h 1000"/>
              <a:gd name="T14" fmla="*/ 0 w 1352"/>
              <a:gd name="T15" fmla="*/ 2147483647 h 1000"/>
              <a:gd name="T16" fmla="*/ 0 60000 65536"/>
              <a:gd name="T17" fmla="*/ 0 60000 65536"/>
              <a:gd name="T18" fmla="*/ 0 60000 65536"/>
              <a:gd name="T19" fmla="*/ 0 60000 65536"/>
              <a:gd name="T20" fmla="*/ 0 60000 65536"/>
              <a:gd name="T21" fmla="*/ 0 60000 65536"/>
              <a:gd name="T22" fmla="*/ 0 60000 65536"/>
              <a:gd name="T23" fmla="*/ 0 60000 65536"/>
              <a:gd name="T24" fmla="*/ 0 w 1352"/>
              <a:gd name="T25" fmla="*/ 0 h 1000"/>
              <a:gd name="T26" fmla="*/ 1352 w 1352"/>
              <a:gd name="T27" fmla="*/ 1000 h 1000"/>
              <a:gd name="connsiteX0" fmla="*/ 9 w 10002"/>
              <a:gd name="connsiteY0" fmla="*/ 7910 h 9990"/>
              <a:gd name="connsiteX1" fmla="*/ 0 w 10002"/>
              <a:gd name="connsiteY1" fmla="*/ 4400 h 9990"/>
              <a:gd name="connsiteX2" fmla="*/ 7576 w 10002"/>
              <a:gd name="connsiteY2" fmla="*/ 1840 h 9990"/>
              <a:gd name="connsiteX3" fmla="*/ 7576 w 10002"/>
              <a:gd name="connsiteY3" fmla="*/ 0 h 9990"/>
              <a:gd name="connsiteX4" fmla="*/ 10002 w 10002"/>
              <a:gd name="connsiteY4" fmla="*/ 4800 h 9990"/>
              <a:gd name="connsiteX5" fmla="*/ 7576 w 10002"/>
              <a:gd name="connsiteY5" fmla="*/ 9990 h 9990"/>
              <a:gd name="connsiteX6" fmla="*/ 7576 w 10002"/>
              <a:gd name="connsiteY6" fmla="*/ 7910 h 9990"/>
              <a:gd name="connsiteX7" fmla="*/ 9 w 10002"/>
              <a:gd name="connsiteY7" fmla="*/ 7910 h 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2" h="9990">
                <a:moveTo>
                  <a:pt x="9" y="7910"/>
                </a:moveTo>
                <a:lnTo>
                  <a:pt x="0" y="4400"/>
                </a:lnTo>
                <a:lnTo>
                  <a:pt x="7576" y="1840"/>
                </a:lnTo>
                <a:lnTo>
                  <a:pt x="7576" y="0"/>
                </a:lnTo>
                <a:lnTo>
                  <a:pt x="10002" y="4800"/>
                </a:lnTo>
                <a:lnTo>
                  <a:pt x="7576" y="9990"/>
                </a:lnTo>
                <a:lnTo>
                  <a:pt x="7576" y="7910"/>
                </a:lnTo>
                <a:lnTo>
                  <a:pt x="9" y="7910"/>
                </a:lnTo>
              </a:path>
            </a:pathLst>
          </a:custGeom>
          <a:solidFill>
            <a:srgbClr val="B4B4B4"/>
          </a:solidFill>
          <a:ln w="12700" cap="rnd">
            <a:solidFill>
              <a:schemeClr val="bg1"/>
            </a:solidFill>
            <a:round/>
            <a:headEnd/>
            <a:tailEnd/>
          </a:ln>
        </p:spPr>
        <p:txBody>
          <a:bodyPr lIns="137160" tIns="702000" rIns="27000" bIns="27000"/>
          <a:lstStyle/>
          <a:p>
            <a:pPr marL="205740" lvl="1" indent="-205740" defTabSz="717947">
              <a:spcBef>
                <a:spcPts val="450"/>
              </a:spcBef>
              <a:buClrTx/>
              <a:buFont typeface="Arial" charset="0"/>
              <a:buChar char="•"/>
            </a:pPr>
            <a:r>
              <a:rPr lang="en-US" sz="825" kern="1200" dirty="0">
                <a:solidFill>
                  <a:srgbClr val="313131"/>
                </a:solidFill>
                <a:ea typeface="+mn-ea"/>
                <a:cs typeface="+mn-cs"/>
              </a:rPr>
              <a:t>Level one bullet</a:t>
            </a:r>
          </a:p>
          <a:p>
            <a:pPr marL="404622" lvl="2" indent="-205740" defTabSz="717947">
              <a:spcBef>
                <a:spcPts val="450"/>
              </a:spcBef>
              <a:buClrTx/>
              <a:buFont typeface="Arial" charset="0"/>
              <a:buChar char="‒"/>
            </a:pPr>
            <a:r>
              <a:rPr lang="en-US" sz="825" kern="1200" dirty="0">
                <a:solidFill>
                  <a:srgbClr val="313131"/>
                </a:solidFill>
                <a:ea typeface="+mn-ea"/>
                <a:cs typeface="+mn-cs"/>
              </a:rPr>
              <a:t>Level two bullet</a:t>
            </a:r>
          </a:p>
          <a:p>
            <a:pPr marL="603504" lvl="3" indent="-205740" defTabSz="717947">
              <a:spcBef>
                <a:spcPts val="450"/>
              </a:spcBef>
              <a:buClrTx/>
              <a:buFont typeface="Arial" charset="0"/>
              <a:buChar char="•"/>
            </a:pPr>
            <a:r>
              <a:rPr lang="en-US" sz="825" kern="1200" dirty="0">
                <a:solidFill>
                  <a:srgbClr val="313131"/>
                </a:solidFill>
                <a:ea typeface="+mn-ea"/>
                <a:cs typeface="+mn-cs"/>
              </a:rPr>
              <a:t>Level three bullet</a:t>
            </a:r>
          </a:p>
        </p:txBody>
      </p:sp>
      <p:sp>
        <p:nvSpPr>
          <p:cNvPr id="11"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Tree>
  </p:cSld>
  <p:clrMapOvr>
    <a:masterClrMapping/>
  </p:clrMapOvr>
  <p:transition>
    <p:fade/>
  </p:transition>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1009" name="Title 1"/>
          <p:cNvSpPr>
            <a:spLocks noGrp="1"/>
          </p:cNvSpPr>
          <p:nvPr>
            <p:ph type="title"/>
          </p:nvPr>
        </p:nvSpPr>
        <p:spPr/>
        <p:txBody>
          <a:bodyPr/>
          <a:lstStyle/>
          <a:p>
            <a:r>
              <a:rPr lang="en-US" dirty="0"/>
              <a:t>Diversion</a:t>
            </a:r>
          </a:p>
        </p:txBody>
      </p:sp>
      <p:sp>
        <p:nvSpPr>
          <p:cNvPr id="11"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
        <p:nvSpPr>
          <p:cNvPr id="9" name="Freeform 2"/>
          <p:cNvSpPr>
            <a:spLocks/>
          </p:cNvSpPr>
          <p:nvPr/>
        </p:nvSpPr>
        <p:spPr bwMode="blackWhite">
          <a:xfrm>
            <a:off x="1824038" y="1371600"/>
            <a:ext cx="5469731" cy="2377678"/>
          </a:xfrm>
          <a:custGeom>
            <a:avLst/>
            <a:gdLst>
              <a:gd name="T0" fmla="*/ 0 w 3447"/>
              <a:gd name="T1" fmla="*/ 2147483647 h 1499"/>
              <a:gd name="T2" fmla="*/ 0 w 3447"/>
              <a:gd name="T3" fmla="*/ 2147483647 h 1499"/>
              <a:gd name="T4" fmla="*/ 2147483647 w 3447"/>
              <a:gd name="T5" fmla="*/ 2147483647 h 1499"/>
              <a:gd name="T6" fmla="*/ 2147483647 w 3447"/>
              <a:gd name="T7" fmla="*/ 2147483647 h 1499"/>
              <a:gd name="T8" fmla="*/ 2147483647 w 3447"/>
              <a:gd name="T9" fmla="*/ 2147483647 h 1499"/>
              <a:gd name="T10" fmla="*/ 2147483647 w 3447"/>
              <a:gd name="T11" fmla="*/ 2147483647 h 1499"/>
              <a:gd name="T12" fmla="*/ 2147483647 w 3447"/>
              <a:gd name="T13" fmla="*/ 2147483647 h 1499"/>
              <a:gd name="T14" fmla="*/ 2147483647 w 3447"/>
              <a:gd name="T15" fmla="*/ 2147483647 h 1499"/>
              <a:gd name="T16" fmla="*/ 2147483647 w 3447"/>
              <a:gd name="T17" fmla="*/ 2147483647 h 1499"/>
              <a:gd name="T18" fmla="*/ 2147483647 w 3447"/>
              <a:gd name="T19" fmla="*/ 2147483647 h 1499"/>
              <a:gd name="T20" fmla="*/ 2147483647 w 3447"/>
              <a:gd name="T21" fmla="*/ 2147483647 h 1499"/>
              <a:gd name="T22" fmla="*/ 2147483647 w 3447"/>
              <a:gd name="T23" fmla="*/ 2147483647 h 1499"/>
              <a:gd name="T24" fmla="*/ 2147483647 w 3447"/>
              <a:gd name="T25" fmla="*/ 2147483647 h 1499"/>
              <a:gd name="T26" fmla="*/ 2147483647 w 3447"/>
              <a:gd name="T27" fmla="*/ 2147483647 h 1499"/>
              <a:gd name="T28" fmla="*/ 2147483647 w 3447"/>
              <a:gd name="T29" fmla="*/ 2147483647 h 1499"/>
              <a:gd name="T30" fmla="*/ 2147483647 w 3447"/>
              <a:gd name="T31" fmla="*/ 2147483647 h 1499"/>
              <a:gd name="T32" fmla="*/ 2147483647 w 3447"/>
              <a:gd name="T33" fmla="*/ 2147483647 h 1499"/>
              <a:gd name="T34" fmla="*/ 2147483647 w 3447"/>
              <a:gd name="T35" fmla="*/ 2147483647 h 1499"/>
              <a:gd name="T36" fmla="*/ 2147483647 w 3447"/>
              <a:gd name="T37" fmla="*/ 2147483647 h 1499"/>
              <a:gd name="T38" fmla="*/ 2147483647 w 3447"/>
              <a:gd name="T39" fmla="*/ 2147483647 h 1499"/>
              <a:gd name="T40" fmla="*/ 2147483647 w 3447"/>
              <a:gd name="T41" fmla="*/ 2147483647 h 1499"/>
              <a:gd name="T42" fmla="*/ 2147483647 w 3447"/>
              <a:gd name="T43" fmla="*/ 2147483647 h 1499"/>
              <a:gd name="T44" fmla="*/ 2147483647 w 3447"/>
              <a:gd name="T45" fmla="*/ 2147483647 h 1499"/>
              <a:gd name="T46" fmla="*/ 2147483647 w 3447"/>
              <a:gd name="T47" fmla="*/ 2147483647 h 1499"/>
              <a:gd name="T48" fmla="*/ 2147483647 w 3447"/>
              <a:gd name="T49" fmla="*/ 2147483647 h 1499"/>
              <a:gd name="T50" fmla="*/ 2147483647 w 3447"/>
              <a:gd name="T51" fmla="*/ 2147483647 h 1499"/>
              <a:gd name="T52" fmla="*/ 2147483647 w 3447"/>
              <a:gd name="T53" fmla="*/ 2147483647 h 1499"/>
              <a:gd name="T54" fmla="*/ 2147483647 w 3447"/>
              <a:gd name="T55" fmla="*/ 2147483647 h 1499"/>
              <a:gd name="T56" fmla="*/ 2147483647 w 3447"/>
              <a:gd name="T57" fmla="*/ 2147483647 h 1499"/>
              <a:gd name="T58" fmla="*/ 2147483647 w 3447"/>
              <a:gd name="T59" fmla="*/ 2147483647 h 1499"/>
              <a:gd name="T60" fmla="*/ 2147483647 w 3447"/>
              <a:gd name="T61" fmla="*/ 2147483647 h 1499"/>
              <a:gd name="T62" fmla="*/ 2147483647 w 3447"/>
              <a:gd name="T63" fmla="*/ 2147483647 h 1499"/>
              <a:gd name="T64" fmla="*/ 2147483647 w 3447"/>
              <a:gd name="T65" fmla="*/ 2147483647 h 1499"/>
              <a:gd name="T66" fmla="*/ 2147483647 w 3447"/>
              <a:gd name="T67" fmla="*/ 2147483647 h 1499"/>
              <a:gd name="T68" fmla="*/ 2147483647 w 3447"/>
              <a:gd name="T69" fmla="*/ 2147483647 h 1499"/>
              <a:gd name="T70" fmla="*/ 2147483647 w 3447"/>
              <a:gd name="T71" fmla="*/ 2147483647 h 1499"/>
              <a:gd name="T72" fmla="*/ 2147483647 w 3447"/>
              <a:gd name="T73" fmla="*/ 2147483647 h 1499"/>
              <a:gd name="T74" fmla="*/ 2147483647 w 3447"/>
              <a:gd name="T75" fmla="*/ 2147483647 h 1499"/>
              <a:gd name="T76" fmla="*/ 2147483647 w 3447"/>
              <a:gd name="T77" fmla="*/ 2147483647 h 1499"/>
              <a:gd name="T78" fmla="*/ 2147483647 w 3447"/>
              <a:gd name="T79" fmla="*/ 2147483647 h 1499"/>
              <a:gd name="T80" fmla="*/ 2147483647 w 3447"/>
              <a:gd name="T81" fmla="*/ 0 h 1499"/>
              <a:gd name="T82" fmla="*/ 2147483647 w 3447"/>
              <a:gd name="T83" fmla="*/ 2147483647 h 1499"/>
              <a:gd name="T84" fmla="*/ 2147483647 w 3447"/>
              <a:gd name="T85" fmla="*/ 2147483647 h 1499"/>
              <a:gd name="T86" fmla="*/ 2147483647 w 3447"/>
              <a:gd name="T87" fmla="*/ 2147483647 h 1499"/>
              <a:gd name="T88" fmla="*/ 2147483647 w 3447"/>
              <a:gd name="T89" fmla="*/ 2147483647 h 1499"/>
              <a:gd name="T90" fmla="*/ 2147483647 w 3447"/>
              <a:gd name="T91" fmla="*/ 2147483647 h 1499"/>
              <a:gd name="T92" fmla="*/ 2147483647 w 3447"/>
              <a:gd name="T93" fmla="*/ 2147483647 h 1499"/>
              <a:gd name="T94" fmla="*/ 2147483647 w 3447"/>
              <a:gd name="T95" fmla="*/ 2147483647 h 1499"/>
              <a:gd name="T96" fmla="*/ 2147483647 w 3447"/>
              <a:gd name="T97" fmla="*/ 2147483647 h 1499"/>
              <a:gd name="T98" fmla="*/ 2147483647 w 3447"/>
              <a:gd name="T99" fmla="*/ 2147483647 h 1499"/>
              <a:gd name="T100" fmla="*/ 2147483647 w 3447"/>
              <a:gd name="T101" fmla="*/ 2147483647 h 1499"/>
              <a:gd name="T102" fmla="*/ 2147483647 w 3447"/>
              <a:gd name="T103" fmla="*/ 2147483647 h 1499"/>
              <a:gd name="T104" fmla="*/ 2147483647 w 3447"/>
              <a:gd name="T105" fmla="*/ 2147483647 h 1499"/>
              <a:gd name="T106" fmla="*/ 2147483647 w 3447"/>
              <a:gd name="T107" fmla="*/ 2147483647 h 1499"/>
              <a:gd name="T108" fmla="*/ 2147483647 w 3447"/>
              <a:gd name="T109" fmla="*/ 2147483647 h 1499"/>
              <a:gd name="T110" fmla="*/ 2147483647 w 3447"/>
              <a:gd name="T111" fmla="*/ 2147483647 h 1499"/>
              <a:gd name="T112" fmla="*/ 2147483647 w 3447"/>
              <a:gd name="T113" fmla="*/ 2147483647 h 1499"/>
              <a:gd name="T114" fmla="*/ 2147483647 w 3447"/>
              <a:gd name="T115" fmla="*/ 2147483647 h 1499"/>
              <a:gd name="T116" fmla="*/ 2147483647 w 3447"/>
              <a:gd name="T117" fmla="*/ 2147483647 h 1499"/>
              <a:gd name="T118" fmla="*/ 2147483647 w 3447"/>
              <a:gd name="T119" fmla="*/ 2147483647 h 1499"/>
              <a:gd name="T120" fmla="*/ 0 w 3447"/>
              <a:gd name="T121" fmla="*/ 2147483647 h 149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447"/>
              <a:gd name="T184" fmla="*/ 0 h 1499"/>
              <a:gd name="T185" fmla="*/ 3447 w 3447"/>
              <a:gd name="T186" fmla="*/ 1499 h 149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447" h="1499">
                <a:moveTo>
                  <a:pt x="0" y="411"/>
                </a:moveTo>
                <a:lnTo>
                  <a:pt x="0" y="1360"/>
                </a:lnTo>
                <a:lnTo>
                  <a:pt x="3127" y="1359"/>
                </a:lnTo>
                <a:lnTo>
                  <a:pt x="3125" y="1498"/>
                </a:lnTo>
                <a:lnTo>
                  <a:pt x="3446" y="1121"/>
                </a:lnTo>
                <a:lnTo>
                  <a:pt x="3124" y="726"/>
                </a:lnTo>
                <a:lnTo>
                  <a:pt x="3124" y="871"/>
                </a:lnTo>
                <a:lnTo>
                  <a:pt x="2663" y="872"/>
                </a:lnTo>
                <a:lnTo>
                  <a:pt x="2202" y="872"/>
                </a:lnTo>
                <a:lnTo>
                  <a:pt x="1741" y="871"/>
                </a:lnTo>
                <a:lnTo>
                  <a:pt x="1880" y="861"/>
                </a:lnTo>
                <a:lnTo>
                  <a:pt x="2019" y="849"/>
                </a:lnTo>
                <a:lnTo>
                  <a:pt x="2157" y="834"/>
                </a:lnTo>
                <a:lnTo>
                  <a:pt x="2295" y="816"/>
                </a:lnTo>
                <a:lnTo>
                  <a:pt x="2432" y="796"/>
                </a:lnTo>
                <a:lnTo>
                  <a:pt x="2570" y="772"/>
                </a:lnTo>
                <a:lnTo>
                  <a:pt x="2706" y="747"/>
                </a:lnTo>
                <a:lnTo>
                  <a:pt x="2843" y="718"/>
                </a:lnTo>
                <a:lnTo>
                  <a:pt x="2858" y="781"/>
                </a:lnTo>
                <a:lnTo>
                  <a:pt x="2874" y="843"/>
                </a:lnTo>
                <a:lnTo>
                  <a:pt x="3037" y="496"/>
                </a:lnTo>
                <a:lnTo>
                  <a:pt x="2728" y="260"/>
                </a:lnTo>
                <a:lnTo>
                  <a:pt x="2766" y="399"/>
                </a:lnTo>
                <a:lnTo>
                  <a:pt x="2598" y="437"/>
                </a:lnTo>
                <a:lnTo>
                  <a:pt x="2431" y="473"/>
                </a:lnTo>
                <a:lnTo>
                  <a:pt x="2262" y="505"/>
                </a:lnTo>
                <a:lnTo>
                  <a:pt x="2093" y="537"/>
                </a:lnTo>
                <a:lnTo>
                  <a:pt x="1923" y="565"/>
                </a:lnTo>
                <a:lnTo>
                  <a:pt x="1754" y="591"/>
                </a:lnTo>
                <a:lnTo>
                  <a:pt x="1806" y="566"/>
                </a:lnTo>
                <a:lnTo>
                  <a:pt x="1855" y="538"/>
                </a:lnTo>
                <a:lnTo>
                  <a:pt x="1904" y="509"/>
                </a:lnTo>
                <a:lnTo>
                  <a:pt x="1951" y="476"/>
                </a:lnTo>
                <a:lnTo>
                  <a:pt x="1996" y="441"/>
                </a:lnTo>
                <a:lnTo>
                  <a:pt x="2036" y="404"/>
                </a:lnTo>
                <a:lnTo>
                  <a:pt x="2072" y="366"/>
                </a:lnTo>
                <a:lnTo>
                  <a:pt x="2107" y="324"/>
                </a:lnTo>
                <a:lnTo>
                  <a:pt x="2138" y="281"/>
                </a:lnTo>
                <a:lnTo>
                  <a:pt x="2168" y="235"/>
                </a:lnTo>
                <a:lnTo>
                  <a:pt x="2251" y="307"/>
                </a:lnTo>
                <a:lnTo>
                  <a:pt x="2181" y="0"/>
                </a:lnTo>
                <a:lnTo>
                  <a:pt x="1872" y="6"/>
                </a:lnTo>
                <a:lnTo>
                  <a:pt x="1965" y="85"/>
                </a:lnTo>
                <a:lnTo>
                  <a:pt x="1939" y="125"/>
                </a:lnTo>
                <a:lnTo>
                  <a:pt x="1911" y="163"/>
                </a:lnTo>
                <a:lnTo>
                  <a:pt x="1880" y="198"/>
                </a:lnTo>
                <a:lnTo>
                  <a:pt x="1847" y="231"/>
                </a:lnTo>
                <a:lnTo>
                  <a:pt x="1811" y="262"/>
                </a:lnTo>
                <a:lnTo>
                  <a:pt x="1773" y="290"/>
                </a:lnTo>
                <a:lnTo>
                  <a:pt x="1732" y="315"/>
                </a:lnTo>
                <a:lnTo>
                  <a:pt x="1691" y="338"/>
                </a:lnTo>
                <a:lnTo>
                  <a:pt x="1648" y="358"/>
                </a:lnTo>
                <a:lnTo>
                  <a:pt x="1605" y="375"/>
                </a:lnTo>
                <a:lnTo>
                  <a:pt x="1559" y="388"/>
                </a:lnTo>
                <a:lnTo>
                  <a:pt x="1514" y="399"/>
                </a:lnTo>
                <a:lnTo>
                  <a:pt x="1468" y="406"/>
                </a:lnTo>
                <a:lnTo>
                  <a:pt x="1420" y="410"/>
                </a:lnTo>
                <a:lnTo>
                  <a:pt x="1373" y="411"/>
                </a:lnTo>
                <a:lnTo>
                  <a:pt x="808" y="412"/>
                </a:lnTo>
                <a:lnTo>
                  <a:pt x="808" y="411"/>
                </a:lnTo>
                <a:lnTo>
                  <a:pt x="0" y="411"/>
                </a:lnTo>
              </a:path>
            </a:pathLst>
          </a:custGeom>
          <a:solidFill>
            <a:srgbClr val="00A1DE"/>
          </a:solidFill>
          <a:ln w="12700" cap="rnd">
            <a:solidFill>
              <a:schemeClr val="bg1"/>
            </a:solidFill>
            <a:round/>
            <a:headEnd/>
            <a:tailEnd/>
          </a:ln>
        </p:spPr>
        <p:txBody>
          <a:bodyPr lIns="68580" tIns="822960" rIns="2781000" bIns="27000"/>
          <a:lstStyle/>
          <a:p>
            <a:pPr marL="205740" lvl="1" indent="-205740" defTabSz="717947">
              <a:spcBef>
                <a:spcPts val="450"/>
              </a:spcBef>
              <a:buClrTx/>
              <a:buFont typeface="Arial" charset="0"/>
              <a:buChar char="•"/>
            </a:pPr>
            <a:r>
              <a:rPr lang="en-US" sz="825" kern="1200" dirty="0">
                <a:solidFill>
                  <a:prstClr val="white"/>
                </a:solidFill>
                <a:ea typeface="+mn-ea"/>
                <a:cs typeface="+mn-cs"/>
              </a:rPr>
              <a:t>Level one bullet</a:t>
            </a:r>
          </a:p>
          <a:p>
            <a:pPr marL="404622" lvl="2" indent="-205740" defTabSz="717947">
              <a:spcBef>
                <a:spcPts val="450"/>
              </a:spcBef>
              <a:buClrTx/>
              <a:buFont typeface="Arial" charset="0"/>
              <a:buChar char="‒"/>
            </a:pPr>
            <a:r>
              <a:rPr lang="en-US" sz="825" kern="1200" dirty="0">
                <a:solidFill>
                  <a:prstClr val="white"/>
                </a:solidFill>
                <a:ea typeface="+mn-ea"/>
                <a:cs typeface="+mn-cs"/>
              </a:rPr>
              <a:t>Level two bullet</a:t>
            </a:r>
          </a:p>
          <a:p>
            <a:pPr marL="603504" lvl="3" indent="-205740" defTabSz="717947">
              <a:spcBef>
                <a:spcPts val="450"/>
              </a:spcBef>
              <a:buClrTx/>
              <a:buFont typeface="Arial" charset="0"/>
              <a:buChar char="•"/>
            </a:pPr>
            <a:r>
              <a:rPr lang="en-US" sz="825" kern="1200" dirty="0">
                <a:solidFill>
                  <a:prstClr val="white"/>
                </a:solidFill>
                <a:ea typeface="+mn-ea"/>
                <a:cs typeface="+mn-cs"/>
              </a:rPr>
              <a:t>Level three bullet</a:t>
            </a:r>
          </a:p>
        </p:txBody>
      </p:sp>
    </p:spTree>
    <p:extLst>
      <p:ext uri="{BB962C8B-B14F-4D97-AF65-F5344CB8AC3E}">
        <p14:creationId xmlns:p14="http://schemas.microsoft.com/office/powerpoint/2010/main" val="1868516659"/>
      </p:ext>
    </p:extLst>
  </p:cSld>
  <p:clrMapOvr>
    <a:masterClrMapping/>
  </p:clrMapOvr>
  <p:transition>
    <p:fade/>
  </p:transition>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3057" name="Title 1"/>
          <p:cNvSpPr>
            <a:spLocks noGrp="1"/>
          </p:cNvSpPr>
          <p:nvPr>
            <p:ph type="title"/>
          </p:nvPr>
        </p:nvSpPr>
        <p:spPr/>
        <p:txBody>
          <a:bodyPr/>
          <a:lstStyle/>
          <a:p>
            <a:r>
              <a:rPr lang="en-US" dirty="0"/>
              <a:t>Continuous</a:t>
            </a:r>
          </a:p>
        </p:txBody>
      </p:sp>
      <p:grpSp>
        <p:nvGrpSpPr>
          <p:cNvPr id="4" name="Group 3"/>
          <p:cNvGrpSpPr/>
          <p:nvPr/>
        </p:nvGrpSpPr>
        <p:grpSpPr>
          <a:xfrm>
            <a:off x="2287191" y="1714500"/>
            <a:ext cx="4548188" cy="2160985"/>
            <a:chOff x="1525588" y="2286000"/>
            <a:chExt cx="6064250" cy="2881313"/>
          </a:xfrm>
        </p:grpSpPr>
        <p:sp>
          <p:nvSpPr>
            <p:cNvPr id="5" name="Freeform 2"/>
            <p:cNvSpPr>
              <a:spLocks/>
            </p:cNvSpPr>
            <p:nvPr/>
          </p:nvSpPr>
          <p:spPr bwMode="blackWhite">
            <a:xfrm>
              <a:off x="4579938" y="4224338"/>
              <a:ext cx="1574800" cy="942975"/>
            </a:xfrm>
            <a:custGeom>
              <a:avLst/>
              <a:gdLst>
                <a:gd name="T0" fmla="*/ 2147483647 w 836"/>
                <a:gd name="T1" fmla="*/ 2147483647 h 475"/>
                <a:gd name="T2" fmla="*/ 2147483647 w 836"/>
                <a:gd name="T3" fmla="*/ 0 h 475"/>
                <a:gd name="T4" fmla="*/ 2147483647 w 836"/>
                <a:gd name="T5" fmla="*/ 0 h 475"/>
                <a:gd name="T6" fmla="*/ 2147483647 w 836"/>
                <a:gd name="T7" fmla="*/ 2147483647 h 475"/>
                <a:gd name="T8" fmla="*/ 0 w 836"/>
                <a:gd name="T9" fmla="*/ 2147483647 h 475"/>
                <a:gd name="T10" fmla="*/ 2147483647 w 836"/>
                <a:gd name="T11" fmla="*/ 2147483647 h 475"/>
                <a:gd name="T12" fmla="*/ 2147483647 w 836"/>
                <a:gd name="T13" fmla="*/ 2147483647 h 475"/>
                <a:gd name="T14" fmla="*/ 0 60000 65536"/>
                <a:gd name="T15" fmla="*/ 0 60000 65536"/>
                <a:gd name="T16" fmla="*/ 0 60000 65536"/>
                <a:gd name="T17" fmla="*/ 0 60000 65536"/>
                <a:gd name="T18" fmla="*/ 0 60000 65536"/>
                <a:gd name="T19" fmla="*/ 0 60000 65536"/>
                <a:gd name="T20" fmla="*/ 0 60000 65536"/>
                <a:gd name="T21" fmla="*/ 0 w 836"/>
                <a:gd name="T22" fmla="*/ 0 h 475"/>
                <a:gd name="T23" fmla="*/ 836 w 836"/>
                <a:gd name="T24" fmla="*/ 475 h 47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36" h="475">
                  <a:moveTo>
                    <a:pt x="835" y="232"/>
                  </a:moveTo>
                  <a:lnTo>
                    <a:pt x="748" y="0"/>
                  </a:lnTo>
                  <a:lnTo>
                    <a:pt x="2" y="0"/>
                  </a:lnTo>
                  <a:lnTo>
                    <a:pt x="79" y="233"/>
                  </a:lnTo>
                  <a:lnTo>
                    <a:pt x="0" y="473"/>
                  </a:lnTo>
                  <a:lnTo>
                    <a:pt x="741" y="474"/>
                  </a:lnTo>
                  <a:lnTo>
                    <a:pt x="835" y="232"/>
                  </a:lnTo>
                </a:path>
              </a:pathLst>
            </a:custGeom>
            <a:solidFill>
              <a:schemeClr val="accent2"/>
            </a:solidFill>
            <a:ln w="12700" cap="rnd">
              <a:solidFill>
                <a:schemeClr val="bg1"/>
              </a:solidFill>
              <a:round/>
              <a:headEnd/>
              <a:tailEnd/>
            </a:ln>
          </p:spPr>
          <p:txBody>
            <a:bodyPr lIns="27000" tIns="27000" rIns="27000" bIns="27000" anchor="ctr">
              <a:noAutofit/>
            </a:bodyPr>
            <a:lstStyle/>
            <a:p>
              <a:pPr algn="ctr" defTabSz="685800">
                <a:buClrTx/>
                <a:defRPr/>
              </a:pPr>
              <a:r>
                <a:rPr lang="en-US" sz="1050" kern="1200">
                  <a:solidFill>
                    <a:prstClr val="white"/>
                  </a:solidFill>
                  <a:ea typeface="+mn-ea"/>
                  <a:cs typeface="+mn-cs"/>
                </a:rPr>
                <a:t>Text</a:t>
              </a:r>
              <a:endParaRPr lang="en-US" sz="1050" kern="1200" dirty="0">
                <a:solidFill>
                  <a:prstClr val="white"/>
                </a:solidFill>
                <a:ea typeface="+mn-ea"/>
                <a:cs typeface="+mn-cs"/>
              </a:endParaRPr>
            </a:p>
          </p:txBody>
        </p:sp>
        <p:sp>
          <p:nvSpPr>
            <p:cNvPr id="6" name="Freeform 3"/>
            <p:cNvSpPr>
              <a:spLocks/>
            </p:cNvSpPr>
            <p:nvPr/>
          </p:nvSpPr>
          <p:spPr bwMode="blackWhite">
            <a:xfrm>
              <a:off x="3379788" y="3524250"/>
              <a:ext cx="1301750" cy="1643063"/>
            </a:xfrm>
            <a:custGeom>
              <a:avLst/>
              <a:gdLst>
                <a:gd name="T0" fmla="*/ 2147483647 w 691"/>
                <a:gd name="T1" fmla="*/ 2147483647 h 828"/>
                <a:gd name="T2" fmla="*/ 2147483647 w 691"/>
                <a:gd name="T3" fmla="*/ 2147483647 h 828"/>
                <a:gd name="T4" fmla="*/ 2147483647 w 691"/>
                <a:gd name="T5" fmla="*/ 2147483647 h 828"/>
                <a:gd name="T6" fmla="*/ 0 w 691"/>
                <a:gd name="T7" fmla="*/ 0 h 828"/>
                <a:gd name="T8" fmla="*/ 0 w 691"/>
                <a:gd name="T9" fmla="*/ 2147483647 h 828"/>
                <a:gd name="T10" fmla="*/ 0 w 691"/>
                <a:gd name="T11" fmla="*/ 2147483647 h 828"/>
                <a:gd name="T12" fmla="*/ 0 w 691"/>
                <a:gd name="T13" fmla="*/ 2147483647 h 828"/>
                <a:gd name="T14" fmla="*/ 2147483647 w 691"/>
                <a:gd name="T15" fmla="*/ 2147483647 h 828"/>
                <a:gd name="T16" fmla="*/ 2147483647 w 691"/>
                <a:gd name="T17" fmla="*/ 2147483647 h 828"/>
                <a:gd name="T18" fmla="*/ 2147483647 w 691"/>
                <a:gd name="T19" fmla="*/ 2147483647 h 828"/>
                <a:gd name="T20" fmla="*/ 2147483647 w 691"/>
                <a:gd name="T21" fmla="*/ 2147483647 h 828"/>
                <a:gd name="T22" fmla="*/ 2147483647 w 691"/>
                <a:gd name="T23" fmla="*/ 2147483647 h 828"/>
                <a:gd name="T24" fmla="*/ 2147483647 w 691"/>
                <a:gd name="T25" fmla="*/ 2147483647 h 828"/>
                <a:gd name="T26" fmla="*/ 2147483647 w 691"/>
                <a:gd name="T27" fmla="*/ 2147483647 h 828"/>
                <a:gd name="T28" fmla="*/ 2147483647 w 691"/>
                <a:gd name="T29" fmla="*/ 2147483647 h 828"/>
                <a:gd name="T30" fmla="*/ 2147483647 w 691"/>
                <a:gd name="T31" fmla="*/ 2147483647 h 828"/>
                <a:gd name="T32" fmla="*/ 2147483647 w 691"/>
                <a:gd name="T33" fmla="*/ 2147483647 h 828"/>
                <a:gd name="T34" fmla="*/ 2147483647 w 691"/>
                <a:gd name="T35" fmla="*/ 2147483647 h 828"/>
                <a:gd name="T36" fmla="*/ 2147483647 w 691"/>
                <a:gd name="T37" fmla="*/ 2147483647 h 828"/>
                <a:gd name="T38" fmla="*/ 2147483647 w 691"/>
                <a:gd name="T39" fmla="*/ 2147483647 h 828"/>
                <a:gd name="T40" fmla="*/ 2147483647 w 691"/>
                <a:gd name="T41" fmla="*/ 2147483647 h 828"/>
                <a:gd name="T42" fmla="*/ 2147483647 w 691"/>
                <a:gd name="T43" fmla="*/ 2147483647 h 828"/>
                <a:gd name="T44" fmla="*/ 2147483647 w 691"/>
                <a:gd name="T45" fmla="*/ 2147483647 h 828"/>
                <a:gd name="T46" fmla="*/ 2147483647 w 691"/>
                <a:gd name="T47" fmla="*/ 2147483647 h 828"/>
                <a:gd name="T48" fmla="*/ 2147483647 w 691"/>
                <a:gd name="T49" fmla="*/ 2147483647 h 828"/>
                <a:gd name="T50" fmla="*/ 2147483647 w 691"/>
                <a:gd name="T51" fmla="*/ 2147483647 h 828"/>
                <a:gd name="T52" fmla="*/ 2147483647 w 691"/>
                <a:gd name="T53" fmla="*/ 2147483647 h 828"/>
                <a:gd name="T54" fmla="*/ 2147483647 w 691"/>
                <a:gd name="T55" fmla="*/ 2147483647 h 828"/>
                <a:gd name="T56" fmla="*/ 2147483647 w 691"/>
                <a:gd name="T57" fmla="*/ 2147483647 h 828"/>
                <a:gd name="T58" fmla="*/ 2147483647 w 691"/>
                <a:gd name="T59" fmla="*/ 2147483647 h 828"/>
                <a:gd name="T60" fmla="*/ 2147483647 w 691"/>
                <a:gd name="T61" fmla="*/ 2147483647 h 82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91"/>
                <a:gd name="T94" fmla="*/ 0 h 828"/>
                <a:gd name="T95" fmla="*/ 691 w 691"/>
                <a:gd name="T96" fmla="*/ 828 h 82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91" h="828">
                  <a:moveTo>
                    <a:pt x="472" y="310"/>
                  </a:moveTo>
                  <a:lnTo>
                    <a:pt x="474" y="6"/>
                  </a:lnTo>
                  <a:lnTo>
                    <a:pt x="243" y="98"/>
                  </a:lnTo>
                  <a:lnTo>
                    <a:pt x="0" y="0"/>
                  </a:lnTo>
                  <a:lnTo>
                    <a:pt x="0" y="309"/>
                  </a:lnTo>
                  <a:lnTo>
                    <a:pt x="0" y="618"/>
                  </a:lnTo>
                  <a:lnTo>
                    <a:pt x="0" y="640"/>
                  </a:lnTo>
                  <a:lnTo>
                    <a:pt x="4" y="661"/>
                  </a:lnTo>
                  <a:lnTo>
                    <a:pt x="9" y="681"/>
                  </a:lnTo>
                  <a:lnTo>
                    <a:pt x="17" y="701"/>
                  </a:lnTo>
                  <a:lnTo>
                    <a:pt x="28" y="720"/>
                  </a:lnTo>
                  <a:lnTo>
                    <a:pt x="41" y="738"/>
                  </a:lnTo>
                  <a:lnTo>
                    <a:pt x="58" y="754"/>
                  </a:lnTo>
                  <a:lnTo>
                    <a:pt x="75" y="768"/>
                  </a:lnTo>
                  <a:lnTo>
                    <a:pt x="95" y="782"/>
                  </a:lnTo>
                  <a:lnTo>
                    <a:pt x="118" y="794"/>
                  </a:lnTo>
                  <a:lnTo>
                    <a:pt x="142" y="804"/>
                  </a:lnTo>
                  <a:lnTo>
                    <a:pt x="167" y="812"/>
                  </a:lnTo>
                  <a:lnTo>
                    <a:pt x="194" y="819"/>
                  </a:lnTo>
                  <a:lnTo>
                    <a:pt x="223" y="824"/>
                  </a:lnTo>
                  <a:lnTo>
                    <a:pt x="252" y="827"/>
                  </a:lnTo>
                  <a:lnTo>
                    <a:pt x="614" y="827"/>
                  </a:lnTo>
                  <a:lnTo>
                    <a:pt x="690" y="586"/>
                  </a:lnTo>
                  <a:lnTo>
                    <a:pt x="609" y="355"/>
                  </a:lnTo>
                  <a:lnTo>
                    <a:pt x="512" y="355"/>
                  </a:lnTo>
                  <a:lnTo>
                    <a:pt x="501" y="352"/>
                  </a:lnTo>
                  <a:lnTo>
                    <a:pt x="492" y="346"/>
                  </a:lnTo>
                  <a:lnTo>
                    <a:pt x="484" y="339"/>
                  </a:lnTo>
                  <a:lnTo>
                    <a:pt x="478" y="330"/>
                  </a:lnTo>
                  <a:lnTo>
                    <a:pt x="474" y="321"/>
                  </a:lnTo>
                  <a:lnTo>
                    <a:pt x="472" y="310"/>
                  </a:lnTo>
                </a:path>
              </a:pathLst>
            </a:custGeom>
            <a:solidFill>
              <a:srgbClr val="313131"/>
            </a:solidFill>
            <a:ln w="12700" cap="rnd">
              <a:solidFill>
                <a:schemeClr val="bg1"/>
              </a:solidFill>
              <a:round/>
              <a:headEnd/>
              <a:tailEnd/>
            </a:ln>
          </p:spPr>
          <p:txBody>
            <a:bodyPr lIns="27000" tIns="567000" rIns="27000" bIns="27000" anchor="ctr">
              <a:noAutofit/>
            </a:bodyPr>
            <a:lstStyle/>
            <a:p>
              <a:pPr algn="ctr" defTabSz="685800">
                <a:buClrTx/>
                <a:defRPr/>
              </a:pPr>
              <a:r>
                <a:rPr lang="en-US" sz="1050" kern="1200">
                  <a:solidFill>
                    <a:prstClr val="white"/>
                  </a:solidFill>
                  <a:ea typeface="+mn-ea"/>
                  <a:cs typeface="+mn-cs"/>
                </a:rPr>
                <a:t>Text</a:t>
              </a:r>
              <a:endParaRPr lang="en-US" sz="1050" kern="1200" dirty="0">
                <a:solidFill>
                  <a:prstClr val="white"/>
                </a:solidFill>
                <a:ea typeface="+mn-ea"/>
                <a:cs typeface="+mn-cs"/>
              </a:endParaRPr>
            </a:p>
          </p:txBody>
        </p:sp>
        <p:sp>
          <p:nvSpPr>
            <p:cNvPr id="7" name="Freeform 4"/>
            <p:cNvSpPr>
              <a:spLocks/>
            </p:cNvSpPr>
            <p:nvPr/>
          </p:nvSpPr>
          <p:spPr bwMode="blackWhite">
            <a:xfrm>
              <a:off x="6032500" y="3803650"/>
              <a:ext cx="1557338" cy="1362075"/>
            </a:xfrm>
            <a:custGeom>
              <a:avLst/>
              <a:gdLst>
                <a:gd name="T0" fmla="*/ 2147483647 w 824"/>
                <a:gd name="T1" fmla="*/ 2147483647 h 687"/>
                <a:gd name="T2" fmla="*/ 2147483647 w 824"/>
                <a:gd name="T3" fmla="*/ 2147483647 h 687"/>
                <a:gd name="T4" fmla="*/ 2147483647 w 824"/>
                <a:gd name="T5" fmla="*/ 2147483647 h 687"/>
                <a:gd name="T6" fmla="*/ 2147483647 w 824"/>
                <a:gd name="T7" fmla="*/ 2147483647 h 687"/>
                <a:gd name="T8" fmla="*/ 0 w 824"/>
                <a:gd name="T9" fmla="*/ 2147483647 h 687"/>
                <a:gd name="T10" fmla="*/ 2147483647 w 824"/>
                <a:gd name="T11" fmla="*/ 2147483647 h 687"/>
                <a:gd name="T12" fmla="*/ 2147483647 w 824"/>
                <a:gd name="T13" fmla="*/ 2147483647 h 687"/>
                <a:gd name="T14" fmla="*/ 2147483647 w 824"/>
                <a:gd name="T15" fmla="*/ 2147483647 h 687"/>
                <a:gd name="T16" fmla="*/ 2147483647 w 824"/>
                <a:gd name="T17" fmla="*/ 2147483647 h 687"/>
                <a:gd name="T18" fmla="*/ 2147483647 w 824"/>
                <a:gd name="T19" fmla="*/ 2147483647 h 687"/>
                <a:gd name="T20" fmla="*/ 2147483647 w 824"/>
                <a:gd name="T21" fmla="*/ 2147483647 h 687"/>
                <a:gd name="T22" fmla="*/ 2147483647 w 824"/>
                <a:gd name="T23" fmla="*/ 2147483647 h 687"/>
                <a:gd name="T24" fmla="*/ 2147483647 w 824"/>
                <a:gd name="T25" fmla="*/ 2147483647 h 687"/>
                <a:gd name="T26" fmla="*/ 2147483647 w 824"/>
                <a:gd name="T27" fmla="*/ 2147483647 h 687"/>
                <a:gd name="T28" fmla="*/ 2147483647 w 824"/>
                <a:gd name="T29" fmla="*/ 2147483647 h 687"/>
                <a:gd name="T30" fmla="*/ 2147483647 w 824"/>
                <a:gd name="T31" fmla="*/ 2147483647 h 687"/>
                <a:gd name="T32" fmla="*/ 2147483647 w 824"/>
                <a:gd name="T33" fmla="*/ 2147483647 h 687"/>
                <a:gd name="T34" fmla="*/ 2147483647 w 824"/>
                <a:gd name="T35" fmla="*/ 2147483647 h 687"/>
                <a:gd name="T36" fmla="*/ 2147483647 w 824"/>
                <a:gd name="T37" fmla="*/ 2147483647 h 687"/>
                <a:gd name="T38" fmla="*/ 2147483647 w 824"/>
                <a:gd name="T39" fmla="*/ 2147483647 h 687"/>
                <a:gd name="T40" fmla="*/ 2147483647 w 824"/>
                <a:gd name="T41" fmla="*/ 2147483647 h 687"/>
                <a:gd name="T42" fmla="*/ 2147483647 w 824"/>
                <a:gd name="T43" fmla="*/ 0 h 687"/>
                <a:gd name="T44" fmla="*/ 2147483647 w 824"/>
                <a:gd name="T45" fmla="*/ 2147483647 h 687"/>
                <a:gd name="T46" fmla="*/ 2147483647 w 824"/>
                <a:gd name="T47" fmla="*/ 2147483647 h 687"/>
                <a:gd name="T48" fmla="*/ 2147483647 w 824"/>
                <a:gd name="T49" fmla="*/ 2147483647 h 687"/>
                <a:gd name="T50" fmla="*/ 2147483647 w 824"/>
                <a:gd name="T51" fmla="*/ 2147483647 h 687"/>
                <a:gd name="T52" fmla="*/ 2147483647 w 824"/>
                <a:gd name="T53" fmla="*/ 2147483647 h 687"/>
                <a:gd name="T54" fmla="*/ 2147483647 w 824"/>
                <a:gd name="T55" fmla="*/ 2147483647 h 687"/>
                <a:gd name="T56" fmla="*/ 2147483647 w 824"/>
                <a:gd name="T57" fmla="*/ 2147483647 h 687"/>
                <a:gd name="T58" fmla="*/ 2147483647 w 824"/>
                <a:gd name="T59" fmla="*/ 2147483647 h 6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24"/>
                <a:gd name="T91" fmla="*/ 0 h 687"/>
                <a:gd name="T92" fmla="*/ 824 w 824"/>
                <a:gd name="T93" fmla="*/ 687 h 68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24" h="687">
                  <a:moveTo>
                    <a:pt x="292" y="213"/>
                  </a:moveTo>
                  <a:lnTo>
                    <a:pt x="149" y="213"/>
                  </a:lnTo>
                  <a:lnTo>
                    <a:pt x="6" y="213"/>
                  </a:lnTo>
                  <a:lnTo>
                    <a:pt x="89" y="439"/>
                  </a:lnTo>
                  <a:lnTo>
                    <a:pt x="0" y="686"/>
                  </a:lnTo>
                  <a:lnTo>
                    <a:pt x="659" y="686"/>
                  </a:lnTo>
                  <a:lnTo>
                    <a:pt x="682" y="682"/>
                  </a:lnTo>
                  <a:lnTo>
                    <a:pt x="703" y="676"/>
                  </a:lnTo>
                  <a:lnTo>
                    <a:pt x="724" y="668"/>
                  </a:lnTo>
                  <a:lnTo>
                    <a:pt x="742" y="658"/>
                  </a:lnTo>
                  <a:lnTo>
                    <a:pt x="758" y="645"/>
                  </a:lnTo>
                  <a:lnTo>
                    <a:pt x="773" y="629"/>
                  </a:lnTo>
                  <a:lnTo>
                    <a:pt x="786" y="611"/>
                  </a:lnTo>
                  <a:lnTo>
                    <a:pt x="797" y="592"/>
                  </a:lnTo>
                  <a:lnTo>
                    <a:pt x="806" y="569"/>
                  </a:lnTo>
                  <a:lnTo>
                    <a:pt x="813" y="545"/>
                  </a:lnTo>
                  <a:lnTo>
                    <a:pt x="818" y="519"/>
                  </a:lnTo>
                  <a:lnTo>
                    <a:pt x="822" y="490"/>
                  </a:lnTo>
                  <a:lnTo>
                    <a:pt x="823" y="460"/>
                  </a:lnTo>
                  <a:lnTo>
                    <a:pt x="823" y="428"/>
                  </a:lnTo>
                  <a:lnTo>
                    <a:pt x="823" y="82"/>
                  </a:lnTo>
                  <a:lnTo>
                    <a:pt x="580" y="0"/>
                  </a:lnTo>
                  <a:lnTo>
                    <a:pt x="352" y="80"/>
                  </a:lnTo>
                  <a:lnTo>
                    <a:pt x="352" y="171"/>
                  </a:lnTo>
                  <a:lnTo>
                    <a:pt x="346" y="183"/>
                  </a:lnTo>
                  <a:lnTo>
                    <a:pt x="339" y="193"/>
                  </a:lnTo>
                  <a:lnTo>
                    <a:pt x="329" y="202"/>
                  </a:lnTo>
                  <a:lnTo>
                    <a:pt x="318" y="209"/>
                  </a:lnTo>
                  <a:lnTo>
                    <a:pt x="305" y="213"/>
                  </a:lnTo>
                  <a:lnTo>
                    <a:pt x="292" y="213"/>
                  </a:lnTo>
                </a:path>
              </a:pathLst>
            </a:custGeom>
            <a:solidFill>
              <a:srgbClr val="B4B4B4"/>
            </a:solidFill>
            <a:ln w="12700" cap="rnd">
              <a:solidFill>
                <a:schemeClr val="bg1"/>
              </a:solidFill>
              <a:round/>
              <a:headEnd/>
              <a:tailEnd/>
            </a:ln>
          </p:spPr>
          <p:txBody>
            <a:bodyPr lIns="243000" tIns="351000" rIns="27000" bIns="27000" anchor="ctr">
              <a:noAutofit/>
            </a:bodyPr>
            <a:lstStyle/>
            <a:p>
              <a:pPr algn="ctr" defTabSz="685800">
                <a:buClrTx/>
                <a:defRPr/>
              </a:pPr>
              <a:r>
                <a:rPr lang="en-US" sz="1050" kern="1200">
                  <a:solidFill>
                    <a:prstClr val="white"/>
                  </a:solidFill>
                  <a:ea typeface="+mn-ea"/>
                  <a:cs typeface="+mn-cs"/>
                </a:rPr>
                <a:t>Text</a:t>
              </a:r>
              <a:endParaRPr lang="en-US" sz="1050" kern="1200" dirty="0">
                <a:solidFill>
                  <a:prstClr val="white"/>
                </a:solidFill>
                <a:ea typeface="+mn-ea"/>
                <a:cs typeface="+mn-cs"/>
              </a:endParaRPr>
            </a:p>
          </p:txBody>
        </p:sp>
        <p:sp>
          <p:nvSpPr>
            <p:cNvPr id="8" name="Freeform 5"/>
            <p:cNvSpPr>
              <a:spLocks/>
            </p:cNvSpPr>
            <p:nvPr/>
          </p:nvSpPr>
          <p:spPr bwMode="blackWhite">
            <a:xfrm>
              <a:off x="4875213" y="2630488"/>
              <a:ext cx="1555750" cy="1363662"/>
            </a:xfrm>
            <a:custGeom>
              <a:avLst/>
              <a:gdLst>
                <a:gd name="T0" fmla="*/ 2147483647 w 824"/>
                <a:gd name="T1" fmla="*/ 2147483647 h 688"/>
                <a:gd name="T2" fmla="*/ 2147483647 w 824"/>
                <a:gd name="T3" fmla="*/ 2147483647 h 688"/>
                <a:gd name="T4" fmla="*/ 2147483647 w 824"/>
                <a:gd name="T5" fmla="*/ 2147483647 h 688"/>
                <a:gd name="T6" fmla="*/ 2147483647 w 824"/>
                <a:gd name="T7" fmla="*/ 2147483647 h 688"/>
                <a:gd name="T8" fmla="*/ 2147483647 w 824"/>
                <a:gd name="T9" fmla="*/ 0 h 688"/>
                <a:gd name="T10" fmla="*/ 2147483647 w 824"/>
                <a:gd name="T11" fmla="*/ 0 h 688"/>
                <a:gd name="T12" fmla="*/ 2147483647 w 824"/>
                <a:gd name="T13" fmla="*/ 2147483647 h 688"/>
                <a:gd name="T14" fmla="*/ 2147483647 w 824"/>
                <a:gd name="T15" fmla="*/ 2147483647 h 688"/>
                <a:gd name="T16" fmla="*/ 2147483647 w 824"/>
                <a:gd name="T17" fmla="*/ 2147483647 h 688"/>
                <a:gd name="T18" fmla="*/ 2147483647 w 824"/>
                <a:gd name="T19" fmla="*/ 2147483647 h 688"/>
                <a:gd name="T20" fmla="*/ 2147483647 w 824"/>
                <a:gd name="T21" fmla="*/ 2147483647 h 688"/>
                <a:gd name="T22" fmla="*/ 2147483647 w 824"/>
                <a:gd name="T23" fmla="*/ 2147483647 h 688"/>
                <a:gd name="T24" fmla="*/ 2147483647 w 824"/>
                <a:gd name="T25" fmla="*/ 2147483647 h 688"/>
                <a:gd name="T26" fmla="*/ 2147483647 w 824"/>
                <a:gd name="T27" fmla="*/ 2147483647 h 688"/>
                <a:gd name="T28" fmla="*/ 2147483647 w 824"/>
                <a:gd name="T29" fmla="*/ 2147483647 h 688"/>
                <a:gd name="T30" fmla="*/ 2147483647 w 824"/>
                <a:gd name="T31" fmla="*/ 2147483647 h 688"/>
                <a:gd name="T32" fmla="*/ 2147483647 w 824"/>
                <a:gd name="T33" fmla="*/ 2147483647 h 688"/>
                <a:gd name="T34" fmla="*/ 2147483647 w 824"/>
                <a:gd name="T35" fmla="*/ 2147483647 h 688"/>
                <a:gd name="T36" fmla="*/ 0 w 824"/>
                <a:gd name="T37" fmla="*/ 2147483647 h 688"/>
                <a:gd name="T38" fmla="*/ 2147483647 w 824"/>
                <a:gd name="T39" fmla="*/ 2147483647 h 688"/>
                <a:gd name="T40" fmla="*/ 2147483647 w 824"/>
                <a:gd name="T41" fmla="*/ 2147483647 h 688"/>
                <a:gd name="T42" fmla="*/ 2147483647 w 824"/>
                <a:gd name="T43" fmla="*/ 2147483647 h 688"/>
                <a:gd name="T44" fmla="*/ 2147483647 w 824"/>
                <a:gd name="T45" fmla="*/ 2147483647 h 688"/>
                <a:gd name="T46" fmla="*/ 2147483647 w 824"/>
                <a:gd name="T47" fmla="*/ 2147483647 h 688"/>
                <a:gd name="T48" fmla="*/ 2147483647 w 824"/>
                <a:gd name="T49" fmla="*/ 2147483647 h 688"/>
                <a:gd name="T50" fmla="*/ 2147483647 w 824"/>
                <a:gd name="T51" fmla="*/ 2147483647 h 688"/>
                <a:gd name="T52" fmla="*/ 2147483647 w 824"/>
                <a:gd name="T53" fmla="*/ 2147483647 h 688"/>
                <a:gd name="T54" fmla="*/ 2147483647 w 824"/>
                <a:gd name="T55" fmla="*/ 2147483647 h 688"/>
                <a:gd name="T56" fmla="*/ 2147483647 w 824"/>
                <a:gd name="T57" fmla="*/ 2147483647 h 688"/>
                <a:gd name="T58" fmla="*/ 2147483647 w 824"/>
                <a:gd name="T59" fmla="*/ 2147483647 h 68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24"/>
                <a:gd name="T91" fmla="*/ 0 h 688"/>
                <a:gd name="T92" fmla="*/ 824 w 824"/>
                <a:gd name="T93" fmla="*/ 688 h 68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24" h="688">
                  <a:moveTo>
                    <a:pt x="531" y="473"/>
                  </a:moveTo>
                  <a:lnTo>
                    <a:pt x="675" y="474"/>
                  </a:lnTo>
                  <a:lnTo>
                    <a:pt x="819" y="473"/>
                  </a:lnTo>
                  <a:lnTo>
                    <a:pt x="729" y="244"/>
                  </a:lnTo>
                  <a:lnTo>
                    <a:pt x="823" y="0"/>
                  </a:lnTo>
                  <a:lnTo>
                    <a:pt x="164" y="0"/>
                  </a:lnTo>
                  <a:lnTo>
                    <a:pt x="141" y="4"/>
                  </a:lnTo>
                  <a:lnTo>
                    <a:pt x="120" y="10"/>
                  </a:lnTo>
                  <a:lnTo>
                    <a:pt x="100" y="19"/>
                  </a:lnTo>
                  <a:lnTo>
                    <a:pt x="82" y="30"/>
                  </a:lnTo>
                  <a:lnTo>
                    <a:pt x="66" y="43"/>
                  </a:lnTo>
                  <a:lnTo>
                    <a:pt x="51" y="58"/>
                  </a:lnTo>
                  <a:lnTo>
                    <a:pt x="38" y="76"/>
                  </a:lnTo>
                  <a:lnTo>
                    <a:pt x="27" y="96"/>
                  </a:lnTo>
                  <a:lnTo>
                    <a:pt x="18" y="118"/>
                  </a:lnTo>
                  <a:lnTo>
                    <a:pt x="10" y="142"/>
                  </a:lnTo>
                  <a:lnTo>
                    <a:pt x="5" y="168"/>
                  </a:lnTo>
                  <a:lnTo>
                    <a:pt x="1" y="196"/>
                  </a:lnTo>
                  <a:lnTo>
                    <a:pt x="0" y="227"/>
                  </a:lnTo>
                  <a:lnTo>
                    <a:pt x="1" y="259"/>
                  </a:lnTo>
                  <a:lnTo>
                    <a:pt x="1" y="611"/>
                  </a:lnTo>
                  <a:lnTo>
                    <a:pt x="244" y="687"/>
                  </a:lnTo>
                  <a:lnTo>
                    <a:pt x="472" y="607"/>
                  </a:lnTo>
                  <a:lnTo>
                    <a:pt x="472" y="517"/>
                  </a:lnTo>
                  <a:lnTo>
                    <a:pt x="477" y="504"/>
                  </a:lnTo>
                  <a:lnTo>
                    <a:pt x="485" y="493"/>
                  </a:lnTo>
                  <a:lnTo>
                    <a:pt x="495" y="485"/>
                  </a:lnTo>
                  <a:lnTo>
                    <a:pt x="506" y="479"/>
                  </a:lnTo>
                  <a:lnTo>
                    <a:pt x="519" y="475"/>
                  </a:lnTo>
                  <a:lnTo>
                    <a:pt x="531" y="473"/>
                  </a:lnTo>
                </a:path>
              </a:pathLst>
            </a:custGeom>
            <a:solidFill>
              <a:srgbClr val="B4B4B4"/>
            </a:solidFill>
            <a:ln w="12700" cap="rnd">
              <a:solidFill>
                <a:schemeClr val="bg1"/>
              </a:solidFill>
              <a:round/>
              <a:headEnd/>
              <a:tailEnd/>
            </a:ln>
          </p:spPr>
          <p:txBody>
            <a:bodyPr lIns="27000" tIns="27000" rIns="27000" bIns="324000" anchor="ctr">
              <a:noAutofit/>
            </a:bodyPr>
            <a:lstStyle/>
            <a:p>
              <a:pPr algn="ctr" defTabSz="685800">
                <a:buClrTx/>
                <a:defRPr/>
              </a:pPr>
              <a:r>
                <a:rPr lang="en-US" sz="1050" kern="1200">
                  <a:solidFill>
                    <a:prstClr val="white"/>
                  </a:solidFill>
                  <a:ea typeface="+mn-ea"/>
                  <a:cs typeface="+mn-cs"/>
                </a:rPr>
                <a:t>Text</a:t>
              </a:r>
              <a:endParaRPr lang="en-US" sz="1050" kern="1200" dirty="0">
                <a:solidFill>
                  <a:prstClr val="white"/>
                </a:solidFill>
                <a:ea typeface="+mn-ea"/>
                <a:cs typeface="+mn-cs"/>
              </a:endParaRPr>
            </a:p>
          </p:txBody>
        </p:sp>
        <p:sp>
          <p:nvSpPr>
            <p:cNvPr id="9" name="Freeform 6"/>
            <p:cNvSpPr>
              <a:spLocks/>
            </p:cNvSpPr>
            <p:nvPr/>
          </p:nvSpPr>
          <p:spPr bwMode="blackWhite">
            <a:xfrm>
              <a:off x="6307138" y="2628900"/>
              <a:ext cx="1282700" cy="1292225"/>
            </a:xfrm>
            <a:custGeom>
              <a:avLst/>
              <a:gdLst>
                <a:gd name="T0" fmla="*/ 2147483647 w 678"/>
                <a:gd name="T1" fmla="*/ 2147483647 h 652"/>
                <a:gd name="T2" fmla="*/ 2147483647 w 678"/>
                <a:gd name="T3" fmla="*/ 2147483647 h 652"/>
                <a:gd name="T4" fmla="*/ 2147483647 w 678"/>
                <a:gd name="T5" fmla="*/ 2147483647 h 652"/>
                <a:gd name="T6" fmla="*/ 2147483647 w 678"/>
                <a:gd name="T7" fmla="*/ 2147483647 h 652"/>
                <a:gd name="T8" fmla="*/ 2147483647 w 678"/>
                <a:gd name="T9" fmla="*/ 2147483647 h 652"/>
                <a:gd name="T10" fmla="*/ 2147483647 w 678"/>
                <a:gd name="T11" fmla="*/ 2147483647 h 652"/>
                <a:gd name="T12" fmla="*/ 2147483647 w 678"/>
                <a:gd name="T13" fmla="*/ 2147483647 h 652"/>
                <a:gd name="T14" fmla="*/ 2147483647 w 678"/>
                <a:gd name="T15" fmla="*/ 2147483647 h 652"/>
                <a:gd name="T16" fmla="*/ 2147483647 w 678"/>
                <a:gd name="T17" fmla="*/ 2147483647 h 652"/>
                <a:gd name="T18" fmla="*/ 2147483647 w 678"/>
                <a:gd name="T19" fmla="*/ 2147483647 h 652"/>
                <a:gd name="T20" fmla="*/ 2147483647 w 678"/>
                <a:gd name="T21" fmla="*/ 2147483647 h 652"/>
                <a:gd name="T22" fmla="*/ 2147483647 w 678"/>
                <a:gd name="T23" fmla="*/ 2147483647 h 652"/>
                <a:gd name="T24" fmla="*/ 2147483647 w 678"/>
                <a:gd name="T25" fmla="*/ 2147483647 h 652"/>
                <a:gd name="T26" fmla="*/ 2147483647 w 678"/>
                <a:gd name="T27" fmla="*/ 2147483647 h 652"/>
                <a:gd name="T28" fmla="*/ 2147483647 w 678"/>
                <a:gd name="T29" fmla="*/ 2147483647 h 652"/>
                <a:gd name="T30" fmla="*/ 2147483647 w 678"/>
                <a:gd name="T31" fmla="*/ 2147483647 h 652"/>
                <a:gd name="T32" fmla="*/ 2147483647 w 678"/>
                <a:gd name="T33" fmla="*/ 2147483647 h 652"/>
                <a:gd name="T34" fmla="*/ 2147483647 w 678"/>
                <a:gd name="T35" fmla="*/ 2147483647 h 652"/>
                <a:gd name="T36" fmla="*/ 2147483647 w 678"/>
                <a:gd name="T37" fmla="*/ 2147483647 h 652"/>
                <a:gd name="T38" fmla="*/ 2147483647 w 678"/>
                <a:gd name="T39" fmla="*/ 0 h 652"/>
                <a:gd name="T40" fmla="*/ 0 w 678"/>
                <a:gd name="T41" fmla="*/ 2147483647 h 652"/>
                <a:gd name="T42" fmla="*/ 2147483647 w 678"/>
                <a:gd name="T43" fmla="*/ 2147483647 h 652"/>
                <a:gd name="T44" fmla="*/ 2147483647 w 678"/>
                <a:gd name="T45" fmla="*/ 2147483647 h 652"/>
                <a:gd name="T46" fmla="*/ 2147483647 w 678"/>
                <a:gd name="T47" fmla="*/ 2147483647 h 652"/>
                <a:gd name="T48" fmla="*/ 2147483647 w 678"/>
                <a:gd name="T49" fmla="*/ 2147483647 h 652"/>
                <a:gd name="T50" fmla="*/ 2147483647 w 678"/>
                <a:gd name="T51" fmla="*/ 2147483647 h 652"/>
                <a:gd name="T52" fmla="*/ 2147483647 w 678"/>
                <a:gd name="T53" fmla="*/ 2147483647 h 652"/>
                <a:gd name="T54" fmla="*/ 2147483647 w 678"/>
                <a:gd name="T55" fmla="*/ 2147483647 h 652"/>
                <a:gd name="T56" fmla="*/ 2147483647 w 678"/>
                <a:gd name="T57" fmla="*/ 2147483647 h 652"/>
                <a:gd name="T58" fmla="*/ 2147483647 w 678"/>
                <a:gd name="T59" fmla="*/ 2147483647 h 652"/>
                <a:gd name="T60" fmla="*/ 2147483647 w 678"/>
                <a:gd name="T61" fmla="*/ 2147483647 h 652"/>
                <a:gd name="T62" fmla="*/ 2147483647 w 678"/>
                <a:gd name="T63" fmla="*/ 2147483647 h 65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78"/>
                <a:gd name="T97" fmla="*/ 0 h 652"/>
                <a:gd name="T98" fmla="*/ 678 w 678"/>
                <a:gd name="T99" fmla="*/ 652 h 65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78" h="652">
                  <a:moveTo>
                    <a:pt x="205" y="545"/>
                  </a:moveTo>
                  <a:lnTo>
                    <a:pt x="205" y="651"/>
                  </a:lnTo>
                  <a:lnTo>
                    <a:pt x="435" y="569"/>
                  </a:lnTo>
                  <a:lnTo>
                    <a:pt x="677" y="649"/>
                  </a:lnTo>
                  <a:lnTo>
                    <a:pt x="677" y="180"/>
                  </a:lnTo>
                  <a:lnTo>
                    <a:pt x="674" y="156"/>
                  </a:lnTo>
                  <a:lnTo>
                    <a:pt x="669" y="133"/>
                  </a:lnTo>
                  <a:lnTo>
                    <a:pt x="661" y="113"/>
                  </a:lnTo>
                  <a:lnTo>
                    <a:pt x="650" y="93"/>
                  </a:lnTo>
                  <a:lnTo>
                    <a:pt x="637" y="75"/>
                  </a:lnTo>
                  <a:lnTo>
                    <a:pt x="622" y="60"/>
                  </a:lnTo>
                  <a:lnTo>
                    <a:pt x="604" y="46"/>
                  </a:lnTo>
                  <a:lnTo>
                    <a:pt x="583" y="34"/>
                  </a:lnTo>
                  <a:lnTo>
                    <a:pt x="561" y="24"/>
                  </a:lnTo>
                  <a:lnTo>
                    <a:pt x="536" y="15"/>
                  </a:lnTo>
                  <a:lnTo>
                    <a:pt x="508" y="8"/>
                  </a:lnTo>
                  <a:lnTo>
                    <a:pt x="479" y="4"/>
                  </a:lnTo>
                  <a:lnTo>
                    <a:pt x="448" y="1"/>
                  </a:lnTo>
                  <a:lnTo>
                    <a:pt x="414" y="1"/>
                  </a:lnTo>
                  <a:lnTo>
                    <a:pt x="89" y="0"/>
                  </a:lnTo>
                  <a:lnTo>
                    <a:pt x="0" y="245"/>
                  </a:lnTo>
                  <a:lnTo>
                    <a:pt x="86" y="475"/>
                  </a:lnTo>
                  <a:lnTo>
                    <a:pt x="136" y="475"/>
                  </a:lnTo>
                  <a:lnTo>
                    <a:pt x="149" y="475"/>
                  </a:lnTo>
                  <a:lnTo>
                    <a:pt x="161" y="477"/>
                  </a:lnTo>
                  <a:lnTo>
                    <a:pt x="173" y="482"/>
                  </a:lnTo>
                  <a:lnTo>
                    <a:pt x="183" y="489"/>
                  </a:lnTo>
                  <a:lnTo>
                    <a:pt x="192" y="498"/>
                  </a:lnTo>
                  <a:lnTo>
                    <a:pt x="199" y="508"/>
                  </a:lnTo>
                  <a:lnTo>
                    <a:pt x="203" y="520"/>
                  </a:lnTo>
                  <a:lnTo>
                    <a:pt x="206" y="532"/>
                  </a:lnTo>
                  <a:lnTo>
                    <a:pt x="205" y="545"/>
                  </a:lnTo>
                </a:path>
              </a:pathLst>
            </a:custGeom>
            <a:solidFill>
              <a:srgbClr val="B4B4B4"/>
            </a:solidFill>
            <a:ln w="12700" cap="rnd">
              <a:solidFill>
                <a:schemeClr val="bg1"/>
              </a:solidFill>
              <a:round/>
              <a:headEnd/>
              <a:tailEnd/>
            </a:ln>
          </p:spPr>
          <p:txBody>
            <a:bodyPr lIns="27000" tIns="27000" rIns="27000" bIns="270000" anchor="ctr">
              <a:noAutofit/>
            </a:bodyPr>
            <a:lstStyle/>
            <a:p>
              <a:pPr algn="ctr" defTabSz="685800">
                <a:buClrTx/>
                <a:defRPr/>
              </a:pPr>
              <a:r>
                <a:rPr lang="en-US" sz="1050" kern="1200">
                  <a:solidFill>
                    <a:prstClr val="white"/>
                  </a:solidFill>
                  <a:ea typeface="+mn-ea"/>
                  <a:cs typeface="+mn-cs"/>
                </a:rPr>
                <a:t>Text</a:t>
              </a:r>
              <a:endParaRPr lang="en-US" sz="1050" kern="1200" dirty="0">
                <a:solidFill>
                  <a:prstClr val="white"/>
                </a:solidFill>
                <a:ea typeface="+mn-ea"/>
                <a:cs typeface="+mn-cs"/>
              </a:endParaRPr>
            </a:p>
          </p:txBody>
        </p:sp>
        <p:sp>
          <p:nvSpPr>
            <p:cNvPr id="10" name="Freeform 7"/>
            <p:cNvSpPr>
              <a:spLocks/>
            </p:cNvSpPr>
            <p:nvPr/>
          </p:nvSpPr>
          <p:spPr bwMode="blackWhite">
            <a:xfrm>
              <a:off x="2693988" y="2286000"/>
              <a:ext cx="1577975" cy="1379538"/>
            </a:xfrm>
            <a:custGeom>
              <a:avLst/>
              <a:gdLst>
                <a:gd name="T0" fmla="*/ 2147483647 w 836"/>
                <a:gd name="T1" fmla="*/ 2147483647 h 696"/>
                <a:gd name="T2" fmla="*/ 2147483647 w 836"/>
                <a:gd name="T3" fmla="*/ 2147483647 h 696"/>
                <a:gd name="T4" fmla="*/ 2147483647 w 836"/>
                <a:gd name="T5" fmla="*/ 2147483647 h 696"/>
                <a:gd name="T6" fmla="*/ 2147483647 w 836"/>
                <a:gd name="T7" fmla="*/ 2147483647 h 696"/>
                <a:gd name="T8" fmla="*/ 2147483647 w 836"/>
                <a:gd name="T9" fmla="*/ 2147483647 h 696"/>
                <a:gd name="T10" fmla="*/ 2147483647 w 836"/>
                <a:gd name="T11" fmla="*/ 2147483647 h 696"/>
                <a:gd name="T12" fmla="*/ 2147483647 w 836"/>
                <a:gd name="T13" fmla="*/ 2147483647 h 696"/>
                <a:gd name="T14" fmla="*/ 2147483647 w 836"/>
                <a:gd name="T15" fmla="*/ 2147483647 h 696"/>
                <a:gd name="T16" fmla="*/ 2147483647 w 836"/>
                <a:gd name="T17" fmla="*/ 2147483647 h 696"/>
                <a:gd name="T18" fmla="*/ 2147483647 w 836"/>
                <a:gd name="T19" fmla="*/ 2147483647 h 696"/>
                <a:gd name="T20" fmla="*/ 2147483647 w 836"/>
                <a:gd name="T21" fmla="*/ 2147483647 h 696"/>
                <a:gd name="T22" fmla="*/ 2147483647 w 836"/>
                <a:gd name="T23" fmla="*/ 2147483647 h 696"/>
                <a:gd name="T24" fmla="*/ 2147483647 w 836"/>
                <a:gd name="T25" fmla="*/ 2147483647 h 696"/>
                <a:gd name="T26" fmla="*/ 2147483647 w 836"/>
                <a:gd name="T27" fmla="*/ 2147483647 h 696"/>
                <a:gd name="T28" fmla="*/ 2147483647 w 836"/>
                <a:gd name="T29" fmla="*/ 2147483647 h 696"/>
                <a:gd name="T30" fmla="*/ 2147483647 w 836"/>
                <a:gd name="T31" fmla="*/ 2147483647 h 696"/>
                <a:gd name="T32" fmla="*/ 2147483647 w 836"/>
                <a:gd name="T33" fmla="*/ 2147483647 h 696"/>
                <a:gd name="T34" fmla="*/ 2147483647 w 836"/>
                <a:gd name="T35" fmla="*/ 2147483647 h 696"/>
                <a:gd name="T36" fmla="*/ 2147483647 w 836"/>
                <a:gd name="T37" fmla="*/ 2147483647 h 696"/>
                <a:gd name="T38" fmla="*/ 2147483647 w 836"/>
                <a:gd name="T39" fmla="*/ 2147483647 h 696"/>
                <a:gd name="T40" fmla="*/ 2147483647 w 836"/>
                <a:gd name="T41" fmla="*/ 2147483647 h 696"/>
                <a:gd name="T42" fmla="*/ 2147483647 w 836"/>
                <a:gd name="T43" fmla="*/ 2147483647 h 696"/>
                <a:gd name="T44" fmla="*/ 2147483647 w 836"/>
                <a:gd name="T45" fmla="*/ 2147483647 h 696"/>
                <a:gd name="T46" fmla="*/ 2147483647 w 836"/>
                <a:gd name="T47" fmla="*/ 2147483647 h 696"/>
                <a:gd name="T48" fmla="*/ 2147483647 w 836"/>
                <a:gd name="T49" fmla="*/ 2147483647 h 696"/>
                <a:gd name="T50" fmla="*/ 2147483647 w 836"/>
                <a:gd name="T51" fmla="*/ 2147483647 h 696"/>
                <a:gd name="T52" fmla="*/ 2147483647 w 836"/>
                <a:gd name="T53" fmla="*/ 0 h 696"/>
                <a:gd name="T54" fmla="*/ 2147483647 w 836"/>
                <a:gd name="T55" fmla="*/ 0 h 696"/>
                <a:gd name="T56" fmla="*/ 2147483647 w 836"/>
                <a:gd name="T57" fmla="*/ 2147483647 h 696"/>
                <a:gd name="T58" fmla="*/ 0 w 836"/>
                <a:gd name="T59" fmla="*/ 2147483647 h 696"/>
                <a:gd name="T60" fmla="*/ 2147483647 w 836"/>
                <a:gd name="T61" fmla="*/ 2147483647 h 696"/>
                <a:gd name="T62" fmla="*/ 2147483647 w 836"/>
                <a:gd name="T63" fmla="*/ 2147483647 h 69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36"/>
                <a:gd name="T97" fmla="*/ 0 h 696"/>
                <a:gd name="T98" fmla="*/ 836 w 836"/>
                <a:gd name="T99" fmla="*/ 696 h 69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36" h="696">
                  <a:moveTo>
                    <a:pt x="304" y="473"/>
                  </a:moveTo>
                  <a:lnTo>
                    <a:pt x="316" y="475"/>
                  </a:lnTo>
                  <a:lnTo>
                    <a:pt x="327" y="478"/>
                  </a:lnTo>
                  <a:lnTo>
                    <a:pt x="338" y="484"/>
                  </a:lnTo>
                  <a:lnTo>
                    <a:pt x="347" y="491"/>
                  </a:lnTo>
                  <a:lnTo>
                    <a:pt x="355" y="501"/>
                  </a:lnTo>
                  <a:lnTo>
                    <a:pt x="361" y="512"/>
                  </a:lnTo>
                  <a:lnTo>
                    <a:pt x="363" y="523"/>
                  </a:lnTo>
                  <a:lnTo>
                    <a:pt x="365" y="535"/>
                  </a:lnTo>
                  <a:lnTo>
                    <a:pt x="365" y="602"/>
                  </a:lnTo>
                  <a:lnTo>
                    <a:pt x="604" y="695"/>
                  </a:lnTo>
                  <a:lnTo>
                    <a:pt x="834" y="610"/>
                  </a:lnTo>
                  <a:lnTo>
                    <a:pt x="834" y="259"/>
                  </a:lnTo>
                  <a:lnTo>
                    <a:pt x="835" y="227"/>
                  </a:lnTo>
                  <a:lnTo>
                    <a:pt x="833" y="197"/>
                  </a:lnTo>
                  <a:lnTo>
                    <a:pt x="830" y="168"/>
                  </a:lnTo>
                  <a:lnTo>
                    <a:pt x="825" y="142"/>
                  </a:lnTo>
                  <a:lnTo>
                    <a:pt x="817" y="117"/>
                  </a:lnTo>
                  <a:lnTo>
                    <a:pt x="808" y="96"/>
                  </a:lnTo>
                  <a:lnTo>
                    <a:pt x="797" y="76"/>
                  </a:lnTo>
                  <a:lnTo>
                    <a:pt x="784" y="58"/>
                  </a:lnTo>
                  <a:lnTo>
                    <a:pt x="769" y="43"/>
                  </a:lnTo>
                  <a:lnTo>
                    <a:pt x="753" y="29"/>
                  </a:lnTo>
                  <a:lnTo>
                    <a:pt x="735" y="19"/>
                  </a:lnTo>
                  <a:lnTo>
                    <a:pt x="715" y="10"/>
                  </a:lnTo>
                  <a:lnTo>
                    <a:pt x="694" y="4"/>
                  </a:lnTo>
                  <a:lnTo>
                    <a:pt x="671" y="0"/>
                  </a:lnTo>
                  <a:lnTo>
                    <a:pt x="12" y="0"/>
                  </a:lnTo>
                  <a:lnTo>
                    <a:pt x="97" y="231"/>
                  </a:lnTo>
                  <a:lnTo>
                    <a:pt x="0" y="473"/>
                  </a:lnTo>
                  <a:lnTo>
                    <a:pt x="152" y="474"/>
                  </a:lnTo>
                  <a:lnTo>
                    <a:pt x="304" y="473"/>
                  </a:lnTo>
                </a:path>
              </a:pathLst>
            </a:custGeom>
            <a:solidFill>
              <a:srgbClr val="575757"/>
            </a:solidFill>
            <a:ln w="12700" cap="rnd">
              <a:solidFill>
                <a:schemeClr val="bg1"/>
              </a:solidFill>
              <a:round/>
              <a:headEnd/>
              <a:tailEnd/>
            </a:ln>
          </p:spPr>
          <p:txBody>
            <a:bodyPr lIns="27000" tIns="27000" rIns="27000" bIns="378000" anchor="ctr">
              <a:noAutofit/>
            </a:bodyPr>
            <a:lstStyle/>
            <a:p>
              <a:pPr algn="ctr" defTabSz="685800">
                <a:buClrTx/>
                <a:defRPr/>
              </a:pPr>
              <a:r>
                <a:rPr lang="en-US" sz="1050" kern="1200" dirty="0">
                  <a:solidFill>
                    <a:prstClr val="white"/>
                  </a:solidFill>
                  <a:ea typeface="+mn-ea"/>
                  <a:cs typeface="+mn-cs"/>
                </a:rPr>
                <a:t>Text</a:t>
              </a:r>
            </a:p>
          </p:txBody>
        </p:sp>
        <p:sp>
          <p:nvSpPr>
            <p:cNvPr id="11" name="Freeform 8"/>
            <p:cNvSpPr>
              <a:spLocks/>
            </p:cNvSpPr>
            <p:nvPr/>
          </p:nvSpPr>
          <p:spPr bwMode="blackWhite">
            <a:xfrm>
              <a:off x="1525588" y="3476625"/>
              <a:ext cx="1766887" cy="1379538"/>
            </a:xfrm>
            <a:custGeom>
              <a:avLst/>
              <a:gdLst>
                <a:gd name="T0" fmla="*/ 2147483647 w 936"/>
                <a:gd name="T1" fmla="*/ 2147483647 h 696"/>
                <a:gd name="T2" fmla="*/ 2147483647 w 936"/>
                <a:gd name="T3" fmla="*/ 2147483647 h 696"/>
                <a:gd name="T4" fmla="*/ 2147483647 w 936"/>
                <a:gd name="T5" fmla="*/ 2147483647 h 696"/>
                <a:gd name="T6" fmla="*/ 2147483647 w 936"/>
                <a:gd name="T7" fmla="*/ 2147483647 h 696"/>
                <a:gd name="T8" fmla="*/ 2147483647 w 936"/>
                <a:gd name="T9" fmla="*/ 2147483647 h 696"/>
                <a:gd name="T10" fmla="*/ 2147483647 w 936"/>
                <a:gd name="T11" fmla="*/ 2147483647 h 696"/>
                <a:gd name="T12" fmla="*/ 2147483647 w 936"/>
                <a:gd name="T13" fmla="*/ 2147483647 h 696"/>
                <a:gd name="T14" fmla="*/ 2147483647 w 936"/>
                <a:gd name="T15" fmla="*/ 2147483647 h 696"/>
                <a:gd name="T16" fmla="*/ 2147483647 w 936"/>
                <a:gd name="T17" fmla="*/ 2147483647 h 696"/>
                <a:gd name="T18" fmla="*/ 2147483647 w 936"/>
                <a:gd name="T19" fmla="*/ 0 h 696"/>
                <a:gd name="T20" fmla="*/ 0 w 936"/>
                <a:gd name="T21" fmla="*/ 2147483647 h 696"/>
                <a:gd name="T22" fmla="*/ 2147483647 w 936"/>
                <a:gd name="T23" fmla="*/ 2147483647 h 696"/>
                <a:gd name="T24" fmla="*/ 2147483647 w 936"/>
                <a:gd name="T25" fmla="*/ 2147483647 h 696"/>
                <a:gd name="T26" fmla="*/ 2147483647 w 936"/>
                <a:gd name="T27" fmla="*/ 2147483647 h 696"/>
                <a:gd name="T28" fmla="*/ 2147483647 w 936"/>
                <a:gd name="T29" fmla="*/ 2147483647 h 696"/>
                <a:gd name="T30" fmla="*/ 2147483647 w 936"/>
                <a:gd name="T31" fmla="*/ 2147483647 h 696"/>
                <a:gd name="T32" fmla="*/ 2147483647 w 936"/>
                <a:gd name="T33" fmla="*/ 2147483647 h 696"/>
                <a:gd name="T34" fmla="*/ 2147483647 w 936"/>
                <a:gd name="T35" fmla="*/ 2147483647 h 696"/>
                <a:gd name="T36" fmla="*/ 2147483647 w 936"/>
                <a:gd name="T37" fmla="*/ 2147483647 h 696"/>
                <a:gd name="T38" fmla="*/ 2147483647 w 936"/>
                <a:gd name="T39" fmla="*/ 2147483647 h 696"/>
                <a:gd name="T40" fmla="*/ 2147483647 w 936"/>
                <a:gd name="T41" fmla="*/ 2147483647 h 696"/>
                <a:gd name="T42" fmla="*/ 2147483647 w 936"/>
                <a:gd name="T43" fmla="*/ 2147483647 h 696"/>
                <a:gd name="T44" fmla="*/ 2147483647 w 936"/>
                <a:gd name="T45" fmla="*/ 2147483647 h 696"/>
                <a:gd name="T46" fmla="*/ 2147483647 w 936"/>
                <a:gd name="T47" fmla="*/ 2147483647 h 696"/>
                <a:gd name="T48" fmla="*/ 2147483647 w 936"/>
                <a:gd name="T49" fmla="*/ 2147483647 h 696"/>
                <a:gd name="T50" fmla="*/ 2147483647 w 936"/>
                <a:gd name="T51" fmla="*/ 2147483647 h 696"/>
                <a:gd name="T52" fmla="*/ 2147483647 w 936"/>
                <a:gd name="T53" fmla="*/ 2147483647 h 696"/>
                <a:gd name="T54" fmla="*/ 2147483647 w 936"/>
                <a:gd name="T55" fmla="*/ 2147483647 h 696"/>
                <a:gd name="T56" fmla="*/ 2147483647 w 936"/>
                <a:gd name="T57" fmla="*/ 2147483647 h 696"/>
                <a:gd name="T58" fmla="*/ 2147483647 w 936"/>
                <a:gd name="T59" fmla="*/ 2147483647 h 69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936"/>
                <a:gd name="T91" fmla="*/ 0 h 696"/>
                <a:gd name="T92" fmla="*/ 936 w 936"/>
                <a:gd name="T93" fmla="*/ 696 h 69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936" h="696">
                  <a:moveTo>
                    <a:pt x="532" y="222"/>
                  </a:moveTo>
                  <a:lnTo>
                    <a:pt x="519" y="220"/>
                  </a:lnTo>
                  <a:lnTo>
                    <a:pt x="507" y="216"/>
                  </a:lnTo>
                  <a:lnTo>
                    <a:pt x="496" y="210"/>
                  </a:lnTo>
                  <a:lnTo>
                    <a:pt x="487" y="201"/>
                  </a:lnTo>
                  <a:lnTo>
                    <a:pt x="479" y="190"/>
                  </a:lnTo>
                  <a:lnTo>
                    <a:pt x="474" y="179"/>
                  </a:lnTo>
                  <a:lnTo>
                    <a:pt x="472" y="165"/>
                  </a:lnTo>
                  <a:lnTo>
                    <a:pt x="472" y="94"/>
                  </a:lnTo>
                  <a:lnTo>
                    <a:pt x="231" y="0"/>
                  </a:lnTo>
                  <a:lnTo>
                    <a:pt x="0" y="91"/>
                  </a:lnTo>
                  <a:lnTo>
                    <a:pt x="1" y="435"/>
                  </a:lnTo>
                  <a:lnTo>
                    <a:pt x="1" y="468"/>
                  </a:lnTo>
                  <a:lnTo>
                    <a:pt x="2" y="498"/>
                  </a:lnTo>
                  <a:lnTo>
                    <a:pt x="5" y="527"/>
                  </a:lnTo>
                  <a:lnTo>
                    <a:pt x="11" y="553"/>
                  </a:lnTo>
                  <a:lnTo>
                    <a:pt x="18" y="577"/>
                  </a:lnTo>
                  <a:lnTo>
                    <a:pt x="28" y="599"/>
                  </a:lnTo>
                  <a:lnTo>
                    <a:pt x="39" y="619"/>
                  </a:lnTo>
                  <a:lnTo>
                    <a:pt x="52" y="637"/>
                  </a:lnTo>
                  <a:lnTo>
                    <a:pt x="66" y="652"/>
                  </a:lnTo>
                  <a:lnTo>
                    <a:pt x="82" y="665"/>
                  </a:lnTo>
                  <a:lnTo>
                    <a:pt x="100" y="676"/>
                  </a:lnTo>
                  <a:lnTo>
                    <a:pt x="120" y="685"/>
                  </a:lnTo>
                  <a:lnTo>
                    <a:pt x="142" y="691"/>
                  </a:lnTo>
                  <a:lnTo>
                    <a:pt x="165" y="694"/>
                  </a:lnTo>
                  <a:lnTo>
                    <a:pt x="935" y="695"/>
                  </a:lnTo>
                  <a:lnTo>
                    <a:pt x="935" y="221"/>
                  </a:lnTo>
                  <a:lnTo>
                    <a:pt x="734" y="220"/>
                  </a:lnTo>
                  <a:lnTo>
                    <a:pt x="532" y="222"/>
                  </a:lnTo>
                </a:path>
              </a:pathLst>
            </a:custGeom>
            <a:solidFill>
              <a:srgbClr val="B4B4B4"/>
            </a:solidFill>
            <a:ln w="12700" cap="rnd">
              <a:solidFill>
                <a:schemeClr val="bg1"/>
              </a:solidFill>
              <a:round/>
              <a:headEnd/>
              <a:tailEnd/>
            </a:ln>
          </p:spPr>
          <p:txBody>
            <a:bodyPr lIns="27000" tIns="27000" rIns="378000" bIns="27000" anchor="ctr">
              <a:noAutofit/>
            </a:bodyPr>
            <a:lstStyle/>
            <a:p>
              <a:pPr algn="ctr" defTabSz="685800">
                <a:buClrTx/>
                <a:defRPr/>
              </a:pPr>
              <a:r>
                <a:rPr lang="en-US" sz="1050" kern="1200" dirty="0">
                  <a:solidFill>
                    <a:srgbClr val="313131"/>
                  </a:solidFill>
                  <a:ea typeface="+mn-ea"/>
                  <a:cs typeface="+mn-cs"/>
                </a:rPr>
                <a:t>Text</a:t>
              </a:r>
            </a:p>
          </p:txBody>
        </p:sp>
        <p:sp>
          <p:nvSpPr>
            <p:cNvPr id="12" name="Freeform 9"/>
            <p:cNvSpPr>
              <a:spLocks/>
            </p:cNvSpPr>
            <p:nvPr/>
          </p:nvSpPr>
          <p:spPr bwMode="blackWhite">
            <a:xfrm>
              <a:off x="1527175" y="2287588"/>
              <a:ext cx="1296988" cy="1335087"/>
            </a:xfrm>
            <a:custGeom>
              <a:avLst/>
              <a:gdLst>
                <a:gd name="T0" fmla="*/ 2147483647 w 686"/>
                <a:gd name="T1" fmla="*/ 2147483647 h 673"/>
                <a:gd name="T2" fmla="*/ 2147483647 w 686"/>
                <a:gd name="T3" fmla="*/ 2147483647 h 673"/>
                <a:gd name="T4" fmla="*/ 2147483647 w 686"/>
                <a:gd name="T5" fmla="*/ 2147483647 h 673"/>
                <a:gd name="T6" fmla="*/ 2147483647 w 686"/>
                <a:gd name="T7" fmla="*/ 2147483647 h 673"/>
                <a:gd name="T8" fmla="*/ 2147483647 w 686"/>
                <a:gd name="T9" fmla="*/ 2147483647 h 673"/>
                <a:gd name="T10" fmla="*/ 2147483647 w 686"/>
                <a:gd name="T11" fmla="*/ 2147483647 h 673"/>
                <a:gd name="T12" fmla="*/ 2147483647 w 686"/>
                <a:gd name="T13" fmla="*/ 2147483647 h 673"/>
                <a:gd name="T14" fmla="*/ 2147483647 w 686"/>
                <a:gd name="T15" fmla="*/ 2147483647 h 673"/>
                <a:gd name="T16" fmla="*/ 2147483647 w 686"/>
                <a:gd name="T17" fmla="*/ 2147483647 h 673"/>
                <a:gd name="T18" fmla="*/ 2147483647 w 686"/>
                <a:gd name="T19" fmla="*/ 2147483647 h 673"/>
                <a:gd name="T20" fmla="*/ 2147483647 w 686"/>
                <a:gd name="T21" fmla="*/ 2147483647 h 673"/>
                <a:gd name="T22" fmla="*/ 2147483647 w 686"/>
                <a:gd name="T23" fmla="*/ 2147483647 h 673"/>
                <a:gd name="T24" fmla="*/ 2147483647 w 686"/>
                <a:gd name="T25" fmla="*/ 0 h 673"/>
                <a:gd name="T26" fmla="*/ 2147483647 w 686"/>
                <a:gd name="T27" fmla="*/ 2147483647 h 673"/>
                <a:gd name="T28" fmla="*/ 2147483647 w 686"/>
                <a:gd name="T29" fmla="*/ 2147483647 h 673"/>
                <a:gd name="T30" fmla="*/ 2147483647 w 686"/>
                <a:gd name="T31" fmla="*/ 2147483647 h 673"/>
                <a:gd name="T32" fmla="*/ 2147483647 w 686"/>
                <a:gd name="T33" fmla="*/ 2147483647 h 673"/>
                <a:gd name="T34" fmla="*/ 2147483647 w 686"/>
                <a:gd name="T35" fmla="*/ 2147483647 h 673"/>
                <a:gd name="T36" fmla="*/ 2147483647 w 686"/>
                <a:gd name="T37" fmla="*/ 2147483647 h 673"/>
                <a:gd name="T38" fmla="*/ 2147483647 w 686"/>
                <a:gd name="T39" fmla="*/ 2147483647 h 673"/>
                <a:gd name="T40" fmla="*/ 2147483647 w 686"/>
                <a:gd name="T41" fmla="*/ 2147483647 h 673"/>
                <a:gd name="T42" fmla="*/ 2147483647 w 686"/>
                <a:gd name="T43" fmla="*/ 2147483647 h 673"/>
                <a:gd name="T44" fmla="*/ 2147483647 w 686"/>
                <a:gd name="T45" fmla="*/ 2147483647 h 673"/>
                <a:gd name="T46" fmla="*/ 2147483647 w 686"/>
                <a:gd name="T47" fmla="*/ 2147483647 h 673"/>
                <a:gd name="T48" fmla="*/ 2147483647 w 686"/>
                <a:gd name="T49" fmla="*/ 2147483647 h 673"/>
                <a:gd name="T50" fmla="*/ 0 w 686"/>
                <a:gd name="T51" fmla="*/ 2147483647 h 673"/>
                <a:gd name="T52" fmla="*/ 0 w 686"/>
                <a:gd name="T53" fmla="*/ 2147483647 h 673"/>
                <a:gd name="T54" fmla="*/ 2147483647 w 686"/>
                <a:gd name="T55" fmla="*/ 2147483647 h 673"/>
                <a:gd name="T56" fmla="*/ 2147483647 w 686"/>
                <a:gd name="T57" fmla="*/ 2147483647 h 673"/>
                <a:gd name="T58" fmla="*/ 2147483647 w 686"/>
                <a:gd name="T59" fmla="*/ 2147483647 h 67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86"/>
                <a:gd name="T91" fmla="*/ 0 h 673"/>
                <a:gd name="T92" fmla="*/ 686 w 686"/>
                <a:gd name="T93" fmla="*/ 673 h 67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86" h="673">
                  <a:moveTo>
                    <a:pt x="466" y="525"/>
                  </a:moveTo>
                  <a:lnTo>
                    <a:pt x="468" y="514"/>
                  </a:lnTo>
                  <a:lnTo>
                    <a:pt x="473" y="502"/>
                  </a:lnTo>
                  <a:lnTo>
                    <a:pt x="479" y="492"/>
                  </a:lnTo>
                  <a:lnTo>
                    <a:pt x="489" y="484"/>
                  </a:lnTo>
                  <a:lnTo>
                    <a:pt x="499" y="477"/>
                  </a:lnTo>
                  <a:lnTo>
                    <a:pt x="511" y="474"/>
                  </a:lnTo>
                  <a:lnTo>
                    <a:pt x="523" y="472"/>
                  </a:lnTo>
                  <a:lnTo>
                    <a:pt x="592" y="471"/>
                  </a:lnTo>
                  <a:lnTo>
                    <a:pt x="685" y="231"/>
                  </a:lnTo>
                  <a:lnTo>
                    <a:pt x="601" y="1"/>
                  </a:lnTo>
                  <a:lnTo>
                    <a:pt x="255" y="1"/>
                  </a:lnTo>
                  <a:lnTo>
                    <a:pt x="223" y="0"/>
                  </a:lnTo>
                  <a:lnTo>
                    <a:pt x="194" y="1"/>
                  </a:lnTo>
                  <a:lnTo>
                    <a:pt x="166" y="4"/>
                  </a:lnTo>
                  <a:lnTo>
                    <a:pt x="140" y="10"/>
                  </a:lnTo>
                  <a:lnTo>
                    <a:pt x="116" y="18"/>
                  </a:lnTo>
                  <a:lnTo>
                    <a:pt x="93" y="27"/>
                  </a:lnTo>
                  <a:lnTo>
                    <a:pt x="75" y="38"/>
                  </a:lnTo>
                  <a:lnTo>
                    <a:pt x="57" y="50"/>
                  </a:lnTo>
                  <a:lnTo>
                    <a:pt x="42" y="64"/>
                  </a:lnTo>
                  <a:lnTo>
                    <a:pt x="30" y="81"/>
                  </a:lnTo>
                  <a:lnTo>
                    <a:pt x="19" y="99"/>
                  </a:lnTo>
                  <a:lnTo>
                    <a:pt x="10" y="119"/>
                  </a:lnTo>
                  <a:lnTo>
                    <a:pt x="4" y="141"/>
                  </a:lnTo>
                  <a:lnTo>
                    <a:pt x="0" y="164"/>
                  </a:lnTo>
                  <a:lnTo>
                    <a:pt x="0" y="666"/>
                  </a:lnTo>
                  <a:lnTo>
                    <a:pt x="224" y="575"/>
                  </a:lnTo>
                  <a:lnTo>
                    <a:pt x="466" y="672"/>
                  </a:lnTo>
                  <a:lnTo>
                    <a:pt x="466" y="525"/>
                  </a:lnTo>
                </a:path>
              </a:pathLst>
            </a:custGeom>
            <a:solidFill>
              <a:srgbClr val="8C8C8C"/>
            </a:solidFill>
            <a:ln w="12700" cap="rnd">
              <a:solidFill>
                <a:schemeClr val="bg1"/>
              </a:solidFill>
              <a:round/>
              <a:headEnd/>
              <a:tailEnd/>
            </a:ln>
          </p:spPr>
          <p:txBody>
            <a:bodyPr lIns="27000" tIns="27000" rIns="27000" bIns="351000" anchor="ctr">
              <a:noAutofit/>
            </a:bodyPr>
            <a:lstStyle/>
            <a:p>
              <a:pPr algn="ctr" defTabSz="685800">
                <a:buClrTx/>
                <a:defRPr/>
              </a:pPr>
              <a:r>
                <a:rPr lang="en-US" sz="1050" kern="1200" dirty="0">
                  <a:solidFill>
                    <a:prstClr val="white"/>
                  </a:solidFill>
                  <a:ea typeface="+mn-ea"/>
                  <a:cs typeface="+mn-cs"/>
                </a:rPr>
                <a:t>Text</a:t>
              </a:r>
            </a:p>
          </p:txBody>
        </p:sp>
      </p:grpSp>
      <p:sp>
        <p:nvSpPr>
          <p:cNvPr id="21"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Tree>
  </p:cSld>
  <p:clrMapOvr>
    <a:masterClrMapping/>
  </p:clrMapOvr>
  <p:transition>
    <p:fade/>
  </p:transition>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6129" name="Title 1"/>
          <p:cNvSpPr>
            <a:spLocks noGrp="1"/>
          </p:cNvSpPr>
          <p:nvPr>
            <p:ph type="title"/>
          </p:nvPr>
        </p:nvSpPr>
        <p:spPr/>
        <p:txBody>
          <a:bodyPr/>
          <a:lstStyle/>
          <a:p>
            <a:r>
              <a:rPr lang="en-US" dirty="0"/>
              <a:t>Cutout</a:t>
            </a:r>
          </a:p>
        </p:txBody>
      </p:sp>
      <p:sp>
        <p:nvSpPr>
          <p:cNvPr id="21"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
        <p:nvSpPr>
          <p:cNvPr id="13" name="Freeform 2"/>
          <p:cNvSpPr>
            <a:spLocks/>
          </p:cNvSpPr>
          <p:nvPr/>
        </p:nvSpPr>
        <p:spPr bwMode="blackWhite">
          <a:xfrm>
            <a:off x="2830117" y="1714500"/>
            <a:ext cx="3431381" cy="2371725"/>
          </a:xfrm>
          <a:custGeom>
            <a:avLst/>
            <a:gdLst>
              <a:gd name="T0" fmla="*/ 0 w 3059"/>
              <a:gd name="T1" fmla="*/ 0 h 1952"/>
              <a:gd name="T2" fmla="*/ 2147483647 w 3059"/>
              <a:gd name="T3" fmla="*/ 0 h 1952"/>
              <a:gd name="T4" fmla="*/ 2147483647 w 3059"/>
              <a:gd name="T5" fmla="*/ 2147483647 h 1952"/>
              <a:gd name="T6" fmla="*/ 2147483647 w 3059"/>
              <a:gd name="T7" fmla="*/ 2147483647 h 1952"/>
              <a:gd name="T8" fmla="*/ 2147483647 w 3059"/>
              <a:gd name="T9" fmla="*/ 2147483647 h 1952"/>
              <a:gd name="T10" fmla="*/ 2147483647 w 3059"/>
              <a:gd name="T11" fmla="*/ 2147483647 h 1952"/>
              <a:gd name="T12" fmla="*/ 2147483647 w 3059"/>
              <a:gd name="T13" fmla="*/ 2147483647 h 1952"/>
              <a:gd name="T14" fmla="*/ 2147483647 w 3059"/>
              <a:gd name="T15" fmla="*/ 2147483647 h 1952"/>
              <a:gd name="T16" fmla="*/ 2147483647 w 3059"/>
              <a:gd name="T17" fmla="*/ 2147483647 h 1952"/>
              <a:gd name="T18" fmla="*/ 2147483647 w 3059"/>
              <a:gd name="T19" fmla="*/ 2147483647 h 1952"/>
              <a:gd name="T20" fmla="*/ 2147483647 w 3059"/>
              <a:gd name="T21" fmla="*/ 2147483647 h 1952"/>
              <a:gd name="T22" fmla="*/ 0 w 3059"/>
              <a:gd name="T23" fmla="*/ 2147483647 h 1952"/>
              <a:gd name="T24" fmla="*/ 0 w 3059"/>
              <a:gd name="T25" fmla="*/ 2147483647 h 1952"/>
              <a:gd name="T26" fmla="*/ 2147483647 w 3059"/>
              <a:gd name="T27" fmla="*/ 2147483647 h 1952"/>
              <a:gd name="T28" fmla="*/ 2147483647 w 3059"/>
              <a:gd name="T29" fmla="*/ 2147483647 h 1952"/>
              <a:gd name="T30" fmla="*/ 2147483647 w 3059"/>
              <a:gd name="T31" fmla="*/ 2147483647 h 1952"/>
              <a:gd name="T32" fmla="*/ 2147483647 w 3059"/>
              <a:gd name="T33" fmla="*/ 2147483647 h 1952"/>
              <a:gd name="T34" fmla="*/ 2147483647 w 3059"/>
              <a:gd name="T35" fmla="*/ 2147483647 h 1952"/>
              <a:gd name="T36" fmla="*/ 0 w 3059"/>
              <a:gd name="T37" fmla="*/ 2147483647 h 1952"/>
              <a:gd name="T38" fmla="*/ 0 w 3059"/>
              <a:gd name="T39" fmla="*/ 0 h 19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59"/>
              <a:gd name="T61" fmla="*/ 0 h 1952"/>
              <a:gd name="T62" fmla="*/ 3059 w 3059"/>
              <a:gd name="T63" fmla="*/ 1952 h 195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59" h="1952">
                <a:moveTo>
                  <a:pt x="0" y="0"/>
                </a:moveTo>
                <a:lnTo>
                  <a:pt x="2250" y="0"/>
                </a:lnTo>
                <a:lnTo>
                  <a:pt x="2250" y="478"/>
                </a:lnTo>
                <a:lnTo>
                  <a:pt x="2855" y="478"/>
                </a:lnTo>
                <a:lnTo>
                  <a:pt x="2855" y="243"/>
                </a:lnTo>
                <a:lnTo>
                  <a:pt x="3058" y="971"/>
                </a:lnTo>
                <a:lnTo>
                  <a:pt x="2848" y="1684"/>
                </a:lnTo>
                <a:lnTo>
                  <a:pt x="2841" y="1684"/>
                </a:lnTo>
                <a:lnTo>
                  <a:pt x="2841" y="1450"/>
                </a:lnTo>
                <a:lnTo>
                  <a:pt x="2250" y="1450"/>
                </a:lnTo>
                <a:lnTo>
                  <a:pt x="2250" y="1951"/>
                </a:lnTo>
                <a:lnTo>
                  <a:pt x="0" y="1951"/>
                </a:lnTo>
                <a:lnTo>
                  <a:pt x="0" y="1450"/>
                </a:lnTo>
                <a:lnTo>
                  <a:pt x="606" y="1450"/>
                </a:lnTo>
                <a:lnTo>
                  <a:pt x="606" y="1676"/>
                </a:lnTo>
                <a:lnTo>
                  <a:pt x="807" y="971"/>
                </a:lnTo>
                <a:lnTo>
                  <a:pt x="606" y="250"/>
                </a:lnTo>
                <a:lnTo>
                  <a:pt x="606" y="478"/>
                </a:lnTo>
                <a:lnTo>
                  <a:pt x="0" y="478"/>
                </a:lnTo>
                <a:lnTo>
                  <a:pt x="0" y="0"/>
                </a:lnTo>
              </a:path>
            </a:pathLst>
          </a:custGeom>
          <a:solidFill>
            <a:srgbClr val="00A1DE"/>
          </a:solidFill>
          <a:ln w="12700" cap="rnd">
            <a:solidFill>
              <a:schemeClr val="bg1"/>
            </a:solidFill>
            <a:round/>
            <a:headEnd/>
            <a:tailEnd/>
          </a:ln>
        </p:spPr>
        <p:txBody>
          <a:bodyPr wrap="square" lIns="27000" tIns="27000" rIns="27000" bIns="27000">
            <a:noAutofit/>
          </a:bodyPr>
          <a:lstStyle/>
          <a:p>
            <a:pPr defTabSz="685800">
              <a:buClrTx/>
              <a:defRPr/>
            </a:pPr>
            <a:endParaRPr lang="en-US" sz="1050" kern="1200" dirty="0">
              <a:solidFill>
                <a:prstClr val="black"/>
              </a:solidFill>
              <a:ea typeface="+mn-ea"/>
              <a:cs typeface="+mn-cs"/>
            </a:endParaRPr>
          </a:p>
        </p:txBody>
      </p:sp>
      <p:sp>
        <p:nvSpPr>
          <p:cNvPr id="16" name="Rectangle 3"/>
          <p:cNvSpPr>
            <a:spLocks noChangeArrowheads="1"/>
          </p:cNvSpPr>
          <p:nvPr/>
        </p:nvSpPr>
        <p:spPr bwMode="auto">
          <a:xfrm>
            <a:off x="2934891" y="1759744"/>
            <a:ext cx="2414588" cy="153590"/>
          </a:xfrm>
          <a:prstGeom prst="rect">
            <a:avLst/>
          </a:prstGeom>
          <a:noFill/>
          <a:ln w="9525">
            <a:noFill/>
            <a:miter lim="800000"/>
            <a:headEnd/>
            <a:tailEnd/>
          </a:ln>
        </p:spPr>
        <p:txBody>
          <a:bodyPr wrap="square" lIns="27000" tIns="27000" rIns="27000" bIns="27000">
            <a:noAutofit/>
          </a:bodyPr>
          <a:lstStyle/>
          <a:p>
            <a:pPr defTabSz="590550">
              <a:lnSpc>
                <a:spcPct val="95000"/>
              </a:lnSpc>
              <a:spcBef>
                <a:spcPct val="80000"/>
              </a:spcBef>
              <a:buClr>
                <a:prstClr val="black"/>
              </a:buClr>
            </a:pPr>
            <a:r>
              <a:rPr lang="en-US" sz="1050" kern="1200">
                <a:solidFill>
                  <a:prstClr val="white"/>
                </a:solidFill>
                <a:ea typeface="+mn-ea"/>
                <a:cs typeface="+mn-cs"/>
              </a:rPr>
              <a:t>Text</a:t>
            </a:r>
            <a:endParaRPr lang="en-US" sz="1050" kern="1200" dirty="0">
              <a:solidFill>
                <a:prstClr val="white"/>
              </a:solidFill>
              <a:ea typeface="+mn-ea"/>
              <a:cs typeface="+mn-cs"/>
            </a:endParaRPr>
          </a:p>
        </p:txBody>
      </p:sp>
      <p:sp>
        <p:nvSpPr>
          <p:cNvPr id="17" name="Rectangle 4"/>
          <p:cNvSpPr>
            <a:spLocks noChangeArrowheads="1"/>
          </p:cNvSpPr>
          <p:nvPr/>
        </p:nvSpPr>
        <p:spPr bwMode="auto">
          <a:xfrm>
            <a:off x="2934891" y="2824163"/>
            <a:ext cx="638175" cy="152400"/>
          </a:xfrm>
          <a:prstGeom prst="rect">
            <a:avLst/>
          </a:prstGeom>
          <a:noFill/>
          <a:ln w="9525">
            <a:noFill/>
            <a:miter lim="800000"/>
            <a:headEnd/>
            <a:tailEnd/>
          </a:ln>
        </p:spPr>
        <p:txBody>
          <a:bodyPr wrap="square" lIns="27000" tIns="27000" rIns="27000" bIns="27000">
            <a:noAutofit/>
          </a:bodyPr>
          <a:lstStyle/>
          <a:p>
            <a:pPr defTabSz="590550">
              <a:lnSpc>
                <a:spcPct val="95000"/>
              </a:lnSpc>
              <a:spcBef>
                <a:spcPct val="80000"/>
              </a:spcBef>
              <a:buClr>
                <a:prstClr val="black"/>
              </a:buClr>
            </a:pPr>
            <a:r>
              <a:rPr lang="en-US" sz="1050" kern="1200" dirty="0">
                <a:solidFill>
                  <a:srgbClr val="313131"/>
                </a:solidFill>
                <a:ea typeface="+mn-ea"/>
                <a:cs typeface="+mn-cs"/>
              </a:rPr>
              <a:t>Text</a:t>
            </a:r>
          </a:p>
        </p:txBody>
      </p:sp>
      <p:sp>
        <p:nvSpPr>
          <p:cNvPr id="18" name="Rectangle 5"/>
          <p:cNvSpPr>
            <a:spLocks noChangeArrowheads="1"/>
          </p:cNvSpPr>
          <p:nvPr/>
        </p:nvSpPr>
        <p:spPr bwMode="auto">
          <a:xfrm>
            <a:off x="3843338" y="2824163"/>
            <a:ext cx="2209800" cy="152400"/>
          </a:xfrm>
          <a:prstGeom prst="rect">
            <a:avLst/>
          </a:prstGeom>
          <a:noFill/>
          <a:ln w="9525">
            <a:noFill/>
            <a:miter lim="800000"/>
            <a:headEnd/>
            <a:tailEnd/>
          </a:ln>
        </p:spPr>
        <p:txBody>
          <a:bodyPr wrap="square" lIns="27000" tIns="27000" rIns="27000" bIns="27000" anchor="ctr">
            <a:noAutofit/>
          </a:bodyPr>
          <a:lstStyle/>
          <a:p>
            <a:pPr defTabSz="590550">
              <a:lnSpc>
                <a:spcPct val="95000"/>
              </a:lnSpc>
              <a:spcBef>
                <a:spcPct val="80000"/>
              </a:spcBef>
              <a:buClr>
                <a:prstClr val="black"/>
              </a:buClr>
            </a:pPr>
            <a:r>
              <a:rPr lang="en-US" sz="1050" kern="1200">
                <a:solidFill>
                  <a:prstClr val="white"/>
                </a:solidFill>
                <a:ea typeface="+mn-ea"/>
                <a:cs typeface="+mn-cs"/>
              </a:rPr>
              <a:t>Text</a:t>
            </a:r>
            <a:endParaRPr lang="en-US" sz="1050" kern="1200" dirty="0">
              <a:solidFill>
                <a:prstClr val="white"/>
              </a:solidFill>
              <a:ea typeface="+mn-ea"/>
              <a:cs typeface="+mn-cs"/>
            </a:endParaRPr>
          </a:p>
        </p:txBody>
      </p:sp>
      <p:sp>
        <p:nvSpPr>
          <p:cNvPr id="19" name="Rectangle 6"/>
          <p:cNvSpPr>
            <a:spLocks noChangeArrowheads="1"/>
          </p:cNvSpPr>
          <p:nvPr/>
        </p:nvSpPr>
        <p:spPr bwMode="auto">
          <a:xfrm>
            <a:off x="2934891" y="3876676"/>
            <a:ext cx="2414588" cy="153590"/>
          </a:xfrm>
          <a:prstGeom prst="rect">
            <a:avLst/>
          </a:prstGeom>
          <a:noFill/>
          <a:ln w="9525">
            <a:noFill/>
            <a:miter lim="800000"/>
            <a:headEnd/>
            <a:tailEnd/>
          </a:ln>
        </p:spPr>
        <p:txBody>
          <a:bodyPr wrap="square" lIns="27000" tIns="27000" rIns="27000" bIns="27000" anchor="b">
            <a:noAutofit/>
          </a:bodyPr>
          <a:lstStyle/>
          <a:p>
            <a:pPr defTabSz="590550">
              <a:lnSpc>
                <a:spcPct val="95000"/>
              </a:lnSpc>
              <a:spcBef>
                <a:spcPct val="80000"/>
              </a:spcBef>
              <a:buClr>
                <a:prstClr val="black"/>
              </a:buClr>
            </a:pPr>
            <a:r>
              <a:rPr lang="en-US" sz="1050" kern="1200">
                <a:solidFill>
                  <a:prstClr val="white"/>
                </a:solidFill>
                <a:ea typeface="+mn-ea"/>
                <a:cs typeface="+mn-cs"/>
              </a:rPr>
              <a:t>Text</a:t>
            </a:r>
            <a:endParaRPr lang="en-US" sz="1050" kern="1200" dirty="0">
              <a:solidFill>
                <a:prstClr val="white"/>
              </a:solidFill>
              <a:ea typeface="+mn-ea"/>
              <a:cs typeface="+mn-cs"/>
            </a:endParaRPr>
          </a:p>
        </p:txBody>
      </p:sp>
    </p:spTree>
  </p:cSld>
  <p:clrMapOvr>
    <a:masterClrMapping/>
  </p:clrMapOvr>
  <p:transition>
    <p:fade/>
  </p:transition>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6129" name="Title 1"/>
          <p:cNvSpPr>
            <a:spLocks noGrp="1"/>
          </p:cNvSpPr>
          <p:nvPr>
            <p:ph type="title"/>
          </p:nvPr>
        </p:nvSpPr>
        <p:spPr/>
        <p:txBody>
          <a:bodyPr/>
          <a:lstStyle/>
          <a:p>
            <a:r>
              <a:rPr lang="en-US" dirty="0"/>
              <a:t>Linear</a:t>
            </a:r>
          </a:p>
        </p:txBody>
      </p:sp>
      <p:sp>
        <p:nvSpPr>
          <p:cNvPr id="21"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
        <p:nvSpPr>
          <p:cNvPr id="14" name="Freeform 3"/>
          <p:cNvSpPr>
            <a:spLocks/>
          </p:cNvSpPr>
          <p:nvPr/>
        </p:nvSpPr>
        <p:spPr bwMode="blackWhite">
          <a:xfrm>
            <a:off x="2877559" y="1714500"/>
            <a:ext cx="1694441" cy="2293144"/>
          </a:xfrm>
          <a:custGeom>
            <a:avLst/>
            <a:gdLst>
              <a:gd name="T0" fmla="*/ 0 w 1978"/>
              <a:gd name="T1" fmla="*/ 368 h 2696"/>
              <a:gd name="T2" fmla="*/ 1695 w 1978"/>
              <a:gd name="T3" fmla="*/ 368 h 2696"/>
              <a:gd name="T4" fmla="*/ 1695 w 1978"/>
              <a:gd name="T5" fmla="*/ 0 h 2696"/>
              <a:gd name="T6" fmla="*/ 2142 w 1978"/>
              <a:gd name="T7" fmla="*/ 1473 h 2696"/>
              <a:gd name="T8" fmla="*/ 1695 w 1978"/>
              <a:gd name="T9" fmla="*/ 2917 h 2696"/>
              <a:gd name="T10" fmla="*/ 1695 w 1978"/>
              <a:gd name="T11" fmla="*/ 2590 h 2696"/>
              <a:gd name="T12" fmla="*/ 0 w 1978"/>
              <a:gd name="T13" fmla="*/ 2590 h 2696"/>
              <a:gd name="T14" fmla="*/ 0 60000 65536"/>
              <a:gd name="T15" fmla="*/ 0 60000 65536"/>
              <a:gd name="T16" fmla="*/ 0 60000 65536"/>
              <a:gd name="T17" fmla="*/ 0 60000 65536"/>
              <a:gd name="T18" fmla="*/ 0 60000 65536"/>
              <a:gd name="T19" fmla="*/ 0 60000 65536"/>
              <a:gd name="T20" fmla="*/ 0 60000 65536"/>
              <a:gd name="T21" fmla="*/ 0 w 1978"/>
              <a:gd name="T22" fmla="*/ 0 h 2696"/>
              <a:gd name="T23" fmla="*/ 1978 w 1978"/>
              <a:gd name="T24" fmla="*/ 2696 h 26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78" h="2696">
                <a:moveTo>
                  <a:pt x="0" y="340"/>
                </a:moveTo>
                <a:lnTo>
                  <a:pt x="1564" y="340"/>
                </a:lnTo>
                <a:lnTo>
                  <a:pt x="1564" y="0"/>
                </a:lnTo>
                <a:lnTo>
                  <a:pt x="1977" y="1361"/>
                </a:lnTo>
                <a:lnTo>
                  <a:pt x="1564" y="2695"/>
                </a:lnTo>
                <a:lnTo>
                  <a:pt x="1564" y="2392"/>
                </a:lnTo>
                <a:lnTo>
                  <a:pt x="0" y="2392"/>
                </a:lnTo>
              </a:path>
            </a:pathLst>
          </a:custGeom>
          <a:solidFill>
            <a:schemeClr val="bg1"/>
          </a:solidFill>
          <a:ln w="12700" cap="rnd">
            <a:solidFill>
              <a:srgbClr val="00A1DE"/>
            </a:solidFill>
            <a:round/>
            <a:headEnd type="none" w="sm" len="sm"/>
            <a:tailEnd type="none" w="sm" len="sm"/>
          </a:ln>
        </p:spPr>
        <p:txBody>
          <a:bodyPr lIns="27000" tIns="27000" rIns="27000" bIns="27000">
            <a:noAutofit/>
          </a:bodyPr>
          <a:lstStyle/>
          <a:p>
            <a:pPr defTabSz="685800">
              <a:buClrTx/>
              <a:defRPr/>
            </a:pPr>
            <a:endParaRPr lang="en-US" sz="1350" kern="1200" dirty="0">
              <a:solidFill>
                <a:prstClr val="black"/>
              </a:solidFill>
              <a:ea typeface="+mn-ea"/>
              <a:cs typeface="+mn-cs"/>
            </a:endParaRPr>
          </a:p>
        </p:txBody>
      </p:sp>
      <p:sp>
        <p:nvSpPr>
          <p:cNvPr id="15" name="Freeform 4"/>
          <p:cNvSpPr>
            <a:spLocks/>
          </p:cNvSpPr>
          <p:nvPr/>
        </p:nvSpPr>
        <p:spPr bwMode="blackWhite">
          <a:xfrm>
            <a:off x="1472804" y="2003853"/>
            <a:ext cx="1733904" cy="845545"/>
          </a:xfrm>
          <a:custGeom>
            <a:avLst/>
            <a:gdLst>
              <a:gd name="T0" fmla="*/ 1775 w 2024"/>
              <a:gd name="T1" fmla="*/ 470 h 994"/>
              <a:gd name="T2" fmla="*/ 1775 w 2024"/>
              <a:gd name="T3" fmla="*/ 0 h 994"/>
              <a:gd name="T4" fmla="*/ 2193 w 2024"/>
              <a:gd name="T5" fmla="*/ 1075 h 994"/>
              <a:gd name="T6" fmla="*/ 0 w 2024"/>
              <a:gd name="T7" fmla="*/ 1075 h 994"/>
              <a:gd name="T8" fmla="*/ 0 w 2024"/>
              <a:gd name="T9" fmla="*/ 470 h 994"/>
              <a:gd name="T10" fmla="*/ 1775 w 2024"/>
              <a:gd name="T11" fmla="*/ 470 h 994"/>
              <a:gd name="T12" fmla="*/ 0 60000 65536"/>
              <a:gd name="T13" fmla="*/ 0 60000 65536"/>
              <a:gd name="T14" fmla="*/ 0 60000 65536"/>
              <a:gd name="T15" fmla="*/ 0 60000 65536"/>
              <a:gd name="T16" fmla="*/ 0 60000 65536"/>
              <a:gd name="T17" fmla="*/ 0 60000 65536"/>
              <a:gd name="T18" fmla="*/ 0 w 2024"/>
              <a:gd name="T19" fmla="*/ 0 h 994"/>
              <a:gd name="T20" fmla="*/ 2024 w 2024"/>
              <a:gd name="T21" fmla="*/ 994 h 994"/>
            </a:gdLst>
            <a:ahLst/>
            <a:cxnLst>
              <a:cxn ang="T12">
                <a:pos x="T0" y="T1"/>
              </a:cxn>
              <a:cxn ang="T13">
                <a:pos x="T2" y="T3"/>
              </a:cxn>
              <a:cxn ang="T14">
                <a:pos x="T4" y="T5"/>
              </a:cxn>
              <a:cxn ang="T15">
                <a:pos x="T6" y="T7"/>
              </a:cxn>
              <a:cxn ang="T16">
                <a:pos x="T8" y="T9"/>
              </a:cxn>
              <a:cxn ang="T17">
                <a:pos x="T10" y="T11"/>
              </a:cxn>
            </a:cxnLst>
            <a:rect l="T18" t="T19" r="T20" b="T21"/>
            <a:pathLst>
              <a:path w="2024" h="994">
                <a:moveTo>
                  <a:pt x="1638" y="434"/>
                </a:moveTo>
                <a:lnTo>
                  <a:pt x="1638" y="0"/>
                </a:lnTo>
                <a:lnTo>
                  <a:pt x="2023" y="993"/>
                </a:lnTo>
                <a:lnTo>
                  <a:pt x="0" y="993"/>
                </a:lnTo>
                <a:lnTo>
                  <a:pt x="0" y="434"/>
                </a:lnTo>
                <a:lnTo>
                  <a:pt x="1638" y="434"/>
                </a:lnTo>
              </a:path>
            </a:pathLst>
          </a:custGeom>
          <a:solidFill>
            <a:srgbClr val="00A1DE"/>
          </a:solidFill>
          <a:ln w="12700" cap="rnd">
            <a:solidFill>
              <a:schemeClr val="bg1"/>
            </a:solidFill>
            <a:round/>
            <a:headEnd/>
            <a:tailEnd/>
          </a:ln>
        </p:spPr>
        <p:txBody>
          <a:bodyPr lIns="27000" tIns="27000" rIns="27000" bIns="27000">
            <a:noAutofit/>
          </a:bodyPr>
          <a:lstStyle/>
          <a:p>
            <a:pPr defTabSz="685800">
              <a:buClrTx/>
              <a:defRPr/>
            </a:pPr>
            <a:endParaRPr lang="en-US" sz="1050" kern="1200" dirty="0">
              <a:solidFill>
                <a:prstClr val="black"/>
              </a:solidFill>
              <a:ea typeface="+mn-ea"/>
              <a:cs typeface="+mn-cs"/>
            </a:endParaRPr>
          </a:p>
        </p:txBody>
      </p:sp>
      <p:sp>
        <p:nvSpPr>
          <p:cNvPr id="20" name="Freeform 5"/>
          <p:cNvSpPr>
            <a:spLocks/>
          </p:cNvSpPr>
          <p:nvPr/>
        </p:nvSpPr>
        <p:spPr bwMode="blackWhite">
          <a:xfrm>
            <a:off x="1472804" y="2906101"/>
            <a:ext cx="1733904" cy="843877"/>
          </a:xfrm>
          <a:custGeom>
            <a:avLst/>
            <a:gdLst>
              <a:gd name="T0" fmla="*/ 1775 w 2024"/>
              <a:gd name="T1" fmla="*/ 604 h 993"/>
              <a:gd name="T2" fmla="*/ 1775 w 2024"/>
              <a:gd name="T3" fmla="*/ 1074 h 993"/>
              <a:gd name="T4" fmla="*/ 2193 w 2024"/>
              <a:gd name="T5" fmla="*/ 0 h 993"/>
              <a:gd name="T6" fmla="*/ 0 w 2024"/>
              <a:gd name="T7" fmla="*/ 0 h 993"/>
              <a:gd name="T8" fmla="*/ 0 w 2024"/>
              <a:gd name="T9" fmla="*/ 604 h 993"/>
              <a:gd name="T10" fmla="*/ 1775 w 2024"/>
              <a:gd name="T11" fmla="*/ 604 h 993"/>
              <a:gd name="T12" fmla="*/ 0 60000 65536"/>
              <a:gd name="T13" fmla="*/ 0 60000 65536"/>
              <a:gd name="T14" fmla="*/ 0 60000 65536"/>
              <a:gd name="T15" fmla="*/ 0 60000 65536"/>
              <a:gd name="T16" fmla="*/ 0 60000 65536"/>
              <a:gd name="T17" fmla="*/ 0 60000 65536"/>
              <a:gd name="T18" fmla="*/ 0 w 2024"/>
              <a:gd name="T19" fmla="*/ 0 h 993"/>
              <a:gd name="T20" fmla="*/ 2024 w 2024"/>
              <a:gd name="T21" fmla="*/ 993 h 993"/>
            </a:gdLst>
            <a:ahLst/>
            <a:cxnLst>
              <a:cxn ang="T12">
                <a:pos x="T0" y="T1"/>
              </a:cxn>
              <a:cxn ang="T13">
                <a:pos x="T2" y="T3"/>
              </a:cxn>
              <a:cxn ang="T14">
                <a:pos x="T4" y="T5"/>
              </a:cxn>
              <a:cxn ang="T15">
                <a:pos x="T6" y="T7"/>
              </a:cxn>
              <a:cxn ang="T16">
                <a:pos x="T8" y="T9"/>
              </a:cxn>
              <a:cxn ang="T17">
                <a:pos x="T10" y="T11"/>
              </a:cxn>
            </a:cxnLst>
            <a:rect l="T18" t="T19" r="T20" b="T21"/>
            <a:pathLst>
              <a:path w="2024" h="993">
                <a:moveTo>
                  <a:pt x="1638" y="558"/>
                </a:moveTo>
                <a:lnTo>
                  <a:pt x="1638" y="992"/>
                </a:lnTo>
                <a:lnTo>
                  <a:pt x="2023" y="0"/>
                </a:lnTo>
                <a:lnTo>
                  <a:pt x="0" y="0"/>
                </a:lnTo>
                <a:lnTo>
                  <a:pt x="0" y="558"/>
                </a:lnTo>
                <a:lnTo>
                  <a:pt x="1638" y="558"/>
                </a:lnTo>
              </a:path>
            </a:pathLst>
          </a:custGeom>
          <a:solidFill>
            <a:srgbClr val="00A1DE"/>
          </a:solidFill>
          <a:ln w="12700" cap="rnd">
            <a:solidFill>
              <a:schemeClr val="bg1"/>
            </a:solidFill>
            <a:round/>
            <a:headEnd/>
            <a:tailEnd/>
          </a:ln>
        </p:spPr>
        <p:txBody>
          <a:bodyPr lIns="27000" tIns="27000" rIns="27000" bIns="27000">
            <a:noAutofit/>
          </a:bodyPr>
          <a:lstStyle/>
          <a:p>
            <a:pPr defTabSz="685800">
              <a:buClrTx/>
              <a:defRPr/>
            </a:pPr>
            <a:endParaRPr lang="en-US" sz="1050" kern="1200" dirty="0">
              <a:solidFill>
                <a:prstClr val="black"/>
              </a:solidFill>
              <a:ea typeface="+mn-ea"/>
              <a:cs typeface="+mn-cs"/>
            </a:endParaRPr>
          </a:p>
        </p:txBody>
      </p:sp>
      <p:sp>
        <p:nvSpPr>
          <p:cNvPr id="22" name="Rectangle 6"/>
          <p:cNvSpPr>
            <a:spLocks noChangeArrowheads="1"/>
          </p:cNvSpPr>
          <p:nvPr/>
        </p:nvSpPr>
        <p:spPr bwMode="auto">
          <a:xfrm>
            <a:off x="1539137" y="2416620"/>
            <a:ext cx="1053777" cy="207634"/>
          </a:xfrm>
          <a:prstGeom prst="rect">
            <a:avLst/>
          </a:prstGeom>
          <a:noFill/>
          <a:ln w="9525">
            <a:noFill/>
            <a:miter lim="800000"/>
            <a:headEnd/>
            <a:tailEnd/>
          </a:ln>
        </p:spPr>
        <p:txBody>
          <a:bodyPr lIns="27000" tIns="27000" rIns="27000" bIns="27000">
            <a:noAutofit/>
          </a:bodyPr>
          <a:lstStyle/>
          <a:p>
            <a:pPr defTabSz="590550">
              <a:lnSpc>
                <a:spcPct val="95000"/>
              </a:lnSpc>
              <a:spcBef>
                <a:spcPct val="80000"/>
              </a:spcBef>
              <a:buClr>
                <a:prstClr val="black"/>
              </a:buClr>
            </a:pPr>
            <a:r>
              <a:rPr lang="en-US" sz="1050" kern="1200">
                <a:solidFill>
                  <a:prstClr val="white"/>
                </a:solidFill>
                <a:ea typeface="+mn-ea"/>
                <a:cs typeface="+mn-cs"/>
              </a:rPr>
              <a:t>Text</a:t>
            </a:r>
            <a:endParaRPr lang="en-US" sz="1050" kern="1200" dirty="0">
              <a:solidFill>
                <a:prstClr val="white"/>
              </a:solidFill>
              <a:ea typeface="+mn-ea"/>
              <a:cs typeface="+mn-cs"/>
            </a:endParaRPr>
          </a:p>
        </p:txBody>
      </p:sp>
      <p:sp>
        <p:nvSpPr>
          <p:cNvPr id="23" name="Rectangle 7"/>
          <p:cNvSpPr>
            <a:spLocks noChangeArrowheads="1"/>
          </p:cNvSpPr>
          <p:nvPr/>
        </p:nvSpPr>
        <p:spPr bwMode="auto">
          <a:xfrm>
            <a:off x="1539137" y="2953632"/>
            <a:ext cx="1053777" cy="207634"/>
          </a:xfrm>
          <a:prstGeom prst="rect">
            <a:avLst/>
          </a:prstGeom>
          <a:noFill/>
          <a:ln w="9525">
            <a:noFill/>
            <a:miter lim="800000"/>
            <a:headEnd/>
            <a:tailEnd/>
          </a:ln>
        </p:spPr>
        <p:txBody>
          <a:bodyPr lIns="27000" tIns="27000" rIns="27000" bIns="27000">
            <a:noAutofit/>
          </a:bodyPr>
          <a:lstStyle/>
          <a:p>
            <a:pPr defTabSz="590550">
              <a:lnSpc>
                <a:spcPct val="95000"/>
              </a:lnSpc>
              <a:spcBef>
                <a:spcPct val="80000"/>
              </a:spcBef>
              <a:buClr>
                <a:prstClr val="black"/>
              </a:buClr>
            </a:pPr>
            <a:r>
              <a:rPr lang="en-US" sz="1050" kern="1200">
                <a:solidFill>
                  <a:prstClr val="white"/>
                </a:solidFill>
                <a:ea typeface="+mn-ea"/>
                <a:cs typeface="+mn-cs"/>
              </a:rPr>
              <a:t>Text</a:t>
            </a:r>
            <a:endParaRPr lang="en-US" sz="1050" kern="1200" dirty="0">
              <a:solidFill>
                <a:prstClr val="white"/>
              </a:solidFill>
              <a:ea typeface="+mn-ea"/>
              <a:cs typeface="+mn-cs"/>
            </a:endParaRPr>
          </a:p>
        </p:txBody>
      </p:sp>
      <p:sp>
        <p:nvSpPr>
          <p:cNvPr id="24" name="Rectangle 8"/>
          <p:cNvSpPr>
            <a:spLocks noChangeArrowheads="1"/>
          </p:cNvSpPr>
          <p:nvPr/>
        </p:nvSpPr>
        <p:spPr bwMode="auto">
          <a:xfrm>
            <a:off x="3267164" y="2050550"/>
            <a:ext cx="962254" cy="207634"/>
          </a:xfrm>
          <a:prstGeom prst="rect">
            <a:avLst/>
          </a:prstGeom>
          <a:noFill/>
          <a:ln w="9525">
            <a:noFill/>
            <a:miter lim="800000"/>
            <a:headEnd/>
            <a:tailEnd/>
          </a:ln>
        </p:spPr>
        <p:txBody>
          <a:bodyPr lIns="27000" tIns="27000" rIns="27000" bIns="27000">
            <a:noAutofit/>
          </a:bodyPr>
          <a:lstStyle/>
          <a:p>
            <a:pPr defTabSz="590550">
              <a:lnSpc>
                <a:spcPct val="95000"/>
              </a:lnSpc>
              <a:spcBef>
                <a:spcPct val="80000"/>
              </a:spcBef>
              <a:buClr>
                <a:prstClr val="black"/>
              </a:buClr>
            </a:pPr>
            <a:r>
              <a:rPr lang="en-US" sz="1050" kern="1200" dirty="0">
                <a:solidFill>
                  <a:srgbClr val="313131"/>
                </a:solidFill>
                <a:ea typeface="+mn-ea"/>
                <a:cs typeface="+mn-cs"/>
              </a:rPr>
              <a:t>Text</a:t>
            </a:r>
          </a:p>
        </p:txBody>
      </p:sp>
      <p:sp>
        <p:nvSpPr>
          <p:cNvPr id="26" name="Freeform 25"/>
          <p:cNvSpPr>
            <a:spLocks/>
          </p:cNvSpPr>
          <p:nvPr/>
        </p:nvSpPr>
        <p:spPr bwMode="blackWhite">
          <a:xfrm>
            <a:off x="4704160" y="2904929"/>
            <a:ext cx="2875359" cy="1081284"/>
          </a:xfrm>
          <a:custGeom>
            <a:avLst/>
            <a:gdLst>
              <a:gd name="T0" fmla="*/ 0 w 3656"/>
              <a:gd name="T1" fmla="*/ 307 h 1272"/>
              <a:gd name="T2" fmla="*/ 0 w 3656"/>
              <a:gd name="T3" fmla="*/ 1020 h 1272"/>
              <a:gd name="T4" fmla="*/ 3583 w 3656"/>
              <a:gd name="T5" fmla="*/ 1017 h 1272"/>
              <a:gd name="T6" fmla="*/ 3583 w 3656"/>
              <a:gd name="T7" fmla="*/ 1379 h 1272"/>
              <a:gd name="T8" fmla="*/ 3965 w 3656"/>
              <a:gd name="T9" fmla="*/ 0 h 1272"/>
              <a:gd name="T10" fmla="*/ 3583 w 3656"/>
              <a:gd name="T11" fmla="*/ 0 h 1272"/>
              <a:gd name="T12" fmla="*/ 3365 w 3656"/>
              <a:gd name="T13" fmla="*/ 668 h 1272"/>
              <a:gd name="T14" fmla="*/ 3365 w 3656"/>
              <a:gd name="T15" fmla="*/ 310 h 1272"/>
              <a:gd name="T16" fmla="*/ 0 w 3656"/>
              <a:gd name="T17" fmla="*/ 307 h 12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56"/>
              <a:gd name="T28" fmla="*/ 0 h 1272"/>
              <a:gd name="T29" fmla="*/ 3656 w 3656"/>
              <a:gd name="T30" fmla="*/ 1272 h 12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56" h="1272">
                <a:moveTo>
                  <a:pt x="0" y="283"/>
                </a:moveTo>
                <a:lnTo>
                  <a:pt x="0" y="941"/>
                </a:lnTo>
                <a:lnTo>
                  <a:pt x="3303" y="938"/>
                </a:lnTo>
                <a:lnTo>
                  <a:pt x="3303" y="1271"/>
                </a:lnTo>
                <a:lnTo>
                  <a:pt x="3655" y="0"/>
                </a:lnTo>
                <a:lnTo>
                  <a:pt x="3303" y="0"/>
                </a:lnTo>
                <a:lnTo>
                  <a:pt x="3102" y="616"/>
                </a:lnTo>
                <a:lnTo>
                  <a:pt x="3102" y="286"/>
                </a:lnTo>
                <a:lnTo>
                  <a:pt x="0" y="283"/>
                </a:lnTo>
              </a:path>
            </a:pathLst>
          </a:custGeom>
          <a:solidFill>
            <a:srgbClr val="00A1DE"/>
          </a:solidFill>
          <a:ln w="12700" cap="rnd">
            <a:solidFill>
              <a:schemeClr val="bg1"/>
            </a:solidFill>
            <a:round/>
            <a:headEnd type="none" w="sm" len="sm"/>
            <a:tailEnd type="none" w="sm" len="sm"/>
          </a:ln>
        </p:spPr>
        <p:txBody>
          <a:bodyPr lIns="27000" tIns="27000" rIns="27000" bIns="27000">
            <a:noAutofit/>
          </a:bodyPr>
          <a:lstStyle/>
          <a:p>
            <a:pPr defTabSz="685800">
              <a:buClrTx/>
              <a:defRPr/>
            </a:pPr>
            <a:endParaRPr lang="en-US" sz="1050" kern="1200" dirty="0">
              <a:solidFill>
                <a:prstClr val="black"/>
              </a:solidFill>
              <a:ea typeface="+mn-ea"/>
              <a:cs typeface="+mn-cs"/>
            </a:endParaRPr>
          </a:p>
        </p:txBody>
      </p:sp>
      <p:sp>
        <p:nvSpPr>
          <p:cNvPr id="27" name="Freeform 26"/>
          <p:cNvSpPr>
            <a:spLocks/>
          </p:cNvSpPr>
          <p:nvPr/>
        </p:nvSpPr>
        <p:spPr bwMode="blackWhite">
          <a:xfrm>
            <a:off x="4704160" y="1747838"/>
            <a:ext cx="2875359" cy="1081284"/>
          </a:xfrm>
          <a:custGeom>
            <a:avLst/>
            <a:gdLst>
              <a:gd name="T0" fmla="*/ 0 w 3656"/>
              <a:gd name="T1" fmla="*/ 1070 h 1272"/>
              <a:gd name="T2" fmla="*/ 0 w 3656"/>
              <a:gd name="T3" fmla="*/ 357 h 1272"/>
              <a:gd name="T4" fmla="*/ 3583 w 3656"/>
              <a:gd name="T5" fmla="*/ 359 h 1272"/>
              <a:gd name="T6" fmla="*/ 3583 w 3656"/>
              <a:gd name="T7" fmla="*/ 0 h 1272"/>
              <a:gd name="T8" fmla="*/ 3965 w 3656"/>
              <a:gd name="T9" fmla="*/ 1379 h 1272"/>
              <a:gd name="T10" fmla="*/ 3583 w 3656"/>
              <a:gd name="T11" fmla="*/ 1379 h 1272"/>
              <a:gd name="T12" fmla="*/ 3365 w 3656"/>
              <a:gd name="T13" fmla="*/ 709 h 1272"/>
              <a:gd name="T14" fmla="*/ 3365 w 3656"/>
              <a:gd name="T15" fmla="*/ 1068 h 1272"/>
              <a:gd name="T16" fmla="*/ 0 w 3656"/>
              <a:gd name="T17" fmla="*/ 1070 h 12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56"/>
              <a:gd name="T28" fmla="*/ 0 h 1272"/>
              <a:gd name="T29" fmla="*/ 3656 w 3656"/>
              <a:gd name="T30" fmla="*/ 1272 h 12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56" h="1272">
                <a:moveTo>
                  <a:pt x="0" y="987"/>
                </a:moveTo>
                <a:lnTo>
                  <a:pt x="0" y="329"/>
                </a:lnTo>
                <a:lnTo>
                  <a:pt x="3303" y="331"/>
                </a:lnTo>
                <a:lnTo>
                  <a:pt x="3303" y="0"/>
                </a:lnTo>
                <a:lnTo>
                  <a:pt x="3655" y="1271"/>
                </a:lnTo>
                <a:lnTo>
                  <a:pt x="3303" y="1271"/>
                </a:lnTo>
                <a:lnTo>
                  <a:pt x="3102" y="654"/>
                </a:lnTo>
                <a:lnTo>
                  <a:pt x="3102" y="985"/>
                </a:lnTo>
                <a:lnTo>
                  <a:pt x="0" y="987"/>
                </a:lnTo>
              </a:path>
            </a:pathLst>
          </a:custGeom>
          <a:solidFill>
            <a:srgbClr val="00A1DE"/>
          </a:solidFill>
          <a:ln w="12700" cap="rnd">
            <a:solidFill>
              <a:schemeClr val="bg1"/>
            </a:solidFill>
            <a:round/>
            <a:headEnd type="none" w="sm" len="sm"/>
            <a:tailEnd type="none" w="sm" len="sm"/>
          </a:ln>
        </p:spPr>
        <p:txBody>
          <a:bodyPr lIns="27000" tIns="27000" rIns="27000" bIns="27000">
            <a:noAutofit/>
          </a:bodyPr>
          <a:lstStyle/>
          <a:p>
            <a:pPr defTabSz="685800">
              <a:buClrTx/>
              <a:defRPr/>
            </a:pPr>
            <a:endParaRPr lang="en-US" sz="1350" kern="1200" dirty="0">
              <a:solidFill>
                <a:prstClr val="black"/>
              </a:solidFill>
              <a:ea typeface="+mn-ea"/>
              <a:cs typeface="+mn-cs"/>
            </a:endParaRPr>
          </a:p>
        </p:txBody>
      </p:sp>
      <p:sp>
        <p:nvSpPr>
          <p:cNvPr id="28" name="Rectangle 13"/>
          <p:cNvSpPr>
            <a:spLocks noChangeArrowheads="1"/>
          </p:cNvSpPr>
          <p:nvPr/>
        </p:nvSpPr>
        <p:spPr bwMode="auto">
          <a:xfrm>
            <a:off x="4795099" y="2086884"/>
            <a:ext cx="1969826" cy="208260"/>
          </a:xfrm>
          <a:prstGeom prst="rect">
            <a:avLst/>
          </a:prstGeom>
          <a:noFill/>
          <a:ln w="9525">
            <a:noFill/>
            <a:miter lim="800000"/>
            <a:headEnd/>
            <a:tailEnd/>
          </a:ln>
        </p:spPr>
        <p:txBody>
          <a:bodyPr lIns="27000" tIns="27000" rIns="27000" bIns="27000">
            <a:noAutofit/>
          </a:bodyPr>
          <a:lstStyle/>
          <a:p>
            <a:pPr defTabSz="590550">
              <a:lnSpc>
                <a:spcPct val="95000"/>
              </a:lnSpc>
              <a:spcBef>
                <a:spcPct val="80000"/>
              </a:spcBef>
              <a:buClr>
                <a:prstClr val="black"/>
              </a:buClr>
            </a:pPr>
            <a:r>
              <a:rPr lang="en-US" sz="1050" kern="1200">
                <a:solidFill>
                  <a:prstClr val="white"/>
                </a:solidFill>
                <a:ea typeface="+mn-ea"/>
                <a:cs typeface="+mn-cs"/>
              </a:rPr>
              <a:t>Text</a:t>
            </a:r>
            <a:endParaRPr lang="en-US" sz="1050" kern="1200" dirty="0">
              <a:solidFill>
                <a:prstClr val="white"/>
              </a:solidFill>
              <a:ea typeface="+mn-ea"/>
              <a:cs typeface="+mn-cs"/>
            </a:endParaRPr>
          </a:p>
        </p:txBody>
      </p:sp>
      <p:sp>
        <p:nvSpPr>
          <p:cNvPr id="29" name="Rectangle 14"/>
          <p:cNvSpPr>
            <a:spLocks noChangeArrowheads="1"/>
          </p:cNvSpPr>
          <p:nvPr/>
        </p:nvSpPr>
        <p:spPr bwMode="auto">
          <a:xfrm>
            <a:off x="4795099" y="2764145"/>
            <a:ext cx="1969826" cy="208260"/>
          </a:xfrm>
          <a:prstGeom prst="rect">
            <a:avLst/>
          </a:prstGeom>
          <a:noFill/>
          <a:ln w="9525">
            <a:noFill/>
            <a:miter lim="800000"/>
            <a:headEnd/>
            <a:tailEnd/>
          </a:ln>
        </p:spPr>
        <p:txBody>
          <a:bodyPr lIns="27000" tIns="27000" rIns="27000" bIns="27000" anchor="ctr">
            <a:noAutofit/>
          </a:bodyPr>
          <a:lstStyle/>
          <a:p>
            <a:pPr defTabSz="590550">
              <a:lnSpc>
                <a:spcPct val="95000"/>
              </a:lnSpc>
              <a:spcBef>
                <a:spcPct val="80000"/>
              </a:spcBef>
              <a:buClr>
                <a:prstClr val="black"/>
              </a:buClr>
            </a:pPr>
            <a:r>
              <a:rPr lang="en-US" sz="1050" kern="1200" dirty="0">
                <a:solidFill>
                  <a:srgbClr val="313131"/>
                </a:solidFill>
                <a:ea typeface="+mn-ea"/>
                <a:cs typeface="+mn-cs"/>
              </a:rPr>
              <a:t>Text</a:t>
            </a:r>
          </a:p>
        </p:txBody>
      </p:sp>
      <p:sp>
        <p:nvSpPr>
          <p:cNvPr id="30" name="Rectangle 15"/>
          <p:cNvSpPr>
            <a:spLocks noChangeArrowheads="1"/>
          </p:cNvSpPr>
          <p:nvPr/>
        </p:nvSpPr>
        <p:spPr bwMode="auto">
          <a:xfrm>
            <a:off x="4795099" y="3200657"/>
            <a:ext cx="1969826" cy="208260"/>
          </a:xfrm>
          <a:prstGeom prst="rect">
            <a:avLst/>
          </a:prstGeom>
          <a:noFill/>
          <a:ln w="9525">
            <a:noFill/>
            <a:miter lim="800000"/>
            <a:headEnd/>
            <a:tailEnd/>
          </a:ln>
        </p:spPr>
        <p:txBody>
          <a:bodyPr lIns="27000" tIns="27000" rIns="27000" bIns="27000">
            <a:noAutofit/>
          </a:bodyPr>
          <a:lstStyle/>
          <a:p>
            <a:pPr defTabSz="590550">
              <a:lnSpc>
                <a:spcPct val="95000"/>
              </a:lnSpc>
              <a:spcBef>
                <a:spcPct val="80000"/>
              </a:spcBef>
              <a:buClr>
                <a:prstClr val="black"/>
              </a:buClr>
            </a:pPr>
            <a:r>
              <a:rPr lang="en-US" sz="1050" kern="1200">
                <a:solidFill>
                  <a:prstClr val="white"/>
                </a:solidFill>
                <a:ea typeface="+mn-ea"/>
                <a:cs typeface="+mn-cs"/>
              </a:rPr>
              <a:t>Text</a:t>
            </a:r>
            <a:endParaRPr lang="en-US" sz="1050" kern="1200" dirty="0">
              <a:solidFill>
                <a:prstClr val="white"/>
              </a:solidFill>
              <a:ea typeface="+mn-ea"/>
              <a:cs typeface="+mn-cs"/>
            </a:endParaRPr>
          </a:p>
        </p:txBody>
      </p:sp>
    </p:spTree>
    <p:extLst>
      <p:ext uri="{BB962C8B-B14F-4D97-AF65-F5344CB8AC3E}">
        <p14:creationId xmlns:p14="http://schemas.microsoft.com/office/powerpoint/2010/main" val="3251778301"/>
      </p:ext>
    </p:extLst>
  </p:cSld>
  <p:clrMapOvr>
    <a:masterClrMapping/>
  </p:clrMapOvr>
  <p:transition>
    <p:fade/>
  </p:transition>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6129" name="Title 1"/>
          <p:cNvSpPr>
            <a:spLocks noGrp="1"/>
          </p:cNvSpPr>
          <p:nvPr>
            <p:ph type="title"/>
          </p:nvPr>
        </p:nvSpPr>
        <p:spPr/>
        <p:txBody>
          <a:bodyPr/>
          <a:lstStyle/>
          <a:p>
            <a:r>
              <a:rPr lang="en-US" dirty="0"/>
              <a:t>Linear</a:t>
            </a:r>
          </a:p>
        </p:txBody>
      </p:sp>
      <p:sp>
        <p:nvSpPr>
          <p:cNvPr id="5" name="Freeform 3"/>
          <p:cNvSpPr>
            <a:spLocks/>
          </p:cNvSpPr>
          <p:nvPr/>
        </p:nvSpPr>
        <p:spPr bwMode="blackWhite">
          <a:xfrm>
            <a:off x="5045320" y="1335881"/>
            <a:ext cx="1905549" cy="1578768"/>
          </a:xfrm>
          <a:custGeom>
            <a:avLst/>
            <a:gdLst>
              <a:gd name="T0" fmla="*/ 0 w 1660"/>
              <a:gd name="T1" fmla="*/ 261 h 2567"/>
              <a:gd name="T2" fmla="*/ 1102 w 1660"/>
              <a:gd name="T3" fmla="*/ 261 h 2567"/>
              <a:gd name="T4" fmla="*/ 1102 w 1660"/>
              <a:gd name="T5" fmla="*/ 0 h 2567"/>
              <a:gd name="T6" fmla="*/ 1693 w 1660"/>
              <a:gd name="T7" fmla="*/ 1309 h 2567"/>
              <a:gd name="T8" fmla="*/ 1102 w 1660"/>
              <a:gd name="T9" fmla="*/ 2618 h 2567"/>
              <a:gd name="T10" fmla="*/ 1102 w 1660"/>
              <a:gd name="T11" fmla="*/ 2356 h 2567"/>
              <a:gd name="T12" fmla="*/ 0 w 1660"/>
              <a:gd name="T13" fmla="*/ 2356 h 2567"/>
              <a:gd name="T14" fmla="*/ 0 w 1660"/>
              <a:gd name="T15" fmla="*/ 1309 h 2567"/>
              <a:gd name="T16" fmla="*/ 0 w 1660"/>
              <a:gd name="T17" fmla="*/ 261 h 25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60"/>
              <a:gd name="T28" fmla="*/ 0 h 2567"/>
              <a:gd name="T29" fmla="*/ 1660 w 1660"/>
              <a:gd name="T30" fmla="*/ 2567 h 25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60" h="2567">
                <a:moveTo>
                  <a:pt x="0" y="256"/>
                </a:moveTo>
                <a:lnTo>
                  <a:pt x="1080" y="256"/>
                </a:lnTo>
                <a:lnTo>
                  <a:pt x="1080" y="0"/>
                </a:lnTo>
                <a:lnTo>
                  <a:pt x="1659" y="1283"/>
                </a:lnTo>
                <a:lnTo>
                  <a:pt x="1080" y="2566"/>
                </a:lnTo>
                <a:lnTo>
                  <a:pt x="1080" y="2309"/>
                </a:lnTo>
                <a:lnTo>
                  <a:pt x="0" y="2309"/>
                </a:lnTo>
                <a:lnTo>
                  <a:pt x="0" y="1283"/>
                </a:lnTo>
                <a:lnTo>
                  <a:pt x="0" y="256"/>
                </a:lnTo>
              </a:path>
            </a:pathLst>
          </a:custGeom>
          <a:solidFill>
            <a:srgbClr val="575757"/>
          </a:solidFill>
          <a:ln w="12700" cap="rnd">
            <a:solidFill>
              <a:schemeClr val="bg1"/>
            </a:solidFill>
            <a:round/>
            <a:headEnd/>
            <a:tailEnd/>
          </a:ln>
        </p:spPr>
        <p:txBody>
          <a:bodyPr lIns="594000" tIns="27000" rIns="594000" bIns="27000" anchor="ctr">
            <a:noAutofit/>
          </a:bodyPr>
          <a:lstStyle/>
          <a:p>
            <a:pPr defTabSz="685800">
              <a:buClrTx/>
              <a:defRPr/>
            </a:pPr>
            <a:r>
              <a:rPr lang="en-US" sz="1050" kern="1200">
                <a:solidFill>
                  <a:prstClr val="white"/>
                </a:solidFill>
                <a:ea typeface="+mn-ea"/>
                <a:cs typeface="+mn-cs"/>
              </a:rPr>
              <a:t>Text</a:t>
            </a:r>
            <a:endParaRPr lang="en-US" sz="1050" kern="1200" dirty="0">
              <a:solidFill>
                <a:prstClr val="white"/>
              </a:solidFill>
              <a:ea typeface="+mn-ea"/>
              <a:cs typeface="+mn-cs"/>
            </a:endParaRPr>
          </a:p>
        </p:txBody>
      </p:sp>
      <p:sp>
        <p:nvSpPr>
          <p:cNvPr id="6" name="Freeform 4"/>
          <p:cNvSpPr>
            <a:spLocks/>
          </p:cNvSpPr>
          <p:nvPr/>
        </p:nvSpPr>
        <p:spPr bwMode="blackWhite">
          <a:xfrm>
            <a:off x="3842821" y="1493215"/>
            <a:ext cx="1733443" cy="1263497"/>
          </a:xfrm>
          <a:custGeom>
            <a:avLst/>
            <a:gdLst>
              <a:gd name="T0" fmla="*/ 0 w 1511"/>
              <a:gd name="T1" fmla="*/ 207 h 2054"/>
              <a:gd name="T2" fmla="*/ 1070 w 1511"/>
              <a:gd name="T3" fmla="*/ 207 h 2054"/>
              <a:gd name="T4" fmla="*/ 1070 w 1511"/>
              <a:gd name="T5" fmla="*/ 0 h 2054"/>
              <a:gd name="T6" fmla="*/ 1541 w 1511"/>
              <a:gd name="T7" fmla="*/ 1047 h 2054"/>
              <a:gd name="T8" fmla="*/ 1070 w 1511"/>
              <a:gd name="T9" fmla="*/ 2095 h 2054"/>
              <a:gd name="T10" fmla="*/ 1070 w 1511"/>
              <a:gd name="T11" fmla="*/ 1887 h 2054"/>
              <a:gd name="T12" fmla="*/ 0 w 1511"/>
              <a:gd name="T13" fmla="*/ 1887 h 2054"/>
              <a:gd name="T14" fmla="*/ 0 w 1511"/>
              <a:gd name="T15" fmla="*/ 1047 h 2054"/>
              <a:gd name="T16" fmla="*/ 0 w 1511"/>
              <a:gd name="T17" fmla="*/ 207 h 20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11"/>
              <a:gd name="T28" fmla="*/ 0 h 2054"/>
              <a:gd name="T29" fmla="*/ 1511 w 1511"/>
              <a:gd name="T30" fmla="*/ 2054 h 20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11" h="2054">
                <a:moveTo>
                  <a:pt x="0" y="203"/>
                </a:moveTo>
                <a:lnTo>
                  <a:pt x="1048" y="203"/>
                </a:lnTo>
                <a:lnTo>
                  <a:pt x="1048" y="0"/>
                </a:lnTo>
                <a:lnTo>
                  <a:pt x="1510" y="1026"/>
                </a:lnTo>
                <a:lnTo>
                  <a:pt x="1048" y="2053"/>
                </a:lnTo>
                <a:lnTo>
                  <a:pt x="1048" y="1849"/>
                </a:lnTo>
                <a:lnTo>
                  <a:pt x="0" y="1849"/>
                </a:lnTo>
                <a:lnTo>
                  <a:pt x="0" y="1026"/>
                </a:lnTo>
                <a:lnTo>
                  <a:pt x="0" y="203"/>
                </a:lnTo>
              </a:path>
            </a:pathLst>
          </a:custGeom>
          <a:solidFill>
            <a:srgbClr val="8C8C8C"/>
          </a:solidFill>
          <a:ln w="12700" cap="rnd">
            <a:solidFill>
              <a:schemeClr val="bg1"/>
            </a:solidFill>
            <a:round/>
            <a:headEnd/>
            <a:tailEnd/>
          </a:ln>
        </p:spPr>
        <p:txBody>
          <a:bodyPr lIns="486000" tIns="27000" rIns="513000" bIns="27000" anchor="ctr">
            <a:noAutofit/>
          </a:bodyPr>
          <a:lstStyle/>
          <a:p>
            <a:pPr defTabSz="685800">
              <a:buClrTx/>
              <a:defRPr/>
            </a:pPr>
            <a:r>
              <a:rPr lang="en-US" sz="1050" kern="1200">
                <a:solidFill>
                  <a:prstClr val="white"/>
                </a:solidFill>
                <a:ea typeface="+mn-ea"/>
                <a:cs typeface="+mn-cs"/>
              </a:rPr>
              <a:t>Text</a:t>
            </a:r>
            <a:endParaRPr lang="en-US" sz="1050" kern="1200" dirty="0">
              <a:solidFill>
                <a:prstClr val="white"/>
              </a:solidFill>
              <a:ea typeface="+mn-ea"/>
              <a:cs typeface="+mn-cs"/>
            </a:endParaRPr>
          </a:p>
        </p:txBody>
      </p:sp>
      <p:sp>
        <p:nvSpPr>
          <p:cNvPr id="816142" name="Freeform 5"/>
          <p:cNvSpPr>
            <a:spLocks/>
          </p:cNvSpPr>
          <p:nvPr/>
        </p:nvSpPr>
        <p:spPr bwMode="blackWhite">
          <a:xfrm>
            <a:off x="2883297" y="1625835"/>
            <a:ext cx="1385854" cy="1006096"/>
          </a:xfrm>
          <a:custGeom>
            <a:avLst/>
            <a:gdLst>
              <a:gd name="T0" fmla="*/ 0 w 1207"/>
              <a:gd name="T1" fmla="*/ 269 h 1636"/>
              <a:gd name="T2" fmla="*/ 927 w 1207"/>
              <a:gd name="T3" fmla="*/ 269 h 1636"/>
              <a:gd name="T4" fmla="*/ 927 w 1207"/>
              <a:gd name="T5" fmla="*/ 0 h 1636"/>
              <a:gd name="T6" fmla="*/ 1336 w 1207"/>
              <a:gd name="T7" fmla="*/ 897 h 1636"/>
              <a:gd name="T8" fmla="*/ 927 w 1207"/>
              <a:gd name="T9" fmla="*/ 1807 h 1636"/>
              <a:gd name="T10" fmla="*/ 927 w 1207"/>
              <a:gd name="T11" fmla="*/ 1536 h 1636"/>
              <a:gd name="T12" fmla="*/ 0 w 1207"/>
              <a:gd name="T13" fmla="*/ 1536 h 1636"/>
              <a:gd name="T14" fmla="*/ 0 w 1207"/>
              <a:gd name="T15" fmla="*/ 897 h 1636"/>
              <a:gd name="T16" fmla="*/ 0 w 1207"/>
              <a:gd name="T17" fmla="*/ 269 h 16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07"/>
              <a:gd name="T28" fmla="*/ 0 h 1636"/>
              <a:gd name="T29" fmla="*/ 1207 w 1207"/>
              <a:gd name="T30" fmla="*/ 1636 h 16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07" h="1636">
                <a:moveTo>
                  <a:pt x="0" y="244"/>
                </a:moveTo>
                <a:lnTo>
                  <a:pt x="837" y="244"/>
                </a:lnTo>
                <a:lnTo>
                  <a:pt x="837" y="0"/>
                </a:lnTo>
                <a:lnTo>
                  <a:pt x="1206" y="812"/>
                </a:lnTo>
                <a:lnTo>
                  <a:pt x="837" y="1635"/>
                </a:lnTo>
                <a:lnTo>
                  <a:pt x="837" y="1390"/>
                </a:lnTo>
                <a:lnTo>
                  <a:pt x="0" y="1390"/>
                </a:lnTo>
                <a:lnTo>
                  <a:pt x="0" y="812"/>
                </a:lnTo>
                <a:lnTo>
                  <a:pt x="0" y="244"/>
                </a:lnTo>
              </a:path>
            </a:pathLst>
          </a:custGeom>
          <a:solidFill>
            <a:srgbClr val="B4B4B4"/>
          </a:solidFill>
          <a:ln w="12700" cap="rnd">
            <a:solidFill>
              <a:schemeClr val="bg1"/>
            </a:solidFill>
            <a:round/>
            <a:headEnd/>
            <a:tailEnd/>
          </a:ln>
        </p:spPr>
        <p:txBody>
          <a:bodyPr lIns="351000" tIns="27000" rIns="378000" bIns="27000" anchor="ctr">
            <a:noAutofit/>
          </a:bodyPr>
          <a:lstStyle/>
          <a:p>
            <a:pPr defTabSz="685800">
              <a:buClrTx/>
            </a:pPr>
            <a:r>
              <a:rPr lang="en-US" sz="1050" kern="1200" dirty="0">
                <a:solidFill>
                  <a:srgbClr val="313131"/>
                </a:solidFill>
                <a:ea typeface="+mn-ea"/>
                <a:cs typeface="+mn-cs"/>
              </a:rPr>
              <a:t>Text</a:t>
            </a:r>
          </a:p>
        </p:txBody>
      </p:sp>
      <p:sp>
        <p:nvSpPr>
          <p:cNvPr id="816143" name="Freeform 6"/>
          <p:cNvSpPr>
            <a:spLocks/>
          </p:cNvSpPr>
          <p:nvPr/>
        </p:nvSpPr>
        <p:spPr bwMode="blackWhite">
          <a:xfrm>
            <a:off x="2143125" y="1776538"/>
            <a:ext cx="1039391" cy="704689"/>
          </a:xfrm>
          <a:custGeom>
            <a:avLst/>
            <a:gdLst>
              <a:gd name="T0" fmla="*/ 0 w 906"/>
              <a:gd name="T1" fmla="*/ 248 h 1146"/>
              <a:gd name="T2" fmla="*/ 712 w 906"/>
              <a:gd name="T3" fmla="*/ 248 h 1146"/>
              <a:gd name="T4" fmla="*/ 712 w 906"/>
              <a:gd name="T5" fmla="*/ 0 h 1146"/>
              <a:gd name="T6" fmla="*/ 998 w 906"/>
              <a:gd name="T7" fmla="*/ 626 h 1146"/>
              <a:gd name="T8" fmla="*/ 712 w 906"/>
              <a:gd name="T9" fmla="*/ 1264 h 1146"/>
              <a:gd name="T10" fmla="*/ 712 w 906"/>
              <a:gd name="T11" fmla="*/ 1016 h 1146"/>
              <a:gd name="T12" fmla="*/ 0 w 906"/>
              <a:gd name="T13" fmla="*/ 1016 h 1146"/>
              <a:gd name="T14" fmla="*/ 0 w 906"/>
              <a:gd name="T15" fmla="*/ 626 h 1146"/>
              <a:gd name="T16" fmla="*/ 0 w 906"/>
              <a:gd name="T17" fmla="*/ 248 h 11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6"/>
              <a:gd name="T28" fmla="*/ 0 h 1146"/>
              <a:gd name="T29" fmla="*/ 906 w 906"/>
              <a:gd name="T30" fmla="*/ 1146 h 11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6" h="1146">
                <a:moveTo>
                  <a:pt x="0" y="224"/>
                </a:moveTo>
                <a:lnTo>
                  <a:pt x="645" y="224"/>
                </a:lnTo>
                <a:lnTo>
                  <a:pt x="645" y="0"/>
                </a:lnTo>
                <a:lnTo>
                  <a:pt x="905" y="567"/>
                </a:lnTo>
                <a:lnTo>
                  <a:pt x="645" y="1145"/>
                </a:lnTo>
                <a:lnTo>
                  <a:pt x="645" y="920"/>
                </a:lnTo>
                <a:lnTo>
                  <a:pt x="0" y="920"/>
                </a:lnTo>
                <a:lnTo>
                  <a:pt x="0" y="567"/>
                </a:lnTo>
                <a:lnTo>
                  <a:pt x="0" y="224"/>
                </a:lnTo>
              </a:path>
            </a:pathLst>
          </a:custGeom>
          <a:solidFill>
            <a:srgbClr val="00A1DE"/>
          </a:solidFill>
          <a:ln w="12700" cap="rnd">
            <a:solidFill>
              <a:schemeClr val="bg1"/>
            </a:solidFill>
            <a:round/>
            <a:headEnd/>
            <a:tailEnd/>
          </a:ln>
        </p:spPr>
        <p:txBody>
          <a:bodyPr lIns="27000" tIns="27000" rIns="297000" bIns="27000" anchor="ctr">
            <a:noAutofit/>
          </a:bodyPr>
          <a:lstStyle/>
          <a:p>
            <a:pPr defTabSz="685800">
              <a:buClrTx/>
            </a:pPr>
            <a:r>
              <a:rPr lang="en-US" sz="1050" kern="1200" dirty="0">
                <a:solidFill>
                  <a:prstClr val="white"/>
                </a:solidFill>
                <a:ea typeface="+mn-ea"/>
                <a:cs typeface="+mn-cs"/>
              </a:rPr>
              <a:t>Text</a:t>
            </a:r>
          </a:p>
        </p:txBody>
      </p:sp>
      <p:sp>
        <p:nvSpPr>
          <p:cNvPr id="14" name="Freeform 13"/>
          <p:cNvSpPr>
            <a:spLocks/>
          </p:cNvSpPr>
          <p:nvPr/>
        </p:nvSpPr>
        <p:spPr bwMode="blackWhite">
          <a:xfrm>
            <a:off x="4526708" y="2971801"/>
            <a:ext cx="2325340" cy="1556063"/>
          </a:xfrm>
          <a:custGeom>
            <a:avLst/>
            <a:gdLst>
              <a:gd name="T0" fmla="*/ 0 w 1800"/>
              <a:gd name="T1" fmla="*/ 146 h 1303"/>
              <a:gd name="T2" fmla="*/ 1673 w 1800"/>
              <a:gd name="T3" fmla="*/ 146 h 1303"/>
              <a:gd name="T4" fmla="*/ 1673 w 1800"/>
              <a:gd name="T5" fmla="*/ 0 h 1303"/>
              <a:gd name="T6" fmla="*/ 2115 w 1800"/>
              <a:gd name="T7" fmla="*/ 747 h 1303"/>
              <a:gd name="T8" fmla="*/ 1673 w 1800"/>
              <a:gd name="T9" fmla="*/ 1485 h 1303"/>
              <a:gd name="T10" fmla="*/ 1673 w 1800"/>
              <a:gd name="T11" fmla="*/ 1339 h 1303"/>
              <a:gd name="T12" fmla="*/ 0 w 1800"/>
              <a:gd name="T13" fmla="*/ 1339 h 1303"/>
              <a:gd name="T14" fmla="*/ 0 w 1800"/>
              <a:gd name="T15" fmla="*/ 747 h 1303"/>
              <a:gd name="T16" fmla="*/ 0 w 1800"/>
              <a:gd name="T17" fmla="*/ 146 h 13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00"/>
              <a:gd name="T28" fmla="*/ 0 h 1303"/>
              <a:gd name="T29" fmla="*/ 1800 w 1800"/>
              <a:gd name="T30" fmla="*/ 1303 h 130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00" h="1303">
                <a:moveTo>
                  <a:pt x="0" y="128"/>
                </a:moveTo>
                <a:lnTo>
                  <a:pt x="1423" y="128"/>
                </a:lnTo>
                <a:lnTo>
                  <a:pt x="1423" y="0"/>
                </a:lnTo>
                <a:lnTo>
                  <a:pt x="1799" y="655"/>
                </a:lnTo>
                <a:lnTo>
                  <a:pt x="1423" y="1302"/>
                </a:lnTo>
                <a:lnTo>
                  <a:pt x="1423" y="1174"/>
                </a:lnTo>
                <a:lnTo>
                  <a:pt x="0" y="1174"/>
                </a:lnTo>
                <a:lnTo>
                  <a:pt x="0" y="655"/>
                </a:lnTo>
                <a:lnTo>
                  <a:pt x="0" y="128"/>
                </a:lnTo>
              </a:path>
            </a:pathLst>
          </a:custGeom>
          <a:solidFill>
            <a:srgbClr val="575757"/>
          </a:solidFill>
          <a:ln w="12700" cap="rnd">
            <a:solidFill>
              <a:schemeClr val="bg1"/>
            </a:solidFill>
            <a:round/>
            <a:headEnd/>
            <a:tailEnd/>
          </a:ln>
        </p:spPr>
        <p:txBody>
          <a:bodyPr lIns="513000" tIns="27000" rIns="459000" bIns="27000" anchor="ctr">
            <a:noAutofit/>
          </a:bodyPr>
          <a:lstStyle/>
          <a:p>
            <a:pPr defTabSz="685800">
              <a:buClrTx/>
              <a:defRPr/>
            </a:pPr>
            <a:r>
              <a:rPr lang="en-US" sz="1050" kern="1200">
                <a:solidFill>
                  <a:prstClr val="white"/>
                </a:solidFill>
                <a:ea typeface="+mn-ea"/>
                <a:cs typeface="+mn-cs"/>
              </a:rPr>
              <a:t>Text</a:t>
            </a:r>
            <a:endParaRPr lang="en-US" sz="1050" kern="1200" dirty="0">
              <a:solidFill>
                <a:prstClr val="white"/>
              </a:solidFill>
              <a:ea typeface="+mn-ea"/>
              <a:cs typeface="+mn-cs"/>
            </a:endParaRPr>
          </a:p>
        </p:txBody>
      </p:sp>
      <p:sp>
        <p:nvSpPr>
          <p:cNvPr id="15" name="Freeform 14"/>
          <p:cNvSpPr>
            <a:spLocks/>
          </p:cNvSpPr>
          <p:nvPr/>
        </p:nvSpPr>
        <p:spPr bwMode="blackWhite">
          <a:xfrm>
            <a:off x="3086100" y="3109625"/>
            <a:ext cx="1860492" cy="1469150"/>
          </a:xfrm>
          <a:custGeom>
            <a:avLst/>
            <a:gdLst>
              <a:gd name="T0" fmla="*/ 0 w 1440"/>
              <a:gd name="T1" fmla="*/ 208 h 1239"/>
              <a:gd name="T2" fmla="*/ 1269 w 1440"/>
              <a:gd name="T3" fmla="*/ 208 h 1239"/>
              <a:gd name="T4" fmla="*/ 1269 w 1440"/>
              <a:gd name="T5" fmla="*/ 0 h 1239"/>
              <a:gd name="T6" fmla="*/ 1692 w 1440"/>
              <a:gd name="T7" fmla="*/ 696 h 1239"/>
              <a:gd name="T8" fmla="*/ 1269 w 1440"/>
              <a:gd name="T9" fmla="*/ 1402 h 1239"/>
              <a:gd name="T10" fmla="*/ 1269 w 1440"/>
              <a:gd name="T11" fmla="*/ 1194 h 1239"/>
              <a:gd name="T12" fmla="*/ 0 w 1440"/>
              <a:gd name="T13" fmla="*/ 1194 h 1239"/>
              <a:gd name="T14" fmla="*/ 0 w 1440"/>
              <a:gd name="T15" fmla="*/ 696 h 1239"/>
              <a:gd name="T16" fmla="*/ 0 w 1440"/>
              <a:gd name="T17" fmla="*/ 208 h 12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40"/>
              <a:gd name="T28" fmla="*/ 0 h 1239"/>
              <a:gd name="T29" fmla="*/ 1440 w 1440"/>
              <a:gd name="T30" fmla="*/ 1239 h 123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40" h="1239">
                <a:moveTo>
                  <a:pt x="0" y="184"/>
                </a:moveTo>
                <a:lnTo>
                  <a:pt x="1079" y="184"/>
                </a:lnTo>
                <a:lnTo>
                  <a:pt x="1079" y="0"/>
                </a:lnTo>
                <a:lnTo>
                  <a:pt x="1439" y="615"/>
                </a:lnTo>
                <a:lnTo>
                  <a:pt x="1079" y="1238"/>
                </a:lnTo>
                <a:lnTo>
                  <a:pt x="1079" y="1054"/>
                </a:lnTo>
                <a:lnTo>
                  <a:pt x="0" y="1054"/>
                </a:lnTo>
                <a:lnTo>
                  <a:pt x="0" y="615"/>
                </a:lnTo>
                <a:lnTo>
                  <a:pt x="0" y="184"/>
                </a:lnTo>
              </a:path>
            </a:pathLst>
          </a:custGeom>
          <a:solidFill>
            <a:srgbClr val="B4B4B4"/>
          </a:solidFill>
          <a:ln w="12700" cap="rnd">
            <a:solidFill>
              <a:schemeClr val="bg1"/>
            </a:solidFill>
            <a:round/>
            <a:headEnd/>
            <a:tailEnd/>
          </a:ln>
        </p:spPr>
        <p:txBody>
          <a:bodyPr lIns="459000" tIns="27000" rIns="459000" bIns="27000" anchor="ctr">
            <a:noAutofit/>
          </a:bodyPr>
          <a:lstStyle/>
          <a:p>
            <a:pPr defTabSz="685800">
              <a:buClrTx/>
              <a:defRPr/>
            </a:pPr>
            <a:r>
              <a:rPr lang="en-US" sz="1050" kern="1200">
                <a:solidFill>
                  <a:srgbClr val="313131"/>
                </a:solidFill>
                <a:ea typeface="+mn-ea"/>
                <a:cs typeface="+mn-cs"/>
              </a:rPr>
              <a:t>Text</a:t>
            </a:r>
            <a:endParaRPr lang="en-US" sz="1050" kern="1200" dirty="0">
              <a:solidFill>
                <a:srgbClr val="313131"/>
              </a:solidFill>
              <a:ea typeface="+mn-ea"/>
              <a:cs typeface="+mn-cs"/>
            </a:endParaRPr>
          </a:p>
        </p:txBody>
      </p:sp>
      <p:sp>
        <p:nvSpPr>
          <p:cNvPr id="816136" name="Freeform 15"/>
          <p:cNvSpPr>
            <a:spLocks/>
          </p:cNvSpPr>
          <p:nvPr/>
        </p:nvSpPr>
        <p:spPr bwMode="blackWhite">
          <a:xfrm>
            <a:off x="2128837" y="3343538"/>
            <a:ext cx="1395644" cy="1287993"/>
          </a:xfrm>
          <a:custGeom>
            <a:avLst/>
            <a:gdLst>
              <a:gd name="T0" fmla="*/ 0 w 1080"/>
              <a:gd name="T1" fmla="*/ 414 h 1079"/>
              <a:gd name="T2" fmla="*/ 1727 w 1080"/>
              <a:gd name="T3" fmla="*/ 414 h 1079"/>
              <a:gd name="T4" fmla="*/ 1727 w 1080"/>
              <a:gd name="T5" fmla="*/ 0 h 1079"/>
              <a:gd name="T6" fmla="*/ 2426 w 1080"/>
              <a:gd name="T7" fmla="*/ 1046 h 1079"/>
              <a:gd name="T8" fmla="*/ 1727 w 1080"/>
              <a:gd name="T9" fmla="*/ 2075 h 1079"/>
              <a:gd name="T10" fmla="*/ 1727 w 1080"/>
              <a:gd name="T11" fmla="*/ 1661 h 1079"/>
              <a:gd name="T12" fmla="*/ 0 w 1080"/>
              <a:gd name="T13" fmla="*/ 1661 h 1079"/>
              <a:gd name="T14" fmla="*/ 0 w 1080"/>
              <a:gd name="T15" fmla="*/ 1046 h 1079"/>
              <a:gd name="T16" fmla="*/ 0 w 1080"/>
              <a:gd name="T17" fmla="*/ 414 h 107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80"/>
              <a:gd name="T28" fmla="*/ 0 h 1079"/>
              <a:gd name="T29" fmla="*/ 1080 w 1080"/>
              <a:gd name="T30" fmla="*/ 1079 h 107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80" h="1079">
                <a:moveTo>
                  <a:pt x="0" y="215"/>
                </a:moveTo>
                <a:lnTo>
                  <a:pt x="768" y="215"/>
                </a:lnTo>
                <a:lnTo>
                  <a:pt x="768" y="0"/>
                </a:lnTo>
                <a:lnTo>
                  <a:pt x="1079" y="543"/>
                </a:lnTo>
                <a:lnTo>
                  <a:pt x="768" y="1078"/>
                </a:lnTo>
                <a:lnTo>
                  <a:pt x="768" y="862"/>
                </a:lnTo>
                <a:lnTo>
                  <a:pt x="0" y="862"/>
                </a:lnTo>
                <a:lnTo>
                  <a:pt x="0" y="543"/>
                </a:lnTo>
                <a:lnTo>
                  <a:pt x="0" y="215"/>
                </a:lnTo>
              </a:path>
            </a:pathLst>
          </a:custGeom>
          <a:solidFill>
            <a:srgbClr val="81BC00"/>
          </a:solidFill>
          <a:ln w="12700" cap="rnd">
            <a:solidFill>
              <a:schemeClr val="bg1"/>
            </a:solidFill>
            <a:round/>
            <a:headEnd/>
            <a:tailEnd/>
          </a:ln>
        </p:spPr>
        <p:txBody>
          <a:bodyPr lIns="27000" tIns="27000" rIns="405000" bIns="27000" anchor="ctr">
            <a:noAutofit/>
          </a:bodyPr>
          <a:lstStyle/>
          <a:p>
            <a:pPr defTabSz="685800">
              <a:buClrTx/>
            </a:pPr>
            <a:r>
              <a:rPr lang="en-US" sz="1050" kern="1200">
                <a:solidFill>
                  <a:prstClr val="white"/>
                </a:solidFill>
                <a:ea typeface="+mn-ea"/>
                <a:cs typeface="+mn-cs"/>
              </a:rPr>
              <a:t>Text</a:t>
            </a:r>
            <a:endParaRPr lang="en-US" sz="1050" kern="1200" dirty="0">
              <a:solidFill>
                <a:prstClr val="white"/>
              </a:solidFill>
              <a:ea typeface="+mn-ea"/>
              <a:cs typeface="+mn-cs"/>
            </a:endParaRPr>
          </a:p>
        </p:txBody>
      </p:sp>
      <p:sp>
        <p:nvSpPr>
          <p:cNvPr id="21"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Tree>
    <p:extLst>
      <p:ext uri="{BB962C8B-B14F-4D97-AF65-F5344CB8AC3E}">
        <p14:creationId xmlns:p14="http://schemas.microsoft.com/office/powerpoint/2010/main" val="3000705884"/>
      </p:ext>
    </p:extLst>
  </p:cSld>
  <p:clrMapOvr>
    <a:masterClrMapping/>
  </p:clrMapOvr>
  <p:transition>
    <p:fade/>
  </p:transition>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7153" name="Title 1"/>
          <p:cNvSpPr>
            <a:spLocks noGrp="1"/>
          </p:cNvSpPr>
          <p:nvPr>
            <p:ph type="title"/>
          </p:nvPr>
        </p:nvSpPr>
        <p:spPr/>
        <p:txBody>
          <a:bodyPr/>
          <a:lstStyle/>
          <a:p>
            <a:r>
              <a:rPr lang="en-US"/>
              <a:t>Radiating outward</a:t>
            </a:r>
          </a:p>
        </p:txBody>
      </p:sp>
      <p:sp>
        <p:nvSpPr>
          <p:cNvPr id="817155" name="Arc 2"/>
          <p:cNvSpPr>
            <a:spLocks/>
          </p:cNvSpPr>
          <p:nvPr/>
        </p:nvSpPr>
        <p:spPr bwMode="auto">
          <a:xfrm>
            <a:off x="2247900" y="1341240"/>
            <a:ext cx="4617244" cy="2902744"/>
          </a:xfrm>
          <a:custGeom>
            <a:avLst/>
            <a:gdLst>
              <a:gd name="T0" fmla="*/ 0 w 21604"/>
              <a:gd name="T1" fmla="*/ 0 h 21600"/>
              <a:gd name="T2" fmla="*/ 2147483647 w 21604"/>
              <a:gd name="T3" fmla="*/ 2147483647 h 21600"/>
              <a:gd name="T4" fmla="*/ 2147483647 w 21604"/>
              <a:gd name="T5" fmla="*/ 2147483647 h 21600"/>
              <a:gd name="T6" fmla="*/ 0 60000 65536"/>
              <a:gd name="T7" fmla="*/ 0 60000 65536"/>
              <a:gd name="T8" fmla="*/ 0 60000 65536"/>
              <a:gd name="T9" fmla="*/ 0 w 21604"/>
              <a:gd name="T10" fmla="*/ 0 h 21600"/>
              <a:gd name="T11" fmla="*/ 21604 w 21604"/>
              <a:gd name="T12" fmla="*/ 21600 h 21600"/>
            </a:gdLst>
            <a:ahLst/>
            <a:cxnLst>
              <a:cxn ang="T6">
                <a:pos x="T0" y="T1"/>
              </a:cxn>
              <a:cxn ang="T7">
                <a:pos x="T2" y="T3"/>
              </a:cxn>
              <a:cxn ang="T8">
                <a:pos x="T4" y="T5"/>
              </a:cxn>
            </a:cxnLst>
            <a:rect l="T9" t="T10" r="T11" b="T12"/>
            <a:pathLst>
              <a:path w="21604" h="21600" fill="none" extrusionOk="0">
                <a:moveTo>
                  <a:pt x="0" y="0"/>
                </a:moveTo>
                <a:cubicBezTo>
                  <a:pt x="1" y="0"/>
                  <a:pt x="2" y="-1"/>
                  <a:pt x="4" y="0"/>
                </a:cubicBezTo>
                <a:cubicBezTo>
                  <a:pt x="11930" y="0"/>
                  <a:pt x="21600" y="9666"/>
                  <a:pt x="21603" y="21593"/>
                </a:cubicBezTo>
              </a:path>
              <a:path w="21604" h="21600" stroke="0" extrusionOk="0">
                <a:moveTo>
                  <a:pt x="0" y="0"/>
                </a:moveTo>
                <a:cubicBezTo>
                  <a:pt x="1" y="0"/>
                  <a:pt x="2" y="-1"/>
                  <a:pt x="4" y="0"/>
                </a:cubicBezTo>
                <a:cubicBezTo>
                  <a:pt x="11930" y="0"/>
                  <a:pt x="21600" y="9666"/>
                  <a:pt x="21603" y="21593"/>
                </a:cubicBezTo>
                <a:lnTo>
                  <a:pt x="4" y="21600"/>
                </a:lnTo>
                <a:close/>
              </a:path>
            </a:pathLst>
          </a:custGeom>
          <a:solidFill>
            <a:srgbClr val="8C8C8C"/>
          </a:solidFill>
          <a:ln w="12700" cap="rnd">
            <a:solidFill>
              <a:srgbClr val="313131"/>
            </a:solidFill>
            <a:round/>
            <a:headEnd type="none" w="sm" len="sm"/>
            <a:tailEnd type="none" w="sm" len="sm"/>
          </a:ln>
        </p:spPr>
        <p:txBody>
          <a:bodyPr wrap="none" anchor="ctr"/>
          <a:lstStyle/>
          <a:p>
            <a:pPr algn="ctr" defTabSz="685800">
              <a:buClrTx/>
            </a:pPr>
            <a:endParaRPr lang="en-US" sz="1350" kern="1200">
              <a:solidFill>
                <a:prstClr val="black"/>
              </a:solidFill>
              <a:ea typeface="+mn-ea"/>
              <a:cs typeface="+mn-cs"/>
            </a:endParaRPr>
          </a:p>
        </p:txBody>
      </p:sp>
      <p:sp>
        <p:nvSpPr>
          <p:cNvPr id="5" name="Arc 3"/>
          <p:cNvSpPr>
            <a:spLocks/>
          </p:cNvSpPr>
          <p:nvPr/>
        </p:nvSpPr>
        <p:spPr bwMode="auto">
          <a:xfrm>
            <a:off x="2246710" y="2147293"/>
            <a:ext cx="3484959" cy="2096691"/>
          </a:xfrm>
          <a:custGeom>
            <a:avLst/>
            <a:gdLst>
              <a:gd name="T0" fmla="*/ 0 w 21606"/>
              <a:gd name="T1" fmla="*/ 0 h 21600"/>
              <a:gd name="T2" fmla="*/ 1172857969 w 21606"/>
              <a:gd name="T3" fmla="*/ 361669101 h 21600"/>
              <a:gd name="T4" fmla="*/ 325719 w 21606"/>
              <a:gd name="T5" fmla="*/ 361820011 h 21600"/>
              <a:gd name="T6" fmla="*/ 0 60000 65536"/>
              <a:gd name="T7" fmla="*/ 0 60000 65536"/>
              <a:gd name="T8" fmla="*/ 0 60000 65536"/>
              <a:gd name="T9" fmla="*/ 0 w 21606"/>
              <a:gd name="T10" fmla="*/ 0 h 21600"/>
              <a:gd name="T11" fmla="*/ 21606 w 21606"/>
              <a:gd name="T12" fmla="*/ 21600 h 21600"/>
            </a:gdLst>
            <a:ahLst/>
            <a:cxnLst>
              <a:cxn ang="T6">
                <a:pos x="T0" y="T1"/>
              </a:cxn>
              <a:cxn ang="T7">
                <a:pos x="T2" y="T3"/>
              </a:cxn>
              <a:cxn ang="T8">
                <a:pos x="T4" y="T5"/>
              </a:cxn>
            </a:cxnLst>
            <a:rect l="T9" t="T10" r="T11" b="T12"/>
            <a:pathLst>
              <a:path w="21606" h="21600" fill="none" extrusionOk="0">
                <a:moveTo>
                  <a:pt x="0" y="0"/>
                </a:moveTo>
                <a:cubicBezTo>
                  <a:pt x="2" y="0"/>
                  <a:pt x="4" y="-1"/>
                  <a:pt x="6" y="0"/>
                </a:cubicBezTo>
                <a:cubicBezTo>
                  <a:pt x="11931" y="0"/>
                  <a:pt x="21601" y="9665"/>
                  <a:pt x="21605" y="21591"/>
                </a:cubicBezTo>
              </a:path>
              <a:path w="21606" h="21600" stroke="0" extrusionOk="0">
                <a:moveTo>
                  <a:pt x="0" y="0"/>
                </a:moveTo>
                <a:cubicBezTo>
                  <a:pt x="2" y="0"/>
                  <a:pt x="4" y="-1"/>
                  <a:pt x="6" y="0"/>
                </a:cubicBezTo>
                <a:cubicBezTo>
                  <a:pt x="11931" y="0"/>
                  <a:pt x="21601" y="9665"/>
                  <a:pt x="21605" y="21591"/>
                </a:cubicBezTo>
                <a:lnTo>
                  <a:pt x="6" y="21600"/>
                </a:lnTo>
                <a:close/>
              </a:path>
            </a:pathLst>
          </a:custGeom>
          <a:solidFill>
            <a:srgbClr val="B4B4B4"/>
          </a:solidFill>
          <a:ln w="12700" cap="rnd">
            <a:solidFill>
              <a:schemeClr val="bg1"/>
            </a:solidFill>
            <a:round/>
            <a:headEnd type="none" w="sm" len="sm"/>
            <a:tailEnd type="none" w="sm" len="sm"/>
          </a:ln>
        </p:spPr>
        <p:txBody>
          <a:bodyPr wrap="none" anchor="ctr"/>
          <a:lstStyle/>
          <a:p>
            <a:pPr algn="ctr" defTabSz="685800">
              <a:buClrTx/>
              <a:defRPr/>
            </a:pPr>
            <a:endParaRPr lang="en-US" sz="1350" kern="1200" dirty="0">
              <a:solidFill>
                <a:prstClr val="black"/>
              </a:solidFill>
              <a:ea typeface="+mn-ea"/>
              <a:cs typeface="+mn-cs"/>
            </a:endParaRPr>
          </a:p>
        </p:txBody>
      </p:sp>
      <p:sp>
        <p:nvSpPr>
          <p:cNvPr id="817157" name="Arc 4"/>
          <p:cNvSpPr>
            <a:spLocks/>
          </p:cNvSpPr>
          <p:nvPr/>
        </p:nvSpPr>
        <p:spPr bwMode="auto">
          <a:xfrm>
            <a:off x="2247900" y="2900959"/>
            <a:ext cx="2253854" cy="1343025"/>
          </a:xfrm>
          <a:custGeom>
            <a:avLst/>
            <a:gdLst>
              <a:gd name="T0" fmla="*/ 2147483647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51" y="0"/>
                </a:moveTo>
                <a:cubicBezTo>
                  <a:pt x="11955" y="28"/>
                  <a:pt x="21592" y="9682"/>
                  <a:pt x="21599" y="21586"/>
                </a:cubicBezTo>
              </a:path>
              <a:path w="21600" h="21600" stroke="0" extrusionOk="0">
                <a:moveTo>
                  <a:pt x="51" y="0"/>
                </a:moveTo>
                <a:cubicBezTo>
                  <a:pt x="11955" y="28"/>
                  <a:pt x="21592" y="9682"/>
                  <a:pt x="21599" y="21586"/>
                </a:cubicBezTo>
                <a:lnTo>
                  <a:pt x="0" y="21600"/>
                </a:lnTo>
                <a:close/>
              </a:path>
            </a:pathLst>
          </a:custGeom>
          <a:solidFill>
            <a:srgbClr val="DCDCDC"/>
          </a:solidFill>
          <a:ln w="12700" cap="rnd">
            <a:solidFill>
              <a:schemeClr val="bg1"/>
            </a:solidFill>
            <a:round/>
            <a:headEnd type="none" w="sm" len="sm"/>
            <a:tailEnd type="none" w="sm" len="sm"/>
          </a:ln>
        </p:spPr>
        <p:txBody>
          <a:bodyPr wrap="none" anchor="ctr"/>
          <a:lstStyle/>
          <a:p>
            <a:pPr algn="ctr" defTabSz="685800">
              <a:buClrTx/>
            </a:pPr>
            <a:endParaRPr lang="en-US" sz="1350" kern="1200">
              <a:solidFill>
                <a:prstClr val="black"/>
              </a:solidFill>
              <a:ea typeface="+mn-ea"/>
              <a:cs typeface="+mn-cs"/>
            </a:endParaRPr>
          </a:p>
        </p:txBody>
      </p:sp>
      <p:sp>
        <p:nvSpPr>
          <p:cNvPr id="817158" name="Arc 5"/>
          <p:cNvSpPr>
            <a:spLocks/>
          </p:cNvSpPr>
          <p:nvPr/>
        </p:nvSpPr>
        <p:spPr bwMode="auto">
          <a:xfrm>
            <a:off x="2247901" y="3592116"/>
            <a:ext cx="983456" cy="653654"/>
          </a:xfrm>
          <a:custGeom>
            <a:avLst/>
            <a:gdLst>
              <a:gd name="T0" fmla="*/ 0 w 21620"/>
              <a:gd name="T1" fmla="*/ 0 h 21600"/>
              <a:gd name="T2" fmla="*/ 2147483647 w 21620"/>
              <a:gd name="T3" fmla="*/ 2147483647 h 21600"/>
              <a:gd name="T4" fmla="*/ 2147483647 w 21620"/>
              <a:gd name="T5" fmla="*/ 2147483647 h 21600"/>
              <a:gd name="T6" fmla="*/ 0 60000 65536"/>
              <a:gd name="T7" fmla="*/ 0 60000 65536"/>
              <a:gd name="T8" fmla="*/ 0 60000 65536"/>
              <a:gd name="T9" fmla="*/ 0 w 21620"/>
              <a:gd name="T10" fmla="*/ 0 h 21600"/>
              <a:gd name="T11" fmla="*/ 21620 w 21620"/>
              <a:gd name="T12" fmla="*/ 21600 h 21600"/>
            </a:gdLst>
            <a:ahLst/>
            <a:cxnLst>
              <a:cxn ang="T6">
                <a:pos x="T0" y="T1"/>
              </a:cxn>
              <a:cxn ang="T7">
                <a:pos x="T2" y="T3"/>
              </a:cxn>
              <a:cxn ang="T8">
                <a:pos x="T4" y="T5"/>
              </a:cxn>
            </a:cxnLst>
            <a:rect l="T9" t="T10" r="T11" b="T12"/>
            <a:pathLst>
              <a:path w="21620" h="21600" fill="none" extrusionOk="0">
                <a:moveTo>
                  <a:pt x="0" y="0"/>
                </a:moveTo>
                <a:cubicBezTo>
                  <a:pt x="6" y="0"/>
                  <a:pt x="13" y="-1"/>
                  <a:pt x="20" y="0"/>
                </a:cubicBezTo>
                <a:cubicBezTo>
                  <a:pt x="11937" y="0"/>
                  <a:pt x="21603" y="9652"/>
                  <a:pt x="21619" y="21570"/>
                </a:cubicBezTo>
              </a:path>
              <a:path w="21620" h="21600" stroke="0" extrusionOk="0">
                <a:moveTo>
                  <a:pt x="0" y="0"/>
                </a:moveTo>
                <a:cubicBezTo>
                  <a:pt x="6" y="0"/>
                  <a:pt x="13" y="-1"/>
                  <a:pt x="20" y="0"/>
                </a:cubicBezTo>
                <a:cubicBezTo>
                  <a:pt x="11937" y="0"/>
                  <a:pt x="21603" y="9652"/>
                  <a:pt x="21619" y="21570"/>
                </a:cubicBezTo>
                <a:lnTo>
                  <a:pt x="20" y="21600"/>
                </a:lnTo>
                <a:close/>
              </a:path>
            </a:pathLst>
          </a:custGeom>
          <a:solidFill>
            <a:srgbClr val="81BC00"/>
          </a:solidFill>
          <a:ln w="12700" cap="rnd">
            <a:solidFill>
              <a:schemeClr val="bg1"/>
            </a:solidFill>
            <a:round/>
            <a:headEnd type="none" w="sm" len="sm"/>
            <a:tailEnd type="none" w="sm" len="sm"/>
          </a:ln>
        </p:spPr>
        <p:txBody>
          <a:bodyPr wrap="none" anchor="ctr"/>
          <a:lstStyle/>
          <a:p>
            <a:pPr algn="ctr" defTabSz="685800">
              <a:buClrTx/>
            </a:pPr>
            <a:endParaRPr lang="en-US" sz="1350" kern="1200">
              <a:solidFill>
                <a:prstClr val="black"/>
              </a:solidFill>
              <a:ea typeface="+mn-ea"/>
              <a:cs typeface="+mn-cs"/>
            </a:endParaRPr>
          </a:p>
        </p:txBody>
      </p:sp>
      <p:sp>
        <p:nvSpPr>
          <p:cNvPr id="817159" name="Rectangle 6"/>
          <p:cNvSpPr>
            <a:spLocks noChangeArrowheads="1"/>
          </p:cNvSpPr>
          <p:nvPr/>
        </p:nvSpPr>
        <p:spPr bwMode="auto">
          <a:xfrm>
            <a:off x="1833245" y="1301354"/>
            <a:ext cx="278924" cy="153504"/>
          </a:xfrm>
          <a:prstGeom prst="rect">
            <a:avLst/>
          </a:prstGeom>
          <a:noFill/>
          <a:ln w="9525">
            <a:noFill/>
            <a:miter lim="800000"/>
            <a:headEnd/>
            <a:tailEnd/>
          </a:ln>
        </p:spPr>
        <p:txBody>
          <a:bodyPr wrap="none" lIns="0" tIns="0" rIns="0" bIns="0">
            <a:spAutoFit/>
          </a:bodyPr>
          <a:lstStyle/>
          <a:p>
            <a:pPr algn="r" defTabSz="715566">
              <a:lnSpc>
                <a:spcPct val="95000"/>
              </a:lnSpc>
              <a:buClrTx/>
            </a:pPr>
            <a:r>
              <a:rPr lang="en-US" sz="1050" kern="1200" dirty="0">
                <a:solidFill>
                  <a:srgbClr val="313131"/>
                </a:solidFill>
                <a:ea typeface="ＭＳ Ｐゴシック" charset="-128"/>
                <a:cs typeface="+mn-cs"/>
              </a:rPr>
              <a:t>High</a:t>
            </a:r>
          </a:p>
        </p:txBody>
      </p:sp>
      <p:sp>
        <p:nvSpPr>
          <p:cNvPr id="817160" name="Rectangle 7"/>
          <p:cNvSpPr>
            <a:spLocks noChangeArrowheads="1"/>
          </p:cNvSpPr>
          <p:nvPr/>
        </p:nvSpPr>
        <p:spPr bwMode="auto">
          <a:xfrm>
            <a:off x="1863703" y="4075510"/>
            <a:ext cx="248466" cy="153504"/>
          </a:xfrm>
          <a:prstGeom prst="rect">
            <a:avLst/>
          </a:prstGeom>
          <a:noFill/>
          <a:ln w="9525" algn="ctr">
            <a:noFill/>
            <a:miter lim="800000"/>
            <a:headEnd/>
            <a:tailEnd/>
          </a:ln>
        </p:spPr>
        <p:txBody>
          <a:bodyPr wrap="none" lIns="0" tIns="0" rIns="0" bIns="0">
            <a:spAutoFit/>
          </a:bodyPr>
          <a:lstStyle/>
          <a:p>
            <a:pPr algn="r" defTabSz="715566">
              <a:lnSpc>
                <a:spcPct val="95000"/>
              </a:lnSpc>
              <a:buClrTx/>
            </a:pPr>
            <a:r>
              <a:rPr lang="en-US" sz="1050" kern="1200">
                <a:solidFill>
                  <a:srgbClr val="313131"/>
                </a:solidFill>
                <a:ea typeface="ＭＳ Ｐゴシック" charset="-128"/>
                <a:cs typeface="+mn-cs"/>
              </a:rPr>
              <a:t>Low</a:t>
            </a:r>
          </a:p>
        </p:txBody>
      </p:sp>
      <p:sp>
        <p:nvSpPr>
          <p:cNvPr id="817161" name="Rectangle 8"/>
          <p:cNvSpPr>
            <a:spLocks noChangeArrowheads="1"/>
          </p:cNvSpPr>
          <p:nvPr/>
        </p:nvSpPr>
        <p:spPr bwMode="auto">
          <a:xfrm>
            <a:off x="6590983" y="4311254"/>
            <a:ext cx="278924" cy="153504"/>
          </a:xfrm>
          <a:prstGeom prst="rect">
            <a:avLst/>
          </a:prstGeom>
          <a:noFill/>
          <a:ln w="9525" algn="ctr">
            <a:noFill/>
            <a:miter lim="800000"/>
            <a:headEnd/>
            <a:tailEnd/>
          </a:ln>
        </p:spPr>
        <p:txBody>
          <a:bodyPr wrap="none" lIns="0" tIns="0" rIns="0" bIns="0">
            <a:spAutoFit/>
          </a:bodyPr>
          <a:lstStyle/>
          <a:p>
            <a:pPr algn="r" defTabSz="715566">
              <a:lnSpc>
                <a:spcPct val="95000"/>
              </a:lnSpc>
              <a:buClrTx/>
            </a:pPr>
            <a:r>
              <a:rPr lang="en-US" sz="1050" kern="1200">
                <a:solidFill>
                  <a:srgbClr val="313131"/>
                </a:solidFill>
                <a:ea typeface="ＭＳ Ｐゴシック" charset="-128"/>
                <a:cs typeface="+mn-cs"/>
              </a:rPr>
              <a:t>High</a:t>
            </a:r>
            <a:endParaRPr lang="en-US" sz="1050" kern="1200" dirty="0">
              <a:solidFill>
                <a:srgbClr val="313131"/>
              </a:solidFill>
              <a:ea typeface="ＭＳ Ｐゴシック" charset="-128"/>
              <a:cs typeface="+mn-cs"/>
            </a:endParaRPr>
          </a:p>
        </p:txBody>
      </p:sp>
      <p:sp>
        <p:nvSpPr>
          <p:cNvPr id="817162" name="Rectangle 9"/>
          <p:cNvSpPr>
            <a:spLocks noChangeArrowheads="1"/>
          </p:cNvSpPr>
          <p:nvPr/>
        </p:nvSpPr>
        <p:spPr bwMode="auto">
          <a:xfrm>
            <a:off x="2366147" y="4311254"/>
            <a:ext cx="248466" cy="153504"/>
          </a:xfrm>
          <a:prstGeom prst="rect">
            <a:avLst/>
          </a:prstGeom>
          <a:noFill/>
          <a:ln w="9525" algn="ctr">
            <a:noFill/>
            <a:miter lim="800000"/>
            <a:headEnd/>
            <a:tailEnd/>
          </a:ln>
        </p:spPr>
        <p:txBody>
          <a:bodyPr wrap="none" lIns="0" tIns="0" rIns="0" bIns="0">
            <a:spAutoFit/>
          </a:bodyPr>
          <a:lstStyle/>
          <a:p>
            <a:pPr algn="r" defTabSz="715566">
              <a:lnSpc>
                <a:spcPct val="95000"/>
              </a:lnSpc>
              <a:buClrTx/>
            </a:pPr>
            <a:r>
              <a:rPr lang="en-US" sz="1050" kern="1200" dirty="0">
                <a:solidFill>
                  <a:srgbClr val="313131"/>
                </a:solidFill>
                <a:ea typeface="ＭＳ Ｐゴシック" charset="-128"/>
                <a:cs typeface="+mn-cs"/>
              </a:rPr>
              <a:t>Low</a:t>
            </a:r>
          </a:p>
        </p:txBody>
      </p:sp>
      <p:sp>
        <p:nvSpPr>
          <p:cNvPr id="817164" name="Freeform 13"/>
          <p:cNvSpPr>
            <a:spLocks/>
          </p:cNvSpPr>
          <p:nvPr/>
        </p:nvSpPr>
        <p:spPr bwMode="auto">
          <a:xfrm>
            <a:off x="2247901" y="1339453"/>
            <a:ext cx="4631531" cy="2909888"/>
          </a:xfrm>
          <a:custGeom>
            <a:avLst/>
            <a:gdLst>
              <a:gd name="T0" fmla="*/ 0 w 4992"/>
              <a:gd name="T1" fmla="*/ 0 h 3188"/>
              <a:gd name="T2" fmla="*/ 0 w 4992"/>
              <a:gd name="T3" fmla="*/ 2147483647 h 3188"/>
              <a:gd name="T4" fmla="*/ 2147483647 w 4992"/>
              <a:gd name="T5" fmla="*/ 2147483647 h 3188"/>
              <a:gd name="T6" fmla="*/ 0 60000 65536"/>
              <a:gd name="T7" fmla="*/ 0 60000 65536"/>
              <a:gd name="T8" fmla="*/ 0 60000 65536"/>
              <a:gd name="T9" fmla="*/ 0 w 4992"/>
              <a:gd name="T10" fmla="*/ 0 h 3188"/>
              <a:gd name="T11" fmla="*/ 4992 w 4992"/>
              <a:gd name="T12" fmla="*/ 3188 h 3188"/>
            </a:gdLst>
            <a:ahLst/>
            <a:cxnLst>
              <a:cxn ang="T6">
                <a:pos x="T0" y="T1"/>
              </a:cxn>
              <a:cxn ang="T7">
                <a:pos x="T2" y="T3"/>
              </a:cxn>
              <a:cxn ang="T8">
                <a:pos x="T4" y="T5"/>
              </a:cxn>
            </a:cxnLst>
            <a:rect l="T9" t="T10" r="T11" b="T12"/>
            <a:pathLst>
              <a:path w="4992" h="3188">
                <a:moveTo>
                  <a:pt x="0" y="0"/>
                </a:moveTo>
                <a:lnTo>
                  <a:pt x="0" y="3187"/>
                </a:lnTo>
                <a:lnTo>
                  <a:pt x="4991" y="3187"/>
                </a:lnTo>
              </a:path>
            </a:pathLst>
          </a:custGeom>
          <a:noFill/>
          <a:ln w="19050" cap="rnd">
            <a:solidFill>
              <a:srgbClr val="313131"/>
            </a:solidFill>
            <a:round/>
            <a:headEnd type="none" w="sm" len="sm"/>
            <a:tailEnd type="none" w="sm" len="sm"/>
          </a:ln>
        </p:spPr>
        <p:txBody>
          <a:bodyPr/>
          <a:lstStyle/>
          <a:p>
            <a:pPr defTabSz="685800">
              <a:buClrTx/>
            </a:pPr>
            <a:endParaRPr lang="en-US" sz="1350" kern="1200">
              <a:solidFill>
                <a:prstClr val="black"/>
              </a:solidFill>
              <a:ea typeface="+mn-ea"/>
              <a:cs typeface="+mn-cs"/>
            </a:endParaRPr>
          </a:p>
        </p:txBody>
      </p:sp>
      <p:sp>
        <p:nvSpPr>
          <p:cNvPr id="17" name="Text Placeholder 12"/>
          <p:cNvSpPr>
            <a:spLocks/>
          </p:cNvSpPr>
          <p:nvPr>
            <p:custDataLst>
              <p:tags r:id="rId1"/>
            </p:custDataLst>
          </p:nvPr>
        </p:nvSpPr>
        <p:spPr bwMode="auto">
          <a:xfrm>
            <a:off x="1440657" y="92583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cxnSp>
        <p:nvCxnSpPr>
          <p:cNvPr id="3" name="Straight Arrow Connector 2"/>
          <p:cNvCxnSpPr/>
          <p:nvPr/>
        </p:nvCxnSpPr>
        <p:spPr>
          <a:xfrm flipV="1">
            <a:off x="2677717" y="2416351"/>
            <a:ext cx="2532341" cy="1577006"/>
          </a:xfrm>
          <a:prstGeom prst="straightConnector1">
            <a:avLst/>
          </a:prstGeom>
          <a:ln w="28575">
            <a:solidFill>
              <a:srgbClr val="313131"/>
            </a:solidFill>
            <a:tailEnd type="triangle" w="lg" len="lg"/>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8177" name="Title 1"/>
          <p:cNvSpPr>
            <a:spLocks noGrp="1"/>
          </p:cNvSpPr>
          <p:nvPr>
            <p:ph type="title"/>
          </p:nvPr>
        </p:nvSpPr>
        <p:spPr/>
        <p:txBody>
          <a:bodyPr/>
          <a:lstStyle/>
          <a:p>
            <a:r>
              <a:rPr lang="en-US" altLang="ja-JP"/>
              <a:t>Expansion</a:t>
            </a:r>
            <a:endParaRPr lang="en-US"/>
          </a:p>
        </p:txBody>
      </p:sp>
      <p:sp>
        <p:nvSpPr>
          <p:cNvPr id="21" name="Oval 3"/>
          <p:cNvSpPr>
            <a:spLocks noChangeArrowheads="1"/>
          </p:cNvSpPr>
          <p:nvPr/>
        </p:nvSpPr>
        <p:spPr bwMode="auto">
          <a:xfrm rot="3480929">
            <a:off x="2963466" y="402431"/>
            <a:ext cx="1857375" cy="4719638"/>
          </a:xfrm>
          <a:prstGeom prst="ellipse">
            <a:avLst/>
          </a:prstGeom>
          <a:solidFill>
            <a:srgbClr val="8C8C8C"/>
          </a:solidFill>
          <a:ln w="12700">
            <a:solidFill>
              <a:schemeClr val="bg1"/>
            </a:solidFill>
            <a:round/>
            <a:headEnd/>
            <a:tailEnd/>
          </a:ln>
        </p:spPr>
        <p:txBody>
          <a:bodyPr rot="10800000" vert="eaVert" wrap="none" anchor="ctr"/>
          <a:lstStyle/>
          <a:p>
            <a:pPr algn="ctr" defTabSz="685800">
              <a:buClrTx/>
              <a:defRPr/>
            </a:pPr>
            <a:endParaRPr lang="en-US" sz="1350" kern="1200" dirty="0">
              <a:solidFill>
                <a:prstClr val="black"/>
              </a:solidFill>
              <a:ea typeface="+mn-ea"/>
              <a:cs typeface="+mn-cs"/>
            </a:endParaRPr>
          </a:p>
        </p:txBody>
      </p:sp>
      <p:sp>
        <p:nvSpPr>
          <p:cNvPr id="22" name="Oval 4"/>
          <p:cNvSpPr>
            <a:spLocks noChangeArrowheads="1"/>
          </p:cNvSpPr>
          <p:nvPr/>
        </p:nvSpPr>
        <p:spPr bwMode="auto">
          <a:xfrm rot="3480929">
            <a:off x="2603302" y="1397199"/>
            <a:ext cx="1501379" cy="3455194"/>
          </a:xfrm>
          <a:prstGeom prst="ellipse">
            <a:avLst/>
          </a:prstGeom>
          <a:solidFill>
            <a:srgbClr val="B4B4B4"/>
          </a:solidFill>
          <a:ln w="12700" algn="ctr">
            <a:solidFill>
              <a:schemeClr val="bg1"/>
            </a:solidFill>
            <a:round/>
            <a:headEnd/>
            <a:tailEnd/>
          </a:ln>
        </p:spPr>
        <p:txBody>
          <a:bodyPr rot="10800000" vert="eaVert" tIns="68580" bIns="68580" anchor="ctr"/>
          <a:lstStyle/>
          <a:p>
            <a:pPr algn="ctr" defTabSz="685800">
              <a:buClrTx/>
              <a:defRPr/>
            </a:pPr>
            <a:endParaRPr lang="en-US" sz="1350" kern="1200" dirty="0">
              <a:solidFill>
                <a:prstClr val="black"/>
              </a:solidFill>
              <a:ea typeface="ＭＳ Ｐゴシック" pitchFamily="50" charset="-128"/>
              <a:cs typeface="+mn-cs"/>
            </a:endParaRPr>
          </a:p>
        </p:txBody>
      </p:sp>
      <p:sp>
        <p:nvSpPr>
          <p:cNvPr id="818181" name="Oval 5"/>
          <p:cNvSpPr>
            <a:spLocks noChangeArrowheads="1"/>
          </p:cNvSpPr>
          <p:nvPr/>
        </p:nvSpPr>
        <p:spPr bwMode="auto">
          <a:xfrm rot="3480929">
            <a:off x="2299098" y="2493169"/>
            <a:ext cx="950119" cy="2074069"/>
          </a:xfrm>
          <a:prstGeom prst="ellipse">
            <a:avLst/>
          </a:prstGeom>
          <a:solidFill>
            <a:srgbClr val="DCDCDC"/>
          </a:solidFill>
          <a:ln w="12700" algn="ctr">
            <a:solidFill>
              <a:schemeClr val="bg1"/>
            </a:solidFill>
            <a:round/>
            <a:headEnd/>
            <a:tailEnd/>
          </a:ln>
        </p:spPr>
        <p:txBody>
          <a:bodyPr rot="10800000" vert="eaVert" lIns="27000" tIns="27000" rIns="27000" bIns="27000" anchor="ctr"/>
          <a:lstStyle/>
          <a:p>
            <a:pPr algn="ctr" defTabSz="685800">
              <a:buClrTx/>
            </a:pPr>
            <a:endParaRPr lang="en-US" sz="1050" b="1" kern="1200">
              <a:solidFill>
                <a:prstClr val="black"/>
              </a:solidFill>
              <a:ea typeface="+mn-ea"/>
              <a:cs typeface="+mn-cs"/>
            </a:endParaRPr>
          </a:p>
        </p:txBody>
      </p:sp>
      <p:sp>
        <p:nvSpPr>
          <p:cNvPr id="818182" name="Oval 6"/>
          <p:cNvSpPr>
            <a:spLocks noChangeArrowheads="1"/>
          </p:cNvSpPr>
          <p:nvPr/>
        </p:nvSpPr>
        <p:spPr bwMode="auto">
          <a:xfrm rot="3480929">
            <a:off x="2128838" y="3180160"/>
            <a:ext cx="548878" cy="1201341"/>
          </a:xfrm>
          <a:prstGeom prst="ellipse">
            <a:avLst/>
          </a:prstGeom>
          <a:solidFill>
            <a:schemeClr val="accent1"/>
          </a:solidFill>
          <a:ln w="12700" algn="ctr">
            <a:solidFill>
              <a:schemeClr val="bg1"/>
            </a:solidFill>
            <a:round/>
            <a:headEnd/>
            <a:tailEnd/>
          </a:ln>
        </p:spPr>
        <p:txBody>
          <a:bodyPr rot="10800000" vert="eaVert" lIns="27000" tIns="27000" rIns="27000" bIns="27000" anchor="ctr"/>
          <a:lstStyle/>
          <a:p>
            <a:pPr algn="ctr" defTabSz="685800">
              <a:buClrTx/>
            </a:pPr>
            <a:endParaRPr lang="en-US" sz="1350" kern="1200" dirty="0">
              <a:solidFill>
                <a:prstClr val="white"/>
              </a:solidFill>
              <a:ea typeface="ＭＳ Ｐゴシック" charset="-128"/>
              <a:cs typeface="+mn-cs"/>
            </a:endParaRPr>
          </a:p>
        </p:txBody>
      </p:sp>
      <p:sp>
        <p:nvSpPr>
          <p:cNvPr id="818183" name="Text Box 7"/>
          <p:cNvSpPr txBox="1">
            <a:spLocks noChangeArrowheads="1"/>
          </p:cNvSpPr>
          <p:nvPr/>
        </p:nvSpPr>
        <p:spPr bwMode="gray">
          <a:xfrm>
            <a:off x="2177255" y="3667125"/>
            <a:ext cx="315817" cy="216110"/>
          </a:xfrm>
          <a:prstGeom prst="rect">
            <a:avLst/>
          </a:prstGeom>
          <a:noFill/>
          <a:ln w="9525" algn="ctr">
            <a:noFill/>
            <a:miter lim="800000"/>
            <a:headEnd/>
            <a:tailEnd/>
          </a:ln>
        </p:spPr>
        <p:txBody>
          <a:bodyPr wrap="none" lIns="27000" tIns="27000" rIns="27000" bIns="27000">
            <a:spAutoFit/>
          </a:bodyPr>
          <a:lstStyle/>
          <a:p>
            <a:pPr algn="ctr" defTabSz="685800">
              <a:buClrTx/>
            </a:pPr>
            <a:r>
              <a:rPr lang="en-US" altLang="ja-JP" sz="1050" kern="1200" dirty="0">
                <a:solidFill>
                  <a:srgbClr val="FFFFFF"/>
                </a:solidFill>
                <a:ea typeface="ＭＳ Ｐゴシック" charset="-128"/>
                <a:cs typeface="+mn-cs"/>
              </a:rPr>
              <a:t>Text</a:t>
            </a:r>
          </a:p>
        </p:txBody>
      </p:sp>
      <p:sp>
        <p:nvSpPr>
          <p:cNvPr id="818184" name="Text Box 8"/>
          <p:cNvSpPr txBox="1">
            <a:spLocks noChangeArrowheads="1"/>
          </p:cNvSpPr>
          <p:nvPr/>
        </p:nvSpPr>
        <p:spPr bwMode="auto">
          <a:xfrm>
            <a:off x="3020465" y="3056335"/>
            <a:ext cx="315817" cy="216110"/>
          </a:xfrm>
          <a:prstGeom prst="rect">
            <a:avLst/>
          </a:prstGeom>
          <a:noFill/>
          <a:ln w="9525" algn="ctr">
            <a:noFill/>
            <a:miter lim="800000"/>
            <a:headEnd/>
            <a:tailEnd/>
          </a:ln>
        </p:spPr>
        <p:txBody>
          <a:bodyPr wrap="none" lIns="27000" tIns="27000" rIns="27000" bIns="27000">
            <a:spAutoFit/>
          </a:bodyPr>
          <a:lstStyle/>
          <a:p>
            <a:pPr algn="ctr" defTabSz="685800">
              <a:buClrTx/>
            </a:pPr>
            <a:r>
              <a:rPr lang="en-US" altLang="ja-JP" sz="1050" kern="1200" dirty="0">
                <a:solidFill>
                  <a:srgbClr val="313131"/>
                </a:solidFill>
                <a:ea typeface="ＭＳ Ｐゴシック" charset="-128"/>
                <a:cs typeface="+mn-cs"/>
              </a:rPr>
              <a:t>Text</a:t>
            </a:r>
          </a:p>
        </p:txBody>
      </p:sp>
      <p:sp>
        <p:nvSpPr>
          <p:cNvPr id="818185" name="Text Box 9"/>
          <p:cNvSpPr txBox="1">
            <a:spLocks noChangeArrowheads="1"/>
          </p:cNvSpPr>
          <p:nvPr/>
        </p:nvSpPr>
        <p:spPr bwMode="auto">
          <a:xfrm>
            <a:off x="3784846" y="2393156"/>
            <a:ext cx="315817" cy="216110"/>
          </a:xfrm>
          <a:prstGeom prst="rect">
            <a:avLst/>
          </a:prstGeom>
          <a:noFill/>
          <a:ln w="9525" algn="ctr">
            <a:noFill/>
            <a:miter lim="800000"/>
            <a:headEnd/>
            <a:tailEnd/>
          </a:ln>
        </p:spPr>
        <p:txBody>
          <a:bodyPr wrap="none" lIns="27000" tIns="27000" rIns="27000" bIns="27000">
            <a:spAutoFit/>
          </a:bodyPr>
          <a:lstStyle/>
          <a:p>
            <a:pPr algn="ctr" defTabSz="685800">
              <a:buClrTx/>
            </a:pPr>
            <a:r>
              <a:rPr lang="en-US" altLang="ja-JP" sz="1050" kern="1200" dirty="0">
                <a:solidFill>
                  <a:srgbClr val="313131"/>
                </a:solidFill>
                <a:ea typeface="ＭＳ Ｐゴシック" charset="-128"/>
                <a:cs typeface="+mn-cs"/>
              </a:rPr>
              <a:t>Text</a:t>
            </a:r>
          </a:p>
        </p:txBody>
      </p:sp>
      <p:sp>
        <p:nvSpPr>
          <p:cNvPr id="818186" name="Text Box 10"/>
          <p:cNvSpPr txBox="1">
            <a:spLocks noChangeArrowheads="1"/>
          </p:cNvSpPr>
          <p:nvPr/>
        </p:nvSpPr>
        <p:spPr bwMode="auto">
          <a:xfrm>
            <a:off x="5046909" y="1627585"/>
            <a:ext cx="315817" cy="216110"/>
          </a:xfrm>
          <a:prstGeom prst="rect">
            <a:avLst/>
          </a:prstGeom>
          <a:noFill/>
          <a:ln w="9525" algn="ctr">
            <a:noFill/>
            <a:miter lim="800000"/>
            <a:headEnd/>
            <a:tailEnd/>
          </a:ln>
        </p:spPr>
        <p:txBody>
          <a:bodyPr wrap="none" lIns="27000" tIns="27000" rIns="27000" bIns="27000">
            <a:spAutoFit/>
          </a:bodyPr>
          <a:lstStyle/>
          <a:p>
            <a:pPr algn="ctr" defTabSz="685800">
              <a:buClrTx/>
            </a:pPr>
            <a:r>
              <a:rPr lang="en-US" altLang="ja-JP" sz="1050" kern="1200" dirty="0">
                <a:solidFill>
                  <a:prstClr val="white"/>
                </a:solidFill>
                <a:ea typeface="ＭＳ Ｐゴシック" charset="-128"/>
                <a:cs typeface="+mn-cs"/>
              </a:rPr>
              <a:t>Text</a:t>
            </a:r>
          </a:p>
        </p:txBody>
      </p:sp>
      <p:sp>
        <p:nvSpPr>
          <p:cNvPr id="29" name="Line 11"/>
          <p:cNvSpPr>
            <a:spLocks noChangeShapeType="1"/>
          </p:cNvSpPr>
          <p:nvPr/>
        </p:nvSpPr>
        <p:spPr bwMode="auto">
          <a:xfrm flipH="1" flipV="1">
            <a:off x="2506266" y="3867150"/>
            <a:ext cx="941784" cy="408385"/>
          </a:xfrm>
          <a:prstGeom prst="line">
            <a:avLst/>
          </a:prstGeom>
          <a:noFill/>
          <a:ln w="19050">
            <a:solidFill>
              <a:srgbClr val="313131"/>
            </a:solidFill>
            <a:round/>
            <a:headEnd/>
            <a:tailEnd type="triangle" w="med" len="med"/>
          </a:ln>
        </p:spPr>
        <p:txBody>
          <a:bodyPr lIns="27000" tIns="27000" rIns="27000" bIns="27000" anchor="ctr"/>
          <a:lstStyle/>
          <a:p>
            <a:pPr defTabSz="685800">
              <a:buClrTx/>
              <a:defRPr/>
            </a:pPr>
            <a:endParaRPr lang="en-US" sz="1350" kern="1200" dirty="0">
              <a:solidFill>
                <a:prstClr val="black"/>
              </a:solidFill>
              <a:ea typeface="+mn-ea"/>
              <a:cs typeface="+mn-cs"/>
            </a:endParaRPr>
          </a:p>
        </p:txBody>
      </p:sp>
      <p:sp>
        <p:nvSpPr>
          <p:cNvPr id="30" name="Line 12"/>
          <p:cNvSpPr>
            <a:spLocks noChangeShapeType="1"/>
          </p:cNvSpPr>
          <p:nvPr/>
        </p:nvSpPr>
        <p:spPr bwMode="auto">
          <a:xfrm flipH="1" flipV="1">
            <a:off x="3355181" y="3255169"/>
            <a:ext cx="1128713" cy="408385"/>
          </a:xfrm>
          <a:prstGeom prst="line">
            <a:avLst/>
          </a:prstGeom>
          <a:noFill/>
          <a:ln w="19050">
            <a:solidFill>
              <a:srgbClr val="313131"/>
            </a:solidFill>
            <a:round/>
            <a:headEnd type="none" w="sm" len="sm"/>
            <a:tailEnd type="triangle" w="med" len="lg"/>
          </a:ln>
        </p:spPr>
        <p:txBody>
          <a:bodyPr lIns="27000" tIns="27000" rIns="27000" bIns="27000" anchor="ctr"/>
          <a:lstStyle/>
          <a:p>
            <a:pPr defTabSz="685800">
              <a:buClrTx/>
              <a:defRPr/>
            </a:pPr>
            <a:endParaRPr lang="en-US" sz="1350" kern="1200" dirty="0">
              <a:solidFill>
                <a:prstClr val="black"/>
              </a:solidFill>
              <a:ea typeface="+mn-ea"/>
              <a:cs typeface="+mn-cs"/>
            </a:endParaRPr>
          </a:p>
        </p:txBody>
      </p:sp>
      <p:sp>
        <p:nvSpPr>
          <p:cNvPr id="31" name="Line 13"/>
          <p:cNvSpPr>
            <a:spLocks noChangeShapeType="1"/>
          </p:cNvSpPr>
          <p:nvPr/>
        </p:nvSpPr>
        <p:spPr bwMode="auto">
          <a:xfrm flipH="1" flipV="1">
            <a:off x="4332685" y="2559844"/>
            <a:ext cx="1035844" cy="408385"/>
          </a:xfrm>
          <a:prstGeom prst="line">
            <a:avLst/>
          </a:prstGeom>
          <a:noFill/>
          <a:ln w="19050">
            <a:solidFill>
              <a:srgbClr val="313131"/>
            </a:solidFill>
            <a:round/>
            <a:headEnd type="none" w="sm" len="sm"/>
            <a:tailEnd type="triangle" w="med" len="lg"/>
          </a:ln>
        </p:spPr>
        <p:txBody>
          <a:bodyPr lIns="27000" tIns="27000" rIns="27000" bIns="27000" anchor="ctr"/>
          <a:lstStyle/>
          <a:p>
            <a:pPr defTabSz="685800">
              <a:buClrTx/>
              <a:defRPr/>
            </a:pPr>
            <a:endParaRPr lang="en-US" sz="1350" kern="1200" dirty="0">
              <a:solidFill>
                <a:prstClr val="black"/>
              </a:solidFill>
              <a:ea typeface="+mn-ea"/>
              <a:cs typeface="+mn-cs"/>
            </a:endParaRPr>
          </a:p>
        </p:txBody>
      </p:sp>
      <p:sp>
        <p:nvSpPr>
          <p:cNvPr id="32" name="Line 14"/>
          <p:cNvSpPr>
            <a:spLocks noChangeShapeType="1"/>
          </p:cNvSpPr>
          <p:nvPr/>
        </p:nvSpPr>
        <p:spPr bwMode="auto">
          <a:xfrm flipH="1" flipV="1">
            <a:off x="5453338" y="1746647"/>
            <a:ext cx="577979" cy="231009"/>
          </a:xfrm>
          <a:prstGeom prst="line">
            <a:avLst/>
          </a:prstGeom>
          <a:noFill/>
          <a:ln w="19050">
            <a:solidFill>
              <a:srgbClr val="313131"/>
            </a:solidFill>
            <a:round/>
            <a:headEnd type="none" w="sm" len="sm"/>
            <a:tailEnd type="triangle" w="med" len="lg"/>
          </a:ln>
        </p:spPr>
        <p:txBody>
          <a:bodyPr lIns="27000" tIns="27000" rIns="27000" bIns="27000" anchor="ctr"/>
          <a:lstStyle/>
          <a:p>
            <a:pPr defTabSz="685800">
              <a:buClrTx/>
              <a:defRPr/>
            </a:pPr>
            <a:endParaRPr lang="en-US" sz="1350" kern="1200" dirty="0">
              <a:solidFill>
                <a:prstClr val="black"/>
              </a:solidFill>
              <a:ea typeface="+mn-ea"/>
              <a:cs typeface="+mn-cs"/>
            </a:endParaRPr>
          </a:p>
        </p:txBody>
      </p:sp>
      <p:sp>
        <p:nvSpPr>
          <p:cNvPr id="23"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
        <p:nvSpPr>
          <p:cNvPr id="39" name="Text Placeholder 15"/>
          <p:cNvSpPr txBox="1">
            <a:spLocks/>
          </p:cNvSpPr>
          <p:nvPr>
            <p:custDataLst>
              <p:tags r:id="rId2"/>
            </p:custDataLst>
          </p:nvPr>
        </p:nvSpPr>
        <p:spPr bwMode="auto">
          <a:xfrm>
            <a:off x="6040123" y="1803820"/>
            <a:ext cx="1680143" cy="563166"/>
          </a:xfrm>
          <a:prstGeom prst="rect">
            <a:avLst/>
          </a:prstGeom>
          <a:noFill/>
          <a:ln>
            <a:miter lim="800000"/>
            <a:headEnd/>
            <a:tailEnd/>
          </a:ln>
        </p:spPr>
        <p:txBody>
          <a:bodyPr lIns="27000" tIns="27000" rIns="27000" bIns="27000"/>
          <a:lstStyle/>
          <a:p>
            <a:pPr marL="205740" lvl="1" indent="-205740" defTabSz="717947">
              <a:spcBef>
                <a:spcPts val="450"/>
              </a:spcBef>
              <a:buClrTx/>
              <a:buFont typeface="Arial" charset="0"/>
              <a:buChar char="•"/>
              <a:defRPr/>
            </a:pPr>
            <a:r>
              <a:rPr lang="en-US" sz="825" kern="1200" dirty="0">
                <a:solidFill>
                  <a:srgbClr val="313131"/>
                </a:solidFill>
                <a:ea typeface="+mn-ea"/>
                <a:cs typeface="+mn-cs"/>
              </a:rPr>
              <a:t>Level one bullet</a:t>
            </a:r>
          </a:p>
          <a:p>
            <a:pPr marL="404622" lvl="2" indent="-205740" defTabSz="717947">
              <a:spcBef>
                <a:spcPts val="450"/>
              </a:spcBef>
              <a:buClrTx/>
              <a:buFont typeface="Arial" charset="0"/>
              <a:buChar char="‒"/>
              <a:defRPr/>
            </a:pPr>
            <a:r>
              <a:rPr lang="en-US" sz="825" kern="1200" dirty="0">
                <a:solidFill>
                  <a:srgbClr val="313131"/>
                </a:solidFill>
                <a:ea typeface="+mn-ea"/>
                <a:cs typeface="+mn-cs"/>
              </a:rPr>
              <a:t>Level two bullet </a:t>
            </a:r>
          </a:p>
          <a:p>
            <a:pPr marL="603504" lvl="3" indent="-205740" defTabSz="717947">
              <a:spcBef>
                <a:spcPts val="450"/>
              </a:spcBef>
              <a:buClrTx/>
              <a:buFont typeface="Arial" charset="0"/>
              <a:buChar char="•"/>
              <a:defRPr/>
            </a:pPr>
            <a:r>
              <a:rPr lang="en-US" sz="825" kern="1200" dirty="0">
                <a:solidFill>
                  <a:srgbClr val="313131"/>
                </a:solidFill>
                <a:ea typeface="+mn-ea"/>
                <a:cs typeface="+mn-cs"/>
              </a:rPr>
              <a:t>Level three bullet </a:t>
            </a:r>
          </a:p>
        </p:txBody>
      </p:sp>
      <p:sp>
        <p:nvSpPr>
          <p:cNvPr id="24" name="Text Placeholder 15"/>
          <p:cNvSpPr txBox="1">
            <a:spLocks/>
          </p:cNvSpPr>
          <p:nvPr>
            <p:custDataLst>
              <p:tags r:id="rId3"/>
            </p:custDataLst>
          </p:nvPr>
        </p:nvSpPr>
        <p:spPr bwMode="auto">
          <a:xfrm>
            <a:off x="5365203" y="2774752"/>
            <a:ext cx="1680143" cy="563166"/>
          </a:xfrm>
          <a:prstGeom prst="rect">
            <a:avLst/>
          </a:prstGeom>
          <a:noFill/>
          <a:ln>
            <a:miter lim="800000"/>
            <a:headEnd/>
            <a:tailEnd/>
          </a:ln>
        </p:spPr>
        <p:txBody>
          <a:bodyPr lIns="27000" tIns="27000" rIns="27000" bIns="27000"/>
          <a:lstStyle/>
          <a:p>
            <a:pPr marL="205740" lvl="1" indent="-205740" defTabSz="717947">
              <a:spcBef>
                <a:spcPts val="450"/>
              </a:spcBef>
              <a:buClrTx/>
              <a:buFont typeface="Arial" charset="0"/>
              <a:buChar char="•"/>
              <a:defRPr/>
            </a:pPr>
            <a:r>
              <a:rPr lang="en-US" sz="825" kern="1200" dirty="0">
                <a:solidFill>
                  <a:srgbClr val="313131"/>
                </a:solidFill>
                <a:ea typeface="+mn-ea"/>
                <a:cs typeface="+mn-cs"/>
              </a:rPr>
              <a:t>Level one bullet</a:t>
            </a:r>
          </a:p>
          <a:p>
            <a:pPr marL="404622" lvl="2" indent="-205740" defTabSz="717947">
              <a:spcBef>
                <a:spcPts val="450"/>
              </a:spcBef>
              <a:buClrTx/>
              <a:buFont typeface="Arial" charset="0"/>
              <a:buChar char="‒"/>
              <a:defRPr/>
            </a:pPr>
            <a:r>
              <a:rPr lang="en-US" sz="825" kern="1200" dirty="0">
                <a:solidFill>
                  <a:srgbClr val="313131"/>
                </a:solidFill>
                <a:ea typeface="+mn-ea"/>
                <a:cs typeface="+mn-cs"/>
              </a:rPr>
              <a:t>Level two bullet </a:t>
            </a:r>
          </a:p>
          <a:p>
            <a:pPr marL="603504" lvl="3" indent="-205740" defTabSz="717947">
              <a:spcBef>
                <a:spcPts val="450"/>
              </a:spcBef>
              <a:buClrTx/>
              <a:buFont typeface="Arial" charset="0"/>
              <a:buChar char="•"/>
              <a:defRPr/>
            </a:pPr>
            <a:r>
              <a:rPr lang="en-US" sz="825" kern="1200" dirty="0">
                <a:solidFill>
                  <a:srgbClr val="313131"/>
                </a:solidFill>
                <a:ea typeface="+mn-ea"/>
                <a:cs typeface="+mn-cs"/>
              </a:rPr>
              <a:t>Level three bullet </a:t>
            </a:r>
          </a:p>
        </p:txBody>
      </p:sp>
      <p:sp>
        <p:nvSpPr>
          <p:cNvPr id="25" name="Text Placeholder 15"/>
          <p:cNvSpPr txBox="1">
            <a:spLocks/>
          </p:cNvSpPr>
          <p:nvPr>
            <p:custDataLst>
              <p:tags r:id="rId4"/>
            </p:custDataLst>
          </p:nvPr>
        </p:nvSpPr>
        <p:spPr bwMode="auto">
          <a:xfrm>
            <a:off x="4492057" y="3486150"/>
            <a:ext cx="1680143" cy="563166"/>
          </a:xfrm>
          <a:prstGeom prst="rect">
            <a:avLst/>
          </a:prstGeom>
          <a:noFill/>
          <a:ln>
            <a:miter lim="800000"/>
            <a:headEnd/>
            <a:tailEnd/>
          </a:ln>
        </p:spPr>
        <p:txBody>
          <a:bodyPr lIns="27000" tIns="27000" rIns="27000" bIns="27000"/>
          <a:lstStyle/>
          <a:p>
            <a:pPr marL="205740" lvl="1" indent="-205740" defTabSz="717947">
              <a:spcBef>
                <a:spcPts val="450"/>
              </a:spcBef>
              <a:buClrTx/>
              <a:buFont typeface="Arial" charset="0"/>
              <a:buChar char="•"/>
              <a:defRPr/>
            </a:pPr>
            <a:r>
              <a:rPr lang="en-US" sz="825" kern="1200" dirty="0">
                <a:solidFill>
                  <a:srgbClr val="313131"/>
                </a:solidFill>
                <a:ea typeface="+mn-ea"/>
                <a:cs typeface="+mn-cs"/>
              </a:rPr>
              <a:t>Level one bullet</a:t>
            </a:r>
          </a:p>
          <a:p>
            <a:pPr marL="404622" lvl="2" indent="-205740" defTabSz="717947">
              <a:spcBef>
                <a:spcPts val="450"/>
              </a:spcBef>
              <a:buClrTx/>
              <a:buFont typeface="Arial" charset="0"/>
              <a:buChar char="‒"/>
              <a:defRPr/>
            </a:pPr>
            <a:r>
              <a:rPr lang="en-US" sz="825" kern="1200" dirty="0">
                <a:solidFill>
                  <a:srgbClr val="313131"/>
                </a:solidFill>
                <a:ea typeface="+mn-ea"/>
                <a:cs typeface="+mn-cs"/>
              </a:rPr>
              <a:t>Level two bullet </a:t>
            </a:r>
          </a:p>
          <a:p>
            <a:pPr marL="603504" lvl="3" indent="-205740" defTabSz="717947">
              <a:spcBef>
                <a:spcPts val="450"/>
              </a:spcBef>
              <a:buClrTx/>
              <a:buFont typeface="Arial" charset="0"/>
              <a:buChar char="•"/>
              <a:defRPr/>
            </a:pPr>
            <a:r>
              <a:rPr lang="en-US" sz="825" kern="1200" dirty="0">
                <a:solidFill>
                  <a:srgbClr val="313131"/>
                </a:solidFill>
                <a:ea typeface="+mn-ea"/>
                <a:cs typeface="+mn-cs"/>
              </a:rPr>
              <a:t>Level three bullet </a:t>
            </a:r>
          </a:p>
        </p:txBody>
      </p:sp>
      <p:sp>
        <p:nvSpPr>
          <p:cNvPr id="26" name="Text Placeholder 15"/>
          <p:cNvSpPr txBox="1">
            <a:spLocks/>
          </p:cNvSpPr>
          <p:nvPr>
            <p:custDataLst>
              <p:tags r:id="rId5"/>
            </p:custDataLst>
          </p:nvPr>
        </p:nvSpPr>
        <p:spPr bwMode="auto">
          <a:xfrm>
            <a:off x="3448049" y="4057650"/>
            <a:ext cx="1680143" cy="563166"/>
          </a:xfrm>
          <a:prstGeom prst="rect">
            <a:avLst/>
          </a:prstGeom>
          <a:noFill/>
          <a:ln>
            <a:miter lim="800000"/>
            <a:headEnd/>
            <a:tailEnd/>
          </a:ln>
        </p:spPr>
        <p:txBody>
          <a:bodyPr lIns="27000" tIns="27000" rIns="27000" bIns="27000"/>
          <a:lstStyle/>
          <a:p>
            <a:pPr marL="205740" lvl="1" indent="-205740" defTabSz="717947">
              <a:spcBef>
                <a:spcPts val="450"/>
              </a:spcBef>
              <a:buClrTx/>
              <a:buFont typeface="Arial" charset="0"/>
              <a:buChar char="•"/>
              <a:defRPr/>
            </a:pPr>
            <a:r>
              <a:rPr lang="en-US" sz="825" kern="1200" dirty="0">
                <a:solidFill>
                  <a:srgbClr val="313131"/>
                </a:solidFill>
                <a:ea typeface="+mn-ea"/>
                <a:cs typeface="+mn-cs"/>
              </a:rPr>
              <a:t>Level one bullet</a:t>
            </a:r>
          </a:p>
          <a:p>
            <a:pPr marL="404622" lvl="2" indent="-205740" defTabSz="717947">
              <a:spcBef>
                <a:spcPts val="450"/>
              </a:spcBef>
              <a:buClrTx/>
              <a:buFont typeface="Arial" charset="0"/>
              <a:buChar char="‒"/>
              <a:defRPr/>
            </a:pPr>
            <a:r>
              <a:rPr lang="en-US" sz="825" kern="1200" dirty="0">
                <a:solidFill>
                  <a:srgbClr val="313131"/>
                </a:solidFill>
                <a:ea typeface="+mn-ea"/>
                <a:cs typeface="+mn-cs"/>
              </a:rPr>
              <a:t>Level two bullet </a:t>
            </a:r>
          </a:p>
          <a:p>
            <a:pPr marL="603504" lvl="3" indent="-205740" defTabSz="717947">
              <a:spcBef>
                <a:spcPts val="450"/>
              </a:spcBef>
              <a:buClrTx/>
              <a:buFont typeface="Arial" charset="0"/>
              <a:buChar char="•"/>
              <a:defRPr/>
            </a:pPr>
            <a:r>
              <a:rPr lang="en-US" sz="825" kern="1200" dirty="0">
                <a:solidFill>
                  <a:srgbClr val="313131"/>
                </a:solidFill>
                <a:ea typeface="+mn-ea"/>
                <a:cs typeface="+mn-cs"/>
              </a:rPr>
              <a:t>Level three bullet </a:t>
            </a:r>
          </a:p>
        </p:txBody>
      </p:sp>
    </p:spTree>
  </p:cSld>
  <p:clrMapOvr>
    <a:masterClrMapping/>
  </p:clrMapOvr>
  <p:transition>
    <p:fade/>
  </p:transition>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01" name="Title 1"/>
          <p:cNvSpPr>
            <a:spLocks noGrp="1"/>
          </p:cNvSpPr>
          <p:nvPr>
            <p:ph type="title"/>
          </p:nvPr>
        </p:nvSpPr>
        <p:spPr/>
        <p:txBody>
          <a:bodyPr/>
          <a:lstStyle/>
          <a:p>
            <a:r>
              <a:rPr lang="en-US" dirty="0"/>
              <a:t>Step-by-step actions</a:t>
            </a:r>
          </a:p>
        </p:txBody>
      </p:sp>
      <p:sp>
        <p:nvSpPr>
          <p:cNvPr id="4" name="AutoShape 3"/>
          <p:cNvSpPr>
            <a:spLocks noChangeArrowheads="1"/>
          </p:cNvSpPr>
          <p:nvPr/>
        </p:nvSpPr>
        <p:spPr bwMode="auto">
          <a:xfrm rot="-5400000">
            <a:off x="6110288" y="2469357"/>
            <a:ext cx="1550194" cy="783431"/>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rgbClr val="575757"/>
          </a:solidFill>
          <a:ln w="12700">
            <a:solidFill>
              <a:schemeClr val="bg1"/>
            </a:solidFill>
            <a:miter lim="800000"/>
            <a:headEnd/>
            <a:tailEnd/>
          </a:ln>
        </p:spPr>
        <p:txBody>
          <a:bodyPr vert="vert" lIns="27000" tIns="27000" rIns="27000" bIns="27000" anchor="ctr"/>
          <a:lstStyle/>
          <a:p>
            <a:pPr algn="ctr" defTabSz="685800">
              <a:buClrTx/>
              <a:defRPr/>
            </a:pPr>
            <a:r>
              <a:rPr lang="en-US" altLang="ja-JP" sz="1050" kern="1200" dirty="0">
                <a:solidFill>
                  <a:prstClr val="white"/>
                </a:solidFill>
                <a:ea typeface="ＭＳ Ｐゴシック" pitchFamily="50" charset="-128"/>
                <a:cs typeface="+mn-cs"/>
              </a:rPr>
              <a:t>Step 5</a:t>
            </a:r>
          </a:p>
        </p:txBody>
      </p:sp>
      <p:sp>
        <p:nvSpPr>
          <p:cNvPr id="5" name="AutoShape 4"/>
          <p:cNvSpPr>
            <a:spLocks noChangeArrowheads="1"/>
          </p:cNvSpPr>
          <p:nvPr/>
        </p:nvSpPr>
        <p:spPr bwMode="auto">
          <a:xfrm rot="-5400000">
            <a:off x="5136357" y="2371725"/>
            <a:ext cx="1766888" cy="978694"/>
          </a:xfrm>
          <a:custGeom>
            <a:avLst/>
            <a:gdLst>
              <a:gd name="T0" fmla="*/ 252318315 w 21600"/>
              <a:gd name="T1" fmla="*/ 46312661 h 21600"/>
              <a:gd name="T2" fmla="*/ 128472907 w 21600"/>
              <a:gd name="T3" fmla="*/ 92625257 h 21600"/>
              <a:gd name="T4" fmla="*/ 4627391 w 21600"/>
              <a:gd name="T5" fmla="*/ 46312661 h 21600"/>
              <a:gd name="T6" fmla="*/ 12847290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rgbClr val="8C8C8C"/>
          </a:solidFill>
          <a:ln w="12700">
            <a:solidFill>
              <a:schemeClr val="bg1"/>
            </a:solidFill>
            <a:miter lim="800000"/>
            <a:headEnd/>
            <a:tailEnd/>
          </a:ln>
        </p:spPr>
        <p:txBody>
          <a:bodyPr vert="vert" lIns="27000" tIns="27000" rIns="27000" bIns="27000" anchor="ctr"/>
          <a:lstStyle/>
          <a:p>
            <a:pPr algn="ctr" defTabSz="685800">
              <a:buClrTx/>
              <a:defRPr/>
            </a:pPr>
            <a:r>
              <a:rPr lang="en-US" altLang="ja-JP" sz="1050" kern="1200">
                <a:solidFill>
                  <a:prstClr val="white"/>
                </a:solidFill>
                <a:ea typeface="ＭＳ Ｐゴシック" pitchFamily="50" charset="-128"/>
                <a:cs typeface="+mn-cs"/>
              </a:rPr>
              <a:t>Step 4</a:t>
            </a:r>
            <a:endParaRPr lang="en-US" altLang="ja-JP" sz="1050" kern="1200" dirty="0">
              <a:solidFill>
                <a:prstClr val="white"/>
              </a:solidFill>
              <a:ea typeface="ＭＳ Ｐゴシック" pitchFamily="50" charset="-128"/>
              <a:cs typeface="+mn-cs"/>
            </a:endParaRPr>
          </a:p>
        </p:txBody>
      </p:sp>
      <p:sp>
        <p:nvSpPr>
          <p:cNvPr id="6" name="AutoShape 5"/>
          <p:cNvSpPr>
            <a:spLocks noChangeArrowheads="1"/>
          </p:cNvSpPr>
          <p:nvPr/>
        </p:nvSpPr>
        <p:spPr bwMode="auto">
          <a:xfrm rot="-5400000">
            <a:off x="3913585" y="2272903"/>
            <a:ext cx="2090738" cy="1176338"/>
          </a:xfrm>
          <a:custGeom>
            <a:avLst/>
            <a:gdLst>
              <a:gd name="T0" fmla="*/ 353288952 w 21600"/>
              <a:gd name="T1" fmla="*/ 66790009 h 21600"/>
              <a:gd name="T2" fmla="*/ 179884086 w 21600"/>
              <a:gd name="T3" fmla="*/ 133579940 h 21600"/>
              <a:gd name="T4" fmla="*/ 6479221 w 21600"/>
              <a:gd name="T5" fmla="*/ 66790009 h 21600"/>
              <a:gd name="T6" fmla="*/ 179884086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rgbClr val="B4B4B4"/>
          </a:solidFill>
          <a:ln w="12700">
            <a:solidFill>
              <a:schemeClr val="bg1"/>
            </a:solidFill>
            <a:miter lim="800000"/>
            <a:headEnd/>
            <a:tailEnd/>
          </a:ln>
        </p:spPr>
        <p:txBody>
          <a:bodyPr vert="vert" lIns="27000" tIns="27000" rIns="27000" bIns="27000" anchor="ctr"/>
          <a:lstStyle/>
          <a:p>
            <a:pPr algn="ctr" defTabSz="685800">
              <a:buClrTx/>
              <a:defRPr/>
            </a:pPr>
            <a:r>
              <a:rPr lang="en-US" altLang="ja-JP" sz="1050" kern="1200" dirty="0">
                <a:solidFill>
                  <a:srgbClr val="313131"/>
                </a:solidFill>
                <a:ea typeface="ＭＳ Ｐゴシック" pitchFamily="50" charset="-128"/>
                <a:cs typeface="+mn-cs"/>
              </a:rPr>
              <a:t>Step 3</a:t>
            </a:r>
          </a:p>
        </p:txBody>
      </p:sp>
      <p:sp>
        <p:nvSpPr>
          <p:cNvPr id="819206" name="AutoShape 6"/>
          <p:cNvSpPr>
            <a:spLocks noChangeArrowheads="1"/>
          </p:cNvSpPr>
          <p:nvPr/>
        </p:nvSpPr>
        <p:spPr bwMode="auto">
          <a:xfrm rot="-5400000">
            <a:off x="2533056" y="2241352"/>
            <a:ext cx="2468165" cy="1240631"/>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rgbClr val="DCDCDC"/>
          </a:solidFill>
          <a:ln w="12700">
            <a:solidFill>
              <a:schemeClr val="bg1"/>
            </a:solidFill>
            <a:miter lim="800000"/>
            <a:headEnd/>
            <a:tailEnd/>
          </a:ln>
        </p:spPr>
        <p:txBody>
          <a:bodyPr vert="vert" lIns="27000" tIns="27000" rIns="27000" bIns="27000" anchor="ctr"/>
          <a:lstStyle/>
          <a:p>
            <a:pPr algn="ctr" defTabSz="685800">
              <a:buClrTx/>
            </a:pPr>
            <a:r>
              <a:rPr lang="en-US" altLang="ja-JP" sz="1050" kern="1200" dirty="0">
                <a:solidFill>
                  <a:srgbClr val="313131"/>
                </a:solidFill>
                <a:ea typeface="ＭＳ Ｐゴシック" charset="-128"/>
                <a:cs typeface="+mn-cs"/>
              </a:rPr>
              <a:t>Step 2</a:t>
            </a:r>
          </a:p>
        </p:txBody>
      </p:sp>
      <p:sp>
        <p:nvSpPr>
          <p:cNvPr id="819207" name="AutoShape 7"/>
          <p:cNvSpPr>
            <a:spLocks noChangeArrowheads="1"/>
          </p:cNvSpPr>
          <p:nvPr/>
        </p:nvSpPr>
        <p:spPr bwMode="auto">
          <a:xfrm rot="-5400000">
            <a:off x="1053703" y="2189560"/>
            <a:ext cx="2878931" cy="1343025"/>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rgbClr val="00A1DE"/>
          </a:solidFill>
          <a:ln w="12700">
            <a:solidFill>
              <a:schemeClr val="bg1"/>
            </a:solidFill>
            <a:miter lim="800000"/>
            <a:headEnd/>
            <a:tailEnd/>
          </a:ln>
        </p:spPr>
        <p:txBody>
          <a:bodyPr vert="vert" lIns="27000" tIns="27000" rIns="27000" bIns="27000" anchor="ctr"/>
          <a:lstStyle/>
          <a:p>
            <a:pPr algn="ctr" defTabSz="685800">
              <a:buClrTx/>
            </a:pPr>
            <a:r>
              <a:rPr lang="en-US" altLang="ja-JP" sz="1050" kern="1200">
                <a:solidFill>
                  <a:prstClr val="white"/>
                </a:solidFill>
                <a:ea typeface="ＭＳ Ｐゴシック" charset="-128"/>
                <a:cs typeface="+mn-cs"/>
              </a:rPr>
              <a:t>Step 1</a:t>
            </a:r>
            <a:endParaRPr lang="en-US" altLang="ja-JP" sz="1050" kern="1200" dirty="0">
              <a:solidFill>
                <a:prstClr val="white"/>
              </a:solidFill>
              <a:ea typeface="ＭＳ Ｐゴシック" charset="-128"/>
              <a:cs typeface="+mn-cs"/>
            </a:endParaRPr>
          </a:p>
        </p:txBody>
      </p:sp>
      <p:sp>
        <p:nvSpPr>
          <p:cNvPr id="10"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Tree>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143000" y="0"/>
          <a:ext cx="119063" cy="119063"/>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2" name="Object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43000" y="0"/>
                        <a:ext cx="119063"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76513" name="Title 1"/>
          <p:cNvSpPr>
            <a:spLocks noGrp="1"/>
          </p:cNvSpPr>
          <p:nvPr>
            <p:ph type="title"/>
            <p:custDataLst>
              <p:tags r:id="rId2"/>
            </p:custDataLst>
          </p:nvPr>
        </p:nvSpPr>
        <p:spPr>
          <a:xfrm>
            <a:off x="301533" y="130322"/>
            <a:ext cx="8388000" cy="875518"/>
          </a:xfrm>
          <a:ln>
            <a:noFill/>
          </a:ln>
        </p:spPr>
        <p:txBody>
          <a:bodyPr/>
          <a:lstStyle/>
          <a:p>
            <a:pPr>
              <a:lnSpc>
                <a:spcPct val="100000"/>
              </a:lnSpc>
            </a:pPr>
            <a:r>
              <a:rPr lang="en-US" sz="1000" b="1" dirty="0">
                <a:solidFill>
                  <a:schemeClr val="bg1">
                    <a:lumMod val="75000"/>
                  </a:schemeClr>
                </a:solidFill>
              </a:rPr>
              <a:t>Context</a:t>
            </a:r>
            <a:br>
              <a:rPr lang="en-US" sz="1800" dirty="0">
                <a:solidFill>
                  <a:srgbClr val="81BC00"/>
                </a:solidFill>
              </a:rPr>
            </a:br>
            <a:r>
              <a:rPr lang="en-US" sz="1800" b="1" dirty="0">
                <a:solidFill>
                  <a:srgbClr val="002776"/>
                </a:solidFill>
              </a:rPr>
              <a:t>This report aims to find the best neighborhood clusters in Washington D.C. for Airbnb property investment. </a:t>
            </a:r>
          </a:p>
        </p:txBody>
      </p:sp>
      <p:grpSp>
        <p:nvGrpSpPr>
          <p:cNvPr id="4" name="Group 3"/>
          <p:cNvGrpSpPr/>
          <p:nvPr/>
        </p:nvGrpSpPr>
        <p:grpSpPr>
          <a:xfrm>
            <a:off x="6164501" y="1234441"/>
            <a:ext cx="2636600" cy="3277787"/>
            <a:chOff x="393698" y="1376360"/>
            <a:chExt cx="3997326" cy="4932365"/>
          </a:xfrm>
        </p:grpSpPr>
        <p:sp>
          <p:nvSpPr>
            <p:cNvPr id="14" name="Text Box 10"/>
            <p:cNvSpPr txBox="1">
              <a:spLocks noChangeArrowheads="1"/>
            </p:cNvSpPr>
            <p:nvPr>
              <p:custDataLst>
                <p:tags r:id="rId5"/>
              </p:custDataLst>
            </p:nvPr>
          </p:nvSpPr>
          <p:spPr bwMode="auto">
            <a:xfrm>
              <a:off x="393699" y="1376360"/>
              <a:ext cx="3997325" cy="443561"/>
            </a:xfrm>
            <a:prstGeom prst="rect">
              <a:avLst/>
            </a:prstGeom>
            <a:solidFill>
              <a:srgbClr val="00A1DE"/>
            </a:solidFill>
            <a:ln w="12700" algn="ctr">
              <a:noFill/>
              <a:miter lim="800000"/>
              <a:headEnd/>
              <a:tailEnd type="none" w="sm" len="med"/>
            </a:ln>
          </p:spPr>
          <p:txBody>
            <a:bodyPr lIns="27000" tIns="27000" rIns="27000" bIns="27000" anchor="ctr" anchorCtr="1"/>
            <a:lstStyle/>
            <a:p>
              <a:pPr algn="ctr" defTabSz="717947"/>
              <a:r>
                <a:rPr lang="en-US" sz="1050" b="1" dirty="0">
                  <a:solidFill>
                    <a:schemeClr val="bg1"/>
                  </a:solidFill>
                </a:rPr>
                <a:t>Data &amp; Assumption</a:t>
              </a:r>
            </a:p>
          </p:txBody>
        </p:sp>
        <p:sp>
          <p:nvSpPr>
            <p:cNvPr id="22" name="Text Placeholder 5"/>
            <p:cNvSpPr txBox="1">
              <a:spLocks/>
            </p:cNvSpPr>
            <p:nvPr/>
          </p:nvSpPr>
          <p:spPr>
            <a:xfrm>
              <a:off x="393698" y="1819921"/>
              <a:ext cx="3997324" cy="4488804"/>
            </a:xfrm>
            <a:prstGeom prst="rect">
              <a:avLst/>
            </a:prstGeom>
            <a:solidFill>
              <a:srgbClr val="DCDCDC"/>
            </a:solidFill>
            <a:ln w="12700">
              <a:noFill/>
            </a:ln>
          </p:spPr>
          <p:txBody>
            <a:bodyPr wrap="square" lIns="82296" tIns="109728" rIns="82296" bIns="3429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450"/>
                </a:spcAft>
                <a:buNone/>
              </a:pPr>
              <a:r>
                <a:rPr lang="en-US" sz="825" dirty="0">
                  <a:solidFill>
                    <a:srgbClr val="313131"/>
                  </a:solidFill>
                </a:rPr>
                <a:t>This is dummy text it is not here to be read this is dummy text it is not here to be read</a:t>
              </a:r>
            </a:p>
            <a:p>
              <a:pPr marL="130302" lvl="1" indent="-130302">
                <a:spcBef>
                  <a:spcPts val="0"/>
                </a:spcBef>
                <a:spcAft>
                  <a:spcPts val="450"/>
                </a:spcAft>
              </a:pPr>
              <a:r>
                <a:rPr lang="en-US" sz="825" dirty="0">
                  <a:solidFill>
                    <a:srgbClr val="313131"/>
                  </a:solidFill>
                </a:rPr>
                <a:t>This is dummy text it is not here to be read this is dummy text it is not here to be read</a:t>
              </a:r>
            </a:p>
            <a:p>
              <a:pPr marL="130302" lvl="1" indent="-130302">
                <a:spcBef>
                  <a:spcPts val="0"/>
                </a:spcBef>
                <a:spcAft>
                  <a:spcPts val="450"/>
                </a:spcAft>
              </a:pPr>
              <a:r>
                <a:rPr lang="en-US" sz="825" dirty="0">
                  <a:solidFill>
                    <a:srgbClr val="313131"/>
                  </a:solidFill>
                </a:rPr>
                <a:t>This is dummy text it is not here to be read this is dummy text it is not here to be read</a:t>
              </a:r>
            </a:p>
            <a:p>
              <a:pPr lvl="2">
                <a:spcBef>
                  <a:spcPts val="0"/>
                </a:spcBef>
                <a:spcAft>
                  <a:spcPts val="450"/>
                </a:spcAft>
              </a:pPr>
              <a:r>
                <a:rPr lang="en-US" sz="825" dirty="0">
                  <a:solidFill>
                    <a:srgbClr val="313131"/>
                  </a:solidFill>
                </a:rPr>
                <a:t>This is dummy text it is not here to be read</a:t>
              </a:r>
            </a:p>
            <a:p>
              <a:pPr lvl="2">
                <a:spcBef>
                  <a:spcPts val="0"/>
                </a:spcBef>
                <a:spcAft>
                  <a:spcPts val="450"/>
                </a:spcAft>
              </a:pPr>
              <a:r>
                <a:rPr lang="en-US" sz="825" dirty="0">
                  <a:solidFill>
                    <a:srgbClr val="313131"/>
                  </a:solidFill>
                </a:rPr>
                <a:t>This is dummy text it is not here to be read</a:t>
              </a:r>
            </a:p>
            <a:p>
              <a:pPr lvl="2">
                <a:spcBef>
                  <a:spcPts val="0"/>
                </a:spcBef>
                <a:spcAft>
                  <a:spcPts val="450"/>
                </a:spcAft>
              </a:pPr>
              <a:r>
                <a:rPr lang="en-US" sz="825" dirty="0">
                  <a:solidFill>
                    <a:srgbClr val="313131"/>
                  </a:solidFill>
                </a:rPr>
                <a:t>This is dummy text it is not here to be read</a:t>
              </a:r>
            </a:p>
          </p:txBody>
        </p:sp>
      </p:grpSp>
      <p:grpSp>
        <p:nvGrpSpPr>
          <p:cNvPr id="6" name="Group 5">
            <a:extLst>
              <a:ext uri="{FF2B5EF4-FFF2-40B4-BE49-F238E27FC236}">
                <a16:creationId xmlns:a16="http://schemas.microsoft.com/office/drawing/2014/main" id="{C80A8F9A-31F5-D0BE-E8C1-8D835DC99B7D}"/>
              </a:ext>
            </a:extLst>
          </p:cNvPr>
          <p:cNvGrpSpPr/>
          <p:nvPr/>
        </p:nvGrpSpPr>
        <p:grpSpPr>
          <a:xfrm>
            <a:off x="319961" y="1234441"/>
            <a:ext cx="2636600" cy="3277787"/>
            <a:chOff x="393698" y="1376360"/>
            <a:chExt cx="3997326" cy="4932365"/>
          </a:xfrm>
        </p:grpSpPr>
        <p:sp>
          <p:nvSpPr>
            <p:cNvPr id="7" name="Text Box 10">
              <a:extLst>
                <a:ext uri="{FF2B5EF4-FFF2-40B4-BE49-F238E27FC236}">
                  <a16:creationId xmlns:a16="http://schemas.microsoft.com/office/drawing/2014/main" id="{3B827ED0-31BD-B8A0-3F1D-564FB7479D49}"/>
                </a:ext>
              </a:extLst>
            </p:cNvPr>
            <p:cNvSpPr txBox="1">
              <a:spLocks noChangeArrowheads="1"/>
            </p:cNvSpPr>
            <p:nvPr>
              <p:custDataLst>
                <p:tags r:id="rId4"/>
              </p:custDataLst>
            </p:nvPr>
          </p:nvSpPr>
          <p:spPr bwMode="auto">
            <a:xfrm>
              <a:off x="393699" y="1376360"/>
              <a:ext cx="3997325" cy="443561"/>
            </a:xfrm>
            <a:prstGeom prst="rect">
              <a:avLst/>
            </a:prstGeom>
            <a:solidFill>
              <a:srgbClr val="00A1DE"/>
            </a:solidFill>
            <a:ln w="12700" algn="ctr">
              <a:noFill/>
              <a:miter lim="800000"/>
              <a:headEnd/>
              <a:tailEnd type="none" w="sm" len="med"/>
            </a:ln>
          </p:spPr>
          <p:txBody>
            <a:bodyPr lIns="27000" tIns="27000" rIns="27000" bIns="27000" anchor="ctr" anchorCtr="1"/>
            <a:lstStyle/>
            <a:p>
              <a:pPr algn="ctr" defTabSz="717947"/>
              <a:r>
                <a:rPr lang="en-US" sz="1050" b="1" dirty="0">
                  <a:solidFill>
                    <a:schemeClr val="bg1"/>
                  </a:solidFill>
                </a:rPr>
                <a:t>Background</a:t>
              </a:r>
            </a:p>
          </p:txBody>
        </p:sp>
        <p:sp>
          <p:nvSpPr>
            <p:cNvPr id="8" name="Text Placeholder 5">
              <a:extLst>
                <a:ext uri="{FF2B5EF4-FFF2-40B4-BE49-F238E27FC236}">
                  <a16:creationId xmlns:a16="http://schemas.microsoft.com/office/drawing/2014/main" id="{06233A1E-DEAB-6380-5198-D11BE4599D29}"/>
                </a:ext>
              </a:extLst>
            </p:cNvPr>
            <p:cNvSpPr txBox="1">
              <a:spLocks/>
            </p:cNvSpPr>
            <p:nvPr/>
          </p:nvSpPr>
          <p:spPr>
            <a:xfrm>
              <a:off x="393698" y="1819921"/>
              <a:ext cx="3997324" cy="4488804"/>
            </a:xfrm>
            <a:prstGeom prst="rect">
              <a:avLst/>
            </a:prstGeom>
            <a:solidFill>
              <a:srgbClr val="DCDCDC"/>
            </a:solidFill>
            <a:ln w="12700">
              <a:noFill/>
            </a:ln>
          </p:spPr>
          <p:txBody>
            <a:bodyPr wrap="square" lIns="82296" tIns="109728" rIns="82296" bIns="3429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450"/>
                </a:spcAft>
                <a:buNone/>
              </a:pPr>
              <a:r>
                <a:rPr lang="en-US" sz="825" dirty="0">
                  <a:solidFill>
                    <a:srgbClr val="313131"/>
                  </a:solidFill>
                </a:rPr>
                <a:t>This is dummy text it is not here to be read this is dummy text it is not here to be read</a:t>
              </a:r>
            </a:p>
            <a:p>
              <a:pPr marL="130302" lvl="1" indent="-130302">
                <a:spcBef>
                  <a:spcPts val="0"/>
                </a:spcBef>
                <a:spcAft>
                  <a:spcPts val="450"/>
                </a:spcAft>
              </a:pPr>
              <a:r>
                <a:rPr lang="en-US" sz="825" dirty="0">
                  <a:solidFill>
                    <a:srgbClr val="313131"/>
                  </a:solidFill>
                </a:rPr>
                <a:t>This is dummy text it is not here to be read this is dummy text it is not here to be read</a:t>
              </a:r>
            </a:p>
            <a:p>
              <a:pPr marL="130302" lvl="1" indent="-130302">
                <a:spcBef>
                  <a:spcPts val="0"/>
                </a:spcBef>
                <a:spcAft>
                  <a:spcPts val="450"/>
                </a:spcAft>
              </a:pPr>
              <a:r>
                <a:rPr lang="en-US" sz="825" dirty="0">
                  <a:solidFill>
                    <a:srgbClr val="313131"/>
                  </a:solidFill>
                </a:rPr>
                <a:t>This is dummy text it is not here to be read this is dummy text it is not here to be read</a:t>
              </a:r>
            </a:p>
            <a:p>
              <a:pPr lvl="2">
                <a:spcBef>
                  <a:spcPts val="0"/>
                </a:spcBef>
                <a:spcAft>
                  <a:spcPts val="450"/>
                </a:spcAft>
              </a:pPr>
              <a:r>
                <a:rPr lang="en-US" sz="825" dirty="0">
                  <a:solidFill>
                    <a:srgbClr val="313131"/>
                  </a:solidFill>
                </a:rPr>
                <a:t>This is dummy text it is not here to be read</a:t>
              </a:r>
            </a:p>
            <a:p>
              <a:pPr lvl="2">
                <a:spcBef>
                  <a:spcPts val="0"/>
                </a:spcBef>
                <a:spcAft>
                  <a:spcPts val="450"/>
                </a:spcAft>
              </a:pPr>
              <a:r>
                <a:rPr lang="en-US" sz="825" dirty="0">
                  <a:solidFill>
                    <a:srgbClr val="313131"/>
                  </a:solidFill>
                </a:rPr>
                <a:t>This is dummy text it is not here to be read</a:t>
              </a:r>
            </a:p>
            <a:p>
              <a:pPr lvl="2">
                <a:spcBef>
                  <a:spcPts val="0"/>
                </a:spcBef>
                <a:spcAft>
                  <a:spcPts val="450"/>
                </a:spcAft>
              </a:pPr>
              <a:r>
                <a:rPr lang="en-US" sz="825" dirty="0">
                  <a:solidFill>
                    <a:srgbClr val="313131"/>
                  </a:solidFill>
                </a:rPr>
                <a:t>This is dummy text it is not here to be read</a:t>
              </a:r>
            </a:p>
          </p:txBody>
        </p:sp>
      </p:grpSp>
      <p:grpSp>
        <p:nvGrpSpPr>
          <p:cNvPr id="9" name="Group 8">
            <a:extLst>
              <a:ext uri="{FF2B5EF4-FFF2-40B4-BE49-F238E27FC236}">
                <a16:creationId xmlns:a16="http://schemas.microsoft.com/office/drawing/2014/main" id="{8A3F13EF-3F51-C477-D2AF-3DA066B42B3A}"/>
              </a:ext>
            </a:extLst>
          </p:cNvPr>
          <p:cNvGrpSpPr/>
          <p:nvPr/>
        </p:nvGrpSpPr>
        <p:grpSpPr>
          <a:xfrm>
            <a:off x="3261281" y="1234441"/>
            <a:ext cx="2636600" cy="3277787"/>
            <a:chOff x="393698" y="1376360"/>
            <a:chExt cx="3997326" cy="4932365"/>
          </a:xfrm>
        </p:grpSpPr>
        <p:sp>
          <p:nvSpPr>
            <p:cNvPr id="10" name="Text Box 10">
              <a:extLst>
                <a:ext uri="{FF2B5EF4-FFF2-40B4-BE49-F238E27FC236}">
                  <a16:creationId xmlns:a16="http://schemas.microsoft.com/office/drawing/2014/main" id="{CDE4C4AA-81A6-A2DE-E93D-230CFD05A76B}"/>
                </a:ext>
              </a:extLst>
            </p:cNvPr>
            <p:cNvSpPr txBox="1">
              <a:spLocks noChangeArrowheads="1"/>
            </p:cNvSpPr>
            <p:nvPr>
              <p:custDataLst>
                <p:tags r:id="rId3"/>
              </p:custDataLst>
            </p:nvPr>
          </p:nvSpPr>
          <p:spPr bwMode="auto">
            <a:xfrm>
              <a:off x="393699" y="1376360"/>
              <a:ext cx="3997325" cy="443561"/>
            </a:xfrm>
            <a:prstGeom prst="rect">
              <a:avLst/>
            </a:prstGeom>
            <a:solidFill>
              <a:srgbClr val="00A1DE"/>
            </a:solidFill>
            <a:ln w="12700" algn="ctr">
              <a:noFill/>
              <a:miter lim="800000"/>
              <a:headEnd/>
              <a:tailEnd type="none" w="sm" len="med"/>
            </a:ln>
          </p:spPr>
          <p:txBody>
            <a:bodyPr lIns="27000" tIns="27000" rIns="27000" bIns="27000" anchor="ctr" anchorCtr="1"/>
            <a:lstStyle/>
            <a:p>
              <a:pPr algn="ctr" defTabSz="717947"/>
              <a:r>
                <a:rPr lang="en-US" sz="1050" b="1" dirty="0">
                  <a:solidFill>
                    <a:schemeClr val="bg1"/>
                  </a:solidFill>
                </a:rPr>
                <a:t>Objective</a:t>
              </a:r>
            </a:p>
          </p:txBody>
        </p:sp>
        <p:sp>
          <p:nvSpPr>
            <p:cNvPr id="11" name="Text Placeholder 5">
              <a:extLst>
                <a:ext uri="{FF2B5EF4-FFF2-40B4-BE49-F238E27FC236}">
                  <a16:creationId xmlns:a16="http://schemas.microsoft.com/office/drawing/2014/main" id="{DD6A5496-2CB3-3C27-66E2-F1976DA1AEAB}"/>
                </a:ext>
              </a:extLst>
            </p:cNvPr>
            <p:cNvSpPr txBox="1">
              <a:spLocks/>
            </p:cNvSpPr>
            <p:nvPr/>
          </p:nvSpPr>
          <p:spPr>
            <a:xfrm>
              <a:off x="393698" y="1819921"/>
              <a:ext cx="3997324" cy="4488804"/>
            </a:xfrm>
            <a:prstGeom prst="rect">
              <a:avLst/>
            </a:prstGeom>
            <a:solidFill>
              <a:srgbClr val="DCDCDC"/>
            </a:solidFill>
            <a:ln w="12700">
              <a:noFill/>
            </a:ln>
          </p:spPr>
          <p:txBody>
            <a:bodyPr wrap="square" lIns="82296" tIns="109728" rIns="82296" bIns="3429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450"/>
                </a:spcAft>
                <a:buNone/>
              </a:pPr>
              <a:r>
                <a:rPr lang="en-US" sz="825" dirty="0">
                  <a:solidFill>
                    <a:srgbClr val="313131"/>
                  </a:solidFill>
                </a:rPr>
                <a:t>This is dummy text it is not here to be read this is dummy text it is not here to be read</a:t>
              </a:r>
            </a:p>
            <a:p>
              <a:pPr marL="130302" lvl="1" indent="-130302">
                <a:spcBef>
                  <a:spcPts val="0"/>
                </a:spcBef>
                <a:spcAft>
                  <a:spcPts val="450"/>
                </a:spcAft>
              </a:pPr>
              <a:r>
                <a:rPr lang="en-US" sz="825" dirty="0">
                  <a:solidFill>
                    <a:srgbClr val="313131"/>
                  </a:solidFill>
                </a:rPr>
                <a:t>This is dummy text it is not here to be read this is dummy text it is not here to be read</a:t>
              </a:r>
            </a:p>
            <a:p>
              <a:pPr marL="130302" lvl="1" indent="-130302">
                <a:spcBef>
                  <a:spcPts val="0"/>
                </a:spcBef>
                <a:spcAft>
                  <a:spcPts val="450"/>
                </a:spcAft>
              </a:pPr>
              <a:r>
                <a:rPr lang="en-US" sz="825" dirty="0">
                  <a:solidFill>
                    <a:srgbClr val="313131"/>
                  </a:solidFill>
                </a:rPr>
                <a:t>This is dummy text it is not here to be read this is dummy text it is not here to be read</a:t>
              </a:r>
            </a:p>
            <a:p>
              <a:pPr lvl="2">
                <a:spcBef>
                  <a:spcPts val="0"/>
                </a:spcBef>
                <a:spcAft>
                  <a:spcPts val="450"/>
                </a:spcAft>
              </a:pPr>
              <a:r>
                <a:rPr lang="en-US" sz="825" dirty="0">
                  <a:solidFill>
                    <a:srgbClr val="313131"/>
                  </a:solidFill>
                </a:rPr>
                <a:t>This is dummy text it is not here to be read</a:t>
              </a:r>
            </a:p>
            <a:p>
              <a:pPr lvl="2">
                <a:spcBef>
                  <a:spcPts val="0"/>
                </a:spcBef>
                <a:spcAft>
                  <a:spcPts val="450"/>
                </a:spcAft>
              </a:pPr>
              <a:r>
                <a:rPr lang="en-US" sz="825" dirty="0">
                  <a:solidFill>
                    <a:srgbClr val="313131"/>
                  </a:solidFill>
                </a:rPr>
                <a:t>This is dummy text it is not here to be read</a:t>
              </a:r>
            </a:p>
            <a:p>
              <a:pPr lvl="2">
                <a:spcBef>
                  <a:spcPts val="0"/>
                </a:spcBef>
                <a:spcAft>
                  <a:spcPts val="450"/>
                </a:spcAft>
              </a:pPr>
              <a:r>
                <a:rPr lang="en-US" sz="825" dirty="0">
                  <a:solidFill>
                    <a:srgbClr val="313131"/>
                  </a:solidFill>
                </a:rPr>
                <a:t>This is dummy text it is not here to be read</a:t>
              </a:r>
            </a:p>
          </p:txBody>
        </p:sp>
      </p:grpSp>
      <p:cxnSp>
        <p:nvCxnSpPr>
          <p:cNvPr id="12" name="Straight Connector 11">
            <a:extLst>
              <a:ext uri="{FF2B5EF4-FFF2-40B4-BE49-F238E27FC236}">
                <a16:creationId xmlns:a16="http://schemas.microsoft.com/office/drawing/2014/main" id="{341ACE12-B08F-40C2-404E-4FAB72C69721}"/>
              </a:ext>
            </a:extLst>
          </p:cNvPr>
          <p:cNvCxnSpPr>
            <a:cxnSpLocks/>
          </p:cNvCxnSpPr>
          <p:nvPr/>
        </p:nvCxnSpPr>
        <p:spPr>
          <a:xfrm>
            <a:off x="0" y="884282"/>
            <a:ext cx="9144000" cy="0"/>
          </a:xfrm>
          <a:prstGeom prst="line">
            <a:avLst/>
          </a:prstGeom>
          <a:ln w="76200">
            <a:solidFill>
              <a:srgbClr val="00277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521932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9585" name="Title 1"/>
          <p:cNvSpPr>
            <a:spLocks noGrp="1"/>
          </p:cNvSpPr>
          <p:nvPr>
            <p:ph type="title"/>
          </p:nvPr>
        </p:nvSpPr>
        <p:spPr/>
        <p:txBody>
          <a:bodyPr/>
          <a:lstStyle/>
          <a:p>
            <a:pPr>
              <a:lnSpc>
                <a:spcPct val="100000"/>
              </a:lnSpc>
            </a:pPr>
            <a:r>
              <a:rPr lang="en-US" dirty="0">
                <a:solidFill>
                  <a:srgbClr val="81BC00"/>
                </a:solidFill>
              </a:rPr>
              <a:t>Text boxes </a:t>
            </a:r>
            <a:br>
              <a:rPr lang="en-US" dirty="0">
                <a:solidFill>
                  <a:srgbClr val="81BC00"/>
                </a:solidFill>
              </a:rPr>
            </a:br>
            <a:r>
              <a:rPr lang="en-US" dirty="0">
                <a:solidFill>
                  <a:srgbClr val="575757"/>
                </a:solidFill>
              </a:rPr>
              <a:t>Two-by-two</a:t>
            </a:r>
          </a:p>
        </p:txBody>
      </p:sp>
      <p:grpSp>
        <p:nvGrpSpPr>
          <p:cNvPr id="18" name="Group 17"/>
          <p:cNvGrpSpPr/>
          <p:nvPr/>
        </p:nvGrpSpPr>
        <p:grpSpPr>
          <a:xfrm>
            <a:off x="1438274" y="1268730"/>
            <a:ext cx="2997995" cy="1645920"/>
            <a:chOff x="393698" y="1376361"/>
            <a:chExt cx="3997326" cy="2373680"/>
          </a:xfrm>
        </p:grpSpPr>
        <p:sp>
          <p:nvSpPr>
            <p:cNvPr id="21" name="Text Box 10"/>
            <p:cNvSpPr txBox="1">
              <a:spLocks noChangeArrowheads="1"/>
            </p:cNvSpPr>
            <p:nvPr>
              <p:custDataLst>
                <p:tags r:id="rId4"/>
              </p:custDataLst>
            </p:nvPr>
          </p:nvSpPr>
          <p:spPr bwMode="auto">
            <a:xfrm>
              <a:off x="393699" y="1376361"/>
              <a:ext cx="3997325" cy="249678"/>
            </a:xfrm>
            <a:prstGeom prst="rect">
              <a:avLst/>
            </a:prstGeom>
            <a:solidFill>
              <a:srgbClr val="00A1DE"/>
            </a:solidFill>
            <a:ln w="12700" algn="ctr">
              <a:noFill/>
              <a:miter lim="800000"/>
              <a:headEnd/>
              <a:tailEnd type="none" w="sm" len="med"/>
            </a:ln>
          </p:spPr>
          <p:txBody>
            <a:bodyPr lIns="27000" tIns="27000" rIns="27000" bIns="27000" anchor="ctr" anchorCtr="1"/>
            <a:lstStyle/>
            <a:p>
              <a:pPr algn="ctr" defTabSz="717947">
                <a:buClrTx/>
              </a:pPr>
              <a:r>
                <a:rPr lang="en-US" sz="1050" b="1" kern="1200" dirty="0">
                  <a:solidFill>
                    <a:prstClr val="white"/>
                  </a:solidFill>
                  <a:ea typeface="+mn-ea"/>
                  <a:cs typeface="+mn-cs"/>
                </a:rPr>
                <a:t>Text</a:t>
              </a:r>
            </a:p>
          </p:txBody>
        </p:sp>
        <p:sp>
          <p:nvSpPr>
            <p:cNvPr id="26" name="Text Placeholder 5"/>
            <p:cNvSpPr txBox="1">
              <a:spLocks/>
            </p:cNvSpPr>
            <p:nvPr/>
          </p:nvSpPr>
          <p:spPr>
            <a:xfrm>
              <a:off x="393698" y="1626041"/>
              <a:ext cx="3997325" cy="2124000"/>
            </a:xfrm>
            <a:prstGeom prst="rect">
              <a:avLst/>
            </a:prstGeom>
            <a:solidFill>
              <a:srgbClr val="DCDCDC"/>
            </a:solidFill>
            <a:ln w="12700">
              <a:noFill/>
            </a:ln>
          </p:spPr>
          <p:txBody>
            <a:bodyPr wrap="square" lIns="68580" tIns="68580" rIns="68580" bIns="6858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30302" lvl="1" indent="-130302" defTabSz="717947">
                <a:spcBef>
                  <a:spcPts val="0"/>
                </a:spcBef>
                <a:spcAft>
                  <a:spcPts val="450"/>
                </a:spcAft>
                <a:buClrTx/>
              </a:pPr>
              <a:r>
                <a:rPr lang="en-US" sz="825" dirty="0">
                  <a:solidFill>
                    <a:srgbClr val="313131"/>
                  </a:solidFill>
                  <a:latin typeface="Arial"/>
                </a:rPr>
                <a:t>This is dummy text it is not here to be read this is dummy text it is not here to be read</a:t>
              </a:r>
            </a:p>
            <a:p>
              <a:pPr marL="130302" lvl="1" indent="-130302" defTabSz="717947">
                <a:spcBef>
                  <a:spcPts val="0"/>
                </a:spcBef>
                <a:spcAft>
                  <a:spcPts val="450"/>
                </a:spcAft>
                <a:buClrTx/>
              </a:pPr>
              <a:r>
                <a:rPr lang="en-US" sz="825" dirty="0">
                  <a:solidFill>
                    <a:srgbClr val="313131"/>
                  </a:solidFill>
                  <a:latin typeface="Arial"/>
                </a:rPr>
                <a:t>This is dummy text it is not here to be read this is dummy text it is not here to be read</a:t>
              </a:r>
            </a:p>
            <a:p>
              <a:pPr marL="270000" lvl="2" indent="-135000" defTabSz="717947">
                <a:spcBef>
                  <a:spcPts val="0"/>
                </a:spcBef>
                <a:spcAft>
                  <a:spcPts val="450"/>
                </a:spcAft>
                <a:buClrTx/>
              </a:pPr>
              <a:r>
                <a:rPr lang="en-US" sz="825" dirty="0">
                  <a:solidFill>
                    <a:srgbClr val="313131"/>
                  </a:solidFill>
                  <a:latin typeface="Arial"/>
                </a:rPr>
                <a:t>This is dummy text it is not here to be read</a:t>
              </a:r>
            </a:p>
            <a:p>
              <a:pPr marL="270000" lvl="2" indent="-135000" defTabSz="717947">
                <a:spcBef>
                  <a:spcPts val="0"/>
                </a:spcBef>
                <a:spcAft>
                  <a:spcPts val="450"/>
                </a:spcAft>
                <a:buClrTx/>
              </a:pPr>
              <a:r>
                <a:rPr lang="en-US" sz="825" dirty="0">
                  <a:solidFill>
                    <a:srgbClr val="313131"/>
                  </a:solidFill>
                  <a:latin typeface="Arial"/>
                </a:rPr>
                <a:t>This is dummy text it is not here to be read</a:t>
              </a:r>
            </a:p>
          </p:txBody>
        </p:sp>
      </p:grpSp>
      <p:grpSp>
        <p:nvGrpSpPr>
          <p:cNvPr id="33" name="Group 32"/>
          <p:cNvGrpSpPr/>
          <p:nvPr/>
        </p:nvGrpSpPr>
        <p:grpSpPr>
          <a:xfrm>
            <a:off x="4706541" y="1268730"/>
            <a:ext cx="2997995" cy="1645920"/>
            <a:chOff x="393698" y="1376361"/>
            <a:chExt cx="3997326" cy="2373680"/>
          </a:xfrm>
        </p:grpSpPr>
        <p:sp>
          <p:nvSpPr>
            <p:cNvPr id="34" name="Text Box 10"/>
            <p:cNvSpPr txBox="1">
              <a:spLocks noChangeArrowheads="1"/>
            </p:cNvSpPr>
            <p:nvPr>
              <p:custDataLst>
                <p:tags r:id="rId3"/>
              </p:custDataLst>
            </p:nvPr>
          </p:nvSpPr>
          <p:spPr bwMode="auto">
            <a:xfrm>
              <a:off x="393699" y="1376361"/>
              <a:ext cx="3997325" cy="249678"/>
            </a:xfrm>
            <a:prstGeom prst="rect">
              <a:avLst/>
            </a:prstGeom>
            <a:solidFill>
              <a:srgbClr val="00A1DE"/>
            </a:solidFill>
            <a:ln w="12700" algn="ctr">
              <a:noFill/>
              <a:miter lim="800000"/>
              <a:headEnd/>
              <a:tailEnd type="none" w="sm" len="med"/>
            </a:ln>
          </p:spPr>
          <p:txBody>
            <a:bodyPr lIns="27000" tIns="27000" rIns="27000" bIns="27000" anchor="ctr" anchorCtr="1"/>
            <a:lstStyle/>
            <a:p>
              <a:pPr algn="ctr" defTabSz="717947">
                <a:buClrTx/>
              </a:pPr>
              <a:r>
                <a:rPr lang="en-US" sz="1050" b="1" kern="1200" dirty="0">
                  <a:solidFill>
                    <a:prstClr val="white"/>
                  </a:solidFill>
                  <a:ea typeface="+mn-ea"/>
                  <a:cs typeface="+mn-cs"/>
                </a:rPr>
                <a:t>Text</a:t>
              </a:r>
            </a:p>
          </p:txBody>
        </p:sp>
        <p:sp>
          <p:nvSpPr>
            <p:cNvPr id="35" name="Text Placeholder 5"/>
            <p:cNvSpPr txBox="1">
              <a:spLocks/>
            </p:cNvSpPr>
            <p:nvPr/>
          </p:nvSpPr>
          <p:spPr>
            <a:xfrm>
              <a:off x="393698" y="1626041"/>
              <a:ext cx="3997325" cy="2124000"/>
            </a:xfrm>
            <a:prstGeom prst="rect">
              <a:avLst/>
            </a:prstGeom>
            <a:solidFill>
              <a:srgbClr val="DCDCDC"/>
            </a:solidFill>
            <a:ln w="12700">
              <a:noFill/>
            </a:ln>
          </p:spPr>
          <p:txBody>
            <a:bodyPr wrap="square" lIns="68580" tIns="68580" rIns="68580" bIns="6858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30302" lvl="1" indent="-130302" defTabSz="717947">
                <a:spcBef>
                  <a:spcPts val="0"/>
                </a:spcBef>
                <a:spcAft>
                  <a:spcPts val="450"/>
                </a:spcAft>
                <a:buClrTx/>
              </a:pPr>
              <a:r>
                <a:rPr lang="en-US" sz="825" dirty="0">
                  <a:solidFill>
                    <a:srgbClr val="313131"/>
                  </a:solidFill>
                  <a:latin typeface="Arial"/>
                </a:rPr>
                <a:t>This is dummy text it is not here to be read this is dummy text it is not here to be read</a:t>
              </a:r>
            </a:p>
            <a:p>
              <a:pPr marL="130302" lvl="1" indent="-130302" defTabSz="717947">
                <a:spcBef>
                  <a:spcPts val="0"/>
                </a:spcBef>
                <a:spcAft>
                  <a:spcPts val="450"/>
                </a:spcAft>
                <a:buClrTx/>
              </a:pPr>
              <a:r>
                <a:rPr lang="en-US" sz="825" dirty="0">
                  <a:solidFill>
                    <a:srgbClr val="313131"/>
                  </a:solidFill>
                  <a:latin typeface="Arial"/>
                </a:rPr>
                <a:t>This is dummy text it is not here to be read this is dummy text it is not here to be read</a:t>
              </a:r>
            </a:p>
            <a:p>
              <a:pPr marL="270000" lvl="2" indent="-135000" defTabSz="717947">
                <a:spcBef>
                  <a:spcPts val="0"/>
                </a:spcBef>
                <a:spcAft>
                  <a:spcPts val="450"/>
                </a:spcAft>
                <a:buClrTx/>
              </a:pPr>
              <a:r>
                <a:rPr lang="en-US" sz="825" dirty="0">
                  <a:solidFill>
                    <a:srgbClr val="313131"/>
                  </a:solidFill>
                  <a:latin typeface="Arial"/>
                </a:rPr>
                <a:t>This is dummy text it is not here to be read</a:t>
              </a:r>
            </a:p>
            <a:p>
              <a:pPr marL="270000" lvl="2" indent="-135000" defTabSz="717947">
                <a:spcBef>
                  <a:spcPts val="0"/>
                </a:spcBef>
                <a:spcAft>
                  <a:spcPts val="450"/>
                </a:spcAft>
                <a:buClrTx/>
              </a:pPr>
              <a:r>
                <a:rPr lang="en-US" sz="825" dirty="0">
                  <a:solidFill>
                    <a:srgbClr val="313131"/>
                  </a:solidFill>
                  <a:latin typeface="Arial"/>
                </a:rPr>
                <a:t>This is dummy text it is not here to be read</a:t>
              </a:r>
            </a:p>
          </p:txBody>
        </p:sp>
      </p:grpSp>
      <p:grpSp>
        <p:nvGrpSpPr>
          <p:cNvPr id="36" name="Group 35"/>
          <p:cNvGrpSpPr/>
          <p:nvPr/>
        </p:nvGrpSpPr>
        <p:grpSpPr>
          <a:xfrm>
            <a:off x="1438274" y="3114601"/>
            <a:ext cx="2997995" cy="1645920"/>
            <a:chOff x="393698" y="1376361"/>
            <a:chExt cx="3997326" cy="2373680"/>
          </a:xfrm>
        </p:grpSpPr>
        <p:sp>
          <p:nvSpPr>
            <p:cNvPr id="37" name="Text Box 10"/>
            <p:cNvSpPr txBox="1">
              <a:spLocks noChangeArrowheads="1"/>
            </p:cNvSpPr>
            <p:nvPr>
              <p:custDataLst>
                <p:tags r:id="rId2"/>
              </p:custDataLst>
            </p:nvPr>
          </p:nvSpPr>
          <p:spPr bwMode="auto">
            <a:xfrm>
              <a:off x="393699" y="1376361"/>
              <a:ext cx="3997325" cy="249678"/>
            </a:xfrm>
            <a:prstGeom prst="rect">
              <a:avLst/>
            </a:prstGeom>
            <a:solidFill>
              <a:srgbClr val="00A1DE"/>
            </a:solidFill>
            <a:ln w="12700" algn="ctr">
              <a:noFill/>
              <a:miter lim="800000"/>
              <a:headEnd/>
              <a:tailEnd type="none" w="sm" len="med"/>
            </a:ln>
          </p:spPr>
          <p:txBody>
            <a:bodyPr lIns="27000" tIns="27000" rIns="27000" bIns="27000" anchor="ctr" anchorCtr="1"/>
            <a:lstStyle/>
            <a:p>
              <a:pPr algn="ctr" defTabSz="717947">
                <a:buClrTx/>
              </a:pPr>
              <a:r>
                <a:rPr lang="en-US" sz="1050" b="1" kern="1200" dirty="0">
                  <a:solidFill>
                    <a:prstClr val="white"/>
                  </a:solidFill>
                  <a:ea typeface="+mn-ea"/>
                  <a:cs typeface="+mn-cs"/>
                </a:rPr>
                <a:t>Text</a:t>
              </a:r>
            </a:p>
          </p:txBody>
        </p:sp>
        <p:sp>
          <p:nvSpPr>
            <p:cNvPr id="44" name="Text Placeholder 5"/>
            <p:cNvSpPr txBox="1">
              <a:spLocks/>
            </p:cNvSpPr>
            <p:nvPr/>
          </p:nvSpPr>
          <p:spPr>
            <a:xfrm>
              <a:off x="393698" y="1626041"/>
              <a:ext cx="3997325" cy="2124000"/>
            </a:xfrm>
            <a:prstGeom prst="rect">
              <a:avLst/>
            </a:prstGeom>
            <a:solidFill>
              <a:srgbClr val="DCDCDC"/>
            </a:solidFill>
            <a:ln w="12700">
              <a:noFill/>
            </a:ln>
          </p:spPr>
          <p:txBody>
            <a:bodyPr wrap="square" lIns="68580" tIns="68580" rIns="68580" bIns="6858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30302" lvl="1" indent="-130302" defTabSz="717947">
                <a:spcBef>
                  <a:spcPts val="0"/>
                </a:spcBef>
                <a:spcAft>
                  <a:spcPts val="450"/>
                </a:spcAft>
                <a:buClrTx/>
              </a:pPr>
              <a:r>
                <a:rPr lang="en-US" sz="825" dirty="0">
                  <a:solidFill>
                    <a:srgbClr val="313131"/>
                  </a:solidFill>
                  <a:latin typeface="Arial"/>
                </a:rPr>
                <a:t>This is dummy text it is not here to be read this is dummy text it is not here to be read</a:t>
              </a:r>
            </a:p>
            <a:p>
              <a:pPr marL="130302" lvl="1" indent="-130302" defTabSz="717947">
                <a:spcBef>
                  <a:spcPts val="0"/>
                </a:spcBef>
                <a:spcAft>
                  <a:spcPts val="450"/>
                </a:spcAft>
                <a:buClrTx/>
              </a:pPr>
              <a:r>
                <a:rPr lang="en-US" sz="825" dirty="0">
                  <a:solidFill>
                    <a:srgbClr val="313131"/>
                  </a:solidFill>
                  <a:latin typeface="Arial"/>
                </a:rPr>
                <a:t>This is dummy text it is not here to be read this is dummy text it is not here to be read</a:t>
              </a:r>
            </a:p>
            <a:p>
              <a:pPr marL="270000" lvl="2" indent="-135000" defTabSz="717947">
                <a:spcBef>
                  <a:spcPts val="0"/>
                </a:spcBef>
                <a:spcAft>
                  <a:spcPts val="450"/>
                </a:spcAft>
                <a:buClrTx/>
              </a:pPr>
              <a:r>
                <a:rPr lang="en-US" sz="825" dirty="0">
                  <a:solidFill>
                    <a:srgbClr val="313131"/>
                  </a:solidFill>
                  <a:latin typeface="Arial"/>
                </a:rPr>
                <a:t>This is dummy text it is not here to be read</a:t>
              </a:r>
            </a:p>
            <a:p>
              <a:pPr marL="270000" lvl="2" indent="-135000" defTabSz="717947">
                <a:spcBef>
                  <a:spcPts val="0"/>
                </a:spcBef>
                <a:spcAft>
                  <a:spcPts val="450"/>
                </a:spcAft>
                <a:buClrTx/>
              </a:pPr>
              <a:r>
                <a:rPr lang="en-US" sz="825" dirty="0">
                  <a:solidFill>
                    <a:srgbClr val="313131"/>
                  </a:solidFill>
                  <a:latin typeface="Arial"/>
                </a:rPr>
                <a:t>This is dummy text it is not here to be read</a:t>
              </a:r>
            </a:p>
          </p:txBody>
        </p:sp>
      </p:grpSp>
      <p:grpSp>
        <p:nvGrpSpPr>
          <p:cNvPr id="45" name="Group 44"/>
          <p:cNvGrpSpPr/>
          <p:nvPr/>
        </p:nvGrpSpPr>
        <p:grpSpPr>
          <a:xfrm>
            <a:off x="4706540" y="3114601"/>
            <a:ext cx="2997995" cy="1645920"/>
            <a:chOff x="393698" y="1376361"/>
            <a:chExt cx="3997326" cy="2373680"/>
          </a:xfrm>
        </p:grpSpPr>
        <p:sp>
          <p:nvSpPr>
            <p:cNvPr id="46" name="Text Box 10"/>
            <p:cNvSpPr txBox="1">
              <a:spLocks noChangeArrowheads="1"/>
            </p:cNvSpPr>
            <p:nvPr>
              <p:custDataLst>
                <p:tags r:id="rId1"/>
              </p:custDataLst>
            </p:nvPr>
          </p:nvSpPr>
          <p:spPr bwMode="auto">
            <a:xfrm>
              <a:off x="393699" y="1376361"/>
              <a:ext cx="3997325" cy="249678"/>
            </a:xfrm>
            <a:prstGeom prst="rect">
              <a:avLst/>
            </a:prstGeom>
            <a:solidFill>
              <a:srgbClr val="00A1DE"/>
            </a:solidFill>
            <a:ln w="12700" algn="ctr">
              <a:noFill/>
              <a:miter lim="800000"/>
              <a:headEnd/>
              <a:tailEnd type="none" w="sm" len="med"/>
            </a:ln>
          </p:spPr>
          <p:txBody>
            <a:bodyPr lIns="27000" tIns="27000" rIns="27000" bIns="27000" anchor="ctr" anchorCtr="1"/>
            <a:lstStyle/>
            <a:p>
              <a:pPr algn="ctr" defTabSz="717947">
                <a:buClrTx/>
              </a:pPr>
              <a:r>
                <a:rPr lang="en-US" sz="1050" b="1" kern="1200">
                  <a:solidFill>
                    <a:prstClr val="white"/>
                  </a:solidFill>
                  <a:ea typeface="+mn-ea"/>
                  <a:cs typeface="+mn-cs"/>
                </a:rPr>
                <a:t>Text</a:t>
              </a:r>
            </a:p>
          </p:txBody>
        </p:sp>
        <p:sp>
          <p:nvSpPr>
            <p:cNvPr id="47" name="Text Placeholder 5"/>
            <p:cNvSpPr txBox="1">
              <a:spLocks/>
            </p:cNvSpPr>
            <p:nvPr/>
          </p:nvSpPr>
          <p:spPr>
            <a:xfrm>
              <a:off x="393698" y="1626041"/>
              <a:ext cx="3997325" cy="2124000"/>
            </a:xfrm>
            <a:prstGeom prst="rect">
              <a:avLst/>
            </a:prstGeom>
            <a:solidFill>
              <a:srgbClr val="DCDCDC"/>
            </a:solidFill>
            <a:ln w="12700">
              <a:noFill/>
            </a:ln>
          </p:spPr>
          <p:txBody>
            <a:bodyPr wrap="square" lIns="68580" tIns="68580" rIns="68580" bIns="6858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30302" lvl="1" indent="-130302" defTabSz="717947">
                <a:spcBef>
                  <a:spcPts val="0"/>
                </a:spcBef>
                <a:spcAft>
                  <a:spcPts val="450"/>
                </a:spcAft>
                <a:buClrTx/>
              </a:pPr>
              <a:r>
                <a:rPr lang="en-US" sz="825" dirty="0">
                  <a:solidFill>
                    <a:srgbClr val="313131"/>
                  </a:solidFill>
                  <a:latin typeface="Arial"/>
                </a:rPr>
                <a:t>This is dummy text it is not here to be read this is dummy text it is not here to be read</a:t>
              </a:r>
            </a:p>
            <a:p>
              <a:pPr marL="130302" lvl="1" indent="-130302" defTabSz="717947">
                <a:spcBef>
                  <a:spcPts val="0"/>
                </a:spcBef>
                <a:spcAft>
                  <a:spcPts val="450"/>
                </a:spcAft>
                <a:buClrTx/>
              </a:pPr>
              <a:r>
                <a:rPr lang="en-US" sz="825" dirty="0">
                  <a:solidFill>
                    <a:srgbClr val="313131"/>
                  </a:solidFill>
                  <a:latin typeface="Arial"/>
                </a:rPr>
                <a:t>This is dummy text it is not here to be read this is dummy text it is not here to be read</a:t>
              </a:r>
            </a:p>
            <a:p>
              <a:pPr marL="270000" lvl="2" indent="-135000" defTabSz="717947">
                <a:spcBef>
                  <a:spcPts val="0"/>
                </a:spcBef>
                <a:spcAft>
                  <a:spcPts val="450"/>
                </a:spcAft>
                <a:buClrTx/>
              </a:pPr>
              <a:r>
                <a:rPr lang="en-US" sz="825" dirty="0">
                  <a:solidFill>
                    <a:srgbClr val="313131"/>
                  </a:solidFill>
                  <a:latin typeface="Arial"/>
                </a:rPr>
                <a:t>This is dummy text it is not here to be read</a:t>
              </a:r>
            </a:p>
            <a:p>
              <a:pPr marL="270000" lvl="2" indent="-135000" defTabSz="717947">
                <a:spcBef>
                  <a:spcPts val="0"/>
                </a:spcBef>
                <a:spcAft>
                  <a:spcPts val="450"/>
                </a:spcAft>
                <a:buClrTx/>
              </a:pPr>
              <a:r>
                <a:rPr lang="en-US" sz="825" dirty="0">
                  <a:solidFill>
                    <a:srgbClr val="313131"/>
                  </a:solidFill>
                  <a:latin typeface="Arial"/>
                </a:rPr>
                <a:t>This is dummy text it is not here to be read</a:t>
              </a:r>
            </a:p>
          </p:txBody>
        </p:sp>
      </p:grpSp>
    </p:spTree>
  </p:cSld>
  <p:clrMapOvr>
    <a:masterClrMapping/>
  </p:clrMapOvr>
  <p:transition>
    <p:fade/>
  </p:transition>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0225" name="Title 1"/>
          <p:cNvSpPr>
            <a:spLocks noGrp="1"/>
          </p:cNvSpPr>
          <p:nvPr>
            <p:ph type="title"/>
          </p:nvPr>
        </p:nvSpPr>
        <p:spPr/>
        <p:txBody>
          <a:bodyPr/>
          <a:lstStyle/>
          <a:p>
            <a:r>
              <a:rPr lang="en-US" altLang="ja-JP"/>
              <a:t>Interrelated stages</a:t>
            </a:r>
            <a:endParaRPr lang="en-US"/>
          </a:p>
        </p:txBody>
      </p:sp>
      <p:sp>
        <p:nvSpPr>
          <p:cNvPr id="5" name="Freeform 3"/>
          <p:cNvSpPr>
            <a:spLocks/>
          </p:cNvSpPr>
          <p:nvPr/>
        </p:nvSpPr>
        <p:spPr bwMode="auto">
          <a:xfrm>
            <a:off x="5810251" y="2777728"/>
            <a:ext cx="1545431" cy="927497"/>
          </a:xfrm>
          <a:custGeom>
            <a:avLst/>
            <a:gdLst>
              <a:gd name="T0" fmla="*/ 0 w 1297"/>
              <a:gd name="T1" fmla="*/ 0 h 779"/>
              <a:gd name="T2" fmla="*/ 1486869 w 1297"/>
              <a:gd name="T3" fmla="*/ 0 h 779"/>
              <a:gd name="T4" fmla="*/ 1486869 w 1297"/>
              <a:gd name="T5" fmla="*/ 544512 h 779"/>
              <a:gd name="T6" fmla="*/ 1930865 w 1297"/>
              <a:gd name="T7" fmla="*/ 550862 h 779"/>
              <a:gd name="T8" fmla="*/ 1930865 w 1297"/>
              <a:gd name="T9" fmla="*/ 411162 h 779"/>
              <a:gd name="T10" fmla="*/ 2230304 w 1297"/>
              <a:gd name="T11" fmla="*/ 800100 h 779"/>
              <a:gd name="T12" fmla="*/ 1930865 w 1297"/>
              <a:gd name="T13" fmla="*/ 1235075 h 779"/>
              <a:gd name="T14" fmla="*/ 1932586 w 1297"/>
              <a:gd name="T15" fmla="*/ 1098550 h 779"/>
              <a:gd name="T16" fmla="*/ 817434 w 1297"/>
              <a:gd name="T17" fmla="*/ 1093787 h 779"/>
              <a:gd name="T18" fmla="*/ 817434 w 1297"/>
              <a:gd name="T19" fmla="*/ 549275 h 779"/>
              <a:gd name="T20" fmla="*/ 0 w 1297"/>
              <a:gd name="T21" fmla="*/ 549275 h 779"/>
              <a:gd name="T22" fmla="*/ 0 w 1297"/>
              <a:gd name="T23" fmla="*/ 0 h 7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9"/>
              <a:gd name="T38" fmla="*/ 1297 w 1297"/>
              <a:gd name="T39" fmla="*/ 779 h 7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9">
                <a:moveTo>
                  <a:pt x="0" y="0"/>
                </a:moveTo>
                <a:lnTo>
                  <a:pt x="864" y="0"/>
                </a:lnTo>
                <a:lnTo>
                  <a:pt x="864" y="343"/>
                </a:lnTo>
                <a:lnTo>
                  <a:pt x="1122" y="347"/>
                </a:lnTo>
                <a:lnTo>
                  <a:pt x="1122" y="259"/>
                </a:lnTo>
                <a:lnTo>
                  <a:pt x="1296" y="504"/>
                </a:lnTo>
                <a:lnTo>
                  <a:pt x="1122" y="778"/>
                </a:lnTo>
                <a:lnTo>
                  <a:pt x="1123" y="692"/>
                </a:lnTo>
                <a:lnTo>
                  <a:pt x="475" y="689"/>
                </a:lnTo>
                <a:lnTo>
                  <a:pt x="475" y="346"/>
                </a:lnTo>
                <a:lnTo>
                  <a:pt x="0" y="346"/>
                </a:lnTo>
                <a:lnTo>
                  <a:pt x="0" y="0"/>
                </a:lnTo>
              </a:path>
            </a:pathLst>
          </a:custGeom>
          <a:solidFill>
            <a:srgbClr val="575757"/>
          </a:solidFill>
          <a:ln w="12700">
            <a:solidFill>
              <a:schemeClr val="bg1"/>
            </a:solidFill>
            <a:round/>
            <a:headEnd type="none" w="sm" len="sm"/>
            <a:tailEnd type="none" w="sm" len="sm"/>
          </a:ln>
        </p:spPr>
        <p:txBody>
          <a:bodyPr lIns="27000" tIns="27000" rIns="27000" bIns="27000" anchor="ctr"/>
          <a:lstStyle/>
          <a:p>
            <a:pPr defTabSz="685800">
              <a:buClrTx/>
              <a:defRPr/>
            </a:pPr>
            <a:endParaRPr lang="en-US" sz="1050" kern="1200" dirty="0">
              <a:solidFill>
                <a:prstClr val="black"/>
              </a:solidFill>
              <a:ea typeface="+mn-ea"/>
              <a:cs typeface="+mn-cs"/>
            </a:endParaRPr>
          </a:p>
        </p:txBody>
      </p:sp>
      <p:sp>
        <p:nvSpPr>
          <p:cNvPr id="820228" name="Rectangle 4"/>
          <p:cNvSpPr>
            <a:spLocks noChangeArrowheads="1"/>
          </p:cNvSpPr>
          <p:nvPr/>
        </p:nvSpPr>
        <p:spPr bwMode="auto">
          <a:xfrm>
            <a:off x="6001941" y="2889647"/>
            <a:ext cx="739378" cy="199952"/>
          </a:xfrm>
          <a:prstGeom prst="rect">
            <a:avLst/>
          </a:prstGeom>
          <a:noFill/>
          <a:ln w="9525">
            <a:noFill/>
            <a:miter lim="800000"/>
            <a:headEnd/>
            <a:tailEnd/>
          </a:ln>
        </p:spPr>
        <p:txBody>
          <a:bodyPr lIns="27000" tIns="27000" rIns="27000" bIns="27000">
            <a:spAutoFit/>
          </a:bodyPr>
          <a:lstStyle/>
          <a:p>
            <a:pPr algn="ctr" defTabSz="402431">
              <a:lnSpc>
                <a:spcPct val="90000"/>
              </a:lnSpc>
              <a:buClrTx/>
            </a:pPr>
            <a:r>
              <a:rPr lang="en-US" altLang="ja-JP" sz="1050" kern="1200" dirty="0">
                <a:solidFill>
                  <a:prstClr val="white"/>
                </a:solidFill>
                <a:ea typeface="ＭＳ Ｐゴシック" charset="-128"/>
                <a:cs typeface="+mn-cs"/>
              </a:rPr>
              <a:t>Text</a:t>
            </a:r>
          </a:p>
        </p:txBody>
      </p:sp>
      <p:sp>
        <p:nvSpPr>
          <p:cNvPr id="7" name="Freeform 5"/>
          <p:cNvSpPr>
            <a:spLocks/>
          </p:cNvSpPr>
          <p:nvPr/>
        </p:nvSpPr>
        <p:spPr bwMode="auto">
          <a:xfrm>
            <a:off x="4474369" y="2366963"/>
            <a:ext cx="1544241" cy="926306"/>
          </a:xfrm>
          <a:custGeom>
            <a:avLst/>
            <a:gdLst>
              <a:gd name="T0" fmla="*/ 0 w 1297"/>
              <a:gd name="T1" fmla="*/ 0 h 778"/>
              <a:gd name="T2" fmla="*/ 1485811 w 1297"/>
              <a:gd name="T3" fmla="*/ 0 h 778"/>
              <a:gd name="T4" fmla="*/ 1485811 w 1297"/>
              <a:gd name="T5" fmla="*/ 544513 h 778"/>
              <a:gd name="T6" fmla="*/ 1929491 w 1297"/>
              <a:gd name="T7" fmla="*/ 549275 h 778"/>
              <a:gd name="T8" fmla="*/ 1929491 w 1297"/>
              <a:gd name="T9" fmla="*/ 411163 h 778"/>
              <a:gd name="T10" fmla="*/ 2228717 w 1297"/>
              <a:gd name="T11" fmla="*/ 800100 h 778"/>
              <a:gd name="T12" fmla="*/ 1929491 w 1297"/>
              <a:gd name="T13" fmla="*/ 1233488 h 778"/>
              <a:gd name="T14" fmla="*/ 1931211 w 1297"/>
              <a:gd name="T15" fmla="*/ 1096963 h 778"/>
              <a:gd name="T16" fmla="*/ 816852 w 1297"/>
              <a:gd name="T17" fmla="*/ 1092200 h 778"/>
              <a:gd name="T18" fmla="*/ 816852 w 1297"/>
              <a:gd name="T19" fmla="*/ 547688 h 778"/>
              <a:gd name="T20" fmla="*/ 0 w 1297"/>
              <a:gd name="T21" fmla="*/ 547688 h 778"/>
              <a:gd name="T22" fmla="*/ 0 w 1297"/>
              <a:gd name="T23" fmla="*/ 0 h 77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8"/>
              <a:gd name="T38" fmla="*/ 1297 w 1297"/>
              <a:gd name="T39" fmla="*/ 778 h 77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8">
                <a:moveTo>
                  <a:pt x="0" y="0"/>
                </a:moveTo>
                <a:lnTo>
                  <a:pt x="864" y="0"/>
                </a:lnTo>
                <a:lnTo>
                  <a:pt x="864" y="343"/>
                </a:lnTo>
                <a:lnTo>
                  <a:pt x="1122" y="346"/>
                </a:lnTo>
                <a:lnTo>
                  <a:pt x="1122" y="259"/>
                </a:lnTo>
                <a:lnTo>
                  <a:pt x="1296" y="504"/>
                </a:lnTo>
                <a:lnTo>
                  <a:pt x="1122" y="777"/>
                </a:lnTo>
                <a:lnTo>
                  <a:pt x="1123" y="691"/>
                </a:lnTo>
                <a:lnTo>
                  <a:pt x="475" y="688"/>
                </a:lnTo>
                <a:lnTo>
                  <a:pt x="475" y="345"/>
                </a:lnTo>
                <a:lnTo>
                  <a:pt x="0" y="345"/>
                </a:lnTo>
                <a:lnTo>
                  <a:pt x="0" y="0"/>
                </a:lnTo>
              </a:path>
            </a:pathLst>
          </a:custGeom>
          <a:solidFill>
            <a:srgbClr val="8C8C8C"/>
          </a:solidFill>
          <a:ln w="12700">
            <a:solidFill>
              <a:schemeClr val="bg1"/>
            </a:solidFill>
            <a:round/>
            <a:headEnd type="none" w="sm" len="sm"/>
            <a:tailEnd type="none" w="sm" len="sm"/>
          </a:ln>
        </p:spPr>
        <p:txBody>
          <a:bodyPr wrap="none" lIns="27000" tIns="27000" rIns="27000" bIns="27000" anchor="ctr"/>
          <a:lstStyle/>
          <a:p>
            <a:pPr defTabSz="685800">
              <a:buClrTx/>
              <a:defRPr/>
            </a:pPr>
            <a:endParaRPr lang="en-US" sz="1050" kern="1200" dirty="0">
              <a:solidFill>
                <a:prstClr val="black"/>
              </a:solidFill>
              <a:ea typeface="+mn-ea"/>
              <a:cs typeface="+mn-cs"/>
            </a:endParaRPr>
          </a:p>
        </p:txBody>
      </p:sp>
      <p:sp>
        <p:nvSpPr>
          <p:cNvPr id="820230" name="Rectangle 6"/>
          <p:cNvSpPr>
            <a:spLocks noChangeArrowheads="1"/>
          </p:cNvSpPr>
          <p:nvPr/>
        </p:nvSpPr>
        <p:spPr bwMode="auto">
          <a:xfrm>
            <a:off x="4619625" y="2475310"/>
            <a:ext cx="838200" cy="199952"/>
          </a:xfrm>
          <a:prstGeom prst="rect">
            <a:avLst/>
          </a:prstGeom>
          <a:noFill/>
          <a:ln w="9525">
            <a:noFill/>
            <a:miter lim="800000"/>
            <a:headEnd/>
            <a:tailEnd/>
          </a:ln>
        </p:spPr>
        <p:txBody>
          <a:bodyPr lIns="27000" tIns="27000" rIns="27000" bIns="27000">
            <a:spAutoFit/>
          </a:bodyPr>
          <a:lstStyle/>
          <a:p>
            <a:pPr algn="ctr" defTabSz="402431">
              <a:lnSpc>
                <a:spcPct val="90000"/>
              </a:lnSpc>
              <a:buClrTx/>
            </a:pPr>
            <a:r>
              <a:rPr lang="en-US" altLang="ja-JP" sz="1050" kern="1200" dirty="0">
                <a:solidFill>
                  <a:prstClr val="white"/>
                </a:solidFill>
                <a:ea typeface="ＭＳ Ｐゴシック" charset="-128"/>
                <a:cs typeface="+mn-cs"/>
              </a:rPr>
              <a:t>Text</a:t>
            </a:r>
          </a:p>
        </p:txBody>
      </p:sp>
      <p:sp>
        <p:nvSpPr>
          <p:cNvPr id="820231" name="Freeform 7"/>
          <p:cNvSpPr>
            <a:spLocks/>
          </p:cNvSpPr>
          <p:nvPr/>
        </p:nvSpPr>
        <p:spPr bwMode="auto">
          <a:xfrm>
            <a:off x="3136106" y="1955007"/>
            <a:ext cx="1544241" cy="927497"/>
          </a:xfrm>
          <a:custGeom>
            <a:avLst/>
            <a:gdLst>
              <a:gd name="T0" fmla="*/ 0 w 1297"/>
              <a:gd name="T1" fmla="*/ 0 h 779"/>
              <a:gd name="T2" fmla="*/ 2147483647 w 1297"/>
              <a:gd name="T3" fmla="*/ 0 h 779"/>
              <a:gd name="T4" fmla="*/ 2147483647 w 1297"/>
              <a:gd name="T5" fmla="*/ 2147483647 h 779"/>
              <a:gd name="T6" fmla="*/ 2147483647 w 1297"/>
              <a:gd name="T7" fmla="*/ 2147483647 h 779"/>
              <a:gd name="T8" fmla="*/ 2147483647 w 1297"/>
              <a:gd name="T9" fmla="*/ 2147483647 h 779"/>
              <a:gd name="T10" fmla="*/ 2147483647 w 1297"/>
              <a:gd name="T11" fmla="*/ 2147483647 h 779"/>
              <a:gd name="T12" fmla="*/ 2147483647 w 1297"/>
              <a:gd name="T13" fmla="*/ 2147483647 h 779"/>
              <a:gd name="T14" fmla="*/ 2147483647 w 1297"/>
              <a:gd name="T15" fmla="*/ 2147483647 h 779"/>
              <a:gd name="T16" fmla="*/ 2147483647 w 1297"/>
              <a:gd name="T17" fmla="*/ 2147483647 h 779"/>
              <a:gd name="T18" fmla="*/ 2147483647 w 1297"/>
              <a:gd name="T19" fmla="*/ 2147483647 h 779"/>
              <a:gd name="T20" fmla="*/ 0 w 1297"/>
              <a:gd name="T21" fmla="*/ 2147483647 h 779"/>
              <a:gd name="T22" fmla="*/ 0 w 1297"/>
              <a:gd name="T23" fmla="*/ 0 h 7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9"/>
              <a:gd name="T38" fmla="*/ 1297 w 1297"/>
              <a:gd name="T39" fmla="*/ 779 h 7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9">
                <a:moveTo>
                  <a:pt x="0" y="0"/>
                </a:moveTo>
                <a:lnTo>
                  <a:pt x="864" y="0"/>
                </a:lnTo>
                <a:lnTo>
                  <a:pt x="864" y="343"/>
                </a:lnTo>
                <a:lnTo>
                  <a:pt x="1122" y="347"/>
                </a:lnTo>
                <a:lnTo>
                  <a:pt x="1122" y="259"/>
                </a:lnTo>
                <a:lnTo>
                  <a:pt x="1296" y="504"/>
                </a:lnTo>
                <a:lnTo>
                  <a:pt x="1122" y="778"/>
                </a:lnTo>
                <a:lnTo>
                  <a:pt x="1123" y="692"/>
                </a:lnTo>
                <a:lnTo>
                  <a:pt x="475" y="689"/>
                </a:lnTo>
                <a:lnTo>
                  <a:pt x="475" y="346"/>
                </a:lnTo>
                <a:lnTo>
                  <a:pt x="0" y="346"/>
                </a:lnTo>
                <a:lnTo>
                  <a:pt x="0" y="0"/>
                </a:lnTo>
              </a:path>
            </a:pathLst>
          </a:custGeom>
          <a:solidFill>
            <a:srgbClr val="B4B4B4"/>
          </a:solidFill>
          <a:ln w="12700">
            <a:solidFill>
              <a:schemeClr val="bg1"/>
            </a:solidFill>
            <a:round/>
            <a:headEnd type="none" w="sm" len="sm"/>
            <a:tailEnd type="none" w="sm" len="sm"/>
          </a:ln>
        </p:spPr>
        <p:txBody>
          <a:bodyPr wrap="none" lIns="27000" tIns="27000" rIns="27000" bIns="27000" anchor="ctr"/>
          <a:lstStyle/>
          <a:p>
            <a:pPr defTabSz="685800">
              <a:buClrTx/>
            </a:pPr>
            <a:endParaRPr lang="en-US" sz="1050" kern="1200">
              <a:solidFill>
                <a:srgbClr val="313131"/>
              </a:solidFill>
              <a:ea typeface="+mn-ea"/>
              <a:cs typeface="+mn-cs"/>
            </a:endParaRPr>
          </a:p>
        </p:txBody>
      </p:sp>
      <p:sp>
        <p:nvSpPr>
          <p:cNvPr id="820232" name="Rectangle 8"/>
          <p:cNvSpPr>
            <a:spLocks noChangeArrowheads="1"/>
          </p:cNvSpPr>
          <p:nvPr/>
        </p:nvSpPr>
        <p:spPr bwMode="auto">
          <a:xfrm>
            <a:off x="3378994" y="2063354"/>
            <a:ext cx="664369" cy="199952"/>
          </a:xfrm>
          <a:prstGeom prst="rect">
            <a:avLst/>
          </a:prstGeom>
          <a:noFill/>
          <a:ln w="9525">
            <a:noFill/>
            <a:miter lim="800000"/>
            <a:headEnd/>
            <a:tailEnd/>
          </a:ln>
        </p:spPr>
        <p:txBody>
          <a:bodyPr lIns="27000" tIns="27000" rIns="27000" bIns="27000">
            <a:spAutoFit/>
          </a:bodyPr>
          <a:lstStyle/>
          <a:p>
            <a:pPr algn="ctr" defTabSz="402431">
              <a:lnSpc>
                <a:spcPct val="90000"/>
              </a:lnSpc>
              <a:buClrTx/>
            </a:pPr>
            <a:r>
              <a:rPr lang="en-US" altLang="ja-JP" sz="1050" kern="1200" dirty="0">
                <a:solidFill>
                  <a:srgbClr val="313131"/>
                </a:solidFill>
                <a:ea typeface="ＭＳ Ｐゴシック" charset="-128"/>
                <a:cs typeface="+mn-cs"/>
              </a:rPr>
              <a:t>Text</a:t>
            </a:r>
          </a:p>
        </p:txBody>
      </p:sp>
      <p:sp>
        <p:nvSpPr>
          <p:cNvPr id="820233" name="Freeform 9"/>
          <p:cNvSpPr>
            <a:spLocks/>
          </p:cNvSpPr>
          <p:nvPr/>
        </p:nvSpPr>
        <p:spPr bwMode="auto">
          <a:xfrm>
            <a:off x="1800225" y="1543051"/>
            <a:ext cx="1544241" cy="927497"/>
          </a:xfrm>
          <a:custGeom>
            <a:avLst/>
            <a:gdLst>
              <a:gd name="T0" fmla="*/ 0 w 1297"/>
              <a:gd name="T1" fmla="*/ 0 h 779"/>
              <a:gd name="T2" fmla="*/ 2147483647 w 1297"/>
              <a:gd name="T3" fmla="*/ 0 h 779"/>
              <a:gd name="T4" fmla="*/ 2147483647 w 1297"/>
              <a:gd name="T5" fmla="*/ 2147483647 h 779"/>
              <a:gd name="T6" fmla="*/ 2147483647 w 1297"/>
              <a:gd name="T7" fmla="*/ 2147483647 h 779"/>
              <a:gd name="T8" fmla="*/ 2147483647 w 1297"/>
              <a:gd name="T9" fmla="*/ 2147483647 h 779"/>
              <a:gd name="T10" fmla="*/ 2147483647 w 1297"/>
              <a:gd name="T11" fmla="*/ 2147483647 h 779"/>
              <a:gd name="T12" fmla="*/ 2147483647 w 1297"/>
              <a:gd name="T13" fmla="*/ 2147483647 h 779"/>
              <a:gd name="T14" fmla="*/ 2147483647 w 1297"/>
              <a:gd name="T15" fmla="*/ 2147483647 h 779"/>
              <a:gd name="T16" fmla="*/ 2147483647 w 1297"/>
              <a:gd name="T17" fmla="*/ 2147483647 h 779"/>
              <a:gd name="T18" fmla="*/ 2147483647 w 1297"/>
              <a:gd name="T19" fmla="*/ 2147483647 h 779"/>
              <a:gd name="T20" fmla="*/ 0 w 1297"/>
              <a:gd name="T21" fmla="*/ 2147483647 h 779"/>
              <a:gd name="T22" fmla="*/ 0 w 1297"/>
              <a:gd name="T23" fmla="*/ 0 h 7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9"/>
              <a:gd name="T38" fmla="*/ 1297 w 1297"/>
              <a:gd name="T39" fmla="*/ 779 h 7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9">
                <a:moveTo>
                  <a:pt x="0" y="0"/>
                </a:moveTo>
                <a:lnTo>
                  <a:pt x="864" y="0"/>
                </a:lnTo>
                <a:lnTo>
                  <a:pt x="864" y="343"/>
                </a:lnTo>
                <a:lnTo>
                  <a:pt x="1122" y="347"/>
                </a:lnTo>
                <a:lnTo>
                  <a:pt x="1122" y="259"/>
                </a:lnTo>
                <a:lnTo>
                  <a:pt x="1296" y="504"/>
                </a:lnTo>
                <a:lnTo>
                  <a:pt x="1122" y="778"/>
                </a:lnTo>
                <a:lnTo>
                  <a:pt x="1123" y="692"/>
                </a:lnTo>
                <a:lnTo>
                  <a:pt x="475" y="689"/>
                </a:lnTo>
                <a:lnTo>
                  <a:pt x="475" y="346"/>
                </a:lnTo>
                <a:lnTo>
                  <a:pt x="0" y="346"/>
                </a:lnTo>
                <a:lnTo>
                  <a:pt x="0" y="0"/>
                </a:lnTo>
              </a:path>
            </a:pathLst>
          </a:custGeom>
          <a:solidFill>
            <a:srgbClr val="00A1DE"/>
          </a:solidFill>
          <a:ln w="12700">
            <a:solidFill>
              <a:schemeClr val="bg1"/>
            </a:solidFill>
            <a:round/>
            <a:headEnd type="none" w="sm" len="sm"/>
            <a:tailEnd type="none" w="sm" len="sm"/>
          </a:ln>
        </p:spPr>
        <p:txBody>
          <a:bodyPr lIns="27000" tIns="27000" rIns="27000" bIns="27000" anchor="ctr"/>
          <a:lstStyle/>
          <a:p>
            <a:pPr defTabSz="685800">
              <a:buClrTx/>
            </a:pPr>
            <a:endParaRPr lang="en-US" sz="1050" kern="1200">
              <a:solidFill>
                <a:prstClr val="black"/>
              </a:solidFill>
              <a:ea typeface="+mn-ea"/>
              <a:cs typeface="+mn-cs"/>
            </a:endParaRPr>
          </a:p>
        </p:txBody>
      </p:sp>
      <p:sp>
        <p:nvSpPr>
          <p:cNvPr id="820234" name="Rectangle 10"/>
          <p:cNvSpPr>
            <a:spLocks noChangeArrowheads="1"/>
          </p:cNvSpPr>
          <p:nvPr/>
        </p:nvSpPr>
        <p:spPr bwMode="gray">
          <a:xfrm>
            <a:off x="1926431" y="1652588"/>
            <a:ext cx="882254" cy="199952"/>
          </a:xfrm>
          <a:prstGeom prst="rect">
            <a:avLst/>
          </a:prstGeom>
          <a:noFill/>
          <a:ln w="9525">
            <a:noFill/>
            <a:miter lim="800000"/>
            <a:headEnd/>
            <a:tailEnd/>
          </a:ln>
        </p:spPr>
        <p:txBody>
          <a:bodyPr lIns="27000" tIns="27000" rIns="27000" bIns="27000">
            <a:spAutoFit/>
          </a:bodyPr>
          <a:lstStyle/>
          <a:p>
            <a:pPr algn="ctr" defTabSz="402431">
              <a:lnSpc>
                <a:spcPct val="90000"/>
              </a:lnSpc>
              <a:buClrTx/>
            </a:pPr>
            <a:r>
              <a:rPr lang="en-US" altLang="ja-JP" sz="1050" kern="1200" dirty="0">
                <a:solidFill>
                  <a:prstClr val="white"/>
                </a:solidFill>
                <a:ea typeface="ＭＳ Ｐゴシック" charset="-128"/>
                <a:cs typeface="+mn-cs"/>
              </a:rPr>
              <a:t>Text</a:t>
            </a:r>
          </a:p>
        </p:txBody>
      </p:sp>
      <p:sp>
        <p:nvSpPr>
          <p:cNvPr id="13"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Tree>
  </p:cSld>
  <p:clrMapOvr>
    <a:masterClrMapping/>
  </p:clrMapOvr>
  <p:transition>
    <p:fade/>
  </p:transition>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1250" name="Title 1"/>
          <p:cNvSpPr>
            <a:spLocks noGrp="1"/>
          </p:cNvSpPr>
          <p:nvPr>
            <p:ph type="title"/>
          </p:nvPr>
        </p:nvSpPr>
        <p:spPr/>
        <p:txBody>
          <a:bodyPr/>
          <a:lstStyle/>
          <a:p>
            <a:r>
              <a:rPr lang="en-US"/>
              <a:t>Heptagon</a:t>
            </a:r>
            <a:endParaRPr lang="en-US" dirty="0"/>
          </a:p>
        </p:txBody>
      </p:sp>
      <p:sp>
        <p:nvSpPr>
          <p:cNvPr id="29"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
        <p:nvSpPr>
          <p:cNvPr id="54" name="Oval 2"/>
          <p:cNvSpPr>
            <a:spLocks noChangeArrowheads="1"/>
          </p:cNvSpPr>
          <p:nvPr/>
        </p:nvSpPr>
        <p:spPr bwMode="auto">
          <a:xfrm>
            <a:off x="5310895" y="2857501"/>
            <a:ext cx="1250156" cy="575072"/>
          </a:xfrm>
          <a:prstGeom prst="ellipse">
            <a:avLst/>
          </a:prstGeom>
          <a:solidFill>
            <a:srgbClr val="B4B4B4"/>
          </a:solidFill>
          <a:ln w="12700" algn="ctr">
            <a:solidFill>
              <a:schemeClr val="bg1"/>
            </a:solidFill>
            <a:round/>
            <a:headEnd/>
            <a:tailEnd/>
          </a:ln>
        </p:spPr>
        <p:txBody>
          <a:bodyPr lIns="27000" tIns="27000" rIns="27000" bIns="27000" anchor="ctr" anchorCtr="1"/>
          <a:lstStyle/>
          <a:p>
            <a:pPr algn="ctr" defTabSz="685800">
              <a:lnSpc>
                <a:spcPct val="106000"/>
              </a:lnSpc>
              <a:spcBef>
                <a:spcPct val="80000"/>
              </a:spcBef>
              <a:buClr>
                <a:prstClr val="white"/>
              </a:buClr>
            </a:pPr>
            <a:r>
              <a:rPr lang="en-US" altLang="ja-JP" sz="1050" kern="1200">
                <a:solidFill>
                  <a:srgbClr val="313131"/>
                </a:solidFill>
                <a:ea typeface="ＭＳ Ｐゴシック" pitchFamily="50" charset="-128"/>
                <a:cs typeface="+mn-cs"/>
              </a:rPr>
              <a:t>Text</a:t>
            </a:r>
          </a:p>
        </p:txBody>
      </p:sp>
      <p:sp>
        <p:nvSpPr>
          <p:cNvPr id="55" name="Rectangle 54"/>
          <p:cNvSpPr>
            <a:spLocks noChangeArrowheads="1"/>
          </p:cNvSpPr>
          <p:nvPr/>
        </p:nvSpPr>
        <p:spPr bwMode="auto">
          <a:xfrm>
            <a:off x="5091819" y="2000543"/>
            <a:ext cx="1462088" cy="216110"/>
          </a:xfrm>
          <a:prstGeom prst="rect">
            <a:avLst/>
          </a:prstGeom>
          <a:noFill/>
          <a:ln w="9525">
            <a:noFill/>
            <a:miter lim="800000"/>
            <a:headEnd/>
            <a:tailEnd/>
          </a:ln>
        </p:spPr>
        <p:txBody>
          <a:bodyPr lIns="27000" tIns="27000" rIns="27000" bIns="27000" anchor="ctr">
            <a:spAutoFit/>
          </a:bodyPr>
          <a:lstStyle/>
          <a:p>
            <a:pPr marL="85725" indent="-85725" defTabSz="685800">
              <a:spcBef>
                <a:spcPct val="0"/>
              </a:spcBef>
              <a:buClrTx/>
              <a:buSzPct val="70000"/>
              <a:buFont typeface="Marlett" pitchFamily="2" charset="2"/>
              <a:buChar char="8"/>
            </a:pPr>
            <a:endParaRPr lang="en-US" sz="1050" kern="1200">
              <a:solidFill>
                <a:prstClr val="black"/>
              </a:solidFill>
              <a:ea typeface="ＭＳ Ｐゴシック" pitchFamily="50" charset="-128"/>
              <a:cs typeface="+mn-cs"/>
            </a:endParaRPr>
          </a:p>
        </p:txBody>
      </p:sp>
      <p:sp>
        <p:nvSpPr>
          <p:cNvPr id="57" name="Oval 56"/>
          <p:cNvSpPr>
            <a:spLocks noChangeArrowheads="1"/>
          </p:cNvSpPr>
          <p:nvPr/>
        </p:nvSpPr>
        <p:spPr bwMode="auto">
          <a:xfrm>
            <a:off x="3196345" y="3562351"/>
            <a:ext cx="1250156" cy="575072"/>
          </a:xfrm>
          <a:prstGeom prst="ellipse">
            <a:avLst/>
          </a:prstGeom>
          <a:solidFill>
            <a:srgbClr val="B4B4B4"/>
          </a:solidFill>
          <a:ln w="12700" algn="ctr">
            <a:solidFill>
              <a:schemeClr val="bg1"/>
            </a:solidFill>
            <a:round/>
            <a:headEnd/>
            <a:tailEnd/>
          </a:ln>
        </p:spPr>
        <p:txBody>
          <a:bodyPr lIns="27000" tIns="27000" rIns="27000" bIns="27000" anchor="ctr" anchorCtr="1"/>
          <a:lstStyle/>
          <a:p>
            <a:pPr algn="ctr" defTabSz="685800">
              <a:lnSpc>
                <a:spcPct val="106000"/>
              </a:lnSpc>
              <a:spcBef>
                <a:spcPct val="80000"/>
              </a:spcBef>
              <a:buClr>
                <a:prstClr val="white"/>
              </a:buClr>
            </a:pPr>
            <a:r>
              <a:rPr lang="en-US" altLang="ja-JP" sz="1050" kern="1200">
                <a:solidFill>
                  <a:srgbClr val="313131"/>
                </a:solidFill>
                <a:ea typeface="ＭＳ Ｐゴシック" pitchFamily="50" charset="-128"/>
                <a:cs typeface="+mn-cs"/>
              </a:rPr>
              <a:t>Text</a:t>
            </a:r>
          </a:p>
        </p:txBody>
      </p:sp>
      <p:sp>
        <p:nvSpPr>
          <p:cNvPr id="58" name="Oval 57"/>
          <p:cNvSpPr>
            <a:spLocks noChangeArrowheads="1"/>
          </p:cNvSpPr>
          <p:nvPr/>
        </p:nvSpPr>
        <p:spPr bwMode="auto">
          <a:xfrm>
            <a:off x="4706057" y="3562351"/>
            <a:ext cx="1251347" cy="575072"/>
          </a:xfrm>
          <a:prstGeom prst="ellipse">
            <a:avLst/>
          </a:prstGeom>
          <a:solidFill>
            <a:srgbClr val="B4B4B4"/>
          </a:solidFill>
          <a:ln w="12700" algn="ctr">
            <a:solidFill>
              <a:schemeClr val="bg1"/>
            </a:solidFill>
            <a:round/>
            <a:headEnd/>
            <a:tailEnd/>
          </a:ln>
        </p:spPr>
        <p:txBody>
          <a:bodyPr lIns="27000" tIns="27000" rIns="27000" bIns="27000" anchor="ctr" anchorCtr="1"/>
          <a:lstStyle/>
          <a:p>
            <a:pPr algn="ctr" defTabSz="685800">
              <a:lnSpc>
                <a:spcPct val="106000"/>
              </a:lnSpc>
              <a:spcBef>
                <a:spcPct val="80000"/>
              </a:spcBef>
              <a:buClr>
                <a:prstClr val="white"/>
              </a:buClr>
            </a:pPr>
            <a:r>
              <a:rPr lang="en-US" altLang="ja-JP" sz="1050" kern="1200">
                <a:solidFill>
                  <a:srgbClr val="313131"/>
                </a:solidFill>
                <a:ea typeface="ＭＳ Ｐゴシック" pitchFamily="50" charset="-128"/>
                <a:cs typeface="+mn-cs"/>
              </a:rPr>
              <a:t>Text</a:t>
            </a:r>
          </a:p>
        </p:txBody>
      </p:sp>
      <p:sp>
        <p:nvSpPr>
          <p:cNvPr id="59" name="Oval 58"/>
          <p:cNvSpPr>
            <a:spLocks noChangeArrowheads="1"/>
          </p:cNvSpPr>
          <p:nvPr/>
        </p:nvSpPr>
        <p:spPr bwMode="auto">
          <a:xfrm>
            <a:off x="3865475" y="2263379"/>
            <a:ext cx="1439466" cy="925115"/>
          </a:xfrm>
          <a:prstGeom prst="ellipse">
            <a:avLst/>
          </a:prstGeom>
          <a:solidFill>
            <a:srgbClr val="81BC00"/>
          </a:solidFill>
          <a:ln w="12700">
            <a:solidFill>
              <a:schemeClr val="bg1"/>
            </a:solidFill>
            <a:round/>
            <a:headEnd/>
            <a:tailEnd/>
          </a:ln>
        </p:spPr>
        <p:txBody>
          <a:bodyPr lIns="27000" tIns="27000" rIns="27000" bIns="27000" anchor="ctr" anchorCtr="1"/>
          <a:lstStyle/>
          <a:p>
            <a:pPr algn="ctr" defTabSz="685800">
              <a:lnSpc>
                <a:spcPct val="106000"/>
              </a:lnSpc>
              <a:spcBef>
                <a:spcPct val="80000"/>
              </a:spcBef>
              <a:buClr>
                <a:prstClr val="white"/>
              </a:buClr>
              <a:defRPr/>
            </a:pPr>
            <a:r>
              <a:rPr lang="en-US" altLang="ja-JP" sz="1050" kern="1200" dirty="0">
                <a:solidFill>
                  <a:prstClr val="white"/>
                </a:solidFill>
                <a:ea typeface="ＭＳ Ｐゴシック" pitchFamily="50" charset="-128"/>
                <a:cs typeface="+mn-cs"/>
              </a:rPr>
              <a:t>Text</a:t>
            </a:r>
          </a:p>
        </p:txBody>
      </p:sp>
      <p:sp>
        <p:nvSpPr>
          <p:cNvPr id="60" name="Oval 59"/>
          <p:cNvSpPr>
            <a:spLocks noChangeArrowheads="1"/>
          </p:cNvSpPr>
          <p:nvPr/>
        </p:nvSpPr>
        <p:spPr bwMode="auto">
          <a:xfrm>
            <a:off x="3960131" y="1437085"/>
            <a:ext cx="1250156" cy="575072"/>
          </a:xfrm>
          <a:prstGeom prst="ellipse">
            <a:avLst/>
          </a:prstGeom>
          <a:solidFill>
            <a:srgbClr val="B4B4B4"/>
          </a:solidFill>
          <a:ln w="12700" algn="ctr">
            <a:solidFill>
              <a:schemeClr val="bg1"/>
            </a:solidFill>
            <a:round/>
            <a:headEnd/>
            <a:tailEnd/>
          </a:ln>
        </p:spPr>
        <p:txBody>
          <a:bodyPr lIns="27000" tIns="27000" rIns="27000" bIns="27000" anchor="ctr" anchorCtr="1"/>
          <a:lstStyle/>
          <a:p>
            <a:pPr algn="ctr" defTabSz="685800">
              <a:lnSpc>
                <a:spcPct val="106000"/>
              </a:lnSpc>
              <a:spcBef>
                <a:spcPct val="80000"/>
              </a:spcBef>
              <a:buClr>
                <a:prstClr val="white"/>
              </a:buClr>
            </a:pPr>
            <a:r>
              <a:rPr lang="en-US" altLang="ja-JP" sz="1050" kern="1200">
                <a:solidFill>
                  <a:srgbClr val="313131"/>
                </a:solidFill>
                <a:ea typeface="ＭＳ Ｐゴシック" pitchFamily="50" charset="-128"/>
                <a:cs typeface="+mn-cs"/>
              </a:rPr>
              <a:t>Text</a:t>
            </a:r>
          </a:p>
        </p:txBody>
      </p:sp>
      <p:sp>
        <p:nvSpPr>
          <p:cNvPr id="61" name="Oval 60"/>
          <p:cNvSpPr>
            <a:spLocks noChangeArrowheads="1"/>
          </p:cNvSpPr>
          <p:nvPr/>
        </p:nvSpPr>
        <p:spPr bwMode="auto">
          <a:xfrm>
            <a:off x="5310895" y="2010966"/>
            <a:ext cx="1250156" cy="576263"/>
          </a:xfrm>
          <a:prstGeom prst="ellipse">
            <a:avLst/>
          </a:prstGeom>
          <a:solidFill>
            <a:srgbClr val="B4B4B4"/>
          </a:solidFill>
          <a:ln w="12700" algn="ctr">
            <a:solidFill>
              <a:schemeClr val="bg1"/>
            </a:solidFill>
            <a:round/>
            <a:headEnd/>
            <a:tailEnd/>
          </a:ln>
        </p:spPr>
        <p:txBody>
          <a:bodyPr lIns="27000" tIns="27000" rIns="27000" bIns="27000" anchor="ctr" anchorCtr="1"/>
          <a:lstStyle/>
          <a:p>
            <a:pPr algn="ctr" defTabSz="685800">
              <a:lnSpc>
                <a:spcPct val="106000"/>
              </a:lnSpc>
              <a:spcBef>
                <a:spcPct val="80000"/>
              </a:spcBef>
              <a:buClr>
                <a:prstClr val="white"/>
              </a:buClr>
            </a:pPr>
            <a:r>
              <a:rPr lang="en-US" altLang="ja-JP" sz="1050" kern="1200">
                <a:solidFill>
                  <a:srgbClr val="313131"/>
                </a:solidFill>
                <a:ea typeface="ＭＳ Ｐゴシック" pitchFamily="50" charset="-128"/>
                <a:cs typeface="+mn-cs"/>
              </a:rPr>
              <a:t>Text</a:t>
            </a:r>
          </a:p>
        </p:txBody>
      </p:sp>
      <p:sp>
        <p:nvSpPr>
          <p:cNvPr id="62" name="Oval 61"/>
          <p:cNvSpPr>
            <a:spLocks noChangeArrowheads="1"/>
          </p:cNvSpPr>
          <p:nvPr/>
        </p:nvSpPr>
        <p:spPr bwMode="auto">
          <a:xfrm>
            <a:off x="2589126" y="2010966"/>
            <a:ext cx="1250156" cy="576263"/>
          </a:xfrm>
          <a:prstGeom prst="ellipse">
            <a:avLst/>
          </a:prstGeom>
          <a:solidFill>
            <a:srgbClr val="B4B4B4"/>
          </a:solidFill>
          <a:ln w="12700" algn="ctr">
            <a:solidFill>
              <a:schemeClr val="bg1"/>
            </a:solidFill>
            <a:round/>
            <a:headEnd/>
            <a:tailEnd/>
          </a:ln>
        </p:spPr>
        <p:txBody>
          <a:bodyPr lIns="27000" tIns="27000" rIns="27000" bIns="27000" anchor="ctr" anchorCtr="1"/>
          <a:lstStyle/>
          <a:p>
            <a:pPr algn="ctr" defTabSz="685800">
              <a:lnSpc>
                <a:spcPct val="106000"/>
              </a:lnSpc>
              <a:spcBef>
                <a:spcPct val="80000"/>
              </a:spcBef>
              <a:buClr>
                <a:prstClr val="white"/>
              </a:buClr>
            </a:pPr>
            <a:r>
              <a:rPr lang="en-US" altLang="ja-JP" sz="1050" kern="1200">
                <a:solidFill>
                  <a:srgbClr val="313131"/>
                </a:solidFill>
                <a:ea typeface="ＭＳ Ｐゴシック" pitchFamily="50" charset="-128"/>
                <a:cs typeface="+mn-cs"/>
              </a:rPr>
              <a:t>Text</a:t>
            </a:r>
          </a:p>
        </p:txBody>
      </p:sp>
      <p:sp>
        <p:nvSpPr>
          <p:cNvPr id="63" name="Oval 62"/>
          <p:cNvSpPr>
            <a:spLocks noChangeArrowheads="1"/>
          </p:cNvSpPr>
          <p:nvPr/>
        </p:nvSpPr>
        <p:spPr bwMode="auto">
          <a:xfrm>
            <a:off x="2589126" y="2857501"/>
            <a:ext cx="1250156" cy="575072"/>
          </a:xfrm>
          <a:prstGeom prst="ellipse">
            <a:avLst/>
          </a:prstGeom>
          <a:solidFill>
            <a:srgbClr val="B4B4B4"/>
          </a:solidFill>
          <a:ln w="12700" algn="ctr">
            <a:solidFill>
              <a:schemeClr val="bg1"/>
            </a:solidFill>
            <a:round/>
            <a:headEnd/>
            <a:tailEnd/>
          </a:ln>
        </p:spPr>
        <p:txBody>
          <a:bodyPr lIns="27000" tIns="27000" rIns="27000" bIns="27000" anchor="ctr" anchorCtr="1"/>
          <a:lstStyle/>
          <a:p>
            <a:pPr algn="ctr" defTabSz="685800">
              <a:lnSpc>
                <a:spcPct val="106000"/>
              </a:lnSpc>
              <a:spcBef>
                <a:spcPct val="80000"/>
              </a:spcBef>
              <a:buClr>
                <a:prstClr val="white"/>
              </a:buClr>
            </a:pPr>
            <a:r>
              <a:rPr lang="en-US" altLang="ja-JP" sz="1050" kern="1200">
                <a:solidFill>
                  <a:srgbClr val="313131"/>
                </a:solidFill>
                <a:ea typeface="ＭＳ Ｐゴシック" pitchFamily="50" charset="-128"/>
                <a:cs typeface="+mn-cs"/>
              </a:rPr>
              <a:t>Text</a:t>
            </a:r>
          </a:p>
        </p:txBody>
      </p:sp>
      <p:cxnSp>
        <p:nvCxnSpPr>
          <p:cNvPr id="64" name="AutoShape 13"/>
          <p:cNvCxnSpPr>
            <a:cxnSpLocks noChangeShapeType="1"/>
            <a:stCxn id="59" idx="0"/>
            <a:endCxn id="60" idx="4"/>
          </p:cNvCxnSpPr>
          <p:nvPr/>
        </p:nvCxnSpPr>
        <p:spPr bwMode="auto">
          <a:xfrm rot="5400000" flipH="1" flipV="1">
            <a:off x="4459598" y="2137768"/>
            <a:ext cx="251222" cy="1"/>
          </a:xfrm>
          <a:prstGeom prst="straightConnector1">
            <a:avLst/>
          </a:prstGeom>
          <a:noFill/>
          <a:ln w="19050">
            <a:solidFill>
              <a:srgbClr val="8C8C8C"/>
            </a:solidFill>
            <a:round/>
            <a:headEnd type="triangle" w="med" len="med"/>
            <a:tailEnd type="triangle" w="med" len="med"/>
          </a:ln>
        </p:spPr>
      </p:cxnSp>
      <p:cxnSp>
        <p:nvCxnSpPr>
          <p:cNvPr id="65" name="AutoShape 14"/>
          <p:cNvCxnSpPr>
            <a:cxnSpLocks noChangeShapeType="1"/>
            <a:stCxn id="58" idx="2"/>
            <a:endCxn id="57" idx="6"/>
          </p:cNvCxnSpPr>
          <p:nvPr/>
        </p:nvCxnSpPr>
        <p:spPr bwMode="auto">
          <a:xfrm flipH="1">
            <a:off x="4446501" y="3850481"/>
            <a:ext cx="259556" cy="0"/>
          </a:xfrm>
          <a:prstGeom prst="straightConnector1">
            <a:avLst/>
          </a:prstGeom>
          <a:noFill/>
          <a:ln w="19050">
            <a:solidFill>
              <a:srgbClr val="8C8C8C"/>
            </a:solidFill>
            <a:round/>
            <a:headEnd type="triangle" w="med" len="med"/>
            <a:tailEnd type="triangle" w="med" len="med"/>
          </a:ln>
        </p:spPr>
      </p:cxnSp>
      <p:cxnSp>
        <p:nvCxnSpPr>
          <p:cNvPr id="66" name="AutoShape 15"/>
          <p:cNvCxnSpPr>
            <a:cxnSpLocks noChangeShapeType="1"/>
            <a:stCxn id="60" idx="6"/>
            <a:endCxn id="61" idx="0"/>
          </p:cNvCxnSpPr>
          <p:nvPr/>
        </p:nvCxnSpPr>
        <p:spPr bwMode="auto">
          <a:xfrm>
            <a:off x="5210287" y="1724620"/>
            <a:ext cx="725686" cy="286346"/>
          </a:xfrm>
          <a:prstGeom prst="straightConnector1">
            <a:avLst/>
          </a:prstGeom>
          <a:noFill/>
          <a:ln w="19050">
            <a:solidFill>
              <a:srgbClr val="8C8C8C"/>
            </a:solidFill>
            <a:round/>
            <a:headEnd type="triangle" w="med" len="med"/>
            <a:tailEnd type="triangle" w="med" len="med"/>
          </a:ln>
        </p:spPr>
      </p:cxnSp>
      <p:cxnSp>
        <p:nvCxnSpPr>
          <p:cNvPr id="67" name="AutoShape 16"/>
          <p:cNvCxnSpPr>
            <a:cxnSpLocks noChangeShapeType="1"/>
            <a:stCxn id="61" idx="4"/>
            <a:endCxn id="54" idx="0"/>
          </p:cNvCxnSpPr>
          <p:nvPr/>
        </p:nvCxnSpPr>
        <p:spPr bwMode="auto">
          <a:xfrm>
            <a:off x="5935973" y="2587228"/>
            <a:ext cx="0" cy="270272"/>
          </a:xfrm>
          <a:prstGeom prst="straightConnector1">
            <a:avLst/>
          </a:prstGeom>
          <a:noFill/>
          <a:ln w="19050">
            <a:solidFill>
              <a:srgbClr val="8C8C8C"/>
            </a:solidFill>
            <a:round/>
            <a:headEnd type="triangle" w="med" len="med"/>
            <a:tailEnd type="triangle" w="med" len="med"/>
          </a:ln>
        </p:spPr>
      </p:cxnSp>
      <p:cxnSp>
        <p:nvCxnSpPr>
          <p:cNvPr id="68" name="AutoShape 17"/>
          <p:cNvCxnSpPr>
            <a:cxnSpLocks noChangeShapeType="1"/>
            <a:stCxn id="54" idx="4"/>
            <a:endCxn id="58" idx="7"/>
          </p:cNvCxnSpPr>
          <p:nvPr/>
        </p:nvCxnSpPr>
        <p:spPr bwMode="auto">
          <a:xfrm flipH="1">
            <a:off x="5774148" y="3432573"/>
            <a:ext cx="161825" cy="213995"/>
          </a:xfrm>
          <a:prstGeom prst="straightConnector1">
            <a:avLst/>
          </a:prstGeom>
          <a:noFill/>
          <a:ln w="19050">
            <a:solidFill>
              <a:srgbClr val="8C8C8C"/>
            </a:solidFill>
            <a:round/>
            <a:headEnd type="triangle" w="med" len="med"/>
            <a:tailEnd type="triangle" w="med" len="med"/>
          </a:ln>
        </p:spPr>
      </p:cxnSp>
      <p:cxnSp>
        <p:nvCxnSpPr>
          <p:cNvPr id="69" name="AutoShape 18"/>
          <p:cNvCxnSpPr>
            <a:cxnSpLocks noChangeShapeType="1"/>
            <a:stCxn id="57" idx="1"/>
            <a:endCxn id="63" idx="4"/>
          </p:cNvCxnSpPr>
          <p:nvPr/>
        </p:nvCxnSpPr>
        <p:spPr bwMode="auto">
          <a:xfrm flipH="1" flipV="1">
            <a:off x="3214204" y="3432572"/>
            <a:ext cx="165497" cy="214313"/>
          </a:xfrm>
          <a:prstGeom prst="straightConnector1">
            <a:avLst/>
          </a:prstGeom>
          <a:noFill/>
          <a:ln w="19050">
            <a:solidFill>
              <a:srgbClr val="8C8C8C"/>
            </a:solidFill>
            <a:round/>
            <a:headEnd type="triangle" w="med" len="med"/>
            <a:tailEnd type="triangle" w="med" len="med"/>
          </a:ln>
        </p:spPr>
      </p:cxnSp>
      <p:cxnSp>
        <p:nvCxnSpPr>
          <p:cNvPr id="70" name="AutoShape 19"/>
          <p:cNvCxnSpPr>
            <a:cxnSpLocks noChangeShapeType="1"/>
            <a:stCxn id="62" idx="4"/>
            <a:endCxn id="63" idx="0"/>
          </p:cNvCxnSpPr>
          <p:nvPr/>
        </p:nvCxnSpPr>
        <p:spPr bwMode="auto">
          <a:xfrm rot="5400000">
            <a:off x="3079068" y="2722364"/>
            <a:ext cx="270272" cy="1191"/>
          </a:xfrm>
          <a:prstGeom prst="straightConnector1">
            <a:avLst/>
          </a:prstGeom>
          <a:noFill/>
          <a:ln w="19050">
            <a:solidFill>
              <a:srgbClr val="8C8C8C"/>
            </a:solidFill>
            <a:round/>
            <a:headEnd type="triangle" w="med" len="med"/>
            <a:tailEnd type="triangle" w="med" len="med"/>
          </a:ln>
        </p:spPr>
      </p:cxnSp>
      <p:cxnSp>
        <p:nvCxnSpPr>
          <p:cNvPr id="71" name="AutoShape 20"/>
          <p:cNvCxnSpPr>
            <a:cxnSpLocks noChangeShapeType="1"/>
            <a:stCxn id="62" idx="0"/>
            <a:endCxn id="60" idx="2"/>
          </p:cNvCxnSpPr>
          <p:nvPr/>
        </p:nvCxnSpPr>
        <p:spPr bwMode="auto">
          <a:xfrm rot="5400000" flipH="1" flipV="1">
            <a:off x="3443994" y="1494831"/>
            <a:ext cx="286346" cy="745927"/>
          </a:xfrm>
          <a:prstGeom prst="straightConnector1">
            <a:avLst/>
          </a:prstGeom>
          <a:noFill/>
          <a:ln w="19050">
            <a:solidFill>
              <a:srgbClr val="8C8C8C"/>
            </a:solidFill>
            <a:round/>
            <a:headEnd type="triangle" w="med" len="med"/>
            <a:tailEnd type="triangle" w="med" len="med"/>
          </a:ln>
        </p:spPr>
      </p:cxnSp>
      <p:cxnSp>
        <p:nvCxnSpPr>
          <p:cNvPr id="72" name="AutoShape 21"/>
          <p:cNvCxnSpPr>
            <a:cxnSpLocks noChangeShapeType="1"/>
            <a:stCxn id="59" idx="3"/>
            <a:endCxn id="63" idx="6"/>
          </p:cNvCxnSpPr>
          <p:nvPr/>
        </p:nvCxnSpPr>
        <p:spPr bwMode="auto">
          <a:xfrm rot="5400000">
            <a:off x="3911770" y="2980525"/>
            <a:ext cx="92023" cy="236999"/>
          </a:xfrm>
          <a:prstGeom prst="straightConnector1">
            <a:avLst/>
          </a:prstGeom>
          <a:noFill/>
          <a:ln w="19050">
            <a:solidFill>
              <a:srgbClr val="8C8C8C"/>
            </a:solidFill>
            <a:round/>
            <a:headEnd type="triangle" w="med" len="med"/>
            <a:tailEnd type="triangle" w="med" len="med"/>
          </a:ln>
        </p:spPr>
      </p:cxnSp>
      <p:cxnSp>
        <p:nvCxnSpPr>
          <p:cNvPr id="73" name="AutoShape 22"/>
          <p:cNvCxnSpPr>
            <a:cxnSpLocks noChangeShapeType="1"/>
            <a:stCxn id="59" idx="5"/>
            <a:endCxn id="54" idx="2"/>
          </p:cNvCxnSpPr>
          <p:nvPr/>
        </p:nvCxnSpPr>
        <p:spPr bwMode="auto">
          <a:xfrm rot="16200000" flipH="1">
            <a:off x="5156505" y="2990646"/>
            <a:ext cx="92023" cy="216758"/>
          </a:xfrm>
          <a:prstGeom prst="straightConnector1">
            <a:avLst/>
          </a:prstGeom>
          <a:noFill/>
          <a:ln w="19050">
            <a:solidFill>
              <a:srgbClr val="8C8C8C"/>
            </a:solidFill>
            <a:round/>
            <a:headEnd type="triangle" w="med" len="med"/>
            <a:tailEnd type="triangle" w="med" len="med"/>
          </a:ln>
        </p:spPr>
      </p:cxnSp>
      <p:cxnSp>
        <p:nvCxnSpPr>
          <p:cNvPr id="74" name="AutoShape 23"/>
          <p:cNvCxnSpPr>
            <a:cxnSpLocks noChangeShapeType="1"/>
            <a:stCxn id="59" idx="7"/>
            <a:endCxn id="61" idx="2"/>
          </p:cNvCxnSpPr>
          <p:nvPr/>
        </p:nvCxnSpPr>
        <p:spPr bwMode="auto">
          <a:xfrm rot="5400000" flipH="1" flipV="1">
            <a:off x="5152636" y="2240599"/>
            <a:ext cx="99761" cy="216758"/>
          </a:xfrm>
          <a:prstGeom prst="straightConnector1">
            <a:avLst/>
          </a:prstGeom>
          <a:noFill/>
          <a:ln w="19050">
            <a:solidFill>
              <a:srgbClr val="8C8C8C"/>
            </a:solidFill>
            <a:round/>
            <a:headEnd type="triangle" w="med" len="med"/>
            <a:tailEnd type="triangle" w="med" len="med"/>
          </a:ln>
        </p:spPr>
      </p:cxnSp>
      <p:cxnSp>
        <p:nvCxnSpPr>
          <p:cNvPr id="75" name="AutoShape 24"/>
          <p:cNvCxnSpPr>
            <a:cxnSpLocks noChangeShapeType="1"/>
            <a:stCxn id="62" idx="6"/>
            <a:endCxn id="59" idx="1"/>
          </p:cNvCxnSpPr>
          <p:nvPr/>
        </p:nvCxnSpPr>
        <p:spPr bwMode="auto">
          <a:xfrm>
            <a:off x="3839281" y="2299098"/>
            <a:ext cx="236999" cy="99761"/>
          </a:xfrm>
          <a:prstGeom prst="straightConnector1">
            <a:avLst/>
          </a:prstGeom>
          <a:noFill/>
          <a:ln w="19050">
            <a:solidFill>
              <a:srgbClr val="8C8C8C"/>
            </a:solidFill>
            <a:round/>
            <a:headEnd type="triangle" w="med" len="med"/>
            <a:tailEnd type="triangle" w="med" len="med"/>
          </a:ln>
        </p:spPr>
      </p:cxnSp>
      <p:cxnSp>
        <p:nvCxnSpPr>
          <p:cNvPr id="76" name="AutoShape 25"/>
          <p:cNvCxnSpPr>
            <a:cxnSpLocks noChangeShapeType="1"/>
            <a:stCxn id="57" idx="7"/>
            <a:endCxn id="59" idx="4"/>
          </p:cNvCxnSpPr>
          <p:nvPr/>
        </p:nvCxnSpPr>
        <p:spPr bwMode="auto">
          <a:xfrm rot="5400000" flipH="1" flipV="1">
            <a:off x="4195278" y="3256637"/>
            <a:ext cx="458074" cy="321789"/>
          </a:xfrm>
          <a:prstGeom prst="straightConnector1">
            <a:avLst/>
          </a:prstGeom>
          <a:noFill/>
          <a:ln w="19050">
            <a:solidFill>
              <a:srgbClr val="8C8C8C"/>
            </a:solidFill>
            <a:round/>
            <a:headEnd type="triangle" w="med" len="med"/>
            <a:tailEnd type="triangle" w="med" len="med"/>
          </a:ln>
        </p:spPr>
      </p:cxnSp>
      <p:cxnSp>
        <p:nvCxnSpPr>
          <p:cNvPr id="77" name="AutoShape 26"/>
          <p:cNvCxnSpPr>
            <a:cxnSpLocks noChangeShapeType="1"/>
            <a:stCxn id="58" idx="1"/>
            <a:endCxn id="59" idx="4"/>
          </p:cNvCxnSpPr>
          <p:nvPr/>
        </p:nvCxnSpPr>
        <p:spPr bwMode="auto">
          <a:xfrm rot="16200000" flipV="1">
            <a:off x="4508224" y="3265479"/>
            <a:ext cx="458074" cy="304104"/>
          </a:xfrm>
          <a:prstGeom prst="straightConnector1">
            <a:avLst/>
          </a:prstGeom>
          <a:noFill/>
          <a:ln w="19050">
            <a:solidFill>
              <a:srgbClr val="8C8C8C"/>
            </a:solidFill>
            <a:round/>
            <a:headEnd type="triangle" w="med" len="med"/>
            <a:tailEnd type="triangle" w="med" len="med"/>
          </a:ln>
        </p:spPr>
      </p:cxnSp>
    </p:spTree>
  </p:cSld>
  <p:clrMapOvr>
    <a:masterClrMapping/>
  </p:clrMapOvr>
  <p:transition>
    <p:fade/>
  </p:transition>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2273" name="Title 1"/>
          <p:cNvSpPr>
            <a:spLocks noGrp="1"/>
          </p:cNvSpPr>
          <p:nvPr>
            <p:ph type="title"/>
          </p:nvPr>
        </p:nvSpPr>
        <p:spPr/>
        <p:txBody>
          <a:bodyPr/>
          <a:lstStyle/>
          <a:p>
            <a:r>
              <a:rPr lang="en-US"/>
              <a:t>Leverage</a:t>
            </a:r>
          </a:p>
        </p:txBody>
      </p:sp>
      <p:sp>
        <p:nvSpPr>
          <p:cNvPr id="10" name="Freeform 3"/>
          <p:cNvSpPr>
            <a:spLocks/>
          </p:cNvSpPr>
          <p:nvPr/>
        </p:nvSpPr>
        <p:spPr bwMode="blackWhite">
          <a:xfrm>
            <a:off x="4268392" y="3576637"/>
            <a:ext cx="421481" cy="329804"/>
          </a:xfrm>
          <a:custGeom>
            <a:avLst/>
            <a:gdLst>
              <a:gd name="T0" fmla="*/ 0 w 321"/>
              <a:gd name="T1" fmla="*/ 2147483647 h 241"/>
              <a:gd name="T2" fmla="*/ 2147483647 w 321"/>
              <a:gd name="T3" fmla="*/ 2147483647 h 241"/>
              <a:gd name="T4" fmla="*/ 2147483647 w 321"/>
              <a:gd name="T5" fmla="*/ 0 h 241"/>
              <a:gd name="T6" fmla="*/ 0 w 321"/>
              <a:gd name="T7" fmla="*/ 2147483647 h 241"/>
              <a:gd name="T8" fmla="*/ 0 60000 65536"/>
              <a:gd name="T9" fmla="*/ 0 60000 65536"/>
              <a:gd name="T10" fmla="*/ 0 60000 65536"/>
              <a:gd name="T11" fmla="*/ 0 60000 65536"/>
              <a:gd name="T12" fmla="*/ 0 w 321"/>
              <a:gd name="T13" fmla="*/ 0 h 241"/>
              <a:gd name="T14" fmla="*/ 321 w 321"/>
              <a:gd name="T15" fmla="*/ 241 h 241"/>
            </a:gdLst>
            <a:ahLst/>
            <a:cxnLst>
              <a:cxn ang="T8">
                <a:pos x="T0" y="T1"/>
              </a:cxn>
              <a:cxn ang="T9">
                <a:pos x="T2" y="T3"/>
              </a:cxn>
              <a:cxn ang="T10">
                <a:pos x="T4" y="T5"/>
              </a:cxn>
              <a:cxn ang="T11">
                <a:pos x="T6" y="T7"/>
              </a:cxn>
            </a:cxnLst>
            <a:rect l="T12" t="T13" r="T14" b="T15"/>
            <a:pathLst>
              <a:path w="321" h="241">
                <a:moveTo>
                  <a:pt x="0" y="240"/>
                </a:moveTo>
                <a:lnTo>
                  <a:pt x="320" y="240"/>
                </a:lnTo>
                <a:lnTo>
                  <a:pt x="160" y="0"/>
                </a:lnTo>
                <a:lnTo>
                  <a:pt x="0" y="240"/>
                </a:lnTo>
              </a:path>
            </a:pathLst>
          </a:custGeom>
          <a:solidFill>
            <a:srgbClr val="B4B4B4"/>
          </a:solidFill>
          <a:ln w="12700" cap="rnd">
            <a:solidFill>
              <a:schemeClr val="bg1"/>
            </a:solidFill>
            <a:round/>
            <a:headEnd/>
            <a:tailEnd/>
          </a:ln>
        </p:spPr>
        <p:txBody>
          <a:bodyPr lIns="27000" tIns="27000" rIns="27000" bIns="27000"/>
          <a:lstStyle/>
          <a:p>
            <a:pPr defTabSz="685800">
              <a:buClrTx/>
              <a:defRPr/>
            </a:pPr>
            <a:endParaRPr lang="en-US" sz="1350" kern="1200" dirty="0">
              <a:solidFill>
                <a:prstClr val="black"/>
              </a:solidFill>
              <a:ea typeface="+mn-ea"/>
              <a:cs typeface="+mn-cs"/>
            </a:endParaRPr>
          </a:p>
        </p:txBody>
      </p:sp>
      <p:sp>
        <p:nvSpPr>
          <p:cNvPr id="11" name="Freeform 4"/>
          <p:cNvSpPr>
            <a:spLocks/>
          </p:cNvSpPr>
          <p:nvPr/>
        </p:nvSpPr>
        <p:spPr bwMode="blackWhite">
          <a:xfrm>
            <a:off x="2730104" y="2982516"/>
            <a:ext cx="3402806" cy="969169"/>
          </a:xfrm>
          <a:custGeom>
            <a:avLst/>
            <a:gdLst>
              <a:gd name="T0" fmla="*/ 2147483647 w 2599"/>
              <a:gd name="T1" fmla="*/ 0 h 704"/>
              <a:gd name="T2" fmla="*/ 0 w 2599"/>
              <a:gd name="T3" fmla="*/ 2147483647 h 704"/>
              <a:gd name="T4" fmla="*/ 2147483647 w 2599"/>
              <a:gd name="T5" fmla="*/ 2147483647 h 704"/>
              <a:gd name="T6" fmla="*/ 2147483647 w 2599"/>
              <a:gd name="T7" fmla="*/ 2147483647 h 704"/>
              <a:gd name="T8" fmla="*/ 2147483647 w 2599"/>
              <a:gd name="T9" fmla="*/ 0 h 704"/>
              <a:gd name="T10" fmla="*/ 0 60000 65536"/>
              <a:gd name="T11" fmla="*/ 0 60000 65536"/>
              <a:gd name="T12" fmla="*/ 0 60000 65536"/>
              <a:gd name="T13" fmla="*/ 0 60000 65536"/>
              <a:gd name="T14" fmla="*/ 0 60000 65536"/>
              <a:gd name="T15" fmla="*/ 0 w 2599"/>
              <a:gd name="T16" fmla="*/ 0 h 704"/>
              <a:gd name="T17" fmla="*/ 2599 w 2599"/>
              <a:gd name="T18" fmla="*/ 704 h 704"/>
            </a:gdLst>
            <a:ahLst/>
            <a:cxnLst>
              <a:cxn ang="T10">
                <a:pos x="T0" y="T1"/>
              </a:cxn>
              <a:cxn ang="T11">
                <a:pos x="T2" y="T3"/>
              </a:cxn>
              <a:cxn ang="T12">
                <a:pos x="T4" y="T5"/>
              </a:cxn>
              <a:cxn ang="T13">
                <a:pos x="T6" y="T7"/>
              </a:cxn>
              <a:cxn ang="T14">
                <a:pos x="T8" y="T9"/>
              </a:cxn>
            </a:cxnLst>
            <a:rect l="T15" t="T16" r="T17" b="T18"/>
            <a:pathLst>
              <a:path w="2599" h="704">
                <a:moveTo>
                  <a:pt x="16" y="0"/>
                </a:moveTo>
                <a:lnTo>
                  <a:pt x="0" y="72"/>
                </a:lnTo>
                <a:lnTo>
                  <a:pt x="2582" y="703"/>
                </a:lnTo>
                <a:lnTo>
                  <a:pt x="2598" y="631"/>
                </a:lnTo>
                <a:lnTo>
                  <a:pt x="16" y="0"/>
                </a:lnTo>
              </a:path>
            </a:pathLst>
          </a:custGeom>
          <a:solidFill>
            <a:srgbClr val="B4B4B4"/>
          </a:solidFill>
          <a:ln w="12700" cap="rnd">
            <a:solidFill>
              <a:schemeClr val="bg1"/>
            </a:solidFill>
            <a:round/>
            <a:headEnd/>
            <a:tailEnd/>
          </a:ln>
        </p:spPr>
        <p:txBody>
          <a:bodyPr lIns="27000" tIns="27000" rIns="27000" bIns="27000"/>
          <a:lstStyle/>
          <a:p>
            <a:pPr defTabSz="685800">
              <a:buClrTx/>
              <a:defRPr/>
            </a:pPr>
            <a:endParaRPr lang="en-US" sz="1350" kern="1200" dirty="0">
              <a:solidFill>
                <a:prstClr val="black"/>
              </a:solidFill>
              <a:ea typeface="+mn-ea"/>
              <a:cs typeface="+mn-cs"/>
            </a:endParaRPr>
          </a:p>
        </p:txBody>
      </p:sp>
      <p:sp>
        <p:nvSpPr>
          <p:cNvPr id="822277" name="Oval 5"/>
          <p:cNvSpPr>
            <a:spLocks noChangeArrowheads="1"/>
          </p:cNvSpPr>
          <p:nvPr/>
        </p:nvSpPr>
        <p:spPr bwMode="blackWhite">
          <a:xfrm>
            <a:off x="5493782" y="2819639"/>
            <a:ext cx="918000" cy="918000"/>
          </a:xfrm>
          <a:prstGeom prst="ellipse">
            <a:avLst/>
          </a:prstGeom>
          <a:solidFill>
            <a:srgbClr val="00A1DE"/>
          </a:solidFill>
          <a:ln w="12700">
            <a:solidFill>
              <a:schemeClr val="bg1"/>
            </a:solidFill>
            <a:round/>
            <a:headEnd/>
            <a:tailEnd/>
          </a:ln>
        </p:spPr>
        <p:txBody>
          <a:bodyPr wrap="none" lIns="27000" tIns="27000" rIns="27000" bIns="27000" anchor="ctr"/>
          <a:lstStyle/>
          <a:p>
            <a:pPr algn="ctr" defTabSz="685800">
              <a:buClrTx/>
            </a:pPr>
            <a:r>
              <a:rPr lang="en-US" sz="1050" kern="1200">
                <a:solidFill>
                  <a:prstClr val="white"/>
                </a:solidFill>
                <a:ea typeface="+mn-ea"/>
                <a:cs typeface="+mn-cs"/>
              </a:rPr>
              <a:t>Text</a:t>
            </a:r>
          </a:p>
        </p:txBody>
      </p:sp>
      <p:sp>
        <p:nvSpPr>
          <p:cNvPr id="13" name="Arc 6"/>
          <p:cNvSpPr>
            <a:spLocks/>
          </p:cNvSpPr>
          <p:nvPr/>
        </p:nvSpPr>
        <p:spPr bwMode="blackWhite">
          <a:xfrm>
            <a:off x="2819400" y="1933575"/>
            <a:ext cx="1087041" cy="1485900"/>
          </a:xfrm>
          <a:custGeom>
            <a:avLst/>
            <a:gdLst>
              <a:gd name="T0" fmla="*/ 0 w 20759"/>
              <a:gd name="T1" fmla="*/ 2147483647 h 20020"/>
              <a:gd name="T2" fmla="*/ 2147483647 w 20759"/>
              <a:gd name="T3" fmla="*/ 0 h 20020"/>
              <a:gd name="T4" fmla="*/ 2147483647 w 20759"/>
              <a:gd name="T5" fmla="*/ 2147483647 h 20020"/>
              <a:gd name="T6" fmla="*/ 0 60000 65536"/>
              <a:gd name="T7" fmla="*/ 0 60000 65536"/>
              <a:gd name="T8" fmla="*/ 0 60000 65536"/>
              <a:gd name="T9" fmla="*/ 0 w 20759"/>
              <a:gd name="T10" fmla="*/ 0 h 20020"/>
              <a:gd name="T11" fmla="*/ 20759 w 20759"/>
              <a:gd name="T12" fmla="*/ 20020 h 20020"/>
            </a:gdLst>
            <a:ahLst/>
            <a:cxnLst>
              <a:cxn ang="T6">
                <a:pos x="T0" y="T1"/>
              </a:cxn>
              <a:cxn ang="T7">
                <a:pos x="T2" y="T3"/>
              </a:cxn>
              <a:cxn ang="T8">
                <a:pos x="T4" y="T5"/>
              </a:cxn>
            </a:cxnLst>
            <a:rect l="T9" t="T10" r="T11" b="T12"/>
            <a:pathLst>
              <a:path w="20759" h="20020" fill="none" extrusionOk="0">
                <a:moveTo>
                  <a:pt x="0" y="14051"/>
                </a:moveTo>
                <a:cubicBezTo>
                  <a:pt x="1834" y="7672"/>
                  <a:pt x="6499" y="2491"/>
                  <a:pt x="12650" y="-1"/>
                </a:cubicBezTo>
              </a:path>
              <a:path w="20759" h="20020" stroke="0" extrusionOk="0">
                <a:moveTo>
                  <a:pt x="0" y="14051"/>
                </a:moveTo>
                <a:cubicBezTo>
                  <a:pt x="1834" y="7672"/>
                  <a:pt x="6499" y="2491"/>
                  <a:pt x="12650" y="-1"/>
                </a:cubicBezTo>
                <a:lnTo>
                  <a:pt x="20759" y="20020"/>
                </a:lnTo>
                <a:close/>
              </a:path>
            </a:pathLst>
          </a:custGeom>
          <a:noFill/>
          <a:ln w="28575" cap="rnd">
            <a:solidFill>
              <a:srgbClr val="8C8C8C"/>
            </a:solidFill>
            <a:prstDash val="sysDot"/>
            <a:round/>
            <a:headEnd type="none" w="sm" len="sm"/>
            <a:tailEnd type="none" w="sm" len="sm"/>
          </a:ln>
        </p:spPr>
        <p:txBody>
          <a:bodyPr wrap="none" lIns="27000" tIns="27000" rIns="27000" bIns="27000" anchor="ctr"/>
          <a:lstStyle/>
          <a:p>
            <a:pPr algn="ctr" defTabSz="685800">
              <a:buClrTx/>
              <a:defRPr/>
            </a:pPr>
            <a:endParaRPr lang="en-US" sz="1050" kern="1200" dirty="0">
              <a:solidFill>
                <a:prstClr val="black"/>
              </a:solidFill>
              <a:ea typeface="+mn-ea"/>
              <a:cs typeface="+mn-cs"/>
            </a:endParaRPr>
          </a:p>
        </p:txBody>
      </p:sp>
      <p:sp>
        <p:nvSpPr>
          <p:cNvPr id="822279" name="Oval 7"/>
          <p:cNvSpPr>
            <a:spLocks noChangeArrowheads="1"/>
          </p:cNvSpPr>
          <p:nvPr/>
        </p:nvSpPr>
        <p:spPr bwMode="blackWhite">
          <a:xfrm>
            <a:off x="3467100" y="1732360"/>
            <a:ext cx="253604" cy="266700"/>
          </a:xfrm>
          <a:prstGeom prst="ellipse">
            <a:avLst/>
          </a:prstGeom>
          <a:solidFill>
            <a:srgbClr val="00A1DE"/>
          </a:solidFill>
          <a:ln w="12700">
            <a:solidFill>
              <a:schemeClr val="bg1"/>
            </a:solidFill>
            <a:round/>
            <a:headEnd/>
            <a:tailEnd/>
          </a:ln>
        </p:spPr>
        <p:txBody>
          <a:bodyPr wrap="none" lIns="27000" tIns="27000" rIns="27000" bIns="27000" anchor="ctr"/>
          <a:lstStyle/>
          <a:p>
            <a:pPr algn="ctr" defTabSz="685800">
              <a:buClrTx/>
            </a:pPr>
            <a:endParaRPr lang="en-US" sz="1050" kern="1200">
              <a:solidFill>
                <a:prstClr val="black"/>
              </a:solidFill>
              <a:ea typeface="+mn-ea"/>
              <a:cs typeface="+mn-cs"/>
            </a:endParaRPr>
          </a:p>
        </p:txBody>
      </p:sp>
      <p:sp>
        <p:nvSpPr>
          <p:cNvPr id="822280" name="Rectangle 8"/>
          <p:cNvSpPr>
            <a:spLocks noChangeArrowheads="1"/>
          </p:cNvSpPr>
          <p:nvPr/>
        </p:nvSpPr>
        <p:spPr bwMode="auto">
          <a:xfrm>
            <a:off x="3319462" y="1437085"/>
            <a:ext cx="548879" cy="208031"/>
          </a:xfrm>
          <a:prstGeom prst="rect">
            <a:avLst/>
          </a:prstGeom>
          <a:noFill/>
          <a:ln w="9525">
            <a:noFill/>
            <a:miter lim="800000"/>
            <a:headEnd/>
            <a:tailEnd/>
          </a:ln>
        </p:spPr>
        <p:txBody>
          <a:bodyPr lIns="27000" tIns="27000" rIns="27000" bIns="27000">
            <a:spAutoFit/>
          </a:bodyPr>
          <a:lstStyle/>
          <a:p>
            <a:pPr algn="ctr" defTabSz="590550">
              <a:lnSpc>
                <a:spcPct val="95000"/>
              </a:lnSpc>
              <a:spcBef>
                <a:spcPct val="80000"/>
              </a:spcBef>
              <a:buClr>
                <a:prstClr val="black"/>
              </a:buClr>
            </a:pPr>
            <a:r>
              <a:rPr lang="en-US" sz="1050" kern="1200" dirty="0">
                <a:solidFill>
                  <a:srgbClr val="313131"/>
                </a:solidFill>
                <a:ea typeface="+mn-ea"/>
                <a:cs typeface="+mn-cs"/>
              </a:rPr>
              <a:t>Text</a:t>
            </a:r>
          </a:p>
        </p:txBody>
      </p:sp>
      <p:sp>
        <p:nvSpPr>
          <p:cNvPr id="12"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Tree>
  </p:cSld>
  <p:clrMapOvr>
    <a:masterClrMapping/>
  </p:clrMapOvr>
  <p:transition>
    <p:fade/>
  </p:transition>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143000" y="0"/>
          <a:ext cx="119063" cy="119063"/>
        </p:xfrm>
        <a:graphic>
          <a:graphicData uri="http://schemas.openxmlformats.org/presentationml/2006/ole">
            <mc:AlternateContent xmlns:mc="http://schemas.openxmlformats.org/markup-compatibility/2006">
              <mc:Choice xmlns:v="urn:schemas-microsoft-com:vml" Requires="v">
                <p:oleObj name="think-cell Slide" r:id="rId14" imgW="360" imgH="360" progId="">
                  <p:embed/>
                </p:oleObj>
              </mc:Choice>
              <mc:Fallback>
                <p:oleObj name="think-cell Slide" r:id="rId14" imgW="360" imgH="360" progId="">
                  <p:embed/>
                  <p:pic>
                    <p:nvPicPr>
                      <p:cNvPr id="2" name="Object 1"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43000" y="0"/>
                        <a:ext cx="119063"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6" name="Group 25"/>
          <p:cNvGrpSpPr/>
          <p:nvPr>
            <p:custDataLst>
              <p:tags r:id="rId2"/>
            </p:custDataLst>
          </p:nvPr>
        </p:nvGrpSpPr>
        <p:grpSpPr>
          <a:xfrm>
            <a:off x="1769269" y="1689498"/>
            <a:ext cx="2170815" cy="2374106"/>
            <a:chOff x="393698" y="1376361"/>
            <a:chExt cx="3997326" cy="3165474"/>
          </a:xfrm>
        </p:grpSpPr>
        <p:sp>
          <p:nvSpPr>
            <p:cNvPr id="27" name="Text Box 10"/>
            <p:cNvSpPr txBox="1">
              <a:spLocks noChangeArrowheads="1"/>
            </p:cNvSpPr>
            <p:nvPr>
              <p:custDataLst>
                <p:tags r:id="rId11"/>
              </p:custDataLst>
            </p:nvPr>
          </p:nvSpPr>
          <p:spPr bwMode="auto">
            <a:xfrm>
              <a:off x="393699" y="1376361"/>
              <a:ext cx="3997325" cy="249678"/>
            </a:xfrm>
            <a:prstGeom prst="rect">
              <a:avLst/>
            </a:prstGeom>
            <a:solidFill>
              <a:srgbClr val="00A1DE"/>
            </a:solidFill>
            <a:ln w="12700" algn="ctr">
              <a:solidFill>
                <a:srgbClr val="00A1DE"/>
              </a:solidFill>
              <a:miter lim="800000"/>
              <a:headEnd/>
              <a:tailEnd type="none" w="sm" len="med"/>
            </a:ln>
          </p:spPr>
          <p:txBody>
            <a:bodyPr lIns="27000" tIns="27000" rIns="27000" bIns="27000" anchor="ctr" anchorCtr="1"/>
            <a:lstStyle/>
            <a:p>
              <a:pPr defTabSz="717947">
                <a:buClrTx/>
              </a:pPr>
              <a:r>
                <a:rPr lang="en-US" sz="1050" b="1" kern="1200" dirty="0">
                  <a:solidFill>
                    <a:prstClr val="white"/>
                  </a:solidFill>
                  <a:ea typeface="+mn-ea"/>
                  <a:cs typeface="+mn-cs"/>
                </a:rPr>
                <a:t>Costs</a:t>
              </a:r>
            </a:p>
          </p:txBody>
        </p:sp>
        <p:sp>
          <p:nvSpPr>
            <p:cNvPr id="28" name="Text Placeholder 5"/>
            <p:cNvSpPr txBox="1">
              <a:spLocks/>
            </p:cNvSpPr>
            <p:nvPr/>
          </p:nvSpPr>
          <p:spPr>
            <a:xfrm>
              <a:off x="393698" y="1626040"/>
              <a:ext cx="3997325" cy="2915795"/>
            </a:xfrm>
            <a:prstGeom prst="rect">
              <a:avLst/>
            </a:prstGeom>
            <a:solidFill>
              <a:srgbClr val="DCDCDC"/>
            </a:solidFill>
            <a:ln w="12700">
              <a:noFill/>
            </a:ln>
          </p:spPr>
          <p:txBody>
            <a:bodyPr wrap="square" lIns="68580" tIns="68580" rIns="27000" bIns="27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defTabSz="717947">
                <a:spcBef>
                  <a:spcPts val="450"/>
                </a:spcBef>
                <a:buClrTx/>
              </a:pPr>
              <a:r>
                <a:rPr lang="en-US" sz="825" dirty="0">
                  <a:solidFill>
                    <a:srgbClr val="313131"/>
                  </a:solidFill>
                  <a:latin typeface="Arial"/>
                </a:rPr>
                <a:t>This is dummy text it is not here to be read </a:t>
              </a:r>
            </a:p>
            <a:p>
              <a:pPr marL="205740" lvl="1" indent="-205740" defTabSz="717947">
                <a:spcBef>
                  <a:spcPts val="450"/>
                </a:spcBef>
                <a:buClrTx/>
              </a:pPr>
              <a:r>
                <a:rPr lang="en-US" sz="825" dirty="0">
                  <a:solidFill>
                    <a:srgbClr val="313131"/>
                  </a:solidFill>
                  <a:latin typeface="Arial"/>
                </a:rPr>
                <a:t>Level one bullet</a:t>
              </a:r>
            </a:p>
            <a:p>
              <a:pPr marL="404622" lvl="2" indent="-205740" defTabSz="717947">
                <a:spcBef>
                  <a:spcPts val="450"/>
                </a:spcBef>
                <a:buClrTx/>
              </a:pPr>
              <a:r>
                <a:rPr lang="en-US" sz="825" dirty="0">
                  <a:solidFill>
                    <a:srgbClr val="313131"/>
                  </a:solidFill>
                  <a:latin typeface="Arial"/>
                </a:rPr>
                <a:t>Level two bullet </a:t>
              </a:r>
            </a:p>
            <a:p>
              <a:pPr marL="603504" lvl="3" indent="-205740" defTabSz="717947">
                <a:spcBef>
                  <a:spcPts val="450"/>
                </a:spcBef>
                <a:buClrTx/>
              </a:pPr>
              <a:r>
                <a:rPr lang="en-US" sz="825" dirty="0">
                  <a:solidFill>
                    <a:srgbClr val="313131"/>
                  </a:solidFill>
                  <a:latin typeface="Arial"/>
                </a:rPr>
                <a:t>Level three bullet</a:t>
              </a:r>
            </a:p>
          </p:txBody>
        </p:sp>
      </p:grpSp>
      <p:grpSp>
        <p:nvGrpSpPr>
          <p:cNvPr id="17" name="Group 16"/>
          <p:cNvGrpSpPr/>
          <p:nvPr>
            <p:custDataLst>
              <p:tags r:id="rId3"/>
            </p:custDataLst>
          </p:nvPr>
        </p:nvGrpSpPr>
        <p:grpSpPr>
          <a:xfrm>
            <a:off x="5261066" y="1070372"/>
            <a:ext cx="2170815" cy="2374106"/>
            <a:chOff x="393698" y="1376361"/>
            <a:chExt cx="3997326" cy="3165474"/>
          </a:xfrm>
        </p:grpSpPr>
        <p:sp>
          <p:nvSpPr>
            <p:cNvPr id="20" name="Text Box 10"/>
            <p:cNvSpPr txBox="1">
              <a:spLocks noChangeArrowheads="1"/>
            </p:cNvSpPr>
            <p:nvPr>
              <p:custDataLst>
                <p:tags r:id="rId10"/>
              </p:custDataLst>
            </p:nvPr>
          </p:nvSpPr>
          <p:spPr bwMode="auto">
            <a:xfrm>
              <a:off x="393699" y="1376361"/>
              <a:ext cx="3997325" cy="249678"/>
            </a:xfrm>
            <a:prstGeom prst="rect">
              <a:avLst/>
            </a:prstGeom>
            <a:solidFill>
              <a:srgbClr val="00A1DE"/>
            </a:solidFill>
            <a:ln w="12700" algn="ctr">
              <a:solidFill>
                <a:srgbClr val="00A1DE"/>
              </a:solidFill>
              <a:miter lim="800000"/>
              <a:headEnd/>
              <a:tailEnd type="none" w="sm" len="med"/>
            </a:ln>
          </p:spPr>
          <p:txBody>
            <a:bodyPr lIns="27000" tIns="27000" rIns="27000" bIns="27000" anchor="ctr" anchorCtr="1"/>
            <a:lstStyle/>
            <a:p>
              <a:pPr defTabSz="717947">
                <a:buClrTx/>
              </a:pPr>
              <a:r>
                <a:rPr lang="en-US" sz="1050" b="1" kern="1200" dirty="0">
                  <a:solidFill>
                    <a:prstClr val="white"/>
                  </a:solidFill>
                  <a:ea typeface="+mn-ea"/>
                  <a:cs typeface="+mn-cs"/>
                </a:rPr>
                <a:t>Benefits</a:t>
              </a:r>
            </a:p>
          </p:txBody>
        </p:sp>
        <p:sp>
          <p:nvSpPr>
            <p:cNvPr id="21" name="Text Placeholder 5"/>
            <p:cNvSpPr txBox="1">
              <a:spLocks/>
            </p:cNvSpPr>
            <p:nvPr/>
          </p:nvSpPr>
          <p:spPr>
            <a:xfrm>
              <a:off x="393698" y="1626040"/>
              <a:ext cx="3997325" cy="2915795"/>
            </a:xfrm>
            <a:prstGeom prst="rect">
              <a:avLst/>
            </a:prstGeom>
            <a:solidFill>
              <a:srgbClr val="DCDCDC"/>
            </a:solidFill>
            <a:ln w="12700">
              <a:noFill/>
            </a:ln>
          </p:spPr>
          <p:txBody>
            <a:bodyPr wrap="square" lIns="68580" tIns="68580" rIns="27000" bIns="27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defTabSz="717947">
                <a:spcBef>
                  <a:spcPts val="450"/>
                </a:spcBef>
                <a:buClrTx/>
              </a:pPr>
              <a:r>
                <a:rPr lang="en-US" sz="825" dirty="0">
                  <a:solidFill>
                    <a:srgbClr val="313131"/>
                  </a:solidFill>
                  <a:latin typeface="Arial"/>
                </a:rPr>
                <a:t>This is dummy text it is not here to be read </a:t>
              </a:r>
            </a:p>
            <a:p>
              <a:pPr marL="205740" lvl="1" indent="-205740" defTabSz="717947">
                <a:spcBef>
                  <a:spcPts val="450"/>
                </a:spcBef>
                <a:buClrTx/>
              </a:pPr>
              <a:r>
                <a:rPr lang="en-US" sz="825" dirty="0">
                  <a:solidFill>
                    <a:srgbClr val="313131"/>
                  </a:solidFill>
                  <a:latin typeface="Arial"/>
                </a:rPr>
                <a:t>Level one bullet</a:t>
              </a:r>
            </a:p>
            <a:p>
              <a:pPr marL="404622" lvl="2" indent="-205740" defTabSz="717947">
                <a:spcBef>
                  <a:spcPts val="450"/>
                </a:spcBef>
                <a:buClrTx/>
              </a:pPr>
              <a:r>
                <a:rPr lang="en-US" sz="825" dirty="0">
                  <a:solidFill>
                    <a:srgbClr val="313131"/>
                  </a:solidFill>
                  <a:latin typeface="Arial"/>
                </a:rPr>
                <a:t>Level two bullet </a:t>
              </a:r>
            </a:p>
            <a:p>
              <a:pPr marL="603504" lvl="3" indent="-205740" defTabSz="717947">
                <a:spcBef>
                  <a:spcPts val="450"/>
                </a:spcBef>
                <a:buClrTx/>
              </a:pPr>
              <a:r>
                <a:rPr lang="en-US" sz="825" dirty="0">
                  <a:solidFill>
                    <a:srgbClr val="313131"/>
                  </a:solidFill>
                  <a:latin typeface="Arial"/>
                </a:rPr>
                <a:t>Level three bullet</a:t>
              </a:r>
            </a:p>
          </p:txBody>
        </p:sp>
      </p:grpSp>
      <p:sp>
        <p:nvSpPr>
          <p:cNvPr id="823297" name="Title 1"/>
          <p:cNvSpPr>
            <a:spLocks noGrp="1"/>
          </p:cNvSpPr>
          <p:nvPr>
            <p:ph type="title"/>
            <p:custDataLst>
              <p:tags r:id="rId4"/>
            </p:custDataLst>
          </p:nvPr>
        </p:nvSpPr>
        <p:spPr/>
        <p:txBody>
          <a:bodyPr/>
          <a:lstStyle/>
          <a:p>
            <a:r>
              <a:rPr lang="en-US" dirty="0"/>
              <a:t>Balance 1</a:t>
            </a:r>
          </a:p>
        </p:txBody>
      </p:sp>
      <p:sp>
        <p:nvSpPr>
          <p:cNvPr id="5" name="AutoShape 3"/>
          <p:cNvSpPr>
            <a:spLocks noChangeArrowheads="1"/>
          </p:cNvSpPr>
          <p:nvPr>
            <p:custDataLst>
              <p:tags r:id="rId5"/>
            </p:custDataLst>
          </p:nvPr>
        </p:nvSpPr>
        <p:spPr bwMode="auto">
          <a:xfrm flipV="1">
            <a:off x="4336256" y="4125516"/>
            <a:ext cx="448866" cy="390525"/>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6772 w 21600"/>
              <a:gd name="T13" fmla="*/ 6772 h 21600"/>
              <a:gd name="T14" fmla="*/ 14828 w 21600"/>
              <a:gd name="T15" fmla="*/ 14828 h 21600"/>
            </a:gdLst>
            <a:ahLst/>
            <a:cxnLst>
              <a:cxn ang="T8">
                <a:pos x="T0" y="T1"/>
              </a:cxn>
              <a:cxn ang="T9">
                <a:pos x="T2" y="T3"/>
              </a:cxn>
              <a:cxn ang="T10">
                <a:pos x="T4" y="T5"/>
              </a:cxn>
              <a:cxn ang="T11">
                <a:pos x="T6" y="T7"/>
              </a:cxn>
            </a:cxnLst>
            <a:rect l="T12" t="T13" r="T14" b="T15"/>
            <a:pathLst>
              <a:path w="21600" h="21600">
                <a:moveTo>
                  <a:pt x="0" y="0"/>
                </a:moveTo>
                <a:lnTo>
                  <a:pt x="9943" y="21600"/>
                </a:lnTo>
                <a:lnTo>
                  <a:pt x="11657" y="21600"/>
                </a:lnTo>
                <a:lnTo>
                  <a:pt x="21600" y="0"/>
                </a:lnTo>
                <a:close/>
              </a:path>
            </a:pathLst>
          </a:custGeom>
          <a:solidFill>
            <a:srgbClr val="8C8C8C"/>
          </a:solidFill>
          <a:ln w="12700">
            <a:solidFill>
              <a:schemeClr val="bg1"/>
            </a:solidFill>
            <a:miter lim="800000"/>
            <a:headEnd/>
            <a:tailEnd/>
          </a:ln>
        </p:spPr>
        <p:txBody>
          <a:bodyPr rot="10800000" wrap="none" lIns="27000" tIns="27000" rIns="27000" bIns="27000" anchor="ctr"/>
          <a:lstStyle/>
          <a:p>
            <a:pPr algn="ctr" defTabSz="685800">
              <a:buClrTx/>
              <a:defRPr/>
            </a:pPr>
            <a:endParaRPr lang="en-US" sz="1050" kern="1200" dirty="0">
              <a:solidFill>
                <a:prstClr val="black"/>
              </a:solidFill>
              <a:ea typeface="+mn-ea"/>
              <a:cs typeface="+mn-cs"/>
            </a:endParaRPr>
          </a:p>
        </p:txBody>
      </p:sp>
      <p:sp>
        <p:nvSpPr>
          <p:cNvPr id="6" name="Line 4"/>
          <p:cNvSpPr>
            <a:spLocks noChangeShapeType="1"/>
          </p:cNvSpPr>
          <p:nvPr>
            <p:custDataLst>
              <p:tags r:id="rId6"/>
            </p:custDataLst>
          </p:nvPr>
        </p:nvSpPr>
        <p:spPr bwMode="auto">
          <a:xfrm>
            <a:off x="1763316" y="4120754"/>
            <a:ext cx="2169319" cy="0"/>
          </a:xfrm>
          <a:prstGeom prst="line">
            <a:avLst/>
          </a:prstGeom>
          <a:noFill/>
          <a:ln w="57150">
            <a:solidFill>
              <a:srgbClr val="00A1DE"/>
            </a:solidFill>
            <a:round/>
            <a:headEnd type="none" w="sm" len="sm"/>
            <a:tailEnd type="none" w="sm" len="sm"/>
          </a:ln>
        </p:spPr>
        <p:txBody>
          <a:bodyPr wrap="none" lIns="27000" tIns="27000" rIns="27000" bIns="27000" anchor="ctr"/>
          <a:lstStyle/>
          <a:p>
            <a:pPr defTabSz="685800">
              <a:buClrTx/>
              <a:defRPr/>
            </a:pPr>
            <a:endParaRPr lang="en-US" sz="1350" kern="1200" dirty="0">
              <a:solidFill>
                <a:prstClr val="black"/>
              </a:solidFill>
              <a:ea typeface="+mn-ea"/>
              <a:cs typeface="+mn-cs"/>
            </a:endParaRPr>
          </a:p>
        </p:txBody>
      </p:sp>
      <p:sp>
        <p:nvSpPr>
          <p:cNvPr id="7" name="Line 5"/>
          <p:cNvSpPr>
            <a:spLocks noChangeShapeType="1"/>
          </p:cNvSpPr>
          <p:nvPr>
            <p:custDataLst>
              <p:tags r:id="rId7"/>
            </p:custDataLst>
          </p:nvPr>
        </p:nvSpPr>
        <p:spPr bwMode="auto">
          <a:xfrm>
            <a:off x="5250657" y="3492104"/>
            <a:ext cx="2170510" cy="0"/>
          </a:xfrm>
          <a:prstGeom prst="line">
            <a:avLst/>
          </a:prstGeom>
          <a:noFill/>
          <a:ln w="57150">
            <a:solidFill>
              <a:srgbClr val="00A1DE"/>
            </a:solidFill>
            <a:round/>
            <a:headEnd type="none" w="sm" len="sm"/>
            <a:tailEnd type="none" w="sm" len="sm"/>
          </a:ln>
        </p:spPr>
        <p:txBody>
          <a:bodyPr wrap="none" lIns="27000" tIns="27000" rIns="27000" bIns="27000" anchor="ctr"/>
          <a:lstStyle/>
          <a:p>
            <a:pPr defTabSz="685800">
              <a:buClrTx/>
              <a:defRPr/>
            </a:pPr>
            <a:endParaRPr lang="en-US" sz="1350" kern="1200" dirty="0">
              <a:solidFill>
                <a:prstClr val="black"/>
              </a:solidFill>
              <a:ea typeface="+mn-ea"/>
              <a:cs typeface="+mn-cs"/>
            </a:endParaRPr>
          </a:p>
        </p:txBody>
      </p:sp>
      <p:grpSp>
        <p:nvGrpSpPr>
          <p:cNvPr id="823302" name="Group 6"/>
          <p:cNvGrpSpPr>
            <a:grpSpLocks/>
          </p:cNvGrpSpPr>
          <p:nvPr>
            <p:custDataLst>
              <p:tags r:id="rId8"/>
            </p:custDataLst>
          </p:nvPr>
        </p:nvGrpSpPr>
        <p:grpSpPr bwMode="auto">
          <a:xfrm>
            <a:off x="2846785" y="3492104"/>
            <a:ext cx="3487340" cy="915590"/>
            <a:chOff x="1390" y="2928"/>
            <a:chExt cx="2929" cy="769"/>
          </a:xfrm>
        </p:grpSpPr>
        <p:sp>
          <p:nvSpPr>
            <p:cNvPr id="9" name="Freeform 7"/>
            <p:cNvSpPr>
              <a:spLocks/>
            </p:cNvSpPr>
            <p:nvPr/>
          </p:nvSpPr>
          <p:spPr bwMode="auto">
            <a:xfrm>
              <a:off x="1390" y="2928"/>
              <a:ext cx="2929" cy="769"/>
            </a:xfrm>
            <a:custGeom>
              <a:avLst/>
              <a:gdLst>
                <a:gd name="T0" fmla="*/ 0 w 2929"/>
                <a:gd name="T1" fmla="*/ 528 h 769"/>
                <a:gd name="T2" fmla="*/ 0 w 2929"/>
                <a:gd name="T3" fmla="*/ 768 h 769"/>
                <a:gd name="T4" fmla="*/ 2928 w 2929"/>
                <a:gd name="T5" fmla="*/ 240 h 769"/>
                <a:gd name="T6" fmla="*/ 2928 w 2929"/>
                <a:gd name="T7" fmla="*/ 0 h 769"/>
                <a:gd name="T8" fmla="*/ 0 60000 65536"/>
                <a:gd name="T9" fmla="*/ 0 60000 65536"/>
                <a:gd name="T10" fmla="*/ 0 60000 65536"/>
                <a:gd name="T11" fmla="*/ 0 60000 65536"/>
                <a:gd name="T12" fmla="*/ 0 w 2929"/>
                <a:gd name="T13" fmla="*/ 0 h 769"/>
                <a:gd name="T14" fmla="*/ 2929 w 2929"/>
                <a:gd name="T15" fmla="*/ 769 h 769"/>
              </a:gdLst>
              <a:ahLst/>
              <a:cxnLst>
                <a:cxn ang="T8">
                  <a:pos x="T0" y="T1"/>
                </a:cxn>
                <a:cxn ang="T9">
                  <a:pos x="T2" y="T3"/>
                </a:cxn>
                <a:cxn ang="T10">
                  <a:pos x="T4" y="T5"/>
                </a:cxn>
                <a:cxn ang="T11">
                  <a:pos x="T6" y="T7"/>
                </a:cxn>
              </a:cxnLst>
              <a:rect l="T12" t="T13" r="T14" b="T15"/>
              <a:pathLst>
                <a:path w="2929" h="769">
                  <a:moveTo>
                    <a:pt x="0" y="528"/>
                  </a:moveTo>
                  <a:lnTo>
                    <a:pt x="0" y="768"/>
                  </a:lnTo>
                  <a:lnTo>
                    <a:pt x="2928" y="240"/>
                  </a:lnTo>
                  <a:lnTo>
                    <a:pt x="2928" y="0"/>
                  </a:lnTo>
                </a:path>
              </a:pathLst>
            </a:custGeom>
            <a:noFill/>
            <a:ln w="57150" cap="rnd">
              <a:solidFill>
                <a:srgbClr val="8C8C8C"/>
              </a:solidFill>
              <a:round/>
              <a:headEnd type="none" w="sm" len="sm"/>
              <a:tailEnd type="none" w="sm" len="sm"/>
            </a:ln>
          </p:spPr>
          <p:txBody>
            <a:bodyPr lIns="27000" tIns="27000" rIns="27000" bIns="27000"/>
            <a:lstStyle/>
            <a:p>
              <a:pPr defTabSz="685800">
                <a:buClrTx/>
                <a:defRPr/>
              </a:pPr>
              <a:endParaRPr lang="en-US" sz="1350" kern="1200" dirty="0">
                <a:solidFill>
                  <a:prstClr val="black"/>
                </a:solidFill>
                <a:ea typeface="+mn-ea"/>
                <a:cs typeface="+mn-cs"/>
              </a:endParaRPr>
            </a:p>
          </p:txBody>
        </p:sp>
        <p:sp>
          <p:nvSpPr>
            <p:cNvPr id="10" name="Line 8"/>
            <p:cNvSpPr>
              <a:spLocks noChangeShapeType="1"/>
            </p:cNvSpPr>
            <p:nvPr/>
          </p:nvSpPr>
          <p:spPr bwMode="auto">
            <a:xfrm rot="20993914" flipV="1">
              <a:off x="2822" y="3168"/>
              <a:ext cx="0" cy="480"/>
            </a:xfrm>
            <a:prstGeom prst="line">
              <a:avLst/>
            </a:prstGeom>
            <a:noFill/>
            <a:ln w="57150">
              <a:solidFill>
                <a:srgbClr val="8C8C8C"/>
              </a:solidFill>
              <a:round/>
              <a:headEnd/>
              <a:tailEnd type="triangle" w="med" len="med"/>
            </a:ln>
          </p:spPr>
          <p:txBody>
            <a:bodyPr wrap="none" lIns="27000" tIns="27000" rIns="27000" bIns="27000" anchor="ctr"/>
            <a:lstStyle/>
            <a:p>
              <a:pPr defTabSz="685800">
                <a:buClrTx/>
                <a:defRPr/>
              </a:pPr>
              <a:endParaRPr lang="en-US" sz="1350" kern="1200" dirty="0">
                <a:solidFill>
                  <a:prstClr val="black"/>
                </a:solidFill>
                <a:ea typeface="+mn-ea"/>
                <a:cs typeface="+mn-cs"/>
              </a:endParaRPr>
            </a:p>
          </p:txBody>
        </p:sp>
      </p:grpSp>
      <p:sp>
        <p:nvSpPr>
          <p:cNvPr id="18" name="Text Placeholder 12"/>
          <p:cNvSpPr>
            <a:spLocks/>
          </p:cNvSpPr>
          <p:nvPr>
            <p:custDataLst>
              <p:tags r:id="rId9"/>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Tree>
  </p:cSld>
  <p:clrMapOvr>
    <a:masterClrMapping/>
  </p:clrMapOvr>
  <p:transition>
    <p:fade/>
  </p:transition>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143000" y="0"/>
          <a:ext cx="119063" cy="119063"/>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43000" y="0"/>
                        <a:ext cx="119063"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6" name="Group 15"/>
          <p:cNvGrpSpPr/>
          <p:nvPr>
            <p:custDataLst>
              <p:tags r:id="rId2"/>
            </p:custDataLst>
          </p:nvPr>
        </p:nvGrpSpPr>
        <p:grpSpPr>
          <a:xfrm>
            <a:off x="4847035" y="2627419"/>
            <a:ext cx="1537097" cy="1662404"/>
            <a:chOff x="393698" y="1376361"/>
            <a:chExt cx="3997326" cy="2216538"/>
          </a:xfrm>
        </p:grpSpPr>
        <p:sp>
          <p:nvSpPr>
            <p:cNvPr id="17" name="Text Box 10"/>
            <p:cNvSpPr txBox="1">
              <a:spLocks noChangeArrowheads="1"/>
            </p:cNvSpPr>
            <p:nvPr>
              <p:custDataLst>
                <p:tags r:id="rId8"/>
              </p:custDataLst>
            </p:nvPr>
          </p:nvSpPr>
          <p:spPr bwMode="auto">
            <a:xfrm>
              <a:off x="393700" y="1376361"/>
              <a:ext cx="3997324" cy="249678"/>
            </a:xfrm>
            <a:prstGeom prst="rect">
              <a:avLst/>
            </a:prstGeom>
            <a:solidFill>
              <a:srgbClr val="00A1DE"/>
            </a:solidFill>
            <a:ln w="12700" algn="ctr">
              <a:solidFill>
                <a:srgbClr val="00A1DE"/>
              </a:solidFill>
              <a:miter lim="800000"/>
              <a:headEnd/>
              <a:tailEnd type="none" w="sm" len="med"/>
            </a:ln>
          </p:spPr>
          <p:txBody>
            <a:bodyPr lIns="27000" tIns="27000" rIns="27000" bIns="27000" anchor="ctr" anchorCtr="1"/>
            <a:lstStyle/>
            <a:p>
              <a:pPr defTabSz="717947">
                <a:buClrTx/>
              </a:pPr>
              <a:r>
                <a:rPr lang="en-US" sz="1050" b="1" kern="1200" dirty="0">
                  <a:solidFill>
                    <a:prstClr val="white"/>
                  </a:solidFill>
                  <a:ea typeface="+mn-ea"/>
                  <a:cs typeface="+mn-cs"/>
                </a:rPr>
                <a:t>Text</a:t>
              </a:r>
            </a:p>
          </p:txBody>
        </p:sp>
        <p:sp>
          <p:nvSpPr>
            <p:cNvPr id="18" name="Text Placeholder 5"/>
            <p:cNvSpPr txBox="1">
              <a:spLocks/>
            </p:cNvSpPr>
            <p:nvPr/>
          </p:nvSpPr>
          <p:spPr>
            <a:xfrm>
              <a:off x="393698" y="1626040"/>
              <a:ext cx="3997324" cy="1966859"/>
            </a:xfrm>
            <a:prstGeom prst="rect">
              <a:avLst/>
            </a:prstGeom>
            <a:solidFill>
              <a:srgbClr val="DCDCDC"/>
            </a:solidFill>
            <a:ln w="12700">
              <a:noFill/>
            </a:ln>
          </p:spPr>
          <p:txBody>
            <a:bodyPr wrap="square" lIns="68580" tIns="27000" rIns="27000" bIns="27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defTabSz="717947">
                <a:spcBef>
                  <a:spcPts val="450"/>
                </a:spcBef>
                <a:buClrTx/>
              </a:pPr>
              <a:r>
                <a:rPr lang="en-US" sz="825" dirty="0">
                  <a:solidFill>
                    <a:srgbClr val="313131"/>
                  </a:solidFill>
                  <a:latin typeface="Arial"/>
                </a:rPr>
                <a:t>This is dummy text it is not here to be read </a:t>
              </a:r>
            </a:p>
            <a:p>
              <a:pPr marL="205740" lvl="1" indent="-205740" defTabSz="717947">
                <a:spcBef>
                  <a:spcPts val="450"/>
                </a:spcBef>
                <a:buClrTx/>
              </a:pPr>
              <a:r>
                <a:rPr lang="en-US" sz="825" dirty="0">
                  <a:solidFill>
                    <a:srgbClr val="313131"/>
                  </a:solidFill>
                  <a:latin typeface="Arial"/>
                </a:rPr>
                <a:t>Level one bullet</a:t>
              </a:r>
            </a:p>
            <a:p>
              <a:pPr marL="404622" lvl="2" indent="-205740" defTabSz="717947">
                <a:spcBef>
                  <a:spcPts val="450"/>
                </a:spcBef>
                <a:buClrTx/>
              </a:pPr>
              <a:r>
                <a:rPr lang="en-US" sz="825" dirty="0">
                  <a:solidFill>
                    <a:srgbClr val="313131"/>
                  </a:solidFill>
                  <a:latin typeface="Arial"/>
                </a:rPr>
                <a:t>Level two bullet </a:t>
              </a:r>
            </a:p>
            <a:p>
              <a:pPr marL="603504" lvl="3" indent="-205740" defTabSz="717947">
                <a:spcBef>
                  <a:spcPts val="450"/>
                </a:spcBef>
                <a:buClrTx/>
              </a:pPr>
              <a:r>
                <a:rPr lang="en-US" sz="825" dirty="0">
                  <a:solidFill>
                    <a:srgbClr val="313131"/>
                  </a:solidFill>
                  <a:latin typeface="Arial"/>
                </a:rPr>
                <a:t>Level three bullet</a:t>
              </a:r>
            </a:p>
          </p:txBody>
        </p:sp>
      </p:grpSp>
      <p:sp>
        <p:nvSpPr>
          <p:cNvPr id="824321" name="Title 1"/>
          <p:cNvSpPr>
            <a:spLocks noGrp="1"/>
          </p:cNvSpPr>
          <p:nvPr>
            <p:ph type="title"/>
            <p:custDataLst>
              <p:tags r:id="rId3"/>
            </p:custDataLst>
          </p:nvPr>
        </p:nvSpPr>
        <p:spPr/>
        <p:txBody>
          <a:bodyPr/>
          <a:lstStyle/>
          <a:p>
            <a:r>
              <a:rPr lang="en-US"/>
              <a:t>Jumping point</a:t>
            </a:r>
            <a:endParaRPr lang="en-US" dirty="0"/>
          </a:p>
        </p:txBody>
      </p:sp>
      <p:sp>
        <p:nvSpPr>
          <p:cNvPr id="824323" name="Oval 3"/>
          <p:cNvSpPr>
            <a:spLocks noChangeArrowheads="1"/>
          </p:cNvSpPr>
          <p:nvPr>
            <p:custDataLst>
              <p:tags r:id="rId4"/>
            </p:custDataLst>
          </p:nvPr>
        </p:nvSpPr>
        <p:spPr bwMode="auto">
          <a:xfrm>
            <a:off x="4797029" y="2207419"/>
            <a:ext cx="324000" cy="324000"/>
          </a:xfrm>
          <a:prstGeom prst="ellipse">
            <a:avLst/>
          </a:prstGeom>
          <a:solidFill>
            <a:srgbClr val="002776"/>
          </a:solidFill>
          <a:ln w="9525">
            <a:solidFill>
              <a:schemeClr val="bg1"/>
            </a:solidFill>
            <a:round/>
            <a:headEnd/>
            <a:tailEnd/>
          </a:ln>
        </p:spPr>
        <p:txBody>
          <a:bodyPr wrap="none" anchor="ctr"/>
          <a:lstStyle/>
          <a:p>
            <a:pPr algn="ctr" defTabSz="685800">
              <a:buClrTx/>
            </a:pPr>
            <a:endParaRPr lang="en-US" sz="1050" kern="1200">
              <a:solidFill>
                <a:prstClr val="black"/>
              </a:solidFill>
              <a:ea typeface="+mn-ea"/>
              <a:cs typeface="+mn-cs"/>
            </a:endParaRPr>
          </a:p>
        </p:txBody>
      </p:sp>
      <p:grpSp>
        <p:nvGrpSpPr>
          <p:cNvPr id="824324" name="Group 15"/>
          <p:cNvGrpSpPr>
            <a:grpSpLocks/>
          </p:cNvGrpSpPr>
          <p:nvPr>
            <p:custDataLst>
              <p:tags r:id="rId5"/>
            </p:custDataLst>
          </p:nvPr>
        </p:nvGrpSpPr>
        <p:grpSpPr bwMode="auto">
          <a:xfrm>
            <a:off x="2925366" y="1977629"/>
            <a:ext cx="1762125" cy="2286000"/>
            <a:chOff x="2574925" y="2636838"/>
            <a:chExt cx="2544763" cy="3048000"/>
          </a:xfrm>
        </p:grpSpPr>
        <p:sp>
          <p:nvSpPr>
            <p:cNvPr id="7" name="Arc 5"/>
            <p:cNvSpPr>
              <a:spLocks/>
            </p:cNvSpPr>
            <p:nvPr/>
          </p:nvSpPr>
          <p:spPr bwMode="auto">
            <a:xfrm>
              <a:off x="2574925" y="4278313"/>
              <a:ext cx="854558" cy="1406525"/>
            </a:xfrm>
            <a:custGeom>
              <a:avLst/>
              <a:gdLst>
                <a:gd name="T0" fmla="*/ 0 w 28334"/>
                <a:gd name="T1" fmla="*/ 791053597 h 21600"/>
                <a:gd name="T2" fmla="*/ 444155411 w 28334"/>
                <a:gd name="T3" fmla="*/ 2147483647 h 21600"/>
                <a:gd name="T4" fmla="*/ 105663734 w 28334"/>
                <a:gd name="T5" fmla="*/ 2147483647 h 21600"/>
                <a:gd name="T6" fmla="*/ 0 60000 65536"/>
                <a:gd name="T7" fmla="*/ 0 60000 65536"/>
                <a:gd name="T8" fmla="*/ 0 60000 65536"/>
                <a:gd name="T9" fmla="*/ 0 w 28334"/>
                <a:gd name="T10" fmla="*/ 0 h 21600"/>
                <a:gd name="T11" fmla="*/ 28334 w 28334"/>
                <a:gd name="T12" fmla="*/ 21600 h 21600"/>
              </a:gdLst>
              <a:ahLst/>
              <a:cxnLst>
                <a:cxn ang="T6">
                  <a:pos x="T0" y="T1"/>
                </a:cxn>
                <a:cxn ang="T7">
                  <a:pos x="T2" y="T3"/>
                </a:cxn>
                <a:cxn ang="T8">
                  <a:pos x="T4" y="T5"/>
                </a:cxn>
              </a:cxnLst>
              <a:rect l="T9" t="T10" r="T11" b="T12"/>
              <a:pathLst>
                <a:path w="28334" h="21600" fill="none" extrusionOk="0">
                  <a:moveTo>
                    <a:pt x="-1" y="1076"/>
                  </a:moveTo>
                  <a:cubicBezTo>
                    <a:pt x="2173" y="363"/>
                    <a:pt x="4446" y="-1"/>
                    <a:pt x="6734" y="0"/>
                  </a:cubicBezTo>
                  <a:cubicBezTo>
                    <a:pt x="18663" y="0"/>
                    <a:pt x="28334" y="9670"/>
                    <a:pt x="28334" y="21600"/>
                  </a:cubicBezTo>
                </a:path>
                <a:path w="28334" h="21600" stroke="0" extrusionOk="0">
                  <a:moveTo>
                    <a:pt x="-1" y="1076"/>
                  </a:moveTo>
                  <a:cubicBezTo>
                    <a:pt x="2173" y="363"/>
                    <a:pt x="4446" y="-1"/>
                    <a:pt x="6734" y="0"/>
                  </a:cubicBezTo>
                  <a:cubicBezTo>
                    <a:pt x="18663" y="0"/>
                    <a:pt x="28334" y="9670"/>
                    <a:pt x="28334" y="21600"/>
                  </a:cubicBezTo>
                  <a:lnTo>
                    <a:pt x="6734" y="21600"/>
                  </a:lnTo>
                  <a:close/>
                </a:path>
              </a:pathLst>
            </a:custGeom>
            <a:noFill/>
            <a:ln w="28575" cap="rnd">
              <a:solidFill>
                <a:srgbClr val="8C8C8C"/>
              </a:solidFill>
              <a:prstDash val="sysDot"/>
              <a:round/>
              <a:headEnd type="none" w="sm" len="sm"/>
              <a:tailEnd type="none" w="sm" len="sm"/>
            </a:ln>
          </p:spPr>
          <p:txBody>
            <a:bodyPr wrap="none" anchor="ctr"/>
            <a:lstStyle/>
            <a:p>
              <a:pPr algn="ctr" defTabSz="685800">
                <a:buClrTx/>
                <a:defRPr/>
              </a:pPr>
              <a:endParaRPr lang="en-US" sz="1050" kern="1200" dirty="0">
                <a:solidFill>
                  <a:prstClr val="black"/>
                </a:solidFill>
                <a:ea typeface="+mn-ea"/>
                <a:cs typeface="+mn-cs"/>
              </a:endParaRPr>
            </a:p>
          </p:txBody>
        </p:sp>
        <p:sp>
          <p:nvSpPr>
            <p:cNvPr id="8" name="Arc 6"/>
            <p:cNvSpPr>
              <a:spLocks/>
            </p:cNvSpPr>
            <p:nvPr/>
          </p:nvSpPr>
          <p:spPr bwMode="auto">
            <a:xfrm>
              <a:off x="3429483" y="2636838"/>
              <a:ext cx="1690205" cy="3048000"/>
            </a:xfrm>
            <a:custGeom>
              <a:avLst/>
              <a:gdLst>
                <a:gd name="T0" fmla="*/ 0 w 28293"/>
                <a:gd name="T1" fmla="*/ 2147483647 h 21600"/>
                <a:gd name="T2" fmla="*/ 2147483647 w 28293"/>
                <a:gd name="T3" fmla="*/ 2147483647 h 21600"/>
                <a:gd name="T4" fmla="*/ 2147483647 w 28293"/>
                <a:gd name="T5" fmla="*/ 2147483647 h 21600"/>
                <a:gd name="T6" fmla="*/ 0 60000 65536"/>
                <a:gd name="T7" fmla="*/ 0 60000 65536"/>
                <a:gd name="T8" fmla="*/ 0 60000 65536"/>
                <a:gd name="T9" fmla="*/ 0 w 28293"/>
                <a:gd name="T10" fmla="*/ 0 h 21600"/>
                <a:gd name="T11" fmla="*/ 28293 w 28293"/>
                <a:gd name="T12" fmla="*/ 21600 h 21600"/>
              </a:gdLst>
              <a:ahLst/>
              <a:cxnLst>
                <a:cxn ang="T6">
                  <a:pos x="T0" y="T1"/>
                </a:cxn>
                <a:cxn ang="T7">
                  <a:pos x="T2" y="T3"/>
                </a:cxn>
                <a:cxn ang="T8">
                  <a:pos x="T4" y="T5"/>
                </a:cxn>
              </a:cxnLst>
              <a:rect l="T9" t="T10" r="T11" b="T12"/>
              <a:pathLst>
                <a:path w="28293" h="21600" fill="none" extrusionOk="0">
                  <a:moveTo>
                    <a:pt x="0" y="21544"/>
                  </a:moveTo>
                  <a:cubicBezTo>
                    <a:pt x="30" y="9636"/>
                    <a:pt x="9692" y="-1"/>
                    <a:pt x="21600" y="0"/>
                  </a:cubicBezTo>
                  <a:cubicBezTo>
                    <a:pt x="23873" y="0"/>
                    <a:pt x="26131" y="358"/>
                    <a:pt x="28292" y="1063"/>
                  </a:cubicBezTo>
                </a:path>
                <a:path w="28293" h="21600" stroke="0" extrusionOk="0">
                  <a:moveTo>
                    <a:pt x="0" y="21544"/>
                  </a:moveTo>
                  <a:cubicBezTo>
                    <a:pt x="30" y="9636"/>
                    <a:pt x="9692" y="-1"/>
                    <a:pt x="21600" y="0"/>
                  </a:cubicBezTo>
                  <a:cubicBezTo>
                    <a:pt x="23873" y="0"/>
                    <a:pt x="26131" y="358"/>
                    <a:pt x="28292" y="1063"/>
                  </a:cubicBezTo>
                  <a:lnTo>
                    <a:pt x="21600" y="21600"/>
                  </a:lnTo>
                  <a:close/>
                </a:path>
              </a:pathLst>
            </a:custGeom>
            <a:noFill/>
            <a:ln w="28575" cap="rnd">
              <a:solidFill>
                <a:srgbClr val="8C8C8C"/>
              </a:solidFill>
              <a:prstDash val="sysDot"/>
              <a:round/>
              <a:headEnd type="none" w="sm" len="sm"/>
              <a:tailEnd type="none" w="sm" len="sm"/>
            </a:ln>
          </p:spPr>
          <p:txBody>
            <a:bodyPr wrap="none" anchor="ctr"/>
            <a:lstStyle/>
            <a:p>
              <a:pPr algn="ctr" defTabSz="685800">
                <a:buClrTx/>
                <a:defRPr/>
              </a:pPr>
              <a:endParaRPr lang="en-US" sz="1050" kern="1200" dirty="0">
                <a:solidFill>
                  <a:prstClr val="black"/>
                </a:solidFill>
                <a:ea typeface="+mn-ea"/>
                <a:cs typeface="+mn-cs"/>
              </a:endParaRPr>
            </a:p>
          </p:txBody>
        </p:sp>
      </p:grpSp>
      <p:sp>
        <p:nvSpPr>
          <p:cNvPr id="9" name="Line 7"/>
          <p:cNvSpPr>
            <a:spLocks noChangeShapeType="1"/>
          </p:cNvSpPr>
          <p:nvPr>
            <p:custDataLst>
              <p:tags r:id="rId6"/>
            </p:custDataLst>
          </p:nvPr>
        </p:nvSpPr>
        <p:spPr bwMode="auto">
          <a:xfrm flipH="1">
            <a:off x="2895601" y="4374356"/>
            <a:ext cx="3480197" cy="0"/>
          </a:xfrm>
          <a:prstGeom prst="line">
            <a:avLst/>
          </a:prstGeom>
          <a:noFill/>
          <a:ln w="38100">
            <a:solidFill>
              <a:srgbClr val="8C8C8C"/>
            </a:solidFill>
            <a:round/>
            <a:headEnd type="none" w="sm" len="sm"/>
            <a:tailEnd type="none" w="sm" len="sm"/>
          </a:ln>
        </p:spPr>
        <p:txBody>
          <a:bodyPr wrap="none" anchor="ctr"/>
          <a:lstStyle/>
          <a:p>
            <a:pPr defTabSz="685800">
              <a:buClrTx/>
              <a:defRPr/>
            </a:pPr>
            <a:endParaRPr lang="en-US" sz="1350" kern="1200" dirty="0">
              <a:solidFill>
                <a:prstClr val="black"/>
              </a:solidFill>
              <a:ea typeface="+mn-ea"/>
              <a:cs typeface="+mn-cs"/>
            </a:endParaRPr>
          </a:p>
        </p:txBody>
      </p:sp>
      <p:sp>
        <p:nvSpPr>
          <p:cNvPr id="14" name="Text Placeholder 12"/>
          <p:cNvSpPr>
            <a:spLocks/>
          </p:cNvSpPr>
          <p:nvPr>
            <p:custDataLst>
              <p:tags r:id="rId7"/>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Tree>
  </p:cSld>
  <p:clrMapOvr>
    <a:masterClrMapping/>
  </p:clrMapOvr>
  <p:transition>
    <p:fade/>
  </p:transition>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p:cNvGraphicFramePr>
          <p:nvPr>
            <p:custDataLst>
              <p:tags r:id="rId1"/>
            </p:custDataLst>
          </p:nvPr>
        </p:nvGraphicFramePr>
        <p:xfrm>
          <a:off x="1143000" y="0"/>
          <a:ext cx="119063" cy="119063"/>
        </p:xfrm>
        <a:graphic>
          <a:graphicData uri="http://schemas.openxmlformats.org/presentationml/2006/ole">
            <mc:AlternateContent xmlns:mc="http://schemas.openxmlformats.org/markup-compatibility/2006">
              <mc:Choice xmlns:v="urn:schemas-microsoft-com:vml" Requires="v">
                <p:oleObj name="think-cell Slide" r:id="rId16" imgW="0" imgH="0" progId="">
                  <p:embed/>
                </p:oleObj>
              </mc:Choice>
              <mc:Fallback>
                <p:oleObj name="think-cell Slide" r:id="rId16" imgW="0" imgH="0" progId="">
                  <p:embed/>
                  <p:pic>
                    <p:nvPicPr>
                      <p:cNvPr id="16" name="Object 1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19063"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Freeform 2"/>
          <p:cNvSpPr>
            <a:spLocks/>
          </p:cNvSpPr>
          <p:nvPr>
            <p:custDataLst>
              <p:tags r:id="rId2"/>
            </p:custDataLst>
          </p:nvPr>
        </p:nvSpPr>
        <p:spPr bwMode="blackWhite">
          <a:xfrm>
            <a:off x="3542110" y="1861108"/>
            <a:ext cx="2060972" cy="2014538"/>
          </a:xfrm>
          <a:custGeom>
            <a:avLst/>
            <a:gdLst>
              <a:gd name="T0" fmla="*/ 0 w 1749"/>
              <a:gd name="T1" fmla="*/ 0 h 1710"/>
              <a:gd name="T2" fmla="*/ 0 w 1749"/>
              <a:gd name="T3" fmla="*/ 2147483647 h 1710"/>
              <a:gd name="T4" fmla="*/ 2147483647 w 1749"/>
              <a:gd name="T5" fmla="*/ 2147483647 h 1710"/>
              <a:gd name="T6" fmla="*/ 0 w 1749"/>
              <a:gd name="T7" fmla="*/ 2147483647 h 1710"/>
              <a:gd name="T8" fmla="*/ 0 w 1749"/>
              <a:gd name="T9" fmla="*/ 2147483647 h 1710"/>
              <a:gd name="T10" fmla="*/ 2147483647 w 1749"/>
              <a:gd name="T11" fmla="*/ 2147483647 h 1710"/>
              <a:gd name="T12" fmla="*/ 2147483647 w 1749"/>
              <a:gd name="T13" fmla="*/ 0 h 1710"/>
              <a:gd name="T14" fmla="*/ 0 w 1749"/>
              <a:gd name="T15" fmla="*/ 0 h 1710"/>
              <a:gd name="T16" fmla="*/ 0 60000 65536"/>
              <a:gd name="T17" fmla="*/ 0 60000 65536"/>
              <a:gd name="T18" fmla="*/ 0 60000 65536"/>
              <a:gd name="T19" fmla="*/ 0 60000 65536"/>
              <a:gd name="T20" fmla="*/ 0 60000 65536"/>
              <a:gd name="T21" fmla="*/ 0 60000 65536"/>
              <a:gd name="T22" fmla="*/ 0 60000 65536"/>
              <a:gd name="T23" fmla="*/ 0 60000 65536"/>
              <a:gd name="T24" fmla="*/ 0 w 1749"/>
              <a:gd name="T25" fmla="*/ 0 h 1710"/>
              <a:gd name="T26" fmla="*/ 1749 w 1749"/>
              <a:gd name="T27" fmla="*/ 1710 h 17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49" h="1710">
                <a:moveTo>
                  <a:pt x="0" y="0"/>
                </a:moveTo>
                <a:lnTo>
                  <a:pt x="0" y="352"/>
                </a:lnTo>
                <a:lnTo>
                  <a:pt x="299" y="853"/>
                </a:lnTo>
                <a:lnTo>
                  <a:pt x="0" y="1368"/>
                </a:lnTo>
                <a:lnTo>
                  <a:pt x="0" y="1708"/>
                </a:lnTo>
                <a:lnTo>
                  <a:pt x="1748" y="1710"/>
                </a:lnTo>
                <a:lnTo>
                  <a:pt x="1749" y="0"/>
                </a:lnTo>
                <a:lnTo>
                  <a:pt x="0" y="0"/>
                </a:lnTo>
              </a:path>
            </a:pathLst>
          </a:custGeom>
          <a:solidFill>
            <a:schemeClr val="bg1"/>
          </a:solidFill>
          <a:ln w="19050" cap="rnd">
            <a:solidFill>
              <a:srgbClr val="8C8C8C"/>
            </a:solidFill>
            <a:round/>
            <a:headEnd/>
            <a:tailEnd/>
          </a:ln>
        </p:spPr>
        <p:txBody>
          <a:bodyPr/>
          <a:lstStyle/>
          <a:p>
            <a:pPr defTabSz="685800">
              <a:buClrTx/>
              <a:defRPr/>
            </a:pPr>
            <a:endParaRPr lang="en-US" sz="1050" kern="1200" dirty="0">
              <a:solidFill>
                <a:prstClr val="black"/>
              </a:solidFill>
              <a:ea typeface="+mn-ea"/>
              <a:cs typeface="+mn-cs"/>
            </a:endParaRPr>
          </a:p>
        </p:txBody>
      </p:sp>
      <p:sp>
        <p:nvSpPr>
          <p:cNvPr id="825345" name="Title 1"/>
          <p:cNvSpPr>
            <a:spLocks noGrp="1"/>
          </p:cNvSpPr>
          <p:nvPr>
            <p:ph type="title"/>
            <p:custDataLst>
              <p:tags r:id="rId3"/>
            </p:custDataLst>
          </p:nvPr>
        </p:nvSpPr>
        <p:spPr/>
        <p:txBody>
          <a:bodyPr/>
          <a:lstStyle/>
          <a:p>
            <a:r>
              <a:rPr lang="en-US"/>
              <a:t>Forces at work</a:t>
            </a:r>
          </a:p>
        </p:txBody>
      </p:sp>
      <p:sp>
        <p:nvSpPr>
          <p:cNvPr id="6" name="AutoShape 3"/>
          <p:cNvSpPr>
            <a:spLocks noChangeArrowheads="1"/>
          </p:cNvSpPr>
          <p:nvPr>
            <p:custDataLst>
              <p:tags r:id="rId4"/>
            </p:custDataLst>
          </p:nvPr>
        </p:nvSpPr>
        <p:spPr bwMode="blackWhite">
          <a:xfrm>
            <a:off x="3151585" y="2703200"/>
            <a:ext cx="756047" cy="330354"/>
          </a:xfrm>
          <a:prstGeom prst="rightArrow">
            <a:avLst>
              <a:gd name="adj1" fmla="val 48481"/>
              <a:gd name="adj2" fmla="val 123114"/>
            </a:avLst>
          </a:prstGeom>
          <a:solidFill>
            <a:schemeClr val="accent2"/>
          </a:solidFill>
          <a:ln w="12700">
            <a:solidFill>
              <a:schemeClr val="bg1"/>
            </a:solidFill>
            <a:miter lim="800000"/>
            <a:headEnd type="none" w="sm" len="sm"/>
            <a:tailEnd type="none" w="sm" len="sm"/>
          </a:ln>
        </p:spPr>
        <p:txBody>
          <a:bodyPr lIns="0" tIns="0" rIns="0" bIns="0" anchor="ctr">
            <a:spAutoFit/>
          </a:bodyPr>
          <a:lstStyle/>
          <a:p>
            <a:pPr algn="ctr" defTabSz="685800">
              <a:buClrTx/>
              <a:buFont typeface="Wingdings 2" pitchFamily="18" charset="2"/>
              <a:buChar char="¡"/>
              <a:defRPr/>
            </a:pPr>
            <a:endParaRPr lang="en-US" sz="1050" kern="1200" dirty="0">
              <a:solidFill>
                <a:prstClr val="black"/>
              </a:solidFill>
              <a:ea typeface="+mn-ea"/>
              <a:cs typeface="+mn-cs"/>
            </a:endParaRPr>
          </a:p>
        </p:txBody>
      </p:sp>
      <p:sp>
        <p:nvSpPr>
          <p:cNvPr id="7" name="AutoShape 4"/>
          <p:cNvSpPr>
            <a:spLocks noChangeArrowheads="1"/>
          </p:cNvSpPr>
          <p:nvPr>
            <p:custDataLst>
              <p:tags r:id="rId5"/>
            </p:custDataLst>
          </p:nvPr>
        </p:nvSpPr>
        <p:spPr bwMode="blackWhite">
          <a:xfrm flipH="1">
            <a:off x="5235178" y="2703200"/>
            <a:ext cx="756047" cy="330354"/>
          </a:xfrm>
          <a:prstGeom prst="rightArrow">
            <a:avLst>
              <a:gd name="adj1" fmla="val 48481"/>
              <a:gd name="adj2" fmla="val 123114"/>
            </a:avLst>
          </a:prstGeom>
          <a:solidFill>
            <a:srgbClr val="575757"/>
          </a:solidFill>
          <a:ln w="12700">
            <a:solidFill>
              <a:schemeClr val="bg1"/>
            </a:solidFill>
            <a:miter lim="800000"/>
            <a:headEnd type="none" w="sm" len="sm"/>
            <a:tailEnd type="none" w="sm" len="sm"/>
          </a:ln>
        </p:spPr>
        <p:txBody>
          <a:bodyPr lIns="0" tIns="0" rIns="0" bIns="0" anchor="ctr">
            <a:spAutoFit/>
          </a:bodyPr>
          <a:lstStyle/>
          <a:p>
            <a:pPr algn="ctr" defTabSz="685800">
              <a:buClrTx/>
              <a:buFont typeface="Wingdings 2" pitchFamily="18" charset="2"/>
              <a:buChar char="¡"/>
              <a:defRPr/>
            </a:pPr>
            <a:endParaRPr lang="en-US" sz="1050" kern="1200" dirty="0">
              <a:solidFill>
                <a:prstClr val="black"/>
              </a:solidFill>
              <a:ea typeface="+mn-ea"/>
              <a:cs typeface="+mn-cs"/>
            </a:endParaRPr>
          </a:p>
        </p:txBody>
      </p:sp>
      <p:sp>
        <p:nvSpPr>
          <p:cNvPr id="8" name="AutoShape 5"/>
          <p:cNvSpPr>
            <a:spLocks noChangeArrowheads="1"/>
          </p:cNvSpPr>
          <p:nvPr>
            <p:custDataLst>
              <p:tags r:id="rId6"/>
            </p:custDataLst>
          </p:nvPr>
        </p:nvSpPr>
        <p:spPr bwMode="blackWhite">
          <a:xfrm rot="16200000" flipH="1">
            <a:off x="4466802" y="1643819"/>
            <a:ext cx="211589" cy="303609"/>
          </a:xfrm>
          <a:prstGeom prst="rightArrow">
            <a:avLst>
              <a:gd name="adj1" fmla="val 48481"/>
              <a:gd name="adj2" fmla="val 49389"/>
            </a:avLst>
          </a:prstGeom>
          <a:solidFill>
            <a:srgbClr val="575757"/>
          </a:solidFill>
          <a:ln w="12700">
            <a:solidFill>
              <a:schemeClr val="bg1"/>
            </a:solidFill>
            <a:miter lim="800000"/>
            <a:headEnd type="none" w="sm" len="sm"/>
            <a:tailEnd type="none" w="sm" len="sm"/>
          </a:ln>
        </p:spPr>
        <p:txBody>
          <a:bodyPr vert="eaVert" lIns="0" tIns="0" rIns="0" bIns="0" anchor="ctr">
            <a:spAutoFit/>
          </a:bodyPr>
          <a:lstStyle/>
          <a:p>
            <a:pPr algn="ctr" defTabSz="685800">
              <a:buClrTx/>
              <a:buFont typeface="Wingdings 2" pitchFamily="18" charset="2"/>
              <a:buChar char="¡"/>
              <a:defRPr/>
            </a:pPr>
            <a:endParaRPr lang="en-US" sz="1050" kern="1200" dirty="0">
              <a:solidFill>
                <a:prstClr val="black"/>
              </a:solidFill>
              <a:ea typeface="+mn-ea"/>
              <a:cs typeface="+mn-cs"/>
            </a:endParaRPr>
          </a:p>
        </p:txBody>
      </p:sp>
      <p:sp>
        <p:nvSpPr>
          <p:cNvPr id="9" name="AutoShape 6"/>
          <p:cNvSpPr>
            <a:spLocks noChangeArrowheads="1"/>
          </p:cNvSpPr>
          <p:nvPr>
            <p:custDataLst>
              <p:tags r:id="rId7"/>
            </p:custDataLst>
          </p:nvPr>
        </p:nvSpPr>
        <p:spPr bwMode="blackWhite">
          <a:xfrm rot="5400000" flipH="1" flipV="1">
            <a:off x="4466802" y="3791707"/>
            <a:ext cx="211589" cy="303609"/>
          </a:xfrm>
          <a:prstGeom prst="rightArrow">
            <a:avLst>
              <a:gd name="adj1" fmla="val 48481"/>
              <a:gd name="adj2" fmla="val 49389"/>
            </a:avLst>
          </a:prstGeom>
          <a:solidFill>
            <a:srgbClr val="575757"/>
          </a:solidFill>
          <a:ln w="12700">
            <a:solidFill>
              <a:schemeClr val="bg1"/>
            </a:solidFill>
            <a:miter lim="800000"/>
            <a:headEnd type="none" w="sm" len="sm"/>
            <a:tailEnd type="none" w="sm" len="sm"/>
          </a:ln>
        </p:spPr>
        <p:txBody>
          <a:bodyPr vert="eaVert" lIns="0" tIns="0" rIns="0" bIns="0" anchor="ctr">
            <a:spAutoFit/>
          </a:bodyPr>
          <a:lstStyle/>
          <a:p>
            <a:pPr algn="ctr" defTabSz="685800">
              <a:buClrTx/>
              <a:buFont typeface="Wingdings 2" pitchFamily="18" charset="2"/>
              <a:buChar char="¡"/>
              <a:defRPr/>
            </a:pPr>
            <a:endParaRPr lang="en-US" sz="1050" kern="1200" dirty="0">
              <a:solidFill>
                <a:prstClr val="black"/>
              </a:solidFill>
              <a:ea typeface="+mn-ea"/>
              <a:cs typeface="+mn-cs"/>
            </a:endParaRPr>
          </a:p>
        </p:txBody>
      </p:sp>
      <p:sp>
        <p:nvSpPr>
          <p:cNvPr id="15" name="Text Placeholder 12"/>
          <p:cNvSpPr>
            <a:spLocks/>
          </p:cNvSpPr>
          <p:nvPr>
            <p:custDataLst>
              <p:tags r:id="rId8"/>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
        <p:nvSpPr>
          <p:cNvPr id="17" name="Text Placeholder 5"/>
          <p:cNvSpPr txBox="1">
            <a:spLocks/>
          </p:cNvSpPr>
          <p:nvPr>
            <p:custDataLst>
              <p:tags r:id="rId9"/>
            </p:custDataLst>
          </p:nvPr>
        </p:nvSpPr>
        <p:spPr>
          <a:xfrm>
            <a:off x="1600200" y="2583351"/>
            <a:ext cx="1485900" cy="563641"/>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Level one bullet</a:t>
            </a:r>
          </a:p>
          <a:p>
            <a:pPr marL="404622" lvl="2" indent="-205740" defTabSz="717947">
              <a:spcBef>
                <a:spcPts val="450"/>
              </a:spcBef>
              <a:buClrTx/>
            </a:pPr>
            <a:r>
              <a:rPr lang="en-US" sz="825" dirty="0">
                <a:solidFill>
                  <a:srgbClr val="313131"/>
                </a:solidFill>
                <a:latin typeface="Arial"/>
              </a:rPr>
              <a:t>Level two bullet </a:t>
            </a:r>
          </a:p>
          <a:p>
            <a:pPr marL="603504" lvl="3" indent="-205740" defTabSz="717947">
              <a:spcBef>
                <a:spcPts val="450"/>
              </a:spcBef>
              <a:buClrTx/>
            </a:pPr>
            <a:r>
              <a:rPr lang="en-US" sz="825" dirty="0">
                <a:solidFill>
                  <a:srgbClr val="313131"/>
                </a:solidFill>
                <a:latin typeface="Arial"/>
              </a:rPr>
              <a:t>Level three bullet</a:t>
            </a:r>
          </a:p>
        </p:txBody>
      </p:sp>
      <p:sp>
        <p:nvSpPr>
          <p:cNvPr id="20" name="Text Placeholder 5"/>
          <p:cNvSpPr txBox="1">
            <a:spLocks/>
          </p:cNvSpPr>
          <p:nvPr>
            <p:custDataLst>
              <p:tags r:id="rId10"/>
            </p:custDataLst>
          </p:nvPr>
        </p:nvSpPr>
        <p:spPr>
          <a:xfrm>
            <a:off x="3964543" y="2478133"/>
            <a:ext cx="1293257" cy="690599"/>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Level one bullet</a:t>
            </a:r>
          </a:p>
          <a:p>
            <a:pPr marL="404622" lvl="2" indent="-205740" defTabSz="717947">
              <a:spcBef>
                <a:spcPts val="450"/>
              </a:spcBef>
              <a:buClrTx/>
            </a:pPr>
            <a:r>
              <a:rPr lang="en-US" sz="825" dirty="0">
                <a:solidFill>
                  <a:srgbClr val="313131"/>
                </a:solidFill>
                <a:latin typeface="Arial"/>
              </a:rPr>
              <a:t>Level two bullet </a:t>
            </a:r>
          </a:p>
          <a:p>
            <a:pPr marL="603504" lvl="3" indent="-205740" defTabSz="717947">
              <a:spcBef>
                <a:spcPts val="450"/>
              </a:spcBef>
              <a:buClrTx/>
            </a:pPr>
            <a:r>
              <a:rPr lang="en-US" sz="825" dirty="0">
                <a:solidFill>
                  <a:srgbClr val="313131"/>
                </a:solidFill>
                <a:latin typeface="Arial"/>
              </a:rPr>
              <a:t>Level three  bullet</a:t>
            </a:r>
          </a:p>
        </p:txBody>
      </p:sp>
      <p:sp>
        <p:nvSpPr>
          <p:cNvPr id="23" name="Text Placeholder 5"/>
          <p:cNvSpPr txBox="1">
            <a:spLocks/>
          </p:cNvSpPr>
          <p:nvPr>
            <p:custDataLst>
              <p:tags r:id="rId11"/>
            </p:custDataLst>
          </p:nvPr>
        </p:nvSpPr>
        <p:spPr>
          <a:xfrm>
            <a:off x="3566603" y="1012054"/>
            <a:ext cx="2036479" cy="563641"/>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Level one bullet</a:t>
            </a:r>
          </a:p>
          <a:p>
            <a:pPr marL="404622" lvl="2" indent="-205740" defTabSz="717947">
              <a:spcBef>
                <a:spcPts val="450"/>
              </a:spcBef>
              <a:buClrTx/>
            </a:pPr>
            <a:r>
              <a:rPr lang="en-US" sz="825" dirty="0">
                <a:solidFill>
                  <a:srgbClr val="313131"/>
                </a:solidFill>
                <a:latin typeface="Arial"/>
              </a:rPr>
              <a:t>Level two bullet </a:t>
            </a:r>
          </a:p>
          <a:p>
            <a:pPr marL="603504" lvl="3" indent="-205740" defTabSz="717947">
              <a:spcBef>
                <a:spcPts val="450"/>
              </a:spcBef>
              <a:buClrTx/>
            </a:pPr>
            <a:r>
              <a:rPr lang="en-US" sz="825" dirty="0">
                <a:solidFill>
                  <a:srgbClr val="313131"/>
                </a:solidFill>
                <a:latin typeface="Arial"/>
              </a:rPr>
              <a:t>Level three bullet</a:t>
            </a:r>
          </a:p>
        </p:txBody>
      </p:sp>
      <p:sp>
        <p:nvSpPr>
          <p:cNvPr id="24" name="Text Placeholder 5"/>
          <p:cNvSpPr txBox="1">
            <a:spLocks/>
          </p:cNvSpPr>
          <p:nvPr>
            <p:custDataLst>
              <p:tags r:id="rId12"/>
            </p:custDataLst>
          </p:nvPr>
        </p:nvSpPr>
        <p:spPr>
          <a:xfrm>
            <a:off x="3589717" y="4114800"/>
            <a:ext cx="2036479" cy="563641"/>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Level one bullet</a:t>
            </a:r>
          </a:p>
          <a:p>
            <a:pPr marL="404622" lvl="2" indent="-205740" defTabSz="717947">
              <a:spcBef>
                <a:spcPts val="450"/>
              </a:spcBef>
              <a:buClrTx/>
            </a:pPr>
            <a:r>
              <a:rPr lang="en-US" sz="825" dirty="0">
                <a:solidFill>
                  <a:srgbClr val="313131"/>
                </a:solidFill>
                <a:latin typeface="Arial"/>
              </a:rPr>
              <a:t>Level two bullet </a:t>
            </a:r>
          </a:p>
          <a:p>
            <a:pPr marL="603504" lvl="3" indent="-205740" defTabSz="717947">
              <a:spcBef>
                <a:spcPts val="450"/>
              </a:spcBef>
              <a:buClrTx/>
            </a:pPr>
            <a:r>
              <a:rPr lang="en-US" sz="825" dirty="0">
                <a:solidFill>
                  <a:srgbClr val="313131"/>
                </a:solidFill>
                <a:latin typeface="Arial"/>
              </a:rPr>
              <a:t>Level three bullet</a:t>
            </a:r>
          </a:p>
        </p:txBody>
      </p:sp>
      <p:sp>
        <p:nvSpPr>
          <p:cNvPr id="25" name="Text Placeholder 5"/>
          <p:cNvSpPr txBox="1">
            <a:spLocks/>
          </p:cNvSpPr>
          <p:nvPr>
            <p:custDataLst>
              <p:tags r:id="rId13"/>
            </p:custDataLst>
          </p:nvPr>
        </p:nvSpPr>
        <p:spPr>
          <a:xfrm>
            <a:off x="6057900" y="2598761"/>
            <a:ext cx="1485900" cy="563641"/>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Level one bullet</a:t>
            </a:r>
          </a:p>
          <a:p>
            <a:pPr marL="404622" lvl="2" indent="-205740" defTabSz="717947">
              <a:spcBef>
                <a:spcPts val="450"/>
              </a:spcBef>
              <a:buClrTx/>
            </a:pPr>
            <a:r>
              <a:rPr lang="en-US" sz="825" dirty="0">
                <a:solidFill>
                  <a:srgbClr val="313131"/>
                </a:solidFill>
                <a:latin typeface="Arial"/>
              </a:rPr>
              <a:t>Level two bullet </a:t>
            </a:r>
          </a:p>
          <a:p>
            <a:pPr marL="603504" lvl="3" indent="-205740" defTabSz="717947">
              <a:spcBef>
                <a:spcPts val="450"/>
              </a:spcBef>
              <a:buClrTx/>
            </a:pPr>
            <a:r>
              <a:rPr lang="en-US" sz="825" dirty="0">
                <a:solidFill>
                  <a:srgbClr val="313131"/>
                </a:solidFill>
                <a:latin typeface="Arial"/>
              </a:rPr>
              <a:t>Level three bullet</a:t>
            </a:r>
          </a:p>
        </p:txBody>
      </p:sp>
    </p:spTree>
  </p:cSld>
  <p:clrMapOvr>
    <a:masterClrMapping/>
  </p:clrMapOvr>
  <p:transition>
    <p:fade/>
  </p:transition>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0578" name="Rectangle 2" hidden="1"/>
          <p:cNvGraphicFramePr>
            <a:graphicFrameLocks/>
          </p:cNvGraphicFramePr>
          <p:nvPr>
            <p:custDataLst>
              <p:tags r:id="rId1"/>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15" imgW="0" imgH="0" progId="">
                  <p:embed/>
                </p:oleObj>
              </mc:Choice>
              <mc:Fallback>
                <p:oleObj name="think-cell Slide" r:id="rId15" imgW="0" imgH="0" progId="">
                  <p:embed/>
                  <p:pic>
                    <p:nvPicPr>
                      <p:cNvPr id="280578"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0580" name="Title 1"/>
          <p:cNvSpPr>
            <a:spLocks noGrp="1"/>
          </p:cNvSpPr>
          <p:nvPr>
            <p:ph type="title"/>
            <p:custDataLst>
              <p:tags r:id="rId2"/>
            </p:custDataLst>
          </p:nvPr>
        </p:nvSpPr>
        <p:spPr/>
        <p:txBody>
          <a:bodyPr/>
          <a:lstStyle/>
          <a:p>
            <a:r>
              <a:rPr lang="en-US"/>
              <a:t>Force</a:t>
            </a:r>
            <a:r>
              <a:rPr lang="en-US" altLang="ja-JP"/>
              <a:t>d</a:t>
            </a:r>
            <a:endParaRPr lang="en-US"/>
          </a:p>
        </p:txBody>
      </p:sp>
      <p:sp>
        <p:nvSpPr>
          <p:cNvPr id="15" name="Text Placeholder 12"/>
          <p:cNvSpPr>
            <a:spLocks/>
          </p:cNvSpPr>
          <p:nvPr>
            <p:custDataLst>
              <p:tags r:id="rId3"/>
            </p:custDataLst>
          </p:nvPr>
        </p:nvSpPr>
        <p:spPr bwMode="auto">
          <a:xfrm>
            <a:off x="1440657" y="96012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
        <p:nvSpPr>
          <p:cNvPr id="16" name="Text Placeholder 12"/>
          <p:cNvSpPr>
            <a:spLocks/>
          </p:cNvSpPr>
          <p:nvPr>
            <p:custDataLst>
              <p:tags r:id="rId4"/>
            </p:custDataLst>
          </p:nvPr>
        </p:nvSpPr>
        <p:spPr bwMode="auto">
          <a:xfrm>
            <a:off x="4396121" y="2788421"/>
            <a:ext cx="351758" cy="216110"/>
          </a:xfrm>
          <a:prstGeom prst="rect">
            <a:avLst/>
          </a:prstGeom>
          <a:noFill/>
          <a:ln w="9525">
            <a:noFill/>
            <a:miter lim="800000"/>
            <a:headEnd/>
            <a:tailEnd/>
          </a:ln>
        </p:spPr>
        <p:txBody>
          <a:bodyPr wrap="square" lIns="27000" tIns="27000" rIns="27000" bIns="27000">
            <a:spAutoFit/>
          </a:bodyPr>
          <a:lstStyle/>
          <a:p>
            <a:pPr defTabSz="764381">
              <a:spcAft>
                <a:spcPts val="225"/>
              </a:spcAft>
              <a:buClrTx/>
            </a:pPr>
            <a:r>
              <a:rPr lang="en-US" sz="1050" b="1" kern="1200" dirty="0">
                <a:solidFill>
                  <a:srgbClr val="313131"/>
                </a:solidFill>
                <a:ea typeface="+mn-ea"/>
                <a:cs typeface="+mn-cs"/>
              </a:rPr>
              <a:t>Text</a:t>
            </a:r>
          </a:p>
        </p:txBody>
      </p:sp>
      <p:sp>
        <p:nvSpPr>
          <p:cNvPr id="17" name="Freeform 3"/>
          <p:cNvSpPr>
            <a:spLocks/>
          </p:cNvSpPr>
          <p:nvPr>
            <p:custDataLst>
              <p:tags r:id="rId5"/>
            </p:custDataLst>
          </p:nvPr>
        </p:nvSpPr>
        <p:spPr bwMode="blackWhite">
          <a:xfrm>
            <a:off x="4818570" y="1630963"/>
            <a:ext cx="1084659" cy="1029890"/>
          </a:xfrm>
          <a:custGeom>
            <a:avLst/>
            <a:gdLst>
              <a:gd name="T0" fmla="*/ 2147483647 w 671"/>
              <a:gd name="T1" fmla="*/ 2147483647 h 658"/>
              <a:gd name="T2" fmla="*/ 2147483647 w 671"/>
              <a:gd name="T3" fmla="*/ 2147483647 h 658"/>
              <a:gd name="T4" fmla="*/ 0 w 671"/>
              <a:gd name="T5" fmla="*/ 2147483647 h 658"/>
              <a:gd name="T6" fmla="*/ 0 w 671"/>
              <a:gd name="T7" fmla="*/ 2147483647 h 658"/>
              <a:gd name="T8" fmla="*/ 2147483647 w 671"/>
              <a:gd name="T9" fmla="*/ 2147483647 h 658"/>
              <a:gd name="T10" fmla="*/ 2147483647 w 671"/>
              <a:gd name="T11" fmla="*/ 2147483647 h 658"/>
              <a:gd name="T12" fmla="*/ 2147483647 w 671"/>
              <a:gd name="T13" fmla="*/ 0 h 658"/>
              <a:gd name="T14" fmla="*/ 2147483647 w 671"/>
              <a:gd name="T15" fmla="*/ 2147483647 h 658"/>
              <a:gd name="T16" fmla="*/ 2147483647 w 671"/>
              <a:gd name="T17" fmla="*/ 2147483647 h 658"/>
              <a:gd name="T18" fmla="*/ 2147483647 w 671"/>
              <a:gd name="T19" fmla="*/ 2147483647 h 658"/>
              <a:gd name="T20" fmla="*/ 2147483647 w 671"/>
              <a:gd name="T21" fmla="*/ 2147483647 h 658"/>
              <a:gd name="T22" fmla="*/ 2147483647 w 671"/>
              <a:gd name="T23" fmla="*/ 2147483647 h 65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1"/>
              <a:gd name="T37" fmla="*/ 0 h 658"/>
              <a:gd name="T38" fmla="*/ 671 w 671"/>
              <a:gd name="T39" fmla="*/ 658 h 65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1" h="658">
                <a:moveTo>
                  <a:pt x="491" y="578"/>
                </a:moveTo>
                <a:lnTo>
                  <a:pt x="491" y="657"/>
                </a:lnTo>
                <a:lnTo>
                  <a:pt x="0" y="657"/>
                </a:lnTo>
                <a:lnTo>
                  <a:pt x="0" y="166"/>
                </a:lnTo>
                <a:lnTo>
                  <a:pt x="95" y="166"/>
                </a:lnTo>
                <a:lnTo>
                  <a:pt x="95" y="506"/>
                </a:lnTo>
                <a:lnTo>
                  <a:pt x="602" y="0"/>
                </a:lnTo>
                <a:lnTo>
                  <a:pt x="670" y="63"/>
                </a:lnTo>
                <a:lnTo>
                  <a:pt x="166" y="570"/>
                </a:lnTo>
                <a:lnTo>
                  <a:pt x="491" y="570"/>
                </a:lnTo>
                <a:lnTo>
                  <a:pt x="491" y="657"/>
                </a:lnTo>
                <a:lnTo>
                  <a:pt x="491" y="578"/>
                </a:lnTo>
              </a:path>
            </a:pathLst>
          </a:custGeom>
          <a:solidFill>
            <a:srgbClr val="00A1DE"/>
          </a:solidFill>
          <a:ln w="12700" cap="rnd">
            <a:solidFill>
              <a:schemeClr val="bg1"/>
            </a:solidFill>
            <a:round/>
            <a:headEnd/>
            <a:tailEnd/>
          </a:ln>
        </p:spPr>
        <p:txBody>
          <a:bodyPr lIns="27000" tIns="27000" rIns="27000" bIns="27000"/>
          <a:lstStyle/>
          <a:p>
            <a:pPr defTabSz="685800">
              <a:buClrTx/>
            </a:pPr>
            <a:endParaRPr lang="en-US" sz="1350" kern="1200">
              <a:solidFill>
                <a:prstClr val="black"/>
              </a:solidFill>
              <a:ea typeface="+mn-ea"/>
              <a:cs typeface="+mn-cs"/>
            </a:endParaRPr>
          </a:p>
        </p:txBody>
      </p:sp>
      <p:sp>
        <p:nvSpPr>
          <p:cNvPr id="18" name="Freeform 4"/>
          <p:cNvSpPr>
            <a:spLocks/>
          </p:cNvSpPr>
          <p:nvPr>
            <p:custDataLst>
              <p:tags r:id="rId6"/>
            </p:custDataLst>
          </p:nvPr>
        </p:nvSpPr>
        <p:spPr bwMode="blackWhite">
          <a:xfrm>
            <a:off x="4818570" y="3143056"/>
            <a:ext cx="1090613" cy="1041797"/>
          </a:xfrm>
          <a:custGeom>
            <a:avLst/>
            <a:gdLst>
              <a:gd name="T0" fmla="*/ 2147483647 w 674"/>
              <a:gd name="T1" fmla="*/ 2147483647 h 666"/>
              <a:gd name="T2" fmla="*/ 2147483647 w 674"/>
              <a:gd name="T3" fmla="*/ 0 h 666"/>
              <a:gd name="T4" fmla="*/ 0 w 674"/>
              <a:gd name="T5" fmla="*/ 0 h 666"/>
              <a:gd name="T6" fmla="*/ 0 w 674"/>
              <a:gd name="T7" fmla="*/ 2147483647 h 666"/>
              <a:gd name="T8" fmla="*/ 2147483647 w 674"/>
              <a:gd name="T9" fmla="*/ 2147483647 h 666"/>
              <a:gd name="T10" fmla="*/ 2147483647 w 674"/>
              <a:gd name="T11" fmla="*/ 2147483647 h 666"/>
              <a:gd name="T12" fmla="*/ 2147483647 w 674"/>
              <a:gd name="T13" fmla="*/ 2147483647 h 666"/>
              <a:gd name="T14" fmla="*/ 2147483647 w 674"/>
              <a:gd name="T15" fmla="*/ 2147483647 h 666"/>
              <a:gd name="T16" fmla="*/ 2147483647 w 674"/>
              <a:gd name="T17" fmla="*/ 2147483647 h 666"/>
              <a:gd name="T18" fmla="*/ 2147483647 w 674"/>
              <a:gd name="T19" fmla="*/ 2147483647 h 666"/>
              <a:gd name="T20" fmla="*/ 2147483647 w 674"/>
              <a:gd name="T21" fmla="*/ 0 h 666"/>
              <a:gd name="T22" fmla="*/ 2147483647 w 674"/>
              <a:gd name="T23" fmla="*/ 2147483647 h 6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4"/>
              <a:gd name="T37" fmla="*/ 0 h 666"/>
              <a:gd name="T38" fmla="*/ 674 w 674"/>
              <a:gd name="T39" fmla="*/ 666 h 6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4" h="666">
                <a:moveTo>
                  <a:pt x="491" y="79"/>
                </a:moveTo>
                <a:lnTo>
                  <a:pt x="491" y="0"/>
                </a:lnTo>
                <a:lnTo>
                  <a:pt x="0" y="0"/>
                </a:lnTo>
                <a:lnTo>
                  <a:pt x="0" y="491"/>
                </a:lnTo>
                <a:lnTo>
                  <a:pt x="95" y="491"/>
                </a:lnTo>
                <a:lnTo>
                  <a:pt x="95" y="159"/>
                </a:lnTo>
                <a:lnTo>
                  <a:pt x="602" y="665"/>
                </a:lnTo>
                <a:lnTo>
                  <a:pt x="673" y="594"/>
                </a:lnTo>
                <a:lnTo>
                  <a:pt x="174" y="95"/>
                </a:lnTo>
                <a:lnTo>
                  <a:pt x="491" y="95"/>
                </a:lnTo>
                <a:lnTo>
                  <a:pt x="491" y="0"/>
                </a:lnTo>
                <a:lnTo>
                  <a:pt x="491" y="79"/>
                </a:lnTo>
              </a:path>
            </a:pathLst>
          </a:custGeom>
          <a:solidFill>
            <a:srgbClr val="00A1DE"/>
          </a:solidFill>
          <a:ln w="12700" cap="rnd">
            <a:solidFill>
              <a:schemeClr val="bg1"/>
            </a:solidFill>
            <a:round/>
            <a:headEnd/>
            <a:tailEnd/>
          </a:ln>
        </p:spPr>
        <p:txBody>
          <a:bodyPr lIns="27000" tIns="27000" rIns="27000" bIns="27000"/>
          <a:lstStyle/>
          <a:p>
            <a:pPr defTabSz="685800">
              <a:buClrTx/>
            </a:pPr>
            <a:endParaRPr lang="en-US" sz="1350" kern="1200">
              <a:solidFill>
                <a:prstClr val="black"/>
              </a:solidFill>
              <a:ea typeface="+mn-ea"/>
              <a:cs typeface="+mn-cs"/>
            </a:endParaRPr>
          </a:p>
        </p:txBody>
      </p:sp>
      <p:sp>
        <p:nvSpPr>
          <p:cNvPr id="19" name="Freeform 5"/>
          <p:cNvSpPr>
            <a:spLocks/>
          </p:cNvSpPr>
          <p:nvPr>
            <p:custDataLst>
              <p:tags r:id="rId7"/>
            </p:custDataLst>
          </p:nvPr>
        </p:nvSpPr>
        <p:spPr bwMode="blackWhite">
          <a:xfrm>
            <a:off x="3230276" y="3143056"/>
            <a:ext cx="1098947" cy="1052513"/>
          </a:xfrm>
          <a:custGeom>
            <a:avLst/>
            <a:gdLst>
              <a:gd name="T0" fmla="*/ 2147483647 w 680"/>
              <a:gd name="T1" fmla="*/ 2147483647 h 672"/>
              <a:gd name="T2" fmla="*/ 2147483647 w 680"/>
              <a:gd name="T3" fmla="*/ 0 h 672"/>
              <a:gd name="T4" fmla="*/ 2147483647 w 680"/>
              <a:gd name="T5" fmla="*/ 0 h 672"/>
              <a:gd name="T6" fmla="*/ 2147483647 w 680"/>
              <a:gd name="T7" fmla="*/ 2147483647 h 672"/>
              <a:gd name="T8" fmla="*/ 2147483647 w 680"/>
              <a:gd name="T9" fmla="*/ 2147483647 h 672"/>
              <a:gd name="T10" fmla="*/ 2147483647 w 680"/>
              <a:gd name="T11" fmla="*/ 2147483647 h 672"/>
              <a:gd name="T12" fmla="*/ 2147483647 w 680"/>
              <a:gd name="T13" fmla="*/ 2147483647 h 672"/>
              <a:gd name="T14" fmla="*/ 0 w 680"/>
              <a:gd name="T15" fmla="*/ 2147483647 h 672"/>
              <a:gd name="T16" fmla="*/ 2147483647 w 680"/>
              <a:gd name="T17" fmla="*/ 2147483647 h 672"/>
              <a:gd name="T18" fmla="*/ 2147483647 w 680"/>
              <a:gd name="T19" fmla="*/ 2147483647 h 672"/>
              <a:gd name="T20" fmla="*/ 2147483647 w 680"/>
              <a:gd name="T21" fmla="*/ 0 h 6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80"/>
              <a:gd name="T34" fmla="*/ 0 h 672"/>
              <a:gd name="T35" fmla="*/ 680 w 680"/>
              <a:gd name="T36" fmla="*/ 672 h 6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80" h="672">
                <a:moveTo>
                  <a:pt x="184" y="80"/>
                </a:moveTo>
                <a:lnTo>
                  <a:pt x="184" y="0"/>
                </a:lnTo>
                <a:lnTo>
                  <a:pt x="679" y="0"/>
                </a:lnTo>
                <a:lnTo>
                  <a:pt x="679" y="495"/>
                </a:lnTo>
                <a:lnTo>
                  <a:pt x="583" y="495"/>
                </a:lnTo>
                <a:lnTo>
                  <a:pt x="583" y="160"/>
                </a:lnTo>
                <a:lnTo>
                  <a:pt x="72" y="671"/>
                </a:lnTo>
                <a:lnTo>
                  <a:pt x="0" y="599"/>
                </a:lnTo>
                <a:lnTo>
                  <a:pt x="503" y="96"/>
                </a:lnTo>
                <a:lnTo>
                  <a:pt x="184" y="96"/>
                </a:lnTo>
                <a:lnTo>
                  <a:pt x="184" y="0"/>
                </a:lnTo>
              </a:path>
            </a:pathLst>
          </a:custGeom>
          <a:solidFill>
            <a:srgbClr val="00A1DE"/>
          </a:solidFill>
          <a:ln w="12700" cap="rnd">
            <a:solidFill>
              <a:schemeClr val="bg1"/>
            </a:solidFill>
            <a:round/>
            <a:headEnd type="none" w="sm" len="sm"/>
            <a:tailEnd type="none" w="sm" len="sm"/>
          </a:ln>
        </p:spPr>
        <p:txBody>
          <a:bodyPr lIns="27000" tIns="27000" rIns="27000" bIns="27000"/>
          <a:lstStyle/>
          <a:p>
            <a:pPr defTabSz="685800">
              <a:buClrTx/>
            </a:pPr>
            <a:endParaRPr lang="en-US" sz="1350" kern="1200">
              <a:solidFill>
                <a:prstClr val="black"/>
              </a:solidFill>
              <a:ea typeface="+mn-ea"/>
              <a:cs typeface="+mn-cs"/>
            </a:endParaRPr>
          </a:p>
        </p:txBody>
      </p:sp>
      <p:sp>
        <p:nvSpPr>
          <p:cNvPr id="20" name="Freeform 6"/>
          <p:cNvSpPr>
            <a:spLocks/>
          </p:cNvSpPr>
          <p:nvPr>
            <p:custDataLst>
              <p:tags r:id="rId8"/>
            </p:custDataLst>
          </p:nvPr>
        </p:nvSpPr>
        <p:spPr bwMode="blackWhite">
          <a:xfrm>
            <a:off x="3230276" y="1621438"/>
            <a:ext cx="1098947" cy="1039415"/>
          </a:xfrm>
          <a:custGeom>
            <a:avLst/>
            <a:gdLst>
              <a:gd name="T0" fmla="*/ 2147483647 w 680"/>
              <a:gd name="T1" fmla="*/ 2147483647 h 664"/>
              <a:gd name="T2" fmla="*/ 2147483647 w 680"/>
              <a:gd name="T3" fmla="*/ 2147483647 h 664"/>
              <a:gd name="T4" fmla="*/ 2147483647 w 680"/>
              <a:gd name="T5" fmla="*/ 2147483647 h 664"/>
              <a:gd name="T6" fmla="*/ 2147483647 w 680"/>
              <a:gd name="T7" fmla="*/ 2147483647 h 664"/>
              <a:gd name="T8" fmla="*/ 2147483647 w 680"/>
              <a:gd name="T9" fmla="*/ 2147483647 h 664"/>
              <a:gd name="T10" fmla="*/ 2147483647 w 680"/>
              <a:gd name="T11" fmla="*/ 2147483647 h 664"/>
              <a:gd name="T12" fmla="*/ 2147483647 w 680"/>
              <a:gd name="T13" fmla="*/ 0 h 664"/>
              <a:gd name="T14" fmla="*/ 0 w 680"/>
              <a:gd name="T15" fmla="*/ 2147483647 h 664"/>
              <a:gd name="T16" fmla="*/ 2147483647 w 680"/>
              <a:gd name="T17" fmla="*/ 2147483647 h 664"/>
              <a:gd name="T18" fmla="*/ 2147483647 w 680"/>
              <a:gd name="T19" fmla="*/ 2147483647 h 664"/>
              <a:gd name="T20" fmla="*/ 2147483647 w 680"/>
              <a:gd name="T21" fmla="*/ 2147483647 h 6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80"/>
              <a:gd name="T34" fmla="*/ 0 h 664"/>
              <a:gd name="T35" fmla="*/ 680 w 680"/>
              <a:gd name="T36" fmla="*/ 664 h 6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80" h="664">
                <a:moveTo>
                  <a:pt x="184" y="583"/>
                </a:moveTo>
                <a:lnTo>
                  <a:pt x="184" y="663"/>
                </a:lnTo>
                <a:lnTo>
                  <a:pt x="679" y="663"/>
                </a:lnTo>
                <a:lnTo>
                  <a:pt x="679" y="168"/>
                </a:lnTo>
                <a:lnTo>
                  <a:pt x="583" y="168"/>
                </a:lnTo>
                <a:lnTo>
                  <a:pt x="583" y="511"/>
                </a:lnTo>
                <a:lnTo>
                  <a:pt x="72" y="0"/>
                </a:lnTo>
                <a:lnTo>
                  <a:pt x="0" y="72"/>
                </a:lnTo>
                <a:lnTo>
                  <a:pt x="511" y="575"/>
                </a:lnTo>
                <a:lnTo>
                  <a:pt x="184" y="575"/>
                </a:lnTo>
                <a:lnTo>
                  <a:pt x="184" y="663"/>
                </a:lnTo>
              </a:path>
            </a:pathLst>
          </a:custGeom>
          <a:solidFill>
            <a:srgbClr val="00A1DE"/>
          </a:solidFill>
          <a:ln w="12700" cap="rnd">
            <a:solidFill>
              <a:schemeClr val="bg1"/>
            </a:solidFill>
            <a:round/>
            <a:headEnd type="none" w="sm" len="sm"/>
            <a:tailEnd type="none" w="sm" len="sm"/>
          </a:ln>
        </p:spPr>
        <p:txBody>
          <a:bodyPr lIns="27000" tIns="27000" rIns="27000" bIns="27000"/>
          <a:lstStyle/>
          <a:p>
            <a:pPr defTabSz="685800">
              <a:buClrTx/>
            </a:pPr>
            <a:endParaRPr lang="en-US" sz="1350" kern="1200">
              <a:solidFill>
                <a:prstClr val="black"/>
              </a:solidFill>
              <a:ea typeface="+mn-ea"/>
              <a:cs typeface="+mn-cs"/>
            </a:endParaRPr>
          </a:p>
        </p:txBody>
      </p:sp>
      <p:sp>
        <p:nvSpPr>
          <p:cNvPr id="21" name="Text Placeholder 5"/>
          <p:cNvSpPr txBox="1">
            <a:spLocks/>
          </p:cNvSpPr>
          <p:nvPr>
            <p:custDataLst>
              <p:tags r:id="rId9"/>
            </p:custDataLst>
          </p:nvPr>
        </p:nvSpPr>
        <p:spPr>
          <a:xfrm>
            <a:off x="5994143" y="1602393"/>
            <a:ext cx="2036479" cy="563641"/>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Level one bullet</a:t>
            </a:r>
          </a:p>
          <a:p>
            <a:pPr marL="404622" lvl="2" indent="-205740" defTabSz="717947">
              <a:spcBef>
                <a:spcPts val="450"/>
              </a:spcBef>
              <a:buClrTx/>
            </a:pPr>
            <a:r>
              <a:rPr lang="en-US" sz="825" dirty="0">
                <a:solidFill>
                  <a:srgbClr val="313131"/>
                </a:solidFill>
                <a:latin typeface="Arial"/>
              </a:rPr>
              <a:t>Level two bullet </a:t>
            </a:r>
          </a:p>
          <a:p>
            <a:pPr marL="603504" lvl="3" indent="-205740" defTabSz="717947">
              <a:spcBef>
                <a:spcPts val="450"/>
              </a:spcBef>
              <a:buClrTx/>
            </a:pPr>
            <a:r>
              <a:rPr lang="en-US" sz="825" dirty="0">
                <a:solidFill>
                  <a:srgbClr val="313131"/>
                </a:solidFill>
                <a:latin typeface="Arial"/>
              </a:rPr>
              <a:t>Level three bullet</a:t>
            </a:r>
          </a:p>
        </p:txBody>
      </p:sp>
      <p:sp>
        <p:nvSpPr>
          <p:cNvPr id="22" name="Text Placeholder 5"/>
          <p:cNvSpPr txBox="1">
            <a:spLocks/>
          </p:cNvSpPr>
          <p:nvPr>
            <p:custDataLst>
              <p:tags r:id="rId10"/>
            </p:custDataLst>
          </p:nvPr>
        </p:nvSpPr>
        <p:spPr>
          <a:xfrm>
            <a:off x="5994143" y="4000500"/>
            <a:ext cx="2036479" cy="563641"/>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Level one bullet</a:t>
            </a:r>
          </a:p>
          <a:p>
            <a:pPr marL="404622" lvl="2" indent="-205740" defTabSz="717947">
              <a:spcBef>
                <a:spcPts val="450"/>
              </a:spcBef>
              <a:buClrTx/>
            </a:pPr>
            <a:r>
              <a:rPr lang="en-US" sz="825" dirty="0">
                <a:solidFill>
                  <a:srgbClr val="313131"/>
                </a:solidFill>
                <a:latin typeface="Arial"/>
              </a:rPr>
              <a:t>Level two bullet </a:t>
            </a:r>
          </a:p>
          <a:p>
            <a:pPr marL="603504" lvl="3" indent="-205740" defTabSz="717947">
              <a:spcBef>
                <a:spcPts val="450"/>
              </a:spcBef>
              <a:buClrTx/>
            </a:pPr>
            <a:r>
              <a:rPr lang="en-US" sz="825" dirty="0">
                <a:solidFill>
                  <a:srgbClr val="313131"/>
                </a:solidFill>
                <a:latin typeface="Arial"/>
              </a:rPr>
              <a:t>Level three bullet</a:t>
            </a:r>
          </a:p>
        </p:txBody>
      </p:sp>
      <p:sp>
        <p:nvSpPr>
          <p:cNvPr id="23" name="Text Placeholder 5"/>
          <p:cNvSpPr txBox="1">
            <a:spLocks/>
          </p:cNvSpPr>
          <p:nvPr>
            <p:custDataLst>
              <p:tags r:id="rId11"/>
            </p:custDataLst>
          </p:nvPr>
        </p:nvSpPr>
        <p:spPr>
          <a:xfrm>
            <a:off x="1448821" y="4000500"/>
            <a:ext cx="1698172" cy="563641"/>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Level one bullet</a:t>
            </a:r>
          </a:p>
          <a:p>
            <a:pPr marL="404622" lvl="2" indent="-205740" defTabSz="717947">
              <a:spcBef>
                <a:spcPts val="450"/>
              </a:spcBef>
              <a:buClrTx/>
            </a:pPr>
            <a:r>
              <a:rPr lang="en-US" sz="825" dirty="0">
                <a:solidFill>
                  <a:srgbClr val="313131"/>
                </a:solidFill>
                <a:latin typeface="Arial"/>
              </a:rPr>
              <a:t>Level two bullet </a:t>
            </a:r>
          </a:p>
          <a:p>
            <a:pPr marL="603504" lvl="3" indent="-205740" defTabSz="717947">
              <a:spcBef>
                <a:spcPts val="450"/>
              </a:spcBef>
              <a:buClrTx/>
            </a:pPr>
            <a:r>
              <a:rPr lang="en-US" sz="825" dirty="0">
                <a:solidFill>
                  <a:srgbClr val="313131"/>
                </a:solidFill>
                <a:latin typeface="Arial"/>
              </a:rPr>
              <a:t>Level three bullet</a:t>
            </a:r>
          </a:p>
        </p:txBody>
      </p:sp>
      <p:sp>
        <p:nvSpPr>
          <p:cNvPr id="24" name="Text Placeholder 5"/>
          <p:cNvSpPr txBox="1">
            <a:spLocks/>
          </p:cNvSpPr>
          <p:nvPr>
            <p:custDataLst>
              <p:tags r:id="rId12"/>
            </p:custDataLst>
          </p:nvPr>
        </p:nvSpPr>
        <p:spPr>
          <a:xfrm>
            <a:off x="1448821" y="1602393"/>
            <a:ext cx="1698172" cy="563641"/>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Level one bullet</a:t>
            </a:r>
          </a:p>
          <a:p>
            <a:pPr marL="404622" lvl="2" indent="-205740" defTabSz="717947">
              <a:spcBef>
                <a:spcPts val="450"/>
              </a:spcBef>
              <a:buClrTx/>
            </a:pPr>
            <a:r>
              <a:rPr lang="en-US" sz="825" dirty="0">
                <a:solidFill>
                  <a:srgbClr val="313131"/>
                </a:solidFill>
                <a:latin typeface="Arial"/>
              </a:rPr>
              <a:t>Level two bullet </a:t>
            </a:r>
          </a:p>
          <a:p>
            <a:pPr marL="603504" lvl="3" indent="-205740" defTabSz="717947">
              <a:spcBef>
                <a:spcPts val="450"/>
              </a:spcBef>
              <a:buClrTx/>
            </a:pPr>
            <a:r>
              <a:rPr lang="en-US" sz="825" dirty="0">
                <a:solidFill>
                  <a:srgbClr val="313131"/>
                </a:solidFill>
                <a:latin typeface="Arial"/>
              </a:rPr>
              <a:t>Level three bullet</a:t>
            </a:r>
          </a:p>
        </p:txBody>
      </p:sp>
    </p:spTree>
  </p:cSld>
  <p:clrMapOvr>
    <a:masterClrMapping/>
  </p:clrMapOvr>
  <p:transition>
    <p:fade/>
  </p:transition>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7393" name="Title 1"/>
          <p:cNvSpPr>
            <a:spLocks noGrp="1"/>
          </p:cNvSpPr>
          <p:nvPr>
            <p:ph type="title"/>
          </p:nvPr>
        </p:nvSpPr>
        <p:spPr/>
        <p:txBody>
          <a:bodyPr/>
          <a:lstStyle/>
          <a:p>
            <a:r>
              <a:rPr lang="en-US"/>
              <a:t>Surround</a:t>
            </a:r>
          </a:p>
        </p:txBody>
      </p:sp>
      <p:sp>
        <p:nvSpPr>
          <p:cNvPr id="14"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grpSp>
        <p:nvGrpSpPr>
          <p:cNvPr id="4" name="Group 3"/>
          <p:cNvGrpSpPr/>
          <p:nvPr/>
        </p:nvGrpSpPr>
        <p:grpSpPr>
          <a:xfrm>
            <a:off x="2886049" y="1268730"/>
            <a:ext cx="3382565" cy="3273028"/>
            <a:chOff x="2324064" y="1700213"/>
            <a:chExt cx="4510087" cy="4364037"/>
          </a:xfrm>
        </p:grpSpPr>
        <p:sp>
          <p:nvSpPr>
            <p:cNvPr id="15" name="Freeform 3"/>
            <p:cNvSpPr>
              <a:spLocks/>
            </p:cNvSpPr>
            <p:nvPr/>
          </p:nvSpPr>
          <p:spPr bwMode="auto">
            <a:xfrm>
              <a:off x="4044914" y="4872038"/>
              <a:ext cx="1101725" cy="1192212"/>
            </a:xfrm>
            <a:custGeom>
              <a:avLst/>
              <a:gdLst>
                <a:gd name="T0" fmla="*/ 605650 w 553"/>
                <a:gd name="T1" fmla="*/ 1190277 h 616"/>
                <a:gd name="T2" fmla="*/ 478145 w 553"/>
                <a:gd name="T3" fmla="*/ 1190277 h 616"/>
                <a:gd name="T4" fmla="*/ 478145 w 553"/>
                <a:gd name="T5" fmla="*/ 230314 h 616"/>
                <a:gd name="T6" fmla="*/ 79691 w 553"/>
                <a:gd name="T7" fmla="*/ 601912 h 616"/>
                <a:gd name="T8" fmla="*/ 0 w 553"/>
                <a:gd name="T9" fmla="*/ 539979 h 616"/>
                <a:gd name="T10" fmla="*/ 573774 w 553"/>
                <a:gd name="T11" fmla="*/ 0 h 616"/>
                <a:gd name="T12" fmla="*/ 1099733 w 553"/>
                <a:gd name="T13" fmla="*/ 524496 h 616"/>
                <a:gd name="T14" fmla="*/ 1020042 w 553"/>
                <a:gd name="T15" fmla="*/ 601912 h 616"/>
                <a:gd name="T16" fmla="*/ 605650 w 553"/>
                <a:gd name="T17" fmla="*/ 230314 h 616"/>
                <a:gd name="T18" fmla="*/ 605650 w 553"/>
                <a:gd name="T19" fmla="*/ 1190277 h 6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3"/>
                <a:gd name="T31" fmla="*/ 0 h 616"/>
                <a:gd name="T32" fmla="*/ 553 w 553"/>
                <a:gd name="T33" fmla="*/ 616 h 6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3" h="616">
                  <a:moveTo>
                    <a:pt x="304" y="615"/>
                  </a:moveTo>
                  <a:lnTo>
                    <a:pt x="240" y="615"/>
                  </a:lnTo>
                  <a:lnTo>
                    <a:pt x="240" y="119"/>
                  </a:lnTo>
                  <a:lnTo>
                    <a:pt x="40" y="311"/>
                  </a:lnTo>
                  <a:lnTo>
                    <a:pt x="0" y="279"/>
                  </a:lnTo>
                  <a:lnTo>
                    <a:pt x="288" y="0"/>
                  </a:lnTo>
                  <a:lnTo>
                    <a:pt x="552" y="271"/>
                  </a:lnTo>
                  <a:lnTo>
                    <a:pt x="512" y="311"/>
                  </a:lnTo>
                  <a:lnTo>
                    <a:pt x="304" y="119"/>
                  </a:lnTo>
                  <a:lnTo>
                    <a:pt x="304" y="615"/>
                  </a:lnTo>
                </a:path>
              </a:pathLst>
            </a:custGeom>
            <a:solidFill>
              <a:srgbClr val="B4B4B4"/>
            </a:solidFill>
            <a:ln w="12700" cap="rnd">
              <a:solidFill>
                <a:schemeClr val="bg1"/>
              </a:solidFill>
              <a:round/>
              <a:headEnd/>
              <a:tailEnd/>
            </a:ln>
          </p:spPr>
          <p:txBody>
            <a:bodyPr wrap="square" lIns="27000" tIns="27000" rIns="27000" bIns="27000"/>
            <a:lstStyle/>
            <a:p>
              <a:pPr defTabSz="685800">
                <a:buClrTx/>
                <a:defRPr/>
              </a:pPr>
              <a:endParaRPr lang="en-US" sz="1350" kern="1200">
                <a:solidFill>
                  <a:prstClr val="black"/>
                </a:solidFill>
                <a:ea typeface="+mn-ea"/>
                <a:cs typeface="+mn-cs"/>
              </a:endParaRPr>
            </a:p>
          </p:txBody>
        </p:sp>
        <p:sp>
          <p:nvSpPr>
            <p:cNvPr id="16" name="Oval 4"/>
            <p:cNvSpPr>
              <a:spLocks noChangeArrowheads="1"/>
            </p:cNvSpPr>
            <p:nvPr/>
          </p:nvSpPr>
          <p:spPr bwMode="auto">
            <a:xfrm>
              <a:off x="3876639" y="3184525"/>
              <a:ext cx="1438275" cy="1381125"/>
            </a:xfrm>
            <a:prstGeom prst="ellipse">
              <a:avLst/>
            </a:prstGeom>
            <a:solidFill>
              <a:srgbClr val="00A1DE"/>
            </a:solidFill>
            <a:ln w="12700">
              <a:solidFill>
                <a:schemeClr val="bg1"/>
              </a:solidFill>
              <a:round/>
              <a:headEnd/>
              <a:tailEnd/>
            </a:ln>
          </p:spPr>
          <p:txBody>
            <a:bodyPr wrap="square" lIns="27000" tIns="27000" rIns="27000" bIns="27000" anchor="ctr"/>
            <a:lstStyle/>
            <a:p>
              <a:pPr algn="ctr" defTabSz="685800">
                <a:spcBef>
                  <a:spcPct val="0"/>
                </a:spcBef>
                <a:buClrTx/>
              </a:pPr>
              <a:r>
                <a:rPr lang="en-US" sz="1050" kern="1200" dirty="0">
                  <a:solidFill>
                    <a:prstClr val="white"/>
                  </a:solidFill>
                  <a:ea typeface="+mn-ea"/>
                  <a:cs typeface="+mn-cs"/>
                </a:rPr>
                <a:t>Text</a:t>
              </a:r>
            </a:p>
          </p:txBody>
        </p:sp>
        <p:sp>
          <p:nvSpPr>
            <p:cNvPr id="17" name="Freeform 5"/>
            <p:cNvSpPr>
              <a:spLocks/>
            </p:cNvSpPr>
            <p:nvPr/>
          </p:nvSpPr>
          <p:spPr bwMode="auto">
            <a:xfrm>
              <a:off x="5335551" y="4610100"/>
              <a:ext cx="955675" cy="896938"/>
            </a:xfrm>
            <a:custGeom>
              <a:avLst/>
              <a:gdLst>
                <a:gd name="T0" fmla="*/ 698837 w 480"/>
                <a:gd name="T1" fmla="*/ 92787 h 464"/>
                <a:gd name="T2" fmla="*/ 698837 w 480"/>
                <a:gd name="T3" fmla="*/ 0 h 464"/>
                <a:gd name="T4" fmla="*/ 0 w 480"/>
                <a:gd name="T5" fmla="*/ 0 h 464"/>
                <a:gd name="T6" fmla="*/ 0 w 480"/>
                <a:gd name="T7" fmla="*/ 663038 h 464"/>
                <a:gd name="T8" fmla="*/ 127423 w 480"/>
                <a:gd name="T9" fmla="*/ 663038 h 464"/>
                <a:gd name="T10" fmla="*/ 127423 w 480"/>
                <a:gd name="T11" fmla="*/ 201038 h 464"/>
                <a:gd name="T12" fmla="*/ 842189 w 480"/>
                <a:gd name="T13" fmla="*/ 895005 h 464"/>
                <a:gd name="T14" fmla="*/ 953684 w 480"/>
                <a:gd name="T15" fmla="*/ 786754 h 464"/>
                <a:gd name="T16" fmla="*/ 238919 w 480"/>
                <a:gd name="T17" fmla="*/ 123716 h 464"/>
                <a:gd name="T18" fmla="*/ 698837 w 480"/>
                <a:gd name="T19" fmla="*/ 123716 h 464"/>
                <a:gd name="T20" fmla="*/ 698837 w 480"/>
                <a:gd name="T21" fmla="*/ 0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0"/>
                <a:gd name="T34" fmla="*/ 0 h 464"/>
                <a:gd name="T35" fmla="*/ 480 w 480"/>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0" h="464">
                  <a:moveTo>
                    <a:pt x="351" y="48"/>
                  </a:moveTo>
                  <a:lnTo>
                    <a:pt x="351" y="0"/>
                  </a:lnTo>
                  <a:lnTo>
                    <a:pt x="0" y="0"/>
                  </a:lnTo>
                  <a:lnTo>
                    <a:pt x="0" y="343"/>
                  </a:lnTo>
                  <a:lnTo>
                    <a:pt x="64" y="343"/>
                  </a:lnTo>
                  <a:lnTo>
                    <a:pt x="64" y="104"/>
                  </a:lnTo>
                  <a:lnTo>
                    <a:pt x="423" y="463"/>
                  </a:lnTo>
                  <a:lnTo>
                    <a:pt x="479" y="407"/>
                  </a:lnTo>
                  <a:lnTo>
                    <a:pt x="120" y="64"/>
                  </a:lnTo>
                  <a:lnTo>
                    <a:pt x="351" y="64"/>
                  </a:lnTo>
                  <a:lnTo>
                    <a:pt x="351" y="0"/>
                  </a:lnTo>
                </a:path>
              </a:pathLst>
            </a:custGeom>
            <a:solidFill>
              <a:srgbClr val="B4B4B4"/>
            </a:solidFill>
            <a:ln w="12700" cap="rnd">
              <a:solidFill>
                <a:schemeClr val="bg1"/>
              </a:solidFill>
              <a:round/>
              <a:headEnd type="none" w="sm" len="sm"/>
              <a:tailEnd type="none" w="sm" len="sm"/>
            </a:ln>
          </p:spPr>
          <p:txBody>
            <a:bodyPr wrap="square" lIns="27000" tIns="27000" rIns="27000" bIns="27000"/>
            <a:lstStyle/>
            <a:p>
              <a:pPr defTabSz="685800">
                <a:buClrTx/>
                <a:defRPr/>
              </a:pPr>
              <a:endParaRPr lang="en-US" sz="1350" kern="1200">
                <a:solidFill>
                  <a:prstClr val="black"/>
                </a:solidFill>
                <a:ea typeface="+mn-ea"/>
                <a:cs typeface="+mn-cs"/>
              </a:endParaRPr>
            </a:p>
          </p:txBody>
        </p:sp>
        <p:sp>
          <p:nvSpPr>
            <p:cNvPr id="18" name="Freeform 6"/>
            <p:cNvSpPr>
              <a:spLocks/>
            </p:cNvSpPr>
            <p:nvPr/>
          </p:nvSpPr>
          <p:spPr bwMode="auto">
            <a:xfrm>
              <a:off x="5321264" y="2287588"/>
              <a:ext cx="938212" cy="884237"/>
            </a:xfrm>
            <a:custGeom>
              <a:avLst/>
              <a:gdLst>
                <a:gd name="T0" fmla="*/ 681794 w 472"/>
                <a:gd name="T1" fmla="*/ 789220 h 456"/>
                <a:gd name="T2" fmla="*/ 681794 w 472"/>
                <a:gd name="T3" fmla="*/ 882298 h 456"/>
                <a:gd name="T4" fmla="*/ 0 w 472"/>
                <a:gd name="T5" fmla="*/ 882298 h 456"/>
                <a:gd name="T6" fmla="*/ 0 w 472"/>
                <a:gd name="T7" fmla="*/ 217181 h 456"/>
                <a:gd name="T8" fmla="*/ 127215 w 472"/>
                <a:gd name="T9" fmla="*/ 217181 h 456"/>
                <a:gd name="T10" fmla="*/ 127215 w 472"/>
                <a:gd name="T11" fmla="*/ 680630 h 456"/>
                <a:gd name="T12" fmla="*/ 840813 w 472"/>
                <a:gd name="T13" fmla="*/ 0 h 456"/>
                <a:gd name="T14" fmla="*/ 936224 w 472"/>
                <a:gd name="T15" fmla="*/ 93078 h 456"/>
                <a:gd name="T16" fmla="*/ 222627 w 472"/>
                <a:gd name="T17" fmla="*/ 758194 h 456"/>
                <a:gd name="T18" fmla="*/ 681794 w 472"/>
                <a:gd name="T19" fmla="*/ 758194 h 456"/>
                <a:gd name="T20" fmla="*/ 681794 w 472"/>
                <a:gd name="T21" fmla="*/ 882298 h 4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56"/>
                <a:gd name="T35" fmla="*/ 472 w 472"/>
                <a:gd name="T36" fmla="*/ 456 h 45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56">
                  <a:moveTo>
                    <a:pt x="343" y="407"/>
                  </a:moveTo>
                  <a:lnTo>
                    <a:pt x="343" y="455"/>
                  </a:lnTo>
                  <a:lnTo>
                    <a:pt x="0" y="455"/>
                  </a:lnTo>
                  <a:lnTo>
                    <a:pt x="0" y="112"/>
                  </a:lnTo>
                  <a:lnTo>
                    <a:pt x="64" y="112"/>
                  </a:lnTo>
                  <a:lnTo>
                    <a:pt x="64" y="351"/>
                  </a:lnTo>
                  <a:lnTo>
                    <a:pt x="423" y="0"/>
                  </a:lnTo>
                  <a:lnTo>
                    <a:pt x="471" y="48"/>
                  </a:lnTo>
                  <a:lnTo>
                    <a:pt x="112" y="391"/>
                  </a:lnTo>
                  <a:lnTo>
                    <a:pt x="343" y="391"/>
                  </a:lnTo>
                  <a:lnTo>
                    <a:pt x="343" y="455"/>
                  </a:lnTo>
                </a:path>
              </a:pathLst>
            </a:custGeom>
            <a:solidFill>
              <a:srgbClr val="B4B4B4"/>
            </a:solidFill>
            <a:ln w="12700" cap="rnd">
              <a:solidFill>
                <a:schemeClr val="bg1"/>
              </a:solidFill>
              <a:round/>
              <a:headEnd type="none" w="sm" len="sm"/>
              <a:tailEnd type="none" w="sm" len="sm"/>
            </a:ln>
          </p:spPr>
          <p:txBody>
            <a:bodyPr wrap="square" lIns="27000" tIns="27000" rIns="27000" bIns="27000"/>
            <a:lstStyle/>
            <a:p>
              <a:pPr defTabSz="685800">
                <a:buClrTx/>
                <a:defRPr/>
              </a:pPr>
              <a:endParaRPr lang="en-US" sz="1350" kern="1200">
                <a:solidFill>
                  <a:prstClr val="black"/>
                </a:solidFill>
                <a:ea typeface="+mn-ea"/>
                <a:cs typeface="+mn-cs"/>
              </a:endParaRPr>
            </a:p>
          </p:txBody>
        </p:sp>
        <p:sp>
          <p:nvSpPr>
            <p:cNvPr id="19" name="Freeform 7"/>
            <p:cNvSpPr>
              <a:spLocks/>
            </p:cNvSpPr>
            <p:nvPr/>
          </p:nvSpPr>
          <p:spPr bwMode="auto">
            <a:xfrm>
              <a:off x="2900326" y="4576763"/>
              <a:ext cx="936625" cy="900112"/>
            </a:xfrm>
            <a:custGeom>
              <a:avLst/>
              <a:gdLst>
                <a:gd name="T0" fmla="*/ 254000 w 472"/>
                <a:gd name="T1" fmla="*/ 108634 h 464"/>
                <a:gd name="T2" fmla="*/ 254000 w 472"/>
                <a:gd name="T3" fmla="*/ 0 h 464"/>
                <a:gd name="T4" fmla="*/ 934641 w 472"/>
                <a:gd name="T5" fmla="*/ 0 h 464"/>
                <a:gd name="T6" fmla="*/ 934641 w 472"/>
                <a:gd name="T7" fmla="*/ 665385 h 464"/>
                <a:gd name="T8" fmla="*/ 807641 w 472"/>
                <a:gd name="T9" fmla="*/ 665385 h 464"/>
                <a:gd name="T10" fmla="*/ 807641 w 472"/>
                <a:gd name="T11" fmla="*/ 201749 h 464"/>
                <a:gd name="T12" fmla="*/ 95250 w 472"/>
                <a:gd name="T13" fmla="*/ 898172 h 464"/>
                <a:gd name="T14" fmla="*/ 0 w 472"/>
                <a:gd name="T15" fmla="*/ 789538 h 464"/>
                <a:gd name="T16" fmla="*/ 696516 w 472"/>
                <a:gd name="T17" fmla="*/ 124153 h 464"/>
                <a:gd name="T18" fmla="*/ 254000 w 472"/>
                <a:gd name="T19" fmla="*/ 124153 h 464"/>
                <a:gd name="T20" fmla="*/ 254000 w 472"/>
                <a:gd name="T21" fmla="*/ 0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56"/>
                  </a:moveTo>
                  <a:lnTo>
                    <a:pt x="128" y="0"/>
                  </a:lnTo>
                  <a:lnTo>
                    <a:pt x="471" y="0"/>
                  </a:lnTo>
                  <a:lnTo>
                    <a:pt x="471" y="343"/>
                  </a:lnTo>
                  <a:lnTo>
                    <a:pt x="407" y="343"/>
                  </a:lnTo>
                  <a:lnTo>
                    <a:pt x="407" y="104"/>
                  </a:lnTo>
                  <a:lnTo>
                    <a:pt x="48" y="463"/>
                  </a:lnTo>
                  <a:lnTo>
                    <a:pt x="0" y="407"/>
                  </a:lnTo>
                  <a:lnTo>
                    <a:pt x="351" y="64"/>
                  </a:lnTo>
                  <a:lnTo>
                    <a:pt x="128" y="64"/>
                  </a:lnTo>
                  <a:lnTo>
                    <a:pt x="128" y="0"/>
                  </a:lnTo>
                </a:path>
              </a:pathLst>
            </a:custGeom>
            <a:solidFill>
              <a:srgbClr val="B4B4B4"/>
            </a:solidFill>
            <a:ln w="12700" cap="rnd">
              <a:solidFill>
                <a:schemeClr val="bg1"/>
              </a:solidFill>
              <a:round/>
              <a:headEnd type="none" w="sm" len="sm"/>
              <a:tailEnd type="none" w="sm" len="sm"/>
            </a:ln>
          </p:spPr>
          <p:txBody>
            <a:bodyPr wrap="square" lIns="27000" tIns="27000" rIns="27000" bIns="27000"/>
            <a:lstStyle/>
            <a:p>
              <a:pPr defTabSz="685800">
                <a:buClrTx/>
                <a:defRPr/>
              </a:pPr>
              <a:endParaRPr lang="en-US" sz="1350" kern="1200">
                <a:solidFill>
                  <a:prstClr val="black"/>
                </a:solidFill>
                <a:ea typeface="+mn-ea"/>
                <a:cs typeface="+mn-cs"/>
              </a:endParaRPr>
            </a:p>
          </p:txBody>
        </p:sp>
        <p:sp>
          <p:nvSpPr>
            <p:cNvPr id="20" name="Freeform 8"/>
            <p:cNvSpPr>
              <a:spLocks/>
            </p:cNvSpPr>
            <p:nvPr/>
          </p:nvSpPr>
          <p:spPr bwMode="auto">
            <a:xfrm>
              <a:off x="2914614" y="2257425"/>
              <a:ext cx="938212" cy="896938"/>
            </a:xfrm>
            <a:custGeom>
              <a:avLst/>
              <a:gdLst>
                <a:gd name="T0" fmla="*/ 254430 w 472"/>
                <a:gd name="T1" fmla="*/ 786754 h 464"/>
                <a:gd name="T2" fmla="*/ 254430 w 472"/>
                <a:gd name="T3" fmla="*/ 895005 h 464"/>
                <a:gd name="T4" fmla="*/ 936224 w 472"/>
                <a:gd name="T5" fmla="*/ 895005 h 464"/>
                <a:gd name="T6" fmla="*/ 936224 w 472"/>
                <a:gd name="T7" fmla="*/ 231967 h 464"/>
                <a:gd name="T8" fmla="*/ 809009 w 472"/>
                <a:gd name="T9" fmla="*/ 231967 h 464"/>
                <a:gd name="T10" fmla="*/ 809009 w 472"/>
                <a:gd name="T11" fmla="*/ 693967 h 464"/>
                <a:gd name="T12" fmla="*/ 111313 w 472"/>
                <a:gd name="T13" fmla="*/ 0 h 464"/>
                <a:gd name="T14" fmla="*/ 0 w 472"/>
                <a:gd name="T15" fmla="*/ 108251 h 464"/>
                <a:gd name="T16" fmla="*/ 713598 w 472"/>
                <a:gd name="T17" fmla="*/ 771289 h 464"/>
                <a:gd name="T18" fmla="*/ 254430 w 472"/>
                <a:gd name="T19" fmla="*/ 771289 h 464"/>
                <a:gd name="T20" fmla="*/ 254430 w 472"/>
                <a:gd name="T21" fmla="*/ 895005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407"/>
                  </a:moveTo>
                  <a:lnTo>
                    <a:pt x="128" y="463"/>
                  </a:lnTo>
                  <a:lnTo>
                    <a:pt x="471" y="463"/>
                  </a:lnTo>
                  <a:lnTo>
                    <a:pt x="471" y="120"/>
                  </a:lnTo>
                  <a:lnTo>
                    <a:pt x="407" y="120"/>
                  </a:lnTo>
                  <a:lnTo>
                    <a:pt x="407" y="359"/>
                  </a:lnTo>
                  <a:lnTo>
                    <a:pt x="56" y="0"/>
                  </a:lnTo>
                  <a:lnTo>
                    <a:pt x="0" y="56"/>
                  </a:lnTo>
                  <a:lnTo>
                    <a:pt x="359" y="399"/>
                  </a:lnTo>
                  <a:lnTo>
                    <a:pt x="128" y="399"/>
                  </a:lnTo>
                  <a:lnTo>
                    <a:pt x="128" y="463"/>
                  </a:lnTo>
                </a:path>
              </a:pathLst>
            </a:custGeom>
            <a:solidFill>
              <a:srgbClr val="B4B4B4"/>
            </a:solidFill>
            <a:ln w="12700" cap="rnd">
              <a:solidFill>
                <a:schemeClr val="bg1"/>
              </a:solidFill>
              <a:round/>
              <a:headEnd type="none" w="sm" len="sm"/>
              <a:tailEnd type="none" w="sm" len="sm"/>
            </a:ln>
          </p:spPr>
          <p:txBody>
            <a:bodyPr wrap="square" lIns="27000" tIns="27000" rIns="27000" bIns="27000"/>
            <a:lstStyle/>
            <a:p>
              <a:pPr defTabSz="685800">
                <a:buClrTx/>
                <a:defRPr/>
              </a:pPr>
              <a:endParaRPr lang="en-US" sz="1350" kern="1200">
                <a:solidFill>
                  <a:prstClr val="black"/>
                </a:solidFill>
                <a:ea typeface="+mn-ea"/>
                <a:cs typeface="+mn-cs"/>
              </a:endParaRPr>
            </a:p>
          </p:txBody>
        </p:sp>
        <p:sp>
          <p:nvSpPr>
            <p:cNvPr id="21" name="Freeform 9"/>
            <p:cNvSpPr>
              <a:spLocks/>
            </p:cNvSpPr>
            <p:nvPr/>
          </p:nvSpPr>
          <p:spPr bwMode="auto">
            <a:xfrm>
              <a:off x="4011576" y="1700213"/>
              <a:ext cx="1101725" cy="1177925"/>
            </a:xfrm>
            <a:custGeom>
              <a:avLst/>
              <a:gdLst>
                <a:gd name="T0" fmla="*/ 637526 w 553"/>
                <a:gd name="T1" fmla="*/ 0 h 608"/>
                <a:gd name="T2" fmla="*/ 494083 w 553"/>
                <a:gd name="T3" fmla="*/ 0 h 608"/>
                <a:gd name="T4" fmla="*/ 494083 w 553"/>
                <a:gd name="T5" fmla="*/ 960939 h 608"/>
                <a:gd name="T6" fmla="*/ 79691 w 553"/>
                <a:gd name="T7" fmla="*/ 588963 h 608"/>
                <a:gd name="T8" fmla="*/ 0 w 553"/>
                <a:gd name="T9" fmla="*/ 635460 h 608"/>
                <a:gd name="T10" fmla="*/ 589712 w 553"/>
                <a:gd name="T11" fmla="*/ 1175988 h 608"/>
                <a:gd name="T12" fmla="*/ 1099733 w 553"/>
                <a:gd name="T13" fmla="*/ 666458 h 608"/>
                <a:gd name="T14" fmla="*/ 1020042 w 553"/>
                <a:gd name="T15" fmla="*/ 588963 h 608"/>
                <a:gd name="T16" fmla="*/ 637526 w 553"/>
                <a:gd name="T17" fmla="*/ 960939 h 608"/>
                <a:gd name="T18" fmla="*/ 637526 w 553"/>
                <a:gd name="T19" fmla="*/ 0 h 60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3"/>
                <a:gd name="T31" fmla="*/ 0 h 608"/>
                <a:gd name="T32" fmla="*/ 553 w 553"/>
                <a:gd name="T33" fmla="*/ 608 h 60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3" h="608">
                  <a:moveTo>
                    <a:pt x="320" y="0"/>
                  </a:moveTo>
                  <a:lnTo>
                    <a:pt x="248" y="0"/>
                  </a:lnTo>
                  <a:lnTo>
                    <a:pt x="248" y="496"/>
                  </a:lnTo>
                  <a:lnTo>
                    <a:pt x="40" y="304"/>
                  </a:lnTo>
                  <a:lnTo>
                    <a:pt x="0" y="328"/>
                  </a:lnTo>
                  <a:lnTo>
                    <a:pt x="296" y="607"/>
                  </a:lnTo>
                  <a:lnTo>
                    <a:pt x="552" y="344"/>
                  </a:lnTo>
                  <a:lnTo>
                    <a:pt x="512" y="304"/>
                  </a:lnTo>
                  <a:lnTo>
                    <a:pt x="320" y="496"/>
                  </a:lnTo>
                  <a:lnTo>
                    <a:pt x="320" y="0"/>
                  </a:lnTo>
                </a:path>
              </a:pathLst>
            </a:custGeom>
            <a:solidFill>
              <a:srgbClr val="B4B4B4"/>
            </a:solidFill>
            <a:ln w="12700" cap="rnd">
              <a:solidFill>
                <a:schemeClr val="bg1"/>
              </a:solidFill>
              <a:round/>
              <a:headEnd/>
              <a:tailEnd/>
            </a:ln>
          </p:spPr>
          <p:txBody>
            <a:bodyPr wrap="square" lIns="27000" tIns="27000" rIns="27000" bIns="27000"/>
            <a:lstStyle/>
            <a:p>
              <a:pPr defTabSz="685800">
                <a:buClrTx/>
                <a:defRPr/>
              </a:pPr>
              <a:endParaRPr lang="en-US" sz="1350" kern="1200">
                <a:solidFill>
                  <a:prstClr val="black"/>
                </a:solidFill>
                <a:ea typeface="+mn-ea"/>
                <a:cs typeface="+mn-cs"/>
              </a:endParaRPr>
            </a:p>
          </p:txBody>
        </p:sp>
        <p:sp>
          <p:nvSpPr>
            <p:cNvPr id="22" name="Freeform 10"/>
            <p:cNvSpPr>
              <a:spLocks/>
            </p:cNvSpPr>
            <p:nvPr/>
          </p:nvSpPr>
          <p:spPr bwMode="auto">
            <a:xfrm>
              <a:off x="2324064" y="3354388"/>
              <a:ext cx="1228725" cy="1071562"/>
            </a:xfrm>
            <a:custGeom>
              <a:avLst/>
              <a:gdLst>
                <a:gd name="T0" fmla="*/ 0 w 616"/>
                <a:gd name="T1" fmla="*/ 449552 h 553"/>
                <a:gd name="T2" fmla="*/ 0 w 616"/>
                <a:gd name="T3" fmla="*/ 589068 h 553"/>
                <a:gd name="T4" fmla="*/ 989363 w 616"/>
                <a:gd name="T5" fmla="*/ 589068 h 553"/>
                <a:gd name="T6" fmla="*/ 606384 w 616"/>
                <a:gd name="T7" fmla="*/ 992115 h 553"/>
                <a:gd name="T8" fmla="*/ 654256 w 616"/>
                <a:gd name="T9" fmla="*/ 1069624 h 553"/>
                <a:gd name="T10" fmla="*/ 1226730 w 616"/>
                <a:gd name="T11" fmla="*/ 496058 h 553"/>
                <a:gd name="T12" fmla="*/ 686171 w 616"/>
                <a:gd name="T13" fmla="*/ 0 h 553"/>
                <a:gd name="T14" fmla="*/ 606384 w 616"/>
                <a:gd name="T15" fmla="*/ 77509 h 553"/>
                <a:gd name="T16" fmla="*/ 989363 w 616"/>
                <a:gd name="T17" fmla="*/ 449552 h 553"/>
                <a:gd name="T18" fmla="*/ 0 w 616"/>
                <a:gd name="T19" fmla="*/ 449552 h 5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6"/>
                <a:gd name="T31" fmla="*/ 0 h 553"/>
                <a:gd name="T32" fmla="*/ 616 w 616"/>
                <a:gd name="T33" fmla="*/ 553 h 5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6" h="553">
                  <a:moveTo>
                    <a:pt x="0" y="232"/>
                  </a:moveTo>
                  <a:lnTo>
                    <a:pt x="0" y="304"/>
                  </a:lnTo>
                  <a:lnTo>
                    <a:pt x="496" y="304"/>
                  </a:lnTo>
                  <a:lnTo>
                    <a:pt x="304" y="512"/>
                  </a:lnTo>
                  <a:lnTo>
                    <a:pt x="328" y="552"/>
                  </a:lnTo>
                  <a:lnTo>
                    <a:pt x="615" y="256"/>
                  </a:lnTo>
                  <a:lnTo>
                    <a:pt x="344" y="0"/>
                  </a:lnTo>
                  <a:lnTo>
                    <a:pt x="304" y="40"/>
                  </a:lnTo>
                  <a:lnTo>
                    <a:pt x="496" y="232"/>
                  </a:lnTo>
                  <a:lnTo>
                    <a:pt x="0" y="232"/>
                  </a:lnTo>
                </a:path>
              </a:pathLst>
            </a:custGeom>
            <a:solidFill>
              <a:srgbClr val="B4B4B4"/>
            </a:solidFill>
            <a:ln w="12700" cap="rnd">
              <a:solidFill>
                <a:schemeClr val="bg1"/>
              </a:solidFill>
              <a:round/>
              <a:headEnd/>
              <a:tailEnd/>
            </a:ln>
          </p:spPr>
          <p:txBody>
            <a:bodyPr wrap="square" lIns="27000" tIns="27000" rIns="27000" bIns="27000"/>
            <a:lstStyle/>
            <a:p>
              <a:pPr defTabSz="685800">
                <a:buClrTx/>
                <a:defRPr/>
              </a:pPr>
              <a:endParaRPr lang="en-US" sz="1350" kern="1200">
                <a:solidFill>
                  <a:prstClr val="black"/>
                </a:solidFill>
                <a:ea typeface="+mn-ea"/>
                <a:cs typeface="+mn-cs"/>
              </a:endParaRPr>
            </a:p>
          </p:txBody>
        </p:sp>
        <p:sp>
          <p:nvSpPr>
            <p:cNvPr id="23" name="Freeform 11"/>
            <p:cNvSpPr>
              <a:spLocks/>
            </p:cNvSpPr>
            <p:nvPr/>
          </p:nvSpPr>
          <p:spPr bwMode="auto">
            <a:xfrm>
              <a:off x="5605426" y="3338513"/>
              <a:ext cx="1228725" cy="1057275"/>
            </a:xfrm>
            <a:custGeom>
              <a:avLst/>
              <a:gdLst>
                <a:gd name="T0" fmla="*/ 1226730 w 616"/>
                <a:gd name="T1" fmla="*/ 465589 h 545"/>
                <a:gd name="T2" fmla="*/ 1226730 w 616"/>
                <a:gd name="T3" fmla="*/ 589746 h 545"/>
                <a:gd name="T4" fmla="*/ 237367 w 616"/>
                <a:gd name="T5" fmla="*/ 589746 h 545"/>
                <a:gd name="T6" fmla="*/ 620347 w 616"/>
                <a:gd name="T7" fmla="*/ 977737 h 545"/>
                <a:gd name="T8" fmla="*/ 556517 w 616"/>
                <a:gd name="T9" fmla="*/ 1055335 h 545"/>
                <a:gd name="T10" fmla="*/ 0 w 616"/>
                <a:gd name="T11" fmla="*/ 496628 h 545"/>
                <a:gd name="T12" fmla="*/ 540559 w 616"/>
                <a:gd name="T13" fmla="*/ 0 h 545"/>
                <a:gd name="T14" fmla="*/ 620347 w 616"/>
                <a:gd name="T15" fmla="*/ 77598 h 545"/>
                <a:gd name="T16" fmla="*/ 237367 w 616"/>
                <a:gd name="T17" fmla="*/ 465589 h 545"/>
                <a:gd name="T18" fmla="*/ 1226730 w 616"/>
                <a:gd name="T19" fmla="*/ 465589 h 5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6"/>
                <a:gd name="T31" fmla="*/ 0 h 545"/>
                <a:gd name="T32" fmla="*/ 616 w 616"/>
                <a:gd name="T33" fmla="*/ 545 h 5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6" h="545">
                  <a:moveTo>
                    <a:pt x="615" y="240"/>
                  </a:moveTo>
                  <a:lnTo>
                    <a:pt x="615" y="304"/>
                  </a:lnTo>
                  <a:lnTo>
                    <a:pt x="119" y="304"/>
                  </a:lnTo>
                  <a:lnTo>
                    <a:pt x="311" y="504"/>
                  </a:lnTo>
                  <a:lnTo>
                    <a:pt x="279" y="544"/>
                  </a:lnTo>
                  <a:lnTo>
                    <a:pt x="0" y="256"/>
                  </a:lnTo>
                  <a:lnTo>
                    <a:pt x="271" y="0"/>
                  </a:lnTo>
                  <a:lnTo>
                    <a:pt x="311" y="40"/>
                  </a:lnTo>
                  <a:lnTo>
                    <a:pt x="119" y="240"/>
                  </a:lnTo>
                  <a:lnTo>
                    <a:pt x="615" y="240"/>
                  </a:lnTo>
                </a:path>
              </a:pathLst>
            </a:custGeom>
            <a:solidFill>
              <a:srgbClr val="B4B4B4"/>
            </a:solidFill>
            <a:ln w="12700" cap="rnd">
              <a:solidFill>
                <a:schemeClr val="bg1"/>
              </a:solidFill>
              <a:round/>
              <a:headEnd/>
              <a:tailEnd/>
            </a:ln>
          </p:spPr>
          <p:txBody>
            <a:bodyPr wrap="square" lIns="27000" tIns="27000" rIns="27000" bIns="27000"/>
            <a:lstStyle/>
            <a:p>
              <a:pPr defTabSz="685800">
                <a:buClrTx/>
                <a:defRPr/>
              </a:pPr>
              <a:endParaRPr lang="en-US" sz="1350" kern="1200">
                <a:solidFill>
                  <a:prstClr val="black"/>
                </a:solidFill>
                <a:ea typeface="+mn-ea"/>
                <a:cs typeface="+mn-cs"/>
              </a:endParaRPr>
            </a:p>
          </p:txBody>
        </p:sp>
      </p:grpSp>
    </p:spTree>
  </p:cSld>
  <p:clrMapOvr>
    <a:masterClrMapping/>
  </p:clrMapOvr>
  <p:transition>
    <p:fade/>
  </p:transition>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8417" name="Title 1"/>
          <p:cNvSpPr>
            <a:spLocks noGrp="1"/>
          </p:cNvSpPr>
          <p:nvPr>
            <p:ph type="title"/>
          </p:nvPr>
        </p:nvSpPr>
        <p:spPr/>
        <p:txBody>
          <a:bodyPr/>
          <a:lstStyle/>
          <a:p>
            <a:r>
              <a:rPr lang="en-US"/>
              <a:t>Flow down</a:t>
            </a:r>
          </a:p>
        </p:txBody>
      </p:sp>
      <p:sp>
        <p:nvSpPr>
          <p:cNvPr id="5" name="Freeform 3"/>
          <p:cNvSpPr>
            <a:spLocks/>
          </p:cNvSpPr>
          <p:nvPr/>
        </p:nvSpPr>
        <p:spPr bwMode="blackWhite">
          <a:xfrm>
            <a:off x="3089672" y="1371600"/>
            <a:ext cx="2952750" cy="2968228"/>
          </a:xfrm>
          <a:custGeom>
            <a:avLst/>
            <a:gdLst>
              <a:gd name="T0" fmla="*/ 2147483647 w 2634"/>
              <a:gd name="T1" fmla="*/ 2147483647 h 2443"/>
              <a:gd name="T2" fmla="*/ 2147483647 w 2634"/>
              <a:gd name="T3" fmla="*/ 2147483647 h 2443"/>
              <a:gd name="T4" fmla="*/ 2147483647 w 2634"/>
              <a:gd name="T5" fmla="*/ 2147483647 h 2443"/>
              <a:gd name="T6" fmla="*/ 2147483647 w 2634"/>
              <a:gd name="T7" fmla="*/ 2147483647 h 2443"/>
              <a:gd name="T8" fmla="*/ 2147483647 w 2634"/>
              <a:gd name="T9" fmla="*/ 2147483647 h 2443"/>
              <a:gd name="T10" fmla="*/ 2147483647 w 2634"/>
              <a:gd name="T11" fmla="*/ 0 h 2443"/>
              <a:gd name="T12" fmla="*/ 0 w 2634"/>
              <a:gd name="T13" fmla="*/ 0 h 2443"/>
              <a:gd name="T14" fmla="*/ 2147483647 w 2634"/>
              <a:gd name="T15" fmla="*/ 2147483647 h 2443"/>
              <a:gd name="T16" fmla="*/ 0 60000 65536"/>
              <a:gd name="T17" fmla="*/ 0 60000 65536"/>
              <a:gd name="T18" fmla="*/ 0 60000 65536"/>
              <a:gd name="T19" fmla="*/ 0 60000 65536"/>
              <a:gd name="T20" fmla="*/ 0 60000 65536"/>
              <a:gd name="T21" fmla="*/ 0 60000 65536"/>
              <a:gd name="T22" fmla="*/ 0 60000 65536"/>
              <a:gd name="T23" fmla="*/ 0 60000 65536"/>
              <a:gd name="T24" fmla="*/ 0 w 2634"/>
              <a:gd name="T25" fmla="*/ 0 h 2443"/>
              <a:gd name="T26" fmla="*/ 2634 w 2634"/>
              <a:gd name="T27" fmla="*/ 2443 h 24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34" h="2443">
                <a:moveTo>
                  <a:pt x="791" y="2042"/>
                </a:moveTo>
                <a:lnTo>
                  <a:pt x="495" y="2042"/>
                </a:lnTo>
                <a:lnTo>
                  <a:pt x="1318" y="2443"/>
                </a:lnTo>
                <a:lnTo>
                  <a:pt x="2141" y="2042"/>
                </a:lnTo>
                <a:lnTo>
                  <a:pt x="1799" y="2042"/>
                </a:lnTo>
                <a:lnTo>
                  <a:pt x="2634" y="0"/>
                </a:lnTo>
                <a:lnTo>
                  <a:pt x="0" y="0"/>
                </a:lnTo>
                <a:lnTo>
                  <a:pt x="791" y="2042"/>
                </a:lnTo>
                <a:close/>
              </a:path>
            </a:pathLst>
          </a:custGeom>
          <a:solidFill>
            <a:srgbClr val="00A1DE"/>
          </a:solidFill>
          <a:ln w="12700" cap="rnd">
            <a:solidFill>
              <a:schemeClr val="bg1"/>
            </a:solidFill>
            <a:round/>
            <a:headEnd/>
            <a:tailEnd/>
          </a:ln>
        </p:spPr>
        <p:txBody>
          <a:bodyPr lIns="27000" tIns="27000" rIns="27000" bIns="27000"/>
          <a:lstStyle/>
          <a:p>
            <a:pPr defTabSz="685800">
              <a:buClrTx/>
              <a:defRPr/>
            </a:pPr>
            <a:endParaRPr lang="en-US" sz="1350" kern="1200" dirty="0">
              <a:solidFill>
                <a:prstClr val="black"/>
              </a:solidFill>
              <a:ea typeface="+mn-ea"/>
              <a:cs typeface="+mn-cs"/>
            </a:endParaRPr>
          </a:p>
        </p:txBody>
      </p:sp>
      <p:sp>
        <p:nvSpPr>
          <p:cNvPr id="828420" name="Rectangle 4"/>
          <p:cNvSpPr>
            <a:spLocks noChangeArrowheads="1"/>
          </p:cNvSpPr>
          <p:nvPr/>
        </p:nvSpPr>
        <p:spPr bwMode="blackWhite">
          <a:xfrm>
            <a:off x="3088482" y="3006328"/>
            <a:ext cx="2956322" cy="161925"/>
          </a:xfrm>
          <a:prstGeom prst="rect">
            <a:avLst/>
          </a:prstGeom>
          <a:solidFill>
            <a:srgbClr val="DCDCDC"/>
          </a:solidFill>
          <a:ln w="12700">
            <a:solidFill>
              <a:schemeClr val="bg1"/>
            </a:solidFill>
            <a:miter lim="800000"/>
            <a:headEnd/>
            <a:tailEnd/>
          </a:ln>
        </p:spPr>
        <p:txBody>
          <a:bodyPr wrap="none" lIns="27000" tIns="27000" rIns="27000" bIns="27000" anchor="ctr"/>
          <a:lstStyle/>
          <a:p>
            <a:pPr algn="ctr" defTabSz="685800">
              <a:buClrTx/>
            </a:pPr>
            <a:endParaRPr lang="en-US" sz="1350" kern="1200">
              <a:solidFill>
                <a:prstClr val="black"/>
              </a:solidFill>
              <a:ea typeface="+mn-ea"/>
              <a:cs typeface="+mn-cs"/>
            </a:endParaRPr>
          </a:p>
        </p:txBody>
      </p:sp>
      <p:sp>
        <p:nvSpPr>
          <p:cNvPr id="828421" name="Rectangle 5"/>
          <p:cNvSpPr>
            <a:spLocks noChangeArrowheads="1"/>
          </p:cNvSpPr>
          <p:nvPr/>
        </p:nvSpPr>
        <p:spPr bwMode="blackWhite">
          <a:xfrm>
            <a:off x="3088482" y="2171701"/>
            <a:ext cx="2956322" cy="163115"/>
          </a:xfrm>
          <a:prstGeom prst="rect">
            <a:avLst/>
          </a:prstGeom>
          <a:solidFill>
            <a:srgbClr val="DCDCDC"/>
          </a:solidFill>
          <a:ln w="12700">
            <a:solidFill>
              <a:schemeClr val="bg1"/>
            </a:solidFill>
            <a:miter lim="800000"/>
            <a:headEnd/>
            <a:tailEnd/>
          </a:ln>
        </p:spPr>
        <p:txBody>
          <a:bodyPr wrap="none" lIns="27000" tIns="27000" rIns="27000" bIns="27000" anchor="ctr"/>
          <a:lstStyle/>
          <a:p>
            <a:pPr algn="ctr" defTabSz="685800">
              <a:buClrTx/>
            </a:pPr>
            <a:endParaRPr lang="en-US" sz="1350" kern="1200">
              <a:solidFill>
                <a:prstClr val="black"/>
              </a:solidFill>
              <a:ea typeface="+mn-ea"/>
              <a:cs typeface="+mn-cs"/>
            </a:endParaRPr>
          </a:p>
        </p:txBody>
      </p:sp>
      <p:sp>
        <p:nvSpPr>
          <p:cNvPr id="828422" name="Rectangle 6"/>
          <p:cNvSpPr>
            <a:spLocks noChangeArrowheads="1"/>
          </p:cNvSpPr>
          <p:nvPr>
            <p:custDataLst>
              <p:tags r:id="rId1"/>
            </p:custDataLst>
          </p:nvPr>
        </p:nvSpPr>
        <p:spPr bwMode="auto">
          <a:xfrm>
            <a:off x="4408139" y="1678945"/>
            <a:ext cx="315817" cy="208031"/>
          </a:xfrm>
          <a:prstGeom prst="rect">
            <a:avLst/>
          </a:prstGeom>
          <a:noFill/>
          <a:ln w="9525">
            <a:noFill/>
            <a:miter lim="800000"/>
            <a:headEnd/>
            <a:tailEnd/>
          </a:ln>
        </p:spPr>
        <p:txBody>
          <a:bodyPr wrap="none" lIns="27000" tIns="27000" rIns="27000" bIns="27000" anchor="ctr" anchorCtr="1">
            <a:spAutoFit/>
          </a:bodyPr>
          <a:lstStyle/>
          <a:p>
            <a:pPr algn="ctr" defTabSz="590550">
              <a:lnSpc>
                <a:spcPct val="95000"/>
              </a:lnSpc>
              <a:spcBef>
                <a:spcPct val="80000"/>
              </a:spcBef>
              <a:buClr>
                <a:prstClr val="black"/>
              </a:buClr>
            </a:pPr>
            <a:r>
              <a:rPr lang="en-US" sz="1050" kern="1200" dirty="0">
                <a:solidFill>
                  <a:prstClr val="white"/>
                </a:solidFill>
                <a:ea typeface="+mn-ea"/>
                <a:cs typeface="+mn-cs"/>
              </a:rPr>
              <a:t>Text</a:t>
            </a:r>
          </a:p>
        </p:txBody>
      </p:sp>
      <p:sp>
        <p:nvSpPr>
          <p:cNvPr id="828423" name="Rectangle 7"/>
          <p:cNvSpPr>
            <a:spLocks noChangeArrowheads="1"/>
          </p:cNvSpPr>
          <p:nvPr>
            <p:custDataLst>
              <p:tags r:id="rId2"/>
            </p:custDataLst>
          </p:nvPr>
        </p:nvSpPr>
        <p:spPr bwMode="auto">
          <a:xfrm>
            <a:off x="4408139" y="2585011"/>
            <a:ext cx="315817" cy="208031"/>
          </a:xfrm>
          <a:prstGeom prst="rect">
            <a:avLst/>
          </a:prstGeom>
          <a:noFill/>
          <a:ln w="9525">
            <a:noFill/>
            <a:miter lim="800000"/>
            <a:headEnd/>
            <a:tailEnd/>
          </a:ln>
        </p:spPr>
        <p:txBody>
          <a:bodyPr wrap="none" lIns="27000" tIns="27000" rIns="27000" bIns="27000" anchor="ctr" anchorCtr="1">
            <a:spAutoFit/>
          </a:bodyPr>
          <a:lstStyle/>
          <a:p>
            <a:pPr algn="ctr" defTabSz="590550">
              <a:lnSpc>
                <a:spcPct val="95000"/>
              </a:lnSpc>
              <a:spcBef>
                <a:spcPct val="80000"/>
              </a:spcBef>
              <a:buClr>
                <a:prstClr val="black"/>
              </a:buClr>
            </a:pPr>
            <a:r>
              <a:rPr lang="en-US" sz="1050" kern="1200">
                <a:solidFill>
                  <a:prstClr val="white"/>
                </a:solidFill>
                <a:ea typeface="+mn-ea"/>
                <a:cs typeface="+mn-cs"/>
              </a:rPr>
              <a:t>Text</a:t>
            </a:r>
          </a:p>
        </p:txBody>
      </p:sp>
      <p:sp>
        <p:nvSpPr>
          <p:cNvPr id="828424" name="Rectangle 8"/>
          <p:cNvSpPr>
            <a:spLocks noChangeArrowheads="1"/>
          </p:cNvSpPr>
          <p:nvPr>
            <p:custDataLst>
              <p:tags r:id="rId3"/>
            </p:custDataLst>
          </p:nvPr>
        </p:nvSpPr>
        <p:spPr bwMode="auto">
          <a:xfrm>
            <a:off x="4408139" y="3468455"/>
            <a:ext cx="315817" cy="208031"/>
          </a:xfrm>
          <a:prstGeom prst="rect">
            <a:avLst/>
          </a:prstGeom>
          <a:noFill/>
          <a:ln w="9525">
            <a:noFill/>
            <a:miter lim="800000"/>
            <a:headEnd/>
            <a:tailEnd/>
          </a:ln>
        </p:spPr>
        <p:txBody>
          <a:bodyPr wrap="none" lIns="27000" tIns="27000" rIns="27000" bIns="27000" anchor="ctr" anchorCtr="1">
            <a:spAutoFit/>
          </a:bodyPr>
          <a:lstStyle/>
          <a:p>
            <a:pPr algn="ctr" defTabSz="590550">
              <a:lnSpc>
                <a:spcPct val="95000"/>
              </a:lnSpc>
              <a:spcBef>
                <a:spcPct val="80000"/>
              </a:spcBef>
              <a:buClr>
                <a:prstClr val="black"/>
              </a:buClr>
            </a:pPr>
            <a:r>
              <a:rPr lang="en-US" sz="1050" kern="1200">
                <a:solidFill>
                  <a:prstClr val="white"/>
                </a:solidFill>
                <a:ea typeface="+mn-ea"/>
                <a:cs typeface="+mn-cs"/>
              </a:rPr>
              <a:t>Text</a:t>
            </a:r>
          </a:p>
        </p:txBody>
      </p:sp>
      <p:sp>
        <p:nvSpPr>
          <p:cNvPr id="11" name="Text Placeholder 12"/>
          <p:cNvSpPr>
            <a:spLocks/>
          </p:cNvSpPr>
          <p:nvPr>
            <p:custDataLst>
              <p:tags r:id="rId4"/>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Tree>
  </p:cSld>
  <p:clrMapOvr>
    <a:masterClrMapping/>
  </p:clrMapOvr>
  <p:transition>
    <p:fade/>
  </p:transition>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41" name="Title 1"/>
          <p:cNvSpPr>
            <a:spLocks noGrp="1"/>
          </p:cNvSpPr>
          <p:nvPr>
            <p:ph type="title"/>
          </p:nvPr>
        </p:nvSpPr>
        <p:spPr/>
        <p:txBody>
          <a:bodyPr/>
          <a:lstStyle/>
          <a:p>
            <a:r>
              <a:rPr lang="en-US" altLang="ja-JP"/>
              <a:t>History</a:t>
            </a:r>
            <a:endParaRPr lang="en-US"/>
          </a:p>
        </p:txBody>
      </p:sp>
      <p:sp>
        <p:nvSpPr>
          <p:cNvPr id="20"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
        <p:nvSpPr>
          <p:cNvPr id="21" name="Rectangle 20"/>
          <p:cNvSpPr/>
          <p:nvPr/>
        </p:nvSpPr>
        <p:spPr>
          <a:xfrm>
            <a:off x="2600627" y="2410244"/>
            <a:ext cx="3909060" cy="216110"/>
          </a:xfrm>
          <a:prstGeom prst="rect">
            <a:avLst/>
          </a:pr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22" name="TextBox 21"/>
          <p:cNvSpPr txBox="1"/>
          <p:nvPr/>
        </p:nvSpPr>
        <p:spPr>
          <a:xfrm>
            <a:off x="2339184" y="2113016"/>
            <a:ext cx="274843" cy="230832"/>
          </a:xfrm>
          <a:prstGeom prst="rect">
            <a:avLst/>
          </a:prstGeom>
          <a:noFill/>
        </p:spPr>
        <p:txBody>
          <a:bodyPr wrap="square" lIns="0" tIns="0" rIns="0" bIns="0" rtlCol="0">
            <a:spAutoFit/>
          </a:bodyPr>
          <a:lstStyle/>
          <a:p>
            <a:pPr algn="ctr" defTabSz="685800">
              <a:buClrTx/>
            </a:pPr>
            <a:r>
              <a:rPr lang="en-US" sz="1500" kern="1200" dirty="0">
                <a:solidFill>
                  <a:srgbClr val="81BC00"/>
                </a:solidFill>
                <a:ea typeface="+mn-ea"/>
                <a:cs typeface="+mn-cs"/>
              </a:rPr>
              <a:t>01</a:t>
            </a:r>
          </a:p>
        </p:txBody>
      </p:sp>
      <p:sp>
        <p:nvSpPr>
          <p:cNvPr id="23" name="Oval 22"/>
          <p:cNvSpPr/>
          <p:nvPr/>
        </p:nvSpPr>
        <p:spPr>
          <a:xfrm>
            <a:off x="2580804" y="2436642"/>
            <a:ext cx="150876" cy="152767"/>
          </a:xfrm>
          <a:prstGeom prst="ellipse">
            <a:avLst/>
          </a:prstGeom>
          <a:solidFill>
            <a:schemeClr val="bg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685800">
              <a:buClrTx/>
            </a:pPr>
            <a:endParaRPr lang="en-US" sz="750" b="1" kern="1200" dirty="0">
              <a:solidFill>
                <a:srgbClr val="FFFFFF"/>
              </a:solidFill>
              <a:latin typeface="Arial"/>
            </a:endParaRPr>
          </a:p>
        </p:txBody>
      </p:sp>
      <p:sp>
        <p:nvSpPr>
          <p:cNvPr id="24" name="Oval 23"/>
          <p:cNvSpPr/>
          <p:nvPr/>
        </p:nvSpPr>
        <p:spPr>
          <a:xfrm>
            <a:off x="3213909" y="2436642"/>
            <a:ext cx="150876" cy="152767"/>
          </a:xfrm>
          <a:prstGeom prst="ellipse">
            <a:avLst/>
          </a:prstGeom>
          <a:solidFill>
            <a:schemeClr val="bg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685800">
              <a:buClrTx/>
            </a:pPr>
            <a:endParaRPr lang="en-US" sz="750" b="1" kern="1200" dirty="0">
              <a:solidFill>
                <a:srgbClr val="FFFFFF"/>
              </a:solidFill>
              <a:latin typeface="Arial"/>
            </a:endParaRPr>
          </a:p>
        </p:txBody>
      </p:sp>
      <p:sp>
        <p:nvSpPr>
          <p:cNvPr id="25" name="Oval 24"/>
          <p:cNvSpPr/>
          <p:nvPr/>
        </p:nvSpPr>
        <p:spPr>
          <a:xfrm>
            <a:off x="3847014" y="2436642"/>
            <a:ext cx="150876" cy="152767"/>
          </a:xfrm>
          <a:prstGeom prst="ellipse">
            <a:avLst/>
          </a:prstGeom>
          <a:solidFill>
            <a:schemeClr val="bg2"/>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685800">
              <a:buClrTx/>
            </a:pPr>
            <a:endParaRPr lang="en-US" sz="750" b="1" kern="1200" dirty="0">
              <a:solidFill>
                <a:srgbClr val="FFFFFF"/>
              </a:solidFill>
              <a:latin typeface="Arial"/>
            </a:endParaRPr>
          </a:p>
        </p:txBody>
      </p:sp>
      <p:sp>
        <p:nvSpPr>
          <p:cNvPr id="26" name="Oval 25"/>
          <p:cNvSpPr/>
          <p:nvPr/>
        </p:nvSpPr>
        <p:spPr>
          <a:xfrm>
            <a:off x="4480119" y="2436642"/>
            <a:ext cx="150876" cy="152767"/>
          </a:xfrm>
          <a:prstGeom prst="ellipse">
            <a:avLst/>
          </a:prstGeom>
          <a:solidFill>
            <a:schemeClr val="bg2"/>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685800">
              <a:buClrTx/>
            </a:pPr>
            <a:endParaRPr lang="en-US" sz="750" b="1" kern="1200" dirty="0">
              <a:solidFill>
                <a:srgbClr val="FFFFFF"/>
              </a:solidFill>
              <a:latin typeface="Arial"/>
            </a:endParaRPr>
          </a:p>
        </p:txBody>
      </p:sp>
      <p:sp>
        <p:nvSpPr>
          <p:cNvPr id="27" name="Oval 26"/>
          <p:cNvSpPr/>
          <p:nvPr/>
        </p:nvSpPr>
        <p:spPr>
          <a:xfrm>
            <a:off x="5113224" y="2436642"/>
            <a:ext cx="150876" cy="152767"/>
          </a:xfrm>
          <a:prstGeom prst="ellipse">
            <a:avLst/>
          </a:prstGeom>
          <a:solidFill>
            <a:schemeClr val="bg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685800">
              <a:buClrTx/>
            </a:pPr>
            <a:endParaRPr lang="en-US" sz="750" b="1" kern="1200" dirty="0">
              <a:solidFill>
                <a:srgbClr val="FFFFFF"/>
              </a:solidFill>
              <a:latin typeface="Arial"/>
            </a:endParaRPr>
          </a:p>
        </p:txBody>
      </p:sp>
      <p:sp>
        <p:nvSpPr>
          <p:cNvPr id="28" name="Oval 27"/>
          <p:cNvSpPr/>
          <p:nvPr/>
        </p:nvSpPr>
        <p:spPr>
          <a:xfrm>
            <a:off x="5746329" y="2436642"/>
            <a:ext cx="150876" cy="152767"/>
          </a:xfrm>
          <a:prstGeom prst="ellipse">
            <a:avLst/>
          </a:prstGeom>
          <a:solidFill>
            <a:schemeClr val="bg2"/>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685800">
              <a:buClrTx/>
            </a:pPr>
            <a:endParaRPr lang="en-US" sz="750" b="1" kern="1200" dirty="0">
              <a:solidFill>
                <a:srgbClr val="FFFFFF"/>
              </a:solidFill>
              <a:latin typeface="Arial"/>
            </a:endParaRPr>
          </a:p>
        </p:txBody>
      </p:sp>
      <p:sp>
        <p:nvSpPr>
          <p:cNvPr id="29" name="Oval 28"/>
          <p:cNvSpPr/>
          <p:nvPr/>
        </p:nvSpPr>
        <p:spPr>
          <a:xfrm>
            <a:off x="6379433" y="2436642"/>
            <a:ext cx="150876" cy="152767"/>
          </a:xfrm>
          <a:prstGeom prst="ellipse">
            <a:avLst/>
          </a:prstGeom>
          <a:solidFill>
            <a:schemeClr val="bg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685800">
              <a:buClrTx/>
            </a:pPr>
            <a:endParaRPr lang="en-US" sz="750" b="1" kern="1200" dirty="0">
              <a:solidFill>
                <a:srgbClr val="FFFFFF"/>
              </a:solidFill>
              <a:latin typeface="Arial"/>
            </a:endParaRPr>
          </a:p>
        </p:txBody>
      </p:sp>
      <p:sp>
        <p:nvSpPr>
          <p:cNvPr id="30" name="Pentagon 29"/>
          <p:cNvSpPr/>
          <p:nvPr/>
        </p:nvSpPr>
        <p:spPr>
          <a:xfrm>
            <a:off x="1432759" y="2272782"/>
            <a:ext cx="1113006" cy="480060"/>
          </a:xfrm>
          <a:prstGeom prst="homePlat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31" name="Pentagon 30"/>
          <p:cNvSpPr/>
          <p:nvPr/>
        </p:nvSpPr>
        <p:spPr>
          <a:xfrm flipH="1">
            <a:off x="6575690" y="2272782"/>
            <a:ext cx="1113006" cy="480060"/>
          </a:xfrm>
          <a:prstGeom prst="homePlat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32" name="Isosceles Triangle 31"/>
          <p:cNvSpPr/>
          <p:nvPr/>
        </p:nvSpPr>
        <p:spPr>
          <a:xfrm flipV="1">
            <a:off x="2606728" y="2452942"/>
            <a:ext cx="99632" cy="429294"/>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33" name="Isosceles Triangle 32"/>
          <p:cNvSpPr/>
          <p:nvPr/>
        </p:nvSpPr>
        <p:spPr>
          <a:xfrm flipV="1">
            <a:off x="3246085" y="2452942"/>
            <a:ext cx="99632" cy="429294"/>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34" name="Isosceles Triangle 33"/>
          <p:cNvSpPr/>
          <p:nvPr/>
        </p:nvSpPr>
        <p:spPr>
          <a:xfrm flipV="1">
            <a:off x="5147575" y="2452942"/>
            <a:ext cx="99632" cy="429294"/>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35" name="Isosceles Triangle 34"/>
          <p:cNvSpPr/>
          <p:nvPr/>
        </p:nvSpPr>
        <p:spPr>
          <a:xfrm flipV="1">
            <a:off x="6415542" y="2452942"/>
            <a:ext cx="99632" cy="429294"/>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pic>
        <p:nvPicPr>
          <p:cNvPr id="3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01243" y="2799348"/>
            <a:ext cx="162098" cy="1783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32524" y="2778687"/>
            <a:ext cx="294037" cy="192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01995" y="2751770"/>
            <a:ext cx="213681" cy="219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41029" y="2783261"/>
            <a:ext cx="258645" cy="123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Rectangle 39"/>
          <p:cNvSpPr/>
          <p:nvPr/>
        </p:nvSpPr>
        <p:spPr>
          <a:xfrm>
            <a:off x="1475702" y="2449333"/>
            <a:ext cx="773215" cy="126958"/>
          </a:xfrm>
          <a:prstGeom prst="rect">
            <a:avLst/>
          </a:prstGeom>
        </p:spPr>
        <p:txBody>
          <a:bodyPr wrap="square" lIns="0" tIns="0" rIns="0" bIns="0">
            <a:spAutoFit/>
          </a:bodyPr>
          <a:lstStyle/>
          <a:p>
            <a:pPr defTabSz="685800">
              <a:buClrTx/>
            </a:pPr>
            <a:r>
              <a:rPr lang="en-US" sz="825" kern="1200" dirty="0">
                <a:solidFill>
                  <a:srgbClr val="313131"/>
                </a:solidFill>
                <a:ea typeface="+mn-ea"/>
                <a:cs typeface="+mn-cs"/>
              </a:rPr>
              <a:t>Call out detail 1</a:t>
            </a:r>
          </a:p>
        </p:txBody>
      </p:sp>
      <p:sp>
        <p:nvSpPr>
          <p:cNvPr id="41" name="Rectangle 40"/>
          <p:cNvSpPr/>
          <p:nvPr/>
        </p:nvSpPr>
        <p:spPr>
          <a:xfrm>
            <a:off x="6824318" y="2449333"/>
            <a:ext cx="773215" cy="126958"/>
          </a:xfrm>
          <a:prstGeom prst="rect">
            <a:avLst/>
          </a:prstGeom>
        </p:spPr>
        <p:txBody>
          <a:bodyPr wrap="square" lIns="0" tIns="0" rIns="0" bIns="0">
            <a:spAutoFit/>
          </a:bodyPr>
          <a:lstStyle/>
          <a:p>
            <a:pPr defTabSz="685800">
              <a:buClrTx/>
            </a:pPr>
            <a:r>
              <a:rPr lang="en-US" sz="825" kern="1200" dirty="0">
                <a:solidFill>
                  <a:srgbClr val="313131"/>
                </a:solidFill>
                <a:ea typeface="+mn-ea"/>
                <a:cs typeface="+mn-cs"/>
              </a:rPr>
              <a:t>Call out detail 1</a:t>
            </a:r>
          </a:p>
        </p:txBody>
      </p:sp>
      <p:sp>
        <p:nvSpPr>
          <p:cNvPr id="42" name="Rectangle 41"/>
          <p:cNvSpPr/>
          <p:nvPr/>
        </p:nvSpPr>
        <p:spPr>
          <a:xfrm rot="16200000">
            <a:off x="2435424" y="2098844"/>
            <a:ext cx="449540" cy="92333"/>
          </a:xfrm>
          <a:prstGeom prst="rect">
            <a:avLst/>
          </a:prstGeom>
        </p:spPr>
        <p:txBody>
          <a:bodyPr wrap="square" lIns="0" tIns="0" rIns="0" bIns="0">
            <a:spAutoFit/>
          </a:bodyPr>
          <a:lstStyle/>
          <a:p>
            <a:pPr defTabSz="685800">
              <a:buClrTx/>
            </a:pPr>
            <a:r>
              <a:rPr lang="en-US" sz="600" kern="1200" dirty="0">
                <a:solidFill>
                  <a:srgbClr val="313131"/>
                </a:solidFill>
                <a:ea typeface="+mn-ea"/>
                <a:cs typeface="+mn-cs"/>
              </a:rPr>
              <a:t>Detail One</a:t>
            </a:r>
          </a:p>
        </p:txBody>
      </p:sp>
      <p:sp>
        <p:nvSpPr>
          <p:cNvPr id="43" name="Rectangle 42"/>
          <p:cNvSpPr/>
          <p:nvPr/>
        </p:nvSpPr>
        <p:spPr>
          <a:xfrm rot="16200000">
            <a:off x="3069337" y="2098844"/>
            <a:ext cx="449540" cy="92333"/>
          </a:xfrm>
          <a:prstGeom prst="rect">
            <a:avLst/>
          </a:prstGeom>
        </p:spPr>
        <p:txBody>
          <a:bodyPr wrap="square" lIns="0" tIns="0" rIns="0" bIns="0">
            <a:spAutoFit/>
          </a:bodyPr>
          <a:lstStyle/>
          <a:p>
            <a:pPr defTabSz="685800">
              <a:buClrTx/>
            </a:pPr>
            <a:r>
              <a:rPr lang="en-US" sz="600" kern="1200" dirty="0">
                <a:solidFill>
                  <a:srgbClr val="313131"/>
                </a:solidFill>
                <a:ea typeface="+mn-ea"/>
                <a:cs typeface="+mn-cs"/>
              </a:rPr>
              <a:t>Detail Two</a:t>
            </a:r>
          </a:p>
        </p:txBody>
      </p:sp>
      <p:sp>
        <p:nvSpPr>
          <p:cNvPr id="44" name="Rectangle 43"/>
          <p:cNvSpPr/>
          <p:nvPr/>
        </p:nvSpPr>
        <p:spPr>
          <a:xfrm rot="16200000">
            <a:off x="3703251" y="2098844"/>
            <a:ext cx="449540" cy="92333"/>
          </a:xfrm>
          <a:prstGeom prst="rect">
            <a:avLst/>
          </a:prstGeom>
        </p:spPr>
        <p:txBody>
          <a:bodyPr wrap="square" lIns="0" tIns="0" rIns="0" bIns="0">
            <a:spAutoFit/>
          </a:bodyPr>
          <a:lstStyle/>
          <a:p>
            <a:pPr defTabSz="685800">
              <a:buClrTx/>
            </a:pPr>
            <a:r>
              <a:rPr lang="en-US" sz="600" kern="1200" dirty="0">
                <a:solidFill>
                  <a:srgbClr val="313131"/>
                </a:solidFill>
                <a:ea typeface="+mn-ea"/>
                <a:cs typeface="+mn-cs"/>
              </a:rPr>
              <a:t>Detail Three</a:t>
            </a:r>
          </a:p>
        </p:txBody>
      </p:sp>
      <p:sp>
        <p:nvSpPr>
          <p:cNvPr id="45" name="Rectangle 44"/>
          <p:cNvSpPr/>
          <p:nvPr/>
        </p:nvSpPr>
        <p:spPr>
          <a:xfrm rot="16200000">
            <a:off x="4337165" y="2098844"/>
            <a:ext cx="449540" cy="92333"/>
          </a:xfrm>
          <a:prstGeom prst="rect">
            <a:avLst/>
          </a:prstGeom>
        </p:spPr>
        <p:txBody>
          <a:bodyPr wrap="square" lIns="0" tIns="0" rIns="0" bIns="0">
            <a:spAutoFit/>
          </a:bodyPr>
          <a:lstStyle/>
          <a:p>
            <a:pPr defTabSz="685800">
              <a:buClrTx/>
            </a:pPr>
            <a:r>
              <a:rPr lang="en-US" sz="600" kern="1200" dirty="0">
                <a:solidFill>
                  <a:srgbClr val="313131"/>
                </a:solidFill>
                <a:ea typeface="+mn-ea"/>
                <a:cs typeface="+mn-cs"/>
              </a:rPr>
              <a:t>Detail Four</a:t>
            </a:r>
          </a:p>
        </p:txBody>
      </p:sp>
      <p:sp>
        <p:nvSpPr>
          <p:cNvPr id="46" name="Rectangle 45"/>
          <p:cNvSpPr/>
          <p:nvPr/>
        </p:nvSpPr>
        <p:spPr>
          <a:xfrm rot="16200000">
            <a:off x="4971079" y="2098844"/>
            <a:ext cx="449540" cy="92333"/>
          </a:xfrm>
          <a:prstGeom prst="rect">
            <a:avLst/>
          </a:prstGeom>
        </p:spPr>
        <p:txBody>
          <a:bodyPr wrap="square" lIns="0" tIns="0" rIns="0" bIns="0">
            <a:spAutoFit/>
          </a:bodyPr>
          <a:lstStyle/>
          <a:p>
            <a:pPr defTabSz="685800">
              <a:buClrTx/>
            </a:pPr>
            <a:r>
              <a:rPr lang="en-US" sz="600" kern="1200" dirty="0">
                <a:solidFill>
                  <a:srgbClr val="313131"/>
                </a:solidFill>
                <a:ea typeface="+mn-ea"/>
                <a:cs typeface="+mn-cs"/>
              </a:rPr>
              <a:t>Detail Five</a:t>
            </a:r>
          </a:p>
        </p:txBody>
      </p:sp>
      <p:sp>
        <p:nvSpPr>
          <p:cNvPr id="47" name="Rectangle 46"/>
          <p:cNvSpPr/>
          <p:nvPr/>
        </p:nvSpPr>
        <p:spPr>
          <a:xfrm rot="16200000">
            <a:off x="5604994" y="2098844"/>
            <a:ext cx="449540" cy="92333"/>
          </a:xfrm>
          <a:prstGeom prst="rect">
            <a:avLst/>
          </a:prstGeom>
        </p:spPr>
        <p:txBody>
          <a:bodyPr wrap="square" lIns="0" tIns="0" rIns="0" bIns="0">
            <a:spAutoFit/>
          </a:bodyPr>
          <a:lstStyle/>
          <a:p>
            <a:pPr defTabSz="685800">
              <a:buClrTx/>
            </a:pPr>
            <a:r>
              <a:rPr lang="en-US" sz="600" kern="1200" dirty="0">
                <a:solidFill>
                  <a:srgbClr val="313131"/>
                </a:solidFill>
                <a:ea typeface="+mn-ea"/>
                <a:cs typeface="+mn-cs"/>
              </a:rPr>
              <a:t>Detail Six</a:t>
            </a:r>
          </a:p>
        </p:txBody>
      </p:sp>
      <p:sp>
        <p:nvSpPr>
          <p:cNvPr id="48" name="Rectangle 47"/>
          <p:cNvSpPr/>
          <p:nvPr/>
        </p:nvSpPr>
        <p:spPr>
          <a:xfrm rot="16200000">
            <a:off x="6238907" y="2098844"/>
            <a:ext cx="449540" cy="92333"/>
          </a:xfrm>
          <a:prstGeom prst="rect">
            <a:avLst/>
          </a:prstGeom>
        </p:spPr>
        <p:txBody>
          <a:bodyPr wrap="square" lIns="0" tIns="0" rIns="0" bIns="0">
            <a:spAutoFit/>
          </a:bodyPr>
          <a:lstStyle/>
          <a:p>
            <a:pPr defTabSz="685800">
              <a:buClrTx/>
            </a:pPr>
            <a:r>
              <a:rPr lang="en-US" sz="600" kern="1200" dirty="0">
                <a:solidFill>
                  <a:srgbClr val="313131"/>
                </a:solidFill>
                <a:ea typeface="+mn-ea"/>
                <a:cs typeface="+mn-cs"/>
              </a:rPr>
              <a:t>Detail Seven</a:t>
            </a:r>
          </a:p>
        </p:txBody>
      </p:sp>
      <p:sp>
        <p:nvSpPr>
          <p:cNvPr id="49" name="TextBox 48"/>
          <p:cNvSpPr txBox="1"/>
          <p:nvPr/>
        </p:nvSpPr>
        <p:spPr>
          <a:xfrm>
            <a:off x="2963663" y="2113016"/>
            <a:ext cx="274843" cy="230832"/>
          </a:xfrm>
          <a:prstGeom prst="rect">
            <a:avLst/>
          </a:prstGeom>
          <a:noFill/>
        </p:spPr>
        <p:txBody>
          <a:bodyPr wrap="square" lIns="0" tIns="0" rIns="0" bIns="0" rtlCol="0">
            <a:spAutoFit/>
          </a:bodyPr>
          <a:lstStyle/>
          <a:p>
            <a:pPr algn="ctr" defTabSz="685800">
              <a:buClrTx/>
            </a:pPr>
            <a:r>
              <a:rPr lang="en-US" sz="1500" kern="1200" dirty="0">
                <a:solidFill>
                  <a:srgbClr val="81BC00"/>
                </a:solidFill>
                <a:ea typeface="+mn-ea"/>
                <a:cs typeface="+mn-cs"/>
              </a:rPr>
              <a:t>02</a:t>
            </a:r>
          </a:p>
        </p:txBody>
      </p:sp>
      <p:sp>
        <p:nvSpPr>
          <p:cNvPr id="50" name="TextBox 49"/>
          <p:cNvSpPr txBox="1"/>
          <p:nvPr/>
        </p:nvSpPr>
        <p:spPr>
          <a:xfrm>
            <a:off x="3608856" y="2113016"/>
            <a:ext cx="274843" cy="230832"/>
          </a:xfrm>
          <a:prstGeom prst="rect">
            <a:avLst/>
          </a:prstGeom>
          <a:noFill/>
        </p:spPr>
        <p:txBody>
          <a:bodyPr wrap="square" lIns="0" tIns="0" rIns="0" bIns="0" rtlCol="0">
            <a:spAutoFit/>
          </a:bodyPr>
          <a:lstStyle/>
          <a:p>
            <a:pPr algn="ctr" defTabSz="685800">
              <a:buClrTx/>
            </a:pPr>
            <a:r>
              <a:rPr lang="en-US" sz="1500" kern="1200" dirty="0">
                <a:solidFill>
                  <a:srgbClr val="81BC00"/>
                </a:solidFill>
                <a:ea typeface="+mn-ea"/>
                <a:cs typeface="+mn-cs"/>
              </a:rPr>
              <a:t>03</a:t>
            </a:r>
          </a:p>
        </p:txBody>
      </p:sp>
      <p:sp>
        <p:nvSpPr>
          <p:cNvPr id="51" name="TextBox 50"/>
          <p:cNvSpPr txBox="1"/>
          <p:nvPr/>
        </p:nvSpPr>
        <p:spPr>
          <a:xfrm>
            <a:off x="4240926" y="2113016"/>
            <a:ext cx="274843" cy="230832"/>
          </a:xfrm>
          <a:prstGeom prst="rect">
            <a:avLst/>
          </a:prstGeom>
          <a:noFill/>
        </p:spPr>
        <p:txBody>
          <a:bodyPr wrap="square" lIns="0" tIns="0" rIns="0" bIns="0" rtlCol="0">
            <a:spAutoFit/>
          </a:bodyPr>
          <a:lstStyle/>
          <a:p>
            <a:pPr algn="ctr" defTabSz="685800">
              <a:buClrTx/>
            </a:pPr>
            <a:r>
              <a:rPr lang="en-US" sz="1500" kern="1200" dirty="0">
                <a:solidFill>
                  <a:srgbClr val="81BC00"/>
                </a:solidFill>
                <a:ea typeface="+mn-ea"/>
                <a:cs typeface="+mn-cs"/>
              </a:rPr>
              <a:t>04</a:t>
            </a:r>
          </a:p>
        </p:txBody>
      </p:sp>
      <p:sp>
        <p:nvSpPr>
          <p:cNvPr id="52" name="TextBox 51"/>
          <p:cNvSpPr txBox="1"/>
          <p:nvPr/>
        </p:nvSpPr>
        <p:spPr>
          <a:xfrm>
            <a:off x="4872732" y="2113016"/>
            <a:ext cx="274843" cy="230832"/>
          </a:xfrm>
          <a:prstGeom prst="rect">
            <a:avLst/>
          </a:prstGeom>
          <a:noFill/>
        </p:spPr>
        <p:txBody>
          <a:bodyPr wrap="square" lIns="0" tIns="0" rIns="0" bIns="0" rtlCol="0">
            <a:spAutoFit/>
          </a:bodyPr>
          <a:lstStyle/>
          <a:p>
            <a:pPr algn="ctr" defTabSz="685800">
              <a:buClrTx/>
            </a:pPr>
            <a:r>
              <a:rPr lang="en-US" sz="1500" kern="1200" dirty="0">
                <a:solidFill>
                  <a:srgbClr val="81BC00"/>
                </a:solidFill>
                <a:ea typeface="+mn-ea"/>
                <a:cs typeface="+mn-cs"/>
              </a:rPr>
              <a:t>05</a:t>
            </a:r>
          </a:p>
        </p:txBody>
      </p:sp>
      <p:sp>
        <p:nvSpPr>
          <p:cNvPr id="53" name="TextBox 52"/>
          <p:cNvSpPr txBox="1"/>
          <p:nvPr/>
        </p:nvSpPr>
        <p:spPr>
          <a:xfrm>
            <a:off x="5508171" y="2113016"/>
            <a:ext cx="274843" cy="230832"/>
          </a:xfrm>
          <a:prstGeom prst="rect">
            <a:avLst/>
          </a:prstGeom>
          <a:noFill/>
        </p:spPr>
        <p:txBody>
          <a:bodyPr wrap="square" lIns="0" tIns="0" rIns="0" bIns="0" rtlCol="0">
            <a:spAutoFit/>
          </a:bodyPr>
          <a:lstStyle/>
          <a:p>
            <a:pPr algn="ctr" defTabSz="685800">
              <a:buClrTx/>
            </a:pPr>
            <a:r>
              <a:rPr lang="en-US" sz="1500" kern="1200" dirty="0">
                <a:solidFill>
                  <a:srgbClr val="81BC00"/>
                </a:solidFill>
                <a:ea typeface="+mn-ea"/>
                <a:cs typeface="+mn-cs"/>
              </a:rPr>
              <a:t>06</a:t>
            </a:r>
          </a:p>
        </p:txBody>
      </p:sp>
      <p:sp>
        <p:nvSpPr>
          <p:cNvPr id="54" name="TextBox 53"/>
          <p:cNvSpPr txBox="1"/>
          <p:nvPr/>
        </p:nvSpPr>
        <p:spPr>
          <a:xfrm>
            <a:off x="6140220" y="2113016"/>
            <a:ext cx="274843" cy="230832"/>
          </a:xfrm>
          <a:prstGeom prst="rect">
            <a:avLst/>
          </a:prstGeom>
          <a:noFill/>
        </p:spPr>
        <p:txBody>
          <a:bodyPr wrap="square" lIns="0" tIns="0" rIns="0" bIns="0" rtlCol="0">
            <a:spAutoFit/>
          </a:bodyPr>
          <a:lstStyle/>
          <a:p>
            <a:pPr algn="ctr" defTabSz="685800">
              <a:buClrTx/>
            </a:pPr>
            <a:r>
              <a:rPr lang="en-US" sz="1500" kern="1200" dirty="0">
                <a:solidFill>
                  <a:srgbClr val="81BC00"/>
                </a:solidFill>
                <a:ea typeface="+mn-ea"/>
                <a:cs typeface="+mn-cs"/>
              </a:rPr>
              <a:t>07</a:t>
            </a:r>
          </a:p>
        </p:txBody>
      </p:sp>
    </p:spTree>
    <p:extLst>
      <p:ext uri="{BB962C8B-B14F-4D97-AF65-F5344CB8AC3E}">
        <p14:creationId xmlns:p14="http://schemas.microsoft.com/office/powerpoint/2010/main" val="5712971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02" name="Rectangle 2" hidden="1"/>
          <p:cNvGraphicFramePr>
            <a:graphicFrameLocks/>
          </p:cNvGraphicFramePr>
          <p:nvPr>
            <p:custDataLst>
              <p:tags r:id="rId1"/>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15" imgW="0" imgH="0" progId="">
                  <p:embed/>
                </p:oleObj>
              </mc:Choice>
              <mc:Fallback>
                <p:oleObj name="think-cell Slide" r:id="rId15" imgW="0" imgH="0" progId="">
                  <p:embed/>
                  <p:pic>
                    <p:nvPicPr>
                      <p:cNvPr id="204802"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04" name="Title 1"/>
          <p:cNvSpPr>
            <a:spLocks noGrp="1"/>
          </p:cNvSpPr>
          <p:nvPr>
            <p:ph type="title"/>
            <p:custDataLst>
              <p:tags r:id="rId2"/>
            </p:custDataLst>
          </p:nvPr>
        </p:nvSpPr>
        <p:spPr/>
        <p:txBody>
          <a:bodyPr/>
          <a:lstStyle/>
          <a:p>
            <a:pPr>
              <a:lnSpc>
                <a:spcPct val="100000"/>
              </a:lnSpc>
            </a:pPr>
            <a:r>
              <a:rPr lang="en-US" dirty="0">
                <a:solidFill>
                  <a:srgbClr val="81BC00"/>
                </a:solidFill>
              </a:rPr>
              <a:t>Text boxes</a:t>
            </a:r>
            <a:br>
              <a:rPr lang="en-US" dirty="0">
                <a:solidFill>
                  <a:srgbClr val="81BC00"/>
                </a:solidFill>
              </a:rPr>
            </a:br>
            <a:r>
              <a:rPr lang="en-US" dirty="0">
                <a:solidFill>
                  <a:srgbClr val="575757"/>
                </a:solidFill>
              </a:rPr>
              <a:t>Two columns of numbered points for each point</a:t>
            </a:r>
          </a:p>
        </p:txBody>
      </p:sp>
      <p:sp>
        <p:nvSpPr>
          <p:cNvPr id="18" name="Rectangle 4"/>
          <p:cNvSpPr>
            <a:spLocks noChangeArrowheads="1"/>
          </p:cNvSpPr>
          <p:nvPr>
            <p:custDataLst>
              <p:tags r:id="rId3"/>
            </p:custDataLst>
          </p:nvPr>
        </p:nvSpPr>
        <p:spPr bwMode="auto">
          <a:xfrm>
            <a:off x="1433513" y="2649293"/>
            <a:ext cx="3039666" cy="216110"/>
          </a:xfrm>
          <a:prstGeom prst="rect">
            <a:avLst/>
          </a:prstGeom>
          <a:solidFill>
            <a:srgbClr val="00A1DE"/>
          </a:solidFill>
          <a:ln w="12700" algn="ctr">
            <a:noFill/>
            <a:miter lim="800000"/>
            <a:headEnd/>
            <a:tailEnd/>
          </a:ln>
        </p:spPr>
        <p:txBody>
          <a:bodyPr lIns="27000" tIns="27000" rIns="27000" bIns="27000" anchor="ctr">
            <a:spAutoFit/>
          </a:bodyPr>
          <a:lstStyle/>
          <a:p>
            <a:pPr defTabSz="764381">
              <a:buClrTx/>
            </a:pPr>
            <a:r>
              <a:rPr lang="en-US" sz="1050" b="1" kern="1200">
                <a:solidFill>
                  <a:prstClr val="white"/>
                </a:solidFill>
                <a:ea typeface="+mn-ea"/>
                <a:cs typeface="+mn-cs"/>
              </a:rPr>
              <a:t>3</a:t>
            </a:r>
          </a:p>
        </p:txBody>
      </p:sp>
      <p:sp>
        <p:nvSpPr>
          <p:cNvPr id="19" name="Rectangle 4"/>
          <p:cNvSpPr>
            <a:spLocks noChangeArrowheads="1"/>
          </p:cNvSpPr>
          <p:nvPr>
            <p:custDataLst>
              <p:tags r:id="rId4"/>
            </p:custDataLst>
          </p:nvPr>
        </p:nvSpPr>
        <p:spPr bwMode="auto">
          <a:xfrm>
            <a:off x="1433513" y="3427442"/>
            <a:ext cx="3039666" cy="216110"/>
          </a:xfrm>
          <a:prstGeom prst="rect">
            <a:avLst/>
          </a:prstGeom>
          <a:solidFill>
            <a:srgbClr val="00A1DE"/>
          </a:solidFill>
          <a:ln w="12700" algn="ctr">
            <a:noFill/>
            <a:miter lim="800000"/>
            <a:headEnd/>
            <a:tailEnd/>
          </a:ln>
        </p:spPr>
        <p:txBody>
          <a:bodyPr lIns="27000" tIns="27000" rIns="27000" bIns="27000" anchor="ctr">
            <a:spAutoFit/>
          </a:bodyPr>
          <a:lstStyle/>
          <a:p>
            <a:pPr defTabSz="764381">
              <a:buClrTx/>
            </a:pPr>
            <a:r>
              <a:rPr lang="en-US" sz="1050" b="1" kern="1200">
                <a:solidFill>
                  <a:prstClr val="white"/>
                </a:solidFill>
                <a:ea typeface="+mn-ea"/>
                <a:cs typeface="+mn-cs"/>
              </a:rPr>
              <a:t>4</a:t>
            </a:r>
          </a:p>
        </p:txBody>
      </p:sp>
      <p:sp>
        <p:nvSpPr>
          <p:cNvPr id="20" name="Rectangle 4"/>
          <p:cNvSpPr>
            <a:spLocks noChangeArrowheads="1"/>
          </p:cNvSpPr>
          <p:nvPr>
            <p:custDataLst>
              <p:tags r:id="rId5"/>
            </p:custDataLst>
          </p:nvPr>
        </p:nvSpPr>
        <p:spPr bwMode="auto">
          <a:xfrm>
            <a:off x="1433513" y="4205592"/>
            <a:ext cx="3039666" cy="216110"/>
          </a:xfrm>
          <a:prstGeom prst="rect">
            <a:avLst/>
          </a:prstGeom>
          <a:solidFill>
            <a:srgbClr val="00A1DE"/>
          </a:solidFill>
          <a:ln w="12700" algn="ctr">
            <a:noFill/>
            <a:miter lim="800000"/>
            <a:headEnd/>
            <a:tailEnd/>
          </a:ln>
        </p:spPr>
        <p:txBody>
          <a:bodyPr lIns="27000" tIns="27000" rIns="27000" bIns="27000" anchor="ctr">
            <a:spAutoFit/>
          </a:bodyPr>
          <a:lstStyle/>
          <a:p>
            <a:pPr defTabSz="764381">
              <a:buClrTx/>
            </a:pPr>
            <a:r>
              <a:rPr lang="en-US" sz="1050" b="1" kern="1200">
                <a:solidFill>
                  <a:prstClr val="white"/>
                </a:solidFill>
                <a:ea typeface="+mn-ea"/>
                <a:cs typeface="+mn-cs"/>
              </a:rPr>
              <a:t>5</a:t>
            </a:r>
          </a:p>
        </p:txBody>
      </p:sp>
      <p:sp>
        <p:nvSpPr>
          <p:cNvPr id="21" name="Rectangle 4"/>
          <p:cNvSpPr>
            <a:spLocks noChangeArrowheads="1"/>
          </p:cNvSpPr>
          <p:nvPr>
            <p:custDataLst>
              <p:tags r:id="rId6"/>
            </p:custDataLst>
          </p:nvPr>
        </p:nvSpPr>
        <p:spPr bwMode="auto">
          <a:xfrm>
            <a:off x="1433513" y="1871144"/>
            <a:ext cx="3039666" cy="216110"/>
          </a:xfrm>
          <a:prstGeom prst="rect">
            <a:avLst/>
          </a:prstGeom>
          <a:solidFill>
            <a:srgbClr val="00A1DE"/>
          </a:solidFill>
          <a:ln w="12700" algn="ctr">
            <a:noFill/>
            <a:miter lim="800000"/>
            <a:headEnd/>
            <a:tailEnd/>
          </a:ln>
        </p:spPr>
        <p:txBody>
          <a:bodyPr lIns="27000" tIns="27000" rIns="27000" bIns="27000" anchor="ctr">
            <a:spAutoFit/>
          </a:bodyPr>
          <a:lstStyle/>
          <a:p>
            <a:pPr defTabSz="764381">
              <a:buClrTx/>
            </a:pPr>
            <a:r>
              <a:rPr lang="en-US" sz="1050" b="1" kern="1200">
                <a:solidFill>
                  <a:prstClr val="white"/>
                </a:solidFill>
                <a:ea typeface="+mn-ea"/>
                <a:cs typeface="+mn-cs"/>
              </a:rPr>
              <a:t>2</a:t>
            </a:r>
          </a:p>
        </p:txBody>
      </p:sp>
      <p:sp>
        <p:nvSpPr>
          <p:cNvPr id="22" name="Rectangle 4"/>
          <p:cNvSpPr>
            <a:spLocks noChangeArrowheads="1"/>
          </p:cNvSpPr>
          <p:nvPr>
            <p:custDataLst>
              <p:tags r:id="rId7"/>
            </p:custDataLst>
          </p:nvPr>
        </p:nvSpPr>
        <p:spPr bwMode="auto">
          <a:xfrm>
            <a:off x="1433513" y="1092994"/>
            <a:ext cx="3039666" cy="216110"/>
          </a:xfrm>
          <a:prstGeom prst="rect">
            <a:avLst/>
          </a:prstGeom>
          <a:solidFill>
            <a:srgbClr val="00A1DE"/>
          </a:solidFill>
          <a:ln w="12700" algn="ctr">
            <a:noFill/>
            <a:miter lim="800000"/>
            <a:headEnd/>
            <a:tailEnd/>
          </a:ln>
        </p:spPr>
        <p:txBody>
          <a:bodyPr lIns="27000" tIns="27000" rIns="27000" bIns="27000" anchor="ctr">
            <a:spAutoFit/>
          </a:bodyPr>
          <a:lstStyle/>
          <a:p>
            <a:pPr defTabSz="764381">
              <a:buClrTx/>
            </a:pPr>
            <a:r>
              <a:rPr lang="en-US" sz="1050" b="1" kern="1200">
                <a:solidFill>
                  <a:prstClr val="white"/>
                </a:solidFill>
                <a:ea typeface="+mn-ea"/>
                <a:cs typeface="+mn-cs"/>
              </a:rPr>
              <a:t>1</a:t>
            </a:r>
          </a:p>
        </p:txBody>
      </p:sp>
      <p:sp>
        <p:nvSpPr>
          <p:cNvPr id="23" name="Rectangle 4"/>
          <p:cNvSpPr>
            <a:spLocks noChangeArrowheads="1"/>
          </p:cNvSpPr>
          <p:nvPr>
            <p:custDataLst>
              <p:tags r:id="rId8"/>
            </p:custDataLst>
          </p:nvPr>
        </p:nvSpPr>
        <p:spPr bwMode="auto">
          <a:xfrm>
            <a:off x="4663678" y="2649293"/>
            <a:ext cx="3039666" cy="216110"/>
          </a:xfrm>
          <a:prstGeom prst="rect">
            <a:avLst/>
          </a:prstGeom>
          <a:solidFill>
            <a:srgbClr val="00A1DE"/>
          </a:solidFill>
          <a:ln w="12700" algn="ctr">
            <a:noFill/>
            <a:miter lim="800000"/>
            <a:headEnd/>
            <a:tailEnd/>
          </a:ln>
        </p:spPr>
        <p:txBody>
          <a:bodyPr lIns="27000" tIns="27000" rIns="27000" bIns="27000" anchor="ctr">
            <a:spAutoFit/>
          </a:bodyPr>
          <a:lstStyle/>
          <a:p>
            <a:pPr defTabSz="764381">
              <a:buClrTx/>
            </a:pPr>
            <a:r>
              <a:rPr lang="en-US" sz="1050" b="1" kern="1200" dirty="0">
                <a:solidFill>
                  <a:prstClr val="white"/>
                </a:solidFill>
                <a:ea typeface="+mn-ea"/>
                <a:cs typeface="+mn-cs"/>
              </a:rPr>
              <a:t>8</a:t>
            </a:r>
          </a:p>
        </p:txBody>
      </p:sp>
      <p:sp>
        <p:nvSpPr>
          <p:cNvPr id="24" name="Rectangle 4"/>
          <p:cNvSpPr>
            <a:spLocks noChangeArrowheads="1"/>
          </p:cNvSpPr>
          <p:nvPr>
            <p:custDataLst>
              <p:tags r:id="rId9"/>
            </p:custDataLst>
          </p:nvPr>
        </p:nvSpPr>
        <p:spPr bwMode="auto">
          <a:xfrm>
            <a:off x="4663678" y="3427442"/>
            <a:ext cx="3039666" cy="216110"/>
          </a:xfrm>
          <a:prstGeom prst="rect">
            <a:avLst/>
          </a:prstGeom>
          <a:solidFill>
            <a:srgbClr val="00A1DE"/>
          </a:solidFill>
          <a:ln w="12700" algn="ctr">
            <a:noFill/>
            <a:miter lim="800000"/>
            <a:headEnd/>
            <a:tailEnd/>
          </a:ln>
        </p:spPr>
        <p:txBody>
          <a:bodyPr lIns="27000" tIns="27000" rIns="27000" bIns="27000" anchor="ctr">
            <a:spAutoFit/>
          </a:bodyPr>
          <a:lstStyle/>
          <a:p>
            <a:pPr defTabSz="764381">
              <a:buClrTx/>
            </a:pPr>
            <a:r>
              <a:rPr lang="en-US" sz="1050" b="1" kern="1200" dirty="0">
                <a:solidFill>
                  <a:prstClr val="white"/>
                </a:solidFill>
                <a:ea typeface="+mn-ea"/>
                <a:cs typeface="+mn-cs"/>
              </a:rPr>
              <a:t>9</a:t>
            </a:r>
          </a:p>
        </p:txBody>
      </p:sp>
      <p:sp>
        <p:nvSpPr>
          <p:cNvPr id="25" name="Rectangle 4"/>
          <p:cNvSpPr>
            <a:spLocks noChangeArrowheads="1"/>
          </p:cNvSpPr>
          <p:nvPr>
            <p:custDataLst>
              <p:tags r:id="rId10"/>
            </p:custDataLst>
          </p:nvPr>
        </p:nvSpPr>
        <p:spPr bwMode="auto">
          <a:xfrm>
            <a:off x="4663678" y="4205592"/>
            <a:ext cx="3039666" cy="216110"/>
          </a:xfrm>
          <a:prstGeom prst="rect">
            <a:avLst/>
          </a:prstGeom>
          <a:solidFill>
            <a:srgbClr val="00A1DE"/>
          </a:solidFill>
          <a:ln w="12700" algn="ctr">
            <a:noFill/>
            <a:miter lim="800000"/>
            <a:headEnd/>
            <a:tailEnd/>
          </a:ln>
        </p:spPr>
        <p:txBody>
          <a:bodyPr lIns="27000" tIns="27000" rIns="27000" bIns="27000" anchor="ctr">
            <a:spAutoFit/>
          </a:bodyPr>
          <a:lstStyle/>
          <a:p>
            <a:pPr defTabSz="764381">
              <a:buClrTx/>
            </a:pPr>
            <a:r>
              <a:rPr lang="en-US" sz="1050" b="1" kern="1200" dirty="0">
                <a:solidFill>
                  <a:prstClr val="white"/>
                </a:solidFill>
                <a:ea typeface="+mn-ea"/>
                <a:cs typeface="+mn-cs"/>
              </a:rPr>
              <a:t>10</a:t>
            </a:r>
          </a:p>
        </p:txBody>
      </p:sp>
      <p:sp>
        <p:nvSpPr>
          <p:cNvPr id="26" name="Rectangle 4"/>
          <p:cNvSpPr>
            <a:spLocks noChangeArrowheads="1"/>
          </p:cNvSpPr>
          <p:nvPr>
            <p:custDataLst>
              <p:tags r:id="rId11"/>
            </p:custDataLst>
          </p:nvPr>
        </p:nvSpPr>
        <p:spPr bwMode="auto">
          <a:xfrm>
            <a:off x="4663678" y="1871144"/>
            <a:ext cx="3039666" cy="216110"/>
          </a:xfrm>
          <a:prstGeom prst="rect">
            <a:avLst/>
          </a:prstGeom>
          <a:solidFill>
            <a:srgbClr val="00A1DE"/>
          </a:solidFill>
          <a:ln w="12700" algn="ctr">
            <a:noFill/>
            <a:miter lim="800000"/>
            <a:headEnd/>
            <a:tailEnd/>
          </a:ln>
        </p:spPr>
        <p:txBody>
          <a:bodyPr lIns="27000" tIns="27000" rIns="27000" bIns="27000" anchor="ctr">
            <a:spAutoFit/>
          </a:bodyPr>
          <a:lstStyle/>
          <a:p>
            <a:pPr defTabSz="764381">
              <a:buClrTx/>
            </a:pPr>
            <a:r>
              <a:rPr lang="en-US" sz="1050" b="1" kern="1200" dirty="0">
                <a:solidFill>
                  <a:prstClr val="white"/>
                </a:solidFill>
                <a:ea typeface="+mn-ea"/>
                <a:cs typeface="+mn-cs"/>
              </a:rPr>
              <a:t>7</a:t>
            </a:r>
          </a:p>
        </p:txBody>
      </p:sp>
      <p:sp>
        <p:nvSpPr>
          <p:cNvPr id="27" name="Rectangle 4"/>
          <p:cNvSpPr>
            <a:spLocks noChangeArrowheads="1"/>
          </p:cNvSpPr>
          <p:nvPr>
            <p:custDataLst>
              <p:tags r:id="rId12"/>
            </p:custDataLst>
          </p:nvPr>
        </p:nvSpPr>
        <p:spPr bwMode="auto">
          <a:xfrm>
            <a:off x="4663678" y="1092994"/>
            <a:ext cx="3039666" cy="216110"/>
          </a:xfrm>
          <a:prstGeom prst="rect">
            <a:avLst/>
          </a:prstGeom>
          <a:solidFill>
            <a:srgbClr val="00A1DE"/>
          </a:solidFill>
          <a:ln w="12700" algn="ctr">
            <a:noFill/>
            <a:miter lim="800000"/>
            <a:headEnd/>
            <a:tailEnd/>
          </a:ln>
        </p:spPr>
        <p:txBody>
          <a:bodyPr lIns="27000" tIns="27000" rIns="27000" bIns="27000" anchor="ctr">
            <a:spAutoFit/>
          </a:bodyPr>
          <a:lstStyle/>
          <a:p>
            <a:pPr defTabSz="764381">
              <a:buClrTx/>
            </a:pPr>
            <a:r>
              <a:rPr lang="en-US" sz="1050" b="1" kern="1200" dirty="0">
                <a:solidFill>
                  <a:prstClr val="white"/>
                </a:solidFill>
                <a:ea typeface="+mn-ea"/>
                <a:cs typeface="+mn-cs"/>
              </a:rPr>
              <a:t>6</a:t>
            </a:r>
          </a:p>
        </p:txBody>
      </p:sp>
      <p:sp>
        <p:nvSpPr>
          <p:cNvPr id="28" name="Text Placeholder 5"/>
          <p:cNvSpPr txBox="1">
            <a:spLocks/>
          </p:cNvSpPr>
          <p:nvPr/>
        </p:nvSpPr>
        <p:spPr>
          <a:xfrm>
            <a:off x="1762126" y="1309105"/>
            <a:ext cx="2711053" cy="372563"/>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35000" lvl="1" indent="-135000" defTabSz="717947">
              <a:spcBef>
                <a:spcPts val="300"/>
              </a:spcBef>
              <a:buClrTx/>
            </a:pPr>
            <a:r>
              <a:rPr lang="en-US" sz="825" dirty="0">
                <a:solidFill>
                  <a:srgbClr val="313131"/>
                </a:solidFill>
                <a:latin typeface="Arial"/>
              </a:rPr>
              <a:t>This is dummy text it is not here to be read</a:t>
            </a:r>
          </a:p>
          <a:p>
            <a:pPr marL="270000" lvl="2" indent="-135000" defTabSz="717947">
              <a:spcBef>
                <a:spcPts val="450"/>
              </a:spcBef>
              <a:buClrTx/>
            </a:pPr>
            <a:r>
              <a:rPr lang="en-US" sz="825" dirty="0">
                <a:solidFill>
                  <a:srgbClr val="313131"/>
                </a:solidFill>
                <a:latin typeface="Arial"/>
              </a:rPr>
              <a:t>This is dummy text it is not here to be read</a:t>
            </a:r>
          </a:p>
        </p:txBody>
      </p:sp>
      <p:sp>
        <p:nvSpPr>
          <p:cNvPr id="29" name="Text Placeholder 5"/>
          <p:cNvSpPr txBox="1">
            <a:spLocks/>
          </p:cNvSpPr>
          <p:nvPr/>
        </p:nvSpPr>
        <p:spPr>
          <a:xfrm>
            <a:off x="1762126" y="2087254"/>
            <a:ext cx="2711053" cy="372563"/>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35000" lvl="1" indent="-135000" defTabSz="717947">
              <a:spcBef>
                <a:spcPts val="300"/>
              </a:spcBef>
              <a:buClrTx/>
            </a:pPr>
            <a:r>
              <a:rPr lang="en-US" sz="825" dirty="0">
                <a:solidFill>
                  <a:srgbClr val="313131"/>
                </a:solidFill>
                <a:latin typeface="Arial"/>
              </a:rPr>
              <a:t>This is dummy text it is not here to be read</a:t>
            </a:r>
          </a:p>
          <a:p>
            <a:pPr marL="270000" lvl="2" indent="-135000" defTabSz="717947">
              <a:spcBef>
                <a:spcPts val="450"/>
              </a:spcBef>
              <a:buClrTx/>
            </a:pPr>
            <a:r>
              <a:rPr lang="en-US" sz="825" dirty="0">
                <a:solidFill>
                  <a:srgbClr val="313131"/>
                </a:solidFill>
                <a:latin typeface="Arial"/>
              </a:rPr>
              <a:t>This is dummy text it is not here to be read</a:t>
            </a:r>
          </a:p>
        </p:txBody>
      </p:sp>
      <p:sp>
        <p:nvSpPr>
          <p:cNvPr id="30" name="Text Placeholder 5"/>
          <p:cNvSpPr txBox="1">
            <a:spLocks/>
          </p:cNvSpPr>
          <p:nvPr/>
        </p:nvSpPr>
        <p:spPr>
          <a:xfrm>
            <a:off x="1762126" y="2865404"/>
            <a:ext cx="2711053" cy="372563"/>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35000" lvl="1" indent="-135000" defTabSz="717947">
              <a:spcBef>
                <a:spcPts val="300"/>
              </a:spcBef>
              <a:buClrTx/>
            </a:pPr>
            <a:r>
              <a:rPr lang="en-US" sz="825" dirty="0">
                <a:solidFill>
                  <a:srgbClr val="313131"/>
                </a:solidFill>
                <a:latin typeface="Arial"/>
              </a:rPr>
              <a:t>This is dummy text it is not here to be read</a:t>
            </a:r>
          </a:p>
          <a:p>
            <a:pPr marL="270000" lvl="2" indent="-135000" defTabSz="717947">
              <a:spcBef>
                <a:spcPts val="450"/>
              </a:spcBef>
              <a:buClrTx/>
            </a:pPr>
            <a:r>
              <a:rPr lang="en-US" sz="825" dirty="0">
                <a:solidFill>
                  <a:srgbClr val="313131"/>
                </a:solidFill>
                <a:latin typeface="Arial"/>
              </a:rPr>
              <a:t>This is dummy text it is not here to be read</a:t>
            </a:r>
          </a:p>
        </p:txBody>
      </p:sp>
      <p:sp>
        <p:nvSpPr>
          <p:cNvPr id="31" name="Text Placeholder 5"/>
          <p:cNvSpPr txBox="1">
            <a:spLocks/>
          </p:cNvSpPr>
          <p:nvPr/>
        </p:nvSpPr>
        <p:spPr>
          <a:xfrm>
            <a:off x="1762126" y="3643554"/>
            <a:ext cx="2711053" cy="372563"/>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35000" lvl="1" indent="-135000" defTabSz="717947">
              <a:spcBef>
                <a:spcPts val="300"/>
              </a:spcBef>
              <a:buClrTx/>
            </a:pPr>
            <a:r>
              <a:rPr lang="en-US" sz="825" dirty="0">
                <a:solidFill>
                  <a:srgbClr val="313131"/>
                </a:solidFill>
                <a:latin typeface="Arial"/>
              </a:rPr>
              <a:t>This is dummy text it is not here to be read</a:t>
            </a:r>
          </a:p>
          <a:p>
            <a:pPr marL="270000" lvl="2" indent="-135000" defTabSz="717947">
              <a:spcBef>
                <a:spcPts val="450"/>
              </a:spcBef>
              <a:buClrTx/>
            </a:pPr>
            <a:r>
              <a:rPr lang="en-US" sz="825" dirty="0">
                <a:solidFill>
                  <a:srgbClr val="313131"/>
                </a:solidFill>
                <a:latin typeface="Arial"/>
              </a:rPr>
              <a:t>This is dummy text it is not here to be read</a:t>
            </a:r>
          </a:p>
        </p:txBody>
      </p:sp>
      <p:sp>
        <p:nvSpPr>
          <p:cNvPr id="36" name="Text Placeholder 5"/>
          <p:cNvSpPr txBox="1">
            <a:spLocks/>
          </p:cNvSpPr>
          <p:nvPr/>
        </p:nvSpPr>
        <p:spPr>
          <a:xfrm>
            <a:off x="4992291" y="1309105"/>
            <a:ext cx="2711053" cy="372563"/>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35000" lvl="1" indent="-135000" defTabSz="717947">
              <a:spcBef>
                <a:spcPts val="300"/>
              </a:spcBef>
              <a:buClrTx/>
            </a:pPr>
            <a:r>
              <a:rPr lang="en-US" sz="825" dirty="0">
                <a:solidFill>
                  <a:srgbClr val="313131"/>
                </a:solidFill>
                <a:latin typeface="Arial"/>
              </a:rPr>
              <a:t>This is dummy text it is not here to be read</a:t>
            </a:r>
          </a:p>
          <a:p>
            <a:pPr marL="270000" lvl="2" indent="-135000" defTabSz="717947">
              <a:spcBef>
                <a:spcPts val="450"/>
              </a:spcBef>
              <a:buClrTx/>
            </a:pPr>
            <a:r>
              <a:rPr lang="en-US" sz="825" dirty="0">
                <a:solidFill>
                  <a:srgbClr val="313131"/>
                </a:solidFill>
                <a:latin typeface="Arial"/>
              </a:rPr>
              <a:t>This is dummy text it is not here to be read</a:t>
            </a:r>
          </a:p>
        </p:txBody>
      </p:sp>
      <p:sp>
        <p:nvSpPr>
          <p:cNvPr id="41" name="Text Placeholder 5"/>
          <p:cNvSpPr txBox="1">
            <a:spLocks/>
          </p:cNvSpPr>
          <p:nvPr/>
        </p:nvSpPr>
        <p:spPr>
          <a:xfrm>
            <a:off x="4992291" y="2087254"/>
            <a:ext cx="2711053" cy="372563"/>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35000" lvl="1" indent="-135000" defTabSz="717947">
              <a:spcBef>
                <a:spcPts val="300"/>
              </a:spcBef>
              <a:buClrTx/>
            </a:pPr>
            <a:r>
              <a:rPr lang="en-US" sz="825" dirty="0">
                <a:solidFill>
                  <a:srgbClr val="313131"/>
                </a:solidFill>
                <a:latin typeface="Arial"/>
              </a:rPr>
              <a:t>This is dummy text it is not here to be read</a:t>
            </a:r>
          </a:p>
          <a:p>
            <a:pPr marL="270000" lvl="2" indent="-135000" defTabSz="717947">
              <a:spcBef>
                <a:spcPts val="450"/>
              </a:spcBef>
              <a:buClrTx/>
            </a:pPr>
            <a:r>
              <a:rPr lang="en-US" sz="825" dirty="0">
                <a:solidFill>
                  <a:srgbClr val="313131"/>
                </a:solidFill>
                <a:latin typeface="Arial"/>
              </a:rPr>
              <a:t>This is dummy text it is not here to be read</a:t>
            </a:r>
          </a:p>
        </p:txBody>
      </p:sp>
      <p:sp>
        <p:nvSpPr>
          <p:cNvPr id="42" name="Text Placeholder 5"/>
          <p:cNvSpPr txBox="1">
            <a:spLocks/>
          </p:cNvSpPr>
          <p:nvPr/>
        </p:nvSpPr>
        <p:spPr>
          <a:xfrm>
            <a:off x="4992291" y="2865404"/>
            <a:ext cx="2711053" cy="372563"/>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35000" lvl="1" indent="-135000" defTabSz="717947">
              <a:spcBef>
                <a:spcPts val="300"/>
              </a:spcBef>
              <a:buClrTx/>
            </a:pPr>
            <a:r>
              <a:rPr lang="en-US" sz="825" dirty="0">
                <a:solidFill>
                  <a:srgbClr val="313131"/>
                </a:solidFill>
                <a:latin typeface="Arial"/>
              </a:rPr>
              <a:t>This is dummy text it is not here to be read</a:t>
            </a:r>
          </a:p>
          <a:p>
            <a:pPr marL="270000" lvl="2" indent="-135000" defTabSz="717947">
              <a:spcBef>
                <a:spcPts val="450"/>
              </a:spcBef>
              <a:buClrTx/>
            </a:pPr>
            <a:r>
              <a:rPr lang="en-US" sz="825" dirty="0">
                <a:solidFill>
                  <a:srgbClr val="313131"/>
                </a:solidFill>
                <a:latin typeface="Arial"/>
              </a:rPr>
              <a:t>This is dummy text it is not here to be read</a:t>
            </a:r>
          </a:p>
        </p:txBody>
      </p:sp>
      <p:sp>
        <p:nvSpPr>
          <p:cNvPr id="43" name="Text Placeholder 5"/>
          <p:cNvSpPr txBox="1">
            <a:spLocks/>
          </p:cNvSpPr>
          <p:nvPr/>
        </p:nvSpPr>
        <p:spPr>
          <a:xfrm>
            <a:off x="4992291" y="3643554"/>
            <a:ext cx="2711053" cy="372563"/>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35000" lvl="1" indent="-135000" defTabSz="717947">
              <a:spcBef>
                <a:spcPts val="300"/>
              </a:spcBef>
              <a:buClrTx/>
            </a:pPr>
            <a:r>
              <a:rPr lang="en-US" sz="825" dirty="0">
                <a:solidFill>
                  <a:srgbClr val="313131"/>
                </a:solidFill>
                <a:latin typeface="Arial"/>
              </a:rPr>
              <a:t>This is dummy text it is not here to be read</a:t>
            </a:r>
          </a:p>
          <a:p>
            <a:pPr marL="270000" lvl="2" indent="-135000" defTabSz="717947">
              <a:spcBef>
                <a:spcPts val="450"/>
              </a:spcBef>
              <a:buClrTx/>
            </a:pPr>
            <a:r>
              <a:rPr lang="en-US" sz="825" dirty="0">
                <a:solidFill>
                  <a:srgbClr val="313131"/>
                </a:solidFill>
                <a:latin typeface="Arial"/>
              </a:rPr>
              <a:t>This is dummy text it is not here to be read</a:t>
            </a:r>
          </a:p>
        </p:txBody>
      </p:sp>
      <p:sp>
        <p:nvSpPr>
          <p:cNvPr id="44" name="Text Placeholder 5"/>
          <p:cNvSpPr txBox="1">
            <a:spLocks/>
          </p:cNvSpPr>
          <p:nvPr/>
        </p:nvSpPr>
        <p:spPr>
          <a:xfrm>
            <a:off x="1762126" y="4421703"/>
            <a:ext cx="2711053" cy="372563"/>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35000" lvl="1" indent="-135000" defTabSz="717947">
              <a:spcBef>
                <a:spcPts val="300"/>
              </a:spcBef>
              <a:buClrTx/>
            </a:pPr>
            <a:r>
              <a:rPr lang="en-US" sz="825" dirty="0">
                <a:solidFill>
                  <a:srgbClr val="313131"/>
                </a:solidFill>
                <a:latin typeface="Arial"/>
              </a:rPr>
              <a:t>This is dummy text it is not here to be read</a:t>
            </a:r>
          </a:p>
          <a:p>
            <a:pPr marL="270000" lvl="2" indent="-135000" defTabSz="717947">
              <a:spcBef>
                <a:spcPts val="450"/>
              </a:spcBef>
              <a:buClrTx/>
            </a:pPr>
            <a:r>
              <a:rPr lang="en-US" sz="825" dirty="0">
                <a:solidFill>
                  <a:srgbClr val="313131"/>
                </a:solidFill>
                <a:latin typeface="Arial"/>
              </a:rPr>
              <a:t>This is dummy text it is not here to be read</a:t>
            </a:r>
          </a:p>
        </p:txBody>
      </p:sp>
      <p:sp>
        <p:nvSpPr>
          <p:cNvPr id="45" name="Text Placeholder 5"/>
          <p:cNvSpPr txBox="1">
            <a:spLocks/>
          </p:cNvSpPr>
          <p:nvPr/>
        </p:nvSpPr>
        <p:spPr>
          <a:xfrm>
            <a:off x="4992291" y="4421703"/>
            <a:ext cx="2711053" cy="372563"/>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35000" lvl="1" indent="-135000" defTabSz="717947">
              <a:spcBef>
                <a:spcPts val="300"/>
              </a:spcBef>
              <a:buClrTx/>
            </a:pPr>
            <a:r>
              <a:rPr lang="en-US" sz="825" dirty="0">
                <a:solidFill>
                  <a:srgbClr val="313131"/>
                </a:solidFill>
                <a:latin typeface="Arial"/>
              </a:rPr>
              <a:t>This is dummy text it is not here to be read</a:t>
            </a:r>
          </a:p>
          <a:p>
            <a:pPr marL="270000" lvl="2" indent="-135000" defTabSz="717947">
              <a:spcBef>
                <a:spcPts val="450"/>
              </a:spcBef>
              <a:buClrTx/>
            </a:pPr>
            <a:r>
              <a:rPr lang="en-US" sz="825" dirty="0">
                <a:solidFill>
                  <a:srgbClr val="313131"/>
                </a:solidFill>
                <a:latin typeface="Arial"/>
              </a:rPr>
              <a:t>This is dummy text it is not here to be read</a:t>
            </a:r>
          </a:p>
        </p:txBody>
      </p:sp>
    </p:spTree>
    <p:extLst>
      <p:ext uri="{BB962C8B-B14F-4D97-AF65-F5344CB8AC3E}">
        <p14:creationId xmlns:p14="http://schemas.microsoft.com/office/powerpoint/2010/main" val="1688810680"/>
      </p:ext>
    </p:extLst>
  </p:cSld>
  <p:clrMapOvr>
    <a:masterClrMapping/>
  </p:clrMapOvr>
  <p:transition>
    <p:fade/>
  </p:transition>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0465" name="Title 1"/>
          <p:cNvSpPr>
            <a:spLocks noGrp="1"/>
          </p:cNvSpPr>
          <p:nvPr>
            <p:ph type="title"/>
          </p:nvPr>
        </p:nvSpPr>
        <p:spPr/>
        <p:txBody>
          <a:bodyPr/>
          <a:lstStyle/>
          <a:p>
            <a:r>
              <a:rPr lang="en-US" altLang="de-DE"/>
              <a:t>Timelines</a:t>
            </a:r>
            <a:endParaRPr lang="en-US"/>
          </a:p>
        </p:txBody>
      </p:sp>
      <p:sp>
        <p:nvSpPr>
          <p:cNvPr id="830467" name="Text Box 3"/>
          <p:cNvSpPr txBox="1">
            <a:spLocks noChangeArrowheads="1"/>
          </p:cNvSpPr>
          <p:nvPr/>
        </p:nvSpPr>
        <p:spPr bwMode="auto">
          <a:xfrm>
            <a:off x="2093119" y="1221582"/>
            <a:ext cx="448866"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dirty="0">
                <a:solidFill>
                  <a:srgbClr val="313131"/>
                </a:solidFill>
                <a:ea typeface="ＭＳ Ｐゴシック" charset="-128"/>
                <a:cs typeface="+mn-cs"/>
              </a:rPr>
              <a:t>x</a:t>
            </a:r>
          </a:p>
        </p:txBody>
      </p:sp>
      <p:sp>
        <p:nvSpPr>
          <p:cNvPr id="830468" name="Text Box 4"/>
          <p:cNvSpPr txBox="1">
            <a:spLocks noChangeArrowheads="1"/>
          </p:cNvSpPr>
          <p:nvPr/>
        </p:nvSpPr>
        <p:spPr bwMode="auto">
          <a:xfrm>
            <a:off x="2541985" y="1221582"/>
            <a:ext cx="448865"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dirty="0">
                <a:solidFill>
                  <a:srgbClr val="313131"/>
                </a:solidFill>
                <a:ea typeface="ＭＳ Ｐゴシック" charset="-128"/>
                <a:cs typeface="+mn-cs"/>
              </a:rPr>
              <a:t>x</a:t>
            </a:r>
          </a:p>
        </p:txBody>
      </p:sp>
      <p:sp>
        <p:nvSpPr>
          <p:cNvPr id="830469" name="Text Box 5"/>
          <p:cNvSpPr txBox="1">
            <a:spLocks noChangeArrowheads="1"/>
          </p:cNvSpPr>
          <p:nvPr/>
        </p:nvSpPr>
        <p:spPr bwMode="auto">
          <a:xfrm>
            <a:off x="2990850" y="1221582"/>
            <a:ext cx="447675"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x</a:t>
            </a:r>
          </a:p>
        </p:txBody>
      </p:sp>
      <p:sp>
        <p:nvSpPr>
          <p:cNvPr id="830470" name="Text Box 6"/>
          <p:cNvSpPr txBox="1">
            <a:spLocks noChangeArrowheads="1"/>
          </p:cNvSpPr>
          <p:nvPr/>
        </p:nvSpPr>
        <p:spPr bwMode="auto">
          <a:xfrm>
            <a:off x="3438525" y="1221582"/>
            <a:ext cx="448866"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x</a:t>
            </a:r>
          </a:p>
        </p:txBody>
      </p:sp>
      <p:sp>
        <p:nvSpPr>
          <p:cNvPr id="830471" name="Text Box 7"/>
          <p:cNvSpPr txBox="1">
            <a:spLocks noChangeArrowheads="1"/>
          </p:cNvSpPr>
          <p:nvPr/>
        </p:nvSpPr>
        <p:spPr bwMode="auto">
          <a:xfrm>
            <a:off x="3887392" y="1221582"/>
            <a:ext cx="448865"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x</a:t>
            </a:r>
          </a:p>
        </p:txBody>
      </p:sp>
      <p:sp>
        <p:nvSpPr>
          <p:cNvPr id="830472" name="Text Box 8"/>
          <p:cNvSpPr txBox="1">
            <a:spLocks noChangeArrowheads="1"/>
          </p:cNvSpPr>
          <p:nvPr/>
        </p:nvSpPr>
        <p:spPr bwMode="auto">
          <a:xfrm>
            <a:off x="4336256" y="1221582"/>
            <a:ext cx="447675"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dirty="0">
                <a:solidFill>
                  <a:srgbClr val="313131"/>
                </a:solidFill>
                <a:ea typeface="ＭＳ Ｐゴシック" charset="-128"/>
                <a:cs typeface="+mn-cs"/>
              </a:rPr>
              <a:t>x</a:t>
            </a:r>
          </a:p>
        </p:txBody>
      </p:sp>
      <p:sp>
        <p:nvSpPr>
          <p:cNvPr id="830473" name="Text Box 9"/>
          <p:cNvSpPr txBox="1">
            <a:spLocks noChangeArrowheads="1"/>
          </p:cNvSpPr>
          <p:nvPr/>
        </p:nvSpPr>
        <p:spPr bwMode="auto">
          <a:xfrm>
            <a:off x="4783931" y="1221582"/>
            <a:ext cx="448866"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x</a:t>
            </a:r>
          </a:p>
        </p:txBody>
      </p:sp>
      <p:sp>
        <p:nvSpPr>
          <p:cNvPr id="830474" name="Text Box 10"/>
          <p:cNvSpPr txBox="1">
            <a:spLocks noChangeArrowheads="1"/>
          </p:cNvSpPr>
          <p:nvPr/>
        </p:nvSpPr>
        <p:spPr bwMode="auto">
          <a:xfrm>
            <a:off x="5232797" y="1221582"/>
            <a:ext cx="447675"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x</a:t>
            </a:r>
          </a:p>
        </p:txBody>
      </p:sp>
      <p:sp>
        <p:nvSpPr>
          <p:cNvPr id="830475" name="Text Box 11"/>
          <p:cNvSpPr txBox="1">
            <a:spLocks noChangeArrowheads="1"/>
          </p:cNvSpPr>
          <p:nvPr/>
        </p:nvSpPr>
        <p:spPr bwMode="auto">
          <a:xfrm>
            <a:off x="5680473" y="1221582"/>
            <a:ext cx="450056"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x</a:t>
            </a:r>
          </a:p>
        </p:txBody>
      </p:sp>
      <p:sp>
        <p:nvSpPr>
          <p:cNvPr id="830476" name="Text Box 12"/>
          <p:cNvSpPr txBox="1">
            <a:spLocks noChangeArrowheads="1"/>
          </p:cNvSpPr>
          <p:nvPr/>
        </p:nvSpPr>
        <p:spPr bwMode="auto">
          <a:xfrm>
            <a:off x="6130529" y="1221582"/>
            <a:ext cx="447675"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x</a:t>
            </a:r>
          </a:p>
        </p:txBody>
      </p:sp>
      <p:sp>
        <p:nvSpPr>
          <p:cNvPr id="830477" name="Text Box 13"/>
          <p:cNvSpPr txBox="1">
            <a:spLocks noChangeArrowheads="1"/>
          </p:cNvSpPr>
          <p:nvPr/>
        </p:nvSpPr>
        <p:spPr bwMode="auto">
          <a:xfrm>
            <a:off x="6578204" y="1221582"/>
            <a:ext cx="447675"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x</a:t>
            </a:r>
          </a:p>
        </p:txBody>
      </p:sp>
      <p:sp>
        <p:nvSpPr>
          <p:cNvPr id="16" name="Freeform 14"/>
          <p:cNvSpPr>
            <a:spLocks/>
          </p:cNvSpPr>
          <p:nvPr/>
        </p:nvSpPr>
        <p:spPr bwMode="auto">
          <a:xfrm>
            <a:off x="2093119" y="1437085"/>
            <a:ext cx="4935141" cy="108347"/>
          </a:xfrm>
          <a:custGeom>
            <a:avLst/>
            <a:gdLst>
              <a:gd name="T0" fmla="*/ 0 w 4490"/>
              <a:gd name="T1" fmla="*/ 2147483647 h 91"/>
              <a:gd name="T2" fmla="*/ 0 w 4490"/>
              <a:gd name="T3" fmla="*/ 0 h 91"/>
              <a:gd name="T4" fmla="*/ 2147483647 w 4490"/>
              <a:gd name="T5" fmla="*/ 0 h 91"/>
              <a:gd name="T6" fmla="*/ 2147483647 w 4490"/>
              <a:gd name="T7" fmla="*/ 2147483647 h 91"/>
              <a:gd name="T8" fmla="*/ 0 60000 65536"/>
              <a:gd name="T9" fmla="*/ 0 60000 65536"/>
              <a:gd name="T10" fmla="*/ 0 60000 65536"/>
              <a:gd name="T11" fmla="*/ 0 60000 65536"/>
              <a:gd name="T12" fmla="*/ 0 w 4490"/>
              <a:gd name="T13" fmla="*/ 0 h 91"/>
              <a:gd name="T14" fmla="*/ 4490 w 4490"/>
              <a:gd name="T15" fmla="*/ 91 h 91"/>
            </a:gdLst>
            <a:ahLst/>
            <a:cxnLst>
              <a:cxn ang="T8">
                <a:pos x="T0" y="T1"/>
              </a:cxn>
              <a:cxn ang="T9">
                <a:pos x="T2" y="T3"/>
              </a:cxn>
              <a:cxn ang="T10">
                <a:pos x="T4" y="T5"/>
              </a:cxn>
              <a:cxn ang="T11">
                <a:pos x="T6" y="T7"/>
              </a:cxn>
            </a:cxnLst>
            <a:rect l="T12" t="T13" r="T14" b="T15"/>
            <a:pathLst>
              <a:path w="4490" h="91">
                <a:moveTo>
                  <a:pt x="0" y="91"/>
                </a:moveTo>
                <a:lnTo>
                  <a:pt x="0" y="0"/>
                </a:lnTo>
                <a:lnTo>
                  <a:pt x="4490" y="0"/>
                </a:lnTo>
                <a:lnTo>
                  <a:pt x="4490" y="91"/>
                </a:lnTo>
              </a:path>
            </a:pathLst>
          </a:custGeom>
          <a:noFill/>
          <a:ln w="19050">
            <a:solidFill>
              <a:srgbClr val="B4B4B4"/>
            </a:solidFill>
            <a:round/>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17" name="AutoShape 15"/>
          <p:cNvSpPr>
            <a:spLocks noChangeArrowheads="1"/>
          </p:cNvSpPr>
          <p:nvPr/>
        </p:nvSpPr>
        <p:spPr bwMode="auto">
          <a:xfrm>
            <a:off x="2244328" y="1383507"/>
            <a:ext cx="100013" cy="107156"/>
          </a:xfrm>
          <a:prstGeom prst="diamond">
            <a:avLst/>
          </a:prstGeom>
          <a:solidFill>
            <a:srgbClr val="00A1DE"/>
          </a:solidFill>
          <a:ln w="12700" algn="ctr">
            <a:solidFill>
              <a:schemeClr val="bg1"/>
            </a:solidFill>
            <a:miter lim="800000"/>
            <a:headEnd/>
            <a:tailEnd/>
          </a:ln>
        </p:spPr>
        <p:txBody>
          <a:bodyPr wrap="none" lIns="0" tIns="0" rIns="0" bIns="0" anchor="ctr"/>
          <a:lstStyle/>
          <a:p>
            <a:pPr algn="ctr" defTabSz="685800">
              <a:buClrTx/>
              <a:defRPr/>
            </a:pPr>
            <a:endParaRPr lang="en-US" sz="750" kern="1200" dirty="0">
              <a:solidFill>
                <a:srgbClr val="313131"/>
              </a:solidFill>
              <a:ea typeface="+mn-ea"/>
              <a:cs typeface="+mn-cs"/>
            </a:endParaRPr>
          </a:p>
        </p:txBody>
      </p:sp>
      <p:sp>
        <p:nvSpPr>
          <p:cNvPr id="18" name="AutoShape 16"/>
          <p:cNvSpPr>
            <a:spLocks noChangeArrowheads="1"/>
          </p:cNvSpPr>
          <p:nvPr/>
        </p:nvSpPr>
        <p:spPr bwMode="auto">
          <a:xfrm>
            <a:off x="2692003" y="1383507"/>
            <a:ext cx="100013" cy="107156"/>
          </a:xfrm>
          <a:prstGeom prst="diamond">
            <a:avLst/>
          </a:prstGeom>
          <a:solidFill>
            <a:srgbClr val="00A1DE"/>
          </a:solidFill>
          <a:ln w="12700" algn="ctr">
            <a:solidFill>
              <a:schemeClr val="bg1"/>
            </a:solidFill>
            <a:miter lim="800000"/>
            <a:headEnd/>
            <a:tailEnd/>
          </a:ln>
        </p:spPr>
        <p:txBody>
          <a:bodyPr wrap="none" lIns="0" tIns="0" rIns="0" bIns="0" anchor="ctr"/>
          <a:lstStyle/>
          <a:p>
            <a:pPr algn="ctr" defTabSz="685800">
              <a:buClrTx/>
              <a:defRPr/>
            </a:pPr>
            <a:endParaRPr lang="en-US" sz="750" kern="1200" dirty="0">
              <a:solidFill>
                <a:srgbClr val="313131"/>
              </a:solidFill>
              <a:ea typeface="+mn-ea"/>
              <a:cs typeface="+mn-cs"/>
            </a:endParaRPr>
          </a:p>
        </p:txBody>
      </p:sp>
      <p:sp>
        <p:nvSpPr>
          <p:cNvPr id="19" name="AutoShape 17"/>
          <p:cNvSpPr>
            <a:spLocks noChangeArrowheads="1"/>
          </p:cNvSpPr>
          <p:nvPr/>
        </p:nvSpPr>
        <p:spPr bwMode="auto">
          <a:xfrm>
            <a:off x="3139678" y="1383507"/>
            <a:ext cx="100013" cy="107156"/>
          </a:xfrm>
          <a:prstGeom prst="diamond">
            <a:avLst/>
          </a:prstGeom>
          <a:solidFill>
            <a:srgbClr val="00A1DE"/>
          </a:solidFill>
          <a:ln w="12700" algn="ctr">
            <a:solidFill>
              <a:schemeClr val="bg1"/>
            </a:solidFill>
            <a:miter lim="800000"/>
            <a:headEnd/>
            <a:tailEnd/>
          </a:ln>
        </p:spPr>
        <p:txBody>
          <a:bodyPr wrap="none" lIns="0" tIns="0" rIns="0" bIns="0" anchor="ctr"/>
          <a:lstStyle/>
          <a:p>
            <a:pPr algn="ctr" defTabSz="685800">
              <a:buClrTx/>
              <a:defRPr/>
            </a:pPr>
            <a:endParaRPr lang="en-US" sz="750" kern="1200" dirty="0">
              <a:solidFill>
                <a:srgbClr val="313131"/>
              </a:solidFill>
              <a:ea typeface="+mn-ea"/>
              <a:cs typeface="+mn-cs"/>
            </a:endParaRPr>
          </a:p>
        </p:txBody>
      </p:sp>
      <p:sp>
        <p:nvSpPr>
          <p:cNvPr id="20" name="AutoShape 18"/>
          <p:cNvSpPr>
            <a:spLocks noChangeArrowheads="1"/>
          </p:cNvSpPr>
          <p:nvPr/>
        </p:nvSpPr>
        <p:spPr bwMode="auto">
          <a:xfrm>
            <a:off x="3588544" y="1383507"/>
            <a:ext cx="100013" cy="107156"/>
          </a:xfrm>
          <a:prstGeom prst="diamond">
            <a:avLst/>
          </a:prstGeom>
          <a:solidFill>
            <a:srgbClr val="00A1DE"/>
          </a:solidFill>
          <a:ln w="12700" algn="ctr">
            <a:solidFill>
              <a:schemeClr val="bg1"/>
            </a:solidFill>
            <a:miter lim="800000"/>
            <a:headEnd/>
            <a:tailEnd/>
          </a:ln>
        </p:spPr>
        <p:txBody>
          <a:bodyPr wrap="none" lIns="0" tIns="0" rIns="0" bIns="0" anchor="ctr"/>
          <a:lstStyle/>
          <a:p>
            <a:pPr algn="ctr" defTabSz="685800">
              <a:buClrTx/>
              <a:defRPr/>
            </a:pPr>
            <a:endParaRPr lang="en-US" sz="750" kern="1200" dirty="0">
              <a:solidFill>
                <a:srgbClr val="313131"/>
              </a:solidFill>
              <a:ea typeface="+mn-ea"/>
              <a:cs typeface="+mn-cs"/>
            </a:endParaRPr>
          </a:p>
        </p:txBody>
      </p:sp>
      <p:sp>
        <p:nvSpPr>
          <p:cNvPr id="21" name="AutoShape 19"/>
          <p:cNvSpPr>
            <a:spLocks noChangeArrowheads="1"/>
          </p:cNvSpPr>
          <p:nvPr/>
        </p:nvSpPr>
        <p:spPr bwMode="auto">
          <a:xfrm>
            <a:off x="4036219" y="1383507"/>
            <a:ext cx="100013" cy="107156"/>
          </a:xfrm>
          <a:prstGeom prst="diamond">
            <a:avLst/>
          </a:prstGeom>
          <a:solidFill>
            <a:srgbClr val="00A1DE"/>
          </a:solidFill>
          <a:ln w="12700" algn="ctr">
            <a:solidFill>
              <a:schemeClr val="bg1"/>
            </a:solidFill>
            <a:miter lim="800000"/>
            <a:headEnd/>
            <a:tailEnd/>
          </a:ln>
        </p:spPr>
        <p:txBody>
          <a:bodyPr wrap="none" lIns="0" tIns="0" rIns="0" bIns="0" anchor="ctr"/>
          <a:lstStyle/>
          <a:p>
            <a:pPr algn="ctr" defTabSz="685800">
              <a:buClrTx/>
              <a:defRPr/>
            </a:pPr>
            <a:endParaRPr lang="en-US" sz="750" kern="1200" dirty="0">
              <a:solidFill>
                <a:srgbClr val="313131"/>
              </a:solidFill>
              <a:ea typeface="+mn-ea"/>
              <a:cs typeface="+mn-cs"/>
            </a:endParaRPr>
          </a:p>
        </p:txBody>
      </p:sp>
      <p:sp>
        <p:nvSpPr>
          <p:cNvPr id="22" name="AutoShape 20"/>
          <p:cNvSpPr>
            <a:spLocks noChangeArrowheads="1"/>
          </p:cNvSpPr>
          <p:nvPr/>
        </p:nvSpPr>
        <p:spPr bwMode="auto">
          <a:xfrm>
            <a:off x="4485085" y="1383507"/>
            <a:ext cx="100013" cy="107156"/>
          </a:xfrm>
          <a:prstGeom prst="diamond">
            <a:avLst/>
          </a:prstGeom>
          <a:solidFill>
            <a:srgbClr val="00A1DE"/>
          </a:solidFill>
          <a:ln w="12700" algn="ctr">
            <a:solidFill>
              <a:schemeClr val="bg1"/>
            </a:solidFill>
            <a:miter lim="800000"/>
            <a:headEnd/>
            <a:tailEnd/>
          </a:ln>
        </p:spPr>
        <p:txBody>
          <a:bodyPr wrap="none" lIns="0" tIns="0" rIns="0" bIns="0" anchor="ctr"/>
          <a:lstStyle/>
          <a:p>
            <a:pPr algn="ctr" defTabSz="685800">
              <a:buClrTx/>
              <a:defRPr/>
            </a:pPr>
            <a:endParaRPr lang="en-US" sz="750" kern="1200" dirty="0">
              <a:solidFill>
                <a:srgbClr val="313131"/>
              </a:solidFill>
              <a:ea typeface="+mn-ea"/>
              <a:cs typeface="+mn-cs"/>
            </a:endParaRPr>
          </a:p>
        </p:txBody>
      </p:sp>
      <p:sp>
        <p:nvSpPr>
          <p:cNvPr id="23" name="AutoShape 21"/>
          <p:cNvSpPr>
            <a:spLocks noChangeArrowheads="1"/>
          </p:cNvSpPr>
          <p:nvPr/>
        </p:nvSpPr>
        <p:spPr bwMode="auto">
          <a:xfrm>
            <a:off x="4933950" y="1383507"/>
            <a:ext cx="100013" cy="107156"/>
          </a:xfrm>
          <a:prstGeom prst="diamond">
            <a:avLst/>
          </a:prstGeom>
          <a:solidFill>
            <a:srgbClr val="00A1DE"/>
          </a:solidFill>
          <a:ln w="12700" algn="ctr">
            <a:solidFill>
              <a:schemeClr val="bg1"/>
            </a:solidFill>
            <a:miter lim="800000"/>
            <a:headEnd/>
            <a:tailEnd/>
          </a:ln>
        </p:spPr>
        <p:txBody>
          <a:bodyPr wrap="none" lIns="0" tIns="0" rIns="0" bIns="0" anchor="ctr"/>
          <a:lstStyle/>
          <a:p>
            <a:pPr algn="ctr" defTabSz="685800">
              <a:buClrTx/>
              <a:defRPr/>
            </a:pPr>
            <a:endParaRPr lang="en-US" sz="750" kern="1200" dirty="0">
              <a:solidFill>
                <a:srgbClr val="313131"/>
              </a:solidFill>
              <a:ea typeface="+mn-ea"/>
              <a:cs typeface="+mn-cs"/>
            </a:endParaRPr>
          </a:p>
        </p:txBody>
      </p:sp>
      <p:sp>
        <p:nvSpPr>
          <p:cNvPr id="24" name="AutoShape 22"/>
          <p:cNvSpPr>
            <a:spLocks noChangeArrowheads="1"/>
          </p:cNvSpPr>
          <p:nvPr/>
        </p:nvSpPr>
        <p:spPr bwMode="auto">
          <a:xfrm>
            <a:off x="5381625" y="1383507"/>
            <a:ext cx="100013" cy="107156"/>
          </a:xfrm>
          <a:prstGeom prst="diamond">
            <a:avLst/>
          </a:prstGeom>
          <a:solidFill>
            <a:srgbClr val="00A1DE"/>
          </a:solidFill>
          <a:ln w="12700" algn="ctr">
            <a:solidFill>
              <a:schemeClr val="bg1"/>
            </a:solidFill>
            <a:miter lim="800000"/>
            <a:headEnd/>
            <a:tailEnd/>
          </a:ln>
        </p:spPr>
        <p:txBody>
          <a:bodyPr wrap="none" lIns="0" tIns="0" rIns="0" bIns="0" anchor="ctr"/>
          <a:lstStyle/>
          <a:p>
            <a:pPr algn="ctr" defTabSz="685800">
              <a:buClrTx/>
              <a:defRPr/>
            </a:pPr>
            <a:endParaRPr lang="en-US" sz="750" kern="1200" dirty="0">
              <a:solidFill>
                <a:srgbClr val="313131"/>
              </a:solidFill>
              <a:ea typeface="+mn-ea"/>
              <a:cs typeface="+mn-cs"/>
            </a:endParaRPr>
          </a:p>
        </p:txBody>
      </p:sp>
      <p:sp>
        <p:nvSpPr>
          <p:cNvPr id="25" name="AutoShape 23"/>
          <p:cNvSpPr>
            <a:spLocks noChangeArrowheads="1"/>
          </p:cNvSpPr>
          <p:nvPr/>
        </p:nvSpPr>
        <p:spPr bwMode="auto">
          <a:xfrm>
            <a:off x="5830491" y="1383507"/>
            <a:ext cx="100013" cy="107156"/>
          </a:xfrm>
          <a:prstGeom prst="diamond">
            <a:avLst/>
          </a:prstGeom>
          <a:solidFill>
            <a:srgbClr val="00A1DE"/>
          </a:solidFill>
          <a:ln w="12700" algn="ctr">
            <a:solidFill>
              <a:schemeClr val="bg1"/>
            </a:solidFill>
            <a:miter lim="800000"/>
            <a:headEnd/>
            <a:tailEnd/>
          </a:ln>
        </p:spPr>
        <p:txBody>
          <a:bodyPr wrap="none" lIns="0" tIns="0" rIns="0" bIns="0" anchor="ctr"/>
          <a:lstStyle/>
          <a:p>
            <a:pPr algn="ctr" defTabSz="685800">
              <a:buClrTx/>
              <a:defRPr/>
            </a:pPr>
            <a:endParaRPr lang="en-US" sz="750" kern="1200" dirty="0">
              <a:solidFill>
                <a:srgbClr val="313131"/>
              </a:solidFill>
              <a:ea typeface="+mn-ea"/>
              <a:cs typeface="+mn-cs"/>
            </a:endParaRPr>
          </a:p>
        </p:txBody>
      </p:sp>
      <p:sp>
        <p:nvSpPr>
          <p:cNvPr id="26" name="AutoShape 24"/>
          <p:cNvSpPr>
            <a:spLocks noChangeArrowheads="1"/>
          </p:cNvSpPr>
          <p:nvPr/>
        </p:nvSpPr>
        <p:spPr bwMode="auto">
          <a:xfrm>
            <a:off x="6279356" y="1383507"/>
            <a:ext cx="100013" cy="107156"/>
          </a:xfrm>
          <a:prstGeom prst="diamond">
            <a:avLst/>
          </a:prstGeom>
          <a:solidFill>
            <a:srgbClr val="00A1DE"/>
          </a:solidFill>
          <a:ln w="12700" algn="ctr">
            <a:solidFill>
              <a:schemeClr val="bg1"/>
            </a:solidFill>
            <a:miter lim="800000"/>
            <a:headEnd/>
            <a:tailEnd/>
          </a:ln>
        </p:spPr>
        <p:txBody>
          <a:bodyPr wrap="none" lIns="0" tIns="0" rIns="0" bIns="0" anchor="ctr"/>
          <a:lstStyle/>
          <a:p>
            <a:pPr algn="ctr" defTabSz="685800">
              <a:buClrTx/>
              <a:defRPr/>
            </a:pPr>
            <a:endParaRPr lang="en-US" sz="750" kern="1200" dirty="0">
              <a:solidFill>
                <a:srgbClr val="313131"/>
              </a:solidFill>
              <a:ea typeface="+mn-ea"/>
              <a:cs typeface="+mn-cs"/>
            </a:endParaRPr>
          </a:p>
        </p:txBody>
      </p:sp>
      <p:sp>
        <p:nvSpPr>
          <p:cNvPr id="27" name="AutoShape 25"/>
          <p:cNvSpPr>
            <a:spLocks noChangeArrowheads="1"/>
          </p:cNvSpPr>
          <p:nvPr/>
        </p:nvSpPr>
        <p:spPr bwMode="auto">
          <a:xfrm>
            <a:off x="6730603" y="1383507"/>
            <a:ext cx="100013" cy="107156"/>
          </a:xfrm>
          <a:prstGeom prst="diamond">
            <a:avLst/>
          </a:prstGeom>
          <a:solidFill>
            <a:srgbClr val="00A1DE"/>
          </a:solidFill>
          <a:ln w="12700" algn="ctr">
            <a:solidFill>
              <a:schemeClr val="bg1"/>
            </a:solidFill>
            <a:miter lim="800000"/>
            <a:headEnd/>
            <a:tailEnd/>
          </a:ln>
        </p:spPr>
        <p:txBody>
          <a:bodyPr wrap="none" lIns="0" tIns="0" rIns="0" bIns="0" anchor="ctr"/>
          <a:lstStyle/>
          <a:p>
            <a:pPr algn="ctr" defTabSz="685800">
              <a:buClrTx/>
              <a:defRPr/>
            </a:pPr>
            <a:endParaRPr lang="en-US" sz="750" kern="1200" dirty="0">
              <a:solidFill>
                <a:srgbClr val="313131"/>
              </a:solidFill>
              <a:ea typeface="+mn-ea"/>
              <a:cs typeface="+mn-cs"/>
            </a:endParaRPr>
          </a:p>
        </p:txBody>
      </p:sp>
      <p:sp>
        <p:nvSpPr>
          <p:cNvPr id="28" name="Freeform 26"/>
          <p:cNvSpPr>
            <a:spLocks/>
          </p:cNvSpPr>
          <p:nvPr/>
        </p:nvSpPr>
        <p:spPr bwMode="auto">
          <a:xfrm>
            <a:off x="2099073" y="3103794"/>
            <a:ext cx="4935140" cy="108347"/>
          </a:xfrm>
          <a:custGeom>
            <a:avLst/>
            <a:gdLst>
              <a:gd name="T0" fmla="*/ 0 w 4490"/>
              <a:gd name="T1" fmla="*/ 2147483647 h 91"/>
              <a:gd name="T2" fmla="*/ 0 w 4490"/>
              <a:gd name="T3" fmla="*/ 0 h 91"/>
              <a:gd name="T4" fmla="*/ 2147483647 w 4490"/>
              <a:gd name="T5" fmla="*/ 0 h 91"/>
              <a:gd name="T6" fmla="*/ 2147483647 w 4490"/>
              <a:gd name="T7" fmla="*/ 2147483647 h 91"/>
              <a:gd name="T8" fmla="*/ 0 60000 65536"/>
              <a:gd name="T9" fmla="*/ 0 60000 65536"/>
              <a:gd name="T10" fmla="*/ 0 60000 65536"/>
              <a:gd name="T11" fmla="*/ 0 60000 65536"/>
              <a:gd name="T12" fmla="*/ 0 w 4490"/>
              <a:gd name="T13" fmla="*/ 0 h 91"/>
              <a:gd name="T14" fmla="*/ 4490 w 4490"/>
              <a:gd name="T15" fmla="*/ 91 h 91"/>
            </a:gdLst>
            <a:ahLst/>
            <a:cxnLst>
              <a:cxn ang="T8">
                <a:pos x="T0" y="T1"/>
              </a:cxn>
              <a:cxn ang="T9">
                <a:pos x="T2" y="T3"/>
              </a:cxn>
              <a:cxn ang="T10">
                <a:pos x="T4" y="T5"/>
              </a:cxn>
              <a:cxn ang="T11">
                <a:pos x="T6" y="T7"/>
              </a:cxn>
            </a:cxnLst>
            <a:rect l="T12" t="T13" r="T14" b="T15"/>
            <a:pathLst>
              <a:path w="4490" h="91">
                <a:moveTo>
                  <a:pt x="0" y="91"/>
                </a:moveTo>
                <a:lnTo>
                  <a:pt x="0" y="0"/>
                </a:lnTo>
                <a:lnTo>
                  <a:pt x="4490" y="0"/>
                </a:lnTo>
                <a:lnTo>
                  <a:pt x="4490" y="91"/>
                </a:lnTo>
              </a:path>
            </a:pathLst>
          </a:custGeom>
          <a:noFill/>
          <a:ln w="19050">
            <a:solidFill>
              <a:srgbClr val="B4B4B4"/>
            </a:solidFill>
            <a:round/>
            <a:headEnd/>
            <a:tailEnd/>
          </a:ln>
        </p:spPr>
        <p:txBody>
          <a:bodyPr wrap="none" lIns="0" tIns="0" rIns="0" bIns="0" anchor="ctr"/>
          <a:lstStyle/>
          <a:p>
            <a:pPr defTabSz="685800">
              <a:buClrTx/>
              <a:defRPr/>
            </a:pPr>
            <a:endParaRPr lang="en-US" sz="1350" kern="1200" dirty="0">
              <a:solidFill>
                <a:srgbClr val="575757"/>
              </a:solidFill>
              <a:ea typeface="+mn-ea"/>
              <a:cs typeface="+mn-cs"/>
            </a:endParaRPr>
          </a:p>
        </p:txBody>
      </p:sp>
      <p:sp>
        <p:nvSpPr>
          <p:cNvPr id="29" name="Rectangle 27"/>
          <p:cNvSpPr>
            <a:spLocks noChangeArrowheads="1"/>
          </p:cNvSpPr>
          <p:nvPr/>
        </p:nvSpPr>
        <p:spPr bwMode="auto">
          <a:xfrm>
            <a:off x="2249091" y="3050216"/>
            <a:ext cx="98822" cy="107156"/>
          </a:xfrm>
          <a:prstGeom prst="rect">
            <a:avLst/>
          </a:prstGeom>
          <a:solidFill>
            <a:srgbClr val="00A1DE"/>
          </a:solidFill>
          <a:ln w="12700" algn="ctr">
            <a:solidFill>
              <a:schemeClr val="bg1"/>
            </a:solidFill>
            <a:miter lim="800000"/>
            <a:headEnd/>
            <a:tailEnd/>
          </a:ln>
        </p:spPr>
        <p:txBody>
          <a:bodyPr wrap="none" lIns="0" tIns="0" rIns="0" bIns="0" anchor="ctr"/>
          <a:lstStyle/>
          <a:p>
            <a:pPr algn="ctr" defTabSz="685800">
              <a:buClrTx/>
              <a:defRPr/>
            </a:pPr>
            <a:endParaRPr lang="en-US" sz="750" kern="1200" dirty="0">
              <a:solidFill>
                <a:srgbClr val="575757"/>
              </a:solidFill>
              <a:ea typeface="+mn-ea"/>
              <a:cs typeface="+mn-cs"/>
            </a:endParaRPr>
          </a:p>
        </p:txBody>
      </p:sp>
      <p:sp>
        <p:nvSpPr>
          <p:cNvPr id="30" name="Rectangle 28"/>
          <p:cNvSpPr>
            <a:spLocks noChangeArrowheads="1"/>
          </p:cNvSpPr>
          <p:nvPr/>
        </p:nvSpPr>
        <p:spPr bwMode="auto">
          <a:xfrm>
            <a:off x="2697957" y="3050216"/>
            <a:ext cx="98822" cy="107156"/>
          </a:xfrm>
          <a:prstGeom prst="rect">
            <a:avLst/>
          </a:prstGeom>
          <a:solidFill>
            <a:srgbClr val="00A1DE"/>
          </a:solidFill>
          <a:ln w="12700" algn="ctr">
            <a:solidFill>
              <a:schemeClr val="bg1"/>
            </a:solidFill>
            <a:miter lim="800000"/>
            <a:headEnd/>
            <a:tailEnd/>
          </a:ln>
        </p:spPr>
        <p:txBody>
          <a:bodyPr wrap="none" lIns="0" tIns="0" rIns="0" bIns="0" anchor="ctr"/>
          <a:lstStyle/>
          <a:p>
            <a:pPr algn="ctr" defTabSz="685800">
              <a:buClrTx/>
              <a:defRPr/>
            </a:pPr>
            <a:endParaRPr lang="en-US" sz="750" kern="1200" dirty="0">
              <a:solidFill>
                <a:srgbClr val="575757"/>
              </a:solidFill>
              <a:ea typeface="+mn-ea"/>
              <a:cs typeface="+mn-cs"/>
            </a:endParaRPr>
          </a:p>
        </p:txBody>
      </p:sp>
      <p:sp>
        <p:nvSpPr>
          <p:cNvPr id="31" name="Rectangle 29"/>
          <p:cNvSpPr>
            <a:spLocks noChangeArrowheads="1"/>
          </p:cNvSpPr>
          <p:nvPr/>
        </p:nvSpPr>
        <p:spPr bwMode="auto">
          <a:xfrm>
            <a:off x="3148013" y="3050216"/>
            <a:ext cx="98822" cy="107156"/>
          </a:xfrm>
          <a:prstGeom prst="rect">
            <a:avLst/>
          </a:prstGeom>
          <a:solidFill>
            <a:srgbClr val="00A1DE"/>
          </a:solidFill>
          <a:ln w="12700" algn="ctr">
            <a:solidFill>
              <a:schemeClr val="bg1"/>
            </a:solidFill>
            <a:miter lim="800000"/>
            <a:headEnd/>
            <a:tailEnd/>
          </a:ln>
        </p:spPr>
        <p:txBody>
          <a:bodyPr wrap="none" lIns="0" tIns="0" rIns="0" bIns="0" anchor="ctr"/>
          <a:lstStyle/>
          <a:p>
            <a:pPr algn="ctr" defTabSz="685800">
              <a:buClrTx/>
              <a:defRPr/>
            </a:pPr>
            <a:endParaRPr lang="en-US" sz="750" kern="1200" dirty="0">
              <a:solidFill>
                <a:srgbClr val="575757"/>
              </a:solidFill>
              <a:ea typeface="+mn-ea"/>
              <a:cs typeface="+mn-cs"/>
            </a:endParaRPr>
          </a:p>
        </p:txBody>
      </p:sp>
      <p:sp>
        <p:nvSpPr>
          <p:cNvPr id="32" name="Rectangle 30"/>
          <p:cNvSpPr>
            <a:spLocks noChangeArrowheads="1"/>
          </p:cNvSpPr>
          <p:nvPr/>
        </p:nvSpPr>
        <p:spPr bwMode="auto">
          <a:xfrm>
            <a:off x="3596878" y="3050216"/>
            <a:ext cx="98822" cy="107156"/>
          </a:xfrm>
          <a:prstGeom prst="rect">
            <a:avLst/>
          </a:prstGeom>
          <a:solidFill>
            <a:srgbClr val="00A1DE"/>
          </a:solidFill>
          <a:ln w="12700" algn="ctr">
            <a:solidFill>
              <a:schemeClr val="bg1"/>
            </a:solidFill>
            <a:miter lim="800000"/>
            <a:headEnd/>
            <a:tailEnd/>
          </a:ln>
        </p:spPr>
        <p:txBody>
          <a:bodyPr wrap="none" lIns="0" tIns="0" rIns="0" bIns="0" anchor="ctr"/>
          <a:lstStyle/>
          <a:p>
            <a:pPr algn="ctr" defTabSz="685800">
              <a:buClrTx/>
              <a:defRPr/>
            </a:pPr>
            <a:endParaRPr lang="en-US" sz="750" kern="1200" dirty="0">
              <a:solidFill>
                <a:srgbClr val="575757"/>
              </a:solidFill>
              <a:ea typeface="+mn-ea"/>
              <a:cs typeface="+mn-cs"/>
            </a:endParaRPr>
          </a:p>
        </p:txBody>
      </p:sp>
      <p:sp>
        <p:nvSpPr>
          <p:cNvPr id="33" name="Rectangle 31"/>
          <p:cNvSpPr>
            <a:spLocks noChangeArrowheads="1"/>
          </p:cNvSpPr>
          <p:nvPr/>
        </p:nvSpPr>
        <p:spPr bwMode="auto">
          <a:xfrm>
            <a:off x="4046935" y="3050216"/>
            <a:ext cx="98822" cy="107156"/>
          </a:xfrm>
          <a:prstGeom prst="rect">
            <a:avLst/>
          </a:prstGeom>
          <a:solidFill>
            <a:srgbClr val="00A1DE"/>
          </a:solidFill>
          <a:ln w="12700" algn="ctr">
            <a:solidFill>
              <a:schemeClr val="bg1"/>
            </a:solidFill>
            <a:miter lim="800000"/>
            <a:headEnd/>
            <a:tailEnd/>
          </a:ln>
        </p:spPr>
        <p:txBody>
          <a:bodyPr wrap="none" lIns="0" tIns="0" rIns="0" bIns="0" anchor="ctr"/>
          <a:lstStyle/>
          <a:p>
            <a:pPr algn="ctr" defTabSz="685800">
              <a:buClrTx/>
              <a:defRPr/>
            </a:pPr>
            <a:endParaRPr lang="en-US" sz="750" kern="1200" dirty="0">
              <a:solidFill>
                <a:srgbClr val="575757"/>
              </a:solidFill>
              <a:ea typeface="+mn-ea"/>
              <a:cs typeface="+mn-cs"/>
            </a:endParaRPr>
          </a:p>
        </p:txBody>
      </p:sp>
      <p:sp>
        <p:nvSpPr>
          <p:cNvPr id="34" name="Rectangle 32"/>
          <p:cNvSpPr>
            <a:spLocks noChangeArrowheads="1"/>
          </p:cNvSpPr>
          <p:nvPr/>
        </p:nvSpPr>
        <p:spPr bwMode="auto">
          <a:xfrm>
            <a:off x="4495801" y="3050216"/>
            <a:ext cx="98822" cy="107156"/>
          </a:xfrm>
          <a:prstGeom prst="rect">
            <a:avLst/>
          </a:prstGeom>
          <a:solidFill>
            <a:srgbClr val="00A1DE"/>
          </a:solidFill>
          <a:ln w="12700" algn="ctr">
            <a:solidFill>
              <a:schemeClr val="bg1"/>
            </a:solidFill>
            <a:miter lim="800000"/>
            <a:headEnd/>
            <a:tailEnd/>
          </a:ln>
        </p:spPr>
        <p:txBody>
          <a:bodyPr wrap="none" lIns="0" tIns="0" rIns="0" bIns="0" anchor="ctr"/>
          <a:lstStyle/>
          <a:p>
            <a:pPr algn="ctr" defTabSz="685800">
              <a:buClrTx/>
              <a:defRPr/>
            </a:pPr>
            <a:endParaRPr lang="en-US" sz="750" kern="1200" dirty="0">
              <a:solidFill>
                <a:srgbClr val="575757"/>
              </a:solidFill>
              <a:ea typeface="+mn-ea"/>
              <a:cs typeface="+mn-cs"/>
            </a:endParaRPr>
          </a:p>
        </p:txBody>
      </p:sp>
      <p:sp>
        <p:nvSpPr>
          <p:cNvPr id="35" name="Rectangle 33"/>
          <p:cNvSpPr>
            <a:spLocks noChangeArrowheads="1"/>
          </p:cNvSpPr>
          <p:nvPr/>
        </p:nvSpPr>
        <p:spPr bwMode="auto">
          <a:xfrm>
            <a:off x="4945857" y="3050216"/>
            <a:ext cx="98822" cy="107156"/>
          </a:xfrm>
          <a:prstGeom prst="rect">
            <a:avLst/>
          </a:prstGeom>
          <a:solidFill>
            <a:srgbClr val="00A1DE"/>
          </a:solidFill>
          <a:ln w="12700" algn="ctr">
            <a:solidFill>
              <a:schemeClr val="bg1"/>
            </a:solidFill>
            <a:miter lim="800000"/>
            <a:headEnd/>
            <a:tailEnd/>
          </a:ln>
        </p:spPr>
        <p:txBody>
          <a:bodyPr wrap="none" lIns="0" tIns="0" rIns="0" bIns="0" anchor="ctr"/>
          <a:lstStyle/>
          <a:p>
            <a:pPr algn="ctr" defTabSz="685800">
              <a:buClrTx/>
              <a:defRPr/>
            </a:pPr>
            <a:endParaRPr lang="en-US" sz="750" kern="1200" dirty="0">
              <a:solidFill>
                <a:srgbClr val="575757"/>
              </a:solidFill>
              <a:ea typeface="+mn-ea"/>
              <a:cs typeface="+mn-cs"/>
            </a:endParaRPr>
          </a:p>
        </p:txBody>
      </p:sp>
      <p:sp>
        <p:nvSpPr>
          <p:cNvPr id="36" name="Rectangle 34"/>
          <p:cNvSpPr>
            <a:spLocks noChangeArrowheads="1"/>
          </p:cNvSpPr>
          <p:nvPr/>
        </p:nvSpPr>
        <p:spPr bwMode="auto">
          <a:xfrm>
            <a:off x="5394722" y="3050216"/>
            <a:ext cx="98822" cy="107156"/>
          </a:xfrm>
          <a:prstGeom prst="rect">
            <a:avLst/>
          </a:prstGeom>
          <a:solidFill>
            <a:srgbClr val="00A1DE"/>
          </a:solidFill>
          <a:ln w="12700" algn="ctr">
            <a:solidFill>
              <a:schemeClr val="bg1"/>
            </a:solidFill>
            <a:miter lim="800000"/>
            <a:headEnd/>
            <a:tailEnd/>
          </a:ln>
        </p:spPr>
        <p:txBody>
          <a:bodyPr wrap="none" lIns="0" tIns="0" rIns="0" bIns="0" anchor="ctr"/>
          <a:lstStyle/>
          <a:p>
            <a:pPr algn="ctr" defTabSz="685800">
              <a:buClrTx/>
              <a:defRPr/>
            </a:pPr>
            <a:endParaRPr lang="en-US" sz="750" kern="1200" dirty="0">
              <a:solidFill>
                <a:srgbClr val="575757"/>
              </a:solidFill>
              <a:ea typeface="+mn-ea"/>
              <a:cs typeface="+mn-cs"/>
            </a:endParaRPr>
          </a:p>
        </p:txBody>
      </p:sp>
      <p:sp>
        <p:nvSpPr>
          <p:cNvPr id="37" name="Rectangle 35"/>
          <p:cNvSpPr>
            <a:spLocks noChangeArrowheads="1"/>
          </p:cNvSpPr>
          <p:nvPr/>
        </p:nvSpPr>
        <p:spPr bwMode="auto">
          <a:xfrm>
            <a:off x="5844778" y="3050216"/>
            <a:ext cx="100013" cy="107156"/>
          </a:xfrm>
          <a:prstGeom prst="rect">
            <a:avLst/>
          </a:prstGeom>
          <a:solidFill>
            <a:srgbClr val="00A1DE"/>
          </a:solidFill>
          <a:ln w="12700" algn="ctr">
            <a:solidFill>
              <a:schemeClr val="bg1"/>
            </a:solidFill>
            <a:miter lim="800000"/>
            <a:headEnd/>
            <a:tailEnd/>
          </a:ln>
        </p:spPr>
        <p:txBody>
          <a:bodyPr wrap="none" lIns="0" tIns="0" rIns="0" bIns="0" anchor="ctr"/>
          <a:lstStyle/>
          <a:p>
            <a:pPr algn="ctr" defTabSz="685800">
              <a:buClrTx/>
              <a:defRPr/>
            </a:pPr>
            <a:endParaRPr lang="en-US" sz="750" kern="1200" dirty="0">
              <a:solidFill>
                <a:srgbClr val="575757"/>
              </a:solidFill>
              <a:ea typeface="+mn-ea"/>
              <a:cs typeface="+mn-cs"/>
            </a:endParaRPr>
          </a:p>
        </p:txBody>
      </p:sp>
      <p:sp>
        <p:nvSpPr>
          <p:cNvPr id="38" name="Rectangle 36"/>
          <p:cNvSpPr>
            <a:spLocks noChangeArrowheads="1"/>
          </p:cNvSpPr>
          <p:nvPr/>
        </p:nvSpPr>
        <p:spPr bwMode="auto">
          <a:xfrm>
            <a:off x="6293644" y="3050216"/>
            <a:ext cx="100013" cy="107156"/>
          </a:xfrm>
          <a:prstGeom prst="rect">
            <a:avLst/>
          </a:prstGeom>
          <a:solidFill>
            <a:srgbClr val="00A1DE"/>
          </a:solidFill>
          <a:ln w="12700" algn="ctr">
            <a:solidFill>
              <a:schemeClr val="bg1"/>
            </a:solidFill>
            <a:miter lim="800000"/>
            <a:headEnd/>
            <a:tailEnd/>
          </a:ln>
        </p:spPr>
        <p:txBody>
          <a:bodyPr wrap="none" lIns="0" tIns="0" rIns="0" bIns="0" anchor="ctr"/>
          <a:lstStyle/>
          <a:p>
            <a:pPr algn="ctr" defTabSz="685800">
              <a:buClrTx/>
              <a:defRPr/>
            </a:pPr>
            <a:endParaRPr lang="en-US" sz="750" kern="1200" dirty="0">
              <a:solidFill>
                <a:srgbClr val="575757"/>
              </a:solidFill>
              <a:ea typeface="+mn-ea"/>
              <a:cs typeface="+mn-cs"/>
            </a:endParaRPr>
          </a:p>
        </p:txBody>
      </p:sp>
      <p:sp>
        <p:nvSpPr>
          <p:cNvPr id="39" name="Rectangle 37"/>
          <p:cNvSpPr>
            <a:spLocks noChangeArrowheads="1"/>
          </p:cNvSpPr>
          <p:nvPr/>
        </p:nvSpPr>
        <p:spPr bwMode="auto">
          <a:xfrm>
            <a:off x="6744892" y="3050216"/>
            <a:ext cx="97631" cy="107156"/>
          </a:xfrm>
          <a:prstGeom prst="rect">
            <a:avLst/>
          </a:prstGeom>
          <a:solidFill>
            <a:srgbClr val="00A1DE"/>
          </a:solidFill>
          <a:ln w="12700" algn="ctr">
            <a:solidFill>
              <a:schemeClr val="bg1"/>
            </a:solidFill>
            <a:miter lim="800000"/>
            <a:headEnd/>
            <a:tailEnd/>
          </a:ln>
        </p:spPr>
        <p:txBody>
          <a:bodyPr wrap="none" lIns="0" tIns="0" rIns="0" bIns="0" anchor="ctr"/>
          <a:lstStyle/>
          <a:p>
            <a:pPr algn="ctr" defTabSz="685800">
              <a:buClrTx/>
              <a:defRPr/>
            </a:pPr>
            <a:endParaRPr lang="en-US" sz="750" kern="1200" dirty="0">
              <a:solidFill>
                <a:srgbClr val="575757"/>
              </a:solidFill>
              <a:ea typeface="+mn-ea"/>
              <a:cs typeface="+mn-cs"/>
            </a:endParaRPr>
          </a:p>
        </p:txBody>
      </p:sp>
      <p:sp>
        <p:nvSpPr>
          <p:cNvPr id="830502" name="Text Box 38"/>
          <p:cNvSpPr txBox="1">
            <a:spLocks noChangeArrowheads="1"/>
          </p:cNvSpPr>
          <p:nvPr/>
        </p:nvSpPr>
        <p:spPr bwMode="auto">
          <a:xfrm>
            <a:off x="2093119" y="2888291"/>
            <a:ext cx="448866"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x</a:t>
            </a:r>
          </a:p>
        </p:txBody>
      </p:sp>
      <p:sp>
        <p:nvSpPr>
          <p:cNvPr id="830503" name="Text Box 39"/>
          <p:cNvSpPr txBox="1">
            <a:spLocks noChangeArrowheads="1"/>
          </p:cNvSpPr>
          <p:nvPr/>
        </p:nvSpPr>
        <p:spPr bwMode="auto">
          <a:xfrm>
            <a:off x="2541985" y="2888291"/>
            <a:ext cx="448865"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x</a:t>
            </a:r>
          </a:p>
        </p:txBody>
      </p:sp>
      <p:sp>
        <p:nvSpPr>
          <p:cNvPr id="830504" name="Text Box 40"/>
          <p:cNvSpPr txBox="1">
            <a:spLocks noChangeArrowheads="1"/>
          </p:cNvSpPr>
          <p:nvPr/>
        </p:nvSpPr>
        <p:spPr bwMode="auto">
          <a:xfrm>
            <a:off x="2990850" y="2888291"/>
            <a:ext cx="447675"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x</a:t>
            </a:r>
          </a:p>
        </p:txBody>
      </p:sp>
      <p:sp>
        <p:nvSpPr>
          <p:cNvPr id="830505" name="Text Box 41"/>
          <p:cNvSpPr txBox="1">
            <a:spLocks noChangeArrowheads="1"/>
          </p:cNvSpPr>
          <p:nvPr/>
        </p:nvSpPr>
        <p:spPr bwMode="auto">
          <a:xfrm>
            <a:off x="3438525" y="2888291"/>
            <a:ext cx="448866"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x</a:t>
            </a:r>
          </a:p>
        </p:txBody>
      </p:sp>
      <p:sp>
        <p:nvSpPr>
          <p:cNvPr id="830506" name="Text Box 42"/>
          <p:cNvSpPr txBox="1">
            <a:spLocks noChangeArrowheads="1"/>
          </p:cNvSpPr>
          <p:nvPr/>
        </p:nvSpPr>
        <p:spPr bwMode="auto">
          <a:xfrm>
            <a:off x="3887392" y="2888291"/>
            <a:ext cx="448865"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x</a:t>
            </a:r>
          </a:p>
        </p:txBody>
      </p:sp>
      <p:sp>
        <p:nvSpPr>
          <p:cNvPr id="830507" name="Text Box 43"/>
          <p:cNvSpPr txBox="1">
            <a:spLocks noChangeArrowheads="1"/>
          </p:cNvSpPr>
          <p:nvPr/>
        </p:nvSpPr>
        <p:spPr bwMode="auto">
          <a:xfrm>
            <a:off x="4336256" y="2888291"/>
            <a:ext cx="447675"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x</a:t>
            </a:r>
          </a:p>
        </p:txBody>
      </p:sp>
      <p:sp>
        <p:nvSpPr>
          <p:cNvPr id="830508" name="Text Box 44"/>
          <p:cNvSpPr txBox="1">
            <a:spLocks noChangeArrowheads="1"/>
          </p:cNvSpPr>
          <p:nvPr/>
        </p:nvSpPr>
        <p:spPr bwMode="auto">
          <a:xfrm>
            <a:off x="4783931" y="2888291"/>
            <a:ext cx="448866"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x</a:t>
            </a:r>
          </a:p>
        </p:txBody>
      </p:sp>
      <p:sp>
        <p:nvSpPr>
          <p:cNvPr id="830509" name="Text Box 45"/>
          <p:cNvSpPr txBox="1">
            <a:spLocks noChangeArrowheads="1"/>
          </p:cNvSpPr>
          <p:nvPr/>
        </p:nvSpPr>
        <p:spPr bwMode="auto">
          <a:xfrm>
            <a:off x="5232797" y="2888291"/>
            <a:ext cx="447675"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x</a:t>
            </a:r>
          </a:p>
        </p:txBody>
      </p:sp>
      <p:sp>
        <p:nvSpPr>
          <p:cNvPr id="830510" name="Text Box 46"/>
          <p:cNvSpPr txBox="1">
            <a:spLocks noChangeArrowheads="1"/>
          </p:cNvSpPr>
          <p:nvPr/>
        </p:nvSpPr>
        <p:spPr bwMode="auto">
          <a:xfrm>
            <a:off x="5680473" y="2888291"/>
            <a:ext cx="450056"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x</a:t>
            </a:r>
          </a:p>
        </p:txBody>
      </p:sp>
      <p:sp>
        <p:nvSpPr>
          <p:cNvPr id="830511" name="Text Box 47"/>
          <p:cNvSpPr txBox="1">
            <a:spLocks noChangeArrowheads="1"/>
          </p:cNvSpPr>
          <p:nvPr/>
        </p:nvSpPr>
        <p:spPr bwMode="auto">
          <a:xfrm>
            <a:off x="6130529" y="2888291"/>
            <a:ext cx="447675"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x</a:t>
            </a:r>
          </a:p>
        </p:txBody>
      </p:sp>
      <p:sp>
        <p:nvSpPr>
          <p:cNvPr id="830512" name="Text Box 48"/>
          <p:cNvSpPr txBox="1">
            <a:spLocks noChangeArrowheads="1"/>
          </p:cNvSpPr>
          <p:nvPr/>
        </p:nvSpPr>
        <p:spPr bwMode="auto">
          <a:xfrm>
            <a:off x="6578204" y="2888291"/>
            <a:ext cx="447675"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Label</a:t>
            </a:r>
          </a:p>
        </p:txBody>
      </p:sp>
      <p:sp>
        <p:nvSpPr>
          <p:cNvPr id="830513" name="Text Box 49"/>
          <p:cNvSpPr txBox="1">
            <a:spLocks noChangeArrowheads="1"/>
          </p:cNvSpPr>
          <p:nvPr/>
        </p:nvSpPr>
        <p:spPr bwMode="auto">
          <a:xfrm>
            <a:off x="2093119" y="2070885"/>
            <a:ext cx="448866"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dirty="0">
                <a:solidFill>
                  <a:srgbClr val="313131"/>
                </a:solidFill>
                <a:ea typeface="ＭＳ Ｐゴシック" charset="-128"/>
                <a:cs typeface="+mn-cs"/>
              </a:rPr>
              <a:t>x</a:t>
            </a:r>
          </a:p>
        </p:txBody>
      </p:sp>
      <p:sp>
        <p:nvSpPr>
          <p:cNvPr id="830514" name="Text Box 50"/>
          <p:cNvSpPr txBox="1">
            <a:spLocks noChangeArrowheads="1"/>
          </p:cNvSpPr>
          <p:nvPr/>
        </p:nvSpPr>
        <p:spPr bwMode="auto">
          <a:xfrm>
            <a:off x="2541985" y="2070885"/>
            <a:ext cx="448865"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x</a:t>
            </a:r>
          </a:p>
        </p:txBody>
      </p:sp>
      <p:sp>
        <p:nvSpPr>
          <p:cNvPr id="830515" name="Text Box 51"/>
          <p:cNvSpPr txBox="1">
            <a:spLocks noChangeArrowheads="1"/>
          </p:cNvSpPr>
          <p:nvPr/>
        </p:nvSpPr>
        <p:spPr bwMode="auto">
          <a:xfrm>
            <a:off x="2990850" y="2070885"/>
            <a:ext cx="447675"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x</a:t>
            </a:r>
          </a:p>
        </p:txBody>
      </p:sp>
      <p:sp>
        <p:nvSpPr>
          <p:cNvPr id="830516" name="Text Box 52"/>
          <p:cNvSpPr txBox="1">
            <a:spLocks noChangeArrowheads="1"/>
          </p:cNvSpPr>
          <p:nvPr/>
        </p:nvSpPr>
        <p:spPr bwMode="auto">
          <a:xfrm>
            <a:off x="3438525" y="2070885"/>
            <a:ext cx="448866"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x</a:t>
            </a:r>
          </a:p>
        </p:txBody>
      </p:sp>
      <p:sp>
        <p:nvSpPr>
          <p:cNvPr id="830517" name="Text Box 53"/>
          <p:cNvSpPr txBox="1">
            <a:spLocks noChangeArrowheads="1"/>
          </p:cNvSpPr>
          <p:nvPr/>
        </p:nvSpPr>
        <p:spPr bwMode="auto">
          <a:xfrm>
            <a:off x="3887392" y="2070885"/>
            <a:ext cx="448865"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x</a:t>
            </a:r>
          </a:p>
        </p:txBody>
      </p:sp>
      <p:sp>
        <p:nvSpPr>
          <p:cNvPr id="830518" name="Text Box 54"/>
          <p:cNvSpPr txBox="1">
            <a:spLocks noChangeArrowheads="1"/>
          </p:cNvSpPr>
          <p:nvPr/>
        </p:nvSpPr>
        <p:spPr bwMode="auto">
          <a:xfrm>
            <a:off x="4336256" y="2070885"/>
            <a:ext cx="447675"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x</a:t>
            </a:r>
          </a:p>
        </p:txBody>
      </p:sp>
      <p:sp>
        <p:nvSpPr>
          <p:cNvPr id="830519" name="Text Box 55"/>
          <p:cNvSpPr txBox="1">
            <a:spLocks noChangeArrowheads="1"/>
          </p:cNvSpPr>
          <p:nvPr/>
        </p:nvSpPr>
        <p:spPr bwMode="auto">
          <a:xfrm>
            <a:off x="4783931" y="2070885"/>
            <a:ext cx="448866"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x</a:t>
            </a:r>
          </a:p>
        </p:txBody>
      </p:sp>
      <p:sp>
        <p:nvSpPr>
          <p:cNvPr id="830520" name="Text Box 56"/>
          <p:cNvSpPr txBox="1">
            <a:spLocks noChangeArrowheads="1"/>
          </p:cNvSpPr>
          <p:nvPr/>
        </p:nvSpPr>
        <p:spPr bwMode="auto">
          <a:xfrm>
            <a:off x="5232797" y="2070885"/>
            <a:ext cx="447675"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x</a:t>
            </a:r>
          </a:p>
        </p:txBody>
      </p:sp>
      <p:sp>
        <p:nvSpPr>
          <p:cNvPr id="830521" name="Text Box 57"/>
          <p:cNvSpPr txBox="1">
            <a:spLocks noChangeArrowheads="1"/>
          </p:cNvSpPr>
          <p:nvPr/>
        </p:nvSpPr>
        <p:spPr bwMode="auto">
          <a:xfrm>
            <a:off x="5680473" y="2070885"/>
            <a:ext cx="450056"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x</a:t>
            </a:r>
          </a:p>
        </p:txBody>
      </p:sp>
      <p:sp>
        <p:nvSpPr>
          <p:cNvPr id="830522" name="Text Box 58"/>
          <p:cNvSpPr txBox="1">
            <a:spLocks noChangeArrowheads="1"/>
          </p:cNvSpPr>
          <p:nvPr/>
        </p:nvSpPr>
        <p:spPr bwMode="auto">
          <a:xfrm>
            <a:off x="6130529" y="2070885"/>
            <a:ext cx="447675"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x</a:t>
            </a:r>
          </a:p>
        </p:txBody>
      </p:sp>
      <p:sp>
        <p:nvSpPr>
          <p:cNvPr id="830523" name="Text Box 59"/>
          <p:cNvSpPr txBox="1">
            <a:spLocks noChangeArrowheads="1"/>
          </p:cNvSpPr>
          <p:nvPr/>
        </p:nvSpPr>
        <p:spPr bwMode="auto">
          <a:xfrm>
            <a:off x="6578204" y="2070885"/>
            <a:ext cx="447675"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x</a:t>
            </a:r>
          </a:p>
        </p:txBody>
      </p:sp>
      <p:sp>
        <p:nvSpPr>
          <p:cNvPr id="62" name="Freeform 60"/>
          <p:cNvSpPr>
            <a:spLocks/>
          </p:cNvSpPr>
          <p:nvPr/>
        </p:nvSpPr>
        <p:spPr bwMode="auto">
          <a:xfrm>
            <a:off x="2093119" y="2286388"/>
            <a:ext cx="4935141" cy="108347"/>
          </a:xfrm>
          <a:custGeom>
            <a:avLst/>
            <a:gdLst>
              <a:gd name="T0" fmla="*/ 0 w 4490"/>
              <a:gd name="T1" fmla="*/ 2147483647 h 91"/>
              <a:gd name="T2" fmla="*/ 0 w 4490"/>
              <a:gd name="T3" fmla="*/ 0 h 91"/>
              <a:gd name="T4" fmla="*/ 2147483647 w 4490"/>
              <a:gd name="T5" fmla="*/ 0 h 91"/>
              <a:gd name="T6" fmla="*/ 2147483647 w 4490"/>
              <a:gd name="T7" fmla="*/ 2147483647 h 91"/>
              <a:gd name="T8" fmla="*/ 0 60000 65536"/>
              <a:gd name="T9" fmla="*/ 0 60000 65536"/>
              <a:gd name="T10" fmla="*/ 0 60000 65536"/>
              <a:gd name="T11" fmla="*/ 0 60000 65536"/>
              <a:gd name="T12" fmla="*/ 0 w 4490"/>
              <a:gd name="T13" fmla="*/ 0 h 91"/>
              <a:gd name="T14" fmla="*/ 4490 w 4490"/>
              <a:gd name="T15" fmla="*/ 91 h 91"/>
            </a:gdLst>
            <a:ahLst/>
            <a:cxnLst>
              <a:cxn ang="T8">
                <a:pos x="T0" y="T1"/>
              </a:cxn>
              <a:cxn ang="T9">
                <a:pos x="T2" y="T3"/>
              </a:cxn>
              <a:cxn ang="T10">
                <a:pos x="T4" y="T5"/>
              </a:cxn>
              <a:cxn ang="T11">
                <a:pos x="T6" y="T7"/>
              </a:cxn>
            </a:cxnLst>
            <a:rect l="T12" t="T13" r="T14" b="T15"/>
            <a:pathLst>
              <a:path w="4490" h="91">
                <a:moveTo>
                  <a:pt x="0" y="91"/>
                </a:moveTo>
                <a:lnTo>
                  <a:pt x="0" y="0"/>
                </a:lnTo>
                <a:lnTo>
                  <a:pt x="4490" y="0"/>
                </a:lnTo>
                <a:lnTo>
                  <a:pt x="4490" y="91"/>
                </a:lnTo>
              </a:path>
            </a:pathLst>
          </a:custGeom>
          <a:noFill/>
          <a:ln w="19050">
            <a:solidFill>
              <a:srgbClr val="B4B4B4"/>
            </a:solidFill>
            <a:round/>
            <a:headEnd/>
            <a:tailEnd/>
          </a:ln>
        </p:spPr>
        <p:txBody>
          <a:bodyPr wrap="none" lIns="0" tIns="0" rIns="0" bIns="0" anchor="ctr"/>
          <a:lstStyle/>
          <a:p>
            <a:pPr defTabSz="685800">
              <a:buClrTx/>
              <a:defRPr/>
            </a:pPr>
            <a:endParaRPr lang="en-US" sz="1350" kern="1200" dirty="0">
              <a:solidFill>
                <a:srgbClr val="313131"/>
              </a:solidFill>
              <a:ea typeface="+mn-ea"/>
              <a:cs typeface="+mn-cs"/>
            </a:endParaRPr>
          </a:p>
        </p:txBody>
      </p:sp>
      <p:sp>
        <p:nvSpPr>
          <p:cNvPr id="63" name="Oval 61"/>
          <p:cNvSpPr>
            <a:spLocks noChangeArrowheads="1"/>
          </p:cNvSpPr>
          <p:nvPr/>
        </p:nvSpPr>
        <p:spPr bwMode="auto">
          <a:xfrm>
            <a:off x="2244329" y="2232811"/>
            <a:ext cx="97631" cy="107156"/>
          </a:xfrm>
          <a:prstGeom prst="ellipse">
            <a:avLst/>
          </a:prstGeom>
          <a:solidFill>
            <a:srgbClr val="00A1DE"/>
          </a:solidFill>
          <a:ln w="12700" algn="ctr">
            <a:solidFill>
              <a:schemeClr val="bg1"/>
            </a:solidFill>
            <a:round/>
            <a:headEnd/>
            <a:tailEnd/>
          </a:ln>
        </p:spPr>
        <p:txBody>
          <a:bodyPr wrap="none" lIns="0" tIns="0" rIns="0" bIns="0" anchor="ctr"/>
          <a:lstStyle/>
          <a:p>
            <a:pPr algn="ctr" defTabSz="685800">
              <a:buClrTx/>
              <a:defRPr/>
            </a:pPr>
            <a:endParaRPr lang="en-US" sz="750" kern="1200" dirty="0">
              <a:solidFill>
                <a:srgbClr val="313131"/>
              </a:solidFill>
              <a:ea typeface="+mn-ea"/>
              <a:cs typeface="+mn-cs"/>
            </a:endParaRPr>
          </a:p>
        </p:txBody>
      </p:sp>
      <p:sp>
        <p:nvSpPr>
          <p:cNvPr id="64" name="Oval 62"/>
          <p:cNvSpPr>
            <a:spLocks noChangeArrowheads="1"/>
          </p:cNvSpPr>
          <p:nvPr/>
        </p:nvSpPr>
        <p:spPr bwMode="auto">
          <a:xfrm>
            <a:off x="2693194" y="2232811"/>
            <a:ext cx="98822" cy="107156"/>
          </a:xfrm>
          <a:prstGeom prst="ellipse">
            <a:avLst/>
          </a:prstGeom>
          <a:solidFill>
            <a:srgbClr val="00A1DE"/>
          </a:solidFill>
          <a:ln w="12700" algn="ctr">
            <a:solidFill>
              <a:schemeClr val="bg1"/>
            </a:solidFill>
            <a:round/>
            <a:headEnd/>
            <a:tailEnd/>
          </a:ln>
        </p:spPr>
        <p:txBody>
          <a:bodyPr wrap="none" lIns="0" tIns="0" rIns="0" bIns="0" anchor="ctr"/>
          <a:lstStyle/>
          <a:p>
            <a:pPr algn="ctr" defTabSz="685800">
              <a:buClrTx/>
              <a:defRPr/>
            </a:pPr>
            <a:endParaRPr lang="en-US" sz="750" kern="1200" dirty="0">
              <a:solidFill>
                <a:srgbClr val="313131"/>
              </a:solidFill>
              <a:ea typeface="+mn-ea"/>
              <a:cs typeface="+mn-cs"/>
            </a:endParaRPr>
          </a:p>
        </p:txBody>
      </p:sp>
      <p:sp>
        <p:nvSpPr>
          <p:cNvPr id="65" name="Oval 63"/>
          <p:cNvSpPr>
            <a:spLocks noChangeArrowheads="1"/>
          </p:cNvSpPr>
          <p:nvPr/>
        </p:nvSpPr>
        <p:spPr bwMode="auto">
          <a:xfrm>
            <a:off x="3142060" y="2232811"/>
            <a:ext cx="98822" cy="107156"/>
          </a:xfrm>
          <a:prstGeom prst="ellipse">
            <a:avLst/>
          </a:prstGeom>
          <a:solidFill>
            <a:srgbClr val="00A1DE"/>
          </a:solidFill>
          <a:ln w="12700" algn="ctr">
            <a:solidFill>
              <a:schemeClr val="bg1"/>
            </a:solidFill>
            <a:round/>
            <a:headEnd/>
            <a:tailEnd/>
          </a:ln>
        </p:spPr>
        <p:txBody>
          <a:bodyPr wrap="none" lIns="0" tIns="0" rIns="0" bIns="0" anchor="ctr"/>
          <a:lstStyle/>
          <a:p>
            <a:pPr algn="ctr" defTabSz="685800">
              <a:buClrTx/>
              <a:defRPr/>
            </a:pPr>
            <a:endParaRPr lang="en-US" sz="750" kern="1200" dirty="0">
              <a:solidFill>
                <a:srgbClr val="313131"/>
              </a:solidFill>
              <a:ea typeface="+mn-ea"/>
              <a:cs typeface="+mn-cs"/>
            </a:endParaRPr>
          </a:p>
        </p:txBody>
      </p:sp>
      <p:sp>
        <p:nvSpPr>
          <p:cNvPr id="66" name="Oval 64"/>
          <p:cNvSpPr>
            <a:spLocks noChangeArrowheads="1"/>
          </p:cNvSpPr>
          <p:nvPr/>
        </p:nvSpPr>
        <p:spPr bwMode="auto">
          <a:xfrm>
            <a:off x="3592116" y="2232811"/>
            <a:ext cx="98822" cy="107156"/>
          </a:xfrm>
          <a:prstGeom prst="ellipse">
            <a:avLst/>
          </a:prstGeom>
          <a:solidFill>
            <a:srgbClr val="00A1DE"/>
          </a:solidFill>
          <a:ln w="12700" algn="ctr">
            <a:solidFill>
              <a:schemeClr val="bg1"/>
            </a:solidFill>
            <a:round/>
            <a:headEnd/>
            <a:tailEnd/>
          </a:ln>
        </p:spPr>
        <p:txBody>
          <a:bodyPr wrap="none" lIns="0" tIns="0" rIns="0" bIns="0" anchor="ctr"/>
          <a:lstStyle/>
          <a:p>
            <a:pPr algn="ctr" defTabSz="685800">
              <a:buClrTx/>
              <a:defRPr/>
            </a:pPr>
            <a:endParaRPr lang="en-US" sz="750" kern="1200" dirty="0">
              <a:solidFill>
                <a:srgbClr val="313131"/>
              </a:solidFill>
              <a:ea typeface="+mn-ea"/>
              <a:cs typeface="+mn-cs"/>
            </a:endParaRPr>
          </a:p>
        </p:txBody>
      </p:sp>
      <p:sp>
        <p:nvSpPr>
          <p:cNvPr id="67" name="Oval 65"/>
          <p:cNvSpPr>
            <a:spLocks noChangeArrowheads="1"/>
          </p:cNvSpPr>
          <p:nvPr/>
        </p:nvSpPr>
        <p:spPr bwMode="auto">
          <a:xfrm>
            <a:off x="4040982" y="2232811"/>
            <a:ext cx="98822" cy="107156"/>
          </a:xfrm>
          <a:prstGeom prst="ellipse">
            <a:avLst/>
          </a:prstGeom>
          <a:solidFill>
            <a:srgbClr val="00A1DE"/>
          </a:solidFill>
          <a:ln w="12700" algn="ctr">
            <a:solidFill>
              <a:schemeClr val="bg1"/>
            </a:solidFill>
            <a:round/>
            <a:headEnd/>
            <a:tailEnd/>
          </a:ln>
        </p:spPr>
        <p:txBody>
          <a:bodyPr wrap="none" lIns="0" tIns="0" rIns="0" bIns="0" anchor="ctr"/>
          <a:lstStyle/>
          <a:p>
            <a:pPr algn="ctr" defTabSz="685800">
              <a:buClrTx/>
              <a:defRPr/>
            </a:pPr>
            <a:endParaRPr lang="en-US" sz="750" kern="1200" dirty="0">
              <a:solidFill>
                <a:srgbClr val="313131"/>
              </a:solidFill>
              <a:ea typeface="+mn-ea"/>
              <a:cs typeface="+mn-cs"/>
            </a:endParaRPr>
          </a:p>
        </p:txBody>
      </p:sp>
      <p:sp>
        <p:nvSpPr>
          <p:cNvPr id="68" name="Oval 66"/>
          <p:cNvSpPr>
            <a:spLocks noChangeArrowheads="1"/>
          </p:cNvSpPr>
          <p:nvPr/>
        </p:nvSpPr>
        <p:spPr bwMode="auto">
          <a:xfrm>
            <a:off x="4491038" y="2232811"/>
            <a:ext cx="98822" cy="107156"/>
          </a:xfrm>
          <a:prstGeom prst="ellipse">
            <a:avLst/>
          </a:prstGeom>
          <a:solidFill>
            <a:srgbClr val="00A1DE"/>
          </a:solidFill>
          <a:ln w="12700" algn="ctr">
            <a:solidFill>
              <a:schemeClr val="bg1"/>
            </a:solidFill>
            <a:round/>
            <a:headEnd/>
            <a:tailEnd/>
          </a:ln>
        </p:spPr>
        <p:txBody>
          <a:bodyPr wrap="none" lIns="0" tIns="0" rIns="0" bIns="0" anchor="ctr"/>
          <a:lstStyle/>
          <a:p>
            <a:pPr algn="ctr" defTabSz="685800">
              <a:buClrTx/>
              <a:defRPr/>
            </a:pPr>
            <a:endParaRPr lang="en-US" sz="750" kern="1200" dirty="0">
              <a:solidFill>
                <a:srgbClr val="313131"/>
              </a:solidFill>
              <a:ea typeface="+mn-ea"/>
              <a:cs typeface="+mn-cs"/>
            </a:endParaRPr>
          </a:p>
        </p:txBody>
      </p:sp>
      <p:sp>
        <p:nvSpPr>
          <p:cNvPr id="69" name="Oval 67"/>
          <p:cNvSpPr>
            <a:spLocks noChangeArrowheads="1"/>
          </p:cNvSpPr>
          <p:nvPr/>
        </p:nvSpPr>
        <p:spPr bwMode="auto">
          <a:xfrm>
            <a:off x="5389960" y="2232811"/>
            <a:ext cx="98822" cy="107156"/>
          </a:xfrm>
          <a:prstGeom prst="ellipse">
            <a:avLst/>
          </a:prstGeom>
          <a:solidFill>
            <a:srgbClr val="00A1DE"/>
          </a:solidFill>
          <a:ln w="12700" algn="ctr">
            <a:solidFill>
              <a:schemeClr val="bg1"/>
            </a:solidFill>
            <a:round/>
            <a:headEnd/>
            <a:tailEnd/>
          </a:ln>
        </p:spPr>
        <p:txBody>
          <a:bodyPr wrap="none" lIns="0" tIns="0" rIns="0" bIns="0" anchor="ctr"/>
          <a:lstStyle/>
          <a:p>
            <a:pPr algn="ctr" defTabSz="685800">
              <a:buClrTx/>
              <a:defRPr/>
            </a:pPr>
            <a:endParaRPr lang="en-US" sz="750" kern="1200" dirty="0">
              <a:solidFill>
                <a:srgbClr val="313131"/>
              </a:solidFill>
              <a:ea typeface="+mn-ea"/>
              <a:cs typeface="+mn-cs"/>
            </a:endParaRPr>
          </a:p>
        </p:txBody>
      </p:sp>
      <p:sp>
        <p:nvSpPr>
          <p:cNvPr id="70" name="Oval 68"/>
          <p:cNvSpPr>
            <a:spLocks noChangeArrowheads="1"/>
          </p:cNvSpPr>
          <p:nvPr/>
        </p:nvSpPr>
        <p:spPr bwMode="auto">
          <a:xfrm>
            <a:off x="5838826" y="2232811"/>
            <a:ext cx="98822" cy="107156"/>
          </a:xfrm>
          <a:prstGeom prst="ellipse">
            <a:avLst/>
          </a:prstGeom>
          <a:solidFill>
            <a:srgbClr val="00A1DE"/>
          </a:solidFill>
          <a:ln w="12700" algn="ctr">
            <a:solidFill>
              <a:schemeClr val="bg1"/>
            </a:solidFill>
            <a:round/>
            <a:headEnd/>
            <a:tailEnd/>
          </a:ln>
        </p:spPr>
        <p:txBody>
          <a:bodyPr wrap="none" lIns="0" tIns="0" rIns="0" bIns="0" anchor="ctr"/>
          <a:lstStyle/>
          <a:p>
            <a:pPr algn="ctr" defTabSz="685800">
              <a:buClrTx/>
              <a:defRPr/>
            </a:pPr>
            <a:endParaRPr lang="en-US" sz="750" kern="1200" dirty="0">
              <a:solidFill>
                <a:srgbClr val="313131"/>
              </a:solidFill>
              <a:ea typeface="+mn-ea"/>
              <a:cs typeface="+mn-cs"/>
            </a:endParaRPr>
          </a:p>
        </p:txBody>
      </p:sp>
      <p:sp>
        <p:nvSpPr>
          <p:cNvPr id="71" name="Oval 69"/>
          <p:cNvSpPr>
            <a:spLocks noChangeArrowheads="1"/>
          </p:cNvSpPr>
          <p:nvPr/>
        </p:nvSpPr>
        <p:spPr bwMode="auto">
          <a:xfrm>
            <a:off x="6288882" y="2232811"/>
            <a:ext cx="98822" cy="107156"/>
          </a:xfrm>
          <a:prstGeom prst="ellipse">
            <a:avLst/>
          </a:prstGeom>
          <a:solidFill>
            <a:srgbClr val="00A1DE"/>
          </a:solidFill>
          <a:ln w="12700" algn="ctr">
            <a:solidFill>
              <a:schemeClr val="bg1"/>
            </a:solidFill>
            <a:round/>
            <a:headEnd/>
            <a:tailEnd/>
          </a:ln>
        </p:spPr>
        <p:txBody>
          <a:bodyPr wrap="none" lIns="0" tIns="0" rIns="0" bIns="0" anchor="ctr"/>
          <a:lstStyle/>
          <a:p>
            <a:pPr algn="ctr" defTabSz="685800">
              <a:buClrTx/>
              <a:defRPr/>
            </a:pPr>
            <a:endParaRPr lang="en-US" sz="750" kern="1200" dirty="0">
              <a:solidFill>
                <a:srgbClr val="313131"/>
              </a:solidFill>
              <a:ea typeface="+mn-ea"/>
              <a:cs typeface="+mn-cs"/>
            </a:endParaRPr>
          </a:p>
        </p:txBody>
      </p:sp>
      <p:sp>
        <p:nvSpPr>
          <p:cNvPr id="72" name="Oval 70"/>
          <p:cNvSpPr>
            <a:spLocks noChangeArrowheads="1"/>
          </p:cNvSpPr>
          <p:nvPr/>
        </p:nvSpPr>
        <p:spPr bwMode="auto">
          <a:xfrm>
            <a:off x="6737747" y="2232811"/>
            <a:ext cx="98822" cy="107156"/>
          </a:xfrm>
          <a:prstGeom prst="ellipse">
            <a:avLst/>
          </a:prstGeom>
          <a:solidFill>
            <a:srgbClr val="00A1DE"/>
          </a:solidFill>
          <a:ln w="12700" algn="ctr">
            <a:solidFill>
              <a:schemeClr val="bg1"/>
            </a:solidFill>
            <a:round/>
            <a:headEnd/>
            <a:tailEnd/>
          </a:ln>
        </p:spPr>
        <p:txBody>
          <a:bodyPr wrap="none" lIns="0" tIns="0" rIns="0" bIns="0" anchor="ctr"/>
          <a:lstStyle/>
          <a:p>
            <a:pPr algn="ctr" defTabSz="685800">
              <a:buClrTx/>
              <a:defRPr/>
            </a:pPr>
            <a:endParaRPr lang="en-US" sz="750" kern="1200" dirty="0">
              <a:solidFill>
                <a:srgbClr val="313131"/>
              </a:solidFill>
              <a:ea typeface="+mn-ea"/>
              <a:cs typeface="+mn-cs"/>
            </a:endParaRPr>
          </a:p>
        </p:txBody>
      </p:sp>
      <p:sp>
        <p:nvSpPr>
          <p:cNvPr id="73" name="Oval 71"/>
          <p:cNvSpPr>
            <a:spLocks noChangeArrowheads="1"/>
          </p:cNvSpPr>
          <p:nvPr/>
        </p:nvSpPr>
        <p:spPr bwMode="auto">
          <a:xfrm>
            <a:off x="4939903" y="2232811"/>
            <a:ext cx="98822" cy="107156"/>
          </a:xfrm>
          <a:prstGeom prst="ellipse">
            <a:avLst/>
          </a:prstGeom>
          <a:solidFill>
            <a:srgbClr val="00A1DE"/>
          </a:solidFill>
          <a:ln w="12700" algn="ctr">
            <a:solidFill>
              <a:schemeClr val="bg1"/>
            </a:solidFill>
            <a:round/>
            <a:headEnd/>
            <a:tailEnd/>
          </a:ln>
        </p:spPr>
        <p:txBody>
          <a:bodyPr wrap="none" lIns="0" tIns="0" rIns="0" bIns="0" anchor="ctr"/>
          <a:lstStyle/>
          <a:p>
            <a:pPr algn="ctr" defTabSz="685800">
              <a:buClrTx/>
              <a:defRPr/>
            </a:pPr>
            <a:endParaRPr lang="en-US" sz="750" kern="1200" dirty="0">
              <a:solidFill>
                <a:srgbClr val="313131"/>
              </a:solidFill>
              <a:ea typeface="+mn-ea"/>
              <a:cs typeface="+mn-cs"/>
            </a:endParaRPr>
          </a:p>
        </p:txBody>
      </p:sp>
      <p:sp>
        <p:nvSpPr>
          <p:cNvPr id="75" name="Line 73"/>
          <p:cNvSpPr>
            <a:spLocks noChangeShapeType="1"/>
          </p:cNvSpPr>
          <p:nvPr/>
        </p:nvSpPr>
        <p:spPr bwMode="auto">
          <a:xfrm>
            <a:off x="1542713" y="3976662"/>
            <a:ext cx="6108989" cy="0"/>
          </a:xfrm>
          <a:prstGeom prst="line">
            <a:avLst/>
          </a:prstGeom>
          <a:noFill/>
          <a:ln w="19050">
            <a:solidFill>
              <a:srgbClr val="00A1DE"/>
            </a:solidFill>
            <a:round/>
            <a:headEnd/>
            <a:tailEnd/>
          </a:ln>
        </p:spPr>
        <p:txBody>
          <a:bodyPr wrap="none" lIns="0" tIns="0" rIns="0" bIns="0" anchor="ctr"/>
          <a:lstStyle/>
          <a:p>
            <a:pPr defTabSz="685800">
              <a:buClrTx/>
              <a:defRPr/>
            </a:pPr>
            <a:endParaRPr lang="en-US" sz="1350" kern="1200" dirty="0">
              <a:solidFill>
                <a:srgbClr val="575757"/>
              </a:solidFill>
              <a:ea typeface="+mn-ea"/>
              <a:cs typeface="+mn-cs"/>
            </a:endParaRPr>
          </a:p>
        </p:txBody>
      </p:sp>
      <p:sp>
        <p:nvSpPr>
          <p:cNvPr id="76" name="Line 74"/>
          <p:cNvSpPr>
            <a:spLocks noChangeShapeType="1"/>
          </p:cNvSpPr>
          <p:nvPr/>
        </p:nvSpPr>
        <p:spPr bwMode="auto">
          <a:xfrm>
            <a:off x="2174253" y="3923084"/>
            <a:ext cx="0" cy="108347"/>
          </a:xfrm>
          <a:prstGeom prst="line">
            <a:avLst/>
          </a:prstGeom>
          <a:noFill/>
          <a:ln w="19050">
            <a:solidFill>
              <a:srgbClr val="00A1DE"/>
            </a:solidFill>
            <a:round/>
            <a:headEnd/>
            <a:tailEnd/>
          </a:ln>
        </p:spPr>
        <p:txBody>
          <a:bodyPr wrap="none" lIns="0" tIns="0" rIns="0" bIns="0" anchor="ctr"/>
          <a:lstStyle/>
          <a:p>
            <a:pPr defTabSz="685800">
              <a:buClrTx/>
              <a:defRPr/>
            </a:pPr>
            <a:endParaRPr lang="en-US" sz="1350" kern="1200" dirty="0">
              <a:solidFill>
                <a:srgbClr val="575757"/>
              </a:solidFill>
              <a:ea typeface="+mn-ea"/>
              <a:cs typeface="+mn-cs"/>
            </a:endParaRPr>
          </a:p>
        </p:txBody>
      </p:sp>
      <p:sp>
        <p:nvSpPr>
          <p:cNvPr id="77" name="Line 75"/>
          <p:cNvSpPr>
            <a:spLocks noChangeShapeType="1"/>
          </p:cNvSpPr>
          <p:nvPr/>
        </p:nvSpPr>
        <p:spPr bwMode="auto">
          <a:xfrm>
            <a:off x="2701357" y="3923084"/>
            <a:ext cx="0" cy="108347"/>
          </a:xfrm>
          <a:prstGeom prst="line">
            <a:avLst/>
          </a:prstGeom>
          <a:noFill/>
          <a:ln w="19050">
            <a:solidFill>
              <a:srgbClr val="00A1DE"/>
            </a:solidFill>
            <a:round/>
            <a:headEnd/>
            <a:tailEnd/>
          </a:ln>
        </p:spPr>
        <p:txBody>
          <a:bodyPr wrap="none" lIns="0" tIns="0" rIns="0" bIns="0" anchor="ctr"/>
          <a:lstStyle/>
          <a:p>
            <a:pPr defTabSz="685800">
              <a:buClrTx/>
              <a:defRPr/>
            </a:pPr>
            <a:endParaRPr lang="en-US" sz="1350" kern="1200" dirty="0">
              <a:solidFill>
                <a:srgbClr val="575757"/>
              </a:solidFill>
              <a:ea typeface="+mn-ea"/>
              <a:cs typeface="+mn-cs"/>
            </a:endParaRPr>
          </a:p>
        </p:txBody>
      </p:sp>
      <p:sp>
        <p:nvSpPr>
          <p:cNvPr id="78" name="Line 76"/>
          <p:cNvSpPr>
            <a:spLocks noChangeShapeType="1"/>
          </p:cNvSpPr>
          <p:nvPr/>
        </p:nvSpPr>
        <p:spPr bwMode="auto">
          <a:xfrm>
            <a:off x="3228459" y="3923084"/>
            <a:ext cx="0" cy="108347"/>
          </a:xfrm>
          <a:prstGeom prst="line">
            <a:avLst/>
          </a:prstGeom>
          <a:noFill/>
          <a:ln w="19050">
            <a:solidFill>
              <a:srgbClr val="00A1DE"/>
            </a:solidFill>
            <a:round/>
            <a:headEnd/>
            <a:tailEnd/>
          </a:ln>
        </p:spPr>
        <p:txBody>
          <a:bodyPr wrap="none" lIns="0" tIns="0" rIns="0" bIns="0" anchor="ctr"/>
          <a:lstStyle/>
          <a:p>
            <a:pPr defTabSz="685800">
              <a:buClrTx/>
              <a:defRPr/>
            </a:pPr>
            <a:endParaRPr lang="en-US" sz="1350" kern="1200" dirty="0">
              <a:solidFill>
                <a:srgbClr val="575757"/>
              </a:solidFill>
              <a:ea typeface="+mn-ea"/>
              <a:cs typeface="+mn-cs"/>
            </a:endParaRPr>
          </a:p>
        </p:txBody>
      </p:sp>
      <p:sp>
        <p:nvSpPr>
          <p:cNvPr id="79" name="Line 77"/>
          <p:cNvSpPr>
            <a:spLocks noChangeShapeType="1"/>
          </p:cNvSpPr>
          <p:nvPr/>
        </p:nvSpPr>
        <p:spPr bwMode="auto">
          <a:xfrm>
            <a:off x="3755563" y="3923084"/>
            <a:ext cx="0" cy="108347"/>
          </a:xfrm>
          <a:prstGeom prst="line">
            <a:avLst/>
          </a:prstGeom>
          <a:noFill/>
          <a:ln w="19050">
            <a:solidFill>
              <a:srgbClr val="00A1DE"/>
            </a:solidFill>
            <a:round/>
            <a:headEnd/>
            <a:tailEnd/>
          </a:ln>
        </p:spPr>
        <p:txBody>
          <a:bodyPr wrap="none" lIns="0" tIns="0" rIns="0" bIns="0" anchor="ctr"/>
          <a:lstStyle/>
          <a:p>
            <a:pPr defTabSz="685800">
              <a:buClrTx/>
              <a:defRPr/>
            </a:pPr>
            <a:endParaRPr lang="en-US" sz="1350" kern="1200" dirty="0">
              <a:solidFill>
                <a:srgbClr val="575757"/>
              </a:solidFill>
              <a:ea typeface="+mn-ea"/>
              <a:cs typeface="+mn-cs"/>
            </a:endParaRPr>
          </a:p>
        </p:txBody>
      </p:sp>
      <p:sp>
        <p:nvSpPr>
          <p:cNvPr id="80" name="Line 78"/>
          <p:cNvSpPr>
            <a:spLocks noChangeShapeType="1"/>
          </p:cNvSpPr>
          <p:nvPr/>
        </p:nvSpPr>
        <p:spPr bwMode="auto">
          <a:xfrm>
            <a:off x="4282665" y="3923084"/>
            <a:ext cx="0" cy="108347"/>
          </a:xfrm>
          <a:prstGeom prst="line">
            <a:avLst/>
          </a:prstGeom>
          <a:noFill/>
          <a:ln w="19050">
            <a:solidFill>
              <a:srgbClr val="00A1DE"/>
            </a:solidFill>
            <a:round/>
            <a:headEnd/>
            <a:tailEnd/>
          </a:ln>
        </p:spPr>
        <p:txBody>
          <a:bodyPr wrap="none" lIns="0" tIns="0" rIns="0" bIns="0" anchor="ctr"/>
          <a:lstStyle/>
          <a:p>
            <a:pPr defTabSz="685800">
              <a:buClrTx/>
              <a:defRPr/>
            </a:pPr>
            <a:endParaRPr lang="en-US" sz="1350" kern="1200" dirty="0">
              <a:solidFill>
                <a:srgbClr val="575757"/>
              </a:solidFill>
              <a:ea typeface="+mn-ea"/>
              <a:cs typeface="+mn-cs"/>
            </a:endParaRPr>
          </a:p>
        </p:txBody>
      </p:sp>
      <p:sp>
        <p:nvSpPr>
          <p:cNvPr id="81" name="Line 79"/>
          <p:cNvSpPr>
            <a:spLocks noChangeShapeType="1"/>
          </p:cNvSpPr>
          <p:nvPr/>
        </p:nvSpPr>
        <p:spPr bwMode="auto">
          <a:xfrm>
            <a:off x="4809769" y="3923084"/>
            <a:ext cx="0" cy="108347"/>
          </a:xfrm>
          <a:prstGeom prst="line">
            <a:avLst/>
          </a:prstGeom>
          <a:noFill/>
          <a:ln w="19050">
            <a:solidFill>
              <a:srgbClr val="00A1DE"/>
            </a:solidFill>
            <a:round/>
            <a:headEnd/>
            <a:tailEnd/>
          </a:ln>
        </p:spPr>
        <p:txBody>
          <a:bodyPr wrap="none" lIns="0" tIns="0" rIns="0" bIns="0" anchor="ctr"/>
          <a:lstStyle/>
          <a:p>
            <a:pPr defTabSz="685800">
              <a:buClrTx/>
              <a:defRPr/>
            </a:pPr>
            <a:endParaRPr lang="en-US" sz="1350" kern="1200" dirty="0">
              <a:solidFill>
                <a:srgbClr val="575757"/>
              </a:solidFill>
              <a:ea typeface="+mn-ea"/>
              <a:cs typeface="+mn-cs"/>
            </a:endParaRPr>
          </a:p>
        </p:txBody>
      </p:sp>
      <p:sp>
        <p:nvSpPr>
          <p:cNvPr id="82" name="Line 80"/>
          <p:cNvSpPr>
            <a:spLocks noChangeShapeType="1"/>
          </p:cNvSpPr>
          <p:nvPr/>
        </p:nvSpPr>
        <p:spPr bwMode="auto">
          <a:xfrm>
            <a:off x="5336871" y="3923084"/>
            <a:ext cx="0" cy="108347"/>
          </a:xfrm>
          <a:prstGeom prst="line">
            <a:avLst/>
          </a:prstGeom>
          <a:noFill/>
          <a:ln w="19050">
            <a:solidFill>
              <a:srgbClr val="00A1DE"/>
            </a:solidFill>
            <a:round/>
            <a:headEnd/>
            <a:tailEnd/>
          </a:ln>
        </p:spPr>
        <p:txBody>
          <a:bodyPr wrap="none" lIns="0" tIns="0" rIns="0" bIns="0" anchor="ctr"/>
          <a:lstStyle/>
          <a:p>
            <a:pPr defTabSz="685800">
              <a:buClrTx/>
              <a:defRPr/>
            </a:pPr>
            <a:endParaRPr lang="en-US" sz="1350" kern="1200" dirty="0">
              <a:solidFill>
                <a:srgbClr val="575757"/>
              </a:solidFill>
              <a:ea typeface="+mn-ea"/>
              <a:cs typeface="+mn-cs"/>
            </a:endParaRPr>
          </a:p>
        </p:txBody>
      </p:sp>
      <p:sp>
        <p:nvSpPr>
          <p:cNvPr id="83" name="Line 81"/>
          <p:cNvSpPr>
            <a:spLocks noChangeShapeType="1"/>
          </p:cNvSpPr>
          <p:nvPr/>
        </p:nvSpPr>
        <p:spPr bwMode="auto">
          <a:xfrm>
            <a:off x="5863975" y="3923084"/>
            <a:ext cx="0" cy="108347"/>
          </a:xfrm>
          <a:prstGeom prst="line">
            <a:avLst/>
          </a:prstGeom>
          <a:noFill/>
          <a:ln w="19050">
            <a:solidFill>
              <a:srgbClr val="00A1DE"/>
            </a:solidFill>
            <a:round/>
            <a:headEnd/>
            <a:tailEnd/>
          </a:ln>
        </p:spPr>
        <p:txBody>
          <a:bodyPr wrap="none" lIns="0" tIns="0" rIns="0" bIns="0" anchor="ctr"/>
          <a:lstStyle/>
          <a:p>
            <a:pPr defTabSz="685800">
              <a:buClrTx/>
              <a:defRPr/>
            </a:pPr>
            <a:endParaRPr lang="en-US" sz="1350" kern="1200" dirty="0">
              <a:solidFill>
                <a:srgbClr val="575757"/>
              </a:solidFill>
              <a:ea typeface="+mn-ea"/>
              <a:cs typeface="+mn-cs"/>
            </a:endParaRPr>
          </a:p>
        </p:txBody>
      </p:sp>
      <p:sp>
        <p:nvSpPr>
          <p:cNvPr id="84" name="Line 82"/>
          <p:cNvSpPr>
            <a:spLocks noChangeShapeType="1"/>
          </p:cNvSpPr>
          <p:nvPr/>
        </p:nvSpPr>
        <p:spPr bwMode="auto">
          <a:xfrm>
            <a:off x="6391077" y="3923084"/>
            <a:ext cx="0" cy="108347"/>
          </a:xfrm>
          <a:prstGeom prst="line">
            <a:avLst/>
          </a:prstGeom>
          <a:noFill/>
          <a:ln w="19050">
            <a:solidFill>
              <a:srgbClr val="00A1DE"/>
            </a:solidFill>
            <a:round/>
            <a:headEnd/>
            <a:tailEnd/>
          </a:ln>
        </p:spPr>
        <p:txBody>
          <a:bodyPr wrap="none" lIns="0" tIns="0" rIns="0" bIns="0" anchor="ctr"/>
          <a:lstStyle/>
          <a:p>
            <a:pPr defTabSz="685800">
              <a:buClrTx/>
              <a:defRPr/>
            </a:pPr>
            <a:endParaRPr lang="en-US" sz="1350" kern="1200" dirty="0">
              <a:solidFill>
                <a:srgbClr val="575757"/>
              </a:solidFill>
              <a:ea typeface="+mn-ea"/>
              <a:cs typeface="+mn-cs"/>
            </a:endParaRPr>
          </a:p>
        </p:txBody>
      </p:sp>
      <p:sp>
        <p:nvSpPr>
          <p:cNvPr id="85" name="Line 83"/>
          <p:cNvSpPr>
            <a:spLocks noChangeShapeType="1"/>
          </p:cNvSpPr>
          <p:nvPr/>
        </p:nvSpPr>
        <p:spPr bwMode="auto">
          <a:xfrm>
            <a:off x="6918181" y="3923084"/>
            <a:ext cx="0" cy="108347"/>
          </a:xfrm>
          <a:prstGeom prst="line">
            <a:avLst/>
          </a:prstGeom>
          <a:noFill/>
          <a:ln w="19050">
            <a:solidFill>
              <a:srgbClr val="00A1DE"/>
            </a:solidFill>
            <a:round/>
            <a:headEnd/>
            <a:tailEnd/>
          </a:ln>
        </p:spPr>
        <p:txBody>
          <a:bodyPr wrap="none" lIns="0" tIns="0" rIns="0" bIns="0" anchor="ctr"/>
          <a:lstStyle/>
          <a:p>
            <a:pPr defTabSz="685800">
              <a:buClrTx/>
              <a:defRPr/>
            </a:pPr>
            <a:endParaRPr lang="en-US" sz="1350" kern="1200" dirty="0">
              <a:solidFill>
                <a:srgbClr val="575757"/>
              </a:solidFill>
              <a:ea typeface="+mn-ea"/>
              <a:cs typeface="+mn-cs"/>
            </a:endParaRPr>
          </a:p>
        </p:txBody>
      </p:sp>
      <p:sp>
        <p:nvSpPr>
          <p:cNvPr id="86" name="Line 84"/>
          <p:cNvSpPr>
            <a:spLocks noChangeShapeType="1"/>
          </p:cNvSpPr>
          <p:nvPr/>
        </p:nvSpPr>
        <p:spPr bwMode="auto">
          <a:xfrm>
            <a:off x="7445283" y="3923084"/>
            <a:ext cx="0" cy="108347"/>
          </a:xfrm>
          <a:prstGeom prst="line">
            <a:avLst/>
          </a:prstGeom>
          <a:noFill/>
          <a:ln w="19050">
            <a:solidFill>
              <a:srgbClr val="00A1DE"/>
            </a:solidFill>
            <a:round/>
            <a:headEnd/>
            <a:tailEnd/>
          </a:ln>
        </p:spPr>
        <p:txBody>
          <a:bodyPr wrap="none" lIns="0" tIns="0" rIns="0" bIns="0" anchor="ctr"/>
          <a:lstStyle/>
          <a:p>
            <a:pPr defTabSz="685800">
              <a:buClrTx/>
              <a:defRPr/>
            </a:pPr>
            <a:endParaRPr lang="en-US" sz="1350" kern="1200" dirty="0">
              <a:solidFill>
                <a:srgbClr val="575757"/>
              </a:solidFill>
              <a:ea typeface="+mn-ea"/>
              <a:cs typeface="+mn-cs"/>
            </a:endParaRPr>
          </a:p>
        </p:txBody>
      </p:sp>
      <p:sp>
        <p:nvSpPr>
          <p:cNvPr id="87" name="Line 85"/>
          <p:cNvSpPr>
            <a:spLocks noChangeShapeType="1"/>
          </p:cNvSpPr>
          <p:nvPr/>
        </p:nvSpPr>
        <p:spPr bwMode="auto">
          <a:xfrm>
            <a:off x="1648379" y="3923084"/>
            <a:ext cx="0" cy="108347"/>
          </a:xfrm>
          <a:prstGeom prst="line">
            <a:avLst/>
          </a:prstGeom>
          <a:noFill/>
          <a:ln w="19050">
            <a:solidFill>
              <a:srgbClr val="00A1DE"/>
            </a:solidFill>
            <a:round/>
            <a:headEnd/>
            <a:tailEnd/>
          </a:ln>
        </p:spPr>
        <p:txBody>
          <a:bodyPr wrap="none" lIns="0" tIns="0" rIns="0" bIns="0" anchor="ctr"/>
          <a:lstStyle/>
          <a:p>
            <a:pPr defTabSz="685800">
              <a:buClrTx/>
              <a:defRPr/>
            </a:pPr>
            <a:endParaRPr lang="en-US" sz="1350" kern="1200" dirty="0">
              <a:solidFill>
                <a:srgbClr val="575757"/>
              </a:solidFill>
              <a:ea typeface="+mn-ea"/>
              <a:cs typeface="+mn-cs"/>
            </a:endParaRPr>
          </a:p>
        </p:txBody>
      </p:sp>
      <p:sp>
        <p:nvSpPr>
          <p:cNvPr id="830551" name="Text Box 86"/>
          <p:cNvSpPr txBox="1">
            <a:spLocks noChangeArrowheads="1"/>
          </p:cNvSpPr>
          <p:nvPr/>
        </p:nvSpPr>
        <p:spPr bwMode="auto">
          <a:xfrm>
            <a:off x="1438275" y="3723059"/>
            <a:ext cx="473714"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January</a:t>
            </a:r>
          </a:p>
        </p:txBody>
      </p:sp>
      <p:sp>
        <p:nvSpPr>
          <p:cNvPr id="830552" name="Text Box 87"/>
          <p:cNvSpPr txBox="1">
            <a:spLocks noChangeArrowheads="1"/>
          </p:cNvSpPr>
          <p:nvPr/>
        </p:nvSpPr>
        <p:spPr bwMode="auto">
          <a:xfrm>
            <a:off x="1964236" y="3723059"/>
            <a:ext cx="473714"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February</a:t>
            </a:r>
          </a:p>
        </p:txBody>
      </p:sp>
      <p:sp>
        <p:nvSpPr>
          <p:cNvPr id="830553" name="Text Box 88"/>
          <p:cNvSpPr txBox="1">
            <a:spLocks noChangeArrowheads="1"/>
          </p:cNvSpPr>
          <p:nvPr/>
        </p:nvSpPr>
        <p:spPr bwMode="auto">
          <a:xfrm>
            <a:off x="2490198" y="3723059"/>
            <a:ext cx="473714"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March</a:t>
            </a:r>
            <a:endParaRPr lang="en-US" sz="750" kern="1200" dirty="0">
              <a:solidFill>
                <a:srgbClr val="313131"/>
              </a:solidFill>
              <a:ea typeface="ＭＳ Ｐゴシック" charset="-128"/>
              <a:cs typeface="+mn-cs"/>
            </a:endParaRPr>
          </a:p>
        </p:txBody>
      </p:sp>
      <p:sp>
        <p:nvSpPr>
          <p:cNvPr id="830554" name="Text Box 89"/>
          <p:cNvSpPr txBox="1">
            <a:spLocks noChangeArrowheads="1"/>
          </p:cNvSpPr>
          <p:nvPr/>
        </p:nvSpPr>
        <p:spPr bwMode="auto">
          <a:xfrm>
            <a:off x="3016160" y="3723059"/>
            <a:ext cx="473714"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April</a:t>
            </a:r>
          </a:p>
        </p:txBody>
      </p:sp>
      <p:sp>
        <p:nvSpPr>
          <p:cNvPr id="830555" name="Text Box 90"/>
          <p:cNvSpPr txBox="1">
            <a:spLocks noChangeArrowheads="1"/>
          </p:cNvSpPr>
          <p:nvPr/>
        </p:nvSpPr>
        <p:spPr bwMode="auto">
          <a:xfrm>
            <a:off x="3542122" y="3723059"/>
            <a:ext cx="473714"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dirty="0">
                <a:solidFill>
                  <a:srgbClr val="313131"/>
                </a:solidFill>
                <a:ea typeface="ＭＳ Ｐゴシック" charset="-128"/>
                <a:cs typeface="+mn-cs"/>
              </a:rPr>
              <a:t>May</a:t>
            </a:r>
          </a:p>
        </p:txBody>
      </p:sp>
      <p:sp>
        <p:nvSpPr>
          <p:cNvPr id="830556" name="Text Box 91"/>
          <p:cNvSpPr txBox="1">
            <a:spLocks noChangeArrowheads="1"/>
          </p:cNvSpPr>
          <p:nvPr/>
        </p:nvSpPr>
        <p:spPr bwMode="auto">
          <a:xfrm>
            <a:off x="4068084" y="3723059"/>
            <a:ext cx="473714"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June</a:t>
            </a:r>
          </a:p>
        </p:txBody>
      </p:sp>
      <p:sp>
        <p:nvSpPr>
          <p:cNvPr id="830557" name="Text Box 92"/>
          <p:cNvSpPr txBox="1">
            <a:spLocks noChangeArrowheads="1"/>
          </p:cNvSpPr>
          <p:nvPr/>
        </p:nvSpPr>
        <p:spPr bwMode="auto">
          <a:xfrm>
            <a:off x="4594045" y="3723059"/>
            <a:ext cx="473714" cy="219291"/>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575757"/>
                </a:solidFill>
                <a:ea typeface="ＭＳ Ｐゴシック" charset="-128"/>
                <a:cs typeface="+mn-cs"/>
              </a:rPr>
              <a:t>July	</a:t>
            </a:r>
          </a:p>
        </p:txBody>
      </p:sp>
      <p:sp>
        <p:nvSpPr>
          <p:cNvPr id="830558" name="Text Box 93"/>
          <p:cNvSpPr txBox="1">
            <a:spLocks noChangeArrowheads="1"/>
          </p:cNvSpPr>
          <p:nvPr/>
        </p:nvSpPr>
        <p:spPr bwMode="auto">
          <a:xfrm>
            <a:off x="5120008" y="3723059"/>
            <a:ext cx="473714"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dirty="0">
                <a:solidFill>
                  <a:srgbClr val="313131"/>
                </a:solidFill>
                <a:ea typeface="ＭＳ Ｐゴシック" charset="-128"/>
                <a:cs typeface="+mn-cs"/>
              </a:rPr>
              <a:t>August</a:t>
            </a:r>
          </a:p>
        </p:txBody>
      </p:sp>
      <p:sp>
        <p:nvSpPr>
          <p:cNvPr id="830559" name="Text Box 94"/>
          <p:cNvSpPr txBox="1">
            <a:spLocks noChangeArrowheads="1"/>
          </p:cNvSpPr>
          <p:nvPr/>
        </p:nvSpPr>
        <p:spPr bwMode="auto">
          <a:xfrm>
            <a:off x="5645970" y="3723059"/>
            <a:ext cx="501533"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September</a:t>
            </a:r>
            <a:endParaRPr lang="en-US" sz="750" kern="1200" dirty="0">
              <a:solidFill>
                <a:srgbClr val="313131"/>
              </a:solidFill>
              <a:ea typeface="ＭＳ Ｐゴシック" charset="-128"/>
              <a:cs typeface="+mn-cs"/>
            </a:endParaRPr>
          </a:p>
        </p:txBody>
      </p:sp>
      <p:sp>
        <p:nvSpPr>
          <p:cNvPr id="830560" name="Text Box 95"/>
          <p:cNvSpPr txBox="1">
            <a:spLocks noChangeArrowheads="1"/>
          </p:cNvSpPr>
          <p:nvPr/>
        </p:nvSpPr>
        <p:spPr bwMode="auto">
          <a:xfrm>
            <a:off x="6171931" y="3723059"/>
            <a:ext cx="473714"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October</a:t>
            </a:r>
          </a:p>
        </p:txBody>
      </p:sp>
      <p:sp>
        <p:nvSpPr>
          <p:cNvPr id="830561" name="Text Box 96"/>
          <p:cNvSpPr txBox="1">
            <a:spLocks noChangeArrowheads="1"/>
          </p:cNvSpPr>
          <p:nvPr/>
        </p:nvSpPr>
        <p:spPr bwMode="auto">
          <a:xfrm>
            <a:off x="6697892" y="3723059"/>
            <a:ext cx="473714"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November</a:t>
            </a:r>
          </a:p>
        </p:txBody>
      </p:sp>
      <p:sp>
        <p:nvSpPr>
          <p:cNvPr id="830562" name="Text Box 97"/>
          <p:cNvSpPr txBox="1">
            <a:spLocks noChangeArrowheads="1"/>
          </p:cNvSpPr>
          <p:nvPr/>
        </p:nvSpPr>
        <p:spPr bwMode="auto">
          <a:xfrm>
            <a:off x="7223854" y="3723059"/>
            <a:ext cx="473714"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December</a:t>
            </a:r>
          </a:p>
        </p:txBody>
      </p:sp>
      <p:sp>
        <p:nvSpPr>
          <p:cNvPr id="830563" name="Text Box 98"/>
          <p:cNvSpPr txBox="1">
            <a:spLocks noChangeArrowheads="1"/>
          </p:cNvSpPr>
          <p:nvPr/>
        </p:nvSpPr>
        <p:spPr bwMode="auto">
          <a:xfrm>
            <a:off x="1445242" y="4138446"/>
            <a:ext cx="473714"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January</a:t>
            </a:r>
          </a:p>
        </p:txBody>
      </p:sp>
      <p:sp>
        <p:nvSpPr>
          <p:cNvPr id="830564" name="Text Box 99"/>
          <p:cNvSpPr txBox="1">
            <a:spLocks noChangeArrowheads="1"/>
          </p:cNvSpPr>
          <p:nvPr/>
        </p:nvSpPr>
        <p:spPr bwMode="auto">
          <a:xfrm>
            <a:off x="1971203" y="4138446"/>
            <a:ext cx="473714"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February</a:t>
            </a:r>
          </a:p>
        </p:txBody>
      </p:sp>
      <p:sp>
        <p:nvSpPr>
          <p:cNvPr id="830565" name="Text Box 100"/>
          <p:cNvSpPr txBox="1">
            <a:spLocks noChangeArrowheads="1"/>
          </p:cNvSpPr>
          <p:nvPr/>
        </p:nvSpPr>
        <p:spPr bwMode="auto">
          <a:xfrm>
            <a:off x="2497164" y="4138446"/>
            <a:ext cx="473714"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March</a:t>
            </a:r>
            <a:endParaRPr lang="en-US" sz="750" kern="1200" dirty="0">
              <a:solidFill>
                <a:srgbClr val="313131"/>
              </a:solidFill>
              <a:ea typeface="ＭＳ Ｐゴシック" charset="-128"/>
              <a:cs typeface="+mn-cs"/>
            </a:endParaRPr>
          </a:p>
        </p:txBody>
      </p:sp>
      <p:sp>
        <p:nvSpPr>
          <p:cNvPr id="830566" name="Text Box 101"/>
          <p:cNvSpPr txBox="1">
            <a:spLocks noChangeArrowheads="1"/>
          </p:cNvSpPr>
          <p:nvPr/>
        </p:nvSpPr>
        <p:spPr bwMode="auto">
          <a:xfrm>
            <a:off x="3023127" y="4138446"/>
            <a:ext cx="473714"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April</a:t>
            </a:r>
          </a:p>
        </p:txBody>
      </p:sp>
      <p:sp>
        <p:nvSpPr>
          <p:cNvPr id="830567" name="Text Box 102"/>
          <p:cNvSpPr txBox="1">
            <a:spLocks noChangeArrowheads="1"/>
          </p:cNvSpPr>
          <p:nvPr/>
        </p:nvSpPr>
        <p:spPr bwMode="auto">
          <a:xfrm>
            <a:off x="3549088" y="4138446"/>
            <a:ext cx="473714"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May</a:t>
            </a:r>
          </a:p>
        </p:txBody>
      </p:sp>
      <p:sp>
        <p:nvSpPr>
          <p:cNvPr id="830568" name="Text Box 103"/>
          <p:cNvSpPr txBox="1">
            <a:spLocks noChangeArrowheads="1"/>
          </p:cNvSpPr>
          <p:nvPr/>
        </p:nvSpPr>
        <p:spPr bwMode="auto">
          <a:xfrm>
            <a:off x="4075050" y="4138446"/>
            <a:ext cx="473714"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June</a:t>
            </a:r>
          </a:p>
        </p:txBody>
      </p:sp>
      <p:sp>
        <p:nvSpPr>
          <p:cNvPr id="830569" name="Text Box 104"/>
          <p:cNvSpPr txBox="1">
            <a:spLocks noChangeArrowheads="1"/>
          </p:cNvSpPr>
          <p:nvPr/>
        </p:nvSpPr>
        <p:spPr bwMode="auto">
          <a:xfrm>
            <a:off x="4601011" y="4138446"/>
            <a:ext cx="473714"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July</a:t>
            </a:r>
          </a:p>
        </p:txBody>
      </p:sp>
      <p:sp>
        <p:nvSpPr>
          <p:cNvPr id="830570" name="Text Box 105"/>
          <p:cNvSpPr txBox="1">
            <a:spLocks noChangeArrowheads="1"/>
          </p:cNvSpPr>
          <p:nvPr/>
        </p:nvSpPr>
        <p:spPr bwMode="auto">
          <a:xfrm>
            <a:off x="5126974" y="4138446"/>
            <a:ext cx="473714"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August</a:t>
            </a:r>
          </a:p>
        </p:txBody>
      </p:sp>
      <p:sp>
        <p:nvSpPr>
          <p:cNvPr id="830571" name="Text Box 106"/>
          <p:cNvSpPr txBox="1">
            <a:spLocks noChangeArrowheads="1"/>
          </p:cNvSpPr>
          <p:nvPr/>
        </p:nvSpPr>
        <p:spPr bwMode="auto">
          <a:xfrm>
            <a:off x="5652937" y="4138446"/>
            <a:ext cx="501533"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September</a:t>
            </a:r>
            <a:endParaRPr lang="en-US" sz="750" kern="1200" dirty="0">
              <a:solidFill>
                <a:srgbClr val="313131"/>
              </a:solidFill>
              <a:ea typeface="ＭＳ Ｐゴシック" charset="-128"/>
              <a:cs typeface="+mn-cs"/>
            </a:endParaRPr>
          </a:p>
        </p:txBody>
      </p:sp>
      <p:sp>
        <p:nvSpPr>
          <p:cNvPr id="830572" name="Text Box 107"/>
          <p:cNvSpPr txBox="1">
            <a:spLocks noChangeArrowheads="1"/>
          </p:cNvSpPr>
          <p:nvPr/>
        </p:nvSpPr>
        <p:spPr bwMode="auto">
          <a:xfrm>
            <a:off x="6178897" y="4138446"/>
            <a:ext cx="473714"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October</a:t>
            </a:r>
          </a:p>
        </p:txBody>
      </p:sp>
      <p:sp>
        <p:nvSpPr>
          <p:cNvPr id="830573" name="Text Box 108"/>
          <p:cNvSpPr txBox="1">
            <a:spLocks noChangeArrowheads="1"/>
          </p:cNvSpPr>
          <p:nvPr/>
        </p:nvSpPr>
        <p:spPr bwMode="auto">
          <a:xfrm>
            <a:off x="6704859" y="4138446"/>
            <a:ext cx="473714"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November</a:t>
            </a:r>
          </a:p>
        </p:txBody>
      </p:sp>
      <p:sp>
        <p:nvSpPr>
          <p:cNvPr id="830574" name="Text Box 109"/>
          <p:cNvSpPr txBox="1">
            <a:spLocks noChangeArrowheads="1"/>
          </p:cNvSpPr>
          <p:nvPr/>
        </p:nvSpPr>
        <p:spPr bwMode="auto">
          <a:xfrm>
            <a:off x="7230821" y="4138446"/>
            <a:ext cx="473714" cy="109645"/>
          </a:xfrm>
          <a:prstGeom prst="rect">
            <a:avLst/>
          </a:prstGeom>
          <a:noFill/>
          <a:ln w="12700" algn="ctr">
            <a:noFill/>
            <a:miter lim="800000"/>
            <a:headEnd/>
            <a:tailEnd/>
          </a:ln>
        </p:spPr>
        <p:txBody>
          <a:bodyPr lIns="0" tIns="0" rIns="0" bIns="0">
            <a:spAutoFit/>
          </a:bodyPr>
          <a:lstStyle/>
          <a:p>
            <a:pPr algn="ctr" defTabSz="685800">
              <a:lnSpc>
                <a:spcPct val="95000"/>
              </a:lnSpc>
              <a:buClrTx/>
            </a:pPr>
            <a:r>
              <a:rPr lang="en-US" sz="750" kern="1200">
                <a:solidFill>
                  <a:srgbClr val="313131"/>
                </a:solidFill>
                <a:ea typeface="ＭＳ Ｐゴシック" charset="-128"/>
                <a:cs typeface="+mn-cs"/>
              </a:rPr>
              <a:t>December</a:t>
            </a:r>
          </a:p>
        </p:txBody>
      </p:sp>
      <p:sp>
        <p:nvSpPr>
          <p:cNvPr id="112" name="Text Placeholder 12"/>
          <p:cNvSpPr>
            <a:spLocks/>
          </p:cNvSpPr>
          <p:nvPr>
            <p:custDataLst>
              <p:tags r:id="rId1"/>
            </p:custDataLst>
          </p:nvPr>
        </p:nvSpPr>
        <p:spPr bwMode="auto">
          <a:xfrm>
            <a:off x="1440657" y="842963"/>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Tree>
  </p:cSld>
  <p:clrMapOvr>
    <a:masterClrMapping/>
  </p:clrMapOvr>
  <p:transition>
    <p:fade/>
  </p:transition>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1489" name="Title 1"/>
          <p:cNvSpPr>
            <a:spLocks noGrp="1"/>
          </p:cNvSpPr>
          <p:nvPr>
            <p:ph type="title"/>
          </p:nvPr>
        </p:nvSpPr>
        <p:spPr/>
        <p:txBody>
          <a:bodyPr/>
          <a:lstStyle/>
          <a:p>
            <a:r>
              <a:rPr lang="en-US" altLang="ja-JP"/>
              <a:t>Gantt chart or timeline chart</a:t>
            </a:r>
            <a:endParaRPr lang="en-US" dirty="0"/>
          </a:p>
        </p:txBody>
      </p:sp>
      <p:graphicFrame>
        <p:nvGraphicFramePr>
          <p:cNvPr id="5" name="Group 3"/>
          <p:cNvGraphicFramePr>
            <a:graphicFrameLocks noGrp="1"/>
          </p:cNvGraphicFramePr>
          <p:nvPr/>
        </p:nvGraphicFramePr>
        <p:xfrm>
          <a:off x="1431132" y="1046560"/>
          <a:ext cx="6075805" cy="3368833"/>
        </p:xfrm>
        <a:graphic>
          <a:graphicData uri="http://schemas.openxmlformats.org/drawingml/2006/table">
            <a:tbl>
              <a:tblPr>
                <a:tableStyleId>{8799B23B-EC83-4686-B30A-512413B5E67A}</a:tableStyleId>
              </a:tblPr>
              <a:tblGrid>
                <a:gridCol w="1021442">
                  <a:extLst>
                    <a:ext uri="{9D8B030D-6E8A-4147-A177-3AD203B41FA5}">
                      <a16:colId xmlns:a16="http://schemas.microsoft.com/office/drawing/2014/main" val="20000"/>
                    </a:ext>
                  </a:extLst>
                </a:gridCol>
                <a:gridCol w="459488">
                  <a:extLst>
                    <a:ext uri="{9D8B030D-6E8A-4147-A177-3AD203B41FA5}">
                      <a16:colId xmlns:a16="http://schemas.microsoft.com/office/drawing/2014/main" val="20001"/>
                    </a:ext>
                  </a:extLst>
                </a:gridCol>
                <a:gridCol w="459488">
                  <a:extLst>
                    <a:ext uri="{9D8B030D-6E8A-4147-A177-3AD203B41FA5}">
                      <a16:colId xmlns:a16="http://schemas.microsoft.com/office/drawing/2014/main" val="20002"/>
                    </a:ext>
                  </a:extLst>
                </a:gridCol>
                <a:gridCol w="459488">
                  <a:extLst>
                    <a:ext uri="{9D8B030D-6E8A-4147-A177-3AD203B41FA5}">
                      <a16:colId xmlns:a16="http://schemas.microsoft.com/office/drawing/2014/main" val="20003"/>
                    </a:ext>
                  </a:extLst>
                </a:gridCol>
                <a:gridCol w="459488">
                  <a:extLst>
                    <a:ext uri="{9D8B030D-6E8A-4147-A177-3AD203B41FA5}">
                      <a16:colId xmlns:a16="http://schemas.microsoft.com/office/drawing/2014/main" val="20004"/>
                    </a:ext>
                  </a:extLst>
                </a:gridCol>
                <a:gridCol w="459488">
                  <a:extLst>
                    <a:ext uri="{9D8B030D-6E8A-4147-A177-3AD203B41FA5}">
                      <a16:colId xmlns:a16="http://schemas.microsoft.com/office/drawing/2014/main" val="20005"/>
                    </a:ext>
                  </a:extLst>
                </a:gridCol>
                <a:gridCol w="459488">
                  <a:extLst>
                    <a:ext uri="{9D8B030D-6E8A-4147-A177-3AD203B41FA5}">
                      <a16:colId xmlns:a16="http://schemas.microsoft.com/office/drawing/2014/main" val="20006"/>
                    </a:ext>
                  </a:extLst>
                </a:gridCol>
                <a:gridCol w="459488">
                  <a:extLst>
                    <a:ext uri="{9D8B030D-6E8A-4147-A177-3AD203B41FA5}">
                      <a16:colId xmlns:a16="http://schemas.microsoft.com/office/drawing/2014/main" val="20007"/>
                    </a:ext>
                  </a:extLst>
                </a:gridCol>
                <a:gridCol w="459488">
                  <a:extLst>
                    <a:ext uri="{9D8B030D-6E8A-4147-A177-3AD203B41FA5}">
                      <a16:colId xmlns:a16="http://schemas.microsoft.com/office/drawing/2014/main" val="20008"/>
                    </a:ext>
                  </a:extLst>
                </a:gridCol>
                <a:gridCol w="459488">
                  <a:extLst>
                    <a:ext uri="{9D8B030D-6E8A-4147-A177-3AD203B41FA5}">
                      <a16:colId xmlns:a16="http://schemas.microsoft.com/office/drawing/2014/main" val="20009"/>
                    </a:ext>
                  </a:extLst>
                </a:gridCol>
                <a:gridCol w="459488">
                  <a:extLst>
                    <a:ext uri="{9D8B030D-6E8A-4147-A177-3AD203B41FA5}">
                      <a16:colId xmlns:a16="http://schemas.microsoft.com/office/drawing/2014/main" val="20010"/>
                    </a:ext>
                  </a:extLst>
                </a:gridCol>
                <a:gridCol w="459488">
                  <a:extLst>
                    <a:ext uri="{9D8B030D-6E8A-4147-A177-3AD203B41FA5}">
                      <a16:colId xmlns:a16="http://schemas.microsoft.com/office/drawing/2014/main" val="20011"/>
                    </a:ext>
                  </a:extLst>
                </a:gridCol>
              </a:tblGrid>
              <a:tr h="252427">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altLang="ja-JP" sz="800" u="none" strike="noStrike" cap="none" normalizeH="0" baseline="0" dirty="0">
                          <a:ln>
                            <a:noFill/>
                          </a:ln>
                          <a:solidFill>
                            <a:srgbClr val="313131"/>
                          </a:solidFill>
                          <a:effectLst/>
                        </a:rPr>
                        <a:t>Week</a:t>
                      </a:r>
                      <a:endParaRPr kumimoji="0" lang="en-US" altLang="ja-JP" sz="800" b="0" i="0" u="none" strike="noStrike" cap="none" normalizeH="0" baseline="0" dirty="0">
                        <a:ln>
                          <a:noFill/>
                        </a:ln>
                        <a:solidFill>
                          <a:srgbClr val="313131"/>
                        </a:solidFill>
                        <a:effectLst/>
                        <a:latin typeface="Arial" charset="0"/>
                        <a:ea typeface="ＭＳ Ｐゴシック" pitchFamily="50" charset="-128"/>
                      </a:endParaRPr>
                    </a:p>
                  </a:txBody>
                  <a:tcPr marL="64800" marR="64800" marT="35100" marB="35100" anchor="ctr" horzOverflow="overflow">
                    <a:lnL w="12700" cap="flat" cmpd="sng" algn="ctr">
                      <a:no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u="none" strike="noStrike" cap="none" normalizeH="0" baseline="0" dirty="0">
                          <a:ln>
                            <a:noFill/>
                          </a:ln>
                          <a:solidFill>
                            <a:schemeClr val="bg1"/>
                          </a:solidFill>
                          <a:effectLst/>
                        </a:rPr>
                        <a:t>2</a:t>
                      </a:r>
                      <a:endParaRPr kumimoji="0" lang="en-US" sz="800" b="1" i="0" u="none" strike="noStrike" cap="none" normalizeH="0" baseline="0" dirty="0">
                        <a:ln>
                          <a:noFill/>
                        </a:ln>
                        <a:solidFill>
                          <a:schemeClr val="bg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u="none" strike="noStrike" cap="none" normalizeH="0" baseline="0" dirty="0">
                          <a:ln>
                            <a:noFill/>
                          </a:ln>
                          <a:solidFill>
                            <a:schemeClr val="bg1"/>
                          </a:solidFill>
                          <a:effectLst/>
                        </a:rPr>
                        <a:t>3</a:t>
                      </a:r>
                      <a:endParaRPr kumimoji="0" lang="en-US" sz="800" b="1" i="0" u="none" strike="noStrike" cap="none" normalizeH="0" baseline="0" dirty="0">
                        <a:ln>
                          <a:noFill/>
                        </a:ln>
                        <a:solidFill>
                          <a:schemeClr val="bg1"/>
                        </a:solidFill>
                        <a:effectLst/>
                        <a:latin typeface="Arial" charset="0"/>
                      </a:endParaRPr>
                    </a:p>
                  </a:txBody>
                  <a:tcPr marL="64800" marR="64800" marT="35100" marB="351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0" u="none" strike="noStrike" cap="none" normalizeH="0" baseline="0" dirty="0">
                        <a:ln>
                          <a:noFill/>
                        </a:ln>
                        <a:solidFill>
                          <a:schemeClr val="bg1"/>
                        </a:solidFill>
                        <a:effectLst/>
                        <a:latin typeface="Arial" charset="0"/>
                      </a:endParaRPr>
                    </a:p>
                  </a:txBody>
                  <a:tcPr marL="64800" marR="64800" marT="35100" marB="351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0" u="none" strike="noStrike" cap="none" normalizeH="0" baseline="0" dirty="0">
                        <a:ln>
                          <a:noFill/>
                        </a:ln>
                        <a:solidFill>
                          <a:schemeClr val="bg1"/>
                        </a:solidFill>
                        <a:effectLst/>
                        <a:latin typeface="Arial" charset="0"/>
                      </a:endParaRPr>
                    </a:p>
                  </a:txBody>
                  <a:tcPr marL="64800" marR="64800" marT="35100" marB="351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0" u="none" strike="noStrike" cap="none" normalizeH="0" baseline="0" dirty="0">
                        <a:ln>
                          <a:noFill/>
                        </a:ln>
                        <a:solidFill>
                          <a:schemeClr val="bg1"/>
                        </a:solidFill>
                        <a:effectLst/>
                        <a:latin typeface="Arial" charset="0"/>
                      </a:endParaRPr>
                    </a:p>
                  </a:txBody>
                  <a:tcPr marL="64800" marR="64800" marT="35100" marB="351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0" u="none" strike="noStrike" cap="none" normalizeH="0" baseline="0" dirty="0">
                        <a:ln>
                          <a:noFill/>
                        </a:ln>
                        <a:solidFill>
                          <a:schemeClr val="bg1"/>
                        </a:solidFill>
                        <a:effectLst/>
                        <a:latin typeface="Arial" charset="0"/>
                      </a:endParaRPr>
                    </a:p>
                  </a:txBody>
                  <a:tcPr marL="64800" marR="64800" marT="35100" marB="351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0" u="none" strike="noStrike" cap="none" normalizeH="0" baseline="0" dirty="0">
                        <a:ln>
                          <a:noFill/>
                        </a:ln>
                        <a:solidFill>
                          <a:schemeClr val="bg1"/>
                        </a:solidFill>
                        <a:effectLst/>
                        <a:latin typeface="Arial" charset="0"/>
                      </a:endParaRPr>
                    </a:p>
                  </a:txBody>
                  <a:tcPr marL="64800" marR="64800" marT="35100" marB="351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0" u="none" strike="noStrike" cap="none" normalizeH="0" baseline="0" dirty="0">
                        <a:ln>
                          <a:noFill/>
                        </a:ln>
                        <a:solidFill>
                          <a:schemeClr val="bg1"/>
                        </a:solidFill>
                        <a:effectLst/>
                        <a:latin typeface="Arial" charset="0"/>
                      </a:endParaRPr>
                    </a:p>
                  </a:txBody>
                  <a:tcPr marL="64800" marR="64800" marT="35100" marB="351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0" u="none" strike="noStrike" cap="none" normalizeH="0" baseline="0" dirty="0">
                        <a:ln>
                          <a:noFill/>
                        </a:ln>
                        <a:solidFill>
                          <a:schemeClr val="bg1"/>
                        </a:solidFill>
                        <a:effectLst/>
                        <a:latin typeface="Arial" charset="0"/>
                      </a:endParaRPr>
                    </a:p>
                  </a:txBody>
                  <a:tcPr marL="64800" marR="64800" marT="35100" marB="351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0" u="none" strike="noStrike" cap="none" normalizeH="0" baseline="0" dirty="0">
                        <a:ln>
                          <a:noFill/>
                        </a:ln>
                        <a:solidFill>
                          <a:schemeClr val="bg1"/>
                        </a:solidFill>
                        <a:effectLst/>
                        <a:latin typeface="Arial" charset="0"/>
                      </a:endParaRPr>
                    </a:p>
                  </a:txBody>
                  <a:tcPr marL="64800" marR="64800" marT="35100" marB="351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0" u="none" strike="noStrike" cap="none" normalizeH="0" baseline="0" dirty="0">
                        <a:ln>
                          <a:noFill/>
                        </a:ln>
                        <a:solidFill>
                          <a:schemeClr val="bg1"/>
                        </a:solidFill>
                        <a:effectLst/>
                        <a:latin typeface="Arial" charset="0"/>
                      </a:endParaRPr>
                    </a:p>
                  </a:txBody>
                  <a:tcPr marL="64800" marR="64800" marT="35100" marB="3510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extLst>
                  <a:ext uri="{0D108BD9-81ED-4DB2-BD59-A6C34878D82A}">
                    <a16:rowId xmlns:a16="http://schemas.microsoft.com/office/drawing/2014/main" val="10000"/>
                  </a:ext>
                </a:extLst>
              </a:tr>
              <a:tr h="222938">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altLang="ja-JP" sz="800" u="none" strike="noStrike" cap="none" normalizeH="0" baseline="0" dirty="0">
                          <a:ln>
                            <a:noFill/>
                          </a:ln>
                          <a:solidFill>
                            <a:srgbClr val="313131"/>
                          </a:solidFill>
                          <a:effectLst/>
                        </a:rPr>
                        <a:t>Starts on</a:t>
                      </a:r>
                      <a:endParaRPr kumimoji="0" lang="en-US" altLang="ja-JP" sz="800" b="0" i="0" u="none" strike="noStrike" cap="none" normalizeH="0" baseline="0" dirty="0">
                        <a:ln>
                          <a:noFill/>
                        </a:ln>
                        <a:solidFill>
                          <a:srgbClr val="313131"/>
                        </a:solidFill>
                        <a:effectLst/>
                        <a:latin typeface="Arial" charset="0"/>
                        <a:ea typeface="ＭＳ Ｐゴシック" pitchFamily="50" charset="-128"/>
                      </a:endParaRPr>
                    </a:p>
                  </a:txBody>
                  <a:tcPr marL="64800" marR="64800" marT="35100" marB="35100" anchor="ctr" horzOverflow="overflow">
                    <a:lnL w="12700" cap="flat" cmpd="sng" algn="ctr">
                      <a:no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u="none" strike="noStrike" cap="none" normalizeH="0" baseline="0" dirty="0">
                          <a:ln>
                            <a:noFill/>
                          </a:ln>
                          <a:solidFill>
                            <a:schemeClr val="bg1"/>
                          </a:solidFill>
                          <a:effectLst/>
                        </a:rPr>
                        <a:t>7/1</a:t>
                      </a:r>
                      <a:endParaRPr kumimoji="0" lang="en-US" sz="800" b="1" i="0" u="none" strike="noStrike" cap="none" normalizeH="0" baseline="0" dirty="0">
                        <a:ln>
                          <a:noFill/>
                        </a:ln>
                        <a:solidFill>
                          <a:schemeClr val="bg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u="none" strike="noStrike" cap="none" normalizeH="0" baseline="0" dirty="0">
                          <a:ln>
                            <a:noFill/>
                          </a:ln>
                          <a:solidFill>
                            <a:schemeClr val="bg1"/>
                          </a:solidFill>
                          <a:effectLst/>
                        </a:rPr>
                        <a:t>14/1</a:t>
                      </a:r>
                      <a:endParaRPr kumimoji="0" lang="en-US" sz="800" b="1" i="0" u="none" strike="noStrike" cap="none" normalizeH="0" baseline="0" dirty="0">
                        <a:ln>
                          <a:noFill/>
                        </a:ln>
                        <a:solidFill>
                          <a:schemeClr val="bg1"/>
                        </a:solidFill>
                        <a:effectLst/>
                        <a:latin typeface="Arial" charset="0"/>
                      </a:endParaRPr>
                    </a:p>
                  </a:txBody>
                  <a:tcPr marL="64800" marR="64800" marT="35100" marB="351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0" u="none" strike="noStrike" cap="none" normalizeH="0" baseline="0" dirty="0">
                        <a:ln>
                          <a:noFill/>
                        </a:ln>
                        <a:solidFill>
                          <a:schemeClr val="bg1"/>
                        </a:solidFill>
                        <a:effectLst/>
                        <a:latin typeface="Arial" charset="0"/>
                      </a:endParaRPr>
                    </a:p>
                  </a:txBody>
                  <a:tcPr marL="64800" marR="64800" marT="35100" marB="351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0" u="none" strike="noStrike" cap="none" normalizeH="0" baseline="0" dirty="0">
                        <a:ln>
                          <a:noFill/>
                        </a:ln>
                        <a:solidFill>
                          <a:schemeClr val="bg1"/>
                        </a:solidFill>
                        <a:effectLst/>
                        <a:latin typeface="Arial" charset="0"/>
                      </a:endParaRPr>
                    </a:p>
                  </a:txBody>
                  <a:tcPr marL="64800" marR="64800" marT="35100" marB="351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0" u="none" strike="noStrike" cap="none" normalizeH="0" baseline="0" dirty="0">
                        <a:ln>
                          <a:noFill/>
                        </a:ln>
                        <a:solidFill>
                          <a:schemeClr val="bg1"/>
                        </a:solidFill>
                        <a:effectLst/>
                        <a:latin typeface="Arial" charset="0"/>
                      </a:endParaRPr>
                    </a:p>
                  </a:txBody>
                  <a:tcPr marL="64800" marR="64800" marT="35100" marB="351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0" u="none" strike="noStrike" cap="none" normalizeH="0" baseline="0" dirty="0">
                        <a:ln>
                          <a:noFill/>
                        </a:ln>
                        <a:solidFill>
                          <a:schemeClr val="bg1"/>
                        </a:solidFill>
                        <a:effectLst/>
                        <a:latin typeface="Arial" charset="0"/>
                      </a:endParaRPr>
                    </a:p>
                  </a:txBody>
                  <a:tcPr marL="64800" marR="64800" marT="35100" marB="351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0" u="none" strike="noStrike" cap="none" normalizeH="0" baseline="0" dirty="0">
                        <a:ln>
                          <a:noFill/>
                        </a:ln>
                        <a:solidFill>
                          <a:schemeClr val="bg1"/>
                        </a:solidFill>
                        <a:effectLst/>
                        <a:latin typeface="Arial" charset="0"/>
                      </a:endParaRPr>
                    </a:p>
                  </a:txBody>
                  <a:tcPr marL="64800" marR="64800" marT="35100" marB="351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0" u="none" strike="noStrike" cap="none" normalizeH="0" baseline="0" dirty="0">
                        <a:ln>
                          <a:noFill/>
                        </a:ln>
                        <a:solidFill>
                          <a:schemeClr val="bg1"/>
                        </a:solidFill>
                        <a:effectLst/>
                        <a:latin typeface="Arial" charset="0"/>
                      </a:endParaRPr>
                    </a:p>
                  </a:txBody>
                  <a:tcPr marL="64800" marR="64800" marT="35100" marB="351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0" u="none" strike="noStrike" cap="none" normalizeH="0" baseline="0" dirty="0">
                        <a:ln>
                          <a:noFill/>
                        </a:ln>
                        <a:solidFill>
                          <a:schemeClr val="bg1"/>
                        </a:solidFill>
                        <a:effectLst/>
                        <a:latin typeface="Arial" charset="0"/>
                      </a:endParaRPr>
                    </a:p>
                  </a:txBody>
                  <a:tcPr marL="64800" marR="64800" marT="35100" marB="351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0" u="none" strike="noStrike" cap="none" normalizeH="0" baseline="0" dirty="0">
                        <a:ln>
                          <a:noFill/>
                        </a:ln>
                        <a:solidFill>
                          <a:schemeClr val="bg1"/>
                        </a:solidFill>
                        <a:effectLst/>
                        <a:latin typeface="Arial" charset="0"/>
                      </a:endParaRPr>
                    </a:p>
                  </a:txBody>
                  <a:tcPr marL="64800" marR="64800" marT="35100" marB="351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0" u="none" strike="noStrike" cap="none" normalizeH="0" baseline="0" dirty="0">
                        <a:ln>
                          <a:noFill/>
                        </a:ln>
                        <a:solidFill>
                          <a:schemeClr val="bg1"/>
                        </a:solidFill>
                        <a:effectLst/>
                        <a:latin typeface="Arial" charset="0"/>
                      </a:endParaRPr>
                    </a:p>
                  </a:txBody>
                  <a:tcPr marL="64800" marR="64800" marT="35100" marB="3510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extLst>
                  <a:ext uri="{0D108BD9-81ED-4DB2-BD59-A6C34878D82A}">
                    <a16:rowId xmlns:a16="http://schemas.microsoft.com/office/drawing/2014/main" val="10001"/>
                  </a:ext>
                </a:extLst>
              </a:tr>
              <a:tr h="222938">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u="none" strike="noStrike" cap="none" normalizeH="0" baseline="0" dirty="0">
                          <a:ln>
                            <a:noFill/>
                          </a:ln>
                          <a:solidFill>
                            <a:srgbClr val="313131"/>
                          </a:solidFill>
                          <a:effectLst/>
                        </a:rPr>
                        <a:t>Phase 1</a:t>
                      </a:r>
                      <a:endParaRPr kumimoji="0" lang="en-US" sz="800" b="1" i="0" u="none" strike="noStrike" cap="none" normalizeH="0" baseline="0" dirty="0">
                        <a:ln>
                          <a:noFill/>
                        </a:ln>
                        <a:solidFill>
                          <a:srgbClr val="31313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22938">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800" u="none" strike="noStrike" cap="none" normalizeH="0" baseline="0" dirty="0">
                          <a:ln>
                            <a:noFill/>
                          </a:ln>
                          <a:solidFill>
                            <a:srgbClr val="313131"/>
                          </a:solidFill>
                          <a:effectLst/>
                        </a:rPr>
                        <a:t>Activity</a:t>
                      </a:r>
                      <a:endParaRPr kumimoji="0" lang="en-US" sz="800" b="0" i="0" u="none" strike="noStrike" cap="none" normalizeH="0" baseline="0" dirty="0">
                        <a:ln>
                          <a:noFill/>
                        </a:ln>
                        <a:solidFill>
                          <a:srgbClr val="31313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21758">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800" u="none" strike="noStrike" cap="none" normalizeH="0" baseline="0" dirty="0">
                          <a:ln>
                            <a:noFill/>
                          </a:ln>
                          <a:solidFill>
                            <a:srgbClr val="313131"/>
                          </a:solidFill>
                          <a:effectLst/>
                        </a:rPr>
                        <a:t>Activity</a:t>
                      </a:r>
                      <a:endParaRPr kumimoji="0" lang="en-US" sz="800" b="0" i="0" u="none" strike="noStrike" cap="none" normalizeH="0" baseline="0" dirty="0">
                        <a:ln>
                          <a:noFill/>
                        </a:ln>
                        <a:solidFill>
                          <a:srgbClr val="31313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22938">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800" u="none" strike="noStrike" cap="none" normalizeH="0" baseline="0" dirty="0">
                          <a:ln>
                            <a:noFill/>
                          </a:ln>
                          <a:solidFill>
                            <a:srgbClr val="313131"/>
                          </a:solidFill>
                          <a:effectLst/>
                        </a:rPr>
                        <a:t>Activity</a:t>
                      </a:r>
                      <a:endParaRPr kumimoji="0" lang="en-US" sz="800" b="0" i="0" u="none" strike="noStrike" cap="none" normalizeH="0" baseline="0" dirty="0">
                        <a:ln>
                          <a:noFill/>
                        </a:ln>
                        <a:solidFill>
                          <a:srgbClr val="31313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22938">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Tx/>
                        <a:buNone/>
                        <a:tabLst>
                          <a:tab pos="5715000" algn="l"/>
                        </a:tabLst>
                      </a:pPr>
                      <a:r>
                        <a:rPr kumimoji="0" lang="en-US" sz="800" b="1" u="none" strike="noStrike" cap="none" normalizeH="0" baseline="0" dirty="0">
                          <a:ln>
                            <a:noFill/>
                          </a:ln>
                          <a:solidFill>
                            <a:srgbClr val="313131"/>
                          </a:solidFill>
                          <a:effectLst/>
                        </a:rPr>
                        <a:t>Phase 2</a:t>
                      </a:r>
                      <a:endParaRPr kumimoji="0" lang="en-US" sz="800" b="1" i="0" u="none" strike="noStrike" cap="none" normalizeH="0" baseline="0" dirty="0">
                        <a:ln>
                          <a:noFill/>
                        </a:ln>
                        <a:solidFill>
                          <a:srgbClr val="31313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21758">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800" u="none" strike="noStrike" cap="none" normalizeH="0" baseline="0" dirty="0">
                          <a:ln>
                            <a:noFill/>
                          </a:ln>
                          <a:solidFill>
                            <a:srgbClr val="313131"/>
                          </a:solidFill>
                          <a:effectLst/>
                        </a:rPr>
                        <a:t>Activity</a:t>
                      </a:r>
                      <a:endParaRPr kumimoji="0" lang="en-US" sz="800" b="0" i="0" u="none" strike="noStrike" cap="none" normalizeH="0" baseline="0" dirty="0">
                        <a:ln>
                          <a:noFill/>
                        </a:ln>
                        <a:solidFill>
                          <a:srgbClr val="31313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21758">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800" u="none" strike="noStrike" cap="none" normalizeH="0" baseline="0" dirty="0">
                          <a:ln>
                            <a:noFill/>
                          </a:ln>
                          <a:solidFill>
                            <a:srgbClr val="313131"/>
                          </a:solidFill>
                          <a:effectLst/>
                        </a:rPr>
                        <a:t>Activity</a:t>
                      </a:r>
                      <a:endParaRPr kumimoji="0" lang="en-US" sz="800" b="0" i="0" u="none" strike="noStrike" cap="none" normalizeH="0" baseline="0" dirty="0">
                        <a:ln>
                          <a:noFill/>
                        </a:ln>
                        <a:solidFill>
                          <a:srgbClr val="31313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22938">
                <a:tc>
                  <a:txBody>
                    <a:bodyPr/>
                    <a:lstStyle/>
                    <a:p>
                      <a:pPr marL="0" marR="0" lvl="0" indent="0" algn="l" defTabSz="914400" rtl="0" eaLnBrk="1" fontAlgn="base" latinLnBrk="0" hangingPunct="1">
                        <a:lnSpc>
                          <a:spcPct val="106000"/>
                        </a:lnSpc>
                        <a:spcBef>
                          <a:spcPct val="80000"/>
                        </a:spcBef>
                        <a:spcAft>
                          <a:spcPct val="0"/>
                        </a:spcAft>
                        <a:buClr>
                          <a:schemeClr val="tx2"/>
                        </a:buClr>
                        <a:buSzTx/>
                        <a:buFontTx/>
                        <a:buNone/>
                        <a:tabLst>
                          <a:tab pos="5715000" algn="l"/>
                        </a:tabLst>
                      </a:pPr>
                      <a:r>
                        <a:rPr kumimoji="0" lang="en-US" sz="800" b="1" u="none" strike="noStrike" cap="none" normalizeH="0" baseline="0" dirty="0">
                          <a:ln>
                            <a:noFill/>
                          </a:ln>
                          <a:solidFill>
                            <a:srgbClr val="313131"/>
                          </a:solidFill>
                          <a:effectLst/>
                        </a:rPr>
                        <a:t>Phase 3</a:t>
                      </a:r>
                      <a:endParaRPr kumimoji="0" lang="en-US" sz="800" b="1" i="0" u="none" strike="noStrike" cap="none" normalizeH="0" baseline="0" dirty="0">
                        <a:ln>
                          <a:noFill/>
                        </a:ln>
                        <a:solidFill>
                          <a:srgbClr val="31313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22938">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800" u="none" strike="noStrike" cap="none" normalizeH="0" baseline="0" dirty="0">
                          <a:ln>
                            <a:noFill/>
                          </a:ln>
                          <a:solidFill>
                            <a:srgbClr val="313131"/>
                          </a:solidFill>
                          <a:effectLst/>
                        </a:rPr>
                        <a:t>Activity</a:t>
                      </a:r>
                      <a:endParaRPr kumimoji="0" lang="en-US" sz="800" b="0" i="0" u="none" strike="noStrike" cap="none" normalizeH="0" baseline="0" dirty="0">
                        <a:ln>
                          <a:noFill/>
                        </a:ln>
                        <a:solidFill>
                          <a:srgbClr val="31313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21758">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800" u="none" strike="noStrike" cap="none" normalizeH="0" baseline="0" dirty="0">
                          <a:ln>
                            <a:noFill/>
                          </a:ln>
                          <a:solidFill>
                            <a:srgbClr val="313131"/>
                          </a:solidFill>
                          <a:effectLst/>
                        </a:rPr>
                        <a:t>Activity</a:t>
                      </a:r>
                      <a:endParaRPr kumimoji="0" lang="en-US" sz="800" b="0" i="0" u="none" strike="noStrike" cap="none" normalizeH="0" baseline="0" dirty="0">
                        <a:ln>
                          <a:noFill/>
                        </a:ln>
                        <a:solidFill>
                          <a:srgbClr val="31313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22938">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800" u="none" strike="noStrike" cap="none" normalizeH="0" baseline="0" dirty="0">
                          <a:ln>
                            <a:noFill/>
                          </a:ln>
                          <a:solidFill>
                            <a:srgbClr val="313131"/>
                          </a:solidFill>
                          <a:effectLst/>
                        </a:rPr>
                        <a:t>Activity</a:t>
                      </a:r>
                      <a:endParaRPr kumimoji="0" lang="en-US" sz="800" b="0" i="0" u="none" strike="noStrike" cap="none" normalizeH="0" baseline="0" dirty="0">
                        <a:ln>
                          <a:noFill/>
                        </a:ln>
                        <a:solidFill>
                          <a:srgbClr val="31313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22938">
                <a:tc>
                  <a:txBody>
                    <a:bodyPr/>
                    <a:lstStyle/>
                    <a:p>
                      <a:pPr marL="0" marR="0" lvl="0" indent="0" algn="l" defTabSz="914400" rtl="0" eaLnBrk="1" fontAlgn="base" latinLnBrk="0" hangingPunct="1">
                        <a:lnSpc>
                          <a:spcPct val="106000"/>
                        </a:lnSpc>
                        <a:spcBef>
                          <a:spcPct val="80000"/>
                        </a:spcBef>
                        <a:spcAft>
                          <a:spcPct val="0"/>
                        </a:spcAft>
                        <a:buClr>
                          <a:schemeClr val="tx2"/>
                        </a:buClr>
                        <a:buSzTx/>
                        <a:buFontTx/>
                        <a:buNone/>
                        <a:tabLst>
                          <a:tab pos="5715000" algn="l"/>
                        </a:tabLst>
                      </a:pPr>
                      <a:r>
                        <a:rPr kumimoji="0" lang="en-US" sz="800" b="1" u="none" strike="noStrike" cap="none" normalizeH="0" baseline="0" dirty="0">
                          <a:ln>
                            <a:noFill/>
                          </a:ln>
                          <a:solidFill>
                            <a:srgbClr val="313131"/>
                          </a:solidFill>
                          <a:effectLst/>
                        </a:rPr>
                        <a:t>Phase 4</a:t>
                      </a:r>
                      <a:endParaRPr kumimoji="0" lang="en-US" sz="800" b="1" i="0" u="none" strike="noStrike" cap="none" normalizeH="0" baseline="0" dirty="0">
                        <a:ln>
                          <a:noFill/>
                        </a:ln>
                        <a:solidFill>
                          <a:srgbClr val="31313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22938">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800" u="none" strike="noStrike" cap="none" normalizeH="0" baseline="0" dirty="0">
                          <a:ln>
                            <a:noFill/>
                          </a:ln>
                          <a:solidFill>
                            <a:srgbClr val="313131"/>
                          </a:solidFill>
                          <a:effectLst/>
                        </a:rPr>
                        <a:t>Activity</a:t>
                      </a:r>
                      <a:endParaRPr kumimoji="0" lang="en-US" sz="800" b="0" i="0" u="none" strike="noStrike" cap="none" normalizeH="0" baseline="0" dirty="0">
                        <a:ln>
                          <a:noFill/>
                        </a:ln>
                        <a:solidFill>
                          <a:srgbClr val="313131"/>
                        </a:solidFill>
                        <a:effectLst/>
                        <a:latin typeface="Arial" charset="0"/>
                      </a:endParaRPr>
                    </a:p>
                  </a:txBody>
                  <a:tcPr marL="64800" marR="64800" marT="35100" marB="35100" anchor="ctr" horzOverflow="overflow">
                    <a:lnL w="12700" cap="flat" cmpd="sng" algn="ctr">
                      <a:no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a:ln>
                          <a:noFill/>
                        </a:ln>
                        <a:solidFill>
                          <a:schemeClr val="tx1"/>
                        </a:solidFill>
                        <a:effectLst/>
                        <a:latin typeface="Arial" charset="0"/>
                      </a:endParaRPr>
                    </a:p>
                  </a:txBody>
                  <a:tcPr marL="64800" marR="64800" marT="35100" marB="351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bl>
          </a:graphicData>
        </a:graphic>
      </p:graphicFrame>
      <p:sp>
        <p:nvSpPr>
          <p:cNvPr id="831712" name="Rectangle 239"/>
          <p:cNvSpPr>
            <a:spLocks noChangeArrowheads="1"/>
          </p:cNvSpPr>
          <p:nvPr/>
        </p:nvSpPr>
        <p:spPr bwMode="auto">
          <a:xfrm>
            <a:off x="2531269" y="1796654"/>
            <a:ext cx="798910" cy="139303"/>
          </a:xfrm>
          <a:prstGeom prst="rect">
            <a:avLst/>
          </a:prstGeom>
          <a:solidFill>
            <a:schemeClr val="accent4"/>
          </a:solidFill>
          <a:ln w="12700" algn="ctr">
            <a:solidFill>
              <a:schemeClr val="bg1"/>
            </a:solidFill>
            <a:miter lim="800000"/>
            <a:headEnd/>
            <a:tailEnd/>
          </a:ln>
        </p:spPr>
        <p:txBody>
          <a:bodyPr wrap="none" lIns="70200" tIns="35100" rIns="70200" bIns="35100" anchor="ctr"/>
          <a:lstStyle/>
          <a:p>
            <a:pPr algn="ctr" defTabSz="685800">
              <a:buClrTx/>
            </a:pPr>
            <a:endParaRPr lang="en-US" sz="1350" kern="1200">
              <a:solidFill>
                <a:prstClr val="black"/>
              </a:solidFill>
              <a:ea typeface="+mn-ea"/>
              <a:cs typeface="+mn-cs"/>
            </a:endParaRPr>
          </a:p>
        </p:txBody>
      </p:sp>
      <p:sp>
        <p:nvSpPr>
          <p:cNvPr id="831713" name="Rectangle 240"/>
          <p:cNvSpPr>
            <a:spLocks noChangeArrowheads="1"/>
          </p:cNvSpPr>
          <p:nvPr/>
        </p:nvSpPr>
        <p:spPr bwMode="auto">
          <a:xfrm>
            <a:off x="3065860" y="2020491"/>
            <a:ext cx="798909" cy="139303"/>
          </a:xfrm>
          <a:prstGeom prst="rect">
            <a:avLst/>
          </a:prstGeom>
          <a:solidFill>
            <a:schemeClr val="accent4"/>
          </a:solidFill>
          <a:ln w="12700" algn="ctr">
            <a:solidFill>
              <a:schemeClr val="bg1"/>
            </a:solidFill>
            <a:miter lim="800000"/>
            <a:headEnd/>
            <a:tailEnd/>
          </a:ln>
        </p:spPr>
        <p:txBody>
          <a:bodyPr wrap="none" lIns="70200" tIns="35100" rIns="70200" bIns="35100" anchor="ctr"/>
          <a:lstStyle/>
          <a:p>
            <a:pPr algn="ctr" defTabSz="685800">
              <a:buClrTx/>
            </a:pPr>
            <a:endParaRPr lang="en-US" sz="1350" kern="1200">
              <a:solidFill>
                <a:prstClr val="black"/>
              </a:solidFill>
              <a:ea typeface="+mn-ea"/>
              <a:cs typeface="+mn-cs"/>
            </a:endParaRPr>
          </a:p>
        </p:txBody>
      </p:sp>
      <p:sp>
        <p:nvSpPr>
          <p:cNvPr id="831714" name="Rectangle 241"/>
          <p:cNvSpPr>
            <a:spLocks noChangeArrowheads="1"/>
          </p:cNvSpPr>
          <p:nvPr/>
        </p:nvSpPr>
        <p:spPr bwMode="auto">
          <a:xfrm>
            <a:off x="3599260" y="2230041"/>
            <a:ext cx="798909" cy="139303"/>
          </a:xfrm>
          <a:prstGeom prst="rect">
            <a:avLst/>
          </a:prstGeom>
          <a:solidFill>
            <a:schemeClr val="accent4"/>
          </a:solidFill>
          <a:ln w="12700" algn="ctr">
            <a:solidFill>
              <a:schemeClr val="bg1"/>
            </a:solidFill>
            <a:miter lim="800000"/>
            <a:headEnd/>
            <a:tailEnd/>
          </a:ln>
        </p:spPr>
        <p:txBody>
          <a:bodyPr wrap="none" lIns="70200" tIns="35100" rIns="70200" bIns="35100" anchor="ctr"/>
          <a:lstStyle/>
          <a:p>
            <a:pPr algn="ctr" defTabSz="685800">
              <a:buClrTx/>
            </a:pPr>
            <a:endParaRPr lang="en-US" sz="1350" kern="1200">
              <a:solidFill>
                <a:prstClr val="black"/>
              </a:solidFill>
              <a:ea typeface="+mn-ea"/>
              <a:cs typeface="+mn-cs"/>
            </a:endParaRPr>
          </a:p>
        </p:txBody>
      </p:sp>
      <p:sp>
        <p:nvSpPr>
          <p:cNvPr id="831715" name="Rectangle 242"/>
          <p:cNvSpPr>
            <a:spLocks noChangeArrowheads="1"/>
          </p:cNvSpPr>
          <p:nvPr/>
        </p:nvSpPr>
        <p:spPr bwMode="auto">
          <a:xfrm>
            <a:off x="4131469" y="2677716"/>
            <a:ext cx="798910" cy="139303"/>
          </a:xfrm>
          <a:prstGeom prst="rect">
            <a:avLst/>
          </a:prstGeom>
          <a:solidFill>
            <a:schemeClr val="accent4"/>
          </a:solidFill>
          <a:ln w="12700" algn="ctr">
            <a:solidFill>
              <a:schemeClr val="bg1"/>
            </a:solidFill>
            <a:miter lim="800000"/>
            <a:headEnd/>
            <a:tailEnd/>
          </a:ln>
        </p:spPr>
        <p:txBody>
          <a:bodyPr wrap="none" lIns="70200" tIns="35100" rIns="70200" bIns="35100" anchor="ctr"/>
          <a:lstStyle/>
          <a:p>
            <a:pPr algn="ctr" defTabSz="685800">
              <a:buClrTx/>
            </a:pPr>
            <a:endParaRPr lang="en-US" sz="1350" kern="1200">
              <a:solidFill>
                <a:prstClr val="black"/>
              </a:solidFill>
              <a:ea typeface="+mn-ea"/>
              <a:cs typeface="+mn-cs"/>
            </a:endParaRPr>
          </a:p>
        </p:txBody>
      </p:sp>
      <p:sp>
        <p:nvSpPr>
          <p:cNvPr id="831716" name="Rectangle 243"/>
          <p:cNvSpPr>
            <a:spLocks noChangeArrowheads="1"/>
          </p:cNvSpPr>
          <p:nvPr/>
        </p:nvSpPr>
        <p:spPr bwMode="auto">
          <a:xfrm>
            <a:off x="4664869" y="2901554"/>
            <a:ext cx="798910" cy="139303"/>
          </a:xfrm>
          <a:prstGeom prst="rect">
            <a:avLst/>
          </a:prstGeom>
          <a:solidFill>
            <a:schemeClr val="accent4"/>
          </a:solidFill>
          <a:ln w="12700" algn="ctr">
            <a:solidFill>
              <a:schemeClr val="bg1"/>
            </a:solidFill>
            <a:miter lim="800000"/>
            <a:headEnd/>
            <a:tailEnd/>
          </a:ln>
        </p:spPr>
        <p:txBody>
          <a:bodyPr wrap="none" lIns="70200" tIns="35100" rIns="70200" bIns="35100" anchor="ctr"/>
          <a:lstStyle/>
          <a:p>
            <a:pPr algn="ctr" defTabSz="685800">
              <a:buClrTx/>
            </a:pPr>
            <a:endParaRPr lang="en-US" sz="1350" kern="1200">
              <a:solidFill>
                <a:prstClr val="black"/>
              </a:solidFill>
              <a:ea typeface="+mn-ea"/>
              <a:cs typeface="+mn-cs"/>
            </a:endParaRPr>
          </a:p>
        </p:txBody>
      </p:sp>
      <p:sp>
        <p:nvSpPr>
          <p:cNvPr id="831717" name="Rectangle 244"/>
          <p:cNvSpPr>
            <a:spLocks noChangeArrowheads="1"/>
          </p:cNvSpPr>
          <p:nvPr/>
        </p:nvSpPr>
        <p:spPr bwMode="auto">
          <a:xfrm>
            <a:off x="5198269" y="3349229"/>
            <a:ext cx="798910" cy="139303"/>
          </a:xfrm>
          <a:prstGeom prst="rect">
            <a:avLst/>
          </a:prstGeom>
          <a:solidFill>
            <a:schemeClr val="accent4"/>
          </a:solidFill>
          <a:ln w="12700" algn="ctr">
            <a:solidFill>
              <a:schemeClr val="bg1"/>
            </a:solidFill>
            <a:miter lim="800000"/>
            <a:headEnd/>
            <a:tailEnd/>
          </a:ln>
        </p:spPr>
        <p:txBody>
          <a:bodyPr wrap="none" lIns="70200" tIns="35100" rIns="70200" bIns="35100" anchor="ctr"/>
          <a:lstStyle/>
          <a:p>
            <a:pPr algn="ctr" defTabSz="685800">
              <a:buClrTx/>
            </a:pPr>
            <a:endParaRPr lang="en-US" sz="1350" kern="1200">
              <a:solidFill>
                <a:prstClr val="black"/>
              </a:solidFill>
              <a:ea typeface="+mn-ea"/>
              <a:cs typeface="+mn-cs"/>
            </a:endParaRPr>
          </a:p>
        </p:txBody>
      </p:sp>
      <p:sp>
        <p:nvSpPr>
          <p:cNvPr id="831718" name="Rectangle 245"/>
          <p:cNvSpPr>
            <a:spLocks noChangeArrowheads="1"/>
          </p:cNvSpPr>
          <p:nvPr/>
        </p:nvSpPr>
        <p:spPr bwMode="auto">
          <a:xfrm>
            <a:off x="5730479" y="3565923"/>
            <a:ext cx="798909" cy="139303"/>
          </a:xfrm>
          <a:prstGeom prst="rect">
            <a:avLst/>
          </a:prstGeom>
          <a:solidFill>
            <a:schemeClr val="accent4"/>
          </a:solidFill>
          <a:ln w="12700" algn="ctr">
            <a:solidFill>
              <a:schemeClr val="bg1"/>
            </a:solidFill>
            <a:miter lim="800000"/>
            <a:headEnd/>
            <a:tailEnd/>
          </a:ln>
        </p:spPr>
        <p:txBody>
          <a:bodyPr wrap="none" lIns="70200" tIns="35100" rIns="70200" bIns="35100" anchor="ctr"/>
          <a:lstStyle/>
          <a:p>
            <a:pPr algn="ctr" defTabSz="685800">
              <a:buClrTx/>
            </a:pPr>
            <a:endParaRPr lang="en-US" sz="1350" kern="1200">
              <a:solidFill>
                <a:prstClr val="black"/>
              </a:solidFill>
              <a:ea typeface="+mn-ea"/>
              <a:cs typeface="+mn-cs"/>
            </a:endParaRPr>
          </a:p>
        </p:txBody>
      </p:sp>
      <p:sp>
        <p:nvSpPr>
          <p:cNvPr id="831719" name="Rectangle 246"/>
          <p:cNvSpPr>
            <a:spLocks noChangeArrowheads="1"/>
          </p:cNvSpPr>
          <p:nvPr/>
        </p:nvSpPr>
        <p:spPr bwMode="auto">
          <a:xfrm>
            <a:off x="6263879" y="3789760"/>
            <a:ext cx="798909" cy="139303"/>
          </a:xfrm>
          <a:prstGeom prst="rect">
            <a:avLst/>
          </a:prstGeom>
          <a:solidFill>
            <a:schemeClr val="accent4"/>
          </a:solidFill>
          <a:ln w="12700" algn="ctr">
            <a:solidFill>
              <a:schemeClr val="bg1"/>
            </a:solidFill>
            <a:miter lim="800000"/>
            <a:headEnd/>
            <a:tailEnd/>
          </a:ln>
        </p:spPr>
        <p:txBody>
          <a:bodyPr wrap="none" lIns="70200" tIns="35100" rIns="70200" bIns="35100" anchor="ctr"/>
          <a:lstStyle/>
          <a:p>
            <a:pPr algn="ctr" defTabSz="685800">
              <a:buClrTx/>
            </a:pPr>
            <a:endParaRPr lang="en-US" sz="1350" kern="1200">
              <a:solidFill>
                <a:prstClr val="black"/>
              </a:solidFill>
              <a:ea typeface="+mn-ea"/>
              <a:cs typeface="+mn-cs"/>
            </a:endParaRPr>
          </a:p>
        </p:txBody>
      </p:sp>
      <p:sp>
        <p:nvSpPr>
          <p:cNvPr id="831720" name="Rectangle 247"/>
          <p:cNvSpPr>
            <a:spLocks noChangeArrowheads="1"/>
          </p:cNvSpPr>
          <p:nvPr/>
        </p:nvSpPr>
        <p:spPr bwMode="auto">
          <a:xfrm>
            <a:off x="6672567" y="4237435"/>
            <a:ext cx="798910" cy="139303"/>
          </a:xfrm>
          <a:prstGeom prst="rect">
            <a:avLst/>
          </a:prstGeom>
          <a:solidFill>
            <a:schemeClr val="accent4"/>
          </a:solidFill>
          <a:ln w="12700" algn="ctr">
            <a:solidFill>
              <a:schemeClr val="bg1"/>
            </a:solidFill>
            <a:miter lim="800000"/>
            <a:headEnd/>
            <a:tailEnd/>
          </a:ln>
        </p:spPr>
        <p:txBody>
          <a:bodyPr wrap="none" lIns="70200" tIns="35100" rIns="70200" bIns="35100" anchor="ctr"/>
          <a:lstStyle/>
          <a:p>
            <a:pPr algn="ctr" defTabSz="685800">
              <a:buClrTx/>
            </a:pPr>
            <a:endParaRPr lang="en-US" sz="1350" kern="1200">
              <a:solidFill>
                <a:prstClr val="black"/>
              </a:solidFill>
              <a:ea typeface="+mn-ea"/>
              <a:cs typeface="+mn-cs"/>
            </a:endParaRPr>
          </a:p>
        </p:txBody>
      </p:sp>
      <p:sp>
        <p:nvSpPr>
          <p:cNvPr id="831721" name="Text Box 251"/>
          <p:cNvSpPr txBox="1">
            <a:spLocks noChangeArrowheads="1"/>
          </p:cNvSpPr>
          <p:nvPr/>
        </p:nvSpPr>
        <p:spPr bwMode="auto">
          <a:xfrm>
            <a:off x="2770460" y="4600575"/>
            <a:ext cx="436018" cy="115416"/>
          </a:xfrm>
          <a:prstGeom prst="rect">
            <a:avLst/>
          </a:prstGeom>
          <a:noFill/>
          <a:ln w="9525" algn="ctr">
            <a:noFill/>
            <a:miter lim="800000"/>
            <a:headEnd/>
            <a:tailEnd/>
          </a:ln>
        </p:spPr>
        <p:txBody>
          <a:bodyPr wrap="none" lIns="0" tIns="0" rIns="0" bIns="0">
            <a:spAutoFit/>
          </a:bodyPr>
          <a:lstStyle/>
          <a:p>
            <a:pPr algn="ctr" defTabSz="685800">
              <a:buClr>
                <a:prstClr val="white"/>
              </a:buClr>
              <a:buSzPct val="100000"/>
              <a:buFontTx/>
              <a:buChar char=" "/>
            </a:pPr>
            <a:r>
              <a:rPr lang="en-US" altLang="ja-JP" sz="750" kern="1200" dirty="0">
                <a:solidFill>
                  <a:srgbClr val="313131"/>
                </a:solidFill>
                <a:ea typeface="ＭＳ Ｐゴシック" charset="-128"/>
                <a:cs typeface="+mn-cs"/>
              </a:rPr>
              <a:t>Milestone</a:t>
            </a:r>
          </a:p>
        </p:txBody>
      </p:sp>
      <p:sp>
        <p:nvSpPr>
          <p:cNvPr id="831722" name="Text Box 252"/>
          <p:cNvSpPr txBox="1">
            <a:spLocks noChangeArrowheads="1"/>
          </p:cNvSpPr>
          <p:nvPr/>
        </p:nvSpPr>
        <p:spPr bwMode="auto">
          <a:xfrm>
            <a:off x="3815234" y="4600575"/>
            <a:ext cx="436018" cy="115416"/>
          </a:xfrm>
          <a:prstGeom prst="rect">
            <a:avLst/>
          </a:prstGeom>
          <a:noFill/>
          <a:ln w="9525" algn="ctr">
            <a:noFill/>
            <a:miter lim="800000"/>
            <a:headEnd/>
            <a:tailEnd/>
          </a:ln>
        </p:spPr>
        <p:txBody>
          <a:bodyPr wrap="none" lIns="0" tIns="0" rIns="0" bIns="0">
            <a:spAutoFit/>
          </a:bodyPr>
          <a:lstStyle/>
          <a:p>
            <a:pPr algn="ctr" defTabSz="685800">
              <a:buClr>
                <a:prstClr val="white"/>
              </a:buClr>
              <a:buSzPct val="100000"/>
              <a:buFontTx/>
              <a:buChar char=" "/>
            </a:pPr>
            <a:r>
              <a:rPr lang="en-US" altLang="ja-JP" sz="750" kern="1200" dirty="0">
                <a:solidFill>
                  <a:srgbClr val="313131"/>
                </a:solidFill>
                <a:ea typeface="ＭＳ Ｐゴシック" charset="-128"/>
                <a:cs typeface="+mn-cs"/>
              </a:rPr>
              <a:t>Milestone</a:t>
            </a:r>
          </a:p>
        </p:txBody>
      </p:sp>
      <p:sp>
        <p:nvSpPr>
          <p:cNvPr id="831723" name="Text Box 253"/>
          <p:cNvSpPr txBox="1">
            <a:spLocks noChangeArrowheads="1"/>
          </p:cNvSpPr>
          <p:nvPr/>
        </p:nvSpPr>
        <p:spPr bwMode="auto">
          <a:xfrm>
            <a:off x="4861198" y="4600575"/>
            <a:ext cx="436018" cy="115416"/>
          </a:xfrm>
          <a:prstGeom prst="rect">
            <a:avLst/>
          </a:prstGeom>
          <a:noFill/>
          <a:ln w="9525" algn="ctr">
            <a:noFill/>
            <a:miter lim="800000"/>
            <a:headEnd/>
            <a:tailEnd/>
          </a:ln>
        </p:spPr>
        <p:txBody>
          <a:bodyPr wrap="none" lIns="0" tIns="0" rIns="0" bIns="0">
            <a:spAutoFit/>
          </a:bodyPr>
          <a:lstStyle/>
          <a:p>
            <a:pPr algn="ctr" defTabSz="685800">
              <a:buClr>
                <a:prstClr val="white"/>
              </a:buClr>
              <a:buSzPct val="100000"/>
              <a:buFontTx/>
              <a:buChar char=" "/>
            </a:pPr>
            <a:r>
              <a:rPr lang="en-US" altLang="ja-JP" sz="750" kern="1200">
                <a:solidFill>
                  <a:srgbClr val="313131"/>
                </a:solidFill>
                <a:ea typeface="ＭＳ Ｐゴシック" charset="-128"/>
                <a:cs typeface="+mn-cs"/>
              </a:rPr>
              <a:t>Milestone</a:t>
            </a:r>
          </a:p>
        </p:txBody>
      </p:sp>
      <p:sp>
        <p:nvSpPr>
          <p:cNvPr id="831724" name="Text Box 254"/>
          <p:cNvSpPr txBox="1">
            <a:spLocks noChangeArrowheads="1"/>
          </p:cNvSpPr>
          <p:nvPr/>
        </p:nvSpPr>
        <p:spPr bwMode="auto">
          <a:xfrm>
            <a:off x="7104335" y="4600575"/>
            <a:ext cx="436018" cy="115416"/>
          </a:xfrm>
          <a:prstGeom prst="rect">
            <a:avLst/>
          </a:prstGeom>
          <a:noFill/>
          <a:ln w="9525" algn="ctr">
            <a:noFill/>
            <a:miter lim="800000"/>
            <a:headEnd/>
            <a:tailEnd/>
          </a:ln>
        </p:spPr>
        <p:txBody>
          <a:bodyPr wrap="none" lIns="0" tIns="0" rIns="0" bIns="0">
            <a:spAutoFit/>
          </a:bodyPr>
          <a:lstStyle/>
          <a:p>
            <a:pPr algn="ctr" defTabSz="685800">
              <a:buClr>
                <a:prstClr val="white"/>
              </a:buClr>
              <a:buSzPct val="100000"/>
              <a:buFontTx/>
              <a:buChar char=" "/>
            </a:pPr>
            <a:r>
              <a:rPr lang="en-US" altLang="ja-JP" sz="750" kern="1200">
                <a:solidFill>
                  <a:srgbClr val="313131"/>
                </a:solidFill>
                <a:ea typeface="ＭＳ Ｐゴシック" charset="-128"/>
                <a:cs typeface="+mn-cs"/>
              </a:rPr>
              <a:t>Milestone</a:t>
            </a:r>
          </a:p>
        </p:txBody>
      </p:sp>
      <p:sp>
        <p:nvSpPr>
          <p:cNvPr id="831725" name="Rectangle 255"/>
          <p:cNvSpPr>
            <a:spLocks noChangeArrowheads="1"/>
          </p:cNvSpPr>
          <p:nvPr/>
        </p:nvSpPr>
        <p:spPr bwMode="gray">
          <a:xfrm rot="2700000">
            <a:off x="2925844" y="4490106"/>
            <a:ext cx="108000" cy="108000"/>
          </a:xfrm>
          <a:prstGeom prst="rect">
            <a:avLst/>
          </a:prstGeom>
          <a:solidFill>
            <a:schemeClr val="accent2"/>
          </a:solidFill>
          <a:ln w="12700" algn="ctr">
            <a:solidFill>
              <a:schemeClr val="bg1"/>
            </a:solidFill>
            <a:miter lim="800000"/>
            <a:headEnd/>
            <a:tailEnd/>
          </a:ln>
        </p:spPr>
        <p:txBody>
          <a:bodyPr/>
          <a:lstStyle/>
          <a:p>
            <a:pPr defTabSz="685800">
              <a:buClrTx/>
            </a:pPr>
            <a:endParaRPr lang="en-US" sz="1350" kern="1200">
              <a:solidFill>
                <a:prstClr val="black"/>
              </a:solidFill>
              <a:ea typeface="+mn-ea"/>
              <a:cs typeface="+mn-cs"/>
            </a:endParaRPr>
          </a:p>
        </p:txBody>
      </p:sp>
      <p:sp>
        <p:nvSpPr>
          <p:cNvPr id="831726" name="Rectangle 256"/>
          <p:cNvSpPr>
            <a:spLocks noChangeArrowheads="1"/>
          </p:cNvSpPr>
          <p:nvPr/>
        </p:nvSpPr>
        <p:spPr bwMode="gray">
          <a:xfrm rot="2700000">
            <a:off x="3971039" y="4489685"/>
            <a:ext cx="108000" cy="108000"/>
          </a:xfrm>
          <a:prstGeom prst="rect">
            <a:avLst/>
          </a:prstGeom>
          <a:solidFill>
            <a:schemeClr val="accent2"/>
          </a:solidFill>
          <a:ln w="12700" algn="ctr">
            <a:solidFill>
              <a:schemeClr val="bg1"/>
            </a:solidFill>
            <a:miter lim="800000"/>
            <a:headEnd/>
            <a:tailEnd/>
          </a:ln>
        </p:spPr>
        <p:txBody>
          <a:bodyPr/>
          <a:lstStyle/>
          <a:p>
            <a:pPr defTabSz="685800">
              <a:buClrTx/>
            </a:pPr>
            <a:endParaRPr lang="en-US" sz="1350" kern="1200">
              <a:solidFill>
                <a:prstClr val="black"/>
              </a:solidFill>
              <a:ea typeface="+mn-ea"/>
              <a:cs typeface="+mn-cs"/>
            </a:endParaRPr>
          </a:p>
        </p:txBody>
      </p:sp>
      <p:sp>
        <p:nvSpPr>
          <p:cNvPr id="831727" name="Rectangle 257"/>
          <p:cNvSpPr>
            <a:spLocks noChangeArrowheads="1"/>
          </p:cNvSpPr>
          <p:nvPr/>
        </p:nvSpPr>
        <p:spPr bwMode="gray">
          <a:xfrm rot="2700000">
            <a:off x="5017598" y="4489685"/>
            <a:ext cx="108000" cy="108000"/>
          </a:xfrm>
          <a:prstGeom prst="rect">
            <a:avLst/>
          </a:prstGeom>
          <a:solidFill>
            <a:schemeClr val="accent2"/>
          </a:solidFill>
          <a:ln w="12700" algn="ctr">
            <a:solidFill>
              <a:schemeClr val="bg1"/>
            </a:solidFill>
            <a:miter lim="800000"/>
            <a:headEnd/>
            <a:tailEnd/>
          </a:ln>
        </p:spPr>
        <p:txBody>
          <a:bodyPr/>
          <a:lstStyle/>
          <a:p>
            <a:pPr defTabSz="685800">
              <a:buClrTx/>
            </a:pPr>
            <a:endParaRPr lang="en-US" sz="1350" kern="1200">
              <a:solidFill>
                <a:prstClr val="black"/>
              </a:solidFill>
              <a:ea typeface="+mn-ea"/>
              <a:cs typeface="+mn-cs"/>
            </a:endParaRPr>
          </a:p>
        </p:txBody>
      </p:sp>
      <p:sp>
        <p:nvSpPr>
          <p:cNvPr id="831728" name="Rectangle 258"/>
          <p:cNvSpPr>
            <a:spLocks noChangeArrowheads="1"/>
          </p:cNvSpPr>
          <p:nvPr/>
        </p:nvSpPr>
        <p:spPr bwMode="gray">
          <a:xfrm rot="2700000">
            <a:off x="7260736" y="4489685"/>
            <a:ext cx="108000" cy="108000"/>
          </a:xfrm>
          <a:prstGeom prst="rect">
            <a:avLst/>
          </a:prstGeom>
          <a:solidFill>
            <a:schemeClr val="accent2"/>
          </a:solidFill>
          <a:ln w="12700" algn="ctr">
            <a:solidFill>
              <a:schemeClr val="bg1"/>
            </a:solidFill>
            <a:miter lim="800000"/>
            <a:headEnd/>
            <a:tailEnd/>
          </a:ln>
        </p:spPr>
        <p:txBody>
          <a:bodyPr/>
          <a:lstStyle/>
          <a:p>
            <a:pPr defTabSz="685800">
              <a:buClrTx/>
            </a:pPr>
            <a:endParaRPr lang="en-US" sz="1350" kern="1200">
              <a:solidFill>
                <a:prstClr val="black"/>
              </a:solidFill>
              <a:ea typeface="+mn-ea"/>
              <a:cs typeface="+mn-cs"/>
            </a:endParaRPr>
          </a:p>
        </p:txBody>
      </p:sp>
      <p:sp>
        <p:nvSpPr>
          <p:cNvPr id="24" name="Rectangle 259"/>
          <p:cNvSpPr>
            <a:spLocks noChangeArrowheads="1"/>
          </p:cNvSpPr>
          <p:nvPr/>
        </p:nvSpPr>
        <p:spPr bwMode="gray">
          <a:xfrm>
            <a:off x="5416153" y="3955"/>
            <a:ext cx="2584847" cy="754091"/>
          </a:xfrm>
          <a:prstGeom prst="rect">
            <a:avLst/>
          </a:prstGeom>
          <a:solidFill>
            <a:schemeClr val="accent6"/>
          </a:solidFill>
          <a:ln w="12700" algn="ctr">
            <a:solidFill>
              <a:schemeClr val="bg1"/>
            </a:solidFill>
            <a:miter lim="800000"/>
            <a:headEnd/>
            <a:tailEnd/>
          </a:ln>
        </p:spPr>
        <p:txBody>
          <a:bodyPr lIns="40500" tIns="40500" rIns="40500" bIns="40500" anchor="ctr">
            <a:spAutoFit/>
          </a:bodyPr>
          <a:lstStyle/>
          <a:p>
            <a:pPr marL="86916" indent="-86916" defTabSz="685800">
              <a:lnSpc>
                <a:spcPct val="106000"/>
              </a:lnSpc>
              <a:spcBef>
                <a:spcPct val="30000"/>
              </a:spcBef>
              <a:buClrTx/>
              <a:buFont typeface="Arial" pitchFamily="34" charset="0"/>
              <a:buChar char="•"/>
              <a:defRPr/>
            </a:pPr>
            <a:r>
              <a:rPr lang="en-US" sz="750" kern="1200">
                <a:solidFill>
                  <a:srgbClr val="313131"/>
                </a:solidFill>
                <a:ea typeface="+mn-ea"/>
                <a:cs typeface="+mn-cs"/>
              </a:rPr>
              <a:t>This is a PowerPoint table</a:t>
            </a:r>
          </a:p>
          <a:p>
            <a:pPr marL="86916" indent="-86916" defTabSz="685800">
              <a:lnSpc>
                <a:spcPct val="106000"/>
              </a:lnSpc>
              <a:spcBef>
                <a:spcPct val="30000"/>
              </a:spcBef>
              <a:buClrTx/>
              <a:buFont typeface="Arial" pitchFamily="34" charset="0"/>
              <a:buChar char="•"/>
              <a:defRPr/>
            </a:pPr>
            <a:r>
              <a:rPr lang="en-US" sz="750" kern="1200">
                <a:solidFill>
                  <a:srgbClr val="313131"/>
                </a:solidFill>
                <a:ea typeface="+mn-ea"/>
                <a:cs typeface="+mn-cs"/>
              </a:rPr>
              <a:t>Add or delete columns and rows where appropriate</a:t>
            </a:r>
          </a:p>
          <a:p>
            <a:pPr marL="86916" indent="-86916" defTabSz="685800">
              <a:lnSpc>
                <a:spcPct val="106000"/>
              </a:lnSpc>
              <a:spcBef>
                <a:spcPct val="30000"/>
              </a:spcBef>
              <a:buClrTx/>
              <a:buFont typeface="Arial" pitchFamily="34" charset="0"/>
              <a:buChar char="•"/>
              <a:defRPr/>
            </a:pPr>
            <a:r>
              <a:rPr lang="en-US" sz="750" kern="1200">
                <a:solidFill>
                  <a:srgbClr val="313131"/>
                </a:solidFill>
                <a:ea typeface="+mn-ea"/>
                <a:cs typeface="+mn-cs"/>
              </a:rPr>
              <a:t>Use Distribute Columns Evenly and Distribute Rows Evenly in Layout ribbon to keep columns and rows equal in width</a:t>
            </a:r>
            <a:endParaRPr lang="en-US" sz="750" kern="1200" dirty="0">
              <a:solidFill>
                <a:srgbClr val="313131"/>
              </a:solidFill>
              <a:ea typeface="+mn-ea"/>
              <a:cs typeface="+mn-cs"/>
            </a:endParaRPr>
          </a:p>
        </p:txBody>
      </p:sp>
    </p:spTree>
  </p:cSld>
  <p:clrMapOvr>
    <a:masterClrMapping/>
  </p:clrMapOvr>
  <p:transition>
    <p:fade/>
  </p:transition>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2513" name="Title 1"/>
          <p:cNvSpPr>
            <a:spLocks noGrp="1"/>
          </p:cNvSpPr>
          <p:nvPr>
            <p:ph type="title"/>
          </p:nvPr>
        </p:nvSpPr>
        <p:spPr/>
        <p:txBody>
          <a:bodyPr/>
          <a:lstStyle/>
          <a:p>
            <a:r>
              <a:rPr lang="en-US"/>
              <a:t>Calender</a:t>
            </a:r>
          </a:p>
        </p:txBody>
      </p:sp>
      <p:graphicFrame>
        <p:nvGraphicFramePr>
          <p:cNvPr id="5" name="Group 3"/>
          <p:cNvGraphicFramePr>
            <a:graphicFrameLocks noGrp="1"/>
          </p:cNvGraphicFramePr>
          <p:nvPr/>
        </p:nvGraphicFramePr>
        <p:xfrm>
          <a:off x="1431131" y="1253729"/>
          <a:ext cx="6182091" cy="3203974"/>
        </p:xfrm>
        <a:graphic>
          <a:graphicData uri="http://schemas.openxmlformats.org/drawingml/2006/table">
            <a:tbl>
              <a:tblPr/>
              <a:tblGrid>
                <a:gridCol w="900113">
                  <a:extLst>
                    <a:ext uri="{9D8B030D-6E8A-4147-A177-3AD203B41FA5}">
                      <a16:colId xmlns:a16="http://schemas.microsoft.com/office/drawing/2014/main" val="20000"/>
                    </a:ext>
                  </a:extLst>
                </a:gridCol>
                <a:gridCol w="1044086">
                  <a:extLst>
                    <a:ext uri="{9D8B030D-6E8A-4147-A177-3AD203B41FA5}">
                      <a16:colId xmlns:a16="http://schemas.microsoft.com/office/drawing/2014/main" val="20001"/>
                    </a:ext>
                  </a:extLst>
                </a:gridCol>
                <a:gridCol w="1069364">
                  <a:extLst>
                    <a:ext uri="{9D8B030D-6E8A-4147-A177-3AD203B41FA5}">
                      <a16:colId xmlns:a16="http://schemas.microsoft.com/office/drawing/2014/main" val="20002"/>
                    </a:ext>
                  </a:extLst>
                </a:gridCol>
                <a:gridCol w="1055077">
                  <a:extLst>
                    <a:ext uri="{9D8B030D-6E8A-4147-A177-3AD203B41FA5}">
                      <a16:colId xmlns:a16="http://schemas.microsoft.com/office/drawing/2014/main" val="20003"/>
                    </a:ext>
                  </a:extLst>
                </a:gridCol>
                <a:gridCol w="1058375">
                  <a:extLst>
                    <a:ext uri="{9D8B030D-6E8A-4147-A177-3AD203B41FA5}">
                      <a16:colId xmlns:a16="http://schemas.microsoft.com/office/drawing/2014/main" val="20004"/>
                    </a:ext>
                  </a:extLst>
                </a:gridCol>
                <a:gridCol w="1055077">
                  <a:extLst>
                    <a:ext uri="{9D8B030D-6E8A-4147-A177-3AD203B41FA5}">
                      <a16:colId xmlns:a16="http://schemas.microsoft.com/office/drawing/2014/main" val="20005"/>
                    </a:ext>
                  </a:extLst>
                </a:gridCol>
              </a:tblGrid>
              <a:tr h="333375">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800" b="1" i="0" u="none" strike="noStrike" cap="none" normalizeH="0" baseline="0" dirty="0">
                        <a:ln>
                          <a:noFill/>
                        </a:ln>
                        <a:solidFill>
                          <a:srgbClr val="575757"/>
                        </a:solidFill>
                        <a:effectLst/>
                        <a:latin typeface="Arial" charset="0"/>
                      </a:endParaRP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Monday</a:t>
                      </a: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Tuesday</a:t>
                      </a: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Wednesday</a:t>
                      </a: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Thursday</a:t>
                      </a: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Friday</a:t>
                      </a: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70310">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Week #</a:t>
                      </a: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bg1"/>
                        </a:solidFill>
                        <a:effectLst/>
                        <a:latin typeface="Arial" charset="0"/>
                      </a:endParaRP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chemeClr val="bg1"/>
                        </a:solidFill>
                        <a:effectLst/>
                        <a:latin typeface="Arial" charset="0"/>
                      </a:endParaRP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chemeClr val="bg1"/>
                        </a:solidFill>
                        <a:effectLst/>
                        <a:latin typeface="Arial" charset="0"/>
                      </a:endParaRP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chemeClr val="bg1"/>
                        </a:solidFill>
                        <a:effectLst/>
                        <a:latin typeface="Arial" charset="0"/>
                      </a:endParaRP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575757"/>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chemeClr val="bg1"/>
                        </a:solidFill>
                        <a:effectLst/>
                        <a:latin typeface="Arial" charset="0"/>
                      </a:endParaRP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575757"/>
                    </a:solidFill>
                  </a:tcPr>
                </a:tc>
                <a:extLst>
                  <a:ext uri="{0D108BD9-81ED-4DB2-BD59-A6C34878D82A}">
                    <a16:rowId xmlns:a16="http://schemas.microsoft.com/office/drawing/2014/main" val="10001"/>
                  </a:ext>
                </a:extLst>
              </a:tr>
              <a:tr h="5750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1" i="0" u="none" strike="noStrike" cap="none" normalizeH="0" baseline="0">
                          <a:ln>
                            <a:noFill/>
                          </a:ln>
                          <a:solidFill>
                            <a:srgbClr val="313131"/>
                          </a:solidFill>
                          <a:effectLst/>
                          <a:latin typeface="Arial" charset="0"/>
                        </a:rPr>
                        <a:t>Week #</a:t>
                      </a:r>
                      <a:endParaRPr kumimoji="0" lang="en-US" sz="800" b="1" i="0" u="none" strike="noStrike" cap="none" normalizeH="0" baseline="0" dirty="0">
                        <a:ln>
                          <a:noFill/>
                        </a:ln>
                        <a:solidFill>
                          <a:srgbClr val="313131"/>
                        </a:solidFill>
                        <a:effectLst/>
                        <a:latin typeface="Arial" charset="0"/>
                      </a:endParaRP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bg1"/>
                        </a:solidFill>
                        <a:effectLst/>
                        <a:latin typeface="Arial" charset="0"/>
                      </a:endParaRP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chemeClr val="bg1"/>
                        </a:solidFill>
                        <a:effectLst/>
                        <a:latin typeface="Arial" charset="0"/>
                      </a:endParaRP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chemeClr val="bg1"/>
                        </a:solidFill>
                        <a:effectLst/>
                        <a:latin typeface="Arial" charset="0"/>
                      </a:endParaRP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chemeClr val="bg1"/>
                        </a:solidFill>
                        <a:effectLst/>
                        <a:latin typeface="Arial" charset="0"/>
                      </a:endParaRP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chemeClr val="bg1"/>
                        </a:solidFill>
                        <a:effectLst/>
                        <a:latin typeface="Arial" charset="0"/>
                      </a:endParaRP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extLst>
                  <a:ext uri="{0D108BD9-81ED-4DB2-BD59-A6C34878D82A}">
                    <a16:rowId xmlns:a16="http://schemas.microsoft.com/office/drawing/2014/main" val="10002"/>
                  </a:ext>
                </a:extLst>
              </a:tr>
              <a:tr h="5750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1" i="0" u="none" strike="noStrike" cap="none" normalizeH="0" baseline="0">
                          <a:ln>
                            <a:noFill/>
                          </a:ln>
                          <a:solidFill>
                            <a:srgbClr val="313131"/>
                          </a:solidFill>
                          <a:effectLst/>
                          <a:latin typeface="Arial" charset="0"/>
                        </a:rPr>
                        <a:t>Week #</a:t>
                      </a:r>
                      <a:endParaRPr kumimoji="0" lang="en-US" sz="800" b="1" i="0" u="none" strike="noStrike" cap="none" normalizeH="0" baseline="0" dirty="0">
                        <a:ln>
                          <a:noFill/>
                        </a:ln>
                        <a:solidFill>
                          <a:srgbClr val="313131"/>
                        </a:solidFill>
                        <a:effectLst/>
                        <a:latin typeface="Arial" charset="0"/>
                      </a:endParaRP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bg1"/>
                        </a:solidFill>
                        <a:effectLst/>
                        <a:latin typeface="Arial" charset="0"/>
                      </a:endParaRP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chemeClr val="bg1"/>
                        </a:solidFill>
                        <a:effectLst/>
                        <a:latin typeface="Arial" charset="0"/>
                      </a:endParaRP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chemeClr val="bg1"/>
                        </a:solidFill>
                        <a:effectLst/>
                        <a:latin typeface="Arial" charset="0"/>
                      </a:endParaRP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chemeClr val="bg1"/>
                        </a:solidFill>
                        <a:effectLst/>
                        <a:latin typeface="Arial" charset="0"/>
                      </a:endParaRP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chemeClr val="bg1"/>
                        </a:solidFill>
                        <a:effectLst/>
                        <a:latin typeface="Arial" charset="0"/>
                      </a:endParaRP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extLst>
                  <a:ext uri="{0D108BD9-81ED-4DB2-BD59-A6C34878D82A}">
                    <a16:rowId xmlns:a16="http://schemas.microsoft.com/office/drawing/2014/main" val="10003"/>
                  </a:ext>
                </a:extLst>
              </a:tr>
              <a:tr h="5750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1" i="0" u="none" strike="noStrike" cap="none" normalizeH="0" baseline="0">
                          <a:ln>
                            <a:noFill/>
                          </a:ln>
                          <a:solidFill>
                            <a:srgbClr val="313131"/>
                          </a:solidFill>
                          <a:effectLst/>
                          <a:latin typeface="Arial" charset="0"/>
                        </a:rPr>
                        <a:t>Week #</a:t>
                      </a:r>
                      <a:endParaRPr kumimoji="0" lang="en-US" sz="800" b="1" i="0" u="none" strike="noStrike" cap="none" normalizeH="0" baseline="0" dirty="0">
                        <a:ln>
                          <a:noFill/>
                        </a:ln>
                        <a:solidFill>
                          <a:srgbClr val="313131"/>
                        </a:solidFill>
                        <a:effectLst/>
                        <a:latin typeface="Arial" charset="0"/>
                      </a:endParaRP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bg1"/>
                        </a:solidFill>
                        <a:effectLst/>
                        <a:latin typeface="Arial" charset="0"/>
                      </a:endParaRP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chemeClr val="bg1"/>
                        </a:solidFill>
                        <a:effectLst/>
                        <a:latin typeface="Arial" charset="0"/>
                      </a:endParaRP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chemeClr val="bg1"/>
                        </a:solidFill>
                        <a:effectLst/>
                        <a:latin typeface="Arial" charset="0"/>
                      </a:endParaRP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chemeClr val="bg1"/>
                        </a:solidFill>
                        <a:effectLst/>
                        <a:latin typeface="Arial" charset="0"/>
                      </a:endParaRP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chemeClr val="bg1"/>
                        </a:solidFill>
                        <a:effectLst/>
                        <a:latin typeface="Arial" charset="0"/>
                      </a:endParaRP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extLst>
                  <a:ext uri="{0D108BD9-81ED-4DB2-BD59-A6C34878D82A}">
                    <a16:rowId xmlns:a16="http://schemas.microsoft.com/office/drawing/2014/main" val="10004"/>
                  </a:ext>
                </a:extLst>
              </a:tr>
              <a:tr h="5750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Week #</a:t>
                      </a: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bg1"/>
                        </a:solidFill>
                        <a:effectLst/>
                        <a:latin typeface="Arial" charset="0"/>
                      </a:endParaRP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chemeClr val="bg1"/>
                        </a:solidFill>
                        <a:effectLst/>
                        <a:latin typeface="Arial" charset="0"/>
                      </a:endParaRP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chemeClr val="bg1"/>
                        </a:solidFill>
                        <a:effectLst/>
                        <a:latin typeface="Arial" charset="0"/>
                      </a:endParaRP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chemeClr val="bg1"/>
                        </a:solidFill>
                        <a:effectLst/>
                        <a:latin typeface="Arial" charset="0"/>
                      </a:endParaRP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B4B4B4"/>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chemeClr val="bg1"/>
                        </a:solidFill>
                        <a:effectLst/>
                        <a:latin typeface="Arial" charset="0"/>
                      </a:endParaRPr>
                    </a:p>
                  </a:txBody>
                  <a:tcPr marL="27000" marR="27000" marT="27000" marB="27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6" name="Rectangle 54"/>
          <p:cNvSpPr>
            <a:spLocks noChangeArrowheads="1"/>
          </p:cNvSpPr>
          <p:nvPr/>
        </p:nvSpPr>
        <p:spPr bwMode="auto">
          <a:xfrm>
            <a:off x="5361468" y="1"/>
            <a:ext cx="2639533" cy="600164"/>
          </a:xfrm>
          <a:prstGeom prst="rect">
            <a:avLst/>
          </a:prstGeom>
          <a:solidFill>
            <a:schemeClr val="accent6"/>
          </a:solidFill>
          <a:ln w="6350" algn="ctr">
            <a:solidFill>
              <a:schemeClr val="bg1"/>
            </a:solidFill>
            <a:miter lim="800000"/>
            <a:headEnd/>
            <a:tailEnd/>
          </a:ln>
        </p:spPr>
        <p:txBody>
          <a:bodyPr wrap="square" tIns="68580" bIns="68580">
            <a:spAutoFit/>
          </a:bodyPr>
          <a:lstStyle/>
          <a:p>
            <a:pPr defTabSz="685800">
              <a:buClrTx/>
              <a:defRPr/>
            </a:pPr>
            <a:r>
              <a:rPr lang="en-US" altLang="ja-JP" sz="750" kern="1200">
                <a:solidFill>
                  <a:srgbClr val="313131"/>
                </a:solidFill>
                <a:ea typeface="ＭＳ Ｐゴシック" pitchFamily="50" charset="-128"/>
                <a:cs typeface="+mn-cs"/>
              </a:rPr>
              <a:t>Tip! This is a table. Change cell colors as appropriate. Use Distribute Columns Evenly and Distribute Rows Evenly in Layout ribbon to keep equal column and row widths. Enter events, like meeting dates, in the cells</a:t>
            </a:r>
            <a:endParaRPr lang="en-US" sz="750" kern="1200" dirty="0">
              <a:solidFill>
                <a:srgbClr val="313131"/>
              </a:solidFill>
              <a:ea typeface="ＭＳ Ｐゴシック" pitchFamily="50" charset="-128"/>
              <a:cs typeface="+mn-cs"/>
            </a:endParaRPr>
          </a:p>
        </p:txBody>
      </p:sp>
      <p:sp>
        <p:nvSpPr>
          <p:cNvPr id="7" name="Text Placeholder 12"/>
          <p:cNvSpPr>
            <a:spLocks/>
          </p:cNvSpPr>
          <p:nvPr>
            <p:custDataLst>
              <p:tags r:id="rId1"/>
            </p:custDataLst>
          </p:nvPr>
        </p:nvSpPr>
        <p:spPr bwMode="auto">
          <a:xfrm>
            <a:off x="1440656" y="842963"/>
            <a:ext cx="1041952"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ext goes here</a:t>
            </a:r>
          </a:p>
        </p:txBody>
      </p:sp>
      <p:sp>
        <p:nvSpPr>
          <p:cNvPr id="22" name="Rectangle 47"/>
          <p:cNvSpPr>
            <a:spLocks noChangeArrowheads="1"/>
          </p:cNvSpPr>
          <p:nvPr>
            <p:custDataLst>
              <p:tags r:id="rId2"/>
            </p:custDataLst>
          </p:nvPr>
        </p:nvSpPr>
        <p:spPr bwMode="auto">
          <a:xfrm>
            <a:off x="3829050" y="4608121"/>
            <a:ext cx="100013" cy="108347"/>
          </a:xfrm>
          <a:prstGeom prst="rect">
            <a:avLst/>
          </a:prstGeom>
          <a:solidFill>
            <a:srgbClr val="575757"/>
          </a:solidFill>
          <a:ln w="12700" algn="ctr">
            <a:solidFill>
              <a:schemeClr val="bg1"/>
            </a:solidFill>
            <a:miter lim="800000"/>
            <a:headEnd/>
            <a:tailEnd/>
          </a:ln>
        </p:spPr>
        <p:txBody>
          <a:bodyPr wrap="square" lIns="27000" tIns="27000" rIns="27000" bIns="27000" anchor="ctr"/>
          <a:lstStyle/>
          <a:p>
            <a:pPr algn="ctr" defTabSz="685800">
              <a:buClrTx/>
            </a:pPr>
            <a:endParaRPr lang="en-US" sz="900" kern="1200">
              <a:solidFill>
                <a:prstClr val="white"/>
              </a:solidFill>
              <a:ea typeface="+mn-ea"/>
              <a:cs typeface="+mn-cs"/>
            </a:endParaRPr>
          </a:p>
        </p:txBody>
      </p:sp>
      <p:sp>
        <p:nvSpPr>
          <p:cNvPr id="23" name="Text Box 48"/>
          <p:cNvSpPr txBox="1">
            <a:spLocks noChangeArrowheads="1"/>
          </p:cNvSpPr>
          <p:nvPr>
            <p:custDataLst>
              <p:tags r:id="rId3"/>
            </p:custDataLst>
          </p:nvPr>
        </p:nvSpPr>
        <p:spPr bwMode="auto">
          <a:xfrm>
            <a:off x="5330428" y="4604586"/>
            <a:ext cx="1192634" cy="115416"/>
          </a:xfrm>
          <a:prstGeom prst="rect">
            <a:avLst/>
          </a:prstGeom>
          <a:noFill/>
          <a:ln w="6350" algn="ctr">
            <a:noFill/>
            <a:miter lim="800000"/>
            <a:headEnd/>
            <a:tailEnd/>
          </a:ln>
        </p:spPr>
        <p:txBody>
          <a:bodyPr wrap="none" lIns="0" tIns="0" rIns="0" bIns="0" anchor="ctr">
            <a:spAutoFit/>
          </a:bodyPr>
          <a:lstStyle/>
          <a:p>
            <a:pPr defTabSz="685800">
              <a:buClrTx/>
            </a:pPr>
            <a:r>
              <a:rPr lang="en-US" sz="750" kern="1200" dirty="0">
                <a:solidFill>
                  <a:srgbClr val="313131"/>
                </a:solidFill>
                <a:ea typeface="ＭＳ Ｐゴシック" charset="-128"/>
                <a:cs typeface="+mn-cs"/>
              </a:rPr>
              <a:t>Steering committee meeting</a:t>
            </a:r>
          </a:p>
        </p:txBody>
      </p:sp>
      <p:sp>
        <p:nvSpPr>
          <p:cNvPr id="24" name="Rectangle 49"/>
          <p:cNvSpPr>
            <a:spLocks noChangeArrowheads="1"/>
          </p:cNvSpPr>
          <p:nvPr>
            <p:custDataLst>
              <p:tags r:id="rId4"/>
            </p:custDataLst>
          </p:nvPr>
        </p:nvSpPr>
        <p:spPr bwMode="auto">
          <a:xfrm>
            <a:off x="5200650" y="4608121"/>
            <a:ext cx="100013" cy="108347"/>
          </a:xfrm>
          <a:prstGeom prst="rect">
            <a:avLst/>
          </a:prstGeom>
          <a:solidFill>
            <a:srgbClr val="81BC00"/>
          </a:solidFill>
          <a:ln w="12700" algn="ctr">
            <a:solidFill>
              <a:schemeClr val="bg1"/>
            </a:solidFill>
            <a:miter lim="800000"/>
            <a:headEnd/>
            <a:tailEnd/>
          </a:ln>
        </p:spPr>
        <p:txBody>
          <a:bodyPr wrap="square" lIns="27000" tIns="27000" rIns="27000" bIns="27000" anchor="ctr"/>
          <a:lstStyle/>
          <a:p>
            <a:pPr algn="ctr" defTabSz="685800">
              <a:buClrTx/>
            </a:pPr>
            <a:endParaRPr lang="en-US" sz="900" kern="1200">
              <a:solidFill>
                <a:prstClr val="white"/>
              </a:solidFill>
              <a:ea typeface="ＭＳ Ｐゴシック" charset="-128"/>
              <a:cs typeface="+mn-cs"/>
            </a:endParaRPr>
          </a:p>
        </p:txBody>
      </p:sp>
      <p:sp>
        <p:nvSpPr>
          <p:cNvPr id="25" name="Rectangle 50"/>
          <p:cNvSpPr>
            <a:spLocks noChangeArrowheads="1"/>
          </p:cNvSpPr>
          <p:nvPr>
            <p:custDataLst>
              <p:tags r:id="rId5"/>
            </p:custDataLst>
          </p:nvPr>
        </p:nvSpPr>
        <p:spPr bwMode="auto">
          <a:xfrm>
            <a:off x="6838861" y="4608121"/>
            <a:ext cx="100013" cy="108347"/>
          </a:xfrm>
          <a:prstGeom prst="rect">
            <a:avLst/>
          </a:prstGeom>
          <a:solidFill>
            <a:srgbClr val="B4B4B4"/>
          </a:solidFill>
          <a:ln w="12700" algn="ctr">
            <a:solidFill>
              <a:schemeClr val="bg1"/>
            </a:solidFill>
            <a:miter lim="800000"/>
            <a:headEnd/>
            <a:tailEnd/>
          </a:ln>
        </p:spPr>
        <p:txBody>
          <a:bodyPr wrap="square" lIns="27000" tIns="27000" rIns="27000" bIns="27000" anchor="ctr"/>
          <a:lstStyle/>
          <a:p>
            <a:pPr algn="ctr" defTabSz="685800">
              <a:buClrTx/>
              <a:defRPr/>
            </a:pPr>
            <a:endParaRPr lang="en-US" sz="900" kern="1200" dirty="0">
              <a:solidFill>
                <a:prstClr val="white"/>
              </a:solidFill>
              <a:ea typeface="+mn-ea"/>
              <a:cs typeface="+mn-cs"/>
            </a:endParaRPr>
          </a:p>
        </p:txBody>
      </p:sp>
      <p:sp>
        <p:nvSpPr>
          <p:cNvPr id="26" name="Text Box 51"/>
          <p:cNvSpPr txBox="1">
            <a:spLocks noChangeArrowheads="1"/>
          </p:cNvSpPr>
          <p:nvPr>
            <p:custDataLst>
              <p:tags r:id="rId6"/>
            </p:custDataLst>
          </p:nvPr>
        </p:nvSpPr>
        <p:spPr bwMode="auto">
          <a:xfrm>
            <a:off x="6956734" y="4604586"/>
            <a:ext cx="621965" cy="115416"/>
          </a:xfrm>
          <a:prstGeom prst="rect">
            <a:avLst/>
          </a:prstGeom>
          <a:noFill/>
          <a:ln w="6350" algn="ctr">
            <a:noFill/>
            <a:miter lim="800000"/>
            <a:headEnd/>
            <a:tailEnd/>
          </a:ln>
        </p:spPr>
        <p:txBody>
          <a:bodyPr wrap="none" lIns="0" tIns="0" rIns="0" bIns="0" anchor="ctr">
            <a:spAutoFit/>
          </a:bodyPr>
          <a:lstStyle/>
          <a:p>
            <a:pPr defTabSz="685800">
              <a:buClrTx/>
            </a:pPr>
            <a:r>
              <a:rPr lang="en-US" sz="750" kern="1200" dirty="0">
                <a:solidFill>
                  <a:srgbClr val="313131"/>
                </a:solidFill>
                <a:ea typeface="ＭＳ Ｐゴシック" charset="-128"/>
                <a:cs typeface="+mn-cs"/>
              </a:rPr>
              <a:t>Board meeting</a:t>
            </a:r>
          </a:p>
        </p:txBody>
      </p:sp>
      <p:sp>
        <p:nvSpPr>
          <p:cNvPr id="27" name="Text Box 184"/>
          <p:cNvSpPr txBox="1">
            <a:spLocks noChangeArrowheads="1"/>
          </p:cNvSpPr>
          <p:nvPr>
            <p:custDataLst>
              <p:tags r:id="rId7"/>
            </p:custDataLst>
          </p:nvPr>
        </p:nvSpPr>
        <p:spPr bwMode="auto">
          <a:xfrm>
            <a:off x="3952875" y="4604586"/>
            <a:ext cx="989053" cy="115416"/>
          </a:xfrm>
          <a:prstGeom prst="rect">
            <a:avLst/>
          </a:prstGeom>
          <a:noFill/>
          <a:ln w="6350" algn="ctr">
            <a:noFill/>
            <a:miter lim="800000"/>
            <a:headEnd/>
            <a:tailEnd/>
          </a:ln>
        </p:spPr>
        <p:txBody>
          <a:bodyPr wrap="none" lIns="0" tIns="0" rIns="0" bIns="0" anchor="ctr">
            <a:spAutoFit/>
          </a:bodyPr>
          <a:lstStyle/>
          <a:p>
            <a:pPr defTabSz="685800">
              <a:buClrTx/>
            </a:pPr>
            <a:r>
              <a:rPr lang="en-US" sz="750" kern="1200" dirty="0">
                <a:solidFill>
                  <a:srgbClr val="313131"/>
                </a:solidFill>
                <a:ea typeface="ＭＳ Ｐゴシック" charset="-128"/>
                <a:cs typeface="+mn-cs"/>
              </a:rPr>
              <a:t>Working group meeting</a:t>
            </a:r>
          </a:p>
        </p:txBody>
      </p:sp>
    </p:spTree>
  </p:cSld>
  <p:clrMapOvr>
    <a:masterClrMapping/>
  </p:clrMapOvr>
  <p:transition>
    <p:fade/>
  </p:transition>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1602" name="Rectangle 2" hidden="1"/>
          <p:cNvGraphicFramePr>
            <a:graphicFrameLocks/>
          </p:cNvGraphicFramePr>
          <p:nvPr>
            <p:custDataLst>
              <p:tags r:id="rId1"/>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17" imgW="0" imgH="0" progId="">
                  <p:embed/>
                </p:oleObj>
              </mc:Choice>
              <mc:Fallback>
                <p:oleObj name="think-cell Slide" r:id="rId17" imgW="0" imgH="0" progId="">
                  <p:embed/>
                  <p:pic>
                    <p:nvPicPr>
                      <p:cNvPr id="281602"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 name="Group 3"/>
          <p:cNvGraphicFramePr>
            <a:graphicFrameLocks noGrp="1"/>
          </p:cNvGraphicFramePr>
          <p:nvPr>
            <p:custDataLst>
              <p:tags r:id="rId2"/>
            </p:custDataLst>
          </p:nvPr>
        </p:nvGraphicFramePr>
        <p:xfrm>
          <a:off x="1438275" y="1032272"/>
          <a:ext cx="2997994" cy="1621634"/>
        </p:xfrm>
        <a:graphic>
          <a:graphicData uri="http://schemas.openxmlformats.org/drawingml/2006/table">
            <a:tbl>
              <a:tblPr/>
              <a:tblGrid>
                <a:gridCol w="592412">
                  <a:extLst>
                    <a:ext uri="{9D8B030D-6E8A-4147-A177-3AD203B41FA5}">
                      <a16:colId xmlns:a16="http://schemas.microsoft.com/office/drawing/2014/main" val="20000"/>
                    </a:ext>
                  </a:extLst>
                </a:gridCol>
                <a:gridCol w="607483">
                  <a:extLst>
                    <a:ext uri="{9D8B030D-6E8A-4147-A177-3AD203B41FA5}">
                      <a16:colId xmlns:a16="http://schemas.microsoft.com/office/drawing/2014/main" val="20001"/>
                    </a:ext>
                  </a:extLst>
                </a:gridCol>
                <a:gridCol w="598208">
                  <a:extLst>
                    <a:ext uri="{9D8B030D-6E8A-4147-A177-3AD203B41FA5}">
                      <a16:colId xmlns:a16="http://schemas.microsoft.com/office/drawing/2014/main" val="20002"/>
                    </a:ext>
                  </a:extLst>
                </a:gridCol>
                <a:gridCol w="600526">
                  <a:extLst>
                    <a:ext uri="{9D8B030D-6E8A-4147-A177-3AD203B41FA5}">
                      <a16:colId xmlns:a16="http://schemas.microsoft.com/office/drawing/2014/main" val="20003"/>
                    </a:ext>
                  </a:extLst>
                </a:gridCol>
                <a:gridCol w="599366">
                  <a:extLst>
                    <a:ext uri="{9D8B030D-6E8A-4147-A177-3AD203B41FA5}">
                      <a16:colId xmlns:a16="http://schemas.microsoft.com/office/drawing/2014/main" val="20004"/>
                    </a:ext>
                  </a:extLst>
                </a:gridCol>
              </a:tblGrid>
              <a:tr h="270272">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M</a:t>
                      </a: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1" i="0" u="none" strike="noStrike" cap="none" normalizeH="0" baseline="0" dirty="0">
                          <a:ln>
                            <a:noFill/>
                          </a:ln>
                          <a:solidFill>
                            <a:srgbClr val="313131"/>
                          </a:solidFill>
                          <a:effectLst/>
                          <a:latin typeface="Arial" charset="0"/>
                        </a:rPr>
                        <a:t>T</a:t>
                      </a: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1" i="0" u="none" strike="noStrike" cap="none" normalizeH="0" baseline="0" dirty="0">
                          <a:ln>
                            <a:noFill/>
                          </a:ln>
                          <a:solidFill>
                            <a:srgbClr val="313131"/>
                          </a:solidFill>
                          <a:effectLst/>
                          <a:latin typeface="Arial" charset="0"/>
                        </a:rPr>
                        <a:t>W</a:t>
                      </a: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1" i="0" u="none" strike="noStrike" cap="none" normalizeH="0" baseline="0">
                          <a:ln>
                            <a:noFill/>
                          </a:ln>
                          <a:solidFill>
                            <a:srgbClr val="313131"/>
                          </a:solidFill>
                          <a:effectLst/>
                          <a:latin typeface="Arial" charset="0"/>
                        </a:rPr>
                        <a:t>T</a:t>
                      </a:r>
                      <a:endParaRPr kumimoji="0" lang="en-US" sz="800" b="1" i="0" u="none" strike="noStrike" cap="none" normalizeH="0" baseline="0" dirty="0">
                        <a:ln>
                          <a:noFill/>
                        </a:ln>
                        <a:solidFill>
                          <a:srgbClr val="313131"/>
                        </a:solidFill>
                        <a:effectLst/>
                        <a:latin typeface="Arial" charset="0"/>
                      </a:endParaRP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1" i="0" u="none" strike="noStrike" cap="none" normalizeH="0" baseline="0" dirty="0">
                          <a:ln>
                            <a:noFill/>
                          </a:ln>
                          <a:solidFill>
                            <a:srgbClr val="313131"/>
                          </a:solidFill>
                          <a:effectLst/>
                          <a:latin typeface="Arial" charset="0"/>
                        </a:rPr>
                        <a:t>F</a:t>
                      </a: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1</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2</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3</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4</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5</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extLst>
                  <a:ext uri="{0D108BD9-81ED-4DB2-BD59-A6C34878D82A}">
                    <a16:rowId xmlns:a16="http://schemas.microsoft.com/office/drawing/2014/main" val="10001"/>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8</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9</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chemeClr val="bg1"/>
                          </a:solidFill>
                          <a:effectLst/>
                          <a:latin typeface="Arial" charset="0"/>
                        </a:rPr>
                        <a:t>10</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2776"/>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chemeClr val="bg1"/>
                          </a:solidFill>
                          <a:effectLst/>
                          <a:latin typeface="Arial" charset="0"/>
                        </a:rPr>
                        <a:t>11</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2776"/>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2</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extLst>
                  <a:ext uri="{0D108BD9-81ED-4DB2-BD59-A6C34878D82A}">
                    <a16:rowId xmlns:a16="http://schemas.microsoft.com/office/drawing/2014/main" val="10002"/>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15</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chemeClr val="bg1"/>
                          </a:solidFill>
                          <a:effectLst/>
                          <a:latin typeface="Arial" charset="0"/>
                        </a:rPr>
                        <a:t>16</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7</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8</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9</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extLst>
                  <a:ext uri="{0D108BD9-81ED-4DB2-BD59-A6C34878D82A}">
                    <a16:rowId xmlns:a16="http://schemas.microsoft.com/office/drawing/2014/main" val="10003"/>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22</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23</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chemeClr val="bg1"/>
                          </a:solidFill>
                          <a:effectLst/>
                          <a:latin typeface="Arial" charset="0"/>
                        </a:rPr>
                        <a:t>24</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25</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26</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extLst>
                  <a:ext uri="{0D108BD9-81ED-4DB2-BD59-A6C34878D82A}">
                    <a16:rowId xmlns:a16="http://schemas.microsoft.com/office/drawing/2014/main" val="10004"/>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29</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30</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31</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chemeClr val="bg1"/>
                        </a:solidFill>
                        <a:effectLst/>
                        <a:latin typeface="Arial" charset="0"/>
                      </a:endParaRP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chemeClr val="bg1"/>
                        </a:solidFill>
                        <a:effectLst/>
                        <a:latin typeface="Arial" charset="0"/>
                      </a:endParaRP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281647" name="Title 1"/>
          <p:cNvSpPr>
            <a:spLocks noGrp="1"/>
          </p:cNvSpPr>
          <p:nvPr>
            <p:ph type="title"/>
            <p:custDataLst>
              <p:tags r:id="rId3"/>
            </p:custDataLst>
          </p:nvPr>
        </p:nvSpPr>
        <p:spPr/>
        <p:txBody>
          <a:bodyPr/>
          <a:lstStyle/>
          <a:p>
            <a:r>
              <a:rPr lang="en-US" altLang="ja-JP" sz="1500" dirty="0"/>
              <a:t>Calendars </a:t>
            </a:r>
            <a:br>
              <a:rPr lang="en-US" altLang="ja-JP" sz="1500" dirty="0"/>
            </a:br>
            <a:r>
              <a:rPr lang="en-US" altLang="ja-JP" sz="1500" dirty="0">
                <a:solidFill>
                  <a:srgbClr val="575757"/>
                </a:solidFill>
              </a:rPr>
              <a:t>First day of the month is Monday, Tuesday, Wednesday or Thursday</a:t>
            </a:r>
            <a:endParaRPr lang="en-US" sz="1500" dirty="0">
              <a:solidFill>
                <a:srgbClr val="575757"/>
              </a:solidFill>
            </a:endParaRPr>
          </a:p>
        </p:txBody>
      </p:sp>
      <p:graphicFrame>
        <p:nvGraphicFramePr>
          <p:cNvPr id="11" name="Group 52"/>
          <p:cNvGraphicFramePr>
            <a:graphicFrameLocks noGrp="1"/>
          </p:cNvGraphicFramePr>
          <p:nvPr>
            <p:custDataLst>
              <p:tags r:id="rId4"/>
            </p:custDataLst>
          </p:nvPr>
        </p:nvGraphicFramePr>
        <p:xfrm>
          <a:off x="4706541" y="1032272"/>
          <a:ext cx="2997993" cy="1621634"/>
        </p:xfrm>
        <a:graphic>
          <a:graphicData uri="http://schemas.openxmlformats.org/drawingml/2006/table">
            <a:tbl>
              <a:tblPr/>
              <a:tblGrid>
                <a:gridCol w="592640">
                  <a:extLst>
                    <a:ext uri="{9D8B030D-6E8A-4147-A177-3AD203B41FA5}">
                      <a16:colId xmlns:a16="http://schemas.microsoft.com/office/drawing/2014/main" val="20000"/>
                    </a:ext>
                  </a:extLst>
                </a:gridCol>
                <a:gridCol w="606558">
                  <a:extLst>
                    <a:ext uri="{9D8B030D-6E8A-4147-A177-3AD203B41FA5}">
                      <a16:colId xmlns:a16="http://schemas.microsoft.com/office/drawing/2014/main" val="20001"/>
                    </a:ext>
                  </a:extLst>
                </a:gridCol>
                <a:gridCol w="599598">
                  <a:extLst>
                    <a:ext uri="{9D8B030D-6E8A-4147-A177-3AD203B41FA5}">
                      <a16:colId xmlns:a16="http://schemas.microsoft.com/office/drawing/2014/main" val="20002"/>
                    </a:ext>
                  </a:extLst>
                </a:gridCol>
                <a:gridCol w="599599">
                  <a:extLst>
                    <a:ext uri="{9D8B030D-6E8A-4147-A177-3AD203B41FA5}">
                      <a16:colId xmlns:a16="http://schemas.microsoft.com/office/drawing/2014/main" val="20003"/>
                    </a:ext>
                  </a:extLst>
                </a:gridCol>
                <a:gridCol w="599598">
                  <a:extLst>
                    <a:ext uri="{9D8B030D-6E8A-4147-A177-3AD203B41FA5}">
                      <a16:colId xmlns:a16="http://schemas.microsoft.com/office/drawing/2014/main" val="20004"/>
                    </a:ext>
                  </a:extLst>
                </a:gridCol>
              </a:tblGrid>
              <a:tr h="270272">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M</a:t>
                      </a: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1" i="0" u="none" strike="noStrike" cap="none" normalizeH="0" baseline="0">
                          <a:ln>
                            <a:noFill/>
                          </a:ln>
                          <a:solidFill>
                            <a:srgbClr val="313131"/>
                          </a:solidFill>
                          <a:effectLst/>
                          <a:latin typeface="Arial" charset="0"/>
                        </a:rPr>
                        <a:t>T</a:t>
                      </a:r>
                      <a:endParaRPr kumimoji="0" lang="en-US" sz="800" b="1" i="0" u="none" strike="noStrike" cap="none" normalizeH="0" baseline="0" dirty="0">
                        <a:ln>
                          <a:noFill/>
                        </a:ln>
                        <a:solidFill>
                          <a:srgbClr val="313131"/>
                        </a:solidFill>
                        <a:effectLst/>
                        <a:latin typeface="Arial" charset="0"/>
                      </a:endParaRP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1" i="0" u="none" strike="noStrike" cap="none" normalizeH="0" baseline="0">
                          <a:ln>
                            <a:noFill/>
                          </a:ln>
                          <a:solidFill>
                            <a:srgbClr val="313131"/>
                          </a:solidFill>
                          <a:effectLst/>
                          <a:latin typeface="Arial" charset="0"/>
                        </a:rPr>
                        <a:t>W</a:t>
                      </a:r>
                      <a:endParaRPr kumimoji="0" lang="en-US" sz="800" b="1" i="0" u="none" strike="noStrike" cap="none" normalizeH="0" baseline="0" dirty="0">
                        <a:ln>
                          <a:noFill/>
                        </a:ln>
                        <a:solidFill>
                          <a:srgbClr val="313131"/>
                        </a:solidFill>
                        <a:effectLst/>
                        <a:latin typeface="Arial" charset="0"/>
                      </a:endParaRP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1" i="0" u="none" strike="noStrike" cap="none" normalizeH="0" baseline="0">
                          <a:ln>
                            <a:noFill/>
                          </a:ln>
                          <a:solidFill>
                            <a:srgbClr val="313131"/>
                          </a:solidFill>
                          <a:effectLst/>
                          <a:latin typeface="Arial" charset="0"/>
                        </a:rPr>
                        <a:t>T</a:t>
                      </a:r>
                      <a:endParaRPr kumimoji="0" lang="en-US" sz="800" b="1" i="0" u="none" strike="noStrike" cap="none" normalizeH="0" baseline="0" dirty="0">
                        <a:ln>
                          <a:noFill/>
                        </a:ln>
                        <a:solidFill>
                          <a:srgbClr val="313131"/>
                        </a:solidFill>
                        <a:effectLst/>
                        <a:latin typeface="Arial" charset="0"/>
                      </a:endParaRP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1" i="0" u="none" strike="noStrike" cap="none" normalizeH="0" baseline="0" dirty="0">
                          <a:ln>
                            <a:noFill/>
                          </a:ln>
                          <a:solidFill>
                            <a:srgbClr val="313131"/>
                          </a:solidFill>
                          <a:effectLst/>
                          <a:latin typeface="Arial" charset="0"/>
                        </a:rPr>
                        <a:t>F</a:t>
                      </a: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rgbClr val="313131"/>
                        </a:solidFill>
                        <a:effectLst/>
                        <a:latin typeface="Arial" charset="0"/>
                      </a:endParaRP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2</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3</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4</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extLst>
                  <a:ext uri="{0D108BD9-81ED-4DB2-BD59-A6C34878D82A}">
                    <a16:rowId xmlns:a16="http://schemas.microsoft.com/office/drawing/2014/main" val="10001"/>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7</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8</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9</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0</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1</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extLst>
                  <a:ext uri="{0D108BD9-81ED-4DB2-BD59-A6C34878D82A}">
                    <a16:rowId xmlns:a16="http://schemas.microsoft.com/office/drawing/2014/main" val="10002"/>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14</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chemeClr val="bg1"/>
                          </a:solidFill>
                          <a:effectLst/>
                          <a:latin typeface="Arial" charset="0"/>
                        </a:rPr>
                        <a:t>15</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6</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7</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8</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extLst>
                  <a:ext uri="{0D108BD9-81ED-4DB2-BD59-A6C34878D82A}">
                    <a16:rowId xmlns:a16="http://schemas.microsoft.com/office/drawing/2014/main" val="10003"/>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21</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22</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23</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chemeClr val="bg1"/>
                          </a:solidFill>
                          <a:effectLst/>
                          <a:latin typeface="Arial" charset="0"/>
                        </a:rPr>
                        <a:t>24</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25</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extLst>
                  <a:ext uri="{0D108BD9-81ED-4DB2-BD59-A6C34878D82A}">
                    <a16:rowId xmlns:a16="http://schemas.microsoft.com/office/drawing/2014/main" val="10004"/>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28</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chemeClr val="bg1"/>
                          </a:solidFill>
                          <a:effectLst/>
                          <a:latin typeface="Arial" charset="0"/>
                        </a:rPr>
                        <a:t>29</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2776"/>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chemeClr val="bg1"/>
                          </a:solidFill>
                          <a:effectLst/>
                          <a:latin typeface="Arial" charset="0"/>
                        </a:rPr>
                        <a:t>30</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2776"/>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31</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rgbClr val="313131"/>
                        </a:solidFill>
                        <a:effectLst/>
                        <a:latin typeface="Arial" charset="0"/>
                      </a:endParaRP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graphicFrame>
        <p:nvGraphicFramePr>
          <p:cNvPr id="12" name="Group 96"/>
          <p:cNvGraphicFramePr>
            <a:graphicFrameLocks noGrp="1"/>
          </p:cNvGraphicFramePr>
          <p:nvPr>
            <p:custDataLst>
              <p:tags r:id="rId5"/>
            </p:custDataLst>
          </p:nvPr>
        </p:nvGraphicFramePr>
        <p:xfrm>
          <a:off x="1438275" y="2786063"/>
          <a:ext cx="2997994" cy="1604965"/>
        </p:xfrm>
        <a:graphic>
          <a:graphicData uri="http://schemas.openxmlformats.org/drawingml/2006/table">
            <a:tbl>
              <a:tblPr/>
              <a:tblGrid>
                <a:gridCol w="592412">
                  <a:extLst>
                    <a:ext uri="{9D8B030D-6E8A-4147-A177-3AD203B41FA5}">
                      <a16:colId xmlns:a16="http://schemas.microsoft.com/office/drawing/2014/main" val="20000"/>
                    </a:ext>
                  </a:extLst>
                </a:gridCol>
                <a:gridCol w="607483">
                  <a:extLst>
                    <a:ext uri="{9D8B030D-6E8A-4147-A177-3AD203B41FA5}">
                      <a16:colId xmlns:a16="http://schemas.microsoft.com/office/drawing/2014/main" val="20001"/>
                    </a:ext>
                  </a:extLst>
                </a:gridCol>
                <a:gridCol w="598208">
                  <a:extLst>
                    <a:ext uri="{9D8B030D-6E8A-4147-A177-3AD203B41FA5}">
                      <a16:colId xmlns:a16="http://schemas.microsoft.com/office/drawing/2014/main" val="20002"/>
                    </a:ext>
                  </a:extLst>
                </a:gridCol>
                <a:gridCol w="600526">
                  <a:extLst>
                    <a:ext uri="{9D8B030D-6E8A-4147-A177-3AD203B41FA5}">
                      <a16:colId xmlns:a16="http://schemas.microsoft.com/office/drawing/2014/main" val="20003"/>
                    </a:ext>
                  </a:extLst>
                </a:gridCol>
                <a:gridCol w="599366">
                  <a:extLst>
                    <a:ext uri="{9D8B030D-6E8A-4147-A177-3AD203B41FA5}">
                      <a16:colId xmlns:a16="http://schemas.microsoft.com/office/drawing/2014/main" val="20004"/>
                    </a:ext>
                  </a:extLst>
                </a:gridCol>
              </a:tblGrid>
              <a:tr h="270272">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M</a:t>
                      </a: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1" i="0" u="none" strike="noStrike" cap="none" normalizeH="0" baseline="0" dirty="0">
                          <a:ln>
                            <a:noFill/>
                          </a:ln>
                          <a:solidFill>
                            <a:srgbClr val="313131"/>
                          </a:solidFill>
                          <a:effectLst/>
                          <a:latin typeface="Arial" charset="0"/>
                        </a:rPr>
                        <a:t>T</a:t>
                      </a: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1" i="0" u="none" strike="noStrike" cap="none" normalizeH="0" baseline="0" dirty="0">
                          <a:ln>
                            <a:noFill/>
                          </a:ln>
                          <a:solidFill>
                            <a:srgbClr val="313131"/>
                          </a:solidFill>
                          <a:effectLst/>
                          <a:latin typeface="Arial" charset="0"/>
                        </a:rPr>
                        <a:t>W</a:t>
                      </a: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1" i="0" u="none" strike="noStrike" cap="none" normalizeH="0" baseline="0" dirty="0">
                          <a:ln>
                            <a:noFill/>
                          </a:ln>
                          <a:solidFill>
                            <a:srgbClr val="313131"/>
                          </a:solidFill>
                          <a:effectLst/>
                          <a:latin typeface="Arial" charset="0"/>
                        </a:rPr>
                        <a:t>T</a:t>
                      </a: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1" i="0" u="none" strike="noStrike" cap="none" normalizeH="0" baseline="0" dirty="0">
                          <a:ln>
                            <a:noFill/>
                          </a:ln>
                          <a:solidFill>
                            <a:srgbClr val="313131"/>
                          </a:solidFill>
                          <a:effectLst/>
                          <a:latin typeface="Arial" charset="0"/>
                        </a:rPr>
                        <a:t>F</a:t>
                      </a: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rgbClr val="313131"/>
                        </a:solidFill>
                        <a:effectLst/>
                        <a:latin typeface="Arial" charset="0"/>
                      </a:endParaRP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rgbClr val="313131"/>
                        </a:solidFill>
                        <a:effectLst/>
                        <a:latin typeface="Arial" charset="0"/>
                      </a:endParaRP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2</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3</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extLst>
                  <a:ext uri="{0D108BD9-81ED-4DB2-BD59-A6C34878D82A}">
                    <a16:rowId xmlns:a16="http://schemas.microsoft.com/office/drawing/2014/main" val="10001"/>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6</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7</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8</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chemeClr val="bg1"/>
                          </a:solidFill>
                          <a:effectLst/>
                          <a:latin typeface="Arial" charset="0"/>
                        </a:rPr>
                        <a:t>9</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2776"/>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0</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extLst>
                  <a:ext uri="{0D108BD9-81ED-4DB2-BD59-A6C34878D82A}">
                    <a16:rowId xmlns:a16="http://schemas.microsoft.com/office/drawing/2014/main" val="10002"/>
                  </a:ext>
                </a:extLst>
              </a:tr>
              <a:tr h="253604">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13</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chemeClr val="bg1"/>
                          </a:solidFill>
                          <a:effectLst/>
                          <a:latin typeface="Arial" charset="0"/>
                        </a:rPr>
                        <a:t>14</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5</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6</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7</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extLst>
                  <a:ext uri="{0D108BD9-81ED-4DB2-BD59-A6C34878D82A}">
                    <a16:rowId xmlns:a16="http://schemas.microsoft.com/office/drawing/2014/main" val="10003"/>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20</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a:ln>
                            <a:noFill/>
                          </a:ln>
                          <a:solidFill>
                            <a:srgbClr val="313131"/>
                          </a:solidFill>
                          <a:effectLst/>
                          <a:latin typeface="Arial" charset="0"/>
                        </a:rPr>
                        <a:t>21</a:t>
                      </a:r>
                      <a:endParaRPr kumimoji="0" lang="en-US" sz="800" b="0" i="0" u="none" strike="noStrike" cap="none" normalizeH="0" baseline="0" dirty="0">
                        <a:ln>
                          <a:noFill/>
                        </a:ln>
                        <a:solidFill>
                          <a:srgbClr val="313131"/>
                        </a:solidFill>
                        <a:effectLst/>
                        <a:latin typeface="Arial" charset="0"/>
                      </a:endParaRP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a:ln>
                            <a:noFill/>
                          </a:ln>
                          <a:solidFill>
                            <a:srgbClr val="313131"/>
                          </a:solidFill>
                          <a:effectLst/>
                          <a:latin typeface="Arial" charset="0"/>
                        </a:rPr>
                        <a:t>22</a:t>
                      </a:r>
                      <a:endParaRPr kumimoji="0" lang="en-US" sz="800" b="0" i="0" u="none" strike="noStrike" cap="none" normalizeH="0" baseline="0" dirty="0">
                        <a:ln>
                          <a:noFill/>
                        </a:ln>
                        <a:solidFill>
                          <a:srgbClr val="313131"/>
                        </a:solidFill>
                        <a:effectLst/>
                        <a:latin typeface="Arial" charset="0"/>
                      </a:endParaRP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23</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chemeClr val="bg1"/>
                          </a:solidFill>
                          <a:effectLst/>
                          <a:latin typeface="Arial" charset="0"/>
                        </a:rPr>
                        <a:t>24</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4"/>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27</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28</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chemeClr val="bg1"/>
                          </a:solidFill>
                          <a:effectLst/>
                          <a:latin typeface="Arial" charset="0"/>
                        </a:rPr>
                        <a:t>29</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2776"/>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30</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31</a:t>
                      </a:r>
                      <a:r>
                        <a:rPr kumimoji="0" lang="ja-JP" altLang="en-US" sz="800" b="0" i="0" u="none" strike="noStrike" cap="none" normalizeH="0" baseline="0" dirty="0">
                          <a:ln>
                            <a:noFill/>
                          </a:ln>
                          <a:solidFill>
                            <a:srgbClr val="313131"/>
                          </a:solidFill>
                          <a:effectLst/>
                          <a:latin typeface="Arial" charset="0"/>
                          <a:ea typeface="ＭＳ Ｐゴシック" pitchFamily="50" charset="-128"/>
                        </a:rPr>
                        <a:t>　</a:t>
                      </a:r>
                      <a:endParaRPr kumimoji="0" lang="en-US" altLang="ja-JP" sz="800" b="0" i="0" u="none" strike="noStrike" cap="none" normalizeH="0" baseline="0" dirty="0">
                        <a:ln>
                          <a:noFill/>
                        </a:ln>
                        <a:solidFill>
                          <a:srgbClr val="313131"/>
                        </a:solidFill>
                        <a:effectLst/>
                        <a:latin typeface="Arial" charset="0"/>
                        <a:ea typeface="ＭＳ Ｐゴシック" pitchFamily="50" charset="-128"/>
                      </a:endParaRP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extLst>
                  <a:ext uri="{0D108BD9-81ED-4DB2-BD59-A6C34878D82A}">
                    <a16:rowId xmlns:a16="http://schemas.microsoft.com/office/drawing/2014/main" val="10005"/>
                  </a:ext>
                </a:extLst>
              </a:tr>
            </a:tbl>
          </a:graphicData>
        </a:graphic>
      </p:graphicFrame>
      <p:graphicFrame>
        <p:nvGraphicFramePr>
          <p:cNvPr id="13" name="Group 140"/>
          <p:cNvGraphicFramePr>
            <a:graphicFrameLocks noGrp="1"/>
          </p:cNvGraphicFramePr>
          <p:nvPr>
            <p:custDataLst>
              <p:tags r:id="rId6"/>
            </p:custDataLst>
          </p:nvPr>
        </p:nvGraphicFramePr>
        <p:xfrm>
          <a:off x="4706541" y="2786062"/>
          <a:ext cx="2997993" cy="1621634"/>
        </p:xfrm>
        <a:graphic>
          <a:graphicData uri="http://schemas.openxmlformats.org/drawingml/2006/table">
            <a:tbl>
              <a:tblPr/>
              <a:tblGrid>
                <a:gridCol w="592640">
                  <a:extLst>
                    <a:ext uri="{9D8B030D-6E8A-4147-A177-3AD203B41FA5}">
                      <a16:colId xmlns:a16="http://schemas.microsoft.com/office/drawing/2014/main" val="20000"/>
                    </a:ext>
                  </a:extLst>
                </a:gridCol>
                <a:gridCol w="606558">
                  <a:extLst>
                    <a:ext uri="{9D8B030D-6E8A-4147-A177-3AD203B41FA5}">
                      <a16:colId xmlns:a16="http://schemas.microsoft.com/office/drawing/2014/main" val="20001"/>
                    </a:ext>
                  </a:extLst>
                </a:gridCol>
                <a:gridCol w="599598">
                  <a:extLst>
                    <a:ext uri="{9D8B030D-6E8A-4147-A177-3AD203B41FA5}">
                      <a16:colId xmlns:a16="http://schemas.microsoft.com/office/drawing/2014/main" val="20002"/>
                    </a:ext>
                  </a:extLst>
                </a:gridCol>
                <a:gridCol w="599599">
                  <a:extLst>
                    <a:ext uri="{9D8B030D-6E8A-4147-A177-3AD203B41FA5}">
                      <a16:colId xmlns:a16="http://schemas.microsoft.com/office/drawing/2014/main" val="20003"/>
                    </a:ext>
                  </a:extLst>
                </a:gridCol>
                <a:gridCol w="599598">
                  <a:extLst>
                    <a:ext uri="{9D8B030D-6E8A-4147-A177-3AD203B41FA5}">
                      <a16:colId xmlns:a16="http://schemas.microsoft.com/office/drawing/2014/main" val="20004"/>
                    </a:ext>
                  </a:extLst>
                </a:gridCol>
              </a:tblGrid>
              <a:tr h="270272">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M</a:t>
                      </a: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1" i="0" u="none" strike="noStrike" cap="none" normalizeH="0" baseline="0">
                          <a:ln>
                            <a:noFill/>
                          </a:ln>
                          <a:solidFill>
                            <a:srgbClr val="313131"/>
                          </a:solidFill>
                          <a:effectLst/>
                          <a:latin typeface="Arial" charset="0"/>
                        </a:rPr>
                        <a:t>T</a:t>
                      </a:r>
                      <a:endParaRPr kumimoji="0" lang="en-US" sz="800" b="1" i="0" u="none" strike="noStrike" cap="none" normalizeH="0" baseline="0" dirty="0">
                        <a:ln>
                          <a:noFill/>
                        </a:ln>
                        <a:solidFill>
                          <a:srgbClr val="313131"/>
                        </a:solidFill>
                        <a:effectLst/>
                        <a:latin typeface="Arial" charset="0"/>
                      </a:endParaRP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1" i="0" u="none" strike="noStrike" cap="none" normalizeH="0" baseline="0">
                          <a:ln>
                            <a:noFill/>
                          </a:ln>
                          <a:solidFill>
                            <a:srgbClr val="313131"/>
                          </a:solidFill>
                          <a:effectLst/>
                          <a:latin typeface="Arial" charset="0"/>
                        </a:rPr>
                        <a:t>W</a:t>
                      </a:r>
                      <a:endParaRPr kumimoji="0" lang="en-US" sz="800" b="1" i="0" u="none" strike="noStrike" cap="none" normalizeH="0" baseline="0" dirty="0">
                        <a:ln>
                          <a:noFill/>
                        </a:ln>
                        <a:solidFill>
                          <a:srgbClr val="313131"/>
                        </a:solidFill>
                        <a:effectLst/>
                        <a:latin typeface="Arial" charset="0"/>
                      </a:endParaRP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1" i="0" u="none" strike="noStrike" cap="none" normalizeH="0" baseline="0" dirty="0">
                          <a:ln>
                            <a:noFill/>
                          </a:ln>
                          <a:solidFill>
                            <a:srgbClr val="313131"/>
                          </a:solidFill>
                          <a:effectLst/>
                          <a:latin typeface="Arial" charset="0"/>
                        </a:rPr>
                        <a:t>T</a:t>
                      </a: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1" i="0" u="none" strike="noStrike" cap="none" normalizeH="0" baseline="0" dirty="0">
                          <a:ln>
                            <a:noFill/>
                          </a:ln>
                          <a:solidFill>
                            <a:srgbClr val="313131"/>
                          </a:solidFill>
                          <a:effectLst/>
                          <a:latin typeface="Arial" charset="0"/>
                        </a:rPr>
                        <a:t>F</a:t>
                      </a: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chemeClr val="bg1"/>
                        </a:solidFill>
                        <a:effectLst/>
                        <a:latin typeface="Arial" charset="0"/>
                      </a:endParaRP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chemeClr val="bg1"/>
                        </a:solidFill>
                        <a:effectLst/>
                        <a:latin typeface="Arial" charset="0"/>
                      </a:endParaRP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chemeClr val="bg1"/>
                        </a:solidFill>
                        <a:effectLst/>
                        <a:latin typeface="Arial" charset="0"/>
                      </a:endParaRP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2</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extLst>
                  <a:ext uri="{0D108BD9-81ED-4DB2-BD59-A6C34878D82A}">
                    <a16:rowId xmlns:a16="http://schemas.microsoft.com/office/drawing/2014/main" val="10001"/>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5</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6</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7</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8</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9</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extLst>
                  <a:ext uri="{0D108BD9-81ED-4DB2-BD59-A6C34878D82A}">
                    <a16:rowId xmlns:a16="http://schemas.microsoft.com/office/drawing/2014/main" val="10002"/>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12</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chemeClr val="bg1"/>
                          </a:solidFill>
                          <a:effectLst/>
                          <a:latin typeface="Arial" charset="0"/>
                        </a:rPr>
                        <a:t>13</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4</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5</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6</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extLst>
                  <a:ext uri="{0D108BD9-81ED-4DB2-BD59-A6C34878D82A}">
                    <a16:rowId xmlns:a16="http://schemas.microsoft.com/office/drawing/2014/main" val="10003"/>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19</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20</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chemeClr val="bg1"/>
                          </a:solidFill>
                          <a:effectLst/>
                          <a:latin typeface="Arial" charset="0"/>
                        </a:rPr>
                        <a:t>21</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2776"/>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22</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chemeClr val="bg1"/>
                          </a:solidFill>
                          <a:effectLst/>
                          <a:latin typeface="Arial" charset="0"/>
                        </a:rPr>
                        <a:t>23</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4"/>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26</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27</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28</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29</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30</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extLst>
                  <a:ext uri="{0D108BD9-81ED-4DB2-BD59-A6C34878D82A}">
                    <a16:rowId xmlns:a16="http://schemas.microsoft.com/office/drawing/2014/main" val="10005"/>
                  </a:ext>
                </a:extLst>
              </a:tr>
            </a:tbl>
          </a:graphicData>
        </a:graphic>
      </p:graphicFrame>
      <p:sp>
        <p:nvSpPr>
          <p:cNvPr id="17" name="Text Placeholder 12"/>
          <p:cNvSpPr>
            <a:spLocks/>
          </p:cNvSpPr>
          <p:nvPr>
            <p:custDataLst>
              <p:tags r:id="rId7"/>
            </p:custDataLst>
          </p:nvPr>
        </p:nvSpPr>
        <p:spPr bwMode="auto">
          <a:xfrm>
            <a:off x="1440656" y="843534"/>
            <a:ext cx="197170"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Text</a:t>
            </a:r>
          </a:p>
        </p:txBody>
      </p:sp>
      <p:sp>
        <p:nvSpPr>
          <p:cNvPr id="21" name="Text Placeholder 12"/>
          <p:cNvSpPr>
            <a:spLocks/>
          </p:cNvSpPr>
          <p:nvPr>
            <p:custDataLst>
              <p:tags r:id="rId8"/>
            </p:custDataLst>
          </p:nvPr>
        </p:nvSpPr>
        <p:spPr bwMode="auto">
          <a:xfrm>
            <a:off x="4710168" y="843534"/>
            <a:ext cx="197170"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Text</a:t>
            </a:r>
          </a:p>
        </p:txBody>
      </p:sp>
      <p:sp>
        <p:nvSpPr>
          <p:cNvPr id="27" name="Rectangle 47"/>
          <p:cNvSpPr>
            <a:spLocks noChangeArrowheads="1"/>
          </p:cNvSpPr>
          <p:nvPr>
            <p:custDataLst>
              <p:tags r:id="rId9"/>
            </p:custDataLst>
          </p:nvPr>
        </p:nvSpPr>
        <p:spPr bwMode="auto">
          <a:xfrm>
            <a:off x="3829050" y="4608121"/>
            <a:ext cx="100013" cy="108347"/>
          </a:xfrm>
          <a:prstGeom prst="rect">
            <a:avLst/>
          </a:prstGeom>
          <a:solidFill>
            <a:srgbClr val="002776"/>
          </a:solidFill>
          <a:ln w="12700" algn="ctr">
            <a:solidFill>
              <a:schemeClr val="bg1"/>
            </a:solidFill>
            <a:miter lim="800000"/>
            <a:headEnd/>
            <a:tailEnd/>
          </a:ln>
        </p:spPr>
        <p:txBody>
          <a:bodyPr wrap="square" lIns="27000" tIns="27000" rIns="27000" bIns="27000" anchor="ctr"/>
          <a:lstStyle/>
          <a:p>
            <a:pPr algn="ctr" defTabSz="685800">
              <a:buClrTx/>
            </a:pPr>
            <a:endParaRPr lang="en-US" sz="750" kern="1200">
              <a:solidFill>
                <a:prstClr val="white"/>
              </a:solidFill>
              <a:ea typeface="+mn-ea"/>
              <a:cs typeface="+mn-cs"/>
            </a:endParaRPr>
          </a:p>
        </p:txBody>
      </p:sp>
      <p:sp>
        <p:nvSpPr>
          <p:cNvPr id="28" name="Text Box 48"/>
          <p:cNvSpPr txBox="1">
            <a:spLocks noChangeArrowheads="1"/>
          </p:cNvSpPr>
          <p:nvPr>
            <p:custDataLst>
              <p:tags r:id="rId10"/>
            </p:custDataLst>
          </p:nvPr>
        </p:nvSpPr>
        <p:spPr bwMode="auto">
          <a:xfrm>
            <a:off x="5330428" y="4604586"/>
            <a:ext cx="1192634" cy="115416"/>
          </a:xfrm>
          <a:prstGeom prst="rect">
            <a:avLst/>
          </a:prstGeom>
          <a:noFill/>
          <a:ln w="6350" algn="ctr">
            <a:noFill/>
            <a:miter lim="800000"/>
            <a:headEnd/>
            <a:tailEnd/>
          </a:ln>
        </p:spPr>
        <p:txBody>
          <a:bodyPr wrap="none" lIns="0" tIns="0" rIns="0" bIns="0" anchor="ctr">
            <a:spAutoFit/>
          </a:bodyPr>
          <a:lstStyle/>
          <a:p>
            <a:pPr defTabSz="685800">
              <a:buClrTx/>
            </a:pPr>
            <a:r>
              <a:rPr lang="en-US" sz="750" kern="1200" dirty="0">
                <a:solidFill>
                  <a:srgbClr val="313131"/>
                </a:solidFill>
                <a:ea typeface="ＭＳ Ｐゴシック" charset="-128"/>
                <a:cs typeface="+mn-cs"/>
              </a:rPr>
              <a:t>Steering committee meeting</a:t>
            </a:r>
          </a:p>
        </p:txBody>
      </p:sp>
      <p:sp>
        <p:nvSpPr>
          <p:cNvPr id="29" name="Rectangle 49"/>
          <p:cNvSpPr>
            <a:spLocks noChangeArrowheads="1"/>
          </p:cNvSpPr>
          <p:nvPr>
            <p:custDataLst>
              <p:tags r:id="rId11"/>
            </p:custDataLst>
          </p:nvPr>
        </p:nvSpPr>
        <p:spPr bwMode="auto">
          <a:xfrm>
            <a:off x="5200650" y="4608121"/>
            <a:ext cx="100013" cy="108347"/>
          </a:xfrm>
          <a:prstGeom prst="rect">
            <a:avLst/>
          </a:prstGeom>
          <a:solidFill>
            <a:srgbClr val="00A1DE"/>
          </a:solidFill>
          <a:ln w="12700" algn="ctr">
            <a:solidFill>
              <a:schemeClr val="bg1"/>
            </a:solidFill>
            <a:miter lim="800000"/>
            <a:headEnd/>
            <a:tailEnd/>
          </a:ln>
        </p:spPr>
        <p:txBody>
          <a:bodyPr wrap="square" lIns="27000" tIns="27000" rIns="27000" bIns="27000" anchor="ctr"/>
          <a:lstStyle/>
          <a:p>
            <a:pPr algn="ctr" defTabSz="685800">
              <a:buClrTx/>
            </a:pPr>
            <a:endParaRPr lang="en-US" sz="750" kern="1200">
              <a:solidFill>
                <a:prstClr val="white"/>
              </a:solidFill>
              <a:ea typeface="ＭＳ Ｐゴシック" charset="-128"/>
              <a:cs typeface="+mn-cs"/>
            </a:endParaRPr>
          </a:p>
        </p:txBody>
      </p:sp>
      <p:sp>
        <p:nvSpPr>
          <p:cNvPr id="30" name="Rectangle 50"/>
          <p:cNvSpPr>
            <a:spLocks noChangeArrowheads="1"/>
          </p:cNvSpPr>
          <p:nvPr>
            <p:custDataLst>
              <p:tags r:id="rId12"/>
            </p:custDataLst>
          </p:nvPr>
        </p:nvSpPr>
        <p:spPr bwMode="auto">
          <a:xfrm>
            <a:off x="6838861" y="4608121"/>
            <a:ext cx="100013" cy="108347"/>
          </a:xfrm>
          <a:prstGeom prst="rect">
            <a:avLst/>
          </a:prstGeom>
          <a:solidFill>
            <a:schemeClr val="accent3"/>
          </a:solidFill>
          <a:ln w="12700" algn="ctr">
            <a:solidFill>
              <a:schemeClr val="bg1"/>
            </a:solidFill>
            <a:miter lim="800000"/>
            <a:headEnd/>
            <a:tailEnd/>
          </a:ln>
        </p:spPr>
        <p:txBody>
          <a:bodyPr wrap="square" lIns="27000" tIns="27000" rIns="27000" bIns="27000" anchor="ctr"/>
          <a:lstStyle/>
          <a:p>
            <a:pPr algn="ctr" defTabSz="685800">
              <a:buClrTx/>
              <a:defRPr/>
            </a:pPr>
            <a:endParaRPr lang="en-US" sz="750" kern="1200" dirty="0">
              <a:solidFill>
                <a:prstClr val="white"/>
              </a:solidFill>
              <a:ea typeface="+mn-ea"/>
              <a:cs typeface="+mn-cs"/>
            </a:endParaRPr>
          </a:p>
        </p:txBody>
      </p:sp>
      <p:sp>
        <p:nvSpPr>
          <p:cNvPr id="31" name="Text Box 51"/>
          <p:cNvSpPr txBox="1">
            <a:spLocks noChangeArrowheads="1"/>
          </p:cNvSpPr>
          <p:nvPr>
            <p:custDataLst>
              <p:tags r:id="rId13"/>
            </p:custDataLst>
          </p:nvPr>
        </p:nvSpPr>
        <p:spPr bwMode="auto">
          <a:xfrm>
            <a:off x="6956734" y="4604586"/>
            <a:ext cx="621965" cy="115416"/>
          </a:xfrm>
          <a:prstGeom prst="rect">
            <a:avLst/>
          </a:prstGeom>
          <a:noFill/>
          <a:ln w="6350" algn="ctr">
            <a:noFill/>
            <a:miter lim="800000"/>
            <a:headEnd/>
            <a:tailEnd/>
          </a:ln>
        </p:spPr>
        <p:txBody>
          <a:bodyPr wrap="none" lIns="0" tIns="0" rIns="0" bIns="0" anchor="ctr">
            <a:spAutoFit/>
          </a:bodyPr>
          <a:lstStyle/>
          <a:p>
            <a:pPr defTabSz="685800">
              <a:buClrTx/>
            </a:pPr>
            <a:r>
              <a:rPr lang="en-US" sz="750" kern="1200" dirty="0">
                <a:solidFill>
                  <a:srgbClr val="313131"/>
                </a:solidFill>
                <a:ea typeface="ＭＳ Ｐゴシック" charset="-128"/>
                <a:cs typeface="+mn-cs"/>
              </a:rPr>
              <a:t>Board meeting</a:t>
            </a:r>
          </a:p>
        </p:txBody>
      </p:sp>
      <p:sp>
        <p:nvSpPr>
          <p:cNvPr id="32" name="Text Box 184"/>
          <p:cNvSpPr txBox="1">
            <a:spLocks noChangeArrowheads="1"/>
          </p:cNvSpPr>
          <p:nvPr>
            <p:custDataLst>
              <p:tags r:id="rId14"/>
            </p:custDataLst>
          </p:nvPr>
        </p:nvSpPr>
        <p:spPr bwMode="auto">
          <a:xfrm>
            <a:off x="3952875" y="4604586"/>
            <a:ext cx="989053" cy="115416"/>
          </a:xfrm>
          <a:prstGeom prst="rect">
            <a:avLst/>
          </a:prstGeom>
          <a:noFill/>
          <a:ln w="6350" algn="ctr">
            <a:noFill/>
            <a:miter lim="800000"/>
            <a:headEnd/>
            <a:tailEnd/>
          </a:ln>
        </p:spPr>
        <p:txBody>
          <a:bodyPr wrap="none" lIns="0" tIns="0" rIns="0" bIns="0" anchor="ctr">
            <a:spAutoFit/>
          </a:bodyPr>
          <a:lstStyle/>
          <a:p>
            <a:pPr defTabSz="685800">
              <a:buClrTx/>
            </a:pPr>
            <a:r>
              <a:rPr lang="en-US" sz="750" kern="1200" dirty="0">
                <a:solidFill>
                  <a:srgbClr val="313131"/>
                </a:solidFill>
                <a:ea typeface="ＭＳ Ｐゴシック" charset="-128"/>
                <a:cs typeface="+mn-cs"/>
              </a:rPr>
              <a:t>Working group meeting</a:t>
            </a:r>
          </a:p>
        </p:txBody>
      </p:sp>
    </p:spTree>
  </p:cSld>
  <p:clrMapOvr>
    <a:masterClrMapping/>
  </p:clrMapOvr>
  <p:transition>
    <p:fade/>
  </p:transition>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4561" name="Title 1"/>
          <p:cNvSpPr>
            <a:spLocks noGrp="1"/>
          </p:cNvSpPr>
          <p:nvPr>
            <p:ph type="title"/>
          </p:nvPr>
        </p:nvSpPr>
        <p:spPr/>
        <p:txBody>
          <a:bodyPr/>
          <a:lstStyle/>
          <a:p>
            <a:r>
              <a:rPr lang="en-US" altLang="ja-JP" sz="1800" dirty="0"/>
              <a:t>Calendars </a:t>
            </a:r>
            <a:br>
              <a:rPr lang="en-US" altLang="ja-JP" sz="1800" dirty="0"/>
            </a:br>
            <a:r>
              <a:rPr lang="en-US" altLang="ja-JP" sz="1800" dirty="0">
                <a:solidFill>
                  <a:srgbClr val="575757"/>
                </a:solidFill>
              </a:rPr>
              <a:t>First day of the month is Friday, Saturday or Sunday</a:t>
            </a:r>
            <a:endParaRPr lang="en-US" sz="1800" dirty="0">
              <a:solidFill>
                <a:srgbClr val="575757"/>
              </a:solidFill>
            </a:endParaRPr>
          </a:p>
        </p:txBody>
      </p:sp>
      <p:graphicFrame>
        <p:nvGraphicFramePr>
          <p:cNvPr id="6" name="Group 8"/>
          <p:cNvGraphicFramePr>
            <a:graphicFrameLocks noGrp="1"/>
          </p:cNvGraphicFramePr>
          <p:nvPr/>
        </p:nvGraphicFramePr>
        <p:xfrm>
          <a:off x="1438275" y="1032272"/>
          <a:ext cx="2997994" cy="1621634"/>
        </p:xfrm>
        <a:graphic>
          <a:graphicData uri="http://schemas.openxmlformats.org/drawingml/2006/table">
            <a:tbl>
              <a:tblPr/>
              <a:tblGrid>
                <a:gridCol w="592412">
                  <a:extLst>
                    <a:ext uri="{9D8B030D-6E8A-4147-A177-3AD203B41FA5}">
                      <a16:colId xmlns:a16="http://schemas.microsoft.com/office/drawing/2014/main" val="20000"/>
                    </a:ext>
                  </a:extLst>
                </a:gridCol>
                <a:gridCol w="607483">
                  <a:extLst>
                    <a:ext uri="{9D8B030D-6E8A-4147-A177-3AD203B41FA5}">
                      <a16:colId xmlns:a16="http://schemas.microsoft.com/office/drawing/2014/main" val="20001"/>
                    </a:ext>
                  </a:extLst>
                </a:gridCol>
                <a:gridCol w="598208">
                  <a:extLst>
                    <a:ext uri="{9D8B030D-6E8A-4147-A177-3AD203B41FA5}">
                      <a16:colId xmlns:a16="http://schemas.microsoft.com/office/drawing/2014/main" val="20002"/>
                    </a:ext>
                  </a:extLst>
                </a:gridCol>
                <a:gridCol w="600526">
                  <a:extLst>
                    <a:ext uri="{9D8B030D-6E8A-4147-A177-3AD203B41FA5}">
                      <a16:colId xmlns:a16="http://schemas.microsoft.com/office/drawing/2014/main" val="20003"/>
                    </a:ext>
                  </a:extLst>
                </a:gridCol>
                <a:gridCol w="599366">
                  <a:extLst>
                    <a:ext uri="{9D8B030D-6E8A-4147-A177-3AD203B41FA5}">
                      <a16:colId xmlns:a16="http://schemas.microsoft.com/office/drawing/2014/main" val="20004"/>
                    </a:ext>
                  </a:extLst>
                </a:gridCol>
              </a:tblGrid>
              <a:tr h="270272">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M</a:t>
                      </a: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1" i="0" u="none" strike="noStrike" cap="none" normalizeH="0" baseline="0" dirty="0">
                          <a:ln>
                            <a:noFill/>
                          </a:ln>
                          <a:solidFill>
                            <a:srgbClr val="313131"/>
                          </a:solidFill>
                          <a:effectLst/>
                          <a:latin typeface="Arial" charset="0"/>
                        </a:rPr>
                        <a:t>T</a:t>
                      </a: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1" i="0" u="none" strike="noStrike" cap="none" normalizeH="0" baseline="0" dirty="0">
                          <a:ln>
                            <a:noFill/>
                          </a:ln>
                          <a:solidFill>
                            <a:srgbClr val="313131"/>
                          </a:solidFill>
                          <a:effectLst/>
                          <a:latin typeface="Arial" charset="0"/>
                        </a:rPr>
                        <a:t>W</a:t>
                      </a: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1" i="0" u="none" strike="noStrike" cap="none" normalizeH="0" baseline="0" dirty="0">
                          <a:ln>
                            <a:noFill/>
                          </a:ln>
                          <a:solidFill>
                            <a:srgbClr val="313131"/>
                          </a:solidFill>
                          <a:effectLst/>
                          <a:latin typeface="Arial" charset="0"/>
                        </a:rPr>
                        <a:t>T</a:t>
                      </a: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1" i="0" u="none" strike="noStrike" cap="none" normalizeH="0" baseline="0" dirty="0">
                          <a:ln>
                            <a:noFill/>
                          </a:ln>
                          <a:solidFill>
                            <a:srgbClr val="313131"/>
                          </a:solidFill>
                          <a:effectLst/>
                          <a:latin typeface="Arial" charset="0"/>
                        </a:rPr>
                        <a:t>F</a:t>
                      </a: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800" b="0" i="0" u="none" strike="noStrike" cap="none" normalizeH="0" baseline="0" dirty="0">
                        <a:ln>
                          <a:noFill/>
                        </a:ln>
                        <a:solidFill>
                          <a:srgbClr val="313131"/>
                        </a:solidFill>
                        <a:effectLst/>
                        <a:latin typeface="Arial" charset="0"/>
                      </a:endParaRP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rgbClr val="313131"/>
                        </a:solidFill>
                        <a:effectLst/>
                        <a:latin typeface="Arial" charset="0"/>
                      </a:endParaRP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rgbClr val="313131"/>
                        </a:solidFill>
                        <a:effectLst/>
                        <a:latin typeface="Arial" charset="0"/>
                      </a:endParaRP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rgbClr val="313131"/>
                        </a:solidFill>
                        <a:effectLst/>
                        <a:latin typeface="Arial" charset="0"/>
                      </a:endParaRP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extLst>
                  <a:ext uri="{0D108BD9-81ED-4DB2-BD59-A6C34878D82A}">
                    <a16:rowId xmlns:a16="http://schemas.microsoft.com/office/drawing/2014/main" val="10001"/>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4</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chemeClr val="bg1"/>
                          </a:solidFill>
                          <a:effectLst/>
                          <a:latin typeface="Arial" charset="0"/>
                        </a:rPr>
                        <a:t>5</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a:ln>
                            <a:noFill/>
                          </a:ln>
                          <a:solidFill>
                            <a:srgbClr val="313131"/>
                          </a:solidFill>
                          <a:effectLst/>
                          <a:latin typeface="Arial" charset="0"/>
                        </a:rPr>
                        <a:t>6</a:t>
                      </a:r>
                      <a:endParaRPr kumimoji="0" lang="en-US" sz="800" b="0" i="0" u="none" strike="noStrike" cap="none" normalizeH="0" baseline="0" dirty="0">
                        <a:ln>
                          <a:noFill/>
                        </a:ln>
                        <a:solidFill>
                          <a:srgbClr val="313131"/>
                        </a:solidFill>
                        <a:effectLst/>
                        <a:latin typeface="Arial" charset="0"/>
                      </a:endParaRP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7</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8</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extLst>
                  <a:ext uri="{0D108BD9-81ED-4DB2-BD59-A6C34878D82A}">
                    <a16:rowId xmlns:a16="http://schemas.microsoft.com/office/drawing/2014/main" val="10002"/>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11</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2</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chemeClr val="bg1"/>
                          </a:solidFill>
                          <a:effectLst/>
                          <a:latin typeface="Arial" charset="0"/>
                        </a:rPr>
                        <a:t>13</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2776"/>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chemeClr val="bg1"/>
                          </a:solidFill>
                          <a:effectLst/>
                          <a:latin typeface="Arial" charset="0"/>
                        </a:rPr>
                        <a:t>14</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2776"/>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5</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extLst>
                  <a:ext uri="{0D108BD9-81ED-4DB2-BD59-A6C34878D82A}">
                    <a16:rowId xmlns:a16="http://schemas.microsoft.com/office/drawing/2014/main" val="10003"/>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18</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chemeClr val="bg1"/>
                          </a:solidFill>
                          <a:effectLst/>
                          <a:latin typeface="Arial" charset="0"/>
                        </a:rPr>
                        <a:t>19</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20</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21</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22</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extLst>
                  <a:ext uri="{0D108BD9-81ED-4DB2-BD59-A6C34878D82A}">
                    <a16:rowId xmlns:a16="http://schemas.microsoft.com/office/drawing/2014/main" val="10004"/>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25</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26</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a:ln>
                            <a:noFill/>
                          </a:ln>
                          <a:solidFill>
                            <a:srgbClr val="313131"/>
                          </a:solidFill>
                          <a:effectLst/>
                          <a:latin typeface="Arial" charset="0"/>
                        </a:rPr>
                        <a:t>27</a:t>
                      </a:r>
                      <a:endParaRPr kumimoji="0" lang="en-US" sz="800" b="0" i="0" u="none" strike="noStrike" cap="none" normalizeH="0" baseline="0" dirty="0">
                        <a:ln>
                          <a:noFill/>
                        </a:ln>
                        <a:solidFill>
                          <a:srgbClr val="313131"/>
                        </a:solidFill>
                        <a:effectLst/>
                        <a:latin typeface="Arial" charset="0"/>
                      </a:endParaRP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28</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chemeClr val="bg1"/>
                          </a:solidFill>
                          <a:effectLst/>
                          <a:latin typeface="Arial" charset="0"/>
                        </a:rPr>
                        <a:t>29</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5"/>
                  </a:ext>
                </a:extLst>
              </a:tr>
            </a:tbl>
          </a:graphicData>
        </a:graphic>
      </p:graphicFrame>
      <p:graphicFrame>
        <p:nvGraphicFramePr>
          <p:cNvPr id="7" name="Group 53"/>
          <p:cNvGraphicFramePr>
            <a:graphicFrameLocks noGrp="1"/>
          </p:cNvGraphicFramePr>
          <p:nvPr/>
        </p:nvGraphicFramePr>
        <p:xfrm>
          <a:off x="4706541" y="1032272"/>
          <a:ext cx="2997993" cy="1621634"/>
        </p:xfrm>
        <a:graphic>
          <a:graphicData uri="http://schemas.openxmlformats.org/drawingml/2006/table">
            <a:tbl>
              <a:tblPr/>
              <a:tblGrid>
                <a:gridCol w="592640">
                  <a:extLst>
                    <a:ext uri="{9D8B030D-6E8A-4147-A177-3AD203B41FA5}">
                      <a16:colId xmlns:a16="http://schemas.microsoft.com/office/drawing/2014/main" val="20000"/>
                    </a:ext>
                  </a:extLst>
                </a:gridCol>
                <a:gridCol w="606558">
                  <a:extLst>
                    <a:ext uri="{9D8B030D-6E8A-4147-A177-3AD203B41FA5}">
                      <a16:colId xmlns:a16="http://schemas.microsoft.com/office/drawing/2014/main" val="20001"/>
                    </a:ext>
                  </a:extLst>
                </a:gridCol>
                <a:gridCol w="599598">
                  <a:extLst>
                    <a:ext uri="{9D8B030D-6E8A-4147-A177-3AD203B41FA5}">
                      <a16:colId xmlns:a16="http://schemas.microsoft.com/office/drawing/2014/main" val="20002"/>
                    </a:ext>
                  </a:extLst>
                </a:gridCol>
                <a:gridCol w="599599">
                  <a:extLst>
                    <a:ext uri="{9D8B030D-6E8A-4147-A177-3AD203B41FA5}">
                      <a16:colId xmlns:a16="http://schemas.microsoft.com/office/drawing/2014/main" val="20003"/>
                    </a:ext>
                  </a:extLst>
                </a:gridCol>
                <a:gridCol w="599598">
                  <a:extLst>
                    <a:ext uri="{9D8B030D-6E8A-4147-A177-3AD203B41FA5}">
                      <a16:colId xmlns:a16="http://schemas.microsoft.com/office/drawing/2014/main" val="20004"/>
                    </a:ext>
                  </a:extLst>
                </a:gridCol>
              </a:tblGrid>
              <a:tr h="270272">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M</a:t>
                      </a: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1" i="0" u="none" strike="noStrike" cap="none" normalizeH="0" baseline="0" dirty="0">
                          <a:ln>
                            <a:noFill/>
                          </a:ln>
                          <a:solidFill>
                            <a:srgbClr val="313131"/>
                          </a:solidFill>
                          <a:effectLst/>
                          <a:latin typeface="Arial" charset="0"/>
                        </a:rPr>
                        <a:t>T</a:t>
                      </a: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1" i="0" u="none" strike="noStrike" cap="none" normalizeH="0" baseline="0" dirty="0">
                          <a:ln>
                            <a:noFill/>
                          </a:ln>
                          <a:solidFill>
                            <a:srgbClr val="313131"/>
                          </a:solidFill>
                          <a:effectLst/>
                          <a:latin typeface="Arial" charset="0"/>
                        </a:rPr>
                        <a:t>W</a:t>
                      </a: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1" i="0" u="none" strike="noStrike" cap="none" normalizeH="0" baseline="0" dirty="0">
                          <a:ln>
                            <a:noFill/>
                          </a:ln>
                          <a:solidFill>
                            <a:srgbClr val="313131"/>
                          </a:solidFill>
                          <a:effectLst/>
                          <a:latin typeface="Arial" charset="0"/>
                        </a:rPr>
                        <a:t>T</a:t>
                      </a: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1" i="0" u="none" strike="noStrike" cap="none" normalizeH="0" baseline="0" dirty="0">
                          <a:ln>
                            <a:noFill/>
                          </a:ln>
                          <a:solidFill>
                            <a:srgbClr val="313131"/>
                          </a:solidFill>
                          <a:effectLst/>
                          <a:latin typeface="Arial" charset="0"/>
                        </a:rPr>
                        <a:t>F</a:t>
                      </a: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3</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chemeClr val="bg1"/>
                          </a:solidFill>
                          <a:effectLst/>
                          <a:latin typeface="Arial" charset="0"/>
                        </a:rPr>
                        <a:t>4</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5</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6</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7</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extLst>
                  <a:ext uri="{0D108BD9-81ED-4DB2-BD59-A6C34878D82A}">
                    <a16:rowId xmlns:a16="http://schemas.microsoft.com/office/drawing/2014/main" val="10001"/>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10</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1</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2</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3</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4</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extLst>
                  <a:ext uri="{0D108BD9-81ED-4DB2-BD59-A6C34878D82A}">
                    <a16:rowId xmlns:a16="http://schemas.microsoft.com/office/drawing/2014/main" val="10002"/>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17</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chemeClr val="bg1"/>
                          </a:solidFill>
                          <a:effectLst/>
                          <a:latin typeface="Arial" charset="0"/>
                        </a:rPr>
                        <a:t>18</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9</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chemeClr val="bg1"/>
                          </a:solidFill>
                          <a:effectLst/>
                          <a:latin typeface="Arial" charset="0"/>
                        </a:rPr>
                        <a:t>20</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2776"/>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chemeClr val="bg1"/>
                          </a:solidFill>
                          <a:effectLst/>
                          <a:latin typeface="Arial" charset="0"/>
                        </a:rPr>
                        <a:t>21</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2776"/>
                    </a:solidFill>
                  </a:tcPr>
                </a:tc>
                <a:extLst>
                  <a:ext uri="{0D108BD9-81ED-4DB2-BD59-A6C34878D82A}">
                    <a16:rowId xmlns:a16="http://schemas.microsoft.com/office/drawing/2014/main" val="10003"/>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24</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25</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26</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27</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chemeClr val="bg1"/>
                          </a:solidFill>
                          <a:effectLst/>
                          <a:latin typeface="Arial" charset="0"/>
                        </a:rPr>
                        <a:t>28</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4"/>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31</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rgbClr val="313131"/>
                        </a:solidFill>
                        <a:effectLst/>
                        <a:latin typeface="Arial" charset="0"/>
                      </a:endParaRP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rgbClr val="313131"/>
                        </a:solidFill>
                        <a:effectLst/>
                        <a:latin typeface="Arial" charset="0"/>
                      </a:endParaRP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rgbClr val="313131"/>
                        </a:solidFill>
                        <a:effectLst/>
                        <a:latin typeface="Arial" charset="0"/>
                      </a:endParaRP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rgbClr val="313131"/>
                        </a:solidFill>
                        <a:effectLst/>
                        <a:latin typeface="Arial" charset="0"/>
                      </a:endParaRP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graphicFrame>
        <p:nvGraphicFramePr>
          <p:cNvPr id="8" name="Group 97"/>
          <p:cNvGraphicFramePr>
            <a:graphicFrameLocks noGrp="1"/>
          </p:cNvGraphicFramePr>
          <p:nvPr/>
        </p:nvGraphicFramePr>
        <p:xfrm>
          <a:off x="1438275" y="2784872"/>
          <a:ext cx="2997994" cy="1621634"/>
        </p:xfrm>
        <a:graphic>
          <a:graphicData uri="http://schemas.openxmlformats.org/drawingml/2006/table">
            <a:tbl>
              <a:tblPr/>
              <a:tblGrid>
                <a:gridCol w="592412">
                  <a:extLst>
                    <a:ext uri="{9D8B030D-6E8A-4147-A177-3AD203B41FA5}">
                      <a16:colId xmlns:a16="http://schemas.microsoft.com/office/drawing/2014/main" val="20000"/>
                    </a:ext>
                  </a:extLst>
                </a:gridCol>
                <a:gridCol w="607483">
                  <a:extLst>
                    <a:ext uri="{9D8B030D-6E8A-4147-A177-3AD203B41FA5}">
                      <a16:colId xmlns:a16="http://schemas.microsoft.com/office/drawing/2014/main" val="20001"/>
                    </a:ext>
                  </a:extLst>
                </a:gridCol>
                <a:gridCol w="598208">
                  <a:extLst>
                    <a:ext uri="{9D8B030D-6E8A-4147-A177-3AD203B41FA5}">
                      <a16:colId xmlns:a16="http://schemas.microsoft.com/office/drawing/2014/main" val="20002"/>
                    </a:ext>
                  </a:extLst>
                </a:gridCol>
                <a:gridCol w="600526">
                  <a:extLst>
                    <a:ext uri="{9D8B030D-6E8A-4147-A177-3AD203B41FA5}">
                      <a16:colId xmlns:a16="http://schemas.microsoft.com/office/drawing/2014/main" val="20003"/>
                    </a:ext>
                  </a:extLst>
                </a:gridCol>
                <a:gridCol w="599366">
                  <a:extLst>
                    <a:ext uri="{9D8B030D-6E8A-4147-A177-3AD203B41FA5}">
                      <a16:colId xmlns:a16="http://schemas.microsoft.com/office/drawing/2014/main" val="20004"/>
                    </a:ext>
                  </a:extLst>
                </a:gridCol>
              </a:tblGrid>
              <a:tr h="270272">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1" i="0" u="none" strike="noStrike" cap="none" normalizeH="0" baseline="0" dirty="0">
                          <a:ln>
                            <a:noFill/>
                          </a:ln>
                          <a:solidFill>
                            <a:srgbClr val="313131"/>
                          </a:solidFill>
                          <a:effectLst/>
                          <a:latin typeface="Arial" charset="0"/>
                        </a:rPr>
                        <a:t>M</a:t>
                      </a: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1" i="0" u="none" strike="noStrike" cap="none" normalizeH="0" baseline="0" dirty="0">
                          <a:ln>
                            <a:noFill/>
                          </a:ln>
                          <a:solidFill>
                            <a:srgbClr val="313131"/>
                          </a:solidFill>
                          <a:effectLst/>
                          <a:latin typeface="Arial" charset="0"/>
                        </a:rPr>
                        <a:t>T</a:t>
                      </a: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1" i="0" u="none" strike="noStrike" cap="none" normalizeH="0" baseline="0" dirty="0">
                          <a:ln>
                            <a:noFill/>
                          </a:ln>
                          <a:solidFill>
                            <a:srgbClr val="313131"/>
                          </a:solidFill>
                          <a:effectLst/>
                          <a:latin typeface="Arial" charset="0"/>
                        </a:rPr>
                        <a:t>W</a:t>
                      </a: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1" i="0" u="none" strike="noStrike" cap="none" normalizeH="0" baseline="0">
                          <a:ln>
                            <a:noFill/>
                          </a:ln>
                          <a:solidFill>
                            <a:srgbClr val="313131"/>
                          </a:solidFill>
                          <a:effectLst/>
                          <a:latin typeface="Arial" charset="0"/>
                        </a:rPr>
                        <a:t>T</a:t>
                      </a:r>
                      <a:endParaRPr kumimoji="0" lang="en-US" sz="800" b="1" i="0" u="none" strike="noStrike" cap="none" normalizeH="0" baseline="0" dirty="0">
                        <a:ln>
                          <a:noFill/>
                        </a:ln>
                        <a:solidFill>
                          <a:srgbClr val="313131"/>
                        </a:solidFill>
                        <a:effectLst/>
                        <a:latin typeface="Arial" charset="0"/>
                      </a:endParaRP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800" b="1" i="0" u="none" strike="noStrike" cap="none" normalizeH="0" baseline="0" dirty="0">
                          <a:ln>
                            <a:noFill/>
                          </a:ln>
                          <a:solidFill>
                            <a:srgbClr val="313131"/>
                          </a:solidFill>
                          <a:effectLst/>
                          <a:latin typeface="Arial" charset="0"/>
                        </a:rPr>
                        <a:t>F</a:t>
                      </a:r>
                    </a:p>
                  </a:txBody>
                  <a:tcPr marL="27000" marR="27000" marT="27000" marB="27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2</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chemeClr val="bg1"/>
                          </a:solidFill>
                          <a:effectLst/>
                          <a:latin typeface="Arial" charset="0"/>
                        </a:rPr>
                        <a:t>3</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4</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5</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6</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extLst>
                  <a:ext uri="{0D108BD9-81ED-4DB2-BD59-A6C34878D82A}">
                    <a16:rowId xmlns:a16="http://schemas.microsoft.com/office/drawing/2014/main" val="10001"/>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9</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0</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1</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2</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3</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extLst>
                  <a:ext uri="{0D108BD9-81ED-4DB2-BD59-A6C34878D82A}">
                    <a16:rowId xmlns:a16="http://schemas.microsoft.com/office/drawing/2014/main" val="10002"/>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16</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chemeClr val="bg1"/>
                          </a:solidFill>
                          <a:effectLst/>
                          <a:latin typeface="Arial" charset="0"/>
                        </a:rPr>
                        <a:t>17</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8</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19</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20</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extLst>
                  <a:ext uri="{0D108BD9-81ED-4DB2-BD59-A6C34878D82A}">
                    <a16:rowId xmlns:a16="http://schemas.microsoft.com/office/drawing/2014/main" val="10003"/>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chemeClr val="bg1"/>
                          </a:solidFill>
                          <a:effectLst/>
                          <a:latin typeface="Arial" charset="0"/>
                        </a:rPr>
                        <a:t>23</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2776"/>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chemeClr val="bg1"/>
                          </a:solidFill>
                          <a:effectLst/>
                          <a:latin typeface="Arial" charset="0"/>
                        </a:rPr>
                        <a:t>24</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2776"/>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a:ln>
                            <a:noFill/>
                          </a:ln>
                          <a:solidFill>
                            <a:srgbClr val="313131"/>
                          </a:solidFill>
                          <a:effectLst/>
                          <a:latin typeface="Arial" charset="0"/>
                        </a:rPr>
                        <a:t>25</a:t>
                      </a:r>
                      <a:endParaRPr kumimoji="0" lang="en-US" sz="800" b="0" i="0" u="none" strike="noStrike" cap="none" normalizeH="0" baseline="0" dirty="0">
                        <a:ln>
                          <a:noFill/>
                        </a:ln>
                        <a:solidFill>
                          <a:srgbClr val="313131"/>
                        </a:solidFill>
                        <a:effectLst/>
                        <a:latin typeface="Arial" charset="0"/>
                      </a:endParaRP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rgbClr val="313131"/>
                          </a:solidFill>
                          <a:effectLst/>
                          <a:latin typeface="Arial" charset="0"/>
                        </a:rPr>
                        <a:t>26</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chemeClr val="bg1"/>
                          </a:solidFill>
                          <a:effectLst/>
                          <a:latin typeface="Arial" charset="0"/>
                        </a:rPr>
                        <a:t>27</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4"/>
                  </a:ext>
                </a:extLst>
              </a:tr>
              <a:tr h="27027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800" b="0" i="0" u="none" strike="noStrike" cap="none" normalizeH="0" baseline="0" dirty="0">
                          <a:ln>
                            <a:noFill/>
                          </a:ln>
                          <a:solidFill>
                            <a:srgbClr val="313131"/>
                          </a:solidFill>
                          <a:effectLst/>
                          <a:latin typeface="Arial" charset="0"/>
                        </a:rPr>
                        <a:t>30</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800" b="0" i="0" u="none" strike="noStrike" cap="none" normalizeH="0" baseline="0" dirty="0">
                          <a:ln>
                            <a:noFill/>
                          </a:ln>
                          <a:solidFill>
                            <a:schemeClr val="bg1"/>
                          </a:solidFill>
                          <a:effectLst/>
                          <a:latin typeface="Arial" charset="0"/>
                        </a:rPr>
                        <a:t>31</a:t>
                      </a: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rgbClr val="313131"/>
                        </a:solidFill>
                        <a:effectLst/>
                        <a:latin typeface="Arial" charset="0"/>
                      </a:endParaRP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rgbClr val="313131"/>
                        </a:solidFill>
                        <a:effectLst/>
                        <a:latin typeface="Arial" charset="0"/>
                      </a:endParaRP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800" b="0" i="0" u="none" strike="noStrike" cap="none" normalizeH="0" baseline="0" dirty="0">
                        <a:ln>
                          <a:noFill/>
                        </a:ln>
                        <a:solidFill>
                          <a:srgbClr val="313131"/>
                        </a:solidFill>
                        <a:effectLst/>
                        <a:latin typeface="Arial" charset="0"/>
                      </a:endParaRPr>
                    </a:p>
                  </a:txBody>
                  <a:tcPr marL="27000" marR="27000" marT="27000" marB="27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15" name="Text Placeholder 12"/>
          <p:cNvSpPr>
            <a:spLocks/>
          </p:cNvSpPr>
          <p:nvPr>
            <p:custDataLst>
              <p:tags r:id="rId1"/>
            </p:custDataLst>
          </p:nvPr>
        </p:nvSpPr>
        <p:spPr bwMode="auto">
          <a:xfrm>
            <a:off x="1440656" y="842963"/>
            <a:ext cx="197170"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Text</a:t>
            </a:r>
          </a:p>
        </p:txBody>
      </p:sp>
      <p:sp>
        <p:nvSpPr>
          <p:cNvPr id="16" name="Text Placeholder 12"/>
          <p:cNvSpPr>
            <a:spLocks/>
          </p:cNvSpPr>
          <p:nvPr>
            <p:custDataLst>
              <p:tags r:id="rId2"/>
            </p:custDataLst>
          </p:nvPr>
        </p:nvSpPr>
        <p:spPr bwMode="auto">
          <a:xfrm>
            <a:off x="4710168" y="842963"/>
            <a:ext cx="197170"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Text</a:t>
            </a:r>
          </a:p>
        </p:txBody>
      </p:sp>
      <p:sp>
        <p:nvSpPr>
          <p:cNvPr id="31" name="Rectangle 47"/>
          <p:cNvSpPr>
            <a:spLocks noChangeArrowheads="1"/>
          </p:cNvSpPr>
          <p:nvPr>
            <p:custDataLst>
              <p:tags r:id="rId3"/>
            </p:custDataLst>
          </p:nvPr>
        </p:nvSpPr>
        <p:spPr bwMode="auto">
          <a:xfrm>
            <a:off x="3829050" y="4608121"/>
            <a:ext cx="100013" cy="108347"/>
          </a:xfrm>
          <a:prstGeom prst="rect">
            <a:avLst/>
          </a:prstGeom>
          <a:solidFill>
            <a:srgbClr val="002776"/>
          </a:solidFill>
          <a:ln w="12700" algn="ctr">
            <a:solidFill>
              <a:schemeClr val="bg1"/>
            </a:solidFill>
            <a:miter lim="800000"/>
            <a:headEnd/>
            <a:tailEnd/>
          </a:ln>
        </p:spPr>
        <p:txBody>
          <a:bodyPr wrap="square" lIns="27000" tIns="27000" rIns="27000" bIns="27000" anchor="ctr"/>
          <a:lstStyle/>
          <a:p>
            <a:pPr algn="ctr" defTabSz="685800">
              <a:buClrTx/>
            </a:pPr>
            <a:endParaRPr lang="en-US" sz="750" kern="1200">
              <a:solidFill>
                <a:prstClr val="white"/>
              </a:solidFill>
              <a:ea typeface="+mn-ea"/>
              <a:cs typeface="+mn-cs"/>
            </a:endParaRPr>
          </a:p>
        </p:txBody>
      </p:sp>
      <p:sp>
        <p:nvSpPr>
          <p:cNvPr id="32" name="Text Box 48"/>
          <p:cNvSpPr txBox="1">
            <a:spLocks noChangeArrowheads="1"/>
          </p:cNvSpPr>
          <p:nvPr>
            <p:custDataLst>
              <p:tags r:id="rId4"/>
            </p:custDataLst>
          </p:nvPr>
        </p:nvSpPr>
        <p:spPr bwMode="auto">
          <a:xfrm>
            <a:off x="5330428" y="4604586"/>
            <a:ext cx="1192634" cy="115416"/>
          </a:xfrm>
          <a:prstGeom prst="rect">
            <a:avLst/>
          </a:prstGeom>
          <a:noFill/>
          <a:ln w="6350" algn="ctr">
            <a:noFill/>
            <a:miter lim="800000"/>
            <a:headEnd/>
            <a:tailEnd/>
          </a:ln>
        </p:spPr>
        <p:txBody>
          <a:bodyPr wrap="none" lIns="0" tIns="0" rIns="0" bIns="0" anchor="ctr">
            <a:spAutoFit/>
          </a:bodyPr>
          <a:lstStyle/>
          <a:p>
            <a:pPr defTabSz="685800">
              <a:buClrTx/>
            </a:pPr>
            <a:r>
              <a:rPr lang="en-US" sz="750" kern="1200" dirty="0">
                <a:solidFill>
                  <a:srgbClr val="313131"/>
                </a:solidFill>
                <a:ea typeface="ＭＳ Ｐゴシック" charset="-128"/>
                <a:cs typeface="+mn-cs"/>
              </a:rPr>
              <a:t>Steering committee meeting</a:t>
            </a:r>
          </a:p>
        </p:txBody>
      </p:sp>
      <p:sp>
        <p:nvSpPr>
          <p:cNvPr id="33" name="Rectangle 49"/>
          <p:cNvSpPr>
            <a:spLocks noChangeArrowheads="1"/>
          </p:cNvSpPr>
          <p:nvPr>
            <p:custDataLst>
              <p:tags r:id="rId5"/>
            </p:custDataLst>
          </p:nvPr>
        </p:nvSpPr>
        <p:spPr bwMode="auto">
          <a:xfrm>
            <a:off x="5200650" y="4608121"/>
            <a:ext cx="100013" cy="108347"/>
          </a:xfrm>
          <a:prstGeom prst="rect">
            <a:avLst/>
          </a:prstGeom>
          <a:solidFill>
            <a:srgbClr val="00A1DE"/>
          </a:solidFill>
          <a:ln w="12700" algn="ctr">
            <a:solidFill>
              <a:schemeClr val="bg1"/>
            </a:solidFill>
            <a:miter lim="800000"/>
            <a:headEnd/>
            <a:tailEnd/>
          </a:ln>
        </p:spPr>
        <p:txBody>
          <a:bodyPr wrap="square" lIns="27000" tIns="27000" rIns="27000" bIns="27000" anchor="ctr"/>
          <a:lstStyle/>
          <a:p>
            <a:pPr algn="ctr" defTabSz="685800">
              <a:buClrTx/>
            </a:pPr>
            <a:endParaRPr lang="en-US" sz="750" kern="1200">
              <a:solidFill>
                <a:prstClr val="white"/>
              </a:solidFill>
              <a:ea typeface="ＭＳ Ｐゴシック" charset="-128"/>
              <a:cs typeface="+mn-cs"/>
            </a:endParaRPr>
          </a:p>
        </p:txBody>
      </p:sp>
      <p:sp>
        <p:nvSpPr>
          <p:cNvPr id="34" name="Rectangle 50"/>
          <p:cNvSpPr>
            <a:spLocks noChangeArrowheads="1"/>
          </p:cNvSpPr>
          <p:nvPr>
            <p:custDataLst>
              <p:tags r:id="rId6"/>
            </p:custDataLst>
          </p:nvPr>
        </p:nvSpPr>
        <p:spPr bwMode="auto">
          <a:xfrm>
            <a:off x="6838861" y="4608121"/>
            <a:ext cx="100013" cy="108347"/>
          </a:xfrm>
          <a:prstGeom prst="rect">
            <a:avLst/>
          </a:prstGeom>
          <a:solidFill>
            <a:schemeClr val="accent3"/>
          </a:solidFill>
          <a:ln w="12700" algn="ctr">
            <a:solidFill>
              <a:schemeClr val="bg1"/>
            </a:solidFill>
            <a:miter lim="800000"/>
            <a:headEnd/>
            <a:tailEnd/>
          </a:ln>
        </p:spPr>
        <p:txBody>
          <a:bodyPr wrap="square" lIns="27000" tIns="27000" rIns="27000" bIns="27000" anchor="ctr"/>
          <a:lstStyle/>
          <a:p>
            <a:pPr algn="ctr" defTabSz="685800">
              <a:buClrTx/>
              <a:defRPr/>
            </a:pPr>
            <a:endParaRPr lang="en-US" sz="750" kern="1200" dirty="0">
              <a:solidFill>
                <a:prstClr val="white"/>
              </a:solidFill>
              <a:ea typeface="+mn-ea"/>
              <a:cs typeface="+mn-cs"/>
            </a:endParaRPr>
          </a:p>
        </p:txBody>
      </p:sp>
      <p:sp>
        <p:nvSpPr>
          <p:cNvPr id="35" name="Text Box 51"/>
          <p:cNvSpPr txBox="1">
            <a:spLocks noChangeArrowheads="1"/>
          </p:cNvSpPr>
          <p:nvPr>
            <p:custDataLst>
              <p:tags r:id="rId7"/>
            </p:custDataLst>
          </p:nvPr>
        </p:nvSpPr>
        <p:spPr bwMode="auto">
          <a:xfrm>
            <a:off x="6956734" y="4604586"/>
            <a:ext cx="621965" cy="115416"/>
          </a:xfrm>
          <a:prstGeom prst="rect">
            <a:avLst/>
          </a:prstGeom>
          <a:noFill/>
          <a:ln w="6350" algn="ctr">
            <a:noFill/>
            <a:miter lim="800000"/>
            <a:headEnd/>
            <a:tailEnd/>
          </a:ln>
        </p:spPr>
        <p:txBody>
          <a:bodyPr wrap="none" lIns="0" tIns="0" rIns="0" bIns="0" anchor="ctr">
            <a:spAutoFit/>
          </a:bodyPr>
          <a:lstStyle/>
          <a:p>
            <a:pPr defTabSz="685800">
              <a:buClrTx/>
            </a:pPr>
            <a:r>
              <a:rPr lang="en-US" sz="750" kern="1200" dirty="0">
                <a:solidFill>
                  <a:srgbClr val="313131"/>
                </a:solidFill>
                <a:ea typeface="ＭＳ Ｐゴシック" charset="-128"/>
                <a:cs typeface="+mn-cs"/>
              </a:rPr>
              <a:t>Board meeting</a:t>
            </a:r>
          </a:p>
        </p:txBody>
      </p:sp>
      <p:sp>
        <p:nvSpPr>
          <p:cNvPr id="36" name="Text Box 184"/>
          <p:cNvSpPr txBox="1">
            <a:spLocks noChangeArrowheads="1"/>
          </p:cNvSpPr>
          <p:nvPr>
            <p:custDataLst>
              <p:tags r:id="rId8"/>
            </p:custDataLst>
          </p:nvPr>
        </p:nvSpPr>
        <p:spPr bwMode="auto">
          <a:xfrm>
            <a:off x="3952875" y="4604586"/>
            <a:ext cx="989053" cy="115416"/>
          </a:xfrm>
          <a:prstGeom prst="rect">
            <a:avLst/>
          </a:prstGeom>
          <a:noFill/>
          <a:ln w="6350" algn="ctr">
            <a:noFill/>
            <a:miter lim="800000"/>
            <a:headEnd/>
            <a:tailEnd/>
          </a:ln>
        </p:spPr>
        <p:txBody>
          <a:bodyPr wrap="none" lIns="0" tIns="0" rIns="0" bIns="0" anchor="ctr">
            <a:spAutoFit/>
          </a:bodyPr>
          <a:lstStyle/>
          <a:p>
            <a:pPr defTabSz="685800">
              <a:buClrTx/>
            </a:pPr>
            <a:r>
              <a:rPr lang="en-US" sz="750" kern="1200" dirty="0">
                <a:solidFill>
                  <a:srgbClr val="313131"/>
                </a:solidFill>
                <a:ea typeface="ＭＳ Ｐゴシック" charset="-128"/>
                <a:cs typeface="+mn-cs"/>
              </a:rPr>
              <a:t>Working group meeting</a:t>
            </a:r>
          </a:p>
        </p:txBody>
      </p:sp>
    </p:spTree>
  </p:cSld>
  <p:clrMapOvr>
    <a:masterClrMapping/>
  </p:clrMapOvr>
  <p:transition>
    <p:fade/>
  </p:transition>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5585" name="Title 1"/>
          <p:cNvSpPr>
            <a:spLocks noGrp="1"/>
          </p:cNvSpPr>
          <p:nvPr>
            <p:ph type="title"/>
          </p:nvPr>
        </p:nvSpPr>
        <p:spPr/>
        <p:txBody>
          <a:bodyPr/>
          <a:lstStyle/>
          <a:p>
            <a:r>
              <a:rPr lang="en-US" altLang="ja-JP" dirty="0"/>
              <a:t>Curves </a:t>
            </a:r>
            <a:br>
              <a:rPr lang="en-US" altLang="ja-JP" dirty="0"/>
            </a:br>
            <a:r>
              <a:rPr lang="en-US" altLang="ja-JP" dirty="0">
                <a:solidFill>
                  <a:srgbClr val="575757"/>
                </a:solidFill>
              </a:rPr>
              <a:t>Generic life cycle</a:t>
            </a:r>
            <a:endParaRPr lang="en-US" dirty="0">
              <a:solidFill>
                <a:srgbClr val="575757"/>
              </a:solidFill>
            </a:endParaRPr>
          </a:p>
        </p:txBody>
      </p:sp>
      <p:grpSp>
        <p:nvGrpSpPr>
          <p:cNvPr id="5" name="Group 4"/>
          <p:cNvGrpSpPr/>
          <p:nvPr/>
        </p:nvGrpSpPr>
        <p:grpSpPr>
          <a:xfrm>
            <a:off x="2457562" y="1482329"/>
            <a:ext cx="4043801" cy="2864135"/>
            <a:chOff x="1752749" y="1976438"/>
            <a:chExt cx="5391734" cy="3818846"/>
          </a:xfrm>
        </p:grpSpPr>
        <p:grpSp>
          <p:nvGrpSpPr>
            <p:cNvPr id="28" name="Group 27"/>
            <p:cNvGrpSpPr/>
            <p:nvPr/>
          </p:nvGrpSpPr>
          <p:grpSpPr>
            <a:xfrm>
              <a:off x="2107346" y="2247900"/>
              <a:ext cx="4535487" cy="3130550"/>
              <a:chOff x="2217738" y="2247900"/>
              <a:chExt cx="4535487" cy="3130550"/>
            </a:xfrm>
          </p:grpSpPr>
          <p:sp>
            <p:nvSpPr>
              <p:cNvPr id="835587" name="Freeform 5"/>
              <p:cNvSpPr>
                <a:spLocks/>
              </p:cNvSpPr>
              <p:nvPr/>
            </p:nvSpPr>
            <p:spPr bwMode="auto">
              <a:xfrm>
                <a:off x="2217738" y="5330825"/>
                <a:ext cx="503237" cy="47625"/>
              </a:xfrm>
              <a:custGeom>
                <a:avLst/>
                <a:gdLst>
                  <a:gd name="T0" fmla="*/ 0 w 315"/>
                  <a:gd name="T1" fmla="*/ 2147483647 h 29"/>
                  <a:gd name="T2" fmla="*/ 2147483647 w 315"/>
                  <a:gd name="T3" fmla="*/ 2147483647 h 29"/>
                  <a:gd name="T4" fmla="*/ 2147483647 w 315"/>
                  <a:gd name="T5" fmla="*/ 2147483647 h 29"/>
                  <a:gd name="T6" fmla="*/ 2147483647 w 315"/>
                  <a:gd name="T7" fmla="*/ 0 h 29"/>
                  <a:gd name="T8" fmla="*/ 0 60000 65536"/>
                  <a:gd name="T9" fmla="*/ 0 60000 65536"/>
                  <a:gd name="T10" fmla="*/ 0 60000 65536"/>
                  <a:gd name="T11" fmla="*/ 0 60000 65536"/>
                  <a:gd name="T12" fmla="*/ 0 w 315"/>
                  <a:gd name="T13" fmla="*/ 0 h 29"/>
                  <a:gd name="T14" fmla="*/ 315 w 315"/>
                  <a:gd name="T15" fmla="*/ 29 h 29"/>
                </a:gdLst>
                <a:ahLst/>
                <a:cxnLst>
                  <a:cxn ang="T8">
                    <a:pos x="T0" y="T1"/>
                  </a:cxn>
                  <a:cxn ang="T9">
                    <a:pos x="T2" y="T3"/>
                  </a:cxn>
                  <a:cxn ang="T10">
                    <a:pos x="T4" y="T5"/>
                  </a:cxn>
                  <a:cxn ang="T11">
                    <a:pos x="T6" y="T7"/>
                  </a:cxn>
                </a:cxnLst>
                <a:rect l="T12" t="T13" r="T14" b="T15"/>
                <a:pathLst>
                  <a:path w="315" h="29">
                    <a:moveTo>
                      <a:pt x="0" y="29"/>
                    </a:moveTo>
                    <a:lnTo>
                      <a:pt x="158" y="14"/>
                    </a:lnTo>
                    <a:lnTo>
                      <a:pt x="234" y="10"/>
                    </a:lnTo>
                    <a:lnTo>
                      <a:pt x="315" y="0"/>
                    </a:lnTo>
                  </a:path>
                </a:pathLst>
              </a:custGeom>
              <a:solidFill>
                <a:schemeClr val="tx1"/>
              </a:solidFill>
              <a:ln w="76200">
                <a:solidFill>
                  <a:srgbClr val="B4B4B4"/>
                </a:solidFill>
                <a:round/>
                <a:headEnd/>
                <a:tailEnd/>
              </a:ln>
            </p:spPr>
            <p:txBody>
              <a:bodyPr lIns="27000" tIns="27000" rIns="27000" bIns="27000"/>
              <a:lstStyle/>
              <a:p>
                <a:pPr defTabSz="685800">
                  <a:buClrTx/>
                </a:pPr>
                <a:endParaRPr lang="en-US" sz="1350" kern="1200">
                  <a:solidFill>
                    <a:prstClr val="black"/>
                  </a:solidFill>
                  <a:ea typeface="+mn-ea"/>
                  <a:cs typeface="+mn-cs"/>
                </a:endParaRPr>
              </a:p>
            </p:txBody>
          </p:sp>
          <p:sp>
            <p:nvSpPr>
              <p:cNvPr id="835588" name="Freeform 6"/>
              <p:cNvSpPr>
                <a:spLocks/>
              </p:cNvSpPr>
              <p:nvPr/>
            </p:nvSpPr>
            <p:spPr bwMode="auto">
              <a:xfrm>
                <a:off x="2720975" y="5227638"/>
                <a:ext cx="508000" cy="103187"/>
              </a:xfrm>
              <a:custGeom>
                <a:avLst/>
                <a:gdLst>
                  <a:gd name="T0" fmla="*/ 0 w 319"/>
                  <a:gd name="T1" fmla="*/ 2147483647 h 62"/>
                  <a:gd name="T2" fmla="*/ 2147483647 w 319"/>
                  <a:gd name="T3" fmla="*/ 2147483647 h 62"/>
                  <a:gd name="T4" fmla="*/ 2147483647 w 319"/>
                  <a:gd name="T5" fmla="*/ 2147483647 h 62"/>
                  <a:gd name="T6" fmla="*/ 2147483647 w 319"/>
                  <a:gd name="T7" fmla="*/ 2147483647 h 62"/>
                  <a:gd name="T8" fmla="*/ 2147483647 w 319"/>
                  <a:gd name="T9" fmla="*/ 2147483647 h 62"/>
                  <a:gd name="T10" fmla="*/ 2147483647 w 319"/>
                  <a:gd name="T11" fmla="*/ 0 h 62"/>
                  <a:gd name="T12" fmla="*/ 0 60000 65536"/>
                  <a:gd name="T13" fmla="*/ 0 60000 65536"/>
                  <a:gd name="T14" fmla="*/ 0 60000 65536"/>
                  <a:gd name="T15" fmla="*/ 0 60000 65536"/>
                  <a:gd name="T16" fmla="*/ 0 60000 65536"/>
                  <a:gd name="T17" fmla="*/ 0 60000 65536"/>
                  <a:gd name="T18" fmla="*/ 0 w 319"/>
                  <a:gd name="T19" fmla="*/ 0 h 62"/>
                  <a:gd name="T20" fmla="*/ 319 w 319"/>
                  <a:gd name="T21" fmla="*/ 62 h 62"/>
                </a:gdLst>
                <a:ahLst/>
                <a:cxnLst>
                  <a:cxn ang="T12">
                    <a:pos x="T0" y="T1"/>
                  </a:cxn>
                  <a:cxn ang="T13">
                    <a:pos x="T2" y="T3"/>
                  </a:cxn>
                  <a:cxn ang="T14">
                    <a:pos x="T4" y="T5"/>
                  </a:cxn>
                  <a:cxn ang="T15">
                    <a:pos x="T6" y="T7"/>
                  </a:cxn>
                  <a:cxn ang="T16">
                    <a:pos x="T8" y="T9"/>
                  </a:cxn>
                  <a:cxn ang="T17">
                    <a:pos x="T10" y="T11"/>
                  </a:cxn>
                </a:cxnLst>
                <a:rect l="T18" t="T19" r="T20" b="T21"/>
                <a:pathLst>
                  <a:path w="319" h="62">
                    <a:moveTo>
                      <a:pt x="0" y="62"/>
                    </a:moveTo>
                    <a:lnTo>
                      <a:pt x="81" y="53"/>
                    </a:lnTo>
                    <a:lnTo>
                      <a:pt x="157" y="43"/>
                    </a:lnTo>
                    <a:lnTo>
                      <a:pt x="238" y="29"/>
                    </a:lnTo>
                    <a:lnTo>
                      <a:pt x="281" y="15"/>
                    </a:lnTo>
                    <a:lnTo>
                      <a:pt x="319" y="0"/>
                    </a:lnTo>
                  </a:path>
                </a:pathLst>
              </a:custGeom>
              <a:solidFill>
                <a:schemeClr val="tx1"/>
              </a:solidFill>
              <a:ln w="76200">
                <a:solidFill>
                  <a:srgbClr val="B4B4B4"/>
                </a:solidFill>
                <a:round/>
                <a:headEnd/>
                <a:tailEnd/>
              </a:ln>
            </p:spPr>
            <p:txBody>
              <a:bodyPr lIns="27000" tIns="27000" rIns="27000" bIns="27000"/>
              <a:lstStyle/>
              <a:p>
                <a:pPr defTabSz="685800">
                  <a:buClrTx/>
                </a:pPr>
                <a:endParaRPr lang="en-US" sz="1350" kern="1200">
                  <a:solidFill>
                    <a:prstClr val="black"/>
                  </a:solidFill>
                  <a:ea typeface="+mn-ea"/>
                  <a:cs typeface="+mn-cs"/>
                </a:endParaRPr>
              </a:p>
            </p:txBody>
          </p:sp>
          <p:sp>
            <p:nvSpPr>
              <p:cNvPr id="835589" name="Freeform 7"/>
              <p:cNvSpPr>
                <a:spLocks/>
              </p:cNvSpPr>
              <p:nvPr/>
            </p:nvSpPr>
            <p:spPr bwMode="auto">
              <a:xfrm>
                <a:off x="3228975" y="4889500"/>
                <a:ext cx="501650" cy="338138"/>
              </a:xfrm>
              <a:custGeom>
                <a:avLst/>
                <a:gdLst>
                  <a:gd name="T0" fmla="*/ 0 w 314"/>
                  <a:gd name="T1" fmla="*/ 2147483647 h 204"/>
                  <a:gd name="T2" fmla="*/ 2147483647 w 314"/>
                  <a:gd name="T3" fmla="*/ 2147483647 h 204"/>
                  <a:gd name="T4" fmla="*/ 2147483647 w 314"/>
                  <a:gd name="T5" fmla="*/ 2147483647 h 204"/>
                  <a:gd name="T6" fmla="*/ 2147483647 w 314"/>
                  <a:gd name="T7" fmla="*/ 2147483647 h 204"/>
                  <a:gd name="T8" fmla="*/ 2147483647 w 314"/>
                  <a:gd name="T9" fmla="*/ 2147483647 h 204"/>
                  <a:gd name="T10" fmla="*/ 2147483647 w 314"/>
                  <a:gd name="T11" fmla="*/ 2147483647 h 204"/>
                  <a:gd name="T12" fmla="*/ 2147483647 w 314"/>
                  <a:gd name="T13" fmla="*/ 0 h 204"/>
                  <a:gd name="T14" fmla="*/ 0 60000 65536"/>
                  <a:gd name="T15" fmla="*/ 0 60000 65536"/>
                  <a:gd name="T16" fmla="*/ 0 60000 65536"/>
                  <a:gd name="T17" fmla="*/ 0 60000 65536"/>
                  <a:gd name="T18" fmla="*/ 0 60000 65536"/>
                  <a:gd name="T19" fmla="*/ 0 60000 65536"/>
                  <a:gd name="T20" fmla="*/ 0 60000 65536"/>
                  <a:gd name="T21" fmla="*/ 0 w 314"/>
                  <a:gd name="T22" fmla="*/ 0 h 204"/>
                  <a:gd name="T23" fmla="*/ 314 w 314"/>
                  <a:gd name="T24" fmla="*/ 204 h 20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4" h="204">
                    <a:moveTo>
                      <a:pt x="0" y="204"/>
                    </a:moveTo>
                    <a:lnTo>
                      <a:pt x="81" y="171"/>
                    </a:lnTo>
                    <a:lnTo>
                      <a:pt x="157" y="128"/>
                    </a:lnTo>
                    <a:lnTo>
                      <a:pt x="195" y="104"/>
                    </a:lnTo>
                    <a:lnTo>
                      <a:pt x="233" y="76"/>
                    </a:lnTo>
                    <a:lnTo>
                      <a:pt x="276" y="42"/>
                    </a:lnTo>
                    <a:lnTo>
                      <a:pt x="314" y="0"/>
                    </a:lnTo>
                  </a:path>
                </a:pathLst>
              </a:custGeom>
              <a:solidFill>
                <a:schemeClr val="bg1"/>
              </a:solidFill>
              <a:ln w="76200">
                <a:solidFill>
                  <a:srgbClr val="B4B4B4"/>
                </a:solidFill>
                <a:round/>
                <a:headEnd/>
                <a:tailEnd/>
              </a:ln>
            </p:spPr>
            <p:txBody>
              <a:bodyPr lIns="27000" tIns="27000" rIns="27000" bIns="27000"/>
              <a:lstStyle/>
              <a:p>
                <a:pPr defTabSz="685800">
                  <a:buClrTx/>
                </a:pPr>
                <a:endParaRPr lang="en-US" sz="1350" kern="1200">
                  <a:solidFill>
                    <a:prstClr val="black"/>
                  </a:solidFill>
                  <a:ea typeface="+mn-ea"/>
                  <a:cs typeface="+mn-cs"/>
                </a:endParaRPr>
              </a:p>
            </p:txBody>
          </p:sp>
          <p:sp>
            <p:nvSpPr>
              <p:cNvPr id="835590" name="Freeform 8"/>
              <p:cNvSpPr>
                <a:spLocks/>
              </p:cNvSpPr>
              <p:nvPr/>
            </p:nvSpPr>
            <p:spPr bwMode="auto">
              <a:xfrm>
                <a:off x="3730625" y="4032250"/>
                <a:ext cx="503238" cy="857250"/>
              </a:xfrm>
              <a:custGeom>
                <a:avLst/>
                <a:gdLst>
                  <a:gd name="T0" fmla="*/ 0 w 320"/>
                  <a:gd name="T1" fmla="*/ 2147483647 h 514"/>
                  <a:gd name="T2" fmla="*/ 2147483647 w 320"/>
                  <a:gd name="T3" fmla="*/ 2147483647 h 514"/>
                  <a:gd name="T4" fmla="*/ 2147483647 w 320"/>
                  <a:gd name="T5" fmla="*/ 2147483647 h 514"/>
                  <a:gd name="T6" fmla="*/ 2147483647 w 320"/>
                  <a:gd name="T7" fmla="*/ 2147483647 h 514"/>
                  <a:gd name="T8" fmla="*/ 2147483647 w 320"/>
                  <a:gd name="T9" fmla="*/ 2147483647 h 514"/>
                  <a:gd name="T10" fmla="*/ 2147483647 w 320"/>
                  <a:gd name="T11" fmla="*/ 2147483647 h 514"/>
                  <a:gd name="T12" fmla="*/ 2147483647 w 320"/>
                  <a:gd name="T13" fmla="*/ 2147483647 h 514"/>
                  <a:gd name="T14" fmla="*/ 2147483647 w 320"/>
                  <a:gd name="T15" fmla="*/ 0 h 514"/>
                  <a:gd name="T16" fmla="*/ 0 60000 65536"/>
                  <a:gd name="T17" fmla="*/ 0 60000 65536"/>
                  <a:gd name="T18" fmla="*/ 0 60000 65536"/>
                  <a:gd name="T19" fmla="*/ 0 60000 65536"/>
                  <a:gd name="T20" fmla="*/ 0 60000 65536"/>
                  <a:gd name="T21" fmla="*/ 0 60000 65536"/>
                  <a:gd name="T22" fmla="*/ 0 60000 65536"/>
                  <a:gd name="T23" fmla="*/ 0 60000 65536"/>
                  <a:gd name="T24" fmla="*/ 0 w 320"/>
                  <a:gd name="T25" fmla="*/ 0 h 514"/>
                  <a:gd name="T26" fmla="*/ 320 w 320"/>
                  <a:gd name="T27" fmla="*/ 514 h 5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0" h="514">
                    <a:moveTo>
                      <a:pt x="0" y="514"/>
                    </a:moveTo>
                    <a:lnTo>
                      <a:pt x="38" y="466"/>
                    </a:lnTo>
                    <a:lnTo>
                      <a:pt x="81" y="409"/>
                    </a:lnTo>
                    <a:lnTo>
                      <a:pt x="119" y="342"/>
                    </a:lnTo>
                    <a:lnTo>
                      <a:pt x="158" y="276"/>
                    </a:lnTo>
                    <a:lnTo>
                      <a:pt x="239" y="138"/>
                    </a:lnTo>
                    <a:lnTo>
                      <a:pt x="281" y="66"/>
                    </a:lnTo>
                    <a:lnTo>
                      <a:pt x="320" y="0"/>
                    </a:lnTo>
                  </a:path>
                </a:pathLst>
              </a:custGeom>
              <a:solidFill>
                <a:schemeClr val="bg1"/>
              </a:solidFill>
              <a:ln w="76200">
                <a:solidFill>
                  <a:srgbClr val="B4B4B4"/>
                </a:solidFill>
                <a:round/>
                <a:headEnd/>
                <a:tailEnd/>
              </a:ln>
            </p:spPr>
            <p:txBody>
              <a:bodyPr lIns="27000" tIns="27000" rIns="27000" bIns="27000"/>
              <a:lstStyle/>
              <a:p>
                <a:pPr defTabSz="685800">
                  <a:buClrTx/>
                </a:pPr>
                <a:endParaRPr lang="en-US" sz="1350" kern="1200">
                  <a:solidFill>
                    <a:prstClr val="black"/>
                  </a:solidFill>
                  <a:ea typeface="+mn-ea"/>
                  <a:cs typeface="+mn-cs"/>
                </a:endParaRPr>
              </a:p>
            </p:txBody>
          </p:sp>
          <p:sp>
            <p:nvSpPr>
              <p:cNvPr id="835591" name="Freeform 9"/>
              <p:cNvSpPr>
                <a:spLocks/>
              </p:cNvSpPr>
              <p:nvPr/>
            </p:nvSpPr>
            <p:spPr bwMode="auto">
              <a:xfrm>
                <a:off x="4233863" y="3176588"/>
                <a:ext cx="500062" cy="855662"/>
              </a:xfrm>
              <a:custGeom>
                <a:avLst/>
                <a:gdLst>
                  <a:gd name="T0" fmla="*/ 0 w 314"/>
                  <a:gd name="T1" fmla="*/ 2147483647 h 514"/>
                  <a:gd name="T2" fmla="*/ 2147483647 w 314"/>
                  <a:gd name="T3" fmla="*/ 2147483647 h 514"/>
                  <a:gd name="T4" fmla="*/ 2147483647 w 314"/>
                  <a:gd name="T5" fmla="*/ 2147483647 h 514"/>
                  <a:gd name="T6" fmla="*/ 2147483647 w 314"/>
                  <a:gd name="T7" fmla="*/ 2147483647 h 514"/>
                  <a:gd name="T8" fmla="*/ 2147483647 w 314"/>
                  <a:gd name="T9" fmla="*/ 0 h 514"/>
                  <a:gd name="T10" fmla="*/ 0 60000 65536"/>
                  <a:gd name="T11" fmla="*/ 0 60000 65536"/>
                  <a:gd name="T12" fmla="*/ 0 60000 65536"/>
                  <a:gd name="T13" fmla="*/ 0 60000 65536"/>
                  <a:gd name="T14" fmla="*/ 0 60000 65536"/>
                  <a:gd name="T15" fmla="*/ 0 w 314"/>
                  <a:gd name="T16" fmla="*/ 0 h 514"/>
                  <a:gd name="T17" fmla="*/ 314 w 314"/>
                  <a:gd name="T18" fmla="*/ 514 h 514"/>
                </a:gdLst>
                <a:ahLst/>
                <a:cxnLst>
                  <a:cxn ang="T10">
                    <a:pos x="T0" y="T1"/>
                  </a:cxn>
                  <a:cxn ang="T11">
                    <a:pos x="T2" y="T3"/>
                  </a:cxn>
                  <a:cxn ang="T12">
                    <a:pos x="T4" y="T5"/>
                  </a:cxn>
                  <a:cxn ang="T13">
                    <a:pos x="T6" y="T7"/>
                  </a:cxn>
                  <a:cxn ang="T14">
                    <a:pos x="T8" y="T9"/>
                  </a:cxn>
                </a:cxnLst>
                <a:rect l="T15" t="T16" r="T17" b="T18"/>
                <a:pathLst>
                  <a:path w="314" h="514">
                    <a:moveTo>
                      <a:pt x="0" y="514"/>
                    </a:moveTo>
                    <a:lnTo>
                      <a:pt x="80" y="385"/>
                    </a:lnTo>
                    <a:lnTo>
                      <a:pt x="157" y="252"/>
                    </a:lnTo>
                    <a:lnTo>
                      <a:pt x="238" y="124"/>
                    </a:lnTo>
                    <a:lnTo>
                      <a:pt x="314" y="0"/>
                    </a:lnTo>
                  </a:path>
                </a:pathLst>
              </a:custGeom>
              <a:solidFill>
                <a:schemeClr val="bg1"/>
              </a:solidFill>
              <a:ln w="76200">
                <a:solidFill>
                  <a:srgbClr val="B4B4B4"/>
                </a:solidFill>
                <a:round/>
                <a:headEnd/>
                <a:tailEnd/>
              </a:ln>
            </p:spPr>
            <p:txBody>
              <a:bodyPr lIns="27000" tIns="27000" rIns="27000" bIns="27000"/>
              <a:lstStyle/>
              <a:p>
                <a:pPr defTabSz="685800">
                  <a:buClrTx/>
                </a:pPr>
                <a:endParaRPr lang="en-US" sz="1350" kern="1200">
                  <a:solidFill>
                    <a:prstClr val="black"/>
                  </a:solidFill>
                  <a:ea typeface="+mn-ea"/>
                  <a:cs typeface="+mn-cs"/>
                </a:endParaRPr>
              </a:p>
            </p:txBody>
          </p:sp>
          <p:sp>
            <p:nvSpPr>
              <p:cNvPr id="835592" name="Freeform 10"/>
              <p:cNvSpPr>
                <a:spLocks/>
              </p:cNvSpPr>
              <p:nvPr/>
            </p:nvSpPr>
            <p:spPr bwMode="auto">
              <a:xfrm>
                <a:off x="4733925" y="2446338"/>
                <a:ext cx="501650" cy="730250"/>
              </a:xfrm>
              <a:custGeom>
                <a:avLst/>
                <a:gdLst>
                  <a:gd name="T0" fmla="*/ 0 w 314"/>
                  <a:gd name="T1" fmla="*/ 2147483647 h 438"/>
                  <a:gd name="T2" fmla="*/ 2147483647 w 314"/>
                  <a:gd name="T3" fmla="*/ 2147483647 h 438"/>
                  <a:gd name="T4" fmla="*/ 2147483647 w 314"/>
                  <a:gd name="T5" fmla="*/ 2147483647 h 438"/>
                  <a:gd name="T6" fmla="*/ 2147483647 w 314"/>
                  <a:gd name="T7" fmla="*/ 2147483647 h 438"/>
                  <a:gd name="T8" fmla="*/ 2147483647 w 314"/>
                  <a:gd name="T9" fmla="*/ 2147483647 h 438"/>
                  <a:gd name="T10" fmla="*/ 2147483647 w 314"/>
                  <a:gd name="T11" fmla="*/ 2147483647 h 438"/>
                  <a:gd name="T12" fmla="*/ 2147483647 w 314"/>
                  <a:gd name="T13" fmla="*/ 0 h 438"/>
                  <a:gd name="T14" fmla="*/ 0 60000 65536"/>
                  <a:gd name="T15" fmla="*/ 0 60000 65536"/>
                  <a:gd name="T16" fmla="*/ 0 60000 65536"/>
                  <a:gd name="T17" fmla="*/ 0 60000 65536"/>
                  <a:gd name="T18" fmla="*/ 0 60000 65536"/>
                  <a:gd name="T19" fmla="*/ 0 60000 65536"/>
                  <a:gd name="T20" fmla="*/ 0 60000 65536"/>
                  <a:gd name="T21" fmla="*/ 0 w 314"/>
                  <a:gd name="T22" fmla="*/ 0 h 438"/>
                  <a:gd name="T23" fmla="*/ 314 w 314"/>
                  <a:gd name="T24" fmla="*/ 438 h 4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4" h="438">
                    <a:moveTo>
                      <a:pt x="0" y="438"/>
                    </a:moveTo>
                    <a:lnTo>
                      <a:pt x="76" y="314"/>
                    </a:lnTo>
                    <a:lnTo>
                      <a:pt x="157" y="195"/>
                    </a:lnTo>
                    <a:lnTo>
                      <a:pt x="195" y="138"/>
                    </a:lnTo>
                    <a:lnTo>
                      <a:pt x="233" y="86"/>
                    </a:lnTo>
                    <a:lnTo>
                      <a:pt x="276" y="38"/>
                    </a:lnTo>
                    <a:lnTo>
                      <a:pt x="314" y="0"/>
                    </a:lnTo>
                  </a:path>
                </a:pathLst>
              </a:custGeom>
              <a:solidFill>
                <a:schemeClr val="bg1"/>
              </a:solidFill>
              <a:ln w="76200">
                <a:solidFill>
                  <a:srgbClr val="B4B4B4"/>
                </a:solidFill>
                <a:round/>
                <a:headEnd/>
                <a:tailEnd/>
              </a:ln>
            </p:spPr>
            <p:txBody>
              <a:bodyPr lIns="27000" tIns="27000" rIns="27000" bIns="27000"/>
              <a:lstStyle/>
              <a:p>
                <a:pPr defTabSz="685800">
                  <a:buClrTx/>
                </a:pPr>
                <a:endParaRPr lang="en-US" sz="1350" kern="1200">
                  <a:solidFill>
                    <a:prstClr val="black"/>
                  </a:solidFill>
                  <a:ea typeface="+mn-ea"/>
                  <a:cs typeface="+mn-cs"/>
                </a:endParaRPr>
              </a:p>
            </p:txBody>
          </p:sp>
          <p:sp>
            <p:nvSpPr>
              <p:cNvPr id="835593" name="Freeform 11"/>
              <p:cNvSpPr>
                <a:spLocks/>
              </p:cNvSpPr>
              <p:nvPr/>
            </p:nvSpPr>
            <p:spPr bwMode="auto">
              <a:xfrm>
                <a:off x="5235575" y="2247900"/>
                <a:ext cx="508000" cy="198438"/>
              </a:xfrm>
              <a:custGeom>
                <a:avLst/>
                <a:gdLst>
                  <a:gd name="T0" fmla="*/ 0 w 319"/>
                  <a:gd name="T1" fmla="*/ 2147483647 h 119"/>
                  <a:gd name="T2" fmla="*/ 2147483647 w 319"/>
                  <a:gd name="T3" fmla="*/ 2147483647 h 119"/>
                  <a:gd name="T4" fmla="*/ 2147483647 w 319"/>
                  <a:gd name="T5" fmla="*/ 2147483647 h 119"/>
                  <a:gd name="T6" fmla="*/ 2147483647 w 319"/>
                  <a:gd name="T7" fmla="*/ 2147483647 h 119"/>
                  <a:gd name="T8" fmla="*/ 2147483647 w 319"/>
                  <a:gd name="T9" fmla="*/ 2147483647 h 119"/>
                  <a:gd name="T10" fmla="*/ 2147483647 w 319"/>
                  <a:gd name="T11" fmla="*/ 2147483647 h 119"/>
                  <a:gd name="T12" fmla="*/ 2147483647 w 319"/>
                  <a:gd name="T13" fmla="*/ 2147483647 h 119"/>
                  <a:gd name="T14" fmla="*/ 2147483647 w 319"/>
                  <a:gd name="T15" fmla="*/ 0 h 119"/>
                  <a:gd name="T16" fmla="*/ 0 60000 65536"/>
                  <a:gd name="T17" fmla="*/ 0 60000 65536"/>
                  <a:gd name="T18" fmla="*/ 0 60000 65536"/>
                  <a:gd name="T19" fmla="*/ 0 60000 65536"/>
                  <a:gd name="T20" fmla="*/ 0 60000 65536"/>
                  <a:gd name="T21" fmla="*/ 0 60000 65536"/>
                  <a:gd name="T22" fmla="*/ 0 60000 65536"/>
                  <a:gd name="T23" fmla="*/ 0 60000 65536"/>
                  <a:gd name="T24" fmla="*/ 0 w 319"/>
                  <a:gd name="T25" fmla="*/ 0 h 119"/>
                  <a:gd name="T26" fmla="*/ 319 w 319"/>
                  <a:gd name="T27" fmla="*/ 119 h 1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9" h="119">
                    <a:moveTo>
                      <a:pt x="0" y="119"/>
                    </a:moveTo>
                    <a:lnTo>
                      <a:pt x="38" y="86"/>
                    </a:lnTo>
                    <a:lnTo>
                      <a:pt x="81" y="62"/>
                    </a:lnTo>
                    <a:lnTo>
                      <a:pt x="119" y="43"/>
                    </a:lnTo>
                    <a:lnTo>
                      <a:pt x="157" y="29"/>
                    </a:lnTo>
                    <a:lnTo>
                      <a:pt x="200" y="19"/>
                    </a:lnTo>
                    <a:lnTo>
                      <a:pt x="238" y="10"/>
                    </a:lnTo>
                    <a:lnTo>
                      <a:pt x="319" y="0"/>
                    </a:lnTo>
                  </a:path>
                </a:pathLst>
              </a:custGeom>
              <a:solidFill>
                <a:schemeClr val="bg1"/>
              </a:solidFill>
              <a:ln w="76200">
                <a:solidFill>
                  <a:srgbClr val="B4B4B4"/>
                </a:solidFill>
                <a:round/>
                <a:headEnd/>
                <a:tailEnd/>
              </a:ln>
            </p:spPr>
            <p:txBody>
              <a:bodyPr lIns="27000" tIns="27000" rIns="27000" bIns="27000"/>
              <a:lstStyle/>
              <a:p>
                <a:pPr defTabSz="685800">
                  <a:buClrTx/>
                </a:pPr>
                <a:endParaRPr lang="en-US" sz="1350" kern="1200">
                  <a:solidFill>
                    <a:prstClr val="black"/>
                  </a:solidFill>
                  <a:ea typeface="+mn-ea"/>
                  <a:cs typeface="+mn-cs"/>
                </a:endParaRPr>
              </a:p>
            </p:txBody>
          </p:sp>
          <p:sp>
            <p:nvSpPr>
              <p:cNvPr id="835594" name="Freeform 12"/>
              <p:cNvSpPr>
                <a:spLocks/>
              </p:cNvSpPr>
              <p:nvPr/>
            </p:nvSpPr>
            <p:spPr bwMode="auto">
              <a:xfrm>
                <a:off x="5743575" y="2247900"/>
                <a:ext cx="503238" cy="95250"/>
              </a:xfrm>
              <a:custGeom>
                <a:avLst/>
                <a:gdLst>
                  <a:gd name="T0" fmla="*/ 0 w 315"/>
                  <a:gd name="T1" fmla="*/ 0 h 57"/>
                  <a:gd name="T2" fmla="*/ 2147483647 w 315"/>
                  <a:gd name="T3" fmla="*/ 0 h 57"/>
                  <a:gd name="T4" fmla="*/ 2147483647 w 315"/>
                  <a:gd name="T5" fmla="*/ 2147483647 h 57"/>
                  <a:gd name="T6" fmla="*/ 2147483647 w 315"/>
                  <a:gd name="T7" fmla="*/ 2147483647 h 57"/>
                  <a:gd name="T8" fmla="*/ 2147483647 w 315"/>
                  <a:gd name="T9" fmla="*/ 2147483647 h 57"/>
                  <a:gd name="T10" fmla="*/ 0 60000 65536"/>
                  <a:gd name="T11" fmla="*/ 0 60000 65536"/>
                  <a:gd name="T12" fmla="*/ 0 60000 65536"/>
                  <a:gd name="T13" fmla="*/ 0 60000 65536"/>
                  <a:gd name="T14" fmla="*/ 0 60000 65536"/>
                  <a:gd name="T15" fmla="*/ 0 w 315"/>
                  <a:gd name="T16" fmla="*/ 0 h 57"/>
                  <a:gd name="T17" fmla="*/ 315 w 315"/>
                  <a:gd name="T18" fmla="*/ 57 h 57"/>
                </a:gdLst>
                <a:ahLst/>
                <a:cxnLst>
                  <a:cxn ang="T10">
                    <a:pos x="T0" y="T1"/>
                  </a:cxn>
                  <a:cxn ang="T11">
                    <a:pos x="T2" y="T3"/>
                  </a:cxn>
                  <a:cxn ang="T12">
                    <a:pos x="T4" y="T5"/>
                  </a:cxn>
                  <a:cxn ang="T13">
                    <a:pos x="T6" y="T7"/>
                  </a:cxn>
                  <a:cxn ang="T14">
                    <a:pos x="T8" y="T9"/>
                  </a:cxn>
                </a:cxnLst>
                <a:rect l="T15" t="T16" r="T17" b="T18"/>
                <a:pathLst>
                  <a:path w="315" h="57">
                    <a:moveTo>
                      <a:pt x="0" y="0"/>
                    </a:moveTo>
                    <a:lnTo>
                      <a:pt x="81" y="0"/>
                    </a:lnTo>
                    <a:lnTo>
                      <a:pt x="158" y="10"/>
                    </a:lnTo>
                    <a:lnTo>
                      <a:pt x="234" y="29"/>
                    </a:lnTo>
                    <a:lnTo>
                      <a:pt x="315" y="57"/>
                    </a:lnTo>
                  </a:path>
                </a:pathLst>
              </a:custGeom>
              <a:solidFill>
                <a:schemeClr val="bg1"/>
              </a:solidFill>
              <a:ln w="76200">
                <a:solidFill>
                  <a:srgbClr val="B4B4B4"/>
                </a:solidFill>
                <a:round/>
                <a:headEnd/>
                <a:tailEnd/>
              </a:ln>
            </p:spPr>
            <p:txBody>
              <a:bodyPr lIns="27000" tIns="27000" rIns="27000" bIns="27000"/>
              <a:lstStyle/>
              <a:p>
                <a:pPr defTabSz="685800">
                  <a:buClrTx/>
                </a:pPr>
                <a:endParaRPr lang="en-US" sz="1350" kern="1200">
                  <a:solidFill>
                    <a:prstClr val="black"/>
                  </a:solidFill>
                  <a:ea typeface="+mn-ea"/>
                  <a:cs typeface="+mn-cs"/>
                </a:endParaRPr>
              </a:p>
            </p:txBody>
          </p:sp>
          <p:sp>
            <p:nvSpPr>
              <p:cNvPr id="835595" name="Freeform 13"/>
              <p:cNvSpPr>
                <a:spLocks/>
              </p:cNvSpPr>
              <p:nvPr/>
            </p:nvSpPr>
            <p:spPr bwMode="auto">
              <a:xfrm>
                <a:off x="6246813" y="2343150"/>
                <a:ext cx="506412" cy="349250"/>
              </a:xfrm>
              <a:custGeom>
                <a:avLst/>
                <a:gdLst>
                  <a:gd name="T0" fmla="*/ 0 w 319"/>
                  <a:gd name="T1" fmla="*/ 0 h 210"/>
                  <a:gd name="T2" fmla="*/ 2147483647 w 319"/>
                  <a:gd name="T3" fmla="*/ 2147483647 h 210"/>
                  <a:gd name="T4" fmla="*/ 2147483647 w 319"/>
                  <a:gd name="T5" fmla="*/ 2147483647 h 210"/>
                  <a:gd name="T6" fmla="*/ 2147483647 w 319"/>
                  <a:gd name="T7" fmla="*/ 2147483647 h 210"/>
                  <a:gd name="T8" fmla="*/ 2147483647 w 319"/>
                  <a:gd name="T9" fmla="*/ 2147483647 h 210"/>
                  <a:gd name="T10" fmla="*/ 2147483647 w 319"/>
                  <a:gd name="T11" fmla="*/ 2147483647 h 210"/>
                  <a:gd name="T12" fmla="*/ 0 60000 65536"/>
                  <a:gd name="T13" fmla="*/ 0 60000 65536"/>
                  <a:gd name="T14" fmla="*/ 0 60000 65536"/>
                  <a:gd name="T15" fmla="*/ 0 60000 65536"/>
                  <a:gd name="T16" fmla="*/ 0 60000 65536"/>
                  <a:gd name="T17" fmla="*/ 0 60000 65536"/>
                  <a:gd name="T18" fmla="*/ 0 w 319"/>
                  <a:gd name="T19" fmla="*/ 0 h 210"/>
                  <a:gd name="T20" fmla="*/ 319 w 319"/>
                  <a:gd name="T21" fmla="*/ 210 h 210"/>
                </a:gdLst>
                <a:ahLst/>
                <a:cxnLst>
                  <a:cxn ang="T12">
                    <a:pos x="T0" y="T1"/>
                  </a:cxn>
                  <a:cxn ang="T13">
                    <a:pos x="T2" y="T3"/>
                  </a:cxn>
                  <a:cxn ang="T14">
                    <a:pos x="T4" y="T5"/>
                  </a:cxn>
                  <a:cxn ang="T15">
                    <a:pos x="T6" y="T7"/>
                  </a:cxn>
                  <a:cxn ang="T16">
                    <a:pos x="T8" y="T9"/>
                  </a:cxn>
                  <a:cxn ang="T17">
                    <a:pos x="T10" y="T11"/>
                  </a:cxn>
                </a:cxnLst>
                <a:rect l="T18" t="T19" r="T20" b="T21"/>
                <a:pathLst>
                  <a:path w="319" h="210">
                    <a:moveTo>
                      <a:pt x="0" y="0"/>
                    </a:moveTo>
                    <a:lnTo>
                      <a:pt x="38" y="20"/>
                    </a:lnTo>
                    <a:lnTo>
                      <a:pt x="81" y="43"/>
                    </a:lnTo>
                    <a:lnTo>
                      <a:pt x="157" y="96"/>
                    </a:lnTo>
                    <a:lnTo>
                      <a:pt x="238" y="153"/>
                    </a:lnTo>
                    <a:lnTo>
                      <a:pt x="319" y="210"/>
                    </a:lnTo>
                  </a:path>
                </a:pathLst>
              </a:custGeom>
              <a:solidFill>
                <a:schemeClr val="bg1"/>
              </a:solidFill>
              <a:ln w="76200">
                <a:solidFill>
                  <a:srgbClr val="B4B4B4"/>
                </a:solidFill>
                <a:round/>
                <a:headEnd/>
                <a:tailEnd/>
              </a:ln>
            </p:spPr>
            <p:txBody>
              <a:bodyPr lIns="27000" tIns="27000" rIns="27000" bIns="27000"/>
              <a:lstStyle/>
              <a:p>
                <a:pPr defTabSz="685800">
                  <a:buClrTx/>
                </a:pPr>
                <a:endParaRPr lang="en-US" sz="1350" kern="1200">
                  <a:solidFill>
                    <a:prstClr val="black"/>
                  </a:solidFill>
                  <a:ea typeface="+mn-ea"/>
                  <a:cs typeface="+mn-cs"/>
                </a:endParaRPr>
              </a:p>
            </p:txBody>
          </p:sp>
        </p:grpSp>
        <p:sp>
          <p:nvSpPr>
            <p:cNvPr id="835596" name="Rectangle 14"/>
            <p:cNvSpPr>
              <a:spLocks noChangeArrowheads="1"/>
            </p:cNvSpPr>
            <p:nvPr/>
          </p:nvSpPr>
          <p:spPr bwMode="auto">
            <a:xfrm rot="16200000">
              <a:off x="1518710" y="3576849"/>
              <a:ext cx="694669" cy="226592"/>
            </a:xfrm>
            <a:prstGeom prst="rect">
              <a:avLst/>
            </a:prstGeom>
            <a:noFill/>
            <a:ln w="9525">
              <a:noFill/>
              <a:miter lim="800000"/>
              <a:headEnd/>
              <a:tailEnd/>
            </a:ln>
          </p:spPr>
          <p:txBody>
            <a:bodyPr wrap="none" lIns="27000" tIns="27000" rIns="27000" bIns="27000">
              <a:spAutoFit/>
            </a:bodyPr>
            <a:lstStyle/>
            <a:p>
              <a:pPr algn="ctr" defTabSz="685800">
                <a:buClrTx/>
              </a:pPr>
              <a:r>
                <a:rPr lang="en-US" altLang="ja-JP" sz="750" b="1" kern="1200" dirty="0">
                  <a:solidFill>
                    <a:srgbClr val="313131"/>
                  </a:solidFill>
                  <a:ea typeface="ＭＳ Ｐゴシック" charset="-128"/>
                  <a:cs typeface="+mn-cs"/>
                </a:rPr>
                <a:t>Units sold</a:t>
              </a:r>
            </a:p>
          </p:txBody>
        </p:sp>
        <p:sp>
          <p:nvSpPr>
            <p:cNvPr id="835597" name="Rectangle 15"/>
            <p:cNvSpPr>
              <a:spLocks noChangeArrowheads="1"/>
            </p:cNvSpPr>
            <p:nvPr/>
          </p:nvSpPr>
          <p:spPr bwMode="auto">
            <a:xfrm>
              <a:off x="3959642" y="5568692"/>
              <a:ext cx="1186256" cy="226592"/>
            </a:xfrm>
            <a:prstGeom prst="rect">
              <a:avLst/>
            </a:prstGeom>
            <a:noFill/>
            <a:ln w="9525">
              <a:noFill/>
              <a:miter lim="800000"/>
              <a:headEnd/>
              <a:tailEnd/>
            </a:ln>
          </p:spPr>
          <p:txBody>
            <a:bodyPr wrap="none" lIns="27000" tIns="27000" rIns="27000" bIns="27000">
              <a:spAutoFit/>
            </a:bodyPr>
            <a:lstStyle/>
            <a:p>
              <a:pPr defTabSz="685800">
                <a:buClrTx/>
              </a:pPr>
              <a:r>
                <a:rPr lang="en-US" altLang="ja-JP" sz="750" b="1" kern="1200">
                  <a:solidFill>
                    <a:srgbClr val="313131"/>
                  </a:solidFill>
                  <a:ea typeface="ＭＳ Ｐゴシック" charset="-128"/>
                  <a:cs typeface="+mn-cs"/>
                </a:rPr>
                <a:t>Time since launch</a:t>
              </a:r>
              <a:endParaRPr lang="en-US" altLang="ja-JP" sz="750" b="1" kern="1200" dirty="0">
                <a:solidFill>
                  <a:srgbClr val="313131"/>
                </a:solidFill>
                <a:ea typeface="ＭＳ Ｐゴシック" charset="-128"/>
                <a:cs typeface="+mn-cs"/>
              </a:endParaRPr>
            </a:p>
          </p:txBody>
        </p:sp>
        <p:sp>
          <p:nvSpPr>
            <p:cNvPr id="835598" name="Rectangle 16"/>
            <p:cNvSpPr>
              <a:spLocks noChangeArrowheads="1"/>
            </p:cNvSpPr>
            <p:nvPr/>
          </p:nvSpPr>
          <p:spPr bwMode="auto">
            <a:xfrm>
              <a:off x="2404208" y="4773614"/>
              <a:ext cx="692531" cy="241980"/>
            </a:xfrm>
            <a:prstGeom prst="rect">
              <a:avLst/>
            </a:prstGeom>
            <a:noFill/>
            <a:ln w="9525">
              <a:noFill/>
              <a:miter lim="800000"/>
              <a:headEnd/>
              <a:tailEnd/>
            </a:ln>
          </p:spPr>
          <p:txBody>
            <a:bodyPr wrap="none" lIns="27000" tIns="27000" rIns="27000" bIns="27000">
              <a:spAutoFit/>
            </a:bodyPr>
            <a:lstStyle/>
            <a:p>
              <a:pPr defTabSz="685800">
                <a:buClrTx/>
              </a:pPr>
              <a:r>
                <a:rPr lang="en-US" altLang="ja-JP" sz="825" kern="1200">
                  <a:solidFill>
                    <a:srgbClr val="313131"/>
                  </a:solidFill>
                  <a:ea typeface="ＭＳ Ｐゴシック" charset="-128"/>
                  <a:cs typeface="+mn-cs"/>
                </a:rPr>
                <a:t>Product A</a:t>
              </a:r>
              <a:endParaRPr lang="en-US" altLang="ja-JP" sz="825" kern="1200" dirty="0">
                <a:solidFill>
                  <a:srgbClr val="313131"/>
                </a:solidFill>
                <a:ea typeface="ＭＳ Ｐゴシック" charset="-128"/>
                <a:cs typeface="+mn-cs"/>
              </a:endParaRPr>
            </a:p>
          </p:txBody>
        </p:sp>
        <p:sp>
          <p:nvSpPr>
            <p:cNvPr id="835599" name="AutoShape 17"/>
            <p:cNvSpPr>
              <a:spLocks noChangeArrowheads="1"/>
            </p:cNvSpPr>
            <p:nvPr/>
          </p:nvSpPr>
          <p:spPr bwMode="auto">
            <a:xfrm>
              <a:off x="2928083" y="5127625"/>
              <a:ext cx="234950" cy="254000"/>
            </a:xfrm>
            <a:prstGeom prst="flowChartConnector">
              <a:avLst/>
            </a:prstGeom>
            <a:solidFill>
              <a:srgbClr val="00A1DE"/>
            </a:solidFill>
            <a:ln w="12700" algn="ctr">
              <a:solidFill>
                <a:schemeClr val="bg1"/>
              </a:solidFill>
              <a:round/>
              <a:headEnd/>
              <a:tailEnd/>
            </a:ln>
          </p:spPr>
          <p:txBody>
            <a:bodyPr wrap="none" lIns="27000" tIns="27000" rIns="27000" bIns="27000" anchor="ctr"/>
            <a:lstStyle/>
            <a:p>
              <a:pPr algn="ctr" defTabSz="685800">
                <a:buClrTx/>
              </a:pPr>
              <a:endParaRPr lang="en-US" sz="1350" kern="1200">
                <a:solidFill>
                  <a:prstClr val="black"/>
                </a:solidFill>
                <a:ea typeface="+mn-ea"/>
                <a:cs typeface="+mn-cs"/>
              </a:endParaRPr>
            </a:p>
          </p:txBody>
        </p:sp>
        <p:sp>
          <p:nvSpPr>
            <p:cNvPr id="835600" name="AutoShape 18"/>
            <p:cNvSpPr>
              <a:spLocks noChangeArrowheads="1"/>
            </p:cNvSpPr>
            <p:nvPr/>
          </p:nvSpPr>
          <p:spPr bwMode="auto">
            <a:xfrm>
              <a:off x="3979008" y="3984625"/>
              <a:ext cx="234950" cy="254000"/>
            </a:xfrm>
            <a:prstGeom prst="flowChartConnector">
              <a:avLst/>
            </a:prstGeom>
            <a:solidFill>
              <a:srgbClr val="00A1DE"/>
            </a:solidFill>
            <a:ln w="12700" algn="ctr">
              <a:solidFill>
                <a:schemeClr val="bg1"/>
              </a:solidFill>
              <a:round/>
              <a:headEnd/>
              <a:tailEnd/>
            </a:ln>
          </p:spPr>
          <p:txBody>
            <a:bodyPr wrap="none" lIns="27000" tIns="27000" rIns="27000" bIns="27000" anchor="ctr"/>
            <a:lstStyle/>
            <a:p>
              <a:pPr algn="ctr" defTabSz="685800">
                <a:buClrTx/>
              </a:pPr>
              <a:endParaRPr lang="en-US" sz="1350" kern="1200">
                <a:solidFill>
                  <a:prstClr val="black"/>
                </a:solidFill>
                <a:ea typeface="+mn-ea"/>
                <a:cs typeface="+mn-cs"/>
              </a:endParaRPr>
            </a:p>
          </p:txBody>
        </p:sp>
        <p:sp>
          <p:nvSpPr>
            <p:cNvPr id="835601" name="AutoShape 19"/>
            <p:cNvSpPr>
              <a:spLocks noChangeArrowheads="1"/>
            </p:cNvSpPr>
            <p:nvPr/>
          </p:nvSpPr>
          <p:spPr bwMode="auto">
            <a:xfrm>
              <a:off x="4566383" y="2970213"/>
              <a:ext cx="234950" cy="254000"/>
            </a:xfrm>
            <a:prstGeom prst="flowChartConnector">
              <a:avLst/>
            </a:prstGeom>
            <a:solidFill>
              <a:srgbClr val="00A1DE"/>
            </a:solidFill>
            <a:ln w="12700" algn="ctr">
              <a:solidFill>
                <a:schemeClr val="bg1"/>
              </a:solidFill>
              <a:round/>
              <a:headEnd/>
              <a:tailEnd/>
            </a:ln>
          </p:spPr>
          <p:txBody>
            <a:bodyPr wrap="none" lIns="27000" tIns="27000" rIns="27000" bIns="27000" anchor="ctr"/>
            <a:lstStyle/>
            <a:p>
              <a:pPr algn="ctr" defTabSz="685800">
                <a:buClrTx/>
              </a:pPr>
              <a:endParaRPr lang="en-US" sz="1350" kern="1200">
                <a:solidFill>
                  <a:prstClr val="black"/>
                </a:solidFill>
                <a:ea typeface="+mn-ea"/>
                <a:cs typeface="+mn-cs"/>
              </a:endParaRPr>
            </a:p>
          </p:txBody>
        </p:sp>
        <p:sp>
          <p:nvSpPr>
            <p:cNvPr id="835602" name="AutoShape 20"/>
            <p:cNvSpPr>
              <a:spLocks noChangeArrowheads="1"/>
            </p:cNvSpPr>
            <p:nvPr/>
          </p:nvSpPr>
          <p:spPr bwMode="auto">
            <a:xfrm>
              <a:off x="6206271" y="2335213"/>
              <a:ext cx="234950" cy="254000"/>
            </a:xfrm>
            <a:prstGeom prst="flowChartConnector">
              <a:avLst/>
            </a:prstGeom>
            <a:solidFill>
              <a:srgbClr val="00A1DE"/>
            </a:solidFill>
            <a:ln w="12700" algn="ctr">
              <a:solidFill>
                <a:schemeClr val="bg1"/>
              </a:solidFill>
              <a:round/>
              <a:headEnd/>
              <a:tailEnd/>
            </a:ln>
          </p:spPr>
          <p:txBody>
            <a:bodyPr wrap="none" lIns="27000" tIns="27000" rIns="27000" bIns="27000" anchor="ctr"/>
            <a:lstStyle/>
            <a:p>
              <a:pPr algn="ctr" defTabSz="685800">
                <a:buClrTx/>
              </a:pPr>
              <a:endParaRPr lang="en-US" sz="1350" kern="1200">
                <a:solidFill>
                  <a:prstClr val="black"/>
                </a:solidFill>
                <a:ea typeface="+mn-ea"/>
                <a:cs typeface="+mn-cs"/>
              </a:endParaRPr>
            </a:p>
          </p:txBody>
        </p:sp>
        <p:sp>
          <p:nvSpPr>
            <p:cNvPr id="835603" name="Line 21"/>
            <p:cNvSpPr>
              <a:spLocks noChangeShapeType="1"/>
            </p:cNvSpPr>
            <p:nvPr/>
          </p:nvSpPr>
          <p:spPr bwMode="auto">
            <a:xfrm>
              <a:off x="2107346" y="5411788"/>
              <a:ext cx="5037137" cy="0"/>
            </a:xfrm>
            <a:prstGeom prst="line">
              <a:avLst/>
            </a:prstGeom>
            <a:noFill/>
            <a:ln w="19050">
              <a:solidFill>
                <a:srgbClr val="B4B4B4"/>
              </a:solidFill>
              <a:round/>
              <a:headEnd/>
              <a:tailEnd type="triangle" w="med" len="med"/>
            </a:ln>
          </p:spPr>
          <p:txBody>
            <a:bodyPr wrap="none" lIns="27000" tIns="27000" rIns="27000" bIns="27000" anchor="ctr"/>
            <a:lstStyle/>
            <a:p>
              <a:pPr defTabSz="685800">
                <a:buClrTx/>
              </a:pPr>
              <a:endParaRPr lang="en-US" sz="1350" kern="1200">
                <a:solidFill>
                  <a:prstClr val="black"/>
                </a:solidFill>
                <a:ea typeface="+mn-ea"/>
                <a:cs typeface="+mn-cs"/>
              </a:endParaRPr>
            </a:p>
          </p:txBody>
        </p:sp>
        <p:sp>
          <p:nvSpPr>
            <p:cNvPr id="835604" name="Line 22"/>
            <p:cNvSpPr>
              <a:spLocks noChangeShapeType="1"/>
            </p:cNvSpPr>
            <p:nvPr/>
          </p:nvSpPr>
          <p:spPr bwMode="auto">
            <a:xfrm flipV="1">
              <a:off x="2107346" y="1976438"/>
              <a:ext cx="0" cy="3427412"/>
            </a:xfrm>
            <a:prstGeom prst="line">
              <a:avLst/>
            </a:prstGeom>
            <a:noFill/>
            <a:ln w="19050">
              <a:solidFill>
                <a:srgbClr val="B4B4B4"/>
              </a:solidFill>
              <a:round/>
              <a:headEnd/>
              <a:tailEnd type="triangle" w="med" len="med"/>
            </a:ln>
          </p:spPr>
          <p:txBody>
            <a:bodyPr wrap="none" lIns="27000" tIns="27000" rIns="27000" bIns="27000" anchor="ctr"/>
            <a:lstStyle/>
            <a:p>
              <a:pPr defTabSz="685800">
                <a:buClrTx/>
              </a:pPr>
              <a:endParaRPr lang="en-US" sz="1350" kern="1200">
                <a:solidFill>
                  <a:prstClr val="black"/>
                </a:solidFill>
                <a:ea typeface="+mn-ea"/>
                <a:cs typeface="+mn-cs"/>
              </a:endParaRPr>
            </a:p>
          </p:txBody>
        </p:sp>
        <p:sp>
          <p:nvSpPr>
            <p:cNvPr id="835605" name="Rectangle 23"/>
            <p:cNvSpPr>
              <a:spLocks noChangeArrowheads="1"/>
            </p:cNvSpPr>
            <p:nvPr/>
          </p:nvSpPr>
          <p:spPr bwMode="auto">
            <a:xfrm>
              <a:off x="3156683" y="4005263"/>
              <a:ext cx="692531" cy="241980"/>
            </a:xfrm>
            <a:prstGeom prst="rect">
              <a:avLst/>
            </a:prstGeom>
            <a:noFill/>
            <a:ln w="9525">
              <a:noFill/>
              <a:miter lim="800000"/>
              <a:headEnd/>
              <a:tailEnd/>
            </a:ln>
          </p:spPr>
          <p:txBody>
            <a:bodyPr wrap="none" lIns="27000" tIns="27000" rIns="27000" bIns="27000">
              <a:spAutoFit/>
            </a:bodyPr>
            <a:lstStyle/>
            <a:p>
              <a:pPr defTabSz="685800">
                <a:buClrTx/>
              </a:pPr>
              <a:r>
                <a:rPr lang="en-US" altLang="ja-JP" sz="825" kern="1200">
                  <a:solidFill>
                    <a:srgbClr val="313131"/>
                  </a:solidFill>
                  <a:ea typeface="ＭＳ Ｐゴシック" charset="-128"/>
                  <a:cs typeface="+mn-cs"/>
                </a:rPr>
                <a:t>Product B</a:t>
              </a:r>
            </a:p>
          </p:txBody>
        </p:sp>
        <p:sp>
          <p:nvSpPr>
            <p:cNvPr id="835606" name="Rectangle 24"/>
            <p:cNvSpPr>
              <a:spLocks noChangeArrowheads="1"/>
            </p:cNvSpPr>
            <p:nvPr/>
          </p:nvSpPr>
          <p:spPr bwMode="auto">
            <a:xfrm>
              <a:off x="3755171" y="2852738"/>
              <a:ext cx="701080" cy="241980"/>
            </a:xfrm>
            <a:prstGeom prst="rect">
              <a:avLst/>
            </a:prstGeom>
            <a:noFill/>
            <a:ln w="9525">
              <a:noFill/>
              <a:miter lim="800000"/>
              <a:headEnd/>
              <a:tailEnd/>
            </a:ln>
          </p:spPr>
          <p:txBody>
            <a:bodyPr wrap="none" lIns="27000" tIns="27000" rIns="27000" bIns="27000">
              <a:spAutoFit/>
            </a:bodyPr>
            <a:lstStyle/>
            <a:p>
              <a:pPr defTabSz="685800">
                <a:buClrTx/>
              </a:pPr>
              <a:r>
                <a:rPr lang="en-US" altLang="ja-JP" sz="825" kern="1200">
                  <a:solidFill>
                    <a:srgbClr val="313131"/>
                  </a:solidFill>
                  <a:ea typeface="ＭＳ Ｐゴシック" charset="-128"/>
                  <a:cs typeface="+mn-cs"/>
                </a:rPr>
                <a:t>Product C</a:t>
              </a:r>
            </a:p>
          </p:txBody>
        </p:sp>
        <p:sp>
          <p:nvSpPr>
            <p:cNvPr id="835607" name="Rectangle 25"/>
            <p:cNvSpPr>
              <a:spLocks noChangeArrowheads="1"/>
            </p:cNvSpPr>
            <p:nvPr/>
          </p:nvSpPr>
          <p:spPr bwMode="auto">
            <a:xfrm>
              <a:off x="6280883" y="2020889"/>
              <a:ext cx="701080" cy="241980"/>
            </a:xfrm>
            <a:prstGeom prst="rect">
              <a:avLst/>
            </a:prstGeom>
            <a:noFill/>
            <a:ln w="9525">
              <a:noFill/>
              <a:miter lim="800000"/>
              <a:headEnd/>
              <a:tailEnd/>
            </a:ln>
          </p:spPr>
          <p:txBody>
            <a:bodyPr wrap="none" lIns="27000" tIns="27000" rIns="27000" bIns="27000">
              <a:spAutoFit/>
            </a:bodyPr>
            <a:lstStyle/>
            <a:p>
              <a:pPr defTabSz="685800">
                <a:buClrTx/>
              </a:pPr>
              <a:r>
                <a:rPr lang="en-US" altLang="ja-JP" sz="825" kern="1200" dirty="0">
                  <a:solidFill>
                    <a:srgbClr val="313131"/>
                  </a:solidFill>
                  <a:ea typeface="ＭＳ Ｐゴシック" charset="-128"/>
                  <a:cs typeface="+mn-cs"/>
                </a:rPr>
                <a:t>Product D</a:t>
              </a:r>
            </a:p>
          </p:txBody>
        </p:sp>
      </p:grpSp>
      <p:sp>
        <p:nvSpPr>
          <p:cNvPr id="30"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Tree>
  </p:cSld>
  <p:clrMapOvr>
    <a:masterClrMapping/>
  </p:clrMapOvr>
  <p:transition>
    <p:fade/>
  </p:transition>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32" name="Title 1"/>
          <p:cNvSpPr>
            <a:spLocks noGrp="1"/>
          </p:cNvSpPr>
          <p:nvPr>
            <p:ph type="title"/>
          </p:nvPr>
        </p:nvSpPr>
        <p:spPr/>
        <p:txBody>
          <a:bodyPr/>
          <a:lstStyle/>
          <a:p>
            <a:r>
              <a:rPr lang="en-US" altLang="ja-JP" dirty="0"/>
              <a:t>Curves </a:t>
            </a:r>
            <a:br>
              <a:rPr lang="en-US" altLang="ja-JP" dirty="0"/>
            </a:br>
            <a:r>
              <a:rPr lang="en-US" altLang="ja-JP" dirty="0">
                <a:solidFill>
                  <a:srgbClr val="575757"/>
                </a:solidFill>
              </a:rPr>
              <a:t>Country maturity</a:t>
            </a:r>
            <a:endParaRPr lang="en-US" dirty="0">
              <a:solidFill>
                <a:srgbClr val="575757"/>
              </a:solidFill>
            </a:endParaRPr>
          </a:p>
        </p:txBody>
      </p:sp>
      <p:grpSp>
        <p:nvGrpSpPr>
          <p:cNvPr id="28" name="Group 27"/>
          <p:cNvGrpSpPr/>
          <p:nvPr/>
        </p:nvGrpSpPr>
        <p:grpSpPr>
          <a:xfrm>
            <a:off x="2750344" y="1650397"/>
            <a:ext cx="3459956" cy="2222897"/>
            <a:chOff x="2143125" y="2070100"/>
            <a:chExt cx="4613275" cy="2963863"/>
          </a:xfrm>
        </p:grpSpPr>
        <p:sp>
          <p:nvSpPr>
            <p:cNvPr id="282634" name="Arc 3"/>
            <p:cNvSpPr>
              <a:spLocks/>
            </p:cNvSpPr>
            <p:nvPr/>
          </p:nvSpPr>
          <p:spPr bwMode="auto">
            <a:xfrm>
              <a:off x="2143125" y="2646363"/>
              <a:ext cx="2336800" cy="2387600"/>
            </a:xfrm>
            <a:custGeom>
              <a:avLst/>
              <a:gdLst>
                <a:gd name="T0" fmla="*/ 2147483647 w 20582"/>
                <a:gd name="T1" fmla="*/ 2147483647 h 21600"/>
                <a:gd name="T2" fmla="*/ 0 w 20582"/>
                <a:gd name="T3" fmla="*/ 2147483647 h 21600"/>
                <a:gd name="T4" fmla="*/ 2147483647 w 20582"/>
                <a:gd name="T5" fmla="*/ 0 h 21600"/>
                <a:gd name="T6" fmla="*/ 0 60000 65536"/>
                <a:gd name="T7" fmla="*/ 0 60000 65536"/>
                <a:gd name="T8" fmla="*/ 0 60000 65536"/>
                <a:gd name="T9" fmla="*/ 0 w 20582"/>
                <a:gd name="T10" fmla="*/ 0 h 21600"/>
                <a:gd name="T11" fmla="*/ 20582 w 20582"/>
                <a:gd name="T12" fmla="*/ 21600 h 21600"/>
              </a:gdLst>
              <a:ahLst/>
              <a:cxnLst>
                <a:cxn ang="T6">
                  <a:pos x="T0" y="T1"/>
                </a:cxn>
                <a:cxn ang="T7">
                  <a:pos x="T2" y="T3"/>
                </a:cxn>
                <a:cxn ang="T8">
                  <a:pos x="T4" y="T5"/>
                </a:cxn>
              </a:cxnLst>
              <a:rect l="T9" t="T10" r="T11" b="T12"/>
              <a:pathLst>
                <a:path w="20582" h="21600" fill="none" extrusionOk="0">
                  <a:moveTo>
                    <a:pt x="20582" y="6714"/>
                  </a:moveTo>
                  <a:cubicBezTo>
                    <a:pt x="17678" y="15593"/>
                    <a:pt x="9394" y="21599"/>
                    <a:pt x="52" y="21600"/>
                  </a:cubicBezTo>
                  <a:cubicBezTo>
                    <a:pt x="34" y="21600"/>
                    <a:pt x="17" y="21599"/>
                    <a:pt x="0" y="21599"/>
                  </a:cubicBezTo>
                </a:path>
                <a:path w="20582" h="21600" stroke="0" extrusionOk="0">
                  <a:moveTo>
                    <a:pt x="20582" y="6714"/>
                  </a:moveTo>
                  <a:cubicBezTo>
                    <a:pt x="17678" y="15593"/>
                    <a:pt x="9394" y="21599"/>
                    <a:pt x="52" y="21600"/>
                  </a:cubicBezTo>
                  <a:cubicBezTo>
                    <a:pt x="34" y="21600"/>
                    <a:pt x="17" y="21599"/>
                    <a:pt x="0" y="21599"/>
                  </a:cubicBezTo>
                  <a:lnTo>
                    <a:pt x="52" y="0"/>
                  </a:lnTo>
                  <a:close/>
                </a:path>
              </a:pathLst>
            </a:custGeom>
            <a:noFill/>
            <a:ln w="76200" cap="rnd">
              <a:solidFill>
                <a:srgbClr val="B4B4B4"/>
              </a:solidFill>
              <a:round/>
              <a:headEnd type="none" w="sm" len="sm"/>
              <a:tailEnd type="none" w="sm" len="sm"/>
            </a:ln>
          </p:spPr>
          <p:txBody>
            <a:bodyPr wrap="none" lIns="27000" tIns="27000" rIns="27000" bIns="27000" anchor="ctr"/>
            <a:lstStyle/>
            <a:p>
              <a:pPr algn="ctr" defTabSz="685800">
                <a:buClrTx/>
              </a:pPr>
              <a:endParaRPr lang="en-US" sz="1350" kern="1200">
                <a:solidFill>
                  <a:srgbClr val="313131"/>
                </a:solidFill>
                <a:ea typeface="+mn-ea"/>
                <a:cs typeface="+mn-cs"/>
              </a:endParaRPr>
            </a:p>
          </p:txBody>
        </p:sp>
        <p:sp>
          <p:nvSpPr>
            <p:cNvPr id="282635" name="Arc 4"/>
            <p:cNvSpPr>
              <a:spLocks/>
            </p:cNvSpPr>
            <p:nvPr/>
          </p:nvSpPr>
          <p:spPr bwMode="auto">
            <a:xfrm>
              <a:off x="4443413" y="2070100"/>
              <a:ext cx="2312987" cy="1905000"/>
            </a:xfrm>
            <a:custGeom>
              <a:avLst/>
              <a:gdLst>
                <a:gd name="T0" fmla="*/ 0 w 20940"/>
                <a:gd name="T1" fmla="*/ 2147483647 h 21600"/>
                <a:gd name="T2" fmla="*/ 2147483647 w 20940"/>
                <a:gd name="T3" fmla="*/ 0 h 21600"/>
                <a:gd name="T4" fmla="*/ 2147483647 w 20940"/>
                <a:gd name="T5" fmla="*/ 2147483647 h 21600"/>
                <a:gd name="T6" fmla="*/ 0 60000 65536"/>
                <a:gd name="T7" fmla="*/ 0 60000 65536"/>
                <a:gd name="T8" fmla="*/ 0 60000 65536"/>
                <a:gd name="T9" fmla="*/ 0 w 20940"/>
                <a:gd name="T10" fmla="*/ 0 h 21600"/>
                <a:gd name="T11" fmla="*/ 20940 w 20940"/>
                <a:gd name="T12" fmla="*/ 21600 h 21600"/>
              </a:gdLst>
              <a:ahLst/>
              <a:cxnLst>
                <a:cxn ang="T6">
                  <a:pos x="T0" y="T1"/>
                </a:cxn>
                <a:cxn ang="T7">
                  <a:pos x="T2" y="T3"/>
                </a:cxn>
                <a:cxn ang="T8">
                  <a:pos x="T4" y="T5"/>
                </a:cxn>
              </a:cxnLst>
              <a:rect l="T9" t="T10" r="T11" b="T12"/>
              <a:pathLst>
                <a:path w="20940" h="21600" fill="none" extrusionOk="0">
                  <a:moveTo>
                    <a:pt x="0" y="16300"/>
                  </a:moveTo>
                  <a:cubicBezTo>
                    <a:pt x="2425" y="6718"/>
                    <a:pt x="11045" y="5"/>
                    <a:pt x="20929" y="0"/>
                  </a:cubicBezTo>
                </a:path>
                <a:path w="20940" h="21600" stroke="0" extrusionOk="0">
                  <a:moveTo>
                    <a:pt x="0" y="16300"/>
                  </a:moveTo>
                  <a:cubicBezTo>
                    <a:pt x="2425" y="6718"/>
                    <a:pt x="11045" y="5"/>
                    <a:pt x="20929" y="0"/>
                  </a:cubicBezTo>
                  <a:lnTo>
                    <a:pt x="20940" y="21600"/>
                  </a:lnTo>
                  <a:close/>
                </a:path>
              </a:pathLst>
            </a:custGeom>
            <a:noFill/>
            <a:ln w="76200" cap="rnd">
              <a:solidFill>
                <a:srgbClr val="B4B4B4"/>
              </a:solidFill>
              <a:round/>
              <a:headEnd type="none" w="sm" len="sm"/>
              <a:tailEnd type="none" w="sm" len="sm"/>
            </a:ln>
          </p:spPr>
          <p:txBody>
            <a:bodyPr wrap="none" lIns="27000" tIns="27000" rIns="27000" bIns="27000" anchor="ctr"/>
            <a:lstStyle/>
            <a:p>
              <a:pPr algn="ctr" defTabSz="685800">
                <a:buClrTx/>
              </a:pPr>
              <a:endParaRPr lang="en-US" sz="1350" kern="1200">
                <a:solidFill>
                  <a:srgbClr val="313131"/>
                </a:solidFill>
                <a:ea typeface="+mn-ea"/>
                <a:cs typeface="+mn-cs"/>
              </a:endParaRPr>
            </a:p>
          </p:txBody>
        </p:sp>
      </p:grpSp>
      <p:sp>
        <p:nvSpPr>
          <p:cNvPr id="282636" name="Rectangle 5"/>
          <p:cNvSpPr>
            <a:spLocks noChangeArrowheads="1"/>
          </p:cNvSpPr>
          <p:nvPr/>
        </p:nvSpPr>
        <p:spPr bwMode="auto">
          <a:xfrm>
            <a:off x="2522864" y="4110228"/>
            <a:ext cx="463294" cy="158402"/>
          </a:xfrm>
          <a:prstGeom prst="rect">
            <a:avLst/>
          </a:prstGeom>
          <a:noFill/>
          <a:ln w="9525">
            <a:noFill/>
            <a:miter lim="800000"/>
            <a:headEnd/>
            <a:tailEnd/>
          </a:ln>
        </p:spPr>
        <p:txBody>
          <a:bodyPr wrap="none" lIns="27000" tIns="27000" rIns="27000" bIns="27000">
            <a:spAutoFit/>
          </a:bodyPr>
          <a:lstStyle/>
          <a:p>
            <a:pPr algn="ctr" defTabSz="685800">
              <a:lnSpc>
                <a:spcPct val="90000"/>
              </a:lnSpc>
              <a:buClrTx/>
            </a:pPr>
            <a:r>
              <a:rPr lang="en-US" altLang="ja-JP" sz="750" kern="1200" dirty="0">
                <a:solidFill>
                  <a:srgbClr val="313131"/>
                </a:solidFill>
                <a:ea typeface="ＭＳ Ｐゴシック" charset="-128"/>
                <a:cs typeface="+mn-cs"/>
              </a:rPr>
              <a:t>Emerging</a:t>
            </a:r>
          </a:p>
        </p:txBody>
      </p:sp>
      <p:sp>
        <p:nvSpPr>
          <p:cNvPr id="282637" name="Rectangle 6"/>
          <p:cNvSpPr>
            <a:spLocks noChangeArrowheads="1"/>
          </p:cNvSpPr>
          <p:nvPr/>
        </p:nvSpPr>
        <p:spPr bwMode="auto">
          <a:xfrm>
            <a:off x="6258391" y="4110228"/>
            <a:ext cx="352686" cy="158402"/>
          </a:xfrm>
          <a:prstGeom prst="rect">
            <a:avLst/>
          </a:prstGeom>
          <a:noFill/>
          <a:ln w="9525">
            <a:noFill/>
            <a:miter lim="800000"/>
            <a:headEnd/>
            <a:tailEnd/>
          </a:ln>
        </p:spPr>
        <p:txBody>
          <a:bodyPr wrap="none" lIns="27000" tIns="27000" rIns="27000" bIns="27000">
            <a:spAutoFit/>
          </a:bodyPr>
          <a:lstStyle/>
          <a:p>
            <a:pPr algn="ctr" defTabSz="685800">
              <a:lnSpc>
                <a:spcPct val="90000"/>
              </a:lnSpc>
              <a:buClrTx/>
            </a:pPr>
            <a:r>
              <a:rPr lang="en-US" altLang="ja-JP" sz="750" kern="1200">
                <a:solidFill>
                  <a:srgbClr val="313131"/>
                </a:solidFill>
                <a:ea typeface="ＭＳ Ｐゴシック" charset="-128"/>
                <a:cs typeface="+mn-cs"/>
              </a:rPr>
              <a:t>Mature</a:t>
            </a:r>
          </a:p>
        </p:txBody>
      </p:sp>
      <p:sp>
        <p:nvSpPr>
          <p:cNvPr id="282638" name="Rectangle 7"/>
          <p:cNvSpPr>
            <a:spLocks noChangeArrowheads="1"/>
          </p:cNvSpPr>
          <p:nvPr/>
        </p:nvSpPr>
        <p:spPr bwMode="auto">
          <a:xfrm>
            <a:off x="4229681" y="4267391"/>
            <a:ext cx="657257" cy="262277"/>
          </a:xfrm>
          <a:prstGeom prst="rect">
            <a:avLst/>
          </a:prstGeom>
          <a:noFill/>
          <a:ln w="9525">
            <a:noFill/>
            <a:miter lim="800000"/>
            <a:headEnd/>
            <a:tailEnd/>
          </a:ln>
        </p:spPr>
        <p:txBody>
          <a:bodyPr wrap="none" lIns="27000" tIns="27000" rIns="27000" bIns="27000">
            <a:spAutoFit/>
          </a:bodyPr>
          <a:lstStyle/>
          <a:p>
            <a:pPr algn="ctr" defTabSz="685800">
              <a:lnSpc>
                <a:spcPct val="90000"/>
              </a:lnSpc>
              <a:buClrTx/>
            </a:pPr>
            <a:r>
              <a:rPr lang="en-US" altLang="ja-JP" sz="750" b="1" kern="1200" dirty="0">
                <a:solidFill>
                  <a:srgbClr val="313131"/>
                </a:solidFill>
                <a:ea typeface="ＭＳ Ｐゴシック" charset="-128"/>
                <a:cs typeface="+mn-cs"/>
              </a:rPr>
              <a:t>Development</a:t>
            </a:r>
          </a:p>
          <a:p>
            <a:pPr algn="ctr" defTabSz="685800">
              <a:lnSpc>
                <a:spcPct val="90000"/>
              </a:lnSpc>
              <a:buClrTx/>
            </a:pPr>
            <a:r>
              <a:rPr lang="en-US" altLang="ja-JP" sz="750" b="1" kern="1200" dirty="0">
                <a:solidFill>
                  <a:srgbClr val="313131"/>
                </a:solidFill>
                <a:ea typeface="ＭＳ Ｐゴシック" charset="-128"/>
                <a:cs typeface="+mn-cs"/>
              </a:rPr>
              <a:t>stage</a:t>
            </a:r>
          </a:p>
        </p:txBody>
      </p:sp>
      <p:sp>
        <p:nvSpPr>
          <p:cNvPr id="282640" name="Rectangle 9"/>
          <p:cNvSpPr>
            <a:spLocks noChangeArrowheads="1"/>
          </p:cNvSpPr>
          <p:nvPr/>
        </p:nvSpPr>
        <p:spPr bwMode="auto">
          <a:xfrm>
            <a:off x="4263628" y="3138678"/>
            <a:ext cx="628402" cy="168789"/>
          </a:xfrm>
          <a:prstGeom prst="rect">
            <a:avLst/>
          </a:prstGeom>
          <a:noFill/>
          <a:ln w="9525">
            <a:noFill/>
            <a:miter lim="800000"/>
            <a:headEnd/>
            <a:tailEnd/>
          </a:ln>
        </p:spPr>
        <p:txBody>
          <a:bodyPr wrap="none" lIns="27000" tIns="27000" rIns="27000" bIns="27000">
            <a:spAutoFit/>
          </a:bodyPr>
          <a:lstStyle/>
          <a:p>
            <a:pPr defTabSz="685800">
              <a:lnSpc>
                <a:spcPct val="90000"/>
              </a:lnSpc>
              <a:buClrTx/>
            </a:pPr>
            <a:r>
              <a:rPr lang="en-US" altLang="ja-JP" sz="825" kern="1200">
                <a:solidFill>
                  <a:srgbClr val="313131"/>
                </a:solidFill>
                <a:ea typeface="ＭＳ Ｐゴシック" charset="-128"/>
                <a:cs typeface="+mn-cs"/>
              </a:rPr>
              <a:t>Netherlands</a:t>
            </a:r>
          </a:p>
        </p:txBody>
      </p:sp>
      <p:sp>
        <p:nvSpPr>
          <p:cNvPr id="282641" name="Rectangle 10"/>
          <p:cNvSpPr>
            <a:spLocks noChangeArrowheads="1"/>
          </p:cNvSpPr>
          <p:nvPr/>
        </p:nvSpPr>
        <p:spPr bwMode="auto">
          <a:xfrm>
            <a:off x="4432697" y="2910078"/>
            <a:ext cx="439248" cy="168789"/>
          </a:xfrm>
          <a:prstGeom prst="rect">
            <a:avLst/>
          </a:prstGeom>
          <a:noFill/>
          <a:ln w="9525">
            <a:noFill/>
            <a:miter lim="800000"/>
            <a:headEnd/>
            <a:tailEnd/>
          </a:ln>
        </p:spPr>
        <p:txBody>
          <a:bodyPr wrap="none" lIns="27000" tIns="27000" rIns="27000" bIns="27000">
            <a:spAutoFit/>
          </a:bodyPr>
          <a:lstStyle/>
          <a:p>
            <a:pPr defTabSz="685800">
              <a:lnSpc>
                <a:spcPct val="90000"/>
              </a:lnSpc>
              <a:buClrTx/>
            </a:pPr>
            <a:r>
              <a:rPr lang="en-US" altLang="ja-JP" sz="825" kern="1200">
                <a:solidFill>
                  <a:srgbClr val="313131"/>
                </a:solidFill>
                <a:ea typeface="ＭＳ Ｐゴシック" charset="-128"/>
                <a:cs typeface="+mn-cs"/>
              </a:rPr>
              <a:t>Sweden</a:t>
            </a:r>
          </a:p>
        </p:txBody>
      </p:sp>
      <p:sp>
        <p:nvSpPr>
          <p:cNvPr id="282642" name="Rectangle 11"/>
          <p:cNvSpPr>
            <a:spLocks noChangeArrowheads="1"/>
          </p:cNvSpPr>
          <p:nvPr/>
        </p:nvSpPr>
        <p:spPr bwMode="auto">
          <a:xfrm>
            <a:off x="4598194" y="2567178"/>
            <a:ext cx="259712" cy="168789"/>
          </a:xfrm>
          <a:prstGeom prst="rect">
            <a:avLst/>
          </a:prstGeom>
          <a:noFill/>
          <a:ln w="9525">
            <a:noFill/>
            <a:miter lim="800000"/>
            <a:headEnd/>
            <a:tailEnd/>
          </a:ln>
        </p:spPr>
        <p:txBody>
          <a:bodyPr wrap="none" lIns="27000" tIns="27000" rIns="27000" bIns="27000">
            <a:spAutoFit/>
          </a:bodyPr>
          <a:lstStyle/>
          <a:p>
            <a:pPr defTabSz="685800">
              <a:lnSpc>
                <a:spcPct val="90000"/>
              </a:lnSpc>
              <a:buClrTx/>
            </a:pPr>
            <a:r>
              <a:rPr lang="en-US" altLang="ja-JP" sz="825" kern="1200" dirty="0">
                <a:solidFill>
                  <a:srgbClr val="313131"/>
                </a:solidFill>
                <a:ea typeface="ＭＳ Ｐゴシック" charset="-128"/>
                <a:cs typeface="+mn-cs"/>
              </a:rPr>
              <a:t>U.K.</a:t>
            </a:r>
          </a:p>
        </p:txBody>
      </p:sp>
      <p:sp>
        <p:nvSpPr>
          <p:cNvPr id="282643" name="Rectangle 12"/>
          <p:cNvSpPr>
            <a:spLocks noChangeArrowheads="1"/>
          </p:cNvSpPr>
          <p:nvPr/>
        </p:nvSpPr>
        <p:spPr bwMode="auto">
          <a:xfrm>
            <a:off x="4005262" y="3382757"/>
            <a:ext cx="384746" cy="168789"/>
          </a:xfrm>
          <a:prstGeom prst="rect">
            <a:avLst/>
          </a:prstGeom>
          <a:noFill/>
          <a:ln w="9525">
            <a:noFill/>
            <a:miter lim="800000"/>
            <a:headEnd/>
            <a:tailEnd/>
          </a:ln>
        </p:spPr>
        <p:txBody>
          <a:bodyPr wrap="none" lIns="27000" tIns="27000" rIns="27000" bIns="27000">
            <a:spAutoFit/>
          </a:bodyPr>
          <a:lstStyle/>
          <a:p>
            <a:pPr defTabSz="685800">
              <a:lnSpc>
                <a:spcPct val="90000"/>
              </a:lnSpc>
              <a:buClrTx/>
            </a:pPr>
            <a:r>
              <a:rPr lang="en-US" altLang="ja-JP" sz="825" kern="1200">
                <a:solidFill>
                  <a:srgbClr val="313131"/>
                </a:solidFill>
                <a:ea typeface="ＭＳ Ｐゴシック" charset="-128"/>
                <a:cs typeface="+mn-cs"/>
              </a:rPr>
              <a:t>France</a:t>
            </a:r>
          </a:p>
        </p:txBody>
      </p:sp>
      <p:graphicFrame>
        <p:nvGraphicFramePr>
          <p:cNvPr id="282626" name="Object 13"/>
          <p:cNvGraphicFramePr>
            <a:graphicFrameLocks/>
          </p:cNvGraphicFramePr>
          <p:nvPr/>
        </p:nvGraphicFramePr>
        <p:xfrm>
          <a:off x="3840957" y="3367279"/>
          <a:ext cx="207169" cy="183356"/>
        </p:xfrm>
        <a:graphic>
          <a:graphicData uri="http://schemas.openxmlformats.org/presentationml/2006/ole">
            <mc:AlternateContent xmlns:mc="http://schemas.openxmlformats.org/markup-compatibility/2006">
              <mc:Choice xmlns:v="urn:schemas-microsoft-com:vml" Requires="v">
                <p:oleObj r:id="rId4" imgW="374650" imgH="293688" progId="">
                  <p:embed/>
                </p:oleObj>
              </mc:Choice>
              <mc:Fallback>
                <p:oleObj r:id="rId4" imgW="374650" imgH="293688" progId="">
                  <p:embed/>
                  <p:pic>
                    <p:nvPicPr>
                      <p:cNvPr id="282626" name="Object 13"/>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40957" y="3367279"/>
                        <a:ext cx="207169" cy="1833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282627" name="Object 14"/>
          <p:cNvGraphicFramePr>
            <a:graphicFrameLocks/>
          </p:cNvGraphicFramePr>
          <p:nvPr/>
        </p:nvGraphicFramePr>
        <p:xfrm>
          <a:off x="3524251" y="3595879"/>
          <a:ext cx="146447" cy="108347"/>
        </p:xfrm>
        <a:graphic>
          <a:graphicData uri="http://schemas.openxmlformats.org/presentationml/2006/ole">
            <mc:AlternateContent xmlns:mc="http://schemas.openxmlformats.org/markup-compatibility/2006">
              <mc:Choice xmlns:v="urn:schemas-microsoft-com:vml" Requires="v">
                <p:oleObj r:id="rId6" imgW="263525" imgH="174625" progId="">
                  <p:embed/>
                </p:oleObj>
              </mc:Choice>
              <mc:Fallback>
                <p:oleObj r:id="rId6" imgW="263525" imgH="174625" progId="">
                  <p:embed/>
                  <p:pic>
                    <p:nvPicPr>
                      <p:cNvPr id="282627" name="Object 14"/>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524251" y="3595879"/>
                        <a:ext cx="146447" cy="1083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282628" name="Object 15"/>
          <p:cNvGraphicFramePr>
            <a:graphicFrameLocks/>
          </p:cNvGraphicFramePr>
          <p:nvPr/>
        </p:nvGraphicFramePr>
        <p:xfrm>
          <a:off x="3248025" y="3699463"/>
          <a:ext cx="216694" cy="182165"/>
        </p:xfrm>
        <a:graphic>
          <a:graphicData uri="http://schemas.openxmlformats.org/presentationml/2006/ole">
            <mc:AlternateContent xmlns:mc="http://schemas.openxmlformats.org/markup-compatibility/2006">
              <mc:Choice xmlns:v="urn:schemas-microsoft-com:vml" Requires="v">
                <p:oleObj r:id="rId8" imgW="388938" imgH="292100" progId="">
                  <p:embed/>
                </p:oleObj>
              </mc:Choice>
              <mc:Fallback>
                <p:oleObj r:id="rId8" imgW="388938" imgH="292100" progId="">
                  <p:embed/>
                  <p:pic>
                    <p:nvPicPr>
                      <p:cNvPr id="282628" name="Object 15"/>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48025" y="3699463"/>
                        <a:ext cx="216694" cy="182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282629" name="Object 16"/>
          <p:cNvGraphicFramePr>
            <a:graphicFrameLocks/>
          </p:cNvGraphicFramePr>
          <p:nvPr/>
        </p:nvGraphicFramePr>
        <p:xfrm>
          <a:off x="4127898" y="3091054"/>
          <a:ext cx="201215" cy="183356"/>
        </p:xfrm>
        <a:graphic>
          <a:graphicData uri="http://schemas.openxmlformats.org/presentationml/2006/ole">
            <mc:AlternateContent xmlns:mc="http://schemas.openxmlformats.org/markup-compatibility/2006">
              <mc:Choice xmlns:v="urn:schemas-microsoft-com:vml" Requires="v">
                <p:oleObj r:id="rId10" imgW="361950" imgH="293688" progId="">
                  <p:embed/>
                </p:oleObj>
              </mc:Choice>
              <mc:Fallback>
                <p:oleObj r:id="rId10" imgW="361950" imgH="293688" progId="">
                  <p:embed/>
                  <p:pic>
                    <p:nvPicPr>
                      <p:cNvPr id="282629" name="Object 16"/>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127898" y="3091054"/>
                        <a:ext cx="201215" cy="1833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282630" name="Object 17"/>
          <p:cNvGraphicFramePr>
            <a:graphicFrameLocks/>
          </p:cNvGraphicFramePr>
          <p:nvPr/>
        </p:nvGraphicFramePr>
        <p:xfrm>
          <a:off x="4324351" y="2937463"/>
          <a:ext cx="136922" cy="108347"/>
        </p:xfrm>
        <a:graphic>
          <a:graphicData uri="http://schemas.openxmlformats.org/presentationml/2006/ole">
            <mc:AlternateContent xmlns:mc="http://schemas.openxmlformats.org/markup-compatibility/2006">
              <mc:Choice xmlns:v="urn:schemas-microsoft-com:vml" Requires="v">
                <p:oleObj r:id="rId12" imgW="244475" imgH="174625" progId="">
                  <p:embed/>
                </p:oleObj>
              </mc:Choice>
              <mc:Fallback>
                <p:oleObj r:id="rId12" imgW="244475" imgH="174625" progId="">
                  <p:embed/>
                  <p:pic>
                    <p:nvPicPr>
                      <p:cNvPr id="282630" name="Object 17"/>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324351" y="2937463"/>
                        <a:ext cx="136922" cy="1083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282631" name="Object 18"/>
          <p:cNvGraphicFramePr>
            <a:graphicFrameLocks/>
          </p:cNvGraphicFramePr>
          <p:nvPr/>
        </p:nvGraphicFramePr>
        <p:xfrm>
          <a:off x="4432698" y="2610041"/>
          <a:ext cx="163115" cy="97631"/>
        </p:xfrm>
        <a:graphic>
          <a:graphicData uri="http://schemas.openxmlformats.org/presentationml/2006/ole">
            <mc:AlternateContent xmlns:mc="http://schemas.openxmlformats.org/markup-compatibility/2006">
              <mc:Choice xmlns:v="urn:schemas-microsoft-com:vml" Requires="v">
                <p:oleObj r:id="rId14" imgW="295275" imgH="157163" progId="">
                  <p:embed/>
                </p:oleObj>
              </mc:Choice>
              <mc:Fallback>
                <p:oleObj r:id="rId14" imgW="295275" imgH="157163" progId="">
                  <p:embed/>
                  <p:pic>
                    <p:nvPicPr>
                      <p:cNvPr id="282631" name="Object 18"/>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432698" y="2610041"/>
                        <a:ext cx="163115" cy="976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82644" name="Rectangle 19"/>
          <p:cNvSpPr>
            <a:spLocks noChangeArrowheads="1"/>
          </p:cNvSpPr>
          <p:nvPr/>
        </p:nvSpPr>
        <p:spPr bwMode="auto">
          <a:xfrm>
            <a:off x="3224213" y="3838766"/>
            <a:ext cx="248491" cy="168789"/>
          </a:xfrm>
          <a:prstGeom prst="rect">
            <a:avLst/>
          </a:prstGeom>
          <a:noFill/>
          <a:ln w="9525">
            <a:noFill/>
            <a:miter lim="800000"/>
            <a:headEnd/>
            <a:tailEnd/>
          </a:ln>
        </p:spPr>
        <p:txBody>
          <a:bodyPr wrap="none" lIns="27000" tIns="27000" rIns="27000" bIns="27000">
            <a:spAutoFit/>
          </a:bodyPr>
          <a:lstStyle/>
          <a:p>
            <a:pPr defTabSz="685800">
              <a:lnSpc>
                <a:spcPct val="90000"/>
              </a:lnSpc>
              <a:buClrTx/>
            </a:pPr>
            <a:r>
              <a:rPr lang="en-US" altLang="ja-JP" sz="825" kern="1200">
                <a:solidFill>
                  <a:srgbClr val="313131"/>
                </a:solidFill>
                <a:ea typeface="ＭＳ Ｐゴシック" charset="-128"/>
                <a:cs typeface="+mn-cs"/>
              </a:rPr>
              <a:t>Italy</a:t>
            </a:r>
          </a:p>
        </p:txBody>
      </p:sp>
      <p:sp>
        <p:nvSpPr>
          <p:cNvPr id="282645" name="Rectangle 20"/>
          <p:cNvSpPr>
            <a:spLocks noChangeArrowheads="1"/>
          </p:cNvSpPr>
          <p:nvPr/>
        </p:nvSpPr>
        <p:spPr bwMode="auto">
          <a:xfrm>
            <a:off x="3479006" y="3667316"/>
            <a:ext cx="490544" cy="168789"/>
          </a:xfrm>
          <a:prstGeom prst="rect">
            <a:avLst/>
          </a:prstGeom>
          <a:noFill/>
          <a:ln w="9525">
            <a:noFill/>
            <a:miter lim="800000"/>
            <a:headEnd/>
            <a:tailEnd/>
          </a:ln>
        </p:spPr>
        <p:txBody>
          <a:bodyPr wrap="none" lIns="27000" tIns="27000" rIns="27000" bIns="27000">
            <a:spAutoFit/>
          </a:bodyPr>
          <a:lstStyle/>
          <a:p>
            <a:pPr defTabSz="685800">
              <a:lnSpc>
                <a:spcPct val="90000"/>
              </a:lnSpc>
              <a:spcBef>
                <a:spcPct val="30000"/>
              </a:spcBef>
              <a:buClrTx/>
            </a:pPr>
            <a:r>
              <a:rPr lang="en-US" altLang="ja-JP" sz="825" kern="1200">
                <a:solidFill>
                  <a:srgbClr val="313131"/>
                </a:solidFill>
                <a:ea typeface="ＭＳ Ｐゴシック" charset="-128"/>
                <a:cs typeface="+mn-cs"/>
              </a:rPr>
              <a:t>Germany</a:t>
            </a:r>
          </a:p>
        </p:txBody>
      </p:sp>
      <p:grpSp>
        <p:nvGrpSpPr>
          <p:cNvPr id="282647" name="Group 22"/>
          <p:cNvGrpSpPr>
            <a:grpSpLocks/>
          </p:cNvGrpSpPr>
          <p:nvPr/>
        </p:nvGrpSpPr>
        <p:grpSpPr bwMode="auto">
          <a:xfrm>
            <a:off x="2489597" y="1481328"/>
            <a:ext cx="4137422" cy="2590800"/>
            <a:chOff x="667" y="1253"/>
            <a:chExt cx="3587" cy="2222"/>
          </a:xfrm>
        </p:grpSpPr>
        <p:sp>
          <p:nvSpPr>
            <p:cNvPr id="282649" name="Line 23"/>
            <p:cNvSpPr>
              <a:spLocks noChangeShapeType="1"/>
            </p:cNvSpPr>
            <p:nvPr/>
          </p:nvSpPr>
          <p:spPr bwMode="auto">
            <a:xfrm>
              <a:off x="667" y="1253"/>
              <a:ext cx="0" cy="2222"/>
            </a:xfrm>
            <a:prstGeom prst="line">
              <a:avLst/>
            </a:prstGeom>
            <a:noFill/>
            <a:ln w="19050">
              <a:solidFill>
                <a:srgbClr val="B4B4B4"/>
              </a:solidFill>
              <a:round/>
              <a:headEnd/>
              <a:tailEnd/>
            </a:ln>
          </p:spPr>
          <p:txBody>
            <a:bodyPr lIns="27000" tIns="27000" rIns="27000" bIns="27000"/>
            <a:lstStyle/>
            <a:p>
              <a:pPr defTabSz="685800">
                <a:buClrTx/>
              </a:pPr>
              <a:endParaRPr lang="en-US" sz="1350" kern="1200">
                <a:solidFill>
                  <a:prstClr val="black"/>
                </a:solidFill>
                <a:ea typeface="+mn-ea"/>
                <a:cs typeface="+mn-cs"/>
              </a:endParaRPr>
            </a:p>
          </p:txBody>
        </p:sp>
        <p:sp>
          <p:nvSpPr>
            <p:cNvPr id="282650" name="Line 24"/>
            <p:cNvSpPr>
              <a:spLocks noChangeShapeType="1"/>
            </p:cNvSpPr>
            <p:nvPr/>
          </p:nvSpPr>
          <p:spPr bwMode="auto">
            <a:xfrm>
              <a:off x="667" y="3475"/>
              <a:ext cx="3587" cy="0"/>
            </a:xfrm>
            <a:prstGeom prst="line">
              <a:avLst/>
            </a:prstGeom>
            <a:noFill/>
            <a:ln w="19050">
              <a:solidFill>
                <a:srgbClr val="B4B4B4"/>
              </a:solidFill>
              <a:round/>
              <a:headEnd/>
              <a:tailEnd/>
            </a:ln>
          </p:spPr>
          <p:txBody>
            <a:bodyPr lIns="27000" tIns="27000" rIns="27000" bIns="27000"/>
            <a:lstStyle/>
            <a:p>
              <a:pPr defTabSz="685800">
                <a:buClrTx/>
              </a:pPr>
              <a:endParaRPr lang="en-US" sz="1350" kern="1200">
                <a:solidFill>
                  <a:prstClr val="black"/>
                </a:solidFill>
                <a:ea typeface="+mn-ea"/>
                <a:cs typeface="+mn-cs"/>
              </a:endParaRPr>
            </a:p>
          </p:txBody>
        </p:sp>
      </p:grpSp>
      <p:sp>
        <p:nvSpPr>
          <p:cNvPr id="29"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Tree>
  </p:cSld>
  <p:clrMapOvr>
    <a:masterClrMapping/>
  </p:clrMapOvr>
  <p:transition>
    <p:fade/>
  </p:transition>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7633" name="Title 1"/>
          <p:cNvSpPr>
            <a:spLocks noGrp="1"/>
          </p:cNvSpPr>
          <p:nvPr>
            <p:ph type="title"/>
          </p:nvPr>
        </p:nvSpPr>
        <p:spPr/>
        <p:txBody>
          <a:bodyPr/>
          <a:lstStyle/>
          <a:p>
            <a:r>
              <a:rPr lang="en-US" altLang="ja-JP" dirty="0"/>
              <a:t>Curves </a:t>
            </a:r>
            <a:br>
              <a:rPr lang="en-US" altLang="ja-JP" dirty="0"/>
            </a:br>
            <a:r>
              <a:rPr lang="en-US" altLang="ja-JP" dirty="0">
                <a:solidFill>
                  <a:srgbClr val="575757"/>
                </a:solidFill>
              </a:rPr>
              <a:t>B</a:t>
            </a:r>
            <a:r>
              <a:rPr lang="en-US" dirty="0">
                <a:solidFill>
                  <a:srgbClr val="575757"/>
                </a:solidFill>
              </a:rPr>
              <a:t>ell curve</a:t>
            </a:r>
          </a:p>
        </p:txBody>
      </p:sp>
      <p:grpSp>
        <p:nvGrpSpPr>
          <p:cNvPr id="837635" name="Group 3"/>
          <p:cNvGrpSpPr>
            <a:grpSpLocks noChangeAspect="1"/>
          </p:cNvGrpSpPr>
          <p:nvPr/>
        </p:nvGrpSpPr>
        <p:grpSpPr bwMode="auto">
          <a:xfrm>
            <a:off x="2587180" y="1910953"/>
            <a:ext cx="4635104" cy="1957388"/>
            <a:chOff x="384" y="1248"/>
            <a:chExt cx="4992" cy="2208"/>
          </a:xfrm>
        </p:grpSpPr>
        <p:sp>
          <p:nvSpPr>
            <p:cNvPr id="837642" name="Freeform 4"/>
            <p:cNvSpPr>
              <a:spLocks noChangeAspect="1"/>
            </p:cNvSpPr>
            <p:nvPr/>
          </p:nvSpPr>
          <p:spPr bwMode="auto">
            <a:xfrm>
              <a:off x="384" y="1248"/>
              <a:ext cx="2496" cy="2208"/>
            </a:xfrm>
            <a:custGeom>
              <a:avLst/>
              <a:gdLst>
                <a:gd name="T0" fmla="*/ 0 w 2496"/>
                <a:gd name="T1" fmla="*/ 12207 h 1440"/>
                <a:gd name="T2" fmla="*/ 1200 w 2496"/>
                <a:gd name="T3" fmla="*/ 9359 h 1440"/>
                <a:gd name="T4" fmla="*/ 2112 w 2496"/>
                <a:gd name="T5" fmla="*/ 1627 h 1440"/>
                <a:gd name="T6" fmla="*/ 2496 w 2496"/>
                <a:gd name="T7" fmla="*/ 0 h 1440"/>
                <a:gd name="T8" fmla="*/ 0 60000 65536"/>
                <a:gd name="T9" fmla="*/ 0 60000 65536"/>
                <a:gd name="T10" fmla="*/ 0 60000 65536"/>
                <a:gd name="T11" fmla="*/ 0 60000 65536"/>
                <a:gd name="T12" fmla="*/ 0 w 2496"/>
                <a:gd name="T13" fmla="*/ 0 h 1440"/>
                <a:gd name="T14" fmla="*/ 2496 w 2496"/>
                <a:gd name="T15" fmla="*/ 1440 h 1440"/>
              </a:gdLst>
              <a:ahLst/>
              <a:cxnLst>
                <a:cxn ang="T8">
                  <a:pos x="T0" y="T1"/>
                </a:cxn>
                <a:cxn ang="T9">
                  <a:pos x="T2" y="T3"/>
                </a:cxn>
                <a:cxn ang="T10">
                  <a:pos x="T4" y="T5"/>
                </a:cxn>
                <a:cxn ang="T11">
                  <a:pos x="T6" y="T7"/>
                </a:cxn>
              </a:cxnLst>
              <a:rect l="T12" t="T13" r="T14" b="T15"/>
              <a:pathLst>
                <a:path w="2496" h="1440">
                  <a:moveTo>
                    <a:pt x="0" y="1440"/>
                  </a:moveTo>
                  <a:cubicBezTo>
                    <a:pt x="424" y="1376"/>
                    <a:pt x="848" y="1312"/>
                    <a:pt x="1200" y="1104"/>
                  </a:cubicBezTo>
                  <a:cubicBezTo>
                    <a:pt x="1552" y="896"/>
                    <a:pt x="1896" y="376"/>
                    <a:pt x="2112" y="192"/>
                  </a:cubicBezTo>
                  <a:cubicBezTo>
                    <a:pt x="2328" y="8"/>
                    <a:pt x="2412" y="4"/>
                    <a:pt x="2496" y="0"/>
                  </a:cubicBezTo>
                </a:path>
              </a:pathLst>
            </a:custGeom>
            <a:noFill/>
            <a:ln w="57150">
              <a:solidFill>
                <a:srgbClr val="B4B4B4"/>
              </a:solidFill>
              <a:round/>
              <a:headEnd/>
              <a:tailEnd/>
            </a:ln>
          </p:spPr>
          <p:txBody>
            <a:bodyPr wrap="none" lIns="27000" tIns="27000" rIns="27000" bIns="27000" anchor="ctr"/>
            <a:lstStyle/>
            <a:p>
              <a:pPr defTabSz="685800">
                <a:buClrTx/>
              </a:pPr>
              <a:endParaRPr lang="en-US" sz="1350" kern="1200">
                <a:solidFill>
                  <a:prstClr val="black"/>
                </a:solidFill>
                <a:ea typeface="+mn-ea"/>
                <a:cs typeface="+mn-cs"/>
              </a:endParaRPr>
            </a:p>
          </p:txBody>
        </p:sp>
        <p:sp>
          <p:nvSpPr>
            <p:cNvPr id="837643" name="Freeform 5"/>
            <p:cNvSpPr>
              <a:spLocks noChangeAspect="1"/>
            </p:cNvSpPr>
            <p:nvPr/>
          </p:nvSpPr>
          <p:spPr bwMode="auto">
            <a:xfrm flipH="1">
              <a:off x="2880" y="1248"/>
              <a:ext cx="2496" cy="2208"/>
            </a:xfrm>
            <a:custGeom>
              <a:avLst/>
              <a:gdLst>
                <a:gd name="T0" fmla="*/ 0 w 2496"/>
                <a:gd name="T1" fmla="*/ 12207 h 1440"/>
                <a:gd name="T2" fmla="*/ 1200 w 2496"/>
                <a:gd name="T3" fmla="*/ 9359 h 1440"/>
                <a:gd name="T4" fmla="*/ 2112 w 2496"/>
                <a:gd name="T5" fmla="*/ 1627 h 1440"/>
                <a:gd name="T6" fmla="*/ 2496 w 2496"/>
                <a:gd name="T7" fmla="*/ 0 h 1440"/>
                <a:gd name="T8" fmla="*/ 0 60000 65536"/>
                <a:gd name="T9" fmla="*/ 0 60000 65536"/>
                <a:gd name="T10" fmla="*/ 0 60000 65536"/>
                <a:gd name="T11" fmla="*/ 0 60000 65536"/>
                <a:gd name="T12" fmla="*/ 0 w 2496"/>
                <a:gd name="T13" fmla="*/ 0 h 1440"/>
                <a:gd name="T14" fmla="*/ 2496 w 2496"/>
                <a:gd name="T15" fmla="*/ 1440 h 1440"/>
              </a:gdLst>
              <a:ahLst/>
              <a:cxnLst>
                <a:cxn ang="T8">
                  <a:pos x="T0" y="T1"/>
                </a:cxn>
                <a:cxn ang="T9">
                  <a:pos x="T2" y="T3"/>
                </a:cxn>
                <a:cxn ang="T10">
                  <a:pos x="T4" y="T5"/>
                </a:cxn>
                <a:cxn ang="T11">
                  <a:pos x="T6" y="T7"/>
                </a:cxn>
              </a:cxnLst>
              <a:rect l="T12" t="T13" r="T14" b="T15"/>
              <a:pathLst>
                <a:path w="2496" h="1440">
                  <a:moveTo>
                    <a:pt x="0" y="1440"/>
                  </a:moveTo>
                  <a:cubicBezTo>
                    <a:pt x="424" y="1376"/>
                    <a:pt x="848" y="1312"/>
                    <a:pt x="1200" y="1104"/>
                  </a:cubicBezTo>
                  <a:cubicBezTo>
                    <a:pt x="1552" y="896"/>
                    <a:pt x="1896" y="376"/>
                    <a:pt x="2112" y="192"/>
                  </a:cubicBezTo>
                  <a:cubicBezTo>
                    <a:pt x="2328" y="8"/>
                    <a:pt x="2412" y="4"/>
                    <a:pt x="2496" y="0"/>
                  </a:cubicBezTo>
                </a:path>
              </a:pathLst>
            </a:custGeom>
            <a:noFill/>
            <a:ln w="57150">
              <a:solidFill>
                <a:srgbClr val="B4B4B4"/>
              </a:solidFill>
              <a:round/>
              <a:headEnd/>
              <a:tailEnd/>
            </a:ln>
          </p:spPr>
          <p:txBody>
            <a:bodyPr wrap="none" lIns="27000" tIns="27000" rIns="27000" bIns="27000" anchor="ctr"/>
            <a:lstStyle/>
            <a:p>
              <a:pPr defTabSz="685800">
                <a:buClrTx/>
              </a:pPr>
              <a:endParaRPr lang="en-US" sz="1350" kern="1200">
                <a:solidFill>
                  <a:prstClr val="black"/>
                </a:solidFill>
                <a:ea typeface="+mn-ea"/>
                <a:cs typeface="+mn-cs"/>
              </a:endParaRPr>
            </a:p>
          </p:txBody>
        </p:sp>
      </p:grpSp>
      <p:grpSp>
        <p:nvGrpSpPr>
          <p:cNvPr id="837636" name="Group 6"/>
          <p:cNvGrpSpPr>
            <a:grpSpLocks/>
          </p:cNvGrpSpPr>
          <p:nvPr/>
        </p:nvGrpSpPr>
        <p:grpSpPr bwMode="auto">
          <a:xfrm>
            <a:off x="2487168" y="1762126"/>
            <a:ext cx="4735116" cy="2213372"/>
            <a:chOff x="667" y="1253"/>
            <a:chExt cx="3587" cy="2222"/>
          </a:xfrm>
        </p:grpSpPr>
        <p:sp>
          <p:nvSpPr>
            <p:cNvPr id="837640" name="Line 7"/>
            <p:cNvSpPr>
              <a:spLocks noChangeShapeType="1"/>
            </p:cNvSpPr>
            <p:nvPr/>
          </p:nvSpPr>
          <p:spPr bwMode="auto">
            <a:xfrm>
              <a:off x="667" y="1253"/>
              <a:ext cx="0" cy="2222"/>
            </a:xfrm>
            <a:prstGeom prst="line">
              <a:avLst/>
            </a:prstGeom>
            <a:noFill/>
            <a:ln w="19050">
              <a:solidFill>
                <a:srgbClr val="B4B4B4"/>
              </a:solidFill>
              <a:round/>
              <a:headEnd/>
              <a:tailEnd/>
            </a:ln>
          </p:spPr>
          <p:txBody>
            <a:bodyPr lIns="27000" tIns="27000" rIns="27000" bIns="27000"/>
            <a:lstStyle/>
            <a:p>
              <a:pPr defTabSz="685800">
                <a:buClrTx/>
              </a:pPr>
              <a:endParaRPr lang="en-US" sz="1350" kern="1200">
                <a:solidFill>
                  <a:prstClr val="black"/>
                </a:solidFill>
                <a:ea typeface="+mn-ea"/>
                <a:cs typeface="+mn-cs"/>
              </a:endParaRPr>
            </a:p>
          </p:txBody>
        </p:sp>
        <p:sp>
          <p:nvSpPr>
            <p:cNvPr id="837641" name="Line 8"/>
            <p:cNvSpPr>
              <a:spLocks noChangeShapeType="1"/>
            </p:cNvSpPr>
            <p:nvPr/>
          </p:nvSpPr>
          <p:spPr bwMode="auto">
            <a:xfrm>
              <a:off x="667" y="3475"/>
              <a:ext cx="3587" cy="0"/>
            </a:xfrm>
            <a:prstGeom prst="line">
              <a:avLst/>
            </a:prstGeom>
            <a:noFill/>
            <a:ln w="19050">
              <a:solidFill>
                <a:srgbClr val="B4B4B4"/>
              </a:solidFill>
              <a:round/>
              <a:headEnd/>
              <a:tailEnd/>
            </a:ln>
          </p:spPr>
          <p:txBody>
            <a:bodyPr lIns="27000" tIns="27000" rIns="27000" bIns="27000"/>
            <a:lstStyle/>
            <a:p>
              <a:pPr defTabSz="685800">
                <a:buClrTx/>
              </a:pPr>
              <a:endParaRPr lang="en-US" sz="1350" kern="1200">
                <a:solidFill>
                  <a:prstClr val="black"/>
                </a:solidFill>
                <a:ea typeface="+mn-ea"/>
                <a:cs typeface="+mn-cs"/>
              </a:endParaRPr>
            </a:p>
          </p:txBody>
        </p:sp>
      </p:grpSp>
      <p:sp>
        <p:nvSpPr>
          <p:cNvPr id="837637" name="Text Box 9"/>
          <p:cNvSpPr txBox="1">
            <a:spLocks noChangeArrowheads="1"/>
          </p:cNvSpPr>
          <p:nvPr/>
        </p:nvSpPr>
        <p:spPr bwMode="auto">
          <a:xfrm rot="16200000">
            <a:off x="1689029" y="2726131"/>
            <a:ext cx="981401" cy="285360"/>
          </a:xfrm>
          <a:prstGeom prst="rect">
            <a:avLst/>
          </a:prstGeom>
          <a:noFill/>
          <a:ln w="9525">
            <a:noFill/>
            <a:miter lim="800000"/>
            <a:headEnd/>
            <a:tailEnd/>
          </a:ln>
        </p:spPr>
        <p:txBody>
          <a:bodyPr wrap="square" lIns="27000" tIns="27000" rIns="27000" bIns="27000">
            <a:spAutoFit/>
          </a:bodyPr>
          <a:lstStyle/>
          <a:p>
            <a:pPr algn="ctr" defTabSz="685800">
              <a:buClrTx/>
            </a:pPr>
            <a:r>
              <a:rPr lang="en-US" altLang="ja-JP" sz="750" b="1" kern="1200" dirty="0">
                <a:solidFill>
                  <a:srgbClr val="313131"/>
                </a:solidFill>
                <a:ea typeface="ＭＳ Ｐゴシック" charset="-128"/>
                <a:cs typeface="+mn-cs"/>
              </a:rPr>
              <a:t>Number of occurrences</a:t>
            </a:r>
          </a:p>
        </p:txBody>
      </p:sp>
      <p:sp>
        <p:nvSpPr>
          <p:cNvPr id="837638" name="Text Box 10"/>
          <p:cNvSpPr txBox="1">
            <a:spLocks noChangeArrowheads="1"/>
          </p:cNvSpPr>
          <p:nvPr/>
        </p:nvSpPr>
        <p:spPr bwMode="auto">
          <a:xfrm>
            <a:off x="4675899" y="4137423"/>
            <a:ext cx="364283" cy="169944"/>
          </a:xfrm>
          <a:prstGeom prst="rect">
            <a:avLst/>
          </a:prstGeom>
          <a:noFill/>
          <a:ln w="9525">
            <a:noFill/>
            <a:miter lim="800000"/>
            <a:headEnd/>
            <a:tailEnd/>
          </a:ln>
        </p:spPr>
        <p:txBody>
          <a:bodyPr wrap="square" lIns="27000" tIns="27000" rIns="27000" bIns="27000">
            <a:spAutoFit/>
          </a:bodyPr>
          <a:lstStyle/>
          <a:p>
            <a:pPr algn="ctr" defTabSz="685800">
              <a:buClrTx/>
            </a:pPr>
            <a:r>
              <a:rPr lang="en-US" altLang="ja-JP" sz="750" b="1" kern="1200" dirty="0">
                <a:solidFill>
                  <a:srgbClr val="313131"/>
                </a:solidFill>
                <a:ea typeface="ＭＳ Ｐゴシック" charset="-128"/>
                <a:cs typeface="+mn-cs"/>
              </a:rPr>
              <a:t>Unit</a:t>
            </a:r>
          </a:p>
        </p:txBody>
      </p:sp>
      <p:sp>
        <p:nvSpPr>
          <p:cNvPr id="15"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Tree>
  </p:cSld>
  <p:clrMapOvr>
    <a:masterClrMapping/>
  </p:clrMapOvr>
  <p:transition>
    <p:fade/>
  </p:transition>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8657" name="Title 1"/>
          <p:cNvSpPr>
            <a:spLocks noGrp="1"/>
          </p:cNvSpPr>
          <p:nvPr>
            <p:ph type="title"/>
          </p:nvPr>
        </p:nvSpPr>
        <p:spPr/>
        <p:txBody>
          <a:bodyPr/>
          <a:lstStyle/>
          <a:p>
            <a:r>
              <a:rPr lang="en-US" altLang="ja-JP" dirty="0"/>
              <a:t>Curves </a:t>
            </a:r>
            <a:br>
              <a:rPr lang="en-US" altLang="ja-JP" dirty="0"/>
            </a:br>
            <a:r>
              <a:rPr lang="en-US" altLang="ja-JP" dirty="0">
                <a:solidFill>
                  <a:srgbClr val="575757"/>
                </a:solidFill>
              </a:rPr>
              <a:t>Cost curve</a:t>
            </a:r>
            <a:endParaRPr lang="en-US" dirty="0">
              <a:solidFill>
                <a:srgbClr val="575757"/>
              </a:solidFill>
            </a:endParaRPr>
          </a:p>
        </p:txBody>
      </p:sp>
      <p:sp>
        <p:nvSpPr>
          <p:cNvPr id="838661" name="Text Box 5"/>
          <p:cNvSpPr txBox="1">
            <a:spLocks noChangeArrowheads="1"/>
          </p:cNvSpPr>
          <p:nvPr/>
        </p:nvSpPr>
        <p:spPr bwMode="auto">
          <a:xfrm rot="-5400000">
            <a:off x="2367635" y="2608223"/>
            <a:ext cx="555867" cy="169944"/>
          </a:xfrm>
          <a:prstGeom prst="rect">
            <a:avLst/>
          </a:prstGeom>
          <a:noFill/>
          <a:ln w="9525">
            <a:noFill/>
            <a:miter lim="800000"/>
            <a:headEnd/>
            <a:tailEnd/>
          </a:ln>
        </p:spPr>
        <p:txBody>
          <a:bodyPr wrap="square" lIns="27000" tIns="27000" rIns="27000" bIns="27000">
            <a:spAutoFit/>
          </a:bodyPr>
          <a:lstStyle/>
          <a:p>
            <a:pPr algn="ctr" defTabSz="685800">
              <a:buClrTx/>
            </a:pPr>
            <a:r>
              <a:rPr lang="en-US" altLang="ja-JP" sz="750" b="1" kern="1200" dirty="0">
                <a:solidFill>
                  <a:srgbClr val="313131"/>
                </a:solidFill>
                <a:ea typeface="ＭＳ Ｐゴシック" charset="-128"/>
                <a:cs typeface="+mn-cs"/>
              </a:rPr>
              <a:t>Cost/unit</a:t>
            </a:r>
          </a:p>
        </p:txBody>
      </p:sp>
      <p:sp>
        <p:nvSpPr>
          <p:cNvPr id="838662" name="Text Box 6"/>
          <p:cNvSpPr txBox="1">
            <a:spLocks noChangeArrowheads="1"/>
          </p:cNvSpPr>
          <p:nvPr/>
        </p:nvSpPr>
        <p:spPr bwMode="auto">
          <a:xfrm>
            <a:off x="4223743" y="4127898"/>
            <a:ext cx="1140619" cy="169944"/>
          </a:xfrm>
          <a:prstGeom prst="rect">
            <a:avLst/>
          </a:prstGeom>
          <a:noFill/>
          <a:ln w="9525">
            <a:noFill/>
            <a:miter lim="800000"/>
            <a:headEnd/>
            <a:tailEnd/>
          </a:ln>
        </p:spPr>
        <p:txBody>
          <a:bodyPr wrap="square" lIns="27000" tIns="27000" rIns="27000" bIns="27000">
            <a:spAutoFit/>
          </a:bodyPr>
          <a:lstStyle/>
          <a:p>
            <a:pPr algn="ctr" defTabSz="685800">
              <a:buClrTx/>
            </a:pPr>
            <a:r>
              <a:rPr lang="en-US" altLang="ja-JP" sz="750" b="1" kern="1200" dirty="0">
                <a:solidFill>
                  <a:srgbClr val="313131"/>
                </a:solidFill>
                <a:ea typeface="ＭＳ Ｐゴシック" charset="-128"/>
                <a:cs typeface="+mn-cs"/>
              </a:rPr>
              <a:t>Cumulative volume</a:t>
            </a:r>
          </a:p>
        </p:txBody>
      </p:sp>
      <p:grpSp>
        <p:nvGrpSpPr>
          <p:cNvPr id="5" name="Group 4"/>
          <p:cNvGrpSpPr/>
          <p:nvPr/>
        </p:nvGrpSpPr>
        <p:grpSpPr>
          <a:xfrm>
            <a:off x="2822972" y="1370410"/>
            <a:ext cx="3942159" cy="2645569"/>
            <a:chOff x="2239963" y="1827213"/>
            <a:chExt cx="5256212" cy="3527425"/>
          </a:xfrm>
        </p:grpSpPr>
        <p:sp>
          <p:nvSpPr>
            <p:cNvPr id="838659" name="Line 3"/>
            <p:cNvSpPr>
              <a:spLocks noChangeShapeType="1"/>
            </p:cNvSpPr>
            <p:nvPr/>
          </p:nvSpPr>
          <p:spPr bwMode="auto">
            <a:xfrm>
              <a:off x="2239963" y="1827213"/>
              <a:ext cx="0" cy="3527425"/>
            </a:xfrm>
            <a:prstGeom prst="line">
              <a:avLst/>
            </a:prstGeom>
            <a:noFill/>
            <a:ln w="19050">
              <a:solidFill>
                <a:srgbClr val="B4B4B4"/>
              </a:solidFill>
              <a:round/>
              <a:headEnd/>
              <a:tailEnd/>
            </a:ln>
          </p:spPr>
          <p:txBody>
            <a:bodyPr wrap="square" lIns="27000" tIns="27000" rIns="27000" bIns="27000"/>
            <a:lstStyle/>
            <a:p>
              <a:pPr defTabSz="685800">
                <a:buClrTx/>
              </a:pPr>
              <a:endParaRPr lang="en-US" sz="1350" kern="1200">
                <a:solidFill>
                  <a:prstClr val="black"/>
                </a:solidFill>
                <a:ea typeface="+mn-ea"/>
                <a:cs typeface="+mn-cs"/>
              </a:endParaRPr>
            </a:p>
          </p:txBody>
        </p:sp>
        <p:sp>
          <p:nvSpPr>
            <p:cNvPr id="838660" name="Line 4"/>
            <p:cNvSpPr>
              <a:spLocks noChangeShapeType="1"/>
            </p:cNvSpPr>
            <p:nvPr/>
          </p:nvSpPr>
          <p:spPr bwMode="auto">
            <a:xfrm>
              <a:off x="2239963" y="5354638"/>
              <a:ext cx="5256212" cy="0"/>
            </a:xfrm>
            <a:prstGeom prst="line">
              <a:avLst/>
            </a:prstGeom>
            <a:noFill/>
            <a:ln w="19050">
              <a:solidFill>
                <a:srgbClr val="B4B4B4"/>
              </a:solidFill>
              <a:round/>
              <a:headEnd/>
              <a:tailEnd/>
            </a:ln>
          </p:spPr>
          <p:txBody>
            <a:bodyPr wrap="square" lIns="27000" tIns="27000" rIns="27000" bIns="27000"/>
            <a:lstStyle/>
            <a:p>
              <a:pPr defTabSz="685800">
                <a:buClrTx/>
              </a:pPr>
              <a:endParaRPr lang="en-US" sz="1350" kern="1200">
                <a:solidFill>
                  <a:prstClr val="black"/>
                </a:solidFill>
                <a:ea typeface="+mn-ea"/>
                <a:cs typeface="+mn-cs"/>
              </a:endParaRPr>
            </a:p>
          </p:txBody>
        </p:sp>
      </p:grpSp>
      <p:sp>
        <p:nvSpPr>
          <p:cNvPr id="838663" name="Arc 7"/>
          <p:cNvSpPr>
            <a:spLocks/>
          </p:cNvSpPr>
          <p:nvPr/>
        </p:nvSpPr>
        <p:spPr bwMode="auto">
          <a:xfrm rot="10800000">
            <a:off x="3052763" y="1437085"/>
            <a:ext cx="3762375" cy="2309813"/>
          </a:xfrm>
          <a:custGeom>
            <a:avLst/>
            <a:gdLst>
              <a:gd name="T0" fmla="*/ 0 w 22699"/>
              <a:gd name="T1" fmla="*/ 2147483647 h 21600"/>
              <a:gd name="T2" fmla="*/ 2147483647 w 22699"/>
              <a:gd name="T3" fmla="*/ 2147483647 h 21600"/>
              <a:gd name="T4" fmla="*/ 2147483647 w 22699"/>
              <a:gd name="T5" fmla="*/ 2147483647 h 21600"/>
              <a:gd name="T6" fmla="*/ 0 60000 65536"/>
              <a:gd name="T7" fmla="*/ 0 60000 65536"/>
              <a:gd name="T8" fmla="*/ 0 60000 65536"/>
              <a:gd name="T9" fmla="*/ 0 w 22699"/>
              <a:gd name="T10" fmla="*/ 0 h 21600"/>
              <a:gd name="T11" fmla="*/ 22699 w 22699"/>
              <a:gd name="T12" fmla="*/ 21600 h 21600"/>
            </a:gdLst>
            <a:ahLst/>
            <a:cxnLst>
              <a:cxn ang="T6">
                <a:pos x="T0" y="T1"/>
              </a:cxn>
              <a:cxn ang="T7">
                <a:pos x="T2" y="T3"/>
              </a:cxn>
              <a:cxn ang="T8">
                <a:pos x="T4" y="T5"/>
              </a:cxn>
            </a:cxnLst>
            <a:rect l="T9" t="T10" r="T11" b="T12"/>
            <a:pathLst>
              <a:path w="22699" h="21600" fill="none" extrusionOk="0">
                <a:moveTo>
                  <a:pt x="0" y="33"/>
                </a:moveTo>
                <a:cubicBezTo>
                  <a:pt x="398" y="11"/>
                  <a:pt x="797" y="-1"/>
                  <a:pt x="1196" y="0"/>
                </a:cubicBezTo>
                <a:cubicBezTo>
                  <a:pt x="12333" y="0"/>
                  <a:pt x="21645" y="8468"/>
                  <a:pt x="22699" y="19556"/>
                </a:cubicBezTo>
              </a:path>
              <a:path w="22699" h="21600" stroke="0" extrusionOk="0">
                <a:moveTo>
                  <a:pt x="0" y="33"/>
                </a:moveTo>
                <a:cubicBezTo>
                  <a:pt x="398" y="11"/>
                  <a:pt x="797" y="-1"/>
                  <a:pt x="1196" y="0"/>
                </a:cubicBezTo>
                <a:cubicBezTo>
                  <a:pt x="12333" y="0"/>
                  <a:pt x="21645" y="8468"/>
                  <a:pt x="22699" y="19556"/>
                </a:cubicBezTo>
                <a:lnTo>
                  <a:pt x="1196" y="21600"/>
                </a:lnTo>
                <a:close/>
              </a:path>
            </a:pathLst>
          </a:custGeom>
          <a:noFill/>
          <a:ln w="28575">
            <a:solidFill>
              <a:srgbClr val="B4B4B4"/>
            </a:solidFill>
            <a:round/>
            <a:headEnd/>
            <a:tailEnd/>
          </a:ln>
        </p:spPr>
        <p:txBody>
          <a:bodyPr wrap="square" lIns="27000" tIns="27000" rIns="27000" bIns="27000" anchor="ctr"/>
          <a:lstStyle/>
          <a:p>
            <a:pPr algn="ctr" defTabSz="685800">
              <a:buClrTx/>
            </a:pPr>
            <a:endParaRPr lang="en-US" sz="1350" kern="1200">
              <a:solidFill>
                <a:prstClr val="black"/>
              </a:solidFill>
              <a:ea typeface="+mn-ea"/>
              <a:cs typeface="+mn-cs"/>
            </a:endParaRPr>
          </a:p>
        </p:txBody>
      </p:sp>
      <p:sp>
        <p:nvSpPr>
          <p:cNvPr id="838664" name="Oval 8"/>
          <p:cNvSpPr>
            <a:spLocks noChangeArrowheads="1"/>
          </p:cNvSpPr>
          <p:nvPr/>
        </p:nvSpPr>
        <p:spPr bwMode="auto">
          <a:xfrm>
            <a:off x="3351498" y="2409826"/>
            <a:ext cx="108000" cy="108347"/>
          </a:xfrm>
          <a:prstGeom prst="ellipse">
            <a:avLst/>
          </a:prstGeom>
          <a:solidFill>
            <a:srgbClr val="002776"/>
          </a:solidFill>
          <a:ln w="12700" algn="ctr">
            <a:solidFill>
              <a:schemeClr val="bg1"/>
            </a:solidFill>
            <a:round/>
            <a:headEnd/>
            <a:tailEnd/>
          </a:ln>
        </p:spPr>
        <p:txBody>
          <a:bodyPr wrap="square" lIns="27000" tIns="27000" rIns="27000" bIns="27000" anchor="ctr"/>
          <a:lstStyle/>
          <a:p>
            <a:pPr algn="ctr" defTabSz="685800">
              <a:buClrTx/>
            </a:pPr>
            <a:endParaRPr lang="en-US" sz="1350" kern="1200">
              <a:solidFill>
                <a:prstClr val="black"/>
              </a:solidFill>
              <a:ea typeface="+mn-ea"/>
              <a:cs typeface="+mn-cs"/>
            </a:endParaRPr>
          </a:p>
        </p:txBody>
      </p:sp>
      <p:sp>
        <p:nvSpPr>
          <p:cNvPr id="838665" name="Oval 9"/>
          <p:cNvSpPr>
            <a:spLocks noChangeArrowheads="1"/>
          </p:cNvSpPr>
          <p:nvPr/>
        </p:nvSpPr>
        <p:spPr bwMode="auto">
          <a:xfrm>
            <a:off x="3026569" y="1762126"/>
            <a:ext cx="108000" cy="108347"/>
          </a:xfrm>
          <a:prstGeom prst="ellipse">
            <a:avLst/>
          </a:prstGeom>
          <a:solidFill>
            <a:srgbClr val="002776"/>
          </a:solidFill>
          <a:ln w="12700" algn="ctr">
            <a:solidFill>
              <a:schemeClr val="bg1"/>
            </a:solidFill>
            <a:round/>
            <a:headEnd/>
            <a:tailEnd/>
          </a:ln>
        </p:spPr>
        <p:txBody>
          <a:bodyPr wrap="square" lIns="27000" tIns="27000" rIns="27000" bIns="27000" anchor="ctr"/>
          <a:lstStyle/>
          <a:p>
            <a:pPr algn="ctr" defTabSz="685800">
              <a:buClrTx/>
            </a:pPr>
            <a:endParaRPr lang="en-US" sz="1350" kern="1200">
              <a:solidFill>
                <a:prstClr val="black"/>
              </a:solidFill>
              <a:ea typeface="+mn-ea"/>
              <a:cs typeface="+mn-cs"/>
            </a:endParaRPr>
          </a:p>
        </p:txBody>
      </p:sp>
      <p:sp>
        <p:nvSpPr>
          <p:cNvPr id="11" name="Arc 10"/>
          <p:cNvSpPr>
            <a:spLocks/>
          </p:cNvSpPr>
          <p:nvPr/>
        </p:nvSpPr>
        <p:spPr bwMode="auto">
          <a:xfrm>
            <a:off x="3225404" y="1815704"/>
            <a:ext cx="150019" cy="48577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9525">
            <a:solidFill>
              <a:schemeClr val="accent1"/>
            </a:solidFill>
            <a:round/>
            <a:headEnd/>
            <a:tailEnd type="triangle" w="med" len="med"/>
          </a:ln>
        </p:spPr>
        <p:txBody>
          <a:bodyPr wrap="square" lIns="27000" tIns="27000" rIns="27000" bIns="27000" anchor="ctr"/>
          <a:lstStyle/>
          <a:p>
            <a:pPr algn="ctr" defTabSz="685800">
              <a:buClrTx/>
              <a:defRPr/>
            </a:pPr>
            <a:endParaRPr lang="en-US" sz="1350" kern="1200" dirty="0">
              <a:solidFill>
                <a:prstClr val="black"/>
              </a:solidFill>
              <a:ea typeface="+mn-ea"/>
              <a:cs typeface="+mn-cs"/>
            </a:endParaRPr>
          </a:p>
        </p:txBody>
      </p:sp>
      <p:sp>
        <p:nvSpPr>
          <p:cNvPr id="838667" name="Text Box 11"/>
          <p:cNvSpPr txBox="1">
            <a:spLocks noChangeArrowheads="1"/>
          </p:cNvSpPr>
          <p:nvPr/>
        </p:nvSpPr>
        <p:spPr bwMode="auto">
          <a:xfrm>
            <a:off x="3026569" y="1488282"/>
            <a:ext cx="300509" cy="181485"/>
          </a:xfrm>
          <a:prstGeom prst="rect">
            <a:avLst/>
          </a:prstGeom>
          <a:noFill/>
          <a:ln w="9525">
            <a:noFill/>
            <a:miter lim="800000"/>
            <a:headEnd/>
            <a:tailEnd/>
          </a:ln>
        </p:spPr>
        <p:txBody>
          <a:bodyPr wrap="square" lIns="27000" tIns="27000" rIns="27000" bIns="27000">
            <a:spAutoFit/>
          </a:bodyPr>
          <a:lstStyle/>
          <a:p>
            <a:pPr defTabSz="685800">
              <a:buClrTx/>
            </a:pPr>
            <a:r>
              <a:rPr lang="en-US" altLang="ja-JP" sz="825" kern="1200" dirty="0">
                <a:solidFill>
                  <a:srgbClr val="313131"/>
                </a:solidFill>
                <a:ea typeface="ＭＳ Ｐゴシック" charset="-128"/>
                <a:cs typeface="+mn-cs"/>
              </a:rPr>
              <a:t>Text</a:t>
            </a:r>
          </a:p>
        </p:txBody>
      </p:sp>
      <p:sp>
        <p:nvSpPr>
          <p:cNvPr id="838668" name="Text Box 12"/>
          <p:cNvSpPr txBox="1">
            <a:spLocks noChangeArrowheads="1"/>
          </p:cNvSpPr>
          <p:nvPr/>
        </p:nvSpPr>
        <p:spPr bwMode="auto">
          <a:xfrm>
            <a:off x="2886075" y="2515791"/>
            <a:ext cx="300509" cy="181485"/>
          </a:xfrm>
          <a:prstGeom prst="rect">
            <a:avLst/>
          </a:prstGeom>
          <a:noFill/>
          <a:ln w="9525">
            <a:noFill/>
            <a:miter lim="800000"/>
            <a:headEnd/>
            <a:tailEnd/>
          </a:ln>
        </p:spPr>
        <p:txBody>
          <a:bodyPr wrap="square" lIns="27000" tIns="27000" rIns="27000" bIns="27000">
            <a:spAutoFit/>
          </a:bodyPr>
          <a:lstStyle/>
          <a:p>
            <a:pPr defTabSz="685800">
              <a:buClrTx/>
            </a:pPr>
            <a:r>
              <a:rPr lang="en-US" altLang="ja-JP" sz="825" kern="1200" dirty="0">
                <a:solidFill>
                  <a:srgbClr val="313131"/>
                </a:solidFill>
                <a:ea typeface="ＭＳ Ｐゴシック" charset="-128"/>
                <a:cs typeface="+mn-cs"/>
              </a:rPr>
              <a:t>Text</a:t>
            </a:r>
          </a:p>
        </p:txBody>
      </p:sp>
      <p:sp>
        <p:nvSpPr>
          <p:cNvPr id="838669" name="Oval 13"/>
          <p:cNvSpPr>
            <a:spLocks noChangeArrowheads="1"/>
          </p:cNvSpPr>
          <p:nvPr/>
        </p:nvSpPr>
        <p:spPr bwMode="auto">
          <a:xfrm>
            <a:off x="5967413" y="3659982"/>
            <a:ext cx="108000" cy="108347"/>
          </a:xfrm>
          <a:prstGeom prst="ellipse">
            <a:avLst/>
          </a:prstGeom>
          <a:solidFill>
            <a:srgbClr val="002776"/>
          </a:solidFill>
          <a:ln w="12700" algn="ctr">
            <a:solidFill>
              <a:schemeClr val="bg1"/>
            </a:solidFill>
            <a:round/>
            <a:headEnd/>
            <a:tailEnd/>
          </a:ln>
        </p:spPr>
        <p:txBody>
          <a:bodyPr wrap="square" lIns="27000" tIns="27000" rIns="27000" bIns="27000" anchor="ctr"/>
          <a:lstStyle/>
          <a:p>
            <a:pPr algn="ctr" defTabSz="685800">
              <a:buClrTx/>
            </a:pPr>
            <a:endParaRPr lang="en-US" sz="1350" kern="1200">
              <a:solidFill>
                <a:prstClr val="black"/>
              </a:solidFill>
              <a:ea typeface="+mn-ea"/>
              <a:cs typeface="+mn-cs"/>
            </a:endParaRPr>
          </a:p>
        </p:txBody>
      </p:sp>
      <p:sp>
        <p:nvSpPr>
          <p:cNvPr id="838670" name="Oval 14"/>
          <p:cNvSpPr>
            <a:spLocks noChangeArrowheads="1"/>
          </p:cNvSpPr>
          <p:nvPr/>
        </p:nvSpPr>
        <p:spPr bwMode="auto">
          <a:xfrm>
            <a:off x="6466285" y="3697251"/>
            <a:ext cx="108000" cy="108347"/>
          </a:xfrm>
          <a:prstGeom prst="ellipse">
            <a:avLst/>
          </a:prstGeom>
          <a:solidFill>
            <a:srgbClr val="002776"/>
          </a:solidFill>
          <a:ln w="12700" algn="ctr">
            <a:solidFill>
              <a:schemeClr val="bg1"/>
            </a:solidFill>
            <a:round/>
            <a:headEnd/>
            <a:tailEnd/>
          </a:ln>
        </p:spPr>
        <p:txBody>
          <a:bodyPr wrap="square" lIns="27000" tIns="27000" rIns="27000" bIns="27000" anchor="ctr"/>
          <a:lstStyle/>
          <a:p>
            <a:pPr algn="ctr" defTabSz="685800">
              <a:buClrTx/>
            </a:pPr>
            <a:endParaRPr lang="en-US" sz="1350" kern="1200">
              <a:solidFill>
                <a:prstClr val="black"/>
              </a:solidFill>
              <a:ea typeface="+mn-ea"/>
              <a:cs typeface="+mn-cs"/>
            </a:endParaRPr>
          </a:p>
        </p:txBody>
      </p:sp>
      <p:sp>
        <p:nvSpPr>
          <p:cNvPr id="838671" name="Text Box 15"/>
          <p:cNvSpPr txBox="1">
            <a:spLocks noChangeArrowheads="1"/>
          </p:cNvSpPr>
          <p:nvPr/>
        </p:nvSpPr>
        <p:spPr bwMode="auto">
          <a:xfrm>
            <a:off x="5689762" y="3756423"/>
            <a:ext cx="300508" cy="181485"/>
          </a:xfrm>
          <a:prstGeom prst="rect">
            <a:avLst/>
          </a:prstGeom>
          <a:noFill/>
          <a:ln w="9525">
            <a:noFill/>
            <a:miter lim="800000"/>
            <a:headEnd/>
            <a:tailEnd/>
          </a:ln>
        </p:spPr>
        <p:txBody>
          <a:bodyPr wrap="square" lIns="27000" tIns="27000" rIns="27000" bIns="27000">
            <a:spAutoFit/>
          </a:bodyPr>
          <a:lstStyle/>
          <a:p>
            <a:pPr algn="ctr" defTabSz="685800">
              <a:buClrTx/>
            </a:pPr>
            <a:r>
              <a:rPr lang="en-US" altLang="ja-JP" sz="825" kern="1200">
                <a:solidFill>
                  <a:srgbClr val="313131"/>
                </a:solidFill>
                <a:ea typeface="ＭＳ Ｐゴシック" charset="-128"/>
                <a:cs typeface="+mn-cs"/>
              </a:rPr>
              <a:t>Text</a:t>
            </a:r>
          </a:p>
        </p:txBody>
      </p:sp>
      <p:sp>
        <p:nvSpPr>
          <p:cNvPr id="838672" name="Text Box 16"/>
          <p:cNvSpPr txBox="1">
            <a:spLocks noChangeArrowheads="1"/>
          </p:cNvSpPr>
          <p:nvPr/>
        </p:nvSpPr>
        <p:spPr bwMode="auto">
          <a:xfrm>
            <a:off x="6404733" y="3810000"/>
            <a:ext cx="300508" cy="181485"/>
          </a:xfrm>
          <a:prstGeom prst="rect">
            <a:avLst/>
          </a:prstGeom>
          <a:noFill/>
          <a:ln w="9525">
            <a:noFill/>
            <a:miter lim="800000"/>
            <a:headEnd/>
            <a:tailEnd/>
          </a:ln>
        </p:spPr>
        <p:txBody>
          <a:bodyPr wrap="square" lIns="27000" tIns="27000" rIns="27000" bIns="27000">
            <a:spAutoFit/>
          </a:bodyPr>
          <a:lstStyle/>
          <a:p>
            <a:pPr algn="ctr" defTabSz="685800">
              <a:buClrTx/>
            </a:pPr>
            <a:r>
              <a:rPr lang="en-US" altLang="ja-JP" sz="825" kern="1200">
                <a:solidFill>
                  <a:srgbClr val="313131"/>
                </a:solidFill>
                <a:ea typeface="ＭＳ Ｐゴシック" charset="-128"/>
                <a:cs typeface="+mn-cs"/>
              </a:rPr>
              <a:t>Text</a:t>
            </a:r>
          </a:p>
        </p:txBody>
      </p:sp>
      <p:sp>
        <p:nvSpPr>
          <p:cNvPr id="18" name="Arc 17"/>
          <p:cNvSpPr>
            <a:spLocks/>
          </p:cNvSpPr>
          <p:nvPr/>
        </p:nvSpPr>
        <p:spPr bwMode="auto">
          <a:xfrm>
            <a:off x="6094810" y="3651648"/>
            <a:ext cx="350044" cy="54769"/>
          </a:xfrm>
          <a:custGeom>
            <a:avLst/>
            <a:gdLst>
              <a:gd name="T0" fmla="*/ 0 w 21600"/>
              <a:gd name="T1" fmla="*/ 0 h 21600"/>
              <a:gd name="T2" fmla="*/ 2147483647 w 21600"/>
              <a:gd name="T3" fmla="*/ 9539871 h 21600"/>
              <a:gd name="T4" fmla="*/ 0 w 21600"/>
              <a:gd name="T5" fmla="*/ 9539871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9525">
            <a:solidFill>
              <a:schemeClr val="accent1"/>
            </a:solidFill>
            <a:round/>
            <a:headEnd/>
            <a:tailEnd type="triangle" w="med" len="med"/>
          </a:ln>
        </p:spPr>
        <p:txBody>
          <a:bodyPr wrap="square" lIns="27000" tIns="27000" rIns="27000" bIns="27000" anchor="ctr"/>
          <a:lstStyle/>
          <a:p>
            <a:pPr algn="ctr" defTabSz="685800">
              <a:buClrTx/>
              <a:defRPr/>
            </a:pPr>
            <a:endParaRPr lang="en-US" sz="1350" kern="1200" dirty="0">
              <a:solidFill>
                <a:prstClr val="black"/>
              </a:solidFill>
              <a:ea typeface="+mn-ea"/>
              <a:cs typeface="+mn-cs"/>
            </a:endParaRPr>
          </a:p>
        </p:txBody>
      </p:sp>
      <p:sp>
        <p:nvSpPr>
          <p:cNvPr id="22"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Tree>
  </p:cSld>
  <p:clrMapOvr>
    <a:masterClrMapping/>
  </p:clrMapOvr>
  <p:transition>
    <p:fade/>
  </p:transition>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681" name="Title 1"/>
          <p:cNvSpPr>
            <a:spLocks noGrp="1"/>
          </p:cNvSpPr>
          <p:nvPr>
            <p:ph type="title"/>
          </p:nvPr>
        </p:nvSpPr>
        <p:spPr/>
        <p:txBody>
          <a:bodyPr/>
          <a:lstStyle/>
          <a:p>
            <a:r>
              <a:rPr lang="en-US" altLang="ja-JP" dirty="0"/>
              <a:t>Curves </a:t>
            </a:r>
            <a:br>
              <a:rPr lang="en-US" altLang="ja-JP" dirty="0"/>
            </a:br>
            <a:r>
              <a:rPr lang="en-US" altLang="ja-JP" dirty="0">
                <a:solidFill>
                  <a:srgbClr val="575757"/>
                </a:solidFill>
              </a:rPr>
              <a:t>Downward and upward slopes</a:t>
            </a:r>
            <a:endParaRPr lang="en-US" dirty="0">
              <a:solidFill>
                <a:srgbClr val="575757"/>
              </a:solidFill>
            </a:endParaRPr>
          </a:p>
        </p:txBody>
      </p:sp>
      <p:sp>
        <p:nvSpPr>
          <p:cNvPr id="839683" name="Freeform 3"/>
          <p:cNvSpPr>
            <a:spLocks/>
          </p:cNvSpPr>
          <p:nvPr/>
        </p:nvSpPr>
        <p:spPr bwMode="auto">
          <a:xfrm>
            <a:off x="1775223" y="1728787"/>
            <a:ext cx="2464594" cy="2262188"/>
          </a:xfrm>
          <a:custGeom>
            <a:avLst/>
            <a:gdLst>
              <a:gd name="T0" fmla="*/ 0 w 2071"/>
              <a:gd name="T1" fmla="*/ 0 h 1900"/>
              <a:gd name="T2" fmla="*/ 0 w 2071"/>
              <a:gd name="T3" fmla="*/ 2147483647 h 1900"/>
              <a:gd name="T4" fmla="*/ 2147483647 w 2071"/>
              <a:gd name="T5" fmla="*/ 2147483647 h 1900"/>
              <a:gd name="T6" fmla="*/ 0 60000 65536"/>
              <a:gd name="T7" fmla="*/ 0 60000 65536"/>
              <a:gd name="T8" fmla="*/ 0 60000 65536"/>
              <a:gd name="T9" fmla="*/ 0 w 2071"/>
              <a:gd name="T10" fmla="*/ 0 h 1900"/>
              <a:gd name="T11" fmla="*/ 2071 w 2071"/>
              <a:gd name="T12" fmla="*/ 1900 h 1900"/>
            </a:gdLst>
            <a:ahLst/>
            <a:cxnLst>
              <a:cxn ang="T6">
                <a:pos x="T0" y="T1"/>
              </a:cxn>
              <a:cxn ang="T7">
                <a:pos x="T2" y="T3"/>
              </a:cxn>
              <a:cxn ang="T8">
                <a:pos x="T4" y="T5"/>
              </a:cxn>
            </a:cxnLst>
            <a:rect l="T9" t="T10" r="T11" b="T12"/>
            <a:pathLst>
              <a:path w="2071" h="1900">
                <a:moveTo>
                  <a:pt x="0" y="0"/>
                </a:moveTo>
                <a:lnTo>
                  <a:pt x="0" y="1899"/>
                </a:lnTo>
                <a:lnTo>
                  <a:pt x="2070" y="1899"/>
                </a:lnTo>
              </a:path>
            </a:pathLst>
          </a:custGeom>
          <a:noFill/>
          <a:ln w="19050" cap="rnd">
            <a:solidFill>
              <a:srgbClr val="B4B4B4"/>
            </a:solidFill>
            <a:round/>
            <a:headEnd type="triangle" w="med" len="med"/>
            <a:tailEnd type="triangle" w="med" len="med"/>
          </a:ln>
        </p:spPr>
        <p:txBody>
          <a:bodyPr lIns="27000" tIns="27000" rIns="27000" bIns="27000"/>
          <a:lstStyle/>
          <a:p>
            <a:pPr defTabSz="685800">
              <a:buClrTx/>
            </a:pPr>
            <a:endParaRPr lang="en-US" sz="1050" kern="1200">
              <a:solidFill>
                <a:prstClr val="black"/>
              </a:solidFill>
              <a:ea typeface="+mn-ea"/>
              <a:cs typeface="+mn-cs"/>
            </a:endParaRPr>
          </a:p>
        </p:txBody>
      </p:sp>
      <p:sp>
        <p:nvSpPr>
          <p:cNvPr id="839684" name="Arc 4"/>
          <p:cNvSpPr>
            <a:spLocks/>
          </p:cNvSpPr>
          <p:nvPr/>
        </p:nvSpPr>
        <p:spPr bwMode="auto">
          <a:xfrm>
            <a:off x="1953816" y="1869281"/>
            <a:ext cx="2024063" cy="1881188"/>
          </a:xfrm>
          <a:custGeom>
            <a:avLst/>
            <a:gdLst>
              <a:gd name="T0" fmla="*/ 2147483647 w 24147"/>
              <a:gd name="T1" fmla="*/ 2147483647 h 21600"/>
              <a:gd name="T2" fmla="*/ 0 w 24147"/>
              <a:gd name="T3" fmla="*/ 2147483647 h 21600"/>
              <a:gd name="T4" fmla="*/ 2147483647 w 24147"/>
              <a:gd name="T5" fmla="*/ 0 h 21600"/>
              <a:gd name="T6" fmla="*/ 0 60000 65536"/>
              <a:gd name="T7" fmla="*/ 0 60000 65536"/>
              <a:gd name="T8" fmla="*/ 0 60000 65536"/>
              <a:gd name="T9" fmla="*/ 0 w 24147"/>
              <a:gd name="T10" fmla="*/ 0 h 21600"/>
              <a:gd name="T11" fmla="*/ 24147 w 24147"/>
              <a:gd name="T12" fmla="*/ 21600 h 21600"/>
            </a:gdLst>
            <a:ahLst/>
            <a:cxnLst>
              <a:cxn ang="T6">
                <a:pos x="T0" y="T1"/>
              </a:cxn>
              <a:cxn ang="T7">
                <a:pos x="T2" y="T3"/>
              </a:cxn>
              <a:cxn ang="T8">
                <a:pos x="T4" y="T5"/>
              </a:cxn>
            </a:cxnLst>
            <a:rect l="T9" t="T10" r="T11" b="T12"/>
            <a:pathLst>
              <a:path w="24147" h="21600" fill="none" extrusionOk="0">
                <a:moveTo>
                  <a:pt x="24147" y="21439"/>
                </a:moveTo>
                <a:cubicBezTo>
                  <a:pt x="23275" y="21546"/>
                  <a:pt x="22397" y="21599"/>
                  <a:pt x="21519" y="21600"/>
                </a:cubicBezTo>
                <a:cubicBezTo>
                  <a:pt x="10315" y="21600"/>
                  <a:pt x="971" y="13034"/>
                  <a:pt x="0" y="1872"/>
                </a:cubicBezTo>
              </a:path>
              <a:path w="24147" h="21600" stroke="0" extrusionOk="0">
                <a:moveTo>
                  <a:pt x="24147" y="21439"/>
                </a:moveTo>
                <a:cubicBezTo>
                  <a:pt x="23275" y="21546"/>
                  <a:pt x="22397" y="21599"/>
                  <a:pt x="21519" y="21600"/>
                </a:cubicBezTo>
                <a:cubicBezTo>
                  <a:pt x="10315" y="21600"/>
                  <a:pt x="971" y="13034"/>
                  <a:pt x="0" y="1872"/>
                </a:cubicBezTo>
                <a:lnTo>
                  <a:pt x="21519" y="0"/>
                </a:lnTo>
                <a:close/>
              </a:path>
            </a:pathLst>
          </a:custGeom>
          <a:noFill/>
          <a:ln w="28575" cap="rnd">
            <a:solidFill>
              <a:srgbClr val="B4B4B4"/>
            </a:solidFill>
            <a:round/>
            <a:headEnd/>
            <a:tailEnd/>
          </a:ln>
        </p:spPr>
        <p:txBody>
          <a:bodyPr wrap="none" lIns="27000" tIns="27000" rIns="27000" bIns="27000" anchor="ctr"/>
          <a:lstStyle/>
          <a:p>
            <a:pPr algn="ctr" defTabSz="685800">
              <a:buClrTx/>
            </a:pPr>
            <a:endParaRPr lang="en-US" sz="1050" kern="1200">
              <a:solidFill>
                <a:prstClr val="black"/>
              </a:solidFill>
              <a:ea typeface="+mn-ea"/>
              <a:cs typeface="+mn-cs"/>
            </a:endParaRPr>
          </a:p>
        </p:txBody>
      </p:sp>
      <p:sp>
        <p:nvSpPr>
          <p:cNvPr id="839685" name="Oval 5"/>
          <p:cNvSpPr>
            <a:spLocks noChangeArrowheads="1"/>
          </p:cNvSpPr>
          <p:nvPr/>
        </p:nvSpPr>
        <p:spPr bwMode="auto">
          <a:xfrm>
            <a:off x="1993106" y="2464594"/>
            <a:ext cx="216000" cy="216000"/>
          </a:xfrm>
          <a:prstGeom prst="ellipse">
            <a:avLst/>
          </a:prstGeom>
          <a:solidFill>
            <a:schemeClr val="accent4"/>
          </a:solidFill>
          <a:ln w="12700" algn="ctr">
            <a:solidFill>
              <a:schemeClr val="bg1"/>
            </a:solidFill>
            <a:round/>
            <a:headEnd/>
            <a:tailEnd/>
          </a:ln>
        </p:spPr>
        <p:txBody>
          <a:bodyPr lIns="27000" tIns="27000" rIns="27000" bIns="27000" anchor="ctr"/>
          <a:lstStyle/>
          <a:p>
            <a:pPr algn="ctr" defTabSz="685800">
              <a:buClrTx/>
            </a:pPr>
            <a:r>
              <a:rPr lang="en-US" altLang="ja-JP" sz="1050" b="1" kern="1200">
                <a:solidFill>
                  <a:srgbClr val="FFFFFF"/>
                </a:solidFill>
                <a:ea typeface="ＭＳ Ｐゴシック" charset="-128"/>
                <a:cs typeface="+mn-cs"/>
              </a:rPr>
              <a:t>1</a:t>
            </a:r>
            <a:endParaRPr lang="en-US" altLang="ja-JP" sz="1050" b="1" kern="1200" dirty="0">
              <a:solidFill>
                <a:srgbClr val="FFFFFF"/>
              </a:solidFill>
              <a:ea typeface="ＭＳ Ｐゴシック" charset="-128"/>
              <a:cs typeface="+mn-cs"/>
            </a:endParaRPr>
          </a:p>
        </p:txBody>
      </p:sp>
      <p:sp>
        <p:nvSpPr>
          <p:cNvPr id="839686" name="Oval 6"/>
          <p:cNvSpPr>
            <a:spLocks noChangeArrowheads="1"/>
          </p:cNvSpPr>
          <p:nvPr/>
        </p:nvSpPr>
        <p:spPr bwMode="auto">
          <a:xfrm>
            <a:off x="2464594" y="3182541"/>
            <a:ext cx="216000" cy="216000"/>
          </a:xfrm>
          <a:prstGeom prst="ellipse">
            <a:avLst/>
          </a:prstGeom>
          <a:solidFill>
            <a:schemeClr val="accent4"/>
          </a:solidFill>
          <a:ln w="12700" algn="ctr">
            <a:solidFill>
              <a:schemeClr val="bg1"/>
            </a:solidFill>
            <a:round/>
            <a:headEnd/>
            <a:tailEnd/>
          </a:ln>
        </p:spPr>
        <p:txBody>
          <a:bodyPr lIns="27000" tIns="27000" rIns="27000" bIns="27000" anchor="ctr"/>
          <a:lstStyle/>
          <a:p>
            <a:pPr algn="ctr" defTabSz="685800">
              <a:buClrTx/>
            </a:pPr>
            <a:r>
              <a:rPr lang="en-US" altLang="ja-JP" sz="1050" b="1" kern="1200">
                <a:solidFill>
                  <a:srgbClr val="FFFFFF"/>
                </a:solidFill>
                <a:ea typeface="ＭＳ Ｐゴシック" charset="-128"/>
                <a:cs typeface="+mn-cs"/>
              </a:rPr>
              <a:t>2</a:t>
            </a:r>
          </a:p>
        </p:txBody>
      </p:sp>
      <p:sp>
        <p:nvSpPr>
          <p:cNvPr id="839687" name="Oval 7"/>
          <p:cNvSpPr>
            <a:spLocks noChangeArrowheads="1"/>
          </p:cNvSpPr>
          <p:nvPr/>
        </p:nvSpPr>
        <p:spPr bwMode="auto">
          <a:xfrm>
            <a:off x="3171825" y="3589735"/>
            <a:ext cx="216000" cy="216000"/>
          </a:xfrm>
          <a:prstGeom prst="ellipse">
            <a:avLst/>
          </a:prstGeom>
          <a:solidFill>
            <a:schemeClr val="accent4"/>
          </a:solidFill>
          <a:ln w="12700" algn="ctr">
            <a:solidFill>
              <a:schemeClr val="bg1"/>
            </a:solidFill>
            <a:round/>
            <a:headEnd/>
            <a:tailEnd/>
          </a:ln>
        </p:spPr>
        <p:txBody>
          <a:bodyPr lIns="27000" tIns="27000" rIns="27000" bIns="27000" anchor="ctr"/>
          <a:lstStyle/>
          <a:p>
            <a:pPr algn="ctr" defTabSz="685800">
              <a:buClrTx/>
            </a:pPr>
            <a:r>
              <a:rPr lang="en-US" altLang="ja-JP" sz="1050" b="1" kern="1200">
                <a:solidFill>
                  <a:srgbClr val="FFFFFF"/>
                </a:solidFill>
                <a:ea typeface="ＭＳ Ｐゴシック" charset="-128"/>
                <a:cs typeface="+mn-cs"/>
              </a:rPr>
              <a:t>3</a:t>
            </a:r>
          </a:p>
        </p:txBody>
      </p:sp>
      <p:sp>
        <p:nvSpPr>
          <p:cNvPr id="839688" name="Rectangle 8"/>
          <p:cNvSpPr>
            <a:spLocks noChangeArrowheads="1"/>
          </p:cNvSpPr>
          <p:nvPr/>
        </p:nvSpPr>
        <p:spPr bwMode="auto">
          <a:xfrm>
            <a:off x="2719430" y="4030266"/>
            <a:ext cx="576179" cy="181485"/>
          </a:xfrm>
          <a:prstGeom prst="rect">
            <a:avLst/>
          </a:prstGeom>
          <a:noFill/>
          <a:ln w="12700">
            <a:noFill/>
            <a:miter lim="800000"/>
            <a:headEnd/>
            <a:tailEnd/>
          </a:ln>
        </p:spPr>
        <p:txBody>
          <a:bodyPr wrap="square" lIns="27000" tIns="27000" rIns="27000" bIns="27000">
            <a:spAutoFit/>
          </a:bodyPr>
          <a:lstStyle/>
          <a:p>
            <a:pPr algn="ctr" defTabSz="685800">
              <a:buClrTx/>
            </a:pPr>
            <a:r>
              <a:rPr lang="en-US" altLang="ja-JP" sz="825" kern="1200" dirty="0">
                <a:solidFill>
                  <a:srgbClr val="313131"/>
                </a:solidFill>
                <a:ea typeface="ＭＳ Ｐゴシック" charset="-128"/>
                <a:cs typeface="+mn-cs"/>
              </a:rPr>
              <a:t>Time</a:t>
            </a:r>
          </a:p>
        </p:txBody>
      </p:sp>
      <p:sp>
        <p:nvSpPr>
          <p:cNvPr id="839689" name="Freeform 9"/>
          <p:cNvSpPr>
            <a:spLocks/>
          </p:cNvSpPr>
          <p:nvPr/>
        </p:nvSpPr>
        <p:spPr bwMode="auto">
          <a:xfrm>
            <a:off x="4964907" y="1728787"/>
            <a:ext cx="2465785" cy="2262188"/>
          </a:xfrm>
          <a:custGeom>
            <a:avLst/>
            <a:gdLst>
              <a:gd name="T0" fmla="*/ 0 w 2071"/>
              <a:gd name="T1" fmla="*/ 0 h 1900"/>
              <a:gd name="T2" fmla="*/ 0 w 2071"/>
              <a:gd name="T3" fmla="*/ 2147483647 h 1900"/>
              <a:gd name="T4" fmla="*/ 2147483647 w 2071"/>
              <a:gd name="T5" fmla="*/ 2147483647 h 1900"/>
              <a:gd name="T6" fmla="*/ 0 60000 65536"/>
              <a:gd name="T7" fmla="*/ 0 60000 65536"/>
              <a:gd name="T8" fmla="*/ 0 60000 65536"/>
              <a:gd name="T9" fmla="*/ 0 w 2071"/>
              <a:gd name="T10" fmla="*/ 0 h 1900"/>
              <a:gd name="T11" fmla="*/ 2071 w 2071"/>
              <a:gd name="T12" fmla="*/ 1900 h 1900"/>
            </a:gdLst>
            <a:ahLst/>
            <a:cxnLst>
              <a:cxn ang="T6">
                <a:pos x="T0" y="T1"/>
              </a:cxn>
              <a:cxn ang="T7">
                <a:pos x="T2" y="T3"/>
              </a:cxn>
              <a:cxn ang="T8">
                <a:pos x="T4" y="T5"/>
              </a:cxn>
            </a:cxnLst>
            <a:rect l="T9" t="T10" r="T11" b="T12"/>
            <a:pathLst>
              <a:path w="2071" h="1900">
                <a:moveTo>
                  <a:pt x="0" y="0"/>
                </a:moveTo>
                <a:lnTo>
                  <a:pt x="0" y="1899"/>
                </a:lnTo>
                <a:lnTo>
                  <a:pt x="2070" y="1899"/>
                </a:lnTo>
              </a:path>
            </a:pathLst>
          </a:custGeom>
          <a:noFill/>
          <a:ln w="19050" cap="rnd">
            <a:solidFill>
              <a:srgbClr val="B4B4B4"/>
            </a:solidFill>
            <a:round/>
            <a:headEnd type="triangle" w="med" len="med"/>
            <a:tailEnd type="triangle" w="med" len="med"/>
          </a:ln>
        </p:spPr>
        <p:txBody>
          <a:bodyPr lIns="27000" tIns="27000" rIns="27000" bIns="27000"/>
          <a:lstStyle/>
          <a:p>
            <a:pPr defTabSz="685800">
              <a:buClrTx/>
            </a:pPr>
            <a:endParaRPr lang="en-US" sz="1050" kern="1200">
              <a:solidFill>
                <a:prstClr val="black"/>
              </a:solidFill>
              <a:ea typeface="+mn-ea"/>
              <a:cs typeface="+mn-cs"/>
            </a:endParaRPr>
          </a:p>
        </p:txBody>
      </p:sp>
      <p:sp>
        <p:nvSpPr>
          <p:cNvPr id="839690" name="Arc 10"/>
          <p:cNvSpPr>
            <a:spLocks/>
          </p:cNvSpPr>
          <p:nvPr/>
        </p:nvSpPr>
        <p:spPr bwMode="auto">
          <a:xfrm>
            <a:off x="5120878" y="1869281"/>
            <a:ext cx="2024063" cy="1881188"/>
          </a:xfrm>
          <a:custGeom>
            <a:avLst/>
            <a:gdLst>
              <a:gd name="T0" fmla="*/ 2147483647 w 24161"/>
              <a:gd name="T1" fmla="*/ 2147483647 h 21600"/>
              <a:gd name="T2" fmla="*/ 0 w 24161"/>
              <a:gd name="T3" fmla="*/ 2147483647 h 21600"/>
              <a:gd name="T4" fmla="*/ 2147483647 w 24161"/>
              <a:gd name="T5" fmla="*/ 0 h 21600"/>
              <a:gd name="T6" fmla="*/ 0 60000 65536"/>
              <a:gd name="T7" fmla="*/ 0 60000 65536"/>
              <a:gd name="T8" fmla="*/ 0 60000 65536"/>
              <a:gd name="T9" fmla="*/ 0 w 24161"/>
              <a:gd name="T10" fmla="*/ 0 h 21600"/>
              <a:gd name="T11" fmla="*/ 24161 w 24161"/>
              <a:gd name="T12" fmla="*/ 21600 h 21600"/>
            </a:gdLst>
            <a:ahLst/>
            <a:cxnLst>
              <a:cxn ang="T6">
                <a:pos x="T0" y="T1"/>
              </a:cxn>
              <a:cxn ang="T7">
                <a:pos x="T2" y="T3"/>
              </a:cxn>
              <a:cxn ang="T8">
                <a:pos x="T4" y="T5"/>
              </a:cxn>
            </a:cxnLst>
            <a:rect l="T9" t="T10" r="T11" b="T12"/>
            <a:pathLst>
              <a:path w="24161" h="21600" fill="none" extrusionOk="0">
                <a:moveTo>
                  <a:pt x="24160" y="1873"/>
                </a:moveTo>
                <a:cubicBezTo>
                  <a:pt x="23188" y="13034"/>
                  <a:pt x="13845" y="21599"/>
                  <a:pt x="2642" y="21600"/>
                </a:cubicBezTo>
                <a:cubicBezTo>
                  <a:pt x="1758" y="21600"/>
                  <a:pt x="876" y="21545"/>
                  <a:pt x="0" y="21437"/>
                </a:cubicBezTo>
              </a:path>
              <a:path w="24161" h="21600" stroke="0" extrusionOk="0">
                <a:moveTo>
                  <a:pt x="24160" y="1873"/>
                </a:moveTo>
                <a:cubicBezTo>
                  <a:pt x="23188" y="13034"/>
                  <a:pt x="13845" y="21599"/>
                  <a:pt x="2642" y="21600"/>
                </a:cubicBezTo>
                <a:cubicBezTo>
                  <a:pt x="1758" y="21600"/>
                  <a:pt x="876" y="21545"/>
                  <a:pt x="0" y="21437"/>
                </a:cubicBezTo>
                <a:lnTo>
                  <a:pt x="2642" y="0"/>
                </a:lnTo>
                <a:close/>
              </a:path>
            </a:pathLst>
          </a:custGeom>
          <a:noFill/>
          <a:ln w="28575" cap="rnd">
            <a:solidFill>
              <a:srgbClr val="B4B4B4"/>
            </a:solidFill>
            <a:round/>
            <a:headEnd/>
            <a:tailEnd/>
          </a:ln>
        </p:spPr>
        <p:txBody>
          <a:bodyPr wrap="none" lIns="27000" tIns="27000" rIns="27000" bIns="27000" anchor="ctr"/>
          <a:lstStyle/>
          <a:p>
            <a:pPr algn="ctr" defTabSz="685800">
              <a:buClrTx/>
            </a:pPr>
            <a:endParaRPr lang="en-US" sz="1050" kern="1200">
              <a:solidFill>
                <a:prstClr val="black"/>
              </a:solidFill>
              <a:ea typeface="+mn-ea"/>
              <a:cs typeface="+mn-cs"/>
            </a:endParaRPr>
          </a:p>
        </p:txBody>
      </p:sp>
      <p:sp>
        <p:nvSpPr>
          <p:cNvPr id="839691" name="Oval 11"/>
          <p:cNvSpPr>
            <a:spLocks noChangeArrowheads="1"/>
          </p:cNvSpPr>
          <p:nvPr/>
        </p:nvSpPr>
        <p:spPr bwMode="auto">
          <a:xfrm flipH="1">
            <a:off x="6916341" y="2464594"/>
            <a:ext cx="216000" cy="216000"/>
          </a:xfrm>
          <a:prstGeom prst="ellipse">
            <a:avLst/>
          </a:prstGeom>
          <a:solidFill>
            <a:schemeClr val="accent4"/>
          </a:solidFill>
          <a:ln w="12700" algn="ctr">
            <a:solidFill>
              <a:schemeClr val="bg1"/>
            </a:solidFill>
            <a:round/>
            <a:headEnd/>
            <a:tailEnd/>
          </a:ln>
        </p:spPr>
        <p:txBody>
          <a:bodyPr lIns="27000" tIns="27000" rIns="27000" bIns="27000" anchor="ctr"/>
          <a:lstStyle/>
          <a:p>
            <a:pPr algn="ctr" defTabSz="685800">
              <a:buClrTx/>
            </a:pPr>
            <a:r>
              <a:rPr lang="en-US" altLang="ja-JP" sz="1050" b="1" kern="1200">
                <a:solidFill>
                  <a:srgbClr val="FFFFFF"/>
                </a:solidFill>
                <a:ea typeface="ＭＳ Ｐゴシック" charset="-128"/>
                <a:cs typeface="+mn-cs"/>
              </a:rPr>
              <a:t>3</a:t>
            </a:r>
          </a:p>
        </p:txBody>
      </p:sp>
      <p:sp>
        <p:nvSpPr>
          <p:cNvPr id="839692" name="Oval 12"/>
          <p:cNvSpPr>
            <a:spLocks noChangeArrowheads="1"/>
          </p:cNvSpPr>
          <p:nvPr/>
        </p:nvSpPr>
        <p:spPr bwMode="auto">
          <a:xfrm flipH="1">
            <a:off x="6562725" y="3036094"/>
            <a:ext cx="216000" cy="216000"/>
          </a:xfrm>
          <a:prstGeom prst="ellipse">
            <a:avLst/>
          </a:prstGeom>
          <a:solidFill>
            <a:schemeClr val="accent4"/>
          </a:solidFill>
          <a:ln w="12700" algn="ctr">
            <a:solidFill>
              <a:schemeClr val="bg1"/>
            </a:solidFill>
            <a:round/>
            <a:headEnd/>
            <a:tailEnd/>
          </a:ln>
        </p:spPr>
        <p:txBody>
          <a:bodyPr lIns="27000" tIns="27000" rIns="27000" bIns="27000" anchor="ctr"/>
          <a:lstStyle/>
          <a:p>
            <a:pPr algn="ctr" defTabSz="685800">
              <a:buClrTx/>
            </a:pPr>
            <a:r>
              <a:rPr lang="en-US" altLang="ja-JP" sz="1050" b="1" kern="1200" dirty="0">
                <a:solidFill>
                  <a:srgbClr val="FFFFFF"/>
                </a:solidFill>
                <a:ea typeface="ＭＳ Ｐゴシック" charset="-128"/>
                <a:cs typeface="+mn-cs"/>
              </a:rPr>
              <a:t>2</a:t>
            </a:r>
          </a:p>
        </p:txBody>
      </p:sp>
      <p:sp>
        <p:nvSpPr>
          <p:cNvPr id="839693" name="Oval 13"/>
          <p:cNvSpPr>
            <a:spLocks noChangeArrowheads="1"/>
          </p:cNvSpPr>
          <p:nvPr/>
        </p:nvSpPr>
        <p:spPr bwMode="auto">
          <a:xfrm flipH="1">
            <a:off x="5951935" y="3475435"/>
            <a:ext cx="216000" cy="216000"/>
          </a:xfrm>
          <a:prstGeom prst="ellipse">
            <a:avLst/>
          </a:prstGeom>
          <a:solidFill>
            <a:schemeClr val="accent4"/>
          </a:solidFill>
          <a:ln w="12700" algn="ctr">
            <a:solidFill>
              <a:schemeClr val="bg1"/>
            </a:solidFill>
            <a:round/>
            <a:headEnd/>
            <a:tailEnd/>
          </a:ln>
        </p:spPr>
        <p:txBody>
          <a:bodyPr lIns="27000" tIns="27000" rIns="27000" bIns="27000" anchor="ctr"/>
          <a:lstStyle/>
          <a:p>
            <a:pPr algn="ctr" defTabSz="685800">
              <a:buClrTx/>
            </a:pPr>
            <a:r>
              <a:rPr lang="en-US" altLang="ja-JP" sz="1050" b="1" kern="1200">
                <a:solidFill>
                  <a:srgbClr val="FFFFFF"/>
                </a:solidFill>
                <a:ea typeface="ＭＳ Ｐゴシック" charset="-128"/>
                <a:cs typeface="+mn-cs"/>
              </a:rPr>
              <a:t>1</a:t>
            </a:r>
          </a:p>
        </p:txBody>
      </p:sp>
      <p:sp>
        <p:nvSpPr>
          <p:cNvPr id="20" name="Text Placeholder 12"/>
          <p:cNvSpPr>
            <a:spLocks/>
          </p:cNvSpPr>
          <p:nvPr>
            <p:custDataLst>
              <p:tags r:id="rId1"/>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
        <p:nvSpPr>
          <p:cNvPr id="21" name="Text Placeholder 12"/>
          <p:cNvSpPr>
            <a:spLocks/>
          </p:cNvSpPr>
          <p:nvPr>
            <p:custDataLst>
              <p:tags r:id="rId2"/>
            </p:custDataLst>
          </p:nvPr>
        </p:nvSpPr>
        <p:spPr bwMode="auto">
          <a:xfrm>
            <a:off x="4909529"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
        <p:nvSpPr>
          <p:cNvPr id="18" name="Rectangle 8"/>
          <p:cNvSpPr>
            <a:spLocks noChangeArrowheads="1"/>
          </p:cNvSpPr>
          <p:nvPr/>
        </p:nvSpPr>
        <p:spPr bwMode="auto">
          <a:xfrm>
            <a:off x="5909710" y="4030266"/>
            <a:ext cx="576179" cy="181485"/>
          </a:xfrm>
          <a:prstGeom prst="rect">
            <a:avLst/>
          </a:prstGeom>
          <a:noFill/>
          <a:ln w="12700">
            <a:noFill/>
            <a:miter lim="800000"/>
            <a:headEnd/>
            <a:tailEnd/>
          </a:ln>
        </p:spPr>
        <p:txBody>
          <a:bodyPr wrap="square" lIns="27000" tIns="27000" rIns="27000" bIns="27000">
            <a:spAutoFit/>
          </a:bodyPr>
          <a:lstStyle/>
          <a:p>
            <a:pPr algn="ctr" defTabSz="685800">
              <a:buClrTx/>
            </a:pPr>
            <a:r>
              <a:rPr lang="en-US" altLang="ja-JP" sz="825" kern="1200">
                <a:solidFill>
                  <a:srgbClr val="313131"/>
                </a:solidFill>
                <a:ea typeface="ＭＳ Ｐゴシック" charset="-128"/>
                <a:cs typeface="+mn-cs"/>
              </a:rPr>
              <a:t>Time</a:t>
            </a:r>
            <a:endParaRPr lang="en-US" altLang="ja-JP" sz="825" kern="1200" dirty="0">
              <a:solidFill>
                <a:srgbClr val="313131"/>
              </a:solidFill>
              <a:ea typeface="ＭＳ Ｐゴシック" charset="-128"/>
              <a:cs typeface="+mn-cs"/>
            </a:endParaRPr>
          </a:p>
        </p:txBody>
      </p:sp>
    </p:spTree>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143000" y="0"/>
          <a:ext cx="119063" cy="119063"/>
        </p:xfrm>
        <a:graphic>
          <a:graphicData uri="http://schemas.openxmlformats.org/presentationml/2006/ole">
            <mc:AlternateContent xmlns:mc="http://schemas.openxmlformats.org/markup-compatibility/2006">
              <mc:Choice xmlns:v="urn:schemas-microsoft-com:vml" Requires="v">
                <p:oleObj name="think-cell Slide" r:id="rId16" imgW="360" imgH="360" progId="">
                  <p:embed/>
                </p:oleObj>
              </mc:Choice>
              <mc:Fallback>
                <p:oleObj name="think-cell Slide" r:id="rId16" imgW="360" imgH="360" progId="">
                  <p:embed/>
                  <p:pic>
                    <p:nvPicPr>
                      <p:cNvPr id="2" name="Object 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143000" y="0"/>
                        <a:ext cx="119063"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85729" name="Title 2"/>
          <p:cNvSpPr>
            <a:spLocks noGrp="1"/>
          </p:cNvSpPr>
          <p:nvPr>
            <p:ph type="title"/>
            <p:custDataLst>
              <p:tags r:id="rId2"/>
            </p:custDataLst>
          </p:nvPr>
        </p:nvSpPr>
        <p:spPr/>
        <p:txBody>
          <a:bodyPr/>
          <a:lstStyle/>
          <a:p>
            <a:pPr>
              <a:lnSpc>
                <a:spcPct val="100000"/>
              </a:lnSpc>
            </a:pPr>
            <a:r>
              <a:rPr lang="en-US" dirty="0">
                <a:solidFill>
                  <a:srgbClr val="81BC00"/>
                </a:solidFill>
              </a:rPr>
              <a:t>Text boxes </a:t>
            </a:r>
            <a:br>
              <a:rPr lang="en-US" dirty="0">
                <a:solidFill>
                  <a:srgbClr val="81BC00"/>
                </a:solidFill>
              </a:rPr>
            </a:br>
            <a:r>
              <a:rPr lang="en-US" dirty="0">
                <a:solidFill>
                  <a:srgbClr val="575757"/>
                </a:solidFill>
              </a:rPr>
              <a:t>To ways of showing major points</a:t>
            </a:r>
          </a:p>
        </p:txBody>
      </p:sp>
      <p:sp>
        <p:nvSpPr>
          <p:cNvPr id="6" name="Rectangle 4"/>
          <p:cNvSpPr>
            <a:spLocks noChangeArrowheads="1"/>
          </p:cNvSpPr>
          <p:nvPr>
            <p:custDataLst>
              <p:tags r:id="rId3"/>
            </p:custDataLst>
          </p:nvPr>
        </p:nvSpPr>
        <p:spPr bwMode="gray">
          <a:xfrm>
            <a:off x="1440657" y="1269325"/>
            <a:ext cx="1164431" cy="671513"/>
          </a:xfrm>
          <a:prstGeom prst="rect">
            <a:avLst/>
          </a:prstGeom>
          <a:solidFill>
            <a:srgbClr val="3C8A2E"/>
          </a:solidFill>
          <a:ln w="12700" algn="ctr">
            <a:solidFill>
              <a:schemeClr val="bg1"/>
            </a:solidFill>
            <a:miter lim="800000"/>
            <a:headEnd/>
            <a:tailEnd/>
          </a:ln>
        </p:spPr>
        <p:txBody>
          <a:bodyPr lIns="27000" tIns="27000" rIns="27000" bIns="27000" anchor="ctr" anchorCtr="1"/>
          <a:lstStyle/>
          <a:p>
            <a:pPr algn="ctr" defTabSz="685800">
              <a:lnSpc>
                <a:spcPct val="106000"/>
              </a:lnSpc>
              <a:buClrTx/>
              <a:defRPr/>
            </a:pPr>
            <a:r>
              <a:rPr lang="en-US" sz="1500" kern="1200" dirty="0">
                <a:solidFill>
                  <a:prstClr val="white"/>
                </a:solidFill>
                <a:ea typeface="+mn-ea"/>
                <a:cs typeface="+mn-cs"/>
              </a:rPr>
              <a:t>Text</a:t>
            </a:r>
          </a:p>
        </p:txBody>
      </p:sp>
      <p:sp>
        <p:nvSpPr>
          <p:cNvPr id="9" name="Rectangle 7"/>
          <p:cNvSpPr>
            <a:spLocks noChangeArrowheads="1"/>
          </p:cNvSpPr>
          <p:nvPr>
            <p:custDataLst>
              <p:tags r:id="rId4"/>
            </p:custDataLst>
          </p:nvPr>
        </p:nvSpPr>
        <p:spPr bwMode="gray">
          <a:xfrm>
            <a:off x="1431132" y="2162552"/>
            <a:ext cx="1164431" cy="671513"/>
          </a:xfrm>
          <a:prstGeom prst="rect">
            <a:avLst/>
          </a:prstGeom>
          <a:solidFill>
            <a:srgbClr val="3C8A2E"/>
          </a:solidFill>
          <a:ln w="12700" algn="ctr">
            <a:solidFill>
              <a:schemeClr val="bg1"/>
            </a:solidFill>
            <a:miter lim="800000"/>
            <a:headEnd/>
            <a:tailEnd/>
          </a:ln>
        </p:spPr>
        <p:txBody>
          <a:bodyPr lIns="27000" tIns="27000" rIns="27000" bIns="27000" anchor="ctr" anchorCtr="1"/>
          <a:lstStyle/>
          <a:p>
            <a:pPr algn="ctr" defTabSz="685800">
              <a:lnSpc>
                <a:spcPct val="106000"/>
              </a:lnSpc>
              <a:buClrTx/>
              <a:defRPr/>
            </a:pPr>
            <a:r>
              <a:rPr lang="en-US" sz="1500" kern="1200" dirty="0">
                <a:solidFill>
                  <a:prstClr val="white"/>
                </a:solidFill>
                <a:ea typeface="+mn-ea"/>
                <a:cs typeface="+mn-cs"/>
              </a:rPr>
              <a:t>Text</a:t>
            </a:r>
          </a:p>
        </p:txBody>
      </p:sp>
      <p:sp>
        <p:nvSpPr>
          <p:cNvPr id="14" name="Rectangle 13"/>
          <p:cNvSpPr>
            <a:spLocks noChangeArrowheads="1"/>
          </p:cNvSpPr>
          <p:nvPr>
            <p:custDataLst>
              <p:tags r:id="rId5"/>
            </p:custDataLst>
          </p:nvPr>
        </p:nvSpPr>
        <p:spPr bwMode="gray">
          <a:xfrm>
            <a:off x="1431132" y="3055779"/>
            <a:ext cx="1164431" cy="671513"/>
          </a:xfrm>
          <a:prstGeom prst="rect">
            <a:avLst/>
          </a:prstGeom>
          <a:solidFill>
            <a:srgbClr val="3C8A2E"/>
          </a:solidFill>
          <a:ln w="12700" algn="ctr">
            <a:solidFill>
              <a:schemeClr val="bg1"/>
            </a:solidFill>
            <a:miter lim="800000"/>
            <a:headEnd/>
            <a:tailEnd/>
          </a:ln>
        </p:spPr>
        <p:txBody>
          <a:bodyPr lIns="27000" tIns="27000" rIns="27000" bIns="27000" anchor="ctr" anchorCtr="1"/>
          <a:lstStyle/>
          <a:p>
            <a:pPr algn="ctr" defTabSz="685800">
              <a:lnSpc>
                <a:spcPct val="106000"/>
              </a:lnSpc>
              <a:buClrTx/>
              <a:defRPr/>
            </a:pPr>
            <a:r>
              <a:rPr lang="en-US" sz="1500" kern="1200" dirty="0">
                <a:solidFill>
                  <a:prstClr val="white"/>
                </a:solidFill>
                <a:ea typeface="+mn-ea"/>
                <a:cs typeface="+mn-cs"/>
              </a:rPr>
              <a:t>Text</a:t>
            </a:r>
          </a:p>
        </p:txBody>
      </p:sp>
      <p:sp>
        <p:nvSpPr>
          <p:cNvPr id="17" name="Rectangle 16"/>
          <p:cNvSpPr>
            <a:spLocks noChangeArrowheads="1"/>
          </p:cNvSpPr>
          <p:nvPr>
            <p:custDataLst>
              <p:tags r:id="rId6"/>
            </p:custDataLst>
          </p:nvPr>
        </p:nvSpPr>
        <p:spPr bwMode="gray">
          <a:xfrm>
            <a:off x="1431132" y="3949006"/>
            <a:ext cx="1164431" cy="671513"/>
          </a:xfrm>
          <a:prstGeom prst="rect">
            <a:avLst/>
          </a:prstGeom>
          <a:solidFill>
            <a:srgbClr val="3C8A2E"/>
          </a:solidFill>
          <a:ln w="12700" algn="ctr">
            <a:solidFill>
              <a:schemeClr val="bg1"/>
            </a:solidFill>
            <a:miter lim="800000"/>
            <a:headEnd/>
            <a:tailEnd/>
          </a:ln>
        </p:spPr>
        <p:txBody>
          <a:bodyPr lIns="27000" tIns="27000" rIns="27000" bIns="27000" anchor="ctr" anchorCtr="1"/>
          <a:lstStyle/>
          <a:p>
            <a:pPr algn="ctr" defTabSz="685800">
              <a:lnSpc>
                <a:spcPct val="106000"/>
              </a:lnSpc>
              <a:buClrTx/>
              <a:defRPr/>
            </a:pPr>
            <a:r>
              <a:rPr lang="en-US" sz="1500" kern="1200" dirty="0">
                <a:solidFill>
                  <a:prstClr val="white"/>
                </a:solidFill>
                <a:ea typeface="+mn-ea"/>
                <a:cs typeface="+mn-cs"/>
              </a:rPr>
              <a:t>Text</a:t>
            </a:r>
          </a:p>
        </p:txBody>
      </p:sp>
      <p:sp>
        <p:nvSpPr>
          <p:cNvPr id="18" name="Text Placeholder 22"/>
          <p:cNvSpPr txBox="1">
            <a:spLocks/>
          </p:cNvSpPr>
          <p:nvPr>
            <p:custDataLst>
              <p:tags r:id="rId7"/>
            </p:custDataLst>
          </p:nvPr>
        </p:nvSpPr>
        <p:spPr bwMode="auto">
          <a:xfrm>
            <a:off x="2718197" y="2158150"/>
            <a:ext cx="2335972" cy="645362"/>
          </a:xfrm>
          <a:prstGeom prst="rect">
            <a:avLst/>
          </a:prstGeom>
        </p:spPr>
        <p:txBody>
          <a:bodyPr wrap="square" lIns="27000" tIns="27000" rIns="27000" bIns="27000">
            <a:no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35000" lvl="1" indent="-135000" defTabSz="717947">
              <a:spcBef>
                <a:spcPts val="300"/>
              </a:spcBef>
              <a:spcAft>
                <a:spcPts val="0"/>
              </a:spcAft>
              <a:buClrTx/>
            </a:pPr>
            <a:r>
              <a:rPr lang="en-US" sz="1350" dirty="0">
                <a:solidFill>
                  <a:srgbClr val="313131"/>
                </a:solidFill>
                <a:latin typeface="Arial"/>
              </a:rPr>
              <a:t>This is dummy text it is not here to be read</a:t>
            </a:r>
          </a:p>
        </p:txBody>
      </p:sp>
      <p:sp>
        <p:nvSpPr>
          <p:cNvPr id="20" name="Text Placeholder 22"/>
          <p:cNvSpPr txBox="1">
            <a:spLocks/>
          </p:cNvSpPr>
          <p:nvPr>
            <p:custDataLst>
              <p:tags r:id="rId8"/>
            </p:custDataLst>
          </p:nvPr>
        </p:nvSpPr>
        <p:spPr bwMode="auto">
          <a:xfrm>
            <a:off x="2718197" y="3055780"/>
            <a:ext cx="2335972" cy="645362"/>
          </a:xfrm>
          <a:prstGeom prst="rect">
            <a:avLst/>
          </a:prstGeom>
        </p:spPr>
        <p:txBody>
          <a:bodyPr wrap="square" lIns="27000" tIns="27000" rIns="27000" bIns="27000">
            <a:no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35000" lvl="1" indent="-135000" defTabSz="717947">
              <a:spcBef>
                <a:spcPts val="300"/>
              </a:spcBef>
              <a:spcAft>
                <a:spcPts val="0"/>
              </a:spcAft>
              <a:buClrTx/>
            </a:pPr>
            <a:r>
              <a:rPr lang="en-US" sz="1350" dirty="0">
                <a:solidFill>
                  <a:srgbClr val="313131"/>
                </a:solidFill>
                <a:latin typeface="Arial"/>
              </a:rPr>
              <a:t>This is dummy text it is not here to be read</a:t>
            </a:r>
          </a:p>
        </p:txBody>
      </p:sp>
      <p:sp>
        <p:nvSpPr>
          <p:cNvPr id="21" name="Text Placeholder 22"/>
          <p:cNvSpPr txBox="1">
            <a:spLocks/>
          </p:cNvSpPr>
          <p:nvPr>
            <p:custDataLst>
              <p:tags r:id="rId9"/>
            </p:custDataLst>
          </p:nvPr>
        </p:nvSpPr>
        <p:spPr bwMode="auto">
          <a:xfrm>
            <a:off x="2718197" y="3949006"/>
            <a:ext cx="2335972" cy="645362"/>
          </a:xfrm>
          <a:prstGeom prst="rect">
            <a:avLst/>
          </a:prstGeom>
        </p:spPr>
        <p:txBody>
          <a:bodyPr wrap="square" lIns="27000" tIns="27000" rIns="27000" bIns="27000">
            <a:no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35000" lvl="1" indent="-135000" defTabSz="717947">
              <a:spcBef>
                <a:spcPts val="300"/>
              </a:spcBef>
              <a:spcAft>
                <a:spcPts val="0"/>
              </a:spcAft>
              <a:buClrTx/>
            </a:pPr>
            <a:r>
              <a:rPr lang="en-GB" sz="1350" dirty="0">
                <a:solidFill>
                  <a:srgbClr val="313131"/>
                </a:solidFill>
                <a:latin typeface="Arial"/>
              </a:rPr>
              <a:t>This is dummy text it is not here to be read</a:t>
            </a:r>
            <a:endParaRPr lang="en-US" sz="1350" dirty="0">
              <a:solidFill>
                <a:srgbClr val="313131"/>
              </a:solidFill>
              <a:latin typeface="Arial"/>
            </a:endParaRPr>
          </a:p>
        </p:txBody>
      </p:sp>
      <p:sp>
        <p:nvSpPr>
          <p:cNvPr id="22" name="Text Placeholder 22"/>
          <p:cNvSpPr txBox="1">
            <a:spLocks/>
          </p:cNvSpPr>
          <p:nvPr>
            <p:custDataLst>
              <p:tags r:id="rId10"/>
            </p:custDataLst>
          </p:nvPr>
        </p:nvSpPr>
        <p:spPr bwMode="auto">
          <a:xfrm>
            <a:off x="5194006" y="1268731"/>
            <a:ext cx="2335508" cy="479259"/>
          </a:xfrm>
          <a:prstGeom prst="rect">
            <a:avLst/>
          </a:prstGeom>
        </p:spPr>
        <p:txBody>
          <a:bodyPr wrap="square" lIns="27000" tIns="27000" rIns="27000" bIns="27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35000" lvl="1" indent="-135000" defTabSz="717947">
              <a:spcBef>
                <a:spcPts val="300"/>
              </a:spcBef>
              <a:spcAft>
                <a:spcPts val="0"/>
              </a:spcAft>
              <a:buClrTx/>
            </a:pPr>
            <a:r>
              <a:rPr lang="en-US" sz="1350" dirty="0">
                <a:solidFill>
                  <a:srgbClr val="313131"/>
                </a:solidFill>
                <a:latin typeface="Arial"/>
              </a:rPr>
              <a:t>This is dummy text it is not here to be read</a:t>
            </a:r>
          </a:p>
        </p:txBody>
      </p:sp>
      <p:sp>
        <p:nvSpPr>
          <p:cNvPr id="23" name="Text Placeholder 22"/>
          <p:cNvSpPr txBox="1">
            <a:spLocks/>
          </p:cNvSpPr>
          <p:nvPr>
            <p:custDataLst>
              <p:tags r:id="rId11"/>
            </p:custDataLst>
          </p:nvPr>
        </p:nvSpPr>
        <p:spPr bwMode="auto">
          <a:xfrm>
            <a:off x="5194006" y="2158150"/>
            <a:ext cx="2335508" cy="479259"/>
          </a:xfrm>
          <a:prstGeom prst="rect">
            <a:avLst/>
          </a:prstGeom>
        </p:spPr>
        <p:txBody>
          <a:bodyPr wrap="square" lIns="27000" tIns="27000" rIns="27000" bIns="27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35000" lvl="1" indent="-135000" defTabSz="717947">
              <a:spcBef>
                <a:spcPts val="300"/>
              </a:spcBef>
              <a:spcAft>
                <a:spcPts val="0"/>
              </a:spcAft>
              <a:buClrTx/>
            </a:pPr>
            <a:r>
              <a:rPr lang="en-US" sz="1350" dirty="0">
                <a:solidFill>
                  <a:srgbClr val="313131"/>
                </a:solidFill>
                <a:latin typeface="Arial"/>
              </a:rPr>
              <a:t>This is dummy text it is not here to be read</a:t>
            </a:r>
          </a:p>
        </p:txBody>
      </p:sp>
      <p:sp>
        <p:nvSpPr>
          <p:cNvPr id="24" name="Text Placeholder 22"/>
          <p:cNvSpPr txBox="1">
            <a:spLocks/>
          </p:cNvSpPr>
          <p:nvPr>
            <p:custDataLst>
              <p:tags r:id="rId12"/>
            </p:custDataLst>
          </p:nvPr>
        </p:nvSpPr>
        <p:spPr bwMode="auto">
          <a:xfrm>
            <a:off x="5194006" y="3055780"/>
            <a:ext cx="2335508" cy="479259"/>
          </a:xfrm>
          <a:prstGeom prst="rect">
            <a:avLst/>
          </a:prstGeom>
        </p:spPr>
        <p:txBody>
          <a:bodyPr wrap="square" lIns="27000" tIns="27000" rIns="27000" bIns="27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35000" lvl="1" indent="-135000" defTabSz="717947">
              <a:spcBef>
                <a:spcPts val="300"/>
              </a:spcBef>
              <a:spcAft>
                <a:spcPts val="0"/>
              </a:spcAft>
              <a:buClrTx/>
            </a:pPr>
            <a:r>
              <a:rPr lang="en-GB" sz="1350" dirty="0">
                <a:solidFill>
                  <a:srgbClr val="313131"/>
                </a:solidFill>
                <a:latin typeface="Arial"/>
              </a:rPr>
              <a:t>This is dummy text it is not here to be read</a:t>
            </a:r>
            <a:endParaRPr lang="en-US" sz="1350" dirty="0">
              <a:solidFill>
                <a:srgbClr val="313131"/>
              </a:solidFill>
              <a:latin typeface="Arial"/>
            </a:endParaRPr>
          </a:p>
        </p:txBody>
      </p:sp>
      <p:sp>
        <p:nvSpPr>
          <p:cNvPr id="25" name="Text Placeholder 22"/>
          <p:cNvSpPr txBox="1">
            <a:spLocks/>
          </p:cNvSpPr>
          <p:nvPr>
            <p:custDataLst>
              <p:tags r:id="rId13"/>
            </p:custDataLst>
          </p:nvPr>
        </p:nvSpPr>
        <p:spPr bwMode="auto">
          <a:xfrm>
            <a:off x="5194006" y="3949006"/>
            <a:ext cx="2335508" cy="479259"/>
          </a:xfrm>
          <a:prstGeom prst="rect">
            <a:avLst/>
          </a:prstGeom>
        </p:spPr>
        <p:txBody>
          <a:bodyPr wrap="square" lIns="27000" tIns="27000" rIns="27000" bIns="27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35000" lvl="1" indent="-135000" defTabSz="717947">
              <a:spcBef>
                <a:spcPts val="300"/>
              </a:spcBef>
              <a:spcAft>
                <a:spcPts val="0"/>
              </a:spcAft>
              <a:buClrTx/>
            </a:pPr>
            <a:r>
              <a:rPr lang="en-US" sz="1350" dirty="0">
                <a:solidFill>
                  <a:srgbClr val="313131"/>
                </a:solidFill>
                <a:latin typeface="Arial"/>
              </a:rPr>
              <a:t>This is dummy text it is not here to be read</a:t>
            </a:r>
          </a:p>
        </p:txBody>
      </p:sp>
      <p:sp>
        <p:nvSpPr>
          <p:cNvPr id="31" name="Text Placeholder 22"/>
          <p:cNvSpPr txBox="1">
            <a:spLocks/>
          </p:cNvSpPr>
          <p:nvPr/>
        </p:nvSpPr>
        <p:spPr bwMode="auto">
          <a:xfrm>
            <a:off x="2718197" y="1268731"/>
            <a:ext cx="2335972" cy="645362"/>
          </a:xfrm>
          <a:prstGeom prst="rect">
            <a:avLst/>
          </a:prstGeom>
        </p:spPr>
        <p:txBody>
          <a:bodyPr wrap="square" lIns="27000" tIns="27000" rIns="27000" bIns="27000">
            <a:no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35000" lvl="1" indent="-135000" defTabSz="717947">
              <a:spcBef>
                <a:spcPts val="300"/>
              </a:spcBef>
              <a:spcAft>
                <a:spcPts val="0"/>
              </a:spcAft>
              <a:buClrTx/>
            </a:pPr>
            <a:r>
              <a:rPr lang="en-GB" sz="1350" dirty="0">
                <a:solidFill>
                  <a:srgbClr val="313131"/>
                </a:solidFill>
                <a:latin typeface="Arial"/>
              </a:rPr>
              <a:t>This is dummy text it is not here to be read</a:t>
            </a:r>
            <a:endParaRPr lang="en-US" sz="1350" dirty="0">
              <a:solidFill>
                <a:srgbClr val="313131"/>
              </a:solidFill>
              <a:latin typeface="Arial"/>
            </a:endParaRPr>
          </a:p>
        </p:txBody>
      </p:sp>
    </p:spTree>
  </p:cSld>
  <p:clrMapOvr>
    <a:masterClrMapping/>
  </p:clrMapOvr>
  <p:transition>
    <p:fade/>
  </p:transition>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0705" name="Title 1"/>
          <p:cNvSpPr>
            <a:spLocks noGrp="1"/>
          </p:cNvSpPr>
          <p:nvPr>
            <p:ph type="title"/>
          </p:nvPr>
        </p:nvSpPr>
        <p:spPr/>
        <p:txBody>
          <a:bodyPr/>
          <a:lstStyle/>
          <a:p>
            <a:r>
              <a:rPr lang="en-US" altLang="ja-JP" dirty="0"/>
              <a:t>Other </a:t>
            </a:r>
            <a:br>
              <a:rPr lang="en-US" altLang="ja-JP" dirty="0"/>
            </a:br>
            <a:r>
              <a:rPr lang="en-US" altLang="ja-JP" dirty="0">
                <a:solidFill>
                  <a:srgbClr val="575757"/>
                </a:solidFill>
              </a:rPr>
              <a:t>Cross</a:t>
            </a:r>
            <a:endParaRPr lang="en-US" dirty="0">
              <a:solidFill>
                <a:srgbClr val="575757"/>
              </a:solidFill>
            </a:endParaRPr>
          </a:p>
        </p:txBody>
      </p:sp>
      <p:sp>
        <p:nvSpPr>
          <p:cNvPr id="840707" name="Line 3"/>
          <p:cNvSpPr>
            <a:spLocks noChangeShapeType="1"/>
          </p:cNvSpPr>
          <p:nvPr/>
        </p:nvSpPr>
        <p:spPr bwMode="auto">
          <a:xfrm flipH="1">
            <a:off x="4555331" y="1347478"/>
            <a:ext cx="1191" cy="2974181"/>
          </a:xfrm>
          <a:prstGeom prst="line">
            <a:avLst/>
          </a:prstGeom>
          <a:noFill/>
          <a:ln w="57150">
            <a:solidFill>
              <a:srgbClr val="B4B4B4"/>
            </a:solidFill>
            <a:round/>
            <a:headEnd type="stealth" w="med" len="med"/>
            <a:tailEnd type="stealth" w="med" len="med"/>
          </a:ln>
        </p:spPr>
        <p:txBody>
          <a:bodyPr wrap="none" lIns="27000" tIns="27000" rIns="27000" anchor="ctr"/>
          <a:lstStyle/>
          <a:p>
            <a:pPr defTabSz="685800">
              <a:buClrTx/>
            </a:pPr>
            <a:endParaRPr lang="en-US" sz="1350" kern="1200">
              <a:solidFill>
                <a:prstClr val="black"/>
              </a:solidFill>
              <a:ea typeface="+mn-ea"/>
              <a:cs typeface="+mn-cs"/>
            </a:endParaRPr>
          </a:p>
        </p:txBody>
      </p:sp>
      <p:sp>
        <p:nvSpPr>
          <p:cNvPr id="840708" name="Line 4"/>
          <p:cNvSpPr>
            <a:spLocks noChangeShapeType="1"/>
          </p:cNvSpPr>
          <p:nvPr/>
        </p:nvSpPr>
        <p:spPr bwMode="auto">
          <a:xfrm>
            <a:off x="2625328" y="2833378"/>
            <a:ext cx="3861197" cy="2381"/>
          </a:xfrm>
          <a:prstGeom prst="line">
            <a:avLst/>
          </a:prstGeom>
          <a:noFill/>
          <a:ln w="57150">
            <a:solidFill>
              <a:srgbClr val="B4B4B4"/>
            </a:solidFill>
            <a:round/>
            <a:headEnd type="stealth" w="med" len="med"/>
            <a:tailEnd type="stealth" w="med" len="med"/>
          </a:ln>
        </p:spPr>
        <p:txBody>
          <a:bodyPr wrap="none" lIns="27000" tIns="27000" rIns="27000" anchor="ctr"/>
          <a:lstStyle/>
          <a:p>
            <a:pPr defTabSz="685800">
              <a:buClrTx/>
            </a:pPr>
            <a:endParaRPr lang="en-US" sz="1350" kern="1200">
              <a:solidFill>
                <a:prstClr val="black"/>
              </a:solidFill>
              <a:ea typeface="+mn-ea"/>
              <a:cs typeface="+mn-cs"/>
            </a:endParaRPr>
          </a:p>
        </p:txBody>
      </p:sp>
      <p:sp>
        <p:nvSpPr>
          <p:cNvPr id="7" name="Rectangle 6"/>
          <p:cNvSpPr>
            <a:spLocks noChangeArrowheads="1"/>
          </p:cNvSpPr>
          <p:nvPr/>
        </p:nvSpPr>
        <p:spPr bwMode="auto">
          <a:xfrm>
            <a:off x="2733675" y="1533215"/>
            <a:ext cx="1769269" cy="1227534"/>
          </a:xfrm>
          <a:prstGeom prst="rect">
            <a:avLst/>
          </a:prstGeom>
          <a:solidFill>
            <a:srgbClr val="00A1DE"/>
          </a:solidFill>
          <a:ln w="12700">
            <a:solidFill>
              <a:schemeClr val="bg1"/>
            </a:solidFill>
            <a:miter lim="800000"/>
            <a:headEnd/>
            <a:tailEnd/>
          </a:ln>
        </p:spPr>
        <p:txBody>
          <a:bodyPr lIns="27000" tIns="27000" rIns="27000"/>
          <a:lstStyle/>
          <a:p>
            <a:pPr algn="ctr" defTabSz="685800">
              <a:buClrTx/>
              <a:defRPr/>
            </a:pPr>
            <a:endParaRPr lang="en-US" sz="1350" kern="1200" dirty="0">
              <a:solidFill>
                <a:srgbClr val="313131"/>
              </a:solidFill>
              <a:ea typeface="ＭＳ Ｐゴシック" pitchFamily="50" charset="-128"/>
              <a:cs typeface="+mn-cs"/>
            </a:endParaRPr>
          </a:p>
        </p:txBody>
      </p:sp>
      <p:sp>
        <p:nvSpPr>
          <p:cNvPr id="8" name="Rectangle 7"/>
          <p:cNvSpPr>
            <a:spLocks noChangeArrowheads="1"/>
          </p:cNvSpPr>
          <p:nvPr/>
        </p:nvSpPr>
        <p:spPr bwMode="auto">
          <a:xfrm>
            <a:off x="4608910" y="1533215"/>
            <a:ext cx="1770459" cy="1227534"/>
          </a:xfrm>
          <a:prstGeom prst="rect">
            <a:avLst/>
          </a:prstGeom>
          <a:solidFill>
            <a:srgbClr val="00A1DE"/>
          </a:solidFill>
          <a:ln w="12700">
            <a:solidFill>
              <a:schemeClr val="bg1"/>
            </a:solidFill>
            <a:miter lim="800000"/>
            <a:headEnd/>
            <a:tailEnd/>
          </a:ln>
        </p:spPr>
        <p:txBody>
          <a:bodyPr lIns="27000" tIns="27000" rIns="27000"/>
          <a:lstStyle/>
          <a:p>
            <a:pPr algn="ctr" defTabSz="685800">
              <a:buClrTx/>
              <a:defRPr/>
            </a:pPr>
            <a:endParaRPr lang="en-US" sz="1350" kern="1200" dirty="0">
              <a:solidFill>
                <a:srgbClr val="313131"/>
              </a:solidFill>
              <a:ea typeface="ＭＳ Ｐゴシック" pitchFamily="50" charset="-128"/>
              <a:cs typeface="+mn-cs"/>
            </a:endParaRPr>
          </a:p>
        </p:txBody>
      </p:sp>
      <p:sp>
        <p:nvSpPr>
          <p:cNvPr id="9" name="Rectangle 8"/>
          <p:cNvSpPr>
            <a:spLocks noChangeArrowheads="1"/>
          </p:cNvSpPr>
          <p:nvPr/>
        </p:nvSpPr>
        <p:spPr bwMode="auto">
          <a:xfrm>
            <a:off x="4608910" y="2910767"/>
            <a:ext cx="1770459" cy="1225154"/>
          </a:xfrm>
          <a:prstGeom prst="rect">
            <a:avLst/>
          </a:prstGeom>
          <a:solidFill>
            <a:srgbClr val="00A1DE"/>
          </a:solidFill>
          <a:ln w="12700">
            <a:solidFill>
              <a:schemeClr val="bg1"/>
            </a:solidFill>
            <a:miter lim="800000"/>
            <a:headEnd/>
            <a:tailEnd/>
          </a:ln>
        </p:spPr>
        <p:txBody>
          <a:bodyPr lIns="27000" tIns="27000" rIns="27000"/>
          <a:lstStyle/>
          <a:p>
            <a:pPr algn="ctr" defTabSz="685800">
              <a:buClrTx/>
              <a:defRPr/>
            </a:pPr>
            <a:endParaRPr lang="en-US" sz="1350" kern="1200" dirty="0">
              <a:solidFill>
                <a:srgbClr val="313131"/>
              </a:solidFill>
              <a:ea typeface="ＭＳ Ｐゴシック" pitchFamily="50" charset="-128"/>
              <a:cs typeface="+mn-cs"/>
            </a:endParaRPr>
          </a:p>
        </p:txBody>
      </p:sp>
      <p:sp>
        <p:nvSpPr>
          <p:cNvPr id="10" name="Rectangle 9"/>
          <p:cNvSpPr>
            <a:spLocks noChangeArrowheads="1"/>
          </p:cNvSpPr>
          <p:nvPr/>
        </p:nvSpPr>
        <p:spPr bwMode="auto">
          <a:xfrm>
            <a:off x="2733675" y="2910767"/>
            <a:ext cx="1769269" cy="1225154"/>
          </a:xfrm>
          <a:prstGeom prst="rect">
            <a:avLst/>
          </a:prstGeom>
          <a:solidFill>
            <a:srgbClr val="00A1DE"/>
          </a:solidFill>
          <a:ln w="12700">
            <a:solidFill>
              <a:schemeClr val="bg1"/>
            </a:solidFill>
            <a:miter lim="800000"/>
            <a:headEnd/>
            <a:tailEnd/>
          </a:ln>
        </p:spPr>
        <p:txBody>
          <a:bodyPr lIns="27000" tIns="27000" rIns="27000"/>
          <a:lstStyle/>
          <a:p>
            <a:pPr algn="ctr" defTabSz="685800">
              <a:buClrTx/>
              <a:defRPr/>
            </a:pPr>
            <a:endParaRPr lang="en-US" sz="1350" kern="1200" dirty="0">
              <a:solidFill>
                <a:srgbClr val="313131"/>
              </a:solidFill>
              <a:ea typeface="ＭＳ Ｐゴシック" pitchFamily="50" charset="-128"/>
              <a:cs typeface="+mn-cs"/>
            </a:endParaRPr>
          </a:p>
        </p:txBody>
      </p:sp>
      <p:sp>
        <p:nvSpPr>
          <p:cNvPr id="840713" name="Text Placeholder 12"/>
          <p:cNvSpPr>
            <a:spLocks/>
          </p:cNvSpPr>
          <p:nvPr>
            <p:custDataLst>
              <p:tags r:id="rId1"/>
            </p:custDataLst>
          </p:nvPr>
        </p:nvSpPr>
        <p:spPr bwMode="auto">
          <a:xfrm>
            <a:off x="2149822" y="2744440"/>
            <a:ext cx="449115" cy="216110"/>
          </a:xfrm>
          <a:prstGeom prst="rect">
            <a:avLst/>
          </a:prstGeom>
          <a:noFill/>
          <a:ln w="9525">
            <a:noFill/>
            <a:miter lim="800000"/>
            <a:headEnd/>
            <a:tailEnd/>
          </a:ln>
        </p:spPr>
        <p:txBody>
          <a:bodyPr wrap="square" lIns="27000" tIns="27000" rIns="27000" bIns="27000">
            <a:spAutoFit/>
          </a:bodyPr>
          <a:lstStyle/>
          <a:p>
            <a:pPr algn="ctr" defTabSz="764381">
              <a:spcAft>
                <a:spcPts val="225"/>
              </a:spcAft>
              <a:buClrTx/>
            </a:pPr>
            <a:r>
              <a:rPr lang="en-US" sz="1050" kern="1200" dirty="0">
                <a:solidFill>
                  <a:srgbClr val="313131"/>
                </a:solidFill>
                <a:ea typeface="+mn-ea"/>
                <a:cs typeface="+mn-cs"/>
              </a:rPr>
              <a:t>Text</a:t>
            </a:r>
          </a:p>
        </p:txBody>
      </p:sp>
      <p:sp>
        <p:nvSpPr>
          <p:cNvPr id="840714" name="Text Placeholder 12"/>
          <p:cNvSpPr>
            <a:spLocks/>
          </p:cNvSpPr>
          <p:nvPr>
            <p:custDataLst>
              <p:tags r:id="rId2"/>
            </p:custDataLst>
          </p:nvPr>
        </p:nvSpPr>
        <p:spPr bwMode="auto">
          <a:xfrm>
            <a:off x="6478934" y="2744440"/>
            <a:ext cx="446936" cy="216110"/>
          </a:xfrm>
          <a:prstGeom prst="rect">
            <a:avLst/>
          </a:prstGeom>
          <a:noFill/>
          <a:ln w="9525">
            <a:noFill/>
            <a:miter lim="800000"/>
            <a:headEnd/>
            <a:tailEnd/>
          </a:ln>
        </p:spPr>
        <p:txBody>
          <a:bodyPr wrap="square" lIns="27000" tIns="27000" rIns="27000" bIns="27000">
            <a:spAutoFit/>
          </a:bodyPr>
          <a:lstStyle/>
          <a:p>
            <a:pPr algn="ctr" defTabSz="764381">
              <a:spcAft>
                <a:spcPts val="225"/>
              </a:spcAft>
              <a:buClrTx/>
            </a:pPr>
            <a:r>
              <a:rPr lang="en-US" sz="1050" kern="1200">
                <a:solidFill>
                  <a:srgbClr val="313131"/>
                </a:solidFill>
                <a:ea typeface="+mn-ea"/>
                <a:cs typeface="+mn-cs"/>
              </a:rPr>
              <a:t>Text</a:t>
            </a:r>
          </a:p>
        </p:txBody>
      </p:sp>
      <p:sp>
        <p:nvSpPr>
          <p:cNvPr id="840715" name="Text Placeholder 12"/>
          <p:cNvSpPr>
            <a:spLocks/>
          </p:cNvSpPr>
          <p:nvPr>
            <p:custDataLst>
              <p:tags r:id="rId3"/>
            </p:custDataLst>
          </p:nvPr>
        </p:nvSpPr>
        <p:spPr bwMode="auto">
          <a:xfrm>
            <a:off x="4333428" y="1102567"/>
            <a:ext cx="449115" cy="216110"/>
          </a:xfrm>
          <a:prstGeom prst="rect">
            <a:avLst/>
          </a:prstGeom>
          <a:noFill/>
          <a:ln w="9525">
            <a:noFill/>
            <a:miter lim="800000"/>
            <a:headEnd/>
            <a:tailEnd/>
          </a:ln>
        </p:spPr>
        <p:txBody>
          <a:bodyPr wrap="square" lIns="27000" tIns="27000" rIns="27000" bIns="27000">
            <a:spAutoFit/>
          </a:bodyPr>
          <a:lstStyle/>
          <a:p>
            <a:pPr algn="ctr" defTabSz="764381">
              <a:spcAft>
                <a:spcPts val="225"/>
              </a:spcAft>
              <a:buClrTx/>
            </a:pPr>
            <a:r>
              <a:rPr lang="en-US" sz="1050" kern="1200" dirty="0">
                <a:solidFill>
                  <a:srgbClr val="313131"/>
                </a:solidFill>
                <a:ea typeface="+mn-ea"/>
                <a:cs typeface="+mn-cs"/>
              </a:rPr>
              <a:t>Text</a:t>
            </a:r>
          </a:p>
        </p:txBody>
      </p:sp>
      <p:sp>
        <p:nvSpPr>
          <p:cNvPr id="840716" name="Text Placeholder 12"/>
          <p:cNvSpPr>
            <a:spLocks/>
          </p:cNvSpPr>
          <p:nvPr>
            <p:custDataLst>
              <p:tags r:id="rId4"/>
            </p:custDataLst>
          </p:nvPr>
        </p:nvSpPr>
        <p:spPr bwMode="auto">
          <a:xfrm>
            <a:off x="4338191" y="4398217"/>
            <a:ext cx="449115" cy="216110"/>
          </a:xfrm>
          <a:prstGeom prst="rect">
            <a:avLst/>
          </a:prstGeom>
          <a:noFill/>
          <a:ln w="9525">
            <a:noFill/>
            <a:miter lim="800000"/>
            <a:headEnd/>
            <a:tailEnd/>
          </a:ln>
        </p:spPr>
        <p:txBody>
          <a:bodyPr wrap="square" lIns="27000" tIns="27000" rIns="27000" bIns="27000">
            <a:spAutoFit/>
          </a:bodyPr>
          <a:lstStyle/>
          <a:p>
            <a:pPr algn="ctr" defTabSz="764381">
              <a:spcAft>
                <a:spcPts val="225"/>
              </a:spcAft>
              <a:buClrTx/>
            </a:pPr>
            <a:r>
              <a:rPr lang="en-US" sz="1050" kern="1200">
                <a:solidFill>
                  <a:srgbClr val="313131"/>
                </a:solidFill>
                <a:ea typeface="+mn-ea"/>
                <a:cs typeface="+mn-cs"/>
              </a:rPr>
              <a:t>Text</a:t>
            </a:r>
          </a:p>
        </p:txBody>
      </p:sp>
      <p:sp>
        <p:nvSpPr>
          <p:cNvPr id="15" name="Text Placeholder 12"/>
          <p:cNvSpPr>
            <a:spLocks/>
          </p:cNvSpPr>
          <p:nvPr>
            <p:custDataLst>
              <p:tags r:id="rId5"/>
            </p:custDataLst>
          </p:nvPr>
        </p:nvSpPr>
        <p:spPr bwMode="auto">
          <a:xfrm>
            <a:off x="1440657" y="1131570"/>
            <a:ext cx="1043555"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Graphic title goes here</a:t>
            </a:r>
          </a:p>
        </p:txBody>
      </p:sp>
    </p:spTree>
  </p:cSld>
  <p:clrMapOvr>
    <a:masterClrMapping/>
  </p:clrMapOvr>
  <p:transition>
    <p:fade/>
  </p:transition>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6601" name="Title 1"/>
          <p:cNvSpPr>
            <a:spLocks noGrp="1"/>
          </p:cNvSpPr>
          <p:nvPr>
            <p:ph type="title"/>
            <p:custDataLst>
              <p:tags r:id="rId1"/>
            </p:custDataLst>
          </p:nvPr>
        </p:nvSpPr>
        <p:spPr/>
        <p:txBody>
          <a:bodyPr/>
          <a:lstStyle/>
          <a:p>
            <a:r>
              <a:rPr lang="en-US" altLang="ja-JP" dirty="0"/>
              <a:t>Other </a:t>
            </a:r>
            <a:br>
              <a:rPr lang="en-US" altLang="ja-JP" dirty="0"/>
            </a:br>
            <a:r>
              <a:rPr lang="en-US" altLang="ja-JP" dirty="0">
                <a:solidFill>
                  <a:srgbClr val="575757"/>
                </a:solidFill>
              </a:rPr>
              <a:t>Funnels</a:t>
            </a:r>
            <a:endParaRPr lang="en-US" dirty="0">
              <a:solidFill>
                <a:srgbClr val="575757"/>
              </a:solidFill>
            </a:endParaRPr>
          </a:p>
        </p:txBody>
      </p:sp>
      <p:graphicFrame>
        <p:nvGraphicFramePr>
          <p:cNvPr id="366594" name="Rectangle 2"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21" imgW="0" imgH="0" progId="">
                  <p:embed/>
                </p:oleObj>
              </mc:Choice>
              <mc:Fallback>
                <p:oleObj name="think-cell Slide" r:id="rId21" imgW="0" imgH="0" progId="">
                  <p:embed/>
                  <p:pic>
                    <p:nvPicPr>
                      <p:cNvPr id="366594"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Freeform 17"/>
          <p:cNvSpPr>
            <a:spLocks/>
          </p:cNvSpPr>
          <p:nvPr>
            <p:custDataLst>
              <p:tags r:id="rId3"/>
            </p:custDataLst>
          </p:nvPr>
        </p:nvSpPr>
        <p:spPr bwMode="auto">
          <a:xfrm>
            <a:off x="5447110" y="2009775"/>
            <a:ext cx="1910953" cy="1409700"/>
          </a:xfrm>
          <a:custGeom>
            <a:avLst/>
            <a:gdLst/>
            <a:ahLst/>
            <a:cxnLst>
              <a:cxn ang="0">
                <a:pos x="0" y="0"/>
              </a:cxn>
              <a:cxn ang="0">
                <a:pos x="446" y="947"/>
              </a:cxn>
              <a:cxn ang="0">
                <a:pos x="844" y="950"/>
              </a:cxn>
              <a:cxn ang="0">
                <a:pos x="1290" y="3"/>
              </a:cxn>
              <a:cxn ang="0">
                <a:pos x="0" y="0"/>
              </a:cxn>
            </a:cxnLst>
            <a:rect l="0" t="0" r="r" b="b"/>
            <a:pathLst>
              <a:path w="1291" h="951">
                <a:moveTo>
                  <a:pt x="0" y="0"/>
                </a:moveTo>
                <a:lnTo>
                  <a:pt x="446" y="947"/>
                </a:lnTo>
                <a:lnTo>
                  <a:pt x="844" y="950"/>
                </a:lnTo>
                <a:lnTo>
                  <a:pt x="1290" y="3"/>
                </a:lnTo>
                <a:lnTo>
                  <a:pt x="0" y="0"/>
                </a:lnTo>
              </a:path>
            </a:pathLst>
          </a:custGeom>
          <a:solidFill>
            <a:srgbClr val="B4B4B4"/>
          </a:solidFill>
          <a:ln w="12700" cap="rnd" cmpd="sng">
            <a:solidFill>
              <a:schemeClr val="bg1"/>
            </a:solidFill>
            <a:prstDash val="solid"/>
            <a:round/>
            <a:headEnd type="none" w="med" len="med"/>
            <a:tailEnd type="none" w="med" len="med"/>
          </a:ln>
          <a:effectLst/>
        </p:spPr>
        <p:txBody>
          <a:bodyPr/>
          <a:lstStyle/>
          <a:p>
            <a:pPr defTabSz="685800">
              <a:buClrTx/>
              <a:defRPr/>
            </a:pPr>
            <a:endParaRPr lang="en-US" sz="1350" kern="1200" dirty="0">
              <a:solidFill>
                <a:prstClr val="black"/>
              </a:solidFill>
              <a:ea typeface="+mn-ea"/>
              <a:cs typeface="+mn-cs"/>
            </a:endParaRPr>
          </a:p>
        </p:txBody>
      </p:sp>
      <p:sp>
        <p:nvSpPr>
          <p:cNvPr id="17" name="Rectangle 16"/>
          <p:cNvSpPr>
            <a:spLocks noChangeArrowheads="1"/>
          </p:cNvSpPr>
          <p:nvPr>
            <p:custDataLst>
              <p:tags r:id="rId4"/>
            </p:custDataLst>
          </p:nvPr>
        </p:nvSpPr>
        <p:spPr bwMode="auto">
          <a:xfrm>
            <a:off x="6103144" y="3413522"/>
            <a:ext cx="591741" cy="84535"/>
          </a:xfrm>
          <a:prstGeom prst="rect">
            <a:avLst/>
          </a:prstGeom>
          <a:solidFill>
            <a:srgbClr val="B4B4B4"/>
          </a:solidFill>
          <a:ln w="12700">
            <a:solidFill>
              <a:schemeClr val="bg1"/>
            </a:solidFill>
            <a:miter lim="800000"/>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66597" name="AutoShape 19"/>
          <p:cNvSpPr>
            <a:spLocks noChangeArrowheads="1"/>
          </p:cNvSpPr>
          <p:nvPr>
            <p:custDataLst>
              <p:tags r:id="rId5"/>
            </p:custDataLst>
          </p:nvPr>
        </p:nvSpPr>
        <p:spPr bwMode="auto">
          <a:xfrm rot="16200000" flipH="1">
            <a:off x="5631656" y="1708547"/>
            <a:ext cx="234554" cy="286941"/>
          </a:xfrm>
          <a:prstGeom prst="rightArrow">
            <a:avLst>
              <a:gd name="adj1" fmla="val 50000"/>
              <a:gd name="adj2" fmla="val 29014"/>
            </a:avLst>
          </a:prstGeom>
          <a:solidFill>
            <a:schemeClr val="accent2"/>
          </a:solidFill>
          <a:ln w="12700">
            <a:solidFill>
              <a:schemeClr val="bg1"/>
            </a:solidFill>
            <a:miter lim="800000"/>
            <a:headEnd/>
            <a:tailEnd/>
          </a:ln>
        </p:spPr>
        <p:txBody>
          <a:bodyPr wrap="none" anchor="ctr"/>
          <a:lstStyle/>
          <a:p>
            <a:pPr algn="ctr" defTabSz="685800">
              <a:buClrTx/>
            </a:pPr>
            <a:endParaRPr lang="en-US" sz="1350" kern="1200">
              <a:solidFill>
                <a:prstClr val="black"/>
              </a:solidFill>
              <a:ea typeface="+mn-ea"/>
              <a:cs typeface="+mn-cs"/>
            </a:endParaRPr>
          </a:p>
        </p:txBody>
      </p:sp>
      <p:sp>
        <p:nvSpPr>
          <p:cNvPr id="366598" name="Freeform 23"/>
          <p:cNvSpPr>
            <a:spLocks/>
          </p:cNvSpPr>
          <p:nvPr>
            <p:custDataLst>
              <p:tags r:id="rId6"/>
            </p:custDataLst>
          </p:nvPr>
        </p:nvSpPr>
        <p:spPr bwMode="auto">
          <a:xfrm>
            <a:off x="6918722" y="2309813"/>
            <a:ext cx="465534" cy="269081"/>
          </a:xfrm>
          <a:custGeom>
            <a:avLst/>
            <a:gdLst>
              <a:gd name="T0" fmla="*/ 2027370 w 314"/>
              <a:gd name="T1" fmla="*/ 226698 h 182"/>
              <a:gd name="T2" fmla="*/ 2035266 w 314"/>
              <a:gd name="T3" fmla="*/ 818086 h 182"/>
              <a:gd name="T4" fmla="*/ 1101531 w 314"/>
              <a:gd name="T5" fmla="*/ 847655 h 182"/>
              <a:gd name="T6" fmla="*/ 1348290 w 314"/>
              <a:gd name="T7" fmla="*/ 680095 h 182"/>
              <a:gd name="T8" fmla="*/ 919917 w 314"/>
              <a:gd name="T9" fmla="*/ 392287 h 182"/>
              <a:gd name="T10" fmla="*/ 825161 w 314"/>
              <a:gd name="T11" fmla="*/ 364689 h 182"/>
              <a:gd name="T12" fmla="*/ 722510 w 314"/>
              <a:gd name="T13" fmla="*/ 374545 h 182"/>
              <a:gd name="T14" fmla="*/ 598143 w 314"/>
              <a:gd name="T15" fmla="*/ 412000 h 182"/>
              <a:gd name="T16" fmla="*/ 454036 w 314"/>
              <a:gd name="T17" fmla="*/ 488880 h 182"/>
              <a:gd name="T18" fmla="*/ 321773 w 314"/>
              <a:gd name="T19" fmla="*/ 579560 h 182"/>
              <a:gd name="T20" fmla="*/ 0 w 314"/>
              <a:gd name="T21" fmla="*/ 362718 h 182"/>
              <a:gd name="T22" fmla="*/ 223070 w 314"/>
              <a:gd name="T23" fmla="*/ 214871 h 182"/>
              <a:gd name="T24" fmla="*/ 315851 w 314"/>
              <a:gd name="T25" fmla="*/ 171502 h 182"/>
              <a:gd name="T26" fmla="*/ 434295 w 314"/>
              <a:gd name="T27" fmla="*/ 112364 h 182"/>
              <a:gd name="T28" fmla="*/ 529051 w 314"/>
              <a:gd name="T29" fmla="*/ 78852 h 182"/>
              <a:gd name="T30" fmla="*/ 621832 w 314"/>
              <a:gd name="T31" fmla="*/ 41397 h 182"/>
              <a:gd name="T32" fmla="*/ 726458 w 314"/>
              <a:gd name="T33" fmla="*/ 13799 h 182"/>
              <a:gd name="T34" fmla="*/ 837006 w 314"/>
              <a:gd name="T35" fmla="*/ 0 h 182"/>
              <a:gd name="T36" fmla="*/ 959398 w 314"/>
              <a:gd name="T37" fmla="*/ 0 h 182"/>
              <a:gd name="T38" fmla="*/ 1065998 w 314"/>
              <a:gd name="T39" fmla="*/ 1971 h 182"/>
              <a:gd name="T40" fmla="*/ 1178520 w 314"/>
              <a:gd name="T41" fmla="*/ 21684 h 182"/>
              <a:gd name="T42" fmla="*/ 1289068 w 314"/>
              <a:gd name="T43" fmla="*/ 61110 h 182"/>
              <a:gd name="T44" fmla="*/ 1350264 w 314"/>
              <a:gd name="T45" fmla="*/ 110392 h 182"/>
              <a:gd name="T46" fmla="*/ 1784559 w 314"/>
              <a:gd name="T47" fmla="*/ 386373 h 182"/>
              <a:gd name="T48" fmla="*/ 2027370 w 314"/>
              <a:gd name="T49" fmla="*/ 226698 h 18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4"/>
              <a:gd name="T76" fmla="*/ 0 h 182"/>
              <a:gd name="T77" fmla="*/ 314 w 314"/>
              <a:gd name="T78" fmla="*/ 182 h 18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4" h="182">
                <a:moveTo>
                  <a:pt x="312" y="48"/>
                </a:moveTo>
                <a:lnTo>
                  <a:pt x="313" y="175"/>
                </a:lnTo>
                <a:lnTo>
                  <a:pt x="169" y="181"/>
                </a:lnTo>
                <a:lnTo>
                  <a:pt x="207" y="145"/>
                </a:lnTo>
                <a:lnTo>
                  <a:pt x="142" y="84"/>
                </a:lnTo>
                <a:lnTo>
                  <a:pt x="127" y="78"/>
                </a:lnTo>
                <a:lnTo>
                  <a:pt x="111" y="80"/>
                </a:lnTo>
                <a:lnTo>
                  <a:pt x="92" y="88"/>
                </a:lnTo>
                <a:lnTo>
                  <a:pt x="70" y="105"/>
                </a:lnTo>
                <a:lnTo>
                  <a:pt x="50" y="124"/>
                </a:lnTo>
                <a:lnTo>
                  <a:pt x="0" y="77"/>
                </a:lnTo>
                <a:lnTo>
                  <a:pt x="34" y="46"/>
                </a:lnTo>
                <a:lnTo>
                  <a:pt x="48" y="36"/>
                </a:lnTo>
                <a:lnTo>
                  <a:pt x="67" y="24"/>
                </a:lnTo>
                <a:lnTo>
                  <a:pt x="82" y="17"/>
                </a:lnTo>
                <a:lnTo>
                  <a:pt x="96" y="9"/>
                </a:lnTo>
                <a:lnTo>
                  <a:pt x="112" y="3"/>
                </a:lnTo>
                <a:lnTo>
                  <a:pt x="129" y="0"/>
                </a:lnTo>
                <a:lnTo>
                  <a:pt x="148" y="0"/>
                </a:lnTo>
                <a:lnTo>
                  <a:pt x="164" y="1"/>
                </a:lnTo>
                <a:lnTo>
                  <a:pt x="181" y="5"/>
                </a:lnTo>
                <a:lnTo>
                  <a:pt x="198" y="13"/>
                </a:lnTo>
                <a:lnTo>
                  <a:pt x="208" y="23"/>
                </a:lnTo>
                <a:lnTo>
                  <a:pt x="275" y="82"/>
                </a:lnTo>
                <a:lnTo>
                  <a:pt x="312" y="48"/>
                </a:lnTo>
              </a:path>
            </a:pathLst>
          </a:custGeom>
          <a:solidFill>
            <a:schemeClr val="accent2"/>
          </a:solidFill>
          <a:ln w="12700" cap="rnd">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366599" name="Freeform 24"/>
          <p:cNvSpPr>
            <a:spLocks/>
          </p:cNvSpPr>
          <p:nvPr>
            <p:custDataLst>
              <p:tags r:id="rId7"/>
            </p:custDataLst>
          </p:nvPr>
        </p:nvSpPr>
        <p:spPr bwMode="auto">
          <a:xfrm>
            <a:off x="6687741" y="2822972"/>
            <a:ext cx="466725" cy="270272"/>
          </a:xfrm>
          <a:custGeom>
            <a:avLst/>
            <a:gdLst>
              <a:gd name="T0" fmla="*/ 2025710 w 315"/>
              <a:gd name="T1" fmla="*/ 231662 h 182"/>
              <a:gd name="T2" fmla="*/ 2033600 w 315"/>
              <a:gd name="T3" fmla="*/ 837547 h 182"/>
              <a:gd name="T4" fmla="*/ 1102602 w 315"/>
              <a:gd name="T5" fmla="*/ 869227 h 182"/>
              <a:gd name="T6" fmla="*/ 1345214 w 315"/>
              <a:gd name="T7" fmla="*/ 696966 h 182"/>
              <a:gd name="T8" fmla="*/ 921136 w 315"/>
              <a:gd name="T9" fmla="*/ 401943 h 182"/>
              <a:gd name="T10" fmla="*/ 822513 w 315"/>
              <a:gd name="T11" fmla="*/ 372243 h 182"/>
              <a:gd name="T12" fmla="*/ 719946 w 315"/>
              <a:gd name="T13" fmla="*/ 386103 h 182"/>
              <a:gd name="T14" fmla="*/ 599626 w 315"/>
              <a:gd name="T15" fmla="*/ 421743 h 182"/>
              <a:gd name="T16" fmla="*/ 453664 w 315"/>
              <a:gd name="T17" fmla="*/ 500944 h 182"/>
              <a:gd name="T18" fmla="*/ 321510 w 315"/>
              <a:gd name="T19" fmla="*/ 595985 h 182"/>
              <a:gd name="T20" fmla="*/ 0 w 315"/>
              <a:gd name="T21" fmla="*/ 370263 h 182"/>
              <a:gd name="T22" fmla="*/ 220915 w 315"/>
              <a:gd name="T23" fmla="*/ 219782 h 182"/>
              <a:gd name="T24" fmla="*/ 309675 w 315"/>
              <a:gd name="T25" fmla="*/ 172261 h 182"/>
              <a:gd name="T26" fmla="*/ 431967 w 315"/>
              <a:gd name="T27" fmla="*/ 112861 h 182"/>
              <a:gd name="T28" fmla="*/ 528618 w 315"/>
              <a:gd name="T29" fmla="*/ 79201 h 182"/>
              <a:gd name="T30" fmla="*/ 621323 w 315"/>
              <a:gd name="T31" fmla="*/ 41580 h 182"/>
              <a:gd name="T32" fmla="*/ 723891 w 315"/>
              <a:gd name="T33" fmla="*/ 13860 h 182"/>
              <a:gd name="T34" fmla="*/ 836320 w 315"/>
              <a:gd name="T35" fmla="*/ 0 h 182"/>
              <a:gd name="T36" fmla="*/ 968475 w 315"/>
              <a:gd name="T37" fmla="*/ 0 h 182"/>
              <a:gd name="T38" fmla="*/ 1067098 w 315"/>
              <a:gd name="T39" fmla="*/ 1980 h 182"/>
              <a:gd name="T40" fmla="*/ 1179527 w 315"/>
              <a:gd name="T41" fmla="*/ 21780 h 182"/>
              <a:gd name="T42" fmla="*/ 1289985 w 315"/>
              <a:gd name="T43" fmla="*/ 61381 h 182"/>
              <a:gd name="T44" fmla="*/ 1351131 w 315"/>
              <a:gd name="T45" fmla="*/ 110881 h 182"/>
              <a:gd name="T46" fmla="*/ 1789016 w 315"/>
              <a:gd name="T47" fmla="*/ 390063 h 182"/>
              <a:gd name="T48" fmla="*/ 2025710 w 315"/>
              <a:gd name="T49" fmla="*/ 231662 h 18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5"/>
              <a:gd name="T76" fmla="*/ 0 h 182"/>
              <a:gd name="T77" fmla="*/ 315 w 315"/>
              <a:gd name="T78" fmla="*/ 182 h 18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5" h="182">
                <a:moveTo>
                  <a:pt x="313" y="48"/>
                </a:moveTo>
                <a:lnTo>
                  <a:pt x="314" y="175"/>
                </a:lnTo>
                <a:lnTo>
                  <a:pt x="170" y="181"/>
                </a:lnTo>
                <a:lnTo>
                  <a:pt x="208" y="145"/>
                </a:lnTo>
                <a:lnTo>
                  <a:pt x="143" y="84"/>
                </a:lnTo>
                <a:lnTo>
                  <a:pt x="127" y="78"/>
                </a:lnTo>
                <a:lnTo>
                  <a:pt x="111" y="80"/>
                </a:lnTo>
                <a:lnTo>
                  <a:pt x="93" y="88"/>
                </a:lnTo>
                <a:lnTo>
                  <a:pt x="70" y="105"/>
                </a:lnTo>
                <a:lnTo>
                  <a:pt x="50" y="124"/>
                </a:lnTo>
                <a:lnTo>
                  <a:pt x="0" y="77"/>
                </a:lnTo>
                <a:lnTo>
                  <a:pt x="34" y="46"/>
                </a:lnTo>
                <a:lnTo>
                  <a:pt x="48" y="36"/>
                </a:lnTo>
                <a:lnTo>
                  <a:pt x="67" y="24"/>
                </a:lnTo>
                <a:lnTo>
                  <a:pt x="82" y="17"/>
                </a:lnTo>
                <a:lnTo>
                  <a:pt x="96" y="9"/>
                </a:lnTo>
                <a:lnTo>
                  <a:pt x="112" y="3"/>
                </a:lnTo>
                <a:lnTo>
                  <a:pt x="129" y="0"/>
                </a:lnTo>
                <a:lnTo>
                  <a:pt x="149" y="0"/>
                </a:lnTo>
                <a:lnTo>
                  <a:pt x="165" y="1"/>
                </a:lnTo>
                <a:lnTo>
                  <a:pt x="182" y="5"/>
                </a:lnTo>
                <a:lnTo>
                  <a:pt x="199" y="13"/>
                </a:lnTo>
                <a:lnTo>
                  <a:pt x="209" y="23"/>
                </a:lnTo>
                <a:lnTo>
                  <a:pt x="276" y="82"/>
                </a:lnTo>
                <a:lnTo>
                  <a:pt x="313" y="48"/>
                </a:lnTo>
              </a:path>
            </a:pathLst>
          </a:custGeom>
          <a:solidFill>
            <a:schemeClr val="accent2"/>
          </a:solidFill>
          <a:ln w="12700" cap="rnd">
            <a:solidFill>
              <a:schemeClr val="bg1"/>
            </a:solidFill>
            <a:round/>
            <a:headEnd/>
            <a:tailEnd/>
          </a:ln>
        </p:spPr>
        <p:txBody>
          <a:bodyPr/>
          <a:lstStyle/>
          <a:p>
            <a:pPr defTabSz="685800">
              <a:buClrTx/>
            </a:pPr>
            <a:endParaRPr lang="en-US" sz="1350" kern="1200">
              <a:solidFill>
                <a:prstClr val="black"/>
              </a:solidFill>
              <a:ea typeface="+mn-ea"/>
              <a:cs typeface="+mn-cs"/>
            </a:endParaRPr>
          </a:p>
        </p:txBody>
      </p:sp>
      <p:sp>
        <p:nvSpPr>
          <p:cNvPr id="366600" name="Freeform 25"/>
          <p:cNvSpPr>
            <a:spLocks/>
          </p:cNvSpPr>
          <p:nvPr>
            <p:custDataLst>
              <p:tags r:id="rId8"/>
            </p:custDataLst>
          </p:nvPr>
        </p:nvSpPr>
        <p:spPr bwMode="auto">
          <a:xfrm>
            <a:off x="7108032" y="1763315"/>
            <a:ext cx="465535" cy="271463"/>
          </a:xfrm>
          <a:custGeom>
            <a:avLst/>
            <a:gdLst>
              <a:gd name="T0" fmla="*/ 2027370 w 314"/>
              <a:gd name="T1" fmla="*/ 229433 h 183"/>
              <a:gd name="T2" fmla="*/ 2035266 w 314"/>
              <a:gd name="T3" fmla="*/ 838616 h 183"/>
              <a:gd name="T4" fmla="*/ 1101531 w 314"/>
              <a:gd name="T5" fmla="*/ 870262 h 183"/>
              <a:gd name="T6" fmla="*/ 1348290 w 314"/>
              <a:gd name="T7" fmla="*/ 698188 h 183"/>
              <a:gd name="T8" fmla="*/ 919917 w 314"/>
              <a:gd name="T9" fmla="*/ 403485 h 183"/>
              <a:gd name="T10" fmla="*/ 825161 w 314"/>
              <a:gd name="T11" fmla="*/ 371839 h 183"/>
              <a:gd name="T12" fmla="*/ 722510 w 314"/>
              <a:gd name="T13" fmla="*/ 387662 h 183"/>
              <a:gd name="T14" fmla="*/ 598143 w 314"/>
              <a:gd name="T15" fmla="*/ 423264 h 183"/>
              <a:gd name="T16" fmla="*/ 454036 w 314"/>
              <a:gd name="T17" fmla="*/ 500401 h 183"/>
              <a:gd name="T18" fmla="*/ 321773 w 314"/>
              <a:gd name="T19" fmla="*/ 597316 h 183"/>
              <a:gd name="T20" fmla="*/ 0 w 314"/>
              <a:gd name="T21" fmla="*/ 371839 h 183"/>
              <a:gd name="T22" fmla="*/ 223070 w 314"/>
              <a:gd name="T23" fmla="*/ 227455 h 183"/>
              <a:gd name="T24" fmla="*/ 315851 w 314"/>
              <a:gd name="T25" fmla="*/ 172075 h 183"/>
              <a:gd name="T26" fmla="*/ 434295 w 314"/>
              <a:gd name="T27" fmla="*/ 112739 h 183"/>
              <a:gd name="T28" fmla="*/ 529051 w 314"/>
              <a:gd name="T29" fmla="*/ 79115 h 183"/>
              <a:gd name="T30" fmla="*/ 621832 w 314"/>
              <a:gd name="T31" fmla="*/ 41535 h 183"/>
              <a:gd name="T32" fmla="*/ 726458 w 314"/>
              <a:gd name="T33" fmla="*/ 13845 h 183"/>
              <a:gd name="T34" fmla="*/ 837006 w 314"/>
              <a:gd name="T35" fmla="*/ 0 h 183"/>
              <a:gd name="T36" fmla="*/ 959398 w 314"/>
              <a:gd name="T37" fmla="*/ 0 h 183"/>
              <a:gd name="T38" fmla="*/ 1065998 w 314"/>
              <a:gd name="T39" fmla="*/ 1978 h 183"/>
              <a:gd name="T40" fmla="*/ 1178520 w 314"/>
              <a:gd name="T41" fmla="*/ 21757 h 183"/>
              <a:gd name="T42" fmla="*/ 1289068 w 314"/>
              <a:gd name="T43" fmla="*/ 61314 h 183"/>
              <a:gd name="T44" fmla="*/ 1350264 w 314"/>
              <a:gd name="T45" fmla="*/ 110761 h 183"/>
              <a:gd name="T46" fmla="*/ 1784559 w 314"/>
              <a:gd name="T47" fmla="*/ 389640 h 183"/>
              <a:gd name="T48" fmla="*/ 2027370 w 314"/>
              <a:gd name="T49" fmla="*/ 229433 h 1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4"/>
              <a:gd name="T76" fmla="*/ 0 h 183"/>
              <a:gd name="T77" fmla="*/ 314 w 314"/>
              <a:gd name="T78" fmla="*/ 183 h 1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4" h="183">
                <a:moveTo>
                  <a:pt x="312" y="48"/>
                </a:moveTo>
                <a:lnTo>
                  <a:pt x="313" y="176"/>
                </a:lnTo>
                <a:lnTo>
                  <a:pt x="169" y="182"/>
                </a:lnTo>
                <a:lnTo>
                  <a:pt x="207" y="146"/>
                </a:lnTo>
                <a:lnTo>
                  <a:pt x="142" y="85"/>
                </a:lnTo>
                <a:lnTo>
                  <a:pt x="127" y="78"/>
                </a:lnTo>
                <a:lnTo>
                  <a:pt x="111" y="81"/>
                </a:lnTo>
                <a:lnTo>
                  <a:pt x="92" y="89"/>
                </a:lnTo>
                <a:lnTo>
                  <a:pt x="70" y="105"/>
                </a:lnTo>
                <a:lnTo>
                  <a:pt x="50" y="125"/>
                </a:lnTo>
                <a:lnTo>
                  <a:pt x="0" y="78"/>
                </a:lnTo>
                <a:lnTo>
                  <a:pt x="34" y="47"/>
                </a:lnTo>
                <a:lnTo>
                  <a:pt x="48" y="36"/>
                </a:lnTo>
                <a:lnTo>
                  <a:pt x="67" y="24"/>
                </a:lnTo>
                <a:lnTo>
                  <a:pt x="82" y="17"/>
                </a:lnTo>
                <a:lnTo>
                  <a:pt x="96" y="9"/>
                </a:lnTo>
                <a:lnTo>
                  <a:pt x="112" y="3"/>
                </a:lnTo>
                <a:lnTo>
                  <a:pt x="129" y="0"/>
                </a:lnTo>
                <a:lnTo>
                  <a:pt x="148" y="0"/>
                </a:lnTo>
                <a:lnTo>
                  <a:pt x="164" y="1"/>
                </a:lnTo>
                <a:lnTo>
                  <a:pt x="181" y="5"/>
                </a:lnTo>
                <a:lnTo>
                  <a:pt x="198" y="13"/>
                </a:lnTo>
                <a:lnTo>
                  <a:pt x="208" y="23"/>
                </a:lnTo>
                <a:lnTo>
                  <a:pt x="275" y="82"/>
                </a:lnTo>
                <a:lnTo>
                  <a:pt x="312" y="48"/>
                </a:lnTo>
              </a:path>
            </a:pathLst>
          </a:custGeom>
          <a:solidFill>
            <a:schemeClr val="accent2"/>
          </a:solidFill>
          <a:ln w="12700" cap="rnd">
            <a:solidFill>
              <a:schemeClr val="bg1"/>
            </a:solidFill>
            <a:round/>
            <a:headEnd/>
            <a:tailEnd/>
          </a:ln>
        </p:spPr>
        <p:txBody>
          <a:bodyPr/>
          <a:lstStyle/>
          <a:p>
            <a:pPr defTabSz="685800">
              <a:buClrTx/>
            </a:pPr>
            <a:endParaRPr lang="en-US" sz="1350" kern="1200">
              <a:solidFill>
                <a:prstClr val="black"/>
              </a:solidFill>
              <a:ea typeface="+mn-ea"/>
              <a:cs typeface="+mn-cs"/>
            </a:endParaRPr>
          </a:p>
        </p:txBody>
      </p:sp>
      <p:grpSp>
        <p:nvGrpSpPr>
          <p:cNvPr id="366603" name="Group 3"/>
          <p:cNvGrpSpPr>
            <a:grpSpLocks/>
          </p:cNvGrpSpPr>
          <p:nvPr>
            <p:custDataLst>
              <p:tags r:id="rId9"/>
            </p:custDataLst>
          </p:nvPr>
        </p:nvGrpSpPr>
        <p:grpSpPr bwMode="auto">
          <a:xfrm>
            <a:off x="1431131" y="2009775"/>
            <a:ext cx="1491854" cy="1749028"/>
            <a:chOff x="2520" y="1165"/>
            <a:chExt cx="1129" cy="2424"/>
          </a:xfrm>
        </p:grpSpPr>
        <p:sp>
          <p:nvSpPr>
            <p:cNvPr id="5" name="AutoShape 4"/>
            <p:cNvSpPr>
              <a:spLocks noChangeAspect="1" noChangeArrowheads="1"/>
            </p:cNvSpPr>
            <p:nvPr/>
          </p:nvSpPr>
          <p:spPr bwMode="auto">
            <a:xfrm rot="10800000" flipH="1">
              <a:off x="2520" y="1165"/>
              <a:ext cx="1129" cy="2424"/>
            </a:xfrm>
            <a:prstGeom prst="triangle">
              <a:avLst>
                <a:gd name="adj" fmla="val 49995"/>
              </a:avLst>
            </a:prstGeom>
            <a:solidFill>
              <a:schemeClr val="bg1"/>
            </a:solidFill>
            <a:ln w="19050">
              <a:solidFill>
                <a:srgbClr val="8C8C8C"/>
              </a:solidFill>
              <a:miter lim="800000"/>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6" name="Line 5"/>
            <p:cNvSpPr>
              <a:spLocks noChangeAspect="1" noChangeShapeType="1"/>
            </p:cNvSpPr>
            <p:nvPr/>
          </p:nvSpPr>
          <p:spPr bwMode="auto">
            <a:xfrm>
              <a:off x="2565" y="1358"/>
              <a:ext cx="1039" cy="0"/>
            </a:xfrm>
            <a:prstGeom prst="line">
              <a:avLst/>
            </a:prstGeom>
            <a:noFill/>
            <a:ln w="28575">
              <a:solidFill>
                <a:srgbClr val="8C8C8C"/>
              </a:solidFill>
              <a:prstDash val="sysDash"/>
              <a:round/>
              <a:headEnd type="none" w="sm" len="sm"/>
              <a:tailEnd type="none" w="sm" len="sm"/>
            </a:ln>
          </p:spPr>
          <p:txBody>
            <a:bodyPr/>
            <a:lstStyle/>
            <a:p>
              <a:pPr defTabSz="685800">
                <a:buClrTx/>
                <a:defRPr/>
              </a:pPr>
              <a:endParaRPr lang="en-US" sz="1350" kern="1200" dirty="0">
                <a:solidFill>
                  <a:prstClr val="black"/>
                </a:solidFill>
                <a:ea typeface="+mn-ea"/>
                <a:cs typeface="+mn-cs"/>
              </a:endParaRPr>
            </a:p>
          </p:txBody>
        </p:sp>
        <p:sp>
          <p:nvSpPr>
            <p:cNvPr id="7" name="Line 6"/>
            <p:cNvSpPr>
              <a:spLocks noChangeAspect="1" noChangeShapeType="1"/>
            </p:cNvSpPr>
            <p:nvPr/>
          </p:nvSpPr>
          <p:spPr bwMode="auto">
            <a:xfrm>
              <a:off x="3018" y="3292"/>
              <a:ext cx="135" cy="0"/>
            </a:xfrm>
            <a:prstGeom prst="line">
              <a:avLst/>
            </a:prstGeom>
            <a:noFill/>
            <a:ln w="28575">
              <a:solidFill>
                <a:srgbClr val="8C8C8C"/>
              </a:solidFill>
              <a:prstDash val="sysDash"/>
              <a:round/>
              <a:headEnd type="none" w="sm" len="sm"/>
              <a:tailEnd type="none" w="sm" len="sm"/>
            </a:ln>
          </p:spPr>
          <p:txBody>
            <a:bodyPr/>
            <a:lstStyle/>
            <a:p>
              <a:pPr defTabSz="685800">
                <a:buClrTx/>
                <a:defRPr/>
              </a:pPr>
              <a:endParaRPr lang="en-US" sz="1350" kern="1200" dirty="0">
                <a:solidFill>
                  <a:prstClr val="black"/>
                </a:solidFill>
                <a:ea typeface="+mn-ea"/>
                <a:cs typeface="+mn-cs"/>
              </a:endParaRPr>
            </a:p>
          </p:txBody>
        </p:sp>
        <p:sp>
          <p:nvSpPr>
            <p:cNvPr id="8" name="Line 7"/>
            <p:cNvSpPr>
              <a:spLocks noChangeAspect="1" noChangeShapeType="1"/>
            </p:cNvSpPr>
            <p:nvPr/>
          </p:nvSpPr>
          <p:spPr bwMode="auto">
            <a:xfrm>
              <a:off x="2853" y="2586"/>
              <a:ext cx="467" cy="0"/>
            </a:xfrm>
            <a:prstGeom prst="line">
              <a:avLst/>
            </a:prstGeom>
            <a:noFill/>
            <a:ln w="28575">
              <a:solidFill>
                <a:srgbClr val="8C8C8C"/>
              </a:solidFill>
              <a:prstDash val="sysDash"/>
              <a:round/>
              <a:headEnd type="none" w="sm" len="sm"/>
              <a:tailEnd type="none" w="sm" len="sm"/>
            </a:ln>
          </p:spPr>
          <p:txBody>
            <a:bodyPr/>
            <a:lstStyle/>
            <a:p>
              <a:pPr defTabSz="685800">
                <a:buClrTx/>
                <a:defRPr/>
              </a:pPr>
              <a:endParaRPr lang="en-US" sz="1350" kern="1200" dirty="0">
                <a:solidFill>
                  <a:prstClr val="black"/>
                </a:solidFill>
                <a:ea typeface="+mn-ea"/>
                <a:cs typeface="+mn-cs"/>
              </a:endParaRPr>
            </a:p>
          </p:txBody>
        </p:sp>
        <p:sp>
          <p:nvSpPr>
            <p:cNvPr id="9" name="Line 8"/>
            <p:cNvSpPr>
              <a:spLocks noChangeAspect="1" noChangeShapeType="1"/>
            </p:cNvSpPr>
            <p:nvPr/>
          </p:nvSpPr>
          <p:spPr bwMode="auto">
            <a:xfrm>
              <a:off x="2710" y="1969"/>
              <a:ext cx="754" cy="0"/>
            </a:xfrm>
            <a:prstGeom prst="line">
              <a:avLst/>
            </a:prstGeom>
            <a:noFill/>
            <a:ln w="28575">
              <a:solidFill>
                <a:srgbClr val="8C8C8C"/>
              </a:solidFill>
              <a:prstDash val="sysDash"/>
              <a:round/>
              <a:headEnd type="none" w="sm" len="sm"/>
              <a:tailEnd type="none" w="sm" len="sm"/>
            </a:ln>
          </p:spPr>
          <p:txBody>
            <a:bodyPr/>
            <a:lstStyle/>
            <a:p>
              <a:pPr defTabSz="685800">
                <a:buClrTx/>
                <a:defRPr/>
              </a:pPr>
              <a:endParaRPr lang="en-US" sz="1350" kern="1200" dirty="0">
                <a:solidFill>
                  <a:prstClr val="black"/>
                </a:solidFill>
                <a:ea typeface="+mn-ea"/>
                <a:cs typeface="+mn-cs"/>
              </a:endParaRPr>
            </a:p>
          </p:txBody>
        </p:sp>
      </p:grpSp>
      <p:grpSp>
        <p:nvGrpSpPr>
          <p:cNvPr id="366604" name="Group 9"/>
          <p:cNvGrpSpPr>
            <a:grpSpLocks/>
          </p:cNvGrpSpPr>
          <p:nvPr>
            <p:custDataLst>
              <p:tags r:id="rId10"/>
            </p:custDataLst>
          </p:nvPr>
        </p:nvGrpSpPr>
        <p:grpSpPr bwMode="auto">
          <a:xfrm>
            <a:off x="3069432" y="2009776"/>
            <a:ext cx="2083594" cy="1460897"/>
            <a:chOff x="1618" y="1792"/>
            <a:chExt cx="1750" cy="1227"/>
          </a:xfrm>
          <a:solidFill>
            <a:schemeClr val="accent1"/>
          </a:solidFill>
        </p:grpSpPr>
        <p:sp>
          <p:nvSpPr>
            <p:cNvPr id="11" name="Freeform 10"/>
            <p:cNvSpPr>
              <a:spLocks/>
            </p:cNvSpPr>
            <p:nvPr/>
          </p:nvSpPr>
          <p:spPr bwMode="auto">
            <a:xfrm>
              <a:off x="1618" y="1792"/>
              <a:ext cx="1750" cy="1227"/>
            </a:xfrm>
            <a:custGeom>
              <a:avLst/>
              <a:gdLst/>
              <a:ahLst/>
              <a:cxnLst>
                <a:cxn ang="0">
                  <a:pos x="0" y="0"/>
                </a:cxn>
                <a:cxn ang="0">
                  <a:pos x="401" y="405"/>
                </a:cxn>
                <a:cxn ang="0">
                  <a:pos x="418" y="745"/>
                </a:cxn>
                <a:cxn ang="0">
                  <a:pos x="419" y="754"/>
                </a:cxn>
                <a:cxn ang="0">
                  <a:pos x="422" y="761"/>
                </a:cxn>
                <a:cxn ang="0">
                  <a:pos x="425" y="765"/>
                </a:cxn>
                <a:cxn ang="0">
                  <a:pos x="430" y="769"/>
                </a:cxn>
                <a:cxn ang="0">
                  <a:pos x="436" y="774"/>
                </a:cxn>
                <a:cxn ang="0">
                  <a:pos x="442" y="777"/>
                </a:cxn>
                <a:cxn ang="0">
                  <a:pos x="451" y="781"/>
                </a:cxn>
                <a:cxn ang="0">
                  <a:pos x="461" y="784"/>
                </a:cxn>
                <a:cxn ang="0">
                  <a:pos x="473" y="785"/>
                </a:cxn>
                <a:cxn ang="0">
                  <a:pos x="481" y="786"/>
                </a:cxn>
                <a:cxn ang="0">
                  <a:pos x="488" y="786"/>
                </a:cxn>
                <a:cxn ang="0">
                  <a:pos x="496" y="785"/>
                </a:cxn>
                <a:cxn ang="0">
                  <a:pos x="504" y="784"/>
                </a:cxn>
                <a:cxn ang="0">
                  <a:pos x="512" y="780"/>
                </a:cxn>
                <a:cxn ang="0">
                  <a:pos x="521" y="777"/>
                </a:cxn>
                <a:cxn ang="0">
                  <a:pos x="527" y="774"/>
                </a:cxn>
                <a:cxn ang="0">
                  <a:pos x="533" y="768"/>
                </a:cxn>
                <a:cxn ang="0">
                  <a:pos x="538" y="763"/>
                </a:cxn>
                <a:cxn ang="0">
                  <a:pos x="542" y="755"/>
                </a:cxn>
                <a:cxn ang="0">
                  <a:pos x="543" y="747"/>
                </a:cxn>
                <a:cxn ang="0">
                  <a:pos x="569" y="398"/>
                </a:cxn>
                <a:cxn ang="0">
                  <a:pos x="961" y="0"/>
                </a:cxn>
                <a:cxn ang="0">
                  <a:pos x="0" y="0"/>
                </a:cxn>
              </a:cxnLst>
              <a:rect l="0" t="0" r="r" b="b"/>
              <a:pathLst>
                <a:path w="962" h="787">
                  <a:moveTo>
                    <a:pt x="0" y="0"/>
                  </a:moveTo>
                  <a:lnTo>
                    <a:pt x="401" y="405"/>
                  </a:lnTo>
                  <a:lnTo>
                    <a:pt x="418" y="745"/>
                  </a:lnTo>
                  <a:lnTo>
                    <a:pt x="419" y="754"/>
                  </a:lnTo>
                  <a:lnTo>
                    <a:pt x="422" y="761"/>
                  </a:lnTo>
                  <a:lnTo>
                    <a:pt x="425" y="765"/>
                  </a:lnTo>
                  <a:lnTo>
                    <a:pt x="430" y="769"/>
                  </a:lnTo>
                  <a:lnTo>
                    <a:pt x="436" y="774"/>
                  </a:lnTo>
                  <a:lnTo>
                    <a:pt x="442" y="777"/>
                  </a:lnTo>
                  <a:lnTo>
                    <a:pt x="451" y="781"/>
                  </a:lnTo>
                  <a:lnTo>
                    <a:pt x="461" y="784"/>
                  </a:lnTo>
                  <a:lnTo>
                    <a:pt x="473" y="785"/>
                  </a:lnTo>
                  <a:lnTo>
                    <a:pt x="481" y="786"/>
                  </a:lnTo>
                  <a:lnTo>
                    <a:pt x="488" y="786"/>
                  </a:lnTo>
                  <a:lnTo>
                    <a:pt x="496" y="785"/>
                  </a:lnTo>
                  <a:lnTo>
                    <a:pt x="504" y="784"/>
                  </a:lnTo>
                  <a:lnTo>
                    <a:pt x="512" y="780"/>
                  </a:lnTo>
                  <a:lnTo>
                    <a:pt x="521" y="777"/>
                  </a:lnTo>
                  <a:lnTo>
                    <a:pt x="527" y="774"/>
                  </a:lnTo>
                  <a:lnTo>
                    <a:pt x="533" y="768"/>
                  </a:lnTo>
                  <a:lnTo>
                    <a:pt x="538" y="763"/>
                  </a:lnTo>
                  <a:lnTo>
                    <a:pt x="542" y="755"/>
                  </a:lnTo>
                  <a:lnTo>
                    <a:pt x="543" y="747"/>
                  </a:lnTo>
                  <a:lnTo>
                    <a:pt x="569" y="398"/>
                  </a:lnTo>
                  <a:lnTo>
                    <a:pt x="961" y="0"/>
                  </a:lnTo>
                  <a:lnTo>
                    <a:pt x="0" y="0"/>
                  </a:lnTo>
                </a:path>
              </a:pathLst>
            </a:custGeom>
            <a:solidFill>
              <a:srgbClr val="B4B4B4"/>
            </a:solidFill>
            <a:ln w="12700" cap="rnd">
              <a:solidFill>
                <a:schemeClr val="bg1"/>
              </a:solidFill>
              <a:round/>
              <a:headEnd/>
              <a:tailEnd/>
            </a:ln>
            <a:effectLst/>
          </p:spPr>
          <p:txBody>
            <a:bodyPr/>
            <a:lstStyle/>
            <a:p>
              <a:pPr defTabSz="685800">
                <a:buClrTx/>
                <a:defRPr/>
              </a:pPr>
              <a:endParaRPr lang="en-US" sz="1350" kern="1200" dirty="0">
                <a:solidFill>
                  <a:prstClr val="black"/>
                </a:solidFill>
                <a:ea typeface="+mn-ea"/>
                <a:cs typeface="+mn-cs"/>
              </a:endParaRPr>
            </a:p>
          </p:txBody>
        </p:sp>
        <p:sp>
          <p:nvSpPr>
            <p:cNvPr id="366617" name="Freeform 13"/>
            <p:cNvSpPr>
              <a:spLocks/>
            </p:cNvSpPr>
            <p:nvPr/>
          </p:nvSpPr>
          <p:spPr bwMode="auto">
            <a:xfrm>
              <a:off x="2005" y="2004"/>
              <a:ext cx="967" cy="959"/>
            </a:xfrm>
            <a:custGeom>
              <a:avLst/>
              <a:gdLst>
                <a:gd name="T0" fmla="*/ 0 w 535"/>
                <a:gd name="T1" fmla="*/ 0 h 590"/>
                <a:gd name="T2" fmla="*/ 398 w 535"/>
                <a:gd name="T3" fmla="*/ 358 h 590"/>
                <a:gd name="T4" fmla="*/ 407 w 535"/>
                <a:gd name="T5" fmla="*/ 920 h 590"/>
                <a:gd name="T6" fmla="*/ 414 w 535"/>
                <a:gd name="T7" fmla="*/ 930 h 590"/>
                <a:gd name="T8" fmla="*/ 423 w 535"/>
                <a:gd name="T9" fmla="*/ 938 h 590"/>
                <a:gd name="T10" fmla="*/ 430 w 535"/>
                <a:gd name="T11" fmla="*/ 944 h 590"/>
                <a:gd name="T12" fmla="*/ 443 w 535"/>
                <a:gd name="T13" fmla="*/ 951 h 590"/>
                <a:gd name="T14" fmla="*/ 465 w 535"/>
                <a:gd name="T15" fmla="*/ 956 h 590"/>
                <a:gd name="T16" fmla="*/ 484 w 535"/>
                <a:gd name="T17" fmla="*/ 959 h 590"/>
                <a:gd name="T18" fmla="*/ 499 w 535"/>
                <a:gd name="T19" fmla="*/ 957 h 590"/>
                <a:gd name="T20" fmla="*/ 515 w 535"/>
                <a:gd name="T21" fmla="*/ 956 h 590"/>
                <a:gd name="T22" fmla="*/ 531 w 535"/>
                <a:gd name="T23" fmla="*/ 949 h 590"/>
                <a:gd name="T24" fmla="*/ 544 w 535"/>
                <a:gd name="T25" fmla="*/ 939 h 590"/>
                <a:gd name="T26" fmla="*/ 553 w 535"/>
                <a:gd name="T27" fmla="*/ 926 h 590"/>
                <a:gd name="T28" fmla="*/ 559 w 535"/>
                <a:gd name="T29" fmla="*/ 920 h 590"/>
                <a:gd name="T30" fmla="*/ 582 w 535"/>
                <a:gd name="T31" fmla="*/ 354 h 590"/>
                <a:gd name="T32" fmla="*/ 967 w 535"/>
                <a:gd name="T33" fmla="*/ 0 h 590"/>
                <a:gd name="T34" fmla="*/ 0 w 535"/>
                <a:gd name="T35" fmla="*/ 0 h 59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35"/>
                <a:gd name="T55" fmla="*/ 0 h 590"/>
                <a:gd name="T56" fmla="*/ 535 w 535"/>
                <a:gd name="T57" fmla="*/ 590 h 59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35" h="590">
                  <a:moveTo>
                    <a:pt x="0" y="0"/>
                  </a:moveTo>
                  <a:lnTo>
                    <a:pt x="220" y="220"/>
                  </a:lnTo>
                  <a:cubicBezTo>
                    <a:pt x="222" y="337"/>
                    <a:pt x="223" y="449"/>
                    <a:pt x="225" y="566"/>
                  </a:cubicBezTo>
                  <a:cubicBezTo>
                    <a:pt x="226" y="568"/>
                    <a:pt x="228" y="570"/>
                    <a:pt x="229" y="572"/>
                  </a:cubicBezTo>
                  <a:lnTo>
                    <a:pt x="234" y="577"/>
                  </a:lnTo>
                  <a:lnTo>
                    <a:pt x="238" y="581"/>
                  </a:lnTo>
                  <a:cubicBezTo>
                    <a:pt x="240" y="582"/>
                    <a:pt x="243" y="584"/>
                    <a:pt x="245" y="585"/>
                  </a:cubicBezTo>
                  <a:lnTo>
                    <a:pt x="257" y="588"/>
                  </a:lnTo>
                  <a:cubicBezTo>
                    <a:pt x="261" y="589"/>
                    <a:pt x="264" y="589"/>
                    <a:pt x="268" y="590"/>
                  </a:cubicBezTo>
                  <a:cubicBezTo>
                    <a:pt x="271" y="590"/>
                    <a:pt x="273" y="589"/>
                    <a:pt x="276" y="589"/>
                  </a:cubicBezTo>
                  <a:cubicBezTo>
                    <a:pt x="279" y="589"/>
                    <a:pt x="282" y="588"/>
                    <a:pt x="285" y="588"/>
                  </a:cubicBezTo>
                  <a:cubicBezTo>
                    <a:pt x="288" y="587"/>
                    <a:pt x="291" y="585"/>
                    <a:pt x="294" y="584"/>
                  </a:cubicBezTo>
                  <a:cubicBezTo>
                    <a:pt x="296" y="582"/>
                    <a:pt x="299" y="580"/>
                    <a:pt x="301" y="578"/>
                  </a:cubicBezTo>
                  <a:cubicBezTo>
                    <a:pt x="303" y="575"/>
                    <a:pt x="304" y="573"/>
                    <a:pt x="306" y="570"/>
                  </a:cubicBezTo>
                  <a:cubicBezTo>
                    <a:pt x="307" y="569"/>
                    <a:pt x="308" y="567"/>
                    <a:pt x="309" y="566"/>
                  </a:cubicBezTo>
                  <a:cubicBezTo>
                    <a:pt x="313" y="446"/>
                    <a:pt x="318" y="338"/>
                    <a:pt x="322" y="218"/>
                  </a:cubicBezTo>
                  <a:lnTo>
                    <a:pt x="535" y="0"/>
                  </a:lnTo>
                  <a:lnTo>
                    <a:pt x="0" y="0"/>
                  </a:lnTo>
                </a:path>
              </a:pathLst>
            </a:custGeom>
            <a:solidFill>
              <a:schemeClr val="accent2"/>
            </a:solidFill>
            <a:ln w="12700" cap="rnd">
              <a:solidFill>
                <a:schemeClr val="bg1"/>
              </a:solidFill>
              <a:round/>
              <a:headEnd/>
              <a:tailEnd/>
            </a:ln>
          </p:spPr>
          <p:txBody>
            <a:bodyPr/>
            <a:lstStyle/>
            <a:p>
              <a:pPr defTabSz="685800">
                <a:buClrTx/>
              </a:pPr>
              <a:endParaRPr lang="en-US" sz="1350" kern="1200">
                <a:solidFill>
                  <a:prstClr val="black"/>
                </a:solidFill>
                <a:ea typeface="+mn-ea"/>
                <a:cs typeface="+mn-cs"/>
              </a:endParaRPr>
            </a:p>
          </p:txBody>
        </p:sp>
      </p:grpSp>
      <p:grpSp>
        <p:nvGrpSpPr>
          <p:cNvPr id="366605" name="Group 52"/>
          <p:cNvGrpSpPr>
            <a:grpSpLocks/>
          </p:cNvGrpSpPr>
          <p:nvPr/>
        </p:nvGrpSpPr>
        <p:grpSpPr bwMode="auto">
          <a:xfrm>
            <a:off x="5904310" y="1714501"/>
            <a:ext cx="996553" cy="448865"/>
            <a:chOff x="6870856" y="2306970"/>
            <a:chExt cx="1439227" cy="598450"/>
          </a:xfrm>
          <a:solidFill>
            <a:schemeClr val="accent2"/>
          </a:solidFill>
        </p:grpSpPr>
        <p:sp>
          <p:nvSpPr>
            <p:cNvPr id="366613" name="AutoShape 22"/>
            <p:cNvSpPr>
              <a:spLocks noChangeArrowheads="1"/>
            </p:cNvSpPr>
            <p:nvPr>
              <p:custDataLst>
                <p:tags r:id="rId16"/>
              </p:custDataLst>
            </p:nvPr>
          </p:nvSpPr>
          <p:spPr bwMode="auto">
            <a:xfrm rot="16200000" flipH="1">
              <a:off x="7796693" y="2391735"/>
              <a:ext cx="598155" cy="428625"/>
            </a:xfrm>
            <a:prstGeom prst="rightArrow">
              <a:avLst>
                <a:gd name="adj1" fmla="val 50000"/>
                <a:gd name="adj2" fmla="val 30256"/>
              </a:avLst>
            </a:prstGeom>
            <a:grpFill/>
            <a:ln w="12700">
              <a:solidFill>
                <a:schemeClr val="bg1"/>
              </a:solidFill>
              <a:miter lim="800000"/>
              <a:headEnd/>
              <a:tailEnd/>
            </a:ln>
          </p:spPr>
          <p:txBody>
            <a:bodyPr wrap="none" anchor="ctr"/>
            <a:lstStyle/>
            <a:p>
              <a:pPr algn="ctr" defTabSz="685800">
                <a:buClrTx/>
              </a:pPr>
              <a:endParaRPr lang="en-US" sz="1350" kern="1200">
                <a:solidFill>
                  <a:prstClr val="black"/>
                </a:solidFill>
                <a:ea typeface="+mn-ea"/>
                <a:cs typeface="+mn-cs"/>
              </a:endParaRPr>
            </a:p>
          </p:txBody>
        </p:sp>
        <p:sp>
          <p:nvSpPr>
            <p:cNvPr id="366614" name="AutoShape 22"/>
            <p:cNvSpPr>
              <a:spLocks noChangeArrowheads="1"/>
            </p:cNvSpPr>
            <p:nvPr>
              <p:custDataLst>
                <p:tags r:id="rId17"/>
              </p:custDataLst>
            </p:nvPr>
          </p:nvSpPr>
          <p:spPr bwMode="auto">
            <a:xfrm rot="16200000" flipH="1">
              <a:off x="6786091" y="2392030"/>
              <a:ext cx="598155" cy="428625"/>
            </a:xfrm>
            <a:prstGeom prst="rightArrow">
              <a:avLst>
                <a:gd name="adj1" fmla="val 50000"/>
                <a:gd name="adj2" fmla="val 30256"/>
              </a:avLst>
            </a:prstGeom>
            <a:grpFill/>
            <a:ln w="12700">
              <a:solidFill>
                <a:schemeClr val="bg1"/>
              </a:solidFill>
              <a:miter lim="800000"/>
              <a:headEnd/>
              <a:tailEnd/>
            </a:ln>
          </p:spPr>
          <p:txBody>
            <a:bodyPr wrap="none" anchor="ctr"/>
            <a:lstStyle/>
            <a:p>
              <a:pPr algn="ctr" defTabSz="685800">
                <a:buClrTx/>
              </a:pPr>
              <a:endParaRPr lang="en-US" sz="1350" kern="1200">
                <a:solidFill>
                  <a:prstClr val="black"/>
                </a:solidFill>
                <a:ea typeface="+mn-ea"/>
                <a:cs typeface="+mn-cs"/>
              </a:endParaRPr>
            </a:p>
          </p:txBody>
        </p:sp>
        <p:sp>
          <p:nvSpPr>
            <p:cNvPr id="366615" name="AutoShape 22"/>
            <p:cNvSpPr>
              <a:spLocks noChangeArrowheads="1"/>
            </p:cNvSpPr>
            <p:nvPr>
              <p:custDataLst>
                <p:tags r:id="rId18"/>
              </p:custDataLst>
            </p:nvPr>
          </p:nvSpPr>
          <p:spPr bwMode="auto">
            <a:xfrm rot="16200000" flipH="1">
              <a:off x="7291392" y="2391735"/>
              <a:ext cx="598155" cy="428625"/>
            </a:xfrm>
            <a:prstGeom prst="rightArrow">
              <a:avLst>
                <a:gd name="adj1" fmla="val 50000"/>
                <a:gd name="adj2" fmla="val 30256"/>
              </a:avLst>
            </a:prstGeom>
            <a:grpFill/>
            <a:ln w="12700">
              <a:solidFill>
                <a:schemeClr val="bg1"/>
              </a:solidFill>
              <a:miter lim="800000"/>
              <a:headEnd/>
              <a:tailEnd/>
            </a:ln>
          </p:spPr>
          <p:txBody>
            <a:bodyPr wrap="none" anchor="ctr"/>
            <a:lstStyle/>
            <a:p>
              <a:pPr algn="ctr" defTabSz="685800">
                <a:buClrTx/>
              </a:pPr>
              <a:endParaRPr lang="en-US" sz="1350" kern="1200">
                <a:solidFill>
                  <a:prstClr val="black"/>
                </a:solidFill>
                <a:ea typeface="+mn-ea"/>
                <a:cs typeface="+mn-cs"/>
              </a:endParaRPr>
            </a:p>
          </p:txBody>
        </p:sp>
      </p:grpSp>
      <p:cxnSp>
        <p:nvCxnSpPr>
          <p:cNvPr id="43" name="Straight Connector 42"/>
          <p:cNvCxnSpPr/>
          <p:nvPr>
            <p:custDataLst>
              <p:tags r:id="rId11"/>
            </p:custDataLst>
          </p:nvPr>
        </p:nvCxnSpPr>
        <p:spPr>
          <a:xfrm flipV="1">
            <a:off x="5447110" y="2009775"/>
            <a:ext cx="191095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66607" name="Group 53"/>
          <p:cNvGrpSpPr>
            <a:grpSpLocks/>
          </p:cNvGrpSpPr>
          <p:nvPr/>
        </p:nvGrpSpPr>
        <p:grpSpPr bwMode="auto">
          <a:xfrm>
            <a:off x="6088857" y="2269332"/>
            <a:ext cx="626269" cy="448865"/>
            <a:chOff x="7137556" y="3046110"/>
            <a:chExt cx="904871" cy="598450"/>
          </a:xfrm>
          <a:solidFill>
            <a:schemeClr val="accent2"/>
          </a:solidFill>
        </p:grpSpPr>
        <p:sp>
          <p:nvSpPr>
            <p:cNvPr id="366611" name="AutoShape 22"/>
            <p:cNvSpPr>
              <a:spLocks noChangeArrowheads="1"/>
            </p:cNvSpPr>
            <p:nvPr>
              <p:custDataLst>
                <p:tags r:id="rId14"/>
              </p:custDataLst>
            </p:nvPr>
          </p:nvSpPr>
          <p:spPr bwMode="auto">
            <a:xfrm rot="16200000" flipH="1">
              <a:off x="7052791" y="3131170"/>
              <a:ext cx="598155" cy="428625"/>
            </a:xfrm>
            <a:prstGeom prst="rightArrow">
              <a:avLst>
                <a:gd name="adj1" fmla="val 50000"/>
                <a:gd name="adj2" fmla="val 30256"/>
              </a:avLst>
            </a:prstGeom>
            <a:grpFill/>
            <a:ln w="12700">
              <a:solidFill>
                <a:schemeClr val="bg1"/>
              </a:solidFill>
              <a:miter lim="800000"/>
              <a:headEnd/>
              <a:tailEnd/>
            </a:ln>
          </p:spPr>
          <p:txBody>
            <a:bodyPr wrap="none" anchor="ctr"/>
            <a:lstStyle/>
            <a:p>
              <a:pPr algn="ctr" defTabSz="685800">
                <a:buClrTx/>
              </a:pPr>
              <a:endParaRPr lang="en-US" sz="1350" kern="1200">
                <a:solidFill>
                  <a:prstClr val="black"/>
                </a:solidFill>
                <a:ea typeface="+mn-ea"/>
                <a:cs typeface="+mn-cs"/>
              </a:endParaRPr>
            </a:p>
          </p:txBody>
        </p:sp>
        <p:sp>
          <p:nvSpPr>
            <p:cNvPr id="366612" name="AutoShape 22"/>
            <p:cNvSpPr>
              <a:spLocks noChangeArrowheads="1"/>
            </p:cNvSpPr>
            <p:nvPr>
              <p:custDataLst>
                <p:tags r:id="rId15"/>
              </p:custDataLst>
            </p:nvPr>
          </p:nvSpPr>
          <p:spPr bwMode="auto">
            <a:xfrm rot="16200000" flipH="1">
              <a:off x="7529037" y="3130875"/>
              <a:ext cx="598155" cy="428625"/>
            </a:xfrm>
            <a:prstGeom prst="rightArrow">
              <a:avLst>
                <a:gd name="adj1" fmla="val 50000"/>
                <a:gd name="adj2" fmla="val 30256"/>
              </a:avLst>
            </a:prstGeom>
            <a:grpFill/>
            <a:ln w="12700">
              <a:solidFill>
                <a:schemeClr val="bg1"/>
              </a:solidFill>
              <a:miter lim="800000"/>
              <a:headEnd/>
              <a:tailEnd/>
            </a:ln>
          </p:spPr>
          <p:txBody>
            <a:bodyPr wrap="none" anchor="ctr"/>
            <a:lstStyle/>
            <a:p>
              <a:pPr algn="ctr" defTabSz="685800">
                <a:buClrTx/>
              </a:pPr>
              <a:endParaRPr lang="en-US" sz="1350" kern="1200">
                <a:solidFill>
                  <a:prstClr val="black"/>
                </a:solidFill>
                <a:ea typeface="+mn-ea"/>
                <a:cs typeface="+mn-cs"/>
              </a:endParaRPr>
            </a:p>
          </p:txBody>
        </p:sp>
      </p:grpSp>
      <p:cxnSp>
        <p:nvCxnSpPr>
          <p:cNvPr id="44" name="Straight Connector 43"/>
          <p:cNvCxnSpPr/>
          <p:nvPr/>
        </p:nvCxnSpPr>
        <p:spPr>
          <a:xfrm flipV="1">
            <a:off x="5704285" y="2559844"/>
            <a:ext cx="139660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66609" name="AutoShape 22"/>
          <p:cNvSpPr>
            <a:spLocks noChangeArrowheads="1"/>
          </p:cNvSpPr>
          <p:nvPr>
            <p:custDataLst>
              <p:tags r:id="rId12"/>
            </p:custDataLst>
          </p:nvPr>
        </p:nvSpPr>
        <p:spPr bwMode="auto">
          <a:xfrm rot="16200000" flipH="1">
            <a:off x="6178154" y="2905126"/>
            <a:ext cx="448865" cy="296465"/>
          </a:xfrm>
          <a:prstGeom prst="rightArrow">
            <a:avLst>
              <a:gd name="adj1" fmla="val 50000"/>
              <a:gd name="adj2" fmla="val 30302"/>
            </a:avLst>
          </a:prstGeom>
          <a:solidFill>
            <a:schemeClr val="accent2"/>
          </a:solidFill>
          <a:ln w="12700">
            <a:solidFill>
              <a:schemeClr val="bg1"/>
            </a:solidFill>
            <a:miter lim="800000"/>
            <a:headEnd/>
            <a:tailEnd/>
          </a:ln>
        </p:spPr>
        <p:txBody>
          <a:bodyPr wrap="none" anchor="ctr"/>
          <a:lstStyle/>
          <a:p>
            <a:pPr algn="ctr" defTabSz="685800">
              <a:buClrTx/>
            </a:pPr>
            <a:endParaRPr lang="en-US" sz="1350" kern="1200">
              <a:solidFill>
                <a:prstClr val="black"/>
              </a:solidFill>
              <a:ea typeface="+mn-ea"/>
              <a:cs typeface="+mn-cs"/>
            </a:endParaRPr>
          </a:p>
        </p:txBody>
      </p:sp>
      <p:cxnSp>
        <p:nvCxnSpPr>
          <p:cNvPr id="52" name="Straight Connector 51"/>
          <p:cNvCxnSpPr/>
          <p:nvPr>
            <p:custDataLst>
              <p:tags r:id="rId13"/>
            </p:custDataLst>
          </p:nvPr>
        </p:nvCxnSpPr>
        <p:spPr>
          <a:xfrm flipV="1">
            <a:off x="5957888" y="3108722"/>
            <a:ext cx="88463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2753" name="Title 1"/>
          <p:cNvSpPr>
            <a:spLocks noGrp="1"/>
          </p:cNvSpPr>
          <p:nvPr>
            <p:ph type="title"/>
          </p:nvPr>
        </p:nvSpPr>
        <p:spPr/>
        <p:txBody>
          <a:bodyPr/>
          <a:lstStyle/>
          <a:p>
            <a:r>
              <a:rPr lang="en-US" altLang="ja-JP" dirty="0"/>
              <a:t>Other </a:t>
            </a:r>
            <a:br>
              <a:rPr lang="en-US" altLang="ja-JP" dirty="0"/>
            </a:br>
            <a:r>
              <a:rPr lang="en-US" altLang="ja-JP" dirty="0">
                <a:solidFill>
                  <a:srgbClr val="575757"/>
                </a:solidFill>
              </a:rPr>
              <a:t>Spectrum</a:t>
            </a:r>
            <a:endParaRPr lang="en-US" dirty="0">
              <a:solidFill>
                <a:srgbClr val="575757"/>
              </a:solidFill>
            </a:endParaRPr>
          </a:p>
        </p:txBody>
      </p:sp>
      <p:sp>
        <p:nvSpPr>
          <p:cNvPr id="842762" name="Rectangle 10"/>
          <p:cNvSpPr>
            <a:spLocks noChangeArrowheads="1"/>
          </p:cNvSpPr>
          <p:nvPr/>
        </p:nvSpPr>
        <p:spPr bwMode="auto">
          <a:xfrm>
            <a:off x="1522810" y="3725466"/>
            <a:ext cx="741759" cy="216110"/>
          </a:xfrm>
          <a:prstGeom prst="rect">
            <a:avLst/>
          </a:prstGeom>
          <a:noFill/>
          <a:ln w="9525">
            <a:noFill/>
            <a:miter lim="800000"/>
            <a:headEnd/>
            <a:tailEnd/>
          </a:ln>
        </p:spPr>
        <p:txBody>
          <a:bodyPr lIns="27000" tIns="27000" rIns="27000" bIns="27000">
            <a:spAutoFit/>
          </a:bodyPr>
          <a:lstStyle/>
          <a:p>
            <a:pPr defTabSz="685800">
              <a:buClrTx/>
            </a:pPr>
            <a:r>
              <a:rPr lang="en-US" altLang="ja-JP" sz="1050" kern="1200">
                <a:solidFill>
                  <a:srgbClr val="313131"/>
                </a:solidFill>
                <a:ea typeface="ＭＳ Ｐゴシック" charset="-128"/>
                <a:cs typeface="+mn-cs"/>
              </a:rPr>
              <a:t>Low</a:t>
            </a:r>
          </a:p>
        </p:txBody>
      </p:sp>
      <p:sp>
        <p:nvSpPr>
          <p:cNvPr id="842763" name="Rectangle 11"/>
          <p:cNvSpPr>
            <a:spLocks noChangeArrowheads="1"/>
          </p:cNvSpPr>
          <p:nvPr/>
        </p:nvSpPr>
        <p:spPr bwMode="auto">
          <a:xfrm>
            <a:off x="7158038" y="3725466"/>
            <a:ext cx="554831" cy="216110"/>
          </a:xfrm>
          <a:prstGeom prst="rect">
            <a:avLst/>
          </a:prstGeom>
          <a:noFill/>
          <a:ln w="9525">
            <a:noFill/>
            <a:miter lim="800000"/>
            <a:headEnd/>
            <a:tailEnd/>
          </a:ln>
        </p:spPr>
        <p:txBody>
          <a:bodyPr lIns="27000" tIns="27000" rIns="27000" bIns="27000">
            <a:spAutoFit/>
          </a:bodyPr>
          <a:lstStyle/>
          <a:p>
            <a:pPr defTabSz="685800">
              <a:buClrTx/>
            </a:pPr>
            <a:r>
              <a:rPr lang="en-US" altLang="ja-JP" sz="1050" kern="1200" dirty="0">
                <a:solidFill>
                  <a:srgbClr val="313131"/>
                </a:solidFill>
                <a:ea typeface="ＭＳ Ｐゴシック" charset="-128"/>
                <a:cs typeface="+mn-cs"/>
              </a:rPr>
              <a:t>High</a:t>
            </a:r>
          </a:p>
        </p:txBody>
      </p:sp>
      <p:sp>
        <p:nvSpPr>
          <p:cNvPr id="4" name="Oval 3"/>
          <p:cNvSpPr>
            <a:spLocks noChangeArrowheads="1"/>
          </p:cNvSpPr>
          <p:nvPr/>
        </p:nvSpPr>
        <p:spPr bwMode="auto">
          <a:xfrm>
            <a:off x="1613297" y="2163366"/>
            <a:ext cx="851297" cy="978694"/>
          </a:xfrm>
          <a:prstGeom prst="ellipse">
            <a:avLst/>
          </a:prstGeom>
          <a:solidFill>
            <a:srgbClr val="B4B4B4"/>
          </a:solidFill>
          <a:ln w="12700">
            <a:solidFill>
              <a:schemeClr val="bg1"/>
            </a:solidFill>
            <a:round/>
            <a:headEnd/>
            <a:tailEnd/>
          </a:ln>
        </p:spPr>
        <p:txBody>
          <a:bodyPr wrap="none" lIns="27000" tIns="27000" rIns="27000" bIns="27000" anchor="ctr"/>
          <a:lstStyle/>
          <a:p>
            <a:pPr algn="ctr" defTabSz="685800">
              <a:buClrTx/>
              <a:defRPr/>
            </a:pPr>
            <a:r>
              <a:rPr lang="en-US" altLang="ja-JP" sz="1050" kern="1200" dirty="0">
                <a:solidFill>
                  <a:srgbClr val="313131"/>
                </a:solidFill>
                <a:ea typeface="ＭＳ Ｐゴシック" pitchFamily="50" charset="-128"/>
                <a:cs typeface="+mn-cs"/>
              </a:rPr>
              <a:t>Text</a:t>
            </a:r>
          </a:p>
        </p:txBody>
      </p:sp>
      <p:sp>
        <p:nvSpPr>
          <p:cNvPr id="5" name="Oval 4"/>
          <p:cNvSpPr>
            <a:spLocks noChangeArrowheads="1"/>
          </p:cNvSpPr>
          <p:nvPr/>
        </p:nvSpPr>
        <p:spPr bwMode="auto">
          <a:xfrm>
            <a:off x="2321719" y="2175273"/>
            <a:ext cx="851297" cy="977503"/>
          </a:xfrm>
          <a:prstGeom prst="ellipse">
            <a:avLst/>
          </a:prstGeom>
          <a:solidFill>
            <a:srgbClr val="B4B4B4"/>
          </a:solidFill>
          <a:ln w="12700">
            <a:solidFill>
              <a:schemeClr val="bg1"/>
            </a:solidFill>
            <a:round/>
            <a:headEnd/>
            <a:tailEnd/>
          </a:ln>
        </p:spPr>
        <p:txBody>
          <a:bodyPr wrap="none" lIns="27000" tIns="27000" rIns="27000" bIns="27000" anchor="ctr"/>
          <a:lstStyle/>
          <a:p>
            <a:pPr algn="ctr" defTabSz="685800">
              <a:buClrTx/>
              <a:defRPr/>
            </a:pPr>
            <a:r>
              <a:rPr lang="en-US" altLang="ja-JP" sz="1050" kern="1200">
                <a:solidFill>
                  <a:srgbClr val="313131"/>
                </a:solidFill>
                <a:ea typeface="ＭＳ Ｐゴシック" pitchFamily="50" charset="-128"/>
                <a:cs typeface="+mn-cs"/>
              </a:rPr>
              <a:t>Text</a:t>
            </a:r>
            <a:endParaRPr lang="en-US" altLang="ja-JP" sz="1050" kern="1200" dirty="0">
              <a:solidFill>
                <a:srgbClr val="313131"/>
              </a:solidFill>
              <a:ea typeface="ＭＳ Ｐゴシック" pitchFamily="50" charset="-128"/>
              <a:cs typeface="+mn-cs"/>
            </a:endParaRPr>
          </a:p>
        </p:txBody>
      </p:sp>
      <p:sp>
        <p:nvSpPr>
          <p:cNvPr id="6" name="Oval 5"/>
          <p:cNvSpPr>
            <a:spLocks noChangeArrowheads="1"/>
          </p:cNvSpPr>
          <p:nvPr/>
        </p:nvSpPr>
        <p:spPr bwMode="auto">
          <a:xfrm>
            <a:off x="2980135" y="1714500"/>
            <a:ext cx="852488" cy="978694"/>
          </a:xfrm>
          <a:prstGeom prst="ellipse">
            <a:avLst/>
          </a:prstGeom>
          <a:solidFill>
            <a:srgbClr val="8C8C8C"/>
          </a:solidFill>
          <a:ln w="12700">
            <a:solidFill>
              <a:schemeClr val="bg1"/>
            </a:solidFill>
            <a:round/>
            <a:headEnd/>
            <a:tailEnd/>
          </a:ln>
        </p:spPr>
        <p:txBody>
          <a:bodyPr wrap="none" lIns="27000" tIns="27000" rIns="27000" bIns="27000" anchor="ctr"/>
          <a:lstStyle/>
          <a:p>
            <a:pPr algn="ctr" defTabSz="685800">
              <a:buClrTx/>
              <a:defRPr/>
            </a:pPr>
            <a:r>
              <a:rPr lang="en-US" altLang="ja-JP"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
        <p:nvSpPr>
          <p:cNvPr id="7" name="Oval 6"/>
          <p:cNvSpPr>
            <a:spLocks noChangeArrowheads="1"/>
          </p:cNvSpPr>
          <p:nvPr/>
        </p:nvSpPr>
        <p:spPr bwMode="auto">
          <a:xfrm>
            <a:off x="3019426" y="2557463"/>
            <a:ext cx="851297" cy="978694"/>
          </a:xfrm>
          <a:prstGeom prst="ellipse">
            <a:avLst/>
          </a:prstGeom>
          <a:solidFill>
            <a:srgbClr val="8C8C8C"/>
          </a:solidFill>
          <a:ln w="12700">
            <a:solidFill>
              <a:schemeClr val="bg1"/>
            </a:solidFill>
            <a:round/>
            <a:headEnd/>
            <a:tailEnd/>
          </a:ln>
        </p:spPr>
        <p:txBody>
          <a:bodyPr wrap="none" lIns="27000" tIns="27000" rIns="27000" bIns="27000" anchor="ctr"/>
          <a:lstStyle/>
          <a:p>
            <a:pPr algn="ctr" defTabSz="685800">
              <a:buClrTx/>
              <a:defRPr/>
            </a:pPr>
            <a:r>
              <a:rPr lang="en-US" altLang="ja-JP"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
        <p:nvSpPr>
          <p:cNvPr id="8" name="Oval 7"/>
          <p:cNvSpPr>
            <a:spLocks noChangeArrowheads="1"/>
          </p:cNvSpPr>
          <p:nvPr/>
        </p:nvSpPr>
        <p:spPr bwMode="auto">
          <a:xfrm>
            <a:off x="3695700" y="1933575"/>
            <a:ext cx="1282304" cy="1471613"/>
          </a:xfrm>
          <a:prstGeom prst="ellipse">
            <a:avLst/>
          </a:prstGeom>
          <a:solidFill>
            <a:srgbClr val="575757"/>
          </a:solidFill>
          <a:ln w="12700">
            <a:solidFill>
              <a:schemeClr val="bg1"/>
            </a:solidFill>
            <a:round/>
            <a:headEnd/>
            <a:tailEnd/>
          </a:ln>
        </p:spPr>
        <p:txBody>
          <a:bodyPr wrap="none" lIns="27000" tIns="27000" rIns="27000" bIns="27000" anchor="ctr"/>
          <a:lstStyle/>
          <a:p>
            <a:pPr algn="ctr" defTabSz="685800">
              <a:buClrTx/>
              <a:defRPr/>
            </a:pPr>
            <a:r>
              <a:rPr lang="en-US" altLang="ja-JP"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
        <p:nvSpPr>
          <p:cNvPr id="9" name="Oval 8"/>
          <p:cNvSpPr>
            <a:spLocks noChangeArrowheads="1"/>
          </p:cNvSpPr>
          <p:nvPr/>
        </p:nvSpPr>
        <p:spPr bwMode="auto">
          <a:xfrm>
            <a:off x="4833937" y="1859757"/>
            <a:ext cx="1281113" cy="1470422"/>
          </a:xfrm>
          <a:prstGeom prst="ellipse">
            <a:avLst/>
          </a:prstGeom>
          <a:solidFill>
            <a:srgbClr val="575757"/>
          </a:solidFill>
          <a:ln w="12700">
            <a:solidFill>
              <a:schemeClr val="bg1"/>
            </a:solidFill>
            <a:round/>
            <a:headEnd/>
            <a:tailEnd/>
          </a:ln>
        </p:spPr>
        <p:txBody>
          <a:bodyPr wrap="none" lIns="27000" tIns="27000" rIns="27000" bIns="27000" anchor="ctr"/>
          <a:lstStyle/>
          <a:p>
            <a:pPr algn="ctr" defTabSz="685800">
              <a:buClrTx/>
              <a:defRPr/>
            </a:pPr>
            <a:endParaRPr lang="en-US" altLang="ja-JP" sz="1050" kern="1200">
              <a:solidFill>
                <a:prstClr val="white"/>
              </a:solidFill>
              <a:ea typeface="ＭＳ Ｐゴシック" pitchFamily="50" charset="-128"/>
              <a:cs typeface="+mn-cs"/>
            </a:endParaRPr>
          </a:p>
          <a:p>
            <a:pPr algn="ctr" defTabSz="685800">
              <a:buClrTx/>
              <a:defRPr/>
            </a:pPr>
            <a:r>
              <a:rPr lang="en-US" altLang="ja-JP"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
        <p:nvSpPr>
          <p:cNvPr id="10" name="Oval 9"/>
          <p:cNvSpPr>
            <a:spLocks noChangeArrowheads="1"/>
          </p:cNvSpPr>
          <p:nvPr/>
        </p:nvSpPr>
        <p:spPr bwMode="auto">
          <a:xfrm>
            <a:off x="5950744" y="1893094"/>
            <a:ext cx="1282304" cy="1470422"/>
          </a:xfrm>
          <a:prstGeom prst="ellipse">
            <a:avLst/>
          </a:prstGeom>
          <a:solidFill>
            <a:srgbClr val="00A1DE"/>
          </a:solidFill>
          <a:ln w="12700">
            <a:solidFill>
              <a:schemeClr val="bg1"/>
            </a:solidFill>
            <a:round/>
            <a:headEnd/>
            <a:tailEnd/>
          </a:ln>
        </p:spPr>
        <p:txBody>
          <a:bodyPr wrap="none" lIns="27000" tIns="27000" rIns="27000" bIns="27000" anchor="ctr"/>
          <a:lstStyle/>
          <a:p>
            <a:pPr algn="ctr" defTabSz="685800">
              <a:buClrTx/>
              <a:defRPr/>
            </a:pPr>
            <a:r>
              <a:rPr lang="en-US" altLang="ja-JP"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
        <p:nvSpPr>
          <p:cNvPr id="842764" name="Line 12"/>
          <p:cNvSpPr>
            <a:spLocks noChangeShapeType="1"/>
          </p:cNvSpPr>
          <p:nvPr/>
        </p:nvSpPr>
        <p:spPr bwMode="auto">
          <a:xfrm>
            <a:off x="1858566" y="2778919"/>
            <a:ext cx="4913709" cy="0"/>
          </a:xfrm>
          <a:prstGeom prst="line">
            <a:avLst/>
          </a:prstGeom>
          <a:noFill/>
          <a:ln w="38100">
            <a:solidFill>
              <a:schemeClr val="bg1"/>
            </a:solidFill>
            <a:round/>
            <a:headEnd type="none" w="med" len="med"/>
            <a:tailEnd type="triangle" w="med" len="med"/>
          </a:ln>
        </p:spPr>
        <p:txBody>
          <a:bodyPr wrap="none" lIns="27000" tIns="27000" rIns="27000" bIns="27000" anchor="ctr"/>
          <a:lstStyle/>
          <a:p>
            <a:pPr defTabSz="685800">
              <a:buClrTx/>
            </a:pPr>
            <a:endParaRPr lang="en-US" sz="1350" kern="1200">
              <a:solidFill>
                <a:prstClr val="black"/>
              </a:solidFill>
              <a:ea typeface="+mn-ea"/>
              <a:cs typeface="+mn-cs"/>
            </a:endParaRPr>
          </a:p>
        </p:txBody>
      </p:sp>
    </p:spTree>
  </p:cSld>
  <p:clrMapOvr>
    <a:masterClrMapping/>
  </p:clrMapOvr>
  <p:transition>
    <p:fade/>
  </p:transition>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3777" name="Title 1"/>
          <p:cNvSpPr>
            <a:spLocks noGrp="1"/>
          </p:cNvSpPr>
          <p:nvPr>
            <p:ph type="title"/>
          </p:nvPr>
        </p:nvSpPr>
        <p:spPr/>
        <p:txBody>
          <a:bodyPr/>
          <a:lstStyle/>
          <a:p>
            <a:r>
              <a:rPr lang="en-US" altLang="ja-JP" dirty="0"/>
              <a:t>Other </a:t>
            </a:r>
            <a:br>
              <a:rPr lang="en-US" altLang="ja-JP" dirty="0"/>
            </a:br>
            <a:r>
              <a:rPr lang="en-US" altLang="ja-JP" dirty="0">
                <a:solidFill>
                  <a:srgbClr val="575757"/>
                </a:solidFill>
              </a:rPr>
              <a:t>T</a:t>
            </a:r>
            <a:r>
              <a:rPr lang="en-US" dirty="0">
                <a:solidFill>
                  <a:srgbClr val="575757"/>
                </a:solidFill>
              </a:rPr>
              <a:t>hermometers</a:t>
            </a:r>
          </a:p>
        </p:txBody>
      </p:sp>
      <p:sp>
        <p:nvSpPr>
          <p:cNvPr id="14" name="Line 3"/>
          <p:cNvSpPr>
            <a:spLocks noChangeShapeType="1"/>
          </p:cNvSpPr>
          <p:nvPr/>
        </p:nvSpPr>
        <p:spPr bwMode="auto">
          <a:xfrm flipH="1">
            <a:off x="2605088" y="2193131"/>
            <a:ext cx="198835" cy="0"/>
          </a:xfrm>
          <a:prstGeom prst="line">
            <a:avLst/>
          </a:prstGeom>
          <a:noFill/>
          <a:ln w="19050">
            <a:solidFill>
              <a:schemeClr val="accent1"/>
            </a:solidFill>
            <a:round/>
            <a:headEnd type="triangle" w="med" len="med"/>
            <a:tailEnd/>
          </a:ln>
        </p:spPr>
        <p:txBody>
          <a:bodyPr wrap="none" anchor="ctr"/>
          <a:lstStyle/>
          <a:p>
            <a:pPr defTabSz="685800">
              <a:buClrTx/>
              <a:defRPr/>
            </a:pPr>
            <a:endParaRPr lang="en-US" sz="1050" kern="1200" dirty="0">
              <a:solidFill>
                <a:prstClr val="black"/>
              </a:solidFill>
              <a:ea typeface="+mn-ea"/>
              <a:cs typeface="+mn-cs"/>
            </a:endParaRPr>
          </a:p>
        </p:txBody>
      </p:sp>
      <p:sp>
        <p:nvSpPr>
          <p:cNvPr id="15" name="Line 4"/>
          <p:cNvSpPr>
            <a:spLocks noChangeShapeType="1"/>
          </p:cNvSpPr>
          <p:nvPr/>
        </p:nvSpPr>
        <p:spPr bwMode="auto">
          <a:xfrm flipH="1">
            <a:off x="2605088" y="2583656"/>
            <a:ext cx="198835" cy="0"/>
          </a:xfrm>
          <a:prstGeom prst="line">
            <a:avLst/>
          </a:prstGeom>
          <a:noFill/>
          <a:ln w="19050">
            <a:solidFill>
              <a:schemeClr val="accent1"/>
            </a:solidFill>
            <a:round/>
            <a:headEnd type="triangle" w="med" len="med"/>
            <a:tailEnd/>
          </a:ln>
        </p:spPr>
        <p:txBody>
          <a:bodyPr wrap="none" anchor="ctr"/>
          <a:lstStyle/>
          <a:p>
            <a:pPr defTabSz="685800">
              <a:buClrTx/>
              <a:defRPr/>
            </a:pPr>
            <a:endParaRPr lang="en-US" sz="1050" kern="1200" dirty="0">
              <a:solidFill>
                <a:prstClr val="black"/>
              </a:solidFill>
              <a:ea typeface="+mn-ea"/>
              <a:cs typeface="+mn-cs"/>
            </a:endParaRPr>
          </a:p>
        </p:txBody>
      </p:sp>
      <p:sp>
        <p:nvSpPr>
          <p:cNvPr id="16" name="Line 5"/>
          <p:cNvSpPr>
            <a:spLocks noChangeShapeType="1"/>
          </p:cNvSpPr>
          <p:nvPr/>
        </p:nvSpPr>
        <p:spPr bwMode="auto">
          <a:xfrm flipH="1">
            <a:off x="2605088" y="2851547"/>
            <a:ext cx="198835" cy="0"/>
          </a:xfrm>
          <a:prstGeom prst="line">
            <a:avLst/>
          </a:prstGeom>
          <a:noFill/>
          <a:ln w="19050">
            <a:solidFill>
              <a:schemeClr val="accent1"/>
            </a:solidFill>
            <a:round/>
            <a:headEnd type="triangle" w="med" len="med"/>
            <a:tailEnd/>
          </a:ln>
        </p:spPr>
        <p:txBody>
          <a:bodyPr wrap="none" anchor="ctr"/>
          <a:lstStyle/>
          <a:p>
            <a:pPr defTabSz="685800">
              <a:buClrTx/>
              <a:defRPr/>
            </a:pPr>
            <a:endParaRPr lang="en-US" sz="1050" kern="1200" dirty="0">
              <a:solidFill>
                <a:prstClr val="black"/>
              </a:solidFill>
              <a:ea typeface="+mn-ea"/>
              <a:cs typeface="+mn-cs"/>
            </a:endParaRPr>
          </a:p>
        </p:txBody>
      </p:sp>
      <p:sp>
        <p:nvSpPr>
          <p:cNvPr id="17" name="Line 6"/>
          <p:cNvSpPr>
            <a:spLocks noChangeShapeType="1"/>
          </p:cNvSpPr>
          <p:nvPr/>
        </p:nvSpPr>
        <p:spPr bwMode="auto">
          <a:xfrm flipH="1">
            <a:off x="2605088" y="3208735"/>
            <a:ext cx="198835" cy="0"/>
          </a:xfrm>
          <a:prstGeom prst="line">
            <a:avLst/>
          </a:prstGeom>
          <a:noFill/>
          <a:ln w="19050">
            <a:solidFill>
              <a:schemeClr val="accent1"/>
            </a:solidFill>
            <a:round/>
            <a:headEnd type="triangle" w="med" len="med"/>
            <a:tailEnd/>
          </a:ln>
        </p:spPr>
        <p:txBody>
          <a:bodyPr wrap="none" anchor="ctr"/>
          <a:lstStyle/>
          <a:p>
            <a:pPr defTabSz="685800">
              <a:buClrTx/>
              <a:defRPr/>
            </a:pPr>
            <a:endParaRPr lang="en-US" sz="1050" kern="1200" dirty="0">
              <a:solidFill>
                <a:prstClr val="black"/>
              </a:solidFill>
              <a:ea typeface="+mn-ea"/>
              <a:cs typeface="+mn-cs"/>
            </a:endParaRPr>
          </a:p>
        </p:txBody>
      </p:sp>
      <p:sp>
        <p:nvSpPr>
          <p:cNvPr id="18" name="Line 7"/>
          <p:cNvSpPr>
            <a:spLocks noChangeShapeType="1"/>
          </p:cNvSpPr>
          <p:nvPr/>
        </p:nvSpPr>
        <p:spPr bwMode="auto">
          <a:xfrm>
            <a:off x="3115867" y="3219450"/>
            <a:ext cx="372665" cy="0"/>
          </a:xfrm>
          <a:prstGeom prst="line">
            <a:avLst/>
          </a:prstGeom>
          <a:noFill/>
          <a:ln w="19050">
            <a:solidFill>
              <a:srgbClr val="575757"/>
            </a:solidFill>
            <a:round/>
            <a:headEnd type="triangle" w="med" len="med"/>
            <a:tailEnd/>
          </a:ln>
        </p:spPr>
        <p:txBody>
          <a:bodyPr wrap="none" anchor="ctr"/>
          <a:lstStyle/>
          <a:p>
            <a:pPr defTabSz="685800">
              <a:buClrTx/>
              <a:defRPr/>
            </a:pPr>
            <a:endParaRPr lang="en-US" sz="1050" kern="1200" dirty="0">
              <a:solidFill>
                <a:prstClr val="black"/>
              </a:solidFill>
              <a:ea typeface="+mn-ea"/>
              <a:cs typeface="+mn-cs"/>
            </a:endParaRPr>
          </a:p>
        </p:txBody>
      </p:sp>
      <p:sp>
        <p:nvSpPr>
          <p:cNvPr id="19" name="Line 8"/>
          <p:cNvSpPr>
            <a:spLocks noChangeShapeType="1"/>
          </p:cNvSpPr>
          <p:nvPr/>
        </p:nvSpPr>
        <p:spPr bwMode="auto">
          <a:xfrm>
            <a:off x="3115867" y="2753916"/>
            <a:ext cx="372665" cy="0"/>
          </a:xfrm>
          <a:prstGeom prst="line">
            <a:avLst/>
          </a:prstGeom>
          <a:noFill/>
          <a:ln w="19050">
            <a:solidFill>
              <a:srgbClr val="575757"/>
            </a:solidFill>
            <a:round/>
            <a:headEnd type="triangle" w="med" len="med"/>
            <a:tailEnd/>
          </a:ln>
        </p:spPr>
        <p:txBody>
          <a:bodyPr wrap="none" anchor="ctr"/>
          <a:lstStyle/>
          <a:p>
            <a:pPr defTabSz="685800">
              <a:buClrTx/>
              <a:defRPr/>
            </a:pPr>
            <a:endParaRPr lang="en-US" sz="1050" kern="1200" dirty="0">
              <a:solidFill>
                <a:prstClr val="black"/>
              </a:solidFill>
              <a:ea typeface="+mn-ea"/>
              <a:cs typeface="+mn-cs"/>
            </a:endParaRPr>
          </a:p>
        </p:txBody>
      </p:sp>
      <p:sp>
        <p:nvSpPr>
          <p:cNvPr id="20" name="Rectangle 9"/>
          <p:cNvSpPr>
            <a:spLocks noChangeArrowheads="1"/>
          </p:cNvSpPr>
          <p:nvPr/>
        </p:nvSpPr>
        <p:spPr bwMode="auto">
          <a:xfrm>
            <a:off x="2820591" y="1414463"/>
            <a:ext cx="244078" cy="2889647"/>
          </a:xfrm>
          <a:prstGeom prst="rect">
            <a:avLst/>
          </a:prstGeom>
          <a:solidFill>
            <a:schemeClr val="bg1"/>
          </a:solidFill>
          <a:ln w="12700">
            <a:solidFill>
              <a:schemeClr val="accent1"/>
            </a:solidFill>
            <a:miter lim="800000"/>
            <a:headEnd/>
            <a:tailEnd/>
          </a:ln>
        </p:spPr>
        <p:txBody>
          <a:bodyPr wrap="none" anchor="ctr"/>
          <a:lstStyle/>
          <a:p>
            <a:pPr algn="ctr" defTabSz="685800">
              <a:buClrTx/>
              <a:defRPr/>
            </a:pPr>
            <a:endParaRPr lang="en-US" sz="1050" kern="1200" dirty="0">
              <a:solidFill>
                <a:prstClr val="black"/>
              </a:solidFill>
              <a:ea typeface="+mn-ea"/>
              <a:cs typeface="+mn-cs"/>
            </a:endParaRPr>
          </a:p>
        </p:txBody>
      </p:sp>
      <p:sp>
        <p:nvSpPr>
          <p:cNvPr id="21" name="Rectangle 10"/>
          <p:cNvSpPr>
            <a:spLocks noChangeArrowheads="1"/>
          </p:cNvSpPr>
          <p:nvPr/>
        </p:nvSpPr>
        <p:spPr bwMode="auto">
          <a:xfrm>
            <a:off x="2820591" y="2753916"/>
            <a:ext cx="244078" cy="1628775"/>
          </a:xfrm>
          <a:prstGeom prst="rect">
            <a:avLst/>
          </a:prstGeom>
          <a:solidFill>
            <a:schemeClr val="accent1"/>
          </a:solidFill>
          <a:ln w="12700">
            <a:solidFill>
              <a:schemeClr val="accent1"/>
            </a:solidFill>
            <a:miter lim="800000"/>
            <a:headEnd/>
            <a:tailEnd/>
          </a:ln>
        </p:spPr>
        <p:txBody>
          <a:bodyPr wrap="none" anchor="ctr"/>
          <a:lstStyle/>
          <a:p>
            <a:pPr algn="ctr" defTabSz="685800">
              <a:buClrTx/>
              <a:defRPr/>
            </a:pPr>
            <a:endParaRPr lang="en-US" sz="1050" kern="1200" dirty="0">
              <a:solidFill>
                <a:prstClr val="black"/>
              </a:solidFill>
              <a:ea typeface="+mn-ea"/>
              <a:cs typeface="+mn-cs"/>
            </a:endParaRPr>
          </a:p>
        </p:txBody>
      </p:sp>
      <p:grpSp>
        <p:nvGrpSpPr>
          <p:cNvPr id="843787" name="Group 11"/>
          <p:cNvGrpSpPr>
            <a:grpSpLocks/>
          </p:cNvGrpSpPr>
          <p:nvPr/>
        </p:nvGrpSpPr>
        <p:grpSpPr bwMode="auto">
          <a:xfrm>
            <a:off x="2820591" y="1754982"/>
            <a:ext cx="244078" cy="2127647"/>
            <a:chOff x="1467" y="3045073"/>
            <a:chExt cx="159" cy="2836863"/>
          </a:xfrm>
        </p:grpSpPr>
        <p:sp>
          <p:nvSpPr>
            <p:cNvPr id="843829" name="Line 12"/>
            <p:cNvSpPr>
              <a:spLocks noChangeShapeType="1"/>
            </p:cNvSpPr>
            <p:nvPr/>
          </p:nvSpPr>
          <p:spPr bwMode="auto">
            <a:xfrm>
              <a:off x="1467" y="4621521"/>
              <a:ext cx="159" cy="0"/>
            </a:xfrm>
            <a:prstGeom prst="line">
              <a:avLst/>
            </a:prstGeom>
            <a:noFill/>
            <a:ln w="12700">
              <a:solidFill>
                <a:schemeClr val="accent1">
                  <a:lumMod val="60000"/>
                  <a:lumOff val="40000"/>
                </a:schemeClr>
              </a:solidFill>
              <a:prstDash val="sysDot"/>
              <a:round/>
              <a:headEnd/>
              <a:tailEnd/>
            </a:ln>
          </p:spPr>
          <p:txBody>
            <a:bodyPr wrap="none" anchor="ctr"/>
            <a:lstStyle/>
            <a:p>
              <a:pPr defTabSz="685800">
                <a:buClrTx/>
              </a:pPr>
              <a:endParaRPr lang="en-US" sz="1350" kern="1200">
                <a:solidFill>
                  <a:prstClr val="black"/>
                </a:solidFill>
                <a:ea typeface="+mn-ea"/>
                <a:cs typeface="+mn-cs"/>
              </a:endParaRPr>
            </a:p>
          </p:txBody>
        </p:sp>
        <p:sp>
          <p:nvSpPr>
            <p:cNvPr id="24" name="Line 13"/>
            <p:cNvSpPr>
              <a:spLocks noChangeShapeType="1"/>
            </p:cNvSpPr>
            <p:nvPr/>
          </p:nvSpPr>
          <p:spPr bwMode="auto">
            <a:xfrm>
              <a:off x="1467" y="4305488"/>
              <a:ext cx="159" cy="0"/>
            </a:xfrm>
            <a:prstGeom prst="line">
              <a:avLst/>
            </a:prstGeom>
            <a:noFill/>
            <a:ln w="12700">
              <a:solidFill>
                <a:schemeClr val="accent1">
                  <a:lumMod val="60000"/>
                  <a:lumOff val="40000"/>
                </a:schemeClr>
              </a:solidFill>
              <a:prstDash val="sysDot"/>
              <a:round/>
              <a:headEnd/>
              <a:tailEnd/>
            </a:ln>
          </p:spPr>
          <p:txBody>
            <a:bodyPr wrap="none" anchor="ctr"/>
            <a:lstStyle/>
            <a:p>
              <a:pPr defTabSz="685800">
                <a:buClrTx/>
                <a:defRPr/>
              </a:pPr>
              <a:endParaRPr lang="en-US" sz="1050" kern="1200" dirty="0">
                <a:solidFill>
                  <a:prstClr val="black"/>
                </a:solidFill>
                <a:ea typeface="+mn-ea"/>
                <a:cs typeface="+mn-cs"/>
              </a:endParaRPr>
            </a:p>
          </p:txBody>
        </p:sp>
        <p:sp>
          <p:nvSpPr>
            <p:cNvPr id="25" name="Line 14"/>
            <p:cNvSpPr>
              <a:spLocks noChangeShapeType="1"/>
            </p:cNvSpPr>
            <p:nvPr/>
          </p:nvSpPr>
          <p:spPr bwMode="auto">
            <a:xfrm>
              <a:off x="1467" y="3991314"/>
              <a:ext cx="159" cy="0"/>
            </a:xfrm>
            <a:prstGeom prst="line">
              <a:avLst/>
            </a:prstGeom>
            <a:noFill/>
            <a:ln w="12700">
              <a:solidFill>
                <a:schemeClr val="accent1">
                  <a:lumMod val="60000"/>
                  <a:lumOff val="40000"/>
                </a:schemeClr>
              </a:solidFill>
              <a:prstDash val="sysDot"/>
              <a:round/>
              <a:headEnd/>
              <a:tailEnd/>
            </a:ln>
          </p:spPr>
          <p:txBody>
            <a:bodyPr wrap="none" anchor="ctr"/>
            <a:lstStyle/>
            <a:p>
              <a:pPr defTabSz="685800">
                <a:buClrTx/>
                <a:defRPr/>
              </a:pPr>
              <a:endParaRPr lang="en-US" sz="1050" kern="1200" dirty="0">
                <a:solidFill>
                  <a:prstClr val="black"/>
                </a:solidFill>
                <a:ea typeface="+mn-ea"/>
                <a:cs typeface="+mn-cs"/>
              </a:endParaRPr>
            </a:p>
          </p:txBody>
        </p:sp>
        <p:sp>
          <p:nvSpPr>
            <p:cNvPr id="26" name="Line 15"/>
            <p:cNvSpPr>
              <a:spLocks noChangeShapeType="1"/>
            </p:cNvSpPr>
            <p:nvPr/>
          </p:nvSpPr>
          <p:spPr bwMode="auto">
            <a:xfrm>
              <a:off x="1467" y="3675280"/>
              <a:ext cx="159" cy="0"/>
            </a:xfrm>
            <a:prstGeom prst="line">
              <a:avLst/>
            </a:prstGeom>
            <a:noFill/>
            <a:ln w="12700">
              <a:solidFill>
                <a:schemeClr val="accent1">
                  <a:lumMod val="60000"/>
                  <a:lumOff val="40000"/>
                </a:schemeClr>
              </a:solidFill>
              <a:prstDash val="sysDot"/>
              <a:round/>
              <a:headEnd/>
              <a:tailEnd/>
            </a:ln>
          </p:spPr>
          <p:txBody>
            <a:bodyPr wrap="none" anchor="ctr"/>
            <a:lstStyle/>
            <a:p>
              <a:pPr defTabSz="685800">
                <a:buClrTx/>
                <a:defRPr/>
              </a:pPr>
              <a:endParaRPr lang="en-US" sz="1050" kern="1200" dirty="0">
                <a:solidFill>
                  <a:prstClr val="black"/>
                </a:solidFill>
                <a:ea typeface="+mn-ea"/>
                <a:cs typeface="+mn-cs"/>
              </a:endParaRPr>
            </a:p>
          </p:txBody>
        </p:sp>
        <p:sp>
          <p:nvSpPr>
            <p:cNvPr id="27" name="Line 16"/>
            <p:cNvSpPr>
              <a:spLocks noChangeShapeType="1"/>
            </p:cNvSpPr>
            <p:nvPr/>
          </p:nvSpPr>
          <p:spPr bwMode="auto">
            <a:xfrm>
              <a:off x="1467" y="3361106"/>
              <a:ext cx="159" cy="0"/>
            </a:xfrm>
            <a:prstGeom prst="line">
              <a:avLst/>
            </a:prstGeom>
            <a:noFill/>
            <a:ln w="12700">
              <a:solidFill>
                <a:schemeClr val="accent1">
                  <a:lumMod val="60000"/>
                  <a:lumOff val="40000"/>
                </a:schemeClr>
              </a:solidFill>
              <a:prstDash val="sysDot"/>
              <a:round/>
              <a:headEnd/>
              <a:tailEnd/>
            </a:ln>
          </p:spPr>
          <p:txBody>
            <a:bodyPr wrap="none" anchor="ctr"/>
            <a:lstStyle/>
            <a:p>
              <a:pPr defTabSz="685800">
                <a:buClrTx/>
                <a:defRPr/>
              </a:pPr>
              <a:endParaRPr lang="en-US" sz="1050" kern="1200" dirty="0">
                <a:solidFill>
                  <a:prstClr val="black"/>
                </a:solidFill>
                <a:ea typeface="+mn-ea"/>
                <a:cs typeface="+mn-cs"/>
              </a:endParaRPr>
            </a:p>
          </p:txBody>
        </p:sp>
        <p:sp>
          <p:nvSpPr>
            <p:cNvPr id="28" name="Line 17"/>
            <p:cNvSpPr>
              <a:spLocks noChangeShapeType="1"/>
            </p:cNvSpPr>
            <p:nvPr/>
          </p:nvSpPr>
          <p:spPr bwMode="auto">
            <a:xfrm>
              <a:off x="1467" y="3045073"/>
              <a:ext cx="159" cy="0"/>
            </a:xfrm>
            <a:prstGeom prst="line">
              <a:avLst/>
            </a:prstGeom>
            <a:noFill/>
            <a:ln w="12700">
              <a:solidFill>
                <a:schemeClr val="accent1">
                  <a:lumMod val="60000"/>
                  <a:lumOff val="40000"/>
                </a:schemeClr>
              </a:solidFill>
              <a:prstDash val="sysDot"/>
              <a:round/>
              <a:headEnd/>
              <a:tailEnd/>
            </a:ln>
          </p:spPr>
          <p:txBody>
            <a:bodyPr wrap="none" anchor="ctr"/>
            <a:lstStyle/>
            <a:p>
              <a:pPr defTabSz="685800">
                <a:buClrTx/>
                <a:defRPr/>
              </a:pPr>
              <a:endParaRPr lang="en-US" sz="1050" kern="1200" dirty="0">
                <a:solidFill>
                  <a:prstClr val="black"/>
                </a:solidFill>
                <a:ea typeface="+mn-ea"/>
                <a:cs typeface="+mn-cs"/>
              </a:endParaRPr>
            </a:p>
          </p:txBody>
        </p:sp>
        <p:sp>
          <p:nvSpPr>
            <p:cNvPr id="843835" name="Line 18"/>
            <p:cNvSpPr>
              <a:spLocks noChangeShapeType="1"/>
            </p:cNvSpPr>
            <p:nvPr/>
          </p:nvSpPr>
          <p:spPr bwMode="auto">
            <a:xfrm>
              <a:off x="1467" y="5881936"/>
              <a:ext cx="159" cy="0"/>
            </a:xfrm>
            <a:prstGeom prst="line">
              <a:avLst/>
            </a:prstGeom>
            <a:noFill/>
            <a:ln w="12700">
              <a:solidFill>
                <a:schemeClr val="accent1">
                  <a:lumMod val="60000"/>
                  <a:lumOff val="40000"/>
                </a:schemeClr>
              </a:solidFill>
              <a:prstDash val="sysDot"/>
              <a:round/>
              <a:headEnd/>
              <a:tailEnd/>
            </a:ln>
          </p:spPr>
          <p:txBody>
            <a:bodyPr wrap="none" anchor="ctr"/>
            <a:lstStyle/>
            <a:p>
              <a:pPr defTabSz="685800">
                <a:buClrTx/>
              </a:pPr>
              <a:endParaRPr lang="en-US" sz="1350" kern="1200">
                <a:solidFill>
                  <a:prstClr val="black"/>
                </a:solidFill>
                <a:ea typeface="+mn-ea"/>
                <a:cs typeface="+mn-cs"/>
              </a:endParaRPr>
            </a:p>
          </p:txBody>
        </p:sp>
        <p:sp>
          <p:nvSpPr>
            <p:cNvPr id="843836" name="Line 19"/>
            <p:cNvSpPr>
              <a:spLocks noChangeShapeType="1"/>
            </p:cNvSpPr>
            <p:nvPr/>
          </p:nvSpPr>
          <p:spPr bwMode="auto">
            <a:xfrm>
              <a:off x="1467" y="5567762"/>
              <a:ext cx="159" cy="0"/>
            </a:xfrm>
            <a:prstGeom prst="line">
              <a:avLst/>
            </a:prstGeom>
            <a:noFill/>
            <a:ln w="12700">
              <a:solidFill>
                <a:schemeClr val="accent1">
                  <a:lumMod val="60000"/>
                  <a:lumOff val="40000"/>
                </a:schemeClr>
              </a:solidFill>
              <a:prstDash val="sysDot"/>
              <a:round/>
              <a:headEnd/>
              <a:tailEnd/>
            </a:ln>
          </p:spPr>
          <p:txBody>
            <a:bodyPr wrap="none" anchor="ctr"/>
            <a:lstStyle/>
            <a:p>
              <a:pPr defTabSz="685800">
                <a:buClrTx/>
              </a:pPr>
              <a:endParaRPr lang="en-US" sz="1350" kern="1200">
                <a:solidFill>
                  <a:prstClr val="black"/>
                </a:solidFill>
                <a:ea typeface="+mn-ea"/>
                <a:cs typeface="+mn-cs"/>
              </a:endParaRPr>
            </a:p>
          </p:txBody>
        </p:sp>
        <p:sp>
          <p:nvSpPr>
            <p:cNvPr id="843837" name="Line 20"/>
            <p:cNvSpPr>
              <a:spLocks noChangeShapeType="1"/>
            </p:cNvSpPr>
            <p:nvPr/>
          </p:nvSpPr>
          <p:spPr bwMode="auto">
            <a:xfrm>
              <a:off x="1467" y="5251729"/>
              <a:ext cx="159" cy="0"/>
            </a:xfrm>
            <a:prstGeom prst="line">
              <a:avLst/>
            </a:prstGeom>
            <a:noFill/>
            <a:ln w="12700">
              <a:solidFill>
                <a:schemeClr val="accent1">
                  <a:lumMod val="60000"/>
                  <a:lumOff val="40000"/>
                </a:schemeClr>
              </a:solidFill>
              <a:prstDash val="sysDot"/>
              <a:round/>
              <a:headEnd/>
              <a:tailEnd/>
            </a:ln>
          </p:spPr>
          <p:txBody>
            <a:bodyPr wrap="none" anchor="ctr"/>
            <a:lstStyle/>
            <a:p>
              <a:pPr defTabSz="685800">
                <a:buClrTx/>
              </a:pPr>
              <a:endParaRPr lang="en-US" sz="1350" kern="1200">
                <a:solidFill>
                  <a:prstClr val="black"/>
                </a:solidFill>
                <a:ea typeface="+mn-ea"/>
                <a:cs typeface="+mn-cs"/>
              </a:endParaRPr>
            </a:p>
          </p:txBody>
        </p:sp>
        <p:sp>
          <p:nvSpPr>
            <p:cNvPr id="843838" name="Line 21"/>
            <p:cNvSpPr>
              <a:spLocks noChangeShapeType="1"/>
            </p:cNvSpPr>
            <p:nvPr/>
          </p:nvSpPr>
          <p:spPr bwMode="auto">
            <a:xfrm>
              <a:off x="1467" y="4937554"/>
              <a:ext cx="159" cy="0"/>
            </a:xfrm>
            <a:prstGeom prst="line">
              <a:avLst/>
            </a:prstGeom>
            <a:noFill/>
            <a:ln w="12700">
              <a:solidFill>
                <a:schemeClr val="accent1">
                  <a:lumMod val="60000"/>
                  <a:lumOff val="40000"/>
                </a:schemeClr>
              </a:solidFill>
              <a:prstDash val="sysDot"/>
              <a:round/>
              <a:headEnd/>
              <a:tailEnd/>
            </a:ln>
          </p:spPr>
          <p:txBody>
            <a:bodyPr wrap="none" anchor="ctr"/>
            <a:lstStyle/>
            <a:p>
              <a:pPr defTabSz="685800">
                <a:buClrTx/>
              </a:pPr>
              <a:endParaRPr lang="en-US" sz="1350" kern="1200">
                <a:solidFill>
                  <a:prstClr val="black"/>
                </a:solidFill>
                <a:ea typeface="+mn-ea"/>
                <a:cs typeface="+mn-cs"/>
              </a:endParaRPr>
            </a:p>
          </p:txBody>
        </p:sp>
      </p:grpSp>
      <p:sp>
        <p:nvSpPr>
          <p:cNvPr id="843788" name="Rectangle 22"/>
          <p:cNvSpPr>
            <a:spLocks noChangeArrowheads="1"/>
          </p:cNvSpPr>
          <p:nvPr/>
        </p:nvSpPr>
        <p:spPr bwMode="auto">
          <a:xfrm>
            <a:off x="5965606" y="1802606"/>
            <a:ext cx="118622" cy="120610"/>
          </a:xfrm>
          <a:prstGeom prst="rect">
            <a:avLst/>
          </a:prstGeom>
          <a:noFill/>
          <a:ln w="12700">
            <a:noFill/>
            <a:miter lim="800000"/>
            <a:headEnd/>
            <a:tailEnd/>
          </a:ln>
        </p:spPr>
        <p:txBody>
          <a:bodyPr wrap="none" lIns="0" tIns="0" rIns="0" bIns="0">
            <a:spAutoFit/>
          </a:bodyPr>
          <a:lstStyle/>
          <a:p>
            <a:pPr defTabSz="685800">
              <a:lnSpc>
                <a:spcPct val="95000"/>
              </a:lnSpc>
              <a:buClrTx/>
            </a:pPr>
            <a:r>
              <a:rPr lang="en-US" sz="825" kern="1200" dirty="0">
                <a:solidFill>
                  <a:srgbClr val="313131"/>
                </a:solidFill>
                <a:ea typeface="ＭＳ Ｐゴシック" charset="-128"/>
                <a:cs typeface="+mn-cs"/>
              </a:rPr>
              <a:t>10</a:t>
            </a:r>
          </a:p>
        </p:txBody>
      </p:sp>
      <p:sp>
        <p:nvSpPr>
          <p:cNvPr id="843789" name="Rectangle 23"/>
          <p:cNvSpPr>
            <a:spLocks noChangeArrowheads="1"/>
          </p:cNvSpPr>
          <p:nvPr/>
        </p:nvSpPr>
        <p:spPr bwMode="auto">
          <a:xfrm>
            <a:off x="5965606" y="2028825"/>
            <a:ext cx="59312" cy="120610"/>
          </a:xfrm>
          <a:prstGeom prst="rect">
            <a:avLst/>
          </a:prstGeom>
          <a:noFill/>
          <a:ln w="12700">
            <a:noFill/>
            <a:miter lim="800000"/>
            <a:headEnd/>
            <a:tailEnd/>
          </a:ln>
        </p:spPr>
        <p:txBody>
          <a:bodyPr wrap="none" lIns="0" tIns="0" rIns="0" bIns="0">
            <a:spAutoFit/>
          </a:bodyPr>
          <a:lstStyle/>
          <a:p>
            <a:pPr defTabSz="685800">
              <a:lnSpc>
                <a:spcPct val="95000"/>
              </a:lnSpc>
              <a:buClrTx/>
            </a:pPr>
            <a:r>
              <a:rPr lang="en-US" sz="825" kern="1200">
                <a:solidFill>
                  <a:srgbClr val="313131"/>
                </a:solidFill>
                <a:ea typeface="ＭＳ Ｐゴシック" charset="-128"/>
                <a:cs typeface="+mn-cs"/>
              </a:rPr>
              <a:t>9</a:t>
            </a:r>
          </a:p>
        </p:txBody>
      </p:sp>
      <p:sp>
        <p:nvSpPr>
          <p:cNvPr id="843790" name="Rectangle 24"/>
          <p:cNvSpPr>
            <a:spLocks noChangeArrowheads="1"/>
          </p:cNvSpPr>
          <p:nvPr/>
        </p:nvSpPr>
        <p:spPr bwMode="auto">
          <a:xfrm>
            <a:off x="5965606" y="2268141"/>
            <a:ext cx="59312" cy="120610"/>
          </a:xfrm>
          <a:prstGeom prst="rect">
            <a:avLst/>
          </a:prstGeom>
          <a:noFill/>
          <a:ln w="12700">
            <a:noFill/>
            <a:miter lim="800000"/>
            <a:headEnd/>
            <a:tailEnd/>
          </a:ln>
        </p:spPr>
        <p:txBody>
          <a:bodyPr wrap="none" lIns="0" tIns="0" rIns="0" bIns="0">
            <a:spAutoFit/>
          </a:bodyPr>
          <a:lstStyle/>
          <a:p>
            <a:pPr defTabSz="685800">
              <a:lnSpc>
                <a:spcPct val="95000"/>
              </a:lnSpc>
              <a:buClrTx/>
            </a:pPr>
            <a:r>
              <a:rPr lang="en-US" sz="825" kern="1200">
                <a:solidFill>
                  <a:srgbClr val="313131"/>
                </a:solidFill>
                <a:ea typeface="ＭＳ Ｐゴシック" charset="-128"/>
                <a:cs typeface="+mn-cs"/>
              </a:rPr>
              <a:t>8</a:t>
            </a:r>
          </a:p>
        </p:txBody>
      </p:sp>
      <p:sp>
        <p:nvSpPr>
          <p:cNvPr id="843791" name="Rectangle 25"/>
          <p:cNvSpPr>
            <a:spLocks noChangeArrowheads="1"/>
          </p:cNvSpPr>
          <p:nvPr/>
        </p:nvSpPr>
        <p:spPr bwMode="auto">
          <a:xfrm>
            <a:off x="5965606" y="2507456"/>
            <a:ext cx="59312" cy="120610"/>
          </a:xfrm>
          <a:prstGeom prst="rect">
            <a:avLst/>
          </a:prstGeom>
          <a:noFill/>
          <a:ln w="12700">
            <a:noFill/>
            <a:miter lim="800000"/>
            <a:headEnd/>
            <a:tailEnd/>
          </a:ln>
        </p:spPr>
        <p:txBody>
          <a:bodyPr wrap="none" lIns="0" tIns="0" rIns="0" bIns="0">
            <a:spAutoFit/>
          </a:bodyPr>
          <a:lstStyle/>
          <a:p>
            <a:pPr defTabSz="685800">
              <a:lnSpc>
                <a:spcPct val="95000"/>
              </a:lnSpc>
              <a:buClrTx/>
            </a:pPr>
            <a:r>
              <a:rPr lang="en-US" sz="825" kern="1200">
                <a:solidFill>
                  <a:srgbClr val="313131"/>
                </a:solidFill>
                <a:ea typeface="ＭＳ Ｐゴシック" charset="-128"/>
                <a:cs typeface="+mn-cs"/>
              </a:rPr>
              <a:t>7</a:t>
            </a:r>
          </a:p>
        </p:txBody>
      </p:sp>
      <p:sp>
        <p:nvSpPr>
          <p:cNvPr id="843792" name="Rectangle 26"/>
          <p:cNvSpPr>
            <a:spLocks noChangeArrowheads="1"/>
          </p:cNvSpPr>
          <p:nvPr/>
        </p:nvSpPr>
        <p:spPr bwMode="auto">
          <a:xfrm>
            <a:off x="5965606" y="2745581"/>
            <a:ext cx="59312" cy="120610"/>
          </a:xfrm>
          <a:prstGeom prst="rect">
            <a:avLst/>
          </a:prstGeom>
          <a:noFill/>
          <a:ln w="12700">
            <a:noFill/>
            <a:miter lim="800000"/>
            <a:headEnd/>
            <a:tailEnd/>
          </a:ln>
        </p:spPr>
        <p:txBody>
          <a:bodyPr wrap="none" lIns="0" tIns="0" rIns="0" bIns="0">
            <a:spAutoFit/>
          </a:bodyPr>
          <a:lstStyle/>
          <a:p>
            <a:pPr defTabSz="685800">
              <a:lnSpc>
                <a:spcPct val="95000"/>
              </a:lnSpc>
              <a:buClrTx/>
            </a:pPr>
            <a:r>
              <a:rPr lang="en-US" sz="825" kern="1200">
                <a:solidFill>
                  <a:srgbClr val="313131"/>
                </a:solidFill>
                <a:ea typeface="ＭＳ Ｐゴシック" charset="-128"/>
                <a:cs typeface="+mn-cs"/>
              </a:rPr>
              <a:t>6</a:t>
            </a:r>
          </a:p>
        </p:txBody>
      </p:sp>
      <p:sp>
        <p:nvSpPr>
          <p:cNvPr id="843793" name="Rectangle 27"/>
          <p:cNvSpPr>
            <a:spLocks noChangeArrowheads="1"/>
          </p:cNvSpPr>
          <p:nvPr/>
        </p:nvSpPr>
        <p:spPr bwMode="auto">
          <a:xfrm>
            <a:off x="5965606" y="2984897"/>
            <a:ext cx="59312" cy="120610"/>
          </a:xfrm>
          <a:prstGeom prst="rect">
            <a:avLst/>
          </a:prstGeom>
          <a:noFill/>
          <a:ln w="12700">
            <a:noFill/>
            <a:miter lim="800000"/>
            <a:headEnd/>
            <a:tailEnd/>
          </a:ln>
        </p:spPr>
        <p:txBody>
          <a:bodyPr wrap="none" lIns="0" tIns="0" rIns="0" bIns="0">
            <a:spAutoFit/>
          </a:bodyPr>
          <a:lstStyle/>
          <a:p>
            <a:pPr defTabSz="685800">
              <a:lnSpc>
                <a:spcPct val="95000"/>
              </a:lnSpc>
              <a:buClrTx/>
            </a:pPr>
            <a:r>
              <a:rPr lang="en-US" sz="825" kern="1200">
                <a:solidFill>
                  <a:srgbClr val="313131"/>
                </a:solidFill>
                <a:ea typeface="ＭＳ Ｐゴシック" charset="-128"/>
                <a:cs typeface="+mn-cs"/>
              </a:rPr>
              <a:t>5</a:t>
            </a:r>
          </a:p>
        </p:txBody>
      </p:sp>
      <p:sp>
        <p:nvSpPr>
          <p:cNvPr id="843794" name="Rectangle 28"/>
          <p:cNvSpPr>
            <a:spLocks noChangeArrowheads="1"/>
          </p:cNvSpPr>
          <p:nvPr/>
        </p:nvSpPr>
        <p:spPr bwMode="auto">
          <a:xfrm>
            <a:off x="5965606" y="3224212"/>
            <a:ext cx="59312" cy="120610"/>
          </a:xfrm>
          <a:prstGeom prst="rect">
            <a:avLst/>
          </a:prstGeom>
          <a:noFill/>
          <a:ln w="12700">
            <a:noFill/>
            <a:miter lim="800000"/>
            <a:headEnd/>
            <a:tailEnd/>
          </a:ln>
        </p:spPr>
        <p:txBody>
          <a:bodyPr wrap="none" lIns="0" tIns="0" rIns="0" bIns="0">
            <a:spAutoFit/>
          </a:bodyPr>
          <a:lstStyle/>
          <a:p>
            <a:pPr defTabSz="685800">
              <a:lnSpc>
                <a:spcPct val="95000"/>
              </a:lnSpc>
              <a:buClrTx/>
            </a:pPr>
            <a:r>
              <a:rPr lang="en-US" sz="825" kern="1200">
                <a:solidFill>
                  <a:srgbClr val="313131"/>
                </a:solidFill>
                <a:ea typeface="ＭＳ Ｐゴシック" charset="-128"/>
                <a:cs typeface="+mn-cs"/>
              </a:rPr>
              <a:t>4</a:t>
            </a:r>
          </a:p>
        </p:txBody>
      </p:sp>
      <p:sp>
        <p:nvSpPr>
          <p:cNvPr id="843795" name="Rectangle 29"/>
          <p:cNvSpPr>
            <a:spLocks noChangeArrowheads="1"/>
          </p:cNvSpPr>
          <p:nvPr/>
        </p:nvSpPr>
        <p:spPr bwMode="auto">
          <a:xfrm>
            <a:off x="5965606" y="3462337"/>
            <a:ext cx="59312" cy="120610"/>
          </a:xfrm>
          <a:prstGeom prst="rect">
            <a:avLst/>
          </a:prstGeom>
          <a:noFill/>
          <a:ln w="12700">
            <a:noFill/>
            <a:miter lim="800000"/>
            <a:headEnd/>
            <a:tailEnd/>
          </a:ln>
        </p:spPr>
        <p:txBody>
          <a:bodyPr wrap="none" lIns="0" tIns="0" rIns="0" bIns="0">
            <a:spAutoFit/>
          </a:bodyPr>
          <a:lstStyle/>
          <a:p>
            <a:pPr defTabSz="685800">
              <a:lnSpc>
                <a:spcPct val="95000"/>
              </a:lnSpc>
              <a:buClrTx/>
            </a:pPr>
            <a:r>
              <a:rPr lang="en-US" sz="825" kern="1200">
                <a:solidFill>
                  <a:srgbClr val="313131"/>
                </a:solidFill>
                <a:ea typeface="ＭＳ Ｐゴシック" charset="-128"/>
                <a:cs typeface="+mn-cs"/>
              </a:rPr>
              <a:t>3</a:t>
            </a:r>
          </a:p>
        </p:txBody>
      </p:sp>
      <p:sp>
        <p:nvSpPr>
          <p:cNvPr id="843796" name="Rectangle 30"/>
          <p:cNvSpPr>
            <a:spLocks noChangeArrowheads="1"/>
          </p:cNvSpPr>
          <p:nvPr/>
        </p:nvSpPr>
        <p:spPr bwMode="auto">
          <a:xfrm>
            <a:off x="5965606" y="3701653"/>
            <a:ext cx="59312" cy="120610"/>
          </a:xfrm>
          <a:prstGeom prst="rect">
            <a:avLst/>
          </a:prstGeom>
          <a:noFill/>
          <a:ln w="12700">
            <a:noFill/>
            <a:miter lim="800000"/>
            <a:headEnd/>
            <a:tailEnd/>
          </a:ln>
        </p:spPr>
        <p:txBody>
          <a:bodyPr wrap="none" lIns="0" tIns="0" rIns="0" bIns="0">
            <a:spAutoFit/>
          </a:bodyPr>
          <a:lstStyle/>
          <a:p>
            <a:pPr defTabSz="685800">
              <a:lnSpc>
                <a:spcPct val="95000"/>
              </a:lnSpc>
              <a:buClrTx/>
            </a:pPr>
            <a:r>
              <a:rPr lang="en-US" sz="825" kern="1200">
                <a:solidFill>
                  <a:srgbClr val="313131"/>
                </a:solidFill>
                <a:ea typeface="ＭＳ Ｐゴシック" charset="-128"/>
                <a:cs typeface="+mn-cs"/>
              </a:rPr>
              <a:t>2</a:t>
            </a:r>
          </a:p>
        </p:txBody>
      </p:sp>
      <p:sp>
        <p:nvSpPr>
          <p:cNvPr id="843797" name="Rectangle 31"/>
          <p:cNvSpPr>
            <a:spLocks noChangeArrowheads="1"/>
          </p:cNvSpPr>
          <p:nvPr/>
        </p:nvSpPr>
        <p:spPr bwMode="auto">
          <a:xfrm>
            <a:off x="5965606" y="3931444"/>
            <a:ext cx="59312" cy="120610"/>
          </a:xfrm>
          <a:prstGeom prst="rect">
            <a:avLst/>
          </a:prstGeom>
          <a:noFill/>
          <a:ln w="12700">
            <a:noFill/>
            <a:miter lim="800000"/>
            <a:headEnd/>
            <a:tailEnd/>
          </a:ln>
        </p:spPr>
        <p:txBody>
          <a:bodyPr wrap="none" lIns="0" tIns="0" rIns="0" bIns="0">
            <a:spAutoFit/>
          </a:bodyPr>
          <a:lstStyle/>
          <a:p>
            <a:pPr defTabSz="685800">
              <a:lnSpc>
                <a:spcPct val="95000"/>
              </a:lnSpc>
              <a:buClrTx/>
            </a:pPr>
            <a:r>
              <a:rPr lang="en-US" sz="825" kern="1200">
                <a:solidFill>
                  <a:srgbClr val="313131"/>
                </a:solidFill>
                <a:ea typeface="ＭＳ Ｐゴシック" charset="-128"/>
                <a:cs typeface="+mn-cs"/>
              </a:rPr>
              <a:t>1</a:t>
            </a:r>
          </a:p>
        </p:txBody>
      </p:sp>
      <p:sp>
        <p:nvSpPr>
          <p:cNvPr id="43" name="Rectangle 32"/>
          <p:cNvSpPr>
            <a:spLocks noChangeArrowheads="1"/>
          </p:cNvSpPr>
          <p:nvPr/>
        </p:nvSpPr>
        <p:spPr bwMode="auto">
          <a:xfrm>
            <a:off x="2883694" y="4260057"/>
            <a:ext cx="129779" cy="189310"/>
          </a:xfrm>
          <a:prstGeom prst="rect">
            <a:avLst/>
          </a:prstGeom>
          <a:solidFill>
            <a:schemeClr val="accent1"/>
          </a:solidFill>
          <a:ln w="12700">
            <a:solidFill>
              <a:schemeClr val="accent3"/>
            </a:solidFill>
            <a:miter lim="800000"/>
            <a:headEnd/>
            <a:tailEnd/>
          </a:ln>
        </p:spPr>
        <p:txBody>
          <a:bodyPr wrap="none" anchor="ctr"/>
          <a:lstStyle/>
          <a:p>
            <a:pPr algn="ctr" defTabSz="685800">
              <a:buClrTx/>
              <a:defRPr/>
            </a:pPr>
            <a:endParaRPr lang="en-US" sz="1050" kern="1200" dirty="0">
              <a:solidFill>
                <a:prstClr val="black"/>
              </a:solidFill>
              <a:ea typeface="+mn-ea"/>
              <a:cs typeface="+mn-cs"/>
            </a:endParaRPr>
          </a:p>
        </p:txBody>
      </p:sp>
      <p:sp>
        <p:nvSpPr>
          <p:cNvPr id="44" name="Rectangle 33"/>
          <p:cNvSpPr>
            <a:spLocks noChangeArrowheads="1"/>
          </p:cNvSpPr>
          <p:nvPr/>
        </p:nvSpPr>
        <p:spPr bwMode="auto">
          <a:xfrm>
            <a:off x="2883694" y="4293394"/>
            <a:ext cx="129779" cy="100013"/>
          </a:xfrm>
          <a:prstGeom prst="rect">
            <a:avLst/>
          </a:prstGeom>
          <a:solidFill>
            <a:schemeClr val="accent1"/>
          </a:solidFill>
          <a:ln w="12700">
            <a:solidFill>
              <a:schemeClr val="accent3"/>
            </a:solidFill>
            <a:miter lim="800000"/>
            <a:headEnd/>
            <a:tailEnd/>
          </a:ln>
        </p:spPr>
        <p:txBody>
          <a:bodyPr wrap="none" anchor="ctr"/>
          <a:lstStyle/>
          <a:p>
            <a:pPr algn="ctr" defTabSz="685800">
              <a:buClrTx/>
              <a:defRPr/>
            </a:pPr>
            <a:endParaRPr lang="en-US" sz="1050" kern="1200" dirty="0">
              <a:solidFill>
                <a:prstClr val="black"/>
              </a:solidFill>
              <a:ea typeface="+mn-ea"/>
              <a:cs typeface="+mn-cs"/>
            </a:endParaRPr>
          </a:p>
        </p:txBody>
      </p:sp>
      <p:sp>
        <p:nvSpPr>
          <p:cNvPr id="45" name="Oval 34"/>
          <p:cNvSpPr>
            <a:spLocks noChangeArrowheads="1"/>
          </p:cNvSpPr>
          <p:nvPr/>
        </p:nvSpPr>
        <p:spPr bwMode="auto">
          <a:xfrm>
            <a:off x="2743200" y="4170760"/>
            <a:ext cx="397669" cy="345281"/>
          </a:xfrm>
          <a:prstGeom prst="ellipse">
            <a:avLst/>
          </a:prstGeom>
          <a:solidFill>
            <a:schemeClr val="accent1"/>
          </a:solidFill>
          <a:ln w="12700" algn="ctr">
            <a:solidFill>
              <a:schemeClr val="accent1"/>
            </a:solidFill>
            <a:round/>
            <a:headEnd/>
            <a:tailEnd/>
          </a:ln>
        </p:spPr>
        <p:txBody>
          <a:bodyPr wrap="none" anchor="ctr"/>
          <a:lstStyle/>
          <a:p>
            <a:pPr algn="ctr" defTabSz="685800">
              <a:buClrTx/>
              <a:defRPr/>
            </a:pPr>
            <a:endParaRPr lang="en-US" sz="825" kern="1200" dirty="0">
              <a:solidFill>
                <a:prstClr val="black"/>
              </a:solidFill>
              <a:ea typeface="+mn-ea"/>
              <a:cs typeface="+mn-cs"/>
            </a:endParaRPr>
          </a:p>
        </p:txBody>
      </p:sp>
      <p:sp>
        <p:nvSpPr>
          <p:cNvPr id="843801" name="Rectangle 35"/>
          <p:cNvSpPr>
            <a:spLocks noChangeArrowheads="1"/>
          </p:cNvSpPr>
          <p:nvPr/>
        </p:nvSpPr>
        <p:spPr bwMode="auto">
          <a:xfrm>
            <a:off x="2832498" y="4163616"/>
            <a:ext cx="216694" cy="44053"/>
          </a:xfrm>
          <a:prstGeom prst="rect">
            <a:avLst/>
          </a:prstGeom>
          <a:solidFill>
            <a:schemeClr val="accent1"/>
          </a:solidFill>
          <a:ln w="12700" algn="ctr">
            <a:no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843802" name="Rectangle 36"/>
          <p:cNvSpPr>
            <a:spLocks noChangeArrowheads="1"/>
          </p:cNvSpPr>
          <p:nvPr/>
        </p:nvSpPr>
        <p:spPr bwMode="auto">
          <a:xfrm>
            <a:off x="2906403" y="4254103"/>
            <a:ext cx="64121" cy="131574"/>
          </a:xfrm>
          <a:prstGeom prst="rect">
            <a:avLst/>
          </a:prstGeom>
          <a:noFill/>
          <a:ln w="12700">
            <a:noFill/>
            <a:miter lim="800000"/>
            <a:headEnd/>
            <a:tailEnd/>
          </a:ln>
        </p:spPr>
        <p:txBody>
          <a:bodyPr wrap="none" lIns="0" tIns="0" rIns="0" bIns="0">
            <a:spAutoFit/>
          </a:bodyPr>
          <a:lstStyle/>
          <a:p>
            <a:pPr algn="ctr" defTabSz="685800">
              <a:lnSpc>
                <a:spcPct val="95000"/>
              </a:lnSpc>
              <a:buClrTx/>
            </a:pPr>
            <a:r>
              <a:rPr lang="en-US" sz="900" kern="1200" dirty="0">
                <a:solidFill>
                  <a:srgbClr val="FFFFFF"/>
                </a:solidFill>
                <a:ea typeface="ＭＳ Ｐゴシック" charset="-128"/>
                <a:cs typeface="+mn-cs"/>
              </a:rPr>
              <a:t>0</a:t>
            </a:r>
          </a:p>
        </p:txBody>
      </p:sp>
      <p:cxnSp>
        <p:nvCxnSpPr>
          <p:cNvPr id="48" name="AutoShape 37"/>
          <p:cNvCxnSpPr>
            <a:cxnSpLocks noChangeShapeType="1"/>
          </p:cNvCxnSpPr>
          <p:nvPr/>
        </p:nvCxnSpPr>
        <p:spPr bwMode="auto">
          <a:xfrm rot="10800000">
            <a:off x="3144441" y="2884885"/>
            <a:ext cx="346472" cy="105965"/>
          </a:xfrm>
          <a:prstGeom prst="bentConnector3">
            <a:avLst>
              <a:gd name="adj1" fmla="val 49796"/>
            </a:avLst>
          </a:prstGeom>
          <a:noFill/>
          <a:ln w="19050">
            <a:solidFill>
              <a:srgbClr val="575757"/>
            </a:solidFill>
            <a:miter lim="800000"/>
            <a:headEnd/>
            <a:tailEnd type="triangle" w="med" len="med"/>
          </a:ln>
        </p:spPr>
      </p:cxnSp>
      <p:sp>
        <p:nvSpPr>
          <p:cNvPr id="49" name="Oval 38"/>
          <p:cNvSpPr>
            <a:spLocks noChangeArrowheads="1"/>
          </p:cNvSpPr>
          <p:nvPr/>
        </p:nvSpPr>
        <p:spPr bwMode="auto">
          <a:xfrm>
            <a:off x="2743200" y="1370410"/>
            <a:ext cx="397669" cy="345281"/>
          </a:xfrm>
          <a:prstGeom prst="ellipse">
            <a:avLst/>
          </a:prstGeom>
          <a:solidFill>
            <a:schemeClr val="bg1"/>
          </a:solidFill>
          <a:ln w="12700">
            <a:solidFill>
              <a:schemeClr val="accent1"/>
            </a:solidFill>
            <a:round/>
            <a:headEnd/>
            <a:tailEnd/>
          </a:ln>
        </p:spPr>
        <p:txBody>
          <a:bodyPr wrap="none" anchor="ctr"/>
          <a:lstStyle/>
          <a:p>
            <a:pPr algn="ctr" defTabSz="685800">
              <a:buClrTx/>
              <a:defRPr/>
            </a:pPr>
            <a:endParaRPr lang="en-US" sz="1050" kern="1200" dirty="0">
              <a:solidFill>
                <a:prstClr val="black"/>
              </a:solidFill>
              <a:ea typeface="+mn-ea"/>
              <a:cs typeface="+mn-cs"/>
            </a:endParaRPr>
          </a:p>
        </p:txBody>
      </p:sp>
      <p:sp>
        <p:nvSpPr>
          <p:cNvPr id="843805" name="Rectangle 39"/>
          <p:cNvSpPr>
            <a:spLocks noChangeArrowheads="1"/>
          </p:cNvSpPr>
          <p:nvPr/>
        </p:nvSpPr>
        <p:spPr bwMode="white">
          <a:xfrm>
            <a:off x="2827972" y="1646635"/>
            <a:ext cx="229790" cy="77390"/>
          </a:xfrm>
          <a:prstGeom prst="rect">
            <a:avLst/>
          </a:prstGeom>
          <a:solidFill>
            <a:schemeClr val="bg1"/>
          </a:solidFill>
          <a:ln w="12700">
            <a:no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843806" name="Rectangle 40"/>
          <p:cNvSpPr>
            <a:spLocks noChangeArrowheads="1"/>
          </p:cNvSpPr>
          <p:nvPr/>
        </p:nvSpPr>
        <p:spPr bwMode="auto">
          <a:xfrm>
            <a:off x="2879747" y="1432322"/>
            <a:ext cx="118623" cy="120610"/>
          </a:xfrm>
          <a:prstGeom prst="rect">
            <a:avLst/>
          </a:prstGeom>
          <a:noFill/>
          <a:ln w="12700">
            <a:noFill/>
            <a:miter lim="800000"/>
            <a:headEnd/>
            <a:tailEnd/>
          </a:ln>
        </p:spPr>
        <p:txBody>
          <a:bodyPr wrap="none" lIns="0" tIns="0" rIns="0" bIns="0">
            <a:spAutoFit/>
          </a:bodyPr>
          <a:lstStyle/>
          <a:p>
            <a:pPr algn="ctr" defTabSz="685800">
              <a:lnSpc>
                <a:spcPct val="95000"/>
              </a:lnSpc>
              <a:buClrTx/>
            </a:pPr>
            <a:r>
              <a:rPr lang="en-US" sz="825" kern="1200" dirty="0">
                <a:solidFill>
                  <a:srgbClr val="313131"/>
                </a:solidFill>
                <a:ea typeface="ＭＳ Ｐゴシック" charset="-128"/>
                <a:cs typeface="+mn-cs"/>
              </a:rPr>
              <a:t>10</a:t>
            </a:r>
          </a:p>
        </p:txBody>
      </p:sp>
      <p:sp>
        <p:nvSpPr>
          <p:cNvPr id="52" name="Rectangle 41"/>
          <p:cNvSpPr>
            <a:spLocks noChangeArrowheads="1"/>
          </p:cNvSpPr>
          <p:nvPr/>
        </p:nvSpPr>
        <p:spPr bwMode="auto">
          <a:xfrm>
            <a:off x="5692379" y="1414463"/>
            <a:ext cx="244078" cy="2889647"/>
          </a:xfrm>
          <a:prstGeom prst="rect">
            <a:avLst/>
          </a:prstGeom>
          <a:solidFill>
            <a:schemeClr val="bg1"/>
          </a:solidFill>
          <a:ln w="12700">
            <a:solidFill>
              <a:schemeClr val="accent4"/>
            </a:solidFill>
            <a:miter lim="800000"/>
            <a:headEnd/>
            <a:tailEnd/>
          </a:ln>
        </p:spPr>
        <p:txBody>
          <a:bodyPr wrap="none" anchor="ctr"/>
          <a:lstStyle/>
          <a:p>
            <a:pPr algn="ctr" defTabSz="685800">
              <a:buClrTx/>
              <a:defRPr/>
            </a:pPr>
            <a:endParaRPr lang="en-US" sz="1050" kern="1200" dirty="0">
              <a:solidFill>
                <a:prstClr val="black"/>
              </a:solidFill>
              <a:ea typeface="+mn-ea"/>
              <a:cs typeface="+mn-cs"/>
            </a:endParaRPr>
          </a:p>
        </p:txBody>
      </p:sp>
      <p:sp>
        <p:nvSpPr>
          <p:cNvPr id="53" name="Rectangle 42"/>
          <p:cNvSpPr>
            <a:spLocks noChangeArrowheads="1"/>
          </p:cNvSpPr>
          <p:nvPr/>
        </p:nvSpPr>
        <p:spPr bwMode="auto">
          <a:xfrm>
            <a:off x="5692379" y="2340769"/>
            <a:ext cx="244078" cy="2041922"/>
          </a:xfrm>
          <a:prstGeom prst="rect">
            <a:avLst/>
          </a:prstGeom>
          <a:solidFill>
            <a:schemeClr val="accent4"/>
          </a:solidFill>
          <a:ln w="12700">
            <a:solidFill>
              <a:schemeClr val="accent4"/>
            </a:solidFill>
            <a:miter lim="800000"/>
            <a:headEnd/>
            <a:tailEnd/>
          </a:ln>
        </p:spPr>
        <p:txBody>
          <a:bodyPr wrap="none" anchor="ctr"/>
          <a:lstStyle/>
          <a:p>
            <a:pPr algn="ctr" defTabSz="685800">
              <a:buClrTx/>
              <a:defRPr/>
            </a:pPr>
            <a:endParaRPr lang="en-US" sz="1050" kern="1200" dirty="0">
              <a:solidFill>
                <a:prstClr val="black"/>
              </a:solidFill>
              <a:ea typeface="+mn-ea"/>
              <a:cs typeface="+mn-cs"/>
            </a:endParaRPr>
          </a:p>
        </p:txBody>
      </p:sp>
      <p:grpSp>
        <p:nvGrpSpPr>
          <p:cNvPr id="843809" name="Group 43"/>
          <p:cNvGrpSpPr>
            <a:grpSpLocks/>
          </p:cNvGrpSpPr>
          <p:nvPr/>
        </p:nvGrpSpPr>
        <p:grpSpPr bwMode="auto">
          <a:xfrm>
            <a:off x="5692379" y="1754982"/>
            <a:ext cx="244078" cy="2127647"/>
            <a:chOff x="1467" y="1638"/>
            <a:chExt cx="159" cy="1526"/>
          </a:xfrm>
        </p:grpSpPr>
        <p:sp>
          <p:nvSpPr>
            <p:cNvPr id="843819" name="Line 44"/>
            <p:cNvSpPr>
              <a:spLocks noChangeShapeType="1"/>
            </p:cNvSpPr>
            <p:nvPr/>
          </p:nvSpPr>
          <p:spPr bwMode="auto">
            <a:xfrm>
              <a:off x="1467" y="2486"/>
              <a:ext cx="159" cy="0"/>
            </a:xfrm>
            <a:prstGeom prst="line">
              <a:avLst/>
            </a:prstGeom>
            <a:noFill/>
            <a:ln w="12700">
              <a:solidFill>
                <a:schemeClr val="accent4">
                  <a:lumMod val="60000"/>
                  <a:lumOff val="40000"/>
                </a:schemeClr>
              </a:solidFill>
              <a:prstDash val="sysDot"/>
              <a:round/>
              <a:headEnd/>
              <a:tailEnd/>
            </a:ln>
          </p:spPr>
          <p:txBody>
            <a:bodyPr wrap="none" anchor="ctr"/>
            <a:lstStyle/>
            <a:p>
              <a:pPr defTabSz="685800">
                <a:buClrTx/>
              </a:pPr>
              <a:endParaRPr lang="en-US" sz="1350" kern="1200">
                <a:solidFill>
                  <a:prstClr val="black"/>
                </a:solidFill>
                <a:ea typeface="+mn-ea"/>
                <a:cs typeface="+mn-cs"/>
              </a:endParaRPr>
            </a:p>
          </p:txBody>
        </p:sp>
        <p:sp>
          <p:nvSpPr>
            <p:cNvPr id="843820" name="Line 45"/>
            <p:cNvSpPr>
              <a:spLocks noChangeShapeType="1"/>
            </p:cNvSpPr>
            <p:nvPr/>
          </p:nvSpPr>
          <p:spPr bwMode="auto">
            <a:xfrm>
              <a:off x="1467" y="2316"/>
              <a:ext cx="159" cy="0"/>
            </a:xfrm>
            <a:prstGeom prst="line">
              <a:avLst/>
            </a:prstGeom>
            <a:noFill/>
            <a:ln w="12700">
              <a:solidFill>
                <a:schemeClr val="accent4">
                  <a:lumMod val="60000"/>
                  <a:lumOff val="40000"/>
                </a:schemeClr>
              </a:solidFill>
              <a:prstDash val="sysDot"/>
              <a:round/>
              <a:headEnd/>
              <a:tailEnd/>
            </a:ln>
          </p:spPr>
          <p:txBody>
            <a:bodyPr wrap="none" anchor="ctr"/>
            <a:lstStyle/>
            <a:p>
              <a:pPr defTabSz="685800">
                <a:buClrTx/>
              </a:pPr>
              <a:endParaRPr lang="en-US" sz="1350" kern="1200">
                <a:solidFill>
                  <a:prstClr val="black"/>
                </a:solidFill>
                <a:ea typeface="+mn-ea"/>
                <a:cs typeface="+mn-cs"/>
              </a:endParaRPr>
            </a:p>
          </p:txBody>
        </p:sp>
        <p:sp>
          <p:nvSpPr>
            <p:cNvPr id="843821" name="Line 46"/>
            <p:cNvSpPr>
              <a:spLocks noChangeShapeType="1"/>
            </p:cNvSpPr>
            <p:nvPr/>
          </p:nvSpPr>
          <p:spPr bwMode="auto">
            <a:xfrm>
              <a:off x="1467" y="2147"/>
              <a:ext cx="159" cy="0"/>
            </a:xfrm>
            <a:prstGeom prst="line">
              <a:avLst/>
            </a:prstGeom>
            <a:noFill/>
            <a:ln w="12700">
              <a:solidFill>
                <a:schemeClr val="accent4">
                  <a:lumMod val="60000"/>
                  <a:lumOff val="40000"/>
                </a:schemeClr>
              </a:solidFill>
              <a:prstDash val="sysDot"/>
              <a:round/>
              <a:headEnd/>
              <a:tailEnd/>
            </a:ln>
          </p:spPr>
          <p:txBody>
            <a:bodyPr wrap="none" anchor="ctr"/>
            <a:lstStyle/>
            <a:p>
              <a:pPr defTabSz="685800">
                <a:buClrTx/>
              </a:pPr>
              <a:endParaRPr lang="en-US" sz="1350" kern="1200">
                <a:solidFill>
                  <a:prstClr val="black"/>
                </a:solidFill>
                <a:ea typeface="+mn-ea"/>
                <a:cs typeface="+mn-cs"/>
              </a:endParaRPr>
            </a:p>
          </p:txBody>
        </p:sp>
        <p:sp>
          <p:nvSpPr>
            <p:cNvPr id="58" name="Line 47"/>
            <p:cNvSpPr>
              <a:spLocks noChangeShapeType="1"/>
            </p:cNvSpPr>
            <p:nvPr/>
          </p:nvSpPr>
          <p:spPr bwMode="auto">
            <a:xfrm>
              <a:off x="1467" y="1977"/>
              <a:ext cx="159" cy="0"/>
            </a:xfrm>
            <a:prstGeom prst="line">
              <a:avLst/>
            </a:prstGeom>
            <a:noFill/>
            <a:ln w="12700">
              <a:solidFill>
                <a:srgbClr val="8C8C8C"/>
              </a:solidFill>
              <a:prstDash val="sysDot"/>
              <a:round/>
              <a:headEnd/>
              <a:tailEnd/>
            </a:ln>
          </p:spPr>
          <p:txBody>
            <a:bodyPr wrap="none" anchor="ctr"/>
            <a:lstStyle/>
            <a:p>
              <a:pPr defTabSz="685800">
                <a:buClrTx/>
                <a:defRPr/>
              </a:pPr>
              <a:endParaRPr lang="en-US" sz="1050" kern="1200" dirty="0">
                <a:solidFill>
                  <a:prstClr val="black"/>
                </a:solidFill>
                <a:ea typeface="+mn-ea"/>
                <a:cs typeface="+mn-cs"/>
              </a:endParaRPr>
            </a:p>
          </p:txBody>
        </p:sp>
        <p:sp>
          <p:nvSpPr>
            <p:cNvPr id="59" name="Line 48"/>
            <p:cNvSpPr>
              <a:spLocks noChangeShapeType="1"/>
            </p:cNvSpPr>
            <p:nvPr/>
          </p:nvSpPr>
          <p:spPr bwMode="auto">
            <a:xfrm>
              <a:off x="1467" y="1808"/>
              <a:ext cx="159" cy="0"/>
            </a:xfrm>
            <a:prstGeom prst="line">
              <a:avLst/>
            </a:prstGeom>
            <a:noFill/>
            <a:ln w="12700">
              <a:solidFill>
                <a:srgbClr val="8C8C8C"/>
              </a:solidFill>
              <a:prstDash val="sysDot"/>
              <a:round/>
              <a:headEnd/>
              <a:tailEnd/>
            </a:ln>
          </p:spPr>
          <p:txBody>
            <a:bodyPr wrap="none" anchor="ctr"/>
            <a:lstStyle/>
            <a:p>
              <a:pPr defTabSz="685800">
                <a:buClrTx/>
                <a:defRPr/>
              </a:pPr>
              <a:endParaRPr lang="en-US" sz="1050" kern="1200" dirty="0">
                <a:solidFill>
                  <a:prstClr val="black"/>
                </a:solidFill>
                <a:ea typeface="+mn-ea"/>
                <a:cs typeface="+mn-cs"/>
              </a:endParaRPr>
            </a:p>
          </p:txBody>
        </p:sp>
        <p:sp>
          <p:nvSpPr>
            <p:cNvPr id="60" name="Line 49"/>
            <p:cNvSpPr>
              <a:spLocks noChangeShapeType="1"/>
            </p:cNvSpPr>
            <p:nvPr/>
          </p:nvSpPr>
          <p:spPr bwMode="auto">
            <a:xfrm>
              <a:off x="1467" y="1638"/>
              <a:ext cx="159" cy="0"/>
            </a:xfrm>
            <a:prstGeom prst="line">
              <a:avLst/>
            </a:prstGeom>
            <a:noFill/>
            <a:ln w="12700">
              <a:solidFill>
                <a:srgbClr val="8C8C8C"/>
              </a:solidFill>
              <a:prstDash val="sysDot"/>
              <a:round/>
              <a:headEnd/>
              <a:tailEnd/>
            </a:ln>
          </p:spPr>
          <p:txBody>
            <a:bodyPr wrap="none" anchor="ctr"/>
            <a:lstStyle/>
            <a:p>
              <a:pPr defTabSz="685800">
                <a:buClrTx/>
                <a:defRPr/>
              </a:pPr>
              <a:endParaRPr lang="en-US" sz="1050" kern="1200" dirty="0">
                <a:solidFill>
                  <a:prstClr val="black"/>
                </a:solidFill>
                <a:ea typeface="+mn-ea"/>
                <a:cs typeface="+mn-cs"/>
              </a:endParaRPr>
            </a:p>
          </p:txBody>
        </p:sp>
        <p:sp>
          <p:nvSpPr>
            <p:cNvPr id="843825" name="Line 50"/>
            <p:cNvSpPr>
              <a:spLocks noChangeShapeType="1"/>
            </p:cNvSpPr>
            <p:nvPr/>
          </p:nvSpPr>
          <p:spPr bwMode="auto">
            <a:xfrm>
              <a:off x="1467" y="3164"/>
              <a:ext cx="159" cy="0"/>
            </a:xfrm>
            <a:prstGeom prst="line">
              <a:avLst/>
            </a:prstGeom>
            <a:noFill/>
            <a:ln w="12700">
              <a:solidFill>
                <a:schemeClr val="accent4">
                  <a:lumMod val="60000"/>
                  <a:lumOff val="40000"/>
                </a:schemeClr>
              </a:solidFill>
              <a:prstDash val="sysDot"/>
              <a:round/>
              <a:headEnd/>
              <a:tailEnd/>
            </a:ln>
          </p:spPr>
          <p:txBody>
            <a:bodyPr wrap="none" anchor="ctr"/>
            <a:lstStyle/>
            <a:p>
              <a:pPr defTabSz="685800">
                <a:buClrTx/>
              </a:pPr>
              <a:endParaRPr lang="en-US" sz="1350" kern="1200">
                <a:solidFill>
                  <a:prstClr val="black"/>
                </a:solidFill>
                <a:ea typeface="+mn-ea"/>
                <a:cs typeface="+mn-cs"/>
              </a:endParaRPr>
            </a:p>
          </p:txBody>
        </p:sp>
        <p:sp>
          <p:nvSpPr>
            <p:cNvPr id="843826" name="Line 51"/>
            <p:cNvSpPr>
              <a:spLocks noChangeShapeType="1"/>
            </p:cNvSpPr>
            <p:nvPr/>
          </p:nvSpPr>
          <p:spPr bwMode="auto">
            <a:xfrm>
              <a:off x="1467" y="2995"/>
              <a:ext cx="159" cy="0"/>
            </a:xfrm>
            <a:prstGeom prst="line">
              <a:avLst/>
            </a:prstGeom>
            <a:noFill/>
            <a:ln w="12700">
              <a:solidFill>
                <a:schemeClr val="accent4">
                  <a:lumMod val="60000"/>
                  <a:lumOff val="40000"/>
                </a:schemeClr>
              </a:solidFill>
              <a:prstDash val="sysDot"/>
              <a:round/>
              <a:headEnd/>
              <a:tailEnd/>
            </a:ln>
          </p:spPr>
          <p:txBody>
            <a:bodyPr wrap="none" anchor="ctr"/>
            <a:lstStyle/>
            <a:p>
              <a:pPr defTabSz="685800">
                <a:buClrTx/>
              </a:pPr>
              <a:endParaRPr lang="en-US" sz="1350" kern="1200">
                <a:solidFill>
                  <a:prstClr val="black"/>
                </a:solidFill>
                <a:ea typeface="+mn-ea"/>
                <a:cs typeface="+mn-cs"/>
              </a:endParaRPr>
            </a:p>
          </p:txBody>
        </p:sp>
        <p:sp>
          <p:nvSpPr>
            <p:cNvPr id="843827" name="Line 52"/>
            <p:cNvSpPr>
              <a:spLocks noChangeShapeType="1"/>
            </p:cNvSpPr>
            <p:nvPr/>
          </p:nvSpPr>
          <p:spPr bwMode="auto">
            <a:xfrm>
              <a:off x="1467" y="2825"/>
              <a:ext cx="159" cy="0"/>
            </a:xfrm>
            <a:prstGeom prst="line">
              <a:avLst/>
            </a:prstGeom>
            <a:noFill/>
            <a:ln w="12700">
              <a:solidFill>
                <a:schemeClr val="accent4">
                  <a:lumMod val="60000"/>
                  <a:lumOff val="40000"/>
                </a:schemeClr>
              </a:solidFill>
              <a:prstDash val="sysDot"/>
              <a:round/>
              <a:headEnd/>
              <a:tailEnd/>
            </a:ln>
          </p:spPr>
          <p:txBody>
            <a:bodyPr wrap="none" anchor="ctr"/>
            <a:lstStyle/>
            <a:p>
              <a:pPr defTabSz="685800">
                <a:buClrTx/>
              </a:pPr>
              <a:endParaRPr lang="en-US" sz="1350" kern="1200">
                <a:solidFill>
                  <a:prstClr val="black"/>
                </a:solidFill>
                <a:ea typeface="+mn-ea"/>
                <a:cs typeface="+mn-cs"/>
              </a:endParaRPr>
            </a:p>
          </p:txBody>
        </p:sp>
        <p:sp>
          <p:nvSpPr>
            <p:cNvPr id="843828" name="Line 53"/>
            <p:cNvSpPr>
              <a:spLocks noChangeShapeType="1"/>
            </p:cNvSpPr>
            <p:nvPr/>
          </p:nvSpPr>
          <p:spPr bwMode="auto">
            <a:xfrm>
              <a:off x="1467" y="2656"/>
              <a:ext cx="159" cy="0"/>
            </a:xfrm>
            <a:prstGeom prst="line">
              <a:avLst/>
            </a:prstGeom>
            <a:noFill/>
            <a:ln w="12700">
              <a:solidFill>
                <a:schemeClr val="accent4">
                  <a:lumMod val="60000"/>
                  <a:lumOff val="40000"/>
                </a:schemeClr>
              </a:solidFill>
              <a:prstDash val="sysDot"/>
              <a:round/>
              <a:headEnd/>
              <a:tailEnd/>
            </a:ln>
          </p:spPr>
          <p:txBody>
            <a:bodyPr wrap="none" anchor="ctr"/>
            <a:lstStyle/>
            <a:p>
              <a:pPr defTabSz="685800">
                <a:buClrTx/>
              </a:pPr>
              <a:endParaRPr lang="en-US" sz="1350" kern="1200">
                <a:solidFill>
                  <a:prstClr val="black"/>
                </a:solidFill>
                <a:ea typeface="+mn-ea"/>
                <a:cs typeface="+mn-cs"/>
              </a:endParaRPr>
            </a:p>
          </p:txBody>
        </p:sp>
      </p:grpSp>
      <p:sp>
        <p:nvSpPr>
          <p:cNvPr id="65" name="Rectangle 54"/>
          <p:cNvSpPr>
            <a:spLocks noChangeArrowheads="1"/>
          </p:cNvSpPr>
          <p:nvPr/>
        </p:nvSpPr>
        <p:spPr bwMode="auto">
          <a:xfrm>
            <a:off x="5757863" y="4260057"/>
            <a:ext cx="127397" cy="189310"/>
          </a:xfrm>
          <a:prstGeom prst="rect">
            <a:avLst/>
          </a:prstGeom>
          <a:solidFill>
            <a:schemeClr val="accent1"/>
          </a:solidFill>
          <a:ln w="12700">
            <a:solidFill>
              <a:schemeClr val="accent3"/>
            </a:solidFill>
            <a:miter lim="800000"/>
            <a:headEnd/>
            <a:tailEnd/>
          </a:ln>
        </p:spPr>
        <p:txBody>
          <a:bodyPr wrap="none" anchor="ctr"/>
          <a:lstStyle/>
          <a:p>
            <a:pPr algn="ctr" defTabSz="685800">
              <a:buClrTx/>
              <a:defRPr/>
            </a:pPr>
            <a:endParaRPr lang="en-US" sz="1050" kern="1200" dirty="0">
              <a:solidFill>
                <a:prstClr val="black"/>
              </a:solidFill>
              <a:ea typeface="+mn-ea"/>
              <a:cs typeface="+mn-cs"/>
            </a:endParaRPr>
          </a:p>
        </p:txBody>
      </p:sp>
      <p:sp>
        <p:nvSpPr>
          <p:cNvPr id="66" name="Rectangle 55"/>
          <p:cNvSpPr>
            <a:spLocks noChangeArrowheads="1"/>
          </p:cNvSpPr>
          <p:nvPr/>
        </p:nvSpPr>
        <p:spPr bwMode="auto">
          <a:xfrm>
            <a:off x="5757863" y="4293394"/>
            <a:ext cx="127397" cy="100013"/>
          </a:xfrm>
          <a:prstGeom prst="rect">
            <a:avLst/>
          </a:prstGeom>
          <a:solidFill>
            <a:schemeClr val="accent1"/>
          </a:solidFill>
          <a:ln w="12700">
            <a:solidFill>
              <a:schemeClr val="accent3"/>
            </a:solidFill>
            <a:miter lim="800000"/>
            <a:headEnd/>
            <a:tailEnd/>
          </a:ln>
        </p:spPr>
        <p:txBody>
          <a:bodyPr wrap="none" anchor="ctr"/>
          <a:lstStyle/>
          <a:p>
            <a:pPr algn="ctr" defTabSz="685800">
              <a:buClrTx/>
              <a:defRPr/>
            </a:pPr>
            <a:endParaRPr lang="en-US" sz="1050" kern="1200" dirty="0">
              <a:solidFill>
                <a:prstClr val="black"/>
              </a:solidFill>
              <a:ea typeface="+mn-ea"/>
              <a:cs typeface="+mn-cs"/>
            </a:endParaRPr>
          </a:p>
        </p:txBody>
      </p:sp>
      <p:sp>
        <p:nvSpPr>
          <p:cNvPr id="67" name="Oval 56"/>
          <p:cNvSpPr>
            <a:spLocks noChangeArrowheads="1"/>
          </p:cNvSpPr>
          <p:nvPr/>
        </p:nvSpPr>
        <p:spPr bwMode="auto">
          <a:xfrm>
            <a:off x="5612606" y="4170760"/>
            <a:ext cx="401241" cy="345281"/>
          </a:xfrm>
          <a:prstGeom prst="ellipse">
            <a:avLst/>
          </a:prstGeom>
          <a:solidFill>
            <a:schemeClr val="accent4"/>
          </a:solidFill>
          <a:ln w="12700" algn="ctr">
            <a:solidFill>
              <a:schemeClr val="accent4"/>
            </a:solidFill>
            <a:round/>
            <a:headEnd/>
            <a:tailEnd/>
          </a:ln>
        </p:spPr>
        <p:txBody>
          <a:bodyPr wrap="none" anchor="ctr"/>
          <a:lstStyle/>
          <a:p>
            <a:pPr algn="ctr" defTabSz="685800">
              <a:buClrTx/>
              <a:defRPr/>
            </a:pPr>
            <a:endParaRPr lang="en-US" sz="1050" kern="1200" dirty="0">
              <a:solidFill>
                <a:prstClr val="black"/>
              </a:solidFill>
              <a:ea typeface="+mn-ea"/>
              <a:cs typeface="+mn-cs"/>
            </a:endParaRPr>
          </a:p>
        </p:txBody>
      </p:sp>
      <p:sp>
        <p:nvSpPr>
          <p:cNvPr id="843813" name="Rectangle 57"/>
          <p:cNvSpPr>
            <a:spLocks noChangeArrowheads="1"/>
          </p:cNvSpPr>
          <p:nvPr/>
        </p:nvSpPr>
        <p:spPr bwMode="auto">
          <a:xfrm>
            <a:off x="5705475" y="4163616"/>
            <a:ext cx="215504" cy="44053"/>
          </a:xfrm>
          <a:prstGeom prst="rect">
            <a:avLst/>
          </a:prstGeom>
          <a:solidFill>
            <a:schemeClr val="accent4"/>
          </a:solidFill>
          <a:ln w="12700" algn="ctr">
            <a:no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843814" name="Rectangle 58"/>
          <p:cNvSpPr>
            <a:spLocks noChangeArrowheads="1"/>
          </p:cNvSpPr>
          <p:nvPr/>
        </p:nvSpPr>
        <p:spPr bwMode="auto">
          <a:xfrm>
            <a:off x="5781785" y="4254103"/>
            <a:ext cx="59312" cy="120610"/>
          </a:xfrm>
          <a:prstGeom prst="rect">
            <a:avLst/>
          </a:prstGeom>
          <a:noFill/>
          <a:ln w="12700">
            <a:noFill/>
            <a:miter lim="800000"/>
            <a:headEnd/>
            <a:tailEnd/>
          </a:ln>
        </p:spPr>
        <p:txBody>
          <a:bodyPr wrap="none" lIns="0" tIns="0" rIns="0" bIns="0">
            <a:spAutoFit/>
          </a:bodyPr>
          <a:lstStyle/>
          <a:p>
            <a:pPr algn="ctr" defTabSz="685800">
              <a:lnSpc>
                <a:spcPct val="95000"/>
              </a:lnSpc>
              <a:buClrTx/>
            </a:pPr>
            <a:r>
              <a:rPr lang="en-US" sz="825" kern="1200" dirty="0">
                <a:solidFill>
                  <a:srgbClr val="FFFFFF"/>
                </a:solidFill>
                <a:ea typeface="ＭＳ Ｐゴシック" charset="-128"/>
                <a:cs typeface="+mn-cs"/>
              </a:rPr>
              <a:t>0</a:t>
            </a:r>
          </a:p>
        </p:txBody>
      </p:sp>
      <p:sp>
        <p:nvSpPr>
          <p:cNvPr id="70" name="Oval 59"/>
          <p:cNvSpPr>
            <a:spLocks noChangeArrowheads="1"/>
          </p:cNvSpPr>
          <p:nvPr/>
        </p:nvSpPr>
        <p:spPr bwMode="auto">
          <a:xfrm>
            <a:off x="5612606" y="1370410"/>
            <a:ext cx="401241" cy="345281"/>
          </a:xfrm>
          <a:prstGeom prst="ellipse">
            <a:avLst/>
          </a:prstGeom>
          <a:solidFill>
            <a:schemeClr val="bg1"/>
          </a:solidFill>
          <a:ln w="12700">
            <a:solidFill>
              <a:schemeClr val="accent4"/>
            </a:solidFill>
            <a:round/>
            <a:headEnd/>
            <a:tailEnd/>
          </a:ln>
        </p:spPr>
        <p:txBody>
          <a:bodyPr wrap="none" anchor="ctr"/>
          <a:lstStyle/>
          <a:p>
            <a:pPr algn="ctr" defTabSz="685800">
              <a:buClrTx/>
              <a:defRPr/>
            </a:pPr>
            <a:endParaRPr lang="en-US" sz="1050" kern="1200" dirty="0">
              <a:solidFill>
                <a:prstClr val="black"/>
              </a:solidFill>
              <a:ea typeface="+mn-ea"/>
              <a:cs typeface="+mn-cs"/>
            </a:endParaRPr>
          </a:p>
        </p:txBody>
      </p:sp>
      <p:sp>
        <p:nvSpPr>
          <p:cNvPr id="843816" name="Rectangle 60"/>
          <p:cNvSpPr>
            <a:spLocks noChangeArrowheads="1"/>
          </p:cNvSpPr>
          <p:nvPr/>
        </p:nvSpPr>
        <p:spPr bwMode="white">
          <a:xfrm>
            <a:off x="5699522" y="1646635"/>
            <a:ext cx="228600" cy="77390"/>
          </a:xfrm>
          <a:prstGeom prst="rect">
            <a:avLst/>
          </a:prstGeom>
          <a:solidFill>
            <a:schemeClr val="bg1"/>
          </a:solidFill>
          <a:ln w="12700">
            <a:no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843817" name="Rectangle 61"/>
          <p:cNvSpPr>
            <a:spLocks noChangeArrowheads="1"/>
          </p:cNvSpPr>
          <p:nvPr/>
        </p:nvSpPr>
        <p:spPr bwMode="auto">
          <a:xfrm>
            <a:off x="5752130" y="1432322"/>
            <a:ext cx="118623" cy="120610"/>
          </a:xfrm>
          <a:prstGeom prst="rect">
            <a:avLst/>
          </a:prstGeom>
          <a:noFill/>
          <a:ln w="12700">
            <a:noFill/>
            <a:miter lim="800000"/>
            <a:headEnd/>
            <a:tailEnd/>
          </a:ln>
        </p:spPr>
        <p:txBody>
          <a:bodyPr wrap="none" lIns="0" tIns="0" rIns="0" bIns="0">
            <a:spAutoFit/>
          </a:bodyPr>
          <a:lstStyle/>
          <a:p>
            <a:pPr algn="ctr" defTabSz="685800">
              <a:lnSpc>
                <a:spcPct val="95000"/>
              </a:lnSpc>
              <a:buClrTx/>
            </a:pPr>
            <a:r>
              <a:rPr lang="en-US" sz="825" kern="1200" dirty="0">
                <a:solidFill>
                  <a:srgbClr val="313131"/>
                </a:solidFill>
                <a:ea typeface="ＭＳ Ｐゴシック" charset="-128"/>
                <a:cs typeface="+mn-cs"/>
              </a:rPr>
              <a:t>10</a:t>
            </a:r>
          </a:p>
        </p:txBody>
      </p:sp>
      <p:sp>
        <p:nvSpPr>
          <p:cNvPr id="73" name="Rectangle 62"/>
          <p:cNvSpPr>
            <a:spLocks noChangeArrowheads="1"/>
          </p:cNvSpPr>
          <p:nvPr/>
        </p:nvSpPr>
        <p:spPr bwMode="auto">
          <a:xfrm>
            <a:off x="5516166" y="0"/>
            <a:ext cx="2484834" cy="369332"/>
          </a:xfrm>
          <a:prstGeom prst="rect">
            <a:avLst/>
          </a:prstGeom>
          <a:solidFill>
            <a:schemeClr val="accent6"/>
          </a:solidFill>
          <a:ln w="6350" algn="ctr">
            <a:solidFill>
              <a:schemeClr val="bg1"/>
            </a:solidFill>
            <a:miter lim="800000"/>
            <a:headEnd/>
            <a:tailEnd/>
          </a:ln>
        </p:spPr>
        <p:txBody>
          <a:bodyPr tIns="68580" bIns="68580">
            <a:spAutoFit/>
          </a:bodyPr>
          <a:lstStyle/>
          <a:p>
            <a:pPr defTabSz="685800">
              <a:buClrTx/>
              <a:defRPr/>
            </a:pPr>
            <a:r>
              <a:rPr lang="en-US" sz="750" kern="1200" dirty="0">
                <a:solidFill>
                  <a:srgbClr val="313131"/>
                </a:solidFill>
                <a:ea typeface="ＭＳ Ｐゴシック" pitchFamily="50" charset="-128"/>
                <a:cs typeface="+mn-cs"/>
              </a:rPr>
              <a:t>Tip! Click on the colored area and move up or down to the appropriate level</a:t>
            </a:r>
          </a:p>
        </p:txBody>
      </p:sp>
    </p:spTree>
  </p:cSld>
  <p:clrMapOvr>
    <a:masterClrMapping/>
  </p:clrMapOvr>
  <p:transition>
    <p:fade/>
  </p:transition>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Other </a:t>
            </a:r>
            <a:br>
              <a:rPr lang="en-US" altLang="ja-JP" dirty="0"/>
            </a:br>
            <a:r>
              <a:rPr lang="en-US" altLang="ja-JP" dirty="0">
                <a:solidFill>
                  <a:srgbClr val="575757"/>
                </a:solidFill>
              </a:rPr>
              <a:t>Saving t</a:t>
            </a:r>
            <a:r>
              <a:rPr lang="en-US" dirty="0">
                <a:solidFill>
                  <a:srgbClr val="575757"/>
                </a:solidFill>
              </a:rPr>
              <a:t>hermometer</a:t>
            </a:r>
          </a:p>
        </p:txBody>
      </p:sp>
      <p:sp>
        <p:nvSpPr>
          <p:cNvPr id="95" name="AutoShape 3"/>
          <p:cNvSpPr>
            <a:spLocks noChangeArrowheads="1"/>
          </p:cNvSpPr>
          <p:nvPr>
            <p:custDataLst>
              <p:tags r:id="rId2"/>
            </p:custDataLst>
          </p:nvPr>
        </p:nvSpPr>
        <p:spPr bwMode="auto">
          <a:xfrm rot="16200000">
            <a:off x="2340769" y="1453754"/>
            <a:ext cx="571500" cy="371475"/>
          </a:xfrm>
          <a:prstGeom prst="flowChartDelay">
            <a:avLst/>
          </a:prstGeom>
          <a:solidFill>
            <a:srgbClr val="B4B4B4"/>
          </a:solidFill>
          <a:ln w="28575" algn="ctr">
            <a:solidFill>
              <a:srgbClr val="B4B4B4"/>
            </a:solidFill>
            <a:miter lim="800000"/>
            <a:headEnd/>
            <a:tailEnd/>
          </a:ln>
        </p:spPr>
        <p:txBody>
          <a:bodyPr wrap="square" lIns="27000" tIns="27000" rIns="27000" bIns="27000" anchor="ctr"/>
          <a:lstStyle/>
          <a:p>
            <a:pPr algn="ctr" defTabSz="685800">
              <a:buClrTx/>
              <a:defRPr/>
            </a:pPr>
            <a:endParaRPr lang="en-US" sz="1050" kern="1200" dirty="0">
              <a:solidFill>
                <a:srgbClr val="313131"/>
              </a:solidFill>
              <a:ea typeface="+mn-ea"/>
              <a:cs typeface="+mn-cs"/>
            </a:endParaRPr>
          </a:p>
        </p:txBody>
      </p:sp>
      <p:sp>
        <p:nvSpPr>
          <p:cNvPr id="96" name="Oval 5"/>
          <p:cNvSpPr>
            <a:spLocks noChangeArrowheads="1"/>
          </p:cNvSpPr>
          <p:nvPr>
            <p:custDataLst>
              <p:tags r:id="rId3"/>
            </p:custDataLst>
          </p:nvPr>
        </p:nvSpPr>
        <p:spPr bwMode="auto">
          <a:xfrm>
            <a:off x="2371725" y="3786188"/>
            <a:ext cx="509588" cy="552450"/>
          </a:xfrm>
          <a:prstGeom prst="ellipse">
            <a:avLst/>
          </a:prstGeom>
          <a:solidFill>
            <a:srgbClr val="81BC00"/>
          </a:solidFill>
          <a:ln w="28575" algn="ctr">
            <a:solidFill>
              <a:srgbClr val="81BC00"/>
            </a:solidFill>
            <a:round/>
            <a:headEnd/>
            <a:tailEnd/>
          </a:ln>
        </p:spPr>
        <p:txBody>
          <a:bodyPr wrap="square" lIns="27000" tIns="27000" rIns="27000" bIns="27000" anchor="ctr"/>
          <a:lstStyle/>
          <a:p>
            <a:pPr algn="ctr" defTabSz="685800">
              <a:buClrTx/>
              <a:defRPr/>
            </a:pPr>
            <a:endParaRPr lang="en-US" sz="1050" kern="1200" dirty="0">
              <a:solidFill>
                <a:srgbClr val="313131"/>
              </a:solidFill>
              <a:ea typeface="+mn-ea"/>
              <a:cs typeface="+mn-cs"/>
            </a:endParaRPr>
          </a:p>
        </p:txBody>
      </p:sp>
      <p:sp>
        <p:nvSpPr>
          <p:cNvPr id="371723" name="Text Box 9"/>
          <p:cNvSpPr txBox="1">
            <a:spLocks noChangeArrowheads="1"/>
          </p:cNvSpPr>
          <p:nvPr>
            <p:custDataLst>
              <p:tags r:id="rId4"/>
            </p:custDataLst>
          </p:nvPr>
        </p:nvSpPr>
        <p:spPr bwMode="auto">
          <a:xfrm>
            <a:off x="1909118" y="3223617"/>
            <a:ext cx="432035" cy="181485"/>
          </a:xfrm>
          <a:prstGeom prst="rect">
            <a:avLst/>
          </a:prstGeom>
          <a:noFill/>
          <a:ln w="9525" algn="ctr">
            <a:noFill/>
            <a:miter lim="800000"/>
            <a:headEnd/>
            <a:tailEnd/>
          </a:ln>
        </p:spPr>
        <p:txBody>
          <a:bodyPr wrap="square" lIns="27000" tIns="27000" rIns="27000" bIns="27000">
            <a:spAutoFit/>
          </a:bodyPr>
          <a:lstStyle/>
          <a:p>
            <a:pPr algn="r" defTabSz="685800">
              <a:buClrTx/>
            </a:pPr>
            <a:r>
              <a:rPr lang="en-US" altLang="ja-JP" sz="825" kern="1200">
                <a:solidFill>
                  <a:srgbClr val="313131"/>
                </a:solidFill>
                <a:ea typeface="ＭＳ Ｐゴシック" charset="-128"/>
                <a:cs typeface="+mn-cs"/>
              </a:rPr>
              <a:t>€ 2 mln</a:t>
            </a:r>
          </a:p>
        </p:txBody>
      </p:sp>
      <p:sp>
        <p:nvSpPr>
          <p:cNvPr id="371724" name="Text Box 10"/>
          <p:cNvSpPr txBox="1">
            <a:spLocks noChangeArrowheads="1"/>
          </p:cNvSpPr>
          <p:nvPr>
            <p:custDataLst>
              <p:tags r:id="rId5"/>
            </p:custDataLst>
          </p:nvPr>
        </p:nvSpPr>
        <p:spPr bwMode="auto">
          <a:xfrm>
            <a:off x="1909118" y="2938165"/>
            <a:ext cx="432035" cy="181485"/>
          </a:xfrm>
          <a:prstGeom prst="rect">
            <a:avLst/>
          </a:prstGeom>
          <a:noFill/>
          <a:ln w="9525" algn="ctr">
            <a:noFill/>
            <a:miter lim="800000"/>
            <a:headEnd/>
            <a:tailEnd/>
          </a:ln>
        </p:spPr>
        <p:txBody>
          <a:bodyPr wrap="square" lIns="27000" tIns="27000" rIns="27000" bIns="27000">
            <a:spAutoFit/>
          </a:bodyPr>
          <a:lstStyle/>
          <a:p>
            <a:pPr algn="r" defTabSz="685800">
              <a:buClrTx/>
            </a:pPr>
            <a:r>
              <a:rPr lang="en-US" altLang="ja-JP" sz="825" kern="1200">
                <a:solidFill>
                  <a:srgbClr val="313131"/>
                </a:solidFill>
                <a:ea typeface="ＭＳ Ｐゴシック" charset="-128"/>
                <a:cs typeface="+mn-cs"/>
              </a:rPr>
              <a:t>€ 3 mln</a:t>
            </a:r>
          </a:p>
        </p:txBody>
      </p:sp>
      <p:sp>
        <p:nvSpPr>
          <p:cNvPr id="371725" name="Text Box 13"/>
          <p:cNvSpPr txBox="1">
            <a:spLocks noChangeArrowheads="1"/>
          </p:cNvSpPr>
          <p:nvPr>
            <p:custDataLst>
              <p:tags r:id="rId6"/>
            </p:custDataLst>
          </p:nvPr>
        </p:nvSpPr>
        <p:spPr bwMode="auto">
          <a:xfrm>
            <a:off x="1909118" y="3509070"/>
            <a:ext cx="432035" cy="181485"/>
          </a:xfrm>
          <a:prstGeom prst="rect">
            <a:avLst/>
          </a:prstGeom>
          <a:noFill/>
          <a:ln w="9525" algn="ctr">
            <a:noFill/>
            <a:miter lim="800000"/>
            <a:headEnd/>
            <a:tailEnd/>
          </a:ln>
        </p:spPr>
        <p:txBody>
          <a:bodyPr wrap="square" lIns="27000" tIns="27000" rIns="27000" bIns="27000">
            <a:spAutoFit/>
          </a:bodyPr>
          <a:lstStyle/>
          <a:p>
            <a:pPr algn="r" defTabSz="685800">
              <a:buClrTx/>
            </a:pPr>
            <a:r>
              <a:rPr lang="en-US" altLang="ja-JP" sz="825" kern="1200">
                <a:solidFill>
                  <a:srgbClr val="313131"/>
                </a:solidFill>
                <a:ea typeface="ＭＳ Ｐゴシック" charset="-128"/>
                <a:cs typeface="+mn-cs"/>
              </a:rPr>
              <a:t>€ 1 mln</a:t>
            </a:r>
          </a:p>
        </p:txBody>
      </p:sp>
      <p:sp>
        <p:nvSpPr>
          <p:cNvPr id="371726" name="Text Box 16"/>
          <p:cNvSpPr txBox="1">
            <a:spLocks noChangeArrowheads="1"/>
          </p:cNvSpPr>
          <p:nvPr>
            <p:custDataLst>
              <p:tags r:id="rId7"/>
            </p:custDataLst>
          </p:nvPr>
        </p:nvSpPr>
        <p:spPr bwMode="auto">
          <a:xfrm>
            <a:off x="1909118" y="2652713"/>
            <a:ext cx="432035" cy="181485"/>
          </a:xfrm>
          <a:prstGeom prst="rect">
            <a:avLst/>
          </a:prstGeom>
          <a:noFill/>
          <a:ln w="9525" algn="ctr">
            <a:noFill/>
            <a:miter lim="800000"/>
            <a:headEnd/>
            <a:tailEnd/>
          </a:ln>
        </p:spPr>
        <p:txBody>
          <a:bodyPr wrap="square" lIns="27000" tIns="27000" rIns="27000" bIns="27000">
            <a:spAutoFit/>
          </a:bodyPr>
          <a:lstStyle/>
          <a:p>
            <a:pPr algn="r" defTabSz="685800">
              <a:buClrTx/>
            </a:pPr>
            <a:r>
              <a:rPr lang="en-US" altLang="ja-JP" sz="825" kern="1200">
                <a:solidFill>
                  <a:srgbClr val="313131"/>
                </a:solidFill>
                <a:ea typeface="ＭＳ Ｐゴシック" charset="-128"/>
                <a:cs typeface="+mn-cs"/>
              </a:rPr>
              <a:t>€ 4 mln</a:t>
            </a:r>
          </a:p>
        </p:txBody>
      </p:sp>
      <p:sp>
        <p:nvSpPr>
          <p:cNvPr id="371727" name="Text Box 18"/>
          <p:cNvSpPr txBox="1">
            <a:spLocks noChangeArrowheads="1"/>
          </p:cNvSpPr>
          <p:nvPr>
            <p:custDataLst>
              <p:tags r:id="rId8"/>
            </p:custDataLst>
          </p:nvPr>
        </p:nvSpPr>
        <p:spPr bwMode="auto">
          <a:xfrm>
            <a:off x="1909118" y="3794523"/>
            <a:ext cx="432035" cy="181485"/>
          </a:xfrm>
          <a:prstGeom prst="rect">
            <a:avLst/>
          </a:prstGeom>
          <a:noFill/>
          <a:ln w="9525" algn="ctr">
            <a:noFill/>
            <a:miter lim="800000"/>
            <a:headEnd/>
            <a:tailEnd/>
          </a:ln>
        </p:spPr>
        <p:txBody>
          <a:bodyPr wrap="square" lIns="27000" tIns="27000" rIns="27000" bIns="27000">
            <a:spAutoFit/>
          </a:bodyPr>
          <a:lstStyle/>
          <a:p>
            <a:pPr algn="r" defTabSz="685800">
              <a:buClrTx/>
            </a:pPr>
            <a:r>
              <a:rPr lang="en-US" altLang="ja-JP" sz="825" kern="1200" dirty="0">
                <a:solidFill>
                  <a:srgbClr val="313131"/>
                </a:solidFill>
                <a:ea typeface="ＭＳ Ｐゴシック" charset="-128"/>
                <a:cs typeface="+mn-cs"/>
              </a:rPr>
              <a:t>€ 0 </a:t>
            </a:r>
            <a:r>
              <a:rPr lang="en-US" altLang="ja-JP" sz="825" kern="1200" dirty="0" err="1">
                <a:solidFill>
                  <a:srgbClr val="313131"/>
                </a:solidFill>
                <a:ea typeface="ＭＳ Ｐゴシック" charset="-128"/>
                <a:cs typeface="+mn-cs"/>
              </a:rPr>
              <a:t>mln</a:t>
            </a:r>
            <a:endParaRPr lang="en-US" altLang="ja-JP" sz="825" kern="1200" dirty="0">
              <a:solidFill>
                <a:srgbClr val="313131"/>
              </a:solidFill>
              <a:ea typeface="ＭＳ Ｐゴシック" charset="-128"/>
              <a:cs typeface="+mn-cs"/>
            </a:endParaRPr>
          </a:p>
        </p:txBody>
      </p:sp>
      <p:sp>
        <p:nvSpPr>
          <p:cNvPr id="371728" name="Text Box 19"/>
          <p:cNvSpPr txBox="1">
            <a:spLocks noChangeArrowheads="1"/>
          </p:cNvSpPr>
          <p:nvPr>
            <p:custDataLst>
              <p:tags r:id="rId9"/>
            </p:custDataLst>
          </p:nvPr>
        </p:nvSpPr>
        <p:spPr bwMode="auto">
          <a:xfrm>
            <a:off x="1917453" y="2081808"/>
            <a:ext cx="432035" cy="181485"/>
          </a:xfrm>
          <a:prstGeom prst="rect">
            <a:avLst/>
          </a:prstGeom>
          <a:noFill/>
          <a:ln w="9525" algn="ctr">
            <a:noFill/>
            <a:miter lim="800000"/>
            <a:headEnd/>
            <a:tailEnd/>
          </a:ln>
        </p:spPr>
        <p:txBody>
          <a:bodyPr wrap="square" lIns="27000" tIns="27000" rIns="27000" bIns="27000">
            <a:spAutoFit/>
          </a:bodyPr>
          <a:lstStyle/>
          <a:p>
            <a:pPr algn="r" defTabSz="685800">
              <a:buClrTx/>
            </a:pPr>
            <a:r>
              <a:rPr lang="en-US" altLang="ja-JP" sz="825" kern="1200" dirty="0">
                <a:solidFill>
                  <a:srgbClr val="313131"/>
                </a:solidFill>
                <a:ea typeface="ＭＳ Ｐゴシック" charset="-128"/>
                <a:cs typeface="+mn-cs"/>
              </a:rPr>
              <a:t>€ 6 </a:t>
            </a:r>
            <a:r>
              <a:rPr lang="en-US" altLang="ja-JP" sz="825" kern="1200" dirty="0" err="1">
                <a:solidFill>
                  <a:srgbClr val="313131"/>
                </a:solidFill>
                <a:ea typeface="ＭＳ Ｐゴシック" charset="-128"/>
                <a:cs typeface="+mn-cs"/>
              </a:rPr>
              <a:t>mln</a:t>
            </a:r>
            <a:endParaRPr lang="en-US" altLang="ja-JP" sz="825" kern="1200" dirty="0">
              <a:solidFill>
                <a:srgbClr val="313131"/>
              </a:solidFill>
              <a:ea typeface="ＭＳ Ｐゴシック" charset="-128"/>
              <a:cs typeface="+mn-cs"/>
            </a:endParaRPr>
          </a:p>
        </p:txBody>
      </p:sp>
      <p:sp>
        <p:nvSpPr>
          <p:cNvPr id="371729" name="Text Box 20"/>
          <p:cNvSpPr txBox="1">
            <a:spLocks noChangeArrowheads="1"/>
          </p:cNvSpPr>
          <p:nvPr>
            <p:custDataLst>
              <p:tags r:id="rId10"/>
            </p:custDataLst>
          </p:nvPr>
        </p:nvSpPr>
        <p:spPr bwMode="auto">
          <a:xfrm>
            <a:off x="3123010" y="1549004"/>
            <a:ext cx="1824050" cy="308443"/>
          </a:xfrm>
          <a:prstGeom prst="rect">
            <a:avLst/>
          </a:prstGeom>
          <a:noFill/>
          <a:ln w="9525" algn="ctr">
            <a:noFill/>
            <a:miter lim="800000"/>
            <a:headEnd/>
            <a:tailEnd/>
          </a:ln>
        </p:spPr>
        <p:txBody>
          <a:bodyPr wrap="square" lIns="27000" tIns="27000" rIns="27000" bIns="27000">
            <a:spAutoFit/>
          </a:bodyPr>
          <a:lstStyle/>
          <a:p>
            <a:pPr marL="130969" indent="-130969" defTabSz="685800">
              <a:buClrTx/>
            </a:pPr>
            <a:r>
              <a:rPr lang="en-US" altLang="ja-JP" sz="825" kern="1200" dirty="0">
                <a:solidFill>
                  <a:srgbClr val="313131"/>
                </a:solidFill>
                <a:ea typeface="ＭＳ Ｐゴシック" charset="-128"/>
                <a:cs typeface="+mn-cs"/>
              </a:rPr>
              <a:t>Savings Category A:  € .. </a:t>
            </a:r>
            <a:r>
              <a:rPr lang="en-US" altLang="ja-JP" sz="825" kern="1200" dirty="0" err="1">
                <a:solidFill>
                  <a:srgbClr val="313131"/>
                </a:solidFill>
                <a:ea typeface="ＭＳ Ｐゴシック" charset="-128"/>
                <a:cs typeface="+mn-cs"/>
              </a:rPr>
              <a:t>mln</a:t>
            </a:r>
            <a:r>
              <a:rPr lang="en-US" altLang="ja-JP" sz="825" kern="1200" dirty="0">
                <a:solidFill>
                  <a:srgbClr val="313131"/>
                </a:solidFill>
                <a:ea typeface="ＭＳ Ｐゴシック" charset="-128"/>
                <a:cs typeface="+mn-cs"/>
              </a:rPr>
              <a:t>:</a:t>
            </a:r>
          </a:p>
          <a:p>
            <a:pPr marL="130969" indent="-130969" defTabSz="685800">
              <a:buClrTx/>
              <a:buFontTx/>
              <a:buChar char="•"/>
            </a:pPr>
            <a:r>
              <a:rPr lang="en-US" altLang="ja-JP" sz="825" kern="1200" dirty="0">
                <a:solidFill>
                  <a:srgbClr val="313131"/>
                </a:solidFill>
                <a:ea typeface="ＭＳ Ｐゴシック" charset="-128"/>
                <a:cs typeface="+mn-cs"/>
              </a:rPr>
              <a:t>..</a:t>
            </a:r>
          </a:p>
        </p:txBody>
      </p:sp>
      <p:sp>
        <p:nvSpPr>
          <p:cNvPr id="371730" name="Text Box 21"/>
          <p:cNvSpPr txBox="1">
            <a:spLocks noChangeArrowheads="1"/>
          </p:cNvSpPr>
          <p:nvPr>
            <p:custDataLst>
              <p:tags r:id="rId11"/>
            </p:custDataLst>
          </p:nvPr>
        </p:nvSpPr>
        <p:spPr bwMode="auto">
          <a:xfrm>
            <a:off x="3123010" y="1941196"/>
            <a:ext cx="1831456" cy="308443"/>
          </a:xfrm>
          <a:prstGeom prst="rect">
            <a:avLst/>
          </a:prstGeom>
          <a:noFill/>
          <a:ln w="9525" algn="ctr">
            <a:noFill/>
            <a:miter lim="800000"/>
            <a:headEnd/>
            <a:tailEnd/>
          </a:ln>
        </p:spPr>
        <p:txBody>
          <a:bodyPr wrap="square" lIns="27000" tIns="27000" rIns="27000" bIns="27000">
            <a:spAutoFit/>
          </a:bodyPr>
          <a:lstStyle/>
          <a:p>
            <a:pPr marL="130969" indent="-130969" defTabSz="685800">
              <a:buClrTx/>
            </a:pPr>
            <a:r>
              <a:rPr lang="en-US" altLang="ja-JP" sz="825" kern="1200" dirty="0">
                <a:solidFill>
                  <a:srgbClr val="313131"/>
                </a:solidFill>
                <a:ea typeface="ＭＳ Ｐゴシック" charset="-128"/>
                <a:cs typeface="+mn-cs"/>
              </a:rPr>
              <a:t>Savings Category B:  € .. </a:t>
            </a:r>
            <a:r>
              <a:rPr lang="en-US" altLang="ja-JP" sz="825" kern="1200" dirty="0" err="1">
                <a:solidFill>
                  <a:srgbClr val="313131"/>
                </a:solidFill>
                <a:ea typeface="ＭＳ Ｐゴシック" charset="-128"/>
                <a:cs typeface="+mn-cs"/>
              </a:rPr>
              <a:t>mln</a:t>
            </a:r>
            <a:r>
              <a:rPr lang="en-US" altLang="ja-JP" sz="825" kern="1200" dirty="0">
                <a:solidFill>
                  <a:srgbClr val="313131"/>
                </a:solidFill>
                <a:ea typeface="ＭＳ Ｐゴシック" charset="-128"/>
                <a:cs typeface="+mn-cs"/>
              </a:rPr>
              <a:t>:</a:t>
            </a:r>
          </a:p>
          <a:p>
            <a:pPr marL="130969" indent="-130969" defTabSz="685800">
              <a:buClrTx/>
              <a:buFontTx/>
              <a:buChar char="•"/>
            </a:pPr>
            <a:r>
              <a:rPr lang="en-US" altLang="ja-JP" sz="825" kern="1200" dirty="0">
                <a:solidFill>
                  <a:srgbClr val="313131"/>
                </a:solidFill>
                <a:ea typeface="ＭＳ Ｐゴシック" charset="-128"/>
                <a:cs typeface="+mn-cs"/>
              </a:rPr>
              <a:t>..</a:t>
            </a:r>
          </a:p>
        </p:txBody>
      </p:sp>
      <p:sp>
        <p:nvSpPr>
          <p:cNvPr id="371731" name="Text Box 22"/>
          <p:cNvSpPr txBox="1">
            <a:spLocks noChangeArrowheads="1"/>
          </p:cNvSpPr>
          <p:nvPr>
            <p:custDataLst>
              <p:tags r:id="rId12"/>
            </p:custDataLst>
          </p:nvPr>
        </p:nvSpPr>
        <p:spPr bwMode="auto">
          <a:xfrm>
            <a:off x="3123010" y="2333387"/>
            <a:ext cx="1838669" cy="308443"/>
          </a:xfrm>
          <a:prstGeom prst="rect">
            <a:avLst/>
          </a:prstGeom>
          <a:noFill/>
          <a:ln w="9525" algn="ctr">
            <a:noFill/>
            <a:miter lim="800000"/>
            <a:headEnd/>
            <a:tailEnd/>
          </a:ln>
        </p:spPr>
        <p:txBody>
          <a:bodyPr wrap="square" lIns="27000" tIns="27000" rIns="27000" bIns="27000">
            <a:spAutoFit/>
          </a:bodyPr>
          <a:lstStyle/>
          <a:p>
            <a:pPr marL="130969" indent="-130969" defTabSz="685800">
              <a:buClrTx/>
            </a:pPr>
            <a:r>
              <a:rPr lang="en-US" altLang="ja-JP" sz="825" kern="1200" dirty="0">
                <a:solidFill>
                  <a:srgbClr val="313131"/>
                </a:solidFill>
                <a:ea typeface="ＭＳ Ｐゴシック" charset="-128"/>
                <a:cs typeface="+mn-cs"/>
              </a:rPr>
              <a:t>Savings Category C:  € .. </a:t>
            </a:r>
            <a:r>
              <a:rPr lang="en-US" altLang="ja-JP" sz="825" kern="1200" dirty="0" err="1">
                <a:solidFill>
                  <a:srgbClr val="313131"/>
                </a:solidFill>
                <a:ea typeface="ＭＳ Ｐゴシック" charset="-128"/>
                <a:cs typeface="+mn-cs"/>
              </a:rPr>
              <a:t>mln</a:t>
            </a:r>
            <a:r>
              <a:rPr lang="en-US" altLang="ja-JP" sz="825" kern="1200" dirty="0">
                <a:solidFill>
                  <a:srgbClr val="313131"/>
                </a:solidFill>
                <a:ea typeface="ＭＳ Ｐゴシック" charset="-128"/>
                <a:cs typeface="+mn-cs"/>
              </a:rPr>
              <a:t>:</a:t>
            </a:r>
          </a:p>
          <a:p>
            <a:pPr marL="130969" indent="-130969" defTabSz="685800">
              <a:buClrTx/>
              <a:buFontTx/>
              <a:buChar char="•"/>
            </a:pPr>
            <a:r>
              <a:rPr lang="en-US" altLang="ja-JP" sz="825" kern="1200" dirty="0">
                <a:solidFill>
                  <a:srgbClr val="313131"/>
                </a:solidFill>
                <a:ea typeface="ＭＳ Ｐゴシック" charset="-128"/>
                <a:cs typeface="+mn-cs"/>
              </a:rPr>
              <a:t>..</a:t>
            </a:r>
          </a:p>
        </p:txBody>
      </p:sp>
      <p:sp>
        <p:nvSpPr>
          <p:cNvPr id="371732" name="Text Box 23"/>
          <p:cNvSpPr txBox="1">
            <a:spLocks noChangeArrowheads="1"/>
          </p:cNvSpPr>
          <p:nvPr>
            <p:custDataLst>
              <p:tags r:id="rId13"/>
            </p:custDataLst>
          </p:nvPr>
        </p:nvSpPr>
        <p:spPr bwMode="auto">
          <a:xfrm>
            <a:off x="2229792" y="1141810"/>
            <a:ext cx="908944" cy="377693"/>
          </a:xfrm>
          <a:prstGeom prst="rect">
            <a:avLst/>
          </a:prstGeom>
          <a:noFill/>
          <a:ln w="9525" algn="ctr">
            <a:noFill/>
            <a:miter lim="800000"/>
            <a:headEnd/>
            <a:tailEnd/>
          </a:ln>
        </p:spPr>
        <p:txBody>
          <a:bodyPr wrap="square" lIns="27000" tIns="27000" rIns="27000" bIns="27000">
            <a:spAutoFit/>
          </a:bodyPr>
          <a:lstStyle/>
          <a:p>
            <a:pPr algn="ctr" defTabSz="685800">
              <a:buClrTx/>
            </a:pPr>
            <a:r>
              <a:rPr lang="en-US" altLang="ja-JP" sz="1050" b="1" kern="1200" dirty="0">
                <a:solidFill>
                  <a:srgbClr val="313131"/>
                </a:solidFill>
                <a:ea typeface="ＭＳ Ｐゴシック" charset="-128"/>
                <a:cs typeface="+mn-cs"/>
              </a:rPr>
              <a:t>Total: € .. </a:t>
            </a:r>
            <a:r>
              <a:rPr lang="en-US" altLang="ja-JP" sz="1050" b="1" kern="1200" dirty="0" err="1">
                <a:solidFill>
                  <a:srgbClr val="313131"/>
                </a:solidFill>
                <a:ea typeface="ＭＳ Ｐゴシック" charset="-128"/>
                <a:cs typeface="+mn-cs"/>
              </a:rPr>
              <a:t>mln</a:t>
            </a:r>
            <a:endParaRPr lang="en-US" altLang="ja-JP" sz="1050" b="1" kern="1200" dirty="0">
              <a:solidFill>
                <a:srgbClr val="313131"/>
              </a:solidFill>
              <a:ea typeface="ＭＳ Ｐゴシック" charset="-128"/>
              <a:cs typeface="+mn-cs"/>
            </a:endParaRPr>
          </a:p>
        </p:txBody>
      </p:sp>
      <p:sp>
        <p:nvSpPr>
          <p:cNvPr id="371733" name="Text Box 29"/>
          <p:cNvSpPr txBox="1">
            <a:spLocks noChangeArrowheads="1"/>
          </p:cNvSpPr>
          <p:nvPr>
            <p:custDataLst>
              <p:tags r:id="rId14"/>
            </p:custDataLst>
          </p:nvPr>
        </p:nvSpPr>
        <p:spPr bwMode="auto">
          <a:xfrm>
            <a:off x="1909118" y="1796356"/>
            <a:ext cx="432035" cy="181485"/>
          </a:xfrm>
          <a:prstGeom prst="rect">
            <a:avLst/>
          </a:prstGeom>
          <a:noFill/>
          <a:ln w="9525" algn="ctr">
            <a:noFill/>
            <a:miter lim="800000"/>
            <a:headEnd/>
            <a:tailEnd/>
          </a:ln>
        </p:spPr>
        <p:txBody>
          <a:bodyPr wrap="square" lIns="27000" tIns="27000" rIns="27000" bIns="27000">
            <a:spAutoFit/>
          </a:bodyPr>
          <a:lstStyle/>
          <a:p>
            <a:pPr algn="r" defTabSz="685800">
              <a:buClrTx/>
            </a:pPr>
            <a:r>
              <a:rPr lang="en-US" altLang="ja-JP" sz="825" kern="1200" dirty="0">
                <a:solidFill>
                  <a:srgbClr val="313131"/>
                </a:solidFill>
                <a:ea typeface="ＭＳ Ｐゴシック" charset="-128"/>
                <a:cs typeface="+mn-cs"/>
              </a:rPr>
              <a:t>€ 7 </a:t>
            </a:r>
            <a:r>
              <a:rPr lang="en-US" altLang="ja-JP" sz="825" kern="1200" dirty="0" err="1">
                <a:solidFill>
                  <a:srgbClr val="313131"/>
                </a:solidFill>
                <a:ea typeface="ＭＳ Ｐゴシック" charset="-128"/>
                <a:cs typeface="+mn-cs"/>
              </a:rPr>
              <a:t>mln</a:t>
            </a:r>
            <a:endParaRPr lang="en-US" altLang="ja-JP" sz="825" kern="1200" dirty="0">
              <a:solidFill>
                <a:srgbClr val="313131"/>
              </a:solidFill>
              <a:ea typeface="ＭＳ Ｐゴシック" charset="-128"/>
              <a:cs typeface="+mn-cs"/>
            </a:endParaRPr>
          </a:p>
        </p:txBody>
      </p:sp>
      <p:sp>
        <p:nvSpPr>
          <p:cNvPr id="371734" name="Text Box 31"/>
          <p:cNvSpPr txBox="1">
            <a:spLocks noChangeArrowheads="1"/>
          </p:cNvSpPr>
          <p:nvPr>
            <p:custDataLst>
              <p:tags r:id="rId15"/>
            </p:custDataLst>
          </p:nvPr>
        </p:nvSpPr>
        <p:spPr bwMode="auto">
          <a:xfrm>
            <a:off x="1906737" y="2367261"/>
            <a:ext cx="432035" cy="181485"/>
          </a:xfrm>
          <a:prstGeom prst="rect">
            <a:avLst/>
          </a:prstGeom>
          <a:noFill/>
          <a:ln w="9525" algn="ctr">
            <a:noFill/>
            <a:miter lim="800000"/>
            <a:headEnd/>
            <a:tailEnd/>
          </a:ln>
        </p:spPr>
        <p:txBody>
          <a:bodyPr wrap="square" lIns="27000" tIns="27000" rIns="27000" bIns="27000">
            <a:spAutoFit/>
          </a:bodyPr>
          <a:lstStyle/>
          <a:p>
            <a:pPr algn="r" defTabSz="685800">
              <a:buClrTx/>
            </a:pPr>
            <a:r>
              <a:rPr lang="en-US" altLang="ja-JP" sz="825" kern="1200">
                <a:solidFill>
                  <a:srgbClr val="313131"/>
                </a:solidFill>
                <a:ea typeface="ＭＳ Ｐゴシック" charset="-128"/>
                <a:cs typeface="+mn-cs"/>
              </a:rPr>
              <a:t>€ 5 mln</a:t>
            </a:r>
          </a:p>
        </p:txBody>
      </p:sp>
      <p:sp>
        <p:nvSpPr>
          <p:cNvPr id="371735" name="Text Box 35"/>
          <p:cNvSpPr txBox="1">
            <a:spLocks noChangeArrowheads="1"/>
          </p:cNvSpPr>
          <p:nvPr>
            <p:custDataLst>
              <p:tags r:id="rId16"/>
            </p:custDataLst>
          </p:nvPr>
        </p:nvSpPr>
        <p:spPr bwMode="auto">
          <a:xfrm>
            <a:off x="1906737" y="1510904"/>
            <a:ext cx="432035" cy="181485"/>
          </a:xfrm>
          <a:prstGeom prst="rect">
            <a:avLst/>
          </a:prstGeom>
          <a:noFill/>
          <a:ln w="9525" algn="ctr">
            <a:noFill/>
            <a:miter lim="800000"/>
            <a:headEnd/>
            <a:tailEnd/>
          </a:ln>
        </p:spPr>
        <p:txBody>
          <a:bodyPr wrap="square" lIns="27000" tIns="27000" rIns="27000" bIns="27000">
            <a:spAutoFit/>
          </a:bodyPr>
          <a:lstStyle/>
          <a:p>
            <a:pPr algn="r" defTabSz="685800">
              <a:buClrTx/>
            </a:pPr>
            <a:r>
              <a:rPr lang="en-US" altLang="ja-JP" sz="825" kern="1200" dirty="0">
                <a:solidFill>
                  <a:srgbClr val="313131"/>
                </a:solidFill>
                <a:ea typeface="ＭＳ Ｐゴシック" charset="-128"/>
                <a:cs typeface="+mn-cs"/>
              </a:rPr>
              <a:t>€ 8 </a:t>
            </a:r>
            <a:r>
              <a:rPr lang="en-US" altLang="ja-JP" sz="825" kern="1200" dirty="0" err="1">
                <a:solidFill>
                  <a:srgbClr val="313131"/>
                </a:solidFill>
                <a:ea typeface="ＭＳ Ｐゴシック" charset="-128"/>
                <a:cs typeface="+mn-cs"/>
              </a:rPr>
              <a:t>mln</a:t>
            </a:r>
            <a:endParaRPr lang="en-US" altLang="ja-JP" sz="825" kern="1200" dirty="0">
              <a:solidFill>
                <a:srgbClr val="313131"/>
              </a:solidFill>
              <a:ea typeface="ＭＳ Ｐゴシック" charset="-128"/>
              <a:cs typeface="+mn-cs"/>
            </a:endParaRPr>
          </a:p>
        </p:txBody>
      </p:sp>
      <p:sp>
        <p:nvSpPr>
          <p:cNvPr id="371736" name="Text Box 36"/>
          <p:cNvSpPr txBox="1">
            <a:spLocks noChangeArrowheads="1"/>
          </p:cNvSpPr>
          <p:nvPr>
            <p:custDataLst>
              <p:tags r:id="rId17"/>
            </p:custDataLst>
          </p:nvPr>
        </p:nvSpPr>
        <p:spPr bwMode="auto">
          <a:xfrm>
            <a:off x="3123010" y="2725579"/>
            <a:ext cx="1838669" cy="308443"/>
          </a:xfrm>
          <a:prstGeom prst="rect">
            <a:avLst/>
          </a:prstGeom>
          <a:noFill/>
          <a:ln w="9525" algn="ctr">
            <a:noFill/>
            <a:miter lim="800000"/>
            <a:headEnd/>
            <a:tailEnd/>
          </a:ln>
        </p:spPr>
        <p:txBody>
          <a:bodyPr wrap="square" lIns="27000" tIns="27000" rIns="27000" bIns="27000">
            <a:spAutoFit/>
          </a:bodyPr>
          <a:lstStyle/>
          <a:p>
            <a:pPr defTabSz="685800">
              <a:buClrTx/>
            </a:pPr>
            <a:r>
              <a:rPr lang="en-US" altLang="ja-JP" sz="825" kern="1200" dirty="0">
                <a:solidFill>
                  <a:srgbClr val="313131"/>
                </a:solidFill>
                <a:ea typeface="ＭＳ Ｐゴシック" charset="-128"/>
                <a:cs typeface="+mn-cs"/>
              </a:rPr>
              <a:t>Savings Category D:  € .. </a:t>
            </a:r>
            <a:r>
              <a:rPr lang="en-US" altLang="ja-JP" sz="825" kern="1200" dirty="0" err="1">
                <a:solidFill>
                  <a:srgbClr val="313131"/>
                </a:solidFill>
                <a:ea typeface="ＭＳ Ｐゴシック" charset="-128"/>
                <a:cs typeface="+mn-cs"/>
              </a:rPr>
              <a:t>mln</a:t>
            </a:r>
            <a:r>
              <a:rPr lang="en-US" altLang="ja-JP" sz="825" kern="1200" dirty="0">
                <a:solidFill>
                  <a:srgbClr val="313131"/>
                </a:solidFill>
                <a:ea typeface="ＭＳ Ｐゴシック" charset="-128"/>
                <a:cs typeface="+mn-cs"/>
              </a:rPr>
              <a:t>:</a:t>
            </a:r>
          </a:p>
          <a:p>
            <a:pPr defTabSz="685800">
              <a:buClrTx/>
              <a:buFontTx/>
              <a:buChar char="•"/>
            </a:pPr>
            <a:r>
              <a:rPr lang="en-US" altLang="ja-JP" sz="825" kern="1200" dirty="0">
                <a:solidFill>
                  <a:srgbClr val="313131"/>
                </a:solidFill>
                <a:ea typeface="ＭＳ Ｐゴシック" charset="-128"/>
                <a:cs typeface="+mn-cs"/>
              </a:rPr>
              <a:t>..</a:t>
            </a:r>
          </a:p>
        </p:txBody>
      </p:sp>
      <p:sp>
        <p:nvSpPr>
          <p:cNvPr id="371737" name="Rectangle 37"/>
          <p:cNvSpPr>
            <a:spLocks noChangeArrowheads="1"/>
          </p:cNvSpPr>
          <p:nvPr>
            <p:custDataLst>
              <p:tags r:id="rId18"/>
            </p:custDataLst>
          </p:nvPr>
        </p:nvSpPr>
        <p:spPr bwMode="auto">
          <a:xfrm>
            <a:off x="6823574" y="3937271"/>
            <a:ext cx="270000" cy="135000"/>
          </a:xfrm>
          <a:prstGeom prst="rect">
            <a:avLst/>
          </a:prstGeom>
          <a:solidFill>
            <a:srgbClr val="575757"/>
          </a:solidFill>
          <a:ln w="12700" algn="ctr">
            <a:solidFill>
              <a:schemeClr val="bg1"/>
            </a:solidFill>
            <a:miter lim="800000"/>
            <a:headEnd/>
            <a:tailEnd/>
          </a:ln>
        </p:spPr>
        <p:txBody>
          <a:bodyPr wrap="square" lIns="27000" tIns="27000" rIns="27000" bIns="27000" anchor="ctr"/>
          <a:lstStyle/>
          <a:p>
            <a:pPr algn="ctr" defTabSz="685800">
              <a:buClrTx/>
            </a:pPr>
            <a:endParaRPr lang="en-US" sz="900" kern="1200">
              <a:solidFill>
                <a:srgbClr val="313131"/>
              </a:solidFill>
              <a:ea typeface="+mn-ea"/>
              <a:cs typeface="+mn-cs"/>
            </a:endParaRPr>
          </a:p>
        </p:txBody>
      </p:sp>
      <p:sp>
        <p:nvSpPr>
          <p:cNvPr id="371738" name="Rectangle 38"/>
          <p:cNvSpPr>
            <a:spLocks noChangeArrowheads="1"/>
          </p:cNvSpPr>
          <p:nvPr>
            <p:custDataLst>
              <p:tags r:id="rId19"/>
            </p:custDataLst>
          </p:nvPr>
        </p:nvSpPr>
        <p:spPr bwMode="auto">
          <a:xfrm>
            <a:off x="6823574" y="4105565"/>
            <a:ext cx="270000" cy="135000"/>
          </a:xfrm>
          <a:prstGeom prst="rect">
            <a:avLst/>
          </a:prstGeom>
          <a:solidFill>
            <a:srgbClr val="313131"/>
          </a:solidFill>
          <a:ln w="12700" algn="ctr">
            <a:solidFill>
              <a:schemeClr val="bg1"/>
            </a:solidFill>
            <a:miter lim="800000"/>
            <a:headEnd/>
            <a:tailEnd/>
          </a:ln>
        </p:spPr>
        <p:txBody>
          <a:bodyPr wrap="square" lIns="27000" tIns="27000" rIns="27000" bIns="27000" anchor="ctr"/>
          <a:lstStyle/>
          <a:p>
            <a:pPr algn="ctr" defTabSz="685800">
              <a:buClrTx/>
            </a:pPr>
            <a:endParaRPr lang="en-US" sz="900" kern="1200">
              <a:solidFill>
                <a:srgbClr val="313131"/>
              </a:solidFill>
              <a:ea typeface="+mn-ea"/>
              <a:cs typeface="+mn-cs"/>
            </a:endParaRPr>
          </a:p>
        </p:txBody>
      </p:sp>
      <p:sp>
        <p:nvSpPr>
          <p:cNvPr id="129" name="Rectangle 39"/>
          <p:cNvSpPr>
            <a:spLocks noChangeArrowheads="1"/>
          </p:cNvSpPr>
          <p:nvPr>
            <p:custDataLst>
              <p:tags r:id="rId20"/>
            </p:custDataLst>
          </p:nvPr>
        </p:nvSpPr>
        <p:spPr bwMode="auto">
          <a:xfrm>
            <a:off x="6823574" y="4273859"/>
            <a:ext cx="270000" cy="135000"/>
          </a:xfrm>
          <a:prstGeom prst="rect">
            <a:avLst/>
          </a:prstGeom>
          <a:solidFill>
            <a:srgbClr val="B4B4B4"/>
          </a:solidFill>
          <a:ln w="12700" algn="ctr">
            <a:solidFill>
              <a:schemeClr val="bg1"/>
            </a:solidFill>
            <a:miter lim="800000"/>
            <a:headEnd/>
            <a:tailEnd/>
          </a:ln>
        </p:spPr>
        <p:txBody>
          <a:bodyPr wrap="square" lIns="27000" tIns="27000" rIns="27000" bIns="27000" anchor="ctr"/>
          <a:lstStyle/>
          <a:p>
            <a:pPr algn="ctr" defTabSz="685800">
              <a:buClrTx/>
              <a:defRPr/>
            </a:pPr>
            <a:endParaRPr lang="en-US" sz="900" kern="1200" dirty="0">
              <a:solidFill>
                <a:srgbClr val="313131"/>
              </a:solidFill>
              <a:ea typeface="+mn-ea"/>
              <a:cs typeface="+mn-cs"/>
            </a:endParaRPr>
          </a:p>
        </p:txBody>
      </p:sp>
      <p:sp>
        <p:nvSpPr>
          <p:cNvPr id="371740" name="Text Box 40"/>
          <p:cNvSpPr txBox="1">
            <a:spLocks noChangeArrowheads="1"/>
          </p:cNvSpPr>
          <p:nvPr>
            <p:custDataLst>
              <p:tags r:id="rId21"/>
            </p:custDataLst>
          </p:nvPr>
        </p:nvSpPr>
        <p:spPr bwMode="auto">
          <a:xfrm>
            <a:off x="7122646" y="4283651"/>
            <a:ext cx="484107" cy="115416"/>
          </a:xfrm>
          <a:prstGeom prst="rect">
            <a:avLst/>
          </a:prstGeom>
          <a:noFill/>
          <a:ln w="9525" algn="ctr">
            <a:noFill/>
            <a:miter lim="800000"/>
            <a:headEnd/>
            <a:tailEnd/>
          </a:ln>
        </p:spPr>
        <p:txBody>
          <a:bodyPr wrap="none" lIns="0" tIns="0" rIns="0" bIns="0" anchor="ctr" anchorCtr="0">
            <a:spAutoFit/>
          </a:bodyPr>
          <a:lstStyle/>
          <a:p>
            <a:pPr defTabSz="685800">
              <a:buClrTx/>
            </a:pPr>
            <a:r>
              <a:rPr lang="en-US" altLang="ja-JP" sz="750" kern="1200">
                <a:solidFill>
                  <a:srgbClr val="313131"/>
                </a:solidFill>
                <a:ea typeface="ＭＳ Ｐゴシック" charset="-128"/>
                <a:cs typeface="+mn-cs"/>
              </a:rPr>
              <a:t>Category C</a:t>
            </a:r>
            <a:endParaRPr lang="en-US" altLang="ja-JP" sz="750" kern="1200" dirty="0">
              <a:solidFill>
                <a:srgbClr val="313131"/>
              </a:solidFill>
              <a:ea typeface="ＭＳ Ｐゴシック" charset="-128"/>
              <a:cs typeface="+mn-cs"/>
            </a:endParaRPr>
          </a:p>
        </p:txBody>
      </p:sp>
      <p:sp>
        <p:nvSpPr>
          <p:cNvPr id="371741" name="Text Box 41"/>
          <p:cNvSpPr txBox="1">
            <a:spLocks noChangeArrowheads="1"/>
          </p:cNvSpPr>
          <p:nvPr>
            <p:custDataLst>
              <p:tags r:id="rId22"/>
            </p:custDataLst>
          </p:nvPr>
        </p:nvSpPr>
        <p:spPr bwMode="auto">
          <a:xfrm>
            <a:off x="7122645" y="4115357"/>
            <a:ext cx="479298" cy="115416"/>
          </a:xfrm>
          <a:prstGeom prst="rect">
            <a:avLst/>
          </a:prstGeom>
          <a:noFill/>
          <a:ln w="9525" algn="ctr">
            <a:noFill/>
            <a:miter lim="800000"/>
            <a:headEnd/>
            <a:tailEnd/>
          </a:ln>
        </p:spPr>
        <p:txBody>
          <a:bodyPr wrap="none" lIns="0" tIns="0" rIns="0" bIns="0" anchor="ctr" anchorCtr="0">
            <a:spAutoFit/>
          </a:bodyPr>
          <a:lstStyle/>
          <a:p>
            <a:pPr defTabSz="685800">
              <a:buClrTx/>
            </a:pPr>
            <a:r>
              <a:rPr lang="en-US" altLang="ja-JP" sz="750" kern="1200">
                <a:solidFill>
                  <a:srgbClr val="313131"/>
                </a:solidFill>
                <a:ea typeface="ＭＳ Ｐゴシック" charset="-128"/>
                <a:cs typeface="+mn-cs"/>
              </a:rPr>
              <a:t>Category B</a:t>
            </a:r>
            <a:endParaRPr lang="en-US" altLang="ja-JP" sz="750" kern="1200" dirty="0">
              <a:solidFill>
                <a:srgbClr val="313131"/>
              </a:solidFill>
              <a:ea typeface="ＭＳ Ｐゴシック" charset="-128"/>
              <a:cs typeface="+mn-cs"/>
            </a:endParaRPr>
          </a:p>
        </p:txBody>
      </p:sp>
      <p:sp>
        <p:nvSpPr>
          <p:cNvPr id="371742" name="Text Box 42"/>
          <p:cNvSpPr txBox="1">
            <a:spLocks noChangeArrowheads="1"/>
          </p:cNvSpPr>
          <p:nvPr>
            <p:custDataLst>
              <p:tags r:id="rId23"/>
            </p:custDataLst>
          </p:nvPr>
        </p:nvSpPr>
        <p:spPr bwMode="auto">
          <a:xfrm>
            <a:off x="7122645" y="3947063"/>
            <a:ext cx="479298" cy="115416"/>
          </a:xfrm>
          <a:prstGeom prst="rect">
            <a:avLst/>
          </a:prstGeom>
          <a:noFill/>
          <a:ln w="9525" algn="ctr">
            <a:noFill/>
            <a:miter lim="800000"/>
            <a:headEnd/>
            <a:tailEnd/>
          </a:ln>
        </p:spPr>
        <p:txBody>
          <a:bodyPr wrap="none" lIns="0" tIns="0" rIns="0" bIns="0" anchor="ctr" anchorCtr="0">
            <a:spAutoFit/>
          </a:bodyPr>
          <a:lstStyle/>
          <a:p>
            <a:pPr defTabSz="685800">
              <a:buClrTx/>
            </a:pPr>
            <a:r>
              <a:rPr lang="en-US" altLang="ja-JP" sz="750" kern="1200">
                <a:solidFill>
                  <a:srgbClr val="313131"/>
                </a:solidFill>
                <a:ea typeface="ＭＳ Ｐゴシック" charset="-128"/>
                <a:cs typeface="+mn-cs"/>
              </a:rPr>
              <a:t>Category A</a:t>
            </a:r>
            <a:endParaRPr lang="en-US" altLang="ja-JP" sz="750" kern="1200" dirty="0">
              <a:solidFill>
                <a:srgbClr val="313131"/>
              </a:solidFill>
              <a:ea typeface="ＭＳ Ｐゴシック" charset="-128"/>
              <a:cs typeface="+mn-cs"/>
            </a:endParaRPr>
          </a:p>
        </p:txBody>
      </p:sp>
      <p:sp>
        <p:nvSpPr>
          <p:cNvPr id="133" name="Rectangle 43"/>
          <p:cNvSpPr>
            <a:spLocks noChangeArrowheads="1"/>
          </p:cNvSpPr>
          <p:nvPr>
            <p:custDataLst>
              <p:tags r:id="rId24"/>
            </p:custDataLst>
          </p:nvPr>
        </p:nvSpPr>
        <p:spPr bwMode="auto">
          <a:xfrm>
            <a:off x="6823574" y="4426500"/>
            <a:ext cx="270000" cy="135000"/>
          </a:xfrm>
          <a:prstGeom prst="rect">
            <a:avLst/>
          </a:prstGeom>
          <a:solidFill>
            <a:srgbClr val="8C8C8C"/>
          </a:solidFill>
          <a:ln w="12700" algn="ctr">
            <a:solidFill>
              <a:schemeClr val="bg1"/>
            </a:solidFill>
            <a:miter lim="800000"/>
            <a:headEnd/>
            <a:tailEnd/>
          </a:ln>
        </p:spPr>
        <p:txBody>
          <a:bodyPr wrap="square" lIns="27000" tIns="27000" rIns="27000" bIns="27000" anchor="ctr" anchorCtr="0"/>
          <a:lstStyle/>
          <a:p>
            <a:pPr algn="ctr" defTabSz="685800">
              <a:buClrTx/>
              <a:defRPr/>
            </a:pPr>
            <a:endParaRPr lang="en-US" sz="900" kern="1200" dirty="0">
              <a:solidFill>
                <a:srgbClr val="313131"/>
              </a:solidFill>
              <a:ea typeface="+mn-ea"/>
              <a:cs typeface="+mn-cs"/>
            </a:endParaRPr>
          </a:p>
        </p:txBody>
      </p:sp>
      <p:sp>
        <p:nvSpPr>
          <p:cNvPr id="371744" name="Text Box 44"/>
          <p:cNvSpPr txBox="1">
            <a:spLocks noChangeArrowheads="1"/>
          </p:cNvSpPr>
          <p:nvPr>
            <p:custDataLst>
              <p:tags r:id="rId25"/>
            </p:custDataLst>
          </p:nvPr>
        </p:nvSpPr>
        <p:spPr bwMode="auto">
          <a:xfrm>
            <a:off x="7122646" y="4436292"/>
            <a:ext cx="484107" cy="115416"/>
          </a:xfrm>
          <a:prstGeom prst="rect">
            <a:avLst/>
          </a:prstGeom>
          <a:noFill/>
          <a:ln w="9525" algn="ctr">
            <a:noFill/>
            <a:miter lim="800000"/>
            <a:headEnd/>
            <a:tailEnd/>
          </a:ln>
        </p:spPr>
        <p:txBody>
          <a:bodyPr wrap="none" lIns="0" tIns="0" rIns="0" bIns="0" anchor="ctr" anchorCtr="0">
            <a:spAutoFit/>
          </a:bodyPr>
          <a:lstStyle/>
          <a:p>
            <a:pPr defTabSz="685800">
              <a:buClrTx/>
            </a:pPr>
            <a:r>
              <a:rPr lang="en-US" altLang="ja-JP" sz="750" kern="1200" dirty="0">
                <a:solidFill>
                  <a:srgbClr val="313131"/>
                </a:solidFill>
                <a:ea typeface="ＭＳ Ｐゴシック" charset="-128"/>
                <a:cs typeface="+mn-cs"/>
              </a:rPr>
              <a:t>Category D</a:t>
            </a:r>
          </a:p>
        </p:txBody>
      </p:sp>
      <p:sp>
        <p:nvSpPr>
          <p:cNvPr id="135" name="Rectangle 45"/>
          <p:cNvSpPr>
            <a:spLocks noChangeArrowheads="1"/>
          </p:cNvSpPr>
          <p:nvPr>
            <p:custDataLst>
              <p:tags r:id="rId26"/>
            </p:custDataLst>
          </p:nvPr>
        </p:nvSpPr>
        <p:spPr bwMode="auto">
          <a:xfrm>
            <a:off x="6823574" y="4594794"/>
            <a:ext cx="270000" cy="135000"/>
          </a:xfrm>
          <a:prstGeom prst="rect">
            <a:avLst/>
          </a:prstGeom>
          <a:solidFill>
            <a:srgbClr val="81BC00"/>
          </a:solidFill>
          <a:ln w="12700" algn="ctr">
            <a:solidFill>
              <a:schemeClr val="bg1"/>
            </a:solidFill>
            <a:miter lim="800000"/>
            <a:headEnd/>
            <a:tailEnd/>
          </a:ln>
        </p:spPr>
        <p:txBody>
          <a:bodyPr wrap="square" lIns="27000" tIns="27000" rIns="27000" bIns="27000" anchor="ctr" anchorCtr="0"/>
          <a:lstStyle/>
          <a:p>
            <a:pPr algn="ctr" defTabSz="685800">
              <a:buClrTx/>
              <a:defRPr/>
            </a:pPr>
            <a:endParaRPr lang="en-US" sz="900" kern="1200" dirty="0">
              <a:solidFill>
                <a:srgbClr val="313131"/>
              </a:solidFill>
              <a:ea typeface="+mn-ea"/>
              <a:cs typeface="+mn-cs"/>
            </a:endParaRPr>
          </a:p>
        </p:txBody>
      </p:sp>
      <p:sp>
        <p:nvSpPr>
          <p:cNvPr id="371746" name="Text Box 46"/>
          <p:cNvSpPr txBox="1">
            <a:spLocks noChangeArrowheads="1"/>
          </p:cNvSpPr>
          <p:nvPr>
            <p:custDataLst>
              <p:tags r:id="rId27"/>
            </p:custDataLst>
          </p:nvPr>
        </p:nvSpPr>
        <p:spPr bwMode="auto">
          <a:xfrm>
            <a:off x="7122645" y="4604586"/>
            <a:ext cx="479298" cy="115416"/>
          </a:xfrm>
          <a:prstGeom prst="rect">
            <a:avLst/>
          </a:prstGeom>
          <a:noFill/>
          <a:ln w="9525" algn="ctr">
            <a:noFill/>
            <a:miter lim="800000"/>
            <a:headEnd/>
            <a:tailEnd/>
          </a:ln>
        </p:spPr>
        <p:txBody>
          <a:bodyPr wrap="none" lIns="0" tIns="0" rIns="0" bIns="0" anchor="ctr" anchorCtr="0">
            <a:spAutoFit/>
          </a:bodyPr>
          <a:lstStyle/>
          <a:p>
            <a:pPr defTabSz="685800">
              <a:buClrTx/>
            </a:pPr>
            <a:r>
              <a:rPr lang="en-US" altLang="ja-JP" sz="750" kern="1200">
                <a:solidFill>
                  <a:srgbClr val="313131"/>
                </a:solidFill>
                <a:ea typeface="ＭＳ Ｐゴシック" charset="-128"/>
                <a:cs typeface="+mn-cs"/>
              </a:rPr>
              <a:t>Category E</a:t>
            </a:r>
            <a:endParaRPr lang="en-US" altLang="ja-JP" sz="750" kern="1200" dirty="0">
              <a:solidFill>
                <a:srgbClr val="313131"/>
              </a:solidFill>
              <a:ea typeface="ＭＳ Ｐゴシック" charset="-128"/>
              <a:cs typeface="+mn-cs"/>
            </a:endParaRPr>
          </a:p>
        </p:txBody>
      </p:sp>
      <p:sp>
        <p:nvSpPr>
          <p:cNvPr id="371747" name="Text Box 47"/>
          <p:cNvSpPr txBox="1">
            <a:spLocks noChangeArrowheads="1"/>
          </p:cNvSpPr>
          <p:nvPr>
            <p:custDataLst>
              <p:tags r:id="rId28"/>
            </p:custDataLst>
          </p:nvPr>
        </p:nvSpPr>
        <p:spPr bwMode="auto">
          <a:xfrm>
            <a:off x="3123010" y="3117770"/>
            <a:ext cx="1831456" cy="308443"/>
          </a:xfrm>
          <a:prstGeom prst="rect">
            <a:avLst/>
          </a:prstGeom>
          <a:noFill/>
          <a:ln w="9525" algn="ctr">
            <a:noFill/>
            <a:miter lim="800000"/>
            <a:headEnd/>
            <a:tailEnd/>
          </a:ln>
        </p:spPr>
        <p:txBody>
          <a:bodyPr wrap="square" lIns="27000" tIns="27000" rIns="27000" bIns="27000">
            <a:spAutoFit/>
          </a:bodyPr>
          <a:lstStyle/>
          <a:p>
            <a:pPr defTabSz="685800">
              <a:buClrTx/>
            </a:pPr>
            <a:r>
              <a:rPr lang="en-US" altLang="ja-JP" sz="825" kern="1200" dirty="0">
                <a:solidFill>
                  <a:srgbClr val="313131"/>
                </a:solidFill>
                <a:ea typeface="ＭＳ Ｐゴシック" charset="-128"/>
                <a:cs typeface="+mn-cs"/>
              </a:rPr>
              <a:t>Savings Category E:  € .. </a:t>
            </a:r>
            <a:r>
              <a:rPr lang="en-US" altLang="ja-JP" sz="825" kern="1200" dirty="0" err="1">
                <a:solidFill>
                  <a:srgbClr val="313131"/>
                </a:solidFill>
                <a:ea typeface="ＭＳ Ｐゴシック" charset="-128"/>
                <a:cs typeface="+mn-cs"/>
              </a:rPr>
              <a:t>mln</a:t>
            </a:r>
            <a:r>
              <a:rPr lang="en-US" altLang="ja-JP" sz="825" kern="1200" dirty="0">
                <a:solidFill>
                  <a:srgbClr val="313131"/>
                </a:solidFill>
                <a:ea typeface="ＭＳ Ｐゴシック" charset="-128"/>
                <a:cs typeface="+mn-cs"/>
              </a:rPr>
              <a:t>:</a:t>
            </a:r>
          </a:p>
          <a:p>
            <a:pPr defTabSz="685800">
              <a:buClrTx/>
              <a:buFontTx/>
              <a:buChar char="•"/>
            </a:pPr>
            <a:r>
              <a:rPr lang="en-US" altLang="ja-JP" sz="825" kern="1200" dirty="0">
                <a:solidFill>
                  <a:srgbClr val="313131"/>
                </a:solidFill>
                <a:ea typeface="ＭＳ Ｐゴシック" charset="-128"/>
                <a:cs typeface="+mn-cs"/>
              </a:rPr>
              <a:t>..</a:t>
            </a:r>
          </a:p>
        </p:txBody>
      </p:sp>
      <p:sp>
        <p:nvSpPr>
          <p:cNvPr id="371748" name="Text Box 48"/>
          <p:cNvSpPr txBox="1">
            <a:spLocks noChangeArrowheads="1"/>
          </p:cNvSpPr>
          <p:nvPr>
            <p:custDataLst>
              <p:tags r:id="rId29"/>
            </p:custDataLst>
          </p:nvPr>
        </p:nvSpPr>
        <p:spPr bwMode="auto">
          <a:xfrm>
            <a:off x="3123010" y="3509963"/>
            <a:ext cx="1823041" cy="308443"/>
          </a:xfrm>
          <a:prstGeom prst="rect">
            <a:avLst/>
          </a:prstGeom>
          <a:noFill/>
          <a:ln w="9525" algn="ctr">
            <a:noFill/>
            <a:miter lim="800000"/>
            <a:headEnd/>
            <a:tailEnd/>
          </a:ln>
        </p:spPr>
        <p:txBody>
          <a:bodyPr wrap="square" lIns="27000" tIns="27000" rIns="27000" bIns="27000">
            <a:spAutoFit/>
          </a:bodyPr>
          <a:lstStyle/>
          <a:p>
            <a:pPr defTabSz="685800">
              <a:buClrTx/>
            </a:pPr>
            <a:r>
              <a:rPr lang="en-US" altLang="ja-JP" sz="825" kern="1200" dirty="0">
                <a:solidFill>
                  <a:srgbClr val="313131"/>
                </a:solidFill>
                <a:ea typeface="ＭＳ Ｐゴシック" charset="-128"/>
                <a:cs typeface="+mn-cs"/>
              </a:rPr>
              <a:t>Savings Category F:  € .. </a:t>
            </a:r>
            <a:r>
              <a:rPr lang="en-US" altLang="ja-JP" sz="825" kern="1200" dirty="0" err="1">
                <a:solidFill>
                  <a:srgbClr val="313131"/>
                </a:solidFill>
                <a:ea typeface="ＭＳ Ｐゴシック" charset="-128"/>
                <a:cs typeface="+mn-cs"/>
              </a:rPr>
              <a:t>mln</a:t>
            </a:r>
            <a:r>
              <a:rPr lang="en-US" altLang="ja-JP" sz="825" kern="1200" dirty="0">
                <a:solidFill>
                  <a:srgbClr val="313131"/>
                </a:solidFill>
                <a:ea typeface="ＭＳ Ｐゴシック" charset="-128"/>
                <a:cs typeface="+mn-cs"/>
              </a:rPr>
              <a:t>:</a:t>
            </a:r>
          </a:p>
          <a:p>
            <a:pPr defTabSz="685800">
              <a:buClrTx/>
              <a:buFontTx/>
              <a:buChar char="•"/>
            </a:pPr>
            <a:r>
              <a:rPr lang="en-US" altLang="ja-JP" sz="825" kern="1200" dirty="0">
                <a:solidFill>
                  <a:srgbClr val="313131"/>
                </a:solidFill>
                <a:ea typeface="ＭＳ Ｐゴシック" charset="-128"/>
                <a:cs typeface="+mn-cs"/>
              </a:rPr>
              <a:t>..</a:t>
            </a:r>
          </a:p>
        </p:txBody>
      </p:sp>
      <p:graphicFrame>
        <p:nvGraphicFramePr>
          <p:cNvPr id="371718" name="Rectangle 6" hidden="1"/>
          <p:cNvGraphicFramePr>
            <a:graphicFrameLocks/>
          </p:cNvGraphicFramePr>
          <p:nvPr>
            <p:custDataLst>
              <p:tags r:id="rId30"/>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34" imgW="0" imgH="0" progId="">
                  <p:embed/>
                </p:oleObj>
              </mc:Choice>
              <mc:Fallback>
                <p:oleObj name="think-cell Slide" r:id="rId34"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 name="Rectangle 49"/>
          <p:cNvSpPr>
            <a:spLocks noChangeArrowheads="1"/>
          </p:cNvSpPr>
          <p:nvPr>
            <p:custDataLst>
              <p:tags r:id="rId31"/>
            </p:custDataLst>
          </p:nvPr>
        </p:nvSpPr>
        <p:spPr bwMode="auto">
          <a:xfrm>
            <a:off x="5516166" y="0"/>
            <a:ext cx="2484835" cy="484748"/>
          </a:xfrm>
          <a:prstGeom prst="rect">
            <a:avLst/>
          </a:prstGeom>
          <a:solidFill>
            <a:schemeClr val="accent6"/>
          </a:solidFill>
          <a:ln w="6350" algn="ctr">
            <a:solidFill>
              <a:schemeClr val="bg1"/>
            </a:solidFill>
            <a:miter lim="800000"/>
            <a:headEnd/>
            <a:tailEnd/>
          </a:ln>
        </p:spPr>
        <p:txBody>
          <a:bodyPr tIns="68580" bIns="68580">
            <a:spAutoFit/>
          </a:bodyPr>
          <a:lstStyle/>
          <a:p>
            <a:pPr defTabSz="685800">
              <a:buClrTx/>
              <a:defRPr/>
            </a:pPr>
            <a:r>
              <a:rPr lang="en-US" sz="750" kern="1200" dirty="0">
                <a:solidFill>
                  <a:srgbClr val="313131"/>
                </a:solidFill>
                <a:ea typeface="ＭＳ Ｐゴシック" pitchFamily="50" charset="-128"/>
                <a:cs typeface="+mn-cs"/>
              </a:rPr>
              <a:t>Tip! Double-click on the colored area to adjust the amount per category, to change the scale use right click on the invisible vertical axis</a:t>
            </a:r>
          </a:p>
        </p:txBody>
      </p:sp>
      <p:graphicFrame>
        <p:nvGraphicFramePr>
          <p:cNvPr id="55" name="Table 54"/>
          <p:cNvGraphicFramePr>
            <a:graphicFrameLocks noGrp="1"/>
          </p:cNvGraphicFramePr>
          <p:nvPr/>
        </p:nvGraphicFramePr>
        <p:xfrm>
          <a:off x="2436019" y="1622816"/>
          <a:ext cx="392906" cy="2256240"/>
        </p:xfrm>
        <a:graphic>
          <a:graphicData uri="http://schemas.openxmlformats.org/drawingml/2006/table">
            <a:tbl>
              <a:tblPr firstRow="1" bandRow="1">
                <a:tableStyleId>{5C22544A-7EE6-4342-B048-85BDC9FD1C3A}</a:tableStyleId>
              </a:tblPr>
              <a:tblGrid>
                <a:gridCol w="392906">
                  <a:extLst>
                    <a:ext uri="{9D8B030D-6E8A-4147-A177-3AD203B41FA5}">
                      <a16:colId xmlns:a16="http://schemas.microsoft.com/office/drawing/2014/main" val="20000"/>
                    </a:ext>
                  </a:extLst>
                </a:gridCol>
              </a:tblGrid>
              <a:tr h="141015">
                <a:tc>
                  <a:txBody>
                    <a:bodyPr/>
                    <a:lstStyle/>
                    <a:p>
                      <a:endParaRPr lang="en-GB" sz="600" dirty="0">
                        <a:solidFill>
                          <a:schemeClr val="bg1"/>
                        </a:solidFill>
                      </a:endParaRPr>
                    </a:p>
                  </a:txBody>
                  <a:tcPr marL="0" marR="0" marT="0" marB="0">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4B4B4"/>
                    </a:solidFill>
                  </a:tcPr>
                </a:tc>
                <a:extLst>
                  <a:ext uri="{0D108BD9-81ED-4DB2-BD59-A6C34878D82A}">
                    <a16:rowId xmlns:a16="http://schemas.microsoft.com/office/drawing/2014/main" val="10000"/>
                  </a:ext>
                </a:extLst>
              </a:tr>
              <a:tr h="141015">
                <a:tc>
                  <a:txBody>
                    <a:bodyPr/>
                    <a:lstStyle/>
                    <a:p>
                      <a:endParaRPr lang="en-GB" sz="6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4B4B4"/>
                    </a:solidFill>
                  </a:tcPr>
                </a:tc>
                <a:extLst>
                  <a:ext uri="{0D108BD9-81ED-4DB2-BD59-A6C34878D82A}">
                    <a16:rowId xmlns:a16="http://schemas.microsoft.com/office/drawing/2014/main" val="10001"/>
                  </a:ext>
                </a:extLst>
              </a:tr>
              <a:tr h="141015">
                <a:tc>
                  <a:txBody>
                    <a:bodyPr/>
                    <a:lstStyle/>
                    <a:p>
                      <a:endParaRPr lang="en-GB" sz="6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4B4B4"/>
                    </a:solidFill>
                  </a:tcPr>
                </a:tc>
                <a:extLst>
                  <a:ext uri="{0D108BD9-81ED-4DB2-BD59-A6C34878D82A}">
                    <a16:rowId xmlns:a16="http://schemas.microsoft.com/office/drawing/2014/main" val="10002"/>
                  </a:ext>
                </a:extLst>
              </a:tr>
              <a:tr h="141015">
                <a:tc>
                  <a:txBody>
                    <a:bodyPr/>
                    <a:lstStyle/>
                    <a:p>
                      <a:endParaRPr lang="en-GB" sz="6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4B4B4"/>
                    </a:solidFill>
                  </a:tcPr>
                </a:tc>
                <a:extLst>
                  <a:ext uri="{0D108BD9-81ED-4DB2-BD59-A6C34878D82A}">
                    <a16:rowId xmlns:a16="http://schemas.microsoft.com/office/drawing/2014/main" val="10003"/>
                  </a:ext>
                </a:extLst>
              </a:tr>
              <a:tr h="141015">
                <a:tc>
                  <a:txBody>
                    <a:bodyPr/>
                    <a:lstStyle/>
                    <a:p>
                      <a:endParaRPr lang="en-GB" sz="6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extLst>
                  <a:ext uri="{0D108BD9-81ED-4DB2-BD59-A6C34878D82A}">
                    <a16:rowId xmlns:a16="http://schemas.microsoft.com/office/drawing/2014/main" val="10004"/>
                  </a:ext>
                </a:extLst>
              </a:tr>
              <a:tr h="141015">
                <a:tc>
                  <a:txBody>
                    <a:bodyPr/>
                    <a:lstStyle/>
                    <a:p>
                      <a:endParaRPr lang="en-GB" sz="6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extLst>
                  <a:ext uri="{0D108BD9-81ED-4DB2-BD59-A6C34878D82A}">
                    <a16:rowId xmlns:a16="http://schemas.microsoft.com/office/drawing/2014/main" val="10005"/>
                  </a:ext>
                </a:extLst>
              </a:tr>
              <a:tr h="141015">
                <a:tc>
                  <a:txBody>
                    <a:bodyPr/>
                    <a:lstStyle/>
                    <a:p>
                      <a:endParaRPr lang="en-GB" sz="6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extLst>
                  <a:ext uri="{0D108BD9-81ED-4DB2-BD59-A6C34878D82A}">
                    <a16:rowId xmlns:a16="http://schemas.microsoft.com/office/drawing/2014/main" val="10006"/>
                  </a:ext>
                </a:extLst>
              </a:tr>
              <a:tr h="141015">
                <a:tc>
                  <a:txBody>
                    <a:bodyPr/>
                    <a:lstStyle/>
                    <a:p>
                      <a:endParaRPr lang="en-GB" sz="6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75757"/>
                    </a:solidFill>
                  </a:tcPr>
                </a:tc>
                <a:extLst>
                  <a:ext uri="{0D108BD9-81ED-4DB2-BD59-A6C34878D82A}">
                    <a16:rowId xmlns:a16="http://schemas.microsoft.com/office/drawing/2014/main" val="10007"/>
                  </a:ext>
                </a:extLst>
              </a:tr>
              <a:tr h="141015">
                <a:tc>
                  <a:txBody>
                    <a:bodyPr/>
                    <a:lstStyle/>
                    <a:p>
                      <a:endParaRPr lang="en-GB" sz="6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75757"/>
                    </a:solidFill>
                  </a:tcPr>
                </a:tc>
                <a:extLst>
                  <a:ext uri="{0D108BD9-81ED-4DB2-BD59-A6C34878D82A}">
                    <a16:rowId xmlns:a16="http://schemas.microsoft.com/office/drawing/2014/main" val="10008"/>
                  </a:ext>
                </a:extLst>
              </a:tr>
              <a:tr h="141015">
                <a:tc>
                  <a:txBody>
                    <a:bodyPr/>
                    <a:lstStyle/>
                    <a:p>
                      <a:endParaRPr lang="en-GB" sz="6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75757"/>
                    </a:solidFill>
                  </a:tcPr>
                </a:tc>
                <a:extLst>
                  <a:ext uri="{0D108BD9-81ED-4DB2-BD59-A6C34878D82A}">
                    <a16:rowId xmlns:a16="http://schemas.microsoft.com/office/drawing/2014/main" val="10009"/>
                  </a:ext>
                </a:extLst>
              </a:tr>
              <a:tr h="141015">
                <a:tc>
                  <a:txBody>
                    <a:bodyPr/>
                    <a:lstStyle/>
                    <a:p>
                      <a:endParaRPr lang="en-GB" sz="6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3131"/>
                    </a:solidFill>
                  </a:tcPr>
                </a:tc>
                <a:extLst>
                  <a:ext uri="{0D108BD9-81ED-4DB2-BD59-A6C34878D82A}">
                    <a16:rowId xmlns:a16="http://schemas.microsoft.com/office/drawing/2014/main" val="10010"/>
                  </a:ext>
                </a:extLst>
              </a:tr>
              <a:tr h="141015">
                <a:tc>
                  <a:txBody>
                    <a:bodyPr/>
                    <a:lstStyle/>
                    <a:p>
                      <a:endParaRPr lang="en-GB" sz="6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3131"/>
                    </a:solidFill>
                  </a:tcPr>
                </a:tc>
                <a:extLst>
                  <a:ext uri="{0D108BD9-81ED-4DB2-BD59-A6C34878D82A}">
                    <a16:rowId xmlns:a16="http://schemas.microsoft.com/office/drawing/2014/main" val="10011"/>
                  </a:ext>
                </a:extLst>
              </a:tr>
              <a:tr h="141015">
                <a:tc>
                  <a:txBody>
                    <a:bodyPr/>
                    <a:lstStyle/>
                    <a:p>
                      <a:endParaRPr lang="en-GB" sz="6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1BC00"/>
                    </a:solidFill>
                  </a:tcPr>
                </a:tc>
                <a:extLst>
                  <a:ext uri="{0D108BD9-81ED-4DB2-BD59-A6C34878D82A}">
                    <a16:rowId xmlns:a16="http://schemas.microsoft.com/office/drawing/2014/main" val="10012"/>
                  </a:ext>
                </a:extLst>
              </a:tr>
              <a:tr h="141015">
                <a:tc>
                  <a:txBody>
                    <a:bodyPr/>
                    <a:lstStyle/>
                    <a:p>
                      <a:endParaRPr lang="en-GB" sz="6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1BC00"/>
                    </a:solidFill>
                  </a:tcPr>
                </a:tc>
                <a:extLst>
                  <a:ext uri="{0D108BD9-81ED-4DB2-BD59-A6C34878D82A}">
                    <a16:rowId xmlns:a16="http://schemas.microsoft.com/office/drawing/2014/main" val="10013"/>
                  </a:ext>
                </a:extLst>
              </a:tr>
              <a:tr h="141015">
                <a:tc>
                  <a:txBody>
                    <a:bodyPr/>
                    <a:lstStyle/>
                    <a:p>
                      <a:endParaRPr lang="en-GB" sz="6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1BC00"/>
                    </a:solidFill>
                  </a:tcPr>
                </a:tc>
                <a:extLst>
                  <a:ext uri="{0D108BD9-81ED-4DB2-BD59-A6C34878D82A}">
                    <a16:rowId xmlns:a16="http://schemas.microsoft.com/office/drawing/2014/main" val="10014"/>
                  </a:ext>
                </a:extLst>
              </a:tr>
              <a:tr h="141015">
                <a:tc>
                  <a:txBody>
                    <a:bodyPr/>
                    <a:lstStyle/>
                    <a:p>
                      <a:endParaRPr lang="en-GB" sz="6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81BC00"/>
                    </a:solidFill>
                  </a:tcPr>
                </a:tc>
                <a:extLst>
                  <a:ext uri="{0D108BD9-81ED-4DB2-BD59-A6C34878D82A}">
                    <a16:rowId xmlns:a16="http://schemas.microsoft.com/office/drawing/2014/main" val="10015"/>
                  </a:ext>
                </a:extLst>
              </a:tr>
            </a:tbl>
          </a:graphicData>
        </a:graphic>
      </p:graphicFrame>
    </p:spTree>
  </p:cSld>
  <p:clrMapOvr>
    <a:masterClrMapping/>
  </p:clrMapOvr>
  <p:transition>
    <p:fade/>
  </p:transition>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normAutofit lnSpcReduction="10000"/>
          </a:bodyPr>
          <a:lstStyle/>
          <a:p>
            <a:pPr marL="0" lvl="1" indent="0">
              <a:spcBef>
                <a:spcPts val="1350"/>
              </a:spcBef>
              <a:buNone/>
            </a:pPr>
            <a:r>
              <a:rPr lang="en-US" dirty="0"/>
              <a:t>Structured text				3</a:t>
            </a:r>
          </a:p>
          <a:p>
            <a:pPr marL="0" lvl="1" indent="0">
              <a:spcBef>
                <a:spcPts val="1350"/>
              </a:spcBef>
              <a:buNone/>
            </a:pPr>
            <a:r>
              <a:rPr lang="en-US" dirty="0"/>
              <a:t>Trees					35</a:t>
            </a:r>
          </a:p>
          <a:p>
            <a:pPr marL="0" lvl="1" indent="0">
              <a:spcBef>
                <a:spcPts val="1350"/>
              </a:spcBef>
              <a:buNone/>
            </a:pPr>
            <a:r>
              <a:rPr lang="en-US" dirty="0"/>
              <a:t>Graphs					50</a:t>
            </a:r>
          </a:p>
          <a:p>
            <a:pPr marL="0" lvl="1" indent="0">
              <a:spcBef>
                <a:spcPts val="1350"/>
              </a:spcBef>
              <a:buNone/>
            </a:pPr>
            <a:r>
              <a:rPr lang="en-US" dirty="0"/>
              <a:t>Shapes					93</a:t>
            </a:r>
          </a:p>
          <a:p>
            <a:pPr marL="0" lvl="1" indent="0">
              <a:spcBef>
                <a:spcPts val="1350"/>
              </a:spcBef>
              <a:buNone/>
            </a:pPr>
            <a:r>
              <a:rPr lang="en-US" dirty="0"/>
              <a:t>Maps					117</a:t>
            </a:r>
          </a:p>
          <a:p>
            <a:pPr marL="0" lvl="1" indent="0">
              <a:spcBef>
                <a:spcPts val="1350"/>
              </a:spcBef>
              <a:buNone/>
            </a:pPr>
            <a:r>
              <a:rPr lang="en-US" dirty="0"/>
              <a:t>Special graphics			137</a:t>
            </a:r>
          </a:p>
          <a:p>
            <a:pPr marL="0" lvl="1" indent="0">
              <a:spcBef>
                <a:spcPts val="1350"/>
              </a:spcBef>
              <a:buNone/>
            </a:pPr>
            <a:r>
              <a:rPr lang="en-US" dirty="0"/>
              <a:t>Conceptual charts			164</a:t>
            </a:r>
          </a:p>
          <a:p>
            <a:pPr marL="0" lvl="1" indent="0">
              <a:spcBef>
                <a:spcPts val="1350"/>
              </a:spcBef>
              <a:buNone/>
            </a:pPr>
            <a:r>
              <a:rPr lang="en-US" dirty="0" err="1">
                <a:solidFill>
                  <a:srgbClr val="00A1DE"/>
                </a:solidFill>
              </a:rPr>
              <a:t>Infographics</a:t>
            </a:r>
            <a:r>
              <a:rPr lang="en-US" dirty="0">
                <a:solidFill>
                  <a:srgbClr val="00A1DE"/>
                </a:solidFill>
              </a:rPr>
              <a:t> </a:t>
            </a:r>
            <a:r>
              <a:rPr lang="en-US" dirty="0"/>
              <a:t>				215</a:t>
            </a:r>
          </a:p>
          <a:p>
            <a:pPr marL="0" lvl="1" indent="0">
              <a:spcBef>
                <a:spcPts val="1350"/>
              </a:spcBef>
              <a:buNone/>
            </a:pPr>
            <a:r>
              <a:rPr lang="en-US" dirty="0"/>
              <a:t>Iconography				241</a:t>
            </a:r>
          </a:p>
          <a:p>
            <a:endParaRPr lang="en-US" dirty="0"/>
          </a:p>
        </p:txBody>
      </p:sp>
      <p:sp>
        <p:nvSpPr>
          <p:cNvPr id="6" name="Title 5"/>
          <p:cNvSpPr>
            <a:spLocks noGrp="1"/>
          </p:cNvSpPr>
          <p:nvPr>
            <p:ph type="title"/>
          </p:nvPr>
        </p:nvSpPr>
        <p:spPr>
          <a:xfrm>
            <a:off x="1420585" y="134679"/>
            <a:ext cx="6291000" cy="665422"/>
          </a:xfrm>
        </p:spPr>
        <p:txBody>
          <a:bodyPr>
            <a:normAutofit/>
          </a:bodyPr>
          <a:lstStyle/>
          <a:p>
            <a:r>
              <a:rPr lang="en-US" sz="2250" dirty="0"/>
              <a:t>Contents</a:t>
            </a:r>
          </a:p>
        </p:txBody>
      </p:sp>
    </p:spTree>
    <p:extLst>
      <p:ext uri="{BB962C8B-B14F-4D97-AF65-F5344CB8AC3E}">
        <p14:creationId xmlns:p14="http://schemas.microsoft.com/office/powerpoint/2010/main" val="1294507451"/>
      </p:ext>
    </p:extLst>
  </p:cSld>
  <p:clrMapOvr>
    <a:masterClrMapping/>
  </p:clrMapOvr>
  <p:transition>
    <p:fade/>
  </p:transition>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Tree with accompanying text</a:t>
            </a: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6" name="TextBox 35"/>
          <p:cNvSpPr txBox="1"/>
          <p:nvPr/>
        </p:nvSpPr>
        <p:spPr>
          <a:xfrm>
            <a:off x="5168504" y="984133"/>
            <a:ext cx="2521744" cy="415498"/>
          </a:xfrm>
          <a:prstGeom prst="rect">
            <a:avLst/>
          </a:prstGeom>
          <a:noFill/>
        </p:spPr>
        <p:txBody>
          <a:bodyPr wrap="square" lIns="0" tIns="0" rIns="0" bIns="0" rtlCol="0">
            <a:spAutoFit/>
          </a:bodyPr>
          <a:lstStyle/>
          <a:p>
            <a:pPr defTabSz="685800">
              <a:spcAft>
                <a:spcPts val="450"/>
              </a:spcAft>
              <a:buClrTx/>
            </a:pPr>
            <a:r>
              <a:rPr lang="en-US" sz="1050" kern="1200" dirty="0">
                <a:solidFill>
                  <a:srgbClr val="BDD203"/>
                </a:solidFill>
                <a:ea typeface="+mn-ea"/>
                <a:cs typeface="Times New Roman" pitchFamily="18" charset="0"/>
              </a:rPr>
              <a:t>LOREM IPSUM </a:t>
            </a:r>
            <a:br>
              <a:rPr lang="en-US" sz="900" b="1" kern="1200" dirty="0">
                <a:solidFill>
                  <a:srgbClr val="3C8A2E"/>
                </a:solidFill>
                <a:ea typeface="+mn-ea"/>
                <a:cs typeface="+mn-cs"/>
              </a:rPr>
            </a:br>
            <a:r>
              <a:rPr lang="en-US" sz="825" kern="1200" dirty="0">
                <a:solidFill>
                  <a:srgbClr val="313131"/>
                </a:solidFill>
                <a:ea typeface="+mn-ea"/>
                <a:cs typeface="+mn-cs"/>
              </a:rPr>
              <a:t>This is dummy text it is not here to be read this is dummy text it is not here to be read. </a:t>
            </a:r>
          </a:p>
        </p:txBody>
      </p:sp>
      <p:sp>
        <p:nvSpPr>
          <p:cNvPr id="37" name="TextBox 36"/>
          <p:cNvSpPr txBox="1"/>
          <p:nvPr/>
        </p:nvSpPr>
        <p:spPr>
          <a:xfrm>
            <a:off x="5182791" y="2595267"/>
            <a:ext cx="2521744" cy="392415"/>
          </a:xfrm>
          <a:prstGeom prst="rect">
            <a:avLst/>
          </a:prstGeom>
          <a:noFill/>
        </p:spPr>
        <p:txBody>
          <a:bodyPr wrap="square" lIns="0" tIns="0" rIns="0" bIns="0" rtlCol="0">
            <a:spAutoFit/>
          </a:bodyPr>
          <a:lstStyle/>
          <a:p>
            <a:pPr defTabSz="685800">
              <a:buClrTx/>
            </a:pPr>
            <a:r>
              <a:rPr lang="en-US" sz="900" kern="1200" dirty="0">
                <a:solidFill>
                  <a:srgbClr val="3C8A2E"/>
                </a:solidFill>
                <a:ea typeface="+mn-ea"/>
                <a:cs typeface="Times New Roman" pitchFamily="18" charset="0"/>
              </a:rPr>
              <a:t>LOREM IPSUM </a:t>
            </a:r>
            <a:br>
              <a:rPr lang="en-US" sz="900" b="1" kern="1200" dirty="0">
                <a:solidFill>
                  <a:srgbClr val="3C8A2E"/>
                </a:solidFill>
                <a:ea typeface="+mn-ea"/>
                <a:cs typeface="+mn-cs"/>
              </a:rPr>
            </a:br>
            <a:r>
              <a:rPr lang="en-US" sz="825" kern="1200" dirty="0">
                <a:solidFill>
                  <a:srgbClr val="313131"/>
                </a:solidFill>
                <a:ea typeface="+mn-ea"/>
                <a:cs typeface="+mn-cs"/>
              </a:rPr>
              <a:t>This is dummy text it is not here to be read this is dummy text it is not here to be read.</a:t>
            </a:r>
          </a:p>
        </p:txBody>
      </p:sp>
      <p:sp>
        <p:nvSpPr>
          <p:cNvPr id="38" name="TextBox 37"/>
          <p:cNvSpPr txBox="1"/>
          <p:nvPr/>
        </p:nvSpPr>
        <p:spPr>
          <a:xfrm>
            <a:off x="5182791" y="3400833"/>
            <a:ext cx="2521744" cy="415498"/>
          </a:xfrm>
          <a:prstGeom prst="rect">
            <a:avLst/>
          </a:prstGeom>
          <a:noFill/>
        </p:spPr>
        <p:txBody>
          <a:bodyPr wrap="square" lIns="0" tIns="0" rIns="0" bIns="0" rtlCol="0">
            <a:spAutoFit/>
          </a:bodyPr>
          <a:lstStyle/>
          <a:p>
            <a:pPr defTabSz="685800">
              <a:spcAft>
                <a:spcPts val="450"/>
              </a:spcAft>
              <a:buClrTx/>
            </a:pPr>
            <a:r>
              <a:rPr lang="en-US" sz="1050" kern="1200" dirty="0">
                <a:solidFill>
                  <a:srgbClr val="81BC00"/>
                </a:solidFill>
                <a:ea typeface="+mn-ea"/>
                <a:cs typeface="Times New Roman" pitchFamily="18" charset="0"/>
              </a:rPr>
              <a:t>LOREM IPSUM </a:t>
            </a:r>
            <a:br>
              <a:rPr lang="en-US" sz="900" b="1" kern="1200" dirty="0">
                <a:solidFill>
                  <a:srgbClr val="3C8A2E"/>
                </a:solidFill>
                <a:ea typeface="+mn-ea"/>
                <a:cs typeface="+mn-cs"/>
              </a:rPr>
            </a:br>
            <a:r>
              <a:rPr lang="en-US" sz="825" kern="1200" dirty="0">
                <a:solidFill>
                  <a:srgbClr val="313131"/>
                </a:solidFill>
                <a:ea typeface="+mn-ea"/>
                <a:cs typeface="+mn-cs"/>
              </a:rPr>
              <a:t>This is dummy text it is not here to be read this is dummy text it is not here to be read.</a:t>
            </a:r>
          </a:p>
        </p:txBody>
      </p:sp>
      <p:sp>
        <p:nvSpPr>
          <p:cNvPr id="39" name="TextBox 38"/>
          <p:cNvSpPr txBox="1"/>
          <p:nvPr/>
        </p:nvSpPr>
        <p:spPr>
          <a:xfrm>
            <a:off x="5168504" y="1789699"/>
            <a:ext cx="2521744" cy="415498"/>
          </a:xfrm>
          <a:prstGeom prst="rect">
            <a:avLst/>
          </a:prstGeom>
          <a:noFill/>
        </p:spPr>
        <p:txBody>
          <a:bodyPr wrap="square" lIns="0" tIns="0" rIns="0" bIns="0" rtlCol="0">
            <a:spAutoFit/>
          </a:bodyPr>
          <a:lstStyle/>
          <a:p>
            <a:pPr defTabSz="685800">
              <a:spcAft>
                <a:spcPts val="450"/>
              </a:spcAft>
              <a:buClrTx/>
            </a:pPr>
            <a:r>
              <a:rPr lang="en-US" sz="1050" kern="1200" dirty="0">
                <a:solidFill>
                  <a:srgbClr val="00A1DE"/>
                </a:solidFill>
                <a:ea typeface="+mn-ea"/>
                <a:cs typeface="Times New Roman" pitchFamily="18" charset="0"/>
              </a:rPr>
              <a:t>LOREM IPSUM </a:t>
            </a:r>
            <a:br>
              <a:rPr lang="en-US" sz="900" b="1" kern="1200" dirty="0">
                <a:solidFill>
                  <a:srgbClr val="313131"/>
                </a:solidFill>
                <a:ea typeface="+mn-ea"/>
                <a:cs typeface="+mn-cs"/>
              </a:rPr>
            </a:br>
            <a:r>
              <a:rPr lang="en-US" sz="825" kern="1200" dirty="0">
                <a:solidFill>
                  <a:srgbClr val="313131"/>
                </a:solidFill>
                <a:ea typeface="+mn-ea"/>
                <a:cs typeface="+mn-cs"/>
              </a:rPr>
              <a:t>This is dummy text it is not here to be read this is dummy text it is not here to be read.</a:t>
            </a:r>
          </a:p>
        </p:txBody>
      </p:sp>
      <p:sp>
        <p:nvSpPr>
          <p:cNvPr id="40" name="TextBox 39"/>
          <p:cNvSpPr txBox="1"/>
          <p:nvPr/>
        </p:nvSpPr>
        <p:spPr>
          <a:xfrm>
            <a:off x="5182791" y="4206400"/>
            <a:ext cx="2521744" cy="392415"/>
          </a:xfrm>
          <a:prstGeom prst="rect">
            <a:avLst/>
          </a:prstGeom>
          <a:noFill/>
        </p:spPr>
        <p:txBody>
          <a:bodyPr wrap="square" lIns="0" tIns="0" rIns="0" bIns="0" rtlCol="0">
            <a:spAutoFit/>
          </a:bodyPr>
          <a:lstStyle/>
          <a:p>
            <a:pPr defTabSz="685800">
              <a:buClrTx/>
            </a:pPr>
            <a:r>
              <a:rPr lang="en-US" sz="900" kern="1200" dirty="0">
                <a:solidFill>
                  <a:srgbClr val="72C7E7"/>
                </a:solidFill>
                <a:ea typeface="+mn-ea"/>
                <a:cs typeface="Times New Roman" pitchFamily="18" charset="0"/>
              </a:rPr>
              <a:t>LOREM IPSUM </a:t>
            </a:r>
            <a:br>
              <a:rPr lang="en-US" sz="900" b="1" kern="1200" dirty="0">
                <a:solidFill>
                  <a:srgbClr val="3C8A2E"/>
                </a:solidFill>
                <a:ea typeface="+mn-ea"/>
                <a:cs typeface="+mn-cs"/>
              </a:rPr>
            </a:br>
            <a:r>
              <a:rPr lang="en-US" sz="825" kern="1200" dirty="0">
                <a:solidFill>
                  <a:srgbClr val="313131"/>
                </a:solidFill>
                <a:ea typeface="+mn-ea"/>
                <a:cs typeface="+mn-cs"/>
              </a:rPr>
              <a:t>This is dummy text it is not here to be read this is dummy text it is not here to be read.</a:t>
            </a:r>
          </a:p>
        </p:txBody>
      </p:sp>
      <p:sp>
        <p:nvSpPr>
          <p:cNvPr id="41" name="Oval 8"/>
          <p:cNvSpPr/>
          <p:nvPr/>
        </p:nvSpPr>
        <p:spPr>
          <a:xfrm rot="21012786">
            <a:off x="4730254" y="995745"/>
            <a:ext cx="360014" cy="216110"/>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rgbClr val="BDD20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42" name="Oval 8"/>
          <p:cNvSpPr/>
          <p:nvPr/>
        </p:nvSpPr>
        <p:spPr>
          <a:xfrm rot="13988512">
            <a:off x="4710721" y="1779989"/>
            <a:ext cx="328134" cy="216110"/>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43" name="Oval 8"/>
          <p:cNvSpPr/>
          <p:nvPr/>
        </p:nvSpPr>
        <p:spPr>
          <a:xfrm rot="17081601">
            <a:off x="4684829" y="2628412"/>
            <a:ext cx="379918" cy="216110"/>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44" name="Oval 8"/>
          <p:cNvSpPr/>
          <p:nvPr/>
        </p:nvSpPr>
        <p:spPr>
          <a:xfrm rot="20617441">
            <a:off x="4720712" y="3402764"/>
            <a:ext cx="364726" cy="216110"/>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45" name="Oval 8"/>
          <p:cNvSpPr/>
          <p:nvPr/>
        </p:nvSpPr>
        <p:spPr>
          <a:xfrm rot="2134922">
            <a:off x="4740000" y="4190685"/>
            <a:ext cx="326153" cy="216110"/>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defTabSz="685800">
              <a:buClrTx/>
            </a:pPr>
            <a:endParaRPr lang="en-US" sz="1050" kern="1200" dirty="0" err="1">
              <a:solidFill>
                <a:srgbClr val="313131"/>
              </a:solidFill>
              <a:latin typeface="Arial"/>
            </a:endParaRPr>
          </a:p>
        </p:txBody>
      </p:sp>
      <p:grpSp>
        <p:nvGrpSpPr>
          <p:cNvPr id="46" name="Group 45"/>
          <p:cNvGrpSpPr>
            <a:grpSpLocks noChangeAspect="1"/>
          </p:cNvGrpSpPr>
          <p:nvPr/>
        </p:nvGrpSpPr>
        <p:grpSpPr>
          <a:xfrm>
            <a:off x="1211957" y="1103800"/>
            <a:ext cx="3523407" cy="3627744"/>
            <a:chOff x="395279" y="2106202"/>
            <a:chExt cx="4074549" cy="4195207"/>
          </a:xfrm>
        </p:grpSpPr>
        <p:sp>
          <p:nvSpPr>
            <p:cNvPr id="47" name="Isosceles Triangle 1"/>
            <p:cNvSpPr/>
            <p:nvPr/>
          </p:nvSpPr>
          <p:spPr>
            <a:xfrm>
              <a:off x="1686734" y="4089196"/>
              <a:ext cx="1151563" cy="2212213"/>
            </a:xfrm>
            <a:custGeom>
              <a:avLst/>
              <a:gdLst>
                <a:gd name="connsiteX0" fmla="*/ 0 w 716890"/>
                <a:gd name="connsiteY0" fmla="*/ 1963496 h 1963496"/>
                <a:gd name="connsiteX1" fmla="*/ 358445 w 716890"/>
                <a:gd name="connsiteY1" fmla="*/ 0 h 1963496"/>
                <a:gd name="connsiteX2" fmla="*/ 716890 w 716890"/>
                <a:gd name="connsiteY2" fmla="*/ 1963496 h 1963496"/>
                <a:gd name="connsiteX3" fmla="*/ 0 w 716890"/>
                <a:gd name="connsiteY3" fmla="*/ 1963496 h 1963496"/>
                <a:gd name="connsiteX0" fmla="*/ 0 w 716890"/>
                <a:gd name="connsiteY0" fmla="*/ 1963496 h 1963496"/>
                <a:gd name="connsiteX1" fmla="*/ 358445 w 716890"/>
                <a:gd name="connsiteY1" fmla="*/ 0 h 1963496"/>
                <a:gd name="connsiteX2" fmla="*/ 716890 w 716890"/>
                <a:gd name="connsiteY2" fmla="*/ 1963496 h 1963496"/>
                <a:gd name="connsiteX3" fmla="*/ 0 w 716890"/>
                <a:gd name="connsiteY3" fmla="*/ 1963496 h 1963496"/>
                <a:gd name="connsiteX0" fmla="*/ 46863 w 763753"/>
                <a:gd name="connsiteY0" fmla="*/ 1963496 h 1963496"/>
                <a:gd name="connsiteX1" fmla="*/ 405308 w 763753"/>
                <a:gd name="connsiteY1" fmla="*/ 0 h 1963496"/>
                <a:gd name="connsiteX2" fmla="*/ 763753 w 763753"/>
                <a:gd name="connsiteY2" fmla="*/ 1963496 h 1963496"/>
                <a:gd name="connsiteX3" fmla="*/ 46863 w 763753"/>
                <a:gd name="connsiteY3" fmla="*/ 1963496 h 1963496"/>
                <a:gd name="connsiteX0" fmla="*/ 46863 w 763753"/>
                <a:gd name="connsiteY0" fmla="*/ 1963496 h 1963496"/>
                <a:gd name="connsiteX1" fmla="*/ 405308 w 763753"/>
                <a:gd name="connsiteY1" fmla="*/ 0 h 1963496"/>
                <a:gd name="connsiteX2" fmla="*/ 763753 w 763753"/>
                <a:gd name="connsiteY2" fmla="*/ 1963496 h 1963496"/>
                <a:gd name="connsiteX3" fmla="*/ 46863 w 763753"/>
                <a:gd name="connsiteY3" fmla="*/ 1963496 h 1963496"/>
                <a:gd name="connsiteX0" fmla="*/ 46863 w 763753"/>
                <a:gd name="connsiteY0" fmla="*/ 1963496 h 1963496"/>
                <a:gd name="connsiteX1" fmla="*/ 405308 w 763753"/>
                <a:gd name="connsiteY1" fmla="*/ 0 h 1963496"/>
                <a:gd name="connsiteX2" fmla="*/ 763753 w 763753"/>
                <a:gd name="connsiteY2" fmla="*/ 1963496 h 1963496"/>
                <a:gd name="connsiteX3" fmla="*/ 46863 w 763753"/>
                <a:gd name="connsiteY3" fmla="*/ 1963496 h 1963496"/>
                <a:gd name="connsiteX0" fmla="*/ 46863 w 763753"/>
                <a:gd name="connsiteY0" fmla="*/ 1963496 h 1963496"/>
                <a:gd name="connsiteX1" fmla="*/ 405308 w 763753"/>
                <a:gd name="connsiteY1" fmla="*/ 0 h 1963496"/>
                <a:gd name="connsiteX2" fmla="*/ 763753 w 763753"/>
                <a:gd name="connsiteY2" fmla="*/ 1963496 h 1963496"/>
                <a:gd name="connsiteX3" fmla="*/ 46863 w 763753"/>
                <a:gd name="connsiteY3" fmla="*/ 1963496 h 1963496"/>
                <a:gd name="connsiteX0" fmla="*/ 46863 w 1019785"/>
                <a:gd name="connsiteY0" fmla="*/ 1963496 h 1963496"/>
                <a:gd name="connsiteX1" fmla="*/ 405308 w 1019785"/>
                <a:gd name="connsiteY1" fmla="*/ 0 h 1963496"/>
                <a:gd name="connsiteX2" fmla="*/ 1019785 w 1019785"/>
                <a:gd name="connsiteY2" fmla="*/ 1950553 h 1963496"/>
                <a:gd name="connsiteX3" fmla="*/ 46863 w 1019785"/>
                <a:gd name="connsiteY3" fmla="*/ 1963496 h 1963496"/>
                <a:gd name="connsiteX0" fmla="*/ 25021 w 1151563"/>
                <a:gd name="connsiteY0" fmla="*/ 1957025 h 1957025"/>
                <a:gd name="connsiteX1" fmla="*/ 537086 w 1151563"/>
                <a:gd name="connsiteY1" fmla="*/ 0 h 1957025"/>
                <a:gd name="connsiteX2" fmla="*/ 1151563 w 1151563"/>
                <a:gd name="connsiteY2" fmla="*/ 1950553 h 1957025"/>
                <a:gd name="connsiteX3" fmla="*/ 25021 w 1151563"/>
                <a:gd name="connsiteY3" fmla="*/ 1957025 h 1957025"/>
              </a:gdLst>
              <a:ahLst/>
              <a:cxnLst>
                <a:cxn ang="0">
                  <a:pos x="connsiteX0" y="connsiteY0"/>
                </a:cxn>
                <a:cxn ang="0">
                  <a:pos x="connsiteX1" y="connsiteY1"/>
                </a:cxn>
                <a:cxn ang="0">
                  <a:pos x="connsiteX2" y="connsiteY2"/>
                </a:cxn>
                <a:cxn ang="0">
                  <a:pos x="connsiteX3" y="connsiteY3"/>
                </a:cxn>
              </a:cxnLst>
              <a:rect l="l" t="t" r="r" b="b"/>
              <a:pathLst>
                <a:path w="1151563" h="1957025">
                  <a:moveTo>
                    <a:pt x="25021" y="1957025"/>
                  </a:moveTo>
                  <a:cubicBezTo>
                    <a:pt x="-67638" y="1448830"/>
                    <a:pt x="95735" y="1181193"/>
                    <a:pt x="537086" y="0"/>
                  </a:cubicBezTo>
                  <a:cubicBezTo>
                    <a:pt x="481004" y="873955"/>
                    <a:pt x="871147" y="1376522"/>
                    <a:pt x="1151563" y="1950553"/>
                  </a:cubicBezTo>
                  <a:lnTo>
                    <a:pt x="25021" y="1957025"/>
                  </a:lnTo>
                  <a:close/>
                </a:path>
              </a:pathLst>
            </a:cu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48" name="Oval 8"/>
            <p:cNvSpPr/>
            <p:nvPr/>
          </p:nvSpPr>
          <p:spPr>
            <a:xfrm rot="17081601">
              <a:off x="1684008" y="2917817"/>
              <a:ext cx="1679468" cy="249915"/>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49" name="Oval 8"/>
            <p:cNvSpPr/>
            <p:nvPr/>
          </p:nvSpPr>
          <p:spPr>
            <a:xfrm rot="20617441">
              <a:off x="2439480" y="3552893"/>
              <a:ext cx="2030348" cy="249915"/>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50" name="Oval 8"/>
            <p:cNvSpPr/>
            <p:nvPr/>
          </p:nvSpPr>
          <p:spPr>
            <a:xfrm rot="2134922">
              <a:off x="2237734" y="4525498"/>
              <a:ext cx="1481387" cy="249915"/>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51" name="Oval 8"/>
            <p:cNvSpPr/>
            <p:nvPr/>
          </p:nvSpPr>
          <p:spPr>
            <a:xfrm rot="13988512">
              <a:off x="416484" y="2983654"/>
              <a:ext cx="2004820" cy="249915"/>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52" name="Oval 8"/>
            <p:cNvSpPr/>
            <p:nvPr/>
          </p:nvSpPr>
          <p:spPr>
            <a:xfrm rot="21012786">
              <a:off x="395279" y="4220271"/>
              <a:ext cx="1679469" cy="249915"/>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rgbClr val="BDD20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53" name="Rectangle 52"/>
            <p:cNvSpPr/>
            <p:nvPr/>
          </p:nvSpPr>
          <p:spPr>
            <a:xfrm>
              <a:off x="1683445" y="5834521"/>
              <a:ext cx="1008060" cy="293634"/>
            </a:xfrm>
            <a:prstGeom prst="rect">
              <a:avLst/>
            </a:prstGeom>
          </p:spPr>
          <p:txBody>
            <a:bodyPr wrap="square" lIns="0" tIns="0" rIns="0" bIns="0">
              <a:spAutoFit/>
            </a:bodyPr>
            <a:lstStyle/>
            <a:p>
              <a:pPr algn="ctr" defTabSz="685800">
                <a:spcAft>
                  <a:spcPts val="450"/>
                </a:spcAft>
                <a:buClrTx/>
              </a:pPr>
              <a:r>
                <a:rPr lang="en-US" sz="825" b="1" kern="1200" dirty="0">
                  <a:solidFill>
                    <a:srgbClr val="FFFFFF"/>
                  </a:solidFill>
                  <a:ea typeface="+mn-ea"/>
                  <a:cs typeface="+mn-cs"/>
                </a:rPr>
                <a:t>LOREM </a:t>
              </a:r>
              <a:br>
                <a:rPr lang="en-US" sz="825" b="1" kern="1200" dirty="0">
                  <a:solidFill>
                    <a:srgbClr val="FFFFFF"/>
                  </a:solidFill>
                  <a:ea typeface="+mn-ea"/>
                  <a:cs typeface="+mn-cs"/>
                </a:rPr>
              </a:br>
              <a:r>
                <a:rPr lang="en-US" sz="825" b="1" kern="1200" dirty="0">
                  <a:solidFill>
                    <a:srgbClr val="FFFFFF"/>
                  </a:solidFill>
                  <a:ea typeface="+mn-ea"/>
                  <a:cs typeface="+mn-cs"/>
                </a:rPr>
                <a:t>IPSUM </a:t>
              </a:r>
              <a:endParaRPr lang="en-US" sz="750" kern="1200" dirty="0">
                <a:solidFill>
                  <a:srgbClr val="FFFFFF"/>
                </a:solidFill>
                <a:ea typeface="+mn-ea"/>
                <a:cs typeface="+mn-cs"/>
              </a:endParaRPr>
            </a:p>
          </p:txBody>
        </p:sp>
        <p:sp>
          <p:nvSpPr>
            <p:cNvPr id="54" name="Rectangle 53"/>
            <p:cNvSpPr/>
            <p:nvPr/>
          </p:nvSpPr>
          <p:spPr>
            <a:xfrm rot="21126068">
              <a:off x="684489" y="4145026"/>
              <a:ext cx="1116729" cy="400410"/>
            </a:xfrm>
            <a:prstGeom prst="rect">
              <a:avLst/>
            </a:prstGeom>
          </p:spPr>
          <p:txBody>
            <a:bodyPr wrap="square" lIns="0" tIns="0" rIns="0" bIns="0">
              <a:spAutoFit/>
            </a:bodyPr>
            <a:lstStyle/>
            <a:p>
              <a:pPr defTabSz="685800">
                <a:spcAft>
                  <a:spcPts val="450"/>
                </a:spcAft>
                <a:buClrTx/>
              </a:pPr>
              <a:r>
                <a:rPr lang="en-US" sz="750" b="1" kern="1200" dirty="0">
                  <a:solidFill>
                    <a:srgbClr val="FFFFFF"/>
                  </a:solidFill>
                  <a:ea typeface="+mn-ea"/>
                  <a:cs typeface="+mn-cs"/>
                </a:rPr>
                <a:t>LOREM IPSUM </a:t>
              </a:r>
              <a:br>
                <a:rPr lang="en-US" sz="750" b="1" kern="1200" dirty="0">
                  <a:solidFill>
                    <a:srgbClr val="FFFFFF"/>
                  </a:solidFill>
                  <a:ea typeface="+mn-ea"/>
                  <a:cs typeface="+mn-cs"/>
                </a:rPr>
              </a:br>
              <a:r>
                <a:rPr lang="en-US" sz="750" kern="1200" dirty="0">
                  <a:solidFill>
                    <a:srgbClr val="FFFFFF"/>
                  </a:solidFill>
                  <a:ea typeface="+mn-ea"/>
                  <a:cs typeface="+mn-cs"/>
                </a:rPr>
                <a:t>This is dummy text it is not here to be read</a:t>
              </a:r>
            </a:p>
          </p:txBody>
        </p:sp>
        <p:sp>
          <p:nvSpPr>
            <p:cNvPr id="56" name="Rectangle 55"/>
            <p:cNvSpPr/>
            <p:nvPr/>
          </p:nvSpPr>
          <p:spPr>
            <a:xfrm>
              <a:off x="891650" y="2729962"/>
              <a:ext cx="957518" cy="533880"/>
            </a:xfrm>
            <a:prstGeom prst="rect">
              <a:avLst/>
            </a:prstGeom>
          </p:spPr>
          <p:txBody>
            <a:bodyPr wrap="square" lIns="0" tIns="0" rIns="0" bIns="0">
              <a:spAutoFit/>
            </a:bodyPr>
            <a:lstStyle/>
            <a:p>
              <a:pPr defTabSz="685800">
                <a:spcAft>
                  <a:spcPts val="450"/>
                </a:spcAft>
                <a:buClrTx/>
              </a:pPr>
              <a:r>
                <a:rPr lang="en-US" sz="750" b="1" kern="1200" dirty="0">
                  <a:solidFill>
                    <a:srgbClr val="FFFFFF"/>
                  </a:solidFill>
                  <a:ea typeface="+mn-ea"/>
                  <a:cs typeface="+mn-cs"/>
                </a:rPr>
                <a:t>LOREM IPSUM </a:t>
              </a:r>
              <a:br>
                <a:rPr lang="en-US" sz="750" b="1" kern="1200" dirty="0">
                  <a:solidFill>
                    <a:srgbClr val="FFFFFF"/>
                  </a:solidFill>
                  <a:ea typeface="+mn-ea"/>
                  <a:cs typeface="+mn-cs"/>
                </a:rPr>
              </a:br>
              <a:r>
                <a:rPr lang="en-US" sz="750" kern="1200" dirty="0">
                  <a:solidFill>
                    <a:srgbClr val="FFFFFF"/>
                  </a:solidFill>
                  <a:ea typeface="+mn-ea"/>
                  <a:cs typeface="+mn-cs"/>
                </a:rPr>
                <a:t>This is dummy text it is not here to be read</a:t>
              </a:r>
            </a:p>
          </p:txBody>
        </p:sp>
        <p:sp>
          <p:nvSpPr>
            <p:cNvPr id="57" name="Rectangle 56"/>
            <p:cNvSpPr/>
            <p:nvPr/>
          </p:nvSpPr>
          <p:spPr>
            <a:xfrm>
              <a:off x="2295737" y="2580848"/>
              <a:ext cx="636167" cy="934289"/>
            </a:xfrm>
            <a:prstGeom prst="rect">
              <a:avLst/>
            </a:prstGeom>
          </p:spPr>
          <p:txBody>
            <a:bodyPr wrap="square" lIns="0" tIns="0" rIns="0" bIns="0">
              <a:spAutoFit/>
            </a:bodyPr>
            <a:lstStyle/>
            <a:p>
              <a:pPr defTabSz="685800">
                <a:buClrTx/>
              </a:pPr>
              <a:r>
                <a:rPr lang="en-US" sz="750" b="1" kern="1200" dirty="0">
                  <a:solidFill>
                    <a:srgbClr val="FFFFFF"/>
                  </a:solidFill>
                  <a:ea typeface="+mn-ea"/>
                  <a:cs typeface="+mn-cs"/>
                </a:rPr>
                <a:t>LOREM IPSUM </a:t>
              </a:r>
              <a:br>
                <a:rPr lang="en-US" sz="750" b="1" kern="1200" dirty="0">
                  <a:solidFill>
                    <a:srgbClr val="FFFFFF"/>
                  </a:solidFill>
                  <a:ea typeface="+mn-ea"/>
                  <a:cs typeface="+mn-cs"/>
                </a:rPr>
              </a:br>
              <a:r>
                <a:rPr lang="en-US" sz="750" kern="1200" dirty="0">
                  <a:solidFill>
                    <a:srgbClr val="FFFFFF"/>
                  </a:solidFill>
                  <a:ea typeface="+mn-ea"/>
                  <a:cs typeface="+mn-cs"/>
                </a:rPr>
                <a:t>This is dummy text it is not here to be </a:t>
              </a:r>
            </a:p>
            <a:p>
              <a:pPr defTabSz="685800">
                <a:buClrTx/>
              </a:pPr>
              <a:r>
                <a:rPr lang="en-US" sz="750" kern="1200" dirty="0">
                  <a:solidFill>
                    <a:srgbClr val="FFFFFF"/>
                  </a:solidFill>
                  <a:ea typeface="+mn-ea"/>
                  <a:cs typeface="+mn-cs"/>
                </a:rPr>
                <a:t>read </a:t>
              </a:r>
            </a:p>
          </p:txBody>
        </p:sp>
        <p:sp>
          <p:nvSpPr>
            <p:cNvPr id="58" name="Rectangle 57"/>
            <p:cNvSpPr/>
            <p:nvPr/>
          </p:nvSpPr>
          <p:spPr>
            <a:xfrm>
              <a:off x="2986715" y="3486635"/>
              <a:ext cx="1116729" cy="400410"/>
            </a:xfrm>
            <a:prstGeom prst="rect">
              <a:avLst/>
            </a:prstGeom>
          </p:spPr>
          <p:txBody>
            <a:bodyPr wrap="square" lIns="0" tIns="0" rIns="0" bIns="0">
              <a:spAutoFit/>
            </a:bodyPr>
            <a:lstStyle/>
            <a:p>
              <a:pPr defTabSz="685800">
                <a:spcAft>
                  <a:spcPts val="450"/>
                </a:spcAft>
                <a:buClrTx/>
              </a:pPr>
              <a:r>
                <a:rPr lang="en-US" sz="750" b="1" kern="1200" dirty="0">
                  <a:solidFill>
                    <a:srgbClr val="FFFFFF"/>
                  </a:solidFill>
                  <a:ea typeface="+mn-ea"/>
                  <a:cs typeface="+mn-cs"/>
                </a:rPr>
                <a:t>LOREM IPSUM </a:t>
              </a:r>
              <a:br>
                <a:rPr lang="en-US" sz="750" b="1" kern="1200" dirty="0">
                  <a:solidFill>
                    <a:srgbClr val="FFFFFF"/>
                  </a:solidFill>
                  <a:ea typeface="+mn-ea"/>
                  <a:cs typeface="+mn-cs"/>
                </a:rPr>
              </a:br>
              <a:r>
                <a:rPr lang="en-US" sz="750" kern="1200" dirty="0">
                  <a:solidFill>
                    <a:srgbClr val="FFFFFF"/>
                  </a:solidFill>
                  <a:ea typeface="+mn-ea"/>
                  <a:cs typeface="+mn-cs"/>
                </a:rPr>
                <a:t>This is dummy text it is not here to be read</a:t>
              </a:r>
            </a:p>
          </p:txBody>
        </p:sp>
        <p:sp>
          <p:nvSpPr>
            <p:cNvPr id="59" name="Rectangle 58"/>
            <p:cNvSpPr/>
            <p:nvPr/>
          </p:nvSpPr>
          <p:spPr>
            <a:xfrm rot="1945462">
              <a:off x="2481229" y="4500497"/>
              <a:ext cx="1116729" cy="400410"/>
            </a:xfrm>
            <a:prstGeom prst="rect">
              <a:avLst/>
            </a:prstGeom>
          </p:spPr>
          <p:txBody>
            <a:bodyPr wrap="square" lIns="0" tIns="0" rIns="0" bIns="0">
              <a:spAutoFit/>
            </a:bodyPr>
            <a:lstStyle/>
            <a:p>
              <a:pPr defTabSz="685800">
                <a:spcAft>
                  <a:spcPts val="450"/>
                </a:spcAft>
                <a:buClrTx/>
              </a:pPr>
              <a:r>
                <a:rPr lang="en-US" sz="750" b="1" kern="1200" dirty="0">
                  <a:solidFill>
                    <a:srgbClr val="FFFFFF"/>
                  </a:solidFill>
                  <a:ea typeface="+mn-ea"/>
                  <a:cs typeface="+mn-cs"/>
                </a:rPr>
                <a:t>LOREM IPSUM </a:t>
              </a:r>
              <a:br>
                <a:rPr lang="en-US" sz="750" b="1" kern="1200" dirty="0">
                  <a:solidFill>
                    <a:srgbClr val="FFFFFF"/>
                  </a:solidFill>
                  <a:ea typeface="+mn-ea"/>
                  <a:cs typeface="+mn-cs"/>
                </a:rPr>
              </a:br>
              <a:r>
                <a:rPr lang="en-US" sz="750" kern="1200" dirty="0">
                  <a:solidFill>
                    <a:srgbClr val="FFFFFF"/>
                  </a:solidFill>
                  <a:ea typeface="+mn-ea"/>
                  <a:cs typeface="+mn-cs"/>
                </a:rPr>
                <a:t>This is dummy text it is not here to be read</a:t>
              </a:r>
            </a:p>
          </p:txBody>
        </p:sp>
        <p:sp>
          <p:nvSpPr>
            <p:cNvPr id="60" name="Isosceles Triangle 59"/>
            <p:cNvSpPr/>
            <p:nvPr/>
          </p:nvSpPr>
          <p:spPr>
            <a:xfrm rot="15375693">
              <a:off x="1891012" y="3980241"/>
              <a:ext cx="89936" cy="496445"/>
            </a:xfrm>
            <a:prstGeom prst="triangl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61" name="Isosceles Triangle 60"/>
            <p:cNvSpPr/>
            <p:nvPr/>
          </p:nvSpPr>
          <p:spPr>
            <a:xfrm rot="19771605">
              <a:off x="1865309" y="3532836"/>
              <a:ext cx="127211" cy="496446"/>
            </a:xfrm>
            <a:prstGeom prst="triangl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62" name="Isosceles Triangle 61"/>
            <p:cNvSpPr/>
            <p:nvPr/>
          </p:nvSpPr>
          <p:spPr>
            <a:xfrm rot="667926">
              <a:off x="2277680" y="3476312"/>
              <a:ext cx="90071" cy="496446"/>
            </a:xfrm>
            <a:prstGeom prst="triangl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63" name="Isosceles Triangle 62"/>
            <p:cNvSpPr/>
            <p:nvPr/>
          </p:nvSpPr>
          <p:spPr>
            <a:xfrm rot="4612747">
              <a:off x="2537122" y="3677296"/>
              <a:ext cx="90071" cy="496445"/>
            </a:xfrm>
            <a:prstGeom prst="triangl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64" name="Isosceles Triangle 63"/>
            <p:cNvSpPr/>
            <p:nvPr/>
          </p:nvSpPr>
          <p:spPr>
            <a:xfrm rot="7641846">
              <a:off x="2397051" y="4000093"/>
              <a:ext cx="90071" cy="496445"/>
            </a:xfrm>
            <a:prstGeom prst="triangl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spTree>
    <p:extLst>
      <p:ext uri="{BB962C8B-B14F-4D97-AF65-F5344CB8AC3E}">
        <p14:creationId xmlns:p14="http://schemas.microsoft.com/office/powerpoint/2010/main" val="620539502"/>
      </p:ext>
    </p:extLst>
  </p:cSld>
  <p:clrMapOvr>
    <a:masterClrMapping/>
  </p:clrMapOvr>
  <p:transition>
    <p:fade/>
  </p:transition>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Tree with circular text boxes</a:t>
            </a:r>
            <a:br>
              <a:rPr lang="en-US" altLang="ja-JP" dirty="0"/>
            </a:b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4" name="Isosceles Triangle 9"/>
          <p:cNvSpPr/>
          <p:nvPr/>
        </p:nvSpPr>
        <p:spPr>
          <a:xfrm rot="7286374" flipV="1">
            <a:off x="4420457" y="1588641"/>
            <a:ext cx="132798" cy="409997"/>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solidFill>
            <a:srgbClr val="31313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35" name="Isosceles Triangle 9"/>
          <p:cNvSpPr/>
          <p:nvPr/>
        </p:nvSpPr>
        <p:spPr>
          <a:xfrm rot="2891513">
            <a:off x="4748256" y="1544226"/>
            <a:ext cx="131348" cy="460714"/>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298496"/>
              <a:gd name="connsiteY0" fmla="*/ 931740 h 1046998"/>
              <a:gd name="connsiteX1" fmla="*/ 137860 w 298496"/>
              <a:gd name="connsiteY1" fmla="*/ 0 h 1046998"/>
              <a:gd name="connsiteX2" fmla="*/ 270650 w 298496"/>
              <a:gd name="connsiteY2" fmla="*/ 1046997 h 1046998"/>
              <a:gd name="connsiteX3" fmla="*/ 0 w 298496"/>
              <a:gd name="connsiteY3" fmla="*/ 931740 h 1046998"/>
            </a:gdLst>
            <a:ahLst/>
            <a:cxnLst>
              <a:cxn ang="0">
                <a:pos x="connsiteX0" y="connsiteY0"/>
              </a:cxn>
              <a:cxn ang="0">
                <a:pos x="connsiteX1" y="connsiteY1"/>
              </a:cxn>
              <a:cxn ang="0">
                <a:pos x="connsiteX2" y="connsiteY2"/>
              </a:cxn>
              <a:cxn ang="0">
                <a:pos x="connsiteX3" y="connsiteY3"/>
              </a:cxn>
            </a:cxnLst>
            <a:rect l="l" t="t" r="r" b="b"/>
            <a:pathLst>
              <a:path w="298496" h="1046998">
                <a:moveTo>
                  <a:pt x="0" y="931740"/>
                </a:moveTo>
                <a:cubicBezTo>
                  <a:pt x="122153" y="644020"/>
                  <a:pt x="168107" y="440120"/>
                  <a:pt x="137860" y="0"/>
                </a:cubicBezTo>
                <a:cubicBezTo>
                  <a:pt x="351453" y="310580"/>
                  <a:pt x="300897" y="804997"/>
                  <a:pt x="270650" y="1046997"/>
                </a:cubicBezTo>
                <a:lnTo>
                  <a:pt x="0" y="931740"/>
                </a:lnTo>
                <a:close/>
              </a:path>
            </a:pathLst>
          </a:custGeom>
          <a:solidFill>
            <a:srgbClr val="31313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55" name="Isosceles Triangle 9"/>
          <p:cNvSpPr/>
          <p:nvPr/>
        </p:nvSpPr>
        <p:spPr>
          <a:xfrm rot="3443184">
            <a:off x="4938529" y="2045436"/>
            <a:ext cx="226343" cy="698805"/>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solidFill>
            <a:srgbClr val="31313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65" name="Isosceles Triangle 9"/>
          <p:cNvSpPr/>
          <p:nvPr/>
        </p:nvSpPr>
        <p:spPr>
          <a:xfrm rot="16570907">
            <a:off x="4223664" y="2141368"/>
            <a:ext cx="226343" cy="698805"/>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solidFill>
            <a:srgbClr val="31313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66" name="Isosceles Triangle 9"/>
          <p:cNvSpPr/>
          <p:nvPr/>
        </p:nvSpPr>
        <p:spPr>
          <a:xfrm rot="3443184">
            <a:off x="4933051" y="2874111"/>
            <a:ext cx="226343" cy="698805"/>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solidFill>
            <a:srgbClr val="31313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67" name="Isosceles Triangle 9"/>
          <p:cNvSpPr/>
          <p:nvPr/>
        </p:nvSpPr>
        <p:spPr>
          <a:xfrm rot="16570907">
            <a:off x="4218186" y="2970043"/>
            <a:ext cx="226343" cy="698805"/>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solidFill>
            <a:srgbClr val="31313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68" name="Isosceles Triangle 7"/>
          <p:cNvSpPr/>
          <p:nvPr/>
        </p:nvSpPr>
        <p:spPr>
          <a:xfrm>
            <a:off x="4433502" y="1488340"/>
            <a:ext cx="481729" cy="3199924"/>
          </a:xfrm>
          <a:custGeom>
            <a:avLst/>
            <a:gdLst>
              <a:gd name="connsiteX0" fmla="*/ 0 w 571817"/>
              <a:gd name="connsiteY0" fmla="*/ 3832225 h 3832225"/>
              <a:gd name="connsiteX1" fmla="*/ 285909 w 571817"/>
              <a:gd name="connsiteY1" fmla="*/ 0 h 3832225"/>
              <a:gd name="connsiteX2" fmla="*/ 571817 w 571817"/>
              <a:gd name="connsiteY2" fmla="*/ 3832225 h 3832225"/>
              <a:gd name="connsiteX3" fmla="*/ 0 w 571817"/>
              <a:gd name="connsiteY3" fmla="*/ 3832225 h 3832225"/>
              <a:gd name="connsiteX0" fmla="*/ 0 w 571817"/>
              <a:gd name="connsiteY0" fmla="*/ 4152265 h 4152265"/>
              <a:gd name="connsiteX1" fmla="*/ 316389 w 571817"/>
              <a:gd name="connsiteY1" fmla="*/ 0 h 4152265"/>
              <a:gd name="connsiteX2" fmla="*/ 571817 w 571817"/>
              <a:gd name="connsiteY2" fmla="*/ 4152265 h 4152265"/>
              <a:gd name="connsiteX3" fmla="*/ 0 w 571817"/>
              <a:gd name="connsiteY3" fmla="*/ 4152265 h 4152265"/>
              <a:gd name="connsiteX0" fmla="*/ 0 w 571817"/>
              <a:gd name="connsiteY0" fmla="*/ 4266565 h 4266565"/>
              <a:gd name="connsiteX1" fmla="*/ 202089 w 571817"/>
              <a:gd name="connsiteY1" fmla="*/ 0 h 4266565"/>
              <a:gd name="connsiteX2" fmla="*/ 571817 w 571817"/>
              <a:gd name="connsiteY2" fmla="*/ 4266565 h 4266565"/>
              <a:gd name="connsiteX3" fmla="*/ 0 w 571817"/>
              <a:gd name="connsiteY3" fmla="*/ 4266565 h 4266565"/>
              <a:gd name="connsiteX0" fmla="*/ 0 w 618752"/>
              <a:gd name="connsiteY0" fmla="*/ 4266565 h 4266565"/>
              <a:gd name="connsiteX1" fmla="*/ 202089 w 618752"/>
              <a:gd name="connsiteY1" fmla="*/ 0 h 4266565"/>
              <a:gd name="connsiteX2" fmla="*/ 571817 w 618752"/>
              <a:gd name="connsiteY2" fmla="*/ 4266565 h 4266565"/>
              <a:gd name="connsiteX3" fmla="*/ 0 w 618752"/>
              <a:gd name="connsiteY3" fmla="*/ 4266565 h 4266565"/>
              <a:gd name="connsiteX0" fmla="*/ 0 w 642305"/>
              <a:gd name="connsiteY0" fmla="*/ 4266565 h 4266565"/>
              <a:gd name="connsiteX1" fmla="*/ 202089 w 642305"/>
              <a:gd name="connsiteY1" fmla="*/ 0 h 4266565"/>
              <a:gd name="connsiteX2" fmla="*/ 571817 w 642305"/>
              <a:gd name="connsiteY2" fmla="*/ 4266565 h 4266565"/>
              <a:gd name="connsiteX3" fmla="*/ 0 w 642305"/>
              <a:gd name="connsiteY3" fmla="*/ 4266565 h 4266565"/>
              <a:gd name="connsiteX0" fmla="*/ 0 w 642305"/>
              <a:gd name="connsiteY0" fmla="*/ 4266565 h 4266565"/>
              <a:gd name="connsiteX1" fmla="*/ 202089 w 642305"/>
              <a:gd name="connsiteY1" fmla="*/ 0 h 4266565"/>
              <a:gd name="connsiteX2" fmla="*/ 571817 w 642305"/>
              <a:gd name="connsiteY2" fmla="*/ 4266565 h 4266565"/>
              <a:gd name="connsiteX3" fmla="*/ 0 w 642305"/>
              <a:gd name="connsiteY3" fmla="*/ 4266565 h 4266565"/>
              <a:gd name="connsiteX0" fmla="*/ 0 w 642305"/>
              <a:gd name="connsiteY0" fmla="*/ 4266565 h 4266565"/>
              <a:gd name="connsiteX1" fmla="*/ 202089 w 642305"/>
              <a:gd name="connsiteY1" fmla="*/ 0 h 4266565"/>
              <a:gd name="connsiteX2" fmla="*/ 571817 w 642305"/>
              <a:gd name="connsiteY2" fmla="*/ 4266565 h 4266565"/>
              <a:gd name="connsiteX3" fmla="*/ 0 w 642305"/>
              <a:gd name="connsiteY3" fmla="*/ 4266565 h 4266565"/>
            </a:gdLst>
            <a:ahLst/>
            <a:cxnLst>
              <a:cxn ang="0">
                <a:pos x="connsiteX0" y="connsiteY0"/>
              </a:cxn>
              <a:cxn ang="0">
                <a:pos x="connsiteX1" y="connsiteY1"/>
              </a:cxn>
              <a:cxn ang="0">
                <a:pos x="connsiteX2" y="connsiteY2"/>
              </a:cxn>
              <a:cxn ang="0">
                <a:pos x="connsiteX3" y="connsiteY3"/>
              </a:cxn>
            </a:cxnLst>
            <a:rect l="l" t="t" r="r" b="b"/>
            <a:pathLst>
              <a:path w="642305" h="4266565">
                <a:moveTo>
                  <a:pt x="0" y="4266565"/>
                </a:moveTo>
                <a:cubicBezTo>
                  <a:pt x="326443" y="3126317"/>
                  <a:pt x="416666" y="1498388"/>
                  <a:pt x="202089" y="0"/>
                </a:cubicBezTo>
                <a:cubicBezTo>
                  <a:pt x="546312" y="1437428"/>
                  <a:pt x="760994" y="2730077"/>
                  <a:pt x="571817" y="4266565"/>
                </a:cubicBezTo>
                <a:lnTo>
                  <a:pt x="0" y="4266565"/>
                </a:lnTo>
                <a:close/>
              </a:path>
            </a:pathLst>
          </a:custGeom>
          <a:solidFill>
            <a:srgbClr val="31313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69" name="Oval 68"/>
          <p:cNvSpPr/>
          <p:nvPr/>
        </p:nvSpPr>
        <p:spPr>
          <a:xfrm>
            <a:off x="2754355" y="3318617"/>
            <a:ext cx="1454460" cy="303892"/>
          </a:xfrm>
          <a:prstGeom prst="ellipse">
            <a:avLst/>
          </a:prstGeom>
          <a:solidFill>
            <a:srgbClr val="B4B4B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70" name="Oval 69"/>
          <p:cNvSpPr/>
          <p:nvPr/>
        </p:nvSpPr>
        <p:spPr>
          <a:xfrm>
            <a:off x="5206090" y="2878562"/>
            <a:ext cx="1454460" cy="303892"/>
          </a:xfrm>
          <a:prstGeom prst="ellipse">
            <a:avLst/>
          </a:prstGeom>
          <a:solidFill>
            <a:srgbClr val="8C8C8C"/>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71" name="Oval 70"/>
          <p:cNvSpPr/>
          <p:nvPr/>
        </p:nvSpPr>
        <p:spPr>
          <a:xfrm>
            <a:off x="4970949" y="1775477"/>
            <a:ext cx="1315915" cy="303892"/>
          </a:xfrm>
          <a:prstGeom prst="ellipse">
            <a:avLst/>
          </a:prstGeom>
          <a:solidFill>
            <a:srgbClr val="575757"/>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72" name="Oval 71"/>
          <p:cNvSpPr/>
          <p:nvPr/>
        </p:nvSpPr>
        <p:spPr>
          <a:xfrm>
            <a:off x="3117587" y="2151331"/>
            <a:ext cx="1315915" cy="303892"/>
          </a:xfrm>
          <a:prstGeom prst="ellipse">
            <a:avLst/>
          </a:prstGeom>
          <a:solidFill>
            <a:srgbClr val="DCDCDC"/>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73" name="Oval 72"/>
          <p:cNvSpPr/>
          <p:nvPr/>
        </p:nvSpPr>
        <p:spPr>
          <a:xfrm>
            <a:off x="3535020" y="1117520"/>
            <a:ext cx="1070981" cy="303892"/>
          </a:xfrm>
          <a:prstGeom prst="ellipse">
            <a:avLst/>
          </a:prstGeom>
          <a:solidFill>
            <a:srgbClr val="00A1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74" name="Oval 73"/>
          <p:cNvSpPr/>
          <p:nvPr/>
        </p:nvSpPr>
        <p:spPr>
          <a:xfrm>
            <a:off x="4435459" y="1091154"/>
            <a:ext cx="1070981" cy="303892"/>
          </a:xfrm>
          <a:prstGeom prst="ellipse">
            <a:avLst/>
          </a:prstGeom>
          <a:solidFill>
            <a:srgbClr val="002776"/>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75" name="Rectangle 74"/>
          <p:cNvSpPr/>
          <p:nvPr/>
        </p:nvSpPr>
        <p:spPr>
          <a:xfrm>
            <a:off x="3172479" y="2060904"/>
            <a:ext cx="1204848" cy="577081"/>
          </a:xfrm>
          <a:prstGeom prst="rect">
            <a:avLst/>
          </a:prstGeom>
        </p:spPr>
        <p:txBody>
          <a:bodyPr wrap="square" lIns="0" tIns="0" rIns="0" bIns="0">
            <a:spAutoFit/>
          </a:bodyPr>
          <a:lstStyle/>
          <a:p>
            <a:pPr algn="ctr" defTabSz="685800">
              <a:spcAft>
                <a:spcPts val="450"/>
              </a:spcAft>
              <a:buClrTx/>
            </a:pPr>
            <a:r>
              <a:rPr lang="en-US" sz="750" b="1" kern="1200" dirty="0">
                <a:solidFill>
                  <a:srgbClr val="313131"/>
                </a:solidFill>
                <a:ea typeface="+mn-ea"/>
                <a:cs typeface="+mn-cs"/>
              </a:rPr>
              <a:t>LOREM IPSUM </a:t>
            </a:r>
            <a:br>
              <a:rPr lang="en-US" sz="750" b="1" kern="1200" dirty="0">
                <a:solidFill>
                  <a:srgbClr val="313131"/>
                </a:solidFill>
                <a:ea typeface="+mn-ea"/>
                <a:cs typeface="+mn-cs"/>
              </a:rPr>
            </a:br>
            <a:r>
              <a:rPr lang="en-US" sz="750" kern="1200" dirty="0">
                <a:solidFill>
                  <a:srgbClr val="313131"/>
                </a:solidFill>
                <a:ea typeface="+mn-ea"/>
                <a:cs typeface="+mn-cs"/>
              </a:rPr>
              <a:t>This is dummy text it is not here to be read. This is dummy text it is not here to be read</a:t>
            </a:r>
          </a:p>
        </p:txBody>
      </p:sp>
      <p:sp>
        <p:nvSpPr>
          <p:cNvPr id="76" name="Rectangle 75"/>
          <p:cNvSpPr/>
          <p:nvPr/>
        </p:nvSpPr>
        <p:spPr>
          <a:xfrm>
            <a:off x="2896946" y="3123813"/>
            <a:ext cx="1204848" cy="692497"/>
          </a:xfrm>
          <a:prstGeom prst="rect">
            <a:avLst/>
          </a:prstGeom>
        </p:spPr>
        <p:txBody>
          <a:bodyPr wrap="square" lIns="0" tIns="0" rIns="0" bIns="0">
            <a:spAutoFit/>
          </a:bodyPr>
          <a:lstStyle/>
          <a:p>
            <a:pPr algn="ctr" defTabSz="685800">
              <a:spcAft>
                <a:spcPts val="450"/>
              </a:spcAft>
              <a:buClrTx/>
            </a:pPr>
            <a:r>
              <a:rPr lang="en-US" sz="750" b="1" kern="1200" dirty="0">
                <a:solidFill>
                  <a:prstClr val="white"/>
                </a:solidFill>
                <a:ea typeface="+mn-ea"/>
                <a:cs typeface="+mn-cs"/>
              </a:rPr>
              <a:t>LOREM IPSUM </a:t>
            </a:r>
            <a:br>
              <a:rPr lang="en-US" sz="750" b="1" kern="1200" dirty="0">
                <a:solidFill>
                  <a:prstClr val="white"/>
                </a:solidFill>
                <a:ea typeface="+mn-ea"/>
                <a:cs typeface="+mn-cs"/>
              </a:rPr>
            </a:br>
            <a:r>
              <a:rPr lang="en-US" sz="750" kern="1200" dirty="0">
                <a:solidFill>
                  <a:prstClr val="white"/>
                </a:solidFill>
                <a:ea typeface="+mn-ea"/>
                <a:cs typeface="+mn-cs"/>
              </a:rPr>
              <a:t>This is dummy text it is not here to be read this is dummy text it is not here to be read. This is dummy text it is not here to be read.</a:t>
            </a:r>
          </a:p>
        </p:txBody>
      </p:sp>
      <p:sp>
        <p:nvSpPr>
          <p:cNvPr id="77" name="Rectangle 76"/>
          <p:cNvSpPr/>
          <p:nvPr/>
        </p:nvSpPr>
        <p:spPr>
          <a:xfrm>
            <a:off x="5022441" y="1720767"/>
            <a:ext cx="1204848" cy="577081"/>
          </a:xfrm>
          <a:prstGeom prst="rect">
            <a:avLst/>
          </a:prstGeom>
        </p:spPr>
        <p:txBody>
          <a:bodyPr wrap="square" lIns="0" tIns="0" rIns="0" bIns="0">
            <a:spAutoFit/>
          </a:bodyPr>
          <a:lstStyle/>
          <a:p>
            <a:pPr algn="ctr" defTabSz="685800">
              <a:spcAft>
                <a:spcPts val="450"/>
              </a:spcAft>
              <a:buClrTx/>
            </a:pPr>
            <a:r>
              <a:rPr lang="en-US" sz="750" b="1" kern="1200" dirty="0">
                <a:solidFill>
                  <a:prstClr val="white"/>
                </a:solidFill>
                <a:ea typeface="+mn-ea"/>
                <a:cs typeface="+mn-cs"/>
              </a:rPr>
              <a:t>LOREM IPSUM </a:t>
            </a:r>
            <a:br>
              <a:rPr lang="en-US" sz="750" b="1" kern="1200" dirty="0">
                <a:solidFill>
                  <a:prstClr val="white"/>
                </a:solidFill>
                <a:ea typeface="+mn-ea"/>
                <a:cs typeface="+mn-cs"/>
              </a:rPr>
            </a:br>
            <a:r>
              <a:rPr lang="en-US" sz="750" kern="1200" dirty="0">
                <a:solidFill>
                  <a:prstClr val="white"/>
                </a:solidFill>
                <a:ea typeface="+mn-ea"/>
                <a:cs typeface="+mn-cs"/>
              </a:rPr>
              <a:t>This is dummy text it is not here to be read. This is dummy text it is not here to be read.</a:t>
            </a:r>
          </a:p>
        </p:txBody>
      </p:sp>
      <p:sp>
        <p:nvSpPr>
          <p:cNvPr id="78" name="Rectangle 77"/>
          <p:cNvSpPr/>
          <p:nvPr/>
        </p:nvSpPr>
        <p:spPr>
          <a:xfrm>
            <a:off x="5330896" y="2684259"/>
            <a:ext cx="1204848" cy="692497"/>
          </a:xfrm>
          <a:prstGeom prst="rect">
            <a:avLst/>
          </a:prstGeom>
        </p:spPr>
        <p:txBody>
          <a:bodyPr wrap="square" lIns="0" tIns="0" rIns="0" bIns="0">
            <a:spAutoFit/>
          </a:bodyPr>
          <a:lstStyle/>
          <a:p>
            <a:pPr algn="ctr" defTabSz="685800">
              <a:spcAft>
                <a:spcPts val="450"/>
              </a:spcAft>
              <a:buClrTx/>
            </a:pPr>
            <a:r>
              <a:rPr lang="en-US" sz="750" b="1" kern="1200" dirty="0">
                <a:solidFill>
                  <a:prstClr val="white"/>
                </a:solidFill>
                <a:ea typeface="+mn-ea"/>
                <a:cs typeface="+mn-cs"/>
              </a:rPr>
              <a:t>LOREM IPSUM </a:t>
            </a:r>
            <a:br>
              <a:rPr lang="en-US" sz="750" b="1" kern="1200" dirty="0">
                <a:solidFill>
                  <a:prstClr val="white"/>
                </a:solidFill>
                <a:ea typeface="+mn-ea"/>
                <a:cs typeface="+mn-cs"/>
              </a:rPr>
            </a:br>
            <a:r>
              <a:rPr lang="en-US" sz="750" kern="1200" dirty="0">
                <a:solidFill>
                  <a:prstClr val="white"/>
                </a:solidFill>
                <a:ea typeface="+mn-ea"/>
                <a:cs typeface="+mn-cs"/>
              </a:rPr>
              <a:t>This is dummy text it is not here to be read this is dummy text it is not here to be read. This is dummy text it is not here to be read.</a:t>
            </a:r>
          </a:p>
        </p:txBody>
      </p:sp>
      <p:sp>
        <p:nvSpPr>
          <p:cNvPr id="79" name="Rectangle 78"/>
          <p:cNvSpPr/>
          <p:nvPr/>
        </p:nvSpPr>
        <p:spPr>
          <a:xfrm>
            <a:off x="3682092" y="1027092"/>
            <a:ext cx="717118" cy="577081"/>
          </a:xfrm>
          <a:prstGeom prst="rect">
            <a:avLst/>
          </a:prstGeom>
        </p:spPr>
        <p:txBody>
          <a:bodyPr wrap="square" lIns="0" tIns="0" rIns="0" bIns="0">
            <a:spAutoFit/>
          </a:bodyPr>
          <a:lstStyle/>
          <a:p>
            <a:pPr algn="ctr" defTabSz="685800">
              <a:spcAft>
                <a:spcPts val="450"/>
              </a:spcAft>
              <a:buClrTx/>
            </a:pPr>
            <a:r>
              <a:rPr lang="en-US" sz="750" b="1" kern="1200" dirty="0">
                <a:solidFill>
                  <a:prstClr val="white"/>
                </a:solidFill>
                <a:ea typeface="+mn-ea"/>
                <a:cs typeface="+mn-cs"/>
              </a:rPr>
              <a:t>LOREM IPSUM </a:t>
            </a:r>
            <a:br>
              <a:rPr lang="en-US" sz="750" b="1" kern="1200" dirty="0">
                <a:solidFill>
                  <a:prstClr val="white"/>
                </a:solidFill>
                <a:ea typeface="+mn-ea"/>
                <a:cs typeface="+mn-cs"/>
              </a:rPr>
            </a:br>
            <a:r>
              <a:rPr lang="en-US" sz="750" kern="1200" dirty="0">
                <a:solidFill>
                  <a:prstClr val="white"/>
                </a:solidFill>
                <a:ea typeface="+mn-ea"/>
                <a:cs typeface="+mn-cs"/>
              </a:rPr>
              <a:t>This is dummy text it is not here to be read this is dummy text.</a:t>
            </a:r>
          </a:p>
        </p:txBody>
      </p:sp>
      <p:sp>
        <p:nvSpPr>
          <p:cNvPr id="80" name="Rectangle 79"/>
          <p:cNvSpPr/>
          <p:nvPr/>
        </p:nvSpPr>
        <p:spPr>
          <a:xfrm>
            <a:off x="4572325" y="930873"/>
            <a:ext cx="781937" cy="577081"/>
          </a:xfrm>
          <a:prstGeom prst="rect">
            <a:avLst/>
          </a:prstGeom>
        </p:spPr>
        <p:txBody>
          <a:bodyPr wrap="square" lIns="0" tIns="0" rIns="0" bIns="0">
            <a:spAutoFit/>
          </a:bodyPr>
          <a:lstStyle/>
          <a:p>
            <a:pPr algn="ctr" defTabSz="685800">
              <a:spcAft>
                <a:spcPts val="450"/>
              </a:spcAft>
              <a:buClrTx/>
            </a:pPr>
            <a:r>
              <a:rPr lang="en-US" sz="750" b="1" kern="1200" dirty="0">
                <a:solidFill>
                  <a:prstClr val="white"/>
                </a:solidFill>
                <a:ea typeface="+mn-ea"/>
                <a:cs typeface="+mn-cs"/>
              </a:rPr>
              <a:t>LOREM IPSUM </a:t>
            </a:r>
            <a:br>
              <a:rPr lang="en-US" sz="750" b="1" kern="1200" dirty="0">
                <a:solidFill>
                  <a:prstClr val="white"/>
                </a:solidFill>
                <a:ea typeface="+mn-ea"/>
                <a:cs typeface="+mn-cs"/>
              </a:rPr>
            </a:br>
            <a:r>
              <a:rPr lang="en-US" sz="750" kern="1200" dirty="0">
                <a:solidFill>
                  <a:prstClr val="white"/>
                </a:solidFill>
                <a:ea typeface="+mn-ea"/>
                <a:cs typeface="+mn-cs"/>
              </a:rPr>
              <a:t>This is dummy text it is not here to be read . This is dummy  text .</a:t>
            </a:r>
          </a:p>
        </p:txBody>
      </p:sp>
    </p:spTree>
    <p:extLst>
      <p:ext uri="{BB962C8B-B14F-4D97-AF65-F5344CB8AC3E}">
        <p14:creationId xmlns:p14="http://schemas.microsoft.com/office/powerpoint/2010/main" val="1069860100"/>
      </p:ext>
    </p:extLst>
  </p:cSld>
  <p:clrMapOvr>
    <a:masterClrMapping/>
  </p:clrMapOvr>
  <p:transition>
    <p:fade/>
  </p:transition>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Connectors with honeycomb</a:t>
            </a:r>
            <a:br>
              <a:rPr lang="en-US" altLang="ja-JP" dirty="0"/>
            </a:br>
            <a:br>
              <a:rPr lang="en-US" altLang="ja-JP" dirty="0"/>
            </a:b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9" name="Group 18"/>
          <p:cNvGrpSpPr>
            <a:grpSpLocks noChangeAspect="1"/>
          </p:cNvGrpSpPr>
          <p:nvPr/>
        </p:nvGrpSpPr>
        <p:grpSpPr>
          <a:xfrm>
            <a:off x="3506639" y="1872658"/>
            <a:ext cx="2123580" cy="1717960"/>
            <a:chOff x="2113671" y="1526012"/>
            <a:chExt cx="5297538" cy="4285664"/>
          </a:xfrm>
        </p:grpSpPr>
        <p:sp>
          <p:nvSpPr>
            <p:cNvPr id="20" name="Hexagon 19"/>
            <p:cNvSpPr/>
            <p:nvPr/>
          </p:nvSpPr>
          <p:spPr>
            <a:xfrm>
              <a:off x="3765600" y="3309331"/>
              <a:ext cx="2009042" cy="690315"/>
            </a:xfrm>
            <a:prstGeom prst="hexagon">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21" name="Hexagon 20"/>
            <p:cNvSpPr/>
            <p:nvPr/>
          </p:nvSpPr>
          <p:spPr>
            <a:xfrm>
              <a:off x="2113671" y="2425546"/>
              <a:ext cx="2009042" cy="690315"/>
            </a:xfrm>
            <a:prstGeom prst="hexagon">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22" name="Hexagon 21"/>
            <p:cNvSpPr/>
            <p:nvPr/>
          </p:nvSpPr>
          <p:spPr>
            <a:xfrm>
              <a:off x="2131493" y="4231634"/>
              <a:ext cx="2009042" cy="690315"/>
            </a:xfrm>
            <a:prstGeom prst="hexagon">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23" name="Hexagon 22"/>
            <p:cNvSpPr/>
            <p:nvPr/>
          </p:nvSpPr>
          <p:spPr>
            <a:xfrm>
              <a:off x="3774114" y="5121361"/>
              <a:ext cx="2009042" cy="690315"/>
            </a:xfrm>
            <a:prstGeom prst="hexagon">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24" name="Hexagon 23"/>
            <p:cNvSpPr/>
            <p:nvPr/>
          </p:nvSpPr>
          <p:spPr>
            <a:xfrm>
              <a:off x="5402167" y="4175298"/>
              <a:ext cx="2009042" cy="690315"/>
            </a:xfrm>
            <a:prstGeom prst="hexagon">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38" name="Hexagon 37"/>
            <p:cNvSpPr/>
            <p:nvPr/>
          </p:nvSpPr>
          <p:spPr>
            <a:xfrm>
              <a:off x="5402167" y="2379670"/>
              <a:ext cx="2009042" cy="690315"/>
            </a:xfrm>
            <a:prstGeom prst="hexagon">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39" name="Hexagon 38"/>
            <p:cNvSpPr/>
            <p:nvPr/>
          </p:nvSpPr>
          <p:spPr>
            <a:xfrm>
              <a:off x="3753720" y="1526012"/>
              <a:ext cx="2009042" cy="690315"/>
            </a:xfrm>
            <a:prstGeom prst="hexagon">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cxnSp>
        <p:nvCxnSpPr>
          <p:cNvPr id="40" name="Straight Connector 39"/>
          <p:cNvCxnSpPr>
            <a:stCxn id="38" idx="5"/>
          </p:cNvCxnSpPr>
          <p:nvPr/>
        </p:nvCxnSpPr>
        <p:spPr>
          <a:xfrm flipV="1">
            <a:off x="5561039" y="1168735"/>
            <a:ext cx="296836" cy="1046122"/>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5857875" y="1168736"/>
            <a:ext cx="1293019" cy="0"/>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a:xfrm>
            <a:off x="5925231" y="1197311"/>
            <a:ext cx="1328738" cy="346249"/>
          </a:xfrm>
          <a:prstGeom prst="rect">
            <a:avLst/>
          </a:prstGeom>
        </p:spPr>
        <p:txBody>
          <a:bodyPr wrap="square" lIns="0" tIns="0" rIns="0" bIns="0">
            <a:spAutoFit/>
          </a:bodyPr>
          <a:lstStyle/>
          <a:p>
            <a:pPr defTabSz="685800">
              <a:spcAft>
                <a:spcPts val="450"/>
              </a:spcAft>
              <a:buClrTx/>
            </a:pPr>
            <a:r>
              <a:rPr lang="en-US" sz="750" kern="1200" dirty="0">
                <a:solidFill>
                  <a:srgbClr val="313131"/>
                </a:solidFill>
                <a:ea typeface="+mn-ea"/>
                <a:cs typeface="+mn-cs"/>
              </a:rPr>
              <a:t>This is dummy text it is not here to be read. This is dummy text it is not here to be read.</a:t>
            </a:r>
          </a:p>
        </p:txBody>
      </p:sp>
      <p:sp>
        <p:nvSpPr>
          <p:cNvPr id="43" name="Rectangle 42"/>
          <p:cNvSpPr/>
          <p:nvPr/>
        </p:nvSpPr>
        <p:spPr>
          <a:xfrm>
            <a:off x="5925231" y="1023724"/>
            <a:ext cx="785813" cy="115416"/>
          </a:xfrm>
          <a:prstGeom prst="rect">
            <a:avLst/>
          </a:prstGeom>
        </p:spPr>
        <p:txBody>
          <a:bodyPr wrap="square" lIns="0" tIns="0" rIns="0" bIns="0">
            <a:spAutoFit/>
          </a:bodyPr>
          <a:lstStyle/>
          <a:p>
            <a:pPr defTabSz="685800">
              <a:spcAft>
                <a:spcPts val="450"/>
              </a:spcAft>
              <a:buClrTx/>
            </a:pPr>
            <a:r>
              <a:rPr lang="en-US" sz="750" b="1" kern="1200" dirty="0">
                <a:solidFill>
                  <a:srgbClr val="313131"/>
                </a:solidFill>
                <a:ea typeface="+mn-ea"/>
                <a:cs typeface="+mn-cs"/>
              </a:rPr>
              <a:t>LOREM IPSUM</a:t>
            </a:r>
            <a:endParaRPr lang="en-US" sz="600" kern="1200" dirty="0">
              <a:solidFill>
                <a:srgbClr val="313131"/>
              </a:solidFill>
              <a:ea typeface="+mn-ea"/>
              <a:cs typeface="+mn-cs"/>
            </a:endParaRPr>
          </a:p>
        </p:txBody>
      </p:sp>
      <p:cxnSp>
        <p:nvCxnSpPr>
          <p:cNvPr id="44" name="Straight Connector 43"/>
          <p:cNvCxnSpPr/>
          <p:nvPr/>
        </p:nvCxnSpPr>
        <p:spPr>
          <a:xfrm flipH="1" flipV="1">
            <a:off x="4563453" y="1369610"/>
            <a:ext cx="3293" cy="294276"/>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3785533" y="1370435"/>
            <a:ext cx="771688" cy="0"/>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flipV="1">
            <a:off x="3785531" y="998089"/>
            <a:ext cx="2" cy="372346"/>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3781526" y="991008"/>
            <a:ext cx="1385888" cy="0"/>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3825982" y="848409"/>
            <a:ext cx="785813" cy="115416"/>
          </a:xfrm>
          <a:prstGeom prst="rect">
            <a:avLst/>
          </a:prstGeom>
        </p:spPr>
        <p:txBody>
          <a:bodyPr wrap="square" lIns="0" tIns="0" rIns="0" bIns="0">
            <a:spAutoFit/>
          </a:bodyPr>
          <a:lstStyle/>
          <a:p>
            <a:pPr defTabSz="685800">
              <a:spcAft>
                <a:spcPts val="450"/>
              </a:spcAft>
              <a:buClrTx/>
            </a:pPr>
            <a:r>
              <a:rPr lang="en-US" sz="750" b="1" kern="1200" dirty="0">
                <a:solidFill>
                  <a:srgbClr val="313131"/>
                </a:solidFill>
                <a:ea typeface="+mn-ea"/>
                <a:cs typeface="+mn-cs"/>
              </a:rPr>
              <a:t>LOREM IPSUM</a:t>
            </a:r>
            <a:endParaRPr lang="en-US" sz="600" kern="1200" dirty="0">
              <a:solidFill>
                <a:srgbClr val="313131"/>
              </a:solidFill>
              <a:ea typeface="+mn-ea"/>
              <a:cs typeface="+mn-cs"/>
            </a:endParaRPr>
          </a:p>
        </p:txBody>
      </p:sp>
      <p:sp>
        <p:nvSpPr>
          <p:cNvPr id="49" name="Rectangle 48"/>
          <p:cNvSpPr/>
          <p:nvPr/>
        </p:nvSpPr>
        <p:spPr>
          <a:xfrm>
            <a:off x="3846634" y="1009751"/>
            <a:ext cx="1740806" cy="346249"/>
          </a:xfrm>
          <a:prstGeom prst="rect">
            <a:avLst/>
          </a:prstGeom>
        </p:spPr>
        <p:txBody>
          <a:bodyPr wrap="square" lIns="0" tIns="0" rIns="0" bIns="0">
            <a:spAutoFit/>
          </a:bodyPr>
          <a:lstStyle/>
          <a:p>
            <a:pPr defTabSz="685800">
              <a:spcAft>
                <a:spcPts val="450"/>
              </a:spcAft>
              <a:buClrTx/>
            </a:pPr>
            <a:r>
              <a:rPr lang="en-US" sz="750" kern="1200" dirty="0">
                <a:solidFill>
                  <a:srgbClr val="313131"/>
                </a:solidFill>
                <a:ea typeface="+mn-ea"/>
                <a:cs typeface="+mn-cs"/>
              </a:rPr>
              <a:t>This is dummy text it is not here to be read. This is dummy text it is not here to be read.</a:t>
            </a:r>
          </a:p>
        </p:txBody>
      </p:sp>
      <p:cxnSp>
        <p:nvCxnSpPr>
          <p:cNvPr id="50" name="Straight Connector 49"/>
          <p:cNvCxnSpPr>
            <a:stCxn id="21" idx="4"/>
          </p:cNvCxnSpPr>
          <p:nvPr/>
        </p:nvCxnSpPr>
        <p:spPr>
          <a:xfrm flipH="1" flipV="1">
            <a:off x="2994013" y="1315985"/>
            <a:ext cx="581806" cy="917262"/>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1621632" y="1315985"/>
            <a:ext cx="1375880" cy="0"/>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2" name="Rectangle 51"/>
          <p:cNvSpPr/>
          <p:nvPr/>
        </p:nvSpPr>
        <p:spPr>
          <a:xfrm>
            <a:off x="1636701" y="1182880"/>
            <a:ext cx="785813" cy="115416"/>
          </a:xfrm>
          <a:prstGeom prst="rect">
            <a:avLst/>
          </a:prstGeom>
        </p:spPr>
        <p:txBody>
          <a:bodyPr wrap="square" lIns="0" tIns="0" rIns="0" bIns="0">
            <a:spAutoFit/>
          </a:bodyPr>
          <a:lstStyle/>
          <a:p>
            <a:pPr defTabSz="685800">
              <a:spcAft>
                <a:spcPts val="450"/>
              </a:spcAft>
              <a:buClrTx/>
            </a:pPr>
            <a:r>
              <a:rPr lang="en-US" sz="750" b="1" kern="1200" dirty="0">
                <a:solidFill>
                  <a:srgbClr val="313131"/>
                </a:solidFill>
                <a:ea typeface="+mn-ea"/>
                <a:cs typeface="+mn-cs"/>
              </a:rPr>
              <a:t>LOREM IPSUM</a:t>
            </a:r>
            <a:endParaRPr lang="en-US" sz="600" kern="1200" dirty="0">
              <a:solidFill>
                <a:srgbClr val="313131"/>
              </a:solidFill>
              <a:ea typeface="+mn-ea"/>
              <a:cs typeface="+mn-cs"/>
            </a:endParaRPr>
          </a:p>
        </p:txBody>
      </p:sp>
      <p:sp>
        <p:nvSpPr>
          <p:cNvPr id="53" name="Rectangle 52"/>
          <p:cNvSpPr/>
          <p:nvPr/>
        </p:nvSpPr>
        <p:spPr>
          <a:xfrm>
            <a:off x="1631938" y="1332386"/>
            <a:ext cx="1328738" cy="346249"/>
          </a:xfrm>
          <a:prstGeom prst="rect">
            <a:avLst/>
          </a:prstGeom>
        </p:spPr>
        <p:txBody>
          <a:bodyPr wrap="square" lIns="0" tIns="0" rIns="0" bIns="0">
            <a:spAutoFit/>
          </a:bodyPr>
          <a:lstStyle/>
          <a:p>
            <a:pPr defTabSz="685800">
              <a:spcAft>
                <a:spcPts val="450"/>
              </a:spcAft>
              <a:buClrTx/>
            </a:pPr>
            <a:r>
              <a:rPr lang="en-US" sz="750" kern="1200" dirty="0">
                <a:solidFill>
                  <a:srgbClr val="313131"/>
                </a:solidFill>
                <a:ea typeface="+mn-ea"/>
                <a:cs typeface="+mn-cs"/>
              </a:rPr>
              <a:t>This is dummy text it is not here to be read. This is dummy text it is not here to be read.</a:t>
            </a:r>
          </a:p>
        </p:txBody>
      </p:sp>
      <p:cxnSp>
        <p:nvCxnSpPr>
          <p:cNvPr id="54" name="Straight Connector 53"/>
          <p:cNvCxnSpPr>
            <a:stCxn id="23" idx="2"/>
          </p:cNvCxnSpPr>
          <p:nvPr/>
        </p:nvCxnSpPr>
        <p:spPr>
          <a:xfrm>
            <a:off x="4241427" y="3590618"/>
            <a:ext cx="325319" cy="781752"/>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4561983" y="4368295"/>
            <a:ext cx="1219692" cy="0"/>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a:xfrm>
            <a:off x="4580288" y="4237932"/>
            <a:ext cx="682229" cy="115416"/>
          </a:xfrm>
          <a:prstGeom prst="rect">
            <a:avLst/>
          </a:prstGeom>
        </p:spPr>
        <p:txBody>
          <a:bodyPr wrap="square" lIns="0" tIns="0" rIns="0" bIns="0">
            <a:spAutoFit/>
          </a:bodyPr>
          <a:lstStyle/>
          <a:p>
            <a:pPr defTabSz="685800">
              <a:spcAft>
                <a:spcPts val="450"/>
              </a:spcAft>
              <a:buClrTx/>
            </a:pPr>
            <a:r>
              <a:rPr lang="en-US" sz="750" b="1" kern="1200" dirty="0">
                <a:solidFill>
                  <a:srgbClr val="313131"/>
                </a:solidFill>
                <a:ea typeface="+mn-ea"/>
                <a:cs typeface="+mn-cs"/>
              </a:rPr>
              <a:t>LOREM IPSUM</a:t>
            </a:r>
            <a:endParaRPr lang="en-US" sz="600" kern="1200" dirty="0">
              <a:solidFill>
                <a:srgbClr val="313131"/>
              </a:solidFill>
              <a:ea typeface="+mn-ea"/>
              <a:cs typeface="+mn-cs"/>
            </a:endParaRPr>
          </a:p>
        </p:txBody>
      </p:sp>
      <p:sp>
        <p:nvSpPr>
          <p:cNvPr id="57" name="Rectangle 56"/>
          <p:cNvSpPr/>
          <p:nvPr/>
        </p:nvSpPr>
        <p:spPr>
          <a:xfrm>
            <a:off x="4576176" y="4393461"/>
            <a:ext cx="1328738" cy="346249"/>
          </a:xfrm>
          <a:prstGeom prst="rect">
            <a:avLst/>
          </a:prstGeom>
        </p:spPr>
        <p:txBody>
          <a:bodyPr wrap="square" lIns="0" tIns="0" rIns="0" bIns="0">
            <a:spAutoFit/>
          </a:bodyPr>
          <a:lstStyle/>
          <a:p>
            <a:pPr defTabSz="685800">
              <a:spcAft>
                <a:spcPts val="450"/>
              </a:spcAft>
              <a:buClrTx/>
            </a:pPr>
            <a:r>
              <a:rPr lang="en-US" sz="750" kern="1200" dirty="0">
                <a:solidFill>
                  <a:srgbClr val="313131"/>
                </a:solidFill>
                <a:ea typeface="+mn-ea"/>
                <a:cs typeface="+mn-cs"/>
              </a:rPr>
              <a:t>This is dummy text it is not here to be read. This is dummy text it is not here to be read.</a:t>
            </a:r>
          </a:p>
        </p:txBody>
      </p:sp>
      <p:cxnSp>
        <p:nvCxnSpPr>
          <p:cNvPr id="58" name="Straight Connector 57"/>
          <p:cNvCxnSpPr>
            <a:stCxn id="24" idx="1"/>
          </p:cNvCxnSpPr>
          <p:nvPr/>
        </p:nvCxnSpPr>
        <p:spPr>
          <a:xfrm>
            <a:off x="5561039" y="3211377"/>
            <a:ext cx="549249" cy="1063312"/>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6110288" y="4274688"/>
            <a:ext cx="1238250" cy="0"/>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a:off x="6152563" y="4153593"/>
            <a:ext cx="682229" cy="115416"/>
          </a:xfrm>
          <a:prstGeom prst="rect">
            <a:avLst/>
          </a:prstGeom>
        </p:spPr>
        <p:txBody>
          <a:bodyPr wrap="square" lIns="0" tIns="0" rIns="0" bIns="0">
            <a:spAutoFit/>
          </a:bodyPr>
          <a:lstStyle/>
          <a:p>
            <a:pPr defTabSz="685800">
              <a:spcAft>
                <a:spcPts val="450"/>
              </a:spcAft>
              <a:buClrTx/>
            </a:pPr>
            <a:r>
              <a:rPr lang="en-US" sz="750" b="1" kern="1200" dirty="0">
                <a:solidFill>
                  <a:srgbClr val="313131"/>
                </a:solidFill>
                <a:ea typeface="+mn-ea"/>
                <a:cs typeface="+mn-cs"/>
              </a:rPr>
              <a:t>LOREM IPSUM</a:t>
            </a:r>
            <a:endParaRPr lang="en-US" sz="600" kern="1200" dirty="0">
              <a:solidFill>
                <a:srgbClr val="313131"/>
              </a:solidFill>
              <a:ea typeface="+mn-ea"/>
              <a:cs typeface="+mn-cs"/>
            </a:endParaRPr>
          </a:p>
        </p:txBody>
      </p:sp>
      <p:sp>
        <p:nvSpPr>
          <p:cNvPr id="61" name="Rectangle 60"/>
          <p:cNvSpPr/>
          <p:nvPr/>
        </p:nvSpPr>
        <p:spPr>
          <a:xfrm>
            <a:off x="6152563" y="4301502"/>
            <a:ext cx="1328738" cy="346249"/>
          </a:xfrm>
          <a:prstGeom prst="rect">
            <a:avLst/>
          </a:prstGeom>
        </p:spPr>
        <p:txBody>
          <a:bodyPr wrap="square" lIns="0" tIns="0" rIns="0" bIns="0">
            <a:spAutoFit/>
          </a:bodyPr>
          <a:lstStyle/>
          <a:p>
            <a:pPr defTabSz="685800">
              <a:spcAft>
                <a:spcPts val="450"/>
              </a:spcAft>
              <a:buClrTx/>
            </a:pPr>
            <a:r>
              <a:rPr lang="en-US" sz="750" kern="1200" dirty="0">
                <a:solidFill>
                  <a:srgbClr val="313131"/>
                </a:solidFill>
                <a:ea typeface="+mn-ea"/>
                <a:cs typeface="+mn-cs"/>
              </a:rPr>
              <a:t>This is dummy text it is not here to be read. This is dummy text it is not here to be read.</a:t>
            </a:r>
          </a:p>
        </p:txBody>
      </p:sp>
      <p:cxnSp>
        <p:nvCxnSpPr>
          <p:cNvPr id="62" name="Straight Connector 61"/>
          <p:cNvCxnSpPr>
            <a:stCxn id="22" idx="2"/>
          </p:cNvCxnSpPr>
          <p:nvPr/>
        </p:nvCxnSpPr>
        <p:spPr>
          <a:xfrm flipH="1">
            <a:off x="3195638" y="3233960"/>
            <a:ext cx="387325" cy="1119388"/>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H="1">
            <a:off x="1990725" y="4358082"/>
            <a:ext cx="1204913" cy="0"/>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1994892" y="4226502"/>
            <a:ext cx="682229" cy="115416"/>
          </a:xfrm>
          <a:prstGeom prst="rect">
            <a:avLst/>
          </a:prstGeom>
        </p:spPr>
        <p:txBody>
          <a:bodyPr wrap="square" lIns="0" tIns="0" rIns="0" bIns="0">
            <a:spAutoFit/>
          </a:bodyPr>
          <a:lstStyle/>
          <a:p>
            <a:pPr defTabSz="685800">
              <a:spcAft>
                <a:spcPts val="450"/>
              </a:spcAft>
              <a:buClrTx/>
            </a:pPr>
            <a:r>
              <a:rPr lang="en-US" sz="750" b="1" kern="1200" dirty="0">
                <a:solidFill>
                  <a:srgbClr val="313131"/>
                </a:solidFill>
                <a:ea typeface="+mn-ea"/>
                <a:cs typeface="+mn-cs"/>
              </a:rPr>
              <a:t>LOREM IPSUM</a:t>
            </a:r>
            <a:endParaRPr lang="en-US" sz="600" kern="1200" dirty="0">
              <a:solidFill>
                <a:srgbClr val="313131"/>
              </a:solidFill>
              <a:ea typeface="+mn-ea"/>
              <a:cs typeface="+mn-cs"/>
            </a:endParaRPr>
          </a:p>
        </p:txBody>
      </p:sp>
      <p:sp>
        <p:nvSpPr>
          <p:cNvPr id="65" name="Rectangle 64"/>
          <p:cNvSpPr/>
          <p:nvPr/>
        </p:nvSpPr>
        <p:spPr>
          <a:xfrm>
            <a:off x="1989322" y="4372370"/>
            <a:ext cx="1517317" cy="346249"/>
          </a:xfrm>
          <a:prstGeom prst="rect">
            <a:avLst/>
          </a:prstGeom>
        </p:spPr>
        <p:txBody>
          <a:bodyPr wrap="square" lIns="0" tIns="0" rIns="0" bIns="0">
            <a:spAutoFit/>
          </a:bodyPr>
          <a:lstStyle/>
          <a:p>
            <a:pPr defTabSz="685800">
              <a:spcAft>
                <a:spcPts val="450"/>
              </a:spcAft>
              <a:buClrTx/>
            </a:pPr>
            <a:r>
              <a:rPr lang="en-US" sz="750" kern="1200" dirty="0">
                <a:solidFill>
                  <a:srgbClr val="313131"/>
                </a:solidFill>
                <a:ea typeface="+mn-ea"/>
                <a:cs typeface="+mn-cs"/>
              </a:rPr>
              <a:t>This is dummy text it is not here to be read. This is dummy text it is not here to be read.</a:t>
            </a:r>
          </a:p>
        </p:txBody>
      </p:sp>
      <p:pic>
        <p:nvPicPr>
          <p:cNvPr id="66"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806443" y="2268737"/>
            <a:ext cx="205740" cy="205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7"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72989" y="3002255"/>
            <a:ext cx="272648" cy="205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8" name="Picture 7"/>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453105" y="3339863"/>
            <a:ext cx="227281" cy="205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9" name="Picture 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15273" y="1908149"/>
            <a:ext cx="293421" cy="205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0" name="Picture 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056094" y="2300680"/>
            <a:ext cx="342900" cy="156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 name="Picture 1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122311" y="2980347"/>
            <a:ext cx="210467" cy="171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58740207"/>
      </p:ext>
    </p:extLst>
  </p:cSld>
  <p:clrMapOvr>
    <a:masterClrMapping/>
  </p:clrMapOvr>
  <p:transition>
    <p:fade/>
  </p:transition>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Connectors with bubbles</a:t>
            </a: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2" name="Group 71"/>
          <p:cNvGrpSpPr>
            <a:grpSpLocks noChangeAspect="1"/>
          </p:cNvGrpSpPr>
          <p:nvPr/>
        </p:nvGrpSpPr>
        <p:grpSpPr>
          <a:xfrm>
            <a:off x="4821279" y="1733383"/>
            <a:ext cx="1508760" cy="303892"/>
            <a:chOff x="-1156954" y="3481257"/>
            <a:chExt cx="3224463" cy="649466"/>
          </a:xfrm>
        </p:grpSpPr>
        <p:sp>
          <p:nvSpPr>
            <p:cNvPr id="73" name="Oval 72"/>
            <p:cNvSpPr/>
            <p:nvPr/>
          </p:nvSpPr>
          <p:spPr>
            <a:xfrm>
              <a:off x="-1156954" y="3481257"/>
              <a:ext cx="3224463" cy="649466"/>
            </a:xfrm>
            <a:prstGeom prst="ellipse">
              <a:avLst/>
            </a:prstGeom>
            <a:solidFill>
              <a:schemeClr val="bg1">
                <a:lumMod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74" name="Oval 73"/>
            <p:cNvSpPr>
              <a:spLocks noChangeAspect="1"/>
            </p:cNvSpPr>
            <p:nvPr/>
          </p:nvSpPr>
          <p:spPr>
            <a:xfrm>
              <a:off x="-1053481" y="3481257"/>
              <a:ext cx="3017520" cy="649466"/>
            </a:xfrm>
            <a:prstGeom prst="ellipse">
              <a:avLst/>
            </a:prstGeom>
            <a:solidFill>
              <a:srgbClr val="0027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nvGrpSpPr>
          <p:cNvPr id="75" name="Group 74"/>
          <p:cNvGrpSpPr>
            <a:grpSpLocks noChangeAspect="1"/>
          </p:cNvGrpSpPr>
          <p:nvPr/>
        </p:nvGrpSpPr>
        <p:grpSpPr>
          <a:xfrm>
            <a:off x="4772864" y="3828081"/>
            <a:ext cx="1508760" cy="303892"/>
            <a:chOff x="-1156954" y="3481257"/>
            <a:chExt cx="3224463" cy="649466"/>
          </a:xfrm>
        </p:grpSpPr>
        <p:sp>
          <p:nvSpPr>
            <p:cNvPr id="76" name="Oval 75"/>
            <p:cNvSpPr/>
            <p:nvPr/>
          </p:nvSpPr>
          <p:spPr>
            <a:xfrm>
              <a:off x="-1156954" y="3481257"/>
              <a:ext cx="3224463" cy="649466"/>
            </a:xfrm>
            <a:prstGeom prst="ellipse">
              <a:avLst/>
            </a:prstGeom>
            <a:solidFill>
              <a:schemeClr val="bg1">
                <a:lumMod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77" name="Oval 76"/>
            <p:cNvSpPr>
              <a:spLocks noChangeAspect="1"/>
            </p:cNvSpPr>
            <p:nvPr/>
          </p:nvSpPr>
          <p:spPr>
            <a:xfrm>
              <a:off x="-1053481" y="3481257"/>
              <a:ext cx="3017520" cy="649466"/>
            </a:xfrm>
            <a:prstGeom prst="ellipse">
              <a:avLst/>
            </a:prstGeom>
            <a:solidFill>
              <a:srgbClr val="72C7E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nvGrpSpPr>
          <p:cNvPr id="78" name="Group 77"/>
          <p:cNvGrpSpPr>
            <a:grpSpLocks noChangeAspect="1"/>
          </p:cNvGrpSpPr>
          <p:nvPr/>
        </p:nvGrpSpPr>
        <p:grpSpPr>
          <a:xfrm>
            <a:off x="2667764" y="3219601"/>
            <a:ext cx="1508760" cy="303892"/>
            <a:chOff x="-1156954" y="3481257"/>
            <a:chExt cx="3224463" cy="649466"/>
          </a:xfrm>
        </p:grpSpPr>
        <p:sp>
          <p:nvSpPr>
            <p:cNvPr id="79" name="Oval 78"/>
            <p:cNvSpPr/>
            <p:nvPr/>
          </p:nvSpPr>
          <p:spPr>
            <a:xfrm>
              <a:off x="-1156954" y="3481257"/>
              <a:ext cx="3224463" cy="649466"/>
            </a:xfrm>
            <a:prstGeom prst="ellipse">
              <a:avLst/>
            </a:prstGeom>
            <a:solidFill>
              <a:schemeClr val="bg1">
                <a:lumMod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80" name="Oval 79"/>
            <p:cNvSpPr>
              <a:spLocks noChangeAspect="1"/>
            </p:cNvSpPr>
            <p:nvPr/>
          </p:nvSpPr>
          <p:spPr>
            <a:xfrm>
              <a:off x="-1053481" y="3481257"/>
              <a:ext cx="3017520" cy="649466"/>
            </a:xfrm>
            <a:prstGeom prst="ellips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nvGrpSpPr>
          <p:cNvPr id="81" name="Group 80"/>
          <p:cNvGrpSpPr>
            <a:grpSpLocks noChangeAspect="1"/>
          </p:cNvGrpSpPr>
          <p:nvPr/>
        </p:nvGrpSpPr>
        <p:grpSpPr>
          <a:xfrm>
            <a:off x="2908459" y="1502549"/>
            <a:ext cx="1508760" cy="303892"/>
            <a:chOff x="-1156954" y="3481257"/>
            <a:chExt cx="3224463" cy="649466"/>
          </a:xfrm>
        </p:grpSpPr>
        <p:sp>
          <p:nvSpPr>
            <p:cNvPr id="82" name="Oval 81"/>
            <p:cNvSpPr/>
            <p:nvPr/>
          </p:nvSpPr>
          <p:spPr>
            <a:xfrm>
              <a:off x="-1156954" y="3481257"/>
              <a:ext cx="3224463" cy="649466"/>
            </a:xfrm>
            <a:prstGeom prst="ellipse">
              <a:avLst/>
            </a:prstGeom>
            <a:solidFill>
              <a:schemeClr val="bg1">
                <a:lumMod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83" name="Oval 82"/>
            <p:cNvSpPr>
              <a:spLocks noChangeAspect="1"/>
            </p:cNvSpPr>
            <p:nvPr/>
          </p:nvSpPr>
          <p:spPr>
            <a:xfrm>
              <a:off x="-1053481" y="3481257"/>
              <a:ext cx="3017520" cy="649466"/>
            </a:xfrm>
            <a:prstGeom prst="ellipse">
              <a:avLst/>
            </a:prstGeom>
            <a:solidFill>
              <a:srgbClr val="00A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nvGrpSpPr>
          <p:cNvPr id="84" name="Group 83"/>
          <p:cNvGrpSpPr/>
          <p:nvPr/>
        </p:nvGrpSpPr>
        <p:grpSpPr>
          <a:xfrm>
            <a:off x="3422145" y="2711717"/>
            <a:ext cx="2418347" cy="303892"/>
            <a:chOff x="3142331" y="3603396"/>
            <a:chExt cx="3224463" cy="405189"/>
          </a:xfrm>
        </p:grpSpPr>
        <p:sp>
          <p:nvSpPr>
            <p:cNvPr id="85" name="Oval 84"/>
            <p:cNvSpPr/>
            <p:nvPr/>
          </p:nvSpPr>
          <p:spPr>
            <a:xfrm>
              <a:off x="3142331" y="3603396"/>
              <a:ext cx="3224463" cy="405189"/>
            </a:xfrm>
            <a:prstGeom prst="ellipse">
              <a:avLst/>
            </a:prstGeom>
            <a:solidFill>
              <a:schemeClr val="bg1">
                <a:lumMod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86" name="Oval 85"/>
            <p:cNvSpPr>
              <a:spLocks noChangeAspect="1"/>
            </p:cNvSpPr>
            <p:nvPr/>
          </p:nvSpPr>
          <p:spPr>
            <a:xfrm>
              <a:off x="3245802" y="3603396"/>
              <a:ext cx="3017520" cy="405189"/>
            </a:xfrm>
            <a:prstGeom prst="ellipse">
              <a:avLst/>
            </a:prstGeom>
            <a:solidFill>
              <a:schemeClr val="bg1">
                <a:lumMod val="7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pic>
        <p:nvPicPr>
          <p:cNvPr id="87"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491390" y="1457776"/>
            <a:ext cx="274320" cy="27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62467" y="3387494"/>
            <a:ext cx="363530" cy="27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9" name="Picture 7"/>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424139" y="3980024"/>
            <a:ext cx="303041" cy="27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0" name="Picture 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527244" y="1573429"/>
            <a:ext cx="391228" cy="27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1" name="Rectangle 90"/>
          <p:cNvSpPr/>
          <p:nvPr/>
        </p:nvSpPr>
        <p:spPr>
          <a:xfrm>
            <a:off x="3765709" y="2210107"/>
            <a:ext cx="1809950" cy="1154162"/>
          </a:xfrm>
          <a:prstGeom prst="rect">
            <a:avLst/>
          </a:prstGeom>
        </p:spPr>
        <p:txBody>
          <a:bodyPr wrap="square" lIns="0" tIns="0" rIns="0" bIns="0">
            <a:spAutoFit/>
          </a:bodyPr>
          <a:lstStyle/>
          <a:p>
            <a:pPr defTabSz="685800">
              <a:spcAft>
                <a:spcPts val="450"/>
              </a:spcAft>
              <a:buClrTx/>
            </a:pPr>
            <a:r>
              <a:rPr lang="en-US" sz="750" b="1" kern="1200" dirty="0">
                <a:solidFill>
                  <a:srgbClr val="313131"/>
                </a:solidFill>
                <a:ea typeface="+mn-ea"/>
                <a:cs typeface="+mn-cs"/>
              </a:rPr>
              <a:t>LOREM IPSUM </a:t>
            </a:r>
            <a:br>
              <a:rPr lang="en-US" sz="750" b="1" kern="1200" dirty="0">
                <a:solidFill>
                  <a:srgbClr val="313131"/>
                </a:solidFill>
                <a:ea typeface="+mn-ea"/>
                <a:cs typeface="+mn-cs"/>
              </a:rPr>
            </a:br>
            <a:r>
              <a:rPr lang="en-US" sz="750" kern="1200" dirty="0">
                <a:solidFill>
                  <a:srgbClr val="313131"/>
                </a:solidFill>
                <a:ea typeface="+mn-ea"/>
                <a:cs typeface="+mn-cs"/>
              </a:rPr>
              <a:t>This is dummy text it is not here to be read. This is dummy text it is not here to be read. This is dummy text it is not here to be read. This is dummy text it is not here to be read. This is dummy text it is not here to be read. This is dummy text it is not here to be read. This is dummy text it is not here to be read. This is dummy text it is not here to be read. </a:t>
            </a:r>
          </a:p>
        </p:txBody>
      </p:sp>
      <p:cxnSp>
        <p:nvCxnSpPr>
          <p:cNvPr id="92" name="Straight Connector 91"/>
          <p:cNvCxnSpPr/>
          <p:nvPr/>
        </p:nvCxnSpPr>
        <p:spPr>
          <a:xfrm flipH="1" flipV="1">
            <a:off x="2749216" y="906066"/>
            <a:ext cx="255256" cy="153508"/>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H="1">
            <a:off x="1534528" y="906066"/>
            <a:ext cx="1214689" cy="0"/>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4" name="Oval 93"/>
          <p:cNvSpPr/>
          <p:nvPr/>
        </p:nvSpPr>
        <p:spPr>
          <a:xfrm>
            <a:off x="1456324" y="754120"/>
            <a:ext cx="156410" cy="303892"/>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95" name="Oval 94"/>
          <p:cNvSpPr/>
          <p:nvPr/>
        </p:nvSpPr>
        <p:spPr>
          <a:xfrm>
            <a:off x="2980409" y="942906"/>
            <a:ext cx="97819" cy="303892"/>
          </a:xfrm>
          <a:prstGeom prst="ellipse">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96" name="Oval 95"/>
          <p:cNvSpPr/>
          <p:nvPr/>
        </p:nvSpPr>
        <p:spPr>
          <a:xfrm>
            <a:off x="5944626" y="1021158"/>
            <a:ext cx="97819" cy="303892"/>
          </a:xfrm>
          <a:prstGeom prst="ellipse">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cxnSp>
        <p:nvCxnSpPr>
          <p:cNvPr id="97" name="Straight Connector 96"/>
          <p:cNvCxnSpPr>
            <a:stCxn id="96" idx="7"/>
          </p:cNvCxnSpPr>
          <p:nvPr/>
        </p:nvCxnSpPr>
        <p:spPr>
          <a:xfrm flipV="1">
            <a:off x="6028120" y="906066"/>
            <a:ext cx="205088" cy="159596"/>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V="1">
            <a:off x="6233209" y="900112"/>
            <a:ext cx="1393121" cy="5954"/>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9" name="Oval 98"/>
          <p:cNvSpPr/>
          <p:nvPr/>
        </p:nvSpPr>
        <p:spPr>
          <a:xfrm>
            <a:off x="7548125" y="754120"/>
            <a:ext cx="156410" cy="303892"/>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100" name="Oval 99"/>
          <p:cNvSpPr/>
          <p:nvPr/>
        </p:nvSpPr>
        <p:spPr>
          <a:xfrm>
            <a:off x="2968978" y="3930785"/>
            <a:ext cx="97819" cy="303892"/>
          </a:xfrm>
          <a:prstGeom prst="ellipse">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cxnSp>
        <p:nvCxnSpPr>
          <p:cNvPr id="101" name="Straight Connector 100"/>
          <p:cNvCxnSpPr>
            <a:stCxn id="100" idx="3"/>
          </p:cNvCxnSpPr>
          <p:nvPr/>
        </p:nvCxnSpPr>
        <p:spPr>
          <a:xfrm flipH="1">
            <a:off x="2851088" y="4190173"/>
            <a:ext cx="132215" cy="133222"/>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H="1">
            <a:off x="1547273" y="4323395"/>
            <a:ext cx="1303815" cy="0"/>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3" name="Oval 102"/>
          <p:cNvSpPr/>
          <p:nvPr/>
        </p:nvSpPr>
        <p:spPr>
          <a:xfrm>
            <a:off x="1469068" y="4180025"/>
            <a:ext cx="156410" cy="303892"/>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104" name="Oval 103"/>
          <p:cNvSpPr/>
          <p:nvPr/>
        </p:nvSpPr>
        <p:spPr>
          <a:xfrm>
            <a:off x="6261204" y="4004277"/>
            <a:ext cx="97819" cy="303892"/>
          </a:xfrm>
          <a:prstGeom prst="ellipse">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cxnSp>
        <p:nvCxnSpPr>
          <p:cNvPr id="105" name="Straight Connector 104"/>
          <p:cNvCxnSpPr>
            <a:stCxn id="104" idx="5"/>
          </p:cNvCxnSpPr>
          <p:nvPr/>
        </p:nvCxnSpPr>
        <p:spPr>
          <a:xfrm>
            <a:off x="6344698" y="4263665"/>
            <a:ext cx="144257" cy="90028"/>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6488954" y="4353693"/>
            <a:ext cx="1165371" cy="4287"/>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7" name="Oval 106"/>
          <p:cNvSpPr/>
          <p:nvPr/>
        </p:nvSpPr>
        <p:spPr>
          <a:xfrm>
            <a:off x="7576121" y="4191129"/>
            <a:ext cx="156410" cy="303892"/>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108" name="Rectangle 107"/>
          <p:cNvSpPr/>
          <p:nvPr/>
        </p:nvSpPr>
        <p:spPr>
          <a:xfrm>
            <a:off x="1645074" y="937100"/>
            <a:ext cx="1104143" cy="461665"/>
          </a:xfrm>
          <a:prstGeom prst="rect">
            <a:avLst/>
          </a:prstGeom>
        </p:spPr>
        <p:txBody>
          <a:bodyPr wrap="square" lIns="0" tIns="0" rIns="0" bIns="0">
            <a:spAutoFit/>
          </a:bodyPr>
          <a:lstStyle/>
          <a:p>
            <a:pPr defTabSz="685800">
              <a:spcAft>
                <a:spcPts val="450"/>
              </a:spcAft>
              <a:buClrTx/>
            </a:pPr>
            <a:r>
              <a:rPr lang="en-US" sz="750" kern="1200" dirty="0">
                <a:solidFill>
                  <a:srgbClr val="313131"/>
                </a:solidFill>
                <a:ea typeface="+mn-ea"/>
                <a:cs typeface="+mn-cs"/>
              </a:rPr>
              <a:t>This is dummy text it is not here to be read. This is dummy text it is not here to be read. </a:t>
            </a:r>
          </a:p>
        </p:txBody>
      </p:sp>
      <p:sp>
        <p:nvSpPr>
          <p:cNvPr id="109" name="Rectangle 108"/>
          <p:cNvSpPr/>
          <p:nvPr/>
        </p:nvSpPr>
        <p:spPr>
          <a:xfrm>
            <a:off x="6261203" y="936235"/>
            <a:ext cx="1443331" cy="346249"/>
          </a:xfrm>
          <a:prstGeom prst="rect">
            <a:avLst/>
          </a:prstGeom>
        </p:spPr>
        <p:txBody>
          <a:bodyPr wrap="square" lIns="0" tIns="0" rIns="0" bIns="0">
            <a:spAutoFit/>
          </a:bodyPr>
          <a:lstStyle/>
          <a:p>
            <a:pPr defTabSz="685800">
              <a:spcAft>
                <a:spcPts val="450"/>
              </a:spcAft>
              <a:buClrTx/>
            </a:pPr>
            <a:r>
              <a:rPr lang="en-US" sz="750" kern="1200" dirty="0">
                <a:solidFill>
                  <a:srgbClr val="313131"/>
                </a:solidFill>
                <a:ea typeface="+mn-ea"/>
                <a:cs typeface="+mn-cs"/>
              </a:rPr>
              <a:t>This is dummy text it is not here to be read. This is dummy text it is not here to be read. </a:t>
            </a:r>
          </a:p>
        </p:txBody>
      </p:sp>
      <p:sp>
        <p:nvSpPr>
          <p:cNvPr id="110" name="Rectangle 109"/>
          <p:cNvSpPr/>
          <p:nvPr/>
        </p:nvSpPr>
        <p:spPr>
          <a:xfrm>
            <a:off x="6488955" y="4382631"/>
            <a:ext cx="1087166" cy="461665"/>
          </a:xfrm>
          <a:prstGeom prst="rect">
            <a:avLst/>
          </a:prstGeom>
        </p:spPr>
        <p:txBody>
          <a:bodyPr wrap="square" lIns="0" tIns="0" rIns="0" bIns="0">
            <a:spAutoFit/>
          </a:bodyPr>
          <a:lstStyle/>
          <a:p>
            <a:pPr defTabSz="685800">
              <a:spcAft>
                <a:spcPts val="450"/>
              </a:spcAft>
              <a:buClrTx/>
            </a:pPr>
            <a:r>
              <a:rPr lang="en-US" sz="750" kern="1200" dirty="0">
                <a:solidFill>
                  <a:srgbClr val="313131"/>
                </a:solidFill>
                <a:ea typeface="+mn-ea"/>
                <a:cs typeface="+mn-cs"/>
              </a:rPr>
              <a:t>This is dummy text it is not here to be read. This is dummy text it is not here to be read. </a:t>
            </a:r>
          </a:p>
        </p:txBody>
      </p:sp>
      <p:sp>
        <p:nvSpPr>
          <p:cNvPr id="111" name="Rectangle 110"/>
          <p:cNvSpPr/>
          <p:nvPr/>
        </p:nvSpPr>
        <p:spPr>
          <a:xfrm>
            <a:off x="1634897" y="4365072"/>
            <a:ext cx="1443331" cy="346249"/>
          </a:xfrm>
          <a:prstGeom prst="rect">
            <a:avLst/>
          </a:prstGeom>
        </p:spPr>
        <p:txBody>
          <a:bodyPr wrap="square" lIns="0" tIns="0" rIns="0" bIns="0">
            <a:spAutoFit/>
          </a:bodyPr>
          <a:lstStyle/>
          <a:p>
            <a:pPr defTabSz="685800">
              <a:spcAft>
                <a:spcPts val="450"/>
              </a:spcAft>
              <a:buClrTx/>
            </a:pPr>
            <a:r>
              <a:rPr lang="en-US" sz="750" kern="1200" dirty="0">
                <a:solidFill>
                  <a:srgbClr val="313131"/>
                </a:solidFill>
                <a:ea typeface="+mn-ea"/>
                <a:cs typeface="+mn-cs"/>
              </a:rPr>
              <a:t>This is dummy text it is not here to be read. This is dummy text it is not here to be read. </a:t>
            </a:r>
          </a:p>
        </p:txBody>
      </p:sp>
      <p:sp>
        <p:nvSpPr>
          <p:cNvPr id="112" name="Rectangle 111"/>
          <p:cNvSpPr/>
          <p:nvPr/>
        </p:nvSpPr>
        <p:spPr>
          <a:xfrm>
            <a:off x="1634896" y="784697"/>
            <a:ext cx="682229" cy="115416"/>
          </a:xfrm>
          <a:prstGeom prst="rect">
            <a:avLst/>
          </a:prstGeom>
        </p:spPr>
        <p:txBody>
          <a:bodyPr wrap="square" lIns="0" tIns="0" rIns="0" bIns="0">
            <a:spAutoFit/>
          </a:bodyPr>
          <a:lstStyle/>
          <a:p>
            <a:pPr defTabSz="685800">
              <a:spcAft>
                <a:spcPts val="450"/>
              </a:spcAft>
              <a:buClrTx/>
            </a:pPr>
            <a:r>
              <a:rPr lang="en-US" sz="750" b="1" kern="1200" dirty="0">
                <a:solidFill>
                  <a:srgbClr val="313131"/>
                </a:solidFill>
                <a:ea typeface="+mn-ea"/>
                <a:cs typeface="+mn-cs"/>
              </a:rPr>
              <a:t>LOREM IPSUM</a:t>
            </a:r>
            <a:endParaRPr lang="en-US" sz="600" kern="1200" dirty="0">
              <a:solidFill>
                <a:srgbClr val="313131"/>
              </a:solidFill>
              <a:ea typeface="+mn-ea"/>
              <a:cs typeface="+mn-cs"/>
            </a:endParaRPr>
          </a:p>
        </p:txBody>
      </p:sp>
      <p:sp>
        <p:nvSpPr>
          <p:cNvPr id="113" name="Rectangle 112"/>
          <p:cNvSpPr/>
          <p:nvPr/>
        </p:nvSpPr>
        <p:spPr>
          <a:xfrm>
            <a:off x="1645073" y="4196636"/>
            <a:ext cx="682229" cy="115416"/>
          </a:xfrm>
          <a:prstGeom prst="rect">
            <a:avLst/>
          </a:prstGeom>
        </p:spPr>
        <p:txBody>
          <a:bodyPr wrap="square" lIns="0" tIns="0" rIns="0" bIns="0">
            <a:spAutoFit/>
          </a:bodyPr>
          <a:lstStyle/>
          <a:p>
            <a:pPr defTabSz="685800">
              <a:spcAft>
                <a:spcPts val="450"/>
              </a:spcAft>
              <a:buClrTx/>
            </a:pPr>
            <a:r>
              <a:rPr lang="en-US" sz="750" b="1" kern="1200" dirty="0">
                <a:solidFill>
                  <a:srgbClr val="313131"/>
                </a:solidFill>
                <a:ea typeface="+mn-ea"/>
                <a:cs typeface="+mn-cs"/>
              </a:rPr>
              <a:t>LOREM IPSUM</a:t>
            </a:r>
            <a:endParaRPr lang="en-US" sz="600" kern="1200" dirty="0">
              <a:solidFill>
                <a:srgbClr val="313131"/>
              </a:solidFill>
              <a:ea typeface="+mn-ea"/>
              <a:cs typeface="+mn-cs"/>
            </a:endParaRPr>
          </a:p>
        </p:txBody>
      </p:sp>
      <p:sp>
        <p:nvSpPr>
          <p:cNvPr id="114" name="Rectangle 113"/>
          <p:cNvSpPr/>
          <p:nvPr/>
        </p:nvSpPr>
        <p:spPr>
          <a:xfrm>
            <a:off x="6261204" y="773267"/>
            <a:ext cx="682229" cy="115416"/>
          </a:xfrm>
          <a:prstGeom prst="rect">
            <a:avLst/>
          </a:prstGeom>
        </p:spPr>
        <p:txBody>
          <a:bodyPr wrap="square" lIns="0" tIns="0" rIns="0" bIns="0">
            <a:spAutoFit/>
          </a:bodyPr>
          <a:lstStyle/>
          <a:p>
            <a:pPr defTabSz="685800">
              <a:spcAft>
                <a:spcPts val="450"/>
              </a:spcAft>
              <a:buClrTx/>
            </a:pPr>
            <a:r>
              <a:rPr lang="en-US" sz="750" b="1" kern="1200" dirty="0">
                <a:solidFill>
                  <a:srgbClr val="313131"/>
                </a:solidFill>
                <a:ea typeface="+mn-ea"/>
                <a:cs typeface="+mn-cs"/>
              </a:rPr>
              <a:t>LOREM IPSUM</a:t>
            </a:r>
            <a:endParaRPr lang="en-US" sz="600" kern="1200" dirty="0">
              <a:solidFill>
                <a:srgbClr val="313131"/>
              </a:solidFill>
              <a:ea typeface="+mn-ea"/>
              <a:cs typeface="+mn-cs"/>
            </a:endParaRPr>
          </a:p>
        </p:txBody>
      </p:sp>
      <p:sp>
        <p:nvSpPr>
          <p:cNvPr id="115" name="Rectangle 114"/>
          <p:cNvSpPr/>
          <p:nvPr/>
        </p:nvSpPr>
        <p:spPr>
          <a:xfrm>
            <a:off x="6494669" y="4229726"/>
            <a:ext cx="682229" cy="115416"/>
          </a:xfrm>
          <a:prstGeom prst="rect">
            <a:avLst/>
          </a:prstGeom>
        </p:spPr>
        <p:txBody>
          <a:bodyPr wrap="square" lIns="0" tIns="0" rIns="0" bIns="0">
            <a:spAutoFit/>
          </a:bodyPr>
          <a:lstStyle/>
          <a:p>
            <a:pPr defTabSz="685800">
              <a:spcAft>
                <a:spcPts val="450"/>
              </a:spcAft>
              <a:buClrTx/>
            </a:pPr>
            <a:r>
              <a:rPr lang="en-US" sz="750" b="1" kern="1200" dirty="0">
                <a:solidFill>
                  <a:srgbClr val="313131"/>
                </a:solidFill>
                <a:ea typeface="+mn-ea"/>
                <a:cs typeface="+mn-cs"/>
              </a:rPr>
              <a:t>LOREM IPSUM</a:t>
            </a:r>
            <a:endParaRPr lang="en-US" sz="600" kern="1200" dirty="0">
              <a:solidFill>
                <a:srgbClr val="313131"/>
              </a:solidFill>
              <a:ea typeface="+mn-ea"/>
              <a:cs typeface="+mn-cs"/>
            </a:endParaRPr>
          </a:p>
        </p:txBody>
      </p:sp>
    </p:spTree>
    <p:extLst>
      <p:ext uri="{BB962C8B-B14F-4D97-AF65-F5344CB8AC3E}">
        <p14:creationId xmlns:p14="http://schemas.microsoft.com/office/powerpoint/2010/main" val="144107244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6753" name="Title 2"/>
          <p:cNvSpPr>
            <a:spLocks noGrp="1"/>
          </p:cNvSpPr>
          <p:nvPr>
            <p:ph type="title"/>
          </p:nvPr>
        </p:nvSpPr>
        <p:spPr/>
        <p:txBody>
          <a:bodyPr/>
          <a:lstStyle/>
          <a:p>
            <a:pPr>
              <a:lnSpc>
                <a:spcPct val="100000"/>
              </a:lnSpc>
            </a:pPr>
            <a:r>
              <a:rPr lang="en-US" dirty="0">
                <a:solidFill>
                  <a:srgbClr val="81BC00"/>
                </a:solidFill>
              </a:rPr>
              <a:t>Text boxes  </a:t>
            </a:r>
            <a:br>
              <a:rPr lang="en-US" dirty="0">
                <a:solidFill>
                  <a:srgbClr val="81BC00"/>
                </a:solidFill>
              </a:rPr>
            </a:br>
            <a:r>
              <a:rPr lang="en-US" dirty="0">
                <a:solidFill>
                  <a:srgbClr val="575757"/>
                </a:solidFill>
              </a:rPr>
              <a:t>Major points with chevrons</a:t>
            </a:r>
          </a:p>
        </p:txBody>
      </p:sp>
      <p:sp>
        <p:nvSpPr>
          <p:cNvPr id="38" name="Rectangle 4"/>
          <p:cNvSpPr>
            <a:spLocks noChangeArrowheads="1"/>
          </p:cNvSpPr>
          <p:nvPr/>
        </p:nvSpPr>
        <p:spPr bwMode="gray">
          <a:xfrm>
            <a:off x="1440657" y="1269325"/>
            <a:ext cx="1164431" cy="671513"/>
          </a:xfrm>
          <a:prstGeom prst="homePlate">
            <a:avLst/>
          </a:prstGeom>
          <a:solidFill>
            <a:srgbClr val="3C8A2E"/>
          </a:solidFill>
          <a:ln w="12700" algn="ctr">
            <a:solidFill>
              <a:schemeClr val="bg1"/>
            </a:solidFill>
            <a:miter lim="800000"/>
            <a:headEnd/>
            <a:tailEnd/>
          </a:ln>
        </p:spPr>
        <p:txBody>
          <a:bodyPr lIns="27000" tIns="27000" rIns="27000" bIns="27000" anchor="ctr" anchorCtr="1"/>
          <a:lstStyle/>
          <a:p>
            <a:pPr algn="ctr" defTabSz="685800">
              <a:lnSpc>
                <a:spcPct val="106000"/>
              </a:lnSpc>
              <a:buClrTx/>
              <a:defRPr/>
            </a:pPr>
            <a:r>
              <a:rPr lang="en-US" sz="1500" kern="1200" dirty="0">
                <a:solidFill>
                  <a:prstClr val="white"/>
                </a:solidFill>
                <a:ea typeface="+mn-ea"/>
                <a:cs typeface="+mn-cs"/>
              </a:rPr>
              <a:t>Text</a:t>
            </a:r>
          </a:p>
        </p:txBody>
      </p:sp>
      <p:sp>
        <p:nvSpPr>
          <p:cNvPr id="39" name="Rectangle 7"/>
          <p:cNvSpPr>
            <a:spLocks noChangeArrowheads="1"/>
          </p:cNvSpPr>
          <p:nvPr/>
        </p:nvSpPr>
        <p:spPr bwMode="gray">
          <a:xfrm>
            <a:off x="1431132" y="2162552"/>
            <a:ext cx="1164431" cy="671513"/>
          </a:xfrm>
          <a:prstGeom prst="homePlate">
            <a:avLst/>
          </a:prstGeom>
          <a:solidFill>
            <a:srgbClr val="3C8A2E"/>
          </a:solidFill>
          <a:ln w="12700" algn="ctr">
            <a:solidFill>
              <a:schemeClr val="bg1"/>
            </a:solidFill>
            <a:miter lim="800000"/>
            <a:headEnd/>
            <a:tailEnd/>
          </a:ln>
        </p:spPr>
        <p:txBody>
          <a:bodyPr lIns="27000" tIns="27000" rIns="27000" bIns="27000" anchor="ctr" anchorCtr="1"/>
          <a:lstStyle/>
          <a:p>
            <a:pPr algn="ctr" defTabSz="685800">
              <a:lnSpc>
                <a:spcPct val="106000"/>
              </a:lnSpc>
              <a:buClrTx/>
              <a:defRPr/>
            </a:pPr>
            <a:r>
              <a:rPr lang="en-US" sz="1500" kern="1200" dirty="0">
                <a:solidFill>
                  <a:prstClr val="white"/>
                </a:solidFill>
                <a:ea typeface="+mn-ea"/>
                <a:cs typeface="+mn-cs"/>
              </a:rPr>
              <a:t>Text</a:t>
            </a:r>
          </a:p>
        </p:txBody>
      </p:sp>
      <p:sp>
        <p:nvSpPr>
          <p:cNvPr id="40" name="Pentagon 39"/>
          <p:cNvSpPr>
            <a:spLocks noChangeArrowheads="1"/>
          </p:cNvSpPr>
          <p:nvPr/>
        </p:nvSpPr>
        <p:spPr bwMode="gray">
          <a:xfrm>
            <a:off x="1431132" y="3055779"/>
            <a:ext cx="1164431" cy="671513"/>
          </a:xfrm>
          <a:prstGeom prst="homePlate">
            <a:avLst/>
          </a:prstGeom>
          <a:solidFill>
            <a:srgbClr val="3C8A2E"/>
          </a:solidFill>
          <a:ln w="12700" algn="ctr">
            <a:solidFill>
              <a:schemeClr val="bg1"/>
            </a:solidFill>
            <a:miter lim="800000"/>
            <a:headEnd/>
            <a:tailEnd/>
          </a:ln>
        </p:spPr>
        <p:txBody>
          <a:bodyPr lIns="27000" tIns="27000" rIns="27000" bIns="27000" anchor="ctr" anchorCtr="1"/>
          <a:lstStyle/>
          <a:p>
            <a:pPr algn="ctr" defTabSz="685800">
              <a:lnSpc>
                <a:spcPct val="106000"/>
              </a:lnSpc>
              <a:buClrTx/>
              <a:defRPr/>
            </a:pPr>
            <a:r>
              <a:rPr lang="en-US" sz="1500" kern="1200" dirty="0">
                <a:solidFill>
                  <a:prstClr val="white"/>
                </a:solidFill>
                <a:ea typeface="+mn-ea"/>
                <a:cs typeface="+mn-cs"/>
              </a:rPr>
              <a:t>Text</a:t>
            </a:r>
          </a:p>
        </p:txBody>
      </p:sp>
      <p:sp>
        <p:nvSpPr>
          <p:cNvPr id="41" name="Pentagon 40"/>
          <p:cNvSpPr>
            <a:spLocks noChangeArrowheads="1"/>
          </p:cNvSpPr>
          <p:nvPr/>
        </p:nvSpPr>
        <p:spPr bwMode="gray">
          <a:xfrm>
            <a:off x="1431132" y="3949006"/>
            <a:ext cx="1164431" cy="671513"/>
          </a:xfrm>
          <a:prstGeom prst="homePlate">
            <a:avLst/>
          </a:prstGeom>
          <a:solidFill>
            <a:srgbClr val="3C8A2E"/>
          </a:solidFill>
          <a:ln w="12700" algn="ctr">
            <a:solidFill>
              <a:schemeClr val="bg1"/>
            </a:solidFill>
            <a:miter lim="800000"/>
            <a:headEnd/>
            <a:tailEnd/>
          </a:ln>
        </p:spPr>
        <p:txBody>
          <a:bodyPr lIns="27000" tIns="27000" rIns="27000" bIns="27000" anchor="ctr" anchorCtr="1"/>
          <a:lstStyle/>
          <a:p>
            <a:pPr algn="ctr" defTabSz="685800">
              <a:lnSpc>
                <a:spcPct val="106000"/>
              </a:lnSpc>
              <a:buClrTx/>
              <a:defRPr/>
            </a:pPr>
            <a:r>
              <a:rPr lang="en-US" sz="1500" kern="1200" dirty="0">
                <a:solidFill>
                  <a:prstClr val="white"/>
                </a:solidFill>
                <a:ea typeface="+mn-ea"/>
                <a:cs typeface="+mn-cs"/>
              </a:rPr>
              <a:t>Text</a:t>
            </a:r>
          </a:p>
        </p:txBody>
      </p:sp>
      <p:sp>
        <p:nvSpPr>
          <p:cNvPr id="18" name="Text Placeholder 22"/>
          <p:cNvSpPr txBox="1">
            <a:spLocks/>
          </p:cNvSpPr>
          <p:nvPr/>
        </p:nvSpPr>
        <p:spPr bwMode="auto">
          <a:xfrm>
            <a:off x="2718197" y="1460743"/>
            <a:ext cx="2338578" cy="479259"/>
          </a:xfrm>
          <a:prstGeom prst="rect">
            <a:avLst/>
          </a:prstGeom>
        </p:spPr>
        <p:txBody>
          <a:bodyPr wrap="square" lIns="27000" tIns="27000" rIns="27000" bIns="27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35000" lvl="1" indent="-135000" defTabSz="717947">
              <a:spcBef>
                <a:spcPts val="300"/>
              </a:spcBef>
              <a:spcAft>
                <a:spcPts val="0"/>
              </a:spcAft>
              <a:buClrTx/>
            </a:pPr>
            <a:r>
              <a:rPr lang="en-US" sz="1350" dirty="0">
                <a:solidFill>
                  <a:srgbClr val="313131"/>
                </a:solidFill>
                <a:latin typeface="Arial"/>
              </a:rPr>
              <a:t>This is dummy text it is not here to be read</a:t>
            </a:r>
          </a:p>
        </p:txBody>
      </p:sp>
      <p:sp>
        <p:nvSpPr>
          <p:cNvPr id="19" name="Text Placeholder 22"/>
          <p:cNvSpPr txBox="1">
            <a:spLocks/>
          </p:cNvSpPr>
          <p:nvPr/>
        </p:nvSpPr>
        <p:spPr bwMode="auto">
          <a:xfrm>
            <a:off x="2718197" y="2400301"/>
            <a:ext cx="2338578" cy="479259"/>
          </a:xfrm>
          <a:prstGeom prst="rect">
            <a:avLst/>
          </a:prstGeom>
        </p:spPr>
        <p:txBody>
          <a:bodyPr wrap="square" lIns="27000" tIns="27000" rIns="27000" bIns="27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35000" lvl="1" indent="-135000" defTabSz="717947">
              <a:spcBef>
                <a:spcPts val="300"/>
              </a:spcBef>
              <a:spcAft>
                <a:spcPts val="0"/>
              </a:spcAft>
              <a:buClrTx/>
            </a:pPr>
            <a:r>
              <a:rPr lang="en-US" sz="1350" dirty="0">
                <a:solidFill>
                  <a:srgbClr val="313131"/>
                </a:solidFill>
                <a:latin typeface="Arial"/>
              </a:rPr>
              <a:t>This is dummy text it is not here to be read</a:t>
            </a:r>
          </a:p>
        </p:txBody>
      </p:sp>
      <p:sp>
        <p:nvSpPr>
          <p:cNvPr id="20" name="Text Placeholder 22"/>
          <p:cNvSpPr txBox="1">
            <a:spLocks/>
          </p:cNvSpPr>
          <p:nvPr/>
        </p:nvSpPr>
        <p:spPr bwMode="auto">
          <a:xfrm>
            <a:off x="2718197" y="3237985"/>
            <a:ext cx="2338578" cy="737920"/>
          </a:xfrm>
          <a:prstGeom prst="rect">
            <a:avLst/>
          </a:prstGeom>
        </p:spPr>
        <p:txBody>
          <a:bodyPr wrap="square" lIns="27000" tIns="27000" rIns="27000" bIns="27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35000" lvl="1" indent="-135000" defTabSz="717947">
              <a:spcBef>
                <a:spcPts val="300"/>
              </a:spcBef>
              <a:spcAft>
                <a:spcPts val="0"/>
              </a:spcAft>
              <a:buClrTx/>
            </a:pPr>
            <a:r>
              <a:rPr lang="en-US" sz="1350" dirty="0">
                <a:solidFill>
                  <a:srgbClr val="313131"/>
                </a:solidFill>
                <a:latin typeface="Arial"/>
              </a:rPr>
              <a:t>This is dummy text it is not here to be read</a:t>
            </a:r>
          </a:p>
          <a:p>
            <a:pPr marL="135000" lvl="1" indent="-135000" defTabSz="717947">
              <a:spcBef>
                <a:spcPts val="300"/>
              </a:spcBef>
              <a:spcAft>
                <a:spcPts val="0"/>
              </a:spcAft>
              <a:buClrTx/>
            </a:pPr>
            <a:endParaRPr lang="en-US" sz="1350" dirty="0">
              <a:solidFill>
                <a:srgbClr val="313131"/>
              </a:solidFill>
              <a:latin typeface="Arial"/>
            </a:endParaRPr>
          </a:p>
        </p:txBody>
      </p:sp>
      <p:sp>
        <p:nvSpPr>
          <p:cNvPr id="21" name="Text Placeholder 22"/>
          <p:cNvSpPr txBox="1">
            <a:spLocks/>
          </p:cNvSpPr>
          <p:nvPr/>
        </p:nvSpPr>
        <p:spPr bwMode="auto">
          <a:xfrm>
            <a:off x="2718197" y="4131211"/>
            <a:ext cx="2338578" cy="479259"/>
          </a:xfrm>
          <a:prstGeom prst="rect">
            <a:avLst/>
          </a:prstGeom>
        </p:spPr>
        <p:txBody>
          <a:bodyPr wrap="square" lIns="27000" tIns="27000" rIns="27000" bIns="27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35000" lvl="1" indent="-135000" defTabSz="717947">
              <a:spcBef>
                <a:spcPts val="300"/>
              </a:spcBef>
              <a:spcAft>
                <a:spcPts val="0"/>
              </a:spcAft>
              <a:buClrTx/>
            </a:pPr>
            <a:r>
              <a:rPr lang="en-US" sz="1350" dirty="0">
                <a:solidFill>
                  <a:srgbClr val="313131"/>
                </a:solidFill>
                <a:latin typeface="Arial"/>
              </a:rPr>
              <a:t>This is dummy text it is not here to be read</a:t>
            </a:r>
          </a:p>
        </p:txBody>
      </p:sp>
      <p:sp>
        <p:nvSpPr>
          <p:cNvPr id="22" name="Text Placeholder 22"/>
          <p:cNvSpPr txBox="1">
            <a:spLocks/>
          </p:cNvSpPr>
          <p:nvPr/>
        </p:nvSpPr>
        <p:spPr bwMode="auto">
          <a:xfrm>
            <a:off x="5194005" y="1460743"/>
            <a:ext cx="2338578" cy="479259"/>
          </a:xfrm>
          <a:prstGeom prst="rect">
            <a:avLst/>
          </a:prstGeom>
        </p:spPr>
        <p:txBody>
          <a:bodyPr wrap="square" lIns="27000" tIns="27000" rIns="27000" bIns="27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35000" lvl="1" indent="-135000" defTabSz="717947">
              <a:spcBef>
                <a:spcPts val="300"/>
              </a:spcBef>
              <a:spcAft>
                <a:spcPts val="0"/>
              </a:spcAft>
              <a:buClrTx/>
            </a:pPr>
            <a:r>
              <a:rPr lang="en-US" sz="1350" dirty="0">
                <a:solidFill>
                  <a:srgbClr val="313131"/>
                </a:solidFill>
                <a:latin typeface="Arial"/>
              </a:rPr>
              <a:t>This is dummy text it is not here to be read</a:t>
            </a:r>
          </a:p>
        </p:txBody>
      </p:sp>
      <p:sp>
        <p:nvSpPr>
          <p:cNvPr id="23" name="Text Placeholder 22"/>
          <p:cNvSpPr txBox="1">
            <a:spLocks/>
          </p:cNvSpPr>
          <p:nvPr/>
        </p:nvSpPr>
        <p:spPr bwMode="auto">
          <a:xfrm>
            <a:off x="5194005" y="2400301"/>
            <a:ext cx="2338578" cy="479259"/>
          </a:xfrm>
          <a:prstGeom prst="rect">
            <a:avLst/>
          </a:prstGeom>
        </p:spPr>
        <p:txBody>
          <a:bodyPr wrap="square" lIns="27000" tIns="27000" rIns="27000" bIns="27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35000" lvl="1" indent="-135000" defTabSz="717947">
              <a:spcBef>
                <a:spcPts val="300"/>
              </a:spcBef>
              <a:spcAft>
                <a:spcPts val="0"/>
              </a:spcAft>
              <a:buClrTx/>
            </a:pPr>
            <a:r>
              <a:rPr lang="en-US" sz="1350" dirty="0">
                <a:solidFill>
                  <a:srgbClr val="313131"/>
                </a:solidFill>
                <a:latin typeface="Arial"/>
              </a:rPr>
              <a:t>This is dummy text it is not here to be read</a:t>
            </a:r>
          </a:p>
        </p:txBody>
      </p:sp>
      <p:sp>
        <p:nvSpPr>
          <p:cNvPr id="24" name="Text Placeholder 22"/>
          <p:cNvSpPr txBox="1">
            <a:spLocks/>
          </p:cNvSpPr>
          <p:nvPr/>
        </p:nvSpPr>
        <p:spPr bwMode="auto">
          <a:xfrm>
            <a:off x="5194005" y="3237985"/>
            <a:ext cx="2338578" cy="479259"/>
          </a:xfrm>
          <a:prstGeom prst="rect">
            <a:avLst/>
          </a:prstGeom>
        </p:spPr>
        <p:txBody>
          <a:bodyPr wrap="square" lIns="27000" tIns="27000" rIns="27000" bIns="27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35000" lvl="1" indent="-135000" defTabSz="717947">
              <a:spcBef>
                <a:spcPts val="300"/>
              </a:spcBef>
              <a:spcAft>
                <a:spcPts val="0"/>
              </a:spcAft>
              <a:buClrTx/>
            </a:pPr>
            <a:r>
              <a:rPr lang="en-US" sz="1350" dirty="0">
                <a:solidFill>
                  <a:srgbClr val="313131"/>
                </a:solidFill>
                <a:latin typeface="Arial"/>
              </a:rPr>
              <a:t>This is dummy text it is not here to be read</a:t>
            </a:r>
          </a:p>
        </p:txBody>
      </p:sp>
      <p:sp>
        <p:nvSpPr>
          <p:cNvPr id="25" name="Text Placeholder 22"/>
          <p:cNvSpPr txBox="1">
            <a:spLocks/>
          </p:cNvSpPr>
          <p:nvPr/>
        </p:nvSpPr>
        <p:spPr bwMode="auto">
          <a:xfrm>
            <a:off x="5194005" y="4131211"/>
            <a:ext cx="2338578" cy="479259"/>
          </a:xfrm>
          <a:prstGeom prst="rect">
            <a:avLst/>
          </a:prstGeom>
        </p:spPr>
        <p:txBody>
          <a:bodyPr wrap="square" lIns="27000" tIns="27000" rIns="27000" bIns="27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35000" lvl="1" indent="-135000" defTabSz="717947">
              <a:spcBef>
                <a:spcPts val="300"/>
              </a:spcBef>
              <a:spcAft>
                <a:spcPts val="0"/>
              </a:spcAft>
              <a:buClrTx/>
            </a:pPr>
            <a:r>
              <a:rPr lang="en-US" sz="1350" dirty="0">
                <a:solidFill>
                  <a:srgbClr val="313131"/>
                </a:solidFill>
                <a:latin typeface="Arial"/>
              </a:rPr>
              <a:t>This is dummy text it is not here to be read</a:t>
            </a:r>
          </a:p>
        </p:txBody>
      </p:sp>
    </p:spTree>
  </p:cSld>
  <p:clrMapOvr>
    <a:masterClrMapping/>
  </p:clrMapOvr>
  <p:transition>
    <p:fade/>
  </p:transition>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Connectors with puzzle pieces  </a:t>
            </a:r>
            <a:br>
              <a:rPr lang="en-US" altLang="ja-JP" dirty="0"/>
            </a:b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04" name="Group 103"/>
          <p:cNvGrpSpPr/>
          <p:nvPr/>
        </p:nvGrpSpPr>
        <p:grpSpPr>
          <a:xfrm>
            <a:off x="3423545" y="1479669"/>
            <a:ext cx="2413071" cy="2674546"/>
            <a:chOff x="2594013" y="2429102"/>
            <a:chExt cx="3217428" cy="3566062"/>
          </a:xfrm>
        </p:grpSpPr>
        <p:sp>
          <p:nvSpPr>
            <p:cNvPr id="105" name="Rectangle 104"/>
            <p:cNvSpPr/>
            <p:nvPr/>
          </p:nvSpPr>
          <p:spPr>
            <a:xfrm rot="18913742">
              <a:off x="2778846" y="3844583"/>
              <a:ext cx="1224136" cy="288147"/>
            </a:xfrm>
            <a:prstGeom prst="rect">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nvGrpSpPr>
            <p:cNvPr id="106" name="Group 105"/>
            <p:cNvGrpSpPr/>
            <p:nvPr/>
          </p:nvGrpSpPr>
          <p:grpSpPr>
            <a:xfrm rot="18913742">
              <a:off x="2594013" y="3090418"/>
              <a:ext cx="432048" cy="591591"/>
              <a:chOff x="6420109" y="1468323"/>
              <a:chExt cx="432048" cy="591591"/>
            </a:xfrm>
            <a:solidFill>
              <a:schemeClr val="accent6"/>
            </a:solidFill>
          </p:grpSpPr>
          <p:sp>
            <p:nvSpPr>
              <p:cNvPr id="158" name="Oval 157"/>
              <p:cNvSpPr/>
              <p:nvPr/>
            </p:nvSpPr>
            <p:spPr>
              <a:xfrm>
                <a:off x="6420109" y="1468323"/>
                <a:ext cx="432048" cy="405190"/>
              </a:xfrm>
              <a:prstGeom prst="ellipse">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159" name="Rectangle 12"/>
              <p:cNvSpPr/>
              <p:nvPr/>
            </p:nvSpPr>
            <p:spPr>
              <a:xfrm>
                <a:off x="6509968" y="1771767"/>
                <a:ext cx="252413" cy="288147"/>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nvGrpSpPr>
            <p:cNvPr id="107" name="Group 106"/>
            <p:cNvGrpSpPr/>
            <p:nvPr/>
          </p:nvGrpSpPr>
          <p:grpSpPr>
            <a:xfrm rot="2713742">
              <a:off x="2901320" y="3969425"/>
              <a:ext cx="432048" cy="581247"/>
              <a:chOff x="6420109" y="1468323"/>
              <a:chExt cx="432048" cy="581247"/>
            </a:xfrm>
            <a:solidFill>
              <a:schemeClr val="bg2"/>
            </a:solidFill>
          </p:grpSpPr>
          <p:sp>
            <p:nvSpPr>
              <p:cNvPr id="156" name="Oval 155"/>
              <p:cNvSpPr/>
              <p:nvPr/>
            </p:nvSpPr>
            <p:spPr>
              <a:xfrm>
                <a:off x="6420109" y="1468323"/>
                <a:ext cx="432048" cy="405189"/>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157" name="Rectangle 12"/>
              <p:cNvSpPr/>
              <p:nvPr/>
            </p:nvSpPr>
            <p:spPr>
              <a:xfrm>
                <a:off x="6509927" y="1761423"/>
                <a:ext cx="252413" cy="288147"/>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nvGrpSpPr>
            <p:cNvPr id="108" name="Group 107"/>
            <p:cNvGrpSpPr/>
            <p:nvPr/>
          </p:nvGrpSpPr>
          <p:grpSpPr>
            <a:xfrm rot="13513742" flipH="1">
              <a:off x="3448460" y="3426642"/>
              <a:ext cx="432048" cy="581246"/>
              <a:chOff x="6420109" y="1468323"/>
              <a:chExt cx="432048" cy="581246"/>
            </a:xfrm>
            <a:solidFill>
              <a:schemeClr val="bg2"/>
            </a:solidFill>
          </p:grpSpPr>
          <p:sp>
            <p:nvSpPr>
              <p:cNvPr id="154" name="Oval 153"/>
              <p:cNvSpPr/>
              <p:nvPr/>
            </p:nvSpPr>
            <p:spPr>
              <a:xfrm>
                <a:off x="6420109" y="1468323"/>
                <a:ext cx="432048" cy="405189"/>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155" name="Rectangle 12"/>
              <p:cNvSpPr/>
              <p:nvPr/>
            </p:nvSpPr>
            <p:spPr>
              <a:xfrm>
                <a:off x="6509928" y="1761422"/>
                <a:ext cx="252413" cy="288147"/>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nvGrpSpPr>
            <p:cNvPr id="109" name="Group 108"/>
            <p:cNvGrpSpPr/>
            <p:nvPr/>
          </p:nvGrpSpPr>
          <p:grpSpPr>
            <a:xfrm rot="2732396">
              <a:off x="3575001" y="1979492"/>
              <a:ext cx="1363917" cy="2263137"/>
              <a:chOff x="5936284" y="1468323"/>
              <a:chExt cx="1363917" cy="2263137"/>
            </a:xfrm>
          </p:grpSpPr>
          <p:sp>
            <p:nvSpPr>
              <p:cNvPr id="141" name="Rectangle 140"/>
              <p:cNvSpPr/>
              <p:nvPr/>
            </p:nvSpPr>
            <p:spPr>
              <a:xfrm>
                <a:off x="6012161" y="2456836"/>
                <a:ext cx="1224136" cy="288147"/>
              </a:xfrm>
              <a:prstGeom prst="rect">
                <a:avLst/>
              </a:prstGeom>
              <a:solidFill>
                <a:srgbClr val="00A1DE"/>
              </a:solidFill>
              <a:ln w="1270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nvGrpSpPr>
              <p:cNvPr id="142" name="Group 141"/>
              <p:cNvGrpSpPr/>
              <p:nvPr/>
            </p:nvGrpSpPr>
            <p:grpSpPr>
              <a:xfrm>
                <a:off x="6420109" y="1468323"/>
                <a:ext cx="432048" cy="581247"/>
                <a:chOff x="6420109" y="1468323"/>
                <a:chExt cx="432048" cy="581247"/>
              </a:xfrm>
            </p:grpSpPr>
            <p:sp>
              <p:nvSpPr>
                <p:cNvPr id="152" name="Oval 151"/>
                <p:cNvSpPr/>
                <p:nvPr/>
              </p:nvSpPr>
              <p:spPr>
                <a:xfrm>
                  <a:off x="6420109" y="1468323"/>
                  <a:ext cx="432048" cy="405189"/>
                </a:xfrm>
                <a:prstGeom prst="ellipse">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153" name="Rectangle 12"/>
                <p:cNvSpPr/>
                <p:nvPr/>
              </p:nvSpPr>
              <p:spPr>
                <a:xfrm>
                  <a:off x="6509928" y="1761423"/>
                  <a:ext cx="252413" cy="288147"/>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nvGrpSpPr>
              <p:cNvPr id="143" name="Group 142"/>
              <p:cNvGrpSpPr/>
              <p:nvPr/>
            </p:nvGrpSpPr>
            <p:grpSpPr>
              <a:xfrm flipV="1">
                <a:off x="6422080" y="3150214"/>
                <a:ext cx="432048" cy="581246"/>
                <a:chOff x="6420109" y="1468323"/>
                <a:chExt cx="432048" cy="581246"/>
              </a:xfrm>
            </p:grpSpPr>
            <p:sp>
              <p:nvSpPr>
                <p:cNvPr id="150" name="Oval 149"/>
                <p:cNvSpPr/>
                <p:nvPr/>
              </p:nvSpPr>
              <p:spPr>
                <a:xfrm>
                  <a:off x="6420109" y="1468323"/>
                  <a:ext cx="432048" cy="405189"/>
                </a:xfrm>
                <a:prstGeom prst="ellipse">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151" name="Rectangle 12"/>
                <p:cNvSpPr/>
                <p:nvPr/>
              </p:nvSpPr>
              <p:spPr>
                <a:xfrm>
                  <a:off x="6509927" y="1761422"/>
                  <a:ext cx="252413" cy="288147"/>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nvGrpSpPr>
              <p:cNvPr id="144" name="Group 143"/>
              <p:cNvGrpSpPr/>
              <p:nvPr/>
            </p:nvGrpSpPr>
            <p:grpSpPr>
              <a:xfrm rot="5400000">
                <a:off x="6016870" y="2304300"/>
                <a:ext cx="432048" cy="593219"/>
                <a:chOff x="6420108" y="1468324"/>
                <a:chExt cx="432048" cy="593219"/>
              </a:xfrm>
              <a:solidFill>
                <a:schemeClr val="bg2"/>
              </a:solidFill>
            </p:grpSpPr>
            <p:sp>
              <p:nvSpPr>
                <p:cNvPr id="148" name="Oval 147"/>
                <p:cNvSpPr/>
                <p:nvPr/>
              </p:nvSpPr>
              <p:spPr>
                <a:xfrm>
                  <a:off x="6420108" y="1468324"/>
                  <a:ext cx="432048" cy="405189"/>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149" name="Rectangle 12"/>
                <p:cNvSpPr/>
                <p:nvPr/>
              </p:nvSpPr>
              <p:spPr>
                <a:xfrm>
                  <a:off x="6510039" y="1773397"/>
                  <a:ext cx="252413" cy="288146"/>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nvGrpSpPr>
              <p:cNvPr id="145" name="Group 144"/>
              <p:cNvGrpSpPr/>
              <p:nvPr/>
            </p:nvGrpSpPr>
            <p:grpSpPr>
              <a:xfrm rot="16200000" flipH="1">
                <a:off x="6793555" y="2310287"/>
                <a:ext cx="432048" cy="581245"/>
                <a:chOff x="6420109" y="1468324"/>
                <a:chExt cx="432048" cy="581245"/>
              </a:xfrm>
              <a:solidFill>
                <a:schemeClr val="bg2"/>
              </a:solidFill>
            </p:grpSpPr>
            <p:sp>
              <p:nvSpPr>
                <p:cNvPr id="146" name="Oval 145"/>
                <p:cNvSpPr/>
                <p:nvPr/>
              </p:nvSpPr>
              <p:spPr>
                <a:xfrm>
                  <a:off x="6420109" y="1468324"/>
                  <a:ext cx="432048" cy="405190"/>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147" name="Rectangle 12"/>
                <p:cNvSpPr/>
                <p:nvPr/>
              </p:nvSpPr>
              <p:spPr>
                <a:xfrm>
                  <a:off x="6509926" y="1761422"/>
                  <a:ext cx="252413" cy="288147"/>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grpSp>
          <p:nvGrpSpPr>
            <p:cNvPr id="110" name="Group 109"/>
            <p:cNvGrpSpPr/>
            <p:nvPr/>
          </p:nvGrpSpPr>
          <p:grpSpPr>
            <a:xfrm rot="8141066">
              <a:off x="4459495" y="2861611"/>
              <a:ext cx="1351946" cy="2254155"/>
              <a:chOff x="5948257" y="1468323"/>
              <a:chExt cx="1351946" cy="2254155"/>
            </a:xfrm>
          </p:grpSpPr>
          <p:sp>
            <p:nvSpPr>
              <p:cNvPr id="128" name="Rectangle 127"/>
              <p:cNvSpPr/>
              <p:nvPr/>
            </p:nvSpPr>
            <p:spPr>
              <a:xfrm>
                <a:off x="6012160" y="2456834"/>
                <a:ext cx="1224136" cy="288147"/>
              </a:xfrm>
              <a:prstGeom prst="rect">
                <a:avLst/>
              </a:prstGeom>
              <a:solidFill>
                <a:srgbClr val="B4B4B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nvGrpSpPr>
              <p:cNvPr id="129" name="Group 128"/>
              <p:cNvGrpSpPr/>
              <p:nvPr/>
            </p:nvGrpSpPr>
            <p:grpSpPr>
              <a:xfrm>
                <a:off x="6420109" y="1468323"/>
                <a:ext cx="432048" cy="591590"/>
                <a:chOff x="6420109" y="1468323"/>
                <a:chExt cx="432048" cy="591590"/>
              </a:xfrm>
            </p:grpSpPr>
            <p:sp>
              <p:nvSpPr>
                <p:cNvPr id="139" name="Oval 138"/>
                <p:cNvSpPr/>
                <p:nvPr/>
              </p:nvSpPr>
              <p:spPr>
                <a:xfrm>
                  <a:off x="6420109" y="1468323"/>
                  <a:ext cx="432048" cy="405189"/>
                </a:xfrm>
                <a:prstGeom prst="ellipse">
                  <a:avLst/>
                </a:pr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140" name="Rectangle 12"/>
                <p:cNvSpPr/>
                <p:nvPr/>
              </p:nvSpPr>
              <p:spPr>
                <a:xfrm>
                  <a:off x="6510052" y="1771766"/>
                  <a:ext cx="252413" cy="288147"/>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nvGrpSpPr>
              <p:cNvPr id="130" name="Group 129"/>
              <p:cNvGrpSpPr/>
              <p:nvPr/>
            </p:nvGrpSpPr>
            <p:grpSpPr>
              <a:xfrm flipV="1">
                <a:off x="6421973" y="3141234"/>
                <a:ext cx="432048" cy="581244"/>
                <a:chOff x="6420002" y="1477305"/>
                <a:chExt cx="432048" cy="581244"/>
              </a:xfrm>
            </p:grpSpPr>
            <p:sp>
              <p:nvSpPr>
                <p:cNvPr id="137" name="Oval 136"/>
                <p:cNvSpPr/>
                <p:nvPr/>
              </p:nvSpPr>
              <p:spPr>
                <a:xfrm>
                  <a:off x="6420002" y="1477305"/>
                  <a:ext cx="432048" cy="405189"/>
                </a:xfrm>
                <a:prstGeom prst="ellipse">
                  <a:avLst/>
                </a:pr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138" name="Rectangle 12"/>
                <p:cNvSpPr/>
                <p:nvPr/>
              </p:nvSpPr>
              <p:spPr>
                <a:xfrm>
                  <a:off x="6509819" y="1770402"/>
                  <a:ext cx="252413" cy="288147"/>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nvGrpSpPr>
              <p:cNvPr id="131" name="Group 130"/>
              <p:cNvGrpSpPr/>
              <p:nvPr/>
            </p:nvGrpSpPr>
            <p:grpSpPr>
              <a:xfrm rot="5400000">
                <a:off x="6022856" y="2310286"/>
                <a:ext cx="432048" cy="581246"/>
                <a:chOff x="6420109" y="1468323"/>
                <a:chExt cx="432048" cy="581246"/>
              </a:xfrm>
              <a:solidFill>
                <a:schemeClr val="bg2"/>
              </a:solidFill>
            </p:grpSpPr>
            <p:sp>
              <p:nvSpPr>
                <p:cNvPr id="135" name="Oval 134"/>
                <p:cNvSpPr/>
                <p:nvPr/>
              </p:nvSpPr>
              <p:spPr>
                <a:xfrm>
                  <a:off x="6420109" y="1468323"/>
                  <a:ext cx="432048" cy="405189"/>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136" name="Rectangle 12"/>
                <p:cNvSpPr/>
                <p:nvPr/>
              </p:nvSpPr>
              <p:spPr>
                <a:xfrm>
                  <a:off x="6509926" y="1761422"/>
                  <a:ext cx="252413" cy="288147"/>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nvGrpSpPr>
              <p:cNvPr id="132" name="Group 131"/>
              <p:cNvGrpSpPr/>
              <p:nvPr/>
            </p:nvGrpSpPr>
            <p:grpSpPr>
              <a:xfrm rot="16200000" flipH="1">
                <a:off x="6793556" y="2310286"/>
                <a:ext cx="432048" cy="581246"/>
                <a:chOff x="6420108" y="1468324"/>
                <a:chExt cx="432048" cy="581246"/>
              </a:xfrm>
              <a:solidFill>
                <a:schemeClr val="bg2"/>
              </a:solidFill>
            </p:grpSpPr>
            <p:sp>
              <p:nvSpPr>
                <p:cNvPr id="133" name="Oval 132"/>
                <p:cNvSpPr/>
                <p:nvPr/>
              </p:nvSpPr>
              <p:spPr>
                <a:xfrm>
                  <a:off x="6420108" y="1468324"/>
                  <a:ext cx="432048" cy="405189"/>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134" name="Rectangle 12"/>
                <p:cNvSpPr/>
                <p:nvPr/>
              </p:nvSpPr>
              <p:spPr>
                <a:xfrm>
                  <a:off x="6509927" y="1761423"/>
                  <a:ext cx="252413" cy="288147"/>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grpSp>
          <p:nvGrpSpPr>
            <p:cNvPr id="111" name="Group 110"/>
            <p:cNvGrpSpPr/>
            <p:nvPr/>
          </p:nvGrpSpPr>
          <p:grpSpPr>
            <a:xfrm rot="13491341">
              <a:off x="3598358" y="3743666"/>
              <a:ext cx="1351944" cy="2251498"/>
              <a:chOff x="5948257" y="1455476"/>
              <a:chExt cx="1351944" cy="2251498"/>
            </a:xfrm>
          </p:grpSpPr>
          <p:sp>
            <p:nvSpPr>
              <p:cNvPr id="115" name="Rectangle 114"/>
              <p:cNvSpPr/>
              <p:nvPr/>
            </p:nvSpPr>
            <p:spPr>
              <a:xfrm>
                <a:off x="6028372" y="2444056"/>
                <a:ext cx="1224136" cy="288147"/>
              </a:xfrm>
              <a:prstGeom prst="rect">
                <a:avLst/>
              </a:prstGeom>
              <a:solidFill>
                <a:srgbClr val="8C8C8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nvGrpSpPr>
              <p:cNvPr id="116" name="Group 115"/>
              <p:cNvGrpSpPr/>
              <p:nvPr/>
            </p:nvGrpSpPr>
            <p:grpSpPr>
              <a:xfrm>
                <a:off x="6436261" y="1455476"/>
                <a:ext cx="432048" cy="591588"/>
                <a:chOff x="6436261" y="1455476"/>
                <a:chExt cx="432048" cy="591588"/>
              </a:xfrm>
            </p:grpSpPr>
            <p:sp>
              <p:nvSpPr>
                <p:cNvPr id="126" name="Oval 125"/>
                <p:cNvSpPr/>
                <p:nvPr/>
              </p:nvSpPr>
              <p:spPr>
                <a:xfrm>
                  <a:off x="6436261" y="1455476"/>
                  <a:ext cx="432048" cy="405189"/>
                </a:xfrm>
                <a:prstGeom prst="ellipse">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127" name="Rectangle 12"/>
                <p:cNvSpPr/>
                <p:nvPr/>
              </p:nvSpPr>
              <p:spPr>
                <a:xfrm>
                  <a:off x="6526050" y="1758917"/>
                  <a:ext cx="252413" cy="288147"/>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nvGrpSpPr>
              <p:cNvPr id="117" name="Group 116"/>
              <p:cNvGrpSpPr/>
              <p:nvPr/>
            </p:nvGrpSpPr>
            <p:grpSpPr>
              <a:xfrm flipV="1">
                <a:off x="6427182" y="3125731"/>
                <a:ext cx="432048" cy="581243"/>
                <a:chOff x="6425211" y="1492809"/>
                <a:chExt cx="432048" cy="581243"/>
              </a:xfrm>
            </p:grpSpPr>
            <p:sp>
              <p:nvSpPr>
                <p:cNvPr id="124" name="Oval 123"/>
                <p:cNvSpPr/>
                <p:nvPr/>
              </p:nvSpPr>
              <p:spPr>
                <a:xfrm>
                  <a:off x="6425211" y="1492809"/>
                  <a:ext cx="432048" cy="405189"/>
                </a:xfrm>
                <a:prstGeom prst="ellipse">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125" name="Rectangle 12"/>
                <p:cNvSpPr/>
                <p:nvPr/>
              </p:nvSpPr>
              <p:spPr>
                <a:xfrm>
                  <a:off x="6515030" y="1785906"/>
                  <a:ext cx="252413" cy="288146"/>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nvGrpSpPr>
              <p:cNvPr id="118" name="Group 117"/>
              <p:cNvGrpSpPr/>
              <p:nvPr/>
            </p:nvGrpSpPr>
            <p:grpSpPr>
              <a:xfrm rot="5400000">
                <a:off x="6022856" y="2310286"/>
                <a:ext cx="432048" cy="581245"/>
                <a:chOff x="6420108" y="1468324"/>
                <a:chExt cx="432048" cy="581245"/>
              </a:xfrm>
              <a:solidFill>
                <a:schemeClr val="bg2"/>
              </a:solidFill>
            </p:grpSpPr>
            <p:sp>
              <p:nvSpPr>
                <p:cNvPr id="122" name="Oval 121"/>
                <p:cNvSpPr/>
                <p:nvPr/>
              </p:nvSpPr>
              <p:spPr>
                <a:xfrm>
                  <a:off x="6420108" y="1468324"/>
                  <a:ext cx="432048" cy="405189"/>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123" name="Rectangle 12"/>
                <p:cNvSpPr/>
                <p:nvPr/>
              </p:nvSpPr>
              <p:spPr>
                <a:xfrm>
                  <a:off x="6509928" y="1761422"/>
                  <a:ext cx="252413" cy="288147"/>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nvGrpSpPr>
              <p:cNvPr id="119" name="Group 118"/>
              <p:cNvGrpSpPr/>
              <p:nvPr/>
            </p:nvGrpSpPr>
            <p:grpSpPr>
              <a:xfrm rot="16200000" flipH="1">
                <a:off x="6793554" y="2310286"/>
                <a:ext cx="432048" cy="581246"/>
                <a:chOff x="6420109" y="1468323"/>
                <a:chExt cx="432048" cy="581246"/>
              </a:xfrm>
              <a:solidFill>
                <a:schemeClr val="bg2"/>
              </a:solidFill>
            </p:grpSpPr>
            <p:sp>
              <p:nvSpPr>
                <p:cNvPr id="120" name="Oval 119"/>
                <p:cNvSpPr/>
                <p:nvPr/>
              </p:nvSpPr>
              <p:spPr>
                <a:xfrm>
                  <a:off x="6420109" y="1468323"/>
                  <a:ext cx="432048" cy="405190"/>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121" name="Rectangle 12"/>
                <p:cNvSpPr/>
                <p:nvPr/>
              </p:nvSpPr>
              <p:spPr>
                <a:xfrm>
                  <a:off x="6509927" y="1761423"/>
                  <a:ext cx="252413" cy="288146"/>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grpSp>
          <p:nvGrpSpPr>
            <p:cNvPr id="112" name="Group 111"/>
            <p:cNvGrpSpPr/>
            <p:nvPr/>
          </p:nvGrpSpPr>
          <p:grpSpPr>
            <a:xfrm rot="18913742" flipV="1">
              <a:off x="3782725" y="4270786"/>
              <a:ext cx="432048" cy="607088"/>
              <a:chOff x="6425275" y="1451461"/>
              <a:chExt cx="432048" cy="607088"/>
            </a:xfrm>
            <a:solidFill>
              <a:schemeClr val="accent6"/>
            </a:solidFill>
          </p:grpSpPr>
          <p:sp>
            <p:nvSpPr>
              <p:cNvPr id="113" name="Oval 112"/>
              <p:cNvSpPr/>
              <p:nvPr/>
            </p:nvSpPr>
            <p:spPr>
              <a:xfrm>
                <a:off x="6425275" y="1451461"/>
                <a:ext cx="432048" cy="405189"/>
              </a:xfrm>
              <a:prstGeom prst="ellipse">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114" name="Rectangle 12"/>
              <p:cNvSpPr/>
              <p:nvPr/>
            </p:nvSpPr>
            <p:spPr>
              <a:xfrm>
                <a:off x="6509820" y="1770402"/>
                <a:ext cx="252413" cy="288147"/>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sp>
        <p:nvSpPr>
          <p:cNvPr id="160" name="Rectangle 159"/>
          <p:cNvSpPr/>
          <p:nvPr/>
        </p:nvSpPr>
        <p:spPr>
          <a:xfrm>
            <a:off x="6175731" y="1160860"/>
            <a:ext cx="1204848" cy="600164"/>
          </a:xfrm>
          <a:prstGeom prst="rect">
            <a:avLst/>
          </a:prstGeom>
        </p:spPr>
        <p:txBody>
          <a:bodyPr wrap="square" lIns="0" tIns="0" rIns="0" bIns="0">
            <a:spAutoFit/>
          </a:bodyPr>
          <a:lstStyle/>
          <a:p>
            <a:pPr defTabSz="685800">
              <a:spcAft>
                <a:spcPts val="450"/>
              </a:spcAft>
              <a:buClrTx/>
            </a:pPr>
            <a:r>
              <a:rPr lang="en-US" sz="900" b="1" kern="1200" dirty="0">
                <a:solidFill>
                  <a:srgbClr val="313131"/>
                </a:solidFill>
                <a:ea typeface="+mn-ea"/>
                <a:cs typeface="+mn-cs"/>
              </a:rPr>
              <a:t>LOREM IPSUM </a:t>
            </a:r>
            <a:br>
              <a:rPr lang="en-US" sz="750" b="1" kern="1200" dirty="0">
                <a:solidFill>
                  <a:srgbClr val="313131"/>
                </a:solidFill>
                <a:ea typeface="+mn-ea"/>
                <a:cs typeface="+mn-cs"/>
              </a:rPr>
            </a:br>
            <a:r>
              <a:rPr lang="en-US" sz="750" kern="1200" dirty="0">
                <a:solidFill>
                  <a:srgbClr val="313131"/>
                </a:solidFill>
                <a:ea typeface="+mn-ea"/>
                <a:cs typeface="+mn-cs"/>
              </a:rPr>
              <a:t>This is dummy text it is not here to be read this is dummy text it is not here to be read. </a:t>
            </a:r>
          </a:p>
        </p:txBody>
      </p:sp>
      <p:cxnSp>
        <p:nvCxnSpPr>
          <p:cNvPr id="161" name="Elbow Connector 160"/>
          <p:cNvCxnSpPr/>
          <p:nvPr/>
        </p:nvCxnSpPr>
        <p:spPr>
          <a:xfrm flipV="1">
            <a:off x="4746288" y="1160860"/>
            <a:ext cx="1372877" cy="242374"/>
          </a:xfrm>
          <a:prstGeom prst="bentConnector3">
            <a:avLst>
              <a:gd name="adj1" fmla="val 46"/>
            </a:avLst>
          </a:prstGeom>
          <a:ln w="12700">
            <a:solidFill>
              <a:srgbClr val="00A1DE"/>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2" name="Elbow Connector 161"/>
          <p:cNvCxnSpPr/>
          <p:nvPr/>
        </p:nvCxnSpPr>
        <p:spPr>
          <a:xfrm rot="16200000" flipH="1">
            <a:off x="5473570" y="3142003"/>
            <a:ext cx="658328" cy="632862"/>
          </a:xfrm>
          <a:prstGeom prst="bentConnector3">
            <a:avLst>
              <a:gd name="adj1" fmla="val 100003"/>
            </a:avLst>
          </a:prstGeom>
          <a:ln w="12700">
            <a:solidFill>
              <a:srgbClr val="B4B4B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3" name="Rectangle 162"/>
          <p:cNvSpPr/>
          <p:nvPr/>
        </p:nvSpPr>
        <p:spPr>
          <a:xfrm>
            <a:off x="6175731" y="3787597"/>
            <a:ext cx="1204848" cy="600164"/>
          </a:xfrm>
          <a:prstGeom prst="rect">
            <a:avLst/>
          </a:prstGeom>
        </p:spPr>
        <p:txBody>
          <a:bodyPr wrap="square" lIns="0" tIns="0" rIns="0" bIns="0">
            <a:spAutoFit/>
          </a:bodyPr>
          <a:lstStyle/>
          <a:p>
            <a:pPr defTabSz="685800">
              <a:spcAft>
                <a:spcPts val="450"/>
              </a:spcAft>
              <a:buClrTx/>
            </a:pPr>
            <a:r>
              <a:rPr lang="en-US" sz="900" b="1" kern="1200" dirty="0">
                <a:solidFill>
                  <a:srgbClr val="313131"/>
                </a:solidFill>
                <a:ea typeface="+mn-ea"/>
                <a:cs typeface="+mn-cs"/>
              </a:rPr>
              <a:t>LOREM IPSUM </a:t>
            </a:r>
            <a:br>
              <a:rPr lang="en-US" sz="750" b="1" kern="1200" dirty="0">
                <a:solidFill>
                  <a:srgbClr val="313131"/>
                </a:solidFill>
                <a:ea typeface="+mn-ea"/>
                <a:cs typeface="+mn-cs"/>
              </a:rPr>
            </a:br>
            <a:r>
              <a:rPr lang="en-US" sz="750" kern="1200" dirty="0">
                <a:solidFill>
                  <a:srgbClr val="313131"/>
                </a:solidFill>
                <a:ea typeface="+mn-ea"/>
                <a:cs typeface="+mn-cs"/>
              </a:rPr>
              <a:t>This is dummy text it is not here to be read this is dummy text it is not here to be read.</a:t>
            </a:r>
          </a:p>
        </p:txBody>
      </p:sp>
      <p:cxnSp>
        <p:nvCxnSpPr>
          <p:cNvPr id="164" name="Elbow Connector 163"/>
          <p:cNvCxnSpPr/>
          <p:nvPr/>
        </p:nvCxnSpPr>
        <p:spPr>
          <a:xfrm rot="10800000">
            <a:off x="2643123" y="1160861"/>
            <a:ext cx="1219791" cy="987019"/>
          </a:xfrm>
          <a:prstGeom prst="bentConnector3">
            <a:avLst>
              <a:gd name="adj1" fmla="val -1275"/>
            </a:avLst>
          </a:prstGeom>
          <a:ln w="12700">
            <a:solidFill>
              <a:srgbClr val="575757"/>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5" name="Rectangle 164"/>
          <p:cNvSpPr/>
          <p:nvPr/>
        </p:nvSpPr>
        <p:spPr>
          <a:xfrm>
            <a:off x="1438274" y="1188291"/>
            <a:ext cx="1204848" cy="600164"/>
          </a:xfrm>
          <a:prstGeom prst="rect">
            <a:avLst/>
          </a:prstGeom>
        </p:spPr>
        <p:txBody>
          <a:bodyPr wrap="square" lIns="0" tIns="0" rIns="0" bIns="0">
            <a:spAutoFit/>
          </a:bodyPr>
          <a:lstStyle/>
          <a:p>
            <a:pPr algn="r" defTabSz="685800">
              <a:spcAft>
                <a:spcPts val="450"/>
              </a:spcAft>
              <a:buClrTx/>
            </a:pPr>
            <a:r>
              <a:rPr lang="en-US" sz="900" b="1" kern="1200" dirty="0">
                <a:solidFill>
                  <a:srgbClr val="313131"/>
                </a:solidFill>
                <a:ea typeface="+mn-ea"/>
                <a:cs typeface="+mn-cs"/>
              </a:rPr>
              <a:t>LOREM IPSUM </a:t>
            </a:r>
            <a:br>
              <a:rPr lang="en-US" sz="750" b="1" kern="1200" dirty="0">
                <a:solidFill>
                  <a:srgbClr val="313131"/>
                </a:solidFill>
                <a:ea typeface="+mn-ea"/>
                <a:cs typeface="+mn-cs"/>
              </a:rPr>
            </a:br>
            <a:r>
              <a:rPr lang="en-US" sz="750" kern="1200" dirty="0">
                <a:solidFill>
                  <a:srgbClr val="313131"/>
                </a:solidFill>
                <a:ea typeface="+mn-ea"/>
                <a:cs typeface="+mn-cs"/>
              </a:rPr>
              <a:t>This is dummy text it is not here to be read this is dummy text it is not here to be read. </a:t>
            </a:r>
          </a:p>
        </p:txBody>
      </p:sp>
      <p:sp>
        <p:nvSpPr>
          <p:cNvPr id="166" name="Rectangle 165"/>
          <p:cNvSpPr/>
          <p:nvPr/>
        </p:nvSpPr>
        <p:spPr>
          <a:xfrm>
            <a:off x="1438274" y="3787597"/>
            <a:ext cx="1204848" cy="600164"/>
          </a:xfrm>
          <a:prstGeom prst="rect">
            <a:avLst/>
          </a:prstGeom>
        </p:spPr>
        <p:txBody>
          <a:bodyPr wrap="square" lIns="0" tIns="0" rIns="0" bIns="0">
            <a:spAutoFit/>
          </a:bodyPr>
          <a:lstStyle/>
          <a:p>
            <a:pPr algn="r" defTabSz="685800">
              <a:spcAft>
                <a:spcPts val="450"/>
              </a:spcAft>
              <a:buClrTx/>
            </a:pPr>
            <a:r>
              <a:rPr lang="en-US" sz="900" b="1" kern="1200" dirty="0">
                <a:solidFill>
                  <a:srgbClr val="313131"/>
                </a:solidFill>
                <a:ea typeface="+mn-ea"/>
                <a:cs typeface="+mn-cs"/>
              </a:rPr>
              <a:t>LOREM IPSUM </a:t>
            </a:r>
            <a:br>
              <a:rPr lang="en-US" sz="750" b="1" kern="1200" dirty="0">
                <a:solidFill>
                  <a:srgbClr val="313131"/>
                </a:solidFill>
                <a:ea typeface="+mn-ea"/>
                <a:cs typeface="+mn-cs"/>
              </a:rPr>
            </a:br>
            <a:r>
              <a:rPr lang="en-US" sz="750" kern="1200" dirty="0">
                <a:solidFill>
                  <a:srgbClr val="313131"/>
                </a:solidFill>
                <a:ea typeface="+mn-ea"/>
                <a:cs typeface="+mn-cs"/>
              </a:rPr>
              <a:t>This is dummy text it is not here to be read this is dummy text it is not here to be read. </a:t>
            </a:r>
          </a:p>
        </p:txBody>
      </p:sp>
      <p:cxnSp>
        <p:nvCxnSpPr>
          <p:cNvPr id="167" name="Elbow Connector 166"/>
          <p:cNvCxnSpPr/>
          <p:nvPr/>
        </p:nvCxnSpPr>
        <p:spPr>
          <a:xfrm rot="10800000" flipV="1">
            <a:off x="2690166" y="3380810"/>
            <a:ext cx="1489364" cy="406787"/>
          </a:xfrm>
          <a:prstGeom prst="bentConnector3">
            <a:avLst>
              <a:gd name="adj1" fmla="val 100099"/>
            </a:avLst>
          </a:prstGeom>
          <a:ln w="12700">
            <a:solidFill>
              <a:srgbClr val="8C8C8C"/>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68" name="Picture 16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08057" y="1284560"/>
            <a:ext cx="328695" cy="328695"/>
          </a:xfrm>
          <a:prstGeom prst="rect">
            <a:avLst/>
          </a:prstGeom>
        </p:spPr>
      </p:pic>
      <p:grpSp>
        <p:nvGrpSpPr>
          <p:cNvPr id="171" name="Group 170"/>
          <p:cNvGrpSpPr>
            <a:grpSpLocks noChangeAspect="1"/>
          </p:cNvGrpSpPr>
          <p:nvPr/>
        </p:nvGrpSpPr>
        <p:grpSpPr>
          <a:xfrm>
            <a:off x="2757170" y="1313116"/>
            <a:ext cx="324906" cy="303892"/>
            <a:chOff x="2751968" y="3366997"/>
            <a:chExt cx="365760" cy="342104"/>
          </a:xfrm>
        </p:grpSpPr>
        <p:sp>
          <p:nvSpPr>
            <p:cNvPr id="172" name="Oval 171"/>
            <p:cNvSpPr/>
            <p:nvPr/>
          </p:nvSpPr>
          <p:spPr>
            <a:xfrm>
              <a:off x="2751968" y="3366997"/>
              <a:ext cx="365760" cy="342104"/>
            </a:xfrm>
            <a:prstGeom prst="ellipse">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173" name="Freeform 172"/>
            <p:cNvSpPr/>
            <p:nvPr/>
          </p:nvSpPr>
          <p:spPr>
            <a:xfrm rot="19236591">
              <a:off x="2809402" y="3406241"/>
              <a:ext cx="274321" cy="243284"/>
            </a:xfrm>
            <a:custGeom>
              <a:avLst/>
              <a:gdLst>
                <a:gd name="connsiteX0" fmla="*/ 869950 w 1073150"/>
                <a:gd name="connsiteY0" fmla="*/ 523875 h 1187450"/>
                <a:gd name="connsiteX1" fmla="*/ 796925 w 1073150"/>
                <a:gd name="connsiteY1" fmla="*/ 434975 h 1187450"/>
                <a:gd name="connsiteX2" fmla="*/ 749300 w 1073150"/>
                <a:gd name="connsiteY2" fmla="*/ 365125 h 1187450"/>
                <a:gd name="connsiteX3" fmla="*/ 666750 w 1073150"/>
                <a:gd name="connsiteY3" fmla="*/ 257175 h 1187450"/>
                <a:gd name="connsiteX4" fmla="*/ 615950 w 1073150"/>
                <a:gd name="connsiteY4" fmla="*/ 184150 h 1187450"/>
                <a:gd name="connsiteX5" fmla="*/ 504825 w 1073150"/>
                <a:gd name="connsiteY5" fmla="*/ 41275 h 1187450"/>
                <a:gd name="connsiteX6" fmla="*/ 428625 w 1073150"/>
                <a:gd name="connsiteY6" fmla="*/ 0 h 1187450"/>
                <a:gd name="connsiteX7" fmla="*/ 377825 w 1073150"/>
                <a:gd name="connsiteY7" fmla="*/ 3175 h 1187450"/>
                <a:gd name="connsiteX8" fmla="*/ 539750 w 1073150"/>
                <a:gd name="connsiteY8" fmla="*/ 384175 h 1187450"/>
                <a:gd name="connsiteX9" fmla="*/ 482600 w 1073150"/>
                <a:gd name="connsiteY9" fmla="*/ 542925 h 1187450"/>
                <a:gd name="connsiteX10" fmla="*/ 215900 w 1073150"/>
                <a:gd name="connsiteY10" fmla="*/ 552450 h 1187450"/>
                <a:gd name="connsiteX11" fmla="*/ 85725 w 1073150"/>
                <a:gd name="connsiteY11" fmla="*/ 393700 h 1187450"/>
                <a:gd name="connsiteX12" fmla="*/ 0 w 1073150"/>
                <a:gd name="connsiteY12" fmla="*/ 374650 h 1187450"/>
                <a:gd name="connsiteX13" fmla="*/ 53975 w 1073150"/>
                <a:gd name="connsiteY13" fmla="*/ 568325 h 1187450"/>
                <a:gd name="connsiteX14" fmla="*/ 50800 w 1073150"/>
                <a:gd name="connsiteY14" fmla="*/ 619125 h 1187450"/>
                <a:gd name="connsiteX15" fmla="*/ 9525 w 1073150"/>
                <a:gd name="connsiteY15" fmla="*/ 806450 h 1187450"/>
                <a:gd name="connsiteX16" fmla="*/ 88900 w 1073150"/>
                <a:gd name="connsiteY16" fmla="*/ 796925 h 1187450"/>
                <a:gd name="connsiteX17" fmla="*/ 212725 w 1073150"/>
                <a:gd name="connsiteY17" fmla="*/ 615950 h 1187450"/>
                <a:gd name="connsiteX18" fmla="*/ 460375 w 1073150"/>
                <a:gd name="connsiteY18" fmla="*/ 638175 h 1187450"/>
                <a:gd name="connsiteX19" fmla="*/ 536575 w 1073150"/>
                <a:gd name="connsiteY19" fmla="*/ 822325 h 1187450"/>
                <a:gd name="connsiteX20" fmla="*/ 390525 w 1073150"/>
                <a:gd name="connsiteY20" fmla="*/ 1187450 h 1187450"/>
                <a:gd name="connsiteX21" fmla="*/ 536575 w 1073150"/>
                <a:gd name="connsiteY21" fmla="*/ 1111250 h 1187450"/>
                <a:gd name="connsiteX22" fmla="*/ 612775 w 1073150"/>
                <a:gd name="connsiteY22" fmla="*/ 996950 h 1187450"/>
                <a:gd name="connsiteX23" fmla="*/ 663575 w 1073150"/>
                <a:gd name="connsiteY23" fmla="*/ 930275 h 1187450"/>
                <a:gd name="connsiteX24" fmla="*/ 746125 w 1073150"/>
                <a:gd name="connsiteY24" fmla="*/ 815975 h 1187450"/>
                <a:gd name="connsiteX25" fmla="*/ 803275 w 1073150"/>
                <a:gd name="connsiteY25" fmla="*/ 749300 h 1187450"/>
                <a:gd name="connsiteX26" fmla="*/ 869950 w 1073150"/>
                <a:gd name="connsiteY26" fmla="*/ 650875 h 1187450"/>
                <a:gd name="connsiteX27" fmla="*/ 1069975 w 1073150"/>
                <a:gd name="connsiteY27" fmla="*/ 641350 h 1187450"/>
                <a:gd name="connsiteX28" fmla="*/ 1073150 w 1073150"/>
                <a:gd name="connsiteY28" fmla="*/ 542925 h 1187450"/>
                <a:gd name="connsiteX29" fmla="*/ 869950 w 1073150"/>
                <a:gd name="connsiteY29" fmla="*/ 523875 h 1187450"/>
                <a:gd name="connsiteX0" fmla="*/ 869950 w 1174048"/>
                <a:gd name="connsiteY0" fmla="*/ 523875 h 1187450"/>
                <a:gd name="connsiteX1" fmla="*/ 796925 w 1174048"/>
                <a:gd name="connsiteY1" fmla="*/ 434975 h 1187450"/>
                <a:gd name="connsiteX2" fmla="*/ 749300 w 1174048"/>
                <a:gd name="connsiteY2" fmla="*/ 365125 h 1187450"/>
                <a:gd name="connsiteX3" fmla="*/ 666750 w 1174048"/>
                <a:gd name="connsiteY3" fmla="*/ 257175 h 1187450"/>
                <a:gd name="connsiteX4" fmla="*/ 615950 w 1174048"/>
                <a:gd name="connsiteY4" fmla="*/ 184150 h 1187450"/>
                <a:gd name="connsiteX5" fmla="*/ 504825 w 1174048"/>
                <a:gd name="connsiteY5" fmla="*/ 41275 h 1187450"/>
                <a:gd name="connsiteX6" fmla="*/ 428625 w 1174048"/>
                <a:gd name="connsiteY6" fmla="*/ 0 h 1187450"/>
                <a:gd name="connsiteX7" fmla="*/ 377825 w 1174048"/>
                <a:gd name="connsiteY7" fmla="*/ 3175 h 1187450"/>
                <a:gd name="connsiteX8" fmla="*/ 539750 w 1174048"/>
                <a:gd name="connsiteY8" fmla="*/ 384175 h 1187450"/>
                <a:gd name="connsiteX9" fmla="*/ 482600 w 1174048"/>
                <a:gd name="connsiteY9" fmla="*/ 542925 h 1187450"/>
                <a:gd name="connsiteX10" fmla="*/ 215900 w 1174048"/>
                <a:gd name="connsiteY10" fmla="*/ 552450 h 1187450"/>
                <a:gd name="connsiteX11" fmla="*/ 85725 w 1174048"/>
                <a:gd name="connsiteY11" fmla="*/ 393700 h 1187450"/>
                <a:gd name="connsiteX12" fmla="*/ 0 w 1174048"/>
                <a:gd name="connsiteY12" fmla="*/ 374650 h 1187450"/>
                <a:gd name="connsiteX13" fmla="*/ 53975 w 1174048"/>
                <a:gd name="connsiteY13" fmla="*/ 568325 h 1187450"/>
                <a:gd name="connsiteX14" fmla="*/ 50800 w 1174048"/>
                <a:gd name="connsiteY14" fmla="*/ 619125 h 1187450"/>
                <a:gd name="connsiteX15" fmla="*/ 9525 w 1174048"/>
                <a:gd name="connsiteY15" fmla="*/ 806450 h 1187450"/>
                <a:gd name="connsiteX16" fmla="*/ 88900 w 1174048"/>
                <a:gd name="connsiteY16" fmla="*/ 796925 h 1187450"/>
                <a:gd name="connsiteX17" fmla="*/ 212725 w 1174048"/>
                <a:gd name="connsiteY17" fmla="*/ 615950 h 1187450"/>
                <a:gd name="connsiteX18" fmla="*/ 460375 w 1174048"/>
                <a:gd name="connsiteY18" fmla="*/ 638175 h 1187450"/>
                <a:gd name="connsiteX19" fmla="*/ 536575 w 1174048"/>
                <a:gd name="connsiteY19" fmla="*/ 822325 h 1187450"/>
                <a:gd name="connsiteX20" fmla="*/ 390525 w 1174048"/>
                <a:gd name="connsiteY20" fmla="*/ 1187450 h 1187450"/>
                <a:gd name="connsiteX21" fmla="*/ 536575 w 1174048"/>
                <a:gd name="connsiteY21" fmla="*/ 1111250 h 1187450"/>
                <a:gd name="connsiteX22" fmla="*/ 612775 w 1174048"/>
                <a:gd name="connsiteY22" fmla="*/ 996950 h 1187450"/>
                <a:gd name="connsiteX23" fmla="*/ 663575 w 1174048"/>
                <a:gd name="connsiteY23" fmla="*/ 930275 h 1187450"/>
                <a:gd name="connsiteX24" fmla="*/ 746125 w 1174048"/>
                <a:gd name="connsiteY24" fmla="*/ 815975 h 1187450"/>
                <a:gd name="connsiteX25" fmla="*/ 803275 w 1174048"/>
                <a:gd name="connsiteY25" fmla="*/ 749300 h 1187450"/>
                <a:gd name="connsiteX26" fmla="*/ 869950 w 1174048"/>
                <a:gd name="connsiteY26" fmla="*/ 650875 h 1187450"/>
                <a:gd name="connsiteX27" fmla="*/ 1069975 w 1174048"/>
                <a:gd name="connsiteY27" fmla="*/ 641350 h 1187450"/>
                <a:gd name="connsiteX28" fmla="*/ 1073150 w 1174048"/>
                <a:gd name="connsiteY28" fmla="*/ 542925 h 1187450"/>
                <a:gd name="connsiteX29" fmla="*/ 869950 w 1174048"/>
                <a:gd name="connsiteY29" fmla="*/ 523875 h 1187450"/>
                <a:gd name="connsiteX0" fmla="*/ 869950 w 1203659"/>
                <a:gd name="connsiteY0" fmla="*/ 523875 h 1187450"/>
                <a:gd name="connsiteX1" fmla="*/ 796925 w 1203659"/>
                <a:gd name="connsiteY1" fmla="*/ 434975 h 1187450"/>
                <a:gd name="connsiteX2" fmla="*/ 749300 w 1203659"/>
                <a:gd name="connsiteY2" fmla="*/ 365125 h 1187450"/>
                <a:gd name="connsiteX3" fmla="*/ 666750 w 1203659"/>
                <a:gd name="connsiteY3" fmla="*/ 257175 h 1187450"/>
                <a:gd name="connsiteX4" fmla="*/ 615950 w 1203659"/>
                <a:gd name="connsiteY4" fmla="*/ 184150 h 1187450"/>
                <a:gd name="connsiteX5" fmla="*/ 504825 w 1203659"/>
                <a:gd name="connsiteY5" fmla="*/ 41275 h 1187450"/>
                <a:gd name="connsiteX6" fmla="*/ 428625 w 1203659"/>
                <a:gd name="connsiteY6" fmla="*/ 0 h 1187450"/>
                <a:gd name="connsiteX7" fmla="*/ 377825 w 1203659"/>
                <a:gd name="connsiteY7" fmla="*/ 3175 h 1187450"/>
                <a:gd name="connsiteX8" fmla="*/ 539750 w 1203659"/>
                <a:gd name="connsiteY8" fmla="*/ 384175 h 1187450"/>
                <a:gd name="connsiteX9" fmla="*/ 482600 w 1203659"/>
                <a:gd name="connsiteY9" fmla="*/ 542925 h 1187450"/>
                <a:gd name="connsiteX10" fmla="*/ 215900 w 1203659"/>
                <a:gd name="connsiteY10" fmla="*/ 552450 h 1187450"/>
                <a:gd name="connsiteX11" fmla="*/ 85725 w 1203659"/>
                <a:gd name="connsiteY11" fmla="*/ 393700 h 1187450"/>
                <a:gd name="connsiteX12" fmla="*/ 0 w 1203659"/>
                <a:gd name="connsiteY12" fmla="*/ 374650 h 1187450"/>
                <a:gd name="connsiteX13" fmla="*/ 53975 w 1203659"/>
                <a:gd name="connsiteY13" fmla="*/ 568325 h 1187450"/>
                <a:gd name="connsiteX14" fmla="*/ 50800 w 1203659"/>
                <a:gd name="connsiteY14" fmla="*/ 619125 h 1187450"/>
                <a:gd name="connsiteX15" fmla="*/ 9525 w 1203659"/>
                <a:gd name="connsiteY15" fmla="*/ 806450 h 1187450"/>
                <a:gd name="connsiteX16" fmla="*/ 88900 w 1203659"/>
                <a:gd name="connsiteY16" fmla="*/ 796925 h 1187450"/>
                <a:gd name="connsiteX17" fmla="*/ 212725 w 1203659"/>
                <a:gd name="connsiteY17" fmla="*/ 615950 h 1187450"/>
                <a:gd name="connsiteX18" fmla="*/ 460375 w 1203659"/>
                <a:gd name="connsiteY18" fmla="*/ 638175 h 1187450"/>
                <a:gd name="connsiteX19" fmla="*/ 536575 w 1203659"/>
                <a:gd name="connsiteY19" fmla="*/ 822325 h 1187450"/>
                <a:gd name="connsiteX20" fmla="*/ 390525 w 1203659"/>
                <a:gd name="connsiteY20" fmla="*/ 1187450 h 1187450"/>
                <a:gd name="connsiteX21" fmla="*/ 536575 w 1203659"/>
                <a:gd name="connsiteY21" fmla="*/ 1111250 h 1187450"/>
                <a:gd name="connsiteX22" fmla="*/ 612775 w 1203659"/>
                <a:gd name="connsiteY22" fmla="*/ 996950 h 1187450"/>
                <a:gd name="connsiteX23" fmla="*/ 663575 w 1203659"/>
                <a:gd name="connsiteY23" fmla="*/ 930275 h 1187450"/>
                <a:gd name="connsiteX24" fmla="*/ 746125 w 1203659"/>
                <a:gd name="connsiteY24" fmla="*/ 815975 h 1187450"/>
                <a:gd name="connsiteX25" fmla="*/ 803275 w 1203659"/>
                <a:gd name="connsiteY25" fmla="*/ 749300 h 1187450"/>
                <a:gd name="connsiteX26" fmla="*/ 869950 w 1203659"/>
                <a:gd name="connsiteY26" fmla="*/ 650875 h 1187450"/>
                <a:gd name="connsiteX27" fmla="*/ 1069975 w 1203659"/>
                <a:gd name="connsiteY27" fmla="*/ 641350 h 1187450"/>
                <a:gd name="connsiteX28" fmla="*/ 1073150 w 1203659"/>
                <a:gd name="connsiteY28" fmla="*/ 542925 h 1187450"/>
                <a:gd name="connsiteX29" fmla="*/ 869950 w 1203659"/>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5003" h="1187450">
                  <a:moveTo>
                    <a:pt x="869950" y="523875"/>
                  </a:moveTo>
                  <a:lnTo>
                    <a:pt x="796925" y="434975"/>
                  </a:lnTo>
                  <a:cubicBezTo>
                    <a:pt x="869950" y="383117"/>
                    <a:pt x="784225" y="353483"/>
                    <a:pt x="749300" y="365125"/>
                  </a:cubicBezTo>
                  <a:lnTo>
                    <a:pt x="666750" y="257175"/>
                  </a:lnTo>
                  <a:cubicBezTo>
                    <a:pt x="729192" y="201083"/>
                    <a:pt x="693208" y="183092"/>
                    <a:pt x="615950" y="184150"/>
                  </a:cubicBezTo>
                  <a:lnTo>
                    <a:pt x="504825" y="41275"/>
                  </a:lnTo>
                  <a:cubicBezTo>
                    <a:pt x="466725" y="5292"/>
                    <a:pt x="454025" y="13758"/>
                    <a:pt x="428625" y="0"/>
                  </a:cubicBezTo>
                  <a:lnTo>
                    <a:pt x="377825" y="3175"/>
                  </a:lnTo>
                  <a:lnTo>
                    <a:pt x="539750" y="384175"/>
                  </a:lnTo>
                  <a:cubicBezTo>
                    <a:pt x="552450" y="443442"/>
                    <a:pt x="622300" y="515408"/>
                    <a:pt x="482600" y="542925"/>
                  </a:cubicBezTo>
                  <a:lnTo>
                    <a:pt x="215900" y="552450"/>
                  </a:lnTo>
                  <a:lnTo>
                    <a:pt x="85725" y="393700"/>
                  </a:lnTo>
                  <a:lnTo>
                    <a:pt x="0" y="374650"/>
                  </a:lnTo>
                  <a:lnTo>
                    <a:pt x="53975" y="568325"/>
                  </a:lnTo>
                  <a:cubicBezTo>
                    <a:pt x="14817" y="582083"/>
                    <a:pt x="4233" y="599017"/>
                    <a:pt x="50800" y="619125"/>
                  </a:cubicBezTo>
                  <a:lnTo>
                    <a:pt x="9525" y="806450"/>
                  </a:lnTo>
                  <a:lnTo>
                    <a:pt x="88900" y="796925"/>
                  </a:lnTo>
                  <a:lnTo>
                    <a:pt x="215900" y="635000"/>
                  </a:lnTo>
                  <a:lnTo>
                    <a:pt x="460375" y="638175"/>
                  </a:lnTo>
                  <a:cubicBezTo>
                    <a:pt x="565150" y="670983"/>
                    <a:pt x="603250" y="646642"/>
                    <a:pt x="536575" y="822325"/>
                  </a:cubicBezTo>
                  <a:lnTo>
                    <a:pt x="390525" y="1187450"/>
                  </a:lnTo>
                  <a:cubicBezTo>
                    <a:pt x="439208" y="1162050"/>
                    <a:pt x="452967" y="1231900"/>
                    <a:pt x="536575" y="1111250"/>
                  </a:cubicBezTo>
                  <a:lnTo>
                    <a:pt x="612775" y="996950"/>
                  </a:lnTo>
                  <a:cubicBezTo>
                    <a:pt x="721783" y="1003300"/>
                    <a:pt x="710142" y="955675"/>
                    <a:pt x="663575" y="930275"/>
                  </a:cubicBezTo>
                  <a:lnTo>
                    <a:pt x="746125" y="815975"/>
                  </a:lnTo>
                  <a:cubicBezTo>
                    <a:pt x="838200" y="822325"/>
                    <a:pt x="841375" y="800100"/>
                    <a:pt x="803275" y="749300"/>
                  </a:cubicBezTo>
                  <a:lnTo>
                    <a:pt x="869950" y="650875"/>
                  </a:lnTo>
                  <a:cubicBezTo>
                    <a:pt x="936625" y="647700"/>
                    <a:pt x="987425" y="663575"/>
                    <a:pt x="1069975" y="641350"/>
                  </a:cubicBezTo>
                  <a:cubicBezTo>
                    <a:pt x="1305983" y="605367"/>
                    <a:pt x="1183217" y="569383"/>
                    <a:pt x="1073150" y="542925"/>
                  </a:cubicBezTo>
                  <a:cubicBezTo>
                    <a:pt x="992717" y="527050"/>
                    <a:pt x="909108" y="542925"/>
                    <a:pt x="869950" y="523875"/>
                  </a:cubicBezTo>
                  <a:close/>
                </a:path>
              </a:pathLst>
            </a:cu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sp>
        <p:nvSpPr>
          <p:cNvPr id="4" name="Oval 3"/>
          <p:cNvSpPr/>
          <p:nvPr/>
        </p:nvSpPr>
        <p:spPr>
          <a:xfrm>
            <a:off x="5708057" y="3835797"/>
            <a:ext cx="322326" cy="303892"/>
          </a:xfrm>
          <a:prstGeom prst="ellipse">
            <a:avLst/>
          </a:prstGeom>
          <a:solidFill>
            <a:srgbClr val="B4B4B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174" name="Oval 173"/>
          <p:cNvSpPr/>
          <p:nvPr/>
        </p:nvSpPr>
        <p:spPr>
          <a:xfrm>
            <a:off x="2757170" y="3798842"/>
            <a:ext cx="322326" cy="303892"/>
          </a:xfrm>
          <a:prstGeom prst="ellipse">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pic>
        <p:nvPicPr>
          <p:cNvPr id="175" name="Picture 174" descr="33.emf"/>
          <p:cNvPicPr>
            <a:picLocks noChangeAspect="1"/>
          </p:cNvPicPr>
          <p:nvPr/>
        </p:nvPicPr>
        <p:blipFill>
          <a:blip r:embed="rId7">
            <a:biLevel thresh="25000"/>
          </a:blip>
          <a:stretch>
            <a:fillRect/>
          </a:stretch>
        </p:blipFill>
        <p:spPr>
          <a:xfrm>
            <a:off x="5759667" y="3878666"/>
            <a:ext cx="225569" cy="209013"/>
          </a:xfrm>
          <a:prstGeom prst="rect">
            <a:avLst/>
          </a:prstGeom>
        </p:spPr>
      </p:pic>
      <p:grpSp>
        <p:nvGrpSpPr>
          <p:cNvPr id="176" name="Group 175"/>
          <p:cNvGrpSpPr/>
          <p:nvPr/>
        </p:nvGrpSpPr>
        <p:grpSpPr>
          <a:xfrm>
            <a:off x="2802820" y="3815935"/>
            <a:ext cx="255029" cy="258795"/>
            <a:chOff x="6571610" y="3504656"/>
            <a:chExt cx="340038" cy="345060"/>
          </a:xfrm>
        </p:grpSpPr>
        <p:pic>
          <p:nvPicPr>
            <p:cNvPr id="177" name="Picture 3" descr="C:\Users\kknight\Desktop\cog ico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578336" y="3504656"/>
              <a:ext cx="231650" cy="226773"/>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3" descr="C:\Users\kknight\Desktop\cog 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571610" y="3733733"/>
              <a:ext cx="118477" cy="115983"/>
            </a:xfrm>
            <a:prstGeom prst="rect">
              <a:avLst/>
            </a:prstGeom>
            <a:noFill/>
            <a:extLst>
              <a:ext uri="{909E8E84-426E-40DD-AFC4-6F175D3DCCD1}">
                <a14:hiddenFill xmlns:a14="http://schemas.microsoft.com/office/drawing/2010/main">
                  <a:solidFill>
                    <a:srgbClr val="FFFFFF"/>
                  </a:solidFill>
                </a14:hiddenFill>
              </a:ext>
            </a:extLst>
          </p:spPr>
        </p:pic>
        <p:pic>
          <p:nvPicPr>
            <p:cNvPr id="179" name="Picture 3" descr="C:\Users\kknight\Desktop\cog 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767128">
              <a:off x="6696277" y="3713637"/>
              <a:ext cx="118477" cy="115983"/>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3" descr="C:\Users\kknight\Desktop\cog 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793171" y="3640245"/>
              <a:ext cx="118477" cy="115983"/>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08255432"/>
      </p:ext>
    </p:extLst>
  </p:cSld>
  <p:clrMapOvr>
    <a:masterClrMapping/>
  </p:clrMapOvr>
  <p:transition>
    <p:fade/>
  </p:transition>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dirty="0"/>
              <a:t>Leaves and bubble combined </a:t>
            </a: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5" name="Rounded Rectangle 5"/>
          <p:cNvSpPr/>
          <p:nvPr/>
        </p:nvSpPr>
        <p:spPr>
          <a:xfrm>
            <a:off x="3178882" y="1698361"/>
            <a:ext cx="1766975" cy="216110"/>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56" name="Rounded Rectangle 5"/>
          <p:cNvSpPr/>
          <p:nvPr/>
        </p:nvSpPr>
        <p:spPr>
          <a:xfrm>
            <a:off x="5007856" y="2830883"/>
            <a:ext cx="1766975" cy="216110"/>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57" name="Rounded Rectangle 5"/>
          <p:cNvSpPr/>
          <p:nvPr/>
        </p:nvSpPr>
        <p:spPr>
          <a:xfrm flipV="1">
            <a:off x="5007856" y="1753122"/>
            <a:ext cx="1384780" cy="216110"/>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58" name="Chord 9"/>
          <p:cNvSpPr/>
          <p:nvPr/>
        </p:nvSpPr>
        <p:spPr>
          <a:xfrm rot="19424728">
            <a:off x="2857756" y="3197878"/>
            <a:ext cx="2622863" cy="216110"/>
          </a:xfrm>
          <a:custGeom>
            <a:avLst/>
            <a:gdLst>
              <a:gd name="connsiteX0" fmla="*/ 3497097 w 4358793"/>
              <a:gd name="connsiteY0" fmla="*/ 3843330 h 4278648"/>
              <a:gd name="connsiteX1" fmla="*/ 1129966 w 4358793"/>
              <a:gd name="connsiteY1" fmla="*/ 4014299 h 4278648"/>
              <a:gd name="connsiteX2" fmla="*/ 13167 w 4358793"/>
              <a:gd name="connsiteY2" fmla="*/ 1904515 h 4278648"/>
              <a:gd name="connsiteX3" fmla="*/ 1557858 w 4358793"/>
              <a:gd name="connsiteY3" fmla="*/ 88843 h 4278648"/>
              <a:gd name="connsiteX4" fmla="*/ 3497097 w 4358793"/>
              <a:gd name="connsiteY4" fmla="*/ 3843330 h 4278648"/>
              <a:gd name="connsiteX0" fmla="*/ 3497150 w 3497150"/>
              <a:gd name="connsiteY0" fmla="*/ 3754487 h 4189814"/>
              <a:gd name="connsiteX1" fmla="*/ 1130019 w 3497150"/>
              <a:gd name="connsiteY1" fmla="*/ 3925456 h 4189814"/>
              <a:gd name="connsiteX2" fmla="*/ 13220 w 3497150"/>
              <a:gd name="connsiteY2" fmla="*/ 1815672 h 4189814"/>
              <a:gd name="connsiteX3" fmla="*/ 1557911 w 3497150"/>
              <a:gd name="connsiteY3" fmla="*/ 0 h 4189814"/>
              <a:gd name="connsiteX4" fmla="*/ 2544791 w 3497150"/>
              <a:gd name="connsiteY4" fmla="*/ 1906645 h 4189814"/>
              <a:gd name="connsiteX5" fmla="*/ 3497150 w 3497150"/>
              <a:gd name="connsiteY5" fmla="*/ 3754487 h 4189814"/>
              <a:gd name="connsiteX0" fmla="*/ 3497150 w 3497150"/>
              <a:gd name="connsiteY0" fmla="*/ 3754487 h 4189814"/>
              <a:gd name="connsiteX1" fmla="*/ 1130019 w 3497150"/>
              <a:gd name="connsiteY1" fmla="*/ 3925456 h 4189814"/>
              <a:gd name="connsiteX2" fmla="*/ 13220 w 3497150"/>
              <a:gd name="connsiteY2" fmla="*/ 1815672 h 4189814"/>
              <a:gd name="connsiteX3" fmla="*/ 1557911 w 3497150"/>
              <a:gd name="connsiteY3" fmla="*/ 0 h 4189814"/>
              <a:gd name="connsiteX4" fmla="*/ 3292411 w 3497150"/>
              <a:gd name="connsiteY4" fmla="*/ 1746207 h 4189814"/>
              <a:gd name="connsiteX5" fmla="*/ 3497150 w 3497150"/>
              <a:gd name="connsiteY5" fmla="*/ 3754487 h 4189814"/>
              <a:gd name="connsiteX0" fmla="*/ 3497150 w 3497150"/>
              <a:gd name="connsiteY0" fmla="*/ 3754487 h 4189814"/>
              <a:gd name="connsiteX1" fmla="*/ 1130019 w 3497150"/>
              <a:gd name="connsiteY1" fmla="*/ 3925456 h 4189814"/>
              <a:gd name="connsiteX2" fmla="*/ 13220 w 3497150"/>
              <a:gd name="connsiteY2" fmla="*/ 1815672 h 4189814"/>
              <a:gd name="connsiteX3" fmla="*/ 1557911 w 3497150"/>
              <a:gd name="connsiteY3" fmla="*/ 0 h 4189814"/>
              <a:gd name="connsiteX4" fmla="*/ 3292411 w 3497150"/>
              <a:gd name="connsiteY4" fmla="*/ 1746207 h 4189814"/>
              <a:gd name="connsiteX5" fmla="*/ 3497150 w 3497150"/>
              <a:gd name="connsiteY5" fmla="*/ 3754487 h 4189814"/>
              <a:gd name="connsiteX0" fmla="*/ 3497150 w 3497150"/>
              <a:gd name="connsiteY0" fmla="*/ 3754487 h 4189814"/>
              <a:gd name="connsiteX1" fmla="*/ 1130019 w 3497150"/>
              <a:gd name="connsiteY1" fmla="*/ 3925456 h 4189814"/>
              <a:gd name="connsiteX2" fmla="*/ 13220 w 3497150"/>
              <a:gd name="connsiteY2" fmla="*/ 1815672 h 4189814"/>
              <a:gd name="connsiteX3" fmla="*/ 1557911 w 3497150"/>
              <a:gd name="connsiteY3" fmla="*/ 0 h 4189814"/>
              <a:gd name="connsiteX4" fmla="*/ 3292411 w 3497150"/>
              <a:gd name="connsiteY4" fmla="*/ 1746207 h 4189814"/>
              <a:gd name="connsiteX5" fmla="*/ 3497150 w 3497150"/>
              <a:gd name="connsiteY5" fmla="*/ 3754487 h 4189814"/>
              <a:gd name="connsiteX0" fmla="*/ 3497150 w 3497150"/>
              <a:gd name="connsiteY0" fmla="*/ 3754487 h 4189814"/>
              <a:gd name="connsiteX1" fmla="*/ 1130019 w 3497150"/>
              <a:gd name="connsiteY1" fmla="*/ 3925456 h 4189814"/>
              <a:gd name="connsiteX2" fmla="*/ 13220 w 3497150"/>
              <a:gd name="connsiteY2" fmla="*/ 1815672 h 4189814"/>
              <a:gd name="connsiteX3" fmla="*/ 1557911 w 3497150"/>
              <a:gd name="connsiteY3" fmla="*/ 0 h 4189814"/>
              <a:gd name="connsiteX4" fmla="*/ 3292411 w 3497150"/>
              <a:gd name="connsiteY4" fmla="*/ 1746207 h 4189814"/>
              <a:gd name="connsiteX5" fmla="*/ 3497150 w 3497150"/>
              <a:gd name="connsiteY5" fmla="*/ 3754487 h 4189814"/>
              <a:gd name="connsiteX0" fmla="*/ 3497150 w 3497150"/>
              <a:gd name="connsiteY0" fmla="*/ 3754487 h 4189814"/>
              <a:gd name="connsiteX1" fmla="*/ 1130019 w 3497150"/>
              <a:gd name="connsiteY1" fmla="*/ 3925456 h 4189814"/>
              <a:gd name="connsiteX2" fmla="*/ 13220 w 3497150"/>
              <a:gd name="connsiteY2" fmla="*/ 1815672 h 4189814"/>
              <a:gd name="connsiteX3" fmla="*/ 1557911 w 3497150"/>
              <a:gd name="connsiteY3" fmla="*/ 0 h 4189814"/>
              <a:gd name="connsiteX4" fmla="*/ 3292411 w 3497150"/>
              <a:gd name="connsiteY4" fmla="*/ 1746207 h 4189814"/>
              <a:gd name="connsiteX5" fmla="*/ 3497150 w 3497150"/>
              <a:gd name="connsiteY5" fmla="*/ 3754487 h 4189814"/>
              <a:gd name="connsiteX0" fmla="*/ 3497150 w 3497150"/>
              <a:gd name="connsiteY0" fmla="*/ 3754487 h 4189814"/>
              <a:gd name="connsiteX1" fmla="*/ 1130019 w 3497150"/>
              <a:gd name="connsiteY1" fmla="*/ 3925456 h 4189814"/>
              <a:gd name="connsiteX2" fmla="*/ 13220 w 3497150"/>
              <a:gd name="connsiteY2" fmla="*/ 1815672 h 4189814"/>
              <a:gd name="connsiteX3" fmla="*/ 1557911 w 3497150"/>
              <a:gd name="connsiteY3" fmla="*/ 0 h 4189814"/>
              <a:gd name="connsiteX4" fmla="*/ 3292411 w 3497150"/>
              <a:gd name="connsiteY4" fmla="*/ 1746207 h 4189814"/>
              <a:gd name="connsiteX5" fmla="*/ 3497150 w 3497150"/>
              <a:gd name="connsiteY5" fmla="*/ 3754487 h 4189814"/>
              <a:gd name="connsiteX0" fmla="*/ 3497150 w 3497150"/>
              <a:gd name="connsiteY0" fmla="*/ 3754487 h 4189814"/>
              <a:gd name="connsiteX1" fmla="*/ 1130019 w 3497150"/>
              <a:gd name="connsiteY1" fmla="*/ 3925456 h 4189814"/>
              <a:gd name="connsiteX2" fmla="*/ 13220 w 3497150"/>
              <a:gd name="connsiteY2" fmla="*/ 1815672 h 4189814"/>
              <a:gd name="connsiteX3" fmla="*/ 1557911 w 3497150"/>
              <a:gd name="connsiteY3" fmla="*/ 0 h 4189814"/>
              <a:gd name="connsiteX4" fmla="*/ 3292411 w 3497150"/>
              <a:gd name="connsiteY4" fmla="*/ 1746207 h 4189814"/>
              <a:gd name="connsiteX5" fmla="*/ 3497150 w 3497150"/>
              <a:gd name="connsiteY5" fmla="*/ 3754487 h 4189814"/>
              <a:gd name="connsiteX0" fmla="*/ 3497150 w 3497150"/>
              <a:gd name="connsiteY0" fmla="*/ 3754487 h 4189814"/>
              <a:gd name="connsiteX1" fmla="*/ 1130019 w 3497150"/>
              <a:gd name="connsiteY1" fmla="*/ 3925456 h 4189814"/>
              <a:gd name="connsiteX2" fmla="*/ 13220 w 3497150"/>
              <a:gd name="connsiteY2" fmla="*/ 1815672 h 4189814"/>
              <a:gd name="connsiteX3" fmla="*/ 1557911 w 3497150"/>
              <a:gd name="connsiteY3" fmla="*/ 0 h 4189814"/>
              <a:gd name="connsiteX4" fmla="*/ 3292411 w 3497150"/>
              <a:gd name="connsiteY4" fmla="*/ 1746207 h 4189814"/>
              <a:gd name="connsiteX5" fmla="*/ 3497150 w 3497150"/>
              <a:gd name="connsiteY5" fmla="*/ 3754487 h 4189814"/>
              <a:gd name="connsiteX0" fmla="*/ 3497150 w 3497150"/>
              <a:gd name="connsiteY0" fmla="*/ 3754487 h 4189814"/>
              <a:gd name="connsiteX1" fmla="*/ 1130019 w 3497150"/>
              <a:gd name="connsiteY1" fmla="*/ 3925456 h 4189814"/>
              <a:gd name="connsiteX2" fmla="*/ 13220 w 3497150"/>
              <a:gd name="connsiteY2" fmla="*/ 1815672 h 4189814"/>
              <a:gd name="connsiteX3" fmla="*/ 1557911 w 3497150"/>
              <a:gd name="connsiteY3" fmla="*/ 0 h 4189814"/>
              <a:gd name="connsiteX4" fmla="*/ 3292411 w 3497150"/>
              <a:gd name="connsiteY4" fmla="*/ 1746207 h 4189814"/>
              <a:gd name="connsiteX5" fmla="*/ 3497150 w 3497150"/>
              <a:gd name="connsiteY5" fmla="*/ 3754487 h 4189814"/>
              <a:gd name="connsiteX0" fmla="*/ 3497150 w 3497150"/>
              <a:gd name="connsiteY0" fmla="*/ 3754487 h 4189814"/>
              <a:gd name="connsiteX1" fmla="*/ 1130019 w 3497150"/>
              <a:gd name="connsiteY1" fmla="*/ 3925456 h 4189814"/>
              <a:gd name="connsiteX2" fmla="*/ 13220 w 3497150"/>
              <a:gd name="connsiteY2" fmla="*/ 1815672 h 4189814"/>
              <a:gd name="connsiteX3" fmla="*/ 1557911 w 3497150"/>
              <a:gd name="connsiteY3" fmla="*/ 0 h 4189814"/>
              <a:gd name="connsiteX4" fmla="*/ 3292411 w 3497150"/>
              <a:gd name="connsiteY4" fmla="*/ 1746207 h 4189814"/>
              <a:gd name="connsiteX5" fmla="*/ 3497150 w 3497150"/>
              <a:gd name="connsiteY5" fmla="*/ 3754487 h 4189814"/>
              <a:gd name="connsiteX0" fmla="*/ 3497150 w 3497150"/>
              <a:gd name="connsiteY0" fmla="*/ 3754487 h 4189814"/>
              <a:gd name="connsiteX1" fmla="*/ 1130019 w 3497150"/>
              <a:gd name="connsiteY1" fmla="*/ 3925456 h 4189814"/>
              <a:gd name="connsiteX2" fmla="*/ 13220 w 3497150"/>
              <a:gd name="connsiteY2" fmla="*/ 1815672 h 4189814"/>
              <a:gd name="connsiteX3" fmla="*/ 1557911 w 3497150"/>
              <a:gd name="connsiteY3" fmla="*/ 0 h 4189814"/>
              <a:gd name="connsiteX4" fmla="*/ 3292411 w 3497150"/>
              <a:gd name="connsiteY4" fmla="*/ 1746207 h 4189814"/>
              <a:gd name="connsiteX5" fmla="*/ 3497150 w 3497150"/>
              <a:gd name="connsiteY5" fmla="*/ 3754487 h 4189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7150" h="4189814">
                <a:moveTo>
                  <a:pt x="3497150" y="3754487"/>
                </a:moveTo>
                <a:cubicBezTo>
                  <a:pt x="2811695" y="4265233"/>
                  <a:pt x="1884247" y="4332219"/>
                  <a:pt x="1130019" y="3925456"/>
                </a:cubicBezTo>
                <a:cubicBezTo>
                  <a:pt x="357258" y="3508698"/>
                  <a:pt x="-83556" y="2675943"/>
                  <a:pt x="13220" y="1815672"/>
                </a:cubicBezTo>
                <a:cubicBezTo>
                  <a:pt x="109406" y="960640"/>
                  <a:pt x="717962" y="245327"/>
                  <a:pt x="1557911" y="0"/>
                </a:cubicBezTo>
                <a:cubicBezTo>
                  <a:pt x="1404506" y="462919"/>
                  <a:pt x="1433744" y="429819"/>
                  <a:pt x="3292411" y="1746207"/>
                </a:cubicBezTo>
                <a:cubicBezTo>
                  <a:pt x="2287696" y="3148561"/>
                  <a:pt x="2241251" y="2836181"/>
                  <a:pt x="3497150" y="3754487"/>
                </a:cubicBezTo>
                <a:close/>
              </a:path>
            </a:pathLst>
          </a:custGeom>
          <a:solidFill>
            <a:srgbClr val="00277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59" name="Freeform 58"/>
          <p:cNvSpPr/>
          <p:nvPr/>
        </p:nvSpPr>
        <p:spPr>
          <a:xfrm rot="19236591">
            <a:off x="3230697" y="1312278"/>
            <a:ext cx="220219" cy="216110"/>
          </a:xfrm>
          <a:custGeom>
            <a:avLst/>
            <a:gdLst>
              <a:gd name="connsiteX0" fmla="*/ 869950 w 1073150"/>
              <a:gd name="connsiteY0" fmla="*/ 523875 h 1187450"/>
              <a:gd name="connsiteX1" fmla="*/ 796925 w 1073150"/>
              <a:gd name="connsiteY1" fmla="*/ 434975 h 1187450"/>
              <a:gd name="connsiteX2" fmla="*/ 749300 w 1073150"/>
              <a:gd name="connsiteY2" fmla="*/ 365125 h 1187450"/>
              <a:gd name="connsiteX3" fmla="*/ 666750 w 1073150"/>
              <a:gd name="connsiteY3" fmla="*/ 257175 h 1187450"/>
              <a:gd name="connsiteX4" fmla="*/ 615950 w 1073150"/>
              <a:gd name="connsiteY4" fmla="*/ 184150 h 1187450"/>
              <a:gd name="connsiteX5" fmla="*/ 504825 w 1073150"/>
              <a:gd name="connsiteY5" fmla="*/ 41275 h 1187450"/>
              <a:gd name="connsiteX6" fmla="*/ 428625 w 1073150"/>
              <a:gd name="connsiteY6" fmla="*/ 0 h 1187450"/>
              <a:gd name="connsiteX7" fmla="*/ 377825 w 1073150"/>
              <a:gd name="connsiteY7" fmla="*/ 3175 h 1187450"/>
              <a:gd name="connsiteX8" fmla="*/ 539750 w 1073150"/>
              <a:gd name="connsiteY8" fmla="*/ 384175 h 1187450"/>
              <a:gd name="connsiteX9" fmla="*/ 482600 w 1073150"/>
              <a:gd name="connsiteY9" fmla="*/ 542925 h 1187450"/>
              <a:gd name="connsiteX10" fmla="*/ 215900 w 1073150"/>
              <a:gd name="connsiteY10" fmla="*/ 552450 h 1187450"/>
              <a:gd name="connsiteX11" fmla="*/ 85725 w 1073150"/>
              <a:gd name="connsiteY11" fmla="*/ 393700 h 1187450"/>
              <a:gd name="connsiteX12" fmla="*/ 0 w 1073150"/>
              <a:gd name="connsiteY12" fmla="*/ 374650 h 1187450"/>
              <a:gd name="connsiteX13" fmla="*/ 53975 w 1073150"/>
              <a:gd name="connsiteY13" fmla="*/ 568325 h 1187450"/>
              <a:gd name="connsiteX14" fmla="*/ 50800 w 1073150"/>
              <a:gd name="connsiteY14" fmla="*/ 619125 h 1187450"/>
              <a:gd name="connsiteX15" fmla="*/ 9525 w 1073150"/>
              <a:gd name="connsiteY15" fmla="*/ 806450 h 1187450"/>
              <a:gd name="connsiteX16" fmla="*/ 88900 w 1073150"/>
              <a:gd name="connsiteY16" fmla="*/ 796925 h 1187450"/>
              <a:gd name="connsiteX17" fmla="*/ 212725 w 1073150"/>
              <a:gd name="connsiteY17" fmla="*/ 615950 h 1187450"/>
              <a:gd name="connsiteX18" fmla="*/ 460375 w 1073150"/>
              <a:gd name="connsiteY18" fmla="*/ 638175 h 1187450"/>
              <a:gd name="connsiteX19" fmla="*/ 536575 w 1073150"/>
              <a:gd name="connsiteY19" fmla="*/ 822325 h 1187450"/>
              <a:gd name="connsiteX20" fmla="*/ 390525 w 1073150"/>
              <a:gd name="connsiteY20" fmla="*/ 1187450 h 1187450"/>
              <a:gd name="connsiteX21" fmla="*/ 536575 w 1073150"/>
              <a:gd name="connsiteY21" fmla="*/ 1111250 h 1187450"/>
              <a:gd name="connsiteX22" fmla="*/ 612775 w 1073150"/>
              <a:gd name="connsiteY22" fmla="*/ 996950 h 1187450"/>
              <a:gd name="connsiteX23" fmla="*/ 663575 w 1073150"/>
              <a:gd name="connsiteY23" fmla="*/ 930275 h 1187450"/>
              <a:gd name="connsiteX24" fmla="*/ 746125 w 1073150"/>
              <a:gd name="connsiteY24" fmla="*/ 815975 h 1187450"/>
              <a:gd name="connsiteX25" fmla="*/ 803275 w 1073150"/>
              <a:gd name="connsiteY25" fmla="*/ 749300 h 1187450"/>
              <a:gd name="connsiteX26" fmla="*/ 869950 w 1073150"/>
              <a:gd name="connsiteY26" fmla="*/ 650875 h 1187450"/>
              <a:gd name="connsiteX27" fmla="*/ 1069975 w 1073150"/>
              <a:gd name="connsiteY27" fmla="*/ 641350 h 1187450"/>
              <a:gd name="connsiteX28" fmla="*/ 1073150 w 1073150"/>
              <a:gd name="connsiteY28" fmla="*/ 542925 h 1187450"/>
              <a:gd name="connsiteX29" fmla="*/ 869950 w 1073150"/>
              <a:gd name="connsiteY29" fmla="*/ 523875 h 1187450"/>
              <a:gd name="connsiteX0" fmla="*/ 869950 w 1174048"/>
              <a:gd name="connsiteY0" fmla="*/ 523875 h 1187450"/>
              <a:gd name="connsiteX1" fmla="*/ 796925 w 1174048"/>
              <a:gd name="connsiteY1" fmla="*/ 434975 h 1187450"/>
              <a:gd name="connsiteX2" fmla="*/ 749300 w 1174048"/>
              <a:gd name="connsiteY2" fmla="*/ 365125 h 1187450"/>
              <a:gd name="connsiteX3" fmla="*/ 666750 w 1174048"/>
              <a:gd name="connsiteY3" fmla="*/ 257175 h 1187450"/>
              <a:gd name="connsiteX4" fmla="*/ 615950 w 1174048"/>
              <a:gd name="connsiteY4" fmla="*/ 184150 h 1187450"/>
              <a:gd name="connsiteX5" fmla="*/ 504825 w 1174048"/>
              <a:gd name="connsiteY5" fmla="*/ 41275 h 1187450"/>
              <a:gd name="connsiteX6" fmla="*/ 428625 w 1174048"/>
              <a:gd name="connsiteY6" fmla="*/ 0 h 1187450"/>
              <a:gd name="connsiteX7" fmla="*/ 377825 w 1174048"/>
              <a:gd name="connsiteY7" fmla="*/ 3175 h 1187450"/>
              <a:gd name="connsiteX8" fmla="*/ 539750 w 1174048"/>
              <a:gd name="connsiteY8" fmla="*/ 384175 h 1187450"/>
              <a:gd name="connsiteX9" fmla="*/ 482600 w 1174048"/>
              <a:gd name="connsiteY9" fmla="*/ 542925 h 1187450"/>
              <a:gd name="connsiteX10" fmla="*/ 215900 w 1174048"/>
              <a:gd name="connsiteY10" fmla="*/ 552450 h 1187450"/>
              <a:gd name="connsiteX11" fmla="*/ 85725 w 1174048"/>
              <a:gd name="connsiteY11" fmla="*/ 393700 h 1187450"/>
              <a:gd name="connsiteX12" fmla="*/ 0 w 1174048"/>
              <a:gd name="connsiteY12" fmla="*/ 374650 h 1187450"/>
              <a:gd name="connsiteX13" fmla="*/ 53975 w 1174048"/>
              <a:gd name="connsiteY13" fmla="*/ 568325 h 1187450"/>
              <a:gd name="connsiteX14" fmla="*/ 50800 w 1174048"/>
              <a:gd name="connsiteY14" fmla="*/ 619125 h 1187450"/>
              <a:gd name="connsiteX15" fmla="*/ 9525 w 1174048"/>
              <a:gd name="connsiteY15" fmla="*/ 806450 h 1187450"/>
              <a:gd name="connsiteX16" fmla="*/ 88900 w 1174048"/>
              <a:gd name="connsiteY16" fmla="*/ 796925 h 1187450"/>
              <a:gd name="connsiteX17" fmla="*/ 212725 w 1174048"/>
              <a:gd name="connsiteY17" fmla="*/ 615950 h 1187450"/>
              <a:gd name="connsiteX18" fmla="*/ 460375 w 1174048"/>
              <a:gd name="connsiteY18" fmla="*/ 638175 h 1187450"/>
              <a:gd name="connsiteX19" fmla="*/ 536575 w 1174048"/>
              <a:gd name="connsiteY19" fmla="*/ 822325 h 1187450"/>
              <a:gd name="connsiteX20" fmla="*/ 390525 w 1174048"/>
              <a:gd name="connsiteY20" fmla="*/ 1187450 h 1187450"/>
              <a:gd name="connsiteX21" fmla="*/ 536575 w 1174048"/>
              <a:gd name="connsiteY21" fmla="*/ 1111250 h 1187450"/>
              <a:gd name="connsiteX22" fmla="*/ 612775 w 1174048"/>
              <a:gd name="connsiteY22" fmla="*/ 996950 h 1187450"/>
              <a:gd name="connsiteX23" fmla="*/ 663575 w 1174048"/>
              <a:gd name="connsiteY23" fmla="*/ 930275 h 1187450"/>
              <a:gd name="connsiteX24" fmla="*/ 746125 w 1174048"/>
              <a:gd name="connsiteY24" fmla="*/ 815975 h 1187450"/>
              <a:gd name="connsiteX25" fmla="*/ 803275 w 1174048"/>
              <a:gd name="connsiteY25" fmla="*/ 749300 h 1187450"/>
              <a:gd name="connsiteX26" fmla="*/ 869950 w 1174048"/>
              <a:gd name="connsiteY26" fmla="*/ 650875 h 1187450"/>
              <a:gd name="connsiteX27" fmla="*/ 1069975 w 1174048"/>
              <a:gd name="connsiteY27" fmla="*/ 641350 h 1187450"/>
              <a:gd name="connsiteX28" fmla="*/ 1073150 w 1174048"/>
              <a:gd name="connsiteY28" fmla="*/ 542925 h 1187450"/>
              <a:gd name="connsiteX29" fmla="*/ 869950 w 1174048"/>
              <a:gd name="connsiteY29" fmla="*/ 523875 h 1187450"/>
              <a:gd name="connsiteX0" fmla="*/ 869950 w 1203659"/>
              <a:gd name="connsiteY0" fmla="*/ 523875 h 1187450"/>
              <a:gd name="connsiteX1" fmla="*/ 796925 w 1203659"/>
              <a:gd name="connsiteY1" fmla="*/ 434975 h 1187450"/>
              <a:gd name="connsiteX2" fmla="*/ 749300 w 1203659"/>
              <a:gd name="connsiteY2" fmla="*/ 365125 h 1187450"/>
              <a:gd name="connsiteX3" fmla="*/ 666750 w 1203659"/>
              <a:gd name="connsiteY3" fmla="*/ 257175 h 1187450"/>
              <a:gd name="connsiteX4" fmla="*/ 615950 w 1203659"/>
              <a:gd name="connsiteY4" fmla="*/ 184150 h 1187450"/>
              <a:gd name="connsiteX5" fmla="*/ 504825 w 1203659"/>
              <a:gd name="connsiteY5" fmla="*/ 41275 h 1187450"/>
              <a:gd name="connsiteX6" fmla="*/ 428625 w 1203659"/>
              <a:gd name="connsiteY6" fmla="*/ 0 h 1187450"/>
              <a:gd name="connsiteX7" fmla="*/ 377825 w 1203659"/>
              <a:gd name="connsiteY7" fmla="*/ 3175 h 1187450"/>
              <a:gd name="connsiteX8" fmla="*/ 539750 w 1203659"/>
              <a:gd name="connsiteY8" fmla="*/ 384175 h 1187450"/>
              <a:gd name="connsiteX9" fmla="*/ 482600 w 1203659"/>
              <a:gd name="connsiteY9" fmla="*/ 542925 h 1187450"/>
              <a:gd name="connsiteX10" fmla="*/ 215900 w 1203659"/>
              <a:gd name="connsiteY10" fmla="*/ 552450 h 1187450"/>
              <a:gd name="connsiteX11" fmla="*/ 85725 w 1203659"/>
              <a:gd name="connsiteY11" fmla="*/ 393700 h 1187450"/>
              <a:gd name="connsiteX12" fmla="*/ 0 w 1203659"/>
              <a:gd name="connsiteY12" fmla="*/ 374650 h 1187450"/>
              <a:gd name="connsiteX13" fmla="*/ 53975 w 1203659"/>
              <a:gd name="connsiteY13" fmla="*/ 568325 h 1187450"/>
              <a:gd name="connsiteX14" fmla="*/ 50800 w 1203659"/>
              <a:gd name="connsiteY14" fmla="*/ 619125 h 1187450"/>
              <a:gd name="connsiteX15" fmla="*/ 9525 w 1203659"/>
              <a:gd name="connsiteY15" fmla="*/ 806450 h 1187450"/>
              <a:gd name="connsiteX16" fmla="*/ 88900 w 1203659"/>
              <a:gd name="connsiteY16" fmla="*/ 796925 h 1187450"/>
              <a:gd name="connsiteX17" fmla="*/ 212725 w 1203659"/>
              <a:gd name="connsiteY17" fmla="*/ 615950 h 1187450"/>
              <a:gd name="connsiteX18" fmla="*/ 460375 w 1203659"/>
              <a:gd name="connsiteY18" fmla="*/ 638175 h 1187450"/>
              <a:gd name="connsiteX19" fmla="*/ 536575 w 1203659"/>
              <a:gd name="connsiteY19" fmla="*/ 822325 h 1187450"/>
              <a:gd name="connsiteX20" fmla="*/ 390525 w 1203659"/>
              <a:gd name="connsiteY20" fmla="*/ 1187450 h 1187450"/>
              <a:gd name="connsiteX21" fmla="*/ 536575 w 1203659"/>
              <a:gd name="connsiteY21" fmla="*/ 1111250 h 1187450"/>
              <a:gd name="connsiteX22" fmla="*/ 612775 w 1203659"/>
              <a:gd name="connsiteY22" fmla="*/ 996950 h 1187450"/>
              <a:gd name="connsiteX23" fmla="*/ 663575 w 1203659"/>
              <a:gd name="connsiteY23" fmla="*/ 930275 h 1187450"/>
              <a:gd name="connsiteX24" fmla="*/ 746125 w 1203659"/>
              <a:gd name="connsiteY24" fmla="*/ 815975 h 1187450"/>
              <a:gd name="connsiteX25" fmla="*/ 803275 w 1203659"/>
              <a:gd name="connsiteY25" fmla="*/ 749300 h 1187450"/>
              <a:gd name="connsiteX26" fmla="*/ 869950 w 1203659"/>
              <a:gd name="connsiteY26" fmla="*/ 650875 h 1187450"/>
              <a:gd name="connsiteX27" fmla="*/ 1069975 w 1203659"/>
              <a:gd name="connsiteY27" fmla="*/ 641350 h 1187450"/>
              <a:gd name="connsiteX28" fmla="*/ 1073150 w 1203659"/>
              <a:gd name="connsiteY28" fmla="*/ 542925 h 1187450"/>
              <a:gd name="connsiteX29" fmla="*/ 869950 w 1203659"/>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5003" h="1187450">
                <a:moveTo>
                  <a:pt x="869950" y="523875"/>
                </a:moveTo>
                <a:lnTo>
                  <a:pt x="796925" y="434975"/>
                </a:lnTo>
                <a:cubicBezTo>
                  <a:pt x="869950" y="383117"/>
                  <a:pt x="784225" y="353483"/>
                  <a:pt x="749300" y="365125"/>
                </a:cubicBezTo>
                <a:lnTo>
                  <a:pt x="666750" y="257175"/>
                </a:lnTo>
                <a:cubicBezTo>
                  <a:pt x="729192" y="201083"/>
                  <a:pt x="693208" y="183092"/>
                  <a:pt x="615950" y="184150"/>
                </a:cubicBezTo>
                <a:lnTo>
                  <a:pt x="504825" y="41275"/>
                </a:lnTo>
                <a:cubicBezTo>
                  <a:pt x="466725" y="5292"/>
                  <a:pt x="454025" y="13758"/>
                  <a:pt x="428625" y="0"/>
                </a:cubicBezTo>
                <a:lnTo>
                  <a:pt x="377825" y="3175"/>
                </a:lnTo>
                <a:lnTo>
                  <a:pt x="539750" y="384175"/>
                </a:lnTo>
                <a:cubicBezTo>
                  <a:pt x="552450" y="443442"/>
                  <a:pt x="622300" y="515408"/>
                  <a:pt x="482600" y="542925"/>
                </a:cubicBezTo>
                <a:lnTo>
                  <a:pt x="215900" y="552450"/>
                </a:lnTo>
                <a:lnTo>
                  <a:pt x="85725" y="393700"/>
                </a:lnTo>
                <a:lnTo>
                  <a:pt x="0" y="374650"/>
                </a:lnTo>
                <a:lnTo>
                  <a:pt x="53975" y="568325"/>
                </a:lnTo>
                <a:cubicBezTo>
                  <a:pt x="14817" y="582083"/>
                  <a:pt x="4233" y="599017"/>
                  <a:pt x="50800" y="619125"/>
                </a:cubicBezTo>
                <a:lnTo>
                  <a:pt x="9525" y="806450"/>
                </a:lnTo>
                <a:lnTo>
                  <a:pt x="88900" y="796925"/>
                </a:lnTo>
                <a:lnTo>
                  <a:pt x="215900" y="635000"/>
                </a:lnTo>
                <a:lnTo>
                  <a:pt x="460375" y="638175"/>
                </a:lnTo>
                <a:cubicBezTo>
                  <a:pt x="565150" y="670983"/>
                  <a:pt x="603250" y="646642"/>
                  <a:pt x="536575" y="822325"/>
                </a:cubicBezTo>
                <a:lnTo>
                  <a:pt x="390525" y="1187450"/>
                </a:lnTo>
                <a:cubicBezTo>
                  <a:pt x="439208" y="1162050"/>
                  <a:pt x="452967" y="1231900"/>
                  <a:pt x="536575" y="1111250"/>
                </a:cubicBezTo>
                <a:lnTo>
                  <a:pt x="612775" y="996950"/>
                </a:lnTo>
                <a:cubicBezTo>
                  <a:pt x="721783" y="1003300"/>
                  <a:pt x="710142" y="955675"/>
                  <a:pt x="663575" y="930275"/>
                </a:cubicBezTo>
                <a:lnTo>
                  <a:pt x="746125" y="815975"/>
                </a:lnTo>
                <a:cubicBezTo>
                  <a:pt x="838200" y="822325"/>
                  <a:pt x="841375" y="800100"/>
                  <a:pt x="803275" y="749300"/>
                </a:cubicBezTo>
                <a:lnTo>
                  <a:pt x="869950" y="650875"/>
                </a:lnTo>
                <a:cubicBezTo>
                  <a:pt x="936625" y="647700"/>
                  <a:pt x="987425" y="663575"/>
                  <a:pt x="1069975" y="641350"/>
                </a:cubicBezTo>
                <a:cubicBezTo>
                  <a:pt x="1305983" y="605367"/>
                  <a:pt x="1183217" y="569383"/>
                  <a:pt x="1073150" y="542925"/>
                </a:cubicBezTo>
                <a:cubicBezTo>
                  <a:pt x="992717" y="527050"/>
                  <a:pt x="909108" y="542925"/>
                  <a:pt x="869950" y="523875"/>
                </a:cubicBezTo>
                <a:close/>
              </a:path>
            </a:pathLst>
          </a:cu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pic>
        <p:nvPicPr>
          <p:cNvPr id="62" name="Picture 6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51864" y="2546959"/>
            <a:ext cx="333833" cy="333833"/>
          </a:xfrm>
          <a:prstGeom prst="rect">
            <a:avLst/>
          </a:prstGeom>
        </p:spPr>
      </p:pic>
      <p:sp>
        <p:nvSpPr>
          <p:cNvPr id="63" name="Rectangle 62"/>
          <p:cNvSpPr/>
          <p:nvPr/>
        </p:nvSpPr>
        <p:spPr>
          <a:xfrm>
            <a:off x="3335332" y="2594730"/>
            <a:ext cx="1517656" cy="1564531"/>
          </a:xfrm>
          <a:prstGeom prst="rect">
            <a:avLst/>
          </a:prstGeom>
        </p:spPr>
        <p:txBody>
          <a:bodyPr wrap="square" lIns="0" tIns="0" rIns="0" bIns="0">
            <a:spAutoFit/>
          </a:bodyPr>
          <a:lstStyle/>
          <a:p>
            <a:pPr defTabSz="685800">
              <a:spcAft>
                <a:spcPts val="900"/>
              </a:spcAft>
              <a:buClrTx/>
            </a:pPr>
            <a:r>
              <a:rPr lang="en-US" sz="750" b="1" kern="1200" dirty="0">
                <a:solidFill>
                  <a:srgbClr val="FFFFFF"/>
                </a:solidFill>
                <a:ea typeface="+mn-ea"/>
                <a:cs typeface="+mn-cs"/>
              </a:rPr>
              <a:t>LOREM IPSUM DOLOR </a:t>
            </a:r>
          </a:p>
          <a:p>
            <a:pPr defTabSz="685800">
              <a:spcAft>
                <a:spcPts val="450"/>
              </a:spcAft>
              <a:buClrTx/>
            </a:pPr>
            <a:r>
              <a:rPr lang="en-US" sz="750" kern="1200" dirty="0">
                <a:solidFill>
                  <a:srgbClr val="FFFFFF"/>
                </a:solidFill>
                <a:ea typeface="+mn-ea"/>
                <a:cs typeface="+mn-cs"/>
              </a:rPr>
              <a:t>This is dummy text it is not here to be read. This is body copy that is  not here to be read it is not here to be read is the body copy it’s just dummy text. This is dummy text it is not here to be read. This is dummy text it is not here to be read. This is body copy that is  not here to be read it is not here to be read is the body copy it’s just dummy text.</a:t>
            </a:r>
          </a:p>
          <a:p>
            <a:pPr defTabSz="685800">
              <a:spcAft>
                <a:spcPts val="450"/>
              </a:spcAft>
              <a:buClrTx/>
            </a:pPr>
            <a:endParaRPr lang="en-US" sz="750" kern="1200" dirty="0">
              <a:solidFill>
                <a:srgbClr val="FFFFFF"/>
              </a:solidFill>
              <a:ea typeface="+mn-ea"/>
              <a:cs typeface="+mn-cs"/>
            </a:endParaRPr>
          </a:p>
        </p:txBody>
      </p:sp>
      <p:cxnSp>
        <p:nvCxnSpPr>
          <p:cNvPr id="64" name="Straight Connector 63"/>
          <p:cNvCxnSpPr/>
          <p:nvPr/>
        </p:nvCxnSpPr>
        <p:spPr>
          <a:xfrm>
            <a:off x="3335332" y="2753201"/>
            <a:ext cx="1474793"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5" name="Rectangle 64"/>
          <p:cNvSpPr/>
          <p:nvPr/>
        </p:nvSpPr>
        <p:spPr>
          <a:xfrm>
            <a:off x="3527822" y="1346955"/>
            <a:ext cx="1325166" cy="807913"/>
          </a:xfrm>
          <a:prstGeom prst="rect">
            <a:avLst/>
          </a:prstGeom>
        </p:spPr>
        <p:txBody>
          <a:bodyPr wrap="square" lIns="0" tIns="0" rIns="0" bIns="0">
            <a:spAutoFit/>
          </a:bodyPr>
          <a:lstStyle/>
          <a:p>
            <a:pPr defTabSz="685800">
              <a:spcAft>
                <a:spcPts val="900"/>
              </a:spcAft>
              <a:buClrTx/>
            </a:pPr>
            <a:r>
              <a:rPr lang="en-US" sz="750" b="1" kern="1200" dirty="0">
                <a:solidFill>
                  <a:srgbClr val="FFFFFF"/>
                </a:solidFill>
                <a:ea typeface="+mn-ea"/>
                <a:cs typeface="+mn-cs"/>
              </a:rPr>
              <a:t>LOREM IPSUM DOLOR </a:t>
            </a:r>
          </a:p>
          <a:p>
            <a:pPr defTabSz="685800">
              <a:spcAft>
                <a:spcPts val="450"/>
              </a:spcAft>
              <a:buClrTx/>
            </a:pPr>
            <a:r>
              <a:rPr lang="en-US" sz="750" kern="1200" dirty="0">
                <a:solidFill>
                  <a:srgbClr val="FFFFFF"/>
                </a:solidFill>
                <a:ea typeface="+mn-ea"/>
                <a:cs typeface="+mn-cs"/>
              </a:rPr>
              <a:t>This is dummy text it is not here to be read. This is dummy text it is not here to be read. This is dummy text it is not here to be read</a:t>
            </a:r>
          </a:p>
        </p:txBody>
      </p:sp>
      <p:cxnSp>
        <p:nvCxnSpPr>
          <p:cNvPr id="66" name="Straight Connector 65"/>
          <p:cNvCxnSpPr/>
          <p:nvPr/>
        </p:nvCxnSpPr>
        <p:spPr>
          <a:xfrm>
            <a:off x="3527822" y="1505426"/>
            <a:ext cx="1201341"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7" name="Rectangle 66"/>
          <p:cNvSpPr/>
          <p:nvPr/>
        </p:nvSpPr>
        <p:spPr>
          <a:xfrm>
            <a:off x="5074130" y="1510140"/>
            <a:ext cx="1067996" cy="692497"/>
          </a:xfrm>
          <a:prstGeom prst="rect">
            <a:avLst/>
          </a:prstGeom>
        </p:spPr>
        <p:txBody>
          <a:bodyPr wrap="square" lIns="0" tIns="0" rIns="0" bIns="0">
            <a:spAutoFit/>
          </a:bodyPr>
          <a:lstStyle/>
          <a:p>
            <a:pPr defTabSz="685800">
              <a:spcAft>
                <a:spcPts val="900"/>
              </a:spcAft>
              <a:buClrTx/>
            </a:pPr>
            <a:r>
              <a:rPr lang="en-US" sz="750" b="1" kern="1200" dirty="0">
                <a:solidFill>
                  <a:srgbClr val="FFFFFF"/>
                </a:solidFill>
                <a:ea typeface="+mn-ea"/>
                <a:cs typeface="+mn-cs"/>
              </a:rPr>
              <a:t>LOREM IPSUM DOLOR </a:t>
            </a:r>
          </a:p>
          <a:p>
            <a:pPr defTabSz="685800">
              <a:spcAft>
                <a:spcPts val="450"/>
              </a:spcAft>
              <a:buClrTx/>
            </a:pPr>
            <a:r>
              <a:rPr lang="en-US" sz="750" kern="1200" dirty="0">
                <a:solidFill>
                  <a:srgbClr val="FFFFFF"/>
                </a:solidFill>
                <a:ea typeface="+mn-ea"/>
                <a:cs typeface="+mn-cs"/>
              </a:rPr>
              <a:t>This is dummy text it is not here to be read. This is dummy text it is not here to be read. </a:t>
            </a:r>
          </a:p>
        </p:txBody>
      </p:sp>
      <p:cxnSp>
        <p:nvCxnSpPr>
          <p:cNvPr id="68" name="Straight Connector 67"/>
          <p:cNvCxnSpPr/>
          <p:nvPr/>
        </p:nvCxnSpPr>
        <p:spPr>
          <a:xfrm>
            <a:off x="5074130" y="1668611"/>
            <a:ext cx="879749"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a:xfrm>
            <a:off x="5121756" y="2516622"/>
            <a:ext cx="1437008" cy="807913"/>
          </a:xfrm>
          <a:prstGeom prst="rect">
            <a:avLst/>
          </a:prstGeom>
        </p:spPr>
        <p:txBody>
          <a:bodyPr wrap="square" lIns="0" tIns="0" rIns="0" bIns="0">
            <a:spAutoFit/>
          </a:bodyPr>
          <a:lstStyle/>
          <a:p>
            <a:pPr defTabSz="685800">
              <a:spcAft>
                <a:spcPts val="900"/>
              </a:spcAft>
              <a:buClrTx/>
            </a:pPr>
            <a:r>
              <a:rPr lang="en-US" sz="750" b="1" kern="1200" dirty="0">
                <a:solidFill>
                  <a:srgbClr val="FFFFFF"/>
                </a:solidFill>
                <a:ea typeface="+mn-ea"/>
                <a:cs typeface="+mn-cs"/>
              </a:rPr>
              <a:t>LOREM IPSUM DOLOR </a:t>
            </a:r>
          </a:p>
          <a:p>
            <a:pPr defTabSz="685800">
              <a:spcAft>
                <a:spcPts val="450"/>
              </a:spcAft>
              <a:buClrTx/>
            </a:pPr>
            <a:r>
              <a:rPr lang="en-US" sz="750" kern="1200" dirty="0">
                <a:solidFill>
                  <a:srgbClr val="FFFFFF"/>
                </a:solidFill>
                <a:ea typeface="+mn-ea"/>
                <a:cs typeface="+mn-cs"/>
              </a:rPr>
              <a:t>This is dummy text it is not here to be read. This is dummy text it is not here to be read. This is dummy text it is not here to be read.</a:t>
            </a:r>
          </a:p>
        </p:txBody>
      </p:sp>
      <p:cxnSp>
        <p:nvCxnSpPr>
          <p:cNvPr id="70" name="Straight Connector 69"/>
          <p:cNvCxnSpPr/>
          <p:nvPr/>
        </p:nvCxnSpPr>
        <p:spPr>
          <a:xfrm>
            <a:off x="5121755" y="2675093"/>
            <a:ext cx="1201341"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71" name="Picture 70" descr="148.emf"/>
          <p:cNvPicPr>
            <a:picLocks noChangeAspect="1"/>
          </p:cNvPicPr>
          <p:nvPr/>
        </p:nvPicPr>
        <p:blipFill>
          <a:blip r:embed="rId7">
            <a:biLevel thresh="50000"/>
          </a:blip>
          <a:stretch>
            <a:fillRect/>
          </a:stretch>
        </p:blipFill>
        <p:spPr>
          <a:xfrm>
            <a:off x="6484817" y="2493104"/>
            <a:ext cx="147891" cy="191500"/>
          </a:xfrm>
          <a:prstGeom prst="rect">
            <a:avLst/>
          </a:prstGeom>
        </p:spPr>
      </p:pic>
      <p:grpSp>
        <p:nvGrpSpPr>
          <p:cNvPr id="88" name="Group 87"/>
          <p:cNvGrpSpPr/>
          <p:nvPr/>
        </p:nvGrpSpPr>
        <p:grpSpPr>
          <a:xfrm>
            <a:off x="6155878" y="1494801"/>
            <a:ext cx="176563" cy="179170"/>
            <a:chOff x="7775298" y="4300210"/>
            <a:chExt cx="340038" cy="345060"/>
          </a:xfrm>
        </p:grpSpPr>
        <p:pic>
          <p:nvPicPr>
            <p:cNvPr id="91" name="Picture 3" descr="C:\Users\kknight\Desktop\cog ico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782024" y="4300210"/>
              <a:ext cx="231650" cy="226773"/>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3" descr="C:\Users\kknight\Desktop\cog 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775298" y="4529287"/>
              <a:ext cx="118477" cy="115983"/>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3" descr="C:\Users\kknight\Desktop\cog 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767128">
              <a:off x="7899965" y="4509191"/>
              <a:ext cx="118477" cy="115983"/>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3" descr="C:\Users\kknight\Desktop\cog 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996859" y="4435799"/>
              <a:ext cx="118477" cy="115983"/>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360756135"/>
      </p:ext>
    </p:extLst>
  </p:cSld>
  <p:clrMapOvr>
    <a:masterClrMapping/>
  </p:clrMapOvr>
  <p:transition>
    <p:fade/>
  </p:transition>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Leaves with text</a:t>
            </a: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 name="Rounded Rectangle 5"/>
          <p:cNvSpPr/>
          <p:nvPr/>
        </p:nvSpPr>
        <p:spPr>
          <a:xfrm>
            <a:off x="3007432" y="1268730"/>
            <a:ext cx="1766975" cy="1075372"/>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41" name="Rounded Rectangle 5"/>
          <p:cNvSpPr/>
          <p:nvPr/>
        </p:nvSpPr>
        <p:spPr>
          <a:xfrm>
            <a:off x="4836406" y="2401252"/>
            <a:ext cx="1766975" cy="1075372"/>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42" name="Rounded Rectangle 5"/>
          <p:cNvSpPr/>
          <p:nvPr/>
        </p:nvSpPr>
        <p:spPr>
          <a:xfrm flipV="1">
            <a:off x="4836406" y="1420332"/>
            <a:ext cx="1315241" cy="923770"/>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43" name="Freeform 42"/>
          <p:cNvSpPr/>
          <p:nvPr/>
        </p:nvSpPr>
        <p:spPr>
          <a:xfrm rot="19236591">
            <a:off x="3059247" y="1312278"/>
            <a:ext cx="220219" cy="216110"/>
          </a:xfrm>
          <a:custGeom>
            <a:avLst/>
            <a:gdLst>
              <a:gd name="connsiteX0" fmla="*/ 869950 w 1073150"/>
              <a:gd name="connsiteY0" fmla="*/ 523875 h 1187450"/>
              <a:gd name="connsiteX1" fmla="*/ 796925 w 1073150"/>
              <a:gd name="connsiteY1" fmla="*/ 434975 h 1187450"/>
              <a:gd name="connsiteX2" fmla="*/ 749300 w 1073150"/>
              <a:gd name="connsiteY2" fmla="*/ 365125 h 1187450"/>
              <a:gd name="connsiteX3" fmla="*/ 666750 w 1073150"/>
              <a:gd name="connsiteY3" fmla="*/ 257175 h 1187450"/>
              <a:gd name="connsiteX4" fmla="*/ 615950 w 1073150"/>
              <a:gd name="connsiteY4" fmla="*/ 184150 h 1187450"/>
              <a:gd name="connsiteX5" fmla="*/ 504825 w 1073150"/>
              <a:gd name="connsiteY5" fmla="*/ 41275 h 1187450"/>
              <a:gd name="connsiteX6" fmla="*/ 428625 w 1073150"/>
              <a:gd name="connsiteY6" fmla="*/ 0 h 1187450"/>
              <a:gd name="connsiteX7" fmla="*/ 377825 w 1073150"/>
              <a:gd name="connsiteY7" fmla="*/ 3175 h 1187450"/>
              <a:gd name="connsiteX8" fmla="*/ 539750 w 1073150"/>
              <a:gd name="connsiteY8" fmla="*/ 384175 h 1187450"/>
              <a:gd name="connsiteX9" fmla="*/ 482600 w 1073150"/>
              <a:gd name="connsiteY9" fmla="*/ 542925 h 1187450"/>
              <a:gd name="connsiteX10" fmla="*/ 215900 w 1073150"/>
              <a:gd name="connsiteY10" fmla="*/ 552450 h 1187450"/>
              <a:gd name="connsiteX11" fmla="*/ 85725 w 1073150"/>
              <a:gd name="connsiteY11" fmla="*/ 393700 h 1187450"/>
              <a:gd name="connsiteX12" fmla="*/ 0 w 1073150"/>
              <a:gd name="connsiteY12" fmla="*/ 374650 h 1187450"/>
              <a:gd name="connsiteX13" fmla="*/ 53975 w 1073150"/>
              <a:gd name="connsiteY13" fmla="*/ 568325 h 1187450"/>
              <a:gd name="connsiteX14" fmla="*/ 50800 w 1073150"/>
              <a:gd name="connsiteY14" fmla="*/ 619125 h 1187450"/>
              <a:gd name="connsiteX15" fmla="*/ 9525 w 1073150"/>
              <a:gd name="connsiteY15" fmla="*/ 806450 h 1187450"/>
              <a:gd name="connsiteX16" fmla="*/ 88900 w 1073150"/>
              <a:gd name="connsiteY16" fmla="*/ 796925 h 1187450"/>
              <a:gd name="connsiteX17" fmla="*/ 212725 w 1073150"/>
              <a:gd name="connsiteY17" fmla="*/ 615950 h 1187450"/>
              <a:gd name="connsiteX18" fmla="*/ 460375 w 1073150"/>
              <a:gd name="connsiteY18" fmla="*/ 638175 h 1187450"/>
              <a:gd name="connsiteX19" fmla="*/ 536575 w 1073150"/>
              <a:gd name="connsiteY19" fmla="*/ 822325 h 1187450"/>
              <a:gd name="connsiteX20" fmla="*/ 390525 w 1073150"/>
              <a:gd name="connsiteY20" fmla="*/ 1187450 h 1187450"/>
              <a:gd name="connsiteX21" fmla="*/ 536575 w 1073150"/>
              <a:gd name="connsiteY21" fmla="*/ 1111250 h 1187450"/>
              <a:gd name="connsiteX22" fmla="*/ 612775 w 1073150"/>
              <a:gd name="connsiteY22" fmla="*/ 996950 h 1187450"/>
              <a:gd name="connsiteX23" fmla="*/ 663575 w 1073150"/>
              <a:gd name="connsiteY23" fmla="*/ 930275 h 1187450"/>
              <a:gd name="connsiteX24" fmla="*/ 746125 w 1073150"/>
              <a:gd name="connsiteY24" fmla="*/ 815975 h 1187450"/>
              <a:gd name="connsiteX25" fmla="*/ 803275 w 1073150"/>
              <a:gd name="connsiteY25" fmla="*/ 749300 h 1187450"/>
              <a:gd name="connsiteX26" fmla="*/ 869950 w 1073150"/>
              <a:gd name="connsiteY26" fmla="*/ 650875 h 1187450"/>
              <a:gd name="connsiteX27" fmla="*/ 1069975 w 1073150"/>
              <a:gd name="connsiteY27" fmla="*/ 641350 h 1187450"/>
              <a:gd name="connsiteX28" fmla="*/ 1073150 w 1073150"/>
              <a:gd name="connsiteY28" fmla="*/ 542925 h 1187450"/>
              <a:gd name="connsiteX29" fmla="*/ 869950 w 1073150"/>
              <a:gd name="connsiteY29" fmla="*/ 523875 h 1187450"/>
              <a:gd name="connsiteX0" fmla="*/ 869950 w 1174048"/>
              <a:gd name="connsiteY0" fmla="*/ 523875 h 1187450"/>
              <a:gd name="connsiteX1" fmla="*/ 796925 w 1174048"/>
              <a:gd name="connsiteY1" fmla="*/ 434975 h 1187450"/>
              <a:gd name="connsiteX2" fmla="*/ 749300 w 1174048"/>
              <a:gd name="connsiteY2" fmla="*/ 365125 h 1187450"/>
              <a:gd name="connsiteX3" fmla="*/ 666750 w 1174048"/>
              <a:gd name="connsiteY3" fmla="*/ 257175 h 1187450"/>
              <a:gd name="connsiteX4" fmla="*/ 615950 w 1174048"/>
              <a:gd name="connsiteY4" fmla="*/ 184150 h 1187450"/>
              <a:gd name="connsiteX5" fmla="*/ 504825 w 1174048"/>
              <a:gd name="connsiteY5" fmla="*/ 41275 h 1187450"/>
              <a:gd name="connsiteX6" fmla="*/ 428625 w 1174048"/>
              <a:gd name="connsiteY6" fmla="*/ 0 h 1187450"/>
              <a:gd name="connsiteX7" fmla="*/ 377825 w 1174048"/>
              <a:gd name="connsiteY7" fmla="*/ 3175 h 1187450"/>
              <a:gd name="connsiteX8" fmla="*/ 539750 w 1174048"/>
              <a:gd name="connsiteY8" fmla="*/ 384175 h 1187450"/>
              <a:gd name="connsiteX9" fmla="*/ 482600 w 1174048"/>
              <a:gd name="connsiteY9" fmla="*/ 542925 h 1187450"/>
              <a:gd name="connsiteX10" fmla="*/ 215900 w 1174048"/>
              <a:gd name="connsiteY10" fmla="*/ 552450 h 1187450"/>
              <a:gd name="connsiteX11" fmla="*/ 85725 w 1174048"/>
              <a:gd name="connsiteY11" fmla="*/ 393700 h 1187450"/>
              <a:gd name="connsiteX12" fmla="*/ 0 w 1174048"/>
              <a:gd name="connsiteY12" fmla="*/ 374650 h 1187450"/>
              <a:gd name="connsiteX13" fmla="*/ 53975 w 1174048"/>
              <a:gd name="connsiteY13" fmla="*/ 568325 h 1187450"/>
              <a:gd name="connsiteX14" fmla="*/ 50800 w 1174048"/>
              <a:gd name="connsiteY14" fmla="*/ 619125 h 1187450"/>
              <a:gd name="connsiteX15" fmla="*/ 9525 w 1174048"/>
              <a:gd name="connsiteY15" fmla="*/ 806450 h 1187450"/>
              <a:gd name="connsiteX16" fmla="*/ 88900 w 1174048"/>
              <a:gd name="connsiteY16" fmla="*/ 796925 h 1187450"/>
              <a:gd name="connsiteX17" fmla="*/ 212725 w 1174048"/>
              <a:gd name="connsiteY17" fmla="*/ 615950 h 1187450"/>
              <a:gd name="connsiteX18" fmla="*/ 460375 w 1174048"/>
              <a:gd name="connsiteY18" fmla="*/ 638175 h 1187450"/>
              <a:gd name="connsiteX19" fmla="*/ 536575 w 1174048"/>
              <a:gd name="connsiteY19" fmla="*/ 822325 h 1187450"/>
              <a:gd name="connsiteX20" fmla="*/ 390525 w 1174048"/>
              <a:gd name="connsiteY20" fmla="*/ 1187450 h 1187450"/>
              <a:gd name="connsiteX21" fmla="*/ 536575 w 1174048"/>
              <a:gd name="connsiteY21" fmla="*/ 1111250 h 1187450"/>
              <a:gd name="connsiteX22" fmla="*/ 612775 w 1174048"/>
              <a:gd name="connsiteY22" fmla="*/ 996950 h 1187450"/>
              <a:gd name="connsiteX23" fmla="*/ 663575 w 1174048"/>
              <a:gd name="connsiteY23" fmla="*/ 930275 h 1187450"/>
              <a:gd name="connsiteX24" fmla="*/ 746125 w 1174048"/>
              <a:gd name="connsiteY24" fmla="*/ 815975 h 1187450"/>
              <a:gd name="connsiteX25" fmla="*/ 803275 w 1174048"/>
              <a:gd name="connsiteY25" fmla="*/ 749300 h 1187450"/>
              <a:gd name="connsiteX26" fmla="*/ 869950 w 1174048"/>
              <a:gd name="connsiteY26" fmla="*/ 650875 h 1187450"/>
              <a:gd name="connsiteX27" fmla="*/ 1069975 w 1174048"/>
              <a:gd name="connsiteY27" fmla="*/ 641350 h 1187450"/>
              <a:gd name="connsiteX28" fmla="*/ 1073150 w 1174048"/>
              <a:gd name="connsiteY28" fmla="*/ 542925 h 1187450"/>
              <a:gd name="connsiteX29" fmla="*/ 869950 w 1174048"/>
              <a:gd name="connsiteY29" fmla="*/ 523875 h 1187450"/>
              <a:gd name="connsiteX0" fmla="*/ 869950 w 1203659"/>
              <a:gd name="connsiteY0" fmla="*/ 523875 h 1187450"/>
              <a:gd name="connsiteX1" fmla="*/ 796925 w 1203659"/>
              <a:gd name="connsiteY1" fmla="*/ 434975 h 1187450"/>
              <a:gd name="connsiteX2" fmla="*/ 749300 w 1203659"/>
              <a:gd name="connsiteY2" fmla="*/ 365125 h 1187450"/>
              <a:gd name="connsiteX3" fmla="*/ 666750 w 1203659"/>
              <a:gd name="connsiteY3" fmla="*/ 257175 h 1187450"/>
              <a:gd name="connsiteX4" fmla="*/ 615950 w 1203659"/>
              <a:gd name="connsiteY4" fmla="*/ 184150 h 1187450"/>
              <a:gd name="connsiteX5" fmla="*/ 504825 w 1203659"/>
              <a:gd name="connsiteY5" fmla="*/ 41275 h 1187450"/>
              <a:gd name="connsiteX6" fmla="*/ 428625 w 1203659"/>
              <a:gd name="connsiteY6" fmla="*/ 0 h 1187450"/>
              <a:gd name="connsiteX7" fmla="*/ 377825 w 1203659"/>
              <a:gd name="connsiteY7" fmla="*/ 3175 h 1187450"/>
              <a:gd name="connsiteX8" fmla="*/ 539750 w 1203659"/>
              <a:gd name="connsiteY8" fmla="*/ 384175 h 1187450"/>
              <a:gd name="connsiteX9" fmla="*/ 482600 w 1203659"/>
              <a:gd name="connsiteY9" fmla="*/ 542925 h 1187450"/>
              <a:gd name="connsiteX10" fmla="*/ 215900 w 1203659"/>
              <a:gd name="connsiteY10" fmla="*/ 552450 h 1187450"/>
              <a:gd name="connsiteX11" fmla="*/ 85725 w 1203659"/>
              <a:gd name="connsiteY11" fmla="*/ 393700 h 1187450"/>
              <a:gd name="connsiteX12" fmla="*/ 0 w 1203659"/>
              <a:gd name="connsiteY12" fmla="*/ 374650 h 1187450"/>
              <a:gd name="connsiteX13" fmla="*/ 53975 w 1203659"/>
              <a:gd name="connsiteY13" fmla="*/ 568325 h 1187450"/>
              <a:gd name="connsiteX14" fmla="*/ 50800 w 1203659"/>
              <a:gd name="connsiteY14" fmla="*/ 619125 h 1187450"/>
              <a:gd name="connsiteX15" fmla="*/ 9525 w 1203659"/>
              <a:gd name="connsiteY15" fmla="*/ 806450 h 1187450"/>
              <a:gd name="connsiteX16" fmla="*/ 88900 w 1203659"/>
              <a:gd name="connsiteY16" fmla="*/ 796925 h 1187450"/>
              <a:gd name="connsiteX17" fmla="*/ 212725 w 1203659"/>
              <a:gd name="connsiteY17" fmla="*/ 615950 h 1187450"/>
              <a:gd name="connsiteX18" fmla="*/ 460375 w 1203659"/>
              <a:gd name="connsiteY18" fmla="*/ 638175 h 1187450"/>
              <a:gd name="connsiteX19" fmla="*/ 536575 w 1203659"/>
              <a:gd name="connsiteY19" fmla="*/ 822325 h 1187450"/>
              <a:gd name="connsiteX20" fmla="*/ 390525 w 1203659"/>
              <a:gd name="connsiteY20" fmla="*/ 1187450 h 1187450"/>
              <a:gd name="connsiteX21" fmla="*/ 536575 w 1203659"/>
              <a:gd name="connsiteY21" fmla="*/ 1111250 h 1187450"/>
              <a:gd name="connsiteX22" fmla="*/ 612775 w 1203659"/>
              <a:gd name="connsiteY22" fmla="*/ 996950 h 1187450"/>
              <a:gd name="connsiteX23" fmla="*/ 663575 w 1203659"/>
              <a:gd name="connsiteY23" fmla="*/ 930275 h 1187450"/>
              <a:gd name="connsiteX24" fmla="*/ 746125 w 1203659"/>
              <a:gd name="connsiteY24" fmla="*/ 815975 h 1187450"/>
              <a:gd name="connsiteX25" fmla="*/ 803275 w 1203659"/>
              <a:gd name="connsiteY25" fmla="*/ 749300 h 1187450"/>
              <a:gd name="connsiteX26" fmla="*/ 869950 w 1203659"/>
              <a:gd name="connsiteY26" fmla="*/ 650875 h 1187450"/>
              <a:gd name="connsiteX27" fmla="*/ 1069975 w 1203659"/>
              <a:gd name="connsiteY27" fmla="*/ 641350 h 1187450"/>
              <a:gd name="connsiteX28" fmla="*/ 1073150 w 1203659"/>
              <a:gd name="connsiteY28" fmla="*/ 542925 h 1187450"/>
              <a:gd name="connsiteX29" fmla="*/ 869950 w 1203659"/>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5003" h="1187450">
                <a:moveTo>
                  <a:pt x="869950" y="523875"/>
                </a:moveTo>
                <a:lnTo>
                  <a:pt x="796925" y="434975"/>
                </a:lnTo>
                <a:cubicBezTo>
                  <a:pt x="869950" y="383117"/>
                  <a:pt x="784225" y="353483"/>
                  <a:pt x="749300" y="365125"/>
                </a:cubicBezTo>
                <a:lnTo>
                  <a:pt x="666750" y="257175"/>
                </a:lnTo>
                <a:cubicBezTo>
                  <a:pt x="729192" y="201083"/>
                  <a:pt x="693208" y="183092"/>
                  <a:pt x="615950" y="184150"/>
                </a:cubicBezTo>
                <a:lnTo>
                  <a:pt x="504825" y="41275"/>
                </a:lnTo>
                <a:cubicBezTo>
                  <a:pt x="466725" y="5292"/>
                  <a:pt x="454025" y="13758"/>
                  <a:pt x="428625" y="0"/>
                </a:cubicBezTo>
                <a:lnTo>
                  <a:pt x="377825" y="3175"/>
                </a:lnTo>
                <a:lnTo>
                  <a:pt x="539750" y="384175"/>
                </a:lnTo>
                <a:cubicBezTo>
                  <a:pt x="552450" y="443442"/>
                  <a:pt x="622300" y="515408"/>
                  <a:pt x="482600" y="542925"/>
                </a:cubicBezTo>
                <a:lnTo>
                  <a:pt x="215900" y="552450"/>
                </a:lnTo>
                <a:lnTo>
                  <a:pt x="85725" y="393700"/>
                </a:lnTo>
                <a:lnTo>
                  <a:pt x="0" y="374650"/>
                </a:lnTo>
                <a:lnTo>
                  <a:pt x="53975" y="568325"/>
                </a:lnTo>
                <a:cubicBezTo>
                  <a:pt x="14817" y="582083"/>
                  <a:pt x="4233" y="599017"/>
                  <a:pt x="50800" y="619125"/>
                </a:cubicBezTo>
                <a:lnTo>
                  <a:pt x="9525" y="806450"/>
                </a:lnTo>
                <a:lnTo>
                  <a:pt x="88900" y="796925"/>
                </a:lnTo>
                <a:lnTo>
                  <a:pt x="215900" y="635000"/>
                </a:lnTo>
                <a:lnTo>
                  <a:pt x="460375" y="638175"/>
                </a:lnTo>
                <a:cubicBezTo>
                  <a:pt x="565150" y="670983"/>
                  <a:pt x="603250" y="646642"/>
                  <a:pt x="536575" y="822325"/>
                </a:cubicBezTo>
                <a:lnTo>
                  <a:pt x="390525" y="1187450"/>
                </a:lnTo>
                <a:cubicBezTo>
                  <a:pt x="439208" y="1162050"/>
                  <a:pt x="452967" y="1231900"/>
                  <a:pt x="536575" y="1111250"/>
                </a:cubicBezTo>
                <a:lnTo>
                  <a:pt x="612775" y="996950"/>
                </a:lnTo>
                <a:cubicBezTo>
                  <a:pt x="721783" y="1003300"/>
                  <a:pt x="710142" y="955675"/>
                  <a:pt x="663575" y="930275"/>
                </a:cubicBezTo>
                <a:lnTo>
                  <a:pt x="746125" y="815975"/>
                </a:lnTo>
                <a:cubicBezTo>
                  <a:pt x="838200" y="822325"/>
                  <a:pt x="841375" y="800100"/>
                  <a:pt x="803275" y="749300"/>
                </a:cubicBezTo>
                <a:lnTo>
                  <a:pt x="869950" y="650875"/>
                </a:lnTo>
                <a:cubicBezTo>
                  <a:pt x="936625" y="647700"/>
                  <a:pt x="987425" y="663575"/>
                  <a:pt x="1069975" y="641350"/>
                </a:cubicBezTo>
                <a:cubicBezTo>
                  <a:pt x="1305983" y="605367"/>
                  <a:pt x="1183217" y="569383"/>
                  <a:pt x="1073150" y="542925"/>
                </a:cubicBezTo>
                <a:cubicBezTo>
                  <a:pt x="992717" y="527050"/>
                  <a:pt x="909108" y="542925"/>
                  <a:pt x="869950" y="523875"/>
                </a:cubicBezTo>
                <a:close/>
              </a:path>
            </a:pathLst>
          </a:cu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pic>
        <p:nvPicPr>
          <p:cNvPr id="44" name="Picture 4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59773" y="2463832"/>
            <a:ext cx="250044" cy="250044"/>
          </a:xfrm>
          <a:prstGeom prst="rect">
            <a:avLst/>
          </a:prstGeom>
        </p:spPr>
      </p:pic>
      <p:sp>
        <p:nvSpPr>
          <p:cNvPr id="46" name="Rectangle 45"/>
          <p:cNvSpPr/>
          <p:nvPr/>
        </p:nvSpPr>
        <p:spPr>
          <a:xfrm>
            <a:off x="3356371" y="1346955"/>
            <a:ext cx="1310879" cy="923330"/>
          </a:xfrm>
          <a:prstGeom prst="rect">
            <a:avLst/>
          </a:prstGeom>
        </p:spPr>
        <p:txBody>
          <a:bodyPr wrap="square" lIns="0" tIns="0" rIns="0" bIns="0">
            <a:spAutoFit/>
          </a:bodyPr>
          <a:lstStyle/>
          <a:p>
            <a:pPr defTabSz="685800">
              <a:spcAft>
                <a:spcPts val="900"/>
              </a:spcAft>
              <a:buClrTx/>
            </a:pPr>
            <a:r>
              <a:rPr lang="en-US" sz="750" b="1" kern="1200" dirty="0">
                <a:solidFill>
                  <a:srgbClr val="FFFFFF"/>
                </a:solidFill>
                <a:ea typeface="+mn-ea"/>
                <a:cs typeface="+mn-cs"/>
              </a:rPr>
              <a:t>LOREM IPSUM DOLOR </a:t>
            </a:r>
          </a:p>
          <a:p>
            <a:pPr defTabSz="685800">
              <a:spcAft>
                <a:spcPts val="450"/>
              </a:spcAft>
              <a:buClrTx/>
            </a:pPr>
            <a:r>
              <a:rPr lang="en-US" sz="750" kern="1200" dirty="0">
                <a:solidFill>
                  <a:srgbClr val="FFFFFF"/>
                </a:solidFill>
                <a:ea typeface="+mn-ea"/>
                <a:cs typeface="+mn-cs"/>
              </a:rPr>
              <a:t>This is dummy text it is not here to be read. This is dummy text it is not here to be read. This is dummy text it is not here to be read. This is dummy text it is not here to be read. </a:t>
            </a:r>
          </a:p>
        </p:txBody>
      </p:sp>
      <p:cxnSp>
        <p:nvCxnSpPr>
          <p:cNvPr id="47" name="Straight Connector 46"/>
          <p:cNvCxnSpPr/>
          <p:nvPr/>
        </p:nvCxnSpPr>
        <p:spPr>
          <a:xfrm>
            <a:off x="3356372" y="1505426"/>
            <a:ext cx="1201341"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4919010" y="1591785"/>
            <a:ext cx="1065142" cy="692497"/>
          </a:xfrm>
          <a:prstGeom prst="rect">
            <a:avLst/>
          </a:prstGeom>
        </p:spPr>
        <p:txBody>
          <a:bodyPr wrap="square" lIns="0" tIns="0" rIns="0" bIns="0">
            <a:spAutoFit/>
          </a:bodyPr>
          <a:lstStyle/>
          <a:p>
            <a:pPr defTabSz="685800">
              <a:spcAft>
                <a:spcPts val="900"/>
              </a:spcAft>
              <a:buClrTx/>
            </a:pPr>
            <a:r>
              <a:rPr lang="en-US" sz="750" b="1" kern="1200" dirty="0">
                <a:solidFill>
                  <a:srgbClr val="FFFFFF"/>
                </a:solidFill>
                <a:ea typeface="+mn-ea"/>
                <a:cs typeface="+mn-cs"/>
              </a:rPr>
              <a:t>LOREM IPSUM </a:t>
            </a:r>
          </a:p>
          <a:p>
            <a:pPr defTabSz="685800">
              <a:spcAft>
                <a:spcPts val="450"/>
              </a:spcAft>
              <a:buClrTx/>
            </a:pPr>
            <a:r>
              <a:rPr lang="en-US" sz="750" kern="1200" dirty="0">
                <a:solidFill>
                  <a:srgbClr val="FFFFFF"/>
                </a:solidFill>
                <a:ea typeface="+mn-ea"/>
                <a:cs typeface="+mn-cs"/>
              </a:rPr>
              <a:t>This is dummy text it is not here to be read. This is dummy text it is not here to be read. </a:t>
            </a:r>
          </a:p>
        </p:txBody>
      </p:sp>
      <p:cxnSp>
        <p:nvCxnSpPr>
          <p:cNvPr id="49" name="Straight Connector 48"/>
          <p:cNvCxnSpPr/>
          <p:nvPr/>
        </p:nvCxnSpPr>
        <p:spPr>
          <a:xfrm>
            <a:off x="4902680" y="1758420"/>
            <a:ext cx="879749"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a:xfrm>
            <a:off x="4950306" y="2516622"/>
            <a:ext cx="1403822" cy="807913"/>
          </a:xfrm>
          <a:prstGeom prst="rect">
            <a:avLst/>
          </a:prstGeom>
        </p:spPr>
        <p:txBody>
          <a:bodyPr wrap="square" lIns="0" tIns="0" rIns="0" bIns="0">
            <a:spAutoFit/>
          </a:bodyPr>
          <a:lstStyle/>
          <a:p>
            <a:pPr defTabSz="685800">
              <a:spcAft>
                <a:spcPts val="900"/>
              </a:spcAft>
              <a:buClrTx/>
            </a:pPr>
            <a:r>
              <a:rPr lang="en-US" sz="750" b="1" kern="1200" dirty="0">
                <a:solidFill>
                  <a:srgbClr val="FFFFFF"/>
                </a:solidFill>
                <a:ea typeface="+mn-ea"/>
                <a:cs typeface="+mn-cs"/>
              </a:rPr>
              <a:t>LOREM IPSUM DOLOR </a:t>
            </a:r>
          </a:p>
          <a:p>
            <a:pPr defTabSz="685800">
              <a:spcAft>
                <a:spcPts val="450"/>
              </a:spcAft>
              <a:buClrTx/>
            </a:pPr>
            <a:r>
              <a:rPr lang="en-US" sz="750" kern="1200" dirty="0">
                <a:solidFill>
                  <a:srgbClr val="FFFFFF"/>
                </a:solidFill>
                <a:ea typeface="+mn-ea"/>
                <a:cs typeface="+mn-cs"/>
              </a:rPr>
              <a:t>This is dummy text it is not here to be read. This is dummy text it is not here to be read. This is dummy text it is not here to be read. </a:t>
            </a:r>
          </a:p>
        </p:txBody>
      </p:sp>
      <p:cxnSp>
        <p:nvCxnSpPr>
          <p:cNvPr id="51" name="Straight Connector 50"/>
          <p:cNvCxnSpPr/>
          <p:nvPr/>
        </p:nvCxnSpPr>
        <p:spPr>
          <a:xfrm>
            <a:off x="4950305" y="2675093"/>
            <a:ext cx="1201341"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2" name="Rounded Rectangle 5"/>
          <p:cNvSpPr/>
          <p:nvPr/>
        </p:nvSpPr>
        <p:spPr>
          <a:xfrm flipV="1">
            <a:off x="2857500" y="2401252"/>
            <a:ext cx="1912543" cy="1194912"/>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53" name="Rectangle 52"/>
          <p:cNvSpPr/>
          <p:nvPr/>
        </p:nvSpPr>
        <p:spPr>
          <a:xfrm>
            <a:off x="3373432" y="2505788"/>
            <a:ext cx="1293818" cy="1038746"/>
          </a:xfrm>
          <a:prstGeom prst="rect">
            <a:avLst/>
          </a:prstGeom>
        </p:spPr>
        <p:txBody>
          <a:bodyPr wrap="square" lIns="0" tIns="0" rIns="0" bIns="0">
            <a:spAutoFit/>
          </a:bodyPr>
          <a:lstStyle/>
          <a:p>
            <a:pPr defTabSz="685800">
              <a:spcAft>
                <a:spcPts val="900"/>
              </a:spcAft>
              <a:buClrTx/>
            </a:pPr>
            <a:r>
              <a:rPr lang="en-US" sz="750" b="1" kern="1200" dirty="0">
                <a:solidFill>
                  <a:srgbClr val="FFFFFF"/>
                </a:solidFill>
                <a:ea typeface="+mn-ea"/>
                <a:cs typeface="+mn-cs"/>
              </a:rPr>
              <a:t>LOREM IPSUM DOLOR </a:t>
            </a:r>
          </a:p>
          <a:p>
            <a:pPr defTabSz="685800">
              <a:spcAft>
                <a:spcPts val="450"/>
              </a:spcAft>
              <a:buClrTx/>
            </a:pPr>
            <a:r>
              <a:rPr lang="en-US" sz="750" kern="1200" dirty="0">
                <a:solidFill>
                  <a:srgbClr val="FFFFFF"/>
                </a:solidFill>
                <a:ea typeface="+mn-ea"/>
                <a:cs typeface="+mn-cs"/>
              </a:rPr>
              <a:t>This is dummy text it is not here to be read. This is dummy text it is not here to be read. This is dummy text it is not here to be read. This is dummy text it is not here to be read.</a:t>
            </a:r>
          </a:p>
        </p:txBody>
      </p:sp>
      <p:cxnSp>
        <p:nvCxnSpPr>
          <p:cNvPr id="54" name="Straight Connector 53"/>
          <p:cNvCxnSpPr/>
          <p:nvPr/>
        </p:nvCxnSpPr>
        <p:spPr>
          <a:xfrm>
            <a:off x="3373432" y="2664259"/>
            <a:ext cx="1201341"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56" name="Picture 55" descr="33.emf"/>
          <p:cNvPicPr>
            <a:picLocks noChangeAspect="1"/>
          </p:cNvPicPr>
          <p:nvPr/>
        </p:nvPicPr>
        <p:blipFill>
          <a:blip r:embed="rId7">
            <a:biLevel thresh="25000"/>
          </a:blip>
          <a:stretch>
            <a:fillRect/>
          </a:stretch>
        </p:blipFill>
        <p:spPr>
          <a:xfrm>
            <a:off x="3028464" y="2505788"/>
            <a:ext cx="248654" cy="230405"/>
          </a:xfrm>
          <a:prstGeom prst="rect">
            <a:avLst/>
          </a:prstGeom>
        </p:spPr>
      </p:pic>
      <p:grpSp>
        <p:nvGrpSpPr>
          <p:cNvPr id="57" name="Group 56"/>
          <p:cNvGrpSpPr/>
          <p:nvPr/>
        </p:nvGrpSpPr>
        <p:grpSpPr>
          <a:xfrm>
            <a:off x="5889142" y="1497904"/>
            <a:ext cx="184685" cy="187413"/>
            <a:chOff x="7775298" y="4300210"/>
            <a:chExt cx="340038" cy="345060"/>
          </a:xfrm>
        </p:grpSpPr>
        <p:pic>
          <p:nvPicPr>
            <p:cNvPr id="58" name="Picture 3" descr="C:\Users\kknight\Desktop\cog ico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782024" y="4300210"/>
              <a:ext cx="231650" cy="226773"/>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3" descr="C:\Users\kknight\Desktop\cog 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775298" y="4529287"/>
              <a:ext cx="118477" cy="115983"/>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3" descr="C:\Users\kknight\Desktop\cog 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767128">
              <a:off x="7899965" y="4509191"/>
              <a:ext cx="118477" cy="115983"/>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3" descr="C:\Users\kknight\Desktop\cog 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996859" y="4435799"/>
              <a:ext cx="118477" cy="115983"/>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555373826"/>
      </p:ext>
    </p:extLst>
  </p:cSld>
  <p:clrMapOvr>
    <a:masterClrMapping/>
  </p:clrMapOvr>
  <p:transition>
    <p:fade/>
  </p:transition>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Ranking elements</a:t>
            </a:r>
            <a:br>
              <a:rPr lang="en-US" altLang="ja-JP" dirty="0"/>
            </a:br>
            <a:r>
              <a:rPr lang="en-US" altLang="ja-JP" dirty="0">
                <a:solidFill>
                  <a:srgbClr val="575757"/>
                </a:solidFill>
              </a:rPr>
              <a:t>Arrows with supportive text</a:t>
            </a:r>
            <a:br>
              <a:rPr lang="en-US" altLang="ja-JP" dirty="0"/>
            </a:br>
            <a:br>
              <a:rPr lang="en-US" altLang="ja-JP" dirty="0"/>
            </a:b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6" name="Group 5"/>
          <p:cNvGrpSpPr/>
          <p:nvPr/>
        </p:nvGrpSpPr>
        <p:grpSpPr>
          <a:xfrm>
            <a:off x="1438275" y="1692210"/>
            <a:ext cx="1134126" cy="1472055"/>
            <a:chOff x="1043608" y="3173730"/>
            <a:chExt cx="1512168" cy="1962739"/>
          </a:xfrm>
        </p:grpSpPr>
        <p:sp>
          <p:nvSpPr>
            <p:cNvPr id="7" name="Diagonal Stripe 6"/>
            <p:cNvSpPr/>
            <p:nvPr/>
          </p:nvSpPr>
          <p:spPr>
            <a:xfrm>
              <a:off x="1043608" y="4753574"/>
              <a:ext cx="1512168" cy="382895"/>
            </a:xfrm>
            <a:prstGeom prst="diagStripe">
              <a:avLst/>
            </a:prstGeom>
            <a:solidFill>
              <a:srgbClr val="BDD20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8" name="Diagonal Stripe 7"/>
            <p:cNvSpPr/>
            <p:nvPr/>
          </p:nvSpPr>
          <p:spPr>
            <a:xfrm flipV="1">
              <a:off x="1043608" y="3173730"/>
              <a:ext cx="1512168" cy="382895"/>
            </a:xfrm>
            <a:prstGeom prst="diagStripe">
              <a:avLst/>
            </a:prstGeom>
            <a:solidFill>
              <a:srgbClr val="3C8A2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nvGrpSpPr>
          <p:cNvPr id="9" name="Group 8"/>
          <p:cNvGrpSpPr/>
          <p:nvPr/>
        </p:nvGrpSpPr>
        <p:grpSpPr>
          <a:xfrm>
            <a:off x="3510623" y="1268731"/>
            <a:ext cx="1134126" cy="1895533"/>
            <a:chOff x="2392362" y="2609093"/>
            <a:chExt cx="1512168" cy="2527376"/>
          </a:xfrm>
        </p:grpSpPr>
        <p:sp>
          <p:nvSpPr>
            <p:cNvPr id="10" name="Diagonal Stripe 9"/>
            <p:cNvSpPr/>
            <p:nvPr/>
          </p:nvSpPr>
          <p:spPr>
            <a:xfrm>
              <a:off x="2392362" y="4753574"/>
              <a:ext cx="1512168" cy="382895"/>
            </a:xfrm>
            <a:prstGeom prst="diagStripe">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11" name="Diagonal Stripe 10"/>
            <p:cNvSpPr/>
            <p:nvPr/>
          </p:nvSpPr>
          <p:spPr>
            <a:xfrm flipV="1">
              <a:off x="2392362" y="2609093"/>
              <a:ext cx="1512168" cy="1512168"/>
            </a:xfrm>
            <a:prstGeom prst="diagStripe">
              <a:avLst/>
            </a:prstGeom>
            <a:solidFill>
              <a:schemeClr val="bg2">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grpSp>
      <p:grpSp>
        <p:nvGrpSpPr>
          <p:cNvPr id="12" name="Group 11"/>
          <p:cNvGrpSpPr/>
          <p:nvPr/>
        </p:nvGrpSpPr>
        <p:grpSpPr>
          <a:xfrm>
            <a:off x="5626862" y="1692210"/>
            <a:ext cx="1134126" cy="1472055"/>
            <a:chOff x="3796619" y="3173730"/>
            <a:chExt cx="1512168" cy="1962739"/>
          </a:xfrm>
        </p:grpSpPr>
        <p:sp>
          <p:nvSpPr>
            <p:cNvPr id="13" name="Diagonal Stripe 12"/>
            <p:cNvSpPr/>
            <p:nvPr/>
          </p:nvSpPr>
          <p:spPr>
            <a:xfrm>
              <a:off x="3796619" y="4753574"/>
              <a:ext cx="1512168" cy="382895"/>
            </a:xfrm>
            <a:prstGeom prst="diagStripe">
              <a:avLst/>
            </a:prstGeom>
            <a:solidFill>
              <a:srgbClr val="00277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14" name="Diagonal Stripe 13"/>
            <p:cNvSpPr/>
            <p:nvPr/>
          </p:nvSpPr>
          <p:spPr>
            <a:xfrm flipV="1">
              <a:off x="3796619" y="3173730"/>
              <a:ext cx="1512168" cy="382895"/>
            </a:xfrm>
            <a:prstGeom prst="diagStripe">
              <a:avLst/>
            </a:pr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sp>
        <p:nvSpPr>
          <p:cNvPr id="15" name="Rectangle 14"/>
          <p:cNvSpPr/>
          <p:nvPr/>
        </p:nvSpPr>
        <p:spPr>
          <a:xfrm>
            <a:off x="2263085" y="2832329"/>
            <a:ext cx="1187347" cy="756617"/>
          </a:xfrm>
          <a:prstGeom prst="rect">
            <a:avLst/>
          </a:prstGeom>
        </p:spPr>
        <p:txBody>
          <a:bodyPr wrap="square" lIns="0" tIns="0" rIns="0" bIns="0">
            <a:spAutoFit/>
          </a:bodyPr>
          <a:lstStyle/>
          <a:p>
            <a:pPr defTabSz="685800">
              <a:spcAft>
                <a:spcPts val="450"/>
              </a:spcAft>
              <a:buClrTx/>
            </a:pPr>
            <a:r>
              <a:rPr lang="en-US" sz="750" b="1" kern="1200" dirty="0">
                <a:solidFill>
                  <a:srgbClr val="3C8A2E"/>
                </a:solidFill>
                <a:ea typeface="+mn-ea"/>
                <a:cs typeface="+mn-cs"/>
              </a:rPr>
              <a:t>LOREM IPSUM DOLOR </a:t>
            </a:r>
          </a:p>
          <a:p>
            <a:pPr defTabSz="685800">
              <a:spcAft>
                <a:spcPts val="450"/>
              </a:spcAft>
              <a:buClrTx/>
            </a:pPr>
            <a:r>
              <a:rPr lang="en-US" sz="750" kern="1200" dirty="0">
                <a:solidFill>
                  <a:srgbClr val="3C8A2E"/>
                </a:solidFill>
                <a:ea typeface="+mn-ea"/>
                <a:cs typeface="+mn-cs"/>
              </a:rPr>
              <a:t>This is dummy text it is not here to be read. This is dummy text it is not here to be read. This is dummy text it is not here to be read</a:t>
            </a:r>
            <a:r>
              <a:rPr lang="en-US" sz="600" kern="1200" dirty="0">
                <a:solidFill>
                  <a:srgbClr val="3C8A2E"/>
                </a:solidFill>
                <a:ea typeface="+mn-ea"/>
                <a:cs typeface="+mn-cs"/>
              </a:rPr>
              <a:t>. </a:t>
            </a:r>
          </a:p>
        </p:txBody>
      </p:sp>
      <p:sp>
        <p:nvSpPr>
          <p:cNvPr id="16" name="TextBox 15"/>
          <p:cNvSpPr txBox="1"/>
          <p:nvPr/>
        </p:nvSpPr>
        <p:spPr>
          <a:xfrm>
            <a:off x="2572401" y="2334387"/>
            <a:ext cx="289303" cy="516192"/>
          </a:xfrm>
          <a:prstGeom prst="rect">
            <a:avLst/>
          </a:prstGeom>
          <a:noFill/>
        </p:spPr>
        <p:txBody>
          <a:bodyPr wrap="square" lIns="27000" tIns="27000" rIns="27000" bIns="27000" rtlCol="0">
            <a:spAutoFit/>
          </a:bodyPr>
          <a:lstStyle/>
          <a:p>
            <a:pPr defTabSz="685800">
              <a:buClrTx/>
            </a:pPr>
            <a:r>
              <a:rPr lang="en-US" sz="3000" b="1" kern="1200" dirty="0">
                <a:solidFill>
                  <a:srgbClr val="3C8A2E"/>
                </a:solidFill>
                <a:ea typeface="+mn-ea"/>
                <a:cs typeface="+mn-cs"/>
              </a:rPr>
              <a:t>1</a:t>
            </a:r>
          </a:p>
        </p:txBody>
      </p:sp>
      <p:sp>
        <p:nvSpPr>
          <p:cNvPr id="17" name="Rectangle 16"/>
          <p:cNvSpPr/>
          <p:nvPr/>
        </p:nvSpPr>
        <p:spPr>
          <a:xfrm>
            <a:off x="4293052" y="2832329"/>
            <a:ext cx="1285826" cy="756617"/>
          </a:xfrm>
          <a:prstGeom prst="rect">
            <a:avLst/>
          </a:prstGeom>
        </p:spPr>
        <p:txBody>
          <a:bodyPr wrap="square" lIns="0" tIns="0" rIns="0" bIns="0">
            <a:spAutoFit/>
          </a:bodyPr>
          <a:lstStyle/>
          <a:p>
            <a:pPr defTabSz="685800">
              <a:spcAft>
                <a:spcPts val="450"/>
              </a:spcAft>
              <a:buClrTx/>
            </a:pPr>
            <a:r>
              <a:rPr lang="en-US" sz="750" b="1" kern="1200" dirty="0">
                <a:solidFill>
                  <a:srgbClr val="575757"/>
                </a:solidFill>
                <a:ea typeface="+mn-ea"/>
                <a:cs typeface="+mn-cs"/>
              </a:rPr>
              <a:t>LOREM IPSUM DOLOR </a:t>
            </a:r>
          </a:p>
          <a:p>
            <a:pPr defTabSz="685800">
              <a:spcAft>
                <a:spcPts val="450"/>
              </a:spcAft>
              <a:buClrTx/>
            </a:pPr>
            <a:r>
              <a:rPr lang="en-US" sz="750" kern="1200" dirty="0">
                <a:solidFill>
                  <a:srgbClr val="575757"/>
                </a:solidFill>
                <a:ea typeface="+mn-ea"/>
                <a:cs typeface="+mn-cs"/>
              </a:rPr>
              <a:t>This is dummy text it is not here to be read. This is dummy text it is not here to be read. This is dummy text it is not here to be read. . </a:t>
            </a:r>
          </a:p>
        </p:txBody>
      </p:sp>
      <p:sp>
        <p:nvSpPr>
          <p:cNvPr id="18" name="Rectangle 17"/>
          <p:cNvSpPr/>
          <p:nvPr/>
        </p:nvSpPr>
        <p:spPr>
          <a:xfrm>
            <a:off x="6462600" y="2832329"/>
            <a:ext cx="1285826" cy="756617"/>
          </a:xfrm>
          <a:prstGeom prst="rect">
            <a:avLst/>
          </a:prstGeom>
        </p:spPr>
        <p:txBody>
          <a:bodyPr wrap="square" lIns="0" tIns="0" rIns="0" bIns="0">
            <a:spAutoFit/>
          </a:bodyPr>
          <a:lstStyle/>
          <a:p>
            <a:pPr defTabSz="685800">
              <a:spcAft>
                <a:spcPts val="450"/>
              </a:spcAft>
              <a:buClrTx/>
            </a:pPr>
            <a:r>
              <a:rPr lang="en-US" sz="750" b="1" kern="1200" dirty="0">
                <a:solidFill>
                  <a:srgbClr val="002776"/>
                </a:solidFill>
                <a:ea typeface="+mn-ea"/>
                <a:cs typeface="+mn-cs"/>
              </a:rPr>
              <a:t>LOREM IPSUM DOLOR </a:t>
            </a:r>
          </a:p>
          <a:p>
            <a:pPr defTabSz="685800">
              <a:spcAft>
                <a:spcPts val="450"/>
              </a:spcAft>
              <a:buClrTx/>
            </a:pPr>
            <a:r>
              <a:rPr lang="en-US" sz="750" kern="1200" dirty="0">
                <a:solidFill>
                  <a:srgbClr val="002776"/>
                </a:solidFill>
                <a:ea typeface="+mn-ea"/>
                <a:cs typeface="+mn-cs"/>
              </a:rPr>
              <a:t>This is dummy text it is not here to be read. This is dummy text it is not here to be read. This is dummy text it is not here to be read. </a:t>
            </a:r>
          </a:p>
        </p:txBody>
      </p:sp>
      <p:sp>
        <p:nvSpPr>
          <p:cNvPr id="19" name="TextBox 18"/>
          <p:cNvSpPr txBox="1"/>
          <p:nvPr/>
        </p:nvSpPr>
        <p:spPr>
          <a:xfrm>
            <a:off x="4644749" y="2334387"/>
            <a:ext cx="289303" cy="516192"/>
          </a:xfrm>
          <a:prstGeom prst="rect">
            <a:avLst/>
          </a:prstGeom>
          <a:noFill/>
        </p:spPr>
        <p:txBody>
          <a:bodyPr wrap="square" lIns="27000" tIns="27000" rIns="27000" bIns="27000" rtlCol="0">
            <a:spAutoFit/>
          </a:bodyPr>
          <a:lstStyle/>
          <a:p>
            <a:pPr defTabSz="685800">
              <a:buClrTx/>
            </a:pPr>
            <a:r>
              <a:rPr lang="en-US" sz="3000" b="1" kern="1200" dirty="0">
                <a:solidFill>
                  <a:srgbClr val="575757"/>
                </a:solidFill>
                <a:ea typeface="+mn-ea"/>
                <a:cs typeface="+mn-cs"/>
              </a:rPr>
              <a:t>2</a:t>
            </a:r>
          </a:p>
        </p:txBody>
      </p:sp>
      <p:sp>
        <p:nvSpPr>
          <p:cNvPr id="20" name="TextBox 19"/>
          <p:cNvSpPr txBox="1"/>
          <p:nvPr/>
        </p:nvSpPr>
        <p:spPr>
          <a:xfrm>
            <a:off x="6816210" y="2334387"/>
            <a:ext cx="289303" cy="516192"/>
          </a:xfrm>
          <a:prstGeom prst="rect">
            <a:avLst/>
          </a:prstGeom>
          <a:noFill/>
        </p:spPr>
        <p:txBody>
          <a:bodyPr wrap="square" lIns="27000" tIns="27000" rIns="27000" bIns="27000" rtlCol="0">
            <a:spAutoFit/>
          </a:bodyPr>
          <a:lstStyle/>
          <a:p>
            <a:pPr defTabSz="685800">
              <a:buClrTx/>
            </a:pPr>
            <a:r>
              <a:rPr lang="en-US" sz="3000" b="1" kern="1200" dirty="0">
                <a:solidFill>
                  <a:srgbClr val="002776"/>
                </a:solidFill>
                <a:ea typeface="+mn-ea"/>
                <a:cs typeface="+mn-cs"/>
              </a:rPr>
              <a:t>3</a:t>
            </a:r>
          </a:p>
        </p:txBody>
      </p:sp>
      <p:grpSp>
        <p:nvGrpSpPr>
          <p:cNvPr id="21" name="Group 20"/>
          <p:cNvGrpSpPr>
            <a:grpSpLocks noChangeAspect="1"/>
          </p:cNvGrpSpPr>
          <p:nvPr/>
        </p:nvGrpSpPr>
        <p:grpSpPr>
          <a:xfrm>
            <a:off x="1433513" y="2250914"/>
            <a:ext cx="415174" cy="303892"/>
            <a:chOff x="2751968" y="3404186"/>
            <a:chExt cx="365760" cy="267722"/>
          </a:xfrm>
        </p:grpSpPr>
        <p:sp>
          <p:nvSpPr>
            <p:cNvPr id="22" name="Oval 21"/>
            <p:cNvSpPr/>
            <p:nvPr/>
          </p:nvSpPr>
          <p:spPr>
            <a:xfrm>
              <a:off x="2751968" y="3404186"/>
              <a:ext cx="365760" cy="267722"/>
            </a:xfrm>
            <a:prstGeom prst="ellipse">
              <a:avLst/>
            </a:prstGeom>
            <a:solidFill>
              <a:srgbClr val="3C8A2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23" name="Freeform 22"/>
            <p:cNvSpPr/>
            <p:nvPr/>
          </p:nvSpPr>
          <p:spPr>
            <a:xfrm rot="19236591">
              <a:off x="2809402" y="3432690"/>
              <a:ext cx="274320" cy="190388"/>
            </a:xfrm>
            <a:custGeom>
              <a:avLst/>
              <a:gdLst>
                <a:gd name="connsiteX0" fmla="*/ 869950 w 1073150"/>
                <a:gd name="connsiteY0" fmla="*/ 523875 h 1187450"/>
                <a:gd name="connsiteX1" fmla="*/ 796925 w 1073150"/>
                <a:gd name="connsiteY1" fmla="*/ 434975 h 1187450"/>
                <a:gd name="connsiteX2" fmla="*/ 749300 w 1073150"/>
                <a:gd name="connsiteY2" fmla="*/ 365125 h 1187450"/>
                <a:gd name="connsiteX3" fmla="*/ 666750 w 1073150"/>
                <a:gd name="connsiteY3" fmla="*/ 257175 h 1187450"/>
                <a:gd name="connsiteX4" fmla="*/ 615950 w 1073150"/>
                <a:gd name="connsiteY4" fmla="*/ 184150 h 1187450"/>
                <a:gd name="connsiteX5" fmla="*/ 504825 w 1073150"/>
                <a:gd name="connsiteY5" fmla="*/ 41275 h 1187450"/>
                <a:gd name="connsiteX6" fmla="*/ 428625 w 1073150"/>
                <a:gd name="connsiteY6" fmla="*/ 0 h 1187450"/>
                <a:gd name="connsiteX7" fmla="*/ 377825 w 1073150"/>
                <a:gd name="connsiteY7" fmla="*/ 3175 h 1187450"/>
                <a:gd name="connsiteX8" fmla="*/ 539750 w 1073150"/>
                <a:gd name="connsiteY8" fmla="*/ 384175 h 1187450"/>
                <a:gd name="connsiteX9" fmla="*/ 482600 w 1073150"/>
                <a:gd name="connsiteY9" fmla="*/ 542925 h 1187450"/>
                <a:gd name="connsiteX10" fmla="*/ 215900 w 1073150"/>
                <a:gd name="connsiteY10" fmla="*/ 552450 h 1187450"/>
                <a:gd name="connsiteX11" fmla="*/ 85725 w 1073150"/>
                <a:gd name="connsiteY11" fmla="*/ 393700 h 1187450"/>
                <a:gd name="connsiteX12" fmla="*/ 0 w 1073150"/>
                <a:gd name="connsiteY12" fmla="*/ 374650 h 1187450"/>
                <a:gd name="connsiteX13" fmla="*/ 53975 w 1073150"/>
                <a:gd name="connsiteY13" fmla="*/ 568325 h 1187450"/>
                <a:gd name="connsiteX14" fmla="*/ 50800 w 1073150"/>
                <a:gd name="connsiteY14" fmla="*/ 619125 h 1187450"/>
                <a:gd name="connsiteX15" fmla="*/ 9525 w 1073150"/>
                <a:gd name="connsiteY15" fmla="*/ 806450 h 1187450"/>
                <a:gd name="connsiteX16" fmla="*/ 88900 w 1073150"/>
                <a:gd name="connsiteY16" fmla="*/ 796925 h 1187450"/>
                <a:gd name="connsiteX17" fmla="*/ 212725 w 1073150"/>
                <a:gd name="connsiteY17" fmla="*/ 615950 h 1187450"/>
                <a:gd name="connsiteX18" fmla="*/ 460375 w 1073150"/>
                <a:gd name="connsiteY18" fmla="*/ 638175 h 1187450"/>
                <a:gd name="connsiteX19" fmla="*/ 536575 w 1073150"/>
                <a:gd name="connsiteY19" fmla="*/ 822325 h 1187450"/>
                <a:gd name="connsiteX20" fmla="*/ 390525 w 1073150"/>
                <a:gd name="connsiteY20" fmla="*/ 1187450 h 1187450"/>
                <a:gd name="connsiteX21" fmla="*/ 536575 w 1073150"/>
                <a:gd name="connsiteY21" fmla="*/ 1111250 h 1187450"/>
                <a:gd name="connsiteX22" fmla="*/ 612775 w 1073150"/>
                <a:gd name="connsiteY22" fmla="*/ 996950 h 1187450"/>
                <a:gd name="connsiteX23" fmla="*/ 663575 w 1073150"/>
                <a:gd name="connsiteY23" fmla="*/ 930275 h 1187450"/>
                <a:gd name="connsiteX24" fmla="*/ 746125 w 1073150"/>
                <a:gd name="connsiteY24" fmla="*/ 815975 h 1187450"/>
                <a:gd name="connsiteX25" fmla="*/ 803275 w 1073150"/>
                <a:gd name="connsiteY25" fmla="*/ 749300 h 1187450"/>
                <a:gd name="connsiteX26" fmla="*/ 869950 w 1073150"/>
                <a:gd name="connsiteY26" fmla="*/ 650875 h 1187450"/>
                <a:gd name="connsiteX27" fmla="*/ 1069975 w 1073150"/>
                <a:gd name="connsiteY27" fmla="*/ 641350 h 1187450"/>
                <a:gd name="connsiteX28" fmla="*/ 1073150 w 1073150"/>
                <a:gd name="connsiteY28" fmla="*/ 542925 h 1187450"/>
                <a:gd name="connsiteX29" fmla="*/ 869950 w 1073150"/>
                <a:gd name="connsiteY29" fmla="*/ 523875 h 1187450"/>
                <a:gd name="connsiteX0" fmla="*/ 869950 w 1174048"/>
                <a:gd name="connsiteY0" fmla="*/ 523875 h 1187450"/>
                <a:gd name="connsiteX1" fmla="*/ 796925 w 1174048"/>
                <a:gd name="connsiteY1" fmla="*/ 434975 h 1187450"/>
                <a:gd name="connsiteX2" fmla="*/ 749300 w 1174048"/>
                <a:gd name="connsiteY2" fmla="*/ 365125 h 1187450"/>
                <a:gd name="connsiteX3" fmla="*/ 666750 w 1174048"/>
                <a:gd name="connsiteY3" fmla="*/ 257175 h 1187450"/>
                <a:gd name="connsiteX4" fmla="*/ 615950 w 1174048"/>
                <a:gd name="connsiteY4" fmla="*/ 184150 h 1187450"/>
                <a:gd name="connsiteX5" fmla="*/ 504825 w 1174048"/>
                <a:gd name="connsiteY5" fmla="*/ 41275 h 1187450"/>
                <a:gd name="connsiteX6" fmla="*/ 428625 w 1174048"/>
                <a:gd name="connsiteY6" fmla="*/ 0 h 1187450"/>
                <a:gd name="connsiteX7" fmla="*/ 377825 w 1174048"/>
                <a:gd name="connsiteY7" fmla="*/ 3175 h 1187450"/>
                <a:gd name="connsiteX8" fmla="*/ 539750 w 1174048"/>
                <a:gd name="connsiteY8" fmla="*/ 384175 h 1187450"/>
                <a:gd name="connsiteX9" fmla="*/ 482600 w 1174048"/>
                <a:gd name="connsiteY9" fmla="*/ 542925 h 1187450"/>
                <a:gd name="connsiteX10" fmla="*/ 215900 w 1174048"/>
                <a:gd name="connsiteY10" fmla="*/ 552450 h 1187450"/>
                <a:gd name="connsiteX11" fmla="*/ 85725 w 1174048"/>
                <a:gd name="connsiteY11" fmla="*/ 393700 h 1187450"/>
                <a:gd name="connsiteX12" fmla="*/ 0 w 1174048"/>
                <a:gd name="connsiteY12" fmla="*/ 374650 h 1187450"/>
                <a:gd name="connsiteX13" fmla="*/ 53975 w 1174048"/>
                <a:gd name="connsiteY13" fmla="*/ 568325 h 1187450"/>
                <a:gd name="connsiteX14" fmla="*/ 50800 w 1174048"/>
                <a:gd name="connsiteY14" fmla="*/ 619125 h 1187450"/>
                <a:gd name="connsiteX15" fmla="*/ 9525 w 1174048"/>
                <a:gd name="connsiteY15" fmla="*/ 806450 h 1187450"/>
                <a:gd name="connsiteX16" fmla="*/ 88900 w 1174048"/>
                <a:gd name="connsiteY16" fmla="*/ 796925 h 1187450"/>
                <a:gd name="connsiteX17" fmla="*/ 212725 w 1174048"/>
                <a:gd name="connsiteY17" fmla="*/ 615950 h 1187450"/>
                <a:gd name="connsiteX18" fmla="*/ 460375 w 1174048"/>
                <a:gd name="connsiteY18" fmla="*/ 638175 h 1187450"/>
                <a:gd name="connsiteX19" fmla="*/ 536575 w 1174048"/>
                <a:gd name="connsiteY19" fmla="*/ 822325 h 1187450"/>
                <a:gd name="connsiteX20" fmla="*/ 390525 w 1174048"/>
                <a:gd name="connsiteY20" fmla="*/ 1187450 h 1187450"/>
                <a:gd name="connsiteX21" fmla="*/ 536575 w 1174048"/>
                <a:gd name="connsiteY21" fmla="*/ 1111250 h 1187450"/>
                <a:gd name="connsiteX22" fmla="*/ 612775 w 1174048"/>
                <a:gd name="connsiteY22" fmla="*/ 996950 h 1187450"/>
                <a:gd name="connsiteX23" fmla="*/ 663575 w 1174048"/>
                <a:gd name="connsiteY23" fmla="*/ 930275 h 1187450"/>
                <a:gd name="connsiteX24" fmla="*/ 746125 w 1174048"/>
                <a:gd name="connsiteY24" fmla="*/ 815975 h 1187450"/>
                <a:gd name="connsiteX25" fmla="*/ 803275 w 1174048"/>
                <a:gd name="connsiteY25" fmla="*/ 749300 h 1187450"/>
                <a:gd name="connsiteX26" fmla="*/ 869950 w 1174048"/>
                <a:gd name="connsiteY26" fmla="*/ 650875 h 1187450"/>
                <a:gd name="connsiteX27" fmla="*/ 1069975 w 1174048"/>
                <a:gd name="connsiteY27" fmla="*/ 641350 h 1187450"/>
                <a:gd name="connsiteX28" fmla="*/ 1073150 w 1174048"/>
                <a:gd name="connsiteY28" fmla="*/ 542925 h 1187450"/>
                <a:gd name="connsiteX29" fmla="*/ 869950 w 1174048"/>
                <a:gd name="connsiteY29" fmla="*/ 523875 h 1187450"/>
                <a:gd name="connsiteX0" fmla="*/ 869950 w 1203659"/>
                <a:gd name="connsiteY0" fmla="*/ 523875 h 1187450"/>
                <a:gd name="connsiteX1" fmla="*/ 796925 w 1203659"/>
                <a:gd name="connsiteY1" fmla="*/ 434975 h 1187450"/>
                <a:gd name="connsiteX2" fmla="*/ 749300 w 1203659"/>
                <a:gd name="connsiteY2" fmla="*/ 365125 h 1187450"/>
                <a:gd name="connsiteX3" fmla="*/ 666750 w 1203659"/>
                <a:gd name="connsiteY3" fmla="*/ 257175 h 1187450"/>
                <a:gd name="connsiteX4" fmla="*/ 615950 w 1203659"/>
                <a:gd name="connsiteY4" fmla="*/ 184150 h 1187450"/>
                <a:gd name="connsiteX5" fmla="*/ 504825 w 1203659"/>
                <a:gd name="connsiteY5" fmla="*/ 41275 h 1187450"/>
                <a:gd name="connsiteX6" fmla="*/ 428625 w 1203659"/>
                <a:gd name="connsiteY6" fmla="*/ 0 h 1187450"/>
                <a:gd name="connsiteX7" fmla="*/ 377825 w 1203659"/>
                <a:gd name="connsiteY7" fmla="*/ 3175 h 1187450"/>
                <a:gd name="connsiteX8" fmla="*/ 539750 w 1203659"/>
                <a:gd name="connsiteY8" fmla="*/ 384175 h 1187450"/>
                <a:gd name="connsiteX9" fmla="*/ 482600 w 1203659"/>
                <a:gd name="connsiteY9" fmla="*/ 542925 h 1187450"/>
                <a:gd name="connsiteX10" fmla="*/ 215900 w 1203659"/>
                <a:gd name="connsiteY10" fmla="*/ 552450 h 1187450"/>
                <a:gd name="connsiteX11" fmla="*/ 85725 w 1203659"/>
                <a:gd name="connsiteY11" fmla="*/ 393700 h 1187450"/>
                <a:gd name="connsiteX12" fmla="*/ 0 w 1203659"/>
                <a:gd name="connsiteY12" fmla="*/ 374650 h 1187450"/>
                <a:gd name="connsiteX13" fmla="*/ 53975 w 1203659"/>
                <a:gd name="connsiteY13" fmla="*/ 568325 h 1187450"/>
                <a:gd name="connsiteX14" fmla="*/ 50800 w 1203659"/>
                <a:gd name="connsiteY14" fmla="*/ 619125 h 1187450"/>
                <a:gd name="connsiteX15" fmla="*/ 9525 w 1203659"/>
                <a:gd name="connsiteY15" fmla="*/ 806450 h 1187450"/>
                <a:gd name="connsiteX16" fmla="*/ 88900 w 1203659"/>
                <a:gd name="connsiteY16" fmla="*/ 796925 h 1187450"/>
                <a:gd name="connsiteX17" fmla="*/ 212725 w 1203659"/>
                <a:gd name="connsiteY17" fmla="*/ 615950 h 1187450"/>
                <a:gd name="connsiteX18" fmla="*/ 460375 w 1203659"/>
                <a:gd name="connsiteY18" fmla="*/ 638175 h 1187450"/>
                <a:gd name="connsiteX19" fmla="*/ 536575 w 1203659"/>
                <a:gd name="connsiteY19" fmla="*/ 822325 h 1187450"/>
                <a:gd name="connsiteX20" fmla="*/ 390525 w 1203659"/>
                <a:gd name="connsiteY20" fmla="*/ 1187450 h 1187450"/>
                <a:gd name="connsiteX21" fmla="*/ 536575 w 1203659"/>
                <a:gd name="connsiteY21" fmla="*/ 1111250 h 1187450"/>
                <a:gd name="connsiteX22" fmla="*/ 612775 w 1203659"/>
                <a:gd name="connsiteY22" fmla="*/ 996950 h 1187450"/>
                <a:gd name="connsiteX23" fmla="*/ 663575 w 1203659"/>
                <a:gd name="connsiteY23" fmla="*/ 930275 h 1187450"/>
                <a:gd name="connsiteX24" fmla="*/ 746125 w 1203659"/>
                <a:gd name="connsiteY24" fmla="*/ 815975 h 1187450"/>
                <a:gd name="connsiteX25" fmla="*/ 803275 w 1203659"/>
                <a:gd name="connsiteY25" fmla="*/ 749300 h 1187450"/>
                <a:gd name="connsiteX26" fmla="*/ 869950 w 1203659"/>
                <a:gd name="connsiteY26" fmla="*/ 650875 h 1187450"/>
                <a:gd name="connsiteX27" fmla="*/ 1069975 w 1203659"/>
                <a:gd name="connsiteY27" fmla="*/ 641350 h 1187450"/>
                <a:gd name="connsiteX28" fmla="*/ 1073150 w 1203659"/>
                <a:gd name="connsiteY28" fmla="*/ 542925 h 1187450"/>
                <a:gd name="connsiteX29" fmla="*/ 869950 w 1203659"/>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5003" h="1187450">
                  <a:moveTo>
                    <a:pt x="869950" y="523875"/>
                  </a:moveTo>
                  <a:lnTo>
                    <a:pt x="796925" y="434975"/>
                  </a:lnTo>
                  <a:cubicBezTo>
                    <a:pt x="869950" y="383117"/>
                    <a:pt x="784225" y="353483"/>
                    <a:pt x="749300" y="365125"/>
                  </a:cubicBezTo>
                  <a:lnTo>
                    <a:pt x="666750" y="257175"/>
                  </a:lnTo>
                  <a:cubicBezTo>
                    <a:pt x="729192" y="201083"/>
                    <a:pt x="693208" y="183092"/>
                    <a:pt x="615950" y="184150"/>
                  </a:cubicBezTo>
                  <a:lnTo>
                    <a:pt x="504825" y="41275"/>
                  </a:lnTo>
                  <a:cubicBezTo>
                    <a:pt x="466725" y="5292"/>
                    <a:pt x="454025" y="13758"/>
                    <a:pt x="428625" y="0"/>
                  </a:cubicBezTo>
                  <a:lnTo>
                    <a:pt x="377825" y="3175"/>
                  </a:lnTo>
                  <a:lnTo>
                    <a:pt x="539750" y="384175"/>
                  </a:lnTo>
                  <a:cubicBezTo>
                    <a:pt x="552450" y="443442"/>
                    <a:pt x="622300" y="515408"/>
                    <a:pt x="482600" y="542925"/>
                  </a:cubicBezTo>
                  <a:lnTo>
                    <a:pt x="215900" y="552450"/>
                  </a:lnTo>
                  <a:lnTo>
                    <a:pt x="85725" y="393700"/>
                  </a:lnTo>
                  <a:lnTo>
                    <a:pt x="0" y="374650"/>
                  </a:lnTo>
                  <a:lnTo>
                    <a:pt x="53975" y="568325"/>
                  </a:lnTo>
                  <a:cubicBezTo>
                    <a:pt x="14817" y="582083"/>
                    <a:pt x="4233" y="599017"/>
                    <a:pt x="50800" y="619125"/>
                  </a:cubicBezTo>
                  <a:lnTo>
                    <a:pt x="9525" y="806450"/>
                  </a:lnTo>
                  <a:lnTo>
                    <a:pt x="88900" y="796925"/>
                  </a:lnTo>
                  <a:lnTo>
                    <a:pt x="215900" y="635000"/>
                  </a:lnTo>
                  <a:lnTo>
                    <a:pt x="460375" y="638175"/>
                  </a:lnTo>
                  <a:cubicBezTo>
                    <a:pt x="565150" y="670983"/>
                    <a:pt x="603250" y="646642"/>
                    <a:pt x="536575" y="822325"/>
                  </a:cubicBezTo>
                  <a:lnTo>
                    <a:pt x="390525" y="1187450"/>
                  </a:lnTo>
                  <a:cubicBezTo>
                    <a:pt x="439208" y="1162050"/>
                    <a:pt x="452967" y="1231900"/>
                    <a:pt x="536575" y="1111250"/>
                  </a:cubicBezTo>
                  <a:lnTo>
                    <a:pt x="612775" y="996950"/>
                  </a:lnTo>
                  <a:cubicBezTo>
                    <a:pt x="721783" y="1003300"/>
                    <a:pt x="710142" y="955675"/>
                    <a:pt x="663575" y="930275"/>
                  </a:cubicBezTo>
                  <a:lnTo>
                    <a:pt x="746125" y="815975"/>
                  </a:lnTo>
                  <a:cubicBezTo>
                    <a:pt x="838200" y="822325"/>
                    <a:pt x="841375" y="800100"/>
                    <a:pt x="803275" y="749300"/>
                  </a:cubicBezTo>
                  <a:lnTo>
                    <a:pt x="869950" y="650875"/>
                  </a:lnTo>
                  <a:cubicBezTo>
                    <a:pt x="936625" y="647700"/>
                    <a:pt x="987425" y="663575"/>
                    <a:pt x="1069975" y="641350"/>
                  </a:cubicBezTo>
                  <a:cubicBezTo>
                    <a:pt x="1305983" y="605367"/>
                    <a:pt x="1183217" y="569383"/>
                    <a:pt x="1073150" y="542925"/>
                  </a:cubicBezTo>
                  <a:cubicBezTo>
                    <a:pt x="992717" y="527050"/>
                    <a:pt x="909108" y="542925"/>
                    <a:pt x="869950" y="523875"/>
                  </a:cubicBezTo>
                  <a:close/>
                </a:path>
              </a:pathLst>
            </a:cu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pic>
        <p:nvPicPr>
          <p:cNvPr id="24" name="Picture 23"/>
          <p:cNvPicPr>
            <a:picLocks noChangeAspect="1"/>
          </p:cNvPicPr>
          <p:nvPr/>
        </p:nvPicPr>
        <p:blipFill>
          <a:blip r:embed="rId6" cstate="print">
            <a:grayscl/>
            <a:extLst>
              <a:ext uri="{28A0092B-C50C-407E-A947-70E740481C1C}">
                <a14:useLocalDpi xmlns:a14="http://schemas.microsoft.com/office/drawing/2010/main" val="0"/>
              </a:ext>
            </a:extLst>
          </a:blip>
          <a:stretch>
            <a:fillRect/>
          </a:stretch>
        </p:blipFill>
        <p:spPr>
          <a:xfrm>
            <a:off x="3510623" y="2211526"/>
            <a:ext cx="398917" cy="398917"/>
          </a:xfrm>
          <a:prstGeom prst="rect">
            <a:avLst/>
          </a:prstGeom>
        </p:spPr>
      </p:pic>
      <p:pic>
        <p:nvPicPr>
          <p:cNvPr id="25" name="Picture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15067" y="2262320"/>
            <a:ext cx="382586" cy="382586"/>
          </a:xfrm>
          <a:prstGeom prst="rect">
            <a:avLst/>
          </a:prstGeom>
        </p:spPr>
      </p:pic>
    </p:spTree>
    <p:extLst>
      <p:ext uri="{BB962C8B-B14F-4D97-AF65-F5344CB8AC3E}">
        <p14:creationId xmlns:p14="http://schemas.microsoft.com/office/powerpoint/2010/main" val="2614701494"/>
      </p:ext>
    </p:extLst>
  </p:cSld>
  <p:clrMapOvr>
    <a:masterClrMapping/>
  </p:clrMapOvr>
  <p:transition>
    <p:fade/>
  </p:transition>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Ranking elements</a:t>
            </a:r>
            <a:br>
              <a:rPr lang="en-US" altLang="ja-JP" dirty="0"/>
            </a:br>
            <a:r>
              <a:rPr lang="en-US" altLang="ja-JP" dirty="0">
                <a:solidFill>
                  <a:srgbClr val="575757"/>
                </a:solidFill>
              </a:rPr>
              <a:t>Numbered bubbles</a:t>
            </a:r>
            <a:br>
              <a:rPr lang="en-US" altLang="ja-JP" dirty="0"/>
            </a:br>
            <a:br>
              <a:rPr lang="en-US" altLang="ja-JP" dirty="0"/>
            </a:b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3"/>
          <p:cNvSpPr/>
          <p:nvPr/>
        </p:nvSpPr>
        <p:spPr>
          <a:xfrm rot="12799996">
            <a:off x="5430151" y="2142695"/>
            <a:ext cx="918286" cy="1052079"/>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accent4">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19" name="Rectangle 13"/>
          <p:cNvSpPr/>
          <p:nvPr/>
        </p:nvSpPr>
        <p:spPr>
          <a:xfrm rot="9073758">
            <a:off x="4136286" y="2150603"/>
            <a:ext cx="918286" cy="1052079"/>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20" name="Rectangle 13"/>
          <p:cNvSpPr/>
          <p:nvPr/>
        </p:nvSpPr>
        <p:spPr>
          <a:xfrm rot="2024838">
            <a:off x="2699992" y="2018754"/>
            <a:ext cx="1208750" cy="1244735"/>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21" name="Oval 20"/>
          <p:cNvSpPr>
            <a:spLocks noChangeAspect="1"/>
          </p:cNvSpPr>
          <p:nvPr/>
        </p:nvSpPr>
        <p:spPr>
          <a:xfrm rot="21372311">
            <a:off x="4596052" y="2136036"/>
            <a:ext cx="1311131" cy="303892"/>
          </a:xfrm>
          <a:prstGeom prst="ellipse">
            <a:avLst/>
          </a:prstGeom>
          <a:solidFill>
            <a:schemeClr val="accent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22" name="Oval 21"/>
          <p:cNvSpPr/>
          <p:nvPr/>
        </p:nvSpPr>
        <p:spPr>
          <a:xfrm>
            <a:off x="1676063" y="1957308"/>
            <a:ext cx="1681047" cy="303892"/>
          </a:xfrm>
          <a:prstGeom prst="ellipse">
            <a:avLst/>
          </a:pr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23" name="Oval 22"/>
          <p:cNvSpPr>
            <a:spLocks noChangeAspect="1"/>
          </p:cNvSpPr>
          <p:nvPr/>
        </p:nvSpPr>
        <p:spPr>
          <a:xfrm>
            <a:off x="3217134" y="2869581"/>
            <a:ext cx="1467820" cy="303892"/>
          </a:xfrm>
          <a:prstGeom prst="ellipse">
            <a:avLst/>
          </a:prstGeom>
          <a:solidFill>
            <a:srgbClr val="8C8C8C"/>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24" name="Oval 23"/>
          <p:cNvSpPr>
            <a:spLocks noChangeAspect="1"/>
          </p:cNvSpPr>
          <p:nvPr/>
        </p:nvSpPr>
        <p:spPr>
          <a:xfrm>
            <a:off x="5814857" y="2803134"/>
            <a:ext cx="1054039" cy="303892"/>
          </a:xfrm>
          <a:prstGeom prst="ellipse">
            <a:avLst/>
          </a:prstGeom>
          <a:solidFill>
            <a:schemeClr val="accent4"/>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25" name="Rectangle 24"/>
          <p:cNvSpPr/>
          <p:nvPr/>
        </p:nvSpPr>
        <p:spPr>
          <a:xfrm>
            <a:off x="2153619" y="1657651"/>
            <a:ext cx="994354" cy="923330"/>
          </a:xfrm>
          <a:prstGeom prst="rect">
            <a:avLst/>
          </a:prstGeom>
        </p:spPr>
        <p:txBody>
          <a:bodyPr wrap="square" lIns="0" tIns="0" rIns="0" bIns="0">
            <a:spAutoFit/>
          </a:bodyPr>
          <a:lstStyle/>
          <a:p>
            <a:pPr defTabSz="685800">
              <a:buClrTx/>
            </a:pPr>
            <a:r>
              <a:rPr lang="en-US" sz="750" kern="1200" dirty="0">
                <a:solidFill>
                  <a:srgbClr val="FFFFFF"/>
                </a:solidFill>
                <a:ea typeface="+mn-ea"/>
                <a:cs typeface="+mn-cs"/>
              </a:rPr>
              <a:t>This is dummy text it is not here to be read. This is dummy text it is not here to be read. This is dummy text it is not here to be read. This is dummy text it is not here to be read. </a:t>
            </a:r>
          </a:p>
        </p:txBody>
      </p:sp>
      <p:sp>
        <p:nvSpPr>
          <p:cNvPr id="26" name="TextBox 25"/>
          <p:cNvSpPr txBox="1"/>
          <p:nvPr/>
        </p:nvSpPr>
        <p:spPr>
          <a:xfrm>
            <a:off x="1756609" y="1689056"/>
            <a:ext cx="473869" cy="816274"/>
          </a:xfrm>
          <a:prstGeom prst="rect">
            <a:avLst/>
          </a:prstGeom>
          <a:noFill/>
        </p:spPr>
        <p:txBody>
          <a:bodyPr wrap="square" lIns="27000" tIns="27000" rIns="27000" bIns="27000" rtlCol="0">
            <a:spAutoFit/>
          </a:bodyPr>
          <a:lstStyle/>
          <a:p>
            <a:pPr defTabSz="685800">
              <a:buClrTx/>
            </a:pPr>
            <a:r>
              <a:rPr lang="en-US" sz="4950" kern="1200" dirty="0">
                <a:solidFill>
                  <a:srgbClr val="FFFFFF"/>
                </a:solidFill>
                <a:ea typeface="+mn-ea"/>
                <a:cs typeface="+mn-cs"/>
              </a:rPr>
              <a:t>1</a:t>
            </a:r>
          </a:p>
        </p:txBody>
      </p:sp>
      <p:cxnSp>
        <p:nvCxnSpPr>
          <p:cNvPr id="27" name="Straight Connector 26"/>
          <p:cNvCxnSpPr/>
          <p:nvPr/>
        </p:nvCxnSpPr>
        <p:spPr>
          <a:xfrm>
            <a:off x="2096468" y="1590792"/>
            <a:ext cx="0" cy="1086957"/>
          </a:xfrm>
          <a:prstGeom prst="line">
            <a:avLst/>
          </a:prstGeom>
          <a:ln w="63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3747339" y="2524738"/>
            <a:ext cx="792181" cy="1038746"/>
          </a:xfrm>
          <a:prstGeom prst="rect">
            <a:avLst/>
          </a:prstGeom>
        </p:spPr>
        <p:txBody>
          <a:bodyPr wrap="square" lIns="0" tIns="0" rIns="0" bIns="0">
            <a:spAutoFit/>
          </a:bodyPr>
          <a:lstStyle/>
          <a:p>
            <a:pPr defTabSz="685800">
              <a:buClrTx/>
            </a:pPr>
            <a:r>
              <a:rPr lang="en-US" sz="750" kern="1200" dirty="0">
                <a:solidFill>
                  <a:srgbClr val="FFFFFF"/>
                </a:solidFill>
                <a:ea typeface="+mn-ea"/>
                <a:cs typeface="+mn-cs"/>
              </a:rPr>
              <a:t>This is dummy text it is not here to be read. This is dummy text it is not here to be read. This is dummy text it is not here to be read. </a:t>
            </a:r>
          </a:p>
        </p:txBody>
      </p:sp>
      <p:sp>
        <p:nvSpPr>
          <p:cNvPr id="29" name="TextBox 28"/>
          <p:cNvSpPr txBox="1"/>
          <p:nvPr/>
        </p:nvSpPr>
        <p:spPr>
          <a:xfrm>
            <a:off x="3296331" y="2621459"/>
            <a:ext cx="473869" cy="816274"/>
          </a:xfrm>
          <a:prstGeom prst="rect">
            <a:avLst/>
          </a:prstGeom>
          <a:noFill/>
        </p:spPr>
        <p:txBody>
          <a:bodyPr wrap="square" lIns="27000" tIns="27000" rIns="27000" bIns="27000" rtlCol="0">
            <a:spAutoFit/>
          </a:bodyPr>
          <a:lstStyle/>
          <a:p>
            <a:pPr defTabSz="685800">
              <a:buClrTx/>
            </a:pPr>
            <a:r>
              <a:rPr lang="en-US" sz="4950" kern="1200" dirty="0">
                <a:solidFill>
                  <a:srgbClr val="FFFFFF"/>
                </a:solidFill>
                <a:ea typeface="+mn-ea"/>
                <a:cs typeface="+mn-cs"/>
              </a:rPr>
              <a:t>2</a:t>
            </a:r>
          </a:p>
        </p:txBody>
      </p:sp>
      <p:cxnSp>
        <p:nvCxnSpPr>
          <p:cNvPr id="30" name="Straight Connector 29"/>
          <p:cNvCxnSpPr/>
          <p:nvPr/>
        </p:nvCxnSpPr>
        <p:spPr>
          <a:xfrm>
            <a:off x="3693340" y="2523195"/>
            <a:ext cx="0" cy="1086957"/>
          </a:xfrm>
          <a:prstGeom prst="line">
            <a:avLst/>
          </a:prstGeom>
          <a:ln w="63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5106440" y="1900722"/>
            <a:ext cx="653526" cy="807913"/>
          </a:xfrm>
          <a:prstGeom prst="rect">
            <a:avLst/>
          </a:prstGeom>
        </p:spPr>
        <p:txBody>
          <a:bodyPr wrap="square" lIns="0" tIns="0" rIns="0" bIns="0">
            <a:spAutoFit/>
          </a:bodyPr>
          <a:lstStyle/>
          <a:p>
            <a:pPr defTabSz="685800">
              <a:buClrTx/>
            </a:pPr>
            <a:r>
              <a:rPr lang="en-US" sz="750" kern="1200" dirty="0">
                <a:solidFill>
                  <a:srgbClr val="FFFFFF"/>
                </a:solidFill>
                <a:ea typeface="+mn-ea"/>
                <a:cs typeface="+mn-cs"/>
              </a:rPr>
              <a:t>This is dummy text it is not here to be read. This is dummy text it is not here to be read. </a:t>
            </a:r>
          </a:p>
        </p:txBody>
      </p:sp>
      <p:sp>
        <p:nvSpPr>
          <p:cNvPr id="32" name="TextBox 31"/>
          <p:cNvSpPr txBox="1"/>
          <p:nvPr/>
        </p:nvSpPr>
        <p:spPr>
          <a:xfrm>
            <a:off x="4661146" y="1877428"/>
            <a:ext cx="473869" cy="816274"/>
          </a:xfrm>
          <a:prstGeom prst="rect">
            <a:avLst/>
          </a:prstGeom>
          <a:noFill/>
        </p:spPr>
        <p:txBody>
          <a:bodyPr wrap="square" lIns="27000" tIns="27000" rIns="27000" bIns="27000" rtlCol="0">
            <a:spAutoFit/>
          </a:bodyPr>
          <a:lstStyle/>
          <a:p>
            <a:pPr defTabSz="685800">
              <a:buClrTx/>
            </a:pPr>
            <a:r>
              <a:rPr lang="en-US" sz="4950" kern="1200" dirty="0">
                <a:solidFill>
                  <a:srgbClr val="FFFFFF"/>
                </a:solidFill>
                <a:ea typeface="+mn-ea"/>
                <a:cs typeface="+mn-cs"/>
              </a:rPr>
              <a:t>3</a:t>
            </a:r>
          </a:p>
        </p:txBody>
      </p:sp>
      <p:cxnSp>
        <p:nvCxnSpPr>
          <p:cNvPr id="33" name="Straight Connector 32"/>
          <p:cNvCxnSpPr/>
          <p:nvPr/>
        </p:nvCxnSpPr>
        <p:spPr>
          <a:xfrm>
            <a:off x="5058155" y="1779164"/>
            <a:ext cx="0" cy="1086957"/>
          </a:xfrm>
          <a:prstGeom prst="line">
            <a:avLst/>
          </a:prstGeom>
          <a:ln w="63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6275388" y="2659378"/>
            <a:ext cx="463117" cy="577081"/>
          </a:xfrm>
          <a:prstGeom prst="rect">
            <a:avLst/>
          </a:prstGeom>
        </p:spPr>
        <p:txBody>
          <a:bodyPr wrap="square" lIns="0" tIns="0" rIns="0" bIns="0">
            <a:spAutoFit/>
          </a:bodyPr>
          <a:lstStyle/>
          <a:p>
            <a:pPr defTabSz="685800">
              <a:spcAft>
                <a:spcPts val="450"/>
              </a:spcAft>
              <a:buClrTx/>
            </a:pPr>
            <a:r>
              <a:rPr lang="en-US" sz="750" kern="1200" dirty="0">
                <a:solidFill>
                  <a:srgbClr val="FFFFFF"/>
                </a:solidFill>
                <a:ea typeface="+mn-ea"/>
                <a:cs typeface="+mn-cs"/>
              </a:rPr>
              <a:t>This is dummy text it is not here to be read. </a:t>
            </a:r>
          </a:p>
        </p:txBody>
      </p:sp>
      <p:sp>
        <p:nvSpPr>
          <p:cNvPr id="35" name="TextBox 34"/>
          <p:cNvSpPr txBox="1"/>
          <p:nvPr/>
        </p:nvSpPr>
        <p:spPr>
          <a:xfrm>
            <a:off x="5850056" y="2564500"/>
            <a:ext cx="473869" cy="677775"/>
          </a:xfrm>
          <a:prstGeom prst="rect">
            <a:avLst/>
          </a:prstGeom>
          <a:noFill/>
        </p:spPr>
        <p:txBody>
          <a:bodyPr wrap="square" lIns="27000" tIns="27000" rIns="27000" bIns="27000" rtlCol="0">
            <a:spAutoFit/>
          </a:bodyPr>
          <a:lstStyle/>
          <a:p>
            <a:pPr defTabSz="685800">
              <a:buClrTx/>
            </a:pPr>
            <a:r>
              <a:rPr lang="en-US" sz="4050" kern="1200" dirty="0">
                <a:solidFill>
                  <a:srgbClr val="FFFFFF"/>
                </a:solidFill>
                <a:ea typeface="+mn-ea"/>
                <a:cs typeface="+mn-cs"/>
              </a:rPr>
              <a:t>4</a:t>
            </a:r>
          </a:p>
        </p:txBody>
      </p:sp>
      <p:cxnSp>
        <p:nvCxnSpPr>
          <p:cNvPr id="36" name="Straight Connector 35"/>
          <p:cNvCxnSpPr/>
          <p:nvPr/>
        </p:nvCxnSpPr>
        <p:spPr>
          <a:xfrm>
            <a:off x="6206808" y="2576370"/>
            <a:ext cx="0" cy="728596"/>
          </a:xfrm>
          <a:prstGeom prst="line">
            <a:avLst/>
          </a:prstGeom>
          <a:ln w="63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5244055"/>
      </p:ext>
    </p:extLst>
  </p:cSld>
  <p:clrMapOvr>
    <a:masterClrMapping/>
  </p:clrMapOvr>
  <p:transition>
    <p:fade/>
  </p:transition>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Ranking elements</a:t>
            </a:r>
            <a:br>
              <a:rPr lang="en-US" altLang="ja-JP" dirty="0"/>
            </a:br>
            <a:r>
              <a:rPr lang="en-US" altLang="ja-JP" dirty="0">
                <a:solidFill>
                  <a:srgbClr val="575757"/>
                </a:solidFill>
              </a:rPr>
              <a:t>Numbered raindrops</a:t>
            </a:r>
            <a:br>
              <a:rPr lang="en-US" altLang="ja-JP" dirty="0"/>
            </a:br>
            <a:br>
              <a:rPr lang="en-US" altLang="ja-JP" dirty="0"/>
            </a:b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2" name="Group 81"/>
          <p:cNvGrpSpPr/>
          <p:nvPr/>
        </p:nvGrpSpPr>
        <p:grpSpPr>
          <a:xfrm>
            <a:off x="3041478" y="824863"/>
            <a:ext cx="3030578" cy="3805688"/>
            <a:chOff x="1750452" y="1534351"/>
            <a:chExt cx="3702821" cy="4649865"/>
          </a:xfrm>
        </p:grpSpPr>
        <p:sp>
          <p:nvSpPr>
            <p:cNvPr id="83" name="Teardrop 18"/>
            <p:cNvSpPr/>
            <p:nvPr/>
          </p:nvSpPr>
          <p:spPr>
            <a:xfrm rot="2822534">
              <a:off x="1677392" y="4901708"/>
              <a:ext cx="2300968" cy="264048"/>
            </a:xfrm>
            <a:custGeom>
              <a:avLst/>
              <a:gdLst>
                <a:gd name="connsiteX0" fmla="*/ 0 w 1623290"/>
                <a:gd name="connsiteY0" fmla="*/ 811645 h 1623290"/>
                <a:gd name="connsiteX1" fmla="*/ 811645 w 1623290"/>
                <a:gd name="connsiteY1" fmla="*/ 0 h 1623290"/>
                <a:gd name="connsiteX2" fmla="*/ 1623290 w 1623290"/>
                <a:gd name="connsiteY2" fmla="*/ 0 h 1623290"/>
                <a:gd name="connsiteX3" fmla="*/ 1623290 w 1623290"/>
                <a:gd name="connsiteY3" fmla="*/ 811645 h 1623290"/>
                <a:gd name="connsiteX4" fmla="*/ 811645 w 1623290"/>
                <a:gd name="connsiteY4" fmla="*/ 1623290 h 1623290"/>
                <a:gd name="connsiteX5" fmla="*/ 0 w 1623290"/>
                <a:gd name="connsiteY5" fmla="*/ 811645 h 1623290"/>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3290" h="1879369">
                  <a:moveTo>
                    <a:pt x="0" y="1067724"/>
                  </a:moveTo>
                  <a:cubicBezTo>
                    <a:pt x="0" y="619465"/>
                    <a:pt x="363386" y="256079"/>
                    <a:pt x="811645" y="256079"/>
                  </a:cubicBezTo>
                  <a:cubicBezTo>
                    <a:pt x="1036654" y="236998"/>
                    <a:pt x="1124489" y="290098"/>
                    <a:pt x="1401946" y="0"/>
                  </a:cubicBezTo>
                  <a:cubicBezTo>
                    <a:pt x="1581936" y="528102"/>
                    <a:pt x="1623290" y="797176"/>
                    <a:pt x="1623290" y="1067724"/>
                  </a:cubicBezTo>
                  <a:cubicBezTo>
                    <a:pt x="1623290" y="1515983"/>
                    <a:pt x="1259904" y="1879369"/>
                    <a:pt x="811645" y="1879369"/>
                  </a:cubicBezTo>
                  <a:cubicBezTo>
                    <a:pt x="363386" y="1879369"/>
                    <a:pt x="0" y="1515983"/>
                    <a:pt x="0" y="1067724"/>
                  </a:cubicBezTo>
                  <a:close/>
                </a:path>
              </a:pathLst>
            </a:custGeom>
            <a:solidFill>
              <a:srgbClr val="00277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84" name="Teardrop 18"/>
            <p:cNvSpPr/>
            <p:nvPr/>
          </p:nvSpPr>
          <p:spPr>
            <a:xfrm rot="17963130" flipH="1">
              <a:off x="3641948" y="3928590"/>
              <a:ext cx="1623290" cy="264048"/>
            </a:xfrm>
            <a:custGeom>
              <a:avLst/>
              <a:gdLst>
                <a:gd name="connsiteX0" fmla="*/ 0 w 1623290"/>
                <a:gd name="connsiteY0" fmla="*/ 811645 h 1623290"/>
                <a:gd name="connsiteX1" fmla="*/ 811645 w 1623290"/>
                <a:gd name="connsiteY1" fmla="*/ 0 h 1623290"/>
                <a:gd name="connsiteX2" fmla="*/ 1623290 w 1623290"/>
                <a:gd name="connsiteY2" fmla="*/ 0 h 1623290"/>
                <a:gd name="connsiteX3" fmla="*/ 1623290 w 1623290"/>
                <a:gd name="connsiteY3" fmla="*/ 811645 h 1623290"/>
                <a:gd name="connsiteX4" fmla="*/ 811645 w 1623290"/>
                <a:gd name="connsiteY4" fmla="*/ 1623290 h 1623290"/>
                <a:gd name="connsiteX5" fmla="*/ 0 w 1623290"/>
                <a:gd name="connsiteY5" fmla="*/ 811645 h 1623290"/>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3290" h="1879369">
                  <a:moveTo>
                    <a:pt x="0" y="1067724"/>
                  </a:moveTo>
                  <a:cubicBezTo>
                    <a:pt x="0" y="619465"/>
                    <a:pt x="363386" y="256079"/>
                    <a:pt x="811645" y="256079"/>
                  </a:cubicBezTo>
                  <a:cubicBezTo>
                    <a:pt x="1036654" y="236998"/>
                    <a:pt x="1124489" y="290098"/>
                    <a:pt x="1401946" y="0"/>
                  </a:cubicBezTo>
                  <a:cubicBezTo>
                    <a:pt x="1581936" y="528102"/>
                    <a:pt x="1623290" y="797176"/>
                    <a:pt x="1623290" y="1067724"/>
                  </a:cubicBezTo>
                  <a:cubicBezTo>
                    <a:pt x="1623290" y="1515983"/>
                    <a:pt x="1259904" y="1879369"/>
                    <a:pt x="811645" y="1879369"/>
                  </a:cubicBezTo>
                  <a:cubicBezTo>
                    <a:pt x="363386" y="1879369"/>
                    <a:pt x="0" y="1515983"/>
                    <a:pt x="0" y="1067724"/>
                  </a:cubicBezTo>
                  <a:close/>
                </a:path>
              </a:pathLst>
            </a:cu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nvGrpSpPr>
            <p:cNvPr id="85" name="Group 84"/>
            <p:cNvGrpSpPr>
              <a:grpSpLocks noChangeAspect="1"/>
            </p:cNvGrpSpPr>
            <p:nvPr/>
          </p:nvGrpSpPr>
          <p:grpSpPr>
            <a:xfrm>
              <a:off x="3015712" y="1534351"/>
              <a:ext cx="1785136" cy="2376642"/>
              <a:chOff x="3133845" y="813664"/>
              <a:chExt cx="2292133" cy="3051635"/>
            </a:xfrm>
          </p:grpSpPr>
          <p:sp>
            <p:nvSpPr>
              <p:cNvPr id="98" name="Teardrop 18"/>
              <p:cNvSpPr/>
              <p:nvPr/>
            </p:nvSpPr>
            <p:spPr>
              <a:xfrm rot="2822534">
                <a:off x="2152881" y="2545296"/>
                <a:ext cx="2300967" cy="339040"/>
              </a:xfrm>
              <a:custGeom>
                <a:avLst/>
                <a:gdLst>
                  <a:gd name="connsiteX0" fmla="*/ 0 w 1623290"/>
                  <a:gd name="connsiteY0" fmla="*/ 811645 h 1623290"/>
                  <a:gd name="connsiteX1" fmla="*/ 811645 w 1623290"/>
                  <a:gd name="connsiteY1" fmla="*/ 0 h 1623290"/>
                  <a:gd name="connsiteX2" fmla="*/ 1623290 w 1623290"/>
                  <a:gd name="connsiteY2" fmla="*/ 0 h 1623290"/>
                  <a:gd name="connsiteX3" fmla="*/ 1623290 w 1623290"/>
                  <a:gd name="connsiteY3" fmla="*/ 811645 h 1623290"/>
                  <a:gd name="connsiteX4" fmla="*/ 811645 w 1623290"/>
                  <a:gd name="connsiteY4" fmla="*/ 1623290 h 1623290"/>
                  <a:gd name="connsiteX5" fmla="*/ 0 w 1623290"/>
                  <a:gd name="connsiteY5" fmla="*/ 811645 h 1623290"/>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3290" h="1879369">
                    <a:moveTo>
                      <a:pt x="0" y="1067724"/>
                    </a:moveTo>
                    <a:cubicBezTo>
                      <a:pt x="0" y="619465"/>
                      <a:pt x="363386" y="256079"/>
                      <a:pt x="811645" y="256079"/>
                    </a:cubicBezTo>
                    <a:cubicBezTo>
                      <a:pt x="1036654" y="236998"/>
                      <a:pt x="1124489" y="290098"/>
                      <a:pt x="1401946" y="0"/>
                    </a:cubicBezTo>
                    <a:cubicBezTo>
                      <a:pt x="1581936" y="528102"/>
                      <a:pt x="1623290" y="797176"/>
                      <a:pt x="1623290" y="1067724"/>
                    </a:cubicBezTo>
                    <a:cubicBezTo>
                      <a:pt x="1623290" y="1515983"/>
                      <a:pt x="1259904" y="1879369"/>
                      <a:pt x="811645" y="1879369"/>
                    </a:cubicBezTo>
                    <a:cubicBezTo>
                      <a:pt x="363386" y="1879369"/>
                      <a:pt x="0" y="1515983"/>
                      <a:pt x="0" y="1067724"/>
                    </a:cubicBezTo>
                    <a:close/>
                  </a:path>
                </a:pathLst>
              </a:cu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99" name="Teardrop 18"/>
              <p:cNvSpPr/>
              <p:nvPr/>
            </p:nvSpPr>
            <p:spPr>
              <a:xfrm rot="17963130" flipH="1">
                <a:off x="4247399" y="1653203"/>
                <a:ext cx="2018118" cy="339040"/>
              </a:xfrm>
              <a:custGeom>
                <a:avLst/>
                <a:gdLst>
                  <a:gd name="connsiteX0" fmla="*/ 0 w 1623290"/>
                  <a:gd name="connsiteY0" fmla="*/ 811645 h 1623290"/>
                  <a:gd name="connsiteX1" fmla="*/ 811645 w 1623290"/>
                  <a:gd name="connsiteY1" fmla="*/ 0 h 1623290"/>
                  <a:gd name="connsiteX2" fmla="*/ 1623290 w 1623290"/>
                  <a:gd name="connsiteY2" fmla="*/ 0 h 1623290"/>
                  <a:gd name="connsiteX3" fmla="*/ 1623290 w 1623290"/>
                  <a:gd name="connsiteY3" fmla="*/ 811645 h 1623290"/>
                  <a:gd name="connsiteX4" fmla="*/ 811645 w 1623290"/>
                  <a:gd name="connsiteY4" fmla="*/ 1623290 h 1623290"/>
                  <a:gd name="connsiteX5" fmla="*/ 0 w 1623290"/>
                  <a:gd name="connsiteY5" fmla="*/ 811645 h 1623290"/>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3290" h="1879369">
                    <a:moveTo>
                      <a:pt x="0" y="1067724"/>
                    </a:moveTo>
                    <a:cubicBezTo>
                      <a:pt x="0" y="619465"/>
                      <a:pt x="363386" y="256079"/>
                      <a:pt x="811645" y="256079"/>
                    </a:cubicBezTo>
                    <a:cubicBezTo>
                      <a:pt x="1036654" y="236998"/>
                      <a:pt x="1124489" y="290098"/>
                      <a:pt x="1401946" y="0"/>
                    </a:cubicBezTo>
                    <a:cubicBezTo>
                      <a:pt x="1581936" y="528102"/>
                      <a:pt x="1623290" y="797176"/>
                      <a:pt x="1623290" y="1067724"/>
                    </a:cubicBezTo>
                    <a:cubicBezTo>
                      <a:pt x="1623290" y="1515983"/>
                      <a:pt x="1259904" y="1879369"/>
                      <a:pt x="811645" y="1879369"/>
                    </a:cubicBezTo>
                    <a:cubicBezTo>
                      <a:pt x="363386" y="1879369"/>
                      <a:pt x="0" y="1515983"/>
                      <a:pt x="0" y="1067724"/>
                    </a:cubicBezTo>
                    <a:close/>
                  </a:path>
                </a:pathLst>
              </a:custGeom>
              <a:solidFill>
                <a:srgbClr val="8C8C8C"/>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sp>
          <p:nvSpPr>
            <p:cNvPr id="86" name="Rectangle 85"/>
            <p:cNvSpPr/>
            <p:nvPr/>
          </p:nvSpPr>
          <p:spPr>
            <a:xfrm>
              <a:off x="2351796" y="4541290"/>
              <a:ext cx="1056241" cy="1551196"/>
            </a:xfrm>
            <a:prstGeom prst="rect">
              <a:avLst/>
            </a:prstGeom>
          </p:spPr>
          <p:txBody>
            <a:bodyPr wrap="square" lIns="0" tIns="0" rIns="0" bIns="0">
              <a:spAutoFit/>
            </a:bodyPr>
            <a:lstStyle/>
            <a:p>
              <a:pPr defTabSz="685800">
                <a:buClrTx/>
              </a:pPr>
              <a:r>
                <a:rPr lang="en-US" sz="750" kern="1200" dirty="0">
                  <a:solidFill>
                    <a:srgbClr val="FFFFFF"/>
                  </a:solidFill>
                  <a:ea typeface="+mn-ea"/>
                  <a:cs typeface="+mn-cs"/>
                </a:rPr>
                <a:t>This is dummy text it is not here to be read. This is dummy text it is not here to be read. This is dummy text it is not here to be read. This is dummy text it is not here to be read. </a:t>
              </a:r>
            </a:p>
            <a:p>
              <a:pPr defTabSz="685800">
                <a:buClrTx/>
              </a:pPr>
              <a:endParaRPr lang="en-US" sz="750" kern="1200" dirty="0">
                <a:solidFill>
                  <a:srgbClr val="FFFFFF"/>
                </a:solidFill>
                <a:ea typeface="+mn-ea"/>
                <a:cs typeface="+mn-cs"/>
              </a:endParaRPr>
            </a:p>
          </p:txBody>
        </p:sp>
        <p:sp>
          <p:nvSpPr>
            <p:cNvPr id="87" name="TextBox 86"/>
            <p:cNvSpPr txBox="1"/>
            <p:nvPr/>
          </p:nvSpPr>
          <p:spPr>
            <a:xfrm>
              <a:off x="1750452" y="4670252"/>
              <a:ext cx="631825" cy="997340"/>
            </a:xfrm>
            <a:prstGeom prst="rect">
              <a:avLst/>
            </a:prstGeom>
            <a:noFill/>
          </p:spPr>
          <p:txBody>
            <a:bodyPr wrap="square" lIns="27000" tIns="27000" rIns="27000" bIns="27000" rtlCol="0">
              <a:spAutoFit/>
            </a:bodyPr>
            <a:lstStyle/>
            <a:p>
              <a:pPr defTabSz="685800">
                <a:buClrTx/>
              </a:pPr>
              <a:r>
                <a:rPr lang="en-US" sz="4950" kern="1200" dirty="0">
                  <a:solidFill>
                    <a:srgbClr val="FFFFFF"/>
                  </a:solidFill>
                  <a:ea typeface="+mn-ea"/>
                  <a:cs typeface="+mn-cs"/>
                </a:rPr>
                <a:t>1</a:t>
              </a:r>
            </a:p>
          </p:txBody>
        </p:sp>
        <p:cxnSp>
          <p:nvCxnSpPr>
            <p:cNvPr id="88" name="Straight Connector 87"/>
            <p:cNvCxnSpPr/>
            <p:nvPr/>
          </p:nvCxnSpPr>
          <p:spPr>
            <a:xfrm>
              <a:off x="2279798" y="4539233"/>
              <a:ext cx="0" cy="1449276"/>
            </a:xfrm>
            <a:prstGeom prst="line">
              <a:avLst/>
            </a:prstGeom>
            <a:ln w="63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a:xfrm>
              <a:off x="2812653" y="2586205"/>
              <a:ext cx="1009115" cy="1128143"/>
            </a:xfrm>
            <a:prstGeom prst="rect">
              <a:avLst/>
            </a:prstGeom>
          </p:spPr>
          <p:txBody>
            <a:bodyPr wrap="square" lIns="0" tIns="0" rIns="0" bIns="0">
              <a:spAutoFit/>
            </a:bodyPr>
            <a:lstStyle/>
            <a:p>
              <a:pPr defTabSz="685800">
                <a:buClrTx/>
              </a:pPr>
              <a:r>
                <a:rPr lang="en-US" sz="750" kern="1200" dirty="0">
                  <a:solidFill>
                    <a:srgbClr val="FFFFFF"/>
                  </a:solidFill>
                  <a:ea typeface="+mn-ea"/>
                  <a:cs typeface="+mn-cs"/>
                </a:rPr>
                <a:t>This is dummy text it is not here to be read. This is dummy text it is not here to be read. This is dummy text it is not here to be read. </a:t>
              </a:r>
            </a:p>
          </p:txBody>
        </p:sp>
        <p:sp>
          <p:nvSpPr>
            <p:cNvPr id="90" name="TextBox 89"/>
            <p:cNvSpPr txBox="1"/>
            <p:nvPr/>
          </p:nvSpPr>
          <p:spPr>
            <a:xfrm>
              <a:off x="2211308" y="2534465"/>
              <a:ext cx="631825" cy="997340"/>
            </a:xfrm>
            <a:prstGeom prst="rect">
              <a:avLst/>
            </a:prstGeom>
            <a:noFill/>
          </p:spPr>
          <p:txBody>
            <a:bodyPr wrap="square" lIns="27000" tIns="27000" rIns="27000" bIns="27000" rtlCol="0">
              <a:spAutoFit/>
            </a:bodyPr>
            <a:lstStyle/>
            <a:p>
              <a:pPr defTabSz="685800">
                <a:buClrTx/>
              </a:pPr>
              <a:r>
                <a:rPr lang="en-US" sz="4950" kern="1200" dirty="0">
                  <a:solidFill>
                    <a:srgbClr val="FFFFFF"/>
                  </a:solidFill>
                  <a:ea typeface="+mn-ea"/>
                  <a:cs typeface="+mn-cs"/>
                </a:rPr>
                <a:t>3</a:t>
              </a:r>
            </a:p>
          </p:txBody>
        </p:sp>
        <p:cxnSp>
          <p:nvCxnSpPr>
            <p:cNvPr id="91" name="Straight Connector 90"/>
            <p:cNvCxnSpPr/>
            <p:nvPr/>
          </p:nvCxnSpPr>
          <p:spPr>
            <a:xfrm>
              <a:off x="2740654" y="2403446"/>
              <a:ext cx="0" cy="1449276"/>
            </a:xfrm>
            <a:prstGeom prst="line">
              <a:avLst/>
            </a:prstGeom>
            <a:ln w="63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2" name="Rectangle 91"/>
            <p:cNvSpPr/>
            <p:nvPr/>
          </p:nvSpPr>
          <p:spPr>
            <a:xfrm>
              <a:off x="4372144" y="3558326"/>
              <a:ext cx="871368" cy="846107"/>
            </a:xfrm>
            <a:prstGeom prst="rect">
              <a:avLst/>
            </a:prstGeom>
          </p:spPr>
          <p:txBody>
            <a:bodyPr wrap="square" lIns="0" tIns="0" rIns="0" bIns="0">
              <a:spAutoFit/>
            </a:bodyPr>
            <a:lstStyle/>
            <a:p>
              <a:pPr defTabSz="685800">
                <a:buClrTx/>
              </a:pPr>
              <a:r>
                <a:rPr lang="en-US" sz="750" kern="1200" dirty="0">
                  <a:solidFill>
                    <a:srgbClr val="FFFFFF"/>
                  </a:solidFill>
                  <a:ea typeface="+mn-ea"/>
                  <a:cs typeface="+mn-cs"/>
                </a:rPr>
                <a:t>This is dummy text it is not here to be read. This is dummy text it is not here to be read.</a:t>
              </a:r>
            </a:p>
          </p:txBody>
        </p:sp>
        <p:sp>
          <p:nvSpPr>
            <p:cNvPr id="93" name="TextBox 92"/>
            <p:cNvSpPr txBox="1"/>
            <p:nvPr/>
          </p:nvSpPr>
          <p:spPr>
            <a:xfrm>
              <a:off x="3821768" y="3639511"/>
              <a:ext cx="631825" cy="828119"/>
            </a:xfrm>
            <a:prstGeom prst="rect">
              <a:avLst/>
            </a:prstGeom>
            <a:noFill/>
          </p:spPr>
          <p:txBody>
            <a:bodyPr wrap="square" lIns="27000" tIns="27000" rIns="27000" bIns="27000" rtlCol="0">
              <a:spAutoFit/>
            </a:bodyPr>
            <a:lstStyle/>
            <a:p>
              <a:pPr defTabSz="685800">
                <a:buClrTx/>
              </a:pPr>
              <a:r>
                <a:rPr lang="en-US" sz="4050" kern="1200" dirty="0">
                  <a:solidFill>
                    <a:srgbClr val="FFFFFF"/>
                  </a:solidFill>
                  <a:ea typeface="+mn-ea"/>
                  <a:cs typeface="+mn-cs"/>
                </a:rPr>
                <a:t>2</a:t>
              </a:r>
            </a:p>
          </p:txBody>
        </p:sp>
        <p:cxnSp>
          <p:nvCxnSpPr>
            <p:cNvPr id="94" name="Straight Connector 93"/>
            <p:cNvCxnSpPr/>
            <p:nvPr/>
          </p:nvCxnSpPr>
          <p:spPr>
            <a:xfrm>
              <a:off x="4307764" y="3547876"/>
              <a:ext cx="0" cy="1136719"/>
            </a:xfrm>
            <a:prstGeom prst="line">
              <a:avLst/>
            </a:prstGeom>
            <a:ln w="63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a:xfrm>
              <a:off x="4581905" y="1888717"/>
              <a:ext cx="871368" cy="846107"/>
            </a:xfrm>
            <a:prstGeom prst="rect">
              <a:avLst/>
            </a:prstGeom>
          </p:spPr>
          <p:txBody>
            <a:bodyPr wrap="square" lIns="0" tIns="0" rIns="0" bIns="0">
              <a:spAutoFit/>
            </a:bodyPr>
            <a:lstStyle/>
            <a:p>
              <a:pPr defTabSz="685800">
                <a:buClrTx/>
              </a:pPr>
              <a:r>
                <a:rPr lang="en-US" sz="750" kern="1200" dirty="0">
                  <a:solidFill>
                    <a:srgbClr val="FFFFFF"/>
                  </a:solidFill>
                  <a:ea typeface="+mn-ea"/>
                  <a:cs typeface="+mn-cs"/>
                </a:rPr>
                <a:t>This is dummy text it is not here to be read. This is dummy text it is not here to be read.</a:t>
              </a:r>
            </a:p>
          </p:txBody>
        </p:sp>
        <p:sp>
          <p:nvSpPr>
            <p:cNvPr id="96" name="TextBox 95"/>
            <p:cNvSpPr txBox="1"/>
            <p:nvPr/>
          </p:nvSpPr>
          <p:spPr>
            <a:xfrm>
              <a:off x="4031529" y="1969902"/>
              <a:ext cx="631825" cy="828119"/>
            </a:xfrm>
            <a:prstGeom prst="rect">
              <a:avLst/>
            </a:prstGeom>
            <a:noFill/>
          </p:spPr>
          <p:txBody>
            <a:bodyPr wrap="square" lIns="27000" tIns="27000" rIns="27000" bIns="27000" rtlCol="0">
              <a:spAutoFit/>
            </a:bodyPr>
            <a:lstStyle/>
            <a:p>
              <a:pPr defTabSz="685800">
                <a:buClrTx/>
              </a:pPr>
              <a:r>
                <a:rPr lang="en-US" sz="4050" kern="1200" dirty="0">
                  <a:solidFill>
                    <a:srgbClr val="FFFFFF"/>
                  </a:solidFill>
                  <a:ea typeface="+mn-ea"/>
                  <a:cs typeface="+mn-cs"/>
                </a:rPr>
                <a:t>4</a:t>
              </a:r>
            </a:p>
          </p:txBody>
        </p:sp>
        <p:cxnSp>
          <p:nvCxnSpPr>
            <p:cNvPr id="97" name="Straight Connector 96"/>
            <p:cNvCxnSpPr/>
            <p:nvPr/>
          </p:nvCxnSpPr>
          <p:spPr>
            <a:xfrm>
              <a:off x="4517525" y="1878267"/>
              <a:ext cx="0" cy="1136719"/>
            </a:xfrm>
            <a:prstGeom prst="line">
              <a:avLst/>
            </a:prstGeom>
            <a:ln w="63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2315185"/>
      </p:ext>
    </p:extLst>
  </p:cSld>
  <p:clrMapOvr>
    <a:masterClrMapping/>
  </p:clrMapOvr>
  <p:transition>
    <p:fade/>
  </p:transition>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Ranking elements</a:t>
            </a:r>
            <a:br>
              <a:rPr lang="en-US" altLang="ja-JP" dirty="0"/>
            </a:br>
            <a:r>
              <a:rPr lang="en-US" altLang="ja-JP" dirty="0">
                <a:solidFill>
                  <a:srgbClr val="575757"/>
                </a:solidFill>
              </a:rPr>
              <a:t>Numbered cubes</a:t>
            </a:r>
            <a:br>
              <a:rPr lang="en-US" altLang="ja-JP" dirty="0"/>
            </a:br>
            <a:br>
              <a:rPr lang="en-US" altLang="ja-JP" dirty="0"/>
            </a:b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4" name="Group 23"/>
          <p:cNvGrpSpPr/>
          <p:nvPr/>
        </p:nvGrpSpPr>
        <p:grpSpPr>
          <a:xfrm>
            <a:off x="1433512" y="1136266"/>
            <a:ext cx="4339484" cy="757150"/>
            <a:chOff x="1890261" y="1881206"/>
            <a:chExt cx="5785978" cy="1009534"/>
          </a:xfrm>
        </p:grpSpPr>
        <p:sp>
          <p:nvSpPr>
            <p:cNvPr id="25" name="Rectangle 21"/>
            <p:cNvSpPr/>
            <p:nvPr/>
          </p:nvSpPr>
          <p:spPr>
            <a:xfrm>
              <a:off x="1890261" y="2374602"/>
              <a:ext cx="4187190" cy="288147"/>
            </a:xfrm>
            <a:custGeom>
              <a:avLst/>
              <a:gdLst>
                <a:gd name="connsiteX0" fmla="*/ 0 w 4168140"/>
                <a:gd name="connsiteY0" fmla="*/ 0 h 1005840"/>
                <a:gd name="connsiteX1" fmla="*/ 4168140 w 4168140"/>
                <a:gd name="connsiteY1" fmla="*/ 0 h 1005840"/>
                <a:gd name="connsiteX2" fmla="*/ 4168140 w 4168140"/>
                <a:gd name="connsiteY2" fmla="*/ 1005840 h 1005840"/>
                <a:gd name="connsiteX3" fmla="*/ 0 w 4168140"/>
                <a:gd name="connsiteY3" fmla="*/ 1005840 h 1005840"/>
                <a:gd name="connsiteX4" fmla="*/ 0 w 4168140"/>
                <a:gd name="connsiteY4" fmla="*/ 0 h 1005840"/>
                <a:gd name="connsiteX0" fmla="*/ 0 w 4168140"/>
                <a:gd name="connsiteY0" fmla="*/ 0 h 1005840"/>
                <a:gd name="connsiteX1" fmla="*/ 4168140 w 4168140"/>
                <a:gd name="connsiteY1" fmla="*/ 0 h 1005840"/>
                <a:gd name="connsiteX2" fmla="*/ 4056221 w 4168140"/>
                <a:gd name="connsiteY2" fmla="*/ 848678 h 1005840"/>
                <a:gd name="connsiteX3" fmla="*/ 0 w 4168140"/>
                <a:gd name="connsiteY3" fmla="*/ 1005840 h 1005840"/>
                <a:gd name="connsiteX4" fmla="*/ 0 w 4168140"/>
                <a:gd name="connsiteY4" fmla="*/ 0 h 1005840"/>
                <a:gd name="connsiteX0" fmla="*/ 0 w 4168140"/>
                <a:gd name="connsiteY0" fmla="*/ 0 h 1005840"/>
                <a:gd name="connsiteX1" fmla="*/ 4168140 w 4168140"/>
                <a:gd name="connsiteY1" fmla="*/ 0 h 1005840"/>
                <a:gd name="connsiteX2" fmla="*/ 4158615 w 4168140"/>
                <a:gd name="connsiteY2" fmla="*/ 941547 h 1005840"/>
                <a:gd name="connsiteX3" fmla="*/ 0 w 4168140"/>
                <a:gd name="connsiteY3" fmla="*/ 1005840 h 1005840"/>
                <a:gd name="connsiteX4" fmla="*/ 0 w 4168140"/>
                <a:gd name="connsiteY4" fmla="*/ 0 h 1005840"/>
                <a:gd name="connsiteX0" fmla="*/ 0 w 4168140"/>
                <a:gd name="connsiteY0" fmla="*/ 9525 h 1015365"/>
                <a:gd name="connsiteX1" fmla="*/ 4168140 w 4168140"/>
                <a:gd name="connsiteY1" fmla="*/ 0 h 1015365"/>
                <a:gd name="connsiteX2" fmla="*/ 4158615 w 4168140"/>
                <a:gd name="connsiteY2" fmla="*/ 951072 h 1015365"/>
                <a:gd name="connsiteX3" fmla="*/ 0 w 4168140"/>
                <a:gd name="connsiteY3" fmla="*/ 1015365 h 1015365"/>
                <a:gd name="connsiteX4" fmla="*/ 0 w 4168140"/>
                <a:gd name="connsiteY4" fmla="*/ 9525 h 1015365"/>
                <a:gd name="connsiteX0" fmla="*/ 0 w 4168140"/>
                <a:gd name="connsiteY0" fmla="*/ 9525 h 1015365"/>
                <a:gd name="connsiteX1" fmla="*/ 4168140 w 4168140"/>
                <a:gd name="connsiteY1" fmla="*/ 0 h 1015365"/>
                <a:gd name="connsiteX2" fmla="*/ 4151472 w 4168140"/>
                <a:gd name="connsiteY2" fmla="*/ 951072 h 1015365"/>
                <a:gd name="connsiteX3" fmla="*/ 0 w 4168140"/>
                <a:gd name="connsiteY3" fmla="*/ 1015365 h 1015365"/>
                <a:gd name="connsiteX4" fmla="*/ 0 w 4168140"/>
                <a:gd name="connsiteY4" fmla="*/ 9525 h 1015365"/>
                <a:gd name="connsiteX0" fmla="*/ 0 w 4168140"/>
                <a:gd name="connsiteY0" fmla="*/ 9525 h 1015365"/>
                <a:gd name="connsiteX1" fmla="*/ 4168140 w 4168140"/>
                <a:gd name="connsiteY1" fmla="*/ 0 h 1015365"/>
                <a:gd name="connsiteX2" fmla="*/ 4163378 w 4168140"/>
                <a:gd name="connsiteY2" fmla="*/ 948691 h 1015365"/>
                <a:gd name="connsiteX3" fmla="*/ 0 w 4168140"/>
                <a:gd name="connsiteY3" fmla="*/ 1015365 h 1015365"/>
                <a:gd name="connsiteX4" fmla="*/ 0 w 4168140"/>
                <a:gd name="connsiteY4" fmla="*/ 9525 h 1015365"/>
                <a:gd name="connsiteX0" fmla="*/ 0 w 4177665"/>
                <a:gd name="connsiteY0" fmla="*/ 4762 h 1010602"/>
                <a:gd name="connsiteX1" fmla="*/ 4177665 w 4177665"/>
                <a:gd name="connsiteY1" fmla="*/ 0 h 1010602"/>
                <a:gd name="connsiteX2" fmla="*/ 4163378 w 4177665"/>
                <a:gd name="connsiteY2" fmla="*/ 943928 h 1010602"/>
                <a:gd name="connsiteX3" fmla="*/ 0 w 4177665"/>
                <a:gd name="connsiteY3" fmla="*/ 1010602 h 1010602"/>
                <a:gd name="connsiteX4" fmla="*/ 0 w 4177665"/>
                <a:gd name="connsiteY4" fmla="*/ 4762 h 1010602"/>
                <a:gd name="connsiteX0" fmla="*/ 9525 w 4187190"/>
                <a:gd name="connsiteY0" fmla="*/ 4762 h 948690"/>
                <a:gd name="connsiteX1" fmla="*/ 4187190 w 4187190"/>
                <a:gd name="connsiteY1" fmla="*/ 0 h 948690"/>
                <a:gd name="connsiteX2" fmla="*/ 4172903 w 4187190"/>
                <a:gd name="connsiteY2" fmla="*/ 943928 h 948690"/>
                <a:gd name="connsiteX3" fmla="*/ 0 w 4187190"/>
                <a:gd name="connsiteY3" fmla="*/ 948690 h 948690"/>
                <a:gd name="connsiteX4" fmla="*/ 9525 w 4187190"/>
                <a:gd name="connsiteY4" fmla="*/ 4762 h 948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7190" h="948690">
                  <a:moveTo>
                    <a:pt x="9525" y="4762"/>
                  </a:moveTo>
                  <a:lnTo>
                    <a:pt x="4187190" y="0"/>
                  </a:lnTo>
                  <a:cubicBezTo>
                    <a:pt x="4185603" y="316230"/>
                    <a:pt x="4174490" y="627698"/>
                    <a:pt x="4172903" y="943928"/>
                  </a:cubicBezTo>
                  <a:lnTo>
                    <a:pt x="0" y="948690"/>
                  </a:lnTo>
                  <a:lnTo>
                    <a:pt x="9525" y="4762"/>
                  </a:lnTo>
                  <a:close/>
                </a:path>
              </a:pathLst>
            </a:cu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nvGrpSpPr>
            <p:cNvPr id="26" name="Group 25"/>
            <p:cNvGrpSpPr>
              <a:grpSpLocks noChangeAspect="1"/>
            </p:cNvGrpSpPr>
            <p:nvPr/>
          </p:nvGrpSpPr>
          <p:grpSpPr>
            <a:xfrm>
              <a:off x="6055362" y="1881206"/>
              <a:ext cx="1620877" cy="1009534"/>
              <a:chOff x="3525926" y="2992409"/>
              <a:chExt cx="1887324" cy="1175487"/>
            </a:xfrm>
          </p:grpSpPr>
          <p:sp>
            <p:nvSpPr>
              <p:cNvPr id="27" name="Freeform 26"/>
              <p:cNvSpPr/>
              <p:nvPr/>
            </p:nvSpPr>
            <p:spPr>
              <a:xfrm>
                <a:off x="3540555" y="2992409"/>
                <a:ext cx="1872692" cy="335514"/>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bg1">
                  <a:lumMod val="85000"/>
                </a:schemeClr>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28" name="Freeform 27"/>
              <p:cNvSpPr/>
              <p:nvPr/>
            </p:nvSpPr>
            <p:spPr>
              <a:xfrm>
                <a:off x="4469588" y="3829999"/>
                <a:ext cx="943662" cy="335514"/>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rgbClr val="00A1DE"/>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29" name="Freeform 28"/>
              <p:cNvSpPr/>
              <p:nvPr/>
            </p:nvSpPr>
            <p:spPr>
              <a:xfrm>
                <a:off x="3525926" y="3832382"/>
                <a:ext cx="955567" cy="33551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bg1">
                  <a:lumMod val="85000"/>
                </a:schemeClr>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grpSp>
        <p:nvGrpSpPr>
          <p:cNvPr id="30" name="Group 29"/>
          <p:cNvGrpSpPr/>
          <p:nvPr/>
        </p:nvGrpSpPr>
        <p:grpSpPr>
          <a:xfrm>
            <a:off x="2024016" y="2352559"/>
            <a:ext cx="4339484" cy="757150"/>
            <a:chOff x="1890261" y="1881206"/>
            <a:chExt cx="5785978" cy="1009534"/>
          </a:xfrm>
        </p:grpSpPr>
        <p:sp>
          <p:nvSpPr>
            <p:cNvPr id="31" name="Rectangle 21"/>
            <p:cNvSpPr/>
            <p:nvPr/>
          </p:nvSpPr>
          <p:spPr>
            <a:xfrm>
              <a:off x="1890261" y="2374602"/>
              <a:ext cx="4187190" cy="288147"/>
            </a:xfrm>
            <a:custGeom>
              <a:avLst/>
              <a:gdLst>
                <a:gd name="connsiteX0" fmla="*/ 0 w 4168140"/>
                <a:gd name="connsiteY0" fmla="*/ 0 h 1005840"/>
                <a:gd name="connsiteX1" fmla="*/ 4168140 w 4168140"/>
                <a:gd name="connsiteY1" fmla="*/ 0 h 1005840"/>
                <a:gd name="connsiteX2" fmla="*/ 4168140 w 4168140"/>
                <a:gd name="connsiteY2" fmla="*/ 1005840 h 1005840"/>
                <a:gd name="connsiteX3" fmla="*/ 0 w 4168140"/>
                <a:gd name="connsiteY3" fmla="*/ 1005840 h 1005840"/>
                <a:gd name="connsiteX4" fmla="*/ 0 w 4168140"/>
                <a:gd name="connsiteY4" fmla="*/ 0 h 1005840"/>
                <a:gd name="connsiteX0" fmla="*/ 0 w 4168140"/>
                <a:gd name="connsiteY0" fmla="*/ 0 h 1005840"/>
                <a:gd name="connsiteX1" fmla="*/ 4168140 w 4168140"/>
                <a:gd name="connsiteY1" fmla="*/ 0 h 1005840"/>
                <a:gd name="connsiteX2" fmla="*/ 4056221 w 4168140"/>
                <a:gd name="connsiteY2" fmla="*/ 848678 h 1005840"/>
                <a:gd name="connsiteX3" fmla="*/ 0 w 4168140"/>
                <a:gd name="connsiteY3" fmla="*/ 1005840 h 1005840"/>
                <a:gd name="connsiteX4" fmla="*/ 0 w 4168140"/>
                <a:gd name="connsiteY4" fmla="*/ 0 h 1005840"/>
                <a:gd name="connsiteX0" fmla="*/ 0 w 4168140"/>
                <a:gd name="connsiteY0" fmla="*/ 0 h 1005840"/>
                <a:gd name="connsiteX1" fmla="*/ 4168140 w 4168140"/>
                <a:gd name="connsiteY1" fmla="*/ 0 h 1005840"/>
                <a:gd name="connsiteX2" fmla="*/ 4158615 w 4168140"/>
                <a:gd name="connsiteY2" fmla="*/ 941547 h 1005840"/>
                <a:gd name="connsiteX3" fmla="*/ 0 w 4168140"/>
                <a:gd name="connsiteY3" fmla="*/ 1005840 h 1005840"/>
                <a:gd name="connsiteX4" fmla="*/ 0 w 4168140"/>
                <a:gd name="connsiteY4" fmla="*/ 0 h 1005840"/>
                <a:gd name="connsiteX0" fmla="*/ 0 w 4168140"/>
                <a:gd name="connsiteY0" fmla="*/ 9525 h 1015365"/>
                <a:gd name="connsiteX1" fmla="*/ 4168140 w 4168140"/>
                <a:gd name="connsiteY1" fmla="*/ 0 h 1015365"/>
                <a:gd name="connsiteX2" fmla="*/ 4158615 w 4168140"/>
                <a:gd name="connsiteY2" fmla="*/ 951072 h 1015365"/>
                <a:gd name="connsiteX3" fmla="*/ 0 w 4168140"/>
                <a:gd name="connsiteY3" fmla="*/ 1015365 h 1015365"/>
                <a:gd name="connsiteX4" fmla="*/ 0 w 4168140"/>
                <a:gd name="connsiteY4" fmla="*/ 9525 h 1015365"/>
                <a:gd name="connsiteX0" fmla="*/ 0 w 4168140"/>
                <a:gd name="connsiteY0" fmla="*/ 9525 h 1015365"/>
                <a:gd name="connsiteX1" fmla="*/ 4168140 w 4168140"/>
                <a:gd name="connsiteY1" fmla="*/ 0 h 1015365"/>
                <a:gd name="connsiteX2" fmla="*/ 4151472 w 4168140"/>
                <a:gd name="connsiteY2" fmla="*/ 951072 h 1015365"/>
                <a:gd name="connsiteX3" fmla="*/ 0 w 4168140"/>
                <a:gd name="connsiteY3" fmla="*/ 1015365 h 1015365"/>
                <a:gd name="connsiteX4" fmla="*/ 0 w 4168140"/>
                <a:gd name="connsiteY4" fmla="*/ 9525 h 1015365"/>
                <a:gd name="connsiteX0" fmla="*/ 0 w 4168140"/>
                <a:gd name="connsiteY0" fmla="*/ 9525 h 1015365"/>
                <a:gd name="connsiteX1" fmla="*/ 4168140 w 4168140"/>
                <a:gd name="connsiteY1" fmla="*/ 0 h 1015365"/>
                <a:gd name="connsiteX2" fmla="*/ 4163378 w 4168140"/>
                <a:gd name="connsiteY2" fmla="*/ 948691 h 1015365"/>
                <a:gd name="connsiteX3" fmla="*/ 0 w 4168140"/>
                <a:gd name="connsiteY3" fmla="*/ 1015365 h 1015365"/>
                <a:gd name="connsiteX4" fmla="*/ 0 w 4168140"/>
                <a:gd name="connsiteY4" fmla="*/ 9525 h 1015365"/>
                <a:gd name="connsiteX0" fmla="*/ 0 w 4177665"/>
                <a:gd name="connsiteY0" fmla="*/ 4762 h 1010602"/>
                <a:gd name="connsiteX1" fmla="*/ 4177665 w 4177665"/>
                <a:gd name="connsiteY1" fmla="*/ 0 h 1010602"/>
                <a:gd name="connsiteX2" fmla="*/ 4163378 w 4177665"/>
                <a:gd name="connsiteY2" fmla="*/ 943928 h 1010602"/>
                <a:gd name="connsiteX3" fmla="*/ 0 w 4177665"/>
                <a:gd name="connsiteY3" fmla="*/ 1010602 h 1010602"/>
                <a:gd name="connsiteX4" fmla="*/ 0 w 4177665"/>
                <a:gd name="connsiteY4" fmla="*/ 4762 h 1010602"/>
                <a:gd name="connsiteX0" fmla="*/ 9525 w 4187190"/>
                <a:gd name="connsiteY0" fmla="*/ 4762 h 948690"/>
                <a:gd name="connsiteX1" fmla="*/ 4187190 w 4187190"/>
                <a:gd name="connsiteY1" fmla="*/ 0 h 948690"/>
                <a:gd name="connsiteX2" fmla="*/ 4172903 w 4187190"/>
                <a:gd name="connsiteY2" fmla="*/ 943928 h 948690"/>
                <a:gd name="connsiteX3" fmla="*/ 0 w 4187190"/>
                <a:gd name="connsiteY3" fmla="*/ 948690 h 948690"/>
                <a:gd name="connsiteX4" fmla="*/ 9525 w 4187190"/>
                <a:gd name="connsiteY4" fmla="*/ 4762 h 948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7190" h="948690">
                  <a:moveTo>
                    <a:pt x="9525" y="4762"/>
                  </a:moveTo>
                  <a:lnTo>
                    <a:pt x="4187190" y="0"/>
                  </a:lnTo>
                  <a:cubicBezTo>
                    <a:pt x="4185603" y="316230"/>
                    <a:pt x="4174490" y="627698"/>
                    <a:pt x="4172903" y="943928"/>
                  </a:cubicBezTo>
                  <a:lnTo>
                    <a:pt x="0" y="948690"/>
                  </a:lnTo>
                  <a:lnTo>
                    <a:pt x="9525" y="4762"/>
                  </a:lnTo>
                  <a:close/>
                </a:path>
              </a:pathLst>
            </a:cu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nvGrpSpPr>
            <p:cNvPr id="32" name="Group 31"/>
            <p:cNvGrpSpPr>
              <a:grpSpLocks noChangeAspect="1"/>
            </p:cNvGrpSpPr>
            <p:nvPr/>
          </p:nvGrpSpPr>
          <p:grpSpPr>
            <a:xfrm>
              <a:off x="6055362" y="1881206"/>
              <a:ext cx="1620877" cy="1009534"/>
              <a:chOff x="3525926" y="2992409"/>
              <a:chExt cx="1887324" cy="1175487"/>
            </a:xfrm>
          </p:grpSpPr>
          <p:sp>
            <p:nvSpPr>
              <p:cNvPr id="33" name="Freeform 32"/>
              <p:cNvSpPr/>
              <p:nvPr/>
            </p:nvSpPr>
            <p:spPr>
              <a:xfrm>
                <a:off x="3540555" y="2992409"/>
                <a:ext cx="1872692" cy="335514"/>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bg1">
                  <a:lumMod val="85000"/>
                </a:schemeClr>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34" name="Freeform 33"/>
              <p:cNvSpPr/>
              <p:nvPr/>
            </p:nvSpPr>
            <p:spPr>
              <a:xfrm>
                <a:off x="4469588" y="3829999"/>
                <a:ext cx="943662" cy="335514"/>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rgbClr val="8C8C8C"/>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35" name="Freeform 34"/>
              <p:cNvSpPr/>
              <p:nvPr/>
            </p:nvSpPr>
            <p:spPr>
              <a:xfrm>
                <a:off x="3525926" y="3832382"/>
                <a:ext cx="955567" cy="33551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bg1">
                  <a:lumMod val="85000"/>
                </a:schemeClr>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grpSp>
        <p:nvGrpSpPr>
          <p:cNvPr id="36" name="Group 35"/>
          <p:cNvGrpSpPr/>
          <p:nvPr/>
        </p:nvGrpSpPr>
        <p:grpSpPr>
          <a:xfrm>
            <a:off x="2622824" y="3568851"/>
            <a:ext cx="4339484" cy="757150"/>
            <a:chOff x="1890261" y="1881206"/>
            <a:chExt cx="5785978" cy="1009534"/>
          </a:xfrm>
        </p:grpSpPr>
        <p:sp>
          <p:nvSpPr>
            <p:cNvPr id="37" name="Rectangle 21"/>
            <p:cNvSpPr/>
            <p:nvPr/>
          </p:nvSpPr>
          <p:spPr>
            <a:xfrm>
              <a:off x="1890261" y="2374602"/>
              <a:ext cx="4187190" cy="288147"/>
            </a:xfrm>
            <a:custGeom>
              <a:avLst/>
              <a:gdLst>
                <a:gd name="connsiteX0" fmla="*/ 0 w 4168140"/>
                <a:gd name="connsiteY0" fmla="*/ 0 h 1005840"/>
                <a:gd name="connsiteX1" fmla="*/ 4168140 w 4168140"/>
                <a:gd name="connsiteY1" fmla="*/ 0 h 1005840"/>
                <a:gd name="connsiteX2" fmla="*/ 4168140 w 4168140"/>
                <a:gd name="connsiteY2" fmla="*/ 1005840 h 1005840"/>
                <a:gd name="connsiteX3" fmla="*/ 0 w 4168140"/>
                <a:gd name="connsiteY3" fmla="*/ 1005840 h 1005840"/>
                <a:gd name="connsiteX4" fmla="*/ 0 w 4168140"/>
                <a:gd name="connsiteY4" fmla="*/ 0 h 1005840"/>
                <a:gd name="connsiteX0" fmla="*/ 0 w 4168140"/>
                <a:gd name="connsiteY0" fmla="*/ 0 h 1005840"/>
                <a:gd name="connsiteX1" fmla="*/ 4168140 w 4168140"/>
                <a:gd name="connsiteY1" fmla="*/ 0 h 1005840"/>
                <a:gd name="connsiteX2" fmla="*/ 4056221 w 4168140"/>
                <a:gd name="connsiteY2" fmla="*/ 848678 h 1005840"/>
                <a:gd name="connsiteX3" fmla="*/ 0 w 4168140"/>
                <a:gd name="connsiteY3" fmla="*/ 1005840 h 1005840"/>
                <a:gd name="connsiteX4" fmla="*/ 0 w 4168140"/>
                <a:gd name="connsiteY4" fmla="*/ 0 h 1005840"/>
                <a:gd name="connsiteX0" fmla="*/ 0 w 4168140"/>
                <a:gd name="connsiteY0" fmla="*/ 0 h 1005840"/>
                <a:gd name="connsiteX1" fmla="*/ 4168140 w 4168140"/>
                <a:gd name="connsiteY1" fmla="*/ 0 h 1005840"/>
                <a:gd name="connsiteX2" fmla="*/ 4158615 w 4168140"/>
                <a:gd name="connsiteY2" fmla="*/ 941547 h 1005840"/>
                <a:gd name="connsiteX3" fmla="*/ 0 w 4168140"/>
                <a:gd name="connsiteY3" fmla="*/ 1005840 h 1005840"/>
                <a:gd name="connsiteX4" fmla="*/ 0 w 4168140"/>
                <a:gd name="connsiteY4" fmla="*/ 0 h 1005840"/>
                <a:gd name="connsiteX0" fmla="*/ 0 w 4168140"/>
                <a:gd name="connsiteY0" fmla="*/ 9525 h 1015365"/>
                <a:gd name="connsiteX1" fmla="*/ 4168140 w 4168140"/>
                <a:gd name="connsiteY1" fmla="*/ 0 h 1015365"/>
                <a:gd name="connsiteX2" fmla="*/ 4158615 w 4168140"/>
                <a:gd name="connsiteY2" fmla="*/ 951072 h 1015365"/>
                <a:gd name="connsiteX3" fmla="*/ 0 w 4168140"/>
                <a:gd name="connsiteY3" fmla="*/ 1015365 h 1015365"/>
                <a:gd name="connsiteX4" fmla="*/ 0 w 4168140"/>
                <a:gd name="connsiteY4" fmla="*/ 9525 h 1015365"/>
                <a:gd name="connsiteX0" fmla="*/ 0 w 4168140"/>
                <a:gd name="connsiteY0" fmla="*/ 9525 h 1015365"/>
                <a:gd name="connsiteX1" fmla="*/ 4168140 w 4168140"/>
                <a:gd name="connsiteY1" fmla="*/ 0 h 1015365"/>
                <a:gd name="connsiteX2" fmla="*/ 4151472 w 4168140"/>
                <a:gd name="connsiteY2" fmla="*/ 951072 h 1015365"/>
                <a:gd name="connsiteX3" fmla="*/ 0 w 4168140"/>
                <a:gd name="connsiteY3" fmla="*/ 1015365 h 1015365"/>
                <a:gd name="connsiteX4" fmla="*/ 0 w 4168140"/>
                <a:gd name="connsiteY4" fmla="*/ 9525 h 1015365"/>
                <a:gd name="connsiteX0" fmla="*/ 0 w 4168140"/>
                <a:gd name="connsiteY0" fmla="*/ 9525 h 1015365"/>
                <a:gd name="connsiteX1" fmla="*/ 4168140 w 4168140"/>
                <a:gd name="connsiteY1" fmla="*/ 0 h 1015365"/>
                <a:gd name="connsiteX2" fmla="*/ 4163378 w 4168140"/>
                <a:gd name="connsiteY2" fmla="*/ 948691 h 1015365"/>
                <a:gd name="connsiteX3" fmla="*/ 0 w 4168140"/>
                <a:gd name="connsiteY3" fmla="*/ 1015365 h 1015365"/>
                <a:gd name="connsiteX4" fmla="*/ 0 w 4168140"/>
                <a:gd name="connsiteY4" fmla="*/ 9525 h 1015365"/>
                <a:gd name="connsiteX0" fmla="*/ 0 w 4177665"/>
                <a:gd name="connsiteY0" fmla="*/ 4762 h 1010602"/>
                <a:gd name="connsiteX1" fmla="*/ 4177665 w 4177665"/>
                <a:gd name="connsiteY1" fmla="*/ 0 h 1010602"/>
                <a:gd name="connsiteX2" fmla="*/ 4163378 w 4177665"/>
                <a:gd name="connsiteY2" fmla="*/ 943928 h 1010602"/>
                <a:gd name="connsiteX3" fmla="*/ 0 w 4177665"/>
                <a:gd name="connsiteY3" fmla="*/ 1010602 h 1010602"/>
                <a:gd name="connsiteX4" fmla="*/ 0 w 4177665"/>
                <a:gd name="connsiteY4" fmla="*/ 4762 h 1010602"/>
                <a:gd name="connsiteX0" fmla="*/ 9525 w 4187190"/>
                <a:gd name="connsiteY0" fmla="*/ 4762 h 948690"/>
                <a:gd name="connsiteX1" fmla="*/ 4187190 w 4187190"/>
                <a:gd name="connsiteY1" fmla="*/ 0 h 948690"/>
                <a:gd name="connsiteX2" fmla="*/ 4172903 w 4187190"/>
                <a:gd name="connsiteY2" fmla="*/ 943928 h 948690"/>
                <a:gd name="connsiteX3" fmla="*/ 0 w 4187190"/>
                <a:gd name="connsiteY3" fmla="*/ 948690 h 948690"/>
                <a:gd name="connsiteX4" fmla="*/ 9525 w 4187190"/>
                <a:gd name="connsiteY4" fmla="*/ 4762 h 948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7190" h="948690">
                  <a:moveTo>
                    <a:pt x="9525" y="4762"/>
                  </a:moveTo>
                  <a:lnTo>
                    <a:pt x="4187190" y="0"/>
                  </a:lnTo>
                  <a:cubicBezTo>
                    <a:pt x="4185603" y="316230"/>
                    <a:pt x="4174490" y="627698"/>
                    <a:pt x="4172903" y="943928"/>
                  </a:cubicBezTo>
                  <a:lnTo>
                    <a:pt x="0" y="948690"/>
                  </a:lnTo>
                  <a:lnTo>
                    <a:pt x="9525" y="4762"/>
                  </a:lnTo>
                  <a:close/>
                </a:path>
              </a:pathLst>
            </a:cu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nvGrpSpPr>
            <p:cNvPr id="38" name="Group 37"/>
            <p:cNvGrpSpPr>
              <a:grpSpLocks noChangeAspect="1"/>
            </p:cNvGrpSpPr>
            <p:nvPr/>
          </p:nvGrpSpPr>
          <p:grpSpPr>
            <a:xfrm>
              <a:off x="6055362" y="1881206"/>
              <a:ext cx="1620877" cy="1009534"/>
              <a:chOff x="3525926" y="2992409"/>
              <a:chExt cx="1887324" cy="1175487"/>
            </a:xfrm>
          </p:grpSpPr>
          <p:sp>
            <p:nvSpPr>
              <p:cNvPr id="39" name="Freeform 38"/>
              <p:cNvSpPr/>
              <p:nvPr/>
            </p:nvSpPr>
            <p:spPr>
              <a:xfrm>
                <a:off x="3540555" y="2992409"/>
                <a:ext cx="1872692" cy="335514"/>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bg1">
                  <a:lumMod val="85000"/>
                </a:schemeClr>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40" name="Freeform 39"/>
              <p:cNvSpPr/>
              <p:nvPr/>
            </p:nvSpPr>
            <p:spPr>
              <a:xfrm>
                <a:off x="4469588" y="3829999"/>
                <a:ext cx="943662" cy="335514"/>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rgbClr val="575757"/>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41" name="Freeform 40"/>
              <p:cNvSpPr/>
              <p:nvPr/>
            </p:nvSpPr>
            <p:spPr>
              <a:xfrm>
                <a:off x="3525926" y="3832382"/>
                <a:ext cx="955567" cy="33551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bg1">
                  <a:lumMod val="85000"/>
                </a:schemeClr>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pic>
        <p:nvPicPr>
          <p:cNvPr id="42"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72633" y="2912101"/>
            <a:ext cx="363530" cy="27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Picture 7"/>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506872" y="4076363"/>
            <a:ext cx="303041" cy="27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4"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59975" y="1602423"/>
            <a:ext cx="391228" cy="27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5" name="Rectangle 44"/>
          <p:cNvSpPr/>
          <p:nvPr/>
        </p:nvSpPr>
        <p:spPr>
          <a:xfrm>
            <a:off x="1504728" y="1323624"/>
            <a:ext cx="3004407" cy="577081"/>
          </a:xfrm>
          <a:prstGeom prst="rect">
            <a:avLst/>
          </a:prstGeom>
        </p:spPr>
        <p:txBody>
          <a:bodyPr wrap="square" lIns="0" tIns="0" rIns="0" bIns="0">
            <a:spAutoFit/>
          </a:bodyPr>
          <a:lstStyle/>
          <a:p>
            <a:pPr defTabSz="685800">
              <a:spcAft>
                <a:spcPts val="450"/>
              </a:spcAft>
              <a:buClrTx/>
            </a:pPr>
            <a:r>
              <a:rPr lang="en-US" sz="750" b="1" kern="1200" dirty="0">
                <a:solidFill>
                  <a:prstClr val="white"/>
                </a:solidFill>
                <a:ea typeface="+mn-ea"/>
                <a:cs typeface="+mn-cs"/>
              </a:rPr>
              <a:t>LOREM IPSUM </a:t>
            </a:r>
            <a:br>
              <a:rPr lang="en-US" sz="750" b="1" kern="1200" dirty="0">
                <a:solidFill>
                  <a:prstClr val="white"/>
                </a:solidFill>
                <a:ea typeface="+mn-ea"/>
                <a:cs typeface="+mn-cs"/>
              </a:rPr>
            </a:br>
            <a:r>
              <a:rPr lang="en-US" sz="750" kern="1200" dirty="0">
                <a:solidFill>
                  <a:prstClr val="white"/>
                </a:solidFill>
                <a:ea typeface="+mn-ea"/>
                <a:cs typeface="+mn-cs"/>
              </a:rPr>
              <a:t>This is dummy text it is not here to be read. The is just text to show where you could insert text. This is dummy text it is not here to be read. This is dummy text it is not here to be read. The is just text to show where you could insert text.</a:t>
            </a:r>
          </a:p>
        </p:txBody>
      </p:sp>
      <p:sp>
        <p:nvSpPr>
          <p:cNvPr id="46" name="Rectangle 45"/>
          <p:cNvSpPr/>
          <p:nvPr/>
        </p:nvSpPr>
        <p:spPr>
          <a:xfrm>
            <a:off x="2092009" y="2530176"/>
            <a:ext cx="3004407" cy="577081"/>
          </a:xfrm>
          <a:prstGeom prst="rect">
            <a:avLst/>
          </a:prstGeom>
        </p:spPr>
        <p:txBody>
          <a:bodyPr wrap="square" lIns="0" tIns="0" rIns="0" bIns="0">
            <a:spAutoFit/>
          </a:bodyPr>
          <a:lstStyle/>
          <a:p>
            <a:pPr defTabSz="685800">
              <a:spcAft>
                <a:spcPts val="450"/>
              </a:spcAft>
              <a:buClrTx/>
            </a:pPr>
            <a:r>
              <a:rPr lang="en-US" sz="750" b="1" kern="1200" dirty="0">
                <a:solidFill>
                  <a:prstClr val="white"/>
                </a:solidFill>
                <a:ea typeface="+mn-ea"/>
                <a:cs typeface="+mn-cs"/>
              </a:rPr>
              <a:t>LOREM IPSUM </a:t>
            </a:r>
            <a:br>
              <a:rPr lang="en-US" sz="750" b="1" kern="1200" dirty="0">
                <a:solidFill>
                  <a:prstClr val="white"/>
                </a:solidFill>
                <a:ea typeface="+mn-ea"/>
                <a:cs typeface="+mn-cs"/>
              </a:rPr>
            </a:br>
            <a:r>
              <a:rPr lang="en-US" sz="750" kern="1200" dirty="0">
                <a:solidFill>
                  <a:prstClr val="white"/>
                </a:solidFill>
                <a:ea typeface="+mn-ea"/>
                <a:cs typeface="+mn-cs"/>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47" name="Rectangle 46"/>
          <p:cNvSpPr/>
          <p:nvPr/>
        </p:nvSpPr>
        <p:spPr>
          <a:xfrm>
            <a:off x="2690817" y="3758414"/>
            <a:ext cx="3004407" cy="577081"/>
          </a:xfrm>
          <a:prstGeom prst="rect">
            <a:avLst/>
          </a:prstGeom>
        </p:spPr>
        <p:txBody>
          <a:bodyPr wrap="square" lIns="0" tIns="0" rIns="0" bIns="0">
            <a:spAutoFit/>
          </a:bodyPr>
          <a:lstStyle/>
          <a:p>
            <a:pPr defTabSz="685800">
              <a:spcAft>
                <a:spcPts val="450"/>
              </a:spcAft>
              <a:buClrTx/>
            </a:pPr>
            <a:r>
              <a:rPr lang="en-US" sz="750" b="1" kern="1200" dirty="0">
                <a:solidFill>
                  <a:prstClr val="white"/>
                </a:solidFill>
                <a:ea typeface="+mn-ea"/>
                <a:cs typeface="+mn-cs"/>
              </a:rPr>
              <a:t>LOREM IPSUM </a:t>
            </a:r>
            <a:br>
              <a:rPr lang="en-US" sz="750" b="1" kern="1200" dirty="0">
                <a:solidFill>
                  <a:prstClr val="white"/>
                </a:solidFill>
                <a:ea typeface="+mn-ea"/>
                <a:cs typeface="+mn-cs"/>
              </a:rPr>
            </a:br>
            <a:r>
              <a:rPr lang="en-US" sz="750" kern="1200" dirty="0">
                <a:solidFill>
                  <a:prstClr val="white"/>
                </a:solidFill>
                <a:ea typeface="+mn-ea"/>
                <a:cs typeface="+mn-cs"/>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48" name="TextBox 47"/>
          <p:cNvSpPr txBox="1"/>
          <p:nvPr/>
        </p:nvSpPr>
        <p:spPr>
          <a:xfrm>
            <a:off x="4898129" y="963216"/>
            <a:ext cx="518271" cy="516192"/>
          </a:xfrm>
          <a:prstGeom prst="rect">
            <a:avLst/>
          </a:prstGeom>
          <a:noFill/>
        </p:spPr>
        <p:txBody>
          <a:bodyPr wrap="square" lIns="27000" tIns="27000" rIns="27000" bIns="27000" rtlCol="0">
            <a:spAutoFit/>
          </a:bodyPr>
          <a:lstStyle/>
          <a:p>
            <a:pPr algn="ctr" defTabSz="685800">
              <a:buClrTx/>
            </a:pPr>
            <a:r>
              <a:rPr lang="en-US" sz="3000" b="1" kern="1200" dirty="0">
                <a:solidFill>
                  <a:prstClr val="white"/>
                </a:solidFill>
                <a:ea typeface="+mn-ea"/>
                <a:cs typeface="+mn-cs"/>
              </a:rPr>
              <a:t>1</a:t>
            </a:r>
          </a:p>
        </p:txBody>
      </p:sp>
      <p:sp>
        <p:nvSpPr>
          <p:cNvPr id="49" name="TextBox 48"/>
          <p:cNvSpPr txBox="1"/>
          <p:nvPr/>
        </p:nvSpPr>
        <p:spPr>
          <a:xfrm>
            <a:off x="5496534" y="2202520"/>
            <a:ext cx="518271" cy="516192"/>
          </a:xfrm>
          <a:prstGeom prst="rect">
            <a:avLst/>
          </a:prstGeom>
          <a:noFill/>
        </p:spPr>
        <p:txBody>
          <a:bodyPr wrap="square" lIns="27000" tIns="27000" rIns="27000" bIns="27000" rtlCol="0">
            <a:spAutoFit/>
          </a:bodyPr>
          <a:lstStyle/>
          <a:p>
            <a:pPr algn="ctr" defTabSz="685800">
              <a:buClrTx/>
            </a:pPr>
            <a:r>
              <a:rPr lang="en-US" sz="3000" b="1" kern="1200" dirty="0">
                <a:solidFill>
                  <a:prstClr val="white"/>
                </a:solidFill>
                <a:ea typeface="+mn-ea"/>
                <a:cs typeface="+mn-cs"/>
              </a:rPr>
              <a:t>2</a:t>
            </a:r>
          </a:p>
        </p:txBody>
      </p:sp>
      <p:sp>
        <p:nvSpPr>
          <p:cNvPr id="50" name="TextBox 49"/>
          <p:cNvSpPr txBox="1"/>
          <p:nvPr/>
        </p:nvSpPr>
        <p:spPr>
          <a:xfrm>
            <a:off x="6103011" y="3418811"/>
            <a:ext cx="518271" cy="516192"/>
          </a:xfrm>
          <a:prstGeom prst="rect">
            <a:avLst/>
          </a:prstGeom>
          <a:noFill/>
        </p:spPr>
        <p:txBody>
          <a:bodyPr wrap="square" lIns="27000" tIns="27000" rIns="27000" bIns="27000" rtlCol="0">
            <a:spAutoFit/>
          </a:bodyPr>
          <a:lstStyle/>
          <a:p>
            <a:pPr algn="ctr" defTabSz="685800">
              <a:buClrTx/>
            </a:pPr>
            <a:r>
              <a:rPr lang="en-US" sz="3000" b="1" kern="1200" dirty="0">
                <a:solidFill>
                  <a:prstClr val="white"/>
                </a:solidFill>
                <a:ea typeface="+mn-ea"/>
                <a:cs typeface="+mn-cs"/>
              </a:rPr>
              <a:t>3</a:t>
            </a:r>
          </a:p>
        </p:txBody>
      </p:sp>
      <p:sp>
        <p:nvSpPr>
          <p:cNvPr id="51" name="Rectangle 50"/>
          <p:cNvSpPr/>
          <p:nvPr/>
        </p:nvSpPr>
        <p:spPr>
          <a:xfrm>
            <a:off x="4505041" y="1623123"/>
            <a:ext cx="719186" cy="230832"/>
          </a:xfrm>
          <a:prstGeom prst="rect">
            <a:avLst/>
          </a:prstGeom>
        </p:spPr>
        <p:txBody>
          <a:bodyPr wrap="square" lIns="0" tIns="0" rIns="0" bIns="0">
            <a:spAutoFit/>
          </a:bodyPr>
          <a:lstStyle/>
          <a:p>
            <a:pPr algn="ctr" defTabSz="685800">
              <a:spcAft>
                <a:spcPts val="450"/>
              </a:spcAft>
              <a:buClrTx/>
            </a:pPr>
            <a:r>
              <a:rPr lang="en-US" sz="750" b="1" kern="1200" dirty="0">
                <a:solidFill>
                  <a:srgbClr val="313131"/>
                </a:solidFill>
                <a:ea typeface="+mn-ea"/>
                <a:cs typeface="+mn-cs"/>
              </a:rPr>
              <a:t>LOREM </a:t>
            </a:r>
            <a:br>
              <a:rPr lang="en-US" sz="750" b="1" kern="1200" dirty="0">
                <a:solidFill>
                  <a:srgbClr val="313131"/>
                </a:solidFill>
                <a:ea typeface="+mn-ea"/>
                <a:cs typeface="+mn-cs"/>
              </a:rPr>
            </a:br>
            <a:r>
              <a:rPr lang="en-US" sz="750" b="1" kern="1200" dirty="0">
                <a:solidFill>
                  <a:srgbClr val="313131"/>
                </a:solidFill>
                <a:ea typeface="+mn-ea"/>
                <a:cs typeface="+mn-cs"/>
              </a:rPr>
              <a:t>IPSUM</a:t>
            </a:r>
            <a:endParaRPr lang="en-US" sz="600" kern="1200" dirty="0">
              <a:solidFill>
                <a:srgbClr val="313131"/>
              </a:solidFill>
              <a:ea typeface="+mn-ea"/>
              <a:cs typeface="+mn-cs"/>
            </a:endParaRPr>
          </a:p>
        </p:txBody>
      </p:sp>
      <p:sp>
        <p:nvSpPr>
          <p:cNvPr id="52" name="Rectangle 51"/>
          <p:cNvSpPr/>
          <p:nvPr/>
        </p:nvSpPr>
        <p:spPr>
          <a:xfrm>
            <a:off x="5096416" y="2830662"/>
            <a:ext cx="719186" cy="230832"/>
          </a:xfrm>
          <a:prstGeom prst="rect">
            <a:avLst/>
          </a:prstGeom>
        </p:spPr>
        <p:txBody>
          <a:bodyPr wrap="square" lIns="0" tIns="0" rIns="0" bIns="0">
            <a:spAutoFit/>
          </a:bodyPr>
          <a:lstStyle/>
          <a:p>
            <a:pPr algn="ctr" defTabSz="685800">
              <a:spcAft>
                <a:spcPts val="450"/>
              </a:spcAft>
              <a:buClrTx/>
            </a:pPr>
            <a:r>
              <a:rPr lang="en-US" sz="750" b="1" kern="1200" dirty="0">
                <a:solidFill>
                  <a:srgbClr val="313131"/>
                </a:solidFill>
                <a:ea typeface="+mn-ea"/>
                <a:cs typeface="+mn-cs"/>
              </a:rPr>
              <a:t>LOREM </a:t>
            </a:r>
            <a:br>
              <a:rPr lang="en-US" sz="750" b="1" kern="1200" dirty="0">
                <a:solidFill>
                  <a:srgbClr val="313131"/>
                </a:solidFill>
                <a:ea typeface="+mn-ea"/>
                <a:cs typeface="+mn-cs"/>
              </a:rPr>
            </a:br>
            <a:r>
              <a:rPr lang="en-US" sz="750" b="1" kern="1200" dirty="0">
                <a:solidFill>
                  <a:srgbClr val="313131"/>
                </a:solidFill>
                <a:ea typeface="+mn-ea"/>
                <a:cs typeface="+mn-cs"/>
              </a:rPr>
              <a:t>IPSUM</a:t>
            </a:r>
            <a:endParaRPr lang="en-US" sz="600" kern="1200" dirty="0">
              <a:solidFill>
                <a:srgbClr val="313131"/>
              </a:solidFill>
              <a:ea typeface="+mn-ea"/>
              <a:cs typeface="+mn-cs"/>
            </a:endParaRPr>
          </a:p>
        </p:txBody>
      </p:sp>
      <p:sp>
        <p:nvSpPr>
          <p:cNvPr id="53" name="Rectangle 52"/>
          <p:cNvSpPr/>
          <p:nvPr/>
        </p:nvSpPr>
        <p:spPr>
          <a:xfrm>
            <a:off x="5694804" y="4078694"/>
            <a:ext cx="719186" cy="230832"/>
          </a:xfrm>
          <a:prstGeom prst="rect">
            <a:avLst/>
          </a:prstGeom>
        </p:spPr>
        <p:txBody>
          <a:bodyPr wrap="square" lIns="0" tIns="0" rIns="0" bIns="0">
            <a:spAutoFit/>
          </a:bodyPr>
          <a:lstStyle/>
          <a:p>
            <a:pPr algn="ctr" defTabSz="685800">
              <a:spcAft>
                <a:spcPts val="450"/>
              </a:spcAft>
              <a:buClrTx/>
            </a:pPr>
            <a:r>
              <a:rPr lang="en-US" sz="750" b="1" kern="1200" dirty="0">
                <a:solidFill>
                  <a:srgbClr val="313131"/>
                </a:solidFill>
                <a:ea typeface="+mn-ea"/>
                <a:cs typeface="+mn-cs"/>
              </a:rPr>
              <a:t>LOREM </a:t>
            </a:r>
            <a:br>
              <a:rPr lang="en-US" sz="750" b="1" kern="1200" dirty="0">
                <a:solidFill>
                  <a:srgbClr val="313131"/>
                </a:solidFill>
                <a:ea typeface="+mn-ea"/>
                <a:cs typeface="+mn-cs"/>
              </a:rPr>
            </a:br>
            <a:r>
              <a:rPr lang="en-US" sz="750" b="1" kern="1200" dirty="0">
                <a:solidFill>
                  <a:srgbClr val="313131"/>
                </a:solidFill>
                <a:ea typeface="+mn-ea"/>
                <a:cs typeface="+mn-cs"/>
              </a:rPr>
              <a:t>IPSUM</a:t>
            </a:r>
            <a:endParaRPr lang="en-US" sz="600" kern="1200" dirty="0">
              <a:solidFill>
                <a:srgbClr val="313131"/>
              </a:solidFill>
              <a:ea typeface="+mn-ea"/>
              <a:cs typeface="+mn-cs"/>
            </a:endParaRPr>
          </a:p>
        </p:txBody>
      </p:sp>
    </p:spTree>
    <p:extLst>
      <p:ext uri="{BB962C8B-B14F-4D97-AF65-F5344CB8AC3E}">
        <p14:creationId xmlns:p14="http://schemas.microsoft.com/office/powerpoint/2010/main" val="3152674197"/>
      </p:ext>
    </p:extLst>
  </p:cSld>
  <p:clrMapOvr>
    <a:masterClrMapping/>
  </p:clrMapOvr>
  <p:transition>
    <p:fade/>
  </p:transition>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Ranking elements</a:t>
            </a:r>
            <a:br>
              <a:rPr lang="en-US" altLang="ja-JP" dirty="0"/>
            </a:br>
            <a:r>
              <a:rPr lang="en-US" altLang="ja-JP" dirty="0">
                <a:solidFill>
                  <a:srgbClr val="575757"/>
                </a:solidFill>
              </a:rPr>
              <a:t>Numbered</a:t>
            </a:r>
            <a:r>
              <a:rPr lang="en-US" altLang="ja-JP" dirty="0"/>
              <a:t> </a:t>
            </a:r>
            <a:r>
              <a:rPr lang="en-US" altLang="ja-JP" dirty="0">
                <a:solidFill>
                  <a:srgbClr val="575757"/>
                </a:solidFill>
              </a:rPr>
              <a:t>arrows</a:t>
            </a: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 name="Right Arrow 32"/>
          <p:cNvSpPr/>
          <p:nvPr/>
        </p:nvSpPr>
        <p:spPr>
          <a:xfrm>
            <a:off x="1438275" y="1558388"/>
            <a:ext cx="5379720" cy="322702"/>
          </a:xfrm>
          <a:prstGeom prst="rightArrow">
            <a:avLst>
              <a:gd name="adj1" fmla="val 66450"/>
              <a:gd name="adj2" fmla="val 50000"/>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40" name="Right Arrow 39"/>
          <p:cNvSpPr/>
          <p:nvPr/>
        </p:nvSpPr>
        <p:spPr>
          <a:xfrm>
            <a:off x="1438275" y="2738535"/>
            <a:ext cx="4779645" cy="322702"/>
          </a:xfrm>
          <a:prstGeom prst="rightArrow">
            <a:avLst>
              <a:gd name="adj1" fmla="val 66450"/>
              <a:gd name="adj2" fmla="val 50000"/>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41" name="Right Arrow 40"/>
          <p:cNvSpPr/>
          <p:nvPr/>
        </p:nvSpPr>
        <p:spPr>
          <a:xfrm>
            <a:off x="1438275" y="3910110"/>
            <a:ext cx="5494020" cy="322702"/>
          </a:xfrm>
          <a:prstGeom prst="rightArrow">
            <a:avLst>
              <a:gd name="adj1" fmla="val 66450"/>
              <a:gd name="adj2" fmla="val 50000"/>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nvGrpSpPr>
          <p:cNvPr id="42" name="Group 41"/>
          <p:cNvGrpSpPr/>
          <p:nvPr/>
        </p:nvGrpSpPr>
        <p:grpSpPr>
          <a:xfrm>
            <a:off x="1885950" y="1132284"/>
            <a:ext cx="1491615" cy="3535204"/>
            <a:chOff x="510540" y="1509712"/>
            <a:chExt cx="1988820" cy="4713605"/>
          </a:xfrm>
        </p:grpSpPr>
        <p:sp>
          <p:nvSpPr>
            <p:cNvPr id="43" name="Flowchart: Data 9"/>
            <p:cNvSpPr/>
            <p:nvPr/>
          </p:nvSpPr>
          <p:spPr>
            <a:xfrm>
              <a:off x="510540" y="1509712"/>
              <a:ext cx="1988820" cy="471360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3050"/>
                <a:gd name="connsiteY0" fmla="*/ 10000 h 10000"/>
                <a:gd name="connsiteX1" fmla="*/ 2000 w 13050"/>
                <a:gd name="connsiteY1" fmla="*/ 0 h 10000"/>
                <a:gd name="connsiteX2" fmla="*/ 13050 w 13050"/>
                <a:gd name="connsiteY2" fmla="*/ 0 h 10000"/>
                <a:gd name="connsiteX3" fmla="*/ 8000 w 13050"/>
                <a:gd name="connsiteY3" fmla="*/ 10000 h 10000"/>
                <a:gd name="connsiteX4" fmla="*/ 0 w 13050"/>
                <a:gd name="connsiteY4" fmla="*/ 10000 h 10000"/>
                <a:gd name="connsiteX0" fmla="*/ 0 w 13050"/>
                <a:gd name="connsiteY0" fmla="*/ 10000 h 10000"/>
                <a:gd name="connsiteX1" fmla="*/ 5300 w 13050"/>
                <a:gd name="connsiteY1" fmla="*/ 0 h 10000"/>
                <a:gd name="connsiteX2" fmla="*/ 13050 w 13050"/>
                <a:gd name="connsiteY2" fmla="*/ 0 h 10000"/>
                <a:gd name="connsiteX3" fmla="*/ 8000 w 13050"/>
                <a:gd name="connsiteY3" fmla="*/ 10000 h 10000"/>
                <a:gd name="connsiteX4" fmla="*/ 0 w 1305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0" h="10000">
                  <a:moveTo>
                    <a:pt x="0" y="10000"/>
                  </a:moveTo>
                  <a:lnTo>
                    <a:pt x="5300" y="0"/>
                  </a:lnTo>
                  <a:lnTo>
                    <a:pt x="13050" y="0"/>
                  </a:lnTo>
                  <a:lnTo>
                    <a:pt x="8000" y="10000"/>
                  </a:lnTo>
                  <a:lnTo>
                    <a:pt x="0" y="10000"/>
                  </a:lnTo>
                  <a:close/>
                </a:path>
              </a:pathLst>
            </a:custGeom>
            <a:solidFill>
              <a:schemeClr val="bg2">
                <a:alpha val="74902"/>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44" name="Half Frame 43"/>
            <p:cNvSpPr/>
            <p:nvPr/>
          </p:nvSpPr>
          <p:spPr>
            <a:xfrm rot="8142470">
              <a:off x="1913107" y="1885671"/>
              <a:ext cx="281315" cy="288147"/>
            </a:xfrm>
            <a:prstGeom prst="halfFrame">
              <a:avLst>
                <a:gd name="adj1" fmla="val 26576"/>
                <a:gd name="adj2" fmla="val 25856"/>
              </a:avLst>
            </a:pr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45" name="TextBox 44"/>
            <p:cNvSpPr txBox="1"/>
            <p:nvPr/>
          </p:nvSpPr>
          <p:spPr>
            <a:xfrm>
              <a:off x="1297256" y="1641080"/>
              <a:ext cx="756507" cy="1303809"/>
            </a:xfrm>
            <a:prstGeom prst="rect">
              <a:avLst/>
            </a:prstGeom>
            <a:noFill/>
          </p:spPr>
          <p:txBody>
            <a:bodyPr wrap="square" lIns="27000" tIns="27000" rIns="27000" bIns="27000" rtlCol="0">
              <a:spAutoFit/>
            </a:bodyPr>
            <a:lstStyle/>
            <a:p>
              <a:pPr algn="ctr" defTabSz="685800">
                <a:buClrTx/>
              </a:pPr>
              <a:r>
                <a:rPr lang="en-US" sz="6000" kern="1200" dirty="0">
                  <a:solidFill>
                    <a:srgbClr val="72C7E7"/>
                  </a:solidFill>
                  <a:ea typeface="+mn-ea"/>
                  <a:cs typeface="+mn-cs"/>
                </a:rPr>
                <a:t>1</a:t>
              </a:r>
            </a:p>
          </p:txBody>
        </p:sp>
        <p:sp>
          <p:nvSpPr>
            <p:cNvPr id="46" name="Half Frame 45"/>
            <p:cNvSpPr/>
            <p:nvPr/>
          </p:nvSpPr>
          <p:spPr>
            <a:xfrm rot="8142470">
              <a:off x="1742547" y="3489287"/>
              <a:ext cx="281315" cy="288147"/>
            </a:xfrm>
            <a:prstGeom prst="halfFrame">
              <a:avLst>
                <a:gd name="adj1" fmla="val 26576"/>
                <a:gd name="adj2" fmla="val 25856"/>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47" name="TextBox 46"/>
            <p:cNvSpPr txBox="1"/>
            <p:nvPr/>
          </p:nvSpPr>
          <p:spPr>
            <a:xfrm>
              <a:off x="1080976" y="3244696"/>
              <a:ext cx="756507" cy="1303809"/>
            </a:xfrm>
            <a:prstGeom prst="rect">
              <a:avLst/>
            </a:prstGeom>
            <a:noFill/>
          </p:spPr>
          <p:txBody>
            <a:bodyPr wrap="square" lIns="27000" tIns="27000" rIns="27000" bIns="27000" rtlCol="0">
              <a:spAutoFit/>
            </a:bodyPr>
            <a:lstStyle/>
            <a:p>
              <a:pPr algn="ctr" defTabSz="685800">
                <a:buClrTx/>
              </a:pPr>
              <a:r>
                <a:rPr lang="en-US" sz="6000" kern="1200" dirty="0">
                  <a:solidFill>
                    <a:srgbClr val="8C8C8C"/>
                  </a:solidFill>
                  <a:ea typeface="+mn-ea"/>
                  <a:cs typeface="+mn-cs"/>
                </a:rPr>
                <a:t>2</a:t>
              </a:r>
            </a:p>
          </p:txBody>
        </p:sp>
        <p:sp>
          <p:nvSpPr>
            <p:cNvPr id="52" name="Half Frame 51"/>
            <p:cNvSpPr/>
            <p:nvPr/>
          </p:nvSpPr>
          <p:spPr>
            <a:xfrm rot="8142470">
              <a:off x="1476687" y="4998048"/>
              <a:ext cx="281315" cy="288147"/>
            </a:xfrm>
            <a:prstGeom prst="halfFrame">
              <a:avLst>
                <a:gd name="adj1" fmla="val 26576"/>
                <a:gd name="adj2" fmla="val 25856"/>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53" name="TextBox 52"/>
            <p:cNvSpPr txBox="1"/>
            <p:nvPr/>
          </p:nvSpPr>
          <p:spPr>
            <a:xfrm>
              <a:off x="822737" y="4753457"/>
              <a:ext cx="756507" cy="1303809"/>
            </a:xfrm>
            <a:prstGeom prst="rect">
              <a:avLst/>
            </a:prstGeom>
            <a:noFill/>
          </p:spPr>
          <p:txBody>
            <a:bodyPr wrap="square" lIns="27000" tIns="27000" rIns="27000" bIns="27000" rtlCol="0">
              <a:spAutoFit/>
            </a:bodyPr>
            <a:lstStyle/>
            <a:p>
              <a:pPr algn="ctr" defTabSz="685800">
                <a:buClrTx/>
              </a:pPr>
              <a:r>
                <a:rPr lang="en-US" sz="6000" kern="1200" dirty="0">
                  <a:solidFill>
                    <a:srgbClr val="8C8C8C"/>
                  </a:solidFill>
                  <a:ea typeface="+mn-ea"/>
                  <a:cs typeface="+mn-cs"/>
                </a:rPr>
                <a:t>3</a:t>
              </a:r>
            </a:p>
          </p:txBody>
        </p:sp>
      </p:grpSp>
      <p:sp>
        <p:nvSpPr>
          <p:cNvPr id="54" name="Rectangle 53"/>
          <p:cNvSpPr/>
          <p:nvPr/>
        </p:nvSpPr>
        <p:spPr>
          <a:xfrm>
            <a:off x="3430042" y="1327324"/>
            <a:ext cx="2670096" cy="692497"/>
          </a:xfrm>
          <a:prstGeom prst="rect">
            <a:avLst/>
          </a:prstGeom>
        </p:spPr>
        <p:txBody>
          <a:bodyPr wrap="square" lIns="0" tIns="0" rIns="0" bIns="0">
            <a:spAutoFit/>
          </a:bodyPr>
          <a:lstStyle/>
          <a:p>
            <a:pPr defTabSz="685800">
              <a:spcAft>
                <a:spcPts val="900"/>
              </a:spcAft>
              <a:buClrTx/>
            </a:pPr>
            <a:r>
              <a:rPr lang="en-US" sz="750" b="1" kern="1200" dirty="0">
                <a:solidFill>
                  <a:srgbClr val="FFFFFF"/>
                </a:solidFill>
                <a:ea typeface="+mn-ea"/>
                <a:cs typeface="+mn-cs"/>
              </a:rPr>
              <a:t>LOREM IPSUM DOLOR </a:t>
            </a:r>
          </a:p>
          <a:p>
            <a:pPr defTabSz="685800">
              <a:spcAft>
                <a:spcPts val="450"/>
              </a:spcAft>
              <a:buClrTx/>
            </a:pPr>
            <a:r>
              <a:rPr lang="en-US" sz="750" kern="1200" dirty="0">
                <a:solidFill>
                  <a:srgbClr val="FFFFFF"/>
                </a:solidFill>
                <a:ea typeface="+mn-ea"/>
                <a:cs typeface="+mn-cs"/>
              </a:rPr>
              <a:t>This is dummy text it is not here to be read. The is just text to show where you could insert text. This is dummy text it is not here to be read. This is dummy text it is not here to be read. The is just text to show where you could insert text. </a:t>
            </a:r>
          </a:p>
        </p:txBody>
      </p:sp>
      <p:sp>
        <p:nvSpPr>
          <p:cNvPr id="60" name="Rectangle 59"/>
          <p:cNvSpPr/>
          <p:nvPr/>
        </p:nvSpPr>
        <p:spPr>
          <a:xfrm>
            <a:off x="3239661" y="2507472"/>
            <a:ext cx="2670096" cy="692497"/>
          </a:xfrm>
          <a:prstGeom prst="rect">
            <a:avLst/>
          </a:prstGeom>
        </p:spPr>
        <p:txBody>
          <a:bodyPr wrap="square" lIns="0" tIns="0" rIns="0" bIns="0">
            <a:spAutoFit/>
          </a:bodyPr>
          <a:lstStyle/>
          <a:p>
            <a:pPr defTabSz="685800">
              <a:spcAft>
                <a:spcPts val="900"/>
              </a:spcAft>
              <a:buClrTx/>
            </a:pPr>
            <a:r>
              <a:rPr lang="en-US" sz="750" b="1" kern="1200" dirty="0">
                <a:solidFill>
                  <a:srgbClr val="FFFFFF"/>
                </a:solidFill>
                <a:ea typeface="+mn-ea"/>
                <a:cs typeface="+mn-cs"/>
              </a:rPr>
              <a:t>LOREM IPSUM DOLOR </a:t>
            </a:r>
          </a:p>
          <a:p>
            <a:pPr defTabSz="685800">
              <a:spcAft>
                <a:spcPts val="450"/>
              </a:spcAft>
              <a:buClrTx/>
            </a:pPr>
            <a:r>
              <a:rPr lang="en-US" sz="750" kern="1200" dirty="0">
                <a:solidFill>
                  <a:srgbClr val="FFFFFF"/>
                </a:solidFill>
                <a:ea typeface="+mn-ea"/>
                <a:cs typeface="+mn-cs"/>
              </a:rPr>
              <a:t>This is dummy text it is not here to be read. The is just text to show where you could insert text. This is dummy text it is not here to be read. This is dummy text it is not here to be read. The is just text to show where you could insert text. </a:t>
            </a:r>
          </a:p>
        </p:txBody>
      </p:sp>
      <p:sp>
        <p:nvSpPr>
          <p:cNvPr id="66" name="Rectangle 65"/>
          <p:cNvSpPr/>
          <p:nvPr/>
        </p:nvSpPr>
        <p:spPr>
          <a:xfrm>
            <a:off x="3066931" y="3678751"/>
            <a:ext cx="2670096" cy="692497"/>
          </a:xfrm>
          <a:prstGeom prst="rect">
            <a:avLst/>
          </a:prstGeom>
        </p:spPr>
        <p:txBody>
          <a:bodyPr wrap="square" lIns="0" tIns="0" rIns="0" bIns="0">
            <a:spAutoFit/>
          </a:bodyPr>
          <a:lstStyle/>
          <a:p>
            <a:pPr defTabSz="685800">
              <a:spcAft>
                <a:spcPts val="900"/>
              </a:spcAft>
              <a:buClrTx/>
            </a:pPr>
            <a:r>
              <a:rPr lang="en-US" sz="750" b="1" kern="1200" dirty="0">
                <a:solidFill>
                  <a:srgbClr val="FFFFFF"/>
                </a:solidFill>
                <a:ea typeface="+mn-ea"/>
                <a:cs typeface="+mn-cs"/>
              </a:rPr>
              <a:t>LOREM IPSUM DOLOR </a:t>
            </a:r>
          </a:p>
          <a:p>
            <a:pPr defTabSz="685800">
              <a:spcAft>
                <a:spcPts val="450"/>
              </a:spcAft>
              <a:buClrTx/>
            </a:pPr>
            <a:r>
              <a:rPr lang="en-US" sz="750" kern="1200" dirty="0">
                <a:solidFill>
                  <a:srgbClr val="FFFFFF"/>
                </a:solidFill>
                <a:ea typeface="+mn-ea"/>
                <a:cs typeface="+mn-cs"/>
              </a:rPr>
              <a:t>This is dummy text it is not here to be read. The is just text to show where you could insert text. This is dummy text it is not here to be read. This is dummy text it is not here to be read. The is just text to show where you could insert text. </a:t>
            </a:r>
          </a:p>
        </p:txBody>
      </p:sp>
      <p:pic>
        <p:nvPicPr>
          <p:cNvPr id="72"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47034" y="2781791"/>
            <a:ext cx="363530" cy="27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 name="Picture 7"/>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546027" y="3934301"/>
            <a:ext cx="303041" cy="27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4"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14950" y="1549167"/>
            <a:ext cx="391228" cy="27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10740018"/>
      </p:ext>
    </p:extLst>
  </p:cSld>
  <p:clrMapOvr>
    <a:masterClrMapping/>
  </p:clrMapOvr>
  <p:transition>
    <p:fade/>
  </p:transition>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Ranking elements</a:t>
            </a:r>
            <a:br>
              <a:rPr lang="en-US" altLang="ja-JP" dirty="0"/>
            </a:br>
            <a:r>
              <a:rPr lang="en-US" altLang="ja-JP" dirty="0">
                <a:solidFill>
                  <a:srgbClr val="575757"/>
                </a:solidFill>
              </a:rPr>
              <a:t>Numbered ribbons</a:t>
            </a: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 name="Rectangle 27"/>
          <p:cNvSpPr/>
          <p:nvPr/>
        </p:nvSpPr>
        <p:spPr>
          <a:xfrm>
            <a:off x="1438275" y="1461189"/>
            <a:ext cx="988457" cy="216110"/>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29" name="Rectangle 28"/>
          <p:cNvSpPr/>
          <p:nvPr/>
        </p:nvSpPr>
        <p:spPr>
          <a:xfrm>
            <a:off x="1438275" y="2146989"/>
            <a:ext cx="988457" cy="216110"/>
          </a:xfrm>
          <a:prstGeom prst="rect">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30" name="Rectangle 29"/>
          <p:cNvSpPr/>
          <p:nvPr/>
        </p:nvSpPr>
        <p:spPr>
          <a:xfrm>
            <a:off x="1438275" y="2821359"/>
            <a:ext cx="988457" cy="216110"/>
          </a:xfrm>
          <a:prstGeom prst="rect">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31" name="Rectangle 30"/>
          <p:cNvSpPr/>
          <p:nvPr/>
        </p:nvSpPr>
        <p:spPr>
          <a:xfrm>
            <a:off x="1438275" y="3507159"/>
            <a:ext cx="988457" cy="216110"/>
          </a:xfrm>
          <a:prstGeom prst="rect">
            <a:avLst/>
          </a:pr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32" name="Rectangle 31"/>
          <p:cNvSpPr/>
          <p:nvPr/>
        </p:nvSpPr>
        <p:spPr>
          <a:xfrm>
            <a:off x="1438275" y="4183911"/>
            <a:ext cx="988457" cy="216110"/>
          </a:xfrm>
          <a:prstGeom prst="rect">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34" name="Isosceles Triangle 33"/>
          <p:cNvSpPr/>
          <p:nvPr/>
        </p:nvSpPr>
        <p:spPr>
          <a:xfrm rot="16200000">
            <a:off x="2143007" y="2905720"/>
            <a:ext cx="184786" cy="382667"/>
          </a:xfrm>
          <a:prstGeom prst="triangle">
            <a:avLst/>
          </a:prstGeom>
          <a:solidFill>
            <a:srgbClr val="31313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35" name="Round Same Side Corner Rectangle 34"/>
          <p:cNvSpPr/>
          <p:nvPr/>
        </p:nvSpPr>
        <p:spPr>
          <a:xfrm rot="5400000">
            <a:off x="4366618" y="257295"/>
            <a:ext cx="504826" cy="5149931"/>
          </a:xfrm>
          <a:prstGeom prst="round2SameRect">
            <a:avLst>
              <a:gd name="adj1" fmla="val 50000"/>
              <a:gd name="adj2" fmla="val 0"/>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US" sz="1500" kern="1200" dirty="0" err="1">
              <a:solidFill>
                <a:prstClr val="white"/>
              </a:solidFill>
              <a:latin typeface="Arial"/>
            </a:endParaRPr>
          </a:p>
        </p:txBody>
      </p:sp>
      <p:sp>
        <p:nvSpPr>
          <p:cNvPr id="36" name="Isosceles Triangle 35"/>
          <p:cNvSpPr/>
          <p:nvPr/>
        </p:nvSpPr>
        <p:spPr>
          <a:xfrm rot="16200000">
            <a:off x="2132292" y="3580805"/>
            <a:ext cx="206217" cy="382667"/>
          </a:xfrm>
          <a:prstGeom prst="triangle">
            <a:avLst/>
          </a:prstGeom>
          <a:solidFill>
            <a:srgbClr val="3C8A2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37" name="Round Same Side Corner Rectangle 36"/>
          <p:cNvSpPr/>
          <p:nvPr/>
        </p:nvSpPr>
        <p:spPr>
          <a:xfrm rot="5400000">
            <a:off x="4366618" y="934046"/>
            <a:ext cx="504826" cy="5149931"/>
          </a:xfrm>
          <a:prstGeom prst="round2SameRect">
            <a:avLst>
              <a:gd name="adj1" fmla="val 50000"/>
              <a:gd name="adj2" fmla="val 0"/>
            </a:avLst>
          </a:prstGeom>
          <a:solidFill>
            <a:srgbClr val="81BC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US" sz="1500" kern="1200" dirty="0" err="1">
              <a:solidFill>
                <a:prstClr val="white"/>
              </a:solidFill>
              <a:latin typeface="Arial"/>
            </a:endParaRPr>
          </a:p>
        </p:txBody>
      </p:sp>
      <p:sp>
        <p:nvSpPr>
          <p:cNvPr id="38" name="Isosceles Triangle 37"/>
          <p:cNvSpPr/>
          <p:nvPr/>
        </p:nvSpPr>
        <p:spPr>
          <a:xfrm rot="16200000">
            <a:off x="2132289" y="4253987"/>
            <a:ext cx="206217" cy="382667"/>
          </a:xfrm>
          <a:prstGeom prst="triangle">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39" name="Round Same Side Corner Rectangle 38"/>
          <p:cNvSpPr/>
          <p:nvPr/>
        </p:nvSpPr>
        <p:spPr>
          <a:xfrm rot="5400000">
            <a:off x="4366618" y="1610797"/>
            <a:ext cx="504826" cy="5149931"/>
          </a:xfrm>
          <a:prstGeom prst="round2SameRect">
            <a:avLst>
              <a:gd name="adj1" fmla="val 50000"/>
              <a:gd name="adj2" fmla="val 0"/>
            </a:avLst>
          </a:prstGeom>
          <a:solidFill>
            <a:srgbClr val="8C8C8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US" sz="1500" kern="1200" dirty="0" err="1">
              <a:solidFill>
                <a:prstClr val="white"/>
              </a:solidFill>
              <a:latin typeface="Arial"/>
            </a:endParaRPr>
          </a:p>
        </p:txBody>
      </p:sp>
      <p:sp>
        <p:nvSpPr>
          <p:cNvPr id="48" name="Isosceles Triangle 47"/>
          <p:cNvSpPr/>
          <p:nvPr/>
        </p:nvSpPr>
        <p:spPr>
          <a:xfrm rot="16200000">
            <a:off x="2143008" y="2231350"/>
            <a:ext cx="184786" cy="382667"/>
          </a:xfrm>
          <a:prstGeom prst="triangle">
            <a:avLst/>
          </a:prstGeom>
          <a:solidFill>
            <a:srgbClr val="0079A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49" name="Round Same Side Corner Rectangle 48"/>
          <p:cNvSpPr/>
          <p:nvPr/>
        </p:nvSpPr>
        <p:spPr>
          <a:xfrm rot="5400000">
            <a:off x="4366618" y="-419457"/>
            <a:ext cx="504826" cy="5149931"/>
          </a:xfrm>
          <a:prstGeom prst="round2SameRect">
            <a:avLst>
              <a:gd name="adj1" fmla="val 50000"/>
              <a:gd name="adj2" fmla="val 0"/>
            </a:avLst>
          </a:prstGeom>
          <a:solidFill>
            <a:srgbClr val="00A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US" sz="1500" kern="1200" dirty="0" err="1">
              <a:solidFill>
                <a:prstClr val="white"/>
              </a:solidFill>
              <a:latin typeface="Arial"/>
            </a:endParaRPr>
          </a:p>
        </p:txBody>
      </p:sp>
      <p:sp>
        <p:nvSpPr>
          <p:cNvPr id="50" name="Isosceles Triangle 49"/>
          <p:cNvSpPr/>
          <p:nvPr/>
        </p:nvSpPr>
        <p:spPr>
          <a:xfrm rot="16200000">
            <a:off x="2143008" y="1545550"/>
            <a:ext cx="184786" cy="382667"/>
          </a:xfrm>
          <a:prstGeom prst="triangle">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51" name="Round Same Side Corner Rectangle 50"/>
          <p:cNvSpPr/>
          <p:nvPr/>
        </p:nvSpPr>
        <p:spPr>
          <a:xfrm rot="5400000">
            <a:off x="4366618" y="-1096208"/>
            <a:ext cx="504826" cy="5149931"/>
          </a:xfrm>
          <a:prstGeom prst="round2SameRect">
            <a:avLst>
              <a:gd name="adj1" fmla="val 50000"/>
              <a:gd name="adj2" fmla="val 0"/>
            </a:avLst>
          </a:prstGeom>
          <a:solidFill>
            <a:srgbClr val="DCDCD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US" sz="1500" kern="1200" dirty="0" err="1">
              <a:solidFill>
                <a:prstClr val="white"/>
              </a:solidFill>
              <a:latin typeface="Arial"/>
            </a:endParaRPr>
          </a:p>
        </p:txBody>
      </p:sp>
      <p:sp>
        <p:nvSpPr>
          <p:cNvPr id="55" name="TextBox 54"/>
          <p:cNvSpPr txBox="1"/>
          <p:nvPr/>
        </p:nvSpPr>
        <p:spPr>
          <a:xfrm>
            <a:off x="1482440" y="1254444"/>
            <a:ext cx="518271" cy="608525"/>
          </a:xfrm>
          <a:prstGeom prst="rect">
            <a:avLst/>
          </a:prstGeom>
          <a:noFill/>
        </p:spPr>
        <p:txBody>
          <a:bodyPr wrap="square" lIns="27000" tIns="27000" rIns="27000" bIns="27000" rtlCol="0">
            <a:spAutoFit/>
          </a:bodyPr>
          <a:lstStyle/>
          <a:p>
            <a:pPr algn="ctr" defTabSz="685800">
              <a:buClrTx/>
            </a:pPr>
            <a:r>
              <a:rPr lang="en-US" sz="3600" b="1" kern="1200" dirty="0">
                <a:solidFill>
                  <a:srgbClr val="FFFFFF"/>
                </a:solidFill>
                <a:ea typeface="+mn-ea"/>
                <a:cs typeface="+mn-cs"/>
              </a:rPr>
              <a:t>1</a:t>
            </a:r>
          </a:p>
        </p:txBody>
      </p:sp>
      <p:sp>
        <p:nvSpPr>
          <p:cNvPr id="56" name="TextBox 55"/>
          <p:cNvSpPr txBox="1"/>
          <p:nvPr/>
        </p:nvSpPr>
        <p:spPr>
          <a:xfrm>
            <a:off x="1482440" y="1950781"/>
            <a:ext cx="518271" cy="608525"/>
          </a:xfrm>
          <a:prstGeom prst="rect">
            <a:avLst/>
          </a:prstGeom>
          <a:noFill/>
        </p:spPr>
        <p:txBody>
          <a:bodyPr wrap="square" lIns="27000" tIns="27000" rIns="27000" bIns="27000" rtlCol="0">
            <a:spAutoFit/>
          </a:bodyPr>
          <a:lstStyle/>
          <a:p>
            <a:pPr algn="ctr" defTabSz="685800">
              <a:buClrTx/>
            </a:pPr>
            <a:r>
              <a:rPr lang="en-US" sz="3600" b="1" kern="1200" dirty="0">
                <a:solidFill>
                  <a:srgbClr val="FFFFFF"/>
                </a:solidFill>
                <a:ea typeface="+mn-ea"/>
                <a:cs typeface="+mn-cs"/>
              </a:rPr>
              <a:t>2</a:t>
            </a:r>
          </a:p>
        </p:txBody>
      </p:sp>
      <p:sp>
        <p:nvSpPr>
          <p:cNvPr id="57" name="TextBox 56"/>
          <p:cNvSpPr txBox="1"/>
          <p:nvPr/>
        </p:nvSpPr>
        <p:spPr>
          <a:xfrm>
            <a:off x="1482440" y="2625151"/>
            <a:ext cx="518271" cy="608525"/>
          </a:xfrm>
          <a:prstGeom prst="rect">
            <a:avLst/>
          </a:prstGeom>
          <a:noFill/>
        </p:spPr>
        <p:txBody>
          <a:bodyPr wrap="square" lIns="27000" tIns="27000" rIns="27000" bIns="27000" rtlCol="0">
            <a:spAutoFit/>
          </a:bodyPr>
          <a:lstStyle/>
          <a:p>
            <a:pPr algn="ctr" defTabSz="685800">
              <a:buClrTx/>
            </a:pPr>
            <a:r>
              <a:rPr lang="en-US" sz="3600" b="1" kern="1200" dirty="0">
                <a:solidFill>
                  <a:srgbClr val="FFFFFF"/>
                </a:solidFill>
                <a:ea typeface="+mn-ea"/>
                <a:cs typeface="+mn-cs"/>
              </a:rPr>
              <a:t>3</a:t>
            </a:r>
          </a:p>
        </p:txBody>
      </p:sp>
      <p:sp>
        <p:nvSpPr>
          <p:cNvPr id="58" name="TextBox 57"/>
          <p:cNvSpPr txBox="1"/>
          <p:nvPr/>
        </p:nvSpPr>
        <p:spPr>
          <a:xfrm>
            <a:off x="1482440" y="3310951"/>
            <a:ext cx="518271" cy="608525"/>
          </a:xfrm>
          <a:prstGeom prst="rect">
            <a:avLst/>
          </a:prstGeom>
          <a:noFill/>
        </p:spPr>
        <p:txBody>
          <a:bodyPr wrap="square" lIns="27000" tIns="27000" rIns="27000" bIns="27000" rtlCol="0">
            <a:spAutoFit/>
          </a:bodyPr>
          <a:lstStyle/>
          <a:p>
            <a:pPr algn="ctr" defTabSz="685800">
              <a:buClrTx/>
            </a:pPr>
            <a:r>
              <a:rPr lang="en-US" sz="3600" b="1" kern="1200" dirty="0">
                <a:solidFill>
                  <a:srgbClr val="FFFFFF"/>
                </a:solidFill>
                <a:ea typeface="+mn-ea"/>
                <a:cs typeface="+mn-cs"/>
              </a:rPr>
              <a:t>4</a:t>
            </a:r>
          </a:p>
        </p:txBody>
      </p:sp>
      <p:sp>
        <p:nvSpPr>
          <p:cNvPr id="59" name="TextBox 58"/>
          <p:cNvSpPr txBox="1"/>
          <p:nvPr/>
        </p:nvSpPr>
        <p:spPr>
          <a:xfrm>
            <a:off x="1482440" y="3984432"/>
            <a:ext cx="518271" cy="608525"/>
          </a:xfrm>
          <a:prstGeom prst="rect">
            <a:avLst/>
          </a:prstGeom>
          <a:noFill/>
        </p:spPr>
        <p:txBody>
          <a:bodyPr wrap="square" lIns="27000" tIns="27000" rIns="27000" bIns="27000" rtlCol="0">
            <a:spAutoFit/>
          </a:bodyPr>
          <a:lstStyle/>
          <a:p>
            <a:pPr algn="ctr" defTabSz="685800">
              <a:buClrTx/>
            </a:pPr>
            <a:r>
              <a:rPr lang="en-US" sz="3600" b="1" kern="1200" dirty="0">
                <a:solidFill>
                  <a:srgbClr val="FFFFFF"/>
                </a:solidFill>
                <a:ea typeface="+mn-ea"/>
                <a:cs typeface="+mn-cs"/>
              </a:rPr>
              <a:t>5</a:t>
            </a:r>
          </a:p>
        </p:txBody>
      </p:sp>
      <p:sp>
        <p:nvSpPr>
          <p:cNvPr id="61" name="Rectangle 60"/>
          <p:cNvSpPr/>
          <p:nvPr/>
        </p:nvSpPr>
        <p:spPr>
          <a:xfrm>
            <a:off x="2171224" y="1254158"/>
            <a:ext cx="4766786" cy="461665"/>
          </a:xfrm>
          <a:prstGeom prst="rect">
            <a:avLst/>
          </a:prstGeom>
        </p:spPr>
        <p:txBody>
          <a:bodyPr wrap="square" lIns="0" tIns="0" rIns="0" bIns="0">
            <a:spAutoFit/>
          </a:bodyPr>
          <a:lstStyle/>
          <a:p>
            <a:pPr defTabSz="685800">
              <a:buClrTx/>
            </a:pPr>
            <a:r>
              <a:rPr lang="en-US" sz="750" b="1" kern="1200" dirty="0">
                <a:solidFill>
                  <a:srgbClr val="313131"/>
                </a:solidFill>
                <a:ea typeface="+mn-ea"/>
                <a:cs typeface="+mn-cs"/>
              </a:rPr>
              <a:t>LOREM IPSUM DOLOR </a:t>
            </a:r>
          </a:p>
          <a:p>
            <a:pPr defTabSz="685800">
              <a:spcAft>
                <a:spcPts val="450"/>
              </a:spcAft>
              <a:buClrTx/>
            </a:pPr>
            <a:r>
              <a:rPr lang="en-US" sz="750" kern="1200" dirty="0">
                <a:solidFill>
                  <a:srgbClr val="313131"/>
                </a:solidFill>
                <a:ea typeface="+mn-ea"/>
                <a:cs typeface="+mn-cs"/>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62" name="Rectangle 61"/>
          <p:cNvSpPr/>
          <p:nvPr/>
        </p:nvSpPr>
        <p:spPr>
          <a:xfrm>
            <a:off x="2171224" y="1927332"/>
            <a:ext cx="4766786" cy="461665"/>
          </a:xfrm>
          <a:prstGeom prst="rect">
            <a:avLst/>
          </a:prstGeom>
        </p:spPr>
        <p:txBody>
          <a:bodyPr wrap="square" lIns="0" tIns="0" rIns="0" bIns="0">
            <a:spAutoFit/>
          </a:bodyPr>
          <a:lstStyle/>
          <a:p>
            <a:pPr defTabSz="685800">
              <a:buClrTx/>
            </a:pPr>
            <a:r>
              <a:rPr lang="en-US" sz="750" b="1" kern="1200" dirty="0">
                <a:solidFill>
                  <a:srgbClr val="FFFFFF"/>
                </a:solidFill>
                <a:ea typeface="+mn-ea"/>
                <a:cs typeface="+mn-cs"/>
              </a:rPr>
              <a:t>LOREM IPSUM DOLOR </a:t>
            </a:r>
          </a:p>
          <a:p>
            <a:pPr defTabSz="685800">
              <a:spcAft>
                <a:spcPts val="450"/>
              </a:spcAft>
              <a:buClrTx/>
            </a:pPr>
            <a:r>
              <a:rPr lang="en-US" sz="750" kern="1200" dirty="0">
                <a:solidFill>
                  <a:srgbClr val="FFFFFF"/>
                </a:solidFill>
                <a:ea typeface="+mn-ea"/>
                <a:cs typeface="+mn-cs"/>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a:t>
            </a:r>
          </a:p>
        </p:txBody>
      </p:sp>
      <p:sp>
        <p:nvSpPr>
          <p:cNvPr id="63" name="Rectangle 62"/>
          <p:cNvSpPr/>
          <p:nvPr/>
        </p:nvSpPr>
        <p:spPr>
          <a:xfrm>
            <a:off x="2171224" y="2598888"/>
            <a:ext cx="4766786" cy="461665"/>
          </a:xfrm>
          <a:prstGeom prst="rect">
            <a:avLst/>
          </a:prstGeom>
        </p:spPr>
        <p:txBody>
          <a:bodyPr wrap="square" lIns="0" tIns="0" rIns="0" bIns="0">
            <a:spAutoFit/>
          </a:bodyPr>
          <a:lstStyle/>
          <a:p>
            <a:pPr defTabSz="685800">
              <a:buClrTx/>
            </a:pPr>
            <a:r>
              <a:rPr lang="en-US" sz="750" b="1" kern="1200" dirty="0">
                <a:solidFill>
                  <a:srgbClr val="FFFFFF"/>
                </a:solidFill>
                <a:ea typeface="+mn-ea"/>
                <a:cs typeface="+mn-cs"/>
              </a:rPr>
              <a:t>LOREM IPSUM DOLOR </a:t>
            </a:r>
          </a:p>
          <a:p>
            <a:pPr defTabSz="685800">
              <a:spcAft>
                <a:spcPts val="450"/>
              </a:spcAft>
              <a:buClrTx/>
            </a:pPr>
            <a:r>
              <a:rPr lang="en-US" sz="750" kern="1200" dirty="0">
                <a:solidFill>
                  <a:srgbClr val="FFFFFF"/>
                </a:solidFill>
                <a:ea typeface="+mn-ea"/>
                <a:cs typeface="+mn-cs"/>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64" name="Rectangle 63"/>
          <p:cNvSpPr/>
          <p:nvPr/>
        </p:nvSpPr>
        <p:spPr>
          <a:xfrm>
            <a:off x="2171224" y="3286548"/>
            <a:ext cx="4766786" cy="461665"/>
          </a:xfrm>
          <a:prstGeom prst="rect">
            <a:avLst/>
          </a:prstGeom>
        </p:spPr>
        <p:txBody>
          <a:bodyPr wrap="square" lIns="0" tIns="0" rIns="0" bIns="0">
            <a:spAutoFit/>
          </a:bodyPr>
          <a:lstStyle/>
          <a:p>
            <a:pPr defTabSz="685800">
              <a:buClrTx/>
            </a:pPr>
            <a:r>
              <a:rPr lang="en-US" sz="750" b="1" kern="1200" dirty="0">
                <a:solidFill>
                  <a:srgbClr val="FFFFFF"/>
                </a:solidFill>
                <a:ea typeface="+mn-ea"/>
                <a:cs typeface="+mn-cs"/>
              </a:rPr>
              <a:t>LOREM IPSUM DOLOR </a:t>
            </a:r>
          </a:p>
          <a:p>
            <a:pPr defTabSz="685800">
              <a:spcAft>
                <a:spcPts val="450"/>
              </a:spcAft>
              <a:buClrTx/>
            </a:pPr>
            <a:r>
              <a:rPr lang="en-US" sz="750" kern="1200" dirty="0">
                <a:solidFill>
                  <a:srgbClr val="FFFFFF"/>
                </a:solidFill>
                <a:ea typeface="+mn-ea"/>
                <a:cs typeface="+mn-cs"/>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65" name="Rectangle 64"/>
          <p:cNvSpPr/>
          <p:nvPr/>
        </p:nvSpPr>
        <p:spPr>
          <a:xfrm>
            <a:off x="2171224" y="3959848"/>
            <a:ext cx="4766786" cy="461665"/>
          </a:xfrm>
          <a:prstGeom prst="rect">
            <a:avLst/>
          </a:prstGeom>
        </p:spPr>
        <p:txBody>
          <a:bodyPr wrap="square" lIns="0" tIns="0" rIns="0" bIns="0">
            <a:spAutoFit/>
          </a:bodyPr>
          <a:lstStyle/>
          <a:p>
            <a:pPr defTabSz="685800">
              <a:buClrTx/>
            </a:pPr>
            <a:r>
              <a:rPr lang="en-US" sz="750" b="1" kern="1200" dirty="0">
                <a:solidFill>
                  <a:prstClr val="white"/>
                </a:solidFill>
                <a:ea typeface="+mn-ea"/>
                <a:cs typeface="+mn-cs"/>
              </a:rPr>
              <a:t>LOREM IPSUM DOLOR </a:t>
            </a:r>
          </a:p>
          <a:p>
            <a:pPr defTabSz="685800">
              <a:spcAft>
                <a:spcPts val="450"/>
              </a:spcAft>
              <a:buClrTx/>
            </a:pPr>
            <a:r>
              <a:rPr lang="en-US" sz="750" kern="1200" dirty="0">
                <a:solidFill>
                  <a:prstClr val="white"/>
                </a:solidFill>
                <a:ea typeface="+mn-ea"/>
                <a:cs typeface="+mn-cs"/>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Tree>
    <p:extLst>
      <p:ext uri="{BB962C8B-B14F-4D97-AF65-F5344CB8AC3E}">
        <p14:creationId xmlns:p14="http://schemas.microsoft.com/office/powerpoint/2010/main" val="2479717727"/>
      </p:ext>
    </p:extLst>
  </p:cSld>
  <p:clrMapOvr>
    <a:masterClrMapping/>
  </p:clrMapOvr>
  <p:transition>
    <p:fade/>
  </p:transition>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Ranking elements</a:t>
            </a:r>
            <a:br>
              <a:rPr lang="en-US" altLang="ja-JP" dirty="0"/>
            </a:br>
            <a:r>
              <a:rPr lang="en-US" altLang="ja-JP" dirty="0">
                <a:solidFill>
                  <a:srgbClr val="575757"/>
                </a:solidFill>
              </a:rPr>
              <a:t>Twisted ribbons</a:t>
            </a: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3" name="Group 32"/>
          <p:cNvGrpSpPr/>
          <p:nvPr/>
        </p:nvGrpSpPr>
        <p:grpSpPr>
          <a:xfrm>
            <a:off x="1438275" y="1236756"/>
            <a:ext cx="3790711" cy="216110"/>
            <a:chOff x="393700" y="1649009"/>
            <a:chExt cx="5054281" cy="288146"/>
          </a:xfrm>
        </p:grpSpPr>
        <p:sp>
          <p:nvSpPr>
            <p:cNvPr id="40" name="Pentagon 9"/>
            <p:cNvSpPr/>
            <p:nvPr/>
          </p:nvSpPr>
          <p:spPr>
            <a:xfrm>
              <a:off x="393700" y="1649009"/>
              <a:ext cx="1998663" cy="288146"/>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BDD20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41" name="Pentagon 12"/>
            <p:cNvSpPr/>
            <p:nvPr/>
          </p:nvSpPr>
          <p:spPr>
            <a:xfrm flipH="1">
              <a:off x="2111387" y="1649009"/>
              <a:ext cx="3336594" cy="288146"/>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nvGrpSpPr>
          <p:cNvPr id="42" name="Group 41"/>
          <p:cNvGrpSpPr/>
          <p:nvPr/>
        </p:nvGrpSpPr>
        <p:grpSpPr>
          <a:xfrm>
            <a:off x="1438275" y="2005304"/>
            <a:ext cx="3790711" cy="216110"/>
            <a:chOff x="393700" y="2665009"/>
            <a:chExt cx="5054281" cy="288146"/>
          </a:xfrm>
        </p:grpSpPr>
        <p:sp>
          <p:nvSpPr>
            <p:cNvPr id="43" name="Pentagon 9"/>
            <p:cNvSpPr/>
            <p:nvPr/>
          </p:nvSpPr>
          <p:spPr>
            <a:xfrm>
              <a:off x="393700" y="2665009"/>
              <a:ext cx="1998663" cy="288146"/>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44" name="Pentagon 12"/>
            <p:cNvSpPr/>
            <p:nvPr/>
          </p:nvSpPr>
          <p:spPr>
            <a:xfrm flipH="1">
              <a:off x="2111387" y="2665009"/>
              <a:ext cx="3336594" cy="288146"/>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nvGrpSpPr>
          <p:cNvPr id="45" name="Group 44"/>
          <p:cNvGrpSpPr/>
          <p:nvPr/>
        </p:nvGrpSpPr>
        <p:grpSpPr>
          <a:xfrm>
            <a:off x="1438275" y="2773852"/>
            <a:ext cx="3790711" cy="216110"/>
            <a:chOff x="393700" y="3693709"/>
            <a:chExt cx="5054281" cy="288146"/>
          </a:xfrm>
        </p:grpSpPr>
        <p:sp>
          <p:nvSpPr>
            <p:cNvPr id="46" name="Pentagon 9"/>
            <p:cNvSpPr/>
            <p:nvPr/>
          </p:nvSpPr>
          <p:spPr>
            <a:xfrm>
              <a:off x="393700" y="3693709"/>
              <a:ext cx="1998663" cy="288146"/>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C7E9F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47" name="Pentagon 12"/>
            <p:cNvSpPr/>
            <p:nvPr/>
          </p:nvSpPr>
          <p:spPr>
            <a:xfrm flipH="1">
              <a:off x="2111387" y="3693709"/>
              <a:ext cx="3336594" cy="288146"/>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nvGrpSpPr>
          <p:cNvPr id="52" name="Group 51"/>
          <p:cNvGrpSpPr/>
          <p:nvPr/>
        </p:nvGrpSpPr>
        <p:grpSpPr>
          <a:xfrm>
            <a:off x="1438275" y="3542399"/>
            <a:ext cx="3790711" cy="216110"/>
            <a:chOff x="393700" y="4754159"/>
            <a:chExt cx="5054281" cy="288146"/>
          </a:xfrm>
        </p:grpSpPr>
        <p:sp>
          <p:nvSpPr>
            <p:cNvPr id="53" name="Pentagon 9"/>
            <p:cNvSpPr/>
            <p:nvPr/>
          </p:nvSpPr>
          <p:spPr>
            <a:xfrm>
              <a:off x="393700" y="4754159"/>
              <a:ext cx="1998663" cy="288146"/>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54" name="Pentagon 12"/>
            <p:cNvSpPr/>
            <p:nvPr/>
          </p:nvSpPr>
          <p:spPr>
            <a:xfrm flipH="1">
              <a:off x="2111387" y="4754159"/>
              <a:ext cx="3336594" cy="288146"/>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31313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nvGrpSpPr>
          <p:cNvPr id="60" name="Group 59"/>
          <p:cNvGrpSpPr/>
          <p:nvPr/>
        </p:nvGrpSpPr>
        <p:grpSpPr>
          <a:xfrm>
            <a:off x="1438275" y="4310948"/>
            <a:ext cx="3790711" cy="216110"/>
            <a:chOff x="393700" y="5747934"/>
            <a:chExt cx="5054281" cy="288146"/>
          </a:xfrm>
        </p:grpSpPr>
        <p:sp>
          <p:nvSpPr>
            <p:cNvPr id="66" name="Pentagon 9"/>
            <p:cNvSpPr/>
            <p:nvPr/>
          </p:nvSpPr>
          <p:spPr>
            <a:xfrm>
              <a:off x="393700" y="5747934"/>
              <a:ext cx="1998663" cy="288146"/>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67" name="Pentagon 12"/>
            <p:cNvSpPr/>
            <p:nvPr/>
          </p:nvSpPr>
          <p:spPr>
            <a:xfrm flipH="1">
              <a:off x="2111387" y="5747934"/>
              <a:ext cx="3336594" cy="288146"/>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sp>
        <p:nvSpPr>
          <p:cNvPr id="68" name="TextBox 67"/>
          <p:cNvSpPr txBox="1"/>
          <p:nvPr/>
        </p:nvSpPr>
        <p:spPr>
          <a:xfrm>
            <a:off x="1500188" y="1041798"/>
            <a:ext cx="473869" cy="423859"/>
          </a:xfrm>
          <a:prstGeom prst="rect">
            <a:avLst/>
          </a:prstGeom>
          <a:noFill/>
        </p:spPr>
        <p:txBody>
          <a:bodyPr wrap="square" lIns="27000" tIns="27000" rIns="27000" bIns="27000" rtlCol="0">
            <a:spAutoFit/>
          </a:bodyPr>
          <a:lstStyle/>
          <a:p>
            <a:pPr defTabSz="685800">
              <a:buClrTx/>
            </a:pPr>
            <a:r>
              <a:rPr lang="en-US" sz="2400" kern="1200" dirty="0">
                <a:solidFill>
                  <a:srgbClr val="FFFFFF"/>
                </a:solidFill>
                <a:ea typeface="+mn-ea"/>
                <a:cs typeface="+mn-cs"/>
              </a:rPr>
              <a:t>01</a:t>
            </a:r>
          </a:p>
        </p:txBody>
      </p:sp>
      <p:sp>
        <p:nvSpPr>
          <p:cNvPr id="69" name="TextBox 68"/>
          <p:cNvSpPr txBox="1"/>
          <p:nvPr/>
        </p:nvSpPr>
        <p:spPr>
          <a:xfrm>
            <a:off x="1500188" y="1388193"/>
            <a:ext cx="676275" cy="181485"/>
          </a:xfrm>
          <a:prstGeom prst="rect">
            <a:avLst/>
          </a:prstGeom>
          <a:noFill/>
        </p:spPr>
        <p:txBody>
          <a:bodyPr wrap="square" lIns="27000" tIns="27000" rIns="27000" bIns="27000" rtlCol="0">
            <a:spAutoFit/>
          </a:bodyPr>
          <a:lstStyle/>
          <a:p>
            <a:pPr defTabSz="685800">
              <a:buClrTx/>
            </a:pPr>
            <a:r>
              <a:rPr lang="en-US" sz="825" kern="1200" dirty="0">
                <a:solidFill>
                  <a:srgbClr val="FFFFFF"/>
                </a:solidFill>
                <a:ea typeface="+mn-ea"/>
                <a:cs typeface="+mn-cs"/>
              </a:rPr>
              <a:t>OPTIONS</a:t>
            </a:r>
          </a:p>
        </p:txBody>
      </p:sp>
      <p:sp>
        <p:nvSpPr>
          <p:cNvPr id="70" name="TextBox 69"/>
          <p:cNvSpPr txBox="1"/>
          <p:nvPr/>
        </p:nvSpPr>
        <p:spPr>
          <a:xfrm>
            <a:off x="1500188" y="1836754"/>
            <a:ext cx="473869" cy="423859"/>
          </a:xfrm>
          <a:prstGeom prst="rect">
            <a:avLst/>
          </a:prstGeom>
          <a:noFill/>
        </p:spPr>
        <p:txBody>
          <a:bodyPr wrap="square" lIns="27000" tIns="27000" rIns="27000" bIns="27000" rtlCol="0">
            <a:spAutoFit/>
          </a:bodyPr>
          <a:lstStyle/>
          <a:p>
            <a:pPr defTabSz="685800">
              <a:buClrTx/>
            </a:pPr>
            <a:r>
              <a:rPr lang="en-US" sz="2400" kern="1200" dirty="0">
                <a:solidFill>
                  <a:srgbClr val="FFFFFF"/>
                </a:solidFill>
                <a:ea typeface="+mn-ea"/>
                <a:cs typeface="+mn-cs"/>
              </a:rPr>
              <a:t>02</a:t>
            </a:r>
          </a:p>
        </p:txBody>
      </p:sp>
      <p:sp>
        <p:nvSpPr>
          <p:cNvPr id="71" name="TextBox 70"/>
          <p:cNvSpPr txBox="1"/>
          <p:nvPr/>
        </p:nvSpPr>
        <p:spPr>
          <a:xfrm>
            <a:off x="1500188" y="2183150"/>
            <a:ext cx="676275" cy="181485"/>
          </a:xfrm>
          <a:prstGeom prst="rect">
            <a:avLst/>
          </a:prstGeom>
          <a:noFill/>
        </p:spPr>
        <p:txBody>
          <a:bodyPr wrap="square" lIns="27000" tIns="27000" rIns="27000" bIns="27000" rtlCol="0">
            <a:spAutoFit/>
          </a:bodyPr>
          <a:lstStyle/>
          <a:p>
            <a:pPr defTabSz="685800">
              <a:buClrTx/>
            </a:pPr>
            <a:r>
              <a:rPr lang="en-US" sz="825" kern="1200" dirty="0">
                <a:solidFill>
                  <a:srgbClr val="FFFFFF"/>
                </a:solidFill>
                <a:ea typeface="+mn-ea"/>
                <a:cs typeface="+mn-cs"/>
              </a:rPr>
              <a:t>OPTIONS</a:t>
            </a:r>
          </a:p>
        </p:txBody>
      </p:sp>
      <p:sp>
        <p:nvSpPr>
          <p:cNvPr id="72" name="TextBox 71"/>
          <p:cNvSpPr txBox="1"/>
          <p:nvPr/>
        </p:nvSpPr>
        <p:spPr>
          <a:xfrm>
            <a:off x="1500188" y="2617804"/>
            <a:ext cx="473869" cy="423859"/>
          </a:xfrm>
          <a:prstGeom prst="rect">
            <a:avLst/>
          </a:prstGeom>
          <a:noFill/>
        </p:spPr>
        <p:txBody>
          <a:bodyPr wrap="square" lIns="27000" tIns="27000" rIns="27000" bIns="27000" rtlCol="0">
            <a:spAutoFit/>
          </a:bodyPr>
          <a:lstStyle/>
          <a:p>
            <a:pPr defTabSz="685800">
              <a:buClrTx/>
            </a:pPr>
            <a:r>
              <a:rPr lang="en-US" sz="2400" kern="1200" dirty="0">
                <a:solidFill>
                  <a:srgbClr val="FFFFFF"/>
                </a:solidFill>
                <a:ea typeface="+mn-ea"/>
                <a:cs typeface="+mn-cs"/>
              </a:rPr>
              <a:t>03</a:t>
            </a:r>
          </a:p>
        </p:txBody>
      </p:sp>
      <p:sp>
        <p:nvSpPr>
          <p:cNvPr id="73" name="TextBox 72"/>
          <p:cNvSpPr txBox="1"/>
          <p:nvPr/>
        </p:nvSpPr>
        <p:spPr>
          <a:xfrm>
            <a:off x="1500188" y="2964200"/>
            <a:ext cx="676275" cy="181485"/>
          </a:xfrm>
          <a:prstGeom prst="rect">
            <a:avLst/>
          </a:prstGeom>
          <a:noFill/>
        </p:spPr>
        <p:txBody>
          <a:bodyPr wrap="square" lIns="27000" tIns="27000" rIns="27000" bIns="27000" rtlCol="0">
            <a:spAutoFit/>
          </a:bodyPr>
          <a:lstStyle/>
          <a:p>
            <a:pPr defTabSz="685800">
              <a:buClrTx/>
            </a:pPr>
            <a:r>
              <a:rPr lang="en-US" sz="825" kern="1200" dirty="0">
                <a:solidFill>
                  <a:srgbClr val="FFFFFF"/>
                </a:solidFill>
                <a:ea typeface="+mn-ea"/>
                <a:cs typeface="+mn-cs"/>
              </a:rPr>
              <a:t>OPTIONS</a:t>
            </a:r>
          </a:p>
        </p:txBody>
      </p:sp>
      <p:sp>
        <p:nvSpPr>
          <p:cNvPr id="74" name="TextBox 73"/>
          <p:cNvSpPr txBox="1"/>
          <p:nvPr/>
        </p:nvSpPr>
        <p:spPr>
          <a:xfrm>
            <a:off x="1500188" y="3384567"/>
            <a:ext cx="473869" cy="423859"/>
          </a:xfrm>
          <a:prstGeom prst="rect">
            <a:avLst/>
          </a:prstGeom>
          <a:noFill/>
        </p:spPr>
        <p:txBody>
          <a:bodyPr wrap="square" lIns="27000" tIns="27000" rIns="27000" bIns="27000" rtlCol="0">
            <a:spAutoFit/>
          </a:bodyPr>
          <a:lstStyle/>
          <a:p>
            <a:pPr defTabSz="685800">
              <a:buClrTx/>
            </a:pPr>
            <a:r>
              <a:rPr lang="en-US" sz="2400" kern="1200" dirty="0">
                <a:solidFill>
                  <a:srgbClr val="FFFFFF"/>
                </a:solidFill>
                <a:ea typeface="+mn-ea"/>
                <a:cs typeface="+mn-cs"/>
              </a:rPr>
              <a:t>04</a:t>
            </a:r>
          </a:p>
        </p:txBody>
      </p:sp>
      <p:sp>
        <p:nvSpPr>
          <p:cNvPr id="75" name="TextBox 74"/>
          <p:cNvSpPr txBox="1"/>
          <p:nvPr/>
        </p:nvSpPr>
        <p:spPr>
          <a:xfrm>
            <a:off x="1500188" y="3730962"/>
            <a:ext cx="676275" cy="181485"/>
          </a:xfrm>
          <a:prstGeom prst="rect">
            <a:avLst/>
          </a:prstGeom>
          <a:noFill/>
        </p:spPr>
        <p:txBody>
          <a:bodyPr wrap="square" lIns="27000" tIns="27000" rIns="27000" bIns="27000" rtlCol="0">
            <a:spAutoFit/>
          </a:bodyPr>
          <a:lstStyle/>
          <a:p>
            <a:pPr defTabSz="685800">
              <a:buClrTx/>
            </a:pPr>
            <a:r>
              <a:rPr lang="en-US" sz="825" kern="1200" dirty="0">
                <a:solidFill>
                  <a:srgbClr val="FFFFFF"/>
                </a:solidFill>
                <a:ea typeface="+mn-ea"/>
                <a:cs typeface="+mn-cs"/>
              </a:rPr>
              <a:t>OPTIONS</a:t>
            </a:r>
          </a:p>
        </p:txBody>
      </p:sp>
      <p:sp>
        <p:nvSpPr>
          <p:cNvPr id="76" name="TextBox 75"/>
          <p:cNvSpPr txBox="1"/>
          <p:nvPr/>
        </p:nvSpPr>
        <p:spPr>
          <a:xfrm>
            <a:off x="1500188" y="4156092"/>
            <a:ext cx="473869" cy="423859"/>
          </a:xfrm>
          <a:prstGeom prst="rect">
            <a:avLst/>
          </a:prstGeom>
          <a:noFill/>
        </p:spPr>
        <p:txBody>
          <a:bodyPr wrap="square" lIns="27000" tIns="27000" rIns="27000" bIns="27000" rtlCol="0">
            <a:spAutoFit/>
          </a:bodyPr>
          <a:lstStyle/>
          <a:p>
            <a:pPr defTabSz="685800">
              <a:buClrTx/>
            </a:pPr>
            <a:r>
              <a:rPr lang="en-US" sz="2400" kern="1200" dirty="0">
                <a:solidFill>
                  <a:srgbClr val="FFFFFF"/>
                </a:solidFill>
                <a:ea typeface="+mn-ea"/>
                <a:cs typeface="+mn-cs"/>
              </a:rPr>
              <a:t>05</a:t>
            </a:r>
          </a:p>
        </p:txBody>
      </p:sp>
      <p:sp>
        <p:nvSpPr>
          <p:cNvPr id="77" name="TextBox 76"/>
          <p:cNvSpPr txBox="1"/>
          <p:nvPr/>
        </p:nvSpPr>
        <p:spPr>
          <a:xfrm>
            <a:off x="1500188" y="4502487"/>
            <a:ext cx="676275" cy="181485"/>
          </a:xfrm>
          <a:prstGeom prst="rect">
            <a:avLst/>
          </a:prstGeom>
          <a:noFill/>
        </p:spPr>
        <p:txBody>
          <a:bodyPr wrap="square" lIns="27000" tIns="27000" rIns="27000" bIns="27000" rtlCol="0">
            <a:spAutoFit/>
          </a:bodyPr>
          <a:lstStyle/>
          <a:p>
            <a:pPr defTabSz="685800">
              <a:buClrTx/>
            </a:pPr>
            <a:r>
              <a:rPr lang="en-US" sz="825" kern="1200" dirty="0">
                <a:solidFill>
                  <a:srgbClr val="FFFFFF"/>
                </a:solidFill>
                <a:ea typeface="+mn-ea"/>
                <a:cs typeface="+mn-cs"/>
              </a:rPr>
              <a:t>OPTIONS</a:t>
            </a:r>
          </a:p>
        </p:txBody>
      </p:sp>
      <p:sp>
        <p:nvSpPr>
          <p:cNvPr id="78" name="Half Frame 77"/>
          <p:cNvSpPr/>
          <p:nvPr/>
        </p:nvSpPr>
        <p:spPr>
          <a:xfrm rot="8142470">
            <a:off x="3206175" y="1236756"/>
            <a:ext cx="176213" cy="216110"/>
          </a:xfrm>
          <a:prstGeom prst="halfFrame">
            <a:avLst>
              <a:gd name="adj1" fmla="val 26576"/>
              <a:gd name="adj2" fmla="val 25856"/>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79" name="Rectangle 78"/>
          <p:cNvSpPr/>
          <p:nvPr/>
        </p:nvSpPr>
        <p:spPr>
          <a:xfrm>
            <a:off x="3517426" y="1122042"/>
            <a:ext cx="1459387" cy="461665"/>
          </a:xfrm>
          <a:prstGeom prst="rect">
            <a:avLst/>
          </a:prstGeom>
        </p:spPr>
        <p:txBody>
          <a:bodyPr wrap="square" lIns="0" tIns="0" rIns="0" bIns="0">
            <a:spAutoFit/>
          </a:bodyPr>
          <a:lstStyle/>
          <a:p>
            <a:pPr defTabSz="685800">
              <a:buClrTx/>
            </a:pPr>
            <a:r>
              <a:rPr lang="en-US" sz="750" kern="1200" dirty="0">
                <a:solidFill>
                  <a:srgbClr val="FFFFFF"/>
                </a:solidFill>
                <a:ea typeface="+mn-ea"/>
                <a:cs typeface="+mn-cs"/>
              </a:rPr>
              <a:t>This is dummy text it is not here to be read. The is just text to show where you could insert text. This is dummy text.</a:t>
            </a:r>
          </a:p>
        </p:txBody>
      </p:sp>
      <p:sp>
        <p:nvSpPr>
          <p:cNvPr id="80" name="Half Frame 79"/>
          <p:cNvSpPr/>
          <p:nvPr/>
        </p:nvSpPr>
        <p:spPr>
          <a:xfrm rot="8142470">
            <a:off x="3206175" y="2005305"/>
            <a:ext cx="176213" cy="216110"/>
          </a:xfrm>
          <a:prstGeom prst="halfFrame">
            <a:avLst>
              <a:gd name="adj1" fmla="val 26576"/>
              <a:gd name="adj2" fmla="val 25856"/>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81" name="Rectangle 80"/>
          <p:cNvSpPr/>
          <p:nvPr/>
        </p:nvSpPr>
        <p:spPr>
          <a:xfrm>
            <a:off x="3517426" y="1890591"/>
            <a:ext cx="1459387" cy="461665"/>
          </a:xfrm>
          <a:prstGeom prst="rect">
            <a:avLst/>
          </a:prstGeom>
        </p:spPr>
        <p:txBody>
          <a:bodyPr wrap="square" lIns="0" tIns="0" rIns="0" bIns="0">
            <a:spAutoFit/>
          </a:bodyPr>
          <a:lstStyle/>
          <a:p>
            <a:pPr defTabSz="685800">
              <a:buClrTx/>
            </a:pPr>
            <a:r>
              <a:rPr lang="en-US" sz="750" kern="1200" dirty="0">
                <a:solidFill>
                  <a:srgbClr val="FFFFFF"/>
                </a:solidFill>
                <a:ea typeface="+mn-ea"/>
                <a:cs typeface="+mn-cs"/>
              </a:rPr>
              <a:t>This is dummy text it is not here to be read. The is just text to show where you could insert text. This is dummy text.</a:t>
            </a:r>
          </a:p>
        </p:txBody>
      </p:sp>
      <p:sp>
        <p:nvSpPr>
          <p:cNvPr id="82" name="Half Frame 81"/>
          <p:cNvSpPr/>
          <p:nvPr/>
        </p:nvSpPr>
        <p:spPr>
          <a:xfrm rot="8142470">
            <a:off x="3206175" y="2773853"/>
            <a:ext cx="176213" cy="216110"/>
          </a:xfrm>
          <a:prstGeom prst="halfFrame">
            <a:avLst>
              <a:gd name="adj1" fmla="val 26576"/>
              <a:gd name="adj2" fmla="val 25856"/>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83" name="Rectangle 82"/>
          <p:cNvSpPr/>
          <p:nvPr/>
        </p:nvSpPr>
        <p:spPr>
          <a:xfrm>
            <a:off x="3517426" y="2659140"/>
            <a:ext cx="1459387" cy="461665"/>
          </a:xfrm>
          <a:prstGeom prst="rect">
            <a:avLst/>
          </a:prstGeom>
        </p:spPr>
        <p:txBody>
          <a:bodyPr wrap="square" lIns="0" tIns="0" rIns="0" bIns="0">
            <a:spAutoFit/>
          </a:bodyPr>
          <a:lstStyle/>
          <a:p>
            <a:pPr defTabSz="685800">
              <a:buClrTx/>
            </a:pPr>
            <a:r>
              <a:rPr lang="en-US" sz="750" kern="1200" dirty="0">
                <a:solidFill>
                  <a:srgbClr val="FFFFFF"/>
                </a:solidFill>
                <a:ea typeface="+mn-ea"/>
                <a:cs typeface="+mn-cs"/>
              </a:rPr>
              <a:t>This is dummy text it is not here to be read. The is just text to show where you could insert text. This is dummy text.</a:t>
            </a:r>
          </a:p>
        </p:txBody>
      </p:sp>
      <p:sp>
        <p:nvSpPr>
          <p:cNvPr id="84" name="Half Frame 83"/>
          <p:cNvSpPr/>
          <p:nvPr/>
        </p:nvSpPr>
        <p:spPr>
          <a:xfrm rot="8142470">
            <a:off x="3206175" y="3542401"/>
            <a:ext cx="176213" cy="216110"/>
          </a:xfrm>
          <a:prstGeom prst="halfFrame">
            <a:avLst>
              <a:gd name="adj1" fmla="val 26576"/>
              <a:gd name="adj2" fmla="val 25856"/>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85" name="Rectangle 84"/>
          <p:cNvSpPr/>
          <p:nvPr/>
        </p:nvSpPr>
        <p:spPr>
          <a:xfrm>
            <a:off x="3517426" y="3427688"/>
            <a:ext cx="1459387" cy="461665"/>
          </a:xfrm>
          <a:prstGeom prst="rect">
            <a:avLst/>
          </a:prstGeom>
        </p:spPr>
        <p:txBody>
          <a:bodyPr wrap="square" lIns="0" tIns="0" rIns="0" bIns="0">
            <a:spAutoFit/>
          </a:bodyPr>
          <a:lstStyle/>
          <a:p>
            <a:pPr defTabSz="685800">
              <a:buClrTx/>
            </a:pPr>
            <a:r>
              <a:rPr lang="en-US" sz="750" kern="1200" dirty="0">
                <a:solidFill>
                  <a:srgbClr val="FFFFFF"/>
                </a:solidFill>
                <a:ea typeface="+mn-ea"/>
                <a:cs typeface="+mn-cs"/>
              </a:rPr>
              <a:t>This is dummy text it is not here to be read. The is just text to show where you could insert text. This is dummy text.</a:t>
            </a:r>
          </a:p>
        </p:txBody>
      </p:sp>
      <p:sp>
        <p:nvSpPr>
          <p:cNvPr id="86" name="Half Frame 85"/>
          <p:cNvSpPr/>
          <p:nvPr/>
        </p:nvSpPr>
        <p:spPr>
          <a:xfrm rot="8142470">
            <a:off x="3206175" y="4310950"/>
            <a:ext cx="176213" cy="216110"/>
          </a:xfrm>
          <a:prstGeom prst="halfFrame">
            <a:avLst>
              <a:gd name="adj1" fmla="val 26576"/>
              <a:gd name="adj2" fmla="val 25856"/>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87" name="Rectangle 86"/>
          <p:cNvSpPr/>
          <p:nvPr/>
        </p:nvSpPr>
        <p:spPr>
          <a:xfrm>
            <a:off x="3517426" y="4196237"/>
            <a:ext cx="1459387" cy="461665"/>
          </a:xfrm>
          <a:prstGeom prst="rect">
            <a:avLst/>
          </a:prstGeom>
        </p:spPr>
        <p:txBody>
          <a:bodyPr wrap="square" lIns="0" tIns="0" rIns="0" bIns="0">
            <a:spAutoFit/>
          </a:bodyPr>
          <a:lstStyle/>
          <a:p>
            <a:pPr defTabSz="685800">
              <a:buClrTx/>
            </a:pPr>
            <a:r>
              <a:rPr lang="en-US" sz="750" kern="1200" dirty="0">
                <a:solidFill>
                  <a:srgbClr val="FFFFFF"/>
                </a:solidFill>
                <a:ea typeface="+mn-ea"/>
                <a:cs typeface="+mn-cs"/>
              </a:rPr>
              <a:t>This is dummy text it is not here to be read. The is just text to show where you could insert text. This is dummy text.</a:t>
            </a:r>
          </a:p>
        </p:txBody>
      </p:sp>
    </p:spTree>
    <p:extLst>
      <p:ext uri="{BB962C8B-B14F-4D97-AF65-F5344CB8AC3E}">
        <p14:creationId xmlns:p14="http://schemas.microsoft.com/office/powerpoint/2010/main" val="335909137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143000" y="0"/>
          <a:ext cx="119063" cy="119063"/>
        </p:xfrm>
        <a:graphic>
          <a:graphicData uri="http://schemas.openxmlformats.org/presentationml/2006/ole">
            <mc:AlternateContent xmlns:mc="http://schemas.openxmlformats.org/markup-compatibility/2006">
              <mc:Choice xmlns:v="urn:schemas-microsoft-com:vml" Requires="v">
                <p:oleObj name="think-cell Slide" r:id="rId10" imgW="360" imgH="360" progId="">
                  <p:embed/>
                </p:oleObj>
              </mc:Choice>
              <mc:Fallback>
                <p:oleObj name="think-cell Slide" r:id="rId10" imgW="360" imgH="360" progId="">
                  <p:embed/>
                  <p:pic>
                    <p:nvPicPr>
                      <p:cNvPr id="2" name="Object 1"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43000" y="0"/>
                        <a:ext cx="119063"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87777" name="Title 17"/>
          <p:cNvSpPr>
            <a:spLocks noGrp="1"/>
          </p:cNvSpPr>
          <p:nvPr>
            <p:ph type="title"/>
            <p:custDataLst>
              <p:tags r:id="rId2"/>
            </p:custDataLst>
          </p:nvPr>
        </p:nvSpPr>
        <p:spPr/>
        <p:txBody>
          <a:bodyPr/>
          <a:lstStyle/>
          <a:p>
            <a:pPr>
              <a:lnSpc>
                <a:spcPct val="100000"/>
              </a:lnSpc>
            </a:pPr>
            <a:r>
              <a:rPr lang="en-US" dirty="0">
                <a:solidFill>
                  <a:srgbClr val="81BC00"/>
                </a:solidFill>
              </a:rPr>
              <a:t>Text boxes  </a:t>
            </a:r>
            <a:br>
              <a:rPr lang="en-US" dirty="0">
                <a:solidFill>
                  <a:srgbClr val="81BC00"/>
                </a:solidFill>
              </a:rPr>
            </a:br>
            <a:r>
              <a:rPr lang="en-US" dirty="0">
                <a:solidFill>
                  <a:srgbClr val="575757"/>
                </a:solidFill>
              </a:rPr>
              <a:t>Chevrons with text boxes</a:t>
            </a:r>
          </a:p>
        </p:txBody>
      </p:sp>
      <p:sp>
        <p:nvSpPr>
          <p:cNvPr id="10" name="AutoShape 3"/>
          <p:cNvSpPr>
            <a:spLocks noChangeArrowheads="1"/>
          </p:cNvSpPr>
          <p:nvPr>
            <p:custDataLst>
              <p:tags r:id="rId3"/>
            </p:custDataLst>
          </p:nvPr>
        </p:nvSpPr>
        <p:spPr bwMode="gray">
          <a:xfrm>
            <a:off x="1437085" y="1268730"/>
            <a:ext cx="1654969" cy="438150"/>
          </a:xfrm>
          <a:prstGeom prst="chevron">
            <a:avLst>
              <a:gd name="adj" fmla="val 34952"/>
            </a:avLst>
          </a:prstGeom>
          <a:solidFill>
            <a:srgbClr val="00A1DE"/>
          </a:solidFill>
          <a:ln w="12700" cap="rnd" algn="ctr">
            <a:noFill/>
            <a:miter lim="800000"/>
            <a:headEnd/>
            <a:tailEnd/>
          </a:ln>
        </p:spPr>
        <p:txBody>
          <a:bodyPr lIns="27000" tIns="27000" rIns="27000" bIns="27000" anchor="ctr" anchorCtr="1"/>
          <a:lstStyle/>
          <a:p>
            <a:pPr algn="ctr" defTabSz="685800">
              <a:lnSpc>
                <a:spcPct val="106000"/>
              </a:lnSpc>
              <a:buClrTx/>
              <a:defRPr/>
            </a:pPr>
            <a:r>
              <a:rPr lang="en-US" sz="1050" b="1" kern="1200" dirty="0">
                <a:solidFill>
                  <a:prstClr val="white"/>
                </a:solidFill>
                <a:ea typeface="+mn-ea"/>
                <a:cs typeface="+mn-cs"/>
              </a:rPr>
              <a:t>Text, Arial </a:t>
            </a:r>
            <a:br>
              <a:rPr lang="en-US" sz="1050" b="1" kern="1200" dirty="0">
                <a:solidFill>
                  <a:prstClr val="white"/>
                </a:solidFill>
                <a:ea typeface="+mn-ea"/>
                <a:cs typeface="+mn-cs"/>
              </a:rPr>
            </a:br>
            <a:r>
              <a:rPr lang="en-US" sz="1050" b="1" kern="1200" dirty="0">
                <a:solidFill>
                  <a:prstClr val="white"/>
                </a:solidFill>
                <a:ea typeface="+mn-ea"/>
                <a:cs typeface="+mn-cs"/>
              </a:rPr>
              <a:t>14-pt bold</a:t>
            </a:r>
          </a:p>
        </p:txBody>
      </p:sp>
      <p:sp>
        <p:nvSpPr>
          <p:cNvPr id="11" name="AutoShape 4"/>
          <p:cNvSpPr>
            <a:spLocks noChangeArrowheads="1"/>
          </p:cNvSpPr>
          <p:nvPr>
            <p:custDataLst>
              <p:tags r:id="rId4"/>
            </p:custDataLst>
          </p:nvPr>
        </p:nvSpPr>
        <p:spPr bwMode="gray">
          <a:xfrm>
            <a:off x="2977754" y="1268730"/>
            <a:ext cx="1654969" cy="438150"/>
          </a:xfrm>
          <a:prstGeom prst="chevron">
            <a:avLst>
              <a:gd name="adj" fmla="val 34975"/>
            </a:avLst>
          </a:prstGeom>
          <a:solidFill>
            <a:srgbClr val="B4B4B4"/>
          </a:solidFill>
          <a:ln w="12700" cap="rnd" algn="ctr">
            <a:solidFill>
              <a:schemeClr val="bg1"/>
            </a:solidFill>
            <a:miter lim="800000"/>
            <a:headEnd/>
            <a:tailEnd/>
          </a:ln>
        </p:spPr>
        <p:txBody>
          <a:bodyPr lIns="27000" tIns="27000" rIns="27000" bIns="27000" anchor="ctr" anchorCtr="1"/>
          <a:lstStyle/>
          <a:p>
            <a:pPr algn="ctr" defTabSz="685800">
              <a:lnSpc>
                <a:spcPct val="106000"/>
              </a:lnSpc>
              <a:buClrTx/>
              <a:defRPr/>
            </a:pPr>
            <a:r>
              <a:rPr lang="en-US" sz="1050" b="1" kern="1200" dirty="0">
                <a:solidFill>
                  <a:prstClr val="white"/>
                </a:solidFill>
                <a:ea typeface="+mn-ea"/>
                <a:cs typeface="+mn-cs"/>
              </a:rPr>
              <a:t>Text</a:t>
            </a:r>
          </a:p>
        </p:txBody>
      </p:sp>
      <p:sp>
        <p:nvSpPr>
          <p:cNvPr id="12" name="AutoShape 5"/>
          <p:cNvSpPr>
            <a:spLocks noChangeArrowheads="1"/>
          </p:cNvSpPr>
          <p:nvPr>
            <p:custDataLst>
              <p:tags r:id="rId5"/>
            </p:custDataLst>
          </p:nvPr>
        </p:nvSpPr>
        <p:spPr bwMode="gray">
          <a:xfrm>
            <a:off x="4513660" y="1268730"/>
            <a:ext cx="1654969" cy="438150"/>
          </a:xfrm>
          <a:prstGeom prst="chevron">
            <a:avLst>
              <a:gd name="adj" fmla="val 34975"/>
            </a:avLst>
          </a:prstGeom>
          <a:solidFill>
            <a:srgbClr val="B4B4B4"/>
          </a:solidFill>
          <a:ln w="12700" cap="rnd" algn="ctr">
            <a:solidFill>
              <a:schemeClr val="bg1"/>
            </a:solidFill>
            <a:miter lim="800000"/>
            <a:headEnd/>
            <a:tailEnd/>
          </a:ln>
        </p:spPr>
        <p:txBody>
          <a:bodyPr lIns="27000" tIns="27000" rIns="27000" bIns="27000" anchor="ctr" anchorCtr="1"/>
          <a:lstStyle/>
          <a:p>
            <a:pPr algn="ctr" defTabSz="685800">
              <a:lnSpc>
                <a:spcPct val="106000"/>
              </a:lnSpc>
              <a:buClrTx/>
              <a:defRPr/>
            </a:pPr>
            <a:r>
              <a:rPr lang="en-US" sz="1050" b="1" kern="1200" dirty="0">
                <a:solidFill>
                  <a:prstClr val="white"/>
                </a:solidFill>
                <a:ea typeface="+mn-ea"/>
                <a:cs typeface="+mn-cs"/>
              </a:rPr>
              <a:t>Text</a:t>
            </a:r>
          </a:p>
        </p:txBody>
      </p:sp>
      <p:sp>
        <p:nvSpPr>
          <p:cNvPr id="13" name="AutoShape 6"/>
          <p:cNvSpPr>
            <a:spLocks noChangeArrowheads="1"/>
          </p:cNvSpPr>
          <p:nvPr>
            <p:custDataLst>
              <p:tags r:id="rId6"/>
            </p:custDataLst>
          </p:nvPr>
        </p:nvSpPr>
        <p:spPr bwMode="gray">
          <a:xfrm>
            <a:off x="6048375" y="1268730"/>
            <a:ext cx="1654969" cy="438150"/>
          </a:xfrm>
          <a:prstGeom prst="chevron">
            <a:avLst>
              <a:gd name="adj" fmla="val 34975"/>
            </a:avLst>
          </a:prstGeom>
          <a:solidFill>
            <a:srgbClr val="B4B4B4"/>
          </a:solidFill>
          <a:ln w="12700" cap="rnd" algn="ctr">
            <a:solidFill>
              <a:schemeClr val="bg1"/>
            </a:solidFill>
            <a:miter lim="800000"/>
            <a:headEnd/>
            <a:tailEnd/>
          </a:ln>
        </p:spPr>
        <p:txBody>
          <a:bodyPr lIns="27000" tIns="27000" rIns="27000" bIns="27000" anchor="ctr" anchorCtr="1"/>
          <a:lstStyle/>
          <a:p>
            <a:pPr algn="ctr" defTabSz="685800">
              <a:lnSpc>
                <a:spcPct val="106000"/>
              </a:lnSpc>
              <a:buClrTx/>
              <a:defRPr/>
            </a:pPr>
            <a:r>
              <a:rPr lang="en-US" sz="1050" b="1" kern="1200" dirty="0">
                <a:solidFill>
                  <a:prstClr val="white"/>
                </a:solidFill>
                <a:ea typeface="+mn-ea"/>
                <a:cs typeface="+mn-cs"/>
              </a:rPr>
              <a:t>Text</a:t>
            </a:r>
          </a:p>
        </p:txBody>
      </p:sp>
      <p:sp>
        <p:nvSpPr>
          <p:cNvPr id="16" name="Text Placeholder 5"/>
          <p:cNvSpPr txBox="1">
            <a:spLocks/>
          </p:cNvSpPr>
          <p:nvPr/>
        </p:nvSpPr>
        <p:spPr>
          <a:xfrm>
            <a:off x="1437085" y="1820756"/>
            <a:ext cx="1468041" cy="877163"/>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defTabSz="717947">
              <a:spcBef>
                <a:spcPts val="450"/>
              </a:spcBef>
              <a:buClrTx/>
            </a:pPr>
            <a:r>
              <a:rPr lang="en-US" sz="825" dirty="0">
                <a:solidFill>
                  <a:srgbClr val="313131"/>
                </a:solidFill>
                <a:latin typeface="Arial"/>
              </a:rPr>
              <a:t>This is dummy text it is not here to be read</a:t>
            </a:r>
          </a:p>
          <a:p>
            <a:pPr marL="205740" lvl="1" indent="-205740" defTabSz="717947">
              <a:spcBef>
                <a:spcPts val="450"/>
              </a:spcBef>
              <a:buClrTx/>
            </a:pPr>
            <a:r>
              <a:rPr lang="en-GB" sz="825" dirty="0">
                <a:solidFill>
                  <a:srgbClr val="313131"/>
                </a:solidFill>
                <a:latin typeface="Arial"/>
              </a:rPr>
              <a:t>This is dummy text it is not here to be read</a:t>
            </a:r>
          </a:p>
          <a:p>
            <a:pPr marL="404622" lvl="2" indent="-198882" defTabSz="717947">
              <a:spcBef>
                <a:spcPts val="450"/>
              </a:spcBef>
              <a:buClrTx/>
            </a:pPr>
            <a:r>
              <a:rPr lang="en-US" sz="825" dirty="0">
                <a:solidFill>
                  <a:srgbClr val="313131"/>
                </a:solidFill>
                <a:latin typeface="Arial"/>
              </a:rPr>
              <a:t>This is dummy text it is not here to be read</a:t>
            </a:r>
          </a:p>
          <a:p>
            <a:pPr marL="270000" lvl="2" indent="-135000" defTabSz="717947">
              <a:spcBef>
                <a:spcPts val="300"/>
              </a:spcBef>
              <a:spcAft>
                <a:spcPts val="450"/>
              </a:spcAft>
              <a:buClrTx/>
            </a:pPr>
            <a:endParaRPr lang="en-US" sz="825" dirty="0">
              <a:solidFill>
                <a:srgbClr val="313131"/>
              </a:solidFill>
              <a:latin typeface="Arial"/>
            </a:endParaRPr>
          </a:p>
        </p:txBody>
      </p:sp>
      <p:sp>
        <p:nvSpPr>
          <p:cNvPr id="17" name="Text Placeholder 5"/>
          <p:cNvSpPr txBox="1">
            <a:spLocks/>
          </p:cNvSpPr>
          <p:nvPr/>
        </p:nvSpPr>
        <p:spPr>
          <a:xfrm>
            <a:off x="2977754" y="1820756"/>
            <a:ext cx="1468041" cy="877163"/>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defTabSz="717947">
              <a:spcBef>
                <a:spcPts val="450"/>
              </a:spcBef>
              <a:buClrTx/>
            </a:pPr>
            <a:r>
              <a:rPr lang="en-US" sz="825" dirty="0">
                <a:solidFill>
                  <a:srgbClr val="313131"/>
                </a:solidFill>
                <a:latin typeface="Arial"/>
              </a:rPr>
              <a:t>This is dummy text it is not here to be read</a:t>
            </a:r>
          </a:p>
          <a:p>
            <a:pPr marL="205740" lvl="1" indent="-205740" defTabSz="717947">
              <a:spcBef>
                <a:spcPts val="450"/>
              </a:spcBef>
              <a:buClrTx/>
            </a:pPr>
            <a:r>
              <a:rPr lang="en-GB" sz="825" dirty="0">
                <a:solidFill>
                  <a:srgbClr val="313131"/>
                </a:solidFill>
                <a:latin typeface="Arial"/>
              </a:rPr>
              <a:t>This is dummy text it is not here to be read</a:t>
            </a:r>
          </a:p>
          <a:p>
            <a:pPr marL="404622" lvl="2" indent="-198882" defTabSz="717947">
              <a:spcBef>
                <a:spcPts val="450"/>
              </a:spcBef>
              <a:buClrTx/>
            </a:pPr>
            <a:r>
              <a:rPr lang="en-US" sz="825" dirty="0">
                <a:solidFill>
                  <a:srgbClr val="313131"/>
                </a:solidFill>
                <a:latin typeface="Arial"/>
              </a:rPr>
              <a:t>This is dummy text it is not here to be read</a:t>
            </a:r>
          </a:p>
          <a:p>
            <a:pPr marL="270000" lvl="2" indent="-135000" defTabSz="717947">
              <a:spcBef>
                <a:spcPts val="0"/>
              </a:spcBef>
              <a:spcAft>
                <a:spcPts val="450"/>
              </a:spcAft>
              <a:buClrTx/>
            </a:pPr>
            <a:endParaRPr lang="en-US" sz="825" dirty="0">
              <a:solidFill>
                <a:srgbClr val="313131"/>
              </a:solidFill>
              <a:latin typeface="Arial"/>
            </a:endParaRPr>
          </a:p>
        </p:txBody>
      </p:sp>
      <p:sp>
        <p:nvSpPr>
          <p:cNvPr id="18" name="Text Placeholder 5"/>
          <p:cNvSpPr txBox="1">
            <a:spLocks/>
          </p:cNvSpPr>
          <p:nvPr/>
        </p:nvSpPr>
        <p:spPr>
          <a:xfrm>
            <a:off x="4513660" y="1820756"/>
            <a:ext cx="1468041" cy="877163"/>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defTabSz="717947">
              <a:spcBef>
                <a:spcPts val="450"/>
              </a:spcBef>
              <a:buClrTx/>
            </a:pPr>
            <a:r>
              <a:rPr lang="en-US" sz="825" dirty="0">
                <a:solidFill>
                  <a:srgbClr val="313131"/>
                </a:solidFill>
                <a:latin typeface="Arial"/>
              </a:rPr>
              <a:t>This is dummy text it is not here to be read</a:t>
            </a:r>
          </a:p>
          <a:p>
            <a:pPr marL="205740" lvl="1" indent="-205740" defTabSz="717947">
              <a:spcBef>
                <a:spcPts val="450"/>
              </a:spcBef>
              <a:buClrTx/>
            </a:pPr>
            <a:r>
              <a:rPr lang="en-GB" sz="825" dirty="0">
                <a:solidFill>
                  <a:srgbClr val="313131"/>
                </a:solidFill>
                <a:latin typeface="Arial"/>
              </a:rPr>
              <a:t>This is dummy text it is not here to be read</a:t>
            </a:r>
          </a:p>
          <a:p>
            <a:pPr marL="404622" lvl="2" indent="-198882" defTabSz="717947">
              <a:spcBef>
                <a:spcPts val="450"/>
              </a:spcBef>
              <a:buClrTx/>
            </a:pPr>
            <a:r>
              <a:rPr lang="en-US" sz="825" dirty="0">
                <a:solidFill>
                  <a:srgbClr val="313131"/>
                </a:solidFill>
                <a:latin typeface="Arial"/>
              </a:rPr>
              <a:t>This is dummy text it is not here to be read</a:t>
            </a:r>
          </a:p>
          <a:p>
            <a:pPr marL="270000" lvl="2" indent="-135000" defTabSz="717947">
              <a:spcBef>
                <a:spcPts val="0"/>
              </a:spcBef>
              <a:spcAft>
                <a:spcPts val="450"/>
              </a:spcAft>
              <a:buClrTx/>
            </a:pPr>
            <a:endParaRPr lang="en-US" sz="825" dirty="0">
              <a:solidFill>
                <a:srgbClr val="313131"/>
              </a:solidFill>
              <a:latin typeface="Arial"/>
            </a:endParaRPr>
          </a:p>
        </p:txBody>
      </p:sp>
      <p:sp>
        <p:nvSpPr>
          <p:cNvPr id="19" name="Text Placeholder 5"/>
          <p:cNvSpPr txBox="1">
            <a:spLocks/>
          </p:cNvSpPr>
          <p:nvPr>
            <p:custDataLst>
              <p:tags r:id="rId7"/>
            </p:custDataLst>
          </p:nvPr>
        </p:nvSpPr>
        <p:spPr>
          <a:xfrm>
            <a:off x="6048375" y="1820756"/>
            <a:ext cx="1468041" cy="877163"/>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defTabSz="717947">
              <a:spcBef>
                <a:spcPts val="450"/>
              </a:spcBef>
              <a:buClrTx/>
            </a:pPr>
            <a:r>
              <a:rPr lang="en-US" sz="825" dirty="0">
                <a:solidFill>
                  <a:srgbClr val="313131"/>
                </a:solidFill>
                <a:latin typeface="Arial"/>
              </a:rPr>
              <a:t>This is dummy text it is not here to be read</a:t>
            </a:r>
          </a:p>
          <a:p>
            <a:pPr marL="205740" lvl="1" indent="-205740" defTabSz="717947">
              <a:spcBef>
                <a:spcPts val="450"/>
              </a:spcBef>
              <a:buClrTx/>
            </a:pPr>
            <a:r>
              <a:rPr lang="en-GB" sz="825" dirty="0">
                <a:solidFill>
                  <a:srgbClr val="313131"/>
                </a:solidFill>
                <a:latin typeface="Arial"/>
              </a:rPr>
              <a:t>This is dummy text it is not here to be read</a:t>
            </a:r>
          </a:p>
          <a:p>
            <a:pPr marL="404622" lvl="2" indent="-198882" defTabSz="717947">
              <a:spcBef>
                <a:spcPts val="450"/>
              </a:spcBef>
              <a:buClrTx/>
            </a:pPr>
            <a:r>
              <a:rPr lang="en-US" sz="825" dirty="0">
                <a:solidFill>
                  <a:srgbClr val="313131"/>
                </a:solidFill>
                <a:latin typeface="Arial"/>
              </a:rPr>
              <a:t>This is dummy text it is not here to be read</a:t>
            </a:r>
          </a:p>
          <a:p>
            <a:pPr marL="270000" lvl="2" indent="-135000" defTabSz="717947">
              <a:spcBef>
                <a:spcPts val="0"/>
              </a:spcBef>
              <a:spcAft>
                <a:spcPts val="450"/>
              </a:spcAft>
              <a:buClrTx/>
            </a:pPr>
            <a:endParaRPr lang="en-US" sz="825" dirty="0">
              <a:solidFill>
                <a:srgbClr val="313131"/>
              </a:solidFill>
              <a:latin typeface="Arial"/>
            </a:endParaRPr>
          </a:p>
        </p:txBody>
      </p:sp>
    </p:spTree>
  </p:cSld>
  <p:clrMapOvr>
    <a:masterClrMapping/>
  </p:clrMapOvr>
  <p:transition>
    <p:fade/>
  </p:transition>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Ranking elements</a:t>
            </a:r>
            <a:br>
              <a:rPr lang="en-US" altLang="ja-JP" dirty="0"/>
            </a:br>
            <a:r>
              <a:rPr lang="en-US" altLang="ja-JP" dirty="0">
                <a:solidFill>
                  <a:srgbClr val="575757"/>
                </a:solidFill>
              </a:rPr>
              <a:t>Ribbons bouncing</a:t>
            </a: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8" name="Freeform 47"/>
          <p:cNvSpPr/>
          <p:nvPr/>
        </p:nvSpPr>
        <p:spPr>
          <a:xfrm>
            <a:off x="3422363" y="1993529"/>
            <a:ext cx="851535" cy="21611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49" name="Freeform 48"/>
          <p:cNvSpPr/>
          <p:nvPr/>
        </p:nvSpPr>
        <p:spPr>
          <a:xfrm>
            <a:off x="3340447" y="2245346"/>
            <a:ext cx="586502" cy="216110"/>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rgbClr val="00277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50" name="Freeform 49"/>
          <p:cNvSpPr/>
          <p:nvPr/>
        </p:nvSpPr>
        <p:spPr>
          <a:xfrm>
            <a:off x="2715847" y="2483946"/>
            <a:ext cx="851535" cy="21611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51" name="Freeform 50"/>
          <p:cNvSpPr/>
          <p:nvPr/>
        </p:nvSpPr>
        <p:spPr>
          <a:xfrm>
            <a:off x="2631787" y="2733266"/>
            <a:ext cx="586502" cy="216110"/>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rgbClr val="31313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55" name="Freeform 54"/>
          <p:cNvSpPr/>
          <p:nvPr/>
        </p:nvSpPr>
        <p:spPr>
          <a:xfrm>
            <a:off x="2001947" y="2970795"/>
            <a:ext cx="851535" cy="21611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rgbClr val="8C8C8C"/>
          </a:solidFill>
          <a:ln w="12700">
            <a:solidFill>
              <a:srgbClr val="8C8C8C"/>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56" name="Freeform 55"/>
          <p:cNvSpPr/>
          <p:nvPr/>
        </p:nvSpPr>
        <p:spPr>
          <a:xfrm>
            <a:off x="1143001" y="4445437"/>
            <a:ext cx="761789" cy="216110"/>
          </a:xfrm>
          <a:custGeom>
            <a:avLst/>
            <a:gdLst>
              <a:gd name="connsiteX0" fmla="*/ 0 w 3078480"/>
              <a:gd name="connsiteY0" fmla="*/ 381000 h 1981200"/>
              <a:gd name="connsiteX1" fmla="*/ 0 w 3078480"/>
              <a:gd name="connsiteY1" fmla="*/ 1981200 h 1981200"/>
              <a:gd name="connsiteX2" fmla="*/ 1691640 w 3078480"/>
              <a:gd name="connsiteY2" fmla="*/ 1981200 h 1981200"/>
              <a:gd name="connsiteX3" fmla="*/ 3078480 w 3078480"/>
              <a:gd name="connsiteY3" fmla="*/ 38100 h 1981200"/>
              <a:gd name="connsiteX4" fmla="*/ 2286000 w 3078480"/>
              <a:gd name="connsiteY4" fmla="*/ 0 h 1981200"/>
              <a:gd name="connsiteX5" fmla="*/ 0 w 3078480"/>
              <a:gd name="connsiteY5" fmla="*/ 381000 h 1981200"/>
              <a:gd name="connsiteX0" fmla="*/ 0 w 3078480"/>
              <a:gd name="connsiteY0" fmla="*/ 381000 h 1981200"/>
              <a:gd name="connsiteX1" fmla="*/ 0 w 3078480"/>
              <a:gd name="connsiteY1" fmla="*/ 1981200 h 1981200"/>
              <a:gd name="connsiteX2" fmla="*/ 1691640 w 3078480"/>
              <a:gd name="connsiteY2" fmla="*/ 1981200 h 1981200"/>
              <a:gd name="connsiteX3" fmla="*/ 3078480 w 3078480"/>
              <a:gd name="connsiteY3" fmla="*/ 38100 h 1981200"/>
              <a:gd name="connsiteX4" fmla="*/ 2286000 w 3078480"/>
              <a:gd name="connsiteY4" fmla="*/ 0 h 1981200"/>
              <a:gd name="connsiteX5" fmla="*/ 1664491 w 3078480"/>
              <a:gd name="connsiteY5" fmla="*/ 85090 h 1981200"/>
              <a:gd name="connsiteX6" fmla="*/ 0 w 3078480"/>
              <a:gd name="connsiteY6" fmla="*/ 381000 h 1981200"/>
              <a:gd name="connsiteX0" fmla="*/ 1664491 w 3078480"/>
              <a:gd name="connsiteY0" fmla="*/ 85090 h 1981200"/>
              <a:gd name="connsiteX1" fmla="*/ 0 w 3078480"/>
              <a:gd name="connsiteY1" fmla="*/ 1981200 h 1981200"/>
              <a:gd name="connsiteX2" fmla="*/ 1691640 w 3078480"/>
              <a:gd name="connsiteY2" fmla="*/ 1981200 h 1981200"/>
              <a:gd name="connsiteX3" fmla="*/ 3078480 w 3078480"/>
              <a:gd name="connsiteY3" fmla="*/ 38100 h 1981200"/>
              <a:gd name="connsiteX4" fmla="*/ 2286000 w 3078480"/>
              <a:gd name="connsiteY4" fmla="*/ 0 h 1981200"/>
              <a:gd name="connsiteX5" fmla="*/ 1664491 w 3078480"/>
              <a:gd name="connsiteY5" fmla="*/ 85090 h 1981200"/>
              <a:gd name="connsiteX0" fmla="*/ 0 w 1413989"/>
              <a:gd name="connsiteY0" fmla="*/ 85090 h 1981200"/>
              <a:gd name="connsiteX1" fmla="*/ 27149 w 1413989"/>
              <a:gd name="connsiteY1" fmla="*/ 1981200 h 1981200"/>
              <a:gd name="connsiteX2" fmla="*/ 1413989 w 1413989"/>
              <a:gd name="connsiteY2" fmla="*/ 38100 h 1981200"/>
              <a:gd name="connsiteX3" fmla="*/ 621509 w 1413989"/>
              <a:gd name="connsiteY3" fmla="*/ 0 h 1981200"/>
              <a:gd name="connsiteX4" fmla="*/ 0 w 1413989"/>
              <a:gd name="connsiteY4" fmla="*/ 85090 h 1981200"/>
              <a:gd name="connsiteX0" fmla="*/ 0 w 1394939"/>
              <a:gd name="connsiteY0" fmla="*/ 97790 h 1981200"/>
              <a:gd name="connsiteX1" fmla="*/ 8099 w 1394939"/>
              <a:gd name="connsiteY1" fmla="*/ 1981200 h 1981200"/>
              <a:gd name="connsiteX2" fmla="*/ 1394939 w 1394939"/>
              <a:gd name="connsiteY2" fmla="*/ 38100 h 1981200"/>
              <a:gd name="connsiteX3" fmla="*/ 602459 w 1394939"/>
              <a:gd name="connsiteY3" fmla="*/ 0 h 1981200"/>
              <a:gd name="connsiteX4" fmla="*/ 0 w 1394939"/>
              <a:gd name="connsiteY4" fmla="*/ 97790 h 1981200"/>
              <a:gd name="connsiteX0" fmla="*/ 0 w 1394939"/>
              <a:gd name="connsiteY0" fmla="*/ 97790 h 1993900"/>
              <a:gd name="connsiteX1" fmla="*/ 1749 w 1394939"/>
              <a:gd name="connsiteY1" fmla="*/ 1993900 h 1993900"/>
              <a:gd name="connsiteX2" fmla="*/ 1394939 w 1394939"/>
              <a:gd name="connsiteY2" fmla="*/ 38100 h 1993900"/>
              <a:gd name="connsiteX3" fmla="*/ 602459 w 1394939"/>
              <a:gd name="connsiteY3" fmla="*/ 0 h 1993900"/>
              <a:gd name="connsiteX4" fmla="*/ 0 w 1394939"/>
              <a:gd name="connsiteY4" fmla="*/ 97790 h 1993900"/>
              <a:gd name="connsiteX0" fmla="*/ 0 w 1394939"/>
              <a:gd name="connsiteY0" fmla="*/ 97790 h 1962150"/>
              <a:gd name="connsiteX1" fmla="*/ 8099 w 1394939"/>
              <a:gd name="connsiteY1" fmla="*/ 1962150 h 1962150"/>
              <a:gd name="connsiteX2" fmla="*/ 1394939 w 1394939"/>
              <a:gd name="connsiteY2" fmla="*/ 38100 h 1962150"/>
              <a:gd name="connsiteX3" fmla="*/ 602459 w 1394939"/>
              <a:gd name="connsiteY3" fmla="*/ 0 h 1962150"/>
              <a:gd name="connsiteX4" fmla="*/ 0 w 1394939"/>
              <a:gd name="connsiteY4" fmla="*/ 97790 h 1962150"/>
              <a:gd name="connsiteX0" fmla="*/ 0 w 1394939"/>
              <a:gd name="connsiteY0" fmla="*/ 97790 h 1974850"/>
              <a:gd name="connsiteX1" fmla="*/ 1749 w 1394939"/>
              <a:gd name="connsiteY1" fmla="*/ 1974850 h 1974850"/>
              <a:gd name="connsiteX2" fmla="*/ 1394939 w 1394939"/>
              <a:gd name="connsiteY2" fmla="*/ 38100 h 1974850"/>
              <a:gd name="connsiteX3" fmla="*/ 602459 w 1394939"/>
              <a:gd name="connsiteY3" fmla="*/ 0 h 1974850"/>
              <a:gd name="connsiteX4" fmla="*/ 0 w 1394939"/>
              <a:gd name="connsiteY4" fmla="*/ 97790 h 197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4939" h="1974850">
                <a:moveTo>
                  <a:pt x="0" y="97790"/>
                </a:moveTo>
                <a:cubicBezTo>
                  <a:pt x="2700" y="725593"/>
                  <a:pt x="-951" y="1347047"/>
                  <a:pt x="1749" y="1974850"/>
                </a:cubicBezTo>
                <a:lnTo>
                  <a:pt x="1394939" y="38100"/>
                </a:lnTo>
                <a:lnTo>
                  <a:pt x="602459" y="0"/>
                </a:lnTo>
                <a:lnTo>
                  <a:pt x="0" y="97790"/>
                </a:lnTo>
                <a:close/>
              </a:path>
            </a:pathLst>
          </a:cu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57" name="Freeform 56"/>
          <p:cNvSpPr/>
          <p:nvPr/>
        </p:nvSpPr>
        <p:spPr>
          <a:xfrm>
            <a:off x="1923841" y="3224398"/>
            <a:ext cx="586502" cy="216110"/>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58" name="Freeform 57"/>
          <p:cNvSpPr/>
          <p:nvPr/>
        </p:nvSpPr>
        <p:spPr>
          <a:xfrm>
            <a:off x="1300907" y="3430137"/>
            <a:ext cx="851535" cy="21611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790700">
                <a:moveTo>
                  <a:pt x="403860" y="0"/>
                </a:moveTo>
                <a:lnTo>
                  <a:pt x="403860" y="0"/>
                </a:lnTo>
                <a:lnTo>
                  <a:pt x="0" y="1744980"/>
                </a:lnTo>
                <a:lnTo>
                  <a:pt x="777240" y="1790700"/>
                </a:lnTo>
                <a:lnTo>
                  <a:pt x="1135380" y="15240"/>
                </a:lnTo>
                <a:lnTo>
                  <a:pt x="403860" y="0"/>
                </a:lnTo>
                <a:close/>
              </a:path>
            </a:pathLst>
          </a:cu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nvGrpSpPr>
          <p:cNvPr id="59" name="Group 58"/>
          <p:cNvGrpSpPr>
            <a:grpSpLocks noChangeAspect="1"/>
          </p:cNvGrpSpPr>
          <p:nvPr/>
        </p:nvGrpSpPr>
        <p:grpSpPr>
          <a:xfrm>
            <a:off x="3693216" y="1683542"/>
            <a:ext cx="347932" cy="303892"/>
            <a:chOff x="2751968" y="3378316"/>
            <a:chExt cx="365760" cy="319464"/>
          </a:xfrm>
        </p:grpSpPr>
        <p:sp>
          <p:nvSpPr>
            <p:cNvPr id="61" name="Oval 60"/>
            <p:cNvSpPr/>
            <p:nvPr/>
          </p:nvSpPr>
          <p:spPr>
            <a:xfrm>
              <a:off x="2751968" y="3378316"/>
              <a:ext cx="365760" cy="319464"/>
            </a:xfrm>
            <a:prstGeom prst="ellipse">
              <a:avLst/>
            </a:pr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62" name="Freeform 61"/>
            <p:cNvSpPr/>
            <p:nvPr/>
          </p:nvSpPr>
          <p:spPr>
            <a:xfrm rot="19236591">
              <a:off x="2809402" y="3414291"/>
              <a:ext cx="274320" cy="227184"/>
            </a:xfrm>
            <a:custGeom>
              <a:avLst/>
              <a:gdLst>
                <a:gd name="connsiteX0" fmla="*/ 869950 w 1073150"/>
                <a:gd name="connsiteY0" fmla="*/ 523875 h 1187450"/>
                <a:gd name="connsiteX1" fmla="*/ 796925 w 1073150"/>
                <a:gd name="connsiteY1" fmla="*/ 434975 h 1187450"/>
                <a:gd name="connsiteX2" fmla="*/ 749300 w 1073150"/>
                <a:gd name="connsiteY2" fmla="*/ 365125 h 1187450"/>
                <a:gd name="connsiteX3" fmla="*/ 666750 w 1073150"/>
                <a:gd name="connsiteY3" fmla="*/ 257175 h 1187450"/>
                <a:gd name="connsiteX4" fmla="*/ 615950 w 1073150"/>
                <a:gd name="connsiteY4" fmla="*/ 184150 h 1187450"/>
                <a:gd name="connsiteX5" fmla="*/ 504825 w 1073150"/>
                <a:gd name="connsiteY5" fmla="*/ 41275 h 1187450"/>
                <a:gd name="connsiteX6" fmla="*/ 428625 w 1073150"/>
                <a:gd name="connsiteY6" fmla="*/ 0 h 1187450"/>
                <a:gd name="connsiteX7" fmla="*/ 377825 w 1073150"/>
                <a:gd name="connsiteY7" fmla="*/ 3175 h 1187450"/>
                <a:gd name="connsiteX8" fmla="*/ 539750 w 1073150"/>
                <a:gd name="connsiteY8" fmla="*/ 384175 h 1187450"/>
                <a:gd name="connsiteX9" fmla="*/ 482600 w 1073150"/>
                <a:gd name="connsiteY9" fmla="*/ 542925 h 1187450"/>
                <a:gd name="connsiteX10" fmla="*/ 215900 w 1073150"/>
                <a:gd name="connsiteY10" fmla="*/ 552450 h 1187450"/>
                <a:gd name="connsiteX11" fmla="*/ 85725 w 1073150"/>
                <a:gd name="connsiteY11" fmla="*/ 393700 h 1187450"/>
                <a:gd name="connsiteX12" fmla="*/ 0 w 1073150"/>
                <a:gd name="connsiteY12" fmla="*/ 374650 h 1187450"/>
                <a:gd name="connsiteX13" fmla="*/ 53975 w 1073150"/>
                <a:gd name="connsiteY13" fmla="*/ 568325 h 1187450"/>
                <a:gd name="connsiteX14" fmla="*/ 50800 w 1073150"/>
                <a:gd name="connsiteY14" fmla="*/ 619125 h 1187450"/>
                <a:gd name="connsiteX15" fmla="*/ 9525 w 1073150"/>
                <a:gd name="connsiteY15" fmla="*/ 806450 h 1187450"/>
                <a:gd name="connsiteX16" fmla="*/ 88900 w 1073150"/>
                <a:gd name="connsiteY16" fmla="*/ 796925 h 1187450"/>
                <a:gd name="connsiteX17" fmla="*/ 212725 w 1073150"/>
                <a:gd name="connsiteY17" fmla="*/ 615950 h 1187450"/>
                <a:gd name="connsiteX18" fmla="*/ 460375 w 1073150"/>
                <a:gd name="connsiteY18" fmla="*/ 638175 h 1187450"/>
                <a:gd name="connsiteX19" fmla="*/ 536575 w 1073150"/>
                <a:gd name="connsiteY19" fmla="*/ 822325 h 1187450"/>
                <a:gd name="connsiteX20" fmla="*/ 390525 w 1073150"/>
                <a:gd name="connsiteY20" fmla="*/ 1187450 h 1187450"/>
                <a:gd name="connsiteX21" fmla="*/ 536575 w 1073150"/>
                <a:gd name="connsiteY21" fmla="*/ 1111250 h 1187450"/>
                <a:gd name="connsiteX22" fmla="*/ 612775 w 1073150"/>
                <a:gd name="connsiteY22" fmla="*/ 996950 h 1187450"/>
                <a:gd name="connsiteX23" fmla="*/ 663575 w 1073150"/>
                <a:gd name="connsiteY23" fmla="*/ 930275 h 1187450"/>
                <a:gd name="connsiteX24" fmla="*/ 746125 w 1073150"/>
                <a:gd name="connsiteY24" fmla="*/ 815975 h 1187450"/>
                <a:gd name="connsiteX25" fmla="*/ 803275 w 1073150"/>
                <a:gd name="connsiteY25" fmla="*/ 749300 h 1187450"/>
                <a:gd name="connsiteX26" fmla="*/ 869950 w 1073150"/>
                <a:gd name="connsiteY26" fmla="*/ 650875 h 1187450"/>
                <a:gd name="connsiteX27" fmla="*/ 1069975 w 1073150"/>
                <a:gd name="connsiteY27" fmla="*/ 641350 h 1187450"/>
                <a:gd name="connsiteX28" fmla="*/ 1073150 w 1073150"/>
                <a:gd name="connsiteY28" fmla="*/ 542925 h 1187450"/>
                <a:gd name="connsiteX29" fmla="*/ 869950 w 1073150"/>
                <a:gd name="connsiteY29" fmla="*/ 523875 h 1187450"/>
                <a:gd name="connsiteX0" fmla="*/ 869950 w 1174048"/>
                <a:gd name="connsiteY0" fmla="*/ 523875 h 1187450"/>
                <a:gd name="connsiteX1" fmla="*/ 796925 w 1174048"/>
                <a:gd name="connsiteY1" fmla="*/ 434975 h 1187450"/>
                <a:gd name="connsiteX2" fmla="*/ 749300 w 1174048"/>
                <a:gd name="connsiteY2" fmla="*/ 365125 h 1187450"/>
                <a:gd name="connsiteX3" fmla="*/ 666750 w 1174048"/>
                <a:gd name="connsiteY3" fmla="*/ 257175 h 1187450"/>
                <a:gd name="connsiteX4" fmla="*/ 615950 w 1174048"/>
                <a:gd name="connsiteY4" fmla="*/ 184150 h 1187450"/>
                <a:gd name="connsiteX5" fmla="*/ 504825 w 1174048"/>
                <a:gd name="connsiteY5" fmla="*/ 41275 h 1187450"/>
                <a:gd name="connsiteX6" fmla="*/ 428625 w 1174048"/>
                <a:gd name="connsiteY6" fmla="*/ 0 h 1187450"/>
                <a:gd name="connsiteX7" fmla="*/ 377825 w 1174048"/>
                <a:gd name="connsiteY7" fmla="*/ 3175 h 1187450"/>
                <a:gd name="connsiteX8" fmla="*/ 539750 w 1174048"/>
                <a:gd name="connsiteY8" fmla="*/ 384175 h 1187450"/>
                <a:gd name="connsiteX9" fmla="*/ 482600 w 1174048"/>
                <a:gd name="connsiteY9" fmla="*/ 542925 h 1187450"/>
                <a:gd name="connsiteX10" fmla="*/ 215900 w 1174048"/>
                <a:gd name="connsiteY10" fmla="*/ 552450 h 1187450"/>
                <a:gd name="connsiteX11" fmla="*/ 85725 w 1174048"/>
                <a:gd name="connsiteY11" fmla="*/ 393700 h 1187450"/>
                <a:gd name="connsiteX12" fmla="*/ 0 w 1174048"/>
                <a:gd name="connsiteY12" fmla="*/ 374650 h 1187450"/>
                <a:gd name="connsiteX13" fmla="*/ 53975 w 1174048"/>
                <a:gd name="connsiteY13" fmla="*/ 568325 h 1187450"/>
                <a:gd name="connsiteX14" fmla="*/ 50800 w 1174048"/>
                <a:gd name="connsiteY14" fmla="*/ 619125 h 1187450"/>
                <a:gd name="connsiteX15" fmla="*/ 9525 w 1174048"/>
                <a:gd name="connsiteY15" fmla="*/ 806450 h 1187450"/>
                <a:gd name="connsiteX16" fmla="*/ 88900 w 1174048"/>
                <a:gd name="connsiteY16" fmla="*/ 796925 h 1187450"/>
                <a:gd name="connsiteX17" fmla="*/ 212725 w 1174048"/>
                <a:gd name="connsiteY17" fmla="*/ 615950 h 1187450"/>
                <a:gd name="connsiteX18" fmla="*/ 460375 w 1174048"/>
                <a:gd name="connsiteY18" fmla="*/ 638175 h 1187450"/>
                <a:gd name="connsiteX19" fmla="*/ 536575 w 1174048"/>
                <a:gd name="connsiteY19" fmla="*/ 822325 h 1187450"/>
                <a:gd name="connsiteX20" fmla="*/ 390525 w 1174048"/>
                <a:gd name="connsiteY20" fmla="*/ 1187450 h 1187450"/>
                <a:gd name="connsiteX21" fmla="*/ 536575 w 1174048"/>
                <a:gd name="connsiteY21" fmla="*/ 1111250 h 1187450"/>
                <a:gd name="connsiteX22" fmla="*/ 612775 w 1174048"/>
                <a:gd name="connsiteY22" fmla="*/ 996950 h 1187450"/>
                <a:gd name="connsiteX23" fmla="*/ 663575 w 1174048"/>
                <a:gd name="connsiteY23" fmla="*/ 930275 h 1187450"/>
                <a:gd name="connsiteX24" fmla="*/ 746125 w 1174048"/>
                <a:gd name="connsiteY24" fmla="*/ 815975 h 1187450"/>
                <a:gd name="connsiteX25" fmla="*/ 803275 w 1174048"/>
                <a:gd name="connsiteY25" fmla="*/ 749300 h 1187450"/>
                <a:gd name="connsiteX26" fmla="*/ 869950 w 1174048"/>
                <a:gd name="connsiteY26" fmla="*/ 650875 h 1187450"/>
                <a:gd name="connsiteX27" fmla="*/ 1069975 w 1174048"/>
                <a:gd name="connsiteY27" fmla="*/ 641350 h 1187450"/>
                <a:gd name="connsiteX28" fmla="*/ 1073150 w 1174048"/>
                <a:gd name="connsiteY28" fmla="*/ 542925 h 1187450"/>
                <a:gd name="connsiteX29" fmla="*/ 869950 w 1174048"/>
                <a:gd name="connsiteY29" fmla="*/ 523875 h 1187450"/>
                <a:gd name="connsiteX0" fmla="*/ 869950 w 1203659"/>
                <a:gd name="connsiteY0" fmla="*/ 523875 h 1187450"/>
                <a:gd name="connsiteX1" fmla="*/ 796925 w 1203659"/>
                <a:gd name="connsiteY1" fmla="*/ 434975 h 1187450"/>
                <a:gd name="connsiteX2" fmla="*/ 749300 w 1203659"/>
                <a:gd name="connsiteY2" fmla="*/ 365125 h 1187450"/>
                <a:gd name="connsiteX3" fmla="*/ 666750 w 1203659"/>
                <a:gd name="connsiteY3" fmla="*/ 257175 h 1187450"/>
                <a:gd name="connsiteX4" fmla="*/ 615950 w 1203659"/>
                <a:gd name="connsiteY4" fmla="*/ 184150 h 1187450"/>
                <a:gd name="connsiteX5" fmla="*/ 504825 w 1203659"/>
                <a:gd name="connsiteY5" fmla="*/ 41275 h 1187450"/>
                <a:gd name="connsiteX6" fmla="*/ 428625 w 1203659"/>
                <a:gd name="connsiteY6" fmla="*/ 0 h 1187450"/>
                <a:gd name="connsiteX7" fmla="*/ 377825 w 1203659"/>
                <a:gd name="connsiteY7" fmla="*/ 3175 h 1187450"/>
                <a:gd name="connsiteX8" fmla="*/ 539750 w 1203659"/>
                <a:gd name="connsiteY8" fmla="*/ 384175 h 1187450"/>
                <a:gd name="connsiteX9" fmla="*/ 482600 w 1203659"/>
                <a:gd name="connsiteY9" fmla="*/ 542925 h 1187450"/>
                <a:gd name="connsiteX10" fmla="*/ 215900 w 1203659"/>
                <a:gd name="connsiteY10" fmla="*/ 552450 h 1187450"/>
                <a:gd name="connsiteX11" fmla="*/ 85725 w 1203659"/>
                <a:gd name="connsiteY11" fmla="*/ 393700 h 1187450"/>
                <a:gd name="connsiteX12" fmla="*/ 0 w 1203659"/>
                <a:gd name="connsiteY12" fmla="*/ 374650 h 1187450"/>
                <a:gd name="connsiteX13" fmla="*/ 53975 w 1203659"/>
                <a:gd name="connsiteY13" fmla="*/ 568325 h 1187450"/>
                <a:gd name="connsiteX14" fmla="*/ 50800 w 1203659"/>
                <a:gd name="connsiteY14" fmla="*/ 619125 h 1187450"/>
                <a:gd name="connsiteX15" fmla="*/ 9525 w 1203659"/>
                <a:gd name="connsiteY15" fmla="*/ 806450 h 1187450"/>
                <a:gd name="connsiteX16" fmla="*/ 88900 w 1203659"/>
                <a:gd name="connsiteY16" fmla="*/ 796925 h 1187450"/>
                <a:gd name="connsiteX17" fmla="*/ 212725 w 1203659"/>
                <a:gd name="connsiteY17" fmla="*/ 615950 h 1187450"/>
                <a:gd name="connsiteX18" fmla="*/ 460375 w 1203659"/>
                <a:gd name="connsiteY18" fmla="*/ 638175 h 1187450"/>
                <a:gd name="connsiteX19" fmla="*/ 536575 w 1203659"/>
                <a:gd name="connsiteY19" fmla="*/ 822325 h 1187450"/>
                <a:gd name="connsiteX20" fmla="*/ 390525 w 1203659"/>
                <a:gd name="connsiteY20" fmla="*/ 1187450 h 1187450"/>
                <a:gd name="connsiteX21" fmla="*/ 536575 w 1203659"/>
                <a:gd name="connsiteY21" fmla="*/ 1111250 h 1187450"/>
                <a:gd name="connsiteX22" fmla="*/ 612775 w 1203659"/>
                <a:gd name="connsiteY22" fmla="*/ 996950 h 1187450"/>
                <a:gd name="connsiteX23" fmla="*/ 663575 w 1203659"/>
                <a:gd name="connsiteY23" fmla="*/ 930275 h 1187450"/>
                <a:gd name="connsiteX24" fmla="*/ 746125 w 1203659"/>
                <a:gd name="connsiteY24" fmla="*/ 815975 h 1187450"/>
                <a:gd name="connsiteX25" fmla="*/ 803275 w 1203659"/>
                <a:gd name="connsiteY25" fmla="*/ 749300 h 1187450"/>
                <a:gd name="connsiteX26" fmla="*/ 869950 w 1203659"/>
                <a:gd name="connsiteY26" fmla="*/ 650875 h 1187450"/>
                <a:gd name="connsiteX27" fmla="*/ 1069975 w 1203659"/>
                <a:gd name="connsiteY27" fmla="*/ 641350 h 1187450"/>
                <a:gd name="connsiteX28" fmla="*/ 1073150 w 1203659"/>
                <a:gd name="connsiteY28" fmla="*/ 542925 h 1187450"/>
                <a:gd name="connsiteX29" fmla="*/ 869950 w 1203659"/>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5003" h="1187450">
                  <a:moveTo>
                    <a:pt x="869950" y="523875"/>
                  </a:moveTo>
                  <a:lnTo>
                    <a:pt x="796925" y="434975"/>
                  </a:lnTo>
                  <a:cubicBezTo>
                    <a:pt x="869950" y="383117"/>
                    <a:pt x="784225" y="353483"/>
                    <a:pt x="749300" y="365125"/>
                  </a:cubicBezTo>
                  <a:lnTo>
                    <a:pt x="666750" y="257175"/>
                  </a:lnTo>
                  <a:cubicBezTo>
                    <a:pt x="729192" y="201083"/>
                    <a:pt x="693208" y="183092"/>
                    <a:pt x="615950" y="184150"/>
                  </a:cubicBezTo>
                  <a:lnTo>
                    <a:pt x="504825" y="41275"/>
                  </a:lnTo>
                  <a:cubicBezTo>
                    <a:pt x="466725" y="5292"/>
                    <a:pt x="454025" y="13758"/>
                    <a:pt x="428625" y="0"/>
                  </a:cubicBezTo>
                  <a:lnTo>
                    <a:pt x="377825" y="3175"/>
                  </a:lnTo>
                  <a:lnTo>
                    <a:pt x="539750" y="384175"/>
                  </a:lnTo>
                  <a:cubicBezTo>
                    <a:pt x="552450" y="443442"/>
                    <a:pt x="622300" y="515408"/>
                    <a:pt x="482600" y="542925"/>
                  </a:cubicBezTo>
                  <a:lnTo>
                    <a:pt x="215900" y="552450"/>
                  </a:lnTo>
                  <a:lnTo>
                    <a:pt x="85725" y="393700"/>
                  </a:lnTo>
                  <a:lnTo>
                    <a:pt x="0" y="374650"/>
                  </a:lnTo>
                  <a:lnTo>
                    <a:pt x="53975" y="568325"/>
                  </a:lnTo>
                  <a:cubicBezTo>
                    <a:pt x="14817" y="582083"/>
                    <a:pt x="4233" y="599017"/>
                    <a:pt x="50800" y="619125"/>
                  </a:cubicBezTo>
                  <a:lnTo>
                    <a:pt x="9525" y="806450"/>
                  </a:lnTo>
                  <a:lnTo>
                    <a:pt x="88900" y="796925"/>
                  </a:lnTo>
                  <a:lnTo>
                    <a:pt x="215900" y="635000"/>
                  </a:lnTo>
                  <a:lnTo>
                    <a:pt x="460375" y="638175"/>
                  </a:lnTo>
                  <a:cubicBezTo>
                    <a:pt x="565150" y="670983"/>
                    <a:pt x="603250" y="646642"/>
                    <a:pt x="536575" y="822325"/>
                  </a:cubicBezTo>
                  <a:lnTo>
                    <a:pt x="390525" y="1187450"/>
                  </a:lnTo>
                  <a:cubicBezTo>
                    <a:pt x="439208" y="1162050"/>
                    <a:pt x="452967" y="1231900"/>
                    <a:pt x="536575" y="1111250"/>
                  </a:cubicBezTo>
                  <a:lnTo>
                    <a:pt x="612775" y="996950"/>
                  </a:lnTo>
                  <a:cubicBezTo>
                    <a:pt x="721783" y="1003300"/>
                    <a:pt x="710142" y="955675"/>
                    <a:pt x="663575" y="930275"/>
                  </a:cubicBezTo>
                  <a:lnTo>
                    <a:pt x="746125" y="815975"/>
                  </a:lnTo>
                  <a:cubicBezTo>
                    <a:pt x="838200" y="822325"/>
                    <a:pt x="841375" y="800100"/>
                    <a:pt x="803275" y="749300"/>
                  </a:cubicBezTo>
                  <a:lnTo>
                    <a:pt x="869950" y="650875"/>
                  </a:lnTo>
                  <a:cubicBezTo>
                    <a:pt x="936625" y="647700"/>
                    <a:pt x="987425" y="663575"/>
                    <a:pt x="1069975" y="641350"/>
                  </a:cubicBezTo>
                  <a:cubicBezTo>
                    <a:pt x="1305983" y="605367"/>
                    <a:pt x="1183217" y="569383"/>
                    <a:pt x="1073150" y="542925"/>
                  </a:cubicBezTo>
                  <a:cubicBezTo>
                    <a:pt x="992717" y="527050"/>
                    <a:pt x="909108" y="542925"/>
                    <a:pt x="869950" y="523875"/>
                  </a:cubicBezTo>
                  <a:close/>
                </a:path>
              </a:pathLst>
            </a:cu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pic>
        <p:nvPicPr>
          <p:cNvPr id="64" name="Picture 6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77267" y="2263306"/>
            <a:ext cx="328695" cy="328695"/>
          </a:xfrm>
          <a:prstGeom prst="rect">
            <a:avLst/>
          </a:prstGeom>
        </p:spPr>
      </p:pic>
      <p:grpSp>
        <p:nvGrpSpPr>
          <p:cNvPr id="88" name="Group 87"/>
          <p:cNvGrpSpPr>
            <a:grpSpLocks noChangeAspect="1"/>
          </p:cNvGrpSpPr>
          <p:nvPr/>
        </p:nvGrpSpPr>
        <p:grpSpPr>
          <a:xfrm>
            <a:off x="1984189" y="3868185"/>
            <a:ext cx="529913" cy="283121"/>
            <a:chOff x="5300347" y="3706673"/>
            <a:chExt cx="2780174" cy="1485382"/>
          </a:xfrm>
        </p:grpSpPr>
        <p:sp>
          <p:nvSpPr>
            <p:cNvPr id="89" name="Right Arrow 1"/>
            <p:cNvSpPr/>
            <p:nvPr/>
          </p:nvSpPr>
          <p:spPr>
            <a:xfrm>
              <a:off x="5300347" y="3706673"/>
              <a:ext cx="2780174" cy="1133811"/>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90" name="Right Arrow 1"/>
            <p:cNvSpPr/>
            <p:nvPr/>
          </p:nvSpPr>
          <p:spPr>
            <a:xfrm rot="10800000" flipH="1" flipV="1">
              <a:off x="7362888" y="4058243"/>
              <a:ext cx="712618" cy="1133812"/>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sp>
        <p:nvSpPr>
          <p:cNvPr id="91" name="Rectangle 90"/>
          <p:cNvSpPr/>
          <p:nvPr/>
        </p:nvSpPr>
        <p:spPr>
          <a:xfrm>
            <a:off x="2544132" y="3968236"/>
            <a:ext cx="1756462" cy="473206"/>
          </a:xfrm>
          <a:prstGeom prst="rect">
            <a:avLst/>
          </a:prstGeom>
        </p:spPr>
        <p:txBody>
          <a:bodyPr wrap="square" lIns="0" tIns="0" rIns="0" bIns="0">
            <a:spAutoFit/>
          </a:bodyPr>
          <a:lstStyle/>
          <a:p>
            <a:pPr defTabSz="685800">
              <a:spcAft>
                <a:spcPts val="450"/>
              </a:spcAft>
              <a:buClrTx/>
            </a:pPr>
            <a:r>
              <a:rPr lang="en-US" sz="825" b="1" kern="1200" dirty="0">
                <a:solidFill>
                  <a:srgbClr val="313131"/>
                </a:solidFill>
                <a:ea typeface="+mn-ea"/>
                <a:cs typeface="+mn-cs"/>
              </a:rPr>
              <a:t>LOREM IPSUM </a:t>
            </a:r>
            <a:br>
              <a:rPr lang="en-US" sz="825" b="1" kern="1200" dirty="0">
                <a:solidFill>
                  <a:srgbClr val="313131"/>
                </a:solidFill>
                <a:ea typeface="+mn-ea"/>
                <a:cs typeface="+mn-cs"/>
              </a:rPr>
            </a:br>
            <a:r>
              <a:rPr lang="en-US" sz="750" kern="1200" dirty="0">
                <a:solidFill>
                  <a:srgbClr val="313131"/>
                </a:solidFill>
                <a:ea typeface="+mn-ea"/>
                <a:cs typeface="+mn-cs"/>
              </a:rPr>
              <a:t>This is dummy text it is not here to be read. The is just text to show where you could insert text. This is dummy text. </a:t>
            </a:r>
          </a:p>
        </p:txBody>
      </p:sp>
      <p:sp>
        <p:nvSpPr>
          <p:cNvPr id="92" name="Rectangle 91"/>
          <p:cNvSpPr/>
          <p:nvPr/>
        </p:nvSpPr>
        <p:spPr>
          <a:xfrm>
            <a:off x="3259443" y="3410742"/>
            <a:ext cx="1851098" cy="473206"/>
          </a:xfrm>
          <a:prstGeom prst="rect">
            <a:avLst/>
          </a:prstGeom>
        </p:spPr>
        <p:txBody>
          <a:bodyPr wrap="square" lIns="0" tIns="0" rIns="0" bIns="0">
            <a:spAutoFit/>
          </a:bodyPr>
          <a:lstStyle/>
          <a:p>
            <a:pPr defTabSz="685800">
              <a:spcAft>
                <a:spcPts val="450"/>
              </a:spcAft>
              <a:buClrTx/>
            </a:pPr>
            <a:r>
              <a:rPr lang="en-US" sz="825" b="1" kern="1200" dirty="0">
                <a:solidFill>
                  <a:srgbClr val="313131"/>
                </a:solidFill>
                <a:ea typeface="+mn-ea"/>
                <a:cs typeface="+mn-cs"/>
              </a:rPr>
              <a:t>LOREM IPSUM </a:t>
            </a:r>
            <a:br>
              <a:rPr lang="en-US" sz="825" b="1" kern="1200" dirty="0">
                <a:solidFill>
                  <a:srgbClr val="313131"/>
                </a:solidFill>
                <a:ea typeface="+mn-ea"/>
                <a:cs typeface="+mn-cs"/>
              </a:rPr>
            </a:br>
            <a:r>
              <a:rPr lang="en-US" sz="750" kern="1200" dirty="0">
                <a:solidFill>
                  <a:srgbClr val="313131"/>
                </a:solidFill>
                <a:ea typeface="+mn-ea"/>
                <a:cs typeface="+mn-cs"/>
              </a:rPr>
              <a:t>This is dummy text it is not here to be read. The is just text to show where you could insert text. This is dummy text.</a:t>
            </a:r>
          </a:p>
        </p:txBody>
      </p:sp>
      <p:sp>
        <p:nvSpPr>
          <p:cNvPr id="93" name="Rectangle 92"/>
          <p:cNvSpPr/>
          <p:nvPr/>
        </p:nvSpPr>
        <p:spPr>
          <a:xfrm>
            <a:off x="3980528" y="2867173"/>
            <a:ext cx="1802045" cy="473206"/>
          </a:xfrm>
          <a:prstGeom prst="rect">
            <a:avLst/>
          </a:prstGeom>
        </p:spPr>
        <p:txBody>
          <a:bodyPr wrap="square" lIns="0" tIns="0" rIns="0" bIns="0">
            <a:spAutoFit/>
          </a:bodyPr>
          <a:lstStyle/>
          <a:p>
            <a:pPr defTabSz="685800">
              <a:spcAft>
                <a:spcPts val="450"/>
              </a:spcAft>
              <a:buClrTx/>
            </a:pPr>
            <a:r>
              <a:rPr lang="en-US" sz="825" b="1" kern="1200" dirty="0">
                <a:solidFill>
                  <a:srgbClr val="313131"/>
                </a:solidFill>
                <a:ea typeface="+mn-ea"/>
                <a:cs typeface="+mn-cs"/>
              </a:rPr>
              <a:t>LOREM IPSUM </a:t>
            </a:r>
            <a:br>
              <a:rPr lang="en-US" sz="825" b="1" kern="1200" dirty="0">
                <a:solidFill>
                  <a:srgbClr val="313131"/>
                </a:solidFill>
                <a:ea typeface="+mn-ea"/>
                <a:cs typeface="+mn-cs"/>
              </a:rPr>
            </a:br>
            <a:r>
              <a:rPr lang="en-US" sz="750" kern="1200" dirty="0">
                <a:solidFill>
                  <a:srgbClr val="313131"/>
                </a:solidFill>
                <a:ea typeface="+mn-ea"/>
                <a:cs typeface="+mn-cs"/>
              </a:rPr>
              <a:t>This is dummy text it is not here to be read. The is just text to show where you could insert text. </a:t>
            </a:r>
          </a:p>
        </p:txBody>
      </p:sp>
      <p:sp>
        <p:nvSpPr>
          <p:cNvPr id="94" name="Rectangle 93"/>
          <p:cNvSpPr/>
          <p:nvPr/>
        </p:nvSpPr>
        <p:spPr>
          <a:xfrm>
            <a:off x="4819238" y="2026702"/>
            <a:ext cx="1926669" cy="473206"/>
          </a:xfrm>
          <a:prstGeom prst="rect">
            <a:avLst/>
          </a:prstGeom>
        </p:spPr>
        <p:txBody>
          <a:bodyPr wrap="square" lIns="0" tIns="0" rIns="0" bIns="0">
            <a:spAutoFit/>
          </a:bodyPr>
          <a:lstStyle/>
          <a:p>
            <a:pPr defTabSz="685800">
              <a:spcAft>
                <a:spcPts val="450"/>
              </a:spcAft>
              <a:buClrTx/>
            </a:pPr>
            <a:r>
              <a:rPr lang="en-US" sz="825" b="1" kern="1200" dirty="0">
                <a:solidFill>
                  <a:srgbClr val="313131"/>
                </a:solidFill>
                <a:ea typeface="+mn-ea"/>
                <a:cs typeface="+mn-cs"/>
              </a:rPr>
              <a:t>LOREM IPSUM </a:t>
            </a:r>
            <a:br>
              <a:rPr lang="en-US" sz="825" b="1" kern="1200" dirty="0">
                <a:solidFill>
                  <a:srgbClr val="313131"/>
                </a:solidFill>
                <a:ea typeface="+mn-ea"/>
                <a:cs typeface="+mn-cs"/>
              </a:rPr>
            </a:br>
            <a:r>
              <a:rPr lang="en-US" sz="750" kern="1200" dirty="0">
                <a:solidFill>
                  <a:srgbClr val="313131"/>
                </a:solidFill>
                <a:ea typeface="+mn-ea"/>
                <a:cs typeface="+mn-cs"/>
              </a:rPr>
              <a:t>This is dummy text it is not here to be read. The is just text to show where you could insert text. This is dummy text.</a:t>
            </a:r>
          </a:p>
        </p:txBody>
      </p:sp>
      <p:grpSp>
        <p:nvGrpSpPr>
          <p:cNvPr id="95" name="Group 94"/>
          <p:cNvGrpSpPr>
            <a:grpSpLocks noChangeAspect="1"/>
          </p:cNvGrpSpPr>
          <p:nvPr/>
        </p:nvGrpSpPr>
        <p:grpSpPr>
          <a:xfrm>
            <a:off x="2660081" y="3361558"/>
            <a:ext cx="529913" cy="283121"/>
            <a:chOff x="5300347" y="3706673"/>
            <a:chExt cx="2780174" cy="1485382"/>
          </a:xfrm>
        </p:grpSpPr>
        <p:sp>
          <p:nvSpPr>
            <p:cNvPr id="96" name="Right Arrow 1"/>
            <p:cNvSpPr/>
            <p:nvPr/>
          </p:nvSpPr>
          <p:spPr>
            <a:xfrm>
              <a:off x="5300347" y="3706673"/>
              <a:ext cx="2780174" cy="1133811"/>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97" name="Right Arrow 1"/>
            <p:cNvSpPr/>
            <p:nvPr/>
          </p:nvSpPr>
          <p:spPr>
            <a:xfrm rot="10800000" flipH="1" flipV="1">
              <a:off x="7362888" y="4058243"/>
              <a:ext cx="712618" cy="1133812"/>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nvGrpSpPr>
          <p:cNvPr id="98" name="Group 97"/>
          <p:cNvGrpSpPr>
            <a:grpSpLocks noChangeAspect="1"/>
          </p:cNvGrpSpPr>
          <p:nvPr/>
        </p:nvGrpSpPr>
        <p:grpSpPr>
          <a:xfrm>
            <a:off x="3384612" y="2882144"/>
            <a:ext cx="529913" cy="283121"/>
            <a:chOff x="5300347" y="3706673"/>
            <a:chExt cx="2780174" cy="1485382"/>
          </a:xfrm>
        </p:grpSpPr>
        <p:sp>
          <p:nvSpPr>
            <p:cNvPr id="99" name="Right Arrow 1"/>
            <p:cNvSpPr/>
            <p:nvPr/>
          </p:nvSpPr>
          <p:spPr>
            <a:xfrm>
              <a:off x="5300347" y="3706673"/>
              <a:ext cx="2780174" cy="1133811"/>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100" name="Right Arrow 1"/>
            <p:cNvSpPr/>
            <p:nvPr/>
          </p:nvSpPr>
          <p:spPr>
            <a:xfrm rot="10800000" flipH="1" flipV="1">
              <a:off x="7362888" y="4058243"/>
              <a:ext cx="712618" cy="1133812"/>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nvGrpSpPr>
          <p:cNvPr id="101" name="Group 100"/>
          <p:cNvGrpSpPr>
            <a:grpSpLocks noChangeAspect="1"/>
          </p:cNvGrpSpPr>
          <p:nvPr/>
        </p:nvGrpSpPr>
        <p:grpSpPr>
          <a:xfrm>
            <a:off x="4198398" y="2008281"/>
            <a:ext cx="529913" cy="283121"/>
            <a:chOff x="5300347" y="3706673"/>
            <a:chExt cx="2780174" cy="1485382"/>
          </a:xfrm>
        </p:grpSpPr>
        <p:sp>
          <p:nvSpPr>
            <p:cNvPr id="102" name="Right Arrow 1"/>
            <p:cNvSpPr/>
            <p:nvPr/>
          </p:nvSpPr>
          <p:spPr>
            <a:xfrm>
              <a:off x="5300347" y="3706673"/>
              <a:ext cx="2780174" cy="1133811"/>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103" name="Right Arrow 1"/>
            <p:cNvSpPr/>
            <p:nvPr/>
          </p:nvSpPr>
          <p:spPr>
            <a:xfrm rot="10800000" flipH="1" flipV="1">
              <a:off x="7362888" y="4058243"/>
              <a:ext cx="712618" cy="1133812"/>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sp>
        <p:nvSpPr>
          <p:cNvPr id="104" name="TextBox 103"/>
          <p:cNvSpPr txBox="1"/>
          <p:nvPr/>
        </p:nvSpPr>
        <p:spPr>
          <a:xfrm>
            <a:off x="1611365" y="2407440"/>
            <a:ext cx="518271" cy="608525"/>
          </a:xfrm>
          <a:prstGeom prst="rect">
            <a:avLst/>
          </a:prstGeom>
          <a:noFill/>
        </p:spPr>
        <p:txBody>
          <a:bodyPr wrap="square" lIns="27000" tIns="27000" rIns="27000" bIns="27000" rtlCol="0">
            <a:spAutoFit/>
          </a:bodyPr>
          <a:lstStyle/>
          <a:p>
            <a:pPr algn="ctr" defTabSz="685800">
              <a:buClrTx/>
            </a:pPr>
            <a:r>
              <a:rPr lang="en-US" sz="3600" b="1" kern="1200" dirty="0">
                <a:solidFill>
                  <a:srgbClr val="B4B4B4"/>
                </a:solidFill>
                <a:ea typeface="+mn-ea"/>
                <a:cs typeface="+mn-cs"/>
              </a:rPr>
              <a:t>1</a:t>
            </a:r>
          </a:p>
        </p:txBody>
      </p:sp>
      <p:sp>
        <p:nvSpPr>
          <p:cNvPr id="105" name="TextBox 104"/>
          <p:cNvSpPr txBox="1"/>
          <p:nvPr/>
        </p:nvSpPr>
        <p:spPr>
          <a:xfrm>
            <a:off x="2297697" y="1913344"/>
            <a:ext cx="518271" cy="608525"/>
          </a:xfrm>
          <a:prstGeom prst="rect">
            <a:avLst/>
          </a:prstGeom>
          <a:noFill/>
        </p:spPr>
        <p:txBody>
          <a:bodyPr wrap="square" lIns="27000" tIns="27000" rIns="27000" bIns="27000" rtlCol="0">
            <a:spAutoFit/>
          </a:bodyPr>
          <a:lstStyle/>
          <a:p>
            <a:pPr algn="ctr" defTabSz="685800">
              <a:buClrTx/>
            </a:pPr>
            <a:r>
              <a:rPr lang="en-US" sz="3600" b="1" kern="1200" dirty="0">
                <a:solidFill>
                  <a:srgbClr val="8C8C8C"/>
                </a:solidFill>
                <a:ea typeface="+mn-ea"/>
                <a:cs typeface="+mn-cs"/>
              </a:rPr>
              <a:t>2</a:t>
            </a:r>
          </a:p>
        </p:txBody>
      </p:sp>
      <p:sp>
        <p:nvSpPr>
          <p:cNvPr id="106" name="TextBox 105"/>
          <p:cNvSpPr txBox="1"/>
          <p:nvPr/>
        </p:nvSpPr>
        <p:spPr>
          <a:xfrm>
            <a:off x="3044759" y="1426676"/>
            <a:ext cx="518271" cy="608525"/>
          </a:xfrm>
          <a:prstGeom prst="rect">
            <a:avLst/>
          </a:prstGeom>
          <a:noFill/>
        </p:spPr>
        <p:txBody>
          <a:bodyPr wrap="square" lIns="27000" tIns="27000" rIns="27000" bIns="27000" rtlCol="0">
            <a:spAutoFit/>
          </a:bodyPr>
          <a:lstStyle/>
          <a:p>
            <a:pPr algn="ctr" defTabSz="685800">
              <a:buClrTx/>
            </a:pPr>
            <a:r>
              <a:rPr lang="en-US" sz="3600" b="1" kern="1200" dirty="0">
                <a:solidFill>
                  <a:srgbClr val="00A1DE"/>
                </a:solidFill>
                <a:ea typeface="+mn-ea"/>
                <a:cs typeface="+mn-cs"/>
              </a:rPr>
              <a:t>3</a:t>
            </a:r>
          </a:p>
        </p:txBody>
      </p:sp>
      <p:sp>
        <p:nvSpPr>
          <p:cNvPr id="107" name="TextBox 106"/>
          <p:cNvSpPr txBox="1"/>
          <p:nvPr/>
        </p:nvSpPr>
        <p:spPr>
          <a:xfrm>
            <a:off x="3736577" y="937899"/>
            <a:ext cx="518271" cy="608525"/>
          </a:xfrm>
          <a:prstGeom prst="rect">
            <a:avLst/>
          </a:prstGeom>
          <a:noFill/>
        </p:spPr>
        <p:txBody>
          <a:bodyPr wrap="square" lIns="27000" tIns="27000" rIns="27000" bIns="27000" rtlCol="0">
            <a:spAutoFit/>
          </a:bodyPr>
          <a:lstStyle/>
          <a:p>
            <a:pPr algn="ctr" defTabSz="685800">
              <a:buClrTx/>
            </a:pPr>
            <a:r>
              <a:rPr lang="en-US" sz="3600" b="1" kern="1200" dirty="0">
                <a:solidFill>
                  <a:srgbClr val="72C7E7"/>
                </a:solidFill>
                <a:ea typeface="+mn-ea"/>
                <a:cs typeface="+mn-cs"/>
              </a:rPr>
              <a:t>4</a:t>
            </a:r>
          </a:p>
        </p:txBody>
      </p:sp>
      <p:grpSp>
        <p:nvGrpSpPr>
          <p:cNvPr id="143" name="Group 142"/>
          <p:cNvGrpSpPr/>
          <p:nvPr/>
        </p:nvGrpSpPr>
        <p:grpSpPr>
          <a:xfrm>
            <a:off x="1584769" y="3306866"/>
            <a:ext cx="298748" cy="303159"/>
            <a:chOff x="7775298" y="4300210"/>
            <a:chExt cx="340038" cy="345060"/>
          </a:xfrm>
        </p:grpSpPr>
        <p:pic>
          <p:nvPicPr>
            <p:cNvPr id="144" name="Picture 3" descr="C:\Users\kknight\Desktop\cog 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782024" y="4300210"/>
              <a:ext cx="231650" cy="226773"/>
            </a:xfrm>
            <a:prstGeom prst="rect">
              <a:avLst/>
            </a:prstGeom>
            <a:noFill/>
            <a:extLst>
              <a:ext uri="{909E8E84-426E-40DD-AFC4-6F175D3DCCD1}">
                <a14:hiddenFill xmlns:a14="http://schemas.microsoft.com/office/drawing/2010/main">
                  <a:solidFill>
                    <a:srgbClr val="FFFFFF"/>
                  </a:solidFill>
                </a14:hiddenFill>
              </a:ext>
            </a:extLst>
          </p:spPr>
        </p:pic>
        <p:pic>
          <p:nvPicPr>
            <p:cNvPr id="145" name="Picture 3" descr="C:\Users\kknight\Desktop\cog ico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775298" y="4529287"/>
              <a:ext cx="118477" cy="115983"/>
            </a:xfrm>
            <a:prstGeom prst="rect">
              <a:avLst/>
            </a:prstGeom>
            <a:noFill/>
            <a:extLst>
              <a:ext uri="{909E8E84-426E-40DD-AFC4-6F175D3DCCD1}">
                <a14:hiddenFill xmlns:a14="http://schemas.microsoft.com/office/drawing/2010/main">
                  <a:solidFill>
                    <a:srgbClr val="FFFFFF"/>
                  </a:solidFill>
                </a14:hiddenFill>
              </a:ext>
            </a:extLst>
          </p:spPr>
        </p:pic>
        <p:pic>
          <p:nvPicPr>
            <p:cNvPr id="146" name="Picture 3" descr="C:\Users\kknight\Desktop\cog ico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rot="767128">
              <a:off x="7899965" y="4509191"/>
              <a:ext cx="118477" cy="115983"/>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3" descr="C:\Users\kknight\Desktop\cog ico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996859" y="4435799"/>
              <a:ext cx="118477" cy="115983"/>
            </a:xfrm>
            <a:prstGeom prst="rect">
              <a:avLst/>
            </a:prstGeom>
            <a:noFill/>
            <a:extLst>
              <a:ext uri="{909E8E84-426E-40DD-AFC4-6F175D3DCCD1}">
                <a14:hiddenFill xmlns:a14="http://schemas.microsoft.com/office/drawing/2010/main">
                  <a:solidFill>
                    <a:srgbClr val="FFFFFF"/>
                  </a:solidFill>
                </a14:hiddenFill>
              </a:ext>
            </a:extLst>
          </p:spPr>
        </p:pic>
      </p:grpSp>
      <p:pic>
        <p:nvPicPr>
          <p:cNvPr id="148" name="Picture 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276194" y="2829456"/>
            <a:ext cx="303041" cy="27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79951930"/>
      </p:ext>
    </p:extLst>
  </p:cSld>
  <p:clrMapOvr>
    <a:masterClrMapping/>
  </p:clrMapOvr>
  <p:transition>
    <p:fade/>
  </p:transition>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Bends </a:t>
            </a:r>
            <a:br>
              <a:rPr lang="en-US" altLang="ja-JP" dirty="0"/>
            </a:br>
            <a:r>
              <a:rPr lang="en-US" altLang="ja-JP" dirty="0">
                <a:solidFill>
                  <a:srgbClr val="575757"/>
                </a:solidFill>
              </a:rPr>
              <a:t>Arrows with icons</a:t>
            </a: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3"/>
          <p:cNvGrpSpPr/>
          <p:nvPr/>
        </p:nvGrpSpPr>
        <p:grpSpPr>
          <a:xfrm>
            <a:off x="1362074" y="1268730"/>
            <a:ext cx="5770562" cy="3029544"/>
            <a:chOff x="292098" y="1628586"/>
            <a:chExt cx="7694083" cy="4039392"/>
          </a:xfrm>
        </p:grpSpPr>
        <p:grpSp>
          <p:nvGrpSpPr>
            <p:cNvPr id="40" name="Group 39"/>
            <p:cNvGrpSpPr/>
            <p:nvPr/>
          </p:nvGrpSpPr>
          <p:grpSpPr>
            <a:xfrm>
              <a:off x="292098" y="2120711"/>
              <a:ext cx="2366433" cy="3055935"/>
              <a:chOff x="292098" y="2092587"/>
              <a:chExt cx="2366433" cy="3055935"/>
            </a:xfrm>
          </p:grpSpPr>
          <p:sp>
            <p:nvSpPr>
              <p:cNvPr id="41" name="Pentagon 40"/>
              <p:cNvSpPr/>
              <p:nvPr/>
            </p:nvSpPr>
            <p:spPr>
              <a:xfrm flipH="1">
                <a:off x="292098" y="2092587"/>
                <a:ext cx="2366433" cy="1018645"/>
              </a:xfrm>
              <a:prstGeom prst="homePlate">
                <a:avLst/>
              </a:prstGeom>
              <a:solidFill>
                <a:srgbClr val="8C8C8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US" sz="1500" kern="1200" dirty="0" err="1">
                  <a:solidFill>
                    <a:prstClr val="white"/>
                  </a:solidFill>
                  <a:latin typeface="Arial"/>
                </a:endParaRPr>
              </a:p>
            </p:txBody>
          </p:sp>
          <p:sp>
            <p:nvSpPr>
              <p:cNvPr id="42" name="Pentagon 41"/>
              <p:cNvSpPr/>
              <p:nvPr/>
            </p:nvSpPr>
            <p:spPr>
              <a:xfrm flipH="1">
                <a:off x="292098" y="3111232"/>
                <a:ext cx="2366433" cy="1018645"/>
              </a:xfrm>
              <a:prstGeom prst="homePlat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US" sz="1500" kern="1200" dirty="0" err="1">
                  <a:solidFill>
                    <a:prstClr val="white"/>
                  </a:solidFill>
                  <a:latin typeface="Arial"/>
                </a:endParaRPr>
              </a:p>
            </p:txBody>
          </p:sp>
          <p:sp>
            <p:nvSpPr>
              <p:cNvPr id="43" name="Pentagon 42"/>
              <p:cNvSpPr/>
              <p:nvPr/>
            </p:nvSpPr>
            <p:spPr>
              <a:xfrm flipH="1">
                <a:off x="292098" y="4129877"/>
                <a:ext cx="2366433" cy="1018645"/>
              </a:xfrm>
              <a:prstGeom prst="homePlate">
                <a:avLst/>
              </a:prstGeom>
              <a:solidFill>
                <a:srgbClr val="0027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US" sz="1500" kern="1200" dirty="0" err="1">
                  <a:solidFill>
                    <a:prstClr val="white"/>
                  </a:solidFill>
                  <a:latin typeface="Arial"/>
                </a:endParaRPr>
              </a:p>
            </p:txBody>
          </p:sp>
        </p:grpSp>
        <p:grpSp>
          <p:nvGrpSpPr>
            <p:cNvPr id="44" name="Group 43"/>
            <p:cNvGrpSpPr/>
            <p:nvPr/>
          </p:nvGrpSpPr>
          <p:grpSpPr>
            <a:xfrm>
              <a:off x="2658533" y="1628586"/>
              <a:ext cx="660400" cy="4030659"/>
              <a:chOff x="2658532" y="1600462"/>
              <a:chExt cx="1696507" cy="4030659"/>
            </a:xfrm>
          </p:grpSpPr>
          <p:sp>
            <p:nvSpPr>
              <p:cNvPr id="45" name="Rectangle 8"/>
              <p:cNvSpPr/>
              <p:nvPr/>
            </p:nvSpPr>
            <p:spPr>
              <a:xfrm>
                <a:off x="2658532" y="2946132"/>
                <a:ext cx="1696507" cy="1352020"/>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165100 h 1183745"/>
                  <a:gd name="connsiteX1" fmla="*/ 1696507 w 1696507"/>
                  <a:gd name="connsiteY1" fmla="*/ 0 h 1183745"/>
                  <a:gd name="connsiteX2" fmla="*/ 1696507 w 1696507"/>
                  <a:gd name="connsiteY2" fmla="*/ 1183745 h 1183745"/>
                  <a:gd name="connsiteX3" fmla="*/ 0 w 1696507"/>
                  <a:gd name="connsiteY3" fmla="*/ 1183745 h 1183745"/>
                  <a:gd name="connsiteX4" fmla="*/ 0 w 1696507"/>
                  <a:gd name="connsiteY4" fmla="*/ 165100 h 1183745"/>
                  <a:gd name="connsiteX0" fmla="*/ 0 w 1696507"/>
                  <a:gd name="connsiteY0" fmla="*/ 165100 h 1352020"/>
                  <a:gd name="connsiteX1" fmla="*/ 1696507 w 1696507"/>
                  <a:gd name="connsiteY1" fmla="*/ 0 h 1352020"/>
                  <a:gd name="connsiteX2" fmla="*/ 1696507 w 1696507"/>
                  <a:gd name="connsiteY2" fmla="*/ 1352020 h 1352020"/>
                  <a:gd name="connsiteX3" fmla="*/ 0 w 1696507"/>
                  <a:gd name="connsiteY3" fmla="*/ 1183745 h 1352020"/>
                  <a:gd name="connsiteX4" fmla="*/ 0 w 1696507"/>
                  <a:gd name="connsiteY4" fmla="*/ 165100 h 1352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352020">
                    <a:moveTo>
                      <a:pt x="0" y="165100"/>
                    </a:moveTo>
                    <a:lnTo>
                      <a:pt x="1696507" y="0"/>
                    </a:lnTo>
                    <a:lnTo>
                      <a:pt x="1696507" y="1352020"/>
                    </a:lnTo>
                    <a:lnTo>
                      <a:pt x="0" y="1183745"/>
                    </a:lnTo>
                    <a:lnTo>
                      <a:pt x="0" y="165100"/>
                    </a:lnTo>
                    <a:close/>
                  </a:path>
                </a:pathLst>
              </a:custGeom>
              <a:solidFill>
                <a:srgbClr val="31313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US" sz="1500" kern="1200" dirty="0" err="1">
                  <a:solidFill>
                    <a:prstClr val="white"/>
                  </a:solidFill>
                  <a:latin typeface="Arial"/>
                </a:endParaRPr>
              </a:p>
            </p:txBody>
          </p:sp>
          <p:sp>
            <p:nvSpPr>
              <p:cNvPr id="46" name="Rectangle 9"/>
              <p:cNvSpPr/>
              <p:nvPr/>
            </p:nvSpPr>
            <p:spPr>
              <a:xfrm>
                <a:off x="2658532" y="1600462"/>
                <a:ext cx="1696507" cy="1510770"/>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482600 h 1501245"/>
                  <a:gd name="connsiteX1" fmla="*/ 1696507 w 1696507"/>
                  <a:gd name="connsiteY1" fmla="*/ 0 h 1501245"/>
                  <a:gd name="connsiteX2" fmla="*/ 1696507 w 1696507"/>
                  <a:gd name="connsiteY2" fmla="*/ 1501245 h 1501245"/>
                  <a:gd name="connsiteX3" fmla="*/ 0 w 1696507"/>
                  <a:gd name="connsiteY3" fmla="*/ 1501245 h 1501245"/>
                  <a:gd name="connsiteX4" fmla="*/ 0 w 1696507"/>
                  <a:gd name="connsiteY4" fmla="*/ 482600 h 1501245"/>
                  <a:gd name="connsiteX0" fmla="*/ 0 w 1696507"/>
                  <a:gd name="connsiteY0" fmla="*/ 482600 h 1501245"/>
                  <a:gd name="connsiteX1" fmla="*/ 1696507 w 1696507"/>
                  <a:gd name="connsiteY1" fmla="*/ 0 h 1501245"/>
                  <a:gd name="connsiteX2" fmla="*/ 1696507 w 1696507"/>
                  <a:gd name="connsiteY2" fmla="*/ 1332970 h 1501245"/>
                  <a:gd name="connsiteX3" fmla="*/ 0 w 1696507"/>
                  <a:gd name="connsiteY3" fmla="*/ 1501245 h 1501245"/>
                  <a:gd name="connsiteX4" fmla="*/ 0 w 1696507"/>
                  <a:gd name="connsiteY4" fmla="*/ 482600 h 1501245"/>
                  <a:gd name="connsiteX0" fmla="*/ 0 w 1696507"/>
                  <a:gd name="connsiteY0" fmla="*/ 482600 h 1501245"/>
                  <a:gd name="connsiteX1" fmla="*/ 1696507 w 1696507"/>
                  <a:gd name="connsiteY1" fmla="*/ 0 h 1501245"/>
                  <a:gd name="connsiteX2" fmla="*/ 1696507 w 1696507"/>
                  <a:gd name="connsiteY2" fmla="*/ 1332970 h 1501245"/>
                  <a:gd name="connsiteX3" fmla="*/ 0 w 1696507"/>
                  <a:gd name="connsiteY3" fmla="*/ 1501245 h 1501245"/>
                  <a:gd name="connsiteX4" fmla="*/ 0 w 1696507"/>
                  <a:gd name="connsiteY4" fmla="*/ 482600 h 1501245"/>
                  <a:gd name="connsiteX0" fmla="*/ 0 w 1696507"/>
                  <a:gd name="connsiteY0" fmla="*/ 492125 h 1510770"/>
                  <a:gd name="connsiteX1" fmla="*/ 1693332 w 1696507"/>
                  <a:gd name="connsiteY1" fmla="*/ 0 h 1510770"/>
                  <a:gd name="connsiteX2" fmla="*/ 1696507 w 1696507"/>
                  <a:gd name="connsiteY2" fmla="*/ 1342495 h 1510770"/>
                  <a:gd name="connsiteX3" fmla="*/ 0 w 1696507"/>
                  <a:gd name="connsiteY3" fmla="*/ 1510770 h 1510770"/>
                  <a:gd name="connsiteX4" fmla="*/ 0 w 1696507"/>
                  <a:gd name="connsiteY4" fmla="*/ 492125 h 15107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510770">
                    <a:moveTo>
                      <a:pt x="0" y="492125"/>
                    </a:moveTo>
                    <a:lnTo>
                      <a:pt x="1693332" y="0"/>
                    </a:lnTo>
                    <a:cubicBezTo>
                      <a:pt x="1694390" y="447498"/>
                      <a:pt x="1695449" y="894997"/>
                      <a:pt x="1696507" y="1342495"/>
                    </a:cubicBezTo>
                    <a:lnTo>
                      <a:pt x="0" y="1510770"/>
                    </a:lnTo>
                    <a:lnTo>
                      <a:pt x="0" y="492125"/>
                    </a:lnTo>
                    <a:close/>
                  </a:path>
                </a:pathLst>
              </a:cu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US" sz="1500" kern="1200" dirty="0" err="1">
                  <a:solidFill>
                    <a:prstClr val="white"/>
                  </a:solidFill>
                  <a:latin typeface="Arial"/>
                </a:endParaRPr>
              </a:p>
            </p:txBody>
          </p:sp>
          <p:sp>
            <p:nvSpPr>
              <p:cNvPr id="47" name="Rectangle 10"/>
              <p:cNvSpPr/>
              <p:nvPr/>
            </p:nvSpPr>
            <p:spPr>
              <a:xfrm>
                <a:off x="2658532" y="4129876"/>
                <a:ext cx="1696507" cy="1501245"/>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0 h 1018645"/>
                  <a:gd name="connsiteX1" fmla="*/ 1696507 w 1696507"/>
                  <a:gd name="connsiteY1" fmla="*/ 168275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0 h 1501245"/>
                  <a:gd name="connsiteX1" fmla="*/ 1696507 w 1696507"/>
                  <a:gd name="connsiteY1" fmla="*/ 168275 h 1501245"/>
                  <a:gd name="connsiteX2" fmla="*/ 1696507 w 1696507"/>
                  <a:gd name="connsiteY2" fmla="*/ 1501245 h 1501245"/>
                  <a:gd name="connsiteX3" fmla="*/ 0 w 1696507"/>
                  <a:gd name="connsiteY3" fmla="*/ 1018645 h 1501245"/>
                  <a:gd name="connsiteX4" fmla="*/ 0 w 1696507"/>
                  <a:gd name="connsiteY4" fmla="*/ 0 h 1501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501245">
                    <a:moveTo>
                      <a:pt x="0" y="0"/>
                    </a:moveTo>
                    <a:lnTo>
                      <a:pt x="1696507" y="168275"/>
                    </a:lnTo>
                    <a:lnTo>
                      <a:pt x="1696507" y="1501245"/>
                    </a:lnTo>
                    <a:lnTo>
                      <a:pt x="0" y="1018645"/>
                    </a:lnTo>
                    <a:lnTo>
                      <a:pt x="0" y="0"/>
                    </a:lnTo>
                    <a:close/>
                  </a:path>
                </a:pathLst>
              </a:custGeom>
              <a:solidFill>
                <a:srgbClr val="0027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US" sz="1500" kern="1200" dirty="0" err="1">
                  <a:solidFill>
                    <a:prstClr val="white"/>
                  </a:solidFill>
                  <a:latin typeface="Arial"/>
                </a:endParaRPr>
              </a:p>
            </p:txBody>
          </p:sp>
        </p:grpSp>
        <p:sp>
          <p:nvSpPr>
            <p:cNvPr id="53" name="Rectangle 52"/>
            <p:cNvSpPr/>
            <p:nvPr/>
          </p:nvSpPr>
          <p:spPr>
            <a:xfrm>
              <a:off x="1076123" y="2329247"/>
              <a:ext cx="1606464" cy="769441"/>
            </a:xfrm>
            <a:prstGeom prst="rect">
              <a:avLst/>
            </a:prstGeom>
          </p:spPr>
          <p:txBody>
            <a:bodyPr wrap="square" lIns="0" tIns="0" rIns="0" bIns="0">
              <a:spAutoFit/>
            </a:bodyPr>
            <a:lstStyle/>
            <a:p>
              <a:pPr defTabSz="685800">
                <a:spcAft>
                  <a:spcPts val="450"/>
                </a:spcAft>
                <a:buClrTx/>
              </a:pPr>
              <a:r>
                <a:rPr lang="en-US" sz="750" b="1" kern="1200" dirty="0">
                  <a:solidFill>
                    <a:prstClr val="white"/>
                  </a:solidFill>
                  <a:ea typeface="+mn-ea"/>
                  <a:cs typeface="+mn-cs"/>
                </a:rPr>
                <a:t>LOREM IPSUM </a:t>
              </a:r>
              <a:br>
                <a:rPr lang="en-US" sz="750" b="1" kern="1200" dirty="0">
                  <a:solidFill>
                    <a:prstClr val="white"/>
                  </a:solidFill>
                  <a:ea typeface="+mn-ea"/>
                  <a:cs typeface="+mn-cs"/>
                </a:rPr>
              </a:br>
              <a:r>
                <a:rPr lang="en-US" sz="750" kern="1200" dirty="0">
                  <a:solidFill>
                    <a:prstClr val="white"/>
                  </a:solidFill>
                  <a:ea typeface="+mn-ea"/>
                  <a:cs typeface="+mn-cs"/>
                </a:rPr>
                <a:t>This is dummy text it is not here to be read. The is just text to show where you could insert text</a:t>
              </a:r>
            </a:p>
          </p:txBody>
        </p:sp>
        <p:sp>
          <p:nvSpPr>
            <p:cNvPr id="87" name="Rectangle 86"/>
            <p:cNvSpPr/>
            <p:nvPr/>
          </p:nvSpPr>
          <p:spPr>
            <a:xfrm>
              <a:off x="1076123" y="3327101"/>
              <a:ext cx="1606464" cy="769441"/>
            </a:xfrm>
            <a:prstGeom prst="rect">
              <a:avLst/>
            </a:prstGeom>
          </p:spPr>
          <p:txBody>
            <a:bodyPr wrap="square" lIns="0" tIns="0" rIns="0" bIns="0">
              <a:spAutoFit/>
            </a:bodyPr>
            <a:lstStyle/>
            <a:p>
              <a:pPr defTabSz="685800">
                <a:spcAft>
                  <a:spcPts val="450"/>
                </a:spcAft>
                <a:buClrTx/>
              </a:pPr>
              <a:r>
                <a:rPr lang="en-US" sz="750" b="1" kern="1200" dirty="0">
                  <a:solidFill>
                    <a:prstClr val="white"/>
                  </a:solidFill>
                  <a:ea typeface="+mn-ea"/>
                  <a:cs typeface="+mn-cs"/>
                </a:rPr>
                <a:t>LOREM IPSUM </a:t>
              </a:r>
              <a:br>
                <a:rPr lang="en-US" sz="750" b="1" kern="1200" dirty="0">
                  <a:solidFill>
                    <a:prstClr val="white"/>
                  </a:solidFill>
                  <a:ea typeface="+mn-ea"/>
                  <a:cs typeface="+mn-cs"/>
                </a:rPr>
              </a:br>
              <a:r>
                <a:rPr lang="en-US" sz="750" kern="1200" dirty="0">
                  <a:solidFill>
                    <a:prstClr val="white"/>
                  </a:solidFill>
                  <a:ea typeface="+mn-ea"/>
                  <a:cs typeface="+mn-cs"/>
                </a:rPr>
                <a:t>This is dummy text it is not here to be read. The is just text to show where you could insert text. </a:t>
              </a:r>
            </a:p>
          </p:txBody>
        </p:sp>
        <p:sp>
          <p:nvSpPr>
            <p:cNvPr id="88" name="Rectangle 87"/>
            <p:cNvSpPr/>
            <p:nvPr/>
          </p:nvSpPr>
          <p:spPr>
            <a:xfrm>
              <a:off x="1076123" y="4326277"/>
              <a:ext cx="1606464" cy="769441"/>
            </a:xfrm>
            <a:prstGeom prst="rect">
              <a:avLst/>
            </a:prstGeom>
          </p:spPr>
          <p:txBody>
            <a:bodyPr wrap="square" lIns="0" tIns="0" rIns="0" bIns="0">
              <a:spAutoFit/>
            </a:bodyPr>
            <a:lstStyle/>
            <a:p>
              <a:pPr defTabSz="685800">
                <a:spcAft>
                  <a:spcPts val="450"/>
                </a:spcAft>
                <a:buClrTx/>
              </a:pPr>
              <a:r>
                <a:rPr lang="en-US" sz="750" b="1" kern="1200" dirty="0">
                  <a:solidFill>
                    <a:prstClr val="white"/>
                  </a:solidFill>
                  <a:ea typeface="+mn-ea"/>
                  <a:cs typeface="+mn-cs"/>
                </a:rPr>
                <a:t>LOREM IPSUM </a:t>
              </a:r>
              <a:br>
                <a:rPr lang="en-US" sz="750" b="1" kern="1200" dirty="0">
                  <a:solidFill>
                    <a:prstClr val="white"/>
                  </a:solidFill>
                  <a:ea typeface="+mn-ea"/>
                  <a:cs typeface="+mn-cs"/>
                </a:rPr>
              </a:br>
              <a:r>
                <a:rPr lang="en-US" sz="750" kern="1200" dirty="0">
                  <a:solidFill>
                    <a:prstClr val="white"/>
                  </a:solidFill>
                  <a:ea typeface="+mn-ea"/>
                  <a:cs typeface="+mn-cs"/>
                </a:rPr>
                <a:t>This is dummy text it is not here to be read. The is just text to show where you could insert text. </a:t>
              </a:r>
            </a:p>
          </p:txBody>
        </p:sp>
        <p:grpSp>
          <p:nvGrpSpPr>
            <p:cNvPr id="89" name="Group 88"/>
            <p:cNvGrpSpPr/>
            <p:nvPr/>
          </p:nvGrpSpPr>
          <p:grpSpPr>
            <a:xfrm>
              <a:off x="3318933" y="1629379"/>
              <a:ext cx="4667248" cy="4038599"/>
              <a:chOff x="4191002" y="1360218"/>
              <a:chExt cx="4667248" cy="4038599"/>
            </a:xfrm>
          </p:grpSpPr>
          <p:grpSp>
            <p:nvGrpSpPr>
              <p:cNvPr id="90" name="Group 89"/>
              <p:cNvGrpSpPr/>
              <p:nvPr/>
            </p:nvGrpSpPr>
            <p:grpSpPr>
              <a:xfrm>
                <a:off x="4191002" y="1360218"/>
                <a:ext cx="4667248" cy="4038599"/>
                <a:chOff x="4355038" y="1419487"/>
                <a:chExt cx="4503211" cy="4038599"/>
              </a:xfrm>
            </p:grpSpPr>
            <p:sp>
              <p:nvSpPr>
                <p:cNvPr id="94" name="Round Same Side Corner Rectangle 93"/>
                <p:cNvSpPr/>
                <p:nvPr/>
              </p:nvSpPr>
              <p:spPr>
                <a:xfrm rot="5400000">
                  <a:off x="5933544" y="-159019"/>
                  <a:ext cx="1346199" cy="4503211"/>
                </a:xfrm>
                <a:prstGeom prst="round2SameRect">
                  <a:avLst/>
                </a:prstGeom>
                <a:solidFill>
                  <a:srgbClr val="DCDCD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US" sz="1500" kern="1200" dirty="0" err="1">
                    <a:solidFill>
                      <a:prstClr val="white"/>
                    </a:solidFill>
                    <a:latin typeface="Arial"/>
                  </a:endParaRPr>
                </a:p>
              </p:txBody>
            </p:sp>
            <p:sp>
              <p:nvSpPr>
                <p:cNvPr id="95" name="Round Same Side Corner Rectangle 94"/>
                <p:cNvSpPr/>
                <p:nvPr/>
              </p:nvSpPr>
              <p:spPr>
                <a:xfrm rot="5400000">
                  <a:off x="5933544" y="1187181"/>
                  <a:ext cx="1346199" cy="4503211"/>
                </a:xfrm>
                <a:prstGeom prst="round2SameRect">
                  <a:avLst/>
                </a:prstGeom>
                <a:solidFill>
                  <a:srgbClr val="B4B4B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US" sz="1500" kern="1200" dirty="0" err="1">
                    <a:solidFill>
                      <a:prstClr val="white"/>
                    </a:solidFill>
                    <a:latin typeface="Arial"/>
                  </a:endParaRPr>
                </a:p>
              </p:txBody>
            </p:sp>
            <p:sp>
              <p:nvSpPr>
                <p:cNvPr id="96" name="Round Same Side Corner Rectangle 95"/>
                <p:cNvSpPr/>
                <p:nvPr/>
              </p:nvSpPr>
              <p:spPr>
                <a:xfrm rot="5400000">
                  <a:off x="5933544" y="2533381"/>
                  <a:ext cx="1346199" cy="4503211"/>
                </a:xfrm>
                <a:prstGeom prst="round2SameRect">
                  <a:avLst/>
                </a:prstGeom>
                <a:solidFill>
                  <a:srgbClr val="72C7E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US" sz="1500" kern="1200" dirty="0" err="1">
                    <a:solidFill>
                      <a:prstClr val="white"/>
                    </a:solidFill>
                    <a:latin typeface="Arial"/>
                  </a:endParaRPr>
                </a:p>
              </p:txBody>
            </p:sp>
          </p:grpSp>
          <p:sp>
            <p:nvSpPr>
              <p:cNvPr id="91" name="Rectangle 90"/>
              <p:cNvSpPr/>
              <p:nvPr/>
            </p:nvSpPr>
            <p:spPr>
              <a:xfrm>
                <a:off x="4365625" y="1547813"/>
                <a:ext cx="4383088" cy="854935"/>
              </a:xfrm>
              <a:prstGeom prst="rect">
                <a:avLst/>
              </a:prstGeom>
            </p:spPr>
            <p:txBody>
              <a:bodyPr wrap="square" lIns="0" tIns="0" rIns="0" bIns="0">
                <a:spAutoFit/>
              </a:bodyPr>
              <a:lstStyle/>
              <a:p>
                <a:pPr defTabSz="685800">
                  <a:spcAft>
                    <a:spcPts val="450"/>
                  </a:spcAft>
                  <a:buClrTx/>
                </a:pPr>
                <a:r>
                  <a:rPr lang="en-US" sz="750" b="1" kern="1200" dirty="0">
                    <a:solidFill>
                      <a:srgbClr val="313131"/>
                    </a:solidFill>
                    <a:ea typeface="+mn-ea"/>
                    <a:cs typeface="+mn-cs"/>
                  </a:rPr>
                  <a:t>LOREM IPSUM DOLOR </a:t>
                </a:r>
              </a:p>
              <a:p>
                <a:pPr defTabSz="685800">
                  <a:spcAft>
                    <a:spcPts val="450"/>
                  </a:spcAft>
                  <a:buClrTx/>
                </a:pPr>
                <a:r>
                  <a:rPr lang="en-US" sz="750" kern="1200" dirty="0">
                    <a:solidFill>
                      <a:srgbClr val="313131"/>
                    </a:solidFill>
                    <a:ea typeface="+mn-ea"/>
                    <a:cs typeface="+mn-cs"/>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92" name="Rectangle 91"/>
              <p:cNvSpPr/>
              <p:nvPr/>
            </p:nvSpPr>
            <p:spPr>
              <a:xfrm>
                <a:off x="4365625" y="2894007"/>
                <a:ext cx="4383088" cy="854935"/>
              </a:xfrm>
              <a:prstGeom prst="rect">
                <a:avLst/>
              </a:prstGeom>
            </p:spPr>
            <p:txBody>
              <a:bodyPr wrap="square" lIns="0" tIns="0" rIns="0" bIns="0">
                <a:spAutoFit/>
              </a:bodyPr>
              <a:lstStyle/>
              <a:p>
                <a:pPr defTabSz="685800">
                  <a:spcAft>
                    <a:spcPts val="450"/>
                  </a:spcAft>
                  <a:buClrTx/>
                </a:pPr>
                <a:r>
                  <a:rPr lang="en-US" sz="750" b="1" kern="1200" dirty="0">
                    <a:solidFill>
                      <a:prstClr val="white"/>
                    </a:solidFill>
                    <a:ea typeface="+mn-ea"/>
                    <a:cs typeface="+mn-cs"/>
                  </a:rPr>
                  <a:t>LOREM IPSUM DOLOR </a:t>
                </a:r>
              </a:p>
              <a:p>
                <a:pPr defTabSz="685800">
                  <a:spcAft>
                    <a:spcPts val="450"/>
                  </a:spcAft>
                  <a:buClrTx/>
                </a:pPr>
                <a:r>
                  <a:rPr lang="en-US" sz="750" kern="1200" dirty="0">
                    <a:solidFill>
                      <a:prstClr val="white"/>
                    </a:solidFill>
                    <a:ea typeface="+mn-ea"/>
                    <a:cs typeface="+mn-cs"/>
                  </a:rPr>
                  <a:t>This is dummy text it is not here to be read. The is just text to show where you could insert text. This is dummy text it is not here to be </a:t>
                </a:r>
                <a:r>
                  <a:rPr lang="en-US" sz="750" kern="1200" dirty="0" err="1">
                    <a:solidFill>
                      <a:prstClr val="white"/>
                    </a:solidFill>
                    <a:ea typeface="+mn-ea"/>
                    <a:cs typeface="+mn-cs"/>
                  </a:rPr>
                  <a:t>read.This</a:t>
                </a:r>
                <a:r>
                  <a:rPr lang="en-US" sz="750" kern="1200" dirty="0">
                    <a:solidFill>
                      <a:prstClr val="white"/>
                    </a:solidFill>
                    <a:ea typeface="+mn-ea"/>
                    <a:cs typeface="+mn-cs"/>
                  </a:rPr>
                  <a:t> is dummy text it is not here to be read. The is just text to show where you could insert text. This is dummy text it is not here to be read. </a:t>
                </a:r>
              </a:p>
            </p:txBody>
          </p:sp>
          <p:sp>
            <p:nvSpPr>
              <p:cNvPr id="93" name="Rectangle 92"/>
              <p:cNvSpPr/>
              <p:nvPr/>
            </p:nvSpPr>
            <p:spPr>
              <a:xfrm>
                <a:off x="4365625" y="4280253"/>
                <a:ext cx="4383088" cy="854935"/>
              </a:xfrm>
              <a:prstGeom prst="rect">
                <a:avLst/>
              </a:prstGeom>
            </p:spPr>
            <p:txBody>
              <a:bodyPr wrap="square" lIns="0" tIns="0" rIns="0" bIns="0">
                <a:spAutoFit/>
              </a:bodyPr>
              <a:lstStyle/>
              <a:p>
                <a:pPr defTabSz="685800">
                  <a:spcAft>
                    <a:spcPts val="450"/>
                  </a:spcAft>
                  <a:buClrTx/>
                </a:pPr>
                <a:r>
                  <a:rPr lang="en-US" sz="750" b="1" kern="1200" dirty="0">
                    <a:solidFill>
                      <a:srgbClr val="FFFFFF"/>
                    </a:solidFill>
                    <a:ea typeface="+mn-ea"/>
                    <a:cs typeface="+mn-cs"/>
                  </a:rPr>
                  <a:t>LOREM IPSUM DOLOR </a:t>
                </a:r>
              </a:p>
              <a:p>
                <a:pPr defTabSz="685800">
                  <a:spcAft>
                    <a:spcPts val="450"/>
                  </a:spcAft>
                  <a:buClrTx/>
                </a:pPr>
                <a:r>
                  <a:rPr lang="en-US" sz="750" kern="1200" dirty="0">
                    <a:solidFill>
                      <a:srgbClr val="FFFFFF"/>
                    </a:solidFill>
                    <a:ea typeface="+mn-ea"/>
                    <a:cs typeface="+mn-cs"/>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 </a:t>
                </a:r>
              </a:p>
            </p:txBody>
          </p:sp>
        </p:grpSp>
        <p:pic>
          <p:nvPicPr>
            <p:cNvPr id="97" name="Picture 96" descr="33.emf"/>
            <p:cNvPicPr>
              <a:picLocks noChangeAspect="1"/>
            </p:cNvPicPr>
            <p:nvPr/>
          </p:nvPicPr>
          <p:blipFill>
            <a:blip r:embed="rId6">
              <a:biLevel thresh="25000"/>
            </a:blip>
            <a:stretch>
              <a:fillRect/>
            </a:stretch>
          </p:blipFill>
          <p:spPr>
            <a:xfrm>
              <a:off x="564988" y="2400682"/>
              <a:ext cx="418988" cy="388237"/>
            </a:xfrm>
            <a:prstGeom prst="rect">
              <a:avLst/>
            </a:prstGeom>
          </p:spPr>
        </p:pic>
        <p:pic>
          <p:nvPicPr>
            <p:cNvPr id="98" name="Picture 7"/>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18130" y="4547733"/>
              <a:ext cx="346340" cy="3135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9" name="Picture 1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0885" y="3501708"/>
              <a:ext cx="360831" cy="2939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3413945018"/>
      </p:ext>
    </p:extLst>
  </p:cSld>
  <p:clrMapOvr>
    <a:masterClrMapping/>
  </p:clrMapOvr>
  <p:transition>
    <p:fade/>
  </p:transition>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Bends </a:t>
            </a:r>
            <a:br>
              <a:rPr lang="en-US" altLang="ja-JP" dirty="0"/>
            </a:br>
            <a:r>
              <a:rPr lang="en-US" altLang="ja-JP" dirty="0">
                <a:solidFill>
                  <a:srgbClr val="575757"/>
                </a:solidFill>
              </a:rPr>
              <a:t>Ribbons with icons</a:t>
            </a: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5" name="Freeform 64"/>
          <p:cNvSpPr/>
          <p:nvPr/>
        </p:nvSpPr>
        <p:spPr>
          <a:xfrm>
            <a:off x="1148008" y="3705289"/>
            <a:ext cx="4674212" cy="1378731"/>
          </a:xfrm>
          <a:custGeom>
            <a:avLst/>
            <a:gdLst>
              <a:gd name="connsiteX0" fmla="*/ 24276 w 6255143"/>
              <a:gd name="connsiteY0" fmla="*/ 202301 h 1861168"/>
              <a:gd name="connsiteX1" fmla="*/ 24276 w 6255143"/>
              <a:gd name="connsiteY1" fmla="*/ 202301 h 1861168"/>
              <a:gd name="connsiteX2" fmla="*/ 817296 w 6255143"/>
              <a:gd name="connsiteY2" fmla="*/ 0 h 1861168"/>
              <a:gd name="connsiteX3" fmla="*/ 6255143 w 6255143"/>
              <a:gd name="connsiteY3" fmla="*/ 0 h 1861168"/>
              <a:gd name="connsiteX4" fmla="*/ 5915278 w 6255143"/>
              <a:gd name="connsiteY4" fmla="*/ 712099 h 1861168"/>
              <a:gd name="connsiteX5" fmla="*/ 817296 w 6255143"/>
              <a:gd name="connsiteY5" fmla="*/ 704007 h 1861168"/>
              <a:gd name="connsiteX6" fmla="*/ 0 w 6255143"/>
              <a:gd name="connsiteY6" fmla="*/ 1861168 h 1861168"/>
              <a:gd name="connsiteX7" fmla="*/ 24276 w 6255143"/>
              <a:gd name="connsiteY7" fmla="*/ 202301 h 1861168"/>
              <a:gd name="connsiteX0" fmla="*/ 16656 w 6247523"/>
              <a:gd name="connsiteY0" fmla="*/ 202301 h 1853548"/>
              <a:gd name="connsiteX1" fmla="*/ 16656 w 6247523"/>
              <a:gd name="connsiteY1" fmla="*/ 202301 h 1853548"/>
              <a:gd name="connsiteX2" fmla="*/ 809676 w 6247523"/>
              <a:gd name="connsiteY2" fmla="*/ 0 h 1853548"/>
              <a:gd name="connsiteX3" fmla="*/ 6247523 w 6247523"/>
              <a:gd name="connsiteY3" fmla="*/ 0 h 1853548"/>
              <a:gd name="connsiteX4" fmla="*/ 5907658 w 6247523"/>
              <a:gd name="connsiteY4" fmla="*/ 712099 h 1853548"/>
              <a:gd name="connsiteX5" fmla="*/ 809676 w 6247523"/>
              <a:gd name="connsiteY5" fmla="*/ 704007 h 1853548"/>
              <a:gd name="connsiteX6" fmla="*/ 0 w 6247523"/>
              <a:gd name="connsiteY6" fmla="*/ 1853548 h 1853548"/>
              <a:gd name="connsiteX7" fmla="*/ 16656 w 6247523"/>
              <a:gd name="connsiteY7" fmla="*/ 202301 h 1853548"/>
              <a:gd name="connsiteX0" fmla="*/ 1416 w 6232283"/>
              <a:gd name="connsiteY0" fmla="*/ 202301 h 1838308"/>
              <a:gd name="connsiteX1" fmla="*/ 1416 w 6232283"/>
              <a:gd name="connsiteY1" fmla="*/ 202301 h 1838308"/>
              <a:gd name="connsiteX2" fmla="*/ 794436 w 6232283"/>
              <a:gd name="connsiteY2" fmla="*/ 0 h 1838308"/>
              <a:gd name="connsiteX3" fmla="*/ 6232283 w 6232283"/>
              <a:gd name="connsiteY3" fmla="*/ 0 h 1838308"/>
              <a:gd name="connsiteX4" fmla="*/ 5892418 w 6232283"/>
              <a:gd name="connsiteY4" fmla="*/ 712099 h 1838308"/>
              <a:gd name="connsiteX5" fmla="*/ 794436 w 6232283"/>
              <a:gd name="connsiteY5" fmla="*/ 704007 h 1838308"/>
              <a:gd name="connsiteX6" fmla="*/ 0 w 6232283"/>
              <a:gd name="connsiteY6" fmla="*/ 1838308 h 1838308"/>
              <a:gd name="connsiteX7" fmla="*/ 1416 w 6232283"/>
              <a:gd name="connsiteY7" fmla="*/ 202301 h 183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32283" h="1838308">
                <a:moveTo>
                  <a:pt x="1416" y="202301"/>
                </a:moveTo>
                <a:lnTo>
                  <a:pt x="1416" y="202301"/>
                </a:lnTo>
                <a:lnTo>
                  <a:pt x="794436" y="0"/>
                </a:lnTo>
                <a:lnTo>
                  <a:pt x="6232283" y="0"/>
                </a:lnTo>
                <a:lnTo>
                  <a:pt x="5892418" y="712099"/>
                </a:lnTo>
                <a:lnTo>
                  <a:pt x="794436" y="704007"/>
                </a:lnTo>
                <a:lnTo>
                  <a:pt x="0" y="1838308"/>
                </a:lnTo>
                <a:lnTo>
                  <a:pt x="1416" y="202301"/>
                </a:lnTo>
                <a:close/>
              </a:path>
            </a:pathLst>
          </a:custGeom>
          <a:solidFill>
            <a:srgbClr val="B4B4B4"/>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US" sz="1500" kern="1200" dirty="0" err="1">
              <a:solidFill>
                <a:prstClr val="white"/>
              </a:solidFill>
              <a:latin typeface="Arial"/>
            </a:endParaRPr>
          </a:p>
        </p:txBody>
      </p:sp>
      <p:sp>
        <p:nvSpPr>
          <p:cNvPr id="53" name="Freeform 52"/>
          <p:cNvSpPr/>
          <p:nvPr/>
        </p:nvSpPr>
        <p:spPr>
          <a:xfrm>
            <a:off x="1143001" y="725396"/>
            <a:ext cx="4673150" cy="1365531"/>
          </a:xfrm>
          <a:custGeom>
            <a:avLst/>
            <a:gdLst>
              <a:gd name="connsiteX0" fmla="*/ 0 w 6263235"/>
              <a:gd name="connsiteY0" fmla="*/ 0 h 1877352"/>
              <a:gd name="connsiteX1" fmla="*/ 833480 w 6263235"/>
              <a:gd name="connsiteY1" fmla="*/ 1173345 h 1877352"/>
              <a:gd name="connsiteX2" fmla="*/ 6263235 w 6263235"/>
              <a:gd name="connsiteY2" fmla="*/ 1165253 h 1877352"/>
              <a:gd name="connsiteX3" fmla="*/ 5971922 w 6263235"/>
              <a:gd name="connsiteY3" fmla="*/ 1877352 h 1877352"/>
              <a:gd name="connsiteX4" fmla="*/ 833480 w 6263235"/>
              <a:gd name="connsiteY4" fmla="*/ 1877352 h 1877352"/>
              <a:gd name="connsiteX5" fmla="*/ 32368 w 6263235"/>
              <a:gd name="connsiteY5" fmla="*/ 1367554 h 1877352"/>
              <a:gd name="connsiteX6" fmla="*/ 32368 w 6263235"/>
              <a:gd name="connsiteY6" fmla="*/ 56644 h 1877352"/>
              <a:gd name="connsiteX7" fmla="*/ 48552 w 6263235"/>
              <a:gd name="connsiteY7" fmla="*/ 72829 h 1877352"/>
              <a:gd name="connsiteX8" fmla="*/ 48552 w 6263235"/>
              <a:gd name="connsiteY8" fmla="*/ 72829 h 1877352"/>
              <a:gd name="connsiteX0" fmla="*/ 801112 w 6230867"/>
              <a:gd name="connsiteY0" fmla="*/ 1116701 h 1820708"/>
              <a:gd name="connsiteX1" fmla="*/ 6230867 w 6230867"/>
              <a:gd name="connsiteY1" fmla="*/ 1108609 h 1820708"/>
              <a:gd name="connsiteX2" fmla="*/ 5939554 w 6230867"/>
              <a:gd name="connsiteY2" fmla="*/ 1820708 h 1820708"/>
              <a:gd name="connsiteX3" fmla="*/ 801112 w 6230867"/>
              <a:gd name="connsiteY3" fmla="*/ 1820708 h 1820708"/>
              <a:gd name="connsiteX4" fmla="*/ 0 w 6230867"/>
              <a:gd name="connsiteY4" fmla="*/ 1310910 h 1820708"/>
              <a:gd name="connsiteX5" fmla="*/ 0 w 6230867"/>
              <a:gd name="connsiteY5" fmla="*/ 0 h 1820708"/>
              <a:gd name="connsiteX6" fmla="*/ 16184 w 6230867"/>
              <a:gd name="connsiteY6" fmla="*/ 16185 h 1820708"/>
              <a:gd name="connsiteX7" fmla="*/ 16184 w 6230867"/>
              <a:gd name="connsiteY7" fmla="*/ 16185 h 1820708"/>
              <a:gd name="connsiteX0" fmla="*/ 801112 w 6230867"/>
              <a:gd name="connsiteY0" fmla="*/ 1116701 h 1820708"/>
              <a:gd name="connsiteX1" fmla="*/ 6230867 w 6230867"/>
              <a:gd name="connsiteY1" fmla="*/ 1108609 h 1820708"/>
              <a:gd name="connsiteX2" fmla="*/ 5939554 w 6230867"/>
              <a:gd name="connsiteY2" fmla="*/ 1820708 h 1820708"/>
              <a:gd name="connsiteX3" fmla="*/ 801112 w 6230867"/>
              <a:gd name="connsiteY3" fmla="*/ 1820708 h 1820708"/>
              <a:gd name="connsiteX4" fmla="*/ 0 w 6230867"/>
              <a:gd name="connsiteY4" fmla="*/ 1310910 h 1820708"/>
              <a:gd name="connsiteX5" fmla="*/ 0 w 6230867"/>
              <a:gd name="connsiteY5" fmla="*/ 0 h 1820708"/>
              <a:gd name="connsiteX6" fmla="*/ 16184 w 6230867"/>
              <a:gd name="connsiteY6" fmla="*/ 16185 h 1820708"/>
              <a:gd name="connsiteX0" fmla="*/ 801112 w 6230867"/>
              <a:gd name="connsiteY0" fmla="*/ 1116701 h 1820708"/>
              <a:gd name="connsiteX1" fmla="*/ 6230867 w 6230867"/>
              <a:gd name="connsiteY1" fmla="*/ 1108609 h 1820708"/>
              <a:gd name="connsiteX2" fmla="*/ 5939554 w 6230867"/>
              <a:gd name="connsiteY2" fmla="*/ 1820708 h 1820708"/>
              <a:gd name="connsiteX3" fmla="*/ 801112 w 6230867"/>
              <a:gd name="connsiteY3" fmla="*/ 1820708 h 1820708"/>
              <a:gd name="connsiteX4" fmla="*/ 0 w 6230867"/>
              <a:gd name="connsiteY4" fmla="*/ 1310910 h 1820708"/>
              <a:gd name="connsiteX5" fmla="*/ 0 w 6230867"/>
              <a:gd name="connsiteY5" fmla="*/ 0 h 1820708"/>
              <a:gd name="connsiteX0" fmla="*/ 801112 w 6230867"/>
              <a:gd name="connsiteY0" fmla="*/ 1116701 h 1820708"/>
              <a:gd name="connsiteX1" fmla="*/ 6230867 w 6230867"/>
              <a:gd name="connsiteY1" fmla="*/ 1108609 h 1820708"/>
              <a:gd name="connsiteX2" fmla="*/ 5939554 w 6230867"/>
              <a:gd name="connsiteY2" fmla="*/ 1820708 h 1820708"/>
              <a:gd name="connsiteX3" fmla="*/ 801112 w 6230867"/>
              <a:gd name="connsiteY3" fmla="*/ 1820708 h 1820708"/>
              <a:gd name="connsiteX4" fmla="*/ 15240 w 6230867"/>
              <a:gd name="connsiteY4" fmla="*/ 1333770 h 1820708"/>
              <a:gd name="connsiteX5" fmla="*/ 0 w 6230867"/>
              <a:gd name="connsiteY5" fmla="*/ 0 h 1820708"/>
              <a:gd name="connsiteX0" fmla="*/ 801112 w 6230867"/>
              <a:gd name="connsiteY0" fmla="*/ 1116701 h 1820708"/>
              <a:gd name="connsiteX1" fmla="*/ 6230867 w 6230867"/>
              <a:gd name="connsiteY1" fmla="*/ 1108609 h 1820708"/>
              <a:gd name="connsiteX2" fmla="*/ 5939554 w 6230867"/>
              <a:gd name="connsiteY2" fmla="*/ 1820708 h 1820708"/>
              <a:gd name="connsiteX3" fmla="*/ 801112 w 6230867"/>
              <a:gd name="connsiteY3" fmla="*/ 1820708 h 1820708"/>
              <a:gd name="connsiteX4" fmla="*/ 7620 w 6230867"/>
              <a:gd name="connsiteY4" fmla="*/ 1326150 h 1820708"/>
              <a:gd name="connsiteX5" fmla="*/ 0 w 6230867"/>
              <a:gd name="connsiteY5" fmla="*/ 0 h 1820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30867" h="1820708">
                <a:moveTo>
                  <a:pt x="801112" y="1116701"/>
                </a:moveTo>
                <a:lnTo>
                  <a:pt x="6230867" y="1108609"/>
                </a:lnTo>
                <a:lnTo>
                  <a:pt x="5939554" y="1820708"/>
                </a:lnTo>
                <a:lnTo>
                  <a:pt x="801112" y="1820708"/>
                </a:lnTo>
                <a:lnTo>
                  <a:pt x="7620" y="1326150"/>
                </a:lnTo>
                <a:lnTo>
                  <a:pt x="0" y="0"/>
                </a:lnTo>
              </a:path>
            </a:pathLst>
          </a:custGeom>
          <a:solidFill>
            <a:srgbClr val="002776"/>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US" sz="1350" kern="1200">
              <a:solidFill>
                <a:prstClr val="white"/>
              </a:solidFill>
              <a:latin typeface="Arial"/>
            </a:endParaRPr>
          </a:p>
        </p:txBody>
      </p:sp>
      <p:sp>
        <p:nvSpPr>
          <p:cNvPr id="54" name="Freeform 53"/>
          <p:cNvSpPr/>
          <p:nvPr/>
        </p:nvSpPr>
        <p:spPr>
          <a:xfrm>
            <a:off x="1143001" y="1702510"/>
            <a:ext cx="4679219" cy="922493"/>
          </a:xfrm>
          <a:custGeom>
            <a:avLst/>
            <a:gdLst>
              <a:gd name="connsiteX0" fmla="*/ 0 w 6255143"/>
              <a:gd name="connsiteY0" fmla="*/ 0 h 1238082"/>
              <a:gd name="connsiteX1" fmla="*/ 817296 w 6255143"/>
              <a:gd name="connsiteY1" fmla="*/ 525982 h 1238082"/>
              <a:gd name="connsiteX2" fmla="*/ 6255143 w 6255143"/>
              <a:gd name="connsiteY2" fmla="*/ 534074 h 1238082"/>
              <a:gd name="connsiteX3" fmla="*/ 5947646 w 6255143"/>
              <a:gd name="connsiteY3" fmla="*/ 1238082 h 1238082"/>
              <a:gd name="connsiteX4" fmla="*/ 817296 w 6255143"/>
              <a:gd name="connsiteY4" fmla="*/ 1238082 h 1238082"/>
              <a:gd name="connsiteX5" fmla="*/ 16184 w 6255143"/>
              <a:gd name="connsiteY5" fmla="*/ 946768 h 1238082"/>
              <a:gd name="connsiteX6" fmla="*/ 0 w 6255143"/>
              <a:gd name="connsiteY6" fmla="*/ 0 h 1238082"/>
              <a:gd name="connsiteX0" fmla="*/ 8092 w 6238959"/>
              <a:gd name="connsiteY0" fmla="*/ 0 h 1229990"/>
              <a:gd name="connsiteX1" fmla="*/ 801112 w 6238959"/>
              <a:gd name="connsiteY1" fmla="*/ 517890 h 1229990"/>
              <a:gd name="connsiteX2" fmla="*/ 6238959 w 6238959"/>
              <a:gd name="connsiteY2" fmla="*/ 525982 h 1229990"/>
              <a:gd name="connsiteX3" fmla="*/ 5931462 w 6238959"/>
              <a:gd name="connsiteY3" fmla="*/ 1229990 h 1229990"/>
              <a:gd name="connsiteX4" fmla="*/ 801112 w 6238959"/>
              <a:gd name="connsiteY4" fmla="*/ 1229990 h 1229990"/>
              <a:gd name="connsiteX5" fmla="*/ 0 w 6238959"/>
              <a:gd name="connsiteY5" fmla="*/ 938676 h 1229990"/>
              <a:gd name="connsiteX6" fmla="*/ 8092 w 6238959"/>
              <a:gd name="connsiteY6" fmla="*/ 0 h 122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8959" h="1229990">
                <a:moveTo>
                  <a:pt x="8092" y="0"/>
                </a:moveTo>
                <a:lnTo>
                  <a:pt x="801112" y="517890"/>
                </a:lnTo>
                <a:lnTo>
                  <a:pt x="6238959" y="525982"/>
                </a:lnTo>
                <a:lnTo>
                  <a:pt x="5931462" y="1229990"/>
                </a:lnTo>
                <a:lnTo>
                  <a:pt x="801112" y="1229990"/>
                </a:lnTo>
                <a:lnTo>
                  <a:pt x="0" y="938676"/>
                </a:lnTo>
                <a:cubicBezTo>
                  <a:pt x="2697" y="625784"/>
                  <a:pt x="5395" y="312892"/>
                  <a:pt x="8092" y="0"/>
                </a:cubicBezTo>
                <a:close/>
              </a:path>
            </a:pathLst>
          </a:custGeom>
          <a:solidFill>
            <a:srgbClr val="00A1DE"/>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US" sz="1500" kern="1200" dirty="0" err="1">
              <a:solidFill>
                <a:prstClr val="white"/>
              </a:solidFill>
              <a:latin typeface="Arial"/>
            </a:endParaRPr>
          </a:p>
        </p:txBody>
      </p:sp>
      <p:sp>
        <p:nvSpPr>
          <p:cNvPr id="60" name="Freeform 59"/>
          <p:cNvSpPr/>
          <p:nvPr/>
        </p:nvSpPr>
        <p:spPr>
          <a:xfrm>
            <a:off x="1141469" y="2383303"/>
            <a:ext cx="4680751" cy="781843"/>
          </a:xfrm>
          <a:custGeom>
            <a:avLst/>
            <a:gdLst>
              <a:gd name="connsiteX0" fmla="*/ 0 w 6255143"/>
              <a:gd name="connsiteY0" fmla="*/ 0 h 1019597"/>
              <a:gd name="connsiteX1" fmla="*/ 817296 w 6255143"/>
              <a:gd name="connsiteY1" fmla="*/ 307498 h 1019597"/>
              <a:gd name="connsiteX2" fmla="*/ 6255143 w 6255143"/>
              <a:gd name="connsiteY2" fmla="*/ 307498 h 1019597"/>
              <a:gd name="connsiteX3" fmla="*/ 5931462 w 6255143"/>
              <a:gd name="connsiteY3" fmla="*/ 1019597 h 1019597"/>
              <a:gd name="connsiteX4" fmla="*/ 833480 w 6255143"/>
              <a:gd name="connsiteY4" fmla="*/ 1019597 h 1019597"/>
              <a:gd name="connsiteX5" fmla="*/ 16184 w 6255143"/>
              <a:gd name="connsiteY5" fmla="*/ 882032 h 1019597"/>
              <a:gd name="connsiteX6" fmla="*/ 0 w 6255143"/>
              <a:gd name="connsiteY6" fmla="*/ 0 h 1019597"/>
              <a:gd name="connsiteX0" fmla="*/ 6676 w 6238959"/>
              <a:gd name="connsiteY0" fmla="*/ 0 h 1042457"/>
              <a:gd name="connsiteX1" fmla="*/ 801112 w 6238959"/>
              <a:gd name="connsiteY1" fmla="*/ 330358 h 1042457"/>
              <a:gd name="connsiteX2" fmla="*/ 6238959 w 6238959"/>
              <a:gd name="connsiteY2" fmla="*/ 330358 h 1042457"/>
              <a:gd name="connsiteX3" fmla="*/ 5915278 w 6238959"/>
              <a:gd name="connsiteY3" fmla="*/ 1042457 h 1042457"/>
              <a:gd name="connsiteX4" fmla="*/ 817296 w 6238959"/>
              <a:gd name="connsiteY4" fmla="*/ 1042457 h 1042457"/>
              <a:gd name="connsiteX5" fmla="*/ 0 w 6238959"/>
              <a:gd name="connsiteY5" fmla="*/ 904892 h 1042457"/>
              <a:gd name="connsiteX6" fmla="*/ 6676 w 6238959"/>
              <a:gd name="connsiteY6" fmla="*/ 0 h 1042457"/>
              <a:gd name="connsiteX0" fmla="*/ 8718 w 6241001"/>
              <a:gd name="connsiteY0" fmla="*/ 0 h 1042457"/>
              <a:gd name="connsiteX1" fmla="*/ 803154 w 6241001"/>
              <a:gd name="connsiteY1" fmla="*/ 330358 h 1042457"/>
              <a:gd name="connsiteX2" fmla="*/ 6241001 w 6241001"/>
              <a:gd name="connsiteY2" fmla="*/ 330358 h 1042457"/>
              <a:gd name="connsiteX3" fmla="*/ 5917320 w 6241001"/>
              <a:gd name="connsiteY3" fmla="*/ 1042457 h 1042457"/>
              <a:gd name="connsiteX4" fmla="*/ 819338 w 6241001"/>
              <a:gd name="connsiteY4" fmla="*/ 1042457 h 1042457"/>
              <a:gd name="connsiteX5" fmla="*/ 2042 w 6241001"/>
              <a:gd name="connsiteY5" fmla="*/ 904892 h 1042457"/>
              <a:gd name="connsiteX6" fmla="*/ 8718 w 6241001"/>
              <a:gd name="connsiteY6" fmla="*/ 0 h 1042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1001" h="1042457">
                <a:moveTo>
                  <a:pt x="8718" y="0"/>
                </a:moveTo>
                <a:lnTo>
                  <a:pt x="803154" y="330358"/>
                </a:lnTo>
                <a:lnTo>
                  <a:pt x="6241001" y="330358"/>
                </a:lnTo>
                <a:lnTo>
                  <a:pt x="5917320" y="1042457"/>
                </a:lnTo>
                <a:lnTo>
                  <a:pt x="819338" y="1042457"/>
                </a:lnTo>
                <a:lnTo>
                  <a:pt x="2042" y="904892"/>
                </a:lnTo>
                <a:cubicBezTo>
                  <a:pt x="4739" y="613579"/>
                  <a:pt x="-7803" y="17465"/>
                  <a:pt x="8718" y="0"/>
                </a:cubicBezTo>
                <a:close/>
              </a:path>
            </a:pathLst>
          </a:custGeom>
          <a:solidFill>
            <a:srgbClr val="575757"/>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US" sz="1500" kern="1200" dirty="0" err="1">
              <a:solidFill>
                <a:prstClr val="white"/>
              </a:solidFill>
              <a:latin typeface="Arial"/>
            </a:endParaRPr>
          </a:p>
        </p:txBody>
      </p:sp>
      <p:sp>
        <p:nvSpPr>
          <p:cNvPr id="63" name="Freeform 62"/>
          <p:cNvSpPr/>
          <p:nvPr/>
        </p:nvSpPr>
        <p:spPr>
          <a:xfrm>
            <a:off x="1140665" y="3061972"/>
            <a:ext cx="4687624" cy="788974"/>
          </a:xfrm>
          <a:custGeom>
            <a:avLst/>
            <a:gdLst>
              <a:gd name="connsiteX0" fmla="*/ 3114 w 6250165"/>
              <a:gd name="connsiteY0" fmla="*/ 0 h 1051965"/>
              <a:gd name="connsiteX1" fmla="*/ 796133 w 6250165"/>
              <a:gd name="connsiteY1" fmla="*/ 129473 h 1051965"/>
              <a:gd name="connsiteX2" fmla="*/ 6250165 w 6250165"/>
              <a:gd name="connsiteY2" fmla="*/ 137565 h 1051965"/>
              <a:gd name="connsiteX3" fmla="*/ 5910300 w 6250165"/>
              <a:gd name="connsiteY3" fmla="*/ 857756 h 1051965"/>
              <a:gd name="connsiteX4" fmla="*/ 779949 w 6250165"/>
              <a:gd name="connsiteY4" fmla="*/ 849664 h 1051965"/>
              <a:gd name="connsiteX5" fmla="*/ 3114 w 6250165"/>
              <a:gd name="connsiteY5" fmla="*/ 1051965 h 1051965"/>
              <a:gd name="connsiteX6" fmla="*/ 3114 w 6250165"/>
              <a:gd name="connsiteY6" fmla="*/ 0 h 1051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50165" h="1051965">
                <a:moveTo>
                  <a:pt x="3114" y="0"/>
                </a:moveTo>
                <a:lnTo>
                  <a:pt x="796133" y="129473"/>
                </a:lnTo>
                <a:lnTo>
                  <a:pt x="6250165" y="137565"/>
                </a:lnTo>
                <a:lnTo>
                  <a:pt x="5910300" y="857756"/>
                </a:lnTo>
                <a:lnTo>
                  <a:pt x="779949" y="849664"/>
                </a:lnTo>
                <a:lnTo>
                  <a:pt x="3114" y="1051965"/>
                </a:lnTo>
                <a:cubicBezTo>
                  <a:pt x="417" y="701310"/>
                  <a:pt x="-2281" y="350655"/>
                  <a:pt x="3114" y="0"/>
                </a:cubicBezTo>
                <a:close/>
              </a:path>
            </a:pathLst>
          </a:custGeom>
          <a:solidFill>
            <a:srgbClr val="8C8C8C"/>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US" sz="1500" kern="1200" dirty="0" err="1">
              <a:solidFill>
                <a:prstClr val="white"/>
              </a:solidFill>
              <a:latin typeface="Arial"/>
            </a:endParaRPr>
          </a:p>
        </p:txBody>
      </p:sp>
      <p:sp>
        <p:nvSpPr>
          <p:cNvPr id="66" name="Rectangle 65"/>
          <p:cNvSpPr/>
          <p:nvPr/>
        </p:nvSpPr>
        <p:spPr>
          <a:xfrm>
            <a:off x="1980778" y="2162497"/>
            <a:ext cx="3160979" cy="577081"/>
          </a:xfrm>
          <a:prstGeom prst="rect">
            <a:avLst/>
          </a:prstGeom>
        </p:spPr>
        <p:txBody>
          <a:bodyPr wrap="square">
            <a:spAutoFit/>
          </a:bodyPr>
          <a:lstStyle/>
          <a:p>
            <a:pPr defTabSz="685800">
              <a:buClrTx/>
            </a:pPr>
            <a:r>
              <a:rPr lang="en-US" sz="1050" kern="1200" dirty="0">
                <a:solidFill>
                  <a:prstClr val="white"/>
                </a:solidFill>
                <a:ea typeface="+mn-ea"/>
                <a:cs typeface="+mn-cs"/>
              </a:rPr>
              <a:t>Lorem ipsum dolor sit </a:t>
            </a:r>
            <a:r>
              <a:rPr lang="en-US" sz="1050" kern="1200" dirty="0" err="1">
                <a:solidFill>
                  <a:prstClr val="white"/>
                </a:solidFill>
                <a:ea typeface="+mn-ea"/>
                <a:cs typeface="+mn-cs"/>
              </a:rPr>
              <a:t>amet</a:t>
            </a:r>
            <a:r>
              <a:rPr lang="en-US" sz="1050" kern="1200" dirty="0">
                <a:solidFill>
                  <a:prstClr val="white"/>
                </a:solidFill>
                <a:ea typeface="+mn-ea"/>
                <a:cs typeface="+mn-cs"/>
              </a:rPr>
              <a:t>, </a:t>
            </a:r>
            <a:r>
              <a:rPr lang="en-US" sz="1050" kern="1200" dirty="0" err="1">
                <a:solidFill>
                  <a:prstClr val="white"/>
                </a:solidFill>
                <a:ea typeface="+mn-ea"/>
                <a:cs typeface="+mn-cs"/>
              </a:rPr>
              <a:t>consectetur</a:t>
            </a:r>
            <a:r>
              <a:rPr lang="en-US" sz="1050" kern="1200" dirty="0">
                <a:solidFill>
                  <a:prstClr val="white"/>
                </a:solidFill>
                <a:ea typeface="+mn-ea"/>
                <a:cs typeface="+mn-cs"/>
              </a:rPr>
              <a:t> </a:t>
            </a:r>
            <a:r>
              <a:rPr lang="en-US" sz="1050" kern="1200" dirty="0" err="1">
                <a:solidFill>
                  <a:prstClr val="white"/>
                </a:solidFill>
                <a:ea typeface="+mn-ea"/>
                <a:cs typeface="+mn-cs"/>
              </a:rPr>
              <a:t>adipiscing</a:t>
            </a:r>
            <a:r>
              <a:rPr lang="en-US" sz="1050" kern="1200" dirty="0">
                <a:solidFill>
                  <a:prstClr val="white"/>
                </a:solidFill>
                <a:ea typeface="+mn-ea"/>
                <a:cs typeface="+mn-cs"/>
              </a:rPr>
              <a:t> </a:t>
            </a:r>
            <a:r>
              <a:rPr lang="en-US" sz="1050" kern="1200" dirty="0" err="1">
                <a:solidFill>
                  <a:prstClr val="white"/>
                </a:solidFill>
                <a:ea typeface="+mn-ea"/>
                <a:cs typeface="+mn-cs"/>
              </a:rPr>
              <a:t>elit</a:t>
            </a:r>
            <a:r>
              <a:rPr lang="en-US" sz="1050" kern="1200" dirty="0">
                <a:solidFill>
                  <a:prstClr val="white"/>
                </a:solidFill>
                <a:ea typeface="+mn-ea"/>
                <a:cs typeface="+mn-cs"/>
              </a:rPr>
              <a:t>. Maecenas </a:t>
            </a:r>
            <a:r>
              <a:rPr lang="en-US" sz="1050" kern="1200" dirty="0" err="1">
                <a:solidFill>
                  <a:prstClr val="white"/>
                </a:solidFill>
                <a:ea typeface="+mn-ea"/>
                <a:cs typeface="+mn-cs"/>
              </a:rPr>
              <a:t>tincidunt</a:t>
            </a:r>
            <a:r>
              <a:rPr lang="en-US" sz="1050" kern="1200" dirty="0">
                <a:solidFill>
                  <a:prstClr val="white"/>
                </a:solidFill>
                <a:ea typeface="+mn-ea"/>
                <a:cs typeface="+mn-cs"/>
              </a:rPr>
              <a:t> </a:t>
            </a:r>
            <a:r>
              <a:rPr lang="en-US" sz="1050" kern="1200" dirty="0" err="1">
                <a:solidFill>
                  <a:prstClr val="white"/>
                </a:solidFill>
                <a:ea typeface="+mn-ea"/>
                <a:cs typeface="+mn-cs"/>
              </a:rPr>
              <a:t>fringilla</a:t>
            </a:r>
            <a:r>
              <a:rPr lang="en-US" sz="1050" kern="1200" dirty="0">
                <a:solidFill>
                  <a:prstClr val="white"/>
                </a:solidFill>
                <a:ea typeface="+mn-ea"/>
                <a:cs typeface="+mn-cs"/>
              </a:rPr>
              <a:t> </a:t>
            </a:r>
            <a:r>
              <a:rPr lang="en-US" sz="1050" kern="1200" dirty="0" err="1">
                <a:solidFill>
                  <a:prstClr val="white"/>
                </a:solidFill>
                <a:ea typeface="+mn-ea"/>
                <a:cs typeface="+mn-cs"/>
              </a:rPr>
              <a:t>felis</a:t>
            </a:r>
            <a:r>
              <a:rPr lang="en-US" sz="1050" kern="1200" dirty="0">
                <a:solidFill>
                  <a:prstClr val="white"/>
                </a:solidFill>
                <a:ea typeface="+mn-ea"/>
                <a:cs typeface="+mn-cs"/>
              </a:rPr>
              <a:t> </a:t>
            </a:r>
            <a:r>
              <a:rPr lang="en-US" sz="1050" kern="1200" dirty="0" err="1">
                <a:solidFill>
                  <a:prstClr val="white"/>
                </a:solidFill>
                <a:ea typeface="+mn-ea"/>
                <a:cs typeface="+mn-cs"/>
              </a:rPr>
              <a:t>vel</a:t>
            </a:r>
            <a:r>
              <a:rPr lang="en-US" sz="1050" kern="1200" dirty="0">
                <a:solidFill>
                  <a:prstClr val="white"/>
                </a:solidFill>
                <a:ea typeface="+mn-ea"/>
                <a:cs typeface="+mn-cs"/>
              </a:rPr>
              <a:t> </a:t>
            </a:r>
            <a:r>
              <a:rPr lang="en-US" sz="1050" kern="1200" dirty="0" err="1">
                <a:solidFill>
                  <a:prstClr val="white"/>
                </a:solidFill>
                <a:ea typeface="+mn-ea"/>
                <a:cs typeface="+mn-cs"/>
              </a:rPr>
              <a:t>bibendum</a:t>
            </a:r>
            <a:r>
              <a:rPr lang="en-US" sz="1050" kern="1200" dirty="0">
                <a:solidFill>
                  <a:prstClr val="white"/>
                </a:solidFill>
                <a:ea typeface="+mn-ea"/>
                <a:cs typeface="+mn-cs"/>
              </a:rPr>
              <a:t>.</a:t>
            </a:r>
          </a:p>
        </p:txBody>
      </p:sp>
      <p:sp>
        <p:nvSpPr>
          <p:cNvPr id="67" name="Rectangle 66"/>
          <p:cNvSpPr/>
          <p:nvPr/>
        </p:nvSpPr>
        <p:spPr>
          <a:xfrm>
            <a:off x="1980778" y="2700213"/>
            <a:ext cx="3213398" cy="415498"/>
          </a:xfrm>
          <a:prstGeom prst="rect">
            <a:avLst/>
          </a:prstGeom>
        </p:spPr>
        <p:txBody>
          <a:bodyPr wrap="square">
            <a:spAutoFit/>
          </a:bodyPr>
          <a:lstStyle/>
          <a:p>
            <a:pPr defTabSz="685800">
              <a:buClrTx/>
            </a:pPr>
            <a:r>
              <a:rPr lang="en-US" sz="1050" kern="1200" dirty="0">
                <a:solidFill>
                  <a:prstClr val="white"/>
                </a:solidFill>
                <a:ea typeface="+mn-ea"/>
                <a:cs typeface="+mn-cs"/>
              </a:rPr>
              <a:t>Lorem ipsum dolor sit </a:t>
            </a:r>
            <a:r>
              <a:rPr lang="en-US" sz="1050" kern="1200" dirty="0" err="1">
                <a:solidFill>
                  <a:prstClr val="white"/>
                </a:solidFill>
                <a:ea typeface="+mn-ea"/>
                <a:cs typeface="+mn-cs"/>
              </a:rPr>
              <a:t>amet</a:t>
            </a:r>
            <a:r>
              <a:rPr lang="en-US" sz="1050" kern="1200" dirty="0">
                <a:solidFill>
                  <a:prstClr val="white"/>
                </a:solidFill>
                <a:ea typeface="+mn-ea"/>
                <a:cs typeface="+mn-cs"/>
              </a:rPr>
              <a:t>, </a:t>
            </a:r>
            <a:r>
              <a:rPr lang="en-US" sz="1050" kern="1200" dirty="0" err="1">
                <a:solidFill>
                  <a:prstClr val="white"/>
                </a:solidFill>
                <a:ea typeface="+mn-ea"/>
                <a:cs typeface="+mn-cs"/>
              </a:rPr>
              <a:t>consectetur</a:t>
            </a:r>
            <a:r>
              <a:rPr lang="en-US" sz="1050" kern="1200" dirty="0">
                <a:solidFill>
                  <a:prstClr val="white"/>
                </a:solidFill>
                <a:ea typeface="+mn-ea"/>
                <a:cs typeface="+mn-cs"/>
              </a:rPr>
              <a:t> </a:t>
            </a:r>
            <a:r>
              <a:rPr lang="en-US" sz="1050" kern="1200" dirty="0" err="1">
                <a:solidFill>
                  <a:prstClr val="white"/>
                </a:solidFill>
                <a:ea typeface="+mn-ea"/>
                <a:cs typeface="+mn-cs"/>
              </a:rPr>
              <a:t>adipiscing</a:t>
            </a:r>
            <a:r>
              <a:rPr lang="en-US" sz="1050" kern="1200" dirty="0">
                <a:solidFill>
                  <a:prstClr val="white"/>
                </a:solidFill>
                <a:ea typeface="+mn-ea"/>
                <a:cs typeface="+mn-cs"/>
              </a:rPr>
              <a:t> </a:t>
            </a:r>
            <a:r>
              <a:rPr lang="en-US" sz="1050" kern="1200" dirty="0" err="1">
                <a:solidFill>
                  <a:prstClr val="white"/>
                </a:solidFill>
                <a:ea typeface="+mn-ea"/>
                <a:cs typeface="+mn-cs"/>
              </a:rPr>
              <a:t>elit</a:t>
            </a:r>
            <a:r>
              <a:rPr lang="en-US" sz="1050" kern="1200" dirty="0">
                <a:solidFill>
                  <a:prstClr val="white"/>
                </a:solidFill>
                <a:ea typeface="+mn-ea"/>
                <a:cs typeface="+mn-cs"/>
              </a:rPr>
              <a:t>. Maecenas </a:t>
            </a:r>
            <a:r>
              <a:rPr lang="en-US" sz="1050" kern="1200" dirty="0" err="1">
                <a:solidFill>
                  <a:prstClr val="white"/>
                </a:solidFill>
                <a:ea typeface="+mn-ea"/>
                <a:cs typeface="+mn-cs"/>
              </a:rPr>
              <a:t>tincidunt</a:t>
            </a:r>
            <a:r>
              <a:rPr lang="en-US" sz="1050" kern="1200" dirty="0">
                <a:solidFill>
                  <a:prstClr val="white"/>
                </a:solidFill>
                <a:ea typeface="+mn-ea"/>
                <a:cs typeface="+mn-cs"/>
              </a:rPr>
              <a:t> </a:t>
            </a:r>
            <a:r>
              <a:rPr lang="en-US" sz="1050" kern="1200" dirty="0" err="1">
                <a:solidFill>
                  <a:prstClr val="white"/>
                </a:solidFill>
                <a:ea typeface="+mn-ea"/>
                <a:cs typeface="+mn-cs"/>
              </a:rPr>
              <a:t>fringilla</a:t>
            </a:r>
            <a:r>
              <a:rPr lang="en-US" sz="1050" kern="1200" dirty="0">
                <a:solidFill>
                  <a:prstClr val="white"/>
                </a:solidFill>
                <a:ea typeface="+mn-ea"/>
                <a:cs typeface="+mn-cs"/>
              </a:rPr>
              <a:t> </a:t>
            </a:r>
            <a:r>
              <a:rPr lang="en-US" sz="1050" kern="1200" dirty="0" err="1">
                <a:solidFill>
                  <a:prstClr val="white"/>
                </a:solidFill>
                <a:ea typeface="+mn-ea"/>
                <a:cs typeface="+mn-cs"/>
              </a:rPr>
              <a:t>felis</a:t>
            </a:r>
            <a:r>
              <a:rPr lang="en-US" sz="1050" kern="1200" dirty="0">
                <a:solidFill>
                  <a:prstClr val="white"/>
                </a:solidFill>
                <a:ea typeface="+mn-ea"/>
                <a:cs typeface="+mn-cs"/>
              </a:rPr>
              <a:t> </a:t>
            </a:r>
            <a:r>
              <a:rPr lang="en-US" sz="1050" kern="1200" dirty="0" err="1">
                <a:solidFill>
                  <a:prstClr val="white"/>
                </a:solidFill>
                <a:ea typeface="+mn-ea"/>
                <a:cs typeface="+mn-cs"/>
              </a:rPr>
              <a:t>vel</a:t>
            </a:r>
            <a:r>
              <a:rPr lang="en-US" sz="1050" kern="1200" dirty="0">
                <a:solidFill>
                  <a:prstClr val="white"/>
                </a:solidFill>
                <a:ea typeface="+mn-ea"/>
                <a:cs typeface="+mn-cs"/>
              </a:rPr>
              <a:t> </a:t>
            </a:r>
            <a:r>
              <a:rPr lang="en-US" sz="1050" kern="1200" dirty="0" err="1">
                <a:solidFill>
                  <a:prstClr val="white"/>
                </a:solidFill>
                <a:ea typeface="+mn-ea"/>
                <a:cs typeface="+mn-cs"/>
              </a:rPr>
              <a:t>bibendum</a:t>
            </a:r>
            <a:r>
              <a:rPr lang="en-US" sz="1050" kern="1200" dirty="0">
                <a:solidFill>
                  <a:prstClr val="white"/>
                </a:solidFill>
                <a:ea typeface="+mn-ea"/>
                <a:cs typeface="+mn-cs"/>
              </a:rPr>
              <a:t>.</a:t>
            </a:r>
          </a:p>
        </p:txBody>
      </p:sp>
      <p:sp>
        <p:nvSpPr>
          <p:cNvPr id="68" name="Rectangle 67"/>
          <p:cNvSpPr/>
          <p:nvPr/>
        </p:nvSpPr>
        <p:spPr>
          <a:xfrm>
            <a:off x="1980778" y="3228824"/>
            <a:ext cx="3203639" cy="415498"/>
          </a:xfrm>
          <a:prstGeom prst="rect">
            <a:avLst/>
          </a:prstGeom>
        </p:spPr>
        <p:txBody>
          <a:bodyPr wrap="square">
            <a:spAutoFit/>
          </a:bodyPr>
          <a:lstStyle/>
          <a:p>
            <a:pPr defTabSz="685800">
              <a:buClrTx/>
            </a:pPr>
            <a:r>
              <a:rPr lang="en-US" sz="1050" kern="1200" dirty="0">
                <a:solidFill>
                  <a:prstClr val="white"/>
                </a:solidFill>
                <a:ea typeface="+mn-ea"/>
                <a:cs typeface="+mn-cs"/>
              </a:rPr>
              <a:t>Lorem ipsum dolor sit </a:t>
            </a:r>
            <a:r>
              <a:rPr lang="en-US" sz="1050" kern="1200" dirty="0" err="1">
                <a:solidFill>
                  <a:prstClr val="white"/>
                </a:solidFill>
                <a:ea typeface="+mn-ea"/>
                <a:cs typeface="+mn-cs"/>
              </a:rPr>
              <a:t>amet</a:t>
            </a:r>
            <a:r>
              <a:rPr lang="en-US" sz="1050" kern="1200" dirty="0">
                <a:solidFill>
                  <a:prstClr val="white"/>
                </a:solidFill>
                <a:ea typeface="+mn-ea"/>
                <a:cs typeface="+mn-cs"/>
              </a:rPr>
              <a:t>, </a:t>
            </a:r>
            <a:r>
              <a:rPr lang="en-US" sz="1050" kern="1200" dirty="0" err="1">
                <a:solidFill>
                  <a:prstClr val="white"/>
                </a:solidFill>
                <a:ea typeface="+mn-ea"/>
                <a:cs typeface="+mn-cs"/>
              </a:rPr>
              <a:t>consectetur</a:t>
            </a:r>
            <a:r>
              <a:rPr lang="en-US" sz="1050" kern="1200" dirty="0">
                <a:solidFill>
                  <a:prstClr val="white"/>
                </a:solidFill>
                <a:ea typeface="+mn-ea"/>
                <a:cs typeface="+mn-cs"/>
              </a:rPr>
              <a:t> </a:t>
            </a:r>
            <a:r>
              <a:rPr lang="en-US" sz="1050" kern="1200" dirty="0" err="1">
                <a:solidFill>
                  <a:prstClr val="white"/>
                </a:solidFill>
                <a:ea typeface="+mn-ea"/>
                <a:cs typeface="+mn-cs"/>
              </a:rPr>
              <a:t>adipiscing</a:t>
            </a:r>
            <a:r>
              <a:rPr lang="en-US" sz="1050" kern="1200" dirty="0">
                <a:solidFill>
                  <a:prstClr val="white"/>
                </a:solidFill>
                <a:ea typeface="+mn-ea"/>
                <a:cs typeface="+mn-cs"/>
              </a:rPr>
              <a:t> </a:t>
            </a:r>
            <a:r>
              <a:rPr lang="en-US" sz="1050" kern="1200" dirty="0" err="1">
                <a:solidFill>
                  <a:prstClr val="white"/>
                </a:solidFill>
                <a:ea typeface="+mn-ea"/>
                <a:cs typeface="+mn-cs"/>
              </a:rPr>
              <a:t>elit</a:t>
            </a:r>
            <a:r>
              <a:rPr lang="en-US" sz="1050" kern="1200" dirty="0">
                <a:solidFill>
                  <a:prstClr val="white"/>
                </a:solidFill>
                <a:ea typeface="+mn-ea"/>
                <a:cs typeface="+mn-cs"/>
              </a:rPr>
              <a:t>. Maecenas </a:t>
            </a:r>
            <a:r>
              <a:rPr lang="en-US" sz="1050" kern="1200" dirty="0" err="1">
                <a:solidFill>
                  <a:prstClr val="white"/>
                </a:solidFill>
                <a:ea typeface="+mn-ea"/>
                <a:cs typeface="+mn-cs"/>
              </a:rPr>
              <a:t>tincidunt</a:t>
            </a:r>
            <a:r>
              <a:rPr lang="en-US" sz="1050" kern="1200" dirty="0">
                <a:solidFill>
                  <a:prstClr val="white"/>
                </a:solidFill>
                <a:ea typeface="+mn-ea"/>
                <a:cs typeface="+mn-cs"/>
              </a:rPr>
              <a:t> </a:t>
            </a:r>
            <a:r>
              <a:rPr lang="en-US" sz="1050" kern="1200" dirty="0" err="1">
                <a:solidFill>
                  <a:prstClr val="white"/>
                </a:solidFill>
                <a:ea typeface="+mn-ea"/>
                <a:cs typeface="+mn-cs"/>
              </a:rPr>
              <a:t>fringilla</a:t>
            </a:r>
            <a:r>
              <a:rPr lang="en-US" sz="1050" kern="1200" dirty="0">
                <a:solidFill>
                  <a:prstClr val="white"/>
                </a:solidFill>
                <a:ea typeface="+mn-ea"/>
                <a:cs typeface="+mn-cs"/>
              </a:rPr>
              <a:t> </a:t>
            </a:r>
            <a:r>
              <a:rPr lang="en-US" sz="1050" kern="1200" dirty="0" err="1">
                <a:solidFill>
                  <a:prstClr val="white"/>
                </a:solidFill>
                <a:ea typeface="+mn-ea"/>
                <a:cs typeface="+mn-cs"/>
              </a:rPr>
              <a:t>felis</a:t>
            </a:r>
            <a:r>
              <a:rPr lang="en-US" sz="1050" kern="1200" dirty="0">
                <a:solidFill>
                  <a:prstClr val="white"/>
                </a:solidFill>
                <a:ea typeface="+mn-ea"/>
                <a:cs typeface="+mn-cs"/>
              </a:rPr>
              <a:t> </a:t>
            </a:r>
            <a:r>
              <a:rPr lang="en-US" sz="1050" kern="1200" dirty="0" err="1">
                <a:solidFill>
                  <a:prstClr val="white"/>
                </a:solidFill>
                <a:ea typeface="+mn-ea"/>
                <a:cs typeface="+mn-cs"/>
              </a:rPr>
              <a:t>vel</a:t>
            </a:r>
            <a:r>
              <a:rPr lang="en-US" sz="1050" kern="1200" dirty="0">
                <a:solidFill>
                  <a:prstClr val="white"/>
                </a:solidFill>
                <a:ea typeface="+mn-ea"/>
                <a:cs typeface="+mn-cs"/>
              </a:rPr>
              <a:t> </a:t>
            </a:r>
            <a:r>
              <a:rPr lang="en-US" sz="1050" kern="1200" dirty="0" err="1">
                <a:solidFill>
                  <a:prstClr val="white"/>
                </a:solidFill>
                <a:ea typeface="+mn-ea"/>
                <a:cs typeface="+mn-cs"/>
              </a:rPr>
              <a:t>bibendum</a:t>
            </a:r>
            <a:r>
              <a:rPr lang="en-US" sz="1050" kern="1200" dirty="0">
                <a:solidFill>
                  <a:prstClr val="white"/>
                </a:solidFill>
                <a:ea typeface="+mn-ea"/>
                <a:cs typeface="+mn-cs"/>
              </a:rPr>
              <a:t>.</a:t>
            </a:r>
          </a:p>
        </p:txBody>
      </p:sp>
      <p:sp>
        <p:nvSpPr>
          <p:cNvPr id="69" name="Rectangle 68"/>
          <p:cNvSpPr/>
          <p:nvPr/>
        </p:nvSpPr>
        <p:spPr>
          <a:xfrm>
            <a:off x="1980778" y="3766419"/>
            <a:ext cx="3203639" cy="415498"/>
          </a:xfrm>
          <a:prstGeom prst="rect">
            <a:avLst/>
          </a:prstGeom>
        </p:spPr>
        <p:txBody>
          <a:bodyPr wrap="square">
            <a:spAutoFit/>
          </a:bodyPr>
          <a:lstStyle/>
          <a:p>
            <a:pPr defTabSz="685800">
              <a:buClrTx/>
            </a:pPr>
            <a:r>
              <a:rPr lang="en-US" sz="1050" kern="1200" dirty="0">
                <a:solidFill>
                  <a:prstClr val="white"/>
                </a:solidFill>
                <a:ea typeface="+mn-ea"/>
                <a:cs typeface="+mn-cs"/>
              </a:rPr>
              <a:t>Lorem ipsum dolor sit </a:t>
            </a:r>
            <a:r>
              <a:rPr lang="en-US" sz="1050" kern="1200" dirty="0" err="1">
                <a:solidFill>
                  <a:prstClr val="white"/>
                </a:solidFill>
                <a:ea typeface="+mn-ea"/>
                <a:cs typeface="+mn-cs"/>
              </a:rPr>
              <a:t>amet</a:t>
            </a:r>
            <a:r>
              <a:rPr lang="en-US" sz="1050" kern="1200" dirty="0">
                <a:solidFill>
                  <a:prstClr val="white"/>
                </a:solidFill>
                <a:ea typeface="+mn-ea"/>
                <a:cs typeface="+mn-cs"/>
              </a:rPr>
              <a:t>, </a:t>
            </a:r>
            <a:r>
              <a:rPr lang="en-US" sz="1050" kern="1200" dirty="0" err="1">
                <a:solidFill>
                  <a:prstClr val="white"/>
                </a:solidFill>
                <a:ea typeface="+mn-ea"/>
                <a:cs typeface="+mn-cs"/>
              </a:rPr>
              <a:t>consectetur</a:t>
            </a:r>
            <a:r>
              <a:rPr lang="en-US" sz="1050" kern="1200" dirty="0">
                <a:solidFill>
                  <a:prstClr val="white"/>
                </a:solidFill>
                <a:ea typeface="+mn-ea"/>
                <a:cs typeface="+mn-cs"/>
              </a:rPr>
              <a:t> </a:t>
            </a:r>
            <a:r>
              <a:rPr lang="en-US" sz="1050" kern="1200" dirty="0" err="1">
                <a:solidFill>
                  <a:prstClr val="white"/>
                </a:solidFill>
                <a:ea typeface="+mn-ea"/>
                <a:cs typeface="+mn-cs"/>
              </a:rPr>
              <a:t>adipiscing</a:t>
            </a:r>
            <a:r>
              <a:rPr lang="en-US" sz="1050" kern="1200" dirty="0">
                <a:solidFill>
                  <a:prstClr val="white"/>
                </a:solidFill>
                <a:ea typeface="+mn-ea"/>
                <a:cs typeface="+mn-cs"/>
              </a:rPr>
              <a:t> </a:t>
            </a:r>
            <a:r>
              <a:rPr lang="en-US" sz="1050" kern="1200" dirty="0" err="1">
                <a:solidFill>
                  <a:prstClr val="white"/>
                </a:solidFill>
                <a:ea typeface="+mn-ea"/>
                <a:cs typeface="+mn-cs"/>
              </a:rPr>
              <a:t>elit</a:t>
            </a:r>
            <a:r>
              <a:rPr lang="en-US" sz="1050" kern="1200" dirty="0">
                <a:solidFill>
                  <a:prstClr val="white"/>
                </a:solidFill>
                <a:ea typeface="+mn-ea"/>
                <a:cs typeface="+mn-cs"/>
              </a:rPr>
              <a:t>. Maecenas </a:t>
            </a:r>
            <a:r>
              <a:rPr lang="en-US" sz="1050" kern="1200" dirty="0" err="1">
                <a:solidFill>
                  <a:prstClr val="white"/>
                </a:solidFill>
                <a:ea typeface="+mn-ea"/>
                <a:cs typeface="+mn-cs"/>
              </a:rPr>
              <a:t>tincidunt</a:t>
            </a:r>
            <a:r>
              <a:rPr lang="en-US" sz="1050" kern="1200" dirty="0">
                <a:solidFill>
                  <a:prstClr val="white"/>
                </a:solidFill>
                <a:ea typeface="+mn-ea"/>
                <a:cs typeface="+mn-cs"/>
              </a:rPr>
              <a:t> </a:t>
            </a:r>
            <a:r>
              <a:rPr lang="en-US" sz="1050" kern="1200" dirty="0" err="1">
                <a:solidFill>
                  <a:prstClr val="white"/>
                </a:solidFill>
                <a:ea typeface="+mn-ea"/>
                <a:cs typeface="+mn-cs"/>
              </a:rPr>
              <a:t>fringilla</a:t>
            </a:r>
            <a:r>
              <a:rPr lang="en-US" sz="1050" kern="1200" dirty="0">
                <a:solidFill>
                  <a:prstClr val="white"/>
                </a:solidFill>
                <a:ea typeface="+mn-ea"/>
                <a:cs typeface="+mn-cs"/>
              </a:rPr>
              <a:t> </a:t>
            </a:r>
            <a:r>
              <a:rPr lang="en-US" sz="1050" kern="1200" dirty="0" err="1">
                <a:solidFill>
                  <a:prstClr val="white"/>
                </a:solidFill>
                <a:ea typeface="+mn-ea"/>
                <a:cs typeface="+mn-cs"/>
              </a:rPr>
              <a:t>felis</a:t>
            </a:r>
            <a:r>
              <a:rPr lang="en-US" sz="1050" kern="1200" dirty="0">
                <a:solidFill>
                  <a:prstClr val="white"/>
                </a:solidFill>
                <a:ea typeface="+mn-ea"/>
                <a:cs typeface="+mn-cs"/>
              </a:rPr>
              <a:t> </a:t>
            </a:r>
            <a:r>
              <a:rPr lang="en-US" sz="1050" kern="1200" dirty="0" err="1">
                <a:solidFill>
                  <a:prstClr val="white"/>
                </a:solidFill>
                <a:ea typeface="+mn-ea"/>
                <a:cs typeface="+mn-cs"/>
              </a:rPr>
              <a:t>vel</a:t>
            </a:r>
            <a:r>
              <a:rPr lang="en-US" sz="1050" kern="1200" dirty="0">
                <a:solidFill>
                  <a:prstClr val="white"/>
                </a:solidFill>
                <a:ea typeface="+mn-ea"/>
                <a:cs typeface="+mn-cs"/>
              </a:rPr>
              <a:t> </a:t>
            </a:r>
            <a:r>
              <a:rPr lang="en-US" sz="1050" kern="1200" dirty="0" err="1">
                <a:solidFill>
                  <a:prstClr val="white"/>
                </a:solidFill>
                <a:ea typeface="+mn-ea"/>
                <a:cs typeface="+mn-cs"/>
              </a:rPr>
              <a:t>bibendum</a:t>
            </a:r>
            <a:r>
              <a:rPr lang="en-US" sz="1050" kern="1200" dirty="0">
                <a:solidFill>
                  <a:prstClr val="white"/>
                </a:solidFill>
                <a:ea typeface="+mn-ea"/>
                <a:cs typeface="+mn-cs"/>
              </a:rPr>
              <a:t>.</a:t>
            </a:r>
          </a:p>
        </p:txBody>
      </p:sp>
      <p:sp>
        <p:nvSpPr>
          <p:cNvPr id="70" name="Rectangle 69"/>
          <p:cNvSpPr/>
          <p:nvPr/>
        </p:nvSpPr>
        <p:spPr>
          <a:xfrm>
            <a:off x="1980778" y="1624541"/>
            <a:ext cx="3227738" cy="415498"/>
          </a:xfrm>
          <a:prstGeom prst="rect">
            <a:avLst/>
          </a:prstGeom>
        </p:spPr>
        <p:txBody>
          <a:bodyPr wrap="square">
            <a:spAutoFit/>
          </a:bodyPr>
          <a:lstStyle/>
          <a:p>
            <a:pPr defTabSz="685800">
              <a:buClrTx/>
            </a:pPr>
            <a:r>
              <a:rPr lang="en-US" sz="1050" kern="1200" dirty="0">
                <a:solidFill>
                  <a:prstClr val="white"/>
                </a:solidFill>
                <a:ea typeface="+mn-ea"/>
                <a:cs typeface="+mn-cs"/>
              </a:rPr>
              <a:t>Lorem ipsum dolor sit </a:t>
            </a:r>
            <a:r>
              <a:rPr lang="en-US" sz="1050" kern="1200" dirty="0" err="1">
                <a:solidFill>
                  <a:prstClr val="white"/>
                </a:solidFill>
                <a:ea typeface="+mn-ea"/>
                <a:cs typeface="+mn-cs"/>
              </a:rPr>
              <a:t>amet</a:t>
            </a:r>
            <a:r>
              <a:rPr lang="en-US" sz="1050" kern="1200" dirty="0">
                <a:solidFill>
                  <a:prstClr val="white"/>
                </a:solidFill>
                <a:ea typeface="+mn-ea"/>
                <a:cs typeface="+mn-cs"/>
              </a:rPr>
              <a:t>, </a:t>
            </a:r>
            <a:r>
              <a:rPr lang="en-US" sz="1050" kern="1200" dirty="0" err="1">
                <a:solidFill>
                  <a:prstClr val="white"/>
                </a:solidFill>
                <a:ea typeface="+mn-ea"/>
                <a:cs typeface="+mn-cs"/>
              </a:rPr>
              <a:t>consectetur</a:t>
            </a:r>
            <a:r>
              <a:rPr lang="en-US" sz="1050" kern="1200" dirty="0">
                <a:solidFill>
                  <a:prstClr val="white"/>
                </a:solidFill>
                <a:ea typeface="+mn-ea"/>
                <a:cs typeface="+mn-cs"/>
              </a:rPr>
              <a:t> </a:t>
            </a:r>
            <a:r>
              <a:rPr lang="en-US" sz="1050" kern="1200" dirty="0" err="1">
                <a:solidFill>
                  <a:prstClr val="white"/>
                </a:solidFill>
                <a:ea typeface="+mn-ea"/>
                <a:cs typeface="+mn-cs"/>
              </a:rPr>
              <a:t>adipiscing</a:t>
            </a:r>
            <a:r>
              <a:rPr lang="en-US" sz="1050" kern="1200" dirty="0">
                <a:solidFill>
                  <a:prstClr val="white"/>
                </a:solidFill>
                <a:ea typeface="+mn-ea"/>
                <a:cs typeface="+mn-cs"/>
              </a:rPr>
              <a:t> </a:t>
            </a:r>
            <a:r>
              <a:rPr lang="en-US" sz="1050" kern="1200" dirty="0" err="1">
                <a:solidFill>
                  <a:prstClr val="white"/>
                </a:solidFill>
                <a:ea typeface="+mn-ea"/>
                <a:cs typeface="+mn-cs"/>
              </a:rPr>
              <a:t>elit</a:t>
            </a:r>
            <a:r>
              <a:rPr lang="en-US" sz="1050" kern="1200" dirty="0">
                <a:solidFill>
                  <a:prstClr val="white"/>
                </a:solidFill>
                <a:ea typeface="+mn-ea"/>
                <a:cs typeface="+mn-cs"/>
              </a:rPr>
              <a:t>. Maecenas </a:t>
            </a:r>
            <a:r>
              <a:rPr lang="en-US" sz="1050" kern="1200" dirty="0" err="1">
                <a:solidFill>
                  <a:prstClr val="white"/>
                </a:solidFill>
                <a:ea typeface="+mn-ea"/>
                <a:cs typeface="+mn-cs"/>
              </a:rPr>
              <a:t>tincidunt</a:t>
            </a:r>
            <a:r>
              <a:rPr lang="en-US" sz="1050" kern="1200" dirty="0">
                <a:solidFill>
                  <a:prstClr val="white"/>
                </a:solidFill>
                <a:ea typeface="+mn-ea"/>
                <a:cs typeface="+mn-cs"/>
              </a:rPr>
              <a:t> </a:t>
            </a:r>
            <a:r>
              <a:rPr lang="en-US" sz="1050" kern="1200" dirty="0" err="1">
                <a:solidFill>
                  <a:prstClr val="white"/>
                </a:solidFill>
                <a:ea typeface="+mn-ea"/>
                <a:cs typeface="+mn-cs"/>
              </a:rPr>
              <a:t>fringilla</a:t>
            </a:r>
            <a:r>
              <a:rPr lang="en-US" sz="1050" kern="1200" dirty="0">
                <a:solidFill>
                  <a:prstClr val="white"/>
                </a:solidFill>
                <a:ea typeface="+mn-ea"/>
                <a:cs typeface="+mn-cs"/>
              </a:rPr>
              <a:t> </a:t>
            </a:r>
            <a:r>
              <a:rPr lang="en-US" sz="1050" kern="1200" dirty="0" err="1">
                <a:solidFill>
                  <a:prstClr val="white"/>
                </a:solidFill>
                <a:ea typeface="+mn-ea"/>
                <a:cs typeface="+mn-cs"/>
              </a:rPr>
              <a:t>felis</a:t>
            </a:r>
            <a:r>
              <a:rPr lang="en-US" sz="1050" kern="1200" dirty="0">
                <a:solidFill>
                  <a:prstClr val="white"/>
                </a:solidFill>
                <a:ea typeface="+mn-ea"/>
                <a:cs typeface="+mn-cs"/>
              </a:rPr>
              <a:t> </a:t>
            </a:r>
            <a:r>
              <a:rPr lang="en-US" sz="1050" kern="1200" dirty="0" err="1">
                <a:solidFill>
                  <a:prstClr val="white"/>
                </a:solidFill>
                <a:ea typeface="+mn-ea"/>
                <a:cs typeface="+mn-cs"/>
              </a:rPr>
              <a:t>vel</a:t>
            </a:r>
            <a:r>
              <a:rPr lang="en-US" sz="1050" kern="1200" dirty="0">
                <a:solidFill>
                  <a:prstClr val="white"/>
                </a:solidFill>
                <a:ea typeface="+mn-ea"/>
                <a:cs typeface="+mn-cs"/>
              </a:rPr>
              <a:t> </a:t>
            </a:r>
            <a:r>
              <a:rPr lang="en-US" sz="1050" kern="1200" dirty="0" err="1">
                <a:solidFill>
                  <a:prstClr val="white"/>
                </a:solidFill>
                <a:ea typeface="+mn-ea"/>
                <a:cs typeface="+mn-cs"/>
              </a:rPr>
              <a:t>bibendum</a:t>
            </a:r>
            <a:r>
              <a:rPr lang="en-US" sz="1050" kern="1200" dirty="0">
                <a:solidFill>
                  <a:prstClr val="white"/>
                </a:solidFill>
                <a:ea typeface="+mn-ea"/>
                <a:cs typeface="+mn-cs"/>
              </a:rPr>
              <a:t>.</a:t>
            </a:r>
          </a:p>
        </p:txBody>
      </p:sp>
      <p:sp>
        <p:nvSpPr>
          <p:cNvPr id="4" name="Oval 3"/>
          <p:cNvSpPr/>
          <p:nvPr/>
        </p:nvSpPr>
        <p:spPr>
          <a:xfrm>
            <a:off x="5816150" y="1684599"/>
            <a:ext cx="493776" cy="303892"/>
          </a:xfrm>
          <a:prstGeom prst="ellipse">
            <a:avLst/>
          </a:prstGeom>
          <a:solidFill>
            <a:srgbClr val="00277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71" name="Oval 70"/>
          <p:cNvSpPr/>
          <p:nvPr/>
        </p:nvSpPr>
        <p:spPr>
          <a:xfrm>
            <a:off x="5816150" y="2228793"/>
            <a:ext cx="493776" cy="303892"/>
          </a:xfrm>
          <a:prstGeom prst="ellipse">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72" name="Oval 71"/>
          <p:cNvSpPr/>
          <p:nvPr/>
        </p:nvSpPr>
        <p:spPr>
          <a:xfrm>
            <a:off x="5816150" y="2770752"/>
            <a:ext cx="493776" cy="303892"/>
          </a:xfrm>
          <a:prstGeom prst="ellipse">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73" name="Oval 72"/>
          <p:cNvSpPr/>
          <p:nvPr/>
        </p:nvSpPr>
        <p:spPr>
          <a:xfrm>
            <a:off x="5816150" y="3309867"/>
            <a:ext cx="493776" cy="303892"/>
          </a:xfrm>
          <a:prstGeom prst="ellipse">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74" name="Oval 73"/>
          <p:cNvSpPr/>
          <p:nvPr/>
        </p:nvSpPr>
        <p:spPr>
          <a:xfrm>
            <a:off x="5816150" y="3858609"/>
            <a:ext cx="493776" cy="303892"/>
          </a:xfrm>
          <a:prstGeom prst="ellipse">
            <a:avLst/>
          </a:pr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pic>
        <p:nvPicPr>
          <p:cNvPr id="75" name="Picture 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10157" y="2256850"/>
            <a:ext cx="322092" cy="2915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894835" y="2798770"/>
            <a:ext cx="353485" cy="247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7" name="Picture 76" descr="33.emf"/>
          <p:cNvPicPr>
            <a:picLocks noChangeAspect="1"/>
          </p:cNvPicPr>
          <p:nvPr/>
        </p:nvPicPr>
        <p:blipFill>
          <a:blip r:embed="rId8">
            <a:biLevel thresh="25000"/>
          </a:blip>
          <a:stretch>
            <a:fillRect/>
          </a:stretch>
        </p:blipFill>
        <p:spPr>
          <a:xfrm>
            <a:off x="5877016" y="1624542"/>
            <a:ext cx="363123" cy="336472"/>
          </a:xfrm>
          <a:prstGeom prst="rect">
            <a:avLst/>
          </a:prstGeom>
        </p:spPr>
      </p:pic>
      <p:grpSp>
        <p:nvGrpSpPr>
          <p:cNvPr id="78" name="Group 77"/>
          <p:cNvGrpSpPr/>
          <p:nvPr/>
        </p:nvGrpSpPr>
        <p:grpSpPr>
          <a:xfrm>
            <a:off x="5887309" y="3821597"/>
            <a:ext cx="368535" cy="373977"/>
            <a:chOff x="7775298" y="4300210"/>
            <a:chExt cx="340038" cy="345060"/>
          </a:xfrm>
        </p:grpSpPr>
        <p:pic>
          <p:nvPicPr>
            <p:cNvPr id="79" name="Picture 3" descr="C:\Users\kknight\Desktop\cog 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782024" y="4300210"/>
              <a:ext cx="231650" cy="226773"/>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3" descr="C:\Users\kknight\Desktop\cog ico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775298" y="4529287"/>
              <a:ext cx="118477" cy="115983"/>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3" descr="C:\Users\kknight\Desktop\cog ico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rot="767128">
              <a:off x="7899965" y="4509191"/>
              <a:ext cx="118477" cy="115983"/>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3" descr="C:\Users\kknight\Desktop\cog ico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996859" y="4435799"/>
              <a:ext cx="118477" cy="115983"/>
            </a:xfrm>
            <a:prstGeom prst="rect">
              <a:avLst/>
            </a:prstGeom>
            <a:noFill/>
            <a:extLst>
              <a:ext uri="{909E8E84-426E-40DD-AFC4-6F175D3DCCD1}">
                <a14:hiddenFill xmlns:a14="http://schemas.microsoft.com/office/drawing/2010/main">
                  <a:solidFill>
                    <a:srgbClr val="FFFFFF"/>
                  </a:solidFill>
                </a14:hiddenFill>
              </a:ext>
            </a:extLst>
          </p:spPr>
        </p:pic>
      </p:grpSp>
      <p:pic>
        <p:nvPicPr>
          <p:cNvPr id="83" name="Picture 1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907011" y="3334711"/>
            <a:ext cx="312054" cy="254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89368753"/>
      </p:ext>
    </p:extLst>
  </p:cSld>
  <p:clrMapOvr>
    <a:masterClrMapping/>
  </p:clrMapOvr>
  <p:transition>
    <p:fade/>
  </p:transition>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Wreath </a:t>
            </a:r>
            <a:br>
              <a:rPr lang="en-US" altLang="ja-JP" dirty="0"/>
            </a:b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3"/>
          <p:cNvGrpSpPr/>
          <p:nvPr/>
        </p:nvGrpSpPr>
        <p:grpSpPr>
          <a:xfrm>
            <a:off x="3069368" y="1131570"/>
            <a:ext cx="3279110" cy="3285478"/>
            <a:chOff x="2568490" y="1288732"/>
            <a:chExt cx="4372147" cy="4380637"/>
          </a:xfrm>
        </p:grpSpPr>
        <p:sp>
          <p:nvSpPr>
            <p:cNvPr id="76" name="Rectangle 75"/>
            <p:cNvSpPr/>
            <p:nvPr/>
          </p:nvSpPr>
          <p:spPr>
            <a:xfrm rot="18900000">
              <a:off x="2645717" y="1851793"/>
              <a:ext cx="2031619" cy="1059954"/>
            </a:xfrm>
            <a:prstGeom prst="rect">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77" name="Rectangle 76"/>
            <p:cNvSpPr/>
            <p:nvPr/>
          </p:nvSpPr>
          <p:spPr>
            <a:xfrm rot="2700000" flipH="1">
              <a:off x="4831789" y="1851792"/>
              <a:ext cx="2031619" cy="1059954"/>
            </a:xfrm>
            <a:prstGeom prst="rect">
              <a:avLst/>
            </a:prstGeom>
            <a:solidFill>
              <a:srgbClr val="81BC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750" kern="1200" dirty="0" err="1">
                <a:solidFill>
                  <a:srgbClr val="313131"/>
                </a:solidFill>
                <a:latin typeface="Arial"/>
              </a:endParaRPr>
            </a:p>
          </p:txBody>
        </p:sp>
        <p:sp>
          <p:nvSpPr>
            <p:cNvPr id="78" name="Rectangle 77"/>
            <p:cNvSpPr/>
            <p:nvPr/>
          </p:nvSpPr>
          <p:spPr>
            <a:xfrm rot="2700000" flipV="1">
              <a:off x="2645718" y="4046355"/>
              <a:ext cx="2031619" cy="1059954"/>
            </a:xfrm>
            <a:prstGeom prst="rect">
              <a:avLst/>
            </a:prstGeom>
            <a:solidFill>
              <a:srgbClr val="72C7E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79" name="Rectangle 78"/>
            <p:cNvSpPr/>
            <p:nvPr/>
          </p:nvSpPr>
          <p:spPr>
            <a:xfrm rot="18900000" flipH="1" flipV="1">
              <a:off x="4831790" y="4046354"/>
              <a:ext cx="2031619" cy="1059954"/>
            </a:xfrm>
            <a:prstGeom prst="rect">
              <a:avLst/>
            </a:prstGeom>
            <a:solidFill>
              <a:srgbClr val="00A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80" name="Isosceles Triangle 7"/>
            <p:cNvSpPr/>
            <p:nvPr/>
          </p:nvSpPr>
          <p:spPr>
            <a:xfrm rot="5400000">
              <a:off x="2196350" y="3109570"/>
              <a:ext cx="1485155" cy="740876"/>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81" name="Isosceles Triangle 7"/>
            <p:cNvSpPr/>
            <p:nvPr/>
          </p:nvSpPr>
          <p:spPr>
            <a:xfrm rot="16200000" flipH="1">
              <a:off x="5827621" y="3109572"/>
              <a:ext cx="1485155" cy="740876"/>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rgbClr val="00A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82" name="Isosceles Triangle 7"/>
            <p:cNvSpPr/>
            <p:nvPr/>
          </p:nvSpPr>
          <p:spPr>
            <a:xfrm flipH="1">
              <a:off x="4011986" y="4928493"/>
              <a:ext cx="1485155" cy="740876"/>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rgbClr val="72C7E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83" name="Isosceles Triangle 7"/>
            <p:cNvSpPr/>
            <p:nvPr/>
          </p:nvSpPr>
          <p:spPr>
            <a:xfrm flipH="1" flipV="1">
              <a:off x="4011986" y="1288732"/>
              <a:ext cx="1485155" cy="740876"/>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rgbClr val="81BC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grpSp>
          <p:nvGrpSpPr>
            <p:cNvPr id="84" name="Group 83"/>
            <p:cNvGrpSpPr>
              <a:grpSpLocks noChangeAspect="1"/>
            </p:cNvGrpSpPr>
            <p:nvPr/>
          </p:nvGrpSpPr>
          <p:grpSpPr>
            <a:xfrm>
              <a:off x="4477779" y="5188414"/>
              <a:ext cx="553565" cy="405188"/>
              <a:chOff x="2751968" y="3404186"/>
              <a:chExt cx="365760" cy="267722"/>
            </a:xfrm>
          </p:grpSpPr>
          <p:sp>
            <p:nvSpPr>
              <p:cNvPr id="85" name="Oval 84"/>
              <p:cNvSpPr/>
              <p:nvPr/>
            </p:nvSpPr>
            <p:spPr>
              <a:xfrm>
                <a:off x="2751968" y="3404186"/>
                <a:ext cx="365760" cy="267722"/>
              </a:xfrm>
              <a:prstGeom prst="ellipse">
                <a:avLst/>
              </a:pr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86" name="Freeform 85"/>
              <p:cNvSpPr/>
              <p:nvPr/>
            </p:nvSpPr>
            <p:spPr>
              <a:xfrm rot="19236591">
                <a:off x="2809402" y="3432689"/>
                <a:ext cx="274320" cy="190389"/>
              </a:xfrm>
              <a:custGeom>
                <a:avLst/>
                <a:gdLst>
                  <a:gd name="connsiteX0" fmla="*/ 869950 w 1073150"/>
                  <a:gd name="connsiteY0" fmla="*/ 523875 h 1187450"/>
                  <a:gd name="connsiteX1" fmla="*/ 796925 w 1073150"/>
                  <a:gd name="connsiteY1" fmla="*/ 434975 h 1187450"/>
                  <a:gd name="connsiteX2" fmla="*/ 749300 w 1073150"/>
                  <a:gd name="connsiteY2" fmla="*/ 365125 h 1187450"/>
                  <a:gd name="connsiteX3" fmla="*/ 666750 w 1073150"/>
                  <a:gd name="connsiteY3" fmla="*/ 257175 h 1187450"/>
                  <a:gd name="connsiteX4" fmla="*/ 615950 w 1073150"/>
                  <a:gd name="connsiteY4" fmla="*/ 184150 h 1187450"/>
                  <a:gd name="connsiteX5" fmla="*/ 504825 w 1073150"/>
                  <a:gd name="connsiteY5" fmla="*/ 41275 h 1187450"/>
                  <a:gd name="connsiteX6" fmla="*/ 428625 w 1073150"/>
                  <a:gd name="connsiteY6" fmla="*/ 0 h 1187450"/>
                  <a:gd name="connsiteX7" fmla="*/ 377825 w 1073150"/>
                  <a:gd name="connsiteY7" fmla="*/ 3175 h 1187450"/>
                  <a:gd name="connsiteX8" fmla="*/ 539750 w 1073150"/>
                  <a:gd name="connsiteY8" fmla="*/ 384175 h 1187450"/>
                  <a:gd name="connsiteX9" fmla="*/ 482600 w 1073150"/>
                  <a:gd name="connsiteY9" fmla="*/ 542925 h 1187450"/>
                  <a:gd name="connsiteX10" fmla="*/ 215900 w 1073150"/>
                  <a:gd name="connsiteY10" fmla="*/ 552450 h 1187450"/>
                  <a:gd name="connsiteX11" fmla="*/ 85725 w 1073150"/>
                  <a:gd name="connsiteY11" fmla="*/ 393700 h 1187450"/>
                  <a:gd name="connsiteX12" fmla="*/ 0 w 1073150"/>
                  <a:gd name="connsiteY12" fmla="*/ 374650 h 1187450"/>
                  <a:gd name="connsiteX13" fmla="*/ 53975 w 1073150"/>
                  <a:gd name="connsiteY13" fmla="*/ 568325 h 1187450"/>
                  <a:gd name="connsiteX14" fmla="*/ 50800 w 1073150"/>
                  <a:gd name="connsiteY14" fmla="*/ 619125 h 1187450"/>
                  <a:gd name="connsiteX15" fmla="*/ 9525 w 1073150"/>
                  <a:gd name="connsiteY15" fmla="*/ 806450 h 1187450"/>
                  <a:gd name="connsiteX16" fmla="*/ 88900 w 1073150"/>
                  <a:gd name="connsiteY16" fmla="*/ 796925 h 1187450"/>
                  <a:gd name="connsiteX17" fmla="*/ 212725 w 1073150"/>
                  <a:gd name="connsiteY17" fmla="*/ 615950 h 1187450"/>
                  <a:gd name="connsiteX18" fmla="*/ 460375 w 1073150"/>
                  <a:gd name="connsiteY18" fmla="*/ 638175 h 1187450"/>
                  <a:gd name="connsiteX19" fmla="*/ 536575 w 1073150"/>
                  <a:gd name="connsiteY19" fmla="*/ 822325 h 1187450"/>
                  <a:gd name="connsiteX20" fmla="*/ 390525 w 1073150"/>
                  <a:gd name="connsiteY20" fmla="*/ 1187450 h 1187450"/>
                  <a:gd name="connsiteX21" fmla="*/ 536575 w 1073150"/>
                  <a:gd name="connsiteY21" fmla="*/ 1111250 h 1187450"/>
                  <a:gd name="connsiteX22" fmla="*/ 612775 w 1073150"/>
                  <a:gd name="connsiteY22" fmla="*/ 996950 h 1187450"/>
                  <a:gd name="connsiteX23" fmla="*/ 663575 w 1073150"/>
                  <a:gd name="connsiteY23" fmla="*/ 930275 h 1187450"/>
                  <a:gd name="connsiteX24" fmla="*/ 746125 w 1073150"/>
                  <a:gd name="connsiteY24" fmla="*/ 815975 h 1187450"/>
                  <a:gd name="connsiteX25" fmla="*/ 803275 w 1073150"/>
                  <a:gd name="connsiteY25" fmla="*/ 749300 h 1187450"/>
                  <a:gd name="connsiteX26" fmla="*/ 869950 w 1073150"/>
                  <a:gd name="connsiteY26" fmla="*/ 650875 h 1187450"/>
                  <a:gd name="connsiteX27" fmla="*/ 1069975 w 1073150"/>
                  <a:gd name="connsiteY27" fmla="*/ 641350 h 1187450"/>
                  <a:gd name="connsiteX28" fmla="*/ 1073150 w 1073150"/>
                  <a:gd name="connsiteY28" fmla="*/ 542925 h 1187450"/>
                  <a:gd name="connsiteX29" fmla="*/ 869950 w 1073150"/>
                  <a:gd name="connsiteY29" fmla="*/ 523875 h 1187450"/>
                  <a:gd name="connsiteX0" fmla="*/ 869950 w 1174048"/>
                  <a:gd name="connsiteY0" fmla="*/ 523875 h 1187450"/>
                  <a:gd name="connsiteX1" fmla="*/ 796925 w 1174048"/>
                  <a:gd name="connsiteY1" fmla="*/ 434975 h 1187450"/>
                  <a:gd name="connsiteX2" fmla="*/ 749300 w 1174048"/>
                  <a:gd name="connsiteY2" fmla="*/ 365125 h 1187450"/>
                  <a:gd name="connsiteX3" fmla="*/ 666750 w 1174048"/>
                  <a:gd name="connsiteY3" fmla="*/ 257175 h 1187450"/>
                  <a:gd name="connsiteX4" fmla="*/ 615950 w 1174048"/>
                  <a:gd name="connsiteY4" fmla="*/ 184150 h 1187450"/>
                  <a:gd name="connsiteX5" fmla="*/ 504825 w 1174048"/>
                  <a:gd name="connsiteY5" fmla="*/ 41275 h 1187450"/>
                  <a:gd name="connsiteX6" fmla="*/ 428625 w 1174048"/>
                  <a:gd name="connsiteY6" fmla="*/ 0 h 1187450"/>
                  <a:gd name="connsiteX7" fmla="*/ 377825 w 1174048"/>
                  <a:gd name="connsiteY7" fmla="*/ 3175 h 1187450"/>
                  <a:gd name="connsiteX8" fmla="*/ 539750 w 1174048"/>
                  <a:gd name="connsiteY8" fmla="*/ 384175 h 1187450"/>
                  <a:gd name="connsiteX9" fmla="*/ 482600 w 1174048"/>
                  <a:gd name="connsiteY9" fmla="*/ 542925 h 1187450"/>
                  <a:gd name="connsiteX10" fmla="*/ 215900 w 1174048"/>
                  <a:gd name="connsiteY10" fmla="*/ 552450 h 1187450"/>
                  <a:gd name="connsiteX11" fmla="*/ 85725 w 1174048"/>
                  <a:gd name="connsiteY11" fmla="*/ 393700 h 1187450"/>
                  <a:gd name="connsiteX12" fmla="*/ 0 w 1174048"/>
                  <a:gd name="connsiteY12" fmla="*/ 374650 h 1187450"/>
                  <a:gd name="connsiteX13" fmla="*/ 53975 w 1174048"/>
                  <a:gd name="connsiteY13" fmla="*/ 568325 h 1187450"/>
                  <a:gd name="connsiteX14" fmla="*/ 50800 w 1174048"/>
                  <a:gd name="connsiteY14" fmla="*/ 619125 h 1187450"/>
                  <a:gd name="connsiteX15" fmla="*/ 9525 w 1174048"/>
                  <a:gd name="connsiteY15" fmla="*/ 806450 h 1187450"/>
                  <a:gd name="connsiteX16" fmla="*/ 88900 w 1174048"/>
                  <a:gd name="connsiteY16" fmla="*/ 796925 h 1187450"/>
                  <a:gd name="connsiteX17" fmla="*/ 212725 w 1174048"/>
                  <a:gd name="connsiteY17" fmla="*/ 615950 h 1187450"/>
                  <a:gd name="connsiteX18" fmla="*/ 460375 w 1174048"/>
                  <a:gd name="connsiteY18" fmla="*/ 638175 h 1187450"/>
                  <a:gd name="connsiteX19" fmla="*/ 536575 w 1174048"/>
                  <a:gd name="connsiteY19" fmla="*/ 822325 h 1187450"/>
                  <a:gd name="connsiteX20" fmla="*/ 390525 w 1174048"/>
                  <a:gd name="connsiteY20" fmla="*/ 1187450 h 1187450"/>
                  <a:gd name="connsiteX21" fmla="*/ 536575 w 1174048"/>
                  <a:gd name="connsiteY21" fmla="*/ 1111250 h 1187450"/>
                  <a:gd name="connsiteX22" fmla="*/ 612775 w 1174048"/>
                  <a:gd name="connsiteY22" fmla="*/ 996950 h 1187450"/>
                  <a:gd name="connsiteX23" fmla="*/ 663575 w 1174048"/>
                  <a:gd name="connsiteY23" fmla="*/ 930275 h 1187450"/>
                  <a:gd name="connsiteX24" fmla="*/ 746125 w 1174048"/>
                  <a:gd name="connsiteY24" fmla="*/ 815975 h 1187450"/>
                  <a:gd name="connsiteX25" fmla="*/ 803275 w 1174048"/>
                  <a:gd name="connsiteY25" fmla="*/ 749300 h 1187450"/>
                  <a:gd name="connsiteX26" fmla="*/ 869950 w 1174048"/>
                  <a:gd name="connsiteY26" fmla="*/ 650875 h 1187450"/>
                  <a:gd name="connsiteX27" fmla="*/ 1069975 w 1174048"/>
                  <a:gd name="connsiteY27" fmla="*/ 641350 h 1187450"/>
                  <a:gd name="connsiteX28" fmla="*/ 1073150 w 1174048"/>
                  <a:gd name="connsiteY28" fmla="*/ 542925 h 1187450"/>
                  <a:gd name="connsiteX29" fmla="*/ 869950 w 1174048"/>
                  <a:gd name="connsiteY29" fmla="*/ 523875 h 1187450"/>
                  <a:gd name="connsiteX0" fmla="*/ 869950 w 1203659"/>
                  <a:gd name="connsiteY0" fmla="*/ 523875 h 1187450"/>
                  <a:gd name="connsiteX1" fmla="*/ 796925 w 1203659"/>
                  <a:gd name="connsiteY1" fmla="*/ 434975 h 1187450"/>
                  <a:gd name="connsiteX2" fmla="*/ 749300 w 1203659"/>
                  <a:gd name="connsiteY2" fmla="*/ 365125 h 1187450"/>
                  <a:gd name="connsiteX3" fmla="*/ 666750 w 1203659"/>
                  <a:gd name="connsiteY3" fmla="*/ 257175 h 1187450"/>
                  <a:gd name="connsiteX4" fmla="*/ 615950 w 1203659"/>
                  <a:gd name="connsiteY4" fmla="*/ 184150 h 1187450"/>
                  <a:gd name="connsiteX5" fmla="*/ 504825 w 1203659"/>
                  <a:gd name="connsiteY5" fmla="*/ 41275 h 1187450"/>
                  <a:gd name="connsiteX6" fmla="*/ 428625 w 1203659"/>
                  <a:gd name="connsiteY6" fmla="*/ 0 h 1187450"/>
                  <a:gd name="connsiteX7" fmla="*/ 377825 w 1203659"/>
                  <a:gd name="connsiteY7" fmla="*/ 3175 h 1187450"/>
                  <a:gd name="connsiteX8" fmla="*/ 539750 w 1203659"/>
                  <a:gd name="connsiteY8" fmla="*/ 384175 h 1187450"/>
                  <a:gd name="connsiteX9" fmla="*/ 482600 w 1203659"/>
                  <a:gd name="connsiteY9" fmla="*/ 542925 h 1187450"/>
                  <a:gd name="connsiteX10" fmla="*/ 215900 w 1203659"/>
                  <a:gd name="connsiteY10" fmla="*/ 552450 h 1187450"/>
                  <a:gd name="connsiteX11" fmla="*/ 85725 w 1203659"/>
                  <a:gd name="connsiteY11" fmla="*/ 393700 h 1187450"/>
                  <a:gd name="connsiteX12" fmla="*/ 0 w 1203659"/>
                  <a:gd name="connsiteY12" fmla="*/ 374650 h 1187450"/>
                  <a:gd name="connsiteX13" fmla="*/ 53975 w 1203659"/>
                  <a:gd name="connsiteY13" fmla="*/ 568325 h 1187450"/>
                  <a:gd name="connsiteX14" fmla="*/ 50800 w 1203659"/>
                  <a:gd name="connsiteY14" fmla="*/ 619125 h 1187450"/>
                  <a:gd name="connsiteX15" fmla="*/ 9525 w 1203659"/>
                  <a:gd name="connsiteY15" fmla="*/ 806450 h 1187450"/>
                  <a:gd name="connsiteX16" fmla="*/ 88900 w 1203659"/>
                  <a:gd name="connsiteY16" fmla="*/ 796925 h 1187450"/>
                  <a:gd name="connsiteX17" fmla="*/ 212725 w 1203659"/>
                  <a:gd name="connsiteY17" fmla="*/ 615950 h 1187450"/>
                  <a:gd name="connsiteX18" fmla="*/ 460375 w 1203659"/>
                  <a:gd name="connsiteY18" fmla="*/ 638175 h 1187450"/>
                  <a:gd name="connsiteX19" fmla="*/ 536575 w 1203659"/>
                  <a:gd name="connsiteY19" fmla="*/ 822325 h 1187450"/>
                  <a:gd name="connsiteX20" fmla="*/ 390525 w 1203659"/>
                  <a:gd name="connsiteY20" fmla="*/ 1187450 h 1187450"/>
                  <a:gd name="connsiteX21" fmla="*/ 536575 w 1203659"/>
                  <a:gd name="connsiteY21" fmla="*/ 1111250 h 1187450"/>
                  <a:gd name="connsiteX22" fmla="*/ 612775 w 1203659"/>
                  <a:gd name="connsiteY22" fmla="*/ 996950 h 1187450"/>
                  <a:gd name="connsiteX23" fmla="*/ 663575 w 1203659"/>
                  <a:gd name="connsiteY23" fmla="*/ 930275 h 1187450"/>
                  <a:gd name="connsiteX24" fmla="*/ 746125 w 1203659"/>
                  <a:gd name="connsiteY24" fmla="*/ 815975 h 1187450"/>
                  <a:gd name="connsiteX25" fmla="*/ 803275 w 1203659"/>
                  <a:gd name="connsiteY25" fmla="*/ 749300 h 1187450"/>
                  <a:gd name="connsiteX26" fmla="*/ 869950 w 1203659"/>
                  <a:gd name="connsiteY26" fmla="*/ 650875 h 1187450"/>
                  <a:gd name="connsiteX27" fmla="*/ 1069975 w 1203659"/>
                  <a:gd name="connsiteY27" fmla="*/ 641350 h 1187450"/>
                  <a:gd name="connsiteX28" fmla="*/ 1073150 w 1203659"/>
                  <a:gd name="connsiteY28" fmla="*/ 542925 h 1187450"/>
                  <a:gd name="connsiteX29" fmla="*/ 869950 w 1203659"/>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5003" h="1187450">
                    <a:moveTo>
                      <a:pt x="869950" y="523875"/>
                    </a:moveTo>
                    <a:lnTo>
                      <a:pt x="796925" y="434975"/>
                    </a:lnTo>
                    <a:cubicBezTo>
                      <a:pt x="869950" y="383117"/>
                      <a:pt x="784225" y="353483"/>
                      <a:pt x="749300" y="365125"/>
                    </a:cubicBezTo>
                    <a:lnTo>
                      <a:pt x="666750" y="257175"/>
                    </a:lnTo>
                    <a:cubicBezTo>
                      <a:pt x="729192" y="201083"/>
                      <a:pt x="693208" y="183092"/>
                      <a:pt x="615950" y="184150"/>
                    </a:cubicBezTo>
                    <a:lnTo>
                      <a:pt x="504825" y="41275"/>
                    </a:lnTo>
                    <a:cubicBezTo>
                      <a:pt x="466725" y="5292"/>
                      <a:pt x="454025" y="13758"/>
                      <a:pt x="428625" y="0"/>
                    </a:cubicBezTo>
                    <a:lnTo>
                      <a:pt x="377825" y="3175"/>
                    </a:lnTo>
                    <a:lnTo>
                      <a:pt x="539750" y="384175"/>
                    </a:lnTo>
                    <a:cubicBezTo>
                      <a:pt x="552450" y="443442"/>
                      <a:pt x="622300" y="515408"/>
                      <a:pt x="482600" y="542925"/>
                    </a:cubicBezTo>
                    <a:lnTo>
                      <a:pt x="215900" y="552450"/>
                    </a:lnTo>
                    <a:lnTo>
                      <a:pt x="85725" y="393700"/>
                    </a:lnTo>
                    <a:lnTo>
                      <a:pt x="0" y="374650"/>
                    </a:lnTo>
                    <a:lnTo>
                      <a:pt x="53975" y="568325"/>
                    </a:lnTo>
                    <a:cubicBezTo>
                      <a:pt x="14817" y="582083"/>
                      <a:pt x="4233" y="599017"/>
                      <a:pt x="50800" y="619125"/>
                    </a:cubicBezTo>
                    <a:lnTo>
                      <a:pt x="9525" y="806450"/>
                    </a:lnTo>
                    <a:lnTo>
                      <a:pt x="88900" y="796925"/>
                    </a:lnTo>
                    <a:lnTo>
                      <a:pt x="215900" y="635000"/>
                    </a:lnTo>
                    <a:lnTo>
                      <a:pt x="460375" y="638175"/>
                    </a:lnTo>
                    <a:cubicBezTo>
                      <a:pt x="565150" y="670983"/>
                      <a:pt x="603250" y="646642"/>
                      <a:pt x="536575" y="822325"/>
                    </a:cubicBezTo>
                    <a:lnTo>
                      <a:pt x="390525" y="1187450"/>
                    </a:lnTo>
                    <a:cubicBezTo>
                      <a:pt x="439208" y="1162050"/>
                      <a:pt x="452967" y="1231900"/>
                      <a:pt x="536575" y="1111250"/>
                    </a:cubicBezTo>
                    <a:lnTo>
                      <a:pt x="612775" y="996950"/>
                    </a:lnTo>
                    <a:cubicBezTo>
                      <a:pt x="721783" y="1003300"/>
                      <a:pt x="710142" y="955675"/>
                      <a:pt x="663575" y="930275"/>
                    </a:cubicBezTo>
                    <a:lnTo>
                      <a:pt x="746125" y="815975"/>
                    </a:lnTo>
                    <a:cubicBezTo>
                      <a:pt x="838200" y="822325"/>
                      <a:pt x="841375" y="800100"/>
                      <a:pt x="803275" y="749300"/>
                    </a:cubicBezTo>
                    <a:lnTo>
                      <a:pt x="869950" y="650875"/>
                    </a:lnTo>
                    <a:cubicBezTo>
                      <a:pt x="936625" y="647700"/>
                      <a:pt x="987425" y="663575"/>
                      <a:pt x="1069975" y="641350"/>
                    </a:cubicBezTo>
                    <a:cubicBezTo>
                      <a:pt x="1305983" y="605367"/>
                      <a:pt x="1183217" y="569383"/>
                      <a:pt x="1073150" y="542925"/>
                    </a:cubicBezTo>
                    <a:cubicBezTo>
                      <a:pt x="992717" y="527050"/>
                      <a:pt x="909108" y="542925"/>
                      <a:pt x="869950" y="523875"/>
                    </a:cubicBezTo>
                    <a:close/>
                  </a:path>
                </a:pathLst>
              </a:cu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pic>
          <p:nvPicPr>
            <p:cNvPr id="88" name="Picture 8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24429" y="3263600"/>
              <a:ext cx="432816" cy="432816"/>
            </a:xfrm>
            <a:prstGeom prst="rect">
              <a:avLst/>
            </a:prstGeom>
          </p:spPr>
        </p:pic>
        <p:pic>
          <p:nvPicPr>
            <p:cNvPr id="89" name="Picture 8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80350" y="3228237"/>
              <a:ext cx="510114" cy="510114"/>
            </a:xfrm>
            <a:prstGeom prst="rect">
              <a:avLst/>
            </a:prstGeom>
          </p:spPr>
        </p:pic>
        <p:sp>
          <p:nvSpPr>
            <p:cNvPr id="90" name="Rectangle 89"/>
            <p:cNvSpPr/>
            <p:nvPr/>
          </p:nvSpPr>
          <p:spPr>
            <a:xfrm rot="18886336">
              <a:off x="2756011" y="2031248"/>
              <a:ext cx="1775779" cy="701047"/>
            </a:xfrm>
            <a:prstGeom prst="rect">
              <a:avLst/>
            </a:prstGeom>
          </p:spPr>
          <p:txBody>
            <a:bodyPr wrap="square" lIns="0" tIns="0" rIns="0" bIns="0">
              <a:spAutoFit/>
            </a:bodyPr>
            <a:lstStyle/>
            <a:p>
              <a:pPr defTabSz="685800">
                <a:spcAft>
                  <a:spcPts val="450"/>
                </a:spcAft>
                <a:buClrTx/>
              </a:pPr>
              <a:r>
                <a:rPr lang="en-US" sz="750" b="1" kern="1200" dirty="0">
                  <a:solidFill>
                    <a:prstClr val="white"/>
                  </a:solidFill>
                  <a:ea typeface="+mn-ea"/>
                  <a:cs typeface="+mn-cs"/>
                </a:rPr>
                <a:t>LOREM IPSUM DOLOR </a:t>
              </a:r>
            </a:p>
            <a:p>
              <a:pPr defTabSz="685800">
                <a:spcAft>
                  <a:spcPts val="450"/>
                </a:spcAft>
                <a:buClrTx/>
              </a:pPr>
              <a:r>
                <a:rPr lang="en-US" sz="750" kern="1200" dirty="0">
                  <a:solidFill>
                    <a:prstClr val="white"/>
                  </a:solidFill>
                  <a:ea typeface="+mn-ea"/>
                  <a:cs typeface="+mn-cs"/>
                </a:rPr>
                <a:t>This is dummy text it is not here to be read. This is dummy text it is not here to be read.</a:t>
              </a:r>
            </a:p>
          </p:txBody>
        </p:sp>
        <p:sp>
          <p:nvSpPr>
            <p:cNvPr id="91" name="Rectangle 90"/>
            <p:cNvSpPr/>
            <p:nvPr/>
          </p:nvSpPr>
          <p:spPr>
            <a:xfrm rot="2703714">
              <a:off x="4978422" y="2079988"/>
              <a:ext cx="1775779" cy="701047"/>
            </a:xfrm>
            <a:prstGeom prst="rect">
              <a:avLst/>
            </a:prstGeom>
          </p:spPr>
          <p:txBody>
            <a:bodyPr wrap="square" lIns="0" tIns="0" rIns="0" bIns="0">
              <a:spAutoFit/>
            </a:bodyPr>
            <a:lstStyle/>
            <a:p>
              <a:pPr defTabSz="685800">
                <a:spcAft>
                  <a:spcPts val="450"/>
                </a:spcAft>
                <a:buClrTx/>
              </a:pPr>
              <a:r>
                <a:rPr lang="en-US" sz="750" b="1" kern="1200" dirty="0">
                  <a:solidFill>
                    <a:prstClr val="white"/>
                  </a:solidFill>
                  <a:ea typeface="+mn-ea"/>
                  <a:cs typeface="+mn-cs"/>
                </a:rPr>
                <a:t>LOREM IPSUM DOLOR </a:t>
              </a:r>
            </a:p>
            <a:p>
              <a:pPr defTabSz="685800">
                <a:spcAft>
                  <a:spcPts val="450"/>
                </a:spcAft>
                <a:buClrTx/>
              </a:pPr>
              <a:r>
                <a:rPr lang="en-US" sz="750" kern="1200" dirty="0">
                  <a:solidFill>
                    <a:prstClr val="white"/>
                  </a:solidFill>
                  <a:ea typeface="+mn-ea"/>
                  <a:cs typeface="+mn-cs"/>
                </a:rPr>
                <a:t>This is dummy text it is not here to be read. This is dummy text it is not here to be read.</a:t>
              </a:r>
            </a:p>
          </p:txBody>
        </p:sp>
        <p:sp>
          <p:nvSpPr>
            <p:cNvPr id="92" name="Rectangle 91"/>
            <p:cNvSpPr/>
            <p:nvPr/>
          </p:nvSpPr>
          <p:spPr>
            <a:xfrm rot="18886336">
              <a:off x="4959708" y="4225808"/>
              <a:ext cx="1775779" cy="701047"/>
            </a:xfrm>
            <a:prstGeom prst="rect">
              <a:avLst/>
            </a:prstGeom>
          </p:spPr>
          <p:txBody>
            <a:bodyPr wrap="square" lIns="0" tIns="0" rIns="0" bIns="0">
              <a:spAutoFit/>
            </a:bodyPr>
            <a:lstStyle/>
            <a:p>
              <a:pPr defTabSz="685800">
                <a:spcAft>
                  <a:spcPts val="450"/>
                </a:spcAft>
                <a:buClrTx/>
              </a:pPr>
              <a:r>
                <a:rPr lang="en-US" sz="750" b="1" kern="1200" dirty="0">
                  <a:solidFill>
                    <a:prstClr val="white"/>
                  </a:solidFill>
                  <a:ea typeface="+mn-ea"/>
                  <a:cs typeface="+mn-cs"/>
                </a:rPr>
                <a:t>LOREM IPSUM DOLOR </a:t>
              </a:r>
            </a:p>
            <a:p>
              <a:pPr defTabSz="685800">
                <a:spcAft>
                  <a:spcPts val="450"/>
                </a:spcAft>
                <a:buClrTx/>
              </a:pPr>
              <a:r>
                <a:rPr lang="en-US" sz="750" kern="1200" dirty="0">
                  <a:solidFill>
                    <a:prstClr val="white"/>
                  </a:solidFill>
                  <a:ea typeface="+mn-ea"/>
                  <a:cs typeface="+mn-cs"/>
                </a:rPr>
                <a:t>This is dummy text it is not here to be read. This is dummy text it is not here to be read.</a:t>
              </a:r>
            </a:p>
          </p:txBody>
        </p:sp>
        <p:sp>
          <p:nvSpPr>
            <p:cNvPr id="93" name="Rectangle 92"/>
            <p:cNvSpPr/>
            <p:nvPr/>
          </p:nvSpPr>
          <p:spPr>
            <a:xfrm rot="2703714">
              <a:off x="2773639" y="4224736"/>
              <a:ext cx="1775779" cy="701047"/>
            </a:xfrm>
            <a:prstGeom prst="rect">
              <a:avLst/>
            </a:prstGeom>
          </p:spPr>
          <p:txBody>
            <a:bodyPr wrap="square" lIns="0" tIns="0" rIns="0" bIns="0">
              <a:spAutoFit/>
            </a:bodyPr>
            <a:lstStyle/>
            <a:p>
              <a:pPr defTabSz="685800">
                <a:spcAft>
                  <a:spcPts val="450"/>
                </a:spcAft>
                <a:buClrTx/>
              </a:pPr>
              <a:r>
                <a:rPr lang="en-US" sz="750" b="1" kern="1200" dirty="0">
                  <a:solidFill>
                    <a:prstClr val="white"/>
                  </a:solidFill>
                  <a:ea typeface="+mn-ea"/>
                  <a:cs typeface="+mn-cs"/>
                </a:rPr>
                <a:t>LOREM IPSUM DOLOR </a:t>
              </a:r>
            </a:p>
            <a:p>
              <a:pPr defTabSz="685800">
                <a:spcAft>
                  <a:spcPts val="450"/>
                </a:spcAft>
                <a:buClrTx/>
              </a:pPr>
              <a:r>
                <a:rPr lang="en-US" sz="750" kern="1200" dirty="0">
                  <a:solidFill>
                    <a:prstClr val="white"/>
                  </a:solidFill>
                  <a:ea typeface="+mn-ea"/>
                  <a:cs typeface="+mn-cs"/>
                </a:rPr>
                <a:t>This is dummy text it is not here to be read. This is dummy text it is not here to be read..</a:t>
              </a:r>
            </a:p>
          </p:txBody>
        </p:sp>
        <p:sp>
          <p:nvSpPr>
            <p:cNvPr id="94" name="Rectangle 93"/>
            <p:cNvSpPr/>
            <p:nvPr/>
          </p:nvSpPr>
          <p:spPr>
            <a:xfrm>
              <a:off x="3796463" y="3172241"/>
              <a:ext cx="1951653" cy="646331"/>
            </a:xfrm>
            <a:prstGeom prst="rect">
              <a:avLst/>
            </a:prstGeom>
            <a:noFill/>
          </p:spPr>
          <p:txBody>
            <a:bodyPr wrap="square" lIns="0" tIns="0" rIns="0" bIns="0">
              <a:spAutoFit/>
            </a:bodyPr>
            <a:lstStyle/>
            <a:p>
              <a:pPr algn="ctr" defTabSz="685800">
                <a:spcAft>
                  <a:spcPts val="450"/>
                </a:spcAft>
                <a:buClrTx/>
              </a:pPr>
              <a:r>
                <a:rPr lang="en-US" sz="1050" b="1" kern="1200" dirty="0">
                  <a:solidFill>
                    <a:srgbClr val="313131"/>
                  </a:solidFill>
                  <a:ea typeface="+mn-ea"/>
                  <a:cs typeface="+mn-cs"/>
                </a:rPr>
                <a:t>INSERT TEXT HERE</a:t>
              </a:r>
              <a:br>
                <a:rPr lang="en-US" sz="1050" kern="1200" dirty="0">
                  <a:solidFill>
                    <a:srgbClr val="313131"/>
                  </a:solidFill>
                  <a:ea typeface="+mn-ea"/>
                  <a:cs typeface="+mn-cs"/>
                </a:rPr>
              </a:br>
              <a:r>
                <a:rPr lang="en-US" sz="1050" kern="1200" dirty="0">
                  <a:solidFill>
                    <a:srgbClr val="313131"/>
                  </a:solidFill>
                  <a:ea typeface="+mn-ea"/>
                  <a:cs typeface="+mn-cs"/>
                </a:rPr>
                <a:t>This is dummy text it is not here to be read. </a:t>
              </a:r>
              <a:endParaRPr lang="en-US" sz="1050" kern="1200" dirty="0">
                <a:solidFill>
                  <a:srgbClr val="313131"/>
                </a:solidFill>
                <a:latin typeface="Times New Roman" pitchFamily="18" charset="0"/>
                <a:ea typeface="+mn-ea"/>
                <a:cs typeface="Times New Roman" pitchFamily="18" charset="0"/>
              </a:endParaRPr>
            </a:p>
          </p:txBody>
        </p:sp>
        <p:pic>
          <p:nvPicPr>
            <p:cNvPr id="96" name="Picture 95" descr="33.emf"/>
            <p:cNvPicPr>
              <a:picLocks noChangeAspect="1"/>
            </p:cNvPicPr>
            <p:nvPr/>
          </p:nvPicPr>
          <p:blipFill>
            <a:blip r:embed="rId8">
              <a:biLevel thresh="25000"/>
            </a:blip>
            <a:stretch>
              <a:fillRect/>
            </a:stretch>
          </p:blipFill>
          <p:spPr>
            <a:xfrm>
              <a:off x="4583699" y="1342978"/>
              <a:ext cx="367088" cy="340146"/>
            </a:xfrm>
            <a:prstGeom prst="rect">
              <a:avLst/>
            </a:prstGeom>
          </p:spPr>
        </p:pic>
      </p:grpSp>
    </p:spTree>
    <p:extLst>
      <p:ext uri="{BB962C8B-B14F-4D97-AF65-F5344CB8AC3E}">
        <p14:creationId xmlns:p14="http://schemas.microsoft.com/office/powerpoint/2010/main" val="148936708"/>
      </p:ext>
    </p:extLst>
  </p:cSld>
  <p:clrMapOvr>
    <a:masterClrMapping/>
  </p:clrMapOvr>
  <p:transition>
    <p:fade/>
  </p:transition>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Integrated beach ball with textboxes</a:t>
            </a:r>
            <a:br>
              <a:rPr lang="en-US" altLang="ja-JP" dirty="0"/>
            </a:b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Oval 18"/>
          <p:cNvSpPr/>
          <p:nvPr/>
        </p:nvSpPr>
        <p:spPr>
          <a:xfrm>
            <a:off x="2915381" y="2561586"/>
            <a:ext cx="3105345" cy="303892"/>
          </a:xfrm>
          <a:prstGeom prst="ellipse">
            <a:avLst/>
          </a:prstGeom>
          <a:solidFill>
            <a:srgbClr val="B4B4B4"/>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nvGrpSpPr>
          <p:cNvPr id="20" name="Group 19"/>
          <p:cNvGrpSpPr>
            <a:grpSpLocks noChangeAspect="1"/>
          </p:cNvGrpSpPr>
          <p:nvPr/>
        </p:nvGrpSpPr>
        <p:grpSpPr>
          <a:xfrm>
            <a:off x="2141692" y="961099"/>
            <a:ext cx="4585511" cy="3909804"/>
            <a:chOff x="1965375" y="1972214"/>
            <a:chExt cx="4532698" cy="3864777"/>
          </a:xfrm>
        </p:grpSpPr>
        <p:sp>
          <p:nvSpPr>
            <p:cNvPr id="21" name="Freeform 20"/>
            <p:cNvSpPr/>
            <p:nvPr/>
          </p:nvSpPr>
          <p:spPr>
            <a:xfrm>
              <a:off x="2305630" y="3097433"/>
              <a:ext cx="1834570" cy="2626034"/>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28103 w 1834570"/>
                <a:gd name="connsiteY0" fmla="*/ 0 h 2626034"/>
                <a:gd name="connsiteX1" fmla="*/ 1008 w 1834570"/>
                <a:gd name="connsiteY1" fmla="*/ 1044884 h 2626034"/>
                <a:gd name="connsiteX2" fmla="*/ 1834570 w 1834570"/>
                <a:gd name="connsiteY2" fmla="*/ 2626034 h 2626034"/>
                <a:gd name="connsiteX3" fmla="*/ 1123370 w 1834570"/>
                <a:gd name="connsiteY3" fmla="*/ 1516900 h 2626034"/>
                <a:gd name="connsiteX4" fmla="*/ 1148241 w 1834570"/>
                <a:gd name="connsiteY4" fmla="*/ 861792 h 2626034"/>
                <a:gd name="connsiteX5" fmla="*/ 1128103 w 1834570"/>
                <a:gd name="connsiteY5" fmla="*/ 0 h 262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70" h="2626034">
                  <a:moveTo>
                    <a:pt x="1128103" y="0"/>
                  </a:moveTo>
                  <a:cubicBezTo>
                    <a:pt x="311774" y="11995"/>
                    <a:pt x="-20864" y="499489"/>
                    <a:pt x="1008" y="1044884"/>
                  </a:cubicBezTo>
                  <a:cubicBezTo>
                    <a:pt x="-2167" y="1171884"/>
                    <a:pt x="342320" y="2403783"/>
                    <a:pt x="1834570" y="2626034"/>
                  </a:cubicBezTo>
                  <a:cubicBezTo>
                    <a:pt x="1059340" y="2294423"/>
                    <a:pt x="1084212" y="1705636"/>
                    <a:pt x="1123370" y="1516900"/>
                  </a:cubicBezTo>
                  <a:cubicBezTo>
                    <a:pt x="1131660" y="1298531"/>
                    <a:pt x="1206627" y="1170648"/>
                    <a:pt x="1148241" y="861792"/>
                  </a:cubicBezTo>
                  <a:cubicBezTo>
                    <a:pt x="993195" y="432990"/>
                    <a:pt x="63948" y="85902"/>
                    <a:pt x="1128103" y="0"/>
                  </a:cubicBezTo>
                  <a:close/>
                </a:path>
              </a:pathLst>
            </a:custGeom>
            <a:solidFill>
              <a:srgbClr val="00A1DE"/>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22" name="Freeform 21"/>
            <p:cNvSpPr/>
            <p:nvPr/>
          </p:nvSpPr>
          <p:spPr>
            <a:xfrm rot="4355147">
              <a:off x="2376025" y="1561564"/>
              <a:ext cx="1834534" cy="2655834"/>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1852 w 1834534"/>
                <a:gd name="connsiteY0" fmla="*/ 0 h 2612705"/>
                <a:gd name="connsiteX1" fmla="*/ 972 w 1834534"/>
                <a:gd name="connsiteY1" fmla="*/ 1031555 h 2612705"/>
                <a:gd name="connsiteX2" fmla="*/ 1834534 w 1834534"/>
                <a:gd name="connsiteY2" fmla="*/ 2612705 h 2612705"/>
                <a:gd name="connsiteX3" fmla="*/ 1123334 w 1834534"/>
                <a:gd name="connsiteY3" fmla="*/ 1503571 h 2612705"/>
                <a:gd name="connsiteX4" fmla="*/ 1148205 w 1834534"/>
                <a:gd name="connsiteY4" fmla="*/ 848463 h 2612705"/>
                <a:gd name="connsiteX5" fmla="*/ 1141852 w 1834534"/>
                <a:gd name="connsiteY5" fmla="*/ 0 h 261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4" h="2612705">
                  <a:moveTo>
                    <a:pt x="1141852" y="0"/>
                  </a:moveTo>
                  <a:cubicBezTo>
                    <a:pt x="325523" y="11995"/>
                    <a:pt x="-20900" y="486160"/>
                    <a:pt x="972" y="1031555"/>
                  </a:cubicBezTo>
                  <a:cubicBezTo>
                    <a:pt x="-2203" y="1158555"/>
                    <a:pt x="342284" y="2390454"/>
                    <a:pt x="1834534" y="2612705"/>
                  </a:cubicBezTo>
                  <a:cubicBezTo>
                    <a:pt x="1059304" y="2281094"/>
                    <a:pt x="1084176" y="1692307"/>
                    <a:pt x="1123334" y="1503571"/>
                  </a:cubicBezTo>
                  <a:cubicBezTo>
                    <a:pt x="1131624" y="1285202"/>
                    <a:pt x="1206591" y="1157319"/>
                    <a:pt x="1148205" y="848463"/>
                  </a:cubicBezTo>
                  <a:cubicBezTo>
                    <a:pt x="993159" y="419661"/>
                    <a:pt x="77697" y="85902"/>
                    <a:pt x="1141852" y="0"/>
                  </a:cubicBezTo>
                  <a:close/>
                </a:path>
              </a:pathLst>
            </a:custGeom>
            <a:solidFill>
              <a:srgbClr val="72C7E7"/>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23" name="Freeform 22"/>
            <p:cNvSpPr/>
            <p:nvPr/>
          </p:nvSpPr>
          <p:spPr>
            <a:xfrm rot="8681779">
              <a:off x="3846972" y="2364509"/>
              <a:ext cx="1834537" cy="213621"/>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08 w 1834537"/>
                <a:gd name="connsiteY0" fmla="*/ 0 h 2622920"/>
                <a:gd name="connsiteX1" fmla="*/ 975 w 1834537"/>
                <a:gd name="connsiteY1" fmla="*/ 1041770 h 2622920"/>
                <a:gd name="connsiteX2" fmla="*/ 1834537 w 1834537"/>
                <a:gd name="connsiteY2" fmla="*/ 2622920 h 2622920"/>
                <a:gd name="connsiteX3" fmla="*/ 1123337 w 1834537"/>
                <a:gd name="connsiteY3" fmla="*/ 1513786 h 2622920"/>
                <a:gd name="connsiteX4" fmla="*/ 1148208 w 1834537"/>
                <a:gd name="connsiteY4" fmla="*/ 858678 h 2622920"/>
                <a:gd name="connsiteX5" fmla="*/ 1140208 w 1834537"/>
                <a:gd name="connsiteY5" fmla="*/ 0 h 262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7" h="2622920">
                  <a:moveTo>
                    <a:pt x="1140208" y="0"/>
                  </a:moveTo>
                  <a:cubicBezTo>
                    <a:pt x="323879" y="11995"/>
                    <a:pt x="-20897" y="496375"/>
                    <a:pt x="975" y="1041770"/>
                  </a:cubicBezTo>
                  <a:cubicBezTo>
                    <a:pt x="-2200" y="1168770"/>
                    <a:pt x="342287" y="2400669"/>
                    <a:pt x="1834537" y="2622920"/>
                  </a:cubicBezTo>
                  <a:cubicBezTo>
                    <a:pt x="1059307" y="2291309"/>
                    <a:pt x="1084179" y="1702522"/>
                    <a:pt x="1123337" y="1513786"/>
                  </a:cubicBezTo>
                  <a:cubicBezTo>
                    <a:pt x="1131627" y="1295417"/>
                    <a:pt x="1206594" y="1167534"/>
                    <a:pt x="1148208" y="858678"/>
                  </a:cubicBezTo>
                  <a:cubicBezTo>
                    <a:pt x="993162" y="429876"/>
                    <a:pt x="76053" y="85902"/>
                    <a:pt x="1140208" y="0"/>
                  </a:cubicBezTo>
                  <a:close/>
                </a:path>
              </a:pathLst>
            </a:custGeom>
            <a:solidFill>
              <a:srgbClr val="81BC00"/>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24" name="Freeform 23"/>
            <p:cNvSpPr/>
            <p:nvPr/>
          </p:nvSpPr>
          <p:spPr>
            <a:xfrm rot="13082864">
              <a:off x="4663536" y="3642813"/>
              <a:ext cx="1834537" cy="213621"/>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391 w 1834537"/>
                <a:gd name="connsiteY0" fmla="*/ 0 h 2619037"/>
                <a:gd name="connsiteX1" fmla="*/ 975 w 1834537"/>
                <a:gd name="connsiteY1" fmla="*/ 1037887 h 2619037"/>
                <a:gd name="connsiteX2" fmla="*/ 1834537 w 1834537"/>
                <a:gd name="connsiteY2" fmla="*/ 2619037 h 2619037"/>
                <a:gd name="connsiteX3" fmla="*/ 1123337 w 1834537"/>
                <a:gd name="connsiteY3" fmla="*/ 1509903 h 2619037"/>
                <a:gd name="connsiteX4" fmla="*/ 1148208 w 1834537"/>
                <a:gd name="connsiteY4" fmla="*/ 854795 h 2619037"/>
                <a:gd name="connsiteX5" fmla="*/ 1140391 w 1834537"/>
                <a:gd name="connsiteY5" fmla="*/ 0 h 2619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7" h="2619037">
                  <a:moveTo>
                    <a:pt x="1140391" y="0"/>
                  </a:moveTo>
                  <a:cubicBezTo>
                    <a:pt x="324062" y="11995"/>
                    <a:pt x="-20897" y="492492"/>
                    <a:pt x="975" y="1037887"/>
                  </a:cubicBezTo>
                  <a:cubicBezTo>
                    <a:pt x="-2200" y="1164887"/>
                    <a:pt x="342287" y="2396786"/>
                    <a:pt x="1834537" y="2619037"/>
                  </a:cubicBezTo>
                  <a:cubicBezTo>
                    <a:pt x="1059307" y="2287426"/>
                    <a:pt x="1084179" y="1698639"/>
                    <a:pt x="1123337" y="1509903"/>
                  </a:cubicBezTo>
                  <a:cubicBezTo>
                    <a:pt x="1131627" y="1291534"/>
                    <a:pt x="1206594" y="1163651"/>
                    <a:pt x="1148208" y="854795"/>
                  </a:cubicBezTo>
                  <a:cubicBezTo>
                    <a:pt x="993162" y="425993"/>
                    <a:pt x="76236" y="85902"/>
                    <a:pt x="1140391" y="0"/>
                  </a:cubicBezTo>
                  <a:close/>
                </a:path>
              </a:pathLst>
            </a:custGeom>
            <a:solidFill>
              <a:srgbClr val="BDD203"/>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38" name="Freeform 37"/>
            <p:cNvSpPr/>
            <p:nvPr/>
          </p:nvSpPr>
          <p:spPr>
            <a:xfrm rot="17246149">
              <a:off x="3735223" y="3609825"/>
              <a:ext cx="1834554" cy="2619777"/>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38256 w 1834542"/>
                <a:gd name="connsiteY0" fmla="*/ 0 h 2620053"/>
                <a:gd name="connsiteX1" fmla="*/ 980 w 1834542"/>
                <a:gd name="connsiteY1" fmla="*/ 1038903 h 2620053"/>
                <a:gd name="connsiteX2" fmla="*/ 1834542 w 1834542"/>
                <a:gd name="connsiteY2" fmla="*/ 2620053 h 2620053"/>
                <a:gd name="connsiteX3" fmla="*/ 1123342 w 1834542"/>
                <a:gd name="connsiteY3" fmla="*/ 1510919 h 2620053"/>
                <a:gd name="connsiteX4" fmla="*/ 1148213 w 1834542"/>
                <a:gd name="connsiteY4" fmla="*/ 855811 h 2620053"/>
                <a:gd name="connsiteX5" fmla="*/ 1138256 w 1834542"/>
                <a:gd name="connsiteY5" fmla="*/ 0 h 2620053"/>
                <a:gd name="connsiteX0" fmla="*/ 1128566 w 1834569"/>
                <a:gd name="connsiteY0" fmla="*/ 0 h 2639350"/>
                <a:gd name="connsiteX1" fmla="*/ 1007 w 1834569"/>
                <a:gd name="connsiteY1" fmla="*/ 1058200 h 2639350"/>
                <a:gd name="connsiteX2" fmla="*/ 1834569 w 1834569"/>
                <a:gd name="connsiteY2" fmla="*/ 2639350 h 2639350"/>
                <a:gd name="connsiteX3" fmla="*/ 1123369 w 1834569"/>
                <a:gd name="connsiteY3" fmla="*/ 1530216 h 2639350"/>
                <a:gd name="connsiteX4" fmla="*/ 1148240 w 1834569"/>
                <a:gd name="connsiteY4" fmla="*/ 875108 h 2639350"/>
                <a:gd name="connsiteX5" fmla="*/ 1128566 w 1834569"/>
                <a:gd name="connsiteY5" fmla="*/ 0 h 2639350"/>
                <a:gd name="connsiteX0" fmla="*/ 1128566 w 1834569"/>
                <a:gd name="connsiteY0" fmla="*/ 0 h 2639350"/>
                <a:gd name="connsiteX1" fmla="*/ 1007 w 1834569"/>
                <a:gd name="connsiteY1" fmla="*/ 1058200 h 2639350"/>
                <a:gd name="connsiteX2" fmla="*/ 1834569 w 1834569"/>
                <a:gd name="connsiteY2" fmla="*/ 2639350 h 2639350"/>
                <a:gd name="connsiteX3" fmla="*/ 1123369 w 1834569"/>
                <a:gd name="connsiteY3" fmla="*/ 1530216 h 2639350"/>
                <a:gd name="connsiteX4" fmla="*/ 1148240 w 1834569"/>
                <a:gd name="connsiteY4" fmla="*/ 875108 h 2639350"/>
                <a:gd name="connsiteX5" fmla="*/ 1128566 w 1834569"/>
                <a:gd name="connsiteY5" fmla="*/ 0 h 2639350"/>
                <a:gd name="connsiteX0" fmla="*/ 1128551 w 1834554"/>
                <a:gd name="connsiteY0" fmla="*/ 0 h 2639350"/>
                <a:gd name="connsiteX1" fmla="*/ 992 w 1834554"/>
                <a:gd name="connsiteY1" fmla="*/ 1058200 h 2639350"/>
                <a:gd name="connsiteX2" fmla="*/ 1834554 w 1834554"/>
                <a:gd name="connsiteY2" fmla="*/ 2639350 h 2639350"/>
                <a:gd name="connsiteX3" fmla="*/ 1123354 w 1834554"/>
                <a:gd name="connsiteY3" fmla="*/ 1530216 h 2639350"/>
                <a:gd name="connsiteX4" fmla="*/ 1148225 w 1834554"/>
                <a:gd name="connsiteY4" fmla="*/ 875108 h 2639350"/>
                <a:gd name="connsiteX5" fmla="*/ 1128551 w 1834554"/>
                <a:gd name="connsiteY5" fmla="*/ 0 h 263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54" h="2639350">
                  <a:moveTo>
                    <a:pt x="1128551" y="0"/>
                  </a:moveTo>
                  <a:cubicBezTo>
                    <a:pt x="318180" y="54851"/>
                    <a:pt x="-20880" y="512805"/>
                    <a:pt x="992" y="1058200"/>
                  </a:cubicBezTo>
                  <a:cubicBezTo>
                    <a:pt x="-2183" y="1185200"/>
                    <a:pt x="342304" y="2417099"/>
                    <a:pt x="1834554" y="2639350"/>
                  </a:cubicBezTo>
                  <a:cubicBezTo>
                    <a:pt x="1059324" y="2307739"/>
                    <a:pt x="1084196" y="1718952"/>
                    <a:pt x="1123354" y="1530216"/>
                  </a:cubicBezTo>
                  <a:cubicBezTo>
                    <a:pt x="1131644" y="1311847"/>
                    <a:pt x="1206611" y="1183964"/>
                    <a:pt x="1148225" y="875108"/>
                  </a:cubicBezTo>
                  <a:cubicBezTo>
                    <a:pt x="993179" y="446306"/>
                    <a:pt x="85945" y="131282"/>
                    <a:pt x="1128551" y="0"/>
                  </a:cubicBezTo>
                  <a:close/>
                </a:path>
              </a:pathLst>
            </a:custGeom>
            <a:solidFill>
              <a:schemeClr val="accent4"/>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grpSp>
      <p:sp>
        <p:nvSpPr>
          <p:cNvPr id="39" name="Rectangle 38"/>
          <p:cNvSpPr/>
          <p:nvPr/>
        </p:nvSpPr>
        <p:spPr>
          <a:xfrm>
            <a:off x="2868743" y="1540755"/>
            <a:ext cx="1147566" cy="346249"/>
          </a:xfrm>
          <a:prstGeom prst="rect">
            <a:avLst/>
          </a:prstGeom>
        </p:spPr>
        <p:txBody>
          <a:bodyPr wrap="square" lIns="0" tIns="0" rIns="0" bIns="0">
            <a:spAutoFit/>
          </a:bodyPr>
          <a:lstStyle/>
          <a:p>
            <a:pPr defTabSz="685800">
              <a:spcAft>
                <a:spcPts val="450"/>
              </a:spcAft>
              <a:buClrTx/>
            </a:pPr>
            <a:r>
              <a:rPr lang="en-US" sz="750" b="1" kern="1200" dirty="0">
                <a:solidFill>
                  <a:prstClr val="white"/>
                </a:solidFill>
                <a:ea typeface="+mn-ea"/>
                <a:cs typeface="+mn-cs"/>
              </a:rPr>
              <a:t>LOREM IPSUM </a:t>
            </a:r>
            <a:br>
              <a:rPr lang="en-US" sz="750" b="1" kern="1200" dirty="0">
                <a:solidFill>
                  <a:prstClr val="white"/>
                </a:solidFill>
                <a:ea typeface="+mn-ea"/>
                <a:cs typeface="+mn-cs"/>
              </a:rPr>
            </a:br>
            <a:r>
              <a:rPr lang="en-US" sz="750" kern="1200" dirty="0">
                <a:solidFill>
                  <a:prstClr val="white"/>
                </a:solidFill>
                <a:ea typeface="+mn-ea"/>
                <a:cs typeface="+mn-cs"/>
              </a:rPr>
              <a:t>This is dummy text it is not here to be read. </a:t>
            </a:r>
          </a:p>
        </p:txBody>
      </p:sp>
      <p:sp>
        <p:nvSpPr>
          <p:cNvPr id="40" name="Rectangle 39"/>
          <p:cNvSpPr/>
          <p:nvPr/>
        </p:nvSpPr>
        <p:spPr>
          <a:xfrm>
            <a:off x="4871904" y="1219919"/>
            <a:ext cx="1060454" cy="461665"/>
          </a:xfrm>
          <a:prstGeom prst="rect">
            <a:avLst/>
          </a:prstGeom>
        </p:spPr>
        <p:txBody>
          <a:bodyPr wrap="square" lIns="0" tIns="0" rIns="0" bIns="0">
            <a:spAutoFit/>
          </a:bodyPr>
          <a:lstStyle/>
          <a:p>
            <a:pPr defTabSz="685800">
              <a:spcAft>
                <a:spcPts val="450"/>
              </a:spcAft>
              <a:buClrTx/>
            </a:pPr>
            <a:r>
              <a:rPr lang="en-US" sz="750" b="1" kern="1200" dirty="0">
                <a:solidFill>
                  <a:prstClr val="white"/>
                </a:solidFill>
                <a:ea typeface="+mn-ea"/>
                <a:cs typeface="+mn-cs"/>
              </a:rPr>
              <a:t>LOREM IPSUM </a:t>
            </a:r>
            <a:br>
              <a:rPr lang="en-US" sz="750" b="1" kern="1200" dirty="0">
                <a:solidFill>
                  <a:prstClr val="white"/>
                </a:solidFill>
                <a:ea typeface="+mn-ea"/>
                <a:cs typeface="+mn-cs"/>
              </a:rPr>
            </a:br>
            <a:r>
              <a:rPr lang="en-US" sz="750" kern="1200" dirty="0">
                <a:solidFill>
                  <a:prstClr val="white"/>
                </a:solidFill>
                <a:ea typeface="+mn-ea"/>
                <a:cs typeface="+mn-cs"/>
              </a:rPr>
              <a:t>This is dummy text it is not here to be read. This is dummy text..</a:t>
            </a:r>
          </a:p>
        </p:txBody>
      </p:sp>
      <p:sp>
        <p:nvSpPr>
          <p:cNvPr id="41" name="Rectangle 40"/>
          <p:cNvSpPr/>
          <p:nvPr/>
        </p:nvSpPr>
        <p:spPr>
          <a:xfrm>
            <a:off x="5375672" y="2934147"/>
            <a:ext cx="1026771" cy="461665"/>
          </a:xfrm>
          <a:prstGeom prst="rect">
            <a:avLst/>
          </a:prstGeom>
        </p:spPr>
        <p:txBody>
          <a:bodyPr wrap="square" lIns="0" tIns="0" rIns="0" bIns="0">
            <a:spAutoFit/>
          </a:bodyPr>
          <a:lstStyle/>
          <a:p>
            <a:pPr defTabSz="685800">
              <a:spcAft>
                <a:spcPts val="450"/>
              </a:spcAft>
              <a:buClrTx/>
            </a:pPr>
            <a:r>
              <a:rPr lang="en-US" sz="750" b="1" kern="1200" dirty="0">
                <a:solidFill>
                  <a:prstClr val="white"/>
                </a:solidFill>
                <a:ea typeface="+mn-ea"/>
                <a:cs typeface="+mn-cs"/>
              </a:rPr>
              <a:t>LOREM IPSUM </a:t>
            </a:r>
            <a:br>
              <a:rPr lang="en-US" sz="750" b="1" kern="1200" dirty="0">
                <a:solidFill>
                  <a:prstClr val="white"/>
                </a:solidFill>
                <a:ea typeface="+mn-ea"/>
                <a:cs typeface="+mn-cs"/>
              </a:rPr>
            </a:br>
            <a:r>
              <a:rPr lang="en-US" sz="750" kern="1200" dirty="0">
                <a:solidFill>
                  <a:prstClr val="white"/>
                </a:solidFill>
                <a:ea typeface="+mn-ea"/>
                <a:cs typeface="+mn-cs"/>
              </a:rPr>
              <a:t>This is dummy text it is not here to be read. This is dummy text .</a:t>
            </a:r>
          </a:p>
        </p:txBody>
      </p:sp>
      <p:sp>
        <p:nvSpPr>
          <p:cNvPr id="42" name="Rectangle 41"/>
          <p:cNvSpPr/>
          <p:nvPr/>
        </p:nvSpPr>
        <p:spPr>
          <a:xfrm>
            <a:off x="4170824" y="3957903"/>
            <a:ext cx="1204848" cy="577081"/>
          </a:xfrm>
          <a:prstGeom prst="rect">
            <a:avLst/>
          </a:prstGeom>
        </p:spPr>
        <p:txBody>
          <a:bodyPr wrap="square" lIns="0" tIns="0" rIns="0" bIns="0">
            <a:spAutoFit/>
          </a:bodyPr>
          <a:lstStyle/>
          <a:p>
            <a:pPr defTabSz="685800">
              <a:spcAft>
                <a:spcPts val="450"/>
              </a:spcAft>
              <a:buClrTx/>
            </a:pPr>
            <a:r>
              <a:rPr lang="en-US" sz="750" b="1" kern="1200" dirty="0">
                <a:solidFill>
                  <a:prstClr val="white"/>
                </a:solidFill>
                <a:ea typeface="+mn-ea"/>
                <a:cs typeface="+mn-cs"/>
              </a:rPr>
              <a:t>LOREM IPSUM </a:t>
            </a:r>
            <a:br>
              <a:rPr lang="en-US" sz="750" b="1" kern="1200" dirty="0">
                <a:solidFill>
                  <a:prstClr val="white"/>
                </a:solidFill>
                <a:ea typeface="+mn-ea"/>
                <a:cs typeface="+mn-cs"/>
              </a:rPr>
            </a:br>
            <a:r>
              <a:rPr lang="en-US" sz="750" kern="1200" dirty="0">
                <a:solidFill>
                  <a:prstClr val="white"/>
                </a:solidFill>
                <a:ea typeface="+mn-ea"/>
                <a:cs typeface="+mn-cs"/>
              </a:rPr>
              <a:t>This is dummy text it is not here to be read. This is dummy text it is not here to be read. </a:t>
            </a:r>
          </a:p>
        </p:txBody>
      </p:sp>
      <p:sp>
        <p:nvSpPr>
          <p:cNvPr id="43" name="Rectangle 42"/>
          <p:cNvSpPr/>
          <p:nvPr/>
        </p:nvSpPr>
        <p:spPr>
          <a:xfrm>
            <a:off x="2625956" y="2887287"/>
            <a:ext cx="930450" cy="577081"/>
          </a:xfrm>
          <a:prstGeom prst="rect">
            <a:avLst/>
          </a:prstGeom>
        </p:spPr>
        <p:txBody>
          <a:bodyPr wrap="square" lIns="0" tIns="0" rIns="0" bIns="0">
            <a:spAutoFit/>
          </a:bodyPr>
          <a:lstStyle/>
          <a:p>
            <a:pPr defTabSz="685800">
              <a:spcAft>
                <a:spcPts val="450"/>
              </a:spcAft>
              <a:buClrTx/>
            </a:pPr>
            <a:r>
              <a:rPr lang="en-US" sz="750" b="1" kern="1200" dirty="0">
                <a:solidFill>
                  <a:prstClr val="white"/>
                </a:solidFill>
                <a:ea typeface="+mn-ea"/>
                <a:cs typeface="+mn-cs"/>
              </a:rPr>
              <a:t>LOREM IPSUM </a:t>
            </a:r>
            <a:br>
              <a:rPr lang="en-US" sz="750" b="1" kern="1200" dirty="0">
                <a:solidFill>
                  <a:prstClr val="white"/>
                </a:solidFill>
                <a:ea typeface="+mn-ea"/>
                <a:cs typeface="+mn-cs"/>
              </a:rPr>
            </a:br>
            <a:r>
              <a:rPr lang="en-US" sz="750" kern="1200" dirty="0">
                <a:solidFill>
                  <a:prstClr val="white"/>
                </a:solidFill>
                <a:ea typeface="+mn-ea"/>
                <a:cs typeface="+mn-cs"/>
              </a:rPr>
              <a:t>This is dummy text it is not here to be read. This is dummy text it is not here to be read. </a:t>
            </a:r>
          </a:p>
        </p:txBody>
      </p:sp>
      <p:grpSp>
        <p:nvGrpSpPr>
          <p:cNvPr id="44" name="Group 43"/>
          <p:cNvGrpSpPr>
            <a:grpSpLocks noChangeAspect="1"/>
          </p:cNvGrpSpPr>
          <p:nvPr/>
        </p:nvGrpSpPr>
        <p:grpSpPr>
          <a:xfrm>
            <a:off x="3521991" y="1216505"/>
            <a:ext cx="415174" cy="303892"/>
            <a:chOff x="2751968" y="3404186"/>
            <a:chExt cx="365760" cy="267722"/>
          </a:xfrm>
        </p:grpSpPr>
        <p:sp>
          <p:nvSpPr>
            <p:cNvPr id="45" name="Oval 44"/>
            <p:cNvSpPr/>
            <p:nvPr/>
          </p:nvSpPr>
          <p:spPr>
            <a:xfrm>
              <a:off x="2751968" y="3404186"/>
              <a:ext cx="365760" cy="267722"/>
            </a:xfrm>
            <a:prstGeom prst="ellipse">
              <a:avLst/>
            </a:pr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46" name="Freeform 45"/>
            <p:cNvSpPr/>
            <p:nvPr/>
          </p:nvSpPr>
          <p:spPr>
            <a:xfrm rot="19236591">
              <a:off x="2809402" y="3432690"/>
              <a:ext cx="274320" cy="190388"/>
            </a:xfrm>
            <a:custGeom>
              <a:avLst/>
              <a:gdLst>
                <a:gd name="connsiteX0" fmla="*/ 869950 w 1073150"/>
                <a:gd name="connsiteY0" fmla="*/ 523875 h 1187450"/>
                <a:gd name="connsiteX1" fmla="*/ 796925 w 1073150"/>
                <a:gd name="connsiteY1" fmla="*/ 434975 h 1187450"/>
                <a:gd name="connsiteX2" fmla="*/ 749300 w 1073150"/>
                <a:gd name="connsiteY2" fmla="*/ 365125 h 1187450"/>
                <a:gd name="connsiteX3" fmla="*/ 666750 w 1073150"/>
                <a:gd name="connsiteY3" fmla="*/ 257175 h 1187450"/>
                <a:gd name="connsiteX4" fmla="*/ 615950 w 1073150"/>
                <a:gd name="connsiteY4" fmla="*/ 184150 h 1187450"/>
                <a:gd name="connsiteX5" fmla="*/ 504825 w 1073150"/>
                <a:gd name="connsiteY5" fmla="*/ 41275 h 1187450"/>
                <a:gd name="connsiteX6" fmla="*/ 428625 w 1073150"/>
                <a:gd name="connsiteY6" fmla="*/ 0 h 1187450"/>
                <a:gd name="connsiteX7" fmla="*/ 377825 w 1073150"/>
                <a:gd name="connsiteY7" fmla="*/ 3175 h 1187450"/>
                <a:gd name="connsiteX8" fmla="*/ 539750 w 1073150"/>
                <a:gd name="connsiteY8" fmla="*/ 384175 h 1187450"/>
                <a:gd name="connsiteX9" fmla="*/ 482600 w 1073150"/>
                <a:gd name="connsiteY9" fmla="*/ 542925 h 1187450"/>
                <a:gd name="connsiteX10" fmla="*/ 215900 w 1073150"/>
                <a:gd name="connsiteY10" fmla="*/ 552450 h 1187450"/>
                <a:gd name="connsiteX11" fmla="*/ 85725 w 1073150"/>
                <a:gd name="connsiteY11" fmla="*/ 393700 h 1187450"/>
                <a:gd name="connsiteX12" fmla="*/ 0 w 1073150"/>
                <a:gd name="connsiteY12" fmla="*/ 374650 h 1187450"/>
                <a:gd name="connsiteX13" fmla="*/ 53975 w 1073150"/>
                <a:gd name="connsiteY13" fmla="*/ 568325 h 1187450"/>
                <a:gd name="connsiteX14" fmla="*/ 50800 w 1073150"/>
                <a:gd name="connsiteY14" fmla="*/ 619125 h 1187450"/>
                <a:gd name="connsiteX15" fmla="*/ 9525 w 1073150"/>
                <a:gd name="connsiteY15" fmla="*/ 806450 h 1187450"/>
                <a:gd name="connsiteX16" fmla="*/ 88900 w 1073150"/>
                <a:gd name="connsiteY16" fmla="*/ 796925 h 1187450"/>
                <a:gd name="connsiteX17" fmla="*/ 212725 w 1073150"/>
                <a:gd name="connsiteY17" fmla="*/ 615950 h 1187450"/>
                <a:gd name="connsiteX18" fmla="*/ 460375 w 1073150"/>
                <a:gd name="connsiteY18" fmla="*/ 638175 h 1187450"/>
                <a:gd name="connsiteX19" fmla="*/ 536575 w 1073150"/>
                <a:gd name="connsiteY19" fmla="*/ 822325 h 1187450"/>
                <a:gd name="connsiteX20" fmla="*/ 390525 w 1073150"/>
                <a:gd name="connsiteY20" fmla="*/ 1187450 h 1187450"/>
                <a:gd name="connsiteX21" fmla="*/ 536575 w 1073150"/>
                <a:gd name="connsiteY21" fmla="*/ 1111250 h 1187450"/>
                <a:gd name="connsiteX22" fmla="*/ 612775 w 1073150"/>
                <a:gd name="connsiteY22" fmla="*/ 996950 h 1187450"/>
                <a:gd name="connsiteX23" fmla="*/ 663575 w 1073150"/>
                <a:gd name="connsiteY23" fmla="*/ 930275 h 1187450"/>
                <a:gd name="connsiteX24" fmla="*/ 746125 w 1073150"/>
                <a:gd name="connsiteY24" fmla="*/ 815975 h 1187450"/>
                <a:gd name="connsiteX25" fmla="*/ 803275 w 1073150"/>
                <a:gd name="connsiteY25" fmla="*/ 749300 h 1187450"/>
                <a:gd name="connsiteX26" fmla="*/ 869950 w 1073150"/>
                <a:gd name="connsiteY26" fmla="*/ 650875 h 1187450"/>
                <a:gd name="connsiteX27" fmla="*/ 1069975 w 1073150"/>
                <a:gd name="connsiteY27" fmla="*/ 641350 h 1187450"/>
                <a:gd name="connsiteX28" fmla="*/ 1073150 w 1073150"/>
                <a:gd name="connsiteY28" fmla="*/ 542925 h 1187450"/>
                <a:gd name="connsiteX29" fmla="*/ 869950 w 1073150"/>
                <a:gd name="connsiteY29" fmla="*/ 523875 h 1187450"/>
                <a:gd name="connsiteX0" fmla="*/ 869950 w 1174048"/>
                <a:gd name="connsiteY0" fmla="*/ 523875 h 1187450"/>
                <a:gd name="connsiteX1" fmla="*/ 796925 w 1174048"/>
                <a:gd name="connsiteY1" fmla="*/ 434975 h 1187450"/>
                <a:gd name="connsiteX2" fmla="*/ 749300 w 1174048"/>
                <a:gd name="connsiteY2" fmla="*/ 365125 h 1187450"/>
                <a:gd name="connsiteX3" fmla="*/ 666750 w 1174048"/>
                <a:gd name="connsiteY3" fmla="*/ 257175 h 1187450"/>
                <a:gd name="connsiteX4" fmla="*/ 615950 w 1174048"/>
                <a:gd name="connsiteY4" fmla="*/ 184150 h 1187450"/>
                <a:gd name="connsiteX5" fmla="*/ 504825 w 1174048"/>
                <a:gd name="connsiteY5" fmla="*/ 41275 h 1187450"/>
                <a:gd name="connsiteX6" fmla="*/ 428625 w 1174048"/>
                <a:gd name="connsiteY6" fmla="*/ 0 h 1187450"/>
                <a:gd name="connsiteX7" fmla="*/ 377825 w 1174048"/>
                <a:gd name="connsiteY7" fmla="*/ 3175 h 1187450"/>
                <a:gd name="connsiteX8" fmla="*/ 539750 w 1174048"/>
                <a:gd name="connsiteY8" fmla="*/ 384175 h 1187450"/>
                <a:gd name="connsiteX9" fmla="*/ 482600 w 1174048"/>
                <a:gd name="connsiteY9" fmla="*/ 542925 h 1187450"/>
                <a:gd name="connsiteX10" fmla="*/ 215900 w 1174048"/>
                <a:gd name="connsiteY10" fmla="*/ 552450 h 1187450"/>
                <a:gd name="connsiteX11" fmla="*/ 85725 w 1174048"/>
                <a:gd name="connsiteY11" fmla="*/ 393700 h 1187450"/>
                <a:gd name="connsiteX12" fmla="*/ 0 w 1174048"/>
                <a:gd name="connsiteY12" fmla="*/ 374650 h 1187450"/>
                <a:gd name="connsiteX13" fmla="*/ 53975 w 1174048"/>
                <a:gd name="connsiteY13" fmla="*/ 568325 h 1187450"/>
                <a:gd name="connsiteX14" fmla="*/ 50800 w 1174048"/>
                <a:gd name="connsiteY14" fmla="*/ 619125 h 1187450"/>
                <a:gd name="connsiteX15" fmla="*/ 9525 w 1174048"/>
                <a:gd name="connsiteY15" fmla="*/ 806450 h 1187450"/>
                <a:gd name="connsiteX16" fmla="*/ 88900 w 1174048"/>
                <a:gd name="connsiteY16" fmla="*/ 796925 h 1187450"/>
                <a:gd name="connsiteX17" fmla="*/ 212725 w 1174048"/>
                <a:gd name="connsiteY17" fmla="*/ 615950 h 1187450"/>
                <a:gd name="connsiteX18" fmla="*/ 460375 w 1174048"/>
                <a:gd name="connsiteY18" fmla="*/ 638175 h 1187450"/>
                <a:gd name="connsiteX19" fmla="*/ 536575 w 1174048"/>
                <a:gd name="connsiteY19" fmla="*/ 822325 h 1187450"/>
                <a:gd name="connsiteX20" fmla="*/ 390525 w 1174048"/>
                <a:gd name="connsiteY20" fmla="*/ 1187450 h 1187450"/>
                <a:gd name="connsiteX21" fmla="*/ 536575 w 1174048"/>
                <a:gd name="connsiteY21" fmla="*/ 1111250 h 1187450"/>
                <a:gd name="connsiteX22" fmla="*/ 612775 w 1174048"/>
                <a:gd name="connsiteY22" fmla="*/ 996950 h 1187450"/>
                <a:gd name="connsiteX23" fmla="*/ 663575 w 1174048"/>
                <a:gd name="connsiteY23" fmla="*/ 930275 h 1187450"/>
                <a:gd name="connsiteX24" fmla="*/ 746125 w 1174048"/>
                <a:gd name="connsiteY24" fmla="*/ 815975 h 1187450"/>
                <a:gd name="connsiteX25" fmla="*/ 803275 w 1174048"/>
                <a:gd name="connsiteY25" fmla="*/ 749300 h 1187450"/>
                <a:gd name="connsiteX26" fmla="*/ 869950 w 1174048"/>
                <a:gd name="connsiteY26" fmla="*/ 650875 h 1187450"/>
                <a:gd name="connsiteX27" fmla="*/ 1069975 w 1174048"/>
                <a:gd name="connsiteY27" fmla="*/ 641350 h 1187450"/>
                <a:gd name="connsiteX28" fmla="*/ 1073150 w 1174048"/>
                <a:gd name="connsiteY28" fmla="*/ 542925 h 1187450"/>
                <a:gd name="connsiteX29" fmla="*/ 869950 w 1174048"/>
                <a:gd name="connsiteY29" fmla="*/ 523875 h 1187450"/>
                <a:gd name="connsiteX0" fmla="*/ 869950 w 1203659"/>
                <a:gd name="connsiteY0" fmla="*/ 523875 h 1187450"/>
                <a:gd name="connsiteX1" fmla="*/ 796925 w 1203659"/>
                <a:gd name="connsiteY1" fmla="*/ 434975 h 1187450"/>
                <a:gd name="connsiteX2" fmla="*/ 749300 w 1203659"/>
                <a:gd name="connsiteY2" fmla="*/ 365125 h 1187450"/>
                <a:gd name="connsiteX3" fmla="*/ 666750 w 1203659"/>
                <a:gd name="connsiteY3" fmla="*/ 257175 h 1187450"/>
                <a:gd name="connsiteX4" fmla="*/ 615950 w 1203659"/>
                <a:gd name="connsiteY4" fmla="*/ 184150 h 1187450"/>
                <a:gd name="connsiteX5" fmla="*/ 504825 w 1203659"/>
                <a:gd name="connsiteY5" fmla="*/ 41275 h 1187450"/>
                <a:gd name="connsiteX6" fmla="*/ 428625 w 1203659"/>
                <a:gd name="connsiteY6" fmla="*/ 0 h 1187450"/>
                <a:gd name="connsiteX7" fmla="*/ 377825 w 1203659"/>
                <a:gd name="connsiteY7" fmla="*/ 3175 h 1187450"/>
                <a:gd name="connsiteX8" fmla="*/ 539750 w 1203659"/>
                <a:gd name="connsiteY8" fmla="*/ 384175 h 1187450"/>
                <a:gd name="connsiteX9" fmla="*/ 482600 w 1203659"/>
                <a:gd name="connsiteY9" fmla="*/ 542925 h 1187450"/>
                <a:gd name="connsiteX10" fmla="*/ 215900 w 1203659"/>
                <a:gd name="connsiteY10" fmla="*/ 552450 h 1187450"/>
                <a:gd name="connsiteX11" fmla="*/ 85725 w 1203659"/>
                <a:gd name="connsiteY11" fmla="*/ 393700 h 1187450"/>
                <a:gd name="connsiteX12" fmla="*/ 0 w 1203659"/>
                <a:gd name="connsiteY12" fmla="*/ 374650 h 1187450"/>
                <a:gd name="connsiteX13" fmla="*/ 53975 w 1203659"/>
                <a:gd name="connsiteY13" fmla="*/ 568325 h 1187450"/>
                <a:gd name="connsiteX14" fmla="*/ 50800 w 1203659"/>
                <a:gd name="connsiteY14" fmla="*/ 619125 h 1187450"/>
                <a:gd name="connsiteX15" fmla="*/ 9525 w 1203659"/>
                <a:gd name="connsiteY15" fmla="*/ 806450 h 1187450"/>
                <a:gd name="connsiteX16" fmla="*/ 88900 w 1203659"/>
                <a:gd name="connsiteY16" fmla="*/ 796925 h 1187450"/>
                <a:gd name="connsiteX17" fmla="*/ 212725 w 1203659"/>
                <a:gd name="connsiteY17" fmla="*/ 615950 h 1187450"/>
                <a:gd name="connsiteX18" fmla="*/ 460375 w 1203659"/>
                <a:gd name="connsiteY18" fmla="*/ 638175 h 1187450"/>
                <a:gd name="connsiteX19" fmla="*/ 536575 w 1203659"/>
                <a:gd name="connsiteY19" fmla="*/ 822325 h 1187450"/>
                <a:gd name="connsiteX20" fmla="*/ 390525 w 1203659"/>
                <a:gd name="connsiteY20" fmla="*/ 1187450 h 1187450"/>
                <a:gd name="connsiteX21" fmla="*/ 536575 w 1203659"/>
                <a:gd name="connsiteY21" fmla="*/ 1111250 h 1187450"/>
                <a:gd name="connsiteX22" fmla="*/ 612775 w 1203659"/>
                <a:gd name="connsiteY22" fmla="*/ 996950 h 1187450"/>
                <a:gd name="connsiteX23" fmla="*/ 663575 w 1203659"/>
                <a:gd name="connsiteY23" fmla="*/ 930275 h 1187450"/>
                <a:gd name="connsiteX24" fmla="*/ 746125 w 1203659"/>
                <a:gd name="connsiteY24" fmla="*/ 815975 h 1187450"/>
                <a:gd name="connsiteX25" fmla="*/ 803275 w 1203659"/>
                <a:gd name="connsiteY25" fmla="*/ 749300 h 1187450"/>
                <a:gd name="connsiteX26" fmla="*/ 869950 w 1203659"/>
                <a:gd name="connsiteY26" fmla="*/ 650875 h 1187450"/>
                <a:gd name="connsiteX27" fmla="*/ 1069975 w 1203659"/>
                <a:gd name="connsiteY27" fmla="*/ 641350 h 1187450"/>
                <a:gd name="connsiteX28" fmla="*/ 1073150 w 1203659"/>
                <a:gd name="connsiteY28" fmla="*/ 542925 h 1187450"/>
                <a:gd name="connsiteX29" fmla="*/ 869950 w 1203659"/>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5003" h="1187450">
                  <a:moveTo>
                    <a:pt x="869950" y="523875"/>
                  </a:moveTo>
                  <a:lnTo>
                    <a:pt x="796925" y="434975"/>
                  </a:lnTo>
                  <a:cubicBezTo>
                    <a:pt x="869950" y="383117"/>
                    <a:pt x="784225" y="353483"/>
                    <a:pt x="749300" y="365125"/>
                  </a:cubicBezTo>
                  <a:lnTo>
                    <a:pt x="666750" y="257175"/>
                  </a:lnTo>
                  <a:cubicBezTo>
                    <a:pt x="729192" y="201083"/>
                    <a:pt x="693208" y="183092"/>
                    <a:pt x="615950" y="184150"/>
                  </a:cubicBezTo>
                  <a:lnTo>
                    <a:pt x="504825" y="41275"/>
                  </a:lnTo>
                  <a:cubicBezTo>
                    <a:pt x="466725" y="5292"/>
                    <a:pt x="454025" y="13758"/>
                    <a:pt x="428625" y="0"/>
                  </a:cubicBezTo>
                  <a:lnTo>
                    <a:pt x="377825" y="3175"/>
                  </a:lnTo>
                  <a:lnTo>
                    <a:pt x="539750" y="384175"/>
                  </a:lnTo>
                  <a:cubicBezTo>
                    <a:pt x="552450" y="443442"/>
                    <a:pt x="622300" y="515408"/>
                    <a:pt x="482600" y="542925"/>
                  </a:cubicBezTo>
                  <a:lnTo>
                    <a:pt x="215900" y="552450"/>
                  </a:lnTo>
                  <a:lnTo>
                    <a:pt x="85725" y="393700"/>
                  </a:lnTo>
                  <a:lnTo>
                    <a:pt x="0" y="374650"/>
                  </a:lnTo>
                  <a:lnTo>
                    <a:pt x="53975" y="568325"/>
                  </a:lnTo>
                  <a:cubicBezTo>
                    <a:pt x="14817" y="582083"/>
                    <a:pt x="4233" y="599017"/>
                    <a:pt x="50800" y="619125"/>
                  </a:cubicBezTo>
                  <a:lnTo>
                    <a:pt x="9525" y="806450"/>
                  </a:lnTo>
                  <a:lnTo>
                    <a:pt x="88900" y="796925"/>
                  </a:lnTo>
                  <a:lnTo>
                    <a:pt x="215900" y="635000"/>
                  </a:lnTo>
                  <a:lnTo>
                    <a:pt x="460375" y="638175"/>
                  </a:lnTo>
                  <a:cubicBezTo>
                    <a:pt x="565150" y="670983"/>
                    <a:pt x="603250" y="646642"/>
                    <a:pt x="536575" y="822325"/>
                  </a:cubicBezTo>
                  <a:lnTo>
                    <a:pt x="390525" y="1187450"/>
                  </a:lnTo>
                  <a:cubicBezTo>
                    <a:pt x="439208" y="1162050"/>
                    <a:pt x="452967" y="1231900"/>
                    <a:pt x="536575" y="1111250"/>
                  </a:cubicBezTo>
                  <a:lnTo>
                    <a:pt x="612775" y="996950"/>
                  </a:lnTo>
                  <a:cubicBezTo>
                    <a:pt x="721783" y="1003300"/>
                    <a:pt x="710142" y="955675"/>
                    <a:pt x="663575" y="930275"/>
                  </a:cubicBezTo>
                  <a:lnTo>
                    <a:pt x="746125" y="815975"/>
                  </a:lnTo>
                  <a:cubicBezTo>
                    <a:pt x="838200" y="822325"/>
                    <a:pt x="841375" y="800100"/>
                    <a:pt x="803275" y="749300"/>
                  </a:cubicBezTo>
                  <a:lnTo>
                    <a:pt x="869950" y="650875"/>
                  </a:lnTo>
                  <a:cubicBezTo>
                    <a:pt x="936625" y="647700"/>
                    <a:pt x="987425" y="663575"/>
                    <a:pt x="1069975" y="641350"/>
                  </a:cubicBezTo>
                  <a:cubicBezTo>
                    <a:pt x="1305983" y="605367"/>
                    <a:pt x="1183217" y="569383"/>
                    <a:pt x="1073150" y="542925"/>
                  </a:cubicBezTo>
                  <a:cubicBezTo>
                    <a:pt x="992717" y="527050"/>
                    <a:pt x="909108" y="542925"/>
                    <a:pt x="869950" y="523875"/>
                  </a:cubicBezTo>
                  <a:close/>
                </a:path>
              </a:pathLst>
            </a:cu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pic>
        <p:nvPicPr>
          <p:cNvPr id="48" name="Picture 4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37272" y="2499851"/>
            <a:ext cx="328695" cy="328695"/>
          </a:xfrm>
          <a:prstGeom prst="rect">
            <a:avLst/>
          </a:prstGeom>
        </p:spPr>
      </p:pic>
      <p:pic>
        <p:nvPicPr>
          <p:cNvPr id="50" name="Picture 4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29577" y="3871808"/>
            <a:ext cx="324612" cy="324612"/>
          </a:xfrm>
          <a:prstGeom prst="rect">
            <a:avLst/>
          </a:prstGeom>
        </p:spPr>
      </p:pic>
      <p:sp>
        <p:nvSpPr>
          <p:cNvPr id="51" name="Rectangle 50"/>
          <p:cNvSpPr/>
          <p:nvPr/>
        </p:nvSpPr>
        <p:spPr>
          <a:xfrm>
            <a:off x="3937164" y="2423833"/>
            <a:ext cx="1204848" cy="646331"/>
          </a:xfrm>
          <a:prstGeom prst="rect">
            <a:avLst/>
          </a:prstGeom>
        </p:spPr>
        <p:txBody>
          <a:bodyPr wrap="square" lIns="0" tIns="0" rIns="0" bIns="0">
            <a:spAutoFit/>
          </a:bodyPr>
          <a:lstStyle/>
          <a:p>
            <a:pPr algn="ctr" defTabSz="685800">
              <a:spcAft>
                <a:spcPts val="450"/>
              </a:spcAft>
              <a:buClrTx/>
            </a:pPr>
            <a:r>
              <a:rPr lang="en-US" sz="2100" b="1" kern="1200" dirty="0">
                <a:solidFill>
                  <a:srgbClr val="FFFFFF"/>
                </a:solidFill>
                <a:ea typeface="+mn-ea"/>
                <a:cs typeface="+mn-cs"/>
              </a:rPr>
              <a:t>INSERT TEXT </a:t>
            </a:r>
            <a:endParaRPr lang="en-US" sz="1500" kern="1200" dirty="0">
              <a:solidFill>
                <a:srgbClr val="FFFFFF"/>
              </a:solidFill>
              <a:ea typeface="+mn-ea"/>
              <a:cs typeface="+mn-cs"/>
            </a:endParaRPr>
          </a:p>
        </p:txBody>
      </p:sp>
      <p:pic>
        <p:nvPicPr>
          <p:cNvPr id="53" name="Picture 52" descr="33.emf"/>
          <p:cNvPicPr>
            <a:picLocks noChangeAspect="1"/>
          </p:cNvPicPr>
          <p:nvPr/>
        </p:nvPicPr>
        <p:blipFill>
          <a:blip r:embed="rId8">
            <a:biLevel thresh="25000"/>
          </a:blip>
          <a:stretch>
            <a:fillRect/>
          </a:stretch>
        </p:blipFill>
        <p:spPr>
          <a:xfrm>
            <a:off x="4734246" y="854323"/>
            <a:ext cx="275316" cy="255110"/>
          </a:xfrm>
          <a:prstGeom prst="rect">
            <a:avLst/>
          </a:prstGeom>
        </p:spPr>
      </p:pic>
      <p:grpSp>
        <p:nvGrpSpPr>
          <p:cNvPr id="4" name="Group 3"/>
          <p:cNvGrpSpPr/>
          <p:nvPr/>
        </p:nvGrpSpPr>
        <p:grpSpPr>
          <a:xfrm>
            <a:off x="6071707" y="2628492"/>
            <a:ext cx="255029" cy="258795"/>
            <a:chOff x="6571610" y="3504656"/>
            <a:chExt cx="340038" cy="345060"/>
          </a:xfrm>
        </p:grpSpPr>
        <p:pic>
          <p:nvPicPr>
            <p:cNvPr id="1208323" name="Picture 3" descr="C:\Users\kknight\Desktop\cog 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578336" y="3504656"/>
              <a:ext cx="231650" cy="226773"/>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3" descr="C:\Users\kknight\Desktop\cog ico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571610" y="3733733"/>
              <a:ext cx="118477" cy="115983"/>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3" descr="C:\Users\kknight\Desktop\cog ico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rot="767128">
              <a:off x="6696277" y="3713637"/>
              <a:ext cx="118477" cy="115983"/>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3" descr="C:\Users\kknight\Desktop\cog ico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793171" y="3640245"/>
              <a:ext cx="118477" cy="115983"/>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839783605"/>
      </p:ext>
    </p:extLst>
  </p:cSld>
  <p:clrMapOvr>
    <a:masterClrMapping/>
  </p:clrMapOvr>
  <p:transition>
    <p:fade/>
  </p:transition>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 name="Chart 103"/>
          <p:cNvGraphicFramePr/>
          <p:nvPr/>
        </p:nvGraphicFramePr>
        <p:xfrm>
          <a:off x="3254753" y="2112627"/>
          <a:ext cx="2634018" cy="1980742"/>
        </p:xfrm>
        <a:graphic>
          <a:graphicData uri="http://schemas.openxmlformats.org/drawingml/2006/chart">
            <c:chart xmlns:c="http://schemas.openxmlformats.org/drawingml/2006/chart" xmlns:r="http://schemas.openxmlformats.org/officeDocument/2006/relationships" r:id="rId5"/>
          </a:graphicData>
        </a:graphic>
      </p:graphicFrame>
      <p:sp>
        <p:nvSpPr>
          <p:cNvPr id="371719" name="Title 1"/>
          <p:cNvSpPr>
            <a:spLocks noGrp="1"/>
          </p:cNvSpPr>
          <p:nvPr>
            <p:ph type="title"/>
            <p:custDataLst>
              <p:tags r:id="rId1"/>
            </p:custDataLst>
          </p:nvPr>
        </p:nvSpPr>
        <p:spPr/>
        <p:txBody>
          <a:bodyPr/>
          <a:lstStyle/>
          <a:p>
            <a:r>
              <a:rPr lang="en-US" altLang="ja-JP" dirty="0"/>
              <a:t>Combined ring and pinpoint icons</a:t>
            </a:r>
            <a:br>
              <a:rPr lang="en-US" altLang="ja-JP" dirty="0"/>
            </a:b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3" name="Group 72"/>
          <p:cNvGrpSpPr>
            <a:grpSpLocks noChangeAspect="1"/>
          </p:cNvGrpSpPr>
          <p:nvPr/>
        </p:nvGrpSpPr>
        <p:grpSpPr>
          <a:xfrm rot="18900000">
            <a:off x="4263152" y="1806959"/>
            <a:ext cx="617220" cy="617220"/>
            <a:chOff x="7606853" y="246063"/>
            <a:chExt cx="896937" cy="896937"/>
          </a:xfrm>
          <a:solidFill>
            <a:srgbClr val="DCDCDC"/>
          </a:solidFill>
        </p:grpSpPr>
        <p:sp>
          <p:nvSpPr>
            <p:cNvPr id="74" name="Teardrop 73"/>
            <p:cNvSpPr/>
            <p:nvPr/>
          </p:nvSpPr>
          <p:spPr>
            <a:xfrm>
              <a:off x="7606853" y="246063"/>
              <a:ext cx="896937" cy="896937"/>
            </a:xfrm>
            <a:prstGeom prst="teardrop">
              <a:avLst/>
            </a:prstGeom>
            <a:grpFill/>
            <a:ln w="12700" cap="flat" cmpd="sng" algn="ctr">
              <a:solidFill>
                <a:srgbClr val="FFFFFF"/>
              </a:solidFill>
              <a:prstDash val="solid"/>
            </a:ln>
            <a:effectLst/>
          </p:spPr>
          <p:txBody>
            <a:bodyPr rtlCol="0" anchor="ctr"/>
            <a:lstStyle/>
            <a:p>
              <a:pPr algn="ctr" defTabSz="685800">
                <a:buClrTx/>
                <a:defRPr/>
              </a:pPr>
              <a:endParaRPr lang="en-US" sz="1500" dirty="0" err="1">
                <a:solidFill>
                  <a:srgbClr val="FFFFFF"/>
                </a:solidFill>
                <a:ea typeface="+mn-ea"/>
                <a:cs typeface="+mn-cs"/>
              </a:endParaRPr>
            </a:p>
          </p:txBody>
        </p:sp>
        <p:sp>
          <p:nvSpPr>
            <p:cNvPr id="75" name="Oval 74"/>
            <p:cNvSpPr/>
            <p:nvPr/>
          </p:nvSpPr>
          <p:spPr>
            <a:xfrm>
              <a:off x="7647293" y="280458"/>
              <a:ext cx="822602" cy="822602"/>
            </a:xfrm>
            <a:prstGeom prst="ellipse">
              <a:avLst/>
            </a:prstGeom>
            <a:solidFill>
              <a:srgbClr val="8C8C8C"/>
            </a:solidFill>
            <a:ln w="12700" cap="flat" cmpd="sng" algn="ctr">
              <a:solidFill>
                <a:srgbClr val="FFFFFF"/>
              </a:solidFill>
              <a:prstDash val="solid"/>
            </a:ln>
            <a:effectLst/>
          </p:spPr>
          <p:txBody>
            <a:bodyPr rtlCol="0" anchor="ctr"/>
            <a:lstStyle/>
            <a:p>
              <a:pPr algn="ctr" defTabSz="685800">
                <a:buClrTx/>
                <a:defRPr/>
              </a:pPr>
              <a:endParaRPr lang="en-US" sz="1500" dirty="0" err="1">
                <a:solidFill>
                  <a:srgbClr val="FFFFFF"/>
                </a:solidFill>
                <a:ea typeface="+mn-ea"/>
                <a:cs typeface="+mn-cs"/>
              </a:endParaRPr>
            </a:p>
          </p:txBody>
        </p:sp>
      </p:grpSp>
      <p:pic>
        <p:nvPicPr>
          <p:cNvPr id="76"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74198" y="2046989"/>
            <a:ext cx="195614" cy="137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7" name="Group 76"/>
          <p:cNvGrpSpPr>
            <a:grpSpLocks noChangeAspect="1"/>
          </p:cNvGrpSpPr>
          <p:nvPr/>
        </p:nvGrpSpPr>
        <p:grpSpPr>
          <a:xfrm rot="11700000">
            <a:off x="3448743" y="3281429"/>
            <a:ext cx="617220" cy="617220"/>
            <a:chOff x="7606853" y="246063"/>
            <a:chExt cx="896937" cy="896937"/>
          </a:xfrm>
          <a:solidFill>
            <a:srgbClr val="575757">
              <a:alpha val="50196"/>
            </a:srgbClr>
          </a:solidFill>
        </p:grpSpPr>
        <p:sp>
          <p:nvSpPr>
            <p:cNvPr id="78" name="Teardrop 77"/>
            <p:cNvSpPr/>
            <p:nvPr/>
          </p:nvSpPr>
          <p:spPr>
            <a:xfrm>
              <a:off x="7606853" y="246063"/>
              <a:ext cx="896937" cy="896937"/>
            </a:xfrm>
            <a:prstGeom prst="teardrop">
              <a:avLst/>
            </a:prstGeom>
            <a:grpFill/>
            <a:ln w="12700" cap="flat" cmpd="sng" algn="ctr">
              <a:solidFill>
                <a:srgbClr val="FFFFFF"/>
              </a:solidFill>
              <a:prstDash val="solid"/>
            </a:ln>
            <a:effectLst/>
          </p:spPr>
          <p:txBody>
            <a:bodyPr rtlCol="0" anchor="ctr"/>
            <a:lstStyle/>
            <a:p>
              <a:pPr algn="ctr" defTabSz="685800">
                <a:buClrTx/>
                <a:defRPr/>
              </a:pPr>
              <a:endParaRPr lang="en-US" sz="1500" dirty="0" err="1">
                <a:solidFill>
                  <a:srgbClr val="FFFFFF"/>
                </a:solidFill>
                <a:ea typeface="+mn-ea"/>
                <a:cs typeface="+mn-cs"/>
              </a:endParaRPr>
            </a:p>
          </p:txBody>
        </p:sp>
        <p:sp>
          <p:nvSpPr>
            <p:cNvPr id="79" name="Oval 78"/>
            <p:cNvSpPr/>
            <p:nvPr/>
          </p:nvSpPr>
          <p:spPr>
            <a:xfrm>
              <a:off x="7647293" y="280458"/>
              <a:ext cx="822602" cy="822602"/>
            </a:xfrm>
            <a:prstGeom prst="ellipse">
              <a:avLst/>
            </a:prstGeom>
            <a:solidFill>
              <a:srgbClr val="575757"/>
            </a:solidFill>
            <a:ln w="12700" cap="flat" cmpd="sng" algn="ctr">
              <a:solidFill>
                <a:srgbClr val="FFFFFF"/>
              </a:solidFill>
              <a:prstDash val="solid"/>
            </a:ln>
            <a:effectLst/>
          </p:spPr>
          <p:txBody>
            <a:bodyPr rtlCol="0" anchor="ctr"/>
            <a:lstStyle/>
            <a:p>
              <a:pPr algn="ctr" defTabSz="685800">
                <a:buClrTx/>
                <a:defRPr/>
              </a:pPr>
              <a:endParaRPr lang="en-US" sz="1500" dirty="0" err="1">
                <a:solidFill>
                  <a:srgbClr val="FFFFFF"/>
                </a:solidFill>
                <a:ea typeface="+mn-ea"/>
                <a:cs typeface="+mn-cs"/>
              </a:endParaRPr>
            </a:p>
          </p:txBody>
        </p:sp>
      </p:grpSp>
      <p:pic>
        <p:nvPicPr>
          <p:cNvPr id="80" name="Picture 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04077" y="3528715"/>
            <a:ext cx="301213" cy="137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81" name="Group 80"/>
          <p:cNvGrpSpPr>
            <a:grpSpLocks noChangeAspect="1"/>
          </p:cNvGrpSpPr>
          <p:nvPr/>
        </p:nvGrpSpPr>
        <p:grpSpPr>
          <a:xfrm rot="4776862">
            <a:off x="5047539" y="3320723"/>
            <a:ext cx="617220" cy="617220"/>
            <a:chOff x="7606853" y="246063"/>
            <a:chExt cx="896937" cy="896937"/>
          </a:xfrm>
          <a:solidFill>
            <a:srgbClr val="72C7E7"/>
          </a:solidFill>
        </p:grpSpPr>
        <p:sp>
          <p:nvSpPr>
            <p:cNvPr id="82" name="Teardrop 81"/>
            <p:cNvSpPr/>
            <p:nvPr/>
          </p:nvSpPr>
          <p:spPr>
            <a:xfrm>
              <a:off x="7606853" y="246063"/>
              <a:ext cx="896937" cy="896937"/>
            </a:xfrm>
            <a:prstGeom prst="teardrop">
              <a:avLst/>
            </a:prstGeom>
            <a:grpFill/>
            <a:ln w="12700" cap="flat" cmpd="sng" algn="ctr">
              <a:solidFill>
                <a:srgbClr val="FFFFFF"/>
              </a:solidFill>
              <a:prstDash val="solid"/>
            </a:ln>
            <a:effectLst/>
          </p:spPr>
          <p:txBody>
            <a:bodyPr rtlCol="0" anchor="ctr"/>
            <a:lstStyle/>
            <a:p>
              <a:pPr algn="ctr" defTabSz="685800">
                <a:buClrTx/>
                <a:defRPr/>
              </a:pPr>
              <a:endParaRPr lang="en-US" sz="1500" dirty="0" err="1">
                <a:solidFill>
                  <a:srgbClr val="FFFFFF"/>
                </a:solidFill>
                <a:ea typeface="+mn-ea"/>
                <a:cs typeface="+mn-cs"/>
              </a:endParaRPr>
            </a:p>
          </p:txBody>
        </p:sp>
        <p:sp>
          <p:nvSpPr>
            <p:cNvPr id="83" name="Oval 82"/>
            <p:cNvSpPr/>
            <p:nvPr/>
          </p:nvSpPr>
          <p:spPr>
            <a:xfrm>
              <a:off x="7647293" y="280458"/>
              <a:ext cx="822602" cy="822602"/>
            </a:xfrm>
            <a:prstGeom prst="ellipse">
              <a:avLst/>
            </a:prstGeom>
            <a:solidFill>
              <a:srgbClr val="00A1DE"/>
            </a:solidFill>
            <a:ln w="12700" cap="flat" cmpd="sng" algn="ctr">
              <a:solidFill>
                <a:srgbClr val="FFFFFF"/>
              </a:solidFill>
              <a:prstDash val="solid"/>
            </a:ln>
            <a:effectLst/>
          </p:spPr>
          <p:txBody>
            <a:bodyPr rtlCol="0" anchor="ctr"/>
            <a:lstStyle/>
            <a:p>
              <a:pPr algn="ctr" defTabSz="685800">
                <a:buClrTx/>
                <a:defRPr/>
              </a:pPr>
              <a:endParaRPr lang="en-US" sz="1500" dirty="0" err="1">
                <a:solidFill>
                  <a:srgbClr val="FFFFFF"/>
                </a:solidFill>
                <a:ea typeface="+mn-ea"/>
                <a:cs typeface="+mn-cs"/>
              </a:endParaRPr>
            </a:p>
          </p:txBody>
        </p:sp>
      </p:grpSp>
      <p:pic>
        <p:nvPicPr>
          <p:cNvPr id="84" name="Picture 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242509" y="3528715"/>
            <a:ext cx="227281" cy="205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a:xfrm>
            <a:off x="3379384" y="1165884"/>
            <a:ext cx="2521744" cy="228650"/>
          </a:xfrm>
          <a:prstGeom prst="roundRect">
            <a:avLst>
              <a:gd name="adj" fmla="val 10178"/>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86" name="Rectangle 85"/>
          <p:cNvSpPr/>
          <p:nvPr/>
        </p:nvSpPr>
        <p:spPr>
          <a:xfrm>
            <a:off x="3460281" y="945501"/>
            <a:ext cx="2359951" cy="692497"/>
          </a:xfrm>
          <a:prstGeom prst="rect">
            <a:avLst/>
          </a:prstGeom>
        </p:spPr>
        <p:txBody>
          <a:bodyPr wrap="square" lIns="0" tIns="0" rIns="0" bIns="0">
            <a:spAutoFit/>
          </a:bodyPr>
          <a:lstStyle/>
          <a:p>
            <a:pPr defTabSz="685800">
              <a:spcAft>
                <a:spcPts val="450"/>
              </a:spcAft>
              <a:buClrTx/>
            </a:pPr>
            <a:r>
              <a:rPr lang="en-US" sz="750" b="1" kern="1200" dirty="0">
                <a:solidFill>
                  <a:prstClr val="white"/>
                </a:solidFill>
                <a:ea typeface="+mn-ea"/>
                <a:cs typeface="+mn-cs"/>
              </a:rPr>
              <a:t>LOREM IPSUM </a:t>
            </a:r>
            <a:br>
              <a:rPr lang="en-US" sz="750" b="1" kern="1200" dirty="0">
                <a:solidFill>
                  <a:prstClr val="white"/>
                </a:solidFill>
                <a:ea typeface="+mn-ea"/>
                <a:cs typeface="+mn-cs"/>
              </a:rPr>
            </a:br>
            <a:r>
              <a:rPr lang="en-US" sz="750" kern="1200" dirty="0">
                <a:solidFill>
                  <a:prstClr val="white"/>
                </a:solidFill>
                <a:ea typeface="+mn-ea"/>
                <a:cs typeface="+mn-cs"/>
              </a:rPr>
              <a:t>This is dummy text it is not here to be read. This is dummy text it is not here to be read. This is dummy text it is not here to be read. This is dummy text it is not here to be read. This is dummy text it is not here to be read. This is dummy text it is not here to be read. </a:t>
            </a:r>
          </a:p>
        </p:txBody>
      </p:sp>
      <p:sp>
        <p:nvSpPr>
          <p:cNvPr id="87" name="Rounded Rectangle 86"/>
          <p:cNvSpPr/>
          <p:nvPr/>
        </p:nvSpPr>
        <p:spPr>
          <a:xfrm>
            <a:off x="1456373" y="4063091"/>
            <a:ext cx="1928654" cy="228650"/>
          </a:xfrm>
          <a:prstGeom prst="roundRect">
            <a:avLst>
              <a:gd name="adj" fmla="val 10178"/>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88" name="Rectangle 87"/>
          <p:cNvSpPr/>
          <p:nvPr/>
        </p:nvSpPr>
        <p:spPr>
          <a:xfrm>
            <a:off x="1522476" y="3750376"/>
            <a:ext cx="1763650" cy="807913"/>
          </a:xfrm>
          <a:prstGeom prst="rect">
            <a:avLst/>
          </a:prstGeom>
        </p:spPr>
        <p:txBody>
          <a:bodyPr wrap="square" lIns="0" tIns="0" rIns="0" bIns="0">
            <a:spAutoFit/>
          </a:bodyPr>
          <a:lstStyle/>
          <a:p>
            <a:pPr defTabSz="685800">
              <a:spcAft>
                <a:spcPts val="450"/>
              </a:spcAft>
              <a:buClrTx/>
            </a:pPr>
            <a:r>
              <a:rPr lang="en-US" sz="750" b="1" kern="1200" dirty="0">
                <a:solidFill>
                  <a:prstClr val="white"/>
                </a:solidFill>
                <a:ea typeface="+mn-ea"/>
                <a:cs typeface="+mn-cs"/>
              </a:rPr>
              <a:t>LOREM IPSUM </a:t>
            </a:r>
            <a:br>
              <a:rPr lang="en-US" sz="750" b="1" kern="1200" dirty="0">
                <a:solidFill>
                  <a:prstClr val="white"/>
                </a:solidFill>
                <a:ea typeface="+mn-ea"/>
                <a:cs typeface="+mn-cs"/>
              </a:rPr>
            </a:br>
            <a:r>
              <a:rPr lang="en-US" sz="750" kern="1200" dirty="0">
                <a:solidFill>
                  <a:prstClr val="white"/>
                </a:solidFill>
                <a:ea typeface="+mn-ea"/>
                <a:cs typeface="+mn-cs"/>
              </a:rPr>
              <a:t>This is dummy text it is not here to be read. This is dummy text it is not here to be read. This is dummy text it is not here to be read. This is dummy text it is not here to be read. This is dummy text it is not here to be read. </a:t>
            </a:r>
          </a:p>
        </p:txBody>
      </p:sp>
      <p:sp>
        <p:nvSpPr>
          <p:cNvPr id="89" name="Rounded Rectangle 88"/>
          <p:cNvSpPr/>
          <p:nvPr/>
        </p:nvSpPr>
        <p:spPr>
          <a:xfrm>
            <a:off x="5709623" y="4063091"/>
            <a:ext cx="1988006" cy="228650"/>
          </a:xfrm>
          <a:prstGeom prst="roundRect">
            <a:avLst>
              <a:gd name="adj" fmla="val 10178"/>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90" name="Rectangle 89"/>
          <p:cNvSpPr/>
          <p:nvPr/>
        </p:nvSpPr>
        <p:spPr>
          <a:xfrm>
            <a:off x="5800349" y="3773459"/>
            <a:ext cx="1806556" cy="807913"/>
          </a:xfrm>
          <a:prstGeom prst="rect">
            <a:avLst/>
          </a:prstGeom>
        </p:spPr>
        <p:txBody>
          <a:bodyPr wrap="square" lIns="0" tIns="0" rIns="0" bIns="0">
            <a:spAutoFit/>
          </a:bodyPr>
          <a:lstStyle/>
          <a:p>
            <a:pPr defTabSz="685800">
              <a:spcAft>
                <a:spcPts val="450"/>
              </a:spcAft>
              <a:buClrTx/>
            </a:pPr>
            <a:r>
              <a:rPr lang="en-US" sz="750" b="1" kern="1200" dirty="0">
                <a:solidFill>
                  <a:prstClr val="white"/>
                </a:solidFill>
                <a:ea typeface="+mn-ea"/>
                <a:cs typeface="+mn-cs"/>
              </a:rPr>
              <a:t>LOREM IPSUM </a:t>
            </a:r>
            <a:br>
              <a:rPr lang="en-US" sz="750" b="1" kern="1200" dirty="0">
                <a:solidFill>
                  <a:prstClr val="white"/>
                </a:solidFill>
                <a:ea typeface="+mn-ea"/>
                <a:cs typeface="+mn-cs"/>
              </a:rPr>
            </a:br>
            <a:r>
              <a:rPr lang="en-US" sz="750" kern="1200" dirty="0">
                <a:solidFill>
                  <a:prstClr val="white"/>
                </a:solidFill>
                <a:ea typeface="+mn-ea"/>
                <a:cs typeface="+mn-cs"/>
              </a:rPr>
              <a:t>This is dummy text it is not here to be read. This is dummy text it is not here to be read. This is dummy text it is not here to be read. This is dummy text it is not here to be read. This is dummy text it is not here to be read. </a:t>
            </a:r>
          </a:p>
        </p:txBody>
      </p:sp>
    </p:spTree>
    <p:extLst>
      <p:ext uri="{BB962C8B-B14F-4D97-AF65-F5344CB8AC3E}">
        <p14:creationId xmlns:p14="http://schemas.microsoft.com/office/powerpoint/2010/main" val="1386313638"/>
      </p:ext>
    </p:extLst>
  </p:cSld>
  <p:clrMapOvr>
    <a:masterClrMapping/>
  </p:clrMapOvr>
  <p:transition>
    <p:fade/>
  </p:transition>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Pinwheel with text </a:t>
            </a: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2" name="Group 71"/>
          <p:cNvGrpSpPr/>
          <p:nvPr/>
        </p:nvGrpSpPr>
        <p:grpSpPr>
          <a:xfrm>
            <a:off x="4659558" y="2849816"/>
            <a:ext cx="2160270" cy="646522"/>
            <a:chOff x="3206750" y="3020609"/>
            <a:chExt cx="3095625" cy="862029"/>
          </a:xfrm>
        </p:grpSpPr>
        <p:sp>
          <p:nvSpPr>
            <p:cNvPr id="73" name="Pentagon 26"/>
            <p:cNvSpPr/>
            <p:nvPr/>
          </p:nvSpPr>
          <p:spPr>
            <a:xfrm>
              <a:off x="3206750" y="3594491"/>
              <a:ext cx="3095625" cy="288147"/>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74" name="Pentagon 33"/>
            <p:cNvSpPr/>
            <p:nvPr/>
          </p:nvSpPr>
          <p:spPr>
            <a:xfrm>
              <a:off x="3206750" y="3020609"/>
              <a:ext cx="3095625" cy="288147"/>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nvGrpSpPr>
          <p:cNvPr id="75" name="Group 74"/>
          <p:cNvGrpSpPr/>
          <p:nvPr/>
        </p:nvGrpSpPr>
        <p:grpSpPr>
          <a:xfrm rot="16200000">
            <a:off x="4101561" y="1281222"/>
            <a:ext cx="2160272" cy="646522"/>
            <a:chOff x="3206749" y="3020609"/>
            <a:chExt cx="3095627" cy="862028"/>
          </a:xfrm>
        </p:grpSpPr>
        <p:sp>
          <p:nvSpPr>
            <p:cNvPr id="76" name="Pentagon 26"/>
            <p:cNvSpPr/>
            <p:nvPr/>
          </p:nvSpPr>
          <p:spPr>
            <a:xfrm>
              <a:off x="3206749" y="3594490"/>
              <a:ext cx="3095625" cy="288147"/>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rgbClr val="00277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77" name="Pentagon 33"/>
            <p:cNvSpPr/>
            <p:nvPr/>
          </p:nvSpPr>
          <p:spPr>
            <a:xfrm>
              <a:off x="3206750" y="3020609"/>
              <a:ext cx="3095626" cy="288146"/>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rgbClr val="002776">
                <a:alpha val="6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nvGrpSpPr>
          <p:cNvPr id="78" name="Group 77"/>
          <p:cNvGrpSpPr/>
          <p:nvPr/>
        </p:nvGrpSpPr>
        <p:grpSpPr>
          <a:xfrm flipH="1">
            <a:off x="2409757" y="1726103"/>
            <a:ext cx="2160270" cy="646522"/>
            <a:chOff x="3206750" y="3020609"/>
            <a:chExt cx="3095625" cy="862029"/>
          </a:xfrm>
        </p:grpSpPr>
        <p:sp>
          <p:nvSpPr>
            <p:cNvPr id="79" name="Pentagon 26"/>
            <p:cNvSpPr/>
            <p:nvPr/>
          </p:nvSpPr>
          <p:spPr>
            <a:xfrm>
              <a:off x="3206750" y="3594491"/>
              <a:ext cx="3095625" cy="288147"/>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80" name="Pentagon 33"/>
            <p:cNvSpPr/>
            <p:nvPr/>
          </p:nvSpPr>
          <p:spPr>
            <a:xfrm>
              <a:off x="3206750" y="3020609"/>
              <a:ext cx="3095625" cy="288147"/>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grpSp>
        <p:nvGrpSpPr>
          <p:cNvPr id="81" name="Group 80"/>
          <p:cNvGrpSpPr/>
          <p:nvPr/>
        </p:nvGrpSpPr>
        <p:grpSpPr>
          <a:xfrm rot="5400000" flipV="1">
            <a:off x="3096973" y="3422209"/>
            <a:ext cx="2160271" cy="646522"/>
            <a:chOff x="3206750" y="3020609"/>
            <a:chExt cx="3095626" cy="862028"/>
          </a:xfrm>
        </p:grpSpPr>
        <p:sp>
          <p:nvSpPr>
            <p:cNvPr id="82" name="Pentagon 26"/>
            <p:cNvSpPr/>
            <p:nvPr/>
          </p:nvSpPr>
          <p:spPr>
            <a:xfrm>
              <a:off x="3206751" y="3594490"/>
              <a:ext cx="3095625" cy="288147"/>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rgbClr val="81BC00">
                <a:alpha val="6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83" name="Pentagon 33"/>
            <p:cNvSpPr/>
            <p:nvPr/>
          </p:nvSpPr>
          <p:spPr>
            <a:xfrm>
              <a:off x="3206750" y="3020609"/>
              <a:ext cx="3095626" cy="288146"/>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4">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sp>
        <p:nvSpPr>
          <p:cNvPr id="84" name="Freeform 83"/>
          <p:cNvSpPr/>
          <p:nvPr/>
        </p:nvSpPr>
        <p:spPr>
          <a:xfrm>
            <a:off x="4682656" y="1897313"/>
            <a:ext cx="1474470" cy="21611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66900 w 1882140"/>
              <a:gd name="connsiteY0" fmla="*/ 0 h 1973580"/>
              <a:gd name="connsiteX1" fmla="*/ 0 w 1882140"/>
              <a:gd name="connsiteY1" fmla="*/ 1874520 h 1973580"/>
              <a:gd name="connsiteX2" fmla="*/ 1882140 w 1882140"/>
              <a:gd name="connsiteY2" fmla="*/ 1973580 h 1973580"/>
              <a:gd name="connsiteX3" fmla="*/ 1866900 w 1882140"/>
              <a:gd name="connsiteY3" fmla="*/ 0 h 1973580"/>
              <a:gd name="connsiteX0" fmla="*/ 1950720 w 1965960"/>
              <a:gd name="connsiteY0" fmla="*/ 0 h 1973580"/>
              <a:gd name="connsiteX1" fmla="*/ 0 w 1965960"/>
              <a:gd name="connsiteY1" fmla="*/ 1965960 h 1973580"/>
              <a:gd name="connsiteX2" fmla="*/ 1965960 w 1965960"/>
              <a:gd name="connsiteY2" fmla="*/ 1973580 h 1973580"/>
              <a:gd name="connsiteX3" fmla="*/ 1950720 w 1965960"/>
              <a:gd name="connsiteY3" fmla="*/ 0 h 1973580"/>
            </a:gdLst>
            <a:ahLst/>
            <a:cxnLst>
              <a:cxn ang="0">
                <a:pos x="connsiteX0" y="connsiteY0"/>
              </a:cxn>
              <a:cxn ang="0">
                <a:pos x="connsiteX1" y="connsiteY1"/>
              </a:cxn>
              <a:cxn ang="0">
                <a:pos x="connsiteX2" y="connsiteY2"/>
              </a:cxn>
              <a:cxn ang="0">
                <a:pos x="connsiteX3" y="connsiteY3"/>
              </a:cxn>
            </a:cxnLst>
            <a:rect l="l" t="t" r="r" b="b"/>
            <a:pathLst>
              <a:path w="1965960" h="1973580">
                <a:moveTo>
                  <a:pt x="1950720" y="0"/>
                </a:moveTo>
                <a:lnTo>
                  <a:pt x="0" y="1965960"/>
                </a:lnTo>
                <a:lnTo>
                  <a:pt x="1965960" y="1973580"/>
                </a:lnTo>
                <a:lnTo>
                  <a:pt x="195072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85" name="Freeform 84"/>
          <p:cNvSpPr/>
          <p:nvPr/>
        </p:nvSpPr>
        <p:spPr>
          <a:xfrm flipH="1">
            <a:off x="3334790" y="3248910"/>
            <a:ext cx="1400175" cy="21611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51660 w 1866900"/>
              <a:gd name="connsiteY0" fmla="*/ 0 h 2087880"/>
              <a:gd name="connsiteX1" fmla="*/ 0 w 1866900"/>
              <a:gd name="connsiteY1" fmla="*/ 213360 h 2087880"/>
              <a:gd name="connsiteX2" fmla="*/ 1866900 w 1866900"/>
              <a:gd name="connsiteY2" fmla="*/ 2087880 h 2087880"/>
              <a:gd name="connsiteX3" fmla="*/ 1851660 w 1866900"/>
              <a:gd name="connsiteY3" fmla="*/ 0 h 2087880"/>
              <a:gd name="connsiteX0" fmla="*/ 1844040 w 1866900"/>
              <a:gd name="connsiteY0" fmla="*/ 0 h 1889760"/>
              <a:gd name="connsiteX1" fmla="*/ 0 w 1866900"/>
              <a:gd name="connsiteY1" fmla="*/ 15240 h 1889760"/>
              <a:gd name="connsiteX2" fmla="*/ 1866900 w 1866900"/>
              <a:gd name="connsiteY2" fmla="*/ 1889760 h 1889760"/>
              <a:gd name="connsiteX3" fmla="*/ 1844040 w 1866900"/>
              <a:gd name="connsiteY3" fmla="*/ 0 h 1889760"/>
            </a:gdLst>
            <a:ahLst/>
            <a:cxnLst>
              <a:cxn ang="0">
                <a:pos x="connsiteX0" y="connsiteY0"/>
              </a:cxn>
              <a:cxn ang="0">
                <a:pos x="connsiteX1" y="connsiteY1"/>
              </a:cxn>
              <a:cxn ang="0">
                <a:pos x="connsiteX2" y="connsiteY2"/>
              </a:cxn>
              <a:cxn ang="0">
                <a:pos x="connsiteX3" y="connsiteY3"/>
              </a:cxn>
            </a:cxnLst>
            <a:rect l="l" t="t" r="r" b="b"/>
            <a:pathLst>
              <a:path w="1866900" h="1889760">
                <a:moveTo>
                  <a:pt x="1844040" y="0"/>
                </a:moveTo>
                <a:lnTo>
                  <a:pt x="0" y="15240"/>
                </a:lnTo>
                <a:lnTo>
                  <a:pt x="1866900" y="1889760"/>
                </a:lnTo>
                <a:lnTo>
                  <a:pt x="184404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86" name="Freeform 85"/>
          <p:cNvSpPr/>
          <p:nvPr/>
        </p:nvSpPr>
        <p:spPr>
          <a:xfrm rot="5400000">
            <a:off x="4613635" y="3217361"/>
            <a:ext cx="1548765" cy="21611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66900 w 1920240"/>
              <a:gd name="connsiteY0" fmla="*/ 0 h 1874520"/>
              <a:gd name="connsiteX1" fmla="*/ 0 w 1920240"/>
              <a:gd name="connsiteY1" fmla="*/ 1874520 h 1874520"/>
              <a:gd name="connsiteX2" fmla="*/ 1920240 w 1920240"/>
              <a:gd name="connsiteY2" fmla="*/ 1844040 h 1874520"/>
              <a:gd name="connsiteX3" fmla="*/ 1866900 w 1920240"/>
              <a:gd name="connsiteY3" fmla="*/ 0 h 1874520"/>
              <a:gd name="connsiteX0" fmla="*/ 1866900 w 1912620"/>
              <a:gd name="connsiteY0" fmla="*/ 0 h 2026920"/>
              <a:gd name="connsiteX1" fmla="*/ 0 w 1912620"/>
              <a:gd name="connsiteY1" fmla="*/ 1874520 h 2026920"/>
              <a:gd name="connsiteX2" fmla="*/ 1912620 w 1912620"/>
              <a:gd name="connsiteY2" fmla="*/ 2026920 h 2026920"/>
              <a:gd name="connsiteX3" fmla="*/ 1866900 w 1912620"/>
              <a:gd name="connsiteY3" fmla="*/ 0 h 2026920"/>
              <a:gd name="connsiteX0" fmla="*/ 2019300 w 2065020"/>
              <a:gd name="connsiteY0" fmla="*/ 0 h 2026920"/>
              <a:gd name="connsiteX1" fmla="*/ 0 w 2065020"/>
              <a:gd name="connsiteY1" fmla="*/ 2011680 h 2026920"/>
              <a:gd name="connsiteX2" fmla="*/ 2065020 w 2065020"/>
              <a:gd name="connsiteY2" fmla="*/ 2026920 h 2026920"/>
              <a:gd name="connsiteX3" fmla="*/ 2019300 w 2065020"/>
              <a:gd name="connsiteY3" fmla="*/ 0 h 2026920"/>
            </a:gdLst>
            <a:ahLst/>
            <a:cxnLst>
              <a:cxn ang="0">
                <a:pos x="connsiteX0" y="connsiteY0"/>
              </a:cxn>
              <a:cxn ang="0">
                <a:pos x="connsiteX1" y="connsiteY1"/>
              </a:cxn>
              <a:cxn ang="0">
                <a:pos x="connsiteX2" y="connsiteY2"/>
              </a:cxn>
              <a:cxn ang="0">
                <a:pos x="connsiteX3" y="connsiteY3"/>
              </a:cxn>
            </a:cxnLst>
            <a:rect l="l" t="t" r="r" b="b"/>
            <a:pathLst>
              <a:path w="2065020" h="2026920">
                <a:moveTo>
                  <a:pt x="2019300" y="0"/>
                </a:moveTo>
                <a:lnTo>
                  <a:pt x="0" y="2011680"/>
                </a:lnTo>
                <a:lnTo>
                  <a:pt x="2065020" y="2026920"/>
                </a:lnTo>
                <a:lnTo>
                  <a:pt x="201930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87" name="Freeform 86"/>
          <p:cNvSpPr/>
          <p:nvPr/>
        </p:nvSpPr>
        <p:spPr>
          <a:xfrm rot="16200000" flipV="1">
            <a:off x="3325746" y="1868738"/>
            <a:ext cx="1400175" cy="21611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74520 w 1874520"/>
              <a:gd name="connsiteY0" fmla="*/ 22860 h 1874520"/>
              <a:gd name="connsiteX1" fmla="*/ 0 w 1874520"/>
              <a:gd name="connsiteY1" fmla="*/ 0 h 1874520"/>
              <a:gd name="connsiteX2" fmla="*/ 1866900 w 1874520"/>
              <a:gd name="connsiteY2" fmla="*/ 1874520 h 1874520"/>
              <a:gd name="connsiteX3" fmla="*/ 1874520 w 1874520"/>
              <a:gd name="connsiteY3" fmla="*/ 22860 h 1874520"/>
              <a:gd name="connsiteX0" fmla="*/ 1859280 w 1866900"/>
              <a:gd name="connsiteY0" fmla="*/ 0 h 1874520"/>
              <a:gd name="connsiteX1" fmla="*/ 0 w 1866900"/>
              <a:gd name="connsiteY1" fmla="*/ 0 h 1874520"/>
              <a:gd name="connsiteX2" fmla="*/ 1866900 w 1866900"/>
              <a:gd name="connsiteY2" fmla="*/ 1874520 h 1874520"/>
              <a:gd name="connsiteX3" fmla="*/ 1859280 w 1866900"/>
              <a:gd name="connsiteY3" fmla="*/ 0 h 1874520"/>
            </a:gdLst>
            <a:ahLst/>
            <a:cxnLst>
              <a:cxn ang="0">
                <a:pos x="connsiteX0" y="connsiteY0"/>
              </a:cxn>
              <a:cxn ang="0">
                <a:pos x="connsiteX1" y="connsiteY1"/>
              </a:cxn>
              <a:cxn ang="0">
                <a:pos x="connsiteX2" y="connsiteY2"/>
              </a:cxn>
              <a:cxn ang="0">
                <a:pos x="connsiteX3" y="connsiteY3"/>
              </a:cxn>
            </a:cxnLst>
            <a:rect l="l" t="t" r="r" b="b"/>
            <a:pathLst>
              <a:path w="1866900" h="1874520">
                <a:moveTo>
                  <a:pt x="1859280" y="0"/>
                </a:moveTo>
                <a:lnTo>
                  <a:pt x="0" y="0"/>
                </a:lnTo>
                <a:lnTo>
                  <a:pt x="1866900" y="1874520"/>
                </a:lnTo>
                <a:lnTo>
                  <a:pt x="185928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pic>
        <p:nvPicPr>
          <p:cNvPr id="89" name="Picture 8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58322" y="2436850"/>
            <a:ext cx="240030" cy="240030"/>
          </a:xfrm>
          <a:prstGeom prst="rect">
            <a:avLst/>
          </a:prstGeom>
        </p:spPr>
      </p:pic>
      <p:pic>
        <p:nvPicPr>
          <p:cNvPr id="90" name="Picture 8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46973" y="2914887"/>
            <a:ext cx="240030" cy="240030"/>
          </a:xfrm>
          <a:prstGeom prst="rect">
            <a:avLst/>
          </a:prstGeom>
        </p:spPr>
      </p:pic>
      <p:sp>
        <p:nvSpPr>
          <p:cNvPr id="92" name="Rectangle 91"/>
          <p:cNvSpPr/>
          <p:nvPr/>
        </p:nvSpPr>
        <p:spPr>
          <a:xfrm>
            <a:off x="3598636" y="888414"/>
            <a:ext cx="1075856" cy="692497"/>
          </a:xfrm>
          <a:prstGeom prst="rect">
            <a:avLst/>
          </a:prstGeom>
        </p:spPr>
        <p:txBody>
          <a:bodyPr wrap="square" lIns="0" tIns="0" rIns="0" bIns="0">
            <a:spAutoFit/>
          </a:bodyPr>
          <a:lstStyle/>
          <a:p>
            <a:pPr algn="r" defTabSz="685800">
              <a:buClrTx/>
            </a:pPr>
            <a:r>
              <a:rPr lang="en-US" sz="750" kern="1200" dirty="0">
                <a:solidFill>
                  <a:srgbClr val="313131"/>
                </a:solidFill>
                <a:ea typeface="+mn-ea"/>
                <a:cs typeface="+mn-cs"/>
              </a:rPr>
              <a:t>This is dummy text it is not here to be read. This is dummy text it is not here to be read. This is dummy text it is not here to be read. </a:t>
            </a:r>
          </a:p>
        </p:txBody>
      </p:sp>
      <p:sp>
        <p:nvSpPr>
          <p:cNvPr id="93" name="Rectangle 92"/>
          <p:cNvSpPr/>
          <p:nvPr/>
        </p:nvSpPr>
        <p:spPr>
          <a:xfrm>
            <a:off x="3968452" y="1695565"/>
            <a:ext cx="706040" cy="323165"/>
          </a:xfrm>
          <a:prstGeom prst="rect">
            <a:avLst/>
          </a:prstGeom>
        </p:spPr>
        <p:txBody>
          <a:bodyPr wrap="square" lIns="0" tIns="0" rIns="0" bIns="0">
            <a:spAutoFit/>
          </a:bodyPr>
          <a:lstStyle/>
          <a:p>
            <a:pPr algn="r" defTabSz="685800">
              <a:spcAft>
                <a:spcPts val="450"/>
              </a:spcAft>
              <a:buClrTx/>
            </a:pPr>
            <a:r>
              <a:rPr lang="en-US" sz="1050" b="1" kern="1200" dirty="0">
                <a:solidFill>
                  <a:srgbClr val="002776"/>
                </a:solidFill>
                <a:ea typeface="+mn-ea"/>
                <a:cs typeface="+mn-cs"/>
              </a:rPr>
              <a:t>LOREM IPSUM </a:t>
            </a:r>
            <a:endParaRPr lang="en-US" sz="1050" kern="1200" dirty="0">
              <a:solidFill>
                <a:srgbClr val="002776"/>
              </a:solidFill>
              <a:ea typeface="+mn-ea"/>
              <a:cs typeface="+mn-cs"/>
            </a:endParaRPr>
          </a:p>
        </p:txBody>
      </p:sp>
      <p:sp>
        <p:nvSpPr>
          <p:cNvPr id="94" name="Rectangle 93"/>
          <p:cNvSpPr/>
          <p:nvPr/>
        </p:nvSpPr>
        <p:spPr>
          <a:xfrm>
            <a:off x="5388018" y="2110134"/>
            <a:ext cx="1731240" cy="461665"/>
          </a:xfrm>
          <a:prstGeom prst="rect">
            <a:avLst/>
          </a:prstGeom>
        </p:spPr>
        <p:txBody>
          <a:bodyPr wrap="square" lIns="0" tIns="0" rIns="0" bIns="0">
            <a:spAutoFit/>
          </a:bodyPr>
          <a:lstStyle/>
          <a:p>
            <a:pPr defTabSz="685800">
              <a:buClrTx/>
            </a:pPr>
            <a:r>
              <a:rPr lang="en-US" sz="750" kern="1200" dirty="0">
                <a:solidFill>
                  <a:srgbClr val="313131"/>
                </a:solidFill>
                <a:ea typeface="+mn-ea"/>
                <a:cs typeface="+mn-cs"/>
              </a:rPr>
              <a:t>This is dummy text it is not here to be read. This is dummy text it is not here to be read. This is dummy text it is not here to be read. </a:t>
            </a:r>
          </a:p>
        </p:txBody>
      </p:sp>
      <p:sp>
        <p:nvSpPr>
          <p:cNvPr id="95" name="Rectangle 94"/>
          <p:cNvSpPr/>
          <p:nvPr/>
        </p:nvSpPr>
        <p:spPr>
          <a:xfrm>
            <a:off x="5388017" y="2562483"/>
            <a:ext cx="997452" cy="161583"/>
          </a:xfrm>
          <a:prstGeom prst="rect">
            <a:avLst/>
          </a:prstGeom>
        </p:spPr>
        <p:txBody>
          <a:bodyPr wrap="square" lIns="0" tIns="0" rIns="0" bIns="0">
            <a:spAutoFit/>
          </a:bodyPr>
          <a:lstStyle/>
          <a:p>
            <a:pPr defTabSz="685800">
              <a:spcAft>
                <a:spcPts val="450"/>
              </a:spcAft>
              <a:buClrTx/>
            </a:pPr>
            <a:r>
              <a:rPr lang="en-US" sz="1050" b="1" kern="1200" dirty="0">
                <a:solidFill>
                  <a:srgbClr val="00A1DE"/>
                </a:solidFill>
                <a:ea typeface="+mn-ea"/>
                <a:cs typeface="+mn-cs"/>
              </a:rPr>
              <a:t>LOREM IPSUM </a:t>
            </a:r>
            <a:endParaRPr lang="en-US" sz="1050" kern="1200" dirty="0">
              <a:solidFill>
                <a:srgbClr val="00A1DE"/>
              </a:solidFill>
              <a:ea typeface="+mn-ea"/>
              <a:cs typeface="+mn-cs"/>
            </a:endParaRPr>
          </a:p>
        </p:txBody>
      </p:sp>
      <p:sp>
        <p:nvSpPr>
          <p:cNvPr id="96" name="Rectangle 95"/>
          <p:cNvSpPr/>
          <p:nvPr/>
        </p:nvSpPr>
        <p:spPr>
          <a:xfrm>
            <a:off x="4679696" y="3226698"/>
            <a:ext cx="737235" cy="323165"/>
          </a:xfrm>
          <a:prstGeom prst="rect">
            <a:avLst/>
          </a:prstGeom>
        </p:spPr>
        <p:txBody>
          <a:bodyPr wrap="square" lIns="0" tIns="0" rIns="0" bIns="0">
            <a:spAutoFit/>
          </a:bodyPr>
          <a:lstStyle/>
          <a:p>
            <a:pPr defTabSz="685800">
              <a:spcAft>
                <a:spcPts val="450"/>
              </a:spcAft>
              <a:buClrTx/>
            </a:pPr>
            <a:r>
              <a:rPr lang="en-US" sz="1050" b="1" kern="1200" dirty="0">
                <a:solidFill>
                  <a:srgbClr val="3C8A2E"/>
                </a:solidFill>
                <a:ea typeface="+mn-ea"/>
                <a:cs typeface="+mn-cs"/>
              </a:rPr>
              <a:t>LOREM IPSUM </a:t>
            </a:r>
            <a:endParaRPr lang="en-US" sz="1050" kern="1200" dirty="0">
              <a:solidFill>
                <a:srgbClr val="3C8A2E"/>
              </a:solidFill>
              <a:ea typeface="+mn-ea"/>
              <a:cs typeface="+mn-cs"/>
            </a:endParaRPr>
          </a:p>
        </p:txBody>
      </p:sp>
      <p:sp>
        <p:nvSpPr>
          <p:cNvPr id="97" name="Rectangle 96"/>
          <p:cNvSpPr/>
          <p:nvPr/>
        </p:nvSpPr>
        <p:spPr>
          <a:xfrm>
            <a:off x="4679695" y="3621433"/>
            <a:ext cx="926924" cy="1038746"/>
          </a:xfrm>
          <a:prstGeom prst="rect">
            <a:avLst/>
          </a:prstGeom>
        </p:spPr>
        <p:txBody>
          <a:bodyPr wrap="square" lIns="0" tIns="0" rIns="0" bIns="0">
            <a:spAutoFit/>
          </a:bodyPr>
          <a:lstStyle/>
          <a:p>
            <a:pPr defTabSz="685800">
              <a:buClrTx/>
            </a:pPr>
            <a:r>
              <a:rPr lang="en-US" sz="750" kern="1200" dirty="0">
                <a:solidFill>
                  <a:srgbClr val="313131"/>
                </a:solidFill>
                <a:ea typeface="+mn-ea"/>
                <a:cs typeface="+mn-cs"/>
              </a:rPr>
              <a:t>This is dummy text it is not here to be read. This is dummy text it is not here to be read.</a:t>
            </a:r>
          </a:p>
          <a:p>
            <a:pPr defTabSz="685800">
              <a:buClrTx/>
            </a:pPr>
            <a:r>
              <a:rPr lang="en-US" sz="750" kern="1200" dirty="0">
                <a:solidFill>
                  <a:srgbClr val="313131"/>
                </a:solidFill>
                <a:ea typeface="+mn-ea"/>
                <a:cs typeface="+mn-cs"/>
              </a:rPr>
              <a:t>This is dummy text it is not here to be read. This is dummy text it is not here to be read.</a:t>
            </a:r>
          </a:p>
          <a:p>
            <a:pPr defTabSz="685800">
              <a:buClrTx/>
            </a:pPr>
            <a:endParaRPr lang="en-US" sz="750" kern="1200" dirty="0">
              <a:solidFill>
                <a:srgbClr val="313131"/>
              </a:solidFill>
              <a:ea typeface="+mn-ea"/>
              <a:cs typeface="+mn-cs"/>
            </a:endParaRPr>
          </a:p>
        </p:txBody>
      </p:sp>
      <p:sp>
        <p:nvSpPr>
          <p:cNvPr id="98" name="Rectangle 97"/>
          <p:cNvSpPr/>
          <p:nvPr/>
        </p:nvSpPr>
        <p:spPr>
          <a:xfrm>
            <a:off x="3121837" y="2563133"/>
            <a:ext cx="737235" cy="323165"/>
          </a:xfrm>
          <a:prstGeom prst="rect">
            <a:avLst/>
          </a:prstGeom>
        </p:spPr>
        <p:txBody>
          <a:bodyPr wrap="square" lIns="0" tIns="0" rIns="0" bIns="0">
            <a:spAutoFit/>
          </a:bodyPr>
          <a:lstStyle/>
          <a:p>
            <a:pPr algn="r" defTabSz="685800">
              <a:spcAft>
                <a:spcPts val="450"/>
              </a:spcAft>
              <a:buClrTx/>
            </a:pPr>
            <a:r>
              <a:rPr lang="en-US" sz="1050" b="1" kern="1200" dirty="0">
                <a:solidFill>
                  <a:srgbClr val="575757"/>
                </a:solidFill>
                <a:ea typeface="+mn-ea"/>
                <a:cs typeface="+mn-cs"/>
              </a:rPr>
              <a:t>LOREM IPSUM </a:t>
            </a:r>
            <a:endParaRPr lang="en-US" sz="1050" kern="1200" dirty="0">
              <a:solidFill>
                <a:srgbClr val="575757"/>
              </a:solidFill>
              <a:ea typeface="+mn-ea"/>
              <a:cs typeface="+mn-cs"/>
            </a:endParaRPr>
          </a:p>
        </p:txBody>
      </p:sp>
      <p:sp>
        <p:nvSpPr>
          <p:cNvPr id="99" name="Rectangle 98"/>
          <p:cNvSpPr/>
          <p:nvPr/>
        </p:nvSpPr>
        <p:spPr>
          <a:xfrm>
            <a:off x="2616200" y="2957869"/>
            <a:ext cx="1242872" cy="692497"/>
          </a:xfrm>
          <a:prstGeom prst="rect">
            <a:avLst/>
          </a:prstGeom>
        </p:spPr>
        <p:txBody>
          <a:bodyPr wrap="square" lIns="0" tIns="0" rIns="0" bIns="0">
            <a:spAutoFit/>
          </a:bodyPr>
          <a:lstStyle/>
          <a:p>
            <a:pPr algn="r" defTabSz="685800">
              <a:buClrTx/>
            </a:pPr>
            <a:r>
              <a:rPr lang="en-US" sz="750" kern="1200" dirty="0">
                <a:solidFill>
                  <a:srgbClr val="313131"/>
                </a:solidFill>
                <a:ea typeface="+mn-ea"/>
                <a:cs typeface="+mn-cs"/>
              </a:rPr>
              <a:t>This is dummy text it is not here to be read. This is dummy text it is not here to be read. This is dummy text it is not here to be read.</a:t>
            </a:r>
          </a:p>
          <a:p>
            <a:pPr algn="r" defTabSz="685800">
              <a:buClrTx/>
            </a:pPr>
            <a:endParaRPr lang="en-US" sz="750" kern="1200" dirty="0">
              <a:solidFill>
                <a:srgbClr val="313131"/>
              </a:solidFill>
              <a:ea typeface="+mn-ea"/>
              <a:cs typeface="+mn-cs"/>
            </a:endParaRPr>
          </a:p>
        </p:txBody>
      </p:sp>
      <p:sp>
        <p:nvSpPr>
          <p:cNvPr id="4" name="Oval 3"/>
          <p:cNvSpPr/>
          <p:nvPr/>
        </p:nvSpPr>
        <p:spPr>
          <a:xfrm>
            <a:off x="4146804" y="2526103"/>
            <a:ext cx="240030" cy="303892"/>
          </a:xfrm>
          <a:prstGeom prst="ellipse">
            <a:avLst/>
          </a:pr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nvGrpSpPr>
          <p:cNvPr id="5" name="Group 4"/>
          <p:cNvGrpSpPr/>
          <p:nvPr/>
        </p:nvGrpSpPr>
        <p:grpSpPr>
          <a:xfrm>
            <a:off x="4196875" y="2599498"/>
            <a:ext cx="154817" cy="157103"/>
            <a:chOff x="2670297" y="2252495"/>
            <a:chExt cx="340038" cy="345060"/>
          </a:xfrm>
        </p:grpSpPr>
        <p:pic>
          <p:nvPicPr>
            <p:cNvPr id="100" name="Picture 3" descr="C:\Users\kknight\Desktop\cog ico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677023" y="2252495"/>
              <a:ext cx="231650" cy="226773"/>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3" descr="C:\Users\kknight\Desktop\cog 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670297" y="2481572"/>
              <a:ext cx="118477" cy="115983"/>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3" descr="C:\Users\kknight\Desktop\cog 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767128">
              <a:off x="2794964" y="2461476"/>
              <a:ext cx="118477" cy="115983"/>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3" descr="C:\Users\kknight\Desktop\cog 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891858" y="2388084"/>
              <a:ext cx="118477" cy="115983"/>
            </a:xfrm>
            <a:prstGeom prst="rect">
              <a:avLst/>
            </a:prstGeom>
            <a:noFill/>
            <a:extLst>
              <a:ext uri="{909E8E84-426E-40DD-AFC4-6F175D3DCCD1}">
                <a14:hiddenFill xmlns:a14="http://schemas.microsoft.com/office/drawing/2010/main">
                  <a:solidFill>
                    <a:srgbClr val="FFFFFF"/>
                  </a:solidFill>
                </a14:hiddenFill>
              </a:ext>
            </a:extLst>
          </p:spPr>
        </p:pic>
      </p:grpSp>
      <p:sp>
        <p:nvSpPr>
          <p:cNvPr id="104" name="Oval 103"/>
          <p:cNvSpPr/>
          <p:nvPr/>
        </p:nvSpPr>
        <p:spPr>
          <a:xfrm>
            <a:off x="4386834" y="2046043"/>
            <a:ext cx="240030" cy="303892"/>
          </a:xfrm>
          <a:prstGeom prst="ellipse">
            <a:avLst/>
          </a:prstGeom>
          <a:solidFill>
            <a:srgbClr val="00277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pic>
        <p:nvPicPr>
          <p:cNvPr id="105" name="Picture 104" descr="33.emf"/>
          <p:cNvPicPr>
            <a:picLocks noChangeAspect="1"/>
          </p:cNvPicPr>
          <p:nvPr/>
        </p:nvPicPr>
        <p:blipFill>
          <a:blip r:embed="rId10">
            <a:biLevel thresh="25000"/>
          </a:blip>
          <a:stretch>
            <a:fillRect/>
          </a:stretch>
        </p:blipFill>
        <p:spPr>
          <a:xfrm>
            <a:off x="4423606" y="2107688"/>
            <a:ext cx="166487" cy="154268"/>
          </a:xfrm>
          <a:prstGeom prst="rect">
            <a:avLst/>
          </a:prstGeom>
        </p:spPr>
      </p:pic>
    </p:spTree>
    <p:extLst>
      <p:ext uri="{BB962C8B-B14F-4D97-AF65-F5344CB8AC3E}">
        <p14:creationId xmlns:p14="http://schemas.microsoft.com/office/powerpoint/2010/main" val="4092841997"/>
      </p:ext>
    </p:extLst>
  </p:cSld>
  <p:clrMapOvr>
    <a:masterClrMapping/>
  </p:clrMapOvr>
  <p:transition>
    <p:fade/>
  </p:transition>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Golf clubs with textboxes</a:t>
            </a:r>
            <a:br>
              <a:rPr lang="en-US" altLang="ja-JP" dirty="0"/>
            </a:b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3"/>
          <p:cNvGrpSpPr/>
          <p:nvPr/>
        </p:nvGrpSpPr>
        <p:grpSpPr>
          <a:xfrm>
            <a:off x="2459925" y="1131570"/>
            <a:ext cx="4228913" cy="3763328"/>
            <a:chOff x="1755899" y="1327468"/>
            <a:chExt cx="5638551" cy="5017770"/>
          </a:xfrm>
        </p:grpSpPr>
        <p:sp>
          <p:nvSpPr>
            <p:cNvPr id="53" name="Rounded Rectangle 23"/>
            <p:cNvSpPr/>
            <p:nvPr/>
          </p:nvSpPr>
          <p:spPr>
            <a:xfrm>
              <a:off x="4575175" y="3916591"/>
              <a:ext cx="2819275" cy="2428647"/>
            </a:xfrm>
            <a:custGeom>
              <a:avLst/>
              <a:gdLst>
                <a:gd name="connsiteX0" fmla="*/ 0 w 2487168"/>
                <a:gd name="connsiteY0" fmla="*/ 632765 h 1265530"/>
                <a:gd name="connsiteX1" fmla="*/ 632765 w 2487168"/>
                <a:gd name="connsiteY1" fmla="*/ 0 h 1265530"/>
                <a:gd name="connsiteX2" fmla="*/ 1854403 w 2487168"/>
                <a:gd name="connsiteY2" fmla="*/ 0 h 1265530"/>
                <a:gd name="connsiteX3" fmla="*/ 2487168 w 2487168"/>
                <a:gd name="connsiteY3" fmla="*/ 632765 h 1265530"/>
                <a:gd name="connsiteX4" fmla="*/ 2487168 w 2487168"/>
                <a:gd name="connsiteY4" fmla="*/ 632765 h 1265530"/>
                <a:gd name="connsiteX5" fmla="*/ 1854403 w 2487168"/>
                <a:gd name="connsiteY5" fmla="*/ 1265530 h 1265530"/>
                <a:gd name="connsiteX6" fmla="*/ 632765 w 2487168"/>
                <a:gd name="connsiteY6" fmla="*/ 1265530 h 1265530"/>
                <a:gd name="connsiteX7" fmla="*/ 0 w 2487168"/>
                <a:gd name="connsiteY7" fmla="*/ 632765 h 1265530"/>
                <a:gd name="connsiteX0" fmla="*/ 10095 w 2497263"/>
                <a:gd name="connsiteY0" fmla="*/ 632765 h 1265530"/>
                <a:gd name="connsiteX1" fmla="*/ 642860 w 2497263"/>
                <a:gd name="connsiteY1" fmla="*/ 0 h 1265530"/>
                <a:gd name="connsiteX2" fmla="*/ 1864498 w 2497263"/>
                <a:gd name="connsiteY2" fmla="*/ 0 h 1265530"/>
                <a:gd name="connsiteX3" fmla="*/ 2497263 w 2497263"/>
                <a:gd name="connsiteY3" fmla="*/ 632765 h 1265530"/>
                <a:gd name="connsiteX4" fmla="*/ 2497263 w 2497263"/>
                <a:gd name="connsiteY4" fmla="*/ 632765 h 1265530"/>
                <a:gd name="connsiteX5" fmla="*/ 1864498 w 2497263"/>
                <a:gd name="connsiteY5" fmla="*/ 1265530 h 1265530"/>
                <a:gd name="connsiteX6" fmla="*/ 642860 w 2497263"/>
                <a:gd name="connsiteY6" fmla="*/ 1265530 h 1265530"/>
                <a:gd name="connsiteX7" fmla="*/ 280757 w 2497263"/>
                <a:gd name="connsiteY7" fmla="*/ 1163117 h 1265530"/>
                <a:gd name="connsiteX8" fmla="*/ 10095 w 2497263"/>
                <a:gd name="connsiteY8" fmla="*/ 632765 h 1265530"/>
                <a:gd name="connsiteX0" fmla="*/ 34828 w 2521996"/>
                <a:gd name="connsiteY0" fmla="*/ 632765 h 2216530"/>
                <a:gd name="connsiteX1" fmla="*/ 667593 w 2521996"/>
                <a:gd name="connsiteY1" fmla="*/ 0 h 2216530"/>
                <a:gd name="connsiteX2" fmla="*/ 1889231 w 2521996"/>
                <a:gd name="connsiteY2" fmla="*/ 0 h 2216530"/>
                <a:gd name="connsiteX3" fmla="*/ 2521996 w 2521996"/>
                <a:gd name="connsiteY3" fmla="*/ 632765 h 2216530"/>
                <a:gd name="connsiteX4" fmla="*/ 2521996 w 2521996"/>
                <a:gd name="connsiteY4" fmla="*/ 632765 h 2216530"/>
                <a:gd name="connsiteX5" fmla="*/ 1889231 w 2521996"/>
                <a:gd name="connsiteY5" fmla="*/ 1265530 h 2216530"/>
                <a:gd name="connsiteX6" fmla="*/ 667593 w 2521996"/>
                <a:gd name="connsiteY6" fmla="*/ 1265530 h 2216530"/>
                <a:gd name="connsiteX7" fmla="*/ 144556 w 2521996"/>
                <a:gd name="connsiteY7" fmla="*/ 2209191 h 2216530"/>
                <a:gd name="connsiteX8" fmla="*/ 34828 w 2521996"/>
                <a:gd name="connsiteY8" fmla="*/ 632765 h 2216530"/>
                <a:gd name="connsiteX0" fmla="*/ 38917 w 2526085"/>
                <a:gd name="connsiteY0" fmla="*/ 632765 h 2420235"/>
                <a:gd name="connsiteX1" fmla="*/ 671682 w 2526085"/>
                <a:gd name="connsiteY1" fmla="*/ 0 h 2420235"/>
                <a:gd name="connsiteX2" fmla="*/ 1893320 w 2526085"/>
                <a:gd name="connsiteY2" fmla="*/ 0 h 2420235"/>
                <a:gd name="connsiteX3" fmla="*/ 2526085 w 2526085"/>
                <a:gd name="connsiteY3" fmla="*/ 632765 h 2420235"/>
                <a:gd name="connsiteX4" fmla="*/ 2526085 w 2526085"/>
                <a:gd name="connsiteY4" fmla="*/ 632765 h 2420235"/>
                <a:gd name="connsiteX5" fmla="*/ 1893320 w 2526085"/>
                <a:gd name="connsiteY5" fmla="*/ 1265530 h 2420235"/>
                <a:gd name="connsiteX6" fmla="*/ 671682 w 2526085"/>
                <a:gd name="connsiteY6" fmla="*/ 1265530 h 2420235"/>
                <a:gd name="connsiteX7" fmla="*/ 134015 w 2526085"/>
                <a:gd name="connsiteY7" fmla="*/ 2414017 h 2420235"/>
                <a:gd name="connsiteX8" fmla="*/ 38917 w 2526085"/>
                <a:gd name="connsiteY8" fmla="*/ 632765 h 2420235"/>
                <a:gd name="connsiteX0" fmla="*/ 38917 w 2526085"/>
                <a:gd name="connsiteY0" fmla="*/ 632765 h 2414017"/>
                <a:gd name="connsiteX1" fmla="*/ 671682 w 2526085"/>
                <a:gd name="connsiteY1" fmla="*/ 0 h 2414017"/>
                <a:gd name="connsiteX2" fmla="*/ 1893320 w 2526085"/>
                <a:gd name="connsiteY2" fmla="*/ 0 h 2414017"/>
                <a:gd name="connsiteX3" fmla="*/ 2526085 w 2526085"/>
                <a:gd name="connsiteY3" fmla="*/ 632765 h 2414017"/>
                <a:gd name="connsiteX4" fmla="*/ 2526085 w 2526085"/>
                <a:gd name="connsiteY4" fmla="*/ 632765 h 2414017"/>
                <a:gd name="connsiteX5" fmla="*/ 1893320 w 2526085"/>
                <a:gd name="connsiteY5" fmla="*/ 1265530 h 2414017"/>
                <a:gd name="connsiteX6" fmla="*/ 671682 w 2526085"/>
                <a:gd name="connsiteY6" fmla="*/ 1265530 h 2414017"/>
                <a:gd name="connsiteX7" fmla="*/ 134015 w 2526085"/>
                <a:gd name="connsiteY7" fmla="*/ 2414017 h 2414017"/>
                <a:gd name="connsiteX8" fmla="*/ 38917 w 2526085"/>
                <a:gd name="connsiteY8" fmla="*/ 632765 h 2414017"/>
                <a:gd name="connsiteX0" fmla="*/ 38917 w 2526085"/>
                <a:gd name="connsiteY0" fmla="*/ 632765 h 2414017"/>
                <a:gd name="connsiteX1" fmla="*/ 671682 w 2526085"/>
                <a:gd name="connsiteY1" fmla="*/ 0 h 2414017"/>
                <a:gd name="connsiteX2" fmla="*/ 1893320 w 2526085"/>
                <a:gd name="connsiteY2" fmla="*/ 0 h 2414017"/>
                <a:gd name="connsiteX3" fmla="*/ 2526085 w 2526085"/>
                <a:gd name="connsiteY3" fmla="*/ 632765 h 2414017"/>
                <a:gd name="connsiteX4" fmla="*/ 2526085 w 2526085"/>
                <a:gd name="connsiteY4" fmla="*/ 632765 h 2414017"/>
                <a:gd name="connsiteX5" fmla="*/ 1893320 w 2526085"/>
                <a:gd name="connsiteY5" fmla="*/ 1265530 h 2414017"/>
                <a:gd name="connsiteX6" fmla="*/ 671682 w 2526085"/>
                <a:gd name="connsiteY6" fmla="*/ 1265530 h 2414017"/>
                <a:gd name="connsiteX7" fmla="*/ 134015 w 2526085"/>
                <a:gd name="connsiteY7" fmla="*/ 2414017 h 2414017"/>
                <a:gd name="connsiteX8" fmla="*/ 38917 w 2526085"/>
                <a:gd name="connsiteY8" fmla="*/ 632765 h 2414017"/>
                <a:gd name="connsiteX0" fmla="*/ 38917 w 2526085"/>
                <a:gd name="connsiteY0" fmla="*/ 632765 h 2414017"/>
                <a:gd name="connsiteX1" fmla="*/ 671682 w 2526085"/>
                <a:gd name="connsiteY1" fmla="*/ 0 h 2414017"/>
                <a:gd name="connsiteX2" fmla="*/ 1893320 w 2526085"/>
                <a:gd name="connsiteY2" fmla="*/ 0 h 2414017"/>
                <a:gd name="connsiteX3" fmla="*/ 2526085 w 2526085"/>
                <a:gd name="connsiteY3" fmla="*/ 632765 h 2414017"/>
                <a:gd name="connsiteX4" fmla="*/ 2526085 w 2526085"/>
                <a:gd name="connsiteY4" fmla="*/ 632765 h 2414017"/>
                <a:gd name="connsiteX5" fmla="*/ 1893320 w 2526085"/>
                <a:gd name="connsiteY5" fmla="*/ 1265530 h 2414017"/>
                <a:gd name="connsiteX6" fmla="*/ 671682 w 2526085"/>
                <a:gd name="connsiteY6" fmla="*/ 1265530 h 2414017"/>
                <a:gd name="connsiteX7" fmla="*/ 134015 w 2526085"/>
                <a:gd name="connsiteY7" fmla="*/ 2414017 h 2414017"/>
                <a:gd name="connsiteX8" fmla="*/ 38917 w 2526085"/>
                <a:gd name="connsiteY8" fmla="*/ 632765 h 2414017"/>
                <a:gd name="connsiteX0" fmla="*/ 101443 w 2588611"/>
                <a:gd name="connsiteY0" fmla="*/ 632765 h 2428647"/>
                <a:gd name="connsiteX1" fmla="*/ 734208 w 2588611"/>
                <a:gd name="connsiteY1" fmla="*/ 0 h 2428647"/>
                <a:gd name="connsiteX2" fmla="*/ 1955846 w 2588611"/>
                <a:gd name="connsiteY2" fmla="*/ 0 h 2428647"/>
                <a:gd name="connsiteX3" fmla="*/ 2588611 w 2588611"/>
                <a:gd name="connsiteY3" fmla="*/ 632765 h 2428647"/>
                <a:gd name="connsiteX4" fmla="*/ 2588611 w 2588611"/>
                <a:gd name="connsiteY4" fmla="*/ 632765 h 2428647"/>
                <a:gd name="connsiteX5" fmla="*/ 1955846 w 2588611"/>
                <a:gd name="connsiteY5" fmla="*/ 1265530 h 2428647"/>
                <a:gd name="connsiteX6" fmla="*/ 734208 w 2588611"/>
                <a:gd name="connsiteY6" fmla="*/ 1265530 h 2428647"/>
                <a:gd name="connsiteX7" fmla="*/ 65084 w 2588611"/>
                <a:gd name="connsiteY7" fmla="*/ 2428647 h 2428647"/>
                <a:gd name="connsiteX8" fmla="*/ 101443 w 2588611"/>
                <a:gd name="connsiteY8" fmla="*/ 632765 h 2428647"/>
                <a:gd name="connsiteX0" fmla="*/ 63322 w 2550490"/>
                <a:gd name="connsiteY0" fmla="*/ 632765 h 2428647"/>
                <a:gd name="connsiteX1" fmla="*/ 696087 w 2550490"/>
                <a:gd name="connsiteY1" fmla="*/ 0 h 2428647"/>
                <a:gd name="connsiteX2" fmla="*/ 1917725 w 2550490"/>
                <a:gd name="connsiteY2" fmla="*/ 0 h 2428647"/>
                <a:gd name="connsiteX3" fmla="*/ 2550490 w 2550490"/>
                <a:gd name="connsiteY3" fmla="*/ 632765 h 2428647"/>
                <a:gd name="connsiteX4" fmla="*/ 2550490 w 2550490"/>
                <a:gd name="connsiteY4" fmla="*/ 632765 h 2428647"/>
                <a:gd name="connsiteX5" fmla="*/ 1917725 w 2550490"/>
                <a:gd name="connsiteY5" fmla="*/ 1265530 h 2428647"/>
                <a:gd name="connsiteX6" fmla="*/ 696087 w 2550490"/>
                <a:gd name="connsiteY6" fmla="*/ 1265530 h 2428647"/>
                <a:gd name="connsiteX7" fmla="*/ 26963 w 2550490"/>
                <a:gd name="connsiteY7" fmla="*/ 2428647 h 2428647"/>
                <a:gd name="connsiteX8" fmla="*/ 63322 w 2550490"/>
                <a:gd name="connsiteY8" fmla="*/ 632765 h 2428647"/>
                <a:gd name="connsiteX0" fmla="*/ 63322 w 2550490"/>
                <a:gd name="connsiteY0" fmla="*/ 632765 h 2428647"/>
                <a:gd name="connsiteX1" fmla="*/ 696087 w 2550490"/>
                <a:gd name="connsiteY1" fmla="*/ 0 h 2428647"/>
                <a:gd name="connsiteX2" fmla="*/ 1917725 w 2550490"/>
                <a:gd name="connsiteY2" fmla="*/ 0 h 2428647"/>
                <a:gd name="connsiteX3" fmla="*/ 2550490 w 2550490"/>
                <a:gd name="connsiteY3" fmla="*/ 632765 h 2428647"/>
                <a:gd name="connsiteX4" fmla="*/ 2550490 w 2550490"/>
                <a:gd name="connsiteY4" fmla="*/ 632765 h 2428647"/>
                <a:gd name="connsiteX5" fmla="*/ 1917725 w 2550490"/>
                <a:gd name="connsiteY5" fmla="*/ 1265530 h 2428647"/>
                <a:gd name="connsiteX6" fmla="*/ 696087 w 2550490"/>
                <a:gd name="connsiteY6" fmla="*/ 1265530 h 2428647"/>
                <a:gd name="connsiteX7" fmla="*/ 26963 w 2550490"/>
                <a:gd name="connsiteY7" fmla="*/ 2428647 h 2428647"/>
                <a:gd name="connsiteX8" fmla="*/ 63322 w 2550490"/>
                <a:gd name="connsiteY8" fmla="*/ 632765 h 2428647"/>
                <a:gd name="connsiteX0" fmla="*/ 48615 w 2581792"/>
                <a:gd name="connsiteY0" fmla="*/ 683972 h 2428647"/>
                <a:gd name="connsiteX1" fmla="*/ 727389 w 2581792"/>
                <a:gd name="connsiteY1" fmla="*/ 0 h 2428647"/>
                <a:gd name="connsiteX2" fmla="*/ 1949027 w 2581792"/>
                <a:gd name="connsiteY2" fmla="*/ 0 h 2428647"/>
                <a:gd name="connsiteX3" fmla="*/ 2581792 w 2581792"/>
                <a:gd name="connsiteY3" fmla="*/ 632765 h 2428647"/>
                <a:gd name="connsiteX4" fmla="*/ 2581792 w 2581792"/>
                <a:gd name="connsiteY4" fmla="*/ 632765 h 2428647"/>
                <a:gd name="connsiteX5" fmla="*/ 1949027 w 2581792"/>
                <a:gd name="connsiteY5" fmla="*/ 1265530 h 2428647"/>
                <a:gd name="connsiteX6" fmla="*/ 727389 w 2581792"/>
                <a:gd name="connsiteY6" fmla="*/ 1265530 h 2428647"/>
                <a:gd name="connsiteX7" fmla="*/ 58265 w 2581792"/>
                <a:gd name="connsiteY7" fmla="*/ 2428647 h 2428647"/>
                <a:gd name="connsiteX8" fmla="*/ 48615 w 2581792"/>
                <a:gd name="connsiteY8" fmla="*/ 683972 h 2428647"/>
                <a:gd name="connsiteX0" fmla="*/ 1 w 2533178"/>
                <a:gd name="connsiteY0" fmla="*/ 683972 h 2428647"/>
                <a:gd name="connsiteX1" fmla="*/ 678775 w 2533178"/>
                <a:gd name="connsiteY1" fmla="*/ 0 h 2428647"/>
                <a:gd name="connsiteX2" fmla="*/ 1900413 w 2533178"/>
                <a:gd name="connsiteY2" fmla="*/ 0 h 2428647"/>
                <a:gd name="connsiteX3" fmla="*/ 2533178 w 2533178"/>
                <a:gd name="connsiteY3" fmla="*/ 632765 h 2428647"/>
                <a:gd name="connsiteX4" fmla="*/ 2533178 w 2533178"/>
                <a:gd name="connsiteY4" fmla="*/ 632765 h 2428647"/>
                <a:gd name="connsiteX5" fmla="*/ 1900413 w 2533178"/>
                <a:gd name="connsiteY5" fmla="*/ 1265530 h 2428647"/>
                <a:gd name="connsiteX6" fmla="*/ 678775 w 2533178"/>
                <a:gd name="connsiteY6" fmla="*/ 1265530 h 2428647"/>
                <a:gd name="connsiteX7" fmla="*/ 9651 w 2533178"/>
                <a:gd name="connsiteY7" fmla="*/ 2428647 h 2428647"/>
                <a:gd name="connsiteX8" fmla="*/ 1 w 2533178"/>
                <a:gd name="connsiteY8" fmla="*/ 683972 h 2428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33178" h="2428647">
                  <a:moveTo>
                    <a:pt x="1" y="683972"/>
                  </a:moveTo>
                  <a:cubicBezTo>
                    <a:pt x="-216" y="191416"/>
                    <a:pt x="307363" y="21946"/>
                    <a:pt x="678775" y="0"/>
                  </a:cubicBezTo>
                  <a:lnTo>
                    <a:pt x="1900413" y="0"/>
                  </a:lnTo>
                  <a:cubicBezTo>
                    <a:pt x="2249879" y="0"/>
                    <a:pt x="2533178" y="283299"/>
                    <a:pt x="2533178" y="632765"/>
                  </a:cubicBezTo>
                  <a:lnTo>
                    <a:pt x="2533178" y="632765"/>
                  </a:lnTo>
                  <a:cubicBezTo>
                    <a:pt x="2533178" y="982231"/>
                    <a:pt x="2249879" y="1265530"/>
                    <a:pt x="1900413" y="1265530"/>
                  </a:cubicBezTo>
                  <a:lnTo>
                    <a:pt x="678775" y="1265530"/>
                  </a:lnTo>
                  <a:cubicBezTo>
                    <a:pt x="414818" y="1248461"/>
                    <a:pt x="58709" y="1751382"/>
                    <a:pt x="9651" y="2428647"/>
                  </a:cubicBezTo>
                  <a:cubicBezTo>
                    <a:pt x="2783" y="2250034"/>
                    <a:pt x="218" y="1176528"/>
                    <a:pt x="1" y="683972"/>
                  </a:cubicBezTo>
                  <a:close/>
                </a:path>
              </a:pathLst>
            </a:custGeom>
            <a:solidFill>
              <a:srgbClr val="BDD203"/>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US" sz="900" kern="1200" dirty="0" err="1">
                <a:solidFill>
                  <a:prstClr val="white"/>
                </a:solidFill>
                <a:latin typeface="Arial"/>
              </a:endParaRPr>
            </a:p>
          </p:txBody>
        </p:sp>
        <p:sp>
          <p:nvSpPr>
            <p:cNvPr id="54" name="Rounded Rectangle 23"/>
            <p:cNvSpPr/>
            <p:nvPr/>
          </p:nvSpPr>
          <p:spPr>
            <a:xfrm>
              <a:off x="4575175" y="2629116"/>
              <a:ext cx="2819275" cy="2428647"/>
            </a:xfrm>
            <a:custGeom>
              <a:avLst/>
              <a:gdLst>
                <a:gd name="connsiteX0" fmla="*/ 0 w 2487168"/>
                <a:gd name="connsiteY0" fmla="*/ 632765 h 1265530"/>
                <a:gd name="connsiteX1" fmla="*/ 632765 w 2487168"/>
                <a:gd name="connsiteY1" fmla="*/ 0 h 1265530"/>
                <a:gd name="connsiteX2" fmla="*/ 1854403 w 2487168"/>
                <a:gd name="connsiteY2" fmla="*/ 0 h 1265530"/>
                <a:gd name="connsiteX3" fmla="*/ 2487168 w 2487168"/>
                <a:gd name="connsiteY3" fmla="*/ 632765 h 1265530"/>
                <a:gd name="connsiteX4" fmla="*/ 2487168 w 2487168"/>
                <a:gd name="connsiteY4" fmla="*/ 632765 h 1265530"/>
                <a:gd name="connsiteX5" fmla="*/ 1854403 w 2487168"/>
                <a:gd name="connsiteY5" fmla="*/ 1265530 h 1265530"/>
                <a:gd name="connsiteX6" fmla="*/ 632765 w 2487168"/>
                <a:gd name="connsiteY6" fmla="*/ 1265530 h 1265530"/>
                <a:gd name="connsiteX7" fmla="*/ 0 w 2487168"/>
                <a:gd name="connsiteY7" fmla="*/ 632765 h 1265530"/>
                <a:gd name="connsiteX0" fmla="*/ 10095 w 2497263"/>
                <a:gd name="connsiteY0" fmla="*/ 632765 h 1265530"/>
                <a:gd name="connsiteX1" fmla="*/ 642860 w 2497263"/>
                <a:gd name="connsiteY1" fmla="*/ 0 h 1265530"/>
                <a:gd name="connsiteX2" fmla="*/ 1864498 w 2497263"/>
                <a:gd name="connsiteY2" fmla="*/ 0 h 1265530"/>
                <a:gd name="connsiteX3" fmla="*/ 2497263 w 2497263"/>
                <a:gd name="connsiteY3" fmla="*/ 632765 h 1265530"/>
                <a:gd name="connsiteX4" fmla="*/ 2497263 w 2497263"/>
                <a:gd name="connsiteY4" fmla="*/ 632765 h 1265530"/>
                <a:gd name="connsiteX5" fmla="*/ 1864498 w 2497263"/>
                <a:gd name="connsiteY5" fmla="*/ 1265530 h 1265530"/>
                <a:gd name="connsiteX6" fmla="*/ 642860 w 2497263"/>
                <a:gd name="connsiteY6" fmla="*/ 1265530 h 1265530"/>
                <a:gd name="connsiteX7" fmla="*/ 280757 w 2497263"/>
                <a:gd name="connsiteY7" fmla="*/ 1163117 h 1265530"/>
                <a:gd name="connsiteX8" fmla="*/ 10095 w 2497263"/>
                <a:gd name="connsiteY8" fmla="*/ 632765 h 1265530"/>
                <a:gd name="connsiteX0" fmla="*/ 34828 w 2521996"/>
                <a:gd name="connsiteY0" fmla="*/ 632765 h 2216530"/>
                <a:gd name="connsiteX1" fmla="*/ 667593 w 2521996"/>
                <a:gd name="connsiteY1" fmla="*/ 0 h 2216530"/>
                <a:gd name="connsiteX2" fmla="*/ 1889231 w 2521996"/>
                <a:gd name="connsiteY2" fmla="*/ 0 h 2216530"/>
                <a:gd name="connsiteX3" fmla="*/ 2521996 w 2521996"/>
                <a:gd name="connsiteY3" fmla="*/ 632765 h 2216530"/>
                <a:gd name="connsiteX4" fmla="*/ 2521996 w 2521996"/>
                <a:gd name="connsiteY4" fmla="*/ 632765 h 2216530"/>
                <a:gd name="connsiteX5" fmla="*/ 1889231 w 2521996"/>
                <a:gd name="connsiteY5" fmla="*/ 1265530 h 2216530"/>
                <a:gd name="connsiteX6" fmla="*/ 667593 w 2521996"/>
                <a:gd name="connsiteY6" fmla="*/ 1265530 h 2216530"/>
                <a:gd name="connsiteX7" fmla="*/ 144556 w 2521996"/>
                <a:gd name="connsiteY7" fmla="*/ 2209191 h 2216530"/>
                <a:gd name="connsiteX8" fmla="*/ 34828 w 2521996"/>
                <a:gd name="connsiteY8" fmla="*/ 632765 h 2216530"/>
                <a:gd name="connsiteX0" fmla="*/ 38917 w 2526085"/>
                <a:gd name="connsiteY0" fmla="*/ 632765 h 2420235"/>
                <a:gd name="connsiteX1" fmla="*/ 671682 w 2526085"/>
                <a:gd name="connsiteY1" fmla="*/ 0 h 2420235"/>
                <a:gd name="connsiteX2" fmla="*/ 1893320 w 2526085"/>
                <a:gd name="connsiteY2" fmla="*/ 0 h 2420235"/>
                <a:gd name="connsiteX3" fmla="*/ 2526085 w 2526085"/>
                <a:gd name="connsiteY3" fmla="*/ 632765 h 2420235"/>
                <a:gd name="connsiteX4" fmla="*/ 2526085 w 2526085"/>
                <a:gd name="connsiteY4" fmla="*/ 632765 h 2420235"/>
                <a:gd name="connsiteX5" fmla="*/ 1893320 w 2526085"/>
                <a:gd name="connsiteY5" fmla="*/ 1265530 h 2420235"/>
                <a:gd name="connsiteX6" fmla="*/ 671682 w 2526085"/>
                <a:gd name="connsiteY6" fmla="*/ 1265530 h 2420235"/>
                <a:gd name="connsiteX7" fmla="*/ 134015 w 2526085"/>
                <a:gd name="connsiteY7" fmla="*/ 2414017 h 2420235"/>
                <a:gd name="connsiteX8" fmla="*/ 38917 w 2526085"/>
                <a:gd name="connsiteY8" fmla="*/ 632765 h 2420235"/>
                <a:gd name="connsiteX0" fmla="*/ 38917 w 2526085"/>
                <a:gd name="connsiteY0" fmla="*/ 632765 h 2414017"/>
                <a:gd name="connsiteX1" fmla="*/ 671682 w 2526085"/>
                <a:gd name="connsiteY1" fmla="*/ 0 h 2414017"/>
                <a:gd name="connsiteX2" fmla="*/ 1893320 w 2526085"/>
                <a:gd name="connsiteY2" fmla="*/ 0 h 2414017"/>
                <a:gd name="connsiteX3" fmla="*/ 2526085 w 2526085"/>
                <a:gd name="connsiteY3" fmla="*/ 632765 h 2414017"/>
                <a:gd name="connsiteX4" fmla="*/ 2526085 w 2526085"/>
                <a:gd name="connsiteY4" fmla="*/ 632765 h 2414017"/>
                <a:gd name="connsiteX5" fmla="*/ 1893320 w 2526085"/>
                <a:gd name="connsiteY5" fmla="*/ 1265530 h 2414017"/>
                <a:gd name="connsiteX6" fmla="*/ 671682 w 2526085"/>
                <a:gd name="connsiteY6" fmla="*/ 1265530 h 2414017"/>
                <a:gd name="connsiteX7" fmla="*/ 134015 w 2526085"/>
                <a:gd name="connsiteY7" fmla="*/ 2414017 h 2414017"/>
                <a:gd name="connsiteX8" fmla="*/ 38917 w 2526085"/>
                <a:gd name="connsiteY8" fmla="*/ 632765 h 2414017"/>
                <a:gd name="connsiteX0" fmla="*/ 38917 w 2526085"/>
                <a:gd name="connsiteY0" fmla="*/ 632765 h 2414017"/>
                <a:gd name="connsiteX1" fmla="*/ 671682 w 2526085"/>
                <a:gd name="connsiteY1" fmla="*/ 0 h 2414017"/>
                <a:gd name="connsiteX2" fmla="*/ 1893320 w 2526085"/>
                <a:gd name="connsiteY2" fmla="*/ 0 h 2414017"/>
                <a:gd name="connsiteX3" fmla="*/ 2526085 w 2526085"/>
                <a:gd name="connsiteY3" fmla="*/ 632765 h 2414017"/>
                <a:gd name="connsiteX4" fmla="*/ 2526085 w 2526085"/>
                <a:gd name="connsiteY4" fmla="*/ 632765 h 2414017"/>
                <a:gd name="connsiteX5" fmla="*/ 1893320 w 2526085"/>
                <a:gd name="connsiteY5" fmla="*/ 1265530 h 2414017"/>
                <a:gd name="connsiteX6" fmla="*/ 671682 w 2526085"/>
                <a:gd name="connsiteY6" fmla="*/ 1265530 h 2414017"/>
                <a:gd name="connsiteX7" fmla="*/ 134015 w 2526085"/>
                <a:gd name="connsiteY7" fmla="*/ 2414017 h 2414017"/>
                <a:gd name="connsiteX8" fmla="*/ 38917 w 2526085"/>
                <a:gd name="connsiteY8" fmla="*/ 632765 h 2414017"/>
                <a:gd name="connsiteX0" fmla="*/ 38917 w 2526085"/>
                <a:gd name="connsiteY0" fmla="*/ 632765 h 2414017"/>
                <a:gd name="connsiteX1" fmla="*/ 671682 w 2526085"/>
                <a:gd name="connsiteY1" fmla="*/ 0 h 2414017"/>
                <a:gd name="connsiteX2" fmla="*/ 1893320 w 2526085"/>
                <a:gd name="connsiteY2" fmla="*/ 0 h 2414017"/>
                <a:gd name="connsiteX3" fmla="*/ 2526085 w 2526085"/>
                <a:gd name="connsiteY3" fmla="*/ 632765 h 2414017"/>
                <a:gd name="connsiteX4" fmla="*/ 2526085 w 2526085"/>
                <a:gd name="connsiteY4" fmla="*/ 632765 h 2414017"/>
                <a:gd name="connsiteX5" fmla="*/ 1893320 w 2526085"/>
                <a:gd name="connsiteY5" fmla="*/ 1265530 h 2414017"/>
                <a:gd name="connsiteX6" fmla="*/ 671682 w 2526085"/>
                <a:gd name="connsiteY6" fmla="*/ 1265530 h 2414017"/>
                <a:gd name="connsiteX7" fmla="*/ 134015 w 2526085"/>
                <a:gd name="connsiteY7" fmla="*/ 2414017 h 2414017"/>
                <a:gd name="connsiteX8" fmla="*/ 38917 w 2526085"/>
                <a:gd name="connsiteY8" fmla="*/ 632765 h 2414017"/>
                <a:gd name="connsiteX0" fmla="*/ 101443 w 2588611"/>
                <a:gd name="connsiteY0" fmla="*/ 632765 h 2428647"/>
                <a:gd name="connsiteX1" fmla="*/ 734208 w 2588611"/>
                <a:gd name="connsiteY1" fmla="*/ 0 h 2428647"/>
                <a:gd name="connsiteX2" fmla="*/ 1955846 w 2588611"/>
                <a:gd name="connsiteY2" fmla="*/ 0 h 2428647"/>
                <a:gd name="connsiteX3" fmla="*/ 2588611 w 2588611"/>
                <a:gd name="connsiteY3" fmla="*/ 632765 h 2428647"/>
                <a:gd name="connsiteX4" fmla="*/ 2588611 w 2588611"/>
                <a:gd name="connsiteY4" fmla="*/ 632765 h 2428647"/>
                <a:gd name="connsiteX5" fmla="*/ 1955846 w 2588611"/>
                <a:gd name="connsiteY5" fmla="*/ 1265530 h 2428647"/>
                <a:gd name="connsiteX6" fmla="*/ 734208 w 2588611"/>
                <a:gd name="connsiteY6" fmla="*/ 1265530 h 2428647"/>
                <a:gd name="connsiteX7" fmla="*/ 65084 w 2588611"/>
                <a:gd name="connsiteY7" fmla="*/ 2428647 h 2428647"/>
                <a:gd name="connsiteX8" fmla="*/ 101443 w 2588611"/>
                <a:gd name="connsiteY8" fmla="*/ 632765 h 2428647"/>
                <a:gd name="connsiteX0" fmla="*/ 63322 w 2550490"/>
                <a:gd name="connsiteY0" fmla="*/ 632765 h 2428647"/>
                <a:gd name="connsiteX1" fmla="*/ 696087 w 2550490"/>
                <a:gd name="connsiteY1" fmla="*/ 0 h 2428647"/>
                <a:gd name="connsiteX2" fmla="*/ 1917725 w 2550490"/>
                <a:gd name="connsiteY2" fmla="*/ 0 h 2428647"/>
                <a:gd name="connsiteX3" fmla="*/ 2550490 w 2550490"/>
                <a:gd name="connsiteY3" fmla="*/ 632765 h 2428647"/>
                <a:gd name="connsiteX4" fmla="*/ 2550490 w 2550490"/>
                <a:gd name="connsiteY4" fmla="*/ 632765 h 2428647"/>
                <a:gd name="connsiteX5" fmla="*/ 1917725 w 2550490"/>
                <a:gd name="connsiteY5" fmla="*/ 1265530 h 2428647"/>
                <a:gd name="connsiteX6" fmla="*/ 696087 w 2550490"/>
                <a:gd name="connsiteY6" fmla="*/ 1265530 h 2428647"/>
                <a:gd name="connsiteX7" fmla="*/ 26963 w 2550490"/>
                <a:gd name="connsiteY7" fmla="*/ 2428647 h 2428647"/>
                <a:gd name="connsiteX8" fmla="*/ 63322 w 2550490"/>
                <a:gd name="connsiteY8" fmla="*/ 632765 h 2428647"/>
                <a:gd name="connsiteX0" fmla="*/ 63322 w 2550490"/>
                <a:gd name="connsiteY0" fmla="*/ 632765 h 2428647"/>
                <a:gd name="connsiteX1" fmla="*/ 696087 w 2550490"/>
                <a:gd name="connsiteY1" fmla="*/ 0 h 2428647"/>
                <a:gd name="connsiteX2" fmla="*/ 1917725 w 2550490"/>
                <a:gd name="connsiteY2" fmla="*/ 0 h 2428647"/>
                <a:gd name="connsiteX3" fmla="*/ 2550490 w 2550490"/>
                <a:gd name="connsiteY3" fmla="*/ 632765 h 2428647"/>
                <a:gd name="connsiteX4" fmla="*/ 2550490 w 2550490"/>
                <a:gd name="connsiteY4" fmla="*/ 632765 h 2428647"/>
                <a:gd name="connsiteX5" fmla="*/ 1917725 w 2550490"/>
                <a:gd name="connsiteY5" fmla="*/ 1265530 h 2428647"/>
                <a:gd name="connsiteX6" fmla="*/ 696087 w 2550490"/>
                <a:gd name="connsiteY6" fmla="*/ 1265530 h 2428647"/>
                <a:gd name="connsiteX7" fmla="*/ 26963 w 2550490"/>
                <a:gd name="connsiteY7" fmla="*/ 2428647 h 2428647"/>
                <a:gd name="connsiteX8" fmla="*/ 63322 w 2550490"/>
                <a:gd name="connsiteY8" fmla="*/ 632765 h 2428647"/>
                <a:gd name="connsiteX0" fmla="*/ 48615 w 2581792"/>
                <a:gd name="connsiteY0" fmla="*/ 683972 h 2428647"/>
                <a:gd name="connsiteX1" fmla="*/ 727389 w 2581792"/>
                <a:gd name="connsiteY1" fmla="*/ 0 h 2428647"/>
                <a:gd name="connsiteX2" fmla="*/ 1949027 w 2581792"/>
                <a:gd name="connsiteY2" fmla="*/ 0 h 2428647"/>
                <a:gd name="connsiteX3" fmla="*/ 2581792 w 2581792"/>
                <a:gd name="connsiteY3" fmla="*/ 632765 h 2428647"/>
                <a:gd name="connsiteX4" fmla="*/ 2581792 w 2581792"/>
                <a:gd name="connsiteY4" fmla="*/ 632765 h 2428647"/>
                <a:gd name="connsiteX5" fmla="*/ 1949027 w 2581792"/>
                <a:gd name="connsiteY5" fmla="*/ 1265530 h 2428647"/>
                <a:gd name="connsiteX6" fmla="*/ 727389 w 2581792"/>
                <a:gd name="connsiteY6" fmla="*/ 1265530 h 2428647"/>
                <a:gd name="connsiteX7" fmla="*/ 58265 w 2581792"/>
                <a:gd name="connsiteY7" fmla="*/ 2428647 h 2428647"/>
                <a:gd name="connsiteX8" fmla="*/ 48615 w 2581792"/>
                <a:gd name="connsiteY8" fmla="*/ 683972 h 2428647"/>
                <a:gd name="connsiteX0" fmla="*/ 1 w 2533178"/>
                <a:gd name="connsiteY0" fmla="*/ 683972 h 2428647"/>
                <a:gd name="connsiteX1" fmla="*/ 678775 w 2533178"/>
                <a:gd name="connsiteY1" fmla="*/ 0 h 2428647"/>
                <a:gd name="connsiteX2" fmla="*/ 1900413 w 2533178"/>
                <a:gd name="connsiteY2" fmla="*/ 0 h 2428647"/>
                <a:gd name="connsiteX3" fmla="*/ 2533178 w 2533178"/>
                <a:gd name="connsiteY3" fmla="*/ 632765 h 2428647"/>
                <a:gd name="connsiteX4" fmla="*/ 2533178 w 2533178"/>
                <a:gd name="connsiteY4" fmla="*/ 632765 h 2428647"/>
                <a:gd name="connsiteX5" fmla="*/ 1900413 w 2533178"/>
                <a:gd name="connsiteY5" fmla="*/ 1265530 h 2428647"/>
                <a:gd name="connsiteX6" fmla="*/ 678775 w 2533178"/>
                <a:gd name="connsiteY6" fmla="*/ 1265530 h 2428647"/>
                <a:gd name="connsiteX7" fmla="*/ 9651 w 2533178"/>
                <a:gd name="connsiteY7" fmla="*/ 2428647 h 2428647"/>
                <a:gd name="connsiteX8" fmla="*/ 1 w 2533178"/>
                <a:gd name="connsiteY8" fmla="*/ 683972 h 2428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33178" h="2428647">
                  <a:moveTo>
                    <a:pt x="1" y="683972"/>
                  </a:moveTo>
                  <a:cubicBezTo>
                    <a:pt x="-216" y="191416"/>
                    <a:pt x="307363" y="21946"/>
                    <a:pt x="678775" y="0"/>
                  </a:cubicBezTo>
                  <a:lnTo>
                    <a:pt x="1900413" y="0"/>
                  </a:lnTo>
                  <a:cubicBezTo>
                    <a:pt x="2249879" y="0"/>
                    <a:pt x="2533178" y="283299"/>
                    <a:pt x="2533178" y="632765"/>
                  </a:cubicBezTo>
                  <a:lnTo>
                    <a:pt x="2533178" y="632765"/>
                  </a:lnTo>
                  <a:cubicBezTo>
                    <a:pt x="2533178" y="982231"/>
                    <a:pt x="2249879" y="1265530"/>
                    <a:pt x="1900413" y="1265530"/>
                  </a:cubicBezTo>
                  <a:lnTo>
                    <a:pt x="678775" y="1265530"/>
                  </a:lnTo>
                  <a:cubicBezTo>
                    <a:pt x="414818" y="1248461"/>
                    <a:pt x="58709" y="1751382"/>
                    <a:pt x="9651" y="2428647"/>
                  </a:cubicBezTo>
                  <a:cubicBezTo>
                    <a:pt x="2783" y="2250034"/>
                    <a:pt x="218" y="1176528"/>
                    <a:pt x="1" y="683972"/>
                  </a:cubicBezTo>
                  <a:close/>
                </a:path>
              </a:pathLst>
            </a:custGeom>
            <a:solidFill>
              <a:srgbClr val="00A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US" sz="900" kern="1200" dirty="0" err="1">
                <a:solidFill>
                  <a:prstClr val="white"/>
                </a:solidFill>
                <a:latin typeface="Arial"/>
              </a:endParaRPr>
            </a:p>
          </p:txBody>
        </p:sp>
        <p:sp>
          <p:nvSpPr>
            <p:cNvPr id="55" name="Rounded Rectangle 23"/>
            <p:cNvSpPr/>
            <p:nvPr/>
          </p:nvSpPr>
          <p:spPr>
            <a:xfrm flipH="1">
              <a:off x="1755900" y="3916591"/>
              <a:ext cx="2819275" cy="2428647"/>
            </a:xfrm>
            <a:custGeom>
              <a:avLst/>
              <a:gdLst>
                <a:gd name="connsiteX0" fmla="*/ 0 w 2487168"/>
                <a:gd name="connsiteY0" fmla="*/ 632765 h 1265530"/>
                <a:gd name="connsiteX1" fmla="*/ 632765 w 2487168"/>
                <a:gd name="connsiteY1" fmla="*/ 0 h 1265530"/>
                <a:gd name="connsiteX2" fmla="*/ 1854403 w 2487168"/>
                <a:gd name="connsiteY2" fmla="*/ 0 h 1265530"/>
                <a:gd name="connsiteX3" fmla="*/ 2487168 w 2487168"/>
                <a:gd name="connsiteY3" fmla="*/ 632765 h 1265530"/>
                <a:gd name="connsiteX4" fmla="*/ 2487168 w 2487168"/>
                <a:gd name="connsiteY4" fmla="*/ 632765 h 1265530"/>
                <a:gd name="connsiteX5" fmla="*/ 1854403 w 2487168"/>
                <a:gd name="connsiteY5" fmla="*/ 1265530 h 1265530"/>
                <a:gd name="connsiteX6" fmla="*/ 632765 w 2487168"/>
                <a:gd name="connsiteY6" fmla="*/ 1265530 h 1265530"/>
                <a:gd name="connsiteX7" fmla="*/ 0 w 2487168"/>
                <a:gd name="connsiteY7" fmla="*/ 632765 h 1265530"/>
                <a:gd name="connsiteX0" fmla="*/ 10095 w 2497263"/>
                <a:gd name="connsiteY0" fmla="*/ 632765 h 1265530"/>
                <a:gd name="connsiteX1" fmla="*/ 642860 w 2497263"/>
                <a:gd name="connsiteY1" fmla="*/ 0 h 1265530"/>
                <a:gd name="connsiteX2" fmla="*/ 1864498 w 2497263"/>
                <a:gd name="connsiteY2" fmla="*/ 0 h 1265530"/>
                <a:gd name="connsiteX3" fmla="*/ 2497263 w 2497263"/>
                <a:gd name="connsiteY3" fmla="*/ 632765 h 1265530"/>
                <a:gd name="connsiteX4" fmla="*/ 2497263 w 2497263"/>
                <a:gd name="connsiteY4" fmla="*/ 632765 h 1265530"/>
                <a:gd name="connsiteX5" fmla="*/ 1864498 w 2497263"/>
                <a:gd name="connsiteY5" fmla="*/ 1265530 h 1265530"/>
                <a:gd name="connsiteX6" fmla="*/ 642860 w 2497263"/>
                <a:gd name="connsiteY6" fmla="*/ 1265530 h 1265530"/>
                <a:gd name="connsiteX7" fmla="*/ 280757 w 2497263"/>
                <a:gd name="connsiteY7" fmla="*/ 1163117 h 1265530"/>
                <a:gd name="connsiteX8" fmla="*/ 10095 w 2497263"/>
                <a:gd name="connsiteY8" fmla="*/ 632765 h 1265530"/>
                <a:gd name="connsiteX0" fmla="*/ 34828 w 2521996"/>
                <a:gd name="connsiteY0" fmla="*/ 632765 h 2216530"/>
                <a:gd name="connsiteX1" fmla="*/ 667593 w 2521996"/>
                <a:gd name="connsiteY1" fmla="*/ 0 h 2216530"/>
                <a:gd name="connsiteX2" fmla="*/ 1889231 w 2521996"/>
                <a:gd name="connsiteY2" fmla="*/ 0 h 2216530"/>
                <a:gd name="connsiteX3" fmla="*/ 2521996 w 2521996"/>
                <a:gd name="connsiteY3" fmla="*/ 632765 h 2216530"/>
                <a:gd name="connsiteX4" fmla="*/ 2521996 w 2521996"/>
                <a:gd name="connsiteY4" fmla="*/ 632765 h 2216530"/>
                <a:gd name="connsiteX5" fmla="*/ 1889231 w 2521996"/>
                <a:gd name="connsiteY5" fmla="*/ 1265530 h 2216530"/>
                <a:gd name="connsiteX6" fmla="*/ 667593 w 2521996"/>
                <a:gd name="connsiteY6" fmla="*/ 1265530 h 2216530"/>
                <a:gd name="connsiteX7" fmla="*/ 144556 w 2521996"/>
                <a:gd name="connsiteY7" fmla="*/ 2209191 h 2216530"/>
                <a:gd name="connsiteX8" fmla="*/ 34828 w 2521996"/>
                <a:gd name="connsiteY8" fmla="*/ 632765 h 2216530"/>
                <a:gd name="connsiteX0" fmla="*/ 38917 w 2526085"/>
                <a:gd name="connsiteY0" fmla="*/ 632765 h 2420235"/>
                <a:gd name="connsiteX1" fmla="*/ 671682 w 2526085"/>
                <a:gd name="connsiteY1" fmla="*/ 0 h 2420235"/>
                <a:gd name="connsiteX2" fmla="*/ 1893320 w 2526085"/>
                <a:gd name="connsiteY2" fmla="*/ 0 h 2420235"/>
                <a:gd name="connsiteX3" fmla="*/ 2526085 w 2526085"/>
                <a:gd name="connsiteY3" fmla="*/ 632765 h 2420235"/>
                <a:gd name="connsiteX4" fmla="*/ 2526085 w 2526085"/>
                <a:gd name="connsiteY4" fmla="*/ 632765 h 2420235"/>
                <a:gd name="connsiteX5" fmla="*/ 1893320 w 2526085"/>
                <a:gd name="connsiteY5" fmla="*/ 1265530 h 2420235"/>
                <a:gd name="connsiteX6" fmla="*/ 671682 w 2526085"/>
                <a:gd name="connsiteY6" fmla="*/ 1265530 h 2420235"/>
                <a:gd name="connsiteX7" fmla="*/ 134015 w 2526085"/>
                <a:gd name="connsiteY7" fmla="*/ 2414017 h 2420235"/>
                <a:gd name="connsiteX8" fmla="*/ 38917 w 2526085"/>
                <a:gd name="connsiteY8" fmla="*/ 632765 h 2420235"/>
                <a:gd name="connsiteX0" fmla="*/ 38917 w 2526085"/>
                <a:gd name="connsiteY0" fmla="*/ 632765 h 2414017"/>
                <a:gd name="connsiteX1" fmla="*/ 671682 w 2526085"/>
                <a:gd name="connsiteY1" fmla="*/ 0 h 2414017"/>
                <a:gd name="connsiteX2" fmla="*/ 1893320 w 2526085"/>
                <a:gd name="connsiteY2" fmla="*/ 0 h 2414017"/>
                <a:gd name="connsiteX3" fmla="*/ 2526085 w 2526085"/>
                <a:gd name="connsiteY3" fmla="*/ 632765 h 2414017"/>
                <a:gd name="connsiteX4" fmla="*/ 2526085 w 2526085"/>
                <a:gd name="connsiteY4" fmla="*/ 632765 h 2414017"/>
                <a:gd name="connsiteX5" fmla="*/ 1893320 w 2526085"/>
                <a:gd name="connsiteY5" fmla="*/ 1265530 h 2414017"/>
                <a:gd name="connsiteX6" fmla="*/ 671682 w 2526085"/>
                <a:gd name="connsiteY6" fmla="*/ 1265530 h 2414017"/>
                <a:gd name="connsiteX7" fmla="*/ 134015 w 2526085"/>
                <a:gd name="connsiteY7" fmla="*/ 2414017 h 2414017"/>
                <a:gd name="connsiteX8" fmla="*/ 38917 w 2526085"/>
                <a:gd name="connsiteY8" fmla="*/ 632765 h 2414017"/>
                <a:gd name="connsiteX0" fmla="*/ 38917 w 2526085"/>
                <a:gd name="connsiteY0" fmla="*/ 632765 h 2414017"/>
                <a:gd name="connsiteX1" fmla="*/ 671682 w 2526085"/>
                <a:gd name="connsiteY1" fmla="*/ 0 h 2414017"/>
                <a:gd name="connsiteX2" fmla="*/ 1893320 w 2526085"/>
                <a:gd name="connsiteY2" fmla="*/ 0 h 2414017"/>
                <a:gd name="connsiteX3" fmla="*/ 2526085 w 2526085"/>
                <a:gd name="connsiteY3" fmla="*/ 632765 h 2414017"/>
                <a:gd name="connsiteX4" fmla="*/ 2526085 w 2526085"/>
                <a:gd name="connsiteY4" fmla="*/ 632765 h 2414017"/>
                <a:gd name="connsiteX5" fmla="*/ 1893320 w 2526085"/>
                <a:gd name="connsiteY5" fmla="*/ 1265530 h 2414017"/>
                <a:gd name="connsiteX6" fmla="*/ 671682 w 2526085"/>
                <a:gd name="connsiteY6" fmla="*/ 1265530 h 2414017"/>
                <a:gd name="connsiteX7" fmla="*/ 134015 w 2526085"/>
                <a:gd name="connsiteY7" fmla="*/ 2414017 h 2414017"/>
                <a:gd name="connsiteX8" fmla="*/ 38917 w 2526085"/>
                <a:gd name="connsiteY8" fmla="*/ 632765 h 2414017"/>
                <a:gd name="connsiteX0" fmla="*/ 38917 w 2526085"/>
                <a:gd name="connsiteY0" fmla="*/ 632765 h 2414017"/>
                <a:gd name="connsiteX1" fmla="*/ 671682 w 2526085"/>
                <a:gd name="connsiteY1" fmla="*/ 0 h 2414017"/>
                <a:gd name="connsiteX2" fmla="*/ 1893320 w 2526085"/>
                <a:gd name="connsiteY2" fmla="*/ 0 h 2414017"/>
                <a:gd name="connsiteX3" fmla="*/ 2526085 w 2526085"/>
                <a:gd name="connsiteY3" fmla="*/ 632765 h 2414017"/>
                <a:gd name="connsiteX4" fmla="*/ 2526085 w 2526085"/>
                <a:gd name="connsiteY4" fmla="*/ 632765 h 2414017"/>
                <a:gd name="connsiteX5" fmla="*/ 1893320 w 2526085"/>
                <a:gd name="connsiteY5" fmla="*/ 1265530 h 2414017"/>
                <a:gd name="connsiteX6" fmla="*/ 671682 w 2526085"/>
                <a:gd name="connsiteY6" fmla="*/ 1265530 h 2414017"/>
                <a:gd name="connsiteX7" fmla="*/ 134015 w 2526085"/>
                <a:gd name="connsiteY7" fmla="*/ 2414017 h 2414017"/>
                <a:gd name="connsiteX8" fmla="*/ 38917 w 2526085"/>
                <a:gd name="connsiteY8" fmla="*/ 632765 h 2414017"/>
                <a:gd name="connsiteX0" fmla="*/ 101443 w 2588611"/>
                <a:gd name="connsiteY0" fmla="*/ 632765 h 2428647"/>
                <a:gd name="connsiteX1" fmla="*/ 734208 w 2588611"/>
                <a:gd name="connsiteY1" fmla="*/ 0 h 2428647"/>
                <a:gd name="connsiteX2" fmla="*/ 1955846 w 2588611"/>
                <a:gd name="connsiteY2" fmla="*/ 0 h 2428647"/>
                <a:gd name="connsiteX3" fmla="*/ 2588611 w 2588611"/>
                <a:gd name="connsiteY3" fmla="*/ 632765 h 2428647"/>
                <a:gd name="connsiteX4" fmla="*/ 2588611 w 2588611"/>
                <a:gd name="connsiteY4" fmla="*/ 632765 h 2428647"/>
                <a:gd name="connsiteX5" fmla="*/ 1955846 w 2588611"/>
                <a:gd name="connsiteY5" fmla="*/ 1265530 h 2428647"/>
                <a:gd name="connsiteX6" fmla="*/ 734208 w 2588611"/>
                <a:gd name="connsiteY6" fmla="*/ 1265530 h 2428647"/>
                <a:gd name="connsiteX7" fmla="*/ 65084 w 2588611"/>
                <a:gd name="connsiteY7" fmla="*/ 2428647 h 2428647"/>
                <a:gd name="connsiteX8" fmla="*/ 101443 w 2588611"/>
                <a:gd name="connsiteY8" fmla="*/ 632765 h 2428647"/>
                <a:gd name="connsiteX0" fmla="*/ 63322 w 2550490"/>
                <a:gd name="connsiteY0" fmla="*/ 632765 h 2428647"/>
                <a:gd name="connsiteX1" fmla="*/ 696087 w 2550490"/>
                <a:gd name="connsiteY1" fmla="*/ 0 h 2428647"/>
                <a:gd name="connsiteX2" fmla="*/ 1917725 w 2550490"/>
                <a:gd name="connsiteY2" fmla="*/ 0 h 2428647"/>
                <a:gd name="connsiteX3" fmla="*/ 2550490 w 2550490"/>
                <a:gd name="connsiteY3" fmla="*/ 632765 h 2428647"/>
                <a:gd name="connsiteX4" fmla="*/ 2550490 w 2550490"/>
                <a:gd name="connsiteY4" fmla="*/ 632765 h 2428647"/>
                <a:gd name="connsiteX5" fmla="*/ 1917725 w 2550490"/>
                <a:gd name="connsiteY5" fmla="*/ 1265530 h 2428647"/>
                <a:gd name="connsiteX6" fmla="*/ 696087 w 2550490"/>
                <a:gd name="connsiteY6" fmla="*/ 1265530 h 2428647"/>
                <a:gd name="connsiteX7" fmla="*/ 26963 w 2550490"/>
                <a:gd name="connsiteY7" fmla="*/ 2428647 h 2428647"/>
                <a:gd name="connsiteX8" fmla="*/ 63322 w 2550490"/>
                <a:gd name="connsiteY8" fmla="*/ 632765 h 2428647"/>
                <a:gd name="connsiteX0" fmla="*/ 63322 w 2550490"/>
                <a:gd name="connsiteY0" fmla="*/ 632765 h 2428647"/>
                <a:gd name="connsiteX1" fmla="*/ 696087 w 2550490"/>
                <a:gd name="connsiteY1" fmla="*/ 0 h 2428647"/>
                <a:gd name="connsiteX2" fmla="*/ 1917725 w 2550490"/>
                <a:gd name="connsiteY2" fmla="*/ 0 h 2428647"/>
                <a:gd name="connsiteX3" fmla="*/ 2550490 w 2550490"/>
                <a:gd name="connsiteY3" fmla="*/ 632765 h 2428647"/>
                <a:gd name="connsiteX4" fmla="*/ 2550490 w 2550490"/>
                <a:gd name="connsiteY4" fmla="*/ 632765 h 2428647"/>
                <a:gd name="connsiteX5" fmla="*/ 1917725 w 2550490"/>
                <a:gd name="connsiteY5" fmla="*/ 1265530 h 2428647"/>
                <a:gd name="connsiteX6" fmla="*/ 696087 w 2550490"/>
                <a:gd name="connsiteY6" fmla="*/ 1265530 h 2428647"/>
                <a:gd name="connsiteX7" fmla="*/ 26963 w 2550490"/>
                <a:gd name="connsiteY7" fmla="*/ 2428647 h 2428647"/>
                <a:gd name="connsiteX8" fmla="*/ 63322 w 2550490"/>
                <a:gd name="connsiteY8" fmla="*/ 632765 h 2428647"/>
                <a:gd name="connsiteX0" fmla="*/ 48615 w 2581792"/>
                <a:gd name="connsiteY0" fmla="*/ 683972 h 2428647"/>
                <a:gd name="connsiteX1" fmla="*/ 727389 w 2581792"/>
                <a:gd name="connsiteY1" fmla="*/ 0 h 2428647"/>
                <a:gd name="connsiteX2" fmla="*/ 1949027 w 2581792"/>
                <a:gd name="connsiteY2" fmla="*/ 0 h 2428647"/>
                <a:gd name="connsiteX3" fmla="*/ 2581792 w 2581792"/>
                <a:gd name="connsiteY3" fmla="*/ 632765 h 2428647"/>
                <a:gd name="connsiteX4" fmla="*/ 2581792 w 2581792"/>
                <a:gd name="connsiteY4" fmla="*/ 632765 h 2428647"/>
                <a:gd name="connsiteX5" fmla="*/ 1949027 w 2581792"/>
                <a:gd name="connsiteY5" fmla="*/ 1265530 h 2428647"/>
                <a:gd name="connsiteX6" fmla="*/ 727389 w 2581792"/>
                <a:gd name="connsiteY6" fmla="*/ 1265530 h 2428647"/>
                <a:gd name="connsiteX7" fmla="*/ 58265 w 2581792"/>
                <a:gd name="connsiteY7" fmla="*/ 2428647 h 2428647"/>
                <a:gd name="connsiteX8" fmla="*/ 48615 w 2581792"/>
                <a:gd name="connsiteY8" fmla="*/ 683972 h 2428647"/>
                <a:gd name="connsiteX0" fmla="*/ 1 w 2533178"/>
                <a:gd name="connsiteY0" fmla="*/ 683972 h 2428647"/>
                <a:gd name="connsiteX1" fmla="*/ 678775 w 2533178"/>
                <a:gd name="connsiteY1" fmla="*/ 0 h 2428647"/>
                <a:gd name="connsiteX2" fmla="*/ 1900413 w 2533178"/>
                <a:gd name="connsiteY2" fmla="*/ 0 h 2428647"/>
                <a:gd name="connsiteX3" fmla="*/ 2533178 w 2533178"/>
                <a:gd name="connsiteY3" fmla="*/ 632765 h 2428647"/>
                <a:gd name="connsiteX4" fmla="*/ 2533178 w 2533178"/>
                <a:gd name="connsiteY4" fmla="*/ 632765 h 2428647"/>
                <a:gd name="connsiteX5" fmla="*/ 1900413 w 2533178"/>
                <a:gd name="connsiteY5" fmla="*/ 1265530 h 2428647"/>
                <a:gd name="connsiteX6" fmla="*/ 678775 w 2533178"/>
                <a:gd name="connsiteY6" fmla="*/ 1265530 h 2428647"/>
                <a:gd name="connsiteX7" fmla="*/ 9651 w 2533178"/>
                <a:gd name="connsiteY7" fmla="*/ 2428647 h 2428647"/>
                <a:gd name="connsiteX8" fmla="*/ 1 w 2533178"/>
                <a:gd name="connsiteY8" fmla="*/ 683972 h 2428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33178" h="2428647">
                  <a:moveTo>
                    <a:pt x="1" y="683972"/>
                  </a:moveTo>
                  <a:cubicBezTo>
                    <a:pt x="-216" y="191416"/>
                    <a:pt x="307363" y="21946"/>
                    <a:pt x="678775" y="0"/>
                  </a:cubicBezTo>
                  <a:lnTo>
                    <a:pt x="1900413" y="0"/>
                  </a:lnTo>
                  <a:cubicBezTo>
                    <a:pt x="2249879" y="0"/>
                    <a:pt x="2533178" y="283299"/>
                    <a:pt x="2533178" y="632765"/>
                  </a:cubicBezTo>
                  <a:lnTo>
                    <a:pt x="2533178" y="632765"/>
                  </a:lnTo>
                  <a:cubicBezTo>
                    <a:pt x="2533178" y="982231"/>
                    <a:pt x="2249879" y="1265530"/>
                    <a:pt x="1900413" y="1265530"/>
                  </a:cubicBezTo>
                  <a:lnTo>
                    <a:pt x="678775" y="1265530"/>
                  </a:lnTo>
                  <a:cubicBezTo>
                    <a:pt x="414818" y="1248461"/>
                    <a:pt x="58709" y="1751382"/>
                    <a:pt x="9651" y="2428647"/>
                  </a:cubicBezTo>
                  <a:cubicBezTo>
                    <a:pt x="2783" y="2250034"/>
                    <a:pt x="218" y="1176528"/>
                    <a:pt x="1" y="683972"/>
                  </a:cubicBezTo>
                  <a:close/>
                </a:path>
              </a:pathLst>
            </a:custGeom>
            <a:solidFill>
              <a:schemeClr val="accent4"/>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US" sz="900" kern="1200" dirty="0" err="1">
                <a:solidFill>
                  <a:prstClr val="white"/>
                </a:solidFill>
                <a:latin typeface="Arial"/>
              </a:endParaRPr>
            </a:p>
          </p:txBody>
        </p:sp>
        <p:sp>
          <p:nvSpPr>
            <p:cNvPr id="56" name="Rounded Rectangle 23"/>
            <p:cNvSpPr/>
            <p:nvPr/>
          </p:nvSpPr>
          <p:spPr>
            <a:xfrm flipH="1">
              <a:off x="1755900" y="2629116"/>
              <a:ext cx="2819275" cy="2428647"/>
            </a:xfrm>
            <a:custGeom>
              <a:avLst/>
              <a:gdLst>
                <a:gd name="connsiteX0" fmla="*/ 0 w 2487168"/>
                <a:gd name="connsiteY0" fmla="*/ 632765 h 1265530"/>
                <a:gd name="connsiteX1" fmla="*/ 632765 w 2487168"/>
                <a:gd name="connsiteY1" fmla="*/ 0 h 1265530"/>
                <a:gd name="connsiteX2" fmla="*/ 1854403 w 2487168"/>
                <a:gd name="connsiteY2" fmla="*/ 0 h 1265530"/>
                <a:gd name="connsiteX3" fmla="*/ 2487168 w 2487168"/>
                <a:gd name="connsiteY3" fmla="*/ 632765 h 1265530"/>
                <a:gd name="connsiteX4" fmla="*/ 2487168 w 2487168"/>
                <a:gd name="connsiteY4" fmla="*/ 632765 h 1265530"/>
                <a:gd name="connsiteX5" fmla="*/ 1854403 w 2487168"/>
                <a:gd name="connsiteY5" fmla="*/ 1265530 h 1265530"/>
                <a:gd name="connsiteX6" fmla="*/ 632765 w 2487168"/>
                <a:gd name="connsiteY6" fmla="*/ 1265530 h 1265530"/>
                <a:gd name="connsiteX7" fmla="*/ 0 w 2487168"/>
                <a:gd name="connsiteY7" fmla="*/ 632765 h 1265530"/>
                <a:gd name="connsiteX0" fmla="*/ 10095 w 2497263"/>
                <a:gd name="connsiteY0" fmla="*/ 632765 h 1265530"/>
                <a:gd name="connsiteX1" fmla="*/ 642860 w 2497263"/>
                <a:gd name="connsiteY1" fmla="*/ 0 h 1265530"/>
                <a:gd name="connsiteX2" fmla="*/ 1864498 w 2497263"/>
                <a:gd name="connsiteY2" fmla="*/ 0 h 1265530"/>
                <a:gd name="connsiteX3" fmla="*/ 2497263 w 2497263"/>
                <a:gd name="connsiteY3" fmla="*/ 632765 h 1265530"/>
                <a:gd name="connsiteX4" fmla="*/ 2497263 w 2497263"/>
                <a:gd name="connsiteY4" fmla="*/ 632765 h 1265530"/>
                <a:gd name="connsiteX5" fmla="*/ 1864498 w 2497263"/>
                <a:gd name="connsiteY5" fmla="*/ 1265530 h 1265530"/>
                <a:gd name="connsiteX6" fmla="*/ 642860 w 2497263"/>
                <a:gd name="connsiteY6" fmla="*/ 1265530 h 1265530"/>
                <a:gd name="connsiteX7" fmla="*/ 280757 w 2497263"/>
                <a:gd name="connsiteY7" fmla="*/ 1163117 h 1265530"/>
                <a:gd name="connsiteX8" fmla="*/ 10095 w 2497263"/>
                <a:gd name="connsiteY8" fmla="*/ 632765 h 1265530"/>
                <a:gd name="connsiteX0" fmla="*/ 34828 w 2521996"/>
                <a:gd name="connsiteY0" fmla="*/ 632765 h 2216530"/>
                <a:gd name="connsiteX1" fmla="*/ 667593 w 2521996"/>
                <a:gd name="connsiteY1" fmla="*/ 0 h 2216530"/>
                <a:gd name="connsiteX2" fmla="*/ 1889231 w 2521996"/>
                <a:gd name="connsiteY2" fmla="*/ 0 h 2216530"/>
                <a:gd name="connsiteX3" fmla="*/ 2521996 w 2521996"/>
                <a:gd name="connsiteY3" fmla="*/ 632765 h 2216530"/>
                <a:gd name="connsiteX4" fmla="*/ 2521996 w 2521996"/>
                <a:gd name="connsiteY4" fmla="*/ 632765 h 2216530"/>
                <a:gd name="connsiteX5" fmla="*/ 1889231 w 2521996"/>
                <a:gd name="connsiteY5" fmla="*/ 1265530 h 2216530"/>
                <a:gd name="connsiteX6" fmla="*/ 667593 w 2521996"/>
                <a:gd name="connsiteY6" fmla="*/ 1265530 h 2216530"/>
                <a:gd name="connsiteX7" fmla="*/ 144556 w 2521996"/>
                <a:gd name="connsiteY7" fmla="*/ 2209191 h 2216530"/>
                <a:gd name="connsiteX8" fmla="*/ 34828 w 2521996"/>
                <a:gd name="connsiteY8" fmla="*/ 632765 h 2216530"/>
                <a:gd name="connsiteX0" fmla="*/ 38917 w 2526085"/>
                <a:gd name="connsiteY0" fmla="*/ 632765 h 2420235"/>
                <a:gd name="connsiteX1" fmla="*/ 671682 w 2526085"/>
                <a:gd name="connsiteY1" fmla="*/ 0 h 2420235"/>
                <a:gd name="connsiteX2" fmla="*/ 1893320 w 2526085"/>
                <a:gd name="connsiteY2" fmla="*/ 0 h 2420235"/>
                <a:gd name="connsiteX3" fmla="*/ 2526085 w 2526085"/>
                <a:gd name="connsiteY3" fmla="*/ 632765 h 2420235"/>
                <a:gd name="connsiteX4" fmla="*/ 2526085 w 2526085"/>
                <a:gd name="connsiteY4" fmla="*/ 632765 h 2420235"/>
                <a:gd name="connsiteX5" fmla="*/ 1893320 w 2526085"/>
                <a:gd name="connsiteY5" fmla="*/ 1265530 h 2420235"/>
                <a:gd name="connsiteX6" fmla="*/ 671682 w 2526085"/>
                <a:gd name="connsiteY6" fmla="*/ 1265530 h 2420235"/>
                <a:gd name="connsiteX7" fmla="*/ 134015 w 2526085"/>
                <a:gd name="connsiteY7" fmla="*/ 2414017 h 2420235"/>
                <a:gd name="connsiteX8" fmla="*/ 38917 w 2526085"/>
                <a:gd name="connsiteY8" fmla="*/ 632765 h 2420235"/>
                <a:gd name="connsiteX0" fmla="*/ 38917 w 2526085"/>
                <a:gd name="connsiteY0" fmla="*/ 632765 h 2414017"/>
                <a:gd name="connsiteX1" fmla="*/ 671682 w 2526085"/>
                <a:gd name="connsiteY1" fmla="*/ 0 h 2414017"/>
                <a:gd name="connsiteX2" fmla="*/ 1893320 w 2526085"/>
                <a:gd name="connsiteY2" fmla="*/ 0 h 2414017"/>
                <a:gd name="connsiteX3" fmla="*/ 2526085 w 2526085"/>
                <a:gd name="connsiteY3" fmla="*/ 632765 h 2414017"/>
                <a:gd name="connsiteX4" fmla="*/ 2526085 w 2526085"/>
                <a:gd name="connsiteY4" fmla="*/ 632765 h 2414017"/>
                <a:gd name="connsiteX5" fmla="*/ 1893320 w 2526085"/>
                <a:gd name="connsiteY5" fmla="*/ 1265530 h 2414017"/>
                <a:gd name="connsiteX6" fmla="*/ 671682 w 2526085"/>
                <a:gd name="connsiteY6" fmla="*/ 1265530 h 2414017"/>
                <a:gd name="connsiteX7" fmla="*/ 134015 w 2526085"/>
                <a:gd name="connsiteY7" fmla="*/ 2414017 h 2414017"/>
                <a:gd name="connsiteX8" fmla="*/ 38917 w 2526085"/>
                <a:gd name="connsiteY8" fmla="*/ 632765 h 2414017"/>
                <a:gd name="connsiteX0" fmla="*/ 38917 w 2526085"/>
                <a:gd name="connsiteY0" fmla="*/ 632765 h 2414017"/>
                <a:gd name="connsiteX1" fmla="*/ 671682 w 2526085"/>
                <a:gd name="connsiteY1" fmla="*/ 0 h 2414017"/>
                <a:gd name="connsiteX2" fmla="*/ 1893320 w 2526085"/>
                <a:gd name="connsiteY2" fmla="*/ 0 h 2414017"/>
                <a:gd name="connsiteX3" fmla="*/ 2526085 w 2526085"/>
                <a:gd name="connsiteY3" fmla="*/ 632765 h 2414017"/>
                <a:gd name="connsiteX4" fmla="*/ 2526085 w 2526085"/>
                <a:gd name="connsiteY4" fmla="*/ 632765 h 2414017"/>
                <a:gd name="connsiteX5" fmla="*/ 1893320 w 2526085"/>
                <a:gd name="connsiteY5" fmla="*/ 1265530 h 2414017"/>
                <a:gd name="connsiteX6" fmla="*/ 671682 w 2526085"/>
                <a:gd name="connsiteY6" fmla="*/ 1265530 h 2414017"/>
                <a:gd name="connsiteX7" fmla="*/ 134015 w 2526085"/>
                <a:gd name="connsiteY7" fmla="*/ 2414017 h 2414017"/>
                <a:gd name="connsiteX8" fmla="*/ 38917 w 2526085"/>
                <a:gd name="connsiteY8" fmla="*/ 632765 h 2414017"/>
                <a:gd name="connsiteX0" fmla="*/ 38917 w 2526085"/>
                <a:gd name="connsiteY0" fmla="*/ 632765 h 2414017"/>
                <a:gd name="connsiteX1" fmla="*/ 671682 w 2526085"/>
                <a:gd name="connsiteY1" fmla="*/ 0 h 2414017"/>
                <a:gd name="connsiteX2" fmla="*/ 1893320 w 2526085"/>
                <a:gd name="connsiteY2" fmla="*/ 0 h 2414017"/>
                <a:gd name="connsiteX3" fmla="*/ 2526085 w 2526085"/>
                <a:gd name="connsiteY3" fmla="*/ 632765 h 2414017"/>
                <a:gd name="connsiteX4" fmla="*/ 2526085 w 2526085"/>
                <a:gd name="connsiteY4" fmla="*/ 632765 h 2414017"/>
                <a:gd name="connsiteX5" fmla="*/ 1893320 w 2526085"/>
                <a:gd name="connsiteY5" fmla="*/ 1265530 h 2414017"/>
                <a:gd name="connsiteX6" fmla="*/ 671682 w 2526085"/>
                <a:gd name="connsiteY6" fmla="*/ 1265530 h 2414017"/>
                <a:gd name="connsiteX7" fmla="*/ 134015 w 2526085"/>
                <a:gd name="connsiteY7" fmla="*/ 2414017 h 2414017"/>
                <a:gd name="connsiteX8" fmla="*/ 38917 w 2526085"/>
                <a:gd name="connsiteY8" fmla="*/ 632765 h 2414017"/>
                <a:gd name="connsiteX0" fmla="*/ 101443 w 2588611"/>
                <a:gd name="connsiteY0" fmla="*/ 632765 h 2428647"/>
                <a:gd name="connsiteX1" fmla="*/ 734208 w 2588611"/>
                <a:gd name="connsiteY1" fmla="*/ 0 h 2428647"/>
                <a:gd name="connsiteX2" fmla="*/ 1955846 w 2588611"/>
                <a:gd name="connsiteY2" fmla="*/ 0 h 2428647"/>
                <a:gd name="connsiteX3" fmla="*/ 2588611 w 2588611"/>
                <a:gd name="connsiteY3" fmla="*/ 632765 h 2428647"/>
                <a:gd name="connsiteX4" fmla="*/ 2588611 w 2588611"/>
                <a:gd name="connsiteY4" fmla="*/ 632765 h 2428647"/>
                <a:gd name="connsiteX5" fmla="*/ 1955846 w 2588611"/>
                <a:gd name="connsiteY5" fmla="*/ 1265530 h 2428647"/>
                <a:gd name="connsiteX6" fmla="*/ 734208 w 2588611"/>
                <a:gd name="connsiteY6" fmla="*/ 1265530 h 2428647"/>
                <a:gd name="connsiteX7" fmla="*/ 65084 w 2588611"/>
                <a:gd name="connsiteY7" fmla="*/ 2428647 h 2428647"/>
                <a:gd name="connsiteX8" fmla="*/ 101443 w 2588611"/>
                <a:gd name="connsiteY8" fmla="*/ 632765 h 2428647"/>
                <a:gd name="connsiteX0" fmla="*/ 63322 w 2550490"/>
                <a:gd name="connsiteY0" fmla="*/ 632765 h 2428647"/>
                <a:gd name="connsiteX1" fmla="*/ 696087 w 2550490"/>
                <a:gd name="connsiteY1" fmla="*/ 0 h 2428647"/>
                <a:gd name="connsiteX2" fmla="*/ 1917725 w 2550490"/>
                <a:gd name="connsiteY2" fmla="*/ 0 h 2428647"/>
                <a:gd name="connsiteX3" fmla="*/ 2550490 w 2550490"/>
                <a:gd name="connsiteY3" fmla="*/ 632765 h 2428647"/>
                <a:gd name="connsiteX4" fmla="*/ 2550490 w 2550490"/>
                <a:gd name="connsiteY4" fmla="*/ 632765 h 2428647"/>
                <a:gd name="connsiteX5" fmla="*/ 1917725 w 2550490"/>
                <a:gd name="connsiteY5" fmla="*/ 1265530 h 2428647"/>
                <a:gd name="connsiteX6" fmla="*/ 696087 w 2550490"/>
                <a:gd name="connsiteY6" fmla="*/ 1265530 h 2428647"/>
                <a:gd name="connsiteX7" fmla="*/ 26963 w 2550490"/>
                <a:gd name="connsiteY7" fmla="*/ 2428647 h 2428647"/>
                <a:gd name="connsiteX8" fmla="*/ 63322 w 2550490"/>
                <a:gd name="connsiteY8" fmla="*/ 632765 h 2428647"/>
                <a:gd name="connsiteX0" fmla="*/ 63322 w 2550490"/>
                <a:gd name="connsiteY0" fmla="*/ 632765 h 2428647"/>
                <a:gd name="connsiteX1" fmla="*/ 696087 w 2550490"/>
                <a:gd name="connsiteY1" fmla="*/ 0 h 2428647"/>
                <a:gd name="connsiteX2" fmla="*/ 1917725 w 2550490"/>
                <a:gd name="connsiteY2" fmla="*/ 0 h 2428647"/>
                <a:gd name="connsiteX3" fmla="*/ 2550490 w 2550490"/>
                <a:gd name="connsiteY3" fmla="*/ 632765 h 2428647"/>
                <a:gd name="connsiteX4" fmla="*/ 2550490 w 2550490"/>
                <a:gd name="connsiteY4" fmla="*/ 632765 h 2428647"/>
                <a:gd name="connsiteX5" fmla="*/ 1917725 w 2550490"/>
                <a:gd name="connsiteY5" fmla="*/ 1265530 h 2428647"/>
                <a:gd name="connsiteX6" fmla="*/ 696087 w 2550490"/>
                <a:gd name="connsiteY6" fmla="*/ 1265530 h 2428647"/>
                <a:gd name="connsiteX7" fmla="*/ 26963 w 2550490"/>
                <a:gd name="connsiteY7" fmla="*/ 2428647 h 2428647"/>
                <a:gd name="connsiteX8" fmla="*/ 63322 w 2550490"/>
                <a:gd name="connsiteY8" fmla="*/ 632765 h 2428647"/>
                <a:gd name="connsiteX0" fmla="*/ 48615 w 2581792"/>
                <a:gd name="connsiteY0" fmla="*/ 683972 h 2428647"/>
                <a:gd name="connsiteX1" fmla="*/ 727389 w 2581792"/>
                <a:gd name="connsiteY1" fmla="*/ 0 h 2428647"/>
                <a:gd name="connsiteX2" fmla="*/ 1949027 w 2581792"/>
                <a:gd name="connsiteY2" fmla="*/ 0 h 2428647"/>
                <a:gd name="connsiteX3" fmla="*/ 2581792 w 2581792"/>
                <a:gd name="connsiteY3" fmla="*/ 632765 h 2428647"/>
                <a:gd name="connsiteX4" fmla="*/ 2581792 w 2581792"/>
                <a:gd name="connsiteY4" fmla="*/ 632765 h 2428647"/>
                <a:gd name="connsiteX5" fmla="*/ 1949027 w 2581792"/>
                <a:gd name="connsiteY5" fmla="*/ 1265530 h 2428647"/>
                <a:gd name="connsiteX6" fmla="*/ 727389 w 2581792"/>
                <a:gd name="connsiteY6" fmla="*/ 1265530 h 2428647"/>
                <a:gd name="connsiteX7" fmla="*/ 58265 w 2581792"/>
                <a:gd name="connsiteY7" fmla="*/ 2428647 h 2428647"/>
                <a:gd name="connsiteX8" fmla="*/ 48615 w 2581792"/>
                <a:gd name="connsiteY8" fmla="*/ 683972 h 2428647"/>
                <a:gd name="connsiteX0" fmla="*/ 1 w 2533178"/>
                <a:gd name="connsiteY0" fmla="*/ 683972 h 2428647"/>
                <a:gd name="connsiteX1" fmla="*/ 678775 w 2533178"/>
                <a:gd name="connsiteY1" fmla="*/ 0 h 2428647"/>
                <a:gd name="connsiteX2" fmla="*/ 1900413 w 2533178"/>
                <a:gd name="connsiteY2" fmla="*/ 0 h 2428647"/>
                <a:gd name="connsiteX3" fmla="*/ 2533178 w 2533178"/>
                <a:gd name="connsiteY3" fmla="*/ 632765 h 2428647"/>
                <a:gd name="connsiteX4" fmla="*/ 2533178 w 2533178"/>
                <a:gd name="connsiteY4" fmla="*/ 632765 h 2428647"/>
                <a:gd name="connsiteX5" fmla="*/ 1900413 w 2533178"/>
                <a:gd name="connsiteY5" fmla="*/ 1265530 h 2428647"/>
                <a:gd name="connsiteX6" fmla="*/ 678775 w 2533178"/>
                <a:gd name="connsiteY6" fmla="*/ 1265530 h 2428647"/>
                <a:gd name="connsiteX7" fmla="*/ 9651 w 2533178"/>
                <a:gd name="connsiteY7" fmla="*/ 2428647 h 2428647"/>
                <a:gd name="connsiteX8" fmla="*/ 1 w 2533178"/>
                <a:gd name="connsiteY8" fmla="*/ 683972 h 2428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33178" h="2428647">
                  <a:moveTo>
                    <a:pt x="1" y="683972"/>
                  </a:moveTo>
                  <a:cubicBezTo>
                    <a:pt x="-216" y="191416"/>
                    <a:pt x="307363" y="21946"/>
                    <a:pt x="678775" y="0"/>
                  </a:cubicBezTo>
                  <a:lnTo>
                    <a:pt x="1900413" y="0"/>
                  </a:lnTo>
                  <a:cubicBezTo>
                    <a:pt x="2249879" y="0"/>
                    <a:pt x="2533178" y="283299"/>
                    <a:pt x="2533178" y="632765"/>
                  </a:cubicBezTo>
                  <a:lnTo>
                    <a:pt x="2533178" y="632765"/>
                  </a:lnTo>
                  <a:cubicBezTo>
                    <a:pt x="2533178" y="982231"/>
                    <a:pt x="2249879" y="1265530"/>
                    <a:pt x="1900413" y="1265530"/>
                  </a:cubicBezTo>
                  <a:lnTo>
                    <a:pt x="678775" y="1265530"/>
                  </a:lnTo>
                  <a:cubicBezTo>
                    <a:pt x="414818" y="1248461"/>
                    <a:pt x="58709" y="1751382"/>
                    <a:pt x="9651" y="2428647"/>
                  </a:cubicBezTo>
                  <a:cubicBezTo>
                    <a:pt x="2783" y="2250034"/>
                    <a:pt x="218" y="1176528"/>
                    <a:pt x="1" y="683972"/>
                  </a:cubicBezTo>
                  <a:close/>
                </a:path>
              </a:pathLst>
            </a:custGeom>
            <a:solidFill>
              <a:srgbClr val="002776"/>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US" sz="900" kern="1200" dirty="0" err="1">
                <a:solidFill>
                  <a:prstClr val="white"/>
                </a:solidFill>
                <a:latin typeface="Arial"/>
              </a:endParaRPr>
            </a:p>
          </p:txBody>
        </p:sp>
        <p:pic>
          <p:nvPicPr>
            <p:cNvPr id="57" name="Picture 5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877247" y="2874139"/>
              <a:ext cx="731520" cy="731520"/>
            </a:xfrm>
            <a:prstGeom prst="rect">
              <a:avLst/>
            </a:prstGeom>
          </p:spPr>
        </p:pic>
        <p:pic>
          <p:nvPicPr>
            <p:cNvPr id="59" name="Picture 5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33490" y="4151685"/>
              <a:ext cx="731520" cy="731520"/>
            </a:xfrm>
            <a:prstGeom prst="rect">
              <a:avLst/>
            </a:prstGeom>
          </p:spPr>
        </p:pic>
        <p:pic>
          <p:nvPicPr>
            <p:cNvPr id="60" name="Picture 5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529712" y="2874139"/>
              <a:ext cx="731520" cy="731520"/>
            </a:xfrm>
            <a:prstGeom prst="rect">
              <a:avLst/>
            </a:prstGeom>
          </p:spPr>
        </p:pic>
        <p:sp>
          <p:nvSpPr>
            <p:cNvPr id="61" name="Rectangle 60"/>
            <p:cNvSpPr/>
            <p:nvPr/>
          </p:nvSpPr>
          <p:spPr>
            <a:xfrm>
              <a:off x="2699450" y="2869266"/>
              <a:ext cx="1527588" cy="800219"/>
            </a:xfrm>
            <a:prstGeom prst="rect">
              <a:avLst/>
            </a:prstGeom>
          </p:spPr>
          <p:txBody>
            <a:bodyPr wrap="square">
              <a:spAutoFit/>
            </a:bodyPr>
            <a:lstStyle/>
            <a:p>
              <a:pPr defTabSz="685800">
                <a:buClrTx/>
              </a:pPr>
              <a:r>
                <a:rPr lang="en-US" sz="825" kern="1200" dirty="0">
                  <a:solidFill>
                    <a:prstClr val="white"/>
                  </a:solidFill>
                  <a:ea typeface="+mn-ea"/>
                  <a:cs typeface="+mn-cs"/>
                </a:rPr>
                <a:t>This is dummy text it is not here to be read. This is dummy text.</a:t>
              </a:r>
            </a:p>
          </p:txBody>
        </p:sp>
        <p:sp>
          <p:nvSpPr>
            <p:cNvPr id="62" name="Rectangle 61"/>
            <p:cNvSpPr/>
            <p:nvPr/>
          </p:nvSpPr>
          <p:spPr>
            <a:xfrm>
              <a:off x="2718568" y="4247744"/>
              <a:ext cx="1619116" cy="630941"/>
            </a:xfrm>
            <a:prstGeom prst="rect">
              <a:avLst/>
            </a:prstGeom>
          </p:spPr>
          <p:txBody>
            <a:bodyPr wrap="square">
              <a:spAutoFit/>
            </a:bodyPr>
            <a:lstStyle/>
            <a:p>
              <a:pPr defTabSz="685800">
                <a:buClrTx/>
              </a:pPr>
              <a:r>
                <a:rPr lang="en-US" sz="825" kern="1200" dirty="0">
                  <a:solidFill>
                    <a:prstClr val="white"/>
                  </a:solidFill>
                  <a:ea typeface="+mn-ea"/>
                  <a:cs typeface="+mn-cs"/>
                </a:rPr>
                <a:t>This is dummy text it is not here to be read. This is dummy text.</a:t>
              </a:r>
            </a:p>
          </p:txBody>
        </p:sp>
        <p:sp>
          <p:nvSpPr>
            <p:cNvPr id="63" name="Rectangle 62"/>
            <p:cNvSpPr/>
            <p:nvPr/>
          </p:nvSpPr>
          <p:spPr>
            <a:xfrm>
              <a:off x="4726971" y="3019108"/>
              <a:ext cx="1832457" cy="630941"/>
            </a:xfrm>
            <a:prstGeom prst="rect">
              <a:avLst/>
            </a:prstGeom>
          </p:spPr>
          <p:txBody>
            <a:bodyPr wrap="square">
              <a:spAutoFit/>
            </a:bodyPr>
            <a:lstStyle/>
            <a:p>
              <a:pPr algn="r" defTabSz="685800">
                <a:buClrTx/>
              </a:pPr>
              <a:r>
                <a:rPr lang="en-US" sz="825" kern="1200" dirty="0">
                  <a:solidFill>
                    <a:prstClr val="white"/>
                  </a:solidFill>
                  <a:ea typeface="+mn-ea"/>
                  <a:cs typeface="+mn-cs"/>
                </a:rPr>
                <a:t>This is dummy text it is not here to be read. This is dummy text.</a:t>
              </a:r>
            </a:p>
          </p:txBody>
        </p:sp>
        <p:sp>
          <p:nvSpPr>
            <p:cNvPr id="64" name="Rectangle 63"/>
            <p:cNvSpPr/>
            <p:nvPr/>
          </p:nvSpPr>
          <p:spPr>
            <a:xfrm>
              <a:off x="4912670" y="4268256"/>
              <a:ext cx="1642109" cy="630941"/>
            </a:xfrm>
            <a:prstGeom prst="rect">
              <a:avLst/>
            </a:prstGeom>
          </p:spPr>
          <p:txBody>
            <a:bodyPr wrap="square">
              <a:spAutoFit/>
            </a:bodyPr>
            <a:lstStyle/>
            <a:p>
              <a:pPr algn="r" defTabSz="685800">
                <a:buClrTx/>
              </a:pPr>
              <a:r>
                <a:rPr lang="en-US" sz="825" kern="1200" dirty="0">
                  <a:solidFill>
                    <a:prstClr val="white"/>
                  </a:solidFill>
                  <a:ea typeface="+mn-ea"/>
                  <a:cs typeface="+mn-cs"/>
                </a:rPr>
                <a:t>This is dummy text it is not here to be read. This is dummy text.</a:t>
              </a:r>
            </a:p>
          </p:txBody>
        </p:sp>
        <p:sp>
          <p:nvSpPr>
            <p:cNvPr id="65" name="Rounded Rectangle 23"/>
            <p:cNvSpPr/>
            <p:nvPr/>
          </p:nvSpPr>
          <p:spPr>
            <a:xfrm flipH="1">
              <a:off x="1755899" y="1327468"/>
              <a:ext cx="2819275" cy="2428647"/>
            </a:xfrm>
            <a:custGeom>
              <a:avLst/>
              <a:gdLst>
                <a:gd name="connsiteX0" fmla="*/ 0 w 2487168"/>
                <a:gd name="connsiteY0" fmla="*/ 632765 h 1265530"/>
                <a:gd name="connsiteX1" fmla="*/ 632765 w 2487168"/>
                <a:gd name="connsiteY1" fmla="*/ 0 h 1265530"/>
                <a:gd name="connsiteX2" fmla="*/ 1854403 w 2487168"/>
                <a:gd name="connsiteY2" fmla="*/ 0 h 1265530"/>
                <a:gd name="connsiteX3" fmla="*/ 2487168 w 2487168"/>
                <a:gd name="connsiteY3" fmla="*/ 632765 h 1265530"/>
                <a:gd name="connsiteX4" fmla="*/ 2487168 w 2487168"/>
                <a:gd name="connsiteY4" fmla="*/ 632765 h 1265530"/>
                <a:gd name="connsiteX5" fmla="*/ 1854403 w 2487168"/>
                <a:gd name="connsiteY5" fmla="*/ 1265530 h 1265530"/>
                <a:gd name="connsiteX6" fmla="*/ 632765 w 2487168"/>
                <a:gd name="connsiteY6" fmla="*/ 1265530 h 1265530"/>
                <a:gd name="connsiteX7" fmla="*/ 0 w 2487168"/>
                <a:gd name="connsiteY7" fmla="*/ 632765 h 1265530"/>
                <a:gd name="connsiteX0" fmla="*/ 10095 w 2497263"/>
                <a:gd name="connsiteY0" fmla="*/ 632765 h 1265530"/>
                <a:gd name="connsiteX1" fmla="*/ 642860 w 2497263"/>
                <a:gd name="connsiteY1" fmla="*/ 0 h 1265530"/>
                <a:gd name="connsiteX2" fmla="*/ 1864498 w 2497263"/>
                <a:gd name="connsiteY2" fmla="*/ 0 h 1265530"/>
                <a:gd name="connsiteX3" fmla="*/ 2497263 w 2497263"/>
                <a:gd name="connsiteY3" fmla="*/ 632765 h 1265530"/>
                <a:gd name="connsiteX4" fmla="*/ 2497263 w 2497263"/>
                <a:gd name="connsiteY4" fmla="*/ 632765 h 1265530"/>
                <a:gd name="connsiteX5" fmla="*/ 1864498 w 2497263"/>
                <a:gd name="connsiteY5" fmla="*/ 1265530 h 1265530"/>
                <a:gd name="connsiteX6" fmla="*/ 642860 w 2497263"/>
                <a:gd name="connsiteY6" fmla="*/ 1265530 h 1265530"/>
                <a:gd name="connsiteX7" fmla="*/ 280757 w 2497263"/>
                <a:gd name="connsiteY7" fmla="*/ 1163117 h 1265530"/>
                <a:gd name="connsiteX8" fmla="*/ 10095 w 2497263"/>
                <a:gd name="connsiteY8" fmla="*/ 632765 h 1265530"/>
                <a:gd name="connsiteX0" fmla="*/ 34828 w 2521996"/>
                <a:gd name="connsiteY0" fmla="*/ 632765 h 2216530"/>
                <a:gd name="connsiteX1" fmla="*/ 667593 w 2521996"/>
                <a:gd name="connsiteY1" fmla="*/ 0 h 2216530"/>
                <a:gd name="connsiteX2" fmla="*/ 1889231 w 2521996"/>
                <a:gd name="connsiteY2" fmla="*/ 0 h 2216530"/>
                <a:gd name="connsiteX3" fmla="*/ 2521996 w 2521996"/>
                <a:gd name="connsiteY3" fmla="*/ 632765 h 2216530"/>
                <a:gd name="connsiteX4" fmla="*/ 2521996 w 2521996"/>
                <a:gd name="connsiteY4" fmla="*/ 632765 h 2216530"/>
                <a:gd name="connsiteX5" fmla="*/ 1889231 w 2521996"/>
                <a:gd name="connsiteY5" fmla="*/ 1265530 h 2216530"/>
                <a:gd name="connsiteX6" fmla="*/ 667593 w 2521996"/>
                <a:gd name="connsiteY6" fmla="*/ 1265530 h 2216530"/>
                <a:gd name="connsiteX7" fmla="*/ 144556 w 2521996"/>
                <a:gd name="connsiteY7" fmla="*/ 2209191 h 2216530"/>
                <a:gd name="connsiteX8" fmla="*/ 34828 w 2521996"/>
                <a:gd name="connsiteY8" fmla="*/ 632765 h 2216530"/>
                <a:gd name="connsiteX0" fmla="*/ 38917 w 2526085"/>
                <a:gd name="connsiteY0" fmla="*/ 632765 h 2420235"/>
                <a:gd name="connsiteX1" fmla="*/ 671682 w 2526085"/>
                <a:gd name="connsiteY1" fmla="*/ 0 h 2420235"/>
                <a:gd name="connsiteX2" fmla="*/ 1893320 w 2526085"/>
                <a:gd name="connsiteY2" fmla="*/ 0 h 2420235"/>
                <a:gd name="connsiteX3" fmla="*/ 2526085 w 2526085"/>
                <a:gd name="connsiteY3" fmla="*/ 632765 h 2420235"/>
                <a:gd name="connsiteX4" fmla="*/ 2526085 w 2526085"/>
                <a:gd name="connsiteY4" fmla="*/ 632765 h 2420235"/>
                <a:gd name="connsiteX5" fmla="*/ 1893320 w 2526085"/>
                <a:gd name="connsiteY5" fmla="*/ 1265530 h 2420235"/>
                <a:gd name="connsiteX6" fmla="*/ 671682 w 2526085"/>
                <a:gd name="connsiteY6" fmla="*/ 1265530 h 2420235"/>
                <a:gd name="connsiteX7" fmla="*/ 134015 w 2526085"/>
                <a:gd name="connsiteY7" fmla="*/ 2414017 h 2420235"/>
                <a:gd name="connsiteX8" fmla="*/ 38917 w 2526085"/>
                <a:gd name="connsiteY8" fmla="*/ 632765 h 2420235"/>
                <a:gd name="connsiteX0" fmla="*/ 38917 w 2526085"/>
                <a:gd name="connsiteY0" fmla="*/ 632765 h 2414017"/>
                <a:gd name="connsiteX1" fmla="*/ 671682 w 2526085"/>
                <a:gd name="connsiteY1" fmla="*/ 0 h 2414017"/>
                <a:gd name="connsiteX2" fmla="*/ 1893320 w 2526085"/>
                <a:gd name="connsiteY2" fmla="*/ 0 h 2414017"/>
                <a:gd name="connsiteX3" fmla="*/ 2526085 w 2526085"/>
                <a:gd name="connsiteY3" fmla="*/ 632765 h 2414017"/>
                <a:gd name="connsiteX4" fmla="*/ 2526085 w 2526085"/>
                <a:gd name="connsiteY4" fmla="*/ 632765 h 2414017"/>
                <a:gd name="connsiteX5" fmla="*/ 1893320 w 2526085"/>
                <a:gd name="connsiteY5" fmla="*/ 1265530 h 2414017"/>
                <a:gd name="connsiteX6" fmla="*/ 671682 w 2526085"/>
                <a:gd name="connsiteY6" fmla="*/ 1265530 h 2414017"/>
                <a:gd name="connsiteX7" fmla="*/ 134015 w 2526085"/>
                <a:gd name="connsiteY7" fmla="*/ 2414017 h 2414017"/>
                <a:gd name="connsiteX8" fmla="*/ 38917 w 2526085"/>
                <a:gd name="connsiteY8" fmla="*/ 632765 h 2414017"/>
                <a:gd name="connsiteX0" fmla="*/ 38917 w 2526085"/>
                <a:gd name="connsiteY0" fmla="*/ 632765 h 2414017"/>
                <a:gd name="connsiteX1" fmla="*/ 671682 w 2526085"/>
                <a:gd name="connsiteY1" fmla="*/ 0 h 2414017"/>
                <a:gd name="connsiteX2" fmla="*/ 1893320 w 2526085"/>
                <a:gd name="connsiteY2" fmla="*/ 0 h 2414017"/>
                <a:gd name="connsiteX3" fmla="*/ 2526085 w 2526085"/>
                <a:gd name="connsiteY3" fmla="*/ 632765 h 2414017"/>
                <a:gd name="connsiteX4" fmla="*/ 2526085 w 2526085"/>
                <a:gd name="connsiteY4" fmla="*/ 632765 h 2414017"/>
                <a:gd name="connsiteX5" fmla="*/ 1893320 w 2526085"/>
                <a:gd name="connsiteY5" fmla="*/ 1265530 h 2414017"/>
                <a:gd name="connsiteX6" fmla="*/ 671682 w 2526085"/>
                <a:gd name="connsiteY6" fmla="*/ 1265530 h 2414017"/>
                <a:gd name="connsiteX7" fmla="*/ 134015 w 2526085"/>
                <a:gd name="connsiteY7" fmla="*/ 2414017 h 2414017"/>
                <a:gd name="connsiteX8" fmla="*/ 38917 w 2526085"/>
                <a:gd name="connsiteY8" fmla="*/ 632765 h 2414017"/>
                <a:gd name="connsiteX0" fmla="*/ 38917 w 2526085"/>
                <a:gd name="connsiteY0" fmla="*/ 632765 h 2414017"/>
                <a:gd name="connsiteX1" fmla="*/ 671682 w 2526085"/>
                <a:gd name="connsiteY1" fmla="*/ 0 h 2414017"/>
                <a:gd name="connsiteX2" fmla="*/ 1893320 w 2526085"/>
                <a:gd name="connsiteY2" fmla="*/ 0 h 2414017"/>
                <a:gd name="connsiteX3" fmla="*/ 2526085 w 2526085"/>
                <a:gd name="connsiteY3" fmla="*/ 632765 h 2414017"/>
                <a:gd name="connsiteX4" fmla="*/ 2526085 w 2526085"/>
                <a:gd name="connsiteY4" fmla="*/ 632765 h 2414017"/>
                <a:gd name="connsiteX5" fmla="*/ 1893320 w 2526085"/>
                <a:gd name="connsiteY5" fmla="*/ 1265530 h 2414017"/>
                <a:gd name="connsiteX6" fmla="*/ 671682 w 2526085"/>
                <a:gd name="connsiteY6" fmla="*/ 1265530 h 2414017"/>
                <a:gd name="connsiteX7" fmla="*/ 134015 w 2526085"/>
                <a:gd name="connsiteY7" fmla="*/ 2414017 h 2414017"/>
                <a:gd name="connsiteX8" fmla="*/ 38917 w 2526085"/>
                <a:gd name="connsiteY8" fmla="*/ 632765 h 2414017"/>
                <a:gd name="connsiteX0" fmla="*/ 101443 w 2588611"/>
                <a:gd name="connsiteY0" fmla="*/ 632765 h 2428647"/>
                <a:gd name="connsiteX1" fmla="*/ 734208 w 2588611"/>
                <a:gd name="connsiteY1" fmla="*/ 0 h 2428647"/>
                <a:gd name="connsiteX2" fmla="*/ 1955846 w 2588611"/>
                <a:gd name="connsiteY2" fmla="*/ 0 h 2428647"/>
                <a:gd name="connsiteX3" fmla="*/ 2588611 w 2588611"/>
                <a:gd name="connsiteY3" fmla="*/ 632765 h 2428647"/>
                <a:gd name="connsiteX4" fmla="*/ 2588611 w 2588611"/>
                <a:gd name="connsiteY4" fmla="*/ 632765 h 2428647"/>
                <a:gd name="connsiteX5" fmla="*/ 1955846 w 2588611"/>
                <a:gd name="connsiteY5" fmla="*/ 1265530 h 2428647"/>
                <a:gd name="connsiteX6" fmla="*/ 734208 w 2588611"/>
                <a:gd name="connsiteY6" fmla="*/ 1265530 h 2428647"/>
                <a:gd name="connsiteX7" fmla="*/ 65084 w 2588611"/>
                <a:gd name="connsiteY7" fmla="*/ 2428647 h 2428647"/>
                <a:gd name="connsiteX8" fmla="*/ 101443 w 2588611"/>
                <a:gd name="connsiteY8" fmla="*/ 632765 h 2428647"/>
                <a:gd name="connsiteX0" fmla="*/ 63322 w 2550490"/>
                <a:gd name="connsiteY0" fmla="*/ 632765 h 2428647"/>
                <a:gd name="connsiteX1" fmla="*/ 696087 w 2550490"/>
                <a:gd name="connsiteY1" fmla="*/ 0 h 2428647"/>
                <a:gd name="connsiteX2" fmla="*/ 1917725 w 2550490"/>
                <a:gd name="connsiteY2" fmla="*/ 0 h 2428647"/>
                <a:gd name="connsiteX3" fmla="*/ 2550490 w 2550490"/>
                <a:gd name="connsiteY3" fmla="*/ 632765 h 2428647"/>
                <a:gd name="connsiteX4" fmla="*/ 2550490 w 2550490"/>
                <a:gd name="connsiteY4" fmla="*/ 632765 h 2428647"/>
                <a:gd name="connsiteX5" fmla="*/ 1917725 w 2550490"/>
                <a:gd name="connsiteY5" fmla="*/ 1265530 h 2428647"/>
                <a:gd name="connsiteX6" fmla="*/ 696087 w 2550490"/>
                <a:gd name="connsiteY6" fmla="*/ 1265530 h 2428647"/>
                <a:gd name="connsiteX7" fmla="*/ 26963 w 2550490"/>
                <a:gd name="connsiteY7" fmla="*/ 2428647 h 2428647"/>
                <a:gd name="connsiteX8" fmla="*/ 63322 w 2550490"/>
                <a:gd name="connsiteY8" fmla="*/ 632765 h 2428647"/>
                <a:gd name="connsiteX0" fmla="*/ 63322 w 2550490"/>
                <a:gd name="connsiteY0" fmla="*/ 632765 h 2428647"/>
                <a:gd name="connsiteX1" fmla="*/ 696087 w 2550490"/>
                <a:gd name="connsiteY1" fmla="*/ 0 h 2428647"/>
                <a:gd name="connsiteX2" fmla="*/ 1917725 w 2550490"/>
                <a:gd name="connsiteY2" fmla="*/ 0 h 2428647"/>
                <a:gd name="connsiteX3" fmla="*/ 2550490 w 2550490"/>
                <a:gd name="connsiteY3" fmla="*/ 632765 h 2428647"/>
                <a:gd name="connsiteX4" fmla="*/ 2550490 w 2550490"/>
                <a:gd name="connsiteY4" fmla="*/ 632765 h 2428647"/>
                <a:gd name="connsiteX5" fmla="*/ 1917725 w 2550490"/>
                <a:gd name="connsiteY5" fmla="*/ 1265530 h 2428647"/>
                <a:gd name="connsiteX6" fmla="*/ 696087 w 2550490"/>
                <a:gd name="connsiteY6" fmla="*/ 1265530 h 2428647"/>
                <a:gd name="connsiteX7" fmla="*/ 26963 w 2550490"/>
                <a:gd name="connsiteY7" fmla="*/ 2428647 h 2428647"/>
                <a:gd name="connsiteX8" fmla="*/ 63322 w 2550490"/>
                <a:gd name="connsiteY8" fmla="*/ 632765 h 2428647"/>
                <a:gd name="connsiteX0" fmla="*/ 48615 w 2581792"/>
                <a:gd name="connsiteY0" fmla="*/ 683972 h 2428647"/>
                <a:gd name="connsiteX1" fmla="*/ 727389 w 2581792"/>
                <a:gd name="connsiteY1" fmla="*/ 0 h 2428647"/>
                <a:gd name="connsiteX2" fmla="*/ 1949027 w 2581792"/>
                <a:gd name="connsiteY2" fmla="*/ 0 h 2428647"/>
                <a:gd name="connsiteX3" fmla="*/ 2581792 w 2581792"/>
                <a:gd name="connsiteY3" fmla="*/ 632765 h 2428647"/>
                <a:gd name="connsiteX4" fmla="*/ 2581792 w 2581792"/>
                <a:gd name="connsiteY4" fmla="*/ 632765 h 2428647"/>
                <a:gd name="connsiteX5" fmla="*/ 1949027 w 2581792"/>
                <a:gd name="connsiteY5" fmla="*/ 1265530 h 2428647"/>
                <a:gd name="connsiteX6" fmla="*/ 727389 w 2581792"/>
                <a:gd name="connsiteY6" fmla="*/ 1265530 h 2428647"/>
                <a:gd name="connsiteX7" fmla="*/ 58265 w 2581792"/>
                <a:gd name="connsiteY7" fmla="*/ 2428647 h 2428647"/>
                <a:gd name="connsiteX8" fmla="*/ 48615 w 2581792"/>
                <a:gd name="connsiteY8" fmla="*/ 683972 h 2428647"/>
                <a:gd name="connsiteX0" fmla="*/ 1 w 2533178"/>
                <a:gd name="connsiteY0" fmla="*/ 683972 h 2428647"/>
                <a:gd name="connsiteX1" fmla="*/ 678775 w 2533178"/>
                <a:gd name="connsiteY1" fmla="*/ 0 h 2428647"/>
                <a:gd name="connsiteX2" fmla="*/ 1900413 w 2533178"/>
                <a:gd name="connsiteY2" fmla="*/ 0 h 2428647"/>
                <a:gd name="connsiteX3" fmla="*/ 2533178 w 2533178"/>
                <a:gd name="connsiteY3" fmla="*/ 632765 h 2428647"/>
                <a:gd name="connsiteX4" fmla="*/ 2533178 w 2533178"/>
                <a:gd name="connsiteY4" fmla="*/ 632765 h 2428647"/>
                <a:gd name="connsiteX5" fmla="*/ 1900413 w 2533178"/>
                <a:gd name="connsiteY5" fmla="*/ 1265530 h 2428647"/>
                <a:gd name="connsiteX6" fmla="*/ 678775 w 2533178"/>
                <a:gd name="connsiteY6" fmla="*/ 1265530 h 2428647"/>
                <a:gd name="connsiteX7" fmla="*/ 9651 w 2533178"/>
                <a:gd name="connsiteY7" fmla="*/ 2428647 h 2428647"/>
                <a:gd name="connsiteX8" fmla="*/ 1 w 2533178"/>
                <a:gd name="connsiteY8" fmla="*/ 683972 h 2428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33178" h="2428647">
                  <a:moveTo>
                    <a:pt x="1" y="683972"/>
                  </a:moveTo>
                  <a:cubicBezTo>
                    <a:pt x="-216" y="191416"/>
                    <a:pt x="307363" y="21946"/>
                    <a:pt x="678775" y="0"/>
                  </a:cubicBezTo>
                  <a:lnTo>
                    <a:pt x="1900413" y="0"/>
                  </a:lnTo>
                  <a:cubicBezTo>
                    <a:pt x="2249879" y="0"/>
                    <a:pt x="2533178" y="283299"/>
                    <a:pt x="2533178" y="632765"/>
                  </a:cubicBezTo>
                  <a:lnTo>
                    <a:pt x="2533178" y="632765"/>
                  </a:lnTo>
                  <a:cubicBezTo>
                    <a:pt x="2533178" y="982231"/>
                    <a:pt x="2249879" y="1265530"/>
                    <a:pt x="1900413" y="1265530"/>
                  </a:cubicBezTo>
                  <a:lnTo>
                    <a:pt x="678775" y="1265530"/>
                  </a:lnTo>
                  <a:cubicBezTo>
                    <a:pt x="414818" y="1248461"/>
                    <a:pt x="58709" y="1751382"/>
                    <a:pt x="9651" y="2428647"/>
                  </a:cubicBezTo>
                  <a:cubicBezTo>
                    <a:pt x="2783" y="2250034"/>
                    <a:pt x="218" y="1176528"/>
                    <a:pt x="1" y="683972"/>
                  </a:cubicBezTo>
                  <a:close/>
                </a:path>
              </a:pathLst>
            </a:custGeom>
            <a:solidFill>
              <a:srgbClr val="8C8C8C"/>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US" sz="900" kern="1200" dirty="0" err="1">
                <a:solidFill>
                  <a:prstClr val="white"/>
                </a:solidFill>
                <a:latin typeface="Arial"/>
              </a:endParaRPr>
            </a:p>
          </p:txBody>
        </p:sp>
        <p:sp>
          <p:nvSpPr>
            <p:cNvPr id="67" name="Rectangle 66"/>
            <p:cNvSpPr/>
            <p:nvPr/>
          </p:nvSpPr>
          <p:spPr>
            <a:xfrm>
              <a:off x="2699450" y="1609859"/>
              <a:ext cx="1527588" cy="800219"/>
            </a:xfrm>
            <a:prstGeom prst="rect">
              <a:avLst/>
            </a:prstGeom>
          </p:spPr>
          <p:txBody>
            <a:bodyPr wrap="square">
              <a:spAutoFit/>
            </a:bodyPr>
            <a:lstStyle/>
            <a:p>
              <a:pPr defTabSz="685800">
                <a:buClrTx/>
              </a:pPr>
              <a:r>
                <a:rPr lang="en-US" sz="825" kern="1200" dirty="0">
                  <a:solidFill>
                    <a:prstClr val="white"/>
                  </a:solidFill>
                  <a:ea typeface="+mn-ea"/>
                  <a:cs typeface="+mn-cs"/>
                </a:rPr>
                <a:t>This is dummy text it is not here to be read. This is dummy text.</a:t>
              </a:r>
            </a:p>
          </p:txBody>
        </p:sp>
        <p:pic>
          <p:nvPicPr>
            <p:cNvPr id="70" name="Picture 69" descr="33.emf"/>
            <p:cNvPicPr>
              <a:picLocks noChangeAspect="1"/>
            </p:cNvPicPr>
            <p:nvPr/>
          </p:nvPicPr>
          <p:blipFill>
            <a:blip r:embed="rId9">
              <a:biLevel thresh="25000"/>
            </a:blip>
            <a:stretch>
              <a:fillRect/>
            </a:stretch>
          </p:blipFill>
          <p:spPr>
            <a:xfrm>
              <a:off x="2004766" y="1609858"/>
              <a:ext cx="588968" cy="545742"/>
            </a:xfrm>
            <a:prstGeom prst="rect">
              <a:avLst/>
            </a:prstGeom>
          </p:spPr>
        </p:pic>
        <p:grpSp>
          <p:nvGrpSpPr>
            <p:cNvPr id="6" name="Group 5"/>
            <p:cNvGrpSpPr/>
            <p:nvPr/>
          </p:nvGrpSpPr>
          <p:grpSpPr>
            <a:xfrm>
              <a:off x="6716966" y="4270369"/>
              <a:ext cx="514936" cy="522541"/>
              <a:chOff x="7775298" y="4300210"/>
              <a:chExt cx="340038" cy="345060"/>
            </a:xfrm>
          </p:grpSpPr>
          <p:pic>
            <p:nvPicPr>
              <p:cNvPr id="71" name="Picture 3" descr="C:\Users\kknight\Desktop\cog ico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782024" y="4300210"/>
                <a:ext cx="231650" cy="226773"/>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3" descr="C:\Users\kknight\Desktop\cog icon.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775298" y="4529287"/>
                <a:ext cx="118477" cy="115983"/>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 descr="C:\Users\kknight\Desktop\cog icon.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rot="767128">
                <a:off x="7899965" y="4509191"/>
                <a:ext cx="118477" cy="115983"/>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3" descr="C:\Users\kknight\Desktop\cog icon.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996859" y="4435799"/>
                <a:ext cx="118477" cy="115983"/>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3338929394"/>
      </p:ext>
    </p:extLst>
  </p:cSld>
  <p:clrMapOvr>
    <a:masterClrMapping/>
  </p:clrMapOvr>
  <p:transition>
    <p:fade/>
  </p:transition>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Integrated triangles and supportive text</a:t>
            </a: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3"/>
          <p:cNvGrpSpPr/>
          <p:nvPr/>
        </p:nvGrpSpPr>
        <p:grpSpPr>
          <a:xfrm>
            <a:off x="2577521" y="1131570"/>
            <a:ext cx="4027386" cy="3552632"/>
            <a:chOff x="1912695" y="1338627"/>
            <a:chExt cx="5369848" cy="4736842"/>
          </a:xfrm>
        </p:grpSpPr>
        <p:grpSp>
          <p:nvGrpSpPr>
            <p:cNvPr id="120" name="Group 119"/>
            <p:cNvGrpSpPr/>
            <p:nvPr/>
          </p:nvGrpSpPr>
          <p:grpSpPr>
            <a:xfrm>
              <a:off x="1912695" y="1338627"/>
              <a:ext cx="3405787" cy="3092192"/>
              <a:chOff x="2545080" y="892802"/>
              <a:chExt cx="3405787" cy="3092192"/>
            </a:xfrm>
          </p:grpSpPr>
          <p:sp>
            <p:nvSpPr>
              <p:cNvPr id="138" name="Rectangle 7"/>
              <p:cNvSpPr/>
              <p:nvPr/>
            </p:nvSpPr>
            <p:spPr>
              <a:xfrm rot="3173193">
                <a:off x="3380815" y="2112002"/>
                <a:ext cx="2865120" cy="42672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139" name="Rectangle 9"/>
              <p:cNvSpPr/>
              <p:nvPr/>
            </p:nvSpPr>
            <p:spPr>
              <a:xfrm rot="17989464">
                <a:off x="2197800" y="2133482"/>
                <a:ext cx="2811657" cy="429008"/>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140" name="Rectangle 5"/>
              <p:cNvSpPr/>
              <p:nvPr/>
            </p:nvSpPr>
            <p:spPr>
              <a:xfrm>
                <a:off x="2545080" y="3337561"/>
                <a:ext cx="3121343"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rgbClr val="00277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141" name="Rectangle 7"/>
              <p:cNvSpPr/>
              <p:nvPr/>
            </p:nvSpPr>
            <p:spPr>
              <a:xfrm rot="3173193">
                <a:off x="5290448" y="3324575"/>
                <a:ext cx="886915" cy="43392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grpSp>
        <p:sp>
          <p:nvSpPr>
            <p:cNvPr id="121" name="Rectangle 7"/>
            <p:cNvSpPr/>
            <p:nvPr/>
          </p:nvSpPr>
          <p:spPr>
            <a:xfrm rot="18426807" flipV="1">
              <a:off x="4020712" y="4429549"/>
              <a:ext cx="2865120" cy="42672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122" name="Rectangle 9"/>
            <p:cNvSpPr/>
            <p:nvPr/>
          </p:nvSpPr>
          <p:spPr>
            <a:xfrm rot="3610536" flipV="1">
              <a:off x="2837697" y="4405781"/>
              <a:ext cx="2811657" cy="429008"/>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rgbClr val="BDD20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123" name="Rectangle 5"/>
            <p:cNvSpPr/>
            <p:nvPr/>
          </p:nvSpPr>
          <p:spPr>
            <a:xfrm flipV="1">
              <a:off x="3184977" y="3199227"/>
              <a:ext cx="3121343"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124" name="Rectangle 7"/>
            <p:cNvSpPr/>
            <p:nvPr/>
          </p:nvSpPr>
          <p:spPr>
            <a:xfrm rot="18426807" flipV="1">
              <a:off x="5930345" y="3209773"/>
              <a:ext cx="886915" cy="43392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125" name="Rectangle 5"/>
            <p:cNvSpPr/>
            <p:nvPr/>
          </p:nvSpPr>
          <p:spPr>
            <a:xfrm>
              <a:off x="2464656" y="3783386"/>
              <a:ext cx="1828800"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rgbClr val="00277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pic>
          <p:nvPicPr>
            <p:cNvPr id="12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76166" y="1663510"/>
              <a:ext cx="611888" cy="5668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7" name="Half Frame 126"/>
            <p:cNvSpPr/>
            <p:nvPr/>
          </p:nvSpPr>
          <p:spPr>
            <a:xfrm rot="8142470">
              <a:off x="4810095" y="2367164"/>
              <a:ext cx="234951" cy="288147"/>
            </a:xfrm>
            <a:prstGeom prst="halfFrame">
              <a:avLst>
                <a:gd name="adj1" fmla="val 26576"/>
                <a:gd name="adj2" fmla="val 25856"/>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128" name="TextBox 127"/>
            <p:cNvSpPr txBox="1"/>
            <p:nvPr/>
          </p:nvSpPr>
          <p:spPr>
            <a:xfrm>
              <a:off x="4345014" y="2228666"/>
              <a:ext cx="631825" cy="565145"/>
            </a:xfrm>
            <a:prstGeom prst="rect">
              <a:avLst/>
            </a:prstGeom>
            <a:noFill/>
          </p:spPr>
          <p:txBody>
            <a:bodyPr wrap="square" lIns="27000" tIns="27000" rIns="27000" bIns="27000" rtlCol="0">
              <a:spAutoFit/>
            </a:bodyPr>
            <a:lstStyle/>
            <a:p>
              <a:pPr defTabSz="685800">
                <a:buClrTx/>
              </a:pPr>
              <a:r>
                <a:rPr lang="en-US" sz="2400" kern="1200" dirty="0">
                  <a:solidFill>
                    <a:srgbClr val="00A1DE"/>
                  </a:solidFill>
                  <a:ea typeface="+mn-ea"/>
                  <a:cs typeface="+mn-cs"/>
                </a:rPr>
                <a:t>01</a:t>
              </a:r>
            </a:p>
          </p:txBody>
        </p:sp>
        <p:sp>
          <p:nvSpPr>
            <p:cNvPr id="129" name="TextBox 128"/>
            <p:cNvSpPr txBox="1"/>
            <p:nvPr/>
          </p:nvSpPr>
          <p:spPr>
            <a:xfrm>
              <a:off x="4256098" y="2052574"/>
              <a:ext cx="901700" cy="241980"/>
            </a:xfrm>
            <a:prstGeom prst="rect">
              <a:avLst/>
            </a:prstGeom>
            <a:noFill/>
          </p:spPr>
          <p:txBody>
            <a:bodyPr wrap="square" lIns="27000" tIns="27000" rIns="27000" bIns="27000" rtlCol="0">
              <a:spAutoFit/>
            </a:bodyPr>
            <a:lstStyle/>
            <a:p>
              <a:pPr defTabSz="685800">
                <a:buClrTx/>
              </a:pPr>
              <a:r>
                <a:rPr lang="en-US" sz="825" kern="1200" dirty="0">
                  <a:solidFill>
                    <a:srgbClr val="00A1DE"/>
                  </a:solidFill>
                  <a:ea typeface="+mn-ea"/>
                  <a:cs typeface="+mn-cs"/>
                </a:rPr>
                <a:t>OPTIONS</a:t>
              </a:r>
            </a:p>
          </p:txBody>
        </p:sp>
        <p:sp>
          <p:nvSpPr>
            <p:cNvPr id="130" name="Rectangle 129"/>
            <p:cNvSpPr/>
            <p:nvPr/>
          </p:nvSpPr>
          <p:spPr>
            <a:xfrm>
              <a:off x="5276166" y="2282095"/>
              <a:ext cx="2006377" cy="769441"/>
            </a:xfrm>
            <a:prstGeom prst="rect">
              <a:avLst/>
            </a:prstGeom>
          </p:spPr>
          <p:txBody>
            <a:bodyPr wrap="square" lIns="0" tIns="0" rIns="0" bIns="0">
              <a:spAutoFit/>
            </a:bodyPr>
            <a:lstStyle/>
            <a:p>
              <a:pPr defTabSz="685800">
                <a:buClrTx/>
              </a:pPr>
              <a:r>
                <a:rPr lang="en-US" sz="750" b="1" kern="1200" dirty="0" err="1">
                  <a:solidFill>
                    <a:srgbClr val="00A1DE"/>
                  </a:solidFill>
                  <a:ea typeface="+mn-ea"/>
                  <a:cs typeface="+mn-cs"/>
                </a:rPr>
                <a:t>Lorem</a:t>
              </a:r>
              <a:r>
                <a:rPr lang="en-US" sz="750" b="1" kern="1200" dirty="0">
                  <a:solidFill>
                    <a:srgbClr val="00A1DE"/>
                  </a:solidFill>
                  <a:ea typeface="+mn-ea"/>
                  <a:cs typeface="+mn-cs"/>
                </a:rPr>
                <a:t> </a:t>
              </a:r>
              <a:r>
                <a:rPr lang="en-US" sz="750" b="1" kern="1200" dirty="0" err="1">
                  <a:solidFill>
                    <a:srgbClr val="00A1DE"/>
                  </a:solidFill>
                  <a:ea typeface="+mn-ea"/>
                  <a:cs typeface="+mn-cs"/>
                </a:rPr>
                <a:t>ipsum</a:t>
              </a:r>
              <a:r>
                <a:rPr lang="en-US" sz="750" b="1" kern="1200" dirty="0">
                  <a:solidFill>
                    <a:srgbClr val="00A1DE"/>
                  </a:solidFill>
                  <a:ea typeface="+mn-ea"/>
                  <a:cs typeface="+mn-cs"/>
                </a:rPr>
                <a:t> dolor </a:t>
              </a:r>
              <a:br>
                <a:rPr lang="en-US" sz="750" kern="1200" dirty="0">
                  <a:solidFill>
                    <a:srgbClr val="00A1DE"/>
                  </a:solidFill>
                  <a:ea typeface="+mn-ea"/>
                  <a:cs typeface="+mn-cs"/>
                </a:rPr>
              </a:br>
              <a:r>
                <a:rPr lang="en-US" sz="750" kern="1200" dirty="0">
                  <a:solidFill>
                    <a:srgbClr val="00A1DE"/>
                  </a:solidFill>
                  <a:ea typeface="+mn-ea"/>
                  <a:cs typeface="+mn-cs"/>
                </a:rPr>
                <a:t>This is dummy text it is not here to be read. This is dummy text it is not here to be read. This is dummy text it is not here to be read. </a:t>
              </a:r>
            </a:p>
          </p:txBody>
        </p:sp>
        <p:sp>
          <p:nvSpPr>
            <p:cNvPr id="132" name="Half Frame 131"/>
            <p:cNvSpPr/>
            <p:nvPr/>
          </p:nvSpPr>
          <p:spPr>
            <a:xfrm rot="8142470">
              <a:off x="2679818" y="4570572"/>
              <a:ext cx="234951" cy="288147"/>
            </a:xfrm>
            <a:prstGeom prst="halfFrame">
              <a:avLst>
                <a:gd name="adj1" fmla="val 26576"/>
                <a:gd name="adj2" fmla="val 25856"/>
              </a:avLst>
            </a:pr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81BC00"/>
                </a:solidFill>
                <a:latin typeface="Arial"/>
              </a:endParaRPr>
            </a:p>
          </p:txBody>
        </p:sp>
        <p:sp>
          <p:nvSpPr>
            <p:cNvPr id="133" name="TextBox 132"/>
            <p:cNvSpPr txBox="1"/>
            <p:nvPr/>
          </p:nvSpPr>
          <p:spPr>
            <a:xfrm>
              <a:off x="2214736" y="4432072"/>
              <a:ext cx="631825" cy="565145"/>
            </a:xfrm>
            <a:prstGeom prst="rect">
              <a:avLst/>
            </a:prstGeom>
            <a:noFill/>
          </p:spPr>
          <p:txBody>
            <a:bodyPr wrap="square" lIns="27000" tIns="27000" rIns="27000" bIns="27000" rtlCol="0">
              <a:spAutoFit/>
            </a:bodyPr>
            <a:lstStyle/>
            <a:p>
              <a:pPr defTabSz="685800">
                <a:buClrTx/>
              </a:pPr>
              <a:r>
                <a:rPr lang="en-US" sz="2400" kern="1200" dirty="0">
                  <a:solidFill>
                    <a:srgbClr val="81BC00"/>
                  </a:solidFill>
                  <a:ea typeface="+mn-ea"/>
                  <a:cs typeface="+mn-cs"/>
                </a:rPr>
                <a:t>01</a:t>
              </a:r>
            </a:p>
          </p:txBody>
        </p:sp>
        <p:sp>
          <p:nvSpPr>
            <p:cNvPr id="134" name="TextBox 133"/>
            <p:cNvSpPr txBox="1"/>
            <p:nvPr/>
          </p:nvSpPr>
          <p:spPr>
            <a:xfrm>
              <a:off x="2212487" y="4254752"/>
              <a:ext cx="901700" cy="241980"/>
            </a:xfrm>
            <a:prstGeom prst="rect">
              <a:avLst/>
            </a:prstGeom>
            <a:noFill/>
          </p:spPr>
          <p:txBody>
            <a:bodyPr wrap="square" lIns="27000" tIns="27000" rIns="27000" bIns="27000" rtlCol="0">
              <a:spAutoFit/>
            </a:bodyPr>
            <a:lstStyle/>
            <a:p>
              <a:pPr defTabSz="685800">
                <a:buClrTx/>
              </a:pPr>
              <a:r>
                <a:rPr lang="en-US" sz="825" kern="1200" dirty="0">
                  <a:solidFill>
                    <a:srgbClr val="81BC00"/>
                  </a:solidFill>
                  <a:ea typeface="+mn-ea"/>
                  <a:cs typeface="+mn-cs"/>
                </a:rPr>
                <a:t>OPTIONS</a:t>
              </a:r>
            </a:p>
          </p:txBody>
        </p:sp>
        <p:sp>
          <p:nvSpPr>
            <p:cNvPr id="135" name="Rectangle 134"/>
            <p:cNvSpPr/>
            <p:nvPr/>
          </p:nvSpPr>
          <p:spPr>
            <a:xfrm>
              <a:off x="2612598" y="5002216"/>
              <a:ext cx="1714567" cy="769441"/>
            </a:xfrm>
            <a:prstGeom prst="rect">
              <a:avLst/>
            </a:prstGeom>
          </p:spPr>
          <p:txBody>
            <a:bodyPr wrap="square" lIns="0" tIns="0" rIns="0" bIns="0">
              <a:spAutoFit/>
            </a:bodyPr>
            <a:lstStyle/>
            <a:p>
              <a:pPr defTabSz="685800">
                <a:buClrTx/>
              </a:pPr>
              <a:r>
                <a:rPr lang="en-US" sz="750" b="1" kern="1200" dirty="0" err="1">
                  <a:solidFill>
                    <a:srgbClr val="81BC00"/>
                  </a:solidFill>
                  <a:ea typeface="+mn-ea"/>
                  <a:cs typeface="+mn-cs"/>
                </a:rPr>
                <a:t>Lorem</a:t>
              </a:r>
              <a:r>
                <a:rPr lang="en-US" sz="750" b="1" kern="1200" dirty="0">
                  <a:solidFill>
                    <a:srgbClr val="81BC00"/>
                  </a:solidFill>
                  <a:ea typeface="+mn-ea"/>
                  <a:cs typeface="+mn-cs"/>
                </a:rPr>
                <a:t> </a:t>
              </a:r>
              <a:r>
                <a:rPr lang="en-US" sz="750" b="1" kern="1200" dirty="0" err="1">
                  <a:solidFill>
                    <a:srgbClr val="81BC00"/>
                  </a:solidFill>
                  <a:ea typeface="+mn-ea"/>
                  <a:cs typeface="+mn-cs"/>
                </a:rPr>
                <a:t>ipsum</a:t>
              </a:r>
              <a:r>
                <a:rPr lang="en-US" sz="750" b="1" kern="1200" dirty="0">
                  <a:solidFill>
                    <a:srgbClr val="81BC00"/>
                  </a:solidFill>
                  <a:ea typeface="+mn-ea"/>
                  <a:cs typeface="+mn-cs"/>
                </a:rPr>
                <a:t> dolor</a:t>
              </a:r>
              <a:br>
                <a:rPr lang="en-US" sz="750" kern="1200" dirty="0">
                  <a:solidFill>
                    <a:srgbClr val="81BC00"/>
                  </a:solidFill>
                  <a:ea typeface="+mn-ea"/>
                  <a:cs typeface="+mn-cs"/>
                </a:rPr>
              </a:br>
              <a:r>
                <a:rPr lang="en-US" sz="750" kern="1200" dirty="0">
                  <a:solidFill>
                    <a:srgbClr val="81BC00"/>
                  </a:solidFill>
                  <a:ea typeface="+mn-ea"/>
                  <a:cs typeface="+mn-cs"/>
                </a:rPr>
                <a:t>This is dummy text it is not here to be read. This is dummy text it is not here to be read. </a:t>
              </a:r>
            </a:p>
          </p:txBody>
        </p:sp>
        <p:sp>
          <p:nvSpPr>
            <p:cNvPr id="136" name="Rectangle 135"/>
            <p:cNvSpPr/>
            <p:nvPr/>
          </p:nvSpPr>
          <p:spPr>
            <a:xfrm rot="17949264">
              <a:off x="2019472" y="2631929"/>
              <a:ext cx="1878386" cy="307776"/>
            </a:xfrm>
            <a:prstGeom prst="rect">
              <a:avLst/>
            </a:prstGeom>
          </p:spPr>
          <p:txBody>
            <a:bodyPr wrap="square" lIns="0" tIns="0" rIns="0" bIns="0">
              <a:spAutoFit/>
            </a:bodyPr>
            <a:lstStyle/>
            <a:p>
              <a:pPr defTabSz="685800">
                <a:buClrTx/>
              </a:pPr>
              <a:r>
                <a:rPr lang="en-US" sz="750" b="1" kern="1200" dirty="0">
                  <a:solidFill>
                    <a:srgbClr val="FFFFFF"/>
                  </a:solidFill>
                  <a:ea typeface="+mn-ea"/>
                  <a:cs typeface="+mn-cs"/>
                </a:rPr>
                <a:t>Lorem ipsum dolor </a:t>
              </a:r>
              <a:br>
                <a:rPr lang="en-US" sz="750" kern="1200" dirty="0">
                  <a:solidFill>
                    <a:srgbClr val="FFFFFF"/>
                  </a:solidFill>
                  <a:ea typeface="+mn-ea"/>
                  <a:cs typeface="+mn-cs"/>
                </a:rPr>
              </a:br>
              <a:r>
                <a:rPr lang="en-US" sz="750" kern="1200" dirty="0">
                  <a:solidFill>
                    <a:srgbClr val="FFFFFF"/>
                  </a:solidFill>
                  <a:ea typeface="+mn-ea"/>
                  <a:cs typeface="+mn-cs"/>
                </a:rPr>
                <a:t>This is dummy text not to be read</a:t>
              </a:r>
            </a:p>
          </p:txBody>
        </p:sp>
        <p:sp>
          <p:nvSpPr>
            <p:cNvPr id="137" name="Rectangle 136"/>
            <p:cNvSpPr/>
            <p:nvPr/>
          </p:nvSpPr>
          <p:spPr>
            <a:xfrm>
              <a:off x="3537159" y="3276468"/>
              <a:ext cx="2136809" cy="276999"/>
            </a:xfrm>
            <a:prstGeom prst="rect">
              <a:avLst/>
            </a:prstGeom>
          </p:spPr>
          <p:txBody>
            <a:bodyPr wrap="square" lIns="0" tIns="0" rIns="0" bIns="0">
              <a:spAutoFit/>
            </a:bodyPr>
            <a:lstStyle/>
            <a:p>
              <a:pPr defTabSz="685800">
                <a:buClrTx/>
              </a:pPr>
              <a:r>
                <a:rPr lang="en-US" sz="675" b="1" kern="1200" dirty="0">
                  <a:solidFill>
                    <a:srgbClr val="FFFFFF"/>
                  </a:solidFill>
                  <a:ea typeface="+mn-ea"/>
                  <a:cs typeface="+mn-cs"/>
                </a:rPr>
                <a:t>Lorem ipsum dolor </a:t>
              </a:r>
              <a:br>
                <a:rPr lang="en-US" sz="675" kern="1200" dirty="0">
                  <a:solidFill>
                    <a:srgbClr val="FFFFFF"/>
                  </a:solidFill>
                  <a:ea typeface="+mn-ea"/>
                  <a:cs typeface="+mn-cs"/>
                </a:rPr>
              </a:br>
              <a:r>
                <a:rPr lang="en-US" sz="675" kern="1200" dirty="0">
                  <a:solidFill>
                    <a:srgbClr val="FFFFFF"/>
                  </a:solidFill>
                  <a:ea typeface="+mn-ea"/>
                  <a:cs typeface="+mn-cs"/>
                </a:rPr>
                <a:t>This is dummy text not here to be read</a:t>
              </a:r>
            </a:p>
          </p:txBody>
        </p:sp>
        <p:pic>
          <p:nvPicPr>
            <p:cNvPr id="1214469" name="Picture 5" descr="C:\Users\kknight\Desktop\green global icon.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84977" y="4352868"/>
              <a:ext cx="500063" cy="50006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725986303"/>
      </p:ext>
    </p:extLst>
  </p:cSld>
  <p:clrMapOvr>
    <a:masterClrMapping/>
  </p:clrMapOvr>
  <p:transition>
    <p:fade/>
  </p:transition>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Elevated hoops</a:t>
            </a:r>
            <a:br>
              <a:rPr lang="en-US" altLang="ja-JP" dirty="0"/>
            </a:br>
            <a:br>
              <a:rPr lang="en-US" altLang="ja-JP" dirty="0"/>
            </a:b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6" name="Group 35"/>
          <p:cNvGrpSpPr/>
          <p:nvPr/>
        </p:nvGrpSpPr>
        <p:grpSpPr>
          <a:xfrm>
            <a:off x="3110073" y="2362063"/>
            <a:ext cx="1296144" cy="641201"/>
            <a:chOff x="1759463" y="1518090"/>
            <a:chExt cx="1728192" cy="854933"/>
          </a:xfrm>
        </p:grpSpPr>
        <p:grpSp>
          <p:nvGrpSpPr>
            <p:cNvPr id="37" name="Group 36"/>
            <p:cNvGrpSpPr/>
            <p:nvPr/>
          </p:nvGrpSpPr>
          <p:grpSpPr>
            <a:xfrm>
              <a:off x="1759463" y="1732112"/>
              <a:ext cx="1728192" cy="405189"/>
              <a:chOff x="3658196" y="2182290"/>
              <a:chExt cx="1728192" cy="405189"/>
            </a:xfrm>
          </p:grpSpPr>
          <p:sp>
            <p:nvSpPr>
              <p:cNvPr id="39" name="Oval 38"/>
              <p:cNvSpPr/>
              <p:nvPr/>
            </p:nvSpPr>
            <p:spPr>
              <a:xfrm>
                <a:off x="3889393" y="2182290"/>
                <a:ext cx="1260140" cy="405189"/>
              </a:xfrm>
              <a:prstGeom prst="ellipse">
                <a:avLst/>
              </a:prstGeom>
              <a:noFill/>
              <a:ln w="12700">
                <a:solidFill>
                  <a:srgbClr val="8C8C8C"/>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40" name="Donut 39"/>
              <p:cNvSpPr/>
              <p:nvPr/>
            </p:nvSpPr>
            <p:spPr>
              <a:xfrm>
                <a:off x="3658196" y="2182290"/>
                <a:ext cx="1728192" cy="405189"/>
              </a:xfrm>
              <a:prstGeom prst="donut">
                <a:avLst>
                  <a:gd name="adj" fmla="val 10860"/>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sp>
          <p:nvSpPr>
            <p:cNvPr id="38" name="Rectangle 37"/>
            <p:cNvSpPr/>
            <p:nvPr/>
          </p:nvSpPr>
          <p:spPr>
            <a:xfrm>
              <a:off x="2108499" y="1518090"/>
              <a:ext cx="1058096" cy="854933"/>
            </a:xfrm>
            <a:prstGeom prst="rect">
              <a:avLst/>
            </a:prstGeom>
          </p:spPr>
          <p:txBody>
            <a:bodyPr wrap="square" lIns="0" tIns="0" rIns="0" bIns="0">
              <a:spAutoFit/>
            </a:bodyPr>
            <a:lstStyle/>
            <a:p>
              <a:pPr algn="ctr" defTabSz="685800">
                <a:spcAft>
                  <a:spcPts val="450"/>
                </a:spcAft>
                <a:buClrTx/>
              </a:pPr>
              <a:r>
                <a:rPr lang="en-US" sz="750" b="1" kern="1200" dirty="0">
                  <a:solidFill>
                    <a:srgbClr val="575757"/>
                  </a:solidFill>
                  <a:ea typeface="+mn-ea"/>
                  <a:cs typeface="+mn-cs"/>
                </a:rPr>
                <a:t>LOREM IPSUM DOLOR </a:t>
              </a:r>
            </a:p>
            <a:p>
              <a:pPr algn="ctr" defTabSz="685800">
                <a:spcAft>
                  <a:spcPts val="450"/>
                </a:spcAft>
                <a:buClrTx/>
              </a:pPr>
              <a:r>
                <a:rPr lang="en-US" sz="750" kern="1200" dirty="0">
                  <a:solidFill>
                    <a:srgbClr val="575757"/>
                  </a:solidFill>
                  <a:ea typeface="+mn-ea"/>
                  <a:cs typeface="+mn-cs"/>
                </a:rPr>
                <a:t>This is dummy text it is not here to be read.. </a:t>
              </a:r>
            </a:p>
          </p:txBody>
        </p:sp>
      </p:grpSp>
      <p:grpSp>
        <p:nvGrpSpPr>
          <p:cNvPr id="41" name="Group 40"/>
          <p:cNvGrpSpPr/>
          <p:nvPr/>
        </p:nvGrpSpPr>
        <p:grpSpPr>
          <a:xfrm>
            <a:off x="4068604" y="1188740"/>
            <a:ext cx="1296144" cy="641201"/>
            <a:chOff x="3814622" y="2939550"/>
            <a:chExt cx="1728192" cy="854933"/>
          </a:xfrm>
        </p:grpSpPr>
        <p:grpSp>
          <p:nvGrpSpPr>
            <p:cNvPr id="42" name="Group 41"/>
            <p:cNvGrpSpPr/>
            <p:nvPr/>
          </p:nvGrpSpPr>
          <p:grpSpPr>
            <a:xfrm>
              <a:off x="3814622" y="3140020"/>
              <a:ext cx="1728192" cy="405189"/>
              <a:chOff x="5906096" y="2182290"/>
              <a:chExt cx="1728192" cy="405189"/>
            </a:xfrm>
          </p:grpSpPr>
          <p:sp>
            <p:nvSpPr>
              <p:cNvPr id="44" name="Oval 43"/>
              <p:cNvSpPr/>
              <p:nvPr/>
            </p:nvSpPr>
            <p:spPr>
              <a:xfrm>
                <a:off x="6137293" y="2182290"/>
                <a:ext cx="1260140" cy="405189"/>
              </a:xfrm>
              <a:prstGeom prst="ellipse">
                <a:avLst/>
              </a:prstGeom>
              <a:noFill/>
              <a:ln w="12700">
                <a:solidFill>
                  <a:srgbClr val="81BC00"/>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45" name="Donut 44"/>
              <p:cNvSpPr/>
              <p:nvPr/>
            </p:nvSpPr>
            <p:spPr>
              <a:xfrm>
                <a:off x="5906096" y="2182290"/>
                <a:ext cx="1728192" cy="405189"/>
              </a:xfrm>
              <a:prstGeom prst="donut">
                <a:avLst>
                  <a:gd name="adj" fmla="val 10860"/>
                </a:avLst>
              </a:pr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sp>
          <p:nvSpPr>
            <p:cNvPr id="43" name="Rectangle 42"/>
            <p:cNvSpPr/>
            <p:nvPr/>
          </p:nvSpPr>
          <p:spPr>
            <a:xfrm>
              <a:off x="4149670" y="2939550"/>
              <a:ext cx="1058096" cy="854933"/>
            </a:xfrm>
            <a:prstGeom prst="rect">
              <a:avLst/>
            </a:prstGeom>
          </p:spPr>
          <p:txBody>
            <a:bodyPr wrap="square" lIns="0" tIns="0" rIns="0" bIns="0">
              <a:spAutoFit/>
            </a:bodyPr>
            <a:lstStyle/>
            <a:p>
              <a:pPr algn="ctr" defTabSz="685800">
                <a:spcAft>
                  <a:spcPts val="450"/>
                </a:spcAft>
                <a:buClrTx/>
              </a:pPr>
              <a:r>
                <a:rPr lang="en-US" sz="750" b="1" kern="1200" dirty="0">
                  <a:solidFill>
                    <a:srgbClr val="81BC00"/>
                  </a:solidFill>
                  <a:ea typeface="+mn-ea"/>
                  <a:cs typeface="+mn-cs"/>
                </a:rPr>
                <a:t>LOREM IPSUM DOLOR </a:t>
              </a:r>
            </a:p>
            <a:p>
              <a:pPr algn="ctr" defTabSz="685800">
                <a:spcAft>
                  <a:spcPts val="450"/>
                </a:spcAft>
                <a:buClrTx/>
              </a:pPr>
              <a:r>
                <a:rPr lang="en-US" sz="750" kern="1200" dirty="0">
                  <a:solidFill>
                    <a:srgbClr val="81BC00"/>
                  </a:solidFill>
                  <a:ea typeface="+mn-ea"/>
                  <a:cs typeface="+mn-cs"/>
                </a:rPr>
                <a:t>This is dummy text it is not here to be read. </a:t>
              </a:r>
            </a:p>
          </p:txBody>
        </p:sp>
      </p:grpSp>
      <p:grpSp>
        <p:nvGrpSpPr>
          <p:cNvPr id="46" name="Group 45"/>
          <p:cNvGrpSpPr/>
          <p:nvPr/>
        </p:nvGrpSpPr>
        <p:grpSpPr>
          <a:xfrm>
            <a:off x="5027134" y="2394160"/>
            <a:ext cx="1296144" cy="641201"/>
            <a:chOff x="5785128" y="1614228"/>
            <a:chExt cx="1728192" cy="854936"/>
          </a:xfrm>
        </p:grpSpPr>
        <p:grpSp>
          <p:nvGrpSpPr>
            <p:cNvPr id="47" name="Group 46"/>
            <p:cNvGrpSpPr/>
            <p:nvPr/>
          </p:nvGrpSpPr>
          <p:grpSpPr>
            <a:xfrm>
              <a:off x="5785128" y="1785452"/>
              <a:ext cx="1728192" cy="405190"/>
              <a:chOff x="1213128" y="2182290"/>
              <a:chExt cx="1728192" cy="405190"/>
            </a:xfrm>
          </p:grpSpPr>
          <p:sp>
            <p:nvSpPr>
              <p:cNvPr id="49" name="Oval 48"/>
              <p:cNvSpPr/>
              <p:nvPr/>
            </p:nvSpPr>
            <p:spPr>
              <a:xfrm>
                <a:off x="1444325" y="2182290"/>
                <a:ext cx="1260140" cy="405190"/>
              </a:xfrm>
              <a:prstGeom prst="ellipse">
                <a:avLst/>
              </a:prstGeom>
              <a:noFill/>
              <a:ln w="1270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50" name="Donut 49"/>
              <p:cNvSpPr/>
              <p:nvPr/>
            </p:nvSpPr>
            <p:spPr>
              <a:xfrm>
                <a:off x="1213128" y="2182290"/>
                <a:ext cx="1728192" cy="405190"/>
              </a:xfrm>
              <a:prstGeom prst="donut">
                <a:avLst>
                  <a:gd name="adj" fmla="val 10860"/>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sp>
          <p:nvSpPr>
            <p:cNvPr id="48" name="Rectangle 47"/>
            <p:cNvSpPr/>
            <p:nvPr/>
          </p:nvSpPr>
          <p:spPr>
            <a:xfrm>
              <a:off x="6138403" y="1614228"/>
              <a:ext cx="1058096" cy="854936"/>
            </a:xfrm>
            <a:prstGeom prst="rect">
              <a:avLst/>
            </a:prstGeom>
          </p:spPr>
          <p:txBody>
            <a:bodyPr wrap="square" lIns="0" tIns="0" rIns="0" bIns="0">
              <a:spAutoFit/>
            </a:bodyPr>
            <a:lstStyle/>
            <a:p>
              <a:pPr algn="ctr" defTabSz="685800">
                <a:spcAft>
                  <a:spcPts val="450"/>
                </a:spcAft>
                <a:buClrTx/>
              </a:pPr>
              <a:r>
                <a:rPr lang="en-US" sz="750" b="1" kern="1200" dirty="0">
                  <a:solidFill>
                    <a:srgbClr val="00A1DE"/>
                  </a:solidFill>
                  <a:ea typeface="+mn-ea"/>
                  <a:cs typeface="+mn-cs"/>
                </a:rPr>
                <a:t>LOREM IPSUM DOLOR </a:t>
              </a:r>
            </a:p>
            <a:p>
              <a:pPr algn="ctr" defTabSz="685800">
                <a:spcAft>
                  <a:spcPts val="450"/>
                </a:spcAft>
                <a:buClrTx/>
              </a:pPr>
              <a:r>
                <a:rPr lang="en-US" sz="750" kern="1200" dirty="0">
                  <a:solidFill>
                    <a:srgbClr val="00A1DE"/>
                  </a:solidFill>
                  <a:ea typeface="+mn-ea"/>
                  <a:cs typeface="+mn-cs"/>
                </a:rPr>
                <a:t>This is dummy text it is not here to be read. </a:t>
              </a:r>
            </a:p>
          </p:txBody>
        </p:sp>
      </p:grpSp>
      <p:grpSp>
        <p:nvGrpSpPr>
          <p:cNvPr id="51" name="Group 50"/>
          <p:cNvGrpSpPr/>
          <p:nvPr/>
        </p:nvGrpSpPr>
        <p:grpSpPr>
          <a:xfrm>
            <a:off x="5566145" y="3759960"/>
            <a:ext cx="1296144" cy="641201"/>
            <a:chOff x="5785128" y="4189230"/>
            <a:chExt cx="1728192" cy="854936"/>
          </a:xfrm>
        </p:grpSpPr>
        <p:grpSp>
          <p:nvGrpSpPr>
            <p:cNvPr id="52" name="Group 51"/>
            <p:cNvGrpSpPr/>
            <p:nvPr/>
          </p:nvGrpSpPr>
          <p:grpSpPr>
            <a:xfrm>
              <a:off x="5785128" y="4414950"/>
              <a:ext cx="1728192" cy="405190"/>
              <a:chOff x="5078532" y="4414950"/>
              <a:chExt cx="1728192" cy="405190"/>
            </a:xfrm>
          </p:grpSpPr>
          <p:sp>
            <p:nvSpPr>
              <p:cNvPr id="54" name="Oval 53"/>
              <p:cNvSpPr/>
              <p:nvPr/>
            </p:nvSpPr>
            <p:spPr>
              <a:xfrm>
                <a:off x="5309729" y="4414950"/>
                <a:ext cx="1260140" cy="405190"/>
              </a:xfrm>
              <a:prstGeom prst="ellipse">
                <a:avLst/>
              </a:prstGeom>
              <a:noFill/>
              <a:ln w="12700">
                <a:solidFill>
                  <a:srgbClr val="72C7E7"/>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55" name="Donut 54"/>
              <p:cNvSpPr/>
              <p:nvPr/>
            </p:nvSpPr>
            <p:spPr>
              <a:xfrm>
                <a:off x="5078532" y="4414950"/>
                <a:ext cx="1728192" cy="405190"/>
              </a:xfrm>
              <a:prstGeom prst="donut">
                <a:avLst>
                  <a:gd name="adj" fmla="val 10860"/>
                </a:avLst>
              </a:pr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sp>
          <p:nvSpPr>
            <p:cNvPr id="53" name="Rectangle 52"/>
            <p:cNvSpPr/>
            <p:nvPr/>
          </p:nvSpPr>
          <p:spPr>
            <a:xfrm>
              <a:off x="6134381" y="4189230"/>
              <a:ext cx="1058096" cy="854936"/>
            </a:xfrm>
            <a:prstGeom prst="rect">
              <a:avLst/>
            </a:prstGeom>
          </p:spPr>
          <p:txBody>
            <a:bodyPr wrap="square" lIns="0" tIns="0" rIns="0" bIns="0">
              <a:spAutoFit/>
            </a:bodyPr>
            <a:lstStyle/>
            <a:p>
              <a:pPr algn="ctr" defTabSz="685800">
                <a:spcAft>
                  <a:spcPts val="450"/>
                </a:spcAft>
                <a:buClrTx/>
              </a:pPr>
              <a:r>
                <a:rPr lang="en-US" sz="750" b="1" kern="1200" dirty="0">
                  <a:solidFill>
                    <a:srgbClr val="72C7E7"/>
                  </a:solidFill>
                  <a:ea typeface="+mn-ea"/>
                  <a:cs typeface="+mn-cs"/>
                </a:rPr>
                <a:t>LOREM IPSUM DOLOR </a:t>
              </a:r>
            </a:p>
            <a:p>
              <a:pPr algn="ctr" defTabSz="685800">
                <a:spcAft>
                  <a:spcPts val="450"/>
                </a:spcAft>
                <a:buClrTx/>
              </a:pPr>
              <a:r>
                <a:rPr lang="en-US" sz="750" kern="1200" dirty="0">
                  <a:solidFill>
                    <a:srgbClr val="72C7E7"/>
                  </a:solidFill>
                  <a:ea typeface="+mn-ea"/>
                  <a:cs typeface="+mn-cs"/>
                </a:rPr>
                <a:t>This is dummy text it is not here to be read.. </a:t>
              </a:r>
            </a:p>
          </p:txBody>
        </p:sp>
      </p:grpSp>
      <p:grpSp>
        <p:nvGrpSpPr>
          <p:cNvPr id="56" name="Group 55"/>
          <p:cNvGrpSpPr/>
          <p:nvPr/>
        </p:nvGrpSpPr>
        <p:grpSpPr>
          <a:xfrm>
            <a:off x="2667551" y="3775344"/>
            <a:ext cx="1296144" cy="641201"/>
            <a:chOff x="1759463" y="4206710"/>
            <a:chExt cx="1728192" cy="854936"/>
          </a:xfrm>
        </p:grpSpPr>
        <p:grpSp>
          <p:nvGrpSpPr>
            <p:cNvPr id="57" name="Group 56"/>
            <p:cNvGrpSpPr/>
            <p:nvPr/>
          </p:nvGrpSpPr>
          <p:grpSpPr>
            <a:xfrm>
              <a:off x="1759463" y="4414950"/>
              <a:ext cx="1728192" cy="405190"/>
              <a:chOff x="2161201" y="4414950"/>
              <a:chExt cx="1728192" cy="405190"/>
            </a:xfrm>
          </p:grpSpPr>
          <p:sp>
            <p:nvSpPr>
              <p:cNvPr id="59" name="Oval 58"/>
              <p:cNvSpPr/>
              <p:nvPr/>
            </p:nvSpPr>
            <p:spPr>
              <a:xfrm>
                <a:off x="2392398" y="4414950"/>
                <a:ext cx="1260140" cy="405190"/>
              </a:xfrm>
              <a:prstGeom prst="ellipse">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60" name="Donut 59"/>
              <p:cNvSpPr/>
              <p:nvPr/>
            </p:nvSpPr>
            <p:spPr>
              <a:xfrm>
                <a:off x="2161201" y="4414950"/>
                <a:ext cx="1728192" cy="405190"/>
              </a:xfrm>
              <a:prstGeom prst="donut">
                <a:avLst>
                  <a:gd name="adj" fmla="val 10860"/>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sp>
          <p:nvSpPr>
            <p:cNvPr id="58" name="Rectangle 57"/>
            <p:cNvSpPr/>
            <p:nvPr/>
          </p:nvSpPr>
          <p:spPr>
            <a:xfrm>
              <a:off x="2091682" y="4206710"/>
              <a:ext cx="1058096" cy="854936"/>
            </a:xfrm>
            <a:prstGeom prst="rect">
              <a:avLst/>
            </a:prstGeom>
          </p:spPr>
          <p:txBody>
            <a:bodyPr wrap="square" lIns="0" tIns="0" rIns="0" bIns="0">
              <a:spAutoFit/>
            </a:bodyPr>
            <a:lstStyle/>
            <a:p>
              <a:pPr algn="ctr" defTabSz="685800">
                <a:spcAft>
                  <a:spcPts val="450"/>
                </a:spcAft>
                <a:buClrTx/>
              </a:pPr>
              <a:r>
                <a:rPr lang="en-US" sz="750" b="1" kern="1200" dirty="0">
                  <a:solidFill>
                    <a:srgbClr val="575757"/>
                  </a:solidFill>
                  <a:ea typeface="+mn-ea"/>
                  <a:cs typeface="+mn-cs"/>
                </a:rPr>
                <a:t>LOREM IPSUM DOLOR </a:t>
              </a:r>
            </a:p>
            <a:p>
              <a:pPr algn="ctr" defTabSz="685800">
                <a:spcAft>
                  <a:spcPts val="450"/>
                </a:spcAft>
                <a:buClrTx/>
              </a:pPr>
              <a:r>
                <a:rPr lang="en-US" sz="750" kern="1200" dirty="0">
                  <a:solidFill>
                    <a:srgbClr val="575757"/>
                  </a:solidFill>
                  <a:ea typeface="+mn-ea"/>
                  <a:cs typeface="+mn-cs"/>
                </a:rPr>
                <a:t>This is dummy text it is not here to be read. </a:t>
              </a:r>
            </a:p>
          </p:txBody>
        </p:sp>
      </p:grpSp>
      <p:sp>
        <p:nvSpPr>
          <p:cNvPr id="61" name="Flowchart: Process 60"/>
          <p:cNvSpPr/>
          <p:nvPr/>
        </p:nvSpPr>
        <p:spPr>
          <a:xfrm>
            <a:off x="4657725" y="2074546"/>
            <a:ext cx="130302" cy="2654726"/>
          </a:xfrm>
          <a:prstGeom prst="flowChartProcess">
            <a:avLst/>
          </a:pr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62" name="Flowchart: Process 61"/>
          <p:cNvSpPr/>
          <p:nvPr/>
        </p:nvSpPr>
        <p:spPr>
          <a:xfrm>
            <a:off x="5028086" y="2697589"/>
            <a:ext cx="132541" cy="2031683"/>
          </a:xfrm>
          <a:prstGeom prst="flowChartProcess">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63" name="Flowchart: Process 62"/>
          <p:cNvSpPr/>
          <p:nvPr/>
        </p:nvSpPr>
        <p:spPr>
          <a:xfrm>
            <a:off x="4273677" y="2697589"/>
            <a:ext cx="132541" cy="2031683"/>
          </a:xfrm>
          <a:prstGeom prst="flowChartProcess">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64" name="Flowchart: Process 63"/>
          <p:cNvSpPr/>
          <p:nvPr/>
        </p:nvSpPr>
        <p:spPr>
          <a:xfrm>
            <a:off x="3831155" y="4065817"/>
            <a:ext cx="132541" cy="663455"/>
          </a:xfrm>
          <a:prstGeom prst="flowChartProcess">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
        <p:nvSpPr>
          <p:cNvPr id="65" name="Flowchart: Process 64"/>
          <p:cNvSpPr/>
          <p:nvPr/>
        </p:nvSpPr>
        <p:spPr>
          <a:xfrm>
            <a:off x="5566145" y="4065817"/>
            <a:ext cx="132541" cy="663455"/>
          </a:xfrm>
          <a:prstGeom prst="flowChartProcess">
            <a:avLst/>
          </a:pr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spTree>
    <p:extLst>
      <p:ext uri="{BB962C8B-B14F-4D97-AF65-F5344CB8AC3E}">
        <p14:creationId xmlns:p14="http://schemas.microsoft.com/office/powerpoint/2010/main" val="335046039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8801" name="Title 1"/>
          <p:cNvSpPr>
            <a:spLocks noGrp="1"/>
          </p:cNvSpPr>
          <p:nvPr>
            <p:ph type="title"/>
          </p:nvPr>
        </p:nvSpPr>
        <p:spPr/>
        <p:txBody>
          <a:bodyPr/>
          <a:lstStyle/>
          <a:p>
            <a:pPr>
              <a:lnSpc>
                <a:spcPct val="100000"/>
              </a:lnSpc>
            </a:pPr>
            <a:r>
              <a:rPr lang="en-US" altLang="ja-JP" dirty="0">
                <a:solidFill>
                  <a:srgbClr val="81BC00"/>
                </a:solidFill>
              </a:rPr>
              <a:t>Text boxes  </a:t>
            </a:r>
            <a:br>
              <a:rPr lang="en-US" altLang="ja-JP" dirty="0">
                <a:solidFill>
                  <a:srgbClr val="81BC00"/>
                </a:solidFill>
              </a:rPr>
            </a:br>
            <a:r>
              <a:rPr lang="en-US" altLang="ja-JP" dirty="0">
                <a:solidFill>
                  <a:srgbClr val="575757"/>
                </a:solidFill>
              </a:rPr>
              <a:t>Vertical chevrons with text</a:t>
            </a:r>
            <a:endParaRPr lang="en-US" dirty="0">
              <a:solidFill>
                <a:srgbClr val="575757"/>
              </a:solidFill>
            </a:endParaRPr>
          </a:p>
        </p:txBody>
      </p:sp>
      <p:sp>
        <p:nvSpPr>
          <p:cNvPr id="4" name="AutoShape 3"/>
          <p:cNvSpPr>
            <a:spLocks noChangeArrowheads="1"/>
          </p:cNvSpPr>
          <p:nvPr/>
        </p:nvSpPr>
        <p:spPr bwMode="auto">
          <a:xfrm rot="5400000">
            <a:off x="6119636" y="681214"/>
            <a:ext cx="1057275" cy="1866548"/>
          </a:xfrm>
          <a:prstGeom prst="chevron">
            <a:avLst>
              <a:gd name="adj" fmla="val 25000"/>
            </a:avLst>
          </a:prstGeom>
          <a:solidFill>
            <a:srgbClr val="00A1DE"/>
          </a:solidFill>
          <a:ln w="6350" algn="ctr">
            <a:noFill/>
            <a:miter lim="800000"/>
            <a:headEnd/>
            <a:tailEnd/>
          </a:ln>
        </p:spPr>
        <p:txBody>
          <a:bodyPr rot="10800000" vert="eaVert" lIns="27000" tIns="27000" rIns="27000" bIns="27000" anchor="ctr"/>
          <a:lstStyle/>
          <a:p>
            <a:pPr algn="ctr" defTabSz="685800">
              <a:buClrTx/>
              <a:defRPr/>
            </a:pPr>
            <a:r>
              <a:rPr lang="en-US" sz="1500" kern="1200">
                <a:solidFill>
                  <a:prstClr val="white"/>
                </a:solidFill>
                <a:ea typeface="ＭＳ Ｐゴシック" pitchFamily="50" charset="-128"/>
                <a:cs typeface="+mn-cs"/>
              </a:rPr>
              <a:t>Text</a:t>
            </a:r>
            <a:endParaRPr lang="en-US" sz="1500" kern="1200" dirty="0">
              <a:solidFill>
                <a:prstClr val="white"/>
              </a:solidFill>
              <a:ea typeface="ＭＳ Ｐゴシック" pitchFamily="50" charset="-128"/>
              <a:cs typeface="+mn-cs"/>
            </a:endParaRPr>
          </a:p>
        </p:txBody>
      </p:sp>
      <p:sp>
        <p:nvSpPr>
          <p:cNvPr id="5" name="AutoShape 4"/>
          <p:cNvSpPr>
            <a:spLocks noChangeArrowheads="1"/>
          </p:cNvSpPr>
          <p:nvPr/>
        </p:nvSpPr>
        <p:spPr bwMode="auto">
          <a:xfrm rot="5400000">
            <a:off x="6119636" y="1519414"/>
            <a:ext cx="1057275" cy="1866548"/>
          </a:xfrm>
          <a:prstGeom prst="chevron">
            <a:avLst>
              <a:gd name="adj" fmla="val 25000"/>
            </a:avLst>
          </a:prstGeom>
          <a:solidFill>
            <a:srgbClr val="00A1DE"/>
          </a:solidFill>
          <a:ln w="6350" algn="ctr">
            <a:noFill/>
            <a:miter lim="800000"/>
            <a:headEnd/>
            <a:tailEnd/>
          </a:ln>
        </p:spPr>
        <p:txBody>
          <a:bodyPr rot="10800000" vert="eaVert" lIns="27000" tIns="27000" rIns="27000" bIns="27000" anchor="ctr"/>
          <a:lstStyle/>
          <a:p>
            <a:pPr algn="ctr" defTabSz="685800">
              <a:buClrTx/>
              <a:defRPr/>
            </a:pPr>
            <a:r>
              <a:rPr lang="en-US" sz="1500" kern="1200">
                <a:solidFill>
                  <a:prstClr val="white"/>
                </a:solidFill>
                <a:ea typeface="ＭＳ Ｐゴシック" pitchFamily="50" charset="-128"/>
                <a:cs typeface="+mn-cs"/>
              </a:rPr>
              <a:t>Text</a:t>
            </a:r>
            <a:endParaRPr lang="en-US" sz="1500" kern="1200" dirty="0">
              <a:solidFill>
                <a:prstClr val="white"/>
              </a:solidFill>
              <a:ea typeface="ＭＳ Ｐゴシック" pitchFamily="50" charset="-128"/>
              <a:cs typeface="+mn-cs"/>
            </a:endParaRPr>
          </a:p>
        </p:txBody>
      </p:sp>
      <p:sp>
        <p:nvSpPr>
          <p:cNvPr id="6" name="AutoShape 5"/>
          <p:cNvSpPr>
            <a:spLocks noChangeArrowheads="1"/>
          </p:cNvSpPr>
          <p:nvPr/>
        </p:nvSpPr>
        <p:spPr bwMode="auto">
          <a:xfrm rot="5400000">
            <a:off x="6119636" y="2357614"/>
            <a:ext cx="1057275" cy="1866548"/>
          </a:xfrm>
          <a:prstGeom prst="chevron">
            <a:avLst>
              <a:gd name="adj" fmla="val 25000"/>
            </a:avLst>
          </a:prstGeom>
          <a:solidFill>
            <a:srgbClr val="00A1DE"/>
          </a:solidFill>
          <a:ln w="6350" algn="ctr">
            <a:noFill/>
            <a:miter lim="800000"/>
            <a:headEnd/>
            <a:tailEnd/>
          </a:ln>
        </p:spPr>
        <p:txBody>
          <a:bodyPr rot="10800000" vert="eaVert" lIns="27000" tIns="27000" rIns="27000" bIns="27000" anchor="ctr"/>
          <a:lstStyle/>
          <a:p>
            <a:pPr algn="ctr" defTabSz="685800">
              <a:buClrTx/>
              <a:defRPr/>
            </a:pPr>
            <a:r>
              <a:rPr lang="en-US" sz="1500" kern="1200">
                <a:solidFill>
                  <a:prstClr val="white"/>
                </a:solidFill>
                <a:ea typeface="ＭＳ Ｐゴシック" pitchFamily="50" charset="-128"/>
                <a:cs typeface="+mn-cs"/>
              </a:rPr>
              <a:t>Text</a:t>
            </a:r>
            <a:endParaRPr lang="en-US" sz="1500" kern="1200" dirty="0">
              <a:solidFill>
                <a:prstClr val="white"/>
              </a:solidFill>
              <a:ea typeface="ＭＳ Ｐゴシック" pitchFamily="50" charset="-128"/>
              <a:cs typeface="+mn-cs"/>
            </a:endParaRPr>
          </a:p>
        </p:txBody>
      </p:sp>
      <p:sp>
        <p:nvSpPr>
          <p:cNvPr id="7" name="AutoShape 6"/>
          <p:cNvSpPr>
            <a:spLocks noChangeArrowheads="1"/>
          </p:cNvSpPr>
          <p:nvPr/>
        </p:nvSpPr>
        <p:spPr bwMode="auto">
          <a:xfrm rot="5400000">
            <a:off x="6119636" y="3195814"/>
            <a:ext cx="1057275" cy="1866548"/>
          </a:xfrm>
          <a:prstGeom prst="chevron">
            <a:avLst>
              <a:gd name="adj" fmla="val 25000"/>
            </a:avLst>
          </a:prstGeom>
          <a:solidFill>
            <a:srgbClr val="00A1DE"/>
          </a:solidFill>
          <a:ln w="6350" algn="ctr">
            <a:noFill/>
            <a:miter lim="800000"/>
            <a:headEnd/>
            <a:tailEnd/>
          </a:ln>
        </p:spPr>
        <p:txBody>
          <a:bodyPr rot="10800000" vert="eaVert" lIns="27000" tIns="27000" rIns="27000" bIns="27000" anchor="ctr"/>
          <a:lstStyle/>
          <a:p>
            <a:pPr algn="ctr" defTabSz="685800">
              <a:buClrTx/>
              <a:defRPr/>
            </a:pPr>
            <a:r>
              <a:rPr lang="en-US" sz="1500" kern="1200">
                <a:solidFill>
                  <a:prstClr val="white"/>
                </a:solidFill>
                <a:ea typeface="ＭＳ Ｐゴシック" pitchFamily="50" charset="-128"/>
                <a:cs typeface="+mn-cs"/>
              </a:rPr>
              <a:t>Text</a:t>
            </a:r>
            <a:endParaRPr lang="en-US" sz="1500" kern="1200" dirty="0">
              <a:solidFill>
                <a:prstClr val="white"/>
              </a:solidFill>
              <a:ea typeface="ＭＳ Ｐゴシック" pitchFamily="50" charset="-128"/>
              <a:cs typeface="+mn-cs"/>
            </a:endParaRPr>
          </a:p>
        </p:txBody>
      </p:sp>
      <p:sp>
        <p:nvSpPr>
          <p:cNvPr id="15" name="Text Placeholder 5"/>
          <p:cNvSpPr txBox="1">
            <a:spLocks/>
          </p:cNvSpPr>
          <p:nvPr/>
        </p:nvSpPr>
        <p:spPr>
          <a:xfrm>
            <a:off x="1371600" y="1169878"/>
            <a:ext cx="4229100" cy="741895"/>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1350" dirty="0">
                <a:solidFill>
                  <a:srgbClr val="313131"/>
                </a:solidFill>
                <a:latin typeface="Arial"/>
              </a:rPr>
              <a:t>This is bullet dummy text it is not here to be read</a:t>
            </a:r>
          </a:p>
          <a:p>
            <a:pPr marL="404622" lvl="2" indent="-135000" defTabSz="717947">
              <a:spcBef>
                <a:spcPts val="450"/>
              </a:spcBef>
              <a:spcAft>
                <a:spcPts val="450"/>
              </a:spcAft>
              <a:buClrTx/>
            </a:pPr>
            <a:r>
              <a:rPr lang="en-GB" sz="1350" dirty="0">
                <a:solidFill>
                  <a:srgbClr val="313131"/>
                </a:solidFill>
                <a:latin typeface="Arial"/>
              </a:rPr>
              <a:t>This is second level dummy text it is not here to be read</a:t>
            </a:r>
            <a:endParaRPr lang="en-US" sz="1350" dirty="0">
              <a:solidFill>
                <a:srgbClr val="313131"/>
              </a:solidFill>
              <a:latin typeface="Arial"/>
            </a:endParaRPr>
          </a:p>
        </p:txBody>
      </p:sp>
      <p:sp>
        <p:nvSpPr>
          <p:cNvPr id="13" name="Text Placeholder 5"/>
          <p:cNvSpPr txBox="1">
            <a:spLocks/>
          </p:cNvSpPr>
          <p:nvPr/>
        </p:nvSpPr>
        <p:spPr>
          <a:xfrm>
            <a:off x="1371600" y="2058758"/>
            <a:ext cx="4229100" cy="741895"/>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1350" dirty="0">
                <a:solidFill>
                  <a:srgbClr val="313131"/>
                </a:solidFill>
                <a:latin typeface="Arial"/>
              </a:rPr>
              <a:t>This is bullet dummy text it is not here to be read</a:t>
            </a:r>
          </a:p>
          <a:p>
            <a:pPr marL="404622" lvl="2" indent="-135000" defTabSz="717947">
              <a:spcBef>
                <a:spcPts val="450"/>
              </a:spcBef>
              <a:spcAft>
                <a:spcPts val="450"/>
              </a:spcAft>
              <a:buClrTx/>
            </a:pPr>
            <a:r>
              <a:rPr lang="en-GB" sz="1350" dirty="0">
                <a:solidFill>
                  <a:srgbClr val="313131"/>
                </a:solidFill>
                <a:latin typeface="Arial"/>
              </a:rPr>
              <a:t>This is second level dummy text it is not here to be read</a:t>
            </a:r>
            <a:endParaRPr lang="en-US" sz="1350" dirty="0">
              <a:solidFill>
                <a:srgbClr val="313131"/>
              </a:solidFill>
              <a:latin typeface="Arial"/>
            </a:endParaRPr>
          </a:p>
        </p:txBody>
      </p:sp>
      <p:sp>
        <p:nvSpPr>
          <p:cNvPr id="14" name="Text Placeholder 5"/>
          <p:cNvSpPr txBox="1">
            <a:spLocks/>
          </p:cNvSpPr>
          <p:nvPr/>
        </p:nvSpPr>
        <p:spPr>
          <a:xfrm>
            <a:off x="1371600" y="2947638"/>
            <a:ext cx="4229100" cy="741895"/>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1350" dirty="0">
                <a:solidFill>
                  <a:srgbClr val="313131"/>
                </a:solidFill>
                <a:latin typeface="Arial"/>
              </a:rPr>
              <a:t>This is bullet dummy text it is not here to be read</a:t>
            </a:r>
          </a:p>
          <a:p>
            <a:pPr marL="404622" lvl="2" indent="-135000" defTabSz="717947">
              <a:spcBef>
                <a:spcPts val="450"/>
              </a:spcBef>
              <a:spcAft>
                <a:spcPts val="450"/>
              </a:spcAft>
              <a:buClrTx/>
            </a:pPr>
            <a:r>
              <a:rPr lang="en-GB" sz="1350" dirty="0">
                <a:solidFill>
                  <a:srgbClr val="313131"/>
                </a:solidFill>
                <a:latin typeface="Arial"/>
              </a:rPr>
              <a:t>This is second level dummy text it is not here to be read</a:t>
            </a:r>
            <a:endParaRPr lang="en-US" sz="1350" dirty="0">
              <a:solidFill>
                <a:srgbClr val="313131"/>
              </a:solidFill>
              <a:latin typeface="Arial"/>
            </a:endParaRPr>
          </a:p>
        </p:txBody>
      </p:sp>
      <p:sp>
        <p:nvSpPr>
          <p:cNvPr id="19" name="Text Placeholder 5"/>
          <p:cNvSpPr txBox="1">
            <a:spLocks/>
          </p:cNvSpPr>
          <p:nvPr/>
        </p:nvSpPr>
        <p:spPr>
          <a:xfrm>
            <a:off x="1371600" y="3836517"/>
            <a:ext cx="4229100" cy="741895"/>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1350" dirty="0">
                <a:solidFill>
                  <a:srgbClr val="313131"/>
                </a:solidFill>
                <a:latin typeface="Arial"/>
              </a:rPr>
              <a:t>This is bullet dummy text it is not here to be read</a:t>
            </a:r>
          </a:p>
          <a:p>
            <a:pPr marL="404622" lvl="2" indent="-135000" defTabSz="717947">
              <a:spcBef>
                <a:spcPts val="450"/>
              </a:spcBef>
              <a:spcAft>
                <a:spcPts val="450"/>
              </a:spcAft>
              <a:buClrTx/>
            </a:pPr>
            <a:r>
              <a:rPr lang="en-GB" sz="1350" dirty="0">
                <a:solidFill>
                  <a:srgbClr val="313131"/>
                </a:solidFill>
                <a:latin typeface="Arial"/>
              </a:rPr>
              <a:t>This is second level dummy text it is not here to be read</a:t>
            </a:r>
            <a:endParaRPr lang="en-US" sz="1350" dirty="0">
              <a:solidFill>
                <a:srgbClr val="313131"/>
              </a:solidFill>
              <a:latin typeface="Arial"/>
            </a:endParaRPr>
          </a:p>
        </p:txBody>
      </p:sp>
    </p:spTree>
  </p:cSld>
  <p:clrMapOvr>
    <a:masterClrMapping/>
  </p:clrMapOvr>
  <p:transition>
    <p:fade/>
  </p:transition>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Process circle</a:t>
            </a:r>
            <a:br>
              <a:rPr lang="en-US" altLang="ja-JP" dirty="0"/>
            </a:br>
            <a:br>
              <a:rPr lang="en-US" altLang="ja-JP" dirty="0"/>
            </a:b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49" name="Group 248"/>
          <p:cNvGrpSpPr/>
          <p:nvPr/>
        </p:nvGrpSpPr>
        <p:grpSpPr>
          <a:xfrm>
            <a:off x="2607469" y="1207586"/>
            <a:ext cx="3990975" cy="3131951"/>
            <a:chOff x="2085975" y="1610115"/>
            <a:chExt cx="5321300" cy="4175934"/>
          </a:xfrm>
        </p:grpSpPr>
        <p:sp>
          <p:nvSpPr>
            <p:cNvPr id="250" name="Freeform 249"/>
            <p:cNvSpPr/>
            <p:nvPr/>
          </p:nvSpPr>
          <p:spPr>
            <a:xfrm>
              <a:off x="4879975" y="1610115"/>
              <a:ext cx="1673225" cy="288147"/>
            </a:xfrm>
            <a:custGeom>
              <a:avLst/>
              <a:gdLst>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225" h="1412875">
                  <a:moveTo>
                    <a:pt x="0" y="0"/>
                  </a:moveTo>
                  <a:cubicBezTo>
                    <a:pt x="541867" y="21167"/>
                    <a:pt x="1185333" y="232833"/>
                    <a:pt x="1673225" y="701675"/>
                  </a:cubicBezTo>
                  <a:lnTo>
                    <a:pt x="958850" y="1412875"/>
                  </a:lnTo>
                  <a:cubicBezTo>
                    <a:pt x="701675" y="1212320"/>
                    <a:pt x="539750" y="1074473"/>
                    <a:pt x="6350" y="1016000"/>
                  </a:cubicBezTo>
                  <a:cubicBezTo>
                    <a:pt x="5292" y="677333"/>
                    <a:pt x="4233" y="338667"/>
                    <a:pt x="0" y="0"/>
                  </a:cubicBezTo>
                  <a:close/>
                </a:path>
              </a:pathLst>
            </a:cu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251" name="Freeform 250"/>
            <p:cNvSpPr/>
            <p:nvPr/>
          </p:nvSpPr>
          <p:spPr>
            <a:xfrm>
              <a:off x="6016558" y="2605477"/>
              <a:ext cx="1387543" cy="288147"/>
            </a:xfrm>
            <a:custGeom>
              <a:avLst/>
              <a:gdLst>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541"/>
                <a:gd name="connsiteY0" fmla="*/ 0 h 1638300"/>
                <a:gd name="connsiteX1" fmla="*/ 0 w 1387541"/>
                <a:gd name="connsiteY1" fmla="*/ 711200 h 1638300"/>
                <a:gd name="connsiteX2" fmla="*/ 374650 w 1387541"/>
                <a:gd name="connsiteY2" fmla="*/ 1638300 h 1638300"/>
                <a:gd name="connsiteX3" fmla="*/ 1387475 w 1387541"/>
                <a:gd name="connsiteY3" fmla="*/ 1635125 h 1638300"/>
                <a:gd name="connsiteX4" fmla="*/ 720725 w 1387541"/>
                <a:gd name="connsiteY4" fmla="*/ 0 h 1638300"/>
                <a:gd name="connsiteX0" fmla="*/ 720725 w 1387573"/>
                <a:gd name="connsiteY0" fmla="*/ 0 h 1638300"/>
                <a:gd name="connsiteX1" fmla="*/ 0 w 1387573"/>
                <a:gd name="connsiteY1" fmla="*/ 711200 h 1638300"/>
                <a:gd name="connsiteX2" fmla="*/ 374650 w 1387573"/>
                <a:gd name="connsiteY2" fmla="*/ 1638300 h 1638300"/>
                <a:gd name="connsiteX3" fmla="*/ 1387475 w 1387573"/>
                <a:gd name="connsiteY3" fmla="*/ 1635125 h 1638300"/>
                <a:gd name="connsiteX4" fmla="*/ 720725 w 1387573"/>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57397 w 1424147"/>
                <a:gd name="connsiteY0" fmla="*/ 0 h 1638300"/>
                <a:gd name="connsiteX1" fmla="*/ 36672 w 1424147"/>
                <a:gd name="connsiteY1" fmla="*/ 711200 h 1638300"/>
                <a:gd name="connsiteX2" fmla="*/ 411322 w 1424147"/>
                <a:gd name="connsiteY2" fmla="*/ 1638300 h 1638300"/>
                <a:gd name="connsiteX3" fmla="*/ 1424147 w 1424147"/>
                <a:gd name="connsiteY3" fmla="*/ 1635125 h 1638300"/>
                <a:gd name="connsiteX4" fmla="*/ 757397 w 1424147"/>
                <a:gd name="connsiteY4" fmla="*/ 0 h 1638300"/>
                <a:gd name="connsiteX0" fmla="*/ 720813 w 1387563"/>
                <a:gd name="connsiteY0" fmla="*/ 0 h 1638300"/>
                <a:gd name="connsiteX1" fmla="*/ 88 w 1387563"/>
                <a:gd name="connsiteY1" fmla="*/ 711200 h 1638300"/>
                <a:gd name="connsiteX2" fmla="*/ 374738 w 1387563"/>
                <a:gd name="connsiteY2" fmla="*/ 1638300 h 1638300"/>
                <a:gd name="connsiteX3" fmla="*/ 1387563 w 1387563"/>
                <a:gd name="connsiteY3" fmla="*/ 1635125 h 1638300"/>
                <a:gd name="connsiteX4" fmla="*/ 720813 w 138756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543" h="1638300">
                  <a:moveTo>
                    <a:pt x="720793" y="0"/>
                  </a:moveTo>
                  <a:cubicBezTo>
                    <a:pt x="480551" y="237067"/>
                    <a:pt x="-6563" y="702913"/>
                    <a:pt x="68" y="711200"/>
                  </a:cubicBezTo>
                  <a:cubicBezTo>
                    <a:pt x="241983" y="1013529"/>
                    <a:pt x="345085" y="1300692"/>
                    <a:pt x="374718" y="1638300"/>
                  </a:cubicBezTo>
                  <a:lnTo>
                    <a:pt x="1387543" y="1635125"/>
                  </a:lnTo>
                  <a:cubicBezTo>
                    <a:pt x="1374843" y="1039283"/>
                    <a:pt x="1092268" y="418042"/>
                    <a:pt x="720793" y="0"/>
                  </a:cubicBezTo>
                  <a:close/>
                </a:path>
              </a:pathLst>
            </a:cu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252" name="Freeform 251"/>
            <p:cNvSpPr/>
            <p:nvPr/>
          </p:nvSpPr>
          <p:spPr>
            <a:xfrm>
              <a:off x="6010275" y="4502540"/>
              <a:ext cx="1397000" cy="288147"/>
            </a:xfrm>
            <a:custGeom>
              <a:avLst/>
              <a:gdLst>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47825">
                  <a:moveTo>
                    <a:pt x="384175" y="0"/>
                  </a:moveTo>
                  <a:lnTo>
                    <a:pt x="1397000" y="3175"/>
                  </a:lnTo>
                  <a:cubicBezTo>
                    <a:pt x="1361017" y="748242"/>
                    <a:pt x="1074208" y="1223433"/>
                    <a:pt x="717550" y="1647825"/>
                  </a:cubicBezTo>
                  <a:lnTo>
                    <a:pt x="0" y="933450"/>
                  </a:lnTo>
                  <a:cubicBezTo>
                    <a:pt x="178858" y="688975"/>
                    <a:pt x="345017" y="434975"/>
                    <a:pt x="384175" y="0"/>
                  </a:cubicBezTo>
                  <a:close/>
                </a:path>
              </a:pathLst>
            </a:cu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253" name="Freeform 252"/>
            <p:cNvSpPr/>
            <p:nvPr/>
          </p:nvSpPr>
          <p:spPr>
            <a:xfrm>
              <a:off x="4886324" y="5497902"/>
              <a:ext cx="1657389" cy="288147"/>
            </a:xfrm>
            <a:custGeom>
              <a:avLst/>
              <a:gdLst>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704869"/>
                <a:gd name="connsiteY0" fmla="*/ 0 h 1409700"/>
                <a:gd name="connsiteX1" fmla="*/ 1657350 w 1704869"/>
                <a:gd name="connsiteY1" fmla="*/ 720725 h 1409700"/>
                <a:gd name="connsiteX2" fmla="*/ 0 w 1704869"/>
                <a:gd name="connsiteY2" fmla="*/ 1409700 h 1409700"/>
                <a:gd name="connsiteX3" fmla="*/ 0 w 1704869"/>
                <a:gd name="connsiteY3" fmla="*/ 400050 h 1409700"/>
                <a:gd name="connsiteX4" fmla="*/ 939800 w 1704869"/>
                <a:gd name="connsiteY4" fmla="*/ 0 h 1409700"/>
                <a:gd name="connsiteX0" fmla="*/ 939800 w 1657394"/>
                <a:gd name="connsiteY0" fmla="*/ 0 h 1409700"/>
                <a:gd name="connsiteX1" fmla="*/ 1657350 w 1657394"/>
                <a:gd name="connsiteY1" fmla="*/ 720725 h 1409700"/>
                <a:gd name="connsiteX2" fmla="*/ 0 w 1657394"/>
                <a:gd name="connsiteY2" fmla="*/ 1409700 h 1409700"/>
                <a:gd name="connsiteX3" fmla="*/ 0 w 1657394"/>
                <a:gd name="connsiteY3" fmla="*/ 400050 h 1409700"/>
                <a:gd name="connsiteX4" fmla="*/ 939800 w 1657394"/>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89" h="1409700">
                  <a:moveTo>
                    <a:pt x="939800" y="0"/>
                  </a:moveTo>
                  <a:cubicBezTo>
                    <a:pt x="1178983" y="240242"/>
                    <a:pt x="1662405" y="716205"/>
                    <a:pt x="1657350" y="720725"/>
                  </a:cubicBezTo>
                  <a:cubicBezTo>
                    <a:pt x="1073406" y="1242818"/>
                    <a:pt x="555625" y="1361017"/>
                    <a:pt x="0" y="1409700"/>
                  </a:cubicBezTo>
                  <a:lnTo>
                    <a:pt x="0" y="400050"/>
                  </a:lnTo>
                  <a:cubicBezTo>
                    <a:pt x="332317" y="342900"/>
                    <a:pt x="626533" y="279400"/>
                    <a:pt x="939800" y="0"/>
                  </a:cubicBezTo>
                  <a:close/>
                </a:path>
              </a:pathLst>
            </a:cu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254" name="Freeform 253"/>
            <p:cNvSpPr/>
            <p:nvPr/>
          </p:nvSpPr>
          <p:spPr>
            <a:xfrm flipH="1">
              <a:off x="2940050" y="1610115"/>
              <a:ext cx="1673225" cy="288147"/>
            </a:xfrm>
            <a:custGeom>
              <a:avLst/>
              <a:gdLst>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225" h="1412875">
                  <a:moveTo>
                    <a:pt x="0" y="0"/>
                  </a:moveTo>
                  <a:cubicBezTo>
                    <a:pt x="541867" y="21167"/>
                    <a:pt x="1185333" y="232833"/>
                    <a:pt x="1673225" y="701675"/>
                  </a:cubicBezTo>
                  <a:lnTo>
                    <a:pt x="958850" y="1412875"/>
                  </a:lnTo>
                  <a:cubicBezTo>
                    <a:pt x="701675" y="1212320"/>
                    <a:pt x="539750" y="1074473"/>
                    <a:pt x="6350" y="1016000"/>
                  </a:cubicBezTo>
                  <a:cubicBezTo>
                    <a:pt x="5292" y="677333"/>
                    <a:pt x="4233" y="338667"/>
                    <a:pt x="0" y="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255" name="Freeform 254"/>
            <p:cNvSpPr/>
            <p:nvPr/>
          </p:nvSpPr>
          <p:spPr>
            <a:xfrm flipH="1">
              <a:off x="2089150" y="2605478"/>
              <a:ext cx="1387543" cy="288147"/>
            </a:xfrm>
            <a:custGeom>
              <a:avLst/>
              <a:gdLst>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541"/>
                <a:gd name="connsiteY0" fmla="*/ 0 h 1638300"/>
                <a:gd name="connsiteX1" fmla="*/ 0 w 1387541"/>
                <a:gd name="connsiteY1" fmla="*/ 711200 h 1638300"/>
                <a:gd name="connsiteX2" fmla="*/ 374650 w 1387541"/>
                <a:gd name="connsiteY2" fmla="*/ 1638300 h 1638300"/>
                <a:gd name="connsiteX3" fmla="*/ 1387475 w 1387541"/>
                <a:gd name="connsiteY3" fmla="*/ 1635125 h 1638300"/>
                <a:gd name="connsiteX4" fmla="*/ 720725 w 1387541"/>
                <a:gd name="connsiteY4" fmla="*/ 0 h 1638300"/>
                <a:gd name="connsiteX0" fmla="*/ 720725 w 1387573"/>
                <a:gd name="connsiteY0" fmla="*/ 0 h 1638300"/>
                <a:gd name="connsiteX1" fmla="*/ 0 w 1387573"/>
                <a:gd name="connsiteY1" fmla="*/ 711200 h 1638300"/>
                <a:gd name="connsiteX2" fmla="*/ 374650 w 1387573"/>
                <a:gd name="connsiteY2" fmla="*/ 1638300 h 1638300"/>
                <a:gd name="connsiteX3" fmla="*/ 1387475 w 1387573"/>
                <a:gd name="connsiteY3" fmla="*/ 1635125 h 1638300"/>
                <a:gd name="connsiteX4" fmla="*/ 720725 w 1387573"/>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57397 w 1424147"/>
                <a:gd name="connsiteY0" fmla="*/ 0 h 1638300"/>
                <a:gd name="connsiteX1" fmla="*/ 36672 w 1424147"/>
                <a:gd name="connsiteY1" fmla="*/ 711200 h 1638300"/>
                <a:gd name="connsiteX2" fmla="*/ 411322 w 1424147"/>
                <a:gd name="connsiteY2" fmla="*/ 1638300 h 1638300"/>
                <a:gd name="connsiteX3" fmla="*/ 1424147 w 1424147"/>
                <a:gd name="connsiteY3" fmla="*/ 1635125 h 1638300"/>
                <a:gd name="connsiteX4" fmla="*/ 757397 w 1424147"/>
                <a:gd name="connsiteY4" fmla="*/ 0 h 1638300"/>
                <a:gd name="connsiteX0" fmla="*/ 720813 w 1387563"/>
                <a:gd name="connsiteY0" fmla="*/ 0 h 1638300"/>
                <a:gd name="connsiteX1" fmla="*/ 88 w 1387563"/>
                <a:gd name="connsiteY1" fmla="*/ 711200 h 1638300"/>
                <a:gd name="connsiteX2" fmla="*/ 374738 w 1387563"/>
                <a:gd name="connsiteY2" fmla="*/ 1638300 h 1638300"/>
                <a:gd name="connsiteX3" fmla="*/ 1387563 w 1387563"/>
                <a:gd name="connsiteY3" fmla="*/ 1635125 h 1638300"/>
                <a:gd name="connsiteX4" fmla="*/ 720813 w 138756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543" h="1638300">
                  <a:moveTo>
                    <a:pt x="720793" y="0"/>
                  </a:moveTo>
                  <a:cubicBezTo>
                    <a:pt x="480551" y="237067"/>
                    <a:pt x="-6563" y="702913"/>
                    <a:pt x="68" y="711200"/>
                  </a:cubicBezTo>
                  <a:cubicBezTo>
                    <a:pt x="241983" y="1013529"/>
                    <a:pt x="345085" y="1300692"/>
                    <a:pt x="374718" y="1638300"/>
                  </a:cubicBezTo>
                  <a:lnTo>
                    <a:pt x="1387543" y="1635125"/>
                  </a:lnTo>
                  <a:cubicBezTo>
                    <a:pt x="1374843" y="1039283"/>
                    <a:pt x="1092268" y="418042"/>
                    <a:pt x="720793" y="0"/>
                  </a:cubicBez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256" name="Freeform 255"/>
            <p:cNvSpPr/>
            <p:nvPr/>
          </p:nvSpPr>
          <p:spPr>
            <a:xfrm flipH="1">
              <a:off x="2085975" y="4502540"/>
              <a:ext cx="1397000" cy="288147"/>
            </a:xfrm>
            <a:custGeom>
              <a:avLst/>
              <a:gdLst>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47825">
                  <a:moveTo>
                    <a:pt x="384175" y="0"/>
                  </a:moveTo>
                  <a:lnTo>
                    <a:pt x="1397000" y="3175"/>
                  </a:lnTo>
                  <a:cubicBezTo>
                    <a:pt x="1361017" y="748242"/>
                    <a:pt x="1074208" y="1223433"/>
                    <a:pt x="717550" y="1647825"/>
                  </a:cubicBezTo>
                  <a:lnTo>
                    <a:pt x="0" y="933450"/>
                  </a:lnTo>
                  <a:cubicBezTo>
                    <a:pt x="178858" y="688975"/>
                    <a:pt x="345017" y="434975"/>
                    <a:pt x="384175" y="0"/>
                  </a:cubicBezTo>
                  <a:close/>
                </a:path>
              </a:pathLst>
            </a:custGeom>
            <a:solidFill>
              <a:schemeClr val="bg2">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257" name="Freeform 256"/>
            <p:cNvSpPr/>
            <p:nvPr/>
          </p:nvSpPr>
          <p:spPr>
            <a:xfrm flipH="1">
              <a:off x="2949538" y="5497902"/>
              <a:ext cx="1657389" cy="288147"/>
            </a:xfrm>
            <a:custGeom>
              <a:avLst/>
              <a:gdLst>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704869"/>
                <a:gd name="connsiteY0" fmla="*/ 0 h 1409700"/>
                <a:gd name="connsiteX1" fmla="*/ 1657350 w 1704869"/>
                <a:gd name="connsiteY1" fmla="*/ 720725 h 1409700"/>
                <a:gd name="connsiteX2" fmla="*/ 0 w 1704869"/>
                <a:gd name="connsiteY2" fmla="*/ 1409700 h 1409700"/>
                <a:gd name="connsiteX3" fmla="*/ 0 w 1704869"/>
                <a:gd name="connsiteY3" fmla="*/ 400050 h 1409700"/>
                <a:gd name="connsiteX4" fmla="*/ 939800 w 1704869"/>
                <a:gd name="connsiteY4" fmla="*/ 0 h 1409700"/>
                <a:gd name="connsiteX0" fmla="*/ 939800 w 1657394"/>
                <a:gd name="connsiteY0" fmla="*/ 0 h 1409700"/>
                <a:gd name="connsiteX1" fmla="*/ 1657350 w 1657394"/>
                <a:gd name="connsiteY1" fmla="*/ 720725 h 1409700"/>
                <a:gd name="connsiteX2" fmla="*/ 0 w 1657394"/>
                <a:gd name="connsiteY2" fmla="*/ 1409700 h 1409700"/>
                <a:gd name="connsiteX3" fmla="*/ 0 w 1657394"/>
                <a:gd name="connsiteY3" fmla="*/ 400050 h 1409700"/>
                <a:gd name="connsiteX4" fmla="*/ 939800 w 1657394"/>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89" h="1409700">
                  <a:moveTo>
                    <a:pt x="939800" y="0"/>
                  </a:moveTo>
                  <a:cubicBezTo>
                    <a:pt x="1178983" y="240242"/>
                    <a:pt x="1662405" y="716205"/>
                    <a:pt x="1657350" y="720725"/>
                  </a:cubicBezTo>
                  <a:cubicBezTo>
                    <a:pt x="1073406" y="1242818"/>
                    <a:pt x="555625" y="1361017"/>
                    <a:pt x="0" y="1409700"/>
                  </a:cubicBezTo>
                  <a:lnTo>
                    <a:pt x="0" y="400050"/>
                  </a:lnTo>
                  <a:cubicBezTo>
                    <a:pt x="332317" y="342900"/>
                    <a:pt x="626533" y="279400"/>
                    <a:pt x="939800" y="0"/>
                  </a:cubicBezTo>
                  <a:close/>
                </a:path>
              </a:pathLst>
            </a:custGeom>
            <a:solidFill>
              <a:srgbClr val="BDD20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258" name="Isosceles Triangle 257"/>
            <p:cNvSpPr/>
            <p:nvPr/>
          </p:nvSpPr>
          <p:spPr>
            <a:xfrm rot="12077977">
              <a:off x="5178424" y="2023012"/>
              <a:ext cx="333748" cy="572392"/>
            </a:xfrm>
            <a:prstGeom prst="triangle">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259" name="Isosceles Triangle 258"/>
            <p:cNvSpPr/>
            <p:nvPr/>
          </p:nvSpPr>
          <p:spPr>
            <a:xfrm rot="14801312">
              <a:off x="5978524" y="2823111"/>
              <a:ext cx="333748" cy="572392"/>
            </a:xfrm>
            <a:prstGeom prst="triangle">
              <a:avLst/>
            </a:pr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260" name="Isosceles Triangle 259"/>
            <p:cNvSpPr/>
            <p:nvPr/>
          </p:nvSpPr>
          <p:spPr>
            <a:xfrm rot="17659912">
              <a:off x="5988656" y="3972463"/>
              <a:ext cx="333748" cy="572392"/>
            </a:xfrm>
            <a:prstGeom prst="triangle">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261" name="Isosceles Triangle 260"/>
            <p:cNvSpPr/>
            <p:nvPr/>
          </p:nvSpPr>
          <p:spPr>
            <a:xfrm rot="20258485">
              <a:off x="5158052" y="4805102"/>
              <a:ext cx="333748" cy="572392"/>
            </a:xfrm>
            <a:prstGeom prst="triangle">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262" name="Isosceles Triangle 261"/>
            <p:cNvSpPr/>
            <p:nvPr/>
          </p:nvSpPr>
          <p:spPr>
            <a:xfrm rot="1358864">
              <a:off x="3989350" y="4804602"/>
              <a:ext cx="333748" cy="572392"/>
            </a:xfrm>
            <a:prstGeom prst="triangle">
              <a:avLst/>
            </a:prstGeom>
            <a:solidFill>
              <a:srgbClr val="BDD20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263" name="Isosceles Triangle 262"/>
            <p:cNvSpPr/>
            <p:nvPr/>
          </p:nvSpPr>
          <p:spPr>
            <a:xfrm rot="3981004">
              <a:off x="3176619" y="3970861"/>
              <a:ext cx="333748" cy="572392"/>
            </a:xfrm>
            <a:prstGeom prst="triangle">
              <a:avLst/>
            </a:prstGeom>
            <a:solidFill>
              <a:schemeClr val="bg2">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264" name="Isosceles Triangle 263"/>
            <p:cNvSpPr/>
            <p:nvPr/>
          </p:nvSpPr>
          <p:spPr>
            <a:xfrm rot="6619441">
              <a:off x="3179368" y="2841773"/>
              <a:ext cx="333748" cy="572392"/>
            </a:xfrm>
            <a:prstGeom prst="triangle">
              <a:avLst/>
            </a:pr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265" name="Isosceles Triangle 264"/>
            <p:cNvSpPr/>
            <p:nvPr/>
          </p:nvSpPr>
          <p:spPr>
            <a:xfrm rot="9321448">
              <a:off x="3981330" y="2020819"/>
              <a:ext cx="333748" cy="572392"/>
            </a:xfrm>
            <a:prstGeom prst="triangl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sp>
        <p:nvSpPr>
          <p:cNvPr id="266" name="Rectangle 265"/>
          <p:cNvSpPr/>
          <p:nvPr/>
        </p:nvSpPr>
        <p:spPr>
          <a:xfrm>
            <a:off x="3843889" y="2251624"/>
            <a:ext cx="1519457" cy="918200"/>
          </a:xfrm>
          <a:prstGeom prst="rect">
            <a:avLst/>
          </a:prstGeom>
          <a:noFill/>
        </p:spPr>
        <p:txBody>
          <a:bodyPr wrap="square" lIns="0" tIns="0" rIns="0" bIns="0">
            <a:spAutoFit/>
          </a:bodyPr>
          <a:lstStyle/>
          <a:p>
            <a:pPr algn="ctr" defTabSz="685800">
              <a:spcAft>
                <a:spcPts val="450"/>
              </a:spcAft>
              <a:buClrTx/>
            </a:pPr>
            <a:r>
              <a:rPr lang="en-US" sz="1350" kern="1200" dirty="0">
                <a:solidFill>
                  <a:srgbClr val="313131"/>
                </a:solidFill>
                <a:ea typeface="+mn-ea"/>
                <a:cs typeface="Times New Roman" pitchFamily="18" charset="0"/>
              </a:rPr>
              <a:t>Insert text here</a:t>
            </a:r>
          </a:p>
          <a:p>
            <a:pPr algn="ctr" defTabSz="685800">
              <a:buClrTx/>
            </a:pPr>
            <a:r>
              <a:rPr lang="en-US" sz="1050" kern="1200" dirty="0">
                <a:solidFill>
                  <a:srgbClr val="313131"/>
                </a:solidFill>
                <a:ea typeface="+mn-ea"/>
                <a:cs typeface="+mn-cs"/>
              </a:rPr>
              <a:t>This is dummy text it is not here to be read. This is dummy text it is not here to be read.</a:t>
            </a:r>
          </a:p>
        </p:txBody>
      </p:sp>
      <p:grpSp>
        <p:nvGrpSpPr>
          <p:cNvPr id="267" name="Group 266"/>
          <p:cNvGrpSpPr>
            <a:grpSpLocks noChangeAspect="1"/>
          </p:cNvGrpSpPr>
          <p:nvPr/>
        </p:nvGrpSpPr>
        <p:grpSpPr>
          <a:xfrm>
            <a:off x="2922591" y="1880324"/>
            <a:ext cx="415174" cy="303892"/>
            <a:chOff x="2751968" y="3404186"/>
            <a:chExt cx="365760" cy="267722"/>
          </a:xfrm>
        </p:grpSpPr>
        <p:sp>
          <p:nvSpPr>
            <p:cNvPr id="268" name="Oval 267"/>
            <p:cNvSpPr/>
            <p:nvPr/>
          </p:nvSpPr>
          <p:spPr>
            <a:xfrm>
              <a:off x="2751968" y="3404186"/>
              <a:ext cx="365760" cy="267722"/>
            </a:xfrm>
            <a:prstGeom prst="ellipse">
              <a:avLst/>
            </a:pr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269" name="Freeform 268"/>
            <p:cNvSpPr/>
            <p:nvPr/>
          </p:nvSpPr>
          <p:spPr>
            <a:xfrm rot="19236591">
              <a:off x="2809402" y="3432690"/>
              <a:ext cx="274320" cy="190388"/>
            </a:xfrm>
            <a:custGeom>
              <a:avLst/>
              <a:gdLst>
                <a:gd name="connsiteX0" fmla="*/ 869950 w 1073150"/>
                <a:gd name="connsiteY0" fmla="*/ 523875 h 1187450"/>
                <a:gd name="connsiteX1" fmla="*/ 796925 w 1073150"/>
                <a:gd name="connsiteY1" fmla="*/ 434975 h 1187450"/>
                <a:gd name="connsiteX2" fmla="*/ 749300 w 1073150"/>
                <a:gd name="connsiteY2" fmla="*/ 365125 h 1187450"/>
                <a:gd name="connsiteX3" fmla="*/ 666750 w 1073150"/>
                <a:gd name="connsiteY3" fmla="*/ 257175 h 1187450"/>
                <a:gd name="connsiteX4" fmla="*/ 615950 w 1073150"/>
                <a:gd name="connsiteY4" fmla="*/ 184150 h 1187450"/>
                <a:gd name="connsiteX5" fmla="*/ 504825 w 1073150"/>
                <a:gd name="connsiteY5" fmla="*/ 41275 h 1187450"/>
                <a:gd name="connsiteX6" fmla="*/ 428625 w 1073150"/>
                <a:gd name="connsiteY6" fmla="*/ 0 h 1187450"/>
                <a:gd name="connsiteX7" fmla="*/ 377825 w 1073150"/>
                <a:gd name="connsiteY7" fmla="*/ 3175 h 1187450"/>
                <a:gd name="connsiteX8" fmla="*/ 539750 w 1073150"/>
                <a:gd name="connsiteY8" fmla="*/ 384175 h 1187450"/>
                <a:gd name="connsiteX9" fmla="*/ 482600 w 1073150"/>
                <a:gd name="connsiteY9" fmla="*/ 542925 h 1187450"/>
                <a:gd name="connsiteX10" fmla="*/ 215900 w 1073150"/>
                <a:gd name="connsiteY10" fmla="*/ 552450 h 1187450"/>
                <a:gd name="connsiteX11" fmla="*/ 85725 w 1073150"/>
                <a:gd name="connsiteY11" fmla="*/ 393700 h 1187450"/>
                <a:gd name="connsiteX12" fmla="*/ 0 w 1073150"/>
                <a:gd name="connsiteY12" fmla="*/ 374650 h 1187450"/>
                <a:gd name="connsiteX13" fmla="*/ 53975 w 1073150"/>
                <a:gd name="connsiteY13" fmla="*/ 568325 h 1187450"/>
                <a:gd name="connsiteX14" fmla="*/ 50800 w 1073150"/>
                <a:gd name="connsiteY14" fmla="*/ 619125 h 1187450"/>
                <a:gd name="connsiteX15" fmla="*/ 9525 w 1073150"/>
                <a:gd name="connsiteY15" fmla="*/ 806450 h 1187450"/>
                <a:gd name="connsiteX16" fmla="*/ 88900 w 1073150"/>
                <a:gd name="connsiteY16" fmla="*/ 796925 h 1187450"/>
                <a:gd name="connsiteX17" fmla="*/ 212725 w 1073150"/>
                <a:gd name="connsiteY17" fmla="*/ 615950 h 1187450"/>
                <a:gd name="connsiteX18" fmla="*/ 460375 w 1073150"/>
                <a:gd name="connsiteY18" fmla="*/ 638175 h 1187450"/>
                <a:gd name="connsiteX19" fmla="*/ 536575 w 1073150"/>
                <a:gd name="connsiteY19" fmla="*/ 822325 h 1187450"/>
                <a:gd name="connsiteX20" fmla="*/ 390525 w 1073150"/>
                <a:gd name="connsiteY20" fmla="*/ 1187450 h 1187450"/>
                <a:gd name="connsiteX21" fmla="*/ 536575 w 1073150"/>
                <a:gd name="connsiteY21" fmla="*/ 1111250 h 1187450"/>
                <a:gd name="connsiteX22" fmla="*/ 612775 w 1073150"/>
                <a:gd name="connsiteY22" fmla="*/ 996950 h 1187450"/>
                <a:gd name="connsiteX23" fmla="*/ 663575 w 1073150"/>
                <a:gd name="connsiteY23" fmla="*/ 930275 h 1187450"/>
                <a:gd name="connsiteX24" fmla="*/ 746125 w 1073150"/>
                <a:gd name="connsiteY24" fmla="*/ 815975 h 1187450"/>
                <a:gd name="connsiteX25" fmla="*/ 803275 w 1073150"/>
                <a:gd name="connsiteY25" fmla="*/ 749300 h 1187450"/>
                <a:gd name="connsiteX26" fmla="*/ 869950 w 1073150"/>
                <a:gd name="connsiteY26" fmla="*/ 650875 h 1187450"/>
                <a:gd name="connsiteX27" fmla="*/ 1069975 w 1073150"/>
                <a:gd name="connsiteY27" fmla="*/ 641350 h 1187450"/>
                <a:gd name="connsiteX28" fmla="*/ 1073150 w 1073150"/>
                <a:gd name="connsiteY28" fmla="*/ 542925 h 1187450"/>
                <a:gd name="connsiteX29" fmla="*/ 869950 w 1073150"/>
                <a:gd name="connsiteY29" fmla="*/ 523875 h 1187450"/>
                <a:gd name="connsiteX0" fmla="*/ 869950 w 1174048"/>
                <a:gd name="connsiteY0" fmla="*/ 523875 h 1187450"/>
                <a:gd name="connsiteX1" fmla="*/ 796925 w 1174048"/>
                <a:gd name="connsiteY1" fmla="*/ 434975 h 1187450"/>
                <a:gd name="connsiteX2" fmla="*/ 749300 w 1174048"/>
                <a:gd name="connsiteY2" fmla="*/ 365125 h 1187450"/>
                <a:gd name="connsiteX3" fmla="*/ 666750 w 1174048"/>
                <a:gd name="connsiteY3" fmla="*/ 257175 h 1187450"/>
                <a:gd name="connsiteX4" fmla="*/ 615950 w 1174048"/>
                <a:gd name="connsiteY4" fmla="*/ 184150 h 1187450"/>
                <a:gd name="connsiteX5" fmla="*/ 504825 w 1174048"/>
                <a:gd name="connsiteY5" fmla="*/ 41275 h 1187450"/>
                <a:gd name="connsiteX6" fmla="*/ 428625 w 1174048"/>
                <a:gd name="connsiteY6" fmla="*/ 0 h 1187450"/>
                <a:gd name="connsiteX7" fmla="*/ 377825 w 1174048"/>
                <a:gd name="connsiteY7" fmla="*/ 3175 h 1187450"/>
                <a:gd name="connsiteX8" fmla="*/ 539750 w 1174048"/>
                <a:gd name="connsiteY8" fmla="*/ 384175 h 1187450"/>
                <a:gd name="connsiteX9" fmla="*/ 482600 w 1174048"/>
                <a:gd name="connsiteY9" fmla="*/ 542925 h 1187450"/>
                <a:gd name="connsiteX10" fmla="*/ 215900 w 1174048"/>
                <a:gd name="connsiteY10" fmla="*/ 552450 h 1187450"/>
                <a:gd name="connsiteX11" fmla="*/ 85725 w 1174048"/>
                <a:gd name="connsiteY11" fmla="*/ 393700 h 1187450"/>
                <a:gd name="connsiteX12" fmla="*/ 0 w 1174048"/>
                <a:gd name="connsiteY12" fmla="*/ 374650 h 1187450"/>
                <a:gd name="connsiteX13" fmla="*/ 53975 w 1174048"/>
                <a:gd name="connsiteY13" fmla="*/ 568325 h 1187450"/>
                <a:gd name="connsiteX14" fmla="*/ 50800 w 1174048"/>
                <a:gd name="connsiteY14" fmla="*/ 619125 h 1187450"/>
                <a:gd name="connsiteX15" fmla="*/ 9525 w 1174048"/>
                <a:gd name="connsiteY15" fmla="*/ 806450 h 1187450"/>
                <a:gd name="connsiteX16" fmla="*/ 88900 w 1174048"/>
                <a:gd name="connsiteY16" fmla="*/ 796925 h 1187450"/>
                <a:gd name="connsiteX17" fmla="*/ 212725 w 1174048"/>
                <a:gd name="connsiteY17" fmla="*/ 615950 h 1187450"/>
                <a:gd name="connsiteX18" fmla="*/ 460375 w 1174048"/>
                <a:gd name="connsiteY18" fmla="*/ 638175 h 1187450"/>
                <a:gd name="connsiteX19" fmla="*/ 536575 w 1174048"/>
                <a:gd name="connsiteY19" fmla="*/ 822325 h 1187450"/>
                <a:gd name="connsiteX20" fmla="*/ 390525 w 1174048"/>
                <a:gd name="connsiteY20" fmla="*/ 1187450 h 1187450"/>
                <a:gd name="connsiteX21" fmla="*/ 536575 w 1174048"/>
                <a:gd name="connsiteY21" fmla="*/ 1111250 h 1187450"/>
                <a:gd name="connsiteX22" fmla="*/ 612775 w 1174048"/>
                <a:gd name="connsiteY22" fmla="*/ 996950 h 1187450"/>
                <a:gd name="connsiteX23" fmla="*/ 663575 w 1174048"/>
                <a:gd name="connsiteY23" fmla="*/ 930275 h 1187450"/>
                <a:gd name="connsiteX24" fmla="*/ 746125 w 1174048"/>
                <a:gd name="connsiteY24" fmla="*/ 815975 h 1187450"/>
                <a:gd name="connsiteX25" fmla="*/ 803275 w 1174048"/>
                <a:gd name="connsiteY25" fmla="*/ 749300 h 1187450"/>
                <a:gd name="connsiteX26" fmla="*/ 869950 w 1174048"/>
                <a:gd name="connsiteY26" fmla="*/ 650875 h 1187450"/>
                <a:gd name="connsiteX27" fmla="*/ 1069975 w 1174048"/>
                <a:gd name="connsiteY27" fmla="*/ 641350 h 1187450"/>
                <a:gd name="connsiteX28" fmla="*/ 1073150 w 1174048"/>
                <a:gd name="connsiteY28" fmla="*/ 542925 h 1187450"/>
                <a:gd name="connsiteX29" fmla="*/ 869950 w 1174048"/>
                <a:gd name="connsiteY29" fmla="*/ 523875 h 1187450"/>
                <a:gd name="connsiteX0" fmla="*/ 869950 w 1203659"/>
                <a:gd name="connsiteY0" fmla="*/ 523875 h 1187450"/>
                <a:gd name="connsiteX1" fmla="*/ 796925 w 1203659"/>
                <a:gd name="connsiteY1" fmla="*/ 434975 h 1187450"/>
                <a:gd name="connsiteX2" fmla="*/ 749300 w 1203659"/>
                <a:gd name="connsiteY2" fmla="*/ 365125 h 1187450"/>
                <a:gd name="connsiteX3" fmla="*/ 666750 w 1203659"/>
                <a:gd name="connsiteY3" fmla="*/ 257175 h 1187450"/>
                <a:gd name="connsiteX4" fmla="*/ 615950 w 1203659"/>
                <a:gd name="connsiteY4" fmla="*/ 184150 h 1187450"/>
                <a:gd name="connsiteX5" fmla="*/ 504825 w 1203659"/>
                <a:gd name="connsiteY5" fmla="*/ 41275 h 1187450"/>
                <a:gd name="connsiteX6" fmla="*/ 428625 w 1203659"/>
                <a:gd name="connsiteY6" fmla="*/ 0 h 1187450"/>
                <a:gd name="connsiteX7" fmla="*/ 377825 w 1203659"/>
                <a:gd name="connsiteY7" fmla="*/ 3175 h 1187450"/>
                <a:gd name="connsiteX8" fmla="*/ 539750 w 1203659"/>
                <a:gd name="connsiteY8" fmla="*/ 384175 h 1187450"/>
                <a:gd name="connsiteX9" fmla="*/ 482600 w 1203659"/>
                <a:gd name="connsiteY9" fmla="*/ 542925 h 1187450"/>
                <a:gd name="connsiteX10" fmla="*/ 215900 w 1203659"/>
                <a:gd name="connsiteY10" fmla="*/ 552450 h 1187450"/>
                <a:gd name="connsiteX11" fmla="*/ 85725 w 1203659"/>
                <a:gd name="connsiteY11" fmla="*/ 393700 h 1187450"/>
                <a:gd name="connsiteX12" fmla="*/ 0 w 1203659"/>
                <a:gd name="connsiteY12" fmla="*/ 374650 h 1187450"/>
                <a:gd name="connsiteX13" fmla="*/ 53975 w 1203659"/>
                <a:gd name="connsiteY13" fmla="*/ 568325 h 1187450"/>
                <a:gd name="connsiteX14" fmla="*/ 50800 w 1203659"/>
                <a:gd name="connsiteY14" fmla="*/ 619125 h 1187450"/>
                <a:gd name="connsiteX15" fmla="*/ 9525 w 1203659"/>
                <a:gd name="connsiteY15" fmla="*/ 806450 h 1187450"/>
                <a:gd name="connsiteX16" fmla="*/ 88900 w 1203659"/>
                <a:gd name="connsiteY16" fmla="*/ 796925 h 1187450"/>
                <a:gd name="connsiteX17" fmla="*/ 212725 w 1203659"/>
                <a:gd name="connsiteY17" fmla="*/ 615950 h 1187450"/>
                <a:gd name="connsiteX18" fmla="*/ 460375 w 1203659"/>
                <a:gd name="connsiteY18" fmla="*/ 638175 h 1187450"/>
                <a:gd name="connsiteX19" fmla="*/ 536575 w 1203659"/>
                <a:gd name="connsiteY19" fmla="*/ 822325 h 1187450"/>
                <a:gd name="connsiteX20" fmla="*/ 390525 w 1203659"/>
                <a:gd name="connsiteY20" fmla="*/ 1187450 h 1187450"/>
                <a:gd name="connsiteX21" fmla="*/ 536575 w 1203659"/>
                <a:gd name="connsiteY21" fmla="*/ 1111250 h 1187450"/>
                <a:gd name="connsiteX22" fmla="*/ 612775 w 1203659"/>
                <a:gd name="connsiteY22" fmla="*/ 996950 h 1187450"/>
                <a:gd name="connsiteX23" fmla="*/ 663575 w 1203659"/>
                <a:gd name="connsiteY23" fmla="*/ 930275 h 1187450"/>
                <a:gd name="connsiteX24" fmla="*/ 746125 w 1203659"/>
                <a:gd name="connsiteY24" fmla="*/ 815975 h 1187450"/>
                <a:gd name="connsiteX25" fmla="*/ 803275 w 1203659"/>
                <a:gd name="connsiteY25" fmla="*/ 749300 h 1187450"/>
                <a:gd name="connsiteX26" fmla="*/ 869950 w 1203659"/>
                <a:gd name="connsiteY26" fmla="*/ 650875 h 1187450"/>
                <a:gd name="connsiteX27" fmla="*/ 1069975 w 1203659"/>
                <a:gd name="connsiteY27" fmla="*/ 641350 h 1187450"/>
                <a:gd name="connsiteX28" fmla="*/ 1073150 w 1203659"/>
                <a:gd name="connsiteY28" fmla="*/ 542925 h 1187450"/>
                <a:gd name="connsiteX29" fmla="*/ 869950 w 1203659"/>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5003" h="1187450">
                  <a:moveTo>
                    <a:pt x="869950" y="523875"/>
                  </a:moveTo>
                  <a:lnTo>
                    <a:pt x="796925" y="434975"/>
                  </a:lnTo>
                  <a:cubicBezTo>
                    <a:pt x="869950" y="383117"/>
                    <a:pt x="784225" y="353483"/>
                    <a:pt x="749300" y="365125"/>
                  </a:cubicBezTo>
                  <a:lnTo>
                    <a:pt x="666750" y="257175"/>
                  </a:lnTo>
                  <a:cubicBezTo>
                    <a:pt x="729192" y="201083"/>
                    <a:pt x="693208" y="183092"/>
                    <a:pt x="615950" y="184150"/>
                  </a:cubicBezTo>
                  <a:lnTo>
                    <a:pt x="504825" y="41275"/>
                  </a:lnTo>
                  <a:cubicBezTo>
                    <a:pt x="466725" y="5292"/>
                    <a:pt x="454025" y="13758"/>
                    <a:pt x="428625" y="0"/>
                  </a:cubicBezTo>
                  <a:lnTo>
                    <a:pt x="377825" y="3175"/>
                  </a:lnTo>
                  <a:lnTo>
                    <a:pt x="539750" y="384175"/>
                  </a:lnTo>
                  <a:cubicBezTo>
                    <a:pt x="552450" y="443442"/>
                    <a:pt x="622300" y="515408"/>
                    <a:pt x="482600" y="542925"/>
                  </a:cubicBezTo>
                  <a:lnTo>
                    <a:pt x="215900" y="552450"/>
                  </a:lnTo>
                  <a:lnTo>
                    <a:pt x="85725" y="393700"/>
                  </a:lnTo>
                  <a:lnTo>
                    <a:pt x="0" y="374650"/>
                  </a:lnTo>
                  <a:lnTo>
                    <a:pt x="53975" y="568325"/>
                  </a:lnTo>
                  <a:cubicBezTo>
                    <a:pt x="14817" y="582083"/>
                    <a:pt x="4233" y="599017"/>
                    <a:pt x="50800" y="619125"/>
                  </a:cubicBezTo>
                  <a:lnTo>
                    <a:pt x="9525" y="806450"/>
                  </a:lnTo>
                  <a:lnTo>
                    <a:pt x="88900" y="796925"/>
                  </a:lnTo>
                  <a:lnTo>
                    <a:pt x="215900" y="635000"/>
                  </a:lnTo>
                  <a:lnTo>
                    <a:pt x="460375" y="638175"/>
                  </a:lnTo>
                  <a:cubicBezTo>
                    <a:pt x="565150" y="670983"/>
                    <a:pt x="603250" y="646642"/>
                    <a:pt x="536575" y="822325"/>
                  </a:cubicBezTo>
                  <a:lnTo>
                    <a:pt x="390525" y="1187450"/>
                  </a:lnTo>
                  <a:cubicBezTo>
                    <a:pt x="439208" y="1162050"/>
                    <a:pt x="452967" y="1231900"/>
                    <a:pt x="536575" y="1111250"/>
                  </a:cubicBezTo>
                  <a:lnTo>
                    <a:pt x="612775" y="996950"/>
                  </a:lnTo>
                  <a:cubicBezTo>
                    <a:pt x="721783" y="1003300"/>
                    <a:pt x="710142" y="955675"/>
                    <a:pt x="663575" y="930275"/>
                  </a:cubicBezTo>
                  <a:lnTo>
                    <a:pt x="746125" y="815975"/>
                  </a:lnTo>
                  <a:cubicBezTo>
                    <a:pt x="838200" y="822325"/>
                    <a:pt x="841375" y="800100"/>
                    <a:pt x="803275" y="749300"/>
                  </a:cubicBezTo>
                  <a:lnTo>
                    <a:pt x="869950" y="650875"/>
                  </a:lnTo>
                  <a:cubicBezTo>
                    <a:pt x="936625" y="647700"/>
                    <a:pt x="987425" y="663575"/>
                    <a:pt x="1069975" y="641350"/>
                  </a:cubicBezTo>
                  <a:cubicBezTo>
                    <a:pt x="1305983" y="605367"/>
                    <a:pt x="1183217" y="569383"/>
                    <a:pt x="1073150" y="542925"/>
                  </a:cubicBezTo>
                  <a:cubicBezTo>
                    <a:pt x="992717" y="527050"/>
                    <a:pt x="909108" y="542925"/>
                    <a:pt x="869950" y="523875"/>
                  </a:cubicBezTo>
                  <a:close/>
                </a:path>
              </a:pathLst>
            </a:cu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grpSp>
      <p:pic>
        <p:nvPicPr>
          <p:cNvPr id="270" name="Picture 26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044259" y="3941322"/>
            <a:ext cx="342900" cy="342900"/>
          </a:xfrm>
          <a:prstGeom prst="rect">
            <a:avLst/>
          </a:prstGeom>
        </p:spPr>
      </p:pic>
      <p:pic>
        <p:nvPicPr>
          <p:cNvPr id="272" name="Picture 27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69178" y="991028"/>
            <a:ext cx="324612" cy="324612"/>
          </a:xfrm>
          <a:prstGeom prst="rect">
            <a:avLst/>
          </a:prstGeom>
        </p:spPr>
      </p:pic>
      <p:sp>
        <p:nvSpPr>
          <p:cNvPr id="277" name="Rectangle 276"/>
          <p:cNvSpPr/>
          <p:nvPr/>
        </p:nvSpPr>
        <p:spPr>
          <a:xfrm>
            <a:off x="3618308" y="1390092"/>
            <a:ext cx="817961" cy="115416"/>
          </a:xfrm>
          <a:prstGeom prst="rect">
            <a:avLst/>
          </a:prstGeom>
        </p:spPr>
        <p:txBody>
          <a:bodyPr wrap="square" lIns="0" tIns="0" rIns="0" bIns="0">
            <a:spAutoFit/>
          </a:bodyPr>
          <a:lstStyle/>
          <a:p>
            <a:pPr defTabSz="685800">
              <a:spcAft>
                <a:spcPts val="450"/>
              </a:spcAft>
              <a:buClrTx/>
            </a:pPr>
            <a:r>
              <a:rPr lang="en-US" sz="750" b="1" kern="1200" dirty="0">
                <a:solidFill>
                  <a:srgbClr val="FFFFFF"/>
                </a:solidFill>
                <a:ea typeface="+mn-ea"/>
                <a:cs typeface="+mn-cs"/>
              </a:rPr>
              <a:t>LOREM IPSUM</a:t>
            </a:r>
            <a:endParaRPr lang="en-US" sz="600" kern="1200" dirty="0">
              <a:solidFill>
                <a:srgbClr val="FFFFFF"/>
              </a:solidFill>
              <a:ea typeface="+mn-ea"/>
              <a:cs typeface="+mn-cs"/>
            </a:endParaRPr>
          </a:p>
        </p:txBody>
      </p:sp>
      <p:sp>
        <p:nvSpPr>
          <p:cNvPr id="278" name="Rectangle 277"/>
          <p:cNvSpPr/>
          <p:nvPr/>
        </p:nvSpPr>
        <p:spPr>
          <a:xfrm>
            <a:off x="4850126" y="1417988"/>
            <a:ext cx="817961" cy="115416"/>
          </a:xfrm>
          <a:prstGeom prst="rect">
            <a:avLst/>
          </a:prstGeom>
        </p:spPr>
        <p:txBody>
          <a:bodyPr wrap="square" lIns="0" tIns="0" rIns="0" bIns="0">
            <a:spAutoFit/>
          </a:bodyPr>
          <a:lstStyle/>
          <a:p>
            <a:pPr algn="ctr" defTabSz="685800">
              <a:spcAft>
                <a:spcPts val="450"/>
              </a:spcAft>
              <a:buClrTx/>
            </a:pPr>
            <a:r>
              <a:rPr lang="en-US" sz="750" b="1" kern="1200" dirty="0">
                <a:solidFill>
                  <a:srgbClr val="FFFFFF"/>
                </a:solidFill>
                <a:ea typeface="+mn-ea"/>
                <a:cs typeface="+mn-cs"/>
              </a:rPr>
              <a:t>LOREM IPSUM</a:t>
            </a:r>
            <a:endParaRPr lang="en-US" sz="600" kern="1200" dirty="0">
              <a:solidFill>
                <a:srgbClr val="FFFFFF"/>
              </a:solidFill>
              <a:ea typeface="+mn-ea"/>
              <a:cs typeface="+mn-cs"/>
            </a:endParaRPr>
          </a:p>
        </p:txBody>
      </p:sp>
      <p:sp>
        <p:nvSpPr>
          <p:cNvPr id="279" name="Rectangle 278"/>
          <p:cNvSpPr/>
          <p:nvPr/>
        </p:nvSpPr>
        <p:spPr>
          <a:xfrm>
            <a:off x="5746159" y="2274272"/>
            <a:ext cx="817961" cy="115416"/>
          </a:xfrm>
          <a:prstGeom prst="rect">
            <a:avLst/>
          </a:prstGeom>
        </p:spPr>
        <p:txBody>
          <a:bodyPr wrap="square" lIns="0" tIns="0" rIns="0" bIns="0">
            <a:spAutoFit/>
          </a:bodyPr>
          <a:lstStyle/>
          <a:p>
            <a:pPr algn="ctr" defTabSz="685800">
              <a:spcAft>
                <a:spcPts val="450"/>
              </a:spcAft>
              <a:buClrTx/>
            </a:pPr>
            <a:r>
              <a:rPr lang="en-US" sz="750" b="1" kern="1200" dirty="0">
                <a:solidFill>
                  <a:srgbClr val="FFFFFF"/>
                </a:solidFill>
                <a:ea typeface="+mn-ea"/>
                <a:cs typeface="+mn-cs"/>
              </a:rPr>
              <a:t>LOREM IPSUM</a:t>
            </a:r>
            <a:endParaRPr lang="en-US" sz="600" kern="1200" dirty="0">
              <a:solidFill>
                <a:srgbClr val="FFFFFF"/>
              </a:solidFill>
              <a:ea typeface="+mn-ea"/>
              <a:cs typeface="+mn-cs"/>
            </a:endParaRPr>
          </a:p>
        </p:txBody>
      </p:sp>
      <p:sp>
        <p:nvSpPr>
          <p:cNvPr id="280" name="Rectangle 279"/>
          <p:cNvSpPr/>
          <p:nvPr/>
        </p:nvSpPr>
        <p:spPr>
          <a:xfrm>
            <a:off x="5636431" y="3426416"/>
            <a:ext cx="817961" cy="115416"/>
          </a:xfrm>
          <a:prstGeom prst="rect">
            <a:avLst/>
          </a:prstGeom>
        </p:spPr>
        <p:txBody>
          <a:bodyPr wrap="square" lIns="0" tIns="0" rIns="0" bIns="0">
            <a:spAutoFit/>
          </a:bodyPr>
          <a:lstStyle/>
          <a:p>
            <a:pPr algn="ctr" defTabSz="685800">
              <a:spcAft>
                <a:spcPts val="450"/>
              </a:spcAft>
              <a:buClrTx/>
            </a:pPr>
            <a:r>
              <a:rPr lang="en-US" sz="750" b="1" kern="1200" dirty="0">
                <a:solidFill>
                  <a:srgbClr val="FFFFFF"/>
                </a:solidFill>
                <a:ea typeface="+mn-ea"/>
                <a:cs typeface="+mn-cs"/>
              </a:rPr>
              <a:t>LOREM IPSUM</a:t>
            </a:r>
            <a:endParaRPr lang="en-US" sz="600" kern="1200" dirty="0">
              <a:solidFill>
                <a:srgbClr val="FFFFFF"/>
              </a:solidFill>
              <a:ea typeface="+mn-ea"/>
              <a:cs typeface="+mn-cs"/>
            </a:endParaRPr>
          </a:p>
        </p:txBody>
      </p:sp>
      <p:sp>
        <p:nvSpPr>
          <p:cNvPr id="281" name="Rectangle 280"/>
          <p:cNvSpPr/>
          <p:nvPr/>
        </p:nvSpPr>
        <p:spPr>
          <a:xfrm>
            <a:off x="4851958" y="4308293"/>
            <a:ext cx="817961" cy="115416"/>
          </a:xfrm>
          <a:prstGeom prst="rect">
            <a:avLst/>
          </a:prstGeom>
        </p:spPr>
        <p:txBody>
          <a:bodyPr wrap="square" lIns="0" tIns="0" rIns="0" bIns="0">
            <a:spAutoFit/>
          </a:bodyPr>
          <a:lstStyle/>
          <a:p>
            <a:pPr algn="ctr" defTabSz="685800">
              <a:spcAft>
                <a:spcPts val="450"/>
              </a:spcAft>
              <a:buClrTx/>
            </a:pPr>
            <a:r>
              <a:rPr lang="en-US" sz="750" b="1" kern="1200" dirty="0">
                <a:solidFill>
                  <a:srgbClr val="FFFFFF"/>
                </a:solidFill>
                <a:ea typeface="+mn-ea"/>
                <a:cs typeface="+mn-cs"/>
              </a:rPr>
              <a:t>LOREM IPSUM</a:t>
            </a:r>
            <a:endParaRPr lang="en-US" sz="600" kern="1200" dirty="0">
              <a:solidFill>
                <a:srgbClr val="FFFFFF"/>
              </a:solidFill>
              <a:ea typeface="+mn-ea"/>
              <a:cs typeface="+mn-cs"/>
            </a:endParaRPr>
          </a:p>
        </p:txBody>
      </p:sp>
      <p:sp>
        <p:nvSpPr>
          <p:cNvPr id="282" name="Rectangle 281"/>
          <p:cNvSpPr/>
          <p:nvPr/>
        </p:nvSpPr>
        <p:spPr>
          <a:xfrm>
            <a:off x="3540708" y="4319266"/>
            <a:ext cx="817961" cy="115416"/>
          </a:xfrm>
          <a:prstGeom prst="rect">
            <a:avLst/>
          </a:prstGeom>
        </p:spPr>
        <p:txBody>
          <a:bodyPr wrap="square" lIns="0" tIns="0" rIns="0" bIns="0">
            <a:spAutoFit/>
          </a:bodyPr>
          <a:lstStyle/>
          <a:p>
            <a:pPr algn="ctr" defTabSz="685800">
              <a:spcAft>
                <a:spcPts val="450"/>
              </a:spcAft>
              <a:buClrTx/>
            </a:pPr>
            <a:r>
              <a:rPr lang="en-US" sz="750" b="1" kern="1200" dirty="0">
                <a:solidFill>
                  <a:srgbClr val="FFFFFF"/>
                </a:solidFill>
                <a:ea typeface="+mn-ea"/>
                <a:cs typeface="+mn-cs"/>
              </a:rPr>
              <a:t>LOREM IPSUM</a:t>
            </a:r>
            <a:endParaRPr lang="en-US" sz="600" kern="1200" dirty="0">
              <a:solidFill>
                <a:srgbClr val="FFFFFF"/>
              </a:solidFill>
              <a:ea typeface="+mn-ea"/>
              <a:cs typeface="+mn-cs"/>
            </a:endParaRPr>
          </a:p>
        </p:txBody>
      </p:sp>
      <p:sp>
        <p:nvSpPr>
          <p:cNvPr id="283" name="Rectangle 282"/>
          <p:cNvSpPr/>
          <p:nvPr/>
        </p:nvSpPr>
        <p:spPr>
          <a:xfrm>
            <a:off x="2744788" y="3432088"/>
            <a:ext cx="817961" cy="115416"/>
          </a:xfrm>
          <a:prstGeom prst="rect">
            <a:avLst/>
          </a:prstGeom>
        </p:spPr>
        <p:txBody>
          <a:bodyPr wrap="square" lIns="0" tIns="0" rIns="0" bIns="0">
            <a:spAutoFit/>
          </a:bodyPr>
          <a:lstStyle/>
          <a:p>
            <a:pPr algn="ctr" defTabSz="685800">
              <a:spcAft>
                <a:spcPts val="450"/>
              </a:spcAft>
              <a:buClrTx/>
            </a:pPr>
            <a:r>
              <a:rPr lang="en-US" sz="750" b="1" kern="1200" dirty="0">
                <a:solidFill>
                  <a:srgbClr val="FFFFFF"/>
                </a:solidFill>
                <a:ea typeface="+mn-ea"/>
                <a:cs typeface="+mn-cs"/>
              </a:rPr>
              <a:t>LOREM IPSUM</a:t>
            </a:r>
            <a:endParaRPr lang="en-US" sz="600" kern="1200" dirty="0">
              <a:solidFill>
                <a:srgbClr val="FFFFFF"/>
              </a:solidFill>
              <a:ea typeface="+mn-ea"/>
              <a:cs typeface="+mn-cs"/>
            </a:endParaRPr>
          </a:p>
        </p:txBody>
      </p:sp>
      <p:sp>
        <p:nvSpPr>
          <p:cNvPr id="284" name="Rectangle 283"/>
          <p:cNvSpPr/>
          <p:nvPr/>
        </p:nvSpPr>
        <p:spPr>
          <a:xfrm>
            <a:off x="2652210" y="2271687"/>
            <a:ext cx="817961" cy="115416"/>
          </a:xfrm>
          <a:prstGeom prst="rect">
            <a:avLst/>
          </a:prstGeom>
        </p:spPr>
        <p:txBody>
          <a:bodyPr wrap="square" lIns="0" tIns="0" rIns="0" bIns="0">
            <a:spAutoFit/>
          </a:bodyPr>
          <a:lstStyle/>
          <a:p>
            <a:pPr algn="ctr" defTabSz="685800">
              <a:spcAft>
                <a:spcPts val="450"/>
              </a:spcAft>
              <a:buClrTx/>
            </a:pPr>
            <a:r>
              <a:rPr lang="en-US" sz="750" b="1" kern="1200" dirty="0">
                <a:solidFill>
                  <a:srgbClr val="FFFFFF"/>
                </a:solidFill>
                <a:ea typeface="+mn-ea"/>
                <a:cs typeface="+mn-cs"/>
              </a:rPr>
              <a:t>LOREM IPSUM</a:t>
            </a:r>
            <a:endParaRPr lang="en-US" sz="600" kern="1200" dirty="0">
              <a:solidFill>
                <a:srgbClr val="FFFFFF"/>
              </a:solidFill>
              <a:ea typeface="+mn-ea"/>
              <a:cs typeface="+mn-cs"/>
            </a:endParaRPr>
          </a:p>
        </p:txBody>
      </p:sp>
      <p:pic>
        <p:nvPicPr>
          <p:cNvPr id="285" name="Picture 284" descr="33.emf"/>
          <p:cNvPicPr>
            <a:picLocks noChangeAspect="1"/>
          </p:cNvPicPr>
          <p:nvPr/>
        </p:nvPicPr>
        <p:blipFill>
          <a:blip r:embed="rId8">
            <a:biLevel thresh="25000"/>
          </a:blip>
          <a:stretch>
            <a:fillRect/>
          </a:stretch>
        </p:blipFill>
        <p:spPr>
          <a:xfrm>
            <a:off x="5994241" y="1907150"/>
            <a:ext cx="270889" cy="251007"/>
          </a:xfrm>
          <a:prstGeom prst="rect">
            <a:avLst/>
          </a:prstGeom>
        </p:spPr>
      </p:pic>
      <p:grpSp>
        <p:nvGrpSpPr>
          <p:cNvPr id="286" name="Group 285"/>
          <p:cNvGrpSpPr/>
          <p:nvPr/>
        </p:nvGrpSpPr>
        <p:grpSpPr>
          <a:xfrm>
            <a:off x="3875485" y="3969544"/>
            <a:ext cx="298748" cy="303159"/>
            <a:chOff x="7775298" y="4300210"/>
            <a:chExt cx="340038" cy="345060"/>
          </a:xfrm>
        </p:grpSpPr>
        <p:pic>
          <p:nvPicPr>
            <p:cNvPr id="287" name="Picture 3" descr="C:\Users\kknight\Desktop\cog 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782024" y="4300210"/>
              <a:ext cx="231650" cy="226773"/>
            </a:xfrm>
            <a:prstGeom prst="rect">
              <a:avLst/>
            </a:prstGeom>
            <a:noFill/>
            <a:extLst>
              <a:ext uri="{909E8E84-426E-40DD-AFC4-6F175D3DCCD1}">
                <a14:hiddenFill xmlns:a14="http://schemas.microsoft.com/office/drawing/2010/main">
                  <a:solidFill>
                    <a:srgbClr val="FFFFFF"/>
                  </a:solidFill>
                </a14:hiddenFill>
              </a:ext>
            </a:extLst>
          </p:spPr>
        </p:pic>
        <p:pic>
          <p:nvPicPr>
            <p:cNvPr id="288" name="Picture 3" descr="C:\Users\kknight\Desktop\cog ico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775298" y="4529287"/>
              <a:ext cx="118477" cy="115983"/>
            </a:xfrm>
            <a:prstGeom prst="rect">
              <a:avLst/>
            </a:prstGeom>
            <a:noFill/>
            <a:extLst>
              <a:ext uri="{909E8E84-426E-40DD-AFC4-6F175D3DCCD1}">
                <a14:hiddenFill xmlns:a14="http://schemas.microsoft.com/office/drawing/2010/main">
                  <a:solidFill>
                    <a:srgbClr val="FFFFFF"/>
                  </a:solidFill>
                </a14:hiddenFill>
              </a:ext>
            </a:extLst>
          </p:spPr>
        </p:pic>
        <p:pic>
          <p:nvPicPr>
            <p:cNvPr id="289" name="Picture 3" descr="C:\Users\kknight\Desktop\cog ico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rot="767128">
              <a:off x="7899965" y="4509191"/>
              <a:ext cx="118477" cy="115983"/>
            </a:xfrm>
            <a:prstGeom prst="rect">
              <a:avLst/>
            </a:prstGeom>
            <a:noFill/>
            <a:extLst>
              <a:ext uri="{909E8E84-426E-40DD-AFC4-6F175D3DCCD1}">
                <a14:hiddenFill xmlns:a14="http://schemas.microsoft.com/office/drawing/2010/main">
                  <a:solidFill>
                    <a:srgbClr val="FFFFFF"/>
                  </a:solidFill>
                </a14:hiddenFill>
              </a:ext>
            </a:extLst>
          </p:spPr>
        </p:pic>
        <p:pic>
          <p:nvPicPr>
            <p:cNvPr id="290" name="Picture 3" descr="C:\Users\kknight\Desktop\cog ico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996859" y="4435799"/>
              <a:ext cx="118477" cy="115983"/>
            </a:xfrm>
            <a:prstGeom prst="rect">
              <a:avLst/>
            </a:prstGeom>
            <a:noFill/>
            <a:extLst>
              <a:ext uri="{909E8E84-426E-40DD-AFC4-6F175D3DCCD1}">
                <a14:hiddenFill xmlns:a14="http://schemas.microsoft.com/office/drawing/2010/main">
                  <a:solidFill>
                    <a:srgbClr val="FFFFFF"/>
                  </a:solidFill>
                </a14:hiddenFill>
              </a:ext>
            </a:extLst>
          </p:spPr>
        </p:pic>
      </p:grpSp>
      <p:pic>
        <p:nvPicPr>
          <p:cNvPr id="292" name="Picture 7"/>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952100" y="3081884"/>
            <a:ext cx="303041" cy="27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3" name="Picture 9"/>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994241" y="3143990"/>
            <a:ext cx="329648" cy="150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4" name="Picture 10"/>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105425" y="1065258"/>
            <a:ext cx="307361" cy="250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63269830"/>
      </p:ext>
    </p:extLst>
  </p:cSld>
  <p:clrMapOvr>
    <a:masterClrMapping/>
  </p:clrMapOvr>
  <p:transition>
    <p:fade/>
  </p:transition>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normAutofit lnSpcReduction="10000"/>
          </a:bodyPr>
          <a:lstStyle/>
          <a:p>
            <a:pPr marL="0" lvl="1" indent="0">
              <a:spcBef>
                <a:spcPts val="1350"/>
              </a:spcBef>
              <a:buNone/>
            </a:pPr>
            <a:r>
              <a:rPr lang="en-US" dirty="0"/>
              <a:t>Structured text				3</a:t>
            </a:r>
          </a:p>
          <a:p>
            <a:pPr marL="0" lvl="1" indent="0">
              <a:spcBef>
                <a:spcPts val="1350"/>
              </a:spcBef>
              <a:buNone/>
            </a:pPr>
            <a:r>
              <a:rPr lang="en-US" dirty="0"/>
              <a:t>Trees					35</a:t>
            </a:r>
          </a:p>
          <a:p>
            <a:pPr marL="0" lvl="1" indent="0">
              <a:spcBef>
                <a:spcPts val="1350"/>
              </a:spcBef>
              <a:buNone/>
            </a:pPr>
            <a:r>
              <a:rPr lang="en-US" dirty="0"/>
              <a:t>Graphs					50</a:t>
            </a:r>
          </a:p>
          <a:p>
            <a:pPr marL="0" lvl="1" indent="0">
              <a:spcBef>
                <a:spcPts val="1350"/>
              </a:spcBef>
              <a:buNone/>
            </a:pPr>
            <a:r>
              <a:rPr lang="en-US" dirty="0"/>
              <a:t>Shapes					93</a:t>
            </a:r>
          </a:p>
          <a:p>
            <a:pPr marL="0" lvl="1" indent="0">
              <a:spcBef>
                <a:spcPts val="1350"/>
              </a:spcBef>
              <a:buNone/>
            </a:pPr>
            <a:r>
              <a:rPr lang="en-US" dirty="0"/>
              <a:t>Maps					117</a:t>
            </a:r>
          </a:p>
          <a:p>
            <a:pPr marL="0" lvl="1" indent="0">
              <a:spcBef>
                <a:spcPts val="1350"/>
              </a:spcBef>
              <a:buNone/>
            </a:pPr>
            <a:r>
              <a:rPr lang="en-US" dirty="0"/>
              <a:t>Special graphics			137</a:t>
            </a:r>
          </a:p>
          <a:p>
            <a:pPr marL="0" lvl="1" indent="0">
              <a:spcBef>
                <a:spcPts val="1350"/>
              </a:spcBef>
              <a:buNone/>
            </a:pPr>
            <a:r>
              <a:rPr lang="en-US" dirty="0"/>
              <a:t>Conceptual charts			164</a:t>
            </a:r>
          </a:p>
          <a:p>
            <a:pPr marL="0" lvl="1" indent="0">
              <a:spcBef>
                <a:spcPts val="1350"/>
              </a:spcBef>
              <a:buNone/>
            </a:pPr>
            <a:r>
              <a:rPr lang="en-US" dirty="0" err="1"/>
              <a:t>Infographics</a:t>
            </a:r>
            <a:r>
              <a:rPr lang="en-US" dirty="0"/>
              <a:t> 				215</a:t>
            </a:r>
          </a:p>
          <a:p>
            <a:pPr marL="0" lvl="1" indent="0">
              <a:spcBef>
                <a:spcPts val="1350"/>
              </a:spcBef>
              <a:buNone/>
            </a:pPr>
            <a:r>
              <a:rPr lang="en-US" dirty="0">
                <a:solidFill>
                  <a:srgbClr val="00A1DE"/>
                </a:solidFill>
              </a:rPr>
              <a:t>Iconography</a:t>
            </a:r>
            <a:r>
              <a:rPr lang="en-US" dirty="0"/>
              <a:t>				241</a:t>
            </a:r>
          </a:p>
          <a:p>
            <a:endParaRPr lang="en-US" dirty="0"/>
          </a:p>
        </p:txBody>
      </p:sp>
      <p:sp>
        <p:nvSpPr>
          <p:cNvPr id="6" name="Title 5"/>
          <p:cNvSpPr>
            <a:spLocks noGrp="1"/>
          </p:cNvSpPr>
          <p:nvPr>
            <p:ph type="title"/>
          </p:nvPr>
        </p:nvSpPr>
        <p:spPr>
          <a:xfrm>
            <a:off x="1420585" y="134679"/>
            <a:ext cx="6291000" cy="665422"/>
          </a:xfrm>
        </p:spPr>
        <p:txBody>
          <a:bodyPr>
            <a:normAutofit/>
          </a:bodyPr>
          <a:lstStyle/>
          <a:p>
            <a:r>
              <a:rPr lang="en-US" sz="2250" dirty="0"/>
              <a:t>Contents</a:t>
            </a:r>
          </a:p>
        </p:txBody>
      </p:sp>
    </p:spTree>
    <p:extLst>
      <p:ext uri="{BB962C8B-B14F-4D97-AF65-F5344CB8AC3E}">
        <p14:creationId xmlns:p14="http://schemas.microsoft.com/office/powerpoint/2010/main" val="1830390248"/>
      </p:ext>
    </p:extLst>
  </p:cSld>
  <p:clrMapOvr>
    <a:masterClrMapping/>
  </p:clrMapOvr>
  <p:transition>
    <p:fade/>
  </p:transition>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9890" name="Rectangle 2" hidden="1"/>
          <p:cNvGraphicFramePr>
            <a:graphicFrameLocks/>
          </p:cNvGraphicFramePr>
          <p:nvPr>
            <p:custDataLst>
              <p:tags r:id="rId1"/>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549890"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auto">
          <a:xfrm>
            <a:off x="1143000" y="0"/>
            <a:ext cx="119063" cy="119063"/>
          </a:xfrm>
          <a:prstGeom prst="rect">
            <a:avLst/>
          </a:prstGeom>
          <a:solidFill>
            <a:scrgbClr r="0" g="0" b="0"/>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685800">
              <a:buClrTx/>
            </a:pPr>
            <a:endParaRPr lang="nl-NL" sz="900" kern="1200">
              <a:solidFill>
                <a:prstClr val="white"/>
              </a:solidFill>
              <a:latin typeface="Arial"/>
            </a:endParaRPr>
          </a:p>
        </p:txBody>
      </p:sp>
      <p:sp>
        <p:nvSpPr>
          <p:cNvPr id="549932" name="Title 1"/>
          <p:cNvSpPr>
            <a:spLocks noGrp="1"/>
          </p:cNvSpPr>
          <p:nvPr>
            <p:ph type="title"/>
            <p:custDataLst>
              <p:tags r:id="rId3"/>
            </p:custDataLst>
          </p:nvPr>
        </p:nvSpPr>
        <p:spPr/>
        <p:txBody>
          <a:bodyPr/>
          <a:lstStyle/>
          <a:p>
            <a:pPr>
              <a:lnSpc>
                <a:spcPct val="100000"/>
              </a:lnSpc>
            </a:pPr>
            <a:r>
              <a:rPr lang="en-US" altLang="ja-JP" dirty="0"/>
              <a:t>Iconography</a:t>
            </a:r>
            <a:endParaRPr lang="en-US" dirty="0">
              <a:solidFill>
                <a:srgbClr val="575757"/>
              </a:solidFill>
            </a:endParaRPr>
          </a:p>
        </p:txBody>
      </p:sp>
      <p:pic>
        <p:nvPicPr>
          <p:cNvPr id="44" name="Picture 43" descr="2.emf"/>
          <p:cNvPicPr>
            <a:picLocks noChangeAspect="1"/>
          </p:cNvPicPr>
          <p:nvPr/>
        </p:nvPicPr>
        <p:blipFill>
          <a:blip r:embed="rId7"/>
          <a:stretch>
            <a:fillRect/>
          </a:stretch>
        </p:blipFill>
        <p:spPr>
          <a:xfrm>
            <a:off x="1889503" y="1092348"/>
            <a:ext cx="89475" cy="227948"/>
          </a:xfrm>
          <a:prstGeom prst="rect">
            <a:avLst/>
          </a:prstGeom>
        </p:spPr>
      </p:pic>
      <p:pic>
        <p:nvPicPr>
          <p:cNvPr id="45" name="Picture 44" descr="1.emf"/>
          <p:cNvPicPr>
            <a:picLocks noChangeAspect="1"/>
          </p:cNvPicPr>
          <p:nvPr/>
        </p:nvPicPr>
        <p:blipFill>
          <a:blip r:embed="rId8"/>
          <a:stretch>
            <a:fillRect/>
          </a:stretch>
        </p:blipFill>
        <p:spPr>
          <a:xfrm>
            <a:off x="1437681" y="1107979"/>
            <a:ext cx="219428" cy="204515"/>
          </a:xfrm>
          <a:prstGeom prst="rect">
            <a:avLst/>
          </a:prstGeom>
        </p:spPr>
      </p:pic>
      <p:pic>
        <p:nvPicPr>
          <p:cNvPr id="46" name="Picture 45" descr="3.emf"/>
          <p:cNvPicPr>
            <a:picLocks noChangeAspect="1"/>
          </p:cNvPicPr>
          <p:nvPr/>
        </p:nvPicPr>
        <p:blipFill>
          <a:blip r:embed="rId9"/>
          <a:stretch>
            <a:fillRect/>
          </a:stretch>
        </p:blipFill>
        <p:spPr>
          <a:xfrm>
            <a:off x="2260982" y="1095375"/>
            <a:ext cx="104872" cy="229006"/>
          </a:xfrm>
          <a:prstGeom prst="rect">
            <a:avLst/>
          </a:prstGeom>
        </p:spPr>
      </p:pic>
      <p:pic>
        <p:nvPicPr>
          <p:cNvPr id="47" name="Picture 46" descr="4.emf"/>
          <p:cNvPicPr>
            <a:picLocks noChangeAspect="1"/>
          </p:cNvPicPr>
          <p:nvPr/>
        </p:nvPicPr>
        <p:blipFill>
          <a:blip r:embed="rId10"/>
          <a:stretch>
            <a:fillRect/>
          </a:stretch>
        </p:blipFill>
        <p:spPr>
          <a:xfrm>
            <a:off x="2607468" y="1131015"/>
            <a:ext cx="176821" cy="159778"/>
          </a:xfrm>
          <a:prstGeom prst="rect">
            <a:avLst/>
          </a:prstGeom>
        </p:spPr>
      </p:pic>
      <p:pic>
        <p:nvPicPr>
          <p:cNvPr id="48" name="Picture 47" descr="5.emf"/>
          <p:cNvPicPr>
            <a:picLocks noChangeAspect="1"/>
          </p:cNvPicPr>
          <p:nvPr/>
        </p:nvPicPr>
        <p:blipFill>
          <a:blip r:embed="rId11"/>
          <a:stretch>
            <a:fillRect/>
          </a:stretch>
        </p:blipFill>
        <p:spPr>
          <a:xfrm>
            <a:off x="2989649" y="1125645"/>
            <a:ext cx="166169" cy="159778"/>
          </a:xfrm>
          <a:prstGeom prst="rect">
            <a:avLst/>
          </a:prstGeom>
        </p:spPr>
      </p:pic>
      <p:pic>
        <p:nvPicPr>
          <p:cNvPr id="49" name="Picture 48" descr="6.emf"/>
          <p:cNvPicPr>
            <a:picLocks noChangeAspect="1"/>
          </p:cNvPicPr>
          <p:nvPr/>
        </p:nvPicPr>
        <p:blipFill>
          <a:blip r:embed="rId12"/>
          <a:stretch>
            <a:fillRect/>
          </a:stretch>
        </p:blipFill>
        <p:spPr>
          <a:xfrm>
            <a:off x="3355769" y="1124266"/>
            <a:ext cx="176821" cy="155517"/>
          </a:xfrm>
          <a:prstGeom prst="rect">
            <a:avLst/>
          </a:prstGeom>
        </p:spPr>
      </p:pic>
      <p:pic>
        <p:nvPicPr>
          <p:cNvPr id="50" name="Picture 49" descr="7.emf"/>
          <p:cNvPicPr>
            <a:picLocks noChangeAspect="1"/>
          </p:cNvPicPr>
          <p:nvPr/>
        </p:nvPicPr>
        <p:blipFill>
          <a:blip r:embed="rId13"/>
          <a:stretch>
            <a:fillRect/>
          </a:stretch>
        </p:blipFill>
        <p:spPr>
          <a:xfrm>
            <a:off x="3761180" y="1123859"/>
            <a:ext cx="142735" cy="159778"/>
          </a:xfrm>
          <a:prstGeom prst="rect">
            <a:avLst/>
          </a:prstGeom>
        </p:spPr>
      </p:pic>
      <p:pic>
        <p:nvPicPr>
          <p:cNvPr id="51" name="Picture 50" descr="8.emf"/>
          <p:cNvPicPr>
            <a:picLocks noChangeAspect="1"/>
          </p:cNvPicPr>
          <p:nvPr/>
        </p:nvPicPr>
        <p:blipFill>
          <a:blip r:embed="rId14"/>
          <a:stretch>
            <a:fillRect/>
          </a:stretch>
        </p:blipFill>
        <p:spPr>
          <a:xfrm>
            <a:off x="4138015" y="1133886"/>
            <a:ext cx="142735" cy="157647"/>
          </a:xfrm>
          <a:prstGeom prst="rect">
            <a:avLst/>
          </a:prstGeom>
        </p:spPr>
      </p:pic>
      <p:pic>
        <p:nvPicPr>
          <p:cNvPr id="52" name="Picture 51" descr="9.emf"/>
          <p:cNvPicPr>
            <a:picLocks noChangeAspect="1"/>
          </p:cNvPicPr>
          <p:nvPr/>
        </p:nvPicPr>
        <p:blipFill>
          <a:blip r:embed="rId15"/>
          <a:stretch>
            <a:fillRect/>
          </a:stretch>
        </p:blipFill>
        <p:spPr>
          <a:xfrm>
            <a:off x="4502348" y="1161702"/>
            <a:ext cx="176822" cy="100128"/>
          </a:xfrm>
          <a:prstGeom prst="rect">
            <a:avLst/>
          </a:prstGeom>
        </p:spPr>
      </p:pic>
      <p:pic>
        <p:nvPicPr>
          <p:cNvPr id="53" name="Picture 52" descr="10.emf"/>
          <p:cNvPicPr>
            <a:picLocks noChangeAspect="1"/>
          </p:cNvPicPr>
          <p:nvPr/>
        </p:nvPicPr>
        <p:blipFill>
          <a:blip r:embed="rId16"/>
          <a:stretch>
            <a:fillRect/>
          </a:stretch>
        </p:blipFill>
        <p:spPr>
          <a:xfrm>
            <a:off x="4914903" y="1088491"/>
            <a:ext cx="91606" cy="221558"/>
          </a:xfrm>
          <a:prstGeom prst="rect">
            <a:avLst/>
          </a:prstGeom>
        </p:spPr>
      </p:pic>
      <p:pic>
        <p:nvPicPr>
          <p:cNvPr id="54" name="Picture 53" descr="11.emf"/>
          <p:cNvPicPr>
            <a:picLocks noChangeAspect="1"/>
          </p:cNvPicPr>
          <p:nvPr/>
        </p:nvPicPr>
        <p:blipFill>
          <a:blip r:embed="rId17"/>
          <a:stretch>
            <a:fillRect/>
          </a:stretch>
        </p:blipFill>
        <p:spPr>
          <a:xfrm>
            <a:off x="5245305" y="1126052"/>
            <a:ext cx="174691" cy="155517"/>
          </a:xfrm>
          <a:prstGeom prst="rect">
            <a:avLst/>
          </a:prstGeom>
        </p:spPr>
      </p:pic>
      <p:pic>
        <p:nvPicPr>
          <p:cNvPr id="55" name="Picture 54" descr="12.emf"/>
          <p:cNvPicPr>
            <a:picLocks noChangeAspect="1"/>
          </p:cNvPicPr>
          <p:nvPr/>
        </p:nvPicPr>
        <p:blipFill>
          <a:blip r:embed="rId18"/>
          <a:stretch>
            <a:fillRect/>
          </a:stretch>
        </p:blipFill>
        <p:spPr>
          <a:xfrm>
            <a:off x="5672145" y="1077405"/>
            <a:ext cx="74563" cy="253513"/>
          </a:xfrm>
          <a:prstGeom prst="rect">
            <a:avLst/>
          </a:prstGeom>
        </p:spPr>
      </p:pic>
      <p:pic>
        <p:nvPicPr>
          <p:cNvPr id="56" name="Picture 55" descr="13.emf"/>
          <p:cNvPicPr>
            <a:picLocks noChangeAspect="1"/>
          </p:cNvPicPr>
          <p:nvPr/>
        </p:nvPicPr>
        <p:blipFill>
          <a:blip r:embed="rId19"/>
          <a:stretch>
            <a:fillRect/>
          </a:stretch>
        </p:blipFill>
        <p:spPr>
          <a:xfrm>
            <a:off x="6072199" y="1077506"/>
            <a:ext cx="78884" cy="260757"/>
          </a:xfrm>
          <a:prstGeom prst="rect">
            <a:avLst/>
          </a:prstGeom>
        </p:spPr>
      </p:pic>
      <p:pic>
        <p:nvPicPr>
          <p:cNvPr id="57" name="Picture 56" descr="14.emf"/>
          <p:cNvPicPr>
            <a:picLocks noChangeAspect="1"/>
          </p:cNvPicPr>
          <p:nvPr/>
        </p:nvPicPr>
        <p:blipFill>
          <a:blip r:embed="rId20"/>
          <a:stretch>
            <a:fillRect/>
          </a:stretch>
        </p:blipFill>
        <p:spPr>
          <a:xfrm>
            <a:off x="6361522" y="1091792"/>
            <a:ext cx="251993" cy="221315"/>
          </a:xfrm>
          <a:prstGeom prst="rect">
            <a:avLst/>
          </a:prstGeom>
        </p:spPr>
      </p:pic>
      <p:pic>
        <p:nvPicPr>
          <p:cNvPr id="58" name="Picture 57" descr="15.emf"/>
          <p:cNvPicPr>
            <a:picLocks noChangeAspect="1"/>
          </p:cNvPicPr>
          <p:nvPr/>
        </p:nvPicPr>
        <p:blipFill>
          <a:blip r:embed="rId21"/>
          <a:stretch>
            <a:fillRect/>
          </a:stretch>
        </p:blipFill>
        <p:spPr>
          <a:xfrm>
            <a:off x="6754430" y="1113223"/>
            <a:ext cx="199403" cy="179681"/>
          </a:xfrm>
          <a:prstGeom prst="rect">
            <a:avLst/>
          </a:prstGeom>
        </p:spPr>
      </p:pic>
      <p:pic>
        <p:nvPicPr>
          <p:cNvPr id="59" name="Picture 58" descr="16.emf"/>
          <p:cNvPicPr>
            <a:picLocks noChangeAspect="1"/>
          </p:cNvPicPr>
          <p:nvPr/>
        </p:nvPicPr>
        <p:blipFill>
          <a:blip r:embed="rId22"/>
          <a:stretch>
            <a:fillRect/>
          </a:stretch>
        </p:blipFill>
        <p:spPr>
          <a:xfrm>
            <a:off x="7150912" y="1123939"/>
            <a:ext cx="177490" cy="173108"/>
          </a:xfrm>
          <a:prstGeom prst="rect">
            <a:avLst/>
          </a:prstGeom>
        </p:spPr>
      </p:pic>
      <p:pic>
        <p:nvPicPr>
          <p:cNvPr id="60" name="Picture 59" descr="17.emf"/>
          <p:cNvPicPr>
            <a:picLocks noChangeAspect="1"/>
          </p:cNvPicPr>
          <p:nvPr/>
        </p:nvPicPr>
        <p:blipFill>
          <a:blip r:embed="rId23"/>
          <a:stretch>
            <a:fillRect/>
          </a:stretch>
        </p:blipFill>
        <p:spPr>
          <a:xfrm>
            <a:off x="7536677" y="1116796"/>
            <a:ext cx="164343" cy="168725"/>
          </a:xfrm>
          <a:prstGeom prst="rect">
            <a:avLst/>
          </a:prstGeom>
        </p:spPr>
      </p:pic>
      <p:pic>
        <p:nvPicPr>
          <p:cNvPr id="61" name="Picture 60" descr="18.emf"/>
          <p:cNvPicPr>
            <a:picLocks noChangeAspect="1"/>
          </p:cNvPicPr>
          <p:nvPr/>
        </p:nvPicPr>
        <p:blipFill>
          <a:blip r:embed="rId24"/>
          <a:stretch>
            <a:fillRect/>
          </a:stretch>
        </p:blipFill>
        <p:spPr>
          <a:xfrm>
            <a:off x="1450182" y="1529350"/>
            <a:ext cx="181873" cy="146813"/>
          </a:xfrm>
          <a:prstGeom prst="rect">
            <a:avLst/>
          </a:prstGeom>
        </p:spPr>
      </p:pic>
      <p:pic>
        <p:nvPicPr>
          <p:cNvPr id="62" name="Picture 61" descr="19.emf"/>
          <p:cNvPicPr>
            <a:picLocks noChangeAspect="1"/>
          </p:cNvPicPr>
          <p:nvPr/>
        </p:nvPicPr>
        <p:blipFill>
          <a:blip r:embed="rId25"/>
          <a:stretch>
            <a:fillRect/>
          </a:stretch>
        </p:blipFill>
        <p:spPr>
          <a:xfrm>
            <a:off x="1848426" y="1520421"/>
            <a:ext cx="181872" cy="164343"/>
          </a:xfrm>
          <a:prstGeom prst="rect">
            <a:avLst/>
          </a:prstGeom>
        </p:spPr>
      </p:pic>
      <p:pic>
        <p:nvPicPr>
          <p:cNvPr id="63" name="Picture 62" descr="20.emf"/>
          <p:cNvPicPr>
            <a:picLocks noChangeAspect="1"/>
          </p:cNvPicPr>
          <p:nvPr/>
        </p:nvPicPr>
        <p:blipFill>
          <a:blip r:embed="rId26"/>
          <a:stretch>
            <a:fillRect/>
          </a:stretch>
        </p:blipFill>
        <p:spPr>
          <a:xfrm>
            <a:off x="2237763" y="1538281"/>
            <a:ext cx="144621" cy="129283"/>
          </a:xfrm>
          <a:prstGeom prst="rect">
            <a:avLst/>
          </a:prstGeom>
        </p:spPr>
      </p:pic>
      <p:pic>
        <p:nvPicPr>
          <p:cNvPr id="64" name="Picture 63" descr="21.emf"/>
          <p:cNvPicPr>
            <a:picLocks noChangeAspect="1"/>
          </p:cNvPicPr>
          <p:nvPr/>
        </p:nvPicPr>
        <p:blipFill>
          <a:blip r:embed="rId27"/>
          <a:stretch>
            <a:fillRect/>
          </a:stretch>
        </p:blipFill>
        <p:spPr>
          <a:xfrm>
            <a:off x="2621743" y="1540068"/>
            <a:ext cx="138048" cy="120518"/>
          </a:xfrm>
          <a:prstGeom prst="rect">
            <a:avLst/>
          </a:prstGeom>
        </p:spPr>
      </p:pic>
      <p:pic>
        <p:nvPicPr>
          <p:cNvPr id="65" name="Picture 64" descr="22.emf"/>
          <p:cNvPicPr>
            <a:picLocks noChangeAspect="1"/>
          </p:cNvPicPr>
          <p:nvPr/>
        </p:nvPicPr>
        <p:blipFill>
          <a:blip r:embed="rId28"/>
          <a:stretch>
            <a:fillRect/>
          </a:stretch>
        </p:blipFill>
        <p:spPr>
          <a:xfrm>
            <a:off x="3011080" y="1484703"/>
            <a:ext cx="127092" cy="221315"/>
          </a:xfrm>
          <a:prstGeom prst="rect">
            <a:avLst/>
          </a:prstGeom>
        </p:spPr>
      </p:pic>
      <p:pic>
        <p:nvPicPr>
          <p:cNvPr id="66" name="Picture 65" descr="23.emf"/>
          <p:cNvPicPr>
            <a:picLocks noChangeAspect="1"/>
          </p:cNvPicPr>
          <p:nvPr/>
        </p:nvPicPr>
        <p:blipFill>
          <a:blip r:embed="rId29"/>
          <a:stretch>
            <a:fillRect/>
          </a:stretch>
        </p:blipFill>
        <p:spPr>
          <a:xfrm>
            <a:off x="3377199" y="1515064"/>
            <a:ext cx="155577" cy="162151"/>
          </a:xfrm>
          <a:prstGeom prst="rect">
            <a:avLst/>
          </a:prstGeom>
        </p:spPr>
      </p:pic>
      <p:pic>
        <p:nvPicPr>
          <p:cNvPr id="67" name="Picture 66" descr="24.emf"/>
          <p:cNvPicPr>
            <a:picLocks noChangeAspect="1"/>
          </p:cNvPicPr>
          <p:nvPr/>
        </p:nvPicPr>
        <p:blipFill>
          <a:blip r:embed="rId30"/>
          <a:stretch>
            <a:fillRect/>
          </a:stretch>
        </p:blipFill>
        <p:spPr>
          <a:xfrm>
            <a:off x="3743319" y="1529351"/>
            <a:ext cx="168725" cy="133665"/>
          </a:xfrm>
          <a:prstGeom prst="rect">
            <a:avLst/>
          </a:prstGeom>
        </p:spPr>
      </p:pic>
      <p:pic>
        <p:nvPicPr>
          <p:cNvPr id="68" name="Picture 67" descr="25.emf"/>
          <p:cNvPicPr>
            <a:picLocks noChangeAspect="1"/>
          </p:cNvPicPr>
          <p:nvPr/>
        </p:nvPicPr>
        <p:blipFill>
          <a:blip r:embed="rId31"/>
          <a:stretch>
            <a:fillRect/>
          </a:stretch>
        </p:blipFill>
        <p:spPr>
          <a:xfrm>
            <a:off x="4139801" y="1531143"/>
            <a:ext cx="136459" cy="134423"/>
          </a:xfrm>
          <a:prstGeom prst="rect">
            <a:avLst/>
          </a:prstGeom>
        </p:spPr>
      </p:pic>
      <p:pic>
        <p:nvPicPr>
          <p:cNvPr id="69" name="Picture 68" descr="26.emf"/>
          <p:cNvPicPr>
            <a:picLocks noChangeAspect="1"/>
          </p:cNvPicPr>
          <p:nvPr/>
        </p:nvPicPr>
        <p:blipFill>
          <a:blip r:embed="rId32"/>
          <a:stretch>
            <a:fillRect/>
          </a:stretch>
        </p:blipFill>
        <p:spPr>
          <a:xfrm>
            <a:off x="4493419" y="1538280"/>
            <a:ext cx="193487" cy="122202"/>
          </a:xfrm>
          <a:prstGeom prst="rect">
            <a:avLst/>
          </a:prstGeom>
        </p:spPr>
      </p:pic>
      <p:pic>
        <p:nvPicPr>
          <p:cNvPr id="70" name="Picture 69" descr="27.emf"/>
          <p:cNvPicPr>
            <a:picLocks noChangeAspect="1"/>
          </p:cNvPicPr>
          <p:nvPr/>
        </p:nvPicPr>
        <p:blipFill>
          <a:blip r:embed="rId33"/>
          <a:stretch>
            <a:fillRect/>
          </a:stretch>
        </p:blipFill>
        <p:spPr>
          <a:xfrm>
            <a:off x="4832748" y="1547210"/>
            <a:ext cx="255051" cy="96448"/>
          </a:xfrm>
          <a:prstGeom prst="rect">
            <a:avLst/>
          </a:prstGeom>
        </p:spPr>
      </p:pic>
      <p:pic>
        <p:nvPicPr>
          <p:cNvPr id="71" name="Picture 70" descr="28.emf"/>
          <p:cNvPicPr>
            <a:picLocks noChangeAspect="1"/>
          </p:cNvPicPr>
          <p:nvPr/>
        </p:nvPicPr>
        <p:blipFill>
          <a:blip r:embed="rId34"/>
          <a:stretch>
            <a:fillRect/>
          </a:stretch>
        </p:blipFill>
        <p:spPr>
          <a:xfrm>
            <a:off x="5306021" y="1519517"/>
            <a:ext cx="62891" cy="157229"/>
          </a:xfrm>
          <a:prstGeom prst="rect">
            <a:avLst/>
          </a:prstGeom>
        </p:spPr>
      </p:pic>
      <p:pic>
        <p:nvPicPr>
          <p:cNvPr id="72" name="Picture 71" descr="29.emf"/>
          <p:cNvPicPr>
            <a:picLocks noChangeAspect="1"/>
          </p:cNvPicPr>
          <p:nvPr/>
        </p:nvPicPr>
        <p:blipFill>
          <a:blip r:embed="rId35"/>
          <a:stretch>
            <a:fillRect/>
          </a:stretch>
        </p:blipFill>
        <p:spPr>
          <a:xfrm>
            <a:off x="5665000" y="1511895"/>
            <a:ext cx="96434" cy="174001"/>
          </a:xfrm>
          <a:prstGeom prst="rect">
            <a:avLst/>
          </a:prstGeom>
        </p:spPr>
      </p:pic>
      <p:pic>
        <p:nvPicPr>
          <p:cNvPr id="73" name="Picture 72" descr="30.emf"/>
          <p:cNvPicPr>
            <a:picLocks noChangeAspect="1"/>
          </p:cNvPicPr>
          <p:nvPr/>
        </p:nvPicPr>
        <p:blipFill>
          <a:blip r:embed="rId36"/>
          <a:stretch>
            <a:fillRect/>
          </a:stretch>
        </p:blipFill>
        <p:spPr>
          <a:xfrm>
            <a:off x="6038254" y="1491936"/>
            <a:ext cx="145649" cy="216332"/>
          </a:xfrm>
          <a:prstGeom prst="rect">
            <a:avLst/>
          </a:prstGeom>
        </p:spPr>
      </p:pic>
      <p:pic>
        <p:nvPicPr>
          <p:cNvPr id="74" name="Picture 73" descr="31.emf"/>
          <p:cNvPicPr>
            <a:picLocks noChangeAspect="1"/>
          </p:cNvPicPr>
          <p:nvPr/>
        </p:nvPicPr>
        <p:blipFill>
          <a:blip r:embed="rId37"/>
          <a:stretch>
            <a:fillRect/>
          </a:stretch>
        </p:blipFill>
        <p:spPr>
          <a:xfrm>
            <a:off x="6359724" y="1497900"/>
            <a:ext cx="233230" cy="210117"/>
          </a:xfrm>
          <a:prstGeom prst="rect">
            <a:avLst/>
          </a:prstGeom>
        </p:spPr>
      </p:pic>
      <p:pic>
        <p:nvPicPr>
          <p:cNvPr id="75" name="Picture 74" descr="32.emf"/>
          <p:cNvPicPr>
            <a:picLocks noChangeAspect="1"/>
          </p:cNvPicPr>
          <p:nvPr/>
        </p:nvPicPr>
        <p:blipFill>
          <a:blip r:embed="rId38"/>
          <a:stretch>
            <a:fillRect/>
          </a:stretch>
        </p:blipFill>
        <p:spPr>
          <a:xfrm>
            <a:off x="6722283" y="1537491"/>
            <a:ext cx="251803" cy="116379"/>
          </a:xfrm>
          <a:prstGeom prst="rect">
            <a:avLst/>
          </a:prstGeom>
        </p:spPr>
      </p:pic>
      <p:pic>
        <p:nvPicPr>
          <p:cNvPr id="76" name="Picture 75" descr="33.emf"/>
          <p:cNvPicPr>
            <a:picLocks noChangeAspect="1"/>
          </p:cNvPicPr>
          <p:nvPr/>
        </p:nvPicPr>
        <p:blipFill>
          <a:blip r:embed="rId39"/>
          <a:stretch>
            <a:fillRect/>
          </a:stretch>
        </p:blipFill>
        <p:spPr>
          <a:xfrm>
            <a:off x="7125493" y="1490067"/>
            <a:ext cx="227774" cy="211057"/>
          </a:xfrm>
          <a:prstGeom prst="rect">
            <a:avLst/>
          </a:prstGeom>
        </p:spPr>
      </p:pic>
      <p:pic>
        <p:nvPicPr>
          <p:cNvPr id="77" name="Picture 76" descr="34.emf"/>
          <p:cNvPicPr>
            <a:picLocks noChangeAspect="1"/>
          </p:cNvPicPr>
          <p:nvPr/>
        </p:nvPicPr>
        <p:blipFill>
          <a:blip r:embed="rId40"/>
          <a:stretch>
            <a:fillRect/>
          </a:stretch>
        </p:blipFill>
        <p:spPr>
          <a:xfrm>
            <a:off x="7543800" y="1472551"/>
            <a:ext cx="143122" cy="233399"/>
          </a:xfrm>
          <a:prstGeom prst="rect">
            <a:avLst/>
          </a:prstGeom>
        </p:spPr>
      </p:pic>
      <p:pic>
        <p:nvPicPr>
          <p:cNvPr id="78" name="Picture 77" descr="35.emf"/>
          <p:cNvPicPr>
            <a:picLocks noChangeAspect="1"/>
          </p:cNvPicPr>
          <p:nvPr/>
        </p:nvPicPr>
        <p:blipFill>
          <a:blip r:embed="rId41"/>
          <a:stretch>
            <a:fillRect/>
          </a:stretch>
        </p:blipFill>
        <p:spPr>
          <a:xfrm>
            <a:off x="1462683" y="1882974"/>
            <a:ext cx="164924" cy="169322"/>
          </a:xfrm>
          <a:prstGeom prst="rect">
            <a:avLst/>
          </a:prstGeom>
        </p:spPr>
      </p:pic>
      <p:pic>
        <p:nvPicPr>
          <p:cNvPr id="79" name="Picture 78" descr="36.emf"/>
          <p:cNvPicPr>
            <a:picLocks noChangeAspect="1"/>
          </p:cNvPicPr>
          <p:nvPr/>
        </p:nvPicPr>
        <p:blipFill>
          <a:blip r:embed="rId42"/>
          <a:stretch>
            <a:fillRect/>
          </a:stretch>
        </p:blipFill>
        <p:spPr>
          <a:xfrm>
            <a:off x="1855569" y="1883395"/>
            <a:ext cx="169685" cy="169685"/>
          </a:xfrm>
          <a:prstGeom prst="rect">
            <a:avLst/>
          </a:prstGeom>
        </p:spPr>
      </p:pic>
      <p:pic>
        <p:nvPicPr>
          <p:cNvPr id="80" name="Picture 79" descr="37.emf"/>
          <p:cNvPicPr>
            <a:picLocks noChangeAspect="1"/>
          </p:cNvPicPr>
          <p:nvPr/>
        </p:nvPicPr>
        <p:blipFill>
          <a:blip r:embed="rId43"/>
          <a:stretch>
            <a:fillRect/>
          </a:stretch>
        </p:blipFill>
        <p:spPr>
          <a:xfrm>
            <a:off x="2244909" y="1884782"/>
            <a:ext cx="144677" cy="160021"/>
          </a:xfrm>
          <a:prstGeom prst="rect">
            <a:avLst/>
          </a:prstGeom>
        </p:spPr>
      </p:pic>
      <p:pic>
        <p:nvPicPr>
          <p:cNvPr id="81" name="Picture 80" descr="38.emf"/>
          <p:cNvPicPr>
            <a:picLocks noChangeAspect="1"/>
          </p:cNvPicPr>
          <p:nvPr/>
        </p:nvPicPr>
        <p:blipFill>
          <a:blip r:embed="rId44"/>
          <a:stretch>
            <a:fillRect/>
          </a:stretch>
        </p:blipFill>
        <p:spPr>
          <a:xfrm>
            <a:off x="2624628" y="1883605"/>
            <a:ext cx="136864" cy="174391"/>
          </a:xfrm>
          <a:prstGeom prst="rect">
            <a:avLst/>
          </a:prstGeom>
        </p:spPr>
      </p:pic>
      <p:pic>
        <p:nvPicPr>
          <p:cNvPr id="82" name="Picture 81" descr="39.emf"/>
          <p:cNvPicPr>
            <a:picLocks noChangeAspect="1"/>
          </p:cNvPicPr>
          <p:nvPr/>
        </p:nvPicPr>
        <p:blipFill>
          <a:blip r:embed="rId45"/>
          <a:stretch>
            <a:fillRect/>
          </a:stretch>
        </p:blipFill>
        <p:spPr>
          <a:xfrm>
            <a:off x="3018224" y="1881183"/>
            <a:ext cx="105218" cy="170981"/>
          </a:xfrm>
          <a:prstGeom prst="rect">
            <a:avLst/>
          </a:prstGeom>
        </p:spPr>
      </p:pic>
      <p:pic>
        <p:nvPicPr>
          <p:cNvPr id="83" name="Picture 82" descr="40.emf"/>
          <p:cNvPicPr>
            <a:picLocks noChangeAspect="1"/>
          </p:cNvPicPr>
          <p:nvPr/>
        </p:nvPicPr>
        <p:blipFill>
          <a:blip r:embed="rId46"/>
          <a:stretch>
            <a:fillRect/>
          </a:stretch>
        </p:blipFill>
        <p:spPr>
          <a:xfrm>
            <a:off x="3357555" y="1879397"/>
            <a:ext cx="184133" cy="177557"/>
          </a:xfrm>
          <a:prstGeom prst="rect">
            <a:avLst/>
          </a:prstGeom>
        </p:spPr>
      </p:pic>
      <p:pic>
        <p:nvPicPr>
          <p:cNvPr id="84" name="Picture 83" descr="41.emf"/>
          <p:cNvPicPr>
            <a:picLocks noChangeAspect="1"/>
          </p:cNvPicPr>
          <p:nvPr/>
        </p:nvPicPr>
        <p:blipFill>
          <a:blip r:embed="rId47"/>
          <a:stretch>
            <a:fillRect/>
          </a:stretch>
        </p:blipFill>
        <p:spPr>
          <a:xfrm>
            <a:off x="3716529" y="1854393"/>
            <a:ext cx="221399" cy="221399"/>
          </a:xfrm>
          <a:prstGeom prst="rect">
            <a:avLst/>
          </a:prstGeom>
        </p:spPr>
      </p:pic>
      <p:pic>
        <p:nvPicPr>
          <p:cNvPr id="85" name="Picture 84" descr="42.emf"/>
          <p:cNvPicPr>
            <a:picLocks noChangeAspect="1"/>
          </p:cNvPicPr>
          <p:nvPr/>
        </p:nvPicPr>
        <p:blipFill>
          <a:blip r:embed="rId48"/>
          <a:stretch>
            <a:fillRect/>
          </a:stretch>
        </p:blipFill>
        <p:spPr>
          <a:xfrm>
            <a:off x="4095151" y="1854394"/>
            <a:ext cx="217015" cy="221399"/>
          </a:xfrm>
          <a:prstGeom prst="rect">
            <a:avLst/>
          </a:prstGeom>
        </p:spPr>
      </p:pic>
      <p:pic>
        <p:nvPicPr>
          <p:cNvPr id="87" name="Picture 86" descr="43.emf"/>
          <p:cNvPicPr>
            <a:picLocks noChangeAspect="1"/>
          </p:cNvPicPr>
          <p:nvPr/>
        </p:nvPicPr>
        <p:blipFill>
          <a:blip r:embed="rId49"/>
          <a:stretch>
            <a:fillRect/>
          </a:stretch>
        </p:blipFill>
        <p:spPr>
          <a:xfrm>
            <a:off x="4489846" y="1888327"/>
            <a:ext cx="181942" cy="160021"/>
          </a:xfrm>
          <a:prstGeom prst="rect">
            <a:avLst/>
          </a:prstGeom>
        </p:spPr>
      </p:pic>
      <p:pic>
        <p:nvPicPr>
          <p:cNvPr id="88" name="Picture 87" descr="44.emf"/>
          <p:cNvPicPr>
            <a:picLocks noChangeAspect="1"/>
          </p:cNvPicPr>
          <p:nvPr/>
        </p:nvPicPr>
        <p:blipFill>
          <a:blip r:embed="rId50"/>
          <a:stretch>
            <a:fillRect/>
          </a:stretch>
        </p:blipFill>
        <p:spPr>
          <a:xfrm>
            <a:off x="4864896" y="1911544"/>
            <a:ext cx="181942" cy="120564"/>
          </a:xfrm>
          <a:prstGeom prst="rect">
            <a:avLst/>
          </a:prstGeom>
        </p:spPr>
      </p:pic>
      <p:pic>
        <p:nvPicPr>
          <p:cNvPr id="89" name="Picture 88" descr="45.emf"/>
          <p:cNvPicPr>
            <a:picLocks noChangeAspect="1"/>
          </p:cNvPicPr>
          <p:nvPr/>
        </p:nvPicPr>
        <p:blipFill>
          <a:blip r:embed="rId51"/>
          <a:stretch>
            <a:fillRect/>
          </a:stretch>
        </p:blipFill>
        <p:spPr>
          <a:xfrm>
            <a:off x="5216728" y="1875824"/>
            <a:ext cx="241128" cy="201671"/>
          </a:xfrm>
          <a:prstGeom prst="rect">
            <a:avLst/>
          </a:prstGeom>
        </p:spPr>
      </p:pic>
      <p:pic>
        <p:nvPicPr>
          <p:cNvPr id="90" name="Picture 89" descr="46.emf"/>
          <p:cNvPicPr>
            <a:picLocks noChangeAspect="1"/>
          </p:cNvPicPr>
          <p:nvPr/>
        </p:nvPicPr>
        <p:blipFill>
          <a:blip r:embed="rId52"/>
          <a:stretch>
            <a:fillRect/>
          </a:stretch>
        </p:blipFill>
        <p:spPr>
          <a:xfrm>
            <a:off x="5647142" y="1911544"/>
            <a:ext cx="129332" cy="129332"/>
          </a:xfrm>
          <a:prstGeom prst="rect">
            <a:avLst/>
          </a:prstGeom>
        </p:spPr>
      </p:pic>
      <p:pic>
        <p:nvPicPr>
          <p:cNvPr id="91" name="Picture 90" descr="47.emf"/>
          <p:cNvPicPr>
            <a:picLocks noChangeAspect="1"/>
          </p:cNvPicPr>
          <p:nvPr/>
        </p:nvPicPr>
        <p:blipFill>
          <a:blip r:embed="rId53"/>
          <a:stretch>
            <a:fillRect/>
          </a:stretch>
        </p:blipFill>
        <p:spPr>
          <a:xfrm>
            <a:off x="6013261" y="1884755"/>
            <a:ext cx="179749" cy="181941"/>
          </a:xfrm>
          <a:prstGeom prst="rect">
            <a:avLst/>
          </a:prstGeom>
        </p:spPr>
      </p:pic>
      <p:pic>
        <p:nvPicPr>
          <p:cNvPr id="92" name="Picture 91" descr="48.emf"/>
          <p:cNvPicPr>
            <a:picLocks noChangeAspect="1"/>
          </p:cNvPicPr>
          <p:nvPr/>
        </p:nvPicPr>
        <p:blipFill>
          <a:blip r:embed="rId54"/>
          <a:stretch>
            <a:fillRect/>
          </a:stretch>
        </p:blipFill>
        <p:spPr>
          <a:xfrm>
            <a:off x="6393669" y="1879397"/>
            <a:ext cx="181942" cy="181942"/>
          </a:xfrm>
          <a:prstGeom prst="rect">
            <a:avLst/>
          </a:prstGeom>
        </p:spPr>
      </p:pic>
      <p:pic>
        <p:nvPicPr>
          <p:cNvPr id="93" name="Picture 92" descr="49.emf"/>
          <p:cNvPicPr>
            <a:picLocks noChangeAspect="1"/>
          </p:cNvPicPr>
          <p:nvPr/>
        </p:nvPicPr>
        <p:blipFill>
          <a:blip r:embed="rId55"/>
          <a:stretch>
            <a:fillRect/>
          </a:stretch>
        </p:blipFill>
        <p:spPr>
          <a:xfrm>
            <a:off x="6765146" y="1884755"/>
            <a:ext cx="162669" cy="162669"/>
          </a:xfrm>
          <a:prstGeom prst="rect">
            <a:avLst/>
          </a:prstGeom>
        </p:spPr>
      </p:pic>
      <p:pic>
        <p:nvPicPr>
          <p:cNvPr id="94" name="Picture 93" descr="50.emf"/>
          <p:cNvPicPr>
            <a:picLocks noChangeAspect="1"/>
          </p:cNvPicPr>
          <p:nvPr/>
        </p:nvPicPr>
        <p:blipFill>
          <a:blip r:embed="rId56"/>
          <a:stretch>
            <a:fillRect/>
          </a:stretch>
        </p:blipFill>
        <p:spPr>
          <a:xfrm>
            <a:off x="7158056" y="1879397"/>
            <a:ext cx="174630" cy="174630"/>
          </a:xfrm>
          <a:prstGeom prst="rect">
            <a:avLst/>
          </a:prstGeom>
        </p:spPr>
      </p:pic>
      <p:pic>
        <p:nvPicPr>
          <p:cNvPr id="95" name="Picture 94" descr="51.emf"/>
          <p:cNvPicPr>
            <a:picLocks noChangeAspect="1"/>
          </p:cNvPicPr>
          <p:nvPr/>
        </p:nvPicPr>
        <p:blipFill>
          <a:blip r:embed="rId57"/>
          <a:stretch>
            <a:fillRect/>
          </a:stretch>
        </p:blipFill>
        <p:spPr>
          <a:xfrm>
            <a:off x="7527747" y="1881182"/>
            <a:ext cx="174630" cy="174630"/>
          </a:xfrm>
          <a:prstGeom prst="rect">
            <a:avLst/>
          </a:prstGeom>
        </p:spPr>
      </p:pic>
      <p:pic>
        <p:nvPicPr>
          <p:cNvPr id="96" name="Picture 95" descr="52.emf"/>
          <p:cNvPicPr>
            <a:picLocks noChangeAspect="1"/>
          </p:cNvPicPr>
          <p:nvPr/>
        </p:nvPicPr>
        <p:blipFill>
          <a:blip r:embed="rId58"/>
          <a:stretch>
            <a:fillRect/>
          </a:stretch>
        </p:blipFill>
        <p:spPr>
          <a:xfrm>
            <a:off x="1435975" y="2237574"/>
            <a:ext cx="210650" cy="226336"/>
          </a:xfrm>
          <a:prstGeom prst="rect">
            <a:avLst/>
          </a:prstGeom>
        </p:spPr>
      </p:pic>
      <p:pic>
        <p:nvPicPr>
          <p:cNvPr id="97" name="Picture 96" descr="53.emf"/>
          <p:cNvPicPr>
            <a:picLocks noChangeAspect="1"/>
          </p:cNvPicPr>
          <p:nvPr/>
        </p:nvPicPr>
        <p:blipFill>
          <a:blip r:embed="rId59"/>
          <a:stretch>
            <a:fillRect/>
          </a:stretch>
        </p:blipFill>
        <p:spPr>
          <a:xfrm>
            <a:off x="1837711" y="2288798"/>
            <a:ext cx="185999" cy="112047"/>
          </a:xfrm>
          <a:prstGeom prst="rect">
            <a:avLst/>
          </a:prstGeom>
        </p:spPr>
      </p:pic>
      <p:pic>
        <p:nvPicPr>
          <p:cNvPr id="98" name="Picture 97" descr="54.emf"/>
          <p:cNvPicPr>
            <a:picLocks noChangeAspect="1"/>
          </p:cNvPicPr>
          <p:nvPr/>
        </p:nvPicPr>
        <p:blipFill>
          <a:blip r:embed="rId60"/>
          <a:stretch>
            <a:fillRect/>
          </a:stretch>
        </p:blipFill>
        <p:spPr>
          <a:xfrm>
            <a:off x="2237764" y="2268151"/>
            <a:ext cx="147903" cy="150144"/>
          </a:xfrm>
          <a:prstGeom prst="rect">
            <a:avLst/>
          </a:prstGeom>
        </p:spPr>
      </p:pic>
      <p:pic>
        <p:nvPicPr>
          <p:cNvPr id="99" name="Picture 98" descr="55.emf"/>
          <p:cNvPicPr>
            <a:picLocks noChangeAspect="1"/>
          </p:cNvPicPr>
          <p:nvPr/>
        </p:nvPicPr>
        <p:blipFill>
          <a:blip r:embed="rId61"/>
          <a:stretch>
            <a:fillRect/>
          </a:stretch>
        </p:blipFill>
        <p:spPr>
          <a:xfrm>
            <a:off x="2639602" y="2247354"/>
            <a:ext cx="105324" cy="185998"/>
          </a:xfrm>
          <a:prstGeom prst="rect">
            <a:avLst/>
          </a:prstGeom>
        </p:spPr>
      </p:pic>
      <p:pic>
        <p:nvPicPr>
          <p:cNvPr id="100" name="Picture 99" descr="56.emf"/>
          <p:cNvPicPr>
            <a:picLocks noChangeAspect="1"/>
          </p:cNvPicPr>
          <p:nvPr/>
        </p:nvPicPr>
        <p:blipFill>
          <a:blip r:embed="rId62"/>
          <a:stretch>
            <a:fillRect/>
          </a:stretch>
        </p:blipFill>
        <p:spPr>
          <a:xfrm>
            <a:off x="2953929" y="2271723"/>
            <a:ext cx="237541" cy="150143"/>
          </a:xfrm>
          <a:prstGeom prst="rect">
            <a:avLst/>
          </a:prstGeom>
        </p:spPr>
      </p:pic>
      <p:pic>
        <p:nvPicPr>
          <p:cNvPr id="101" name="Picture 100" descr="57.emf"/>
          <p:cNvPicPr>
            <a:picLocks noChangeAspect="1"/>
          </p:cNvPicPr>
          <p:nvPr/>
        </p:nvPicPr>
        <p:blipFill>
          <a:blip r:embed="rId63"/>
          <a:stretch>
            <a:fillRect/>
          </a:stretch>
        </p:blipFill>
        <p:spPr>
          <a:xfrm>
            <a:off x="3348625" y="2274690"/>
            <a:ext cx="199445" cy="141180"/>
          </a:xfrm>
          <a:prstGeom prst="rect">
            <a:avLst/>
          </a:prstGeom>
        </p:spPr>
      </p:pic>
      <p:pic>
        <p:nvPicPr>
          <p:cNvPr id="102" name="Picture 101" descr="58.emf"/>
          <p:cNvPicPr>
            <a:picLocks noChangeAspect="1"/>
          </p:cNvPicPr>
          <p:nvPr/>
        </p:nvPicPr>
        <p:blipFill>
          <a:blip r:embed="rId64"/>
          <a:stretch>
            <a:fillRect/>
          </a:stretch>
        </p:blipFill>
        <p:spPr>
          <a:xfrm>
            <a:off x="3773681" y="2255980"/>
            <a:ext cx="109807" cy="181517"/>
          </a:xfrm>
          <a:prstGeom prst="rect">
            <a:avLst/>
          </a:prstGeom>
        </p:spPr>
      </p:pic>
      <p:pic>
        <p:nvPicPr>
          <p:cNvPr id="103" name="Picture 102" descr="59.emf"/>
          <p:cNvPicPr>
            <a:picLocks noChangeAspect="1"/>
          </p:cNvPicPr>
          <p:nvPr/>
        </p:nvPicPr>
        <p:blipFill>
          <a:blip r:embed="rId65"/>
          <a:stretch>
            <a:fillRect/>
          </a:stretch>
        </p:blipFill>
        <p:spPr>
          <a:xfrm>
            <a:off x="4152303" y="2234001"/>
            <a:ext cx="107566" cy="226337"/>
          </a:xfrm>
          <a:prstGeom prst="rect">
            <a:avLst/>
          </a:prstGeom>
        </p:spPr>
      </p:pic>
      <p:pic>
        <p:nvPicPr>
          <p:cNvPr id="104" name="Picture 103" descr="60.emf"/>
          <p:cNvPicPr>
            <a:picLocks noChangeAspect="1"/>
          </p:cNvPicPr>
          <p:nvPr/>
        </p:nvPicPr>
        <p:blipFill>
          <a:blip r:embed="rId66"/>
          <a:stretch>
            <a:fillRect/>
          </a:stretch>
        </p:blipFill>
        <p:spPr>
          <a:xfrm>
            <a:off x="4511278" y="2265790"/>
            <a:ext cx="147903" cy="168072"/>
          </a:xfrm>
          <a:prstGeom prst="rect">
            <a:avLst/>
          </a:prstGeom>
        </p:spPr>
      </p:pic>
      <p:pic>
        <p:nvPicPr>
          <p:cNvPr id="105" name="Picture 104" descr="61.emf"/>
          <p:cNvPicPr>
            <a:picLocks noChangeAspect="1"/>
          </p:cNvPicPr>
          <p:nvPr/>
        </p:nvPicPr>
        <p:blipFill>
          <a:blip r:embed="rId67"/>
          <a:stretch>
            <a:fillRect/>
          </a:stretch>
        </p:blipFill>
        <p:spPr>
          <a:xfrm>
            <a:off x="4829175" y="2228877"/>
            <a:ext cx="264319" cy="227488"/>
          </a:xfrm>
          <a:prstGeom prst="rect">
            <a:avLst/>
          </a:prstGeom>
        </p:spPr>
      </p:pic>
      <p:pic>
        <p:nvPicPr>
          <p:cNvPr id="141" name="Picture 140" descr="62.emf"/>
          <p:cNvPicPr>
            <a:picLocks noChangeAspect="1"/>
          </p:cNvPicPr>
          <p:nvPr/>
        </p:nvPicPr>
        <p:blipFill>
          <a:blip r:embed="rId68"/>
          <a:stretch>
            <a:fillRect/>
          </a:stretch>
        </p:blipFill>
        <p:spPr>
          <a:xfrm>
            <a:off x="5273878" y="2277663"/>
            <a:ext cx="129993" cy="179824"/>
          </a:xfrm>
          <a:prstGeom prst="rect">
            <a:avLst/>
          </a:prstGeom>
        </p:spPr>
      </p:pic>
      <p:pic>
        <p:nvPicPr>
          <p:cNvPr id="142" name="Picture 141" descr="63.emf"/>
          <p:cNvPicPr>
            <a:picLocks noChangeAspect="1"/>
          </p:cNvPicPr>
          <p:nvPr/>
        </p:nvPicPr>
        <p:blipFill>
          <a:blip r:embed="rId69"/>
          <a:stretch>
            <a:fillRect/>
          </a:stretch>
        </p:blipFill>
        <p:spPr>
          <a:xfrm>
            <a:off x="5666787" y="2224085"/>
            <a:ext cx="93161" cy="227486"/>
          </a:xfrm>
          <a:prstGeom prst="rect">
            <a:avLst/>
          </a:prstGeom>
        </p:spPr>
      </p:pic>
      <p:pic>
        <p:nvPicPr>
          <p:cNvPr id="143" name="Picture 142" descr="64.emf"/>
          <p:cNvPicPr>
            <a:picLocks noChangeAspect="1"/>
          </p:cNvPicPr>
          <p:nvPr/>
        </p:nvPicPr>
        <p:blipFill>
          <a:blip r:embed="rId70"/>
          <a:stretch>
            <a:fillRect/>
          </a:stretch>
        </p:blipFill>
        <p:spPr>
          <a:xfrm>
            <a:off x="5982901" y="2299095"/>
            <a:ext cx="246986" cy="158158"/>
          </a:xfrm>
          <a:prstGeom prst="rect">
            <a:avLst/>
          </a:prstGeom>
        </p:spPr>
      </p:pic>
      <p:pic>
        <p:nvPicPr>
          <p:cNvPr id="144" name="Picture 143" descr="65.emf"/>
          <p:cNvPicPr>
            <a:picLocks noChangeAspect="1"/>
          </p:cNvPicPr>
          <p:nvPr/>
        </p:nvPicPr>
        <p:blipFill>
          <a:blip r:embed="rId71"/>
          <a:stretch>
            <a:fillRect/>
          </a:stretch>
        </p:blipFill>
        <p:spPr>
          <a:xfrm>
            <a:off x="6381167" y="2295523"/>
            <a:ext cx="201489" cy="158158"/>
          </a:xfrm>
          <a:prstGeom prst="rect">
            <a:avLst/>
          </a:prstGeom>
        </p:spPr>
      </p:pic>
      <p:pic>
        <p:nvPicPr>
          <p:cNvPr id="145" name="Picture 144" descr="66.emf"/>
          <p:cNvPicPr>
            <a:picLocks noChangeAspect="1"/>
          </p:cNvPicPr>
          <p:nvPr/>
        </p:nvPicPr>
        <p:blipFill>
          <a:blip r:embed="rId72"/>
          <a:stretch>
            <a:fillRect/>
          </a:stretch>
        </p:blipFill>
        <p:spPr>
          <a:xfrm>
            <a:off x="6779433" y="2304453"/>
            <a:ext cx="149492" cy="153824"/>
          </a:xfrm>
          <a:prstGeom prst="rect">
            <a:avLst/>
          </a:prstGeom>
        </p:spPr>
      </p:pic>
      <p:pic>
        <p:nvPicPr>
          <p:cNvPr id="146" name="Picture 145" descr="67.emf"/>
          <p:cNvPicPr>
            <a:picLocks noChangeAspect="1"/>
          </p:cNvPicPr>
          <p:nvPr/>
        </p:nvPicPr>
        <p:blipFill>
          <a:blip r:embed="rId73"/>
          <a:stretch>
            <a:fillRect/>
          </a:stretch>
        </p:blipFill>
        <p:spPr>
          <a:xfrm>
            <a:off x="7143769" y="2308025"/>
            <a:ext cx="199322" cy="138659"/>
          </a:xfrm>
          <a:prstGeom prst="rect">
            <a:avLst/>
          </a:prstGeom>
        </p:spPr>
      </p:pic>
      <p:pic>
        <p:nvPicPr>
          <p:cNvPr id="147" name="Picture 146" descr="68.emf"/>
          <p:cNvPicPr>
            <a:picLocks noChangeAspect="1"/>
          </p:cNvPicPr>
          <p:nvPr/>
        </p:nvPicPr>
        <p:blipFill>
          <a:blip r:embed="rId74"/>
          <a:stretch>
            <a:fillRect/>
          </a:stretch>
        </p:blipFill>
        <p:spPr>
          <a:xfrm>
            <a:off x="7525961" y="2306239"/>
            <a:ext cx="179824" cy="145159"/>
          </a:xfrm>
          <a:prstGeom prst="rect">
            <a:avLst/>
          </a:prstGeom>
        </p:spPr>
      </p:pic>
      <p:pic>
        <p:nvPicPr>
          <p:cNvPr id="148" name="Picture 147" descr="69.emf"/>
          <p:cNvPicPr>
            <a:picLocks noChangeAspect="1"/>
          </p:cNvPicPr>
          <p:nvPr/>
        </p:nvPicPr>
        <p:blipFill>
          <a:blip r:embed="rId75"/>
          <a:stretch>
            <a:fillRect/>
          </a:stretch>
        </p:blipFill>
        <p:spPr>
          <a:xfrm>
            <a:off x="1455540" y="2711650"/>
            <a:ext cx="179824" cy="90995"/>
          </a:xfrm>
          <a:prstGeom prst="rect">
            <a:avLst/>
          </a:prstGeom>
        </p:spPr>
      </p:pic>
      <p:pic>
        <p:nvPicPr>
          <p:cNvPr id="149" name="Picture 148" descr="70.emf"/>
          <p:cNvPicPr>
            <a:picLocks noChangeAspect="1"/>
          </p:cNvPicPr>
          <p:nvPr/>
        </p:nvPicPr>
        <p:blipFill>
          <a:blip r:embed="rId76"/>
          <a:stretch>
            <a:fillRect/>
          </a:stretch>
        </p:blipFill>
        <p:spPr>
          <a:xfrm>
            <a:off x="1844855" y="2708078"/>
            <a:ext cx="179824" cy="90995"/>
          </a:xfrm>
          <a:prstGeom prst="rect">
            <a:avLst/>
          </a:prstGeom>
        </p:spPr>
      </p:pic>
      <p:pic>
        <p:nvPicPr>
          <p:cNvPr id="150" name="Picture 149" descr="71.emf"/>
          <p:cNvPicPr>
            <a:picLocks noChangeAspect="1"/>
          </p:cNvPicPr>
          <p:nvPr/>
        </p:nvPicPr>
        <p:blipFill>
          <a:blip r:embed="rId77"/>
          <a:stretch>
            <a:fillRect/>
          </a:stretch>
        </p:blipFill>
        <p:spPr>
          <a:xfrm>
            <a:off x="2225262" y="2708078"/>
            <a:ext cx="179824" cy="90995"/>
          </a:xfrm>
          <a:prstGeom prst="rect">
            <a:avLst/>
          </a:prstGeom>
        </p:spPr>
      </p:pic>
      <p:pic>
        <p:nvPicPr>
          <p:cNvPr id="151" name="Picture 150" descr="72.emf"/>
          <p:cNvPicPr>
            <a:picLocks noChangeAspect="1"/>
          </p:cNvPicPr>
          <p:nvPr/>
        </p:nvPicPr>
        <p:blipFill>
          <a:blip r:embed="rId78"/>
          <a:stretch>
            <a:fillRect/>
          </a:stretch>
        </p:blipFill>
        <p:spPr>
          <a:xfrm>
            <a:off x="2602097" y="2683073"/>
            <a:ext cx="175490" cy="142992"/>
          </a:xfrm>
          <a:prstGeom prst="rect">
            <a:avLst/>
          </a:prstGeom>
        </p:spPr>
      </p:pic>
      <p:pic>
        <p:nvPicPr>
          <p:cNvPr id="152" name="Picture 151" descr="73.emf"/>
          <p:cNvPicPr>
            <a:picLocks noChangeAspect="1"/>
          </p:cNvPicPr>
          <p:nvPr/>
        </p:nvPicPr>
        <p:blipFill>
          <a:blip r:embed="rId79"/>
          <a:stretch>
            <a:fillRect/>
          </a:stretch>
        </p:blipFill>
        <p:spPr>
          <a:xfrm>
            <a:off x="3005722" y="2683210"/>
            <a:ext cx="140630" cy="140630"/>
          </a:xfrm>
          <a:prstGeom prst="rect">
            <a:avLst/>
          </a:prstGeom>
        </p:spPr>
      </p:pic>
      <p:pic>
        <p:nvPicPr>
          <p:cNvPr id="153" name="Picture 152" descr="74.emf"/>
          <p:cNvPicPr>
            <a:picLocks noChangeAspect="1"/>
          </p:cNvPicPr>
          <p:nvPr/>
        </p:nvPicPr>
        <p:blipFill>
          <a:blip r:embed="rId80"/>
          <a:stretch>
            <a:fillRect/>
          </a:stretch>
        </p:blipFill>
        <p:spPr>
          <a:xfrm>
            <a:off x="3350410" y="2671762"/>
            <a:ext cx="185274" cy="167417"/>
          </a:xfrm>
          <a:prstGeom prst="rect">
            <a:avLst/>
          </a:prstGeom>
        </p:spPr>
      </p:pic>
      <p:pic>
        <p:nvPicPr>
          <p:cNvPr id="154" name="Picture 153" descr="75.emf"/>
          <p:cNvPicPr>
            <a:picLocks noChangeAspect="1"/>
          </p:cNvPicPr>
          <p:nvPr/>
        </p:nvPicPr>
        <p:blipFill>
          <a:blip r:embed="rId81"/>
          <a:stretch>
            <a:fillRect/>
          </a:stretch>
        </p:blipFill>
        <p:spPr>
          <a:xfrm>
            <a:off x="3739747" y="2678907"/>
            <a:ext cx="185274" cy="147326"/>
          </a:xfrm>
          <a:prstGeom prst="rect">
            <a:avLst/>
          </a:prstGeom>
        </p:spPr>
      </p:pic>
      <p:pic>
        <p:nvPicPr>
          <p:cNvPr id="155" name="Picture 154" descr="76.emf"/>
          <p:cNvPicPr>
            <a:picLocks noChangeAspect="1"/>
          </p:cNvPicPr>
          <p:nvPr/>
        </p:nvPicPr>
        <p:blipFill>
          <a:blip r:embed="rId82"/>
          <a:stretch>
            <a:fillRect/>
          </a:stretch>
        </p:blipFill>
        <p:spPr>
          <a:xfrm>
            <a:off x="4112415" y="2671763"/>
            <a:ext cx="185274" cy="145094"/>
          </a:xfrm>
          <a:prstGeom prst="rect">
            <a:avLst/>
          </a:prstGeom>
        </p:spPr>
      </p:pic>
      <p:pic>
        <p:nvPicPr>
          <p:cNvPr id="156" name="Picture 155" descr="77.emf"/>
          <p:cNvPicPr>
            <a:picLocks noChangeAspect="1"/>
          </p:cNvPicPr>
          <p:nvPr/>
        </p:nvPicPr>
        <p:blipFill>
          <a:blip r:embed="rId83"/>
          <a:stretch>
            <a:fillRect/>
          </a:stretch>
        </p:blipFill>
        <p:spPr>
          <a:xfrm>
            <a:off x="4501752" y="2659857"/>
            <a:ext cx="167416" cy="138397"/>
          </a:xfrm>
          <a:prstGeom prst="rect">
            <a:avLst/>
          </a:prstGeom>
        </p:spPr>
      </p:pic>
      <p:pic>
        <p:nvPicPr>
          <p:cNvPr id="157" name="Picture 156" descr="78.emf"/>
          <p:cNvPicPr>
            <a:picLocks noChangeAspect="1"/>
          </p:cNvPicPr>
          <p:nvPr/>
        </p:nvPicPr>
        <p:blipFill>
          <a:blip r:embed="rId84"/>
          <a:stretch>
            <a:fillRect/>
          </a:stretch>
        </p:blipFill>
        <p:spPr>
          <a:xfrm>
            <a:off x="4900614" y="2671763"/>
            <a:ext cx="131701" cy="167417"/>
          </a:xfrm>
          <a:prstGeom prst="rect">
            <a:avLst/>
          </a:prstGeom>
        </p:spPr>
      </p:pic>
      <p:pic>
        <p:nvPicPr>
          <p:cNvPr id="158" name="Picture 157" descr="79.emf"/>
          <p:cNvPicPr>
            <a:picLocks noChangeAspect="1"/>
          </p:cNvPicPr>
          <p:nvPr/>
        </p:nvPicPr>
        <p:blipFill>
          <a:blip r:embed="rId85"/>
          <a:stretch>
            <a:fillRect/>
          </a:stretch>
        </p:blipFill>
        <p:spPr>
          <a:xfrm>
            <a:off x="5249470" y="2659856"/>
            <a:ext cx="185274" cy="185274"/>
          </a:xfrm>
          <a:prstGeom prst="rect">
            <a:avLst/>
          </a:prstGeom>
        </p:spPr>
      </p:pic>
      <p:pic>
        <p:nvPicPr>
          <p:cNvPr id="159" name="Picture 158" descr="80.emf"/>
          <p:cNvPicPr>
            <a:picLocks noChangeAspect="1"/>
          </p:cNvPicPr>
          <p:nvPr/>
        </p:nvPicPr>
        <p:blipFill>
          <a:blip r:embed="rId86"/>
          <a:stretch>
            <a:fillRect/>
          </a:stretch>
        </p:blipFill>
        <p:spPr>
          <a:xfrm>
            <a:off x="5620948" y="2687241"/>
            <a:ext cx="185274" cy="129469"/>
          </a:xfrm>
          <a:prstGeom prst="rect">
            <a:avLst/>
          </a:prstGeom>
        </p:spPr>
      </p:pic>
      <p:pic>
        <p:nvPicPr>
          <p:cNvPr id="160" name="Picture 159" descr="81.emf"/>
          <p:cNvPicPr>
            <a:picLocks noChangeAspect="1"/>
          </p:cNvPicPr>
          <p:nvPr/>
        </p:nvPicPr>
        <p:blipFill>
          <a:blip r:embed="rId87"/>
          <a:stretch>
            <a:fillRect/>
          </a:stretch>
        </p:blipFill>
        <p:spPr>
          <a:xfrm>
            <a:off x="6029335" y="2683670"/>
            <a:ext cx="147326" cy="147326"/>
          </a:xfrm>
          <a:prstGeom prst="rect">
            <a:avLst/>
          </a:prstGeom>
        </p:spPr>
      </p:pic>
      <p:pic>
        <p:nvPicPr>
          <p:cNvPr id="161" name="Picture 160" descr="82.emf"/>
          <p:cNvPicPr>
            <a:picLocks noChangeAspect="1"/>
          </p:cNvPicPr>
          <p:nvPr/>
        </p:nvPicPr>
        <p:blipFill>
          <a:blip r:embed="rId88"/>
          <a:stretch>
            <a:fillRect/>
          </a:stretch>
        </p:blipFill>
        <p:spPr>
          <a:xfrm>
            <a:off x="6390097" y="2643188"/>
            <a:ext cx="185274" cy="189739"/>
          </a:xfrm>
          <a:prstGeom prst="rect">
            <a:avLst/>
          </a:prstGeom>
        </p:spPr>
      </p:pic>
      <p:pic>
        <p:nvPicPr>
          <p:cNvPr id="162" name="Picture 161" descr="83.emf"/>
          <p:cNvPicPr>
            <a:picLocks noChangeAspect="1"/>
          </p:cNvPicPr>
          <p:nvPr/>
        </p:nvPicPr>
        <p:blipFill>
          <a:blip r:embed="rId89"/>
          <a:stretch>
            <a:fillRect/>
          </a:stretch>
        </p:blipFill>
        <p:spPr>
          <a:xfrm>
            <a:off x="6772291" y="2650332"/>
            <a:ext cx="151790" cy="162951"/>
          </a:xfrm>
          <a:prstGeom prst="rect">
            <a:avLst/>
          </a:prstGeom>
        </p:spPr>
      </p:pic>
      <p:pic>
        <p:nvPicPr>
          <p:cNvPr id="163" name="Picture 162" descr="84.emf"/>
          <p:cNvPicPr>
            <a:picLocks noChangeAspect="1"/>
          </p:cNvPicPr>
          <p:nvPr/>
        </p:nvPicPr>
        <p:blipFill>
          <a:blip r:embed="rId90"/>
          <a:stretch>
            <a:fillRect/>
          </a:stretch>
        </p:blipFill>
        <p:spPr>
          <a:xfrm>
            <a:off x="7214015" y="2650331"/>
            <a:ext cx="75896" cy="165185"/>
          </a:xfrm>
          <a:prstGeom prst="rect">
            <a:avLst/>
          </a:prstGeom>
        </p:spPr>
      </p:pic>
      <p:pic>
        <p:nvPicPr>
          <p:cNvPr id="164" name="Picture 163" descr="85.emf"/>
          <p:cNvPicPr>
            <a:picLocks noChangeAspect="1"/>
          </p:cNvPicPr>
          <p:nvPr/>
        </p:nvPicPr>
        <p:blipFill>
          <a:blip r:embed="rId91"/>
          <a:stretch>
            <a:fillRect/>
          </a:stretch>
        </p:blipFill>
        <p:spPr>
          <a:xfrm>
            <a:off x="7529471" y="2621882"/>
            <a:ext cx="182081" cy="173306"/>
          </a:xfrm>
          <a:prstGeom prst="rect">
            <a:avLst/>
          </a:prstGeom>
        </p:spPr>
      </p:pic>
      <p:pic>
        <p:nvPicPr>
          <p:cNvPr id="165" name="Picture 164" descr="86.emf"/>
          <p:cNvPicPr>
            <a:picLocks noChangeAspect="1"/>
          </p:cNvPicPr>
          <p:nvPr/>
        </p:nvPicPr>
        <p:blipFill>
          <a:blip r:embed="rId92"/>
          <a:stretch>
            <a:fillRect/>
          </a:stretch>
        </p:blipFill>
        <p:spPr>
          <a:xfrm>
            <a:off x="1452010" y="3074197"/>
            <a:ext cx="182081" cy="118463"/>
          </a:xfrm>
          <a:prstGeom prst="rect">
            <a:avLst/>
          </a:prstGeom>
        </p:spPr>
      </p:pic>
      <p:pic>
        <p:nvPicPr>
          <p:cNvPr id="166" name="Picture 165" descr="87.emf"/>
          <p:cNvPicPr>
            <a:picLocks noChangeAspect="1"/>
          </p:cNvPicPr>
          <p:nvPr/>
        </p:nvPicPr>
        <p:blipFill>
          <a:blip r:embed="rId93"/>
          <a:stretch>
            <a:fillRect/>
          </a:stretch>
        </p:blipFill>
        <p:spPr>
          <a:xfrm>
            <a:off x="1843068" y="3077768"/>
            <a:ext cx="179888" cy="118463"/>
          </a:xfrm>
          <a:prstGeom prst="rect">
            <a:avLst/>
          </a:prstGeom>
        </p:spPr>
      </p:pic>
      <p:pic>
        <p:nvPicPr>
          <p:cNvPr id="167" name="Picture 166" descr="88.emf"/>
          <p:cNvPicPr>
            <a:picLocks noChangeAspect="1"/>
          </p:cNvPicPr>
          <p:nvPr/>
        </p:nvPicPr>
        <p:blipFill>
          <a:blip r:embed="rId94"/>
          <a:stretch>
            <a:fillRect/>
          </a:stretch>
        </p:blipFill>
        <p:spPr>
          <a:xfrm>
            <a:off x="2218118" y="3045622"/>
            <a:ext cx="182081" cy="155756"/>
          </a:xfrm>
          <a:prstGeom prst="rect">
            <a:avLst/>
          </a:prstGeom>
        </p:spPr>
      </p:pic>
      <p:pic>
        <p:nvPicPr>
          <p:cNvPr id="168" name="Picture 167" descr="89.emf"/>
          <p:cNvPicPr>
            <a:picLocks noChangeAspect="1"/>
          </p:cNvPicPr>
          <p:nvPr/>
        </p:nvPicPr>
        <p:blipFill>
          <a:blip r:embed="rId95"/>
          <a:stretch>
            <a:fillRect/>
          </a:stretch>
        </p:blipFill>
        <p:spPr>
          <a:xfrm>
            <a:off x="2603883" y="3049194"/>
            <a:ext cx="182081" cy="155756"/>
          </a:xfrm>
          <a:prstGeom prst="rect">
            <a:avLst/>
          </a:prstGeom>
        </p:spPr>
      </p:pic>
      <p:pic>
        <p:nvPicPr>
          <p:cNvPr id="169" name="Picture 168" descr="90.emf"/>
          <p:cNvPicPr>
            <a:picLocks noChangeAspect="1"/>
          </p:cNvPicPr>
          <p:nvPr/>
        </p:nvPicPr>
        <p:blipFill>
          <a:blip r:embed="rId96"/>
          <a:stretch>
            <a:fillRect/>
          </a:stretch>
        </p:blipFill>
        <p:spPr>
          <a:xfrm>
            <a:off x="2978933" y="3088484"/>
            <a:ext cx="182081" cy="83363"/>
          </a:xfrm>
          <a:prstGeom prst="rect">
            <a:avLst/>
          </a:prstGeom>
        </p:spPr>
      </p:pic>
      <p:pic>
        <p:nvPicPr>
          <p:cNvPr id="170" name="Picture 169" descr="91.emf"/>
          <p:cNvPicPr>
            <a:picLocks noChangeAspect="1"/>
          </p:cNvPicPr>
          <p:nvPr/>
        </p:nvPicPr>
        <p:blipFill>
          <a:blip r:embed="rId97"/>
          <a:stretch>
            <a:fillRect/>
          </a:stretch>
        </p:blipFill>
        <p:spPr>
          <a:xfrm>
            <a:off x="3364698" y="3056338"/>
            <a:ext cx="164531" cy="146981"/>
          </a:xfrm>
          <a:prstGeom prst="rect">
            <a:avLst/>
          </a:prstGeom>
        </p:spPr>
      </p:pic>
      <p:pic>
        <p:nvPicPr>
          <p:cNvPr id="171" name="Picture 170" descr="92.emf"/>
          <p:cNvPicPr>
            <a:picLocks noChangeAspect="1"/>
          </p:cNvPicPr>
          <p:nvPr/>
        </p:nvPicPr>
        <p:blipFill>
          <a:blip r:embed="rId98"/>
          <a:stretch>
            <a:fillRect/>
          </a:stretch>
        </p:blipFill>
        <p:spPr>
          <a:xfrm>
            <a:off x="3739747" y="3056338"/>
            <a:ext cx="179888" cy="146981"/>
          </a:xfrm>
          <a:prstGeom prst="rect">
            <a:avLst/>
          </a:prstGeom>
        </p:spPr>
      </p:pic>
      <p:pic>
        <p:nvPicPr>
          <p:cNvPr id="172" name="Picture 171" descr="93.emf"/>
          <p:cNvPicPr>
            <a:picLocks noChangeAspect="1"/>
          </p:cNvPicPr>
          <p:nvPr/>
        </p:nvPicPr>
        <p:blipFill>
          <a:blip r:embed="rId99"/>
          <a:stretch>
            <a:fillRect/>
          </a:stretch>
        </p:blipFill>
        <p:spPr>
          <a:xfrm>
            <a:off x="4114797" y="3052766"/>
            <a:ext cx="182081" cy="146981"/>
          </a:xfrm>
          <a:prstGeom prst="rect">
            <a:avLst/>
          </a:prstGeom>
        </p:spPr>
      </p:pic>
      <p:pic>
        <p:nvPicPr>
          <p:cNvPr id="173" name="Picture 172" descr="94.emf"/>
          <p:cNvPicPr>
            <a:picLocks noChangeAspect="1"/>
          </p:cNvPicPr>
          <p:nvPr/>
        </p:nvPicPr>
        <p:blipFill>
          <a:blip r:embed="rId100"/>
          <a:stretch>
            <a:fillRect/>
          </a:stretch>
        </p:blipFill>
        <p:spPr>
          <a:xfrm>
            <a:off x="4507705" y="3034906"/>
            <a:ext cx="162338" cy="162338"/>
          </a:xfrm>
          <a:prstGeom prst="rect">
            <a:avLst/>
          </a:prstGeom>
        </p:spPr>
      </p:pic>
      <p:pic>
        <p:nvPicPr>
          <p:cNvPr id="174" name="Picture 173" descr="95.emf"/>
          <p:cNvPicPr>
            <a:picLocks noChangeAspect="1"/>
          </p:cNvPicPr>
          <p:nvPr/>
        </p:nvPicPr>
        <p:blipFill>
          <a:blip r:embed="rId101"/>
          <a:stretch>
            <a:fillRect/>
          </a:stretch>
        </p:blipFill>
        <p:spPr>
          <a:xfrm>
            <a:off x="4864895" y="2995615"/>
            <a:ext cx="193050" cy="221569"/>
          </a:xfrm>
          <a:prstGeom prst="rect">
            <a:avLst/>
          </a:prstGeom>
        </p:spPr>
      </p:pic>
      <p:pic>
        <p:nvPicPr>
          <p:cNvPr id="175" name="Picture 174" descr="96.emf"/>
          <p:cNvPicPr>
            <a:picLocks noChangeAspect="1"/>
          </p:cNvPicPr>
          <p:nvPr/>
        </p:nvPicPr>
        <p:blipFill>
          <a:blip r:embed="rId102"/>
          <a:stretch>
            <a:fillRect/>
          </a:stretch>
        </p:blipFill>
        <p:spPr>
          <a:xfrm>
            <a:off x="5279236" y="3034907"/>
            <a:ext cx="155756" cy="129431"/>
          </a:xfrm>
          <a:prstGeom prst="rect">
            <a:avLst/>
          </a:prstGeom>
        </p:spPr>
      </p:pic>
      <p:pic>
        <p:nvPicPr>
          <p:cNvPr id="176" name="Picture 175" descr="97.emf"/>
          <p:cNvPicPr>
            <a:picLocks noChangeAspect="1"/>
          </p:cNvPicPr>
          <p:nvPr/>
        </p:nvPicPr>
        <p:blipFill>
          <a:blip r:embed="rId103"/>
          <a:stretch>
            <a:fillRect/>
          </a:stretch>
        </p:blipFill>
        <p:spPr>
          <a:xfrm>
            <a:off x="5651905" y="3034906"/>
            <a:ext cx="155756" cy="129431"/>
          </a:xfrm>
          <a:prstGeom prst="rect">
            <a:avLst/>
          </a:prstGeom>
        </p:spPr>
      </p:pic>
      <p:pic>
        <p:nvPicPr>
          <p:cNvPr id="177" name="Picture 176" descr="98.emf"/>
          <p:cNvPicPr>
            <a:picLocks noChangeAspect="1"/>
          </p:cNvPicPr>
          <p:nvPr/>
        </p:nvPicPr>
        <p:blipFill>
          <a:blip r:embed="rId104"/>
          <a:stretch>
            <a:fillRect/>
          </a:stretch>
        </p:blipFill>
        <p:spPr>
          <a:xfrm>
            <a:off x="5974566" y="3006331"/>
            <a:ext cx="261056" cy="182081"/>
          </a:xfrm>
          <a:prstGeom prst="rect">
            <a:avLst/>
          </a:prstGeom>
        </p:spPr>
      </p:pic>
      <p:pic>
        <p:nvPicPr>
          <p:cNvPr id="178" name="Picture 177" descr="99.emf"/>
          <p:cNvPicPr>
            <a:picLocks noChangeAspect="1"/>
          </p:cNvPicPr>
          <p:nvPr/>
        </p:nvPicPr>
        <p:blipFill>
          <a:blip r:embed="rId105"/>
          <a:stretch>
            <a:fillRect/>
          </a:stretch>
        </p:blipFill>
        <p:spPr>
          <a:xfrm>
            <a:off x="6353188" y="3026572"/>
            <a:ext cx="261056" cy="142594"/>
          </a:xfrm>
          <a:prstGeom prst="rect">
            <a:avLst/>
          </a:prstGeom>
        </p:spPr>
      </p:pic>
      <p:pic>
        <p:nvPicPr>
          <p:cNvPr id="179" name="Picture 178" descr="100.emf"/>
          <p:cNvPicPr>
            <a:picLocks noChangeAspect="1"/>
          </p:cNvPicPr>
          <p:nvPr/>
        </p:nvPicPr>
        <p:blipFill>
          <a:blip r:embed="rId106"/>
          <a:stretch>
            <a:fillRect/>
          </a:stretch>
        </p:blipFill>
        <p:spPr>
          <a:xfrm>
            <a:off x="6730618" y="3011093"/>
            <a:ext cx="261056" cy="171113"/>
          </a:xfrm>
          <a:prstGeom prst="rect">
            <a:avLst/>
          </a:prstGeom>
        </p:spPr>
      </p:pic>
      <p:pic>
        <p:nvPicPr>
          <p:cNvPr id="180" name="Picture 179" descr="101.emf"/>
          <p:cNvPicPr>
            <a:picLocks noChangeAspect="1"/>
          </p:cNvPicPr>
          <p:nvPr/>
        </p:nvPicPr>
        <p:blipFill>
          <a:blip r:embed="rId107"/>
          <a:stretch>
            <a:fillRect/>
          </a:stretch>
        </p:blipFill>
        <p:spPr>
          <a:xfrm>
            <a:off x="7111621" y="2972994"/>
            <a:ext cx="261056" cy="256669"/>
          </a:xfrm>
          <a:prstGeom prst="rect">
            <a:avLst/>
          </a:prstGeom>
        </p:spPr>
      </p:pic>
      <p:pic>
        <p:nvPicPr>
          <p:cNvPr id="181" name="Picture 180" descr="102.emf"/>
          <p:cNvPicPr>
            <a:picLocks noChangeAspect="1"/>
          </p:cNvPicPr>
          <p:nvPr/>
        </p:nvPicPr>
        <p:blipFill>
          <a:blip r:embed="rId108"/>
          <a:stretch>
            <a:fillRect/>
          </a:stretch>
        </p:blipFill>
        <p:spPr>
          <a:xfrm>
            <a:off x="7524771" y="3033716"/>
            <a:ext cx="182081" cy="120656"/>
          </a:xfrm>
          <a:prstGeom prst="rect">
            <a:avLst/>
          </a:prstGeom>
        </p:spPr>
      </p:pic>
      <p:pic>
        <p:nvPicPr>
          <p:cNvPr id="182" name="Picture 181" descr="103.emf"/>
          <p:cNvPicPr>
            <a:picLocks noChangeAspect="1"/>
          </p:cNvPicPr>
          <p:nvPr/>
        </p:nvPicPr>
        <p:blipFill>
          <a:blip r:embed="rId109"/>
          <a:stretch>
            <a:fillRect/>
          </a:stretch>
        </p:blipFill>
        <p:spPr>
          <a:xfrm>
            <a:off x="1517598" y="3367094"/>
            <a:ext cx="50456" cy="261056"/>
          </a:xfrm>
          <a:prstGeom prst="rect">
            <a:avLst/>
          </a:prstGeom>
        </p:spPr>
      </p:pic>
      <p:pic>
        <p:nvPicPr>
          <p:cNvPr id="183" name="Picture 182" descr="104.emf"/>
          <p:cNvPicPr>
            <a:picLocks noChangeAspect="1"/>
          </p:cNvPicPr>
          <p:nvPr/>
        </p:nvPicPr>
        <p:blipFill>
          <a:blip r:embed="rId110"/>
          <a:stretch>
            <a:fillRect/>
          </a:stretch>
        </p:blipFill>
        <p:spPr>
          <a:xfrm>
            <a:off x="1849021" y="3430197"/>
            <a:ext cx="179888" cy="155756"/>
          </a:xfrm>
          <a:prstGeom prst="rect">
            <a:avLst/>
          </a:prstGeom>
        </p:spPr>
      </p:pic>
      <p:pic>
        <p:nvPicPr>
          <p:cNvPr id="184" name="Picture 183" descr="105.emf"/>
          <p:cNvPicPr>
            <a:picLocks noChangeAspect="1"/>
          </p:cNvPicPr>
          <p:nvPr/>
        </p:nvPicPr>
        <p:blipFill>
          <a:blip r:embed="rId111"/>
          <a:stretch>
            <a:fillRect/>
          </a:stretch>
        </p:blipFill>
        <p:spPr>
          <a:xfrm>
            <a:off x="2239549" y="3411146"/>
            <a:ext cx="146981" cy="184275"/>
          </a:xfrm>
          <a:prstGeom prst="rect">
            <a:avLst/>
          </a:prstGeom>
        </p:spPr>
      </p:pic>
      <p:pic>
        <p:nvPicPr>
          <p:cNvPr id="185" name="Picture 184" descr="106.emf"/>
          <p:cNvPicPr>
            <a:picLocks noChangeAspect="1"/>
          </p:cNvPicPr>
          <p:nvPr/>
        </p:nvPicPr>
        <p:blipFill>
          <a:blip r:embed="rId112"/>
          <a:stretch>
            <a:fillRect/>
          </a:stretch>
        </p:blipFill>
        <p:spPr>
          <a:xfrm>
            <a:off x="2633649" y="3429006"/>
            <a:ext cx="125044" cy="149175"/>
          </a:xfrm>
          <a:prstGeom prst="rect">
            <a:avLst/>
          </a:prstGeom>
        </p:spPr>
      </p:pic>
      <p:pic>
        <p:nvPicPr>
          <p:cNvPr id="186" name="Picture 185" descr="107.emf"/>
          <p:cNvPicPr>
            <a:picLocks noChangeAspect="1"/>
          </p:cNvPicPr>
          <p:nvPr/>
        </p:nvPicPr>
        <p:blipFill>
          <a:blip r:embed="rId113"/>
          <a:stretch>
            <a:fillRect/>
          </a:stretch>
        </p:blipFill>
        <p:spPr>
          <a:xfrm>
            <a:off x="3006318" y="3420672"/>
            <a:ext cx="129431" cy="177694"/>
          </a:xfrm>
          <a:prstGeom prst="rect">
            <a:avLst/>
          </a:prstGeom>
        </p:spPr>
      </p:pic>
      <p:pic>
        <p:nvPicPr>
          <p:cNvPr id="187" name="Picture 186" descr="108.emf"/>
          <p:cNvPicPr>
            <a:picLocks noChangeAspect="1"/>
          </p:cNvPicPr>
          <p:nvPr/>
        </p:nvPicPr>
        <p:blipFill>
          <a:blip r:embed="rId114"/>
          <a:stretch>
            <a:fillRect/>
          </a:stretch>
        </p:blipFill>
        <p:spPr>
          <a:xfrm>
            <a:off x="3330169" y="3400431"/>
            <a:ext cx="243506" cy="221569"/>
          </a:xfrm>
          <a:prstGeom prst="rect">
            <a:avLst/>
          </a:prstGeom>
        </p:spPr>
      </p:pic>
      <p:pic>
        <p:nvPicPr>
          <p:cNvPr id="188" name="Picture 187" descr="109.emf"/>
          <p:cNvPicPr>
            <a:picLocks noChangeAspect="1"/>
          </p:cNvPicPr>
          <p:nvPr/>
        </p:nvPicPr>
        <p:blipFill>
          <a:blip r:embed="rId115"/>
          <a:stretch>
            <a:fillRect/>
          </a:stretch>
        </p:blipFill>
        <p:spPr>
          <a:xfrm>
            <a:off x="3773084" y="3419480"/>
            <a:ext cx="127238" cy="175500"/>
          </a:xfrm>
          <a:prstGeom prst="rect">
            <a:avLst/>
          </a:prstGeom>
        </p:spPr>
      </p:pic>
      <p:pic>
        <p:nvPicPr>
          <p:cNvPr id="189" name="Picture 188" descr="110.emf"/>
          <p:cNvPicPr>
            <a:picLocks noChangeAspect="1"/>
          </p:cNvPicPr>
          <p:nvPr/>
        </p:nvPicPr>
        <p:blipFill>
          <a:blip r:embed="rId116"/>
          <a:stretch>
            <a:fillRect/>
          </a:stretch>
        </p:blipFill>
        <p:spPr>
          <a:xfrm>
            <a:off x="4124322" y="3418291"/>
            <a:ext cx="164531" cy="164531"/>
          </a:xfrm>
          <a:prstGeom prst="rect">
            <a:avLst/>
          </a:prstGeom>
        </p:spPr>
      </p:pic>
      <p:pic>
        <p:nvPicPr>
          <p:cNvPr id="190" name="Picture 189" descr="111.emf"/>
          <p:cNvPicPr>
            <a:picLocks noChangeAspect="1"/>
          </p:cNvPicPr>
          <p:nvPr/>
        </p:nvPicPr>
        <p:blipFill>
          <a:blip r:embed="rId117"/>
          <a:stretch>
            <a:fillRect/>
          </a:stretch>
        </p:blipFill>
        <p:spPr>
          <a:xfrm>
            <a:off x="4520803" y="3432578"/>
            <a:ext cx="142594" cy="142594"/>
          </a:xfrm>
          <a:prstGeom prst="rect">
            <a:avLst/>
          </a:prstGeom>
        </p:spPr>
      </p:pic>
      <p:pic>
        <p:nvPicPr>
          <p:cNvPr id="191" name="Picture 190" descr="112.emf"/>
          <p:cNvPicPr>
            <a:picLocks noChangeAspect="1"/>
          </p:cNvPicPr>
          <p:nvPr/>
        </p:nvPicPr>
        <p:blipFill>
          <a:blip r:embed="rId118"/>
          <a:stretch>
            <a:fillRect/>
          </a:stretch>
        </p:blipFill>
        <p:spPr>
          <a:xfrm>
            <a:off x="4932761" y="3336137"/>
            <a:ext cx="61425" cy="263250"/>
          </a:xfrm>
          <a:prstGeom prst="rect">
            <a:avLst/>
          </a:prstGeom>
        </p:spPr>
      </p:pic>
      <p:pic>
        <p:nvPicPr>
          <p:cNvPr id="192" name="Picture 191" descr="113.emf"/>
          <p:cNvPicPr>
            <a:picLocks noChangeAspect="1"/>
          </p:cNvPicPr>
          <p:nvPr/>
        </p:nvPicPr>
        <p:blipFill>
          <a:blip r:embed="rId119"/>
          <a:stretch>
            <a:fillRect/>
          </a:stretch>
        </p:blipFill>
        <p:spPr>
          <a:xfrm>
            <a:off x="5261377" y="3381380"/>
            <a:ext cx="182081" cy="162338"/>
          </a:xfrm>
          <a:prstGeom prst="rect">
            <a:avLst/>
          </a:prstGeom>
        </p:spPr>
      </p:pic>
      <p:pic>
        <p:nvPicPr>
          <p:cNvPr id="193" name="Picture 192" descr="114.emf"/>
          <p:cNvPicPr>
            <a:picLocks noChangeAspect="1"/>
          </p:cNvPicPr>
          <p:nvPr/>
        </p:nvPicPr>
        <p:blipFill>
          <a:blip r:embed="rId120"/>
          <a:stretch>
            <a:fillRect/>
          </a:stretch>
        </p:blipFill>
        <p:spPr>
          <a:xfrm>
            <a:off x="5645951" y="3384953"/>
            <a:ext cx="164531" cy="155756"/>
          </a:xfrm>
          <a:prstGeom prst="rect">
            <a:avLst/>
          </a:prstGeom>
        </p:spPr>
      </p:pic>
      <p:pic>
        <p:nvPicPr>
          <p:cNvPr id="194" name="Picture 193" descr="115.emf"/>
          <p:cNvPicPr>
            <a:picLocks noChangeAspect="1"/>
          </p:cNvPicPr>
          <p:nvPr/>
        </p:nvPicPr>
        <p:blipFill>
          <a:blip r:embed="rId121"/>
          <a:stretch>
            <a:fillRect/>
          </a:stretch>
        </p:blipFill>
        <p:spPr>
          <a:xfrm>
            <a:off x="6029335" y="3384953"/>
            <a:ext cx="155756" cy="155756"/>
          </a:xfrm>
          <a:prstGeom prst="rect">
            <a:avLst/>
          </a:prstGeom>
        </p:spPr>
      </p:pic>
      <p:pic>
        <p:nvPicPr>
          <p:cNvPr id="195" name="Picture 194" descr="116.emf"/>
          <p:cNvPicPr>
            <a:picLocks noChangeAspect="1"/>
          </p:cNvPicPr>
          <p:nvPr/>
        </p:nvPicPr>
        <p:blipFill>
          <a:blip r:embed="rId122"/>
          <a:stretch>
            <a:fillRect/>
          </a:stretch>
        </p:blipFill>
        <p:spPr>
          <a:xfrm>
            <a:off x="6412718" y="3386143"/>
            <a:ext cx="157950" cy="157950"/>
          </a:xfrm>
          <a:prstGeom prst="rect">
            <a:avLst/>
          </a:prstGeom>
        </p:spPr>
      </p:pic>
      <p:pic>
        <p:nvPicPr>
          <p:cNvPr id="196" name="Picture 195" descr="117.emf"/>
          <p:cNvPicPr>
            <a:picLocks noChangeAspect="1"/>
          </p:cNvPicPr>
          <p:nvPr/>
        </p:nvPicPr>
        <p:blipFill>
          <a:blip r:embed="rId123"/>
          <a:stretch>
            <a:fillRect/>
          </a:stretch>
        </p:blipFill>
        <p:spPr>
          <a:xfrm>
            <a:off x="6768718" y="3353996"/>
            <a:ext cx="182081" cy="219375"/>
          </a:xfrm>
          <a:prstGeom prst="rect">
            <a:avLst/>
          </a:prstGeom>
        </p:spPr>
      </p:pic>
      <p:pic>
        <p:nvPicPr>
          <p:cNvPr id="197" name="Picture 196" descr="118.emf"/>
          <p:cNvPicPr>
            <a:picLocks noChangeAspect="1"/>
          </p:cNvPicPr>
          <p:nvPr/>
        </p:nvPicPr>
        <p:blipFill>
          <a:blip r:embed="rId124"/>
          <a:stretch>
            <a:fillRect/>
          </a:stretch>
        </p:blipFill>
        <p:spPr>
          <a:xfrm>
            <a:off x="7199727" y="3396859"/>
            <a:ext cx="92138" cy="144788"/>
          </a:xfrm>
          <a:prstGeom prst="rect">
            <a:avLst/>
          </a:prstGeom>
        </p:spPr>
      </p:pic>
      <p:pic>
        <p:nvPicPr>
          <p:cNvPr id="198" name="Picture 197" descr="119.emf"/>
          <p:cNvPicPr>
            <a:picLocks noChangeAspect="1"/>
          </p:cNvPicPr>
          <p:nvPr/>
        </p:nvPicPr>
        <p:blipFill>
          <a:blip r:embed="rId125"/>
          <a:stretch>
            <a:fillRect/>
          </a:stretch>
        </p:blipFill>
        <p:spPr>
          <a:xfrm>
            <a:off x="7496196" y="3359949"/>
            <a:ext cx="252281" cy="219375"/>
          </a:xfrm>
          <a:prstGeom prst="rect">
            <a:avLst/>
          </a:prstGeom>
        </p:spPr>
      </p:pic>
      <p:pic>
        <p:nvPicPr>
          <p:cNvPr id="199" name="Picture 198" descr="120.emf"/>
          <p:cNvPicPr>
            <a:picLocks noChangeAspect="1"/>
          </p:cNvPicPr>
          <p:nvPr/>
        </p:nvPicPr>
        <p:blipFill>
          <a:blip r:embed="rId126"/>
          <a:stretch>
            <a:fillRect/>
          </a:stretch>
        </p:blipFill>
        <p:spPr>
          <a:xfrm>
            <a:off x="1434704" y="3781433"/>
            <a:ext cx="219375" cy="219375"/>
          </a:xfrm>
          <a:prstGeom prst="rect">
            <a:avLst/>
          </a:prstGeom>
        </p:spPr>
      </p:pic>
      <p:pic>
        <p:nvPicPr>
          <p:cNvPr id="200" name="Picture 199" descr="121.emf"/>
          <p:cNvPicPr>
            <a:picLocks noChangeAspect="1"/>
          </p:cNvPicPr>
          <p:nvPr/>
        </p:nvPicPr>
        <p:blipFill>
          <a:blip r:embed="rId127"/>
          <a:stretch>
            <a:fillRect/>
          </a:stretch>
        </p:blipFill>
        <p:spPr>
          <a:xfrm>
            <a:off x="1851403" y="3793340"/>
            <a:ext cx="168919" cy="177694"/>
          </a:xfrm>
          <a:prstGeom prst="rect">
            <a:avLst/>
          </a:prstGeom>
        </p:spPr>
      </p:pic>
      <p:pic>
        <p:nvPicPr>
          <p:cNvPr id="201" name="Picture 200" descr="122.emf"/>
          <p:cNvPicPr>
            <a:picLocks noChangeAspect="1"/>
          </p:cNvPicPr>
          <p:nvPr/>
        </p:nvPicPr>
        <p:blipFill>
          <a:blip r:embed="rId128"/>
          <a:stretch>
            <a:fillRect/>
          </a:stretch>
        </p:blipFill>
        <p:spPr>
          <a:xfrm>
            <a:off x="2197877" y="3763573"/>
            <a:ext cx="239119" cy="241313"/>
          </a:xfrm>
          <a:prstGeom prst="rect">
            <a:avLst/>
          </a:prstGeom>
        </p:spPr>
      </p:pic>
      <p:pic>
        <p:nvPicPr>
          <p:cNvPr id="202" name="Picture 201" descr="123.emf"/>
          <p:cNvPicPr>
            <a:picLocks noChangeAspect="1"/>
          </p:cNvPicPr>
          <p:nvPr/>
        </p:nvPicPr>
        <p:blipFill>
          <a:blip r:embed="rId129"/>
          <a:stretch>
            <a:fillRect/>
          </a:stretch>
        </p:blipFill>
        <p:spPr>
          <a:xfrm>
            <a:off x="2608646" y="3767146"/>
            <a:ext cx="168919" cy="241313"/>
          </a:xfrm>
          <a:prstGeom prst="rect">
            <a:avLst/>
          </a:prstGeom>
        </p:spPr>
      </p:pic>
      <p:pic>
        <p:nvPicPr>
          <p:cNvPr id="203" name="Picture 202" descr="124.emf"/>
          <p:cNvPicPr>
            <a:picLocks noChangeAspect="1"/>
          </p:cNvPicPr>
          <p:nvPr/>
        </p:nvPicPr>
        <p:blipFill>
          <a:blip r:embed="rId130"/>
          <a:stretch>
            <a:fillRect/>
          </a:stretch>
        </p:blipFill>
        <p:spPr>
          <a:xfrm>
            <a:off x="2955120" y="3790958"/>
            <a:ext cx="225956" cy="188663"/>
          </a:xfrm>
          <a:prstGeom prst="rect">
            <a:avLst/>
          </a:prstGeom>
        </p:spPr>
      </p:pic>
      <p:pic>
        <p:nvPicPr>
          <p:cNvPr id="204" name="Picture 203" descr="125.emf"/>
          <p:cNvPicPr>
            <a:picLocks noChangeAspect="1"/>
          </p:cNvPicPr>
          <p:nvPr/>
        </p:nvPicPr>
        <p:blipFill>
          <a:blip r:embed="rId131"/>
          <a:stretch>
            <a:fillRect/>
          </a:stretch>
        </p:blipFill>
        <p:spPr>
          <a:xfrm>
            <a:off x="3339694" y="3786196"/>
            <a:ext cx="217181" cy="199631"/>
          </a:xfrm>
          <a:prstGeom prst="rect">
            <a:avLst/>
          </a:prstGeom>
        </p:spPr>
      </p:pic>
      <p:pic>
        <p:nvPicPr>
          <p:cNvPr id="205" name="Picture 204" descr="126.emf"/>
          <p:cNvPicPr>
            <a:picLocks noChangeAspect="1"/>
          </p:cNvPicPr>
          <p:nvPr/>
        </p:nvPicPr>
        <p:blipFill>
          <a:blip r:embed="rId132"/>
          <a:stretch>
            <a:fillRect/>
          </a:stretch>
        </p:blipFill>
        <p:spPr>
          <a:xfrm>
            <a:off x="3769513" y="3799294"/>
            <a:ext cx="127238" cy="182081"/>
          </a:xfrm>
          <a:prstGeom prst="rect">
            <a:avLst/>
          </a:prstGeom>
        </p:spPr>
      </p:pic>
      <p:pic>
        <p:nvPicPr>
          <p:cNvPr id="206" name="Picture 205" descr="127.emf"/>
          <p:cNvPicPr>
            <a:picLocks noChangeAspect="1"/>
          </p:cNvPicPr>
          <p:nvPr/>
        </p:nvPicPr>
        <p:blipFill>
          <a:blip r:embed="rId133"/>
          <a:stretch>
            <a:fillRect/>
          </a:stretch>
        </p:blipFill>
        <p:spPr>
          <a:xfrm>
            <a:off x="4119559" y="3814771"/>
            <a:ext cx="179888" cy="138206"/>
          </a:xfrm>
          <a:prstGeom prst="rect">
            <a:avLst/>
          </a:prstGeom>
        </p:spPr>
      </p:pic>
      <p:pic>
        <p:nvPicPr>
          <p:cNvPr id="207" name="Picture 206" descr="128.emf"/>
          <p:cNvPicPr>
            <a:picLocks noChangeAspect="1"/>
          </p:cNvPicPr>
          <p:nvPr/>
        </p:nvPicPr>
        <p:blipFill>
          <a:blip r:embed="rId134"/>
          <a:stretch>
            <a:fillRect/>
          </a:stretch>
        </p:blipFill>
        <p:spPr>
          <a:xfrm>
            <a:off x="4495799" y="3781433"/>
            <a:ext cx="175500" cy="171113"/>
          </a:xfrm>
          <a:prstGeom prst="rect">
            <a:avLst/>
          </a:prstGeom>
        </p:spPr>
      </p:pic>
      <p:pic>
        <p:nvPicPr>
          <p:cNvPr id="208" name="Picture 207" descr="129.emf"/>
          <p:cNvPicPr>
            <a:picLocks noChangeAspect="1"/>
          </p:cNvPicPr>
          <p:nvPr/>
        </p:nvPicPr>
        <p:blipFill>
          <a:blip r:embed="rId135"/>
          <a:stretch>
            <a:fillRect/>
          </a:stretch>
        </p:blipFill>
        <p:spPr>
          <a:xfrm>
            <a:off x="4892280" y="3781434"/>
            <a:ext cx="144788" cy="164531"/>
          </a:xfrm>
          <a:prstGeom prst="rect">
            <a:avLst/>
          </a:prstGeom>
        </p:spPr>
      </p:pic>
      <p:pic>
        <p:nvPicPr>
          <p:cNvPr id="209" name="Picture 208" descr="130.emf"/>
          <p:cNvPicPr>
            <a:picLocks noChangeAspect="1"/>
          </p:cNvPicPr>
          <p:nvPr/>
        </p:nvPicPr>
        <p:blipFill>
          <a:blip r:embed="rId136"/>
          <a:stretch>
            <a:fillRect/>
          </a:stretch>
        </p:blipFill>
        <p:spPr>
          <a:xfrm>
            <a:off x="5261377" y="3776671"/>
            <a:ext cx="164531" cy="164531"/>
          </a:xfrm>
          <a:prstGeom prst="rect">
            <a:avLst/>
          </a:prstGeom>
        </p:spPr>
      </p:pic>
      <p:pic>
        <p:nvPicPr>
          <p:cNvPr id="210" name="Picture 209" descr="131.emf"/>
          <p:cNvPicPr>
            <a:picLocks noChangeAspect="1"/>
          </p:cNvPicPr>
          <p:nvPr/>
        </p:nvPicPr>
        <p:blipFill>
          <a:blip r:embed="rId137"/>
          <a:stretch>
            <a:fillRect/>
          </a:stretch>
        </p:blipFill>
        <p:spPr>
          <a:xfrm>
            <a:off x="5637617" y="3771909"/>
            <a:ext cx="175500" cy="164531"/>
          </a:xfrm>
          <a:prstGeom prst="rect">
            <a:avLst/>
          </a:prstGeom>
        </p:spPr>
      </p:pic>
      <p:pic>
        <p:nvPicPr>
          <p:cNvPr id="211" name="Picture 210" descr="132.emf"/>
          <p:cNvPicPr>
            <a:picLocks noChangeAspect="1"/>
          </p:cNvPicPr>
          <p:nvPr/>
        </p:nvPicPr>
        <p:blipFill>
          <a:blip r:embed="rId138"/>
          <a:stretch>
            <a:fillRect/>
          </a:stretch>
        </p:blipFill>
        <p:spPr>
          <a:xfrm>
            <a:off x="6022191" y="3770718"/>
            <a:ext cx="166725" cy="168919"/>
          </a:xfrm>
          <a:prstGeom prst="rect">
            <a:avLst/>
          </a:prstGeom>
        </p:spPr>
      </p:pic>
      <p:pic>
        <p:nvPicPr>
          <p:cNvPr id="212" name="Picture 211" descr="133.emf"/>
          <p:cNvPicPr>
            <a:picLocks noChangeAspect="1"/>
          </p:cNvPicPr>
          <p:nvPr/>
        </p:nvPicPr>
        <p:blipFill>
          <a:blip r:embed="rId139"/>
          <a:stretch>
            <a:fillRect/>
          </a:stretch>
        </p:blipFill>
        <p:spPr>
          <a:xfrm>
            <a:off x="6397241" y="3767146"/>
            <a:ext cx="175500" cy="173306"/>
          </a:xfrm>
          <a:prstGeom prst="rect">
            <a:avLst/>
          </a:prstGeom>
        </p:spPr>
      </p:pic>
      <p:pic>
        <p:nvPicPr>
          <p:cNvPr id="213" name="Picture 212" descr="134.emf"/>
          <p:cNvPicPr>
            <a:picLocks noChangeAspect="1"/>
          </p:cNvPicPr>
          <p:nvPr/>
        </p:nvPicPr>
        <p:blipFill>
          <a:blip r:embed="rId140"/>
          <a:stretch>
            <a:fillRect/>
          </a:stretch>
        </p:blipFill>
        <p:spPr>
          <a:xfrm>
            <a:off x="6744906" y="3739761"/>
            <a:ext cx="221569" cy="221569"/>
          </a:xfrm>
          <a:prstGeom prst="rect">
            <a:avLst/>
          </a:prstGeom>
        </p:spPr>
      </p:pic>
      <p:pic>
        <p:nvPicPr>
          <p:cNvPr id="214" name="Picture 213" descr="135.emf"/>
          <p:cNvPicPr>
            <a:picLocks noChangeAspect="1"/>
          </p:cNvPicPr>
          <p:nvPr/>
        </p:nvPicPr>
        <p:blipFill>
          <a:blip r:embed="rId141"/>
          <a:stretch>
            <a:fillRect/>
          </a:stretch>
        </p:blipFill>
        <p:spPr>
          <a:xfrm>
            <a:off x="7154483" y="3717140"/>
            <a:ext cx="153563" cy="261056"/>
          </a:xfrm>
          <a:prstGeom prst="rect">
            <a:avLst/>
          </a:prstGeom>
        </p:spPr>
      </p:pic>
      <p:pic>
        <p:nvPicPr>
          <p:cNvPr id="215" name="Picture 214" descr="136.emf"/>
          <p:cNvPicPr>
            <a:picLocks noChangeAspect="1"/>
          </p:cNvPicPr>
          <p:nvPr/>
        </p:nvPicPr>
        <p:blipFill>
          <a:blip r:embed="rId142"/>
          <a:stretch>
            <a:fillRect/>
          </a:stretch>
        </p:blipFill>
        <p:spPr>
          <a:xfrm>
            <a:off x="7516436" y="3725474"/>
            <a:ext cx="190856" cy="261056"/>
          </a:xfrm>
          <a:prstGeom prst="rect">
            <a:avLst/>
          </a:prstGeom>
        </p:spPr>
      </p:pic>
      <p:pic>
        <p:nvPicPr>
          <p:cNvPr id="216" name="Picture 215" descr="137.emf"/>
          <p:cNvPicPr>
            <a:picLocks noChangeAspect="1"/>
          </p:cNvPicPr>
          <p:nvPr/>
        </p:nvPicPr>
        <p:blipFill>
          <a:blip r:embed="rId143"/>
          <a:stretch>
            <a:fillRect/>
          </a:stretch>
        </p:blipFill>
        <p:spPr>
          <a:xfrm>
            <a:off x="1467272" y="4157674"/>
            <a:ext cx="149175" cy="221569"/>
          </a:xfrm>
          <a:prstGeom prst="rect">
            <a:avLst/>
          </a:prstGeom>
        </p:spPr>
      </p:pic>
      <p:pic>
        <p:nvPicPr>
          <p:cNvPr id="217" name="Picture 216" descr="138.emf"/>
          <p:cNvPicPr>
            <a:picLocks noChangeAspect="1"/>
          </p:cNvPicPr>
          <p:nvPr/>
        </p:nvPicPr>
        <p:blipFill>
          <a:blip r:embed="rId144"/>
          <a:stretch>
            <a:fillRect/>
          </a:stretch>
        </p:blipFill>
        <p:spPr>
          <a:xfrm>
            <a:off x="1822827" y="4158864"/>
            <a:ext cx="230344" cy="221569"/>
          </a:xfrm>
          <a:prstGeom prst="rect">
            <a:avLst/>
          </a:prstGeom>
        </p:spPr>
      </p:pic>
      <p:pic>
        <p:nvPicPr>
          <p:cNvPr id="218" name="Picture 217" descr="139.emf"/>
          <p:cNvPicPr>
            <a:picLocks noChangeAspect="1"/>
          </p:cNvPicPr>
          <p:nvPr/>
        </p:nvPicPr>
        <p:blipFill>
          <a:blip r:embed="rId145"/>
          <a:stretch>
            <a:fillRect/>
          </a:stretch>
        </p:blipFill>
        <p:spPr>
          <a:xfrm>
            <a:off x="2181208" y="4177915"/>
            <a:ext cx="261056" cy="173306"/>
          </a:xfrm>
          <a:prstGeom prst="rect">
            <a:avLst/>
          </a:prstGeom>
        </p:spPr>
      </p:pic>
      <p:pic>
        <p:nvPicPr>
          <p:cNvPr id="219" name="Picture 218" descr="140.emf"/>
          <p:cNvPicPr>
            <a:picLocks noChangeAspect="1"/>
          </p:cNvPicPr>
          <p:nvPr/>
        </p:nvPicPr>
        <p:blipFill>
          <a:blip r:embed="rId146"/>
          <a:stretch>
            <a:fillRect/>
          </a:stretch>
        </p:blipFill>
        <p:spPr>
          <a:xfrm>
            <a:off x="2593168" y="4202918"/>
            <a:ext cx="190856" cy="125044"/>
          </a:xfrm>
          <a:prstGeom prst="rect">
            <a:avLst/>
          </a:prstGeom>
        </p:spPr>
      </p:pic>
      <p:pic>
        <p:nvPicPr>
          <p:cNvPr id="220" name="Picture 219" descr="141.emf"/>
          <p:cNvPicPr>
            <a:picLocks noChangeAspect="1"/>
          </p:cNvPicPr>
          <p:nvPr/>
        </p:nvPicPr>
        <p:blipFill>
          <a:blip r:embed="rId147"/>
          <a:stretch>
            <a:fillRect/>
          </a:stretch>
        </p:blipFill>
        <p:spPr>
          <a:xfrm>
            <a:off x="2946785" y="4212443"/>
            <a:ext cx="261056" cy="116269"/>
          </a:xfrm>
          <a:prstGeom prst="rect">
            <a:avLst/>
          </a:prstGeom>
        </p:spPr>
      </p:pic>
      <p:pic>
        <p:nvPicPr>
          <p:cNvPr id="221" name="Picture 220" descr="142.emf"/>
          <p:cNvPicPr>
            <a:picLocks noChangeAspect="1"/>
          </p:cNvPicPr>
          <p:nvPr/>
        </p:nvPicPr>
        <p:blipFill>
          <a:blip r:embed="rId148"/>
          <a:stretch>
            <a:fillRect/>
          </a:stretch>
        </p:blipFill>
        <p:spPr>
          <a:xfrm>
            <a:off x="3386129" y="4156483"/>
            <a:ext cx="138206" cy="221569"/>
          </a:xfrm>
          <a:prstGeom prst="rect">
            <a:avLst/>
          </a:prstGeom>
        </p:spPr>
      </p:pic>
      <p:pic>
        <p:nvPicPr>
          <p:cNvPr id="222" name="Picture 221" descr="143.emf"/>
          <p:cNvPicPr>
            <a:picLocks noChangeAspect="1"/>
          </p:cNvPicPr>
          <p:nvPr/>
        </p:nvPicPr>
        <p:blipFill>
          <a:blip r:embed="rId149"/>
          <a:stretch>
            <a:fillRect/>
          </a:stretch>
        </p:blipFill>
        <p:spPr>
          <a:xfrm>
            <a:off x="3724269" y="4156483"/>
            <a:ext cx="210600" cy="221569"/>
          </a:xfrm>
          <a:prstGeom prst="rect">
            <a:avLst/>
          </a:prstGeom>
        </p:spPr>
      </p:pic>
      <p:pic>
        <p:nvPicPr>
          <p:cNvPr id="223" name="Picture 222" descr="144.emf"/>
          <p:cNvPicPr>
            <a:picLocks noChangeAspect="1"/>
          </p:cNvPicPr>
          <p:nvPr/>
        </p:nvPicPr>
        <p:blipFill>
          <a:blip r:embed="rId150"/>
          <a:stretch>
            <a:fillRect/>
          </a:stretch>
        </p:blipFill>
        <p:spPr>
          <a:xfrm>
            <a:off x="4089793" y="4189821"/>
            <a:ext cx="228150" cy="173306"/>
          </a:xfrm>
          <a:prstGeom prst="rect">
            <a:avLst/>
          </a:prstGeom>
        </p:spPr>
      </p:pic>
      <p:pic>
        <p:nvPicPr>
          <p:cNvPr id="224" name="Picture 223" descr="145.emf"/>
          <p:cNvPicPr>
            <a:picLocks noChangeAspect="1"/>
          </p:cNvPicPr>
          <p:nvPr/>
        </p:nvPicPr>
        <p:blipFill>
          <a:blip r:embed="rId151"/>
          <a:stretch>
            <a:fillRect/>
          </a:stretch>
        </p:blipFill>
        <p:spPr>
          <a:xfrm>
            <a:off x="4479130" y="4149339"/>
            <a:ext cx="199631" cy="221569"/>
          </a:xfrm>
          <a:prstGeom prst="rect">
            <a:avLst/>
          </a:prstGeom>
        </p:spPr>
      </p:pic>
      <p:pic>
        <p:nvPicPr>
          <p:cNvPr id="225" name="Picture 224" descr="146.emf"/>
          <p:cNvPicPr>
            <a:picLocks noChangeAspect="1"/>
          </p:cNvPicPr>
          <p:nvPr/>
        </p:nvPicPr>
        <p:blipFill>
          <a:blip r:embed="rId152"/>
          <a:stretch>
            <a:fillRect/>
          </a:stretch>
        </p:blipFill>
        <p:spPr>
          <a:xfrm>
            <a:off x="4897042" y="4106476"/>
            <a:ext cx="127238" cy="261056"/>
          </a:xfrm>
          <a:prstGeom prst="rect">
            <a:avLst/>
          </a:prstGeom>
        </p:spPr>
      </p:pic>
      <p:pic>
        <p:nvPicPr>
          <p:cNvPr id="226" name="Picture 225" descr="147.emf"/>
          <p:cNvPicPr>
            <a:picLocks noChangeAspect="1"/>
          </p:cNvPicPr>
          <p:nvPr/>
        </p:nvPicPr>
        <p:blipFill>
          <a:blip r:embed="rId153"/>
          <a:stretch>
            <a:fillRect/>
          </a:stretch>
        </p:blipFill>
        <p:spPr>
          <a:xfrm>
            <a:off x="5279236" y="4127908"/>
            <a:ext cx="151369" cy="221569"/>
          </a:xfrm>
          <a:prstGeom prst="rect">
            <a:avLst/>
          </a:prstGeom>
        </p:spPr>
      </p:pic>
      <p:pic>
        <p:nvPicPr>
          <p:cNvPr id="227" name="Picture 226" descr="148.emf"/>
          <p:cNvPicPr>
            <a:picLocks noChangeAspect="1"/>
          </p:cNvPicPr>
          <p:nvPr/>
        </p:nvPicPr>
        <p:blipFill>
          <a:blip r:embed="rId154"/>
          <a:stretch>
            <a:fillRect/>
          </a:stretch>
        </p:blipFill>
        <p:spPr>
          <a:xfrm>
            <a:off x="5639998" y="4142196"/>
            <a:ext cx="171113" cy="221569"/>
          </a:xfrm>
          <a:prstGeom prst="rect">
            <a:avLst/>
          </a:prstGeom>
        </p:spPr>
      </p:pic>
      <p:pic>
        <p:nvPicPr>
          <p:cNvPr id="228" name="Picture 227" descr="149.emf"/>
          <p:cNvPicPr>
            <a:picLocks noChangeAspect="1"/>
          </p:cNvPicPr>
          <p:nvPr/>
        </p:nvPicPr>
        <p:blipFill>
          <a:blip r:embed="rId155"/>
          <a:stretch>
            <a:fillRect/>
          </a:stretch>
        </p:blipFill>
        <p:spPr>
          <a:xfrm>
            <a:off x="6015047" y="4124335"/>
            <a:ext cx="201825" cy="214988"/>
          </a:xfrm>
          <a:prstGeom prst="rect">
            <a:avLst/>
          </a:prstGeom>
        </p:spPr>
      </p:pic>
      <p:pic>
        <p:nvPicPr>
          <p:cNvPr id="229" name="Picture 228" descr="150.emf"/>
          <p:cNvPicPr>
            <a:picLocks noChangeAspect="1"/>
          </p:cNvPicPr>
          <p:nvPr/>
        </p:nvPicPr>
        <p:blipFill>
          <a:blip r:embed="rId156"/>
          <a:stretch>
            <a:fillRect/>
          </a:stretch>
        </p:blipFill>
        <p:spPr>
          <a:xfrm>
            <a:off x="6422244" y="4138623"/>
            <a:ext cx="131625" cy="221569"/>
          </a:xfrm>
          <a:prstGeom prst="rect">
            <a:avLst/>
          </a:prstGeom>
        </p:spPr>
      </p:pic>
      <p:pic>
        <p:nvPicPr>
          <p:cNvPr id="230" name="Picture 229" descr="151.emf"/>
          <p:cNvPicPr>
            <a:picLocks noChangeAspect="1"/>
          </p:cNvPicPr>
          <p:nvPr/>
        </p:nvPicPr>
        <p:blipFill>
          <a:blip r:embed="rId157"/>
          <a:stretch>
            <a:fillRect/>
          </a:stretch>
        </p:blipFill>
        <p:spPr>
          <a:xfrm>
            <a:off x="6761575" y="4127908"/>
            <a:ext cx="199631" cy="221569"/>
          </a:xfrm>
          <a:prstGeom prst="rect">
            <a:avLst/>
          </a:prstGeom>
        </p:spPr>
      </p:pic>
      <p:pic>
        <p:nvPicPr>
          <p:cNvPr id="231" name="Picture 230" descr="152.emf"/>
          <p:cNvPicPr>
            <a:picLocks noChangeAspect="1"/>
          </p:cNvPicPr>
          <p:nvPr/>
        </p:nvPicPr>
        <p:blipFill>
          <a:blip r:embed="rId158"/>
          <a:stretch>
            <a:fillRect/>
          </a:stretch>
        </p:blipFill>
        <p:spPr>
          <a:xfrm>
            <a:off x="7118765" y="4127907"/>
            <a:ext cx="243506" cy="221569"/>
          </a:xfrm>
          <a:prstGeom prst="rect">
            <a:avLst/>
          </a:prstGeom>
        </p:spPr>
      </p:pic>
      <p:pic>
        <p:nvPicPr>
          <p:cNvPr id="232" name="Picture 231" descr="153.emf"/>
          <p:cNvPicPr>
            <a:picLocks noChangeAspect="1"/>
          </p:cNvPicPr>
          <p:nvPr/>
        </p:nvPicPr>
        <p:blipFill>
          <a:blip r:embed="rId159"/>
          <a:stretch>
            <a:fillRect/>
          </a:stretch>
        </p:blipFill>
        <p:spPr>
          <a:xfrm>
            <a:off x="7500957" y="4124335"/>
            <a:ext cx="221569" cy="221569"/>
          </a:xfrm>
          <a:prstGeom prst="rect">
            <a:avLst/>
          </a:prstGeom>
        </p:spPr>
      </p:pic>
      <p:pic>
        <p:nvPicPr>
          <p:cNvPr id="233" name="Picture 232" descr="154.emf"/>
          <p:cNvPicPr>
            <a:picLocks noChangeAspect="1"/>
          </p:cNvPicPr>
          <p:nvPr/>
        </p:nvPicPr>
        <p:blipFill>
          <a:blip r:embed="rId160"/>
          <a:stretch>
            <a:fillRect/>
          </a:stretch>
        </p:blipFill>
        <p:spPr>
          <a:xfrm>
            <a:off x="1471501" y="4545820"/>
            <a:ext cx="164531" cy="190856"/>
          </a:xfrm>
          <a:prstGeom prst="rect">
            <a:avLst/>
          </a:prstGeom>
        </p:spPr>
      </p:pic>
      <p:pic>
        <p:nvPicPr>
          <p:cNvPr id="234" name="Picture 233" descr="155.emf"/>
          <p:cNvPicPr>
            <a:picLocks noChangeAspect="1"/>
          </p:cNvPicPr>
          <p:nvPr/>
        </p:nvPicPr>
        <p:blipFill>
          <a:blip r:embed="rId161"/>
          <a:stretch>
            <a:fillRect/>
          </a:stretch>
        </p:blipFill>
        <p:spPr>
          <a:xfrm>
            <a:off x="1832352" y="4531533"/>
            <a:ext cx="219375" cy="221569"/>
          </a:xfrm>
          <a:prstGeom prst="rect">
            <a:avLst/>
          </a:prstGeom>
        </p:spPr>
      </p:pic>
      <p:pic>
        <p:nvPicPr>
          <p:cNvPr id="235" name="Picture 234" descr="156.emf"/>
          <p:cNvPicPr>
            <a:picLocks noChangeAspect="1"/>
          </p:cNvPicPr>
          <p:nvPr/>
        </p:nvPicPr>
        <p:blipFill>
          <a:blip r:embed="rId162"/>
          <a:stretch>
            <a:fillRect/>
          </a:stretch>
        </p:blipFill>
        <p:spPr>
          <a:xfrm>
            <a:off x="2228833" y="4527961"/>
            <a:ext cx="155756" cy="230344"/>
          </a:xfrm>
          <a:prstGeom prst="rect">
            <a:avLst/>
          </a:prstGeom>
        </p:spPr>
      </p:pic>
      <p:pic>
        <p:nvPicPr>
          <p:cNvPr id="236" name="Picture 235" descr="157.emf"/>
          <p:cNvPicPr>
            <a:picLocks noChangeAspect="1"/>
          </p:cNvPicPr>
          <p:nvPr/>
        </p:nvPicPr>
        <p:blipFill>
          <a:blip r:embed="rId163"/>
          <a:stretch>
            <a:fillRect/>
          </a:stretch>
        </p:blipFill>
        <p:spPr>
          <a:xfrm>
            <a:off x="2621743" y="4531532"/>
            <a:ext cx="146981" cy="219375"/>
          </a:xfrm>
          <a:prstGeom prst="rect">
            <a:avLst/>
          </a:prstGeom>
        </p:spPr>
      </p:pic>
      <p:pic>
        <p:nvPicPr>
          <p:cNvPr id="237" name="Picture 236" descr="158.emf"/>
          <p:cNvPicPr>
            <a:picLocks noChangeAspect="1"/>
          </p:cNvPicPr>
          <p:nvPr/>
        </p:nvPicPr>
        <p:blipFill>
          <a:blip r:embed="rId164"/>
          <a:stretch>
            <a:fillRect/>
          </a:stretch>
        </p:blipFill>
        <p:spPr>
          <a:xfrm>
            <a:off x="3014651" y="4535104"/>
            <a:ext cx="116269" cy="239119"/>
          </a:xfrm>
          <a:prstGeom prst="rect">
            <a:avLst/>
          </a:prstGeom>
        </p:spPr>
      </p:pic>
      <p:pic>
        <p:nvPicPr>
          <p:cNvPr id="238" name="Picture 237" descr="159.emf"/>
          <p:cNvPicPr>
            <a:picLocks noChangeAspect="1"/>
          </p:cNvPicPr>
          <p:nvPr/>
        </p:nvPicPr>
        <p:blipFill>
          <a:blip r:embed="rId165"/>
          <a:stretch>
            <a:fillRect/>
          </a:stretch>
        </p:blipFill>
        <p:spPr>
          <a:xfrm>
            <a:off x="3386129" y="4517245"/>
            <a:ext cx="138206" cy="261056"/>
          </a:xfrm>
          <a:prstGeom prst="rect">
            <a:avLst/>
          </a:prstGeom>
        </p:spPr>
      </p:pic>
      <p:pic>
        <p:nvPicPr>
          <p:cNvPr id="239" name="Picture 238" descr="160.emf"/>
          <p:cNvPicPr>
            <a:picLocks noChangeAspect="1"/>
          </p:cNvPicPr>
          <p:nvPr/>
        </p:nvPicPr>
        <p:blipFill>
          <a:blip r:embed="rId166"/>
          <a:stretch>
            <a:fillRect/>
          </a:stretch>
        </p:blipFill>
        <p:spPr>
          <a:xfrm>
            <a:off x="3761179" y="4545820"/>
            <a:ext cx="127238" cy="182081"/>
          </a:xfrm>
          <a:prstGeom prst="rect">
            <a:avLst/>
          </a:prstGeom>
        </p:spPr>
      </p:pic>
      <p:pic>
        <p:nvPicPr>
          <p:cNvPr id="240" name="Picture 239" descr="161.emf"/>
          <p:cNvPicPr>
            <a:picLocks noChangeAspect="1"/>
          </p:cNvPicPr>
          <p:nvPr/>
        </p:nvPicPr>
        <p:blipFill>
          <a:blip r:embed="rId167"/>
          <a:stretch>
            <a:fillRect/>
          </a:stretch>
        </p:blipFill>
        <p:spPr>
          <a:xfrm>
            <a:off x="4100509" y="4535104"/>
            <a:ext cx="221569" cy="221569"/>
          </a:xfrm>
          <a:prstGeom prst="rect">
            <a:avLst/>
          </a:prstGeom>
        </p:spPr>
      </p:pic>
      <p:pic>
        <p:nvPicPr>
          <p:cNvPr id="241" name="Picture 240" descr="162.emf"/>
          <p:cNvPicPr>
            <a:picLocks noChangeAspect="1"/>
          </p:cNvPicPr>
          <p:nvPr/>
        </p:nvPicPr>
        <p:blipFill>
          <a:blip r:embed="rId168"/>
          <a:stretch>
            <a:fillRect/>
          </a:stretch>
        </p:blipFill>
        <p:spPr>
          <a:xfrm>
            <a:off x="4464844" y="4620830"/>
            <a:ext cx="261056" cy="46069"/>
          </a:xfrm>
          <a:prstGeom prst="rect">
            <a:avLst/>
          </a:prstGeom>
        </p:spPr>
      </p:pic>
      <p:pic>
        <p:nvPicPr>
          <p:cNvPr id="242" name="Picture 241" descr="163.emf"/>
          <p:cNvPicPr>
            <a:picLocks noChangeAspect="1"/>
          </p:cNvPicPr>
          <p:nvPr/>
        </p:nvPicPr>
        <p:blipFill>
          <a:blip r:embed="rId169"/>
          <a:stretch>
            <a:fillRect/>
          </a:stretch>
        </p:blipFill>
        <p:spPr>
          <a:xfrm>
            <a:off x="4879183" y="4560108"/>
            <a:ext cx="157950" cy="160144"/>
          </a:xfrm>
          <a:prstGeom prst="rect">
            <a:avLst/>
          </a:prstGeom>
        </p:spPr>
      </p:pic>
      <p:pic>
        <p:nvPicPr>
          <p:cNvPr id="243" name="Picture 242" descr="164.emf"/>
          <p:cNvPicPr>
            <a:picLocks noChangeAspect="1"/>
          </p:cNvPicPr>
          <p:nvPr/>
        </p:nvPicPr>
        <p:blipFill>
          <a:blip r:embed="rId170"/>
          <a:stretch>
            <a:fillRect/>
          </a:stretch>
        </p:blipFill>
        <p:spPr>
          <a:xfrm>
            <a:off x="5247089" y="4524388"/>
            <a:ext cx="182081" cy="144788"/>
          </a:xfrm>
          <a:prstGeom prst="rect">
            <a:avLst/>
          </a:prstGeom>
        </p:spPr>
      </p:pic>
      <p:pic>
        <p:nvPicPr>
          <p:cNvPr id="244" name="Picture 243" descr="165.emf"/>
          <p:cNvPicPr>
            <a:picLocks noChangeAspect="1"/>
          </p:cNvPicPr>
          <p:nvPr/>
        </p:nvPicPr>
        <p:blipFill>
          <a:blip r:embed="rId171"/>
          <a:stretch>
            <a:fillRect/>
          </a:stretch>
        </p:blipFill>
        <p:spPr>
          <a:xfrm>
            <a:off x="5686432" y="4485099"/>
            <a:ext cx="136013" cy="221569"/>
          </a:xfrm>
          <a:prstGeom prst="rect">
            <a:avLst/>
          </a:prstGeom>
        </p:spPr>
      </p:pic>
      <p:pic>
        <p:nvPicPr>
          <p:cNvPr id="245" name="Picture 244" descr="166.emf"/>
          <p:cNvPicPr>
            <a:picLocks noChangeAspect="1"/>
          </p:cNvPicPr>
          <p:nvPr/>
        </p:nvPicPr>
        <p:blipFill>
          <a:blip r:embed="rId172"/>
          <a:stretch>
            <a:fillRect/>
          </a:stretch>
        </p:blipFill>
        <p:spPr>
          <a:xfrm>
            <a:off x="5972185" y="4513673"/>
            <a:ext cx="210600" cy="208406"/>
          </a:xfrm>
          <a:prstGeom prst="rect">
            <a:avLst/>
          </a:prstGeom>
        </p:spPr>
      </p:pic>
      <p:pic>
        <p:nvPicPr>
          <p:cNvPr id="246" name="Picture 245" descr="167.emf"/>
          <p:cNvPicPr>
            <a:picLocks noChangeAspect="1"/>
          </p:cNvPicPr>
          <p:nvPr/>
        </p:nvPicPr>
        <p:blipFill>
          <a:blip r:embed="rId173"/>
          <a:stretch>
            <a:fillRect/>
          </a:stretch>
        </p:blipFill>
        <p:spPr>
          <a:xfrm>
            <a:off x="6397241" y="4549393"/>
            <a:ext cx="133819" cy="138206"/>
          </a:xfrm>
          <a:prstGeom prst="rect">
            <a:avLst/>
          </a:prstGeom>
        </p:spPr>
      </p:pic>
      <p:pic>
        <p:nvPicPr>
          <p:cNvPr id="247" name="Picture 246" descr="168.emf"/>
          <p:cNvPicPr>
            <a:picLocks noChangeAspect="1"/>
          </p:cNvPicPr>
          <p:nvPr/>
        </p:nvPicPr>
        <p:blipFill>
          <a:blip r:embed="rId174"/>
          <a:stretch>
            <a:fillRect/>
          </a:stretch>
        </p:blipFill>
        <p:spPr>
          <a:xfrm>
            <a:off x="6765146" y="4549392"/>
            <a:ext cx="138206" cy="133819"/>
          </a:xfrm>
          <a:prstGeom prst="rect">
            <a:avLst/>
          </a:prstGeom>
        </p:spPr>
      </p:pic>
      <p:pic>
        <p:nvPicPr>
          <p:cNvPr id="248" name="Picture 247" descr="169.emf"/>
          <p:cNvPicPr>
            <a:picLocks noChangeAspect="1"/>
          </p:cNvPicPr>
          <p:nvPr/>
        </p:nvPicPr>
        <p:blipFill>
          <a:blip r:embed="rId175"/>
          <a:stretch>
            <a:fillRect/>
          </a:stretch>
        </p:blipFill>
        <p:spPr>
          <a:xfrm>
            <a:off x="7158055" y="4552964"/>
            <a:ext cx="140400" cy="133819"/>
          </a:xfrm>
          <a:prstGeom prst="rect">
            <a:avLst/>
          </a:prstGeom>
        </p:spPr>
      </p:pic>
      <p:pic>
        <p:nvPicPr>
          <p:cNvPr id="249" name="Picture 248" descr="170.emf"/>
          <p:cNvPicPr>
            <a:picLocks noChangeAspect="1"/>
          </p:cNvPicPr>
          <p:nvPr/>
        </p:nvPicPr>
        <p:blipFill>
          <a:blip r:embed="rId176"/>
          <a:stretch>
            <a:fillRect/>
          </a:stretch>
        </p:blipFill>
        <p:spPr>
          <a:xfrm>
            <a:off x="7529533" y="4545820"/>
            <a:ext cx="133819" cy="138206"/>
          </a:xfrm>
          <a:prstGeom prst="rect">
            <a:avLst/>
          </a:prstGeom>
        </p:spPr>
      </p:pic>
      <p:sp>
        <p:nvSpPr>
          <p:cNvPr id="250" name="Rectangle 1"/>
          <p:cNvSpPr>
            <a:spLocks noChangeArrowheads="1"/>
          </p:cNvSpPr>
          <p:nvPr/>
        </p:nvSpPr>
        <p:spPr bwMode="auto">
          <a:xfrm>
            <a:off x="5976156" y="318361"/>
            <a:ext cx="1904829" cy="530915"/>
          </a:xfrm>
          <a:prstGeom prst="rect">
            <a:avLst/>
          </a:prstGeom>
          <a:solidFill>
            <a:sysClr val="window" lastClr="FFFFFF"/>
          </a:solidFill>
          <a:ln w="9525">
            <a:solidFill>
              <a:srgbClr val="FF0000"/>
            </a:solidFill>
            <a:miter lim="800000"/>
            <a:headEnd/>
            <a:tailEnd/>
          </a:ln>
          <a:effectLst/>
        </p:spPr>
        <p:txBody>
          <a:bodyPr vert="horz" wrap="square" lIns="68580" tIns="34290" rIns="68580" bIns="34290" numCol="1" anchor="ctr" anchorCtr="0" compatLnSpc="1">
            <a:prstTxWarp prst="textNoShape">
              <a:avLst/>
            </a:prstTxWarp>
            <a:spAutoFit/>
          </a:bodyPr>
          <a:lstStyle/>
          <a:p>
            <a:pPr defTabSz="685800" fontAlgn="base">
              <a:spcBef>
                <a:spcPct val="0"/>
              </a:spcBef>
              <a:spcAft>
                <a:spcPct val="0"/>
              </a:spcAft>
              <a:buClrTx/>
              <a:defRPr/>
            </a:pPr>
            <a:r>
              <a:rPr lang="en-US" sz="750" b="1" dirty="0">
                <a:latin typeface="Arial" pitchFamily="34" charset="0"/>
                <a:ea typeface="?? ??"/>
                <a:cs typeface="Arial" pitchFamily="34" charset="0"/>
              </a:rPr>
              <a:t>Icons can be used within </a:t>
            </a:r>
            <a:r>
              <a:rPr lang="en-US" sz="750" b="1" dirty="0" err="1">
                <a:latin typeface="Arial" pitchFamily="34" charset="0"/>
                <a:ea typeface="?? ??"/>
                <a:cs typeface="Arial" pitchFamily="34" charset="0"/>
              </a:rPr>
              <a:t>infographics</a:t>
            </a:r>
            <a:r>
              <a:rPr lang="en-US" sz="750" b="1" dirty="0">
                <a:latin typeface="Arial" pitchFamily="34" charset="0"/>
                <a:ea typeface="?? ??"/>
                <a:cs typeface="Arial" pitchFamily="34" charset="0"/>
              </a:rPr>
              <a:t> or as navigational aids. However, these should not be used as image replacements</a:t>
            </a:r>
            <a:endParaRPr lang="en-US" sz="750" b="1" dirty="0">
              <a:solidFill>
                <a:sysClr val="windowText" lastClr="000000"/>
              </a:solidFill>
              <a:latin typeface="Arial" pitchFamily="34" charset="0"/>
              <a:ea typeface="+mn-ea"/>
              <a:cs typeface="Arial" pitchFamily="34" charset="0"/>
            </a:endParaRPr>
          </a:p>
        </p:txBody>
      </p:sp>
    </p:spTree>
    <p:extLst>
      <p:ext uri="{BB962C8B-B14F-4D97-AF65-F5344CB8AC3E}">
        <p14:creationId xmlns:p14="http://schemas.microsoft.com/office/powerpoint/2010/main" val="2458258598"/>
      </p:ext>
    </p:extLst>
  </p:cSld>
  <p:clrMapOvr>
    <a:masterClrMapping/>
  </p:clrMapOvr>
  <p:transition>
    <p:fade/>
  </p:transition>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Iconography</a:t>
            </a: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6" name="Rectangle 2"/>
          <p:cNvSpPr txBox="1">
            <a:spLocks/>
          </p:cNvSpPr>
          <p:nvPr/>
        </p:nvSpPr>
        <p:spPr bwMode="auto">
          <a:xfrm>
            <a:off x="1437894" y="671334"/>
            <a:ext cx="6291000" cy="33373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57263" rtl="0" eaLnBrk="1" fontAlgn="base" hangingPunct="1">
              <a:lnSpc>
                <a:spcPct val="106000"/>
              </a:lnSpc>
              <a:spcBef>
                <a:spcPct val="0"/>
              </a:spcBef>
              <a:spcAft>
                <a:spcPct val="0"/>
              </a:spcAft>
              <a:defRPr sz="3000" b="0" kern="1200">
                <a:solidFill>
                  <a:srgbClr val="81BC00"/>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pPr defTabSz="717947">
              <a:buClrTx/>
            </a:pPr>
            <a:r>
              <a:rPr lang="en-GB" sz="1500" b="1" dirty="0">
                <a:solidFill>
                  <a:srgbClr val="313131"/>
                </a:solidFill>
                <a:latin typeface="Arial"/>
              </a:rPr>
              <a:t>Financial services</a:t>
            </a:r>
            <a:endParaRPr lang="en-US" sz="1500" b="1" dirty="0">
              <a:solidFill>
                <a:srgbClr val="313131"/>
              </a:solidFill>
              <a:latin typeface="Arial"/>
            </a:endParaRPr>
          </a:p>
        </p:txBody>
      </p:sp>
      <p:pic>
        <p:nvPicPr>
          <p:cNvPr id="47" name="Picture 3" descr="\\Cagmasrv1\sso$\Gestion_Deloitte\Global_Brand\- Templates\Icons\Iconography Deloitte\Icon_Lock_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58625" y="1109395"/>
            <a:ext cx="383211" cy="604994"/>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Cagmasrv1\sso$\Gestion_Deloitte\Global_Brand\- Templates\Icons\Iconography Deloitte\Icon_Piggy_bank_DarkGree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857771" y="1191830"/>
            <a:ext cx="685692" cy="440124"/>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5" descr="\\Cagmasrv1\sso$\Gestion_Deloitte\Global_Brand\- Templates\Icons\Iconography Deloitte\Icon_Calculator_Gree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424376" y="1109395"/>
            <a:ext cx="418316" cy="604994"/>
          </a:xfrm>
          <a:prstGeom prst="rect">
            <a:avLst/>
          </a:prstGeom>
          <a:noFill/>
          <a:extLst>
            <a:ext uri="{909E8E84-426E-40DD-AFC4-6F175D3DCCD1}">
              <a14:hiddenFill xmlns:a14="http://schemas.microsoft.com/office/drawing/2010/main">
                <a:solidFill>
                  <a:srgbClr val="FFFFFF"/>
                </a:solidFill>
              </a14:hiddenFill>
            </a:ext>
          </a:extLst>
        </p:spPr>
      </p:pic>
      <p:sp>
        <p:nvSpPr>
          <p:cNvPr id="50" name="Rectangle 2"/>
          <p:cNvSpPr txBox="1">
            <a:spLocks/>
          </p:cNvSpPr>
          <p:nvPr/>
        </p:nvSpPr>
        <p:spPr bwMode="auto">
          <a:xfrm>
            <a:off x="1437894" y="2006440"/>
            <a:ext cx="6316892" cy="2363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1019175" rtl="0" eaLnBrk="0" fontAlgn="base" hangingPunct="0">
              <a:lnSpc>
                <a:spcPct val="100000"/>
              </a:lnSpc>
              <a:spcBef>
                <a:spcPct val="0"/>
              </a:spcBef>
              <a:spcAft>
                <a:spcPct val="0"/>
              </a:spcAft>
              <a:defRPr sz="2400" b="1" kern="1200">
                <a:solidFill>
                  <a:schemeClr val="tx2"/>
                </a:solidFill>
                <a:latin typeface="+mj-lt"/>
                <a:ea typeface="+mj-ea"/>
                <a:cs typeface="+mj-cs"/>
              </a:defRPr>
            </a:lvl1pPr>
            <a:lvl2pPr algn="l" defTabSz="1019175" rtl="0" eaLnBrk="0" fontAlgn="base" hangingPunct="0">
              <a:lnSpc>
                <a:spcPts val="3400"/>
              </a:lnSpc>
              <a:spcBef>
                <a:spcPct val="0"/>
              </a:spcBef>
              <a:spcAft>
                <a:spcPct val="0"/>
              </a:spcAft>
              <a:defRPr sz="2400" b="1">
                <a:solidFill>
                  <a:schemeClr val="tx2"/>
                </a:solidFill>
                <a:latin typeface="Arial" charset="0"/>
              </a:defRPr>
            </a:lvl2pPr>
            <a:lvl3pPr algn="l" defTabSz="1019175" rtl="0" eaLnBrk="0" fontAlgn="base" hangingPunct="0">
              <a:lnSpc>
                <a:spcPts val="3400"/>
              </a:lnSpc>
              <a:spcBef>
                <a:spcPct val="0"/>
              </a:spcBef>
              <a:spcAft>
                <a:spcPct val="0"/>
              </a:spcAft>
              <a:defRPr sz="2400" b="1">
                <a:solidFill>
                  <a:schemeClr val="tx2"/>
                </a:solidFill>
                <a:latin typeface="Arial" charset="0"/>
              </a:defRPr>
            </a:lvl3pPr>
            <a:lvl4pPr algn="l" defTabSz="1019175" rtl="0" eaLnBrk="0" fontAlgn="base" hangingPunct="0">
              <a:lnSpc>
                <a:spcPts val="3400"/>
              </a:lnSpc>
              <a:spcBef>
                <a:spcPct val="0"/>
              </a:spcBef>
              <a:spcAft>
                <a:spcPct val="0"/>
              </a:spcAft>
              <a:defRPr sz="2400" b="1">
                <a:solidFill>
                  <a:schemeClr val="tx2"/>
                </a:solidFill>
                <a:latin typeface="Arial" charset="0"/>
              </a:defRPr>
            </a:lvl4pPr>
            <a:lvl5pPr algn="l" defTabSz="1019175" rtl="0" eaLnBrk="0" fontAlgn="base" hangingPunct="0">
              <a:lnSpc>
                <a:spcPts val="3400"/>
              </a:lnSpc>
              <a:spcBef>
                <a:spcPct val="0"/>
              </a:spcBef>
              <a:spcAft>
                <a:spcPct val="0"/>
              </a:spcAft>
              <a:defRPr sz="2400" b="1">
                <a:solidFill>
                  <a:schemeClr val="tx2"/>
                </a:solidFill>
                <a:latin typeface="Arial" charset="0"/>
              </a:defRPr>
            </a:lvl5pPr>
            <a:lvl6pPr marL="457200" algn="l" rtl="0" fontAlgn="base">
              <a:spcBef>
                <a:spcPct val="0"/>
              </a:spcBef>
              <a:spcAft>
                <a:spcPct val="0"/>
              </a:spcAft>
              <a:defRPr sz="2400" b="1">
                <a:solidFill>
                  <a:schemeClr val="accent1"/>
                </a:solidFill>
                <a:latin typeface="Arial" charset="0"/>
              </a:defRPr>
            </a:lvl6pPr>
            <a:lvl7pPr marL="914400" algn="l" rtl="0" fontAlgn="base">
              <a:spcBef>
                <a:spcPct val="0"/>
              </a:spcBef>
              <a:spcAft>
                <a:spcPct val="0"/>
              </a:spcAft>
              <a:defRPr sz="2400" b="1">
                <a:solidFill>
                  <a:schemeClr val="accent1"/>
                </a:solidFill>
                <a:latin typeface="Arial" charset="0"/>
              </a:defRPr>
            </a:lvl7pPr>
            <a:lvl8pPr marL="1371600" algn="l" rtl="0" fontAlgn="base">
              <a:spcBef>
                <a:spcPct val="0"/>
              </a:spcBef>
              <a:spcAft>
                <a:spcPct val="0"/>
              </a:spcAft>
              <a:defRPr sz="2400" b="1">
                <a:solidFill>
                  <a:schemeClr val="accent1"/>
                </a:solidFill>
                <a:latin typeface="Arial" charset="0"/>
              </a:defRPr>
            </a:lvl8pPr>
            <a:lvl9pPr marL="1828800" algn="l" rtl="0" fontAlgn="base">
              <a:spcBef>
                <a:spcPct val="0"/>
              </a:spcBef>
              <a:spcAft>
                <a:spcPct val="0"/>
              </a:spcAft>
              <a:defRPr sz="2400" b="1">
                <a:solidFill>
                  <a:schemeClr val="accent1"/>
                </a:solidFill>
                <a:latin typeface="Arial" charset="0"/>
              </a:defRPr>
            </a:lvl9pPr>
          </a:lstStyle>
          <a:p>
            <a:pPr defTabSz="764381">
              <a:buClrTx/>
            </a:pPr>
            <a:r>
              <a:rPr lang="en-GB" sz="1500" dirty="0">
                <a:solidFill>
                  <a:srgbClr val="313131"/>
                </a:solidFill>
                <a:latin typeface="Arial"/>
              </a:rPr>
              <a:t>Manufacturing / Retail</a:t>
            </a:r>
            <a:endParaRPr lang="en-US" sz="1500" dirty="0">
              <a:solidFill>
                <a:srgbClr val="313131"/>
              </a:solidFill>
              <a:latin typeface="Arial"/>
            </a:endParaRPr>
          </a:p>
        </p:txBody>
      </p:sp>
      <p:pic>
        <p:nvPicPr>
          <p:cNvPr id="51" name="Picture 7" descr="\\Cagmasrv1\sso$\Gestion_Deloitte\Global_Brand\- Templates\Icons\Iconography Deloitte\Icon_Cog_Blue.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716574" y="2500033"/>
            <a:ext cx="634622" cy="604994"/>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4" descr="\\Cagmasrv1\sso$\Gestion_Deloitte\Global_Brand\- Templates\Icons\Iconography Deloitte\Icon_Spanner_DarkGree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091402" y="2500033"/>
            <a:ext cx="187205" cy="604994"/>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 descr="\\Cagmasrv1\sso$\Gestion_Deloitte\Global_Brand\- Templates\Icons\Iconography Deloitte\Icon_Spanner_open_LGreen.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481145" y="2500033"/>
            <a:ext cx="179284" cy="604994"/>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6" descr="\\Cagmasrv1\sso$\Gestion_Deloitte\Global_Brand\- Templates\Icons\Iconography Deloitte\Icon_Box_DarkGreen.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420922" y="2500033"/>
            <a:ext cx="629251" cy="604994"/>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3" descr="\\Cagmasrv1\sso$\Gestion_Deloitte\Global_Brand\- Templates\Icons\Iconography Deloitte\Icon_Pricetag_LGreen.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345317" y="3409031"/>
            <a:ext cx="564401" cy="604994"/>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4" descr="\\Cagmasrv1\sso$\Gestion_Deloitte\Global_Brand\- Templates\Icons\Iconography Deloitte\Icon_Shoppping_cart_MBlue.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351327" y="3460155"/>
            <a:ext cx="685692" cy="502747"/>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 descr="\\Cagmasrv1\sso$\Gestion_Deloitte\Global_Brand\- Templates\Icons\Iconography Deloitte\Icon_Chip_and_PIN_card_LBlue.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896698" y="1222302"/>
            <a:ext cx="636037" cy="403329"/>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descr="C:\Users\jsauvageau\Desktop\4.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935624" y="1121470"/>
            <a:ext cx="623357" cy="57959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 descr="C:\Users\jsauvageau\Desktop\5.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5922605" y="1071053"/>
            <a:ext cx="604959" cy="683769"/>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3" descr="\\Cagmasrv1\sso$\Gestion_Deloitte\Global_Brand\- Templates\Icons\Iconography Deloitte\Icon_Forklift_Green.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662873" y="3359323"/>
            <a:ext cx="689780" cy="604994"/>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4" descr="\\Cagmasrv1\sso$\Gestion_Deloitte\Global_Brand\- Templates\Icons\Iconography Deloitte\Icon_Handcart_DarkGreen.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630956" y="3402261"/>
            <a:ext cx="564401" cy="604994"/>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6" descr="\\Cagmasrv1\sso$\Gestion_Deloitte\Global_Brand\- Templates\Icons\Iconography Deloitte\Icon_Factory_LGreen.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714820" y="2449041"/>
            <a:ext cx="715327" cy="604994"/>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3" descr="\\Cagmasrv1\sso$\Gestion_Deloitte\Global_Brand\- Templates\Icons\Iconography Deloitte\Icon_Delivery_van_MBlue.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3273341" y="3510571"/>
            <a:ext cx="935034" cy="489206"/>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7" descr="C:\Users\jsauvageau\Desktop\1.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6909585" y="3359323"/>
            <a:ext cx="575739" cy="558779"/>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8" descr="C:\Users\jsauvageau\Desktop\2.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6909586" y="2499457"/>
            <a:ext cx="612534" cy="558779"/>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9" descr="C:\Users\jsauvageau\Desktop\3.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688913" y="2499457"/>
            <a:ext cx="636343" cy="54827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8" descr="C:\Users\jsauvageau\Desktop\1.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507165" y="4170855"/>
            <a:ext cx="523793" cy="546176"/>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0" descr="C:\Users\jsauvageau\Desktop\1.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2442199" y="4221273"/>
            <a:ext cx="519464" cy="5135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1981996"/>
      </p:ext>
    </p:extLst>
  </p:cSld>
  <p:clrMapOvr>
    <a:masterClrMapping/>
  </p:clrMapOvr>
  <p:transition>
    <p:fade/>
  </p:transition>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Iconography	</a:t>
            </a: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Rectangle 2"/>
          <p:cNvSpPr txBox="1">
            <a:spLocks/>
          </p:cNvSpPr>
          <p:nvPr/>
        </p:nvSpPr>
        <p:spPr bwMode="auto">
          <a:xfrm>
            <a:off x="1437894" y="672085"/>
            <a:ext cx="6291000" cy="31106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57263" rtl="0" eaLnBrk="1" fontAlgn="base" hangingPunct="1">
              <a:lnSpc>
                <a:spcPct val="106000"/>
              </a:lnSpc>
              <a:spcBef>
                <a:spcPct val="0"/>
              </a:spcBef>
              <a:spcAft>
                <a:spcPct val="0"/>
              </a:spcAft>
              <a:defRPr sz="3000" b="0" kern="1200">
                <a:solidFill>
                  <a:srgbClr val="81BC00"/>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pPr defTabSz="717947">
              <a:buClrTx/>
            </a:pPr>
            <a:r>
              <a:rPr lang="en-GB" sz="1500" b="1" dirty="0">
                <a:solidFill>
                  <a:srgbClr val="313131"/>
                </a:solidFill>
                <a:latin typeface="Arial"/>
              </a:rPr>
              <a:t>Life science/healthcare</a:t>
            </a:r>
            <a:endParaRPr lang="en-US" sz="1500" b="1" dirty="0">
              <a:solidFill>
                <a:srgbClr val="313131"/>
              </a:solidFill>
              <a:latin typeface="Arial"/>
            </a:endParaRPr>
          </a:p>
        </p:txBody>
      </p:sp>
      <p:sp>
        <p:nvSpPr>
          <p:cNvPr id="25" name="Rectangle 2"/>
          <p:cNvSpPr txBox="1">
            <a:spLocks/>
          </p:cNvSpPr>
          <p:nvPr/>
        </p:nvSpPr>
        <p:spPr bwMode="auto">
          <a:xfrm>
            <a:off x="1437894" y="2762251"/>
            <a:ext cx="6316892" cy="2363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1019175" rtl="0" eaLnBrk="0" fontAlgn="base" hangingPunct="0">
              <a:lnSpc>
                <a:spcPct val="100000"/>
              </a:lnSpc>
              <a:spcBef>
                <a:spcPct val="0"/>
              </a:spcBef>
              <a:spcAft>
                <a:spcPct val="0"/>
              </a:spcAft>
              <a:defRPr sz="2400" b="1" kern="1200">
                <a:solidFill>
                  <a:schemeClr val="tx2"/>
                </a:solidFill>
                <a:latin typeface="+mj-lt"/>
                <a:ea typeface="+mj-ea"/>
                <a:cs typeface="+mj-cs"/>
              </a:defRPr>
            </a:lvl1pPr>
            <a:lvl2pPr algn="l" defTabSz="1019175" rtl="0" eaLnBrk="0" fontAlgn="base" hangingPunct="0">
              <a:lnSpc>
                <a:spcPts val="3400"/>
              </a:lnSpc>
              <a:spcBef>
                <a:spcPct val="0"/>
              </a:spcBef>
              <a:spcAft>
                <a:spcPct val="0"/>
              </a:spcAft>
              <a:defRPr sz="2400" b="1">
                <a:solidFill>
                  <a:schemeClr val="tx2"/>
                </a:solidFill>
                <a:latin typeface="Arial" charset="0"/>
              </a:defRPr>
            </a:lvl2pPr>
            <a:lvl3pPr algn="l" defTabSz="1019175" rtl="0" eaLnBrk="0" fontAlgn="base" hangingPunct="0">
              <a:lnSpc>
                <a:spcPts val="3400"/>
              </a:lnSpc>
              <a:spcBef>
                <a:spcPct val="0"/>
              </a:spcBef>
              <a:spcAft>
                <a:spcPct val="0"/>
              </a:spcAft>
              <a:defRPr sz="2400" b="1">
                <a:solidFill>
                  <a:schemeClr val="tx2"/>
                </a:solidFill>
                <a:latin typeface="Arial" charset="0"/>
              </a:defRPr>
            </a:lvl3pPr>
            <a:lvl4pPr algn="l" defTabSz="1019175" rtl="0" eaLnBrk="0" fontAlgn="base" hangingPunct="0">
              <a:lnSpc>
                <a:spcPts val="3400"/>
              </a:lnSpc>
              <a:spcBef>
                <a:spcPct val="0"/>
              </a:spcBef>
              <a:spcAft>
                <a:spcPct val="0"/>
              </a:spcAft>
              <a:defRPr sz="2400" b="1">
                <a:solidFill>
                  <a:schemeClr val="tx2"/>
                </a:solidFill>
                <a:latin typeface="Arial" charset="0"/>
              </a:defRPr>
            </a:lvl4pPr>
            <a:lvl5pPr algn="l" defTabSz="1019175" rtl="0" eaLnBrk="0" fontAlgn="base" hangingPunct="0">
              <a:lnSpc>
                <a:spcPts val="3400"/>
              </a:lnSpc>
              <a:spcBef>
                <a:spcPct val="0"/>
              </a:spcBef>
              <a:spcAft>
                <a:spcPct val="0"/>
              </a:spcAft>
              <a:defRPr sz="2400" b="1">
                <a:solidFill>
                  <a:schemeClr val="tx2"/>
                </a:solidFill>
                <a:latin typeface="Arial" charset="0"/>
              </a:defRPr>
            </a:lvl5pPr>
            <a:lvl6pPr marL="457200" algn="l" rtl="0" fontAlgn="base">
              <a:spcBef>
                <a:spcPct val="0"/>
              </a:spcBef>
              <a:spcAft>
                <a:spcPct val="0"/>
              </a:spcAft>
              <a:defRPr sz="2400" b="1">
                <a:solidFill>
                  <a:schemeClr val="accent1"/>
                </a:solidFill>
                <a:latin typeface="Arial" charset="0"/>
              </a:defRPr>
            </a:lvl6pPr>
            <a:lvl7pPr marL="914400" algn="l" rtl="0" fontAlgn="base">
              <a:spcBef>
                <a:spcPct val="0"/>
              </a:spcBef>
              <a:spcAft>
                <a:spcPct val="0"/>
              </a:spcAft>
              <a:defRPr sz="2400" b="1">
                <a:solidFill>
                  <a:schemeClr val="accent1"/>
                </a:solidFill>
                <a:latin typeface="Arial" charset="0"/>
              </a:defRPr>
            </a:lvl7pPr>
            <a:lvl8pPr marL="1371600" algn="l" rtl="0" fontAlgn="base">
              <a:spcBef>
                <a:spcPct val="0"/>
              </a:spcBef>
              <a:spcAft>
                <a:spcPct val="0"/>
              </a:spcAft>
              <a:defRPr sz="2400" b="1">
                <a:solidFill>
                  <a:schemeClr val="accent1"/>
                </a:solidFill>
                <a:latin typeface="Arial" charset="0"/>
              </a:defRPr>
            </a:lvl8pPr>
            <a:lvl9pPr marL="1828800" algn="l" rtl="0" fontAlgn="base">
              <a:spcBef>
                <a:spcPct val="0"/>
              </a:spcBef>
              <a:spcAft>
                <a:spcPct val="0"/>
              </a:spcAft>
              <a:defRPr sz="2400" b="1">
                <a:solidFill>
                  <a:schemeClr val="accent1"/>
                </a:solidFill>
                <a:latin typeface="Arial" charset="0"/>
              </a:defRPr>
            </a:lvl9pPr>
          </a:lstStyle>
          <a:p>
            <a:pPr defTabSz="764381">
              <a:buClrTx/>
            </a:pPr>
            <a:r>
              <a:rPr lang="en-GB" sz="1500" dirty="0">
                <a:solidFill>
                  <a:srgbClr val="313131"/>
                </a:solidFill>
                <a:latin typeface="Arial"/>
              </a:rPr>
              <a:t>Real estate</a:t>
            </a:r>
            <a:endParaRPr lang="en-US" sz="1500" dirty="0">
              <a:solidFill>
                <a:srgbClr val="313131"/>
              </a:solidFill>
              <a:latin typeface="Arial"/>
            </a:endParaRPr>
          </a:p>
        </p:txBody>
      </p:sp>
      <p:pic>
        <p:nvPicPr>
          <p:cNvPr id="26" name="Picture 2" descr="\\Cagmasrv1\sso$\Gestion_Deloitte\Global_Brand\- Templates\Icons\Iconography Deloitte\Icon_Lock_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56306" y="3115164"/>
            <a:ext cx="383211" cy="60499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3" descr="\\Cagmasrv1\sso$\Gestion_Deloitte\Global_Brand\- Templates\Icons\Iconography Deloitte\Icon_Chain_MBlu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659762" y="3115164"/>
            <a:ext cx="600560" cy="60499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 descr="\\Cagmasrv1\sso$\Gestion_Deloitte\Global_Brand\- Templates\Icons\Iconography Deloitte\Icon_House_LGree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682942" y="3115164"/>
            <a:ext cx="641436" cy="60499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5" descr="\\Cagmasrv1\sso$\Gestion_Deloitte\Global_Brand\- Templates\Icons\Iconography Deloitte\Icon_Key_Blue.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424376" y="3213825"/>
            <a:ext cx="935034" cy="40767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Cagmasrv1\sso$\Gestion_Deloitte\Global_Brand\- Templates\Icons\Iconography Deloitte\Icon_Ambulance_LGree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239219" y="1900822"/>
            <a:ext cx="810363" cy="54440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descr="\\Cagmasrv1\sso$\Gestion_Deloitte\Global_Brand\- Templates\Icons\Iconography Deloitte\Icon_DNA_LBlu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494147" y="1865436"/>
            <a:ext cx="329409" cy="604994"/>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5" descr="\\Cagmasrv1\sso$\Gestion_Deloitte\Global_Brand\- Templates\Icons\Iconography Deloitte\Icon_Magnifying_glass_Green.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219709" y="1865436"/>
            <a:ext cx="623357" cy="604994"/>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descr="\\Cagmasrv1\sso$\Gestion_Deloitte\Global_Brand\- Templates\Icons\Iconography Deloitte\Icon_Microscope_LBlue.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615863" y="983153"/>
            <a:ext cx="299803" cy="604994"/>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7" descr="\\Cagmasrv1\sso$\Gestion_Deloitte\Global_Brand\- Templates\Icons\Iconography Deloitte\Icon_Stethoscope_Green.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455219" y="1033569"/>
            <a:ext cx="548082" cy="60499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8" descr="\\Cagmasrv1\sso$\Gestion_Deloitte\Global_Brand\- Templates\Icons\Iconography Deloitte\Icon_Syringe_DarkGreen.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317204" y="1184818"/>
            <a:ext cx="997370" cy="165870"/>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9" descr="\\Cagmasrv1\sso$\Gestion_Deloitte\Global_Brand\- Templates\Icons\Iconography Deloitte\Icon_Capsule_Blue.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276966" y="983153"/>
            <a:ext cx="624536" cy="604994"/>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0" descr="\\Cagmasrv1\sso$\Gestion_Deloitte\Global_Brand\- Templates\Icons\Iconography Deloitte\Icon_Beaker_MBlue.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447005" y="983153"/>
            <a:ext cx="418189" cy="604994"/>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7" descr="C:\Users\jsauvageau\Desktop\1.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507166" y="1815019"/>
            <a:ext cx="446955" cy="62075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8" descr="C:\Users\jsauvageau\Desktop\2.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338176" y="1109193"/>
            <a:ext cx="548684" cy="433789"/>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9" descr="C:\Users\jsauvageau\Desktop\Untitled-2.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455089" y="3064747"/>
            <a:ext cx="706687" cy="613397"/>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1" descr="C:\Users\jsauvageau\Desktop\1.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5455088" y="1865436"/>
            <a:ext cx="510806" cy="55877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 descr="C:\Users\jsauvageau\Desktop\3.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5422621" y="3833306"/>
            <a:ext cx="350638" cy="835018"/>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3" descr="C:\Users\jsauvageau\Desktop\4.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1471452" y="4164161"/>
            <a:ext cx="814909" cy="504162"/>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 descr="C:\Users\jsauvageau\Desktop\5.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6026498" y="4122148"/>
            <a:ext cx="722920" cy="546176"/>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5" descr="C:\Users\jsauvageau\Desktop\6.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4568754" y="4067531"/>
            <a:ext cx="600629" cy="600793"/>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6" descr="C:\Users\jsauvageau\Desktop\1.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3328534" y="3844999"/>
            <a:ext cx="986981" cy="823325"/>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7" descr="C:\Users\jsauvageau\Desktop\2.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2539599" y="3942541"/>
            <a:ext cx="535697" cy="7257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1199608"/>
      </p:ext>
    </p:extLst>
  </p:cSld>
  <p:clrMapOvr>
    <a:masterClrMapping/>
  </p:clrMapOvr>
  <p:transition>
    <p:fade/>
  </p:transition>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Iconography</a:t>
            </a: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Rectangle 2"/>
          <p:cNvSpPr txBox="1">
            <a:spLocks/>
          </p:cNvSpPr>
          <p:nvPr/>
        </p:nvSpPr>
        <p:spPr bwMode="auto">
          <a:xfrm>
            <a:off x="1437894" y="672084"/>
            <a:ext cx="6291000" cy="27089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57263" rtl="0" eaLnBrk="1" fontAlgn="base" hangingPunct="1">
              <a:lnSpc>
                <a:spcPct val="106000"/>
              </a:lnSpc>
              <a:spcBef>
                <a:spcPct val="0"/>
              </a:spcBef>
              <a:spcAft>
                <a:spcPct val="0"/>
              </a:spcAft>
              <a:defRPr sz="3000" b="0" kern="1200">
                <a:solidFill>
                  <a:srgbClr val="81BC00"/>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pPr defTabSz="717947">
              <a:buClrTx/>
            </a:pPr>
            <a:r>
              <a:rPr lang="en-GB" sz="1500" b="1" dirty="0">
                <a:solidFill>
                  <a:srgbClr val="313131"/>
                </a:solidFill>
                <a:latin typeface="Arial"/>
              </a:rPr>
              <a:t>Public Sector</a:t>
            </a:r>
            <a:endParaRPr lang="en-US" sz="1500" b="1" dirty="0">
              <a:solidFill>
                <a:srgbClr val="313131"/>
              </a:solidFill>
              <a:latin typeface="Arial"/>
            </a:endParaRPr>
          </a:p>
        </p:txBody>
      </p:sp>
      <p:pic>
        <p:nvPicPr>
          <p:cNvPr id="25" name="Picture 2" descr="\\Cagmasrv1\sso$\Gestion_Deloitte\Global_Brand\- Templates\Icons\Iconography Deloitte\Icon_People_group_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429654" y="1175344"/>
            <a:ext cx="671169" cy="604994"/>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3" descr="\\Cagmasrv1\sso$\Gestion_Deloitte\Global_Brand\- Templates\Icons\Iconography Deloitte\Icon_People_man_Gree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127637" y="1180865"/>
            <a:ext cx="239268" cy="60499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Cagmasrv1\sso$\Gestion_Deloitte\Global_Brand\- Templates\Icons\Iconography Deloitte\Icon_People_woman_MBlu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473055" y="1180865"/>
            <a:ext cx="282350" cy="60499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C:\Users\jsauvageau\Desktop\7.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487043" y="2183667"/>
            <a:ext cx="639590" cy="346611"/>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1" descr="C:\Users\jsauvageau\Desktop\Untitled-2.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746775" y="1225760"/>
            <a:ext cx="639590" cy="558779"/>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2" descr="C:\Users\jsauvageau\Desktop\4.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616844" y="1225759"/>
            <a:ext cx="729413" cy="546176"/>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3" descr="C:\Users\jsauvageau\Desktop\5.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461136" y="2082835"/>
            <a:ext cx="510806" cy="55877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4" descr="C:\Users\jsauvageau\Desktop\3.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681809" y="1225760"/>
            <a:ext cx="600630" cy="558779"/>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5" descr="C:\Users\jsauvageau\Desktop\6.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552008" y="2133251"/>
            <a:ext cx="510806" cy="558779"/>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6" descr="C:\Users\jsauvageau\Desktop\4.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759663" y="1276177"/>
            <a:ext cx="485915" cy="409631"/>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7" descr="C:\Users\jsauvageau\Desktop\Untitled-2.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577917" y="2133251"/>
            <a:ext cx="639590" cy="495759"/>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8" descr="C:\Users\jsauvageau\Desktop\3.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5616843" y="2133251"/>
            <a:ext cx="639589" cy="558779"/>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9" descr="C:\Users\jsauvageau\Desktop\2.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707716" y="2133250"/>
            <a:ext cx="510806" cy="4337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8363862"/>
      </p:ext>
    </p:extLst>
  </p:cSld>
  <p:clrMapOvr>
    <a:masterClrMapping/>
  </p:clrMapOvr>
  <p:transition>
    <p:fade/>
  </p:transition>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Iconography</a:t>
            </a: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Rectangle 2"/>
          <p:cNvSpPr txBox="1">
            <a:spLocks/>
          </p:cNvSpPr>
          <p:nvPr/>
        </p:nvSpPr>
        <p:spPr bwMode="auto">
          <a:xfrm>
            <a:off x="1437894" y="672084"/>
            <a:ext cx="6291000" cy="27089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57263" rtl="0" eaLnBrk="1" fontAlgn="base" hangingPunct="1">
              <a:lnSpc>
                <a:spcPct val="106000"/>
              </a:lnSpc>
              <a:spcBef>
                <a:spcPct val="0"/>
              </a:spcBef>
              <a:spcAft>
                <a:spcPct val="0"/>
              </a:spcAft>
              <a:defRPr sz="3000" b="0" kern="1200">
                <a:solidFill>
                  <a:srgbClr val="81BC00"/>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pPr defTabSz="717947">
              <a:buClrTx/>
            </a:pPr>
            <a:r>
              <a:rPr lang="en-GB" sz="1500" b="1" dirty="0">
                <a:solidFill>
                  <a:srgbClr val="313131"/>
                </a:solidFill>
                <a:latin typeface="Arial"/>
              </a:rPr>
              <a:t>Technology, media, and telecommunications</a:t>
            </a:r>
            <a:endParaRPr lang="en-US" sz="1500" b="1" dirty="0">
              <a:solidFill>
                <a:srgbClr val="313131"/>
              </a:solidFill>
              <a:latin typeface="Arial"/>
            </a:endParaRPr>
          </a:p>
        </p:txBody>
      </p:sp>
      <p:pic>
        <p:nvPicPr>
          <p:cNvPr id="20" name="Picture 2" descr="\\Cagmasrv1\sso$\Gestion_Deloitte\Global_Brand\- Templates\Icons\Iconography Deloitte\Icon_Chip_and_PIN_card_L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64099" y="2086996"/>
            <a:ext cx="829916" cy="52627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3" descr="\\Cagmasrv1\sso$\Gestion_Deloitte\Global_Brand\- Templates\Icons\Iconography Deloitte\Icon_Computer_chip_Blu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05693" y="2117246"/>
            <a:ext cx="779195" cy="52627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0" descr="C:\Users\jsauvageau\Desktop\1.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455219" y="1080619"/>
            <a:ext cx="444791" cy="75414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1" descr="C:\Users\jsauvageau\Desktop\3.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390254" y="1181451"/>
            <a:ext cx="548683" cy="558779"/>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2" descr="C:\Users\jsauvageau\Desktop\Untitled-2.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481127" y="1231867"/>
            <a:ext cx="587643" cy="460048"/>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3" descr="C:\Users\jsauvageau\Desktop\4.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520053" y="1181450"/>
            <a:ext cx="510806" cy="495759"/>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4" descr="C:\Users\jsauvageau\Desktop\3.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814351" y="1181450"/>
            <a:ext cx="562752" cy="546176"/>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5" descr="C:\Users\jsauvageau\Desktop\1.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610928" y="1111984"/>
            <a:ext cx="580067" cy="576635"/>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6" descr="C:\Users\jsauvageau\Desktop\2.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455220" y="2139358"/>
            <a:ext cx="510806" cy="548276"/>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7" descr="C:\Users\jsauvageau\Desktop\3.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416162" y="2038525"/>
            <a:ext cx="738071" cy="697424"/>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8" descr="C:\Users\jsauvageau\Desktop\1.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429181" y="2139358"/>
            <a:ext cx="474011" cy="592390"/>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9" descr="C:\Users\jsauvageau\Desktop\2.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442200" y="2088942"/>
            <a:ext cx="370118" cy="582937"/>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6" descr="\\Cagmasrv1\sso$\Gestion_Deloitte\Global_Brand\- Templates\Icons\Iconography Deloitte\Icon_Laptop_DarkGreen.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455219" y="3046849"/>
            <a:ext cx="588682" cy="60499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5" descr="\\Cagmasrv1\sso$\Gestion_Deloitte\Global_Brand\- Templates\Icons\Iconography Deloitte\Icon_TV_Blue.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2442200" y="2996433"/>
            <a:ext cx="609600" cy="604994"/>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 descr="C:\Users\jsauvageau\Desktop\Untitled-2.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3481128" y="3105667"/>
            <a:ext cx="639589" cy="546176"/>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3" descr="C:\Users\jsauvageau\Desktop\Untitled-2.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572000" y="3147682"/>
            <a:ext cx="704523" cy="409631"/>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 descr="C:\Users\jsauvageau\Desktop\2.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5766767" y="2996432"/>
            <a:ext cx="404749" cy="663813"/>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5" descr="C:\Users\jsauvageau\Desktop\3.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6909586" y="3147681"/>
            <a:ext cx="510806" cy="495759"/>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7" descr="C:\Users\jsauvageau\Desktop\1.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533074" y="4156004"/>
            <a:ext cx="639590" cy="495759"/>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9" descr="C:\Users\jsauvageau\Desktop\3.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494147" y="4156005"/>
            <a:ext cx="639590" cy="558779"/>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1" descr="C:\Users\jsauvageau\Desktop\1.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1507166" y="4156004"/>
            <a:ext cx="639589" cy="484206"/>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12" descr="C:\Users\jsauvageau\Desktop\2.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675893" y="4105588"/>
            <a:ext cx="533533" cy="582937"/>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3" descr="C:\Users\jsauvageau\Desktop\3.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5714819" y="4156005"/>
            <a:ext cx="575739" cy="4663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4184146"/>
      </p:ext>
    </p:extLst>
  </p:cSld>
  <p:clrMapOvr>
    <a:masterClrMapping/>
  </p:clrMapOvr>
  <p:transition>
    <p:fade/>
  </p:transition>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Iconography</a:t>
            </a: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Rectangle 2"/>
          <p:cNvSpPr txBox="1">
            <a:spLocks/>
          </p:cNvSpPr>
          <p:nvPr/>
        </p:nvSpPr>
        <p:spPr bwMode="auto">
          <a:xfrm>
            <a:off x="1440656" y="672084"/>
            <a:ext cx="6291000" cy="27089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57263" rtl="0" eaLnBrk="1" fontAlgn="base" hangingPunct="1">
              <a:lnSpc>
                <a:spcPct val="106000"/>
              </a:lnSpc>
              <a:spcBef>
                <a:spcPct val="0"/>
              </a:spcBef>
              <a:spcAft>
                <a:spcPct val="0"/>
              </a:spcAft>
              <a:defRPr sz="3000" b="0" kern="1200">
                <a:solidFill>
                  <a:srgbClr val="81BC00"/>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pPr defTabSz="717947">
              <a:buClrTx/>
            </a:pPr>
            <a:r>
              <a:rPr lang="en-GB" sz="1500" b="1" dirty="0">
                <a:solidFill>
                  <a:srgbClr val="313131"/>
                </a:solidFill>
                <a:latin typeface="Arial"/>
              </a:rPr>
              <a:t>Technology, media, and telecommunications</a:t>
            </a:r>
            <a:endParaRPr lang="en-US" sz="1500" b="1" dirty="0">
              <a:solidFill>
                <a:srgbClr val="313131"/>
              </a:solidFill>
              <a:latin typeface="Arial"/>
            </a:endParaRPr>
          </a:p>
        </p:txBody>
      </p:sp>
      <p:pic>
        <p:nvPicPr>
          <p:cNvPr id="30" name="Picture 5" descr="\\Cagmasrv1\sso$\Gestion_Deloitte\Global_Brand\- Templates\Icons\Iconography Deloitte\Icon_Satellite_dish_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85020" y="1121509"/>
            <a:ext cx="427231" cy="604994"/>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6" descr="C:\Users\jsauvageau\Desktop\Untitled-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455220" y="1171926"/>
            <a:ext cx="670973" cy="53252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0" descr="C:\Users\jsauvageau\Desktop\Untitled-2.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546093" y="1171926"/>
            <a:ext cx="546519" cy="53042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4" descr="C:\Users\jsauvageau\Desktop\4.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530933" y="2079417"/>
            <a:ext cx="639590" cy="526219"/>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5" descr="C:\Users\jsauvageau\Desktop\1.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507035" y="1272758"/>
            <a:ext cx="639590" cy="403329"/>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6" descr="C:\Users\jsauvageau\Desktop\2.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468108" y="1272758"/>
            <a:ext cx="639590" cy="403329"/>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7" descr="C:\Users\jsauvageau\Desktop\3.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492006" y="2079417"/>
            <a:ext cx="639590" cy="526219"/>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8" descr="C:\Users\jsauvageau\Desktop\4.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465968" y="2331498"/>
            <a:ext cx="639589" cy="278339"/>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2" descr="C:\Users\jsauvageau\Desktop\5.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569860" y="3087739"/>
            <a:ext cx="639590" cy="433790"/>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3" descr="C:\Users\jsauvageau\Desktop\6.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608787" y="3037324"/>
            <a:ext cx="510806" cy="495759"/>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4" descr="C:\Users\jsauvageau\Desktop\3.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530933" y="2986908"/>
            <a:ext cx="639590" cy="620749"/>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5" descr="C:\Users\jsauvageau\Desktop\4.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595899" y="2986908"/>
            <a:ext cx="446955" cy="558779"/>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28" descr="C:\Users\jsauvageau\Desktop\1.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556841" y="2129833"/>
            <a:ext cx="639590" cy="495759"/>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9" descr="C:\Users\jsauvageau\Desktop\10.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699660" y="2230665"/>
            <a:ext cx="639590" cy="310900"/>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30" descr="C:\Users\jsauvageau\Desktop\9.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738586" y="2230665"/>
            <a:ext cx="519464" cy="361316"/>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31" descr="C:\Users\jsauvageau\Desktop\12.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6753747" y="1272758"/>
            <a:ext cx="478340" cy="4642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382539"/>
      </p:ext>
    </p:extLst>
  </p:cSld>
  <p:clrMapOvr>
    <a:masterClrMapping/>
  </p:clrMapOvr>
  <p:transition>
    <p:fade/>
  </p:transition>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Iconography</a:t>
            </a: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Rectangle 2"/>
          <p:cNvSpPr txBox="1">
            <a:spLocks/>
          </p:cNvSpPr>
          <p:nvPr/>
        </p:nvSpPr>
        <p:spPr bwMode="auto">
          <a:xfrm>
            <a:off x="1437894" y="672084"/>
            <a:ext cx="6291000" cy="27089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57263" rtl="0" eaLnBrk="1" fontAlgn="base" hangingPunct="1">
              <a:lnSpc>
                <a:spcPct val="106000"/>
              </a:lnSpc>
              <a:spcBef>
                <a:spcPct val="0"/>
              </a:spcBef>
              <a:spcAft>
                <a:spcPct val="0"/>
              </a:spcAft>
              <a:defRPr sz="3000" b="0" kern="1200">
                <a:solidFill>
                  <a:srgbClr val="81BC00"/>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pPr defTabSz="717947">
              <a:buClrTx/>
            </a:pPr>
            <a:r>
              <a:rPr lang="en-GB" sz="1500" b="1" dirty="0">
                <a:solidFill>
                  <a:srgbClr val="313131"/>
                </a:solidFill>
                <a:latin typeface="Arial"/>
              </a:rPr>
              <a:t>Transportation / Journey</a:t>
            </a:r>
            <a:endParaRPr lang="en-US" sz="1500" b="1" dirty="0">
              <a:solidFill>
                <a:srgbClr val="313131"/>
              </a:solidFill>
              <a:latin typeface="Arial"/>
            </a:endParaRPr>
          </a:p>
        </p:txBody>
      </p:sp>
      <p:pic>
        <p:nvPicPr>
          <p:cNvPr id="23" name="Picture 2" descr="\\Cagmasrv1\sso$\Gestion_Deloitte\Global_Brand\- Templates\Icons\Iconography Deloitte\Icon_Suitcase_L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635400" y="2193320"/>
            <a:ext cx="623357" cy="506879"/>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3" descr="\\Cagmasrv1\sso$\Gestion_Deloitte\Global_Brand\- Templates\Icons\Iconography Deloitte\Icon_Airplane_Gree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501462" y="2144263"/>
            <a:ext cx="628724" cy="604994"/>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3" descr="\\Cagmasrv1\sso$\Gestion_Deloitte\Global_Brand\- Templates\Icons\Iconography Deloitte\Icon_Delivery_van_MBlu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704272" y="1254334"/>
            <a:ext cx="935034" cy="489206"/>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Cagmasrv1\sso$\Gestion_Deloitte\Global_Brand\- Templates\Icons\Iconography Deloitte\Icon_Petrol_can_LBlue.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568851" y="1196439"/>
            <a:ext cx="483395" cy="60499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5" descr="\\Cagmasrv1\sso$\Gestion_Deloitte\Global_Brand\- Templates\Icons\Iconography Deloitte\Icon_Scooter_Gree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441909" y="1223134"/>
            <a:ext cx="872699" cy="55160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6" descr="\\Cagmasrv1\sso$\Gestion_Deloitte\Global_Brand\- Templates\Icons\Iconography Deloitte\Icon_Traffic_signal_LGreen.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119025" y="1135939"/>
            <a:ext cx="169410" cy="725993"/>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6" descr="C:\Users\jsauvageau\Desktop\6.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742381" y="1135939"/>
            <a:ext cx="777032" cy="752042"/>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 descr="C:\Users\jsauvageau\Desktop\2.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908775" y="2173672"/>
            <a:ext cx="548684" cy="546176"/>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4" descr="C:\Users\jsauvageau\Desktop\1.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763971" y="2240894"/>
            <a:ext cx="639590" cy="411732"/>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5" descr="C:\Users\jsauvageau\Desktop\5.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922096" y="3001338"/>
            <a:ext cx="553974" cy="655410"/>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6" descr="C:\Users\jsauvageau\Desktop\6.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962673" y="2194679"/>
            <a:ext cx="324276" cy="504162"/>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7" descr="C:\Users\jsauvageau\Desktop\1.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493638" y="3049654"/>
            <a:ext cx="639589" cy="558779"/>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8" descr="C:\Users\jsauvageau\Desktop\2.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636457" y="3065934"/>
            <a:ext cx="575739" cy="526219"/>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9" descr="C:\Users\jsauvageau\Desktop\3.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792165" y="2180500"/>
            <a:ext cx="548683" cy="532520"/>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10" descr="C:\Users\jsauvageau\Desktop\4.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3727331" y="3062783"/>
            <a:ext cx="548683" cy="53252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1" descr="C:\Users\jsauvageau\Desktop\4.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6896057" y="3051754"/>
            <a:ext cx="612534" cy="59449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2" descr="C:\Users\jsauvageau\Desktop\1.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974043" y="1186356"/>
            <a:ext cx="762962" cy="644907"/>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3" descr="C:\Users\jsauvageau\Desktop\2.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1493638" y="3908829"/>
            <a:ext cx="639589" cy="495759"/>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C:\Users\jsauvageau\Desktop\3.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5857130" y="3051754"/>
            <a:ext cx="587643" cy="570332"/>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30" descr="C:\Users\jsauvageau\Desktop\2.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532565" y="3908829"/>
            <a:ext cx="706687" cy="4800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559432"/>
      </p:ext>
    </p:extLst>
  </p:cSld>
  <p:clrMapOvr>
    <a:masterClrMapping/>
  </p:clrMapOvr>
  <p:transition>
    <p:fade/>
  </p:transition>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Iconography</a:t>
            </a: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Rectangle 2"/>
          <p:cNvSpPr txBox="1">
            <a:spLocks/>
          </p:cNvSpPr>
          <p:nvPr/>
        </p:nvSpPr>
        <p:spPr bwMode="auto">
          <a:xfrm>
            <a:off x="1437894" y="672084"/>
            <a:ext cx="6291000" cy="27089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57263" rtl="0" eaLnBrk="1" fontAlgn="base" hangingPunct="1">
              <a:lnSpc>
                <a:spcPct val="106000"/>
              </a:lnSpc>
              <a:spcBef>
                <a:spcPct val="0"/>
              </a:spcBef>
              <a:spcAft>
                <a:spcPct val="0"/>
              </a:spcAft>
              <a:defRPr sz="3000" b="0" kern="1200">
                <a:solidFill>
                  <a:srgbClr val="81BC00"/>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pPr defTabSz="717947">
              <a:buClrTx/>
            </a:pPr>
            <a:r>
              <a:rPr lang="en-GB" sz="1500" b="1" dirty="0">
                <a:solidFill>
                  <a:srgbClr val="313131"/>
                </a:solidFill>
                <a:latin typeface="Arial"/>
              </a:rPr>
              <a:t>Energy / Environment</a:t>
            </a:r>
          </a:p>
        </p:txBody>
      </p:sp>
      <p:pic>
        <p:nvPicPr>
          <p:cNvPr id="23" name="Picture 2" descr="\\Cagmasrv1\sso$\Gestion_Deloitte\Global_Brand\- Templates\Icons\Iconography Deloitte\Icon_Battery_L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332020" y="1112929"/>
            <a:ext cx="294385" cy="60499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Cagmasrv1\sso$\Gestion_Deloitte\Global_Brand\- Templates\Icons\Iconography Deloitte\Icon_Water_drop_Gree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26890" y="1112929"/>
            <a:ext cx="378788" cy="604994"/>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5" descr="\\Cagmasrv1\sso$\Gestion_Deloitte\Global_Brand\- Templates\Icons\Iconography Deloitte\Icon_Barrel_oil_MBlu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139561" y="1112929"/>
            <a:ext cx="374171" cy="60499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Cagmasrv1\sso$\Gestion_Deloitte\Global_Brand\- Templates\Icons\Iconography Deloitte\Icon_Flower_Gree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461484" y="1137769"/>
            <a:ext cx="623357" cy="60499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3" descr="\\Cagmasrv1\sso$\Gestion_Deloitte\Global_Brand\- Templates\Icons\Iconography Deloitte\Icon_Leaf_LGree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454990" y="1137769"/>
            <a:ext cx="363873" cy="60499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Cagmasrv1\sso$\Gestion_Deloitte\Global_Brand\- Templates\Icons\Iconography Deloitte\Icon_Sprout_Blu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485167" y="1137769"/>
            <a:ext cx="456665" cy="604994"/>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5" descr="\\Cagmasrv1\sso$\Gestion_Deloitte\Global_Brand\- Templates\Icons\Iconography Deloitte\Icon_Wind_turbine_Blue.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597997" y="1036198"/>
            <a:ext cx="374014" cy="75698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 descr="\\Cagmasrv1\sso$\Gestion_Deloitte\Global_Brand\- Templates\Icons\Iconography Deloitte\Icon_Petrol_can_LBlue.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483794" y="2095675"/>
            <a:ext cx="483395" cy="604994"/>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 descr="C:\Users\jsauvageau\Desktop\3.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470775" y="2246924"/>
            <a:ext cx="639590" cy="310900"/>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3" descr="C:\Users\jsauvageau\Desktop\1.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584342" y="2246924"/>
            <a:ext cx="639590" cy="310900"/>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 descr="C:\Users\jsauvageau\Desktop\2.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545415" y="2246924"/>
            <a:ext cx="639590" cy="310900"/>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5" descr="C:\Users\jsauvageau\Desktop\1.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5743395" y="2095675"/>
            <a:ext cx="587682" cy="604994"/>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6" descr="C:\Users\jsauvageau\Desktop\1.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90108" y="2045259"/>
            <a:ext cx="410809" cy="655410"/>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1" descr="C:\Users\jsauvageau\Desktop\4.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379902" y="3939016"/>
            <a:ext cx="772702" cy="62705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12" descr="C:\Users\jsauvageau\Desktop\1.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483794" y="3007368"/>
            <a:ext cx="598466" cy="580837"/>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3" descr="C:\Users\jsauvageau\Desktop\2.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3792810" y="3018397"/>
            <a:ext cx="255403" cy="558779"/>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4" descr="C:\Users\jsauvageau\Desktop\3.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617740" y="3096122"/>
            <a:ext cx="639589" cy="403329"/>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7" descr="C:\Users\jsauvageau\Desktop\7.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6933832" y="3043605"/>
            <a:ext cx="523793" cy="508363"/>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8" descr="C:\Users\jsauvageau\Desktop\5.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4583693" y="2987412"/>
            <a:ext cx="639589" cy="620749"/>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9" descr="C:\Users\jsauvageau\Desktop\6.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5758762" y="2987412"/>
            <a:ext cx="639589" cy="6207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282402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8801" name="Title 1"/>
          <p:cNvSpPr>
            <a:spLocks noGrp="1"/>
          </p:cNvSpPr>
          <p:nvPr>
            <p:ph type="title"/>
          </p:nvPr>
        </p:nvSpPr>
        <p:spPr/>
        <p:txBody>
          <a:bodyPr/>
          <a:lstStyle/>
          <a:p>
            <a:pPr>
              <a:lnSpc>
                <a:spcPct val="100000"/>
              </a:lnSpc>
            </a:pPr>
            <a:r>
              <a:rPr lang="en-US" altLang="ja-JP" dirty="0">
                <a:solidFill>
                  <a:srgbClr val="81BC00"/>
                </a:solidFill>
              </a:rPr>
              <a:t>Text boxes  </a:t>
            </a:r>
            <a:br>
              <a:rPr lang="en-US" altLang="ja-JP" dirty="0">
                <a:solidFill>
                  <a:srgbClr val="81BC00"/>
                </a:solidFill>
              </a:rPr>
            </a:br>
            <a:r>
              <a:rPr lang="en-US" altLang="ja-JP" dirty="0">
                <a:solidFill>
                  <a:srgbClr val="575757"/>
                </a:solidFill>
              </a:rPr>
              <a:t>Influencing chevrons</a:t>
            </a:r>
            <a:endParaRPr lang="en-US" dirty="0">
              <a:solidFill>
                <a:srgbClr val="575757"/>
              </a:solidFill>
            </a:endParaRPr>
          </a:p>
        </p:txBody>
      </p:sp>
      <p:sp>
        <p:nvSpPr>
          <p:cNvPr id="13" name="Rectangle 12"/>
          <p:cNvSpPr>
            <a:spLocks noChangeArrowheads="1"/>
          </p:cNvSpPr>
          <p:nvPr>
            <p:custDataLst>
              <p:tags r:id="rId1"/>
            </p:custDataLst>
          </p:nvPr>
        </p:nvSpPr>
        <p:spPr bwMode="auto">
          <a:xfrm>
            <a:off x="3586163" y="1268730"/>
            <a:ext cx="1950244" cy="3333750"/>
          </a:xfrm>
          <a:prstGeom prst="rect">
            <a:avLst/>
          </a:prstGeom>
          <a:noFill/>
          <a:ln w="6350" algn="ctr">
            <a:solidFill>
              <a:srgbClr val="B4B4B4"/>
            </a:solidFill>
            <a:miter lim="800000"/>
            <a:headEnd/>
            <a:tailEnd/>
          </a:ln>
        </p:spPr>
        <p:txBody>
          <a:bodyPr lIns="27000" tIns="27000" rIns="27000" bIns="27000" anchor="ctr"/>
          <a:lstStyle/>
          <a:p>
            <a:pPr algn="ctr" defTabSz="685800">
              <a:buClrTx/>
              <a:defRPr/>
            </a:pPr>
            <a:r>
              <a:rPr lang="en-US" altLang="ja-JP" sz="1050" b="1" kern="1200" dirty="0">
                <a:solidFill>
                  <a:srgbClr val="313131"/>
                </a:solidFill>
                <a:ea typeface="ＭＳ Ｐゴシック" pitchFamily="50" charset="-128"/>
                <a:cs typeface="+mn-cs"/>
              </a:rPr>
              <a:t>Text</a:t>
            </a:r>
          </a:p>
        </p:txBody>
      </p:sp>
      <p:sp>
        <p:nvSpPr>
          <p:cNvPr id="14" name="Text Placeholder 5"/>
          <p:cNvSpPr txBox="1">
            <a:spLocks/>
          </p:cNvSpPr>
          <p:nvPr/>
        </p:nvSpPr>
        <p:spPr>
          <a:xfrm>
            <a:off x="1662112" y="1343021"/>
            <a:ext cx="2359819" cy="997744"/>
          </a:xfrm>
          <a:prstGeom prst="homePlate">
            <a:avLst>
              <a:gd name="adj" fmla="val 22028"/>
            </a:avLst>
          </a:prstGeom>
          <a:solidFill>
            <a:srgbClr val="8C8C8C"/>
          </a:solidFill>
          <a:ln>
            <a:solidFill>
              <a:schemeClr val="bg1"/>
            </a:solidFill>
          </a:ln>
        </p:spPr>
        <p:txBody>
          <a:bodyPr wrap="square" lIns="137160" tIns="27000" rIns="27000" bIns="27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defTabSz="717947">
              <a:spcBef>
                <a:spcPts val="450"/>
              </a:spcBef>
              <a:buClrTx/>
            </a:pPr>
            <a:r>
              <a:rPr lang="en-US" sz="825" dirty="0">
                <a:solidFill>
                  <a:prstClr val="white"/>
                </a:solidFill>
                <a:latin typeface="Arial"/>
              </a:rPr>
              <a:t>Text runs here</a:t>
            </a:r>
          </a:p>
          <a:p>
            <a:pPr marL="205740" lvl="1" indent="-205740" defTabSz="717947">
              <a:spcBef>
                <a:spcPts val="450"/>
              </a:spcBef>
              <a:buClrTx/>
            </a:pPr>
            <a:r>
              <a:rPr lang="en-US" sz="825" dirty="0">
                <a:solidFill>
                  <a:prstClr val="white"/>
                </a:solidFill>
                <a:latin typeface="Arial"/>
              </a:rPr>
              <a:t>This is second level text  </a:t>
            </a:r>
          </a:p>
          <a:p>
            <a:pPr marL="404622" lvl="2" indent="-198882" defTabSz="717947">
              <a:spcBef>
                <a:spcPts val="450"/>
              </a:spcBef>
              <a:buClrTx/>
            </a:pPr>
            <a:r>
              <a:rPr lang="en-US" sz="825" dirty="0">
                <a:solidFill>
                  <a:prstClr val="white"/>
                </a:solidFill>
                <a:latin typeface="Arial"/>
              </a:rPr>
              <a:t>This is third level text </a:t>
            </a:r>
          </a:p>
        </p:txBody>
      </p:sp>
      <p:sp>
        <p:nvSpPr>
          <p:cNvPr id="19" name="Text Placeholder 5"/>
          <p:cNvSpPr txBox="1">
            <a:spLocks/>
          </p:cNvSpPr>
          <p:nvPr/>
        </p:nvSpPr>
        <p:spPr>
          <a:xfrm>
            <a:off x="1662113" y="2436733"/>
            <a:ext cx="2359819" cy="997744"/>
          </a:xfrm>
          <a:prstGeom prst="homePlate">
            <a:avLst>
              <a:gd name="adj" fmla="val 22028"/>
            </a:avLst>
          </a:prstGeom>
          <a:solidFill>
            <a:srgbClr val="8C8C8C"/>
          </a:solidFill>
          <a:ln>
            <a:solidFill>
              <a:schemeClr val="bg1"/>
            </a:solidFill>
          </a:ln>
        </p:spPr>
        <p:txBody>
          <a:bodyPr wrap="square" lIns="137160" tIns="27000" rIns="27000" bIns="27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defTabSz="717947">
              <a:spcBef>
                <a:spcPts val="450"/>
              </a:spcBef>
              <a:buClrTx/>
            </a:pPr>
            <a:r>
              <a:rPr lang="en-US" sz="825" dirty="0">
                <a:solidFill>
                  <a:prstClr val="white"/>
                </a:solidFill>
                <a:latin typeface="Arial"/>
              </a:rPr>
              <a:t>Text runs here</a:t>
            </a:r>
          </a:p>
          <a:p>
            <a:pPr marL="205740" lvl="1" indent="-205740" defTabSz="717947">
              <a:spcBef>
                <a:spcPts val="450"/>
              </a:spcBef>
              <a:buClrTx/>
            </a:pPr>
            <a:r>
              <a:rPr lang="en-US" sz="825" dirty="0">
                <a:solidFill>
                  <a:prstClr val="white"/>
                </a:solidFill>
                <a:latin typeface="Arial"/>
              </a:rPr>
              <a:t>This is second level text  </a:t>
            </a:r>
          </a:p>
          <a:p>
            <a:pPr marL="404622" lvl="2" indent="-198882" defTabSz="717947">
              <a:spcBef>
                <a:spcPts val="450"/>
              </a:spcBef>
              <a:buClrTx/>
            </a:pPr>
            <a:r>
              <a:rPr lang="en-US" sz="825" dirty="0">
                <a:solidFill>
                  <a:prstClr val="white"/>
                </a:solidFill>
                <a:latin typeface="Arial"/>
              </a:rPr>
              <a:t>This is third level text </a:t>
            </a:r>
          </a:p>
        </p:txBody>
      </p:sp>
      <p:sp>
        <p:nvSpPr>
          <p:cNvPr id="20" name="Text Placeholder 5"/>
          <p:cNvSpPr txBox="1">
            <a:spLocks/>
          </p:cNvSpPr>
          <p:nvPr/>
        </p:nvSpPr>
        <p:spPr>
          <a:xfrm>
            <a:off x="1662113" y="3548056"/>
            <a:ext cx="2359819" cy="997744"/>
          </a:xfrm>
          <a:prstGeom prst="homePlate">
            <a:avLst>
              <a:gd name="adj" fmla="val 22028"/>
            </a:avLst>
          </a:prstGeom>
          <a:solidFill>
            <a:srgbClr val="8C8C8C"/>
          </a:solidFill>
          <a:ln>
            <a:solidFill>
              <a:schemeClr val="bg1"/>
            </a:solidFill>
          </a:ln>
        </p:spPr>
        <p:txBody>
          <a:bodyPr wrap="square" lIns="137160" tIns="27000" rIns="27000" bIns="27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defTabSz="717947">
              <a:spcBef>
                <a:spcPts val="450"/>
              </a:spcBef>
              <a:buClrTx/>
            </a:pPr>
            <a:r>
              <a:rPr lang="en-US" sz="825" dirty="0">
                <a:solidFill>
                  <a:prstClr val="white"/>
                </a:solidFill>
                <a:latin typeface="Arial"/>
              </a:rPr>
              <a:t>Text runs here</a:t>
            </a:r>
          </a:p>
          <a:p>
            <a:pPr marL="205740" lvl="1" indent="-205740" defTabSz="717947">
              <a:spcBef>
                <a:spcPts val="450"/>
              </a:spcBef>
              <a:buClrTx/>
            </a:pPr>
            <a:r>
              <a:rPr lang="en-US" sz="825" dirty="0">
                <a:solidFill>
                  <a:prstClr val="white"/>
                </a:solidFill>
                <a:latin typeface="Arial"/>
              </a:rPr>
              <a:t>This is second level text  </a:t>
            </a:r>
          </a:p>
          <a:p>
            <a:pPr marL="404622" lvl="2" indent="-198882" defTabSz="717947">
              <a:spcBef>
                <a:spcPts val="450"/>
              </a:spcBef>
              <a:buClrTx/>
            </a:pPr>
            <a:r>
              <a:rPr lang="en-US" sz="825" dirty="0">
                <a:solidFill>
                  <a:prstClr val="white"/>
                </a:solidFill>
                <a:latin typeface="Arial"/>
              </a:rPr>
              <a:t>This is third level text </a:t>
            </a:r>
          </a:p>
        </p:txBody>
      </p:sp>
      <p:sp>
        <p:nvSpPr>
          <p:cNvPr id="21" name="Text Placeholder 5"/>
          <p:cNvSpPr txBox="1">
            <a:spLocks/>
          </p:cNvSpPr>
          <p:nvPr/>
        </p:nvSpPr>
        <p:spPr>
          <a:xfrm flipH="1">
            <a:off x="5108973" y="1343020"/>
            <a:ext cx="2359819" cy="997744"/>
          </a:xfrm>
          <a:prstGeom prst="homePlate">
            <a:avLst>
              <a:gd name="adj" fmla="val 22028"/>
            </a:avLst>
          </a:prstGeom>
          <a:solidFill>
            <a:srgbClr val="00A1DE"/>
          </a:solidFill>
          <a:ln>
            <a:solidFill>
              <a:schemeClr val="bg1"/>
            </a:solidFill>
          </a:ln>
        </p:spPr>
        <p:txBody>
          <a:bodyPr wrap="square" lIns="137160" tIns="27000" rIns="27000" bIns="27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defTabSz="717947">
              <a:spcBef>
                <a:spcPts val="450"/>
              </a:spcBef>
              <a:buClrTx/>
            </a:pPr>
            <a:r>
              <a:rPr lang="en-US" sz="825" dirty="0">
                <a:solidFill>
                  <a:prstClr val="white"/>
                </a:solidFill>
                <a:latin typeface="Arial"/>
              </a:rPr>
              <a:t>Text runs here</a:t>
            </a:r>
          </a:p>
          <a:p>
            <a:pPr marL="205740" lvl="1" indent="-205740" defTabSz="717947">
              <a:spcBef>
                <a:spcPts val="450"/>
              </a:spcBef>
              <a:buClrTx/>
            </a:pPr>
            <a:r>
              <a:rPr lang="en-US" sz="825" dirty="0">
                <a:solidFill>
                  <a:prstClr val="white"/>
                </a:solidFill>
                <a:latin typeface="Arial"/>
              </a:rPr>
              <a:t>This is second level text  </a:t>
            </a:r>
          </a:p>
          <a:p>
            <a:pPr marL="404622" lvl="2" indent="-198882" defTabSz="717947">
              <a:spcBef>
                <a:spcPts val="450"/>
              </a:spcBef>
              <a:buClrTx/>
            </a:pPr>
            <a:r>
              <a:rPr lang="en-US" sz="825" dirty="0">
                <a:solidFill>
                  <a:prstClr val="white"/>
                </a:solidFill>
                <a:latin typeface="Arial"/>
              </a:rPr>
              <a:t>This is third level text </a:t>
            </a:r>
          </a:p>
        </p:txBody>
      </p:sp>
      <p:sp>
        <p:nvSpPr>
          <p:cNvPr id="22" name="Text Placeholder 5"/>
          <p:cNvSpPr txBox="1">
            <a:spLocks/>
          </p:cNvSpPr>
          <p:nvPr/>
        </p:nvSpPr>
        <p:spPr>
          <a:xfrm flipH="1">
            <a:off x="5108973" y="2436732"/>
            <a:ext cx="2359819" cy="997744"/>
          </a:xfrm>
          <a:prstGeom prst="homePlate">
            <a:avLst>
              <a:gd name="adj" fmla="val 22028"/>
            </a:avLst>
          </a:prstGeom>
          <a:solidFill>
            <a:srgbClr val="00A1DE"/>
          </a:solidFill>
          <a:ln>
            <a:solidFill>
              <a:schemeClr val="bg1"/>
            </a:solidFill>
          </a:ln>
        </p:spPr>
        <p:txBody>
          <a:bodyPr wrap="square" lIns="137160" tIns="27000" rIns="27000" bIns="27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defTabSz="717947">
              <a:spcBef>
                <a:spcPts val="450"/>
              </a:spcBef>
              <a:buClrTx/>
            </a:pPr>
            <a:r>
              <a:rPr lang="en-US" sz="825" dirty="0">
                <a:solidFill>
                  <a:prstClr val="white"/>
                </a:solidFill>
                <a:latin typeface="Arial"/>
              </a:rPr>
              <a:t>Text runs here</a:t>
            </a:r>
          </a:p>
          <a:p>
            <a:pPr marL="205740" lvl="1" indent="-205740" defTabSz="717947">
              <a:spcBef>
                <a:spcPts val="450"/>
              </a:spcBef>
              <a:buClrTx/>
            </a:pPr>
            <a:r>
              <a:rPr lang="en-US" sz="825" dirty="0">
                <a:solidFill>
                  <a:prstClr val="white"/>
                </a:solidFill>
                <a:latin typeface="Arial"/>
              </a:rPr>
              <a:t>This is second level text  </a:t>
            </a:r>
          </a:p>
          <a:p>
            <a:pPr marL="404622" lvl="2" indent="-198882" defTabSz="717947">
              <a:spcBef>
                <a:spcPts val="450"/>
              </a:spcBef>
              <a:buClrTx/>
            </a:pPr>
            <a:r>
              <a:rPr lang="en-US" sz="825" dirty="0">
                <a:solidFill>
                  <a:prstClr val="white"/>
                </a:solidFill>
                <a:latin typeface="Arial"/>
              </a:rPr>
              <a:t>This is third level text </a:t>
            </a:r>
          </a:p>
        </p:txBody>
      </p:sp>
      <p:sp>
        <p:nvSpPr>
          <p:cNvPr id="23" name="Text Placeholder 5"/>
          <p:cNvSpPr txBox="1">
            <a:spLocks/>
          </p:cNvSpPr>
          <p:nvPr>
            <p:custDataLst>
              <p:tags r:id="rId2"/>
            </p:custDataLst>
          </p:nvPr>
        </p:nvSpPr>
        <p:spPr>
          <a:xfrm flipH="1">
            <a:off x="5108973" y="3548055"/>
            <a:ext cx="2359819" cy="997744"/>
          </a:xfrm>
          <a:prstGeom prst="homePlate">
            <a:avLst>
              <a:gd name="adj" fmla="val 22028"/>
            </a:avLst>
          </a:prstGeom>
          <a:solidFill>
            <a:srgbClr val="00A1DE"/>
          </a:solidFill>
          <a:ln>
            <a:solidFill>
              <a:schemeClr val="bg1"/>
            </a:solidFill>
          </a:ln>
        </p:spPr>
        <p:txBody>
          <a:bodyPr wrap="square" lIns="137160" tIns="27000" rIns="27000" bIns="27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defTabSz="717947">
              <a:spcBef>
                <a:spcPts val="450"/>
              </a:spcBef>
              <a:buClrTx/>
            </a:pPr>
            <a:r>
              <a:rPr lang="en-US" sz="825" dirty="0">
                <a:solidFill>
                  <a:prstClr val="white"/>
                </a:solidFill>
                <a:latin typeface="Arial"/>
              </a:rPr>
              <a:t>Text runs here</a:t>
            </a:r>
          </a:p>
          <a:p>
            <a:pPr marL="205740" lvl="1" indent="-205740" defTabSz="717947">
              <a:spcBef>
                <a:spcPts val="450"/>
              </a:spcBef>
              <a:buClrTx/>
            </a:pPr>
            <a:r>
              <a:rPr lang="en-US" sz="825" dirty="0">
                <a:solidFill>
                  <a:prstClr val="white"/>
                </a:solidFill>
                <a:latin typeface="Arial"/>
              </a:rPr>
              <a:t>This is second level text  </a:t>
            </a:r>
          </a:p>
          <a:p>
            <a:pPr marL="404622" lvl="2" indent="-198882" defTabSz="717947">
              <a:spcBef>
                <a:spcPts val="450"/>
              </a:spcBef>
              <a:buClrTx/>
            </a:pPr>
            <a:r>
              <a:rPr lang="en-US" sz="825" dirty="0">
                <a:solidFill>
                  <a:prstClr val="white"/>
                </a:solidFill>
                <a:latin typeface="Arial"/>
              </a:rPr>
              <a:t>This is third level text </a:t>
            </a:r>
          </a:p>
        </p:txBody>
      </p:sp>
    </p:spTree>
    <p:extLst>
      <p:ext uri="{BB962C8B-B14F-4D97-AF65-F5344CB8AC3E}">
        <p14:creationId xmlns:p14="http://schemas.microsoft.com/office/powerpoint/2010/main" val="2822669927"/>
      </p:ext>
    </p:extLst>
  </p:cSld>
  <p:clrMapOvr>
    <a:masterClrMapping/>
  </p:clrMapOvr>
  <p:transition>
    <p:fade/>
  </p:transition>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Iconography</a:t>
            </a: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Rectangle 2"/>
          <p:cNvSpPr txBox="1">
            <a:spLocks/>
          </p:cNvSpPr>
          <p:nvPr/>
        </p:nvSpPr>
        <p:spPr bwMode="auto">
          <a:xfrm>
            <a:off x="1437894" y="672084"/>
            <a:ext cx="6291000" cy="27089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57263" rtl="0" eaLnBrk="1" fontAlgn="base" hangingPunct="1">
              <a:lnSpc>
                <a:spcPct val="106000"/>
              </a:lnSpc>
              <a:spcBef>
                <a:spcPct val="0"/>
              </a:spcBef>
              <a:spcAft>
                <a:spcPct val="0"/>
              </a:spcAft>
              <a:defRPr sz="3000" b="0" kern="1200">
                <a:solidFill>
                  <a:srgbClr val="81BC00"/>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pPr defTabSz="717947">
              <a:buClrTx/>
            </a:pPr>
            <a:r>
              <a:rPr lang="en-GB" sz="1500" b="1" dirty="0">
                <a:solidFill>
                  <a:srgbClr val="313131"/>
                </a:solidFill>
                <a:latin typeface="Arial"/>
              </a:rPr>
              <a:t>Education / Talent</a:t>
            </a:r>
          </a:p>
        </p:txBody>
      </p:sp>
      <p:pic>
        <p:nvPicPr>
          <p:cNvPr id="7" name="Picture 2" descr="\\Cagmasrv1\sso$\Gestion_Deloitte\Global_Brand\- Templates\Icons\Iconography Deloitte\Icon_Ladder_Gree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33073" y="1926800"/>
            <a:ext cx="254513" cy="60499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Cagmasrv1\sso$\Gestion_Deloitte\Global_Brand\- Templates\Icons\Iconography Deloitte\Icon_Award_diploma_Gree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031717" y="1356467"/>
            <a:ext cx="810363" cy="29394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Cagmasrv1\sso$\Gestion_Deloitte\Global_Brand\- Templates\Icons\Iconography Deloitte\Icon_Lamp_desk_MBlu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529004" y="1079179"/>
            <a:ext cx="623357" cy="60499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agmasrv1\sso$\Gestion_Deloitte\Global_Brand\- Templates\Icons\Iconography Deloitte\Icon_Lamp_reading_LBlue.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317488" y="1079179"/>
            <a:ext cx="434046" cy="60499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5" descr="\\Cagmasrv1\sso$\Gestion_Deloitte\Global_Brand\- Templates\Icons\Iconography Deloitte\Icon_Graduation_cap_LBlue.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398944" y="1200209"/>
            <a:ext cx="810363" cy="36293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3" descr="\\Cagmasrv1\sso$\Gestion_Deloitte\Global_Brand\- Templates\Icons\Iconography Deloitte\Icon_Award_certificate_Blu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472060" y="1079179"/>
            <a:ext cx="416618" cy="6049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Cagmasrv1\sso$\Gestion_Deloitte\Global_Brand\- Templates\Icons\Iconography Deloitte\Icon_Magnifying_glass_Green.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044736" y="1053970"/>
            <a:ext cx="623357" cy="60499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C:\Users\jsauvageau\Desktop\1.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546093" y="2011878"/>
            <a:ext cx="446955" cy="62074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C:\Users\jsauvageau\Desktop\2.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455220" y="2062293"/>
            <a:ext cx="625521" cy="47160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5" descr="C:\Users\jsauvageau\Desktop\3.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208376" y="1926800"/>
            <a:ext cx="612535" cy="58293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3" descr="C:\Users\jsauvageau\Desktop\1.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338176" y="1977216"/>
            <a:ext cx="230513" cy="558779"/>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C:\Users\jsauvageau\Desktop\2.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5247303" y="1926799"/>
            <a:ext cx="350638" cy="62075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5" descr="C:\Users\jsauvageau\Desktop\3.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507166" y="2916367"/>
            <a:ext cx="618477" cy="57333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7" descr="C:\Users\jsauvageau\Desktop\1.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2546093" y="2865951"/>
            <a:ext cx="617569" cy="5545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0622168"/>
      </p:ext>
    </p:extLst>
  </p:cSld>
  <p:clrMapOvr>
    <a:masterClrMapping/>
  </p:clrMapOvr>
  <p:transition>
    <p:fade/>
  </p:transition>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Iconography</a:t>
            </a: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Rectangle 2"/>
          <p:cNvSpPr txBox="1">
            <a:spLocks/>
          </p:cNvSpPr>
          <p:nvPr/>
        </p:nvSpPr>
        <p:spPr bwMode="auto">
          <a:xfrm>
            <a:off x="1437894" y="672084"/>
            <a:ext cx="6291000" cy="27089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57263" rtl="0" eaLnBrk="1" fontAlgn="base" hangingPunct="1">
              <a:lnSpc>
                <a:spcPct val="106000"/>
              </a:lnSpc>
              <a:spcBef>
                <a:spcPct val="0"/>
              </a:spcBef>
              <a:spcAft>
                <a:spcPct val="0"/>
              </a:spcAft>
              <a:defRPr sz="3000" b="0" kern="1200">
                <a:solidFill>
                  <a:srgbClr val="81BC00"/>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pPr defTabSz="717947">
              <a:buClrTx/>
            </a:pPr>
            <a:r>
              <a:rPr lang="en-GB" sz="1500" b="1" dirty="0">
                <a:solidFill>
                  <a:srgbClr val="313131"/>
                </a:solidFill>
                <a:latin typeface="Arial"/>
              </a:rPr>
              <a:t>Symbols</a:t>
            </a:r>
          </a:p>
        </p:txBody>
      </p:sp>
      <p:pic>
        <p:nvPicPr>
          <p:cNvPr id="21" name="Picture 3" descr="C:\Users\jsauvageau\Desktop\2.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71623" y="3453646"/>
            <a:ext cx="586757" cy="38639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6" descr="C:\Users\jsauvageau\Desktop\8.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485900" y="1012570"/>
            <a:ext cx="410035" cy="51262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7" descr="C:\Users\jsauvageau\Desktop\7.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439006" y="1012570"/>
            <a:ext cx="410035" cy="51262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32" descr="C:\Users\jsauvageau\Desktop\1.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149736" y="1857371"/>
            <a:ext cx="421724" cy="430718"/>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33" descr="C:\Users\jsauvageau\Desktop\2.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305732" y="1878570"/>
            <a:ext cx="362379" cy="388321"/>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34" descr="C:\Users\jsauvageau\Desktop\3.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450929" y="1856408"/>
            <a:ext cx="445776" cy="432645"/>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35" descr="C:\Users\jsauvageau\Desktop\4.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378330" y="2035633"/>
            <a:ext cx="445776" cy="7419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36" descr="C:\Users\jsauvageau\Desktop\3.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249910" y="1012570"/>
            <a:ext cx="528180" cy="512621"/>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37" descr="C:\Users\jsauvageau\Desktop\2.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392113" y="1012570"/>
            <a:ext cx="528180" cy="512621"/>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8" descr="C:\Users\jsauvageau\Desktop\1.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053085" y="1800039"/>
            <a:ext cx="561936" cy="545384"/>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 descr="C:\Users\jsauvageau\Desktop\7.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338007" y="2668325"/>
            <a:ext cx="468611" cy="454808"/>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C:\Users\jsauvageau\Desktop\5.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413096" y="2668325"/>
            <a:ext cx="468611" cy="45480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5" descr="C:\Users\jsauvageau\Desktop\6.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488185" y="2668325"/>
            <a:ext cx="468611" cy="454808"/>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6" descr="C:\Users\jsauvageau\Desktop\3.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158409" y="2657245"/>
            <a:ext cx="491446" cy="476969"/>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7" descr="C:\Users\jsauvageau\Desktop\1.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210663" y="2657245"/>
            <a:ext cx="491446" cy="476969"/>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8" descr="C:\Users\jsauvageau\Desktop\2.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262917" y="2657245"/>
            <a:ext cx="491446" cy="476969"/>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9" descr="C:\Users\jsauvageau\Desktop\5.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7117371" y="1811120"/>
            <a:ext cx="539102" cy="52322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0" descr="C:\Users\jsauvageau\Desktop\4.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6096646" y="1811120"/>
            <a:ext cx="539102" cy="52322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 descr="C:\Users\jsauvageau\Desktop\1.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458146" y="3453646"/>
            <a:ext cx="528180" cy="386394"/>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 descr="C:\Users\jsauvageau\Desktop\3.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414885" y="3453646"/>
            <a:ext cx="528180" cy="386394"/>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4" descr="C:\Users\jsauvageau\Desktop\5.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5199684" y="3473537"/>
            <a:ext cx="562752" cy="346611"/>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5" descr="C:\Users\jsauvageau\Desktop\6.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182337" y="4306915"/>
            <a:ext cx="384186" cy="361316"/>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6" descr="C:\Users\jsauvageau\Desktop\7.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5230204" y="4307965"/>
            <a:ext cx="384186" cy="359216"/>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7" descr="C:\Users\jsauvageau\Desktop\8.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4341922" y="4301138"/>
            <a:ext cx="320336" cy="372869"/>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8" descr="C:\Users\jsauvageau\Desktop\9.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3435241" y="4270678"/>
            <a:ext cx="338734" cy="43379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9" descr="C:\Users\jsauvageau\Desktop\1.pn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2574014" y="4177198"/>
            <a:ext cx="293280" cy="620749"/>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30" descr="C:\Users\jsauvageau\Desktop\2.png"/>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1559112" y="4270678"/>
            <a:ext cx="446955" cy="433790"/>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31" descr="C:\Users\jsauvageau\Desktop\3.png"/>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4386939" y="3460408"/>
            <a:ext cx="384186" cy="372869"/>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32" descr="C:\Users\jsauvageau\Desktop\4.png"/>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6190994" y="3473537"/>
            <a:ext cx="562752" cy="346611"/>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 descr="C:\Users\jsauvageau\Desktop\4.png"/>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5298328" y="966318"/>
            <a:ext cx="269054" cy="569473"/>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 descr="\\Cagmasrv1\sso$\Gestion_Deloitte\Global_Brand\- Templates\Icons\Iconography Deloitte\Icon_Caution_Green.png"/>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6060814" y="966318"/>
            <a:ext cx="642536" cy="5550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5548474"/>
      </p:ext>
    </p:extLst>
  </p:cSld>
  <p:clrMapOvr>
    <a:masterClrMapping/>
  </p:clrMapOvr>
  <p:transition>
    <p:fade/>
  </p:transition>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Iconography</a:t>
            </a: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Rectangle 2"/>
          <p:cNvSpPr txBox="1">
            <a:spLocks/>
          </p:cNvSpPr>
          <p:nvPr/>
        </p:nvSpPr>
        <p:spPr bwMode="auto">
          <a:xfrm>
            <a:off x="1437894" y="672084"/>
            <a:ext cx="6291000" cy="27089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57263" rtl="0" eaLnBrk="1" fontAlgn="base" hangingPunct="1">
              <a:lnSpc>
                <a:spcPct val="106000"/>
              </a:lnSpc>
              <a:spcBef>
                <a:spcPct val="0"/>
              </a:spcBef>
              <a:spcAft>
                <a:spcPct val="0"/>
              </a:spcAft>
              <a:defRPr sz="3000" b="0" kern="1200">
                <a:solidFill>
                  <a:srgbClr val="81BC00"/>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pPr defTabSz="717947">
              <a:buClrTx/>
            </a:pPr>
            <a:r>
              <a:rPr lang="en-GB" sz="1500" b="1" dirty="0">
                <a:solidFill>
                  <a:srgbClr val="313131"/>
                </a:solidFill>
                <a:latin typeface="Arial"/>
              </a:rPr>
              <a:t>Symbols</a:t>
            </a:r>
          </a:p>
        </p:txBody>
      </p:sp>
      <p:pic>
        <p:nvPicPr>
          <p:cNvPr id="53" name="Picture 12" descr="C:\Users\jsauvageau\Desktop\5.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53660" y="1091423"/>
            <a:ext cx="625520" cy="310900"/>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3" descr="C:\Users\jsauvageau\Desktop\6.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585085" y="943325"/>
            <a:ext cx="320336" cy="607095"/>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14" descr="C:\Users\jsauvageau\Desktop\7.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169317" y="943325"/>
            <a:ext cx="320336" cy="607095"/>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5" descr="C:\Users\jsauvageau\Desktop\8.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252420" y="1865521"/>
            <a:ext cx="639589" cy="372869"/>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16" descr="C:\Users\jsauvageau\Desktop\9.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455219" y="1865521"/>
            <a:ext cx="575739" cy="372869"/>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17" descr="C:\Users\jsauvageau\Desktop\10.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370594" y="1902808"/>
            <a:ext cx="542190" cy="298296"/>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18" descr="C:\Users\jsauvageau\Desktop\1.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123931" y="983763"/>
            <a:ext cx="639589" cy="526219"/>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19" descr="C:\Users\jsauvageau\Desktop\2.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094203" y="1036280"/>
            <a:ext cx="639589" cy="42118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20" descr="C:\Users\jsauvageau\Desktop\3.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161874" y="1060438"/>
            <a:ext cx="542190" cy="372869"/>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1" descr="C:\Users\jsauvageau\Desktop\4.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295560" y="1060438"/>
            <a:ext cx="476175" cy="372869"/>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6" descr="C:\Users\jsauvageau\Desktop\1.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231644" y="1784646"/>
            <a:ext cx="587643" cy="570332"/>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6" descr="C:\Users\jsauvageau\Desktop\1.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rot="5400000">
            <a:off x="5167579" y="1775990"/>
            <a:ext cx="570332" cy="587643"/>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6" descr="C:\Users\jsauvageau\Desktop\1.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rot="16200000">
            <a:off x="6094857" y="1775990"/>
            <a:ext cx="570332" cy="587643"/>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6" descr="C:\Users\jsauvageau\Desktop\1.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rot="10800000">
            <a:off x="7013478" y="1784646"/>
            <a:ext cx="587643" cy="570332"/>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7" descr="C:\Users\jsauvageau\Desktop\2.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442200" y="2556643"/>
            <a:ext cx="575739" cy="558779"/>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8" descr="C:\Users\jsauvageau\Desktop\1.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507166" y="2607060"/>
            <a:ext cx="505394" cy="490507"/>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9" descr="C:\Users\jsauvageau\Desktop\1.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533073" y="2657475"/>
            <a:ext cx="218608" cy="359216"/>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9" descr="C:\Users\jsauvageau\Desktop\1.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flipH="1">
            <a:off x="4364215" y="2657475"/>
            <a:ext cx="218608" cy="359216"/>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9" descr="C:\Users\jsauvageau\Desktop\1.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rot="16200000">
            <a:off x="5302469" y="2652024"/>
            <a:ext cx="212168" cy="370118"/>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9" descr="C:\Users\jsauvageau\Desktop\1.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rot="5400000">
            <a:off x="6289450" y="2628916"/>
            <a:ext cx="212168" cy="370118"/>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11" descr="C:\Users\jsauvageau\Desktop\1.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013478" y="2657476"/>
            <a:ext cx="639589" cy="372869"/>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12" descr="C:\Users\jsauvageau\Desktop\4.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052537" y="3409517"/>
            <a:ext cx="600630" cy="508363"/>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13" descr="C:\Users\jsauvageau\Desktop\1.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3221396" y="3409517"/>
            <a:ext cx="600630" cy="508363"/>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14" descr="C:\Users\jsauvageau\Desktop\2.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2338307" y="3409517"/>
            <a:ext cx="523793" cy="508363"/>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15" descr="C:\Users\jsauvageau\Desktop\3.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455220" y="3409517"/>
            <a:ext cx="600630" cy="508363"/>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16" descr="C:\Users\jsauvageau\Desktop\4.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559112" y="4242433"/>
            <a:ext cx="409078" cy="519917"/>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7" descr="C:\Users\jsauvageau\Desktop\1.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5167219" y="4141602"/>
            <a:ext cx="409078" cy="582937"/>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8" descr="C:\Users\jsauvageau\Desktop\2.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284131" y="4192018"/>
            <a:ext cx="409078" cy="519917"/>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19" descr="C:\Users\jsauvageau\Desktop\3.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3245204" y="4192018"/>
            <a:ext cx="600629" cy="582937"/>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20" descr="C:\Users\jsauvageau\Desktop\5.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2517956" y="4242433"/>
            <a:ext cx="153674" cy="5199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3297431"/>
      </p:ext>
    </p:extLst>
  </p:cSld>
  <p:clrMapOvr>
    <a:masterClrMapping/>
  </p:clrMapOvr>
  <p:transition>
    <p:fade/>
  </p:transition>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a:t>Appendix</a:t>
            </a:r>
            <a:br>
              <a:rPr lang="en-GB" dirty="0"/>
            </a:br>
            <a:endParaRPr lang="en-GB" dirty="0">
              <a:solidFill>
                <a:schemeClr val="bg1"/>
              </a:solidFill>
            </a:endParaRPr>
          </a:p>
        </p:txBody>
      </p:sp>
    </p:spTree>
  </p:cSld>
  <p:clrMapOvr>
    <a:masterClrMapping/>
  </p:clrMapOvr>
  <p:transition>
    <p:fade/>
  </p:transition>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PowerPoint template</a:t>
            </a:r>
            <a:br>
              <a:rPr lang="en-GB" dirty="0"/>
            </a:br>
            <a:endParaRPr lang="en-GB" dirty="0"/>
          </a:p>
        </p:txBody>
      </p:sp>
      <p:sp>
        <p:nvSpPr>
          <p:cNvPr id="4" name="Text Placeholder 3"/>
          <p:cNvSpPr>
            <a:spLocks noGrp="1"/>
          </p:cNvSpPr>
          <p:nvPr>
            <p:ph type="body" sz="quarter" idx="13"/>
          </p:nvPr>
        </p:nvSpPr>
        <p:spPr/>
        <p:txBody>
          <a:bodyPr/>
          <a:lstStyle/>
          <a:p>
            <a:r>
              <a:rPr lang="en-GB" dirty="0"/>
              <a:t>Top tips for use</a:t>
            </a:r>
          </a:p>
          <a:p>
            <a:endParaRPr lang="en-GB" dirty="0"/>
          </a:p>
        </p:txBody>
      </p:sp>
      <p:sp>
        <p:nvSpPr>
          <p:cNvPr id="9" name="Content Placeholder 8"/>
          <p:cNvSpPr>
            <a:spLocks noGrp="1"/>
          </p:cNvSpPr>
          <p:nvPr>
            <p:ph idx="1"/>
          </p:nvPr>
        </p:nvSpPr>
        <p:spPr>
          <a:xfrm>
            <a:off x="1434369" y="1321398"/>
            <a:ext cx="4490878" cy="982460"/>
          </a:xfrm>
        </p:spPr>
        <p:txBody>
          <a:bodyPr>
            <a:normAutofit/>
          </a:bodyPr>
          <a:lstStyle/>
          <a:p>
            <a:r>
              <a:rPr lang="en-GB" sz="975" dirty="0"/>
              <a:t>This PowerPoint template offers a range of options for text, images, charts and iconography along with an appendix of additional assets that you may find useful. This has been created to save you time, ensure brand consistency and result in more polished and powerful presentations.</a:t>
            </a:r>
          </a:p>
        </p:txBody>
      </p:sp>
      <p:sp>
        <p:nvSpPr>
          <p:cNvPr id="10" name="Text Placeholder 3"/>
          <p:cNvSpPr txBox="1">
            <a:spLocks/>
          </p:cNvSpPr>
          <p:nvPr/>
        </p:nvSpPr>
        <p:spPr>
          <a:xfrm>
            <a:off x="1435495" y="2166621"/>
            <a:ext cx="3000396" cy="2280376"/>
          </a:xfrm>
          <a:prstGeom prst="rect">
            <a:avLst/>
          </a:prstGeom>
        </p:spPr>
        <p:txBody>
          <a:bodyPr lIns="0" rIns="0"/>
          <a:lstStyle/>
          <a:p>
            <a:pPr marL="150019" indent="-150019" defTabSz="685800">
              <a:spcBef>
                <a:spcPts val="900"/>
              </a:spcBef>
              <a:buClrTx/>
              <a:buFont typeface="Arial" pitchFamily="34" charset="0"/>
              <a:buChar char="•"/>
            </a:pPr>
            <a:r>
              <a:rPr lang="en-GB" sz="975" kern="1200" dirty="0">
                <a:solidFill>
                  <a:srgbClr val="313131"/>
                </a:solidFill>
                <a:ea typeface="+mn-ea"/>
                <a:cs typeface="+mn-cs"/>
              </a:rPr>
              <a:t>Avoid lengthy paragraphs of text as they are hard to follow on-screen.</a:t>
            </a:r>
          </a:p>
          <a:p>
            <a:pPr marL="150019" indent="-150019" defTabSz="685800">
              <a:spcBef>
                <a:spcPts val="900"/>
              </a:spcBef>
              <a:buClrTx/>
              <a:buFont typeface="Arial" pitchFamily="34" charset="0"/>
              <a:buChar char="•"/>
            </a:pPr>
            <a:r>
              <a:rPr lang="en-GB" sz="975" kern="1200" dirty="0">
                <a:solidFill>
                  <a:srgbClr val="313131"/>
                </a:solidFill>
                <a:ea typeface="+mn-ea"/>
                <a:cs typeface="+mn-cs"/>
              </a:rPr>
              <a:t>Use bullets and keep text as concise as possible.</a:t>
            </a:r>
          </a:p>
          <a:p>
            <a:pPr marL="150019" indent="-150019" defTabSz="685800">
              <a:spcBef>
                <a:spcPts val="900"/>
              </a:spcBef>
              <a:buClrTx/>
              <a:buFont typeface="Arial" pitchFamily="34" charset="0"/>
              <a:buChar char="•"/>
            </a:pPr>
            <a:r>
              <a:rPr lang="en-GB" sz="975" kern="1200" dirty="0">
                <a:solidFill>
                  <a:srgbClr val="313131"/>
                </a:solidFill>
                <a:ea typeface="+mn-ea"/>
                <a:cs typeface="+mn-cs"/>
              </a:rPr>
              <a:t>Make your presentation as engaging as possible. Use imagery and iconography to add meaning and visual interest.</a:t>
            </a:r>
          </a:p>
          <a:p>
            <a:pPr marL="150019" indent="-150019" defTabSz="685800">
              <a:spcBef>
                <a:spcPts val="900"/>
              </a:spcBef>
              <a:buClrTx/>
              <a:buFont typeface="Arial" pitchFamily="34" charset="0"/>
              <a:buChar char="•"/>
            </a:pPr>
            <a:r>
              <a:rPr lang="en-GB" sz="975" kern="1200" dirty="0">
                <a:solidFill>
                  <a:srgbClr val="313131"/>
                </a:solidFill>
                <a:ea typeface="+mn-ea"/>
                <a:cs typeface="+mn-cs"/>
              </a:rPr>
              <a:t>Avoid distracting transitions and effects.</a:t>
            </a:r>
          </a:p>
          <a:p>
            <a:pPr marL="150019" indent="-150019" defTabSz="685800">
              <a:spcBef>
                <a:spcPts val="900"/>
              </a:spcBef>
              <a:buClrTx/>
              <a:buFont typeface="Arial" pitchFamily="34" charset="0"/>
              <a:buChar char="•"/>
            </a:pPr>
            <a:r>
              <a:rPr lang="en-GB" sz="975" kern="1200" dirty="0">
                <a:solidFill>
                  <a:srgbClr val="313131"/>
                </a:solidFill>
                <a:ea typeface="+mn-ea"/>
                <a:cs typeface="+mn-cs"/>
              </a:rPr>
              <a:t>To replace the background image ‘right click’ and select ‘Format Background’, click ‘Picture or texture fill’ then ‘Insert from file’. Select your required image &amp; click ‘insert’. This will ensure the image is placed behind all slide elements. </a:t>
            </a:r>
          </a:p>
        </p:txBody>
      </p:sp>
      <p:sp>
        <p:nvSpPr>
          <p:cNvPr id="11" name="Text Placeholder 3"/>
          <p:cNvSpPr txBox="1">
            <a:spLocks/>
          </p:cNvSpPr>
          <p:nvPr/>
        </p:nvSpPr>
        <p:spPr>
          <a:xfrm>
            <a:off x="4626142" y="2166621"/>
            <a:ext cx="3106990" cy="2280376"/>
          </a:xfrm>
          <a:prstGeom prst="rect">
            <a:avLst/>
          </a:prstGeom>
        </p:spPr>
        <p:txBody>
          <a:bodyPr lIns="0" rIns="0"/>
          <a:lstStyle/>
          <a:p>
            <a:pPr marL="150019" indent="-150019" defTabSz="685800">
              <a:spcBef>
                <a:spcPts val="900"/>
              </a:spcBef>
              <a:buClrTx/>
              <a:buFont typeface="Arial" pitchFamily="34" charset="0"/>
              <a:buChar char="•"/>
            </a:pPr>
            <a:r>
              <a:rPr lang="en-GB" sz="975" kern="1200" dirty="0">
                <a:solidFill>
                  <a:srgbClr val="313131"/>
                </a:solidFill>
                <a:ea typeface="+mn-ea"/>
                <a:cs typeface="+mn-cs"/>
              </a:rPr>
              <a:t>Need a custom image? Visit </a:t>
            </a:r>
            <a:r>
              <a:rPr lang="en-GB" sz="975" kern="1200" dirty="0" err="1">
                <a:solidFill>
                  <a:srgbClr val="313131"/>
                </a:solidFill>
                <a:ea typeface="+mn-ea"/>
                <a:cs typeface="+mn-cs"/>
                <a:hlinkClick r:id="rId3"/>
              </a:rPr>
              <a:t>Alamy</a:t>
            </a:r>
            <a:r>
              <a:rPr lang="en-GB" sz="975" kern="1200" dirty="0">
                <a:solidFill>
                  <a:srgbClr val="313131"/>
                </a:solidFill>
                <a:ea typeface="+mn-ea"/>
                <a:cs typeface="+mn-cs"/>
              </a:rPr>
              <a:t> to purchase an image to better fit your needs</a:t>
            </a:r>
          </a:p>
          <a:p>
            <a:pPr marL="150019" indent="-150019" defTabSz="685800">
              <a:spcBef>
                <a:spcPts val="900"/>
              </a:spcBef>
              <a:buClrTx/>
              <a:buFont typeface="Arial" pitchFamily="34" charset="0"/>
              <a:buChar char="•"/>
            </a:pPr>
            <a:r>
              <a:rPr lang="en-GB" sz="975" kern="1200" dirty="0">
                <a:solidFill>
                  <a:srgbClr val="313131"/>
                </a:solidFill>
                <a:ea typeface="+mn-ea"/>
                <a:cs typeface="+mn-cs"/>
              </a:rPr>
              <a:t>The appendix provides more information on the </a:t>
            </a:r>
            <a:r>
              <a:rPr lang="en-GB" sz="975" kern="1200" dirty="0" err="1">
                <a:solidFill>
                  <a:srgbClr val="313131"/>
                </a:solidFill>
                <a:ea typeface="+mn-ea"/>
                <a:cs typeface="+mn-cs"/>
              </a:rPr>
              <a:t>color</a:t>
            </a:r>
            <a:r>
              <a:rPr lang="en-GB" sz="975" kern="1200" dirty="0">
                <a:solidFill>
                  <a:srgbClr val="313131"/>
                </a:solidFill>
                <a:ea typeface="+mn-ea"/>
                <a:cs typeface="+mn-cs"/>
              </a:rPr>
              <a:t> palette and imagery options.</a:t>
            </a:r>
          </a:p>
        </p:txBody>
      </p:sp>
    </p:spTree>
  </p:cSld>
  <p:clrMapOvr>
    <a:masterClrMapping/>
  </p:clrMapOvr>
  <p:transition>
    <p:fade/>
  </p:transition>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Appendix</a:t>
            </a:r>
            <a:br>
              <a:rPr lang="en-US" altLang="ja-JP" dirty="0"/>
            </a:br>
            <a:r>
              <a:rPr lang="en-US" altLang="ja-JP" dirty="0">
                <a:solidFill>
                  <a:srgbClr val="575757"/>
                </a:solidFill>
              </a:rPr>
              <a:t>Numbered elements</a:t>
            </a: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4" name="TextBox 113"/>
          <p:cNvSpPr txBox="1"/>
          <p:nvPr/>
        </p:nvSpPr>
        <p:spPr>
          <a:xfrm>
            <a:off x="2811150" y="1260537"/>
            <a:ext cx="274843" cy="553998"/>
          </a:xfrm>
          <a:prstGeom prst="rect">
            <a:avLst/>
          </a:prstGeom>
          <a:noFill/>
        </p:spPr>
        <p:txBody>
          <a:bodyPr wrap="square" lIns="0" tIns="0" rIns="0" bIns="0" rtlCol="0">
            <a:spAutoFit/>
          </a:bodyPr>
          <a:lstStyle/>
          <a:p>
            <a:pPr algn="ctr" defTabSz="685800">
              <a:buClrTx/>
              <a:defRPr/>
            </a:pPr>
            <a:r>
              <a:rPr lang="en-US" sz="3600" dirty="0">
                <a:solidFill>
                  <a:srgbClr val="00A1DE"/>
                </a:solidFill>
                <a:ea typeface="+mn-ea"/>
                <a:cs typeface="+mn-cs"/>
              </a:rPr>
              <a:t>1</a:t>
            </a:r>
          </a:p>
        </p:txBody>
      </p:sp>
      <p:sp>
        <p:nvSpPr>
          <p:cNvPr id="115" name="TextBox 114"/>
          <p:cNvSpPr txBox="1"/>
          <p:nvPr/>
        </p:nvSpPr>
        <p:spPr>
          <a:xfrm>
            <a:off x="2633462" y="1449913"/>
            <a:ext cx="274843" cy="761747"/>
          </a:xfrm>
          <a:prstGeom prst="rect">
            <a:avLst/>
          </a:prstGeom>
          <a:noFill/>
        </p:spPr>
        <p:txBody>
          <a:bodyPr wrap="square" lIns="0" tIns="0" rIns="0" bIns="0" rtlCol="0">
            <a:spAutoFit/>
          </a:bodyPr>
          <a:lstStyle/>
          <a:p>
            <a:pPr algn="ctr" defTabSz="685800">
              <a:buClrTx/>
              <a:defRPr/>
            </a:pPr>
            <a:r>
              <a:rPr lang="en-US" sz="4950" dirty="0">
                <a:solidFill>
                  <a:srgbClr val="81BC00"/>
                </a:solidFill>
                <a:ea typeface="+mn-ea"/>
                <a:cs typeface="+mn-cs"/>
              </a:rPr>
              <a:t>2</a:t>
            </a:r>
          </a:p>
        </p:txBody>
      </p:sp>
      <p:sp>
        <p:nvSpPr>
          <p:cNvPr id="116" name="TextBox 115"/>
          <p:cNvSpPr txBox="1"/>
          <p:nvPr/>
        </p:nvSpPr>
        <p:spPr>
          <a:xfrm>
            <a:off x="2908305" y="1734525"/>
            <a:ext cx="274843" cy="553998"/>
          </a:xfrm>
          <a:prstGeom prst="rect">
            <a:avLst/>
          </a:prstGeom>
          <a:noFill/>
        </p:spPr>
        <p:txBody>
          <a:bodyPr wrap="square" lIns="0" tIns="0" rIns="0" bIns="0" rtlCol="0">
            <a:spAutoFit/>
          </a:bodyPr>
          <a:lstStyle/>
          <a:p>
            <a:pPr algn="ctr" defTabSz="685800">
              <a:buClrTx/>
              <a:defRPr/>
            </a:pPr>
            <a:r>
              <a:rPr lang="en-US" sz="3600" dirty="0">
                <a:solidFill>
                  <a:srgbClr val="313131"/>
                </a:solidFill>
                <a:ea typeface="+mn-ea"/>
                <a:cs typeface="+mn-cs"/>
              </a:rPr>
              <a:t>3</a:t>
            </a:r>
          </a:p>
        </p:txBody>
      </p:sp>
      <p:sp>
        <p:nvSpPr>
          <p:cNvPr id="117" name="TextBox 116"/>
          <p:cNvSpPr txBox="1"/>
          <p:nvPr/>
        </p:nvSpPr>
        <p:spPr>
          <a:xfrm>
            <a:off x="2810910" y="2168865"/>
            <a:ext cx="274843" cy="692497"/>
          </a:xfrm>
          <a:prstGeom prst="rect">
            <a:avLst/>
          </a:prstGeom>
          <a:noFill/>
        </p:spPr>
        <p:txBody>
          <a:bodyPr wrap="square" lIns="0" tIns="0" rIns="0" bIns="0" rtlCol="0">
            <a:spAutoFit/>
          </a:bodyPr>
          <a:lstStyle/>
          <a:p>
            <a:pPr algn="ctr" defTabSz="685800">
              <a:buClrTx/>
              <a:defRPr/>
            </a:pPr>
            <a:r>
              <a:rPr lang="en-US" sz="4500" dirty="0">
                <a:solidFill>
                  <a:srgbClr val="313131"/>
                </a:solidFill>
                <a:ea typeface="+mn-ea"/>
                <a:cs typeface="+mn-cs"/>
              </a:rPr>
              <a:t>5</a:t>
            </a:r>
          </a:p>
        </p:txBody>
      </p:sp>
      <p:sp>
        <p:nvSpPr>
          <p:cNvPr id="118" name="TextBox 117"/>
          <p:cNvSpPr txBox="1"/>
          <p:nvPr/>
        </p:nvSpPr>
        <p:spPr>
          <a:xfrm>
            <a:off x="2450581" y="1886598"/>
            <a:ext cx="274843" cy="1015663"/>
          </a:xfrm>
          <a:prstGeom prst="rect">
            <a:avLst/>
          </a:prstGeom>
          <a:noFill/>
        </p:spPr>
        <p:txBody>
          <a:bodyPr wrap="square" lIns="0" tIns="0" rIns="0" bIns="0" rtlCol="0">
            <a:spAutoFit/>
          </a:bodyPr>
          <a:lstStyle/>
          <a:p>
            <a:pPr algn="ctr" defTabSz="685800">
              <a:buClrTx/>
              <a:defRPr/>
            </a:pPr>
            <a:r>
              <a:rPr lang="en-US" sz="6600" dirty="0">
                <a:solidFill>
                  <a:srgbClr val="00A1DE"/>
                </a:solidFill>
                <a:ea typeface="+mn-ea"/>
                <a:cs typeface="+mn-cs"/>
              </a:rPr>
              <a:t>4</a:t>
            </a:r>
          </a:p>
        </p:txBody>
      </p:sp>
      <p:sp>
        <p:nvSpPr>
          <p:cNvPr id="119" name="TextBox 118"/>
          <p:cNvSpPr txBox="1"/>
          <p:nvPr/>
        </p:nvSpPr>
        <p:spPr>
          <a:xfrm>
            <a:off x="2416291" y="2648033"/>
            <a:ext cx="274843" cy="761747"/>
          </a:xfrm>
          <a:prstGeom prst="rect">
            <a:avLst/>
          </a:prstGeom>
          <a:noFill/>
        </p:spPr>
        <p:txBody>
          <a:bodyPr wrap="square" lIns="0" tIns="0" rIns="0" bIns="0" rtlCol="0">
            <a:spAutoFit/>
          </a:bodyPr>
          <a:lstStyle/>
          <a:p>
            <a:pPr algn="ctr" defTabSz="685800">
              <a:buClrTx/>
              <a:defRPr/>
            </a:pPr>
            <a:r>
              <a:rPr lang="en-US" sz="4950" dirty="0">
                <a:solidFill>
                  <a:srgbClr val="313131"/>
                </a:solidFill>
                <a:ea typeface="+mn-ea"/>
                <a:cs typeface="+mn-cs"/>
              </a:rPr>
              <a:t>7</a:t>
            </a:r>
          </a:p>
        </p:txBody>
      </p:sp>
      <p:sp>
        <p:nvSpPr>
          <p:cNvPr id="120" name="TextBox 119"/>
          <p:cNvSpPr txBox="1"/>
          <p:nvPr/>
        </p:nvSpPr>
        <p:spPr>
          <a:xfrm>
            <a:off x="2736593" y="2648033"/>
            <a:ext cx="274843" cy="692497"/>
          </a:xfrm>
          <a:prstGeom prst="rect">
            <a:avLst/>
          </a:prstGeom>
          <a:noFill/>
        </p:spPr>
        <p:txBody>
          <a:bodyPr wrap="square" lIns="0" tIns="0" rIns="0" bIns="0" rtlCol="0">
            <a:spAutoFit/>
          </a:bodyPr>
          <a:lstStyle/>
          <a:p>
            <a:pPr algn="ctr" defTabSz="685800">
              <a:buClrTx/>
              <a:defRPr/>
            </a:pPr>
            <a:r>
              <a:rPr lang="en-US" sz="4500" dirty="0">
                <a:solidFill>
                  <a:srgbClr val="00A1DE"/>
                </a:solidFill>
                <a:ea typeface="+mn-ea"/>
                <a:cs typeface="+mn-cs"/>
              </a:rPr>
              <a:t>8</a:t>
            </a:r>
          </a:p>
        </p:txBody>
      </p:sp>
      <p:sp>
        <p:nvSpPr>
          <p:cNvPr id="121" name="TextBox 120"/>
          <p:cNvSpPr txBox="1"/>
          <p:nvPr/>
        </p:nvSpPr>
        <p:spPr>
          <a:xfrm>
            <a:off x="3051441" y="2458097"/>
            <a:ext cx="274843" cy="692497"/>
          </a:xfrm>
          <a:prstGeom prst="rect">
            <a:avLst/>
          </a:prstGeom>
          <a:noFill/>
        </p:spPr>
        <p:txBody>
          <a:bodyPr wrap="square" lIns="0" tIns="0" rIns="0" bIns="0" rtlCol="0">
            <a:spAutoFit/>
          </a:bodyPr>
          <a:lstStyle/>
          <a:p>
            <a:pPr algn="ctr" defTabSz="685800">
              <a:buClrTx/>
              <a:defRPr/>
            </a:pPr>
            <a:r>
              <a:rPr lang="en-US" sz="4500" dirty="0">
                <a:solidFill>
                  <a:srgbClr val="81BC00"/>
                </a:solidFill>
                <a:ea typeface="+mn-ea"/>
                <a:cs typeface="+mn-cs"/>
              </a:rPr>
              <a:t>6</a:t>
            </a:r>
          </a:p>
        </p:txBody>
      </p:sp>
      <p:sp>
        <p:nvSpPr>
          <p:cNvPr id="122" name="TextBox 121"/>
          <p:cNvSpPr txBox="1"/>
          <p:nvPr/>
        </p:nvSpPr>
        <p:spPr>
          <a:xfrm>
            <a:off x="2834010" y="3082015"/>
            <a:ext cx="274843" cy="761747"/>
          </a:xfrm>
          <a:prstGeom prst="rect">
            <a:avLst/>
          </a:prstGeom>
          <a:noFill/>
        </p:spPr>
        <p:txBody>
          <a:bodyPr wrap="square" lIns="0" tIns="0" rIns="0" bIns="0" rtlCol="0">
            <a:spAutoFit/>
          </a:bodyPr>
          <a:lstStyle/>
          <a:p>
            <a:pPr algn="ctr" defTabSz="685800">
              <a:buClrTx/>
              <a:defRPr/>
            </a:pPr>
            <a:r>
              <a:rPr lang="en-US" sz="4950" dirty="0">
                <a:solidFill>
                  <a:srgbClr val="313131"/>
                </a:solidFill>
                <a:ea typeface="+mn-ea"/>
                <a:cs typeface="+mn-cs"/>
              </a:rPr>
              <a:t>9</a:t>
            </a:r>
            <a:endParaRPr lang="en-US" sz="5400" dirty="0">
              <a:solidFill>
                <a:srgbClr val="313131"/>
              </a:solidFill>
              <a:ea typeface="+mn-ea"/>
              <a:cs typeface="+mn-cs"/>
            </a:endParaRPr>
          </a:p>
        </p:txBody>
      </p:sp>
      <p:sp>
        <p:nvSpPr>
          <p:cNvPr id="123" name="TextBox 122"/>
          <p:cNvSpPr txBox="1"/>
          <p:nvPr/>
        </p:nvSpPr>
        <p:spPr>
          <a:xfrm>
            <a:off x="2083777" y="3220514"/>
            <a:ext cx="750233" cy="623248"/>
          </a:xfrm>
          <a:prstGeom prst="rect">
            <a:avLst/>
          </a:prstGeom>
          <a:noFill/>
        </p:spPr>
        <p:txBody>
          <a:bodyPr wrap="square" lIns="0" tIns="0" rIns="0" bIns="0" rtlCol="0">
            <a:spAutoFit/>
          </a:bodyPr>
          <a:lstStyle/>
          <a:p>
            <a:pPr algn="ctr" defTabSz="685800">
              <a:buClrTx/>
              <a:defRPr/>
            </a:pPr>
            <a:r>
              <a:rPr lang="en-US" sz="4050" dirty="0">
                <a:solidFill>
                  <a:srgbClr val="81BC00"/>
                </a:solidFill>
                <a:ea typeface="+mn-ea"/>
                <a:cs typeface="+mn-cs"/>
              </a:rPr>
              <a:t>10</a:t>
            </a:r>
          </a:p>
        </p:txBody>
      </p:sp>
      <p:sp>
        <p:nvSpPr>
          <p:cNvPr id="124" name="Rectangle 123"/>
          <p:cNvSpPr/>
          <p:nvPr/>
        </p:nvSpPr>
        <p:spPr>
          <a:xfrm>
            <a:off x="3045725" y="1381724"/>
            <a:ext cx="702923" cy="311624"/>
          </a:xfrm>
          <a:prstGeom prst="rect">
            <a:avLst/>
          </a:prstGeom>
        </p:spPr>
        <p:txBody>
          <a:bodyPr wrap="square" lIns="0" tIns="0" rIns="0" bIns="0">
            <a:spAutoFit/>
          </a:bodyPr>
          <a:lstStyle/>
          <a:p>
            <a:pPr defTabSz="685800">
              <a:buClrTx/>
              <a:defRPr/>
            </a:pPr>
            <a:r>
              <a:rPr lang="en-US" sz="675" dirty="0">
                <a:solidFill>
                  <a:srgbClr val="00A1DE"/>
                </a:solidFill>
                <a:ea typeface="+mn-ea"/>
                <a:cs typeface="+mn-cs"/>
              </a:rPr>
              <a:t>This is numeric</a:t>
            </a:r>
          </a:p>
          <a:p>
            <a:pPr defTabSz="685800">
              <a:buClrTx/>
              <a:defRPr/>
            </a:pPr>
            <a:r>
              <a:rPr lang="en-US" sz="675" dirty="0">
                <a:solidFill>
                  <a:srgbClr val="00A1DE"/>
                </a:solidFill>
                <a:ea typeface="+mn-ea"/>
                <a:cs typeface="+mn-cs"/>
              </a:rPr>
              <a:t>diagram. Include</a:t>
            </a:r>
          </a:p>
          <a:p>
            <a:pPr defTabSz="685800">
              <a:buClrTx/>
              <a:defRPr/>
            </a:pPr>
            <a:r>
              <a:rPr lang="en-US" sz="675" dirty="0">
                <a:solidFill>
                  <a:srgbClr val="00A1DE"/>
                </a:solidFill>
                <a:ea typeface="+mn-ea"/>
                <a:cs typeface="+mn-cs"/>
              </a:rPr>
              <a:t>some detail here.</a:t>
            </a:r>
          </a:p>
        </p:txBody>
      </p:sp>
      <p:sp>
        <p:nvSpPr>
          <p:cNvPr id="125" name="Rectangle 124"/>
          <p:cNvSpPr/>
          <p:nvPr/>
        </p:nvSpPr>
        <p:spPr>
          <a:xfrm>
            <a:off x="3183147" y="1857242"/>
            <a:ext cx="702923" cy="311624"/>
          </a:xfrm>
          <a:prstGeom prst="rect">
            <a:avLst/>
          </a:prstGeom>
        </p:spPr>
        <p:txBody>
          <a:bodyPr wrap="square" lIns="0" tIns="0" rIns="0" bIns="0">
            <a:spAutoFit/>
          </a:bodyPr>
          <a:lstStyle/>
          <a:p>
            <a:pPr defTabSz="685800">
              <a:buClrTx/>
              <a:defRPr/>
            </a:pPr>
            <a:r>
              <a:rPr lang="en-US" sz="675" dirty="0">
                <a:solidFill>
                  <a:srgbClr val="313131"/>
                </a:solidFill>
                <a:ea typeface="+mn-ea"/>
                <a:cs typeface="+mn-cs"/>
              </a:rPr>
              <a:t>This is numeric</a:t>
            </a:r>
          </a:p>
          <a:p>
            <a:pPr defTabSz="685800">
              <a:buClrTx/>
              <a:defRPr/>
            </a:pPr>
            <a:r>
              <a:rPr lang="en-US" sz="675" dirty="0">
                <a:solidFill>
                  <a:srgbClr val="313131"/>
                </a:solidFill>
                <a:ea typeface="+mn-ea"/>
                <a:cs typeface="+mn-cs"/>
              </a:rPr>
              <a:t>diagram. Include</a:t>
            </a:r>
          </a:p>
          <a:p>
            <a:pPr defTabSz="685800">
              <a:buClrTx/>
              <a:defRPr/>
            </a:pPr>
            <a:r>
              <a:rPr lang="en-US" sz="675" dirty="0">
                <a:solidFill>
                  <a:srgbClr val="313131"/>
                </a:solidFill>
                <a:ea typeface="+mn-ea"/>
                <a:cs typeface="+mn-cs"/>
              </a:rPr>
              <a:t>detail here.</a:t>
            </a:r>
          </a:p>
        </p:txBody>
      </p:sp>
      <p:sp>
        <p:nvSpPr>
          <p:cNvPr id="126" name="Rectangle 125"/>
          <p:cNvSpPr/>
          <p:nvPr/>
        </p:nvSpPr>
        <p:spPr>
          <a:xfrm>
            <a:off x="3108852" y="2276602"/>
            <a:ext cx="702923" cy="207749"/>
          </a:xfrm>
          <a:prstGeom prst="rect">
            <a:avLst/>
          </a:prstGeom>
        </p:spPr>
        <p:txBody>
          <a:bodyPr wrap="square" lIns="0" tIns="0" rIns="0" bIns="0">
            <a:spAutoFit/>
          </a:bodyPr>
          <a:lstStyle/>
          <a:p>
            <a:pPr defTabSz="685800">
              <a:buClrTx/>
              <a:defRPr/>
            </a:pPr>
            <a:r>
              <a:rPr lang="en-US" sz="675" dirty="0">
                <a:solidFill>
                  <a:srgbClr val="313131"/>
                </a:solidFill>
                <a:ea typeface="+mn-ea"/>
                <a:cs typeface="+mn-cs"/>
              </a:rPr>
              <a:t>This is numeric diagram.</a:t>
            </a:r>
          </a:p>
        </p:txBody>
      </p:sp>
      <p:sp>
        <p:nvSpPr>
          <p:cNvPr id="127" name="Rectangle 126"/>
          <p:cNvSpPr/>
          <p:nvPr/>
        </p:nvSpPr>
        <p:spPr>
          <a:xfrm>
            <a:off x="3360573" y="2648033"/>
            <a:ext cx="702923" cy="311624"/>
          </a:xfrm>
          <a:prstGeom prst="rect">
            <a:avLst/>
          </a:prstGeom>
        </p:spPr>
        <p:txBody>
          <a:bodyPr wrap="square" lIns="0" tIns="0" rIns="0" bIns="0">
            <a:spAutoFit/>
          </a:bodyPr>
          <a:lstStyle/>
          <a:p>
            <a:pPr defTabSz="685800">
              <a:buClrTx/>
              <a:defRPr/>
            </a:pPr>
            <a:r>
              <a:rPr lang="en-US" sz="675" dirty="0">
                <a:solidFill>
                  <a:srgbClr val="81BC00"/>
                </a:solidFill>
                <a:ea typeface="+mn-ea"/>
                <a:cs typeface="+mn-cs"/>
              </a:rPr>
              <a:t>This is numeric</a:t>
            </a:r>
          </a:p>
          <a:p>
            <a:pPr defTabSz="685800">
              <a:buClrTx/>
              <a:defRPr/>
            </a:pPr>
            <a:r>
              <a:rPr lang="en-US" sz="675" dirty="0">
                <a:solidFill>
                  <a:srgbClr val="81BC00"/>
                </a:solidFill>
                <a:ea typeface="+mn-ea"/>
                <a:cs typeface="+mn-cs"/>
              </a:rPr>
              <a:t>diagram. Include</a:t>
            </a:r>
          </a:p>
          <a:p>
            <a:pPr defTabSz="685800">
              <a:buClrTx/>
              <a:defRPr/>
            </a:pPr>
            <a:r>
              <a:rPr lang="en-US" sz="675" dirty="0">
                <a:solidFill>
                  <a:srgbClr val="81BC00"/>
                </a:solidFill>
                <a:ea typeface="+mn-ea"/>
                <a:cs typeface="+mn-cs"/>
              </a:rPr>
              <a:t>some detail here.</a:t>
            </a:r>
          </a:p>
        </p:txBody>
      </p:sp>
      <p:sp>
        <p:nvSpPr>
          <p:cNvPr id="128" name="Rectangle 127"/>
          <p:cNvSpPr/>
          <p:nvPr/>
        </p:nvSpPr>
        <p:spPr>
          <a:xfrm>
            <a:off x="3031972" y="3029910"/>
            <a:ext cx="702923" cy="207749"/>
          </a:xfrm>
          <a:prstGeom prst="rect">
            <a:avLst/>
          </a:prstGeom>
        </p:spPr>
        <p:txBody>
          <a:bodyPr wrap="square" lIns="0" tIns="0" rIns="0" bIns="0">
            <a:spAutoFit/>
          </a:bodyPr>
          <a:lstStyle/>
          <a:p>
            <a:pPr defTabSz="685800">
              <a:buClrTx/>
              <a:defRPr/>
            </a:pPr>
            <a:r>
              <a:rPr lang="en-US" sz="675" dirty="0">
                <a:solidFill>
                  <a:srgbClr val="00A1DE"/>
                </a:solidFill>
                <a:ea typeface="+mn-ea"/>
                <a:cs typeface="+mn-cs"/>
              </a:rPr>
              <a:t>This is numeric diagram.</a:t>
            </a:r>
          </a:p>
        </p:txBody>
      </p:sp>
      <p:sp>
        <p:nvSpPr>
          <p:cNvPr id="129" name="Rectangle 128"/>
          <p:cNvSpPr/>
          <p:nvPr/>
        </p:nvSpPr>
        <p:spPr>
          <a:xfrm>
            <a:off x="2931164" y="3722240"/>
            <a:ext cx="702923" cy="311624"/>
          </a:xfrm>
          <a:prstGeom prst="rect">
            <a:avLst/>
          </a:prstGeom>
        </p:spPr>
        <p:txBody>
          <a:bodyPr wrap="square" lIns="0" tIns="0" rIns="0" bIns="0">
            <a:spAutoFit/>
          </a:bodyPr>
          <a:lstStyle/>
          <a:p>
            <a:pPr defTabSz="685800">
              <a:buClrTx/>
              <a:defRPr/>
            </a:pPr>
            <a:r>
              <a:rPr lang="en-US" sz="675" dirty="0">
                <a:solidFill>
                  <a:srgbClr val="313131"/>
                </a:solidFill>
                <a:ea typeface="+mn-ea"/>
                <a:cs typeface="+mn-cs"/>
              </a:rPr>
              <a:t>This is numeric</a:t>
            </a:r>
          </a:p>
          <a:p>
            <a:pPr defTabSz="685800">
              <a:buClrTx/>
              <a:defRPr/>
            </a:pPr>
            <a:r>
              <a:rPr lang="en-US" sz="675" dirty="0">
                <a:solidFill>
                  <a:srgbClr val="313131"/>
                </a:solidFill>
                <a:ea typeface="+mn-ea"/>
                <a:cs typeface="+mn-cs"/>
              </a:rPr>
              <a:t>diagram. Include</a:t>
            </a:r>
          </a:p>
          <a:p>
            <a:pPr defTabSz="685800">
              <a:buClrTx/>
              <a:defRPr/>
            </a:pPr>
            <a:r>
              <a:rPr lang="en-US" sz="675" dirty="0">
                <a:solidFill>
                  <a:srgbClr val="313131"/>
                </a:solidFill>
                <a:ea typeface="+mn-ea"/>
                <a:cs typeface="+mn-cs"/>
              </a:rPr>
              <a:t>detail here.</a:t>
            </a:r>
          </a:p>
        </p:txBody>
      </p:sp>
      <p:sp>
        <p:nvSpPr>
          <p:cNvPr id="130" name="Rectangle 129"/>
          <p:cNvSpPr/>
          <p:nvPr/>
        </p:nvSpPr>
        <p:spPr>
          <a:xfrm>
            <a:off x="1850789" y="3803177"/>
            <a:ext cx="702923" cy="311624"/>
          </a:xfrm>
          <a:prstGeom prst="rect">
            <a:avLst/>
          </a:prstGeom>
        </p:spPr>
        <p:txBody>
          <a:bodyPr wrap="square" lIns="0" tIns="0" rIns="0" bIns="0">
            <a:spAutoFit/>
          </a:bodyPr>
          <a:lstStyle/>
          <a:p>
            <a:pPr algn="r" defTabSz="685800">
              <a:buClrTx/>
              <a:defRPr/>
            </a:pPr>
            <a:r>
              <a:rPr lang="en-US" sz="675" dirty="0">
                <a:solidFill>
                  <a:srgbClr val="81BC00"/>
                </a:solidFill>
                <a:ea typeface="+mn-ea"/>
                <a:cs typeface="+mn-cs"/>
              </a:rPr>
              <a:t>This is numeric</a:t>
            </a:r>
          </a:p>
          <a:p>
            <a:pPr algn="r" defTabSz="685800">
              <a:buClrTx/>
              <a:defRPr/>
            </a:pPr>
            <a:r>
              <a:rPr lang="en-US" sz="675" dirty="0">
                <a:solidFill>
                  <a:srgbClr val="81BC00"/>
                </a:solidFill>
                <a:ea typeface="+mn-ea"/>
                <a:cs typeface="+mn-cs"/>
              </a:rPr>
              <a:t>diagram. Include</a:t>
            </a:r>
          </a:p>
          <a:p>
            <a:pPr algn="r" defTabSz="685800">
              <a:buClrTx/>
              <a:defRPr/>
            </a:pPr>
            <a:r>
              <a:rPr lang="en-US" sz="675" dirty="0">
                <a:solidFill>
                  <a:srgbClr val="81BC00"/>
                </a:solidFill>
                <a:ea typeface="+mn-ea"/>
                <a:cs typeface="+mn-cs"/>
              </a:rPr>
              <a:t>some detail here.</a:t>
            </a:r>
          </a:p>
        </p:txBody>
      </p:sp>
      <p:sp>
        <p:nvSpPr>
          <p:cNvPr id="131" name="Rectangle 130"/>
          <p:cNvSpPr/>
          <p:nvPr/>
        </p:nvSpPr>
        <p:spPr>
          <a:xfrm>
            <a:off x="1684793" y="2896958"/>
            <a:ext cx="702923" cy="311624"/>
          </a:xfrm>
          <a:prstGeom prst="rect">
            <a:avLst/>
          </a:prstGeom>
        </p:spPr>
        <p:txBody>
          <a:bodyPr wrap="square" lIns="0" tIns="0" rIns="0" bIns="0">
            <a:spAutoFit/>
          </a:bodyPr>
          <a:lstStyle/>
          <a:p>
            <a:pPr algn="r" defTabSz="685800">
              <a:buClrTx/>
              <a:defRPr/>
            </a:pPr>
            <a:r>
              <a:rPr lang="en-US" sz="675" dirty="0">
                <a:solidFill>
                  <a:srgbClr val="313131"/>
                </a:solidFill>
                <a:ea typeface="+mn-ea"/>
                <a:cs typeface="+mn-cs"/>
              </a:rPr>
              <a:t>This is numeric</a:t>
            </a:r>
          </a:p>
          <a:p>
            <a:pPr algn="r" defTabSz="685800">
              <a:buClrTx/>
              <a:defRPr/>
            </a:pPr>
            <a:r>
              <a:rPr lang="en-US" sz="675" dirty="0">
                <a:solidFill>
                  <a:srgbClr val="313131"/>
                </a:solidFill>
                <a:ea typeface="+mn-ea"/>
                <a:cs typeface="+mn-cs"/>
              </a:rPr>
              <a:t>diagram. Include</a:t>
            </a:r>
          </a:p>
          <a:p>
            <a:pPr algn="r" defTabSz="685800">
              <a:buClrTx/>
              <a:defRPr/>
            </a:pPr>
            <a:r>
              <a:rPr lang="en-US" sz="675" dirty="0">
                <a:solidFill>
                  <a:srgbClr val="313131"/>
                </a:solidFill>
                <a:ea typeface="+mn-ea"/>
                <a:cs typeface="+mn-cs"/>
              </a:rPr>
              <a:t>detail here.</a:t>
            </a:r>
          </a:p>
        </p:txBody>
      </p:sp>
      <p:sp>
        <p:nvSpPr>
          <p:cNvPr id="132" name="Rectangle 131"/>
          <p:cNvSpPr/>
          <p:nvPr/>
        </p:nvSpPr>
        <p:spPr>
          <a:xfrm>
            <a:off x="1690769" y="2139398"/>
            <a:ext cx="702923" cy="311624"/>
          </a:xfrm>
          <a:prstGeom prst="rect">
            <a:avLst/>
          </a:prstGeom>
        </p:spPr>
        <p:txBody>
          <a:bodyPr wrap="square" lIns="0" tIns="0" rIns="0" bIns="0">
            <a:spAutoFit/>
          </a:bodyPr>
          <a:lstStyle/>
          <a:p>
            <a:pPr algn="r" defTabSz="685800">
              <a:buClrTx/>
              <a:defRPr/>
            </a:pPr>
            <a:r>
              <a:rPr lang="en-US" sz="675" dirty="0">
                <a:solidFill>
                  <a:srgbClr val="00A1DE"/>
                </a:solidFill>
                <a:ea typeface="+mn-ea"/>
                <a:cs typeface="+mn-cs"/>
              </a:rPr>
              <a:t>This is numeric</a:t>
            </a:r>
          </a:p>
          <a:p>
            <a:pPr algn="r" defTabSz="685800">
              <a:buClrTx/>
              <a:defRPr/>
            </a:pPr>
            <a:r>
              <a:rPr lang="en-US" sz="675" dirty="0">
                <a:solidFill>
                  <a:srgbClr val="00A1DE"/>
                </a:solidFill>
                <a:ea typeface="+mn-ea"/>
                <a:cs typeface="+mn-cs"/>
              </a:rPr>
              <a:t>diagram. Include</a:t>
            </a:r>
          </a:p>
          <a:p>
            <a:pPr algn="r" defTabSz="685800">
              <a:buClrTx/>
              <a:defRPr/>
            </a:pPr>
            <a:r>
              <a:rPr lang="en-US" sz="675" dirty="0">
                <a:solidFill>
                  <a:srgbClr val="00A1DE"/>
                </a:solidFill>
                <a:ea typeface="+mn-ea"/>
                <a:cs typeface="+mn-cs"/>
              </a:rPr>
              <a:t>some detail here.</a:t>
            </a:r>
          </a:p>
        </p:txBody>
      </p:sp>
      <p:sp>
        <p:nvSpPr>
          <p:cNvPr id="133" name="Rectangle 132"/>
          <p:cNvSpPr/>
          <p:nvPr/>
        </p:nvSpPr>
        <p:spPr>
          <a:xfrm>
            <a:off x="1930539" y="1658723"/>
            <a:ext cx="702923" cy="311624"/>
          </a:xfrm>
          <a:prstGeom prst="rect">
            <a:avLst/>
          </a:prstGeom>
        </p:spPr>
        <p:txBody>
          <a:bodyPr wrap="square" lIns="0" tIns="0" rIns="0" bIns="0">
            <a:spAutoFit/>
          </a:bodyPr>
          <a:lstStyle/>
          <a:p>
            <a:pPr defTabSz="685800">
              <a:buClrTx/>
              <a:defRPr/>
            </a:pPr>
            <a:r>
              <a:rPr lang="en-US" sz="675" dirty="0">
                <a:solidFill>
                  <a:srgbClr val="81BC00"/>
                </a:solidFill>
                <a:ea typeface="+mn-ea"/>
                <a:cs typeface="+mn-cs"/>
              </a:rPr>
              <a:t>This is numeric</a:t>
            </a:r>
          </a:p>
          <a:p>
            <a:pPr defTabSz="685800">
              <a:buClrTx/>
              <a:defRPr/>
            </a:pPr>
            <a:r>
              <a:rPr lang="en-US" sz="675" dirty="0">
                <a:solidFill>
                  <a:srgbClr val="81BC00"/>
                </a:solidFill>
                <a:ea typeface="+mn-ea"/>
                <a:cs typeface="+mn-cs"/>
              </a:rPr>
              <a:t>diagram. Include</a:t>
            </a:r>
          </a:p>
          <a:p>
            <a:pPr defTabSz="685800">
              <a:buClrTx/>
              <a:defRPr/>
            </a:pPr>
            <a:r>
              <a:rPr lang="en-US" sz="675" dirty="0">
                <a:solidFill>
                  <a:srgbClr val="81BC00"/>
                </a:solidFill>
                <a:ea typeface="+mn-ea"/>
                <a:cs typeface="+mn-cs"/>
              </a:rPr>
              <a:t>some detail here.</a:t>
            </a:r>
          </a:p>
        </p:txBody>
      </p:sp>
      <p:sp>
        <p:nvSpPr>
          <p:cNvPr id="135" name="TextBox 134"/>
          <p:cNvSpPr txBox="1"/>
          <p:nvPr/>
        </p:nvSpPr>
        <p:spPr>
          <a:xfrm>
            <a:off x="4689634" y="1125040"/>
            <a:ext cx="1231106" cy="761747"/>
          </a:xfrm>
          <a:prstGeom prst="rect">
            <a:avLst/>
          </a:prstGeom>
          <a:noFill/>
        </p:spPr>
        <p:txBody>
          <a:bodyPr wrap="square" lIns="0" tIns="0" rIns="0" bIns="0" rtlCol="0">
            <a:spAutoFit/>
          </a:bodyPr>
          <a:lstStyle/>
          <a:p>
            <a:pPr algn="ctr" defTabSz="685800">
              <a:buClrTx/>
              <a:defRPr/>
            </a:pPr>
            <a:r>
              <a:rPr lang="en-US" sz="4950" i="1" dirty="0">
                <a:solidFill>
                  <a:srgbClr val="B4B4B4"/>
                </a:solidFill>
                <a:ea typeface="+mn-ea"/>
                <a:cs typeface="+mn-cs"/>
              </a:rPr>
              <a:t>02</a:t>
            </a:r>
            <a:r>
              <a:rPr lang="en-US" sz="4950" i="1" dirty="0">
                <a:solidFill>
                  <a:srgbClr val="00A1DE"/>
                </a:solidFill>
                <a:ea typeface="+mn-ea"/>
                <a:cs typeface="+mn-cs"/>
              </a:rPr>
              <a:t>/</a:t>
            </a:r>
          </a:p>
        </p:txBody>
      </p:sp>
      <p:sp>
        <p:nvSpPr>
          <p:cNvPr id="136" name="TextBox 135"/>
          <p:cNvSpPr txBox="1"/>
          <p:nvPr/>
        </p:nvSpPr>
        <p:spPr>
          <a:xfrm>
            <a:off x="4712494" y="1657193"/>
            <a:ext cx="1116806" cy="761747"/>
          </a:xfrm>
          <a:prstGeom prst="rect">
            <a:avLst/>
          </a:prstGeom>
          <a:noFill/>
        </p:spPr>
        <p:txBody>
          <a:bodyPr wrap="square" lIns="0" tIns="0" rIns="0" bIns="0" rtlCol="0">
            <a:spAutoFit/>
          </a:bodyPr>
          <a:lstStyle/>
          <a:p>
            <a:pPr algn="ctr" defTabSz="685800">
              <a:buClrTx/>
              <a:defRPr/>
            </a:pPr>
            <a:r>
              <a:rPr lang="en-US" sz="4950" i="1" dirty="0">
                <a:solidFill>
                  <a:srgbClr val="8C8C8C"/>
                </a:solidFill>
                <a:ea typeface="+mn-ea"/>
                <a:cs typeface="+mn-cs"/>
              </a:rPr>
              <a:t>02</a:t>
            </a:r>
            <a:r>
              <a:rPr lang="en-US" sz="4950" i="1" dirty="0">
                <a:solidFill>
                  <a:srgbClr val="72C7E7"/>
                </a:solidFill>
                <a:ea typeface="+mn-ea"/>
                <a:cs typeface="+mn-cs"/>
              </a:rPr>
              <a:t>/</a:t>
            </a:r>
          </a:p>
        </p:txBody>
      </p:sp>
      <p:sp>
        <p:nvSpPr>
          <p:cNvPr id="137" name="TextBox 136"/>
          <p:cNvSpPr txBox="1"/>
          <p:nvPr/>
        </p:nvSpPr>
        <p:spPr>
          <a:xfrm>
            <a:off x="4712494" y="2189313"/>
            <a:ext cx="1116806" cy="761747"/>
          </a:xfrm>
          <a:prstGeom prst="rect">
            <a:avLst/>
          </a:prstGeom>
          <a:noFill/>
        </p:spPr>
        <p:txBody>
          <a:bodyPr wrap="square" lIns="0" tIns="0" rIns="0" bIns="0" rtlCol="0">
            <a:spAutoFit/>
          </a:bodyPr>
          <a:lstStyle/>
          <a:p>
            <a:pPr algn="ctr" defTabSz="685800">
              <a:buClrTx/>
              <a:defRPr/>
            </a:pPr>
            <a:r>
              <a:rPr lang="en-US" sz="4950" i="1" dirty="0">
                <a:solidFill>
                  <a:srgbClr val="575757"/>
                </a:solidFill>
                <a:ea typeface="+mn-ea"/>
                <a:cs typeface="+mn-cs"/>
              </a:rPr>
              <a:t>02</a:t>
            </a:r>
            <a:r>
              <a:rPr lang="en-US" sz="4950" i="1" dirty="0">
                <a:solidFill>
                  <a:srgbClr val="81BC00"/>
                </a:solidFill>
                <a:ea typeface="+mn-ea"/>
                <a:cs typeface="+mn-cs"/>
              </a:rPr>
              <a:t>/</a:t>
            </a:r>
          </a:p>
        </p:txBody>
      </p:sp>
      <p:sp>
        <p:nvSpPr>
          <p:cNvPr id="138" name="Rectangle 137"/>
          <p:cNvSpPr/>
          <p:nvPr/>
        </p:nvSpPr>
        <p:spPr>
          <a:xfrm>
            <a:off x="5868781" y="1279166"/>
            <a:ext cx="1137809" cy="415498"/>
          </a:xfrm>
          <a:prstGeom prst="rect">
            <a:avLst/>
          </a:prstGeom>
        </p:spPr>
        <p:txBody>
          <a:bodyPr wrap="square" lIns="0" tIns="0" rIns="0" bIns="0">
            <a:spAutoFit/>
          </a:bodyPr>
          <a:lstStyle/>
          <a:p>
            <a:pPr defTabSz="685800">
              <a:buClrTx/>
              <a:defRPr/>
            </a:pPr>
            <a:r>
              <a:rPr lang="en-US" sz="675" b="1" dirty="0">
                <a:solidFill>
                  <a:srgbClr val="00A1DE"/>
                </a:solidFill>
                <a:ea typeface="+mn-ea"/>
                <a:cs typeface="+mn-cs"/>
              </a:rPr>
              <a:t>Maecenas </a:t>
            </a:r>
            <a:r>
              <a:rPr lang="en-US" sz="675" b="1" dirty="0" err="1">
                <a:solidFill>
                  <a:srgbClr val="00A1DE"/>
                </a:solidFill>
                <a:ea typeface="+mn-ea"/>
                <a:cs typeface="+mn-cs"/>
              </a:rPr>
              <a:t>tincidunt</a:t>
            </a:r>
            <a:r>
              <a:rPr lang="en-US" sz="675" b="1" dirty="0">
                <a:solidFill>
                  <a:srgbClr val="00A1DE"/>
                </a:solidFill>
                <a:ea typeface="+mn-ea"/>
                <a:cs typeface="+mn-cs"/>
              </a:rPr>
              <a:t> </a:t>
            </a:r>
            <a:br>
              <a:rPr lang="en-US" sz="675" b="1" dirty="0">
                <a:solidFill>
                  <a:srgbClr val="00A1DE"/>
                </a:solidFill>
                <a:ea typeface="+mn-ea"/>
                <a:cs typeface="+mn-cs"/>
              </a:rPr>
            </a:br>
            <a:r>
              <a:rPr lang="en-US" sz="675" dirty="0" err="1">
                <a:solidFill>
                  <a:srgbClr val="313131"/>
                </a:solidFill>
                <a:ea typeface="+mn-ea"/>
                <a:cs typeface="+mn-cs"/>
              </a:rPr>
              <a:t>fringilla</a:t>
            </a:r>
            <a:r>
              <a:rPr lang="en-US" sz="675" dirty="0">
                <a:solidFill>
                  <a:srgbClr val="313131"/>
                </a:solidFill>
                <a:ea typeface="+mn-ea"/>
                <a:cs typeface="+mn-cs"/>
              </a:rPr>
              <a:t> </a:t>
            </a:r>
            <a:r>
              <a:rPr lang="en-US" sz="675" dirty="0" err="1">
                <a:solidFill>
                  <a:srgbClr val="313131"/>
                </a:solidFill>
                <a:ea typeface="+mn-ea"/>
                <a:cs typeface="+mn-cs"/>
              </a:rPr>
              <a:t>felis</a:t>
            </a:r>
            <a:r>
              <a:rPr lang="en-US" sz="675" dirty="0">
                <a:solidFill>
                  <a:srgbClr val="313131"/>
                </a:solidFill>
                <a:ea typeface="+mn-ea"/>
                <a:cs typeface="+mn-cs"/>
              </a:rPr>
              <a:t> </a:t>
            </a:r>
            <a:r>
              <a:rPr lang="en-US" sz="675" dirty="0" err="1">
                <a:solidFill>
                  <a:srgbClr val="313131"/>
                </a:solidFill>
                <a:ea typeface="+mn-ea"/>
                <a:cs typeface="+mn-cs"/>
              </a:rPr>
              <a:t>vel</a:t>
            </a:r>
            <a:r>
              <a:rPr lang="en-US" sz="675" dirty="0">
                <a:solidFill>
                  <a:srgbClr val="313131"/>
                </a:solidFill>
                <a:ea typeface="+mn-ea"/>
                <a:cs typeface="+mn-cs"/>
              </a:rPr>
              <a:t> </a:t>
            </a:r>
            <a:r>
              <a:rPr lang="en-US" sz="675" dirty="0" err="1">
                <a:solidFill>
                  <a:srgbClr val="313131"/>
                </a:solidFill>
                <a:ea typeface="+mn-ea"/>
                <a:cs typeface="+mn-cs"/>
              </a:rPr>
              <a:t>bibendum</a:t>
            </a:r>
            <a:r>
              <a:rPr lang="en-US" sz="675" dirty="0">
                <a:solidFill>
                  <a:srgbClr val="313131"/>
                </a:solidFill>
                <a:ea typeface="+mn-ea"/>
                <a:cs typeface="+mn-cs"/>
              </a:rPr>
              <a:t>. Maecenas </a:t>
            </a:r>
            <a:r>
              <a:rPr lang="en-US" sz="675" dirty="0" err="1">
                <a:solidFill>
                  <a:srgbClr val="313131"/>
                </a:solidFill>
                <a:ea typeface="+mn-ea"/>
                <a:cs typeface="+mn-cs"/>
              </a:rPr>
              <a:t>porttitor</a:t>
            </a:r>
            <a:r>
              <a:rPr lang="en-US" sz="675" dirty="0">
                <a:solidFill>
                  <a:srgbClr val="313131"/>
                </a:solidFill>
                <a:ea typeface="+mn-ea"/>
                <a:cs typeface="+mn-cs"/>
              </a:rPr>
              <a:t> </a:t>
            </a:r>
            <a:r>
              <a:rPr lang="en-US" sz="675" dirty="0" err="1">
                <a:solidFill>
                  <a:srgbClr val="313131"/>
                </a:solidFill>
                <a:ea typeface="+mn-ea"/>
                <a:cs typeface="+mn-cs"/>
              </a:rPr>
              <a:t>tortor</a:t>
            </a:r>
            <a:r>
              <a:rPr lang="en-US" sz="675" dirty="0">
                <a:solidFill>
                  <a:srgbClr val="313131"/>
                </a:solidFill>
                <a:ea typeface="+mn-ea"/>
                <a:cs typeface="+mn-cs"/>
              </a:rPr>
              <a:t> </a:t>
            </a:r>
            <a:r>
              <a:rPr lang="en-US" sz="675" dirty="0" err="1">
                <a:solidFill>
                  <a:srgbClr val="313131"/>
                </a:solidFill>
                <a:ea typeface="+mn-ea"/>
                <a:cs typeface="+mn-cs"/>
              </a:rPr>
              <a:t>convallis</a:t>
            </a:r>
            <a:r>
              <a:rPr lang="en-US" sz="675" dirty="0">
                <a:solidFill>
                  <a:srgbClr val="313131"/>
                </a:solidFill>
                <a:ea typeface="+mn-ea"/>
                <a:cs typeface="+mn-cs"/>
              </a:rPr>
              <a:t> quam </a:t>
            </a:r>
            <a:r>
              <a:rPr lang="en-US" sz="675" dirty="0" err="1">
                <a:solidFill>
                  <a:srgbClr val="313131"/>
                </a:solidFill>
                <a:ea typeface="+mn-ea"/>
                <a:cs typeface="+mn-cs"/>
              </a:rPr>
              <a:t>aliquet</a:t>
            </a:r>
            <a:endParaRPr lang="en-US" sz="675" dirty="0">
              <a:solidFill>
                <a:srgbClr val="313131"/>
              </a:solidFill>
              <a:ea typeface="+mn-ea"/>
              <a:cs typeface="+mn-cs"/>
            </a:endParaRPr>
          </a:p>
        </p:txBody>
      </p:sp>
      <p:sp>
        <p:nvSpPr>
          <p:cNvPr id="139" name="Rectangle 138"/>
          <p:cNvSpPr/>
          <p:nvPr/>
        </p:nvSpPr>
        <p:spPr>
          <a:xfrm>
            <a:off x="5868781" y="1806409"/>
            <a:ext cx="1137809" cy="415498"/>
          </a:xfrm>
          <a:prstGeom prst="rect">
            <a:avLst/>
          </a:prstGeom>
        </p:spPr>
        <p:txBody>
          <a:bodyPr wrap="square" lIns="0" tIns="0" rIns="0" bIns="0">
            <a:spAutoFit/>
          </a:bodyPr>
          <a:lstStyle/>
          <a:p>
            <a:pPr defTabSz="685800">
              <a:buClrTx/>
              <a:defRPr/>
            </a:pPr>
            <a:r>
              <a:rPr lang="en-US" sz="675" b="1" dirty="0">
                <a:solidFill>
                  <a:srgbClr val="72C7E7"/>
                </a:solidFill>
                <a:ea typeface="+mn-ea"/>
                <a:cs typeface="+mn-cs"/>
              </a:rPr>
              <a:t>Maecenas </a:t>
            </a:r>
            <a:r>
              <a:rPr lang="en-US" sz="675" b="1" dirty="0" err="1">
                <a:solidFill>
                  <a:srgbClr val="72C7E7"/>
                </a:solidFill>
                <a:ea typeface="+mn-ea"/>
                <a:cs typeface="+mn-cs"/>
              </a:rPr>
              <a:t>tincidunt</a:t>
            </a:r>
            <a:r>
              <a:rPr lang="en-US" sz="675" b="1" dirty="0">
                <a:solidFill>
                  <a:srgbClr val="72C7E7"/>
                </a:solidFill>
                <a:ea typeface="+mn-ea"/>
                <a:cs typeface="+mn-cs"/>
              </a:rPr>
              <a:t> </a:t>
            </a:r>
            <a:br>
              <a:rPr lang="en-US" sz="675" b="1" dirty="0">
                <a:solidFill>
                  <a:srgbClr val="00A1DE"/>
                </a:solidFill>
                <a:ea typeface="+mn-ea"/>
                <a:cs typeface="+mn-cs"/>
              </a:rPr>
            </a:br>
            <a:r>
              <a:rPr lang="en-US" sz="675" dirty="0" err="1">
                <a:solidFill>
                  <a:srgbClr val="313131"/>
                </a:solidFill>
                <a:ea typeface="+mn-ea"/>
                <a:cs typeface="+mn-cs"/>
              </a:rPr>
              <a:t>fringilla</a:t>
            </a:r>
            <a:r>
              <a:rPr lang="en-US" sz="675" dirty="0">
                <a:solidFill>
                  <a:srgbClr val="313131"/>
                </a:solidFill>
                <a:ea typeface="+mn-ea"/>
                <a:cs typeface="+mn-cs"/>
              </a:rPr>
              <a:t> </a:t>
            </a:r>
            <a:r>
              <a:rPr lang="en-US" sz="675" dirty="0" err="1">
                <a:solidFill>
                  <a:srgbClr val="313131"/>
                </a:solidFill>
                <a:ea typeface="+mn-ea"/>
                <a:cs typeface="+mn-cs"/>
              </a:rPr>
              <a:t>felis</a:t>
            </a:r>
            <a:r>
              <a:rPr lang="en-US" sz="675" dirty="0">
                <a:solidFill>
                  <a:srgbClr val="313131"/>
                </a:solidFill>
                <a:ea typeface="+mn-ea"/>
                <a:cs typeface="+mn-cs"/>
              </a:rPr>
              <a:t> </a:t>
            </a:r>
            <a:r>
              <a:rPr lang="en-US" sz="675" dirty="0" err="1">
                <a:solidFill>
                  <a:srgbClr val="313131"/>
                </a:solidFill>
                <a:ea typeface="+mn-ea"/>
                <a:cs typeface="+mn-cs"/>
              </a:rPr>
              <a:t>vel</a:t>
            </a:r>
            <a:r>
              <a:rPr lang="en-US" sz="675" dirty="0">
                <a:solidFill>
                  <a:srgbClr val="313131"/>
                </a:solidFill>
                <a:ea typeface="+mn-ea"/>
                <a:cs typeface="+mn-cs"/>
              </a:rPr>
              <a:t> </a:t>
            </a:r>
            <a:r>
              <a:rPr lang="en-US" sz="675" dirty="0" err="1">
                <a:solidFill>
                  <a:srgbClr val="313131"/>
                </a:solidFill>
                <a:ea typeface="+mn-ea"/>
                <a:cs typeface="+mn-cs"/>
              </a:rPr>
              <a:t>bibendum</a:t>
            </a:r>
            <a:r>
              <a:rPr lang="en-US" sz="675" dirty="0">
                <a:solidFill>
                  <a:srgbClr val="313131"/>
                </a:solidFill>
                <a:ea typeface="+mn-ea"/>
                <a:cs typeface="+mn-cs"/>
              </a:rPr>
              <a:t>. Maecenas </a:t>
            </a:r>
            <a:r>
              <a:rPr lang="en-US" sz="675" dirty="0" err="1">
                <a:solidFill>
                  <a:srgbClr val="313131"/>
                </a:solidFill>
                <a:ea typeface="+mn-ea"/>
                <a:cs typeface="+mn-cs"/>
              </a:rPr>
              <a:t>porttitor</a:t>
            </a:r>
            <a:r>
              <a:rPr lang="en-US" sz="675" dirty="0">
                <a:solidFill>
                  <a:srgbClr val="313131"/>
                </a:solidFill>
                <a:ea typeface="+mn-ea"/>
                <a:cs typeface="+mn-cs"/>
              </a:rPr>
              <a:t> </a:t>
            </a:r>
            <a:r>
              <a:rPr lang="en-US" sz="675" dirty="0" err="1">
                <a:solidFill>
                  <a:srgbClr val="313131"/>
                </a:solidFill>
                <a:ea typeface="+mn-ea"/>
                <a:cs typeface="+mn-cs"/>
              </a:rPr>
              <a:t>tortor</a:t>
            </a:r>
            <a:r>
              <a:rPr lang="en-US" sz="675" dirty="0">
                <a:solidFill>
                  <a:srgbClr val="313131"/>
                </a:solidFill>
                <a:ea typeface="+mn-ea"/>
                <a:cs typeface="+mn-cs"/>
              </a:rPr>
              <a:t> </a:t>
            </a:r>
            <a:r>
              <a:rPr lang="en-US" sz="675" dirty="0" err="1">
                <a:solidFill>
                  <a:srgbClr val="313131"/>
                </a:solidFill>
                <a:ea typeface="+mn-ea"/>
                <a:cs typeface="+mn-cs"/>
              </a:rPr>
              <a:t>convallis</a:t>
            </a:r>
            <a:r>
              <a:rPr lang="en-US" sz="675" dirty="0">
                <a:solidFill>
                  <a:srgbClr val="313131"/>
                </a:solidFill>
                <a:ea typeface="+mn-ea"/>
                <a:cs typeface="+mn-cs"/>
              </a:rPr>
              <a:t> quam </a:t>
            </a:r>
            <a:r>
              <a:rPr lang="en-US" sz="675" dirty="0" err="1">
                <a:solidFill>
                  <a:srgbClr val="313131"/>
                </a:solidFill>
                <a:ea typeface="+mn-ea"/>
                <a:cs typeface="+mn-cs"/>
              </a:rPr>
              <a:t>aliquet</a:t>
            </a:r>
            <a:endParaRPr lang="en-US" sz="675" dirty="0">
              <a:solidFill>
                <a:srgbClr val="313131"/>
              </a:solidFill>
              <a:ea typeface="+mn-ea"/>
              <a:cs typeface="+mn-cs"/>
            </a:endParaRPr>
          </a:p>
        </p:txBody>
      </p:sp>
      <p:sp>
        <p:nvSpPr>
          <p:cNvPr id="140" name="Rectangle 139"/>
          <p:cNvSpPr/>
          <p:nvPr/>
        </p:nvSpPr>
        <p:spPr>
          <a:xfrm>
            <a:off x="5868781" y="2328606"/>
            <a:ext cx="1137809" cy="415498"/>
          </a:xfrm>
          <a:prstGeom prst="rect">
            <a:avLst/>
          </a:prstGeom>
        </p:spPr>
        <p:txBody>
          <a:bodyPr wrap="square" lIns="0" tIns="0" rIns="0" bIns="0">
            <a:spAutoFit/>
          </a:bodyPr>
          <a:lstStyle/>
          <a:p>
            <a:pPr defTabSz="685800">
              <a:buClrTx/>
              <a:defRPr/>
            </a:pPr>
            <a:r>
              <a:rPr lang="en-US" sz="675" b="1" dirty="0">
                <a:solidFill>
                  <a:srgbClr val="81BC00"/>
                </a:solidFill>
                <a:ea typeface="+mn-ea"/>
                <a:cs typeface="+mn-cs"/>
              </a:rPr>
              <a:t>Maecenas </a:t>
            </a:r>
            <a:r>
              <a:rPr lang="en-US" sz="675" b="1" dirty="0" err="1">
                <a:solidFill>
                  <a:srgbClr val="81BC00"/>
                </a:solidFill>
                <a:ea typeface="+mn-ea"/>
                <a:cs typeface="+mn-cs"/>
              </a:rPr>
              <a:t>tincidunt</a:t>
            </a:r>
            <a:r>
              <a:rPr lang="en-US" sz="675" b="1" dirty="0">
                <a:solidFill>
                  <a:srgbClr val="81BC00"/>
                </a:solidFill>
                <a:ea typeface="+mn-ea"/>
                <a:cs typeface="+mn-cs"/>
              </a:rPr>
              <a:t> </a:t>
            </a:r>
            <a:br>
              <a:rPr lang="en-US" sz="675" b="1" dirty="0">
                <a:solidFill>
                  <a:srgbClr val="00A1DE"/>
                </a:solidFill>
                <a:ea typeface="+mn-ea"/>
                <a:cs typeface="+mn-cs"/>
              </a:rPr>
            </a:br>
            <a:r>
              <a:rPr lang="en-US" sz="675" dirty="0" err="1">
                <a:solidFill>
                  <a:srgbClr val="313131"/>
                </a:solidFill>
                <a:ea typeface="+mn-ea"/>
                <a:cs typeface="+mn-cs"/>
              </a:rPr>
              <a:t>fringilla</a:t>
            </a:r>
            <a:r>
              <a:rPr lang="en-US" sz="675" dirty="0">
                <a:solidFill>
                  <a:srgbClr val="313131"/>
                </a:solidFill>
                <a:ea typeface="+mn-ea"/>
                <a:cs typeface="+mn-cs"/>
              </a:rPr>
              <a:t> </a:t>
            </a:r>
            <a:r>
              <a:rPr lang="en-US" sz="675" dirty="0" err="1">
                <a:solidFill>
                  <a:srgbClr val="313131"/>
                </a:solidFill>
                <a:ea typeface="+mn-ea"/>
                <a:cs typeface="+mn-cs"/>
              </a:rPr>
              <a:t>felis</a:t>
            </a:r>
            <a:r>
              <a:rPr lang="en-US" sz="675" dirty="0">
                <a:solidFill>
                  <a:srgbClr val="313131"/>
                </a:solidFill>
                <a:ea typeface="+mn-ea"/>
                <a:cs typeface="+mn-cs"/>
              </a:rPr>
              <a:t> </a:t>
            </a:r>
            <a:r>
              <a:rPr lang="en-US" sz="675" dirty="0" err="1">
                <a:solidFill>
                  <a:srgbClr val="313131"/>
                </a:solidFill>
                <a:ea typeface="+mn-ea"/>
                <a:cs typeface="+mn-cs"/>
              </a:rPr>
              <a:t>vel</a:t>
            </a:r>
            <a:r>
              <a:rPr lang="en-US" sz="675" dirty="0">
                <a:solidFill>
                  <a:srgbClr val="313131"/>
                </a:solidFill>
                <a:ea typeface="+mn-ea"/>
                <a:cs typeface="+mn-cs"/>
              </a:rPr>
              <a:t> </a:t>
            </a:r>
            <a:r>
              <a:rPr lang="en-US" sz="675" dirty="0" err="1">
                <a:solidFill>
                  <a:srgbClr val="313131"/>
                </a:solidFill>
                <a:ea typeface="+mn-ea"/>
                <a:cs typeface="+mn-cs"/>
              </a:rPr>
              <a:t>bibendum</a:t>
            </a:r>
            <a:r>
              <a:rPr lang="en-US" sz="675" dirty="0">
                <a:solidFill>
                  <a:srgbClr val="313131"/>
                </a:solidFill>
                <a:ea typeface="+mn-ea"/>
                <a:cs typeface="+mn-cs"/>
              </a:rPr>
              <a:t>. Maecenas </a:t>
            </a:r>
            <a:r>
              <a:rPr lang="en-US" sz="675" dirty="0" err="1">
                <a:solidFill>
                  <a:srgbClr val="313131"/>
                </a:solidFill>
                <a:ea typeface="+mn-ea"/>
                <a:cs typeface="+mn-cs"/>
              </a:rPr>
              <a:t>porttitor</a:t>
            </a:r>
            <a:r>
              <a:rPr lang="en-US" sz="675" dirty="0">
                <a:solidFill>
                  <a:srgbClr val="313131"/>
                </a:solidFill>
                <a:ea typeface="+mn-ea"/>
                <a:cs typeface="+mn-cs"/>
              </a:rPr>
              <a:t> </a:t>
            </a:r>
            <a:r>
              <a:rPr lang="en-US" sz="675" dirty="0" err="1">
                <a:solidFill>
                  <a:srgbClr val="313131"/>
                </a:solidFill>
                <a:ea typeface="+mn-ea"/>
                <a:cs typeface="+mn-cs"/>
              </a:rPr>
              <a:t>tortor</a:t>
            </a:r>
            <a:r>
              <a:rPr lang="en-US" sz="675" dirty="0">
                <a:solidFill>
                  <a:srgbClr val="313131"/>
                </a:solidFill>
                <a:ea typeface="+mn-ea"/>
                <a:cs typeface="+mn-cs"/>
              </a:rPr>
              <a:t> </a:t>
            </a:r>
            <a:r>
              <a:rPr lang="en-US" sz="675" dirty="0" err="1">
                <a:solidFill>
                  <a:srgbClr val="313131"/>
                </a:solidFill>
                <a:ea typeface="+mn-ea"/>
                <a:cs typeface="+mn-cs"/>
              </a:rPr>
              <a:t>convallis</a:t>
            </a:r>
            <a:r>
              <a:rPr lang="en-US" sz="675" dirty="0">
                <a:solidFill>
                  <a:srgbClr val="313131"/>
                </a:solidFill>
                <a:ea typeface="+mn-ea"/>
                <a:cs typeface="+mn-cs"/>
              </a:rPr>
              <a:t> quam </a:t>
            </a:r>
            <a:r>
              <a:rPr lang="en-US" sz="675" dirty="0" err="1">
                <a:solidFill>
                  <a:srgbClr val="313131"/>
                </a:solidFill>
                <a:ea typeface="+mn-ea"/>
                <a:cs typeface="+mn-cs"/>
              </a:rPr>
              <a:t>aliquet</a:t>
            </a:r>
            <a:endParaRPr lang="en-US" sz="675" dirty="0">
              <a:solidFill>
                <a:srgbClr val="313131"/>
              </a:solidFill>
              <a:ea typeface="+mn-ea"/>
              <a:cs typeface="+mn-cs"/>
            </a:endParaRPr>
          </a:p>
        </p:txBody>
      </p:sp>
      <p:cxnSp>
        <p:nvCxnSpPr>
          <p:cNvPr id="142" name="Straight Connector 141"/>
          <p:cNvCxnSpPr/>
          <p:nvPr/>
        </p:nvCxnSpPr>
        <p:spPr>
          <a:xfrm flipH="1">
            <a:off x="4949190" y="3215291"/>
            <a:ext cx="913875" cy="0"/>
          </a:xfrm>
          <a:prstGeom prst="line">
            <a:avLst/>
          </a:prstGeom>
          <a:noFill/>
          <a:ln w="12700" cap="flat" cmpd="sng" algn="ctr">
            <a:solidFill>
              <a:srgbClr val="FFFFFF">
                <a:lumMod val="75000"/>
              </a:srgbClr>
            </a:solidFill>
            <a:prstDash val="solid"/>
            <a:headEnd type="none"/>
            <a:tailEnd type="none"/>
          </a:ln>
          <a:effectLst/>
        </p:spPr>
      </p:cxnSp>
      <p:grpSp>
        <p:nvGrpSpPr>
          <p:cNvPr id="143" name="Group 142"/>
          <p:cNvGrpSpPr/>
          <p:nvPr/>
        </p:nvGrpSpPr>
        <p:grpSpPr>
          <a:xfrm>
            <a:off x="4891014" y="3203860"/>
            <a:ext cx="2584206" cy="1551748"/>
            <a:chOff x="5149752" y="3992762"/>
            <a:chExt cx="3445608" cy="2068997"/>
          </a:xfrm>
        </p:grpSpPr>
        <p:sp>
          <p:nvSpPr>
            <p:cNvPr id="144" name="Rectangle 143"/>
            <p:cNvSpPr/>
            <p:nvPr/>
          </p:nvSpPr>
          <p:spPr>
            <a:xfrm>
              <a:off x="6301042" y="4532520"/>
              <a:ext cx="2248598" cy="783595"/>
            </a:xfrm>
            <a:prstGeom prst="rect">
              <a:avLst/>
            </a:prstGeom>
            <a:solidFill>
              <a:srgbClr val="92D400">
                <a:lumMod val="40000"/>
                <a:lumOff val="60000"/>
              </a:srgbClr>
            </a:solidFill>
            <a:ln w="12700" cap="flat" cmpd="sng" algn="ctr">
              <a:solidFill>
                <a:srgbClr val="FFFFFF"/>
              </a:solidFill>
              <a:prstDash val="solid"/>
            </a:ln>
            <a:effectLst/>
          </p:spPr>
          <p:txBody>
            <a:bodyPr lIns="27000" tIns="27000" rIns="27000" bIns="27000" rtlCol="0" anchor="ctr">
              <a:noAutofit/>
            </a:bodyPr>
            <a:lstStyle/>
            <a:p>
              <a:pPr algn="ctr" defTabSz="685800">
                <a:buClrTx/>
                <a:defRPr/>
              </a:pPr>
              <a:endParaRPr lang="en-US" sz="1050" dirty="0" err="1">
                <a:solidFill>
                  <a:srgbClr val="002776"/>
                </a:solidFill>
                <a:ea typeface="+mn-ea"/>
                <a:cs typeface="+mn-cs"/>
              </a:endParaRPr>
            </a:p>
          </p:txBody>
        </p:sp>
        <p:sp>
          <p:nvSpPr>
            <p:cNvPr id="145" name="Rectangle 144"/>
            <p:cNvSpPr/>
            <p:nvPr/>
          </p:nvSpPr>
          <p:spPr>
            <a:xfrm>
              <a:off x="6301042" y="3992762"/>
              <a:ext cx="2080958" cy="539756"/>
            </a:xfrm>
            <a:prstGeom prst="rect">
              <a:avLst/>
            </a:prstGeom>
            <a:solidFill>
              <a:srgbClr val="FFFFFF">
                <a:lumMod val="85000"/>
              </a:srgbClr>
            </a:solidFill>
            <a:ln w="12700" cap="flat" cmpd="sng" algn="ctr">
              <a:solidFill>
                <a:srgbClr val="FFFFFF"/>
              </a:solidFill>
              <a:prstDash val="solid"/>
            </a:ln>
            <a:effectLst/>
          </p:spPr>
          <p:txBody>
            <a:bodyPr lIns="27000" tIns="27000" rIns="27000" bIns="27000" rtlCol="0" anchor="ctr">
              <a:noAutofit/>
            </a:bodyPr>
            <a:lstStyle/>
            <a:p>
              <a:pPr algn="ctr" defTabSz="685800">
                <a:buClrTx/>
                <a:defRPr/>
              </a:pPr>
              <a:endParaRPr lang="en-US" sz="1050" dirty="0" err="1">
                <a:solidFill>
                  <a:srgbClr val="002776"/>
                </a:solidFill>
                <a:ea typeface="+mn-ea"/>
                <a:cs typeface="+mn-cs"/>
              </a:endParaRPr>
            </a:p>
          </p:txBody>
        </p:sp>
        <p:sp>
          <p:nvSpPr>
            <p:cNvPr id="146" name="Rectangle 145"/>
            <p:cNvSpPr/>
            <p:nvPr/>
          </p:nvSpPr>
          <p:spPr>
            <a:xfrm>
              <a:off x="6301041" y="5316116"/>
              <a:ext cx="1250380" cy="414124"/>
            </a:xfrm>
            <a:prstGeom prst="rect">
              <a:avLst/>
            </a:prstGeom>
            <a:solidFill>
              <a:srgbClr val="FFFFFF">
                <a:lumMod val="85000"/>
              </a:srgbClr>
            </a:solidFill>
            <a:ln w="12700" cap="flat" cmpd="sng" algn="ctr">
              <a:solidFill>
                <a:srgbClr val="FFFFFF"/>
              </a:solidFill>
              <a:prstDash val="solid"/>
            </a:ln>
            <a:effectLst/>
          </p:spPr>
          <p:txBody>
            <a:bodyPr lIns="27000" tIns="27000" rIns="27000" bIns="27000" rtlCol="0" anchor="ctr">
              <a:noAutofit/>
            </a:bodyPr>
            <a:lstStyle/>
            <a:p>
              <a:pPr algn="ctr" defTabSz="685800">
                <a:buClrTx/>
                <a:defRPr/>
              </a:pPr>
              <a:endParaRPr lang="en-US" sz="1050" dirty="0" err="1">
                <a:solidFill>
                  <a:srgbClr val="002776"/>
                </a:solidFill>
                <a:ea typeface="+mn-ea"/>
                <a:cs typeface="+mn-cs"/>
              </a:endParaRPr>
            </a:p>
          </p:txBody>
        </p:sp>
        <p:sp>
          <p:nvSpPr>
            <p:cNvPr id="147" name="Rectangle 146"/>
            <p:cNvSpPr/>
            <p:nvPr/>
          </p:nvSpPr>
          <p:spPr>
            <a:xfrm>
              <a:off x="6301039" y="5730240"/>
              <a:ext cx="564581" cy="320040"/>
            </a:xfrm>
            <a:prstGeom prst="rect">
              <a:avLst/>
            </a:prstGeom>
            <a:solidFill>
              <a:srgbClr val="FFFFFF">
                <a:lumMod val="85000"/>
              </a:srgbClr>
            </a:solidFill>
            <a:ln w="12700" cap="flat" cmpd="sng" algn="ctr">
              <a:solidFill>
                <a:srgbClr val="FFFFFF"/>
              </a:solidFill>
              <a:prstDash val="solid"/>
            </a:ln>
            <a:effectLst/>
          </p:spPr>
          <p:txBody>
            <a:bodyPr lIns="27000" tIns="27000" rIns="27000" bIns="27000" rtlCol="0" anchor="ctr">
              <a:noAutofit/>
            </a:bodyPr>
            <a:lstStyle/>
            <a:p>
              <a:pPr algn="ctr" defTabSz="685800">
                <a:buClrTx/>
                <a:defRPr/>
              </a:pPr>
              <a:endParaRPr lang="en-US" sz="1050" dirty="0" err="1">
                <a:solidFill>
                  <a:srgbClr val="002776"/>
                </a:solidFill>
                <a:ea typeface="+mn-ea"/>
                <a:cs typeface="+mn-cs"/>
              </a:endParaRPr>
            </a:p>
          </p:txBody>
        </p:sp>
        <p:sp>
          <p:nvSpPr>
            <p:cNvPr id="148" name="TextBox 147"/>
            <p:cNvSpPr txBox="1"/>
            <p:nvPr/>
          </p:nvSpPr>
          <p:spPr>
            <a:xfrm>
              <a:off x="6328776" y="4050527"/>
              <a:ext cx="2053224" cy="442035"/>
            </a:xfrm>
            <a:prstGeom prst="rect">
              <a:avLst/>
            </a:prstGeom>
            <a:noFill/>
          </p:spPr>
          <p:txBody>
            <a:bodyPr wrap="square" lIns="27000" tIns="27000" rIns="27000" bIns="27000" rtlCol="0">
              <a:spAutoFit/>
            </a:bodyPr>
            <a:lstStyle/>
            <a:p>
              <a:pPr defTabSz="685800">
                <a:buClrTx/>
                <a:defRPr/>
              </a:pPr>
              <a:r>
                <a:rPr lang="en-US" sz="1800" i="1" dirty="0">
                  <a:solidFill>
                    <a:srgbClr val="313131"/>
                  </a:solidFill>
                  <a:ea typeface="+mn-ea"/>
                  <a:cs typeface="+mn-cs"/>
                </a:rPr>
                <a:t>FORTY-FIVE</a:t>
              </a:r>
            </a:p>
          </p:txBody>
        </p:sp>
        <p:sp>
          <p:nvSpPr>
            <p:cNvPr id="149" name="TextBox 148"/>
            <p:cNvSpPr txBox="1"/>
            <p:nvPr/>
          </p:nvSpPr>
          <p:spPr>
            <a:xfrm>
              <a:off x="6344016" y="4480857"/>
              <a:ext cx="2251344" cy="903700"/>
            </a:xfrm>
            <a:prstGeom prst="rect">
              <a:avLst/>
            </a:prstGeom>
            <a:noFill/>
          </p:spPr>
          <p:txBody>
            <a:bodyPr wrap="square" lIns="27000" tIns="27000" rIns="27000" bIns="27000" rtlCol="0">
              <a:spAutoFit/>
            </a:bodyPr>
            <a:lstStyle/>
            <a:p>
              <a:pPr defTabSz="685800">
                <a:buClrTx/>
                <a:defRPr/>
              </a:pPr>
              <a:r>
                <a:rPr lang="en-US" sz="4050" i="1" dirty="0">
                  <a:solidFill>
                    <a:srgbClr val="81BC00"/>
                  </a:solidFill>
                  <a:ea typeface="+mn-ea"/>
                  <a:cs typeface="+mn-cs"/>
                </a:rPr>
                <a:t>SIXTY</a:t>
              </a:r>
            </a:p>
          </p:txBody>
        </p:sp>
        <p:sp>
          <p:nvSpPr>
            <p:cNvPr id="150" name="TextBox 149"/>
            <p:cNvSpPr txBox="1"/>
            <p:nvPr/>
          </p:nvSpPr>
          <p:spPr>
            <a:xfrm>
              <a:off x="6328776" y="5316115"/>
              <a:ext cx="1872691" cy="442035"/>
            </a:xfrm>
            <a:prstGeom prst="rect">
              <a:avLst/>
            </a:prstGeom>
            <a:noFill/>
          </p:spPr>
          <p:txBody>
            <a:bodyPr wrap="square" lIns="27000" tIns="27000" rIns="27000" bIns="27000" rtlCol="0">
              <a:spAutoFit/>
            </a:bodyPr>
            <a:lstStyle/>
            <a:p>
              <a:pPr defTabSz="685800">
                <a:buClrTx/>
                <a:defRPr/>
              </a:pPr>
              <a:r>
                <a:rPr lang="en-US" sz="1800" i="1" dirty="0">
                  <a:solidFill>
                    <a:srgbClr val="313131"/>
                  </a:solidFill>
                  <a:ea typeface="+mn-ea"/>
                  <a:cs typeface="+mn-cs"/>
                </a:rPr>
                <a:t>THIRTY</a:t>
              </a:r>
            </a:p>
          </p:txBody>
        </p:sp>
        <p:sp>
          <p:nvSpPr>
            <p:cNvPr id="151" name="TextBox 150"/>
            <p:cNvSpPr txBox="1"/>
            <p:nvPr/>
          </p:nvSpPr>
          <p:spPr>
            <a:xfrm>
              <a:off x="6328776" y="5742835"/>
              <a:ext cx="597455" cy="318924"/>
            </a:xfrm>
            <a:prstGeom prst="rect">
              <a:avLst/>
            </a:prstGeom>
            <a:noFill/>
          </p:spPr>
          <p:txBody>
            <a:bodyPr wrap="square" lIns="27000" tIns="27000" rIns="27000" bIns="27000" rtlCol="0">
              <a:spAutoFit/>
            </a:bodyPr>
            <a:lstStyle/>
            <a:p>
              <a:pPr defTabSz="685800">
                <a:buClrTx/>
                <a:defRPr/>
              </a:pPr>
              <a:r>
                <a:rPr lang="en-US" sz="1200" i="1" dirty="0">
                  <a:solidFill>
                    <a:srgbClr val="313131"/>
                  </a:solidFill>
                  <a:ea typeface="+mn-ea"/>
                  <a:cs typeface="+mn-cs"/>
                </a:rPr>
                <a:t>TEN</a:t>
              </a:r>
            </a:p>
          </p:txBody>
        </p:sp>
        <p:sp>
          <p:nvSpPr>
            <p:cNvPr id="152" name="Rectangle 151"/>
            <p:cNvSpPr/>
            <p:nvPr/>
          </p:nvSpPr>
          <p:spPr>
            <a:xfrm>
              <a:off x="5149752" y="4031395"/>
              <a:ext cx="1212247" cy="138500"/>
            </a:xfrm>
            <a:prstGeom prst="rect">
              <a:avLst/>
            </a:prstGeom>
          </p:spPr>
          <p:txBody>
            <a:bodyPr wrap="square" lIns="0" tIns="0" rIns="0" bIns="0">
              <a:spAutoFit/>
            </a:bodyPr>
            <a:lstStyle/>
            <a:p>
              <a:pPr algn="ctr" defTabSz="685800">
                <a:buClrTx/>
                <a:defRPr/>
              </a:pPr>
              <a:r>
                <a:rPr lang="en-US" sz="675" b="1" dirty="0">
                  <a:solidFill>
                    <a:srgbClr val="313131"/>
                  </a:solidFill>
                  <a:ea typeface="+mn-ea"/>
                  <a:cs typeface="+mn-cs"/>
                </a:rPr>
                <a:t>Figure name/detail</a:t>
              </a:r>
            </a:p>
          </p:txBody>
        </p:sp>
        <p:cxnSp>
          <p:nvCxnSpPr>
            <p:cNvPr id="153" name="Straight Connector 152"/>
            <p:cNvCxnSpPr/>
            <p:nvPr/>
          </p:nvCxnSpPr>
          <p:spPr>
            <a:xfrm flipH="1">
              <a:off x="5234940" y="5316116"/>
              <a:ext cx="1066100" cy="0"/>
            </a:xfrm>
            <a:prstGeom prst="line">
              <a:avLst/>
            </a:prstGeom>
            <a:noFill/>
            <a:ln w="12700" cap="flat" cmpd="sng" algn="ctr">
              <a:solidFill>
                <a:srgbClr val="FFFFFF">
                  <a:lumMod val="75000"/>
                </a:srgbClr>
              </a:solidFill>
              <a:prstDash val="solid"/>
              <a:headEnd type="none"/>
              <a:tailEnd type="none"/>
            </a:ln>
            <a:effectLst/>
          </p:spPr>
        </p:cxnSp>
        <p:cxnSp>
          <p:nvCxnSpPr>
            <p:cNvPr id="154" name="Straight Connector 153"/>
            <p:cNvCxnSpPr/>
            <p:nvPr/>
          </p:nvCxnSpPr>
          <p:spPr>
            <a:xfrm flipH="1">
              <a:off x="5234940" y="5730240"/>
              <a:ext cx="1066100" cy="0"/>
            </a:xfrm>
            <a:prstGeom prst="line">
              <a:avLst/>
            </a:prstGeom>
            <a:noFill/>
            <a:ln w="12700" cap="flat" cmpd="sng" algn="ctr">
              <a:solidFill>
                <a:srgbClr val="FFFFFF">
                  <a:lumMod val="75000"/>
                </a:srgbClr>
              </a:solidFill>
              <a:prstDash val="solid"/>
              <a:headEnd type="none"/>
              <a:tailEnd type="none"/>
            </a:ln>
            <a:effectLst/>
          </p:spPr>
        </p:cxnSp>
        <p:cxnSp>
          <p:nvCxnSpPr>
            <p:cNvPr id="155" name="Straight Connector 154"/>
            <p:cNvCxnSpPr/>
            <p:nvPr/>
          </p:nvCxnSpPr>
          <p:spPr>
            <a:xfrm flipH="1">
              <a:off x="5234940" y="4532520"/>
              <a:ext cx="1066100" cy="0"/>
            </a:xfrm>
            <a:prstGeom prst="line">
              <a:avLst/>
            </a:prstGeom>
            <a:noFill/>
            <a:ln w="12700" cap="flat" cmpd="sng" algn="ctr">
              <a:solidFill>
                <a:srgbClr val="92D400"/>
              </a:solidFill>
              <a:prstDash val="solid"/>
              <a:headEnd type="none"/>
              <a:tailEnd type="none"/>
            </a:ln>
            <a:effectLst/>
          </p:spPr>
        </p:cxnSp>
        <p:sp>
          <p:nvSpPr>
            <p:cNvPr id="156" name="Rectangle 155"/>
            <p:cNvSpPr/>
            <p:nvPr/>
          </p:nvSpPr>
          <p:spPr>
            <a:xfrm>
              <a:off x="5149752" y="4563338"/>
              <a:ext cx="1212247" cy="138500"/>
            </a:xfrm>
            <a:prstGeom prst="rect">
              <a:avLst/>
            </a:prstGeom>
          </p:spPr>
          <p:txBody>
            <a:bodyPr wrap="square" lIns="0" tIns="0" rIns="0" bIns="0">
              <a:spAutoFit/>
            </a:bodyPr>
            <a:lstStyle/>
            <a:p>
              <a:pPr algn="ctr" defTabSz="685800">
                <a:buClrTx/>
                <a:defRPr/>
              </a:pPr>
              <a:r>
                <a:rPr lang="en-US" sz="675" b="1" dirty="0">
                  <a:solidFill>
                    <a:srgbClr val="81BC00"/>
                  </a:solidFill>
                  <a:ea typeface="+mn-ea"/>
                  <a:cs typeface="+mn-cs"/>
                </a:rPr>
                <a:t>Figure name/detail</a:t>
              </a:r>
            </a:p>
          </p:txBody>
        </p:sp>
        <p:sp>
          <p:nvSpPr>
            <p:cNvPr id="157" name="Rectangle 156"/>
            <p:cNvSpPr/>
            <p:nvPr/>
          </p:nvSpPr>
          <p:spPr>
            <a:xfrm>
              <a:off x="5149752" y="5331652"/>
              <a:ext cx="1212247" cy="138500"/>
            </a:xfrm>
            <a:prstGeom prst="rect">
              <a:avLst/>
            </a:prstGeom>
          </p:spPr>
          <p:txBody>
            <a:bodyPr wrap="square" lIns="0" tIns="0" rIns="0" bIns="0">
              <a:spAutoFit/>
            </a:bodyPr>
            <a:lstStyle/>
            <a:p>
              <a:pPr algn="ctr" defTabSz="685800">
                <a:buClrTx/>
                <a:defRPr/>
              </a:pPr>
              <a:r>
                <a:rPr lang="en-US" sz="675" b="1" dirty="0">
                  <a:solidFill>
                    <a:srgbClr val="313131"/>
                  </a:solidFill>
                  <a:ea typeface="+mn-ea"/>
                  <a:cs typeface="+mn-cs"/>
                </a:rPr>
                <a:t>Figure name/detail</a:t>
              </a:r>
            </a:p>
          </p:txBody>
        </p:sp>
        <p:sp>
          <p:nvSpPr>
            <p:cNvPr id="158" name="Rectangle 157"/>
            <p:cNvSpPr/>
            <p:nvPr/>
          </p:nvSpPr>
          <p:spPr>
            <a:xfrm>
              <a:off x="5149752" y="5750752"/>
              <a:ext cx="1212247" cy="138500"/>
            </a:xfrm>
            <a:prstGeom prst="rect">
              <a:avLst/>
            </a:prstGeom>
          </p:spPr>
          <p:txBody>
            <a:bodyPr wrap="square" lIns="0" tIns="0" rIns="0" bIns="0">
              <a:spAutoFit/>
            </a:bodyPr>
            <a:lstStyle/>
            <a:p>
              <a:pPr algn="ctr" defTabSz="685800">
                <a:buClrTx/>
                <a:defRPr/>
              </a:pPr>
              <a:r>
                <a:rPr lang="en-US" sz="675" b="1" dirty="0">
                  <a:solidFill>
                    <a:srgbClr val="313131"/>
                  </a:solidFill>
                  <a:ea typeface="+mn-ea"/>
                  <a:cs typeface="+mn-cs"/>
                </a:rPr>
                <a:t>Figure name/detail</a:t>
              </a:r>
            </a:p>
          </p:txBody>
        </p:sp>
      </p:grpSp>
    </p:spTree>
    <p:extLst>
      <p:ext uri="{BB962C8B-B14F-4D97-AF65-F5344CB8AC3E}">
        <p14:creationId xmlns:p14="http://schemas.microsoft.com/office/powerpoint/2010/main" val="3852972042"/>
      </p:ext>
    </p:extLst>
  </p:cSld>
  <p:clrMapOvr>
    <a:masterClrMapping/>
  </p:clrMapOvr>
  <p:transition>
    <p:fade/>
  </p:transition>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Appendix</a:t>
            </a:r>
            <a:br>
              <a:rPr lang="en-US" altLang="ja-JP" dirty="0"/>
            </a:br>
            <a:r>
              <a:rPr lang="en-US" altLang="ja-JP" dirty="0">
                <a:solidFill>
                  <a:srgbClr val="575757"/>
                </a:solidFill>
              </a:rPr>
              <a:t>Call out containers</a:t>
            </a: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9" name="Group 48"/>
          <p:cNvGrpSpPr/>
          <p:nvPr/>
        </p:nvGrpSpPr>
        <p:grpSpPr>
          <a:xfrm>
            <a:off x="1558886" y="1437706"/>
            <a:ext cx="862965" cy="380873"/>
            <a:chOff x="419100" y="1698453"/>
            <a:chExt cx="1150620" cy="507830"/>
          </a:xfrm>
          <a:solidFill>
            <a:srgbClr val="72C7E7"/>
          </a:solidFill>
        </p:grpSpPr>
        <p:sp>
          <p:nvSpPr>
            <p:cNvPr id="50" name="Teardrop 49"/>
            <p:cNvSpPr/>
            <p:nvPr/>
          </p:nvSpPr>
          <p:spPr>
            <a:xfrm rot="8177965">
              <a:off x="419100" y="1765238"/>
              <a:ext cx="1150620" cy="405189"/>
            </a:xfrm>
            <a:prstGeom prst="teardrop">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51" name="Oval 50"/>
            <p:cNvSpPr/>
            <p:nvPr/>
          </p:nvSpPr>
          <p:spPr>
            <a:xfrm>
              <a:off x="461848" y="1765238"/>
              <a:ext cx="1065123" cy="405189"/>
            </a:xfrm>
            <a:prstGeom prst="ellipse">
              <a:avLst/>
            </a:prstGeom>
            <a:solidFill>
              <a:srgbClr val="00A1DE"/>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52" name="Rectangle 51"/>
            <p:cNvSpPr/>
            <p:nvPr/>
          </p:nvSpPr>
          <p:spPr>
            <a:xfrm>
              <a:off x="678180" y="1698453"/>
              <a:ext cx="640080" cy="507830"/>
            </a:xfrm>
            <a:prstGeom prst="rect">
              <a:avLst/>
            </a:prstGeom>
            <a:noFill/>
          </p:spPr>
          <p:txBody>
            <a:bodyPr wrap="square" lIns="0" tIns="0" rIns="0" bIns="0">
              <a:spAutoFit/>
            </a:bodyPr>
            <a:lstStyle/>
            <a:p>
              <a:pPr algn="ctr" defTabSz="685800">
                <a:buClrTx/>
              </a:pPr>
              <a:r>
                <a:rPr lang="en-US" sz="825" b="1" kern="1200" dirty="0">
                  <a:solidFill>
                    <a:srgbClr val="FFFFFF"/>
                  </a:solidFill>
                  <a:ea typeface="+mn-ea"/>
                  <a:cs typeface="+mn-cs"/>
                </a:rPr>
                <a:t>This is a pointer</a:t>
              </a:r>
            </a:p>
            <a:p>
              <a:pPr algn="ctr" defTabSz="685800">
                <a:buClrTx/>
              </a:pPr>
              <a:r>
                <a:rPr lang="en-US" sz="825" b="1" kern="1200" dirty="0">
                  <a:solidFill>
                    <a:srgbClr val="FFFFFF"/>
                  </a:solidFill>
                  <a:ea typeface="+mn-ea"/>
                  <a:cs typeface="+mn-cs"/>
                </a:rPr>
                <a:t>style</a:t>
              </a:r>
            </a:p>
          </p:txBody>
        </p:sp>
      </p:grpSp>
      <p:sp>
        <p:nvSpPr>
          <p:cNvPr id="53" name="Oval Callout 52"/>
          <p:cNvSpPr/>
          <p:nvPr/>
        </p:nvSpPr>
        <p:spPr>
          <a:xfrm>
            <a:off x="2923082" y="1494584"/>
            <a:ext cx="832377" cy="303892"/>
          </a:xfrm>
          <a:prstGeom prst="wedgeEllipseCallout">
            <a:avLst>
              <a:gd name="adj1" fmla="val -53789"/>
              <a:gd name="adj2" fmla="val 57617"/>
            </a:avLst>
          </a:pr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54" name="Rectangle 53"/>
          <p:cNvSpPr/>
          <p:nvPr/>
        </p:nvSpPr>
        <p:spPr>
          <a:xfrm>
            <a:off x="3119243" y="1470452"/>
            <a:ext cx="440055" cy="380873"/>
          </a:xfrm>
          <a:prstGeom prst="rect">
            <a:avLst/>
          </a:prstGeom>
        </p:spPr>
        <p:txBody>
          <a:bodyPr wrap="square" lIns="0" tIns="0" rIns="0" bIns="0">
            <a:spAutoFit/>
          </a:bodyPr>
          <a:lstStyle/>
          <a:p>
            <a:pPr algn="ctr" defTabSz="685800">
              <a:buClrTx/>
            </a:pPr>
            <a:r>
              <a:rPr lang="en-US" sz="825" b="1" kern="1200" dirty="0">
                <a:solidFill>
                  <a:srgbClr val="FFFFFF"/>
                </a:solidFill>
                <a:ea typeface="+mn-ea"/>
                <a:cs typeface="+mn-cs"/>
              </a:rPr>
              <a:t>Speech</a:t>
            </a:r>
          </a:p>
          <a:p>
            <a:pPr algn="ctr" defTabSz="685800">
              <a:buClrTx/>
            </a:pPr>
            <a:r>
              <a:rPr lang="en-US" sz="825" b="1" kern="1200" dirty="0">
                <a:solidFill>
                  <a:srgbClr val="FFFFFF"/>
                </a:solidFill>
                <a:ea typeface="+mn-ea"/>
                <a:cs typeface="+mn-cs"/>
              </a:rPr>
              <a:t>bubble</a:t>
            </a:r>
          </a:p>
          <a:p>
            <a:pPr algn="ctr" defTabSz="685800">
              <a:buClrTx/>
            </a:pPr>
            <a:r>
              <a:rPr lang="en-US" sz="825" b="1" kern="1200" dirty="0">
                <a:solidFill>
                  <a:srgbClr val="FFFFFF"/>
                </a:solidFill>
                <a:ea typeface="+mn-ea"/>
                <a:cs typeface="+mn-cs"/>
              </a:rPr>
              <a:t>style</a:t>
            </a:r>
          </a:p>
        </p:txBody>
      </p:sp>
      <p:sp>
        <p:nvSpPr>
          <p:cNvPr id="55" name="Oval 54"/>
          <p:cNvSpPr/>
          <p:nvPr/>
        </p:nvSpPr>
        <p:spPr>
          <a:xfrm>
            <a:off x="3481139" y="1200150"/>
            <a:ext cx="274320" cy="274320"/>
          </a:xfrm>
          <a:prstGeom prst="ellipse">
            <a:avLst/>
          </a:prstGeom>
          <a:solidFill>
            <a:srgbClr val="00A1DE"/>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r>
              <a:rPr lang="en-US" sz="1500" kern="1200" dirty="0">
                <a:solidFill>
                  <a:srgbClr val="FFFFFF"/>
                </a:solidFill>
                <a:latin typeface="Arial"/>
              </a:rPr>
              <a:t>A</a:t>
            </a:r>
          </a:p>
        </p:txBody>
      </p:sp>
      <p:sp>
        <p:nvSpPr>
          <p:cNvPr id="56" name="Rounded Rectangular Callout 55"/>
          <p:cNvSpPr/>
          <p:nvPr/>
        </p:nvSpPr>
        <p:spPr>
          <a:xfrm>
            <a:off x="5192079" y="1789099"/>
            <a:ext cx="1449229" cy="322736"/>
          </a:xfrm>
          <a:prstGeom prst="wedgeRoundRectCallout">
            <a:avLst>
              <a:gd name="adj1" fmla="val -66232"/>
              <a:gd name="adj2" fmla="val 47307"/>
              <a:gd name="adj3" fmla="val 16667"/>
            </a:avLst>
          </a:pr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r>
              <a:rPr lang="en-US" sz="1050" b="1" kern="1200" dirty="0">
                <a:solidFill>
                  <a:srgbClr val="FFFFFF"/>
                </a:solidFill>
                <a:latin typeface="Arial"/>
              </a:rPr>
              <a:t>Call out detail 2</a:t>
            </a:r>
          </a:p>
        </p:txBody>
      </p:sp>
      <p:sp>
        <p:nvSpPr>
          <p:cNvPr id="57" name="Pentagon 56"/>
          <p:cNvSpPr/>
          <p:nvPr/>
        </p:nvSpPr>
        <p:spPr>
          <a:xfrm flipH="1">
            <a:off x="4976337" y="1314450"/>
            <a:ext cx="1664970" cy="322736"/>
          </a:xfrm>
          <a:prstGeom prst="homePlate">
            <a:avLst/>
          </a:pr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r>
              <a:rPr lang="en-US" sz="1050" b="1" kern="1200" dirty="0">
                <a:solidFill>
                  <a:srgbClr val="FFFFFF"/>
                </a:solidFill>
                <a:latin typeface="Arial"/>
              </a:rPr>
              <a:t>Call out detail 1</a:t>
            </a:r>
          </a:p>
        </p:txBody>
      </p:sp>
      <p:grpSp>
        <p:nvGrpSpPr>
          <p:cNvPr id="58" name="Group 57"/>
          <p:cNvGrpSpPr/>
          <p:nvPr/>
        </p:nvGrpSpPr>
        <p:grpSpPr>
          <a:xfrm>
            <a:off x="1461496" y="2724343"/>
            <a:ext cx="2923172" cy="324825"/>
            <a:chOff x="403048" y="3921110"/>
            <a:chExt cx="3897562" cy="433099"/>
          </a:xfrm>
        </p:grpSpPr>
        <p:sp>
          <p:nvSpPr>
            <p:cNvPr id="59" name="Rounded Rectangular Callout 58"/>
            <p:cNvSpPr/>
            <p:nvPr/>
          </p:nvSpPr>
          <p:spPr>
            <a:xfrm>
              <a:off x="403048" y="4035410"/>
              <a:ext cx="702383" cy="318799"/>
            </a:xfrm>
            <a:prstGeom prst="wedgeRoundRectCallout">
              <a:avLst>
                <a:gd name="adj1" fmla="val -14324"/>
                <a:gd name="adj2" fmla="val 69717"/>
                <a:gd name="adj3" fmla="val 16667"/>
              </a:avLst>
            </a:prstGeom>
            <a:solidFill>
              <a:srgbClr val="BDD203">
                <a:alpha val="74902"/>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60" name="Rounded Rectangular Callout 59"/>
            <p:cNvSpPr/>
            <p:nvPr/>
          </p:nvSpPr>
          <p:spPr>
            <a:xfrm>
              <a:off x="987599" y="3921110"/>
              <a:ext cx="1176482" cy="318799"/>
            </a:xfrm>
            <a:prstGeom prst="wedgeRoundRectCallout">
              <a:avLst>
                <a:gd name="adj1" fmla="val -34937"/>
                <a:gd name="adj2" fmla="val 85181"/>
                <a:gd name="adj3" fmla="val 16667"/>
              </a:avLst>
            </a:prstGeom>
            <a:solidFill>
              <a:srgbClr val="81BC00">
                <a:alpha val="74902"/>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61" name="Rounded Rectangular Callout 60"/>
            <p:cNvSpPr/>
            <p:nvPr/>
          </p:nvSpPr>
          <p:spPr>
            <a:xfrm>
              <a:off x="1739106" y="4035410"/>
              <a:ext cx="849948" cy="318799"/>
            </a:xfrm>
            <a:prstGeom prst="wedgeRoundRectCallout">
              <a:avLst>
                <a:gd name="adj1" fmla="val -33151"/>
                <a:gd name="adj2" fmla="val 72810"/>
                <a:gd name="adj3" fmla="val 16667"/>
              </a:avLst>
            </a:prstGeom>
            <a:solidFill>
              <a:srgbClr val="BDD203">
                <a:alpha val="74902"/>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62" name="Rounded Rectangular Callout 61"/>
            <p:cNvSpPr/>
            <p:nvPr/>
          </p:nvSpPr>
          <p:spPr>
            <a:xfrm>
              <a:off x="2498076" y="3921110"/>
              <a:ext cx="1176482" cy="318799"/>
            </a:xfrm>
            <a:prstGeom prst="wedgeRoundRectCallout">
              <a:avLst>
                <a:gd name="adj1" fmla="val -9677"/>
                <a:gd name="adj2" fmla="val 85181"/>
                <a:gd name="adj3" fmla="val 16667"/>
              </a:avLst>
            </a:prstGeom>
            <a:solidFill>
              <a:srgbClr val="81BC00">
                <a:alpha val="74902"/>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63" name="Rounded Rectangular Callout 62"/>
            <p:cNvSpPr/>
            <p:nvPr/>
          </p:nvSpPr>
          <p:spPr>
            <a:xfrm>
              <a:off x="3347863" y="4004930"/>
              <a:ext cx="849948" cy="318799"/>
            </a:xfrm>
            <a:prstGeom prst="wedgeRoundRectCallout">
              <a:avLst>
                <a:gd name="adj1" fmla="val -12531"/>
                <a:gd name="adj2" fmla="val 68686"/>
                <a:gd name="adj3" fmla="val 16667"/>
              </a:avLst>
            </a:prstGeom>
            <a:solidFill>
              <a:srgbClr val="BDD203">
                <a:alpha val="74902"/>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64" name="Rectangle 63"/>
            <p:cNvSpPr/>
            <p:nvPr/>
          </p:nvSpPr>
          <p:spPr>
            <a:xfrm>
              <a:off x="415752" y="3979902"/>
              <a:ext cx="3884858" cy="307775"/>
            </a:xfrm>
            <a:prstGeom prst="rect">
              <a:avLst/>
            </a:prstGeom>
          </p:spPr>
          <p:txBody>
            <a:bodyPr wrap="square" lIns="0" tIns="0" rIns="0" bIns="0">
              <a:spAutoFit/>
            </a:bodyPr>
            <a:lstStyle/>
            <a:p>
              <a:pPr algn="ctr" defTabSz="685800">
                <a:buClrTx/>
              </a:pPr>
              <a:r>
                <a:rPr lang="en-US" sz="1500" kern="1200" spc="225" dirty="0">
                  <a:solidFill>
                    <a:srgbClr val="FFFFFF"/>
                  </a:solidFill>
                  <a:ea typeface="+mn-ea"/>
                  <a:cs typeface="+mn-cs"/>
                </a:rPr>
                <a:t>Many people. One voice.</a:t>
              </a:r>
            </a:p>
          </p:txBody>
        </p:sp>
      </p:grpSp>
      <p:sp>
        <p:nvSpPr>
          <p:cNvPr id="65" name="Rectangular Callout 64"/>
          <p:cNvSpPr/>
          <p:nvPr/>
        </p:nvSpPr>
        <p:spPr>
          <a:xfrm>
            <a:off x="1539836" y="3925601"/>
            <a:ext cx="1675924" cy="216110"/>
          </a:xfrm>
          <a:prstGeom prst="wedgeRectCallout">
            <a:avLst>
              <a:gd name="adj1" fmla="val 42741"/>
              <a:gd name="adj2" fmla="val 77815"/>
            </a:avLst>
          </a:pr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66" name="Rectangle 65"/>
          <p:cNvSpPr/>
          <p:nvPr/>
        </p:nvSpPr>
        <p:spPr>
          <a:xfrm>
            <a:off x="2212538" y="3802823"/>
            <a:ext cx="901304" cy="461665"/>
          </a:xfrm>
          <a:prstGeom prst="rect">
            <a:avLst/>
          </a:prstGeom>
        </p:spPr>
        <p:txBody>
          <a:bodyPr wrap="square" lIns="0" tIns="0" rIns="0" bIns="0">
            <a:spAutoFit/>
          </a:bodyPr>
          <a:lstStyle/>
          <a:p>
            <a:pPr defTabSz="685800">
              <a:buClrTx/>
            </a:pPr>
            <a:r>
              <a:rPr lang="en-US" sz="750" kern="1200" dirty="0">
                <a:solidFill>
                  <a:srgbClr val="FFFFFF"/>
                </a:solidFill>
                <a:ea typeface="+mn-ea"/>
                <a:cs typeface="+mn-cs"/>
              </a:rPr>
              <a:t>This is a call out perfect for when there is more detail or for pull quotes</a:t>
            </a:r>
          </a:p>
        </p:txBody>
      </p:sp>
      <p:sp>
        <p:nvSpPr>
          <p:cNvPr id="67" name="Rectangle 66"/>
          <p:cNvSpPr/>
          <p:nvPr/>
        </p:nvSpPr>
        <p:spPr>
          <a:xfrm>
            <a:off x="1545550" y="3750940"/>
            <a:ext cx="649843" cy="553998"/>
          </a:xfrm>
          <a:prstGeom prst="rect">
            <a:avLst/>
          </a:prstGeom>
        </p:spPr>
        <p:txBody>
          <a:bodyPr wrap="square" lIns="0" tIns="0" rIns="0" bIns="0">
            <a:spAutoFit/>
          </a:bodyPr>
          <a:lstStyle/>
          <a:p>
            <a:pPr algn="ctr" defTabSz="685800">
              <a:buClrTx/>
            </a:pPr>
            <a:r>
              <a:rPr lang="en-US" sz="3600" kern="1200" spc="225" dirty="0">
                <a:solidFill>
                  <a:prstClr val="white">
                    <a:lumMod val="75000"/>
                  </a:prstClr>
                </a:solidFill>
                <a:ea typeface="+mn-ea"/>
                <a:cs typeface="+mn-cs"/>
              </a:rPr>
              <a:t>03</a:t>
            </a:r>
            <a:endParaRPr lang="en-US" sz="3000" kern="1200" spc="225" dirty="0">
              <a:solidFill>
                <a:prstClr val="white">
                  <a:lumMod val="75000"/>
                </a:prstClr>
              </a:solidFill>
              <a:ea typeface="+mn-ea"/>
              <a:cs typeface="+mn-cs"/>
            </a:endParaRPr>
          </a:p>
        </p:txBody>
      </p:sp>
      <p:grpSp>
        <p:nvGrpSpPr>
          <p:cNvPr id="68" name="Group 67"/>
          <p:cNvGrpSpPr/>
          <p:nvPr/>
        </p:nvGrpSpPr>
        <p:grpSpPr>
          <a:xfrm>
            <a:off x="3314348" y="3869910"/>
            <a:ext cx="1815000" cy="524865"/>
            <a:chOff x="4573891" y="4379714"/>
            <a:chExt cx="2420000" cy="699820"/>
          </a:xfrm>
          <a:solidFill>
            <a:srgbClr val="81BC00"/>
          </a:solidFill>
        </p:grpSpPr>
        <p:sp>
          <p:nvSpPr>
            <p:cNvPr id="69" name="Isosceles Triangle 68"/>
            <p:cNvSpPr/>
            <p:nvPr/>
          </p:nvSpPr>
          <p:spPr>
            <a:xfrm rot="16200000">
              <a:off x="4718403" y="4651654"/>
              <a:ext cx="283368" cy="572392"/>
            </a:xfrm>
            <a:prstGeom prst="triangle">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70" name="Rounded Rectangle 36"/>
            <p:cNvSpPr/>
            <p:nvPr/>
          </p:nvSpPr>
          <p:spPr>
            <a:xfrm>
              <a:off x="4766944" y="4422257"/>
              <a:ext cx="2226947" cy="288147"/>
            </a:xfrm>
            <a:custGeom>
              <a:avLst/>
              <a:gdLst>
                <a:gd name="connsiteX0" fmla="*/ 0 w 2234565"/>
                <a:gd name="connsiteY0" fmla="*/ 85729 h 742950"/>
                <a:gd name="connsiteX1" fmla="*/ 85729 w 2234565"/>
                <a:gd name="connsiteY1" fmla="*/ 0 h 742950"/>
                <a:gd name="connsiteX2" fmla="*/ 2148836 w 2234565"/>
                <a:gd name="connsiteY2" fmla="*/ 0 h 742950"/>
                <a:gd name="connsiteX3" fmla="*/ 2234565 w 2234565"/>
                <a:gd name="connsiteY3" fmla="*/ 85729 h 742950"/>
                <a:gd name="connsiteX4" fmla="*/ 2234565 w 2234565"/>
                <a:gd name="connsiteY4" fmla="*/ 657221 h 742950"/>
                <a:gd name="connsiteX5" fmla="*/ 2148836 w 2234565"/>
                <a:gd name="connsiteY5" fmla="*/ 742950 h 742950"/>
                <a:gd name="connsiteX6" fmla="*/ 85729 w 2234565"/>
                <a:gd name="connsiteY6" fmla="*/ 742950 h 742950"/>
                <a:gd name="connsiteX7" fmla="*/ 0 w 2234565"/>
                <a:gd name="connsiteY7" fmla="*/ 657221 h 742950"/>
                <a:gd name="connsiteX8" fmla="*/ 0 w 2234565"/>
                <a:gd name="connsiteY8" fmla="*/ 85729 h 742950"/>
                <a:gd name="connsiteX0" fmla="*/ 0 w 2234565"/>
                <a:gd name="connsiteY0" fmla="*/ 657221 h 742950"/>
                <a:gd name="connsiteX1" fmla="*/ 85729 w 2234565"/>
                <a:gd name="connsiteY1" fmla="*/ 0 h 742950"/>
                <a:gd name="connsiteX2" fmla="*/ 2148836 w 2234565"/>
                <a:gd name="connsiteY2" fmla="*/ 0 h 742950"/>
                <a:gd name="connsiteX3" fmla="*/ 2234565 w 2234565"/>
                <a:gd name="connsiteY3" fmla="*/ 85729 h 742950"/>
                <a:gd name="connsiteX4" fmla="*/ 2234565 w 2234565"/>
                <a:gd name="connsiteY4" fmla="*/ 657221 h 742950"/>
                <a:gd name="connsiteX5" fmla="*/ 2148836 w 2234565"/>
                <a:gd name="connsiteY5" fmla="*/ 742950 h 742950"/>
                <a:gd name="connsiteX6" fmla="*/ 85729 w 2234565"/>
                <a:gd name="connsiteY6" fmla="*/ 742950 h 742950"/>
                <a:gd name="connsiteX7" fmla="*/ 0 w 2234565"/>
                <a:gd name="connsiteY7" fmla="*/ 657221 h 742950"/>
                <a:gd name="connsiteX0" fmla="*/ 0 w 2148836"/>
                <a:gd name="connsiteY0" fmla="*/ 742950 h 742950"/>
                <a:gd name="connsiteX1" fmla="*/ 0 w 2148836"/>
                <a:gd name="connsiteY1" fmla="*/ 0 h 742950"/>
                <a:gd name="connsiteX2" fmla="*/ 2063107 w 2148836"/>
                <a:gd name="connsiteY2" fmla="*/ 0 h 742950"/>
                <a:gd name="connsiteX3" fmla="*/ 2148836 w 2148836"/>
                <a:gd name="connsiteY3" fmla="*/ 85729 h 742950"/>
                <a:gd name="connsiteX4" fmla="*/ 2148836 w 2148836"/>
                <a:gd name="connsiteY4" fmla="*/ 657221 h 742950"/>
                <a:gd name="connsiteX5" fmla="*/ 2063107 w 2148836"/>
                <a:gd name="connsiteY5" fmla="*/ 742950 h 742950"/>
                <a:gd name="connsiteX6" fmla="*/ 0 w 2148836"/>
                <a:gd name="connsiteY6" fmla="*/ 742950 h 742950"/>
                <a:gd name="connsiteX0" fmla="*/ 153034 w 2301870"/>
                <a:gd name="connsiteY0" fmla="*/ 742950 h 743057"/>
                <a:gd name="connsiteX1" fmla="*/ 153034 w 2301870"/>
                <a:gd name="connsiteY1" fmla="*/ 0 h 743057"/>
                <a:gd name="connsiteX2" fmla="*/ 2216141 w 2301870"/>
                <a:gd name="connsiteY2" fmla="*/ 0 h 743057"/>
                <a:gd name="connsiteX3" fmla="*/ 2301870 w 2301870"/>
                <a:gd name="connsiteY3" fmla="*/ 85729 h 743057"/>
                <a:gd name="connsiteX4" fmla="*/ 2301870 w 2301870"/>
                <a:gd name="connsiteY4" fmla="*/ 657221 h 743057"/>
                <a:gd name="connsiteX5" fmla="*/ 2216141 w 2301870"/>
                <a:gd name="connsiteY5" fmla="*/ 742950 h 743057"/>
                <a:gd name="connsiteX6" fmla="*/ 153034 w 2301870"/>
                <a:gd name="connsiteY6" fmla="*/ 742950 h 743057"/>
                <a:gd name="connsiteX0" fmla="*/ 46 w 2148882"/>
                <a:gd name="connsiteY0" fmla="*/ 742950 h 743039"/>
                <a:gd name="connsiteX1" fmla="*/ 46 w 2148882"/>
                <a:gd name="connsiteY1" fmla="*/ 0 h 743039"/>
                <a:gd name="connsiteX2" fmla="*/ 2063153 w 2148882"/>
                <a:gd name="connsiteY2" fmla="*/ 0 h 743039"/>
                <a:gd name="connsiteX3" fmla="*/ 2148882 w 2148882"/>
                <a:gd name="connsiteY3" fmla="*/ 85729 h 743039"/>
                <a:gd name="connsiteX4" fmla="*/ 2148882 w 2148882"/>
                <a:gd name="connsiteY4" fmla="*/ 657221 h 743039"/>
                <a:gd name="connsiteX5" fmla="*/ 2063153 w 2148882"/>
                <a:gd name="connsiteY5" fmla="*/ 742950 h 743039"/>
                <a:gd name="connsiteX6" fmla="*/ 46 w 2148882"/>
                <a:gd name="connsiteY6" fmla="*/ 742950 h 743039"/>
                <a:gd name="connsiteX0" fmla="*/ 4875 w 2153711"/>
                <a:gd name="connsiteY0" fmla="*/ 742972 h 743061"/>
                <a:gd name="connsiteX1" fmla="*/ 4875 w 2153711"/>
                <a:gd name="connsiteY1" fmla="*/ 22 h 743061"/>
                <a:gd name="connsiteX2" fmla="*/ 2067982 w 2153711"/>
                <a:gd name="connsiteY2" fmla="*/ 22 h 743061"/>
                <a:gd name="connsiteX3" fmla="*/ 2153711 w 2153711"/>
                <a:gd name="connsiteY3" fmla="*/ 85751 h 743061"/>
                <a:gd name="connsiteX4" fmla="*/ 2153711 w 2153711"/>
                <a:gd name="connsiteY4" fmla="*/ 657243 h 743061"/>
                <a:gd name="connsiteX5" fmla="*/ 2067982 w 2153711"/>
                <a:gd name="connsiteY5" fmla="*/ 742972 h 743061"/>
                <a:gd name="connsiteX6" fmla="*/ 4875 w 2153711"/>
                <a:gd name="connsiteY6" fmla="*/ 742972 h 743061"/>
                <a:gd name="connsiteX0" fmla="*/ 232 w 2149068"/>
                <a:gd name="connsiteY0" fmla="*/ 742950 h 743039"/>
                <a:gd name="connsiteX1" fmla="*/ 232 w 2149068"/>
                <a:gd name="connsiteY1" fmla="*/ 0 h 743039"/>
                <a:gd name="connsiteX2" fmla="*/ 2063339 w 2149068"/>
                <a:gd name="connsiteY2" fmla="*/ 0 h 743039"/>
                <a:gd name="connsiteX3" fmla="*/ 2149068 w 2149068"/>
                <a:gd name="connsiteY3" fmla="*/ 85729 h 743039"/>
                <a:gd name="connsiteX4" fmla="*/ 2149068 w 2149068"/>
                <a:gd name="connsiteY4" fmla="*/ 657221 h 743039"/>
                <a:gd name="connsiteX5" fmla="*/ 2063339 w 2149068"/>
                <a:gd name="connsiteY5" fmla="*/ 742950 h 743039"/>
                <a:gd name="connsiteX6" fmla="*/ 232 w 2149068"/>
                <a:gd name="connsiteY6" fmla="*/ 742950 h 743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9068" h="743039">
                  <a:moveTo>
                    <a:pt x="232" y="742950"/>
                  </a:moveTo>
                  <a:cubicBezTo>
                    <a:pt x="-719" y="752475"/>
                    <a:pt x="1661" y="2381"/>
                    <a:pt x="232" y="0"/>
                  </a:cubicBezTo>
                  <a:lnTo>
                    <a:pt x="2063339" y="0"/>
                  </a:lnTo>
                  <a:cubicBezTo>
                    <a:pt x="2110686" y="0"/>
                    <a:pt x="2149068" y="38382"/>
                    <a:pt x="2149068" y="85729"/>
                  </a:cubicBezTo>
                  <a:lnTo>
                    <a:pt x="2149068" y="657221"/>
                  </a:lnTo>
                  <a:cubicBezTo>
                    <a:pt x="2149068" y="704568"/>
                    <a:pt x="2110686" y="742950"/>
                    <a:pt x="2063339" y="742950"/>
                  </a:cubicBezTo>
                  <a:lnTo>
                    <a:pt x="232" y="74295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71" name="Rectangle 70"/>
            <p:cNvSpPr/>
            <p:nvPr/>
          </p:nvSpPr>
          <p:spPr>
            <a:xfrm>
              <a:off x="5200172" y="4379714"/>
              <a:ext cx="1429228" cy="338555"/>
            </a:xfrm>
            <a:prstGeom prst="rect">
              <a:avLst/>
            </a:prstGeom>
            <a:grpFill/>
          </p:spPr>
          <p:txBody>
            <a:bodyPr wrap="square" lIns="0" tIns="0" rIns="0" bIns="0">
              <a:spAutoFit/>
            </a:bodyPr>
            <a:lstStyle/>
            <a:p>
              <a:pPr defTabSz="685800">
                <a:buClrTx/>
              </a:pPr>
              <a:r>
                <a:rPr lang="en-US" sz="825" kern="1200" dirty="0">
                  <a:solidFill>
                    <a:srgbClr val="FFFFFF"/>
                  </a:solidFill>
                  <a:ea typeface="+mn-ea"/>
                  <a:cs typeface="+mn-cs"/>
                </a:rPr>
                <a:t>This is a horizontal bookmark call out</a:t>
              </a:r>
            </a:p>
          </p:txBody>
        </p:sp>
      </p:grpSp>
      <p:grpSp>
        <p:nvGrpSpPr>
          <p:cNvPr id="72" name="Group 71"/>
          <p:cNvGrpSpPr/>
          <p:nvPr/>
        </p:nvGrpSpPr>
        <p:grpSpPr>
          <a:xfrm>
            <a:off x="6438712" y="2883427"/>
            <a:ext cx="1516313" cy="789470"/>
            <a:chOff x="964285" y="4738574"/>
            <a:chExt cx="2021751" cy="1052626"/>
          </a:xfrm>
        </p:grpSpPr>
        <p:sp>
          <p:nvSpPr>
            <p:cNvPr id="73" name="Rectangle 72"/>
            <p:cNvSpPr/>
            <p:nvPr/>
          </p:nvSpPr>
          <p:spPr>
            <a:xfrm>
              <a:off x="2013115" y="4937848"/>
              <a:ext cx="972921" cy="853352"/>
            </a:xfrm>
            <a:prstGeom prst="rect">
              <a:avLst/>
            </a:prstGeom>
            <a:solidFill>
              <a:srgbClr val="00A1DE"/>
            </a:solidFill>
            <a:ln w="1270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cxnSp>
          <p:nvCxnSpPr>
            <p:cNvPr id="74" name="Straight Connector 73"/>
            <p:cNvCxnSpPr>
              <a:stCxn id="73" idx="0"/>
            </p:cNvCxnSpPr>
            <p:nvPr/>
          </p:nvCxnSpPr>
          <p:spPr>
            <a:xfrm flipH="1">
              <a:off x="1105430" y="4937848"/>
              <a:ext cx="1394146" cy="1"/>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5" name="Oval 74"/>
            <p:cNvSpPr/>
            <p:nvPr/>
          </p:nvSpPr>
          <p:spPr>
            <a:xfrm>
              <a:off x="964285" y="4738574"/>
              <a:ext cx="144016" cy="405189"/>
            </a:xfrm>
            <a:prstGeom prst="ellipse">
              <a:avLst/>
            </a:prstGeom>
            <a:noFill/>
            <a:ln w="1270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76" name="Rectangle 75"/>
            <p:cNvSpPr/>
            <p:nvPr/>
          </p:nvSpPr>
          <p:spPr>
            <a:xfrm>
              <a:off x="2164080" y="5085128"/>
              <a:ext cx="628865" cy="523220"/>
            </a:xfrm>
            <a:prstGeom prst="rect">
              <a:avLst/>
            </a:prstGeom>
          </p:spPr>
          <p:txBody>
            <a:bodyPr wrap="square" lIns="0" tIns="0" rIns="0" bIns="0">
              <a:spAutoFit/>
            </a:bodyPr>
            <a:lstStyle/>
            <a:p>
              <a:pPr defTabSz="685800">
                <a:buClrTx/>
              </a:pPr>
              <a:r>
                <a:rPr lang="en-US" sz="1350" b="1" kern="1200" dirty="0">
                  <a:solidFill>
                    <a:srgbClr val="FFFFFF"/>
                  </a:solidFill>
                  <a:ea typeface="+mn-ea"/>
                  <a:cs typeface="+mn-cs"/>
                </a:rPr>
                <a:t>$10M</a:t>
              </a:r>
            </a:p>
            <a:p>
              <a:pPr defTabSz="685800">
                <a:buClrTx/>
              </a:pPr>
              <a:r>
                <a:rPr lang="en-US" sz="1200" kern="1200" dirty="0">
                  <a:solidFill>
                    <a:srgbClr val="FFFFFF"/>
                  </a:solidFill>
                  <a:ea typeface="+mn-ea"/>
                  <a:cs typeface="+mn-cs"/>
                </a:rPr>
                <a:t>Detail</a:t>
              </a:r>
            </a:p>
          </p:txBody>
        </p:sp>
      </p:grpSp>
      <p:grpSp>
        <p:nvGrpSpPr>
          <p:cNvPr id="77" name="Group 76"/>
          <p:cNvGrpSpPr/>
          <p:nvPr/>
        </p:nvGrpSpPr>
        <p:grpSpPr>
          <a:xfrm>
            <a:off x="5400678" y="3149113"/>
            <a:ext cx="1058159" cy="1440311"/>
            <a:chOff x="3097212" y="4533258"/>
            <a:chExt cx="1410878" cy="1920414"/>
          </a:xfrm>
        </p:grpSpPr>
        <p:grpSp>
          <p:nvGrpSpPr>
            <p:cNvPr id="78" name="Group 77"/>
            <p:cNvGrpSpPr/>
            <p:nvPr/>
          </p:nvGrpSpPr>
          <p:grpSpPr>
            <a:xfrm>
              <a:off x="3097212" y="4533258"/>
              <a:ext cx="1316901" cy="1920414"/>
              <a:chOff x="1669135" y="4937848"/>
              <a:chExt cx="1316901" cy="1920414"/>
            </a:xfrm>
          </p:grpSpPr>
          <p:sp>
            <p:nvSpPr>
              <p:cNvPr id="80" name="Rectangle 79"/>
              <p:cNvSpPr/>
              <p:nvPr/>
            </p:nvSpPr>
            <p:spPr>
              <a:xfrm>
                <a:off x="1736907" y="4937848"/>
                <a:ext cx="1249129" cy="853352"/>
              </a:xfrm>
              <a:prstGeom prst="rect">
                <a:avLst/>
              </a:prstGeom>
              <a:solidFill>
                <a:schemeClr val="bg1">
                  <a:lumMod val="5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defTabSz="685800">
                  <a:buClrTx/>
                </a:pPr>
                <a:endParaRPr lang="en-US" sz="1050" kern="1200" dirty="0" err="1">
                  <a:solidFill>
                    <a:srgbClr val="313131"/>
                  </a:solidFill>
                  <a:latin typeface="Arial"/>
                </a:endParaRPr>
              </a:p>
            </p:txBody>
          </p:sp>
          <p:cxnSp>
            <p:nvCxnSpPr>
              <p:cNvPr id="81" name="Straight Connector 80"/>
              <p:cNvCxnSpPr/>
              <p:nvPr/>
            </p:nvCxnSpPr>
            <p:spPr>
              <a:xfrm>
                <a:off x="1736907" y="5092822"/>
                <a:ext cx="0" cy="1490991"/>
              </a:xfrm>
              <a:prstGeom prst="line">
                <a:avLst/>
              </a:prstGeom>
              <a:ln w="1270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2" name="Oval 81"/>
              <p:cNvSpPr/>
              <p:nvPr/>
            </p:nvSpPr>
            <p:spPr>
              <a:xfrm>
                <a:off x="1669135" y="6453073"/>
                <a:ext cx="144016" cy="405189"/>
              </a:xfrm>
              <a:prstGeom prst="ellipse">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spAutoFit/>
              </a:bodyPr>
              <a:lstStyle/>
              <a:p>
                <a:pPr algn="ctr" defTabSz="685800">
                  <a:buClrTx/>
                </a:pPr>
                <a:endParaRPr lang="en-US" sz="1050" kern="1200" dirty="0" err="1">
                  <a:solidFill>
                    <a:srgbClr val="313131"/>
                  </a:solidFill>
                  <a:latin typeface="Arial"/>
                </a:endParaRPr>
              </a:p>
            </p:txBody>
          </p:sp>
          <p:sp>
            <p:nvSpPr>
              <p:cNvPr id="83" name="Rectangle 82"/>
              <p:cNvSpPr/>
              <p:nvPr/>
            </p:nvSpPr>
            <p:spPr>
              <a:xfrm>
                <a:off x="1842174" y="5053379"/>
                <a:ext cx="1118462" cy="246221"/>
              </a:xfrm>
              <a:prstGeom prst="rect">
                <a:avLst/>
              </a:prstGeom>
            </p:spPr>
            <p:txBody>
              <a:bodyPr wrap="square" lIns="0" tIns="0" rIns="0" bIns="0">
                <a:spAutoFit/>
              </a:bodyPr>
              <a:lstStyle/>
              <a:p>
                <a:pPr defTabSz="685800">
                  <a:buClrTx/>
                </a:pPr>
                <a:r>
                  <a:rPr lang="en-US" sz="1200" b="1" kern="1200" dirty="0">
                    <a:solidFill>
                      <a:srgbClr val="FFFFFF"/>
                    </a:solidFill>
                    <a:ea typeface="+mn-ea"/>
                    <a:cs typeface="+mn-cs"/>
                  </a:rPr>
                  <a:t>$10M </a:t>
                </a:r>
                <a:r>
                  <a:rPr lang="en-US" sz="1050" kern="1200" dirty="0">
                    <a:solidFill>
                      <a:srgbClr val="FFFFFF"/>
                    </a:solidFill>
                    <a:ea typeface="+mn-ea"/>
                    <a:cs typeface="+mn-cs"/>
                  </a:rPr>
                  <a:t>Detail</a:t>
                </a:r>
              </a:p>
            </p:txBody>
          </p:sp>
        </p:grpSp>
        <p:sp>
          <p:nvSpPr>
            <p:cNvPr id="79" name="Rectangle 78"/>
            <p:cNvSpPr/>
            <p:nvPr/>
          </p:nvSpPr>
          <p:spPr>
            <a:xfrm>
              <a:off x="3306351" y="4959934"/>
              <a:ext cx="1201739" cy="307776"/>
            </a:xfrm>
            <a:prstGeom prst="rect">
              <a:avLst/>
            </a:prstGeom>
          </p:spPr>
          <p:txBody>
            <a:bodyPr wrap="square" lIns="0" tIns="0" rIns="0" bIns="0">
              <a:spAutoFit/>
            </a:bodyPr>
            <a:lstStyle/>
            <a:p>
              <a:pPr defTabSz="685800">
                <a:buClrTx/>
              </a:pPr>
              <a:r>
                <a:rPr lang="en-US" sz="750" kern="1200" dirty="0">
                  <a:solidFill>
                    <a:srgbClr val="FFFFFF"/>
                  </a:solidFill>
                  <a:ea typeface="+mn-ea"/>
                  <a:cs typeface="+mn-cs"/>
                </a:rPr>
                <a:t>This allows for</a:t>
              </a:r>
            </a:p>
            <a:p>
              <a:pPr defTabSz="685800">
                <a:buClrTx/>
              </a:pPr>
              <a:r>
                <a:rPr lang="en-US" sz="750" kern="1200" dirty="0">
                  <a:solidFill>
                    <a:srgbClr val="FFFFFF"/>
                  </a:solidFill>
                  <a:ea typeface="+mn-ea"/>
                  <a:cs typeface="+mn-cs"/>
                </a:rPr>
                <a:t>more detail</a:t>
              </a:r>
            </a:p>
          </p:txBody>
        </p:sp>
      </p:grpSp>
    </p:spTree>
    <p:extLst>
      <p:ext uri="{BB962C8B-B14F-4D97-AF65-F5344CB8AC3E}">
        <p14:creationId xmlns:p14="http://schemas.microsoft.com/office/powerpoint/2010/main" val="862622364"/>
      </p:ext>
    </p:extLst>
  </p:cSld>
  <p:clrMapOvr>
    <a:masterClrMapping/>
  </p:clrMapOvr>
  <p:transition>
    <p:fade/>
  </p:transition>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Appendix</a:t>
            </a:r>
            <a:br>
              <a:rPr lang="en-US" altLang="ja-JP" dirty="0"/>
            </a:br>
            <a:r>
              <a:rPr lang="en-US" altLang="ja-JP" dirty="0">
                <a:solidFill>
                  <a:srgbClr val="575757"/>
                </a:solidFill>
              </a:rPr>
              <a:t>Title styles</a:t>
            </a: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02" name="Group 101"/>
          <p:cNvGrpSpPr/>
          <p:nvPr/>
        </p:nvGrpSpPr>
        <p:grpSpPr>
          <a:xfrm>
            <a:off x="1421511" y="1457825"/>
            <a:ext cx="2914271" cy="404320"/>
            <a:chOff x="492455" y="1376363"/>
            <a:chExt cx="3885694" cy="539095"/>
          </a:xfrm>
        </p:grpSpPr>
        <p:grpSp>
          <p:nvGrpSpPr>
            <p:cNvPr id="103" name="Group 102"/>
            <p:cNvGrpSpPr/>
            <p:nvPr/>
          </p:nvGrpSpPr>
          <p:grpSpPr>
            <a:xfrm flipH="1">
              <a:off x="3937915" y="1546844"/>
              <a:ext cx="440234" cy="368612"/>
              <a:chOff x="393699" y="2284575"/>
              <a:chExt cx="440234" cy="368612"/>
            </a:xfrm>
          </p:grpSpPr>
          <p:sp>
            <p:nvSpPr>
              <p:cNvPr id="109" name="Chevron 10"/>
              <p:cNvSpPr/>
              <p:nvPr/>
            </p:nvSpPr>
            <p:spPr>
              <a:xfrm>
                <a:off x="393699" y="2284575"/>
                <a:ext cx="431597" cy="288146"/>
              </a:xfrm>
              <a:custGeom>
                <a:avLst/>
                <a:gdLst>
                  <a:gd name="connsiteX0" fmla="*/ 0 w 497434"/>
                  <a:gd name="connsiteY0" fmla="*/ 0 h 365760"/>
                  <a:gd name="connsiteX1" fmla="*/ 314554 w 497434"/>
                  <a:gd name="connsiteY1" fmla="*/ 0 h 365760"/>
                  <a:gd name="connsiteX2" fmla="*/ 497434 w 497434"/>
                  <a:gd name="connsiteY2" fmla="*/ 182880 h 365760"/>
                  <a:gd name="connsiteX3" fmla="*/ 314554 w 497434"/>
                  <a:gd name="connsiteY3" fmla="*/ 365760 h 365760"/>
                  <a:gd name="connsiteX4" fmla="*/ 0 w 497434"/>
                  <a:gd name="connsiteY4" fmla="*/ 365760 h 365760"/>
                  <a:gd name="connsiteX5" fmla="*/ 182880 w 497434"/>
                  <a:gd name="connsiteY5" fmla="*/ 182880 h 365760"/>
                  <a:gd name="connsiteX6" fmla="*/ 0 w 497434"/>
                  <a:gd name="connsiteY6" fmla="*/ 0 h 365760"/>
                  <a:gd name="connsiteX0" fmla="*/ 0 w 321869"/>
                  <a:gd name="connsiteY0" fmla="*/ 0 h 365760"/>
                  <a:gd name="connsiteX1" fmla="*/ 314554 w 321869"/>
                  <a:gd name="connsiteY1" fmla="*/ 0 h 365760"/>
                  <a:gd name="connsiteX2" fmla="*/ 321869 w 321869"/>
                  <a:gd name="connsiteY2" fmla="*/ 146304 h 365760"/>
                  <a:gd name="connsiteX3" fmla="*/ 314554 w 321869"/>
                  <a:gd name="connsiteY3" fmla="*/ 365760 h 365760"/>
                  <a:gd name="connsiteX4" fmla="*/ 0 w 321869"/>
                  <a:gd name="connsiteY4" fmla="*/ 365760 h 365760"/>
                  <a:gd name="connsiteX5" fmla="*/ 182880 w 321869"/>
                  <a:gd name="connsiteY5" fmla="*/ 182880 h 365760"/>
                  <a:gd name="connsiteX6" fmla="*/ 0 w 321869"/>
                  <a:gd name="connsiteY6" fmla="*/ 0 h 365760"/>
                  <a:gd name="connsiteX0" fmla="*/ 0 w 431597"/>
                  <a:gd name="connsiteY0" fmla="*/ 0 h 365760"/>
                  <a:gd name="connsiteX1" fmla="*/ 314554 w 431597"/>
                  <a:gd name="connsiteY1" fmla="*/ 0 h 365760"/>
                  <a:gd name="connsiteX2" fmla="*/ 321869 w 431597"/>
                  <a:gd name="connsiteY2" fmla="*/ 146304 h 365760"/>
                  <a:gd name="connsiteX3" fmla="*/ 431597 w 431597"/>
                  <a:gd name="connsiteY3" fmla="*/ 365760 h 365760"/>
                  <a:gd name="connsiteX4" fmla="*/ 0 w 431597"/>
                  <a:gd name="connsiteY4" fmla="*/ 365760 h 365760"/>
                  <a:gd name="connsiteX5" fmla="*/ 182880 w 431597"/>
                  <a:gd name="connsiteY5" fmla="*/ 182880 h 365760"/>
                  <a:gd name="connsiteX6" fmla="*/ 0 w 431597"/>
                  <a:gd name="connsiteY6" fmla="*/ 0 h 365760"/>
                  <a:gd name="connsiteX0" fmla="*/ 0 w 431597"/>
                  <a:gd name="connsiteY0" fmla="*/ 0 h 365760"/>
                  <a:gd name="connsiteX1" fmla="*/ 314554 w 431597"/>
                  <a:gd name="connsiteY1" fmla="*/ 0 h 365760"/>
                  <a:gd name="connsiteX2" fmla="*/ 321869 w 431597"/>
                  <a:gd name="connsiteY2" fmla="*/ 263348 h 365760"/>
                  <a:gd name="connsiteX3" fmla="*/ 431597 w 431597"/>
                  <a:gd name="connsiteY3" fmla="*/ 365760 h 365760"/>
                  <a:gd name="connsiteX4" fmla="*/ 0 w 431597"/>
                  <a:gd name="connsiteY4" fmla="*/ 365760 h 365760"/>
                  <a:gd name="connsiteX5" fmla="*/ 182880 w 431597"/>
                  <a:gd name="connsiteY5" fmla="*/ 182880 h 365760"/>
                  <a:gd name="connsiteX6" fmla="*/ 0 w 431597"/>
                  <a:gd name="connsiteY6" fmla="*/ 0 h 365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1597" h="365760">
                    <a:moveTo>
                      <a:pt x="0" y="0"/>
                    </a:moveTo>
                    <a:lnTo>
                      <a:pt x="314554" y="0"/>
                    </a:lnTo>
                    <a:lnTo>
                      <a:pt x="321869" y="263348"/>
                    </a:lnTo>
                    <a:lnTo>
                      <a:pt x="431597" y="365760"/>
                    </a:lnTo>
                    <a:lnTo>
                      <a:pt x="0" y="365760"/>
                    </a:lnTo>
                    <a:lnTo>
                      <a:pt x="182880" y="182880"/>
                    </a:lnTo>
                    <a:lnTo>
                      <a:pt x="0" y="0"/>
                    </a:lnTo>
                    <a:close/>
                  </a:path>
                </a:pathLst>
              </a:custGeom>
              <a:solidFill>
                <a:srgbClr val="002776"/>
              </a:solidFill>
              <a:ln w="12700" cap="flat" cmpd="sng" algn="ctr">
                <a:noFill/>
                <a:prstDash val="solid"/>
              </a:ln>
              <a:effectLst/>
            </p:spPr>
            <p:txBody>
              <a:bodyPr lIns="27000" tIns="27000" rIns="27000" bIns="27000" rtlCol="0" anchor="ctr">
                <a:spAutoFit/>
              </a:bodyPr>
              <a:lstStyle/>
              <a:p>
                <a:pPr algn="ctr" defTabSz="685800">
                  <a:buClrTx/>
                  <a:defRPr/>
                </a:pPr>
                <a:endParaRPr lang="en-US" sz="1050" dirty="0" err="1">
                  <a:solidFill>
                    <a:srgbClr val="002776"/>
                  </a:solidFill>
                  <a:ea typeface="+mn-ea"/>
                  <a:cs typeface="+mn-cs"/>
                </a:endParaRPr>
              </a:p>
            </p:txBody>
          </p:sp>
          <p:sp>
            <p:nvSpPr>
              <p:cNvPr id="110" name="Freeform 109"/>
              <p:cNvSpPr/>
              <p:nvPr/>
            </p:nvSpPr>
            <p:spPr>
              <a:xfrm>
                <a:off x="716891" y="2365040"/>
                <a:ext cx="117042" cy="288147"/>
              </a:xfrm>
              <a:custGeom>
                <a:avLst/>
                <a:gdLst>
                  <a:gd name="connsiteX0" fmla="*/ 109728 w 117043"/>
                  <a:gd name="connsiteY0" fmla="*/ 190195 h 190195"/>
                  <a:gd name="connsiteX1" fmla="*/ 117043 w 117043"/>
                  <a:gd name="connsiteY1" fmla="*/ 0 h 190195"/>
                  <a:gd name="connsiteX2" fmla="*/ 0 w 117043"/>
                  <a:gd name="connsiteY2" fmla="*/ 95098 h 190195"/>
                  <a:gd name="connsiteX3" fmla="*/ 109728 w 117043"/>
                  <a:gd name="connsiteY3" fmla="*/ 190195 h 190195"/>
                </a:gdLst>
                <a:ahLst/>
                <a:cxnLst>
                  <a:cxn ang="0">
                    <a:pos x="connsiteX0" y="connsiteY0"/>
                  </a:cxn>
                  <a:cxn ang="0">
                    <a:pos x="connsiteX1" y="connsiteY1"/>
                  </a:cxn>
                  <a:cxn ang="0">
                    <a:pos x="connsiteX2" y="connsiteY2"/>
                  </a:cxn>
                  <a:cxn ang="0">
                    <a:pos x="connsiteX3" y="connsiteY3"/>
                  </a:cxn>
                </a:cxnLst>
                <a:rect l="l" t="t" r="r" b="b"/>
                <a:pathLst>
                  <a:path w="117043" h="190195">
                    <a:moveTo>
                      <a:pt x="109728" y="190195"/>
                    </a:moveTo>
                    <a:lnTo>
                      <a:pt x="117043" y="0"/>
                    </a:lnTo>
                    <a:lnTo>
                      <a:pt x="0" y="95098"/>
                    </a:lnTo>
                    <a:lnTo>
                      <a:pt x="109728" y="190195"/>
                    </a:lnTo>
                    <a:close/>
                  </a:path>
                </a:pathLst>
              </a:custGeom>
              <a:solidFill>
                <a:srgbClr val="00A1DE"/>
              </a:solidFill>
              <a:ln w="12700" cap="flat" cmpd="sng" algn="ctr">
                <a:solidFill>
                  <a:srgbClr val="00A1DE"/>
                </a:solidFill>
                <a:prstDash val="solid"/>
              </a:ln>
              <a:effectLst/>
            </p:spPr>
            <p:txBody>
              <a:bodyPr lIns="27000" tIns="27000" rIns="27000" bIns="27000" rtlCol="0" anchor="ctr">
                <a:spAutoFit/>
              </a:bodyPr>
              <a:lstStyle/>
              <a:p>
                <a:pPr algn="ctr" defTabSz="685800">
                  <a:buClrTx/>
                  <a:defRPr/>
                </a:pPr>
                <a:endParaRPr lang="en-US" sz="1050" dirty="0" err="1">
                  <a:solidFill>
                    <a:srgbClr val="002776"/>
                  </a:solidFill>
                  <a:ea typeface="+mn-ea"/>
                  <a:cs typeface="+mn-cs"/>
                </a:endParaRPr>
              </a:p>
            </p:txBody>
          </p:sp>
        </p:grpSp>
        <p:grpSp>
          <p:nvGrpSpPr>
            <p:cNvPr id="104" name="Group 103"/>
            <p:cNvGrpSpPr/>
            <p:nvPr/>
          </p:nvGrpSpPr>
          <p:grpSpPr>
            <a:xfrm>
              <a:off x="492455" y="1546842"/>
              <a:ext cx="440234" cy="368616"/>
              <a:chOff x="393699" y="2284573"/>
              <a:chExt cx="440234" cy="368616"/>
            </a:xfrm>
          </p:grpSpPr>
          <p:sp>
            <p:nvSpPr>
              <p:cNvPr id="107" name="Chevron 10"/>
              <p:cNvSpPr/>
              <p:nvPr/>
            </p:nvSpPr>
            <p:spPr>
              <a:xfrm>
                <a:off x="393699" y="2284573"/>
                <a:ext cx="431597" cy="288148"/>
              </a:xfrm>
              <a:custGeom>
                <a:avLst/>
                <a:gdLst>
                  <a:gd name="connsiteX0" fmla="*/ 0 w 497434"/>
                  <a:gd name="connsiteY0" fmla="*/ 0 h 365760"/>
                  <a:gd name="connsiteX1" fmla="*/ 314554 w 497434"/>
                  <a:gd name="connsiteY1" fmla="*/ 0 h 365760"/>
                  <a:gd name="connsiteX2" fmla="*/ 497434 w 497434"/>
                  <a:gd name="connsiteY2" fmla="*/ 182880 h 365760"/>
                  <a:gd name="connsiteX3" fmla="*/ 314554 w 497434"/>
                  <a:gd name="connsiteY3" fmla="*/ 365760 h 365760"/>
                  <a:gd name="connsiteX4" fmla="*/ 0 w 497434"/>
                  <a:gd name="connsiteY4" fmla="*/ 365760 h 365760"/>
                  <a:gd name="connsiteX5" fmla="*/ 182880 w 497434"/>
                  <a:gd name="connsiteY5" fmla="*/ 182880 h 365760"/>
                  <a:gd name="connsiteX6" fmla="*/ 0 w 497434"/>
                  <a:gd name="connsiteY6" fmla="*/ 0 h 365760"/>
                  <a:gd name="connsiteX0" fmla="*/ 0 w 321869"/>
                  <a:gd name="connsiteY0" fmla="*/ 0 h 365760"/>
                  <a:gd name="connsiteX1" fmla="*/ 314554 w 321869"/>
                  <a:gd name="connsiteY1" fmla="*/ 0 h 365760"/>
                  <a:gd name="connsiteX2" fmla="*/ 321869 w 321869"/>
                  <a:gd name="connsiteY2" fmla="*/ 146304 h 365760"/>
                  <a:gd name="connsiteX3" fmla="*/ 314554 w 321869"/>
                  <a:gd name="connsiteY3" fmla="*/ 365760 h 365760"/>
                  <a:gd name="connsiteX4" fmla="*/ 0 w 321869"/>
                  <a:gd name="connsiteY4" fmla="*/ 365760 h 365760"/>
                  <a:gd name="connsiteX5" fmla="*/ 182880 w 321869"/>
                  <a:gd name="connsiteY5" fmla="*/ 182880 h 365760"/>
                  <a:gd name="connsiteX6" fmla="*/ 0 w 321869"/>
                  <a:gd name="connsiteY6" fmla="*/ 0 h 365760"/>
                  <a:gd name="connsiteX0" fmla="*/ 0 w 431597"/>
                  <a:gd name="connsiteY0" fmla="*/ 0 h 365760"/>
                  <a:gd name="connsiteX1" fmla="*/ 314554 w 431597"/>
                  <a:gd name="connsiteY1" fmla="*/ 0 h 365760"/>
                  <a:gd name="connsiteX2" fmla="*/ 321869 w 431597"/>
                  <a:gd name="connsiteY2" fmla="*/ 146304 h 365760"/>
                  <a:gd name="connsiteX3" fmla="*/ 431597 w 431597"/>
                  <a:gd name="connsiteY3" fmla="*/ 365760 h 365760"/>
                  <a:gd name="connsiteX4" fmla="*/ 0 w 431597"/>
                  <a:gd name="connsiteY4" fmla="*/ 365760 h 365760"/>
                  <a:gd name="connsiteX5" fmla="*/ 182880 w 431597"/>
                  <a:gd name="connsiteY5" fmla="*/ 182880 h 365760"/>
                  <a:gd name="connsiteX6" fmla="*/ 0 w 431597"/>
                  <a:gd name="connsiteY6" fmla="*/ 0 h 365760"/>
                  <a:gd name="connsiteX0" fmla="*/ 0 w 431597"/>
                  <a:gd name="connsiteY0" fmla="*/ 0 h 365760"/>
                  <a:gd name="connsiteX1" fmla="*/ 314554 w 431597"/>
                  <a:gd name="connsiteY1" fmla="*/ 0 h 365760"/>
                  <a:gd name="connsiteX2" fmla="*/ 321869 w 431597"/>
                  <a:gd name="connsiteY2" fmla="*/ 263348 h 365760"/>
                  <a:gd name="connsiteX3" fmla="*/ 431597 w 431597"/>
                  <a:gd name="connsiteY3" fmla="*/ 365760 h 365760"/>
                  <a:gd name="connsiteX4" fmla="*/ 0 w 431597"/>
                  <a:gd name="connsiteY4" fmla="*/ 365760 h 365760"/>
                  <a:gd name="connsiteX5" fmla="*/ 182880 w 431597"/>
                  <a:gd name="connsiteY5" fmla="*/ 182880 h 365760"/>
                  <a:gd name="connsiteX6" fmla="*/ 0 w 431597"/>
                  <a:gd name="connsiteY6" fmla="*/ 0 h 365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1597" h="365760">
                    <a:moveTo>
                      <a:pt x="0" y="0"/>
                    </a:moveTo>
                    <a:lnTo>
                      <a:pt x="314554" y="0"/>
                    </a:lnTo>
                    <a:lnTo>
                      <a:pt x="321869" y="263348"/>
                    </a:lnTo>
                    <a:lnTo>
                      <a:pt x="431597" y="365760"/>
                    </a:lnTo>
                    <a:lnTo>
                      <a:pt x="0" y="365760"/>
                    </a:lnTo>
                    <a:lnTo>
                      <a:pt x="182880" y="182880"/>
                    </a:lnTo>
                    <a:lnTo>
                      <a:pt x="0" y="0"/>
                    </a:lnTo>
                    <a:close/>
                  </a:path>
                </a:pathLst>
              </a:custGeom>
              <a:solidFill>
                <a:srgbClr val="002776"/>
              </a:solidFill>
              <a:ln w="12700" cap="flat" cmpd="sng" algn="ctr">
                <a:noFill/>
                <a:prstDash val="solid"/>
              </a:ln>
              <a:effectLst/>
            </p:spPr>
            <p:txBody>
              <a:bodyPr lIns="27000" tIns="27000" rIns="27000" bIns="27000" rtlCol="0" anchor="ctr">
                <a:spAutoFit/>
              </a:bodyPr>
              <a:lstStyle/>
              <a:p>
                <a:pPr algn="ctr" defTabSz="685800">
                  <a:buClrTx/>
                  <a:defRPr/>
                </a:pPr>
                <a:endParaRPr lang="en-US" sz="1050" dirty="0" err="1">
                  <a:solidFill>
                    <a:srgbClr val="002776"/>
                  </a:solidFill>
                  <a:ea typeface="+mn-ea"/>
                  <a:cs typeface="+mn-cs"/>
                </a:endParaRPr>
              </a:p>
            </p:txBody>
          </p:sp>
          <p:sp>
            <p:nvSpPr>
              <p:cNvPr id="108" name="Freeform 107"/>
              <p:cNvSpPr/>
              <p:nvPr/>
            </p:nvSpPr>
            <p:spPr>
              <a:xfrm>
                <a:off x="716891" y="2365042"/>
                <a:ext cx="117042" cy="288147"/>
              </a:xfrm>
              <a:custGeom>
                <a:avLst/>
                <a:gdLst>
                  <a:gd name="connsiteX0" fmla="*/ 109728 w 117043"/>
                  <a:gd name="connsiteY0" fmla="*/ 190195 h 190195"/>
                  <a:gd name="connsiteX1" fmla="*/ 117043 w 117043"/>
                  <a:gd name="connsiteY1" fmla="*/ 0 h 190195"/>
                  <a:gd name="connsiteX2" fmla="*/ 0 w 117043"/>
                  <a:gd name="connsiteY2" fmla="*/ 95098 h 190195"/>
                  <a:gd name="connsiteX3" fmla="*/ 109728 w 117043"/>
                  <a:gd name="connsiteY3" fmla="*/ 190195 h 190195"/>
                </a:gdLst>
                <a:ahLst/>
                <a:cxnLst>
                  <a:cxn ang="0">
                    <a:pos x="connsiteX0" y="connsiteY0"/>
                  </a:cxn>
                  <a:cxn ang="0">
                    <a:pos x="connsiteX1" y="connsiteY1"/>
                  </a:cxn>
                  <a:cxn ang="0">
                    <a:pos x="connsiteX2" y="connsiteY2"/>
                  </a:cxn>
                  <a:cxn ang="0">
                    <a:pos x="connsiteX3" y="connsiteY3"/>
                  </a:cxn>
                </a:cxnLst>
                <a:rect l="l" t="t" r="r" b="b"/>
                <a:pathLst>
                  <a:path w="117043" h="190195">
                    <a:moveTo>
                      <a:pt x="109728" y="190195"/>
                    </a:moveTo>
                    <a:lnTo>
                      <a:pt x="117043" y="0"/>
                    </a:lnTo>
                    <a:lnTo>
                      <a:pt x="0" y="95098"/>
                    </a:lnTo>
                    <a:lnTo>
                      <a:pt x="109728" y="190195"/>
                    </a:lnTo>
                    <a:close/>
                  </a:path>
                </a:pathLst>
              </a:custGeom>
              <a:solidFill>
                <a:srgbClr val="00A1DE"/>
              </a:solidFill>
              <a:ln w="12700" cap="flat" cmpd="sng" algn="ctr">
                <a:solidFill>
                  <a:srgbClr val="00A1DE"/>
                </a:solidFill>
                <a:prstDash val="solid"/>
              </a:ln>
              <a:effectLst/>
            </p:spPr>
            <p:txBody>
              <a:bodyPr lIns="27000" tIns="27000" rIns="27000" bIns="27000" rtlCol="0" anchor="ctr">
                <a:spAutoFit/>
              </a:bodyPr>
              <a:lstStyle/>
              <a:p>
                <a:pPr algn="ctr" defTabSz="685800">
                  <a:buClrTx/>
                  <a:defRPr/>
                </a:pPr>
                <a:endParaRPr lang="en-US" sz="1050" dirty="0" err="1">
                  <a:solidFill>
                    <a:srgbClr val="002776"/>
                  </a:solidFill>
                  <a:ea typeface="+mn-ea"/>
                  <a:cs typeface="+mn-cs"/>
                </a:endParaRPr>
              </a:p>
            </p:txBody>
          </p:sp>
        </p:grpSp>
        <p:sp>
          <p:nvSpPr>
            <p:cNvPr id="105" name="Rectangle 104"/>
            <p:cNvSpPr/>
            <p:nvPr/>
          </p:nvSpPr>
          <p:spPr>
            <a:xfrm>
              <a:off x="805688" y="1376363"/>
              <a:ext cx="3257906" cy="395022"/>
            </a:xfrm>
            <a:prstGeom prst="rect">
              <a:avLst/>
            </a:prstGeom>
            <a:solidFill>
              <a:srgbClr val="002776"/>
            </a:solidFill>
            <a:ln w="6350" cap="flat" cmpd="sng" algn="ctr">
              <a:solidFill>
                <a:srgbClr val="002776">
                  <a:lumMod val="20000"/>
                  <a:lumOff val="80000"/>
                </a:srgbClr>
              </a:solidFill>
              <a:prstDash val="solid"/>
            </a:ln>
            <a:effectLst/>
          </p:spPr>
          <p:txBody>
            <a:bodyPr lIns="27000" tIns="27000" rIns="27000" bIns="27000" rtlCol="0" anchor="ctr">
              <a:noAutofit/>
            </a:bodyPr>
            <a:lstStyle/>
            <a:p>
              <a:pPr algn="ctr" defTabSz="685800">
                <a:buClrTx/>
                <a:defRPr/>
              </a:pPr>
              <a:endParaRPr lang="en-US" sz="1050" dirty="0" err="1">
                <a:solidFill>
                  <a:srgbClr val="002776"/>
                </a:solidFill>
                <a:ea typeface="+mn-ea"/>
                <a:cs typeface="+mn-cs"/>
              </a:endParaRPr>
            </a:p>
          </p:txBody>
        </p:sp>
        <p:sp>
          <p:nvSpPr>
            <p:cNvPr id="106" name="TextBox 105"/>
            <p:cNvSpPr txBox="1"/>
            <p:nvPr/>
          </p:nvSpPr>
          <p:spPr>
            <a:xfrm>
              <a:off x="914400" y="1423591"/>
              <a:ext cx="3060091" cy="288148"/>
            </a:xfrm>
            <a:prstGeom prst="rect">
              <a:avLst/>
            </a:prstGeom>
            <a:noFill/>
          </p:spPr>
          <p:txBody>
            <a:bodyPr wrap="square" lIns="27000" tIns="27000" rIns="27000" bIns="27000" rtlCol="0">
              <a:spAutoFit/>
            </a:bodyPr>
            <a:lstStyle/>
            <a:p>
              <a:pPr algn="ctr" defTabSz="685800">
                <a:buClrTx/>
                <a:defRPr/>
              </a:pPr>
              <a:r>
                <a:rPr lang="en-US" sz="1050" b="1" dirty="0">
                  <a:solidFill>
                    <a:srgbClr val="FFFFFF"/>
                  </a:solidFill>
                  <a:ea typeface="+mn-ea"/>
                  <a:cs typeface="+mn-cs"/>
                </a:rPr>
                <a:t>This is a ribbon heading style</a:t>
              </a:r>
            </a:p>
          </p:txBody>
        </p:sp>
      </p:grpSp>
      <p:grpSp>
        <p:nvGrpSpPr>
          <p:cNvPr id="111" name="Group 110"/>
          <p:cNvGrpSpPr/>
          <p:nvPr/>
        </p:nvGrpSpPr>
        <p:grpSpPr>
          <a:xfrm>
            <a:off x="1664055" y="2370124"/>
            <a:ext cx="2679346" cy="404319"/>
            <a:chOff x="805688" y="2310967"/>
            <a:chExt cx="3572461" cy="539093"/>
          </a:xfrm>
        </p:grpSpPr>
        <p:grpSp>
          <p:nvGrpSpPr>
            <p:cNvPr id="112" name="Group 111"/>
            <p:cNvGrpSpPr/>
            <p:nvPr/>
          </p:nvGrpSpPr>
          <p:grpSpPr>
            <a:xfrm flipH="1">
              <a:off x="3937915" y="2481448"/>
              <a:ext cx="440234" cy="368612"/>
              <a:chOff x="393699" y="2284575"/>
              <a:chExt cx="440234" cy="368612"/>
            </a:xfrm>
          </p:grpSpPr>
          <p:sp>
            <p:nvSpPr>
              <p:cNvPr id="115" name="Chevron 10"/>
              <p:cNvSpPr/>
              <p:nvPr/>
            </p:nvSpPr>
            <p:spPr>
              <a:xfrm>
                <a:off x="393699" y="2284575"/>
                <a:ext cx="431597" cy="288146"/>
              </a:xfrm>
              <a:custGeom>
                <a:avLst/>
                <a:gdLst>
                  <a:gd name="connsiteX0" fmla="*/ 0 w 497434"/>
                  <a:gd name="connsiteY0" fmla="*/ 0 h 365760"/>
                  <a:gd name="connsiteX1" fmla="*/ 314554 w 497434"/>
                  <a:gd name="connsiteY1" fmla="*/ 0 h 365760"/>
                  <a:gd name="connsiteX2" fmla="*/ 497434 w 497434"/>
                  <a:gd name="connsiteY2" fmla="*/ 182880 h 365760"/>
                  <a:gd name="connsiteX3" fmla="*/ 314554 w 497434"/>
                  <a:gd name="connsiteY3" fmla="*/ 365760 h 365760"/>
                  <a:gd name="connsiteX4" fmla="*/ 0 w 497434"/>
                  <a:gd name="connsiteY4" fmla="*/ 365760 h 365760"/>
                  <a:gd name="connsiteX5" fmla="*/ 182880 w 497434"/>
                  <a:gd name="connsiteY5" fmla="*/ 182880 h 365760"/>
                  <a:gd name="connsiteX6" fmla="*/ 0 w 497434"/>
                  <a:gd name="connsiteY6" fmla="*/ 0 h 365760"/>
                  <a:gd name="connsiteX0" fmla="*/ 0 w 321869"/>
                  <a:gd name="connsiteY0" fmla="*/ 0 h 365760"/>
                  <a:gd name="connsiteX1" fmla="*/ 314554 w 321869"/>
                  <a:gd name="connsiteY1" fmla="*/ 0 h 365760"/>
                  <a:gd name="connsiteX2" fmla="*/ 321869 w 321869"/>
                  <a:gd name="connsiteY2" fmla="*/ 146304 h 365760"/>
                  <a:gd name="connsiteX3" fmla="*/ 314554 w 321869"/>
                  <a:gd name="connsiteY3" fmla="*/ 365760 h 365760"/>
                  <a:gd name="connsiteX4" fmla="*/ 0 w 321869"/>
                  <a:gd name="connsiteY4" fmla="*/ 365760 h 365760"/>
                  <a:gd name="connsiteX5" fmla="*/ 182880 w 321869"/>
                  <a:gd name="connsiteY5" fmla="*/ 182880 h 365760"/>
                  <a:gd name="connsiteX6" fmla="*/ 0 w 321869"/>
                  <a:gd name="connsiteY6" fmla="*/ 0 h 365760"/>
                  <a:gd name="connsiteX0" fmla="*/ 0 w 431597"/>
                  <a:gd name="connsiteY0" fmla="*/ 0 h 365760"/>
                  <a:gd name="connsiteX1" fmla="*/ 314554 w 431597"/>
                  <a:gd name="connsiteY1" fmla="*/ 0 h 365760"/>
                  <a:gd name="connsiteX2" fmla="*/ 321869 w 431597"/>
                  <a:gd name="connsiteY2" fmla="*/ 146304 h 365760"/>
                  <a:gd name="connsiteX3" fmla="*/ 431597 w 431597"/>
                  <a:gd name="connsiteY3" fmla="*/ 365760 h 365760"/>
                  <a:gd name="connsiteX4" fmla="*/ 0 w 431597"/>
                  <a:gd name="connsiteY4" fmla="*/ 365760 h 365760"/>
                  <a:gd name="connsiteX5" fmla="*/ 182880 w 431597"/>
                  <a:gd name="connsiteY5" fmla="*/ 182880 h 365760"/>
                  <a:gd name="connsiteX6" fmla="*/ 0 w 431597"/>
                  <a:gd name="connsiteY6" fmla="*/ 0 h 365760"/>
                  <a:gd name="connsiteX0" fmla="*/ 0 w 431597"/>
                  <a:gd name="connsiteY0" fmla="*/ 0 h 365760"/>
                  <a:gd name="connsiteX1" fmla="*/ 314554 w 431597"/>
                  <a:gd name="connsiteY1" fmla="*/ 0 h 365760"/>
                  <a:gd name="connsiteX2" fmla="*/ 321869 w 431597"/>
                  <a:gd name="connsiteY2" fmla="*/ 263348 h 365760"/>
                  <a:gd name="connsiteX3" fmla="*/ 431597 w 431597"/>
                  <a:gd name="connsiteY3" fmla="*/ 365760 h 365760"/>
                  <a:gd name="connsiteX4" fmla="*/ 0 w 431597"/>
                  <a:gd name="connsiteY4" fmla="*/ 365760 h 365760"/>
                  <a:gd name="connsiteX5" fmla="*/ 182880 w 431597"/>
                  <a:gd name="connsiteY5" fmla="*/ 182880 h 365760"/>
                  <a:gd name="connsiteX6" fmla="*/ 0 w 431597"/>
                  <a:gd name="connsiteY6" fmla="*/ 0 h 365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1597" h="365760">
                    <a:moveTo>
                      <a:pt x="0" y="0"/>
                    </a:moveTo>
                    <a:lnTo>
                      <a:pt x="314554" y="0"/>
                    </a:lnTo>
                    <a:lnTo>
                      <a:pt x="321869" y="263348"/>
                    </a:lnTo>
                    <a:lnTo>
                      <a:pt x="431597" y="365760"/>
                    </a:lnTo>
                    <a:lnTo>
                      <a:pt x="0" y="365760"/>
                    </a:lnTo>
                    <a:lnTo>
                      <a:pt x="182880" y="182880"/>
                    </a:lnTo>
                    <a:lnTo>
                      <a:pt x="0" y="0"/>
                    </a:lnTo>
                    <a:close/>
                  </a:path>
                </a:pathLst>
              </a:custGeom>
              <a:solidFill>
                <a:srgbClr val="B4B4B4"/>
              </a:solidFill>
              <a:ln w="12700" cap="flat" cmpd="sng" algn="ctr">
                <a:noFill/>
                <a:prstDash val="solid"/>
              </a:ln>
              <a:effectLst/>
            </p:spPr>
            <p:txBody>
              <a:bodyPr lIns="27000" tIns="27000" rIns="27000" bIns="27000" rtlCol="0" anchor="ctr">
                <a:spAutoFit/>
              </a:bodyPr>
              <a:lstStyle/>
              <a:p>
                <a:pPr algn="ctr" defTabSz="685800">
                  <a:buClrTx/>
                  <a:defRPr/>
                </a:pPr>
                <a:endParaRPr lang="en-US" sz="1050" dirty="0" err="1">
                  <a:solidFill>
                    <a:srgbClr val="002776"/>
                  </a:solidFill>
                  <a:ea typeface="+mn-ea"/>
                  <a:cs typeface="+mn-cs"/>
                </a:endParaRPr>
              </a:p>
            </p:txBody>
          </p:sp>
          <p:sp>
            <p:nvSpPr>
              <p:cNvPr id="116" name="Freeform 115"/>
              <p:cNvSpPr/>
              <p:nvPr/>
            </p:nvSpPr>
            <p:spPr>
              <a:xfrm>
                <a:off x="716891" y="2365040"/>
                <a:ext cx="117042" cy="288147"/>
              </a:xfrm>
              <a:custGeom>
                <a:avLst/>
                <a:gdLst>
                  <a:gd name="connsiteX0" fmla="*/ 109728 w 117043"/>
                  <a:gd name="connsiteY0" fmla="*/ 190195 h 190195"/>
                  <a:gd name="connsiteX1" fmla="*/ 117043 w 117043"/>
                  <a:gd name="connsiteY1" fmla="*/ 0 h 190195"/>
                  <a:gd name="connsiteX2" fmla="*/ 0 w 117043"/>
                  <a:gd name="connsiteY2" fmla="*/ 95098 h 190195"/>
                  <a:gd name="connsiteX3" fmla="*/ 109728 w 117043"/>
                  <a:gd name="connsiteY3" fmla="*/ 190195 h 190195"/>
                </a:gdLst>
                <a:ahLst/>
                <a:cxnLst>
                  <a:cxn ang="0">
                    <a:pos x="connsiteX0" y="connsiteY0"/>
                  </a:cxn>
                  <a:cxn ang="0">
                    <a:pos x="connsiteX1" y="connsiteY1"/>
                  </a:cxn>
                  <a:cxn ang="0">
                    <a:pos x="connsiteX2" y="connsiteY2"/>
                  </a:cxn>
                  <a:cxn ang="0">
                    <a:pos x="connsiteX3" y="connsiteY3"/>
                  </a:cxn>
                </a:cxnLst>
                <a:rect l="l" t="t" r="r" b="b"/>
                <a:pathLst>
                  <a:path w="117043" h="190195">
                    <a:moveTo>
                      <a:pt x="109728" y="190195"/>
                    </a:moveTo>
                    <a:lnTo>
                      <a:pt x="117043" y="0"/>
                    </a:lnTo>
                    <a:lnTo>
                      <a:pt x="0" y="95098"/>
                    </a:lnTo>
                    <a:lnTo>
                      <a:pt x="109728" y="190195"/>
                    </a:lnTo>
                    <a:close/>
                  </a:path>
                </a:pathLst>
              </a:custGeom>
              <a:solidFill>
                <a:srgbClr val="575757"/>
              </a:solidFill>
              <a:ln w="12700" cap="flat" cmpd="sng" algn="ctr">
                <a:solidFill>
                  <a:srgbClr val="575757"/>
                </a:solidFill>
                <a:prstDash val="solid"/>
              </a:ln>
              <a:effectLst/>
            </p:spPr>
            <p:txBody>
              <a:bodyPr lIns="27000" tIns="27000" rIns="27000" bIns="27000" rtlCol="0" anchor="ctr">
                <a:spAutoFit/>
              </a:bodyPr>
              <a:lstStyle/>
              <a:p>
                <a:pPr algn="ctr" defTabSz="685800">
                  <a:buClrTx/>
                  <a:defRPr/>
                </a:pPr>
                <a:endParaRPr lang="en-US" sz="1050" dirty="0" err="1">
                  <a:solidFill>
                    <a:srgbClr val="002776"/>
                  </a:solidFill>
                  <a:ea typeface="+mn-ea"/>
                  <a:cs typeface="+mn-cs"/>
                </a:endParaRPr>
              </a:p>
            </p:txBody>
          </p:sp>
        </p:grpSp>
        <p:sp>
          <p:nvSpPr>
            <p:cNvPr id="113" name="Rectangle 112"/>
            <p:cNvSpPr/>
            <p:nvPr/>
          </p:nvSpPr>
          <p:spPr>
            <a:xfrm>
              <a:off x="805688" y="2310967"/>
              <a:ext cx="3257906" cy="395022"/>
            </a:xfrm>
            <a:prstGeom prst="rect">
              <a:avLst/>
            </a:prstGeom>
            <a:solidFill>
              <a:srgbClr val="B4B4B4"/>
            </a:solidFill>
            <a:ln w="6350" cap="flat" cmpd="sng" algn="ctr">
              <a:solidFill>
                <a:srgbClr val="C9DD03">
                  <a:lumMod val="20000"/>
                  <a:lumOff val="80000"/>
                </a:srgbClr>
              </a:solidFill>
              <a:prstDash val="solid"/>
            </a:ln>
            <a:effectLst/>
          </p:spPr>
          <p:txBody>
            <a:bodyPr lIns="27000" tIns="27000" rIns="27000" bIns="27000" rtlCol="0" anchor="ctr">
              <a:noAutofit/>
            </a:bodyPr>
            <a:lstStyle/>
            <a:p>
              <a:pPr algn="ctr" defTabSz="685800">
                <a:buClrTx/>
                <a:defRPr/>
              </a:pPr>
              <a:endParaRPr lang="en-US" sz="1050" dirty="0" err="1">
                <a:solidFill>
                  <a:srgbClr val="002776"/>
                </a:solidFill>
                <a:ea typeface="+mn-ea"/>
                <a:cs typeface="+mn-cs"/>
              </a:endParaRPr>
            </a:p>
          </p:txBody>
        </p:sp>
        <p:sp>
          <p:nvSpPr>
            <p:cNvPr id="114" name="TextBox 113"/>
            <p:cNvSpPr txBox="1"/>
            <p:nvPr/>
          </p:nvSpPr>
          <p:spPr>
            <a:xfrm>
              <a:off x="914400" y="2358195"/>
              <a:ext cx="3060090" cy="288147"/>
            </a:xfrm>
            <a:prstGeom prst="rect">
              <a:avLst/>
            </a:prstGeom>
            <a:noFill/>
          </p:spPr>
          <p:txBody>
            <a:bodyPr wrap="square" lIns="27000" tIns="27000" rIns="27000" bIns="27000" rtlCol="0">
              <a:spAutoFit/>
            </a:bodyPr>
            <a:lstStyle/>
            <a:p>
              <a:pPr algn="ctr" defTabSz="685800">
                <a:buClrTx/>
                <a:defRPr/>
              </a:pPr>
              <a:r>
                <a:rPr lang="en-US" sz="1050" b="1" dirty="0">
                  <a:solidFill>
                    <a:srgbClr val="FFFFFF"/>
                  </a:solidFill>
                  <a:ea typeface="+mn-ea"/>
                  <a:cs typeface="+mn-cs"/>
                </a:rPr>
                <a:t>This is a half ribbon heading</a:t>
              </a:r>
            </a:p>
          </p:txBody>
        </p:sp>
      </p:grpSp>
      <p:grpSp>
        <p:nvGrpSpPr>
          <p:cNvPr id="117" name="Group 116"/>
          <p:cNvGrpSpPr/>
          <p:nvPr/>
        </p:nvGrpSpPr>
        <p:grpSpPr>
          <a:xfrm>
            <a:off x="5261134" y="2578660"/>
            <a:ext cx="1370838" cy="351130"/>
            <a:chOff x="396037" y="3869741"/>
            <a:chExt cx="1827784" cy="468173"/>
          </a:xfrm>
          <a:solidFill>
            <a:srgbClr val="DCDCDC"/>
          </a:solidFill>
        </p:grpSpPr>
        <p:sp>
          <p:nvSpPr>
            <p:cNvPr id="118" name="Rectangle 64"/>
            <p:cNvSpPr/>
            <p:nvPr/>
          </p:nvSpPr>
          <p:spPr>
            <a:xfrm>
              <a:off x="396037" y="3869741"/>
              <a:ext cx="1827784" cy="468173"/>
            </a:xfrm>
            <a:custGeom>
              <a:avLst/>
              <a:gdLst>
                <a:gd name="connsiteX0" fmla="*/ 0 w 1827784"/>
                <a:gd name="connsiteY0" fmla="*/ 0 h 463919"/>
                <a:gd name="connsiteX1" fmla="*/ 1827784 w 1827784"/>
                <a:gd name="connsiteY1" fmla="*/ 0 h 463919"/>
                <a:gd name="connsiteX2" fmla="*/ 1827784 w 1827784"/>
                <a:gd name="connsiteY2" fmla="*/ 463919 h 463919"/>
                <a:gd name="connsiteX3" fmla="*/ 0 w 1827784"/>
                <a:gd name="connsiteY3" fmla="*/ 463919 h 463919"/>
                <a:gd name="connsiteX4" fmla="*/ 0 w 1827784"/>
                <a:gd name="connsiteY4" fmla="*/ 0 h 463919"/>
                <a:gd name="connsiteX0" fmla="*/ 0 w 1827784"/>
                <a:gd name="connsiteY0" fmla="*/ 4254 h 468173"/>
                <a:gd name="connsiteX1" fmla="*/ 1622958 w 1827784"/>
                <a:gd name="connsiteY1" fmla="*/ 0 h 468173"/>
                <a:gd name="connsiteX2" fmla="*/ 1827784 w 1827784"/>
                <a:gd name="connsiteY2" fmla="*/ 4254 h 468173"/>
                <a:gd name="connsiteX3" fmla="*/ 1827784 w 1827784"/>
                <a:gd name="connsiteY3" fmla="*/ 468173 h 468173"/>
                <a:gd name="connsiteX4" fmla="*/ 0 w 1827784"/>
                <a:gd name="connsiteY4" fmla="*/ 468173 h 468173"/>
                <a:gd name="connsiteX5" fmla="*/ 0 w 1827784"/>
                <a:gd name="connsiteY5" fmla="*/ 4254 h 468173"/>
                <a:gd name="connsiteX0" fmla="*/ 0 w 1827784"/>
                <a:gd name="connsiteY0" fmla="*/ 4254 h 468173"/>
                <a:gd name="connsiteX1" fmla="*/ 1622958 w 1827784"/>
                <a:gd name="connsiteY1" fmla="*/ 0 h 468173"/>
                <a:gd name="connsiteX2" fmla="*/ 1827784 w 1827784"/>
                <a:gd name="connsiteY2" fmla="*/ 4254 h 468173"/>
                <a:gd name="connsiteX3" fmla="*/ 1820469 w 1827784"/>
                <a:gd name="connsiteY3" fmla="*/ 175565 h 468173"/>
                <a:gd name="connsiteX4" fmla="*/ 1827784 w 1827784"/>
                <a:gd name="connsiteY4" fmla="*/ 468173 h 468173"/>
                <a:gd name="connsiteX5" fmla="*/ 0 w 1827784"/>
                <a:gd name="connsiteY5" fmla="*/ 468173 h 468173"/>
                <a:gd name="connsiteX6" fmla="*/ 0 w 1827784"/>
                <a:gd name="connsiteY6" fmla="*/ 4254 h 468173"/>
                <a:gd name="connsiteX0" fmla="*/ 0 w 1827784"/>
                <a:gd name="connsiteY0" fmla="*/ 4254 h 468173"/>
                <a:gd name="connsiteX1" fmla="*/ 1622958 w 1827784"/>
                <a:gd name="connsiteY1" fmla="*/ 0 h 468173"/>
                <a:gd name="connsiteX2" fmla="*/ 1820469 w 1827784"/>
                <a:gd name="connsiteY2" fmla="*/ 175565 h 468173"/>
                <a:gd name="connsiteX3" fmla="*/ 1827784 w 1827784"/>
                <a:gd name="connsiteY3" fmla="*/ 468173 h 468173"/>
                <a:gd name="connsiteX4" fmla="*/ 0 w 1827784"/>
                <a:gd name="connsiteY4" fmla="*/ 468173 h 468173"/>
                <a:gd name="connsiteX5" fmla="*/ 0 w 1827784"/>
                <a:gd name="connsiteY5" fmla="*/ 4254 h 468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7784" h="468173">
                  <a:moveTo>
                    <a:pt x="0" y="4254"/>
                  </a:moveTo>
                  <a:lnTo>
                    <a:pt x="1622958" y="0"/>
                  </a:lnTo>
                  <a:lnTo>
                    <a:pt x="1820469" y="175565"/>
                  </a:lnTo>
                  <a:lnTo>
                    <a:pt x="1827784" y="468173"/>
                  </a:lnTo>
                  <a:lnTo>
                    <a:pt x="0" y="468173"/>
                  </a:lnTo>
                  <a:lnTo>
                    <a:pt x="0" y="4254"/>
                  </a:lnTo>
                  <a:close/>
                </a:path>
              </a:pathLst>
            </a:custGeom>
            <a:grpFill/>
            <a:ln w="12700" cap="flat" cmpd="sng" algn="ctr">
              <a:noFill/>
              <a:prstDash val="solid"/>
            </a:ln>
            <a:effectLst/>
          </p:spPr>
          <p:txBody>
            <a:bodyPr wrap="square" lIns="27000" tIns="27000" rIns="27000" bIns="27000" rtlCol="0" anchor="ctr">
              <a:noAutofit/>
            </a:bodyPr>
            <a:lstStyle/>
            <a:p>
              <a:pPr algn="ctr" defTabSz="685800">
                <a:buClrTx/>
                <a:defRPr/>
              </a:pPr>
              <a:endParaRPr lang="en-US" sz="1050" dirty="0" err="1">
                <a:solidFill>
                  <a:srgbClr val="313131"/>
                </a:solidFill>
                <a:ea typeface="+mn-ea"/>
                <a:cs typeface="+mn-cs"/>
              </a:endParaRPr>
            </a:p>
          </p:txBody>
        </p:sp>
        <p:sp>
          <p:nvSpPr>
            <p:cNvPr id="119" name="TextBox 118"/>
            <p:cNvSpPr txBox="1"/>
            <p:nvPr/>
          </p:nvSpPr>
          <p:spPr>
            <a:xfrm>
              <a:off x="492456" y="3959753"/>
              <a:ext cx="1530045" cy="288146"/>
            </a:xfrm>
            <a:prstGeom prst="rect">
              <a:avLst/>
            </a:prstGeom>
            <a:grpFill/>
          </p:spPr>
          <p:txBody>
            <a:bodyPr wrap="square" lIns="27000" tIns="27000" rIns="27000" bIns="27000" rtlCol="0">
              <a:spAutoFit/>
            </a:bodyPr>
            <a:lstStyle/>
            <a:p>
              <a:pPr algn="ctr" defTabSz="685800">
                <a:buClrTx/>
                <a:defRPr/>
              </a:pPr>
              <a:r>
                <a:rPr lang="en-US" sz="1050" b="1" dirty="0">
                  <a:solidFill>
                    <a:srgbClr val="313131"/>
                  </a:solidFill>
                  <a:ea typeface="+mn-ea"/>
                  <a:cs typeface="+mn-cs"/>
                </a:rPr>
                <a:t>Diagram heading</a:t>
              </a:r>
            </a:p>
          </p:txBody>
        </p:sp>
      </p:grpSp>
      <p:graphicFrame>
        <p:nvGraphicFramePr>
          <p:cNvPr id="120" name="Table 119"/>
          <p:cNvGraphicFramePr>
            <a:graphicFrameLocks noGrp="1"/>
          </p:cNvGraphicFramePr>
          <p:nvPr/>
        </p:nvGraphicFramePr>
        <p:xfrm>
          <a:off x="1519809" y="3095335"/>
          <a:ext cx="1978763" cy="411480"/>
        </p:xfrm>
        <a:graphic>
          <a:graphicData uri="http://schemas.openxmlformats.org/drawingml/2006/table">
            <a:tbl>
              <a:tblPr firstRow="1" bandRow="1"/>
              <a:tblGrid>
                <a:gridCol w="1978763">
                  <a:extLst>
                    <a:ext uri="{9D8B030D-6E8A-4147-A177-3AD203B41FA5}">
                      <a16:colId xmlns:a16="http://schemas.microsoft.com/office/drawing/2014/main" val="20000"/>
                    </a:ext>
                  </a:extLst>
                </a:gridCol>
              </a:tblGrid>
              <a:tr h="411480">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r>
                        <a:rPr lang="en-US" sz="900" b="1" i="1" dirty="0">
                          <a:solidFill>
                            <a:srgbClr val="00A1DE"/>
                          </a:solidFill>
                        </a:rPr>
                        <a:t>The heading could sit between</a:t>
                      </a:r>
                    </a:p>
                    <a:p>
                      <a:r>
                        <a:rPr lang="en-US" sz="900" b="1" i="1" dirty="0">
                          <a:solidFill>
                            <a:srgbClr val="00A1DE"/>
                          </a:solidFill>
                        </a:rPr>
                        <a:t>these 2 lines</a:t>
                      </a:r>
                    </a:p>
                  </a:txBody>
                  <a:tcPr marL="68580" marR="68580" marT="34290" marB="34290" anchor="ctr">
                    <a:lnL w="12700" cmpd="sng">
                      <a:solidFill>
                        <a:srgbClr val="FFFFFF"/>
                      </a:solidFill>
                    </a:lnL>
                    <a:lnR w="12700" cmpd="sng">
                      <a:solidFill>
                        <a:srgbClr val="FFFFFF"/>
                      </a:solidFill>
                    </a:lnR>
                    <a:lnT w="5715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pSp>
        <p:nvGrpSpPr>
          <p:cNvPr id="121" name="Group 120"/>
          <p:cNvGrpSpPr/>
          <p:nvPr/>
        </p:nvGrpSpPr>
        <p:grpSpPr>
          <a:xfrm>
            <a:off x="5233702" y="1501292"/>
            <a:ext cx="1821485" cy="794925"/>
            <a:chOff x="4820717" y="3261150"/>
            <a:chExt cx="2428646" cy="1059898"/>
          </a:xfrm>
        </p:grpSpPr>
        <p:sp>
          <p:nvSpPr>
            <p:cNvPr id="122" name="Rectangle 121"/>
            <p:cNvSpPr/>
            <p:nvPr/>
          </p:nvSpPr>
          <p:spPr>
            <a:xfrm>
              <a:off x="4820717" y="3656174"/>
              <a:ext cx="2428646" cy="288146"/>
            </a:xfrm>
            <a:prstGeom prst="rect">
              <a:avLst/>
            </a:prstGeom>
            <a:solidFill>
              <a:srgbClr val="92D400"/>
            </a:solidFill>
            <a:ln w="12700" cap="flat" cmpd="sng" algn="ctr">
              <a:solidFill>
                <a:srgbClr val="FFFFFF"/>
              </a:solidFill>
              <a:prstDash val="solid"/>
            </a:ln>
            <a:effectLst/>
          </p:spPr>
          <p:txBody>
            <a:bodyPr lIns="27000" tIns="27000" rIns="27000" bIns="27000" rtlCol="0" anchor="ctr">
              <a:spAutoFit/>
            </a:bodyPr>
            <a:lstStyle/>
            <a:p>
              <a:pPr algn="ctr" defTabSz="685800">
                <a:buClrTx/>
                <a:defRPr/>
              </a:pPr>
              <a:endParaRPr lang="en-US" sz="1050" dirty="0" err="1">
                <a:solidFill>
                  <a:srgbClr val="002776"/>
                </a:solidFill>
                <a:ea typeface="+mn-ea"/>
                <a:cs typeface="+mn-cs"/>
              </a:endParaRPr>
            </a:p>
          </p:txBody>
        </p:sp>
        <p:sp>
          <p:nvSpPr>
            <p:cNvPr id="123" name="Rectangle 122"/>
            <p:cNvSpPr/>
            <p:nvPr/>
          </p:nvSpPr>
          <p:spPr>
            <a:xfrm>
              <a:off x="4820717" y="3283097"/>
              <a:ext cx="2004365" cy="288146"/>
            </a:xfrm>
            <a:prstGeom prst="rect">
              <a:avLst/>
            </a:prstGeom>
            <a:solidFill>
              <a:srgbClr val="92D400"/>
            </a:solidFill>
            <a:ln w="12700" cap="flat" cmpd="sng" algn="ctr">
              <a:solidFill>
                <a:srgbClr val="FFFFFF"/>
              </a:solidFill>
              <a:prstDash val="solid"/>
            </a:ln>
            <a:effectLst/>
          </p:spPr>
          <p:txBody>
            <a:bodyPr lIns="27000" tIns="27000" rIns="27000" bIns="27000" rtlCol="0" anchor="ctr">
              <a:spAutoFit/>
            </a:bodyPr>
            <a:lstStyle/>
            <a:p>
              <a:pPr algn="ctr" defTabSz="685800">
                <a:buClrTx/>
                <a:defRPr/>
              </a:pPr>
              <a:endParaRPr lang="en-US" sz="1050" dirty="0" err="1">
                <a:solidFill>
                  <a:srgbClr val="002776"/>
                </a:solidFill>
                <a:ea typeface="+mn-ea"/>
                <a:cs typeface="+mn-cs"/>
              </a:endParaRPr>
            </a:p>
          </p:txBody>
        </p:sp>
        <p:sp>
          <p:nvSpPr>
            <p:cNvPr id="124" name="Rectangle 123"/>
            <p:cNvSpPr/>
            <p:nvPr/>
          </p:nvSpPr>
          <p:spPr>
            <a:xfrm>
              <a:off x="4820717" y="4029248"/>
              <a:ext cx="2004365" cy="288146"/>
            </a:xfrm>
            <a:prstGeom prst="rect">
              <a:avLst/>
            </a:prstGeom>
            <a:solidFill>
              <a:srgbClr val="DCDCDC"/>
            </a:solidFill>
            <a:ln w="12700" cap="flat" cmpd="sng" algn="ctr">
              <a:solidFill>
                <a:srgbClr val="FFFFFF"/>
              </a:solidFill>
              <a:prstDash val="solid"/>
            </a:ln>
            <a:effectLst/>
          </p:spPr>
          <p:txBody>
            <a:bodyPr lIns="27000" tIns="27000" rIns="27000" bIns="27000" rtlCol="0" anchor="ctr">
              <a:spAutoFit/>
            </a:bodyPr>
            <a:lstStyle/>
            <a:p>
              <a:pPr algn="ctr" defTabSz="685800">
                <a:buClrTx/>
                <a:defRPr/>
              </a:pPr>
              <a:endParaRPr lang="en-US" sz="1050" dirty="0" err="1">
                <a:solidFill>
                  <a:srgbClr val="002776"/>
                </a:solidFill>
                <a:ea typeface="+mn-ea"/>
                <a:cs typeface="+mn-cs"/>
              </a:endParaRPr>
            </a:p>
          </p:txBody>
        </p:sp>
        <p:sp>
          <p:nvSpPr>
            <p:cNvPr id="125" name="TextBox 124"/>
            <p:cNvSpPr txBox="1"/>
            <p:nvPr/>
          </p:nvSpPr>
          <p:spPr>
            <a:xfrm>
              <a:off x="4857293" y="3261150"/>
              <a:ext cx="1872691" cy="349702"/>
            </a:xfrm>
            <a:prstGeom prst="rect">
              <a:avLst/>
            </a:prstGeom>
            <a:noFill/>
          </p:spPr>
          <p:txBody>
            <a:bodyPr wrap="square" lIns="27000" tIns="27000" rIns="27000" bIns="27000" rtlCol="0">
              <a:spAutoFit/>
            </a:bodyPr>
            <a:lstStyle/>
            <a:p>
              <a:pPr defTabSz="685800">
                <a:buClrTx/>
                <a:defRPr/>
              </a:pPr>
              <a:r>
                <a:rPr lang="en-US" sz="1350" b="1" dirty="0">
                  <a:solidFill>
                    <a:srgbClr val="FFFFFF"/>
                  </a:solidFill>
                  <a:ea typeface="+mn-ea"/>
                  <a:cs typeface="+mn-cs"/>
                </a:rPr>
                <a:t>This is a swipe</a:t>
              </a:r>
            </a:p>
          </p:txBody>
        </p:sp>
        <p:sp>
          <p:nvSpPr>
            <p:cNvPr id="126" name="TextBox 125"/>
            <p:cNvSpPr txBox="1"/>
            <p:nvPr/>
          </p:nvSpPr>
          <p:spPr>
            <a:xfrm>
              <a:off x="4857293" y="3610051"/>
              <a:ext cx="2149653" cy="349702"/>
            </a:xfrm>
            <a:prstGeom prst="rect">
              <a:avLst/>
            </a:prstGeom>
            <a:noFill/>
          </p:spPr>
          <p:txBody>
            <a:bodyPr wrap="square" lIns="27000" tIns="27000" rIns="27000" bIns="27000" rtlCol="0">
              <a:spAutoFit/>
            </a:bodyPr>
            <a:lstStyle/>
            <a:p>
              <a:pPr defTabSz="685800">
                <a:buClrTx/>
                <a:defRPr/>
              </a:pPr>
              <a:r>
                <a:rPr lang="en-US" sz="1350" b="1" dirty="0">
                  <a:solidFill>
                    <a:srgbClr val="FFFFFF"/>
                  </a:solidFill>
                  <a:ea typeface="+mn-ea"/>
                  <a:cs typeface="+mn-cs"/>
                </a:rPr>
                <a:t>bar heading style</a:t>
              </a:r>
            </a:p>
          </p:txBody>
        </p:sp>
        <p:sp>
          <p:nvSpPr>
            <p:cNvPr id="127" name="TextBox 126"/>
            <p:cNvSpPr txBox="1"/>
            <p:nvPr/>
          </p:nvSpPr>
          <p:spPr>
            <a:xfrm>
              <a:off x="4857293" y="4032902"/>
              <a:ext cx="1967789" cy="288146"/>
            </a:xfrm>
            <a:prstGeom prst="rect">
              <a:avLst/>
            </a:prstGeom>
            <a:noFill/>
          </p:spPr>
          <p:txBody>
            <a:bodyPr wrap="square" lIns="27000" tIns="27000" rIns="27000" bIns="27000" rtlCol="0">
              <a:spAutoFit/>
            </a:bodyPr>
            <a:lstStyle/>
            <a:p>
              <a:pPr defTabSz="685800">
                <a:buClrTx/>
                <a:defRPr/>
              </a:pPr>
              <a:r>
                <a:rPr lang="en-US" sz="1050" b="1" dirty="0">
                  <a:solidFill>
                    <a:srgbClr val="313131"/>
                  </a:solidFill>
                  <a:ea typeface="+mn-ea"/>
                  <a:cs typeface="+mn-cs"/>
                </a:rPr>
                <a:t>With a subheading</a:t>
              </a:r>
            </a:p>
          </p:txBody>
        </p:sp>
      </p:grpSp>
    </p:spTree>
    <p:extLst>
      <p:ext uri="{BB962C8B-B14F-4D97-AF65-F5344CB8AC3E}">
        <p14:creationId xmlns:p14="http://schemas.microsoft.com/office/powerpoint/2010/main" val="3408310561"/>
      </p:ext>
    </p:extLst>
  </p:cSld>
  <p:clrMapOvr>
    <a:masterClrMapping/>
  </p:clrMapOvr>
  <p:transition>
    <p:fade/>
  </p:transition>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1"/>
            </p:custDataLst>
          </p:nvPr>
        </p:nvSpPr>
        <p:spPr/>
        <p:txBody>
          <a:bodyPr/>
          <a:lstStyle/>
          <a:p>
            <a:r>
              <a:rPr lang="en-US" altLang="ja-JP" dirty="0"/>
              <a:t>Appendix</a:t>
            </a:r>
            <a:br>
              <a:rPr lang="en-US" altLang="ja-JP" dirty="0"/>
            </a:br>
            <a:r>
              <a:rPr lang="en-US" altLang="ja-JP" dirty="0">
                <a:solidFill>
                  <a:srgbClr val="575757"/>
                </a:solidFill>
              </a:rPr>
              <a:t>Generic elements</a:t>
            </a:r>
            <a:endParaRPr lang="en-US" dirty="0">
              <a:solidFill>
                <a:srgbClr val="575757"/>
              </a:solidFill>
            </a:endParaRPr>
          </a:p>
        </p:txBody>
      </p:sp>
      <p:graphicFrame>
        <p:nvGraphicFramePr>
          <p:cNvPr id="371718" name="Rectangle 6"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4" imgW="0" imgH="0" progId="">
                  <p:embed/>
                </p:oleObj>
              </mc:Choice>
              <mc:Fallback>
                <p:oleObj name="think-cell Slide" r:id="rId54"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9" name="Text Box 4"/>
          <p:cNvSpPr txBox="1">
            <a:spLocks noChangeArrowheads="1"/>
          </p:cNvSpPr>
          <p:nvPr>
            <p:custDataLst>
              <p:tags r:id="rId3"/>
            </p:custDataLst>
          </p:nvPr>
        </p:nvSpPr>
        <p:spPr bwMode="auto">
          <a:xfrm>
            <a:off x="5945120" y="1782532"/>
            <a:ext cx="242054" cy="369332"/>
          </a:xfrm>
          <a:prstGeom prst="rect">
            <a:avLst/>
          </a:prstGeom>
          <a:noFill/>
          <a:ln w="6350" algn="ctr">
            <a:noFill/>
            <a:miter lim="800000"/>
            <a:headEnd/>
            <a:tailEnd/>
          </a:ln>
        </p:spPr>
        <p:txBody>
          <a:bodyPr wrap="none" lIns="0" tIns="0" rIns="0" bIns="0">
            <a:spAutoFit/>
          </a:bodyPr>
          <a:lstStyle/>
          <a:p>
            <a:pPr defTabSz="685800">
              <a:buClrTx/>
              <a:defRPr/>
            </a:pPr>
            <a:r>
              <a:rPr lang="en-US" altLang="ja-JP" sz="2400" dirty="0">
                <a:solidFill>
                  <a:srgbClr val="3C8A2E"/>
                </a:solidFill>
                <a:ea typeface="ＭＳ Ｐゴシック" charset="-128"/>
                <a:cs typeface="+mn-cs"/>
                <a:sym typeface="Wingdings" pitchFamily="2" charset="2"/>
              </a:rPr>
              <a:t></a:t>
            </a:r>
            <a:endParaRPr lang="en-US" sz="2400" dirty="0">
              <a:solidFill>
                <a:srgbClr val="3C8A2E"/>
              </a:solidFill>
              <a:ea typeface="ＭＳ Ｐゴシック" charset="-128"/>
              <a:cs typeface="+mn-cs"/>
              <a:sym typeface="Wingdings" pitchFamily="2" charset="2"/>
            </a:endParaRPr>
          </a:p>
        </p:txBody>
      </p:sp>
      <p:sp>
        <p:nvSpPr>
          <p:cNvPr id="140" name="Text Box 5"/>
          <p:cNvSpPr txBox="1">
            <a:spLocks noChangeArrowheads="1"/>
          </p:cNvSpPr>
          <p:nvPr>
            <p:custDataLst>
              <p:tags r:id="rId4"/>
            </p:custDataLst>
          </p:nvPr>
        </p:nvSpPr>
        <p:spPr bwMode="auto">
          <a:xfrm>
            <a:off x="6487450" y="1736097"/>
            <a:ext cx="243656" cy="461665"/>
          </a:xfrm>
          <a:prstGeom prst="rect">
            <a:avLst/>
          </a:prstGeom>
          <a:noFill/>
          <a:ln w="6350" algn="ctr">
            <a:noFill/>
            <a:miter lim="800000"/>
            <a:headEnd/>
            <a:tailEnd/>
          </a:ln>
        </p:spPr>
        <p:txBody>
          <a:bodyPr wrap="none" lIns="0" tIns="0" rIns="0" bIns="0">
            <a:spAutoFit/>
          </a:bodyPr>
          <a:lstStyle/>
          <a:p>
            <a:pPr defTabSz="685800">
              <a:buClrTx/>
            </a:pPr>
            <a:r>
              <a:rPr lang="en-US" altLang="ja-JP" sz="3000" kern="1200" dirty="0">
                <a:solidFill>
                  <a:srgbClr val="C00000"/>
                </a:solidFill>
                <a:ea typeface="ＭＳ Ｐゴシック" charset="-128"/>
                <a:cs typeface="+mn-cs"/>
                <a:sym typeface="Wingdings" pitchFamily="2" charset="2"/>
              </a:rPr>
              <a:t></a:t>
            </a:r>
            <a:endParaRPr lang="en-US" sz="3000" kern="1200" dirty="0">
              <a:solidFill>
                <a:srgbClr val="C00000"/>
              </a:solidFill>
              <a:ea typeface="ＭＳ Ｐゴシック" charset="-128"/>
              <a:cs typeface="+mn-cs"/>
              <a:sym typeface="Wingdings" pitchFamily="2" charset="2"/>
            </a:endParaRPr>
          </a:p>
        </p:txBody>
      </p:sp>
      <p:sp>
        <p:nvSpPr>
          <p:cNvPr id="141" name="Text Box 6"/>
          <p:cNvSpPr txBox="1">
            <a:spLocks noChangeArrowheads="1"/>
          </p:cNvSpPr>
          <p:nvPr>
            <p:custDataLst>
              <p:tags r:id="rId5"/>
            </p:custDataLst>
          </p:nvPr>
        </p:nvSpPr>
        <p:spPr bwMode="auto">
          <a:xfrm>
            <a:off x="7032161" y="1828372"/>
            <a:ext cx="179536" cy="276999"/>
          </a:xfrm>
          <a:prstGeom prst="rect">
            <a:avLst/>
          </a:prstGeom>
          <a:noFill/>
          <a:ln w="6350" algn="ctr">
            <a:noFill/>
            <a:miter lim="800000"/>
            <a:headEnd/>
            <a:tailEnd/>
          </a:ln>
        </p:spPr>
        <p:txBody>
          <a:bodyPr wrap="none" lIns="0" tIns="0" rIns="0" bIns="0">
            <a:spAutoFit/>
          </a:bodyPr>
          <a:lstStyle/>
          <a:p>
            <a:pPr defTabSz="685800">
              <a:buClrTx/>
            </a:pPr>
            <a:r>
              <a:rPr lang="en-US" altLang="ja-JP" sz="1800" b="1" kern="1200" dirty="0">
                <a:solidFill>
                  <a:srgbClr val="FFC000"/>
                </a:solidFill>
                <a:ea typeface="ＭＳ Ｐゴシック" charset="-128"/>
                <a:cs typeface="+mn-cs"/>
                <a:sym typeface="Wingdings" pitchFamily="2" charset="2"/>
              </a:rPr>
              <a:t>O</a:t>
            </a:r>
            <a:endParaRPr lang="en-US" sz="1800" b="1" kern="1200" dirty="0">
              <a:solidFill>
                <a:srgbClr val="FFC000"/>
              </a:solidFill>
              <a:ea typeface="ＭＳ Ｐゴシック" charset="-128"/>
              <a:cs typeface="+mn-cs"/>
              <a:sym typeface="Wingdings" pitchFamily="2" charset="2"/>
            </a:endParaRPr>
          </a:p>
        </p:txBody>
      </p:sp>
      <p:sp>
        <p:nvSpPr>
          <p:cNvPr id="142" name="AutoShape 7"/>
          <p:cNvSpPr>
            <a:spLocks noChangeArrowheads="1"/>
          </p:cNvSpPr>
          <p:nvPr>
            <p:custDataLst>
              <p:tags r:id="rId6"/>
            </p:custDataLst>
          </p:nvPr>
        </p:nvSpPr>
        <p:spPr bwMode="auto">
          <a:xfrm>
            <a:off x="1907382" y="1419225"/>
            <a:ext cx="202406" cy="276225"/>
          </a:xfrm>
          <a:prstGeom prst="rightArrow">
            <a:avLst>
              <a:gd name="adj1" fmla="val 50000"/>
              <a:gd name="adj2" fmla="val 52278"/>
            </a:avLst>
          </a:prstGeom>
          <a:solidFill>
            <a:srgbClr val="00A1DE"/>
          </a:solidFill>
          <a:ln w="12700" algn="ctr">
            <a:solidFill>
              <a:srgbClr val="FFFFFF"/>
            </a:solidFill>
            <a:miter lim="800000"/>
            <a:headEnd/>
            <a:tailEnd/>
          </a:ln>
        </p:spPr>
        <p:txBody>
          <a:bodyPr tIns="68580" bIns="68580" anchor="ctr"/>
          <a:lstStyle/>
          <a:p>
            <a:pPr algn="ctr" defTabSz="685800">
              <a:buClrTx/>
              <a:defRPr/>
            </a:pPr>
            <a:endParaRPr lang="en-US" sz="1350" dirty="0">
              <a:solidFill>
                <a:sysClr val="windowText" lastClr="000000"/>
              </a:solidFill>
              <a:ea typeface="+mn-ea"/>
              <a:cs typeface="+mn-cs"/>
            </a:endParaRPr>
          </a:p>
        </p:txBody>
      </p:sp>
      <p:sp>
        <p:nvSpPr>
          <p:cNvPr id="143" name="AutoShape 8"/>
          <p:cNvSpPr>
            <a:spLocks noChangeArrowheads="1"/>
          </p:cNvSpPr>
          <p:nvPr>
            <p:custDataLst>
              <p:tags r:id="rId7"/>
            </p:custDataLst>
          </p:nvPr>
        </p:nvSpPr>
        <p:spPr bwMode="auto">
          <a:xfrm rot="16200000">
            <a:off x="1699618" y="1242418"/>
            <a:ext cx="209550" cy="267890"/>
          </a:xfrm>
          <a:prstGeom prst="rightArrow">
            <a:avLst>
              <a:gd name="adj1" fmla="val 50000"/>
              <a:gd name="adj2" fmla="val 52278"/>
            </a:avLst>
          </a:prstGeom>
          <a:solidFill>
            <a:srgbClr val="00A1DE"/>
          </a:solidFill>
          <a:ln w="12700" algn="ctr">
            <a:solidFill>
              <a:srgbClr val="FFFFFF"/>
            </a:solidFill>
            <a:miter lim="800000"/>
            <a:headEnd/>
            <a:tailEnd/>
          </a:ln>
        </p:spPr>
        <p:txBody>
          <a:bodyPr vert="eaVert" tIns="68580" bIns="68580" anchor="ctr"/>
          <a:lstStyle/>
          <a:p>
            <a:pPr algn="ctr" defTabSz="685800">
              <a:buClrTx/>
              <a:defRPr/>
            </a:pPr>
            <a:endParaRPr lang="en-US" sz="1350" dirty="0">
              <a:solidFill>
                <a:sysClr val="windowText" lastClr="000000"/>
              </a:solidFill>
              <a:ea typeface="+mn-ea"/>
              <a:cs typeface="+mn-cs"/>
            </a:endParaRPr>
          </a:p>
        </p:txBody>
      </p:sp>
      <p:sp>
        <p:nvSpPr>
          <p:cNvPr id="144" name="AutoShape 9"/>
          <p:cNvSpPr>
            <a:spLocks noChangeArrowheads="1"/>
          </p:cNvSpPr>
          <p:nvPr>
            <p:custDataLst>
              <p:tags r:id="rId8"/>
            </p:custDataLst>
          </p:nvPr>
        </p:nvSpPr>
        <p:spPr bwMode="auto">
          <a:xfrm rot="16200000" flipH="1">
            <a:off x="1699618" y="1613893"/>
            <a:ext cx="209550" cy="267890"/>
          </a:xfrm>
          <a:prstGeom prst="rightArrow">
            <a:avLst>
              <a:gd name="adj1" fmla="val 50000"/>
              <a:gd name="adj2" fmla="val 52278"/>
            </a:avLst>
          </a:prstGeom>
          <a:solidFill>
            <a:srgbClr val="00A1DE"/>
          </a:solidFill>
          <a:ln w="12700" algn="ctr">
            <a:solidFill>
              <a:srgbClr val="FFFFFF"/>
            </a:solidFill>
            <a:miter lim="800000"/>
            <a:headEnd/>
            <a:tailEnd/>
          </a:ln>
        </p:spPr>
        <p:txBody>
          <a:bodyPr vert="eaVert" tIns="68580" bIns="68580" anchor="ctr"/>
          <a:lstStyle/>
          <a:p>
            <a:pPr algn="ctr" defTabSz="685800">
              <a:buClrTx/>
              <a:defRPr/>
            </a:pPr>
            <a:endParaRPr lang="en-US" sz="1350" dirty="0">
              <a:solidFill>
                <a:sysClr val="windowText" lastClr="000000"/>
              </a:solidFill>
              <a:ea typeface="+mn-ea"/>
              <a:cs typeface="+mn-cs"/>
            </a:endParaRPr>
          </a:p>
        </p:txBody>
      </p:sp>
      <p:sp>
        <p:nvSpPr>
          <p:cNvPr id="145" name="AutoShape 10"/>
          <p:cNvSpPr>
            <a:spLocks noChangeArrowheads="1"/>
          </p:cNvSpPr>
          <p:nvPr>
            <p:custDataLst>
              <p:tags r:id="rId9"/>
            </p:custDataLst>
          </p:nvPr>
        </p:nvSpPr>
        <p:spPr bwMode="auto">
          <a:xfrm flipH="1">
            <a:off x="1500187" y="1419225"/>
            <a:ext cx="204788" cy="276225"/>
          </a:xfrm>
          <a:prstGeom prst="rightArrow">
            <a:avLst>
              <a:gd name="adj1" fmla="val 50000"/>
              <a:gd name="adj2" fmla="val 52278"/>
            </a:avLst>
          </a:prstGeom>
          <a:solidFill>
            <a:srgbClr val="00A1DE"/>
          </a:solidFill>
          <a:ln w="12700" algn="ctr">
            <a:solidFill>
              <a:srgbClr val="FFFFFF"/>
            </a:solidFill>
            <a:miter lim="800000"/>
            <a:headEnd/>
            <a:tailEnd/>
          </a:ln>
        </p:spPr>
        <p:txBody>
          <a:bodyPr tIns="68580" bIns="68580" anchor="ctr"/>
          <a:lstStyle/>
          <a:p>
            <a:pPr algn="ctr" defTabSz="685800">
              <a:buClrTx/>
              <a:defRPr/>
            </a:pPr>
            <a:endParaRPr lang="en-US" sz="1350" dirty="0">
              <a:solidFill>
                <a:sysClr val="windowText" lastClr="000000"/>
              </a:solidFill>
              <a:ea typeface="+mn-ea"/>
              <a:cs typeface="+mn-cs"/>
            </a:endParaRPr>
          </a:p>
        </p:txBody>
      </p:sp>
      <p:sp>
        <p:nvSpPr>
          <p:cNvPr id="146" name="AutoShape 11"/>
          <p:cNvSpPr>
            <a:spLocks noChangeArrowheads="1"/>
          </p:cNvSpPr>
          <p:nvPr>
            <p:custDataLst>
              <p:tags r:id="rId10"/>
            </p:custDataLst>
          </p:nvPr>
        </p:nvSpPr>
        <p:spPr bwMode="auto">
          <a:xfrm>
            <a:off x="1512094" y="2814638"/>
            <a:ext cx="370285" cy="276225"/>
          </a:xfrm>
          <a:prstGeom prst="leftRightArrow">
            <a:avLst>
              <a:gd name="adj1" fmla="val 50000"/>
              <a:gd name="adj2" fmla="val 36315"/>
            </a:avLst>
          </a:prstGeom>
          <a:solidFill>
            <a:srgbClr val="00A1DE"/>
          </a:solidFill>
          <a:ln w="12700" algn="ctr">
            <a:solidFill>
              <a:srgbClr val="FFFFFF"/>
            </a:solidFill>
            <a:miter lim="800000"/>
            <a:headEnd/>
            <a:tailEnd/>
          </a:ln>
        </p:spPr>
        <p:txBody>
          <a:bodyPr tIns="68580" bIns="68580" anchor="ctr"/>
          <a:lstStyle/>
          <a:p>
            <a:pPr algn="ctr" defTabSz="685800">
              <a:buClrTx/>
              <a:defRPr/>
            </a:pPr>
            <a:endParaRPr lang="en-US" sz="1350" dirty="0">
              <a:solidFill>
                <a:sysClr val="windowText" lastClr="000000"/>
              </a:solidFill>
              <a:ea typeface="+mn-ea"/>
              <a:cs typeface="+mn-cs"/>
            </a:endParaRPr>
          </a:p>
        </p:txBody>
      </p:sp>
      <p:sp>
        <p:nvSpPr>
          <p:cNvPr id="147" name="AutoShape 12"/>
          <p:cNvSpPr>
            <a:spLocks noChangeArrowheads="1"/>
          </p:cNvSpPr>
          <p:nvPr>
            <p:custDataLst>
              <p:tags r:id="rId11"/>
            </p:custDataLst>
          </p:nvPr>
        </p:nvSpPr>
        <p:spPr bwMode="auto">
          <a:xfrm rot="5400000">
            <a:off x="2262188" y="2649142"/>
            <a:ext cx="194072" cy="639365"/>
          </a:xfrm>
          <a:prstGeom prst="rightArrow">
            <a:avLst>
              <a:gd name="adj1" fmla="val 50000"/>
              <a:gd name="adj2" fmla="val 52278"/>
            </a:avLst>
          </a:prstGeom>
          <a:solidFill>
            <a:srgbClr val="00A1DE"/>
          </a:solidFill>
          <a:ln w="12700" algn="ctr">
            <a:solidFill>
              <a:srgbClr val="FFFFFF"/>
            </a:solidFill>
            <a:miter lim="800000"/>
            <a:headEnd/>
            <a:tailEnd/>
          </a:ln>
        </p:spPr>
        <p:txBody>
          <a:bodyPr rot="10800000" vert="eaVert" tIns="68580" bIns="68580" anchor="ctr"/>
          <a:lstStyle/>
          <a:p>
            <a:pPr algn="ctr" defTabSz="685800">
              <a:buClrTx/>
              <a:defRPr/>
            </a:pPr>
            <a:endParaRPr lang="en-US" sz="1350" dirty="0">
              <a:solidFill>
                <a:sysClr val="windowText" lastClr="000000"/>
              </a:solidFill>
              <a:ea typeface="+mn-ea"/>
              <a:cs typeface="+mn-cs"/>
            </a:endParaRPr>
          </a:p>
        </p:txBody>
      </p:sp>
      <p:sp>
        <p:nvSpPr>
          <p:cNvPr id="148" name="AutoShape 13"/>
          <p:cNvSpPr>
            <a:spLocks noChangeArrowheads="1"/>
          </p:cNvSpPr>
          <p:nvPr>
            <p:custDataLst>
              <p:tags r:id="rId12"/>
            </p:custDataLst>
          </p:nvPr>
        </p:nvSpPr>
        <p:spPr bwMode="auto">
          <a:xfrm>
            <a:off x="1670448" y="1957388"/>
            <a:ext cx="192881" cy="638175"/>
          </a:xfrm>
          <a:prstGeom prst="rightArrow">
            <a:avLst>
              <a:gd name="adj1" fmla="val 50000"/>
              <a:gd name="adj2" fmla="val 52278"/>
            </a:avLst>
          </a:prstGeom>
          <a:solidFill>
            <a:srgbClr val="00A1DE"/>
          </a:solidFill>
          <a:ln w="12700" algn="ctr">
            <a:solidFill>
              <a:srgbClr val="FFFFFF"/>
            </a:solidFill>
            <a:miter lim="800000"/>
            <a:headEnd/>
            <a:tailEnd/>
          </a:ln>
        </p:spPr>
        <p:txBody>
          <a:bodyPr tIns="68580" bIns="68580" anchor="ctr"/>
          <a:lstStyle/>
          <a:p>
            <a:pPr algn="ctr" defTabSz="685800">
              <a:buClrTx/>
              <a:defRPr/>
            </a:pPr>
            <a:endParaRPr lang="en-US" sz="1350" dirty="0">
              <a:solidFill>
                <a:sysClr val="windowText" lastClr="000000"/>
              </a:solidFill>
              <a:ea typeface="+mn-ea"/>
              <a:cs typeface="+mn-cs"/>
            </a:endParaRPr>
          </a:p>
        </p:txBody>
      </p:sp>
      <p:sp>
        <p:nvSpPr>
          <p:cNvPr id="149" name="Freeform 148"/>
          <p:cNvSpPr>
            <a:spLocks/>
          </p:cNvSpPr>
          <p:nvPr>
            <p:custDataLst>
              <p:tags r:id="rId13"/>
            </p:custDataLst>
          </p:nvPr>
        </p:nvSpPr>
        <p:spPr bwMode="auto">
          <a:xfrm>
            <a:off x="2250281" y="1271587"/>
            <a:ext cx="228600" cy="633413"/>
          </a:xfrm>
          <a:custGeom>
            <a:avLst/>
            <a:gdLst>
              <a:gd name="T0" fmla="*/ 2147483647 w 347"/>
              <a:gd name="T1" fmla="*/ 0 h 810"/>
              <a:gd name="T2" fmla="*/ 2147483647 w 347"/>
              <a:gd name="T3" fmla="*/ 0 h 810"/>
              <a:gd name="T4" fmla="*/ 2147483647 w 347"/>
              <a:gd name="T5" fmla="*/ 2147483647 h 810"/>
              <a:gd name="T6" fmla="*/ 2147483647 w 347"/>
              <a:gd name="T7" fmla="*/ 2147483647 h 810"/>
              <a:gd name="T8" fmla="*/ 2147483647 w 347"/>
              <a:gd name="T9" fmla="*/ 2147483647 h 810"/>
              <a:gd name="T10" fmla="*/ 2147483647 w 347"/>
              <a:gd name="T11" fmla="*/ 2147483647 h 810"/>
              <a:gd name="T12" fmla="*/ 2147483647 w 347"/>
              <a:gd name="T13" fmla="*/ 2147483647 h 810"/>
              <a:gd name="T14" fmla="*/ 2147483647 w 347"/>
              <a:gd name="T15" fmla="*/ 2147483647 h 810"/>
              <a:gd name="T16" fmla="*/ 2147483647 w 347"/>
              <a:gd name="T17" fmla="*/ 2147483647 h 810"/>
              <a:gd name="T18" fmla="*/ 2147483647 w 347"/>
              <a:gd name="T19" fmla="*/ 2147483647 h 810"/>
              <a:gd name="T20" fmla="*/ 0 w 347"/>
              <a:gd name="T21" fmla="*/ 2147483647 h 810"/>
              <a:gd name="T22" fmla="*/ 2147483647 w 347"/>
              <a:gd name="T23" fmla="*/ 0 h 8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7"/>
              <a:gd name="T37" fmla="*/ 0 h 810"/>
              <a:gd name="T38" fmla="*/ 347 w 347"/>
              <a:gd name="T39" fmla="*/ 810 h 8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7" h="810">
                <a:moveTo>
                  <a:pt x="159" y="0"/>
                </a:moveTo>
                <a:lnTo>
                  <a:pt x="292" y="0"/>
                </a:lnTo>
                <a:lnTo>
                  <a:pt x="63" y="358"/>
                </a:lnTo>
                <a:lnTo>
                  <a:pt x="346" y="188"/>
                </a:lnTo>
                <a:lnTo>
                  <a:pt x="111" y="634"/>
                </a:lnTo>
                <a:lnTo>
                  <a:pt x="187" y="607"/>
                </a:lnTo>
                <a:lnTo>
                  <a:pt x="23" y="809"/>
                </a:lnTo>
                <a:lnTo>
                  <a:pt x="28" y="549"/>
                </a:lnTo>
                <a:lnTo>
                  <a:pt x="68" y="612"/>
                </a:lnTo>
                <a:lnTo>
                  <a:pt x="173" y="341"/>
                </a:lnTo>
                <a:lnTo>
                  <a:pt x="0" y="429"/>
                </a:lnTo>
                <a:lnTo>
                  <a:pt x="159" y="0"/>
                </a:lnTo>
              </a:path>
            </a:pathLst>
          </a:custGeom>
          <a:solidFill>
            <a:srgbClr val="00A1DE"/>
          </a:solidFill>
          <a:ln w="12700">
            <a:solidFill>
              <a:srgbClr val="FFFFFF"/>
            </a:solidFill>
            <a:round/>
            <a:headEnd/>
            <a:tailEnd/>
          </a:ln>
        </p:spPr>
        <p:txBody>
          <a:bodyPr tIns="68580" bIns="68580" anchor="ctr"/>
          <a:lstStyle/>
          <a:p>
            <a:pPr defTabSz="685800">
              <a:buClrTx/>
              <a:defRPr/>
            </a:pPr>
            <a:endParaRPr lang="en-US" sz="1350" dirty="0">
              <a:solidFill>
                <a:sysClr val="windowText" lastClr="000000"/>
              </a:solidFill>
              <a:ea typeface="+mn-ea"/>
              <a:cs typeface="+mn-cs"/>
            </a:endParaRPr>
          </a:p>
        </p:txBody>
      </p:sp>
      <p:sp>
        <p:nvSpPr>
          <p:cNvPr id="150" name="Text Box 15"/>
          <p:cNvSpPr txBox="1">
            <a:spLocks noChangeArrowheads="1"/>
          </p:cNvSpPr>
          <p:nvPr>
            <p:custDataLst>
              <p:tags r:id="rId14"/>
            </p:custDataLst>
          </p:nvPr>
        </p:nvSpPr>
        <p:spPr bwMode="gray">
          <a:xfrm>
            <a:off x="3523060" y="1103710"/>
            <a:ext cx="291747" cy="163956"/>
          </a:xfrm>
          <a:prstGeom prst="rect">
            <a:avLst/>
          </a:prstGeom>
          <a:noFill/>
          <a:ln w="12700" algn="ctr">
            <a:noFill/>
            <a:miter lim="800000"/>
            <a:headEnd/>
            <a:tailEnd/>
          </a:ln>
        </p:spPr>
        <p:txBody>
          <a:bodyPr wrap="none" lIns="0" tIns="0" rIns="0" bIns="0">
            <a:spAutoFit/>
          </a:bodyPr>
          <a:lstStyle/>
          <a:p>
            <a:pPr defTabSz="685800">
              <a:lnSpc>
                <a:spcPct val="110000"/>
              </a:lnSpc>
              <a:buClrTx/>
              <a:defRPr/>
            </a:pPr>
            <a:r>
              <a:rPr lang="en-US" sz="1050" dirty="0">
                <a:solidFill>
                  <a:srgbClr val="313131"/>
                </a:solidFill>
                <a:ea typeface="+mn-ea"/>
                <a:cs typeface="+mn-cs"/>
              </a:rPr>
              <a:t>Draft</a:t>
            </a:r>
          </a:p>
        </p:txBody>
      </p:sp>
      <p:sp>
        <p:nvSpPr>
          <p:cNvPr id="151" name="Text Box 16"/>
          <p:cNvSpPr txBox="1">
            <a:spLocks noChangeArrowheads="1"/>
          </p:cNvSpPr>
          <p:nvPr>
            <p:custDataLst>
              <p:tags r:id="rId15"/>
            </p:custDataLst>
          </p:nvPr>
        </p:nvSpPr>
        <p:spPr bwMode="gray">
          <a:xfrm>
            <a:off x="3523060" y="1316009"/>
            <a:ext cx="1155766" cy="163956"/>
          </a:xfrm>
          <a:prstGeom prst="rect">
            <a:avLst/>
          </a:prstGeom>
          <a:noFill/>
          <a:ln w="12700" algn="ctr">
            <a:noFill/>
            <a:miter lim="800000"/>
            <a:headEnd/>
            <a:tailEnd/>
          </a:ln>
        </p:spPr>
        <p:txBody>
          <a:bodyPr wrap="none" lIns="0" tIns="0" rIns="0" bIns="0">
            <a:spAutoFit/>
          </a:bodyPr>
          <a:lstStyle/>
          <a:p>
            <a:pPr defTabSz="685800">
              <a:lnSpc>
                <a:spcPct val="110000"/>
              </a:lnSpc>
              <a:buClrTx/>
              <a:defRPr/>
            </a:pPr>
            <a:r>
              <a:rPr lang="en-US" sz="1050" dirty="0">
                <a:solidFill>
                  <a:srgbClr val="313131"/>
                </a:solidFill>
                <a:ea typeface="+mn-ea"/>
                <a:cs typeface="+mn-cs"/>
              </a:rPr>
              <a:t>For discussion only</a:t>
            </a:r>
          </a:p>
        </p:txBody>
      </p:sp>
      <p:sp>
        <p:nvSpPr>
          <p:cNvPr id="152" name="Text Box 17"/>
          <p:cNvSpPr txBox="1">
            <a:spLocks noChangeArrowheads="1"/>
          </p:cNvSpPr>
          <p:nvPr>
            <p:custDataLst>
              <p:tags r:id="rId16"/>
            </p:custDataLst>
          </p:nvPr>
        </p:nvSpPr>
        <p:spPr bwMode="gray">
          <a:xfrm>
            <a:off x="3523060" y="1528309"/>
            <a:ext cx="676467" cy="163956"/>
          </a:xfrm>
          <a:prstGeom prst="rect">
            <a:avLst/>
          </a:prstGeom>
          <a:noFill/>
          <a:ln w="12700" algn="ctr">
            <a:noFill/>
            <a:miter lim="800000"/>
            <a:headEnd/>
            <a:tailEnd/>
          </a:ln>
        </p:spPr>
        <p:txBody>
          <a:bodyPr wrap="none" lIns="0" tIns="0" rIns="0" bIns="0">
            <a:spAutoFit/>
          </a:bodyPr>
          <a:lstStyle/>
          <a:p>
            <a:pPr defTabSz="685800">
              <a:lnSpc>
                <a:spcPct val="110000"/>
              </a:lnSpc>
              <a:buClrTx/>
              <a:defRPr/>
            </a:pPr>
            <a:r>
              <a:rPr lang="en-US" sz="1050" dirty="0">
                <a:solidFill>
                  <a:srgbClr val="313131"/>
                </a:solidFill>
                <a:ea typeface="+mn-ea"/>
                <a:cs typeface="+mn-cs"/>
              </a:rPr>
              <a:t>Preliminary</a:t>
            </a:r>
          </a:p>
        </p:txBody>
      </p:sp>
      <p:sp>
        <p:nvSpPr>
          <p:cNvPr id="153" name="Text Box 18"/>
          <p:cNvSpPr txBox="1">
            <a:spLocks noChangeArrowheads="1"/>
          </p:cNvSpPr>
          <p:nvPr>
            <p:custDataLst>
              <p:tags r:id="rId17"/>
            </p:custDataLst>
          </p:nvPr>
        </p:nvSpPr>
        <p:spPr bwMode="gray">
          <a:xfrm>
            <a:off x="3523060" y="1952908"/>
            <a:ext cx="607539" cy="163956"/>
          </a:xfrm>
          <a:prstGeom prst="rect">
            <a:avLst/>
          </a:prstGeom>
          <a:noFill/>
          <a:ln w="12700" algn="ctr">
            <a:noFill/>
            <a:miter lim="800000"/>
            <a:headEnd/>
            <a:tailEnd/>
          </a:ln>
        </p:spPr>
        <p:txBody>
          <a:bodyPr wrap="none" lIns="0" tIns="0" rIns="0" bIns="0">
            <a:spAutoFit/>
          </a:bodyPr>
          <a:lstStyle/>
          <a:p>
            <a:pPr defTabSz="685800">
              <a:lnSpc>
                <a:spcPct val="110000"/>
              </a:lnSpc>
              <a:buClrTx/>
              <a:defRPr/>
            </a:pPr>
            <a:r>
              <a:rPr lang="en-US" sz="1050" dirty="0">
                <a:solidFill>
                  <a:srgbClr val="313131"/>
                </a:solidFill>
                <a:ea typeface="+mn-ea"/>
                <a:cs typeface="+mn-cs"/>
              </a:rPr>
              <a:t>Illustrative</a:t>
            </a:r>
          </a:p>
        </p:txBody>
      </p:sp>
      <p:sp>
        <p:nvSpPr>
          <p:cNvPr id="154" name="Oval 153"/>
          <p:cNvSpPr>
            <a:spLocks noChangeAspect="1" noChangeArrowheads="1"/>
          </p:cNvSpPr>
          <p:nvPr>
            <p:custDataLst>
              <p:tags r:id="rId18"/>
            </p:custDataLst>
          </p:nvPr>
        </p:nvSpPr>
        <p:spPr bwMode="gray">
          <a:xfrm>
            <a:off x="3530720" y="2740819"/>
            <a:ext cx="270000" cy="268817"/>
          </a:xfrm>
          <a:prstGeom prst="ellipse">
            <a:avLst/>
          </a:prstGeom>
          <a:solidFill>
            <a:srgbClr val="FFFFFF"/>
          </a:solidFill>
          <a:ln w="12700">
            <a:solidFill>
              <a:srgbClr val="00A1DE"/>
            </a:solidFill>
            <a:round/>
            <a:headEnd/>
            <a:tailEnd/>
          </a:ln>
        </p:spPr>
        <p:txBody>
          <a:bodyPr wrap="none" anchor="ctr"/>
          <a:lstStyle/>
          <a:p>
            <a:pPr algn="ctr" defTabSz="685800">
              <a:buClrTx/>
              <a:defRPr/>
            </a:pPr>
            <a:endParaRPr lang="en-US" sz="1200" dirty="0">
              <a:solidFill>
                <a:sysClr val="windowText" lastClr="000000"/>
              </a:solidFill>
              <a:ea typeface="+mn-ea"/>
              <a:cs typeface="+mn-cs"/>
            </a:endParaRPr>
          </a:p>
        </p:txBody>
      </p:sp>
      <p:grpSp>
        <p:nvGrpSpPr>
          <p:cNvPr id="155" name="Group 154"/>
          <p:cNvGrpSpPr/>
          <p:nvPr>
            <p:custDataLst>
              <p:tags r:id="rId19"/>
            </p:custDataLst>
          </p:nvPr>
        </p:nvGrpSpPr>
        <p:grpSpPr>
          <a:xfrm>
            <a:off x="3530720" y="3184495"/>
            <a:ext cx="270000" cy="270272"/>
            <a:chOff x="3183626" y="4150742"/>
            <a:chExt cx="360000" cy="360363"/>
          </a:xfrm>
        </p:grpSpPr>
        <p:sp>
          <p:nvSpPr>
            <p:cNvPr id="156" name="Oval 155"/>
            <p:cNvSpPr>
              <a:spLocks noChangeAspect="1" noChangeArrowheads="1"/>
            </p:cNvSpPr>
            <p:nvPr>
              <p:custDataLst>
                <p:tags r:id="rId50"/>
              </p:custDataLst>
            </p:nvPr>
          </p:nvSpPr>
          <p:spPr bwMode="gray">
            <a:xfrm>
              <a:off x="3183626" y="4150742"/>
              <a:ext cx="360000" cy="360363"/>
            </a:xfrm>
            <a:prstGeom prst="ellipse">
              <a:avLst/>
            </a:prstGeom>
            <a:solidFill>
              <a:srgbClr val="FFFFFF"/>
            </a:solidFill>
            <a:ln w="12700">
              <a:solidFill>
                <a:srgbClr val="00A1DE"/>
              </a:solidFill>
              <a:round/>
              <a:headEnd/>
              <a:tailEnd/>
            </a:ln>
          </p:spPr>
          <p:txBody>
            <a:bodyPr wrap="none" anchor="ctr"/>
            <a:lstStyle/>
            <a:p>
              <a:pPr algn="ctr" defTabSz="685800">
                <a:buClrTx/>
                <a:defRPr/>
              </a:pPr>
              <a:endParaRPr lang="en-US" sz="1200" dirty="0">
                <a:solidFill>
                  <a:sysClr val="windowText" lastClr="000000"/>
                </a:solidFill>
                <a:ea typeface="+mn-ea"/>
                <a:cs typeface="+mn-cs"/>
              </a:endParaRPr>
            </a:p>
          </p:txBody>
        </p:sp>
        <p:sp>
          <p:nvSpPr>
            <p:cNvPr id="157" name="Arc 23"/>
            <p:cNvSpPr>
              <a:spLocks noChangeAspect="1"/>
            </p:cNvSpPr>
            <p:nvPr>
              <p:custDataLst>
                <p:tags r:id="rId51"/>
              </p:custDataLst>
            </p:nvPr>
          </p:nvSpPr>
          <p:spPr bwMode="gray">
            <a:xfrm>
              <a:off x="3362867" y="4150742"/>
              <a:ext cx="180759" cy="180182"/>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00A1DE"/>
            </a:solidFill>
            <a:ln w="12700">
              <a:solidFill>
                <a:srgbClr val="00A1DE"/>
              </a:solidFill>
              <a:round/>
              <a:headEnd/>
              <a:tailEnd/>
            </a:ln>
          </p:spPr>
          <p:txBody>
            <a:bodyPr wrap="none" anchor="ctr"/>
            <a:lstStyle/>
            <a:p>
              <a:pPr algn="ctr" defTabSz="685800">
                <a:buClrTx/>
                <a:defRPr/>
              </a:pPr>
              <a:endParaRPr lang="en-US" sz="1200" dirty="0">
                <a:solidFill>
                  <a:sysClr val="windowText" lastClr="000000"/>
                </a:solidFill>
                <a:ea typeface="+mn-ea"/>
                <a:cs typeface="+mn-cs"/>
              </a:endParaRPr>
            </a:p>
          </p:txBody>
        </p:sp>
      </p:grpSp>
      <p:grpSp>
        <p:nvGrpSpPr>
          <p:cNvPr id="158" name="Group 157"/>
          <p:cNvGrpSpPr/>
          <p:nvPr>
            <p:custDataLst>
              <p:tags r:id="rId20"/>
            </p:custDataLst>
          </p:nvPr>
        </p:nvGrpSpPr>
        <p:grpSpPr>
          <a:xfrm>
            <a:off x="3530720" y="3629625"/>
            <a:ext cx="270000" cy="269032"/>
            <a:chOff x="3183626" y="4744250"/>
            <a:chExt cx="360000" cy="358709"/>
          </a:xfrm>
        </p:grpSpPr>
        <p:sp>
          <p:nvSpPr>
            <p:cNvPr id="159" name="Oval 158"/>
            <p:cNvSpPr>
              <a:spLocks noChangeAspect="1" noChangeArrowheads="1"/>
            </p:cNvSpPr>
            <p:nvPr>
              <p:custDataLst>
                <p:tags r:id="rId48"/>
              </p:custDataLst>
            </p:nvPr>
          </p:nvSpPr>
          <p:spPr bwMode="gray">
            <a:xfrm>
              <a:off x="3183626" y="4744250"/>
              <a:ext cx="360000" cy="358709"/>
            </a:xfrm>
            <a:prstGeom prst="ellipse">
              <a:avLst/>
            </a:prstGeom>
            <a:solidFill>
              <a:srgbClr val="FFFFFF"/>
            </a:solidFill>
            <a:ln w="12700">
              <a:solidFill>
                <a:srgbClr val="00A1DE"/>
              </a:solidFill>
              <a:round/>
              <a:headEnd/>
              <a:tailEnd/>
            </a:ln>
          </p:spPr>
          <p:txBody>
            <a:bodyPr wrap="none" anchor="ctr"/>
            <a:lstStyle/>
            <a:p>
              <a:pPr algn="ctr" defTabSz="685800">
                <a:buClrTx/>
                <a:defRPr/>
              </a:pPr>
              <a:endParaRPr lang="en-US" sz="1200" dirty="0">
                <a:solidFill>
                  <a:sysClr val="windowText" lastClr="000000"/>
                </a:solidFill>
                <a:ea typeface="+mn-ea"/>
                <a:cs typeface="+mn-cs"/>
              </a:endParaRPr>
            </a:p>
          </p:txBody>
        </p:sp>
        <p:sp>
          <p:nvSpPr>
            <p:cNvPr id="160" name="Arc 26"/>
            <p:cNvSpPr>
              <a:spLocks noChangeAspect="1"/>
            </p:cNvSpPr>
            <p:nvPr>
              <p:custDataLst>
                <p:tags r:id="rId49"/>
              </p:custDataLst>
            </p:nvPr>
          </p:nvSpPr>
          <p:spPr bwMode="gray">
            <a:xfrm>
              <a:off x="3362867" y="4744250"/>
              <a:ext cx="180759" cy="358709"/>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rgbClr val="00A1DE"/>
            </a:solidFill>
            <a:ln w="12700">
              <a:solidFill>
                <a:srgbClr val="00A1DE"/>
              </a:solidFill>
              <a:round/>
              <a:headEnd/>
              <a:tailEnd/>
            </a:ln>
          </p:spPr>
          <p:txBody>
            <a:bodyPr wrap="none" anchor="ctr"/>
            <a:lstStyle/>
            <a:p>
              <a:pPr algn="ctr" defTabSz="685800">
                <a:buClrTx/>
                <a:defRPr/>
              </a:pPr>
              <a:endParaRPr lang="en-US" sz="1200" dirty="0">
                <a:solidFill>
                  <a:sysClr val="windowText" lastClr="000000"/>
                </a:solidFill>
                <a:ea typeface="+mn-ea"/>
                <a:cs typeface="+mn-cs"/>
              </a:endParaRPr>
            </a:p>
          </p:txBody>
        </p:sp>
      </p:grpSp>
      <p:grpSp>
        <p:nvGrpSpPr>
          <p:cNvPr id="161" name="Group 160"/>
          <p:cNvGrpSpPr/>
          <p:nvPr>
            <p:custDataLst>
              <p:tags r:id="rId21"/>
            </p:custDataLst>
          </p:nvPr>
        </p:nvGrpSpPr>
        <p:grpSpPr>
          <a:xfrm>
            <a:off x="3530720" y="4074756"/>
            <a:ext cx="270000" cy="270173"/>
            <a:chOff x="3183626" y="5337757"/>
            <a:chExt cx="360000" cy="360231"/>
          </a:xfrm>
        </p:grpSpPr>
        <p:sp>
          <p:nvSpPr>
            <p:cNvPr id="162" name="Oval 161"/>
            <p:cNvSpPr>
              <a:spLocks noChangeAspect="1" noChangeArrowheads="1"/>
            </p:cNvSpPr>
            <p:nvPr>
              <p:custDataLst>
                <p:tags r:id="rId46"/>
              </p:custDataLst>
            </p:nvPr>
          </p:nvSpPr>
          <p:spPr bwMode="gray">
            <a:xfrm>
              <a:off x="3183626" y="5337757"/>
              <a:ext cx="360000" cy="360231"/>
            </a:xfrm>
            <a:prstGeom prst="ellipse">
              <a:avLst/>
            </a:prstGeom>
            <a:solidFill>
              <a:srgbClr val="FFFFFF"/>
            </a:solidFill>
            <a:ln w="12700">
              <a:solidFill>
                <a:srgbClr val="00A1DE"/>
              </a:solidFill>
              <a:round/>
              <a:headEnd/>
              <a:tailEnd/>
            </a:ln>
          </p:spPr>
          <p:txBody>
            <a:bodyPr wrap="none" anchor="ctr"/>
            <a:lstStyle/>
            <a:p>
              <a:pPr algn="ctr" defTabSz="685800">
                <a:buClrTx/>
                <a:defRPr/>
              </a:pPr>
              <a:endParaRPr lang="en-US" sz="1200" dirty="0">
                <a:solidFill>
                  <a:sysClr val="windowText" lastClr="000000"/>
                </a:solidFill>
                <a:ea typeface="+mn-ea"/>
                <a:cs typeface="+mn-cs"/>
              </a:endParaRPr>
            </a:p>
          </p:txBody>
        </p:sp>
        <p:sp>
          <p:nvSpPr>
            <p:cNvPr id="163" name="Arc 29"/>
            <p:cNvSpPr>
              <a:spLocks noChangeAspect="1"/>
            </p:cNvSpPr>
            <p:nvPr>
              <p:custDataLst>
                <p:tags r:id="rId47"/>
              </p:custDataLst>
            </p:nvPr>
          </p:nvSpPr>
          <p:spPr bwMode="gray">
            <a:xfrm>
              <a:off x="3183626" y="5337757"/>
              <a:ext cx="360000" cy="360231"/>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rgbClr val="00A1DE"/>
            </a:solidFill>
            <a:ln w="12700">
              <a:solidFill>
                <a:srgbClr val="00A1DE"/>
              </a:solidFill>
              <a:round/>
              <a:headEnd/>
              <a:tailEnd/>
            </a:ln>
          </p:spPr>
          <p:txBody>
            <a:bodyPr wrap="none" anchor="ctr"/>
            <a:lstStyle/>
            <a:p>
              <a:pPr algn="ctr" defTabSz="685800">
                <a:buClrTx/>
                <a:defRPr/>
              </a:pPr>
              <a:endParaRPr lang="en-US" sz="1200" dirty="0">
                <a:solidFill>
                  <a:sysClr val="windowText" lastClr="000000"/>
                </a:solidFill>
                <a:ea typeface="+mn-ea"/>
                <a:cs typeface="+mn-cs"/>
              </a:endParaRPr>
            </a:p>
          </p:txBody>
        </p:sp>
      </p:grpSp>
      <p:sp>
        <p:nvSpPr>
          <p:cNvPr id="164" name="Oval 163"/>
          <p:cNvSpPr>
            <a:spLocks noChangeAspect="1" noChangeArrowheads="1"/>
          </p:cNvSpPr>
          <p:nvPr/>
        </p:nvSpPr>
        <p:spPr bwMode="gray">
          <a:xfrm>
            <a:off x="3530720" y="4519885"/>
            <a:ext cx="270000" cy="270000"/>
          </a:xfrm>
          <a:prstGeom prst="ellipse">
            <a:avLst/>
          </a:prstGeom>
          <a:solidFill>
            <a:srgbClr val="00A1DE"/>
          </a:solidFill>
          <a:ln w="12700">
            <a:solidFill>
              <a:srgbClr val="00A1DE"/>
            </a:solidFill>
            <a:round/>
            <a:headEnd/>
            <a:tailEnd/>
          </a:ln>
        </p:spPr>
        <p:txBody>
          <a:bodyPr wrap="none" anchor="ctr"/>
          <a:lstStyle/>
          <a:p>
            <a:pPr algn="ctr" defTabSz="685800">
              <a:buClrTx/>
              <a:defRPr/>
            </a:pPr>
            <a:endParaRPr lang="en-US" sz="1200" dirty="0">
              <a:solidFill>
                <a:sysClr val="windowText" lastClr="000000"/>
              </a:solidFill>
              <a:ea typeface="+mn-ea"/>
              <a:cs typeface="+mn-cs"/>
            </a:endParaRPr>
          </a:p>
        </p:txBody>
      </p:sp>
      <p:grpSp>
        <p:nvGrpSpPr>
          <p:cNvPr id="165" name="Group 42"/>
          <p:cNvGrpSpPr>
            <a:grpSpLocks/>
          </p:cNvGrpSpPr>
          <p:nvPr>
            <p:custDataLst>
              <p:tags r:id="rId22"/>
            </p:custDataLst>
          </p:nvPr>
        </p:nvGrpSpPr>
        <p:grpSpPr bwMode="auto">
          <a:xfrm>
            <a:off x="2750344" y="2871788"/>
            <a:ext cx="447675" cy="432197"/>
            <a:chOff x="4073" y="2750"/>
            <a:chExt cx="408" cy="363"/>
          </a:xfrm>
        </p:grpSpPr>
        <p:sp>
          <p:nvSpPr>
            <p:cNvPr id="166" name="Line 43"/>
            <p:cNvSpPr>
              <a:spLocks noChangeShapeType="1"/>
            </p:cNvSpPr>
            <p:nvPr/>
          </p:nvSpPr>
          <p:spPr bwMode="auto">
            <a:xfrm flipV="1">
              <a:off x="4073" y="2750"/>
              <a:ext cx="0" cy="363"/>
            </a:xfrm>
            <a:prstGeom prst="line">
              <a:avLst/>
            </a:prstGeom>
            <a:noFill/>
            <a:ln w="19050">
              <a:solidFill>
                <a:srgbClr val="00A1DE"/>
              </a:solidFill>
              <a:round/>
              <a:headEnd/>
              <a:tailEnd/>
            </a:ln>
          </p:spPr>
          <p:txBody>
            <a:bodyPr tIns="68580" bIns="68580" anchor="ctr"/>
            <a:lstStyle/>
            <a:p>
              <a:pPr defTabSz="685800">
                <a:buClrTx/>
                <a:defRPr/>
              </a:pPr>
              <a:endParaRPr lang="en-US" sz="1350" dirty="0">
                <a:solidFill>
                  <a:sysClr val="windowText" lastClr="000000"/>
                </a:solidFill>
                <a:ea typeface="+mn-ea"/>
                <a:cs typeface="+mn-cs"/>
              </a:endParaRPr>
            </a:p>
          </p:txBody>
        </p:sp>
        <p:sp>
          <p:nvSpPr>
            <p:cNvPr id="167" name="Line 44"/>
            <p:cNvSpPr>
              <a:spLocks noChangeShapeType="1"/>
            </p:cNvSpPr>
            <p:nvPr/>
          </p:nvSpPr>
          <p:spPr bwMode="auto">
            <a:xfrm>
              <a:off x="4073" y="2750"/>
              <a:ext cx="408" cy="0"/>
            </a:xfrm>
            <a:prstGeom prst="line">
              <a:avLst/>
            </a:prstGeom>
            <a:noFill/>
            <a:ln w="19050">
              <a:solidFill>
                <a:srgbClr val="00A1DE"/>
              </a:solidFill>
              <a:round/>
              <a:headEnd/>
              <a:tailEnd type="triangle" w="med" len="med"/>
            </a:ln>
          </p:spPr>
          <p:txBody>
            <a:bodyPr tIns="68580" bIns="68580" anchor="ctr"/>
            <a:lstStyle/>
            <a:p>
              <a:pPr defTabSz="685800">
                <a:buClrTx/>
                <a:defRPr/>
              </a:pPr>
              <a:endParaRPr lang="en-US" sz="1350" dirty="0">
                <a:solidFill>
                  <a:sysClr val="windowText" lastClr="000000"/>
                </a:solidFill>
                <a:ea typeface="+mn-ea"/>
                <a:cs typeface="+mn-cs"/>
              </a:endParaRPr>
            </a:p>
          </p:txBody>
        </p:sp>
      </p:grpSp>
      <p:grpSp>
        <p:nvGrpSpPr>
          <p:cNvPr id="168" name="Group 45"/>
          <p:cNvGrpSpPr>
            <a:grpSpLocks/>
          </p:cNvGrpSpPr>
          <p:nvPr>
            <p:custDataLst>
              <p:tags r:id="rId23"/>
            </p:custDataLst>
          </p:nvPr>
        </p:nvGrpSpPr>
        <p:grpSpPr bwMode="auto">
          <a:xfrm>
            <a:off x="2750344" y="3443288"/>
            <a:ext cx="450056" cy="432197"/>
            <a:chOff x="4798" y="2750"/>
            <a:chExt cx="409" cy="363"/>
          </a:xfrm>
        </p:grpSpPr>
        <p:sp>
          <p:nvSpPr>
            <p:cNvPr id="169" name="Line 46"/>
            <p:cNvSpPr>
              <a:spLocks noChangeShapeType="1"/>
            </p:cNvSpPr>
            <p:nvPr/>
          </p:nvSpPr>
          <p:spPr bwMode="auto">
            <a:xfrm flipV="1">
              <a:off x="4798" y="2750"/>
              <a:ext cx="0" cy="363"/>
            </a:xfrm>
            <a:prstGeom prst="line">
              <a:avLst/>
            </a:prstGeom>
            <a:noFill/>
            <a:ln w="19050">
              <a:solidFill>
                <a:srgbClr val="00A1DE"/>
              </a:solidFill>
              <a:round/>
              <a:headEnd/>
              <a:tailEnd/>
            </a:ln>
          </p:spPr>
          <p:txBody>
            <a:bodyPr tIns="68580" bIns="68580" anchor="ctr"/>
            <a:lstStyle/>
            <a:p>
              <a:pPr defTabSz="685800">
                <a:buClrTx/>
                <a:defRPr/>
              </a:pPr>
              <a:endParaRPr lang="en-US" sz="1350" dirty="0">
                <a:solidFill>
                  <a:sysClr val="windowText" lastClr="000000"/>
                </a:solidFill>
                <a:ea typeface="+mn-ea"/>
                <a:cs typeface="+mn-cs"/>
              </a:endParaRPr>
            </a:p>
          </p:txBody>
        </p:sp>
        <p:sp>
          <p:nvSpPr>
            <p:cNvPr id="170" name="Line 47"/>
            <p:cNvSpPr>
              <a:spLocks noChangeShapeType="1"/>
            </p:cNvSpPr>
            <p:nvPr/>
          </p:nvSpPr>
          <p:spPr bwMode="auto">
            <a:xfrm>
              <a:off x="4798" y="2750"/>
              <a:ext cx="408" cy="0"/>
            </a:xfrm>
            <a:prstGeom prst="line">
              <a:avLst/>
            </a:prstGeom>
            <a:noFill/>
            <a:ln w="19050">
              <a:solidFill>
                <a:srgbClr val="00A1DE"/>
              </a:solidFill>
              <a:round/>
              <a:headEnd/>
              <a:tailEnd/>
            </a:ln>
          </p:spPr>
          <p:txBody>
            <a:bodyPr tIns="68580" bIns="68580" anchor="ctr"/>
            <a:lstStyle/>
            <a:p>
              <a:pPr defTabSz="685800">
                <a:buClrTx/>
                <a:defRPr/>
              </a:pPr>
              <a:endParaRPr lang="en-US" sz="1350" dirty="0">
                <a:solidFill>
                  <a:sysClr val="windowText" lastClr="000000"/>
                </a:solidFill>
                <a:ea typeface="+mn-ea"/>
                <a:cs typeface="+mn-cs"/>
              </a:endParaRPr>
            </a:p>
          </p:txBody>
        </p:sp>
        <p:sp>
          <p:nvSpPr>
            <p:cNvPr id="171" name="Line 48"/>
            <p:cNvSpPr>
              <a:spLocks noChangeShapeType="1"/>
            </p:cNvSpPr>
            <p:nvPr/>
          </p:nvSpPr>
          <p:spPr bwMode="auto">
            <a:xfrm>
              <a:off x="5207" y="2750"/>
              <a:ext cx="0" cy="363"/>
            </a:xfrm>
            <a:prstGeom prst="line">
              <a:avLst/>
            </a:prstGeom>
            <a:noFill/>
            <a:ln w="19050">
              <a:solidFill>
                <a:srgbClr val="00A1DE"/>
              </a:solidFill>
              <a:round/>
              <a:headEnd/>
              <a:tailEnd type="triangle" w="med" len="med"/>
            </a:ln>
          </p:spPr>
          <p:txBody>
            <a:bodyPr tIns="68580" bIns="68580" anchor="ctr"/>
            <a:lstStyle/>
            <a:p>
              <a:pPr defTabSz="685800">
                <a:buClrTx/>
                <a:defRPr/>
              </a:pPr>
              <a:endParaRPr lang="en-US" sz="1350" dirty="0">
                <a:solidFill>
                  <a:sysClr val="windowText" lastClr="000000"/>
                </a:solidFill>
                <a:ea typeface="+mn-ea"/>
                <a:cs typeface="+mn-cs"/>
              </a:endParaRPr>
            </a:p>
          </p:txBody>
        </p:sp>
      </p:grpSp>
      <p:grpSp>
        <p:nvGrpSpPr>
          <p:cNvPr id="172" name="Group 49"/>
          <p:cNvGrpSpPr>
            <a:grpSpLocks/>
          </p:cNvGrpSpPr>
          <p:nvPr>
            <p:custDataLst>
              <p:tags r:id="rId24"/>
            </p:custDataLst>
          </p:nvPr>
        </p:nvGrpSpPr>
        <p:grpSpPr bwMode="auto">
          <a:xfrm>
            <a:off x="2750344" y="4129087"/>
            <a:ext cx="450056" cy="539354"/>
            <a:chOff x="4798" y="3203"/>
            <a:chExt cx="409" cy="726"/>
          </a:xfrm>
        </p:grpSpPr>
        <p:sp>
          <p:nvSpPr>
            <p:cNvPr id="173" name="Line 50"/>
            <p:cNvSpPr>
              <a:spLocks noChangeShapeType="1"/>
            </p:cNvSpPr>
            <p:nvPr/>
          </p:nvSpPr>
          <p:spPr bwMode="auto">
            <a:xfrm flipV="1">
              <a:off x="4798" y="3567"/>
              <a:ext cx="0" cy="362"/>
            </a:xfrm>
            <a:prstGeom prst="line">
              <a:avLst/>
            </a:prstGeom>
            <a:noFill/>
            <a:ln w="19050">
              <a:solidFill>
                <a:srgbClr val="00A1DE"/>
              </a:solidFill>
              <a:round/>
              <a:headEnd/>
              <a:tailEnd/>
            </a:ln>
          </p:spPr>
          <p:txBody>
            <a:bodyPr tIns="68580" bIns="68580" anchor="ctr"/>
            <a:lstStyle/>
            <a:p>
              <a:pPr defTabSz="685800">
                <a:buClrTx/>
                <a:defRPr/>
              </a:pPr>
              <a:endParaRPr lang="en-US" sz="1350" dirty="0">
                <a:solidFill>
                  <a:sysClr val="windowText" lastClr="000000"/>
                </a:solidFill>
                <a:ea typeface="+mn-ea"/>
                <a:cs typeface="+mn-cs"/>
              </a:endParaRPr>
            </a:p>
          </p:txBody>
        </p:sp>
        <p:sp>
          <p:nvSpPr>
            <p:cNvPr id="174" name="Line 51"/>
            <p:cNvSpPr>
              <a:spLocks noChangeShapeType="1"/>
            </p:cNvSpPr>
            <p:nvPr/>
          </p:nvSpPr>
          <p:spPr bwMode="auto">
            <a:xfrm>
              <a:off x="4798" y="3567"/>
              <a:ext cx="408" cy="0"/>
            </a:xfrm>
            <a:prstGeom prst="line">
              <a:avLst/>
            </a:prstGeom>
            <a:noFill/>
            <a:ln w="19050">
              <a:solidFill>
                <a:srgbClr val="00A1DE"/>
              </a:solidFill>
              <a:round/>
              <a:headEnd/>
              <a:tailEnd/>
            </a:ln>
          </p:spPr>
          <p:txBody>
            <a:bodyPr tIns="68580" bIns="68580" anchor="ctr"/>
            <a:lstStyle/>
            <a:p>
              <a:pPr defTabSz="685800">
                <a:buClrTx/>
                <a:defRPr/>
              </a:pPr>
              <a:endParaRPr lang="en-US" sz="1350" dirty="0">
                <a:solidFill>
                  <a:sysClr val="windowText" lastClr="000000"/>
                </a:solidFill>
                <a:ea typeface="+mn-ea"/>
                <a:cs typeface="+mn-cs"/>
              </a:endParaRPr>
            </a:p>
          </p:txBody>
        </p:sp>
        <p:sp>
          <p:nvSpPr>
            <p:cNvPr id="175" name="Line 52"/>
            <p:cNvSpPr>
              <a:spLocks noChangeShapeType="1"/>
            </p:cNvSpPr>
            <p:nvPr/>
          </p:nvSpPr>
          <p:spPr bwMode="auto">
            <a:xfrm>
              <a:off x="5207" y="3203"/>
              <a:ext cx="0" cy="364"/>
            </a:xfrm>
            <a:prstGeom prst="line">
              <a:avLst/>
            </a:prstGeom>
            <a:noFill/>
            <a:ln w="19050">
              <a:solidFill>
                <a:srgbClr val="00A1DE"/>
              </a:solidFill>
              <a:round/>
              <a:headEnd type="triangle" w="med" len="med"/>
              <a:tailEnd/>
            </a:ln>
          </p:spPr>
          <p:txBody>
            <a:bodyPr tIns="68580" bIns="68580" anchor="ctr"/>
            <a:lstStyle/>
            <a:p>
              <a:pPr defTabSz="685800">
                <a:buClrTx/>
                <a:defRPr/>
              </a:pPr>
              <a:endParaRPr lang="en-US" sz="1350" dirty="0">
                <a:solidFill>
                  <a:sysClr val="windowText" lastClr="000000"/>
                </a:solidFill>
                <a:ea typeface="+mn-ea"/>
                <a:cs typeface="+mn-cs"/>
              </a:endParaRPr>
            </a:p>
          </p:txBody>
        </p:sp>
      </p:grpSp>
      <p:grpSp>
        <p:nvGrpSpPr>
          <p:cNvPr id="176" name="Group 53"/>
          <p:cNvGrpSpPr>
            <a:grpSpLocks/>
          </p:cNvGrpSpPr>
          <p:nvPr>
            <p:custDataLst>
              <p:tags r:id="rId25"/>
            </p:custDataLst>
          </p:nvPr>
        </p:nvGrpSpPr>
        <p:grpSpPr bwMode="auto">
          <a:xfrm>
            <a:off x="2093119" y="4071938"/>
            <a:ext cx="448866" cy="432197"/>
            <a:chOff x="4572" y="3430"/>
            <a:chExt cx="409" cy="363"/>
          </a:xfrm>
        </p:grpSpPr>
        <p:sp>
          <p:nvSpPr>
            <p:cNvPr id="177" name="Line 54"/>
            <p:cNvSpPr>
              <a:spLocks noChangeShapeType="1"/>
            </p:cNvSpPr>
            <p:nvPr/>
          </p:nvSpPr>
          <p:spPr bwMode="auto">
            <a:xfrm flipV="1">
              <a:off x="4572" y="3430"/>
              <a:ext cx="0" cy="363"/>
            </a:xfrm>
            <a:prstGeom prst="line">
              <a:avLst/>
            </a:prstGeom>
            <a:noFill/>
            <a:ln w="19050">
              <a:solidFill>
                <a:srgbClr val="00A1DE"/>
              </a:solidFill>
              <a:round/>
              <a:headEnd/>
              <a:tailEnd/>
            </a:ln>
          </p:spPr>
          <p:txBody>
            <a:bodyPr tIns="68580" bIns="68580" anchor="ctr"/>
            <a:lstStyle/>
            <a:p>
              <a:pPr defTabSz="685800">
                <a:buClrTx/>
                <a:defRPr/>
              </a:pPr>
              <a:endParaRPr lang="en-US" sz="1350" dirty="0">
                <a:solidFill>
                  <a:sysClr val="windowText" lastClr="000000"/>
                </a:solidFill>
                <a:ea typeface="+mn-ea"/>
                <a:cs typeface="+mn-cs"/>
              </a:endParaRPr>
            </a:p>
          </p:txBody>
        </p:sp>
        <p:sp>
          <p:nvSpPr>
            <p:cNvPr id="178" name="Line 55"/>
            <p:cNvSpPr>
              <a:spLocks noChangeShapeType="1"/>
            </p:cNvSpPr>
            <p:nvPr/>
          </p:nvSpPr>
          <p:spPr bwMode="auto">
            <a:xfrm>
              <a:off x="4572" y="3430"/>
              <a:ext cx="408" cy="0"/>
            </a:xfrm>
            <a:prstGeom prst="line">
              <a:avLst/>
            </a:prstGeom>
            <a:noFill/>
            <a:ln w="19050">
              <a:solidFill>
                <a:srgbClr val="00A1DE"/>
              </a:solidFill>
              <a:round/>
              <a:headEnd/>
              <a:tailEnd/>
            </a:ln>
          </p:spPr>
          <p:txBody>
            <a:bodyPr tIns="68580" bIns="68580" anchor="ctr"/>
            <a:lstStyle/>
            <a:p>
              <a:pPr defTabSz="685800">
                <a:buClrTx/>
                <a:defRPr/>
              </a:pPr>
              <a:endParaRPr lang="en-US" sz="1350" dirty="0">
                <a:solidFill>
                  <a:sysClr val="windowText" lastClr="000000"/>
                </a:solidFill>
                <a:ea typeface="+mn-ea"/>
                <a:cs typeface="+mn-cs"/>
              </a:endParaRPr>
            </a:p>
          </p:txBody>
        </p:sp>
        <p:sp>
          <p:nvSpPr>
            <p:cNvPr id="179" name="Line 56"/>
            <p:cNvSpPr>
              <a:spLocks noChangeShapeType="1"/>
            </p:cNvSpPr>
            <p:nvPr/>
          </p:nvSpPr>
          <p:spPr bwMode="auto">
            <a:xfrm>
              <a:off x="4981" y="3430"/>
              <a:ext cx="0" cy="182"/>
            </a:xfrm>
            <a:prstGeom prst="line">
              <a:avLst/>
            </a:prstGeom>
            <a:noFill/>
            <a:ln w="19050">
              <a:solidFill>
                <a:srgbClr val="00A1DE"/>
              </a:solidFill>
              <a:round/>
              <a:headEnd/>
              <a:tailEnd type="triangle" w="med" len="med"/>
            </a:ln>
          </p:spPr>
          <p:txBody>
            <a:bodyPr tIns="68580" bIns="68580" anchor="ctr"/>
            <a:lstStyle/>
            <a:p>
              <a:pPr defTabSz="685800">
                <a:buClrTx/>
                <a:defRPr/>
              </a:pPr>
              <a:endParaRPr lang="en-US" sz="1350" dirty="0">
                <a:solidFill>
                  <a:sysClr val="windowText" lastClr="000000"/>
                </a:solidFill>
                <a:ea typeface="+mn-ea"/>
                <a:cs typeface="+mn-cs"/>
              </a:endParaRPr>
            </a:p>
          </p:txBody>
        </p:sp>
      </p:grpSp>
      <p:sp>
        <p:nvSpPr>
          <p:cNvPr id="180" name="Freeform 62"/>
          <p:cNvSpPr>
            <a:spLocks/>
          </p:cNvSpPr>
          <p:nvPr/>
        </p:nvSpPr>
        <p:spPr bwMode="auto">
          <a:xfrm>
            <a:off x="6696320" y="3531537"/>
            <a:ext cx="184731" cy="300082"/>
          </a:xfrm>
          <a:custGeom>
            <a:avLst/>
            <a:gdLst>
              <a:gd name="T0" fmla="*/ 78 w 147"/>
              <a:gd name="T1" fmla="*/ 0 h 228"/>
              <a:gd name="T2" fmla="*/ 136 w 147"/>
              <a:gd name="T3" fmla="*/ 0 h 228"/>
              <a:gd name="T4" fmla="*/ 79 w 147"/>
              <a:gd name="T5" fmla="*/ 81 h 228"/>
              <a:gd name="T6" fmla="*/ 69 w 147"/>
              <a:gd name="T7" fmla="*/ 89 h 228"/>
              <a:gd name="T8" fmla="*/ 147 w 147"/>
              <a:gd name="T9" fmla="*/ 86 h 228"/>
              <a:gd name="T10" fmla="*/ 63 w 147"/>
              <a:gd name="T11" fmla="*/ 228 h 228"/>
              <a:gd name="T12" fmla="*/ 3 w 147"/>
              <a:gd name="T13" fmla="*/ 228 h 228"/>
              <a:gd name="T14" fmla="*/ 70 w 147"/>
              <a:gd name="T15" fmla="*/ 117 h 228"/>
              <a:gd name="T16" fmla="*/ 0 w 147"/>
              <a:gd name="T17" fmla="*/ 117 h 228"/>
              <a:gd name="T18" fmla="*/ 78 w 147"/>
              <a:gd name="T19" fmla="*/ 0 h 2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7"/>
              <a:gd name="T31" fmla="*/ 0 h 228"/>
              <a:gd name="T32" fmla="*/ 147 w 147"/>
              <a:gd name="T33" fmla="*/ 228 h 2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7" h="228">
                <a:moveTo>
                  <a:pt x="78" y="0"/>
                </a:moveTo>
                <a:lnTo>
                  <a:pt x="136" y="0"/>
                </a:lnTo>
                <a:lnTo>
                  <a:pt x="79" y="81"/>
                </a:lnTo>
                <a:lnTo>
                  <a:pt x="69" y="89"/>
                </a:lnTo>
                <a:lnTo>
                  <a:pt x="147" y="86"/>
                </a:lnTo>
                <a:lnTo>
                  <a:pt x="63" y="228"/>
                </a:lnTo>
                <a:lnTo>
                  <a:pt x="3" y="228"/>
                </a:lnTo>
                <a:lnTo>
                  <a:pt x="70" y="117"/>
                </a:lnTo>
                <a:lnTo>
                  <a:pt x="0" y="117"/>
                </a:lnTo>
                <a:lnTo>
                  <a:pt x="78" y="0"/>
                </a:lnTo>
                <a:close/>
              </a:path>
            </a:pathLst>
          </a:custGeom>
          <a:solidFill>
            <a:srgbClr val="FFFFFF"/>
          </a:solidFill>
          <a:ln w="19050">
            <a:solidFill>
              <a:srgbClr val="00A1DE"/>
            </a:solidFill>
            <a:round/>
            <a:headEnd/>
            <a:tailEnd/>
          </a:ln>
        </p:spPr>
        <p:txBody>
          <a:bodyPr wrap="none" anchor="ctr">
            <a:spAutoFit/>
          </a:bodyPr>
          <a:lstStyle/>
          <a:p>
            <a:pPr defTabSz="685800">
              <a:buClrTx/>
              <a:defRPr/>
            </a:pPr>
            <a:endParaRPr lang="en-US" sz="1350" dirty="0">
              <a:solidFill>
                <a:sysClr val="windowText" lastClr="000000"/>
              </a:solidFill>
              <a:ea typeface="+mn-ea"/>
              <a:cs typeface="+mn-cs"/>
            </a:endParaRPr>
          </a:p>
        </p:txBody>
      </p:sp>
      <p:grpSp>
        <p:nvGrpSpPr>
          <p:cNvPr id="181" name="Group 65"/>
          <p:cNvGrpSpPr>
            <a:grpSpLocks/>
          </p:cNvGrpSpPr>
          <p:nvPr>
            <p:custDataLst>
              <p:tags r:id="rId26"/>
            </p:custDataLst>
          </p:nvPr>
        </p:nvGrpSpPr>
        <p:grpSpPr bwMode="auto">
          <a:xfrm>
            <a:off x="6530273" y="3193423"/>
            <a:ext cx="447675" cy="222647"/>
            <a:chOff x="1672" y="1566"/>
            <a:chExt cx="316" cy="187"/>
          </a:xfrm>
        </p:grpSpPr>
        <p:sp>
          <p:nvSpPr>
            <p:cNvPr id="182" name="Line 66"/>
            <p:cNvSpPr>
              <a:spLocks noChangeShapeType="1"/>
            </p:cNvSpPr>
            <p:nvPr/>
          </p:nvSpPr>
          <p:spPr bwMode="auto">
            <a:xfrm flipV="1">
              <a:off x="1672" y="1643"/>
              <a:ext cx="316" cy="110"/>
            </a:xfrm>
            <a:prstGeom prst="line">
              <a:avLst/>
            </a:prstGeom>
            <a:noFill/>
            <a:ln w="19050">
              <a:solidFill>
                <a:srgbClr val="00A1DE"/>
              </a:solidFill>
              <a:round/>
              <a:headEnd/>
              <a:tailEnd/>
            </a:ln>
          </p:spPr>
          <p:txBody>
            <a:bodyPr wrap="none" anchor="ctr"/>
            <a:lstStyle/>
            <a:p>
              <a:pPr defTabSz="685800">
                <a:buClrTx/>
                <a:defRPr/>
              </a:pPr>
              <a:endParaRPr lang="en-US" sz="1350" dirty="0">
                <a:solidFill>
                  <a:sysClr val="windowText" lastClr="000000"/>
                </a:solidFill>
                <a:ea typeface="+mn-ea"/>
                <a:cs typeface="+mn-cs"/>
              </a:endParaRPr>
            </a:p>
          </p:txBody>
        </p:sp>
        <p:sp>
          <p:nvSpPr>
            <p:cNvPr id="183" name="Line 67"/>
            <p:cNvSpPr>
              <a:spLocks noChangeShapeType="1"/>
            </p:cNvSpPr>
            <p:nvPr/>
          </p:nvSpPr>
          <p:spPr bwMode="auto">
            <a:xfrm flipV="1">
              <a:off x="1672" y="1566"/>
              <a:ext cx="316" cy="110"/>
            </a:xfrm>
            <a:prstGeom prst="line">
              <a:avLst/>
            </a:prstGeom>
            <a:noFill/>
            <a:ln w="19050">
              <a:solidFill>
                <a:srgbClr val="00A1DE"/>
              </a:solidFill>
              <a:round/>
              <a:headEnd/>
              <a:tailEnd/>
            </a:ln>
          </p:spPr>
          <p:txBody>
            <a:bodyPr wrap="none" anchor="ctr"/>
            <a:lstStyle/>
            <a:p>
              <a:pPr defTabSz="685800">
                <a:buClrTx/>
                <a:defRPr/>
              </a:pPr>
              <a:endParaRPr lang="en-US" sz="1350" dirty="0">
                <a:solidFill>
                  <a:sysClr val="windowText" lastClr="000000"/>
                </a:solidFill>
                <a:ea typeface="+mn-ea"/>
                <a:cs typeface="+mn-cs"/>
              </a:endParaRPr>
            </a:p>
          </p:txBody>
        </p:sp>
      </p:grpSp>
      <p:grpSp>
        <p:nvGrpSpPr>
          <p:cNvPr id="184" name="Group 183"/>
          <p:cNvGrpSpPr/>
          <p:nvPr>
            <p:custDataLst>
              <p:tags r:id="rId27"/>
            </p:custDataLst>
          </p:nvPr>
        </p:nvGrpSpPr>
        <p:grpSpPr>
          <a:xfrm>
            <a:off x="5756129" y="3193422"/>
            <a:ext cx="484585" cy="1047750"/>
            <a:chOff x="6150838" y="3886200"/>
            <a:chExt cx="646113" cy="1397000"/>
          </a:xfrm>
        </p:grpSpPr>
        <p:sp>
          <p:nvSpPr>
            <p:cNvPr id="185" name="Rectangle 69"/>
            <p:cNvSpPr>
              <a:spLocks noChangeArrowheads="1"/>
            </p:cNvSpPr>
            <p:nvPr/>
          </p:nvSpPr>
          <p:spPr bwMode="auto">
            <a:xfrm>
              <a:off x="6236637" y="3886200"/>
              <a:ext cx="473230" cy="1397000"/>
            </a:xfrm>
            <a:prstGeom prst="rect">
              <a:avLst/>
            </a:prstGeom>
            <a:solidFill>
              <a:srgbClr val="00A1DE"/>
            </a:solidFill>
            <a:ln w="12700" algn="ctr">
              <a:solidFill>
                <a:srgbClr val="FFFFFF"/>
              </a:solidFill>
              <a:miter lim="800000"/>
              <a:headEnd/>
              <a:tailEnd/>
            </a:ln>
          </p:spPr>
          <p:txBody>
            <a:bodyPr wrap="none" anchor="ctr"/>
            <a:lstStyle/>
            <a:p>
              <a:pPr algn="ctr" defTabSz="685800">
                <a:buClrTx/>
                <a:defRPr/>
              </a:pPr>
              <a:endParaRPr lang="en-US" sz="1050" dirty="0">
                <a:solidFill>
                  <a:sysClr val="windowText" lastClr="000000"/>
                </a:solidFill>
                <a:ea typeface="+mn-ea"/>
                <a:cs typeface="+mn-cs"/>
              </a:endParaRPr>
            </a:p>
          </p:txBody>
        </p:sp>
        <p:grpSp>
          <p:nvGrpSpPr>
            <p:cNvPr id="186" name="Group 185"/>
            <p:cNvGrpSpPr/>
            <p:nvPr/>
          </p:nvGrpSpPr>
          <p:grpSpPr>
            <a:xfrm>
              <a:off x="6150838" y="4184317"/>
              <a:ext cx="646113" cy="127390"/>
              <a:chOff x="6150838" y="4184317"/>
              <a:chExt cx="646113" cy="127390"/>
            </a:xfrm>
          </p:grpSpPr>
          <p:sp>
            <p:nvSpPr>
              <p:cNvPr id="187" name="Rectangle 71"/>
              <p:cNvSpPr>
                <a:spLocks noChangeArrowheads="1"/>
              </p:cNvSpPr>
              <p:nvPr/>
            </p:nvSpPr>
            <p:spPr bwMode="auto">
              <a:xfrm rot="20555633">
                <a:off x="6162173" y="4184317"/>
                <a:ext cx="619633" cy="127390"/>
              </a:xfrm>
              <a:prstGeom prst="rect">
                <a:avLst/>
              </a:prstGeom>
              <a:solidFill>
                <a:srgbClr val="FFFFFF"/>
              </a:solidFill>
              <a:ln w="19050" algn="ctr">
                <a:solidFill>
                  <a:srgbClr val="00A1DE"/>
                </a:solidFill>
                <a:miter lim="800000"/>
                <a:headEnd/>
                <a:tailEnd/>
              </a:ln>
            </p:spPr>
            <p:txBody>
              <a:bodyPr wrap="none" anchor="ctr"/>
              <a:lstStyle/>
              <a:p>
                <a:pPr algn="ctr" defTabSz="685800">
                  <a:buClrTx/>
                  <a:defRPr/>
                </a:pPr>
                <a:endParaRPr lang="en-US" sz="1050" dirty="0">
                  <a:solidFill>
                    <a:sysClr val="windowText" lastClr="000000"/>
                  </a:solidFill>
                  <a:ea typeface="+mn-ea"/>
                  <a:cs typeface="+mn-cs"/>
                </a:endParaRPr>
              </a:p>
            </p:txBody>
          </p:sp>
          <p:sp>
            <p:nvSpPr>
              <p:cNvPr id="188" name="Rectangle 72"/>
              <p:cNvSpPr>
                <a:spLocks noChangeArrowheads="1"/>
              </p:cNvSpPr>
              <p:nvPr/>
            </p:nvSpPr>
            <p:spPr bwMode="auto">
              <a:xfrm rot="20555633">
                <a:off x="6150838" y="4190979"/>
                <a:ext cx="646113" cy="117371"/>
              </a:xfrm>
              <a:prstGeom prst="rect">
                <a:avLst/>
              </a:prstGeom>
              <a:solidFill>
                <a:srgbClr val="FFFFFF"/>
              </a:solidFill>
              <a:ln w="12700">
                <a:noFill/>
                <a:miter lim="800000"/>
                <a:headEnd/>
                <a:tailEnd/>
              </a:ln>
            </p:spPr>
            <p:txBody>
              <a:bodyPr wrap="none" anchor="ctr"/>
              <a:lstStyle/>
              <a:p>
                <a:pPr algn="ctr" defTabSz="685800">
                  <a:buClrTx/>
                  <a:defRPr/>
                </a:pPr>
                <a:endParaRPr lang="en-US" sz="1050">
                  <a:solidFill>
                    <a:sysClr val="windowText" lastClr="000000"/>
                  </a:solidFill>
                  <a:ea typeface="+mn-ea"/>
                  <a:cs typeface="+mn-cs"/>
                </a:endParaRPr>
              </a:p>
            </p:txBody>
          </p:sp>
        </p:grpSp>
      </p:grpSp>
      <p:sp>
        <p:nvSpPr>
          <p:cNvPr id="189" name="Freeform 73"/>
          <p:cNvSpPr>
            <a:spLocks/>
          </p:cNvSpPr>
          <p:nvPr>
            <p:custDataLst>
              <p:tags r:id="rId28"/>
            </p:custDataLst>
          </p:nvPr>
        </p:nvSpPr>
        <p:spPr bwMode="auto">
          <a:xfrm>
            <a:off x="5707857" y="2793372"/>
            <a:ext cx="1613297" cy="207169"/>
          </a:xfrm>
          <a:custGeom>
            <a:avLst/>
            <a:gdLst>
              <a:gd name="T0" fmla="*/ 0 w 2427"/>
              <a:gd name="T1" fmla="*/ 0 h 314"/>
              <a:gd name="T2" fmla="*/ 2147483647 w 2427"/>
              <a:gd name="T3" fmla="*/ 2147483647 h 314"/>
              <a:gd name="T4" fmla="*/ 2147483647 w 2427"/>
              <a:gd name="T5" fmla="*/ 2147483647 h 314"/>
              <a:gd name="T6" fmla="*/ 2147483647 w 2427"/>
              <a:gd name="T7" fmla="*/ 2147483647 h 314"/>
              <a:gd name="T8" fmla="*/ 2147483647 w 2427"/>
              <a:gd name="T9" fmla="*/ 2147483647 h 314"/>
              <a:gd name="T10" fmla="*/ 2147483647 w 2427"/>
              <a:gd name="T11" fmla="*/ 2147483647 h 314"/>
              <a:gd name="T12" fmla="*/ 2147483647 w 2427"/>
              <a:gd name="T13" fmla="*/ 2147483647 h 314"/>
              <a:gd name="T14" fmla="*/ 2147483647 w 2427"/>
              <a:gd name="T15" fmla="*/ 2147483647 h 314"/>
              <a:gd name="T16" fmla="*/ 2147483647 w 2427"/>
              <a:gd name="T17" fmla="*/ 2147483647 h 3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27"/>
              <a:gd name="T28" fmla="*/ 0 h 314"/>
              <a:gd name="T29" fmla="*/ 2427 w 2427"/>
              <a:gd name="T30" fmla="*/ 314 h 3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27" h="314">
                <a:moveTo>
                  <a:pt x="0" y="0"/>
                </a:moveTo>
                <a:lnTo>
                  <a:pt x="272" y="304"/>
                </a:lnTo>
                <a:lnTo>
                  <a:pt x="571" y="13"/>
                </a:lnTo>
                <a:lnTo>
                  <a:pt x="879" y="312"/>
                </a:lnTo>
                <a:lnTo>
                  <a:pt x="1188" y="14"/>
                </a:lnTo>
                <a:lnTo>
                  <a:pt x="1498" y="314"/>
                </a:lnTo>
                <a:lnTo>
                  <a:pt x="1803" y="5"/>
                </a:lnTo>
                <a:lnTo>
                  <a:pt x="2112" y="310"/>
                </a:lnTo>
                <a:lnTo>
                  <a:pt x="2427" y="5"/>
                </a:lnTo>
              </a:path>
            </a:pathLst>
          </a:custGeom>
          <a:noFill/>
          <a:ln w="19050">
            <a:solidFill>
              <a:srgbClr val="00A1DE"/>
            </a:solidFill>
            <a:round/>
            <a:headEnd/>
            <a:tailEnd/>
          </a:ln>
        </p:spPr>
        <p:txBody>
          <a:bodyPr wrap="none" anchor="ctr"/>
          <a:lstStyle/>
          <a:p>
            <a:pPr defTabSz="685800">
              <a:buClrTx/>
              <a:defRPr/>
            </a:pPr>
            <a:endParaRPr lang="en-US" sz="1350" dirty="0">
              <a:solidFill>
                <a:sysClr val="windowText" lastClr="000000"/>
              </a:solidFill>
              <a:ea typeface="+mn-ea"/>
              <a:cs typeface="+mn-cs"/>
            </a:endParaRPr>
          </a:p>
        </p:txBody>
      </p:sp>
      <p:grpSp>
        <p:nvGrpSpPr>
          <p:cNvPr id="190" name="Group 74"/>
          <p:cNvGrpSpPr>
            <a:grpSpLocks/>
          </p:cNvGrpSpPr>
          <p:nvPr>
            <p:custDataLst>
              <p:tags r:id="rId29"/>
            </p:custDataLst>
          </p:nvPr>
        </p:nvGrpSpPr>
        <p:grpSpPr bwMode="auto">
          <a:xfrm>
            <a:off x="6688627" y="4050672"/>
            <a:ext cx="105965" cy="114300"/>
            <a:chOff x="1136" y="3256"/>
            <a:chExt cx="96" cy="96"/>
          </a:xfrm>
        </p:grpSpPr>
        <p:sp>
          <p:nvSpPr>
            <p:cNvPr id="191" name="Line 75"/>
            <p:cNvSpPr>
              <a:spLocks noChangeShapeType="1"/>
            </p:cNvSpPr>
            <p:nvPr/>
          </p:nvSpPr>
          <p:spPr bwMode="auto">
            <a:xfrm>
              <a:off x="1168" y="3272"/>
              <a:ext cx="40" cy="40"/>
            </a:xfrm>
            <a:prstGeom prst="line">
              <a:avLst/>
            </a:prstGeom>
            <a:noFill/>
            <a:ln w="19050">
              <a:solidFill>
                <a:srgbClr val="00A1DE"/>
              </a:solidFill>
              <a:round/>
              <a:headEnd/>
              <a:tailEnd/>
            </a:ln>
          </p:spPr>
          <p:txBody>
            <a:bodyPr wrap="none" anchor="ctr"/>
            <a:lstStyle/>
            <a:p>
              <a:pPr defTabSz="685800">
                <a:buClrTx/>
                <a:defRPr/>
              </a:pPr>
              <a:endParaRPr lang="en-US" sz="1350" dirty="0">
                <a:solidFill>
                  <a:sysClr val="windowText" lastClr="000000"/>
                </a:solidFill>
                <a:ea typeface="+mn-ea"/>
                <a:cs typeface="+mn-cs"/>
              </a:endParaRPr>
            </a:p>
          </p:txBody>
        </p:sp>
        <p:sp>
          <p:nvSpPr>
            <p:cNvPr id="192" name="Line 76"/>
            <p:cNvSpPr>
              <a:spLocks noChangeShapeType="1"/>
            </p:cNvSpPr>
            <p:nvPr/>
          </p:nvSpPr>
          <p:spPr bwMode="auto">
            <a:xfrm>
              <a:off x="1168" y="3304"/>
              <a:ext cx="40" cy="40"/>
            </a:xfrm>
            <a:prstGeom prst="line">
              <a:avLst/>
            </a:prstGeom>
            <a:noFill/>
            <a:ln w="19050">
              <a:solidFill>
                <a:srgbClr val="00A1DE"/>
              </a:solidFill>
              <a:round/>
              <a:headEnd/>
              <a:tailEnd/>
            </a:ln>
          </p:spPr>
          <p:txBody>
            <a:bodyPr wrap="none" anchor="ctr"/>
            <a:lstStyle/>
            <a:p>
              <a:pPr defTabSz="685800">
                <a:buClrTx/>
                <a:defRPr/>
              </a:pPr>
              <a:endParaRPr lang="en-US" sz="1350" dirty="0">
                <a:solidFill>
                  <a:sysClr val="windowText" lastClr="000000"/>
                </a:solidFill>
                <a:ea typeface="+mn-ea"/>
                <a:cs typeface="+mn-cs"/>
              </a:endParaRPr>
            </a:p>
          </p:txBody>
        </p:sp>
        <p:sp>
          <p:nvSpPr>
            <p:cNvPr id="193" name="Line 77"/>
            <p:cNvSpPr>
              <a:spLocks noChangeShapeType="1"/>
            </p:cNvSpPr>
            <p:nvPr/>
          </p:nvSpPr>
          <p:spPr bwMode="auto">
            <a:xfrm>
              <a:off x="1136" y="3256"/>
              <a:ext cx="96" cy="96"/>
            </a:xfrm>
            <a:prstGeom prst="line">
              <a:avLst/>
            </a:prstGeom>
            <a:noFill/>
            <a:ln w="19050">
              <a:solidFill>
                <a:srgbClr val="00A1DE"/>
              </a:solidFill>
              <a:round/>
              <a:headEnd/>
              <a:tailEnd/>
            </a:ln>
          </p:spPr>
          <p:txBody>
            <a:bodyPr wrap="none" anchor="ctr"/>
            <a:lstStyle/>
            <a:p>
              <a:pPr defTabSz="685800">
                <a:buClrTx/>
                <a:defRPr/>
              </a:pPr>
              <a:endParaRPr lang="en-US" sz="1350" dirty="0">
                <a:solidFill>
                  <a:sysClr val="windowText" lastClr="000000"/>
                </a:solidFill>
                <a:ea typeface="+mn-ea"/>
                <a:cs typeface="+mn-cs"/>
              </a:endParaRPr>
            </a:p>
          </p:txBody>
        </p:sp>
      </p:grpSp>
      <p:sp>
        <p:nvSpPr>
          <p:cNvPr id="194" name="Text Box 78"/>
          <p:cNvSpPr txBox="1">
            <a:spLocks noChangeArrowheads="1"/>
          </p:cNvSpPr>
          <p:nvPr>
            <p:custDataLst>
              <p:tags r:id="rId30"/>
            </p:custDataLst>
          </p:nvPr>
        </p:nvSpPr>
        <p:spPr bwMode="gray">
          <a:xfrm>
            <a:off x="3523060" y="1740608"/>
            <a:ext cx="639599" cy="163956"/>
          </a:xfrm>
          <a:prstGeom prst="rect">
            <a:avLst/>
          </a:prstGeom>
          <a:noFill/>
          <a:ln w="12700" algn="ctr">
            <a:noFill/>
            <a:miter lim="800000"/>
            <a:headEnd/>
            <a:tailEnd/>
          </a:ln>
        </p:spPr>
        <p:txBody>
          <a:bodyPr wrap="none" lIns="0" tIns="0" rIns="0" bIns="0">
            <a:spAutoFit/>
          </a:bodyPr>
          <a:lstStyle/>
          <a:p>
            <a:pPr defTabSz="685800">
              <a:lnSpc>
                <a:spcPct val="110000"/>
              </a:lnSpc>
              <a:buClrTx/>
              <a:defRPr/>
            </a:pPr>
            <a:r>
              <a:rPr lang="en-US" sz="1050" dirty="0">
                <a:solidFill>
                  <a:srgbClr val="313131"/>
                </a:solidFill>
                <a:ea typeface="+mn-ea"/>
                <a:cs typeface="+mn-cs"/>
              </a:rPr>
              <a:t>Directional</a:t>
            </a:r>
          </a:p>
        </p:txBody>
      </p:sp>
      <p:sp>
        <p:nvSpPr>
          <p:cNvPr id="195" name="Text Box 79"/>
          <p:cNvSpPr txBox="1">
            <a:spLocks noChangeArrowheads="1"/>
          </p:cNvSpPr>
          <p:nvPr>
            <p:custDataLst>
              <p:tags r:id="rId31"/>
            </p:custDataLst>
          </p:nvPr>
        </p:nvSpPr>
        <p:spPr bwMode="gray">
          <a:xfrm>
            <a:off x="3523060" y="2165206"/>
            <a:ext cx="570669" cy="163956"/>
          </a:xfrm>
          <a:prstGeom prst="rect">
            <a:avLst/>
          </a:prstGeom>
          <a:noFill/>
          <a:ln w="12700" algn="ctr">
            <a:noFill/>
            <a:miter lim="800000"/>
            <a:headEnd/>
            <a:tailEnd/>
          </a:ln>
        </p:spPr>
        <p:txBody>
          <a:bodyPr wrap="none" lIns="0" tIns="0" rIns="0" bIns="0">
            <a:spAutoFit/>
          </a:bodyPr>
          <a:lstStyle/>
          <a:p>
            <a:pPr defTabSz="685800">
              <a:lnSpc>
                <a:spcPct val="110000"/>
              </a:lnSpc>
              <a:buClrTx/>
              <a:defRPr/>
            </a:pPr>
            <a:r>
              <a:rPr lang="en-US" sz="1050" dirty="0">
                <a:solidFill>
                  <a:srgbClr val="313131"/>
                </a:solidFill>
                <a:ea typeface="+mn-ea"/>
                <a:cs typeface="+mn-cs"/>
              </a:rPr>
              <a:t>Indicative</a:t>
            </a:r>
          </a:p>
        </p:txBody>
      </p:sp>
      <p:sp>
        <p:nvSpPr>
          <p:cNvPr id="196" name="AutoShape 80"/>
          <p:cNvSpPr>
            <a:spLocks noChangeArrowheads="1"/>
          </p:cNvSpPr>
          <p:nvPr>
            <p:custDataLst>
              <p:tags r:id="rId32"/>
            </p:custDataLst>
          </p:nvPr>
        </p:nvSpPr>
        <p:spPr bwMode="gray">
          <a:xfrm>
            <a:off x="2690812" y="1262063"/>
            <a:ext cx="615554" cy="638175"/>
          </a:xfrm>
          <a:custGeom>
            <a:avLst/>
            <a:gdLst>
              <a:gd name="T0" fmla="*/ 2147483647 w 21600"/>
              <a:gd name="T1" fmla="*/ 2147483647 h 21600"/>
              <a:gd name="T2" fmla="*/ 2147483647 w 21600"/>
              <a:gd name="T3" fmla="*/ 2147483647 h 21600"/>
              <a:gd name="T4" fmla="*/ 0 w 21600"/>
              <a:gd name="T5" fmla="*/ 2147483647 h 21600"/>
              <a:gd name="T6" fmla="*/ 2147483647 w 21600"/>
              <a:gd name="T7" fmla="*/ 0 h 21600"/>
              <a:gd name="T8" fmla="*/ 0 60000 65536"/>
              <a:gd name="T9" fmla="*/ 5898240 60000 65536"/>
              <a:gd name="T10" fmla="*/ 11796480 60000 65536"/>
              <a:gd name="T11" fmla="*/ 17694720 60000 65536"/>
              <a:gd name="T12" fmla="*/ 2160 w 21600"/>
              <a:gd name="T13" fmla="*/ 8640 h 21600"/>
              <a:gd name="T14" fmla="*/ 19440 w 21600"/>
              <a:gd name="T15" fmla="*/ 12960 h 21600"/>
            </a:gdLst>
            <a:ahLst/>
            <a:cxnLst>
              <a:cxn ang="T8">
                <a:pos x="T0" y="T1"/>
              </a:cxn>
              <a:cxn ang="T9">
                <a:pos x="T2" y="T3"/>
              </a:cxn>
              <a:cxn ang="T10">
                <a:pos x="T4" y="T5"/>
              </a:cxn>
              <a:cxn ang="T11">
                <a:pos x="T6" y="T7"/>
              </a:cxn>
            </a:cxnLst>
            <a:rect l="T12" t="T13" r="T14" b="T15"/>
            <a:pathLst>
              <a:path w="21600" h="21600">
                <a:moveTo>
                  <a:pt x="10800" y="0"/>
                </a:moveTo>
                <a:lnTo>
                  <a:pt x="6480" y="4320"/>
                </a:lnTo>
                <a:lnTo>
                  <a:pt x="8640" y="4320"/>
                </a:lnTo>
                <a:lnTo>
                  <a:pt x="8640" y="8640"/>
                </a:lnTo>
                <a:lnTo>
                  <a:pt x="4320" y="8640"/>
                </a:lnTo>
                <a:lnTo>
                  <a:pt x="4320" y="6480"/>
                </a:lnTo>
                <a:lnTo>
                  <a:pt x="0" y="10800"/>
                </a:lnTo>
                <a:lnTo>
                  <a:pt x="4320" y="15120"/>
                </a:lnTo>
                <a:lnTo>
                  <a:pt x="4320" y="12960"/>
                </a:lnTo>
                <a:lnTo>
                  <a:pt x="8640" y="12960"/>
                </a:lnTo>
                <a:lnTo>
                  <a:pt x="8640" y="17280"/>
                </a:lnTo>
                <a:lnTo>
                  <a:pt x="6480" y="17280"/>
                </a:lnTo>
                <a:lnTo>
                  <a:pt x="10800" y="21600"/>
                </a:lnTo>
                <a:lnTo>
                  <a:pt x="15120" y="17280"/>
                </a:lnTo>
                <a:lnTo>
                  <a:pt x="12960" y="17280"/>
                </a:lnTo>
                <a:lnTo>
                  <a:pt x="12960" y="12960"/>
                </a:lnTo>
                <a:lnTo>
                  <a:pt x="17280" y="12960"/>
                </a:lnTo>
                <a:lnTo>
                  <a:pt x="17280" y="15120"/>
                </a:lnTo>
                <a:lnTo>
                  <a:pt x="21600" y="10800"/>
                </a:lnTo>
                <a:lnTo>
                  <a:pt x="17280" y="6480"/>
                </a:lnTo>
                <a:lnTo>
                  <a:pt x="17280" y="8640"/>
                </a:lnTo>
                <a:lnTo>
                  <a:pt x="12960" y="8640"/>
                </a:lnTo>
                <a:lnTo>
                  <a:pt x="12960" y="4320"/>
                </a:lnTo>
                <a:lnTo>
                  <a:pt x="15120" y="4320"/>
                </a:lnTo>
                <a:close/>
              </a:path>
            </a:pathLst>
          </a:custGeom>
          <a:solidFill>
            <a:srgbClr val="00A1DE"/>
          </a:solidFill>
          <a:ln w="12700">
            <a:solidFill>
              <a:srgbClr val="FFFFFF"/>
            </a:solidFill>
            <a:miter lim="800000"/>
            <a:headEnd/>
            <a:tailEnd/>
          </a:ln>
        </p:spPr>
        <p:txBody>
          <a:bodyPr lIns="0" tIns="0" rIns="0" bIns="0" anchor="ctr" anchorCtr="1"/>
          <a:lstStyle/>
          <a:p>
            <a:pPr algn="ctr" defTabSz="685800">
              <a:buClrTx/>
              <a:defRPr/>
            </a:pPr>
            <a:endParaRPr lang="en-US" sz="1050" dirty="0">
              <a:solidFill>
                <a:sysClr val="windowText" lastClr="000000"/>
              </a:solidFill>
              <a:ea typeface="+mn-ea"/>
              <a:cs typeface="+mn-cs"/>
            </a:endParaRPr>
          </a:p>
        </p:txBody>
      </p:sp>
      <p:sp>
        <p:nvSpPr>
          <p:cNvPr id="197" name="Freeform 81"/>
          <p:cNvSpPr>
            <a:spLocks/>
          </p:cNvSpPr>
          <p:nvPr>
            <p:custDataLst>
              <p:tags r:id="rId33"/>
            </p:custDataLst>
          </p:nvPr>
        </p:nvSpPr>
        <p:spPr bwMode="gray">
          <a:xfrm>
            <a:off x="2250282" y="2014538"/>
            <a:ext cx="792956" cy="609600"/>
          </a:xfrm>
          <a:custGeom>
            <a:avLst/>
            <a:gdLst>
              <a:gd name="T0" fmla="*/ 2147483647 w 853"/>
              <a:gd name="T1" fmla="*/ 2147483647 h 918"/>
              <a:gd name="T2" fmla="*/ 0 w 853"/>
              <a:gd name="T3" fmla="*/ 2147483647 h 918"/>
              <a:gd name="T4" fmla="*/ 2147483647 w 853"/>
              <a:gd name="T5" fmla="*/ 2147483647 h 918"/>
              <a:gd name="T6" fmla="*/ 2147483647 w 853"/>
              <a:gd name="T7" fmla="*/ 2147483647 h 918"/>
              <a:gd name="T8" fmla="*/ 2147483647 w 853"/>
              <a:gd name="T9" fmla="*/ 2147483647 h 918"/>
              <a:gd name="T10" fmla="*/ 2147483647 w 853"/>
              <a:gd name="T11" fmla="*/ 2147483647 h 918"/>
              <a:gd name="T12" fmla="*/ 2147483647 w 853"/>
              <a:gd name="T13" fmla="*/ 2147483647 h 918"/>
              <a:gd name="T14" fmla="*/ 2147483647 w 853"/>
              <a:gd name="T15" fmla="*/ 2147483647 h 918"/>
              <a:gd name="T16" fmla="*/ 2147483647 w 853"/>
              <a:gd name="T17" fmla="*/ 2147483647 h 918"/>
              <a:gd name="T18" fmla="*/ 2147483647 w 853"/>
              <a:gd name="T19" fmla="*/ 2147483647 h 918"/>
              <a:gd name="T20" fmla="*/ 2147483647 w 853"/>
              <a:gd name="T21" fmla="*/ 2147483647 h 918"/>
              <a:gd name="T22" fmla="*/ 2147483647 w 853"/>
              <a:gd name="T23" fmla="*/ 2147483647 h 918"/>
              <a:gd name="T24" fmla="*/ 2147483647 w 853"/>
              <a:gd name="T25" fmla="*/ 2147483647 h 918"/>
              <a:gd name="T26" fmla="*/ 2147483647 w 853"/>
              <a:gd name="T27" fmla="*/ 2147483647 h 918"/>
              <a:gd name="T28" fmla="*/ 2147483647 w 853"/>
              <a:gd name="T29" fmla="*/ 2147483647 h 918"/>
              <a:gd name="T30" fmla="*/ 2147483647 w 853"/>
              <a:gd name="T31" fmla="*/ 2147483647 h 918"/>
              <a:gd name="T32" fmla="*/ 2147483647 w 853"/>
              <a:gd name="T33" fmla="*/ 2147483647 h 918"/>
              <a:gd name="T34" fmla="*/ 2147483647 w 853"/>
              <a:gd name="T35" fmla="*/ 2147483647 h 918"/>
              <a:gd name="T36" fmla="*/ 2147483647 w 853"/>
              <a:gd name="T37" fmla="*/ 2147483647 h 918"/>
              <a:gd name="T38" fmla="*/ 2147483647 w 853"/>
              <a:gd name="T39" fmla="*/ 2147483647 h 918"/>
              <a:gd name="T40" fmla="*/ 2147483647 w 853"/>
              <a:gd name="T41" fmla="*/ 2147483647 h 918"/>
              <a:gd name="T42" fmla="*/ 2147483647 w 853"/>
              <a:gd name="T43" fmla="*/ 2147483647 h 918"/>
              <a:gd name="T44" fmla="*/ 2147483647 w 853"/>
              <a:gd name="T45" fmla="*/ 2147483647 h 918"/>
              <a:gd name="T46" fmla="*/ 2147483647 w 853"/>
              <a:gd name="T47" fmla="*/ 2147483647 h 918"/>
              <a:gd name="T48" fmla="*/ 2147483647 w 853"/>
              <a:gd name="T49" fmla="*/ 2147483647 h 918"/>
              <a:gd name="T50" fmla="*/ 2147483647 w 853"/>
              <a:gd name="T51" fmla="*/ 2147483647 h 918"/>
              <a:gd name="T52" fmla="*/ 2147483647 w 853"/>
              <a:gd name="T53" fmla="*/ 2147483647 h 918"/>
              <a:gd name="T54" fmla="*/ 2147483647 w 853"/>
              <a:gd name="T55" fmla="*/ 2147483647 h 918"/>
              <a:gd name="T56" fmla="*/ 2147483647 w 853"/>
              <a:gd name="T57" fmla="*/ 2147483647 h 918"/>
              <a:gd name="T58" fmla="*/ 2147483647 w 853"/>
              <a:gd name="T59" fmla="*/ 2147483647 h 918"/>
              <a:gd name="T60" fmla="*/ 2147483647 w 853"/>
              <a:gd name="T61" fmla="*/ 2147483647 h 918"/>
              <a:gd name="T62" fmla="*/ 2147483647 w 853"/>
              <a:gd name="T63" fmla="*/ 2147483647 h 918"/>
              <a:gd name="T64" fmla="*/ 2147483647 w 853"/>
              <a:gd name="T65" fmla="*/ 2147483647 h 918"/>
              <a:gd name="T66" fmla="*/ 2147483647 w 853"/>
              <a:gd name="T67" fmla="*/ 2147483647 h 918"/>
              <a:gd name="T68" fmla="*/ 2147483647 w 853"/>
              <a:gd name="T69" fmla="*/ 0 h 918"/>
              <a:gd name="T70" fmla="*/ 2147483647 w 853"/>
              <a:gd name="T71" fmla="*/ 0 h 918"/>
              <a:gd name="T72" fmla="*/ 2147483647 w 853"/>
              <a:gd name="T73" fmla="*/ 2147483647 h 918"/>
              <a:gd name="T74" fmla="*/ 2147483647 w 853"/>
              <a:gd name="T75" fmla="*/ 2147483647 h 918"/>
              <a:gd name="T76" fmla="*/ 2147483647 w 853"/>
              <a:gd name="T77" fmla="*/ 2147483647 h 918"/>
              <a:gd name="T78" fmla="*/ 2147483647 w 853"/>
              <a:gd name="T79" fmla="*/ 2147483647 h 918"/>
              <a:gd name="T80" fmla="*/ 2147483647 w 853"/>
              <a:gd name="T81" fmla="*/ 2147483647 h 918"/>
              <a:gd name="T82" fmla="*/ 2147483647 w 853"/>
              <a:gd name="T83" fmla="*/ 2147483647 h 918"/>
              <a:gd name="T84" fmla="*/ 2147483647 w 853"/>
              <a:gd name="T85" fmla="*/ 2147483647 h 918"/>
              <a:gd name="T86" fmla="*/ 2147483647 w 853"/>
              <a:gd name="T87" fmla="*/ 2147483647 h 918"/>
              <a:gd name="T88" fmla="*/ 2147483647 w 853"/>
              <a:gd name="T89" fmla="*/ 2147483647 h 918"/>
              <a:gd name="T90" fmla="*/ 2147483647 w 853"/>
              <a:gd name="T91" fmla="*/ 2147483647 h 9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53"/>
              <a:gd name="T139" fmla="*/ 0 h 918"/>
              <a:gd name="T140" fmla="*/ 853 w 853"/>
              <a:gd name="T141" fmla="*/ 918 h 9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53" h="918">
                <a:moveTo>
                  <a:pt x="2" y="609"/>
                </a:moveTo>
                <a:lnTo>
                  <a:pt x="0" y="807"/>
                </a:lnTo>
                <a:lnTo>
                  <a:pt x="183" y="742"/>
                </a:lnTo>
                <a:lnTo>
                  <a:pt x="143" y="707"/>
                </a:lnTo>
                <a:lnTo>
                  <a:pt x="184" y="659"/>
                </a:lnTo>
                <a:lnTo>
                  <a:pt x="226" y="601"/>
                </a:lnTo>
                <a:lnTo>
                  <a:pt x="259" y="558"/>
                </a:lnTo>
                <a:lnTo>
                  <a:pt x="294" y="503"/>
                </a:lnTo>
                <a:lnTo>
                  <a:pt x="332" y="433"/>
                </a:lnTo>
                <a:lnTo>
                  <a:pt x="363" y="358"/>
                </a:lnTo>
                <a:lnTo>
                  <a:pt x="364" y="757"/>
                </a:lnTo>
                <a:lnTo>
                  <a:pt x="314" y="756"/>
                </a:lnTo>
                <a:lnTo>
                  <a:pt x="424" y="917"/>
                </a:lnTo>
                <a:lnTo>
                  <a:pt x="533" y="756"/>
                </a:lnTo>
                <a:lnTo>
                  <a:pt x="485" y="757"/>
                </a:lnTo>
                <a:lnTo>
                  <a:pt x="485" y="354"/>
                </a:lnTo>
                <a:lnTo>
                  <a:pt x="518" y="430"/>
                </a:lnTo>
                <a:lnTo>
                  <a:pt x="548" y="491"/>
                </a:lnTo>
                <a:lnTo>
                  <a:pt x="585" y="547"/>
                </a:lnTo>
                <a:lnTo>
                  <a:pt x="626" y="604"/>
                </a:lnTo>
                <a:lnTo>
                  <a:pt x="657" y="650"/>
                </a:lnTo>
                <a:lnTo>
                  <a:pt x="705" y="707"/>
                </a:lnTo>
                <a:lnTo>
                  <a:pt x="669" y="742"/>
                </a:lnTo>
                <a:lnTo>
                  <a:pt x="852" y="808"/>
                </a:lnTo>
                <a:lnTo>
                  <a:pt x="847" y="609"/>
                </a:lnTo>
                <a:lnTo>
                  <a:pt x="802" y="639"/>
                </a:lnTo>
                <a:lnTo>
                  <a:pt x="766" y="583"/>
                </a:lnTo>
                <a:lnTo>
                  <a:pt x="725" y="523"/>
                </a:lnTo>
                <a:lnTo>
                  <a:pt x="690" y="467"/>
                </a:lnTo>
                <a:lnTo>
                  <a:pt x="660" y="416"/>
                </a:lnTo>
                <a:lnTo>
                  <a:pt x="634" y="369"/>
                </a:lnTo>
                <a:lnTo>
                  <a:pt x="609" y="318"/>
                </a:lnTo>
                <a:lnTo>
                  <a:pt x="582" y="255"/>
                </a:lnTo>
                <a:lnTo>
                  <a:pt x="570" y="192"/>
                </a:lnTo>
                <a:lnTo>
                  <a:pt x="569" y="0"/>
                </a:lnTo>
                <a:lnTo>
                  <a:pt x="284" y="0"/>
                </a:lnTo>
                <a:lnTo>
                  <a:pt x="284" y="192"/>
                </a:lnTo>
                <a:lnTo>
                  <a:pt x="271" y="255"/>
                </a:lnTo>
                <a:lnTo>
                  <a:pt x="238" y="333"/>
                </a:lnTo>
                <a:lnTo>
                  <a:pt x="210" y="384"/>
                </a:lnTo>
                <a:lnTo>
                  <a:pt x="185" y="427"/>
                </a:lnTo>
                <a:lnTo>
                  <a:pt x="155" y="478"/>
                </a:lnTo>
                <a:lnTo>
                  <a:pt x="125" y="526"/>
                </a:lnTo>
                <a:lnTo>
                  <a:pt x="90" y="579"/>
                </a:lnTo>
                <a:lnTo>
                  <a:pt x="48" y="640"/>
                </a:lnTo>
                <a:lnTo>
                  <a:pt x="2" y="609"/>
                </a:lnTo>
              </a:path>
            </a:pathLst>
          </a:custGeom>
          <a:solidFill>
            <a:srgbClr val="00A1DE"/>
          </a:solidFill>
          <a:ln w="12700" cap="rnd">
            <a:solidFill>
              <a:srgbClr val="FFFFFF"/>
            </a:solidFill>
            <a:round/>
            <a:headEnd/>
            <a:tailEnd/>
          </a:ln>
        </p:spPr>
        <p:txBody>
          <a:bodyPr/>
          <a:lstStyle/>
          <a:p>
            <a:pPr defTabSz="685800">
              <a:buClrTx/>
              <a:defRPr/>
            </a:pPr>
            <a:endParaRPr lang="en-US" sz="1350" dirty="0">
              <a:solidFill>
                <a:sysClr val="windowText" lastClr="000000"/>
              </a:solidFill>
              <a:ea typeface="+mn-ea"/>
              <a:cs typeface="+mn-cs"/>
            </a:endParaRPr>
          </a:p>
        </p:txBody>
      </p:sp>
      <p:sp>
        <p:nvSpPr>
          <p:cNvPr id="198" name="AutoShape 82"/>
          <p:cNvSpPr>
            <a:spLocks noChangeArrowheads="1"/>
          </p:cNvSpPr>
          <p:nvPr>
            <p:custDataLst>
              <p:tags r:id="rId34"/>
            </p:custDataLst>
          </p:nvPr>
        </p:nvSpPr>
        <p:spPr bwMode="gray">
          <a:xfrm>
            <a:off x="1494235" y="3178969"/>
            <a:ext cx="1020365" cy="511969"/>
          </a:xfrm>
          <a:prstGeom prst="rightArrow">
            <a:avLst>
              <a:gd name="adj1" fmla="val 50000"/>
              <a:gd name="adj2" fmla="val 53953"/>
            </a:avLst>
          </a:prstGeom>
          <a:solidFill>
            <a:srgbClr val="00A1DE"/>
          </a:solidFill>
          <a:ln w="12700">
            <a:solidFill>
              <a:srgbClr val="FFFFFF"/>
            </a:solidFill>
            <a:miter lim="800000"/>
            <a:headEnd/>
            <a:tailEnd/>
          </a:ln>
        </p:spPr>
        <p:txBody>
          <a:bodyPr lIns="0" tIns="0" rIns="0" bIns="0" anchor="ctr" anchorCtr="1"/>
          <a:lstStyle/>
          <a:p>
            <a:pPr algn="ctr" defTabSz="685800">
              <a:buClrTx/>
              <a:defRPr/>
            </a:pPr>
            <a:endParaRPr lang="en-US" sz="1050" dirty="0">
              <a:solidFill>
                <a:sysClr val="windowText" lastClr="000000"/>
              </a:solidFill>
              <a:ea typeface="+mn-ea"/>
              <a:cs typeface="+mn-cs"/>
            </a:endParaRPr>
          </a:p>
        </p:txBody>
      </p:sp>
      <p:sp>
        <p:nvSpPr>
          <p:cNvPr id="199" name="AutoShape 83"/>
          <p:cNvSpPr>
            <a:spLocks noChangeArrowheads="1"/>
          </p:cNvSpPr>
          <p:nvPr>
            <p:custDataLst>
              <p:tags r:id="rId35"/>
            </p:custDataLst>
          </p:nvPr>
        </p:nvSpPr>
        <p:spPr bwMode="gray">
          <a:xfrm>
            <a:off x="1549003" y="3792141"/>
            <a:ext cx="395288" cy="133350"/>
          </a:xfrm>
          <a:prstGeom prst="rightArrow">
            <a:avLst>
              <a:gd name="adj1" fmla="val 35713"/>
              <a:gd name="adj2" fmla="val 82054"/>
            </a:avLst>
          </a:prstGeom>
          <a:solidFill>
            <a:srgbClr val="00A1DE"/>
          </a:solidFill>
          <a:ln w="12700">
            <a:solidFill>
              <a:srgbClr val="FFFFFF"/>
            </a:solidFill>
            <a:miter lim="800000"/>
            <a:headEnd/>
            <a:tailEnd/>
          </a:ln>
        </p:spPr>
        <p:txBody>
          <a:bodyPr lIns="0" tIns="0" rIns="0" bIns="0" anchor="ctr" anchorCtr="1"/>
          <a:lstStyle/>
          <a:p>
            <a:pPr algn="ctr" defTabSz="685800">
              <a:buClrTx/>
              <a:defRPr/>
            </a:pPr>
            <a:endParaRPr lang="en-US" sz="1050" dirty="0">
              <a:solidFill>
                <a:sysClr val="windowText" lastClr="000000"/>
              </a:solidFill>
              <a:ea typeface="+mn-ea"/>
              <a:cs typeface="+mn-cs"/>
            </a:endParaRPr>
          </a:p>
        </p:txBody>
      </p:sp>
      <p:sp>
        <p:nvSpPr>
          <p:cNvPr id="200" name="AutoShape 84"/>
          <p:cNvSpPr>
            <a:spLocks noChangeArrowheads="1"/>
          </p:cNvSpPr>
          <p:nvPr>
            <p:custDataLst>
              <p:tags r:id="rId36"/>
            </p:custDataLst>
          </p:nvPr>
        </p:nvSpPr>
        <p:spPr bwMode="gray">
          <a:xfrm>
            <a:off x="1546623" y="3994548"/>
            <a:ext cx="201215" cy="88106"/>
          </a:xfrm>
          <a:prstGeom prst="rightArrow">
            <a:avLst>
              <a:gd name="adj1" fmla="val 35713"/>
              <a:gd name="adj2" fmla="val 63129"/>
            </a:avLst>
          </a:prstGeom>
          <a:solidFill>
            <a:srgbClr val="00A1DE"/>
          </a:solidFill>
          <a:ln w="12700">
            <a:solidFill>
              <a:srgbClr val="FFFFFF"/>
            </a:solidFill>
            <a:miter lim="800000"/>
            <a:headEnd/>
            <a:tailEnd/>
          </a:ln>
        </p:spPr>
        <p:txBody>
          <a:bodyPr lIns="0" tIns="0" rIns="0" bIns="0" anchor="ctr" anchorCtr="1"/>
          <a:lstStyle/>
          <a:p>
            <a:pPr algn="ctr" defTabSz="685800">
              <a:buClrTx/>
              <a:defRPr/>
            </a:pPr>
            <a:endParaRPr lang="en-US" sz="1050" dirty="0">
              <a:solidFill>
                <a:sysClr val="windowText" lastClr="000000"/>
              </a:solidFill>
              <a:ea typeface="+mn-ea"/>
              <a:cs typeface="+mn-cs"/>
            </a:endParaRPr>
          </a:p>
        </p:txBody>
      </p:sp>
      <p:sp>
        <p:nvSpPr>
          <p:cNvPr id="201" name="Line 85"/>
          <p:cNvSpPr>
            <a:spLocks noChangeShapeType="1"/>
          </p:cNvSpPr>
          <p:nvPr>
            <p:custDataLst>
              <p:tags r:id="rId37"/>
            </p:custDataLst>
          </p:nvPr>
        </p:nvSpPr>
        <p:spPr bwMode="gray">
          <a:xfrm>
            <a:off x="1550194" y="4186238"/>
            <a:ext cx="171450" cy="0"/>
          </a:xfrm>
          <a:prstGeom prst="line">
            <a:avLst/>
          </a:prstGeom>
          <a:noFill/>
          <a:ln w="19050">
            <a:solidFill>
              <a:srgbClr val="00A1DE"/>
            </a:solidFill>
            <a:round/>
            <a:headEnd/>
            <a:tailEnd type="triangle" w="med" len="med"/>
          </a:ln>
        </p:spPr>
        <p:txBody>
          <a:bodyPr lIns="54864" tIns="54864" rIns="54864" bIns="54864" anchor="ctr" anchorCtr="1"/>
          <a:lstStyle/>
          <a:p>
            <a:pPr defTabSz="685800">
              <a:buClrTx/>
              <a:defRPr/>
            </a:pPr>
            <a:endParaRPr lang="en-US" sz="1350" dirty="0">
              <a:solidFill>
                <a:sysClr val="windowText" lastClr="000000"/>
              </a:solidFill>
              <a:ea typeface="+mn-ea"/>
              <a:cs typeface="+mn-cs"/>
            </a:endParaRPr>
          </a:p>
        </p:txBody>
      </p:sp>
      <p:sp>
        <p:nvSpPr>
          <p:cNvPr id="202" name="Text Placeholder 12"/>
          <p:cNvSpPr>
            <a:spLocks/>
          </p:cNvSpPr>
          <p:nvPr>
            <p:custDataLst>
              <p:tags r:id="rId38"/>
            </p:custDataLst>
          </p:nvPr>
        </p:nvSpPr>
        <p:spPr bwMode="auto">
          <a:xfrm>
            <a:off x="1440657" y="914401"/>
            <a:ext cx="464871" cy="161583"/>
          </a:xfrm>
          <a:prstGeom prst="rect">
            <a:avLst/>
          </a:prstGeom>
          <a:noFill/>
          <a:ln w="9525">
            <a:noFill/>
            <a:miter lim="800000"/>
            <a:headEnd/>
            <a:tailEnd/>
          </a:ln>
        </p:spPr>
        <p:txBody>
          <a:bodyPr wrap="none" lIns="0" tIns="0" rIns="0" bIns="0">
            <a:spAutoFit/>
          </a:bodyPr>
          <a:lstStyle/>
          <a:p>
            <a:pPr defTabSz="764381">
              <a:buClrTx/>
              <a:defRPr/>
            </a:pPr>
            <a:r>
              <a:rPr lang="en-US" sz="1050" b="1" dirty="0">
                <a:solidFill>
                  <a:srgbClr val="313131"/>
                </a:solidFill>
                <a:ea typeface="+mn-ea"/>
                <a:cs typeface="+mn-cs"/>
              </a:rPr>
              <a:t>Arrows</a:t>
            </a:r>
          </a:p>
        </p:txBody>
      </p:sp>
      <p:sp>
        <p:nvSpPr>
          <p:cNvPr id="203" name="Text Placeholder 12"/>
          <p:cNvSpPr>
            <a:spLocks/>
          </p:cNvSpPr>
          <p:nvPr>
            <p:custDataLst>
              <p:tags r:id="rId39"/>
            </p:custDataLst>
          </p:nvPr>
        </p:nvSpPr>
        <p:spPr bwMode="auto">
          <a:xfrm>
            <a:off x="3523060" y="914401"/>
            <a:ext cx="666849" cy="161583"/>
          </a:xfrm>
          <a:prstGeom prst="rect">
            <a:avLst/>
          </a:prstGeom>
          <a:noFill/>
          <a:ln w="9525">
            <a:noFill/>
            <a:miter lim="800000"/>
            <a:headEnd/>
            <a:tailEnd/>
          </a:ln>
        </p:spPr>
        <p:txBody>
          <a:bodyPr wrap="none" lIns="0" tIns="0" rIns="0" bIns="0">
            <a:spAutoFit/>
          </a:bodyPr>
          <a:lstStyle/>
          <a:p>
            <a:pPr defTabSz="764381">
              <a:buClrTx/>
              <a:defRPr/>
            </a:pPr>
            <a:r>
              <a:rPr lang="en-US" sz="1050" b="1" dirty="0">
                <a:solidFill>
                  <a:srgbClr val="313131"/>
                </a:solidFill>
                <a:ea typeface="+mn-ea"/>
                <a:cs typeface="+mn-cs"/>
              </a:rPr>
              <a:t>Text items</a:t>
            </a:r>
          </a:p>
        </p:txBody>
      </p:sp>
      <p:sp>
        <p:nvSpPr>
          <p:cNvPr id="204" name="Text Placeholder 12"/>
          <p:cNvSpPr>
            <a:spLocks/>
          </p:cNvSpPr>
          <p:nvPr>
            <p:custDataLst>
              <p:tags r:id="rId40"/>
            </p:custDataLst>
          </p:nvPr>
        </p:nvSpPr>
        <p:spPr bwMode="auto">
          <a:xfrm>
            <a:off x="5778103" y="914401"/>
            <a:ext cx="981038" cy="161583"/>
          </a:xfrm>
          <a:prstGeom prst="rect">
            <a:avLst/>
          </a:prstGeom>
          <a:noFill/>
          <a:ln w="9525">
            <a:noFill/>
            <a:miter lim="800000"/>
            <a:headEnd/>
            <a:tailEnd/>
          </a:ln>
        </p:spPr>
        <p:txBody>
          <a:bodyPr wrap="none" lIns="0" tIns="0" rIns="0" bIns="0">
            <a:spAutoFit/>
          </a:bodyPr>
          <a:lstStyle/>
          <a:p>
            <a:pPr defTabSz="764381">
              <a:buClrTx/>
              <a:defRPr/>
            </a:pPr>
            <a:r>
              <a:rPr lang="en-US" sz="1050" b="1" dirty="0">
                <a:solidFill>
                  <a:srgbClr val="313131"/>
                </a:solidFill>
                <a:ea typeface="+mn-ea"/>
                <a:cs typeface="+mn-cs"/>
              </a:rPr>
              <a:t>Generic header</a:t>
            </a:r>
          </a:p>
        </p:txBody>
      </p:sp>
      <p:sp>
        <p:nvSpPr>
          <p:cNvPr id="205" name="Text Placeholder 12"/>
          <p:cNvSpPr>
            <a:spLocks/>
          </p:cNvSpPr>
          <p:nvPr>
            <p:custDataLst>
              <p:tags r:id="rId41"/>
            </p:custDataLst>
          </p:nvPr>
        </p:nvSpPr>
        <p:spPr bwMode="auto">
          <a:xfrm>
            <a:off x="3523060" y="2461023"/>
            <a:ext cx="322204" cy="161583"/>
          </a:xfrm>
          <a:prstGeom prst="rect">
            <a:avLst/>
          </a:prstGeom>
          <a:noFill/>
          <a:ln w="9525">
            <a:noFill/>
            <a:miter lim="800000"/>
            <a:headEnd/>
            <a:tailEnd/>
          </a:ln>
        </p:spPr>
        <p:txBody>
          <a:bodyPr wrap="none" lIns="0" tIns="0" rIns="0" bIns="0">
            <a:spAutoFit/>
          </a:bodyPr>
          <a:lstStyle/>
          <a:p>
            <a:pPr defTabSz="764381">
              <a:buClrTx/>
              <a:defRPr/>
            </a:pPr>
            <a:r>
              <a:rPr lang="en-US" sz="1050" b="1" dirty="0">
                <a:solidFill>
                  <a:srgbClr val="313131"/>
                </a:solidFill>
                <a:ea typeface="+mn-ea"/>
                <a:cs typeface="+mn-cs"/>
              </a:rPr>
              <a:t>Balls</a:t>
            </a:r>
          </a:p>
        </p:txBody>
      </p:sp>
      <p:sp>
        <p:nvSpPr>
          <p:cNvPr id="206" name="Text Placeholder 12"/>
          <p:cNvSpPr>
            <a:spLocks/>
          </p:cNvSpPr>
          <p:nvPr>
            <p:custDataLst>
              <p:tags r:id="rId42"/>
            </p:custDataLst>
          </p:nvPr>
        </p:nvSpPr>
        <p:spPr bwMode="auto">
          <a:xfrm>
            <a:off x="5707857" y="2515957"/>
            <a:ext cx="825547" cy="161583"/>
          </a:xfrm>
          <a:prstGeom prst="rect">
            <a:avLst/>
          </a:prstGeom>
          <a:noFill/>
          <a:ln w="9525">
            <a:noFill/>
            <a:miter lim="800000"/>
            <a:headEnd/>
            <a:tailEnd/>
          </a:ln>
        </p:spPr>
        <p:txBody>
          <a:bodyPr wrap="none" lIns="0" tIns="0" rIns="0" bIns="0">
            <a:spAutoFit/>
          </a:bodyPr>
          <a:lstStyle/>
          <a:p>
            <a:pPr defTabSz="764381">
              <a:buClrTx/>
              <a:defRPr/>
            </a:pPr>
            <a:r>
              <a:rPr lang="en-US" sz="1050" b="1" dirty="0">
                <a:solidFill>
                  <a:srgbClr val="313131"/>
                </a:solidFill>
                <a:ea typeface="+mn-ea"/>
                <a:cs typeface="+mn-cs"/>
              </a:rPr>
              <a:t>Scale breaks</a:t>
            </a:r>
          </a:p>
        </p:txBody>
      </p:sp>
      <p:grpSp>
        <p:nvGrpSpPr>
          <p:cNvPr id="207" name="Group 11"/>
          <p:cNvGrpSpPr>
            <a:grpSpLocks/>
          </p:cNvGrpSpPr>
          <p:nvPr/>
        </p:nvGrpSpPr>
        <p:grpSpPr bwMode="auto">
          <a:xfrm>
            <a:off x="4374574" y="1637433"/>
            <a:ext cx="1092994" cy="581025"/>
            <a:chOff x="2071670" y="1928803"/>
            <a:chExt cx="1500198" cy="857256"/>
          </a:xfrm>
        </p:grpSpPr>
        <p:sp>
          <p:nvSpPr>
            <p:cNvPr id="208" name="Rectangle 87"/>
            <p:cNvSpPr>
              <a:spLocks noChangeArrowheads="1"/>
            </p:cNvSpPr>
            <p:nvPr/>
          </p:nvSpPr>
          <p:spPr bwMode="auto">
            <a:xfrm>
              <a:off x="2071670" y="1928803"/>
              <a:ext cx="1500198" cy="857256"/>
            </a:xfrm>
            <a:prstGeom prst="rect">
              <a:avLst/>
            </a:prstGeom>
            <a:solidFill>
              <a:srgbClr val="FFFFFF"/>
            </a:solidFill>
            <a:ln w="69850" algn="ctr">
              <a:solidFill>
                <a:srgbClr val="C00000"/>
              </a:solidFill>
              <a:miter lim="800000"/>
              <a:headEnd/>
              <a:tailEnd/>
            </a:ln>
          </p:spPr>
          <p:txBody>
            <a:bodyPr lIns="76426" tIns="38213" rIns="76426" bIns="38213" anchor="ctr"/>
            <a:lstStyle/>
            <a:p>
              <a:pPr algn="ctr" defTabSz="764381">
                <a:buClrTx/>
                <a:defRPr/>
              </a:pPr>
              <a:endParaRPr lang="en-US" sz="1350">
                <a:solidFill>
                  <a:srgbClr val="C00000"/>
                </a:solidFill>
                <a:ea typeface="+mn-ea"/>
                <a:cs typeface="+mn-cs"/>
              </a:endParaRPr>
            </a:p>
          </p:txBody>
        </p:sp>
        <p:sp>
          <p:nvSpPr>
            <p:cNvPr id="209" name="TextBox 6"/>
            <p:cNvSpPr txBox="1">
              <a:spLocks noChangeArrowheads="1"/>
            </p:cNvSpPr>
            <p:nvPr/>
          </p:nvSpPr>
          <p:spPr bwMode="auto">
            <a:xfrm>
              <a:off x="2170802" y="2110514"/>
              <a:ext cx="1301933" cy="493833"/>
            </a:xfrm>
            <a:prstGeom prst="rect">
              <a:avLst/>
            </a:prstGeom>
            <a:noFill/>
            <a:ln w="9525">
              <a:noFill/>
              <a:miter lim="800000"/>
              <a:headEnd/>
              <a:tailEnd/>
            </a:ln>
          </p:spPr>
          <p:txBody>
            <a:bodyPr lIns="0" tIns="0" rIns="0" bIns="0">
              <a:spAutoFit/>
            </a:bodyPr>
            <a:lstStyle/>
            <a:p>
              <a:pPr defTabSz="764381">
                <a:buClrTx/>
                <a:defRPr/>
              </a:pPr>
              <a:r>
                <a:rPr lang="en-US" sz="2175" b="1" dirty="0">
                  <a:solidFill>
                    <a:srgbClr val="C00000"/>
                  </a:solidFill>
                  <a:ea typeface="+mn-ea"/>
                  <a:cs typeface="+mn-cs"/>
                </a:rPr>
                <a:t>DRAFT</a:t>
              </a:r>
            </a:p>
          </p:txBody>
        </p:sp>
        <p:cxnSp>
          <p:nvCxnSpPr>
            <p:cNvPr id="210" name="Straight Connector 209"/>
            <p:cNvCxnSpPr/>
            <p:nvPr/>
          </p:nvCxnSpPr>
          <p:spPr>
            <a:xfrm>
              <a:off x="2179527" y="2071094"/>
              <a:ext cx="1284483" cy="1756"/>
            </a:xfrm>
            <a:prstGeom prst="line">
              <a:avLst/>
            </a:prstGeom>
            <a:noFill/>
            <a:ln w="38100" cap="flat" cmpd="sng" algn="ctr">
              <a:solidFill>
                <a:srgbClr val="C00000"/>
              </a:solidFill>
              <a:prstDash val="solid"/>
            </a:ln>
            <a:effectLst/>
          </p:spPr>
        </p:cxnSp>
        <p:cxnSp>
          <p:nvCxnSpPr>
            <p:cNvPr id="211" name="Straight Connector 210"/>
            <p:cNvCxnSpPr/>
            <p:nvPr/>
          </p:nvCxnSpPr>
          <p:spPr>
            <a:xfrm>
              <a:off x="2179527" y="2643769"/>
              <a:ext cx="1284483" cy="1756"/>
            </a:xfrm>
            <a:prstGeom prst="line">
              <a:avLst/>
            </a:prstGeom>
            <a:noFill/>
            <a:ln w="38100" cap="flat" cmpd="sng" algn="ctr">
              <a:solidFill>
                <a:srgbClr val="C00000"/>
              </a:solidFill>
              <a:prstDash val="solid"/>
            </a:ln>
            <a:effectLst/>
          </p:spPr>
        </p:cxnSp>
      </p:grpSp>
      <p:sp>
        <p:nvSpPr>
          <p:cNvPr id="212" name="Rectangle 57"/>
          <p:cNvSpPr>
            <a:spLocks noChangeArrowheads="1"/>
          </p:cNvSpPr>
          <p:nvPr>
            <p:custDataLst>
              <p:tags r:id="rId43"/>
            </p:custDataLst>
          </p:nvPr>
        </p:nvSpPr>
        <p:spPr bwMode="auto">
          <a:xfrm>
            <a:off x="4267202" y="2728264"/>
            <a:ext cx="1213883" cy="1523494"/>
          </a:xfrm>
          <a:prstGeom prst="rect">
            <a:avLst/>
          </a:prstGeom>
          <a:noFill/>
          <a:ln w="6350" algn="ctr">
            <a:solidFill>
              <a:srgbClr val="00A1DE"/>
            </a:solidFill>
            <a:miter lim="800000"/>
            <a:headEnd/>
            <a:tailEnd/>
          </a:ln>
        </p:spPr>
        <p:txBody>
          <a:bodyPr wrap="square" tIns="68580" bIns="68580">
            <a:spAutoFit/>
          </a:bodyPr>
          <a:lstStyle/>
          <a:p>
            <a:pPr defTabSz="685800">
              <a:buClrTx/>
              <a:defRPr/>
            </a:pPr>
            <a:r>
              <a:rPr lang="en-US" altLang="ja-JP" sz="750" b="1" dirty="0">
                <a:solidFill>
                  <a:srgbClr val="313131"/>
                </a:solidFill>
                <a:ea typeface="ＭＳ Ｐゴシック" charset="-128"/>
                <a:cs typeface="+mn-cs"/>
              </a:rPr>
              <a:t>Important Note:</a:t>
            </a:r>
            <a:r>
              <a:rPr lang="en-US" altLang="ja-JP" sz="750" dirty="0">
                <a:solidFill>
                  <a:srgbClr val="313131"/>
                </a:solidFill>
                <a:ea typeface="ＭＳ Ｐゴシック" charset="-128"/>
                <a:cs typeface="+mn-cs"/>
              </a:rPr>
              <a:t> The colors red and yellow are used as part of heat maps and traffic light signals because these carry apt meaning to their usage. Please do not use these colors for any other purpose, they are strictly for Heat maps and Traffic light signal usage.</a:t>
            </a:r>
          </a:p>
        </p:txBody>
      </p:sp>
      <p:sp>
        <p:nvSpPr>
          <p:cNvPr id="213" name="Oval 94"/>
          <p:cNvSpPr>
            <a:spLocks noChangeArrowheads="1"/>
          </p:cNvSpPr>
          <p:nvPr/>
        </p:nvSpPr>
        <p:spPr bwMode="gray">
          <a:xfrm>
            <a:off x="3927168" y="3641663"/>
            <a:ext cx="270000" cy="270000"/>
          </a:xfrm>
          <a:prstGeom prst="ellipse">
            <a:avLst/>
          </a:prstGeom>
          <a:solidFill>
            <a:srgbClr val="3C8A2E"/>
          </a:solidFill>
          <a:ln w="12700" algn="ctr">
            <a:solidFill>
              <a:srgbClr val="FFFFFF"/>
            </a:solidFill>
            <a:round/>
            <a:headEnd/>
            <a:tailEnd/>
          </a:ln>
        </p:spPr>
        <p:txBody>
          <a:bodyPr wrap="none" anchor="ctr"/>
          <a:lstStyle/>
          <a:p>
            <a:pPr defTabSz="685800">
              <a:buClrTx/>
              <a:defRPr/>
            </a:pPr>
            <a:endParaRPr lang="en-US" sz="1350">
              <a:solidFill>
                <a:sysClr val="windowText" lastClr="000000"/>
              </a:solidFill>
              <a:ea typeface="+mn-ea"/>
              <a:cs typeface="+mn-cs"/>
            </a:endParaRPr>
          </a:p>
        </p:txBody>
      </p:sp>
      <p:sp>
        <p:nvSpPr>
          <p:cNvPr id="214" name="Oval 95"/>
          <p:cNvSpPr>
            <a:spLocks noChangeArrowheads="1"/>
          </p:cNvSpPr>
          <p:nvPr/>
        </p:nvSpPr>
        <p:spPr bwMode="gray">
          <a:xfrm>
            <a:off x="3927168" y="2749154"/>
            <a:ext cx="270000" cy="270000"/>
          </a:xfrm>
          <a:prstGeom prst="ellipse">
            <a:avLst/>
          </a:prstGeom>
          <a:solidFill>
            <a:srgbClr val="C00000"/>
          </a:solidFill>
          <a:ln w="12700" algn="ctr">
            <a:solidFill>
              <a:srgbClr val="FFFFFF"/>
            </a:solidFill>
            <a:round/>
            <a:headEnd/>
            <a:tailEnd/>
          </a:ln>
        </p:spPr>
        <p:txBody>
          <a:bodyPr wrap="none" anchor="ctr"/>
          <a:lstStyle/>
          <a:p>
            <a:pPr defTabSz="685800">
              <a:buClrTx/>
              <a:defRPr/>
            </a:pPr>
            <a:endParaRPr lang="en-US" sz="1350">
              <a:solidFill>
                <a:sysClr val="windowText" lastClr="000000"/>
              </a:solidFill>
              <a:ea typeface="+mn-ea"/>
              <a:cs typeface="+mn-cs"/>
            </a:endParaRPr>
          </a:p>
        </p:txBody>
      </p:sp>
      <p:sp>
        <p:nvSpPr>
          <p:cNvPr id="215" name="Oval 96"/>
          <p:cNvSpPr>
            <a:spLocks noChangeArrowheads="1"/>
          </p:cNvSpPr>
          <p:nvPr/>
        </p:nvSpPr>
        <p:spPr bwMode="gray">
          <a:xfrm>
            <a:off x="3927168" y="3195408"/>
            <a:ext cx="270000" cy="270000"/>
          </a:xfrm>
          <a:prstGeom prst="ellipse">
            <a:avLst/>
          </a:prstGeom>
          <a:solidFill>
            <a:srgbClr val="FFC000"/>
          </a:solidFill>
          <a:ln w="12700" algn="ctr">
            <a:solidFill>
              <a:srgbClr val="FFFFFF"/>
            </a:solidFill>
            <a:round/>
            <a:headEnd/>
            <a:tailEnd/>
          </a:ln>
        </p:spPr>
        <p:txBody>
          <a:bodyPr wrap="none" anchor="ctr"/>
          <a:lstStyle/>
          <a:p>
            <a:pPr defTabSz="685800">
              <a:buClrTx/>
              <a:defRPr/>
            </a:pPr>
            <a:endParaRPr lang="en-US" sz="1350">
              <a:solidFill>
                <a:sysClr val="windowText" lastClr="000000"/>
              </a:solidFill>
              <a:ea typeface="+mn-ea"/>
              <a:cs typeface="+mn-cs"/>
            </a:endParaRPr>
          </a:p>
        </p:txBody>
      </p:sp>
      <p:sp>
        <p:nvSpPr>
          <p:cNvPr id="216" name="Oval 215"/>
          <p:cNvSpPr/>
          <p:nvPr/>
        </p:nvSpPr>
        <p:spPr>
          <a:xfrm>
            <a:off x="3927168" y="4087917"/>
            <a:ext cx="270000" cy="270000"/>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defTabSz="685800">
              <a:buClrTx/>
              <a:defRPr/>
            </a:pPr>
            <a:r>
              <a:rPr lang="en-US" sz="1350" dirty="0">
                <a:solidFill>
                  <a:srgbClr val="FFFFFF"/>
                </a:solidFill>
                <a:ea typeface="+mn-ea"/>
                <a:cs typeface="+mn-cs"/>
              </a:rPr>
              <a:t>1</a:t>
            </a:r>
          </a:p>
        </p:txBody>
      </p:sp>
      <p:sp>
        <p:nvSpPr>
          <p:cNvPr id="217" name="Oval 216"/>
          <p:cNvSpPr/>
          <p:nvPr/>
        </p:nvSpPr>
        <p:spPr>
          <a:xfrm>
            <a:off x="3927168" y="4534172"/>
            <a:ext cx="270000" cy="270000"/>
          </a:xfrm>
          <a:prstGeom prst="ellipse">
            <a:avLst/>
          </a:prstGeom>
          <a:solidFill>
            <a:srgbClr val="92D400"/>
          </a:solidFill>
          <a:ln w="12700" cap="flat" cmpd="sng" algn="ctr">
            <a:solidFill>
              <a:srgbClr val="FFFFFF"/>
            </a:solidFill>
            <a:prstDash val="solid"/>
          </a:ln>
          <a:effectLst/>
        </p:spPr>
        <p:txBody>
          <a:bodyPr wrap="none" lIns="0" tIns="0" rIns="0" bIns="0" anchor="ctr"/>
          <a:lstStyle/>
          <a:p>
            <a:pPr algn="ctr" defTabSz="685800">
              <a:buClrTx/>
              <a:defRPr/>
            </a:pPr>
            <a:r>
              <a:rPr lang="en-US" sz="1350" dirty="0">
                <a:solidFill>
                  <a:srgbClr val="FFFFFF"/>
                </a:solidFill>
                <a:ea typeface="+mn-ea"/>
                <a:cs typeface="+mn-cs"/>
              </a:rPr>
              <a:t>2</a:t>
            </a:r>
          </a:p>
        </p:txBody>
      </p:sp>
      <p:sp>
        <p:nvSpPr>
          <p:cNvPr id="218" name="Rectangle 4"/>
          <p:cNvSpPr>
            <a:spLocks noChangeArrowheads="1"/>
          </p:cNvSpPr>
          <p:nvPr>
            <p:custDataLst>
              <p:tags r:id="rId44"/>
            </p:custDataLst>
          </p:nvPr>
        </p:nvSpPr>
        <p:spPr bwMode="auto">
          <a:xfrm>
            <a:off x="1440656" y="4619507"/>
            <a:ext cx="266098" cy="184666"/>
          </a:xfrm>
          <a:prstGeom prst="rect">
            <a:avLst/>
          </a:prstGeom>
          <a:noFill/>
          <a:ln w="12700" algn="ctr">
            <a:noFill/>
            <a:miter lim="800000"/>
            <a:headEnd/>
            <a:tailEnd/>
          </a:ln>
        </p:spPr>
        <p:txBody>
          <a:bodyPr wrap="none" lIns="0" tIns="0" rIns="0" bIns="0" anchor="b" anchorCtr="0">
            <a:spAutoFit/>
          </a:bodyPr>
          <a:lstStyle/>
          <a:p>
            <a:pPr defTabSz="764381">
              <a:buClrTx/>
              <a:defRPr/>
            </a:pPr>
            <a:r>
              <a:rPr lang="en-US" sz="600" dirty="0">
                <a:solidFill>
                  <a:srgbClr val="313131"/>
                </a:solidFill>
                <a:ea typeface="+mn-ea"/>
                <a:cs typeface="+mn-cs"/>
              </a:rPr>
              <a:t>Note:</a:t>
            </a:r>
          </a:p>
          <a:p>
            <a:pPr defTabSz="764381">
              <a:buClrTx/>
              <a:defRPr/>
            </a:pPr>
            <a:r>
              <a:rPr lang="en-US" sz="600" dirty="0">
                <a:solidFill>
                  <a:srgbClr val="313131"/>
                </a:solidFill>
                <a:ea typeface="+mn-ea"/>
                <a:cs typeface="+mn-cs"/>
              </a:rPr>
              <a:t>Source:</a:t>
            </a:r>
          </a:p>
        </p:txBody>
      </p:sp>
      <p:sp>
        <p:nvSpPr>
          <p:cNvPr id="219" name="Text Placeholder 95"/>
          <p:cNvSpPr txBox="1">
            <a:spLocks/>
          </p:cNvSpPr>
          <p:nvPr>
            <p:custDataLst>
              <p:tags r:id="rId45"/>
            </p:custDataLst>
          </p:nvPr>
        </p:nvSpPr>
        <p:spPr bwMode="auto">
          <a:xfrm>
            <a:off x="5779295" y="1058466"/>
            <a:ext cx="1925240" cy="656034"/>
          </a:xfrm>
          <a:prstGeom prst="rect">
            <a:avLst/>
          </a:prstGeom>
          <a:noFill/>
          <a:ln>
            <a:miter lim="800000"/>
            <a:headEnd/>
            <a:tailEnd/>
          </a:ln>
        </p:spPr>
        <p:txBody>
          <a:bodyPr vert="horz" numCol="1" anchor="t" anchorCtr="0" compatLnSpc="1">
            <a:prstTxWarp prst="textNoShape">
              <a:avLst/>
            </a:prstTxWarp>
          </a:bodyPr>
          <a:lstStyle/>
          <a:p>
            <a:pPr marL="142875" lvl="1" indent="-142875" defTabSz="717947" fontAlgn="base">
              <a:lnSpc>
                <a:spcPct val="106000"/>
              </a:lnSpc>
              <a:spcBef>
                <a:spcPts val="1013"/>
              </a:spcBef>
              <a:spcAft>
                <a:spcPct val="0"/>
              </a:spcAft>
              <a:buClrTx/>
              <a:buFont typeface="Arial" charset="0"/>
              <a:buChar char="•"/>
              <a:defRPr/>
            </a:pPr>
            <a:r>
              <a:rPr lang="en-US" sz="900" kern="1200" dirty="0">
                <a:solidFill>
                  <a:srgbClr val="313131"/>
                </a:solidFill>
                <a:ea typeface="+mn-ea"/>
                <a:cs typeface="+mn-cs"/>
              </a:rPr>
              <a:t>Generic text with bullet</a:t>
            </a:r>
          </a:p>
          <a:p>
            <a:pPr marL="279797" lvl="2" indent="-136922" defTabSz="717947" fontAlgn="base">
              <a:lnSpc>
                <a:spcPct val="106000"/>
              </a:lnSpc>
              <a:spcBef>
                <a:spcPts val="431"/>
              </a:spcBef>
              <a:spcAft>
                <a:spcPct val="0"/>
              </a:spcAft>
              <a:buClrTx/>
              <a:buFont typeface="Arial" charset="0"/>
              <a:buChar char="‒"/>
              <a:defRPr/>
            </a:pPr>
            <a:r>
              <a:rPr lang="en-US" sz="900" kern="1200" dirty="0">
                <a:solidFill>
                  <a:srgbClr val="313131"/>
                </a:solidFill>
                <a:ea typeface="+mn-ea"/>
                <a:cs typeface="+mn-cs"/>
              </a:rPr>
              <a:t>Generic dash text</a:t>
            </a:r>
          </a:p>
          <a:p>
            <a:pPr marL="423863" lvl="3" indent="-142875" defTabSz="717947" fontAlgn="base">
              <a:lnSpc>
                <a:spcPct val="106000"/>
              </a:lnSpc>
              <a:spcBef>
                <a:spcPts val="431"/>
              </a:spcBef>
              <a:spcAft>
                <a:spcPct val="0"/>
              </a:spcAft>
              <a:buClrTx/>
              <a:buFont typeface="Arial" charset="0"/>
              <a:buChar char="•"/>
              <a:defRPr/>
            </a:pPr>
            <a:r>
              <a:rPr lang="en-US" sz="900" kern="1200" dirty="0">
                <a:solidFill>
                  <a:srgbClr val="313131"/>
                </a:solidFill>
                <a:ea typeface="+mn-ea"/>
                <a:cs typeface="+mn-cs"/>
              </a:rPr>
              <a:t>Generic sub-bullet text</a:t>
            </a:r>
          </a:p>
        </p:txBody>
      </p:sp>
      <p:sp>
        <p:nvSpPr>
          <p:cNvPr id="220" name="Rectangle 57"/>
          <p:cNvSpPr>
            <a:spLocks noChangeArrowheads="1"/>
          </p:cNvSpPr>
          <p:nvPr/>
        </p:nvSpPr>
        <p:spPr bwMode="auto">
          <a:xfrm>
            <a:off x="6095114" y="1"/>
            <a:ext cx="1905886" cy="686136"/>
          </a:xfrm>
          <a:prstGeom prst="rect">
            <a:avLst/>
          </a:prstGeom>
          <a:solidFill>
            <a:schemeClr val="accent6"/>
          </a:solidFill>
          <a:ln w="6350" algn="ctr">
            <a:solidFill>
              <a:schemeClr val="bg1"/>
            </a:solidFill>
            <a:miter lim="800000"/>
            <a:headEnd/>
            <a:tailEnd/>
          </a:ln>
        </p:spPr>
        <p:txBody>
          <a:bodyPr wrap="square" lIns="54000" tIns="54000" rIns="54000" bIns="54000">
            <a:spAutoFit/>
          </a:bodyPr>
          <a:lstStyle/>
          <a:p>
            <a:pPr defTabSz="685800">
              <a:buClrTx/>
            </a:pPr>
            <a:r>
              <a:rPr lang="en-US" altLang="ja-JP" sz="750" kern="1200" dirty="0">
                <a:solidFill>
                  <a:srgbClr val="313131"/>
                </a:solidFill>
                <a:ea typeface="ＭＳ Ｐゴシック" charset="-128"/>
                <a:cs typeface="+mn-cs"/>
              </a:rPr>
              <a:t>Tip! Use the Paint Brush on the Formatting Toolbar to copy identical settings onto other objects. Rotate and Flip objects as needed using the Draw Toolbar</a:t>
            </a:r>
          </a:p>
        </p:txBody>
      </p:sp>
    </p:spTree>
    <p:extLst>
      <p:ext uri="{BB962C8B-B14F-4D97-AF65-F5344CB8AC3E}">
        <p14:creationId xmlns:p14="http://schemas.microsoft.com/office/powerpoint/2010/main" val="5015842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8801" name="Title 1"/>
          <p:cNvSpPr>
            <a:spLocks noGrp="1"/>
          </p:cNvSpPr>
          <p:nvPr>
            <p:ph type="title"/>
          </p:nvPr>
        </p:nvSpPr>
        <p:spPr/>
        <p:txBody>
          <a:bodyPr/>
          <a:lstStyle/>
          <a:p>
            <a:pPr>
              <a:lnSpc>
                <a:spcPct val="100000"/>
              </a:lnSpc>
            </a:pPr>
            <a:r>
              <a:rPr lang="en-US" altLang="ja-JP" dirty="0">
                <a:solidFill>
                  <a:srgbClr val="81BC00"/>
                </a:solidFill>
              </a:rPr>
              <a:t>Text boxes  </a:t>
            </a:r>
            <a:br>
              <a:rPr lang="en-US" altLang="ja-JP" dirty="0">
                <a:solidFill>
                  <a:srgbClr val="81BC00"/>
                </a:solidFill>
              </a:rPr>
            </a:br>
            <a:r>
              <a:rPr lang="en-US" altLang="ja-JP" dirty="0">
                <a:solidFill>
                  <a:srgbClr val="575757"/>
                </a:solidFill>
              </a:rPr>
              <a:t>Chevrons resulting from </a:t>
            </a:r>
            <a:endParaRPr lang="en-US" dirty="0">
              <a:solidFill>
                <a:srgbClr val="575757"/>
              </a:solidFill>
            </a:endParaRPr>
          </a:p>
        </p:txBody>
      </p:sp>
      <p:sp>
        <p:nvSpPr>
          <p:cNvPr id="12" name="Rectangle 11"/>
          <p:cNvSpPr>
            <a:spLocks noChangeArrowheads="1"/>
          </p:cNvSpPr>
          <p:nvPr>
            <p:custDataLst>
              <p:tags r:id="rId1"/>
            </p:custDataLst>
          </p:nvPr>
        </p:nvSpPr>
        <p:spPr bwMode="auto">
          <a:xfrm>
            <a:off x="3584448" y="1268730"/>
            <a:ext cx="1950244" cy="3352800"/>
          </a:xfrm>
          <a:prstGeom prst="rect">
            <a:avLst/>
          </a:prstGeom>
          <a:noFill/>
          <a:ln w="6350" algn="ctr">
            <a:solidFill>
              <a:srgbClr val="B4B4B4"/>
            </a:solidFill>
            <a:miter lim="800000"/>
            <a:headEnd/>
            <a:tailEnd/>
          </a:ln>
        </p:spPr>
        <p:txBody>
          <a:bodyPr lIns="27000" tIns="27000" rIns="27000" bIns="27000" anchor="ctr"/>
          <a:lstStyle/>
          <a:p>
            <a:pPr algn="ctr" defTabSz="685800">
              <a:buClrTx/>
              <a:defRPr/>
            </a:pPr>
            <a:r>
              <a:rPr lang="en-US" altLang="ja-JP" sz="1050" b="1" kern="1200" dirty="0">
                <a:solidFill>
                  <a:srgbClr val="313131"/>
                </a:solidFill>
                <a:ea typeface="ＭＳ Ｐゴシック" pitchFamily="50" charset="-128"/>
                <a:cs typeface="+mn-cs"/>
              </a:rPr>
              <a:t>Text</a:t>
            </a:r>
          </a:p>
        </p:txBody>
      </p:sp>
      <p:sp>
        <p:nvSpPr>
          <p:cNvPr id="15" name="AutoShape 8"/>
          <p:cNvSpPr>
            <a:spLocks noChangeArrowheads="1"/>
          </p:cNvSpPr>
          <p:nvPr/>
        </p:nvSpPr>
        <p:spPr bwMode="gray">
          <a:xfrm flipH="1">
            <a:off x="1657350" y="3806064"/>
            <a:ext cx="2366963" cy="742950"/>
          </a:xfrm>
          <a:prstGeom prst="homePlate">
            <a:avLst>
              <a:gd name="adj" fmla="val 21898"/>
            </a:avLst>
          </a:prstGeom>
          <a:solidFill>
            <a:srgbClr val="8C8C8C"/>
          </a:solidFill>
          <a:ln w="19050" algn="ctr">
            <a:solidFill>
              <a:schemeClr val="bg1"/>
            </a:solidFill>
            <a:miter lim="800000"/>
            <a:headEnd/>
            <a:tailEnd/>
          </a:ln>
        </p:spPr>
        <p:txBody>
          <a:bodyPr lIns="137160" tIns="27000" rIns="27000" bIns="27000"/>
          <a:lstStyle/>
          <a:p>
            <a:pPr defTabSz="685800">
              <a:spcBef>
                <a:spcPts val="450"/>
              </a:spcBef>
              <a:buClrTx/>
            </a:pPr>
            <a:r>
              <a:rPr lang="en-US" sz="825" kern="1200" dirty="0">
                <a:solidFill>
                  <a:prstClr val="white"/>
                </a:solidFill>
                <a:ea typeface="+mn-ea"/>
                <a:cs typeface="+mn-cs"/>
              </a:rPr>
              <a:t>Text runs here</a:t>
            </a:r>
          </a:p>
          <a:p>
            <a:pPr marL="205740" lvl="1" indent="-205740" defTabSz="685800">
              <a:spcBef>
                <a:spcPts val="450"/>
              </a:spcBef>
              <a:buClrTx/>
            </a:pPr>
            <a:r>
              <a:rPr lang="en-US" sz="825" kern="1200" dirty="0">
                <a:solidFill>
                  <a:prstClr val="white"/>
                </a:solidFill>
                <a:ea typeface="+mn-ea"/>
                <a:cs typeface="+mn-cs"/>
              </a:rPr>
              <a:t>This is second level text  </a:t>
            </a:r>
          </a:p>
          <a:p>
            <a:pPr marL="404622" lvl="2" indent="-198882" defTabSz="685800">
              <a:spcBef>
                <a:spcPts val="450"/>
              </a:spcBef>
              <a:buClrTx/>
            </a:pPr>
            <a:r>
              <a:rPr lang="en-US" sz="825" kern="1200" dirty="0">
                <a:solidFill>
                  <a:prstClr val="white"/>
                </a:solidFill>
                <a:ea typeface="+mn-ea"/>
                <a:cs typeface="+mn-cs"/>
              </a:rPr>
              <a:t>This is third level text </a:t>
            </a:r>
          </a:p>
        </p:txBody>
      </p:sp>
      <p:sp>
        <p:nvSpPr>
          <p:cNvPr id="16" name="Text Placeholder 5"/>
          <p:cNvSpPr txBox="1">
            <a:spLocks/>
          </p:cNvSpPr>
          <p:nvPr>
            <p:custDataLst>
              <p:tags r:id="rId2"/>
            </p:custDataLst>
          </p:nvPr>
        </p:nvSpPr>
        <p:spPr>
          <a:xfrm flipH="1">
            <a:off x="1657350" y="1350995"/>
            <a:ext cx="2359819" cy="742500"/>
          </a:xfrm>
          <a:prstGeom prst="homePlate">
            <a:avLst>
              <a:gd name="adj" fmla="val 22028"/>
            </a:avLst>
          </a:prstGeom>
          <a:solidFill>
            <a:srgbClr val="8C8C8C"/>
          </a:solidFill>
          <a:ln>
            <a:solidFill>
              <a:schemeClr val="bg1"/>
            </a:solidFill>
          </a:ln>
        </p:spPr>
        <p:txBody>
          <a:bodyPr wrap="square" lIns="137160" tIns="27000" rIns="27000" bIns="27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defTabSz="717947">
              <a:spcBef>
                <a:spcPts val="450"/>
              </a:spcBef>
              <a:buClrTx/>
            </a:pPr>
            <a:r>
              <a:rPr lang="en-US" sz="825" dirty="0">
                <a:solidFill>
                  <a:prstClr val="white"/>
                </a:solidFill>
                <a:latin typeface="Arial"/>
              </a:rPr>
              <a:t>Text runs here</a:t>
            </a:r>
          </a:p>
          <a:p>
            <a:pPr marL="205740" lvl="1" indent="-205740" defTabSz="717947">
              <a:spcBef>
                <a:spcPts val="450"/>
              </a:spcBef>
              <a:buClrTx/>
            </a:pPr>
            <a:r>
              <a:rPr lang="en-US" sz="825" dirty="0">
                <a:solidFill>
                  <a:prstClr val="white"/>
                </a:solidFill>
                <a:latin typeface="Arial"/>
              </a:rPr>
              <a:t>This is second level text  </a:t>
            </a:r>
          </a:p>
          <a:p>
            <a:pPr marL="404622" lvl="2" indent="-198882" defTabSz="717947">
              <a:spcBef>
                <a:spcPts val="450"/>
              </a:spcBef>
              <a:buClrTx/>
            </a:pPr>
            <a:r>
              <a:rPr lang="en-US" sz="825" dirty="0">
                <a:solidFill>
                  <a:prstClr val="white"/>
                </a:solidFill>
                <a:latin typeface="Arial"/>
              </a:rPr>
              <a:t>This is third level text </a:t>
            </a:r>
          </a:p>
        </p:txBody>
      </p:sp>
      <p:sp>
        <p:nvSpPr>
          <p:cNvPr id="17" name="Text Placeholder 5"/>
          <p:cNvSpPr txBox="1">
            <a:spLocks/>
          </p:cNvSpPr>
          <p:nvPr>
            <p:custDataLst>
              <p:tags r:id="rId3"/>
            </p:custDataLst>
          </p:nvPr>
        </p:nvSpPr>
        <p:spPr>
          <a:xfrm flipH="1">
            <a:off x="1664494" y="2169352"/>
            <a:ext cx="2359819" cy="742500"/>
          </a:xfrm>
          <a:prstGeom prst="homePlate">
            <a:avLst>
              <a:gd name="adj" fmla="val 22028"/>
            </a:avLst>
          </a:prstGeom>
          <a:solidFill>
            <a:srgbClr val="8C8C8C"/>
          </a:solidFill>
          <a:ln>
            <a:solidFill>
              <a:schemeClr val="bg1"/>
            </a:solidFill>
          </a:ln>
        </p:spPr>
        <p:txBody>
          <a:bodyPr wrap="square" lIns="137160" tIns="27000" rIns="27000" bIns="27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defTabSz="717947">
              <a:spcBef>
                <a:spcPts val="450"/>
              </a:spcBef>
              <a:buClrTx/>
            </a:pPr>
            <a:r>
              <a:rPr lang="en-US" sz="825" dirty="0">
                <a:solidFill>
                  <a:prstClr val="white"/>
                </a:solidFill>
                <a:latin typeface="Arial"/>
              </a:rPr>
              <a:t>Text runs here</a:t>
            </a:r>
          </a:p>
          <a:p>
            <a:pPr marL="205740" lvl="1" indent="-205740" defTabSz="717947">
              <a:spcBef>
                <a:spcPts val="450"/>
              </a:spcBef>
              <a:buClrTx/>
            </a:pPr>
            <a:r>
              <a:rPr lang="en-US" sz="825" dirty="0">
                <a:solidFill>
                  <a:prstClr val="white"/>
                </a:solidFill>
                <a:latin typeface="Arial"/>
              </a:rPr>
              <a:t>This is second level text  </a:t>
            </a:r>
          </a:p>
          <a:p>
            <a:pPr marL="404622" lvl="2" indent="-198882" defTabSz="717947">
              <a:spcBef>
                <a:spcPts val="450"/>
              </a:spcBef>
              <a:buClrTx/>
            </a:pPr>
            <a:r>
              <a:rPr lang="en-US" sz="825" dirty="0">
                <a:solidFill>
                  <a:prstClr val="white"/>
                </a:solidFill>
                <a:latin typeface="Arial"/>
              </a:rPr>
              <a:t>This is third level text </a:t>
            </a:r>
          </a:p>
        </p:txBody>
      </p:sp>
      <p:sp>
        <p:nvSpPr>
          <p:cNvPr id="18" name="Text Placeholder 5"/>
          <p:cNvSpPr txBox="1">
            <a:spLocks/>
          </p:cNvSpPr>
          <p:nvPr>
            <p:custDataLst>
              <p:tags r:id="rId4"/>
            </p:custDataLst>
          </p:nvPr>
        </p:nvSpPr>
        <p:spPr>
          <a:xfrm flipH="1">
            <a:off x="1664494" y="2987708"/>
            <a:ext cx="2359819" cy="742500"/>
          </a:xfrm>
          <a:prstGeom prst="homePlate">
            <a:avLst>
              <a:gd name="adj" fmla="val 22028"/>
            </a:avLst>
          </a:prstGeom>
          <a:solidFill>
            <a:srgbClr val="8C8C8C"/>
          </a:solidFill>
          <a:ln>
            <a:solidFill>
              <a:schemeClr val="bg1"/>
            </a:solidFill>
          </a:ln>
        </p:spPr>
        <p:txBody>
          <a:bodyPr wrap="square" lIns="137160" tIns="27000" rIns="27000" bIns="27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defTabSz="717947">
              <a:spcBef>
                <a:spcPts val="450"/>
              </a:spcBef>
              <a:buClrTx/>
            </a:pPr>
            <a:r>
              <a:rPr lang="en-US" sz="825" dirty="0">
                <a:solidFill>
                  <a:prstClr val="white"/>
                </a:solidFill>
                <a:latin typeface="Arial"/>
              </a:rPr>
              <a:t>Text runs here</a:t>
            </a:r>
          </a:p>
          <a:p>
            <a:pPr marL="205740" lvl="1" indent="-205740" defTabSz="717947">
              <a:spcBef>
                <a:spcPts val="450"/>
              </a:spcBef>
              <a:buClrTx/>
            </a:pPr>
            <a:r>
              <a:rPr lang="en-US" sz="825" dirty="0">
                <a:solidFill>
                  <a:prstClr val="white"/>
                </a:solidFill>
                <a:latin typeface="Arial"/>
              </a:rPr>
              <a:t>This is second level text  </a:t>
            </a:r>
          </a:p>
          <a:p>
            <a:pPr marL="404622" lvl="2" indent="-198882" defTabSz="717947">
              <a:spcBef>
                <a:spcPts val="450"/>
              </a:spcBef>
              <a:buClrTx/>
            </a:pPr>
            <a:r>
              <a:rPr lang="en-US" sz="825" dirty="0">
                <a:solidFill>
                  <a:prstClr val="white"/>
                </a:solidFill>
                <a:latin typeface="Arial"/>
              </a:rPr>
              <a:t>This is third level text </a:t>
            </a:r>
          </a:p>
        </p:txBody>
      </p:sp>
      <p:sp>
        <p:nvSpPr>
          <p:cNvPr id="24" name="AutoShape 8"/>
          <p:cNvSpPr>
            <a:spLocks noChangeArrowheads="1"/>
          </p:cNvSpPr>
          <p:nvPr/>
        </p:nvSpPr>
        <p:spPr bwMode="gray">
          <a:xfrm>
            <a:off x="5122263" y="3806064"/>
            <a:ext cx="2366963" cy="742950"/>
          </a:xfrm>
          <a:prstGeom prst="homePlate">
            <a:avLst>
              <a:gd name="adj" fmla="val 21898"/>
            </a:avLst>
          </a:prstGeom>
          <a:solidFill>
            <a:srgbClr val="00A1DE"/>
          </a:solidFill>
          <a:ln w="19050" algn="ctr">
            <a:solidFill>
              <a:schemeClr val="bg1"/>
            </a:solidFill>
            <a:miter lim="800000"/>
            <a:headEnd/>
            <a:tailEnd/>
          </a:ln>
        </p:spPr>
        <p:txBody>
          <a:bodyPr wrap="square" lIns="137160" tIns="27000" rIns="27000" bIns="27000"/>
          <a:lstStyle/>
          <a:p>
            <a:pPr defTabSz="685800">
              <a:spcBef>
                <a:spcPts val="450"/>
              </a:spcBef>
              <a:buClrTx/>
            </a:pPr>
            <a:r>
              <a:rPr lang="en-US" sz="825" kern="1200" dirty="0">
                <a:solidFill>
                  <a:prstClr val="white"/>
                </a:solidFill>
                <a:ea typeface="+mn-ea"/>
                <a:cs typeface="+mn-cs"/>
              </a:rPr>
              <a:t>Text runs here</a:t>
            </a:r>
          </a:p>
          <a:p>
            <a:pPr marL="205740" lvl="1" indent="-205740" defTabSz="685800">
              <a:spcBef>
                <a:spcPts val="450"/>
              </a:spcBef>
              <a:buClrTx/>
            </a:pPr>
            <a:r>
              <a:rPr lang="en-US" sz="825" kern="1200" dirty="0">
                <a:solidFill>
                  <a:prstClr val="white"/>
                </a:solidFill>
                <a:ea typeface="+mn-ea"/>
                <a:cs typeface="+mn-cs"/>
              </a:rPr>
              <a:t>This is second level text  </a:t>
            </a:r>
          </a:p>
          <a:p>
            <a:pPr marL="404622" lvl="2" indent="-198882" defTabSz="685800">
              <a:spcBef>
                <a:spcPts val="450"/>
              </a:spcBef>
              <a:buClrTx/>
            </a:pPr>
            <a:r>
              <a:rPr lang="en-US" sz="825" kern="1200" dirty="0">
                <a:solidFill>
                  <a:prstClr val="white"/>
                </a:solidFill>
                <a:ea typeface="+mn-ea"/>
                <a:cs typeface="+mn-cs"/>
              </a:rPr>
              <a:t>This is third level text </a:t>
            </a:r>
          </a:p>
        </p:txBody>
      </p:sp>
      <p:sp>
        <p:nvSpPr>
          <p:cNvPr id="25" name="Text Placeholder 5"/>
          <p:cNvSpPr txBox="1">
            <a:spLocks/>
          </p:cNvSpPr>
          <p:nvPr>
            <p:custDataLst>
              <p:tags r:id="rId5"/>
            </p:custDataLst>
          </p:nvPr>
        </p:nvSpPr>
        <p:spPr>
          <a:xfrm>
            <a:off x="5129407" y="1350995"/>
            <a:ext cx="2359819" cy="742500"/>
          </a:xfrm>
          <a:prstGeom prst="homePlate">
            <a:avLst>
              <a:gd name="adj" fmla="val 22028"/>
            </a:avLst>
          </a:prstGeom>
          <a:solidFill>
            <a:srgbClr val="00A1DE"/>
          </a:solidFill>
          <a:ln>
            <a:solidFill>
              <a:schemeClr val="bg1"/>
            </a:solidFill>
          </a:ln>
        </p:spPr>
        <p:txBody>
          <a:bodyPr wrap="square" lIns="137160" tIns="27000" rIns="27000" bIns="27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defTabSz="717947">
              <a:spcBef>
                <a:spcPts val="450"/>
              </a:spcBef>
              <a:buClrTx/>
            </a:pPr>
            <a:r>
              <a:rPr lang="en-US" sz="825" dirty="0">
                <a:solidFill>
                  <a:prstClr val="white"/>
                </a:solidFill>
                <a:latin typeface="Arial"/>
              </a:rPr>
              <a:t>Text runs here</a:t>
            </a:r>
          </a:p>
          <a:p>
            <a:pPr marL="205740" lvl="1" indent="-205740" defTabSz="717947">
              <a:spcBef>
                <a:spcPts val="450"/>
              </a:spcBef>
              <a:buClrTx/>
            </a:pPr>
            <a:r>
              <a:rPr lang="en-US" sz="825" dirty="0">
                <a:solidFill>
                  <a:prstClr val="white"/>
                </a:solidFill>
                <a:latin typeface="Arial"/>
              </a:rPr>
              <a:t>This is second level text  </a:t>
            </a:r>
          </a:p>
          <a:p>
            <a:pPr marL="404622" lvl="2" indent="-198882" defTabSz="717947">
              <a:spcBef>
                <a:spcPts val="450"/>
              </a:spcBef>
              <a:buClrTx/>
            </a:pPr>
            <a:r>
              <a:rPr lang="en-US" sz="825" dirty="0">
                <a:solidFill>
                  <a:prstClr val="white"/>
                </a:solidFill>
                <a:latin typeface="Arial"/>
              </a:rPr>
              <a:t>This is third level text </a:t>
            </a:r>
          </a:p>
        </p:txBody>
      </p:sp>
      <p:sp>
        <p:nvSpPr>
          <p:cNvPr id="26" name="Text Placeholder 5"/>
          <p:cNvSpPr txBox="1">
            <a:spLocks/>
          </p:cNvSpPr>
          <p:nvPr>
            <p:custDataLst>
              <p:tags r:id="rId6"/>
            </p:custDataLst>
          </p:nvPr>
        </p:nvSpPr>
        <p:spPr>
          <a:xfrm>
            <a:off x="5129407" y="2169352"/>
            <a:ext cx="2359819" cy="742500"/>
          </a:xfrm>
          <a:prstGeom prst="homePlate">
            <a:avLst>
              <a:gd name="adj" fmla="val 22028"/>
            </a:avLst>
          </a:prstGeom>
          <a:solidFill>
            <a:srgbClr val="00A1DE"/>
          </a:solidFill>
          <a:ln>
            <a:solidFill>
              <a:schemeClr val="bg1"/>
            </a:solidFill>
          </a:ln>
        </p:spPr>
        <p:txBody>
          <a:bodyPr wrap="square" lIns="137160" tIns="27000" rIns="27000" bIns="27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defTabSz="717947">
              <a:spcBef>
                <a:spcPts val="450"/>
              </a:spcBef>
              <a:buClrTx/>
            </a:pPr>
            <a:r>
              <a:rPr lang="en-US" sz="825" dirty="0">
                <a:solidFill>
                  <a:prstClr val="white"/>
                </a:solidFill>
                <a:latin typeface="Arial"/>
              </a:rPr>
              <a:t>Text runs here</a:t>
            </a:r>
          </a:p>
          <a:p>
            <a:pPr marL="205740" lvl="1" indent="-205740" defTabSz="717947">
              <a:spcBef>
                <a:spcPts val="450"/>
              </a:spcBef>
              <a:buClrTx/>
            </a:pPr>
            <a:r>
              <a:rPr lang="en-US" sz="825" dirty="0">
                <a:solidFill>
                  <a:prstClr val="white"/>
                </a:solidFill>
                <a:latin typeface="Arial"/>
              </a:rPr>
              <a:t>This is second level text  </a:t>
            </a:r>
          </a:p>
          <a:p>
            <a:pPr marL="404622" lvl="2" indent="-198882" defTabSz="717947">
              <a:spcBef>
                <a:spcPts val="450"/>
              </a:spcBef>
              <a:buClrTx/>
            </a:pPr>
            <a:r>
              <a:rPr lang="en-US" sz="825" dirty="0">
                <a:solidFill>
                  <a:prstClr val="white"/>
                </a:solidFill>
                <a:latin typeface="Arial"/>
              </a:rPr>
              <a:t>This is third level text </a:t>
            </a:r>
          </a:p>
        </p:txBody>
      </p:sp>
      <p:sp>
        <p:nvSpPr>
          <p:cNvPr id="27" name="Text Placeholder 5"/>
          <p:cNvSpPr txBox="1">
            <a:spLocks/>
          </p:cNvSpPr>
          <p:nvPr>
            <p:custDataLst>
              <p:tags r:id="rId7"/>
            </p:custDataLst>
          </p:nvPr>
        </p:nvSpPr>
        <p:spPr>
          <a:xfrm>
            <a:off x="5129407" y="2987708"/>
            <a:ext cx="2359819" cy="742500"/>
          </a:xfrm>
          <a:prstGeom prst="homePlate">
            <a:avLst>
              <a:gd name="adj" fmla="val 22028"/>
            </a:avLst>
          </a:prstGeom>
          <a:solidFill>
            <a:srgbClr val="00A1DE"/>
          </a:solidFill>
          <a:ln>
            <a:solidFill>
              <a:schemeClr val="bg1"/>
            </a:solidFill>
          </a:ln>
        </p:spPr>
        <p:txBody>
          <a:bodyPr wrap="square" lIns="137160" tIns="27000" rIns="27000" bIns="27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defTabSz="717947">
              <a:spcBef>
                <a:spcPts val="450"/>
              </a:spcBef>
              <a:buClrTx/>
            </a:pPr>
            <a:r>
              <a:rPr lang="en-US" sz="825" dirty="0">
                <a:solidFill>
                  <a:prstClr val="white"/>
                </a:solidFill>
                <a:latin typeface="Arial"/>
              </a:rPr>
              <a:t>Text runs here</a:t>
            </a:r>
          </a:p>
          <a:p>
            <a:pPr marL="205740" lvl="1" indent="-205740" defTabSz="717947">
              <a:spcBef>
                <a:spcPts val="450"/>
              </a:spcBef>
              <a:buClrTx/>
            </a:pPr>
            <a:r>
              <a:rPr lang="en-US" sz="825" dirty="0">
                <a:solidFill>
                  <a:prstClr val="white"/>
                </a:solidFill>
                <a:latin typeface="Arial"/>
              </a:rPr>
              <a:t>This is second level text  </a:t>
            </a:r>
          </a:p>
          <a:p>
            <a:pPr marL="404622" lvl="2" indent="-198882" defTabSz="717947">
              <a:spcBef>
                <a:spcPts val="450"/>
              </a:spcBef>
              <a:buClrTx/>
            </a:pPr>
            <a:r>
              <a:rPr lang="en-US" sz="825" dirty="0">
                <a:solidFill>
                  <a:prstClr val="white"/>
                </a:solidFill>
                <a:latin typeface="Arial"/>
              </a:rPr>
              <a:t>This is third level text </a:t>
            </a:r>
          </a:p>
        </p:txBody>
      </p:sp>
    </p:spTree>
    <p:extLst>
      <p:ext uri="{BB962C8B-B14F-4D97-AF65-F5344CB8AC3E}">
        <p14:creationId xmlns:p14="http://schemas.microsoft.com/office/powerpoint/2010/main" val="224847880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1873" name="Title 1"/>
          <p:cNvSpPr>
            <a:spLocks noGrp="1"/>
          </p:cNvSpPr>
          <p:nvPr>
            <p:ph type="title"/>
          </p:nvPr>
        </p:nvSpPr>
        <p:spPr/>
        <p:txBody>
          <a:bodyPr/>
          <a:lstStyle/>
          <a:p>
            <a:pPr>
              <a:lnSpc>
                <a:spcPct val="100000"/>
              </a:lnSpc>
            </a:pPr>
            <a:r>
              <a:rPr lang="en-US" dirty="0">
                <a:solidFill>
                  <a:srgbClr val="81BC00"/>
                </a:solidFill>
              </a:rPr>
              <a:t>Text blocks </a:t>
            </a:r>
            <a:br>
              <a:rPr lang="en-US" dirty="0">
                <a:solidFill>
                  <a:srgbClr val="575757"/>
                </a:solidFill>
              </a:rPr>
            </a:br>
            <a:r>
              <a:rPr lang="en-US" dirty="0">
                <a:solidFill>
                  <a:srgbClr val="575757"/>
                </a:solidFill>
              </a:rPr>
              <a:t>Arrow leading to</a:t>
            </a:r>
          </a:p>
        </p:txBody>
      </p:sp>
      <p:grpSp>
        <p:nvGrpSpPr>
          <p:cNvPr id="42" name="Group 41"/>
          <p:cNvGrpSpPr/>
          <p:nvPr/>
        </p:nvGrpSpPr>
        <p:grpSpPr>
          <a:xfrm>
            <a:off x="1423988" y="1440181"/>
            <a:ext cx="4648211" cy="2372426"/>
            <a:chOff x="374650" y="2000241"/>
            <a:chExt cx="6197615" cy="3163235"/>
          </a:xfrm>
        </p:grpSpPr>
        <p:cxnSp>
          <p:nvCxnSpPr>
            <p:cNvPr id="43" name="Straight Connector 42"/>
            <p:cNvCxnSpPr/>
            <p:nvPr/>
          </p:nvCxnSpPr>
          <p:spPr>
            <a:xfrm rot="10800000">
              <a:off x="374650" y="3574714"/>
              <a:ext cx="6197614" cy="1588"/>
            </a:xfrm>
            <a:prstGeom prst="line">
              <a:avLst/>
            </a:prstGeom>
            <a:noFill/>
            <a:ln w="12700" cap="flat" cmpd="sng" algn="ctr">
              <a:solidFill>
                <a:srgbClr val="00A1DE"/>
              </a:solidFill>
              <a:prstDash val="solid"/>
            </a:ln>
            <a:effectLst/>
          </p:spPr>
        </p:cxnSp>
        <p:cxnSp>
          <p:nvCxnSpPr>
            <p:cNvPr id="44" name="Straight Connector 43"/>
            <p:cNvCxnSpPr/>
            <p:nvPr/>
          </p:nvCxnSpPr>
          <p:spPr>
            <a:xfrm rot="10800000">
              <a:off x="394370" y="4108005"/>
              <a:ext cx="3744000" cy="1588"/>
            </a:xfrm>
            <a:prstGeom prst="line">
              <a:avLst/>
            </a:prstGeom>
            <a:noFill/>
            <a:ln w="12700" cap="flat" cmpd="sng" algn="ctr">
              <a:solidFill>
                <a:srgbClr val="00A1DE"/>
              </a:solidFill>
              <a:prstDash val="solid"/>
            </a:ln>
            <a:effectLst/>
          </p:spPr>
        </p:cxnSp>
        <p:cxnSp>
          <p:nvCxnSpPr>
            <p:cNvPr id="45" name="Straight Connector 44"/>
            <p:cNvCxnSpPr/>
            <p:nvPr/>
          </p:nvCxnSpPr>
          <p:spPr>
            <a:xfrm rot="10800000">
              <a:off x="394370" y="4634946"/>
              <a:ext cx="4176000" cy="1588"/>
            </a:xfrm>
            <a:prstGeom prst="line">
              <a:avLst/>
            </a:prstGeom>
            <a:noFill/>
            <a:ln w="12700" cap="flat" cmpd="sng" algn="ctr">
              <a:solidFill>
                <a:srgbClr val="00A1DE"/>
              </a:solidFill>
              <a:prstDash val="solid"/>
            </a:ln>
            <a:effectLst/>
          </p:spPr>
        </p:cxnSp>
        <p:cxnSp>
          <p:nvCxnSpPr>
            <p:cNvPr id="46" name="Straight Connector 45"/>
            <p:cNvCxnSpPr/>
            <p:nvPr/>
          </p:nvCxnSpPr>
          <p:spPr>
            <a:xfrm rot="10800000">
              <a:off x="394370" y="5161888"/>
              <a:ext cx="4716000" cy="1588"/>
            </a:xfrm>
            <a:prstGeom prst="line">
              <a:avLst/>
            </a:prstGeom>
            <a:noFill/>
            <a:ln w="12700" cap="flat" cmpd="sng" algn="ctr">
              <a:solidFill>
                <a:srgbClr val="00A1DE"/>
              </a:solidFill>
              <a:prstDash val="solid"/>
            </a:ln>
            <a:effectLst/>
          </p:spPr>
        </p:cxnSp>
        <p:cxnSp>
          <p:nvCxnSpPr>
            <p:cNvPr id="47" name="Straight Connector 46"/>
            <p:cNvCxnSpPr/>
            <p:nvPr/>
          </p:nvCxnSpPr>
          <p:spPr>
            <a:xfrm rot="10800000">
              <a:off x="394370" y="2000241"/>
              <a:ext cx="4716000" cy="1588"/>
            </a:xfrm>
            <a:prstGeom prst="line">
              <a:avLst/>
            </a:prstGeom>
            <a:noFill/>
            <a:ln w="12700" cap="flat" cmpd="sng" algn="ctr">
              <a:solidFill>
                <a:srgbClr val="00A1DE"/>
              </a:solidFill>
              <a:prstDash val="solid"/>
            </a:ln>
            <a:effectLst/>
          </p:spPr>
        </p:cxnSp>
        <p:cxnSp>
          <p:nvCxnSpPr>
            <p:cNvPr id="48" name="Straight Connector 47"/>
            <p:cNvCxnSpPr/>
            <p:nvPr/>
          </p:nvCxnSpPr>
          <p:spPr>
            <a:xfrm rot="10800000">
              <a:off x="394370" y="2527182"/>
              <a:ext cx="4176000" cy="1588"/>
            </a:xfrm>
            <a:prstGeom prst="line">
              <a:avLst/>
            </a:prstGeom>
            <a:noFill/>
            <a:ln w="12700" cap="flat" cmpd="sng" algn="ctr">
              <a:solidFill>
                <a:srgbClr val="00A1DE"/>
              </a:solidFill>
              <a:prstDash val="solid"/>
            </a:ln>
            <a:effectLst/>
          </p:spPr>
        </p:cxnSp>
        <p:cxnSp>
          <p:nvCxnSpPr>
            <p:cNvPr id="49" name="Straight Connector 48"/>
            <p:cNvCxnSpPr/>
            <p:nvPr/>
          </p:nvCxnSpPr>
          <p:spPr>
            <a:xfrm rot="10800000">
              <a:off x="394370" y="3054123"/>
              <a:ext cx="3744000" cy="1588"/>
            </a:xfrm>
            <a:prstGeom prst="line">
              <a:avLst/>
            </a:prstGeom>
            <a:noFill/>
            <a:ln w="12700" cap="flat" cmpd="sng" algn="ctr">
              <a:solidFill>
                <a:srgbClr val="00A1DE"/>
              </a:solidFill>
              <a:prstDash val="solid"/>
            </a:ln>
            <a:effectLst/>
          </p:spPr>
        </p:cxnSp>
        <p:cxnSp>
          <p:nvCxnSpPr>
            <p:cNvPr id="50" name="Straight Connector 49"/>
            <p:cNvCxnSpPr/>
            <p:nvPr/>
          </p:nvCxnSpPr>
          <p:spPr>
            <a:xfrm rot="16200000" flipH="1">
              <a:off x="5052228" y="2053424"/>
              <a:ext cx="1573209" cy="1466865"/>
            </a:xfrm>
            <a:prstGeom prst="line">
              <a:avLst/>
            </a:prstGeom>
            <a:noFill/>
            <a:ln w="12700" cap="flat" cmpd="sng" algn="ctr">
              <a:solidFill>
                <a:srgbClr val="00A1DE"/>
              </a:solidFill>
              <a:prstDash val="solid"/>
            </a:ln>
            <a:effectLst/>
          </p:spPr>
        </p:cxnSp>
        <p:cxnSp>
          <p:nvCxnSpPr>
            <p:cNvPr id="51" name="Straight Connector 50"/>
            <p:cNvCxnSpPr/>
            <p:nvPr/>
          </p:nvCxnSpPr>
          <p:spPr>
            <a:xfrm rot="5400000" flipH="1" flipV="1">
              <a:off x="5042702" y="3629813"/>
              <a:ext cx="1585911" cy="1473215"/>
            </a:xfrm>
            <a:prstGeom prst="line">
              <a:avLst/>
            </a:prstGeom>
            <a:noFill/>
            <a:ln w="12700" cap="flat" cmpd="sng" algn="ctr">
              <a:solidFill>
                <a:srgbClr val="00A1DE"/>
              </a:solidFill>
              <a:prstDash val="solid"/>
            </a:ln>
            <a:effectLst/>
          </p:spPr>
        </p:cxnSp>
        <p:cxnSp>
          <p:nvCxnSpPr>
            <p:cNvPr id="52" name="Straight Connector 51"/>
            <p:cNvCxnSpPr/>
            <p:nvPr/>
          </p:nvCxnSpPr>
          <p:spPr>
            <a:xfrm>
              <a:off x="4568825" y="2527303"/>
              <a:ext cx="1074746" cy="1046159"/>
            </a:xfrm>
            <a:prstGeom prst="line">
              <a:avLst/>
            </a:prstGeom>
            <a:noFill/>
            <a:ln w="12700" cap="flat" cmpd="sng" algn="ctr">
              <a:solidFill>
                <a:srgbClr val="00A1DE"/>
              </a:solidFill>
              <a:prstDash val="solid"/>
            </a:ln>
            <a:effectLst/>
          </p:spPr>
        </p:cxnSp>
        <p:cxnSp>
          <p:nvCxnSpPr>
            <p:cNvPr id="53" name="Straight Connector 52"/>
            <p:cNvCxnSpPr/>
            <p:nvPr/>
          </p:nvCxnSpPr>
          <p:spPr>
            <a:xfrm>
              <a:off x="4137025" y="3054350"/>
              <a:ext cx="577851" cy="519113"/>
            </a:xfrm>
            <a:prstGeom prst="line">
              <a:avLst/>
            </a:prstGeom>
            <a:noFill/>
            <a:ln w="12700" cap="flat" cmpd="sng" algn="ctr">
              <a:solidFill>
                <a:srgbClr val="00A1DE"/>
              </a:solidFill>
              <a:prstDash val="solid"/>
            </a:ln>
            <a:effectLst/>
          </p:spPr>
        </p:cxnSp>
        <p:cxnSp>
          <p:nvCxnSpPr>
            <p:cNvPr id="54" name="Straight Connector 53"/>
            <p:cNvCxnSpPr/>
            <p:nvPr/>
          </p:nvCxnSpPr>
          <p:spPr>
            <a:xfrm flipV="1">
              <a:off x="4127500" y="3573464"/>
              <a:ext cx="587376" cy="531811"/>
            </a:xfrm>
            <a:prstGeom prst="line">
              <a:avLst/>
            </a:prstGeom>
            <a:noFill/>
            <a:ln w="12700" cap="flat" cmpd="sng" algn="ctr">
              <a:solidFill>
                <a:srgbClr val="00A1DE"/>
              </a:solidFill>
              <a:prstDash val="solid"/>
            </a:ln>
            <a:effectLst/>
          </p:spPr>
        </p:cxnSp>
        <p:cxnSp>
          <p:nvCxnSpPr>
            <p:cNvPr id="55" name="Straight Connector 54"/>
            <p:cNvCxnSpPr/>
            <p:nvPr/>
          </p:nvCxnSpPr>
          <p:spPr>
            <a:xfrm flipV="1">
              <a:off x="4572000" y="3573464"/>
              <a:ext cx="1071570" cy="1065211"/>
            </a:xfrm>
            <a:prstGeom prst="line">
              <a:avLst/>
            </a:prstGeom>
            <a:noFill/>
            <a:ln w="12700" cap="flat" cmpd="sng" algn="ctr">
              <a:solidFill>
                <a:srgbClr val="00A1DE"/>
              </a:solidFill>
              <a:prstDash val="solid"/>
            </a:ln>
            <a:effectLst/>
          </p:spPr>
        </p:cxnSp>
      </p:grpSp>
      <p:sp>
        <p:nvSpPr>
          <p:cNvPr id="56" name="Oval 55"/>
          <p:cNvSpPr/>
          <p:nvPr/>
        </p:nvSpPr>
        <p:spPr>
          <a:xfrm>
            <a:off x="6299408" y="2002413"/>
            <a:ext cx="1242000" cy="1242000"/>
          </a:xfrm>
          <a:prstGeom prst="ellipse">
            <a:avLst/>
          </a:prstGeom>
          <a:solidFill>
            <a:srgbClr val="002776"/>
          </a:solidFill>
          <a:ln w="25400" cap="flat" cmpd="sng" algn="ctr">
            <a:noFill/>
            <a:prstDash val="solid"/>
          </a:ln>
          <a:effectLst/>
        </p:spPr>
        <p:txBody>
          <a:bodyPr lIns="0" rIns="0" rtlCol="0" anchor="ctr"/>
          <a:lstStyle/>
          <a:p>
            <a:pPr algn="ctr" defTabSz="685800">
              <a:buClrTx/>
              <a:defRPr/>
            </a:pPr>
            <a:r>
              <a:rPr lang="en-GB" sz="1350" dirty="0">
                <a:solidFill>
                  <a:sysClr val="window" lastClr="FFFFFF"/>
                </a:solidFill>
                <a:ea typeface="+mn-ea"/>
                <a:cs typeface="+mn-cs"/>
              </a:rPr>
              <a:t>Text runs here</a:t>
            </a:r>
          </a:p>
        </p:txBody>
      </p:sp>
      <p:sp>
        <p:nvSpPr>
          <p:cNvPr id="57" name="TextBox 56"/>
          <p:cNvSpPr txBox="1"/>
          <p:nvPr/>
        </p:nvSpPr>
        <p:spPr>
          <a:xfrm>
            <a:off x="1447234" y="1553758"/>
            <a:ext cx="2826542" cy="300082"/>
          </a:xfrm>
          <a:prstGeom prst="rect">
            <a:avLst/>
          </a:prstGeom>
          <a:noFill/>
        </p:spPr>
        <p:txBody>
          <a:bodyPr wrap="square" lIns="0" rIns="0" rtlCol="0">
            <a:spAutoFit/>
          </a:bodyPr>
          <a:lstStyle/>
          <a:p>
            <a:pPr defTabSz="685800">
              <a:buClrTx/>
              <a:defRPr/>
            </a:pPr>
            <a:r>
              <a:rPr lang="en-GB" sz="1350" dirty="0">
                <a:solidFill>
                  <a:srgbClr val="313131"/>
                </a:solidFill>
                <a:ea typeface="+mn-ea"/>
                <a:cs typeface="+mn-cs"/>
              </a:rPr>
              <a:t>Text runs here</a:t>
            </a:r>
          </a:p>
        </p:txBody>
      </p:sp>
      <p:sp>
        <p:nvSpPr>
          <p:cNvPr id="58" name="TextBox 57"/>
          <p:cNvSpPr txBox="1"/>
          <p:nvPr/>
        </p:nvSpPr>
        <p:spPr>
          <a:xfrm>
            <a:off x="1445739" y="1955845"/>
            <a:ext cx="2826542" cy="300082"/>
          </a:xfrm>
          <a:prstGeom prst="rect">
            <a:avLst/>
          </a:prstGeom>
          <a:noFill/>
        </p:spPr>
        <p:txBody>
          <a:bodyPr wrap="square" lIns="0" rIns="0" rtlCol="0">
            <a:spAutoFit/>
          </a:bodyPr>
          <a:lstStyle/>
          <a:p>
            <a:pPr defTabSz="685800">
              <a:buClrTx/>
              <a:defRPr/>
            </a:pPr>
            <a:r>
              <a:rPr lang="en-GB" sz="1350" dirty="0">
                <a:solidFill>
                  <a:srgbClr val="313131"/>
                </a:solidFill>
                <a:ea typeface="+mn-ea"/>
                <a:cs typeface="+mn-cs"/>
              </a:rPr>
              <a:t>Text runs here</a:t>
            </a:r>
          </a:p>
        </p:txBody>
      </p:sp>
      <p:sp>
        <p:nvSpPr>
          <p:cNvPr id="59" name="TextBox 58"/>
          <p:cNvSpPr txBox="1"/>
          <p:nvPr/>
        </p:nvSpPr>
        <p:spPr>
          <a:xfrm>
            <a:off x="1444243" y="2357931"/>
            <a:ext cx="2826542" cy="300082"/>
          </a:xfrm>
          <a:prstGeom prst="rect">
            <a:avLst/>
          </a:prstGeom>
          <a:noFill/>
        </p:spPr>
        <p:txBody>
          <a:bodyPr wrap="square" lIns="0" rIns="0" rtlCol="0">
            <a:spAutoFit/>
          </a:bodyPr>
          <a:lstStyle/>
          <a:p>
            <a:pPr defTabSz="685800">
              <a:buClrTx/>
              <a:defRPr/>
            </a:pPr>
            <a:r>
              <a:rPr lang="en-GB" sz="1350" dirty="0">
                <a:solidFill>
                  <a:srgbClr val="313131"/>
                </a:solidFill>
                <a:ea typeface="+mn-ea"/>
                <a:cs typeface="+mn-cs"/>
              </a:rPr>
              <a:t>Text runs here</a:t>
            </a:r>
          </a:p>
        </p:txBody>
      </p:sp>
      <p:sp>
        <p:nvSpPr>
          <p:cNvPr id="60" name="TextBox 59"/>
          <p:cNvSpPr txBox="1"/>
          <p:nvPr/>
        </p:nvSpPr>
        <p:spPr>
          <a:xfrm>
            <a:off x="1442748" y="2748394"/>
            <a:ext cx="2826542" cy="300082"/>
          </a:xfrm>
          <a:prstGeom prst="rect">
            <a:avLst/>
          </a:prstGeom>
          <a:noFill/>
        </p:spPr>
        <p:txBody>
          <a:bodyPr wrap="square" lIns="0" rIns="0" rtlCol="0">
            <a:spAutoFit/>
          </a:bodyPr>
          <a:lstStyle/>
          <a:p>
            <a:pPr defTabSz="685800">
              <a:buClrTx/>
              <a:defRPr/>
            </a:pPr>
            <a:r>
              <a:rPr lang="en-GB" sz="1350" dirty="0">
                <a:solidFill>
                  <a:srgbClr val="313131"/>
                </a:solidFill>
                <a:ea typeface="+mn-ea"/>
                <a:cs typeface="+mn-cs"/>
              </a:rPr>
              <a:t>Text runs here</a:t>
            </a:r>
          </a:p>
        </p:txBody>
      </p:sp>
      <p:sp>
        <p:nvSpPr>
          <p:cNvPr id="61" name="TextBox 60"/>
          <p:cNvSpPr txBox="1"/>
          <p:nvPr/>
        </p:nvSpPr>
        <p:spPr>
          <a:xfrm>
            <a:off x="1441252" y="3138856"/>
            <a:ext cx="2826542" cy="300082"/>
          </a:xfrm>
          <a:prstGeom prst="rect">
            <a:avLst/>
          </a:prstGeom>
          <a:noFill/>
        </p:spPr>
        <p:txBody>
          <a:bodyPr wrap="square" lIns="0" rIns="0" rtlCol="0">
            <a:spAutoFit/>
          </a:bodyPr>
          <a:lstStyle/>
          <a:p>
            <a:pPr defTabSz="685800">
              <a:buClrTx/>
              <a:defRPr/>
            </a:pPr>
            <a:r>
              <a:rPr lang="en-GB" sz="1350" dirty="0">
                <a:solidFill>
                  <a:srgbClr val="313131"/>
                </a:solidFill>
                <a:ea typeface="+mn-ea"/>
                <a:cs typeface="+mn-cs"/>
              </a:rPr>
              <a:t>Text runs here</a:t>
            </a:r>
          </a:p>
        </p:txBody>
      </p:sp>
      <p:sp>
        <p:nvSpPr>
          <p:cNvPr id="62" name="TextBox 61"/>
          <p:cNvSpPr txBox="1"/>
          <p:nvPr/>
        </p:nvSpPr>
        <p:spPr>
          <a:xfrm>
            <a:off x="1439757" y="3540943"/>
            <a:ext cx="2826542" cy="300082"/>
          </a:xfrm>
          <a:prstGeom prst="rect">
            <a:avLst/>
          </a:prstGeom>
          <a:noFill/>
        </p:spPr>
        <p:txBody>
          <a:bodyPr wrap="square" lIns="0" rIns="0" rtlCol="0">
            <a:spAutoFit/>
          </a:bodyPr>
          <a:lstStyle/>
          <a:p>
            <a:pPr defTabSz="685800">
              <a:buClrTx/>
              <a:defRPr/>
            </a:pPr>
            <a:r>
              <a:rPr lang="en-GB" sz="1350" dirty="0">
                <a:solidFill>
                  <a:srgbClr val="313131"/>
                </a:solidFill>
                <a:ea typeface="+mn-ea"/>
                <a:cs typeface="+mn-cs"/>
              </a:rPr>
              <a:t>Text runs here</a:t>
            </a:r>
          </a:p>
        </p:txBody>
      </p:sp>
    </p:spTree>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2897" name="Title 1"/>
          <p:cNvSpPr>
            <a:spLocks noGrp="1"/>
          </p:cNvSpPr>
          <p:nvPr>
            <p:ph type="title"/>
          </p:nvPr>
        </p:nvSpPr>
        <p:spPr/>
        <p:txBody>
          <a:bodyPr/>
          <a:lstStyle/>
          <a:p>
            <a:pPr>
              <a:lnSpc>
                <a:spcPct val="100000"/>
              </a:lnSpc>
            </a:pPr>
            <a:r>
              <a:rPr lang="en-US" dirty="0">
                <a:solidFill>
                  <a:srgbClr val="81BC00"/>
                </a:solidFill>
              </a:rPr>
              <a:t>Text blocks </a:t>
            </a:r>
            <a:br>
              <a:rPr lang="en-US" dirty="0"/>
            </a:br>
            <a:r>
              <a:rPr lang="en-US" dirty="0">
                <a:solidFill>
                  <a:srgbClr val="575757"/>
                </a:solidFill>
              </a:rPr>
              <a:t>Elements leading to</a:t>
            </a:r>
          </a:p>
        </p:txBody>
      </p:sp>
      <p:sp>
        <p:nvSpPr>
          <p:cNvPr id="4" name="Rectangle 3"/>
          <p:cNvSpPr>
            <a:spLocks noChangeArrowheads="1"/>
          </p:cNvSpPr>
          <p:nvPr/>
        </p:nvSpPr>
        <p:spPr bwMode="auto">
          <a:xfrm>
            <a:off x="1731169" y="1268730"/>
            <a:ext cx="1054894" cy="1028700"/>
          </a:xfrm>
          <a:prstGeom prst="rect">
            <a:avLst/>
          </a:prstGeom>
          <a:solidFill>
            <a:srgbClr val="00A1DE"/>
          </a:solidFill>
          <a:ln w="19050" algn="ctr">
            <a:noFill/>
            <a:miter lim="800000"/>
            <a:headEnd/>
            <a:tailEnd/>
          </a:ln>
        </p:spPr>
        <p:txBody>
          <a:bodyPr wrap="square" lIns="27000" tIns="27000" rIns="27000" bIns="27000" anchor="ctr"/>
          <a:lstStyle/>
          <a:p>
            <a:pPr algn="ctr" defTabSz="685800">
              <a:buClrTx/>
              <a:defRPr/>
            </a:pPr>
            <a:r>
              <a:rPr lang="en-US" sz="1050" kern="1200" dirty="0">
                <a:solidFill>
                  <a:prstClr val="white"/>
                </a:solidFill>
                <a:ea typeface="ＭＳ Ｐゴシック" pitchFamily="50" charset="-128"/>
                <a:cs typeface="+mn-cs"/>
              </a:rPr>
              <a:t>Text runs here</a:t>
            </a:r>
            <a:endParaRPr lang="en-US" altLang="ja-JP" sz="1050" kern="1200" dirty="0">
              <a:solidFill>
                <a:prstClr val="white"/>
              </a:solidFill>
              <a:ea typeface="ＭＳ Ｐゴシック" pitchFamily="50" charset="-128"/>
              <a:cs typeface="+mn-cs"/>
            </a:endParaRPr>
          </a:p>
        </p:txBody>
      </p:sp>
      <p:sp>
        <p:nvSpPr>
          <p:cNvPr id="5" name="Rectangle 4"/>
          <p:cNvSpPr>
            <a:spLocks noChangeArrowheads="1"/>
          </p:cNvSpPr>
          <p:nvPr/>
        </p:nvSpPr>
        <p:spPr bwMode="auto">
          <a:xfrm>
            <a:off x="2877741" y="1268730"/>
            <a:ext cx="1054894" cy="1028700"/>
          </a:xfrm>
          <a:prstGeom prst="rect">
            <a:avLst/>
          </a:prstGeom>
          <a:solidFill>
            <a:srgbClr val="00A1DE"/>
          </a:solidFill>
          <a:ln w="19050" algn="ctr">
            <a:noFill/>
            <a:miter lim="800000"/>
            <a:headEnd/>
            <a:tailEnd/>
          </a:ln>
        </p:spPr>
        <p:txBody>
          <a:bodyPr wrap="square" lIns="27000" tIns="27000" rIns="27000" bIns="27000" anchor="ctr"/>
          <a:lstStyle/>
          <a:p>
            <a:pPr algn="ctr" defTabSz="685800">
              <a:buClrTx/>
              <a:defRPr/>
            </a:pPr>
            <a:r>
              <a:rPr lang="en-US" sz="1050" kern="1200" dirty="0">
                <a:solidFill>
                  <a:srgbClr val="FFFFFF"/>
                </a:solidFill>
                <a:ea typeface="ＭＳ Ｐゴシック" pitchFamily="50" charset="-128"/>
                <a:cs typeface="+mn-cs"/>
              </a:rPr>
              <a:t>Text runs here</a:t>
            </a:r>
            <a:endParaRPr lang="en-US" altLang="ja-JP" sz="1050" kern="1200" dirty="0">
              <a:solidFill>
                <a:prstClr val="white"/>
              </a:solidFill>
              <a:ea typeface="ＭＳ Ｐゴシック" pitchFamily="50" charset="-128"/>
              <a:cs typeface="+mn-cs"/>
            </a:endParaRPr>
          </a:p>
        </p:txBody>
      </p:sp>
      <p:sp>
        <p:nvSpPr>
          <p:cNvPr id="6" name="Rectangle 5"/>
          <p:cNvSpPr>
            <a:spLocks noChangeArrowheads="1"/>
          </p:cNvSpPr>
          <p:nvPr/>
        </p:nvSpPr>
        <p:spPr bwMode="auto">
          <a:xfrm>
            <a:off x="4017169" y="1268730"/>
            <a:ext cx="1054894" cy="1028700"/>
          </a:xfrm>
          <a:prstGeom prst="rect">
            <a:avLst/>
          </a:prstGeom>
          <a:solidFill>
            <a:srgbClr val="00A1DE"/>
          </a:solidFill>
          <a:ln w="19050" algn="ctr">
            <a:noFill/>
            <a:miter lim="800000"/>
            <a:headEnd/>
            <a:tailEnd/>
          </a:ln>
        </p:spPr>
        <p:txBody>
          <a:bodyPr wrap="square" lIns="27000" tIns="27000" rIns="27000" bIns="27000" anchor="ctr"/>
          <a:lstStyle/>
          <a:p>
            <a:pPr algn="ctr" defTabSz="685800">
              <a:buClrTx/>
              <a:defRPr/>
            </a:pPr>
            <a:r>
              <a:rPr lang="en-US" sz="1050" kern="1200" dirty="0">
                <a:solidFill>
                  <a:prstClr val="white"/>
                </a:solidFill>
                <a:ea typeface="ＭＳ Ｐゴシック" pitchFamily="50" charset="-128"/>
                <a:cs typeface="+mn-cs"/>
              </a:rPr>
              <a:t>Text runs here</a:t>
            </a:r>
            <a:endParaRPr lang="en-US" altLang="ja-JP" sz="1050" kern="1200" dirty="0">
              <a:solidFill>
                <a:prstClr val="white"/>
              </a:solidFill>
              <a:ea typeface="ＭＳ Ｐゴシック" pitchFamily="50" charset="-128"/>
              <a:cs typeface="+mn-cs"/>
            </a:endParaRPr>
          </a:p>
        </p:txBody>
      </p:sp>
      <p:sp>
        <p:nvSpPr>
          <p:cNvPr id="7" name="Rectangle 6"/>
          <p:cNvSpPr>
            <a:spLocks noChangeArrowheads="1"/>
          </p:cNvSpPr>
          <p:nvPr/>
        </p:nvSpPr>
        <p:spPr bwMode="auto">
          <a:xfrm>
            <a:off x="1731169" y="3464354"/>
            <a:ext cx="1054894" cy="1028700"/>
          </a:xfrm>
          <a:prstGeom prst="rect">
            <a:avLst/>
          </a:prstGeom>
          <a:solidFill>
            <a:srgbClr val="00A1DE"/>
          </a:solidFill>
          <a:ln w="19050" algn="ctr">
            <a:noFill/>
            <a:miter lim="800000"/>
            <a:headEnd/>
            <a:tailEnd/>
          </a:ln>
        </p:spPr>
        <p:txBody>
          <a:bodyPr wrap="square" lIns="27000" tIns="27000" rIns="27000" bIns="27000" anchor="ctr"/>
          <a:lstStyle/>
          <a:p>
            <a:pPr algn="ctr" defTabSz="685800">
              <a:buClrTx/>
              <a:defRPr/>
            </a:pPr>
            <a:r>
              <a:rPr lang="en-US" sz="1050" kern="1200" dirty="0">
                <a:solidFill>
                  <a:prstClr val="white"/>
                </a:solidFill>
                <a:ea typeface="ＭＳ Ｐゴシック" pitchFamily="50" charset="-128"/>
                <a:cs typeface="+mn-cs"/>
              </a:rPr>
              <a:t>Text runs here</a:t>
            </a:r>
            <a:endParaRPr lang="en-US" altLang="ja-JP" sz="1050" kern="1200" dirty="0">
              <a:solidFill>
                <a:prstClr val="white"/>
              </a:solidFill>
              <a:ea typeface="ＭＳ Ｐゴシック" pitchFamily="50" charset="-128"/>
              <a:cs typeface="+mn-cs"/>
            </a:endParaRPr>
          </a:p>
        </p:txBody>
      </p:sp>
      <p:sp>
        <p:nvSpPr>
          <p:cNvPr id="8" name="Rectangle 7"/>
          <p:cNvSpPr>
            <a:spLocks noChangeArrowheads="1"/>
          </p:cNvSpPr>
          <p:nvPr/>
        </p:nvSpPr>
        <p:spPr bwMode="auto">
          <a:xfrm>
            <a:off x="2877741" y="3464354"/>
            <a:ext cx="1054894" cy="1028700"/>
          </a:xfrm>
          <a:prstGeom prst="rect">
            <a:avLst/>
          </a:prstGeom>
          <a:solidFill>
            <a:srgbClr val="00A1DE"/>
          </a:solidFill>
          <a:ln w="19050" algn="ctr">
            <a:noFill/>
            <a:miter lim="800000"/>
            <a:headEnd/>
            <a:tailEnd/>
          </a:ln>
        </p:spPr>
        <p:txBody>
          <a:bodyPr wrap="square" lIns="27000" tIns="27000" rIns="27000" bIns="27000" anchor="ctr"/>
          <a:lstStyle/>
          <a:p>
            <a:pPr algn="ctr" defTabSz="685800">
              <a:buClrTx/>
              <a:defRPr/>
            </a:pPr>
            <a:r>
              <a:rPr lang="en-US" sz="1050" kern="1200" dirty="0">
                <a:solidFill>
                  <a:prstClr val="white"/>
                </a:solidFill>
                <a:ea typeface="ＭＳ Ｐゴシック" pitchFamily="50" charset="-128"/>
                <a:cs typeface="+mn-cs"/>
              </a:rPr>
              <a:t>Text runs here</a:t>
            </a:r>
            <a:endParaRPr lang="en-US" altLang="ja-JP" sz="1050" kern="1200" dirty="0">
              <a:solidFill>
                <a:prstClr val="white"/>
              </a:solidFill>
              <a:ea typeface="ＭＳ Ｐゴシック" pitchFamily="50" charset="-128"/>
              <a:cs typeface="+mn-cs"/>
            </a:endParaRPr>
          </a:p>
        </p:txBody>
      </p:sp>
      <p:sp>
        <p:nvSpPr>
          <p:cNvPr id="9" name="Rectangle 8"/>
          <p:cNvSpPr>
            <a:spLocks noChangeArrowheads="1"/>
          </p:cNvSpPr>
          <p:nvPr/>
        </p:nvSpPr>
        <p:spPr bwMode="auto">
          <a:xfrm>
            <a:off x="4017169" y="3464354"/>
            <a:ext cx="1054894" cy="1028700"/>
          </a:xfrm>
          <a:prstGeom prst="rect">
            <a:avLst/>
          </a:prstGeom>
          <a:solidFill>
            <a:srgbClr val="00A1DE"/>
          </a:solidFill>
          <a:ln w="19050" algn="ctr">
            <a:noFill/>
            <a:miter lim="800000"/>
            <a:headEnd/>
            <a:tailEnd/>
          </a:ln>
        </p:spPr>
        <p:txBody>
          <a:bodyPr wrap="square" lIns="27000" tIns="27000" rIns="27000" bIns="27000" anchor="ctr"/>
          <a:lstStyle/>
          <a:p>
            <a:pPr algn="ctr" defTabSz="685800">
              <a:buClrTx/>
              <a:defRPr/>
            </a:pPr>
            <a:r>
              <a:rPr lang="en-US" sz="1050" kern="1200" dirty="0">
                <a:solidFill>
                  <a:prstClr val="white"/>
                </a:solidFill>
                <a:ea typeface="ＭＳ Ｐゴシック" pitchFamily="50" charset="-128"/>
                <a:cs typeface="+mn-cs"/>
              </a:rPr>
              <a:t>Text runs here</a:t>
            </a:r>
            <a:endParaRPr lang="en-US" altLang="ja-JP" sz="1050" kern="1200" dirty="0">
              <a:solidFill>
                <a:prstClr val="white"/>
              </a:solidFill>
              <a:ea typeface="ＭＳ Ｐゴシック" pitchFamily="50" charset="-128"/>
              <a:cs typeface="+mn-cs"/>
            </a:endParaRPr>
          </a:p>
        </p:txBody>
      </p:sp>
      <p:sp>
        <p:nvSpPr>
          <p:cNvPr id="10" name="Rectangle 9"/>
          <p:cNvSpPr>
            <a:spLocks noChangeArrowheads="1"/>
          </p:cNvSpPr>
          <p:nvPr/>
        </p:nvSpPr>
        <p:spPr bwMode="auto">
          <a:xfrm>
            <a:off x="1731169" y="2366543"/>
            <a:ext cx="1054894" cy="1028700"/>
          </a:xfrm>
          <a:prstGeom prst="rect">
            <a:avLst/>
          </a:prstGeom>
          <a:solidFill>
            <a:srgbClr val="00A1DE"/>
          </a:solidFill>
          <a:ln w="19050" algn="ctr">
            <a:noFill/>
            <a:miter lim="800000"/>
            <a:headEnd/>
            <a:tailEnd/>
          </a:ln>
        </p:spPr>
        <p:txBody>
          <a:bodyPr wrap="square" lIns="27000" tIns="27000" rIns="27000" bIns="27000" anchor="ctr"/>
          <a:lstStyle/>
          <a:p>
            <a:pPr algn="ctr" defTabSz="685800">
              <a:buClrTx/>
              <a:defRPr/>
            </a:pPr>
            <a:r>
              <a:rPr lang="en-US" sz="1050" kern="1200" dirty="0">
                <a:solidFill>
                  <a:prstClr val="white"/>
                </a:solidFill>
                <a:ea typeface="ＭＳ Ｐゴシック" pitchFamily="50" charset="-128"/>
                <a:cs typeface="+mn-cs"/>
              </a:rPr>
              <a:t>Text runs here</a:t>
            </a:r>
            <a:endParaRPr lang="en-US" altLang="ja-JP" sz="1050" kern="1200" dirty="0">
              <a:solidFill>
                <a:prstClr val="white"/>
              </a:solidFill>
              <a:ea typeface="ＭＳ Ｐゴシック" pitchFamily="50" charset="-128"/>
              <a:cs typeface="+mn-cs"/>
            </a:endParaRPr>
          </a:p>
        </p:txBody>
      </p:sp>
      <p:sp>
        <p:nvSpPr>
          <p:cNvPr id="11" name="Rectangle 10"/>
          <p:cNvSpPr>
            <a:spLocks noChangeArrowheads="1"/>
          </p:cNvSpPr>
          <p:nvPr/>
        </p:nvSpPr>
        <p:spPr bwMode="auto">
          <a:xfrm>
            <a:off x="2877741" y="2366543"/>
            <a:ext cx="1054894" cy="1028700"/>
          </a:xfrm>
          <a:prstGeom prst="rect">
            <a:avLst/>
          </a:prstGeom>
          <a:solidFill>
            <a:srgbClr val="00A1DE"/>
          </a:solidFill>
          <a:ln w="19050" algn="ctr">
            <a:noFill/>
            <a:miter lim="800000"/>
            <a:headEnd/>
            <a:tailEnd/>
          </a:ln>
        </p:spPr>
        <p:txBody>
          <a:bodyPr wrap="square" lIns="27000" tIns="27000" rIns="27000" bIns="27000" anchor="ctr"/>
          <a:lstStyle/>
          <a:p>
            <a:pPr algn="ctr" defTabSz="685800">
              <a:buClrTx/>
              <a:defRPr/>
            </a:pPr>
            <a:r>
              <a:rPr lang="en-US" sz="1050" kern="1200" dirty="0">
                <a:solidFill>
                  <a:prstClr val="white"/>
                </a:solidFill>
                <a:ea typeface="ＭＳ Ｐゴシック" pitchFamily="50" charset="-128"/>
                <a:cs typeface="+mn-cs"/>
              </a:rPr>
              <a:t>Text runs here</a:t>
            </a:r>
            <a:endParaRPr lang="en-US" altLang="ja-JP" sz="1050" kern="1200" dirty="0">
              <a:solidFill>
                <a:prstClr val="white"/>
              </a:solidFill>
              <a:ea typeface="ＭＳ Ｐゴシック" pitchFamily="50" charset="-128"/>
              <a:cs typeface="+mn-cs"/>
            </a:endParaRPr>
          </a:p>
        </p:txBody>
      </p:sp>
      <p:sp>
        <p:nvSpPr>
          <p:cNvPr id="12" name="Rectangle 11"/>
          <p:cNvSpPr>
            <a:spLocks noChangeArrowheads="1"/>
          </p:cNvSpPr>
          <p:nvPr/>
        </p:nvSpPr>
        <p:spPr bwMode="auto">
          <a:xfrm>
            <a:off x="4017169" y="2366543"/>
            <a:ext cx="1054894" cy="1028700"/>
          </a:xfrm>
          <a:prstGeom prst="rect">
            <a:avLst/>
          </a:prstGeom>
          <a:solidFill>
            <a:srgbClr val="00A1DE"/>
          </a:solidFill>
          <a:ln w="19050" algn="ctr">
            <a:noFill/>
            <a:miter lim="800000"/>
            <a:headEnd/>
            <a:tailEnd/>
          </a:ln>
        </p:spPr>
        <p:txBody>
          <a:bodyPr wrap="square" lIns="27000" tIns="27000" rIns="27000" bIns="27000" anchor="ctr"/>
          <a:lstStyle/>
          <a:p>
            <a:pPr algn="ctr" defTabSz="685800">
              <a:buClrTx/>
              <a:defRPr/>
            </a:pPr>
            <a:r>
              <a:rPr lang="en-US" sz="1050" kern="1200" dirty="0">
                <a:solidFill>
                  <a:prstClr val="white"/>
                </a:solidFill>
                <a:ea typeface="ＭＳ Ｐゴシック" pitchFamily="50" charset="-128"/>
                <a:cs typeface="+mn-cs"/>
              </a:rPr>
              <a:t>Text runs here</a:t>
            </a:r>
            <a:endParaRPr lang="en-US" altLang="ja-JP" sz="1050" kern="1200" dirty="0">
              <a:solidFill>
                <a:prstClr val="white"/>
              </a:solidFill>
              <a:ea typeface="ＭＳ Ｐゴシック" pitchFamily="50" charset="-128"/>
              <a:cs typeface="+mn-cs"/>
            </a:endParaRPr>
          </a:p>
        </p:txBody>
      </p:sp>
      <p:sp>
        <p:nvSpPr>
          <p:cNvPr id="592908" name="AutoShape 12"/>
          <p:cNvSpPr>
            <a:spLocks noChangeArrowheads="1"/>
          </p:cNvSpPr>
          <p:nvPr/>
        </p:nvSpPr>
        <p:spPr bwMode="auto">
          <a:xfrm>
            <a:off x="5226844" y="1268730"/>
            <a:ext cx="252413" cy="3200400"/>
          </a:xfrm>
          <a:prstGeom prst="homePlate">
            <a:avLst>
              <a:gd name="adj" fmla="val 100000"/>
            </a:avLst>
          </a:prstGeom>
          <a:solidFill>
            <a:srgbClr val="B4B4B4"/>
          </a:solidFill>
          <a:ln w="6350" algn="ctr">
            <a:solidFill>
              <a:schemeClr val="bg1"/>
            </a:solidFill>
            <a:miter lim="800000"/>
            <a:headEnd/>
            <a:tailEnd/>
          </a:ln>
        </p:spPr>
        <p:txBody>
          <a:bodyPr wrap="square" lIns="27000" tIns="27000" rIns="27000" bIns="27000" anchor="ctr"/>
          <a:lstStyle/>
          <a:p>
            <a:pPr algn="ctr" defTabSz="685800">
              <a:buClrTx/>
            </a:pPr>
            <a:endParaRPr lang="en-US" sz="1050" kern="1200">
              <a:solidFill>
                <a:prstClr val="black"/>
              </a:solidFill>
              <a:ea typeface="+mn-ea"/>
              <a:cs typeface="+mn-cs"/>
            </a:endParaRPr>
          </a:p>
        </p:txBody>
      </p:sp>
      <p:sp>
        <p:nvSpPr>
          <p:cNvPr id="18" name="Rectangle 19"/>
          <p:cNvSpPr>
            <a:spLocks noChangeArrowheads="1"/>
          </p:cNvSpPr>
          <p:nvPr/>
        </p:nvSpPr>
        <p:spPr bwMode="auto">
          <a:xfrm>
            <a:off x="5626894" y="1268731"/>
            <a:ext cx="1423988" cy="3224324"/>
          </a:xfrm>
          <a:prstGeom prst="rect">
            <a:avLst/>
          </a:prstGeom>
          <a:solidFill>
            <a:srgbClr val="002776"/>
          </a:solidFill>
          <a:ln w="19050" algn="ctr">
            <a:solidFill>
              <a:schemeClr val="bg1"/>
            </a:solidFill>
            <a:miter lim="800000"/>
            <a:headEnd/>
            <a:tailEnd/>
          </a:ln>
        </p:spPr>
        <p:txBody>
          <a:bodyPr wrap="square" lIns="27000" tIns="27000" rIns="27000" bIns="27000" anchor="ctr"/>
          <a:lstStyle/>
          <a:p>
            <a:pPr algn="ctr" defTabSz="685800">
              <a:buClrTx/>
              <a:defRPr/>
            </a:pPr>
            <a:r>
              <a:rPr lang="en-US" sz="1050" kern="1200" dirty="0">
                <a:solidFill>
                  <a:prstClr val="white"/>
                </a:solidFill>
                <a:ea typeface="ＭＳ Ｐゴシック" pitchFamily="50" charset="-128"/>
                <a:cs typeface="+mn-cs"/>
              </a:rPr>
              <a:t>Text runs here</a:t>
            </a:r>
            <a:endParaRPr lang="en-US" altLang="ja-JP" sz="1050" kern="1200" dirty="0">
              <a:solidFill>
                <a:prstClr val="white"/>
              </a:solidFill>
              <a:ea typeface="ＭＳ Ｐゴシック" pitchFamily="50" charset="-128"/>
              <a:cs typeface="+mn-cs"/>
            </a:endParaRPr>
          </a:p>
        </p:txBody>
      </p:sp>
    </p:spTree>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143000" y="0"/>
          <a:ext cx="119063" cy="119063"/>
        </p:xfrm>
        <a:graphic>
          <a:graphicData uri="http://schemas.openxmlformats.org/presentationml/2006/ole">
            <mc:AlternateContent xmlns:mc="http://schemas.openxmlformats.org/markup-compatibility/2006">
              <mc:Choice xmlns:v="urn:schemas-microsoft-com:vml" Requires="v">
                <p:oleObj name="think-cell Slide" r:id="rId10" imgW="360" imgH="360" progId="">
                  <p:embed/>
                </p:oleObj>
              </mc:Choice>
              <mc:Fallback>
                <p:oleObj name="think-cell Slide" r:id="rId10" imgW="360" imgH="360" progId="">
                  <p:embed/>
                  <p:pic>
                    <p:nvPicPr>
                      <p:cNvPr id="2" name="Object 1"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43000" y="0"/>
                        <a:ext cx="119063"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AutoShape 3"/>
          <p:cNvSpPr>
            <a:spLocks noChangeArrowheads="1"/>
          </p:cNvSpPr>
          <p:nvPr>
            <p:custDataLst>
              <p:tags r:id="rId2"/>
            </p:custDataLst>
          </p:nvPr>
        </p:nvSpPr>
        <p:spPr bwMode="gray">
          <a:xfrm>
            <a:off x="713185" y="1314450"/>
            <a:ext cx="1654969" cy="438150"/>
          </a:xfrm>
          <a:prstGeom prst="chevron">
            <a:avLst>
              <a:gd name="adj" fmla="val 34952"/>
            </a:avLst>
          </a:prstGeom>
          <a:solidFill>
            <a:schemeClr val="bg1">
              <a:lumMod val="65000"/>
            </a:schemeClr>
          </a:solidFill>
          <a:ln w="12700" cap="rnd" algn="ctr">
            <a:noFill/>
            <a:miter lim="800000"/>
            <a:headEnd/>
            <a:tailEnd/>
          </a:ln>
        </p:spPr>
        <p:txBody>
          <a:bodyPr lIns="27000" tIns="27000" rIns="27000" bIns="27000" anchor="ctr" anchorCtr="1"/>
          <a:lstStyle/>
          <a:p>
            <a:pPr algn="ctr">
              <a:lnSpc>
                <a:spcPct val="106000"/>
              </a:lnSpc>
              <a:defRPr/>
            </a:pPr>
            <a:r>
              <a:rPr lang="en-US" sz="1050" b="1" dirty="0">
                <a:solidFill>
                  <a:schemeClr val="bg1"/>
                </a:solidFill>
              </a:rPr>
              <a:t>Define</a:t>
            </a:r>
          </a:p>
        </p:txBody>
      </p:sp>
      <p:sp>
        <p:nvSpPr>
          <p:cNvPr id="11" name="AutoShape 4"/>
          <p:cNvSpPr>
            <a:spLocks noChangeArrowheads="1"/>
          </p:cNvSpPr>
          <p:nvPr>
            <p:custDataLst>
              <p:tags r:id="rId3"/>
            </p:custDataLst>
          </p:nvPr>
        </p:nvSpPr>
        <p:spPr bwMode="gray">
          <a:xfrm>
            <a:off x="2253854" y="1314450"/>
            <a:ext cx="1654969" cy="438150"/>
          </a:xfrm>
          <a:prstGeom prst="chevron">
            <a:avLst>
              <a:gd name="adj" fmla="val 34975"/>
            </a:avLst>
          </a:prstGeom>
          <a:solidFill>
            <a:schemeClr val="bg1">
              <a:lumMod val="65000"/>
            </a:schemeClr>
          </a:solidFill>
          <a:ln w="12700" cap="rnd" algn="ctr">
            <a:solidFill>
              <a:schemeClr val="bg1"/>
            </a:solidFill>
            <a:miter lim="800000"/>
            <a:headEnd/>
            <a:tailEnd/>
          </a:ln>
        </p:spPr>
        <p:txBody>
          <a:bodyPr lIns="27000" tIns="27000" rIns="27000" bIns="27000" anchor="ctr" anchorCtr="1"/>
          <a:lstStyle/>
          <a:p>
            <a:pPr algn="ctr">
              <a:lnSpc>
                <a:spcPct val="106000"/>
              </a:lnSpc>
              <a:defRPr/>
            </a:pPr>
            <a:r>
              <a:rPr lang="en-US" sz="1050" b="1" dirty="0">
                <a:solidFill>
                  <a:schemeClr val="bg1"/>
                </a:solidFill>
              </a:rPr>
              <a:t>Collect</a:t>
            </a:r>
          </a:p>
        </p:txBody>
      </p:sp>
      <p:sp>
        <p:nvSpPr>
          <p:cNvPr id="12" name="AutoShape 5"/>
          <p:cNvSpPr>
            <a:spLocks noChangeArrowheads="1"/>
          </p:cNvSpPr>
          <p:nvPr>
            <p:custDataLst>
              <p:tags r:id="rId4"/>
            </p:custDataLst>
          </p:nvPr>
        </p:nvSpPr>
        <p:spPr bwMode="gray">
          <a:xfrm>
            <a:off x="3789760" y="1314450"/>
            <a:ext cx="1654969" cy="438150"/>
          </a:xfrm>
          <a:prstGeom prst="chevron">
            <a:avLst>
              <a:gd name="adj" fmla="val 34975"/>
            </a:avLst>
          </a:prstGeom>
          <a:solidFill>
            <a:schemeClr val="bg1">
              <a:lumMod val="65000"/>
            </a:schemeClr>
          </a:solidFill>
          <a:ln w="12700" cap="rnd" algn="ctr">
            <a:solidFill>
              <a:schemeClr val="bg1"/>
            </a:solidFill>
            <a:miter lim="800000"/>
            <a:headEnd/>
            <a:tailEnd/>
          </a:ln>
        </p:spPr>
        <p:txBody>
          <a:bodyPr lIns="27000" tIns="27000" rIns="27000" bIns="27000" anchor="ctr" anchorCtr="1"/>
          <a:lstStyle/>
          <a:p>
            <a:pPr algn="ctr">
              <a:lnSpc>
                <a:spcPct val="106000"/>
              </a:lnSpc>
              <a:defRPr/>
            </a:pPr>
            <a:r>
              <a:rPr lang="en-US" sz="1050" b="1" dirty="0">
                <a:solidFill>
                  <a:schemeClr val="bg1"/>
                </a:solidFill>
              </a:rPr>
              <a:t>Clean</a:t>
            </a:r>
          </a:p>
        </p:txBody>
      </p:sp>
      <p:sp>
        <p:nvSpPr>
          <p:cNvPr id="13" name="AutoShape 6"/>
          <p:cNvSpPr>
            <a:spLocks noChangeArrowheads="1"/>
          </p:cNvSpPr>
          <p:nvPr>
            <p:custDataLst>
              <p:tags r:id="rId5"/>
            </p:custDataLst>
          </p:nvPr>
        </p:nvSpPr>
        <p:spPr bwMode="gray">
          <a:xfrm>
            <a:off x="5324475" y="1314450"/>
            <a:ext cx="1654969" cy="438150"/>
          </a:xfrm>
          <a:prstGeom prst="chevron">
            <a:avLst>
              <a:gd name="adj" fmla="val 34975"/>
            </a:avLst>
          </a:prstGeom>
          <a:solidFill>
            <a:schemeClr val="bg1">
              <a:lumMod val="65000"/>
            </a:schemeClr>
          </a:solidFill>
          <a:ln w="12700" cap="rnd" algn="ctr">
            <a:solidFill>
              <a:schemeClr val="bg1"/>
            </a:solidFill>
            <a:miter lim="800000"/>
            <a:headEnd/>
            <a:tailEnd/>
          </a:ln>
        </p:spPr>
        <p:txBody>
          <a:bodyPr lIns="27000" tIns="27000" rIns="27000" bIns="27000" anchor="ctr" anchorCtr="1"/>
          <a:lstStyle/>
          <a:p>
            <a:pPr algn="ctr">
              <a:lnSpc>
                <a:spcPct val="106000"/>
              </a:lnSpc>
              <a:defRPr/>
            </a:pPr>
            <a:r>
              <a:rPr lang="en-US" sz="1050" b="1" dirty="0">
                <a:solidFill>
                  <a:schemeClr val="bg1"/>
                </a:solidFill>
              </a:rPr>
              <a:t>Analyze</a:t>
            </a:r>
          </a:p>
        </p:txBody>
      </p:sp>
      <p:sp>
        <p:nvSpPr>
          <p:cNvPr id="16" name="Text Placeholder 5"/>
          <p:cNvSpPr txBox="1">
            <a:spLocks/>
          </p:cNvSpPr>
          <p:nvPr/>
        </p:nvSpPr>
        <p:spPr>
          <a:xfrm>
            <a:off x="636985" y="2148416"/>
            <a:ext cx="1336595" cy="877163"/>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450"/>
              </a:spcBef>
            </a:pPr>
            <a:r>
              <a:rPr lang="en-US" sz="800" dirty="0">
                <a:solidFill>
                  <a:srgbClr val="313131"/>
                </a:solidFill>
              </a:rPr>
              <a:t>This is dummy text it is not here to be read</a:t>
            </a:r>
          </a:p>
          <a:p>
            <a:pPr marL="205740" lvl="1" indent="-205740">
              <a:spcBef>
                <a:spcPts val="450"/>
              </a:spcBef>
            </a:pPr>
            <a:r>
              <a:rPr lang="en-GB" sz="800" dirty="0">
                <a:solidFill>
                  <a:srgbClr val="313131"/>
                </a:solidFill>
              </a:rPr>
              <a:t>This is dummy text it is not here to be read</a:t>
            </a:r>
          </a:p>
          <a:p>
            <a:pPr marL="205740" lvl="1" indent="-205740">
              <a:spcBef>
                <a:spcPts val="450"/>
              </a:spcBef>
            </a:pPr>
            <a:r>
              <a:rPr lang="en-US" sz="800" dirty="0">
                <a:solidFill>
                  <a:srgbClr val="313131"/>
                </a:solidFill>
              </a:rPr>
              <a:t>This is dummy text it is not here to be read</a:t>
            </a:r>
          </a:p>
          <a:p>
            <a:pPr lvl="2">
              <a:spcAft>
                <a:spcPts val="450"/>
              </a:spcAft>
            </a:pPr>
            <a:endParaRPr lang="en-US" sz="800" dirty="0">
              <a:solidFill>
                <a:srgbClr val="313131"/>
              </a:solidFill>
            </a:endParaRPr>
          </a:p>
        </p:txBody>
      </p:sp>
      <p:sp>
        <p:nvSpPr>
          <p:cNvPr id="8" name="AutoShape 6">
            <a:extLst>
              <a:ext uri="{FF2B5EF4-FFF2-40B4-BE49-F238E27FC236}">
                <a16:creationId xmlns:a16="http://schemas.microsoft.com/office/drawing/2014/main" id="{F4B6F65C-F634-3A98-AA35-9E61B0D4044A}"/>
              </a:ext>
            </a:extLst>
          </p:cNvPr>
          <p:cNvSpPr>
            <a:spLocks noChangeArrowheads="1"/>
          </p:cNvSpPr>
          <p:nvPr>
            <p:custDataLst>
              <p:tags r:id="rId6"/>
            </p:custDataLst>
          </p:nvPr>
        </p:nvSpPr>
        <p:spPr bwMode="gray">
          <a:xfrm>
            <a:off x="6848475" y="1314450"/>
            <a:ext cx="1654969" cy="438150"/>
          </a:xfrm>
          <a:prstGeom prst="chevron">
            <a:avLst>
              <a:gd name="adj" fmla="val 34975"/>
            </a:avLst>
          </a:prstGeom>
          <a:solidFill>
            <a:srgbClr val="002776"/>
          </a:solidFill>
          <a:ln w="12700" cap="rnd" algn="ctr">
            <a:solidFill>
              <a:schemeClr val="bg1"/>
            </a:solidFill>
            <a:miter lim="800000"/>
            <a:headEnd/>
            <a:tailEnd/>
          </a:ln>
        </p:spPr>
        <p:txBody>
          <a:bodyPr lIns="27000" tIns="27000" rIns="27000" bIns="27000" anchor="ctr" anchorCtr="1"/>
          <a:lstStyle/>
          <a:p>
            <a:pPr algn="ctr">
              <a:lnSpc>
                <a:spcPct val="106000"/>
              </a:lnSpc>
              <a:defRPr/>
            </a:pPr>
            <a:r>
              <a:rPr lang="en-US" sz="1050" b="1" dirty="0">
                <a:solidFill>
                  <a:schemeClr val="bg1"/>
                </a:solidFill>
              </a:rPr>
              <a:t>Present &amp; Share</a:t>
            </a:r>
          </a:p>
        </p:txBody>
      </p:sp>
      <p:sp>
        <p:nvSpPr>
          <p:cNvPr id="23" name="Text Placeholder 5">
            <a:extLst>
              <a:ext uri="{FF2B5EF4-FFF2-40B4-BE49-F238E27FC236}">
                <a16:creationId xmlns:a16="http://schemas.microsoft.com/office/drawing/2014/main" id="{F1E5C14F-0BF7-5027-D9F2-589B61EEC3AD}"/>
              </a:ext>
            </a:extLst>
          </p:cNvPr>
          <p:cNvSpPr txBox="1">
            <a:spLocks/>
          </p:cNvSpPr>
          <p:nvPr/>
        </p:nvSpPr>
        <p:spPr>
          <a:xfrm>
            <a:off x="2305765" y="2148416"/>
            <a:ext cx="1468041" cy="877163"/>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450"/>
              </a:spcBef>
            </a:pPr>
            <a:r>
              <a:rPr lang="en-US" sz="800" dirty="0">
                <a:solidFill>
                  <a:srgbClr val="313131"/>
                </a:solidFill>
              </a:rPr>
              <a:t>This is dummy text it is not here to be read</a:t>
            </a:r>
          </a:p>
          <a:p>
            <a:pPr marL="205740" lvl="1" indent="-205740">
              <a:spcBef>
                <a:spcPts val="450"/>
              </a:spcBef>
            </a:pPr>
            <a:r>
              <a:rPr lang="en-GB" sz="800" dirty="0">
                <a:solidFill>
                  <a:srgbClr val="313131"/>
                </a:solidFill>
              </a:rPr>
              <a:t>This is dummy text it is not here to be read</a:t>
            </a:r>
          </a:p>
          <a:p>
            <a:pPr marL="205740" lvl="1" indent="-205740">
              <a:spcBef>
                <a:spcPts val="450"/>
              </a:spcBef>
            </a:pPr>
            <a:r>
              <a:rPr lang="en-US" sz="800" dirty="0">
                <a:solidFill>
                  <a:srgbClr val="313131"/>
                </a:solidFill>
              </a:rPr>
              <a:t>This is dummy text it is not here to be read</a:t>
            </a:r>
          </a:p>
          <a:p>
            <a:pPr lvl="2">
              <a:spcAft>
                <a:spcPts val="450"/>
              </a:spcAft>
            </a:pPr>
            <a:endParaRPr lang="en-US" sz="800" dirty="0">
              <a:solidFill>
                <a:srgbClr val="313131"/>
              </a:solidFill>
            </a:endParaRPr>
          </a:p>
        </p:txBody>
      </p:sp>
      <p:sp>
        <p:nvSpPr>
          <p:cNvPr id="24" name="Text Placeholder 5">
            <a:extLst>
              <a:ext uri="{FF2B5EF4-FFF2-40B4-BE49-F238E27FC236}">
                <a16:creationId xmlns:a16="http://schemas.microsoft.com/office/drawing/2014/main" id="{C3DFE6C3-7CB7-BC29-530E-6BB1BB898966}"/>
              </a:ext>
            </a:extLst>
          </p:cNvPr>
          <p:cNvSpPr txBox="1">
            <a:spLocks/>
          </p:cNvSpPr>
          <p:nvPr/>
        </p:nvSpPr>
        <p:spPr>
          <a:xfrm>
            <a:off x="3860245" y="2148416"/>
            <a:ext cx="1468041" cy="877163"/>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450"/>
              </a:spcBef>
            </a:pPr>
            <a:r>
              <a:rPr lang="en-US" sz="800" dirty="0">
                <a:solidFill>
                  <a:srgbClr val="313131"/>
                </a:solidFill>
              </a:rPr>
              <a:t>This is dummy text it is not here to be read</a:t>
            </a:r>
          </a:p>
          <a:p>
            <a:pPr marL="205740" lvl="1" indent="-205740">
              <a:spcBef>
                <a:spcPts val="450"/>
              </a:spcBef>
            </a:pPr>
            <a:r>
              <a:rPr lang="en-GB" sz="800" dirty="0">
                <a:solidFill>
                  <a:srgbClr val="313131"/>
                </a:solidFill>
              </a:rPr>
              <a:t>This is dummy text it is not here to be read</a:t>
            </a:r>
          </a:p>
          <a:p>
            <a:pPr marL="205740" lvl="1" indent="-205740">
              <a:spcBef>
                <a:spcPts val="450"/>
              </a:spcBef>
            </a:pPr>
            <a:r>
              <a:rPr lang="en-US" sz="800" dirty="0">
                <a:solidFill>
                  <a:srgbClr val="313131"/>
                </a:solidFill>
              </a:rPr>
              <a:t>This is dummy text it is not here to be read</a:t>
            </a:r>
          </a:p>
          <a:p>
            <a:pPr lvl="2">
              <a:spcAft>
                <a:spcPts val="450"/>
              </a:spcAft>
            </a:pPr>
            <a:endParaRPr lang="en-US" sz="800" dirty="0">
              <a:solidFill>
                <a:srgbClr val="313131"/>
              </a:solidFill>
            </a:endParaRPr>
          </a:p>
        </p:txBody>
      </p:sp>
      <p:sp>
        <p:nvSpPr>
          <p:cNvPr id="25" name="Text Placeholder 5">
            <a:extLst>
              <a:ext uri="{FF2B5EF4-FFF2-40B4-BE49-F238E27FC236}">
                <a16:creationId xmlns:a16="http://schemas.microsoft.com/office/drawing/2014/main" id="{B7378FA8-78F0-5D96-9D81-3731BE701942}"/>
              </a:ext>
            </a:extLst>
          </p:cNvPr>
          <p:cNvSpPr txBox="1">
            <a:spLocks/>
          </p:cNvSpPr>
          <p:nvPr/>
        </p:nvSpPr>
        <p:spPr>
          <a:xfrm>
            <a:off x="5429965" y="2156036"/>
            <a:ext cx="1468041" cy="877163"/>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450"/>
              </a:spcBef>
            </a:pPr>
            <a:r>
              <a:rPr lang="en-US" sz="800" dirty="0">
                <a:solidFill>
                  <a:srgbClr val="313131"/>
                </a:solidFill>
              </a:rPr>
              <a:t>This is dummy text it is not here to be read</a:t>
            </a:r>
          </a:p>
          <a:p>
            <a:pPr marL="205740" lvl="1" indent="-205740">
              <a:spcBef>
                <a:spcPts val="450"/>
              </a:spcBef>
            </a:pPr>
            <a:r>
              <a:rPr lang="en-GB" sz="800" dirty="0">
                <a:solidFill>
                  <a:srgbClr val="313131"/>
                </a:solidFill>
              </a:rPr>
              <a:t>This is dummy text it is not here to be read</a:t>
            </a:r>
          </a:p>
          <a:p>
            <a:pPr marL="205740" lvl="1" indent="-205740">
              <a:spcBef>
                <a:spcPts val="450"/>
              </a:spcBef>
            </a:pPr>
            <a:r>
              <a:rPr lang="en-US" sz="800" dirty="0">
                <a:solidFill>
                  <a:srgbClr val="313131"/>
                </a:solidFill>
              </a:rPr>
              <a:t>This is dummy text it is not here to be read</a:t>
            </a:r>
          </a:p>
          <a:p>
            <a:pPr lvl="2">
              <a:spcAft>
                <a:spcPts val="450"/>
              </a:spcAft>
            </a:pPr>
            <a:endParaRPr lang="en-US" sz="800" dirty="0">
              <a:solidFill>
                <a:srgbClr val="313131"/>
              </a:solidFill>
            </a:endParaRPr>
          </a:p>
        </p:txBody>
      </p:sp>
      <p:sp>
        <p:nvSpPr>
          <p:cNvPr id="26" name="Text Placeholder 5">
            <a:extLst>
              <a:ext uri="{FF2B5EF4-FFF2-40B4-BE49-F238E27FC236}">
                <a16:creationId xmlns:a16="http://schemas.microsoft.com/office/drawing/2014/main" id="{152C25EE-8224-E888-471D-918A6ED2CF92}"/>
              </a:ext>
            </a:extLst>
          </p:cNvPr>
          <p:cNvSpPr txBox="1">
            <a:spLocks/>
          </p:cNvSpPr>
          <p:nvPr/>
        </p:nvSpPr>
        <p:spPr>
          <a:xfrm>
            <a:off x="7022545" y="2148416"/>
            <a:ext cx="1468041" cy="877163"/>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450"/>
              </a:spcBef>
            </a:pPr>
            <a:r>
              <a:rPr lang="en-US" sz="800" dirty="0">
                <a:solidFill>
                  <a:srgbClr val="313131"/>
                </a:solidFill>
              </a:rPr>
              <a:t>This is dummy text it is not here to be read</a:t>
            </a:r>
          </a:p>
          <a:p>
            <a:pPr marL="205740" lvl="1" indent="-205740">
              <a:spcBef>
                <a:spcPts val="450"/>
              </a:spcBef>
            </a:pPr>
            <a:r>
              <a:rPr lang="en-GB" sz="800" dirty="0">
                <a:solidFill>
                  <a:srgbClr val="313131"/>
                </a:solidFill>
              </a:rPr>
              <a:t>This is dummy text it is not here to be read</a:t>
            </a:r>
          </a:p>
          <a:p>
            <a:pPr marL="205740" lvl="1" indent="-205740">
              <a:spcBef>
                <a:spcPts val="450"/>
              </a:spcBef>
            </a:pPr>
            <a:r>
              <a:rPr lang="en-US" sz="800" dirty="0">
                <a:solidFill>
                  <a:srgbClr val="313131"/>
                </a:solidFill>
              </a:rPr>
              <a:t>This is dummy text it is not here to be read</a:t>
            </a:r>
          </a:p>
          <a:p>
            <a:pPr lvl="2">
              <a:spcAft>
                <a:spcPts val="450"/>
              </a:spcAft>
            </a:pPr>
            <a:endParaRPr lang="en-US" sz="800" dirty="0">
              <a:solidFill>
                <a:srgbClr val="313131"/>
              </a:solidFill>
            </a:endParaRPr>
          </a:p>
        </p:txBody>
      </p:sp>
      <p:sp>
        <p:nvSpPr>
          <p:cNvPr id="27" name="TextBox 26">
            <a:extLst>
              <a:ext uri="{FF2B5EF4-FFF2-40B4-BE49-F238E27FC236}">
                <a16:creationId xmlns:a16="http://schemas.microsoft.com/office/drawing/2014/main" id="{B849EC30-6510-67CF-7657-F8AE3450E3B5}"/>
              </a:ext>
            </a:extLst>
          </p:cNvPr>
          <p:cNvSpPr txBox="1"/>
          <p:nvPr/>
        </p:nvSpPr>
        <p:spPr>
          <a:xfrm>
            <a:off x="6930119" y="1031965"/>
            <a:ext cx="1593033" cy="123111"/>
          </a:xfrm>
          <a:prstGeom prst="rect">
            <a:avLst/>
          </a:prstGeom>
          <a:noFill/>
        </p:spPr>
        <p:txBody>
          <a:bodyPr wrap="square" lIns="36000" tIns="0" rIns="36000" bIns="0" rtlCol="0">
            <a:spAutoFit/>
          </a:bodyPr>
          <a:lstStyle/>
          <a:p>
            <a:pPr algn="ctr"/>
            <a:r>
              <a:rPr lang="en-AU" sz="800" b="1" dirty="0">
                <a:solidFill>
                  <a:srgbClr val="3C8A2E"/>
                </a:solidFill>
                <a:latin typeface="+mj-lt"/>
              </a:rPr>
              <a:t>Focus of today’s presentation</a:t>
            </a:r>
          </a:p>
        </p:txBody>
      </p:sp>
      <p:sp>
        <p:nvSpPr>
          <p:cNvPr id="28" name="Rectangle: Rounded Corners 27">
            <a:extLst>
              <a:ext uri="{FF2B5EF4-FFF2-40B4-BE49-F238E27FC236}">
                <a16:creationId xmlns:a16="http://schemas.microsoft.com/office/drawing/2014/main" id="{E55FE4BE-59EE-36C0-957E-B2CD6C6C8BD1}"/>
              </a:ext>
            </a:extLst>
          </p:cNvPr>
          <p:cNvSpPr/>
          <p:nvPr/>
        </p:nvSpPr>
        <p:spPr>
          <a:xfrm>
            <a:off x="6880860" y="1219200"/>
            <a:ext cx="1592580" cy="3451860"/>
          </a:xfrm>
          <a:prstGeom prst="roundRect">
            <a:avLst>
              <a:gd name="adj" fmla="val 8147"/>
            </a:avLst>
          </a:prstGeom>
          <a:noFill/>
          <a:ln w="12700">
            <a:solidFill>
              <a:srgbClr val="A1C09B"/>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9" name="Title 1">
            <a:extLst>
              <a:ext uri="{FF2B5EF4-FFF2-40B4-BE49-F238E27FC236}">
                <a16:creationId xmlns:a16="http://schemas.microsoft.com/office/drawing/2014/main" id="{5010C248-8A05-EF78-0139-ED4BD388FC6A}"/>
              </a:ext>
            </a:extLst>
          </p:cNvPr>
          <p:cNvSpPr txBox="1">
            <a:spLocks/>
          </p:cNvSpPr>
          <p:nvPr>
            <p:custDataLst>
              <p:tags r:id="rId7"/>
            </p:custDataLst>
          </p:nvPr>
        </p:nvSpPr>
        <p:spPr>
          <a:xfrm>
            <a:off x="205123" y="78049"/>
            <a:ext cx="8808248" cy="546478"/>
          </a:xfrm>
          <a:prstGeom prst="rect">
            <a:avLst/>
          </a:prstGeom>
          <a:noFill/>
          <a:ln>
            <a:noFill/>
          </a:ln>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kumimoji="0" lang="en-US" sz="1000" b="1" i="0" u="none" strike="noStrike" kern="0" cap="none" spc="0" normalizeH="0" baseline="0" noProof="0" dirty="0">
                <a:ln>
                  <a:noFill/>
                </a:ln>
                <a:solidFill>
                  <a:schemeClr val="bg1">
                    <a:lumMod val="75000"/>
                  </a:schemeClr>
                </a:solidFill>
                <a:effectLst/>
                <a:uLnTx/>
                <a:uFillTx/>
                <a:latin typeface="Arial"/>
                <a:cs typeface="Arial"/>
                <a:sym typeface="Arial"/>
              </a:rPr>
              <a:t>Approach</a:t>
            </a:r>
            <a:br>
              <a:rPr kumimoji="0" lang="en-US" sz="1800" b="0" i="0" u="none" strike="noStrike" kern="0" cap="none" spc="0" normalizeH="0" baseline="0" noProof="0" dirty="0">
                <a:ln>
                  <a:noFill/>
                </a:ln>
                <a:solidFill>
                  <a:srgbClr val="81BC00"/>
                </a:solidFill>
                <a:effectLst/>
                <a:uLnTx/>
                <a:uFillTx/>
                <a:latin typeface="Arial"/>
                <a:cs typeface="Arial"/>
                <a:sym typeface="Arial"/>
              </a:rPr>
            </a:br>
            <a:r>
              <a:rPr lang="en-US" sz="1800" b="1" dirty="0">
                <a:solidFill>
                  <a:srgbClr val="002776"/>
                </a:solidFill>
              </a:rPr>
              <a:t>A 5-step approach was taken to develop this report starting from defining the question to visualizing the data.</a:t>
            </a:r>
          </a:p>
        </p:txBody>
      </p:sp>
      <p:cxnSp>
        <p:nvCxnSpPr>
          <p:cNvPr id="30" name="Straight Connector 29">
            <a:extLst>
              <a:ext uri="{FF2B5EF4-FFF2-40B4-BE49-F238E27FC236}">
                <a16:creationId xmlns:a16="http://schemas.microsoft.com/office/drawing/2014/main" id="{E12B5BCD-2805-4D82-9B5F-61FD87C61654}"/>
              </a:ext>
            </a:extLst>
          </p:cNvPr>
          <p:cNvCxnSpPr>
            <a:cxnSpLocks/>
          </p:cNvCxnSpPr>
          <p:nvPr/>
        </p:nvCxnSpPr>
        <p:spPr>
          <a:xfrm>
            <a:off x="0" y="840740"/>
            <a:ext cx="9144000" cy="0"/>
          </a:xfrm>
          <a:prstGeom prst="line">
            <a:avLst/>
          </a:prstGeom>
          <a:ln w="76200">
            <a:solidFill>
              <a:srgbClr val="00277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896741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6" name="Title 1"/>
          <p:cNvSpPr>
            <a:spLocks noGrp="1"/>
          </p:cNvSpPr>
          <p:nvPr>
            <p:ph type="title"/>
            <p:custDataLst>
              <p:tags r:id="rId1"/>
            </p:custDataLst>
          </p:nvPr>
        </p:nvSpPr>
        <p:spPr/>
        <p:txBody>
          <a:bodyPr/>
          <a:lstStyle/>
          <a:p>
            <a:r>
              <a:rPr lang="en-US" altLang="ja-JP" dirty="0">
                <a:solidFill>
                  <a:srgbClr val="81BC00"/>
                </a:solidFill>
              </a:rPr>
              <a:t>Text b</a:t>
            </a:r>
            <a:r>
              <a:rPr lang="en-US" dirty="0">
                <a:solidFill>
                  <a:srgbClr val="81BC00"/>
                </a:solidFill>
              </a:rPr>
              <a:t>locks</a:t>
            </a:r>
            <a:br>
              <a:rPr lang="en-US" dirty="0">
                <a:solidFill>
                  <a:srgbClr val="81BC00"/>
                </a:solidFill>
              </a:rPr>
            </a:br>
            <a:r>
              <a:rPr lang="en-US" dirty="0">
                <a:solidFill>
                  <a:srgbClr val="575757"/>
                </a:solidFill>
              </a:rPr>
              <a:t>Interrelated</a:t>
            </a:r>
          </a:p>
        </p:txBody>
      </p:sp>
      <p:graphicFrame>
        <p:nvGraphicFramePr>
          <p:cNvPr id="233474" name="Rectangle 2"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10" imgW="0" imgH="0" progId="">
                  <p:embed/>
                </p:oleObj>
              </mc:Choice>
              <mc:Fallback>
                <p:oleObj name="think-cell Slide" r:id="rId10" imgW="0" imgH="0" progId="">
                  <p:embed/>
                  <p:pic>
                    <p:nvPicPr>
                      <p:cNvPr id="233474"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2"/>
          <p:cNvGrpSpPr>
            <a:grpSpLocks/>
          </p:cNvGrpSpPr>
          <p:nvPr>
            <p:custDataLst>
              <p:tags r:id="rId3"/>
            </p:custDataLst>
          </p:nvPr>
        </p:nvGrpSpPr>
        <p:grpSpPr bwMode="auto">
          <a:xfrm>
            <a:off x="3742283" y="1951070"/>
            <a:ext cx="1674000" cy="1674000"/>
            <a:chOff x="2244" y="1767"/>
            <a:chExt cx="2029" cy="2029"/>
          </a:xfrm>
          <a:solidFill>
            <a:schemeClr val="accent1"/>
          </a:solidFill>
        </p:grpSpPr>
        <p:sp>
          <p:nvSpPr>
            <p:cNvPr id="5" name="Freeform 3"/>
            <p:cNvSpPr>
              <a:spLocks/>
            </p:cNvSpPr>
            <p:nvPr/>
          </p:nvSpPr>
          <p:spPr bwMode="blackWhite">
            <a:xfrm>
              <a:off x="2366" y="1767"/>
              <a:ext cx="1057" cy="900"/>
            </a:xfrm>
            <a:custGeom>
              <a:avLst/>
              <a:gdLst>
                <a:gd name="T0" fmla="*/ 455 w 1057"/>
                <a:gd name="T1" fmla="*/ 879 h 900"/>
                <a:gd name="T2" fmla="*/ 471 w 1057"/>
                <a:gd name="T3" fmla="*/ 838 h 900"/>
                <a:gd name="T4" fmla="*/ 490 w 1057"/>
                <a:gd name="T5" fmla="*/ 799 h 900"/>
                <a:gd name="T6" fmla="*/ 514 w 1057"/>
                <a:gd name="T7" fmla="*/ 762 h 900"/>
                <a:gd name="T8" fmla="*/ 541 w 1057"/>
                <a:gd name="T9" fmla="*/ 728 h 900"/>
                <a:gd name="T10" fmla="*/ 570 w 1057"/>
                <a:gd name="T11" fmla="*/ 696 h 900"/>
                <a:gd name="T12" fmla="*/ 603 w 1057"/>
                <a:gd name="T13" fmla="*/ 667 h 900"/>
                <a:gd name="T14" fmla="*/ 639 w 1057"/>
                <a:gd name="T15" fmla="*/ 642 h 900"/>
                <a:gd name="T16" fmla="*/ 676 w 1057"/>
                <a:gd name="T17" fmla="*/ 621 h 900"/>
                <a:gd name="T18" fmla="*/ 713 w 1057"/>
                <a:gd name="T19" fmla="*/ 605 h 900"/>
                <a:gd name="T20" fmla="*/ 753 w 1057"/>
                <a:gd name="T21" fmla="*/ 591 h 900"/>
                <a:gd name="T22" fmla="*/ 793 w 1057"/>
                <a:gd name="T23" fmla="*/ 581 h 900"/>
                <a:gd name="T24" fmla="*/ 834 w 1057"/>
                <a:gd name="T25" fmla="*/ 575 h 900"/>
                <a:gd name="T26" fmla="*/ 833 w 1057"/>
                <a:gd name="T27" fmla="*/ 711 h 900"/>
                <a:gd name="T28" fmla="*/ 1056 w 1057"/>
                <a:gd name="T29" fmla="*/ 374 h 900"/>
                <a:gd name="T30" fmla="*/ 818 w 1057"/>
                <a:gd name="T31" fmla="*/ 0 h 900"/>
                <a:gd name="T32" fmla="*/ 819 w 1057"/>
                <a:gd name="T33" fmla="*/ 137 h 900"/>
                <a:gd name="T34" fmla="*/ 757 w 1057"/>
                <a:gd name="T35" fmla="*/ 143 h 900"/>
                <a:gd name="T36" fmla="*/ 694 w 1057"/>
                <a:gd name="T37" fmla="*/ 154 h 900"/>
                <a:gd name="T38" fmla="*/ 634 w 1057"/>
                <a:gd name="T39" fmla="*/ 168 h 900"/>
                <a:gd name="T40" fmla="*/ 574 w 1057"/>
                <a:gd name="T41" fmla="*/ 188 h 900"/>
                <a:gd name="T42" fmla="*/ 516 w 1057"/>
                <a:gd name="T43" fmla="*/ 211 h 900"/>
                <a:gd name="T44" fmla="*/ 460 w 1057"/>
                <a:gd name="T45" fmla="*/ 238 h 900"/>
                <a:gd name="T46" fmla="*/ 405 w 1057"/>
                <a:gd name="T47" fmla="*/ 270 h 900"/>
                <a:gd name="T48" fmla="*/ 352 w 1057"/>
                <a:gd name="T49" fmla="*/ 306 h 900"/>
                <a:gd name="T50" fmla="*/ 302 w 1057"/>
                <a:gd name="T51" fmla="*/ 346 h 900"/>
                <a:gd name="T52" fmla="*/ 255 w 1057"/>
                <a:gd name="T53" fmla="*/ 390 h 900"/>
                <a:gd name="T54" fmla="*/ 211 w 1057"/>
                <a:gd name="T55" fmla="*/ 437 h 900"/>
                <a:gd name="T56" fmla="*/ 170 w 1057"/>
                <a:gd name="T57" fmla="*/ 486 h 900"/>
                <a:gd name="T58" fmla="*/ 134 w 1057"/>
                <a:gd name="T59" fmla="*/ 539 h 900"/>
                <a:gd name="T60" fmla="*/ 101 w 1057"/>
                <a:gd name="T61" fmla="*/ 595 h 900"/>
                <a:gd name="T62" fmla="*/ 72 w 1057"/>
                <a:gd name="T63" fmla="*/ 653 h 900"/>
                <a:gd name="T64" fmla="*/ 47 w 1057"/>
                <a:gd name="T65" fmla="*/ 711 h 900"/>
                <a:gd name="T66" fmla="*/ 27 w 1057"/>
                <a:gd name="T67" fmla="*/ 773 h 900"/>
                <a:gd name="T68" fmla="*/ 11 w 1057"/>
                <a:gd name="T69" fmla="*/ 835 h 900"/>
                <a:gd name="T70" fmla="*/ 0 w 1057"/>
                <a:gd name="T71" fmla="*/ 899 h 900"/>
                <a:gd name="T72" fmla="*/ 238 w 1057"/>
                <a:gd name="T73" fmla="*/ 741 h 900"/>
                <a:gd name="T74" fmla="*/ 455 w 1057"/>
                <a:gd name="T75" fmla="*/ 879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solidFill>
              <a:srgbClr val="00A1DE"/>
            </a:solidFill>
            <a:ln w="12700" cap="rnd">
              <a:solidFill>
                <a:schemeClr val="bg1"/>
              </a:solidFill>
              <a:round/>
              <a:headEnd/>
              <a:tailEnd/>
            </a:ln>
          </p:spPr>
          <p:txBody>
            <a:bodyPr lIns="27000" tIns="27000" rIns="27000" bIns="27000"/>
            <a:lstStyle/>
            <a:p>
              <a:pPr defTabSz="685800">
                <a:buClrTx/>
                <a:defRPr/>
              </a:pPr>
              <a:endParaRPr lang="en-US" sz="1350" kern="1200" dirty="0">
                <a:solidFill>
                  <a:prstClr val="black"/>
                </a:solidFill>
                <a:ea typeface="+mn-ea"/>
                <a:cs typeface="+mn-cs"/>
              </a:endParaRPr>
            </a:p>
          </p:txBody>
        </p:sp>
        <p:sp>
          <p:nvSpPr>
            <p:cNvPr id="6" name="Freeform 4"/>
            <p:cNvSpPr>
              <a:spLocks/>
            </p:cNvSpPr>
            <p:nvPr/>
          </p:nvSpPr>
          <p:spPr bwMode="blackWhite">
            <a:xfrm>
              <a:off x="3073" y="2892"/>
              <a:ext cx="1033" cy="904"/>
            </a:xfrm>
            <a:custGeom>
              <a:avLst/>
              <a:gdLst>
                <a:gd name="T0" fmla="*/ 585 w 1033"/>
                <a:gd name="T1" fmla="*/ 1 h 904"/>
                <a:gd name="T2" fmla="*/ 573 w 1033"/>
                <a:gd name="T3" fmla="*/ 41 h 904"/>
                <a:gd name="T4" fmla="*/ 556 w 1033"/>
                <a:gd name="T5" fmla="*/ 78 h 904"/>
                <a:gd name="T6" fmla="*/ 537 w 1033"/>
                <a:gd name="T7" fmla="*/ 116 h 904"/>
                <a:gd name="T8" fmla="*/ 514 w 1033"/>
                <a:gd name="T9" fmla="*/ 150 h 904"/>
                <a:gd name="T10" fmla="*/ 488 w 1033"/>
                <a:gd name="T11" fmla="*/ 182 h 904"/>
                <a:gd name="T12" fmla="*/ 459 w 1033"/>
                <a:gd name="T13" fmla="*/ 212 h 904"/>
                <a:gd name="T14" fmla="*/ 427 w 1033"/>
                <a:gd name="T15" fmla="*/ 239 h 904"/>
                <a:gd name="T16" fmla="*/ 393 w 1033"/>
                <a:gd name="T17" fmla="*/ 262 h 904"/>
                <a:gd name="T18" fmla="*/ 356 w 1033"/>
                <a:gd name="T19" fmla="*/ 283 h 904"/>
                <a:gd name="T20" fmla="*/ 317 w 1033"/>
                <a:gd name="T21" fmla="*/ 301 h 904"/>
                <a:gd name="T22" fmla="*/ 277 w 1033"/>
                <a:gd name="T23" fmla="*/ 314 h 904"/>
                <a:gd name="T24" fmla="*/ 236 w 1033"/>
                <a:gd name="T25" fmla="*/ 323 h 904"/>
                <a:gd name="T26" fmla="*/ 235 w 1033"/>
                <a:gd name="T27" fmla="*/ 187 h 904"/>
                <a:gd name="T28" fmla="*/ 159 w 1033"/>
                <a:gd name="T29" fmla="*/ 298 h 904"/>
                <a:gd name="T30" fmla="*/ 80 w 1033"/>
                <a:gd name="T31" fmla="*/ 409 h 904"/>
                <a:gd name="T32" fmla="*/ 0 w 1033"/>
                <a:gd name="T33" fmla="*/ 517 h 904"/>
                <a:gd name="T34" fmla="*/ 236 w 1033"/>
                <a:gd name="T35" fmla="*/ 903 h 904"/>
                <a:gd name="T36" fmla="*/ 236 w 1033"/>
                <a:gd name="T37" fmla="*/ 766 h 904"/>
                <a:gd name="T38" fmla="*/ 295 w 1033"/>
                <a:gd name="T39" fmla="*/ 759 h 904"/>
                <a:gd name="T40" fmla="*/ 353 w 1033"/>
                <a:gd name="T41" fmla="*/ 747 h 904"/>
                <a:gd name="T42" fmla="*/ 411 w 1033"/>
                <a:gd name="T43" fmla="*/ 733 h 904"/>
                <a:gd name="T44" fmla="*/ 467 w 1033"/>
                <a:gd name="T45" fmla="*/ 713 h 904"/>
                <a:gd name="T46" fmla="*/ 522 w 1033"/>
                <a:gd name="T47" fmla="*/ 691 h 904"/>
                <a:gd name="T48" fmla="*/ 575 w 1033"/>
                <a:gd name="T49" fmla="*/ 665 h 904"/>
                <a:gd name="T50" fmla="*/ 626 w 1033"/>
                <a:gd name="T51" fmla="*/ 635 h 904"/>
                <a:gd name="T52" fmla="*/ 676 w 1033"/>
                <a:gd name="T53" fmla="*/ 601 h 904"/>
                <a:gd name="T54" fmla="*/ 724 w 1033"/>
                <a:gd name="T55" fmla="*/ 564 h 904"/>
                <a:gd name="T56" fmla="*/ 768 w 1033"/>
                <a:gd name="T57" fmla="*/ 525 h 904"/>
                <a:gd name="T58" fmla="*/ 811 w 1033"/>
                <a:gd name="T59" fmla="*/ 481 h 904"/>
                <a:gd name="T60" fmla="*/ 849 w 1033"/>
                <a:gd name="T61" fmla="*/ 435 h 904"/>
                <a:gd name="T62" fmla="*/ 884 w 1033"/>
                <a:gd name="T63" fmla="*/ 387 h 904"/>
                <a:gd name="T64" fmla="*/ 916 w 1033"/>
                <a:gd name="T65" fmla="*/ 337 h 904"/>
                <a:gd name="T66" fmla="*/ 945 w 1033"/>
                <a:gd name="T67" fmla="*/ 284 h 904"/>
                <a:gd name="T68" fmla="*/ 970 w 1033"/>
                <a:gd name="T69" fmla="*/ 231 h 904"/>
                <a:gd name="T70" fmla="*/ 991 w 1033"/>
                <a:gd name="T71" fmla="*/ 174 h 904"/>
                <a:gd name="T72" fmla="*/ 1009 w 1033"/>
                <a:gd name="T73" fmla="*/ 117 h 904"/>
                <a:gd name="T74" fmla="*/ 1023 w 1033"/>
                <a:gd name="T75" fmla="*/ 58 h 904"/>
                <a:gd name="T76" fmla="*/ 1032 w 1033"/>
                <a:gd name="T77" fmla="*/ 0 h 904"/>
                <a:gd name="T78" fmla="*/ 812 w 1033"/>
                <a:gd name="T79" fmla="*/ 132 h 904"/>
                <a:gd name="T80" fmla="*/ 585 w 1033"/>
                <a:gd name="T81" fmla="*/ 1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solidFill>
              <a:srgbClr val="00A1DE"/>
            </a:solidFill>
            <a:ln w="12700" cap="rnd">
              <a:solidFill>
                <a:schemeClr val="bg1"/>
              </a:solidFill>
              <a:round/>
              <a:headEnd/>
              <a:tailEnd/>
            </a:ln>
          </p:spPr>
          <p:txBody>
            <a:bodyPr lIns="27000" tIns="27000" rIns="27000" bIns="27000"/>
            <a:lstStyle/>
            <a:p>
              <a:pPr defTabSz="685800">
                <a:buClrTx/>
                <a:defRPr/>
              </a:pPr>
              <a:endParaRPr lang="en-US" sz="1350" kern="1200" dirty="0">
                <a:solidFill>
                  <a:prstClr val="black"/>
                </a:solidFill>
                <a:ea typeface="+mn-ea"/>
                <a:cs typeface="+mn-cs"/>
              </a:endParaRPr>
            </a:p>
          </p:txBody>
        </p:sp>
        <p:sp>
          <p:nvSpPr>
            <p:cNvPr id="7" name="Freeform 5"/>
            <p:cNvSpPr>
              <a:spLocks/>
            </p:cNvSpPr>
            <p:nvPr/>
          </p:nvSpPr>
          <p:spPr bwMode="blackWhite">
            <a:xfrm>
              <a:off x="2244" y="2563"/>
              <a:ext cx="930" cy="1075"/>
            </a:xfrm>
            <a:custGeom>
              <a:avLst/>
              <a:gdLst>
                <a:gd name="T0" fmla="*/ 929 w 930"/>
                <a:gd name="T1" fmla="*/ 645 h 1075"/>
                <a:gd name="T2" fmla="*/ 887 w 930"/>
                <a:gd name="T3" fmla="*/ 634 h 1075"/>
                <a:gd name="T4" fmla="*/ 847 w 930"/>
                <a:gd name="T5" fmla="*/ 620 h 1075"/>
                <a:gd name="T6" fmla="*/ 807 w 930"/>
                <a:gd name="T7" fmla="*/ 603 h 1075"/>
                <a:gd name="T8" fmla="*/ 771 w 930"/>
                <a:gd name="T9" fmla="*/ 582 h 1075"/>
                <a:gd name="T10" fmla="*/ 735 w 930"/>
                <a:gd name="T11" fmla="*/ 557 h 1075"/>
                <a:gd name="T12" fmla="*/ 703 w 930"/>
                <a:gd name="T13" fmla="*/ 529 h 1075"/>
                <a:gd name="T14" fmla="*/ 673 w 930"/>
                <a:gd name="T15" fmla="*/ 497 h 1075"/>
                <a:gd name="T16" fmla="*/ 648 w 930"/>
                <a:gd name="T17" fmla="*/ 465 h 1075"/>
                <a:gd name="T18" fmla="*/ 624 w 930"/>
                <a:gd name="T19" fmla="*/ 428 h 1075"/>
                <a:gd name="T20" fmla="*/ 607 w 930"/>
                <a:gd name="T21" fmla="*/ 398 h 1075"/>
                <a:gd name="T22" fmla="*/ 594 w 930"/>
                <a:gd name="T23" fmla="*/ 366 h 1075"/>
                <a:gd name="T24" fmla="*/ 583 w 930"/>
                <a:gd name="T25" fmla="*/ 332 h 1075"/>
                <a:gd name="T26" fmla="*/ 577 w 930"/>
                <a:gd name="T27" fmla="*/ 298 h 1075"/>
                <a:gd name="T28" fmla="*/ 575 w 930"/>
                <a:gd name="T29" fmla="*/ 264 h 1075"/>
                <a:gd name="T30" fmla="*/ 576 w 930"/>
                <a:gd name="T31" fmla="*/ 229 h 1075"/>
                <a:gd name="T32" fmla="*/ 748 w 930"/>
                <a:gd name="T33" fmla="*/ 229 h 1075"/>
                <a:gd name="T34" fmla="*/ 360 w 930"/>
                <a:gd name="T35" fmla="*/ 0 h 1075"/>
                <a:gd name="T36" fmla="*/ 0 w 930"/>
                <a:gd name="T37" fmla="*/ 236 h 1075"/>
                <a:gd name="T38" fmla="*/ 136 w 930"/>
                <a:gd name="T39" fmla="*/ 237 h 1075"/>
                <a:gd name="T40" fmla="*/ 141 w 930"/>
                <a:gd name="T41" fmla="*/ 299 h 1075"/>
                <a:gd name="T42" fmla="*/ 150 w 930"/>
                <a:gd name="T43" fmla="*/ 362 h 1075"/>
                <a:gd name="T44" fmla="*/ 165 w 930"/>
                <a:gd name="T45" fmla="*/ 422 h 1075"/>
                <a:gd name="T46" fmla="*/ 182 w 930"/>
                <a:gd name="T47" fmla="*/ 483 h 1075"/>
                <a:gd name="T48" fmla="*/ 204 w 930"/>
                <a:gd name="T49" fmla="*/ 541 h 1075"/>
                <a:gd name="T50" fmla="*/ 231 w 930"/>
                <a:gd name="T51" fmla="*/ 598 h 1075"/>
                <a:gd name="T52" fmla="*/ 262 w 930"/>
                <a:gd name="T53" fmla="*/ 653 h 1075"/>
                <a:gd name="T54" fmla="*/ 296 w 930"/>
                <a:gd name="T55" fmla="*/ 704 h 1075"/>
                <a:gd name="T56" fmla="*/ 333 w 930"/>
                <a:gd name="T57" fmla="*/ 752 h 1075"/>
                <a:gd name="T58" fmla="*/ 374 w 930"/>
                <a:gd name="T59" fmla="*/ 797 h 1075"/>
                <a:gd name="T60" fmla="*/ 419 w 930"/>
                <a:gd name="T61" fmla="*/ 841 h 1075"/>
                <a:gd name="T62" fmla="*/ 465 w 930"/>
                <a:gd name="T63" fmla="*/ 880 h 1075"/>
                <a:gd name="T64" fmla="*/ 514 w 930"/>
                <a:gd name="T65" fmla="*/ 917 h 1075"/>
                <a:gd name="T66" fmla="*/ 566 w 930"/>
                <a:gd name="T67" fmla="*/ 951 h 1075"/>
                <a:gd name="T68" fmla="*/ 620 w 930"/>
                <a:gd name="T69" fmla="*/ 980 h 1075"/>
                <a:gd name="T70" fmla="*/ 675 w 930"/>
                <a:gd name="T71" fmla="*/ 1007 h 1075"/>
                <a:gd name="T72" fmla="*/ 732 w 930"/>
                <a:gd name="T73" fmla="*/ 1029 h 1075"/>
                <a:gd name="T74" fmla="*/ 790 w 930"/>
                <a:gd name="T75" fmla="*/ 1048 h 1075"/>
                <a:gd name="T76" fmla="*/ 849 w 930"/>
                <a:gd name="T77" fmla="*/ 1062 h 1075"/>
                <a:gd name="T78" fmla="*/ 910 w 930"/>
                <a:gd name="T79" fmla="*/ 1074 h 1075"/>
                <a:gd name="T80" fmla="*/ 772 w 930"/>
                <a:gd name="T81" fmla="*/ 845 h 1075"/>
                <a:gd name="T82" fmla="*/ 929 w 930"/>
                <a:gd name="T83" fmla="*/ 645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solidFill>
              <a:srgbClr val="00A1DE"/>
            </a:solidFill>
            <a:ln w="12700" cap="rnd">
              <a:solidFill>
                <a:schemeClr val="bg1"/>
              </a:solidFill>
              <a:round/>
              <a:headEnd/>
              <a:tailEnd/>
            </a:ln>
          </p:spPr>
          <p:txBody>
            <a:bodyPr lIns="27000" tIns="27000" rIns="27000" bIns="27000"/>
            <a:lstStyle/>
            <a:p>
              <a:pPr defTabSz="685800">
                <a:buClrTx/>
                <a:defRPr/>
              </a:pPr>
              <a:endParaRPr lang="en-US" sz="1350" kern="1200" dirty="0">
                <a:solidFill>
                  <a:prstClr val="black"/>
                </a:solidFill>
                <a:ea typeface="+mn-ea"/>
                <a:cs typeface="+mn-cs"/>
              </a:endParaRPr>
            </a:p>
          </p:txBody>
        </p:sp>
        <p:sp>
          <p:nvSpPr>
            <p:cNvPr id="8" name="Freeform 6"/>
            <p:cNvSpPr>
              <a:spLocks/>
            </p:cNvSpPr>
            <p:nvPr/>
          </p:nvSpPr>
          <p:spPr bwMode="blackWhite">
            <a:xfrm>
              <a:off x="3330" y="1909"/>
              <a:ext cx="943" cy="1065"/>
            </a:xfrm>
            <a:custGeom>
              <a:avLst/>
              <a:gdLst>
                <a:gd name="T0" fmla="*/ 554 w 943"/>
                <a:gd name="T1" fmla="*/ 1064 h 1065"/>
                <a:gd name="T2" fmla="*/ 942 w 943"/>
                <a:gd name="T3" fmla="*/ 840 h 1065"/>
                <a:gd name="T4" fmla="*/ 781 w 943"/>
                <a:gd name="T5" fmla="*/ 840 h 1065"/>
                <a:gd name="T6" fmla="*/ 776 w 943"/>
                <a:gd name="T7" fmla="*/ 778 h 1065"/>
                <a:gd name="T8" fmla="*/ 767 w 943"/>
                <a:gd name="T9" fmla="*/ 716 h 1065"/>
                <a:gd name="T10" fmla="*/ 754 w 943"/>
                <a:gd name="T11" fmla="*/ 655 h 1065"/>
                <a:gd name="T12" fmla="*/ 737 w 943"/>
                <a:gd name="T13" fmla="*/ 595 h 1065"/>
                <a:gd name="T14" fmla="*/ 714 w 943"/>
                <a:gd name="T15" fmla="*/ 536 h 1065"/>
                <a:gd name="T16" fmla="*/ 688 w 943"/>
                <a:gd name="T17" fmla="*/ 480 h 1065"/>
                <a:gd name="T18" fmla="*/ 658 w 943"/>
                <a:gd name="T19" fmla="*/ 425 h 1065"/>
                <a:gd name="T20" fmla="*/ 624 w 943"/>
                <a:gd name="T21" fmla="*/ 372 h 1065"/>
                <a:gd name="T22" fmla="*/ 586 w 943"/>
                <a:gd name="T23" fmla="*/ 323 h 1065"/>
                <a:gd name="T24" fmla="*/ 547 w 943"/>
                <a:gd name="T25" fmla="*/ 275 h 1065"/>
                <a:gd name="T26" fmla="*/ 502 w 943"/>
                <a:gd name="T27" fmla="*/ 232 h 1065"/>
                <a:gd name="T28" fmla="*/ 455 w 943"/>
                <a:gd name="T29" fmla="*/ 191 h 1065"/>
                <a:gd name="T30" fmla="*/ 405 w 943"/>
                <a:gd name="T31" fmla="*/ 153 h 1065"/>
                <a:gd name="T32" fmla="*/ 352 w 943"/>
                <a:gd name="T33" fmla="*/ 120 h 1065"/>
                <a:gd name="T34" fmla="*/ 298 w 943"/>
                <a:gd name="T35" fmla="*/ 89 h 1065"/>
                <a:gd name="T36" fmla="*/ 241 w 943"/>
                <a:gd name="T37" fmla="*/ 63 h 1065"/>
                <a:gd name="T38" fmla="*/ 182 w 943"/>
                <a:gd name="T39" fmla="*/ 41 h 1065"/>
                <a:gd name="T40" fmla="*/ 122 w 943"/>
                <a:gd name="T41" fmla="*/ 23 h 1065"/>
                <a:gd name="T42" fmla="*/ 61 w 943"/>
                <a:gd name="T43" fmla="*/ 9 h 1065"/>
                <a:gd name="T44" fmla="*/ 0 w 943"/>
                <a:gd name="T45" fmla="*/ 0 h 1065"/>
                <a:gd name="T46" fmla="*/ 137 w 943"/>
                <a:gd name="T47" fmla="*/ 226 h 1065"/>
                <a:gd name="T48" fmla="*/ 5 w 943"/>
                <a:gd name="T49" fmla="*/ 451 h 1065"/>
                <a:gd name="T50" fmla="*/ 48 w 943"/>
                <a:gd name="T51" fmla="*/ 465 h 1065"/>
                <a:gd name="T52" fmla="*/ 90 w 943"/>
                <a:gd name="T53" fmla="*/ 483 h 1065"/>
                <a:gd name="T54" fmla="*/ 130 w 943"/>
                <a:gd name="T55" fmla="*/ 505 h 1065"/>
                <a:gd name="T56" fmla="*/ 168 w 943"/>
                <a:gd name="T57" fmla="*/ 531 h 1065"/>
                <a:gd name="T58" fmla="*/ 202 w 943"/>
                <a:gd name="T59" fmla="*/ 561 h 1065"/>
                <a:gd name="T60" fmla="*/ 233 w 943"/>
                <a:gd name="T61" fmla="*/ 594 h 1065"/>
                <a:gd name="T62" fmla="*/ 262 w 943"/>
                <a:gd name="T63" fmla="*/ 629 h 1065"/>
                <a:gd name="T64" fmla="*/ 285 w 943"/>
                <a:gd name="T65" fmla="*/ 668 h 1065"/>
                <a:gd name="T66" fmla="*/ 305 w 943"/>
                <a:gd name="T67" fmla="*/ 709 h 1065"/>
                <a:gd name="T68" fmla="*/ 321 w 943"/>
                <a:gd name="T69" fmla="*/ 751 h 1065"/>
                <a:gd name="T70" fmla="*/ 333 w 943"/>
                <a:gd name="T71" fmla="*/ 795 h 1065"/>
                <a:gd name="T72" fmla="*/ 340 w 943"/>
                <a:gd name="T73" fmla="*/ 840 h 1065"/>
                <a:gd name="T74" fmla="*/ 188 w 943"/>
                <a:gd name="T75" fmla="*/ 841 h 1065"/>
                <a:gd name="T76" fmla="*/ 554 w 943"/>
                <a:gd name="T77" fmla="*/ 1064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solidFill>
              <a:srgbClr val="00A1DE"/>
            </a:solidFill>
            <a:ln w="12700" cap="rnd">
              <a:solidFill>
                <a:schemeClr val="bg1"/>
              </a:solidFill>
              <a:round/>
              <a:headEnd/>
              <a:tailEnd/>
            </a:ln>
          </p:spPr>
          <p:txBody>
            <a:bodyPr lIns="27000" tIns="27000" rIns="27000" bIns="27000"/>
            <a:lstStyle/>
            <a:p>
              <a:pPr defTabSz="685800">
                <a:buClrTx/>
                <a:defRPr/>
              </a:pPr>
              <a:endParaRPr lang="en-US" sz="1350" kern="1200" dirty="0">
                <a:solidFill>
                  <a:prstClr val="black"/>
                </a:solidFill>
                <a:ea typeface="+mn-ea"/>
                <a:cs typeface="+mn-cs"/>
              </a:endParaRPr>
            </a:p>
          </p:txBody>
        </p:sp>
      </p:grpSp>
      <p:grpSp>
        <p:nvGrpSpPr>
          <p:cNvPr id="24" name="Group 23"/>
          <p:cNvGrpSpPr/>
          <p:nvPr/>
        </p:nvGrpSpPr>
        <p:grpSpPr>
          <a:xfrm>
            <a:off x="1438274" y="1268730"/>
            <a:ext cx="2384100" cy="1402260"/>
            <a:chOff x="393698" y="1376361"/>
            <a:chExt cx="3997326" cy="1869680"/>
          </a:xfrm>
        </p:grpSpPr>
        <p:sp>
          <p:nvSpPr>
            <p:cNvPr id="26" name="Text Box 10"/>
            <p:cNvSpPr txBox="1">
              <a:spLocks noChangeArrowheads="1"/>
            </p:cNvSpPr>
            <p:nvPr>
              <p:custDataLst>
                <p:tags r:id="rId7"/>
              </p:custDataLst>
            </p:nvPr>
          </p:nvSpPr>
          <p:spPr bwMode="auto">
            <a:xfrm>
              <a:off x="393699" y="1376361"/>
              <a:ext cx="3997325" cy="249678"/>
            </a:xfrm>
            <a:prstGeom prst="rect">
              <a:avLst/>
            </a:prstGeom>
            <a:solidFill>
              <a:srgbClr val="81BC00"/>
            </a:solidFill>
            <a:ln w="12700" algn="ctr">
              <a:noFill/>
              <a:miter lim="800000"/>
              <a:headEnd/>
              <a:tailEnd type="none" w="sm" len="med"/>
            </a:ln>
          </p:spPr>
          <p:txBody>
            <a:bodyPr lIns="27000" tIns="27000" rIns="27000" bIns="27000" anchor="ctr" anchorCtr="1"/>
            <a:lstStyle/>
            <a:p>
              <a:pPr algn="ctr" defTabSz="717947">
                <a:buClrTx/>
              </a:pPr>
              <a:r>
                <a:rPr lang="en-US" sz="1050" b="1" kern="1200" dirty="0">
                  <a:solidFill>
                    <a:prstClr val="white"/>
                  </a:solidFill>
                  <a:ea typeface="+mn-ea"/>
                  <a:cs typeface="+mn-cs"/>
                </a:rPr>
                <a:t>Text</a:t>
              </a:r>
            </a:p>
          </p:txBody>
        </p:sp>
        <p:sp>
          <p:nvSpPr>
            <p:cNvPr id="27" name="Text Placeholder 5"/>
            <p:cNvSpPr txBox="1">
              <a:spLocks/>
            </p:cNvSpPr>
            <p:nvPr/>
          </p:nvSpPr>
          <p:spPr>
            <a:xfrm>
              <a:off x="393698" y="1626041"/>
              <a:ext cx="3997325" cy="1620000"/>
            </a:xfrm>
            <a:prstGeom prst="rect">
              <a:avLst/>
            </a:prstGeom>
            <a:solidFill>
              <a:srgbClr val="DCDCDC"/>
            </a:solidFill>
            <a:ln w="12700">
              <a:noFill/>
            </a:ln>
          </p:spPr>
          <p:txBody>
            <a:bodyPr wrap="square" lIns="137160" tIns="27000" rIns="27000" bIns="27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defTabSz="717947">
                <a:spcBef>
                  <a:spcPts val="450"/>
                </a:spcBef>
                <a:buClrTx/>
              </a:pPr>
              <a:r>
                <a:rPr lang="en-US" sz="825" dirty="0">
                  <a:solidFill>
                    <a:srgbClr val="313131"/>
                  </a:solidFill>
                  <a:latin typeface="Arial"/>
                </a:rPr>
                <a:t>Text runs here</a:t>
              </a:r>
            </a:p>
            <a:p>
              <a:pPr marL="205740" lvl="1" indent="-205740" defTabSz="717947">
                <a:spcBef>
                  <a:spcPts val="450"/>
                </a:spcBef>
                <a:buClrTx/>
              </a:pPr>
              <a:r>
                <a:rPr lang="en-US" sz="825" dirty="0">
                  <a:solidFill>
                    <a:srgbClr val="313131"/>
                  </a:solidFill>
                  <a:latin typeface="Arial"/>
                </a:rPr>
                <a:t>This is second level text  </a:t>
              </a:r>
            </a:p>
            <a:p>
              <a:pPr marL="404622" lvl="2" indent="-198882" defTabSz="717947">
                <a:spcBef>
                  <a:spcPts val="450"/>
                </a:spcBef>
                <a:buClrTx/>
              </a:pPr>
              <a:r>
                <a:rPr lang="en-US" sz="825" dirty="0">
                  <a:solidFill>
                    <a:srgbClr val="313131"/>
                  </a:solidFill>
                  <a:latin typeface="Arial"/>
                </a:rPr>
                <a:t>This is third level text </a:t>
              </a:r>
            </a:p>
          </p:txBody>
        </p:sp>
      </p:grpSp>
      <p:grpSp>
        <p:nvGrpSpPr>
          <p:cNvPr id="40" name="Group 39"/>
          <p:cNvGrpSpPr/>
          <p:nvPr/>
        </p:nvGrpSpPr>
        <p:grpSpPr>
          <a:xfrm>
            <a:off x="1438274" y="2864168"/>
            <a:ext cx="2384100" cy="1402260"/>
            <a:chOff x="393698" y="1376361"/>
            <a:chExt cx="3997326" cy="1869680"/>
          </a:xfrm>
        </p:grpSpPr>
        <p:sp>
          <p:nvSpPr>
            <p:cNvPr id="41" name="Text Box 10"/>
            <p:cNvSpPr txBox="1">
              <a:spLocks noChangeArrowheads="1"/>
            </p:cNvSpPr>
            <p:nvPr>
              <p:custDataLst>
                <p:tags r:id="rId6"/>
              </p:custDataLst>
            </p:nvPr>
          </p:nvSpPr>
          <p:spPr bwMode="auto">
            <a:xfrm>
              <a:off x="393699" y="1376361"/>
              <a:ext cx="3997325" cy="249678"/>
            </a:xfrm>
            <a:prstGeom prst="rect">
              <a:avLst/>
            </a:prstGeom>
            <a:solidFill>
              <a:srgbClr val="81BC00"/>
            </a:solidFill>
            <a:ln w="12700" algn="ctr">
              <a:noFill/>
              <a:miter lim="800000"/>
              <a:headEnd/>
              <a:tailEnd type="none" w="sm" len="med"/>
            </a:ln>
          </p:spPr>
          <p:txBody>
            <a:bodyPr lIns="27000" tIns="27000" rIns="27000" bIns="27000" anchor="ctr" anchorCtr="1"/>
            <a:lstStyle/>
            <a:p>
              <a:pPr algn="ctr" defTabSz="717947">
                <a:buClrTx/>
              </a:pPr>
              <a:r>
                <a:rPr lang="en-US" sz="1050" b="1" kern="1200" dirty="0">
                  <a:solidFill>
                    <a:prstClr val="white"/>
                  </a:solidFill>
                  <a:ea typeface="+mn-ea"/>
                  <a:cs typeface="+mn-cs"/>
                </a:rPr>
                <a:t>Text</a:t>
              </a:r>
            </a:p>
          </p:txBody>
        </p:sp>
        <p:sp>
          <p:nvSpPr>
            <p:cNvPr id="42" name="Text Placeholder 5"/>
            <p:cNvSpPr txBox="1">
              <a:spLocks/>
            </p:cNvSpPr>
            <p:nvPr/>
          </p:nvSpPr>
          <p:spPr>
            <a:xfrm>
              <a:off x="393698" y="1626041"/>
              <a:ext cx="3997325" cy="1620000"/>
            </a:xfrm>
            <a:prstGeom prst="rect">
              <a:avLst/>
            </a:prstGeom>
            <a:solidFill>
              <a:srgbClr val="DCDCDC"/>
            </a:solidFill>
            <a:ln w="12700">
              <a:noFill/>
            </a:ln>
          </p:spPr>
          <p:txBody>
            <a:bodyPr wrap="square" lIns="137160" tIns="27000" rIns="27000" bIns="27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defTabSz="717947">
                <a:spcBef>
                  <a:spcPts val="450"/>
                </a:spcBef>
                <a:buClrTx/>
              </a:pPr>
              <a:r>
                <a:rPr lang="en-US" sz="825" dirty="0">
                  <a:solidFill>
                    <a:srgbClr val="313131"/>
                  </a:solidFill>
                  <a:latin typeface="Arial"/>
                </a:rPr>
                <a:t>Text runs here</a:t>
              </a:r>
            </a:p>
            <a:p>
              <a:pPr marL="205740" lvl="1" indent="-205740" defTabSz="717947">
                <a:spcBef>
                  <a:spcPts val="450"/>
                </a:spcBef>
                <a:buClrTx/>
              </a:pPr>
              <a:r>
                <a:rPr lang="en-US" sz="825" dirty="0">
                  <a:solidFill>
                    <a:srgbClr val="313131"/>
                  </a:solidFill>
                  <a:latin typeface="Arial"/>
                </a:rPr>
                <a:t>This is second level text  </a:t>
              </a:r>
            </a:p>
            <a:p>
              <a:pPr marL="404622" lvl="2" indent="-198882" defTabSz="717947">
                <a:spcBef>
                  <a:spcPts val="450"/>
                </a:spcBef>
                <a:buClrTx/>
              </a:pPr>
              <a:r>
                <a:rPr lang="en-US" sz="825" dirty="0">
                  <a:solidFill>
                    <a:srgbClr val="313131"/>
                  </a:solidFill>
                  <a:latin typeface="Arial"/>
                </a:rPr>
                <a:t>This is third level text </a:t>
              </a:r>
            </a:p>
          </p:txBody>
        </p:sp>
      </p:grpSp>
      <p:grpSp>
        <p:nvGrpSpPr>
          <p:cNvPr id="43" name="Group 42"/>
          <p:cNvGrpSpPr/>
          <p:nvPr/>
        </p:nvGrpSpPr>
        <p:grpSpPr>
          <a:xfrm>
            <a:off x="5320435" y="1268730"/>
            <a:ext cx="2384100" cy="1402260"/>
            <a:chOff x="393698" y="1376361"/>
            <a:chExt cx="3997326" cy="1869680"/>
          </a:xfrm>
        </p:grpSpPr>
        <p:sp>
          <p:nvSpPr>
            <p:cNvPr id="44" name="Text Box 10"/>
            <p:cNvSpPr txBox="1">
              <a:spLocks noChangeArrowheads="1"/>
            </p:cNvSpPr>
            <p:nvPr>
              <p:custDataLst>
                <p:tags r:id="rId5"/>
              </p:custDataLst>
            </p:nvPr>
          </p:nvSpPr>
          <p:spPr bwMode="auto">
            <a:xfrm>
              <a:off x="393699" y="1376361"/>
              <a:ext cx="3997325" cy="249678"/>
            </a:xfrm>
            <a:prstGeom prst="rect">
              <a:avLst/>
            </a:prstGeom>
            <a:solidFill>
              <a:srgbClr val="81BC00"/>
            </a:solidFill>
            <a:ln w="12700" algn="ctr">
              <a:noFill/>
              <a:miter lim="800000"/>
              <a:headEnd/>
              <a:tailEnd type="none" w="sm" len="med"/>
            </a:ln>
          </p:spPr>
          <p:txBody>
            <a:bodyPr lIns="27000" tIns="27000" rIns="27000" bIns="27000" anchor="ctr" anchorCtr="1"/>
            <a:lstStyle/>
            <a:p>
              <a:pPr algn="ctr" defTabSz="717947">
                <a:buClrTx/>
              </a:pPr>
              <a:r>
                <a:rPr lang="en-US" sz="1050" b="1" kern="1200">
                  <a:solidFill>
                    <a:prstClr val="white"/>
                  </a:solidFill>
                  <a:ea typeface="+mn-ea"/>
                  <a:cs typeface="+mn-cs"/>
                </a:rPr>
                <a:t>Text</a:t>
              </a:r>
            </a:p>
          </p:txBody>
        </p:sp>
        <p:sp>
          <p:nvSpPr>
            <p:cNvPr id="45" name="Text Placeholder 5"/>
            <p:cNvSpPr txBox="1">
              <a:spLocks/>
            </p:cNvSpPr>
            <p:nvPr/>
          </p:nvSpPr>
          <p:spPr>
            <a:xfrm>
              <a:off x="393698" y="1626041"/>
              <a:ext cx="3997325" cy="1620000"/>
            </a:xfrm>
            <a:prstGeom prst="rect">
              <a:avLst/>
            </a:prstGeom>
            <a:solidFill>
              <a:srgbClr val="DCDCDC"/>
            </a:solidFill>
            <a:ln w="12700">
              <a:noFill/>
            </a:ln>
          </p:spPr>
          <p:txBody>
            <a:bodyPr wrap="square" lIns="137160" tIns="27000" rIns="27000" bIns="27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defTabSz="717947">
                <a:spcBef>
                  <a:spcPts val="450"/>
                </a:spcBef>
                <a:buClrTx/>
              </a:pPr>
              <a:r>
                <a:rPr lang="en-US" sz="825" dirty="0">
                  <a:solidFill>
                    <a:srgbClr val="313131"/>
                  </a:solidFill>
                  <a:latin typeface="Arial"/>
                </a:rPr>
                <a:t>Text runs here</a:t>
              </a:r>
            </a:p>
            <a:p>
              <a:pPr marL="205740" lvl="1" indent="-205740" defTabSz="717947">
                <a:spcBef>
                  <a:spcPts val="450"/>
                </a:spcBef>
                <a:buClrTx/>
              </a:pPr>
              <a:r>
                <a:rPr lang="en-US" sz="825" dirty="0">
                  <a:solidFill>
                    <a:srgbClr val="313131"/>
                  </a:solidFill>
                  <a:latin typeface="Arial"/>
                </a:rPr>
                <a:t>This is second level text  </a:t>
              </a:r>
            </a:p>
            <a:p>
              <a:pPr marL="404622" lvl="2" indent="-198882" defTabSz="717947">
                <a:spcBef>
                  <a:spcPts val="450"/>
                </a:spcBef>
                <a:buClrTx/>
              </a:pPr>
              <a:r>
                <a:rPr lang="en-US" sz="825" dirty="0">
                  <a:solidFill>
                    <a:srgbClr val="313131"/>
                  </a:solidFill>
                  <a:latin typeface="Arial"/>
                </a:rPr>
                <a:t>This is third level text </a:t>
              </a:r>
            </a:p>
          </p:txBody>
        </p:sp>
      </p:grpSp>
      <p:grpSp>
        <p:nvGrpSpPr>
          <p:cNvPr id="46" name="Group 45"/>
          <p:cNvGrpSpPr/>
          <p:nvPr/>
        </p:nvGrpSpPr>
        <p:grpSpPr>
          <a:xfrm>
            <a:off x="5320435" y="2864168"/>
            <a:ext cx="2384100" cy="1402260"/>
            <a:chOff x="393698" y="1376361"/>
            <a:chExt cx="3997326" cy="1869680"/>
          </a:xfrm>
        </p:grpSpPr>
        <p:sp>
          <p:nvSpPr>
            <p:cNvPr id="47" name="Text Box 10"/>
            <p:cNvSpPr txBox="1">
              <a:spLocks noChangeArrowheads="1"/>
            </p:cNvSpPr>
            <p:nvPr>
              <p:custDataLst>
                <p:tags r:id="rId4"/>
              </p:custDataLst>
            </p:nvPr>
          </p:nvSpPr>
          <p:spPr bwMode="auto">
            <a:xfrm>
              <a:off x="393699" y="1376361"/>
              <a:ext cx="3997325" cy="249678"/>
            </a:xfrm>
            <a:prstGeom prst="rect">
              <a:avLst/>
            </a:prstGeom>
            <a:solidFill>
              <a:srgbClr val="81BC00"/>
            </a:solidFill>
            <a:ln w="12700" algn="ctr">
              <a:noFill/>
              <a:miter lim="800000"/>
              <a:headEnd/>
              <a:tailEnd type="none" w="sm" len="med"/>
            </a:ln>
          </p:spPr>
          <p:txBody>
            <a:bodyPr lIns="27000" tIns="27000" rIns="27000" bIns="27000" anchor="ctr" anchorCtr="1"/>
            <a:lstStyle/>
            <a:p>
              <a:pPr algn="ctr" defTabSz="717947">
                <a:buClrTx/>
              </a:pPr>
              <a:r>
                <a:rPr lang="en-US" sz="1050" b="1" kern="1200" dirty="0">
                  <a:solidFill>
                    <a:prstClr val="white"/>
                  </a:solidFill>
                  <a:ea typeface="+mn-ea"/>
                  <a:cs typeface="+mn-cs"/>
                </a:rPr>
                <a:t>Text</a:t>
              </a:r>
            </a:p>
          </p:txBody>
        </p:sp>
        <p:sp>
          <p:nvSpPr>
            <p:cNvPr id="48" name="Text Placeholder 5"/>
            <p:cNvSpPr txBox="1">
              <a:spLocks/>
            </p:cNvSpPr>
            <p:nvPr/>
          </p:nvSpPr>
          <p:spPr>
            <a:xfrm>
              <a:off x="393698" y="1626041"/>
              <a:ext cx="3997325" cy="1620000"/>
            </a:xfrm>
            <a:prstGeom prst="rect">
              <a:avLst/>
            </a:prstGeom>
            <a:solidFill>
              <a:srgbClr val="DCDCDC"/>
            </a:solidFill>
            <a:ln w="12700">
              <a:noFill/>
            </a:ln>
          </p:spPr>
          <p:txBody>
            <a:bodyPr wrap="square" lIns="137160" tIns="27000" rIns="27000" bIns="27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defTabSz="717947">
                <a:spcBef>
                  <a:spcPts val="450"/>
                </a:spcBef>
                <a:buClrTx/>
              </a:pPr>
              <a:r>
                <a:rPr lang="en-US" sz="825" dirty="0">
                  <a:solidFill>
                    <a:srgbClr val="313131"/>
                  </a:solidFill>
                  <a:latin typeface="Arial"/>
                </a:rPr>
                <a:t>Text runs here</a:t>
              </a:r>
            </a:p>
            <a:p>
              <a:pPr marL="205740" lvl="1" indent="-205740" defTabSz="717947">
                <a:spcBef>
                  <a:spcPts val="450"/>
                </a:spcBef>
                <a:buClrTx/>
              </a:pPr>
              <a:r>
                <a:rPr lang="en-US" sz="825" dirty="0">
                  <a:solidFill>
                    <a:srgbClr val="313131"/>
                  </a:solidFill>
                  <a:latin typeface="Arial"/>
                </a:rPr>
                <a:t>This is second level text  </a:t>
              </a:r>
            </a:p>
            <a:p>
              <a:pPr marL="404622" lvl="2" indent="-198882" defTabSz="717947">
                <a:spcBef>
                  <a:spcPts val="450"/>
                </a:spcBef>
                <a:buClrTx/>
              </a:pPr>
              <a:r>
                <a:rPr lang="en-US" sz="825" dirty="0">
                  <a:solidFill>
                    <a:srgbClr val="313131"/>
                  </a:solidFill>
                  <a:latin typeface="Arial"/>
                </a:rPr>
                <a:t>This is third level text </a:t>
              </a:r>
            </a:p>
          </p:txBody>
        </p:sp>
      </p:grpSp>
    </p:spTree>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143000" y="0"/>
          <a:ext cx="119063" cy="119063"/>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43000" y="0"/>
                        <a:ext cx="119063"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94945" name="Title 1"/>
          <p:cNvSpPr>
            <a:spLocks noGrp="1"/>
          </p:cNvSpPr>
          <p:nvPr>
            <p:ph type="title"/>
            <p:custDataLst>
              <p:tags r:id="rId2"/>
            </p:custDataLst>
          </p:nvPr>
        </p:nvSpPr>
        <p:spPr/>
        <p:txBody>
          <a:bodyPr/>
          <a:lstStyle/>
          <a:p>
            <a:pPr>
              <a:lnSpc>
                <a:spcPct val="100000"/>
              </a:lnSpc>
            </a:pPr>
            <a:r>
              <a:rPr lang="en-US" dirty="0">
                <a:solidFill>
                  <a:srgbClr val="81BC00"/>
                </a:solidFill>
              </a:rPr>
              <a:t>Text blocks </a:t>
            </a:r>
            <a:br>
              <a:rPr lang="en-US" dirty="0"/>
            </a:br>
            <a:r>
              <a:rPr lang="en-US" dirty="0">
                <a:solidFill>
                  <a:srgbClr val="575757"/>
                </a:solidFill>
              </a:rPr>
              <a:t>Sequence</a:t>
            </a:r>
          </a:p>
        </p:txBody>
      </p:sp>
      <p:sp>
        <p:nvSpPr>
          <p:cNvPr id="21" name="Text Placeholder 5"/>
          <p:cNvSpPr txBox="1">
            <a:spLocks/>
          </p:cNvSpPr>
          <p:nvPr>
            <p:custDataLst>
              <p:tags r:id="rId3"/>
            </p:custDataLst>
          </p:nvPr>
        </p:nvSpPr>
        <p:spPr>
          <a:xfrm>
            <a:off x="3796308" y="2890158"/>
            <a:ext cx="2832497" cy="485775"/>
          </a:xfrm>
          <a:prstGeom prst="rect">
            <a:avLst/>
          </a:prstGeom>
          <a:solidFill>
            <a:srgbClr val="00A1DE"/>
          </a:solidFill>
          <a:ln>
            <a:solidFill>
              <a:schemeClr val="bg1"/>
            </a:solidFill>
          </a:ln>
        </p:spPr>
        <p:txBody>
          <a:bodyPr wrap="square" lIns="68580" tIns="27000" rIns="27000" bIns="27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prstClr val="white"/>
                </a:solidFill>
                <a:latin typeface="Arial"/>
              </a:rPr>
              <a:t>This is bullet dummy text</a:t>
            </a:r>
          </a:p>
          <a:p>
            <a:pPr marL="404622" lvl="2" indent="-198882" defTabSz="717947">
              <a:spcBef>
                <a:spcPts val="450"/>
              </a:spcBef>
              <a:buClrTx/>
            </a:pPr>
            <a:r>
              <a:rPr lang="en-US" sz="825" dirty="0">
                <a:solidFill>
                  <a:prstClr val="white"/>
                </a:solidFill>
                <a:latin typeface="Arial"/>
              </a:rPr>
              <a:t>This is second level bullet dummy text</a:t>
            </a:r>
          </a:p>
        </p:txBody>
      </p:sp>
      <p:sp>
        <p:nvSpPr>
          <p:cNvPr id="22" name="Text Placeholder 5"/>
          <p:cNvSpPr txBox="1">
            <a:spLocks/>
          </p:cNvSpPr>
          <p:nvPr>
            <p:custDataLst>
              <p:tags r:id="rId4"/>
            </p:custDataLst>
          </p:nvPr>
        </p:nvSpPr>
        <p:spPr>
          <a:xfrm>
            <a:off x="4872038" y="3700873"/>
            <a:ext cx="2832497" cy="485775"/>
          </a:xfrm>
          <a:prstGeom prst="rect">
            <a:avLst/>
          </a:prstGeom>
          <a:solidFill>
            <a:srgbClr val="00A1DE"/>
          </a:solidFill>
          <a:ln>
            <a:solidFill>
              <a:schemeClr val="bg1"/>
            </a:solidFill>
          </a:ln>
        </p:spPr>
        <p:txBody>
          <a:bodyPr wrap="square" lIns="68580" tIns="27000" rIns="27000" bIns="27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prstClr val="white"/>
                </a:solidFill>
                <a:latin typeface="Arial"/>
              </a:rPr>
              <a:t>This is bullet dummy text</a:t>
            </a:r>
          </a:p>
          <a:p>
            <a:pPr marL="404622" lvl="2" indent="-198882" defTabSz="717947">
              <a:spcBef>
                <a:spcPts val="450"/>
              </a:spcBef>
              <a:buClrTx/>
            </a:pPr>
            <a:r>
              <a:rPr lang="en-US" sz="825" dirty="0">
                <a:solidFill>
                  <a:prstClr val="white"/>
                </a:solidFill>
                <a:latin typeface="Arial"/>
              </a:rPr>
              <a:t>This is second level bullet dummy text</a:t>
            </a:r>
          </a:p>
        </p:txBody>
      </p:sp>
      <p:sp>
        <p:nvSpPr>
          <p:cNvPr id="19" name="Text Placeholder 5"/>
          <p:cNvSpPr txBox="1">
            <a:spLocks/>
          </p:cNvSpPr>
          <p:nvPr>
            <p:custDataLst>
              <p:tags r:id="rId5"/>
            </p:custDataLst>
          </p:nvPr>
        </p:nvSpPr>
        <p:spPr>
          <a:xfrm>
            <a:off x="1438276" y="1268730"/>
            <a:ext cx="2832497" cy="485775"/>
          </a:xfrm>
          <a:prstGeom prst="rect">
            <a:avLst/>
          </a:prstGeom>
          <a:solidFill>
            <a:srgbClr val="00A1DE"/>
          </a:solidFill>
          <a:ln>
            <a:solidFill>
              <a:schemeClr val="bg1"/>
            </a:solidFill>
          </a:ln>
        </p:spPr>
        <p:txBody>
          <a:bodyPr wrap="square" lIns="68580" tIns="27000" rIns="27000" bIns="27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prstClr val="white"/>
                </a:solidFill>
                <a:latin typeface="Arial"/>
              </a:rPr>
              <a:t>This is bullet dummy text</a:t>
            </a:r>
          </a:p>
          <a:p>
            <a:pPr marL="404622" lvl="2" indent="-198882" defTabSz="717947">
              <a:spcBef>
                <a:spcPts val="450"/>
              </a:spcBef>
              <a:buClrTx/>
            </a:pPr>
            <a:r>
              <a:rPr lang="en-US" sz="825" dirty="0">
                <a:solidFill>
                  <a:prstClr val="white"/>
                </a:solidFill>
                <a:latin typeface="Arial"/>
              </a:rPr>
              <a:t>This is second level bullet dummy text</a:t>
            </a:r>
          </a:p>
        </p:txBody>
      </p:sp>
      <p:grpSp>
        <p:nvGrpSpPr>
          <p:cNvPr id="594951" name="Group 7"/>
          <p:cNvGrpSpPr>
            <a:grpSpLocks/>
          </p:cNvGrpSpPr>
          <p:nvPr>
            <p:custDataLst>
              <p:tags r:id="rId6"/>
            </p:custDataLst>
          </p:nvPr>
        </p:nvGrpSpPr>
        <p:grpSpPr bwMode="auto">
          <a:xfrm flipV="1">
            <a:off x="1896444" y="1961906"/>
            <a:ext cx="298847" cy="432197"/>
            <a:chOff x="4073" y="2750"/>
            <a:chExt cx="408" cy="363"/>
          </a:xfrm>
        </p:grpSpPr>
        <p:sp>
          <p:nvSpPr>
            <p:cNvPr id="9" name="Line 8"/>
            <p:cNvSpPr>
              <a:spLocks noChangeShapeType="1"/>
            </p:cNvSpPr>
            <p:nvPr/>
          </p:nvSpPr>
          <p:spPr bwMode="auto">
            <a:xfrm flipV="1">
              <a:off x="4073" y="2750"/>
              <a:ext cx="0" cy="363"/>
            </a:xfrm>
            <a:prstGeom prst="line">
              <a:avLst/>
            </a:prstGeom>
            <a:noFill/>
            <a:ln w="28575">
              <a:solidFill>
                <a:srgbClr val="B4B4B4"/>
              </a:solidFill>
              <a:round/>
              <a:headEnd/>
              <a:tailEnd/>
            </a:ln>
          </p:spPr>
          <p:txBody>
            <a:bodyPr lIns="27000" tIns="27000" rIns="27000" bIns="27000" anchor="ctr"/>
            <a:lstStyle/>
            <a:p>
              <a:pPr defTabSz="685800">
                <a:buClrTx/>
                <a:defRPr/>
              </a:pPr>
              <a:endParaRPr lang="en-US" sz="1350" kern="1200" dirty="0">
                <a:solidFill>
                  <a:prstClr val="black"/>
                </a:solidFill>
                <a:ea typeface="+mn-ea"/>
                <a:cs typeface="+mn-cs"/>
              </a:endParaRPr>
            </a:p>
          </p:txBody>
        </p:sp>
        <p:sp>
          <p:nvSpPr>
            <p:cNvPr id="10" name="Line 9"/>
            <p:cNvSpPr>
              <a:spLocks noChangeShapeType="1"/>
            </p:cNvSpPr>
            <p:nvPr/>
          </p:nvSpPr>
          <p:spPr bwMode="auto">
            <a:xfrm>
              <a:off x="4073" y="2750"/>
              <a:ext cx="408" cy="0"/>
            </a:xfrm>
            <a:prstGeom prst="line">
              <a:avLst/>
            </a:prstGeom>
            <a:noFill/>
            <a:ln w="28575">
              <a:solidFill>
                <a:srgbClr val="B4B4B4"/>
              </a:solidFill>
              <a:round/>
              <a:headEnd/>
              <a:tailEnd type="triangle" w="med" len="med"/>
            </a:ln>
          </p:spPr>
          <p:txBody>
            <a:bodyPr lIns="27000" tIns="27000" rIns="27000" bIns="27000" anchor="ctr"/>
            <a:lstStyle/>
            <a:p>
              <a:pPr defTabSz="685800">
                <a:buClrTx/>
                <a:defRPr/>
              </a:pPr>
              <a:endParaRPr lang="en-US" sz="1350" kern="1200" dirty="0">
                <a:solidFill>
                  <a:prstClr val="black"/>
                </a:solidFill>
                <a:ea typeface="+mn-ea"/>
                <a:cs typeface="+mn-cs"/>
              </a:endParaRPr>
            </a:p>
          </p:txBody>
        </p:sp>
      </p:grpSp>
      <p:grpSp>
        <p:nvGrpSpPr>
          <p:cNvPr id="594952" name="Group 10"/>
          <p:cNvGrpSpPr>
            <a:grpSpLocks/>
          </p:cNvGrpSpPr>
          <p:nvPr>
            <p:custDataLst>
              <p:tags r:id="rId7"/>
            </p:custDataLst>
          </p:nvPr>
        </p:nvGrpSpPr>
        <p:grpSpPr bwMode="auto">
          <a:xfrm flipV="1">
            <a:off x="3200152" y="2732748"/>
            <a:ext cx="300038" cy="432197"/>
            <a:chOff x="4073" y="2750"/>
            <a:chExt cx="408" cy="363"/>
          </a:xfrm>
        </p:grpSpPr>
        <p:sp>
          <p:nvSpPr>
            <p:cNvPr id="12" name="Line 11"/>
            <p:cNvSpPr>
              <a:spLocks noChangeShapeType="1"/>
            </p:cNvSpPr>
            <p:nvPr/>
          </p:nvSpPr>
          <p:spPr bwMode="auto">
            <a:xfrm flipV="1">
              <a:off x="4073" y="2750"/>
              <a:ext cx="0" cy="363"/>
            </a:xfrm>
            <a:prstGeom prst="line">
              <a:avLst/>
            </a:prstGeom>
            <a:noFill/>
            <a:ln w="28575">
              <a:solidFill>
                <a:srgbClr val="B4B4B4"/>
              </a:solidFill>
              <a:round/>
              <a:headEnd/>
              <a:tailEnd/>
            </a:ln>
          </p:spPr>
          <p:txBody>
            <a:bodyPr lIns="27000" tIns="27000" rIns="27000" bIns="27000" anchor="ctr"/>
            <a:lstStyle/>
            <a:p>
              <a:pPr defTabSz="685800">
                <a:buClrTx/>
                <a:defRPr/>
              </a:pPr>
              <a:endParaRPr lang="en-US" sz="1350" kern="1200" dirty="0">
                <a:solidFill>
                  <a:prstClr val="black"/>
                </a:solidFill>
                <a:ea typeface="+mn-ea"/>
                <a:cs typeface="+mn-cs"/>
              </a:endParaRPr>
            </a:p>
          </p:txBody>
        </p:sp>
        <p:sp>
          <p:nvSpPr>
            <p:cNvPr id="13" name="Line 12"/>
            <p:cNvSpPr>
              <a:spLocks noChangeShapeType="1"/>
            </p:cNvSpPr>
            <p:nvPr/>
          </p:nvSpPr>
          <p:spPr bwMode="auto">
            <a:xfrm>
              <a:off x="4073" y="2750"/>
              <a:ext cx="408" cy="0"/>
            </a:xfrm>
            <a:prstGeom prst="line">
              <a:avLst/>
            </a:prstGeom>
            <a:noFill/>
            <a:ln w="28575">
              <a:solidFill>
                <a:srgbClr val="B4B4B4"/>
              </a:solidFill>
              <a:round/>
              <a:headEnd/>
              <a:tailEnd type="triangle" w="med" len="med"/>
            </a:ln>
          </p:spPr>
          <p:txBody>
            <a:bodyPr lIns="27000" tIns="27000" rIns="27000" bIns="27000" anchor="ctr"/>
            <a:lstStyle/>
            <a:p>
              <a:pPr defTabSz="685800">
                <a:buClrTx/>
                <a:defRPr/>
              </a:pPr>
              <a:endParaRPr lang="en-US" sz="1350" kern="1200" dirty="0">
                <a:solidFill>
                  <a:prstClr val="black"/>
                </a:solidFill>
                <a:ea typeface="+mn-ea"/>
                <a:cs typeface="+mn-cs"/>
              </a:endParaRPr>
            </a:p>
          </p:txBody>
        </p:sp>
      </p:grpSp>
      <p:grpSp>
        <p:nvGrpSpPr>
          <p:cNvPr id="594953" name="Group 13"/>
          <p:cNvGrpSpPr>
            <a:grpSpLocks/>
          </p:cNvGrpSpPr>
          <p:nvPr>
            <p:custDataLst>
              <p:tags r:id="rId8"/>
            </p:custDataLst>
          </p:nvPr>
        </p:nvGrpSpPr>
        <p:grpSpPr bwMode="auto">
          <a:xfrm flipV="1">
            <a:off x="4286845" y="3543461"/>
            <a:ext cx="298847" cy="432197"/>
            <a:chOff x="4073" y="2750"/>
            <a:chExt cx="408" cy="363"/>
          </a:xfrm>
        </p:grpSpPr>
        <p:sp>
          <p:nvSpPr>
            <p:cNvPr id="15" name="Line 14"/>
            <p:cNvSpPr>
              <a:spLocks noChangeShapeType="1"/>
            </p:cNvSpPr>
            <p:nvPr/>
          </p:nvSpPr>
          <p:spPr bwMode="auto">
            <a:xfrm flipV="1">
              <a:off x="4073" y="2750"/>
              <a:ext cx="0" cy="363"/>
            </a:xfrm>
            <a:prstGeom prst="line">
              <a:avLst/>
            </a:prstGeom>
            <a:noFill/>
            <a:ln w="28575">
              <a:solidFill>
                <a:srgbClr val="B4B4B4"/>
              </a:solidFill>
              <a:round/>
              <a:headEnd/>
              <a:tailEnd/>
            </a:ln>
          </p:spPr>
          <p:txBody>
            <a:bodyPr lIns="27000" tIns="27000" rIns="27000" bIns="27000" anchor="ctr"/>
            <a:lstStyle/>
            <a:p>
              <a:pPr defTabSz="685800">
                <a:buClrTx/>
                <a:defRPr/>
              </a:pPr>
              <a:endParaRPr lang="en-US" sz="1350" kern="1200" dirty="0">
                <a:solidFill>
                  <a:prstClr val="black"/>
                </a:solidFill>
                <a:ea typeface="+mn-ea"/>
                <a:cs typeface="+mn-cs"/>
              </a:endParaRPr>
            </a:p>
          </p:txBody>
        </p:sp>
        <p:sp>
          <p:nvSpPr>
            <p:cNvPr id="16" name="Line 15"/>
            <p:cNvSpPr>
              <a:spLocks noChangeShapeType="1"/>
            </p:cNvSpPr>
            <p:nvPr/>
          </p:nvSpPr>
          <p:spPr bwMode="auto">
            <a:xfrm>
              <a:off x="4073" y="2750"/>
              <a:ext cx="408" cy="0"/>
            </a:xfrm>
            <a:prstGeom prst="line">
              <a:avLst/>
            </a:prstGeom>
            <a:noFill/>
            <a:ln w="28575">
              <a:solidFill>
                <a:srgbClr val="B4B4B4"/>
              </a:solidFill>
              <a:round/>
              <a:headEnd/>
              <a:tailEnd type="triangle" w="med" len="med"/>
            </a:ln>
          </p:spPr>
          <p:txBody>
            <a:bodyPr lIns="27000" tIns="27000" rIns="27000" bIns="27000" anchor="ctr"/>
            <a:lstStyle/>
            <a:p>
              <a:pPr defTabSz="685800">
                <a:buClrTx/>
                <a:defRPr/>
              </a:pPr>
              <a:endParaRPr lang="en-US" sz="1350" kern="1200" dirty="0">
                <a:solidFill>
                  <a:prstClr val="black"/>
                </a:solidFill>
                <a:ea typeface="+mn-ea"/>
                <a:cs typeface="+mn-cs"/>
              </a:endParaRPr>
            </a:p>
          </p:txBody>
        </p:sp>
      </p:grpSp>
      <p:sp>
        <p:nvSpPr>
          <p:cNvPr id="24" name="Text Placeholder 5"/>
          <p:cNvSpPr txBox="1">
            <a:spLocks/>
          </p:cNvSpPr>
          <p:nvPr/>
        </p:nvSpPr>
        <p:spPr>
          <a:xfrm>
            <a:off x="2720578" y="2079444"/>
            <a:ext cx="2832497" cy="485775"/>
          </a:xfrm>
          <a:prstGeom prst="rect">
            <a:avLst/>
          </a:prstGeom>
          <a:solidFill>
            <a:srgbClr val="00A1DE"/>
          </a:solidFill>
          <a:ln>
            <a:solidFill>
              <a:schemeClr val="bg1"/>
            </a:solidFill>
          </a:ln>
        </p:spPr>
        <p:txBody>
          <a:bodyPr wrap="square" lIns="68580" tIns="27000" rIns="27000" bIns="27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prstClr val="white"/>
                </a:solidFill>
                <a:latin typeface="Arial"/>
              </a:rPr>
              <a:t>This is bullet dummy text</a:t>
            </a:r>
          </a:p>
          <a:p>
            <a:pPr marL="404622" lvl="2" indent="-198882" defTabSz="717947">
              <a:spcBef>
                <a:spcPts val="450"/>
              </a:spcBef>
              <a:buClrTx/>
            </a:pPr>
            <a:r>
              <a:rPr lang="en-US" sz="825" dirty="0">
                <a:solidFill>
                  <a:prstClr val="white"/>
                </a:solidFill>
                <a:latin typeface="Arial"/>
              </a:rPr>
              <a:t>This is second level bullet dummy text</a:t>
            </a:r>
          </a:p>
        </p:txBody>
      </p:sp>
    </p:spTree>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5969" name="Title 1"/>
          <p:cNvSpPr>
            <a:spLocks noGrp="1"/>
          </p:cNvSpPr>
          <p:nvPr>
            <p:ph type="title"/>
          </p:nvPr>
        </p:nvSpPr>
        <p:spPr/>
        <p:txBody>
          <a:bodyPr/>
          <a:lstStyle/>
          <a:p>
            <a:r>
              <a:rPr lang="en-US" dirty="0">
                <a:solidFill>
                  <a:srgbClr val="81BC00"/>
                </a:solidFill>
              </a:rPr>
              <a:t>Text blocks </a:t>
            </a:r>
            <a:br>
              <a:rPr lang="en-US" dirty="0"/>
            </a:br>
            <a:r>
              <a:rPr lang="en-US" dirty="0">
                <a:solidFill>
                  <a:srgbClr val="575757"/>
                </a:solidFill>
              </a:rPr>
              <a:t>Enveloping elements</a:t>
            </a:r>
          </a:p>
        </p:txBody>
      </p:sp>
      <p:sp>
        <p:nvSpPr>
          <p:cNvPr id="4" name="Arc 2"/>
          <p:cNvSpPr>
            <a:spLocks/>
          </p:cNvSpPr>
          <p:nvPr/>
        </p:nvSpPr>
        <p:spPr bwMode="auto">
          <a:xfrm>
            <a:off x="2578894" y="1794273"/>
            <a:ext cx="3970735" cy="1668065"/>
          </a:xfrm>
          <a:custGeom>
            <a:avLst/>
            <a:gdLst>
              <a:gd name="T0" fmla="*/ 0 w 43200"/>
              <a:gd name="T1" fmla="*/ 2147483647 h 21715"/>
              <a:gd name="T2" fmla="*/ 2147483647 w 43200"/>
              <a:gd name="T3" fmla="*/ 2147483647 h 21715"/>
              <a:gd name="T4" fmla="*/ 2147483647 w 43200"/>
              <a:gd name="T5" fmla="*/ 2147483647 h 21715"/>
              <a:gd name="T6" fmla="*/ 0 60000 65536"/>
              <a:gd name="T7" fmla="*/ 0 60000 65536"/>
              <a:gd name="T8" fmla="*/ 0 60000 65536"/>
              <a:gd name="T9" fmla="*/ 0 w 43200"/>
              <a:gd name="T10" fmla="*/ 0 h 21715"/>
              <a:gd name="T11" fmla="*/ 43200 w 43200"/>
              <a:gd name="T12" fmla="*/ 21715 h 21715"/>
            </a:gdLst>
            <a:ahLst/>
            <a:cxnLst>
              <a:cxn ang="T6">
                <a:pos x="T0" y="T1"/>
              </a:cxn>
              <a:cxn ang="T7">
                <a:pos x="T2" y="T3"/>
              </a:cxn>
              <a:cxn ang="T8">
                <a:pos x="T4" y="T5"/>
              </a:cxn>
            </a:cxnLst>
            <a:rect l="T9" t="T10" r="T11" b="T12"/>
            <a:pathLst>
              <a:path w="43200" h="21715" fill="none" extrusionOk="0">
                <a:moveTo>
                  <a:pt x="0" y="21714"/>
                </a:moveTo>
                <a:cubicBezTo>
                  <a:pt x="0" y="21676"/>
                  <a:pt x="0" y="21638"/>
                  <a:pt x="0" y="21600"/>
                </a:cubicBezTo>
                <a:cubicBezTo>
                  <a:pt x="0" y="9670"/>
                  <a:pt x="9670" y="0"/>
                  <a:pt x="21600" y="0"/>
                </a:cubicBezTo>
                <a:cubicBezTo>
                  <a:pt x="33529" y="-1"/>
                  <a:pt x="43199" y="9670"/>
                  <a:pt x="43200" y="21599"/>
                </a:cubicBezTo>
              </a:path>
              <a:path w="43200" h="21715" stroke="0" extrusionOk="0">
                <a:moveTo>
                  <a:pt x="0" y="21714"/>
                </a:moveTo>
                <a:cubicBezTo>
                  <a:pt x="0" y="21676"/>
                  <a:pt x="0" y="21638"/>
                  <a:pt x="0" y="21600"/>
                </a:cubicBezTo>
                <a:cubicBezTo>
                  <a:pt x="0" y="9670"/>
                  <a:pt x="9670" y="0"/>
                  <a:pt x="21600" y="0"/>
                </a:cubicBezTo>
                <a:cubicBezTo>
                  <a:pt x="33529" y="-1"/>
                  <a:pt x="43199" y="9670"/>
                  <a:pt x="43200" y="21599"/>
                </a:cubicBezTo>
                <a:lnTo>
                  <a:pt x="21600" y="21600"/>
                </a:lnTo>
                <a:close/>
              </a:path>
            </a:pathLst>
          </a:custGeom>
          <a:noFill/>
          <a:ln w="635000">
            <a:solidFill>
              <a:srgbClr val="00A1DE"/>
            </a:solidFill>
            <a:round/>
            <a:headEnd/>
            <a:tailEnd/>
          </a:ln>
        </p:spPr>
        <p:txBody>
          <a:bodyPr wrap="square" lIns="27000" tIns="27000" rIns="27000" bIns="27000" anchor="ctr"/>
          <a:lstStyle/>
          <a:p>
            <a:pPr algn="ctr" defTabSz="685800">
              <a:buClrTx/>
              <a:defRPr/>
            </a:pPr>
            <a:r>
              <a:rPr lang="en-US" altLang="ja-JP" sz="1050" b="1" kern="1200" dirty="0">
                <a:solidFill>
                  <a:srgbClr val="313131"/>
                </a:solidFill>
                <a:ea typeface="ＭＳ Ｐゴシック" pitchFamily="50" charset="-128"/>
                <a:cs typeface="+mn-cs"/>
              </a:rPr>
              <a:t>Text</a:t>
            </a:r>
          </a:p>
        </p:txBody>
      </p:sp>
      <p:sp>
        <p:nvSpPr>
          <p:cNvPr id="595972" name="AutoShape 4"/>
          <p:cNvSpPr>
            <a:spLocks noChangeArrowheads="1"/>
          </p:cNvSpPr>
          <p:nvPr/>
        </p:nvSpPr>
        <p:spPr bwMode="auto">
          <a:xfrm flipV="1">
            <a:off x="3634979" y="3296841"/>
            <a:ext cx="1854994" cy="180975"/>
          </a:xfrm>
          <a:prstGeom prst="triangle">
            <a:avLst>
              <a:gd name="adj" fmla="val 50000"/>
            </a:avLst>
          </a:prstGeom>
          <a:solidFill>
            <a:srgbClr val="00A1DE"/>
          </a:solidFill>
          <a:ln w="6350" algn="ctr">
            <a:solidFill>
              <a:schemeClr val="bg1"/>
            </a:solidFill>
            <a:miter lim="800000"/>
            <a:headEnd/>
            <a:tailEnd/>
          </a:ln>
        </p:spPr>
        <p:txBody>
          <a:bodyPr rot="10800000" wrap="square" lIns="27000" tIns="27000" rIns="27000" bIns="27000" anchor="ctr"/>
          <a:lstStyle/>
          <a:p>
            <a:pPr algn="ctr" defTabSz="685800">
              <a:buClrTx/>
            </a:pPr>
            <a:endParaRPr lang="en-US" sz="1050" kern="1200">
              <a:solidFill>
                <a:prstClr val="white"/>
              </a:solidFill>
              <a:ea typeface="+mn-ea"/>
              <a:cs typeface="+mn-cs"/>
            </a:endParaRPr>
          </a:p>
        </p:txBody>
      </p:sp>
      <p:sp>
        <p:nvSpPr>
          <p:cNvPr id="6" name="Oval 5"/>
          <p:cNvSpPr>
            <a:spLocks noChangeArrowheads="1"/>
          </p:cNvSpPr>
          <p:nvPr/>
        </p:nvSpPr>
        <p:spPr bwMode="gray">
          <a:xfrm>
            <a:off x="1778794" y="2709863"/>
            <a:ext cx="1303735" cy="657225"/>
          </a:xfrm>
          <a:prstGeom prst="ellipse">
            <a:avLst/>
          </a:prstGeom>
          <a:solidFill>
            <a:schemeClr val="bg1"/>
          </a:solidFill>
          <a:ln w="28575" algn="ctr">
            <a:solidFill>
              <a:srgbClr val="00A1DE"/>
            </a:solidFill>
            <a:round/>
            <a:headEnd/>
            <a:tailEnd/>
          </a:ln>
        </p:spPr>
        <p:txBody>
          <a:bodyPr wrap="square" lIns="27000" tIns="27000" rIns="27000" bIns="27000" anchor="ctr" anchorCtr="1"/>
          <a:lstStyle/>
          <a:p>
            <a:pPr algn="ctr" defTabSz="685800">
              <a:lnSpc>
                <a:spcPct val="106000"/>
              </a:lnSpc>
              <a:buClr>
                <a:prstClr val="black"/>
              </a:buClr>
              <a:defRPr/>
            </a:pPr>
            <a:r>
              <a:rPr lang="en-US" sz="1050" kern="1200" dirty="0">
                <a:solidFill>
                  <a:srgbClr val="313131"/>
                </a:solidFill>
                <a:ea typeface="ＭＳ Ｐゴシック" pitchFamily="50" charset="-128"/>
                <a:cs typeface="+mn-cs"/>
              </a:rPr>
              <a:t>Text</a:t>
            </a:r>
          </a:p>
        </p:txBody>
      </p:sp>
      <p:sp>
        <p:nvSpPr>
          <p:cNvPr id="7" name="Oval 6"/>
          <p:cNvSpPr>
            <a:spLocks noChangeArrowheads="1"/>
          </p:cNvSpPr>
          <p:nvPr/>
        </p:nvSpPr>
        <p:spPr bwMode="gray">
          <a:xfrm>
            <a:off x="2466975" y="2040731"/>
            <a:ext cx="1303735" cy="657225"/>
          </a:xfrm>
          <a:prstGeom prst="ellipse">
            <a:avLst/>
          </a:prstGeom>
          <a:solidFill>
            <a:schemeClr val="bg1"/>
          </a:solidFill>
          <a:ln w="28575" algn="ctr">
            <a:solidFill>
              <a:srgbClr val="00A1DE"/>
            </a:solidFill>
            <a:round/>
            <a:headEnd/>
            <a:tailEnd/>
          </a:ln>
        </p:spPr>
        <p:txBody>
          <a:bodyPr wrap="square" lIns="27000" tIns="27000" rIns="27000" bIns="27000" anchor="ctr" anchorCtr="1"/>
          <a:lstStyle/>
          <a:p>
            <a:pPr algn="ctr" defTabSz="685800">
              <a:lnSpc>
                <a:spcPct val="106000"/>
              </a:lnSpc>
              <a:buClr>
                <a:prstClr val="black"/>
              </a:buClr>
              <a:defRPr/>
            </a:pPr>
            <a:r>
              <a:rPr lang="en-US" altLang="ja-JP" sz="1050" kern="1200" dirty="0">
                <a:solidFill>
                  <a:srgbClr val="313131"/>
                </a:solidFill>
                <a:ea typeface="ＭＳ Ｐゴシック" pitchFamily="50" charset="-128"/>
                <a:cs typeface="+mn-cs"/>
              </a:rPr>
              <a:t>Text</a:t>
            </a:r>
          </a:p>
        </p:txBody>
      </p:sp>
      <p:sp>
        <p:nvSpPr>
          <p:cNvPr id="8" name="Oval 7"/>
          <p:cNvSpPr>
            <a:spLocks noChangeArrowheads="1"/>
          </p:cNvSpPr>
          <p:nvPr/>
        </p:nvSpPr>
        <p:spPr bwMode="gray">
          <a:xfrm>
            <a:off x="3153966" y="1371600"/>
            <a:ext cx="1303734" cy="657225"/>
          </a:xfrm>
          <a:prstGeom prst="ellipse">
            <a:avLst/>
          </a:prstGeom>
          <a:solidFill>
            <a:schemeClr val="bg1"/>
          </a:solidFill>
          <a:ln w="28575" algn="ctr">
            <a:solidFill>
              <a:srgbClr val="00A1DE"/>
            </a:solidFill>
            <a:round/>
            <a:headEnd/>
            <a:tailEnd/>
          </a:ln>
        </p:spPr>
        <p:txBody>
          <a:bodyPr wrap="square" lIns="27000" tIns="27000" rIns="27000" bIns="27000" anchor="ctr" anchorCtr="1"/>
          <a:lstStyle/>
          <a:p>
            <a:pPr algn="ctr" defTabSz="685800">
              <a:lnSpc>
                <a:spcPct val="106000"/>
              </a:lnSpc>
              <a:buClr>
                <a:prstClr val="black"/>
              </a:buClr>
              <a:defRPr/>
            </a:pPr>
            <a:r>
              <a:rPr lang="en-US" sz="1050" kern="1200" dirty="0">
                <a:solidFill>
                  <a:srgbClr val="313131"/>
                </a:solidFill>
                <a:ea typeface="ＭＳ Ｐゴシック" pitchFamily="50" charset="-128"/>
                <a:cs typeface="+mn-cs"/>
              </a:rPr>
              <a:t>Text</a:t>
            </a:r>
          </a:p>
        </p:txBody>
      </p:sp>
      <p:sp>
        <p:nvSpPr>
          <p:cNvPr id="9" name="Oval 8"/>
          <p:cNvSpPr>
            <a:spLocks noChangeArrowheads="1"/>
          </p:cNvSpPr>
          <p:nvPr/>
        </p:nvSpPr>
        <p:spPr bwMode="gray">
          <a:xfrm flipH="1">
            <a:off x="6060282" y="2709863"/>
            <a:ext cx="1303735" cy="657225"/>
          </a:xfrm>
          <a:prstGeom prst="ellipse">
            <a:avLst/>
          </a:prstGeom>
          <a:solidFill>
            <a:schemeClr val="bg1"/>
          </a:solidFill>
          <a:ln w="28575" algn="ctr">
            <a:solidFill>
              <a:srgbClr val="00A1DE"/>
            </a:solidFill>
            <a:round/>
            <a:headEnd/>
            <a:tailEnd/>
          </a:ln>
        </p:spPr>
        <p:txBody>
          <a:bodyPr wrap="square" lIns="27000" tIns="27000" rIns="27000" bIns="27000" anchor="ctr" anchorCtr="1"/>
          <a:lstStyle/>
          <a:p>
            <a:pPr algn="ctr" defTabSz="685800">
              <a:lnSpc>
                <a:spcPct val="106000"/>
              </a:lnSpc>
              <a:buClr>
                <a:prstClr val="black"/>
              </a:buClr>
              <a:defRPr/>
            </a:pPr>
            <a:r>
              <a:rPr lang="en-US" sz="1050" kern="1200" dirty="0">
                <a:solidFill>
                  <a:srgbClr val="313131"/>
                </a:solidFill>
                <a:ea typeface="ＭＳ Ｐゴシック" pitchFamily="50" charset="-128"/>
                <a:cs typeface="+mn-cs"/>
              </a:rPr>
              <a:t>Text</a:t>
            </a:r>
          </a:p>
        </p:txBody>
      </p:sp>
      <p:sp>
        <p:nvSpPr>
          <p:cNvPr id="10" name="Oval 9"/>
          <p:cNvSpPr>
            <a:spLocks noChangeArrowheads="1"/>
          </p:cNvSpPr>
          <p:nvPr/>
        </p:nvSpPr>
        <p:spPr bwMode="gray">
          <a:xfrm flipH="1">
            <a:off x="5366147" y="2040731"/>
            <a:ext cx="1303734" cy="657225"/>
          </a:xfrm>
          <a:prstGeom prst="ellipse">
            <a:avLst/>
          </a:prstGeom>
          <a:solidFill>
            <a:schemeClr val="bg1"/>
          </a:solidFill>
          <a:ln w="28575" algn="ctr">
            <a:solidFill>
              <a:srgbClr val="00A1DE"/>
            </a:solidFill>
            <a:round/>
            <a:headEnd/>
            <a:tailEnd/>
          </a:ln>
        </p:spPr>
        <p:txBody>
          <a:bodyPr wrap="square" lIns="27000" tIns="27000" rIns="27000" bIns="27000" anchor="ctr" anchorCtr="1"/>
          <a:lstStyle/>
          <a:p>
            <a:pPr algn="ctr" defTabSz="685800">
              <a:lnSpc>
                <a:spcPct val="106000"/>
              </a:lnSpc>
              <a:buClr>
                <a:prstClr val="black"/>
              </a:buClr>
              <a:defRPr/>
            </a:pPr>
            <a:r>
              <a:rPr lang="en-US" sz="1050" kern="1200" dirty="0">
                <a:solidFill>
                  <a:srgbClr val="313131"/>
                </a:solidFill>
                <a:ea typeface="ＭＳ Ｐゴシック" pitchFamily="50" charset="-128"/>
                <a:cs typeface="+mn-cs"/>
              </a:rPr>
              <a:t>Text</a:t>
            </a:r>
          </a:p>
        </p:txBody>
      </p:sp>
      <p:sp>
        <p:nvSpPr>
          <p:cNvPr id="11" name="Oval 10"/>
          <p:cNvSpPr>
            <a:spLocks noChangeArrowheads="1"/>
          </p:cNvSpPr>
          <p:nvPr/>
        </p:nvSpPr>
        <p:spPr bwMode="gray">
          <a:xfrm flipH="1">
            <a:off x="4672013" y="1371600"/>
            <a:ext cx="1303735" cy="657225"/>
          </a:xfrm>
          <a:prstGeom prst="ellipse">
            <a:avLst/>
          </a:prstGeom>
          <a:solidFill>
            <a:schemeClr val="bg1"/>
          </a:solidFill>
          <a:ln w="28575" algn="ctr">
            <a:solidFill>
              <a:srgbClr val="00A1DE"/>
            </a:solidFill>
            <a:round/>
            <a:headEnd/>
            <a:tailEnd/>
          </a:ln>
        </p:spPr>
        <p:txBody>
          <a:bodyPr wrap="square" lIns="27000" tIns="27000" rIns="27000" bIns="27000" anchor="ctr" anchorCtr="1"/>
          <a:lstStyle/>
          <a:p>
            <a:pPr algn="ctr" defTabSz="685800">
              <a:lnSpc>
                <a:spcPct val="106000"/>
              </a:lnSpc>
              <a:buClr>
                <a:prstClr val="black"/>
              </a:buClr>
              <a:defRPr/>
            </a:pPr>
            <a:r>
              <a:rPr lang="en-US" sz="1050" kern="1200" dirty="0">
                <a:solidFill>
                  <a:srgbClr val="313131"/>
                </a:solidFill>
                <a:ea typeface="ＭＳ Ｐゴシック" pitchFamily="50" charset="-128"/>
                <a:cs typeface="+mn-cs"/>
              </a:rPr>
              <a:t>Text</a:t>
            </a:r>
          </a:p>
        </p:txBody>
      </p:sp>
      <p:sp>
        <p:nvSpPr>
          <p:cNvPr id="595979" name="Rectangle 11"/>
          <p:cNvSpPr>
            <a:spLocks noChangeArrowheads="1"/>
          </p:cNvSpPr>
          <p:nvPr/>
        </p:nvSpPr>
        <p:spPr bwMode="auto">
          <a:xfrm>
            <a:off x="2251473" y="3445669"/>
            <a:ext cx="667940" cy="269081"/>
          </a:xfrm>
          <a:prstGeom prst="rect">
            <a:avLst/>
          </a:prstGeom>
          <a:noFill/>
          <a:ln w="6350">
            <a:noFill/>
            <a:miter lim="800000"/>
            <a:headEnd/>
            <a:tailEnd/>
          </a:ln>
        </p:spPr>
        <p:txBody>
          <a:bodyPr wrap="square" lIns="27000" tIns="27000" rIns="27000" bIns="27000" anchor="ctr"/>
          <a:lstStyle/>
          <a:p>
            <a:pPr algn="ctr" defTabSz="685800">
              <a:buClrTx/>
            </a:pPr>
            <a:endParaRPr lang="en-US" sz="1350" kern="1200">
              <a:solidFill>
                <a:prstClr val="black"/>
              </a:solidFill>
              <a:ea typeface="+mn-ea"/>
              <a:cs typeface="+mn-cs"/>
            </a:endParaRPr>
          </a:p>
        </p:txBody>
      </p:sp>
      <p:sp>
        <p:nvSpPr>
          <p:cNvPr id="595980" name="Rectangle 12"/>
          <p:cNvSpPr>
            <a:spLocks noChangeArrowheads="1"/>
          </p:cNvSpPr>
          <p:nvPr/>
        </p:nvSpPr>
        <p:spPr bwMode="auto">
          <a:xfrm>
            <a:off x="6243637" y="3445669"/>
            <a:ext cx="642938" cy="278606"/>
          </a:xfrm>
          <a:prstGeom prst="rect">
            <a:avLst/>
          </a:prstGeom>
          <a:noFill/>
          <a:ln w="6350">
            <a:noFill/>
            <a:miter lim="800000"/>
            <a:headEnd/>
            <a:tailEnd/>
          </a:ln>
        </p:spPr>
        <p:txBody>
          <a:bodyPr wrap="square" lIns="27000" tIns="27000" rIns="27000" bIns="27000" anchor="ctr"/>
          <a:lstStyle/>
          <a:p>
            <a:pPr algn="ctr" defTabSz="685800">
              <a:buClrTx/>
            </a:pPr>
            <a:endParaRPr lang="en-US" sz="1350" kern="1200">
              <a:solidFill>
                <a:prstClr val="black"/>
              </a:solidFill>
              <a:ea typeface="+mn-ea"/>
              <a:cs typeface="+mn-cs"/>
            </a:endParaRPr>
          </a:p>
        </p:txBody>
      </p:sp>
      <p:sp>
        <p:nvSpPr>
          <p:cNvPr id="595981" name="Rectangle 13"/>
          <p:cNvSpPr>
            <a:spLocks noChangeArrowheads="1"/>
          </p:cNvSpPr>
          <p:nvPr/>
        </p:nvSpPr>
        <p:spPr bwMode="auto">
          <a:xfrm>
            <a:off x="1840706" y="3584973"/>
            <a:ext cx="5443538" cy="478631"/>
          </a:xfrm>
          <a:prstGeom prst="rect">
            <a:avLst/>
          </a:prstGeom>
          <a:solidFill>
            <a:srgbClr val="00A1DE"/>
          </a:solidFill>
          <a:ln w="6350" algn="ctr">
            <a:solidFill>
              <a:schemeClr val="bg1"/>
            </a:solidFill>
            <a:miter lim="800000"/>
            <a:headEnd/>
            <a:tailEnd/>
          </a:ln>
        </p:spPr>
        <p:txBody>
          <a:bodyPr wrap="square" lIns="27000" tIns="27000" rIns="27000" bIns="27000" anchor="ctr"/>
          <a:lstStyle/>
          <a:p>
            <a:pPr algn="ctr" defTabSz="685800">
              <a:buClrTx/>
            </a:pPr>
            <a:r>
              <a:rPr lang="en-US" altLang="ja-JP" sz="1050" b="1" kern="1200" dirty="0">
                <a:solidFill>
                  <a:prstClr val="white"/>
                </a:solidFill>
                <a:ea typeface="ＭＳ Ｐゴシック" charset="-128"/>
                <a:cs typeface="+mn-cs"/>
              </a:rPr>
              <a:t>Text</a:t>
            </a:r>
          </a:p>
        </p:txBody>
      </p:sp>
    </p:spTree>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5969" name="Title 1"/>
          <p:cNvSpPr>
            <a:spLocks noGrp="1"/>
          </p:cNvSpPr>
          <p:nvPr>
            <p:ph type="title"/>
          </p:nvPr>
        </p:nvSpPr>
        <p:spPr/>
        <p:txBody>
          <a:bodyPr/>
          <a:lstStyle/>
          <a:p>
            <a:r>
              <a:rPr lang="en-US" dirty="0">
                <a:solidFill>
                  <a:srgbClr val="81BC00"/>
                </a:solidFill>
              </a:rPr>
              <a:t>Text blocks </a:t>
            </a:r>
            <a:br>
              <a:rPr lang="en-US" dirty="0"/>
            </a:br>
            <a:r>
              <a:rPr lang="en-US" dirty="0">
                <a:solidFill>
                  <a:srgbClr val="575757"/>
                </a:solidFill>
              </a:rPr>
              <a:t>Michelangelo (top alignment) </a:t>
            </a:r>
          </a:p>
        </p:txBody>
      </p:sp>
      <p:sp>
        <p:nvSpPr>
          <p:cNvPr id="16" name="Freeform 4"/>
          <p:cNvSpPr>
            <a:spLocks/>
          </p:cNvSpPr>
          <p:nvPr>
            <p:custDataLst>
              <p:tags r:id="rId1"/>
            </p:custDataLst>
          </p:nvPr>
        </p:nvSpPr>
        <p:spPr bwMode="gray">
          <a:xfrm>
            <a:off x="1440656" y="1910953"/>
            <a:ext cx="6234113" cy="442913"/>
          </a:xfrm>
          <a:custGeom>
            <a:avLst/>
            <a:gdLst>
              <a:gd name="T0" fmla="*/ 0 w 5274"/>
              <a:gd name="T1" fmla="*/ 2147483647 h 372"/>
              <a:gd name="T2" fmla="*/ 2147483647 w 5274"/>
              <a:gd name="T3" fmla="*/ 0 h 372"/>
              <a:gd name="T4" fmla="*/ 2147483647 w 5274"/>
              <a:gd name="T5" fmla="*/ 0 h 372"/>
              <a:gd name="T6" fmla="*/ 2147483647 w 5274"/>
              <a:gd name="T7" fmla="*/ 2147483647 h 372"/>
              <a:gd name="T8" fmla="*/ 0 w 5274"/>
              <a:gd name="T9" fmla="*/ 2147483647 h 372"/>
              <a:gd name="T10" fmla="*/ 0 60000 65536"/>
              <a:gd name="T11" fmla="*/ 0 60000 65536"/>
              <a:gd name="T12" fmla="*/ 0 60000 65536"/>
              <a:gd name="T13" fmla="*/ 0 60000 65536"/>
              <a:gd name="T14" fmla="*/ 0 60000 65536"/>
              <a:gd name="T15" fmla="*/ 0 w 5274"/>
              <a:gd name="T16" fmla="*/ 0 h 372"/>
              <a:gd name="T17" fmla="*/ 5274 w 5274"/>
              <a:gd name="T18" fmla="*/ 372 h 372"/>
            </a:gdLst>
            <a:ahLst/>
            <a:cxnLst>
              <a:cxn ang="T10">
                <a:pos x="T0" y="T1"/>
              </a:cxn>
              <a:cxn ang="T11">
                <a:pos x="T2" y="T3"/>
              </a:cxn>
              <a:cxn ang="T12">
                <a:pos x="T4" y="T5"/>
              </a:cxn>
              <a:cxn ang="T13">
                <a:pos x="T6" y="T7"/>
              </a:cxn>
              <a:cxn ang="T14">
                <a:pos x="T8" y="T9"/>
              </a:cxn>
            </a:cxnLst>
            <a:rect l="T15" t="T16" r="T17" b="T18"/>
            <a:pathLst>
              <a:path w="5274" h="372">
                <a:moveTo>
                  <a:pt x="0" y="372"/>
                </a:moveTo>
                <a:lnTo>
                  <a:pt x="411" y="0"/>
                </a:lnTo>
                <a:lnTo>
                  <a:pt x="1728" y="0"/>
                </a:lnTo>
                <a:lnTo>
                  <a:pt x="5274" y="372"/>
                </a:lnTo>
                <a:lnTo>
                  <a:pt x="0" y="372"/>
                </a:lnTo>
                <a:close/>
              </a:path>
            </a:pathLst>
          </a:custGeom>
          <a:solidFill>
            <a:srgbClr val="00A1DE"/>
          </a:solidFill>
          <a:ln w="12700">
            <a:solidFill>
              <a:schemeClr val="bg1"/>
            </a:solidFill>
            <a:round/>
            <a:headEnd/>
            <a:tailEnd/>
          </a:ln>
        </p:spPr>
        <p:txBody>
          <a:bodyPr wrap="square" lIns="27000" tIns="27000" rIns="27000" bIns="27000" anchor="ctr"/>
          <a:lstStyle/>
          <a:p>
            <a:pPr defTabSz="685800">
              <a:buClrTx/>
            </a:pPr>
            <a:endParaRPr lang="en-US" sz="1050" b="1" kern="1200" dirty="0">
              <a:solidFill>
                <a:prstClr val="white"/>
              </a:solidFill>
              <a:ea typeface="+mn-ea"/>
              <a:cs typeface="+mn-cs"/>
            </a:endParaRPr>
          </a:p>
        </p:txBody>
      </p:sp>
      <p:sp>
        <p:nvSpPr>
          <p:cNvPr id="17" name="Rectangle 5"/>
          <p:cNvSpPr>
            <a:spLocks noChangeArrowheads="1"/>
          </p:cNvSpPr>
          <p:nvPr>
            <p:custDataLst>
              <p:tags r:id="rId2"/>
            </p:custDataLst>
          </p:nvPr>
        </p:nvSpPr>
        <p:spPr bwMode="gray">
          <a:xfrm>
            <a:off x="1722835" y="2189559"/>
            <a:ext cx="3971925" cy="148829"/>
          </a:xfrm>
          <a:prstGeom prst="rect">
            <a:avLst/>
          </a:prstGeom>
          <a:noFill/>
          <a:ln w="12700" algn="ctr">
            <a:noFill/>
            <a:miter lim="800000"/>
            <a:headEnd/>
            <a:tailEnd/>
          </a:ln>
        </p:spPr>
        <p:txBody>
          <a:bodyPr wrap="square" lIns="27000" tIns="27000" rIns="27000" bIns="27000" anchor="b" anchorCtr="1"/>
          <a:lstStyle/>
          <a:p>
            <a:pPr algn="ctr" defTabSz="685800">
              <a:lnSpc>
                <a:spcPct val="95000"/>
              </a:lnSpc>
              <a:buClrTx/>
            </a:pPr>
            <a:r>
              <a:rPr lang="en-US" sz="1050" b="1" kern="1200" dirty="0">
                <a:solidFill>
                  <a:prstClr val="white"/>
                </a:solidFill>
                <a:ea typeface="+mn-ea"/>
                <a:cs typeface="+mn-cs"/>
              </a:rPr>
              <a:t>Text</a:t>
            </a:r>
          </a:p>
        </p:txBody>
      </p:sp>
      <p:sp>
        <p:nvSpPr>
          <p:cNvPr id="18" name="Rectangle 17"/>
          <p:cNvSpPr>
            <a:spLocks noChangeArrowheads="1"/>
          </p:cNvSpPr>
          <p:nvPr>
            <p:custDataLst>
              <p:tags r:id="rId3"/>
            </p:custDataLst>
          </p:nvPr>
        </p:nvSpPr>
        <p:spPr bwMode="gray">
          <a:xfrm>
            <a:off x="1922860" y="1371600"/>
            <a:ext cx="1539478" cy="540544"/>
          </a:xfrm>
          <a:prstGeom prst="rect">
            <a:avLst/>
          </a:prstGeom>
          <a:solidFill>
            <a:schemeClr val="bg1"/>
          </a:solidFill>
          <a:ln w="12700" algn="ctr">
            <a:solidFill>
              <a:srgbClr val="B4B4B4"/>
            </a:solidFill>
            <a:miter lim="800000"/>
            <a:headEnd/>
            <a:tailEnd/>
          </a:ln>
        </p:spPr>
        <p:txBody>
          <a:bodyPr wrap="square" lIns="27000" tIns="27000" rIns="27000" bIns="27000" anchor="ctr" anchorCtr="1"/>
          <a:lstStyle/>
          <a:p>
            <a:pPr algn="ctr" defTabSz="685800">
              <a:lnSpc>
                <a:spcPct val="106000"/>
              </a:lnSpc>
              <a:buClrTx/>
              <a:defRPr/>
            </a:pPr>
            <a:r>
              <a:rPr lang="en-US" sz="1050" kern="1200" dirty="0">
                <a:solidFill>
                  <a:srgbClr val="313131"/>
                </a:solidFill>
                <a:ea typeface="+mn-ea"/>
                <a:cs typeface="+mn-cs"/>
              </a:rPr>
              <a:t>Image or text area</a:t>
            </a:r>
          </a:p>
        </p:txBody>
      </p:sp>
      <p:sp>
        <p:nvSpPr>
          <p:cNvPr id="19" name="Text Placeholder 5"/>
          <p:cNvSpPr txBox="1">
            <a:spLocks/>
          </p:cNvSpPr>
          <p:nvPr/>
        </p:nvSpPr>
        <p:spPr>
          <a:xfrm>
            <a:off x="1438275" y="2503996"/>
            <a:ext cx="2997994" cy="1153660"/>
          </a:xfrm>
          <a:prstGeom prst="rect">
            <a:avLst/>
          </a:prstGeom>
        </p:spPr>
        <p:txBody>
          <a:bodyPr wrap="square" lIns="27000" tIns="27000" rIns="27000" bIns="27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defTabSz="717947">
              <a:spcBef>
                <a:spcPts val="0"/>
              </a:spcBef>
              <a:spcAft>
                <a:spcPts val="450"/>
              </a:spcAft>
              <a:buClrTx/>
            </a:pPr>
            <a:r>
              <a:rPr lang="en-US" sz="825" dirty="0">
                <a:solidFill>
                  <a:srgbClr val="313131"/>
                </a:solidFill>
                <a:latin typeface="Arial"/>
              </a:rPr>
              <a:t>This is dummy text its not here to be read </a:t>
            </a:r>
          </a:p>
          <a:p>
            <a:pPr marL="205740" lvl="1" indent="-205740" defTabSz="717947">
              <a:spcBef>
                <a:spcPts val="450"/>
              </a:spcBef>
              <a:buClrTx/>
            </a:pPr>
            <a:r>
              <a:rPr lang="en-US" sz="825" dirty="0">
                <a:solidFill>
                  <a:srgbClr val="313131"/>
                </a:solidFill>
                <a:latin typeface="Arial"/>
              </a:rPr>
              <a:t>This is a level one bullet </a:t>
            </a:r>
          </a:p>
          <a:p>
            <a:pPr marL="404622" lvl="2" indent="-198882" defTabSz="717947">
              <a:spcBef>
                <a:spcPts val="450"/>
              </a:spcBef>
              <a:buClrTx/>
            </a:pPr>
            <a:r>
              <a:rPr lang="en-US" sz="825" dirty="0">
                <a:solidFill>
                  <a:srgbClr val="313131"/>
                </a:solidFill>
                <a:latin typeface="Arial"/>
              </a:rPr>
              <a:t>This is a level two bullet</a:t>
            </a:r>
          </a:p>
        </p:txBody>
      </p:sp>
      <p:sp>
        <p:nvSpPr>
          <p:cNvPr id="20" name="Text Placeholder 5"/>
          <p:cNvSpPr txBox="1">
            <a:spLocks/>
          </p:cNvSpPr>
          <p:nvPr/>
        </p:nvSpPr>
        <p:spPr>
          <a:xfrm>
            <a:off x="4706541" y="2503996"/>
            <a:ext cx="2997994" cy="1153660"/>
          </a:xfrm>
          <a:prstGeom prst="rect">
            <a:avLst/>
          </a:prstGeom>
        </p:spPr>
        <p:txBody>
          <a:bodyPr wrap="square" lIns="27000" tIns="27000" rIns="27000" bIns="27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defTabSz="717947">
              <a:spcBef>
                <a:spcPts val="0"/>
              </a:spcBef>
              <a:spcAft>
                <a:spcPts val="450"/>
              </a:spcAft>
              <a:buClrTx/>
            </a:pPr>
            <a:r>
              <a:rPr lang="en-US" sz="825" dirty="0">
                <a:solidFill>
                  <a:srgbClr val="313131"/>
                </a:solidFill>
                <a:latin typeface="Arial"/>
              </a:rPr>
              <a:t>This is dummy text its not here to be read </a:t>
            </a:r>
          </a:p>
          <a:p>
            <a:pPr marL="205740" lvl="1" indent="-205740" defTabSz="717947">
              <a:spcBef>
                <a:spcPts val="450"/>
              </a:spcBef>
              <a:buClrTx/>
            </a:pPr>
            <a:r>
              <a:rPr lang="en-US" sz="825" dirty="0">
                <a:solidFill>
                  <a:srgbClr val="313131"/>
                </a:solidFill>
                <a:latin typeface="Arial"/>
              </a:rPr>
              <a:t>This is a level one bullet </a:t>
            </a:r>
          </a:p>
          <a:p>
            <a:pPr marL="404622" lvl="2" indent="-198882" defTabSz="717947">
              <a:spcBef>
                <a:spcPts val="450"/>
              </a:spcBef>
              <a:buClrTx/>
            </a:pPr>
            <a:r>
              <a:rPr lang="en-US" sz="825" dirty="0">
                <a:solidFill>
                  <a:srgbClr val="313131"/>
                </a:solidFill>
                <a:latin typeface="Arial"/>
              </a:rPr>
              <a:t>This is a level two bullet</a:t>
            </a:r>
          </a:p>
        </p:txBody>
      </p:sp>
      <p:sp>
        <p:nvSpPr>
          <p:cNvPr id="21" name="Text Placeholder 12"/>
          <p:cNvSpPr>
            <a:spLocks/>
          </p:cNvSpPr>
          <p:nvPr>
            <p:custDataLst>
              <p:tags r:id="rId4"/>
            </p:custDataLst>
          </p:nvPr>
        </p:nvSpPr>
        <p:spPr bwMode="auto">
          <a:xfrm>
            <a:off x="1440656" y="1131570"/>
            <a:ext cx="197170"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Text</a:t>
            </a:r>
          </a:p>
        </p:txBody>
      </p:sp>
    </p:spTree>
    <p:extLst>
      <p:ext uri="{BB962C8B-B14F-4D97-AF65-F5344CB8AC3E}">
        <p14:creationId xmlns:p14="http://schemas.microsoft.com/office/powerpoint/2010/main" val="400688536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5969" name="Title 1"/>
          <p:cNvSpPr>
            <a:spLocks noGrp="1"/>
          </p:cNvSpPr>
          <p:nvPr>
            <p:ph type="title"/>
          </p:nvPr>
        </p:nvSpPr>
        <p:spPr/>
        <p:txBody>
          <a:bodyPr/>
          <a:lstStyle/>
          <a:p>
            <a:r>
              <a:rPr lang="en-US" dirty="0">
                <a:solidFill>
                  <a:srgbClr val="81BC00"/>
                </a:solidFill>
              </a:rPr>
              <a:t>Text blocks </a:t>
            </a:r>
            <a:br>
              <a:rPr lang="en-US" dirty="0"/>
            </a:br>
            <a:r>
              <a:rPr lang="en-US" dirty="0">
                <a:solidFill>
                  <a:srgbClr val="575757"/>
                </a:solidFill>
              </a:rPr>
              <a:t>Michelangelo (left alignment) </a:t>
            </a:r>
          </a:p>
        </p:txBody>
      </p:sp>
      <p:sp>
        <p:nvSpPr>
          <p:cNvPr id="16" name="Text Placeholder 3"/>
          <p:cNvSpPr txBox="1">
            <a:spLocks noChangeArrowheads="1"/>
          </p:cNvSpPr>
          <p:nvPr>
            <p:custDataLst>
              <p:tags r:id="rId1"/>
            </p:custDataLst>
          </p:nvPr>
        </p:nvSpPr>
        <p:spPr bwMode="auto">
          <a:xfrm>
            <a:off x="4316016" y="1268730"/>
            <a:ext cx="2997994" cy="3524566"/>
          </a:xfrm>
          <a:prstGeom prst="rect">
            <a:avLst/>
          </a:prstGeom>
          <a:noFill/>
          <a:ln>
            <a:miter lim="800000"/>
            <a:headEnd/>
            <a:tailEnd/>
          </a:ln>
        </p:spPr>
        <p:txBody>
          <a:bodyPr vert="horz" wrap="square" lIns="27000" tIns="27000" rIns="27000" bIns="27000" numCol="1" anchor="t" anchorCtr="0" compatLnSpc="1">
            <a:prstTxWarp prst="textNoShape">
              <a:avLst/>
            </a:prstTxWarp>
          </a:bodyPr>
          <a:lstStyle/>
          <a:p>
            <a:pPr defTabSz="685800">
              <a:spcBef>
                <a:spcPts val="450"/>
              </a:spcBef>
              <a:buClrTx/>
            </a:pPr>
            <a:r>
              <a:rPr lang="en-US" sz="825" kern="1200" dirty="0">
                <a:solidFill>
                  <a:srgbClr val="313131"/>
                </a:solidFill>
                <a:ea typeface="+mn-ea"/>
                <a:cs typeface="+mn-cs"/>
              </a:rPr>
              <a:t>This is dummy text its not here to be read </a:t>
            </a:r>
          </a:p>
          <a:p>
            <a:pPr marL="205740" lvl="1" indent="-205740" defTabSz="717947">
              <a:spcBef>
                <a:spcPts val="450"/>
              </a:spcBef>
              <a:buClrTx/>
              <a:buFont typeface="Arial" charset="0"/>
              <a:buChar char="•"/>
            </a:pPr>
            <a:r>
              <a:rPr lang="en-US" sz="825" kern="1200" dirty="0">
                <a:solidFill>
                  <a:srgbClr val="313131"/>
                </a:solidFill>
                <a:ea typeface="+mn-ea"/>
                <a:cs typeface="+mn-cs"/>
              </a:rPr>
              <a:t>This is a level two bullet </a:t>
            </a:r>
          </a:p>
          <a:p>
            <a:pPr marL="404622" lvl="2" indent="-198882" defTabSz="717947">
              <a:spcBef>
                <a:spcPts val="450"/>
              </a:spcBef>
              <a:buClrTx/>
              <a:buFont typeface="Arial" charset="0"/>
              <a:buChar char="‒"/>
            </a:pPr>
            <a:r>
              <a:rPr lang="en-US" sz="825" kern="1200" dirty="0">
                <a:solidFill>
                  <a:srgbClr val="313131"/>
                </a:solidFill>
                <a:ea typeface="+mn-ea"/>
                <a:cs typeface="+mn-cs"/>
              </a:rPr>
              <a:t>This is a level three bullet</a:t>
            </a:r>
          </a:p>
        </p:txBody>
      </p:sp>
      <p:sp>
        <p:nvSpPr>
          <p:cNvPr id="17" name="Trapezoid 16"/>
          <p:cNvSpPr/>
          <p:nvPr/>
        </p:nvSpPr>
        <p:spPr>
          <a:xfrm rot="16200000">
            <a:off x="1772212" y="2384032"/>
            <a:ext cx="3524565" cy="1293962"/>
          </a:xfrm>
          <a:prstGeom prst="trapezoid">
            <a:avLst>
              <a:gd name="adj" fmla="val 115866"/>
            </a:avLst>
          </a:prstGeom>
          <a:solidFill>
            <a:srgbClr val="00A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 lIns="27000" tIns="27000" rIns="27000" bIns="27000" rtlCol="0" anchor="ctr"/>
          <a:lstStyle/>
          <a:p>
            <a:pPr algn="ctr" defTabSz="685800">
              <a:buClrTx/>
            </a:pPr>
            <a:r>
              <a:rPr lang="en-GB" sz="1050" kern="1200" dirty="0">
                <a:solidFill>
                  <a:prstClr val="white"/>
                </a:solidFill>
                <a:latin typeface="Arial"/>
              </a:rPr>
              <a:t>Text</a:t>
            </a:r>
          </a:p>
        </p:txBody>
      </p:sp>
      <p:sp>
        <p:nvSpPr>
          <p:cNvPr id="18" name="Rectangle 17"/>
          <p:cNvSpPr>
            <a:spLocks noChangeArrowheads="1"/>
          </p:cNvSpPr>
          <p:nvPr>
            <p:custDataLst>
              <p:tags r:id="rId2"/>
            </p:custDataLst>
          </p:nvPr>
        </p:nvSpPr>
        <p:spPr bwMode="gray">
          <a:xfrm>
            <a:off x="1775222" y="2775029"/>
            <a:ext cx="1114425" cy="511969"/>
          </a:xfrm>
          <a:prstGeom prst="rect">
            <a:avLst/>
          </a:prstGeom>
          <a:solidFill>
            <a:schemeClr val="bg1"/>
          </a:solidFill>
          <a:ln w="12700" algn="ctr">
            <a:solidFill>
              <a:srgbClr val="B4B4B4"/>
            </a:solidFill>
            <a:miter lim="800000"/>
            <a:headEnd/>
            <a:tailEnd/>
          </a:ln>
        </p:spPr>
        <p:txBody>
          <a:bodyPr wrap="square" lIns="27000" tIns="27000" rIns="27000" bIns="27000" anchor="ctr" anchorCtr="1"/>
          <a:lstStyle/>
          <a:p>
            <a:pPr defTabSz="685800">
              <a:lnSpc>
                <a:spcPct val="106000"/>
              </a:lnSpc>
              <a:buClrTx/>
              <a:defRPr/>
            </a:pPr>
            <a:r>
              <a:rPr lang="en-US" sz="1050" kern="1200" dirty="0">
                <a:solidFill>
                  <a:srgbClr val="313131"/>
                </a:solidFill>
                <a:ea typeface="+mn-ea"/>
                <a:cs typeface="+mn-cs"/>
              </a:rPr>
              <a:t>Image or text area</a:t>
            </a:r>
          </a:p>
        </p:txBody>
      </p:sp>
      <p:sp>
        <p:nvSpPr>
          <p:cNvPr id="19" name="Text Placeholder 12"/>
          <p:cNvSpPr>
            <a:spLocks/>
          </p:cNvSpPr>
          <p:nvPr>
            <p:custDataLst>
              <p:tags r:id="rId3"/>
            </p:custDataLst>
          </p:nvPr>
        </p:nvSpPr>
        <p:spPr bwMode="auto">
          <a:xfrm>
            <a:off x="1440656" y="1131570"/>
            <a:ext cx="197170"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Text</a:t>
            </a:r>
          </a:p>
        </p:txBody>
      </p:sp>
    </p:spTree>
    <p:extLst>
      <p:ext uri="{BB962C8B-B14F-4D97-AF65-F5344CB8AC3E}">
        <p14:creationId xmlns:p14="http://schemas.microsoft.com/office/powerpoint/2010/main" val="45313782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5969" name="Title 1"/>
          <p:cNvSpPr>
            <a:spLocks noGrp="1"/>
          </p:cNvSpPr>
          <p:nvPr>
            <p:ph type="title"/>
          </p:nvPr>
        </p:nvSpPr>
        <p:spPr/>
        <p:txBody>
          <a:bodyPr/>
          <a:lstStyle/>
          <a:p>
            <a:r>
              <a:rPr lang="en-US" dirty="0">
                <a:solidFill>
                  <a:srgbClr val="81BC00"/>
                </a:solidFill>
              </a:rPr>
              <a:t>Text blocks </a:t>
            </a:r>
            <a:br>
              <a:rPr lang="en-US" dirty="0"/>
            </a:br>
            <a:r>
              <a:rPr lang="en-US" dirty="0">
                <a:solidFill>
                  <a:srgbClr val="575757"/>
                </a:solidFill>
              </a:rPr>
              <a:t>Two squares</a:t>
            </a:r>
          </a:p>
        </p:txBody>
      </p:sp>
      <p:sp>
        <p:nvSpPr>
          <p:cNvPr id="5" name="Text Placeholder 5"/>
          <p:cNvSpPr txBox="1">
            <a:spLocks/>
          </p:cNvSpPr>
          <p:nvPr/>
        </p:nvSpPr>
        <p:spPr>
          <a:xfrm>
            <a:off x="1728226" y="1741230"/>
            <a:ext cx="2430000" cy="2160000"/>
          </a:xfrm>
          <a:prstGeom prst="rect">
            <a:avLst/>
          </a:prstGeom>
          <a:solidFill>
            <a:schemeClr val="bg1"/>
          </a:solidFill>
          <a:ln w="12700">
            <a:solidFill>
              <a:srgbClr val="B4B4B4"/>
            </a:solidFill>
          </a:ln>
        </p:spPr>
        <p:txBody>
          <a:bodyPr wrap="square" lIns="68580" tIns="68580" rIns="68580" bIns="27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defTabSz="717947">
              <a:spcBef>
                <a:spcPts val="450"/>
              </a:spcBef>
              <a:buClrTx/>
            </a:pPr>
            <a:r>
              <a:rPr lang="en-US" sz="825" dirty="0">
                <a:solidFill>
                  <a:srgbClr val="313131"/>
                </a:solidFill>
                <a:latin typeface="Arial"/>
              </a:rPr>
              <a:t>This is dummy text its not here to be read </a:t>
            </a:r>
          </a:p>
          <a:p>
            <a:pPr marL="205740" lvl="1" indent="-205740" defTabSz="717947">
              <a:spcBef>
                <a:spcPts val="450"/>
              </a:spcBef>
              <a:buClrTx/>
            </a:pPr>
            <a:r>
              <a:rPr lang="en-US" sz="825" dirty="0">
                <a:solidFill>
                  <a:srgbClr val="313131"/>
                </a:solidFill>
                <a:latin typeface="Arial"/>
              </a:rPr>
              <a:t>This is a level two bullet</a:t>
            </a:r>
          </a:p>
          <a:p>
            <a:pPr marL="404622" lvl="2" indent="-198882" defTabSz="717947">
              <a:spcBef>
                <a:spcPts val="450"/>
              </a:spcBef>
              <a:buClrTx/>
            </a:pPr>
            <a:r>
              <a:rPr lang="en-US" sz="825" dirty="0">
                <a:solidFill>
                  <a:srgbClr val="313131"/>
                </a:solidFill>
                <a:latin typeface="Arial"/>
              </a:rPr>
              <a:t>This is a level three bullet</a:t>
            </a:r>
          </a:p>
        </p:txBody>
      </p:sp>
      <p:sp>
        <p:nvSpPr>
          <p:cNvPr id="6" name="Text Placeholder 5"/>
          <p:cNvSpPr txBox="1">
            <a:spLocks/>
          </p:cNvSpPr>
          <p:nvPr/>
        </p:nvSpPr>
        <p:spPr>
          <a:xfrm>
            <a:off x="4631531" y="1268730"/>
            <a:ext cx="2700000" cy="3105000"/>
          </a:xfrm>
          <a:prstGeom prst="rect">
            <a:avLst/>
          </a:prstGeom>
          <a:solidFill>
            <a:schemeClr val="bg1"/>
          </a:solidFill>
          <a:ln w="12700">
            <a:solidFill>
              <a:srgbClr val="B4B4B4"/>
            </a:solidFill>
          </a:ln>
        </p:spPr>
        <p:txBody>
          <a:bodyPr wrap="square" lIns="68580" tIns="68580" rIns="0" bIns="27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defTabSz="717947">
              <a:spcBef>
                <a:spcPts val="450"/>
              </a:spcBef>
              <a:buClrTx/>
            </a:pPr>
            <a:r>
              <a:rPr lang="en-US" sz="825" dirty="0">
                <a:solidFill>
                  <a:srgbClr val="313131"/>
                </a:solidFill>
                <a:latin typeface="Arial"/>
              </a:rPr>
              <a:t>This is dummy text its not here to be read </a:t>
            </a:r>
          </a:p>
          <a:p>
            <a:pPr marL="205740" lvl="1" indent="-205740" defTabSz="717947">
              <a:spcBef>
                <a:spcPts val="450"/>
              </a:spcBef>
              <a:buClrTx/>
            </a:pPr>
            <a:r>
              <a:rPr lang="en-US" sz="825" dirty="0">
                <a:solidFill>
                  <a:srgbClr val="313131"/>
                </a:solidFill>
                <a:latin typeface="Arial"/>
              </a:rPr>
              <a:t>This is a level two </a:t>
            </a:r>
          </a:p>
          <a:p>
            <a:pPr marL="404622" lvl="2" indent="-198882" defTabSz="717947">
              <a:spcBef>
                <a:spcPts val="450"/>
              </a:spcBef>
              <a:buClrTx/>
            </a:pPr>
            <a:r>
              <a:rPr lang="en-US" sz="825" dirty="0">
                <a:solidFill>
                  <a:srgbClr val="313131"/>
                </a:solidFill>
                <a:latin typeface="Arial"/>
              </a:rPr>
              <a:t>This is a level three bullet</a:t>
            </a:r>
          </a:p>
        </p:txBody>
      </p:sp>
      <p:sp>
        <p:nvSpPr>
          <p:cNvPr id="7" name="Trapezoid 6"/>
          <p:cNvSpPr/>
          <p:nvPr/>
        </p:nvSpPr>
        <p:spPr>
          <a:xfrm rot="16200000">
            <a:off x="2841683" y="2584980"/>
            <a:ext cx="3105000" cy="472500"/>
          </a:xfrm>
          <a:prstGeom prst="trapezoid">
            <a:avLst>
              <a:gd name="adj" fmla="val 98866"/>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defTabSz="685800">
              <a:buClrTx/>
            </a:pPr>
            <a:endParaRPr lang="en-GB" sz="1050" kern="1200">
              <a:solidFill>
                <a:prstClr val="white"/>
              </a:solidFill>
              <a:latin typeface="Arial"/>
            </a:endParaRPr>
          </a:p>
        </p:txBody>
      </p:sp>
      <p:sp>
        <p:nvSpPr>
          <p:cNvPr id="8" name="Text Placeholder 12"/>
          <p:cNvSpPr>
            <a:spLocks/>
          </p:cNvSpPr>
          <p:nvPr>
            <p:custDataLst>
              <p:tags r:id="rId1"/>
            </p:custDataLst>
          </p:nvPr>
        </p:nvSpPr>
        <p:spPr bwMode="auto">
          <a:xfrm>
            <a:off x="1440656" y="1131570"/>
            <a:ext cx="197170"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Text</a:t>
            </a:r>
          </a:p>
        </p:txBody>
      </p:sp>
    </p:spTree>
    <p:extLst>
      <p:ext uri="{BB962C8B-B14F-4D97-AF65-F5344CB8AC3E}">
        <p14:creationId xmlns:p14="http://schemas.microsoft.com/office/powerpoint/2010/main" val="415674606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0065" name="Title 1"/>
          <p:cNvSpPr>
            <a:spLocks noGrp="1"/>
          </p:cNvSpPr>
          <p:nvPr>
            <p:ph type="title"/>
          </p:nvPr>
        </p:nvSpPr>
        <p:spPr/>
        <p:txBody>
          <a:bodyPr/>
          <a:lstStyle/>
          <a:p>
            <a:pPr>
              <a:lnSpc>
                <a:spcPct val="100000"/>
              </a:lnSpc>
            </a:pPr>
            <a:r>
              <a:rPr lang="en-US" dirty="0">
                <a:solidFill>
                  <a:srgbClr val="81BC00"/>
                </a:solidFill>
              </a:rPr>
              <a:t>Text blocks </a:t>
            </a:r>
            <a:br>
              <a:rPr lang="en-US" dirty="0">
                <a:solidFill>
                  <a:srgbClr val="575757"/>
                </a:solidFill>
              </a:rPr>
            </a:br>
            <a:r>
              <a:rPr lang="en-US" dirty="0">
                <a:solidFill>
                  <a:srgbClr val="575757"/>
                </a:solidFill>
              </a:rPr>
              <a:t>Leading to</a:t>
            </a:r>
          </a:p>
        </p:txBody>
      </p:sp>
      <p:sp>
        <p:nvSpPr>
          <p:cNvPr id="7" name="Oval 5"/>
          <p:cNvSpPr>
            <a:spLocks noChangeArrowheads="1"/>
          </p:cNvSpPr>
          <p:nvPr/>
        </p:nvSpPr>
        <p:spPr bwMode="blackWhite">
          <a:xfrm>
            <a:off x="3584929" y="1825228"/>
            <a:ext cx="1883569" cy="1829991"/>
          </a:xfrm>
          <a:prstGeom prst="ellipse">
            <a:avLst/>
          </a:prstGeom>
          <a:solidFill>
            <a:srgbClr val="00A1DE"/>
          </a:solidFill>
          <a:ln w="12700">
            <a:solidFill>
              <a:schemeClr val="bg1"/>
            </a:solidFill>
            <a:round/>
            <a:headEnd/>
            <a:tailEnd/>
          </a:ln>
        </p:spPr>
        <p:txBody>
          <a:bodyPr wrap="square" lIns="27000" tIns="27000" rIns="27000" bIns="27000" anchor="ctr" anchorCtr="0"/>
          <a:lstStyle/>
          <a:p>
            <a:pPr algn="ctr" defTabSz="685800">
              <a:buClrTx/>
              <a:defRPr/>
            </a:pPr>
            <a:r>
              <a:rPr lang="en-US" sz="1350" kern="1200" dirty="0">
                <a:solidFill>
                  <a:prstClr val="white"/>
                </a:solidFill>
                <a:ea typeface="ＭＳ Ｐゴシック" pitchFamily="50" charset="-128"/>
                <a:cs typeface="+mn-cs"/>
              </a:rPr>
              <a:t>Conclusion</a:t>
            </a:r>
          </a:p>
        </p:txBody>
      </p:sp>
      <p:sp>
        <p:nvSpPr>
          <p:cNvPr id="27" name="Freeform 2"/>
          <p:cNvSpPr>
            <a:spLocks/>
          </p:cNvSpPr>
          <p:nvPr/>
        </p:nvSpPr>
        <p:spPr bwMode="blackWhite">
          <a:xfrm>
            <a:off x="1616826" y="1877616"/>
            <a:ext cx="2176463" cy="269081"/>
          </a:xfrm>
          <a:custGeom>
            <a:avLst/>
            <a:gdLst>
              <a:gd name="T0" fmla="*/ 2147483647 w 937"/>
              <a:gd name="T1" fmla="*/ 2147483647 h 153"/>
              <a:gd name="T2" fmla="*/ 2147483647 w 937"/>
              <a:gd name="T3" fmla="*/ 0 h 153"/>
              <a:gd name="T4" fmla="*/ 0 w 937"/>
              <a:gd name="T5" fmla="*/ 0 h 153"/>
              <a:gd name="T6" fmla="*/ 0 60000 65536"/>
              <a:gd name="T7" fmla="*/ 0 60000 65536"/>
              <a:gd name="T8" fmla="*/ 0 60000 65536"/>
              <a:gd name="T9" fmla="*/ 0 w 937"/>
              <a:gd name="T10" fmla="*/ 0 h 153"/>
              <a:gd name="T11" fmla="*/ 937 w 937"/>
              <a:gd name="T12" fmla="*/ 153 h 153"/>
              <a:gd name="connsiteX0" fmla="*/ 936 w 936"/>
              <a:gd name="connsiteY0" fmla="*/ 152 h 152"/>
              <a:gd name="connsiteX1" fmla="*/ 812 w 936"/>
              <a:gd name="connsiteY1" fmla="*/ 0 h 152"/>
              <a:gd name="connsiteX2" fmla="*/ 0 w 936"/>
              <a:gd name="connsiteY2" fmla="*/ 0 h 152"/>
              <a:gd name="connsiteX0" fmla="*/ 936 w 936"/>
              <a:gd name="connsiteY0" fmla="*/ 152 h 152"/>
              <a:gd name="connsiteX1" fmla="*/ 812 w 936"/>
              <a:gd name="connsiteY1" fmla="*/ 0 h 152"/>
              <a:gd name="connsiteX2" fmla="*/ 0 w 936"/>
              <a:gd name="connsiteY2" fmla="*/ 0 h 152"/>
            </a:gdLst>
            <a:ahLst/>
            <a:cxnLst>
              <a:cxn ang="0">
                <a:pos x="connsiteX0" y="connsiteY0"/>
              </a:cxn>
              <a:cxn ang="0">
                <a:pos x="connsiteX1" y="connsiteY1"/>
              </a:cxn>
              <a:cxn ang="0">
                <a:pos x="connsiteX2" y="connsiteY2"/>
              </a:cxn>
            </a:cxnLst>
            <a:rect l="l" t="t" r="r" b="b"/>
            <a:pathLst>
              <a:path w="936" h="152">
                <a:moveTo>
                  <a:pt x="936" y="152"/>
                </a:moveTo>
                <a:cubicBezTo>
                  <a:pt x="895" y="101"/>
                  <a:pt x="853" y="51"/>
                  <a:pt x="812" y="0"/>
                </a:cubicBezTo>
                <a:lnTo>
                  <a:pt x="0" y="0"/>
                </a:lnTo>
              </a:path>
            </a:pathLst>
          </a:custGeom>
          <a:solidFill>
            <a:schemeClr val="bg1"/>
          </a:solidFill>
          <a:ln w="12700" cap="rnd">
            <a:solidFill>
              <a:srgbClr val="B4B4B4"/>
            </a:solidFill>
            <a:round/>
            <a:headEnd type="none" w="sm" len="sm"/>
            <a:tailEnd type="none" w="sm" len="sm"/>
          </a:ln>
        </p:spPr>
        <p:txBody>
          <a:bodyPr wrap="square" lIns="27000" tIns="27000" rIns="27000" bIns="27000" anchor="ctr" anchorCtr="0"/>
          <a:lstStyle/>
          <a:p>
            <a:pPr defTabSz="685800">
              <a:buClrTx/>
              <a:defRPr/>
            </a:pPr>
            <a:endParaRPr lang="en-US" sz="1350" kern="1200" dirty="0">
              <a:solidFill>
                <a:prstClr val="black"/>
              </a:solidFill>
              <a:ea typeface="+mn-ea"/>
              <a:cs typeface="+mn-cs"/>
            </a:endParaRPr>
          </a:p>
        </p:txBody>
      </p:sp>
      <p:sp>
        <p:nvSpPr>
          <p:cNvPr id="28" name="Freeform 3"/>
          <p:cNvSpPr>
            <a:spLocks/>
          </p:cNvSpPr>
          <p:nvPr/>
        </p:nvSpPr>
        <p:spPr bwMode="blackWhite">
          <a:xfrm>
            <a:off x="1629922" y="2319338"/>
            <a:ext cx="1938338" cy="411956"/>
          </a:xfrm>
          <a:custGeom>
            <a:avLst/>
            <a:gdLst>
              <a:gd name="T0" fmla="*/ 2147483647 w 831"/>
              <a:gd name="T1" fmla="*/ 2147483647 h 182"/>
              <a:gd name="T2" fmla="*/ 2147483647 w 831"/>
              <a:gd name="T3" fmla="*/ 0 h 182"/>
              <a:gd name="T4" fmla="*/ 0 w 831"/>
              <a:gd name="T5" fmla="*/ 0 h 182"/>
              <a:gd name="T6" fmla="*/ 0 60000 65536"/>
              <a:gd name="T7" fmla="*/ 0 60000 65536"/>
              <a:gd name="T8" fmla="*/ 0 60000 65536"/>
              <a:gd name="T9" fmla="*/ 0 w 831"/>
              <a:gd name="T10" fmla="*/ 0 h 182"/>
              <a:gd name="T11" fmla="*/ 831 w 831"/>
              <a:gd name="T12" fmla="*/ 182 h 182"/>
            </a:gdLst>
            <a:ahLst/>
            <a:cxnLst>
              <a:cxn ang="T6">
                <a:pos x="T0" y="T1"/>
              </a:cxn>
              <a:cxn ang="T7">
                <a:pos x="T2" y="T3"/>
              </a:cxn>
              <a:cxn ang="T8">
                <a:pos x="T4" y="T5"/>
              </a:cxn>
            </a:cxnLst>
            <a:rect l="T9" t="T10" r="T11" b="T12"/>
            <a:pathLst>
              <a:path w="831" h="182">
                <a:moveTo>
                  <a:pt x="830" y="181"/>
                </a:moveTo>
                <a:lnTo>
                  <a:pt x="639" y="0"/>
                </a:lnTo>
                <a:lnTo>
                  <a:pt x="0" y="0"/>
                </a:lnTo>
              </a:path>
            </a:pathLst>
          </a:custGeom>
          <a:solidFill>
            <a:schemeClr val="bg1"/>
          </a:solidFill>
          <a:ln w="12700" cap="rnd">
            <a:solidFill>
              <a:srgbClr val="B4B4B4"/>
            </a:solidFill>
            <a:round/>
            <a:headEnd type="none" w="sm" len="sm"/>
            <a:tailEnd type="none" w="sm" len="sm"/>
          </a:ln>
        </p:spPr>
        <p:txBody>
          <a:bodyPr wrap="square" lIns="27000" tIns="27000" rIns="27000" bIns="27000" anchor="ctr" anchorCtr="0"/>
          <a:lstStyle/>
          <a:p>
            <a:pPr defTabSz="685800">
              <a:buClrTx/>
              <a:defRPr/>
            </a:pPr>
            <a:endParaRPr lang="en-US" sz="1350" kern="1200" dirty="0">
              <a:solidFill>
                <a:prstClr val="black"/>
              </a:solidFill>
              <a:ea typeface="+mn-ea"/>
              <a:cs typeface="+mn-cs"/>
            </a:endParaRPr>
          </a:p>
        </p:txBody>
      </p:sp>
      <p:sp>
        <p:nvSpPr>
          <p:cNvPr id="29" name="Freeform 4"/>
          <p:cNvSpPr>
            <a:spLocks/>
          </p:cNvSpPr>
          <p:nvPr/>
        </p:nvSpPr>
        <p:spPr bwMode="blackWhite">
          <a:xfrm>
            <a:off x="1629923" y="2742009"/>
            <a:ext cx="1937147" cy="410766"/>
          </a:xfrm>
          <a:custGeom>
            <a:avLst/>
            <a:gdLst>
              <a:gd name="T0" fmla="*/ 2147483647 w 825"/>
              <a:gd name="T1" fmla="*/ 0 h 182"/>
              <a:gd name="T2" fmla="*/ 2147483647 w 825"/>
              <a:gd name="T3" fmla="*/ 2147483647 h 182"/>
              <a:gd name="T4" fmla="*/ 0 w 825"/>
              <a:gd name="T5" fmla="*/ 2147483647 h 182"/>
              <a:gd name="T6" fmla="*/ 0 60000 65536"/>
              <a:gd name="T7" fmla="*/ 0 60000 65536"/>
              <a:gd name="T8" fmla="*/ 0 60000 65536"/>
              <a:gd name="T9" fmla="*/ 0 w 825"/>
              <a:gd name="T10" fmla="*/ 0 h 182"/>
              <a:gd name="T11" fmla="*/ 825 w 825"/>
              <a:gd name="T12" fmla="*/ 182 h 182"/>
            </a:gdLst>
            <a:ahLst/>
            <a:cxnLst>
              <a:cxn ang="T6">
                <a:pos x="T0" y="T1"/>
              </a:cxn>
              <a:cxn ang="T7">
                <a:pos x="T2" y="T3"/>
              </a:cxn>
              <a:cxn ang="T8">
                <a:pos x="T4" y="T5"/>
              </a:cxn>
            </a:cxnLst>
            <a:rect l="T9" t="T10" r="T11" b="T12"/>
            <a:pathLst>
              <a:path w="825" h="182">
                <a:moveTo>
                  <a:pt x="824" y="0"/>
                </a:moveTo>
                <a:lnTo>
                  <a:pt x="639" y="181"/>
                </a:lnTo>
                <a:lnTo>
                  <a:pt x="0" y="181"/>
                </a:lnTo>
              </a:path>
            </a:pathLst>
          </a:custGeom>
          <a:solidFill>
            <a:schemeClr val="bg1"/>
          </a:solidFill>
          <a:ln w="12700" cap="rnd">
            <a:solidFill>
              <a:srgbClr val="B4B4B4"/>
            </a:solidFill>
            <a:round/>
            <a:headEnd type="none" w="sm" len="sm"/>
            <a:tailEnd type="none" w="sm" len="sm"/>
          </a:ln>
        </p:spPr>
        <p:txBody>
          <a:bodyPr wrap="square" lIns="27000" tIns="27000" rIns="27000" bIns="27000" anchor="ctr" anchorCtr="0"/>
          <a:lstStyle/>
          <a:p>
            <a:pPr defTabSz="685800">
              <a:buClrTx/>
              <a:defRPr/>
            </a:pPr>
            <a:endParaRPr lang="en-US" sz="1350" kern="1200" dirty="0">
              <a:solidFill>
                <a:prstClr val="black"/>
              </a:solidFill>
              <a:ea typeface="+mn-ea"/>
              <a:cs typeface="+mn-cs"/>
            </a:endParaRPr>
          </a:p>
        </p:txBody>
      </p:sp>
      <p:sp>
        <p:nvSpPr>
          <p:cNvPr id="30" name="Freeform 6"/>
          <p:cNvSpPr>
            <a:spLocks/>
          </p:cNvSpPr>
          <p:nvPr/>
        </p:nvSpPr>
        <p:spPr bwMode="blackWhite">
          <a:xfrm>
            <a:off x="1629923" y="1371600"/>
            <a:ext cx="2893219" cy="442913"/>
          </a:xfrm>
          <a:custGeom>
            <a:avLst/>
            <a:gdLst>
              <a:gd name="T0" fmla="*/ 2147483647 w 1239"/>
              <a:gd name="T1" fmla="*/ 2147483647 h 195"/>
              <a:gd name="T2" fmla="*/ 2147483647 w 1239"/>
              <a:gd name="T3" fmla="*/ 0 h 195"/>
              <a:gd name="T4" fmla="*/ 0 w 1239"/>
              <a:gd name="T5" fmla="*/ 0 h 195"/>
              <a:gd name="T6" fmla="*/ 0 60000 65536"/>
              <a:gd name="T7" fmla="*/ 0 60000 65536"/>
              <a:gd name="T8" fmla="*/ 0 60000 65536"/>
              <a:gd name="T9" fmla="*/ 0 w 1239"/>
              <a:gd name="T10" fmla="*/ 0 h 195"/>
              <a:gd name="T11" fmla="*/ 1239 w 1239"/>
              <a:gd name="T12" fmla="*/ 195 h 195"/>
            </a:gdLst>
            <a:ahLst/>
            <a:cxnLst>
              <a:cxn ang="T6">
                <a:pos x="T0" y="T1"/>
              </a:cxn>
              <a:cxn ang="T7">
                <a:pos x="T2" y="T3"/>
              </a:cxn>
              <a:cxn ang="T8">
                <a:pos x="T4" y="T5"/>
              </a:cxn>
            </a:cxnLst>
            <a:rect l="T9" t="T10" r="T11" b="T12"/>
            <a:pathLst>
              <a:path w="1239" h="195">
                <a:moveTo>
                  <a:pt x="1238" y="194"/>
                </a:moveTo>
                <a:lnTo>
                  <a:pt x="1047" y="0"/>
                </a:lnTo>
                <a:lnTo>
                  <a:pt x="0" y="0"/>
                </a:lnTo>
              </a:path>
            </a:pathLst>
          </a:custGeom>
          <a:solidFill>
            <a:schemeClr val="bg1"/>
          </a:solidFill>
          <a:ln w="12700" cap="rnd">
            <a:solidFill>
              <a:srgbClr val="B4B4B4"/>
            </a:solidFill>
            <a:round/>
            <a:headEnd type="none" w="sm" len="sm"/>
            <a:tailEnd type="none" w="sm" len="sm"/>
          </a:ln>
        </p:spPr>
        <p:txBody>
          <a:bodyPr wrap="square" lIns="27000" tIns="27000" rIns="27000" bIns="27000" anchor="ctr" anchorCtr="0"/>
          <a:lstStyle/>
          <a:p>
            <a:pPr defTabSz="685800">
              <a:buClrTx/>
              <a:defRPr/>
            </a:pPr>
            <a:endParaRPr lang="en-US" sz="1350" kern="1200" dirty="0">
              <a:solidFill>
                <a:prstClr val="black"/>
              </a:solidFill>
              <a:ea typeface="+mn-ea"/>
              <a:cs typeface="+mn-cs"/>
            </a:endParaRPr>
          </a:p>
        </p:txBody>
      </p:sp>
      <p:sp>
        <p:nvSpPr>
          <p:cNvPr id="31" name="Freeform 7"/>
          <p:cNvSpPr>
            <a:spLocks/>
          </p:cNvSpPr>
          <p:nvPr/>
        </p:nvSpPr>
        <p:spPr bwMode="blackWhite">
          <a:xfrm>
            <a:off x="1629923" y="3654028"/>
            <a:ext cx="2893219" cy="419100"/>
          </a:xfrm>
          <a:custGeom>
            <a:avLst/>
            <a:gdLst>
              <a:gd name="T0" fmla="*/ 2147483647 w 1240"/>
              <a:gd name="T1" fmla="*/ 0 h 185"/>
              <a:gd name="T2" fmla="*/ 2147483647 w 1240"/>
              <a:gd name="T3" fmla="*/ 2147483647 h 185"/>
              <a:gd name="T4" fmla="*/ 0 w 1240"/>
              <a:gd name="T5" fmla="*/ 2147483647 h 185"/>
              <a:gd name="T6" fmla="*/ 0 60000 65536"/>
              <a:gd name="T7" fmla="*/ 0 60000 65536"/>
              <a:gd name="T8" fmla="*/ 0 60000 65536"/>
              <a:gd name="T9" fmla="*/ 0 w 1240"/>
              <a:gd name="T10" fmla="*/ 0 h 185"/>
              <a:gd name="T11" fmla="*/ 1240 w 1240"/>
              <a:gd name="T12" fmla="*/ 185 h 185"/>
            </a:gdLst>
            <a:ahLst/>
            <a:cxnLst>
              <a:cxn ang="T6">
                <a:pos x="T0" y="T1"/>
              </a:cxn>
              <a:cxn ang="T7">
                <a:pos x="T2" y="T3"/>
              </a:cxn>
              <a:cxn ang="T8">
                <a:pos x="T4" y="T5"/>
              </a:cxn>
            </a:cxnLst>
            <a:rect l="T9" t="T10" r="T11" b="T12"/>
            <a:pathLst>
              <a:path w="1240" h="185">
                <a:moveTo>
                  <a:pt x="1239" y="0"/>
                </a:moveTo>
                <a:lnTo>
                  <a:pt x="1047" y="184"/>
                </a:lnTo>
                <a:lnTo>
                  <a:pt x="0" y="184"/>
                </a:lnTo>
              </a:path>
            </a:pathLst>
          </a:custGeom>
          <a:solidFill>
            <a:schemeClr val="bg1"/>
          </a:solidFill>
          <a:ln w="12700" cap="rnd">
            <a:solidFill>
              <a:srgbClr val="B4B4B4"/>
            </a:solidFill>
            <a:round/>
            <a:headEnd type="none" w="sm" len="sm"/>
            <a:tailEnd type="none" w="sm" len="sm"/>
          </a:ln>
        </p:spPr>
        <p:txBody>
          <a:bodyPr wrap="square" lIns="27000" tIns="27000" rIns="27000" bIns="27000" anchor="ctr" anchorCtr="0"/>
          <a:lstStyle/>
          <a:p>
            <a:pPr defTabSz="685800">
              <a:buClrTx/>
              <a:defRPr/>
            </a:pPr>
            <a:endParaRPr lang="en-US" sz="1350" kern="1200" dirty="0">
              <a:solidFill>
                <a:prstClr val="black"/>
              </a:solidFill>
              <a:ea typeface="+mn-ea"/>
              <a:cs typeface="+mn-cs"/>
            </a:endParaRPr>
          </a:p>
        </p:txBody>
      </p:sp>
      <p:sp>
        <p:nvSpPr>
          <p:cNvPr id="32" name="Freeform 8"/>
          <p:cNvSpPr>
            <a:spLocks/>
          </p:cNvSpPr>
          <p:nvPr/>
        </p:nvSpPr>
        <p:spPr bwMode="blackWhite">
          <a:xfrm>
            <a:off x="1629923" y="3324225"/>
            <a:ext cx="2174081" cy="270272"/>
          </a:xfrm>
          <a:custGeom>
            <a:avLst/>
            <a:gdLst>
              <a:gd name="T0" fmla="*/ 2147483647 w 920"/>
              <a:gd name="T1" fmla="*/ 0 h 120"/>
              <a:gd name="T2" fmla="*/ 2147483647 w 920"/>
              <a:gd name="T3" fmla="*/ 2147483647 h 120"/>
              <a:gd name="T4" fmla="*/ 0 w 920"/>
              <a:gd name="T5" fmla="*/ 2147483647 h 120"/>
              <a:gd name="T6" fmla="*/ 0 60000 65536"/>
              <a:gd name="T7" fmla="*/ 0 60000 65536"/>
              <a:gd name="T8" fmla="*/ 0 60000 65536"/>
              <a:gd name="T9" fmla="*/ 0 w 920"/>
              <a:gd name="T10" fmla="*/ 0 h 120"/>
              <a:gd name="T11" fmla="*/ 920 w 920"/>
              <a:gd name="T12" fmla="*/ 120 h 120"/>
            </a:gdLst>
            <a:ahLst/>
            <a:cxnLst>
              <a:cxn ang="T6">
                <a:pos x="T0" y="T1"/>
              </a:cxn>
              <a:cxn ang="T7">
                <a:pos x="T2" y="T3"/>
              </a:cxn>
              <a:cxn ang="T8">
                <a:pos x="T4" y="T5"/>
              </a:cxn>
            </a:cxnLst>
            <a:rect l="T9" t="T10" r="T11" b="T12"/>
            <a:pathLst>
              <a:path w="920" h="120">
                <a:moveTo>
                  <a:pt x="919" y="0"/>
                </a:moveTo>
                <a:lnTo>
                  <a:pt x="799" y="119"/>
                </a:lnTo>
                <a:lnTo>
                  <a:pt x="0" y="119"/>
                </a:lnTo>
              </a:path>
            </a:pathLst>
          </a:custGeom>
          <a:solidFill>
            <a:schemeClr val="bg1"/>
          </a:solidFill>
          <a:ln w="12700" cap="rnd">
            <a:solidFill>
              <a:srgbClr val="B4B4B4"/>
            </a:solidFill>
            <a:round/>
            <a:headEnd type="none" w="sm" len="sm"/>
            <a:tailEnd type="none" w="sm" len="sm"/>
          </a:ln>
        </p:spPr>
        <p:txBody>
          <a:bodyPr wrap="square" lIns="27000" tIns="27000" rIns="27000" bIns="27000" anchor="ctr" anchorCtr="0"/>
          <a:lstStyle/>
          <a:p>
            <a:pPr defTabSz="685800">
              <a:buClrTx/>
              <a:defRPr/>
            </a:pPr>
            <a:endParaRPr lang="en-US" sz="1350" kern="1200" dirty="0">
              <a:solidFill>
                <a:prstClr val="black"/>
              </a:solidFill>
              <a:ea typeface="+mn-ea"/>
              <a:cs typeface="+mn-cs"/>
            </a:endParaRPr>
          </a:p>
        </p:txBody>
      </p:sp>
      <p:sp>
        <p:nvSpPr>
          <p:cNvPr id="33" name="Freeform 9"/>
          <p:cNvSpPr>
            <a:spLocks/>
          </p:cNvSpPr>
          <p:nvPr/>
        </p:nvSpPr>
        <p:spPr bwMode="blackWhite">
          <a:xfrm>
            <a:off x="4531477" y="1371600"/>
            <a:ext cx="2897981" cy="447675"/>
          </a:xfrm>
          <a:custGeom>
            <a:avLst/>
            <a:gdLst>
              <a:gd name="T0" fmla="*/ 0 w 1233"/>
              <a:gd name="T1" fmla="*/ 2147483647 h 198"/>
              <a:gd name="T2" fmla="*/ 2147483647 w 1233"/>
              <a:gd name="T3" fmla="*/ 0 h 198"/>
              <a:gd name="T4" fmla="*/ 2147483647 w 1233"/>
              <a:gd name="T5" fmla="*/ 0 h 198"/>
              <a:gd name="T6" fmla="*/ 0 60000 65536"/>
              <a:gd name="T7" fmla="*/ 0 60000 65536"/>
              <a:gd name="T8" fmla="*/ 0 60000 65536"/>
              <a:gd name="T9" fmla="*/ 0 w 1233"/>
              <a:gd name="T10" fmla="*/ 0 h 198"/>
              <a:gd name="T11" fmla="*/ 1233 w 1233"/>
              <a:gd name="T12" fmla="*/ 198 h 198"/>
            </a:gdLst>
            <a:ahLst/>
            <a:cxnLst>
              <a:cxn ang="T6">
                <a:pos x="T0" y="T1"/>
              </a:cxn>
              <a:cxn ang="T7">
                <a:pos x="T2" y="T3"/>
              </a:cxn>
              <a:cxn ang="T8">
                <a:pos x="T4" y="T5"/>
              </a:cxn>
            </a:cxnLst>
            <a:rect l="T9" t="T10" r="T11" b="T12"/>
            <a:pathLst>
              <a:path w="1233" h="198">
                <a:moveTo>
                  <a:pt x="0" y="197"/>
                </a:moveTo>
                <a:lnTo>
                  <a:pt x="185" y="0"/>
                </a:lnTo>
                <a:lnTo>
                  <a:pt x="1232" y="0"/>
                </a:lnTo>
              </a:path>
            </a:pathLst>
          </a:custGeom>
          <a:solidFill>
            <a:schemeClr val="bg1"/>
          </a:solidFill>
          <a:ln w="12700" cap="rnd">
            <a:solidFill>
              <a:srgbClr val="B4B4B4"/>
            </a:solidFill>
            <a:round/>
            <a:headEnd type="none" w="sm" len="sm"/>
            <a:tailEnd type="none" w="sm" len="sm"/>
          </a:ln>
        </p:spPr>
        <p:txBody>
          <a:bodyPr wrap="square" lIns="27000" tIns="27000" rIns="27000" bIns="27000" anchor="ctr" anchorCtr="0"/>
          <a:lstStyle/>
          <a:p>
            <a:pPr defTabSz="685800">
              <a:buClrTx/>
              <a:defRPr/>
            </a:pPr>
            <a:endParaRPr lang="en-US" sz="1350" kern="1200" dirty="0">
              <a:solidFill>
                <a:prstClr val="black"/>
              </a:solidFill>
              <a:ea typeface="+mn-ea"/>
              <a:cs typeface="+mn-cs"/>
            </a:endParaRPr>
          </a:p>
        </p:txBody>
      </p:sp>
      <p:sp>
        <p:nvSpPr>
          <p:cNvPr id="34" name="Freeform 10"/>
          <p:cNvSpPr>
            <a:spLocks/>
          </p:cNvSpPr>
          <p:nvPr/>
        </p:nvSpPr>
        <p:spPr bwMode="blackWhite">
          <a:xfrm>
            <a:off x="5252995" y="1877616"/>
            <a:ext cx="2176463" cy="269081"/>
          </a:xfrm>
          <a:custGeom>
            <a:avLst/>
            <a:gdLst>
              <a:gd name="T0" fmla="*/ 0 w 920"/>
              <a:gd name="T1" fmla="*/ 2147483647 h 112"/>
              <a:gd name="T2" fmla="*/ 2147483647 w 920"/>
              <a:gd name="T3" fmla="*/ 0 h 112"/>
              <a:gd name="T4" fmla="*/ 2147483647 w 920"/>
              <a:gd name="T5" fmla="*/ 0 h 112"/>
              <a:gd name="T6" fmla="*/ 0 60000 65536"/>
              <a:gd name="T7" fmla="*/ 0 60000 65536"/>
              <a:gd name="T8" fmla="*/ 0 60000 65536"/>
              <a:gd name="T9" fmla="*/ 0 w 920"/>
              <a:gd name="T10" fmla="*/ 0 h 112"/>
              <a:gd name="T11" fmla="*/ 920 w 920"/>
              <a:gd name="T12" fmla="*/ 112 h 112"/>
            </a:gdLst>
            <a:ahLst/>
            <a:cxnLst>
              <a:cxn ang="T6">
                <a:pos x="T0" y="T1"/>
              </a:cxn>
              <a:cxn ang="T7">
                <a:pos x="T2" y="T3"/>
              </a:cxn>
              <a:cxn ang="T8">
                <a:pos x="T4" y="T5"/>
              </a:cxn>
            </a:cxnLst>
            <a:rect l="T9" t="T10" r="T11" b="T12"/>
            <a:pathLst>
              <a:path w="920" h="112">
                <a:moveTo>
                  <a:pt x="0" y="111"/>
                </a:moveTo>
                <a:lnTo>
                  <a:pt x="120" y="0"/>
                </a:lnTo>
                <a:lnTo>
                  <a:pt x="919" y="0"/>
                </a:lnTo>
              </a:path>
            </a:pathLst>
          </a:custGeom>
          <a:solidFill>
            <a:schemeClr val="bg1"/>
          </a:solidFill>
          <a:ln w="12700" cap="rnd">
            <a:solidFill>
              <a:srgbClr val="B4B4B4"/>
            </a:solidFill>
            <a:round/>
            <a:headEnd type="none" w="sm" len="sm"/>
            <a:tailEnd type="none" w="sm" len="sm"/>
          </a:ln>
        </p:spPr>
        <p:txBody>
          <a:bodyPr wrap="square" lIns="27000" tIns="27000" rIns="27000" bIns="27000" anchor="ctr" anchorCtr="0"/>
          <a:lstStyle/>
          <a:p>
            <a:pPr defTabSz="685800">
              <a:buClrTx/>
              <a:defRPr/>
            </a:pPr>
            <a:endParaRPr lang="en-US" sz="1350" kern="1200" dirty="0">
              <a:solidFill>
                <a:prstClr val="black"/>
              </a:solidFill>
              <a:ea typeface="+mn-ea"/>
              <a:cs typeface="+mn-cs"/>
            </a:endParaRPr>
          </a:p>
        </p:txBody>
      </p:sp>
      <p:sp>
        <p:nvSpPr>
          <p:cNvPr id="35" name="Freeform 11"/>
          <p:cNvSpPr>
            <a:spLocks/>
          </p:cNvSpPr>
          <p:nvPr/>
        </p:nvSpPr>
        <p:spPr bwMode="blackWhite">
          <a:xfrm>
            <a:off x="4533857" y="3654028"/>
            <a:ext cx="2895600" cy="419100"/>
          </a:xfrm>
          <a:custGeom>
            <a:avLst/>
            <a:gdLst>
              <a:gd name="T0" fmla="*/ 0 w 1232"/>
              <a:gd name="T1" fmla="*/ 0 h 185"/>
              <a:gd name="T2" fmla="*/ 2147483647 w 1232"/>
              <a:gd name="T3" fmla="*/ 2147483647 h 185"/>
              <a:gd name="T4" fmla="*/ 2147483647 w 1232"/>
              <a:gd name="T5" fmla="*/ 2147483647 h 185"/>
              <a:gd name="T6" fmla="*/ 0 60000 65536"/>
              <a:gd name="T7" fmla="*/ 0 60000 65536"/>
              <a:gd name="T8" fmla="*/ 0 60000 65536"/>
              <a:gd name="T9" fmla="*/ 0 w 1232"/>
              <a:gd name="T10" fmla="*/ 0 h 185"/>
              <a:gd name="T11" fmla="*/ 1232 w 1232"/>
              <a:gd name="T12" fmla="*/ 185 h 185"/>
            </a:gdLst>
            <a:ahLst/>
            <a:cxnLst>
              <a:cxn ang="T6">
                <a:pos x="T0" y="T1"/>
              </a:cxn>
              <a:cxn ang="T7">
                <a:pos x="T2" y="T3"/>
              </a:cxn>
              <a:cxn ang="T8">
                <a:pos x="T4" y="T5"/>
              </a:cxn>
            </a:cxnLst>
            <a:rect l="T9" t="T10" r="T11" b="T12"/>
            <a:pathLst>
              <a:path w="1232" h="185">
                <a:moveTo>
                  <a:pt x="0" y="0"/>
                </a:moveTo>
                <a:lnTo>
                  <a:pt x="184" y="184"/>
                </a:lnTo>
                <a:lnTo>
                  <a:pt x="1231" y="184"/>
                </a:lnTo>
              </a:path>
            </a:pathLst>
          </a:custGeom>
          <a:solidFill>
            <a:schemeClr val="bg1"/>
          </a:solidFill>
          <a:ln w="12700" cap="rnd">
            <a:solidFill>
              <a:srgbClr val="B4B4B4"/>
            </a:solidFill>
            <a:round/>
            <a:headEnd type="none" w="sm" len="sm"/>
            <a:tailEnd type="none" w="sm" len="sm"/>
          </a:ln>
        </p:spPr>
        <p:txBody>
          <a:bodyPr wrap="square" lIns="27000" tIns="27000" rIns="27000" bIns="27000" anchor="ctr" anchorCtr="0"/>
          <a:lstStyle/>
          <a:p>
            <a:pPr defTabSz="685800">
              <a:buClrTx/>
              <a:defRPr/>
            </a:pPr>
            <a:endParaRPr lang="en-US" sz="1350" kern="1200" dirty="0">
              <a:solidFill>
                <a:prstClr val="black"/>
              </a:solidFill>
              <a:ea typeface="+mn-ea"/>
              <a:cs typeface="+mn-cs"/>
            </a:endParaRPr>
          </a:p>
        </p:txBody>
      </p:sp>
      <p:sp>
        <p:nvSpPr>
          <p:cNvPr id="36" name="Freeform 12"/>
          <p:cNvSpPr>
            <a:spLocks/>
          </p:cNvSpPr>
          <p:nvPr/>
        </p:nvSpPr>
        <p:spPr bwMode="blackWhite">
          <a:xfrm>
            <a:off x="5252995" y="3324225"/>
            <a:ext cx="2176463" cy="270272"/>
          </a:xfrm>
          <a:custGeom>
            <a:avLst/>
            <a:gdLst>
              <a:gd name="T0" fmla="*/ 0 w 918"/>
              <a:gd name="T1" fmla="*/ 0 h 111"/>
              <a:gd name="T2" fmla="*/ 2147483647 w 918"/>
              <a:gd name="T3" fmla="*/ 2147483647 h 111"/>
              <a:gd name="T4" fmla="*/ 2147483647 w 918"/>
              <a:gd name="T5" fmla="*/ 2147483647 h 111"/>
              <a:gd name="T6" fmla="*/ 0 60000 65536"/>
              <a:gd name="T7" fmla="*/ 0 60000 65536"/>
              <a:gd name="T8" fmla="*/ 0 60000 65536"/>
              <a:gd name="T9" fmla="*/ 0 w 918"/>
              <a:gd name="T10" fmla="*/ 0 h 111"/>
              <a:gd name="T11" fmla="*/ 918 w 918"/>
              <a:gd name="T12" fmla="*/ 111 h 111"/>
            </a:gdLst>
            <a:ahLst/>
            <a:cxnLst>
              <a:cxn ang="T6">
                <a:pos x="T0" y="T1"/>
              </a:cxn>
              <a:cxn ang="T7">
                <a:pos x="T2" y="T3"/>
              </a:cxn>
              <a:cxn ang="T8">
                <a:pos x="T4" y="T5"/>
              </a:cxn>
            </a:cxnLst>
            <a:rect l="T9" t="T10" r="T11" b="T12"/>
            <a:pathLst>
              <a:path w="918" h="111">
                <a:moveTo>
                  <a:pt x="0" y="0"/>
                </a:moveTo>
                <a:lnTo>
                  <a:pt x="118" y="110"/>
                </a:lnTo>
                <a:lnTo>
                  <a:pt x="917" y="110"/>
                </a:lnTo>
              </a:path>
            </a:pathLst>
          </a:custGeom>
          <a:solidFill>
            <a:schemeClr val="bg1"/>
          </a:solidFill>
          <a:ln w="12700" cap="rnd">
            <a:solidFill>
              <a:srgbClr val="B4B4B4"/>
            </a:solidFill>
            <a:round/>
            <a:headEnd type="none" w="sm" len="sm"/>
            <a:tailEnd type="none" w="sm" len="sm"/>
          </a:ln>
        </p:spPr>
        <p:txBody>
          <a:bodyPr wrap="square" lIns="27000" tIns="27000" rIns="27000" bIns="27000" anchor="ctr" anchorCtr="0"/>
          <a:lstStyle/>
          <a:p>
            <a:pPr defTabSz="685800">
              <a:buClrTx/>
              <a:defRPr/>
            </a:pPr>
            <a:endParaRPr lang="en-US" sz="1350" kern="1200" dirty="0">
              <a:solidFill>
                <a:prstClr val="black"/>
              </a:solidFill>
              <a:ea typeface="+mn-ea"/>
              <a:cs typeface="+mn-cs"/>
            </a:endParaRPr>
          </a:p>
        </p:txBody>
      </p:sp>
      <p:sp>
        <p:nvSpPr>
          <p:cNvPr id="37" name="Freeform 13"/>
          <p:cNvSpPr>
            <a:spLocks/>
          </p:cNvSpPr>
          <p:nvPr/>
        </p:nvSpPr>
        <p:spPr bwMode="blackWhite">
          <a:xfrm>
            <a:off x="5475642" y="2319338"/>
            <a:ext cx="1941910" cy="411956"/>
          </a:xfrm>
          <a:custGeom>
            <a:avLst/>
            <a:gdLst>
              <a:gd name="T0" fmla="*/ 0 w 831"/>
              <a:gd name="T1" fmla="*/ 2147483647 h 182"/>
              <a:gd name="T2" fmla="*/ 2147483647 w 831"/>
              <a:gd name="T3" fmla="*/ 0 h 182"/>
              <a:gd name="T4" fmla="*/ 2147483647 w 831"/>
              <a:gd name="T5" fmla="*/ 0 h 182"/>
              <a:gd name="T6" fmla="*/ 0 60000 65536"/>
              <a:gd name="T7" fmla="*/ 0 60000 65536"/>
              <a:gd name="T8" fmla="*/ 0 60000 65536"/>
              <a:gd name="T9" fmla="*/ 0 w 831"/>
              <a:gd name="T10" fmla="*/ 0 h 182"/>
              <a:gd name="T11" fmla="*/ 831 w 831"/>
              <a:gd name="T12" fmla="*/ 182 h 182"/>
            </a:gdLst>
            <a:ahLst/>
            <a:cxnLst>
              <a:cxn ang="T6">
                <a:pos x="T0" y="T1"/>
              </a:cxn>
              <a:cxn ang="T7">
                <a:pos x="T2" y="T3"/>
              </a:cxn>
              <a:cxn ang="T8">
                <a:pos x="T4" y="T5"/>
              </a:cxn>
            </a:cxnLst>
            <a:rect l="T9" t="T10" r="T11" b="T12"/>
            <a:pathLst>
              <a:path w="831" h="182">
                <a:moveTo>
                  <a:pt x="0" y="181"/>
                </a:moveTo>
                <a:lnTo>
                  <a:pt x="191" y="0"/>
                </a:lnTo>
                <a:lnTo>
                  <a:pt x="830" y="0"/>
                </a:lnTo>
              </a:path>
            </a:pathLst>
          </a:custGeom>
          <a:solidFill>
            <a:schemeClr val="bg1"/>
          </a:solidFill>
          <a:ln w="12700" cap="rnd">
            <a:solidFill>
              <a:srgbClr val="B4B4B4"/>
            </a:solidFill>
            <a:round/>
            <a:headEnd type="none" w="sm" len="sm"/>
            <a:tailEnd type="none" w="sm" len="sm"/>
          </a:ln>
        </p:spPr>
        <p:txBody>
          <a:bodyPr wrap="square" lIns="27000" tIns="27000" rIns="27000" bIns="27000" anchor="ctr" anchorCtr="0"/>
          <a:lstStyle/>
          <a:p>
            <a:pPr defTabSz="685800">
              <a:buClrTx/>
              <a:defRPr/>
            </a:pPr>
            <a:endParaRPr lang="en-US" sz="1350" kern="1200" dirty="0">
              <a:solidFill>
                <a:prstClr val="black"/>
              </a:solidFill>
              <a:ea typeface="+mn-ea"/>
              <a:cs typeface="+mn-cs"/>
            </a:endParaRPr>
          </a:p>
        </p:txBody>
      </p:sp>
      <p:sp>
        <p:nvSpPr>
          <p:cNvPr id="38" name="Freeform 14"/>
          <p:cNvSpPr>
            <a:spLocks/>
          </p:cNvSpPr>
          <p:nvPr/>
        </p:nvSpPr>
        <p:spPr bwMode="blackWhite">
          <a:xfrm>
            <a:off x="5475642" y="2739628"/>
            <a:ext cx="1950244" cy="413147"/>
          </a:xfrm>
          <a:custGeom>
            <a:avLst/>
            <a:gdLst>
              <a:gd name="T0" fmla="*/ 0 w 835"/>
              <a:gd name="T1" fmla="*/ 0 h 183"/>
              <a:gd name="T2" fmla="*/ 2147483647 w 835"/>
              <a:gd name="T3" fmla="*/ 2147483647 h 183"/>
              <a:gd name="T4" fmla="*/ 2147483647 w 835"/>
              <a:gd name="T5" fmla="*/ 2147483647 h 183"/>
              <a:gd name="T6" fmla="*/ 0 60000 65536"/>
              <a:gd name="T7" fmla="*/ 0 60000 65536"/>
              <a:gd name="T8" fmla="*/ 0 60000 65536"/>
              <a:gd name="T9" fmla="*/ 0 w 835"/>
              <a:gd name="T10" fmla="*/ 0 h 183"/>
              <a:gd name="T11" fmla="*/ 835 w 835"/>
              <a:gd name="T12" fmla="*/ 183 h 183"/>
            </a:gdLst>
            <a:ahLst/>
            <a:cxnLst>
              <a:cxn ang="T6">
                <a:pos x="T0" y="T1"/>
              </a:cxn>
              <a:cxn ang="T7">
                <a:pos x="T2" y="T3"/>
              </a:cxn>
              <a:cxn ang="T8">
                <a:pos x="T4" y="T5"/>
              </a:cxn>
            </a:cxnLst>
            <a:rect l="T9" t="T10" r="T11" b="T12"/>
            <a:pathLst>
              <a:path w="835" h="183">
                <a:moveTo>
                  <a:pt x="0" y="0"/>
                </a:moveTo>
                <a:lnTo>
                  <a:pt x="196" y="182"/>
                </a:lnTo>
                <a:lnTo>
                  <a:pt x="834" y="182"/>
                </a:lnTo>
              </a:path>
            </a:pathLst>
          </a:custGeom>
          <a:solidFill>
            <a:schemeClr val="bg1"/>
          </a:solidFill>
          <a:ln w="12700" cap="rnd">
            <a:solidFill>
              <a:srgbClr val="B4B4B4"/>
            </a:solidFill>
            <a:round/>
            <a:headEnd type="none" w="sm" len="sm"/>
            <a:tailEnd type="none" w="sm" len="sm"/>
          </a:ln>
        </p:spPr>
        <p:txBody>
          <a:bodyPr wrap="square" lIns="27000" tIns="27000" rIns="27000" bIns="27000" anchor="ctr" anchorCtr="0"/>
          <a:lstStyle/>
          <a:p>
            <a:pPr defTabSz="685800">
              <a:buClrTx/>
              <a:defRPr/>
            </a:pPr>
            <a:endParaRPr lang="en-US" sz="1350" kern="1200" dirty="0">
              <a:solidFill>
                <a:prstClr val="black"/>
              </a:solidFill>
              <a:ea typeface="+mn-ea"/>
              <a:cs typeface="+mn-cs"/>
            </a:endParaRPr>
          </a:p>
        </p:txBody>
      </p:sp>
      <p:sp>
        <p:nvSpPr>
          <p:cNvPr id="600068" name="Rectangle 15"/>
          <p:cNvSpPr>
            <a:spLocks noChangeArrowheads="1"/>
          </p:cNvSpPr>
          <p:nvPr>
            <p:custDataLst>
              <p:tags r:id="rId1"/>
            </p:custDataLst>
          </p:nvPr>
        </p:nvSpPr>
        <p:spPr bwMode="gray">
          <a:xfrm>
            <a:off x="1658497" y="1511073"/>
            <a:ext cx="1620000" cy="204543"/>
          </a:xfrm>
          <a:prstGeom prst="rect">
            <a:avLst/>
          </a:prstGeom>
          <a:noFill/>
          <a:ln w="9525" algn="ctr">
            <a:noFill/>
            <a:miter lim="800000"/>
            <a:headEnd/>
            <a:tailEnd/>
          </a:ln>
        </p:spPr>
        <p:txBody>
          <a:bodyPr wrap="square" lIns="0" tIns="0" rIns="0" bIns="0" anchor="ctr" anchorCtr="0">
            <a:spAutoFit/>
          </a:bodyPr>
          <a:lstStyle/>
          <a:p>
            <a:pPr marL="142875" lvl="1" indent="-142875" defTabSz="717947">
              <a:lnSpc>
                <a:spcPct val="106000"/>
              </a:lnSpc>
              <a:spcBef>
                <a:spcPts val="1013"/>
              </a:spcBef>
              <a:buClrTx/>
              <a:buFont typeface="Arial" charset="0"/>
              <a:buChar char="•"/>
            </a:pPr>
            <a:r>
              <a:rPr lang="en-US" sz="1350" kern="1200" dirty="0">
                <a:solidFill>
                  <a:srgbClr val="313131"/>
                </a:solidFill>
                <a:ea typeface="+mn-ea"/>
                <a:cs typeface="+mn-cs"/>
              </a:rPr>
              <a:t>Text</a:t>
            </a:r>
          </a:p>
        </p:txBody>
      </p:sp>
      <p:sp>
        <p:nvSpPr>
          <p:cNvPr id="600069" name="Rectangle 16"/>
          <p:cNvSpPr>
            <a:spLocks noChangeArrowheads="1"/>
          </p:cNvSpPr>
          <p:nvPr>
            <p:custDataLst>
              <p:tags r:id="rId2"/>
            </p:custDataLst>
          </p:nvPr>
        </p:nvSpPr>
        <p:spPr bwMode="gray">
          <a:xfrm>
            <a:off x="5764963" y="1511073"/>
            <a:ext cx="1620000" cy="204543"/>
          </a:xfrm>
          <a:prstGeom prst="rect">
            <a:avLst/>
          </a:prstGeom>
          <a:noFill/>
          <a:ln w="9525" algn="ctr">
            <a:noFill/>
            <a:miter lim="800000"/>
            <a:headEnd/>
            <a:tailEnd/>
          </a:ln>
        </p:spPr>
        <p:txBody>
          <a:bodyPr wrap="square" lIns="0" tIns="0" rIns="0" bIns="0" anchor="ctr" anchorCtr="0">
            <a:spAutoFit/>
          </a:bodyPr>
          <a:lstStyle/>
          <a:p>
            <a:pPr marL="142875" lvl="1" indent="-142875" defTabSz="717947">
              <a:lnSpc>
                <a:spcPct val="106000"/>
              </a:lnSpc>
              <a:spcBef>
                <a:spcPts val="1013"/>
              </a:spcBef>
              <a:buClrTx/>
              <a:buFont typeface="Arial" charset="0"/>
              <a:buChar char="•"/>
            </a:pPr>
            <a:r>
              <a:rPr lang="en-US" sz="1350" kern="1200" dirty="0">
                <a:solidFill>
                  <a:srgbClr val="313131"/>
                </a:solidFill>
                <a:ea typeface="+mn-ea"/>
                <a:cs typeface="+mn-cs"/>
              </a:rPr>
              <a:t>Text</a:t>
            </a:r>
          </a:p>
        </p:txBody>
      </p:sp>
      <p:sp>
        <p:nvSpPr>
          <p:cNvPr id="19" name="Rectangle 17"/>
          <p:cNvSpPr>
            <a:spLocks noChangeArrowheads="1"/>
          </p:cNvSpPr>
          <p:nvPr>
            <p:custDataLst>
              <p:tags r:id="rId3"/>
            </p:custDataLst>
          </p:nvPr>
        </p:nvSpPr>
        <p:spPr bwMode="gray">
          <a:xfrm>
            <a:off x="1658497" y="2012325"/>
            <a:ext cx="1620000" cy="204543"/>
          </a:xfrm>
          <a:prstGeom prst="rect">
            <a:avLst/>
          </a:prstGeom>
          <a:noFill/>
          <a:ln w="9525" algn="ctr">
            <a:noFill/>
            <a:miter lim="800000"/>
            <a:headEnd/>
            <a:tailEnd/>
          </a:ln>
        </p:spPr>
        <p:txBody>
          <a:bodyPr wrap="square" lIns="0" tIns="0" rIns="0" bIns="0" anchor="ctr" anchorCtr="0">
            <a:spAutoFit/>
          </a:bodyPr>
          <a:lstStyle/>
          <a:p>
            <a:pPr marL="143252" lvl="1" indent="-143252" defTabSz="718499">
              <a:lnSpc>
                <a:spcPct val="106000"/>
              </a:lnSpc>
              <a:spcBef>
                <a:spcPts val="1008"/>
              </a:spcBef>
              <a:buClrTx/>
              <a:buFont typeface="Arial" charset="0"/>
              <a:buChar char="•"/>
              <a:defRPr/>
            </a:pPr>
            <a:r>
              <a:rPr lang="en-US" sz="1350" kern="1200" dirty="0">
                <a:solidFill>
                  <a:srgbClr val="313131"/>
                </a:solidFill>
                <a:ea typeface="+mn-ea"/>
                <a:cs typeface="+mn-cs"/>
              </a:rPr>
              <a:t>Text</a:t>
            </a:r>
            <a:endParaRPr lang="en-US" sz="1350" kern="1200" dirty="0">
              <a:solidFill>
                <a:srgbClr val="313131"/>
              </a:solidFill>
              <a:ea typeface="ＭＳ Ｐゴシック" pitchFamily="50" charset="-128"/>
              <a:cs typeface="+mn-cs"/>
            </a:endParaRPr>
          </a:p>
        </p:txBody>
      </p:sp>
      <p:sp>
        <p:nvSpPr>
          <p:cNvPr id="600071" name="Rectangle 18"/>
          <p:cNvSpPr>
            <a:spLocks noChangeArrowheads="1"/>
          </p:cNvSpPr>
          <p:nvPr>
            <p:custDataLst>
              <p:tags r:id="rId4"/>
            </p:custDataLst>
          </p:nvPr>
        </p:nvSpPr>
        <p:spPr bwMode="gray">
          <a:xfrm>
            <a:off x="5764964" y="2012325"/>
            <a:ext cx="1620000" cy="204543"/>
          </a:xfrm>
          <a:prstGeom prst="rect">
            <a:avLst/>
          </a:prstGeom>
          <a:noFill/>
          <a:ln w="9525" algn="ctr">
            <a:noFill/>
            <a:miter lim="800000"/>
            <a:headEnd/>
            <a:tailEnd/>
          </a:ln>
        </p:spPr>
        <p:txBody>
          <a:bodyPr wrap="square" lIns="0" tIns="0" rIns="0" bIns="0" anchor="ctr" anchorCtr="0">
            <a:spAutoFit/>
          </a:bodyPr>
          <a:lstStyle/>
          <a:p>
            <a:pPr marL="142875" lvl="1" indent="-142875" defTabSz="717947">
              <a:lnSpc>
                <a:spcPct val="106000"/>
              </a:lnSpc>
              <a:spcBef>
                <a:spcPts val="1013"/>
              </a:spcBef>
              <a:buClrTx/>
              <a:buFont typeface="Arial" charset="0"/>
              <a:buChar char="•"/>
            </a:pPr>
            <a:r>
              <a:rPr lang="en-US" sz="1350" kern="1200" dirty="0">
                <a:solidFill>
                  <a:srgbClr val="313131"/>
                </a:solidFill>
                <a:ea typeface="+mn-ea"/>
                <a:cs typeface="+mn-cs"/>
              </a:rPr>
              <a:t>Text</a:t>
            </a:r>
          </a:p>
        </p:txBody>
      </p:sp>
      <p:sp>
        <p:nvSpPr>
          <p:cNvPr id="21" name="Rectangle 19"/>
          <p:cNvSpPr>
            <a:spLocks noChangeArrowheads="1"/>
          </p:cNvSpPr>
          <p:nvPr>
            <p:custDataLst>
              <p:tags r:id="rId5"/>
            </p:custDataLst>
          </p:nvPr>
        </p:nvSpPr>
        <p:spPr bwMode="gray">
          <a:xfrm>
            <a:off x="1658497" y="2637953"/>
            <a:ext cx="1620000" cy="204543"/>
          </a:xfrm>
          <a:prstGeom prst="rect">
            <a:avLst/>
          </a:prstGeom>
          <a:noFill/>
          <a:ln w="9525" algn="ctr">
            <a:noFill/>
            <a:miter lim="800000"/>
            <a:headEnd/>
            <a:tailEnd/>
          </a:ln>
        </p:spPr>
        <p:txBody>
          <a:bodyPr wrap="square" lIns="0" tIns="0" rIns="0" bIns="0" anchor="ctr" anchorCtr="0">
            <a:spAutoFit/>
          </a:bodyPr>
          <a:lstStyle/>
          <a:p>
            <a:pPr marL="143252" lvl="1" indent="-143252" defTabSz="718499">
              <a:lnSpc>
                <a:spcPct val="106000"/>
              </a:lnSpc>
              <a:spcBef>
                <a:spcPts val="1008"/>
              </a:spcBef>
              <a:buClrTx/>
              <a:buFont typeface="Arial" charset="0"/>
              <a:buChar char="•"/>
              <a:defRPr/>
            </a:pPr>
            <a:r>
              <a:rPr lang="en-US" sz="1350" kern="1200" dirty="0">
                <a:solidFill>
                  <a:srgbClr val="313131"/>
                </a:solidFill>
                <a:ea typeface="+mn-ea"/>
                <a:cs typeface="+mn-cs"/>
              </a:rPr>
              <a:t>Text</a:t>
            </a:r>
            <a:endParaRPr lang="en-US" sz="1350" kern="1200" dirty="0">
              <a:solidFill>
                <a:srgbClr val="313131"/>
              </a:solidFill>
              <a:ea typeface="ＭＳ Ｐゴシック" pitchFamily="50" charset="-128"/>
              <a:cs typeface="+mn-cs"/>
            </a:endParaRPr>
          </a:p>
        </p:txBody>
      </p:sp>
      <p:sp>
        <p:nvSpPr>
          <p:cNvPr id="600073" name="Rectangle 20"/>
          <p:cNvSpPr>
            <a:spLocks noChangeArrowheads="1"/>
          </p:cNvSpPr>
          <p:nvPr>
            <p:custDataLst>
              <p:tags r:id="rId6"/>
            </p:custDataLst>
          </p:nvPr>
        </p:nvSpPr>
        <p:spPr bwMode="gray">
          <a:xfrm>
            <a:off x="5764964" y="2637953"/>
            <a:ext cx="1620000" cy="204543"/>
          </a:xfrm>
          <a:prstGeom prst="rect">
            <a:avLst/>
          </a:prstGeom>
          <a:noFill/>
          <a:ln w="9525" algn="ctr">
            <a:noFill/>
            <a:miter lim="800000"/>
            <a:headEnd/>
            <a:tailEnd/>
          </a:ln>
        </p:spPr>
        <p:txBody>
          <a:bodyPr wrap="square" lIns="0" tIns="0" rIns="0" bIns="0" anchor="ctr" anchorCtr="0">
            <a:spAutoFit/>
          </a:bodyPr>
          <a:lstStyle/>
          <a:p>
            <a:pPr marL="142875" lvl="1" indent="-142875" defTabSz="717947">
              <a:lnSpc>
                <a:spcPct val="106000"/>
              </a:lnSpc>
              <a:spcBef>
                <a:spcPts val="1013"/>
              </a:spcBef>
              <a:buClrTx/>
              <a:buFont typeface="Arial" charset="0"/>
              <a:buChar char="•"/>
            </a:pPr>
            <a:r>
              <a:rPr lang="en-US" sz="1350" kern="1200">
                <a:solidFill>
                  <a:srgbClr val="313131"/>
                </a:solidFill>
                <a:ea typeface="+mn-ea"/>
                <a:cs typeface="+mn-cs"/>
              </a:rPr>
              <a:t>Text</a:t>
            </a:r>
          </a:p>
        </p:txBody>
      </p:sp>
      <p:sp>
        <p:nvSpPr>
          <p:cNvPr id="23" name="Rectangle 21"/>
          <p:cNvSpPr>
            <a:spLocks noChangeArrowheads="1"/>
          </p:cNvSpPr>
          <p:nvPr>
            <p:custDataLst>
              <p:tags r:id="rId7"/>
            </p:custDataLst>
          </p:nvPr>
        </p:nvSpPr>
        <p:spPr bwMode="gray">
          <a:xfrm>
            <a:off x="1658497" y="3273793"/>
            <a:ext cx="1620000" cy="204543"/>
          </a:xfrm>
          <a:prstGeom prst="rect">
            <a:avLst/>
          </a:prstGeom>
          <a:noFill/>
          <a:ln w="9525" algn="ctr">
            <a:noFill/>
            <a:miter lim="800000"/>
            <a:headEnd/>
            <a:tailEnd/>
          </a:ln>
        </p:spPr>
        <p:txBody>
          <a:bodyPr wrap="square" lIns="0" tIns="0" rIns="0" bIns="0" anchor="ctr" anchorCtr="0">
            <a:spAutoFit/>
          </a:bodyPr>
          <a:lstStyle/>
          <a:p>
            <a:pPr marL="143252" lvl="1" indent="-143252" defTabSz="718499">
              <a:lnSpc>
                <a:spcPct val="106000"/>
              </a:lnSpc>
              <a:spcBef>
                <a:spcPts val="1008"/>
              </a:spcBef>
              <a:buClrTx/>
              <a:buFont typeface="Arial" charset="0"/>
              <a:buChar char="•"/>
              <a:defRPr/>
            </a:pPr>
            <a:r>
              <a:rPr lang="en-US" sz="1350" kern="1200" dirty="0">
                <a:solidFill>
                  <a:srgbClr val="313131"/>
                </a:solidFill>
                <a:ea typeface="+mn-ea"/>
                <a:cs typeface="+mn-cs"/>
              </a:rPr>
              <a:t>Text</a:t>
            </a:r>
            <a:endParaRPr lang="en-US" sz="1350" kern="1200" dirty="0">
              <a:solidFill>
                <a:srgbClr val="313131"/>
              </a:solidFill>
              <a:ea typeface="ＭＳ Ｐゴシック" pitchFamily="50" charset="-128"/>
              <a:cs typeface="+mn-cs"/>
            </a:endParaRPr>
          </a:p>
        </p:txBody>
      </p:sp>
      <p:sp>
        <p:nvSpPr>
          <p:cNvPr id="600075" name="Rectangle 22"/>
          <p:cNvSpPr>
            <a:spLocks noChangeArrowheads="1"/>
          </p:cNvSpPr>
          <p:nvPr>
            <p:custDataLst>
              <p:tags r:id="rId8"/>
            </p:custDataLst>
          </p:nvPr>
        </p:nvSpPr>
        <p:spPr bwMode="gray">
          <a:xfrm>
            <a:off x="5764964" y="3296491"/>
            <a:ext cx="1620000" cy="159146"/>
          </a:xfrm>
          <a:prstGeom prst="rect">
            <a:avLst/>
          </a:prstGeom>
          <a:noFill/>
          <a:ln w="9525" algn="ctr">
            <a:noFill/>
            <a:miter lim="800000"/>
            <a:headEnd/>
            <a:tailEnd/>
          </a:ln>
        </p:spPr>
        <p:txBody>
          <a:bodyPr wrap="square" lIns="0" tIns="0" rIns="0" bIns="0" anchor="ctr" anchorCtr="0">
            <a:spAutoFit/>
          </a:bodyPr>
          <a:lstStyle/>
          <a:p>
            <a:pPr marL="142875" lvl="1" indent="-142875" defTabSz="717947">
              <a:lnSpc>
                <a:spcPct val="106000"/>
              </a:lnSpc>
              <a:spcBef>
                <a:spcPts val="1013"/>
              </a:spcBef>
              <a:buClrTx/>
              <a:buFont typeface="Arial" charset="0"/>
              <a:buChar char="•"/>
            </a:pPr>
            <a:r>
              <a:rPr lang="en-US" sz="1050" kern="1200">
                <a:solidFill>
                  <a:srgbClr val="313131"/>
                </a:solidFill>
                <a:ea typeface="+mn-ea"/>
                <a:cs typeface="+mn-cs"/>
              </a:rPr>
              <a:t>Text</a:t>
            </a:r>
          </a:p>
        </p:txBody>
      </p:sp>
      <p:sp>
        <p:nvSpPr>
          <p:cNvPr id="600076" name="Rectangle 23"/>
          <p:cNvSpPr>
            <a:spLocks noChangeArrowheads="1"/>
          </p:cNvSpPr>
          <p:nvPr>
            <p:custDataLst>
              <p:tags r:id="rId9"/>
            </p:custDataLst>
          </p:nvPr>
        </p:nvSpPr>
        <p:spPr bwMode="gray">
          <a:xfrm>
            <a:off x="1658497" y="3757782"/>
            <a:ext cx="1620000" cy="204543"/>
          </a:xfrm>
          <a:prstGeom prst="rect">
            <a:avLst/>
          </a:prstGeom>
          <a:noFill/>
          <a:ln w="9525" algn="ctr">
            <a:noFill/>
            <a:miter lim="800000"/>
            <a:headEnd/>
            <a:tailEnd/>
          </a:ln>
        </p:spPr>
        <p:txBody>
          <a:bodyPr wrap="square" lIns="0" tIns="0" rIns="0" bIns="0" anchor="ctr" anchorCtr="0">
            <a:spAutoFit/>
          </a:bodyPr>
          <a:lstStyle/>
          <a:p>
            <a:pPr marL="142875" lvl="1" indent="-142875" defTabSz="717947">
              <a:lnSpc>
                <a:spcPct val="106000"/>
              </a:lnSpc>
              <a:spcBef>
                <a:spcPts val="1013"/>
              </a:spcBef>
              <a:buClrTx/>
              <a:buFont typeface="Arial" charset="0"/>
              <a:buChar char="•"/>
            </a:pPr>
            <a:r>
              <a:rPr lang="en-US" sz="1350" kern="1200" dirty="0">
                <a:solidFill>
                  <a:srgbClr val="313131"/>
                </a:solidFill>
                <a:ea typeface="+mn-ea"/>
                <a:cs typeface="+mn-cs"/>
              </a:rPr>
              <a:t>Text</a:t>
            </a:r>
          </a:p>
        </p:txBody>
      </p:sp>
      <p:sp>
        <p:nvSpPr>
          <p:cNvPr id="600077" name="Rectangle 24"/>
          <p:cNvSpPr>
            <a:spLocks noChangeArrowheads="1"/>
          </p:cNvSpPr>
          <p:nvPr>
            <p:custDataLst>
              <p:tags r:id="rId10"/>
            </p:custDataLst>
          </p:nvPr>
        </p:nvSpPr>
        <p:spPr bwMode="gray">
          <a:xfrm>
            <a:off x="5764964" y="3757782"/>
            <a:ext cx="1620000" cy="204543"/>
          </a:xfrm>
          <a:prstGeom prst="rect">
            <a:avLst/>
          </a:prstGeom>
          <a:noFill/>
          <a:ln w="9525" algn="ctr">
            <a:noFill/>
            <a:miter lim="800000"/>
            <a:headEnd/>
            <a:tailEnd/>
          </a:ln>
        </p:spPr>
        <p:txBody>
          <a:bodyPr wrap="square" lIns="0" tIns="0" rIns="0" bIns="0" anchor="ctr" anchorCtr="0">
            <a:spAutoFit/>
          </a:bodyPr>
          <a:lstStyle/>
          <a:p>
            <a:pPr marL="142875" lvl="1" indent="-142875" defTabSz="717947">
              <a:lnSpc>
                <a:spcPct val="106000"/>
              </a:lnSpc>
              <a:spcBef>
                <a:spcPts val="1013"/>
              </a:spcBef>
              <a:buClrTx/>
              <a:buFont typeface="Arial" charset="0"/>
              <a:buChar char="•"/>
            </a:pPr>
            <a:r>
              <a:rPr lang="en-US" sz="1350" kern="1200">
                <a:solidFill>
                  <a:srgbClr val="313131"/>
                </a:solidFill>
                <a:ea typeface="+mn-ea"/>
                <a:cs typeface="+mn-cs"/>
              </a:rPr>
              <a:t>Text</a:t>
            </a:r>
          </a:p>
        </p:txBody>
      </p:sp>
      <p:sp>
        <p:nvSpPr>
          <p:cNvPr id="39" name="Text Placeholder 12"/>
          <p:cNvSpPr>
            <a:spLocks/>
          </p:cNvSpPr>
          <p:nvPr>
            <p:custDataLst>
              <p:tags r:id="rId11"/>
            </p:custDataLst>
          </p:nvPr>
        </p:nvSpPr>
        <p:spPr bwMode="auto">
          <a:xfrm>
            <a:off x="1440656" y="1131570"/>
            <a:ext cx="197170"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Text</a:t>
            </a:r>
          </a:p>
        </p:txBody>
      </p:sp>
    </p:spTree>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0065" name="Title 1"/>
          <p:cNvSpPr>
            <a:spLocks noGrp="1"/>
          </p:cNvSpPr>
          <p:nvPr>
            <p:ph type="title"/>
          </p:nvPr>
        </p:nvSpPr>
        <p:spPr/>
        <p:txBody>
          <a:bodyPr/>
          <a:lstStyle/>
          <a:p>
            <a:pPr>
              <a:lnSpc>
                <a:spcPct val="100000"/>
              </a:lnSpc>
            </a:pPr>
            <a:r>
              <a:rPr lang="en-US" dirty="0">
                <a:solidFill>
                  <a:srgbClr val="81BC00"/>
                </a:solidFill>
              </a:rPr>
              <a:t>Text blocks </a:t>
            </a:r>
            <a:br>
              <a:rPr lang="en-US" dirty="0">
                <a:solidFill>
                  <a:srgbClr val="575757"/>
                </a:solidFill>
              </a:rPr>
            </a:br>
            <a:r>
              <a:rPr lang="en-US" dirty="0">
                <a:solidFill>
                  <a:srgbClr val="575757"/>
                </a:solidFill>
              </a:rPr>
              <a:t>Interaction</a:t>
            </a:r>
          </a:p>
        </p:txBody>
      </p:sp>
      <p:sp>
        <p:nvSpPr>
          <p:cNvPr id="39" name="Freeform 2"/>
          <p:cNvSpPr>
            <a:spLocks/>
          </p:cNvSpPr>
          <p:nvPr>
            <p:custDataLst>
              <p:tags r:id="rId1"/>
            </p:custDataLst>
          </p:nvPr>
        </p:nvSpPr>
        <p:spPr bwMode="blackWhite">
          <a:xfrm>
            <a:off x="2066334" y="1440180"/>
            <a:ext cx="2878931" cy="2933700"/>
          </a:xfrm>
          <a:custGeom>
            <a:avLst/>
            <a:gdLst>
              <a:gd name="T0" fmla="*/ 2147483647 w 1934"/>
              <a:gd name="T1" fmla="*/ 2147483647 h 1970"/>
              <a:gd name="T2" fmla="*/ 0 w 1934"/>
              <a:gd name="T3" fmla="*/ 2147483647 h 1970"/>
              <a:gd name="T4" fmla="*/ 0 w 1934"/>
              <a:gd name="T5" fmla="*/ 0 h 1970"/>
              <a:gd name="T6" fmla="*/ 2147483647 w 1934"/>
              <a:gd name="T7" fmla="*/ 0 h 1970"/>
              <a:gd name="T8" fmla="*/ 2147483647 w 1934"/>
              <a:gd name="T9" fmla="*/ 2147483647 h 1970"/>
              <a:gd name="T10" fmla="*/ 2147483647 w 1934"/>
              <a:gd name="T11" fmla="*/ 2147483647 h 1970"/>
              <a:gd name="T12" fmla="*/ 2147483647 w 1934"/>
              <a:gd name="T13" fmla="*/ 2147483647 h 1970"/>
              <a:gd name="T14" fmla="*/ 2147483647 w 1934"/>
              <a:gd name="T15" fmla="*/ 2147483647 h 1970"/>
              <a:gd name="T16" fmla="*/ 2147483647 w 1934"/>
              <a:gd name="T17" fmla="*/ 2147483647 h 1970"/>
              <a:gd name="T18" fmla="*/ 2147483647 w 1934"/>
              <a:gd name="T19" fmla="*/ 2147483647 h 1970"/>
              <a:gd name="T20" fmla="*/ 2147483647 w 1934"/>
              <a:gd name="T21" fmla="*/ 2147483647 h 1970"/>
              <a:gd name="T22" fmla="*/ 2147483647 w 1934"/>
              <a:gd name="T23" fmla="*/ 2147483647 h 1970"/>
              <a:gd name="T24" fmla="*/ 2147483647 w 1934"/>
              <a:gd name="T25" fmla="*/ 2147483647 h 1970"/>
              <a:gd name="T26" fmla="*/ 2147483647 w 1934"/>
              <a:gd name="T27" fmla="*/ 2147483647 h 1970"/>
              <a:gd name="T28" fmla="*/ 2147483647 w 1934"/>
              <a:gd name="T29" fmla="*/ 2147483647 h 1970"/>
              <a:gd name="T30" fmla="*/ 2147483647 w 1934"/>
              <a:gd name="T31" fmla="*/ 2147483647 h 19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34"/>
              <a:gd name="T49" fmla="*/ 0 h 1970"/>
              <a:gd name="T50" fmla="*/ 1934 w 1934"/>
              <a:gd name="T51" fmla="*/ 1970 h 19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34" h="1970">
                <a:moveTo>
                  <a:pt x="1518" y="1969"/>
                </a:moveTo>
                <a:lnTo>
                  <a:pt x="0" y="1969"/>
                </a:lnTo>
                <a:lnTo>
                  <a:pt x="0" y="0"/>
                </a:lnTo>
                <a:lnTo>
                  <a:pt x="1699" y="0"/>
                </a:lnTo>
                <a:lnTo>
                  <a:pt x="1648" y="525"/>
                </a:lnTo>
                <a:lnTo>
                  <a:pt x="1734" y="525"/>
                </a:lnTo>
                <a:lnTo>
                  <a:pt x="1734" y="276"/>
                </a:lnTo>
                <a:lnTo>
                  <a:pt x="1933" y="703"/>
                </a:lnTo>
                <a:lnTo>
                  <a:pt x="1734" y="1104"/>
                </a:lnTo>
                <a:lnTo>
                  <a:pt x="1734" y="855"/>
                </a:lnTo>
                <a:lnTo>
                  <a:pt x="1622" y="855"/>
                </a:lnTo>
                <a:lnTo>
                  <a:pt x="1596" y="1104"/>
                </a:lnTo>
                <a:lnTo>
                  <a:pt x="1596" y="864"/>
                </a:lnTo>
                <a:lnTo>
                  <a:pt x="1397" y="1256"/>
                </a:lnTo>
                <a:lnTo>
                  <a:pt x="1556" y="1597"/>
                </a:lnTo>
                <a:lnTo>
                  <a:pt x="1518" y="1969"/>
                </a:lnTo>
              </a:path>
            </a:pathLst>
          </a:custGeom>
          <a:solidFill>
            <a:schemeClr val="bg1"/>
          </a:solidFill>
          <a:ln w="12700" cap="rnd">
            <a:solidFill>
              <a:srgbClr val="B4B4B4"/>
            </a:solidFill>
            <a:round/>
            <a:headEnd/>
            <a:tailEnd/>
          </a:ln>
        </p:spPr>
        <p:txBody>
          <a:bodyPr wrap="square" lIns="68580" tIns="137160" rIns="891000" bIns="27000"/>
          <a:lstStyle/>
          <a:p>
            <a:pPr defTabSz="717947">
              <a:spcBef>
                <a:spcPts val="450"/>
              </a:spcBef>
              <a:buClrTx/>
            </a:pPr>
            <a:r>
              <a:rPr lang="en-US" sz="825" kern="1200" dirty="0">
                <a:solidFill>
                  <a:srgbClr val="313131"/>
                </a:solidFill>
                <a:ea typeface="+mn-ea"/>
                <a:cs typeface="+mn-cs"/>
              </a:rPr>
              <a:t>This is dummy text its not here to be read </a:t>
            </a:r>
          </a:p>
          <a:p>
            <a:pPr marL="205740" lvl="1" indent="-205740" defTabSz="717947">
              <a:spcBef>
                <a:spcPts val="450"/>
              </a:spcBef>
              <a:buClrTx/>
              <a:buFont typeface="Arial" charset="0"/>
              <a:buChar char="•"/>
            </a:pPr>
            <a:r>
              <a:rPr lang="en-US" sz="825" kern="1200" dirty="0">
                <a:solidFill>
                  <a:srgbClr val="313131"/>
                </a:solidFill>
                <a:ea typeface="+mn-ea"/>
                <a:cs typeface="+mn-cs"/>
              </a:rPr>
              <a:t>This is a level two bullet </a:t>
            </a:r>
          </a:p>
          <a:p>
            <a:pPr marL="404622" lvl="2" indent="-198882" defTabSz="717947">
              <a:spcBef>
                <a:spcPts val="450"/>
              </a:spcBef>
              <a:buClrTx/>
              <a:buFont typeface="Arial" charset="0"/>
              <a:buChar char="‒"/>
            </a:pPr>
            <a:r>
              <a:rPr lang="en-US" sz="825" kern="1200" dirty="0">
                <a:solidFill>
                  <a:srgbClr val="313131"/>
                </a:solidFill>
                <a:ea typeface="+mn-ea"/>
                <a:cs typeface="+mn-cs"/>
              </a:rPr>
              <a:t>This is level three bullet</a:t>
            </a:r>
          </a:p>
        </p:txBody>
      </p:sp>
      <p:sp>
        <p:nvSpPr>
          <p:cNvPr id="40" name="Freeform 3"/>
          <p:cNvSpPr>
            <a:spLocks/>
          </p:cNvSpPr>
          <p:nvPr>
            <p:custDataLst>
              <p:tags r:id="rId2"/>
            </p:custDataLst>
          </p:nvPr>
        </p:nvSpPr>
        <p:spPr bwMode="blackWhite">
          <a:xfrm>
            <a:off x="4131015" y="1440180"/>
            <a:ext cx="2880122" cy="2933700"/>
          </a:xfrm>
          <a:custGeom>
            <a:avLst/>
            <a:gdLst>
              <a:gd name="T0" fmla="*/ 2147483647 w 1934"/>
              <a:gd name="T1" fmla="*/ 0 h 1970"/>
              <a:gd name="T2" fmla="*/ 2147483647 w 1934"/>
              <a:gd name="T3" fmla="*/ 0 h 1970"/>
              <a:gd name="T4" fmla="*/ 2147483647 w 1934"/>
              <a:gd name="T5" fmla="*/ 2147483647 h 1970"/>
              <a:gd name="T6" fmla="*/ 2147483647 w 1934"/>
              <a:gd name="T7" fmla="*/ 2147483647 h 1970"/>
              <a:gd name="T8" fmla="*/ 2147483647 w 1934"/>
              <a:gd name="T9" fmla="*/ 2147483647 h 1970"/>
              <a:gd name="T10" fmla="*/ 2147483647 w 1934"/>
              <a:gd name="T11" fmla="*/ 2147483647 h 1970"/>
              <a:gd name="T12" fmla="*/ 2147483647 w 1934"/>
              <a:gd name="T13" fmla="*/ 2147483647 h 1970"/>
              <a:gd name="T14" fmla="*/ 0 w 1934"/>
              <a:gd name="T15" fmla="*/ 2147483647 h 1970"/>
              <a:gd name="T16" fmla="*/ 2147483647 w 1934"/>
              <a:gd name="T17" fmla="*/ 2147483647 h 1970"/>
              <a:gd name="T18" fmla="*/ 2147483647 w 1934"/>
              <a:gd name="T19" fmla="*/ 2147483647 h 1970"/>
              <a:gd name="T20" fmla="*/ 2147483647 w 1934"/>
              <a:gd name="T21" fmla="*/ 2147483647 h 1970"/>
              <a:gd name="T22" fmla="*/ 2147483647 w 1934"/>
              <a:gd name="T23" fmla="*/ 2147483647 h 1970"/>
              <a:gd name="T24" fmla="*/ 2147483647 w 1934"/>
              <a:gd name="T25" fmla="*/ 2147483647 h 1970"/>
              <a:gd name="T26" fmla="*/ 2147483647 w 1934"/>
              <a:gd name="T27" fmla="*/ 2147483647 h 1970"/>
              <a:gd name="T28" fmla="*/ 2147483647 w 1934"/>
              <a:gd name="T29" fmla="*/ 2147483647 h 1970"/>
              <a:gd name="T30" fmla="*/ 2147483647 w 1934"/>
              <a:gd name="T31" fmla="*/ 0 h 19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34"/>
              <a:gd name="T49" fmla="*/ 0 h 1970"/>
              <a:gd name="T50" fmla="*/ 1934 w 1934"/>
              <a:gd name="T51" fmla="*/ 1970 h 19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34" h="1970">
                <a:moveTo>
                  <a:pt x="414" y="0"/>
                </a:moveTo>
                <a:lnTo>
                  <a:pt x="1933" y="0"/>
                </a:lnTo>
                <a:lnTo>
                  <a:pt x="1933" y="1969"/>
                </a:lnTo>
                <a:lnTo>
                  <a:pt x="241" y="1969"/>
                </a:lnTo>
                <a:lnTo>
                  <a:pt x="284" y="1434"/>
                </a:lnTo>
                <a:lnTo>
                  <a:pt x="198" y="1434"/>
                </a:lnTo>
                <a:lnTo>
                  <a:pt x="198" y="1683"/>
                </a:lnTo>
                <a:lnTo>
                  <a:pt x="0" y="1265"/>
                </a:lnTo>
                <a:lnTo>
                  <a:pt x="198" y="864"/>
                </a:lnTo>
                <a:lnTo>
                  <a:pt x="198" y="1113"/>
                </a:lnTo>
                <a:lnTo>
                  <a:pt x="310" y="1113"/>
                </a:lnTo>
                <a:lnTo>
                  <a:pt x="345" y="864"/>
                </a:lnTo>
                <a:lnTo>
                  <a:pt x="336" y="1095"/>
                </a:lnTo>
                <a:lnTo>
                  <a:pt x="535" y="694"/>
                </a:lnTo>
                <a:lnTo>
                  <a:pt x="379" y="374"/>
                </a:lnTo>
                <a:lnTo>
                  <a:pt x="414" y="0"/>
                </a:lnTo>
              </a:path>
            </a:pathLst>
          </a:custGeom>
          <a:solidFill>
            <a:srgbClr val="81BC00"/>
          </a:solidFill>
          <a:ln w="12700" cap="rnd">
            <a:noFill/>
            <a:round/>
            <a:headEnd/>
            <a:tailEnd/>
          </a:ln>
        </p:spPr>
        <p:txBody>
          <a:bodyPr wrap="square" lIns="837000" tIns="68580" rIns="68580" bIns="27000"/>
          <a:lstStyle/>
          <a:p>
            <a:pPr defTabSz="717947">
              <a:spcBef>
                <a:spcPts val="450"/>
              </a:spcBef>
              <a:buClrTx/>
            </a:pPr>
            <a:r>
              <a:rPr lang="en-US" sz="825" kern="1200" dirty="0">
                <a:solidFill>
                  <a:prstClr val="white"/>
                </a:solidFill>
                <a:ea typeface="+mn-ea"/>
                <a:cs typeface="+mn-cs"/>
              </a:rPr>
              <a:t>This is dummy text its not here to be read </a:t>
            </a:r>
          </a:p>
          <a:p>
            <a:pPr marL="205740" lvl="1" indent="-205740" defTabSz="717947">
              <a:spcBef>
                <a:spcPts val="450"/>
              </a:spcBef>
              <a:buClrTx/>
              <a:buFont typeface="Arial" charset="0"/>
              <a:buChar char="•"/>
            </a:pPr>
            <a:r>
              <a:rPr lang="en-US" sz="825" kern="1200" dirty="0">
                <a:solidFill>
                  <a:prstClr val="white"/>
                </a:solidFill>
                <a:ea typeface="+mn-ea"/>
                <a:cs typeface="+mn-cs"/>
              </a:rPr>
              <a:t>This is a level two bullet </a:t>
            </a:r>
          </a:p>
          <a:p>
            <a:pPr marL="404622" lvl="2" indent="-198882" defTabSz="717947">
              <a:spcBef>
                <a:spcPts val="450"/>
              </a:spcBef>
              <a:buClrTx/>
              <a:buFont typeface="Arial" charset="0"/>
              <a:buChar char="‒"/>
            </a:pPr>
            <a:r>
              <a:rPr lang="en-US" sz="825" kern="1200" dirty="0">
                <a:solidFill>
                  <a:prstClr val="white"/>
                </a:solidFill>
                <a:ea typeface="+mn-ea"/>
                <a:cs typeface="+mn-cs"/>
              </a:rPr>
              <a:t>This is level three bullet</a:t>
            </a:r>
          </a:p>
        </p:txBody>
      </p:sp>
      <p:sp>
        <p:nvSpPr>
          <p:cNvPr id="41" name="Text Placeholder 12"/>
          <p:cNvSpPr>
            <a:spLocks/>
          </p:cNvSpPr>
          <p:nvPr>
            <p:custDataLst>
              <p:tags r:id="rId3"/>
            </p:custDataLst>
          </p:nvPr>
        </p:nvSpPr>
        <p:spPr bwMode="auto">
          <a:xfrm>
            <a:off x="1440656" y="1131570"/>
            <a:ext cx="197170"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Text</a:t>
            </a:r>
          </a:p>
        </p:txBody>
      </p:sp>
    </p:spTree>
    <p:extLst>
      <p:ext uri="{BB962C8B-B14F-4D97-AF65-F5344CB8AC3E}">
        <p14:creationId xmlns:p14="http://schemas.microsoft.com/office/powerpoint/2010/main" val="417716747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0065" name="Title 1"/>
          <p:cNvSpPr>
            <a:spLocks noGrp="1"/>
          </p:cNvSpPr>
          <p:nvPr>
            <p:ph type="title"/>
          </p:nvPr>
        </p:nvSpPr>
        <p:spPr/>
        <p:txBody>
          <a:bodyPr/>
          <a:lstStyle/>
          <a:p>
            <a:pPr>
              <a:lnSpc>
                <a:spcPct val="100000"/>
              </a:lnSpc>
            </a:pPr>
            <a:r>
              <a:rPr lang="en-US" dirty="0">
                <a:solidFill>
                  <a:srgbClr val="81BC00"/>
                </a:solidFill>
              </a:rPr>
              <a:t>Text blocks </a:t>
            </a:r>
            <a:br>
              <a:rPr lang="en-US" dirty="0">
                <a:solidFill>
                  <a:srgbClr val="575757"/>
                </a:solidFill>
              </a:rPr>
            </a:br>
            <a:r>
              <a:rPr lang="en-US" dirty="0">
                <a:solidFill>
                  <a:srgbClr val="575757"/>
                </a:solidFill>
              </a:rPr>
              <a:t>Coupled vertical </a:t>
            </a:r>
          </a:p>
        </p:txBody>
      </p:sp>
      <p:sp>
        <p:nvSpPr>
          <p:cNvPr id="39" name="Freeform 3"/>
          <p:cNvSpPr>
            <a:spLocks/>
          </p:cNvSpPr>
          <p:nvPr>
            <p:custDataLst>
              <p:tags r:id="rId1"/>
            </p:custDataLst>
          </p:nvPr>
        </p:nvSpPr>
        <p:spPr bwMode="blackWhite">
          <a:xfrm>
            <a:off x="2884885" y="1440180"/>
            <a:ext cx="3295650" cy="2451497"/>
          </a:xfrm>
          <a:custGeom>
            <a:avLst/>
            <a:gdLst>
              <a:gd name="T0" fmla="*/ 2147483647 w 2543"/>
              <a:gd name="T1" fmla="*/ 2147483647 h 1799"/>
              <a:gd name="T2" fmla="*/ 2147483647 w 2543"/>
              <a:gd name="T3" fmla="*/ 2147483647 h 1799"/>
              <a:gd name="T4" fmla="*/ 2147483647 w 2543"/>
              <a:gd name="T5" fmla="*/ 2147483647 h 1799"/>
              <a:gd name="T6" fmla="*/ 2147483647 w 2543"/>
              <a:gd name="T7" fmla="*/ 2147483647 h 1799"/>
              <a:gd name="T8" fmla="*/ 2147483647 w 2543"/>
              <a:gd name="T9" fmla="*/ 2147483647 h 1799"/>
              <a:gd name="T10" fmla="*/ 2147483647 w 2543"/>
              <a:gd name="T11" fmla="*/ 2147483647 h 1799"/>
              <a:gd name="T12" fmla="*/ 2147483647 w 2543"/>
              <a:gd name="T13" fmla="*/ 2147483647 h 1799"/>
              <a:gd name="T14" fmla="*/ 0 w 2543"/>
              <a:gd name="T15" fmla="*/ 2147483647 h 1799"/>
              <a:gd name="T16" fmla="*/ 0 w 2543"/>
              <a:gd name="T17" fmla="*/ 0 h 1799"/>
              <a:gd name="T18" fmla="*/ 2147483647 w 2543"/>
              <a:gd name="T19" fmla="*/ 0 h 1799"/>
              <a:gd name="T20" fmla="*/ 2147483647 w 2543"/>
              <a:gd name="T21" fmla="*/ 2147483647 h 1799"/>
              <a:gd name="T22" fmla="*/ 2147483647 w 2543"/>
              <a:gd name="T23" fmla="*/ 2147483647 h 1799"/>
              <a:gd name="T24" fmla="*/ 2147483647 w 2543"/>
              <a:gd name="T25" fmla="*/ 2147483647 h 1799"/>
              <a:gd name="T26" fmla="*/ 2147483647 w 2543"/>
              <a:gd name="T27" fmla="*/ 2147483647 h 1799"/>
              <a:gd name="T28" fmla="*/ 2147483647 w 2543"/>
              <a:gd name="T29" fmla="*/ 2147483647 h 1799"/>
              <a:gd name="T30" fmla="*/ 2147483647 w 2543"/>
              <a:gd name="T31" fmla="*/ 2147483647 h 1799"/>
              <a:gd name="T32" fmla="*/ 2147483647 w 2543"/>
              <a:gd name="T33" fmla="*/ 2147483647 h 1799"/>
              <a:gd name="T34" fmla="*/ 2147483647 w 2543"/>
              <a:gd name="T35" fmla="*/ 2147483647 h 1799"/>
              <a:gd name="T36" fmla="*/ 2147483647 w 2543"/>
              <a:gd name="T37" fmla="*/ 2147483647 h 179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43"/>
              <a:gd name="T58" fmla="*/ 0 h 1799"/>
              <a:gd name="T59" fmla="*/ 2543 w 2543"/>
              <a:gd name="T60" fmla="*/ 1799 h 179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43" h="1799">
                <a:moveTo>
                  <a:pt x="839" y="1015"/>
                </a:moveTo>
                <a:lnTo>
                  <a:pt x="839" y="1678"/>
                </a:lnTo>
                <a:lnTo>
                  <a:pt x="943" y="1678"/>
                </a:lnTo>
                <a:lnTo>
                  <a:pt x="719" y="1798"/>
                </a:lnTo>
                <a:lnTo>
                  <a:pt x="496" y="1678"/>
                </a:lnTo>
                <a:lnTo>
                  <a:pt x="608" y="1678"/>
                </a:lnTo>
                <a:lnTo>
                  <a:pt x="608" y="999"/>
                </a:lnTo>
                <a:lnTo>
                  <a:pt x="0" y="959"/>
                </a:lnTo>
                <a:lnTo>
                  <a:pt x="0" y="0"/>
                </a:lnTo>
                <a:lnTo>
                  <a:pt x="2542" y="0"/>
                </a:lnTo>
                <a:lnTo>
                  <a:pt x="2542" y="1127"/>
                </a:lnTo>
                <a:lnTo>
                  <a:pt x="2086" y="1103"/>
                </a:lnTo>
                <a:lnTo>
                  <a:pt x="2086" y="504"/>
                </a:lnTo>
                <a:lnTo>
                  <a:pt x="2190" y="504"/>
                </a:lnTo>
                <a:lnTo>
                  <a:pt x="1974" y="392"/>
                </a:lnTo>
                <a:lnTo>
                  <a:pt x="1751" y="504"/>
                </a:lnTo>
                <a:lnTo>
                  <a:pt x="1855" y="504"/>
                </a:lnTo>
                <a:lnTo>
                  <a:pt x="1855" y="1087"/>
                </a:lnTo>
                <a:lnTo>
                  <a:pt x="839" y="1015"/>
                </a:lnTo>
              </a:path>
            </a:pathLst>
          </a:custGeom>
          <a:solidFill>
            <a:schemeClr val="bg1"/>
          </a:solidFill>
          <a:ln w="12700" cap="rnd">
            <a:solidFill>
              <a:srgbClr val="B4B4B4"/>
            </a:solidFill>
            <a:round/>
            <a:headEnd/>
            <a:tailEnd/>
          </a:ln>
        </p:spPr>
        <p:txBody>
          <a:bodyPr wrap="square" lIns="68580" tIns="68580" rIns="27000" bIns="27000"/>
          <a:lstStyle/>
          <a:p>
            <a:pPr defTabSz="717947">
              <a:spcBef>
                <a:spcPts val="450"/>
              </a:spcBef>
              <a:buClrTx/>
            </a:pPr>
            <a:r>
              <a:rPr lang="en-US" sz="825" kern="1200" dirty="0">
                <a:solidFill>
                  <a:srgbClr val="313131"/>
                </a:solidFill>
                <a:ea typeface="+mn-ea"/>
                <a:cs typeface="+mn-cs"/>
              </a:rPr>
              <a:t>This is dummy text its not here to be read </a:t>
            </a:r>
          </a:p>
          <a:p>
            <a:pPr marL="205740" lvl="1" indent="-205740" defTabSz="717947">
              <a:spcBef>
                <a:spcPts val="450"/>
              </a:spcBef>
              <a:buClrTx/>
              <a:buFont typeface="Arial" charset="0"/>
              <a:buChar char="•"/>
            </a:pPr>
            <a:r>
              <a:rPr lang="en-US" sz="825" kern="1200" dirty="0">
                <a:solidFill>
                  <a:srgbClr val="313131"/>
                </a:solidFill>
                <a:ea typeface="+mn-ea"/>
                <a:cs typeface="+mn-cs"/>
              </a:rPr>
              <a:t>This is a level two bullet </a:t>
            </a:r>
          </a:p>
          <a:p>
            <a:pPr marL="404622" lvl="2" indent="-198882" defTabSz="717947">
              <a:spcBef>
                <a:spcPts val="450"/>
              </a:spcBef>
              <a:buClrTx/>
              <a:buFont typeface="Arial" charset="0"/>
              <a:buChar char="‒"/>
            </a:pPr>
            <a:r>
              <a:rPr lang="en-US" sz="825" kern="1200" dirty="0">
                <a:solidFill>
                  <a:srgbClr val="313131"/>
                </a:solidFill>
                <a:ea typeface="+mn-ea"/>
                <a:cs typeface="+mn-cs"/>
              </a:rPr>
              <a:t>This is level three bullet</a:t>
            </a:r>
          </a:p>
        </p:txBody>
      </p:sp>
      <p:sp>
        <p:nvSpPr>
          <p:cNvPr id="40" name="Freeform 4"/>
          <p:cNvSpPr>
            <a:spLocks/>
          </p:cNvSpPr>
          <p:nvPr>
            <p:custDataLst>
              <p:tags r:id="rId2"/>
            </p:custDataLst>
          </p:nvPr>
        </p:nvSpPr>
        <p:spPr bwMode="blackWhite">
          <a:xfrm>
            <a:off x="2884885" y="1967577"/>
            <a:ext cx="3295650" cy="2440781"/>
          </a:xfrm>
          <a:custGeom>
            <a:avLst/>
            <a:gdLst>
              <a:gd name="T0" fmla="*/ 2147483647 w 2543"/>
              <a:gd name="T1" fmla="*/ 2147483647 h 1791"/>
              <a:gd name="T2" fmla="*/ 2147483647 w 2543"/>
              <a:gd name="T3" fmla="*/ 2147483647 h 1791"/>
              <a:gd name="T4" fmla="*/ 2147483647 w 2543"/>
              <a:gd name="T5" fmla="*/ 2147483647 h 1791"/>
              <a:gd name="T6" fmla="*/ 2147483647 w 2543"/>
              <a:gd name="T7" fmla="*/ 0 h 1791"/>
              <a:gd name="T8" fmla="*/ 2147483647 w 2543"/>
              <a:gd name="T9" fmla="*/ 2147483647 h 1791"/>
              <a:gd name="T10" fmla="*/ 2147483647 w 2543"/>
              <a:gd name="T11" fmla="*/ 2147483647 h 1791"/>
              <a:gd name="T12" fmla="*/ 2147483647 w 2543"/>
              <a:gd name="T13" fmla="*/ 2147483647 h 1791"/>
              <a:gd name="T14" fmla="*/ 2147483647 w 2543"/>
              <a:gd name="T15" fmla="*/ 2147483647 h 1791"/>
              <a:gd name="T16" fmla="*/ 2147483647 w 2543"/>
              <a:gd name="T17" fmla="*/ 2147483647 h 1791"/>
              <a:gd name="T18" fmla="*/ 0 w 2543"/>
              <a:gd name="T19" fmla="*/ 2147483647 h 1791"/>
              <a:gd name="T20" fmla="*/ 0 w 2543"/>
              <a:gd name="T21" fmla="*/ 2147483647 h 1791"/>
              <a:gd name="T22" fmla="*/ 2147483647 w 2543"/>
              <a:gd name="T23" fmla="*/ 2147483647 h 1791"/>
              <a:gd name="T24" fmla="*/ 2147483647 w 2543"/>
              <a:gd name="T25" fmla="*/ 2147483647 h 1791"/>
              <a:gd name="T26" fmla="*/ 2147483647 w 2543"/>
              <a:gd name="T27" fmla="*/ 2147483647 h 1791"/>
              <a:gd name="T28" fmla="*/ 2147483647 w 2543"/>
              <a:gd name="T29" fmla="*/ 2147483647 h 1791"/>
              <a:gd name="T30" fmla="*/ 2147483647 w 2543"/>
              <a:gd name="T31" fmla="*/ 2147483647 h 1791"/>
              <a:gd name="T32" fmla="*/ 2147483647 w 2543"/>
              <a:gd name="T33" fmla="*/ 2147483647 h 1791"/>
              <a:gd name="T34" fmla="*/ 2147483647 w 2543"/>
              <a:gd name="T35" fmla="*/ 2147483647 h 1791"/>
              <a:gd name="T36" fmla="*/ 2147483647 w 2543"/>
              <a:gd name="T37" fmla="*/ 2147483647 h 179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43"/>
              <a:gd name="T58" fmla="*/ 0 h 1791"/>
              <a:gd name="T59" fmla="*/ 2543 w 2543"/>
              <a:gd name="T60" fmla="*/ 1791 h 179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43" h="1791">
                <a:moveTo>
                  <a:pt x="1855" y="783"/>
                </a:moveTo>
                <a:lnTo>
                  <a:pt x="1855" y="120"/>
                </a:lnTo>
                <a:lnTo>
                  <a:pt x="1751" y="120"/>
                </a:lnTo>
                <a:lnTo>
                  <a:pt x="1974" y="0"/>
                </a:lnTo>
                <a:lnTo>
                  <a:pt x="2190" y="120"/>
                </a:lnTo>
                <a:lnTo>
                  <a:pt x="2086" y="120"/>
                </a:lnTo>
                <a:lnTo>
                  <a:pt x="2086" y="799"/>
                </a:lnTo>
                <a:lnTo>
                  <a:pt x="2542" y="831"/>
                </a:lnTo>
                <a:lnTo>
                  <a:pt x="2542" y="1790"/>
                </a:lnTo>
                <a:lnTo>
                  <a:pt x="0" y="1790"/>
                </a:lnTo>
                <a:lnTo>
                  <a:pt x="0" y="663"/>
                </a:lnTo>
                <a:lnTo>
                  <a:pt x="608" y="703"/>
                </a:lnTo>
                <a:lnTo>
                  <a:pt x="608" y="1294"/>
                </a:lnTo>
                <a:lnTo>
                  <a:pt x="496" y="1294"/>
                </a:lnTo>
                <a:lnTo>
                  <a:pt x="719" y="1406"/>
                </a:lnTo>
                <a:lnTo>
                  <a:pt x="943" y="1294"/>
                </a:lnTo>
                <a:lnTo>
                  <a:pt x="839" y="1294"/>
                </a:lnTo>
                <a:lnTo>
                  <a:pt x="839" y="711"/>
                </a:lnTo>
                <a:lnTo>
                  <a:pt x="1855" y="783"/>
                </a:lnTo>
              </a:path>
            </a:pathLst>
          </a:custGeom>
          <a:solidFill>
            <a:srgbClr val="81BC00"/>
          </a:solidFill>
          <a:ln w="12700" cap="rnd">
            <a:noFill/>
            <a:round/>
            <a:headEnd/>
            <a:tailEnd/>
          </a:ln>
        </p:spPr>
        <p:txBody>
          <a:bodyPr wrap="square" lIns="1215000" tIns="1234440" rIns="68580" bIns="27000"/>
          <a:lstStyle/>
          <a:p>
            <a:pPr defTabSz="717947">
              <a:spcBef>
                <a:spcPts val="450"/>
              </a:spcBef>
              <a:buClrTx/>
            </a:pPr>
            <a:r>
              <a:rPr lang="en-US" sz="825" kern="1200" dirty="0">
                <a:solidFill>
                  <a:prstClr val="white"/>
                </a:solidFill>
                <a:ea typeface="+mn-ea"/>
                <a:cs typeface="+mn-cs"/>
              </a:rPr>
              <a:t>This is dummy text its not here to be read </a:t>
            </a:r>
          </a:p>
          <a:p>
            <a:pPr marL="205740" lvl="1" indent="-205740" defTabSz="717947">
              <a:spcBef>
                <a:spcPts val="450"/>
              </a:spcBef>
              <a:buClrTx/>
              <a:buFont typeface="Arial" charset="0"/>
              <a:buChar char="•"/>
            </a:pPr>
            <a:r>
              <a:rPr lang="en-US" sz="825" kern="1200" dirty="0">
                <a:solidFill>
                  <a:prstClr val="white"/>
                </a:solidFill>
                <a:ea typeface="+mn-ea"/>
                <a:cs typeface="+mn-cs"/>
              </a:rPr>
              <a:t>This is a level two bullet</a:t>
            </a:r>
          </a:p>
          <a:p>
            <a:pPr marL="404622" lvl="2" indent="-198882" defTabSz="717947">
              <a:spcBef>
                <a:spcPts val="450"/>
              </a:spcBef>
              <a:buClrTx/>
              <a:buFont typeface="Arial" charset="0"/>
              <a:buChar char="‒"/>
            </a:pPr>
            <a:r>
              <a:rPr lang="en-US" sz="825" kern="1200" dirty="0">
                <a:solidFill>
                  <a:prstClr val="white"/>
                </a:solidFill>
                <a:ea typeface="+mn-ea"/>
                <a:cs typeface="+mn-cs"/>
              </a:rPr>
              <a:t>This is level three bullet</a:t>
            </a:r>
          </a:p>
        </p:txBody>
      </p:sp>
      <p:sp>
        <p:nvSpPr>
          <p:cNvPr id="41" name="Text Placeholder 12"/>
          <p:cNvSpPr>
            <a:spLocks/>
          </p:cNvSpPr>
          <p:nvPr>
            <p:custDataLst>
              <p:tags r:id="rId3"/>
            </p:custDataLst>
          </p:nvPr>
        </p:nvSpPr>
        <p:spPr bwMode="auto">
          <a:xfrm>
            <a:off x="1440656" y="1131570"/>
            <a:ext cx="197170"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Text</a:t>
            </a:r>
          </a:p>
        </p:txBody>
      </p:sp>
    </p:spTree>
    <p:extLst>
      <p:ext uri="{BB962C8B-B14F-4D97-AF65-F5344CB8AC3E}">
        <p14:creationId xmlns:p14="http://schemas.microsoft.com/office/powerpoint/2010/main" val="6830646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0065" name="Title 1"/>
          <p:cNvSpPr>
            <a:spLocks noGrp="1"/>
          </p:cNvSpPr>
          <p:nvPr>
            <p:ph type="title"/>
          </p:nvPr>
        </p:nvSpPr>
        <p:spPr/>
        <p:txBody>
          <a:bodyPr/>
          <a:lstStyle/>
          <a:p>
            <a:pPr>
              <a:lnSpc>
                <a:spcPct val="100000"/>
              </a:lnSpc>
            </a:pPr>
            <a:r>
              <a:rPr lang="en-US" dirty="0">
                <a:solidFill>
                  <a:srgbClr val="81BC00"/>
                </a:solidFill>
              </a:rPr>
              <a:t>Text blocks </a:t>
            </a:r>
            <a:br>
              <a:rPr lang="en-US" dirty="0">
                <a:solidFill>
                  <a:srgbClr val="575757"/>
                </a:solidFill>
              </a:rPr>
            </a:br>
            <a:r>
              <a:rPr lang="en-US" dirty="0">
                <a:solidFill>
                  <a:srgbClr val="575757"/>
                </a:solidFill>
              </a:rPr>
              <a:t>Working together</a:t>
            </a:r>
          </a:p>
        </p:txBody>
      </p:sp>
      <p:sp>
        <p:nvSpPr>
          <p:cNvPr id="39" name="Rectangle 38"/>
          <p:cNvSpPr>
            <a:spLocks noChangeArrowheads="1"/>
          </p:cNvSpPr>
          <p:nvPr>
            <p:custDataLst>
              <p:tags r:id="rId1"/>
            </p:custDataLst>
          </p:nvPr>
        </p:nvSpPr>
        <p:spPr bwMode="auto">
          <a:xfrm>
            <a:off x="2290763" y="2672293"/>
            <a:ext cx="4574381" cy="1552575"/>
          </a:xfrm>
          <a:prstGeom prst="rect">
            <a:avLst/>
          </a:prstGeom>
          <a:solidFill>
            <a:srgbClr val="81BC00"/>
          </a:solidFill>
          <a:ln w="6350" algn="ctr">
            <a:noFill/>
            <a:miter lim="800000"/>
            <a:headEnd type="none" w="sm" len="sm"/>
            <a:tailEnd type="none" w="sm" len="sm"/>
          </a:ln>
        </p:spPr>
        <p:txBody>
          <a:bodyPr wrap="square" lIns="68580" tIns="243000" rIns="27000" bIns="27000" anchor="t"/>
          <a:lstStyle/>
          <a:p>
            <a:pPr defTabSz="717947">
              <a:spcBef>
                <a:spcPts val="450"/>
              </a:spcBef>
              <a:buClrTx/>
            </a:pPr>
            <a:r>
              <a:rPr lang="en-US" sz="825" kern="1200" dirty="0">
                <a:solidFill>
                  <a:prstClr val="white"/>
                </a:solidFill>
                <a:ea typeface="+mn-ea"/>
                <a:cs typeface="+mn-cs"/>
              </a:rPr>
              <a:t>This is dummy text its not here to be read </a:t>
            </a:r>
          </a:p>
          <a:p>
            <a:pPr marL="205740" lvl="1" indent="-205740" defTabSz="717947">
              <a:spcBef>
                <a:spcPts val="450"/>
              </a:spcBef>
              <a:buClrTx/>
              <a:buFont typeface="Arial" charset="0"/>
              <a:buChar char="•"/>
            </a:pPr>
            <a:r>
              <a:rPr lang="en-US" sz="825" kern="1200" dirty="0">
                <a:solidFill>
                  <a:prstClr val="white"/>
                </a:solidFill>
                <a:ea typeface="+mn-ea"/>
                <a:cs typeface="+mn-cs"/>
              </a:rPr>
              <a:t>This is a level two bullet </a:t>
            </a:r>
          </a:p>
          <a:p>
            <a:pPr marL="404622" lvl="2" indent="-198882" defTabSz="717947">
              <a:spcBef>
                <a:spcPts val="450"/>
              </a:spcBef>
              <a:buClrTx/>
              <a:buFont typeface="Arial" charset="0"/>
              <a:buChar char="‒"/>
            </a:pPr>
            <a:r>
              <a:rPr lang="en-US" sz="825" kern="1200" dirty="0">
                <a:solidFill>
                  <a:prstClr val="white"/>
                </a:solidFill>
                <a:ea typeface="+mn-ea"/>
                <a:cs typeface="+mn-cs"/>
              </a:rPr>
              <a:t>This is level three bullet</a:t>
            </a:r>
          </a:p>
        </p:txBody>
      </p:sp>
      <p:sp>
        <p:nvSpPr>
          <p:cNvPr id="40" name="AutoShape 4"/>
          <p:cNvSpPr>
            <a:spLocks noChangeArrowheads="1"/>
          </p:cNvSpPr>
          <p:nvPr>
            <p:custDataLst>
              <p:tags r:id="rId2"/>
            </p:custDataLst>
          </p:nvPr>
        </p:nvSpPr>
        <p:spPr bwMode="auto">
          <a:xfrm rot="5400000">
            <a:off x="3847505" y="-116562"/>
            <a:ext cx="1452563" cy="4566047"/>
          </a:xfrm>
          <a:prstGeom prst="rightArrowCallout">
            <a:avLst>
              <a:gd name="adj1" fmla="val 44937"/>
              <a:gd name="adj2" fmla="val 36895"/>
              <a:gd name="adj3" fmla="val 9009"/>
              <a:gd name="adj4" fmla="val 85060"/>
            </a:avLst>
          </a:prstGeom>
          <a:solidFill>
            <a:schemeClr val="bg1"/>
          </a:solidFill>
          <a:ln w="6350" algn="ctr">
            <a:solidFill>
              <a:srgbClr val="B4B4B4"/>
            </a:solidFill>
            <a:miter lim="800000"/>
            <a:headEnd type="none" w="sm" len="sm"/>
            <a:tailEnd type="none" w="sm" len="sm"/>
          </a:ln>
        </p:spPr>
        <p:txBody>
          <a:bodyPr rot="10800000" vert="vert" wrap="square" lIns="0" tIns="68580" rIns="68580" bIns="68580" anchor="t"/>
          <a:lstStyle/>
          <a:p>
            <a:pPr defTabSz="717947">
              <a:spcBef>
                <a:spcPts val="450"/>
              </a:spcBef>
              <a:buClrTx/>
            </a:pPr>
            <a:r>
              <a:rPr lang="en-US" sz="825" kern="1200" dirty="0">
                <a:solidFill>
                  <a:srgbClr val="313131"/>
                </a:solidFill>
                <a:ea typeface="+mn-ea"/>
                <a:cs typeface="+mn-cs"/>
              </a:rPr>
              <a:t>This is dummy text its not here to be read </a:t>
            </a:r>
          </a:p>
          <a:p>
            <a:pPr marL="205740" lvl="1" indent="-205740" defTabSz="717947">
              <a:spcBef>
                <a:spcPts val="450"/>
              </a:spcBef>
              <a:buClrTx/>
              <a:buFont typeface="Arial" charset="0"/>
              <a:buChar char="•"/>
            </a:pPr>
            <a:r>
              <a:rPr lang="en-US" sz="825" kern="1200" dirty="0">
                <a:solidFill>
                  <a:srgbClr val="313131"/>
                </a:solidFill>
                <a:ea typeface="+mn-ea"/>
                <a:cs typeface="+mn-cs"/>
              </a:rPr>
              <a:t>This is a level two bullet </a:t>
            </a:r>
          </a:p>
          <a:p>
            <a:pPr marL="404622" lvl="2" indent="-198882" defTabSz="717947">
              <a:spcBef>
                <a:spcPts val="450"/>
              </a:spcBef>
              <a:buClrTx/>
              <a:buFont typeface="Arial" charset="0"/>
              <a:buChar char="‒"/>
            </a:pPr>
            <a:r>
              <a:rPr lang="en-US" sz="825" kern="1200" dirty="0">
                <a:solidFill>
                  <a:srgbClr val="313131"/>
                </a:solidFill>
                <a:ea typeface="+mn-ea"/>
                <a:cs typeface="+mn-cs"/>
              </a:rPr>
              <a:t>This is level three bullet</a:t>
            </a:r>
          </a:p>
        </p:txBody>
      </p:sp>
      <p:sp>
        <p:nvSpPr>
          <p:cNvPr id="41" name="AutoShape 5"/>
          <p:cNvSpPr>
            <a:spLocks noChangeArrowheads="1"/>
          </p:cNvSpPr>
          <p:nvPr>
            <p:custDataLst>
              <p:tags r:id="rId3"/>
            </p:custDataLst>
          </p:nvPr>
        </p:nvSpPr>
        <p:spPr bwMode="auto">
          <a:xfrm rot="5384608" flipH="1">
            <a:off x="4452938" y="2058115"/>
            <a:ext cx="241697" cy="982265"/>
          </a:xfrm>
          <a:prstGeom prst="rightArrow">
            <a:avLst>
              <a:gd name="adj1" fmla="val 65396"/>
              <a:gd name="adj2" fmla="val 59755"/>
            </a:avLst>
          </a:prstGeom>
          <a:solidFill>
            <a:srgbClr val="81BC00"/>
          </a:solidFill>
          <a:ln w="6350" algn="ctr">
            <a:noFill/>
            <a:miter lim="800000"/>
            <a:headEnd type="none" w="sm" len="sm"/>
            <a:tailEnd type="none" w="sm" len="sm"/>
          </a:ln>
        </p:spPr>
        <p:txBody>
          <a:bodyPr rot="10800000" vert="eaVert" wrap="square" lIns="27000" tIns="27000" rIns="27000" bIns="27000" anchor="ctr"/>
          <a:lstStyle/>
          <a:p>
            <a:pPr algn="ctr" defTabSz="685800">
              <a:buClrTx/>
              <a:defRPr/>
            </a:pPr>
            <a:endParaRPr lang="en-US" sz="1050" kern="1200" dirty="0">
              <a:solidFill>
                <a:prstClr val="black"/>
              </a:solidFill>
              <a:ea typeface="+mn-ea"/>
              <a:cs typeface="+mn-cs"/>
            </a:endParaRPr>
          </a:p>
        </p:txBody>
      </p:sp>
      <p:sp>
        <p:nvSpPr>
          <p:cNvPr id="42" name="Text Placeholder 12"/>
          <p:cNvSpPr>
            <a:spLocks/>
          </p:cNvSpPr>
          <p:nvPr>
            <p:custDataLst>
              <p:tags r:id="rId4"/>
            </p:custDataLst>
          </p:nvPr>
        </p:nvSpPr>
        <p:spPr bwMode="auto">
          <a:xfrm>
            <a:off x="1440656" y="1131570"/>
            <a:ext cx="197170"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Text</a:t>
            </a:r>
          </a:p>
        </p:txBody>
      </p:sp>
    </p:spTree>
    <p:extLst>
      <p:ext uri="{BB962C8B-B14F-4D97-AF65-F5344CB8AC3E}">
        <p14:creationId xmlns:p14="http://schemas.microsoft.com/office/powerpoint/2010/main" val="422591780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4">
            <a:extLst>
              <a:ext uri="{FF2B5EF4-FFF2-40B4-BE49-F238E27FC236}">
                <a16:creationId xmlns:a16="http://schemas.microsoft.com/office/drawing/2014/main" id="{E3AB9ED5-B7EC-C35F-887D-A2FF67302857}"/>
              </a:ext>
            </a:extLst>
          </p:cNvPr>
          <p:cNvSpPr>
            <a:spLocks noChangeArrowheads="1"/>
          </p:cNvSpPr>
          <p:nvPr>
            <p:custDataLst>
              <p:tags r:id="rId1"/>
            </p:custDataLst>
          </p:nvPr>
        </p:nvSpPr>
        <p:spPr bwMode="gray">
          <a:xfrm>
            <a:off x="358775" y="1187609"/>
            <a:ext cx="1552575" cy="895350"/>
          </a:xfrm>
          <a:prstGeom prst="rect">
            <a:avLst/>
          </a:prstGeom>
          <a:solidFill>
            <a:srgbClr val="00B0F0">
              <a:alpha val="62000"/>
            </a:srgbClr>
          </a:solidFill>
          <a:ln w="12700" algn="ctr">
            <a:solidFill>
              <a:schemeClr val="bg1"/>
            </a:solidFill>
            <a:miter lim="800000"/>
            <a:headEnd/>
            <a:tailEnd/>
          </a:ln>
        </p:spPr>
        <p:txBody>
          <a:bodyPr lIns="36000" tIns="36000" rIns="36000" bIns="36000" anchor="ctr" anchorCtr="1"/>
          <a:lstStyle/>
          <a:p>
            <a:pPr algn="ctr">
              <a:lnSpc>
                <a:spcPct val="106000"/>
              </a:lnSpc>
              <a:defRPr/>
            </a:pPr>
            <a:r>
              <a:rPr lang="en-US" dirty="0">
                <a:solidFill>
                  <a:schemeClr val="tx1"/>
                </a:solidFill>
              </a:rPr>
              <a:t>Enter the Washington DC market</a:t>
            </a:r>
          </a:p>
        </p:txBody>
      </p:sp>
      <p:sp>
        <p:nvSpPr>
          <p:cNvPr id="15" name="Text Placeholder 22">
            <a:extLst>
              <a:ext uri="{FF2B5EF4-FFF2-40B4-BE49-F238E27FC236}">
                <a16:creationId xmlns:a16="http://schemas.microsoft.com/office/drawing/2014/main" id="{C86E597E-1888-5127-AD90-77D6DA95E0CF}"/>
              </a:ext>
            </a:extLst>
          </p:cNvPr>
          <p:cNvSpPr txBox="1">
            <a:spLocks/>
          </p:cNvSpPr>
          <p:nvPr>
            <p:custDataLst>
              <p:tags r:id="rId2"/>
            </p:custDataLst>
          </p:nvPr>
        </p:nvSpPr>
        <p:spPr bwMode="auto">
          <a:xfrm>
            <a:off x="5353716" y="1234440"/>
            <a:ext cx="3114010" cy="513273"/>
          </a:xfrm>
          <a:prstGeom prst="rect">
            <a:avLst/>
          </a:prstGeom>
        </p:spPr>
        <p:txBody>
          <a:bodyPr wrap="square" lIns="36000" tIns="36000" rIns="36000" bIns="36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80000" lvl="1" indent="-180000">
              <a:spcBef>
                <a:spcPts val="400"/>
              </a:spcBef>
              <a:spcAft>
                <a:spcPts val="0"/>
              </a:spcAft>
            </a:pPr>
            <a:r>
              <a:rPr lang="en-US" dirty="0">
                <a:solidFill>
                  <a:srgbClr val="313131"/>
                </a:solidFill>
              </a:rPr>
              <a:t>Competition is lesser in Washington DC for Airbnb properties</a:t>
            </a:r>
          </a:p>
        </p:txBody>
      </p:sp>
      <p:sp>
        <p:nvSpPr>
          <p:cNvPr id="19" name="Text Placeholder 22">
            <a:extLst>
              <a:ext uri="{FF2B5EF4-FFF2-40B4-BE49-F238E27FC236}">
                <a16:creationId xmlns:a16="http://schemas.microsoft.com/office/drawing/2014/main" id="{621D17A5-DAD9-99A9-6F8F-2D8B18F844FE}"/>
              </a:ext>
            </a:extLst>
          </p:cNvPr>
          <p:cNvSpPr txBox="1">
            <a:spLocks/>
          </p:cNvSpPr>
          <p:nvPr/>
        </p:nvSpPr>
        <p:spPr bwMode="auto">
          <a:xfrm>
            <a:off x="2052637" y="1234440"/>
            <a:ext cx="3114629" cy="860483"/>
          </a:xfrm>
          <a:prstGeom prst="rect">
            <a:avLst/>
          </a:prstGeom>
        </p:spPr>
        <p:txBody>
          <a:bodyPr wrap="square" lIns="36000" tIns="36000" rIns="36000" bIns="36000">
            <a:no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80000" lvl="1" indent="-180000">
              <a:spcBef>
                <a:spcPts val="400"/>
              </a:spcBef>
              <a:spcAft>
                <a:spcPts val="0"/>
              </a:spcAft>
            </a:pPr>
            <a:r>
              <a:rPr lang="en-US" dirty="0">
                <a:solidFill>
                  <a:srgbClr val="313131"/>
                </a:solidFill>
              </a:rPr>
              <a:t>Top five neighborhood clusters generated revenue greater national average</a:t>
            </a:r>
          </a:p>
        </p:txBody>
      </p:sp>
      <p:sp>
        <p:nvSpPr>
          <p:cNvPr id="22" name="Rectangle 4">
            <a:extLst>
              <a:ext uri="{FF2B5EF4-FFF2-40B4-BE49-F238E27FC236}">
                <a16:creationId xmlns:a16="http://schemas.microsoft.com/office/drawing/2014/main" id="{420594C1-0FFC-6E50-6B9D-D80E71E59045}"/>
              </a:ext>
            </a:extLst>
          </p:cNvPr>
          <p:cNvSpPr>
            <a:spLocks noChangeArrowheads="1"/>
          </p:cNvSpPr>
          <p:nvPr>
            <p:custDataLst>
              <p:tags r:id="rId3"/>
            </p:custDataLst>
          </p:nvPr>
        </p:nvSpPr>
        <p:spPr bwMode="gray">
          <a:xfrm>
            <a:off x="358775" y="2368709"/>
            <a:ext cx="1552575" cy="895350"/>
          </a:xfrm>
          <a:prstGeom prst="rect">
            <a:avLst/>
          </a:prstGeom>
          <a:solidFill>
            <a:srgbClr val="00B0F0">
              <a:alpha val="62000"/>
            </a:srgbClr>
          </a:solidFill>
          <a:ln w="12700" algn="ctr">
            <a:solidFill>
              <a:schemeClr val="bg1"/>
            </a:solidFill>
            <a:miter lim="800000"/>
            <a:headEnd/>
            <a:tailEnd/>
          </a:ln>
        </p:spPr>
        <p:txBody>
          <a:bodyPr lIns="36000" tIns="36000" rIns="36000" bIns="36000" anchor="ctr" anchorCtr="1"/>
          <a:lstStyle/>
          <a:p>
            <a:pPr algn="ctr">
              <a:lnSpc>
                <a:spcPct val="106000"/>
              </a:lnSpc>
              <a:defRPr/>
            </a:pPr>
            <a:r>
              <a:rPr lang="en-US" dirty="0">
                <a:solidFill>
                  <a:schemeClr val="tx1"/>
                </a:solidFill>
              </a:rPr>
              <a:t>Main point</a:t>
            </a:r>
          </a:p>
        </p:txBody>
      </p:sp>
      <p:sp>
        <p:nvSpPr>
          <p:cNvPr id="23" name="Text Placeholder 22">
            <a:extLst>
              <a:ext uri="{FF2B5EF4-FFF2-40B4-BE49-F238E27FC236}">
                <a16:creationId xmlns:a16="http://schemas.microsoft.com/office/drawing/2014/main" id="{2373EDE4-9C3E-83CB-3895-6BF94AA9DA2A}"/>
              </a:ext>
            </a:extLst>
          </p:cNvPr>
          <p:cNvSpPr txBox="1">
            <a:spLocks/>
          </p:cNvSpPr>
          <p:nvPr>
            <p:custDataLst>
              <p:tags r:id="rId4"/>
            </p:custDataLst>
          </p:nvPr>
        </p:nvSpPr>
        <p:spPr bwMode="auto">
          <a:xfrm>
            <a:off x="5353716" y="2415540"/>
            <a:ext cx="3114010" cy="284877"/>
          </a:xfrm>
          <a:prstGeom prst="rect">
            <a:avLst/>
          </a:prstGeom>
        </p:spPr>
        <p:txBody>
          <a:bodyPr wrap="square" lIns="36000" tIns="36000" rIns="36000" bIns="36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80000" lvl="1" indent="-180000">
              <a:spcBef>
                <a:spcPts val="400"/>
              </a:spcBef>
              <a:spcAft>
                <a:spcPts val="0"/>
              </a:spcAft>
            </a:pPr>
            <a:r>
              <a:rPr lang="en-US" dirty="0">
                <a:solidFill>
                  <a:srgbClr val="313131"/>
                </a:solidFill>
              </a:rPr>
              <a:t>Key Argument 2</a:t>
            </a:r>
          </a:p>
        </p:txBody>
      </p:sp>
      <p:sp>
        <p:nvSpPr>
          <p:cNvPr id="24" name="Text Placeholder 22">
            <a:extLst>
              <a:ext uri="{FF2B5EF4-FFF2-40B4-BE49-F238E27FC236}">
                <a16:creationId xmlns:a16="http://schemas.microsoft.com/office/drawing/2014/main" id="{BC11D109-B40C-BE25-7F31-D02E7121BF47}"/>
              </a:ext>
            </a:extLst>
          </p:cNvPr>
          <p:cNvSpPr txBox="1">
            <a:spLocks/>
          </p:cNvSpPr>
          <p:nvPr/>
        </p:nvSpPr>
        <p:spPr bwMode="auto">
          <a:xfrm>
            <a:off x="2052637" y="2415540"/>
            <a:ext cx="3114629" cy="860483"/>
          </a:xfrm>
          <a:prstGeom prst="rect">
            <a:avLst/>
          </a:prstGeom>
        </p:spPr>
        <p:txBody>
          <a:bodyPr wrap="square" lIns="36000" tIns="36000" rIns="36000" bIns="36000">
            <a:no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80000" lvl="1" indent="-180000">
              <a:spcBef>
                <a:spcPts val="400"/>
              </a:spcBef>
              <a:spcAft>
                <a:spcPts val="0"/>
              </a:spcAft>
            </a:pPr>
            <a:r>
              <a:rPr lang="en-US" dirty="0">
                <a:solidFill>
                  <a:srgbClr val="313131"/>
                </a:solidFill>
              </a:rPr>
              <a:t>Key Argument 1</a:t>
            </a:r>
          </a:p>
        </p:txBody>
      </p:sp>
      <p:sp>
        <p:nvSpPr>
          <p:cNvPr id="26" name="Rectangle 4">
            <a:extLst>
              <a:ext uri="{FF2B5EF4-FFF2-40B4-BE49-F238E27FC236}">
                <a16:creationId xmlns:a16="http://schemas.microsoft.com/office/drawing/2014/main" id="{26EF6730-1056-948F-2E95-4A2677707134}"/>
              </a:ext>
            </a:extLst>
          </p:cNvPr>
          <p:cNvSpPr>
            <a:spLocks noChangeArrowheads="1"/>
          </p:cNvSpPr>
          <p:nvPr>
            <p:custDataLst>
              <p:tags r:id="rId5"/>
            </p:custDataLst>
          </p:nvPr>
        </p:nvSpPr>
        <p:spPr bwMode="gray">
          <a:xfrm>
            <a:off x="358775" y="3645059"/>
            <a:ext cx="1552575" cy="895350"/>
          </a:xfrm>
          <a:prstGeom prst="rect">
            <a:avLst/>
          </a:prstGeom>
          <a:solidFill>
            <a:srgbClr val="00B0F0">
              <a:alpha val="62000"/>
            </a:srgbClr>
          </a:solidFill>
          <a:ln w="12700" algn="ctr">
            <a:solidFill>
              <a:schemeClr val="bg1"/>
            </a:solidFill>
            <a:miter lim="800000"/>
            <a:headEnd/>
            <a:tailEnd/>
          </a:ln>
        </p:spPr>
        <p:txBody>
          <a:bodyPr lIns="36000" tIns="36000" rIns="36000" bIns="36000" anchor="ctr" anchorCtr="1"/>
          <a:lstStyle/>
          <a:p>
            <a:pPr algn="ctr">
              <a:lnSpc>
                <a:spcPct val="106000"/>
              </a:lnSpc>
              <a:defRPr/>
            </a:pPr>
            <a:r>
              <a:rPr lang="en-US" dirty="0">
                <a:solidFill>
                  <a:schemeClr val="tx1"/>
                </a:solidFill>
              </a:rPr>
              <a:t>Main point</a:t>
            </a:r>
          </a:p>
        </p:txBody>
      </p:sp>
      <p:sp>
        <p:nvSpPr>
          <p:cNvPr id="27" name="Text Placeholder 22">
            <a:extLst>
              <a:ext uri="{FF2B5EF4-FFF2-40B4-BE49-F238E27FC236}">
                <a16:creationId xmlns:a16="http://schemas.microsoft.com/office/drawing/2014/main" id="{E6893D4B-14EF-738B-8E22-0A89707BEE16}"/>
              </a:ext>
            </a:extLst>
          </p:cNvPr>
          <p:cNvSpPr txBox="1">
            <a:spLocks/>
          </p:cNvSpPr>
          <p:nvPr>
            <p:custDataLst>
              <p:tags r:id="rId6"/>
            </p:custDataLst>
          </p:nvPr>
        </p:nvSpPr>
        <p:spPr bwMode="auto">
          <a:xfrm>
            <a:off x="5353716" y="3691890"/>
            <a:ext cx="3114010" cy="284877"/>
          </a:xfrm>
          <a:prstGeom prst="rect">
            <a:avLst/>
          </a:prstGeom>
        </p:spPr>
        <p:txBody>
          <a:bodyPr wrap="square" lIns="36000" tIns="36000" rIns="36000" bIns="36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80000" lvl="1" indent="-180000">
              <a:spcBef>
                <a:spcPts val="400"/>
              </a:spcBef>
              <a:spcAft>
                <a:spcPts val="0"/>
              </a:spcAft>
            </a:pPr>
            <a:r>
              <a:rPr lang="en-US" dirty="0">
                <a:solidFill>
                  <a:srgbClr val="313131"/>
                </a:solidFill>
              </a:rPr>
              <a:t>Key Argument 2</a:t>
            </a:r>
          </a:p>
        </p:txBody>
      </p:sp>
      <p:sp>
        <p:nvSpPr>
          <p:cNvPr id="28" name="Text Placeholder 22">
            <a:extLst>
              <a:ext uri="{FF2B5EF4-FFF2-40B4-BE49-F238E27FC236}">
                <a16:creationId xmlns:a16="http://schemas.microsoft.com/office/drawing/2014/main" id="{84B1BBAC-54AC-7A60-984E-05156D63E512}"/>
              </a:ext>
            </a:extLst>
          </p:cNvPr>
          <p:cNvSpPr txBox="1">
            <a:spLocks/>
          </p:cNvSpPr>
          <p:nvPr/>
        </p:nvSpPr>
        <p:spPr bwMode="auto">
          <a:xfrm>
            <a:off x="2052637" y="3691890"/>
            <a:ext cx="3114629" cy="860483"/>
          </a:xfrm>
          <a:prstGeom prst="rect">
            <a:avLst/>
          </a:prstGeom>
        </p:spPr>
        <p:txBody>
          <a:bodyPr wrap="square" lIns="36000" tIns="36000" rIns="36000" bIns="36000">
            <a:no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80000" lvl="1" indent="-180000">
              <a:spcBef>
                <a:spcPts val="400"/>
              </a:spcBef>
              <a:spcAft>
                <a:spcPts val="0"/>
              </a:spcAft>
            </a:pPr>
            <a:r>
              <a:rPr lang="en-US" dirty="0">
                <a:solidFill>
                  <a:srgbClr val="313131"/>
                </a:solidFill>
              </a:rPr>
              <a:t>Key Argument 1</a:t>
            </a:r>
          </a:p>
        </p:txBody>
      </p:sp>
      <p:sp>
        <p:nvSpPr>
          <p:cNvPr id="29" name="Oval 28">
            <a:extLst>
              <a:ext uri="{FF2B5EF4-FFF2-40B4-BE49-F238E27FC236}">
                <a16:creationId xmlns:a16="http://schemas.microsoft.com/office/drawing/2014/main" id="{D8D96F58-2644-8D50-23B3-A288B6181F40}"/>
              </a:ext>
            </a:extLst>
          </p:cNvPr>
          <p:cNvSpPr/>
          <p:nvPr/>
        </p:nvSpPr>
        <p:spPr>
          <a:xfrm>
            <a:off x="185738" y="1028700"/>
            <a:ext cx="371475" cy="371475"/>
          </a:xfrm>
          <a:prstGeom prst="ellipse">
            <a:avLst/>
          </a:prstGeom>
          <a:solidFill>
            <a:srgbClr val="0027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dirty="0"/>
              <a:t>1</a:t>
            </a:r>
          </a:p>
        </p:txBody>
      </p:sp>
      <p:sp>
        <p:nvSpPr>
          <p:cNvPr id="30" name="Oval 29">
            <a:extLst>
              <a:ext uri="{FF2B5EF4-FFF2-40B4-BE49-F238E27FC236}">
                <a16:creationId xmlns:a16="http://schemas.microsoft.com/office/drawing/2014/main" id="{B0A0F95D-FC60-BA80-E374-AF49A8E98357}"/>
              </a:ext>
            </a:extLst>
          </p:cNvPr>
          <p:cNvSpPr/>
          <p:nvPr/>
        </p:nvSpPr>
        <p:spPr>
          <a:xfrm>
            <a:off x="185738" y="2228850"/>
            <a:ext cx="371475" cy="371475"/>
          </a:xfrm>
          <a:prstGeom prst="ellipse">
            <a:avLst/>
          </a:prstGeom>
          <a:solidFill>
            <a:srgbClr val="0027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dirty="0"/>
              <a:t>2</a:t>
            </a:r>
          </a:p>
        </p:txBody>
      </p:sp>
      <p:sp>
        <p:nvSpPr>
          <p:cNvPr id="31" name="Oval 30">
            <a:extLst>
              <a:ext uri="{FF2B5EF4-FFF2-40B4-BE49-F238E27FC236}">
                <a16:creationId xmlns:a16="http://schemas.microsoft.com/office/drawing/2014/main" id="{1C055128-B646-C799-BCB6-EACEDD26DEB9}"/>
              </a:ext>
            </a:extLst>
          </p:cNvPr>
          <p:cNvSpPr/>
          <p:nvPr/>
        </p:nvSpPr>
        <p:spPr>
          <a:xfrm>
            <a:off x="185738" y="3505200"/>
            <a:ext cx="371475" cy="371475"/>
          </a:xfrm>
          <a:prstGeom prst="ellipse">
            <a:avLst/>
          </a:prstGeom>
          <a:solidFill>
            <a:srgbClr val="0027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dirty="0"/>
              <a:t>3</a:t>
            </a:r>
          </a:p>
        </p:txBody>
      </p:sp>
      <p:sp>
        <p:nvSpPr>
          <p:cNvPr id="34" name="Title 1">
            <a:extLst>
              <a:ext uri="{FF2B5EF4-FFF2-40B4-BE49-F238E27FC236}">
                <a16:creationId xmlns:a16="http://schemas.microsoft.com/office/drawing/2014/main" id="{8D756B99-98B2-3A8D-808A-56B2B016F00C}"/>
              </a:ext>
            </a:extLst>
          </p:cNvPr>
          <p:cNvSpPr txBox="1">
            <a:spLocks/>
          </p:cNvSpPr>
          <p:nvPr>
            <p:custDataLst>
              <p:tags r:id="rId7"/>
            </p:custDataLst>
          </p:nvPr>
        </p:nvSpPr>
        <p:spPr>
          <a:xfrm>
            <a:off x="205123" y="78049"/>
            <a:ext cx="8388000" cy="546478"/>
          </a:xfrm>
          <a:prstGeom prst="rect">
            <a:avLst/>
          </a:prstGeom>
          <a:noFill/>
          <a:ln>
            <a:noFill/>
          </a:ln>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kumimoji="0" lang="en-US" sz="1000" b="1" i="0" u="none" strike="noStrike" kern="0" cap="none" spc="0" normalizeH="0" baseline="0" noProof="0" dirty="0">
                <a:ln>
                  <a:noFill/>
                </a:ln>
                <a:solidFill>
                  <a:schemeClr val="bg1">
                    <a:lumMod val="75000"/>
                  </a:schemeClr>
                </a:solidFill>
                <a:effectLst/>
                <a:uLnTx/>
                <a:uFillTx/>
                <a:latin typeface="Arial"/>
                <a:cs typeface="Arial"/>
                <a:sym typeface="Arial"/>
              </a:rPr>
              <a:t>Recommendation Summary</a:t>
            </a:r>
            <a:br>
              <a:rPr kumimoji="0" lang="en-US" sz="1800" b="0" i="0" u="none" strike="noStrike" kern="0" cap="none" spc="0" normalizeH="0" baseline="0" noProof="0" dirty="0">
                <a:ln>
                  <a:noFill/>
                </a:ln>
                <a:solidFill>
                  <a:srgbClr val="81BC00"/>
                </a:solidFill>
                <a:effectLst/>
                <a:uLnTx/>
                <a:uFillTx/>
                <a:latin typeface="Arial"/>
                <a:cs typeface="Arial"/>
                <a:sym typeface="Arial"/>
              </a:rPr>
            </a:br>
            <a:r>
              <a:rPr kumimoji="0" lang="en-US" sz="1800" b="1" i="0" u="none" strike="noStrike" kern="0" cap="none" spc="0" normalizeH="0" baseline="0" noProof="0" dirty="0">
                <a:ln>
                  <a:noFill/>
                </a:ln>
                <a:solidFill>
                  <a:srgbClr val="002776"/>
                </a:solidFill>
                <a:effectLst/>
                <a:uLnTx/>
                <a:uFillTx/>
                <a:latin typeface="Arial"/>
                <a:cs typeface="Arial"/>
                <a:sym typeface="Arial"/>
              </a:rPr>
              <a:t>Based on our analysis, we propose the following recommendations</a:t>
            </a:r>
            <a:endParaRPr lang="en-US" sz="1800" b="1" dirty="0">
              <a:solidFill>
                <a:srgbClr val="002776"/>
              </a:solidFill>
            </a:endParaRPr>
          </a:p>
        </p:txBody>
      </p:sp>
      <p:cxnSp>
        <p:nvCxnSpPr>
          <p:cNvPr id="35" name="Straight Connector 34">
            <a:extLst>
              <a:ext uri="{FF2B5EF4-FFF2-40B4-BE49-F238E27FC236}">
                <a16:creationId xmlns:a16="http://schemas.microsoft.com/office/drawing/2014/main" id="{F267D839-7725-95A8-606D-9398A84C9BA9}"/>
              </a:ext>
            </a:extLst>
          </p:cNvPr>
          <p:cNvCxnSpPr>
            <a:cxnSpLocks/>
          </p:cNvCxnSpPr>
          <p:nvPr/>
        </p:nvCxnSpPr>
        <p:spPr>
          <a:xfrm>
            <a:off x="0" y="608512"/>
            <a:ext cx="9144000" cy="0"/>
          </a:xfrm>
          <a:prstGeom prst="line">
            <a:avLst/>
          </a:prstGeom>
          <a:ln w="76200">
            <a:solidFill>
              <a:srgbClr val="00277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955310"/>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0065" name="Title 1"/>
          <p:cNvSpPr>
            <a:spLocks noGrp="1"/>
          </p:cNvSpPr>
          <p:nvPr>
            <p:ph type="title"/>
          </p:nvPr>
        </p:nvSpPr>
        <p:spPr/>
        <p:txBody>
          <a:bodyPr/>
          <a:lstStyle/>
          <a:p>
            <a:pPr>
              <a:lnSpc>
                <a:spcPct val="100000"/>
              </a:lnSpc>
            </a:pPr>
            <a:r>
              <a:rPr lang="en-US" dirty="0">
                <a:solidFill>
                  <a:srgbClr val="81BC00"/>
                </a:solidFill>
              </a:rPr>
              <a:t>Text blocks </a:t>
            </a:r>
            <a:br>
              <a:rPr lang="en-US" dirty="0">
                <a:solidFill>
                  <a:srgbClr val="575757"/>
                </a:solidFill>
              </a:rPr>
            </a:br>
            <a:r>
              <a:rPr lang="en-US" dirty="0">
                <a:solidFill>
                  <a:srgbClr val="575757"/>
                </a:solidFill>
              </a:rPr>
              <a:t>Sources leading to</a:t>
            </a:r>
          </a:p>
        </p:txBody>
      </p:sp>
      <p:sp>
        <p:nvSpPr>
          <p:cNvPr id="39" name="Text Placeholder 5"/>
          <p:cNvSpPr txBox="1">
            <a:spLocks/>
          </p:cNvSpPr>
          <p:nvPr>
            <p:custDataLst>
              <p:tags r:id="rId1"/>
            </p:custDataLst>
          </p:nvPr>
        </p:nvSpPr>
        <p:spPr>
          <a:xfrm>
            <a:off x="1440657" y="1372251"/>
            <a:ext cx="2703910" cy="2933589"/>
          </a:xfrm>
          <a:prstGeom prst="homePlate">
            <a:avLst>
              <a:gd name="adj" fmla="val 8173"/>
            </a:avLst>
          </a:prstGeom>
          <a:solidFill>
            <a:schemeClr val="bg1"/>
          </a:solidFill>
          <a:ln w="12700">
            <a:solidFill>
              <a:srgbClr val="B4B4B4"/>
            </a:solidFill>
          </a:ln>
        </p:spPr>
        <p:txBody>
          <a:bodyPr wrap="square" lIns="137160" tIns="102870" rIns="205740" bIns="27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defTabSz="717947">
              <a:spcBef>
                <a:spcPts val="450"/>
              </a:spcBef>
              <a:buClrTx/>
            </a:pPr>
            <a:r>
              <a:rPr lang="en-US" sz="825" dirty="0">
                <a:solidFill>
                  <a:srgbClr val="313131"/>
                </a:solidFill>
                <a:latin typeface="Arial"/>
              </a:rPr>
              <a:t>This is dummy text its not here to be read </a:t>
            </a:r>
          </a:p>
          <a:p>
            <a:pPr marL="205740" lvl="1" indent="-205740" defTabSz="717947">
              <a:spcBef>
                <a:spcPts val="450"/>
              </a:spcBef>
              <a:buClrTx/>
            </a:pPr>
            <a:r>
              <a:rPr lang="en-US" sz="825" dirty="0">
                <a:solidFill>
                  <a:srgbClr val="313131"/>
                </a:solidFill>
                <a:latin typeface="Arial"/>
              </a:rPr>
              <a:t>This is a level two bullet</a:t>
            </a:r>
          </a:p>
          <a:p>
            <a:pPr marL="404622" lvl="2" indent="-198882" defTabSz="717947">
              <a:spcBef>
                <a:spcPts val="450"/>
              </a:spcBef>
              <a:buClrTx/>
            </a:pPr>
            <a:r>
              <a:rPr lang="en-US" sz="825" dirty="0">
                <a:solidFill>
                  <a:srgbClr val="313131"/>
                </a:solidFill>
                <a:latin typeface="Arial"/>
              </a:rPr>
              <a:t>This is a level three bullet</a:t>
            </a:r>
          </a:p>
        </p:txBody>
      </p:sp>
      <p:sp>
        <p:nvSpPr>
          <p:cNvPr id="40" name="Text Placeholder 5"/>
          <p:cNvSpPr txBox="1">
            <a:spLocks/>
          </p:cNvSpPr>
          <p:nvPr/>
        </p:nvSpPr>
        <p:spPr>
          <a:xfrm flipH="1">
            <a:off x="5000625" y="1371600"/>
            <a:ext cx="2703910" cy="2933589"/>
          </a:xfrm>
          <a:prstGeom prst="homePlate">
            <a:avLst>
              <a:gd name="adj" fmla="val 8173"/>
            </a:avLst>
          </a:prstGeom>
          <a:solidFill>
            <a:schemeClr val="bg1"/>
          </a:solidFill>
          <a:ln w="12700">
            <a:solidFill>
              <a:srgbClr val="B4B4B4"/>
            </a:solidFill>
          </a:ln>
        </p:spPr>
        <p:txBody>
          <a:bodyPr wrap="square" lIns="205740" tIns="102870" rIns="205740" bIns="27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defTabSz="717947">
              <a:spcBef>
                <a:spcPts val="450"/>
              </a:spcBef>
              <a:buClrTx/>
            </a:pPr>
            <a:r>
              <a:rPr lang="en-US" sz="825" dirty="0">
                <a:solidFill>
                  <a:srgbClr val="313131"/>
                </a:solidFill>
                <a:latin typeface="Arial"/>
              </a:rPr>
              <a:t>This is dummy text its not here to be read </a:t>
            </a:r>
          </a:p>
          <a:p>
            <a:pPr marL="205740" lvl="1" indent="-205740" defTabSz="717947">
              <a:spcBef>
                <a:spcPts val="450"/>
              </a:spcBef>
              <a:buClrTx/>
            </a:pPr>
            <a:r>
              <a:rPr lang="en-US" sz="825" dirty="0">
                <a:solidFill>
                  <a:srgbClr val="313131"/>
                </a:solidFill>
                <a:latin typeface="Arial"/>
              </a:rPr>
              <a:t>This is a level two bullet </a:t>
            </a:r>
          </a:p>
          <a:p>
            <a:pPr marL="404622" lvl="2" indent="-198882" defTabSz="717947">
              <a:spcBef>
                <a:spcPts val="450"/>
              </a:spcBef>
              <a:buClrTx/>
            </a:pPr>
            <a:r>
              <a:rPr lang="en-US" sz="825" dirty="0">
                <a:solidFill>
                  <a:srgbClr val="313131"/>
                </a:solidFill>
                <a:latin typeface="Arial"/>
              </a:rPr>
              <a:t>This is a level three bullet</a:t>
            </a:r>
          </a:p>
        </p:txBody>
      </p:sp>
      <p:sp>
        <p:nvSpPr>
          <p:cNvPr id="41" name="Oval 40"/>
          <p:cNvSpPr>
            <a:spLocks noChangeArrowheads="1"/>
          </p:cNvSpPr>
          <p:nvPr>
            <p:custDataLst>
              <p:tags r:id="rId2"/>
            </p:custDataLst>
          </p:nvPr>
        </p:nvSpPr>
        <p:spPr bwMode="auto">
          <a:xfrm>
            <a:off x="3963591" y="2257895"/>
            <a:ext cx="1159669" cy="1161000"/>
          </a:xfrm>
          <a:prstGeom prst="ellipse">
            <a:avLst/>
          </a:prstGeom>
          <a:solidFill>
            <a:srgbClr val="00A1DE"/>
          </a:solidFill>
          <a:ln w="6350" algn="ctr">
            <a:solidFill>
              <a:schemeClr val="bg1"/>
            </a:solidFill>
            <a:round/>
            <a:headEnd/>
            <a:tailEnd/>
          </a:ln>
        </p:spPr>
        <p:txBody>
          <a:bodyPr lIns="27000" tIns="27000" rIns="27000" bIns="27000" anchor="ctr"/>
          <a:lstStyle/>
          <a:p>
            <a:pPr algn="ctr" defTabSz="685800">
              <a:buClrTx/>
              <a:defRPr/>
            </a:pPr>
            <a:r>
              <a:rPr lang="en-US" sz="1350" kern="1200" dirty="0">
                <a:solidFill>
                  <a:prstClr val="white"/>
                </a:solidFill>
                <a:ea typeface="ＭＳ Ｐゴシック" pitchFamily="50" charset="-128"/>
                <a:cs typeface="+mn-cs"/>
              </a:rPr>
              <a:t>Text</a:t>
            </a:r>
          </a:p>
        </p:txBody>
      </p:sp>
      <p:sp>
        <p:nvSpPr>
          <p:cNvPr id="42" name="Text Placeholder 12"/>
          <p:cNvSpPr>
            <a:spLocks/>
          </p:cNvSpPr>
          <p:nvPr>
            <p:custDataLst>
              <p:tags r:id="rId3"/>
            </p:custDataLst>
          </p:nvPr>
        </p:nvSpPr>
        <p:spPr bwMode="auto">
          <a:xfrm>
            <a:off x="1440656" y="1131570"/>
            <a:ext cx="197170"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Text</a:t>
            </a:r>
          </a:p>
        </p:txBody>
      </p:sp>
      <p:sp>
        <p:nvSpPr>
          <p:cNvPr id="43" name="Text Placeholder 12"/>
          <p:cNvSpPr>
            <a:spLocks/>
          </p:cNvSpPr>
          <p:nvPr>
            <p:custDataLst>
              <p:tags r:id="rId4"/>
            </p:custDataLst>
          </p:nvPr>
        </p:nvSpPr>
        <p:spPr bwMode="auto">
          <a:xfrm>
            <a:off x="5262562" y="1131570"/>
            <a:ext cx="197170"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Text</a:t>
            </a:r>
          </a:p>
        </p:txBody>
      </p:sp>
    </p:spTree>
    <p:extLst>
      <p:ext uri="{BB962C8B-B14F-4D97-AF65-F5344CB8AC3E}">
        <p14:creationId xmlns:p14="http://schemas.microsoft.com/office/powerpoint/2010/main" val="2698586233"/>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5185" name="Title 1"/>
          <p:cNvSpPr>
            <a:spLocks noGrp="1"/>
          </p:cNvSpPr>
          <p:nvPr>
            <p:ph type="title"/>
          </p:nvPr>
        </p:nvSpPr>
        <p:spPr/>
        <p:txBody>
          <a:bodyPr/>
          <a:lstStyle/>
          <a:p>
            <a:r>
              <a:rPr lang="en-US" dirty="0">
                <a:solidFill>
                  <a:srgbClr val="81BC00"/>
                </a:solidFill>
              </a:rPr>
              <a:t>Text blocks </a:t>
            </a:r>
            <a:br>
              <a:rPr lang="en-US" dirty="0">
                <a:solidFill>
                  <a:srgbClr val="81BC00"/>
                </a:solidFill>
              </a:rPr>
            </a:br>
            <a:r>
              <a:rPr lang="en-US" dirty="0">
                <a:solidFill>
                  <a:srgbClr val="575757"/>
                </a:solidFill>
              </a:rPr>
              <a:t>Gravitating to</a:t>
            </a:r>
          </a:p>
        </p:txBody>
      </p:sp>
      <p:sp>
        <p:nvSpPr>
          <p:cNvPr id="605187" name="Oval 2"/>
          <p:cNvSpPr>
            <a:spLocks noChangeArrowheads="1"/>
          </p:cNvSpPr>
          <p:nvPr/>
        </p:nvSpPr>
        <p:spPr bwMode="auto">
          <a:xfrm>
            <a:off x="3734991" y="2541509"/>
            <a:ext cx="1645444" cy="763190"/>
          </a:xfrm>
          <a:prstGeom prst="ellipse">
            <a:avLst/>
          </a:prstGeom>
          <a:solidFill>
            <a:schemeClr val="accent2"/>
          </a:solidFill>
          <a:ln w="12700">
            <a:solidFill>
              <a:schemeClr val="bg1"/>
            </a:solidFill>
            <a:round/>
            <a:headEnd/>
            <a:tailEnd/>
          </a:ln>
        </p:spPr>
        <p:txBody>
          <a:bodyPr lIns="27000" tIns="27000" rIns="27000" bIns="27000" anchor="ctr"/>
          <a:lstStyle/>
          <a:p>
            <a:pPr algn="ctr" defTabSz="715566">
              <a:lnSpc>
                <a:spcPct val="95000"/>
              </a:lnSpc>
              <a:buClrTx/>
            </a:pPr>
            <a:r>
              <a:rPr lang="en-US" sz="1050" kern="1200" dirty="0">
                <a:solidFill>
                  <a:prstClr val="white"/>
                </a:solidFill>
                <a:ea typeface="ＭＳ Ｐゴシック" charset="-128"/>
                <a:cs typeface="+mn-cs"/>
              </a:rPr>
              <a:t>It all comes </a:t>
            </a:r>
          </a:p>
          <a:p>
            <a:pPr algn="ctr" defTabSz="715566">
              <a:lnSpc>
                <a:spcPct val="95000"/>
              </a:lnSpc>
              <a:buClrTx/>
            </a:pPr>
            <a:r>
              <a:rPr lang="en-US" sz="1050" kern="1200" dirty="0">
                <a:solidFill>
                  <a:prstClr val="white"/>
                </a:solidFill>
                <a:ea typeface="ＭＳ Ｐゴシック" charset="-128"/>
                <a:cs typeface="+mn-cs"/>
              </a:rPr>
              <a:t>down to this</a:t>
            </a:r>
          </a:p>
        </p:txBody>
      </p:sp>
      <p:sp>
        <p:nvSpPr>
          <p:cNvPr id="5" name="Rectangle 3"/>
          <p:cNvSpPr>
            <a:spLocks noChangeArrowheads="1"/>
          </p:cNvSpPr>
          <p:nvPr/>
        </p:nvSpPr>
        <p:spPr bwMode="auto">
          <a:xfrm>
            <a:off x="3824288" y="4029790"/>
            <a:ext cx="1466850" cy="544115"/>
          </a:xfrm>
          <a:prstGeom prst="rect">
            <a:avLst/>
          </a:prstGeom>
          <a:solidFill>
            <a:srgbClr val="00A1DE"/>
          </a:solidFill>
          <a:ln w="19050">
            <a:solidFill>
              <a:schemeClr val="bg1"/>
            </a:solidFill>
            <a:miter lim="800000"/>
            <a:headEnd/>
            <a:tailEnd/>
          </a:ln>
        </p:spPr>
        <p:txBody>
          <a:bodyPr lIns="27000" tIns="27000" rIns="27000" bIns="27000" anchor="ctr"/>
          <a:lstStyle/>
          <a:p>
            <a:pPr algn="ctr" defTabSz="715566">
              <a:lnSpc>
                <a:spcPct val="95000"/>
              </a:lnSpc>
              <a:buClrTx/>
              <a:defRPr/>
            </a:pPr>
            <a:r>
              <a:rPr lang="en-US" sz="825" b="1" kern="1200">
                <a:solidFill>
                  <a:prstClr val="white"/>
                </a:solidFill>
                <a:ea typeface="ＭＳ Ｐゴシック" pitchFamily="50" charset="-128"/>
                <a:cs typeface="+mn-cs"/>
              </a:rPr>
              <a:t>Text</a:t>
            </a:r>
            <a:endParaRPr lang="en-US" sz="825" b="1" kern="1200" dirty="0">
              <a:solidFill>
                <a:prstClr val="white"/>
              </a:solidFill>
              <a:ea typeface="ＭＳ Ｐゴシック" pitchFamily="50" charset="-128"/>
              <a:cs typeface="+mn-cs"/>
            </a:endParaRPr>
          </a:p>
        </p:txBody>
      </p:sp>
      <p:sp>
        <p:nvSpPr>
          <p:cNvPr id="6" name="Rectangle 4"/>
          <p:cNvSpPr>
            <a:spLocks noChangeArrowheads="1"/>
          </p:cNvSpPr>
          <p:nvPr/>
        </p:nvSpPr>
        <p:spPr bwMode="auto">
          <a:xfrm>
            <a:off x="5857875" y="1822372"/>
            <a:ext cx="1468041" cy="544115"/>
          </a:xfrm>
          <a:prstGeom prst="rect">
            <a:avLst/>
          </a:prstGeom>
          <a:solidFill>
            <a:srgbClr val="00A1DE"/>
          </a:solidFill>
          <a:ln w="19050" algn="ctr">
            <a:solidFill>
              <a:schemeClr val="bg1"/>
            </a:solidFill>
            <a:miter lim="800000"/>
            <a:headEnd/>
            <a:tailEnd/>
          </a:ln>
        </p:spPr>
        <p:txBody>
          <a:bodyPr lIns="27000" tIns="27000" rIns="27000" bIns="27000" anchor="ctr"/>
          <a:lstStyle/>
          <a:p>
            <a:pPr algn="ctr" defTabSz="715566">
              <a:lnSpc>
                <a:spcPct val="95000"/>
              </a:lnSpc>
              <a:buClrTx/>
              <a:defRPr/>
            </a:pPr>
            <a:r>
              <a:rPr lang="en-US" sz="825" b="1" kern="1200">
                <a:solidFill>
                  <a:prstClr val="white"/>
                </a:solidFill>
                <a:ea typeface="ＭＳ Ｐゴシック" pitchFamily="50" charset="-128"/>
                <a:cs typeface="+mn-cs"/>
              </a:rPr>
              <a:t>Text</a:t>
            </a:r>
            <a:endParaRPr lang="en-US" sz="825" b="1" kern="1200" dirty="0">
              <a:solidFill>
                <a:prstClr val="white"/>
              </a:solidFill>
              <a:ea typeface="ＭＳ Ｐゴシック" pitchFamily="50" charset="-128"/>
              <a:cs typeface="+mn-cs"/>
            </a:endParaRPr>
          </a:p>
        </p:txBody>
      </p:sp>
      <p:sp>
        <p:nvSpPr>
          <p:cNvPr id="7" name="Rectangle 5"/>
          <p:cNvSpPr>
            <a:spLocks noChangeArrowheads="1"/>
          </p:cNvSpPr>
          <p:nvPr/>
        </p:nvSpPr>
        <p:spPr bwMode="auto">
          <a:xfrm>
            <a:off x="5857875" y="2651046"/>
            <a:ext cx="1468041" cy="542925"/>
          </a:xfrm>
          <a:prstGeom prst="rect">
            <a:avLst/>
          </a:prstGeom>
          <a:solidFill>
            <a:srgbClr val="00A1DE"/>
          </a:solidFill>
          <a:ln w="19050">
            <a:solidFill>
              <a:schemeClr val="bg1"/>
            </a:solidFill>
            <a:miter lim="800000"/>
            <a:headEnd/>
            <a:tailEnd/>
          </a:ln>
        </p:spPr>
        <p:txBody>
          <a:bodyPr lIns="27000" tIns="27000" rIns="27000" bIns="27000" anchor="ctr"/>
          <a:lstStyle/>
          <a:p>
            <a:pPr algn="ctr" defTabSz="715566">
              <a:lnSpc>
                <a:spcPct val="95000"/>
              </a:lnSpc>
              <a:buClrTx/>
              <a:defRPr/>
            </a:pPr>
            <a:r>
              <a:rPr lang="en-US" sz="825" b="1" kern="1200">
                <a:solidFill>
                  <a:prstClr val="white"/>
                </a:solidFill>
                <a:ea typeface="ＭＳ Ｐゴシック" pitchFamily="50" charset="-128"/>
                <a:cs typeface="+mn-cs"/>
              </a:rPr>
              <a:t>Text</a:t>
            </a:r>
            <a:endParaRPr lang="en-US" sz="825" b="1" kern="1200" dirty="0">
              <a:solidFill>
                <a:prstClr val="white"/>
              </a:solidFill>
              <a:ea typeface="ＭＳ Ｐゴシック" pitchFamily="50" charset="-128"/>
              <a:cs typeface="+mn-cs"/>
            </a:endParaRPr>
          </a:p>
        </p:txBody>
      </p:sp>
      <p:sp>
        <p:nvSpPr>
          <p:cNvPr id="8" name="Rectangle 6"/>
          <p:cNvSpPr>
            <a:spLocks noChangeArrowheads="1"/>
          </p:cNvSpPr>
          <p:nvPr/>
        </p:nvSpPr>
        <p:spPr bwMode="auto">
          <a:xfrm>
            <a:off x="1776413" y="3534490"/>
            <a:ext cx="1466850" cy="542925"/>
          </a:xfrm>
          <a:prstGeom prst="rect">
            <a:avLst/>
          </a:prstGeom>
          <a:solidFill>
            <a:srgbClr val="00A1DE"/>
          </a:solidFill>
          <a:ln w="19050">
            <a:solidFill>
              <a:schemeClr val="bg1"/>
            </a:solidFill>
            <a:miter lim="800000"/>
            <a:headEnd/>
            <a:tailEnd/>
          </a:ln>
        </p:spPr>
        <p:txBody>
          <a:bodyPr lIns="27000" tIns="27000" rIns="27000" bIns="27000" anchor="ctr"/>
          <a:lstStyle/>
          <a:p>
            <a:pPr algn="ctr" defTabSz="715566">
              <a:lnSpc>
                <a:spcPct val="95000"/>
              </a:lnSpc>
              <a:buClrTx/>
              <a:defRPr/>
            </a:pPr>
            <a:r>
              <a:rPr lang="en-US" sz="825" b="1" kern="1200">
                <a:solidFill>
                  <a:prstClr val="white"/>
                </a:solidFill>
                <a:ea typeface="ＭＳ Ｐゴシック" pitchFamily="50" charset="-128"/>
                <a:cs typeface="+mn-cs"/>
              </a:rPr>
              <a:t>Text</a:t>
            </a:r>
            <a:endParaRPr lang="en-US" sz="825" b="1" kern="1200" dirty="0">
              <a:solidFill>
                <a:prstClr val="white"/>
              </a:solidFill>
              <a:ea typeface="ＭＳ Ｐゴシック" pitchFamily="50" charset="-128"/>
              <a:cs typeface="+mn-cs"/>
            </a:endParaRPr>
          </a:p>
        </p:txBody>
      </p:sp>
      <p:sp>
        <p:nvSpPr>
          <p:cNvPr id="9" name="Rectangle 7"/>
          <p:cNvSpPr>
            <a:spLocks noChangeArrowheads="1"/>
          </p:cNvSpPr>
          <p:nvPr/>
        </p:nvSpPr>
        <p:spPr bwMode="auto">
          <a:xfrm>
            <a:off x="5857875" y="3534490"/>
            <a:ext cx="1468041" cy="542925"/>
          </a:xfrm>
          <a:prstGeom prst="rect">
            <a:avLst/>
          </a:prstGeom>
          <a:solidFill>
            <a:srgbClr val="00A1DE"/>
          </a:solidFill>
          <a:ln w="19050">
            <a:solidFill>
              <a:schemeClr val="bg1"/>
            </a:solidFill>
            <a:miter lim="800000"/>
            <a:headEnd/>
            <a:tailEnd/>
          </a:ln>
        </p:spPr>
        <p:txBody>
          <a:bodyPr lIns="27000" tIns="27000" rIns="27000" bIns="27000" anchor="ctr"/>
          <a:lstStyle/>
          <a:p>
            <a:pPr algn="ctr" defTabSz="715566">
              <a:lnSpc>
                <a:spcPct val="95000"/>
              </a:lnSpc>
              <a:buClrTx/>
              <a:defRPr/>
            </a:pPr>
            <a:r>
              <a:rPr lang="en-US" sz="825" b="1" kern="1200">
                <a:solidFill>
                  <a:prstClr val="white"/>
                </a:solidFill>
                <a:ea typeface="ＭＳ Ｐゴシック" pitchFamily="50" charset="-128"/>
                <a:cs typeface="+mn-cs"/>
              </a:rPr>
              <a:t>Text</a:t>
            </a:r>
            <a:endParaRPr lang="en-US" sz="825" b="1" kern="1200" dirty="0">
              <a:solidFill>
                <a:prstClr val="white"/>
              </a:solidFill>
              <a:ea typeface="ＭＳ Ｐゴシック" pitchFamily="50" charset="-128"/>
              <a:cs typeface="+mn-cs"/>
            </a:endParaRPr>
          </a:p>
        </p:txBody>
      </p:sp>
      <p:sp>
        <p:nvSpPr>
          <p:cNvPr id="10" name="Rectangle 8"/>
          <p:cNvSpPr>
            <a:spLocks noChangeArrowheads="1"/>
          </p:cNvSpPr>
          <p:nvPr/>
        </p:nvSpPr>
        <p:spPr bwMode="auto">
          <a:xfrm>
            <a:off x="3824288" y="1268730"/>
            <a:ext cx="1466850" cy="544116"/>
          </a:xfrm>
          <a:prstGeom prst="rect">
            <a:avLst/>
          </a:prstGeom>
          <a:solidFill>
            <a:srgbClr val="00A1DE"/>
          </a:solidFill>
          <a:ln w="19050">
            <a:solidFill>
              <a:schemeClr val="bg1"/>
            </a:solidFill>
            <a:miter lim="800000"/>
            <a:headEnd/>
            <a:tailEnd/>
          </a:ln>
        </p:spPr>
        <p:txBody>
          <a:bodyPr lIns="27000" tIns="27000" rIns="27000" bIns="27000" anchor="ctr"/>
          <a:lstStyle/>
          <a:p>
            <a:pPr algn="ctr" defTabSz="715566">
              <a:lnSpc>
                <a:spcPct val="95000"/>
              </a:lnSpc>
              <a:buClrTx/>
              <a:defRPr/>
            </a:pPr>
            <a:r>
              <a:rPr lang="en-US" sz="825" b="1" kern="1200">
                <a:solidFill>
                  <a:prstClr val="white"/>
                </a:solidFill>
                <a:ea typeface="ＭＳ Ｐゴシック" pitchFamily="50" charset="-128"/>
                <a:cs typeface="+mn-cs"/>
              </a:rPr>
              <a:t>Text</a:t>
            </a:r>
            <a:endParaRPr lang="en-US" sz="825" b="1" kern="1200" dirty="0">
              <a:solidFill>
                <a:prstClr val="white"/>
              </a:solidFill>
              <a:ea typeface="ＭＳ Ｐゴシック" pitchFamily="50" charset="-128"/>
              <a:cs typeface="+mn-cs"/>
            </a:endParaRPr>
          </a:p>
        </p:txBody>
      </p:sp>
      <p:sp>
        <p:nvSpPr>
          <p:cNvPr id="11" name="Rectangle 9"/>
          <p:cNvSpPr>
            <a:spLocks noChangeArrowheads="1"/>
          </p:cNvSpPr>
          <p:nvPr/>
        </p:nvSpPr>
        <p:spPr bwMode="auto">
          <a:xfrm>
            <a:off x="1776413" y="2651046"/>
            <a:ext cx="1466850" cy="542925"/>
          </a:xfrm>
          <a:prstGeom prst="rect">
            <a:avLst/>
          </a:prstGeom>
          <a:solidFill>
            <a:srgbClr val="00A1DE"/>
          </a:solidFill>
          <a:ln w="19050">
            <a:solidFill>
              <a:schemeClr val="bg1"/>
            </a:solidFill>
            <a:miter lim="800000"/>
            <a:headEnd/>
            <a:tailEnd/>
          </a:ln>
        </p:spPr>
        <p:txBody>
          <a:bodyPr lIns="27000" tIns="27000" rIns="27000" bIns="27000" anchor="ctr"/>
          <a:lstStyle/>
          <a:p>
            <a:pPr algn="ctr" defTabSz="715566">
              <a:lnSpc>
                <a:spcPct val="95000"/>
              </a:lnSpc>
              <a:buClrTx/>
              <a:defRPr/>
            </a:pPr>
            <a:r>
              <a:rPr lang="en-US" sz="825" b="1" kern="1200">
                <a:solidFill>
                  <a:prstClr val="white"/>
                </a:solidFill>
                <a:ea typeface="ＭＳ Ｐゴシック" pitchFamily="50" charset="-128"/>
                <a:cs typeface="+mn-cs"/>
              </a:rPr>
              <a:t>Text</a:t>
            </a:r>
            <a:endParaRPr lang="en-US" sz="825" b="1" kern="1200" dirty="0">
              <a:solidFill>
                <a:prstClr val="white"/>
              </a:solidFill>
              <a:ea typeface="ＭＳ Ｐゴシック" pitchFamily="50" charset="-128"/>
              <a:cs typeface="+mn-cs"/>
            </a:endParaRPr>
          </a:p>
        </p:txBody>
      </p:sp>
      <p:sp>
        <p:nvSpPr>
          <p:cNvPr id="12" name="Rectangle 10"/>
          <p:cNvSpPr>
            <a:spLocks noChangeArrowheads="1"/>
          </p:cNvSpPr>
          <p:nvPr/>
        </p:nvSpPr>
        <p:spPr bwMode="auto">
          <a:xfrm>
            <a:off x="1776413" y="1822372"/>
            <a:ext cx="1466850" cy="544115"/>
          </a:xfrm>
          <a:prstGeom prst="rect">
            <a:avLst/>
          </a:prstGeom>
          <a:solidFill>
            <a:srgbClr val="00A1DE"/>
          </a:solidFill>
          <a:ln w="19050">
            <a:solidFill>
              <a:schemeClr val="bg1"/>
            </a:solidFill>
            <a:miter lim="800000"/>
            <a:headEnd/>
            <a:tailEnd/>
          </a:ln>
        </p:spPr>
        <p:txBody>
          <a:bodyPr lIns="27000" tIns="27000" rIns="27000" bIns="27000" anchor="ctr"/>
          <a:lstStyle/>
          <a:p>
            <a:pPr algn="ctr" defTabSz="715566">
              <a:lnSpc>
                <a:spcPct val="95000"/>
              </a:lnSpc>
              <a:buClrTx/>
              <a:defRPr/>
            </a:pPr>
            <a:r>
              <a:rPr lang="en-US" sz="825" b="1" kern="1200" dirty="0">
                <a:solidFill>
                  <a:prstClr val="white"/>
                </a:solidFill>
                <a:ea typeface="ＭＳ Ｐゴシック" pitchFamily="50" charset="-128"/>
                <a:cs typeface="+mn-cs"/>
              </a:rPr>
              <a:t>Text</a:t>
            </a:r>
          </a:p>
        </p:txBody>
      </p:sp>
      <p:cxnSp>
        <p:nvCxnSpPr>
          <p:cNvPr id="13" name="AutoShape 11"/>
          <p:cNvCxnSpPr>
            <a:cxnSpLocks noChangeShapeType="1"/>
            <a:stCxn id="12" idx="3"/>
            <a:endCxn id="605187" idx="1"/>
          </p:cNvCxnSpPr>
          <p:nvPr/>
        </p:nvCxnSpPr>
        <p:spPr bwMode="auto">
          <a:xfrm>
            <a:off x="3243263" y="2095024"/>
            <a:ext cx="732235" cy="558404"/>
          </a:xfrm>
          <a:prstGeom prst="curvedConnector2">
            <a:avLst/>
          </a:prstGeom>
          <a:noFill/>
          <a:ln w="19050">
            <a:solidFill>
              <a:srgbClr val="B4B4B4"/>
            </a:solidFill>
            <a:round/>
            <a:headEnd/>
            <a:tailEnd type="triangle" w="med" len="med"/>
          </a:ln>
        </p:spPr>
      </p:cxnSp>
      <p:cxnSp>
        <p:nvCxnSpPr>
          <p:cNvPr id="14" name="AutoShape 12"/>
          <p:cNvCxnSpPr>
            <a:cxnSpLocks noChangeShapeType="1"/>
            <a:stCxn id="8" idx="3"/>
            <a:endCxn id="605187" idx="3"/>
          </p:cNvCxnSpPr>
          <p:nvPr/>
        </p:nvCxnSpPr>
        <p:spPr bwMode="auto">
          <a:xfrm flipV="1">
            <a:off x="3243263" y="3192781"/>
            <a:ext cx="732235" cy="613172"/>
          </a:xfrm>
          <a:prstGeom prst="curvedConnector2">
            <a:avLst/>
          </a:prstGeom>
          <a:noFill/>
          <a:ln w="19050">
            <a:solidFill>
              <a:srgbClr val="B4B4B4"/>
            </a:solidFill>
            <a:round/>
            <a:headEnd/>
            <a:tailEnd type="triangle" w="med" len="med"/>
          </a:ln>
        </p:spPr>
      </p:cxnSp>
      <p:cxnSp>
        <p:nvCxnSpPr>
          <p:cNvPr id="15" name="AutoShape 13"/>
          <p:cNvCxnSpPr>
            <a:cxnSpLocks noChangeShapeType="1"/>
            <a:stCxn id="9" idx="1"/>
            <a:endCxn id="605187" idx="5"/>
          </p:cNvCxnSpPr>
          <p:nvPr/>
        </p:nvCxnSpPr>
        <p:spPr bwMode="auto">
          <a:xfrm rot="10800000">
            <a:off x="5139928" y="3192781"/>
            <a:ext cx="717947" cy="613172"/>
          </a:xfrm>
          <a:prstGeom prst="curvedConnector2">
            <a:avLst/>
          </a:prstGeom>
          <a:noFill/>
          <a:ln w="19050">
            <a:solidFill>
              <a:srgbClr val="B4B4B4"/>
            </a:solidFill>
            <a:round/>
            <a:headEnd/>
            <a:tailEnd type="triangle" w="med" len="med"/>
          </a:ln>
        </p:spPr>
      </p:cxnSp>
      <p:cxnSp>
        <p:nvCxnSpPr>
          <p:cNvPr id="16" name="AutoShape 14"/>
          <p:cNvCxnSpPr>
            <a:cxnSpLocks noChangeShapeType="1"/>
            <a:stCxn id="6" idx="1"/>
            <a:endCxn id="605187" idx="7"/>
          </p:cNvCxnSpPr>
          <p:nvPr/>
        </p:nvCxnSpPr>
        <p:spPr bwMode="auto">
          <a:xfrm rot="10800000" flipV="1">
            <a:off x="5139928" y="2095024"/>
            <a:ext cx="717947" cy="558404"/>
          </a:xfrm>
          <a:prstGeom prst="curvedConnector2">
            <a:avLst/>
          </a:prstGeom>
          <a:noFill/>
          <a:ln w="19050">
            <a:solidFill>
              <a:srgbClr val="B4B4B4"/>
            </a:solidFill>
            <a:round/>
            <a:headEnd/>
            <a:tailEnd type="triangle" w="med" len="med"/>
          </a:ln>
        </p:spPr>
      </p:cxnSp>
      <p:cxnSp>
        <p:nvCxnSpPr>
          <p:cNvPr id="17" name="AutoShape 15"/>
          <p:cNvCxnSpPr>
            <a:cxnSpLocks noChangeShapeType="1"/>
            <a:stCxn id="10" idx="2"/>
            <a:endCxn id="605187" idx="0"/>
          </p:cNvCxnSpPr>
          <p:nvPr/>
        </p:nvCxnSpPr>
        <p:spPr bwMode="auto">
          <a:xfrm>
            <a:off x="4557713" y="1812846"/>
            <a:ext cx="0" cy="728663"/>
          </a:xfrm>
          <a:prstGeom prst="straightConnector1">
            <a:avLst/>
          </a:prstGeom>
          <a:noFill/>
          <a:ln w="19050">
            <a:solidFill>
              <a:srgbClr val="B4B4B4"/>
            </a:solidFill>
            <a:round/>
            <a:headEnd/>
            <a:tailEnd type="triangle" w="med" len="med"/>
          </a:ln>
        </p:spPr>
      </p:cxnSp>
      <p:cxnSp>
        <p:nvCxnSpPr>
          <p:cNvPr id="18" name="AutoShape 16"/>
          <p:cNvCxnSpPr>
            <a:cxnSpLocks noChangeShapeType="1"/>
            <a:stCxn id="5" idx="0"/>
            <a:endCxn id="605187" idx="4"/>
          </p:cNvCxnSpPr>
          <p:nvPr/>
        </p:nvCxnSpPr>
        <p:spPr bwMode="auto">
          <a:xfrm flipV="1">
            <a:off x="4557713" y="3304699"/>
            <a:ext cx="0" cy="725091"/>
          </a:xfrm>
          <a:prstGeom prst="straightConnector1">
            <a:avLst/>
          </a:prstGeom>
          <a:noFill/>
          <a:ln w="19050">
            <a:solidFill>
              <a:srgbClr val="B4B4B4"/>
            </a:solidFill>
            <a:round/>
            <a:headEnd/>
            <a:tailEnd type="triangle" w="med" len="med"/>
          </a:ln>
        </p:spPr>
      </p:cxnSp>
      <p:cxnSp>
        <p:nvCxnSpPr>
          <p:cNvPr id="19" name="AutoShape 17"/>
          <p:cNvCxnSpPr>
            <a:cxnSpLocks noChangeShapeType="1"/>
            <a:stCxn id="11" idx="3"/>
            <a:endCxn id="605187" idx="2"/>
          </p:cNvCxnSpPr>
          <p:nvPr/>
        </p:nvCxnSpPr>
        <p:spPr bwMode="auto">
          <a:xfrm>
            <a:off x="3243262" y="2922509"/>
            <a:ext cx="491729" cy="1190"/>
          </a:xfrm>
          <a:prstGeom prst="straightConnector1">
            <a:avLst/>
          </a:prstGeom>
          <a:noFill/>
          <a:ln w="19050">
            <a:solidFill>
              <a:srgbClr val="B4B4B4"/>
            </a:solidFill>
            <a:round/>
            <a:headEnd/>
            <a:tailEnd type="triangle" w="med" len="med"/>
          </a:ln>
        </p:spPr>
      </p:cxnSp>
      <p:cxnSp>
        <p:nvCxnSpPr>
          <p:cNvPr id="20" name="AutoShape 18"/>
          <p:cNvCxnSpPr>
            <a:cxnSpLocks noChangeShapeType="1"/>
            <a:stCxn id="7" idx="1"/>
            <a:endCxn id="605187" idx="6"/>
          </p:cNvCxnSpPr>
          <p:nvPr/>
        </p:nvCxnSpPr>
        <p:spPr bwMode="auto">
          <a:xfrm flipH="1">
            <a:off x="5380435" y="2922509"/>
            <a:ext cx="477440" cy="1190"/>
          </a:xfrm>
          <a:prstGeom prst="straightConnector1">
            <a:avLst/>
          </a:prstGeom>
          <a:noFill/>
          <a:ln w="19050">
            <a:solidFill>
              <a:srgbClr val="B4B4B4"/>
            </a:solidFill>
            <a:round/>
            <a:headEnd/>
            <a:tailEnd type="triangle" w="med" len="med"/>
          </a:ln>
        </p:spPr>
      </p:cxnSp>
    </p:spTree>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6209" name="Title 1"/>
          <p:cNvSpPr>
            <a:spLocks noGrp="1"/>
          </p:cNvSpPr>
          <p:nvPr>
            <p:ph type="title"/>
          </p:nvPr>
        </p:nvSpPr>
        <p:spPr/>
        <p:txBody>
          <a:bodyPr/>
          <a:lstStyle/>
          <a:p>
            <a:r>
              <a:rPr lang="en-US" dirty="0">
                <a:solidFill>
                  <a:srgbClr val="81BC00"/>
                </a:solidFill>
              </a:rPr>
              <a:t>Quotes</a:t>
            </a:r>
            <a:br>
              <a:rPr lang="en-US" dirty="0">
                <a:solidFill>
                  <a:srgbClr val="81BC00"/>
                </a:solidFill>
              </a:rPr>
            </a:br>
            <a:r>
              <a:rPr lang="en-US" dirty="0">
                <a:solidFill>
                  <a:srgbClr val="575757"/>
                </a:solidFill>
              </a:rPr>
              <a:t>Subtitle runs here</a:t>
            </a:r>
          </a:p>
        </p:txBody>
      </p:sp>
      <p:sp>
        <p:nvSpPr>
          <p:cNvPr id="19" name="Rectangular Callout 18"/>
          <p:cNvSpPr/>
          <p:nvPr/>
        </p:nvSpPr>
        <p:spPr>
          <a:xfrm>
            <a:off x="1423988" y="1371600"/>
            <a:ext cx="2665806" cy="1393041"/>
          </a:xfrm>
          <a:prstGeom prst="wedgeRectCallout">
            <a:avLst>
              <a:gd name="adj1" fmla="val 70017"/>
              <a:gd name="adj2" fmla="val 33167"/>
            </a:avLst>
          </a:prstGeom>
          <a:solidFill>
            <a:sysClr val="window" lastClr="FFFFFF">
              <a:lumMod val="65000"/>
            </a:sysClr>
          </a:solidFill>
          <a:ln w="25400" cap="flat" cmpd="sng" algn="ctr">
            <a:noFill/>
            <a:prstDash val="solid"/>
          </a:ln>
          <a:effectLst/>
        </p:spPr>
        <p:txBody>
          <a:bodyPr lIns="135000" tIns="108000" rIns="135000" rtlCol="0" anchor="t" anchorCtr="0"/>
          <a:lstStyle/>
          <a:p>
            <a:pPr defTabSz="685800">
              <a:buClrTx/>
              <a:defRPr/>
            </a:pPr>
            <a:r>
              <a:rPr lang="en-GB" sz="1350" dirty="0">
                <a:solidFill>
                  <a:sysClr val="window" lastClr="FFFFFF"/>
                </a:solidFill>
                <a:ea typeface="+mn-ea"/>
                <a:cs typeface="+mn-cs"/>
              </a:rPr>
              <a:t>This is dummy text it is not here to be read it is here to show how this document will look when populated with real text. </a:t>
            </a:r>
          </a:p>
        </p:txBody>
      </p:sp>
      <p:sp>
        <p:nvSpPr>
          <p:cNvPr id="20" name="Rectangular Callout 19"/>
          <p:cNvSpPr/>
          <p:nvPr/>
        </p:nvSpPr>
        <p:spPr>
          <a:xfrm>
            <a:off x="2911067" y="2967514"/>
            <a:ext cx="2250297" cy="1393041"/>
          </a:xfrm>
          <a:prstGeom prst="wedgeRectCallout">
            <a:avLst>
              <a:gd name="adj1" fmla="val 33700"/>
              <a:gd name="adj2" fmla="val 72962"/>
            </a:avLst>
          </a:prstGeom>
          <a:solidFill>
            <a:sysClr val="windowText" lastClr="000000">
              <a:lumMod val="50000"/>
              <a:lumOff val="50000"/>
            </a:sysClr>
          </a:solidFill>
          <a:ln w="25400" cap="flat" cmpd="sng" algn="ctr">
            <a:noFill/>
            <a:prstDash val="solid"/>
          </a:ln>
          <a:effectLst/>
        </p:spPr>
        <p:txBody>
          <a:bodyPr lIns="135000" tIns="108000" rIns="135000" rtlCol="0" anchor="t" anchorCtr="0"/>
          <a:lstStyle/>
          <a:p>
            <a:pPr defTabSz="685800">
              <a:buClrTx/>
              <a:defRPr/>
            </a:pPr>
            <a:r>
              <a:rPr lang="en-GB" sz="1350" dirty="0">
                <a:solidFill>
                  <a:sysClr val="window" lastClr="FFFFFF"/>
                </a:solidFill>
                <a:ea typeface="+mn-ea"/>
                <a:cs typeface="+mn-cs"/>
              </a:rPr>
              <a:t>This is dummy text it is not here to be read it is here to show how this document will look when populated with real text. </a:t>
            </a:r>
          </a:p>
          <a:p>
            <a:pPr defTabSz="685800">
              <a:buClrTx/>
              <a:defRPr/>
            </a:pPr>
            <a:endParaRPr lang="en-GB" sz="1350" dirty="0">
              <a:solidFill>
                <a:sysClr val="window" lastClr="FFFFFF"/>
              </a:solidFill>
              <a:ea typeface="+mn-ea"/>
              <a:cs typeface="+mn-cs"/>
            </a:endParaRPr>
          </a:p>
        </p:txBody>
      </p:sp>
      <p:sp>
        <p:nvSpPr>
          <p:cNvPr id="21" name="Rectangular Callout 20"/>
          <p:cNvSpPr/>
          <p:nvPr/>
        </p:nvSpPr>
        <p:spPr>
          <a:xfrm>
            <a:off x="5423983" y="1371600"/>
            <a:ext cx="2298410" cy="2531760"/>
          </a:xfrm>
          <a:prstGeom prst="wedgeRectCallout">
            <a:avLst>
              <a:gd name="adj1" fmla="val -32690"/>
              <a:gd name="adj2" fmla="val 62127"/>
            </a:avLst>
          </a:prstGeom>
          <a:solidFill>
            <a:srgbClr val="00A1DE"/>
          </a:solidFill>
          <a:ln w="25400" cap="flat" cmpd="sng" algn="ctr">
            <a:noFill/>
            <a:prstDash val="solid"/>
          </a:ln>
          <a:effectLst/>
        </p:spPr>
        <p:txBody>
          <a:bodyPr lIns="135000" tIns="108000" rIns="135000" rtlCol="0" anchor="t" anchorCtr="0"/>
          <a:lstStyle/>
          <a:p>
            <a:pPr defTabSz="685800">
              <a:buClrTx/>
              <a:defRPr/>
            </a:pPr>
            <a:r>
              <a:rPr lang="en-GB" sz="1350" dirty="0">
                <a:solidFill>
                  <a:sysClr val="window" lastClr="FFFFFF"/>
                </a:solidFill>
                <a:ea typeface="+mn-ea"/>
                <a:cs typeface="+mn-cs"/>
              </a:rPr>
              <a:t>This is dummy text it is not here to be read it is here to show how this document will look when populated with real text. </a:t>
            </a:r>
          </a:p>
          <a:p>
            <a:pPr defTabSz="685800">
              <a:buClrTx/>
              <a:defRPr/>
            </a:pPr>
            <a:endParaRPr lang="en-GB" sz="1350" dirty="0">
              <a:solidFill>
                <a:sysClr val="window" lastClr="FFFFFF"/>
              </a:solidFill>
              <a:ea typeface="+mn-ea"/>
              <a:cs typeface="+mn-cs"/>
            </a:endParaRPr>
          </a:p>
          <a:p>
            <a:pPr defTabSz="685800">
              <a:buClrTx/>
              <a:defRPr/>
            </a:pPr>
            <a:r>
              <a:rPr lang="en-GB" sz="1350" dirty="0">
                <a:solidFill>
                  <a:sysClr val="window" lastClr="FFFFFF"/>
                </a:solidFill>
                <a:ea typeface="+mn-ea"/>
                <a:cs typeface="+mn-cs"/>
              </a:rPr>
              <a:t>This is dummy text it is not here to be read it is here to show how this document will look when populated with real text. </a:t>
            </a:r>
          </a:p>
          <a:p>
            <a:pPr defTabSz="685800">
              <a:buClrTx/>
              <a:defRPr/>
            </a:pPr>
            <a:endParaRPr lang="en-GB" sz="1350" dirty="0">
              <a:solidFill>
                <a:sysClr val="window" lastClr="FFFFFF"/>
              </a:solidFill>
              <a:ea typeface="+mn-ea"/>
              <a:cs typeface="+mn-cs"/>
            </a:endParaRPr>
          </a:p>
          <a:p>
            <a:pPr defTabSz="685800">
              <a:buClrTx/>
              <a:defRPr/>
            </a:pPr>
            <a:endParaRPr lang="en-GB" sz="1350" dirty="0">
              <a:solidFill>
                <a:sysClr val="window" lastClr="FFFFFF"/>
              </a:solidFill>
              <a:ea typeface="+mn-ea"/>
              <a:cs typeface="+mn-cs"/>
            </a:endParaRPr>
          </a:p>
        </p:txBody>
      </p:sp>
      <p:sp>
        <p:nvSpPr>
          <p:cNvPr id="8" name="Text Placeholder 12"/>
          <p:cNvSpPr>
            <a:spLocks/>
          </p:cNvSpPr>
          <p:nvPr>
            <p:custDataLst>
              <p:tags r:id="rId1"/>
            </p:custDataLst>
          </p:nvPr>
        </p:nvSpPr>
        <p:spPr bwMode="auto">
          <a:xfrm>
            <a:off x="1440656" y="1131570"/>
            <a:ext cx="197170"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Text</a:t>
            </a:r>
          </a:p>
        </p:txBody>
      </p:sp>
    </p:spTree>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6209" name="Title 1"/>
          <p:cNvSpPr>
            <a:spLocks noGrp="1"/>
          </p:cNvSpPr>
          <p:nvPr>
            <p:ph type="title"/>
          </p:nvPr>
        </p:nvSpPr>
        <p:spPr/>
        <p:txBody>
          <a:bodyPr/>
          <a:lstStyle/>
          <a:p>
            <a:r>
              <a:rPr lang="en-US" dirty="0">
                <a:solidFill>
                  <a:srgbClr val="81BC00"/>
                </a:solidFill>
              </a:rPr>
              <a:t>Quotes</a:t>
            </a:r>
            <a:br>
              <a:rPr lang="en-US" dirty="0">
                <a:solidFill>
                  <a:srgbClr val="81BC00"/>
                </a:solidFill>
              </a:rPr>
            </a:br>
            <a:r>
              <a:rPr lang="en-US" dirty="0">
                <a:solidFill>
                  <a:srgbClr val="575757"/>
                </a:solidFill>
              </a:rPr>
              <a:t>Subtitle runs here</a:t>
            </a:r>
          </a:p>
        </p:txBody>
      </p:sp>
      <p:sp>
        <p:nvSpPr>
          <p:cNvPr id="8" name="AutoShape 3"/>
          <p:cNvSpPr>
            <a:spLocks noChangeArrowheads="1"/>
          </p:cNvSpPr>
          <p:nvPr/>
        </p:nvSpPr>
        <p:spPr bwMode="auto">
          <a:xfrm>
            <a:off x="1477566" y="1371600"/>
            <a:ext cx="1114425" cy="694135"/>
          </a:xfrm>
          <a:prstGeom prst="wedgeRoundRectCallout">
            <a:avLst>
              <a:gd name="adj1" fmla="val -40102"/>
              <a:gd name="adj2" fmla="val 66667"/>
              <a:gd name="adj3" fmla="val 16667"/>
            </a:avLst>
          </a:prstGeom>
          <a:solidFill>
            <a:srgbClr val="00A1DE"/>
          </a:solidFill>
          <a:ln w="12700">
            <a:solidFill>
              <a:schemeClr val="bg1"/>
            </a:solidFill>
            <a:miter lim="800000"/>
            <a:headEnd/>
            <a:tailEnd/>
          </a:ln>
        </p:spPr>
        <p:txBody>
          <a:bodyPr wrap="square" lIns="27000" tIns="27000" rIns="27000" bIns="27000" anchor="ctr" anchorCtr="1"/>
          <a:lstStyle/>
          <a:p>
            <a:pPr defTabSz="685800">
              <a:buClrTx/>
              <a:defRPr/>
            </a:pPr>
            <a:r>
              <a:rPr lang="en-US" sz="1350" b="1" kern="1200" dirty="0">
                <a:solidFill>
                  <a:prstClr val="white"/>
                </a:solidFill>
                <a:ea typeface="ＭＳ Ｐゴシック" pitchFamily="50" charset="-128"/>
                <a:cs typeface="+mn-cs"/>
              </a:rPr>
              <a:t>Text</a:t>
            </a:r>
          </a:p>
        </p:txBody>
      </p:sp>
      <p:sp>
        <p:nvSpPr>
          <p:cNvPr id="9" name="AutoShape 4"/>
          <p:cNvSpPr>
            <a:spLocks noChangeArrowheads="1"/>
          </p:cNvSpPr>
          <p:nvPr/>
        </p:nvSpPr>
        <p:spPr bwMode="auto">
          <a:xfrm>
            <a:off x="4485085" y="1485900"/>
            <a:ext cx="1418034" cy="676275"/>
          </a:xfrm>
          <a:prstGeom prst="wedgeRoundRectCallout">
            <a:avLst>
              <a:gd name="adj1" fmla="val -40102"/>
              <a:gd name="adj2" fmla="val 66667"/>
              <a:gd name="adj3" fmla="val 16667"/>
            </a:avLst>
          </a:prstGeom>
          <a:solidFill>
            <a:srgbClr val="00A1DE"/>
          </a:solidFill>
          <a:ln w="12700">
            <a:solidFill>
              <a:schemeClr val="bg1"/>
            </a:solidFill>
            <a:miter lim="800000"/>
            <a:headEnd/>
            <a:tailEnd/>
          </a:ln>
        </p:spPr>
        <p:txBody>
          <a:bodyPr wrap="square" lIns="27000" tIns="27000" rIns="27000" bIns="27000" anchor="ctr" anchorCtr="1"/>
          <a:lstStyle/>
          <a:p>
            <a:pPr defTabSz="685800">
              <a:buClrTx/>
              <a:defRPr/>
            </a:pPr>
            <a:r>
              <a:rPr lang="en-US" sz="1350" b="1" kern="1200" dirty="0">
                <a:solidFill>
                  <a:prstClr val="white"/>
                </a:solidFill>
                <a:ea typeface="ＭＳ Ｐゴシック" pitchFamily="50" charset="-128"/>
                <a:cs typeface="+mn-cs"/>
              </a:rPr>
              <a:t>Text</a:t>
            </a:r>
          </a:p>
        </p:txBody>
      </p:sp>
      <p:sp>
        <p:nvSpPr>
          <p:cNvPr id="10" name="AutoShape 5"/>
          <p:cNvSpPr>
            <a:spLocks noChangeArrowheads="1"/>
          </p:cNvSpPr>
          <p:nvPr/>
        </p:nvSpPr>
        <p:spPr bwMode="auto">
          <a:xfrm>
            <a:off x="2988469" y="1535907"/>
            <a:ext cx="1114425" cy="427435"/>
          </a:xfrm>
          <a:prstGeom prst="wedgeRoundRectCallout">
            <a:avLst>
              <a:gd name="adj1" fmla="val -40102"/>
              <a:gd name="adj2" fmla="val 66667"/>
              <a:gd name="adj3" fmla="val 16667"/>
            </a:avLst>
          </a:prstGeom>
          <a:solidFill>
            <a:srgbClr val="00A1DE"/>
          </a:solidFill>
          <a:ln w="12700">
            <a:solidFill>
              <a:schemeClr val="bg1"/>
            </a:solidFill>
            <a:miter lim="800000"/>
            <a:headEnd/>
            <a:tailEnd/>
          </a:ln>
        </p:spPr>
        <p:txBody>
          <a:bodyPr wrap="square" lIns="27000" tIns="27000" rIns="27000" bIns="27000" anchor="ctr" anchorCtr="1"/>
          <a:lstStyle/>
          <a:p>
            <a:pPr defTabSz="685800">
              <a:buClrTx/>
              <a:defRPr/>
            </a:pPr>
            <a:r>
              <a:rPr lang="en-US" sz="1350" b="1" kern="1200" dirty="0">
                <a:solidFill>
                  <a:prstClr val="white"/>
                </a:solidFill>
                <a:ea typeface="ＭＳ Ｐゴシック" pitchFamily="50" charset="-128"/>
                <a:cs typeface="+mn-cs"/>
              </a:rPr>
              <a:t>Text</a:t>
            </a:r>
          </a:p>
        </p:txBody>
      </p:sp>
      <p:sp>
        <p:nvSpPr>
          <p:cNvPr id="11" name="AutoShape 6"/>
          <p:cNvSpPr>
            <a:spLocks noChangeArrowheads="1"/>
          </p:cNvSpPr>
          <p:nvPr/>
        </p:nvSpPr>
        <p:spPr bwMode="auto">
          <a:xfrm>
            <a:off x="2547938" y="2321719"/>
            <a:ext cx="1654969" cy="902494"/>
          </a:xfrm>
          <a:prstGeom prst="wedgeRoundRectCallout">
            <a:avLst>
              <a:gd name="adj1" fmla="val -40102"/>
              <a:gd name="adj2" fmla="val 66667"/>
              <a:gd name="adj3" fmla="val 16667"/>
            </a:avLst>
          </a:prstGeom>
          <a:solidFill>
            <a:srgbClr val="00A1DE"/>
          </a:solidFill>
          <a:ln w="12700">
            <a:solidFill>
              <a:schemeClr val="bg1"/>
            </a:solidFill>
            <a:miter lim="800000"/>
            <a:headEnd/>
            <a:tailEnd/>
          </a:ln>
        </p:spPr>
        <p:txBody>
          <a:bodyPr wrap="square" lIns="27000" tIns="27000" rIns="27000" bIns="27000" anchor="ctr" anchorCtr="1"/>
          <a:lstStyle/>
          <a:p>
            <a:pPr defTabSz="685800">
              <a:buClrTx/>
              <a:defRPr/>
            </a:pPr>
            <a:r>
              <a:rPr lang="en-US" sz="1350" b="1" kern="1200" dirty="0">
                <a:solidFill>
                  <a:prstClr val="white"/>
                </a:solidFill>
                <a:ea typeface="ＭＳ Ｐゴシック" pitchFamily="50" charset="-128"/>
                <a:cs typeface="+mn-cs"/>
              </a:rPr>
              <a:t>Text</a:t>
            </a:r>
          </a:p>
        </p:txBody>
      </p:sp>
      <p:sp>
        <p:nvSpPr>
          <p:cNvPr id="12" name="AutoShape 7"/>
          <p:cNvSpPr>
            <a:spLocks noChangeArrowheads="1"/>
          </p:cNvSpPr>
          <p:nvPr/>
        </p:nvSpPr>
        <p:spPr bwMode="auto">
          <a:xfrm>
            <a:off x="4768454" y="2664619"/>
            <a:ext cx="1229915" cy="608410"/>
          </a:xfrm>
          <a:prstGeom prst="wedgeRoundRectCallout">
            <a:avLst>
              <a:gd name="adj1" fmla="val -36898"/>
              <a:gd name="adj2" fmla="val 66667"/>
              <a:gd name="adj3" fmla="val 16667"/>
            </a:avLst>
          </a:prstGeom>
          <a:solidFill>
            <a:srgbClr val="00A1DE"/>
          </a:solidFill>
          <a:ln w="12700">
            <a:solidFill>
              <a:schemeClr val="bg1"/>
            </a:solidFill>
            <a:miter lim="800000"/>
            <a:headEnd/>
            <a:tailEnd/>
          </a:ln>
        </p:spPr>
        <p:txBody>
          <a:bodyPr wrap="square" lIns="27000" tIns="27000" rIns="27000" bIns="27000" anchor="ctr" anchorCtr="1"/>
          <a:lstStyle/>
          <a:p>
            <a:pPr defTabSz="685800">
              <a:buClrTx/>
              <a:defRPr/>
            </a:pPr>
            <a:r>
              <a:rPr lang="en-US" sz="1350" b="1" kern="1200" dirty="0">
                <a:solidFill>
                  <a:prstClr val="white"/>
                </a:solidFill>
                <a:ea typeface="ＭＳ Ｐゴシック" pitchFamily="50" charset="-128"/>
                <a:cs typeface="+mn-cs"/>
              </a:rPr>
              <a:t>Text</a:t>
            </a:r>
          </a:p>
        </p:txBody>
      </p:sp>
      <p:sp>
        <p:nvSpPr>
          <p:cNvPr id="13" name="AutoShape 8"/>
          <p:cNvSpPr>
            <a:spLocks noChangeArrowheads="1"/>
          </p:cNvSpPr>
          <p:nvPr/>
        </p:nvSpPr>
        <p:spPr bwMode="auto">
          <a:xfrm>
            <a:off x="4862512" y="3607594"/>
            <a:ext cx="2577704" cy="572691"/>
          </a:xfrm>
          <a:prstGeom prst="wedgeRoundRectCallout">
            <a:avLst>
              <a:gd name="adj1" fmla="val -31741"/>
              <a:gd name="adj2" fmla="val 66667"/>
              <a:gd name="adj3" fmla="val 16667"/>
            </a:avLst>
          </a:prstGeom>
          <a:solidFill>
            <a:srgbClr val="00A1DE"/>
          </a:solidFill>
          <a:ln w="12700" algn="ctr">
            <a:solidFill>
              <a:schemeClr val="bg1"/>
            </a:solidFill>
            <a:miter lim="800000"/>
            <a:headEnd/>
            <a:tailEnd/>
          </a:ln>
        </p:spPr>
        <p:txBody>
          <a:bodyPr wrap="square" lIns="27000" tIns="27000" rIns="27000" bIns="27000" anchor="ctr" anchorCtr="1"/>
          <a:lstStyle/>
          <a:p>
            <a:pPr defTabSz="685800">
              <a:buClrTx/>
              <a:defRPr/>
            </a:pPr>
            <a:r>
              <a:rPr lang="en-US" sz="1350" b="1" kern="1200" dirty="0">
                <a:solidFill>
                  <a:prstClr val="white"/>
                </a:solidFill>
                <a:ea typeface="ＭＳ Ｐゴシック" pitchFamily="50" charset="-128"/>
                <a:cs typeface="+mn-cs"/>
              </a:rPr>
              <a:t>Text</a:t>
            </a:r>
          </a:p>
        </p:txBody>
      </p:sp>
      <p:sp>
        <p:nvSpPr>
          <p:cNvPr id="14" name="AutoShape 9"/>
          <p:cNvSpPr>
            <a:spLocks noChangeArrowheads="1"/>
          </p:cNvSpPr>
          <p:nvPr/>
        </p:nvSpPr>
        <p:spPr bwMode="auto">
          <a:xfrm>
            <a:off x="6555582" y="2990850"/>
            <a:ext cx="1113235" cy="408385"/>
          </a:xfrm>
          <a:prstGeom prst="wedgeRoundRectCallout">
            <a:avLst>
              <a:gd name="adj1" fmla="val -33986"/>
              <a:gd name="adj2" fmla="val 66667"/>
              <a:gd name="adj3" fmla="val 16667"/>
            </a:avLst>
          </a:prstGeom>
          <a:solidFill>
            <a:srgbClr val="00A1DE"/>
          </a:solidFill>
          <a:ln w="12700">
            <a:solidFill>
              <a:schemeClr val="bg1"/>
            </a:solidFill>
            <a:miter lim="800000"/>
            <a:headEnd/>
            <a:tailEnd/>
          </a:ln>
        </p:spPr>
        <p:txBody>
          <a:bodyPr wrap="square" lIns="27000" tIns="27000" rIns="27000" bIns="27000" anchor="ctr" anchorCtr="1"/>
          <a:lstStyle/>
          <a:p>
            <a:pPr defTabSz="685800">
              <a:buClrTx/>
              <a:defRPr/>
            </a:pPr>
            <a:r>
              <a:rPr lang="en-US" sz="1350" b="1" kern="1200" dirty="0">
                <a:solidFill>
                  <a:prstClr val="white"/>
                </a:solidFill>
                <a:ea typeface="ＭＳ Ｐゴシック" pitchFamily="50" charset="-128"/>
                <a:cs typeface="+mn-cs"/>
              </a:rPr>
              <a:t>Text</a:t>
            </a:r>
          </a:p>
        </p:txBody>
      </p:sp>
      <p:sp>
        <p:nvSpPr>
          <p:cNvPr id="15" name="AutoShape 10"/>
          <p:cNvSpPr>
            <a:spLocks noChangeArrowheads="1"/>
          </p:cNvSpPr>
          <p:nvPr/>
        </p:nvSpPr>
        <p:spPr bwMode="auto">
          <a:xfrm>
            <a:off x="6278167" y="1346597"/>
            <a:ext cx="1288256" cy="1233488"/>
          </a:xfrm>
          <a:prstGeom prst="wedgeRoundRectCallout">
            <a:avLst>
              <a:gd name="adj1" fmla="val -33037"/>
              <a:gd name="adj2" fmla="val 66667"/>
              <a:gd name="adj3" fmla="val 16667"/>
            </a:avLst>
          </a:prstGeom>
          <a:solidFill>
            <a:srgbClr val="00A1DE"/>
          </a:solidFill>
          <a:ln w="12700">
            <a:solidFill>
              <a:schemeClr val="bg1"/>
            </a:solidFill>
            <a:miter lim="800000"/>
            <a:headEnd/>
            <a:tailEnd/>
          </a:ln>
        </p:spPr>
        <p:txBody>
          <a:bodyPr wrap="square" lIns="27000" tIns="27000" rIns="27000" bIns="27000" anchor="ctr" anchorCtr="1"/>
          <a:lstStyle/>
          <a:p>
            <a:pPr defTabSz="685800">
              <a:buClrTx/>
              <a:defRPr/>
            </a:pPr>
            <a:r>
              <a:rPr lang="en-US" sz="1350" b="1" kern="1200" dirty="0">
                <a:solidFill>
                  <a:prstClr val="white"/>
                </a:solidFill>
                <a:ea typeface="ＭＳ Ｐゴシック" pitchFamily="50" charset="-128"/>
                <a:cs typeface="+mn-cs"/>
              </a:rPr>
              <a:t>Text</a:t>
            </a:r>
          </a:p>
        </p:txBody>
      </p:sp>
      <p:sp>
        <p:nvSpPr>
          <p:cNvPr id="16" name="AutoShape 11"/>
          <p:cNvSpPr>
            <a:spLocks noChangeArrowheads="1"/>
          </p:cNvSpPr>
          <p:nvPr/>
        </p:nvSpPr>
        <p:spPr bwMode="auto">
          <a:xfrm>
            <a:off x="3048000" y="3492104"/>
            <a:ext cx="1500188" cy="846534"/>
          </a:xfrm>
          <a:prstGeom prst="wedgeRoundRectCallout">
            <a:avLst>
              <a:gd name="adj1" fmla="val -40102"/>
              <a:gd name="adj2" fmla="val 66667"/>
              <a:gd name="adj3" fmla="val 16667"/>
            </a:avLst>
          </a:prstGeom>
          <a:solidFill>
            <a:srgbClr val="00A1DE"/>
          </a:solidFill>
          <a:ln w="12700">
            <a:solidFill>
              <a:schemeClr val="bg1"/>
            </a:solidFill>
            <a:miter lim="800000"/>
            <a:headEnd/>
            <a:tailEnd/>
          </a:ln>
        </p:spPr>
        <p:txBody>
          <a:bodyPr wrap="square" lIns="27000" tIns="27000" rIns="27000" bIns="27000" anchor="ctr" anchorCtr="1"/>
          <a:lstStyle/>
          <a:p>
            <a:pPr defTabSz="685800">
              <a:buClrTx/>
              <a:defRPr/>
            </a:pPr>
            <a:r>
              <a:rPr lang="en-US" sz="1350" b="1" kern="1200" dirty="0">
                <a:solidFill>
                  <a:prstClr val="white"/>
                </a:solidFill>
                <a:ea typeface="ＭＳ Ｐゴシック" pitchFamily="50" charset="-128"/>
                <a:cs typeface="+mn-cs"/>
              </a:rPr>
              <a:t>Text</a:t>
            </a:r>
          </a:p>
        </p:txBody>
      </p:sp>
      <p:sp>
        <p:nvSpPr>
          <p:cNvPr id="17" name="AutoShape 12"/>
          <p:cNvSpPr>
            <a:spLocks noChangeArrowheads="1"/>
          </p:cNvSpPr>
          <p:nvPr/>
        </p:nvSpPr>
        <p:spPr bwMode="auto">
          <a:xfrm>
            <a:off x="1490663" y="2733675"/>
            <a:ext cx="791766" cy="521494"/>
          </a:xfrm>
          <a:prstGeom prst="wedgeRoundRectCallout">
            <a:avLst>
              <a:gd name="adj1" fmla="val -40102"/>
              <a:gd name="adj2" fmla="val 66667"/>
              <a:gd name="adj3" fmla="val 16667"/>
            </a:avLst>
          </a:prstGeom>
          <a:solidFill>
            <a:srgbClr val="00A1DE"/>
          </a:solidFill>
          <a:ln w="12700">
            <a:solidFill>
              <a:schemeClr val="bg1"/>
            </a:solidFill>
            <a:miter lim="800000"/>
            <a:headEnd/>
            <a:tailEnd/>
          </a:ln>
        </p:spPr>
        <p:txBody>
          <a:bodyPr wrap="square" lIns="27000" tIns="27000" rIns="27000" bIns="27000" anchor="ctr" anchorCtr="1"/>
          <a:lstStyle/>
          <a:p>
            <a:pPr defTabSz="685800">
              <a:buClrTx/>
              <a:defRPr/>
            </a:pPr>
            <a:r>
              <a:rPr lang="en-US" sz="1350" b="1" kern="1200" dirty="0">
                <a:solidFill>
                  <a:prstClr val="white"/>
                </a:solidFill>
                <a:ea typeface="ＭＳ Ｐゴシック" pitchFamily="50" charset="-128"/>
                <a:cs typeface="+mn-cs"/>
              </a:rPr>
              <a:t>Text</a:t>
            </a:r>
          </a:p>
        </p:txBody>
      </p:sp>
      <p:sp>
        <p:nvSpPr>
          <p:cNvPr id="18" name="AutoShape 13"/>
          <p:cNvSpPr>
            <a:spLocks noChangeArrowheads="1"/>
          </p:cNvSpPr>
          <p:nvPr/>
        </p:nvSpPr>
        <p:spPr bwMode="auto">
          <a:xfrm>
            <a:off x="1429941" y="3687366"/>
            <a:ext cx="1114425" cy="550069"/>
          </a:xfrm>
          <a:prstGeom prst="wedgeRoundRectCallout">
            <a:avLst>
              <a:gd name="adj1" fmla="val -40102"/>
              <a:gd name="adj2" fmla="val 66667"/>
              <a:gd name="adj3" fmla="val 16667"/>
            </a:avLst>
          </a:prstGeom>
          <a:solidFill>
            <a:srgbClr val="00A1DE"/>
          </a:solidFill>
          <a:ln w="12700">
            <a:solidFill>
              <a:schemeClr val="bg1"/>
            </a:solidFill>
            <a:miter lim="800000"/>
            <a:headEnd/>
            <a:tailEnd/>
          </a:ln>
        </p:spPr>
        <p:txBody>
          <a:bodyPr wrap="square" lIns="27000" tIns="27000" rIns="27000" bIns="27000" anchor="ctr" anchorCtr="1"/>
          <a:lstStyle/>
          <a:p>
            <a:pPr defTabSz="685800">
              <a:buClrTx/>
              <a:defRPr/>
            </a:pPr>
            <a:r>
              <a:rPr lang="en-US" sz="1350" b="1" kern="1200" dirty="0">
                <a:solidFill>
                  <a:prstClr val="white"/>
                </a:solidFill>
                <a:ea typeface="ＭＳ Ｐゴシック" pitchFamily="50" charset="-128"/>
                <a:cs typeface="+mn-cs"/>
              </a:rPr>
              <a:t>Text</a:t>
            </a:r>
          </a:p>
        </p:txBody>
      </p:sp>
      <p:sp>
        <p:nvSpPr>
          <p:cNvPr id="22" name="Text Placeholder 12"/>
          <p:cNvSpPr>
            <a:spLocks/>
          </p:cNvSpPr>
          <p:nvPr>
            <p:custDataLst>
              <p:tags r:id="rId1"/>
            </p:custDataLst>
          </p:nvPr>
        </p:nvSpPr>
        <p:spPr bwMode="auto">
          <a:xfrm>
            <a:off x="1440656" y="1131570"/>
            <a:ext cx="197170"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Text</a:t>
            </a:r>
          </a:p>
        </p:txBody>
      </p:sp>
    </p:spTree>
    <p:extLst>
      <p:ext uri="{BB962C8B-B14F-4D97-AF65-F5344CB8AC3E}">
        <p14:creationId xmlns:p14="http://schemas.microsoft.com/office/powerpoint/2010/main" val="3745719201"/>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6209" name="Title 1"/>
          <p:cNvSpPr>
            <a:spLocks noGrp="1"/>
          </p:cNvSpPr>
          <p:nvPr>
            <p:ph type="title"/>
          </p:nvPr>
        </p:nvSpPr>
        <p:spPr/>
        <p:txBody>
          <a:bodyPr/>
          <a:lstStyle/>
          <a:p>
            <a:r>
              <a:rPr lang="en-US" dirty="0">
                <a:solidFill>
                  <a:srgbClr val="81BC00"/>
                </a:solidFill>
              </a:rPr>
              <a:t>Quotes</a:t>
            </a:r>
            <a:br>
              <a:rPr lang="en-US" dirty="0">
                <a:solidFill>
                  <a:srgbClr val="81BC00"/>
                </a:solidFill>
              </a:rPr>
            </a:br>
            <a:r>
              <a:rPr lang="en-US" dirty="0">
                <a:solidFill>
                  <a:srgbClr val="575757"/>
                </a:solidFill>
              </a:rPr>
              <a:t>Subtitle runs here</a:t>
            </a:r>
          </a:p>
        </p:txBody>
      </p:sp>
      <p:sp>
        <p:nvSpPr>
          <p:cNvPr id="8" name="AutoShape 3"/>
          <p:cNvSpPr>
            <a:spLocks noChangeArrowheads="1"/>
          </p:cNvSpPr>
          <p:nvPr/>
        </p:nvSpPr>
        <p:spPr bwMode="auto">
          <a:xfrm>
            <a:off x="1477566" y="1371600"/>
            <a:ext cx="1114425" cy="694135"/>
          </a:xfrm>
          <a:prstGeom prst="wedgeRoundRectCallout">
            <a:avLst>
              <a:gd name="adj1" fmla="val -40102"/>
              <a:gd name="adj2" fmla="val 66667"/>
              <a:gd name="adj3" fmla="val 16667"/>
            </a:avLst>
          </a:prstGeom>
          <a:noFill/>
          <a:ln w="12700">
            <a:solidFill>
              <a:srgbClr val="00A1DE"/>
            </a:solidFill>
            <a:miter lim="800000"/>
            <a:headEnd/>
            <a:tailEnd/>
          </a:ln>
        </p:spPr>
        <p:txBody>
          <a:bodyPr wrap="square" lIns="27000" tIns="27000" rIns="27000" bIns="27000" anchor="ctr" anchorCtr="1"/>
          <a:lstStyle/>
          <a:p>
            <a:pPr defTabSz="685800">
              <a:buClrTx/>
              <a:defRPr/>
            </a:pPr>
            <a:r>
              <a:rPr lang="en-US" sz="1350" b="1" kern="1200" dirty="0">
                <a:solidFill>
                  <a:srgbClr val="313131"/>
                </a:solidFill>
                <a:ea typeface="ＭＳ Ｐゴシック" pitchFamily="50" charset="-128"/>
                <a:cs typeface="+mn-cs"/>
              </a:rPr>
              <a:t>Text</a:t>
            </a:r>
          </a:p>
        </p:txBody>
      </p:sp>
      <p:sp>
        <p:nvSpPr>
          <p:cNvPr id="9" name="AutoShape 4"/>
          <p:cNvSpPr>
            <a:spLocks noChangeArrowheads="1"/>
          </p:cNvSpPr>
          <p:nvPr/>
        </p:nvSpPr>
        <p:spPr bwMode="auto">
          <a:xfrm>
            <a:off x="4485085" y="1485900"/>
            <a:ext cx="1418034" cy="676275"/>
          </a:xfrm>
          <a:prstGeom prst="wedgeRoundRectCallout">
            <a:avLst>
              <a:gd name="adj1" fmla="val -40102"/>
              <a:gd name="adj2" fmla="val 66667"/>
              <a:gd name="adj3" fmla="val 16667"/>
            </a:avLst>
          </a:prstGeom>
          <a:noFill/>
          <a:ln w="12700">
            <a:solidFill>
              <a:srgbClr val="00A1DE"/>
            </a:solidFill>
            <a:miter lim="800000"/>
            <a:headEnd/>
            <a:tailEnd/>
          </a:ln>
        </p:spPr>
        <p:txBody>
          <a:bodyPr wrap="square" lIns="27000" tIns="27000" rIns="27000" bIns="27000" anchor="ctr" anchorCtr="1"/>
          <a:lstStyle/>
          <a:p>
            <a:pPr defTabSz="685800">
              <a:buClrTx/>
              <a:defRPr/>
            </a:pPr>
            <a:r>
              <a:rPr lang="en-US" sz="1350" b="1" kern="1200" dirty="0">
                <a:solidFill>
                  <a:srgbClr val="313131"/>
                </a:solidFill>
                <a:ea typeface="ＭＳ Ｐゴシック" pitchFamily="50" charset="-128"/>
                <a:cs typeface="+mn-cs"/>
              </a:rPr>
              <a:t>Text</a:t>
            </a:r>
          </a:p>
        </p:txBody>
      </p:sp>
      <p:sp>
        <p:nvSpPr>
          <p:cNvPr id="10" name="AutoShape 5"/>
          <p:cNvSpPr>
            <a:spLocks noChangeArrowheads="1"/>
          </p:cNvSpPr>
          <p:nvPr/>
        </p:nvSpPr>
        <p:spPr bwMode="auto">
          <a:xfrm>
            <a:off x="2988469" y="1535907"/>
            <a:ext cx="1114425" cy="427435"/>
          </a:xfrm>
          <a:prstGeom prst="wedgeRoundRectCallout">
            <a:avLst>
              <a:gd name="adj1" fmla="val -40102"/>
              <a:gd name="adj2" fmla="val 66667"/>
              <a:gd name="adj3" fmla="val 16667"/>
            </a:avLst>
          </a:prstGeom>
          <a:noFill/>
          <a:ln w="12700">
            <a:solidFill>
              <a:srgbClr val="00A1DE"/>
            </a:solidFill>
            <a:miter lim="800000"/>
            <a:headEnd/>
            <a:tailEnd/>
          </a:ln>
        </p:spPr>
        <p:txBody>
          <a:bodyPr wrap="square" lIns="27000" tIns="27000" rIns="27000" bIns="27000" anchor="ctr" anchorCtr="1"/>
          <a:lstStyle/>
          <a:p>
            <a:pPr defTabSz="685800">
              <a:buClrTx/>
              <a:defRPr/>
            </a:pPr>
            <a:r>
              <a:rPr lang="en-US" sz="1350" b="1" kern="1200" dirty="0">
                <a:solidFill>
                  <a:srgbClr val="313131"/>
                </a:solidFill>
                <a:ea typeface="ＭＳ Ｐゴシック" pitchFamily="50" charset="-128"/>
                <a:cs typeface="+mn-cs"/>
              </a:rPr>
              <a:t>Text</a:t>
            </a:r>
          </a:p>
        </p:txBody>
      </p:sp>
      <p:sp>
        <p:nvSpPr>
          <p:cNvPr id="11" name="AutoShape 6"/>
          <p:cNvSpPr>
            <a:spLocks noChangeArrowheads="1"/>
          </p:cNvSpPr>
          <p:nvPr/>
        </p:nvSpPr>
        <p:spPr bwMode="auto">
          <a:xfrm>
            <a:off x="2547938" y="2321719"/>
            <a:ext cx="1654969" cy="902494"/>
          </a:xfrm>
          <a:prstGeom prst="wedgeRoundRectCallout">
            <a:avLst>
              <a:gd name="adj1" fmla="val -40102"/>
              <a:gd name="adj2" fmla="val 66667"/>
              <a:gd name="adj3" fmla="val 16667"/>
            </a:avLst>
          </a:prstGeom>
          <a:noFill/>
          <a:ln w="12700">
            <a:solidFill>
              <a:srgbClr val="00A1DE"/>
            </a:solidFill>
            <a:miter lim="800000"/>
            <a:headEnd/>
            <a:tailEnd/>
          </a:ln>
        </p:spPr>
        <p:txBody>
          <a:bodyPr wrap="square" lIns="27000" tIns="27000" rIns="27000" bIns="27000" anchor="ctr" anchorCtr="1"/>
          <a:lstStyle/>
          <a:p>
            <a:pPr defTabSz="685800">
              <a:buClrTx/>
              <a:defRPr/>
            </a:pPr>
            <a:r>
              <a:rPr lang="en-US" sz="1350" b="1" kern="1200" dirty="0">
                <a:solidFill>
                  <a:srgbClr val="313131"/>
                </a:solidFill>
                <a:ea typeface="ＭＳ Ｐゴシック" pitchFamily="50" charset="-128"/>
                <a:cs typeface="+mn-cs"/>
              </a:rPr>
              <a:t>Text</a:t>
            </a:r>
          </a:p>
        </p:txBody>
      </p:sp>
      <p:sp>
        <p:nvSpPr>
          <p:cNvPr id="12" name="AutoShape 7"/>
          <p:cNvSpPr>
            <a:spLocks noChangeArrowheads="1"/>
          </p:cNvSpPr>
          <p:nvPr/>
        </p:nvSpPr>
        <p:spPr bwMode="auto">
          <a:xfrm>
            <a:off x="4768454" y="2664619"/>
            <a:ext cx="1229915" cy="608410"/>
          </a:xfrm>
          <a:prstGeom prst="wedgeRoundRectCallout">
            <a:avLst>
              <a:gd name="adj1" fmla="val -36898"/>
              <a:gd name="adj2" fmla="val 66667"/>
              <a:gd name="adj3" fmla="val 16667"/>
            </a:avLst>
          </a:prstGeom>
          <a:noFill/>
          <a:ln w="12700">
            <a:solidFill>
              <a:srgbClr val="00A1DE"/>
            </a:solidFill>
            <a:miter lim="800000"/>
            <a:headEnd/>
            <a:tailEnd/>
          </a:ln>
        </p:spPr>
        <p:txBody>
          <a:bodyPr wrap="square" lIns="27000" tIns="27000" rIns="27000" bIns="27000" anchor="ctr" anchorCtr="1"/>
          <a:lstStyle/>
          <a:p>
            <a:pPr defTabSz="685800">
              <a:buClrTx/>
              <a:defRPr/>
            </a:pPr>
            <a:r>
              <a:rPr lang="en-US" sz="1350" b="1" kern="1200" dirty="0">
                <a:solidFill>
                  <a:srgbClr val="313131"/>
                </a:solidFill>
                <a:ea typeface="ＭＳ Ｐゴシック" pitchFamily="50" charset="-128"/>
                <a:cs typeface="+mn-cs"/>
              </a:rPr>
              <a:t>Text</a:t>
            </a:r>
          </a:p>
        </p:txBody>
      </p:sp>
      <p:sp>
        <p:nvSpPr>
          <p:cNvPr id="13" name="AutoShape 8"/>
          <p:cNvSpPr>
            <a:spLocks noChangeArrowheads="1"/>
          </p:cNvSpPr>
          <p:nvPr/>
        </p:nvSpPr>
        <p:spPr bwMode="auto">
          <a:xfrm>
            <a:off x="4862512" y="3607594"/>
            <a:ext cx="2577704" cy="572691"/>
          </a:xfrm>
          <a:prstGeom prst="wedgeRoundRectCallout">
            <a:avLst>
              <a:gd name="adj1" fmla="val -31741"/>
              <a:gd name="adj2" fmla="val 66667"/>
              <a:gd name="adj3" fmla="val 16667"/>
            </a:avLst>
          </a:prstGeom>
          <a:noFill/>
          <a:ln w="12700" algn="ctr">
            <a:solidFill>
              <a:srgbClr val="00A1DE"/>
            </a:solidFill>
            <a:miter lim="800000"/>
            <a:headEnd/>
            <a:tailEnd/>
          </a:ln>
        </p:spPr>
        <p:txBody>
          <a:bodyPr wrap="square" lIns="27000" tIns="27000" rIns="27000" bIns="27000" anchor="ctr" anchorCtr="1"/>
          <a:lstStyle/>
          <a:p>
            <a:pPr defTabSz="685800">
              <a:buClrTx/>
              <a:defRPr/>
            </a:pPr>
            <a:r>
              <a:rPr lang="en-US" sz="1350" b="1" kern="1200" dirty="0">
                <a:solidFill>
                  <a:srgbClr val="313131"/>
                </a:solidFill>
                <a:ea typeface="ＭＳ Ｐゴシック" pitchFamily="50" charset="-128"/>
                <a:cs typeface="+mn-cs"/>
              </a:rPr>
              <a:t>Text</a:t>
            </a:r>
          </a:p>
        </p:txBody>
      </p:sp>
      <p:sp>
        <p:nvSpPr>
          <p:cNvPr id="14" name="AutoShape 9"/>
          <p:cNvSpPr>
            <a:spLocks noChangeArrowheads="1"/>
          </p:cNvSpPr>
          <p:nvPr/>
        </p:nvSpPr>
        <p:spPr bwMode="auto">
          <a:xfrm>
            <a:off x="6555582" y="2990850"/>
            <a:ext cx="1113235" cy="408385"/>
          </a:xfrm>
          <a:prstGeom prst="wedgeRoundRectCallout">
            <a:avLst>
              <a:gd name="adj1" fmla="val -33986"/>
              <a:gd name="adj2" fmla="val 66667"/>
              <a:gd name="adj3" fmla="val 16667"/>
            </a:avLst>
          </a:prstGeom>
          <a:noFill/>
          <a:ln w="12700">
            <a:solidFill>
              <a:srgbClr val="00A1DE"/>
            </a:solidFill>
            <a:miter lim="800000"/>
            <a:headEnd/>
            <a:tailEnd/>
          </a:ln>
        </p:spPr>
        <p:txBody>
          <a:bodyPr wrap="square" lIns="27000" tIns="27000" rIns="27000" bIns="27000" anchor="ctr" anchorCtr="1"/>
          <a:lstStyle/>
          <a:p>
            <a:pPr defTabSz="685800">
              <a:buClrTx/>
              <a:defRPr/>
            </a:pPr>
            <a:r>
              <a:rPr lang="en-US" sz="1350" b="1" kern="1200" dirty="0">
                <a:solidFill>
                  <a:srgbClr val="313131"/>
                </a:solidFill>
                <a:ea typeface="ＭＳ Ｐゴシック" pitchFamily="50" charset="-128"/>
                <a:cs typeface="+mn-cs"/>
              </a:rPr>
              <a:t>Text</a:t>
            </a:r>
          </a:p>
        </p:txBody>
      </p:sp>
      <p:sp>
        <p:nvSpPr>
          <p:cNvPr id="15" name="AutoShape 10"/>
          <p:cNvSpPr>
            <a:spLocks noChangeArrowheads="1"/>
          </p:cNvSpPr>
          <p:nvPr/>
        </p:nvSpPr>
        <p:spPr bwMode="auto">
          <a:xfrm>
            <a:off x="6278167" y="1346597"/>
            <a:ext cx="1288256" cy="1233488"/>
          </a:xfrm>
          <a:prstGeom prst="wedgeRoundRectCallout">
            <a:avLst>
              <a:gd name="adj1" fmla="val -33037"/>
              <a:gd name="adj2" fmla="val 66667"/>
              <a:gd name="adj3" fmla="val 16667"/>
            </a:avLst>
          </a:prstGeom>
          <a:noFill/>
          <a:ln w="12700">
            <a:solidFill>
              <a:srgbClr val="00A1DE"/>
            </a:solidFill>
            <a:miter lim="800000"/>
            <a:headEnd/>
            <a:tailEnd/>
          </a:ln>
        </p:spPr>
        <p:txBody>
          <a:bodyPr wrap="square" lIns="27000" tIns="27000" rIns="27000" bIns="27000" anchor="ctr" anchorCtr="1"/>
          <a:lstStyle/>
          <a:p>
            <a:pPr defTabSz="685800">
              <a:buClrTx/>
              <a:defRPr/>
            </a:pPr>
            <a:r>
              <a:rPr lang="en-US" sz="1350" b="1" kern="1200" dirty="0">
                <a:solidFill>
                  <a:srgbClr val="313131"/>
                </a:solidFill>
                <a:ea typeface="ＭＳ Ｐゴシック" pitchFamily="50" charset="-128"/>
                <a:cs typeface="+mn-cs"/>
              </a:rPr>
              <a:t>Text</a:t>
            </a:r>
          </a:p>
        </p:txBody>
      </p:sp>
      <p:sp>
        <p:nvSpPr>
          <p:cNvPr id="16" name="AutoShape 11"/>
          <p:cNvSpPr>
            <a:spLocks noChangeArrowheads="1"/>
          </p:cNvSpPr>
          <p:nvPr/>
        </p:nvSpPr>
        <p:spPr bwMode="auto">
          <a:xfrm>
            <a:off x="3048000" y="3492104"/>
            <a:ext cx="1500188" cy="846534"/>
          </a:xfrm>
          <a:prstGeom prst="wedgeRoundRectCallout">
            <a:avLst>
              <a:gd name="adj1" fmla="val -40102"/>
              <a:gd name="adj2" fmla="val 66667"/>
              <a:gd name="adj3" fmla="val 16667"/>
            </a:avLst>
          </a:prstGeom>
          <a:noFill/>
          <a:ln w="12700">
            <a:solidFill>
              <a:srgbClr val="00A1DE"/>
            </a:solidFill>
            <a:miter lim="800000"/>
            <a:headEnd/>
            <a:tailEnd/>
          </a:ln>
        </p:spPr>
        <p:txBody>
          <a:bodyPr wrap="square" lIns="27000" tIns="27000" rIns="27000" bIns="27000" anchor="ctr" anchorCtr="1"/>
          <a:lstStyle/>
          <a:p>
            <a:pPr defTabSz="685800">
              <a:buClrTx/>
              <a:defRPr/>
            </a:pPr>
            <a:r>
              <a:rPr lang="en-US" sz="1350" b="1" kern="1200" dirty="0">
                <a:solidFill>
                  <a:srgbClr val="313131"/>
                </a:solidFill>
                <a:ea typeface="ＭＳ Ｐゴシック" pitchFamily="50" charset="-128"/>
                <a:cs typeface="+mn-cs"/>
              </a:rPr>
              <a:t>Text</a:t>
            </a:r>
          </a:p>
        </p:txBody>
      </p:sp>
      <p:sp>
        <p:nvSpPr>
          <p:cNvPr id="17" name="AutoShape 12"/>
          <p:cNvSpPr>
            <a:spLocks noChangeArrowheads="1"/>
          </p:cNvSpPr>
          <p:nvPr/>
        </p:nvSpPr>
        <p:spPr bwMode="auto">
          <a:xfrm>
            <a:off x="1490663" y="2733675"/>
            <a:ext cx="791766" cy="521494"/>
          </a:xfrm>
          <a:prstGeom prst="wedgeRoundRectCallout">
            <a:avLst>
              <a:gd name="adj1" fmla="val -40102"/>
              <a:gd name="adj2" fmla="val 66667"/>
              <a:gd name="adj3" fmla="val 16667"/>
            </a:avLst>
          </a:prstGeom>
          <a:noFill/>
          <a:ln w="12700">
            <a:solidFill>
              <a:srgbClr val="00A1DE"/>
            </a:solidFill>
            <a:miter lim="800000"/>
            <a:headEnd/>
            <a:tailEnd/>
          </a:ln>
        </p:spPr>
        <p:txBody>
          <a:bodyPr wrap="square" lIns="27000" tIns="27000" rIns="27000" bIns="27000" anchor="ctr" anchorCtr="1"/>
          <a:lstStyle/>
          <a:p>
            <a:pPr defTabSz="685800">
              <a:buClrTx/>
              <a:defRPr/>
            </a:pPr>
            <a:r>
              <a:rPr lang="en-US" sz="1350" b="1" kern="1200" dirty="0">
                <a:solidFill>
                  <a:srgbClr val="313131"/>
                </a:solidFill>
                <a:ea typeface="ＭＳ Ｐゴシック" pitchFamily="50" charset="-128"/>
                <a:cs typeface="+mn-cs"/>
              </a:rPr>
              <a:t>Text</a:t>
            </a:r>
          </a:p>
        </p:txBody>
      </p:sp>
      <p:sp>
        <p:nvSpPr>
          <p:cNvPr id="18" name="AutoShape 13"/>
          <p:cNvSpPr>
            <a:spLocks noChangeArrowheads="1"/>
          </p:cNvSpPr>
          <p:nvPr/>
        </p:nvSpPr>
        <p:spPr bwMode="auto">
          <a:xfrm>
            <a:off x="1429941" y="3687366"/>
            <a:ext cx="1114425" cy="550069"/>
          </a:xfrm>
          <a:prstGeom prst="wedgeRoundRectCallout">
            <a:avLst>
              <a:gd name="adj1" fmla="val -40102"/>
              <a:gd name="adj2" fmla="val 66667"/>
              <a:gd name="adj3" fmla="val 16667"/>
            </a:avLst>
          </a:prstGeom>
          <a:noFill/>
          <a:ln w="12700">
            <a:solidFill>
              <a:srgbClr val="00A1DE"/>
            </a:solidFill>
            <a:miter lim="800000"/>
            <a:headEnd/>
            <a:tailEnd/>
          </a:ln>
        </p:spPr>
        <p:txBody>
          <a:bodyPr wrap="square" lIns="27000" tIns="27000" rIns="27000" bIns="27000" anchor="ctr" anchorCtr="1"/>
          <a:lstStyle/>
          <a:p>
            <a:pPr defTabSz="685800">
              <a:buClrTx/>
              <a:defRPr/>
            </a:pPr>
            <a:r>
              <a:rPr lang="en-US" sz="1350" b="1" kern="1200" dirty="0">
                <a:solidFill>
                  <a:srgbClr val="313131"/>
                </a:solidFill>
                <a:ea typeface="ＭＳ Ｐゴシック" pitchFamily="50" charset="-128"/>
                <a:cs typeface="+mn-cs"/>
              </a:rPr>
              <a:t>Text</a:t>
            </a:r>
          </a:p>
        </p:txBody>
      </p:sp>
      <p:sp>
        <p:nvSpPr>
          <p:cNvPr id="22" name="Text Placeholder 12"/>
          <p:cNvSpPr>
            <a:spLocks/>
          </p:cNvSpPr>
          <p:nvPr>
            <p:custDataLst>
              <p:tags r:id="rId1"/>
            </p:custDataLst>
          </p:nvPr>
        </p:nvSpPr>
        <p:spPr bwMode="auto">
          <a:xfrm>
            <a:off x="1440656" y="1131570"/>
            <a:ext cx="197170"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Text</a:t>
            </a:r>
          </a:p>
        </p:txBody>
      </p:sp>
    </p:spTree>
    <p:extLst>
      <p:ext uri="{BB962C8B-B14F-4D97-AF65-F5344CB8AC3E}">
        <p14:creationId xmlns:p14="http://schemas.microsoft.com/office/powerpoint/2010/main" val="2380070885"/>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normAutofit lnSpcReduction="10000"/>
          </a:bodyPr>
          <a:lstStyle/>
          <a:p>
            <a:pPr marL="0" lvl="1" indent="0">
              <a:spcBef>
                <a:spcPts val="1350"/>
              </a:spcBef>
              <a:buNone/>
            </a:pPr>
            <a:r>
              <a:rPr lang="en-US" dirty="0"/>
              <a:t>Structured text				3</a:t>
            </a:r>
          </a:p>
          <a:p>
            <a:pPr marL="0" lvl="1" indent="0">
              <a:spcBef>
                <a:spcPts val="1350"/>
              </a:spcBef>
              <a:buNone/>
            </a:pPr>
            <a:r>
              <a:rPr lang="en-US" dirty="0">
                <a:solidFill>
                  <a:srgbClr val="00A1DE"/>
                </a:solidFill>
              </a:rPr>
              <a:t>Trees</a:t>
            </a:r>
            <a:r>
              <a:rPr lang="en-US" dirty="0"/>
              <a:t>					35</a:t>
            </a:r>
          </a:p>
          <a:p>
            <a:pPr marL="0" lvl="1" indent="0">
              <a:spcBef>
                <a:spcPts val="1350"/>
              </a:spcBef>
              <a:buNone/>
            </a:pPr>
            <a:r>
              <a:rPr lang="en-US" dirty="0"/>
              <a:t>Graphs					50</a:t>
            </a:r>
          </a:p>
          <a:p>
            <a:pPr marL="0" lvl="1" indent="0">
              <a:spcBef>
                <a:spcPts val="1350"/>
              </a:spcBef>
              <a:buNone/>
            </a:pPr>
            <a:r>
              <a:rPr lang="en-US" dirty="0"/>
              <a:t>Shapes					93</a:t>
            </a:r>
          </a:p>
          <a:p>
            <a:pPr marL="0" lvl="1" indent="0">
              <a:spcBef>
                <a:spcPts val="1350"/>
              </a:spcBef>
              <a:buNone/>
            </a:pPr>
            <a:r>
              <a:rPr lang="en-US" dirty="0"/>
              <a:t>Maps					117</a:t>
            </a:r>
          </a:p>
          <a:p>
            <a:pPr marL="0" lvl="1" indent="0">
              <a:spcBef>
                <a:spcPts val="1350"/>
              </a:spcBef>
              <a:buNone/>
            </a:pPr>
            <a:r>
              <a:rPr lang="en-US" dirty="0"/>
              <a:t>Special graphics			137</a:t>
            </a:r>
          </a:p>
          <a:p>
            <a:pPr marL="0" lvl="1" indent="0">
              <a:spcBef>
                <a:spcPts val="1350"/>
              </a:spcBef>
              <a:buNone/>
            </a:pPr>
            <a:r>
              <a:rPr lang="en-US" dirty="0"/>
              <a:t>Conceptual charts			164</a:t>
            </a:r>
          </a:p>
          <a:p>
            <a:pPr marL="0" lvl="1" indent="0">
              <a:spcBef>
                <a:spcPts val="1350"/>
              </a:spcBef>
              <a:buNone/>
            </a:pPr>
            <a:r>
              <a:rPr lang="en-US" dirty="0" err="1"/>
              <a:t>Infographics</a:t>
            </a:r>
            <a:r>
              <a:rPr lang="en-US" dirty="0"/>
              <a:t> 				215</a:t>
            </a:r>
          </a:p>
          <a:p>
            <a:pPr marL="0" lvl="1" indent="0">
              <a:spcBef>
                <a:spcPts val="1350"/>
              </a:spcBef>
              <a:buNone/>
            </a:pPr>
            <a:r>
              <a:rPr lang="en-US" dirty="0"/>
              <a:t>Iconography				241</a:t>
            </a:r>
          </a:p>
          <a:p>
            <a:endParaRPr lang="en-US" dirty="0"/>
          </a:p>
        </p:txBody>
      </p:sp>
      <p:sp>
        <p:nvSpPr>
          <p:cNvPr id="6" name="Title 5"/>
          <p:cNvSpPr>
            <a:spLocks noGrp="1"/>
          </p:cNvSpPr>
          <p:nvPr>
            <p:ph type="title"/>
          </p:nvPr>
        </p:nvSpPr>
        <p:spPr>
          <a:xfrm>
            <a:off x="1420585" y="134679"/>
            <a:ext cx="6291000" cy="665422"/>
          </a:xfrm>
        </p:spPr>
        <p:txBody>
          <a:bodyPr>
            <a:normAutofit/>
          </a:bodyPr>
          <a:lstStyle/>
          <a:p>
            <a:r>
              <a:rPr lang="en-US" sz="2250" dirty="0"/>
              <a:t>Contents</a:t>
            </a:r>
          </a:p>
        </p:txBody>
      </p:sp>
    </p:spTree>
    <p:extLst>
      <p:ext uri="{BB962C8B-B14F-4D97-AF65-F5344CB8AC3E}">
        <p14:creationId xmlns:p14="http://schemas.microsoft.com/office/powerpoint/2010/main" val="30913282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0305" name="Title 28"/>
          <p:cNvSpPr>
            <a:spLocks noGrp="1"/>
          </p:cNvSpPr>
          <p:nvPr>
            <p:ph type="title"/>
          </p:nvPr>
        </p:nvSpPr>
        <p:spPr/>
        <p:txBody>
          <a:bodyPr/>
          <a:lstStyle/>
          <a:p>
            <a:r>
              <a:rPr lang="en-US" dirty="0">
                <a:solidFill>
                  <a:srgbClr val="81BC00"/>
                </a:solidFill>
              </a:rPr>
              <a:t>Logic trees</a:t>
            </a:r>
            <a:br>
              <a:rPr lang="en-US" dirty="0">
                <a:solidFill>
                  <a:srgbClr val="81BC00"/>
                </a:solidFill>
              </a:rPr>
            </a:br>
            <a:r>
              <a:rPr lang="en-US" dirty="0">
                <a:solidFill>
                  <a:srgbClr val="575757"/>
                </a:solidFill>
              </a:rPr>
              <a:t>Blue, one level plus text</a:t>
            </a:r>
          </a:p>
        </p:txBody>
      </p:sp>
      <p:sp>
        <p:nvSpPr>
          <p:cNvPr id="37" name="Text Box 12"/>
          <p:cNvSpPr txBox="1">
            <a:spLocks noChangeArrowheads="1"/>
          </p:cNvSpPr>
          <p:nvPr/>
        </p:nvSpPr>
        <p:spPr bwMode="auto">
          <a:xfrm>
            <a:off x="5608675" y="1"/>
            <a:ext cx="2392325" cy="715581"/>
          </a:xfrm>
          <a:prstGeom prst="rect">
            <a:avLst/>
          </a:prstGeom>
          <a:solidFill>
            <a:schemeClr val="accent6"/>
          </a:solidFill>
          <a:ln w="6350" algn="ctr">
            <a:solidFill>
              <a:schemeClr val="bg1"/>
            </a:solidFill>
            <a:miter lim="800000"/>
            <a:headEnd/>
            <a:tailEnd/>
          </a:ln>
        </p:spPr>
        <p:txBody>
          <a:bodyPr wrap="square" tIns="68580" bIns="68580">
            <a:spAutoFit/>
          </a:bodyPr>
          <a:lstStyle/>
          <a:p>
            <a:pPr defTabSz="685800">
              <a:buClrTx/>
              <a:defRPr/>
            </a:pPr>
            <a:r>
              <a:rPr lang="en-US" sz="750" kern="1200" dirty="0">
                <a:solidFill>
                  <a:srgbClr val="313131"/>
                </a:solidFill>
                <a:ea typeface="ＭＳ Ｐゴシック" pitchFamily="50" charset="-128"/>
                <a:cs typeface="+mn-cs"/>
              </a:rPr>
              <a:t>Tip! Use the Connectors under AutoShapes to connect additional boxes. Use Align and Distribute in the Draw toolbar to properly position the boxes on the page. Work from right to left: first align, then distribute</a:t>
            </a:r>
          </a:p>
        </p:txBody>
      </p:sp>
      <p:sp>
        <p:nvSpPr>
          <p:cNvPr id="23" name="Text Placeholder 5"/>
          <p:cNvSpPr txBox="1">
            <a:spLocks/>
          </p:cNvSpPr>
          <p:nvPr/>
        </p:nvSpPr>
        <p:spPr>
          <a:xfrm>
            <a:off x="4908753" y="1268731"/>
            <a:ext cx="2806497" cy="499521"/>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dummy text its not here to be read</a:t>
            </a:r>
          </a:p>
          <a:p>
            <a:pPr marL="404622" lvl="2" indent="-198882" defTabSz="717947">
              <a:spcBef>
                <a:spcPts val="450"/>
              </a:spcBef>
              <a:buClrTx/>
            </a:pPr>
            <a:r>
              <a:rPr lang="en-US" sz="825" dirty="0">
                <a:solidFill>
                  <a:srgbClr val="313131"/>
                </a:solidFill>
                <a:latin typeface="Arial"/>
              </a:rPr>
              <a:t>This is a level two bullet this is dummy text its not here to be read</a:t>
            </a:r>
          </a:p>
        </p:txBody>
      </p:sp>
      <p:cxnSp>
        <p:nvCxnSpPr>
          <p:cNvPr id="9" name="AutoShape 8"/>
          <p:cNvCxnSpPr>
            <a:cxnSpLocks noChangeShapeType="1"/>
            <a:stCxn id="5" idx="1"/>
            <a:endCxn id="4" idx="3"/>
          </p:cNvCxnSpPr>
          <p:nvPr/>
        </p:nvCxnSpPr>
        <p:spPr bwMode="auto">
          <a:xfrm rot="10800000" flipV="1">
            <a:off x="2602706" y="1511618"/>
            <a:ext cx="796529" cy="1431131"/>
          </a:xfrm>
          <a:prstGeom prst="bentConnector3">
            <a:avLst>
              <a:gd name="adj1" fmla="val 50000"/>
            </a:avLst>
          </a:prstGeom>
          <a:noFill/>
          <a:ln w="12700">
            <a:solidFill>
              <a:srgbClr val="B4B4B4"/>
            </a:solidFill>
            <a:miter lim="800000"/>
            <a:headEnd type="none" w="sm" len="sm"/>
            <a:tailEnd type="none" w="med" len="lg"/>
          </a:ln>
        </p:spPr>
      </p:cxnSp>
      <p:cxnSp>
        <p:nvCxnSpPr>
          <p:cNvPr id="10" name="AutoShape 9"/>
          <p:cNvCxnSpPr>
            <a:cxnSpLocks noChangeShapeType="1"/>
            <a:stCxn id="4" idx="3"/>
            <a:endCxn id="6" idx="1"/>
          </p:cNvCxnSpPr>
          <p:nvPr/>
        </p:nvCxnSpPr>
        <p:spPr bwMode="auto">
          <a:xfrm flipV="1">
            <a:off x="2602706" y="2445068"/>
            <a:ext cx="796529" cy="497681"/>
          </a:xfrm>
          <a:prstGeom prst="bentConnector3">
            <a:avLst>
              <a:gd name="adj1" fmla="val 50000"/>
            </a:avLst>
          </a:prstGeom>
          <a:noFill/>
          <a:ln w="12700">
            <a:solidFill>
              <a:srgbClr val="B4B4B4"/>
            </a:solidFill>
            <a:miter lim="800000"/>
            <a:headEnd type="none" w="sm" len="sm"/>
            <a:tailEnd type="none" w="med" len="lg"/>
          </a:ln>
        </p:spPr>
      </p:cxnSp>
      <p:cxnSp>
        <p:nvCxnSpPr>
          <p:cNvPr id="11" name="AutoShape 10"/>
          <p:cNvCxnSpPr>
            <a:cxnSpLocks noChangeShapeType="1"/>
            <a:stCxn id="4" idx="3"/>
            <a:endCxn id="7" idx="1"/>
          </p:cNvCxnSpPr>
          <p:nvPr/>
        </p:nvCxnSpPr>
        <p:spPr bwMode="auto">
          <a:xfrm>
            <a:off x="2602706" y="2942749"/>
            <a:ext cx="796529" cy="476250"/>
          </a:xfrm>
          <a:prstGeom prst="bentConnector3">
            <a:avLst>
              <a:gd name="adj1" fmla="val 50000"/>
            </a:avLst>
          </a:prstGeom>
          <a:noFill/>
          <a:ln w="12700">
            <a:solidFill>
              <a:srgbClr val="B4B4B4"/>
            </a:solidFill>
            <a:miter lim="800000"/>
            <a:headEnd type="none" w="sm" len="sm"/>
            <a:tailEnd type="none" w="med" len="lg"/>
          </a:ln>
        </p:spPr>
      </p:cxnSp>
      <p:cxnSp>
        <p:nvCxnSpPr>
          <p:cNvPr id="12" name="AutoShape 11"/>
          <p:cNvCxnSpPr>
            <a:cxnSpLocks noChangeShapeType="1"/>
            <a:stCxn id="4" idx="3"/>
            <a:endCxn id="8" idx="1"/>
          </p:cNvCxnSpPr>
          <p:nvPr/>
        </p:nvCxnSpPr>
        <p:spPr bwMode="auto">
          <a:xfrm>
            <a:off x="2602706" y="2942749"/>
            <a:ext cx="796529" cy="1431131"/>
          </a:xfrm>
          <a:prstGeom prst="bentConnector3">
            <a:avLst>
              <a:gd name="adj1" fmla="val 50000"/>
            </a:avLst>
          </a:prstGeom>
          <a:noFill/>
          <a:ln w="12700">
            <a:solidFill>
              <a:srgbClr val="B4B4B4"/>
            </a:solidFill>
            <a:miter lim="800000"/>
            <a:headEnd type="none" w="sm" len="sm"/>
            <a:tailEnd type="none" w="med" len="lg"/>
          </a:ln>
        </p:spPr>
      </p:cxnSp>
      <p:sp>
        <p:nvSpPr>
          <p:cNvPr id="4" name="Rectangle 3"/>
          <p:cNvSpPr>
            <a:spLocks noChangeArrowheads="1"/>
          </p:cNvSpPr>
          <p:nvPr/>
        </p:nvSpPr>
        <p:spPr bwMode="auto">
          <a:xfrm>
            <a:off x="1456135" y="2699861"/>
            <a:ext cx="1146572" cy="485775"/>
          </a:xfrm>
          <a:prstGeom prst="rect">
            <a:avLst/>
          </a:prstGeom>
          <a:solidFill>
            <a:srgbClr val="00A1DE"/>
          </a:solidFill>
          <a:ln w="12700" algn="ctr">
            <a:solidFill>
              <a:schemeClr val="bg1"/>
            </a:solidFill>
            <a:miter lim="800000"/>
            <a:headEnd type="none" w="sm" len="sm"/>
            <a:tailEnd type="none" w="med" len="lg"/>
          </a:ln>
        </p:spPr>
        <p:txBody>
          <a:bodyPr lIns="13500" tIns="13500" rIns="13500" bIns="13500" anchor="ctr"/>
          <a:lstStyle/>
          <a:p>
            <a:pPr algn="ctr" defTabSz="685800">
              <a:buClrTx/>
              <a:defRPr/>
            </a:pPr>
            <a:r>
              <a:rPr lang="en-US" altLang="ja-JP"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
        <p:nvSpPr>
          <p:cNvPr id="5" name="Rectangle 4"/>
          <p:cNvSpPr>
            <a:spLocks noChangeArrowheads="1"/>
          </p:cNvSpPr>
          <p:nvPr/>
        </p:nvSpPr>
        <p:spPr bwMode="auto">
          <a:xfrm>
            <a:off x="3399235" y="1268730"/>
            <a:ext cx="1146572" cy="485775"/>
          </a:xfrm>
          <a:prstGeom prst="rect">
            <a:avLst/>
          </a:prstGeom>
          <a:solidFill>
            <a:srgbClr val="DCDCDC"/>
          </a:solidFill>
          <a:ln w="12700" algn="ctr">
            <a:solidFill>
              <a:schemeClr val="bg1"/>
            </a:solidFill>
            <a:miter lim="800000"/>
            <a:headEnd type="none" w="sm" len="sm"/>
            <a:tailEnd type="none" w="med" len="lg"/>
          </a:ln>
        </p:spPr>
        <p:txBody>
          <a:bodyPr lIns="13500" tIns="13500" rIns="13500" bIns="13500" anchor="ctr"/>
          <a:lstStyle/>
          <a:p>
            <a:pPr algn="ctr" defTabSz="685800">
              <a:buClrTx/>
              <a:defRPr/>
            </a:pPr>
            <a:r>
              <a:rPr lang="en-US" altLang="ja-JP" sz="1050" kern="1200" dirty="0">
                <a:solidFill>
                  <a:srgbClr val="313131"/>
                </a:solidFill>
                <a:ea typeface="ＭＳ Ｐゴシック" pitchFamily="50" charset="-128"/>
                <a:cs typeface="+mn-cs"/>
              </a:rPr>
              <a:t>Text</a:t>
            </a:r>
          </a:p>
        </p:txBody>
      </p:sp>
      <p:sp>
        <p:nvSpPr>
          <p:cNvPr id="6" name="Rectangle 5"/>
          <p:cNvSpPr>
            <a:spLocks noChangeArrowheads="1"/>
          </p:cNvSpPr>
          <p:nvPr/>
        </p:nvSpPr>
        <p:spPr bwMode="auto">
          <a:xfrm>
            <a:off x="3399235" y="2202180"/>
            <a:ext cx="1146572" cy="485775"/>
          </a:xfrm>
          <a:prstGeom prst="rect">
            <a:avLst/>
          </a:prstGeom>
          <a:solidFill>
            <a:srgbClr val="DCDCDC"/>
          </a:solidFill>
          <a:ln w="12700" algn="ctr">
            <a:solidFill>
              <a:schemeClr val="bg1"/>
            </a:solidFill>
            <a:miter lim="800000"/>
            <a:headEnd type="none" w="sm" len="sm"/>
            <a:tailEnd type="none" w="med" len="lg"/>
          </a:ln>
        </p:spPr>
        <p:txBody>
          <a:bodyPr lIns="13500" tIns="13500" rIns="13500" bIns="13500" anchor="ctr"/>
          <a:lstStyle/>
          <a:p>
            <a:pPr algn="ctr" defTabSz="685800">
              <a:buClrTx/>
              <a:defRPr/>
            </a:pPr>
            <a:r>
              <a:rPr lang="en-US" altLang="ja-JP" sz="1050" kern="1200">
                <a:solidFill>
                  <a:srgbClr val="313131"/>
                </a:solidFill>
                <a:ea typeface="ＭＳ Ｐゴシック" pitchFamily="50" charset="-128"/>
                <a:cs typeface="+mn-cs"/>
              </a:rPr>
              <a:t>Text</a:t>
            </a:r>
            <a:endParaRPr lang="en-US" altLang="ja-JP" sz="1050" kern="1200" dirty="0">
              <a:solidFill>
                <a:srgbClr val="313131"/>
              </a:solidFill>
              <a:ea typeface="ＭＳ Ｐゴシック" pitchFamily="50" charset="-128"/>
              <a:cs typeface="+mn-cs"/>
            </a:endParaRPr>
          </a:p>
        </p:txBody>
      </p:sp>
      <p:sp>
        <p:nvSpPr>
          <p:cNvPr id="7" name="Rectangle 6"/>
          <p:cNvSpPr>
            <a:spLocks noChangeArrowheads="1"/>
          </p:cNvSpPr>
          <p:nvPr/>
        </p:nvSpPr>
        <p:spPr bwMode="auto">
          <a:xfrm>
            <a:off x="3399235" y="3176111"/>
            <a:ext cx="1146572" cy="485775"/>
          </a:xfrm>
          <a:prstGeom prst="rect">
            <a:avLst/>
          </a:prstGeom>
          <a:solidFill>
            <a:srgbClr val="DCDCDC"/>
          </a:solidFill>
          <a:ln w="12700" algn="ctr">
            <a:solidFill>
              <a:schemeClr val="bg1"/>
            </a:solidFill>
            <a:miter lim="800000"/>
            <a:headEnd type="none" w="sm" len="sm"/>
            <a:tailEnd type="none" w="med" len="lg"/>
          </a:ln>
        </p:spPr>
        <p:txBody>
          <a:bodyPr lIns="13500" tIns="13500" rIns="13500" bIns="13500" anchor="ctr"/>
          <a:lstStyle/>
          <a:p>
            <a:pPr algn="ctr" defTabSz="685800">
              <a:buClrTx/>
              <a:defRPr/>
            </a:pPr>
            <a:r>
              <a:rPr lang="en-US" altLang="ja-JP" sz="1050" kern="1200">
                <a:solidFill>
                  <a:srgbClr val="313131"/>
                </a:solidFill>
                <a:ea typeface="ＭＳ Ｐゴシック" pitchFamily="50" charset="-128"/>
                <a:cs typeface="+mn-cs"/>
              </a:rPr>
              <a:t>Text</a:t>
            </a:r>
            <a:endParaRPr lang="en-US" altLang="ja-JP" sz="1050" kern="1200" dirty="0">
              <a:solidFill>
                <a:srgbClr val="313131"/>
              </a:solidFill>
              <a:ea typeface="ＭＳ Ｐゴシック" pitchFamily="50" charset="-128"/>
              <a:cs typeface="+mn-cs"/>
            </a:endParaRPr>
          </a:p>
        </p:txBody>
      </p:sp>
      <p:sp>
        <p:nvSpPr>
          <p:cNvPr id="8" name="Rectangle 7"/>
          <p:cNvSpPr>
            <a:spLocks noChangeArrowheads="1"/>
          </p:cNvSpPr>
          <p:nvPr/>
        </p:nvSpPr>
        <p:spPr bwMode="auto">
          <a:xfrm>
            <a:off x="3399235" y="4130993"/>
            <a:ext cx="1146572" cy="485775"/>
          </a:xfrm>
          <a:prstGeom prst="rect">
            <a:avLst/>
          </a:prstGeom>
          <a:solidFill>
            <a:srgbClr val="DCDCDC"/>
          </a:solidFill>
          <a:ln w="12700" algn="ctr">
            <a:solidFill>
              <a:schemeClr val="bg1"/>
            </a:solidFill>
            <a:miter lim="800000"/>
            <a:headEnd type="none" w="sm" len="sm"/>
            <a:tailEnd type="none" w="med" len="lg"/>
          </a:ln>
        </p:spPr>
        <p:txBody>
          <a:bodyPr lIns="13500" tIns="13500" rIns="13500" bIns="13500" anchor="ctr"/>
          <a:lstStyle/>
          <a:p>
            <a:pPr algn="ctr" defTabSz="685800">
              <a:buClrTx/>
              <a:defRPr/>
            </a:pPr>
            <a:r>
              <a:rPr lang="en-US" altLang="ja-JP" sz="1050" kern="1200">
                <a:solidFill>
                  <a:srgbClr val="313131"/>
                </a:solidFill>
                <a:ea typeface="ＭＳ Ｐゴシック" pitchFamily="50" charset="-128"/>
                <a:cs typeface="+mn-cs"/>
              </a:rPr>
              <a:t>Text</a:t>
            </a:r>
            <a:endParaRPr lang="en-US" altLang="ja-JP" sz="1050" kern="1200" dirty="0">
              <a:solidFill>
                <a:srgbClr val="313131"/>
              </a:solidFill>
              <a:ea typeface="ＭＳ Ｐゴシック" pitchFamily="50" charset="-128"/>
              <a:cs typeface="+mn-cs"/>
            </a:endParaRPr>
          </a:p>
        </p:txBody>
      </p:sp>
      <p:sp>
        <p:nvSpPr>
          <p:cNvPr id="19" name="Text Placeholder 5"/>
          <p:cNvSpPr txBox="1">
            <a:spLocks/>
          </p:cNvSpPr>
          <p:nvPr/>
        </p:nvSpPr>
        <p:spPr>
          <a:xfrm>
            <a:off x="4908753" y="2194846"/>
            <a:ext cx="2806497" cy="499521"/>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dummy text its not here to be read</a:t>
            </a:r>
          </a:p>
          <a:p>
            <a:pPr marL="404622" lvl="2" indent="-198882" defTabSz="717947">
              <a:spcBef>
                <a:spcPts val="450"/>
              </a:spcBef>
              <a:buClrTx/>
            </a:pPr>
            <a:r>
              <a:rPr lang="en-US" sz="825" dirty="0">
                <a:solidFill>
                  <a:srgbClr val="313131"/>
                </a:solidFill>
                <a:latin typeface="Arial"/>
              </a:rPr>
              <a:t>This is a level two bullet this is dummy text its not here to be read</a:t>
            </a:r>
          </a:p>
        </p:txBody>
      </p:sp>
      <p:sp>
        <p:nvSpPr>
          <p:cNvPr id="20" name="Text Placeholder 5"/>
          <p:cNvSpPr txBox="1">
            <a:spLocks/>
          </p:cNvSpPr>
          <p:nvPr/>
        </p:nvSpPr>
        <p:spPr>
          <a:xfrm>
            <a:off x="4908753" y="3165205"/>
            <a:ext cx="2806497" cy="499521"/>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dummy text its not here to be read</a:t>
            </a:r>
          </a:p>
          <a:p>
            <a:pPr marL="404622" lvl="2" indent="-198882" defTabSz="717947">
              <a:spcBef>
                <a:spcPts val="450"/>
              </a:spcBef>
              <a:buClrTx/>
            </a:pPr>
            <a:r>
              <a:rPr lang="en-US" sz="825" dirty="0">
                <a:solidFill>
                  <a:srgbClr val="313131"/>
                </a:solidFill>
                <a:latin typeface="Arial"/>
              </a:rPr>
              <a:t>This is a level two bullet this is dummy text its not here to be read</a:t>
            </a:r>
          </a:p>
        </p:txBody>
      </p:sp>
      <p:sp>
        <p:nvSpPr>
          <p:cNvPr id="21" name="Text Placeholder 5"/>
          <p:cNvSpPr txBox="1">
            <a:spLocks/>
          </p:cNvSpPr>
          <p:nvPr/>
        </p:nvSpPr>
        <p:spPr>
          <a:xfrm>
            <a:off x="4908753" y="4131707"/>
            <a:ext cx="2806497" cy="499521"/>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dummy text its not here to be read</a:t>
            </a:r>
          </a:p>
          <a:p>
            <a:pPr marL="404622" lvl="2" indent="-198882" defTabSz="717947">
              <a:spcBef>
                <a:spcPts val="450"/>
              </a:spcBef>
              <a:buClrTx/>
            </a:pPr>
            <a:r>
              <a:rPr lang="en-US" sz="825" dirty="0">
                <a:solidFill>
                  <a:srgbClr val="313131"/>
                </a:solidFill>
                <a:latin typeface="Arial"/>
              </a:rPr>
              <a:t>This is a level two bullet this is dummy text its not here to be read</a:t>
            </a:r>
          </a:p>
        </p:txBody>
      </p:sp>
    </p:spTree>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0305" name="Title 28"/>
          <p:cNvSpPr>
            <a:spLocks noGrp="1"/>
          </p:cNvSpPr>
          <p:nvPr>
            <p:ph type="title"/>
          </p:nvPr>
        </p:nvSpPr>
        <p:spPr/>
        <p:txBody>
          <a:bodyPr/>
          <a:lstStyle/>
          <a:p>
            <a:r>
              <a:rPr lang="en-US" dirty="0">
                <a:solidFill>
                  <a:srgbClr val="81BC00"/>
                </a:solidFill>
              </a:rPr>
              <a:t>Logic trees</a:t>
            </a:r>
            <a:br>
              <a:rPr lang="en-US" dirty="0">
                <a:solidFill>
                  <a:srgbClr val="81BC00"/>
                </a:solidFill>
              </a:rPr>
            </a:br>
            <a:r>
              <a:rPr lang="en-US" dirty="0">
                <a:solidFill>
                  <a:srgbClr val="575757"/>
                </a:solidFill>
              </a:rPr>
              <a:t>White, one level plus text</a:t>
            </a:r>
          </a:p>
        </p:txBody>
      </p:sp>
      <p:sp>
        <p:nvSpPr>
          <p:cNvPr id="37" name="Text Box 12"/>
          <p:cNvSpPr txBox="1">
            <a:spLocks noChangeArrowheads="1"/>
          </p:cNvSpPr>
          <p:nvPr/>
        </p:nvSpPr>
        <p:spPr bwMode="auto">
          <a:xfrm>
            <a:off x="5608675" y="1"/>
            <a:ext cx="2392325" cy="715581"/>
          </a:xfrm>
          <a:prstGeom prst="rect">
            <a:avLst/>
          </a:prstGeom>
          <a:solidFill>
            <a:schemeClr val="accent6"/>
          </a:solidFill>
          <a:ln w="6350" algn="ctr">
            <a:solidFill>
              <a:schemeClr val="bg1"/>
            </a:solidFill>
            <a:miter lim="800000"/>
            <a:headEnd/>
            <a:tailEnd/>
          </a:ln>
        </p:spPr>
        <p:txBody>
          <a:bodyPr wrap="square" tIns="68580" bIns="68580">
            <a:spAutoFit/>
          </a:bodyPr>
          <a:lstStyle/>
          <a:p>
            <a:pPr defTabSz="685800">
              <a:buClrTx/>
              <a:defRPr/>
            </a:pPr>
            <a:r>
              <a:rPr lang="en-US" sz="750" kern="1200" dirty="0">
                <a:solidFill>
                  <a:srgbClr val="313131"/>
                </a:solidFill>
                <a:ea typeface="ＭＳ Ｐゴシック" pitchFamily="50" charset="-128"/>
                <a:cs typeface="+mn-cs"/>
              </a:rPr>
              <a:t>Tip! Use the Connectors under AutoShapes to connect additional boxes. Use Align and Distribute in the Draw toolbar to properly position the boxes on the page. Work from right to left: first align, then distribute</a:t>
            </a:r>
          </a:p>
        </p:txBody>
      </p:sp>
      <p:cxnSp>
        <p:nvCxnSpPr>
          <p:cNvPr id="9" name="AutoShape 8"/>
          <p:cNvCxnSpPr>
            <a:cxnSpLocks noChangeShapeType="1"/>
            <a:stCxn id="5" idx="1"/>
            <a:endCxn id="4" idx="3"/>
          </p:cNvCxnSpPr>
          <p:nvPr/>
        </p:nvCxnSpPr>
        <p:spPr bwMode="auto">
          <a:xfrm rot="10800000" flipV="1">
            <a:off x="2602706" y="1511618"/>
            <a:ext cx="796529" cy="1431131"/>
          </a:xfrm>
          <a:prstGeom prst="bentConnector3">
            <a:avLst>
              <a:gd name="adj1" fmla="val 50000"/>
            </a:avLst>
          </a:prstGeom>
          <a:noFill/>
          <a:ln w="12700">
            <a:solidFill>
              <a:srgbClr val="B4B4B4"/>
            </a:solidFill>
            <a:miter lim="800000"/>
            <a:headEnd type="none" w="sm" len="sm"/>
            <a:tailEnd type="none" w="med" len="lg"/>
          </a:ln>
        </p:spPr>
      </p:cxnSp>
      <p:cxnSp>
        <p:nvCxnSpPr>
          <p:cNvPr id="10" name="AutoShape 9"/>
          <p:cNvCxnSpPr>
            <a:cxnSpLocks noChangeShapeType="1"/>
            <a:stCxn id="4" idx="3"/>
            <a:endCxn id="6" idx="1"/>
          </p:cNvCxnSpPr>
          <p:nvPr/>
        </p:nvCxnSpPr>
        <p:spPr bwMode="auto">
          <a:xfrm flipV="1">
            <a:off x="2602706" y="2445068"/>
            <a:ext cx="796529" cy="497681"/>
          </a:xfrm>
          <a:prstGeom prst="bentConnector3">
            <a:avLst>
              <a:gd name="adj1" fmla="val 50000"/>
            </a:avLst>
          </a:prstGeom>
          <a:noFill/>
          <a:ln w="12700">
            <a:solidFill>
              <a:srgbClr val="B4B4B4"/>
            </a:solidFill>
            <a:miter lim="800000"/>
            <a:headEnd type="none" w="sm" len="sm"/>
            <a:tailEnd type="none" w="med" len="lg"/>
          </a:ln>
        </p:spPr>
      </p:cxnSp>
      <p:cxnSp>
        <p:nvCxnSpPr>
          <p:cNvPr id="11" name="AutoShape 10"/>
          <p:cNvCxnSpPr>
            <a:cxnSpLocks noChangeShapeType="1"/>
            <a:stCxn id="4" idx="3"/>
            <a:endCxn id="7" idx="1"/>
          </p:cNvCxnSpPr>
          <p:nvPr/>
        </p:nvCxnSpPr>
        <p:spPr bwMode="auto">
          <a:xfrm>
            <a:off x="2602706" y="2942749"/>
            <a:ext cx="796529" cy="476250"/>
          </a:xfrm>
          <a:prstGeom prst="bentConnector3">
            <a:avLst>
              <a:gd name="adj1" fmla="val 50000"/>
            </a:avLst>
          </a:prstGeom>
          <a:noFill/>
          <a:ln w="12700">
            <a:solidFill>
              <a:srgbClr val="B4B4B4"/>
            </a:solidFill>
            <a:miter lim="800000"/>
            <a:headEnd type="none" w="sm" len="sm"/>
            <a:tailEnd type="none" w="med" len="lg"/>
          </a:ln>
        </p:spPr>
      </p:cxnSp>
      <p:cxnSp>
        <p:nvCxnSpPr>
          <p:cNvPr id="12" name="AutoShape 11"/>
          <p:cNvCxnSpPr>
            <a:cxnSpLocks noChangeShapeType="1"/>
            <a:stCxn id="4" idx="3"/>
            <a:endCxn id="8" idx="1"/>
          </p:cNvCxnSpPr>
          <p:nvPr/>
        </p:nvCxnSpPr>
        <p:spPr bwMode="auto">
          <a:xfrm>
            <a:off x="2602706" y="2942749"/>
            <a:ext cx="796529" cy="1431131"/>
          </a:xfrm>
          <a:prstGeom prst="bentConnector3">
            <a:avLst>
              <a:gd name="adj1" fmla="val 50000"/>
            </a:avLst>
          </a:prstGeom>
          <a:noFill/>
          <a:ln w="12700">
            <a:solidFill>
              <a:srgbClr val="B4B4B4"/>
            </a:solidFill>
            <a:miter lim="800000"/>
            <a:headEnd type="none" w="sm" len="sm"/>
            <a:tailEnd type="none" w="med" len="lg"/>
          </a:ln>
        </p:spPr>
      </p:cxnSp>
      <p:sp>
        <p:nvSpPr>
          <p:cNvPr id="4" name="Rectangle 3"/>
          <p:cNvSpPr>
            <a:spLocks noChangeArrowheads="1"/>
          </p:cNvSpPr>
          <p:nvPr/>
        </p:nvSpPr>
        <p:spPr bwMode="auto">
          <a:xfrm>
            <a:off x="1456135" y="2699861"/>
            <a:ext cx="1146572" cy="485775"/>
          </a:xfrm>
          <a:prstGeom prst="rect">
            <a:avLst/>
          </a:prstGeom>
          <a:solidFill>
            <a:schemeClr val="bg1"/>
          </a:solidFill>
          <a:ln w="12700" algn="ctr">
            <a:solidFill>
              <a:srgbClr val="00A1DE"/>
            </a:solidFill>
            <a:miter lim="800000"/>
            <a:headEnd type="none" w="sm" len="sm"/>
            <a:tailEnd type="none" w="med" len="lg"/>
          </a:ln>
        </p:spPr>
        <p:txBody>
          <a:bodyPr lIns="13500" tIns="13500" rIns="13500" bIns="13500" anchor="ctr"/>
          <a:lstStyle/>
          <a:p>
            <a:pPr algn="ctr" defTabSz="685800">
              <a:buClrTx/>
              <a:defRPr/>
            </a:pPr>
            <a:r>
              <a:rPr lang="en-US" altLang="ja-JP" sz="1050" kern="1200">
                <a:solidFill>
                  <a:srgbClr val="00A1DE"/>
                </a:solidFill>
                <a:ea typeface="ＭＳ Ｐゴシック" pitchFamily="50" charset="-128"/>
                <a:cs typeface="+mn-cs"/>
              </a:rPr>
              <a:t>Text</a:t>
            </a:r>
            <a:endParaRPr lang="en-US" altLang="ja-JP" sz="1050" kern="1200" dirty="0">
              <a:solidFill>
                <a:srgbClr val="00A1DE"/>
              </a:solidFill>
              <a:ea typeface="ＭＳ Ｐゴシック" pitchFamily="50" charset="-128"/>
              <a:cs typeface="+mn-cs"/>
            </a:endParaRPr>
          </a:p>
        </p:txBody>
      </p:sp>
      <p:sp>
        <p:nvSpPr>
          <p:cNvPr id="5" name="Rectangle 4"/>
          <p:cNvSpPr>
            <a:spLocks noChangeArrowheads="1"/>
          </p:cNvSpPr>
          <p:nvPr/>
        </p:nvSpPr>
        <p:spPr bwMode="auto">
          <a:xfrm>
            <a:off x="3399235" y="1268730"/>
            <a:ext cx="1146572" cy="485775"/>
          </a:xfrm>
          <a:prstGeom prst="rect">
            <a:avLst/>
          </a:prstGeom>
          <a:solidFill>
            <a:schemeClr val="bg1"/>
          </a:solidFill>
          <a:ln w="12700" algn="ctr">
            <a:solidFill>
              <a:srgbClr val="A6A6A6"/>
            </a:solidFill>
            <a:miter lim="800000"/>
            <a:headEnd type="none" w="sm" len="sm"/>
            <a:tailEnd type="none" w="med" len="lg"/>
          </a:ln>
        </p:spPr>
        <p:txBody>
          <a:bodyPr lIns="13500" tIns="13500" rIns="13500" bIns="13500" anchor="ctr"/>
          <a:lstStyle/>
          <a:p>
            <a:pPr algn="ctr" defTabSz="685800">
              <a:buClrTx/>
              <a:defRPr/>
            </a:pPr>
            <a:r>
              <a:rPr lang="en-US" altLang="ja-JP" sz="1050" kern="1200" dirty="0">
                <a:solidFill>
                  <a:srgbClr val="313131"/>
                </a:solidFill>
                <a:ea typeface="ＭＳ Ｐゴシック" pitchFamily="50" charset="-128"/>
                <a:cs typeface="+mn-cs"/>
              </a:rPr>
              <a:t>Text</a:t>
            </a:r>
          </a:p>
        </p:txBody>
      </p:sp>
      <p:sp>
        <p:nvSpPr>
          <p:cNvPr id="6" name="Rectangle 5"/>
          <p:cNvSpPr>
            <a:spLocks noChangeArrowheads="1"/>
          </p:cNvSpPr>
          <p:nvPr/>
        </p:nvSpPr>
        <p:spPr bwMode="auto">
          <a:xfrm>
            <a:off x="3399235" y="2202180"/>
            <a:ext cx="1146572" cy="485775"/>
          </a:xfrm>
          <a:prstGeom prst="rect">
            <a:avLst/>
          </a:prstGeom>
          <a:solidFill>
            <a:schemeClr val="bg1"/>
          </a:solidFill>
          <a:ln w="12700" algn="ctr">
            <a:solidFill>
              <a:srgbClr val="A6A6A6"/>
            </a:solidFill>
            <a:miter lim="800000"/>
            <a:headEnd type="none" w="sm" len="sm"/>
            <a:tailEnd type="none" w="med" len="lg"/>
          </a:ln>
        </p:spPr>
        <p:txBody>
          <a:bodyPr lIns="13500" tIns="13500" rIns="13500" bIns="13500" anchor="ctr"/>
          <a:lstStyle/>
          <a:p>
            <a:pPr algn="ctr" defTabSz="685800">
              <a:buClrTx/>
              <a:defRPr/>
            </a:pPr>
            <a:r>
              <a:rPr lang="en-US" altLang="ja-JP" sz="1050" kern="1200">
                <a:solidFill>
                  <a:srgbClr val="313131"/>
                </a:solidFill>
                <a:ea typeface="ＭＳ Ｐゴシック" pitchFamily="50" charset="-128"/>
                <a:cs typeface="+mn-cs"/>
              </a:rPr>
              <a:t>Text</a:t>
            </a:r>
            <a:endParaRPr lang="en-US" altLang="ja-JP" sz="1050" kern="1200" dirty="0">
              <a:solidFill>
                <a:srgbClr val="313131"/>
              </a:solidFill>
              <a:ea typeface="ＭＳ Ｐゴシック" pitchFamily="50" charset="-128"/>
              <a:cs typeface="+mn-cs"/>
            </a:endParaRPr>
          </a:p>
        </p:txBody>
      </p:sp>
      <p:sp>
        <p:nvSpPr>
          <p:cNvPr id="7" name="Rectangle 6"/>
          <p:cNvSpPr>
            <a:spLocks noChangeArrowheads="1"/>
          </p:cNvSpPr>
          <p:nvPr/>
        </p:nvSpPr>
        <p:spPr bwMode="auto">
          <a:xfrm>
            <a:off x="3399235" y="3176111"/>
            <a:ext cx="1146572" cy="485775"/>
          </a:xfrm>
          <a:prstGeom prst="rect">
            <a:avLst/>
          </a:prstGeom>
          <a:solidFill>
            <a:schemeClr val="bg1"/>
          </a:solidFill>
          <a:ln w="12700" algn="ctr">
            <a:solidFill>
              <a:srgbClr val="A6A6A6"/>
            </a:solidFill>
            <a:miter lim="800000"/>
            <a:headEnd type="none" w="sm" len="sm"/>
            <a:tailEnd type="none" w="med" len="lg"/>
          </a:ln>
        </p:spPr>
        <p:txBody>
          <a:bodyPr lIns="13500" tIns="13500" rIns="13500" bIns="13500" anchor="ctr"/>
          <a:lstStyle/>
          <a:p>
            <a:pPr algn="ctr" defTabSz="685800">
              <a:buClrTx/>
              <a:defRPr/>
            </a:pPr>
            <a:r>
              <a:rPr lang="en-US" altLang="ja-JP" sz="1050" kern="1200">
                <a:solidFill>
                  <a:srgbClr val="313131"/>
                </a:solidFill>
                <a:ea typeface="ＭＳ Ｐゴシック" pitchFamily="50" charset="-128"/>
                <a:cs typeface="+mn-cs"/>
              </a:rPr>
              <a:t>Text</a:t>
            </a:r>
            <a:endParaRPr lang="en-US" altLang="ja-JP" sz="1050" kern="1200" dirty="0">
              <a:solidFill>
                <a:srgbClr val="313131"/>
              </a:solidFill>
              <a:ea typeface="ＭＳ Ｐゴシック" pitchFamily="50" charset="-128"/>
              <a:cs typeface="+mn-cs"/>
            </a:endParaRPr>
          </a:p>
        </p:txBody>
      </p:sp>
      <p:sp>
        <p:nvSpPr>
          <p:cNvPr id="8" name="Rectangle 7"/>
          <p:cNvSpPr>
            <a:spLocks noChangeArrowheads="1"/>
          </p:cNvSpPr>
          <p:nvPr/>
        </p:nvSpPr>
        <p:spPr bwMode="auto">
          <a:xfrm>
            <a:off x="3399235" y="4130993"/>
            <a:ext cx="1146572" cy="485775"/>
          </a:xfrm>
          <a:prstGeom prst="rect">
            <a:avLst/>
          </a:prstGeom>
          <a:solidFill>
            <a:schemeClr val="bg1"/>
          </a:solidFill>
          <a:ln w="12700" algn="ctr">
            <a:solidFill>
              <a:srgbClr val="A6A6A6"/>
            </a:solidFill>
            <a:miter lim="800000"/>
            <a:headEnd type="none" w="sm" len="sm"/>
            <a:tailEnd type="none" w="med" len="lg"/>
          </a:ln>
        </p:spPr>
        <p:txBody>
          <a:bodyPr lIns="13500" tIns="13500" rIns="13500" bIns="13500" anchor="ctr"/>
          <a:lstStyle/>
          <a:p>
            <a:pPr algn="ctr" defTabSz="685800">
              <a:buClrTx/>
              <a:defRPr/>
            </a:pPr>
            <a:r>
              <a:rPr lang="en-US" altLang="ja-JP" sz="1050" kern="1200">
                <a:solidFill>
                  <a:srgbClr val="313131"/>
                </a:solidFill>
                <a:ea typeface="ＭＳ Ｐゴシック" pitchFamily="50" charset="-128"/>
                <a:cs typeface="+mn-cs"/>
              </a:rPr>
              <a:t>Text</a:t>
            </a:r>
            <a:endParaRPr lang="en-US" altLang="ja-JP" sz="1050" kern="1200" dirty="0">
              <a:solidFill>
                <a:srgbClr val="313131"/>
              </a:solidFill>
              <a:ea typeface="ＭＳ Ｐゴシック" pitchFamily="50" charset="-128"/>
              <a:cs typeface="+mn-cs"/>
            </a:endParaRPr>
          </a:p>
        </p:txBody>
      </p:sp>
      <p:sp>
        <p:nvSpPr>
          <p:cNvPr id="19" name="Text Placeholder 5"/>
          <p:cNvSpPr txBox="1">
            <a:spLocks/>
          </p:cNvSpPr>
          <p:nvPr/>
        </p:nvSpPr>
        <p:spPr>
          <a:xfrm>
            <a:off x="4908753" y="1268731"/>
            <a:ext cx="2806497" cy="499521"/>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dummy text its not here to be read</a:t>
            </a:r>
          </a:p>
          <a:p>
            <a:pPr marL="404622" lvl="2" indent="-198882" defTabSz="717947">
              <a:spcBef>
                <a:spcPts val="450"/>
              </a:spcBef>
              <a:buClrTx/>
            </a:pPr>
            <a:r>
              <a:rPr lang="en-US" sz="825" dirty="0">
                <a:solidFill>
                  <a:srgbClr val="313131"/>
                </a:solidFill>
                <a:latin typeface="Arial"/>
              </a:rPr>
              <a:t>This is a level two bullet this is dummy text its not here to be read</a:t>
            </a:r>
          </a:p>
        </p:txBody>
      </p:sp>
      <p:sp>
        <p:nvSpPr>
          <p:cNvPr id="20" name="Text Placeholder 5"/>
          <p:cNvSpPr txBox="1">
            <a:spLocks/>
          </p:cNvSpPr>
          <p:nvPr/>
        </p:nvSpPr>
        <p:spPr>
          <a:xfrm>
            <a:off x="4908753" y="2194846"/>
            <a:ext cx="2806497" cy="499521"/>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dummy text its not here to be read</a:t>
            </a:r>
          </a:p>
          <a:p>
            <a:pPr marL="404622" lvl="2" indent="-198882" defTabSz="717947">
              <a:spcBef>
                <a:spcPts val="450"/>
              </a:spcBef>
              <a:buClrTx/>
            </a:pPr>
            <a:r>
              <a:rPr lang="en-US" sz="825" dirty="0">
                <a:solidFill>
                  <a:srgbClr val="313131"/>
                </a:solidFill>
                <a:latin typeface="Arial"/>
              </a:rPr>
              <a:t>This is a level two bullet this is dummy text its not here to be read</a:t>
            </a:r>
          </a:p>
        </p:txBody>
      </p:sp>
      <p:sp>
        <p:nvSpPr>
          <p:cNvPr id="21" name="Text Placeholder 5"/>
          <p:cNvSpPr txBox="1">
            <a:spLocks/>
          </p:cNvSpPr>
          <p:nvPr/>
        </p:nvSpPr>
        <p:spPr>
          <a:xfrm>
            <a:off x="4908753" y="3165205"/>
            <a:ext cx="2806497" cy="499521"/>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dummy text its not here to be read</a:t>
            </a:r>
          </a:p>
          <a:p>
            <a:pPr marL="404622" lvl="2" indent="-198882" defTabSz="717947">
              <a:spcBef>
                <a:spcPts val="450"/>
              </a:spcBef>
              <a:buClrTx/>
            </a:pPr>
            <a:r>
              <a:rPr lang="en-US" sz="825" dirty="0">
                <a:solidFill>
                  <a:srgbClr val="313131"/>
                </a:solidFill>
                <a:latin typeface="Arial"/>
              </a:rPr>
              <a:t>This is a level two bullet this is dummy text its not here to be read</a:t>
            </a:r>
          </a:p>
        </p:txBody>
      </p:sp>
      <p:sp>
        <p:nvSpPr>
          <p:cNvPr id="22" name="Text Placeholder 5"/>
          <p:cNvSpPr txBox="1">
            <a:spLocks/>
          </p:cNvSpPr>
          <p:nvPr/>
        </p:nvSpPr>
        <p:spPr>
          <a:xfrm>
            <a:off x="4908753" y="4131707"/>
            <a:ext cx="2806497" cy="499521"/>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dummy text its not here to be read</a:t>
            </a:r>
          </a:p>
          <a:p>
            <a:pPr marL="404622" lvl="2" indent="-198882" defTabSz="717947">
              <a:spcBef>
                <a:spcPts val="450"/>
              </a:spcBef>
              <a:buClrTx/>
            </a:pPr>
            <a:r>
              <a:rPr lang="en-US" sz="825" dirty="0">
                <a:solidFill>
                  <a:srgbClr val="313131"/>
                </a:solidFill>
                <a:latin typeface="Arial"/>
              </a:rPr>
              <a:t>This is a level two bullet this is dummy text its not here to be read</a:t>
            </a:r>
          </a:p>
        </p:txBody>
      </p:sp>
    </p:spTree>
    <p:extLst>
      <p:ext uri="{BB962C8B-B14F-4D97-AF65-F5344CB8AC3E}">
        <p14:creationId xmlns:p14="http://schemas.microsoft.com/office/powerpoint/2010/main" val="114592914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01" name="Title 1"/>
          <p:cNvSpPr>
            <a:spLocks noGrp="1"/>
          </p:cNvSpPr>
          <p:nvPr>
            <p:ph type="title"/>
          </p:nvPr>
        </p:nvSpPr>
        <p:spPr/>
        <p:txBody>
          <a:bodyPr/>
          <a:lstStyle/>
          <a:p>
            <a:r>
              <a:rPr lang="en-US" dirty="0">
                <a:solidFill>
                  <a:srgbClr val="81BC00"/>
                </a:solidFill>
              </a:rPr>
              <a:t>Logic trees  </a:t>
            </a:r>
            <a:br>
              <a:rPr lang="en-US" dirty="0">
                <a:solidFill>
                  <a:srgbClr val="81BC00"/>
                </a:solidFill>
              </a:rPr>
            </a:br>
            <a:r>
              <a:rPr lang="en-US" dirty="0">
                <a:solidFill>
                  <a:srgbClr val="575757"/>
                </a:solidFill>
              </a:rPr>
              <a:t>Vertical</a:t>
            </a:r>
          </a:p>
        </p:txBody>
      </p:sp>
      <p:cxnSp>
        <p:nvCxnSpPr>
          <p:cNvPr id="144" name="AutoShape 15"/>
          <p:cNvCxnSpPr>
            <a:cxnSpLocks noChangeShapeType="1"/>
            <a:stCxn id="156" idx="2"/>
            <a:endCxn id="165" idx="0"/>
          </p:cNvCxnSpPr>
          <p:nvPr/>
        </p:nvCxnSpPr>
        <p:spPr bwMode="auto">
          <a:xfrm rot="5400000">
            <a:off x="3233738" y="1119902"/>
            <a:ext cx="594122" cy="2080022"/>
          </a:xfrm>
          <a:prstGeom prst="bentConnector3">
            <a:avLst>
              <a:gd name="adj1" fmla="val 49898"/>
            </a:avLst>
          </a:prstGeom>
          <a:noFill/>
          <a:ln w="12700">
            <a:solidFill>
              <a:srgbClr val="B4B4B4"/>
            </a:solidFill>
            <a:miter lim="800000"/>
            <a:headEnd/>
            <a:tailEnd/>
          </a:ln>
        </p:spPr>
      </p:cxnSp>
      <p:cxnSp>
        <p:nvCxnSpPr>
          <p:cNvPr id="145" name="AutoShape 16"/>
          <p:cNvCxnSpPr>
            <a:cxnSpLocks noChangeShapeType="1"/>
            <a:stCxn id="156" idx="2"/>
            <a:endCxn id="167" idx="0"/>
          </p:cNvCxnSpPr>
          <p:nvPr/>
        </p:nvCxnSpPr>
        <p:spPr bwMode="auto">
          <a:xfrm rot="16200000" flipH="1">
            <a:off x="5314951" y="1118712"/>
            <a:ext cx="594122" cy="2082403"/>
          </a:xfrm>
          <a:prstGeom prst="bentConnector3">
            <a:avLst>
              <a:gd name="adj1" fmla="val 49898"/>
            </a:avLst>
          </a:prstGeom>
          <a:noFill/>
          <a:ln w="12700">
            <a:solidFill>
              <a:srgbClr val="B4B4B4"/>
            </a:solidFill>
            <a:miter lim="800000"/>
            <a:headEnd/>
            <a:tailEnd/>
          </a:ln>
        </p:spPr>
      </p:cxnSp>
      <p:cxnSp>
        <p:nvCxnSpPr>
          <p:cNvPr id="146" name="AutoShape 17"/>
          <p:cNvCxnSpPr>
            <a:cxnSpLocks noChangeShapeType="1"/>
            <a:stCxn id="166" idx="0"/>
            <a:endCxn id="156" idx="2"/>
          </p:cNvCxnSpPr>
          <p:nvPr/>
        </p:nvCxnSpPr>
        <p:spPr bwMode="auto">
          <a:xfrm rot="16200000">
            <a:off x="4273749" y="2159913"/>
            <a:ext cx="594122" cy="0"/>
          </a:xfrm>
          <a:prstGeom prst="straightConnector1">
            <a:avLst/>
          </a:prstGeom>
          <a:noFill/>
          <a:ln w="12700">
            <a:solidFill>
              <a:srgbClr val="B4B4B4"/>
            </a:solidFill>
            <a:round/>
            <a:headEnd/>
            <a:tailEnd/>
          </a:ln>
        </p:spPr>
      </p:cxnSp>
      <p:cxnSp>
        <p:nvCxnSpPr>
          <p:cNvPr id="147" name="AutoShape 18"/>
          <p:cNvCxnSpPr>
            <a:cxnSpLocks noChangeShapeType="1"/>
            <a:stCxn id="157" idx="0"/>
            <a:endCxn id="165" idx="2"/>
          </p:cNvCxnSpPr>
          <p:nvPr/>
        </p:nvCxnSpPr>
        <p:spPr bwMode="auto">
          <a:xfrm rot="5400000" flipH="1" flipV="1">
            <a:off x="1846064" y="3000494"/>
            <a:ext cx="595313" cy="694134"/>
          </a:xfrm>
          <a:prstGeom prst="bentConnector3">
            <a:avLst>
              <a:gd name="adj1" fmla="val 50000"/>
            </a:avLst>
          </a:prstGeom>
          <a:noFill/>
          <a:ln w="12700">
            <a:solidFill>
              <a:srgbClr val="B4B4B4"/>
            </a:solidFill>
            <a:miter lim="800000"/>
            <a:headEnd/>
            <a:tailEnd/>
          </a:ln>
        </p:spPr>
      </p:cxnSp>
      <p:cxnSp>
        <p:nvCxnSpPr>
          <p:cNvPr id="148" name="AutoShape 19"/>
          <p:cNvCxnSpPr>
            <a:cxnSpLocks noChangeShapeType="1"/>
            <a:stCxn id="165" idx="2"/>
            <a:endCxn id="159" idx="0"/>
          </p:cNvCxnSpPr>
          <p:nvPr/>
        </p:nvCxnSpPr>
        <p:spPr bwMode="auto">
          <a:xfrm rot="16200000" flipH="1">
            <a:off x="2539603" y="3001089"/>
            <a:ext cx="595313" cy="692944"/>
          </a:xfrm>
          <a:prstGeom prst="bentConnector3">
            <a:avLst>
              <a:gd name="adj1" fmla="val 50000"/>
            </a:avLst>
          </a:prstGeom>
          <a:noFill/>
          <a:ln w="12700">
            <a:solidFill>
              <a:srgbClr val="B4B4B4"/>
            </a:solidFill>
            <a:miter lim="800000"/>
            <a:headEnd/>
            <a:tailEnd/>
          </a:ln>
        </p:spPr>
      </p:cxnSp>
      <p:cxnSp>
        <p:nvCxnSpPr>
          <p:cNvPr id="149" name="AutoShape 20"/>
          <p:cNvCxnSpPr>
            <a:cxnSpLocks noChangeShapeType="1"/>
            <a:stCxn id="160" idx="0"/>
            <a:endCxn id="166" idx="2"/>
          </p:cNvCxnSpPr>
          <p:nvPr/>
        </p:nvCxnSpPr>
        <p:spPr bwMode="auto">
          <a:xfrm rot="16200000">
            <a:off x="3926682" y="3001089"/>
            <a:ext cx="595313" cy="692944"/>
          </a:xfrm>
          <a:prstGeom prst="bentConnector3">
            <a:avLst>
              <a:gd name="adj1" fmla="val 50000"/>
            </a:avLst>
          </a:prstGeom>
          <a:noFill/>
          <a:ln w="12700">
            <a:solidFill>
              <a:srgbClr val="B4B4B4"/>
            </a:solidFill>
            <a:miter lim="800000"/>
            <a:headEnd/>
            <a:tailEnd/>
          </a:ln>
        </p:spPr>
      </p:cxnSp>
      <p:cxnSp>
        <p:nvCxnSpPr>
          <p:cNvPr id="150" name="AutoShape 21"/>
          <p:cNvCxnSpPr>
            <a:cxnSpLocks noChangeShapeType="1"/>
            <a:stCxn id="166" idx="2"/>
            <a:endCxn id="162" idx="0"/>
          </p:cNvCxnSpPr>
          <p:nvPr/>
        </p:nvCxnSpPr>
        <p:spPr bwMode="auto">
          <a:xfrm rot="16200000" flipH="1">
            <a:off x="4620220" y="3000494"/>
            <a:ext cx="595313" cy="694134"/>
          </a:xfrm>
          <a:prstGeom prst="bentConnector3">
            <a:avLst>
              <a:gd name="adj1" fmla="val 50000"/>
            </a:avLst>
          </a:prstGeom>
          <a:noFill/>
          <a:ln w="12700">
            <a:solidFill>
              <a:srgbClr val="B4B4B4"/>
            </a:solidFill>
            <a:miter lim="800000"/>
            <a:headEnd/>
            <a:tailEnd/>
          </a:ln>
        </p:spPr>
      </p:cxnSp>
      <p:cxnSp>
        <p:nvCxnSpPr>
          <p:cNvPr id="151" name="AutoShape 22"/>
          <p:cNvCxnSpPr>
            <a:cxnSpLocks noChangeShapeType="1"/>
            <a:stCxn id="163" idx="0"/>
            <a:endCxn id="167" idx="2"/>
          </p:cNvCxnSpPr>
          <p:nvPr/>
        </p:nvCxnSpPr>
        <p:spPr bwMode="auto">
          <a:xfrm rot="16200000">
            <a:off x="6007894" y="2999899"/>
            <a:ext cx="595313" cy="695325"/>
          </a:xfrm>
          <a:prstGeom prst="bentConnector3">
            <a:avLst>
              <a:gd name="adj1" fmla="val 50000"/>
            </a:avLst>
          </a:prstGeom>
          <a:noFill/>
          <a:ln w="12700">
            <a:solidFill>
              <a:srgbClr val="B4B4B4"/>
            </a:solidFill>
            <a:miter lim="800000"/>
            <a:headEnd/>
            <a:tailEnd/>
          </a:ln>
        </p:spPr>
      </p:cxnSp>
      <p:cxnSp>
        <p:nvCxnSpPr>
          <p:cNvPr id="152" name="AutoShape 23"/>
          <p:cNvCxnSpPr>
            <a:cxnSpLocks noChangeShapeType="1"/>
            <a:stCxn id="167" idx="2"/>
            <a:endCxn id="168" idx="0"/>
          </p:cNvCxnSpPr>
          <p:nvPr/>
        </p:nvCxnSpPr>
        <p:spPr bwMode="auto">
          <a:xfrm rot="16200000" flipH="1">
            <a:off x="6702028" y="3001089"/>
            <a:ext cx="595313" cy="692944"/>
          </a:xfrm>
          <a:prstGeom prst="bentConnector3">
            <a:avLst>
              <a:gd name="adj1" fmla="val 50000"/>
            </a:avLst>
          </a:prstGeom>
          <a:noFill/>
          <a:ln w="12700">
            <a:solidFill>
              <a:srgbClr val="B4B4B4"/>
            </a:solidFill>
            <a:miter lim="800000"/>
            <a:headEnd/>
            <a:tailEnd/>
          </a:ln>
        </p:spPr>
      </p:cxnSp>
      <p:cxnSp>
        <p:nvCxnSpPr>
          <p:cNvPr id="153" name="AutoShape 24"/>
          <p:cNvCxnSpPr>
            <a:cxnSpLocks noChangeShapeType="1"/>
            <a:stCxn id="158" idx="0"/>
            <a:endCxn id="165" idx="2"/>
          </p:cNvCxnSpPr>
          <p:nvPr/>
        </p:nvCxnSpPr>
        <p:spPr bwMode="auto">
          <a:xfrm rot="16200000">
            <a:off x="2193131" y="3347561"/>
            <a:ext cx="595313" cy="0"/>
          </a:xfrm>
          <a:prstGeom prst="straightConnector1">
            <a:avLst/>
          </a:prstGeom>
          <a:noFill/>
          <a:ln w="12700">
            <a:solidFill>
              <a:srgbClr val="B4B4B4"/>
            </a:solidFill>
            <a:round/>
            <a:headEnd/>
            <a:tailEnd/>
          </a:ln>
        </p:spPr>
      </p:cxnSp>
      <p:cxnSp>
        <p:nvCxnSpPr>
          <p:cNvPr id="154" name="AutoShape 25"/>
          <p:cNvCxnSpPr>
            <a:cxnSpLocks noChangeShapeType="1"/>
            <a:stCxn id="161" idx="0"/>
            <a:endCxn id="166" idx="2"/>
          </p:cNvCxnSpPr>
          <p:nvPr/>
        </p:nvCxnSpPr>
        <p:spPr bwMode="auto">
          <a:xfrm rot="16200000">
            <a:off x="4273153" y="3347561"/>
            <a:ext cx="595313" cy="0"/>
          </a:xfrm>
          <a:prstGeom prst="straightConnector1">
            <a:avLst/>
          </a:prstGeom>
          <a:noFill/>
          <a:ln w="12700">
            <a:solidFill>
              <a:srgbClr val="B4B4B4"/>
            </a:solidFill>
            <a:round/>
            <a:headEnd/>
            <a:tailEnd/>
          </a:ln>
        </p:spPr>
      </p:cxnSp>
      <p:cxnSp>
        <p:nvCxnSpPr>
          <p:cNvPr id="155" name="AutoShape 26"/>
          <p:cNvCxnSpPr>
            <a:cxnSpLocks noChangeShapeType="1"/>
            <a:stCxn id="164" idx="0"/>
            <a:endCxn id="167" idx="2"/>
          </p:cNvCxnSpPr>
          <p:nvPr/>
        </p:nvCxnSpPr>
        <p:spPr bwMode="auto">
          <a:xfrm rot="5400000" flipH="1" flipV="1">
            <a:off x="6354961" y="3346966"/>
            <a:ext cx="595313" cy="1190"/>
          </a:xfrm>
          <a:prstGeom prst="straightConnector1">
            <a:avLst/>
          </a:prstGeom>
          <a:noFill/>
          <a:ln w="12700">
            <a:solidFill>
              <a:srgbClr val="B4B4B4"/>
            </a:solidFill>
            <a:miter lim="800000"/>
            <a:headEnd/>
            <a:tailEnd/>
          </a:ln>
        </p:spPr>
      </p:cxnSp>
      <p:sp>
        <p:nvSpPr>
          <p:cNvPr id="156" name="Rectangle 155"/>
          <p:cNvSpPr>
            <a:spLocks noChangeArrowheads="1"/>
          </p:cNvSpPr>
          <p:nvPr/>
        </p:nvSpPr>
        <p:spPr bwMode="auto">
          <a:xfrm>
            <a:off x="4095750" y="1268730"/>
            <a:ext cx="950119" cy="594122"/>
          </a:xfrm>
          <a:prstGeom prst="rect">
            <a:avLst/>
          </a:prstGeom>
          <a:solidFill>
            <a:srgbClr val="D6D8D7"/>
          </a:solidFill>
          <a:ln w="12700" algn="ctr">
            <a:noFill/>
            <a:miter lim="800000"/>
            <a:headEnd type="none" w="sm" len="sm"/>
            <a:tailEnd type="none" w="sm" len="sm"/>
          </a:ln>
        </p:spPr>
        <p:txBody>
          <a:bodyPr wrap="square" lIns="27000" tIns="27000" rIns="27000" bIns="27000" anchor="ctr"/>
          <a:lstStyle/>
          <a:p>
            <a:pPr algn="ctr" defTabSz="685800">
              <a:buClrTx/>
              <a:defRPr/>
            </a:pPr>
            <a:r>
              <a:rPr lang="en-US" altLang="ja-JP" sz="1050" dirty="0">
                <a:solidFill>
                  <a:srgbClr val="313131"/>
                </a:solidFill>
                <a:ea typeface="ＭＳ Ｐゴシック" pitchFamily="50" charset="-128"/>
                <a:cs typeface="+mn-cs"/>
              </a:rPr>
              <a:t>Text</a:t>
            </a:r>
          </a:p>
        </p:txBody>
      </p:sp>
      <p:sp>
        <p:nvSpPr>
          <p:cNvPr id="157" name="Rectangle 156"/>
          <p:cNvSpPr>
            <a:spLocks noChangeArrowheads="1"/>
          </p:cNvSpPr>
          <p:nvPr/>
        </p:nvSpPr>
        <p:spPr bwMode="auto">
          <a:xfrm>
            <a:off x="1507332" y="3645218"/>
            <a:ext cx="579835" cy="582215"/>
          </a:xfrm>
          <a:prstGeom prst="rect">
            <a:avLst/>
          </a:prstGeom>
          <a:solidFill>
            <a:srgbClr val="D6D8D7"/>
          </a:solidFill>
          <a:ln w="12700" algn="ctr">
            <a:noFill/>
            <a:miter lim="800000"/>
            <a:headEnd type="none" w="sm" len="sm"/>
            <a:tailEnd type="none" w="sm" len="sm"/>
          </a:ln>
        </p:spPr>
        <p:txBody>
          <a:bodyPr wrap="square" lIns="27000" tIns="27000" rIns="27000" bIns="27000" anchor="ctr"/>
          <a:lstStyle/>
          <a:p>
            <a:pPr algn="ctr" defTabSz="685800">
              <a:buClrTx/>
              <a:defRPr/>
            </a:pPr>
            <a:r>
              <a:rPr lang="en-US" altLang="ja-JP" sz="1050">
                <a:solidFill>
                  <a:srgbClr val="313131"/>
                </a:solidFill>
                <a:ea typeface="ＭＳ Ｐゴシック" pitchFamily="50" charset="-128"/>
                <a:cs typeface="+mn-cs"/>
              </a:rPr>
              <a:t>Text</a:t>
            </a:r>
            <a:endParaRPr lang="en-US" altLang="ja-JP" sz="1050" dirty="0">
              <a:solidFill>
                <a:srgbClr val="313131"/>
              </a:solidFill>
              <a:ea typeface="ＭＳ Ｐゴシック" pitchFamily="50" charset="-128"/>
              <a:cs typeface="+mn-cs"/>
            </a:endParaRPr>
          </a:p>
        </p:txBody>
      </p:sp>
      <p:sp>
        <p:nvSpPr>
          <p:cNvPr id="158" name="Rectangle 157"/>
          <p:cNvSpPr>
            <a:spLocks noChangeArrowheads="1"/>
          </p:cNvSpPr>
          <p:nvPr/>
        </p:nvSpPr>
        <p:spPr bwMode="auto">
          <a:xfrm>
            <a:off x="2200275" y="3645218"/>
            <a:ext cx="581025" cy="582215"/>
          </a:xfrm>
          <a:prstGeom prst="rect">
            <a:avLst/>
          </a:prstGeom>
          <a:solidFill>
            <a:srgbClr val="D6D8D7"/>
          </a:solidFill>
          <a:ln w="12700" algn="ctr">
            <a:noFill/>
            <a:miter lim="800000"/>
            <a:headEnd type="none" w="sm" len="sm"/>
            <a:tailEnd type="none" w="sm" len="sm"/>
          </a:ln>
        </p:spPr>
        <p:txBody>
          <a:bodyPr wrap="square" lIns="27000" tIns="27000" rIns="27000" bIns="27000" anchor="ctr"/>
          <a:lstStyle/>
          <a:p>
            <a:pPr algn="ctr" defTabSz="685800">
              <a:buClrTx/>
              <a:defRPr/>
            </a:pPr>
            <a:r>
              <a:rPr lang="en-US" altLang="ja-JP" sz="1050">
                <a:solidFill>
                  <a:srgbClr val="313131"/>
                </a:solidFill>
                <a:ea typeface="ＭＳ Ｐゴシック" pitchFamily="50" charset="-128"/>
                <a:cs typeface="+mn-cs"/>
              </a:rPr>
              <a:t>Text</a:t>
            </a:r>
            <a:endParaRPr lang="en-US" altLang="ja-JP" sz="1050" dirty="0">
              <a:solidFill>
                <a:srgbClr val="313131"/>
              </a:solidFill>
              <a:ea typeface="ＭＳ Ｐゴシック" pitchFamily="50" charset="-128"/>
              <a:cs typeface="+mn-cs"/>
            </a:endParaRPr>
          </a:p>
        </p:txBody>
      </p:sp>
      <p:sp>
        <p:nvSpPr>
          <p:cNvPr id="159" name="Rectangle 158"/>
          <p:cNvSpPr>
            <a:spLocks noChangeArrowheads="1"/>
          </p:cNvSpPr>
          <p:nvPr/>
        </p:nvSpPr>
        <p:spPr bwMode="auto">
          <a:xfrm>
            <a:off x="2894410" y="3645218"/>
            <a:ext cx="578644" cy="582215"/>
          </a:xfrm>
          <a:prstGeom prst="rect">
            <a:avLst/>
          </a:prstGeom>
          <a:solidFill>
            <a:srgbClr val="D6D8D7"/>
          </a:solidFill>
          <a:ln w="12700" algn="ctr">
            <a:noFill/>
            <a:miter lim="800000"/>
            <a:headEnd type="none" w="sm" len="sm"/>
            <a:tailEnd type="none" w="sm" len="sm"/>
          </a:ln>
        </p:spPr>
        <p:txBody>
          <a:bodyPr wrap="square" lIns="27000" tIns="27000" rIns="27000" bIns="27000" anchor="ctr"/>
          <a:lstStyle/>
          <a:p>
            <a:pPr algn="ctr" defTabSz="685800">
              <a:buClrTx/>
              <a:defRPr/>
            </a:pPr>
            <a:r>
              <a:rPr lang="en-US" altLang="ja-JP" sz="1050">
                <a:solidFill>
                  <a:srgbClr val="313131"/>
                </a:solidFill>
                <a:ea typeface="ＭＳ Ｐゴシック" pitchFamily="50" charset="-128"/>
                <a:cs typeface="+mn-cs"/>
              </a:rPr>
              <a:t>Text</a:t>
            </a:r>
            <a:endParaRPr lang="en-US" altLang="ja-JP" sz="1050" dirty="0">
              <a:solidFill>
                <a:srgbClr val="313131"/>
              </a:solidFill>
              <a:ea typeface="ＭＳ Ｐゴシック" pitchFamily="50" charset="-128"/>
              <a:cs typeface="+mn-cs"/>
            </a:endParaRPr>
          </a:p>
        </p:txBody>
      </p:sp>
      <p:sp>
        <p:nvSpPr>
          <p:cNvPr id="160" name="Rectangle 159"/>
          <p:cNvSpPr>
            <a:spLocks noChangeArrowheads="1"/>
          </p:cNvSpPr>
          <p:nvPr/>
        </p:nvSpPr>
        <p:spPr bwMode="auto">
          <a:xfrm>
            <a:off x="3586163" y="3645218"/>
            <a:ext cx="581025" cy="582215"/>
          </a:xfrm>
          <a:prstGeom prst="rect">
            <a:avLst/>
          </a:prstGeom>
          <a:solidFill>
            <a:srgbClr val="D6D8D7"/>
          </a:solidFill>
          <a:ln w="12700" algn="ctr">
            <a:noFill/>
            <a:miter lim="800000"/>
            <a:headEnd type="none" w="sm" len="sm"/>
            <a:tailEnd type="none" w="sm" len="sm"/>
          </a:ln>
        </p:spPr>
        <p:txBody>
          <a:bodyPr wrap="square" lIns="27000" tIns="27000" rIns="27000" bIns="27000" anchor="ctr"/>
          <a:lstStyle/>
          <a:p>
            <a:pPr algn="ctr" defTabSz="685800">
              <a:buClrTx/>
              <a:defRPr/>
            </a:pPr>
            <a:r>
              <a:rPr lang="en-US" altLang="ja-JP" sz="1050">
                <a:solidFill>
                  <a:srgbClr val="313131"/>
                </a:solidFill>
                <a:ea typeface="ＭＳ Ｐゴシック" pitchFamily="50" charset="-128"/>
                <a:cs typeface="+mn-cs"/>
              </a:rPr>
              <a:t>Text</a:t>
            </a:r>
            <a:endParaRPr lang="en-US" altLang="ja-JP" sz="1050" dirty="0">
              <a:solidFill>
                <a:srgbClr val="313131"/>
              </a:solidFill>
              <a:ea typeface="ＭＳ Ｐゴシック" pitchFamily="50" charset="-128"/>
              <a:cs typeface="+mn-cs"/>
            </a:endParaRPr>
          </a:p>
        </p:txBody>
      </p:sp>
      <p:sp>
        <p:nvSpPr>
          <p:cNvPr id="161" name="Rectangle 160"/>
          <p:cNvSpPr>
            <a:spLocks noChangeArrowheads="1"/>
          </p:cNvSpPr>
          <p:nvPr/>
        </p:nvSpPr>
        <p:spPr bwMode="auto">
          <a:xfrm>
            <a:off x="4281488" y="3645218"/>
            <a:ext cx="579835" cy="582215"/>
          </a:xfrm>
          <a:prstGeom prst="rect">
            <a:avLst/>
          </a:prstGeom>
          <a:solidFill>
            <a:srgbClr val="D6D8D7"/>
          </a:solidFill>
          <a:ln w="12700" algn="ctr">
            <a:noFill/>
            <a:miter lim="800000"/>
            <a:headEnd type="none" w="sm" len="sm"/>
            <a:tailEnd type="none" w="sm" len="sm"/>
          </a:ln>
        </p:spPr>
        <p:txBody>
          <a:bodyPr wrap="square" lIns="27000" tIns="27000" rIns="27000" bIns="27000" anchor="ctr"/>
          <a:lstStyle/>
          <a:p>
            <a:pPr algn="ctr" defTabSz="685800">
              <a:buClrTx/>
              <a:defRPr/>
            </a:pPr>
            <a:r>
              <a:rPr lang="en-US" altLang="ja-JP" sz="1050">
                <a:solidFill>
                  <a:srgbClr val="313131"/>
                </a:solidFill>
                <a:ea typeface="ＭＳ Ｐゴシック" pitchFamily="50" charset="-128"/>
                <a:cs typeface="+mn-cs"/>
              </a:rPr>
              <a:t>Text</a:t>
            </a:r>
            <a:endParaRPr lang="en-US" altLang="ja-JP" sz="1050" dirty="0">
              <a:solidFill>
                <a:srgbClr val="313131"/>
              </a:solidFill>
              <a:ea typeface="ＭＳ Ｐゴシック" pitchFamily="50" charset="-128"/>
              <a:cs typeface="+mn-cs"/>
            </a:endParaRPr>
          </a:p>
        </p:txBody>
      </p:sp>
      <p:sp>
        <p:nvSpPr>
          <p:cNvPr id="162" name="Rectangle 161"/>
          <p:cNvSpPr>
            <a:spLocks noChangeArrowheads="1"/>
          </p:cNvSpPr>
          <p:nvPr/>
        </p:nvSpPr>
        <p:spPr bwMode="auto">
          <a:xfrm>
            <a:off x="4974432" y="3645218"/>
            <a:ext cx="578644" cy="582215"/>
          </a:xfrm>
          <a:prstGeom prst="rect">
            <a:avLst/>
          </a:prstGeom>
          <a:solidFill>
            <a:srgbClr val="D6D8D7"/>
          </a:solidFill>
          <a:ln w="12700" algn="ctr">
            <a:noFill/>
            <a:miter lim="800000"/>
            <a:headEnd type="none" w="sm" len="sm"/>
            <a:tailEnd type="none" w="sm" len="sm"/>
          </a:ln>
        </p:spPr>
        <p:txBody>
          <a:bodyPr wrap="square" lIns="27000" tIns="27000" rIns="27000" bIns="27000" anchor="ctr"/>
          <a:lstStyle/>
          <a:p>
            <a:pPr algn="ctr" defTabSz="685800">
              <a:buClrTx/>
              <a:defRPr/>
            </a:pPr>
            <a:r>
              <a:rPr lang="en-US" altLang="ja-JP" sz="1050">
                <a:solidFill>
                  <a:srgbClr val="313131"/>
                </a:solidFill>
                <a:ea typeface="ＭＳ Ｐゴシック" pitchFamily="50" charset="-128"/>
                <a:cs typeface="+mn-cs"/>
              </a:rPr>
              <a:t>Text</a:t>
            </a:r>
            <a:endParaRPr lang="en-US" altLang="ja-JP" sz="1050" dirty="0">
              <a:solidFill>
                <a:srgbClr val="313131"/>
              </a:solidFill>
              <a:ea typeface="ＭＳ Ｐゴシック" pitchFamily="50" charset="-128"/>
              <a:cs typeface="+mn-cs"/>
            </a:endParaRPr>
          </a:p>
        </p:txBody>
      </p:sp>
      <p:sp>
        <p:nvSpPr>
          <p:cNvPr id="163" name="Rectangle 162"/>
          <p:cNvSpPr>
            <a:spLocks noChangeArrowheads="1"/>
          </p:cNvSpPr>
          <p:nvPr/>
        </p:nvSpPr>
        <p:spPr bwMode="auto">
          <a:xfrm>
            <a:off x="5667375" y="3645218"/>
            <a:ext cx="581025" cy="582215"/>
          </a:xfrm>
          <a:prstGeom prst="rect">
            <a:avLst/>
          </a:prstGeom>
          <a:solidFill>
            <a:srgbClr val="D6D8D7"/>
          </a:solidFill>
          <a:ln w="12700" algn="ctr">
            <a:noFill/>
            <a:miter lim="800000"/>
            <a:headEnd type="none" w="sm" len="sm"/>
            <a:tailEnd type="none" w="sm" len="sm"/>
          </a:ln>
        </p:spPr>
        <p:txBody>
          <a:bodyPr wrap="square" lIns="27000" tIns="27000" rIns="27000" bIns="27000" anchor="ctr"/>
          <a:lstStyle/>
          <a:p>
            <a:pPr algn="ctr" defTabSz="685800">
              <a:buClrTx/>
              <a:defRPr/>
            </a:pPr>
            <a:r>
              <a:rPr lang="en-US" altLang="ja-JP" sz="1050">
                <a:solidFill>
                  <a:srgbClr val="313131"/>
                </a:solidFill>
                <a:ea typeface="ＭＳ Ｐゴシック" pitchFamily="50" charset="-128"/>
                <a:cs typeface="+mn-cs"/>
              </a:rPr>
              <a:t>Text</a:t>
            </a:r>
            <a:endParaRPr lang="en-US" altLang="ja-JP" sz="1050" dirty="0">
              <a:solidFill>
                <a:srgbClr val="313131"/>
              </a:solidFill>
              <a:ea typeface="ＭＳ Ｐゴシック" pitchFamily="50" charset="-128"/>
              <a:cs typeface="+mn-cs"/>
            </a:endParaRPr>
          </a:p>
        </p:txBody>
      </p:sp>
      <p:sp>
        <p:nvSpPr>
          <p:cNvPr id="164" name="Rectangle 163"/>
          <p:cNvSpPr>
            <a:spLocks noChangeArrowheads="1"/>
          </p:cNvSpPr>
          <p:nvPr/>
        </p:nvSpPr>
        <p:spPr bwMode="auto">
          <a:xfrm>
            <a:off x="6361510" y="3645218"/>
            <a:ext cx="579834" cy="582215"/>
          </a:xfrm>
          <a:prstGeom prst="rect">
            <a:avLst/>
          </a:prstGeom>
          <a:solidFill>
            <a:srgbClr val="D6D8D7"/>
          </a:solidFill>
          <a:ln w="12700" algn="ctr">
            <a:noFill/>
            <a:miter lim="800000"/>
            <a:headEnd type="none" w="sm" len="sm"/>
            <a:tailEnd type="none" w="sm" len="sm"/>
          </a:ln>
        </p:spPr>
        <p:txBody>
          <a:bodyPr wrap="square" lIns="27000" tIns="27000" rIns="27000" bIns="27000" anchor="ctr"/>
          <a:lstStyle/>
          <a:p>
            <a:pPr algn="ctr" defTabSz="685800">
              <a:buClrTx/>
              <a:defRPr/>
            </a:pPr>
            <a:r>
              <a:rPr lang="en-US" altLang="ja-JP" sz="1050">
                <a:solidFill>
                  <a:srgbClr val="313131"/>
                </a:solidFill>
                <a:ea typeface="ＭＳ Ｐゴシック" pitchFamily="50" charset="-128"/>
                <a:cs typeface="+mn-cs"/>
              </a:rPr>
              <a:t>Text</a:t>
            </a:r>
            <a:endParaRPr lang="en-US" altLang="ja-JP" sz="1050" dirty="0">
              <a:solidFill>
                <a:srgbClr val="313131"/>
              </a:solidFill>
              <a:ea typeface="ＭＳ Ｐゴシック" pitchFamily="50" charset="-128"/>
              <a:cs typeface="+mn-cs"/>
            </a:endParaRPr>
          </a:p>
        </p:txBody>
      </p:sp>
      <p:sp>
        <p:nvSpPr>
          <p:cNvPr id="165" name="Rectangle 164"/>
          <p:cNvSpPr>
            <a:spLocks noChangeArrowheads="1"/>
          </p:cNvSpPr>
          <p:nvPr/>
        </p:nvSpPr>
        <p:spPr bwMode="auto">
          <a:xfrm>
            <a:off x="2015729" y="2456974"/>
            <a:ext cx="950119" cy="592931"/>
          </a:xfrm>
          <a:prstGeom prst="rect">
            <a:avLst/>
          </a:prstGeom>
          <a:solidFill>
            <a:srgbClr val="D6D8D7"/>
          </a:solidFill>
          <a:ln w="12700" algn="ctr">
            <a:noFill/>
            <a:miter lim="800000"/>
            <a:headEnd type="none" w="sm" len="sm"/>
            <a:tailEnd type="none" w="sm" len="sm"/>
          </a:ln>
        </p:spPr>
        <p:txBody>
          <a:bodyPr wrap="square" lIns="27000" tIns="27000" rIns="27000" bIns="27000" anchor="ctr"/>
          <a:lstStyle/>
          <a:p>
            <a:pPr algn="ctr" defTabSz="685800">
              <a:buClrTx/>
              <a:defRPr/>
            </a:pPr>
            <a:r>
              <a:rPr lang="en-US" altLang="ja-JP" sz="1050">
                <a:solidFill>
                  <a:srgbClr val="313131"/>
                </a:solidFill>
                <a:ea typeface="ＭＳ Ｐゴシック" pitchFamily="50" charset="-128"/>
                <a:cs typeface="+mn-cs"/>
              </a:rPr>
              <a:t>Text</a:t>
            </a:r>
            <a:endParaRPr lang="en-US" altLang="ja-JP" sz="1050" dirty="0">
              <a:solidFill>
                <a:srgbClr val="313131"/>
              </a:solidFill>
              <a:ea typeface="ＭＳ Ｐゴシック" pitchFamily="50" charset="-128"/>
              <a:cs typeface="+mn-cs"/>
            </a:endParaRPr>
          </a:p>
        </p:txBody>
      </p:sp>
      <p:sp>
        <p:nvSpPr>
          <p:cNvPr id="166" name="Rectangle 165"/>
          <p:cNvSpPr>
            <a:spLocks noChangeArrowheads="1"/>
          </p:cNvSpPr>
          <p:nvPr/>
        </p:nvSpPr>
        <p:spPr bwMode="auto">
          <a:xfrm>
            <a:off x="4095750" y="2456974"/>
            <a:ext cx="950119" cy="592931"/>
          </a:xfrm>
          <a:prstGeom prst="rect">
            <a:avLst/>
          </a:prstGeom>
          <a:solidFill>
            <a:srgbClr val="D6D8D7"/>
          </a:solidFill>
          <a:ln w="12700" algn="ctr">
            <a:noFill/>
            <a:miter lim="800000"/>
            <a:headEnd type="none" w="sm" len="sm"/>
            <a:tailEnd type="none" w="sm" len="sm"/>
          </a:ln>
        </p:spPr>
        <p:txBody>
          <a:bodyPr wrap="square" lIns="27000" tIns="27000" rIns="27000" bIns="27000" anchor="ctr"/>
          <a:lstStyle/>
          <a:p>
            <a:pPr algn="ctr" defTabSz="685800">
              <a:buClrTx/>
              <a:defRPr/>
            </a:pPr>
            <a:r>
              <a:rPr lang="en-US" altLang="ja-JP" sz="1050" dirty="0">
                <a:solidFill>
                  <a:srgbClr val="313131"/>
                </a:solidFill>
                <a:ea typeface="ＭＳ Ｐゴシック" pitchFamily="50" charset="-128"/>
                <a:cs typeface="+mn-cs"/>
              </a:rPr>
              <a:t>Text</a:t>
            </a:r>
          </a:p>
        </p:txBody>
      </p:sp>
      <p:sp>
        <p:nvSpPr>
          <p:cNvPr id="167" name="Rectangle 166"/>
          <p:cNvSpPr>
            <a:spLocks noChangeArrowheads="1"/>
          </p:cNvSpPr>
          <p:nvPr/>
        </p:nvSpPr>
        <p:spPr bwMode="auto">
          <a:xfrm>
            <a:off x="6178154" y="2456974"/>
            <a:ext cx="948928" cy="592931"/>
          </a:xfrm>
          <a:prstGeom prst="rect">
            <a:avLst/>
          </a:prstGeom>
          <a:solidFill>
            <a:srgbClr val="D6D8D7"/>
          </a:solidFill>
          <a:ln w="12700" algn="ctr">
            <a:noFill/>
            <a:miter lim="800000"/>
            <a:headEnd type="none" w="sm" len="sm"/>
            <a:tailEnd type="none" w="sm" len="sm"/>
          </a:ln>
        </p:spPr>
        <p:txBody>
          <a:bodyPr wrap="square" lIns="27000" tIns="27000" rIns="27000" bIns="27000" anchor="ctr"/>
          <a:lstStyle/>
          <a:p>
            <a:pPr algn="ctr" defTabSz="685800">
              <a:buClrTx/>
              <a:defRPr/>
            </a:pPr>
            <a:r>
              <a:rPr lang="en-US" altLang="ja-JP" sz="1050">
                <a:solidFill>
                  <a:srgbClr val="313131"/>
                </a:solidFill>
                <a:ea typeface="ＭＳ Ｐゴシック" pitchFamily="50" charset="-128"/>
                <a:cs typeface="+mn-cs"/>
              </a:rPr>
              <a:t>Text</a:t>
            </a:r>
            <a:endParaRPr lang="en-US" altLang="ja-JP" sz="1050" dirty="0">
              <a:solidFill>
                <a:srgbClr val="313131"/>
              </a:solidFill>
              <a:ea typeface="ＭＳ Ｐゴシック" pitchFamily="50" charset="-128"/>
              <a:cs typeface="+mn-cs"/>
            </a:endParaRPr>
          </a:p>
        </p:txBody>
      </p:sp>
      <p:sp>
        <p:nvSpPr>
          <p:cNvPr id="168" name="Rectangle 167"/>
          <p:cNvSpPr>
            <a:spLocks noChangeArrowheads="1"/>
          </p:cNvSpPr>
          <p:nvPr/>
        </p:nvSpPr>
        <p:spPr bwMode="auto">
          <a:xfrm>
            <a:off x="7055644" y="3645218"/>
            <a:ext cx="581025" cy="582215"/>
          </a:xfrm>
          <a:prstGeom prst="rect">
            <a:avLst/>
          </a:prstGeom>
          <a:solidFill>
            <a:srgbClr val="D6D8D7"/>
          </a:solidFill>
          <a:ln w="12700" algn="ctr">
            <a:noFill/>
            <a:miter lim="800000"/>
            <a:headEnd type="none" w="sm" len="sm"/>
            <a:tailEnd type="none" w="sm" len="sm"/>
          </a:ln>
        </p:spPr>
        <p:txBody>
          <a:bodyPr wrap="square" lIns="27000" tIns="27000" rIns="27000" bIns="27000" anchor="ctr"/>
          <a:lstStyle/>
          <a:p>
            <a:pPr algn="ctr" defTabSz="685800">
              <a:buClrTx/>
              <a:defRPr/>
            </a:pPr>
            <a:r>
              <a:rPr lang="en-US" altLang="ja-JP" sz="1050">
                <a:solidFill>
                  <a:srgbClr val="313131"/>
                </a:solidFill>
                <a:ea typeface="ＭＳ Ｐゴシック" pitchFamily="50" charset="-128"/>
                <a:cs typeface="+mn-cs"/>
              </a:rPr>
              <a:t>Text</a:t>
            </a:r>
            <a:endParaRPr lang="en-US" altLang="ja-JP" sz="1050" dirty="0">
              <a:solidFill>
                <a:srgbClr val="313131"/>
              </a:solidFill>
              <a:ea typeface="ＭＳ Ｐゴシック" pitchFamily="50" charset="-128"/>
              <a:cs typeface="+mn-cs"/>
            </a:endParaRPr>
          </a:p>
        </p:txBody>
      </p:sp>
    </p:spTree>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5425" name="Title 1"/>
          <p:cNvSpPr>
            <a:spLocks noGrp="1"/>
          </p:cNvSpPr>
          <p:nvPr>
            <p:ph type="title"/>
          </p:nvPr>
        </p:nvSpPr>
        <p:spPr/>
        <p:txBody>
          <a:bodyPr/>
          <a:lstStyle/>
          <a:p>
            <a:r>
              <a:rPr lang="en-US" dirty="0">
                <a:solidFill>
                  <a:srgbClr val="81BC00"/>
                </a:solidFill>
              </a:rPr>
              <a:t>Logic trees </a:t>
            </a:r>
            <a:br>
              <a:rPr lang="en-US" dirty="0">
                <a:solidFill>
                  <a:srgbClr val="575757"/>
                </a:solidFill>
              </a:rPr>
            </a:br>
            <a:r>
              <a:rPr lang="en-US" dirty="0">
                <a:solidFill>
                  <a:srgbClr val="575757"/>
                </a:solidFill>
              </a:rPr>
              <a:t>Vertical with straight lines</a:t>
            </a:r>
          </a:p>
        </p:txBody>
      </p:sp>
      <p:sp>
        <p:nvSpPr>
          <p:cNvPr id="4" name="Rectangle 3"/>
          <p:cNvSpPr>
            <a:spLocks noChangeArrowheads="1"/>
          </p:cNvSpPr>
          <p:nvPr/>
        </p:nvSpPr>
        <p:spPr bwMode="auto">
          <a:xfrm>
            <a:off x="4093369" y="1268730"/>
            <a:ext cx="950119" cy="594122"/>
          </a:xfrm>
          <a:prstGeom prst="rect">
            <a:avLst/>
          </a:prstGeom>
          <a:solidFill>
            <a:srgbClr val="D6D8D7"/>
          </a:solidFill>
          <a:ln w="12700" algn="ctr">
            <a:noFill/>
            <a:miter lim="800000"/>
            <a:headEnd type="none" w="sm" len="sm"/>
            <a:tailEnd type="none" w="sm" len="sm"/>
          </a:ln>
        </p:spPr>
        <p:txBody>
          <a:bodyPr wrap="square" lIns="27000" tIns="27000" rIns="27000" bIns="27000" anchor="ctr"/>
          <a:lstStyle/>
          <a:p>
            <a:pPr algn="ctr" defTabSz="685800">
              <a:buClrTx/>
              <a:defRPr/>
            </a:pPr>
            <a:r>
              <a:rPr lang="en-US" altLang="ja-JP" sz="1050" kern="1200" dirty="0">
                <a:solidFill>
                  <a:srgbClr val="313131"/>
                </a:solidFill>
                <a:ea typeface="ＭＳ Ｐゴシック" pitchFamily="50" charset="-128"/>
                <a:cs typeface="+mn-cs"/>
              </a:rPr>
              <a:t>Text</a:t>
            </a:r>
          </a:p>
        </p:txBody>
      </p:sp>
      <p:cxnSp>
        <p:nvCxnSpPr>
          <p:cNvPr id="16" name="AutoShape 15"/>
          <p:cNvCxnSpPr>
            <a:cxnSpLocks noChangeShapeType="1"/>
            <a:stCxn id="4" idx="2"/>
            <a:endCxn id="13" idx="0"/>
          </p:cNvCxnSpPr>
          <p:nvPr/>
        </p:nvCxnSpPr>
        <p:spPr bwMode="auto">
          <a:xfrm rot="5400000">
            <a:off x="3231357" y="1119902"/>
            <a:ext cx="594122" cy="2080022"/>
          </a:xfrm>
          <a:prstGeom prst="straightConnector1">
            <a:avLst/>
          </a:prstGeom>
          <a:noFill/>
          <a:ln w="12700">
            <a:solidFill>
              <a:srgbClr val="B4B4B4"/>
            </a:solidFill>
            <a:miter lim="800000"/>
            <a:headEnd/>
            <a:tailEnd/>
          </a:ln>
        </p:spPr>
      </p:cxnSp>
      <p:cxnSp>
        <p:nvCxnSpPr>
          <p:cNvPr id="17" name="AutoShape 16"/>
          <p:cNvCxnSpPr>
            <a:cxnSpLocks noChangeShapeType="1"/>
            <a:stCxn id="4" idx="2"/>
            <a:endCxn id="15" idx="0"/>
          </p:cNvCxnSpPr>
          <p:nvPr/>
        </p:nvCxnSpPr>
        <p:spPr bwMode="auto">
          <a:xfrm rot="16200000" flipH="1">
            <a:off x="5312569" y="1118712"/>
            <a:ext cx="594122" cy="2082403"/>
          </a:xfrm>
          <a:prstGeom prst="straightConnector1">
            <a:avLst/>
          </a:prstGeom>
          <a:noFill/>
          <a:ln w="12700">
            <a:solidFill>
              <a:srgbClr val="B4B4B4"/>
            </a:solidFill>
            <a:miter lim="800000"/>
            <a:headEnd/>
            <a:tailEnd/>
          </a:ln>
        </p:spPr>
      </p:cxnSp>
      <p:cxnSp>
        <p:nvCxnSpPr>
          <p:cNvPr id="18" name="AutoShape 17"/>
          <p:cNvCxnSpPr>
            <a:cxnSpLocks noChangeShapeType="1"/>
            <a:stCxn id="14" idx="0"/>
            <a:endCxn id="4" idx="2"/>
          </p:cNvCxnSpPr>
          <p:nvPr/>
        </p:nvCxnSpPr>
        <p:spPr bwMode="auto">
          <a:xfrm rot="16200000">
            <a:off x="4271368" y="2159913"/>
            <a:ext cx="594122" cy="0"/>
          </a:xfrm>
          <a:prstGeom prst="straightConnector1">
            <a:avLst/>
          </a:prstGeom>
          <a:noFill/>
          <a:ln w="12700">
            <a:solidFill>
              <a:srgbClr val="B4B4B4"/>
            </a:solidFill>
            <a:round/>
            <a:headEnd/>
            <a:tailEnd/>
          </a:ln>
        </p:spPr>
      </p:cxnSp>
      <p:sp>
        <p:nvSpPr>
          <p:cNvPr id="13" name="Rectangle 12"/>
          <p:cNvSpPr>
            <a:spLocks noChangeArrowheads="1"/>
          </p:cNvSpPr>
          <p:nvPr/>
        </p:nvSpPr>
        <p:spPr bwMode="auto">
          <a:xfrm>
            <a:off x="2013348" y="2456974"/>
            <a:ext cx="950119" cy="592931"/>
          </a:xfrm>
          <a:prstGeom prst="rect">
            <a:avLst/>
          </a:prstGeom>
          <a:solidFill>
            <a:srgbClr val="D6D8D7"/>
          </a:solidFill>
          <a:ln w="12700" algn="ctr">
            <a:noFill/>
            <a:miter lim="800000"/>
            <a:headEnd type="none" w="sm" len="sm"/>
            <a:tailEnd type="none" w="sm" len="sm"/>
          </a:ln>
        </p:spPr>
        <p:txBody>
          <a:bodyPr wrap="square" lIns="27000" tIns="27000" rIns="27000" bIns="27000" anchor="ctr"/>
          <a:lstStyle/>
          <a:p>
            <a:pPr algn="ctr" defTabSz="685800">
              <a:buClrTx/>
              <a:defRPr/>
            </a:pPr>
            <a:r>
              <a:rPr lang="en-US" altLang="ja-JP" sz="1050" kern="1200">
                <a:solidFill>
                  <a:srgbClr val="313131"/>
                </a:solidFill>
                <a:ea typeface="ＭＳ Ｐゴシック" pitchFamily="50" charset="-128"/>
                <a:cs typeface="+mn-cs"/>
              </a:rPr>
              <a:t>Text</a:t>
            </a:r>
            <a:endParaRPr lang="en-US" altLang="ja-JP" sz="1050" kern="1200" dirty="0">
              <a:solidFill>
                <a:srgbClr val="313131"/>
              </a:solidFill>
              <a:ea typeface="ＭＳ Ｐゴシック" pitchFamily="50" charset="-128"/>
              <a:cs typeface="+mn-cs"/>
            </a:endParaRPr>
          </a:p>
        </p:txBody>
      </p:sp>
      <p:sp>
        <p:nvSpPr>
          <p:cNvPr id="14" name="Rectangle 13"/>
          <p:cNvSpPr>
            <a:spLocks noChangeArrowheads="1"/>
          </p:cNvSpPr>
          <p:nvPr/>
        </p:nvSpPr>
        <p:spPr bwMode="auto">
          <a:xfrm>
            <a:off x="4093369" y="2456974"/>
            <a:ext cx="950119" cy="592931"/>
          </a:xfrm>
          <a:prstGeom prst="rect">
            <a:avLst/>
          </a:prstGeom>
          <a:solidFill>
            <a:srgbClr val="D6D8D7"/>
          </a:solidFill>
          <a:ln w="12700" algn="ctr">
            <a:noFill/>
            <a:miter lim="800000"/>
            <a:headEnd type="none" w="sm" len="sm"/>
            <a:tailEnd type="none" w="sm" len="sm"/>
          </a:ln>
        </p:spPr>
        <p:txBody>
          <a:bodyPr wrap="square" lIns="27000" tIns="27000" rIns="27000" bIns="27000" anchor="ctr"/>
          <a:lstStyle/>
          <a:p>
            <a:pPr algn="ctr" defTabSz="685800">
              <a:buClrTx/>
              <a:defRPr/>
            </a:pPr>
            <a:r>
              <a:rPr lang="en-US" altLang="ja-JP" sz="1050" kern="1200">
                <a:solidFill>
                  <a:srgbClr val="313131"/>
                </a:solidFill>
                <a:ea typeface="ＭＳ Ｐゴシック" pitchFamily="50" charset="-128"/>
                <a:cs typeface="+mn-cs"/>
              </a:rPr>
              <a:t>Text</a:t>
            </a:r>
            <a:endParaRPr lang="en-US" altLang="ja-JP" sz="1050" kern="1200" dirty="0">
              <a:solidFill>
                <a:srgbClr val="313131"/>
              </a:solidFill>
              <a:ea typeface="ＭＳ Ｐゴシック" pitchFamily="50" charset="-128"/>
              <a:cs typeface="+mn-cs"/>
            </a:endParaRPr>
          </a:p>
        </p:txBody>
      </p:sp>
      <p:sp>
        <p:nvSpPr>
          <p:cNvPr id="15" name="Rectangle 14"/>
          <p:cNvSpPr>
            <a:spLocks noChangeArrowheads="1"/>
          </p:cNvSpPr>
          <p:nvPr/>
        </p:nvSpPr>
        <p:spPr bwMode="auto">
          <a:xfrm>
            <a:off x="6175773" y="2456974"/>
            <a:ext cx="948928" cy="592931"/>
          </a:xfrm>
          <a:prstGeom prst="rect">
            <a:avLst/>
          </a:prstGeom>
          <a:solidFill>
            <a:srgbClr val="D6D8D7"/>
          </a:solidFill>
          <a:ln w="12700" algn="ctr">
            <a:noFill/>
            <a:miter lim="800000"/>
            <a:headEnd type="none" w="sm" len="sm"/>
            <a:tailEnd type="none" w="sm" len="sm"/>
          </a:ln>
        </p:spPr>
        <p:txBody>
          <a:bodyPr wrap="square" lIns="27000" tIns="27000" rIns="27000" bIns="27000" anchor="ctr"/>
          <a:lstStyle/>
          <a:p>
            <a:pPr algn="ctr" defTabSz="685800">
              <a:buClrTx/>
              <a:defRPr/>
            </a:pPr>
            <a:r>
              <a:rPr lang="en-US" altLang="ja-JP" sz="1050" kern="1200">
                <a:solidFill>
                  <a:srgbClr val="313131"/>
                </a:solidFill>
                <a:ea typeface="ＭＳ Ｐゴシック" pitchFamily="50" charset="-128"/>
                <a:cs typeface="+mn-cs"/>
              </a:rPr>
              <a:t>Text</a:t>
            </a:r>
            <a:endParaRPr lang="en-US" altLang="ja-JP" sz="1050" kern="1200" dirty="0">
              <a:solidFill>
                <a:srgbClr val="313131"/>
              </a:solidFill>
              <a:ea typeface="ＭＳ Ｐゴシック" pitchFamily="50" charset="-128"/>
              <a:cs typeface="+mn-cs"/>
            </a:endParaRPr>
          </a:p>
        </p:txBody>
      </p:sp>
      <p:cxnSp>
        <p:nvCxnSpPr>
          <p:cNvPr id="19" name="AutoShape 18"/>
          <p:cNvCxnSpPr>
            <a:cxnSpLocks noChangeShapeType="1"/>
            <a:stCxn id="5" idx="0"/>
            <a:endCxn id="13" idx="2"/>
          </p:cNvCxnSpPr>
          <p:nvPr/>
        </p:nvCxnSpPr>
        <p:spPr bwMode="auto">
          <a:xfrm rot="5400000" flipH="1" flipV="1">
            <a:off x="1843683" y="3000494"/>
            <a:ext cx="595313" cy="694134"/>
          </a:xfrm>
          <a:prstGeom prst="straightConnector1">
            <a:avLst/>
          </a:prstGeom>
          <a:ln w="12700">
            <a:solidFill>
              <a:srgbClr val="B4B4B4"/>
            </a:solidFill>
          </a:ln>
        </p:spPr>
      </p:cxnSp>
      <p:cxnSp>
        <p:nvCxnSpPr>
          <p:cNvPr id="20" name="AutoShape 19"/>
          <p:cNvCxnSpPr>
            <a:cxnSpLocks noChangeShapeType="1"/>
            <a:stCxn id="13" idx="2"/>
            <a:endCxn id="7" idx="0"/>
          </p:cNvCxnSpPr>
          <p:nvPr/>
        </p:nvCxnSpPr>
        <p:spPr bwMode="auto">
          <a:xfrm rot="16200000" flipH="1">
            <a:off x="2537222" y="3001089"/>
            <a:ext cx="595313" cy="692944"/>
          </a:xfrm>
          <a:prstGeom prst="straightConnector1">
            <a:avLst/>
          </a:prstGeom>
          <a:ln w="12700">
            <a:solidFill>
              <a:srgbClr val="B4B4B4"/>
            </a:solidFill>
          </a:ln>
        </p:spPr>
      </p:cxnSp>
      <p:cxnSp>
        <p:nvCxnSpPr>
          <p:cNvPr id="21" name="AutoShape 20"/>
          <p:cNvCxnSpPr>
            <a:cxnSpLocks noChangeShapeType="1"/>
            <a:stCxn id="8" idx="0"/>
            <a:endCxn id="14" idx="2"/>
          </p:cNvCxnSpPr>
          <p:nvPr/>
        </p:nvCxnSpPr>
        <p:spPr bwMode="auto">
          <a:xfrm rot="5400000" flipH="1" flipV="1">
            <a:off x="3923705" y="3000494"/>
            <a:ext cx="595313" cy="694135"/>
          </a:xfrm>
          <a:prstGeom prst="straightConnector1">
            <a:avLst/>
          </a:prstGeom>
          <a:ln w="12700">
            <a:solidFill>
              <a:srgbClr val="B4B4B4"/>
            </a:solidFill>
          </a:ln>
        </p:spPr>
      </p:cxnSp>
      <p:cxnSp>
        <p:nvCxnSpPr>
          <p:cNvPr id="22" name="AutoShape 21"/>
          <p:cNvCxnSpPr>
            <a:cxnSpLocks noChangeShapeType="1"/>
            <a:stCxn id="14" idx="2"/>
            <a:endCxn id="10" idx="0"/>
          </p:cNvCxnSpPr>
          <p:nvPr/>
        </p:nvCxnSpPr>
        <p:spPr bwMode="auto">
          <a:xfrm rot="16200000" flipH="1">
            <a:off x="4617244" y="3001089"/>
            <a:ext cx="595313" cy="692944"/>
          </a:xfrm>
          <a:prstGeom prst="straightConnector1">
            <a:avLst/>
          </a:prstGeom>
          <a:ln w="12700">
            <a:solidFill>
              <a:srgbClr val="B4B4B4"/>
            </a:solidFill>
          </a:ln>
        </p:spPr>
      </p:cxnSp>
      <p:cxnSp>
        <p:nvCxnSpPr>
          <p:cNvPr id="23" name="AutoShape 22"/>
          <p:cNvCxnSpPr>
            <a:cxnSpLocks noChangeShapeType="1"/>
            <a:stCxn id="11" idx="0"/>
            <a:endCxn id="15" idx="2"/>
          </p:cNvCxnSpPr>
          <p:nvPr/>
        </p:nvCxnSpPr>
        <p:spPr bwMode="auto">
          <a:xfrm rot="5400000" flipH="1" flipV="1">
            <a:off x="6005512" y="2999899"/>
            <a:ext cx="595313" cy="695325"/>
          </a:xfrm>
          <a:prstGeom prst="straightConnector1">
            <a:avLst/>
          </a:prstGeom>
          <a:ln w="12700">
            <a:solidFill>
              <a:srgbClr val="B4B4B4"/>
            </a:solidFill>
          </a:ln>
        </p:spPr>
      </p:cxnSp>
      <p:cxnSp>
        <p:nvCxnSpPr>
          <p:cNvPr id="24" name="AutoShape 23"/>
          <p:cNvCxnSpPr>
            <a:cxnSpLocks noChangeShapeType="1"/>
            <a:stCxn id="15" idx="2"/>
            <a:endCxn id="28" idx="0"/>
          </p:cNvCxnSpPr>
          <p:nvPr/>
        </p:nvCxnSpPr>
        <p:spPr bwMode="auto">
          <a:xfrm rot="16200000" flipH="1">
            <a:off x="6699647" y="3001089"/>
            <a:ext cx="595313" cy="692944"/>
          </a:xfrm>
          <a:prstGeom prst="straightConnector1">
            <a:avLst/>
          </a:prstGeom>
          <a:ln w="12700">
            <a:solidFill>
              <a:srgbClr val="B4B4B4"/>
            </a:solidFill>
          </a:ln>
        </p:spPr>
      </p:cxnSp>
      <p:cxnSp>
        <p:nvCxnSpPr>
          <p:cNvPr id="25" name="AutoShape 24"/>
          <p:cNvCxnSpPr>
            <a:cxnSpLocks noChangeShapeType="1"/>
            <a:stCxn id="6" idx="0"/>
            <a:endCxn id="13" idx="2"/>
          </p:cNvCxnSpPr>
          <p:nvPr/>
        </p:nvCxnSpPr>
        <p:spPr bwMode="auto">
          <a:xfrm rot="16200000">
            <a:off x="2190750" y="3347561"/>
            <a:ext cx="595313" cy="0"/>
          </a:xfrm>
          <a:prstGeom prst="straightConnector1">
            <a:avLst/>
          </a:prstGeom>
          <a:ln w="12700">
            <a:solidFill>
              <a:srgbClr val="B4B4B4"/>
            </a:solidFill>
          </a:ln>
        </p:spPr>
      </p:cxnSp>
      <p:cxnSp>
        <p:nvCxnSpPr>
          <p:cNvPr id="26" name="AutoShape 25"/>
          <p:cNvCxnSpPr>
            <a:cxnSpLocks noChangeShapeType="1"/>
            <a:stCxn id="9" idx="0"/>
            <a:endCxn id="14" idx="2"/>
          </p:cNvCxnSpPr>
          <p:nvPr/>
        </p:nvCxnSpPr>
        <p:spPr bwMode="auto">
          <a:xfrm rot="16200000">
            <a:off x="4270772" y="3347561"/>
            <a:ext cx="595313" cy="0"/>
          </a:xfrm>
          <a:prstGeom prst="straightConnector1">
            <a:avLst/>
          </a:prstGeom>
          <a:ln w="12700">
            <a:solidFill>
              <a:srgbClr val="B4B4B4"/>
            </a:solidFill>
          </a:ln>
        </p:spPr>
      </p:cxnSp>
      <p:cxnSp>
        <p:nvCxnSpPr>
          <p:cNvPr id="27" name="AutoShape 26"/>
          <p:cNvCxnSpPr>
            <a:cxnSpLocks noChangeShapeType="1"/>
            <a:stCxn id="12" idx="0"/>
            <a:endCxn id="15" idx="2"/>
          </p:cNvCxnSpPr>
          <p:nvPr/>
        </p:nvCxnSpPr>
        <p:spPr bwMode="auto">
          <a:xfrm rot="5400000" flipH="1" flipV="1">
            <a:off x="6352580" y="3346966"/>
            <a:ext cx="595313" cy="1190"/>
          </a:xfrm>
          <a:prstGeom prst="straightConnector1">
            <a:avLst/>
          </a:prstGeom>
          <a:ln w="12700">
            <a:solidFill>
              <a:srgbClr val="B4B4B4"/>
            </a:solidFill>
          </a:ln>
        </p:spPr>
      </p:cxnSp>
      <p:sp>
        <p:nvSpPr>
          <p:cNvPr id="5" name="Rectangle 4"/>
          <p:cNvSpPr>
            <a:spLocks noChangeArrowheads="1"/>
          </p:cNvSpPr>
          <p:nvPr/>
        </p:nvSpPr>
        <p:spPr bwMode="auto">
          <a:xfrm>
            <a:off x="1504950" y="3645218"/>
            <a:ext cx="579835" cy="582215"/>
          </a:xfrm>
          <a:prstGeom prst="rect">
            <a:avLst/>
          </a:prstGeom>
          <a:solidFill>
            <a:srgbClr val="D6D8D7"/>
          </a:solidFill>
          <a:ln w="12700" algn="ctr">
            <a:noFill/>
            <a:miter lim="800000"/>
            <a:headEnd type="none" w="sm" len="sm"/>
            <a:tailEnd type="none" w="sm" len="sm"/>
          </a:ln>
        </p:spPr>
        <p:txBody>
          <a:bodyPr wrap="square" lIns="27000" tIns="27000" rIns="27000" bIns="27000" anchor="ctr"/>
          <a:lstStyle/>
          <a:p>
            <a:pPr algn="ctr" defTabSz="685800">
              <a:buClrTx/>
              <a:defRPr/>
            </a:pPr>
            <a:r>
              <a:rPr lang="en-US" altLang="ja-JP" sz="1050" kern="1200">
                <a:solidFill>
                  <a:srgbClr val="313131"/>
                </a:solidFill>
                <a:ea typeface="ＭＳ Ｐゴシック" pitchFamily="50" charset="-128"/>
                <a:cs typeface="+mn-cs"/>
              </a:rPr>
              <a:t>Text</a:t>
            </a:r>
            <a:endParaRPr lang="en-US" altLang="ja-JP" sz="1050" kern="1200" dirty="0">
              <a:solidFill>
                <a:srgbClr val="313131"/>
              </a:solidFill>
              <a:ea typeface="ＭＳ Ｐゴシック" pitchFamily="50" charset="-128"/>
              <a:cs typeface="+mn-cs"/>
            </a:endParaRPr>
          </a:p>
        </p:txBody>
      </p:sp>
      <p:sp>
        <p:nvSpPr>
          <p:cNvPr id="6" name="Rectangle 5"/>
          <p:cNvSpPr>
            <a:spLocks noChangeArrowheads="1"/>
          </p:cNvSpPr>
          <p:nvPr/>
        </p:nvSpPr>
        <p:spPr bwMode="auto">
          <a:xfrm>
            <a:off x="2197894" y="3645218"/>
            <a:ext cx="581025" cy="582215"/>
          </a:xfrm>
          <a:prstGeom prst="rect">
            <a:avLst/>
          </a:prstGeom>
          <a:solidFill>
            <a:srgbClr val="D6D8D7"/>
          </a:solidFill>
          <a:ln w="12700" algn="ctr">
            <a:noFill/>
            <a:miter lim="800000"/>
            <a:headEnd type="none" w="sm" len="sm"/>
            <a:tailEnd type="none" w="sm" len="sm"/>
          </a:ln>
        </p:spPr>
        <p:txBody>
          <a:bodyPr wrap="square" lIns="27000" tIns="27000" rIns="27000" bIns="27000" anchor="ctr"/>
          <a:lstStyle/>
          <a:p>
            <a:pPr algn="ctr" defTabSz="685800">
              <a:buClrTx/>
              <a:defRPr/>
            </a:pPr>
            <a:r>
              <a:rPr lang="en-US" altLang="ja-JP" sz="1050" kern="1200">
                <a:solidFill>
                  <a:srgbClr val="313131"/>
                </a:solidFill>
                <a:ea typeface="ＭＳ Ｐゴシック" pitchFamily="50" charset="-128"/>
                <a:cs typeface="+mn-cs"/>
              </a:rPr>
              <a:t>Text</a:t>
            </a:r>
            <a:endParaRPr lang="en-US" altLang="ja-JP" sz="1050" kern="1200" dirty="0">
              <a:solidFill>
                <a:srgbClr val="313131"/>
              </a:solidFill>
              <a:ea typeface="ＭＳ Ｐゴシック" pitchFamily="50" charset="-128"/>
              <a:cs typeface="+mn-cs"/>
            </a:endParaRPr>
          </a:p>
        </p:txBody>
      </p:sp>
      <p:sp>
        <p:nvSpPr>
          <p:cNvPr id="7" name="Rectangle 6"/>
          <p:cNvSpPr>
            <a:spLocks noChangeArrowheads="1"/>
          </p:cNvSpPr>
          <p:nvPr/>
        </p:nvSpPr>
        <p:spPr bwMode="auto">
          <a:xfrm>
            <a:off x="2892029" y="3645218"/>
            <a:ext cx="578644" cy="582215"/>
          </a:xfrm>
          <a:prstGeom prst="rect">
            <a:avLst/>
          </a:prstGeom>
          <a:solidFill>
            <a:srgbClr val="D6D8D7"/>
          </a:solidFill>
          <a:ln w="12700" algn="ctr">
            <a:noFill/>
            <a:miter lim="800000"/>
            <a:headEnd type="none" w="sm" len="sm"/>
            <a:tailEnd type="none" w="sm" len="sm"/>
          </a:ln>
        </p:spPr>
        <p:txBody>
          <a:bodyPr wrap="square" lIns="27000" tIns="27000" rIns="27000" bIns="27000" anchor="ctr"/>
          <a:lstStyle/>
          <a:p>
            <a:pPr algn="ctr" defTabSz="685800">
              <a:buClrTx/>
              <a:defRPr/>
            </a:pPr>
            <a:r>
              <a:rPr lang="en-US" altLang="ja-JP" sz="1050" kern="1200">
                <a:solidFill>
                  <a:srgbClr val="313131"/>
                </a:solidFill>
                <a:ea typeface="ＭＳ Ｐゴシック" pitchFamily="50" charset="-128"/>
                <a:cs typeface="+mn-cs"/>
              </a:rPr>
              <a:t>Text</a:t>
            </a:r>
            <a:endParaRPr lang="en-US" altLang="ja-JP" sz="1050" kern="1200" dirty="0">
              <a:solidFill>
                <a:srgbClr val="313131"/>
              </a:solidFill>
              <a:ea typeface="ＭＳ Ｐゴシック" pitchFamily="50" charset="-128"/>
              <a:cs typeface="+mn-cs"/>
            </a:endParaRPr>
          </a:p>
        </p:txBody>
      </p:sp>
      <p:sp>
        <p:nvSpPr>
          <p:cNvPr id="8" name="Rectangle 7"/>
          <p:cNvSpPr>
            <a:spLocks noChangeArrowheads="1"/>
          </p:cNvSpPr>
          <p:nvPr/>
        </p:nvSpPr>
        <p:spPr bwMode="auto">
          <a:xfrm>
            <a:off x="3583781" y="3645218"/>
            <a:ext cx="581025" cy="582215"/>
          </a:xfrm>
          <a:prstGeom prst="rect">
            <a:avLst/>
          </a:prstGeom>
          <a:solidFill>
            <a:srgbClr val="D6D8D7"/>
          </a:solidFill>
          <a:ln w="12700" algn="ctr">
            <a:noFill/>
            <a:miter lim="800000"/>
            <a:headEnd type="none" w="sm" len="sm"/>
            <a:tailEnd type="none" w="sm" len="sm"/>
          </a:ln>
        </p:spPr>
        <p:txBody>
          <a:bodyPr wrap="square" lIns="27000" tIns="27000" rIns="27000" bIns="27000" anchor="ctr"/>
          <a:lstStyle/>
          <a:p>
            <a:pPr algn="ctr" defTabSz="685800">
              <a:buClrTx/>
              <a:defRPr/>
            </a:pPr>
            <a:r>
              <a:rPr lang="en-US" altLang="ja-JP" sz="1050" kern="1200">
                <a:solidFill>
                  <a:srgbClr val="313131"/>
                </a:solidFill>
                <a:ea typeface="ＭＳ Ｐゴシック" pitchFamily="50" charset="-128"/>
                <a:cs typeface="+mn-cs"/>
              </a:rPr>
              <a:t>Text</a:t>
            </a:r>
            <a:endParaRPr lang="en-US" altLang="ja-JP" sz="1050" kern="1200" dirty="0">
              <a:solidFill>
                <a:srgbClr val="313131"/>
              </a:solidFill>
              <a:ea typeface="ＭＳ Ｐゴシック" pitchFamily="50" charset="-128"/>
              <a:cs typeface="+mn-cs"/>
            </a:endParaRPr>
          </a:p>
        </p:txBody>
      </p:sp>
      <p:sp>
        <p:nvSpPr>
          <p:cNvPr id="9" name="Rectangle 8"/>
          <p:cNvSpPr>
            <a:spLocks noChangeArrowheads="1"/>
          </p:cNvSpPr>
          <p:nvPr/>
        </p:nvSpPr>
        <p:spPr bwMode="auto">
          <a:xfrm>
            <a:off x="4279107" y="3645218"/>
            <a:ext cx="579835" cy="582215"/>
          </a:xfrm>
          <a:prstGeom prst="rect">
            <a:avLst/>
          </a:prstGeom>
          <a:solidFill>
            <a:srgbClr val="D6D8D7"/>
          </a:solidFill>
          <a:ln w="12700" algn="ctr">
            <a:noFill/>
            <a:miter lim="800000"/>
            <a:headEnd type="none" w="sm" len="sm"/>
            <a:tailEnd type="none" w="sm" len="sm"/>
          </a:ln>
        </p:spPr>
        <p:txBody>
          <a:bodyPr wrap="square" lIns="27000" tIns="27000" rIns="27000" bIns="27000" anchor="ctr"/>
          <a:lstStyle/>
          <a:p>
            <a:pPr algn="ctr" defTabSz="685800">
              <a:buClrTx/>
              <a:defRPr/>
            </a:pPr>
            <a:r>
              <a:rPr lang="en-US" altLang="ja-JP" sz="1050" kern="1200">
                <a:solidFill>
                  <a:srgbClr val="313131"/>
                </a:solidFill>
                <a:ea typeface="ＭＳ Ｐゴシック" pitchFamily="50" charset="-128"/>
                <a:cs typeface="+mn-cs"/>
              </a:rPr>
              <a:t>Text</a:t>
            </a:r>
            <a:endParaRPr lang="en-US" altLang="ja-JP" sz="1050" kern="1200" dirty="0">
              <a:solidFill>
                <a:srgbClr val="313131"/>
              </a:solidFill>
              <a:ea typeface="ＭＳ Ｐゴシック" pitchFamily="50" charset="-128"/>
              <a:cs typeface="+mn-cs"/>
            </a:endParaRPr>
          </a:p>
        </p:txBody>
      </p:sp>
      <p:sp>
        <p:nvSpPr>
          <p:cNvPr id="10" name="Rectangle 9"/>
          <p:cNvSpPr>
            <a:spLocks noChangeArrowheads="1"/>
          </p:cNvSpPr>
          <p:nvPr/>
        </p:nvSpPr>
        <p:spPr bwMode="auto">
          <a:xfrm>
            <a:off x="4972050" y="3645218"/>
            <a:ext cx="578644" cy="582215"/>
          </a:xfrm>
          <a:prstGeom prst="rect">
            <a:avLst/>
          </a:prstGeom>
          <a:solidFill>
            <a:srgbClr val="D6D8D7"/>
          </a:solidFill>
          <a:ln w="12700" algn="ctr">
            <a:noFill/>
            <a:miter lim="800000"/>
            <a:headEnd type="none" w="sm" len="sm"/>
            <a:tailEnd type="none" w="sm" len="sm"/>
          </a:ln>
        </p:spPr>
        <p:txBody>
          <a:bodyPr wrap="square" lIns="27000" tIns="27000" rIns="27000" bIns="27000" anchor="ctr"/>
          <a:lstStyle/>
          <a:p>
            <a:pPr algn="ctr" defTabSz="685800">
              <a:buClrTx/>
              <a:defRPr/>
            </a:pPr>
            <a:r>
              <a:rPr lang="en-US" altLang="ja-JP" sz="1050" kern="1200">
                <a:solidFill>
                  <a:srgbClr val="313131"/>
                </a:solidFill>
                <a:ea typeface="ＭＳ Ｐゴシック" pitchFamily="50" charset="-128"/>
                <a:cs typeface="+mn-cs"/>
              </a:rPr>
              <a:t>Text</a:t>
            </a:r>
            <a:endParaRPr lang="en-US" altLang="ja-JP" sz="1050" kern="1200" dirty="0">
              <a:solidFill>
                <a:srgbClr val="313131"/>
              </a:solidFill>
              <a:ea typeface="ＭＳ Ｐゴシック" pitchFamily="50" charset="-128"/>
              <a:cs typeface="+mn-cs"/>
            </a:endParaRPr>
          </a:p>
        </p:txBody>
      </p:sp>
      <p:sp>
        <p:nvSpPr>
          <p:cNvPr id="11" name="Rectangle 10"/>
          <p:cNvSpPr>
            <a:spLocks noChangeArrowheads="1"/>
          </p:cNvSpPr>
          <p:nvPr/>
        </p:nvSpPr>
        <p:spPr bwMode="auto">
          <a:xfrm>
            <a:off x="5664994" y="3645218"/>
            <a:ext cx="581025" cy="582215"/>
          </a:xfrm>
          <a:prstGeom prst="rect">
            <a:avLst/>
          </a:prstGeom>
          <a:solidFill>
            <a:srgbClr val="D6D8D7"/>
          </a:solidFill>
          <a:ln w="12700" algn="ctr">
            <a:noFill/>
            <a:miter lim="800000"/>
            <a:headEnd type="none" w="sm" len="sm"/>
            <a:tailEnd type="none" w="sm" len="sm"/>
          </a:ln>
        </p:spPr>
        <p:txBody>
          <a:bodyPr wrap="square" lIns="27000" tIns="27000" rIns="27000" bIns="27000" anchor="ctr"/>
          <a:lstStyle/>
          <a:p>
            <a:pPr algn="ctr" defTabSz="685800">
              <a:buClrTx/>
              <a:defRPr/>
            </a:pPr>
            <a:r>
              <a:rPr lang="en-US" altLang="ja-JP" sz="1050" kern="1200">
                <a:solidFill>
                  <a:srgbClr val="313131"/>
                </a:solidFill>
                <a:ea typeface="ＭＳ Ｐゴシック" pitchFamily="50" charset="-128"/>
                <a:cs typeface="+mn-cs"/>
              </a:rPr>
              <a:t>Text</a:t>
            </a:r>
            <a:endParaRPr lang="en-US" altLang="ja-JP" sz="1050" kern="1200" dirty="0">
              <a:solidFill>
                <a:srgbClr val="313131"/>
              </a:solidFill>
              <a:ea typeface="ＭＳ Ｐゴシック" pitchFamily="50" charset="-128"/>
              <a:cs typeface="+mn-cs"/>
            </a:endParaRPr>
          </a:p>
        </p:txBody>
      </p:sp>
      <p:sp>
        <p:nvSpPr>
          <p:cNvPr id="12" name="Rectangle 11"/>
          <p:cNvSpPr>
            <a:spLocks noChangeArrowheads="1"/>
          </p:cNvSpPr>
          <p:nvPr/>
        </p:nvSpPr>
        <p:spPr bwMode="auto">
          <a:xfrm>
            <a:off x="6359129" y="3645218"/>
            <a:ext cx="579834" cy="582215"/>
          </a:xfrm>
          <a:prstGeom prst="rect">
            <a:avLst/>
          </a:prstGeom>
          <a:solidFill>
            <a:srgbClr val="D6D8D7"/>
          </a:solidFill>
          <a:ln w="12700" algn="ctr">
            <a:noFill/>
            <a:miter lim="800000"/>
            <a:headEnd type="none" w="sm" len="sm"/>
            <a:tailEnd type="none" w="sm" len="sm"/>
          </a:ln>
        </p:spPr>
        <p:txBody>
          <a:bodyPr wrap="square" lIns="27000" tIns="27000" rIns="27000" bIns="27000" anchor="ctr"/>
          <a:lstStyle/>
          <a:p>
            <a:pPr algn="ctr" defTabSz="685800">
              <a:buClrTx/>
              <a:defRPr/>
            </a:pPr>
            <a:r>
              <a:rPr lang="en-US" altLang="ja-JP" sz="1050" kern="1200">
                <a:solidFill>
                  <a:srgbClr val="313131"/>
                </a:solidFill>
                <a:ea typeface="ＭＳ Ｐゴシック" pitchFamily="50" charset="-128"/>
                <a:cs typeface="+mn-cs"/>
              </a:rPr>
              <a:t>Text</a:t>
            </a:r>
            <a:endParaRPr lang="en-US" altLang="ja-JP" sz="1050" kern="1200" dirty="0">
              <a:solidFill>
                <a:srgbClr val="313131"/>
              </a:solidFill>
              <a:ea typeface="ＭＳ Ｐゴシック" pitchFamily="50" charset="-128"/>
              <a:cs typeface="+mn-cs"/>
            </a:endParaRPr>
          </a:p>
        </p:txBody>
      </p:sp>
      <p:sp>
        <p:nvSpPr>
          <p:cNvPr id="28" name="Rectangle 27"/>
          <p:cNvSpPr>
            <a:spLocks noChangeArrowheads="1"/>
          </p:cNvSpPr>
          <p:nvPr/>
        </p:nvSpPr>
        <p:spPr bwMode="auto">
          <a:xfrm>
            <a:off x="7053263" y="3645218"/>
            <a:ext cx="581025" cy="582215"/>
          </a:xfrm>
          <a:prstGeom prst="rect">
            <a:avLst/>
          </a:prstGeom>
          <a:solidFill>
            <a:srgbClr val="D6D8D7"/>
          </a:solidFill>
          <a:ln w="12700" algn="ctr">
            <a:noFill/>
            <a:miter lim="800000"/>
            <a:headEnd type="none" w="sm" len="sm"/>
            <a:tailEnd type="none" w="sm" len="sm"/>
          </a:ln>
        </p:spPr>
        <p:txBody>
          <a:bodyPr wrap="square" lIns="27000" tIns="27000" rIns="27000" bIns="27000" anchor="ctr"/>
          <a:lstStyle/>
          <a:p>
            <a:pPr algn="ctr" defTabSz="685800">
              <a:buClrTx/>
              <a:defRPr/>
            </a:pPr>
            <a:r>
              <a:rPr lang="en-US" altLang="ja-JP" sz="1050" kern="1200">
                <a:solidFill>
                  <a:srgbClr val="313131"/>
                </a:solidFill>
                <a:ea typeface="ＭＳ Ｐゴシック" pitchFamily="50" charset="-128"/>
                <a:cs typeface="+mn-cs"/>
              </a:rPr>
              <a:t>Text</a:t>
            </a:r>
            <a:endParaRPr lang="en-US" altLang="ja-JP" sz="1050" kern="1200" dirty="0">
              <a:solidFill>
                <a:srgbClr val="313131"/>
              </a:solidFill>
              <a:ea typeface="ＭＳ Ｐゴシック" pitchFamily="50" charset="-128"/>
              <a:cs typeface="+mn-cs"/>
            </a:endParaRPr>
          </a:p>
        </p:txBody>
      </p:sp>
    </p:spTree>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D76305A-5CCD-7C8E-BD7D-3C9B2C1500A3}"/>
              </a:ext>
            </a:extLst>
          </p:cNvPr>
          <p:cNvSpPr>
            <a:spLocks noGrp="1"/>
          </p:cNvSpPr>
          <p:nvPr>
            <p:ph type="title"/>
            <p:custDataLst>
              <p:tags r:id="rId1"/>
            </p:custDataLst>
          </p:nvPr>
        </p:nvSpPr>
        <p:spPr>
          <a:xfrm>
            <a:off x="205123" y="78049"/>
            <a:ext cx="8388000" cy="546478"/>
          </a:xfrm>
        </p:spPr>
        <p:txBody>
          <a:bodyPr/>
          <a:lstStyle/>
          <a:p>
            <a:pPr>
              <a:lnSpc>
                <a:spcPct val="100000"/>
              </a:lnSpc>
            </a:pPr>
            <a:r>
              <a:rPr lang="en-US" sz="1000" b="1" dirty="0">
                <a:solidFill>
                  <a:schemeClr val="bg1">
                    <a:lumMod val="65000"/>
                  </a:schemeClr>
                </a:solidFill>
              </a:rPr>
              <a:t>Recommendation #1</a:t>
            </a:r>
            <a:br>
              <a:rPr lang="en-US" sz="1800" dirty="0">
                <a:solidFill>
                  <a:srgbClr val="81BC00"/>
                </a:solidFill>
              </a:rPr>
            </a:br>
            <a:r>
              <a:rPr lang="en-US" sz="1800" b="1" dirty="0">
                <a:solidFill>
                  <a:srgbClr val="002776"/>
                </a:solidFill>
              </a:rPr>
              <a:t>Investor Bob should enter the Washington DC Airbnb market</a:t>
            </a:r>
          </a:p>
        </p:txBody>
      </p:sp>
      <p:graphicFrame>
        <p:nvGraphicFramePr>
          <p:cNvPr id="6" name="Chart 5">
            <a:extLst>
              <a:ext uri="{FF2B5EF4-FFF2-40B4-BE49-F238E27FC236}">
                <a16:creationId xmlns:a16="http://schemas.microsoft.com/office/drawing/2014/main" id="{B60CDCB2-BE72-0D8A-3DA4-7DC5BFC66379}"/>
              </a:ext>
            </a:extLst>
          </p:cNvPr>
          <p:cNvGraphicFramePr/>
          <p:nvPr>
            <p:custDataLst>
              <p:tags r:id="rId2"/>
            </p:custDataLst>
            <p:extLst>
              <p:ext uri="{D42A27DB-BD31-4B8C-83A1-F6EECF244321}">
                <p14:modId xmlns:p14="http://schemas.microsoft.com/office/powerpoint/2010/main" val="3240817879"/>
              </p:ext>
            </p:extLst>
          </p:nvPr>
        </p:nvGraphicFramePr>
        <p:xfrm>
          <a:off x="0" y="1834200"/>
          <a:ext cx="4288800" cy="3195000"/>
        </p:xfrm>
        <a:graphic>
          <a:graphicData uri="http://schemas.openxmlformats.org/drawingml/2006/chart">
            <c:chart xmlns:c="http://schemas.openxmlformats.org/drawingml/2006/chart" xmlns:r="http://schemas.openxmlformats.org/officeDocument/2006/relationships" r:id="rId8"/>
          </a:graphicData>
        </a:graphic>
      </p:graphicFrame>
      <p:cxnSp>
        <p:nvCxnSpPr>
          <p:cNvPr id="8" name="Straight Connector 7">
            <a:extLst>
              <a:ext uri="{FF2B5EF4-FFF2-40B4-BE49-F238E27FC236}">
                <a16:creationId xmlns:a16="http://schemas.microsoft.com/office/drawing/2014/main" id="{37FDF35B-01BC-7E64-AFA4-CCD1FD450485}"/>
              </a:ext>
            </a:extLst>
          </p:cNvPr>
          <p:cNvCxnSpPr>
            <a:cxnSpLocks/>
          </p:cNvCxnSpPr>
          <p:nvPr/>
        </p:nvCxnSpPr>
        <p:spPr>
          <a:xfrm>
            <a:off x="0" y="608512"/>
            <a:ext cx="9144000" cy="0"/>
          </a:xfrm>
          <a:prstGeom prst="line">
            <a:avLst/>
          </a:prstGeom>
          <a:ln w="76200">
            <a:solidFill>
              <a:srgbClr val="002776"/>
            </a:soli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BCA35516-324E-87FA-45AC-A0268B4BB04B}"/>
              </a:ext>
            </a:extLst>
          </p:cNvPr>
          <p:cNvSpPr txBox="1">
            <a:spLocks/>
          </p:cNvSpPr>
          <p:nvPr>
            <p:custDataLst>
              <p:tags r:id="rId3"/>
            </p:custDataLst>
          </p:nvPr>
        </p:nvSpPr>
        <p:spPr>
          <a:xfrm>
            <a:off x="324333" y="1009922"/>
            <a:ext cx="4485267" cy="369298"/>
          </a:xfrm>
          <a:prstGeom prst="rect">
            <a:avLst/>
          </a:prstGeom>
          <a:noFill/>
          <a:ln>
            <a:noFill/>
          </a:ln>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200" b="1" dirty="0">
                <a:solidFill>
                  <a:schemeClr val="tx1"/>
                </a:solidFill>
              </a:rPr>
              <a:t>Top five neighborhood clusters generated revenue greater national average</a:t>
            </a:r>
          </a:p>
        </p:txBody>
      </p:sp>
      <p:cxnSp>
        <p:nvCxnSpPr>
          <p:cNvPr id="10" name="Straight Connector 9">
            <a:extLst>
              <a:ext uri="{FF2B5EF4-FFF2-40B4-BE49-F238E27FC236}">
                <a16:creationId xmlns:a16="http://schemas.microsoft.com/office/drawing/2014/main" id="{CEA3FCA5-0CDF-C1BE-9FAB-CCF9F5AB17E5}"/>
              </a:ext>
            </a:extLst>
          </p:cNvPr>
          <p:cNvCxnSpPr>
            <a:cxnSpLocks/>
          </p:cNvCxnSpPr>
          <p:nvPr/>
        </p:nvCxnSpPr>
        <p:spPr>
          <a:xfrm>
            <a:off x="237600" y="1426800"/>
            <a:ext cx="43725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73B6108E-B53C-DC09-C2AE-4465CACDECA9}"/>
              </a:ext>
            </a:extLst>
          </p:cNvPr>
          <p:cNvSpPr txBox="1">
            <a:spLocks/>
          </p:cNvSpPr>
          <p:nvPr>
            <p:custDataLst>
              <p:tags r:id="rId4"/>
            </p:custDataLst>
          </p:nvPr>
        </p:nvSpPr>
        <p:spPr>
          <a:xfrm>
            <a:off x="289113" y="1550282"/>
            <a:ext cx="4485267" cy="169678"/>
          </a:xfrm>
          <a:prstGeom prst="rect">
            <a:avLst/>
          </a:prstGeom>
          <a:noFill/>
          <a:ln>
            <a:noFill/>
          </a:ln>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800" kern="1200" dirty="0">
                <a:solidFill>
                  <a:srgbClr val="313131"/>
                </a:solidFill>
                <a:latin typeface="+mn-lt"/>
                <a:ea typeface="+mj-ea"/>
                <a:cs typeface="+mj-cs"/>
              </a:rPr>
              <a:t>Average revenue per property per month. Top five neighborhood in Washington DC</a:t>
            </a:r>
            <a:r>
              <a:rPr lang="en-US" sz="900" dirty="0">
                <a:solidFill>
                  <a:srgbClr val="575757"/>
                </a:solidFill>
              </a:rPr>
              <a:t>.</a:t>
            </a:r>
          </a:p>
        </p:txBody>
      </p:sp>
      <p:cxnSp>
        <p:nvCxnSpPr>
          <p:cNvPr id="14" name="Straight Connector 13">
            <a:extLst>
              <a:ext uri="{FF2B5EF4-FFF2-40B4-BE49-F238E27FC236}">
                <a16:creationId xmlns:a16="http://schemas.microsoft.com/office/drawing/2014/main" id="{B7E5637A-4238-3F2B-7DE5-30762AC7C6E1}"/>
              </a:ext>
            </a:extLst>
          </p:cNvPr>
          <p:cNvCxnSpPr>
            <a:cxnSpLocks/>
          </p:cNvCxnSpPr>
          <p:nvPr/>
        </p:nvCxnSpPr>
        <p:spPr>
          <a:xfrm>
            <a:off x="706920" y="3344520"/>
            <a:ext cx="3378360" cy="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3F7A14E4-ABA5-2699-501B-250FFB2D5902}"/>
              </a:ext>
            </a:extLst>
          </p:cNvPr>
          <p:cNvSpPr txBox="1">
            <a:spLocks/>
          </p:cNvSpPr>
          <p:nvPr>
            <p:custDataLst>
              <p:tags r:id="rId5"/>
            </p:custDataLst>
          </p:nvPr>
        </p:nvSpPr>
        <p:spPr>
          <a:xfrm>
            <a:off x="719913" y="3187202"/>
            <a:ext cx="835527" cy="157978"/>
          </a:xfrm>
          <a:prstGeom prst="rect">
            <a:avLst/>
          </a:prstGeom>
          <a:noFill/>
          <a:ln>
            <a:noFill/>
          </a:ln>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800" dirty="0">
                <a:solidFill>
                  <a:srgbClr val="575757"/>
                </a:solidFill>
              </a:rPr>
              <a:t>National Average</a:t>
            </a:r>
          </a:p>
        </p:txBody>
      </p:sp>
      <p:sp>
        <p:nvSpPr>
          <p:cNvPr id="20" name="Title 1">
            <a:extLst>
              <a:ext uri="{FF2B5EF4-FFF2-40B4-BE49-F238E27FC236}">
                <a16:creationId xmlns:a16="http://schemas.microsoft.com/office/drawing/2014/main" id="{F92ACBD4-7422-058A-DA82-42A887CBFEB8}"/>
              </a:ext>
            </a:extLst>
          </p:cNvPr>
          <p:cNvSpPr txBox="1">
            <a:spLocks/>
          </p:cNvSpPr>
          <p:nvPr>
            <p:custDataLst>
              <p:tags r:id="rId6"/>
            </p:custDataLst>
          </p:nvPr>
        </p:nvSpPr>
        <p:spPr>
          <a:xfrm>
            <a:off x="4942053" y="1009922"/>
            <a:ext cx="3874287" cy="369298"/>
          </a:xfrm>
          <a:prstGeom prst="rect">
            <a:avLst/>
          </a:prstGeom>
          <a:noFill/>
          <a:ln>
            <a:noFill/>
          </a:ln>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200" b="1" dirty="0">
                <a:solidFill>
                  <a:schemeClr val="tx1"/>
                </a:solidFill>
              </a:rPr>
              <a:t>Competition is lesser in Washington DC for Airbnb properties</a:t>
            </a:r>
          </a:p>
        </p:txBody>
      </p:sp>
      <p:cxnSp>
        <p:nvCxnSpPr>
          <p:cNvPr id="21" name="Straight Connector 20">
            <a:extLst>
              <a:ext uri="{FF2B5EF4-FFF2-40B4-BE49-F238E27FC236}">
                <a16:creationId xmlns:a16="http://schemas.microsoft.com/office/drawing/2014/main" id="{607B13EC-8FD9-E3F8-771C-63EAA9A1C5B7}"/>
              </a:ext>
            </a:extLst>
          </p:cNvPr>
          <p:cNvCxnSpPr>
            <a:cxnSpLocks/>
          </p:cNvCxnSpPr>
          <p:nvPr/>
        </p:nvCxnSpPr>
        <p:spPr>
          <a:xfrm>
            <a:off x="4862940" y="1426800"/>
            <a:ext cx="415152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5" name="Text Placeholder 5">
            <a:extLst>
              <a:ext uri="{FF2B5EF4-FFF2-40B4-BE49-F238E27FC236}">
                <a16:creationId xmlns:a16="http://schemas.microsoft.com/office/drawing/2014/main" id="{2251FC32-EE15-8D10-2A5E-E752C31E0DF0}"/>
              </a:ext>
            </a:extLst>
          </p:cNvPr>
          <p:cNvSpPr txBox="1">
            <a:spLocks/>
          </p:cNvSpPr>
          <p:nvPr/>
        </p:nvSpPr>
        <p:spPr>
          <a:xfrm>
            <a:off x="4888945" y="1615016"/>
            <a:ext cx="4045505" cy="3261784"/>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l"/>
            <a:r>
              <a:rPr lang="en-US" sz="1000" b="1" dirty="0">
                <a:solidFill>
                  <a:srgbClr val="313131"/>
                </a:solidFill>
                <a:ea typeface="+mj-ea"/>
                <a:cs typeface="+mj-cs"/>
              </a:rPr>
              <a:t>Limited listings suggesting lower competition:</a:t>
            </a:r>
          </a:p>
          <a:p>
            <a:pPr marL="742950" lvl="1" indent="-285750"/>
            <a:r>
              <a:rPr lang="en-US" sz="1000" dirty="0">
                <a:solidFill>
                  <a:srgbClr val="313131"/>
                </a:solidFill>
              </a:rPr>
              <a:t>With only 8,000 active Airbnb listings, </a:t>
            </a:r>
            <a:r>
              <a:rPr lang="en-US" sz="1000" b="1" dirty="0">
                <a:solidFill>
                  <a:srgbClr val="313131"/>
                </a:solidFill>
              </a:rPr>
              <a:t>Washington DC has notably fewer </a:t>
            </a:r>
            <a:r>
              <a:rPr lang="en-US" sz="1000" dirty="0">
                <a:solidFill>
                  <a:srgbClr val="313131"/>
                </a:solidFill>
              </a:rPr>
              <a:t>than major cities like New York or Los Angeles.</a:t>
            </a:r>
          </a:p>
          <a:p>
            <a:pPr marL="742950" lvl="1" indent="-285750"/>
            <a:r>
              <a:rPr lang="en-US" sz="1000" dirty="0">
                <a:solidFill>
                  <a:srgbClr val="313131"/>
                </a:solidFill>
              </a:rPr>
              <a:t>This scarcity implies </a:t>
            </a:r>
            <a:r>
              <a:rPr lang="en-US" sz="1000" b="1" dirty="0">
                <a:solidFill>
                  <a:srgbClr val="313131"/>
                </a:solidFill>
              </a:rPr>
              <a:t>reduced competition for hosts</a:t>
            </a:r>
            <a:r>
              <a:rPr lang="en-US" sz="1000" dirty="0">
                <a:solidFill>
                  <a:srgbClr val="313131"/>
                </a:solidFill>
              </a:rPr>
              <a:t>, creating a favorable market.</a:t>
            </a:r>
          </a:p>
          <a:p>
            <a:r>
              <a:rPr lang="en-US" sz="1000" b="1" dirty="0">
                <a:solidFill>
                  <a:srgbClr val="313131"/>
                </a:solidFill>
                <a:ea typeface="+mj-ea"/>
                <a:cs typeface="+mj-cs"/>
              </a:rPr>
              <a:t>Consistent high demand and low supply:</a:t>
            </a:r>
          </a:p>
          <a:p>
            <a:pPr marL="742950" lvl="1" indent="-285750"/>
            <a:r>
              <a:rPr lang="en-US" sz="1000" b="1" dirty="0">
                <a:solidFill>
                  <a:srgbClr val="313131"/>
                </a:solidFill>
              </a:rPr>
              <a:t>Persistent high demand </a:t>
            </a:r>
            <a:r>
              <a:rPr lang="en-US" sz="1000" dirty="0">
                <a:solidFill>
                  <a:srgbClr val="313131"/>
                </a:solidFill>
              </a:rPr>
              <a:t>for Airbnb properties in Washington DC.</a:t>
            </a:r>
          </a:p>
          <a:p>
            <a:pPr marL="742950" lvl="1" indent="-285750"/>
            <a:r>
              <a:rPr lang="en-US" sz="1000" dirty="0">
                <a:solidFill>
                  <a:srgbClr val="313131"/>
                </a:solidFill>
              </a:rPr>
              <a:t>Lower supply leads to </a:t>
            </a:r>
            <a:r>
              <a:rPr lang="en-US" sz="1000" b="1" dirty="0">
                <a:solidFill>
                  <a:srgbClr val="313131"/>
                </a:solidFill>
              </a:rPr>
              <a:t>consistently high occupancy rates</a:t>
            </a:r>
            <a:r>
              <a:rPr lang="en-US" sz="1000" dirty="0">
                <a:solidFill>
                  <a:srgbClr val="313131"/>
                </a:solidFill>
              </a:rPr>
              <a:t>, indicating less competition for hosts.</a:t>
            </a:r>
          </a:p>
          <a:p>
            <a:pPr algn="l"/>
            <a:r>
              <a:rPr lang="en-US" sz="1000" b="1" dirty="0">
                <a:solidFill>
                  <a:srgbClr val="313131"/>
                </a:solidFill>
                <a:ea typeface="+mj-ea"/>
                <a:cs typeface="+mj-cs"/>
              </a:rPr>
              <a:t>Regulatory constraints on growth:</a:t>
            </a:r>
          </a:p>
          <a:p>
            <a:pPr marL="742950" lvl="1" indent="-285750"/>
            <a:r>
              <a:rPr lang="en-US" sz="1000" dirty="0">
                <a:solidFill>
                  <a:srgbClr val="313131"/>
                </a:solidFill>
              </a:rPr>
              <a:t>Washington DC's </a:t>
            </a:r>
            <a:r>
              <a:rPr lang="en-US" sz="1000" b="1" dirty="0">
                <a:solidFill>
                  <a:srgbClr val="313131"/>
                </a:solidFill>
              </a:rPr>
              <a:t>strict regulations</a:t>
            </a:r>
            <a:r>
              <a:rPr lang="en-US" sz="1000" dirty="0">
                <a:solidFill>
                  <a:srgbClr val="313131"/>
                </a:solidFill>
              </a:rPr>
              <a:t>, including licensing and zoning, restrict new Airbnb listings.</a:t>
            </a:r>
          </a:p>
          <a:p>
            <a:pPr marL="742950" lvl="1" indent="-285750"/>
            <a:r>
              <a:rPr lang="en-US" sz="1000" dirty="0">
                <a:solidFill>
                  <a:srgbClr val="313131"/>
                </a:solidFill>
              </a:rPr>
              <a:t>This regulatory environment </a:t>
            </a:r>
            <a:r>
              <a:rPr lang="en-US" sz="1000" b="1" dirty="0">
                <a:solidFill>
                  <a:srgbClr val="313131"/>
                </a:solidFill>
              </a:rPr>
              <a:t>deters potential hosts</a:t>
            </a:r>
            <a:r>
              <a:rPr lang="en-US" sz="1000" dirty="0">
                <a:solidFill>
                  <a:srgbClr val="313131"/>
                </a:solidFill>
              </a:rPr>
              <a:t>, maintaining a controlled and less saturated market.</a:t>
            </a:r>
          </a:p>
        </p:txBody>
      </p:sp>
      <p:grpSp>
        <p:nvGrpSpPr>
          <p:cNvPr id="38" name="Group 37">
            <a:extLst>
              <a:ext uri="{FF2B5EF4-FFF2-40B4-BE49-F238E27FC236}">
                <a16:creationId xmlns:a16="http://schemas.microsoft.com/office/drawing/2014/main" id="{4CA6E21E-3AE1-2424-CBC0-48FE561DBBC3}"/>
              </a:ext>
            </a:extLst>
          </p:cNvPr>
          <p:cNvGrpSpPr/>
          <p:nvPr/>
        </p:nvGrpSpPr>
        <p:grpSpPr>
          <a:xfrm>
            <a:off x="10153650" y="-1917290"/>
            <a:ext cx="16304956" cy="9803990"/>
            <a:chOff x="10153650" y="-1917290"/>
            <a:chExt cx="16304956" cy="9803990"/>
          </a:xfrm>
        </p:grpSpPr>
        <p:sp>
          <p:nvSpPr>
            <p:cNvPr id="36" name="Rectangle 35">
              <a:extLst>
                <a:ext uri="{FF2B5EF4-FFF2-40B4-BE49-F238E27FC236}">
                  <a16:creationId xmlns:a16="http://schemas.microsoft.com/office/drawing/2014/main" id="{66BA6F68-E334-2001-6370-8899526C375F}"/>
                </a:ext>
              </a:extLst>
            </p:cNvPr>
            <p:cNvSpPr/>
            <p:nvPr/>
          </p:nvSpPr>
          <p:spPr>
            <a:xfrm>
              <a:off x="10153650" y="-1917290"/>
              <a:ext cx="16304956" cy="980399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6" name="Picture 25">
              <a:extLst>
                <a:ext uri="{FF2B5EF4-FFF2-40B4-BE49-F238E27FC236}">
                  <a16:creationId xmlns:a16="http://schemas.microsoft.com/office/drawing/2014/main" id="{BCB94739-664E-24D5-8CD9-CF520BD4D5FA}"/>
                </a:ext>
              </a:extLst>
            </p:cNvPr>
            <p:cNvPicPr>
              <a:picLocks noChangeAspect="1"/>
            </p:cNvPicPr>
            <p:nvPr/>
          </p:nvPicPr>
          <p:blipFill>
            <a:blip r:embed="rId9"/>
            <a:stretch>
              <a:fillRect/>
            </a:stretch>
          </p:blipFill>
          <p:spPr>
            <a:xfrm>
              <a:off x="10337800" y="-438150"/>
              <a:ext cx="11411968" cy="4933950"/>
            </a:xfrm>
            <a:prstGeom prst="rect">
              <a:avLst/>
            </a:prstGeom>
          </p:spPr>
        </p:pic>
        <p:sp>
          <p:nvSpPr>
            <p:cNvPr id="28" name="TextBox 27">
              <a:extLst>
                <a:ext uri="{FF2B5EF4-FFF2-40B4-BE49-F238E27FC236}">
                  <a16:creationId xmlns:a16="http://schemas.microsoft.com/office/drawing/2014/main" id="{ECCAD21C-E3FD-49D6-2BE8-9EDAB05ADF3A}"/>
                </a:ext>
              </a:extLst>
            </p:cNvPr>
            <p:cNvSpPr txBox="1"/>
            <p:nvPr/>
          </p:nvSpPr>
          <p:spPr>
            <a:xfrm>
              <a:off x="10533743" y="4712716"/>
              <a:ext cx="8363858" cy="3108543"/>
            </a:xfrm>
            <a:prstGeom prst="rect">
              <a:avLst/>
            </a:prstGeom>
            <a:noFill/>
          </p:spPr>
          <p:txBody>
            <a:bodyPr wrap="square">
              <a:spAutoFit/>
            </a:bodyPr>
            <a:lstStyle/>
            <a:p>
              <a:pPr algn="l"/>
              <a:r>
                <a:rPr lang="en-US" b="1" i="0" dirty="0">
                  <a:solidFill>
                    <a:srgbClr val="333333"/>
                  </a:solidFill>
                  <a:effectLst/>
                  <a:latin typeface="inherit"/>
                </a:rPr>
                <a:t>Bar Chart</a:t>
              </a:r>
              <a:r>
                <a:rPr lang="en-US" b="0" i="0" dirty="0">
                  <a:solidFill>
                    <a:srgbClr val="333333"/>
                  </a:solidFill>
                  <a:effectLst/>
                  <a:latin typeface="inherit"/>
                </a:rPr>
                <a:t> - Use this when you’re trying to show how categories compare with each other (e.g. compare sales between companies)</a:t>
              </a:r>
            </a:p>
            <a:p>
              <a:pPr algn="l"/>
              <a:endParaRPr lang="en-US" b="0" i="0" dirty="0">
                <a:solidFill>
                  <a:srgbClr val="333333"/>
                </a:solidFill>
                <a:effectLst/>
                <a:latin typeface="Georgia" panose="02040502050405020303" pitchFamily="18" charset="0"/>
              </a:endParaRPr>
            </a:p>
            <a:p>
              <a:pPr algn="l"/>
              <a:r>
                <a:rPr lang="en-US" b="1" i="0" dirty="0">
                  <a:solidFill>
                    <a:srgbClr val="333333"/>
                  </a:solidFill>
                  <a:effectLst/>
                  <a:latin typeface="inherit"/>
                </a:rPr>
                <a:t>Column Chart</a:t>
              </a:r>
              <a:r>
                <a:rPr lang="en-US" b="0" i="0" dirty="0">
                  <a:solidFill>
                    <a:srgbClr val="333333"/>
                  </a:solidFill>
                  <a:effectLst/>
                  <a:latin typeface="inherit"/>
                </a:rPr>
                <a:t> - This is also good for comparing categories, but is best when comparing these categories over time (e.g. compare sales between years)</a:t>
              </a:r>
            </a:p>
            <a:p>
              <a:pPr algn="l"/>
              <a:endParaRPr lang="en-US" b="0" i="0" dirty="0">
                <a:solidFill>
                  <a:srgbClr val="333333"/>
                </a:solidFill>
                <a:effectLst/>
                <a:latin typeface="Georgia" panose="02040502050405020303" pitchFamily="18" charset="0"/>
              </a:endParaRPr>
            </a:p>
            <a:p>
              <a:pPr algn="l"/>
              <a:r>
                <a:rPr lang="en-US" b="1" i="0" dirty="0">
                  <a:solidFill>
                    <a:srgbClr val="333333"/>
                  </a:solidFill>
                  <a:effectLst/>
                  <a:latin typeface="inherit"/>
                </a:rPr>
                <a:t>Pie Chart </a:t>
              </a:r>
              <a:r>
                <a:rPr lang="en-US" b="0" i="0" dirty="0">
                  <a:solidFill>
                    <a:srgbClr val="333333"/>
                  </a:solidFill>
                  <a:effectLst/>
                  <a:latin typeface="inherit"/>
                </a:rPr>
                <a:t>- Use this when you’re trying to compare a category or group of categories with the total (e.g. 80% of smartphone users prefer to use a case). Do not use this to compare the categories with each other.</a:t>
              </a:r>
            </a:p>
            <a:p>
              <a:pPr algn="l"/>
              <a:endParaRPr lang="en-US" b="0" i="0" dirty="0">
                <a:solidFill>
                  <a:srgbClr val="333333"/>
                </a:solidFill>
                <a:effectLst/>
                <a:latin typeface="Georgia" panose="02040502050405020303" pitchFamily="18" charset="0"/>
              </a:endParaRPr>
            </a:p>
            <a:p>
              <a:pPr algn="l"/>
              <a:r>
                <a:rPr lang="en-US" b="1" i="0" dirty="0">
                  <a:solidFill>
                    <a:srgbClr val="333333"/>
                  </a:solidFill>
                  <a:effectLst/>
                  <a:latin typeface="inherit"/>
                </a:rPr>
                <a:t>Line Chart</a:t>
              </a:r>
              <a:r>
                <a:rPr lang="en-US" b="0" i="0" dirty="0">
                  <a:solidFill>
                    <a:srgbClr val="333333"/>
                  </a:solidFill>
                  <a:effectLst/>
                  <a:latin typeface="inherit"/>
                </a:rPr>
                <a:t> - This chart is good for showing changes over time, especially changes that do not “reset” after each period (e.g. show headcount by year)</a:t>
              </a:r>
            </a:p>
            <a:p>
              <a:pPr algn="l"/>
              <a:endParaRPr lang="en-US" b="0" i="0" dirty="0">
                <a:solidFill>
                  <a:srgbClr val="333333"/>
                </a:solidFill>
                <a:effectLst/>
                <a:latin typeface="Georgia" panose="02040502050405020303" pitchFamily="18" charset="0"/>
              </a:endParaRPr>
            </a:p>
            <a:p>
              <a:pPr algn="l"/>
              <a:r>
                <a:rPr lang="en-US" b="1" i="0" dirty="0">
                  <a:solidFill>
                    <a:srgbClr val="333333"/>
                  </a:solidFill>
                  <a:effectLst/>
                  <a:latin typeface="inherit"/>
                </a:rPr>
                <a:t>Scatter Plot</a:t>
              </a:r>
              <a:r>
                <a:rPr lang="en-US" b="0" i="0" dirty="0">
                  <a:solidFill>
                    <a:srgbClr val="333333"/>
                  </a:solidFill>
                  <a:effectLst/>
                  <a:latin typeface="inherit"/>
                </a:rPr>
                <a:t> - Use this chart to show correlation between two variables (e.g. show that higher income is correlated with higher overall spend)</a:t>
              </a:r>
              <a:endParaRPr lang="en-US" b="0" i="0" dirty="0">
                <a:solidFill>
                  <a:srgbClr val="333333"/>
                </a:solidFill>
                <a:effectLst/>
                <a:latin typeface="Georgia" panose="02040502050405020303" pitchFamily="18" charset="0"/>
              </a:endParaRPr>
            </a:p>
          </p:txBody>
        </p:sp>
        <p:sp>
          <p:nvSpPr>
            <p:cNvPr id="30" name="TextBox 29">
              <a:extLst>
                <a:ext uri="{FF2B5EF4-FFF2-40B4-BE49-F238E27FC236}">
                  <a16:creationId xmlns:a16="http://schemas.microsoft.com/office/drawing/2014/main" id="{9CB7A629-7349-7369-44BC-5061777B936C}"/>
                </a:ext>
              </a:extLst>
            </p:cNvPr>
            <p:cNvSpPr txBox="1"/>
            <p:nvPr/>
          </p:nvSpPr>
          <p:spPr>
            <a:xfrm>
              <a:off x="19831504" y="842608"/>
              <a:ext cx="3552371" cy="307777"/>
            </a:xfrm>
            <a:prstGeom prst="rect">
              <a:avLst/>
            </a:prstGeom>
            <a:noFill/>
          </p:spPr>
          <p:txBody>
            <a:bodyPr wrap="square">
              <a:spAutoFit/>
            </a:bodyPr>
            <a:lstStyle/>
            <a:p>
              <a:r>
                <a:rPr lang="en-US" dirty="0">
                  <a:solidFill>
                    <a:srgbClr val="333333"/>
                  </a:solidFill>
                  <a:latin typeface="Georgia" panose="02040502050405020303" pitchFamily="18" charset="0"/>
                </a:rPr>
                <a:t>S</a:t>
              </a:r>
              <a:r>
                <a:rPr lang="en-US" b="0" i="0" dirty="0">
                  <a:solidFill>
                    <a:srgbClr val="333333"/>
                  </a:solidFill>
                  <a:effectLst/>
                  <a:latin typeface="Georgia" panose="02040502050405020303" pitchFamily="18" charset="0"/>
                </a:rPr>
                <a:t>tart with their main idea in the title </a:t>
              </a:r>
              <a:endParaRPr lang="en-AU" dirty="0"/>
            </a:p>
          </p:txBody>
        </p:sp>
        <p:sp>
          <p:nvSpPr>
            <p:cNvPr id="32" name="TextBox 31">
              <a:extLst>
                <a:ext uri="{FF2B5EF4-FFF2-40B4-BE49-F238E27FC236}">
                  <a16:creationId xmlns:a16="http://schemas.microsoft.com/office/drawing/2014/main" id="{56AB0CEC-622C-4E2B-6DA1-7B90721F31B0}"/>
                </a:ext>
              </a:extLst>
            </p:cNvPr>
            <p:cNvSpPr txBox="1"/>
            <p:nvPr/>
          </p:nvSpPr>
          <p:spPr>
            <a:xfrm>
              <a:off x="20648766" y="1656015"/>
              <a:ext cx="4814734" cy="954107"/>
            </a:xfrm>
            <a:prstGeom prst="rect">
              <a:avLst/>
            </a:prstGeom>
            <a:noFill/>
          </p:spPr>
          <p:txBody>
            <a:bodyPr wrap="square">
              <a:spAutoFit/>
            </a:bodyPr>
            <a:lstStyle/>
            <a:p>
              <a:r>
                <a:rPr lang="en-US" b="1" i="0" dirty="0">
                  <a:effectLst/>
                  <a:latin typeface="inherit"/>
                </a:rPr>
                <a:t>Then they break that main idea into two component parts</a:t>
              </a:r>
            </a:p>
            <a:p>
              <a:r>
                <a:rPr lang="en-US" b="0" i="0" dirty="0">
                  <a:solidFill>
                    <a:srgbClr val="333333"/>
                  </a:solidFill>
                  <a:effectLst/>
                  <a:latin typeface="Georgia" panose="02040502050405020303" pitchFamily="18" charset="0"/>
                </a:rPr>
                <a:t>By breaking the title into two different components (i.e. key arguments),</a:t>
              </a:r>
              <a:r>
                <a:rPr lang="en-US" b="1" i="0" dirty="0">
                  <a:effectLst/>
                  <a:latin typeface="inherit"/>
                </a:rPr>
                <a:t> it makes it easier for the audience </a:t>
              </a:r>
              <a:r>
                <a:rPr lang="en-US" b="0" i="0" dirty="0">
                  <a:solidFill>
                    <a:srgbClr val="333333"/>
                  </a:solidFill>
                  <a:effectLst/>
                  <a:latin typeface="Georgia" panose="02040502050405020303" pitchFamily="18" charset="0"/>
                </a:rPr>
                <a:t>to understand how we reached the main conclusion</a:t>
              </a:r>
              <a:endParaRPr lang="en-AU" dirty="0"/>
            </a:p>
          </p:txBody>
        </p:sp>
        <p:sp>
          <p:nvSpPr>
            <p:cNvPr id="35" name="TextBox 34">
              <a:extLst>
                <a:ext uri="{FF2B5EF4-FFF2-40B4-BE49-F238E27FC236}">
                  <a16:creationId xmlns:a16="http://schemas.microsoft.com/office/drawing/2014/main" id="{F3EFFD4D-FFED-1257-9950-4444EB0C38A7}"/>
                </a:ext>
              </a:extLst>
            </p:cNvPr>
            <p:cNvSpPr txBox="1"/>
            <p:nvPr/>
          </p:nvSpPr>
          <p:spPr>
            <a:xfrm>
              <a:off x="21452935" y="2810400"/>
              <a:ext cx="4717230" cy="1384995"/>
            </a:xfrm>
            <a:prstGeom prst="rect">
              <a:avLst/>
            </a:prstGeom>
            <a:noFill/>
          </p:spPr>
          <p:txBody>
            <a:bodyPr wrap="square">
              <a:spAutoFit/>
            </a:bodyPr>
            <a:lstStyle/>
            <a:p>
              <a:r>
                <a:rPr lang="en-US" b="0" i="0" dirty="0">
                  <a:solidFill>
                    <a:srgbClr val="333333"/>
                  </a:solidFill>
                  <a:effectLst/>
                  <a:latin typeface="Georgia" panose="02040502050405020303" pitchFamily="18" charset="0"/>
                </a:rPr>
                <a:t>Then taking it one level deeper, </a:t>
              </a:r>
              <a:r>
                <a:rPr lang="en-US" b="1" i="0" dirty="0">
                  <a:effectLst/>
                  <a:latin typeface="inherit"/>
                </a:rPr>
                <a:t>they’ve broken each of the two subtitles out further</a:t>
              </a:r>
              <a:r>
                <a:rPr lang="en-US" b="0" i="0" dirty="0">
                  <a:solidFill>
                    <a:srgbClr val="333333"/>
                  </a:solidFill>
                  <a:effectLst/>
                  <a:latin typeface="Georgia" panose="02040502050405020303" pitchFamily="18" charset="0"/>
                </a:rPr>
                <a:t> with additional bullet points and a chart. In other words, the bullet points and the chart each serve as supporting points that provide support for the key arguments, which (wait for it) provide support for the main idea.</a:t>
              </a:r>
              <a:endParaRPr lang="en-AU" dirty="0"/>
            </a:p>
          </p:txBody>
        </p:sp>
        <p:sp>
          <p:nvSpPr>
            <p:cNvPr id="37" name="TextBox 36">
              <a:extLst>
                <a:ext uri="{FF2B5EF4-FFF2-40B4-BE49-F238E27FC236}">
                  <a16:creationId xmlns:a16="http://schemas.microsoft.com/office/drawing/2014/main" id="{BD978D3E-1209-E1EE-C388-36885012CDFF}"/>
                </a:ext>
              </a:extLst>
            </p:cNvPr>
            <p:cNvSpPr txBox="1"/>
            <p:nvPr/>
          </p:nvSpPr>
          <p:spPr>
            <a:xfrm>
              <a:off x="13631988" y="-1632645"/>
              <a:ext cx="10485312" cy="1107996"/>
            </a:xfrm>
            <a:prstGeom prst="rect">
              <a:avLst/>
            </a:prstGeom>
            <a:noFill/>
          </p:spPr>
          <p:txBody>
            <a:bodyPr wrap="square">
              <a:spAutoFit/>
            </a:bodyPr>
            <a:lstStyle/>
            <a:p>
              <a:r>
                <a:rPr lang="en-US" sz="6600" dirty="0">
                  <a:solidFill>
                    <a:srgbClr val="C00000"/>
                  </a:solidFill>
                  <a:latin typeface="Georgia" panose="02040502050405020303" pitchFamily="18" charset="0"/>
                </a:rPr>
                <a:t>FOR GUIDANCE ONLY</a:t>
              </a:r>
              <a:endParaRPr lang="en-AU" sz="6600" dirty="0">
                <a:solidFill>
                  <a:srgbClr val="C00000"/>
                </a:solidFill>
              </a:endParaRPr>
            </a:p>
          </p:txBody>
        </p:sp>
      </p:grpSp>
      <p:sp>
        <p:nvSpPr>
          <p:cNvPr id="41" name="TextBox 40">
            <a:extLst>
              <a:ext uri="{FF2B5EF4-FFF2-40B4-BE49-F238E27FC236}">
                <a16:creationId xmlns:a16="http://schemas.microsoft.com/office/drawing/2014/main" id="{9BE41370-6620-934F-82CD-8BD1616C11B5}"/>
              </a:ext>
            </a:extLst>
          </p:cNvPr>
          <p:cNvSpPr txBox="1"/>
          <p:nvPr/>
        </p:nvSpPr>
        <p:spPr>
          <a:xfrm>
            <a:off x="19307175" y="4869647"/>
            <a:ext cx="6875145" cy="2246769"/>
          </a:xfrm>
          <a:prstGeom prst="rect">
            <a:avLst/>
          </a:prstGeom>
          <a:noFill/>
        </p:spPr>
        <p:txBody>
          <a:bodyPr wrap="square">
            <a:spAutoFit/>
          </a:bodyPr>
          <a:lstStyle/>
          <a:p>
            <a:pPr algn="l"/>
            <a:r>
              <a:rPr lang="en-US" b="1" dirty="0">
                <a:solidFill>
                  <a:srgbClr val="333333"/>
                </a:solidFill>
                <a:latin typeface="+mj-lt"/>
              </a:rPr>
              <a:t>D</a:t>
            </a:r>
            <a:r>
              <a:rPr lang="en-US" b="1" i="0" dirty="0">
                <a:solidFill>
                  <a:srgbClr val="333333"/>
                </a:solidFill>
                <a:effectLst/>
                <a:latin typeface="+mj-lt"/>
              </a:rPr>
              <a:t>raw attention to the important parts of this slide:</a:t>
            </a:r>
          </a:p>
          <a:p>
            <a:pPr algn="l"/>
            <a:endParaRPr lang="en-US" b="1" i="0" dirty="0">
              <a:solidFill>
                <a:srgbClr val="333333"/>
              </a:solidFill>
              <a:effectLst/>
              <a:latin typeface="+mj-lt"/>
            </a:endParaRPr>
          </a:p>
          <a:p>
            <a:pPr marL="285750" indent="-285750" algn="l">
              <a:buFont typeface="Arial" panose="020B0604020202020204" pitchFamily="34" charset="0"/>
              <a:buChar char="•"/>
            </a:pPr>
            <a:r>
              <a:rPr lang="en-US" b="1" i="0" dirty="0">
                <a:solidFill>
                  <a:srgbClr val="333333"/>
                </a:solidFill>
                <a:effectLst/>
                <a:latin typeface="inherit"/>
              </a:rPr>
              <a:t>Red circles/lines</a:t>
            </a:r>
            <a:r>
              <a:rPr lang="en-US" b="0" i="0" dirty="0">
                <a:solidFill>
                  <a:srgbClr val="333333"/>
                </a:solidFill>
                <a:effectLst/>
                <a:latin typeface="inherit"/>
              </a:rPr>
              <a:t> for highlighting important parts of the slides</a:t>
            </a:r>
          </a:p>
          <a:p>
            <a:pPr marL="285750" indent="-285750" algn="l">
              <a:buFont typeface="Arial" panose="020B0604020202020204" pitchFamily="34" charset="0"/>
              <a:buChar char="•"/>
            </a:pPr>
            <a:endParaRPr lang="en-US" b="0" i="0" dirty="0">
              <a:solidFill>
                <a:srgbClr val="333333"/>
              </a:solidFill>
              <a:effectLst/>
              <a:latin typeface="Georgia" panose="02040502050405020303" pitchFamily="18" charset="0"/>
            </a:endParaRPr>
          </a:p>
          <a:p>
            <a:pPr marL="285750" indent="-285750" algn="l">
              <a:buFont typeface="Arial" panose="020B0604020202020204" pitchFamily="34" charset="0"/>
              <a:buChar char="•"/>
            </a:pPr>
            <a:r>
              <a:rPr lang="en-US" b="1" i="0" dirty="0">
                <a:solidFill>
                  <a:srgbClr val="333333"/>
                </a:solidFill>
                <a:effectLst/>
                <a:latin typeface="inherit"/>
              </a:rPr>
              <a:t>Bold numbers</a:t>
            </a:r>
            <a:r>
              <a:rPr lang="en-US" b="0" i="0" dirty="0">
                <a:solidFill>
                  <a:srgbClr val="333333"/>
                </a:solidFill>
                <a:effectLst/>
                <a:latin typeface="inherit"/>
              </a:rPr>
              <a:t> to highlight them</a:t>
            </a:r>
            <a:endParaRPr lang="en-US" b="0" i="0" dirty="0">
              <a:solidFill>
                <a:srgbClr val="333333"/>
              </a:solidFill>
              <a:effectLst/>
              <a:latin typeface="Georgia" panose="02040502050405020303" pitchFamily="18" charset="0"/>
            </a:endParaRPr>
          </a:p>
          <a:p>
            <a:pPr marL="285750" indent="-285750" algn="l">
              <a:buFont typeface="Arial" panose="020B0604020202020204" pitchFamily="34" charset="0"/>
              <a:buChar char="•"/>
            </a:pPr>
            <a:endParaRPr lang="en-US" b="1" i="0" dirty="0">
              <a:solidFill>
                <a:srgbClr val="333333"/>
              </a:solidFill>
              <a:effectLst/>
              <a:latin typeface="inherit"/>
            </a:endParaRPr>
          </a:p>
          <a:p>
            <a:pPr marL="285750" indent="-285750" algn="l">
              <a:buFont typeface="Arial" panose="020B0604020202020204" pitchFamily="34" charset="0"/>
              <a:buChar char="•"/>
            </a:pPr>
            <a:r>
              <a:rPr lang="en-US" b="1" i="0" dirty="0">
                <a:solidFill>
                  <a:srgbClr val="333333"/>
                </a:solidFill>
                <a:effectLst/>
                <a:latin typeface="inherit"/>
              </a:rPr>
              <a:t>Bold keywords</a:t>
            </a:r>
            <a:r>
              <a:rPr lang="en-US" b="0" i="0" dirty="0">
                <a:solidFill>
                  <a:srgbClr val="333333"/>
                </a:solidFill>
                <a:effectLst/>
                <a:latin typeface="inherit"/>
              </a:rPr>
              <a:t> in the bullet points help draw attention to the important text</a:t>
            </a:r>
            <a:endParaRPr lang="en-US" b="0" i="0" dirty="0">
              <a:solidFill>
                <a:srgbClr val="333333"/>
              </a:solidFill>
              <a:effectLst/>
              <a:latin typeface="Georgia" panose="02040502050405020303" pitchFamily="18" charset="0"/>
            </a:endParaRPr>
          </a:p>
          <a:p>
            <a:pPr marL="285750" indent="-285750" algn="l">
              <a:buFont typeface="Arial" panose="020B0604020202020204" pitchFamily="34" charset="0"/>
              <a:buChar char="•"/>
            </a:pPr>
            <a:endParaRPr lang="en-US" b="0" i="0" dirty="0">
              <a:solidFill>
                <a:srgbClr val="333333"/>
              </a:solidFill>
              <a:effectLst/>
              <a:latin typeface="inherit"/>
            </a:endParaRPr>
          </a:p>
          <a:p>
            <a:pPr marL="285750" indent="-285750" algn="l">
              <a:buFont typeface="Arial" panose="020B0604020202020204" pitchFamily="34" charset="0"/>
              <a:buChar char="•"/>
            </a:pPr>
            <a:r>
              <a:rPr lang="en-US" b="0" i="0" dirty="0">
                <a:solidFill>
                  <a:srgbClr val="333333"/>
                </a:solidFill>
                <a:effectLst/>
                <a:latin typeface="inherit"/>
              </a:rPr>
              <a:t>The title is a </a:t>
            </a:r>
            <a:r>
              <a:rPr lang="en-US" b="1" i="0" dirty="0">
                <a:solidFill>
                  <a:srgbClr val="333333"/>
                </a:solidFill>
                <a:effectLst/>
                <a:latin typeface="inherit"/>
              </a:rPr>
              <a:t>larger font </a:t>
            </a:r>
            <a:r>
              <a:rPr lang="en-US" b="0" i="0" dirty="0">
                <a:solidFill>
                  <a:srgbClr val="333333"/>
                </a:solidFill>
                <a:effectLst/>
                <a:latin typeface="inherit"/>
              </a:rPr>
              <a:t>than all the other text on the slide, and it has a </a:t>
            </a:r>
            <a:r>
              <a:rPr lang="en-US" b="1" i="0" dirty="0">
                <a:solidFill>
                  <a:srgbClr val="333333"/>
                </a:solidFill>
                <a:effectLst/>
                <a:latin typeface="inherit"/>
              </a:rPr>
              <a:t>big blue line</a:t>
            </a:r>
            <a:r>
              <a:rPr lang="en-US" b="0" i="0" dirty="0">
                <a:solidFill>
                  <a:srgbClr val="333333"/>
                </a:solidFill>
                <a:effectLst/>
                <a:latin typeface="inherit"/>
              </a:rPr>
              <a:t> underneath to separate it from the rest of the text</a:t>
            </a:r>
            <a:endParaRPr lang="en-US" b="0" i="0" dirty="0">
              <a:solidFill>
                <a:srgbClr val="333333"/>
              </a:solidFill>
              <a:effectLst/>
              <a:latin typeface="Georgia" panose="02040502050405020303" pitchFamily="18" charset="0"/>
            </a:endParaRPr>
          </a:p>
        </p:txBody>
      </p:sp>
    </p:spTree>
    <p:extLst>
      <p:ext uri="{BB962C8B-B14F-4D97-AF65-F5344CB8AC3E}">
        <p14:creationId xmlns:p14="http://schemas.microsoft.com/office/powerpoint/2010/main" val="78098895"/>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5" name="Title 1"/>
          <p:cNvSpPr>
            <a:spLocks noGrp="1"/>
          </p:cNvSpPr>
          <p:nvPr>
            <p:ph type="title"/>
            <p:custDataLst>
              <p:tags r:id="rId1"/>
            </p:custDataLst>
          </p:nvPr>
        </p:nvSpPr>
        <p:spPr/>
        <p:txBody>
          <a:bodyPr/>
          <a:lstStyle/>
          <a:p>
            <a:r>
              <a:rPr lang="en-US" dirty="0">
                <a:solidFill>
                  <a:srgbClr val="81BC00"/>
                </a:solidFill>
              </a:rPr>
              <a:t>Logic trees </a:t>
            </a:r>
            <a:br>
              <a:rPr lang="en-US" dirty="0">
                <a:solidFill>
                  <a:srgbClr val="575757"/>
                </a:solidFill>
              </a:rPr>
            </a:br>
            <a:r>
              <a:rPr lang="en-US" dirty="0">
                <a:solidFill>
                  <a:srgbClr val="575757"/>
                </a:solidFill>
              </a:rPr>
              <a:t>Hypothesis tree</a:t>
            </a:r>
          </a:p>
        </p:txBody>
      </p:sp>
      <p:graphicFrame>
        <p:nvGraphicFramePr>
          <p:cNvPr id="240642" name="Rectangle 2"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10" imgW="0" imgH="0" progId="">
                  <p:embed/>
                </p:oleObj>
              </mc:Choice>
              <mc:Fallback>
                <p:oleObj name="think-cell Slide" r:id="rId10" imgW="0" imgH="0" progId="">
                  <p:embed/>
                  <p:pic>
                    <p:nvPicPr>
                      <p:cNvPr id="240642"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0666" name="Text Box 10"/>
          <p:cNvSpPr txBox="1">
            <a:spLocks noChangeArrowheads="1"/>
          </p:cNvSpPr>
          <p:nvPr/>
        </p:nvSpPr>
        <p:spPr bwMode="auto">
          <a:xfrm>
            <a:off x="1433512" y="1051560"/>
            <a:ext cx="1490663" cy="205740"/>
          </a:xfrm>
          <a:prstGeom prst="rect">
            <a:avLst/>
          </a:prstGeom>
          <a:solidFill>
            <a:srgbClr val="00A1DE"/>
          </a:solidFill>
          <a:ln w="12700" algn="ctr">
            <a:noFill/>
            <a:miter lim="800000"/>
            <a:headEnd/>
            <a:tailEnd type="none" w="sm" len="med"/>
          </a:ln>
        </p:spPr>
        <p:txBody>
          <a:bodyPr lIns="27000" tIns="27000" rIns="27000" bIns="27000" anchor="ctr" anchorCtr="1"/>
          <a:lstStyle/>
          <a:p>
            <a:pPr defTabSz="717947">
              <a:buClrTx/>
            </a:pPr>
            <a:r>
              <a:rPr lang="en-US" sz="1050" b="1" kern="1200" dirty="0">
                <a:solidFill>
                  <a:prstClr val="white"/>
                </a:solidFill>
                <a:ea typeface="+mn-ea"/>
                <a:cs typeface="+mn-cs"/>
              </a:rPr>
              <a:t>Introduction</a:t>
            </a:r>
          </a:p>
        </p:txBody>
      </p:sp>
      <p:sp>
        <p:nvSpPr>
          <p:cNvPr id="240667" name="Rectangle 11"/>
          <p:cNvSpPr>
            <a:spLocks noChangeArrowheads="1"/>
          </p:cNvSpPr>
          <p:nvPr/>
        </p:nvSpPr>
        <p:spPr bwMode="auto">
          <a:xfrm>
            <a:off x="1433512" y="1265772"/>
            <a:ext cx="1490663" cy="563028"/>
          </a:xfrm>
          <a:prstGeom prst="rect">
            <a:avLst/>
          </a:prstGeom>
          <a:solidFill>
            <a:srgbClr val="DCDCDC"/>
          </a:solidFill>
          <a:ln w="12700" algn="ctr">
            <a:noFill/>
            <a:miter lim="800000"/>
            <a:headEnd/>
            <a:tailEnd/>
          </a:ln>
        </p:spPr>
        <p:txBody>
          <a:bodyPr lIns="68580" tIns="27000" rIns="27000" bIns="27000" anchor="ctr" anchorCtr="0"/>
          <a:lstStyle/>
          <a:p>
            <a:pPr marL="135731" indent="-135731" defTabSz="717947">
              <a:spcAft>
                <a:spcPts val="225"/>
              </a:spcAft>
              <a:buClrTx/>
              <a:buFont typeface="Arial" charset="0"/>
              <a:buChar char="•"/>
            </a:pPr>
            <a:r>
              <a:rPr lang="en-US" sz="825" kern="1200" dirty="0">
                <a:solidFill>
                  <a:srgbClr val="313131"/>
                </a:solidFill>
                <a:ea typeface="+mn-ea"/>
                <a:cs typeface="+mn-cs"/>
              </a:rPr>
              <a:t>Situation: text</a:t>
            </a:r>
          </a:p>
          <a:p>
            <a:pPr marL="135731" indent="-135731" defTabSz="717947">
              <a:spcAft>
                <a:spcPts val="225"/>
              </a:spcAft>
              <a:buClrTx/>
              <a:buFont typeface="Arial" charset="0"/>
              <a:buChar char="•"/>
            </a:pPr>
            <a:r>
              <a:rPr lang="en-US" sz="825" kern="1200" dirty="0">
                <a:solidFill>
                  <a:srgbClr val="313131"/>
                </a:solidFill>
                <a:ea typeface="+mn-ea"/>
                <a:cs typeface="+mn-cs"/>
              </a:rPr>
              <a:t>Complication: text</a:t>
            </a:r>
          </a:p>
          <a:p>
            <a:pPr marL="135731" indent="-135731" defTabSz="717947">
              <a:spcAft>
                <a:spcPts val="225"/>
              </a:spcAft>
              <a:buClrTx/>
              <a:buFont typeface="Arial" charset="0"/>
              <a:buChar char="•"/>
            </a:pPr>
            <a:r>
              <a:rPr lang="en-US" sz="825" kern="1200" dirty="0">
                <a:solidFill>
                  <a:srgbClr val="313131"/>
                </a:solidFill>
                <a:ea typeface="+mn-ea"/>
                <a:cs typeface="+mn-cs"/>
              </a:rPr>
              <a:t>Question: text</a:t>
            </a:r>
          </a:p>
        </p:txBody>
      </p:sp>
      <p:cxnSp>
        <p:nvCxnSpPr>
          <p:cNvPr id="23" name="AutoShape 7"/>
          <p:cNvCxnSpPr>
            <a:cxnSpLocks noChangeShapeType="1"/>
            <a:stCxn id="240667" idx="3"/>
            <a:endCxn id="240657" idx="1"/>
          </p:cNvCxnSpPr>
          <p:nvPr>
            <p:custDataLst>
              <p:tags r:id="rId3"/>
            </p:custDataLst>
          </p:nvPr>
        </p:nvCxnSpPr>
        <p:spPr bwMode="auto">
          <a:xfrm flipV="1">
            <a:off x="2924176" y="1545645"/>
            <a:ext cx="107156" cy="1641"/>
          </a:xfrm>
          <a:prstGeom prst="straightConnector1">
            <a:avLst/>
          </a:prstGeom>
          <a:noFill/>
          <a:ln w="19050">
            <a:solidFill>
              <a:srgbClr val="00A1DE"/>
            </a:solidFill>
            <a:round/>
            <a:headEnd/>
            <a:tailEnd type="triangle" w="med" len="med"/>
          </a:ln>
        </p:spPr>
      </p:cxnSp>
      <p:sp>
        <p:nvSpPr>
          <p:cNvPr id="4" name="Rectangle 3"/>
          <p:cNvSpPr>
            <a:spLocks noChangeArrowheads="1"/>
          </p:cNvSpPr>
          <p:nvPr>
            <p:custDataLst>
              <p:tags r:id="rId4"/>
            </p:custDataLst>
          </p:nvPr>
        </p:nvSpPr>
        <p:spPr bwMode="auto">
          <a:xfrm>
            <a:off x="1431131" y="2467285"/>
            <a:ext cx="1485900" cy="2294528"/>
          </a:xfrm>
          <a:prstGeom prst="rect">
            <a:avLst/>
          </a:prstGeom>
          <a:solidFill>
            <a:srgbClr val="DCDCDC"/>
          </a:solidFill>
          <a:ln w="12700" algn="ctr">
            <a:noFill/>
            <a:miter lim="800000"/>
            <a:headEnd type="none" w="sm" len="sm"/>
            <a:tailEnd type="none" w="sm" len="sm"/>
          </a:ln>
        </p:spPr>
        <p:txBody>
          <a:bodyPr lIns="68580" tIns="27000" rIns="68580" bIns="27000"/>
          <a:lstStyle/>
          <a:p>
            <a:pPr marL="205740" lvl="1" indent="-205740" defTabSz="717947">
              <a:spcBef>
                <a:spcPts val="450"/>
              </a:spcBef>
              <a:buClrTx/>
              <a:buFont typeface="Arial" charset="0"/>
              <a:buChar char="•"/>
            </a:pPr>
            <a:r>
              <a:rPr lang="en-US" sz="825" kern="1200" dirty="0">
                <a:solidFill>
                  <a:srgbClr val="313131"/>
                </a:solidFill>
                <a:ea typeface="+mn-ea"/>
                <a:cs typeface="+mn-cs"/>
              </a:rPr>
              <a:t>This is a level one bullet</a:t>
            </a:r>
          </a:p>
          <a:p>
            <a:pPr marL="404622" lvl="2" indent="-198882" defTabSz="717947">
              <a:spcBef>
                <a:spcPts val="450"/>
              </a:spcBef>
              <a:buClrTx/>
              <a:buFont typeface="Arial" charset="0"/>
              <a:buChar char="‒"/>
            </a:pPr>
            <a:r>
              <a:rPr lang="en-US" sz="825" kern="1200" dirty="0">
                <a:solidFill>
                  <a:srgbClr val="313131"/>
                </a:solidFill>
                <a:ea typeface="+mn-ea"/>
                <a:cs typeface="+mn-cs"/>
              </a:rPr>
              <a:t>This is a level two bullet</a:t>
            </a:r>
          </a:p>
        </p:txBody>
      </p:sp>
      <p:sp>
        <p:nvSpPr>
          <p:cNvPr id="240664" name="Text Box 10"/>
          <p:cNvSpPr txBox="1">
            <a:spLocks noChangeArrowheads="1"/>
          </p:cNvSpPr>
          <p:nvPr/>
        </p:nvSpPr>
        <p:spPr bwMode="auto">
          <a:xfrm>
            <a:off x="1433513" y="1900454"/>
            <a:ext cx="1484710" cy="205740"/>
          </a:xfrm>
          <a:prstGeom prst="rect">
            <a:avLst/>
          </a:prstGeom>
          <a:solidFill>
            <a:srgbClr val="00A1DE"/>
          </a:solidFill>
          <a:ln w="12700" algn="ctr">
            <a:noFill/>
            <a:miter lim="800000"/>
            <a:headEnd/>
            <a:tailEnd type="none" w="sm" len="med"/>
          </a:ln>
        </p:spPr>
        <p:txBody>
          <a:bodyPr lIns="27000" tIns="27000" rIns="27000" bIns="27000" anchor="ctr" anchorCtr="1"/>
          <a:lstStyle/>
          <a:p>
            <a:pPr defTabSz="717947">
              <a:buClrTx/>
            </a:pPr>
            <a:r>
              <a:rPr lang="en-US" sz="1050" b="1" kern="1200" dirty="0">
                <a:solidFill>
                  <a:prstClr val="white"/>
                </a:solidFill>
                <a:ea typeface="+mn-ea"/>
                <a:cs typeface="+mn-cs"/>
              </a:rPr>
              <a:t>Chapter title</a:t>
            </a:r>
          </a:p>
        </p:txBody>
      </p:sp>
      <p:sp>
        <p:nvSpPr>
          <p:cNvPr id="13" name="Rectangle 11"/>
          <p:cNvSpPr>
            <a:spLocks noChangeArrowheads="1"/>
          </p:cNvSpPr>
          <p:nvPr/>
        </p:nvSpPr>
        <p:spPr bwMode="auto">
          <a:xfrm>
            <a:off x="1433513" y="2114551"/>
            <a:ext cx="1484710" cy="264431"/>
          </a:xfrm>
          <a:prstGeom prst="rect">
            <a:avLst/>
          </a:prstGeom>
          <a:solidFill>
            <a:srgbClr val="DCDCDC"/>
          </a:solidFill>
          <a:ln w="12700" algn="ctr">
            <a:noFill/>
            <a:miter lim="800000"/>
            <a:headEnd/>
            <a:tailEnd/>
          </a:ln>
        </p:spPr>
        <p:txBody>
          <a:bodyPr lIns="68580" tIns="27000" rIns="27000" bIns="27000" anchor="ctr"/>
          <a:lstStyle/>
          <a:p>
            <a:pPr defTabSz="718499">
              <a:spcAft>
                <a:spcPts val="225"/>
              </a:spcAft>
              <a:buClrTx/>
              <a:defRPr/>
            </a:pPr>
            <a:r>
              <a:rPr lang="en-US" sz="825" dirty="0">
                <a:solidFill>
                  <a:srgbClr val="313131"/>
                </a:solidFill>
                <a:ea typeface="+mn-ea"/>
                <a:cs typeface="+mn-cs"/>
              </a:rPr>
              <a:t>Supporting </a:t>
            </a:r>
            <a:r>
              <a:rPr lang="en-US" sz="825" kern="1200" dirty="0">
                <a:solidFill>
                  <a:srgbClr val="313131"/>
                </a:solidFill>
                <a:ea typeface="+mn-ea"/>
                <a:cs typeface="+mn-cs"/>
              </a:rPr>
              <a:t>hypothesis</a:t>
            </a:r>
            <a:endParaRPr lang="en-US" sz="825" dirty="0">
              <a:solidFill>
                <a:srgbClr val="313131"/>
              </a:solidFill>
              <a:ea typeface="+mn-ea"/>
              <a:cs typeface="+mn-cs"/>
            </a:endParaRPr>
          </a:p>
        </p:txBody>
      </p:sp>
      <p:sp>
        <p:nvSpPr>
          <p:cNvPr id="240662" name="Text Box 10"/>
          <p:cNvSpPr txBox="1">
            <a:spLocks noChangeArrowheads="1"/>
          </p:cNvSpPr>
          <p:nvPr/>
        </p:nvSpPr>
        <p:spPr bwMode="auto">
          <a:xfrm>
            <a:off x="3027760" y="1900454"/>
            <a:ext cx="1485900" cy="205740"/>
          </a:xfrm>
          <a:prstGeom prst="rect">
            <a:avLst/>
          </a:prstGeom>
          <a:solidFill>
            <a:srgbClr val="00A1DE"/>
          </a:solidFill>
          <a:ln w="12700" algn="ctr">
            <a:noFill/>
            <a:miter lim="800000"/>
            <a:headEnd/>
            <a:tailEnd type="none" w="sm" len="med"/>
          </a:ln>
        </p:spPr>
        <p:txBody>
          <a:bodyPr lIns="27000" tIns="27000" rIns="27000" bIns="27000" anchor="ctr" anchorCtr="1"/>
          <a:lstStyle/>
          <a:p>
            <a:pPr defTabSz="717947">
              <a:buClrTx/>
            </a:pPr>
            <a:r>
              <a:rPr lang="en-US" sz="1050" b="1" kern="1200" dirty="0">
                <a:solidFill>
                  <a:prstClr val="white"/>
                </a:solidFill>
                <a:ea typeface="+mn-ea"/>
                <a:cs typeface="+mn-cs"/>
              </a:rPr>
              <a:t>Chapter title</a:t>
            </a:r>
          </a:p>
        </p:txBody>
      </p:sp>
      <p:sp>
        <p:nvSpPr>
          <p:cNvPr id="16" name="Rectangle 11"/>
          <p:cNvSpPr>
            <a:spLocks noChangeArrowheads="1"/>
          </p:cNvSpPr>
          <p:nvPr/>
        </p:nvSpPr>
        <p:spPr bwMode="auto">
          <a:xfrm>
            <a:off x="3027760" y="2114551"/>
            <a:ext cx="1485900" cy="264431"/>
          </a:xfrm>
          <a:prstGeom prst="rect">
            <a:avLst/>
          </a:prstGeom>
          <a:solidFill>
            <a:srgbClr val="DCDCDC"/>
          </a:solidFill>
          <a:ln w="12700" algn="ctr">
            <a:noFill/>
            <a:miter lim="800000"/>
            <a:headEnd/>
            <a:tailEnd/>
          </a:ln>
        </p:spPr>
        <p:txBody>
          <a:bodyPr lIns="68580" tIns="27000" rIns="27000" bIns="27000" anchor="ctr"/>
          <a:lstStyle/>
          <a:p>
            <a:pPr defTabSz="718499">
              <a:spcAft>
                <a:spcPts val="225"/>
              </a:spcAft>
              <a:buClrTx/>
              <a:defRPr/>
            </a:pPr>
            <a:r>
              <a:rPr lang="en-US" sz="825" dirty="0">
                <a:solidFill>
                  <a:srgbClr val="313131"/>
                </a:solidFill>
                <a:ea typeface="+mn-ea"/>
                <a:cs typeface="+mn-cs"/>
              </a:rPr>
              <a:t>Supporting </a:t>
            </a:r>
            <a:r>
              <a:rPr lang="en-US" sz="825" kern="1200" dirty="0">
                <a:solidFill>
                  <a:srgbClr val="313131"/>
                </a:solidFill>
                <a:ea typeface="+mn-ea"/>
                <a:cs typeface="+mn-cs"/>
              </a:rPr>
              <a:t>hypothesis</a:t>
            </a:r>
            <a:endParaRPr lang="en-US" sz="825" dirty="0">
              <a:solidFill>
                <a:srgbClr val="313131"/>
              </a:solidFill>
              <a:ea typeface="+mn-ea"/>
              <a:cs typeface="+mn-cs"/>
            </a:endParaRPr>
          </a:p>
        </p:txBody>
      </p:sp>
      <p:sp>
        <p:nvSpPr>
          <p:cNvPr id="240660" name="Text Box 10"/>
          <p:cNvSpPr txBox="1">
            <a:spLocks noChangeArrowheads="1"/>
          </p:cNvSpPr>
          <p:nvPr/>
        </p:nvSpPr>
        <p:spPr bwMode="auto">
          <a:xfrm>
            <a:off x="4623197" y="1900454"/>
            <a:ext cx="1485900" cy="205740"/>
          </a:xfrm>
          <a:prstGeom prst="rect">
            <a:avLst/>
          </a:prstGeom>
          <a:solidFill>
            <a:srgbClr val="00A1DE"/>
          </a:solidFill>
          <a:ln w="12700" algn="ctr">
            <a:noFill/>
            <a:miter lim="800000"/>
            <a:headEnd/>
            <a:tailEnd type="none" w="sm" len="med"/>
          </a:ln>
        </p:spPr>
        <p:txBody>
          <a:bodyPr lIns="27000" tIns="27000" rIns="27000" bIns="27000" anchor="ctr" anchorCtr="1"/>
          <a:lstStyle/>
          <a:p>
            <a:pPr defTabSz="717947">
              <a:buClrTx/>
            </a:pPr>
            <a:r>
              <a:rPr lang="en-US" sz="1050" b="1" kern="1200" dirty="0">
                <a:solidFill>
                  <a:prstClr val="white"/>
                </a:solidFill>
                <a:ea typeface="+mn-ea"/>
                <a:cs typeface="+mn-cs"/>
              </a:rPr>
              <a:t>Chapter title</a:t>
            </a:r>
          </a:p>
        </p:txBody>
      </p:sp>
      <p:sp>
        <p:nvSpPr>
          <p:cNvPr id="19" name="Rectangle 11"/>
          <p:cNvSpPr>
            <a:spLocks noChangeArrowheads="1"/>
          </p:cNvSpPr>
          <p:nvPr/>
        </p:nvSpPr>
        <p:spPr bwMode="auto">
          <a:xfrm>
            <a:off x="4623197" y="2114551"/>
            <a:ext cx="1485900" cy="264431"/>
          </a:xfrm>
          <a:prstGeom prst="rect">
            <a:avLst/>
          </a:prstGeom>
          <a:solidFill>
            <a:srgbClr val="DCDCDC"/>
          </a:solidFill>
          <a:ln w="12700" algn="ctr">
            <a:noFill/>
            <a:miter lim="800000"/>
            <a:headEnd/>
            <a:tailEnd/>
          </a:ln>
        </p:spPr>
        <p:txBody>
          <a:bodyPr lIns="68580" tIns="27000" rIns="27000" bIns="27000" anchor="ctr"/>
          <a:lstStyle/>
          <a:p>
            <a:pPr defTabSz="718499">
              <a:spcAft>
                <a:spcPts val="225"/>
              </a:spcAft>
              <a:buClrTx/>
              <a:defRPr/>
            </a:pPr>
            <a:r>
              <a:rPr lang="en-US" sz="825" dirty="0">
                <a:solidFill>
                  <a:srgbClr val="313131"/>
                </a:solidFill>
                <a:ea typeface="+mn-ea"/>
                <a:cs typeface="+mn-cs"/>
              </a:rPr>
              <a:t>Supporting </a:t>
            </a:r>
            <a:r>
              <a:rPr lang="en-US" sz="825" kern="1200" dirty="0">
                <a:solidFill>
                  <a:srgbClr val="313131"/>
                </a:solidFill>
                <a:ea typeface="+mn-ea"/>
                <a:cs typeface="+mn-cs"/>
              </a:rPr>
              <a:t>hypothesis</a:t>
            </a:r>
            <a:endParaRPr lang="en-US" sz="825" dirty="0">
              <a:solidFill>
                <a:srgbClr val="313131"/>
              </a:solidFill>
              <a:ea typeface="+mn-ea"/>
              <a:cs typeface="+mn-cs"/>
            </a:endParaRPr>
          </a:p>
        </p:txBody>
      </p:sp>
      <p:sp>
        <p:nvSpPr>
          <p:cNvPr id="240658" name="Text Box 10"/>
          <p:cNvSpPr txBox="1">
            <a:spLocks noChangeArrowheads="1"/>
          </p:cNvSpPr>
          <p:nvPr/>
        </p:nvSpPr>
        <p:spPr bwMode="auto">
          <a:xfrm>
            <a:off x="6218635" y="1900454"/>
            <a:ext cx="1484709" cy="205740"/>
          </a:xfrm>
          <a:prstGeom prst="rect">
            <a:avLst/>
          </a:prstGeom>
          <a:solidFill>
            <a:srgbClr val="00A1DE"/>
          </a:solidFill>
          <a:ln w="12700" algn="ctr">
            <a:noFill/>
            <a:miter lim="800000"/>
            <a:headEnd/>
            <a:tailEnd type="none" w="sm" len="med"/>
          </a:ln>
        </p:spPr>
        <p:txBody>
          <a:bodyPr lIns="27000" tIns="27000" rIns="27000" bIns="27000" anchor="ctr" anchorCtr="1"/>
          <a:lstStyle/>
          <a:p>
            <a:pPr defTabSz="717947">
              <a:buClrTx/>
            </a:pPr>
            <a:r>
              <a:rPr lang="en-US" sz="1050" b="1" kern="1200" dirty="0">
                <a:solidFill>
                  <a:prstClr val="white"/>
                </a:solidFill>
                <a:ea typeface="+mn-ea"/>
                <a:cs typeface="+mn-cs"/>
              </a:rPr>
              <a:t>Chapter title</a:t>
            </a:r>
          </a:p>
        </p:txBody>
      </p:sp>
      <p:sp>
        <p:nvSpPr>
          <p:cNvPr id="22" name="Rectangle 11"/>
          <p:cNvSpPr>
            <a:spLocks noChangeArrowheads="1"/>
          </p:cNvSpPr>
          <p:nvPr/>
        </p:nvSpPr>
        <p:spPr bwMode="auto">
          <a:xfrm>
            <a:off x="6218635" y="2114551"/>
            <a:ext cx="1484709" cy="264431"/>
          </a:xfrm>
          <a:prstGeom prst="rect">
            <a:avLst/>
          </a:prstGeom>
          <a:solidFill>
            <a:srgbClr val="DCDCDC"/>
          </a:solidFill>
          <a:ln w="12700" algn="ctr">
            <a:noFill/>
            <a:miter lim="800000"/>
            <a:headEnd/>
            <a:tailEnd/>
          </a:ln>
        </p:spPr>
        <p:txBody>
          <a:bodyPr lIns="68580" tIns="27000" rIns="27000" bIns="27000" anchor="ctr"/>
          <a:lstStyle/>
          <a:p>
            <a:pPr defTabSz="718499">
              <a:spcAft>
                <a:spcPts val="225"/>
              </a:spcAft>
              <a:buClrTx/>
              <a:defRPr/>
            </a:pPr>
            <a:r>
              <a:rPr lang="en-US" sz="825" dirty="0">
                <a:solidFill>
                  <a:srgbClr val="313131"/>
                </a:solidFill>
                <a:ea typeface="+mn-ea"/>
                <a:cs typeface="+mn-cs"/>
              </a:rPr>
              <a:t>Supporting </a:t>
            </a:r>
            <a:r>
              <a:rPr lang="en-US" sz="825" kern="1200" dirty="0">
                <a:solidFill>
                  <a:srgbClr val="313131"/>
                </a:solidFill>
                <a:ea typeface="+mn-ea"/>
                <a:cs typeface="+mn-cs"/>
              </a:rPr>
              <a:t>hypothesis</a:t>
            </a:r>
            <a:endParaRPr lang="en-US" sz="825" dirty="0">
              <a:solidFill>
                <a:srgbClr val="313131"/>
              </a:solidFill>
              <a:ea typeface="+mn-ea"/>
              <a:cs typeface="+mn-cs"/>
            </a:endParaRPr>
          </a:p>
        </p:txBody>
      </p:sp>
      <p:sp>
        <p:nvSpPr>
          <p:cNvPr id="240656" name="Text Box 10"/>
          <p:cNvSpPr txBox="1">
            <a:spLocks noChangeArrowheads="1"/>
          </p:cNvSpPr>
          <p:nvPr/>
        </p:nvSpPr>
        <p:spPr bwMode="auto">
          <a:xfrm>
            <a:off x="3031331" y="1049180"/>
            <a:ext cx="4672013" cy="205740"/>
          </a:xfrm>
          <a:prstGeom prst="rect">
            <a:avLst/>
          </a:prstGeom>
          <a:solidFill>
            <a:srgbClr val="00A1DE"/>
          </a:solidFill>
          <a:ln w="12700" algn="ctr">
            <a:noFill/>
            <a:miter lim="800000"/>
            <a:headEnd/>
            <a:tailEnd type="none" w="sm" len="med"/>
          </a:ln>
        </p:spPr>
        <p:txBody>
          <a:bodyPr lIns="68580" tIns="27000" rIns="27000" bIns="27000" anchor="ctr" anchorCtr="1"/>
          <a:lstStyle/>
          <a:p>
            <a:pPr defTabSz="717947">
              <a:buClrTx/>
            </a:pPr>
            <a:r>
              <a:rPr lang="en-US" sz="1050" b="1" kern="1200" dirty="0">
                <a:solidFill>
                  <a:prstClr val="white"/>
                </a:solidFill>
                <a:ea typeface="+mn-ea"/>
                <a:cs typeface="+mn-cs"/>
              </a:rPr>
              <a:t>Answer</a:t>
            </a:r>
          </a:p>
        </p:txBody>
      </p:sp>
      <p:sp>
        <p:nvSpPr>
          <p:cNvPr id="240657" name="Rectangle 11"/>
          <p:cNvSpPr>
            <a:spLocks noChangeArrowheads="1"/>
          </p:cNvSpPr>
          <p:nvPr/>
        </p:nvSpPr>
        <p:spPr bwMode="auto">
          <a:xfrm>
            <a:off x="3031331" y="1263662"/>
            <a:ext cx="4672013" cy="563967"/>
          </a:xfrm>
          <a:prstGeom prst="rect">
            <a:avLst/>
          </a:prstGeom>
          <a:solidFill>
            <a:srgbClr val="DCDCDC"/>
          </a:solidFill>
          <a:ln w="12700" algn="ctr">
            <a:noFill/>
            <a:miter lim="800000"/>
            <a:headEnd/>
            <a:tailEnd/>
          </a:ln>
        </p:spPr>
        <p:txBody>
          <a:bodyPr lIns="68580" tIns="27000" rIns="27000" bIns="27000" anchor="ctr" anchorCtr="0"/>
          <a:lstStyle/>
          <a:p>
            <a:pPr marL="135731" indent="-135731" defTabSz="717947">
              <a:spcAft>
                <a:spcPts val="225"/>
              </a:spcAft>
              <a:buClrTx/>
            </a:pPr>
            <a:r>
              <a:rPr lang="en-US" sz="825" kern="1200" dirty="0">
                <a:solidFill>
                  <a:srgbClr val="313131"/>
                </a:solidFill>
                <a:ea typeface="+mn-ea"/>
                <a:cs typeface="+mn-cs"/>
              </a:rPr>
              <a:t>Main hypothesis</a:t>
            </a:r>
          </a:p>
        </p:txBody>
      </p:sp>
      <p:sp>
        <p:nvSpPr>
          <p:cNvPr id="32" name="Rectangle 31"/>
          <p:cNvSpPr>
            <a:spLocks noChangeArrowheads="1"/>
          </p:cNvSpPr>
          <p:nvPr>
            <p:custDataLst>
              <p:tags r:id="rId5"/>
            </p:custDataLst>
          </p:nvPr>
        </p:nvSpPr>
        <p:spPr bwMode="auto">
          <a:xfrm>
            <a:off x="3031331" y="2467285"/>
            <a:ext cx="1485900" cy="2294528"/>
          </a:xfrm>
          <a:prstGeom prst="rect">
            <a:avLst/>
          </a:prstGeom>
          <a:solidFill>
            <a:srgbClr val="DCDCDC"/>
          </a:solidFill>
          <a:ln w="12700" algn="ctr">
            <a:noFill/>
            <a:miter lim="800000"/>
            <a:headEnd type="none" w="sm" len="sm"/>
            <a:tailEnd type="none" w="sm" len="sm"/>
          </a:ln>
        </p:spPr>
        <p:txBody>
          <a:bodyPr lIns="68580" tIns="27000" rIns="27000" bIns="27000"/>
          <a:lstStyle/>
          <a:p>
            <a:pPr marL="205740" lvl="1" indent="-205740" defTabSz="717947">
              <a:spcBef>
                <a:spcPts val="450"/>
              </a:spcBef>
              <a:buClrTx/>
              <a:buFont typeface="Arial" charset="0"/>
              <a:buChar char="•"/>
            </a:pPr>
            <a:r>
              <a:rPr lang="en-US" sz="825" kern="1200" dirty="0">
                <a:solidFill>
                  <a:srgbClr val="313131"/>
                </a:solidFill>
                <a:ea typeface="+mn-ea"/>
                <a:cs typeface="+mn-cs"/>
              </a:rPr>
              <a:t>This is a level one bullet t</a:t>
            </a:r>
          </a:p>
          <a:p>
            <a:pPr marL="404622" lvl="2" indent="-198882" defTabSz="717947">
              <a:spcBef>
                <a:spcPts val="450"/>
              </a:spcBef>
              <a:buClrTx/>
              <a:buFont typeface="Arial" charset="0"/>
              <a:buChar char="‒"/>
            </a:pPr>
            <a:r>
              <a:rPr lang="en-US" sz="825" kern="1200" dirty="0">
                <a:solidFill>
                  <a:srgbClr val="313131"/>
                </a:solidFill>
                <a:ea typeface="+mn-ea"/>
                <a:cs typeface="+mn-cs"/>
              </a:rPr>
              <a:t>This is a level two bullet</a:t>
            </a:r>
          </a:p>
        </p:txBody>
      </p:sp>
      <p:sp>
        <p:nvSpPr>
          <p:cNvPr id="33" name="Rectangle 32"/>
          <p:cNvSpPr>
            <a:spLocks noChangeArrowheads="1"/>
          </p:cNvSpPr>
          <p:nvPr>
            <p:custDataLst>
              <p:tags r:id="rId6"/>
            </p:custDataLst>
          </p:nvPr>
        </p:nvSpPr>
        <p:spPr bwMode="auto">
          <a:xfrm>
            <a:off x="4623197" y="2467285"/>
            <a:ext cx="1485900" cy="2294528"/>
          </a:xfrm>
          <a:prstGeom prst="rect">
            <a:avLst/>
          </a:prstGeom>
          <a:solidFill>
            <a:srgbClr val="DCDCDC"/>
          </a:solidFill>
          <a:ln w="12700" algn="ctr">
            <a:noFill/>
            <a:miter lim="800000"/>
            <a:headEnd type="none" w="sm" len="sm"/>
            <a:tailEnd type="none" w="sm" len="sm"/>
          </a:ln>
        </p:spPr>
        <p:txBody>
          <a:bodyPr lIns="68580" tIns="27000" rIns="68580" bIns="27000"/>
          <a:lstStyle/>
          <a:p>
            <a:pPr marL="205740" lvl="1" indent="-205740" defTabSz="717947">
              <a:spcBef>
                <a:spcPts val="450"/>
              </a:spcBef>
              <a:buClrTx/>
              <a:buFont typeface="Arial" charset="0"/>
              <a:buChar char="•"/>
            </a:pPr>
            <a:r>
              <a:rPr lang="en-US" sz="825" kern="1200" dirty="0">
                <a:solidFill>
                  <a:srgbClr val="313131"/>
                </a:solidFill>
                <a:ea typeface="+mn-ea"/>
                <a:cs typeface="+mn-cs"/>
              </a:rPr>
              <a:t>This is a level one bullet</a:t>
            </a:r>
          </a:p>
          <a:p>
            <a:pPr marL="404622" lvl="2" indent="-198882" defTabSz="717947">
              <a:spcBef>
                <a:spcPts val="450"/>
              </a:spcBef>
              <a:buClrTx/>
              <a:buFont typeface="Arial" charset="0"/>
              <a:buChar char="‒"/>
            </a:pPr>
            <a:r>
              <a:rPr lang="en-US" sz="825" kern="1200" dirty="0">
                <a:solidFill>
                  <a:srgbClr val="313131"/>
                </a:solidFill>
                <a:ea typeface="+mn-ea"/>
                <a:cs typeface="+mn-cs"/>
              </a:rPr>
              <a:t>This is a level two bullet</a:t>
            </a:r>
          </a:p>
        </p:txBody>
      </p:sp>
      <p:sp>
        <p:nvSpPr>
          <p:cNvPr id="34" name="Rectangle 33"/>
          <p:cNvSpPr>
            <a:spLocks noChangeArrowheads="1"/>
          </p:cNvSpPr>
          <p:nvPr>
            <p:custDataLst>
              <p:tags r:id="rId7"/>
            </p:custDataLst>
          </p:nvPr>
        </p:nvSpPr>
        <p:spPr bwMode="auto">
          <a:xfrm>
            <a:off x="6218635" y="2467285"/>
            <a:ext cx="1485900" cy="2294528"/>
          </a:xfrm>
          <a:prstGeom prst="rect">
            <a:avLst/>
          </a:prstGeom>
          <a:solidFill>
            <a:srgbClr val="DCDCDC"/>
          </a:solidFill>
          <a:ln w="12700" algn="ctr">
            <a:noFill/>
            <a:miter lim="800000"/>
            <a:headEnd type="none" w="sm" len="sm"/>
            <a:tailEnd type="none" w="sm" len="sm"/>
          </a:ln>
        </p:spPr>
        <p:txBody>
          <a:bodyPr lIns="68580" tIns="27000" rIns="68580" bIns="27000"/>
          <a:lstStyle/>
          <a:p>
            <a:pPr marL="205740" lvl="1" indent="-205740" defTabSz="717947">
              <a:spcBef>
                <a:spcPts val="450"/>
              </a:spcBef>
              <a:buClrTx/>
              <a:buFont typeface="Arial" charset="0"/>
              <a:buChar char="•"/>
            </a:pPr>
            <a:r>
              <a:rPr lang="en-US" sz="825" kern="1200" dirty="0">
                <a:solidFill>
                  <a:srgbClr val="313131"/>
                </a:solidFill>
                <a:ea typeface="+mn-ea"/>
                <a:cs typeface="+mn-cs"/>
              </a:rPr>
              <a:t>This is a level one bullet</a:t>
            </a:r>
          </a:p>
          <a:p>
            <a:pPr marL="404622" lvl="2" indent="-198882" defTabSz="717947">
              <a:spcBef>
                <a:spcPts val="450"/>
              </a:spcBef>
              <a:buClrTx/>
              <a:buFont typeface="Arial" charset="0"/>
              <a:buChar char="‒"/>
            </a:pPr>
            <a:r>
              <a:rPr lang="en-US" sz="825" kern="1200" dirty="0">
                <a:solidFill>
                  <a:srgbClr val="313131"/>
                </a:solidFill>
                <a:ea typeface="+mn-ea"/>
                <a:cs typeface="+mn-cs"/>
              </a:rPr>
              <a:t>This is a level two bullet</a:t>
            </a:r>
          </a:p>
        </p:txBody>
      </p:sp>
    </p:spTree>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143000" y="0"/>
          <a:ext cx="119063" cy="119063"/>
        </p:xfrm>
        <a:graphic>
          <a:graphicData uri="http://schemas.openxmlformats.org/presentationml/2006/ole">
            <mc:AlternateContent xmlns:mc="http://schemas.openxmlformats.org/markup-compatibility/2006">
              <mc:Choice xmlns:v="urn:schemas-microsoft-com:vml" Requires="v">
                <p:oleObj name="think-cell Slide" r:id="rId19" imgW="360" imgH="360" progId="">
                  <p:embed/>
                </p:oleObj>
              </mc:Choice>
              <mc:Fallback>
                <p:oleObj name="think-cell Slide" r:id="rId19" imgW="360" imgH="360" progId="">
                  <p:embed/>
                  <p:pic>
                    <p:nvPicPr>
                      <p:cNvPr id="2" name="Object 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143000" y="0"/>
                        <a:ext cx="119063"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7473" name="Title 1"/>
          <p:cNvSpPr>
            <a:spLocks noGrp="1"/>
          </p:cNvSpPr>
          <p:nvPr>
            <p:ph type="title"/>
            <p:custDataLst>
              <p:tags r:id="rId2"/>
            </p:custDataLst>
          </p:nvPr>
        </p:nvSpPr>
        <p:spPr/>
        <p:txBody>
          <a:bodyPr/>
          <a:lstStyle/>
          <a:p>
            <a:r>
              <a:rPr lang="en-US" dirty="0">
                <a:solidFill>
                  <a:srgbClr val="81BC00"/>
                </a:solidFill>
              </a:rPr>
              <a:t>Logic trees </a:t>
            </a:r>
            <a:br>
              <a:rPr lang="en-US" dirty="0">
                <a:solidFill>
                  <a:srgbClr val="81BC00"/>
                </a:solidFill>
              </a:rPr>
            </a:br>
            <a:r>
              <a:rPr lang="en-US" dirty="0">
                <a:solidFill>
                  <a:srgbClr val="575757"/>
                </a:solidFill>
              </a:rPr>
              <a:t>Executive summary tree</a:t>
            </a:r>
          </a:p>
        </p:txBody>
      </p:sp>
      <p:grpSp>
        <p:nvGrpSpPr>
          <p:cNvPr id="4" name="Group 3"/>
          <p:cNvGrpSpPr/>
          <p:nvPr/>
        </p:nvGrpSpPr>
        <p:grpSpPr>
          <a:xfrm>
            <a:off x="1433513" y="1604487"/>
            <a:ext cx="1484710" cy="452914"/>
            <a:chOff x="387350" y="1774509"/>
            <a:chExt cx="1979613" cy="603885"/>
          </a:xfrm>
        </p:grpSpPr>
        <p:sp>
          <p:nvSpPr>
            <p:cNvPr id="617490" name="Text Box 10"/>
            <p:cNvSpPr txBox="1">
              <a:spLocks noChangeArrowheads="1"/>
            </p:cNvSpPr>
            <p:nvPr>
              <p:custDataLst>
                <p:tags r:id="rId15"/>
              </p:custDataLst>
            </p:nvPr>
          </p:nvSpPr>
          <p:spPr bwMode="auto">
            <a:xfrm>
              <a:off x="387350" y="1774509"/>
              <a:ext cx="1979613" cy="274320"/>
            </a:xfrm>
            <a:prstGeom prst="rect">
              <a:avLst/>
            </a:prstGeom>
            <a:solidFill>
              <a:srgbClr val="00A1DE"/>
            </a:solidFill>
            <a:ln w="12700" algn="ctr">
              <a:noFill/>
              <a:miter lim="800000"/>
              <a:headEnd/>
              <a:tailEnd type="none" w="sm" len="med"/>
            </a:ln>
          </p:spPr>
          <p:txBody>
            <a:bodyPr lIns="27000" tIns="27000" rIns="27000" bIns="27000" anchor="ctr" anchorCtr="1"/>
            <a:lstStyle/>
            <a:p>
              <a:pPr defTabSz="717947">
                <a:buClrTx/>
              </a:pPr>
              <a:r>
                <a:rPr lang="en-US" sz="1050" b="1" kern="1200" dirty="0">
                  <a:solidFill>
                    <a:prstClr val="white"/>
                  </a:solidFill>
                  <a:ea typeface="+mn-ea"/>
                  <a:cs typeface="+mn-cs"/>
                </a:rPr>
                <a:t>Chapter title</a:t>
              </a:r>
            </a:p>
          </p:txBody>
        </p:sp>
        <p:sp>
          <p:nvSpPr>
            <p:cNvPr id="9" name="Rectangle 11"/>
            <p:cNvSpPr>
              <a:spLocks noChangeArrowheads="1"/>
            </p:cNvSpPr>
            <p:nvPr>
              <p:custDataLst>
                <p:tags r:id="rId16"/>
              </p:custDataLst>
            </p:nvPr>
          </p:nvSpPr>
          <p:spPr bwMode="auto">
            <a:xfrm>
              <a:off x="387350" y="2062810"/>
              <a:ext cx="1979613" cy="315584"/>
            </a:xfrm>
            <a:prstGeom prst="rect">
              <a:avLst/>
            </a:prstGeom>
            <a:solidFill>
              <a:srgbClr val="DCDCDC"/>
            </a:solidFill>
            <a:ln w="12700" algn="ctr">
              <a:noFill/>
              <a:miter lim="800000"/>
              <a:headEnd/>
              <a:tailEnd/>
            </a:ln>
          </p:spPr>
          <p:txBody>
            <a:bodyPr lIns="27000" tIns="27000" rIns="27000" bIns="27000" anchor="ctr"/>
            <a:lstStyle/>
            <a:p>
              <a:pPr defTabSz="718499">
                <a:spcAft>
                  <a:spcPts val="225"/>
                </a:spcAft>
                <a:buClrTx/>
                <a:defRPr/>
              </a:pPr>
              <a:r>
                <a:rPr lang="en-US" sz="825" dirty="0">
                  <a:solidFill>
                    <a:srgbClr val="313131"/>
                  </a:solidFill>
                  <a:ea typeface="+mn-ea"/>
                  <a:cs typeface="+mn-cs"/>
                </a:rPr>
                <a:t>Supporting conclusion</a:t>
              </a:r>
            </a:p>
          </p:txBody>
        </p:sp>
      </p:grpSp>
      <p:grpSp>
        <p:nvGrpSpPr>
          <p:cNvPr id="5" name="Group 4"/>
          <p:cNvGrpSpPr/>
          <p:nvPr/>
        </p:nvGrpSpPr>
        <p:grpSpPr>
          <a:xfrm>
            <a:off x="3027760" y="1604487"/>
            <a:ext cx="1485900" cy="452914"/>
            <a:chOff x="2513013" y="1774509"/>
            <a:chExt cx="1981200" cy="603885"/>
          </a:xfrm>
        </p:grpSpPr>
        <p:sp>
          <p:nvSpPr>
            <p:cNvPr id="617488" name="Text Box 10"/>
            <p:cNvSpPr txBox="1">
              <a:spLocks noChangeArrowheads="1"/>
            </p:cNvSpPr>
            <p:nvPr>
              <p:custDataLst>
                <p:tags r:id="rId13"/>
              </p:custDataLst>
            </p:nvPr>
          </p:nvSpPr>
          <p:spPr bwMode="auto">
            <a:xfrm>
              <a:off x="2513013" y="1774509"/>
              <a:ext cx="1981200" cy="274320"/>
            </a:xfrm>
            <a:prstGeom prst="rect">
              <a:avLst/>
            </a:prstGeom>
            <a:solidFill>
              <a:srgbClr val="00A1DE"/>
            </a:solidFill>
            <a:ln w="12700" algn="ctr">
              <a:noFill/>
              <a:miter lim="800000"/>
              <a:headEnd/>
              <a:tailEnd type="none" w="sm" len="med"/>
            </a:ln>
          </p:spPr>
          <p:txBody>
            <a:bodyPr lIns="27000" tIns="27000" rIns="27000" bIns="27000" anchor="ctr" anchorCtr="1"/>
            <a:lstStyle/>
            <a:p>
              <a:pPr defTabSz="717947">
                <a:buClrTx/>
              </a:pPr>
              <a:r>
                <a:rPr lang="en-US" sz="1050" b="1" kern="1200" dirty="0">
                  <a:solidFill>
                    <a:prstClr val="white"/>
                  </a:solidFill>
                  <a:ea typeface="+mn-ea"/>
                  <a:cs typeface="+mn-cs"/>
                </a:rPr>
                <a:t>Chapter title</a:t>
              </a:r>
            </a:p>
          </p:txBody>
        </p:sp>
        <p:sp>
          <p:nvSpPr>
            <p:cNvPr id="12" name="Rectangle 11"/>
            <p:cNvSpPr>
              <a:spLocks noChangeArrowheads="1"/>
            </p:cNvSpPr>
            <p:nvPr>
              <p:custDataLst>
                <p:tags r:id="rId14"/>
              </p:custDataLst>
            </p:nvPr>
          </p:nvSpPr>
          <p:spPr bwMode="auto">
            <a:xfrm>
              <a:off x="2513013" y="2062810"/>
              <a:ext cx="1981200" cy="315584"/>
            </a:xfrm>
            <a:prstGeom prst="rect">
              <a:avLst/>
            </a:prstGeom>
            <a:solidFill>
              <a:srgbClr val="DCDCDC"/>
            </a:solidFill>
            <a:ln w="12700" algn="ctr">
              <a:noFill/>
              <a:miter lim="800000"/>
              <a:headEnd/>
              <a:tailEnd/>
            </a:ln>
          </p:spPr>
          <p:txBody>
            <a:bodyPr lIns="27000" tIns="27000" rIns="27000" bIns="27000" anchor="ctr"/>
            <a:lstStyle/>
            <a:p>
              <a:pPr defTabSz="718499">
                <a:spcAft>
                  <a:spcPts val="225"/>
                </a:spcAft>
                <a:buClrTx/>
                <a:defRPr/>
              </a:pPr>
              <a:r>
                <a:rPr lang="en-US" sz="825" dirty="0">
                  <a:solidFill>
                    <a:srgbClr val="313131"/>
                  </a:solidFill>
                  <a:ea typeface="+mn-ea"/>
                  <a:cs typeface="+mn-cs"/>
                </a:rPr>
                <a:t>Supporting conclusion</a:t>
              </a:r>
            </a:p>
          </p:txBody>
        </p:sp>
      </p:grpSp>
      <p:grpSp>
        <p:nvGrpSpPr>
          <p:cNvPr id="7" name="Group 6"/>
          <p:cNvGrpSpPr/>
          <p:nvPr/>
        </p:nvGrpSpPr>
        <p:grpSpPr>
          <a:xfrm>
            <a:off x="4623197" y="1604487"/>
            <a:ext cx="1485900" cy="452914"/>
            <a:chOff x="4640263" y="1774509"/>
            <a:chExt cx="1981200" cy="603885"/>
          </a:xfrm>
        </p:grpSpPr>
        <p:sp>
          <p:nvSpPr>
            <p:cNvPr id="617486" name="Text Box 10"/>
            <p:cNvSpPr txBox="1">
              <a:spLocks noChangeArrowheads="1"/>
            </p:cNvSpPr>
            <p:nvPr>
              <p:custDataLst>
                <p:tags r:id="rId11"/>
              </p:custDataLst>
            </p:nvPr>
          </p:nvSpPr>
          <p:spPr bwMode="auto">
            <a:xfrm>
              <a:off x="4640263" y="1774509"/>
              <a:ext cx="1981200" cy="274320"/>
            </a:xfrm>
            <a:prstGeom prst="rect">
              <a:avLst/>
            </a:prstGeom>
            <a:solidFill>
              <a:srgbClr val="00A1DE"/>
            </a:solidFill>
            <a:ln w="12700" algn="ctr">
              <a:noFill/>
              <a:miter lim="800000"/>
              <a:headEnd/>
              <a:tailEnd type="none" w="sm" len="med"/>
            </a:ln>
          </p:spPr>
          <p:txBody>
            <a:bodyPr lIns="27000" tIns="27000" rIns="27000" bIns="27000" anchor="ctr" anchorCtr="1"/>
            <a:lstStyle/>
            <a:p>
              <a:pPr defTabSz="717947">
                <a:buClrTx/>
              </a:pPr>
              <a:r>
                <a:rPr lang="en-US" sz="1050" b="1" kern="1200" dirty="0">
                  <a:solidFill>
                    <a:prstClr val="white"/>
                  </a:solidFill>
                  <a:ea typeface="+mn-ea"/>
                  <a:cs typeface="+mn-cs"/>
                </a:rPr>
                <a:t>Chapter title</a:t>
              </a:r>
            </a:p>
          </p:txBody>
        </p:sp>
        <p:sp>
          <p:nvSpPr>
            <p:cNvPr id="15" name="Rectangle 11"/>
            <p:cNvSpPr>
              <a:spLocks noChangeArrowheads="1"/>
            </p:cNvSpPr>
            <p:nvPr>
              <p:custDataLst>
                <p:tags r:id="rId12"/>
              </p:custDataLst>
            </p:nvPr>
          </p:nvSpPr>
          <p:spPr bwMode="auto">
            <a:xfrm>
              <a:off x="4640263" y="2062810"/>
              <a:ext cx="1981200" cy="315584"/>
            </a:xfrm>
            <a:prstGeom prst="rect">
              <a:avLst/>
            </a:prstGeom>
            <a:solidFill>
              <a:srgbClr val="DCDCDC"/>
            </a:solidFill>
            <a:ln w="12700" algn="ctr">
              <a:noFill/>
              <a:miter lim="800000"/>
              <a:headEnd/>
              <a:tailEnd/>
            </a:ln>
          </p:spPr>
          <p:txBody>
            <a:bodyPr lIns="27000" tIns="27000" rIns="27000" bIns="27000" anchor="ctr"/>
            <a:lstStyle/>
            <a:p>
              <a:pPr defTabSz="718499">
                <a:spcAft>
                  <a:spcPts val="225"/>
                </a:spcAft>
                <a:buClrTx/>
                <a:defRPr/>
              </a:pPr>
              <a:r>
                <a:rPr lang="en-US" sz="825" dirty="0">
                  <a:solidFill>
                    <a:srgbClr val="313131"/>
                  </a:solidFill>
                  <a:ea typeface="+mn-ea"/>
                  <a:cs typeface="+mn-cs"/>
                </a:rPr>
                <a:t>Supporting conclusion</a:t>
              </a:r>
            </a:p>
          </p:txBody>
        </p:sp>
      </p:grpSp>
      <p:grpSp>
        <p:nvGrpSpPr>
          <p:cNvPr id="8" name="Group 7"/>
          <p:cNvGrpSpPr/>
          <p:nvPr/>
        </p:nvGrpSpPr>
        <p:grpSpPr>
          <a:xfrm>
            <a:off x="6218635" y="1604487"/>
            <a:ext cx="1484709" cy="452914"/>
            <a:chOff x="6767513" y="1774509"/>
            <a:chExt cx="1979612" cy="603885"/>
          </a:xfrm>
        </p:grpSpPr>
        <p:sp>
          <p:nvSpPr>
            <p:cNvPr id="617484" name="Text Box 10"/>
            <p:cNvSpPr txBox="1">
              <a:spLocks noChangeArrowheads="1"/>
            </p:cNvSpPr>
            <p:nvPr>
              <p:custDataLst>
                <p:tags r:id="rId9"/>
              </p:custDataLst>
            </p:nvPr>
          </p:nvSpPr>
          <p:spPr bwMode="auto">
            <a:xfrm>
              <a:off x="6767513" y="1774509"/>
              <a:ext cx="1979612" cy="274320"/>
            </a:xfrm>
            <a:prstGeom prst="rect">
              <a:avLst/>
            </a:prstGeom>
            <a:solidFill>
              <a:srgbClr val="00A1DE"/>
            </a:solidFill>
            <a:ln w="12700" algn="ctr">
              <a:noFill/>
              <a:miter lim="800000"/>
              <a:headEnd/>
              <a:tailEnd type="none" w="sm" len="med"/>
            </a:ln>
          </p:spPr>
          <p:txBody>
            <a:bodyPr lIns="27000" tIns="27000" rIns="27000" bIns="27000" anchor="ctr" anchorCtr="1"/>
            <a:lstStyle/>
            <a:p>
              <a:pPr defTabSz="717947">
                <a:buClrTx/>
              </a:pPr>
              <a:r>
                <a:rPr lang="en-US" sz="1050" b="1" kern="1200" dirty="0">
                  <a:solidFill>
                    <a:prstClr val="white"/>
                  </a:solidFill>
                  <a:ea typeface="+mn-ea"/>
                  <a:cs typeface="+mn-cs"/>
                </a:rPr>
                <a:t>Chapter title</a:t>
              </a:r>
            </a:p>
          </p:txBody>
        </p:sp>
        <p:sp>
          <p:nvSpPr>
            <p:cNvPr id="18" name="Rectangle 11"/>
            <p:cNvSpPr>
              <a:spLocks noChangeArrowheads="1"/>
            </p:cNvSpPr>
            <p:nvPr>
              <p:custDataLst>
                <p:tags r:id="rId10"/>
              </p:custDataLst>
            </p:nvPr>
          </p:nvSpPr>
          <p:spPr bwMode="auto">
            <a:xfrm>
              <a:off x="6767513" y="2062810"/>
              <a:ext cx="1979612" cy="315584"/>
            </a:xfrm>
            <a:prstGeom prst="rect">
              <a:avLst/>
            </a:prstGeom>
            <a:solidFill>
              <a:srgbClr val="DCDCDC"/>
            </a:solidFill>
            <a:ln w="12700" algn="ctr">
              <a:noFill/>
              <a:miter lim="800000"/>
              <a:headEnd/>
              <a:tailEnd/>
            </a:ln>
          </p:spPr>
          <p:txBody>
            <a:bodyPr lIns="27000" tIns="27000" rIns="27000" bIns="27000" anchor="ctr"/>
            <a:lstStyle/>
            <a:p>
              <a:pPr defTabSz="718499">
                <a:spcAft>
                  <a:spcPts val="225"/>
                </a:spcAft>
                <a:buClrTx/>
                <a:defRPr/>
              </a:pPr>
              <a:r>
                <a:rPr lang="en-US" sz="825" dirty="0">
                  <a:solidFill>
                    <a:srgbClr val="313131"/>
                  </a:solidFill>
                  <a:ea typeface="+mn-ea"/>
                  <a:cs typeface="+mn-cs"/>
                </a:rPr>
                <a:t>Supporting conclusion</a:t>
              </a:r>
            </a:p>
          </p:txBody>
        </p:sp>
      </p:grpSp>
      <p:sp>
        <p:nvSpPr>
          <p:cNvPr id="19" name="Rectangle 18"/>
          <p:cNvSpPr>
            <a:spLocks noChangeArrowheads="1"/>
          </p:cNvSpPr>
          <p:nvPr>
            <p:custDataLst>
              <p:tags r:id="rId3"/>
            </p:custDataLst>
          </p:nvPr>
        </p:nvSpPr>
        <p:spPr bwMode="auto">
          <a:xfrm>
            <a:off x="1433513" y="2137410"/>
            <a:ext cx="1485900" cy="2400300"/>
          </a:xfrm>
          <a:prstGeom prst="rect">
            <a:avLst/>
          </a:prstGeom>
          <a:solidFill>
            <a:srgbClr val="DCDCDC"/>
          </a:solidFill>
          <a:ln w="12700" algn="ctr">
            <a:noFill/>
            <a:miter lim="800000"/>
            <a:headEnd type="none" w="sm" len="sm"/>
            <a:tailEnd type="none" w="sm" len="sm"/>
          </a:ln>
        </p:spPr>
        <p:txBody>
          <a:bodyPr lIns="68580" tIns="27000" rIns="68580" bIns="27000"/>
          <a:lstStyle/>
          <a:p>
            <a:pPr marL="205740" lvl="1" indent="-205740" defTabSz="717947">
              <a:spcBef>
                <a:spcPts val="450"/>
              </a:spcBef>
              <a:buClrTx/>
              <a:buFont typeface="Arial" charset="0"/>
              <a:buChar char="•"/>
            </a:pPr>
            <a:r>
              <a:rPr lang="en-US" sz="825" kern="1200" dirty="0">
                <a:solidFill>
                  <a:srgbClr val="313131"/>
                </a:solidFill>
                <a:ea typeface="+mn-ea"/>
                <a:cs typeface="+mn-cs"/>
              </a:rPr>
              <a:t>This is a level one bullet </a:t>
            </a:r>
          </a:p>
          <a:p>
            <a:pPr marL="404622" lvl="2" indent="-198882" defTabSz="717947">
              <a:spcBef>
                <a:spcPts val="450"/>
              </a:spcBef>
              <a:buClrTx/>
              <a:buFont typeface="Arial" charset="0"/>
              <a:buChar char="‒"/>
            </a:pPr>
            <a:r>
              <a:rPr lang="en-US" sz="825" kern="1200" dirty="0">
                <a:solidFill>
                  <a:srgbClr val="313131"/>
                </a:solidFill>
                <a:ea typeface="+mn-ea"/>
                <a:cs typeface="+mn-cs"/>
              </a:rPr>
              <a:t>This is a level two bullet</a:t>
            </a:r>
          </a:p>
        </p:txBody>
      </p:sp>
      <p:sp>
        <p:nvSpPr>
          <p:cNvPr id="20" name="Rectangle 19"/>
          <p:cNvSpPr>
            <a:spLocks noChangeArrowheads="1"/>
          </p:cNvSpPr>
          <p:nvPr>
            <p:custDataLst>
              <p:tags r:id="rId4"/>
            </p:custDataLst>
          </p:nvPr>
        </p:nvSpPr>
        <p:spPr bwMode="auto">
          <a:xfrm>
            <a:off x="3028950" y="2137410"/>
            <a:ext cx="1485900" cy="2400300"/>
          </a:xfrm>
          <a:prstGeom prst="rect">
            <a:avLst/>
          </a:prstGeom>
          <a:solidFill>
            <a:srgbClr val="DCDCDC"/>
          </a:solidFill>
          <a:ln w="12700" algn="ctr">
            <a:noFill/>
            <a:miter lim="800000"/>
            <a:headEnd type="none" w="sm" len="sm"/>
            <a:tailEnd type="none" w="sm" len="sm"/>
          </a:ln>
        </p:spPr>
        <p:txBody>
          <a:bodyPr lIns="68580" tIns="27000" rIns="68580" bIns="27000"/>
          <a:lstStyle/>
          <a:p>
            <a:pPr marL="205740" lvl="1" indent="-205740" defTabSz="717947">
              <a:spcBef>
                <a:spcPts val="450"/>
              </a:spcBef>
              <a:buClrTx/>
              <a:buFont typeface="Arial" charset="0"/>
              <a:buChar char="•"/>
            </a:pPr>
            <a:r>
              <a:rPr lang="en-US" sz="825" kern="1200" dirty="0">
                <a:solidFill>
                  <a:srgbClr val="313131"/>
                </a:solidFill>
                <a:ea typeface="+mn-ea"/>
                <a:cs typeface="+mn-cs"/>
              </a:rPr>
              <a:t>This is a level one bullet</a:t>
            </a:r>
          </a:p>
          <a:p>
            <a:pPr marL="404622" lvl="2" indent="-198882" defTabSz="717947">
              <a:spcBef>
                <a:spcPts val="450"/>
              </a:spcBef>
              <a:buClrTx/>
              <a:buFont typeface="Arial" charset="0"/>
              <a:buChar char="‒"/>
            </a:pPr>
            <a:r>
              <a:rPr lang="en-US" sz="825" kern="1200" dirty="0">
                <a:solidFill>
                  <a:srgbClr val="313131"/>
                </a:solidFill>
                <a:ea typeface="+mn-ea"/>
                <a:cs typeface="+mn-cs"/>
              </a:rPr>
              <a:t>This is a level two bullet</a:t>
            </a:r>
          </a:p>
        </p:txBody>
      </p:sp>
      <p:sp>
        <p:nvSpPr>
          <p:cNvPr id="21" name="Rectangle 20"/>
          <p:cNvSpPr>
            <a:spLocks noChangeArrowheads="1"/>
          </p:cNvSpPr>
          <p:nvPr>
            <p:custDataLst>
              <p:tags r:id="rId5"/>
            </p:custDataLst>
          </p:nvPr>
        </p:nvSpPr>
        <p:spPr bwMode="auto">
          <a:xfrm>
            <a:off x="4624388" y="2137410"/>
            <a:ext cx="1485900" cy="2400300"/>
          </a:xfrm>
          <a:prstGeom prst="rect">
            <a:avLst/>
          </a:prstGeom>
          <a:solidFill>
            <a:srgbClr val="DCDCDC"/>
          </a:solidFill>
          <a:ln w="12700" algn="ctr">
            <a:noFill/>
            <a:miter lim="800000"/>
            <a:headEnd type="none" w="sm" len="sm"/>
            <a:tailEnd type="none" w="sm" len="sm"/>
          </a:ln>
        </p:spPr>
        <p:txBody>
          <a:bodyPr lIns="68580" tIns="27000" rIns="68580" bIns="27000"/>
          <a:lstStyle/>
          <a:p>
            <a:pPr marL="205740" lvl="1" indent="-205740" defTabSz="717947">
              <a:spcBef>
                <a:spcPts val="450"/>
              </a:spcBef>
              <a:buClrTx/>
              <a:buFont typeface="Arial" charset="0"/>
              <a:buChar char="•"/>
            </a:pPr>
            <a:r>
              <a:rPr lang="en-US" sz="825" kern="1200" dirty="0">
                <a:solidFill>
                  <a:srgbClr val="313131"/>
                </a:solidFill>
                <a:ea typeface="+mn-ea"/>
                <a:cs typeface="+mn-cs"/>
              </a:rPr>
              <a:t>This is a level one bullet</a:t>
            </a:r>
          </a:p>
          <a:p>
            <a:pPr marL="404622" lvl="2" indent="-198882" defTabSz="717947">
              <a:spcBef>
                <a:spcPts val="450"/>
              </a:spcBef>
              <a:buClrTx/>
              <a:buFont typeface="Arial" charset="0"/>
              <a:buChar char="‒"/>
            </a:pPr>
            <a:r>
              <a:rPr lang="en-US" sz="825" kern="1200" dirty="0">
                <a:solidFill>
                  <a:srgbClr val="313131"/>
                </a:solidFill>
                <a:ea typeface="+mn-ea"/>
                <a:cs typeface="+mn-cs"/>
              </a:rPr>
              <a:t>This is a level two bullet</a:t>
            </a:r>
          </a:p>
        </p:txBody>
      </p:sp>
      <p:sp>
        <p:nvSpPr>
          <p:cNvPr id="22" name="Rectangle 21"/>
          <p:cNvSpPr>
            <a:spLocks noChangeArrowheads="1"/>
          </p:cNvSpPr>
          <p:nvPr>
            <p:custDataLst>
              <p:tags r:id="rId6"/>
            </p:custDataLst>
          </p:nvPr>
        </p:nvSpPr>
        <p:spPr bwMode="auto">
          <a:xfrm>
            <a:off x="6217444" y="2137410"/>
            <a:ext cx="1485900" cy="2400300"/>
          </a:xfrm>
          <a:prstGeom prst="rect">
            <a:avLst/>
          </a:prstGeom>
          <a:solidFill>
            <a:srgbClr val="DCDCDC"/>
          </a:solidFill>
          <a:ln w="12700" algn="ctr">
            <a:noFill/>
            <a:miter lim="800000"/>
            <a:headEnd type="none" w="sm" len="sm"/>
            <a:tailEnd type="none" w="sm" len="sm"/>
          </a:ln>
        </p:spPr>
        <p:txBody>
          <a:bodyPr lIns="68580" tIns="27000" rIns="68580" bIns="27000"/>
          <a:lstStyle/>
          <a:p>
            <a:pPr marL="205740" lvl="1" indent="-205740" defTabSz="717947">
              <a:spcBef>
                <a:spcPts val="450"/>
              </a:spcBef>
              <a:buClrTx/>
              <a:buFont typeface="Arial" charset="0"/>
              <a:buChar char="•"/>
            </a:pPr>
            <a:r>
              <a:rPr lang="en-US" sz="825" kern="1200" dirty="0">
                <a:solidFill>
                  <a:srgbClr val="313131"/>
                </a:solidFill>
                <a:ea typeface="+mn-ea"/>
                <a:cs typeface="+mn-cs"/>
              </a:rPr>
              <a:t>This is a level one bullet</a:t>
            </a:r>
          </a:p>
          <a:p>
            <a:pPr marL="404622" lvl="2" indent="-198882" defTabSz="717947">
              <a:spcBef>
                <a:spcPts val="450"/>
              </a:spcBef>
              <a:buClrTx/>
              <a:buFont typeface="Arial" charset="0"/>
              <a:buChar char="‒"/>
            </a:pPr>
            <a:r>
              <a:rPr lang="en-US" sz="825" kern="1200" dirty="0">
                <a:solidFill>
                  <a:srgbClr val="313131"/>
                </a:solidFill>
                <a:ea typeface="+mn-ea"/>
                <a:cs typeface="+mn-cs"/>
              </a:rPr>
              <a:t>This is a level two bullet</a:t>
            </a:r>
          </a:p>
        </p:txBody>
      </p:sp>
      <p:grpSp>
        <p:nvGrpSpPr>
          <p:cNvPr id="3" name="Group 2"/>
          <p:cNvGrpSpPr/>
          <p:nvPr/>
        </p:nvGrpSpPr>
        <p:grpSpPr>
          <a:xfrm>
            <a:off x="1433513" y="1028700"/>
            <a:ext cx="6279356" cy="514350"/>
            <a:chOff x="387350" y="1123947"/>
            <a:chExt cx="8372475" cy="685800"/>
          </a:xfrm>
        </p:grpSpPr>
        <p:sp>
          <p:nvSpPr>
            <p:cNvPr id="6" name="Rectangle 11"/>
            <p:cNvSpPr>
              <a:spLocks noChangeArrowheads="1"/>
            </p:cNvSpPr>
            <p:nvPr>
              <p:custDataLst>
                <p:tags r:id="rId7"/>
              </p:custDataLst>
            </p:nvPr>
          </p:nvSpPr>
          <p:spPr bwMode="auto">
            <a:xfrm>
              <a:off x="387350" y="1374611"/>
              <a:ext cx="8372475" cy="435136"/>
            </a:xfrm>
            <a:prstGeom prst="rect">
              <a:avLst/>
            </a:prstGeom>
            <a:solidFill>
              <a:srgbClr val="DCDCDC"/>
            </a:solidFill>
            <a:ln w="12700" algn="ctr">
              <a:noFill/>
              <a:miter lim="800000"/>
              <a:headEnd/>
              <a:tailEnd/>
            </a:ln>
          </p:spPr>
          <p:txBody>
            <a:bodyPr lIns="68580" tIns="27000" rIns="27000" bIns="27000" anchor="ctr"/>
            <a:lstStyle/>
            <a:p>
              <a:pPr defTabSz="718499">
                <a:spcAft>
                  <a:spcPts val="225"/>
                </a:spcAft>
                <a:buClrTx/>
                <a:defRPr/>
              </a:pPr>
              <a:r>
                <a:rPr lang="en-US" sz="825" kern="1200" dirty="0">
                  <a:solidFill>
                    <a:srgbClr val="313131"/>
                  </a:solidFill>
                  <a:ea typeface="+mn-ea"/>
                  <a:cs typeface="+mn-cs"/>
                </a:rPr>
                <a:t>Main conclusion</a:t>
              </a:r>
              <a:endParaRPr lang="en-US" sz="825" dirty="0">
                <a:solidFill>
                  <a:srgbClr val="313131"/>
                </a:solidFill>
                <a:ea typeface="+mn-ea"/>
                <a:cs typeface="+mn-cs"/>
              </a:endParaRPr>
            </a:p>
          </p:txBody>
        </p:sp>
        <p:sp>
          <p:nvSpPr>
            <p:cNvPr id="617492" name="Text Box 10"/>
            <p:cNvSpPr txBox="1">
              <a:spLocks noChangeArrowheads="1"/>
            </p:cNvSpPr>
            <p:nvPr>
              <p:custDataLst>
                <p:tags r:id="rId8"/>
              </p:custDataLst>
            </p:nvPr>
          </p:nvSpPr>
          <p:spPr bwMode="auto">
            <a:xfrm>
              <a:off x="387350" y="1123947"/>
              <a:ext cx="8372475" cy="274320"/>
            </a:xfrm>
            <a:prstGeom prst="rect">
              <a:avLst/>
            </a:prstGeom>
            <a:solidFill>
              <a:srgbClr val="00A1DE"/>
            </a:solidFill>
            <a:ln w="12700" algn="ctr">
              <a:noFill/>
              <a:miter lim="800000"/>
              <a:headEnd/>
              <a:tailEnd type="none" w="sm" len="med"/>
            </a:ln>
          </p:spPr>
          <p:txBody>
            <a:bodyPr lIns="27000" tIns="27000" rIns="27000" bIns="27000" anchor="ctr" anchorCtr="1"/>
            <a:lstStyle/>
            <a:p>
              <a:pPr defTabSz="717947">
                <a:buClrTx/>
              </a:pPr>
              <a:r>
                <a:rPr lang="en-US" sz="1050" b="1" kern="1200" dirty="0">
                  <a:solidFill>
                    <a:prstClr val="white"/>
                  </a:solidFill>
                  <a:ea typeface="+mn-ea"/>
                  <a:cs typeface="+mn-cs"/>
                </a:rPr>
                <a:t>Report title</a:t>
              </a:r>
            </a:p>
          </p:txBody>
        </p:sp>
      </p:grpSp>
    </p:spTree>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8497" name="Title 1"/>
          <p:cNvSpPr>
            <a:spLocks noGrp="1"/>
          </p:cNvSpPr>
          <p:nvPr>
            <p:ph type="title"/>
          </p:nvPr>
        </p:nvSpPr>
        <p:spPr/>
        <p:txBody>
          <a:bodyPr/>
          <a:lstStyle/>
          <a:p>
            <a:r>
              <a:rPr lang="en-US" altLang="ja-JP" dirty="0">
                <a:solidFill>
                  <a:srgbClr val="81BC00"/>
                </a:solidFill>
              </a:rPr>
              <a:t>Driver trees </a:t>
            </a:r>
            <a:br>
              <a:rPr lang="en-US" altLang="ja-JP" dirty="0">
                <a:solidFill>
                  <a:srgbClr val="575757"/>
                </a:solidFill>
              </a:rPr>
            </a:br>
            <a:r>
              <a:rPr lang="en-US" altLang="ja-JP" dirty="0">
                <a:solidFill>
                  <a:srgbClr val="575757"/>
                </a:solidFill>
              </a:rPr>
              <a:t>Arrows showing base trends</a:t>
            </a:r>
            <a:endParaRPr lang="en-US" dirty="0">
              <a:solidFill>
                <a:srgbClr val="575757"/>
              </a:solidFill>
            </a:endParaRPr>
          </a:p>
        </p:txBody>
      </p:sp>
      <p:cxnSp>
        <p:nvCxnSpPr>
          <p:cNvPr id="9" name="AutoShape 8"/>
          <p:cNvCxnSpPr>
            <a:cxnSpLocks noChangeShapeType="1"/>
            <a:stCxn id="4" idx="3"/>
            <a:endCxn id="5" idx="1"/>
          </p:cNvCxnSpPr>
          <p:nvPr/>
        </p:nvCxnSpPr>
        <p:spPr bwMode="auto">
          <a:xfrm flipV="1">
            <a:off x="2690813" y="1988344"/>
            <a:ext cx="317897" cy="754856"/>
          </a:xfrm>
          <a:prstGeom prst="bentConnector3">
            <a:avLst>
              <a:gd name="adj1" fmla="val 50000"/>
            </a:avLst>
          </a:prstGeom>
          <a:noFill/>
          <a:ln w="12700">
            <a:solidFill>
              <a:srgbClr val="B4B4B4"/>
            </a:solidFill>
            <a:miter lim="800000"/>
            <a:headEnd type="none" w="sm" len="sm"/>
            <a:tailEnd type="none" w="sm" len="sm"/>
          </a:ln>
        </p:spPr>
      </p:cxnSp>
      <p:cxnSp>
        <p:nvCxnSpPr>
          <p:cNvPr id="10" name="AutoShape 9"/>
          <p:cNvCxnSpPr>
            <a:cxnSpLocks noChangeShapeType="1"/>
            <a:stCxn id="4" idx="3"/>
            <a:endCxn id="6" idx="1"/>
          </p:cNvCxnSpPr>
          <p:nvPr/>
        </p:nvCxnSpPr>
        <p:spPr bwMode="auto">
          <a:xfrm>
            <a:off x="2690813" y="2743201"/>
            <a:ext cx="317897" cy="756047"/>
          </a:xfrm>
          <a:prstGeom prst="bentConnector3">
            <a:avLst>
              <a:gd name="adj1" fmla="val 50000"/>
            </a:avLst>
          </a:prstGeom>
          <a:noFill/>
          <a:ln w="12700">
            <a:solidFill>
              <a:srgbClr val="B4B4B4"/>
            </a:solidFill>
            <a:miter lim="800000"/>
            <a:headEnd type="none" w="sm" len="sm"/>
            <a:tailEnd type="none" w="sm" len="sm"/>
          </a:ln>
        </p:spPr>
      </p:cxnSp>
      <p:cxnSp>
        <p:nvCxnSpPr>
          <p:cNvPr id="11" name="AutoShape 10"/>
          <p:cNvCxnSpPr>
            <a:cxnSpLocks noChangeShapeType="1"/>
            <a:stCxn id="6" idx="3"/>
            <a:endCxn id="8" idx="1"/>
          </p:cNvCxnSpPr>
          <p:nvPr/>
        </p:nvCxnSpPr>
        <p:spPr bwMode="auto">
          <a:xfrm flipV="1">
            <a:off x="3921919" y="2894410"/>
            <a:ext cx="409575" cy="604838"/>
          </a:xfrm>
          <a:prstGeom prst="bentConnector3">
            <a:avLst>
              <a:gd name="adj1" fmla="val 50000"/>
            </a:avLst>
          </a:prstGeom>
          <a:noFill/>
          <a:ln w="12700">
            <a:solidFill>
              <a:srgbClr val="B4B4B4"/>
            </a:solidFill>
            <a:miter lim="800000"/>
            <a:headEnd type="none" w="sm" len="sm"/>
            <a:tailEnd type="none" w="sm" len="sm"/>
          </a:ln>
        </p:spPr>
      </p:cxnSp>
      <p:cxnSp>
        <p:nvCxnSpPr>
          <p:cNvPr id="12" name="AutoShape 11"/>
          <p:cNvCxnSpPr>
            <a:cxnSpLocks noChangeShapeType="1"/>
            <a:stCxn id="6" idx="3"/>
            <a:endCxn id="7" idx="1"/>
          </p:cNvCxnSpPr>
          <p:nvPr/>
        </p:nvCxnSpPr>
        <p:spPr bwMode="auto">
          <a:xfrm>
            <a:off x="3921919" y="3499247"/>
            <a:ext cx="409575" cy="1191"/>
          </a:xfrm>
          <a:prstGeom prst="straightConnector1">
            <a:avLst/>
          </a:prstGeom>
          <a:noFill/>
          <a:ln w="12700">
            <a:solidFill>
              <a:srgbClr val="B4B4B4"/>
            </a:solidFill>
            <a:round/>
            <a:headEnd type="none" w="sm" len="sm"/>
            <a:tailEnd type="none" w="sm" len="sm"/>
          </a:ln>
        </p:spPr>
      </p:cxnSp>
      <p:cxnSp>
        <p:nvCxnSpPr>
          <p:cNvPr id="15" name="AutoShape 14"/>
          <p:cNvCxnSpPr>
            <a:cxnSpLocks noChangeShapeType="1"/>
            <a:stCxn id="5" idx="3"/>
            <a:endCxn id="14" idx="1"/>
          </p:cNvCxnSpPr>
          <p:nvPr/>
        </p:nvCxnSpPr>
        <p:spPr bwMode="auto">
          <a:xfrm flipV="1">
            <a:off x="3921919" y="1685331"/>
            <a:ext cx="409575" cy="303014"/>
          </a:xfrm>
          <a:prstGeom prst="bentConnector3">
            <a:avLst>
              <a:gd name="adj1" fmla="val 50000"/>
            </a:avLst>
          </a:prstGeom>
          <a:noFill/>
          <a:ln w="12700">
            <a:solidFill>
              <a:srgbClr val="B4B4B4"/>
            </a:solidFill>
            <a:miter lim="800000"/>
            <a:headEnd type="none" w="sm" len="sm"/>
            <a:tailEnd type="none" w="sm" len="sm"/>
          </a:ln>
        </p:spPr>
      </p:cxnSp>
      <p:cxnSp>
        <p:nvCxnSpPr>
          <p:cNvPr id="16" name="AutoShape 15"/>
          <p:cNvCxnSpPr>
            <a:cxnSpLocks noChangeShapeType="1"/>
            <a:stCxn id="5" idx="3"/>
            <a:endCxn id="13" idx="1"/>
          </p:cNvCxnSpPr>
          <p:nvPr/>
        </p:nvCxnSpPr>
        <p:spPr bwMode="auto">
          <a:xfrm>
            <a:off x="3921919" y="1988344"/>
            <a:ext cx="409575" cy="298847"/>
          </a:xfrm>
          <a:prstGeom prst="bentConnector3">
            <a:avLst>
              <a:gd name="adj1" fmla="val 50000"/>
            </a:avLst>
          </a:prstGeom>
          <a:noFill/>
          <a:ln w="12700">
            <a:solidFill>
              <a:srgbClr val="B4B4B4"/>
            </a:solidFill>
            <a:miter lim="800000"/>
            <a:headEnd type="none" w="sm" len="sm"/>
            <a:tailEnd type="none" w="sm" len="sm"/>
          </a:ln>
        </p:spPr>
      </p:cxnSp>
      <p:cxnSp>
        <p:nvCxnSpPr>
          <p:cNvPr id="18" name="AutoShape 25"/>
          <p:cNvCxnSpPr>
            <a:cxnSpLocks noChangeShapeType="1"/>
            <a:stCxn id="6" idx="3"/>
            <a:endCxn id="17" idx="1"/>
          </p:cNvCxnSpPr>
          <p:nvPr/>
        </p:nvCxnSpPr>
        <p:spPr bwMode="auto">
          <a:xfrm>
            <a:off x="3921919" y="3499248"/>
            <a:ext cx="409575" cy="608368"/>
          </a:xfrm>
          <a:prstGeom prst="bentConnector3">
            <a:avLst>
              <a:gd name="adj1" fmla="val 50000"/>
            </a:avLst>
          </a:prstGeom>
          <a:noFill/>
          <a:ln w="12700">
            <a:solidFill>
              <a:srgbClr val="B4B4B4"/>
            </a:solidFill>
            <a:miter lim="800000"/>
            <a:headEnd type="none" w="sm" len="sm"/>
            <a:tailEnd type="none" w="sm" len="sm"/>
          </a:ln>
        </p:spPr>
      </p:cxnSp>
      <p:sp>
        <p:nvSpPr>
          <p:cNvPr id="618522" name="Text Box 26"/>
          <p:cNvSpPr txBox="1">
            <a:spLocks noChangeArrowheads="1"/>
          </p:cNvSpPr>
          <p:nvPr/>
        </p:nvSpPr>
        <p:spPr bwMode="auto">
          <a:xfrm>
            <a:off x="5584936" y="1270397"/>
            <a:ext cx="378000" cy="162000"/>
          </a:xfrm>
          <a:prstGeom prst="rect">
            <a:avLst/>
          </a:prstGeom>
          <a:noFill/>
          <a:ln w="9525">
            <a:noFill/>
            <a:miter lim="800000"/>
            <a:headEnd type="none" w="sm" len="sm"/>
            <a:tailEnd type="none" w="sm" len="sm"/>
          </a:ln>
        </p:spPr>
        <p:txBody>
          <a:bodyPr wrap="square" lIns="27000" tIns="27000" rIns="27000" bIns="27000" anchor="ctr" anchorCtr="0">
            <a:noAutofit/>
          </a:bodyPr>
          <a:lstStyle/>
          <a:p>
            <a:pPr algn="ctr" defTabSz="685800">
              <a:buClrTx/>
            </a:pPr>
            <a:r>
              <a:rPr lang="en-US" altLang="ja-JP" sz="1050" kern="1200" dirty="0">
                <a:solidFill>
                  <a:srgbClr val="313131"/>
                </a:solidFill>
                <a:ea typeface="ＭＳ Ｐゴシック" charset="-128"/>
                <a:cs typeface="+mn-cs"/>
              </a:rPr>
              <a:t>Text</a:t>
            </a:r>
          </a:p>
        </p:txBody>
      </p:sp>
      <p:sp>
        <p:nvSpPr>
          <p:cNvPr id="39" name="Text Box 26"/>
          <p:cNvSpPr txBox="1">
            <a:spLocks noChangeArrowheads="1"/>
          </p:cNvSpPr>
          <p:nvPr/>
        </p:nvSpPr>
        <p:spPr bwMode="auto">
          <a:xfrm>
            <a:off x="6196322" y="1270397"/>
            <a:ext cx="378000" cy="162000"/>
          </a:xfrm>
          <a:prstGeom prst="rect">
            <a:avLst/>
          </a:prstGeom>
          <a:noFill/>
          <a:ln w="9525">
            <a:noFill/>
            <a:miter lim="800000"/>
            <a:headEnd type="none" w="sm" len="sm"/>
            <a:tailEnd type="none" w="sm" len="sm"/>
          </a:ln>
        </p:spPr>
        <p:txBody>
          <a:bodyPr wrap="square" lIns="27000" tIns="27000" rIns="27000" bIns="27000" anchor="ctr" anchorCtr="0">
            <a:noAutofit/>
          </a:bodyPr>
          <a:lstStyle/>
          <a:p>
            <a:pPr algn="ctr" defTabSz="685800">
              <a:buClrTx/>
            </a:pPr>
            <a:r>
              <a:rPr lang="en-US" altLang="ja-JP" sz="1050" kern="1200">
                <a:solidFill>
                  <a:srgbClr val="313131"/>
                </a:solidFill>
                <a:ea typeface="ＭＳ Ｐゴシック" charset="-128"/>
                <a:cs typeface="+mn-cs"/>
              </a:rPr>
              <a:t>Text</a:t>
            </a:r>
            <a:endParaRPr lang="en-US" altLang="ja-JP" sz="1050" kern="1200" dirty="0">
              <a:solidFill>
                <a:srgbClr val="313131"/>
              </a:solidFill>
              <a:ea typeface="ＭＳ Ｐゴシック" charset="-128"/>
              <a:cs typeface="+mn-cs"/>
            </a:endParaRPr>
          </a:p>
        </p:txBody>
      </p:sp>
      <p:sp>
        <p:nvSpPr>
          <p:cNvPr id="40" name="Text Box 26"/>
          <p:cNvSpPr txBox="1">
            <a:spLocks noChangeArrowheads="1"/>
          </p:cNvSpPr>
          <p:nvPr/>
        </p:nvSpPr>
        <p:spPr bwMode="auto">
          <a:xfrm>
            <a:off x="6817829" y="1270397"/>
            <a:ext cx="378000" cy="162000"/>
          </a:xfrm>
          <a:prstGeom prst="rect">
            <a:avLst/>
          </a:prstGeom>
          <a:noFill/>
          <a:ln w="9525">
            <a:noFill/>
            <a:miter lim="800000"/>
            <a:headEnd type="none" w="sm" len="sm"/>
            <a:tailEnd type="none" w="sm" len="sm"/>
          </a:ln>
        </p:spPr>
        <p:txBody>
          <a:bodyPr wrap="square" lIns="27000" tIns="27000" rIns="27000" bIns="27000" anchor="ctr" anchorCtr="0">
            <a:noAutofit/>
          </a:bodyPr>
          <a:lstStyle/>
          <a:p>
            <a:pPr algn="ctr" defTabSz="685800">
              <a:buClrTx/>
            </a:pPr>
            <a:r>
              <a:rPr lang="en-US" altLang="ja-JP" sz="1050" kern="1200">
                <a:solidFill>
                  <a:srgbClr val="313131"/>
                </a:solidFill>
                <a:ea typeface="ＭＳ Ｐゴシック" charset="-128"/>
                <a:cs typeface="+mn-cs"/>
              </a:rPr>
              <a:t>Text</a:t>
            </a:r>
            <a:endParaRPr lang="en-US" altLang="ja-JP" sz="1050" kern="1200" dirty="0">
              <a:solidFill>
                <a:srgbClr val="313131"/>
              </a:solidFill>
              <a:ea typeface="ＭＳ Ｐゴシック" charset="-128"/>
              <a:cs typeface="+mn-cs"/>
            </a:endParaRPr>
          </a:p>
        </p:txBody>
      </p:sp>
      <p:sp>
        <p:nvSpPr>
          <p:cNvPr id="4" name="Rectangle 3"/>
          <p:cNvSpPr>
            <a:spLocks noChangeArrowheads="1"/>
          </p:cNvSpPr>
          <p:nvPr/>
        </p:nvSpPr>
        <p:spPr bwMode="auto">
          <a:xfrm>
            <a:off x="1779985" y="2570560"/>
            <a:ext cx="910828" cy="345281"/>
          </a:xfrm>
          <a:prstGeom prst="rect">
            <a:avLst/>
          </a:prstGeom>
          <a:solidFill>
            <a:srgbClr val="00A1DE"/>
          </a:solidFill>
          <a:ln w="12700" algn="ctr">
            <a:solidFill>
              <a:schemeClr val="bg1"/>
            </a:solidFill>
            <a:miter lim="800000"/>
            <a:headEnd type="none" w="sm" len="sm"/>
            <a:tailEnd type="none" w="sm" len="sm"/>
          </a:ln>
        </p:spPr>
        <p:txBody>
          <a:bodyPr wrap="square" lIns="27000" tIns="27000" rIns="27000" bIns="27000" anchor="ctr">
            <a:noAutofit/>
          </a:bodyPr>
          <a:lstStyle/>
          <a:p>
            <a:pPr algn="ctr" defTabSz="685800">
              <a:buClrTx/>
              <a:defRPr/>
            </a:pPr>
            <a:r>
              <a:rPr lang="en-US" altLang="ja-JP"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
        <p:nvSpPr>
          <p:cNvPr id="5" name="Rectangle 4"/>
          <p:cNvSpPr>
            <a:spLocks noChangeArrowheads="1"/>
          </p:cNvSpPr>
          <p:nvPr/>
        </p:nvSpPr>
        <p:spPr bwMode="auto">
          <a:xfrm>
            <a:off x="3008710" y="1815704"/>
            <a:ext cx="913209" cy="345281"/>
          </a:xfrm>
          <a:prstGeom prst="rect">
            <a:avLst/>
          </a:prstGeom>
          <a:solidFill>
            <a:srgbClr val="00A1DE"/>
          </a:solidFill>
          <a:ln w="12700" algn="ctr">
            <a:solidFill>
              <a:schemeClr val="bg1"/>
            </a:solidFill>
            <a:miter lim="800000"/>
            <a:headEnd type="none" w="sm" len="sm"/>
            <a:tailEnd type="none" w="sm" len="sm"/>
          </a:ln>
        </p:spPr>
        <p:txBody>
          <a:bodyPr wrap="square" lIns="27000" tIns="27000" rIns="27000" bIns="27000" anchor="ctr">
            <a:noAutofit/>
          </a:bodyPr>
          <a:lstStyle/>
          <a:p>
            <a:pPr algn="ctr" defTabSz="685800">
              <a:buClrTx/>
              <a:defRPr/>
            </a:pPr>
            <a:r>
              <a:rPr lang="en-US" altLang="ja-JP"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
        <p:nvSpPr>
          <p:cNvPr id="6" name="Rectangle 5"/>
          <p:cNvSpPr>
            <a:spLocks noChangeArrowheads="1"/>
          </p:cNvSpPr>
          <p:nvPr/>
        </p:nvSpPr>
        <p:spPr bwMode="auto">
          <a:xfrm>
            <a:off x="3008710" y="3326607"/>
            <a:ext cx="913209" cy="345281"/>
          </a:xfrm>
          <a:prstGeom prst="rect">
            <a:avLst/>
          </a:prstGeom>
          <a:solidFill>
            <a:srgbClr val="00A1DE"/>
          </a:solidFill>
          <a:ln w="12700" algn="ctr">
            <a:solidFill>
              <a:schemeClr val="bg1"/>
            </a:solidFill>
            <a:miter lim="800000"/>
            <a:headEnd type="none" w="sm" len="sm"/>
            <a:tailEnd type="none" w="sm" len="sm"/>
          </a:ln>
        </p:spPr>
        <p:txBody>
          <a:bodyPr wrap="square" lIns="27000" tIns="27000" rIns="27000" bIns="27000" anchor="ctr">
            <a:noAutofit/>
          </a:bodyPr>
          <a:lstStyle/>
          <a:p>
            <a:pPr algn="ctr" defTabSz="685800">
              <a:buClrTx/>
              <a:defRPr/>
            </a:pPr>
            <a:r>
              <a:rPr lang="en-US" altLang="ja-JP"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
        <p:nvSpPr>
          <p:cNvPr id="7" name="Rectangle 6"/>
          <p:cNvSpPr>
            <a:spLocks noChangeArrowheads="1"/>
          </p:cNvSpPr>
          <p:nvPr/>
        </p:nvSpPr>
        <p:spPr bwMode="auto">
          <a:xfrm>
            <a:off x="4331494" y="3326607"/>
            <a:ext cx="910829" cy="345281"/>
          </a:xfrm>
          <a:prstGeom prst="rect">
            <a:avLst/>
          </a:prstGeom>
          <a:solidFill>
            <a:srgbClr val="00A1DE"/>
          </a:solidFill>
          <a:ln w="12700" algn="ctr">
            <a:solidFill>
              <a:schemeClr val="bg1"/>
            </a:solidFill>
            <a:miter lim="800000"/>
            <a:headEnd type="none" w="sm" len="sm"/>
            <a:tailEnd type="none" w="sm" len="sm"/>
          </a:ln>
        </p:spPr>
        <p:txBody>
          <a:bodyPr wrap="square" lIns="27000" tIns="27000" rIns="27000" bIns="27000" anchor="ctr">
            <a:noAutofit/>
          </a:bodyPr>
          <a:lstStyle/>
          <a:p>
            <a:pPr algn="ctr" defTabSz="685800">
              <a:buClrTx/>
              <a:defRPr/>
            </a:pPr>
            <a:r>
              <a:rPr lang="en-US" altLang="ja-JP"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
        <p:nvSpPr>
          <p:cNvPr id="8" name="Rectangle 7"/>
          <p:cNvSpPr>
            <a:spLocks noChangeArrowheads="1"/>
          </p:cNvSpPr>
          <p:nvPr/>
        </p:nvSpPr>
        <p:spPr bwMode="auto">
          <a:xfrm>
            <a:off x="4331494" y="2721769"/>
            <a:ext cx="910829" cy="345281"/>
          </a:xfrm>
          <a:prstGeom prst="rect">
            <a:avLst/>
          </a:prstGeom>
          <a:solidFill>
            <a:srgbClr val="00A1DE"/>
          </a:solidFill>
          <a:ln w="12700" algn="ctr">
            <a:solidFill>
              <a:schemeClr val="bg1"/>
            </a:solidFill>
            <a:miter lim="800000"/>
            <a:headEnd type="none" w="sm" len="sm"/>
            <a:tailEnd type="none" w="sm" len="sm"/>
          </a:ln>
        </p:spPr>
        <p:txBody>
          <a:bodyPr wrap="square" lIns="27000" tIns="27000" rIns="27000" bIns="27000" anchor="ctr">
            <a:noAutofit/>
          </a:bodyPr>
          <a:lstStyle/>
          <a:p>
            <a:pPr algn="ctr" defTabSz="685800">
              <a:buClrTx/>
              <a:defRPr/>
            </a:pPr>
            <a:r>
              <a:rPr lang="en-US" altLang="ja-JP"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
        <p:nvSpPr>
          <p:cNvPr id="13" name="Rectangle 12"/>
          <p:cNvSpPr>
            <a:spLocks noChangeArrowheads="1"/>
          </p:cNvSpPr>
          <p:nvPr/>
        </p:nvSpPr>
        <p:spPr bwMode="auto">
          <a:xfrm>
            <a:off x="4331494" y="2114551"/>
            <a:ext cx="910829" cy="345281"/>
          </a:xfrm>
          <a:prstGeom prst="rect">
            <a:avLst/>
          </a:prstGeom>
          <a:solidFill>
            <a:srgbClr val="00A1DE"/>
          </a:solidFill>
          <a:ln w="12700" algn="ctr">
            <a:solidFill>
              <a:schemeClr val="bg1"/>
            </a:solidFill>
            <a:miter lim="800000"/>
            <a:headEnd type="none" w="sm" len="sm"/>
            <a:tailEnd type="none" w="sm" len="sm"/>
          </a:ln>
        </p:spPr>
        <p:txBody>
          <a:bodyPr wrap="square" lIns="27000" tIns="27000" rIns="27000" bIns="27000" anchor="ctr">
            <a:noAutofit/>
          </a:bodyPr>
          <a:lstStyle/>
          <a:p>
            <a:pPr algn="ctr" defTabSz="685800">
              <a:buClrTx/>
              <a:defRPr/>
            </a:pPr>
            <a:r>
              <a:rPr lang="en-US" altLang="ja-JP" sz="1050" kern="1200" dirty="0">
                <a:solidFill>
                  <a:prstClr val="white"/>
                </a:solidFill>
                <a:ea typeface="ＭＳ Ｐゴシック" pitchFamily="50" charset="-128"/>
                <a:cs typeface="+mn-cs"/>
              </a:rPr>
              <a:t>Text</a:t>
            </a:r>
          </a:p>
        </p:txBody>
      </p:sp>
      <p:sp>
        <p:nvSpPr>
          <p:cNvPr id="14" name="Rectangle 13"/>
          <p:cNvSpPr>
            <a:spLocks noChangeArrowheads="1"/>
          </p:cNvSpPr>
          <p:nvPr/>
        </p:nvSpPr>
        <p:spPr bwMode="auto">
          <a:xfrm>
            <a:off x="4331494" y="1512094"/>
            <a:ext cx="910829" cy="346472"/>
          </a:xfrm>
          <a:prstGeom prst="rect">
            <a:avLst/>
          </a:prstGeom>
          <a:solidFill>
            <a:srgbClr val="00A1DE"/>
          </a:solidFill>
          <a:ln w="12700" algn="ctr">
            <a:solidFill>
              <a:schemeClr val="bg1"/>
            </a:solidFill>
            <a:miter lim="800000"/>
            <a:headEnd type="none" w="sm" len="sm"/>
            <a:tailEnd type="none" w="sm" len="sm"/>
          </a:ln>
        </p:spPr>
        <p:txBody>
          <a:bodyPr wrap="square" lIns="27000" tIns="27000" rIns="27000" bIns="27000" anchor="ctr">
            <a:noAutofit/>
          </a:bodyPr>
          <a:lstStyle/>
          <a:p>
            <a:pPr algn="ctr" defTabSz="685800">
              <a:buClrTx/>
              <a:defRPr/>
            </a:pPr>
            <a:r>
              <a:rPr lang="en-US" altLang="ja-JP" sz="1050" kern="1200" dirty="0">
                <a:solidFill>
                  <a:prstClr val="white"/>
                </a:solidFill>
                <a:ea typeface="ＭＳ Ｐゴシック" pitchFamily="50" charset="-128"/>
                <a:cs typeface="+mn-cs"/>
              </a:rPr>
              <a:t>Text</a:t>
            </a:r>
          </a:p>
        </p:txBody>
      </p:sp>
      <p:sp>
        <p:nvSpPr>
          <p:cNvPr id="17" name="Rectangle 24"/>
          <p:cNvSpPr>
            <a:spLocks noChangeArrowheads="1"/>
          </p:cNvSpPr>
          <p:nvPr/>
        </p:nvSpPr>
        <p:spPr bwMode="auto">
          <a:xfrm>
            <a:off x="4331494" y="3934975"/>
            <a:ext cx="910829" cy="345281"/>
          </a:xfrm>
          <a:prstGeom prst="rect">
            <a:avLst/>
          </a:prstGeom>
          <a:solidFill>
            <a:srgbClr val="00A1DE"/>
          </a:solidFill>
          <a:ln w="12700" algn="ctr">
            <a:solidFill>
              <a:schemeClr val="bg1"/>
            </a:solidFill>
            <a:miter lim="800000"/>
            <a:headEnd type="none" w="sm" len="sm"/>
            <a:tailEnd type="none" w="sm" len="sm"/>
          </a:ln>
        </p:spPr>
        <p:txBody>
          <a:bodyPr wrap="square" lIns="27000" tIns="27000" rIns="27000" bIns="27000" anchor="ctr">
            <a:noAutofit/>
          </a:bodyPr>
          <a:lstStyle/>
          <a:p>
            <a:pPr algn="ctr" defTabSz="685800">
              <a:buClrTx/>
              <a:defRPr/>
            </a:pPr>
            <a:r>
              <a:rPr lang="en-US" altLang="ja-JP"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
        <p:nvSpPr>
          <p:cNvPr id="45" name="AutoShape 112"/>
          <p:cNvSpPr>
            <a:spLocks noChangeArrowheads="1"/>
          </p:cNvSpPr>
          <p:nvPr/>
        </p:nvSpPr>
        <p:spPr bwMode="grayWhite">
          <a:xfrm>
            <a:off x="5605186" y="1584080"/>
            <a:ext cx="337500" cy="2025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46" name="AutoShape 110"/>
          <p:cNvSpPr>
            <a:spLocks noChangeArrowheads="1"/>
          </p:cNvSpPr>
          <p:nvPr/>
        </p:nvSpPr>
        <p:spPr bwMode="grayWhite">
          <a:xfrm>
            <a:off x="5605186" y="2793159"/>
            <a:ext cx="337500" cy="202500"/>
          </a:xfrm>
          <a:prstGeom prst="downArrow">
            <a:avLst/>
          </a:prstGeom>
          <a:solidFill>
            <a:srgbClr val="C00000"/>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47" name="AutoShape 110"/>
          <p:cNvSpPr>
            <a:spLocks noChangeArrowheads="1"/>
          </p:cNvSpPr>
          <p:nvPr/>
        </p:nvSpPr>
        <p:spPr bwMode="grayWhite">
          <a:xfrm>
            <a:off x="5672686" y="2118440"/>
            <a:ext cx="202500" cy="337500"/>
          </a:xfrm>
          <a:prstGeom prst="rightArrow">
            <a:avLst/>
          </a:prstGeom>
          <a:solidFill>
            <a:srgbClr val="FFC000"/>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48" name="AutoShape 112"/>
          <p:cNvSpPr>
            <a:spLocks noChangeArrowheads="1"/>
          </p:cNvSpPr>
          <p:nvPr/>
        </p:nvSpPr>
        <p:spPr bwMode="grayWhite">
          <a:xfrm>
            <a:off x="5605186" y="3397997"/>
            <a:ext cx="337500" cy="2025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49" name="AutoShape 110"/>
          <p:cNvSpPr>
            <a:spLocks noChangeArrowheads="1"/>
          </p:cNvSpPr>
          <p:nvPr/>
        </p:nvSpPr>
        <p:spPr bwMode="grayWhite">
          <a:xfrm>
            <a:off x="5672686" y="3938864"/>
            <a:ext cx="202500" cy="337500"/>
          </a:xfrm>
          <a:prstGeom prst="rightArrow">
            <a:avLst/>
          </a:prstGeom>
          <a:solidFill>
            <a:srgbClr val="FFC000"/>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50" name="AutoShape 112"/>
          <p:cNvSpPr>
            <a:spLocks noChangeArrowheads="1"/>
          </p:cNvSpPr>
          <p:nvPr/>
        </p:nvSpPr>
        <p:spPr bwMode="grayWhite">
          <a:xfrm>
            <a:off x="6216572" y="1584080"/>
            <a:ext cx="337500" cy="2025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51" name="AutoShape 110"/>
          <p:cNvSpPr>
            <a:spLocks noChangeArrowheads="1"/>
          </p:cNvSpPr>
          <p:nvPr/>
        </p:nvSpPr>
        <p:spPr bwMode="grayWhite">
          <a:xfrm>
            <a:off x="6216572" y="2793159"/>
            <a:ext cx="337500" cy="202500"/>
          </a:xfrm>
          <a:prstGeom prst="downArrow">
            <a:avLst/>
          </a:prstGeom>
          <a:solidFill>
            <a:srgbClr val="C00000"/>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52" name="AutoShape 110"/>
          <p:cNvSpPr>
            <a:spLocks noChangeArrowheads="1"/>
          </p:cNvSpPr>
          <p:nvPr/>
        </p:nvSpPr>
        <p:spPr bwMode="grayWhite">
          <a:xfrm>
            <a:off x="6284072" y="2118440"/>
            <a:ext cx="202500" cy="337500"/>
          </a:xfrm>
          <a:prstGeom prst="rightArrow">
            <a:avLst/>
          </a:prstGeom>
          <a:solidFill>
            <a:srgbClr val="FFC000"/>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53" name="AutoShape 112"/>
          <p:cNvSpPr>
            <a:spLocks noChangeArrowheads="1"/>
          </p:cNvSpPr>
          <p:nvPr/>
        </p:nvSpPr>
        <p:spPr bwMode="grayWhite">
          <a:xfrm>
            <a:off x="6216572" y="3397997"/>
            <a:ext cx="337500" cy="2025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54" name="AutoShape 110"/>
          <p:cNvSpPr>
            <a:spLocks noChangeArrowheads="1"/>
          </p:cNvSpPr>
          <p:nvPr/>
        </p:nvSpPr>
        <p:spPr bwMode="grayWhite">
          <a:xfrm>
            <a:off x="6284072" y="3938864"/>
            <a:ext cx="202500" cy="337500"/>
          </a:xfrm>
          <a:prstGeom prst="rightArrow">
            <a:avLst/>
          </a:prstGeom>
          <a:solidFill>
            <a:srgbClr val="FFC000"/>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55" name="AutoShape 112"/>
          <p:cNvSpPr>
            <a:spLocks noChangeArrowheads="1"/>
          </p:cNvSpPr>
          <p:nvPr/>
        </p:nvSpPr>
        <p:spPr bwMode="grayWhite">
          <a:xfrm>
            <a:off x="6838079" y="1584080"/>
            <a:ext cx="337500" cy="2025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56" name="AutoShape 110"/>
          <p:cNvSpPr>
            <a:spLocks noChangeArrowheads="1"/>
          </p:cNvSpPr>
          <p:nvPr/>
        </p:nvSpPr>
        <p:spPr bwMode="grayWhite">
          <a:xfrm>
            <a:off x="6838079" y="2793159"/>
            <a:ext cx="337500" cy="202500"/>
          </a:xfrm>
          <a:prstGeom prst="downArrow">
            <a:avLst/>
          </a:prstGeom>
          <a:solidFill>
            <a:srgbClr val="C00000"/>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57" name="AutoShape 110"/>
          <p:cNvSpPr>
            <a:spLocks noChangeArrowheads="1"/>
          </p:cNvSpPr>
          <p:nvPr/>
        </p:nvSpPr>
        <p:spPr bwMode="grayWhite">
          <a:xfrm>
            <a:off x="6905579" y="2118440"/>
            <a:ext cx="202500" cy="337500"/>
          </a:xfrm>
          <a:prstGeom prst="rightArrow">
            <a:avLst/>
          </a:prstGeom>
          <a:solidFill>
            <a:srgbClr val="FFC000"/>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58" name="AutoShape 112"/>
          <p:cNvSpPr>
            <a:spLocks noChangeArrowheads="1"/>
          </p:cNvSpPr>
          <p:nvPr/>
        </p:nvSpPr>
        <p:spPr bwMode="grayWhite">
          <a:xfrm>
            <a:off x="6838079" y="3397997"/>
            <a:ext cx="337500" cy="2025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59" name="AutoShape 110"/>
          <p:cNvSpPr>
            <a:spLocks noChangeArrowheads="1"/>
          </p:cNvSpPr>
          <p:nvPr/>
        </p:nvSpPr>
        <p:spPr bwMode="grayWhite">
          <a:xfrm>
            <a:off x="6905579" y="3938864"/>
            <a:ext cx="202500" cy="337500"/>
          </a:xfrm>
          <a:prstGeom prst="rightArrow">
            <a:avLst/>
          </a:prstGeom>
          <a:solidFill>
            <a:srgbClr val="FFC000"/>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Tree>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9521" name="Title 1"/>
          <p:cNvSpPr>
            <a:spLocks noGrp="1"/>
          </p:cNvSpPr>
          <p:nvPr>
            <p:ph type="title"/>
          </p:nvPr>
        </p:nvSpPr>
        <p:spPr/>
        <p:txBody>
          <a:bodyPr/>
          <a:lstStyle/>
          <a:p>
            <a:r>
              <a:rPr lang="en-US" dirty="0">
                <a:solidFill>
                  <a:srgbClr val="81BC00"/>
                </a:solidFill>
              </a:rPr>
              <a:t>Driver trees </a:t>
            </a:r>
            <a:br>
              <a:rPr lang="en-US" dirty="0">
                <a:solidFill>
                  <a:srgbClr val="575757"/>
                </a:solidFill>
              </a:rPr>
            </a:br>
            <a:r>
              <a:rPr lang="en-US" dirty="0">
                <a:solidFill>
                  <a:srgbClr val="575757"/>
                </a:solidFill>
              </a:rPr>
              <a:t>Moons showing base trends</a:t>
            </a:r>
          </a:p>
        </p:txBody>
      </p:sp>
      <p:cxnSp>
        <p:nvCxnSpPr>
          <p:cNvPr id="10" name="AutoShape 9"/>
          <p:cNvCxnSpPr>
            <a:cxnSpLocks noChangeShapeType="1"/>
            <a:stCxn id="4" idx="3"/>
            <a:endCxn id="6" idx="1"/>
          </p:cNvCxnSpPr>
          <p:nvPr/>
        </p:nvCxnSpPr>
        <p:spPr bwMode="auto">
          <a:xfrm>
            <a:off x="2327673" y="2928461"/>
            <a:ext cx="750094" cy="609600"/>
          </a:xfrm>
          <a:prstGeom prst="bentConnector3">
            <a:avLst>
              <a:gd name="adj1" fmla="val 50000"/>
            </a:avLst>
          </a:prstGeom>
          <a:noFill/>
          <a:ln w="12700">
            <a:solidFill>
              <a:srgbClr val="B4B4B4"/>
            </a:solidFill>
            <a:miter lim="800000"/>
            <a:headEnd type="none" w="sm" len="sm"/>
            <a:tailEnd type="none" w="sm" len="sm"/>
          </a:ln>
        </p:spPr>
      </p:cxnSp>
      <p:cxnSp>
        <p:nvCxnSpPr>
          <p:cNvPr id="11" name="AutoShape 10"/>
          <p:cNvCxnSpPr>
            <a:cxnSpLocks noChangeShapeType="1"/>
            <a:stCxn id="4" idx="3"/>
            <a:endCxn id="7" idx="1"/>
          </p:cNvCxnSpPr>
          <p:nvPr/>
        </p:nvCxnSpPr>
        <p:spPr bwMode="auto">
          <a:xfrm flipV="1">
            <a:off x="2327673" y="1715215"/>
            <a:ext cx="750094" cy="1213247"/>
          </a:xfrm>
          <a:prstGeom prst="bentConnector3">
            <a:avLst>
              <a:gd name="adj1" fmla="val 50000"/>
            </a:avLst>
          </a:prstGeom>
          <a:noFill/>
          <a:ln w="12700">
            <a:solidFill>
              <a:srgbClr val="B4B4B4"/>
            </a:solidFill>
            <a:miter lim="800000"/>
            <a:headEnd type="none" w="sm" len="sm"/>
            <a:tailEnd type="none" w="sm" len="sm"/>
          </a:ln>
        </p:spPr>
      </p:cxnSp>
      <p:cxnSp>
        <p:nvCxnSpPr>
          <p:cNvPr id="12" name="AutoShape 11"/>
          <p:cNvCxnSpPr>
            <a:cxnSpLocks noChangeShapeType="1"/>
            <a:stCxn id="4" idx="3"/>
            <a:endCxn id="8" idx="1"/>
          </p:cNvCxnSpPr>
          <p:nvPr/>
        </p:nvCxnSpPr>
        <p:spPr bwMode="auto">
          <a:xfrm flipV="1">
            <a:off x="2327673" y="2322434"/>
            <a:ext cx="750094" cy="606028"/>
          </a:xfrm>
          <a:prstGeom prst="bentConnector3">
            <a:avLst>
              <a:gd name="adj1" fmla="val 50000"/>
            </a:avLst>
          </a:prstGeom>
          <a:noFill/>
          <a:ln w="12700">
            <a:solidFill>
              <a:srgbClr val="B4B4B4"/>
            </a:solidFill>
            <a:miter lim="800000"/>
            <a:headEnd type="none" w="sm" len="sm"/>
            <a:tailEnd type="none" w="sm" len="sm"/>
          </a:ln>
        </p:spPr>
      </p:cxnSp>
      <p:cxnSp>
        <p:nvCxnSpPr>
          <p:cNvPr id="13" name="AutoShape 12"/>
          <p:cNvCxnSpPr>
            <a:cxnSpLocks noChangeShapeType="1"/>
            <a:stCxn id="4" idx="3"/>
            <a:endCxn id="9" idx="1"/>
          </p:cNvCxnSpPr>
          <p:nvPr/>
        </p:nvCxnSpPr>
        <p:spPr bwMode="auto">
          <a:xfrm>
            <a:off x="2327673" y="2928462"/>
            <a:ext cx="750094" cy="2381"/>
          </a:xfrm>
          <a:prstGeom prst="bentConnector3">
            <a:avLst>
              <a:gd name="adj1" fmla="val 50000"/>
            </a:avLst>
          </a:prstGeom>
          <a:noFill/>
          <a:ln w="12700">
            <a:solidFill>
              <a:srgbClr val="B4B4B4"/>
            </a:solidFill>
            <a:miter lim="800000"/>
            <a:headEnd type="none" w="sm" len="sm"/>
            <a:tailEnd type="none" w="sm" len="sm"/>
          </a:ln>
        </p:spPr>
      </p:cxnSp>
      <p:cxnSp>
        <p:nvCxnSpPr>
          <p:cNvPr id="14" name="AutoShape 14"/>
          <p:cNvCxnSpPr>
            <a:cxnSpLocks noChangeShapeType="1"/>
            <a:stCxn id="5" idx="1"/>
            <a:endCxn id="4" idx="3"/>
          </p:cNvCxnSpPr>
          <p:nvPr/>
        </p:nvCxnSpPr>
        <p:spPr bwMode="auto">
          <a:xfrm rot="10800000">
            <a:off x="2327673" y="2928462"/>
            <a:ext cx="750094" cy="1218010"/>
          </a:xfrm>
          <a:prstGeom prst="bentConnector3">
            <a:avLst>
              <a:gd name="adj1" fmla="val 50000"/>
            </a:avLst>
          </a:prstGeom>
          <a:noFill/>
          <a:ln w="12700">
            <a:solidFill>
              <a:srgbClr val="B4B4B4"/>
            </a:solidFill>
            <a:miter lim="800000"/>
            <a:headEnd type="none" w="sm" len="sm"/>
            <a:tailEnd type="none" w="med" len="lg"/>
          </a:ln>
        </p:spPr>
      </p:cxnSp>
      <p:sp>
        <p:nvSpPr>
          <p:cNvPr id="16" name="Oval 31"/>
          <p:cNvSpPr>
            <a:spLocks noChangeArrowheads="1"/>
          </p:cNvSpPr>
          <p:nvPr/>
        </p:nvSpPr>
        <p:spPr bwMode="auto">
          <a:xfrm>
            <a:off x="6495536" y="4467939"/>
            <a:ext cx="216395" cy="215504"/>
          </a:xfrm>
          <a:prstGeom prst="ellipse">
            <a:avLst/>
          </a:prstGeom>
          <a:solidFill>
            <a:srgbClr val="00A1DE"/>
          </a:solidFill>
          <a:ln w="12700" cap="rnd" algn="ctr">
            <a:solidFill>
              <a:srgbClr val="00A1DE"/>
            </a:solidFill>
            <a:round/>
            <a:headEnd/>
            <a:tailEnd/>
          </a:ln>
        </p:spPr>
        <p:txBody>
          <a:bodyPr wrap="none" anchor="ctr"/>
          <a:lstStyle/>
          <a:p>
            <a:pPr algn="ctr" defTabSz="685800">
              <a:buClrTx/>
              <a:defRPr/>
            </a:pPr>
            <a:endParaRPr lang="en-US" sz="1050" kern="1200" dirty="0">
              <a:solidFill>
                <a:prstClr val="black"/>
              </a:solidFill>
              <a:ea typeface="+mn-ea"/>
              <a:cs typeface="+mn-cs"/>
            </a:endParaRPr>
          </a:p>
        </p:txBody>
      </p:sp>
      <p:sp>
        <p:nvSpPr>
          <p:cNvPr id="619598" name="Text Box 32"/>
          <p:cNvSpPr txBox="1">
            <a:spLocks noChangeArrowheads="1"/>
          </p:cNvSpPr>
          <p:nvPr/>
        </p:nvSpPr>
        <p:spPr bwMode="auto">
          <a:xfrm>
            <a:off x="6753319" y="4517983"/>
            <a:ext cx="266098" cy="115416"/>
          </a:xfrm>
          <a:prstGeom prst="rect">
            <a:avLst/>
          </a:prstGeom>
          <a:noFill/>
          <a:ln w="9525">
            <a:noFill/>
            <a:miter lim="800000"/>
            <a:headEnd type="none" w="sm" len="sm"/>
            <a:tailEnd type="none" w="sm" len="sm"/>
          </a:ln>
        </p:spPr>
        <p:txBody>
          <a:bodyPr wrap="none" lIns="0" tIns="0" rIns="0" bIns="0" anchor="ctr" anchorCtr="0">
            <a:spAutoFit/>
          </a:bodyPr>
          <a:lstStyle/>
          <a:p>
            <a:pPr defTabSz="685800">
              <a:buClrTx/>
            </a:pPr>
            <a:r>
              <a:rPr lang="en-US" altLang="ja-JP" sz="750" kern="1200" dirty="0">
                <a:solidFill>
                  <a:srgbClr val="313131"/>
                </a:solidFill>
                <a:ea typeface="ＭＳ Ｐゴシック" charset="-128"/>
                <a:cs typeface="+mn-cs"/>
              </a:rPr>
              <a:t>strong</a:t>
            </a:r>
          </a:p>
        </p:txBody>
      </p:sp>
      <p:sp>
        <p:nvSpPr>
          <p:cNvPr id="18" name="Oval 33"/>
          <p:cNvSpPr>
            <a:spLocks noChangeArrowheads="1"/>
          </p:cNvSpPr>
          <p:nvPr/>
        </p:nvSpPr>
        <p:spPr bwMode="auto">
          <a:xfrm>
            <a:off x="7180967" y="4467939"/>
            <a:ext cx="216395" cy="215504"/>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050" kern="1200" dirty="0">
              <a:solidFill>
                <a:prstClr val="black"/>
              </a:solidFill>
              <a:ea typeface="+mn-ea"/>
              <a:cs typeface="+mn-cs"/>
            </a:endParaRPr>
          </a:p>
        </p:txBody>
      </p:sp>
      <p:sp>
        <p:nvSpPr>
          <p:cNvPr id="619600" name="Text Box 34"/>
          <p:cNvSpPr txBox="1">
            <a:spLocks noChangeArrowheads="1"/>
          </p:cNvSpPr>
          <p:nvPr/>
        </p:nvSpPr>
        <p:spPr bwMode="auto">
          <a:xfrm>
            <a:off x="7436432" y="4517983"/>
            <a:ext cx="222818" cy="115416"/>
          </a:xfrm>
          <a:prstGeom prst="rect">
            <a:avLst/>
          </a:prstGeom>
          <a:noFill/>
          <a:ln w="9525">
            <a:noFill/>
            <a:miter lim="800000"/>
            <a:headEnd type="none" w="sm" len="sm"/>
            <a:tailEnd type="none" w="sm" len="sm"/>
          </a:ln>
        </p:spPr>
        <p:txBody>
          <a:bodyPr wrap="none" lIns="0" tIns="0" rIns="0" bIns="0" anchor="ctr" anchorCtr="0">
            <a:spAutoFit/>
          </a:bodyPr>
          <a:lstStyle/>
          <a:p>
            <a:pPr defTabSz="685800">
              <a:buClrTx/>
            </a:pPr>
            <a:r>
              <a:rPr lang="en-US" altLang="ja-JP" sz="750" kern="1200" dirty="0">
                <a:solidFill>
                  <a:srgbClr val="313131"/>
                </a:solidFill>
                <a:ea typeface="ＭＳ Ｐゴシック" charset="-128"/>
                <a:cs typeface="+mn-cs"/>
              </a:rPr>
              <a:t>weak</a:t>
            </a:r>
          </a:p>
        </p:txBody>
      </p:sp>
      <p:sp>
        <p:nvSpPr>
          <p:cNvPr id="619535" name="Rectangle 18"/>
          <p:cNvSpPr>
            <a:spLocks noChangeArrowheads="1"/>
          </p:cNvSpPr>
          <p:nvPr/>
        </p:nvSpPr>
        <p:spPr bwMode="auto">
          <a:xfrm>
            <a:off x="7007153" y="1268901"/>
            <a:ext cx="261290" cy="161583"/>
          </a:xfrm>
          <a:prstGeom prst="rect">
            <a:avLst/>
          </a:prstGeom>
          <a:noFill/>
          <a:ln w="9525">
            <a:noFill/>
            <a:miter lim="800000"/>
            <a:headEnd type="none" w="sm" len="sm"/>
            <a:tailEnd type="none" w="sm" len="sm"/>
          </a:ln>
        </p:spPr>
        <p:txBody>
          <a:bodyPr wrap="none" lIns="0" tIns="0" rIns="0" bIns="0" anchor="ctr">
            <a:spAutoFit/>
          </a:bodyPr>
          <a:lstStyle/>
          <a:p>
            <a:pPr algn="ctr" defTabSz="685800">
              <a:buClrTx/>
            </a:pPr>
            <a:r>
              <a:rPr lang="en-US" altLang="ja-JP" sz="1050" kern="1200" dirty="0">
                <a:solidFill>
                  <a:srgbClr val="313131"/>
                </a:solidFill>
                <a:ea typeface="ＭＳ Ｐゴシック" charset="-128"/>
                <a:cs typeface="+mn-cs"/>
              </a:rPr>
              <a:t>Text</a:t>
            </a:r>
          </a:p>
        </p:txBody>
      </p:sp>
      <p:sp>
        <p:nvSpPr>
          <p:cNvPr id="26" name="Oval 19"/>
          <p:cNvSpPr>
            <a:spLocks noChangeArrowheads="1"/>
          </p:cNvSpPr>
          <p:nvPr/>
        </p:nvSpPr>
        <p:spPr bwMode="auto">
          <a:xfrm>
            <a:off x="7027664" y="1598534"/>
            <a:ext cx="216000" cy="216000"/>
          </a:xfrm>
          <a:prstGeom prst="ellipse">
            <a:avLst/>
          </a:prstGeom>
          <a:solidFill>
            <a:srgbClr val="00A1DE"/>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27" name="Oval 20"/>
          <p:cNvSpPr>
            <a:spLocks noChangeArrowheads="1"/>
          </p:cNvSpPr>
          <p:nvPr/>
        </p:nvSpPr>
        <p:spPr bwMode="auto">
          <a:xfrm>
            <a:off x="7037056" y="4032171"/>
            <a:ext cx="216000" cy="216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nvGrpSpPr>
          <p:cNvPr id="88" name="Group 87"/>
          <p:cNvGrpSpPr/>
          <p:nvPr/>
        </p:nvGrpSpPr>
        <p:grpSpPr>
          <a:xfrm>
            <a:off x="7037056" y="2817099"/>
            <a:ext cx="216000" cy="216000"/>
            <a:chOff x="7858741" y="3820267"/>
            <a:chExt cx="288000" cy="288000"/>
          </a:xfrm>
        </p:grpSpPr>
        <p:sp>
          <p:nvSpPr>
            <p:cNvPr id="29" name="Oval 22"/>
            <p:cNvSpPr>
              <a:spLocks noChangeArrowheads="1"/>
            </p:cNvSpPr>
            <p:nvPr/>
          </p:nvSpPr>
          <p:spPr bwMode="auto">
            <a:xfrm flipH="1">
              <a:off x="7858741" y="382026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0"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87" name="Group 86"/>
          <p:cNvGrpSpPr/>
          <p:nvPr/>
        </p:nvGrpSpPr>
        <p:grpSpPr>
          <a:xfrm>
            <a:off x="7037056" y="2207493"/>
            <a:ext cx="216000" cy="216000"/>
            <a:chOff x="7858741" y="3007459"/>
            <a:chExt cx="288000" cy="288000"/>
          </a:xfrm>
        </p:grpSpPr>
        <p:sp>
          <p:nvSpPr>
            <p:cNvPr id="32" name="Oval 25"/>
            <p:cNvSpPr>
              <a:spLocks noChangeArrowheads="1"/>
            </p:cNvSpPr>
            <p:nvPr/>
          </p:nvSpPr>
          <p:spPr bwMode="auto">
            <a:xfrm flipH="1">
              <a:off x="7858741" y="3007459"/>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3"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89" name="Group 88"/>
          <p:cNvGrpSpPr/>
          <p:nvPr/>
        </p:nvGrpSpPr>
        <p:grpSpPr>
          <a:xfrm>
            <a:off x="7037056" y="3423122"/>
            <a:ext cx="216000" cy="216000"/>
            <a:chOff x="7858741" y="4628297"/>
            <a:chExt cx="288000" cy="288000"/>
          </a:xfrm>
        </p:grpSpPr>
        <p:sp>
          <p:nvSpPr>
            <p:cNvPr id="35" name="Oval 28"/>
            <p:cNvSpPr>
              <a:spLocks noChangeArrowheads="1"/>
            </p:cNvSpPr>
            <p:nvPr/>
          </p:nvSpPr>
          <p:spPr bwMode="auto">
            <a:xfrm flipH="1">
              <a:off x="7858741" y="462829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6"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sp>
        <p:nvSpPr>
          <p:cNvPr id="619541" name="Rectangle 17"/>
          <p:cNvSpPr>
            <a:spLocks noChangeArrowheads="1"/>
          </p:cNvSpPr>
          <p:nvPr/>
        </p:nvSpPr>
        <p:spPr bwMode="auto">
          <a:xfrm>
            <a:off x="6333853" y="1268901"/>
            <a:ext cx="261290" cy="161583"/>
          </a:xfrm>
          <a:prstGeom prst="rect">
            <a:avLst/>
          </a:prstGeom>
          <a:noFill/>
          <a:ln w="9525">
            <a:noFill/>
            <a:miter lim="800000"/>
            <a:headEnd type="none" w="sm" len="sm"/>
            <a:tailEnd type="none" w="sm" len="sm"/>
          </a:ln>
        </p:spPr>
        <p:txBody>
          <a:bodyPr wrap="none" lIns="0" tIns="0" rIns="0" bIns="0" anchor="ctr">
            <a:spAutoFit/>
          </a:bodyPr>
          <a:lstStyle/>
          <a:p>
            <a:pPr algn="ctr" defTabSz="685800">
              <a:buClrTx/>
            </a:pPr>
            <a:r>
              <a:rPr lang="en-US" altLang="ja-JP" sz="1050" kern="1200">
                <a:solidFill>
                  <a:srgbClr val="313131"/>
                </a:solidFill>
                <a:ea typeface="ＭＳ Ｐゴシック" charset="-128"/>
                <a:cs typeface="+mn-cs"/>
              </a:rPr>
              <a:t>Text</a:t>
            </a:r>
          </a:p>
        </p:txBody>
      </p:sp>
      <p:sp>
        <p:nvSpPr>
          <p:cNvPr id="37" name="Oval 36"/>
          <p:cNvSpPr>
            <a:spLocks noChangeArrowheads="1"/>
          </p:cNvSpPr>
          <p:nvPr/>
        </p:nvSpPr>
        <p:spPr bwMode="auto">
          <a:xfrm>
            <a:off x="6353771" y="1598534"/>
            <a:ext cx="216000" cy="216000"/>
          </a:xfrm>
          <a:prstGeom prst="ellipse">
            <a:avLst/>
          </a:prstGeom>
          <a:solidFill>
            <a:srgbClr val="00A1DE"/>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38" name="Oval 37"/>
          <p:cNvSpPr>
            <a:spLocks noChangeArrowheads="1"/>
          </p:cNvSpPr>
          <p:nvPr/>
        </p:nvSpPr>
        <p:spPr bwMode="auto">
          <a:xfrm>
            <a:off x="6363162" y="4032171"/>
            <a:ext cx="216000" cy="216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nvGrpSpPr>
          <p:cNvPr id="91" name="Group 90"/>
          <p:cNvGrpSpPr/>
          <p:nvPr/>
        </p:nvGrpSpPr>
        <p:grpSpPr>
          <a:xfrm>
            <a:off x="6363162" y="2817099"/>
            <a:ext cx="216000" cy="216000"/>
            <a:chOff x="6960216" y="3820267"/>
            <a:chExt cx="288000" cy="288000"/>
          </a:xfrm>
        </p:grpSpPr>
        <p:sp>
          <p:nvSpPr>
            <p:cNvPr id="40" name="Oval 39"/>
            <p:cNvSpPr>
              <a:spLocks noChangeArrowheads="1"/>
            </p:cNvSpPr>
            <p:nvPr/>
          </p:nvSpPr>
          <p:spPr bwMode="auto">
            <a:xfrm flipH="1">
              <a:off x="6960216" y="382026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41" name="Arc 40"/>
            <p:cNvSpPr>
              <a:spLocks/>
            </p:cNvSpPr>
            <p:nvPr/>
          </p:nvSpPr>
          <p:spPr bwMode="auto">
            <a:xfrm flipH="1">
              <a:off x="7104216"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92" name="Group 91"/>
          <p:cNvGrpSpPr/>
          <p:nvPr/>
        </p:nvGrpSpPr>
        <p:grpSpPr>
          <a:xfrm>
            <a:off x="6363162" y="2207493"/>
            <a:ext cx="216000" cy="216000"/>
            <a:chOff x="6960216" y="3007459"/>
            <a:chExt cx="288000" cy="288000"/>
          </a:xfrm>
        </p:grpSpPr>
        <p:sp>
          <p:nvSpPr>
            <p:cNvPr id="43" name="Oval 42"/>
            <p:cNvSpPr>
              <a:spLocks noChangeArrowheads="1"/>
            </p:cNvSpPr>
            <p:nvPr/>
          </p:nvSpPr>
          <p:spPr bwMode="auto">
            <a:xfrm flipH="1">
              <a:off x="6960216" y="3007459"/>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44" name="Arc 43"/>
            <p:cNvSpPr>
              <a:spLocks/>
            </p:cNvSpPr>
            <p:nvPr/>
          </p:nvSpPr>
          <p:spPr bwMode="auto">
            <a:xfrm flipH="1">
              <a:off x="6960216"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90" name="Group 89"/>
          <p:cNvGrpSpPr/>
          <p:nvPr/>
        </p:nvGrpSpPr>
        <p:grpSpPr>
          <a:xfrm>
            <a:off x="6363162" y="3423122"/>
            <a:ext cx="216000" cy="216000"/>
            <a:chOff x="6960216" y="4628297"/>
            <a:chExt cx="288000" cy="288000"/>
          </a:xfrm>
        </p:grpSpPr>
        <p:sp>
          <p:nvSpPr>
            <p:cNvPr id="46" name="Oval 45"/>
            <p:cNvSpPr>
              <a:spLocks noChangeArrowheads="1"/>
            </p:cNvSpPr>
            <p:nvPr/>
          </p:nvSpPr>
          <p:spPr bwMode="auto">
            <a:xfrm flipH="1">
              <a:off x="6960216" y="462829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47" name="Arc 46"/>
            <p:cNvSpPr>
              <a:spLocks/>
            </p:cNvSpPr>
            <p:nvPr/>
          </p:nvSpPr>
          <p:spPr bwMode="auto">
            <a:xfrm flipH="1">
              <a:off x="7104216"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sp>
        <p:nvSpPr>
          <p:cNvPr id="619547" name="Rectangle 16"/>
          <p:cNvSpPr>
            <a:spLocks noChangeArrowheads="1"/>
          </p:cNvSpPr>
          <p:nvPr/>
        </p:nvSpPr>
        <p:spPr bwMode="auto">
          <a:xfrm>
            <a:off x="5661151" y="1268901"/>
            <a:ext cx="261290" cy="161583"/>
          </a:xfrm>
          <a:prstGeom prst="rect">
            <a:avLst/>
          </a:prstGeom>
          <a:noFill/>
          <a:ln w="9525">
            <a:noFill/>
            <a:miter lim="800000"/>
            <a:headEnd type="none" w="sm" len="sm"/>
            <a:tailEnd type="none" w="sm" len="sm"/>
          </a:ln>
        </p:spPr>
        <p:txBody>
          <a:bodyPr wrap="none" lIns="0" tIns="0" rIns="0" bIns="0" anchor="ctr">
            <a:spAutoFit/>
          </a:bodyPr>
          <a:lstStyle/>
          <a:p>
            <a:pPr algn="ctr" defTabSz="685800">
              <a:buClrTx/>
            </a:pPr>
            <a:r>
              <a:rPr lang="en-US" altLang="ja-JP" sz="1050" kern="1200">
                <a:solidFill>
                  <a:srgbClr val="313131"/>
                </a:solidFill>
                <a:ea typeface="ＭＳ Ｐゴシック" charset="-128"/>
                <a:cs typeface="+mn-cs"/>
              </a:rPr>
              <a:t>Text</a:t>
            </a:r>
          </a:p>
        </p:txBody>
      </p:sp>
      <p:sp>
        <p:nvSpPr>
          <p:cNvPr id="48" name="Oval 47"/>
          <p:cNvSpPr>
            <a:spLocks noChangeArrowheads="1"/>
          </p:cNvSpPr>
          <p:nvPr/>
        </p:nvSpPr>
        <p:spPr bwMode="auto">
          <a:xfrm>
            <a:off x="5681067" y="1598534"/>
            <a:ext cx="216000" cy="216000"/>
          </a:xfrm>
          <a:prstGeom prst="ellipse">
            <a:avLst/>
          </a:prstGeom>
          <a:solidFill>
            <a:srgbClr val="00A1DE"/>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49" name="Oval 48"/>
          <p:cNvSpPr>
            <a:spLocks noChangeArrowheads="1"/>
          </p:cNvSpPr>
          <p:nvPr/>
        </p:nvSpPr>
        <p:spPr bwMode="auto">
          <a:xfrm>
            <a:off x="5690459" y="4032171"/>
            <a:ext cx="216000" cy="216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nvGrpSpPr>
          <p:cNvPr id="94" name="Group 93"/>
          <p:cNvGrpSpPr/>
          <p:nvPr/>
        </p:nvGrpSpPr>
        <p:grpSpPr>
          <a:xfrm>
            <a:off x="5690459" y="2817099"/>
            <a:ext cx="216000" cy="216000"/>
            <a:chOff x="6063278" y="3820267"/>
            <a:chExt cx="288000" cy="288000"/>
          </a:xfrm>
        </p:grpSpPr>
        <p:sp>
          <p:nvSpPr>
            <p:cNvPr id="51" name="Oval 50"/>
            <p:cNvSpPr>
              <a:spLocks noChangeArrowheads="1"/>
            </p:cNvSpPr>
            <p:nvPr/>
          </p:nvSpPr>
          <p:spPr bwMode="auto">
            <a:xfrm flipH="1">
              <a:off x="6063278" y="382026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52" name="Arc 51"/>
            <p:cNvSpPr>
              <a:spLocks/>
            </p:cNvSpPr>
            <p:nvPr/>
          </p:nvSpPr>
          <p:spPr bwMode="auto">
            <a:xfrm flipH="1">
              <a:off x="6207278"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93" name="Group 92"/>
          <p:cNvGrpSpPr/>
          <p:nvPr/>
        </p:nvGrpSpPr>
        <p:grpSpPr>
          <a:xfrm>
            <a:off x="5690459" y="2207493"/>
            <a:ext cx="216000" cy="216000"/>
            <a:chOff x="6063278" y="3007459"/>
            <a:chExt cx="288000" cy="288000"/>
          </a:xfrm>
        </p:grpSpPr>
        <p:sp>
          <p:nvSpPr>
            <p:cNvPr id="54" name="Oval 53"/>
            <p:cNvSpPr>
              <a:spLocks noChangeArrowheads="1"/>
            </p:cNvSpPr>
            <p:nvPr/>
          </p:nvSpPr>
          <p:spPr bwMode="auto">
            <a:xfrm flipH="1">
              <a:off x="6063278" y="3007459"/>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55" name="Arc 54"/>
            <p:cNvSpPr>
              <a:spLocks/>
            </p:cNvSpPr>
            <p:nvPr/>
          </p:nvSpPr>
          <p:spPr bwMode="auto">
            <a:xfrm flipH="1">
              <a:off x="6063278"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95" name="Group 94"/>
          <p:cNvGrpSpPr/>
          <p:nvPr/>
        </p:nvGrpSpPr>
        <p:grpSpPr>
          <a:xfrm>
            <a:off x="5690459" y="3423122"/>
            <a:ext cx="216000" cy="216000"/>
            <a:chOff x="6063278" y="4628297"/>
            <a:chExt cx="288000" cy="288000"/>
          </a:xfrm>
        </p:grpSpPr>
        <p:sp>
          <p:nvSpPr>
            <p:cNvPr id="57" name="Oval 56"/>
            <p:cNvSpPr>
              <a:spLocks noChangeArrowheads="1"/>
            </p:cNvSpPr>
            <p:nvPr/>
          </p:nvSpPr>
          <p:spPr bwMode="auto">
            <a:xfrm flipH="1">
              <a:off x="6063278" y="462829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58" name="Arc 57"/>
            <p:cNvSpPr>
              <a:spLocks/>
            </p:cNvSpPr>
            <p:nvPr/>
          </p:nvSpPr>
          <p:spPr bwMode="auto">
            <a:xfrm flipH="1">
              <a:off x="6207278"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sp>
        <p:nvSpPr>
          <p:cNvPr id="619553" name="Rectangle 15"/>
          <p:cNvSpPr>
            <a:spLocks noChangeArrowheads="1"/>
          </p:cNvSpPr>
          <p:nvPr/>
        </p:nvSpPr>
        <p:spPr bwMode="auto">
          <a:xfrm>
            <a:off x="4987257" y="1268901"/>
            <a:ext cx="261290" cy="161583"/>
          </a:xfrm>
          <a:prstGeom prst="rect">
            <a:avLst/>
          </a:prstGeom>
          <a:noFill/>
          <a:ln w="9525">
            <a:noFill/>
            <a:miter lim="800000"/>
            <a:headEnd type="none" w="sm" len="sm"/>
            <a:tailEnd type="none" w="sm" len="sm"/>
          </a:ln>
        </p:spPr>
        <p:txBody>
          <a:bodyPr wrap="none" lIns="0" tIns="0" rIns="0" bIns="0" anchor="ctr">
            <a:spAutoFit/>
          </a:bodyPr>
          <a:lstStyle/>
          <a:p>
            <a:pPr algn="ctr" defTabSz="685800">
              <a:buClrTx/>
            </a:pPr>
            <a:r>
              <a:rPr lang="en-US" altLang="ja-JP" sz="1050" kern="1200">
                <a:solidFill>
                  <a:srgbClr val="313131"/>
                </a:solidFill>
                <a:ea typeface="ＭＳ Ｐゴシック" charset="-128"/>
                <a:cs typeface="+mn-cs"/>
              </a:rPr>
              <a:t>Text</a:t>
            </a:r>
          </a:p>
        </p:txBody>
      </p:sp>
      <p:sp>
        <p:nvSpPr>
          <p:cNvPr id="59" name="Oval 58"/>
          <p:cNvSpPr>
            <a:spLocks noChangeArrowheads="1"/>
          </p:cNvSpPr>
          <p:nvPr/>
        </p:nvSpPr>
        <p:spPr bwMode="auto">
          <a:xfrm>
            <a:off x="5007173" y="1598534"/>
            <a:ext cx="216000" cy="216000"/>
          </a:xfrm>
          <a:prstGeom prst="ellipse">
            <a:avLst/>
          </a:prstGeom>
          <a:solidFill>
            <a:srgbClr val="00A1DE"/>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60" name="Oval 59"/>
          <p:cNvSpPr>
            <a:spLocks noChangeArrowheads="1"/>
          </p:cNvSpPr>
          <p:nvPr/>
        </p:nvSpPr>
        <p:spPr bwMode="auto">
          <a:xfrm>
            <a:off x="5016520" y="4032171"/>
            <a:ext cx="216000" cy="216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nvGrpSpPr>
          <p:cNvPr id="97" name="Group 96"/>
          <p:cNvGrpSpPr/>
          <p:nvPr/>
        </p:nvGrpSpPr>
        <p:grpSpPr>
          <a:xfrm>
            <a:off x="5016520" y="2817099"/>
            <a:ext cx="216000" cy="216000"/>
            <a:chOff x="5164693" y="3820267"/>
            <a:chExt cx="288000" cy="288000"/>
          </a:xfrm>
        </p:grpSpPr>
        <p:sp>
          <p:nvSpPr>
            <p:cNvPr id="62" name="Oval 61"/>
            <p:cNvSpPr>
              <a:spLocks noChangeArrowheads="1"/>
            </p:cNvSpPr>
            <p:nvPr/>
          </p:nvSpPr>
          <p:spPr bwMode="auto">
            <a:xfrm flipH="1">
              <a:off x="5164693" y="382026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63" name="Arc 62"/>
            <p:cNvSpPr>
              <a:spLocks/>
            </p:cNvSpPr>
            <p:nvPr/>
          </p:nvSpPr>
          <p:spPr bwMode="auto">
            <a:xfrm flipH="1">
              <a:off x="5308693"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98" name="Group 97"/>
          <p:cNvGrpSpPr/>
          <p:nvPr/>
        </p:nvGrpSpPr>
        <p:grpSpPr>
          <a:xfrm>
            <a:off x="5016520" y="2207493"/>
            <a:ext cx="216000" cy="216000"/>
            <a:chOff x="5164693" y="3007459"/>
            <a:chExt cx="288000" cy="288000"/>
          </a:xfrm>
        </p:grpSpPr>
        <p:sp>
          <p:nvSpPr>
            <p:cNvPr id="65" name="Oval 64"/>
            <p:cNvSpPr>
              <a:spLocks noChangeArrowheads="1"/>
            </p:cNvSpPr>
            <p:nvPr/>
          </p:nvSpPr>
          <p:spPr bwMode="auto">
            <a:xfrm flipH="1">
              <a:off x="5164693" y="3007459"/>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66" name="Arc 65"/>
            <p:cNvSpPr>
              <a:spLocks/>
            </p:cNvSpPr>
            <p:nvPr/>
          </p:nvSpPr>
          <p:spPr bwMode="auto">
            <a:xfrm flipH="1">
              <a:off x="5164693"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96" name="Group 95"/>
          <p:cNvGrpSpPr/>
          <p:nvPr/>
        </p:nvGrpSpPr>
        <p:grpSpPr>
          <a:xfrm>
            <a:off x="5016520" y="3423122"/>
            <a:ext cx="216000" cy="216000"/>
            <a:chOff x="5164693" y="4628297"/>
            <a:chExt cx="288000" cy="288000"/>
          </a:xfrm>
        </p:grpSpPr>
        <p:sp>
          <p:nvSpPr>
            <p:cNvPr id="68" name="Oval 67"/>
            <p:cNvSpPr>
              <a:spLocks noChangeArrowheads="1"/>
            </p:cNvSpPr>
            <p:nvPr/>
          </p:nvSpPr>
          <p:spPr bwMode="auto">
            <a:xfrm flipH="1">
              <a:off x="5164693" y="462829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69" name="Arc 68"/>
            <p:cNvSpPr>
              <a:spLocks/>
            </p:cNvSpPr>
            <p:nvPr/>
          </p:nvSpPr>
          <p:spPr bwMode="auto">
            <a:xfrm flipH="1">
              <a:off x="5308693"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sp>
        <p:nvSpPr>
          <p:cNvPr id="619559" name="Rectangle 13"/>
          <p:cNvSpPr>
            <a:spLocks noChangeArrowheads="1"/>
          </p:cNvSpPr>
          <p:nvPr/>
        </p:nvSpPr>
        <p:spPr bwMode="auto">
          <a:xfrm>
            <a:off x="4313959" y="1268901"/>
            <a:ext cx="261290" cy="161583"/>
          </a:xfrm>
          <a:prstGeom prst="rect">
            <a:avLst/>
          </a:prstGeom>
          <a:noFill/>
          <a:ln w="9525">
            <a:noFill/>
            <a:miter lim="800000"/>
            <a:headEnd type="none" w="sm" len="sm"/>
            <a:tailEnd type="none" w="sm" len="sm"/>
          </a:ln>
        </p:spPr>
        <p:txBody>
          <a:bodyPr wrap="none" lIns="0" tIns="0" rIns="0" bIns="0" anchor="ctr">
            <a:spAutoFit/>
          </a:bodyPr>
          <a:lstStyle/>
          <a:p>
            <a:pPr algn="ctr" defTabSz="685800">
              <a:buClrTx/>
            </a:pPr>
            <a:r>
              <a:rPr lang="en-US" altLang="ja-JP" sz="1050" kern="1200">
                <a:solidFill>
                  <a:srgbClr val="313131"/>
                </a:solidFill>
                <a:ea typeface="ＭＳ Ｐゴシック" charset="-128"/>
                <a:cs typeface="+mn-cs"/>
              </a:rPr>
              <a:t>Text</a:t>
            </a:r>
            <a:endParaRPr lang="en-US" altLang="ja-JP" sz="1050" kern="1200" dirty="0">
              <a:solidFill>
                <a:srgbClr val="313131"/>
              </a:solidFill>
              <a:ea typeface="ＭＳ Ｐゴシック" charset="-128"/>
              <a:cs typeface="+mn-cs"/>
            </a:endParaRPr>
          </a:p>
        </p:txBody>
      </p:sp>
      <p:sp>
        <p:nvSpPr>
          <p:cNvPr id="70" name="Oval 69"/>
          <p:cNvSpPr>
            <a:spLocks noChangeArrowheads="1"/>
          </p:cNvSpPr>
          <p:nvPr/>
        </p:nvSpPr>
        <p:spPr bwMode="auto">
          <a:xfrm>
            <a:off x="4333280" y="1598534"/>
            <a:ext cx="216000" cy="216000"/>
          </a:xfrm>
          <a:prstGeom prst="ellipse">
            <a:avLst/>
          </a:prstGeom>
          <a:solidFill>
            <a:srgbClr val="00A1DE"/>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71" name="Oval 70"/>
          <p:cNvSpPr>
            <a:spLocks noChangeArrowheads="1"/>
          </p:cNvSpPr>
          <p:nvPr/>
        </p:nvSpPr>
        <p:spPr bwMode="auto">
          <a:xfrm>
            <a:off x="4342671" y="4032171"/>
            <a:ext cx="216000" cy="216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nvGrpSpPr>
          <p:cNvPr id="100" name="Group 99"/>
          <p:cNvGrpSpPr/>
          <p:nvPr/>
        </p:nvGrpSpPr>
        <p:grpSpPr>
          <a:xfrm>
            <a:off x="4342671" y="2817099"/>
            <a:ext cx="216000" cy="216000"/>
            <a:chOff x="4266228" y="3820267"/>
            <a:chExt cx="288000" cy="288000"/>
          </a:xfrm>
        </p:grpSpPr>
        <p:sp>
          <p:nvSpPr>
            <p:cNvPr id="73" name="Oval 72"/>
            <p:cNvSpPr>
              <a:spLocks noChangeArrowheads="1"/>
            </p:cNvSpPr>
            <p:nvPr/>
          </p:nvSpPr>
          <p:spPr bwMode="auto">
            <a:xfrm flipH="1">
              <a:off x="4266228" y="382026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74" name="Arc 73"/>
            <p:cNvSpPr>
              <a:spLocks/>
            </p:cNvSpPr>
            <p:nvPr/>
          </p:nvSpPr>
          <p:spPr bwMode="auto">
            <a:xfrm flipH="1">
              <a:off x="4410228"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99" name="Group 98"/>
          <p:cNvGrpSpPr/>
          <p:nvPr/>
        </p:nvGrpSpPr>
        <p:grpSpPr>
          <a:xfrm>
            <a:off x="4342671" y="2207493"/>
            <a:ext cx="216000" cy="216000"/>
            <a:chOff x="4266228" y="3007459"/>
            <a:chExt cx="288000" cy="288000"/>
          </a:xfrm>
        </p:grpSpPr>
        <p:sp>
          <p:nvSpPr>
            <p:cNvPr id="76" name="Oval 75"/>
            <p:cNvSpPr>
              <a:spLocks noChangeArrowheads="1"/>
            </p:cNvSpPr>
            <p:nvPr/>
          </p:nvSpPr>
          <p:spPr bwMode="auto">
            <a:xfrm flipH="1">
              <a:off x="4266228" y="3007459"/>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77" name="Arc 76"/>
            <p:cNvSpPr>
              <a:spLocks/>
            </p:cNvSpPr>
            <p:nvPr/>
          </p:nvSpPr>
          <p:spPr bwMode="auto">
            <a:xfrm flipH="1">
              <a:off x="4266228"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grpSp>
        <p:nvGrpSpPr>
          <p:cNvPr id="101" name="Group 100"/>
          <p:cNvGrpSpPr/>
          <p:nvPr/>
        </p:nvGrpSpPr>
        <p:grpSpPr>
          <a:xfrm>
            <a:off x="4342671" y="3423122"/>
            <a:ext cx="216000" cy="216000"/>
            <a:chOff x="4266228" y="4628297"/>
            <a:chExt cx="288000" cy="288000"/>
          </a:xfrm>
        </p:grpSpPr>
        <p:sp>
          <p:nvSpPr>
            <p:cNvPr id="79" name="Oval 78"/>
            <p:cNvSpPr>
              <a:spLocks noChangeArrowheads="1"/>
            </p:cNvSpPr>
            <p:nvPr/>
          </p:nvSpPr>
          <p:spPr bwMode="auto">
            <a:xfrm flipH="1">
              <a:off x="4266228" y="4628297"/>
              <a:ext cx="288000" cy="288000"/>
            </a:xfrm>
            <a:prstGeom prst="ellipse">
              <a:avLst/>
            </a:prstGeom>
            <a:solidFill>
              <a:schemeClr val="bg1"/>
            </a:solidFill>
            <a:ln w="12700">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sp>
          <p:nvSpPr>
            <p:cNvPr id="80" name="Arc 79"/>
            <p:cNvSpPr>
              <a:spLocks/>
            </p:cNvSpPr>
            <p:nvPr/>
          </p:nvSpPr>
          <p:spPr bwMode="auto">
            <a:xfrm flipH="1">
              <a:off x="4410228"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defTabSz="685800">
                <a:buClrTx/>
                <a:defRPr/>
              </a:pPr>
              <a:endParaRPr lang="en-US" sz="1350" kern="1200" dirty="0">
                <a:solidFill>
                  <a:prstClr val="black"/>
                </a:solidFill>
                <a:ea typeface="+mn-ea"/>
                <a:cs typeface="+mn-cs"/>
              </a:endParaRPr>
            </a:p>
          </p:txBody>
        </p:sp>
      </p:grpSp>
      <p:sp>
        <p:nvSpPr>
          <p:cNvPr id="4" name="Rectangle 3"/>
          <p:cNvSpPr>
            <a:spLocks noChangeArrowheads="1"/>
          </p:cNvSpPr>
          <p:nvPr/>
        </p:nvSpPr>
        <p:spPr bwMode="auto">
          <a:xfrm>
            <a:off x="1431131" y="2728436"/>
            <a:ext cx="896541" cy="400050"/>
          </a:xfrm>
          <a:prstGeom prst="rect">
            <a:avLst/>
          </a:prstGeom>
          <a:solidFill>
            <a:srgbClr val="00A1DE"/>
          </a:solidFill>
          <a:ln w="12700" algn="ctr">
            <a:solidFill>
              <a:schemeClr val="bg1"/>
            </a:solidFill>
            <a:miter lim="800000"/>
            <a:headEnd type="none" w="sm" len="sm"/>
            <a:tailEnd type="none" w="sm" len="sm"/>
          </a:ln>
        </p:spPr>
        <p:txBody>
          <a:bodyPr lIns="27000" tIns="27000" rIns="27000" bIns="27000" anchor="ctr"/>
          <a:lstStyle/>
          <a:p>
            <a:pPr marL="9525" indent="-9525" algn="ctr" defTabSz="685800">
              <a:lnSpc>
                <a:spcPct val="110000"/>
              </a:lnSpc>
              <a:buClrTx/>
              <a:defRPr/>
            </a:pPr>
            <a:r>
              <a:rPr lang="en-US" altLang="ja-JP"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
        <p:nvSpPr>
          <p:cNvPr id="5" name="Rectangle 4"/>
          <p:cNvSpPr>
            <a:spLocks noChangeArrowheads="1"/>
          </p:cNvSpPr>
          <p:nvPr/>
        </p:nvSpPr>
        <p:spPr bwMode="auto">
          <a:xfrm>
            <a:off x="3077767" y="3946446"/>
            <a:ext cx="896540" cy="400050"/>
          </a:xfrm>
          <a:prstGeom prst="rect">
            <a:avLst/>
          </a:prstGeom>
          <a:solidFill>
            <a:srgbClr val="00A1DE"/>
          </a:solidFill>
          <a:ln w="12700" algn="ctr">
            <a:solidFill>
              <a:schemeClr val="bg1"/>
            </a:solidFill>
            <a:miter lim="800000"/>
            <a:headEnd type="none" w="sm" len="sm"/>
            <a:tailEnd type="none" w="sm" len="sm"/>
          </a:ln>
        </p:spPr>
        <p:txBody>
          <a:bodyPr lIns="27000" tIns="27000" rIns="27000" bIns="27000" anchor="ctr"/>
          <a:lstStyle/>
          <a:p>
            <a:pPr marL="9525" indent="-9525" algn="ctr" defTabSz="685800">
              <a:lnSpc>
                <a:spcPct val="110000"/>
              </a:lnSpc>
              <a:buClrTx/>
              <a:defRPr/>
            </a:pPr>
            <a:r>
              <a:rPr lang="en-US" altLang="ja-JP"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
        <p:nvSpPr>
          <p:cNvPr id="6" name="Rectangle 5"/>
          <p:cNvSpPr>
            <a:spLocks noChangeArrowheads="1"/>
          </p:cNvSpPr>
          <p:nvPr/>
        </p:nvSpPr>
        <p:spPr bwMode="auto">
          <a:xfrm>
            <a:off x="3077767" y="3338036"/>
            <a:ext cx="896540" cy="400050"/>
          </a:xfrm>
          <a:prstGeom prst="rect">
            <a:avLst/>
          </a:prstGeom>
          <a:solidFill>
            <a:srgbClr val="00A1DE"/>
          </a:solidFill>
          <a:ln w="12700" algn="ctr">
            <a:solidFill>
              <a:schemeClr val="bg1"/>
            </a:solidFill>
            <a:miter lim="800000"/>
            <a:headEnd type="none" w="sm" len="sm"/>
            <a:tailEnd type="none" w="sm" len="sm"/>
          </a:ln>
        </p:spPr>
        <p:txBody>
          <a:bodyPr lIns="27000" tIns="27000" rIns="27000" bIns="27000" anchor="ctr"/>
          <a:lstStyle/>
          <a:p>
            <a:pPr marL="9525" indent="-9525" algn="ctr" defTabSz="685800">
              <a:lnSpc>
                <a:spcPct val="110000"/>
              </a:lnSpc>
              <a:buClrTx/>
              <a:defRPr/>
            </a:pPr>
            <a:r>
              <a:rPr lang="en-US" altLang="ja-JP"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
        <p:nvSpPr>
          <p:cNvPr id="7" name="Rectangle 6"/>
          <p:cNvSpPr>
            <a:spLocks noChangeArrowheads="1"/>
          </p:cNvSpPr>
          <p:nvPr/>
        </p:nvSpPr>
        <p:spPr bwMode="auto">
          <a:xfrm>
            <a:off x="3077767" y="1515190"/>
            <a:ext cx="896540" cy="400050"/>
          </a:xfrm>
          <a:prstGeom prst="rect">
            <a:avLst/>
          </a:prstGeom>
          <a:solidFill>
            <a:srgbClr val="00A1DE"/>
          </a:solidFill>
          <a:ln w="12700" algn="ctr">
            <a:solidFill>
              <a:schemeClr val="bg1"/>
            </a:solidFill>
            <a:miter lim="800000"/>
            <a:headEnd type="none" w="sm" len="sm"/>
            <a:tailEnd type="none" w="sm" len="sm"/>
          </a:ln>
        </p:spPr>
        <p:txBody>
          <a:bodyPr lIns="27000" tIns="27000" rIns="27000" bIns="27000" anchor="ctr"/>
          <a:lstStyle/>
          <a:p>
            <a:pPr marL="9525" indent="-9525" algn="ctr" defTabSz="685800">
              <a:lnSpc>
                <a:spcPct val="110000"/>
              </a:lnSpc>
              <a:buClrTx/>
              <a:defRPr/>
            </a:pPr>
            <a:r>
              <a:rPr lang="en-US" altLang="ja-JP" sz="1050" kern="1200" dirty="0">
                <a:solidFill>
                  <a:prstClr val="white"/>
                </a:solidFill>
                <a:ea typeface="ＭＳ Ｐゴシック" pitchFamily="50" charset="-128"/>
                <a:cs typeface="+mn-cs"/>
              </a:rPr>
              <a:t>Text</a:t>
            </a:r>
          </a:p>
        </p:txBody>
      </p:sp>
      <p:sp>
        <p:nvSpPr>
          <p:cNvPr id="8" name="Rectangle 7"/>
          <p:cNvSpPr>
            <a:spLocks noChangeArrowheads="1"/>
          </p:cNvSpPr>
          <p:nvPr/>
        </p:nvSpPr>
        <p:spPr bwMode="auto">
          <a:xfrm>
            <a:off x="3077767" y="2122409"/>
            <a:ext cx="896540" cy="400050"/>
          </a:xfrm>
          <a:prstGeom prst="rect">
            <a:avLst/>
          </a:prstGeom>
          <a:solidFill>
            <a:srgbClr val="00A1DE"/>
          </a:solidFill>
          <a:ln w="12700" algn="ctr">
            <a:solidFill>
              <a:schemeClr val="bg1"/>
            </a:solidFill>
            <a:miter lim="800000"/>
            <a:headEnd type="none" w="sm" len="sm"/>
            <a:tailEnd type="none" w="sm" len="sm"/>
          </a:ln>
        </p:spPr>
        <p:txBody>
          <a:bodyPr lIns="27000" tIns="27000" rIns="27000" bIns="27000" anchor="ctr"/>
          <a:lstStyle/>
          <a:p>
            <a:pPr marL="9525" indent="-9525" algn="ctr" defTabSz="685800">
              <a:lnSpc>
                <a:spcPct val="110000"/>
              </a:lnSpc>
              <a:buClrTx/>
              <a:defRPr/>
            </a:pPr>
            <a:r>
              <a:rPr lang="en-US" altLang="ja-JP"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
        <p:nvSpPr>
          <p:cNvPr id="9" name="Rectangle 8"/>
          <p:cNvSpPr>
            <a:spLocks noChangeArrowheads="1"/>
          </p:cNvSpPr>
          <p:nvPr/>
        </p:nvSpPr>
        <p:spPr bwMode="auto">
          <a:xfrm>
            <a:off x="3077767" y="2730818"/>
            <a:ext cx="896540" cy="400050"/>
          </a:xfrm>
          <a:prstGeom prst="rect">
            <a:avLst/>
          </a:prstGeom>
          <a:solidFill>
            <a:srgbClr val="00A1DE"/>
          </a:solidFill>
          <a:ln w="12700" algn="ctr">
            <a:solidFill>
              <a:schemeClr val="bg1"/>
            </a:solidFill>
            <a:miter lim="800000"/>
            <a:headEnd type="none" w="sm" len="sm"/>
            <a:tailEnd type="none" w="sm" len="sm"/>
          </a:ln>
        </p:spPr>
        <p:txBody>
          <a:bodyPr lIns="27000" tIns="27000" rIns="27000" bIns="27000" anchor="ctr"/>
          <a:lstStyle/>
          <a:p>
            <a:pPr marL="9525" indent="-9525" algn="ctr" defTabSz="685800">
              <a:lnSpc>
                <a:spcPct val="110000"/>
              </a:lnSpc>
              <a:buClrTx/>
              <a:defRPr/>
            </a:pPr>
            <a:r>
              <a:rPr lang="en-US" altLang="ja-JP"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Tree>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0545" name="Title 1"/>
          <p:cNvSpPr>
            <a:spLocks noGrp="1"/>
          </p:cNvSpPr>
          <p:nvPr>
            <p:ph type="title"/>
          </p:nvPr>
        </p:nvSpPr>
        <p:spPr/>
        <p:txBody>
          <a:bodyPr/>
          <a:lstStyle/>
          <a:p>
            <a:r>
              <a:rPr lang="en-US" dirty="0">
                <a:solidFill>
                  <a:srgbClr val="81BC00"/>
                </a:solidFill>
              </a:rPr>
              <a:t>Driver trees   </a:t>
            </a:r>
            <a:br>
              <a:rPr lang="en-US" dirty="0">
                <a:solidFill>
                  <a:srgbClr val="81BC00"/>
                </a:solidFill>
              </a:rPr>
            </a:br>
            <a:r>
              <a:rPr lang="en-US" dirty="0">
                <a:solidFill>
                  <a:srgbClr val="575757"/>
                </a:solidFill>
              </a:rPr>
              <a:t>Text with general trends</a:t>
            </a:r>
          </a:p>
        </p:txBody>
      </p:sp>
      <p:cxnSp>
        <p:nvCxnSpPr>
          <p:cNvPr id="18" name="AutoShape 12"/>
          <p:cNvCxnSpPr>
            <a:cxnSpLocks noChangeShapeType="1"/>
            <a:stCxn id="9" idx="3"/>
            <a:endCxn id="10" idx="1"/>
          </p:cNvCxnSpPr>
          <p:nvPr/>
        </p:nvCxnSpPr>
        <p:spPr bwMode="auto">
          <a:xfrm flipV="1">
            <a:off x="2495550" y="2060496"/>
            <a:ext cx="461963" cy="860822"/>
          </a:xfrm>
          <a:prstGeom prst="bentConnector3">
            <a:avLst>
              <a:gd name="adj1" fmla="val 50000"/>
            </a:avLst>
          </a:prstGeom>
          <a:noFill/>
          <a:ln w="12700">
            <a:solidFill>
              <a:srgbClr val="B4B4B4"/>
            </a:solidFill>
            <a:miter lim="800000"/>
            <a:headEnd/>
            <a:tailEnd/>
          </a:ln>
        </p:spPr>
      </p:cxnSp>
      <p:cxnSp>
        <p:nvCxnSpPr>
          <p:cNvPr id="19" name="AutoShape 13"/>
          <p:cNvCxnSpPr>
            <a:cxnSpLocks noChangeShapeType="1"/>
            <a:stCxn id="9" idx="3"/>
            <a:endCxn id="11" idx="1"/>
          </p:cNvCxnSpPr>
          <p:nvPr/>
        </p:nvCxnSpPr>
        <p:spPr bwMode="auto">
          <a:xfrm>
            <a:off x="2495550" y="2921317"/>
            <a:ext cx="461963" cy="860822"/>
          </a:xfrm>
          <a:prstGeom prst="bentConnector3">
            <a:avLst>
              <a:gd name="adj1" fmla="val 50000"/>
            </a:avLst>
          </a:prstGeom>
          <a:noFill/>
          <a:ln w="12700">
            <a:solidFill>
              <a:srgbClr val="B4B4B4"/>
            </a:solidFill>
            <a:miter lim="800000"/>
            <a:headEnd/>
            <a:tailEnd/>
          </a:ln>
        </p:spPr>
      </p:cxnSp>
      <p:cxnSp>
        <p:nvCxnSpPr>
          <p:cNvPr id="20" name="AutoShape 14"/>
          <p:cNvCxnSpPr>
            <a:cxnSpLocks noChangeShapeType="1"/>
            <a:stCxn id="10" idx="3"/>
            <a:endCxn id="12" idx="1"/>
          </p:cNvCxnSpPr>
          <p:nvPr/>
        </p:nvCxnSpPr>
        <p:spPr bwMode="auto">
          <a:xfrm flipV="1">
            <a:off x="4005263" y="1487806"/>
            <a:ext cx="460772" cy="572690"/>
          </a:xfrm>
          <a:prstGeom prst="bentConnector3">
            <a:avLst>
              <a:gd name="adj1" fmla="val 50000"/>
            </a:avLst>
          </a:prstGeom>
          <a:noFill/>
          <a:ln w="12700">
            <a:solidFill>
              <a:srgbClr val="B4B4B4"/>
            </a:solidFill>
            <a:miter lim="800000"/>
            <a:headEnd/>
            <a:tailEnd/>
          </a:ln>
        </p:spPr>
      </p:cxnSp>
      <p:cxnSp>
        <p:nvCxnSpPr>
          <p:cNvPr id="21" name="AutoShape 15"/>
          <p:cNvCxnSpPr>
            <a:cxnSpLocks noChangeShapeType="1"/>
            <a:stCxn id="10" idx="3"/>
            <a:endCxn id="13" idx="1"/>
          </p:cNvCxnSpPr>
          <p:nvPr/>
        </p:nvCxnSpPr>
        <p:spPr bwMode="auto">
          <a:xfrm>
            <a:off x="4005263" y="2060495"/>
            <a:ext cx="460772" cy="1191"/>
          </a:xfrm>
          <a:prstGeom prst="straightConnector1">
            <a:avLst/>
          </a:prstGeom>
          <a:noFill/>
          <a:ln w="12700">
            <a:solidFill>
              <a:srgbClr val="B4B4B4"/>
            </a:solidFill>
            <a:round/>
            <a:headEnd/>
            <a:tailEnd/>
          </a:ln>
        </p:spPr>
      </p:cxnSp>
      <p:cxnSp>
        <p:nvCxnSpPr>
          <p:cNvPr id="22" name="AutoShape 16"/>
          <p:cNvCxnSpPr>
            <a:cxnSpLocks noChangeShapeType="1"/>
            <a:stCxn id="10" idx="3"/>
            <a:endCxn id="14" idx="1"/>
          </p:cNvCxnSpPr>
          <p:nvPr/>
        </p:nvCxnSpPr>
        <p:spPr bwMode="auto">
          <a:xfrm>
            <a:off x="4005263" y="2060496"/>
            <a:ext cx="460772" cy="573881"/>
          </a:xfrm>
          <a:prstGeom prst="bentConnector3">
            <a:avLst>
              <a:gd name="adj1" fmla="val 50000"/>
            </a:avLst>
          </a:prstGeom>
          <a:noFill/>
          <a:ln w="12700">
            <a:solidFill>
              <a:srgbClr val="B4B4B4"/>
            </a:solidFill>
            <a:miter lim="800000"/>
            <a:headEnd/>
            <a:tailEnd/>
          </a:ln>
        </p:spPr>
      </p:cxnSp>
      <p:cxnSp>
        <p:nvCxnSpPr>
          <p:cNvPr id="23" name="AutoShape 17"/>
          <p:cNvCxnSpPr>
            <a:cxnSpLocks noChangeShapeType="1"/>
            <a:stCxn id="11" idx="3"/>
            <a:endCxn id="15" idx="1"/>
          </p:cNvCxnSpPr>
          <p:nvPr/>
        </p:nvCxnSpPr>
        <p:spPr bwMode="auto">
          <a:xfrm flipV="1">
            <a:off x="4005263" y="3208258"/>
            <a:ext cx="460772" cy="573881"/>
          </a:xfrm>
          <a:prstGeom prst="bentConnector3">
            <a:avLst>
              <a:gd name="adj1" fmla="val 50000"/>
            </a:avLst>
          </a:prstGeom>
          <a:noFill/>
          <a:ln w="12700">
            <a:solidFill>
              <a:srgbClr val="B4B4B4"/>
            </a:solidFill>
            <a:miter lim="800000"/>
            <a:headEnd/>
            <a:tailEnd/>
          </a:ln>
        </p:spPr>
      </p:cxnSp>
      <p:cxnSp>
        <p:nvCxnSpPr>
          <p:cNvPr id="24" name="AutoShape 18"/>
          <p:cNvCxnSpPr>
            <a:cxnSpLocks noChangeShapeType="1"/>
            <a:stCxn id="11" idx="3"/>
            <a:endCxn id="16" idx="1"/>
          </p:cNvCxnSpPr>
          <p:nvPr/>
        </p:nvCxnSpPr>
        <p:spPr bwMode="auto">
          <a:xfrm>
            <a:off x="4005263" y="3782139"/>
            <a:ext cx="460772" cy="1191"/>
          </a:xfrm>
          <a:prstGeom prst="straightConnector1">
            <a:avLst/>
          </a:prstGeom>
          <a:noFill/>
          <a:ln w="12700">
            <a:solidFill>
              <a:srgbClr val="B4B4B4"/>
            </a:solidFill>
            <a:round/>
            <a:headEnd/>
            <a:tailEnd/>
          </a:ln>
        </p:spPr>
      </p:cxnSp>
      <p:cxnSp>
        <p:nvCxnSpPr>
          <p:cNvPr id="25" name="AutoShape 19"/>
          <p:cNvCxnSpPr>
            <a:cxnSpLocks noChangeShapeType="1"/>
            <a:stCxn id="11" idx="3"/>
            <a:endCxn id="17" idx="1"/>
          </p:cNvCxnSpPr>
          <p:nvPr/>
        </p:nvCxnSpPr>
        <p:spPr bwMode="auto">
          <a:xfrm>
            <a:off x="4005263" y="3782140"/>
            <a:ext cx="460772" cy="573881"/>
          </a:xfrm>
          <a:prstGeom prst="bentConnector3">
            <a:avLst>
              <a:gd name="adj1" fmla="val 50000"/>
            </a:avLst>
          </a:prstGeom>
          <a:noFill/>
          <a:ln w="12700">
            <a:solidFill>
              <a:srgbClr val="B4B4B4"/>
            </a:solidFill>
            <a:miter lim="800000"/>
            <a:headEnd/>
            <a:tailEnd/>
          </a:ln>
        </p:spPr>
      </p:cxnSp>
      <p:sp>
        <p:nvSpPr>
          <p:cNvPr id="9" name="Rectangle 3"/>
          <p:cNvSpPr>
            <a:spLocks noChangeArrowheads="1"/>
          </p:cNvSpPr>
          <p:nvPr/>
        </p:nvSpPr>
        <p:spPr bwMode="auto">
          <a:xfrm>
            <a:off x="1450182" y="2702243"/>
            <a:ext cx="1045369" cy="438150"/>
          </a:xfrm>
          <a:prstGeom prst="rect">
            <a:avLst/>
          </a:prstGeom>
          <a:solidFill>
            <a:srgbClr val="00A1DE"/>
          </a:solidFill>
          <a:ln w="12700" algn="ctr">
            <a:solidFill>
              <a:schemeClr val="bg1"/>
            </a:solidFill>
            <a:miter lim="800000"/>
            <a:headEnd/>
            <a:tailEnd/>
          </a:ln>
        </p:spPr>
        <p:txBody>
          <a:bodyPr lIns="27000" tIns="27000" rIns="27000" bIns="27000" anchor="ctr"/>
          <a:lstStyle/>
          <a:p>
            <a:pPr marL="9525" indent="-9525" algn="ctr" defTabSz="685800">
              <a:lnSpc>
                <a:spcPct val="110000"/>
              </a:lnSpc>
              <a:buClrTx/>
              <a:defRPr/>
            </a:pPr>
            <a:r>
              <a:rPr lang="en-US" sz="1050" kern="1200">
                <a:solidFill>
                  <a:prstClr val="white"/>
                </a:solidFill>
                <a:ea typeface="ＭＳ Ｐゴシック" pitchFamily="50" charset="-128"/>
                <a:cs typeface="+mn-cs"/>
              </a:rPr>
              <a:t>Text</a:t>
            </a:r>
            <a:endParaRPr lang="en-US" sz="1050" kern="1200" dirty="0">
              <a:solidFill>
                <a:prstClr val="white"/>
              </a:solidFill>
              <a:ea typeface="ＭＳ Ｐゴシック" pitchFamily="50" charset="-128"/>
              <a:cs typeface="+mn-cs"/>
            </a:endParaRPr>
          </a:p>
        </p:txBody>
      </p:sp>
      <p:sp>
        <p:nvSpPr>
          <p:cNvPr id="10" name="Rectangle 4"/>
          <p:cNvSpPr>
            <a:spLocks noChangeArrowheads="1"/>
          </p:cNvSpPr>
          <p:nvPr/>
        </p:nvSpPr>
        <p:spPr bwMode="auto">
          <a:xfrm>
            <a:off x="2957513" y="1841420"/>
            <a:ext cx="1047750" cy="438150"/>
          </a:xfrm>
          <a:prstGeom prst="rect">
            <a:avLst/>
          </a:prstGeom>
          <a:solidFill>
            <a:srgbClr val="00A1DE"/>
          </a:solidFill>
          <a:ln w="12700" algn="ctr">
            <a:solidFill>
              <a:schemeClr val="bg1"/>
            </a:solidFill>
            <a:miter lim="800000"/>
            <a:headEnd/>
            <a:tailEnd/>
          </a:ln>
        </p:spPr>
        <p:txBody>
          <a:bodyPr lIns="27000" tIns="27000" rIns="27000" bIns="27000" anchor="ctr"/>
          <a:lstStyle/>
          <a:p>
            <a:pPr marL="9525" indent="-9525" algn="ctr" defTabSz="685800">
              <a:lnSpc>
                <a:spcPct val="110000"/>
              </a:lnSpc>
              <a:buClrTx/>
              <a:defRPr/>
            </a:pPr>
            <a:r>
              <a:rPr lang="en-US" sz="1050" kern="1200">
                <a:solidFill>
                  <a:prstClr val="white"/>
                </a:solidFill>
                <a:ea typeface="ＭＳ Ｐゴシック" pitchFamily="50" charset="-128"/>
                <a:cs typeface="+mn-cs"/>
              </a:rPr>
              <a:t>Text</a:t>
            </a:r>
            <a:endParaRPr lang="en-US" sz="1050" kern="1200" dirty="0">
              <a:solidFill>
                <a:prstClr val="white"/>
              </a:solidFill>
              <a:ea typeface="ＭＳ Ｐゴシック" pitchFamily="50" charset="-128"/>
              <a:cs typeface="+mn-cs"/>
            </a:endParaRPr>
          </a:p>
        </p:txBody>
      </p:sp>
      <p:sp>
        <p:nvSpPr>
          <p:cNvPr id="11" name="Rectangle 5"/>
          <p:cNvSpPr>
            <a:spLocks noChangeArrowheads="1"/>
          </p:cNvSpPr>
          <p:nvPr/>
        </p:nvSpPr>
        <p:spPr bwMode="auto">
          <a:xfrm>
            <a:off x="2957513" y="3563064"/>
            <a:ext cx="1047750" cy="438150"/>
          </a:xfrm>
          <a:prstGeom prst="rect">
            <a:avLst/>
          </a:prstGeom>
          <a:solidFill>
            <a:srgbClr val="00A1DE"/>
          </a:solidFill>
          <a:ln w="12700" algn="ctr">
            <a:solidFill>
              <a:schemeClr val="bg1"/>
            </a:solidFill>
            <a:miter lim="800000"/>
            <a:headEnd/>
            <a:tailEnd/>
          </a:ln>
        </p:spPr>
        <p:txBody>
          <a:bodyPr lIns="27000" tIns="27000" rIns="27000" bIns="27000" anchor="ctr"/>
          <a:lstStyle/>
          <a:p>
            <a:pPr marL="9525" indent="-9525" algn="ctr" defTabSz="685800">
              <a:lnSpc>
                <a:spcPct val="110000"/>
              </a:lnSpc>
              <a:buClrTx/>
              <a:defRPr/>
            </a:pPr>
            <a:r>
              <a:rPr lang="en-US" sz="1050" kern="1200">
                <a:solidFill>
                  <a:prstClr val="white"/>
                </a:solidFill>
                <a:ea typeface="ＭＳ Ｐゴシック" pitchFamily="50" charset="-128"/>
                <a:cs typeface="+mn-cs"/>
              </a:rPr>
              <a:t>Text</a:t>
            </a:r>
            <a:endParaRPr lang="en-US" sz="1050" kern="1200" dirty="0">
              <a:solidFill>
                <a:prstClr val="white"/>
              </a:solidFill>
              <a:ea typeface="ＭＳ Ｐゴシック" pitchFamily="50" charset="-128"/>
              <a:cs typeface="+mn-cs"/>
            </a:endParaRPr>
          </a:p>
        </p:txBody>
      </p:sp>
      <p:sp>
        <p:nvSpPr>
          <p:cNvPr id="12" name="Rectangle 6"/>
          <p:cNvSpPr>
            <a:spLocks noChangeArrowheads="1"/>
          </p:cNvSpPr>
          <p:nvPr/>
        </p:nvSpPr>
        <p:spPr bwMode="auto">
          <a:xfrm>
            <a:off x="4466035" y="1268730"/>
            <a:ext cx="1045369" cy="438150"/>
          </a:xfrm>
          <a:prstGeom prst="rect">
            <a:avLst/>
          </a:prstGeom>
          <a:solidFill>
            <a:srgbClr val="00A1DE"/>
          </a:solidFill>
          <a:ln w="12700" algn="ctr">
            <a:solidFill>
              <a:schemeClr val="bg1"/>
            </a:solidFill>
            <a:miter lim="800000"/>
            <a:headEnd/>
            <a:tailEnd/>
          </a:ln>
        </p:spPr>
        <p:txBody>
          <a:bodyPr lIns="27000" tIns="27000" rIns="27000" bIns="27000" anchor="ctr"/>
          <a:lstStyle/>
          <a:p>
            <a:pPr marL="9525" indent="-9525" algn="ctr" defTabSz="685800">
              <a:lnSpc>
                <a:spcPct val="110000"/>
              </a:lnSpc>
              <a:buClrTx/>
              <a:defRPr/>
            </a:pPr>
            <a:r>
              <a:rPr lang="en-US" sz="1050" kern="1200">
                <a:solidFill>
                  <a:prstClr val="white"/>
                </a:solidFill>
                <a:ea typeface="ＭＳ Ｐゴシック" pitchFamily="50" charset="-128"/>
                <a:cs typeface="+mn-cs"/>
              </a:rPr>
              <a:t>Text</a:t>
            </a:r>
            <a:endParaRPr lang="en-US" sz="1050" kern="1200" dirty="0">
              <a:solidFill>
                <a:prstClr val="white"/>
              </a:solidFill>
              <a:ea typeface="ＭＳ Ｐゴシック" pitchFamily="50" charset="-128"/>
              <a:cs typeface="+mn-cs"/>
            </a:endParaRPr>
          </a:p>
        </p:txBody>
      </p:sp>
      <p:sp>
        <p:nvSpPr>
          <p:cNvPr id="13" name="Rectangle 7"/>
          <p:cNvSpPr>
            <a:spLocks noChangeArrowheads="1"/>
          </p:cNvSpPr>
          <p:nvPr/>
        </p:nvSpPr>
        <p:spPr bwMode="auto">
          <a:xfrm>
            <a:off x="4466035" y="1841420"/>
            <a:ext cx="1045369" cy="438150"/>
          </a:xfrm>
          <a:prstGeom prst="rect">
            <a:avLst/>
          </a:prstGeom>
          <a:solidFill>
            <a:srgbClr val="00A1DE"/>
          </a:solidFill>
          <a:ln w="12700" algn="ctr">
            <a:solidFill>
              <a:schemeClr val="bg1"/>
            </a:solidFill>
            <a:miter lim="800000"/>
            <a:headEnd/>
            <a:tailEnd/>
          </a:ln>
        </p:spPr>
        <p:txBody>
          <a:bodyPr lIns="27000" tIns="27000" rIns="27000" bIns="27000" anchor="ctr"/>
          <a:lstStyle/>
          <a:p>
            <a:pPr marL="9525" indent="-9525" algn="ctr" defTabSz="685800">
              <a:lnSpc>
                <a:spcPct val="110000"/>
              </a:lnSpc>
              <a:buClrTx/>
              <a:defRPr/>
            </a:pPr>
            <a:r>
              <a:rPr lang="en-US" sz="1050" kern="1200">
                <a:solidFill>
                  <a:prstClr val="white"/>
                </a:solidFill>
                <a:ea typeface="ＭＳ Ｐゴシック" pitchFamily="50" charset="-128"/>
                <a:cs typeface="+mn-cs"/>
              </a:rPr>
              <a:t>Text</a:t>
            </a:r>
            <a:endParaRPr lang="en-US" sz="1050" kern="1200" dirty="0">
              <a:solidFill>
                <a:prstClr val="white"/>
              </a:solidFill>
              <a:ea typeface="ＭＳ Ｐゴシック" pitchFamily="50" charset="-128"/>
              <a:cs typeface="+mn-cs"/>
            </a:endParaRPr>
          </a:p>
        </p:txBody>
      </p:sp>
      <p:sp>
        <p:nvSpPr>
          <p:cNvPr id="14" name="Rectangle 8"/>
          <p:cNvSpPr>
            <a:spLocks noChangeArrowheads="1"/>
          </p:cNvSpPr>
          <p:nvPr/>
        </p:nvSpPr>
        <p:spPr bwMode="auto">
          <a:xfrm>
            <a:off x="4466035" y="2415302"/>
            <a:ext cx="1045369" cy="438150"/>
          </a:xfrm>
          <a:prstGeom prst="rect">
            <a:avLst/>
          </a:prstGeom>
          <a:solidFill>
            <a:srgbClr val="00A1DE"/>
          </a:solidFill>
          <a:ln w="12700" algn="ctr">
            <a:solidFill>
              <a:schemeClr val="bg1"/>
            </a:solidFill>
            <a:miter lim="800000"/>
            <a:headEnd/>
            <a:tailEnd/>
          </a:ln>
        </p:spPr>
        <p:txBody>
          <a:bodyPr lIns="27000" tIns="27000" rIns="27000" bIns="27000" anchor="ctr"/>
          <a:lstStyle/>
          <a:p>
            <a:pPr marL="9525" indent="-9525" algn="ctr" defTabSz="685800">
              <a:lnSpc>
                <a:spcPct val="110000"/>
              </a:lnSpc>
              <a:buClrTx/>
              <a:defRPr/>
            </a:pPr>
            <a:r>
              <a:rPr lang="en-US" sz="1050" kern="1200">
                <a:solidFill>
                  <a:prstClr val="white"/>
                </a:solidFill>
                <a:ea typeface="ＭＳ Ｐゴシック" pitchFamily="50" charset="-128"/>
                <a:cs typeface="+mn-cs"/>
              </a:rPr>
              <a:t>Text</a:t>
            </a:r>
            <a:endParaRPr lang="en-US" sz="1050" kern="1200" dirty="0">
              <a:solidFill>
                <a:prstClr val="white"/>
              </a:solidFill>
              <a:ea typeface="ＭＳ Ｐゴシック" pitchFamily="50" charset="-128"/>
              <a:cs typeface="+mn-cs"/>
            </a:endParaRPr>
          </a:p>
        </p:txBody>
      </p:sp>
      <p:sp>
        <p:nvSpPr>
          <p:cNvPr id="15" name="Rectangle 9"/>
          <p:cNvSpPr>
            <a:spLocks noChangeArrowheads="1"/>
          </p:cNvSpPr>
          <p:nvPr/>
        </p:nvSpPr>
        <p:spPr bwMode="auto">
          <a:xfrm>
            <a:off x="4466035" y="2989183"/>
            <a:ext cx="1045369" cy="438150"/>
          </a:xfrm>
          <a:prstGeom prst="rect">
            <a:avLst/>
          </a:prstGeom>
          <a:solidFill>
            <a:srgbClr val="00A1DE"/>
          </a:solidFill>
          <a:ln w="12700" algn="ctr">
            <a:solidFill>
              <a:schemeClr val="bg1"/>
            </a:solidFill>
            <a:miter lim="800000"/>
            <a:headEnd/>
            <a:tailEnd/>
          </a:ln>
        </p:spPr>
        <p:txBody>
          <a:bodyPr lIns="27000" tIns="27000" rIns="27000" bIns="27000" anchor="ctr"/>
          <a:lstStyle/>
          <a:p>
            <a:pPr marL="9525" indent="-9525" algn="ctr" defTabSz="685800">
              <a:lnSpc>
                <a:spcPct val="110000"/>
              </a:lnSpc>
              <a:buClrTx/>
              <a:defRPr/>
            </a:pPr>
            <a:r>
              <a:rPr lang="en-US" sz="1050" kern="1200">
                <a:solidFill>
                  <a:prstClr val="white"/>
                </a:solidFill>
                <a:ea typeface="ＭＳ Ｐゴシック" pitchFamily="50" charset="-128"/>
                <a:cs typeface="+mn-cs"/>
              </a:rPr>
              <a:t>Text</a:t>
            </a:r>
            <a:endParaRPr lang="en-US" sz="1050" kern="1200" dirty="0">
              <a:solidFill>
                <a:prstClr val="white"/>
              </a:solidFill>
              <a:ea typeface="ＭＳ Ｐゴシック" pitchFamily="50" charset="-128"/>
              <a:cs typeface="+mn-cs"/>
            </a:endParaRPr>
          </a:p>
        </p:txBody>
      </p:sp>
      <p:sp>
        <p:nvSpPr>
          <p:cNvPr id="16" name="Rectangle 10"/>
          <p:cNvSpPr>
            <a:spLocks noChangeArrowheads="1"/>
          </p:cNvSpPr>
          <p:nvPr/>
        </p:nvSpPr>
        <p:spPr bwMode="auto">
          <a:xfrm>
            <a:off x="4466035" y="3563064"/>
            <a:ext cx="1045369" cy="438150"/>
          </a:xfrm>
          <a:prstGeom prst="rect">
            <a:avLst/>
          </a:prstGeom>
          <a:solidFill>
            <a:srgbClr val="00A1DE"/>
          </a:solidFill>
          <a:ln w="12700" algn="ctr">
            <a:solidFill>
              <a:schemeClr val="bg1"/>
            </a:solidFill>
            <a:miter lim="800000"/>
            <a:headEnd/>
            <a:tailEnd/>
          </a:ln>
        </p:spPr>
        <p:txBody>
          <a:bodyPr lIns="27000" tIns="27000" rIns="27000" bIns="27000" anchor="ctr"/>
          <a:lstStyle/>
          <a:p>
            <a:pPr marL="9525" indent="-9525" algn="ctr" defTabSz="685800">
              <a:lnSpc>
                <a:spcPct val="110000"/>
              </a:lnSpc>
              <a:buClrTx/>
              <a:defRPr/>
            </a:pPr>
            <a:r>
              <a:rPr lang="en-US" sz="1050" kern="1200">
                <a:solidFill>
                  <a:prstClr val="white"/>
                </a:solidFill>
                <a:ea typeface="ＭＳ Ｐゴシック" pitchFamily="50" charset="-128"/>
                <a:cs typeface="+mn-cs"/>
              </a:rPr>
              <a:t>Text</a:t>
            </a:r>
            <a:endParaRPr lang="en-US" sz="1050" kern="1200" dirty="0">
              <a:solidFill>
                <a:prstClr val="white"/>
              </a:solidFill>
              <a:ea typeface="ＭＳ Ｐゴシック" pitchFamily="50" charset="-128"/>
              <a:cs typeface="+mn-cs"/>
            </a:endParaRPr>
          </a:p>
        </p:txBody>
      </p:sp>
      <p:sp>
        <p:nvSpPr>
          <p:cNvPr id="17" name="Rectangle 11"/>
          <p:cNvSpPr>
            <a:spLocks noChangeArrowheads="1"/>
          </p:cNvSpPr>
          <p:nvPr/>
        </p:nvSpPr>
        <p:spPr bwMode="auto">
          <a:xfrm>
            <a:off x="4466035" y="4136945"/>
            <a:ext cx="1045369" cy="438150"/>
          </a:xfrm>
          <a:prstGeom prst="rect">
            <a:avLst/>
          </a:prstGeom>
          <a:solidFill>
            <a:srgbClr val="00A1DE"/>
          </a:solidFill>
          <a:ln w="12700" algn="ctr">
            <a:solidFill>
              <a:schemeClr val="bg1"/>
            </a:solidFill>
            <a:miter lim="800000"/>
            <a:headEnd/>
            <a:tailEnd/>
          </a:ln>
        </p:spPr>
        <p:txBody>
          <a:bodyPr lIns="27000" tIns="27000" rIns="27000" bIns="27000" anchor="ctr"/>
          <a:lstStyle/>
          <a:p>
            <a:pPr marL="9525" indent="-9525" algn="ctr" defTabSz="685800">
              <a:lnSpc>
                <a:spcPct val="110000"/>
              </a:lnSpc>
              <a:buClrTx/>
              <a:defRPr/>
            </a:pPr>
            <a:r>
              <a:rPr lang="en-US" sz="1050" kern="1200">
                <a:solidFill>
                  <a:prstClr val="white"/>
                </a:solidFill>
                <a:ea typeface="ＭＳ Ｐゴシック" pitchFamily="50" charset="-128"/>
                <a:cs typeface="+mn-cs"/>
              </a:rPr>
              <a:t>Text</a:t>
            </a:r>
            <a:endParaRPr lang="en-US" sz="1050" kern="1200" dirty="0">
              <a:solidFill>
                <a:prstClr val="white"/>
              </a:solidFill>
              <a:ea typeface="ＭＳ Ｐゴシック" pitchFamily="50" charset="-128"/>
              <a:cs typeface="+mn-cs"/>
            </a:endParaRPr>
          </a:p>
        </p:txBody>
      </p:sp>
      <p:sp>
        <p:nvSpPr>
          <p:cNvPr id="28" name="Text Placeholder 31"/>
          <p:cNvSpPr txBox="1">
            <a:spLocks/>
          </p:cNvSpPr>
          <p:nvPr/>
        </p:nvSpPr>
        <p:spPr bwMode="auto">
          <a:xfrm>
            <a:off x="6020991" y="1268730"/>
            <a:ext cx="1980009" cy="436959"/>
          </a:xfrm>
          <a:prstGeom prst="rect">
            <a:avLst/>
          </a:prstGeom>
          <a:noFill/>
          <a:ln>
            <a:miter lim="800000"/>
            <a:headEnd/>
            <a:tailEnd/>
          </a:ln>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5740" lvl="1" indent="-205740" defTabSz="685800">
              <a:spcBef>
                <a:spcPts val="450"/>
              </a:spcBef>
              <a:buClrTx/>
              <a:buFont typeface="Arial" panose="020B0604020202020204" pitchFamily="34" charset="0"/>
              <a:buChar char="•"/>
            </a:pPr>
            <a:r>
              <a:rPr lang="en-US" sz="825" dirty="0">
                <a:solidFill>
                  <a:srgbClr val="313131"/>
                </a:solidFill>
                <a:latin typeface="Arial"/>
              </a:rPr>
              <a:t>This is a level one bullet</a:t>
            </a:r>
          </a:p>
          <a:p>
            <a:pPr marL="404622" lvl="2" indent="-198882" defTabSz="685800">
              <a:spcBef>
                <a:spcPts val="450"/>
              </a:spcBef>
              <a:buClrTx/>
            </a:pPr>
            <a:r>
              <a:rPr lang="en-US" sz="825" dirty="0">
                <a:solidFill>
                  <a:srgbClr val="313131"/>
                </a:solidFill>
                <a:latin typeface="Arial"/>
              </a:rPr>
              <a:t>This is a level two bullet</a:t>
            </a:r>
          </a:p>
        </p:txBody>
      </p:sp>
      <p:sp>
        <p:nvSpPr>
          <p:cNvPr id="41" name="Text Placeholder 31"/>
          <p:cNvSpPr txBox="1">
            <a:spLocks/>
          </p:cNvSpPr>
          <p:nvPr/>
        </p:nvSpPr>
        <p:spPr bwMode="auto">
          <a:xfrm>
            <a:off x="6020991" y="1841420"/>
            <a:ext cx="1980009" cy="436959"/>
          </a:xfrm>
          <a:prstGeom prst="rect">
            <a:avLst/>
          </a:prstGeom>
          <a:noFill/>
          <a:ln>
            <a:miter lim="800000"/>
            <a:headEnd/>
            <a:tailEnd/>
          </a:ln>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5740" lvl="1" indent="-205740" defTabSz="685800">
              <a:spcBef>
                <a:spcPts val="450"/>
              </a:spcBef>
              <a:buClrTx/>
              <a:buFont typeface="Arial" panose="020B0604020202020204" pitchFamily="34" charset="0"/>
              <a:buChar char="•"/>
            </a:pPr>
            <a:r>
              <a:rPr lang="en-US" sz="825" dirty="0">
                <a:solidFill>
                  <a:srgbClr val="313131"/>
                </a:solidFill>
                <a:latin typeface="Arial"/>
              </a:rPr>
              <a:t>This is a level one bullet</a:t>
            </a:r>
          </a:p>
          <a:p>
            <a:pPr marL="404622" lvl="2" indent="-198882" defTabSz="685800">
              <a:spcBef>
                <a:spcPts val="450"/>
              </a:spcBef>
              <a:buClrTx/>
            </a:pPr>
            <a:r>
              <a:rPr lang="en-US" sz="825" dirty="0">
                <a:solidFill>
                  <a:srgbClr val="313131"/>
                </a:solidFill>
                <a:latin typeface="Arial"/>
              </a:rPr>
              <a:t>This is a level two bullet</a:t>
            </a:r>
          </a:p>
        </p:txBody>
      </p:sp>
      <p:sp>
        <p:nvSpPr>
          <p:cNvPr id="43" name="Text Placeholder 31"/>
          <p:cNvSpPr txBox="1">
            <a:spLocks/>
          </p:cNvSpPr>
          <p:nvPr/>
        </p:nvSpPr>
        <p:spPr bwMode="auto">
          <a:xfrm>
            <a:off x="6020991" y="2416493"/>
            <a:ext cx="1980009" cy="436959"/>
          </a:xfrm>
          <a:prstGeom prst="rect">
            <a:avLst/>
          </a:prstGeom>
          <a:noFill/>
          <a:ln>
            <a:miter lim="800000"/>
            <a:headEnd/>
            <a:tailEnd/>
          </a:ln>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5740" lvl="1" indent="-205740" defTabSz="685800">
              <a:spcBef>
                <a:spcPts val="450"/>
              </a:spcBef>
              <a:buClrTx/>
              <a:buFont typeface="Arial" panose="020B0604020202020204" pitchFamily="34" charset="0"/>
              <a:buChar char="•"/>
            </a:pPr>
            <a:r>
              <a:rPr lang="en-US" sz="825" dirty="0">
                <a:solidFill>
                  <a:srgbClr val="313131"/>
                </a:solidFill>
                <a:latin typeface="Arial"/>
              </a:rPr>
              <a:t>This is a level one bullet</a:t>
            </a:r>
          </a:p>
          <a:p>
            <a:pPr marL="404622" lvl="2" indent="-198882" defTabSz="685800">
              <a:spcBef>
                <a:spcPts val="450"/>
              </a:spcBef>
              <a:buClrTx/>
            </a:pPr>
            <a:r>
              <a:rPr lang="en-US" sz="825" dirty="0">
                <a:solidFill>
                  <a:srgbClr val="313131"/>
                </a:solidFill>
                <a:latin typeface="Arial"/>
              </a:rPr>
              <a:t>This is a level two bullet</a:t>
            </a:r>
          </a:p>
        </p:txBody>
      </p:sp>
      <p:sp>
        <p:nvSpPr>
          <p:cNvPr id="44" name="Text Placeholder 31"/>
          <p:cNvSpPr txBox="1">
            <a:spLocks/>
          </p:cNvSpPr>
          <p:nvPr/>
        </p:nvSpPr>
        <p:spPr bwMode="auto">
          <a:xfrm>
            <a:off x="6020991" y="2989183"/>
            <a:ext cx="1980009" cy="436959"/>
          </a:xfrm>
          <a:prstGeom prst="rect">
            <a:avLst/>
          </a:prstGeom>
          <a:noFill/>
          <a:ln>
            <a:miter lim="800000"/>
            <a:headEnd/>
            <a:tailEnd/>
          </a:ln>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5740" lvl="1" indent="-205740" defTabSz="685800">
              <a:spcBef>
                <a:spcPts val="450"/>
              </a:spcBef>
              <a:buClrTx/>
              <a:buFont typeface="Arial" panose="020B0604020202020204" pitchFamily="34" charset="0"/>
              <a:buChar char="•"/>
            </a:pPr>
            <a:r>
              <a:rPr lang="en-US" sz="825" dirty="0">
                <a:solidFill>
                  <a:srgbClr val="313131"/>
                </a:solidFill>
                <a:latin typeface="Arial"/>
              </a:rPr>
              <a:t>This is a level one bullet</a:t>
            </a:r>
          </a:p>
          <a:p>
            <a:pPr marL="404622" lvl="2" indent="-198882" defTabSz="685800">
              <a:spcBef>
                <a:spcPts val="450"/>
              </a:spcBef>
              <a:buClrTx/>
            </a:pPr>
            <a:r>
              <a:rPr lang="en-US" sz="825" dirty="0">
                <a:solidFill>
                  <a:srgbClr val="313131"/>
                </a:solidFill>
                <a:latin typeface="Arial"/>
              </a:rPr>
              <a:t>This is a level two bullet</a:t>
            </a:r>
          </a:p>
        </p:txBody>
      </p:sp>
      <p:sp>
        <p:nvSpPr>
          <p:cNvPr id="45" name="Text Placeholder 31"/>
          <p:cNvSpPr txBox="1">
            <a:spLocks/>
          </p:cNvSpPr>
          <p:nvPr/>
        </p:nvSpPr>
        <p:spPr bwMode="auto">
          <a:xfrm>
            <a:off x="6020991" y="3564851"/>
            <a:ext cx="1980009" cy="436959"/>
          </a:xfrm>
          <a:prstGeom prst="rect">
            <a:avLst/>
          </a:prstGeom>
          <a:noFill/>
          <a:ln>
            <a:miter lim="800000"/>
            <a:headEnd/>
            <a:tailEnd/>
          </a:ln>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5740" lvl="1" indent="-205740" defTabSz="685800">
              <a:spcBef>
                <a:spcPts val="450"/>
              </a:spcBef>
              <a:buClrTx/>
              <a:buFont typeface="Arial" panose="020B0604020202020204" pitchFamily="34" charset="0"/>
              <a:buChar char="•"/>
            </a:pPr>
            <a:r>
              <a:rPr lang="en-US" sz="825" dirty="0">
                <a:solidFill>
                  <a:srgbClr val="313131"/>
                </a:solidFill>
                <a:latin typeface="Arial"/>
              </a:rPr>
              <a:t>This is a level one bullet</a:t>
            </a:r>
          </a:p>
          <a:p>
            <a:pPr marL="404622" lvl="2" indent="-198882" defTabSz="685800">
              <a:spcBef>
                <a:spcPts val="450"/>
              </a:spcBef>
              <a:buClrTx/>
            </a:pPr>
            <a:r>
              <a:rPr lang="en-US" sz="825" dirty="0">
                <a:solidFill>
                  <a:srgbClr val="313131"/>
                </a:solidFill>
                <a:latin typeface="Arial"/>
              </a:rPr>
              <a:t>This is a level two bullet</a:t>
            </a:r>
          </a:p>
        </p:txBody>
      </p:sp>
      <p:sp>
        <p:nvSpPr>
          <p:cNvPr id="46" name="Text Placeholder 31"/>
          <p:cNvSpPr txBox="1">
            <a:spLocks/>
          </p:cNvSpPr>
          <p:nvPr/>
        </p:nvSpPr>
        <p:spPr bwMode="auto">
          <a:xfrm>
            <a:off x="6020991" y="4136945"/>
            <a:ext cx="1980009" cy="436959"/>
          </a:xfrm>
          <a:prstGeom prst="rect">
            <a:avLst/>
          </a:prstGeom>
          <a:noFill/>
          <a:ln>
            <a:miter lim="800000"/>
            <a:headEnd/>
            <a:tailEnd/>
          </a:ln>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5740" lvl="1" indent="-205740" defTabSz="685800">
              <a:spcBef>
                <a:spcPts val="450"/>
              </a:spcBef>
              <a:buClrTx/>
              <a:buFont typeface="Arial" panose="020B0604020202020204" pitchFamily="34" charset="0"/>
              <a:buChar char="•"/>
            </a:pPr>
            <a:r>
              <a:rPr lang="en-US" sz="825" dirty="0">
                <a:solidFill>
                  <a:srgbClr val="313131"/>
                </a:solidFill>
                <a:latin typeface="Arial"/>
              </a:rPr>
              <a:t>This is a level one bullet</a:t>
            </a:r>
          </a:p>
          <a:p>
            <a:pPr marL="404622" lvl="2" indent="-198882" defTabSz="685800">
              <a:spcBef>
                <a:spcPts val="450"/>
              </a:spcBef>
              <a:buClrTx/>
            </a:pPr>
            <a:r>
              <a:rPr lang="en-US" sz="825" dirty="0">
                <a:solidFill>
                  <a:srgbClr val="313131"/>
                </a:solidFill>
                <a:latin typeface="Arial"/>
              </a:rPr>
              <a:t>This is a level two bullet</a:t>
            </a:r>
          </a:p>
        </p:txBody>
      </p:sp>
    </p:spTree>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8" name="Title 1"/>
          <p:cNvSpPr>
            <a:spLocks noGrp="1"/>
          </p:cNvSpPr>
          <p:nvPr>
            <p:ph type="title"/>
            <p:custDataLst>
              <p:tags r:id="rId1"/>
            </p:custDataLst>
          </p:nvPr>
        </p:nvSpPr>
        <p:spPr/>
        <p:txBody>
          <a:bodyPr/>
          <a:lstStyle/>
          <a:p>
            <a:r>
              <a:rPr lang="en-US" dirty="0">
                <a:solidFill>
                  <a:srgbClr val="81BC00"/>
                </a:solidFill>
              </a:rPr>
              <a:t>Driver trees  </a:t>
            </a:r>
            <a:br>
              <a:rPr lang="en-US" dirty="0">
                <a:solidFill>
                  <a:srgbClr val="575757"/>
                </a:solidFill>
              </a:rPr>
            </a:br>
            <a:r>
              <a:rPr lang="en-US" dirty="0">
                <a:solidFill>
                  <a:srgbClr val="575757"/>
                </a:solidFill>
              </a:rPr>
              <a:t>Expanded text</a:t>
            </a:r>
          </a:p>
        </p:txBody>
      </p:sp>
      <p:graphicFrame>
        <p:nvGraphicFramePr>
          <p:cNvPr id="241666" name="Rectangle 2"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26" imgW="0" imgH="0" progId="">
                  <p:embed/>
                </p:oleObj>
              </mc:Choice>
              <mc:Fallback>
                <p:oleObj name="think-cell Slide" r:id="rId26" imgW="0" imgH="0" progId="">
                  <p:embed/>
                  <p:pic>
                    <p:nvPicPr>
                      <p:cNvPr id="24166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AutoShape 4"/>
          <p:cNvSpPr>
            <a:spLocks noChangeArrowheads="1"/>
          </p:cNvSpPr>
          <p:nvPr>
            <p:custDataLst>
              <p:tags r:id="rId3"/>
            </p:custDataLst>
          </p:nvPr>
        </p:nvSpPr>
        <p:spPr bwMode="auto">
          <a:xfrm>
            <a:off x="1782366" y="1268730"/>
            <a:ext cx="5539978" cy="275034"/>
          </a:xfrm>
          <a:prstGeom prst="homePlate">
            <a:avLst>
              <a:gd name="adj" fmla="val 58990"/>
            </a:avLst>
          </a:prstGeom>
          <a:solidFill>
            <a:srgbClr val="DCDCDC"/>
          </a:solidFill>
          <a:ln w="12700" algn="ctr">
            <a:noFill/>
            <a:miter lim="800000"/>
            <a:headEnd/>
            <a:tailEnd/>
          </a:ln>
        </p:spPr>
        <p:txBody>
          <a:bodyPr lIns="27000" tIns="27000" rIns="27000" bIns="27000" anchor="ctr"/>
          <a:lstStyle/>
          <a:p>
            <a:pPr algn="ctr" defTabSz="685800">
              <a:buClrTx/>
              <a:defRPr/>
            </a:pPr>
            <a:r>
              <a:rPr lang="en-US" sz="1050" kern="1200" dirty="0">
                <a:solidFill>
                  <a:srgbClr val="313131"/>
                </a:solidFill>
                <a:ea typeface="ＭＳ Ｐゴシック" pitchFamily="50" charset="-128"/>
                <a:cs typeface="+mn-cs"/>
              </a:rPr>
              <a:t>Text</a:t>
            </a:r>
            <a:endParaRPr lang="en-US" altLang="ja-JP" sz="1050" kern="1200" dirty="0">
              <a:solidFill>
                <a:srgbClr val="313131"/>
              </a:solidFill>
              <a:ea typeface="ＭＳ Ｐゴシック" pitchFamily="50" charset="-128"/>
              <a:cs typeface="+mn-cs"/>
            </a:endParaRPr>
          </a:p>
        </p:txBody>
      </p:sp>
      <p:sp>
        <p:nvSpPr>
          <p:cNvPr id="21" name="AutoShape 14"/>
          <p:cNvSpPr>
            <a:spLocks noChangeArrowheads="1"/>
          </p:cNvSpPr>
          <p:nvPr>
            <p:custDataLst>
              <p:tags r:id="rId4"/>
            </p:custDataLst>
          </p:nvPr>
        </p:nvSpPr>
        <p:spPr bwMode="auto">
          <a:xfrm flipH="1">
            <a:off x="1777604" y="4285774"/>
            <a:ext cx="5394057" cy="275034"/>
          </a:xfrm>
          <a:prstGeom prst="homePlate">
            <a:avLst>
              <a:gd name="adj" fmla="val 58967"/>
            </a:avLst>
          </a:prstGeom>
          <a:solidFill>
            <a:srgbClr val="DCDCDC"/>
          </a:solidFill>
          <a:ln w="12700" algn="ctr">
            <a:noFill/>
            <a:miter lim="800000"/>
            <a:headEnd/>
            <a:tailEnd/>
          </a:ln>
        </p:spPr>
        <p:txBody>
          <a:bodyPr lIns="27000" tIns="27000" rIns="27000" bIns="27000" anchor="ctr"/>
          <a:lstStyle/>
          <a:p>
            <a:pPr algn="ctr" defTabSz="685800">
              <a:buClrTx/>
              <a:defRPr/>
            </a:pPr>
            <a:r>
              <a:rPr lang="en-US" sz="1050" kern="1200">
                <a:solidFill>
                  <a:srgbClr val="313131"/>
                </a:solidFill>
                <a:ea typeface="ＭＳ Ｐゴシック" pitchFamily="50" charset="-128"/>
                <a:cs typeface="+mn-cs"/>
              </a:rPr>
              <a:t>Text</a:t>
            </a:r>
            <a:endParaRPr lang="en-US" altLang="ja-JP" sz="1050" kern="1200" dirty="0">
              <a:solidFill>
                <a:srgbClr val="313131"/>
              </a:solidFill>
              <a:ea typeface="ＭＳ Ｐゴシック" pitchFamily="50" charset="-128"/>
              <a:cs typeface="+mn-cs"/>
            </a:endParaRPr>
          </a:p>
        </p:txBody>
      </p:sp>
      <p:cxnSp>
        <p:nvCxnSpPr>
          <p:cNvPr id="27" name="AutoShape 21"/>
          <p:cNvCxnSpPr>
            <a:cxnSpLocks noChangeShapeType="1"/>
            <a:stCxn id="18" idx="1"/>
            <a:endCxn id="14" idx="3"/>
          </p:cNvCxnSpPr>
          <p:nvPr>
            <p:custDataLst>
              <p:tags r:id="rId5"/>
            </p:custDataLst>
          </p:nvPr>
        </p:nvCxnSpPr>
        <p:spPr bwMode="gray">
          <a:xfrm rot="10800000" flipV="1">
            <a:off x="3688556" y="1856899"/>
            <a:ext cx="467916" cy="414932"/>
          </a:xfrm>
          <a:prstGeom prst="bentConnector3">
            <a:avLst>
              <a:gd name="adj1" fmla="val 50000"/>
            </a:avLst>
          </a:prstGeom>
          <a:noFill/>
          <a:ln w="12700">
            <a:solidFill>
              <a:srgbClr val="B4B4B4"/>
            </a:solidFill>
            <a:miter lim="800000"/>
            <a:headEnd/>
            <a:tailEnd type="triangle" w="med" len="med"/>
          </a:ln>
        </p:spPr>
      </p:cxnSp>
      <p:cxnSp>
        <p:nvCxnSpPr>
          <p:cNvPr id="28" name="AutoShape 22"/>
          <p:cNvCxnSpPr>
            <a:cxnSpLocks noChangeShapeType="1"/>
            <a:stCxn id="15" idx="1"/>
            <a:endCxn id="14" idx="3"/>
          </p:cNvCxnSpPr>
          <p:nvPr>
            <p:custDataLst>
              <p:tags r:id="rId6"/>
            </p:custDataLst>
          </p:nvPr>
        </p:nvCxnSpPr>
        <p:spPr bwMode="gray">
          <a:xfrm rot="10800000">
            <a:off x="3688556" y="2271831"/>
            <a:ext cx="467916" cy="0"/>
          </a:xfrm>
          <a:prstGeom prst="straightConnector1">
            <a:avLst/>
          </a:prstGeom>
          <a:noFill/>
          <a:ln w="12700">
            <a:solidFill>
              <a:srgbClr val="B4B4B4"/>
            </a:solidFill>
            <a:round/>
            <a:headEnd/>
            <a:tailEnd type="triangle" w="med" len="med"/>
          </a:ln>
        </p:spPr>
      </p:cxnSp>
      <p:cxnSp>
        <p:nvCxnSpPr>
          <p:cNvPr id="29" name="AutoShape 23"/>
          <p:cNvCxnSpPr>
            <a:cxnSpLocks noChangeShapeType="1"/>
            <a:stCxn id="17" idx="1"/>
            <a:endCxn id="14" idx="3"/>
          </p:cNvCxnSpPr>
          <p:nvPr>
            <p:custDataLst>
              <p:tags r:id="rId7"/>
            </p:custDataLst>
          </p:nvPr>
        </p:nvCxnSpPr>
        <p:spPr bwMode="gray">
          <a:xfrm rot="10800000">
            <a:off x="3688556" y="2271832"/>
            <a:ext cx="467916" cy="432197"/>
          </a:xfrm>
          <a:prstGeom prst="bentConnector3">
            <a:avLst>
              <a:gd name="adj1" fmla="val 50000"/>
            </a:avLst>
          </a:prstGeom>
          <a:noFill/>
          <a:ln w="12700">
            <a:solidFill>
              <a:srgbClr val="B4B4B4"/>
            </a:solidFill>
            <a:miter lim="800000"/>
            <a:headEnd/>
            <a:tailEnd type="triangle" w="med" len="med"/>
          </a:ln>
        </p:spPr>
      </p:cxnSp>
      <p:cxnSp>
        <p:nvCxnSpPr>
          <p:cNvPr id="30" name="AutoShape 24"/>
          <p:cNvCxnSpPr>
            <a:cxnSpLocks noChangeShapeType="1"/>
            <a:stCxn id="16" idx="1"/>
            <a:endCxn id="13" idx="3"/>
          </p:cNvCxnSpPr>
          <p:nvPr>
            <p:custDataLst>
              <p:tags r:id="rId8"/>
            </p:custDataLst>
          </p:nvPr>
        </p:nvCxnSpPr>
        <p:spPr bwMode="gray">
          <a:xfrm rot="10800000" flipV="1">
            <a:off x="3688556" y="3126700"/>
            <a:ext cx="467916" cy="427435"/>
          </a:xfrm>
          <a:prstGeom prst="bentConnector3">
            <a:avLst>
              <a:gd name="adj1" fmla="val 50000"/>
            </a:avLst>
          </a:prstGeom>
          <a:noFill/>
          <a:ln w="12700">
            <a:solidFill>
              <a:srgbClr val="B4B4B4"/>
            </a:solidFill>
            <a:miter lim="800000"/>
            <a:headEnd/>
            <a:tailEnd type="triangle" w="med" len="med"/>
          </a:ln>
        </p:spPr>
      </p:cxnSp>
      <p:cxnSp>
        <p:nvCxnSpPr>
          <p:cNvPr id="31" name="AutoShape 25"/>
          <p:cNvCxnSpPr>
            <a:cxnSpLocks noChangeShapeType="1"/>
            <a:stCxn id="20" idx="1"/>
            <a:endCxn id="13" idx="3"/>
          </p:cNvCxnSpPr>
          <p:nvPr>
            <p:custDataLst>
              <p:tags r:id="rId9"/>
            </p:custDataLst>
          </p:nvPr>
        </p:nvCxnSpPr>
        <p:spPr bwMode="gray">
          <a:xfrm rot="10800000">
            <a:off x="3688556" y="3554135"/>
            <a:ext cx="467916" cy="0"/>
          </a:xfrm>
          <a:prstGeom prst="straightConnector1">
            <a:avLst/>
          </a:prstGeom>
          <a:noFill/>
          <a:ln w="12700">
            <a:solidFill>
              <a:srgbClr val="B4B4B4"/>
            </a:solidFill>
            <a:round/>
            <a:headEnd/>
            <a:tailEnd type="triangle" w="med" len="med"/>
          </a:ln>
        </p:spPr>
      </p:cxnSp>
      <p:cxnSp>
        <p:nvCxnSpPr>
          <p:cNvPr id="32" name="AutoShape 26"/>
          <p:cNvCxnSpPr>
            <a:cxnSpLocks noChangeShapeType="1"/>
            <a:stCxn id="19" idx="1"/>
            <a:endCxn id="13" idx="3"/>
          </p:cNvCxnSpPr>
          <p:nvPr>
            <p:custDataLst>
              <p:tags r:id="rId10"/>
            </p:custDataLst>
          </p:nvPr>
        </p:nvCxnSpPr>
        <p:spPr bwMode="gray">
          <a:xfrm rot="10800000">
            <a:off x="3688556" y="3554135"/>
            <a:ext cx="467916" cy="419100"/>
          </a:xfrm>
          <a:prstGeom prst="bentConnector3">
            <a:avLst>
              <a:gd name="adj1" fmla="val 50000"/>
            </a:avLst>
          </a:prstGeom>
          <a:noFill/>
          <a:ln w="12700">
            <a:solidFill>
              <a:srgbClr val="B4B4B4"/>
            </a:solidFill>
            <a:miter lim="800000"/>
            <a:headEnd/>
            <a:tailEnd type="triangle" w="med" len="med"/>
          </a:ln>
        </p:spPr>
      </p:cxnSp>
      <p:cxnSp>
        <p:nvCxnSpPr>
          <p:cNvPr id="33" name="AutoShape 27"/>
          <p:cNvCxnSpPr>
            <a:cxnSpLocks noChangeShapeType="1"/>
            <a:stCxn id="14" idx="1"/>
            <a:endCxn id="10" idx="3"/>
          </p:cNvCxnSpPr>
          <p:nvPr>
            <p:custDataLst>
              <p:tags r:id="rId11"/>
            </p:custDataLst>
          </p:nvPr>
        </p:nvCxnSpPr>
        <p:spPr bwMode="gray">
          <a:xfrm rot="10800000" flipV="1">
            <a:off x="2520555" y="2271831"/>
            <a:ext cx="467915" cy="640556"/>
          </a:xfrm>
          <a:prstGeom prst="bentConnector3">
            <a:avLst>
              <a:gd name="adj1" fmla="val 50000"/>
            </a:avLst>
          </a:prstGeom>
          <a:noFill/>
          <a:ln w="12700">
            <a:solidFill>
              <a:srgbClr val="B4B4B4"/>
            </a:solidFill>
            <a:miter lim="800000"/>
            <a:headEnd/>
            <a:tailEnd type="triangle" w="med" len="med"/>
          </a:ln>
        </p:spPr>
      </p:cxnSp>
      <p:cxnSp>
        <p:nvCxnSpPr>
          <p:cNvPr id="34" name="AutoShape 28"/>
          <p:cNvCxnSpPr>
            <a:cxnSpLocks noChangeShapeType="1"/>
            <a:stCxn id="13" idx="1"/>
            <a:endCxn id="10" idx="3"/>
          </p:cNvCxnSpPr>
          <p:nvPr>
            <p:custDataLst>
              <p:tags r:id="rId12"/>
            </p:custDataLst>
          </p:nvPr>
        </p:nvCxnSpPr>
        <p:spPr bwMode="gray">
          <a:xfrm rot="10800000">
            <a:off x="2520555" y="2912388"/>
            <a:ext cx="467915" cy="641152"/>
          </a:xfrm>
          <a:prstGeom prst="bentConnector3">
            <a:avLst>
              <a:gd name="adj1" fmla="val 50000"/>
            </a:avLst>
          </a:prstGeom>
          <a:noFill/>
          <a:ln w="12700">
            <a:solidFill>
              <a:srgbClr val="B4B4B4"/>
            </a:solidFill>
            <a:miter lim="800000"/>
            <a:headEnd/>
            <a:tailEnd type="triangle" w="med" len="med"/>
          </a:ln>
        </p:spPr>
      </p:cxnSp>
      <p:grpSp>
        <p:nvGrpSpPr>
          <p:cNvPr id="35" name="Group 34"/>
          <p:cNvGrpSpPr/>
          <p:nvPr/>
        </p:nvGrpSpPr>
        <p:grpSpPr>
          <a:xfrm>
            <a:off x="4949429" y="1706284"/>
            <a:ext cx="2222232" cy="1139786"/>
            <a:chOff x="393698" y="1376361"/>
            <a:chExt cx="3997326" cy="1519714"/>
          </a:xfrm>
        </p:grpSpPr>
        <p:sp>
          <p:nvSpPr>
            <p:cNvPr id="37" name="Text Box 10"/>
            <p:cNvSpPr txBox="1">
              <a:spLocks noChangeArrowheads="1"/>
            </p:cNvSpPr>
            <p:nvPr>
              <p:custDataLst>
                <p:tags r:id="rId23"/>
              </p:custDataLst>
            </p:nvPr>
          </p:nvSpPr>
          <p:spPr bwMode="auto">
            <a:xfrm>
              <a:off x="393699" y="1376361"/>
              <a:ext cx="3997325" cy="228600"/>
            </a:xfrm>
            <a:prstGeom prst="rect">
              <a:avLst/>
            </a:prstGeom>
            <a:solidFill>
              <a:srgbClr val="00A1DE"/>
            </a:solidFill>
            <a:ln w="12700" algn="ctr">
              <a:noFill/>
              <a:miter lim="800000"/>
              <a:headEnd/>
              <a:tailEnd type="none" w="sm" len="med"/>
            </a:ln>
          </p:spPr>
          <p:txBody>
            <a:bodyPr lIns="27000" tIns="27000" rIns="27000" bIns="27000" anchor="ctr" anchorCtr="1"/>
            <a:lstStyle/>
            <a:p>
              <a:pPr algn="ctr" defTabSz="717947">
                <a:buClrTx/>
              </a:pPr>
              <a:r>
                <a:rPr lang="en-US" sz="1050" b="1" kern="1200" dirty="0">
                  <a:solidFill>
                    <a:prstClr val="white"/>
                  </a:solidFill>
                  <a:ea typeface="+mn-ea"/>
                  <a:cs typeface="+mn-cs"/>
                </a:rPr>
                <a:t>Text</a:t>
              </a:r>
            </a:p>
          </p:txBody>
        </p:sp>
        <p:sp>
          <p:nvSpPr>
            <p:cNvPr id="38" name="Text Placeholder 5"/>
            <p:cNvSpPr txBox="1">
              <a:spLocks/>
            </p:cNvSpPr>
            <p:nvPr/>
          </p:nvSpPr>
          <p:spPr>
            <a:xfrm>
              <a:off x="393698" y="1615915"/>
              <a:ext cx="3997325" cy="1280160"/>
            </a:xfrm>
            <a:prstGeom prst="rect">
              <a:avLst/>
            </a:prstGeom>
            <a:solidFill>
              <a:srgbClr val="DCDCDC"/>
            </a:solidFill>
            <a:ln w="12700">
              <a:noFill/>
            </a:ln>
          </p:spPr>
          <p:txBody>
            <a:bodyPr wrap="square" lIns="68580" tIns="27000" rIns="27000" bIns="27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defTabSz="717947">
                <a:spcBef>
                  <a:spcPts val="450"/>
                </a:spcBef>
                <a:buClrTx/>
              </a:pPr>
              <a:r>
                <a:rPr lang="en-US" sz="825" dirty="0">
                  <a:solidFill>
                    <a:srgbClr val="313131"/>
                  </a:solidFill>
                  <a:latin typeface="Arial"/>
                </a:rPr>
                <a:t>This is dummy text not to be read</a:t>
              </a:r>
            </a:p>
            <a:p>
              <a:pPr marL="205740" lvl="1" indent="-205740" defTabSz="717947">
                <a:spcBef>
                  <a:spcPts val="450"/>
                </a:spcBef>
                <a:buClrTx/>
              </a:pPr>
              <a:r>
                <a:rPr lang="en-US" sz="825" dirty="0">
                  <a:solidFill>
                    <a:srgbClr val="313131"/>
                  </a:solidFill>
                  <a:latin typeface="Arial"/>
                </a:rPr>
                <a:t>This is a level two bullet</a:t>
              </a:r>
            </a:p>
            <a:p>
              <a:pPr marL="404622" lvl="2" indent="-198882" defTabSz="717947">
                <a:spcBef>
                  <a:spcPts val="450"/>
                </a:spcBef>
                <a:buClrTx/>
              </a:pPr>
              <a:r>
                <a:rPr lang="en-US" sz="825" dirty="0">
                  <a:solidFill>
                    <a:srgbClr val="313131"/>
                  </a:solidFill>
                  <a:latin typeface="Arial"/>
                </a:rPr>
                <a:t>This is a level three bullet </a:t>
              </a:r>
            </a:p>
          </p:txBody>
        </p:sp>
      </p:grpSp>
      <p:grpSp>
        <p:nvGrpSpPr>
          <p:cNvPr id="43" name="Group 42"/>
          <p:cNvGrpSpPr/>
          <p:nvPr/>
        </p:nvGrpSpPr>
        <p:grpSpPr>
          <a:xfrm>
            <a:off x="4949429" y="2975490"/>
            <a:ext cx="2222232" cy="1127880"/>
            <a:chOff x="393698" y="1376361"/>
            <a:chExt cx="3997326" cy="1503840"/>
          </a:xfrm>
        </p:grpSpPr>
        <p:sp>
          <p:nvSpPr>
            <p:cNvPr id="45" name="Text Box 10"/>
            <p:cNvSpPr txBox="1">
              <a:spLocks noChangeArrowheads="1"/>
            </p:cNvSpPr>
            <p:nvPr>
              <p:custDataLst>
                <p:tags r:id="rId22"/>
              </p:custDataLst>
            </p:nvPr>
          </p:nvSpPr>
          <p:spPr bwMode="auto">
            <a:xfrm>
              <a:off x="393699" y="1376361"/>
              <a:ext cx="3997325" cy="228600"/>
            </a:xfrm>
            <a:prstGeom prst="rect">
              <a:avLst/>
            </a:prstGeom>
            <a:solidFill>
              <a:srgbClr val="00A1DE"/>
            </a:solidFill>
            <a:ln w="12700" algn="ctr">
              <a:noFill/>
              <a:miter lim="800000"/>
              <a:headEnd/>
              <a:tailEnd type="none" w="sm" len="med"/>
            </a:ln>
          </p:spPr>
          <p:txBody>
            <a:bodyPr lIns="27000" tIns="27000" rIns="27000" bIns="27000" anchor="ctr" anchorCtr="1"/>
            <a:lstStyle/>
            <a:p>
              <a:pPr algn="ctr" defTabSz="717947">
                <a:buClrTx/>
              </a:pPr>
              <a:r>
                <a:rPr lang="en-US" sz="1050" b="1" kern="1200" dirty="0">
                  <a:solidFill>
                    <a:prstClr val="white"/>
                  </a:solidFill>
                  <a:ea typeface="+mn-ea"/>
                  <a:cs typeface="+mn-cs"/>
                </a:rPr>
                <a:t>Text</a:t>
              </a:r>
            </a:p>
          </p:txBody>
        </p:sp>
        <p:sp>
          <p:nvSpPr>
            <p:cNvPr id="46" name="Text Placeholder 5"/>
            <p:cNvSpPr txBox="1">
              <a:spLocks/>
            </p:cNvSpPr>
            <p:nvPr/>
          </p:nvSpPr>
          <p:spPr>
            <a:xfrm>
              <a:off x="393698" y="1600041"/>
              <a:ext cx="3997325" cy="1280160"/>
            </a:xfrm>
            <a:prstGeom prst="rect">
              <a:avLst/>
            </a:prstGeom>
            <a:solidFill>
              <a:srgbClr val="DCDCDC"/>
            </a:solidFill>
            <a:ln w="12700">
              <a:noFill/>
            </a:ln>
          </p:spPr>
          <p:txBody>
            <a:bodyPr wrap="square" lIns="68580" tIns="27000" rIns="27000" bIns="27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defTabSz="717947">
                <a:spcBef>
                  <a:spcPts val="450"/>
                </a:spcBef>
                <a:buClrTx/>
              </a:pPr>
              <a:r>
                <a:rPr lang="en-US" sz="825" dirty="0">
                  <a:solidFill>
                    <a:srgbClr val="313131"/>
                  </a:solidFill>
                  <a:latin typeface="Arial"/>
                </a:rPr>
                <a:t>This is dummy text not to be read</a:t>
              </a:r>
            </a:p>
            <a:p>
              <a:pPr marL="205740" lvl="1" indent="-205740" defTabSz="717947">
                <a:spcBef>
                  <a:spcPts val="450"/>
                </a:spcBef>
                <a:buClrTx/>
              </a:pPr>
              <a:r>
                <a:rPr lang="en-US" sz="825" dirty="0">
                  <a:solidFill>
                    <a:srgbClr val="313131"/>
                  </a:solidFill>
                  <a:latin typeface="Arial"/>
                </a:rPr>
                <a:t>This is a level two bullet</a:t>
              </a:r>
            </a:p>
            <a:p>
              <a:pPr marL="404622" lvl="2" indent="-198882" defTabSz="717947">
                <a:spcBef>
                  <a:spcPts val="450"/>
                </a:spcBef>
                <a:buClrTx/>
              </a:pPr>
              <a:r>
                <a:rPr lang="en-US" sz="825" dirty="0">
                  <a:solidFill>
                    <a:srgbClr val="313131"/>
                  </a:solidFill>
                  <a:latin typeface="Arial"/>
                </a:rPr>
                <a:t>This is a level three bullet </a:t>
              </a:r>
            </a:p>
          </p:txBody>
        </p:sp>
      </p:grpSp>
      <p:sp>
        <p:nvSpPr>
          <p:cNvPr id="10" name="Rectangle 3"/>
          <p:cNvSpPr>
            <a:spLocks noChangeArrowheads="1"/>
          </p:cNvSpPr>
          <p:nvPr>
            <p:custDataLst>
              <p:tags r:id="rId13"/>
            </p:custDataLst>
          </p:nvPr>
        </p:nvSpPr>
        <p:spPr bwMode="auto">
          <a:xfrm>
            <a:off x="1821657" y="2736175"/>
            <a:ext cx="698897" cy="352425"/>
          </a:xfrm>
          <a:prstGeom prst="rect">
            <a:avLst/>
          </a:prstGeom>
          <a:solidFill>
            <a:srgbClr val="00A1DE"/>
          </a:solidFill>
          <a:ln w="12700" algn="ctr">
            <a:solidFill>
              <a:schemeClr val="bg1"/>
            </a:solidFill>
            <a:miter lim="800000"/>
            <a:headEnd/>
            <a:tailEnd/>
          </a:ln>
        </p:spPr>
        <p:txBody>
          <a:bodyPr lIns="27000" tIns="27000" rIns="27000" bIns="27000" anchor="ctr"/>
          <a:lstStyle/>
          <a:p>
            <a:pPr marL="9525" indent="-9525" algn="ctr" defTabSz="685800">
              <a:lnSpc>
                <a:spcPct val="110000"/>
              </a:lnSpc>
              <a:buClrTx/>
              <a:defRPr/>
            </a:pPr>
            <a:r>
              <a:rPr lang="en-US"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
        <p:nvSpPr>
          <p:cNvPr id="13" name="Rectangle 6"/>
          <p:cNvSpPr>
            <a:spLocks noChangeArrowheads="1"/>
          </p:cNvSpPr>
          <p:nvPr>
            <p:custDataLst>
              <p:tags r:id="rId14"/>
            </p:custDataLst>
          </p:nvPr>
        </p:nvSpPr>
        <p:spPr bwMode="auto">
          <a:xfrm>
            <a:off x="2988469" y="3402925"/>
            <a:ext cx="700088" cy="301229"/>
          </a:xfrm>
          <a:prstGeom prst="rect">
            <a:avLst/>
          </a:prstGeom>
          <a:solidFill>
            <a:srgbClr val="00A1DE"/>
          </a:solidFill>
          <a:ln w="12700" algn="ctr">
            <a:solidFill>
              <a:schemeClr val="bg1"/>
            </a:solidFill>
            <a:miter lim="800000"/>
            <a:headEnd/>
            <a:tailEnd/>
          </a:ln>
        </p:spPr>
        <p:txBody>
          <a:bodyPr lIns="27000" tIns="27000" rIns="27000" bIns="27000" anchor="ctr"/>
          <a:lstStyle/>
          <a:p>
            <a:pPr marL="9525" indent="-9525" algn="ctr" defTabSz="685800">
              <a:lnSpc>
                <a:spcPct val="110000"/>
              </a:lnSpc>
              <a:buClrTx/>
              <a:defRPr/>
            </a:pPr>
            <a:r>
              <a:rPr lang="en-US"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
        <p:nvSpPr>
          <p:cNvPr id="14" name="Rectangle 7"/>
          <p:cNvSpPr>
            <a:spLocks noChangeArrowheads="1"/>
          </p:cNvSpPr>
          <p:nvPr>
            <p:custDataLst>
              <p:tags r:id="rId15"/>
            </p:custDataLst>
          </p:nvPr>
        </p:nvSpPr>
        <p:spPr bwMode="auto">
          <a:xfrm>
            <a:off x="2988469" y="2121812"/>
            <a:ext cx="700088" cy="300038"/>
          </a:xfrm>
          <a:prstGeom prst="rect">
            <a:avLst/>
          </a:prstGeom>
          <a:solidFill>
            <a:srgbClr val="00A1DE"/>
          </a:solidFill>
          <a:ln w="12700" algn="ctr">
            <a:solidFill>
              <a:schemeClr val="bg1"/>
            </a:solidFill>
            <a:miter lim="800000"/>
            <a:headEnd/>
            <a:tailEnd/>
          </a:ln>
        </p:spPr>
        <p:txBody>
          <a:bodyPr lIns="27000" tIns="27000" rIns="27000" bIns="27000" anchor="ctr"/>
          <a:lstStyle/>
          <a:p>
            <a:pPr marL="9525" indent="-9525" algn="ctr" defTabSz="685800">
              <a:lnSpc>
                <a:spcPct val="110000"/>
              </a:lnSpc>
              <a:buClrTx/>
              <a:defRPr/>
            </a:pPr>
            <a:r>
              <a:rPr lang="en-US"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
        <p:nvSpPr>
          <p:cNvPr id="15" name="Rectangle 8"/>
          <p:cNvSpPr>
            <a:spLocks noChangeArrowheads="1"/>
          </p:cNvSpPr>
          <p:nvPr>
            <p:custDataLst>
              <p:tags r:id="rId16"/>
            </p:custDataLst>
          </p:nvPr>
        </p:nvSpPr>
        <p:spPr bwMode="auto">
          <a:xfrm>
            <a:off x="4156472" y="2131337"/>
            <a:ext cx="698897" cy="300038"/>
          </a:xfrm>
          <a:prstGeom prst="rect">
            <a:avLst/>
          </a:prstGeom>
          <a:solidFill>
            <a:srgbClr val="00A1DE"/>
          </a:solidFill>
          <a:ln w="12700" algn="ctr">
            <a:solidFill>
              <a:schemeClr val="bg1"/>
            </a:solidFill>
            <a:miter lim="800000"/>
            <a:headEnd/>
            <a:tailEnd/>
          </a:ln>
        </p:spPr>
        <p:txBody>
          <a:bodyPr lIns="27000" tIns="27000" rIns="27000" bIns="27000" anchor="ctr"/>
          <a:lstStyle/>
          <a:p>
            <a:pPr marL="9525" indent="-9525" algn="ctr" defTabSz="685800">
              <a:lnSpc>
                <a:spcPct val="110000"/>
              </a:lnSpc>
              <a:buClrTx/>
              <a:defRPr/>
            </a:pPr>
            <a:r>
              <a:rPr lang="en-US"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
        <p:nvSpPr>
          <p:cNvPr id="16" name="Rectangle 9"/>
          <p:cNvSpPr>
            <a:spLocks noChangeArrowheads="1"/>
          </p:cNvSpPr>
          <p:nvPr>
            <p:custDataLst>
              <p:tags r:id="rId17"/>
            </p:custDataLst>
          </p:nvPr>
        </p:nvSpPr>
        <p:spPr bwMode="auto">
          <a:xfrm>
            <a:off x="4156472" y="2975491"/>
            <a:ext cx="698897" cy="301228"/>
          </a:xfrm>
          <a:prstGeom prst="rect">
            <a:avLst/>
          </a:prstGeom>
          <a:solidFill>
            <a:srgbClr val="00A1DE"/>
          </a:solidFill>
          <a:ln w="12700" algn="ctr">
            <a:solidFill>
              <a:schemeClr val="bg1"/>
            </a:solidFill>
            <a:miter lim="800000"/>
            <a:headEnd/>
            <a:tailEnd/>
          </a:ln>
        </p:spPr>
        <p:txBody>
          <a:bodyPr lIns="27000" tIns="27000" rIns="27000" bIns="27000" anchor="ctr"/>
          <a:lstStyle/>
          <a:p>
            <a:pPr marL="9525" indent="-9525" algn="ctr" defTabSz="685800">
              <a:lnSpc>
                <a:spcPct val="110000"/>
              </a:lnSpc>
              <a:buClrTx/>
              <a:defRPr/>
            </a:pPr>
            <a:r>
              <a:rPr lang="en-US"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
        <p:nvSpPr>
          <p:cNvPr id="17" name="Rectangle 10"/>
          <p:cNvSpPr>
            <a:spLocks noChangeArrowheads="1"/>
          </p:cNvSpPr>
          <p:nvPr>
            <p:custDataLst>
              <p:tags r:id="rId18"/>
            </p:custDataLst>
          </p:nvPr>
        </p:nvSpPr>
        <p:spPr bwMode="auto">
          <a:xfrm>
            <a:off x="4156473" y="2554009"/>
            <a:ext cx="697706" cy="300038"/>
          </a:xfrm>
          <a:prstGeom prst="rect">
            <a:avLst/>
          </a:prstGeom>
          <a:solidFill>
            <a:srgbClr val="00A1DE"/>
          </a:solidFill>
          <a:ln w="12700" algn="ctr">
            <a:solidFill>
              <a:schemeClr val="bg1"/>
            </a:solidFill>
            <a:miter lim="800000"/>
            <a:headEnd/>
            <a:tailEnd/>
          </a:ln>
        </p:spPr>
        <p:txBody>
          <a:bodyPr lIns="27000" tIns="27000" rIns="27000" bIns="27000" anchor="ctr"/>
          <a:lstStyle/>
          <a:p>
            <a:pPr marL="9525" indent="-9525" algn="ctr" defTabSz="685800">
              <a:lnSpc>
                <a:spcPct val="110000"/>
              </a:lnSpc>
              <a:buClrTx/>
              <a:defRPr/>
            </a:pPr>
            <a:r>
              <a:rPr lang="en-US"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
        <p:nvSpPr>
          <p:cNvPr id="18" name="Rectangle 11"/>
          <p:cNvSpPr>
            <a:spLocks noChangeArrowheads="1"/>
          </p:cNvSpPr>
          <p:nvPr>
            <p:custDataLst>
              <p:tags r:id="rId19"/>
            </p:custDataLst>
          </p:nvPr>
        </p:nvSpPr>
        <p:spPr bwMode="auto">
          <a:xfrm>
            <a:off x="4156473" y="1706285"/>
            <a:ext cx="697706" cy="301228"/>
          </a:xfrm>
          <a:prstGeom prst="rect">
            <a:avLst/>
          </a:prstGeom>
          <a:solidFill>
            <a:srgbClr val="00A1DE"/>
          </a:solidFill>
          <a:ln w="12700" algn="ctr">
            <a:solidFill>
              <a:schemeClr val="bg1"/>
            </a:solidFill>
            <a:miter lim="800000"/>
            <a:headEnd/>
            <a:tailEnd/>
          </a:ln>
        </p:spPr>
        <p:txBody>
          <a:bodyPr lIns="27000" tIns="27000" rIns="27000" bIns="27000" anchor="ctr"/>
          <a:lstStyle/>
          <a:p>
            <a:pPr marL="9525" indent="-9525" algn="ctr" defTabSz="685800">
              <a:lnSpc>
                <a:spcPct val="110000"/>
              </a:lnSpc>
              <a:buClrTx/>
              <a:defRPr/>
            </a:pPr>
            <a:r>
              <a:rPr lang="en-US" sz="1050" kern="1200" dirty="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
        <p:nvSpPr>
          <p:cNvPr id="19" name="Rectangle 12"/>
          <p:cNvSpPr>
            <a:spLocks noChangeArrowheads="1"/>
          </p:cNvSpPr>
          <p:nvPr>
            <p:custDataLst>
              <p:tags r:id="rId20"/>
            </p:custDataLst>
          </p:nvPr>
        </p:nvSpPr>
        <p:spPr bwMode="auto">
          <a:xfrm>
            <a:off x="4156473" y="3823216"/>
            <a:ext cx="697706" cy="300038"/>
          </a:xfrm>
          <a:prstGeom prst="rect">
            <a:avLst/>
          </a:prstGeom>
          <a:solidFill>
            <a:srgbClr val="00A1DE"/>
          </a:solidFill>
          <a:ln w="12700" algn="ctr">
            <a:solidFill>
              <a:schemeClr val="bg1"/>
            </a:solidFill>
            <a:miter lim="800000"/>
            <a:headEnd/>
            <a:tailEnd/>
          </a:ln>
        </p:spPr>
        <p:txBody>
          <a:bodyPr lIns="27000" tIns="27000" rIns="27000" bIns="27000" anchor="ctr"/>
          <a:lstStyle/>
          <a:p>
            <a:pPr marL="9525" indent="-9525" algn="ctr" defTabSz="685800">
              <a:lnSpc>
                <a:spcPct val="110000"/>
              </a:lnSpc>
              <a:buClrTx/>
              <a:defRPr/>
            </a:pPr>
            <a:r>
              <a:rPr lang="en-US"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
        <p:nvSpPr>
          <p:cNvPr id="20" name="Rectangle 13"/>
          <p:cNvSpPr>
            <a:spLocks noChangeArrowheads="1"/>
          </p:cNvSpPr>
          <p:nvPr>
            <p:custDataLst>
              <p:tags r:id="rId21"/>
            </p:custDataLst>
          </p:nvPr>
        </p:nvSpPr>
        <p:spPr bwMode="auto">
          <a:xfrm>
            <a:off x="4156473" y="3399354"/>
            <a:ext cx="697706" cy="301228"/>
          </a:xfrm>
          <a:prstGeom prst="rect">
            <a:avLst/>
          </a:prstGeom>
          <a:solidFill>
            <a:srgbClr val="00A1DE"/>
          </a:solidFill>
          <a:ln w="12700" algn="ctr">
            <a:solidFill>
              <a:schemeClr val="bg1"/>
            </a:solidFill>
            <a:miter lim="800000"/>
            <a:headEnd/>
            <a:tailEnd/>
          </a:ln>
        </p:spPr>
        <p:txBody>
          <a:bodyPr lIns="27000" tIns="27000" rIns="27000" bIns="27000" anchor="ctr"/>
          <a:lstStyle/>
          <a:p>
            <a:pPr marL="9525" indent="-9525" algn="ctr" defTabSz="685800">
              <a:lnSpc>
                <a:spcPct val="110000"/>
              </a:lnSpc>
              <a:buClrTx/>
              <a:defRPr/>
            </a:pPr>
            <a:r>
              <a:rPr lang="en-US"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Tree>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2593" name="Title 1"/>
          <p:cNvSpPr>
            <a:spLocks noGrp="1"/>
          </p:cNvSpPr>
          <p:nvPr>
            <p:ph type="title"/>
          </p:nvPr>
        </p:nvSpPr>
        <p:spPr/>
        <p:txBody>
          <a:bodyPr/>
          <a:lstStyle/>
          <a:p>
            <a:r>
              <a:rPr lang="en-US" dirty="0">
                <a:solidFill>
                  <a:srgbClr val="81BC00"/>
                </a:solidFill>
              </a:rPr>
              <a:t>Driver trees </a:t>
            </a:r>
            <a:br>
              <a:rPr lang="en-US" dirty="0">
                <a:solidFill>
                  <a:srgbClr val="575757"/>
                </a:solidFill>
              </a:rPr>
            </a:br>
            <a:r>
              <a:rPr lang="en-US" dirty="0">
                <a:solidFill>
                  <a:srgbClr val="575757"/>
                </a:solidFill>
              </a:rPr>
              <a:t>Arrows showing trend</a:t>
            </a:r>
          </a:p>
        </p:txBody>
      </p:sp>
      <p:cxnSp>
        <p:nvCxnSpPr>
          <p:cNvPr id="11" name="AutoShape 10"/>
          <p:cNvCxnSpPr>
            <a:cxnSpLocks noChangeShapeType="1"/>
            <a:stCxn id="7" idx="1"/>
            <a:endCxn id="5" idx="3"/>
          </p:cNvCxnSpPr>
          <p:nvPr/>
        </p:nvCxnSpPr>
        <p:spPr bwMode="auto">
          <a:xfrm rot="10800000" flipV="1">
            <a:off x="4018887" y="2050971"/>
            <a:ext cx="521051" cy="357188"/>
          </a:xfrm>
          <a:prstGeom prst="bentConnector3">
            <a:avLst>
              <a:gd name="adj1" fmla="val 50000"/>
            </a:avLst>
          </a:prstGeom>
          <a:noFill/>
          <a:ln w="12700">
            <a:solidFill>
              <a:srgbClr val="B4B4B4"/>
            </a:solidFill>
            <a:miter lim="800000"/>
            <a:headEnd/>
            <a:tailEnd/>
          </a:ln>
        </p:spPr>
      </p:cxnSp>
      <p:cxnSp>
        <p:nvCxnSpPr>
          <p:cNvPr id="12" name="AutoShape 11"/>
          <p:cNvCxnSpPr>
            <a:cxnSpLocks noChangeShapeType="1"/>
            <a:stCxn id="8" idx="1"/>
            <a:endCxn id="5" idx="3"/>
          </p:cNvCxnSpPr>
          <p:nvPr/>
        </p:nvCxnSpPr>
        <p:spPr bwMode="auto">
          <a:xfrm rot="10800000">
            <a:off x="4018887" y="2408160"/>
            <a:ext cx="521051" cy="435769"/>
          </a:xfrm>
          <a:prstGeom prst="bentConnector3">
            <a:avLst>
              <a:gd name="adj1" fmla="val 50000"/>
            </a:avLst>
          </a:prstGeom>
          <a:noFill/>
          <a:ln w="12700">
            <a:solidFill>
              <a:srgbClr val="B4B4B4"/>
            </a:solidFill>
            <a:miter lim="800000"/>
            <a:headEnd/>
            <a:tailEnd/>
          </a:ln>
        </p:spPr>
      </p:cxnSp>
      <p:cxnSp>
        <p:nvCxnSpPr>
          <p:cNvPr id="13" name="AutoShape 12"/>
          <p:cNvCxnSpPr>
            <a:cxnSpLocks noChangeShapeType="1"/>
            <a:stCxn id="9" idx="1"/>
            <a:endCxn id="6" idx="3"/>
          </p:cNvCxnSpPr>
          <p:nvPr/>
        </p:nvCxnSpPr>
        <p:spPr bwMode="auto">
          <a:xfrm rot="10800000" flipV="1">
            <a:off x="4018887" y="3584496"/>
            <a:ext cx="521051" cy="423863"/>
          </a:xfrm>
          <a:prstGeom prst="bentConnector3">
            <a:avLst>
              <a:gd name="adj1" fmla="val 50000"/>
            </a:avLst>
          </a:prstGeom>
          <a:noFill/>
          <a:ln w="12700">
            <a:solidFill>
              <a:srgbClr val="B4B4B4"/>
            </a:solidFill>
            <a:miter lim="800000"/>
            <a:headEnd/>
            <a:tailEnd/>
          </a:ln>
        </p:spPr>
      </p:cxnSp>
      <p:cxnSp>
        <p:nvCxnSpPr>
          <p:cNvPr id="14" name="AutoShape 13"/>
          <p:cNvCxnSpPr>
            <a:cxnSpLocks noChangeShapeType="1"/>
            <a:stCxn id="10" idx="1"/>
            <a:endCxn id="6" idx="3"/>
          </p:cNvCxnSpPr>
          <p:nvPr/>
        </p:nvCxnSpPr>
        <p:spPr bwMode="auto">
          <a:xfrm rot="10800000">
            <a:off x="4018887" y="4008360"/>
            <a:ext cx="521051" cy="332185"/>
          </a:xfrm>
          <a:prstGeom prst="bentConnector3">
            <a:avLst>
              <a:gd name="adj1" fmla="val 50000"/>
            </a:avLst>
          </a:prstGeom>
          <a:noFill/>
          <a:ln w="12700">
            <a:solidFill>
              <a:srgbClr val="B4B4B4"/>
            </a:solidFill>
            <a:miter lim="800000"/>
            <a:headEnd/>
            <a:tailEnd/>
          </a:ln>
        </p:spPr>
      </p:cxnSp>
      <p:cxnSp>
        <p:nvCxnSpPr>
          <p:cNvPr id="15" name="AutoShape 14"/>
          <p:cNvCxnSpPr>
            <a:cxnSpLocks noChangeShapeType="1"/>
            <a:stCxn id="5" idx="1"/>
            <a:endCxn id="4" idx="3"/>
          </p:cNvCxnSpPr>
          <p:nvPr/>
        </p:nvCxnSpPr>
        <p:spPr bwMode="auto">
          <a:xfrm rot="10800000" flipV="1">
            <a:off x="2491979" y="2408158"/>
            <a:ext cx="470823" cy="787004"/>
          </a:xfrm>
          <a:prstGeom prst="bentConnector3">
            <a:avLst>
              <a:gd name="adj1" fmla="val 50000"/>
            </a:avLst>
          </a:prstGeom>
          <a:noFill/>
          <a:ln w="12700">
            <a:solidFill>
              <a:srgbClr val="B4B4B4"/>
            </a:solidFill>
            <a:miter lim="800000"/>
            <a:headEnd/>
            <a:tailEnd/>
          </a:ln>
        </p:spPr>
      </p:cxnSp>
      <p:cxnSp>
        <p:nvCxnSpPr>
          <p:cNvPr id="16" name="AutoShape 15"/>
          <p:cNvCxnSpPr>
            <a:cxnSpLocks noChangeShapeType="1"/>
            <a:stCxn id="6" idx="1"/>
            <a:endCxn id="4" idx="3"/>
          </p:cNvCxnSpPr>
          <p:nvPr/>
        </p:nvCxnSpPr>
        <p:spPr bwMode="auto">
          <a:xfrm rot="10800000">
            <a:off x="2491979" y="3195162"/>
            <a:ext cx="470823" cy="813197"/>
          </a:xfrm>
          <a:prstGeom prst="bentConnector3">
            <a:avLst>
              <a:gd name="adj1" fmla="val 50000"/>
            </a:avLst>
          </a:prstGeom>
          <a:noFill/>
          <a:ln w="12700">
            <a:solidFill>
              <a:srgbClr val="B4B4B4"/>
            </a:solidFill>
            <a:miter lim="800000"/>
            <a:headEnd/>
            <a:tailEnd/>
          </a:ln>
        </p:spPr>
      </p:cxnSp>
      <p:cxnSp>
        <p:nvCxnSpPr>
          <p:cNvPr id="20" name="AutoShape 19"/>
          <p:cNvCxnSpPr>
            <a:cxnSpLocks noChangeShapeType="1"/>
            <a:stCxn id="17" idx="1"/>
            <a:endCxn id="7" idx="3"/>
          </p:cNvCxnSpPr>
          <p:nvPr/>
        </p:nvCxnSpPr>
        <p:spPr bwMode="auto">
          <a:xfrm rot="10800000" flipV="1">
            <a:off x="5594832" y="1477090"/>
            <a:ext cx="504742" cy="573881"/>
          </a:xfrm>
          <a:prstGeom prst="bentConnector3">
            <a:avLst>
              <a:gd name="adj1" fmla="val 50000"/>
            </a:avLst>
          </a:prstGeom>
          <a:noFill/>
          <a:ln w="12700">
            <a:solidFill>
              <a:srgbClr val="B4B4B4"/>
            </a:solidFill>
            <a:miter lim="800000"/>
            <a:headEnd/>
            <a:tailEnd/>
          </a:ln>
        </p:spPr>
      </p:cxnSp>
      <p:cxnSp>
        <p:nvCxnSpPr>
          <p:cNvPr id="21" name="AutoShape 20"/>
          <p:cNvCxnSpPr>
            <a:cxnSpLocks noChangeShapeType="1"/>
            <a:stCxn id="18" idx="1"/>
            <a:endCxn id="7" idx="3"/>
          </p:cNvCxnSpPr>
          <p:nvPr/>
        </p:nvCxnSpPr>
        <p:spPr bwMode="auto">
          <a:xfrm rot="10800000" flipV="1">
            <a:off x="5594832" y="2048590"/>
            <a:ext cx="504742" cy="2381"/>
          </a:xfrm>
          <a:prstGeom prst="bentConnector3">
            <a:avLst>
              <a:gd name="adj1" fmla="val 50000"/>
            </a:avLst>
          </a:prstGeom>
          <a:noFill/>
          <a:ln w="12700">
            <a:solidFill>
              <a:srgbClr val="B4B4B4"/>
            </a:solidFill>
            <a:miter lim="800000"/>
            <a:headEnd/>
            <a:tailEnd/>
          </a:ln>
        </p:spPr>
      </p:cxnSp>
      <p:cxnSp>
        <p:nvCxnSpPr>
          <p:cNvPr id="22" name="AutoShape 21"/>
          <p:cNvCxnSpPr>
            <a:cxnSpLocks noChangeShapeType="1"/>
            <a:stCxn id="19" idx="1"/>
            <a:endCxn id="7" idx="3"/>
          </p:cNvCxnSpPr>
          <p:nvPr/>
        </p:nvCxnSpPr>
        <p:spPr bwMode="auto">
          <a:xfrm rot="10800000">
            <a:off x="5594832" y="2050972"/>
            <a:ext cx="504742" cy="569119"/>
          </a:xfrm>
          <a:prstGeom prst="bentConnector3">
            <a:avLst>
              <a:gd name="adj1" fmla="val 50000"/>
            </a:avLst>
          </a:prstGeom>
          <a:noFill/>
          <a:ln w="12700">
            <a:solidFill>
              <a:srgbClr val="B4B4B4"/>
            </a:solidFill>
            <a:miter lim="800000"/>
            <a:headEnd/>
            <a:tailEnd/>
          </a:ln>
        </p:spPr>
      </p:cxnSp>
      <p:sp>
        <p:nvSpPr>
          <p:cNvPr id="622621" name="Text Box 29"/>
          <p:cNvSpPr txBox="1">
            <a:spLocks noChangeArrowheads="1"/>
          </p:cNvSpPr>
          <p:nvPr/>
        </p:nvSpPr>
        <p:spPr bwMode="auto">
          <a:xfrm>
            <a:off x="2504589" y="2986802"/>
            <a:ext cx="205184" cy="126958"/>
          </a:xfrm>
          <a:prstGeom prst="rect">
            <a:avLst/>
          </a:prstGeom>
          <a:noFill/>
          <a:ln w="9525" algn="ctr">
            <a:noFill/>
            <a:miter lim="800000"/>
            <a:headEnd type="none" w="sm" len="sm"/>
            <a:tailEnd type="none" w="med" len="lg"/>
          </a:ln>
        </p:spPr>
        <p:txBody>
          <a:bodyPr wrap="none" lIns="0" tIns="0" rIns="0" bIns="0">
            <a:spAutoFit/>
          </a:bodyPr>
          <a:lstStyle/>
          <a:p>
            <a:pPr algn="ctr" defTabSz="685800">
              <a:buClrTx/>
            </a:pPr>
            <a:r>
              <a:rPr lang="en-US" altLang="ja-JP" sz="825" kern="1200" dirty="0">
                <a:solidFill>
                  <a:srgbClr val="313131"/>
                </a:solidFill>
                <a:ea typeface="ＭＳ Ｐゴシック" charset="-128"/>
                <a:cs typeface="+mn-cs"/>
              </a:rPr>
              <a:t>Text</a:t>
            </a:r>
          </a:p>
        </p:txBody>
      </p:sp>
      <p:sp>
        <p:nvSpPr>
          <p:cNvPr id="622622" name="Text Box 30"/>
          <p:cNvSpPr txBox="1">
            <a:spLocks noChangeArrowheads="1"/>
          </p:cNvSpPr>
          <p:nvPr/>
        </p:nvSpPr>
        <p:spPr bwMode="auto">
          <a:xfrm>
            <a:off x="4023725" y="2199799"/>
            <a:ext cx="245981" cy="126958"/>
          </a:xfrm>
          <a:prstGeom prst="rect">
            <a:avLst/>
          </a:prstGeom>
          <a:noFill/>
          <a:ln w="9525" algn="ctr">
            <a:noFill/>
            <a:miter lim="800000"/>
            <a:headEnd type="none" w="sm" len="sm"/>
            <a:tailEnd type="none" w="med" len="lg"/>
          </a:ln>
        </p:spPr>
        <p:txBody>
          <a:bodyPr wrap="square" lIns="0" tIns="0" rIns="0" bIns="0">
            <a:spAutoFit/>
          </a:bodyPr>
          <a:lstStyle/>
          <a:p>
            <a:pPr algn="ctr" defTabSz="685800">
              <a:buClrTx/>
            </a:pPr>
            <a:r>
              <a:rPr lang="en-US" altLang="ja-JP" sz="825" kern="1200" dirty="0">
                <a:solidFill>
                  <a:srgbClr val="313131"/>
                </a:solidFill>
                <a:ea typeface="ＭＳ Ｐゴシック" charset="-128"/>
                <a:cs typeface="+mn-cs"/>
              </a:rPr>
              <a:t>Text</a:t>
            </a:r>
          </a:p>
        </p:txBody>
      </p:sp>
      <p:sp>
        <p:nvSpPr>
          <p:cNvPr id="622623" name="Text Box 31"/>
          <p:cNvSpPr txBox="1">
            <a:spLocks noChangeArrowheads="1"/>
          </p:cNvSpPr>
          <p:nvPr/>
        </p:nvSpPr>
        <p:spPr bwMode="auto">
          <a:xfrm>
            <a:off x="4044123" y="3799999"/>
            <a:ext cx="205184" cy="126958"/>
          </a:xfrm>
          <a:prstGeom prst="rect">
            <a:avLst/>
          </a:prstGeom>
          <a:noFill/>
          <a:ln w="9525" algn="ctr">
            <a:noFill/>
            <a:miter lim="800000"/>
            <a:headEnd type="none" w="sm" len="sm"/>
            <a:tailEnd type="none" w="med" len="lg"/>
          </a:ln>
        </p:spPr>
        <p:txBody>
          <a:bodyPr wrap="none" lIns="0" tIns="0" rIns="0" bIns="0">
            <a:spAutoFit/>
          </a:bodyPr>
          <a:lstStyle/>
          <a:p>
            <a:pPr algn="ctr" defTabSz="685800">
              <a:buClrTx/>
            </a:pPr>
            <a:r>
              <a:rPr lang="en-US" altLang="ja-JP" sz="825" kern="1200" dirty="0">
                <a:solidFill>
                  <a:srgbClr val="313131"/>
                </a:solidFill>
                <a:ea typeface="ＭＳ Ｐゴシック" charset="-128"/>
                <a:cs typeface="+mn-cs"/>
              </a:rPr>
              <a:t>Text</a:t>
            </a:r>
          </a:p>
        </p:txBody>
      </p:sp>
      <p:sp>
        <p:nvSpPr>
          <p:cNvPr id="622624" name="Text Box 32"/>
          <p:cNvSpPr txBox="1">
            <a:spLocks noChangeArrowheads="1"/>
          </p:cNvSpPr>
          <p:nvPr/>
        </p:nvSpPr>
        <p:spPr bwMode="auto">
          <a:xfrm>
            <a:off x="5613259" y="1842611"/>
            <a:ext cx="205184" cy="126958"/>
          </a:xfrm>
          <a:prstGeom prst="rect">
            <a:avLst/>
          </a:prstGeom>
          <a:noFill/>
          <a:ln w="9525" algn="ctr">
            <a:noFill/>
            <a:miter lim="800000"/>
            <a:headEnd type="none" w="sm" len="sm"/>
            <a:tailEnd type="none" w="med" len="lg"/>
          </a:ln>
        </p:spPr>
        <p:txBody>
          <a:bodyPr wrap="none" lIns="0" tIns="0" rIns="0" bIns="0">
            <a:spAutoFit/>
          </a:bodyPr>
          <a:lstStyle/>
          <a:p>
            <a:pPr algn="ctr" defTabSz="685800">
              <a:buClrTx/>
            </a:pPr>
            <a:r>
              <a:rPr lang="en-US" altLang="ja-JP" sz="825" kern="1200" dirty="0">
                <a:solidFill>
                  <a:srgbClr val="313131"/>
                </a:solidFill>
                <a:ea typeface="ＭＳ Ｐゴシック" charset="-128"/>
                <a:cs typeface="+mn-cs"/>
              </a:rPr>
              <a:t>Text</a:t>
            </a:r>
          </a:p>
        </p:txBody>
      </p:sp>
      <p:sp>
        <p:nvSpPr>
          <p:cNvPr id="622625" name="Text Box 33"/>
          <p:cNvSpPr txBox="1">
            <a:spLocks noChangeArrowheads="1"/>
          </p:cNvSpPr>
          <p:nvPr/>
        </p:nvSpPr>
        <p:spPr bwMode="auto">
          <a:xfrm>
            <a:off x="5613259" y="3376136"/>
            <a:ext cx="205184" cy="126958"/>
          </a:xfrm>
          <a:prstGeom prst="rect">
            <a:avLst/>
          </a:prstGeom>
          <a:noFill/>
          <a:ln w="9525" algn="ctr">
            <a:noFill/>
            <a:miter lim="800000"/>
            <a:headEnd type="none" w="sm" len="sm"/>
            <a:tailEnd type="none" w="med" len="lg"/>
          </a:ln>
        </p:spPr>
        <p:txBody>
          <a:bodyPr wrap="none" lIns="0" tIns="0" rIns="0" bIns="0">
            <a:spAutoFit/>
          </a:bodyPr>
          <a:lstStyle/>
          <a:p>
            <a:pPr algn="ctr" defTabSz="685800">
              <a:buClrTx/>
            </a:pPr>
            <a:r>
              <a:rPr lang="en-US" altLang="ja-JP" sz="825" kern="1200" dirty="0">
                <a:solidFill>
                  <a:srgbClr val="313131"/>
                </a:solidFill>
                <a:ea typeface="ＭＳ Ｐゴシック" charset="-128"/>
                <a:cs typeface="+mn-cs"/>
              </a:rPr>
              <a:t>Text</a:t>
            </a:r>
          </a:p>
        </p:txBody>
      </p:sp>
      <p:sp>
        <p:nvSpPr>
          <p:cNvPr id="622626" name="Text Box 34"/>
          <p:cNvSpPr txBox="1">
            <a:spLocks noChangeArrowheads="1"/>
          </p:cNvSpPr>
          <p:nvPr/>
        </p:nvSpPr>
        <p:spPr bwMode="auto">
          <a:xfrm>
            <a:off x="5613259" y="4132183"/>
            <a:ext cx="205184" cy="126958"/>
          </a:xfrm>
          <a:prstGeom prst="rect">
            <a:avLst/>
          </a:prstGeom>
          <a:noFill/>
          <a:ln w="9525" algn="ctr">
            <a:noFill/>
            <a:miter lim="800000"/>
            <a:headEnd type="none" w="sm" len="sm"/>
            <a:tailEnd type="none" w="med" len="lg"/>
          </a:ln>
        </p:spPr>
        <p:txBody>
          <a:bodyPr wrap="none" lIns="0" tIns="0" rIns="0" bIns="0">
            <a:spAutoFit/>
          </a:bodyPr>
          <a:lstStyle/>
          <a:p>
            <a:pPr algn="ctr" defTabSz="685800">
              <a:buClrTx/>
            </a:pPr>
            <a:r>
              <a:rPr lang="en-US" altLang="ja-JP" sz="825" kern="1200" dirty="0">
                <a:solidFill>
                  <a:srgbClr val="313131"/>
                </a:solidFill>
                <a:ea typeface="ＭＳ Ｐゴシック" charset="-128"/>
                <a:cs typeface="+mn-cs"/>
              </a:rPr>
              <a:t>Text</a:t>
            </a:r>
          </a:p>
        </p:txBody>
      </p:sp>
      <p:sp>
        <p:nvSpPr>
          <p:cNvPr id="622628" name="Text Box 36"/>
          <p:cNvSpPr txBox="1">
            <a:spLocks noChangeArrowheads="1"/>
          </p:cNvSpPr>
          <p:nvPr/>
        </p:nvSpPr>
        <p:spPr bwMode="auto">
          <a:xfrm>
            <a:off x="5613259" y="2635567"/>
            <a:ext cx="205184" cy="126958"/>
          </a:xfrm>
          <a:prstGeom prst="rect">
            <a:avLst/>
          </a:prstGeom>
          <a:noFill/>
          <a:ln w="9525" algn="ctr">
            <a:noFill/>
            <a:miter lim="800000"/>
            <a:headEnd type="none" w="sm" len="sm"/>
            <a:tailEnd type="none" w="med" len="lg"/>
          </a:ln>
        </p:spPr>
        <p:txBody>
          <a:bodyPr wrap="none" lIns="0" tIns="0" rIns="0" bIns="0">
            <a:spAutoFit/>
          </a:bodyPr>
          <a:lstStyle/>
          <a:p>
            <a:pPr algn="ctr" defTabSz="685800">
              <a:buClrTx/>
            </a:pPr>
            <a:r>
              <a:rPr lang="en-US" altLang="ja-JP" sz="825" kern="1200" dirty="0">
                <a:solidFill>
                  <a:srgbClr val="313131"/>
                </a:solidFill>
                <a:ea typeface="ＭＳ Ｐゴシック" charset="-128"/>
                <a:cs typeface="+mn-cs"/>
              </a:rPr>
              <a:t>Text</a:t>
            </a:r>
          </a:p>
        </p:txBody>
      </p:sp>
      <p:sp>
        <p:nvSpPr>
          <p:cNvPr id="622630" name="Text Box 38"/>
          <p:cNvSpPr txBox="1">
            <a:spLocks noChangeArrowheads="1"/>
          </p:cNvSpPr>
          <p:nvPr/>
        </p:nvSpPr>
        <p:spPr bwMode="auto">
          <a:xfrm>
            <a:off x="7186454" y="1268730"/>
            <a:ext cx="205184" cy="126958"/>
          </a:xfrm>
          <a:prstGeom prst="rect">
            <a:avLst/>
          </a:prstGeom>
          <a:noFill/>
          <a:ln w="9525" algn="ctr">
            <a:noFill/>
            <a:miter lim="800000"/>
            <a:headEnd type="none" w="sm" len="sm"/>
            <a:tailEnd type="none" w="med" len="lg"/>
          </a:ln>
        </p:spPr>
        <p:txBody>
          <a:bodyPr wrap="none" lIns="0" tIns="0" rIns="0" bIns="0">
            <a:spAutoFit/>
          </a:bodyPr>
          <a:lstStyle/>
          <a:p>
            <a:pPr algn="ctr" defTabSz="685800">
              <a:buClrTx/>
            </a:pPr>
            <a:r>
              <a:rPr lang="en-US" altLang="ja-JP" sz="825" kern="1200" dirty="0">
                <a:solidFill>
                  <a:srgbClr val="313131"/>
                </a:solidFill>
                <a:ea typeface="ＭＳ Ｐゴシック" charset="-128"/>
                <a:cs typeface="+mn-cs"/>
              </a:rPr>
              <a:t>Text</a:t>
            </a:r>
          </a:p>
        </p:txBody>
      </p:sp>
      <p:sp>
        <p:nvSpPr>
          <p:cNvPr id="622631" name="Text Box 39"/>
          <p:cNvSpPr txBox="1">
            <a:spLocks noChangeArrowheads="1"/>
          </p:cNvSpPr>
          <p:nvPr/>
        </p:nvSpPr>
        <p:spPr bwMode="auto">
          <a:xfrm>
            <a:off x="7186454" y="1840230"/>
            <a:ext cx="205184" cy="126958"/>
          </a:xfrm>
          <a:prstGeom prst="rect">
            <a:avLst/>
          </a:prstGeom>
          <a:noFill/>
          <a:ln w="9525" algn="ctr">
            <a:noFill/>
            <a:miter lim="800000"/>
            <a:headEnd type="none" w="sm" len="sm"/>
            <a:tailEnd type="none" w="med" len="lg"/>
          </a:ln>
        </p:spPr>
        <p:txBody>
          <a:bodyPr wrap="none" lIns="0" tIns="0" rIns="0" bIns="0">
            <a:spAutoFit/>
          </a:bodyPr>
          <a:lstStyle/>
          <a:p>
            <a:pPr algn="ctr" defTabSz="685800">
              <a:buClrTx/>
            </a:pPr>
            <a:r>
              <a:rPr lang="en-US" altLang="ja-JP" sz="825" kern="1200" dirty="0">
                <a:solidFill>
                  <a:srgbClr val="313131"/>
                </a:solidFill>
                <a:ea typeface="ＭＳ Ｐゴシック" charset="-128"/>
                <a:cs typeface="+mn-cs"/>
              </a:rPr>
              <a:t>Text</a:t>
            </a:r>
          </a:p>
        </p:txBody>
      </p:sp>
      <p:sp>
        <p:nvSpPr>
          <p:cNvPr id="622632" name="Text Box 40"/>
          <p:cNvSpPr txBox="1">
            <a:spLocks noChangeArrowheads="1"/>
          </p:cNvSpPr>
          <p:nvPr/>
        </p:nvSpPr>
        <p:spPr bwMode="auto">
          <a:xfrm>
            <a:off x="7186454" y="2411730"/>
            <a:ext cx="205184" cy="126958"/>
          </a:xfrm>
          <a:prstGeom prst="rect">
            <a:avLst/>
          </a:prstGeom>
          <a:noFill/>
          <a:ln w="9525" algn="ctr">
            <a:noFill/>
            <a:miter lim="800000"/>
            <a:headEnd type="none" w="sm" len="sm"/>
            <a:tailEnd type="none" w="med" len="lg"/>
          </a:ln>
        </p:spPr>
        <p:txBody>
          <a:bodyPr wrap="none" lIns="0" tIns="0" rIns="0" bIns="0">
            <a:spAutoFit/>
          </a:bodyPr>
          <a:lstStyle/>
          <a:p>
            <a:pPr algn="ctr" defTabSz="685800">
              <a:buClrTx/>
            </a:pPr>
            <a:r>
              <a:rPr lang="en-US" altLang="ja-JP" sz="825" kern="1200" dirty="0">
                <a:solidFill>
                  <a:srgbClr val="313131"/>
                </a:solidFill>
                <a:ea typeface="ＭＳ Ｐゴシック" charset="-128"/>
                <a:cs typeface="+mn-cs"/>
              </a:rPr>
              <a:t>Text</a:t>
            </a:r>
          </a:p>
        </p:txBody>
      </p:sp>
      <p:sp>
        <p:nvSpPr>
          <p:cNvPr id="4" name="Rectangle 3"/>
          <p:cNvSpPr>
            <a:spLocks noChangeArrowheads="1"/>
          </p:cNvSpPr>
          <p:nvPr/>
        </p:nvSpPr>
        <p:spPr bwMode="auto">
          <a:xfrm>
            <a:off x="1438275" y="2986803"/>
            <a:ext cx="1053704" cy="416719"/>
          </a:xfrm>
          <a:prstGeom prst="rect">
            <a:avLst/>
          </a:prstGeom>
          <a:solidFill>
            <a:srgbClr val="00A1DE"/>
          </a:solidFill>
          <a:ln w="12700" algn="ctr">
            <a:solidFill>
              <a:schemeClr val="bg1"/>
            </a:solidFill>
            <a:miter lim="800000"/>
            <a:headEnd/>
            <a:tailEnd/>
          </a:ln>
        </p:spPr>
        <p:txBody>
          <a:bodyPr wrap="square" lIns="27000" tIns="27000" rIns="27000" bIns="27000" anchor="ctr">
            <a:noAutofit/>
          </a:bodyPr>
          <a:lstStyle/>
          <a:p>
            <a:pPr algn="ctr" defTabSz="685800">
              <a:buClrTx/>
              <a:defRPr/>
            </a:pPr>
            <a:r>
              <a:rPr lang="en-US" altLang="ja-JP" sz="1050" kern="1200" dirty="0">
                <a:solidFill>
                  <a:prstClr val="white"/>
                </a:solidFill>
                <a:ea typeface="ＭＳ Ｐゴシック" pitchFamily="50" charset="-128"/>
                <a:cs typeface="+mn-cs"/>
              </a:rPr>
              <a:t>Text</a:t>
            </a:r>
          </a:p>
        </p:txBody>
      </p:sp>
      <p:sp>
        <p:nvSpPr>
          <p:cNvPr id="5" name="Rectangle 4"/>
          <p:cNvSpPr>
            <a:spLocks noChangeArrowheads="1"/>
          </p:cNvSpPr>
          <p:nvPr/>
        </p:nvSpPr>
        <p:spPr bwMode="auto">
          <a:xfrm>
            <a:off x="2962802" y="2199799"/>
            <a:ext cx="1056084" cy="416719"/>
          </a:xfrm>
          <a:prstGeom prst="rect">
            <a:avLst/>
          </a:prstGeom>
          <a:solidFill>
            <a:srgbClr val="00A1DE"/>
          </a:solidFill>
          <a:ln w="12700" algn="ctr">
            <a:solidFill>
              <a:schemeClr val="bg1"/>
            </a:solidFill>
            <a:miter lim="800000"/>
            <a:headEnd/>
            <a:tailEnd/>
          </a:ln>
        </p:spPr>
        <p:txBody>
          <a:bodyPr wrap="square" lIns="27000" tIns="27000" rIns="27000" bIns="27000" anchor="ctr">
            <a:noAutofit/>
          </a:bodyPr>
          <a:lstStyle/>
          <a:p>
            <a:pPr algn="ctr" defTabSz="685800">
              <a:buClrTx/>
              <a:defRPr/>
            </a:pPr>
            <a:r>
              <a:rPr lang="en-US" altLang="ja-JP" sz="1050" kern="1200" dirty="0">
                <a:solidFill>
                  <a:prstClr val="white"/>
                </a:solidFill>
                <a:ea typeface="ＭＳ Ｐゴシック" pitchFamily="50" charset="-128"/>
                <a:cs typeface="+mn-cs"/>
              </a:rPr>
              <a:t>Text</a:t>
            </a:r>
          </a:p>
        </p:txBody>
      </p:sp>
      <p:sp>
        <p:nvSpPr>
          <p:cNvPr id="6" name="Rectangle 5"/>
          <p:cNvSpPr>
            <a:spLocks noChangeArrowheads="1"/>
          </p:cNvSpPr>
          <p:nvPr/>
        </p:nvSpPr>
        <p:spPr bwMode="auto">
          <a:xfrm>
            <a:off x="2962802" y="3799999"/>
            <a:ext cx="1056084" cy="416719"/>
          </a:xfrm>
          <a:prstGeom prst="rect">
            <a:avLst/>
          </a:prstGeom>
          <a:solidFill>
            <a:srgbClr val="00A1DE"/>
          </a:solidFill>
          <a:ln w="12700" algn="ctr">
            <a:solidFill>
              <a:schemeClr val="bg1"/>
            </a:solidFill>
            <a:miter lim="800000"/>
            <a:headEnd/>
            <a:tailEnd/>
          </a:ln>
        </p:spPr>
        <p:txBody>
          <a:bodyPr wrap="square" lIns="27000" tIns="27000" rIns="27000" bIns="27000" anchor="ctr">
            <a:noAutofit/>
          </a:bodyPr>
          <a:lstStyle/>
          <a:p>
            <a:pPr algn="ctr" defTabSz="685800">
              <a:buClrTx/>
              <a:defRPr/>
            </a:pPr>
            <a:r>
              <a:rPr lang="en-US" altLang="ja-JP"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
        <p:nvSpPr>
          <p:cNvPr id="7" name="Rectangle 6"/>
          <p:cNvSpPr>
            <a:spLocks noChangeArrowheads="1"/>
          </p:cNvSpPr>
          <p:nvPr/>
        </p:nvSpPr>
        <p:spPr bwMode="auto">
          <a:xfrm>
            <a:off x="4539937" y="1842612"/>
            <a:ext cx="1054894" cy="416719"/>
          </a:xfrm>
          <a:prstGeom prst="rect">
            <a:avLst/>
          </a:prstGeom>
          <a:solidFill>
            <a:srgbClr val="00A1DE"/>
          </a:solidFill>
          <a:ln w="12700" algn="ctr">
            <a:solidFill>
              <a:schemeClr val="bg1"/>
            </a:solidFill>
            <a:miter lim="800000"/>
            <a:headEnd/>
            <a:tailEnd/>
          </a:ln>
        </p:spPr>
        <p:txBody>
          <a:bodyPr wrap="square" lIns="27000" tIns="27000" rIns="27000" bIns="27000" anchor="ctr">
            <a:noAutofit/>
          </a:bodyPr>
          <a:lstStyle/>
          <a:p>
            <a:pPr algn="ctr" defTabSz="685800">
              <a:buClrTx/>
              <a:defRPr/>
            </a:pPr>
            <a:r>
              <a:rPr lang="en-US" altLang="ja-JP"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
        <p:nvSpPr>
          <p:cNvPr id="8" name="Rectangle 7"/>
          <p:cNvSpPr>
            <a:spLocks noChangeArrowheads="1"/>
          </p:cNvSpPr>
          <p:nvPr/>
        </p:nvSpPr>
        <p:spPr bwMode="auto">
          <a:xfrm>
            <a:off x="4539937" y="2635568"/>
            <a:ext cx="1054894" cy="416719"/>
          </a:xfrm>
          <a:prstGeom prst="rect">
            <a:avLst/>
          </a:prstGeom>
          <a:solidFill>
            <a:srgbClr val="00A1DE"/>
          </a:solidFill>
          <a:ln w="12700" algn="ctr">
            <a:solidFill>
              <a:schemeClr val="bg1"/>
            </a:solidFill>
            <a:miter lim="800000"/>
            <a:headEnd/>
            <a:tailEnd/>
          </a:ln>
        </p:spPr>
        <p:txBody>
          <a:bodyPr wrap="square" lIns="27000" tIns="27000" rIns="27000" bIns="27000" anchor="ctr">
            <a:noAutofit/>
          </a:bodyPr>
          <a:lstStyle/>
          <a:p>
            <a:pPr algn="ctr" defTabSz="685800">
              <a:buClrTx/>
              <a:defRPr/>
            </a:pPr>
            <a:r>
              <a:rPr lang="en-US" altLang="ja-JP"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
        <p:nvSpPr>
          <p:cNvPr id="9" name="Rectangle 8"/>
          <p:cNvSpPr>
            <a:spLocks noChangeArrowheads="1"/>
          </p:cNvSpPr>
          <p:nvPr/>
        </p:nvSpPr>
        <p:spPr bwMode="auto">
          <a:xfrm>
            <a:off x="4539937" y="3376137"/>
            <a:ext cx="1054894" cy="416719"/>
          </a:xfrm>
          <a:prstGeom prst="rect">
            <a:avLst/>
          </a:prstGeom>
          <a:solidFill>
            <a:srgbClr val="00A1DE"/>
          </a:solidFill>
          <a:ln w="12700" algn="ctr">
            <a:solidFill>
              <a:schemeClr val="bg1"/>
            </a:solidFill>
            <a:miter lim="800000"/>
            <a:headEnd/>
            <a:tailEnd/>
          </a:ln>
        </p:spPr>
        <p:txBody>
          <a:bodyPr wrap="square" lIns="27000" tIns="27000" rIns="27000" bIns="27000" anchor="ctr">
            <a:noAutofit/>
          </a:bodyPr>
          <a:lstStyle/>
          <a:p>
            <a:pPr algn="ctr" defTabSz="685800">
              <a:buClrTx/>
              <a:defRPr/>
            </a:pPr>
            <a:r>
              <a:rPr lang="en-US" altLang="ja-JP"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
        <p:nvSpPr>
          <p:cNvPr id="10" name="Rectangle 9"/>
          <p:cNvSpPr>
            <a:spLocks noChangeArrowheads="1"/>
          </p:cNvSpPr>
          <p:nvPr/>
        </p:nvSpPr>
        <p:spPr bwMode="auto">
          <a:xfrm>
            <a:off x="4539937" y="4132184"/>
            <a:ext cx="1054894" cy="416719"/>
          </a:xfrm>
          <a:prstGeom prst="rect">
            <a:avLst/>
          </a:prstGeom>
          <a:solidFill>
            <a:srgbClr val="00A1DE"/>
          </a:solidFill>
          <a:ln w="12700" algn="ctr">
            <a:solidFill>
              <a:schemeClr val="bg1"/>
            </a:solidFill>
            <a:miter lim="800000"/>
            <a:headEnd/>
            <a:tailEnd/>
          </a:ln>
        </p:spPr>
        <p:txBody>
          <a:bodyPr wrap="square" lIns="27000" tIns="27000" rIns="27000" bIns="27000" anchor="ctr">
            <a:noAutofit/>
          </a:bodyPr>
          <a:lstStyle/>
          <a:p>
            <a:pPr algn="ctr" defTabSz="685800">
              <a:buClrTx/>
              <a:defRPr/>
            </a:pPr>
            <a:r>
              <a:rPr lang="en-US" altLang="ja-JP"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
        <p:nvSpPr>
          <p:cNvPr id="17" name="Rectangle 16"/>
          <p:cNvSpPr>
            <a:spLocks noChangeArrowheads="1"/>
          </p:cNvSpPr>
          <p:nvPr/>
        </p:nvSpPr>
        <p:spPr bwMode="auto">
          <a:xfrm>
            <a:off x="6099573" y="1268730"/>
            <a:ext cx="1054894" cy="416719"/>
          </a:xfrm>
          <a:prstGeom prst="rect">
            <a:avLst/>
          </a:prstGeom>
          <a:solidFill>
            <a:srgbClr val="00A1DE"/>
          </a:solidFill>
          <a:ln w="12700" algn="ctr">
            <a:solidFill>
              <a:schemeClr val="bg1"/>
            </a:solidFill>
            <a:miter lim="800000"/>
            <a:headEnd/>
            <a:tailEnd/>
          </a:ln>
        </p:spPr>
        <p:txBody>
          <a:bodyPr wrap="square" lIns="27000" tIns="27000" rIns="27000" bIns="27000" anchor="ctr">
            <a:noAutofit/>
          </a:bodyPr>
          <a:lstStyle/>
          <a:p>
            <a:pPr algn="ctr" defTabSz="685800">
              <a:buClrTx/>
              <a:defRPr/>
            </a:pPr>
            <a:r>
              <a:rPr lang="en-US" altLang="ja-JP" sz="1050" kern="1200" dirty="0">
                <a:solidFill>
                  <a:prstClr val="white"/>
                </a:solidFill>
                <a:ea typeface="ＭＳ Ｐゴシック" pitchFamily="50" charset="-128"/>
                <a:cs typeface="+mn-cs"/>
              </a:rPr>
              <a:t>Text</a:t>
            </a:r>
          </a:p>
        </p:txBody>
      </p:sp>
      <p:sp>
        <p:nvSpPr>
          <p:cNvPr id="18" name="Rectangle 17"/>
          <p:cNvSpPr>
            <a:spLocks noChangeArrowheads="1"/>
          </p:cNvSpPr>
          <p:nvPr/>
        </p:nvSpPr>
        <p:spPr bwMode="auto">
          <a:xfrm>
            <a:off x="6099573" y="1840230"/>
            <a:ext cx="1054894" cy="416719"/>
          </a:xfrm>
          <a:prstGeom prst="rect">
            <a:avLst/>
          </a:prstGeom>
          <a:solidFill>
            <a:srgbClr val="00A1DE"/>
          </a:solidFill>
          <a:ln w="12700" algn="ctr">
            <a:solidFill>
              <a:schemeClr val="bg1"/>
            </a:solidFill>
            <a:miter lim="800000"/>
            <a:headEnd/>
            <a:tailEnd/>
          </a:ln>
        </p:spPr>
        <p:txBody>
          <a:bodyPr wrap="square" lIns="27000" tIns="27000" rIns="27000" bIns="27000" anchor="ctr">
            <a:noAutofit/>
          </a:bodyPr>
          <a:lstStyle/>
          <a:p>
            <a:pPr algn="ctr" defTabSz="685800">
              <a:buClrTx/>
              <a:defRPr/>
            </a:pPr>
            <a:r>
              <a:rPr lang="en-US" altLang="ja-JP"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
        <p:nvSpPr>
          <p:cNvPr id="19" name="Rectangle 18"/>
          <p:cNvSpPr>
            <a:spLocks noChangeArrowheads="1"/>
          </p:cNvSpPr>
          <p:nvPr/>
        </p:nvSpPr>
        <p:spPr bwMode="auto">
          <a:xfrm>
            <a:off x="6099573" y="2411730"/>
            <a:ext cx="1054894" cy="416719"/>
          </a:xfrm>
          <a:prstGeom prst="rect">
            <a:avLst/>
          </a:prstGeom>
          <a:solidFill>
            <a:srgbClr val="00A1DE"/>
          </a:solidFill>
          <a:ln w="12700" algn="ctr">
            <a:solidFill>
              <a:schemeClr val="bg1"/>
            </a:solidFill>
            <a:miter lim="800000"/>
            <a:headEnd/>
            <a:tailEnd/>
          </a:ln>
        </p:spPr>
        <p:txBody>
          <a:bodyPr wrap="square" lIns="27000" tIns="27000" rIns="27000" bIns="27000" anchor="ctr">
            <a:noAutofit/>
          </a:bodyPr>
          <a:lstStyle/>
          <a:p>
            <a:pPr algn="ctr" defTabSz="685800">
              <a:buClrTx/>
              <a:defRPr/>
            </a:pPr>
            <a:r>
              <a:rPr lang="en-US" altLang="ja-JP" sz="1050" kern="1200">
                <a:solidFill>
                  <a:prstClr val="white"/>
                </a:solidFill>
                <a:ea typeface="ＭＳ Ｐゴシック" pitchFamily="50" charset="-128"/>
                <a:cs typeface="+mn-cs"/>
              </a:rPr>
              <a:t>Text</a:t>
            </a:r>
            <a:endParaRPr lang="en-US" altLang="ja-JP" sz="1050" kern="1200" dirty="0">
              <a:solidFill>
                <a:prstClr val="white"/>
              </a:solidFill>
              <a:ea typeface="ＭＳ Ｐゴシック" pitchFamily="50" charset="-128"/>
              <a:cs typeface="+mn-cs"/>
            </a:endParaRPr>
          </a:p>
        </p:txBody>
      </p:sp>
      <p:sp>
        <p:nvSpPr>
          <p:cNvPr id="47" name="AutoShape 112"/>
          <p:cNvSpPr>
            <a:spLocks noChangeArrowheads="1"/>
          </p:cNvSpPr>
          <p:nvPr/>
        </p:nvSpPr>
        <p:spPr bwMode="grayWhite">
          <a:xfrm>
            <a:off x="2501830" y="3201021"/>
            <a:ext cx="202500" cy="2025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48" name="AutoShape 110"/>
          <p:cNvSpPr>
            <a:spLocks noChangeArrowheads="1"/>
          </p:cNvSpPr>
          <p:nvPr/>
        </p:nvSpPr>
        <p:spPr bwMode="grayWhite">
          <a:xfrm>
            <a:off x="4041364" y="4014218"/>
            <a:ext cx="202500" cy="202500"/>
          </a:xfrm>
          <a:prstGeom prst="downArrow">
            <a:avLst/>
          </a:prstGeom>
          <a:solidFill>
            <a:srgbClr val="C00000"/>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49" name="AutoShape 110"/>
          <p:cNvSpPr>
            <a:spLocks noChangeArrowheads="1"/>
          </p:cNvSpPr>
          <p:nvPr/>
        </p:nvSpPr>
        <p:spPr bwMode="grayWhite">
          <a:xfrm>
            <a:off x="5613059" y="2849786"/>
            <a:ext cx="202500" cy="202500"/>
          </a:xfrm>
          <a:prstGeom prst="rightArrow">
            <a:avLst/>
          </a:prstGeom>
          <a:solidFill>
            <a:srgbClr val="FFC000"/>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50" name="AutoShape 112"/>
          <p:cNvSpPr>
            <a:spLocks noChangeArrowheads="1"/>
          </p:cNvSpPr>
          <p:nvPr/>
        </p:nvSpPr>
        <p:spPr bwMode="grayWhite">
          <a:xfrm>
            <a:off x="4041364" y="2414018"/>
            <a:ext cx="202500" cy="2025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51" name="AutoShape 112"/>
          <p:cNvSpPr>
            <a:spLocks noChangeArrowheads="1"/>
          </p:cNvSpPr>
          <p:nvPr/>
        </p:nvSpPr>
        <p:spPr bwMode="grayWhite">
          <a:xfrm>
            <a:off x="5613059" y="2056830"/>
            <a:ext cx="202500" cy="2025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52" name="AutoShape 112"/>
          <p:cNvSpPr>
            <a:spLocks noChangeArrowheads="1"/>
          </p:cNvSpPr>
          <p:nvPr/>
        </p:nvSpPr>
        <p:spPr bwMode="grayWhite">
          <a:xfrm>
            <a:off x="7187796" y="1482949"/>
            <a:ext cx="202500" cy="2025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53" name="AutoShape 112"/>
          <p:cNvSpPr>
            <a:spLocks noChangeArrowheads="1"/>
          </p:cNvSpPr>
          <p:nvPr/>
        </p:nvSpPr>
        <p:spPr bwMode="grayWhite">
          <a:xfrm>
            <a:off x="7187796" y="2625949"/>
            <a:ext cx="202500" cy="2025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56" name="AutoShape 110"/>
          <p:cNvSpPr>
            <a:spLocks noChangeArrowheads="1"/>
          </p:cNvSpPr>
          <p:nvPr/>
        </p:nvSpPr>
        <p:spPr bwMode="grayWhite">
          <a:xfrm>
            <a:off x="5613059" y="3590355"/>
            <a:ext cx="202500" cy="202500"/>
          </a:xfrm>
          <a:prstGeom prst="downArrow">
            <a:avLst/>
          </a:prstGeom>
          <a:solidFill>
            <a:srgbClr val="C00000"/>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57" name="AutoShape 110"/>
          <p:cNvSpPr>
            <a:spLocks noChangeArrowheads="1"/>
          </p:cNvSpPr>
          <p:nvPr/>
        </p:nvSpPr>
        <p:spPr bwMode="grayWhite">
          <a:xfrm>
            <a:off x="7187796" y="2011136"/>
            <a:ext cx="202500" cy="202500"/>
          </a:xfrm>
          <a:prstGeom prst="downArrow">
            <a:avLst/>
          </a:prstGeom>
          <a:solidFill>
            <a:srgbClr val="C00000"/>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
        <p:nvSpPr>
          <p:cNvPr id="58" name="AutoShape 110"/>
          <p:cNvSpPr>
            <a:spLocks noChangeArrowheads="1"/>
          </p:cNvSpPr>
          <p:nvPr/>
        </p:nvSpPr>
        <p:spPr bwMode="grayWhite">
          <a:xfrm>
            <a:off x="5613059" y="4346402"/>
            <a:ext cx="202500" cy="202500"/>
          </a:xfrm>
          <a:prstGeom prst="rightArrow">
            <a:avLst/>
          </a:prstGeom>
          <a:solidFill>
            <a:srgbClr val="FFC000"/>
          </a:solidFill>
          <a:ln w="12700" algn="ctr">
            <a:solidFill>
              <a:schemeClr val="bg1"/>
            </a:solidFill>
            <a:miter lim="800000"/>
            <a:headEnd/>
            <a:tailEnd/>
          </a:ln>
        </p:spPr>
        <p:txBody>
          <a:bodyPr wrap="none" anchor="ctr"/>
          <a:lstStyle/>
          <a:p>
            <a:pPr algn="ctr" defTabSz="685800">
              <a:buClrTx/>
            </a:pPr>
            <a:endParaRPr lang="en-US" sz="1050" kern="1200">
              <a:solidFill>
                <a:prstClr val="black"/>
              </a:solidFill>
              <a:ea typeface="+mn-ea"/>
              <a:cs typeface="+mn-cs"/>
            </a:endParaRPr>
          </a:p>
        </p:txBody>
      </p:sp>
    </p:spTree>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701" name="Title 1"/>
          <p:cNvSpPr>
            <a:spLocks noGrp="1"/>
          </p:cNvSpPr>
          <p:nvPr>
            <p:ph type="title"/>
            <p:custDataLst>
              <p:tags r:id="rId1"/>
            </p:custDataLst>
          </p:nvPr>
        </p:nvSpPr>
        <p:spPr/>
        <p:txBody>
          <a:bodyPr/>
          <a:lstStyle/>
          <a:p>
            <a:r>
              <a:rPr lang="en-US" dirty="0">
                <a:solidFill>
                  <a:srgbClr val="81BC00"/>
                </a:solidFill>
              </a:rPr>
              <a:t>Organization chart  </a:t>
            </a:r>
            <a:br>
              <a:rPr lang="en-US" dirty="0">
                <a:solidFill>
                  <a:srgbClr val="81BC00"/>
                </a:solidFill>
              </a:rPr>
            </a:br>
            <a:r>
              <a:rPr lang="en-US" dirty="0">
                <a:solidFill>
                  <a:srgbClr val="575757"/>
                </a:solidFill>
              </a:rPr>
              <a:t>Simple</a:t>
            </a:r>
          </a:p>
        </p:txBody>
      </p:sp>
      <p:graphicFrame>
        <p:nvGraphicFramePr>
          <p:cNvPr id="242690" name="Rectangle 2"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242690"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94" name="Straight Connector 93"/>
          <p:cNvCxnSpPr/>
          <p:nvPr/>
        </p:nvCxnSpPr>
        <p:spPr>
          <a:xfrm rot="5400000">
            <a:off x="3560096" y="2578862"/>
            <a:ext cx="2025000" cy="1191"/>
          </a:xfrm>
          <a:prstGeom prst="line">
            <a:avLst/>
          </a:prstGeom>
          <a:noFill/>
          <a:ln w="9525" cap="flat" cmpd="sng" algn="ctr">
            <a:solidFill>
              <a:sysClr val="windowText" lastClr="000000">
                <a:lumMod val="65000"/>
                <a:lumOff val="35000"/>
              </a:sysClr>
            </a:solidFill>
            <a:prstDash val="solid"/>
          </a:ln>
          <a:effectLst/>
        </p:spPr>
      </p:cxnSp>
      <p:cxnSp>
        <p:nvCxnSpPr>
          <p:cNvPr id="95" name="Straight Connector 94"/>
          <p:cNvCxnSpPr/>
          <p:nvPr/>
        </p:nvCxnSpPr>
        <p:spPr>
          <a:xfrm>
            <a:off x="3714744" y="2866415"/>
            <a:ext cx="1981214" cy="1191"/>
          </a:xfrm>
          <a:prstGeom prst="line">
            <a:avLst/>
          </a:prstGeom>
          <a:noFill/>
          <a:ln w="9525" cap="flat" cmpd="sng" algn="ctr">
            <a:solidFill>
              <a:sysClr val="windowText" lastClr="000000">
                <a:lumMod val="65000"/>
                <a:lumOff val="35000"/>
              </a:sysClr>
            </a:solidFill>
            <a:prstDash val="solid"/>
          </a:ln>
          <a:effectLst/>
        </p:spPr>
      </p:cxnSp>
      <p:cxnSp>
        <p:nvCxnSpPr>
          <p:cNvPr id="96" name="Straight Connector 95"/>
          <p:cNvCxnSpPr/>
          <p:nvPr/>
        </p:nvCxnSpPr>
        <p:spPr>
          <a:xfrm>
            <a:off x="4196950" y="2102742"/>
            <a:ext cx="1981214" cy="1191"/>
          </a:xfrm>
          <a:prstGeom prst="line">
            <a:avLst/>
          </a:prstGeom>
          <a:noFill/>
          <a:ln w="9525" cap="flat" cmpd="sng" algn="ctr">
            <a:solidFill>
              <a:sysClr val="windowText" lastClr="000000">
                <a:lumMod val="65000"/>
                <a:lumOff val="35000"/>
              </a:sysClr>
            </a:solidFill>
            <a:prstDash val="solid"/>
          </a:ln>
          <a:effectLst/>
        </p:spPr>
      </p:cxnSp>
      <p:cxnSp>
        <p:nvCxnSpPr>
          <p:cNvPr id="97" name="Straight Connector 96"/>
          <p:cNvCxnSpPr/>
          <p:nvPr/>
        </p:nvCxnSpPr>
        <p:spPr>
          <a:xfrm>
            <a:off x="2321703" y="3710097"/>
            <a:ext cx="4617000" cy="1191"/>
          </a:xfrm>
          <a:prstGeom prst="line">
            <a:avLst/>
          </a:prstGeom>
          <a:noFill/>
          <a:ln w="9525" cap="flat" cmpd="sng" algn="ctr">
            <a:solidFill>
              <a:sysClr val="windowText" lastClr="000000">
                <a:lumMod val="65000"/>
                <a:lumOff val="35000"/>
              </a:sysClr>
            </a:solidFill>
            <a:prstDash val="solid"/>
          </a:ln>
          <a:effectLst/>
        </p:spPr>
      </p:cxnSp>
      <p:grpSp>
        <p:nvGrpSpPr>
          <p:cNvPr id="98" name="Group 97"/>
          <p:cNvGrpSpPr/>
          <p:nvPr/>
        </p:nvGrpSpPr>
        <p:grpSpPr>
          <a:xfrm>
            <a:off x="3982637" y="1268730"/>
            <a:ext cx="1178727" cy="405384"/>
            <a:chOff x="5857884" y="1732586"/>
            <a:chExt cx="1571636" cy="540512"/>
          </a:xfrm>
        </p:grpSpPr>
        <p:sp>
          <p:nvSpPr>
            <p:cNvPr id="99" name="Rectangle 98"/>
            <p:cNvSpPr/>
            <p:nvPr/>
          </p:nvSpPr>
          <p:spPr>
            <a:xfrm>
              <a:off x="5857884" y="1732586"/>
              <a:ext cx="1571636" cy="270000"/>
            </a:xfrm>
            <a:prstGeom prst="rect">
              <a:avLst/>
            </a:prstGeom>
            <a:solidFill>
              <a:srgbClr val="002776"/>
            </a:solidFill>
            <a:ln w="25400" cap="flat" cmpd="sng" algn="ctr">
              <a:noFill/>
              <a:prstDash val="solid"/>
            </a:ln>
            <a:effectLst/>
          </p:spPr>
          <p:txBody>
            <a:bodyPr rtlCol="0" anchor="ctr"/>
            <a:lstStyle/>
            <a:p>
              <a:pPr algn="ctr" defTabSz="685800">
                <a:buClrTx/>
                <a:defRPr/>
              </a:pPr>
              <a:r>
                <a:rPr lang="en-GB" sz="825" dirty="0">
                  <a:solidFill>
                    <a:sysClr val="window" lastClr="FFFFFF"/>
                  </a:solidFill>
                  <a:ea typeface="+mn-ea"/>
                  <a:cs typeface="+mn-cs"/>
                </a:rPr>
                <a:t>Sponsor</a:t>
              </a:r>
            </a:p>
          </p:txBody>
        </p:sp>
        <p:sp>
          <p:nvSpPr>
            <p:cNvPr id="100" name="Rectangle 99"/>
            <p:cNvSpPr/>
            <p:nvPr/>
          </p:nvSpPr>
          <p:spPr>
            <a:xfrm>
              <a:off x="5857884" y="2003098"/>
              <a:ext cx="1571636" cy="270000"/>
            </a:xfrm>
            <a:prstGeom prst="rect">
              <a:avLst/>
            </a:prstGeom>
            <a:solidFill>
              <a:srgbClr val="DCDCDC"/>
            </a:solidFill>
            <a:ln w="25400" cap="flat" cmpd="sng" algn="ctr">
              <a:noFill/>
              <a:prstDash val="solid"/>
            </a:ln>
            <a:effectLst/>
          </p:spPr>
          <p:txBody>
            <a:bodyPr rtlCol="0" anchor="t" anchorCtr="0"/>
            <a:lstStyle/>
            <a:p>
              <a:pPr defTabSz="685800">
                <a:buClrTx/>
                <a:defRPr/>
              </a:pPr>
              <a:r>
                <a:rPr lang="en-GB" sz="825" dirty="0">
                  <a:solidFill>
                    <a:srgbClr val="313131"/>
                  </a:solidFill>
                  <a:ea typeface="+mn-ea"/>
                  <a:cs typeface="+mn-cs"/>
                </a:rPr>
                <a:t>Name Surname</a:t>
              </a:r>
            </a:p>
          </p:txBody>
        </p:sp>
      </p:grpSp>
      <p:grpSp>
        <p:nvGrpSpPr>
          <p:cNvPr id="101" name="Group 100"/>
          <p:cNvGrpSpPr/>
          <p:nvPr/>
        </p:nvGrpSpPr>
        <p:grpSpPr>
          <a:xfrm>
            <a:off x="3982637" y="1834850"/>
            <a:ext cx="1178727" cy="553884"/>
            <a:chOff x="5857884" y="1732586"/>
            <a:chExt cx="1571636" cy="738512"/>
          </a:xfrm>
        </p:grpSpPr>
        <p:sp>
          <p:nvSpPr>
            <p:cNvPr id="102" name="Rectangle 101"/>
            <p:cNvSpPr/>
            <p:nvPr/>
          </p:nvSpPr>
          <p:spPr>
            <a:xfrm>
              <a:off x="5857884" y="1732586"/>
              <a:ext cx="1571636" cy="270000"/>
            </a:xfrm>
            <a:prstGeom prst="rect">
              <a:avLst/>
            </a:prstGeom>
            <a:solidFill>
              <a:srgbClr val="00A1DE"/>
            </a:solidFill>
            <a:ln w="25400" cap="flat" cmpd="sng" algn="ctr">
              <a:noFill/>
              <a:prstDash val="solid"/>
            </a:ln>
            <a:effectLst/>
          </p:spPr>
          <p:txBody>
            <a:bodyPr rtlCol="0" anchor="ctr"/>
            <a:lstStyle/>
            <a:p>
              <a:pPr algn="ctr" defTabSz="685800">
                <a:buClrTx/>
                <a:defRPr/>
              </a:pPr>
              <a:r>
                <a:rPr lang="en-GB" sz="825" dirty="0">
                  <a:solidFill>
                    <a:sysClr val="window" lastClr="FFFFFF"/>
                  </a:solidFill>
                  <a:ea typeface="+mn-ea"/>
                  <a:cs typeface="+mn-cs"/>
                </a:rPr>
                <a:t>Project management</a:t>
              </a:r>
            </a:p>
          </p:txBody>
        </p:sp>
        <p:sp>
          <p:nvSpPr>
            <p:cNvPr id="103" name="Rectangle 102"/>
            <p:cNvSpPr/>
            <p:nvPr/>
          </p:nvSpPr>
          <p:spPr>
            <a:xfrm>
              <a:off x="5857884" y="2003098"/>
              <a:ext cx="1571636" cy="468000"/>
            </a:xfrm>
            <a:prstGeom prst="rect">
              <a:avLst/>
            </a:prstGeom>
            <a:solidFill>
              <a:srgbClr val="DCDCDC"/>
            </a:solidFill>
            <a:ln w="25400" cap="flat" cmpd="sng" algn="ctr">
              <a:noFill/>
              <a:prstDash val="solid"/>
            </a:ln>
            <a:effectLst/>
          </p:spPr>
          <p:txBody>
            <a:bodyPr rtlCol="0" anchor="t" anchorCtr="0"/>
            <a:lstStyle/>
            <a:p>
              <a:pPr defTabSz="685800">
                <a:buClrTx/>
                <a:defRPr/>
              </a:pPr>
              <a:r>
                <a:rPr lang="en-GB" sz="825" dirty="0">
                  <a:solidFill>
                    <a:srgbClr val="313131"/>
                  </a:solidFill>
                  <a:ea typeface="+mn-ea"/>
                  <a:cs typeface="+mn-cs"/>
                </a:rPr>
                <a:t>Name Surname</a:t>
              </a:r>
            </a:p>
            <a:p>
              <a:pPr defTabSz="685800">
                <a:buClrTx/>
                <a:defRPr/>
              </a:pPr>
              <a:r>
                <a:rPr lang="en-GB" sz="825" dirty="0">
                  <a:solidFill>
                    <a:srgbClr val="313131"/>
                  </a:solidFill>
                  <a:ea typeface="+mn-ea"/>
                  <a:cs typeface="+mn-cs"/>
                </a:rPr>
                <a:t>Name Surname</a:t>
              </a:r>
            </a:p>
          </p:txBody>
        </p:sp>
      </p:grpSp>
      <p:grpSp>
        <p:nvGrpSpPr>
          <p:cNvPr id="104" name="Group 103"/>
          <p:cNvGrpSpPr/>
          <p:nvPr/>
        </p:nvGrpSpPr>
        <p:grpSpPr>
          <a:xfrm>
            <a:off x="5268521" y="1834850"/>
            <a:ext cx="1178727" cy="553884"/>
            <a:chOff x="5857884" y="1732586"/>
            <a:chExt cx="1571636" cy="738512"/>
          </a:xfrm>
        </p:grpSpPr>
        <p:sp>
          <p:nvSpPr>
            <p:cNvPr id="105" name="Rectangle 104"/>
            <p:cNvSpPr/>
            <p:nvPr/>
          </p:nvSpPr>
          <p:spPr>
            <a:xfrm>
              <a:off x="5857884" y="1732586"/>
              <a:ext cx="1571636" cy="270000"/>
            </a:xfrm>
            <a:prstGeom prst="rect">
              <a:avLst/>
            </a:prstGeom>
            <a:solidFill>
              <a:sysClr val="windowText" lastClr="000000">
                <a:lumMod val="65000"/>
                <a:lumOff val="35000"/>
              </a:sysClr>
            </a:solidFill>
            <a:ln w="25400" cap="flat" cmpd="sng" algn="ctr">
              <a:noFill/>
              <a:prstDash val="solid"/>
            </a:ln>
            <a:effectLst/>
          </p:spPr>
          <p:txBody>
            <a:bodyPr rtlCol="0" anchor="ctr"/>
            <a:lstStyle/>
            <a:p>
              <a:pPr algn="ctr" defTabSz="685800">
                <a:buClrTx/>
                <a:defRPr/>
              </a:pPr>
              <a:r>
                <a:rPr lang="en-GB" sz="825" dirty="0">
                  <a:solidFill>
                    <a:sysClr val="window" lastClr="FFFFFF"/>
                  </a:solidFill>
                  <a:ea typeface="+mn-ea"/>
                  <a:cs typeface="+mn-cs"/>
                </a:rPr>
                <a:t>QA</a:t>
              </a:r>
            </a:p>
          </p:txBody>
        </p:sp>
        <p:sp>
          <p:nvSpPr>
            <p:cNvPr id="106" name="Rectangle 105"/>
            <p:cNvSpPr/>
            <p:nvPr/>
          </p:nvSpPr>
          <p:spPr>
            <a:xfrm>
              <a:off x="5857884" y="2003098"/>
              <a:ext cx="1571636" cy="468000"/>
            </a:xfrm>
            <a:prstGeom prst="rect">
              <a:avLst/>
            </a:prstGeom>
            <a:solidFill>
              <a:srgbClr val="DCDCDC"/>
            </a:solidFill>
            <a:ln w="25400" cap="flat" cmpd="sng" algn="ctr">
              <a:noFill/>
              <a:prstDash val="solid"/>
            </a:ln>
            <a:effectLst/>
          </p:spPr>
          <p:txBody>
            <a:bodyPr rtlCol="0" anchor="t" anchorCtr="0"/>
            <a:lstStyle/>
            <a:p>
              <a:pPr defTabSz="685800">
                <a:buClrTx/>
                <a:defRPr/>
              </a:pPr>
              <a:r>
                <a:rPr lang="en-GB" sz="825" dirty="0">
                  <a:solidFill>
                    <a:srgbClr val="313131"/>
                  </a:solidFill>
                  <a:ea typeface="+mn-ea"/>
                  <a:cs typeface="+mn-cs"/>
                </a:rPr>
                <a:t>Short description</a:t>
              </a:r>
            </a:p>
          </p:txBody>
        </p:sp>
      </p:grpSp>
      <p:grpSp>
        <p:nvGrpSpPr>
          <p:cNvPr id="107" name="Group 106"/>
          <p:cNvGrpSpPr/>
          <p:nvPr/>
        </p:nvGrpSpPr>
        <p:grpSpPr>
          <a:xfrm>
            <a:off x="5268521" y="2598522"/>
            <a:ext cx="1178727" cy="661884"/>
            <a:chOff x="5857884" y="1732586"/>
            <a:chExt cx="1571636" cy="882512"/>
          </a:xfrm>
        </p:grpSpPr>
        <p:sp>
          <p:nvSpPr>
            <p:cNvPr id="108" name="Rectangle 107"/>
            <p:cNvSpPr/>
            <p:nvPr/>
          </p:nvSpPr>
          <p:spPr>
            <a:xfrm>
              <a:off x="5857884" y="1732586"/>
              <a:ext cx="1571636" cy="270000"/>
            </a:xfrm>
            <a:prstGeom prst="rect">
              <a:avLst/>
            </a:prstGeom>
            <a:solidFill>
              <a:sysClr val="windowText" lastClr="000000">
                <a:lumMod val="65000"/>
                <a:lumOff val="35000"/>
              </a:sysClr>
            </a:solidFill>
            <a:ln w="25400" cap="flat" cmpd="sng" algn="ctr">
              <a:noFill/>
              <a:prstDash val="solid"/>
            </a:ln>
            <a:effectLst/>
          </p:spPr>
          <p:txBody>
            <a:bodyPr rtlCol="0" anchor="ctr"/>
            <a:lstStyle/>
            <a:p>
              <a:pPr algn="ctr" defTabSz="685800">
                <a:buClrTx/>
                <a:defRPr/>
              </a:pPr>
              <a:r>
                <a:rPr lang="en-GB" sz="825" dirty="0">
                  <a:solidFill>
                    <a:sysClr val="window" lastClr="FFFFFF"/>
                  </a:solidFill>
                  <a:ea typeface="+mn-ea"/>
                  <a:cs typeface="+mn-cs"/>
                </a:rPr>
                <a:t>PMO</a:t>
              </a:r>
            </a:p>
          </p:txBody>
        </p:sp>
        <p:sp>
          <p:nvSpPr>
            <p:cNvPr id="109" name="Rectangle 108"/>
            <p:cNvSpPr/>
            <p:nvPr/>
          </p:nvSpPr>
          <p:spPr>
            <a:xfrm>
              <a:off x="5857884" y="2003098"/>
              <a:ext cx="1571636" cy="612000"/>
            </a:xfrm>
            <a:prstGeom prst="rect">
              <a:avLst/>
            </a:prstGeom>
            <a:solidFill>
              <a:srgbClr val="DCDCDC"/>
            </a:solidFill>
            <a:ln w="25400" cap="flat" cmpd="sng" algn="ctr">
              <a:noFill/>
              <a:prstDash val="solid"/>
            </a:ln>
            <a:effectLst/>
          </p:spPr>
          <p:txBody>
            <a:bodyPr rtlCol="0" anchor="t" anchorCtr="0"/>
            <a:lstStyle/>
            <a:p>
              <a:pPr defTabSz="685800">
                <a:buClrTx/>
                <a:defRPr/>
              </a:pPr>
              <a:r>
                <a:rPr lang="en-GB" sz="825" dirty="0">
                  <a:solidFill>
                    <a:srgbClr val="313131"/>
                  </a:solidFill>
                  <a:ea typeface="+mn-ea"/>
                  <a:cs typeface="+mn-cs"/>
                </a:rPr>
                <a:t>Name Surname</a:t>
              </a:r>
            </a:p>
            <a:p>
              <a:pPr defTabSz="685800">
                <a:buClrTx/>
                <a:defRPr/>
              </a:pPr>
              <a:r>
                <a:rPr lang="en-GB" sz="825" dirty="0">
                  <a:solidFill>
                    <a:srgbClr val="313131"/>
                  </a:solidFill>
                  <a:ea typeface="+mn-ea"/>
                  <a:cs typeface="+mn-cs"/>
                </a:rPr>
                <a:t>Name Surname</a:t>
              </a:r>
            </a:p>
            <a:p>
              <a:pPr defTabSz="685800">
                <a:buClrTx/>
                <a:defRPr/>
              </a:pPr>
              <a:r>
                <a:rPr lang="en-GB" sz="825" dirty="0">
                  <a:solidFill>
                    <a:srgbClr val="313131"/>
                  </a:solidFill>
                  <a:ea typeface="+mn-ea"/>
                  <a:cs typeface="+mn-cs"/>
                </a:rPr>
                <a:t>Name Surname</a:t>
              </a:r>
            </a:p>
          </p:txBody>
        </p:sp>
      </p:grpSp>
      <p:grpSp>
        <p:nvGrpSpPr>
          <p:cNvPr id="110" name="Group 109"/>
          <p:cNvGrpSpPr/>
          <p:nvPr/>
        </p:nvGrpSpPr>
        <p:grpSpPr>
          <a:xfrm>
            <a:off x="3982637" y="2598522"/>
            <a:ext cx="1178727" cy="661884"/>
            <a:chOff x="5857884" y="1732586"/>
            <a:chExt cx="1571636" cy="882512"/>
          </a:xfrm>
        </p:grpSpPr>
        <p:sp>
          <p:nvSpPr>
            <p:cNvPr id="111" name="Rectangle 110"/>
            <p:cNvSpPr/>
            <p:nvPr/>
          </p:nvSpPr>
          <p:spPr>
            <a:xfrm>
              <a:off x="5857884" y="1732586"/>
              <a:ext cx="1571636" cy="270000"/>
            </a:xfrm>
            <a:prstGeom prst="rect">
              <a:avLst/>
            </a:prstGeom>
            <a:solidFill>
              <a:srgbClr val="008A2E"/>
            </a:solidFill>
            <a:ln w="25400" cap="flat" cmpd="sng" algn="ctr">
              <a:noFill/>
              <a:prstDash val="solid"/>
            </a:ln>
            <a:effectLst/>
          </p:spPr>
          <p:txBody>
            <a:bodyPr rtlCol="0" anchor="ctr"/>
            <a:lstStyle/>
            <a:p>
              <a:pPr algn="ctr" defTabSz="685800">
                <a:buClrTx/>
                <a:defRPr/>
              </a:pPr>
              <a:r>
                <a:rPr lang="en-GB" sz="825" dirty="0">
                  <a:solidFill>
                    <a:sysClr val="window" lastClr="FFFFFF"/>
                  </a:solidFill>
                  <a:ea typeface="+mn-ea"/>
                  <a:cs typeface="+mn-cs"/>
                </a:rPr>
                <a:t>Project management</a:t>
              </a:r>
            </a:p>
          </p:txBody>
        </p:sp>
        <p:sp>
          <p:nvSpPr>
            <p:cNvPr id="112" name="Rectangle 111"/>
            <p:cNvSpPr/>
            <p:nvPr/>
          </p:nvSpPr>
          <p:spPr>
            <a:xfrm>
              <a:off x="5857884" y="2003098"/>
              <a:ext cx="1571636" cy="612000"/>
            </a:xfrm>
            <a:prstGeom prst="rect">
              <a:avLst/>
            </a:prstGeom>
            <a:solidFill>
              <a:srgbClr val="DCDCDC"/>
            </a:solidFill>
            <a:ln w="25400" cap="flat" cmpd="sng" algn="ctr">
              <a:noFill/>
              <a:prstDash val="solid"/>
            </a:ln>
            <a:effectLst/>
          </p:spPr>
          <p:txBody>
            <a:bodyPr rtlCol="0" anchor="t" anchorCtr="0"/>
            <a:lstStyle/>
            <a:p>
              <a:pPr defTabSz="685800">
                <a:buClrTx/>
                <a:defRPr/>
              </a:pPr>
              <a:r>
                <a:rPr lang="en-GB" sz="825" dirty="0">
                  <a:solidFill>
                    <a:srgbClr val="313131"/>
                  </a:solidFill>
                  <a:ea typeface="+mn-ea"/>
                  <a:cs typeface="+mn-cs"/>
                </a:rPr>
                <a:t>Name Surname</a:t>
              </a:r>
            </a:p>
            <a:p>
              <a:pPr defTabSz="685800">
                <a:buClrTx/>
                <a:defRPr/>
              </a:pPr>
              <a:r>
                <a:rPr lang="en-GB" sz="825" dirty="0">
                  <a:solidFill>
                    <a:srgbClr val="313131"/>
                  </a:solidFill>
                  <a:ea typeface="+mn-ea"/>
                  <a:cs typeface="+mn-cs"/>
                </a:rPr>
                <a:t>Name Surname</a:t>
              </a:r>
            </a:p>
            <a:p>
              <a:pPr defTabSz="685800">
                <a:buClrTx/>
                <a:defRPr/>
              </a:pPr>
              <a:r>
                <a:rPr lang="en-GB" sz="825" dirty="0">
                  <a:solidFill>
                    <a:srgbClr val="313131"/>
                  </a:solidFill>
                  <a:ea typeface="+mn-ea"/>
                  <a:cs typeface="+mn-cs"/>
                </a:rPr>
                <a:t>Name Surname</a:t>
              </a:r>
            </a:p>
          </p:txBody>
        </p:sp>
      </p:grpSp>
      <p:grpSp>
        <p:nvGrpSpPr>
          <p:cNvPr id="113" name="Group 112"/>
          <p:cNvGrpSpPr/>
          <p:nvPr/>
        </p:nvGrpSpPr>
        <p:grpSpPr>
          <a:xfrm>
            <a:off x="2696753" y="2598522"/>
            <a:ext cx="1178727" cy="661884"/>
            <a:chOff x="5857884" y="1732586"/>
            <a:chExt cx="1571636" cy="882512"/>
          </a:xfrm>
        </p:grpSpPr>
        <p:sp>
          <p:nvSpPr>
            <p:cNvPr id="114" name="Rectangle 113"/>
            <p:cNvSpPr/>
            <p:nvPr/>
          </p:nvSpPr>
          <p:spPr>
            <a:xfrm>
              <a:off x="5857884" y="1732586"/>
              <a:ext cx="1571636" cy="270000"/>
            </a:xfrm>
            <a:prstGeom prst="rect">
              <a:avLst/>
            </a:prstGeom>
            <a:solidFill>
              <a:sysClr val="windowText" lastClr="000000">
                <a:lumMod val="65000"/>
                <a:lumOff val="35000"/>
              </a:sysClr>
            </a:solidFill>
            <a:ln w="25400" cap="flat" cmpd="sng" algn="ctr">
              <a:noFill/>
              <a:prstDash val="solid"/>
            </a:ln>
            <a:effectLst/>
          </p:spPr>
          <p:txBody>
            <a:bodyPr rtlCol="0" anchor="ctr"/>
            <a:lstStyle/>
            <a:p>
              <a:pPr algn="ctr" defTabSz="685800">
                <a:buClrTx/>
                <a:defRPr/>
              </a:pPr>
              <a:r>
                <a:rPr lang="en-GB" sz="825" dirty="0">
                  <a:solidFill>
                    <a:sysClr val="window" lastClr="FFFFFF"/>
                  </a:solidFill>
                  <a:ea typeface="+mn-ea"/>
                  <a:cs typeface="+mn-cs"/>
                </a:rPr>
                <a:t>Subject experts</a:t>
              </a:r>
            </a:p>
          </p:txBody>
        </p:sp>
        <p:sp>
          <p:nvSpPr>
            <p:cNvPr id="115" name="Rectangle 114"/>
            <p:cNvSpPr/>
            <p:nvPr/>
          </p:nvSpPr>
          <p:spPr>
            <a:xfrm>
              <a:off x="5857884" y="2003098"/>
              <a:ext cx="1571636" cy="612000"/>
            </a:xfrm>
            <a:prstGeom prst="rect">
              <a:avLst/>
            </a:prstGeom>
            <a:solidFill>
              <a:srgbClr val="DCDCDC"/>
            </a:solidFill>
            <a:ln w="25400" cap="flat" cmpd="sng" algn="ctr">
              <a:noFill/>
              <a:prstDash val="solid"/>
            </a:ln>
            <a:effectLst/>
          </p:spPr>
          <p:txBody>
            <a:bodyPr rtlCol="0" anchor="t" anchorCtr="0"/>
            <a:lstStyle/>
            <a:p>
              <a:pPr defTabSz="685800">
                <a:buClrTx/>
                <a:defRPr/>
              </a:pPr>
              <a:r>
                <a:rPr lang="en-GB" sz="825" dirty="0">
                  <a:solidFill>
                    <a:srgbClr val="313131"/>
                  </a:solidFill>
                  <a:ea typeface="+mn-ea"/>
                  <a:cs typeface="+mn-cs"/>
                </a:rPr>
                <a:t>Name Surname</a:t>
              </a:r>
            </a:p>
            <a:p>
              <a:pPr defTabSz="685800">
                <a:buClrTx/>
                <a:defRPr/>
              </a:pPr>
              <a:r>
                <a:rPr lang="en-GB" sz="825" dirty="0">
                  <a:solidFill>
                    <a:srgbClr val="313131"/>
                  </a:solidFill>
                  <a:ea typeface="+mn-ea"/>
                  <a:cs typeface="+mn-cs"/>
                </a:rPr>
                <a:t>Name Surname</a:t>
              </a:r>
            </a:p>
            <a:p>
              <a:pPr defTabSz="685800">
                <a:buClrTx/>
                <a:defRPr/>
              </a:pPr>
              <a:r>
                <a:rPr lang="en-GB" sz="825" dirty="0">
                  <a:solidFill>
                    <a:srgbClr val="313131"/>
                  </a:solidFill>
                  <a:ea typeface="+mn-ea"/>
                  <a:cs typeface="+mn-cs"/>
                </a:rPr>
                <a:t>Name Surname</a:t>
              </a:r>
            </a:p>
          </p:txBody>
        </p:sp>
      </p:grpSp>
      <p:grpSp>
        <p:nvGrpSpPr>
          <p:cNvPr id="116" name="Group 115"/>
          <p:cNvGrpSpPr/>
          <p:nvPr/>
        </p:nvGrpSpPr>
        <p:grpSpPr>
          <a:xfrm>
            <a:off x="1423988" y="3455778"/>
            <a:ext cx="1178727" cy="661884"/>
            <a:chOff x="5857884" y="1732586"/>
            <a:chExt cx="1571636" cy="882512"/>
          </a:xfrm>
        </p:grpSpPr>
        <p:sp>
          <p:nvSpPr>
            <p:cNvPr id="117" name="Rectangle 116"/>
            <p:cNvSpPr/>
            <p:nvPr/>
          </p:nvSpPr>
          <p:spPr>
            <a:xfrm>
              <a:off x="5857884" y="1732586"/>
              <a:ext cx="1571636" cy="270000"/>
            </a:xfrm>
            <a:prstGeom prst="rect">
              <a:avLst/>
            </a:prstGeom>
            <a:solidFill>
              <a:sysClr val="windowText" lastClr="000000">
                <a:lumMod val="65000"/>
                <a:lumOff val="35000"/>
              </a:sysClr>
            </a:solidFill>
            <a:ln w="25400" cap="flat" cmpd="sng" algn="ctr">
              <a:noFill/>
              <a:prstDash val="solid"/>
            </a:ln>
            <a:effectLst/>
          </p:spPr>
          <p:txBody>
            <a:bodyPr rtlCol="0" anchor="ctr"/>
            <a:lstStyle/>
            <a:p>
              <a:pPr algn="ctr" defTabSz="685800">
                <a:buClrTx/>
                <a:defRPr/>
              </a:pPr>
              <a:r>
                <a:rPr lang="en-GB" sz="825" dirty="0" err="1">
                  <a:solidFill>
                    <a:sysClr val="window" lastClr="FFFFFF"/>
                  </a:solidFill>
                  <a:ea typeface="+mn-ea"/>
                  <a:cs typeface="+mn-cs"/>
                </a:rPr>
                <a:t>Workstream</a:t>
              </a:r>
              <a:endParaRPr lang="en-GB" sz="825" dirty="0">
                <a:solidFill>
                  <a:sysClr val="window" lastClr="FFFFFF"/>
                </a:solidFill>
                <a:ea typeface="+mn-ea"/>
                <a:cs typeface="+mn-cs"/>
              </a:endParaRPr>
            </a:p>
          </p:txBody>
        </p:sp>
        <p:sp>
          <p:nvSpPr>
            <p:cNvPr id="118" name="Rectangle 117"/>
            <p:cNvSpPr/>
            <p:nvPr/>
          </p:nvSpPr>
          <p:spPr>
            <a:xfrm>
              <a:off x="5857884" y="2003098"/>
              <a:ext cx="1571636" cy="612000"/>
            </a:xfrm>
            <a:prstGeom prst="rect">
              <a:avLst/>
            </a:prstGeom>
            <a:solidFill>
              <a:srgbClr val="DCDCDC"/>
            </a:solidFill>
            <a:ln w="25400" cap="flat" cmpd="sng" algn="ctr">
              <a:noFill/>
              <a:prstDash val="solid"/>
            </a:ln>
            <a:effectLst/>
          </p:spPr>
          <p:txBody>
            <a:bodyPr rtlCol="0" anchor="t" anchorCtr="0"/>
            <a:lstStyle/>
            <a:p>
              <a:pPr defTabSz="685800">
                <a:buClrTx/>
                <a:defRPr/>
              </a:pPr>
              <a:r>
                <a:rPr lang="en-GB" sz="825" dirty="0">
                  <a:solidFill>
                    <a:srgbClr val="313131"/>
                  </a:solidFill>
                  <a:ea typeface="+mn-ea"/>
                  <a:cs typeface="+mn-cs"/>
                </a:rPr>
                <a:t>Name Surname</a:t>
              </a:r>
            </a:p>
            <a:p>
              <a:pPr defTabSz="685800">
                <a:buClrTx/>
                <a:defRPr/>
              </a:pPr>
              <a:r>
                <a:rPr lang="en-GB" sz="825" dirty="0">
                  <a:solidFill>
                    <a:srgbClr val="313131"/>
                  </a:solidFill>
                  <a:ea typeface="+mn-ea"/>
                  <a:cs typeface="+mn-cs"/>
                </a:rPr>
                <a:t>Name Surname</a:t>
              </a:r>
            </a:p>
            <a:p>
              <a:pPr defTabSz="685800">
                <a:buClrTx/>
                <a:defRPr/>
              </a:pPr>
              <a:r>
                <a:rPr lang="en-GB" sz="825" dirty="0">
                  <a:solidFill>
                    <a:srgbClr val="313131"/>
                  </a:solidFill>
                  <a:ea typeface="+mn-ea"/>
                  <a:cs typeface="+mn-cs"/>
                </a:rPr>
                <a:t>Name Surname</a:t>
              </a:r>
            </a:p>
          </p:txBody>
        </p:sp>
      </p:grpSp>
      <p:grpSp>
        <p:nvGrpSpPr>
          <p:cNvPr id="119" name="Group 118"/>
          <p:cNvGrpSpPr/>
          <p:nvPr/>
        </p:nvGrpSpPr>
        <p:grpSpPr>
          <a:xfrm>
            <a:off x="2696753" y="3455778"/>
            <a:ext cx="1178727" cy="661884"/>
            <a:chOff x="5857884" y="1732586"/>
            <a:chExt cx="1571636" cy="882512"/>
          </a:xfrm>
        </p:grpSpPr>
        <p:sp>
          <p:nvSpPr>
            <p:cNvPr id="120" name="Rectangle 119"/>
            <p:cNvSpPr/>
            <p:nvPr/>
          </p:nvSpPr>
          <p:spPr>
            <a:xfrm>
              <a:off x="5857884" y="1732586"/>
              <a:ext cx="1571636" cy="270000"/>
            </a:xfrm>
            <a:prstGeom prst="rect">
              <a:avLst/>
            </a:prstGeom>
            <a:solidFill>
              <a:sysClr val="windowText" lastClr="000000">
                <a:lumMod val="65000"/>
                <a:lumOff val="35000"/>
              </a:sysClr>
            </a:solidFill>
            <a:ln w="25400" cap="flat" cmpd="sng" algn="ctr">
              <a:noFill/>
              <a:prstDash val="solid"/>
            </a:ln>
            <a:effectLst/>
          </p:spPr>
          <p:txBody>
            <a:bodyPr rtlCol="0" anchor="ctr"/>
            <a:lstStyle/>
            <a:p>
              <a:pPr algn="ctr" defTabSz="685800">
                <a:buClrTx/>
                <a:defRPr/>
              </a:pPr>
              <a:r>
                <a:rPr lang="en-GB" sz="825" dirty="0" err="1">
                  <a:solidFill>
                    <a:sysClr val="window" lastClr="FFFFFF"/>
                  </a:solidFill>
                  <a:ea typeface="+mn-ea"/>
                  <a:cs typeface="+mn-cs"/>
                </a:rPr>
                <a:t>Workstream</a:t>
              </a:r>
              <a:endParaRPr lang="en-GB" sz="825" dirty="0">
                <a:solidFill>
                  <a:sysClr val="window" lastClr="FFFFFF"/>
                </a:solidFill>
                <a:ea typeface="+mn-ea"/>
                <a:cs typeface="+mn-cs"/>
              </a:endParaRPr>
            </a:p>
          </p:txBody>
        </p:sp>
        <p:sp>
          <p:nvSpPr>
            <p:cNvPr id="121" name="Rectangle 120"/>
            <p:cNvSpPr/>
            <p:nvPr/>
          </p:nvSpPr>
          <p:spPr>
            <a:xfrm>
              <a:off x="5857884" y="2003098"/>
              <a:ext cx="1571636" cy="612000"/>
            </a:xfrm>
            <a:prstGeom prst="rect">
              <a:avLst/>
            </a:prstGeom>
            <a:solidFill>
              <a:srgbClr val="DCDCDC"/>
            </a:solidFill>
            <a:ln w="25400" cap="flat" cmpd="sng" algn="ctr">
              <a:noFill/>
              <a:prstDash val="solid"/>
            </a:ln>
            <a:effectLst/>
          </p:spPr>
          <p:txBody>
            <a:bodyPr rtlCol="0" anchor="t" anchorCtr="0"/>
            <a:lstStyle/>
            <a:p>
              <a:pPr defTabSz="685800">
                <a:buClrTx/>
                <a:defRPr/>
              </a:pPr>
              <a:r>
                <a:rPr lang="en-GB" sz="825" dirty="0">
                  <a:solidFill>
                    <a:srgbClr val="313131"/>
                  </a:solidFill>
                  <a:ea typeface="+mn-ea"/>
                  <a:cs typeface="+mn-cs"/>
                </a:rPr>
                <a:t>Name Surname</a:t>
              </a:r>
            </a:p>
            <a:p>
              <a:pPr defTabSz="685800">
                <a:buClrTx/>
                <a:defRPr/>
              </a:pPr>
              <a:r>
                <a:rPr lang="en-GB" sz="825" dirty="0">
                  <a:solidFill>
                    <a:srgbClr val="313131"/>
                  </a:solidFill>
                  <a:ea typeface="+mn-ea"/>
                  <a:cs typeface="+mn-cs"/>
                </a:rPr>
                <a:t>Name Surname</a:t>
              </a:r>
            </a:p>
            <a:p>
              <a:pPr defTabSz="685800">
                <a:buClrTx/>
                <a:defRPr/>
              </a:pPr>
              <a:r>
                <a:rPr lang="en-GB" sz="825" dirty="0">
                  <a:solidFill>
                    <a:srgbClr val="313131"/>
                  </a:solidFill>
                  <a:ea typeface="+mn-ea"/>
                  <a:cs typeface="+mn-cs"/>
                </a:rPr>
                <a:t>Name Surname</a:t>
              </a:r>
            </a:p>
          </p:txBody>
        </p:sp>
      </p:grpSp>
      <p:grpSp>
        <p:nvGrpSpPr>
          <p:cNvPr id="122" name="Group 121"/>
          <p:cNvGrpSpPr/>
          <p:nvPr/>
        </p:nvGrpSpPr>
        <p:grpSpPr>
          <a:xfrm>
            <a:off x="3982637" y="3455778"/>
            <a:ext cx="1178727" cy="661884"/>
            <a:chOff x="5857884" y="1732586"/>
            <a:chExt cx="1571636" cy="882512"/>
          </a:xfrm>
        </p:grpSpPr>
        <p:sp>
          <p:nvSpPr>
            <p:cNvPr id="123" name="Rectangle 122"/>
            <p:cNvSpPr/>
            <p:nvPr/>
          </p:nvSpPr>
          <p:spPr>
            <a:xfrm>
              <a:off x="5857884" y="1732586"/>
              <a:ext cx="1571636" cy="270000"/>
            </a:xfrm>
            <a:prstGeom prst="rect">
              <a:avLst/>
            </a:prstGeom>
            <a:solidFill>
              <a:srgbClr val="81BC00"/>
            </a:solidFill>
            <a:ln w="25400" cap="flat" cmpd="sng" algn="ctr">
              <a:noFill/>
              <a:prstDash val="solid"/>
            </a:ln>
            <a:effectLst/>
          </p:spPr>
          <p:txBody>
            <a:bodyPr rtlCol="0" anchor="ctr"/>
            <a:lstStyle/>
            <a:p>
              <a:pPr algn="ctr" defTabSz="685800">
                <a:buClrTx/>
                <a:defRPr/>
              </a:pPr>
              <a:r>
                <a:rPr lang="en-GB" sz="825" dirty="0" err="1">
                  <a:solidFill>
                    <a:sysClr val="window" lastClr="FFFFFF"/>
                  </a:solidFill>
                  <a:ea typeface="+mn-ea"/>
                  <a:cs typeface="+mn-cs"/>
                </a:rPr>
                <a:t>Workstream</a:t>
              </a:r>
              <a:endParaRPr lang="en-GB" sz="825" dirty="0">
                <a:solidFill>
                  <a:sysClr val="window" lastClr="FFFFFF"/>
                </a:solidFill>
                <a:ea typeface="+mn-ea"/>
                <a:cs typeface="+mn-cs"/>
              </a:endParaRPr>
            </a:p>
          </p:txBody>
        </p:sp>
        <p:sp>
          <p:nvSpPr>
            <p:cNvPr id="124" name="Rectangle 123"/>
            <p:cNvSpPr/>
            <p:nvPr/>
          </p:nvSpPr>
          <p:spPr>
            <a:xfrm>
              <a:off x="5857884" y="2003098"/>
              <a:ext cx="1571636" cy="612000"/>
            </a:xfrm>
            <a:prstGeom prst="rect">
              <a:avLst/>
            </a:prstGeom>
            <a:solidFill>
              <a:srgbClr val="DCDCDC"/>
            </a:solidFill>
            <a:ln w="25400" cap="flat" cmpd="sng" algn="ctr">
              <a:noFill/>
              <a:prstDash val="solid"/>
            </a:ln>
            <a:effectLst/>
          </p:spPr>
          <p:txBody>
            <a:bodyPr rtlCol="0" anchor="t" anchorCtr="0"/>
            <a:lstStyle/>
            <a:p>
              <a:pPr defTabSz="685800">
                <a:buClrTx/>
                <a:defRPr/>
              </a:pPr>
              <a:r>
                <a:rPr lang="en-GB" sz="825" dirty="0">
                  <a:solidFill>
                    <a:srgbClr val="313131"/>
                  </a:solidFill>
                  <a:ea typeface="+mn-ea"/>
                  <a:cs typeface="+mn-cs"/>
                </a:rPr>
                <a:t>Name Surname</a:t>
              </a:r>
            </a:p>
            <a:p>
              <a:pPr defTabSz="685800">
                <a:buClrTx/>
                <a:defRPr/>
              </a:pPr>
              <a:r>
                <a:rPr lang="en-GB" sz="825" dirty="0">
                  <a:solidFill>
                    <a:srgbClr val="313131"/>
                  </a:solidFill>
                  <a:ea typeface="+mn-ea"/>
                  <a:cs typeface="+mn-cs"/>
                </a:rPr>
                <a:t>Name Surname</a:t>
              </a:r>
            </a:p>
            <a:p>
              <a:pPr defTabSz="685800">
                <a:buClrTx/>
                <a:defRPr/>
              </a:pPr>
              <a:r>
                <a:rPr lang="en-GB" sz="825" dirty="0">
                  <a:solidFill>
                    <a:srgbClr val="313131"/>
                  </a:solidFill>
                  <a:ea typeface="+mn-ea"/>
                  <a:cs typeface="+mn-cs"/>
                </a:rPr>
                <a:t>Name Surname</a:t>
              </a:r>
            </a:p>
          </p:txBody>
        </p:sp>
      </p:grpSp>
      <p:grpSp>
        <p:nvGrpSpPr>
          <p:cNvPr id="125" name="Group 124"/>
          <p:cNvGrpSpPr/>
          <p:nvPr/>
        </p:nvGrpSpPr>
        <p:grpSpPr>
          <a:xfrm>
            <a:off x="5268521" y="3455778"/>
            <a:ext cx="1178727" cy="661884"/>
            <a:chOff x="5857884" y="1732586"/>
            <a:chExt cx="1571636" cy="882512"/>
          </a:xfrm>
        </p:grpSpPr>
        <p:sp>
          <p:nvSpPr>
            <p:cNvPr id="126" name="Rectangle 125"/>
            <p:cNvSpPr/>
            <p:nvPr/>
          </p:nvSpPr>
          <p:spPr>
            <a:xfrm>
              <a:off x="5857884" y="1732586"/>
              <a:ext cx="1571636" cy="270000"/>
            </a:xfrm>
            <a:prstGeom prst="rect">
              <a:avLst/>
            </a:prstGeom>
            <a:solidFill>
              <a:sysClr val="windowText" lastClr="000000">
                <a:lumMod val="65000"/>
                <a:lumOff val="35000"/>
              </a:sysClr>
            </a:solidFill>
            <a:ln w="25400" cap="flat" cmpd="sng" algn="ctr">
              <a:noFill/>
              <a:prstDash val="solid"/>
            </a:ln>
            <a:effectLst/>
          </p:spPr>
          <p:txBody>
            <a:bodyPr rtlCol="0" anchor="ctr"/>
            <a:lstStyle/>
            <a:p>
              <a:pPr algn="ctr" defTabSz="685800">
                <a:buClrTx/>
                <a:defRPr/>
              </a:pPr>
              <a:r>
                <a:rPr lang="en-GB" sz="825" dirty="0" err="1">
                  <a:solidFill>
                    <a:sysClr val="window" lastClr="FFFFFF"/>
                  </a:solidFill>
                  <a:ea typeface="+mn-ea"/>
                  <a:cs typeface="+mn-cs"/>
                </a:rPr>
                <a:t>Workstream</a:t>
              </a:r>
              <a:endParaRPr lang="en-GB" sz="825" dirty="0">
                <a:solidFill>
                  <a:sysClr val="window" lastClr="FFFFFF"/>
                </a:solidFill>
                <a:ea typeface="+mn-ea"/>
                <a:cs typeface="+mn-cs"/>
              </a:endParaRPr>
            </a:p>
          </p:txBody>
        </p:sp>
        <p:sp>
          <p:nvSpPr>
            <p:cNvPr id="127" name="Rectangle 126"/>
            <p:cNvSpPr/>
            <p:nvPr/>
          </p:nvSpPr>
          <p:spPr>
            <a:xfrm>
              <a:off x="5857884" y="2003098"/>
              <a:ext cx="1571636" cy="612000"/>
            </a:xfrm>
            <a:prstGeom prst="rect">
              <a:avLst/>
            </a:prstGeom>
            <a:solidFill>
              <a:srgbClr val="DCDCDC"/>
            </a:solidFill>
            <a:ln w="25400" cap="flat" cmpd="sng" algn="ctr">
              <a:noFill/>
              <a:prstDash val="solid"/>
            </a:ln>
            <a:effectLst/>
          </p:spPr>
          <p:txBody>
            <a:bodyPr rtlCol="0" anchor="t" anchorCtr="0"/>
            <a:lstStyle/>
            <a:p>
              <a:pPr defTabSz="685800">
                <a:buClrTx/>
                <a:defRPr/>
              </a:pPr>
              <a:r>
                <a:rPr lang="en-GB" sz="825" dirty="0">
                  <a:solidFill>
                    <a:sysClr val="windowText" lastClr="000000">
                      <a:lumMod val="75000"/>
                      <a:lumOff val="25000"/>
                    </a:sysClr>
                  </a:solidFill>
                  <a:ea typeface="+mn-ea"/>
                  <a:cs typeface="+mn-cs"/>
                </a:rPr>
                <a:t>Name Surname</a:t>
              </a:r>
            </a:p>
            <a:p>
              <a:pPr defTabSz="685800">
                <a:buClrTx/>
                <a:defRPr/>
              </a:pPr>
              <a:r>
                <a:rPr lang="en-GB" sz="825" dirty="0">
                  <a:solidFill>
                    <a:sysClr val="windowText" lastClr="000000">
                      <a:lumMod val="75000"/>
                      <a:lumOff val="25000"/>
                    </a:sysClr>
                  </a:solidFill>
                  <a:ea typeface="+mn-ea"/>
                  <a:cs typeface="+mn-cs"/>
                </a:rPr>
                <a:t>Name Surname</a:t>
              </a:r>
            </a:p>
            <a:p>
              <a:pPr defTabSz="685800">
                <a:buClrTx/>
                <a:defRPr/>
              </a:pPr>
              <a:r>
                <a:rPr lang="en-GB" sz="825" dirty="0">
                  <a:solidFill>
                    <a:sysClr val="windowText" lastClr="000000">
                      <a:lumMod val="75000"/>
                      <a:lumOff val="25000"/>
                    </a:sysClr>
                  </a:solidFill>
                  <a:ea typeface="+mn-ea"/>
                  <a:cs typeface="+mn-cs"/>
                </a:rPr>
                <a:t>Name Surname</a:t>
              </a:r>
            </a:p>
          </p:txBody>
        </p:sp>
      </p:grpSp>
      <p:grpSp>
        <p:nvGrpSpPr>
          <p:cNvPr id="128" name="Group 127"/>
          <p:cNvGrpSpPr/>
          <p:nvPr/>
        </p:nvGrpSpPr>
        <p:grpSpPr>
          <a:xfrm>
            <a:off x="6554405" y="3455778"/>
            <a:ext cx="1178727" cy="661884"/>
            <a:chOff x="5857884" y="1732586"/>
            <a:chExt cx="1571636" cy="882512"/>
          </a:xfrm>
        </p:grpSpPr>
        <p:sp>
          <p:nvSpPr>
            <p:cNvPr id="129" name="Rectangle 128"/>
            <p:cNvSpPr/>
            <p:nvPr/>
          </p:nvSpPr>
          <p:spPr>
            <a:xfrm>
              <a:off x="5857884" y="1732586"/>
              <a:ext cx="1571636" cy="270000"/>
            </a:xfrm>
            <a:prstGeom prst="rect">
              <a:avLst/>
            </a:prstGeom>
            <a:solidFill>
              <a:sysClr val="windowText" lastClr="000000">
                <a:lumMod val="65000"/>
                <a:lumOff val="35000"/>
              </a:sysClr>
            </a:solidFill>
            <a:ln w="25400" cap="flat" cmpd="sng" algn="ctr">
              <a:noFill/>
              <a:prstDash val="solid"/>
            </a:ln>
            <a:effectLst/>
          </p:spPr>
          <p:txBody>
            <a:bodyPr rtlCol="0" anchor="ctr"/>
            <a:lstStyle/>
            <a:p>
              <a:pPr algn="ctr" defTabSz="685800">
                <a:buClrTx/>
                <a:defRPr/>
              </a:pPr>
              <a:r>
                <a:rPr lang="en-GB" sz="825" dirty="0" err="1">
                  <a:solidFill>
                    <a:sysClr val="window" lastClr="FFFFFF"/>
                  </a:solidFill>
                  <a:ea typeface="+mn-ea"/>
                  <a:cs typeface="+mn-cs"/>
                </a:rPr>
                <a:t>Workstream</a:t>
              </a:r>
              <a:endParaRPr lang="en-GB" sz="825" dirty="0">
                <a:solidFill>
                  <a:sysClr val="window" lastClr="FFFFFF"/>
                </a:solidFill>
                <a:ea typeface="+mn-ea"/>
                <a:cs typeface="+mn-cs"/>
              </a:endParaRPr>
            </a:p>
          </p:txBody>
        </p:sp>
        <p:sp>
          <p:nvSpPr>
            <p:cNvPr id="130" name="Rectangle 129"/>
            <p:cNvSpPr/>
            <p:nvPr/>
          </p:nvSpPr>
          <p:spPr>
            <a:xfrm>
              <a:off x="5857884" y="2003098"/>
              <a:ext cx="1571636" cy="612000"/>
            </a:xfrm>
            <a:prstGeom prst="rect">
              <a:avLst/>
            </a:prstGeom>
            <a:solidFill>
              <a:srgbClr val="DCDCDC"/>
            </a:solidFill>
            <a:ln w="25400" cap="flat" cmpd="sng" algn="ctr">
              <a:noFill/>
              <a:prstDash val="solid"/>
            </a:ln>
            <a:effectLst/>
          </p:spPr>
          <p:txBody>
            <a:bodyPr rtlCol="0" anchor="t" anchorCtr="0"/>
            <a:lstStyle/>
            <a:p>
              <a:pPr defTabSz="685800">
                <a:buClrTx/>
                <a:defRPr/>
              </a:pPr>
              <a:r>
                <a:rPr lang="en-GB" sz="825" dirty="0">
                  <a:solidFill>
                    <a:srgbClr val="313131"/>
                  </a:solidFill>
                  <a:ea typeface="+mn-ea"/>
                  <a:cs typeface="+mn-cs"/>
                </a:rPr>
                <a:t>Name Surname</a:t>
              </a:r>
            </a:p>
            <a:p>
              <a:pPr defTabSz="685800">
                <a:buClrTx/>
                <a:defRPr/>
              </a:pPr>
              <a:r>
                <a:rPr lang="en-GB" sz="825" dirty="0">
                  <a:solidFill>
                    <a:srgbClr val="313131"/>
                  </a:solidFill>
                  <a:ea typeface="+mn-ea"/>
                  <a:cs typeface="+mn-cs"/>
                </a:rPr>
                <a:t>Name Surname</a:t>
              </a:r>
            </a:p>
            <a:p>
              <a:pPr defTabSz="685800">
                <a:buClrTx/>
                <a:defRPr/>
              </a:pPr>
              <a:r>
                <a:rPr lang="en-GB" sz="825" dirty="0">
                  <a:solidFill>
                    <a:srgbClr val="313131"/>
                  </a:solidFill>
                  <a:ea typeface="+mn-ea"/>
                  <a:cs typeface="+mn-cs"/>
                </a:rPr>
                <a:t>Name Surname</a:t>
              </a:r>
            </a:p>
          </p:txBody>
        </p:sp>
      </p:grpSp>
    </p:spTree>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726" name="Title 1"/>
          <p:cNvSpPr>
            <a:spLocks noGrp="1"/>
          </p:cNvSpPr>
          <p:nvPr>
            <p:ph type="title"/>
            <p:custDataLst>
              <p:tags r:id="rId1"/>
            </p:custDataLst>
          </p:nvPr>
        </p:nvSpPr>
        <p:spPr/>
        <p:txBody>
          <a:bodyPr/>
          <a:lstStyle/>
          <a:p>
            <a:r>
              <a:rPr lang="en-US" dirty="0">
                <a:solidFill>
                  <a:srgbClr val="81BC00"/>
                </a:solidFill>
              </a:rPr>
              <a:t>Organization chart  </a:t>
            </a:r>
            <a:br>
              <a:rPr lang="en-US" dirty="0"/>
            </a:br>
            <a:r>
              <a:rPr lang="en-US" dirty="0">
                <a:solidFill>
                  <a:srgbClr val="575757"/>
                </a:solidFill>
              </a:rPr>
              <a:t>Extensive</a:t>
            </a:r>
          </a:p>
        </p:txBody>
      </p:sp>
      <p:graphicFrame>
        <p:nvGraphicFramePr>
          <p:cNvPr id="243714" name="Rectangle 2" hidden="1"/>
          <p:cNvGraphicFramePr>
            <a:graphicFrameLocks/>
          </p:cNvGraphicFramePr>
          <p:nvPr>
            <p:custDataLst>
              <p:tags r:id="rId2"/>
            </p:custDataLst>
          </p:nvPr>
        </p:nvGraphicFramePr>
        <p:xfrm>
          <a:off x="1143000" y="0"/>
          <a:ext cx="109538" cy="119063"/>
        </p:xfrm>
        <a:graphic>
          <a:graphicData uri="http://schemas.openxmlformats.org/presentationml/2006/ole">
            <mc:AlternateContent xmlns:mc="http://schemas.openxmlformats.org/markup-compatibility/2006">
              <mc:Choice xmlns:v="urn:schemas-microsoft-com:vml" Requires="v">
                <p:oleObj name="think-cell Slide" r:id="rId35" imgW="0" imgH="0" progId="">
                  <p:embed/>
                </p:oleObj>
              </mc:Choice>
              <mc:Fallback>
                <p:oleObj name="think-cell Slide" r:id="rId35" imgW="0" imgH="0" progId="">
                  <p:embed/>
                  <p:pic>
                    <p:nvPicPr>
                      <p:cNvPr id="243714"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43716" name="Group 12"/>
          <p:cNvGrpSpPr>
            <a:grpSpLocks/>
          </p:cNvGrpSpPr>
          <p:nvPr/>
        </p:nvGrpSpPr>
        <p:grpSpPr bwMode="auto">
          <a:xfrm>
            <a:off x="1832372" y="3535681"/>
            <a:ext cx="998934" cy="335756"/>
            <a:chOff x="300" y="872"/>
            <a:chExt cx="1847" cy="499"/>
          </a:xfrm>
          <a:solidFill>
            <a:schemeClr val="bg1"/>
          </a:solidFill>
        </p:grpSpPr>
        <p:sp>
          <p:nvSpPr>
            <p:cNvPr id="243806" name="Text Box 10"/>
            <p:cNvSpPr txBox="1">
              <a:spLocks noChangeArrowheads="1"/>
            </p:cNvSpPr>
            <p:nvPr/>
          </p:nvSpPr>
          <p:spPr bwMode="auto">
            <a:xfrm>
              <a:off x="300" y="872"/>
              <a:ext cx="1847" cy="199"/>
            </a:xfrm>
            <a:prstGeom prst="rect">
              <a:avLst/>
            </a:prstGeom>
            <a:solidFill>
              <a:srgbClr val="575757"/>
            </a:solidFill>
            <a:ln w="12700" algn="ctr">
              <a:noFill/>
              <a:miter lim="800000"/>
              <a:headEnd/>
              <a:tailEnd type="none" w="sm" len="med"/>
            </a:ln>
          </p:spPr>
          <p:txBody>
            <a:bodyPr lIns="27000" tIns="27000" rIns="27000" bIns="27000" anchor="ctr" anchorCtr="1"/>
            <a:lstStyle/>
            <a:p>
              <a:pPr defTabSz="717947">
                <a:buClrTx/>
              </a:pPr>
              <a:r>
                <a:rPr lang="en-US" sz="825" kern="1200" dirty="0">
                  <a:solidFill>
                    <a:prstClr val="white"/>
                  </a:solidFill>
                  <a:ea typeface="+mn-ea"/>
                  <a:cs typeface="+mn-cs"/>
                </a:rPr>
                <a:t>Label</a:t>
              </a:r>
            </a:p>
          </p:txBody>
        </p:sp>
        <p:sp>
          <p:nvSpPr>
            <p:cNvPr id="152" name="Rectangle 151"/>
            <p:cNvSpPr>
              <a:spLocks noChangeArrowheads="1"/>
            </p:cNvSpPr>
            <p:nvPr/>
          </p:nvSpPr>
          <p:spPr bwMode="auto">
            <a:xfrm>
              <a:off x="300" y="1070"/>
              <a:ext cx="1847" cy="301"/>
            </a:xfrm>
            <a:prstGeom prst="rect">
              <a:avLst/>
            </a:prstGeom>
            <a:solidFill>
              <a:srgbClr val="DCDCDC"/>
            </a:solidFill>
            <a:ln w="12700" algn="ctr">
              <a:noFill/>
              <a:miter lim="800000"/>
              <a:headEnd/>
              <a:tailEnd/>
            </a:ln>
          </p:spPr>
          <p:txBody>
            <a:bodyPr lIns="27000" tIns="27000" rIns="27000" bIns="27000" anchor="ctr"/>
            <a:lstStyle/>
            <a:p>
              <a:pPr marL="269717" indent="-269717" defTabSz="718499">
                <a:lnSpc>
                  <a:spcPct val="106000"/>
                </a:lnSpc>
                <a:spcBef>
                  <a:spcPts val="1008"/>
                </a:spcBef>
                <a:buClrTx/>
                <a:defRPr/>
              </a:pPr>
              <a:r>
                <a:rPr lang="en-US" sz="825" kern="1200" dirty="0">
                  <a:solidFill>
                    <a:srgbClr val="313131"/>
                  </a:solidFill>
                  <a:ea typeface="+mn-ea"/>
                  <a:cs typeface="+mn-cs"/>
                </a:rPr>
                <a:t>Text</a:t>
              </a:r>
            </a:p>
          </p:txBody>
        </p:sp>
      </p:grpSp>
      <p:grpSp>
        <p:nvGrpSpPr>
          <p:cNvPr id="243717" name="Group 12"/>
          <p:cNvGrpSpPr>
            <a:grpSpLocks/>
          </p:cNvGrpSpPr>
          <p:nvPr/>
        </p:nvGrpSpPr>
        <p:grpSpPr bwMode="auto">
          <a:xfrm>
            <a:off x="1832372" y="3971449"/>
            <a:ext cx="998934" cy="335756"/>
            <a:chOff x="300" y="872"/>
            <a:chExt cx="1847" cy="499"/>
          </a:xfrm>
          <a:solidFill>
            <a:schemeClr val="bg1"/>
          </a:solidFill>
        </p:grpSpPr>
        <p:sp>
          <p:nvSpPr>
            <p:cNvPr id="243804" name="Text Box 10"/>
            <p:cNvSpPr txBox="1">
              <a:spLocks noChangeArrowheads="1"/>
            </p:cNvSpPr>
            <p:nvPr/>
          </p:nvSpPr>
          <p:spPr bwMode="auto">
            <a:xfrm>
              <a:off x="300" y="872"/>
              <a:ext cx="1847" cy="199"/>
            </a:xfrm>
            <a:prstGeom prst="rect">
              <a:avLst/>
            </a:prstGeom>
            <a:solidFill>
              <a:srgbClr val="575757"/>
            </a:solidFill>
            <a:ln w="12700" algn="ctr">
              <a:noFill/>
              <a:miter lim="800000"/>
              <a:headEnd/>
              <a:tailEnd type="none" w="sm" len="med"/>
            </a:ln>
          </p:spPr>
          <p:txBody>
            <a:bodyPr lIns="27000" tIns="27000" rIns="27000" bIns="27000" anchor="ctr" anchorCtr="1"/>
            <a:lstStyle/>
            <a:p>
              <a:pPr defTabSz="717947">
                <a:buClrTx/>
              </a:pPr>
              <a:r>
                <a:rPr lang="en-US" sz="825" kern="1200" dirty="0">
                  <a:solidFill>
                    <a:prstClr val="white"/>
                  </a:solidFill>
                  <a:ea typeface="+mn-ea"/>
                  <a:cs typeface="+mn-cs"/>
                </a:rPr>
                <a:t>Label</a:t>
              </a:r>
            </a:p>
          </p:txBody>
        </p:sp>
        <p:sp>
          <p:nvSpPr>
            <p:cNvPr id="155" name="Rectangle 154"/>
            <p:cNvSpPr>
              <a:spLocks noChangeArrowheads="1"/>
            </p:cNvSpPr>
            <p:nvPr/>
          </p:nvSpPr>
          <p:spPr bwMode="auto">
            <a:xfrm>
              <a:off x="300" y="1070"/>
              <a:ext cx="1847" cy="301"/>
            </a:xfrm>
            <a:prstGeom prst="rect">
              <a:avLst/>
            </a:prstGeom>
            <a:solidFill>
              <a:srgbClr val="DCDCDC"/>
            </a:solidFill>
            <a:ln w="12700" algn="ctr">
              <a:noFill/>
              <a:miter lim="800000"/>
              <a:headEnd/>
              <a:tailEnd/>
            </a:ln>
          </p:spPr>
          <p:txBody>
            <a:bodyPr lIns="27000" tIns="27000" rIns="27000" bIns="27000" anchor="ctr"/>
            <a:lstStyle/>
            <a:p>
              <a:pPr marL="269717" indent="-269717" defTabSz="718499">
                <a:lnSpc>
                  <a:spcPct val="106000"/>
                </a:lnSpc>
                <a:spcBef>
                  <a:spcPts val="1008"/>
                </a:spcBef>
                <a:buClrTx/>
                <a:defRPr/>
              </a:pPr>
              <a:r>
                <a:rPr lang="en-US" sz="825" kern="1200" dirty="0">
                  <a:solidFill>
                    <a:srgbClr val="313131"/>
                  </a:solidFill>
                  <a:ea typeface="+mn-ea"/>
                  <a:cs typeface="+mn-cs"/>
                </a:rPr>
                <a:t>Text</a:t>
              </a:r>
            </a:p>
          </p:txBody>
        </p:sp>
      </p:grpSp>
      <p:grpSp>
        <p:nvGrpSpPr>
          <p:cNvPr id="243718" name="Group 12"/>
          <p:cNvGrpSpPr>
            <a:grpSpLocks/>
          </p:cNvGrpSpPr>
          <p:nvPr/>
        </p:nvGrpSpPr>
        <p:grpSpPr bwMode="auto">
          <a:xfrm>
            <a:off x="1832372" y="4408409"/>
            <a:ext cx="998934" cy="335756"/>
            <a:chOff x="300" y="872"/>
            <a:chExt cx="1847" cy="499"/>
          </a:xfrm>
          <a:solidFill>
            <a:schemeClr val="bg1"/>
          </a:solidFill>
        </p:grpSpPr>
        <p:sp>
          <p:nvSpPr>
            <p:cNvPr id="243802" name="Text Box 10"/>
            <p:cNvSpPr txBox="1">
              <a:spLocks noChangeArrowheads="1"/>
            </p:cNvSpPr>
            <p:nvPr/>
          </p:nvSpPr>
          <p:spPr bwMode="auto">
            <a:xfrm>
              <a:off x="300" y="872"/>
              <a:ext cx="1847" cy="199"/>
            </a:xfrm>
            <a:prstGeom prst="rect">
              <a:avLst/>
            </a:prstGeom>
            <a:solidFill>
              <a:srgbClr val="575757"/>
            </a:solidFill>
            <a:ln w="12700" algn="ctr">
              <a:noFill/>
              <a:miter lim="800000"/>
              <a:headEnd/>
              <a:tailEnd type="none" w="sm" len="med"/>
            </a:ln>
          </p:spPr>
          <p:txBody>
            <a:bodyPr lIns="27000" tIns="27000" rIns="27000" bIns="27000" anchor="ctr" anchorCtr="1"/>
            <a:lstStyle/>
            <a:p>
              <a:pPr defTabSz="717947">
                <a:buClrTx/>
              </a:pPr>
              <a:r>
                <a:rPr lang="en-US" sz="825" kern="1200" dirty="0">
                  <a:solidFill>
                    <a:prstClr val="white"/>
                  </a:solidFill>
                  <a:ea typeface="+mn-ea"/>
                  <a:cs typeface="+mn-cs"/>
                </a:rPr>
                <a:t>Label</a:t>
              </a:r>
            </a:p>
          </p:txBody>
        </p:sp>
        <p:sp>
          <p:nvSpPr>
            <p:cNvPr id="158" name="Rectangle 157"/>
            <p:cNvSpPr>
              <a:spLocks noChangeArrowheads="1"/>
            </p:cNvSpPr>
            <p:nvPr/>
          </p:nvSpPr>
          <p:spPr bwMode="auto">
            <a:xfrm>
              <a:off x="300" y="1070"/>
              <a:ext cx="1847" cy="301"/>
            </a:xfrm>
            <a:prstGeom prst="rect">
              <a:avLst/>
            </a:prstGeom>
            <a:solidFill>
              <a:srgbClr val="DCDCDC"/>
            </a:solidFill>
            <a:ln w="12700" algn="ctr">
              <a:noFill/>
              <a:miter lim="800000"/>
              <a:headEnd/>
              <a:tailEnd/>
            </a:ln>
          </p:spPr>
          <p:txBody>
            <a:bodyPr lIns="27000" tIns="27000" rIns="27000" bIns="27000" anchor="ctr"/>
            <a:lstStyle/>
            <a:p>
              <a:pPr marL="269717" indent="-269717" defTabSz="718499">
                <a:lnSpc>
                  <a:spcPct val="106000"/>
                </a:lnSpc>
                <a:spcBef>
                  <a:spcPts val="1008"/>
                </a:spcBef>
                <a:buClrTx/>
                <a:defRPr/>
              </a:pPr>
              <a:r>
                <a:rPr lang="en-US" sz="825" kern="1200" dirty="0">
                  <a:solidFill>
                    <a:srgbClr val="313131"/>
                  </a:solidFill>
                  <a:ea typeface="+mn-ea"/>
                  <a:cs typeface="+mn-cs"/>
                </a:rPr>
                <a:t>Text</a:t>
              </a:r>
            </a:p>
          </p:txBody>
        </p:sp>
      </p:grpSp>
      <p:grpSp>
        <p:nvGrpSpPr>
          <p:cNvPr id="243719" name="Group 12"/>
          <p:cNvGrpSpPr>
            <a:grpSpLocks/>
          </p:cNvGrpSpPr>
          <p:nvPr>
            <p:custDataLst>
              <p:tags r:id="rId3"/>
            </p:custDataLst>
          </p:nvPr>
        </p:nvGrpSpPr>
        <p:grpSpPr bwMode="auto">
          <a:xfrm>
            <a:off x="2719388" y="1842612"/>
            <a:ext cx="1000125" cy="335756"/>
            <a:chOff x="300" y="872"/>
            <a:chExt cx="1847" cy="499"/>
          </a:xfrm>
          <a:solidFill>
            <a:schemeClr val="bg1"/>
          </a:solidFill>
        </p:grpSpPr>
        <p:sp>
          <p:nvSpPr>
            <p:cNvPr id="243800" name="Text Box 10"/>
            <p:cNvSpPr txBox="1">
              <a:spLocks noChangeArrowheads="1"/>
            </p:cNvSpPr>
            <p:nvPr/>
          </p:nvSpPr>
          <p:spPr bwMode="auto">
            <a:xfrm>
              <a:off x="300" y="872"/>
              <a:ext cx="1847" cy="199"/>
            </a:xfrm>
            <a:prstGeom prst="rect">
              <a:avLst/>
            </a:prstGeom>
            <a:solidFill>
              <a:srgbClr val="81BC00"/>
            </a:solidFill>
            <a:ln w="12700" algn="ctr">
              <a:noFill/>
              <a:miter lim="800000"/>
              <a:headEnd/>
              <a:tailEnd type="none" w="sm" len="med"/>
            </a:ln>
          </p:spPr>
          <p:txBody>
            <a:bodyPr lIns="27000" tIns="27000" rIns="27000" bIns="27000" anchor="ctr" anchorCtr="1"/>
            <a:lstStyle/>
            <a:p>
              <a:pPr defTabSz="717947">
                <a:buClrTx/>
              </a:pPr>
              <a:r>
                <a:rPr lang="en-US" sz="825" kern="1200" dirty="0">
                  <a:solidFill>
                    <a:prstClr val="white"/>
                  </a:solidFill>
                  <a:ea typeface="+mn-ea"/>
                  <a:cs typeface="+mn-cs"/>
                </a:rPr>
                <a:t>Label</a:t>
              </a:r>
            </a:p>
          </p:txBody>
        </p:sp>
        <p:sp>
          <p:nvSpPr>
            <p:cNvPr id="109" name="Rectangle 108"/>
            <p:cNvSpPr>
              <a:spLocks noChangeArrowheads="1"/>
            </p:cNvSpPr>
            <p:nvPr/>
          </p:nvSpPr>
          <p:spPr bwMode="auto">
            <a:xfrm>
              <a:off x="300" y="1070"/>
              <a:ext cx="1847" cy="301"/>
            </a:xfrm>
            <a:prstGeom prst="rect">
              <a:avLst/>
            </a:prstGeom>
            <a:solidFill>
              <a:srgbClr val="DCDCDC"/>
            </a:solidFill>
            <a:ln w="12700" algn="ctr">
              <a:noFill/>
              <a:miter lim="800000"/>
              <a:headEnd/>
              <a:tailEnd/>
            </a:ln>
          </p:spPr>
          <p:txBody>
            <a:bodyPr lIns="27000" tIns="27000" rIns="27000" bIns="27000" anchor="ctr"/>
            <a:lstStyle/>
            <a:p>
              <a:pPr marL="269717" indent="-269717" defTabSz="718499">
                <a:lnSpc>
                  <a:spcPct val="106000"/>
                </a:lnSpc>
                <a:spcBef>
                  <a:spcPts val="1008"/>
                </a:spcBef>
                <a:buClrTx/>
                <a:defRPr/>
              </a:pPr>
              <a:r>
                <a:rPr lang="en-US" sz="825" kern="1200" dirty="0">
                  <a:solidFill>
                    <a:srgbClr val="313131"/>
                  </a:solidFill>
                  <a:ea typeface="+mn-ea"/>
                  <a:cs typeface="+mn-cs"/>
                </a:rPr>
                <a:t>Text</a:t>
              </a:r>
            </a:p>
          </p:txBody>
        </p:sp>
      </p:grpSp>
      <p:grpSp>
        <p:nvGrpSpPr>
          <p:cNvPr id="243720" name="Group 12"/>
          <p:cNvGrpSpPr>
            <a:grpSpLocks/>
          </p:cNvGrpSpPr>
          <p:nvPr>
            <p:custDataLst>
              <p:tags r:id="rId4"/>
            </p:custDataLst>
          </p:nvPr>
        </p:nvGrpSpPr>
        <p:grpSpPr bwMode="auto">
          <a:xfrm>
            <a:off x="5111354" y="1842612"/>
            <a:ext cx="1000125" cy="335756"/>
            <a:chOff x="300" y="872"/>
            <a:chExt cx="1847" cy="499"/>
          </a:xfrm>
          <a:solidFill>
            <a:schemeClr val="bg1"/>
          </a:solidFill>
        </p:grpSpPr>
        <p:sp>
          <p:nvSpPr>
            <p:cNvPr id="243798" name="Text Box 10"/>
            <p:cNvSpPr txBox="1">
              <a:spLocks noChangeArrowheads="1"/>
            </p:cNvSpPr>
            <p:nvPr/>
          </p:nvSpPr>
          <p:spPr bwMode="auto">
            <a:xfrm>
              <a:off x="300" y="872"/>
              <a:ext cx="1847" cy="199"/>
            </a:xfrm>
            <a:prstGeom prst="rect">
              <a:avLst/>
            </a:prstGeom>
            <a:solidFill>
              <a:srgbClr val="81BC00"/>
            </a:solidFill>
            <a:ln w="12700" algn="ctr">
              <a:noFill/>
              <a:miter lim="800000"/>
              <a:headEnd/>
              <a:tailEnd type="none" w="sm" len="med"/>
            </a:ln>
          </p:spPr>
          <p:txBody>
            <a:bodyPr lIns="27000" tIns="27000" rIns="27000" bIns="27000" anchor="ctr" anchorCtr="1"/>
            <a:lstStyle/>
            <a:p>
              <a:pPr defTabSz="717947">
                <a:buClrTx/>
              </a:pPr>
              <a:r>
                <a:rPr lang="en-US" sz="825" kern="1200" dirty="0">
                  <a:solidFill>
                    <a:prstClr val="white"/>
                  </a:solidFill>
                  <a:ea typeface="+mn-ea"/>
                  <a:cs typeface="+mn-cs"/>
                </a:rPr>
                <a:t>Label</a:t>
              </a:r>
            </a:p>
          </p:txBody>
        </p:sp>
        <p:sp>
          <p:nvSpPr>
            <p:cNvPr id="113" name="Rectangle 112"/>
            <p:cNvSpPr>
              <a:spLocks noChangeArrowheads="1"/>
            </p:cNvSpPr>
            <p:nvPr/>
          </p:nvSpPr>
          <p:spPr bwMode="auto">
            <a:xfrm>
              <a:off x="300" y="1070"/>
              <a:ext cx="1847" cy="301"/>
            </a:xfrm>
            <a:prstGeom prst="rect">
              <a:avLst/>
            </a:prstGeom>
            <a:solidFill>
              <a:srgbClr val="DCDCDC"/>
            </a:solidFill>
            <a:ln w="12700" algn="ctr">
              <a:noFill/>
              <a:miter lim="800000"/>
              <a:headEnd/>
              <a:tailEnd/>
            </a:ln>
          </p:spPr>
          <p:txBody>
            <a:bodyPr lIns="27000" tIns="27000" rIns="27000" bIns="27000" anchor="ctr"/>
            <a:lstStyle/>
            <a:p>
              <a:pPr marL="269717" indent="-269717" defTabSz="718499">
                <a:lnSpc>
                  <a:spcPct val="106000"/>
                </a:lnSpc>
                <a:spcBef>
                  <a:spcPts val="1008"/>
                </a:spcBef>
                <a:buClrTx/>
                <a:defRPr/>
              </a:pPr>
              <a:r>
                <a:rPr lang="en-US" sz="825" kern="1200" dirty="0">
                  <a:solidFill>
                    <a:srgbClr val="313131"/>
                  </a:solidFill>
                  <a:ea typeface="+mn-ea"/>
                  <a:cs typeface="+mn-cs"/>
                </a:rPr>
                <a:t>Text</a:t>
              </a:r>
            </a:p>
          </p:txBody>
        </p:sp>
      </p:grpSp>
      <p:grpSp>
        <p:nvGrpSpPr>
          <p:cNvPr id="243721" name="Group 12"/>
          <p:cNvGrpSpPr>
            <a:grpSpLocks/>
          </p:cNvGrpSpPr>
          <p:nvPr>
            <p:custDataLst>
              <p:tags r:id="rId5"/>
            </p:custDataLst>
          </p:nvPr>
        </p:nvGrpSpPr>
        <p:grpSpPr bwMode="auto">
          <a:xfrm>
            <a:off x="1433513" y="2433161"/>
            <a:ext cx="1102519" cy="566738"/>
            <a:chOff x="300" y="872"/>
            <a:chExt cx="1847" cy="842"/>
          </a:xfrm>
          <a:solidFill>
            <a:schemeClr val="bg1"/>
          </a:solidFill>
        </p:grpSpPr>
        <p:sp>
          <p:nvSpPr>
            <p:cNvPr id="243796" name="Text Box 10"/>
            <p:cNvSpPr txBox="1">
              <a:spLocks noChangeArrowheads="1"/>
            </p:cNvSpPr>
            <p:nvPr/>
          </p:nvSpPr>
          <p:spPr bwMode="auto">
            <a:xfrm>
              <a:off x="300" y="872"/>
              <a:ext cx="1847" cy="199"/>
            </a:xfrm>
            <a:prstGeom prst="rect">
              <a:avLst/>
            </a:prstGeom>
            <a:solidFill>
              <a:srgbClr val="00A1DE"/>
            </a:solidFill>
            <a:ln w="12700" algn="ctr">
              <a:solidFill>
                <a:srgbClr val="00A1DE"/>
              </a:solidFill>
              <a:miter lim="800000"/>
              <a:headEnd/>
              <a:tailEnd type="none" w="sm" len="med"/>
            </a:ln>
          </p:spPr>
          <p:txBody>
            <a:bodyPr lIns="27000" tIns="27000" rIns="27000" bIns="27000" anchor="ctr" anchorCtr="1"/>
            <a:lstStyle/>
            <a:p>
              <a:pPr defTabSz="717947">
                <a:buClrTx/>
              </a:pPr>
              <a:r>
                <a:rPr lang="en-US" sz="825" kern="1200" dirty="0">
                  <a:solidFill>
                    <a:prstClr val="white"/>
                  </a:solidFill>
                  <a:ea typeface="+mn-ea"/>
                  <a:cs typeface="+mn-cs"/>
                </a:rPr>
                <a:t>Label</a:t>
              </a:r>
            </a:p>
          </p:txBody>
        </p:sp>
        <p:sp>
          <p:nvSpPr>
            <p:cNvPr id="97" name="Rectangle 96"/>
            <p:cNvSpPr>
              <a:spLocks noChangeArrowheads="1"/>
            </p:cNvSpPr>
            <p:nvPr/>
          </p:nvSpPr>
          <p:spPr bwMode="auto">
            <a:xfrm>
              <a:off x="300" y="1070"/>
              <a:ext cx="1847" cy="644"/>
            </a:xfrm>
            <a:prstGeom prst="rect">
              <a:avLst/>
            </a:prstGeom>
            <a:solidFill>
              <a:srgbClr val="DCDCDC"/>
            </a:solidFill>
            <a:ln w="12700" algn="ctr">
              <a:noFill/>
              <a:miter lim="800000"/>
              <a:headEnd/>
              <a:tailEnd/>
            </a:ln>
          </p:spPr>
          <p:txBody>
            <a:bodyPr lIns="27000" tIns="27000" rIns="27000" bIns="27000" anchor="ctr"/>
            <a:lstStyle/>
            <a:p>
              <a:pPr marL="269717" indent="-269717" defTabSz="718499">
                <a:lnSpc>
                  <a:spcPct val="106000"/>
                </a:lnSpc>
                <a:spcBef>
                  <a:spcPts val="1008"/>
                </a:spcBef>
                <a:buClrTx/>
                <a:defRPr/>
              </a:pPr>
              <a:r>
                <a:rPr lang="en-US" sz="825" kern="1200" dirty="0">
                  <a:solidFill>
                    <a:srgbClr val="313131"/>
                  </a:solidFill>
                  <a:ea typeface="+mn-ea"/>
                  <a:cs typeface="+mn-cs"/>
                </a:rPr>
                <a:t>Text</a:t>
              </a:r>
            </a:p>
          </p:txBody>
        </p:sp>
      </p:grpSp>
      <p:grpSp>
        <p:nvGrpSpPr>
          <p:cNvPr id="243722" name="Group 12"/>
          <p:cNvGrpSpPr>
            <a:grpSpLocks/>
          </p:cNvGrpSpPr>
          <p:nvPr>
            <p:custDataLst>
              <p:tags r:id="rId6"/>
            </p:custDataLst>
          </p:nvPr>
        </p:nvGrpSpPr>
        <p:grpSpPr bwMode="auto">
          <a:xfrm>
            <a:off x="4649391" y="2433161"/>
            <a:ext cx="1103709" cy="566738"/>
            <a:chOff x="300" y="872"/>
            <a:chExt cx="1847" cy="842"/>
          </a:xfrm>
          <a:solidFill>
            <a:schemeClr val="bg1"/>
          </a:solidFill>
        </p:grpSpPr>
        <p:sp>
          <p:nvSpPr>
            <p:cNvPr id="243794" name="Text Box 10"/>
            <p:cNvSpPr txBox="1">
              <a:spLocks noChangeArrowheads="1"/>
            </p:cNvSpPr>
            <p:nvPr/>
          </p:nvSpPr>
          <p:spPr bwMode="auto">
            <a:xfrm>
              <a:off x="300" y="872"/>
              <a:ext cx="1847" cy="199"/>
            </a:xfrm>
            <a:prstGeom prst="rect">
              <a:avLst/>
            </a:prstGeom>
            <a:solidFill>
              <a:srgbClr val="00A1DE"/>
            </a:solidFill>
            <a:ln w="12700" algn="ctr">
              <a:solidFill>
                <a:srgbClr val="00A1DE"/>
              </a:solidFill>
              <a:miter lim="800000"/>
              <a:headEnd/>
              <a:tailEnd type="none" w="sm" len="med"/>
            </a:ln>
          </p:spPr>
          <p:txBody>
            <a:bodyPr lIns="27000" tIns="27000" rIns="27000" bIns="27000" anchor="ctr" anchorCtr="1"/>
            <a:lstStyle/>
            <a:p>
              <a:pPr defTabSz="717947">
                <a:buClrTx/>
              </a:pPr>
              <a:r>
                <a:rPr lang="en-US" sz="825" kern="1200" dirty="0">
                  <a:solidFill>
                    <a:prstClr val="white"/>
                  </a:solidFill>
                  <a:ea typeface="+mn-ea"/>
                  <a:cs typeface="+mn-cs"/>
                </a:rPr>
                <a:t>Label</a:t>
              </a:r>
            </a:p>
          </p:txBody>
        </p:sp>
        <p:sp>
          <p:nvSpPr>
            <p:cNvPr id="100" name="Rectangle 99"/>
            <p:cNvSpPr>
              <a:spLocks noChangeArrowheads="1"/>
            </p:cNvSpPr>
            <p:nvPr/>
          </p:nvSpPr>
          <p:spPr bwMode="auto">
            <a:xfrm>
              <a:off x="300" y="1070"/>
              <a:ext cx="1847" cy="644"/>
            </a:xfrm>
            <a:prstGeom prst="rect">
              <a:avLst/>
            </a:prstGeom>
            <a:solidFill>
              <a:srgbClr val="DCDCDC"/>
            </a:solidFill>
            <a:ln w="12700" algn="ctr">
              <a:noFill/>
              <a:miter lim="800000"/>
              <a:headEnd/>
              <a:tailEnd/>
            </a:ln>
          </p:spPr>
          <p:txBody>
            <a:bodyPr lIns="27000" tIns="27000" rIns="27000" bIns="27000" anchor="ctr"/>
            <a:lstStyle/>
            <a:p>
              <a:pPr marL="269717" indent="-269717" defTabSz="718499">
                <a:lnSpc>
                  <a:spcPct val="106000"/>
                </a:lnSpc>
                <a:spcBef>
                  <a:spcPts val="1008"/>
                </a:spcBef>
                <a:buClrTx/>
                <a:defRPr/>
              </a:pPr>
              <a:r>
                <a:rPr lang="en-US" sz="825" kern="1200" dirty="0">
                  <a:solidFill>
                    <a:srgbClr val="313131"/>
                  </a:solidFill>
                  <a:ea typeface="+mn-ea"/>
                  <a:cs typeface="+mn-cs"/>
                </a:rPr>
                <a:t>Text</a:t>
              </a:r>
            </a:p>
          </p:txBody>
        </p:sp>
      </p:grpSp>
      <p:grpSp>
        <p:nvGrpSpPr>
          <p:cNvPr id="243723" name="Group 12"/>
          <p:cNvGrpSpPr>
            <a:grpSpLocks/>
          </p:cNvGrpSpPr>
          <p:nvPr>
            <p:custDataLst>
              <p:tags r:id="rId7"/>
            </p:custDataLst>
          </p:nvPr>
        </p:nvGrpSpPr>
        <p:grpSpPr bwMode="auto">
          <a:xfrm>
            <a:off x="3036094" y="2433161"/>
            <a:ext cx="1102519" cy="566738"/>
            <a:chOff x="300" y="872"/>
            <a:chExt cx="1847" cy="842"/>
          </a:xfrm>
          <a:solidFill>
            <a:schemeClr val="bg1"/>
          </a:solidFill>
        </p:grpSpPr>
        <p:sp>
          <p:nvSpPr>
            <p:cNvPr id="243792" name="Text Box 10"/>
            <p:cNvSpPr txBox="1">
              <a:spLocks noChangeArrowheads="1"/>
            </p:cNvSpPr>
            <p:nvPr/>
          </p:nvSpPr>
          <p:spPr bwMode="auto">
            <a:xfrm>
              <a:off x="300" y="872"/>
              <a:ext cx="1847" cy="199"/>
            </a:xfrm>
            <a:prstGeom prst="rect">
              <a:avLst/>
            </a:prstGeom>
            <a:solidFill>
              <a:srgbClr val="00A1DE"/>
            </a:solidFill>
            <a:ln w="12700" algn="ctr">
              <a:solidFill>
                <a:srgbClr val="00A1DE"/>
              </a:solidFill>
              <a:miter lim="800000"/>
              <a:headEnd/>
              <a:tailEnd type="none" w="sm" len="med"/>
            </a:ln>
          </p:spPr>
          <p:txBody>
            <a:bodyPr lIns="27000" tIns="27000" rIns="27000" bIns="27000" anchor="ctr" anchorCtr="1"/>
            <a:lstStyle/>
            <a:p>
              <a:pPr defTabSz="717947">
                <a:buClrTx/>
              </a:pPr>
              <a:r>
                <a:rPr lang="en-US" sz="825" kern="1200" dirty="0">
                  <a:solidFill>
                    <a:prstClr val="white"/>
                  </a:solidFill>
                  <a:ea typeface="+mn-ea"/>
                  <a:cs typeface="+mn-cs"/>
                </a:rPr>
                <a:t>Label</a:t>
              </a:r>
            </a:p>
          </p:txBody>
        </p:sp>
        <p:sp>
          <p:nvSpPr>
            <p:cNvPr id="103" name="Rectangle 102"/>
            <p:cNvSpPr>
              <a:spLocks noChangeArrowheads="1"/>
            </p:cNvSpPr>
            <p:nvPr/>
          </p:nvSpPr>
          <p:spPr bwMode="auto">
            <a:xfrm>
              <a:off x="300" y="1070"/>
              <a:ext cx="1847" cy="644"/>
            </a:xfrm>
            <a:prstGeom prst="rect">
              <a:avLst/>
            </a:prstGeom>
            <a:solidFill>
              <a:srgbClr val="DCDCDC"/>
            </a:solidFill>
            <a:ln w="12700" algn="ctr">
              <a:noFill/>
              <a:miter lim="800000"/>
              <a:headEnd/>
              <a:tailEnd/>
            </a:ln>
          </p:spPr>
          <p:txBody>
            <a:bodyPr lIns="27000" tIns="27000" rIns="27000" bIns="27000" anchor="ctr"/>
            <a:lstStyle/>
            <a:p>
              <a:pPr marL="269717" indent="-269717" defTabSz="718499">
                <a:lnSpc>
                  <a:spcPct val="106000"/>
                </a:lnSpc>
                <a:spcBef>
                  <a:spcPts val="1008"/>
                </a:spcBef>
                <a:buClrTx/>
                <a:defRPr/>
              </a:pPr>
              <a:r>
                <a:rPr lang="en-US" sz="825" kern="1200" dirty="0">
                  <a:solidFill>
                    <a:srgbClr val="313131"/>
                  </a:solidFill>
                  <a:ea typeface="+mn-ea"/>
                  <a:cs typeface="+mn-cs"/>
                </a:rPr>
                <a:t>Text</a:t>
              </a:r>
            </a:p>
          </p:txBody>
        </p:sp>
      </p:grpSp>
      <p:grpSp>
        <p:nvGrpSpPr>
          <p:cNvPr id="243724" name="Group 12"/>
          <p:cNvGrpSpPr>
            <a:grpSpLocks/>
          </p:cNvGrpSpPr>
          <p:nvPr>
            <p:custDataLst>
              <p:tags r:id="rId8"/>
            </p:custDataLst>
          </p:nvPr>
        </p:nvGrpSpPr>
        <p:grpSpPr bwMode="auto">
          <a:xfrm>
            <a:off x="6260307" y="2433161"/>
            <a:ext cx="1102519" cy="566738"/>
            <a:chOff x="300" y="872"/>
            <a:chExt cx="1847" cy="842"/>
          </a:xfrm>
          <a:solidFill>
            <a:schemeClr val="bg1"/>
          </a:solidFill>
        </p:grpSpPr>
        <p:sp>
          <p:nvSpPr>
            <p:cNvPr id="243790" name="Text Box 10"/>
            <p:cNvSpPr txBox="1">
              <a:spLocks noChangeArrowheads="1"/>
            </p:cNvSpPr>
            <p:nvPr/>
          </p:nvSpPr>
          <p:spPr bwMode="auto">
            <a:xfrm>
              <a:off x="300" y="872"/>
              <a:ext cx="1847" cy="199"/>
            </a:xfrm>
            <a:prstGeom prst="rect">
              <a:avLst/>
            </a:prstGeom>
            <a:solidFill>
              <a:srgbClr val="00A1DE"/>
            </a:solidFill>
            <a:ln w="12700" algn="ctr">
              <a:solidFill>
                <a:srgbClr val="00A1DE"/>
              </a:solidFill>
              <a:miter lim="800000"/>
              <a:headEnd/>
              <a:tailEnd type="none" w="sm" len="med"/>
            </a:ln>
          </p:spPr>
          <p:txBody>
            <a:bodyPr lIns="27000" tIns="27000" rIns="27000" bIns="27000" anchor="ctr" anchorCtr="1"/>
            <a:lstStyle/>
            <a:p>
              <a:pPr defTabSz="717947">
                <a:buClrTx/>
              </a:pPr>
              <a:r>
                <a:rPr lang="en-US" sz="825" kern="1200" dirty="0">
                  <a:solidFill>
                    <a:prstClr val="white"/>
                  </a:solidFill>
                  <a:ea typeface="+mn-ea"/>
                  <a:cs typeface="+mn-cs"/>
                </a:rPr>
                <a:t>Label</a:t>
              </a:r>
            </a:p>
          </p:txBody>
        </p:sp>
        <p:sp>
          <p:nvSpPr>
            <p:cNvPr id="106" name="Rectangle 105"/>
            <p:cNvSpPr>
              <a:spLocks noChangeArrowheads="1"/>
            </p:cNvSpPr>
            <p:nvPr/>
          </p:nvSpPr>
          <p:spPr bwMode="auto">
            <a:xfrm>
              <a:off x="300" y="1070"/>
              <a:ext cx="1847" cy="644"/>
            </a:xfrm>
            <a:prstGeom prst="rect">
              <a:avLst/>
            </a:prstGeom>
            <a:solidFill>
              <a:srgbClr val="DCDCDC"/>
            </a:solidFill>
            <a:ln w="12700" algn="ctr">
              <a:noFill/>
              <a:miter lim="800000"/>
              <a:headEnd/>
              <a:tailEnd/>
            </a:ln>
          </p:spPr>
          <p:txBody>
            <a:bodyPr lIns="27000" tIns="27000" rIns="27000" bIns="27000" anchor="ctr"/>
            <a:lstStyle/>
            <a:p>
              <a:pPr marL="269717" indent="-269717" defTabSz="718499">
                <a:lnSpc>
                  <a:spcPct val="106000"/>
                </a:lnSpc>
                <a:spcBef>
                  <a:spcPts val="1008"/>
                </a:spcBef>
                <a:buClrTx/>
                <a:defRPr/>
              </a:pPr>
              <a:r>
                <a:rPr lang="en-US" sz="825" kern="1200" dirty="0">
                  <a:solidFill>
                    <a:srgbClr val="313131"/>
                  </a:solidFill>
                  <a:ea typeface="+mn-ea"/>
                  <a:cs typeface="+mn-cs"/>
                </a:rPr>
                <a:t>Text</a:t>
              </a:r>
            </a:p>
          </p:txBody>
        </p:sp>
      </p:grpSp>
      <p:grpSp>
        <p:nvGrpSpPr>
          <p:cNvPr id="243725" name="Group 12"/>
          <p:cNvGrpSpPr>
            <a:grpSpLocks/>
          </p:cNvGrpSpPr>
          <p:nvPr>
            <p:custDataLst>
              <p:tags r:id="rId9"/>
            </p:custDataLst>
          </p:nvPr>
        </p:nvGrpSpPr>
        <p:grpSpPr bwMode="auto">
          <a:xfrm>
            <a:off x="3815954" y="1268730"/>
            <a:ext cx="1103709" cy="566738"/>
            <a:chOff x="300" y="872"/>
            <a:chExt cx="1847" cy="842"/>
          </a:xfrm>
          <a:solidFill>
            <a:schemeClr val="bg1"/>
          </a:solidFill>
        </p:grpSpPr>
        <p:sp>
          <p:nvSpPr>
            <p:cNvPr id="243788" name="Text Box 10"/>
            <p:cNvSpPr txBox="1">
              <a:spLocks noChangeArrowheads="1"/>
            </p:cNvSpPr>
            <p:nvPr/>
          </p:nvSpPr>
          <p:spPr bwMode="auto">
            <a:xfrm>
              <a:off x="300" y="872"/>
              <a:ext cx="1847" cy="199"/>
            </a:xfrm>
            <a:prstGeom prst="rect">
              <a:avLst/>
            </a:prstGeom>
            <a:solidFill>
              <a:srgbClr val="002776"/>
            </a:solidFill>
            <a:ln w="12700" algn="ctr">
              <a:noFill/>
              <a:miter lim="800000"/>
              <a:headEnd/>
              <a:tailEnd type="none" w="sm" len="med"/>
            </a:ln>
          </p:spPr>
          <p:txBody>
            <a:bodyPr lIns="27000" tIns="27000" rIns="27000" bIns="27000" anchor="ctr" anchorCtr="1"/>
            <a:lstStyle/>
            <a:p>
              <a:pPr defTabSz="717947">
                <a:buClrTx/>
              </a:pPr>
              <a:r>
                <a:rPr lang="en-US" sz="825" kern="1200" dirty="0">
                  <a:solidFill>
                    <a:prstClr val="white"/>
                  </a:solidFill>
                  <a:ea typeface="+mn-ea"/>
                  <a:cs typeface="+mn-cs"/>
                </a:rPr>
                <a:t>Label</a:t>
              </a:r>
            </a:p>
          </p:txBody>
        </p:sp>
        <p:sp>
          <p:nvSpPr>
            <p:cNvPr id="93" name="Rectangle 92"/>
            <p:cNvSpPr>
              <a:spLocks noChangeArrowheads="1"/>
            </p:cNvSpPr>
            <p:nvPr/>
          </p:nvSpPr>
          <p:spPr bwMode="auto">
            <a:xfrm>
              <a:off x="300" y="1070"/>
              <a:ext cx="1847" cy="644"/>
            </a:xfrm>
            <a:prstGeom prst="rect">
              <a:avLst/>
            </a:prstGeom>
            <a:solidFill>
              <a:srgbClr val="DCDCDC"/>
            </a:solidFill>
            <a:ln w="12700" algn="ctr">
              <a:noFill/>
              <a:miter lim="800000"/>
              <a:headEnd/>
              <a:tailEnd/>
            </a:ln>
          </p:spPr>
          <p:txBody>
            <a:bodyPr lIns="27000" tIns="27000" rIns="27000" bIns="27000" anchor="ctr"/>
            <a:lstStyle/>
            <a:p>
              <a:pPr marL="269717" indent="-269717" defTabSz="718499">
                <a:lnSpc>
                  <a:spcPct val="106000"/>
                </a:lnSpc>
                <a:spcBef>
                  <a:spcPts val="1008"/>
                </a:spcBef>
                <a:buClrTx/>
                <a:defRPr/>
              </a:pPr>
              <a:r>
                <a:rPr lang="en-US" sz="825" kern="1200" dirty="0">
                  <a:solidFill>
                    <a:srgbClr val="313131"/>
                  </a:solidFill>
                  <a:ea typeface="+mn-ea"/>
                  <a:cs typeface="+mn-cs"/>
                </a:rPr>
                <a:t>Text</a:t>
              </a:r>
            </a:p>
          </p:txBody>
        </p:sp>
      </p:grpSp>
      <p:cxnSp>
        <p:nvCxnSpPr>
          <p:cNvPr id="16" name="AutoShape 16"/>
          <p:cNvCxnSpPr>
            <a:cxnSpLocks noChangeShapeType="1"/>
            <a:stCxn id="93" idx="2"/>
            <a:endCxn id="113" idx="1"/>
          </p:cNvCxnSpPr>
          <p:nvPr>
            <p:custDataLst>
              <p:tags r:id="rId10"/>
            </p:custDataLst>
          </p:nvPr>
        </p:nvCxnSpPr>
        <p:spPr bwMode="auto">
          <a:xfrm rot="16200000" flipH="1">
            <a:off x="4618763" y="1584512"/>
            <a:ext cx="241635" cy="743546"/>
          </a:xfrm>
          <a:prstGeom prst="bentConnector2">
            <a:avLst/>
          </a:prstGeom>
          <a:noFill/>
          <a:ln w="12700">
            <a:solidFill>
              <a:srgbClr val="B4B4B4"/>
            </a:solidFill>
            <a:miter lim="800000"/>
            <a:headEnd type="none" w="sm" len="sm"/>
            <a:tailEnd type="none" w="med" len="lg"/>
          </a:ln>
        </p:spPr>
      </p:cxnSp>
      <p:cxnSp>
        <p:nvCxnSpPr>
          <p:cNvPr id="17" name="AutoShape 17"/>
          <p:cNvCxnSpPr>
            <a:cxnSpLocks noChangeShapeType="1"/>
            <a:stCxn id="97" idx="2"/>
            <a:endCxn id="149" idx="1"/>
          </p:cNvCxnSpPr>
          <p:nvPr>
            <p:custDataLst>
              <p:tags r:id="rId11"/>
            </p:custDataLst>
          </p:nvPr>
        </p:nvCxnSpPr>
        <p:spPr bwMode="auto">
          <a:xfrm rot="5400000">
            <a:off x="1741915" y="3090356"/>
            <a:ext cx="333314" cy="152400"/>
          </a:xfrm>
          <a:prstGeom prst="bentConnector4">
            <a:avLst>
              <a:gd name="adj1" fmla="val 18062"/>
              <a:gd name="adj2" fmla="val 212500"/>
            </a:avLst>
          </a:prstGeom>
          <a:noFill/>
          <a:ln w="12700">
            <a:solidFill>
              <a:srgbClr val="B4B4B4"/>
            </a:solidFill>
            <a:miter lim="800000"/>
            <a:headEnd type="none" w="sm" len="sm"/>
            <a:tailEnd type="none" w="med" len="lg"/>
          </a:ln>
        </p:spPr>
      </p:cxnSp>
      <p:cxnSp>
        <p:nvCxnSpPr>
          <p:cNvPr id="18" name="AutoShape 18"/>
          <p:cNvCxnSpPr>
            <a:cxnSpLocks noChangeShapeType="1"/>
            <a:stCxn id="149" idx="1"/>
            <a:endCxn id="152" idx="1"/>
          </p:cNvCxnSpPr>
          <p:nvPr>
            <p:custDataLst>
              <p:tags r:id="rId12"/>
            </p:custDataLst>
          </p:nvPr>
        </p:nvCxnSpPr>
        <p:spPr bwMode="auto">
          <a:xfrm rot="10800000" flipV="1">
            <a:off x="1832372" y="3333212"/>
            <a:ext cx="1191" cy="436959"/>
          </a:xfrm>
          <a:prstGeom prst="bentConnector3">
            <a:avLst>
              <a:gd name="adj1" fmla="val 14395466"/>
            </a:avLst>
          </a:prstGeom>
          <a:noFill/>
          <a:ln w="12700">
            <a:solidFill>
              <a:srgbClr val="B4B4B4"/>
            </a:solidFill>
            <a:miter lim="800000"/>
            <a:headEnd type="none" w="sm" len="sm"/>
            <a:tailEnd type="none" w="med" len="lg"/>
          </a:ln>
        </p:spPr>
      </p:cxnSp>
      <p:cxnSp>
        <p:nvCxnSpPr>
          <p:cNvPr id="19" name="AutoShape 19"/>
          <p:cNvCxnSpPr>
            <a:cxnSpLocks noChangeShapeType="1"/>
            <a:stCxn id="152" idx="1"/>
            <a:endCxn id="155" idx="1"/>
          </p:cNvCxnSpPr>
          <p:nvPr>
            <p:custDataLst>
              <p:tags r:id="rId13"/>
            </p:custDataLst>
          </p:nvPr>
        </p:nvCxnSpPr>
        <p:spPr bwMode="auto">
          <a:xfrm rot="10800000" flipV="1">
            <a:off x="1832372" y="3770171"/>
            <a:ext cx="1191" cy="435769"/>
          </a:xfrm>
          <a:prstGeom prst="bentConnector3">
            <a:avLst>
              <a:gd name="adj1" fmla="val 14395466"/>
            </a:avLst>
          </a:prstGeom>
          <a:noFill/>
          <a:ln w="12700">
            <a:solidFill>
              <a:srgbClr val="B4B4B4"/>
            </a:solidFill>
            <a:miter lim="800000"/>
            <a:headEnd type="none" w="sm" len="sm"/>
            <a:tailEnd type="none" w="med" len="lg"/>
          </a:ln>
        </p:spPr>
      </p:cxnSp>
      <p:cxnSp>
        <p:nvCxnSpPr>
          <p:cNvPr id="20" name="AutoShape 20"/>
          <p:cNvCxnSpPr>
            <a:cxnSpLocks noChangeShapeType="1"/>
            <a:stCxn id="155" idx="1"/>
            <a:endCxn id="158" idx="1"/>
          </p:cNvCxnSpPr>
          <p:nvPr>
            <p:custDataLst>
              <p:tags r:id="rId14"/>
            </p:custDataLst>
          </p:nvPr>
        </p:nvCxnSpPr>
        <p:spPr bwMode="auto">
          <a:xfrm rot="10800000" flipV="1">
            <a:off x="1832372" y="4205940"/>
            <a:ext cx="1191" cy="436960"/>
          </a:xfrm>
          <a:prstGeom prst="bentConnector3">
            <a:avLst>
              <a:gd name="adj1" fmla="val 14395466"/>
            </a:avLst>
          </a:prstGeom>
          <a:noFill/>
          <a:ln w="12700">
            <a:solidFill>
              <a:srgbClr val="B4B4B4"/>
            </a:solidFill>
            <a:miter lim="800000"/>
            <a:headEnd type="none" w="sm" len="sm"/>
            <a:tailEnd type="none" w="med" len="lg"/>
          </a:ln>
        </p:spPr>
      </p:cxnSp>
      <p:cxnSp>
        <p:nvCxnSpPr>
          <p:cNvPr id="243733" name="AutoShape 48"/>
          <p:cNvCxnSpPr>
            <a:cxnSpLocks noChangeShapeType="1"/>
          </p:cNvCxnSpPr>
          <p:nvPr>
            <p:custDataLst>
              <p:tags r:id="rId15"/>
            </p:custDataLst>
          </p:nvPr>
        </p:nvCxnSpPr>
        <p:spPr bwMode="auto">
          <a:xfrm>
            <a:off x="4373166" y="1842611"/>
            <a:ext cx="0" cy="0"/>
          </a:xfrm>
          <a:prstGeom prst="straightConnector1">
            <a:avLst/>
          </a:prstGeom>
          <a:noFill/>
          <a:ln w="12700">
            <a:solidFill>
              <a:schemeClr val="accent1"/>
            </a:solidFill>
            <a:round/>
            <a:headEnd/>
            <a:tailEnd/>
          </a:ln>
        </p:spPr>
      </p:cxnSp>
      <p:cxnSp>
        <p:nvCxnSpPr>
          <p:cNvPr id="126" name="Elbow Connector 125"/>
          <p:cNvCxnSpPr>
            <a:stCxn id="109" idx="3"/>
            <a:endCxn id="93" idx="2"/>
          </p:cNvCxnSpPr>
          <p:nvPr>
            <p:custDataLst>
              <p:tags r:id="rId16"/>
            </p:custDataLst>
          </p:nvPr>
        </p:nvCxnSpPr>
        <p:spPr>
          <a:xfrm flipV="1">
            <a:off x="3719512" y="1835468"/>
            <a:ext cx="648296" cy="241635"/>
          </a:xfrm>
          <a:prstGeom prst="bentConnector2">
            <a:avLst/>
          </a:prstGeom>
          <a:ln w="12700">
            <a:solidFill>
              <a:srgbClr val="B4B4B4"/>
            </a:solidFill>
          </a:ln>
        </p:spPr>
        <p:style>
          <a:lnRef idx="1">
            <a:schemeClr val="accent1"/>
          </a:lnRef>
          <a:fillRef idx="0">
            <a:schemeClr val="accent1"/>
          </a:fillRef>
          <a:effectRef idx="0">
            <a:schemeClr val="accent1"/>
          </a:effectRef>
          <a:fontRef idx="minor">
            <a:schemeClr val="tx1"/>
          </a:fontRef>
        </p:style>
      </p:cxnSp>
      <p:cxnSp>
        <p:nvCxnSpPr>
          <p:cNvPr id="129" name="Elbow Connector 128"/>
          <p:cNvCxnSpPr>
            <a:stCxn id="93" idx="2"/>
            <a:endCxn id="243796" idx="0"/>
          </p:cNvCxnSpPr>
          <p:nvPr>
            <p:custDataLst>
              <p:tags r:id="rId17"/>
            </p:custDataLst>
          </p:nvPr>
        </p:nvCxnSpPr>
        <p:spPr>
          <a:xfrm rot="5400000">
            <a:off x="2877444" y="942797"/>
            <a:ext cx="597694" cy="2383036"/>
          </a:xfrm>
          <a:prstGeom prst="bentConnector3">
            <a:avLst>
              <a:gd name="adj1" fmla="val 76684"/>
            </a:avLst>
          </a:prstGeom>
          <a:ln w="12700">
            <a:solidFill>
              <a:srgbClr val="B4B4B4"/>
            </a:solidFill>
          </a:ln>
        </p:spPr>
        <p:style>
          <a:lnRef idx="1">
            <a:schemeClr val="accent1"/>
          </a:lnRef>
          <a:fillRef idx="0">
            <a:schemeClr val="accent1"/>
          </a:fillRef>
          <a:effectRef idx="0">
            <a:schemeClr val="accent1"/>
          </a:effectRef>
          <a:fontRef idx="minor">
            <a:schemeClr val="tx1"/>
          </a:fontRef>
        </p:style>
      </p:cxnSp>
      <p:cxnSp>
        <p:nvCxnSpPr>
          <p:cNvPr id="132" name="Elbow Connector 131"/>
          <p:cNvCxnSpPr>
            <a:stCxn id="93" idx="2"/>
            <a:endCxn id="243792" idx="0"/>
          </p:cNvCxnSpPr>
          <p:nvPr>
            <p:custDataLst>
              <p:tags r:id="rId18"/>
            </p:custDataLst>
          </p:nvPr>
        </p:nvCxnSpPr>
        <p:spPr>
          <a:xfrm rot="5400000">
            <a:off x="3678735" y="1744087"/>
            <a:ext cx="597694" cy="780455"/>
          </a:xfrm>
          <a:prstGeom prst="bentConnector3">
            <a:avLst>
              <a:gd name="adj1" fmla="val 76684"/>
            </a:avLst>
          </a:prstGeom>
          <a:ln w="12700">
            <a:solidFill>
              <a:srgbClr val="B4B4B4"/>
            </a:solidFill>
          </a:ln>
        </p:spPr>
        <p:style>
          <a:lnRef idx="1">
            <a:schemeClr val="accent1"/>
          </a:lnRef>
          <a:fillRef idx="0">
            <a:schemeClr val="accent1"/>
          </a:fillRef>
          <a:effectRef idx="0">
            <a:schemeClr val="accent1"/>
          </a:effectRef>
          <a:fontRef idx="minor">
            <a:schemeClr val="tx1"/>
          </a:fontRef>
        </p:style>
      </p:cxnSp>
      <p:cxnSp>
        <p:nvCxnSpPr>
          <p:cNvPr id="135" name="Elbow Connector 134"/>
          <p:cNvCxnSpPr>
            <a:stCxn id="93" idx="2"/>
            <a:endCxn id="243794" idx="0"/>
          </p:cNvCxnSpPr>
          <p:nvPr>
            <p:custDataLst>
              <p:tags r:id="rId19"/>
            </p:custDataLst>
          </p:nvPr>
        </p:nvCxnSpPr>
        <p:spPr>
          <a:xfrm rot="16200000" flipH="1">
            <a:off x="4485681" y="1717595"/>
            <a:ext cx="597694" cy="833438"/>
          </a:xfrm>
          <a:prstGeom prst="bentConnector3">
            <a:avLst>
              <a:gd name="adj1" fmla="val 76684"/>
            </a:avLst>
          </a:prstGeom>
          <a:ln w="12700">
            <a:solidFill>
              <a:srgbClr val="B4B4B4"/>
            </a:solidFill>
          </a:ln>
        </p:spPr>
        <p:style>
          <a:lnRef idx="1">
            <a:schemeClr val="accent1"/>
          </a:lnRef>
          <a:fillRef idx="0">
            <a:schemeClr val="accent1"/>
          </a:fillRef>
          <a:effectRef idx="0">
            <a:schemeClr val="accent1"/>
          </a:effectRef>
          <a:fontRef idx="minor">
            <a:schemeClr val="tx1"/>
          </a:fontRef>
        </p:style>
      </p:cxnSp>
      <p:cxnSp>
        <p:nvCxnSpPr>
          <p:cNvPr id="138" name="Elbow Connector 137"/>
          <p:cNvCxnSpPr>
            <a:stCxn id="93" idx="2"/>
            <a:endCxn id="243790" idx="0"/>
          </p:cNvCxnSpPr>
          <p:nvPr>
            <p:custDataLst>
              <p:tags r:id="rId20"/>
            </p:custDataLst>
          </p:nvPr>
        </p:nvCxnSpPr>
        <p:spPr>
          <a:xfrm rot="16200000" flipH="1">
            <a:off x="5290841" y="912435"/>
            <a:ext cx="597694" cy="2443758"/>
          </a:xfrm>
          <a:prstGeom prst="bentConnector3">
            <a:avLst>
              <a:gd name="adj1" fmla="val 76684"/>
            </a:avLst>
          </a:prstGeom>
          <a:ln w="12700">
            <a:solidFill>
              <a:srgbClr val="B4B4B4"/>
            </a:solidFill>
          </a:ln>
        </p:spPr>
        <p:style>
          <a:lnRef idx="1">
            <a:schemeClr val="accent1"/>
          </a:lnRef>
          <a:fillRef idx="0">
            <a:schemeClr val="accent1"/>
          </a:fillRef>
          <a:effectRef idx="0">
            <a:schemeClr val="accent1"/>
          </a:effectRef>
          <a:fontRef idx="minor">
            <a:schemeClr val="tx1"/>
          </a:fontRef>
        </p:style>
      </p:cxnSp>
      <p:grpSp>
        <p:nvGrpSpPr>
          <p:cNvPr id="248" name="Group 12"/>
          <p:cNvGrpSpPr>
            <a:grpSpLocks/>
          </p:cNvGrpSpPr>
          <p:nvPr/>
        </p:nvGrpSpPr>
        <p:grpSpPr bwMode="auto">
          <a:xfrm>
            <a:off x="3443203" y="3098722"/>
            <a:ext cx="998934" cy="335756"/>
            <a:chOff x="300" y="872"/>
            <a:chExt cx="1847" cy="499"/>
          </a:xfrm>
          <a:solidFill>
            <a:schemeClr val="bg1"/>
          </a:solidFill>
        </p:grpSpPr>
        <p:sp>
          <p:nvSpPr>
            <p:cNvPr id="249" name="Text Box 10"/>
            <p:cNvSpPr txBox="1">
              <a:spLocks noChangeArrowheads="1"/>
            </p:cNvSpPr>
            <p:nvPr/>
          </p:nvSpPr>
          <p:spPr bwMode="auto">
            <a:xfrm>
              <a:off x="300" y="872"/>
              <a:ext cx="1847" cy="199"/>
            </a:xfrm>
            <a:prstGeom prst="rect">
              <a:avLst/>
            </a:prstGeom>
            <a:solidFill>
              <a:srgbClr val="575757"/>
            </a:solidFill>
            <a:ln w="12700" algn="ctr">
              <a:noFill/>
              <a:miter lim="800000"/>
              <a:headEnd/>
              <a:tailEnd type="none" w="sm" len="med"/>
            </a:ln>
          </p:spPr>
          <p:txBody>
            <a:bodyPr lIns="27000" tIns="27000" rIns="27000" bIns="27000" anchor="ctr" anchorCtr="1"/>
            <a:lstStyle/>
            <a:p>
              <a:pPr defTabSz="717947">
                <a:buClrTx/>
              </a:pPr>
              <a:r>
                <a:rPr lang="en-US" sz="825" kern="1200" dirty="0">
                  <a:solidFill>
                    <a:prstClr val="white"/>
                  </a:solidFill>
                  <a:ea typeface="+mn-ea"/>
                  <a:cs typeface="+mn-cs"/>
                </a:rPr>
                <a:t>Label</a:t>
              </a:r>
            </a:p>
          </p:txBody>
        </p:sp>
        <p:sp>
          <p:nvSpPr>
            <p:cNvPr id="250" name="Rectangle 249"/>
            <p:cNvSpPr>
              <a:spLocks noChangeArrowheads="1"/>
            </p:cNvSpPr>
            <p:nvPr/>
          </p:nvSpPr>
          <p:spPr bwMode="auto">
            <a:xfrm>
              <a:off x="300" y="1070"/>
              <a:ext cx="1847" cy="301"/>
            </a:xfrm>
            <a:prstGeom prst="rect">
              <a:avLst/>
            </a:prstGeom>
            <a:solidFill>
              <a:srgbClr val="DCDCDC"/>
            </a:solidFill>
            <a:ln w="12700" algn="ctr">
              <a:noFill/>
              <a:miter lim="800000"/>
              <a:headEnd/>
              <a:tailEnd/>
            </a:ln>
          </p:spPr>
          <p:txBody>
            <a:bodyPr lIns="27000" tIns="27000" rIns="27000" bIns="27000" anchor="ctr"/>
            <a:lstStyle/>
            <a:p>
              <a:pPr marL="269717" indent="-269717" defTabSz="718499">
                <a:lnSpc>
                  <a:spcPct val="106000"/>
                </a:lnSpc>
                <a:spcBef>
                  <a:spcPts val="1008"/>
                </a:spcBef>
                <a:buClrTx/>
                <a:defRPr/>
              </a:pPr>
              <a:r>
                <a:rPr lang="en-US" sz="825" kern="1200" dirty="0">
                  <a:solidFill>
                    <a:srgbClr val="313131"/>
                  </a:solidFill>
                  <a:ea typeface="+mn-ea"/>
                  <a:cs typeface="+mn-cs"/>
                </a:rPr>
                <a:t>Text</a:t>
              </a:r>
            </a:p>
          </p:txBody>
        </p:sp>
      </p:grpSp>
      <p:grpSp>
        <p:nvGrpSpPr>
          <p:cNvPr id="251" name="Group 12"/>
          <p:cNvGrpSpPr>
            <a:grpSpLocks/>
          </p:cNvGrpSpPr>
          <p:nvPr/>
        </p:nvGrpSpPr>
        <p:grpSpPr bwMode="auto">
          <a:xfrm>
            <a:off x="3443203" y="3535681"/>
            <a:ext cx="998934" cy="335756"/>
            <a:chOff x="300" y="872"/>
            <a:chExt cx="1847" cy="499"/>
          </a:xfrm>
          <a:solidFill>
            <a:schemeClr val="bg1"/>
          </a:solidFill>
        </p:grpSpPr>
        <p:sp>
          <p:nvSpPr>
            <p:cNvPr id="252" name="Text Box 10"/>
            <p:cNvSpPr txBox="1">
              <a:spLocks noChangeArrowheads="1"/>
            </p:cNvSpPr>
            <p:nvPr/>
          </p:nvSpPr>
          <p:spPr bwMode="auto">
            <a:xfrm>
              <a:off x="300" y="872"/>
              <a:ext cx="1847" cy="199"/>
            </a:xfrm>
            <a:prstGeom prst="rect">
              <a:avLst/>
            </a:prstGeom>
            <a:solidFill>
              <a:srgbClr val="575757"/>
            </a:solidFill>
            <a:ln w="12700" algn="ctr">
              <a:noFill/>
              <a:miter lim="800000"/>
              <a:headEnd/>
              <a:tailEnd type="none" w="sm" len="med"/>
            </a:ln>
          </p:spPr>
          <p:txBody>
            <a:bodyPr lIns="27000" tIns="27000" rIns="27000" bIns="27000" anchor="ctr" anchorCtr="1"/>
            <a:lstStyle/>
            <a:p>
              <a:pPr defTabSz="717947">
                <a:buClrTx/>
              </a:pPr>
              <a:r>
                <a:rPr lang="en-US" sz="825" kern="1200" dirty="0">
                  <a:solidFill>
                    <a:prstClr val="white"/>
                  </a:solidFill>
                  <a:ea typeface="+mn-ea"/>
                  <a:cs typeface="+mn-cs"/>
                </a:rPr>
                <a:t>Label</a:t>
              </a:r>
            </a:p>
          </p:txBody>
        </p:sp>
        <p:sp>
          <p:nvSpPr>
            <p:cNvPr id="253" name="Rectangle 252"/>
            <p:cNvSpPr>
              <a:spLocks noChangeArrowheads="1"/>
            </p:cNvSpPr>
            <p:nvPr/>
          </p:nvSpPr>
          <p:spPr bwMode="auto">
            <a:xfrm>
              <a:off x="300" y="1070"/>
              <a:ext cx="1847" cy="301"/>
            </a:xfrm>
            <a:prstGeom prst="rect">
              <a:avLst/>
            </a:prstGeom>
            <a:solidFill>
              <a:srgbClr val="DCDCDC"/>
            </a:solidFill>
            <a:ln w="12700" algn="ctr">
              <a:noFill/>
              <a:miter lim="800000"/>
              <a:headEnd/>
              <a:tailEnd/>
            </a:ln>
          </p:spPr>
          <p:txBody>
            <a:bodyPr lIns="27000" tIns="27000" rIns="27000" bIns="27000" anchor="ctr"/>
            <a:lstStyle/>
            <a:p>
              <a:pPr marL="269717" indent="-269717" defTabSz="718499">
                <a:lnSpc>
                  <a:spcPct val="106000"/>
                </a:lnSpc>
                <a:spcBef>
                  <a:spcPts val="1008"/>
                </a:spcBef>
                <a:buClrTx/>
                <a:defRPr/>
              </a:pPr>
              <a:r>
                <a:rPr lang="en-US" sz="825" kern="1200" dirty="0">
                  <a:solidFill>
                    <a:srgbClr val="313131"/>
                  </a:solidFill>
                  <a:ea typeface="+mn-ea"/>
                  <a:cs typeface="+mn-cs"/>
                </a:rPr>
                <a:t>Text</a:t>
              </a:r>
            </a:p>
          </p:txBody>
        </p:sp>
      </p:grpSp>
      <p:grpSp>
        <p:nvGrpSpPr>
          <p:cNvPr id="254" name="Group 12"/>
          <p:cNvGrpSpPr>
            <a:grpSpLocks/>
          </p:cNvGrpSpPr>
          <p:nvPr/>
        </p:nvGrpSpPr>
        <p:grpSpPr bwMode="auto">
          <a:xfrm>
            <a:off x="3443203" y="3971449"/>
            <a:ext cx="998934" cy="335756"/>
            <a:chOff x="300" y="872"/>
            <a:chExt cx="1847" cy="499"/>
          </a:xfrm>
          <a:solidFill>
            <a:schemeClr val="bg1"/>
          </a:solidFill>
        </p:grpSpPr>
        <p:sp>
          <p:nvSpPr>
            <p:cNvPr id="255" name="Text Box 10"/>
            <p:cNvSpPr txBox="1">
              <a:spLocks noChangeArrowheads="1"/>
            </p:cNvSpPr>
            <p:nvPr/>
          </p:nvSpPr>
          <p:spPr bwMode="auto">
            <a:xfrm>
              <a:off x="300" y="872"/>
              <a:ext cx="1847" cy="199"/>
            </a:xfrm>
            <a:prstGeom prst="rect">
              <a:avLst/>
            </a:prstGeom>
            <a:solidFill>
              <a:srgbClr val="575757"/>
            </a:solidFill>
            <a:ln w="12700" algn="ctr">
              <a:noFill/>
              <a:miter lim="800000"/>
              <a:headEnd/>
              <a:tailEnd type="none" w="sm" len="med"/>
            </a:ln>
          </p:spPr>
          <p:txBody>
            <a:bodyPr lIns="27000" tIns="27000" rIns="27000" bIns="27000" anchor="ctr" anchorCtr="1"/>
            <a:lstStyle/>
            <a:p>
              <a:pPr defTabSz="717947">
                <a:buClrTx/>
              </a:pPr>
              <a:r>
                <a:rPr lang="en-US" sz="825" kern="1200" dirty="0">
                  <a:solidFill>
                    <a:prstClr val="white"/>
                  </a:solidFill>
                  <a:ea typeface="+mn-ea"/>
                  <a:cs typeface="+mn-cs"/>
                </a:rPr>
                <a:t>Label</a:t>
              </a:r>
            </a:p>
          </p:txBody>
        </p:sp>
        <p:sp>
          <p:nvSpPr>
            <p:cNvPr id="256" name="Rectangle 255"/>
            <p:cNvSpPr>
              <a:spLocks noChangeArrowheads="1"/>
            </p:cNvSpPr>
            <p:nvPr/>
          </p:nvSpPr>
          <p:spPr bwMode="auto">
            <a:xfrm>
              <a:off x="300" y="1070"/>
              <a:ext cx="1847" cy="301"/>
            </a:xfrm>
            <a:prstGeom prst="rect">
              <a:avLst/>
            </a:prstGeom>
            <a:solidFill>
              <a:srgbClr val="DCDCDC"/>
            </a:solidFill>
            <a:ln w="12700" algn="ctr">
              <a:noFill/>
              <a:miter lim="800000"/>
              <a:headEnd/>
              <a:tailEnd/>
            </a:ln>
          </p:spPr>
          <p:txBody>
            <a:bodyPr lIns="27000" tIns="27000" rIns="27000" bIns="27000" anchor="ctr"/>
            <a:lstStyle/>
            <a:p>
              <a:pPr marL="269717" indent="-269717" defTabSz="718499">
                <a:lnSpc>
                  <a:spcPct val="106000"/>
                </a:lnSpc>
                <a:spcBef>
                  <a:spcPts val="1008"/>
                </a:spcBef>
                <a:buClrTx/>
                <a:defRPr/>
              </a:pPr>
              <a:r>
                <a:rPr lang="en-US" sz="825" kern="1200" dirty="0">
                  <a:solidFill>
                    <a:srgbClr val="313131"/>
                  </a:solidFill>
                  <a:ea typeface="+mn-ea"/>
                  <a:cs typeface="+mn-cs"/>
                </a:rPr>
                <a:t>Text</a:t>
              </a:r>
            </a:p>
          </p:txBody>
        </p:sp>
      </p:grpSp>
      <p:grpSp>
        <p:nvGrpSpPr>
          <p:cNvPr id="257" name="Group 12"/>
          <p:cNvGrpSpPr>
            <a:grpSpLocks/>
          </p:cNvGrpSpPr>
          <p:nvPr/>
        </p:nvGrpSpPr>
        <p:grpSpPr bwMode="auto">
          <a:xfrm>
            <a:off x="3443203" y="4408409"/>
            <a:ext cx="998934" cy="335756"/>
            <a:chOff x="300" y="872"/>
            <a:chExt cx="1847" cy="499"/>
          </a:xfrm>
          <a:solidFill>
            <a:schemeClr val="bg1"/>
          </a:solidFill>
        </p:grpSpPr>
        <p:sp>
          <p:nvSpPr>
            <p:cNvPr id="258" name="Text Box 10"/>
            <p:cNvSpPr txBox="1">
              <a:spLocks noChangeArrowheads="1"/>
            </p:cNvSpPr>
            <p:nvPr/>
          </p:nvSpPr>
          <p:spPr bwMode="auto">
            <a:xfrm>
              <a:off x="300" y="872"/>
              <a:ext cx="1847" cy="199"/>
            </a:xfrm>
            <a:prstGeom prst="rect">
              <a:avLst/>
            </a:prstGeom>
            <a:solidFill>
              <a:srgbClr val="575757"/>
            </a:solidFill>
            <a:ln w="12700" algn="ctr">
              <a:noFill/>
              <a:miter lim="800000"/>
              <a:headEnd/>
              <a:tailEnd type="none" w="sm" len="med"/>
            </a:ln>
          </p:spPr>
          <p:txBody>
            <a:bodyPr lIns="27000" tIns="27000" rIns="27000" bIns="27000" anchor="ctr" anchorCtr="1"/>
            <a:lstStyle/>
            <a:p>
              <a:pPr defTabSz="717947">
                <a:buClrTx/>
              </a:pPr>
              <a:r>
                <a:rPr lang="en-US" sz="825" kern="1200" dirty="0">
                  <a:solidFill>
                    <a:prstClr val="white"/>
                  </a:solidFill>
                  <a:ea typeface="+mn-ea"/>
                  <a:cs typeface="+mn-cs"/>
                </a:rPr>
                <a:t>Label</a:t>
              </a:r>
            </a:p>
          </p:txBody>
        </p:sp>
        <p:sp>
          <p:nvSpPr>
            <p:cNvPr id="259" name="Rectangle 258"/>
            <p:cNvSpPr>
              <a:spLocks noChangeArrowheads="1"/>
            </p:cNvSpPr>
            <p:nvPr/>
          </p:nvSpPr>
          <p:spPr bwMode="auto">
            <a:xfrm>
              <a:off x="300" y="1070"/>
              <a:ext cx="1847" cy="301"/>
            </a:xfrm>
            <a:prstGeom prst="rect">
              <a:avLst/>
            </a:prstGeom>
            <a:solidFill>
              <a:srgbClr val="DCDCDC"/>
            </a:solidFill>
            <a:ln w="12700" algn="ctr">
              <a:noFill/>
              <a:miter lim="800000"/>
              <a:headEnd/>
              <a:tailEnd/>
            </a:ln>
          </p:spPr>
          <p:txBody>
            <a:bodyPr lIns="27000" tIns="27000" rIns="27000" bIns="27000" anchor="ctr"/>
            <a:lstStyle/>
            <a:p>
              <a:pPr marL="269717" indent="-269717" defTabSz="718499">
                <a:lnSpc>
                  <a:spcPct val="106000"/>
                </a:lnSpc>
                <a:spcBef>
                  <a:spcPts val="1008"/>
                </a:spcBef>
                <a:buClrTx/>
                <a:defRPr/>
              </a:pPr>
              <a:r>
                <a:rPr lang="en-US" sz="825" kern="1200" dirty="0">
                  <a:solidFill>
                    <a:srgbClr val="313131"/>
                  </a:solidFill>
                  <a:ea typeface="+mn-ea"/>
                  <a:cs typeface="+mn-cs"/>
                </a:rPr>
                <a:t>Text</a:t>
              </a:r>
            </a:p>
          </p:txBody>
        </p:sp>
      </p:grpSp>
      <p:cxnSp>
        <p:nvCxnSpPr>
          <p:cNvPr id="260" name="AutoShape 17"/>
          <p:cNvCxnSpPr>
            <a:cxnSpLocks noChangeShapeType="1"/>
            <a:stCxn id="103" idx="2"/>
            <a:endCxn id="250" idx="1"/>
          </p:cNvCxnSpPr>
          <p:nvPr>
            <p:custDataLst>
              <p:tags r:id="rId21"/>
            </p:custDataLst>
          </p:nvPr>
        </p:nvCxnSpPr>
        <p:spPr bwMode="auto">
          <a:xfrm rot="5400000">
            <a:off x="3348622" y="3094481"/>
            <a:ext cx="333314" cy="144151"/>
          </a:xfrm>
          <a:prstGeom prst="bentConnector4">
            <a:avLst>
              <a:gd name="adj1" fmla="val 18062"/>
              <a:gd name="adj2" fmla="val 218938"/>
            </a:avLst>
          </a:prstGeom>
          <a:noFill/>
          <a:ln w="12700">
            <a:solidFill>
              <a:srgbClr val="B4B4B4"/>
            </a:solidFill>
            <a:miter lim="800000"/>
            <a:headEnd type="none" w="sm" len="sm"/>
            <a:tailEnd type="none" w="med" len="lg"/>
          </a:ln>
        </p:spPr>
      </p:cxnSp>
      <p:cxnSp>
        <p:nvCxnSpPr>
          <p:cNvPr id="261" name="AutoShape 18"/>
          <p:cNvCxnSpPr>
            <a:cxnSpLocks noChangeShapeType="1"/>
            <a:stCxn id="250" idx="1"/>
            <a:endCxn id="253" idx="1"/>
          </p:cNvCxnSpPr>
          <p:nvPr>
            <p:custDataLst>
              <p:tags r:id="rId22"/>
            </p:custDataLst>
          </p:nvPr>
        </p:nvCxnSpPr>
        <p:spPr bwMode="auto">
          <a:xfrm rot="10800000" flipV="1">
            <a:off x="3443203" y="3333212"/>
            <a:ext cx="1191" cy="436959"/>
          </a:xfrm>
          <a:prstGeom prst="bentConnector3">
            <a:avLst>
              <a:gd name="adj1" fmla="val 14395466"/>
            </a:avLst>
          </a:prstGeom>
          <a:noFill/>
          <a:ln w="12700">
            <a:solidFill>
              <a:srgbClr val="B4B4B4"/>
            </a:solidFill>
            <a:miter lim="800000"/>
            <a:headEnd type="none" w="sm" len="sm"/>
            <a:tailEnd type="none" w="med" len="lg"/>
          </a:ln>
        </p:spPr>
      </p:cxnSp>
      <p:cxnSp>
        <p:nvCxnSpPr>
          <p:cNvPr id="262" name="AutoShape 19"/>
          <p:cNvCxnSpPr>
            <a:cxnSpLocks noChangeShapeType="1"/>
            <a:stCxn id="253" idx="1"/>
            <a:endCxn id="256" idx="1"/>
          </p:cNvCxnSpPr>
          <p:nvPr>
            <p:custDataLst>
              <p:tags r:id="rId23"/>
            </p:custDataLst>
          </p:nvPr>
        </p:nvCxnSpPr>
        <p:spPr bwMode="auto">
          <a:xfrm rot="10800000" flipV="1">
            <a:off x="3443203" y="3770171"/>
            <a:ext cx="1191" cy="435769"/>
          </a:xfrm>
          <a:prstGeom prst="bentConnector3">
            <a:avLst>
              <a:gd name="adj1" fmla="val 14395466"/>
            </a:avLst>
          </a:prstGeom>
          <a:noFill/>
          <a:ln w="12700">
            <a:solidFill>
              <a:srgbClr val="B4B4B4"/>
            </a:solidFill>
            <a:miter lim="800000"/>
            <a:headEnd type="none" w="sm" len="sm"/>
            <a:tailEnd type="none" w="med" len="lg"/>
          </a:ln>
        </p:spPr>
      </p:cxnSp>
      <p:cxnSp>
        <p:nvCxnSpPr>
          <p:cNvPr id="263" name="AutoShape 20"/>
          <p:cNvCxnSpPr>
            <a:cxnSpLocks noChangeShapeType="1"/>
            <a:stCxn id="256" idx="1"/>
            <a:endCxn id="259" idx="1"/>
          </p:cNvCxnSpPr>
          <p:nvPr>
            <p:custDataLst>
              <p:tags r:id="rId24"/>
            </p:custDataLst>
          </p:nvPr>
        </p:nvCxnSpPr>
        <p:spPr bwMode="auto">
          <a:xfrm rot="10800000" flipV="1">
            <a:off x="3443203" y="4205940"/>
            <a:ext cx="1191" cy="436960"/>
          </a:xfrm>
          <a:prstGeom prst="bentConnector3">
            <a:avLst>
              <a:gd name="adj1" fmla="val 14395466"/>
            </a:avLst>
          </a:prstGeom>
          <a:noFill/>
          <a:ln w="12700">
            <a:solidFill>
              <a:srgbClr val="B4B4B4"/>
            </a:solidFill>
            <a:miter lim="800000"/>
            <a:headEnd type="none" w="sm" len="sm"/>
            <a:tailEnd type="none" w="med" len="lg"/>
          </a:ln>
        </p:spPr>
      </p:cxnSp>
      <p:grpSp>
        <p:nvGrpSpPr>
          <p:cNvPr id="264" name="Group 12"/>
          <p:cNvGrpSpPr>
            <a:grpSpLocks/>
          </p:cNvGrpSpPr>
          <p:nvPr/>
        </p:nvGrpSpPr>
        <p:grpSpPr bwMode="auto">
          <a:xfrm>
            <a:off x="5062011" y="3098722"/>
            <a:ext cx="998934" cy="335756"/>
            <a:chOff x="300" y="872"/>
            <a:chExt cx="1847" cy="499"/>
          </a:xfrm>
          <a:solidFill>
            <a:schemeClr val="bg1"/>
          </a:solidFill>
        </p:grpSpPr>
        <p:sp>
          <p:nvSpPr>
            <p:cNvPr id="265" name="Text Box 10"/>
            <p:cNvSpPr txBox="1">
              <a:spLocks noChangeArrowheads="1"/>
            </p:cNvSpPr>
            <p:nvPr/>
          </p:nvSpPr>
          <p:spPr bwMode="auto">
            <a:xfrm>
              <a:off x="300" y="872"/>
              <a:ext cx="1847" cy="199"/>
            </a:xfrm>
            <a:prstGeom prst="rect">
              <a:avLst/>
            </a:prstGeom>
            <a:solidFill>
              <a:srgbClr val="575757"/>
            </a:solidFill>
            <a:ln w="12700" algn="ctr">
              <a:noFill/>
              <a:miter lim="800000"/>
              <a:headEnd/>
              <a:tailEnd type="none" w="sm" len="med"/>
            </a:ln>
          </p:spPr>
          <p:txBody>
            <a:bodyPr lIns="27000" tIns="27000" rIns="27000" bIns="27000" anchor="ctr" anchorCtr="1"/>
            <a:lstStyle/>
            <a:p>
              <a:pPr defTabSz="717947">
                <a:buClrTx/>
              </a:pPr>
              <a:r>
                <a:rPr lang="en-US" sz="825" kern="1200" dirty="0">
                  <a:solidFill>
                    <a:prstClr val="white"/>
                  </a:solidFill>
                  <a:ea typeface="+mn-ea"/>
                  <a:cs typeface="+mn-cs"/>
                </a:rPr>
                <a:t>Label</a:t>
              </a:r>
            </a:p>
          </p:txBody>
        </p:sp>
        <p:sp>
          <p:nvSpPr>
            <p:cNvPr id="266" name="Rectangle 265"/>
            <p:cNvSpPr>
              <a:spLocks noChangeArrowheads="1"/>
            </p:cNvSpPr>
            <p:nvPr/>
          </p:nvSpPr>
          <p:spPr bwMode="auto">
            <a:xfrm>
              <a:off x="300" y="1070"/>
              <a:ext cx="1847" cy="301"/>
            </a:xfrm>
            <a:prstGeom prst="rect">
              <a:avLst/>
            </a:prstGeom>
            <a:solidFill>
              <a:srgbClr val="DCDCDC"/>
            </a:solidFill>
            <a:ln w="12700" algn="ctr">
              <a:noFill/>
              <a:miter lim="800000"/>
              <a:headEnd/>
              <a:tailEnd/>
            </a:ln>
          </p:spPr>
          <p:txBody>
            <a:bodyPr lIns="27000" tIns="27000" rIns="27000" bIns="27000" anchor="ctr"/>
            <a:lstStyle/>
            <a:p>
              <a:pPr marL="269717" indent="-269717" defTabSz="718499">
                <a:lnSpc>
                  <a:spcPct val="106000"/>
                </a:lnSpc>
                <a:spcBef>
                  <a:spcPts val="1008"/>
                </a:spcBef>
                <a:buClrTx/>
                <a:defRPr/>
              </a:pPr>
              <a:r>
                <a:rPr lang="en-US" sz="825" kern="1200" dirty="0">
                  <a:solidFill>
                    <a:srgbClr val="313131"/>
                  </a:solidFill>
                  <a:ea typeface="+mn-ea"/>
                  <a:cs typeface="+mn-cs"/>
                </a:rPr>
                <a:t>Text</a:t>
              </a:r>
            </a:p>
          </p:txBody>
        </p:sp>
      </p:grpSp>
      <p:grpSp>
        <p:nvGrpSpPr>
          <p:cNvPr id="267" name="Group 12"/>
          <p:cNvGrpSpPr>
            <a:grpSpLocks/>
          </p:cNvGrpSpPr>
          <p:nvPr/>
        </p:nvGrpSpPr>
        <p:grpSpPr bwMode="auto">
          <a:xfrm>
            <a:off x="5062011" y="3535681"/>
            <a:ext cx="998934" cy="335756"/>
            <a:chOff x="300" y="872"/>
            <a:chExt cx="1847" cy="499"/>
          </a:xfrm>
          <a:solidFill>
            <a:schemeClr val="bg1"/>
          </a:solidFill>
        </p:grpSpPr>
        <p:sp>
          <p:nvSpPr>
            <p:cNvPr id="268" name="Text Box 10"/>
            <p:cNvSpPr txBox="1">
              <a:spLocks noChangeArrowheads="1"/>
            </p:cNvSpPr>
            <p:nvPr/>
          </p:nvSpPr>
          <p:spPr bwMode="auto">
            <a:xfrm>
              <a:off x="300" y="872"/>
              <a:ext cx="1847" cy="199"/>
            </a:xfrm>
            <a:prstGeom prst="rect">
              <a:avLst/>
            </a:prstGeom>
            <a:solidFill>
              <a:srgbClr val="575757"/>
            </a:solidFill>
            <a:ln w="12700" algn="ctr">
              <a:noFill/>
              <a:miter lim="800000"/>
              <a:headEnd/>
              <a:tailEnd type="none" w="sm" len="med"/>
            </a:ln>
          </p:spPr>
          <p:txBody>
            <a:bodyPr lIns="27000" tIns="27000" rIns="27000" bIns="27000" anchor="ctr" anchorCtr="1"/>
            <a:lstStyle/>
            <a:p>
              <a:pPr defTabSz="717947">
                <a:buClrTx/>
              </a:pPr>
              <a:r>
                <a:rPr lang="en-US" sz="825" kern="1200" dirty="0">
                  <a:solidFill>
                    <a:prstClr val="white"/>
                  </a:solidFill>
                  <a:ea typeface="+mn-ea"/>
                  <a:cs typeface="+mn-cs"/>
                </a:rPr>
                <a:t>Label</a:t>
              </a:r>
            </a:p>
          </p:txBody>
        </p:sp>
        <p:sp>
          <p:nvSpPr>
            <p:cNvPr id="269" name="Rectangle 268"/>
            <p:cNvSpPr>
              <a:spLocks noChangeArrowheads="1"/>
            </p:cNvSpPr>
            <p:nvPr/>
          </p:nvSpPr>
          <p:spPr bwMode="auto">
            <a:xfrm>
              <a:off x="300" y="1070"/>
              <a:ext cx="1847" cy="301"/>
            </a:xfrm>
            <a:prstGeom prst="rect">
              <a:avLst/>
            </a:prstGeom>
            <a:solidFill>
              <a:srgbClr val="DCDCDC"/>
            </a:solidFill>
            <a:ln w="12700" algn="ctr">
              <a:noFill/>
              <a:miter lim="800000"/>
              <a:headEnd/>
              <a:tailEnd/>
            </a:ln>
          </p:spPr>
          <p:txBody>
            <a:bodyPr lIns="27000" tIns="27000" rIns="27000" bIns="27000" anchor="ctr"/>
            <a:lstStyle/>
            <a:p>
              <a:pPr marL="269717" indent="-269717" defTabSz="718499">
                <a:lnSpc>
                  <a:spcPct val="106000"/>
                </a:lnSpc>
                <a:spcBef>
                  <a:spcPts val="1008"/>
                </a:spcBef>
                <a:buClrTx/>
                <a:defRPr/>
              </a:pPr>
              <a:r>
                <a:rPr lang="en-US" sz="825" kern="1200" dirty="0">
                  <a:solidFill>
                    <a:srgbClr val="313131"/>
                  </a:solidFill>
                  <a:ea typeface="+mn-ea"/>
                  <a:cs typeface="+mn-cs"/>
                </a:rPr>
                <a:t>Text</a:t>
              </a:r>
            </a:p>
          </p:txBody>
        </p:sp>
      </p:grpSp>
      <p:grpSp>
        <p:nvGrpSpPr>
          <p:cNvPr id="270" name="Group 12"/>
          <p:cNvGrpSpPr>
            <a:grpSpLocks/>
          </p:cNvGrpSpPr>
          <p:nvPr/>
        </p:nvGrpSpPr>
        <p:grpSpPr bwMode="auto">
          <a:xfrm>
            <a:off x="5062011" y="3971449"/>
            <a:ext cx="998934" cy="335756"/>
            <a:chOff x="300" y="872"/>
            <a:chExt cx="1847" cy="499"/>
          </a:xfrm>
          <a:solidFill>
            <a:schemeClr val="bg1"/>
          </a:solidFill>
        </p:grpSpPr>
        <p:sp>
          <p:nvSpPr>
            <p:cNvPr id="271" name="Text Box 10"/>
            <p:cNvSpPr txBox="1">
              <a:spLocks noChangeArrowheads="1"/>
            </p:cNvSpPr>
            <p:nvPr/>
          </p:nvSpPr>
          <p:spPr bwMode="auto">
            <a:xfrm>
              <a:off x="300" y="872"/>
              <a:ext cx="1847" cy="199"/>
            </a:xfrm>
            <a:prstGeom prst="rect">
              <a:avLst/>
            </a:prstGeom>
            <a:solidFill>
              <a:srgbClr val="575757"/>
            </a:solidFill>
            <a:ln w="12700" algn="ctr">
              <a:noFill/>
              <a:miter lim="800000"/>
              <a:headEnd/>
              <a:tailEnd type="none" w="sm" len="med"/>
            </a:ln>
          </p:spPr>
          <p:txBody>
            <a:bodyPr lIns="27000" tIns="27000" rIns="27000" bIns="27000" anchor="ctr" anchorCtr="1"/>
            <a:lstStyle/>
            <a:p>
              <a:pPr defTabSz="717947">
                <a:buClrTx/>
              </a:pPr>
              <a:r>
                <a:rPr lang="en-US" sz="825" kern="1200" dirty="0">
                  <a:solidFill>
                    <a:prstClr val="white"/>
                  </a:solidFill>
                  <a:ea typeface="+mn-ea"/>
                  <a:cs typeface="+mn-cs"/>
                </a:rPr>
                <a:t>Label</a:t>
              </a:r>
            </a:p>
          </p:txBody>
        </p:sp>
        <p:sp>
          <p:nvSpPr>
            <p:cNvPr id="272" name="Rectangle 271"/>
            <p:cNvSpPr>
              <a:spLocks noChangeArrowheads="1"/>
            </p:cNvSpPr>
            <p:nvPr/>
          </p:nvSpPr>
          <p:spPr bwMode="auto">
            <a:xfrm>
              <a:off x="300" y="1070"/>
              <a:ext cx="1847" cy="301"/>
            </a:xfrm>
            <a:prstGeom prst="rect">
              <a:avLst/>
            </a:prstGeom>
            <a:solidFill>
              <a:srgbClr val="DCDCDC"/>
            </a:solidFill>
            <a:ln w="12700" algn="ctr">
              <a:noFill/>
              <a:miter lim="800000"/>
              <a:headEnd/>
              <a:tailEnd/>
            </a:ln>
          </p:spPr>
          <p:txBody>
            <a:bodyPr lIns="27000" tIns="27000" rIns="27000" bIns="27000" anchor="ctr"/>
            <a:lstStyle/>
            <a:p>
              <a:pPr marL="269717" indent="-269717" defTabSz="718499">
                <a:lnSpc>
                  <a:spcPct val="106000"/>
                </a:lnSpc>
                <a:spcBef>
                  <a:spcPts val="1008"/>
                </a:spcBef>
                <a:buClrTx/>
                <a:defRPr/>
              </a:pPr>
              <a:r>
                <a:rPr lang="en-US" sz="825" kern="1200" dirty="0">
                  <a:solidFill>
                    <a:srgbClr val="313131"/>
                  </a:solidFill>
                  <a:ea typeface="+mn-ea"/>
                  <a:cs typeface="+mn-cs"/>
                </a:rPr>
                <a:t>Text</a:t>
              </a:r>
            </a:p>
          </p:txBody>
        </p:sp>
      </p:grpSp>
      <p:grpSp>
        <p:nvGrpSpPr>
          <p:cNvPr id="273" name="Group 12"/>
          <p:cNvGrpSpPr>
            <a:grpSpLocks/>
          </p:cNvGrpSpPr>
          <p:nvPr/>
        </p:nvGrpSpPr>
        <p:grpSpPr bwMode="auto">
          <a:xfrm>
            <a:off x="5062011" y="4408409"/>
            <a:ext cx="998934" cy="335756"/>
            <a:chOff x="300" y="872"/>
            <a:chExt cx="1847" cy="499"/>
          </a:xfrm>
          <a:solidFill>
            <a:schemeClr val="bg1"/>
          </a:solidFill>
        </p:grpSpPr>
        <p:sp>
          <p:nvSpPr>
            <p:cNvPr id="274" name="Text Box 10"/>
            <p:cNvSpPr txBox="1">
              <a:spLocks noChangeArrowheads="1"/>
            </p:cNvSpPr>
            <p:nvPr/>
          </p:nvSpPr>
          <p:spPr bwMode="auto">
            <a:xfrm>
              <a:off x="300" y="872"/>
              <a:ext cx="1847" cy="199"/>
            </a:xfrm>
            <a:prstGeom prst="rect">
              <a:avLst/>
            </a:prstGeom>
            <a:solidFill>
              <a:srgbClr val="575757"/>
            </a:solidFill>
            <a:ln w="12700" algn="ctr">
              <a:noFill/>
              <a:miter lim="800000"/>
              <a:headEnd/>
              <a:tailEnd type="none" w="sm" len="med"/>
            </a:ln>
          </p:spPr>
          <p:txBody>
            <a:bodyPr lIns="27000" tIns="27000" rIns="27000" bIns="27000" anchor="ctr" anchorCtr="1"/>
            <a:lstStyle/>
            <a:p>
              <a:pPr defTabSz="717947">
                <a:buClrTx/>
              </a:pPr>
              <a:r>
                <a:rPr lang="en-US" sz="825" kern="1200" dirty="0">
                  <a:solidFill>
                    <a:prstClr val="white"/>
                  </a:solidFill>
                  <a:ea typeface="+mn-ea"/>
                  <a:cs typeface="+mn-cs"/>
                </a:rPr>
                <a:t>Label</a:t>
              </a:r>
            </a:p>
          </p:txBody>
        </p:sp>
        <p:sp>
          <p:nvSpPr>
            <p:cNvPr id="275" name="Rectangle 274"/>
            <p:cNvSpPr>
              <a:spLocks noChangeArrowheads="1"/>
            </p:cNvSpPr>
            <p:nvPr/>
          </p:nvSpPr>
          <p:spPr bwMode="auto">
            <a:xfrm>
              <a:off x="300" y="1070"/>
              <a:ext cx="1847" cy="301"/>
            </a:xfrm>
            <a:prstGeom prst="rect">
              <a:avLst/>
            </a:prstGeom>
            <a:solidFill>
              <a:srgbClr val="DCDCDC"/>
            </a:solidFill>
            <a:ln w="12700" algn="ctr">
              <a:noFill/>
              <a:miter lim="800000"/>
              <a:headEnd/>
              <a:tailEnd/>
            </a:ln>
          </p:spPr>
          <p:txBody>
            <a:bodyPr lIns="27000" tIns="27000" rIns="27000" bIns="27000" anchor="ctr"/>
            <a:lstStyle/>
            <a:p>
              <a:pPr marL="269717" indent="-269717" defTabSz="718499">
                <a:lnSpc>
                  <a:spcPct val="106000"/>
                </a:lnSpc>
                <a:spcBef>
                  <a:spcPts val="1008"/>
                </a:spcBef>
                <a:buClrTx/>
                <a:defRPr/>
              </a:pPr>
              <a:r>
                <a:rPr lang="en-US" sz="825" kern="1200" dirty="0">
                  <a:solidFill>
                    <a:srgbClr val="313131"/>
                  </a:solidFill>
                  <a:ea typeface="+mn-ea"/>
                  <a:cs typeface="+mn-cs"/>
                </a:rPr>
                <a:t>Text</a:t>
              </a:r>
            </a:p>
          </p:txBody>
        </p:sp>
      </p:grpSp>
      <p:cxnSp>
        <p:nvCxnSpPr>
          <p:cNvPr id="276" name="AutoShape 17"/>
          <p:cNvCxnSpPr>
            <a:cxnSpLocks noChangeShapeType="1"/>
            <a:stCxn id="100" idx="2"/>
            <a:endCxn id="266" idx="1"/>
          </p:cNvCxnSpPr>
          <p:nvPr>
            <p:custDataLst>
              <p:tags r:id="rId25"/>
            </p:custDataLst>
          </p:nvPr>
        </p:nvCxnSpPr>
        <p:spPr bwMode="auto">
          <a:xfrm rot="5400000">
            <a:off x="4964971" y="3096938"/>
            <a:ext cx="333314" cy="139235"/>
          </a:xfrm>
          <a:prstGeom prst="bentConnector4">
            <a:avLst>
              <a:gd name="adj1" fmla="val 18062"/>
              <a:gd name="adj2" fmla="val 223138"/>
            </a:avLst>
          </a:prstGeom>
          <a:noFill/>
          <a:ln w="12700">
            <a:solidFill>
              <a:srgbClr val="B4B4B4"/>
            </a:solidFill>
            <a:miter lim="800000"/>
            <a:headEnd type="none" w="sm" len="sm"/>
            <a:tailEnd type="none" w="med" len="lg"/>
          </a:ln>
        </p:spPr>
      </p:cxnSp>
      <p:cxnSp>
        <p:nvCxnSpPr>
          <p:cNvPr id="277" name="AutoShape 18"/>
          <p:cNvCxnSpPr>
            <a:cxnSpLocks noChangeShapeType="1"/>
            <a:stCxn id="266" idx="1"/>
            <a:endCxn id="269" idx="1"/>
          </p:cNvCxnSpPr>
          <p:nvPr>
            <p:custDataLst>
              <p:tags r:id="rId26"/>
            </p:custDataLst>
          </p:nvPr>
        </p:nvCxnSpPr>
        <p:spPr bwMode="auto">
          <a:xfrm rot="10800000" flipV="1">
            <a:off x="5062011" y="3333212"/>
            <a:ext cx="1191" cy="436959"/>
          </a:xfrm>
          <a:prstGeom prst="bentConnector3">
            <a:avLst>
              <a:gd name="adj1" fmla="val 14395466"/>
            </a:avLst>
          </a:prstGeom>
          <a:noFill/>
          <a:ln w="12700">
            <a:solidFill>
              <a:srgbClr val="B4B4B4"/>
            </a:solidFill>
            <a:miter lim="800000"/>
            <a:headEnd type="none" w="sm" len="sm"/>
            <a:tailEnd type="none" w="med" len="lg"/>
          </a:ln>
        </p:spPr>
      </p:cxnSp>
      <p:cxnSp>
        <p:nvCxnSpPr>
          <p:cNvPr id="278" name="AutoShape 19"/>
          <p:cNvCxnSpPr>
            <a:cxnSpLocks noChangeShapeType="1"/>
            <a:stCxn id="269" idx="1"/>
            <a:endCxn id="272" idx="1"/>
          </p:cNvCxnSpPr>
          <p:nvPr>
            <p:custDataLst>
              <p:tags r:id="rId27"/>
            </p:custDataLst>
          </p:nvPr>
        </p:nvCxnSpPr>
        <p:spPr bwMode="auto">
          <a:xfrm rot="10800000" flipV="1">
            <a:off x="5062011" y="3770171"/>
            <a:ext cx="1191" cy="435769"/>
          </a:xfrm>
          <a:prstGeom prst="bentConnector3">
            <a:avLst>
              <a:gd name="adj1" fmla="val 14395466"/>
            </a:avLst>
          </a:prstGeom>
          <a:noFill/>
          <a:ln w="12700">
            <a:solidFill>
              <a:srgbClr val="B4B4B4"/>
            </a:solidFill>
            <a:miter lim="800000"/>
            <a:headEnd type="none" w="sm" len="sm"/>
            <a:tailEnd type="none" w="med" len="lg"/>
          </a:ln>
        </p:spPr>
      </p:cxnSp>
      <p:cxnSp>
        <p:nvCxnSpPr>
          <p:cNvPr id="279" name="AutoShape 20"/>
          <p:cNvCxnSpPr>
            <a:cxnSpLocks noChangeShapeType="1"/>
            <a:stCxn id="272" idx="1"/>
            <a:endCxn id="275" idx="1"/>
          </p:cNvCxnSpPr>
          <p:nvPr>
            <p:custDataLst>
              <p:tags r:id="rId28"/>
            </p:custDataLst>
          </p:nvPr>
        </p:nvCxnSpPr>
        <p:spPr bwMode="auto">
          <a:xfrm rot="10800000" flipV="1">
            <a:off x="5062011" y="4205940"/>
            <a:ext cx="1191" cy="436960"/>
          </a:xfrm>
          <a:prstGeom prst="bentConnector3">
            <a:avLst>
              <a:gd name="adj1" fmla="val 14395466"/>
            </a:avLst>
          </a:prstGeom>
          <a:noFill/>
          <a:ln w="12700">
            <a:solidFill>
              <a:srgbClr val="B4B4B4"/>
            </a:solidFill>
            <a:miter lim="800000"/>
            <a:headEnd type="none" w="sm" len="sm"/>
            <a:tailEnd type="none" w="med" len="lg"/>
          </a:ln>
        </p:spPr>
      </p:cxnSp>
      <p:grpSp>
        <p:nvGrpSpPr>
          <p:cNvPr id="280" name="Group 12"/>
          <p:cNvGrpSpPr>
            <a:grpSpLocks/>
          </p:cNvGrpSpPr>
          <p:nvPr/>
        </p:nvGrpSpPr>
        <p:grpSpPr bwMode="auto">
          <a:xfrm>
            <a:off x="6656561" y="3098722"/>
            <a:ext cx="998934" cy="335756"/>
            <a:chOff x="300" y="872"/>
            <a:chExt cx="1847" cy="499"/>
          </a:xfrm>
          <a:solidFill>
            <a:schemeClr val="bg1"/>
          </a:solidFill>
        </p:grpSpPr>
        <p:sp>
          <p:nvSpPr>
            <p:cNvPr id="281" name="Text Box 10"/>
            <p:cNvSpPr txBox="1">
              <a:spLocks noChangeArrowheads="1"/>
            </p:cNvSpPr>
            <p:nvPr/>
          </p:nvSpPr>
          <p:spPr bwMode="auto">
            <a:xfrm>
              <a:off x="300" y="872"/>
              <a:ext cx="1847" cy="199"/>
            </a:xfrm>
            <a:prstGeom prst="rect">
              <a:avLst/>
            </a:prstGeom>
            <a:solidFill>
              <a:srgbClr val="575757"/>
            </a:solidFill>
            <a:ln w="12700" algn="ctr">
              <a:noFill/>
              <a:miter lim="800000"/>
              <a:headEnd/>
              <a:tailEnd type="none" w="sm" len="med"/>
            </a:ln>
          </p:spPr>
          <p:txBody>
            <a:bodyPr lIns="27000" tIns="27000" rIns="27000" bIns="27000" anchor="ctr" anchorCtr="1"/>
            <a:lstStyle/>
            <a:p>
              <a:pPr defTabSz="717947">
                <a:buClrTx/>
              </a:pPr>
              <a:r>
                <a:rPr lang="en-US" sz="825" kern="1200" dirty="0">
                  <a:solidFill>
                    <a:prstClr val="white"/>
                  </a:solidFill>
                  <a:ea typeface="+mn-ea"/>
                  <a:cs typeface="+mn-cs"/>
                </a:rPr>
                <a:t>Label</a:t>
              </a:r>
            </a:p>
          </p:txBody>
        </p:sp>
        <p:sp>
          <p:nvSpPr>
            <p:cNvPr id="282" name="Rectangle 281"/>
            <p:cNvSpPr>
              <a:spLocks noChangeArrowheads="1"/>
            </p:cNvSpPr>
            <p:nvPr/>
          </p:nvSpPr>
          <p:spPr bwMode="auto">
            <a:xfrm>
              <a:off x="300" y="1070"/>
              <a:ext cx="1847" cy="301"/>
            </a:xfrm>
            <a:prstGeom prst="rect">
              <a:avLst/>
            </a:prstGeom>
            <a:solidFill>
              <a:srgbClr val="DCDCDC"/>
            </a:solidFill>
            <a:ln w="12700" algn="ctr">
              <a:noFill/>
              <a:miter lim="800000"/>
              <a:headEnd/>
              <a:tailEnd/>
            </a:ln>
          </p:spPr>
          <p:txBody>
            <a:bodyPr lIns="27000" tIns="27000" rIns="27000" bIns="27000" anchor="ctr"/>
            <a:lstStyle/>
            <a:p>
              <a:pPr marL="269717" indent="-269717" defTabSz="718499">
                <a:lnSpc>
                  <a:spcPct val="106000"/>
                </a:lnSpc>
                <a:spcBef>
                  <a:spcPts val="1008"/>
                </a:spcBef>
                <a:buClrTx/>
                <a:defRPr/>
              </a:pPr>
              <a:r>
                <a:rPr lang="en-US" sz="825" kern="1200" dirty="0">
                  <a:solidFill>
                    <a:srgbClr val="313131"/>
                  </a:solidFill>
                  <a:ea typeface="+mn-ea"/>
                  <a:cs typeface="+mn-cs"/>
                </a:rPr>
                <a:t>Text</a:t>
              </a:r>
            </a:p>
          </p:txBody>
        </p:sp>
      </p:grpSp>
      <p:grpSp>
        <p:nvGrpSpPr>
          <p:cNvPr id="283" name="Group 12"/>
          <p:cNvGrpSpPr>
            <a:grpSpLocks/>
          </p:cNvGrpSpPr>
          <p:nvPr/>
        </p:nvGrpSpPr>
        <p:grpSpPr bwMode="auto">
          <a:xfrm>
            <a:off x="6656561" y="3535681"/>
            <a:ext cx="998934" cy="335756"/>
            <a:chOff x="300" y="872"/>
            <a:chExt cx="1847" cy="499"/>
          </a:xfrm>
          <a:solidFill>
            <a:schemeClr val="bg1"/>
          </a:solidFill>
        </p:grpSpPr>
        <p:sp>
          <p:nvSpPr>
            <p:cNvPr id="284" name="Text Box 10"/>
            <p:cNvSpPr txBox="1">
              <a:spLocks noChangeArrowheads="1"/>
            </p:cNvSpPr>
            <p:nvPr/>
          </p:nvSpPr>
          <p:spPr bwMode="auto">
            <a:xfrm>
              <a:off x="300" y="872"/>
              <a:ext cx="1847" cy="199"/>
            </a:xfrm>
            <a:prstGeom prst="rect">
              <a:avLst/>
            </a:prstGeom>
            <a:solidFill>
              <a:srgbClr val="575757"/>
            </a:solidFill>
            <a:ln w="12700" algn="ctr">
              <a:noFill/>
              <a:miter lim="800000"/>
              <a:headEnd/>
              <a:tailEnd type="none" w="sm" len="med"/>
            </a:ln>
          </p:spPr>
          <p:txBody>
            <a:bodyPr lIns="27000" tIns="27000" rIns="27000" bIns="27000" anchor="ctr" anchorCtr="1"/>
            <a:lstStyle/>
            <a:p>
              <a:pPr defTabSz="717947">
                <a:buClrTx/>
              </a:pPr>
              <a:r>
                <a:rPr lang="en-US" sz="825" kern="1200" dirty="0">
                  <a:solidFill>
                    <a:prstClr val="white"/>
                  </a:solidFill>
                  <a:ea typeface="+mn-ea"/>
                  <a:cs typeface="+mn-cs"/>
                </a:rPr>
                <a:t>Label</a:t>
              </a:r>
            </a:p>
          </p:txBody>
        </p:sp>
        <p:sp>
          <p:nvSpPr>
            <p:cNvPr id="285" name="Rectangle 284"/>
            <p:cNvSpPr>
              <a:spLocks noChangeArrowheads="1"/>
            </p:cNvSpPr>
            <p:nvPr/>
          </p:nvSpPr>
          <p:spPr bwMode="auto">
            <a:xfrm>
              <a:off x="300" y="1070"/>
              <a:ext cx="1847" cy="301"/>
            </a:xfrm>
            <a:prstGeom prst="rect">
              <a:avLst/>
            </a:prstGeom>
            <a:solidFill>
              <a:srgbClr val="DCDCDC"/>
            </a:solidFill>
            <a:ln w="12700" algn="ctr">
              <a:noFill/>
              <a:miter lim="800000"/>
              <a:headEnd/>
              <a:tailEnd/>
            </a:ln>
          </p:spPr>
          <p:txBody>
            <a:bodyPr lIns="27000" tIns="27000" rIns="27000" bIns="27000" anchor="ctr"/>
            <a:lstStyle/>
            <a:p>
              <a:pPr marL="269717" indent="-269717" defTabSz="718499">
                <a:lnSpc>
                  <a:spcPct val="106000"/>
                </a:lnSpc>
                <a:spcBef>
                  <a:spcPts val="1008"/>
                </a:spcBef>
                <a:buClrTx/>
                <a:defRPr/>
              </a:pPr>
              <a:r>
                <a:rPr lang="en-US" sz="825" kern="1200" dirty="0">
                  <a:solidFill>
                    <a:srgbClr val="313131"/>
                  </a:solidFill>
                  <a:ea typeface="+mn-ea"/>
                  <a:cs typeface="+mn-cs"/>
                </a:rPr>
                <a:t>Text</a:t>
              </a:r>
            </a:p>
          </p:txBody>
        </p:sp>
      </p:grpSp>
      <p:grpSp>
        <p:nvGrpSpPr>
          <p:cNvPr id="286" name="Group 12"/>
          <p:cNvGrpSpPr>
            <a:grpSpLocks/>
          </p:cNvGrpSpPr>
          <p:nvPr/>
        </p:nvGrpSpPr>
        <p:grpSpPr bwMode="auto">
          <a:xfrm>
            <a:off x="6656561" y="3971449"/>
            <a:ext cx="998934" cy="335756"/>
            <a:chOff x="300" y="872"/>
            <a:chExt cx="1847" cy="499"/>
          </a:xfrm>
          <a:solidFill>
            <a:schemeClr val="bg1"/>
          </a:solidFill>
        </p:grpSpPr>
        <p:sp>
          <p:nvSpPr>
            <p:cNvPr id="287" name="Text Box 10"/>
            <p:cNvSpPr txBox="1">
              <a:spLocks noChangeArrowheads="1"/>
            </p:cNvSpPr>
            <p:nvPr/>
          </p:nvSpPr>
          <p:spPr bwMode="auto">
            <a:xfrm>
              <a:off x="300" y="872"/>
              <a:ext cx="1847" cy="199"/>
            </a:xfrm>
            <a:prstGeom prst="rect">
              <a:avLst/>
            </a:prstGeom>
            <a:solidFill>
              <a:srgbClr val="575757"/>
            </a:solidFill>
            <a:ln w="12700" algn="ctr">
              <a:noFill/>
              <a:miter lim="800000"/>
              <a:headEnd/>
              <a:tailEnd type="none" w="sm" len="med"/>
            </a:ln>
          </p:spPr>
          <p:txBody>
            <a:bodyPr lIns="27000" tIns="27000" rIns="27000" bIns="27000" anchor="ctr" anchorCtr="1"/>
            <a:lstStyle/>
            <a:p>
              <a:pPr defTabSz="717947">
                <a:buClrTx/>
              </a:pPr>
              <a:r>
                <a:rPr lang="en-US" sz="825" kern="1200" dirty="0">
                  <a:solidFill>
                    <a:prstClr val="white"/>
                  </a:solidFill>
                  <a:ea typeface="+mn-ea"/>
                  <a:cs typeface="+mn-cs"/>
                </a:rPr>
                <a:t>Label</a:t>
              </a:r>
            </a:p>
          </p:txBody>
        </p:sp>
        <p:sp>
          <p:nvSpPr>
            <p:cNvPr id="288" name="Rectangle 287"/>
            <p:cNvSpPr>
              <a:spLocks noChangeArrowheads="1"/>
            </p:cNvSpPr>
            <p:nvPr/>
          </p:nvSpPr>
          <p:spPr bwMode="auto">
            <a:xfrm>
              <a:off x="300" y="1070"/>
              <a:ext cx="1847" cy="301"/>
            </a:xfrm>
            <a:prstGeom prst="rect">
              <a:avLst/>
            </a:prstGeom>
            <a:solidFill>
              <a:srgbClr val="DCDCDC"/>
            </a:solidFill>
            <a:ln w="12700" algn="ctr">
              <a:noFill/>
              <a:miter lim="800000"/>
              <a:headEnd/>
              <a:tailEnd/>
            </a:ln>
          </p:spPr>
          <p:txBody>
            <a:bodyPr lIns="27000" tIns="27000" rIns="27000" bIns="27000" anchor="ctr"/>
            <a:lstStyle/>
            <a:p>
              <a:pPr marL="269717" indent="-269717" defTabSz="718499">
                <a:lnSpc>
                  <a:spcPct val="106000"/>
                </a:lnSpc>
                <a:spcBef>
                  <a:spcPts val="1008"/>
                </a:spcBef>
                <a:buClrTx/>
                <a:defRPr/>
              </a:pPr>
              <a:r>
                <a:rPr lang="en-US" sz="825" kern="1200" dirty="0">
                  <a:solidFill>
                    <a:srgbClr val="313131"/>
                  </a:solidFill>
                  <a:ea typeface="+mn-ea"/>
                  <a:cs typeface="+mn-cs"/>
                </a:rPr>
                <a:t>Text</a:t>
              </a:r>
            </a:p>
          </p:txBody>
        </p:sp>
      </p:grpSp>
      <p:grpSp>
        <p:nvGrpSpPr>
          <p:cNvPr id="289" name="Group 12"/>
          <p:cNvGrpSpPr>
            <a:grpSpLocks/>
          </p:cNvGrpSpPr>
          <p:nvPr/>
        </p:nvGrpSpPr>
        <p:grpSpPr bwMode="auto">
          <a:xfrm>
            <a:off x="6656561" y="4408409"/>
            <a:ext cx="998934" cy="335756"/>
            <a:chOff x="300" y="872"/>
            <a:chExt cx="1847" cy="499"/>
          </a:xfrm>
          <a:solidFill>
            <a:schemeClr val="bg1"/>
          </a:solidFill>
        </p:grpSpPr>
        <p:sp>
          <p:nvSpPr>
            <p:cNvPr id="290" name="Text Box 10"/>
            <p:cNvSpPr txBox="1">
              <a:spLocks noChangeArrowheads="1"/>
            </p:cNvSpPr>
            <p:nvPr/>
          </p:nvSpPr>
          <p:spPr bwMode="auto">
            <a:xfrm>
              <a:off x="300" y="872"/>
              <a:ext cx="1847" cy="199"/>
            </a:xfrm>
            <a:prstGeom prst="rect">
              <a:avLst/>
            </a:prstGeom>
            <a:solidFill>
              <a:srgbClr val="575757"/>
            </a:solidFill>
            <a:ln w="12700" algn="ctr">
              <a:noFill/>
              <a:miter lim="800000"/>
              <a:headEnd/>
              <a:tailEnd type="none" w="sm" len="med"/>
            </a:ln>
          </p:spPr>
          <p:txBody>
            <a:bodyPr lIns="27000" tIns="27000" rIns="27000" bIns="27000" anchor="ctr" anchorCtr="1"/>
            <a:lstStyle/>
            <a:p>
              <a:pPr defTabSz="717947">
                <a:buClrTx/>
              </a:pPr>
              <a:r>
                <a:rPr lang="en-US" sz="825" kern="1200" dirty="0">
                  <a:solidFill>
                    <a:prstClr val="white"/>
                  </a:solidFill>
                  <a:ea typeface="+mn-ea"/>
                  <a:cs typeface="+mn-cs"/>
                </a:rPr>
                <a:t>Label</a:t>
              </a:r>
            </a:p>
          </p:txBody>
        </p:sp>
        <p:sp>
          <p:nvSpPr>
            <p:cNvPr id="291" name="Rectangle 290"/>
            <p:cNvSpPr>
              <a:spLocks noChangeArrowheads="1"/>
            </p:cNvSpPr>
            <p:nvPr/>
          </p:nvSpPr>
          <p:spPr bwMode="auto">
            <a:xfrm>
              <a:off x="300" y="1070"/>
              <a:ext cx="1847" cy="301"/>
            </a:xfrm>
            <a:prstGeom prst="rect">
              <a:avLst/>
            </a:prstGeom>
            <a:solidFill>
              <a:srgbClr val="DCDCDC"/>
            </a:solidFill>
            <a:ln w="12700" algn="ctr">
              <a:noFill/>
              <a:miter lim="800000"/>
              <a:headEnd/>
              <a:tailEnd/>
            </a:ln>
          </p:spPr>
          <p:txBody>
            <a:bodyPr lIns="27000" tIns="27000" rIns="27000" bIns="27000" anchor="ctr"/>
            <a:lstStyle/>
            <a:p>
              <a:pPr marL="269717" indent="-269717" defTabSz="718499">
                <a:lnSpc>
                  <a:spcPct val="106000"/>
                </a:lnSpc>
                <a:spcBef>
                  <a:spcPts val="1008"/>
                </a:spcBef>
                <a:buClrTx/>
                <a:defRPr/>
              </a:pPr>
              <a:r>
                <a:rPr lang="en-US" sz="825" kern="1200" dirty="0">
                  <a:solidFill>
                    <a:srgbClr val="313131"/>
                  </a:solidFill>
                  <a:ea typeface="+mn-ea"/>
                  <a:cs typeface="+mn-cs"/>
                </a:rPr>
                <a:t>Text</a:t>
              </a:r>
            </a:p>
          </p:txBody>
        </p:sp>
      </p:grpSp>
      <p:cxnSp>
        <p:nvCxnSpPr>
          <p:cNvPr id="292" name="AutoShape 17"/>
          <p:cNvCxnSpPr>
            <a:cxnSpLocks noChangeShapeType="1"/>
            <a:stCxn id="106" idx="2"/>
            <a:endCxn id="282" idx="1"/>
          </p:cNvCxnSpPr>
          <p:nvPr>
            <p:custDataLst>
              <p:tags r:id="rId29"/>
            </p:custDataLst>
          </p:nvPr>
        </p:nvCxnSpPr>
        <p:spPr bwMode="auto">
          <a:xfrm rot="5400000">
            <a:off x="6567407" y="3089054"/>
            <a:ext cx="333314" cy="155005"/>
          </a:xfrm>
          <a:prstGeom prst="bentConnector4">
            <a:avLst>
              <a:gd name="adj1" fmla="val 18061"/>
              <a:gd name="adj2" fmla="val 210610"/>
            </a:avLst>
          </a:prstGeom>
          <a:noFill/>
          <a:ln w="12700">
            <a:solidFill>
              <a:srgbClr val="B4B4B4"/>
            </a:solidFill>
            <a:miter lim="800000"/>
            <a:headEnd type="none" w="sm" len="sm"/>
            <a:tailEnd type="none" w="med" len="lg"/>
          </a:ln>
        </p:spPr>
      </p:cxnSp>
      <p:cxnSp>
        <p:nvCxnSpPr>
          <p:cNvPr id="293" name="AutoShape 18"/>
          <p:cNvCxnSpPr>
            <a:cxnSpLocks noChangeShapeType="1"/>
            <a:stCxn id="282" idx="1"/>
            <a:endCxn id="285" idx="1"/>
          </p:cNvCxnSpPr>
          <p:nvPr>
            <p:custDataLst>
              <p:tags r:id="rId30"/>
            </p:custDataLst>
          </p:nvPr>
        </p:nvCxnSpPr>
        <p:spPr bwMode="auto">
          <a:xfrm rot="10800000" flipV="1">
            <a:off x="6656561" y="3333212"/>
            <a:ext cx="1191" cy="436959"/>
          </a:xfrm>
          <a:prstGeom prst="bentConnector3">
            <a:avLst>
              <a:gd name="adj1" fmla="val 14395466"/>
            </a:avLst>
          </a:prstGeom>
          <a:noFill/>
          <a:ln w="12700">
            <a:solidFill>
              <a:srgbClr val="B4B4B4"/>
            </a:solidFill>
            <a:miter lim="800000"/>
            <a:headEnd type="none" w="sm" len="sm"/>
            <a:tailEnd type="none" w="med" len="lg"/>
          </a:ln>
        </p:spPr>
      </p:cxnSp>
      <p:cxnSp>
        <p:nvCxnSpPr>
          <p:cNvPr id="294" name="AutoShape 19"/>
          <p:cNvCxnSpPr>
            <a:cxnSpLocks noChangeShapeType="1"/>
            <a:stCxn id="285" idx="1"/>
            <a:endCxn id="288" idx="1"/>
          </p:cNvCxnSpPr>
          <p:nvPr>
            <p:custDataLst>
              <p:tags r:id="rId31"/>
            </p:custDataLst>
          </p:nvPr>
        </p:nvCxnSpPr>
        <p:spPr bwMode="auto">
          <a:xfrm rot="10800000" flipV="1">
            <a:off x="6656561" y="3770171"/>
            <a:ext cx="1191" cy="435769"/>
          </a:xfrm>
          <a:prstGeom prst="bentConnector3">
            <a:avLst>
              <a:gd name="adj1" fmla="val 14395466"/>
            </a:avLst>
          </a:prstGeom>
          <a:noFill/>
          <a:ln w="12700">
            <a:solidFill>
              <a:srgbClr val="B4B4B4"/>
            </a:solidFill>
            <a:miter lim="800000"/>
            <a:headEnd type="none" w="sm" len="sm"/>
            <a:tailEnd type="none" w="med" len="lg"/>
          </a:ln>
        </p:spPr>
      </p:cxnSp>
      <p:cxnSp>
        <p:nvCxnSpPr>
          <p:cNvPr id="295" name="AutoShape 20"/>
          <p:cNvCxnSpPr>
            <a:cxnSpLocks noChangeShapeType="1"/>
            <a:stCxn id="288" idx="1"/>
            <a:endCxn id="291" idx="1"/>
          </p:cNvCxnSpPr>
          <p:nvPr>
            <p:custDataLst>
              <p:tags r:id="rId32"/>
            </p:custDataLst>
          </p:nvPr>
        </p:nvCxnSpPr>
        <p:spPr bwMode="auto">
          <a:xfrm rot="10800000" flipV="1">
            <a:off x="6656561" y="4205940"/>
            <a:ext cx="1191" cy="436960"/>
          </a:xfrm>
          <a:prstGeom prst="bentConnector3">
            <a:avLst>
              <a:gd name="adj1" fmla="val 14395466"/>
            </a:avLst>
          </a:prstGeom>
          <a:noFill/>
          <a:ln w="12700">
            <a:solidFill>
              <a:srgbClr val="B4B4B4"/>
            </a:solidFill>
            <a:miter lim="800000"/>
            <a:headEnd type="none" w="sm" len="sm"/>
            <a:tailEnd type="none" w="med" len="lg"/>
          </a:ln>
        </p:spPr>
      </p:cxnSp>
      <p:grpSp>
        <p:nvGrpSpPr>
          <p:cNvPr id="243715" name="Group 12"/>
          <p:cNvGrpSpPr>
            <a:grpSpLocks/>
          </p:cNvGrpSpPr>
          <p:nvPr/>
        </p:nvGrpSpPr>
        <p:grpSpPr bwMode="auto">
          <a:xfrm>
            <a:off x="1832372" y="3098722"/>
            <a:ext cx="998934" cy="335756"/>
            <a:chOff x="300" y="872"/>
            <a:chExt cx="1847" cy="499"/>
          </a:xfrm>
          <a:solidFill>
            <a:schemeClr val="bg1"/>
          </a:solidFill>
        </p:grpSpPr>
        <p:sp>
          <p:nvSpPr>
            <p:cNvPr id="243808" name="Text Box 10"/>
            <p:cNvSpPr txBox="1">
              <a:spLocks noChangeArrowheads="1"/>
            </p:cNvSpPr>
            <p:nvPr/>
          </p:nvSpPr>
          <p:spPr bwMode="auto">
            <a:xfrm>
              <a:off x="300" y="872"/>
              <a:ext cx="1847" cy="199"/>
            </a:xfrm>
            <a:prstGeom prst="rect">
              <a:avLst/>
            </a:prstGeom>
            <a:solidFill>
              <a:srgbClr val="575757"/>
            </a:solidFill>
            <a:ln w="12700" algn="ctr">
              <a:noFill/>
              <a:miter lim="800000"/>
              <a:headEnd/>
              <a:tailEnd type="none" w="sm" len="med"/>
            </a:ln>
          </p:spPr>
          <p:txBody>
            <a:bodyPr lIns="27000" tIns="27000" rIns="27000" bIns="27000" anchor="ctr" anchorCtr="1"/>
            <a:lstStyle/>
            <a:p>
              <a:pPr defTabSz="717947">
                <a:buClrTx/>
              </a:pPr>
              <a:r>
                <a:rPr lang="en-US" sz="825" kern="1200" dirty="0">
                  <a:solidFill>
                    <a:prstClr val="white"/>
                  </a:solidFill>
                  <a:ea typeface="+mn-ea"/>
                  <a:cs typeface="+mn-cs"/>
                </a:rPr>
                <a:t>Label</a:t>
              </a:r>
            </a:p>
          </p:txBody>
        </p:sp>
        <p:sp>
          <p:nvSpPr>
            <p:cNvPr id="149" name="Rectangle 148"/>
            <p:cNvSpPr>
              <a:spLocks noChangeArrowheads="1"/>
            </p:cNvSpPr>
            <p:nvPr/>
          </p:nvSpPr>
          <p:spPr bwMode="auto">
            <a:xfrm>
              <a:off x="300" y="1070"/>
              <a:ext cx="1847" cy="301"/>
            </a:xfrm>
            <a:prstGeom prst="rect">
              <a:avLst/>
            </a:prstGeom>
            <a:solidFill>
              <a:srgbClr val="DCDCDC"/>
            </a:solidFill>
            <a:ln w="12700" algn="ctr">
              <a:noFill/>
              <a:miter lim="800000"/>
              <a:headEnd/>
              <a:tailEnd/>
            </a:ln>
          </p:spPr>
          <p:txBody>
            <a:bodyPr lIns="27000" tIns="27000" rIns="27000" bIns="27000" anchor="ctr"/>
            <a:lstStyle/>
            <a:p>
              <a:pPr marL="269717" indent="-269717" defTabSz="718499">
                <a:lnSpc>
                  <a:spcPct val="106000"/>
                </a:lnSpc>
                <a:spcBef>
                  <a:spcPts val="1008"/>
                </a:spcBef>
                <a:buClrTx/>
                <a:defRPr/>
              </a:pPr>
              <a:r>
                <a:rPr lang="en-US" sz="825" kern="1200" dirty="0">
                  <a:solidFill>
                    <a:srgbClr val="313131"/>
                  </a:solidFill>
                  <a:ea typeface="+mn-ea"/>
                  <a:cs typeface="+mn-cs"/>
                </a:rPr>
                <a:t>Text</a:t>
              </a:r>
            </a:p>
          </p:txBody>
        </p:sp>
      </p:grpSp>
    </p:spTree>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5665" name="Title 1"/>
          <p:cNvSpPr>
            <a:spLocks noGrp="1"/>
          </p:cNvSpPr>
          <p:nvPr>
            <p:ph type="title"/>
          </p:nvPr>
        </p:nvSpPr>
        <p:spPr/>
        <p:txBody>
          <a:bodyPr/>
          <a:lstStyle/>
          <a:p>
            <a:r>
              <a:rPr lang="en-US" dirty="0">
                <a:solidFill>
                  <a:srgbClr val="81BC00"/>
                </a:solidFill>
              </a:rPr>
              <a:t>Organization chart  </a:t>
            </a:r>
            <a:br>
              <a:rPr lang="en-US" dirty="0">
                <a:solidFill>
                  <a:srgbClr val="575757"/>
                </a:solidFill>
              </a:rPr>
            </a:br>
            <a:r>
              <a:rPr lang="en-US" dirty="0">
                <a:solidFill>
                  <a:srgbClr val="575757"/>
                </a:solidFill>
              </a:rPr>
              <a:t>With text blocks</a:t>
            </a:r>
          </a:p>
        </p:txBody>
      </p:sp>
      <p:cxnSp>
        <p:nvCxnSpPr>
          <p:cNvPr id="10" name="AutoShape 9"/>
          <p:cNvCxnSpPr>
            <a:cxnSpLocks noChangeShapeType="1"/>
          </p:cNvCxnSpPr>
          <p:nvPr/>
        </p:nvCxnSpPr>
        <p:spPr bwMode="auto">
          <a:xfrm rot="10800000" flipV="1">
            <a:off x="2525333" y="2124310"/>
            <a:ext cx="2021515" cy="559403"/>
          </a:xfrm>
          <a:prstGeom prst="bentConnector2">
            <a:avLst/>
          </a:prstGeom>
          <a:noFill/>
          <a:ln w="12700">
            <a:solidFill>
              <a:srgbClr val="B4B4B4"/>
            </a:solidFill>
            <a:miter lim="800000"/>
            <a:headEnd/>
            <a:tailEnd/>
          </a:ln>
        </p:spPr>
      </p:cxnSp>
      <p:cxnSp>
        <p:nvCxnSpPr>
          <p:cNvPr id="11" name="AutoShape 10"/>
          <p:cNvCxnSpPr>
            <a:cxnSpLocks noChangeShapeType="1"/>
          </p:cNvCxnSpPr>
          <p:nvPr/>
        </p:nvCxnSpPr>
        <p:spPr bwMode="auto">
          <a:xfrm>
            <a:off x="4539258" y="2124310"/>
            <a:ext cx="2034529" cy="552794"/>
          </a:xfrm>
          <a:prstGeom prst="bentConnector2">
            <a:avLst/>
          </a:prstGeom>
          <a:noFill/>
          <a:ln w="12700">
            <a:solidFill>
              <a:srgbClr val="B4B4B4"/>
            </a:solidFill>
            <a:miter lim="800000"/>
            <a:headEnd/>
            <a:tailEnd/>
          </a:ln>
        </p:spPr>
      </p:cxnSp>
      <p:cxnSp>
        <p:nvCxnSpPr>
          <p:cNvPr id="17" name="AutoShape 17"/>
          <p:cNvCxnSpPr>
            <a:cxnSpLocks noChangeShapeType="1"/>
          </p:cNvCxnSpPr>
          <p:nvPr/>
        </p:nvCxnSpPr>
        <p:spPr bwMode="gray">
          <a:xfrm flipV="1">
            <a:off x="4539258" y="1811608"/>
            <a:ext cx="5060" cy="552794"/>
          </a:xfrm>
          <a:prstGeom prst="straightConnector1">
            <a:avLst/>
          </a:prstGeom>
          <a:noFill/>
          <a:ln w="12700">
            <a:solidFill>
              <a:srgbClr val="B4B4B4"/>
            </a:solidFill>
            <a:round/>
            <a:headEnd/>
            <a:tailEnd/>
          </a:ln>
        </p:spPr>
      </p:cxnSp>
      <p:sp>
        <p:nvSpPr>
          <p:cNvPr id="21" name="Text Placeholder 5"/>
          <p:cNvSpPr txBox="1">
            <a:spLocks/>
          </p:cNvSpPr>
          <p:nvPr/>
        </p:nvSpPr>
        <p:spPr>
          <a:xfrm>
            <a:off x="1750219" y="3034804"/>
            <a:ext cx="1558529" cy="499521"/>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198882" defTabSz="717947">
              <a:spcBef>
                <a:spcPts val="450"/>
              </a:spcBef>
              <a:buClrTx/>
            </a:pPr>
            <a:r>
              <a:rPr lang="en-US" sz="825" dirty="0">
                <a:solidFill>
                  <a:srgbClr val="313131"/>
                </a:solidFill>
                <a:latin typeface="Arial"/>
              </a:rPr>
              <a:t>This is a level two bullet</a:t>
            </a:r>
          </a:p>
        </p:txBody>
      </p:sp>
      <p:sp>
        <p:nvSpPr>
          <p:cNvPr id="22" name="Text Placeholder 5"/>
          <p:cNvSpPr txBox="1">
            <a:spLocks/>
          </p:cNvSpPr>
          <p:nvPr/>
        </p:nvSpPr>
        <p:spPr>
          <a:xfrm>
            <a:off x="3770113" y="3034804"/>
            <a:ext cx="1558529" cy="499521"/>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198882" defTabSz="717947">
              <a:spcBef>
                <a:spcPts val="450"/>
              </a:spcBef>
              <a:buClrTx/>
            </a:pPr>
            <a:r>
              <a:rPr lang="en-US" sz="825" dirty="0">
                <a:solidFill>
                  <a:srgbClr val="313131"/>
                </a:solidFill>
                <a:latin typeface="Arial"/>
              </a:rPr>
              <a:t>This is a level two bullet</a:t>
            </a:r>
          </a:p>
        </p:txBody>
      </p:sp>
      <p:sp>
        <p:nvSpPr>
          <p:cNvPr id="23" name="Text Placeholder 5"/>
          <p:cNvSpPr txBox="1">
            <a:spLocks/>
          </p:cNvSpPr>
          <p:nvPr/>
        </p:nvSpPr>
        <p:spPr>
          <a:xfrm>
            <a:off x="5800282" y="3034804"/>
            <a:ext cx="1558529" cy="499521"/>
          </a:xfrm>
          <a:prstGeom prst="rect">
            <a:avLst/>
          </a:prstGeom>
        </p:spPr>
        <p:txBody>
          <a:bodyPr wrap="square" lIns="27000" tIns="27000" rIns="27000" bIns="27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05740" lvl="1" indent="-205740" defTabSz="717947">
              <a:spcBef>
                <a:spcPts val="450"/>
              </a:spcBef>
              <a:buClrTx/>
            </a:pPr>
            <a:r>
              <a:rPr lang="en-US" sz="825" dirty="0">
                <a:solidFill>
                  <a:srgbClr val="313131"/>
                </a:solidFill>
                <a:latin typeface="Arial"/>
              </a:rPr>
              <a:t>This is a level one bullet</a:t>
            </a:r>
          </a:p>
          <a:p>
            <a:pPr marL="404622" lvl="2" indent="-198882" defTabSz="717947">
              <a:spcBef>
                <a:spcPts val="450"/>
              </a:spcBef>
              <a:buClrTx/>
            </a:pPr>
            <a:r>
              <a:rPr lang="en-US" sz="825" dirty="0">
                <a:solidFill>
                  <a:srgbClr val="313131"/>
                </a:solidFill>
                <a:latin typeface="Arial"/>
              </a:rPr>
              <a:t>This is a level two bullet</a:t>
            </a:r>
          </a:p>
        </p:txBody>
      </p:sp>
      <p:grpSp>
        <p:nvGrpSpPr>
          <p:cNvPr id="15" name="Group 14"/>
          <p:cNvGrpSpPr/>
          <p:nvPr/>
        </p:nvGrpSpPr>
        <p:grpSpPr>
          <a:xfrm>
            <a:off x="3784402" y="1268730"/>
            <a:ext cx="1549598" cy="553884"/>
            <a:chOff x="5857884" y="1732586"/>
            <a:chExt cx="1571636" cy="738512"/>
          </a:xfrm>
        </p:grpSpPr>
        <p:sp>
          <p:nvSpPr>
            <p:cNvPr id="16" name="Rectangle 15"/>
            <p:cNvSpPr/>
            <p:nvPr/>
          </p:nvSpPr>
          <p:spPr>
            <a:xfrm>
              <a:off x="5857884" y="1732586"/>
              <a:ext cx="1571636" cy="270000"/>
            </a:xfrm>
            <a:prstGeom prst="rect">
              <a:avLst/>
            </a:prstGeom>
            <a:solidFill>
              <a:srgbClr val="00A1DE"/>
            </a:solidFill>
            <a:ln w="25400" cap="flat" cmpd="sng" algn="ctr">
              <a:noFill/>
              <a:prstDash val="solid"/>
            </a:ln>
            <a:effectLst/>
          </p:spPr>
          <p:txBody>
            <a:bodyPr rtlCol="0" anchor="ctr"/>
            <a:lstStyle/>
            <a:p>
              <a:pPr algn="ctr" defTabSz="685800">
                <a:buClrTx/>
                <a:defRPr/>
              </a:pPr>
              <a:r>
                <a:rPr lang="en-GB" sz="825" dirty="0">
                  <a:solidFill>
                    <a:sysClr val="window" lastClr="FFFFFF"/>
                  </a:solidFill>
                  <a:ea typeface="+mn-ea"/>
                  <a:cs typeface="+mn-cs"/>
                </a:rPr>
                <a:t>Label</a:t>
              </a:r>
            </a:p>
          </p:txBody>
        </p:sp>
        <p:sp>
          <p:nvSpPr>
            <p:cNvPr id="19" name="Rectangle 18"/>
            <p:cNvSpPr/>
            <p:nvPr/>
          </p:nvSpPr>
          <p:spPr>
            <a:xfrm>
              <a:off x="5857884" y="2003098"/>
              <a:ext cx="1571636" cy="468000"/>
            </a:xfrm>
            <a:prstGeom prst="rect">
              <a:avLst/>
            </a:prstGeom>
            <a:solidFill>
              <a:srgbClr val="DCDCDC"/>
            </a:solidFill>
            <a:ln w="25400" cap="flat" cmpd="sng" algn="ctr">
              <a:noFill/>
              <a:prstDash val="solid"/>
            </a:ln>
            <a:effectLst/>
          </p:spPr>
          <p:txBody>
            <a:bodyPr rtlCol="0" anchor="ctr" anchorCtr="0"/>
            <a:lstStyle/>
            <a:p>
              <a:pPr defTabSz="685800">
                <a:buClrTx/>
                <a:defRPr/>
              </a:pPr>
              <a:r>
                <a:rPr lang="en-GB" sz="825" dirty="0">
                  <a:solidFill>
                    <a:srgbClr val="313131"/>
                  </a:solidFill>
                  <a:ea typeface="+mn-ea"/>
                  <a:cs typeface="+mn-cs"/>
                </a:rPr>
                <a:t>Text</a:t>
              </a:r>
            </a:p>
          </p:txBody>
        </p:sp>
      </p:grpSp>
      <p:grpSp>
        <p:nvGrpSpPr>
          <p:cNvPr id="24" name="Group 23"/>
          <p:cNvGrpSpPr/>
          <p:nvPr/>
        </p:nvGrpSpPr>
        <p:grpSpPr>
          <a:xfrm>
            <a:off x="1753363" y="2375408"/>
            <a:ext cx="1558530" cy="553884"/>
            <a:chOff x="5857883" y="1732586"/>
            <a:chExt cx="1571637" cy="738512"/>
          </a:xfrm>
        </p:grpSpPr>
        <p:sp>
          <p:nvSpPr>
            <p:cNvPr id="25" name="Rectangle 24"/>
            <p:cNvSpPr/>
            <p:nvPr/>
          </p:nvSpPr>
          <p:spPr>
            <a:xfrm>
              <a:off x="5857884" y="1732586"/>
              <a:ext cx="1571636" cy="270000"/>
            </a:xfrm>
            <a:prstGeom prst="rect">
              <a:avLst/>
            </a:prstGeom>
            <a:solidFill>
              <a:sysClr val="windowText" lastClr="000000">
                <a:lumMod val="65000"/>
                <a:lumOff val="35000"/>
              </a:sysClr>
            </a:solidFill>
            <a:ln w="25400" cap="flat" cmpd="sng" algn="ctr">
              <a:noFill/>
              <a:prstDash val="solid"/>
            </a:ln>
            <a:effectLst/>
          </p:spPr>
          <p:txBody>
            <a:bodyPr rtlCol="0" anchor="ctr"/>
            <a:lstStyle/>
            <a:p>
              <a:pPr algn="ctr" defTabSz="685800">
                <a:buClrTx/>
                <a:defRPr/>
              </a:pPr>
              <a:r>
                <a:rPr lang="en-GB" sz="825" dirty="0">
                  <a:solidFill>
                    <a:sysClr val="window" lastClr="FFFFFF"/>
                  </a:solidFill>
                  <a:ea typeface="+mn-ea"/>
                  <a:cs typeface="+mn-cs"/>
                </a:rPr>
                <a:t>Label</a:t>
              </a:r>
            </a:p>
          </p:txBody>
        </p:sp>
        <p:sp>
          <p:nvSpPr>
            <p:cNvPr id="26" name="Rectangle 25"/>
            <p:cNvSpPr/>
            <p:nvPr/>
          </p:nvSpPr>
          <p:spPr>
            <a:xfrm>
              <a:off x="5857883" y="2003098"/>
              <a:ext cx="1571636" cy="468000"/>
            </a:xfrm>
            <a:prstGeom prst="rect">
              <a:avLst/>
            </a:prstGeom>
            <a:solidFill>
              <a:srgbClr val="DCDCDC"/>
            </a:solidFill>
            <a:ln w="25400" cap="flat" cmpd="sng" algn="ctr">
              <a:noFill/>
              <a:prstDash val="solid"/>
            </a:ln>
            <a:effectLst/>
          </p:spPr>
          <p:txBody>
            <a:bodyPr rtlCol="0" anchor="ctr" anchorCtr="0"/>
            <a:lstStyle/>
            <a:p>
              <a:pPr defTabSz="685800">
                <a:buClrTx/>
                <a:defRPr/>
              </a:pPr>
              <a:r>
                <a:rPr lang="en-GB" sz="825" dirty="0">
                  <a:solidFill>
                    <a:srgbClr val="313131"/>
                  </a:solidFill>
                  <a:ea typeface="+mn-ea"/>
                  <a:cs typeface="+mn-cs"/>
                </a:rPr>
                <a:t>Text</a:t>
              </a:r>
            </a:p>
          </p:txBody>
        </p:sp>
      </p:grpSp>
      <p:grpSp>
        <p:nvGrpSpPr>
          <p:cNvPr id="27" name="Group 26"/>
          <p:cNvGrpSpPr/>
          <p:nvPr/>
        </p:nvGrpSpPr>
        <p:grpSpPr>
          <a:xfrm>
            <a:off x="3774877" y="2375408"/>
            <a:ext cx="1558529" cy="553884"/>
            <a:chOff x="5857884" y="1732586"/>
            <a:chExt cx="1571636" cy="738512"/>
          </a:xfrm>
        </p:grpSpPr>
        <p:sp>
          <p:nvSpPr>
            <p:cNvPr id="28" name="Rectangle 27"/>
            <p:cNvSpPr/>
            <p:nvPr/>
          </p:nvSpPr>
          <p:spPr>
            <a:xfrm>
              <a:off x="5857884" y="1732586"/>
              <a:ext cx="1571636" cy="270000"/>
            </a:xfrm>
            <a:prstGeom prst="rect">
              <a:avLst/>
            </a:prstGeom>
            <a:solidFill>
              <a:sysClr val="windowText" lastClr="000000">
                <a:lumMod val="65000"/>
                <a:lumOff val="35000"/>
              </a:sysClr>
            </a:solidFill>
            <a:ln w="25400" cap="flat" cmpd="sng" algn="ctr">
              <a:noFill/>
              <a:prstDash val="solid"/>
            </a:ln>
            <a:effectLst/>
          </p:spPr>
          <p:txBody>
            <a:bodyPr rtlCol="0" anchor="ctr"/>
            <a:lstStyle/>
            <a:p>
              <a:pPr algn="ctr" defTabSz="685800">
                <a:buClrTx/>
                <a:defRPr/>
              </a:pPr>
              <a:r>
                <a:rPr lang="en-GB" sz="825" dirty="0">
                  <a:solidFill>
                    <a:sysClr val="window" lastClr="FFFFFF"/>
                  </a:solidFill>
                  <a:ea typeface="+mn-ea"/>
                  <a:cs typeface="+mn-cs"/>
                </a:rPr>
                <a:t>Label</a:t>
              </a:r>
            </a:p>
          </p:txBody>
        </p:sp>
        <p:sp>
          <p:nvSpPr>
            <p:cNvPr id="29" name="Rectangle 28"/>
            <p:cNvSpPr/>
            <p:nvPr/>
          </p:nvSpPr>
          <p:spPr>
            <a:xfrm>
              <a:off x="5857884" y="2003098"/>
              <a:ext cx="1571636" cy="468000"/>
            </a:xfrm>
            <a:prstGeom prst="rect">
              <a:avLst/>
            </a:prstGeom>
            <a:solidFill>
              <a:srgbClr val="DCDCDC"/>
            </a:solidFill>
            <a:ln w="25400" cap="flat" cmpd="sng" algn="ctr">
              <a:noFill/>
              <a:prstDash val="solid"/>
            </a:ln>
            <a:effectLst/>
          </p:spPr>
          <p:txBody>
            <a:bodyPr rtlCol="0" anchor="ctr" anchorCtr="0"/>
            <a:lstStyle/>
            <a:p>
              <a:pPr defTabSz="685800">
                <a:buClrTx/>
                <a:defRPr/>
              </a:pPr>
              <a:r>
                <a:rPr lang="en-GB" sz="825" dirty="0">
                  <a:solidFill>
                    <a:srgbClr val="313131"/>
                  </a:solidFill>
                  <a:ea typeface="+mn-ea"/>
                  <a:cs typeface="+mn-cs"/>
                </a:rPr>
                <a:t>Text</a:t>
              </a:r>
            </a:p>
          </p:txBody>
        </p:sp>
      </p:grpSp>
      <p:grpSp>
        <p:nvGrpSpPr>
          <p:cNvPr id="31" name="Group 30"/>
          <p:cNvGrpSpPr/>
          <p:nvPr/>
        </p:nvGrpSpPr>
        <p:grpSpPr>
          <a:xfrm>
            <a:off x="5799582" y="2375408"/>
            <a:ext cx="1558529" cy="553884"/>
            <a:chOff x="5857884" y="1732586"/>
            <a:chExt cx="1571636" cy="738512"/>
          </a:xfrm>
        </p:grpSpPr>
        <p:sp>
          <p:nvSpPr>
            <p:cNvPr id="32" name="Rectangle 31"/>
            <p:cNvSpPr/>
            <p:nvPr/>
          </p:nvSpPr>
          <p:spPr>
            <a:xfrm>
              <a:off x="5857884" y="1732586"/>
              <a:ext cx="1571636" cy="270000"/>
            </a:xfrm>
            <a:prstGeom prst="rect">
              <a:avLst/>
            </a:prstGeom>
            <a:solidFill>
              <a:sysClr val="windowText" lastClr="000000">
                <a:lumMod val="65000"/>
                <a:lumOff val="35000"/>
              </a:sysClr>
            </a:solidFill>
            <a:ln w="25400" cap="flat" cmpd="sng" algn="ctr">
              <a:noFill/>
              <a:prstDash val="solid"/>
            </a:ln>
            <a:effectLst/>
          </p:spPr>
          <p:txBody>
            <a:bodyPr rtlCol="0" anchor="ctr"/>
            <a:lstStyle/>
            <a:p>
              <a:pPr algn="ctr" defTabSz="685800">
                <a:buClrTx/>
                <a:defRPr/>
              </a:pPr>
              <a:r>
                <a:rPr lang="en-GB" sz="825" dirty="0">
                  <a:solidFill>
                    <a:sysClr val="window" lastClr="FFFFFF"/>
                  </a:solidFill>
                  <a:ea typeface="+mn-ea"/>
                  <a:cs typeface="+mn-cs"/>
                </a:rPr>
                <a:t>Label</a:t>
              </a:r>
            </a:p>
          </p:txBody>
        </p:sp>
        <p:sp>
          <p:nvSpPr>
            <p:cNvPr id="33" name="Rectangle 32"/>
            <p:cNvSpPr/>
            <p:nvPr/>
          </p:nvSpPr>
          <p:spPr>
            <a:xfrm>
              <a:off x="5857884" y="2003098"/>
              <a:ext cx="1571636" cy="468000"/>
            </a:xfrm>
            <a:prstGeom prst="rect">
              <a:avLst/>
            </a:prstGeom>
            <a:solidFill>
              <a:srgbClr val="DCDCDC"/>
            </a:solidFill>
            <a:ln w="25400" cap="flat" cmpd="sng" algn="ctr">
              <a:noFill/>
              <a:prstDash val="solid"/>
            </a:ln>
            <a:effectLst/>
          </p:spPr>
          <p:txBody>
            <a:bodyPr rtlCol="0" anchor="ctr" anchorCtr="0"/>
            <a:lstStyle/>
            <a:p>
              <a:pPr defTabSz="685800">
                <a:buClrTx/>
                <a:defRPr/>
              </a:pPr>
              <a:r>
                <a:rPr lang="en-GB" sz="825" dirty="0">
                  <a:solidFill>
                    <a:srgbClr val="313131"/>
                  </a:solidFill>
                  <a:ea typeface="+mn-ea"/>
                  <a:cs typeface="+mn-cs"/>
                </a:rPr>
                <a:t>Text</a:t>
              </a:r>
            </a:p>
          </p:txBody>
        </p:sp>
      </p:grpSp>
    </p:spTree>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BCA35516-324E-87FA-45AC-A0268B4BB04B}"/>
              </a:ext>
            </a:extLst>
          </p:cNvPr>
          <p:cNvSpPr txBox="1">
            <a:spLocks/>
          </p:cNvSpPr>
          <p:nvPr>
            <p:custDataLst>
              <p:tags r:id="rId1"/>
            </p:custDataLst>
          </p:nvPr>
        </p:nvSpPr>
        <p:spPr>
          <a:xfrm>
            <a:off x="324333" y="1009922"/>
            <a:ext cx="4485267" cy="369298"/>
          </a:xfrm>
          <a:prstGeom prst="rect">
            <a:avLst/>
          </a:prstGeom>
          <a:noFill/>
          <a:ln>
            <a:noFill/>
          </a:ln>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200" b="1" dirty="0">
                <a:solidFill>
                  <a:srgbClr val="575757"/>
                </a:solidFill>
              </a:rPr>
              <a:t>Key argument 1</a:t>
            </a:r>
          </a:p>
        </p:txBody>
      </p:sp>
      <p:cxnSp>
        <p:nvCxnSpPr>
          <p:cNvPr id="10" name="Straight Connector 9">
            <a:extLst>
              <a:ext uri="{FF2B5EF4-FFF2-40B4-BE49-F238E27FC236}">
                <a16:creationId xmlns:a16="http://schemas.microsoft.com/office/drawing/2014/main" id="{CEA3FCA5-0CDF-C1BE-9FAB-CCF9F5AB17E5}"/>
              </a:ext>
            </a:extLst>
          </p:cNvPr>
          <p:cNvCxnSpPr>
            <a:cxnSpLocks/>
          </p:cNvCxnSpPr>
          <p:nvPr/>
        </p:nvCxnSpPr>
        <p:spPr>
          <a:xfrm>
            <a:off x="237600" y="1426800"/>
            <a:ext cx="43725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73B6108E-B53C-DC09-C2AE-4465CACDECA9}"/>
              </a:ext>
            </a:extLst>
          </p:cNvPr>
          <p:cNvSpPr txBox="1">
            <a:spLocks/>
          </p:cNvSpPr>
          <p:nvPr>
            <p:custDataLst>
              <p:tags r:id="rId2"/>
            </p:custDataLst>
          </p:nvPr>
        </p:nvSpPr>
        <p:spPr>
          <a:xfrm>
            <a:off x="289113" y="1550282"/>
            <a:ext cx="4485267" cy="169678"/>
          </a:xfrm>
          <a:prstGeom prst="rect">
            <a:avLst/>
          </a:prstGeom>
          <a:noFill/>
          <a:ln>
            <a:noFill/>
          </a:ln>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800" kern="1200" dirty="0">
                <a:solidFill>
                  <a:srgbClr val="313131"/>
                </a:solidFill>
                <a:latin typeface="+mn-lt"/>
                <a:ea typeface="+mj-ea"/>
                <a:cs typeface="+mj-cs"/>
              </a:rPr>
              <a:t>Chart Details</a:t>
            </a:r>
            <a:endParaRPr lang="en-US" sz="900" dirty="0">
              <a:solidFill>
                <a:srgbClr val="575757"/>
              </a:solidFill>
            </a:endParaRPr>
          </a:p>
        </p:txBody>
      </p:sp>
      <p:sp>
        <p:nvSpPr>
          <p:cNvPr id="20" name="Title 1">
            <a:extLst>
              <a:ext uri="{FF2B5EF4-FFF2-40B4-BE49-F238E27FC236}">
                <a16:creationId xmlns:a16="http://schemas.microsoft.com/office/drawing/2014/main" id="{F92ACBD4-7422-058A-DA82-42A887CBFEB8}"/>
              </a:ext>
            </a:extLst>
          </p:cNvPr>
          <p:cNvSpPr txBox="1">
            <a:spLocks/>
          </p:cNvSpPr>
          <p:nvPr>
            <p:custDataLst>
              <p:tags r:id="rId3"/>
            </p:custDataLst>
          </p:nvPr>
        </p:nvSpPr>
        <p:spPr>
          <a:xfrm>
            <a:off x="4942053" y="1009922"/>
            <a:ext cx="3874287" cy="369298"/>
          </a:xfrm>
          <a:prstGeom prst="rect">
            <a:avLst/>
          </a:prstGeom>
          <a:noFill/>
          <a:ln>
            <a:noFill/>
          </a:ln>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200" b="1" dirty="0">
                <a:solidFill>
                  <a:srgbClr val="575757"/>
                </a:solidFill>
              </a:rPr>
              <a:t>Key argument 2</a:t>
            </a:r>
          </a:p>
        </p:txBody>
      </p:sp>
      <p:cxnSp>
        <p:nvCxnSpPr>
          <p:cNvPr id="21" name="Straight Connector 20">
            <a:extLst>
              <a:ext uri="{FF2B5EF4-FFF2-40B4-BE49-F238E27FC236}">
                <a16:creationId xmlns:a16="http://schemas.microsoft.com/office/drawing/2014/main" id="{607B13EC-8FD9-E3F8-771C-63EAA9A1C5B7}"/>
              </a:ext>
            </a:extLst>
          </p:cNvPr>
          <p:cNvCxnSpPr>
            <a:cxnSpLocks/>
          </p:cNvCxnSpPr>
          <p:nvPr/>
        </p:nvCxnSpPr>
        <p:spPr>
          <a:xfrm>
            <a:off x="4862940" y="1426800"/>
            <a:ext cx="415152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5" name="Text Placeholder 5">
            <a:extLst>
              <a:ext uri="{FF2B5EF4-FFF2-40B4-BE49-F238E27FC236}">
                <a16:creationId xmlns:a16="http://schemas.microsoft.com/office/drawing/2014/main" id="{2251FC32-EE15-8D10-2A5E-E752C31E0DF0}"/>
              </a:ext>
            </a:extLst>
          </p:cNvPr>
          <p:cNvSpPr txBox="1">
            <a:spLocks/>
          </p:cNvSpPr>
          <p:nvPr/>
        </p:nvSpPr>
        <p:spPr>
          <a:xfrm>
            <a:off x="4888945" y="1615016"/>
            <a:ext cx="4045505" cy="3261784"/>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l"/>
            <a:r>
              <a:rPr lang="en-US" sz="1000" b="1" dirty="0">
                <a:solidFill>
                  <a:srgbClr val="313131"/>
                </a:solidFill>
                <a:ea typeface="+mj-ea"/>
                <a:cs typeface="+mj-cs"/>
              </a:rPr>
              <a:t>Supporting details 1</a:t>
            </a:r>
          </a:p>
          <a:p>
            <a:pPr marL="171450" indent="-171450" algn="l">
              <a:buFont typeface="Arial" panose="020B0604020202020204" pitchFamily="34" charset="0"/>
              <a:buChar char="•"/>
            </a:pPr>
            <a:r>
              <a:rPr lang="en-US" sz="1000" dirty="0">
                <a:solidFill>
                  <a:srgbClr val="313131"/>
                </a:solidFill>
                <a:ea typeface="+mj-ea"/>
                <a:cs typeface="+mj-cs"/>
              </a:rPr>
              <a:t>Taking it one level deeper and break each of the title out further with additional bullet points</a:t>
            </a:r>
          </a:p>
          <a:p>
            <a:pPr marL="171450" indent="-171450" algn="l">
              <a:buFont typeface="Arial" panose="020B0604020202020204" pitchFamily="34" charset="0"/>
              <a:buChar char="•"/>
            </a:pPr>
            <a:r>
              <a:rPr lang="en-US" sz="1000" dirty="0">
                <a:solidFill>
                  <a:srgbClr val="313131"/>
                </a:solidFill>
                <a:ea typeface="+mj-ea"/>
                <a:cs typeface="+mj-cs"/>
              </a:rPr>
              <a:t>The bullet points serve as supporting points that provide support for the key arguments, which (wait for it) provide support for the main idea.</a:t>
            </a:r>
          </a:p>
          <a:p>
            <a:pPr algn="l"/>
            <a:r>
              <a:rPr lang="en-US" sz="1000" b="1" dirty="0">
                <a:solidFill>
                  <a:srgbClr val="313131"/>
                </a:solidFill>
                <a:ea typeface="+mj-ea"/>
                <a:cs typeface="+mj-cs"/>
              </a:rPr>
              <a:t>Supporting details 2</a:t>
            </a:r>
          </a:p>
          <a:p>
            <a:pPr marL="171450" indent="-171450" algn="l">
              <a:buFont typeface="Arial" panose="020B0604020202020204" pitchFamily="34" charset="0"/>
              <a:buChar char="•"/>
            </a:pPr>
            <a:r>
              <a:rPr lang="en-US" sz="1000" dirty="0">
                <a:solidFill>
                  <a:srgbClr val="313131"/>
                </a:solidFill>
                <a:ea typeface="+mj-ea"/>
                <a:cs typeface="+mj-cs"/>
              </a:rPr>
              <a:t>Taking it one level deeper and break each of the title out further with additional bullet points</a:t>
            </a:r>
          </a:p>
          <a:p>
            <a:pPr marL="171450" indent="-171450" algn="l">
              <a:buFont typeface="Arial" panose="020B0604020202020204" pitchFamily="34" charset="0"/>
              <a:buChar char="•"/>
            </a:pPr>
            <a:r>
              <a:rPr lang="en-US" sz="1000" dirty="0">
                <a:solidFill>
                  <a:srgbClr val="313131"/>
                </a:solidFill>
                <a:ea typeface="+mj-ea"/>
                <a:cs typeface="+mj-cs"/>
              </a:rPr>
              <a:t>The bullet points serve as supporting points that provide support for the key arguments, which (wait for it) provide support for the main idea.</a:t>
            </a:r>
          </a:p>
          <a:p>
            <a:pPr algn="l"/>
            <a:r>
              <a:rPr lang="en-US" sz="1000" b="1" dirty="0">
                <a:solidFill>
                  <a:srgbClr val="313131"/>
                </a:solidFill>
                <a:ea typeface="+mj-ea"/>
                <a:cs typeface="+mj-cs"/>
              </a:rPr>
              <a:t>Supporting details 3</a:t>
            </a:r>
          </a:p>
          <a:p>
            <a:pPr marL="171450" indent="-171450" algn="l">
              <a:buFont typeface="Arial" panose="020B0604020202020204" pitchFamily="34" charset="0"/>
              <a:buChar char="•"/>
            </a:pPr>
            <a:r>
              <a:rPr lang="en-US" sz="1000" dirty="0">
                <a:solidFill>
                  <a:srgbClr val="313131"/>
                </a:solidFill>
                <a:ea typeface="+mj-ea"/>
                <a:cs typeface="+mj-cs"/>
              </a:rPr>
              <a:t>Taking it one level deeper and break each of the title out further with additional bullet points</a:t>
            </a:r>
          </a:p>
          <a:p>
            <a:pPr marL="171450" indent="-171450" algn="l">
              <a:buFont typeface="Arial" panose="020B0604020202020204" pitchFamily="34" charset="0"/>
              <a:buChar char="•"/>
            </a:pPr>
            <a:r>
              <a:rPr lang="en-US" sz="1000" dirty="0">
                <a:solidFill>
                  <a:srgbClr val="313131"/>
                </a:solidFill>
                <a:ea typeface="+mj-ea"/>
                <a:cs typeface="+mj-cs"/>
              </a:rPr>
              <a:t>The bullet points serve as supporting points that provide support for the key arguments, which (wait for it) provide support for the main idea.</a:t>
            </a:r>
          </a:p>
          <a:p>
            <a:pPr marL="171450" indent="-171450" algn="l">
              <a:buFont typeface="Arial" panose="020B0604020202020204" pitchFamily="34" charset="0"/>
              <a:buChar char="•"/>
            </a:pPr>
            <a:endParaRPr lang="en-US" sz="1000" dirty="0">
              <a:solidFill>
                <a:srgbClr val="313131"/>
              </a:solidFill>
              <a:ea typeface="+mj-ea"/>
              <a:cs typeface="+mj-cs"/>
            </a:endParaRPr>
          </a:p>
          <a:p>
            <a:pPr marL="171450" indent="-171450" algn="l">
              <a:buFont typeface="Arial" panose="020B0604020202020204" pitchFamily="34" charset="0"/>
              <a:buChar char="•"/>
            </a:pPr>
            <a:endParaRPr lang="en-US" sz="1000" dirty="0">
              <a:solidFill>
                <a:srgbClr val="313131"/>
              </a:solidFill>
              <a:ea typeface="+mj-ea"/>
              <a:cs typeface="+mj-cs"/>
            </a:endParaRPr>
          </a:p>
        </p:txBody>
      </p:sp>
      <p:graphicFrame>
        <p:nvGraphicFramePr>
          <p:cNvPr id="2" name="Chart 1">
            <a:extLst>
              <a:ext uri="{FF2B5EF4-FFF2-40B4-BE49-F238E27FC236}">
                <a16:creationId xmlns:a16="http://schemas.microsoft.com/office/drawing/2014/main" id="{18FC6E89-B695-59CF-4E84-4D16787AA532}"/>
              </a:ext>
            </a:extLst>
          </p:cNvPr>
          <p:cNvGraphicFramePr/>
          <p:nvPr>
            <p:extLst>
              <p:ext uri="{D42A27DB-BD31-4B8C-83A1-F6EECF244321}">
                <p14:modId xmlns:p14="http://schemas.microsoft.com/office/powerpoint/2010/main" val="1527737455"/>
              </p:ext>
            </p:extLst>
          </p:nvPr>
        </p:nvGraphicFramePr>
        <p:xfrm>
          <a:off x="241173" y="1885950"/>
          <a:ext cx="4216527" cy="2876550"/>
        </p:xfrm>
        <a:graphic>
          <a:graphicData uri="http://schemas.openxmlformats.org/drawingml/2006/chart">
            <c:chart xmlns:c="http://schemas.openxmlformats.org/drawingml/2006/chart" xmlns:r="http://schemas.openxmlformats.org/officeDocument/2006/relationships" r:id="rId6"/>
          </a:graphicData>
        </a:graphic>
      </p:graphicFrame>
      <p:sp>
        <p:nvSpPr>
          <p:cNvPr id="7" name="Title 1">
            <a:extLst>
              <a:ext uri="{FF2B5EF4-FFF2-40B4-BE49-F238E27FC236}">
                <a16:creationId xmlns:a16="http://schemas.microsoft.com/office/drawing/2014/main" id="{97AA537B-70DB-AD97-EC26-59CED6B0FD36}"/>
              </a:ext>
            </a:extLst>
          </p:cNvPr>
          <p:cNvSpPr>
            <a:spLocks noGrp="1"/>
          </p:cNvSpPr>
          <p:nvPr>
            <p:ph type="title"/>
            <p:custDataLst>
              <p:tags r:id="rId4"/>
            </p:custDataLst>
          </p:nvPr>
        </p:nvSpPr>
        <p:spPr>
          <a:xfrm>
            <a:off x="205123" y="78049"/>
            <a:ext cx="8388000" cy="546478"/>
          </a:xfrm>
        </p:spPr>
        <p:txBody>
          <a:bodyPr/>
          <a:lstStyle/>
          <a:p>
            <a:pPr>
              <a:lnSpc>
                <a:spcPct val="100000"/>
              </a:lnSpc>
            </a:pPr>
            <a:r>
              <a:rPr lang="en-US" sz="1000" b="1" dirty="0">
                <a:solidFill>
                  <a:schemeClr val="bg1">
                    <a:lumMod val="65000"/>
                  </a:schemeClr>
                </a:solidFill>
              </a:rPr>
              <a:t>Recommendation #2</a:t>
            </a:r>
            <a:br>
              <a:rPr lang="en-US" sz="1800" dirty="0">
                <a:solidFill>
                  <a:srgbClr val="81BC00"/>
                </a:solidFill>
              </a:rPr>
            </a:br>
            <a:r>
              <a:rPr lang="en-US" sz="1800" b="1" dirty="0">
                <a:solidFill>
                  <a:srgbClr val="002776"/>
                </a:solidFill>
              </a:rPr>
              <a:t>Capitol Hills Neighborhood is most lucrative</a:t>
            </a:r>
          </a:p>
        </p:txBody>
      </p:sp>
      <p:cxnSp>
        <p:nvCxnSpPr>
          <p:cNvPr id="11" name="Straight Connector 10">
            <a:extLst>
              <a:ext uri="{FF2B5EF4-FFF2-40B4-BE49-F238E27FC236}">
                <a16:creationId xmlns:a16="http://schemas.microsoft.com/office/drawing/2014/main" id="{C256C02C-1B26-B800-65FE-3FEA56518938}"/>
              </a:ext>
            </a:extLst>
          </p:cNvPr>
          <p:cNvCxnSpPr>
            <a:cxnSpLocks/>
          </p:cNvCxnSpPr>
          <p:nvPr/>
        </p:nvCxnSpPr>
        <p:spPr>
          <a:xfrm>
            <a:off x="0" y="608512"/>
            <a:ext cx="9144000" cy="0"/>
          </a:xfrm>
          <a:prstGeom prst="line">
            <a:avLst/>
          </a:prstGeom>
          <a:ln w="76200">
            <a:solidFill>
              <a:srgbClr val="00277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7883946"/>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normAutofit lnSpcReduction="10000"/>
          </a:bodyPr>
          <a:lstStyle/>
          <a:p>
            <a:pPr marL="0" lvl="1" indent="0">
              <a:spcBef>
                <a:spcPts val="1350"/>
              </a:spcBef>
              <a:buNone/>
            </a:pPr>
            <a:r>
              <a:rPr lang="en-US" dirty="0"/>
              <a:t>Structured text				3</a:t>
            </a:r>
          </a:p>
          <a:p>
            <a:pPr marL="0" lvl="1" indent="0">
              <a:spcBef>
                <a:spcPts val="1350"/>
              </a:spcBef>
              <a:buNone/>
            </a:pPr>
            <a:r>
              <a:rPr lang="en-US" dirty="0"/>
              <a:t>Trees					35</a:t>
            </a:r>
          </a:p>
          <a:p>
            <a:pPr marL="0" lvl="1" indent="0">
              <a:spcBef>
                <a:spcPts val="1350"/>
              </a:spcBef>
              <a:buNone/>
            </a:pPr>
            <a:r>
              <a:rPr lang="en-US" dirty="0">
                <a:solidFill>
                  <a:srgbClr val="00A1DE"/>
                </a:solidFill>
              </a:rPr>
              <a:t>Graphs</a:t>
            </a:r>
            <a:r>
              <a:rPr lang="en-US" dirty="0"/>
              <a:t>					50</a:t>
            </a:r>
          </a:p>
          <a:p>
            <a:pPr marL="0" lvl="1" indent="0">
              <a:spcBef>
                <a:spcPts val="1350"/>
              </a:spcBef>
              <a:buNone/>
            </a:pPr>
            <a:r>
              <a:rPr lang="en-US" dirty="0"/>
              <a:t>Shapes					93</a:t>
            </a:r>
          </a:p>
          <a:p>
            <a:pPr marL="0" lvl="1" indent="0">
              <a:spcBef>
                <a:spcPts val="1350"/>
              </a:spcBef>
              <a:buNone/>
            </a:pPr>
            <a:r>
              <a:rPr lang="en-US" dirty="0"/>
              <a:t>Maps					117</a:t>
            </a:r>
          </a:p>
          <a:p>
            <a:pPr marL="0" lvl="1" indent="0">
              <a:spcBef>
                <a:spcPts val="1350"/>
              </a:spcBef>
              <a:buNone/>
            </a:pPr>
            <a:r>
              <a:rPr lang="en-US" dirty="0"/>
              <a:t>Special graphics			137</a:t>
            </a:r>
          </a:p>
          <a:p>
            <a:pPr marL="0" lvl="1" indent="0">
              <a:spcBef>
                <a:spcPts val="1350"/>
              </a:spcBef>
              <a:buNone/>
            </a:pPr>
            <a:r>
              <a:rPr lang="en-US" dirty="0"/>
              <a:t>Conceptual charts			164</a:t>
            </a:r>
          </a:p>
          <a:p>
            <a:pPr marL="0" lvl="1" indent="0">
              <a:spcBef>
                <a:spcPts val="1350"/>
              </a:spcBef>
              <a:buNone/>
            </a:pPr>
            <a:r>
              <a:rPr lang="en-US" dirty="0" err="1"/>
              <a:t>Infographics</a:t>
            </a:r>
            <a:r>
              <a:rPr lang="en-US" dirty="0"/>
              <a:t> 				215</a:t>
            </a:r>
          </a:p>
          <a:p>
            <a:pPr marL="0" lvl="1" indent="0">
              <a:spcBef>
                <a:spcPts val="1350"/>
              </a:spcBef>
              <a:buNone/>
            </a:pPr>
            <a:r>
              <a:rPr lang="en-US" dirty="0"/>
              <a:t>Iconography				241</a:t>
            </a:r>
          </a:p>
          <a:p>
            <a:endParaRPr lang="en-US" dirty="0"/>
          </a:p>
        </p:txBody>
      </p:sp>
      <p:sp>
        <p:nvSpPr>
          <p:cNvPr id="6" name="Title 5"/>
          <p:cNvSpPr>
            <a:spLocks noGrp="1"/>
          </p:cNvSpPr>
          <p:nvPr>
            <p:ph type="title"/>
          </p:nvPr>
        </p:nvSpPr>
        <p:spPr>
          <a:xfrm>
            <a:off x="1420585" y="134679"/>
            <a:ext cx="6291000" cy="665422"/>
          </a:xfrm>
        </p:spPr>
        <p:txBody>
          <a:bodyPr>
            <a:normAutofit/>
          </a:bodyPr>
          <a:lstStyle/>
          <a:p>
            <a:r>
              <a:rPr lang="en-US" sz="2250" dirty="0"/>
              <a:t>Contents</a:t>
            </a:r>
          </a:p>
        </p:txBody>
      </p:sp>
    </p:spTree>
    <p:extLst>
      <p:ext uri="{BB962C8B-B14F-4D97-AF65-F5344CB8AC3E}">
        <p14:creationId xmlns:p14="http://schemas.microsoft.com/office/powerpoint/2010/main" val="2704399038"/>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dirty="0"/>
              <a:t>Bar charts </a:t>
            </a:r>
            <a:br>
              <a:rPr lang="en-US" altLang="ja-JP" dirty="0">
                <a:solidFill>
                  <a:srgbClr val="575757"/>
                </a:solidFill>
              </a:rPr>
            </a:br>
            <a:r>
              <a:rPr lang="en-US" altLang="ja-JP" dirty="0">
                <a:solidFill>
                  <a:srgbClr val="575757"/>
                </a:solidFill>
              </a:rPr>
              <a:t>Paired</a:t>
            </a:r>
            <a:endParaRPr lang="en-US" dirty="0">
              <a:solidFill>
                <a:srgbClr val="575757"/>
              </a:solidFill>
            </a:endParaRPr>
          </a:p>
        </p:txBody>
      </p:sp>
      <p:sp>
        <p:nvSpPr>
          <p:cNvPr id="21" name="Rectangle 15"/>
          <p:cNvSpPr>
            <a:spLocks noChangeArrowheads="1"/>
          </p:cNvSpPr>
          <p:nvPr/>
        </p:nvSpPr>
        <p:spPr bwMode="gray">
          <a:xfrm>
            <a:off x="1438275" y="1098948"/>
            <a:ext cx="929742" cy="184666"/>
          </a:xfrm>
          <a:prstGeom prst="rect">
            <a:avLst/>
          </a:prstGeom>
          <a:noFill/>
          <a:ln w="9525" algn="ctr">
            <a:noFill/>
            <a:miter lim="800000"/>
            <a:headEnd/>
            <a:tailEnd/>
          </a:ln>
        </p:spPr>
        <p:txBody>
          <a:bodyPr wrap="none" lIns="0" tIns="34290" rIns="0" bIns="34290">
            <a:spAutoFit/>
          </a:bodyPr>
          <a:lstStyle/>
          <a:p>
            <a:pPr defTabSz="764381">
              <a:buClrTx/>
            </a:pPr>
            <a:r>
              <a:rPr lang="en-US" sz="750" b="1" kern="1200" dirty="0">
                <a:solidFill>
                  <a:srgbClr val="313131"/>
                </a:solidFill>
                <a:ea typeface="+mn-ea"/>
                <a:cs typeface="+mn-cs"/>
              </a:rPr>
              <a:t>Chart title goes here</a:t>
            </a:r>
          </a:p>
        </p:txBody>
      </p:sp>
      <p:graphicFrame>
        <p:nvGraphicFramePr>
          <p:cNvPr id="17" name="Chart 16"/>
          <p:cNvGraphicFramePr/>
          <p:nvPr/>
        </p:nvGraphicFramePr>
        <p:xfrm>
          <a:off x="1440656" y="1268731"/>
          <a:ext cx="6262688" cy="2827604"/>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15"/>
          <p:cNvSpPr>
            <a:spLocks noChangeArrowheads="1"/>
          </p:cNvSpPr>
          <p:nvPr/>
        </p:nvSpPr>
        <p:spPr bwMode="gray">
          <a:xfrm rot="16200000">
            <a:off x="1299933" y="2571750"/>
            <a:ext cx="400751" cy="184666"/>
          </a:xfrm>
          <a:prstGeom prst="rect">
            <a:avLst/>
          </a:prstGeom>
          <a:noFill/>
          <a:ln w="9525" algn="ctr">
            <a:noFill/>
            <a:miter lim="800000"/>
            <a:headEnd/>
            <a:tailEnd/>
          </a:ln>
        </p:spPr>
        <p:txBody>
          <a:bodyPr wrap="none" lIns="0" tIns="34290" rIns="0" bIns="34290">
            <a:spAutoFit/>
          </a:bodyPr>
          <a:lstStyle/>
          <a:p>
            <a:pPr defTabSz="764381">
              <a:buClrTx/>
            </a:pPr>
            <a:r>
              <a:rPr lang="en-US" sz="750" b="1" kern="1200" dirty="0">
                <a:solidFill>
                  <a:srgbClr val="313131"/>
                </a:solidFill>
                <a:ea typeface="+mn-ea"/>
                <a:cs typeface="+mn-cs"/>
              </a:rPr>
              <a:t>Axis title</a:t>
            </a:r>
          </a:p>
        </p:txBody>
      </p:sp>
      <p:sp>
        <p:nvSpPr>
          <p:cNvPr id="8" name="Rectangle 15"/>
          <p:cNvSpPr>
            <a:spLocks noChangeArrowheads="1"/>
          </p:cNvSpPr>
          <p:nvPr/>
        </p:nvSpPr>
        <p:spPr bwMode="gray">
          <a:xfrm>
            <a:off x="4242816" y="4217670"/>
            <a:ext cx="400751" cy="184666"/>
          </a:xfrm>
          <a:prstGeom prst="rect">
            <a:avLst/>
          </a:prstGeom>
          <a:noFill/>
          <a:ln w="9525" algn="ctr">
            <a:noFill/>
            <a:miter lim="800000"/>
            <a:headEnd/>
            <a:tailEnd/>
          </a:ln>
        </p:spPr>
        <p:txBody>
          <a:bodyPr wrap="none" lIns="0" tIns="34290" rIns="0" bIns="34290">
            <a:spAutoFit/>
          </a:bodyPr>
          <a:lstStyle/>
          <a:p>
            <a:pPr defTabSz="764381">
              <a:buClrTx/>
            </a:pPr>
            <a:r>
              <a:rPr lang="en-US" sz="750" b="1" kern="1200" dirty="0">
                <a:solidFill>
                  <a:srgbClr val="313131"/>
                </a:solidFill>
                <a:ea typeface="+mn-ea"/>
                <a:cs typeface="+mn-cs"/>
              </a:rPr>
              <a:t>Axis title</a:t>
            </a:r>
          </a:p>
        </p:txBody>
      </p:sp>
      <p:sp>
        <p:nvSpPr>
          <p:cNvPr id="9"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extLst>
      <p:ext uri="{BB962C8B-B14F-4D97-AF65-F5344CB8AC3E}">
        <p14:creationId xmlns:p14="http://schemas.microsoft.com/office/powerpoint/2010/main" val="349939370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ltLang="ja-JP" dirty="0"/>
              <a:t>Horizontal stacked bar chart </a:t>
            </a:r>
            <a:br>
              <a:rPr lang="en-US" altLang="ja-JP" dirty="0"/>
            </a:br>
            <a:r>
              <a:rPr lang="en-US" altLang="ja-JP" dirty="0">
                <a:solidFill>
                  <a:srgbClr val="575757"/>
                </a:solidFill>
              </a:rPr>
              <a:t>Subtitle runs here </a:t>
            </a:r>
            <a:endParaRPr lang="en-US" dirty="0">
              <a:solidFill>
                <a:srgbClr val="575757"/>
              </a:solidFill>
            </a:endParaRPr>
          </a:p>
        </p:txBody>
      </p:sp>
      <p:graphicFrame>
        <p:nvGraphicFramePr>
          <p:cNvPr id="32" name="Chart Placeholder 7"/>
          <p:cNvGraphicFramePr>
            <a:graphicFrameLocks/>
          </p:cNvGraphicFramePr>
          <p:nvPr/>
        </p:nvGraphicFramePr>
        <p:xfrm>
          <a:off x="1485900" y="1268730"/>
          <a:ext cx="6306741" cy="3339003"/>
        </p:xfrm>
        <a:graphic>
          <a:graphicData uri="http://schemas.openxmlformats.org/drawingml/2006/chart">
            <c:chart xmlns:c="http://schemas.openxmlformats.org/drawingml/2006/chart" xmlns:r="http://schemas.openxmlformats.org/officeDocument/2006/relationships" r:id="rId3"/>
          </a:graphicData>
        </a:graphic>
      </p:graphicFrame>
      <p:sp>
        <p:nvSpPr>
          <p:cNvPr id="33" name="TextBox 32"/>
          <p:cNvSpPr txBox="1"/>
          <p:nvPr/>
        </p:nvSpPr>
        <p:spPr>
          <a:xfrm>
            <a:off x="1437894" y="1097280"/>
            <a:ext cx="2826542" cy="207749"/>
          </a:xfrm>
          <a:prstGeom prst="rect">
            <a:avLst/>
          </a:prstGeom>
          <a:noFill/>
        </p:spPr>
        <p:txBody>
          <a:bodyPr wrap="square" lIns="0" rIns="0" rtlCol="0">
            <a:spAutoFit/>
          </a:bodyPr>
          <a:lstStyle/>
          <a:p>
            <a:pPr defTabSz="685800">
              <a:buClrTx/>
              <a:defRPr/>
            </a:pPr>
            <a:r>
              <a:rPr lang="en-GB" sz="750" b="1" dirty="0">
                <a:solidFill>
                  <a:srgbClr val="313131"/>
                </a:solidFill>
                <a:ea typeface="+mn-ea"/>
                <a:cs typeface="+mn-cs"/>
              </a:rPr>
              <a:t>Chart title goes here</a:t>
            </a:r>
          </a:p>
        </p:txBody>
      </p:sp>
      <p:sp>
        <p:nvSpPr>
          <p:cNvPr id="8" name="Rectangle 15"/>
          <p:cNvSpPr>
            <a:spLocks noChangeArrowheads="1"/>
          </p:cNvSpPr>
          <p:nvPr/>
        </p:nvSpPr>
        <p:spPr bwMode="gray">
          <a:xfrm rot="16200000">
            <a:off x="1250342" y="2393241"/>
            <a:ext cx="400751" cy="184666"/>
          </a:xfrm>
          <a:prstGeom prst="rect">
            <a:avLst/>
          </a:prstGeom>
          <a:noFill/>
          <a:ln w="9525" algn="ctr">
            <a:noFill/>
            <a:miter lim="800000"/>
            <a:headEnd/>
            <a:tailEnd/>
          </a:ln>
        </p:spPr>
        <p:txBody>
          <a:bodyPr wrap="none" lIns="0" tIns="34290" rIns="0" bIns="34290">
            <a:spAutoFit/>
          </a:bodyPr>
          <a:lstStyle/>
          <a:p>
            <a:pPr defTabSz="764381">
              <a:buClrTx/>
            </a:pPr>
            <a:r>
              <a:rPr lang="en-US" sz="750" b="1" kern="1200" dirty="0">
                <a:solidFill>
                  <a:srgbClr val="313131"/>
                </a:solidFill>
                <a:ea typeface="+mn-ea"/>
                <a:cs typeface="+mn-cs"/>
              </a:rPr>
              <a:t>Axis title</a:t>
            </a:r>
          </a:p>
        </p:txBody>
      </p:sp>
      <p:sp>
        <p:nvSpPr>
          <p:cNvPr id="9" name="Rectangle 15"/>
          <p:cNvSpPr>
            <a:spLocks noChangeArrowheads="1"/>
          </p:cNvSpPr>
          <p:nvPr/>
        </p:nvSpPr>
        <p:spPr bwMode="gray">
          <a:xfrm>
            <a:off x="4242817" y="3840480"/>
            <a:ext cx="400751" cy="184666"/>
          </a:xfrm>
          <a:prstGeom prst="rect">
            <a:avLst/>
          </a:prstGeom>
          <a:noFill/>
          <a:ln w="9525" algn="ctr">
            <a:noFill/>
            <a:miter lim="800000"/>
            <a:headEnd/>
            <a:tailEnd/>
          </a:ln>
        </p:spPr>
        <p:txBody>
          <a:bodyPr wrap="none" lIns="0" tIns="34290" rIns="0" bIns="34290">
            <a:spAutoFit/>
          </a:bodyPr>
          <a:lstStyle/>
          <a:p>
            <a:pPr defTabSz="764381">
              <a:buClrTx/>
            </a:pPr>
            <a:r>
              <a:rPr lang="en-US" sz="750" b="1" kern="1200" dirty="0">
                <a:solidFill>
                  <a:srgbClr val="313131"/>
                </a:solidFill>
                <a:ea typeface="+mn-ea"/>
                <a:cs typeface="+mn-cs"/>
              </a:rPr>
              <a:t>Axis title</a:t>
            </a:r>
          </a:p>
        </p:txBody>
      </p:sp>
      <p:sp>
        <p:nvSpPr>
          <p:cNvPr id="10"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20585" y="221763"/>
            <a:ext cx="6291000" cy="749788"/>
          </a:xfrm>
        </p:spPr>
        <p:txBody>
          <a:bodyPr/>
          <a:lstStyle/>
          <a:p>
            <a:r>
              <a:rPr lang="en-US" altLang="ja-JP" dirty="0"/>
              <a:t>Bar charts  </a:t>
            </a:r>
            <a:br>
              <a:rPr lang="en-US" altLang="ja-JP" dirty="0">
                <a:solidFill>
                  <a:srgbClr val="575757"/>
                </a:solidFill>
              </a:rPr>
            </a:br>
            <a:r>
              <a:rPr lang="en-US" altLang="ja-JP" dirty="0">
                <a:solidFill>
                  <a:srgbClr val="575757"/>
                </a:solidFill>
              </a:rPr>
              <a:t>Two stacked</a:t>
            </a:r>
            <a:endParaRPr lang="en-US" dirty="0">
              <a:solidFill>
                <a:srgbClr val="575757"/>
              </a:solidFill>
            </a:endParaRPr>
          </a:p>
        </p:txBody>
      </p:sp>
      <p:graphicFrame>
        <p:nvGraphicFramePr>
          <p:cNvPr id="24" name="Chart 23"/>
          <p:cNvGraphicFramePr/>
          <p:nvPr/>
        </p:nvGraphicFramePr>
        <p:xfrm>
          <a:off x="1543383" y="1268731"/>
          <a:ext cx="2757922" cy="2827604"/>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5" name="Chart 24"/>
          <p:cNvGraphicFramePr/>
          <p:nvPr/>
        </p:nvGraphicFramePr>
        <p:xfrm>
          <a:off x="4886210" y="1268731"/>
          <a:ext cx="2757922" cy="2827604"/>
        </p:xfrm>
        <a:graphic>
          <a:graphicData uri="http://schemas.openxmlformats.org/drawingml/2006/chart">
            <c:chart xmlns:c="http://schemas.openxmlformats.org/drawingml/2006/chart" xmlns:r="http://schemas.openxmlformats.org/officeDocument/2006/relationships" r:id="rId10"/>
          </a:graphicData>
        </a:graphic>
      </p:graphicFrame>
      <p:sp>
        <p:nvSpPr>
          <p:cNvPr id="30" name="Text Placeholder 12"/>
          <p:cNvSpPr>
            <a:spLocks/>
          </p:cNvSpPr>
          <p:nvPr>
            <p:custDataLst>
              <p:tags r:id="rId1"/>
            </p:custDataLst>
          </p:nvPr>
        </p:nvSpPr>
        <p:spPr bwMode="auto">
          <a:xfrm>
            <a:off x="1816562" y="1097280"/>
            <a:ext cx="929742"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p:txBody>
      </p:sp>
      <p:sp>
        <p:nvSpPr>
          <p:cNvPr id="31" name="Text Placeholder 12"/>
          <p:cNvSpPr>
            <a:spLocks/>
          </p:cNvSpPr>
          <p:nvPr>
            <p:custDataLst>
              <p:tags r:id="rId2"/>
            </p:custDataLst>
          </p:nvPr>
        </p:nvSpPr>
        <p:spPr bwMode="auto">
          <a:xfrm>
            <a:off x="5082447" y="1097280"/>
            <a:ext cx="929742"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p:txBody>
      </p:sp>
      <p:sp>
        <p:nvSpPr>
          <p:cNvPr id="9" name="Text Placeholder 12"/>
          <p:cNvSpPr>
            <a:spLocks/>
          </p:cNvSpPr>
          <p:nvPr>
            <p:custDataLst>
              <p:tags r:id="rId3"/>
            </p:custDataLst>
          </p:nvPr>
        </p:nvSpPr>
        <p:spPr bwMode="auto">
          <a:xfrm>
            <a:off x="2858403" y="4217670"/>
            <a:ext cx="400751"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Axis title</a:t>
            </a:r>
          </a:p>
        </p:txBody>
      </p:sp>
      <p:sp>
        <p:nvSpPr>
          <p:cNvPr id="10" name="Text Placeholder 12"/>
          <p:cNvSpPr>
            <a:spLocks/>
          </p:cNvSpPr>
          <p:nvPr>
            <p:custDataLst>
              <p:tags r:id="rId4"/>
            </p:custDataLst>
          </p:nvPr>
        </p:nvSpPr>
        <p:spPr bwMode="auto">
          <a:xfrm>
            <a:off x="6172201" y="4217670"/>
            <a:ext cx="400751"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Axis title</a:t>
            </a:r>
          </a:p>
        </p:txBody>
      </p:sp>
      <p:sp>
        <p:nvSpPr>
          <p:cNvPr id="11" name="Text Placeholder 12"/>
          <p:cNvSpPr>
            <a:spLocks/>
          </p:cNvSpPr>
          <p:nvPr>
            <p:custDataLst>
              <p:tags r:id="rId5"/>
            </p:custDataLst>
          </p:nvPr>
        </p:nvSpPr>
        <p:spPr bwMode="auto">
          <a:xfrm rot="16200000">
            <a:off x="1228933" y="2571750"/>
            <a:ext cx="400751"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Axis title</a:t>
            </a:r>
          </a:p>
        </p:txBody>
      </p:sp>
      <p:sp>
        <p:nvSpPr>
          <p:cNvPr id="12" name="Text Placeholder 12"/>
          <p:cNvSpPr>
            <a:spLocks/>
          </p:cNvSpPr>
          <p:nvPr>
            <p:custDataLst>
              <p:tags r:id="rId6"/>
            </p:custDataLst>
          </p:nvPr>
        </p:nvSpPr>
        <p:spPr bwMode="auto">
          <a:xfrm rot="16200000">
            <a:off x="4542731" y="2571750"/>
            <a:ext cx="400751"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Axis title</a:t>
            </a:r>
          </a:p>
        </p:txBody>
      </p:sp>
      <p:sp>
        <p:nvSpPr>
          <p:cNvPr id="13"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20585" y="221763"/>
            <a:ext cx="6291000" cy="749788"/>
          </a:xfrm>
        </p:spPr>
        <p:txBody>
          <a:bodyPr/>
          <a:lstStyle/>
          <a:p>
            <a:r>
              <a:rPr lang="en-US" altLang="ja-JP" dirty="0"/>
              <a:t>Bar charts  </a:t>
            </a:r>
            <a:br>
              <a:rPr lang="en-US" altLang="ja-JP" dirty="0">
                <a:solidFill>
                  <a:srgbClr val="575757"/>
                </a:solidFill>
              </a:rPr>
            </a:br>
            <a:r>
              <a:rPr lang="en-US" altLang="ja-JP" dirty="0">
                <a:solidFill>
                  <a:srgbClr val="575757"/>
                </a:solidFill>
              </a:rPr>
              <a:t>Four parallel</a:t>
            </a:r>
            <a:endParaRPr lang="en-US" dirty="0">
              <a:solidFill>
                <a:srgbClr val="575757"/>
              </a:solidFill>
            </a:endParaRPr>
          </a:p>
        </p:txBody>
      </p:sp>
      <p:graphicFrame>
        <p:nvGraphicFramePr>
          <p:cNvPr id="24" name="Chart 23"/>
          <p:cNvGraphicFramePr/>
          <p:nvPr/>
        </p:nvGraphicFramePr>
        <p:xfrm>
          <a:off x="1422693" y="1290140"/>
          <a:ext cx="1618927" cy="3339003"/>
        </p:xfrm>
        <a:graphic>
          <a:graphicData uri="http://schemas.openxmlformats.org/drawingml/2006/chart">
            <c:chart xmlns:c="http://schemas.openxmlformats.org/drawingml/2006/chart" xmlns:r="http://schemas.openxmlformats.org/officeDocument/2006/relationships" r:id="rId7"/>
          </a:graphicData>
        </a:graphic>
      </p:graphicFrame>
      <p:sp>
        <p:nvSpPr>
          <p:cNvPr id="22" name="Text Placeholder 12"/>
          <p:cNvSpPr>
            <a:spLocks/>
          </p:cNvSpPr>
          <p:nvPr>
            <p:custDataLst>
              <p:tags r:id="rId1"/>
            </p:custDataLst>
          </p:nvPr>
        </p:nvSpPr>
        <p:spPr bwMode="auto">
          <a:xfrm>
            <a:off x="1356446" y="1097280"/>
            <a:ext cx="929742"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p:txBody>
      </p:sp>
      <p:sp>
        <p:nvSpPr>
          <p:cNvPr id="23" name="Text Placeholder 12"/>
          <p:cNvSpPr>
            <a:spLocks/>
          </p:cNvSpPr>
          <p:nvPr>
            <p:custDataLst>
              <p:tags r:id="rId2"/>
            </p:custDataLst>
          </p:nvPr>
        </p:nvSpPr>
        <p:spPr bwMode="auto">
          <a:xfrm>
            <a:off x="2976606" y="1097280"/>
            <a:ext cx="929742"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p:txBody>
      </p:sp>
      <p:sp>
        <p:nvSpPr>
          <p:cNvPr id="25" name="Text Placeholder 12"/>
          <p:cNvSpPr>
            <a:spLocks/>
          </p:cNvSpPr>
          <p:nvPr>
            <p:custDataLst>
              <p:tags r:id="rId3"/>
            </p:custDataLst>
          </p:nvPr>
        </p:nvSpPr>
        <p:spPr bwMode="auto">
          <a:xfrm>
            <a:off x="4589622" y="1097280"/>
            <a:ext cx="929742"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p:txBody>
      </p:sp>
      <p:sp>
        <p:nvSpPr>
          <p:cNvPr id="35" name="Text Placeholder 12"/>
          <p:cNvSpPr>
            <a:spLocks/>
          </p:cNvSpPr>
          <p:nvPr>
            <p:custDataLst>
              <p:tags r:id="rId4"/>
            </p:custDataLst>
          </p:nvPr>
        </p:nvSpPr>
        <p:spPr bwMode="auto">
          <a:xfrm>
            <a:off x="6225912" y="1097280"/>
            <a:ext cx="929742"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p:txBody>
      </p:sp>
      <p:sp>
        <p:nvSpPr>
          <p:cNvPr id="13" name="Text Placeholder 11"/>
          <p:cNvSpPr txBox="1">
            <a:spLocks/>
          </p:cNvSpPr>
          <p:nvPr/>
        </p:nvSpPr>
        <p:spPr>
          <a:xfrm>
            <a:off x="1422693" y="4608576"/>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
        <p:nvSpPr>
          <p:cNvPr id="18" name="Rectangle 17"/>
          <p:cNvSpPr>
            <a:spLocks noChangeArrowheads="1"/>
          </p:cNvSpPr>
          <p:nvPr/>
        </p:nvSpPr>
        <p:spPr bwMode="gray">
          <a:xfrm rot="16200000">
            <a:off x="1091804" y="2571750"/>
            <a:ext cx="400751" cy="184666"/>
          </a:xfrm>
          <a:prstGeom prst="rect">
            <a:avLst/>
          </a:prstGeom>
          <a:noFill/>
          <a:ln w="9525" algn="ctr">
            <a:noFill/>
            <a:miter lim="800000"/>
            <a:headEnd/>
            <a:tailEnd/>
          </a:ln>
        </p:spPr>
        <p:txBody>
          <a:bodyPr wrap="none" lIns="0" tIns="34290" rIns="0" bIns="34290">
            <a:spAutoFit/>
          </a:bodyPr>
          <a:lstStyle/>
          <a:p>
            <a:pPr defTabSz="764381">
              <a:buClrTx/>
            </a:pPr>
            <a:r>
              <a:rPr lang="en-US" sz="750" b="1" kern="1200" dirty="0">
                <a:solidFill>
                  <a:srgbClr val="313131"/>
                </a:solidFill>
                <a:ea typeface="+mn-ea"/>
                <a:cs typeface="+mn-cs"/>
              </a:rPr>
              <a:t>Axis title</a:t>
            </a:r>
          </a:p>
        </p:txBody>
      </p:sp>
      <p:sp>
        <p:nvSpPr>
          <p:cNvPr id="21" name="Rectangle 15"/>
          <p:cNvSpPr>
            <a:spLocks noChangeArrowheads="1"/>
          </p:cNvSpPr>
          <p:nvPr/>
        </p:nvSpPr>
        <p:spPr bwMode="gray">
          <a:xfrm>
            <a:off x="1926072" y="4046220"/>
            <a:ext cx="400751" cy="184666"/>
          </a:xfrm>
          <a:prstGeom prst="rect">
            <a:avLst/>
          </a:prstGeom>
          <a:noFill/>
          <a:ln w="9525" algn="ctr">
            <a:noFill/>
            <a:miter lim="800000"/>
            <a:headEnd/>
            <a:tailEnd/>
          </a:ln>
        </p:spPr>
        <p:txBody>
          <a:bodyPr wrap="none" lIns="0" tIns="34290" rIns="0" bIns="34290">
            <a:spAutoFit/>
          </a:bodyPr>
          <a:lstStyle/>
          <a:p>
            <a:pPr defTabSz="764381">
              <a:buClrTx/>
            </a:pPr>
            <a:r>
              <a:rPr lang="en-US" sz="750" b="1" kern="1200" dirty="0">
                <a:solidFill>
                  <a:srgbClr val="313131"/>
                </a:solidFill>
                <a:ea typeface="+mn-ea"/>
                <a:cs typeface="+mn-cs"/>
              </a:rPr>
              <a:t>Axis title</a:t>
            </a:r>
          </a:p>
        </p:txBody>
      </p:sp>
      <p:graphicFrame>
        <p:nvGraphicFramePr>
          <p:cNvPr id="26" name="Chart 25"/>
          <p:cNvGraphicFramePr/>
          <p:nvPr/>
        </p:nvGraphicFramePr>
        <p:xfrm>
          <a:off x="3002103" y="1289304"/>
          <a:ext cx="1618927" cy="3339003"/>
        </p:xfrm>
        <a:graphic>
          <a:graphicData uri="http://schemas.openxmlformats.org/drawingml/2006/chart">
            <c:chart xmlns:c="http://schemas.openxmlformats.org/drawingml/2006/chart" xmlns:r="http://schemas.openxmlformats.org/officeDocument/2006/relationships" r:id="rId8"/>
          </a:graphicData>
        </a:graphic>
      </p:graphicFrame>
      <p:sp>
        <p:nvSpPr>
          <p:cNvPr id="27" name="Rectangle 26"/>
          <p:cNvSpPr>
            <a:spLocks noChangeArrowheads="1"/>
          </p:cNvSpPr>
          <p:nvPr/>
        </p:nvSpPr>
        <p:spPr bwMode="gray">
          <a:xfrm rot="16200000">
            <a:off x="2671214" y="2583697"/>
            <a:ext cx="400751" cy="184666"/>
          </a:xfrm>
          <a:prstGeom prst="rect">
            <a:avLst/>
          </a:prstGeom>
          <a:noFill/>
          <a:ln w="9525" algn="ctr">
            <a:noFill/>
            <a:miter lim="800000"/>
            <a:headEnd/>
            <a:tailEnd/>
          </a:ln>
        </p:spPr>
        <p:txBody>
          <a:bodyPr wrap="none" lIns="0" tIns="34290" rIns="0" bIns="34290">
            <a:spAutoFit/>
          </a:bodyPr>
          <a:lstStyle/>
          <a:p>
            <a:pPr defTabSz="764381">
              <a:buClrTx/>
            </a:pPr>
            <a:r>
              <a:rPr lang="en-US" sz="750" b="1" kern="1200" dirty="0">
                <a:solidFill>
                  <a:srgbClr val="313131"/>
                </a:solidFill>
                <a:ea typeface="+mn-ea"/>
                <a:cs typeface="+mn-cs"/>
              </a:rPr>
              <a:t>Axis title</a:t>
            </a:r>
          </a:p>
        </p:txBody>
      </p:sp>
      <p:sp>
        <p:nvSpPr>
          <p:cNvPr id="29" name="Rectangle 15"/>
          <p:cNvSpPr>
            <a:spLocks noChangeArrowheads="1"/>
          </p:cNvSpPr>
          <p:nvPr/>
        </p:nvSpPr>
        <p:spPr bwMode="gray">
          <a:xfrm>
            <a:off x="3505482" y="4058167"/>
            <a:ext cx="400751" cy="184666"/>
          </a:xfrm>
          <a:prstGeom prst="rect">
            <a:avLst/>
          </a:prstGeom>
          <a:noFill/>
          <a:ln w="9525" algn="ctr">
            <a:noFill/>
            <a:miter lim="800000"/>
            <a:headEnd/>
            <a:tailEnd/>
          </a:ln>
        </p:spPr>
        <p:txBody>
          <a:bodyPr wrap="none" lIns="0" tIns="34290" rIns="0" bIns="34290">
            <a:spAutoFit/>
          </a:bodyPr>
          <a:lstStyle/>
          <a:p>
            <a:pPr defTabSz="764381">
              <a:buClrTx/>
            </a:pPr>
            <a:r>
              <a:rPr lang="en-US" sz="750" b="1" kern="1200" dirty="0">
                <a:solidFill>
                  <a:srgbClr val="313131"/>
                </a:solidFill>
                <a:ea typeface="+mn-ea"/>
                <a:cs typeface="+mn-cs"/>
              </a:rPr>
              <a:t>Axis title</a:t>
            </a:r>
          </a:p>
        </p:txBody>
      </p:sp>
      <p:graphicFrame>
        <p:nvGraphicFramePr>
          <p:cNvPr id="30" name="Chart 29"/>
          <p:cNvGraphicFramePr/>
          <p:nvPr/>
        </p:nvGraphicFramePr>
        <p:xfrm>
          <a:off x="4606986" y="1289304"/>
          <a:ext cx="1618927" cy="3339003"/>
        </p:xfrm>
        <a:graphic>
          <a:graphicData uri="http://schemas.openxmlformats.org/drawingml/2006/chart">
            <c:chart xmlns:c="http://schemas.openxmlformats.org/drawingml/2006/chart" xmlns:r="http://schemas.openxmlformats.org/officeDocument/2006/relationships" r:id="rId9"/>
          </a:graphicData>
        </a:graphic>
      </p:graphicFrame>
      <p:sp>
        <p:nvSpPr>
          <p:cNvPr id="32" name="Rectangle 31"/>
          <p:cNvSpPr>
            <a:spLocks noChangeArrowheads="1"/>
          </p:cNvSpPr>
          <p:nvPr/>
        </p:nvSpPr>
        <p:spPr bwMode="gray">
          <a:xfrm rot="16200000">
            <a:off x="4276096" y="2583697"/>
            <a:ext cx="400751" cy="184666"/>
          </a:xfrm>
          <a:prstGeom prst="rect">
            <a:avLst/>
          </a:prstGeom>
          <a:noFill/>
          <a:ln w="9525" algn="ctr">
            <a:noFill/>
            <a:miter lim="800000"/>
            <a:headEnd/>
            <a:tailEnd/>
          </a:ln>
        </p:spPr>
        <p:txBody>
          <a:bodyPr wrap="none" lIns="0" tIns="34290" rIns="0" bIns="34290">
            <a:spAutoFit/>
          </a:bodyPr>
          <a:lstStyle/>
          <a:p>
            <a:pPr defTabSz="764381">
              <a:buClrTx/>
            </a:pPr>
            <a:r>
              <a:rPr lang="en-US" sz="750" b="1" kern="1200" dirty="0">
                <a:solidFill>
                  <a:srgbClr val="313131"/>
                </a:solidFill>
                <a:ea typeface="+mn-ea"/>
                <a:cs typeface="+mn-cs"/>
              </a:rPr>
              <a:t>Axis title</a:t>
            </a:r>
          </a:p>
        </p:txBody>
      </p:sp>
      <p:sp>
        <p:nvSpPr>
          <p:cNvPr id="33" name="Rectangle 15"/>
          <p:cNvSpPr>
            <a:spLocks noChangeArrowheads="1"/>
          </p:cNvSpPr>
          <p:nvPr/>
        </p:nvSpPr>
        <p:spPr bwMode="gray">
          <a:xfrm>
            <a:off x="5110364" y="4058167"/>
            <a:ext cx="400751" cy="184666"/>
          </a:xfrm>
          <a:prstGeom prst="rect">
            <a:avLst/>
          </a:prstGeom>
          <a:noFill/>
          <a:ln w="9525" algn="ctr">
            <a:noFill/>
            <a:miter lim="800000"/>
            <a:headEnd/>
            <a:tailEnd/>
          </a:ln>
        </p:spPr>
        <p:txBody>
          <a:bodyPr wrap="none" lIns="0" tIns="34290" rIns="0" bIns="34290">
            <a:spAutoFit/>
          </a:bodyPr>
          <a:lstStyle/>
          <a:p>
            <a:pPr defTabSz="764381">
              <a:buClrTx/>
            </a:pPr>
            <a:r>
              <a:rPr lang="en-US" sz="750" b="1" kern="1200" dirty="0">
                <a:solidFill>
                  <a:srgbClr val="313131"/>
                </a:solidFill>
                <a:ea typeface="+mn-ea"/>
                <a:cs typeface="+mn-cs"/>
              </a:rPr>
              <a:t>Axis title</a:t>
            </a:r>
          </a:p>
        </p:txBody>
      </p:sp>
      <p:graphicFrame>
        <p:nvGraphicFramePr>
          <p:cNvPr id="36" name="Chart 35"/>
          <p:cNvGraphicFramePr/>
          <p:nvPr/>
        </p:nvGraphicFramePr>
        <p:xfrm>
          <a:off x="6225912" y="1289304"/>
          <a:ext cx="1618927" cy="3339003"/>
        </p:xfrm>
        <a:graphic>
          <a:graphicData uri="http://schemas.openxmlformats.org/drawingml/2006/chart">
            <c:chart xmlns:c="http://schemas.openxmlformats.org/drawingml/2006/chart" xmlns:r="http://schemas.openxmlformats.org/officeDocument/2006/relationships" r:id="rId10"/>
          </a:graphicData>
        </a:graphic>
      </p:graphicFrame>
      <p:sp>
        <p:nvSpPr>
          <p:cNvPr id="37" name="Rectangle 36"/>
          <p:cNvSpPr>
            <a:spLocks noChangeArrowheads="1"/>
          </p:cNvSpPr>
          <p:nvPr/>
        </p:nvSpPr>
        <p:spPr bwMode="gray">
          <a:xfrm rot="16200000">
            <a:off x="5895023" y="2583697"/>
            <a:ext cx="400751" cy="184666"/>
          </a:xfrm>
          <a:prstGeom prst="rect">
            <a:avLst/>
          </a:prstGeom>
          <a:noFill/>
          <a:ln w="9525" algn="ctr">
            <a:noFill/>
            <a:miter lim="800000"/>
            <a:headEnd/>
            <a:tailEnd/>
          </a:ln>
        </p:spPr>
        <p:txBody>
          <a:bodyPr wrap="none" lIns="0" tIns="34290" rIns="0" bIns="34290">
            <a:spAutoFit/>
          </a:bodyPr>
          <a:lstStyle/>
          <a:p>
            <a:pPr defTabSz="764381">
              <a:buClrTx/>
            </a:pPr>
            <a:r>
              <a:rPr lang="en-US" sz="750" b="1" kern="1200" dirty="0">
                <a:solidFill>
                  <a:srgbClr val="313131"/>
                </a:solidFill>
                <a:ea typeface="+mn-ea"/>
                <a:cs typeface="+mn-cs"/>
              </a:rPr>
              <a:t>Axis title</a:t>
            </a:r>
          </a:p>
        </p:txBody>
      </p:sp>
      <p:sp>
        <p:nvSpPr>
          <p:cNvPr id="38" name="Rectangle 15"/>
          <p:cNvSpPr>
            <a:spLocks noChangeArrowheads="1"/>
          </p:cNvSpPr>
          <p:nvPr/>
        </p:nvSpPr>
        <p:spPr bwMode="gray">
          <a:xfrm>
            <a:off x="6729291" y="4058167"/>
            <a:ext cx="400751" cy="184666"/>
          </a:xfrm>
          <a:prstGeom prst="rect">
            <a:avLst/>
          </a:prstGeom>
          <a:noFill/>
          <a:ln w="9525" algn="ctr">
            <a:noFill/>
            <a:miter lim="800000"/>
            <a:headEnd/>
            <a:tailEnd/>
          </a:ln>
        </p:spPr>
        <p:txBody>
          <a:bodyPr wrap="none" lIns="0" tIns="34290" rIns="0" bIns="34290">
            <a:spAutoFit/>
          </a:bodyPr>
          <a:lstStyle/>
          <a:p>
            <a:pPr defTabSz="764381">
              <a:buClrTx/>
            </a:pPr>
            <a:r>
              <a:rPr lang="en-US" sz="750" b="1" kern="1200" dirty="0">
                <a:solidFill>
                  <a:srgbClr val="313131"/>
                </a:solidFill>
                <a:ea typeface="+mn-ea"/>
                <a:cs typeface="+mn-cs"/>
              </a:rPr>
              <a:t>Axis title</a:t>
            </a:r>
          </a:p>
        </p:txBody>
      </p:sp>
    </p:spTree>
    <p:extLst>
      <p:ext uri="{BB962C8B-B14F-4D97-AF65-F5344CB8AC3E}">
        <p14:creationId xmlns:p14="http://schemas.microsoft.com/office/powerpoint/2010/main" val="20199133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dirty="0"/>
              <a:t>Bar charts  </a:t>
            </a:r>
            <a:br>
              <a:rPr lang="en-US" altLang="ja-JP" dirty="0">
                <a:solidFill>
                  <a:srgbClr val="575757"/>
                </a:solidFill>
              </a:rPr>
            </a:br>
            <a:r>
              <a:rPr lang="en-US" altLang="ja-JP" dirty="0">
                <a:solidFill>
                  <a:srgbClr val="575757"/>
                </a:solidFill>
              </a:rPr>
              <a:t>Paired (9 colors)</a:t>
            </a:r>
            <a:endParaRPr lang="en-US" dirty="0">
              <a:solidFill>
                <a:srgbClr val="575757"/>
              </a:solidFill>
            </a:endParaRPr>
          </a:p>
        </p:txBody>
      </p:sp>
      <p:graphicFrame>
        <p:nvGraphicFramePr>
          <p:cNvPr id="17" name="Chart 16"/>
          <p:cNvGraphicFramePr/>
          <p:nvPr/>
        </p:nvGraphicFramePr>
        <p:xfrm>
          <a:off x="1440656" y="1268730"/>
          <a:ext cx="6262688" cy="3319849"/>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 Placeholder 12"/>
          <p:cNvSpPr>
            <a:spLocks/>
          </p:cNvSpPr>
          <p:nvPr>
            <p:custDataLst>
              <p:tags r:id="rId1"/>
            </p:custDataLst>
          </p:nvPr>
        </p:nvSpPr>
        <p:spPr bwMode="auto">
          <a:xfrm>
            <a:off x="1440656" y="1097280"/>
            <a:ext cx="929742" cy="230832"/>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a:p>
            <a:pPr defTabSz="764381">
              <a:buClrTx/>
            </a:pPr>
            <a:endParaRPr lang="en-US" sz="750" b="1" kern="1200" dirty="0">
              <a:solidFill>
                <a:srgbClr val="313131"/>
              </a:solidFill>
              <a:ea typeface="+mn-ea"/>
              <a:cs typeface="+mn-cs"/>
            </a:endParaRPr>
          </a:p>
        </p:txBody>
      </p:sp>
      <p:sp>
        <p:nvSpPr>
          <p:cNvPr id="6" name="TextBox 5"/>
          <p:cNvSpPr txBox="1"/>
          <p:nvPr/>
        </p:nvSpPr>
        <p:spPr>
          <a:xfrm>
            <a:off x="4242816" y="4217670"/>
            <a:ext cx="557784" cy="323165"/>
          </a:xfrm>
          <a:prstGeom prst="rect">
            <a:avLst/>
          </a:prstGeom>
          <a:noFill/>
        </p:spPr>
        <p:txBody>
          <a:bodyPr wrap="square" rtlCol="0">
            <a:spAutoFit/>
          </a:bodyPr>
          <a:lstStyle/>
          <a:p>
            <a:pPr defTabSz="685800">
              <a:buClrTx/>
            </a:pPr>
            <a:r>
              <a:rPr lang="en-US" sz="750" b="1" kern="1200" dirty="0">
                <a:solidFill>
                  <a:srgbClr val="313131"/>
                </a:solidFill>
                <a:ea typeface="+mn-ea"/>
                <a:cs typeface="+mn-cs"/>
              </a:rPr>
              <a:t>Axis title</a:t>
            </a:r>
          </a:p>
        </p:txBody>
      </p:sp>
      <p:sp>
        <p:nvSpPr>
          <p:cNvPr id="10" name="Text Placeholder 11"/>
          <p:cNvSpPr txBox="1">
            <a:spLocks/>
          </p:cNvSpPr>
          <p:nvPr/>
        </p:nvSpPr>
        <p:spPr>
          <a:xfrm>
            <a:off x="1422693" y="4608576"/>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
        <p:nvSpPr>
          <p:cNvPr id="11" name="TextBox 10"/>
          <p:cNvSpPr txBox="1"/>
          <p:nvPr/>
        </p:nvSpPr>
        <p:spPr>
          <a:xfrm rot="16200000">
            <a:off x="1211580" y="2502501"/>
            <a:ext cx="557784" cy="323165"/>
          </a:xfrm>
          <a:prstGeom prst="rect">
            <a:avLst/>
          </a:prstGeom>
          <a:noFill/>
        </p:spPr>
        <p:txBody>
          <a:bodyPr wrap="square" rtlCol="0">
            <a:spAutoFit/>
          </a:bodyPr>
          <a:lstStyle/>
          <a:p>
            <a:pPr defTabSz="685800">
              <a:buClrTx/>
            </a:pPr>
            <a:r>
              <a:rPr lang="en-US" sz="750" b="1" kern="1200" dirty="0">
                <a:solidFill>
                  <a:srgbClr val="313131"/>
                </a:solidFill>
                <a:ea typeface="+mn-ea"/>
                <a:cs typeface="+mn-cs"/>
              </a:rPr>
              <a:t>Axis title</a:t>
            </a: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dirty="0">
                <a:solidFill>
                  <a:srgbClr val="81BC00"/>
                </a:solidFill>
              </a:rPr>
              <a:t>Bar charts </a:t>
            </a:r>
            <a:br>
              <a:rPr lang="en-US" altLang="ja-JP" dirty="0">
                <a:solidFill>
                  <a:srgbClr val="575757"/>
                </a:solidFill>
              </a:rPr>
            </a:br>
            <a:r>
              <a:rPr lang="en-US" altLang="ja-JP" dirty="0">
                <a:solidFill>
                  <a:srgbClr val="575757"/>
                </a:solidFill>
              </a:rPr>
              <a:t>B</a:t>
            </a:r>
            <a:r>
              <a:rPr lang="en-US" dirty="0">
                <a:solidFill>
                  <a:srgbClr val="575757"/>
                </a:solidFill>
              </a:rPr>
              <a:t>utterfly</a:t>
            </a:r>
          </a:p>
        </p:txBody>
      </p:sp>
      <p:graphicFrame>
        <p:nvGraphicFramePr>
          <p:cNvPr id="36" name="Chart 35"/>
          <p:cNvGraphicFramePr/>
          <p:nvPr/>
        </p:nvGraphicFramePr>
        <p:xfrm>
          <a:off x="4839892" y="1546614"/>
          <a:ext cx="2732504" cy="26789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7" name="Chart 36"/>
          <p:cNvGraphicFramePr/>
          <p:nvPr/>
        </p:nvGraphicFramePr>
        <p:xfrm>
          <a:off x="1518025" y="1546614"/>
          <a:ext cx="2826542" cy="2678925"/>
        </p:xfrm>
        <a:graphic>
          <a:graphicData uri="http://schemas.openxmlformats.org/drawingml/2006/chart">
            <c:chart xmlns:c="http://schemas.openxmlformats.org/drawingml/2006/chart" xmlns:r="http://schemas.openxmlformats.org/officeDocument/2006/relationships" r:id="rId4"/>
          </a:graphicData>
        </a:graphic>
      </p:graphicFrame>
      <p:sp>
        <p:nvSpPr>
          <p:cNvPr id="38" name="TextBox 37"/>
          <p:cNvSpPr txBox="1"/>
          <p:nvPr/>
        </p:nvSpPr>
        <p:spPr>
          <a:xfrm>
            <a:off x="1424448" y="1131570"/>
            <a:ext cx="2826542" cy="323165"/>
          </a:xfrm>
          <a:prstGeom prst="rect">
            <a:avLst/>
          </a:prstGeom>
          <a:noFill/>
        </p:spPr>
        <p:txBody>
          <a:bodyPr wrap="square" lIns="0" rIns="0" rtlCol="0">
            <a:spAutoFit/>
          </a:bodyPr>
          <a:lstStyle/>
          <a:p>
            <a:pPr defTabSz="685800">
              <a:buClrTx/>
              <a:defRPr/>
            </a:pPr>
            <a:r>
              <a:rPr lang="en-GB" sz="750" b="1" dirty="0">
                <a:solidFill>
                  <a:srgbClr val="313131"/>
                </a:solidFill>
                <a:ea typeface="+mn-ea"/>
                <a:cs typeface="+mn-cs"/>
              </a:rPr>
              <a:t>Chart title</a:t>
            </a:r>
          </a:p>
          <a:p>
            <a:pPr defTabSz="685800">
              <a:buClrTx/>
              <a:defRPr/>
            </a:pPr>
            <a:r>
              <a:rPr lang="en-GB" sz="750" dirty="0">
                <a:solidFill>
                  <a:srgbClr val="313131"/>
                </a:solidFill>
                <a:ea typeface="+mn-ea"/>
                <a:cs typeface="+mn-cs"/>
              </a:rPr>
              <a:t>Units or title runs here</a:t>
            </a:r>
          </a:p>
        </p:txBody>
      </p:sp>
      <p:sp>
        <p:nvSpPr>
          <p:cNvPr id="39" name="TextBox 38"/>
          <p:cNvSpPr txBox="1"/>
          <p:nvPr/>
        </p:nvSpPr>
        <p:spPr>
          <a:xfrm>
            <a:off x="4895852" y="1131570"/>
            <a:ext cx="2826542" cy="323165"/>
          </a:xfrm>
          <a:prstGeom prst="rect">
            <a:avLst/>
          </a:prstGeom>
          <a:noFill/>
        </p:spPr>
        <p:txBody>
          <a:bodyPr wrap="square" lIns="0" rIns="0" rtlCol="0">
            <a:spAutoFit/>
          </a:bodyPr>
          <a:lstStyle/>
          <a:p>
            <a:pPr defTabSz="685800">
              <a:buClrTx/>
              <a:defRPr/>
            </a:pPr>
            <a:r>
              <a:rPr lang="en-GB" sz="750" b="1" dirty="0">
                <a:solidFill>
                  <a:srgbClr val="313131"/>
                </a:solidFill>
                <a:ea typeface="+mn-ea"/>
                <a:cs typeface="+mn-cs"/>
              </a:rPr>
              <a:t>Chart title </a:t>
            </a:r>
          </a:p>
          <a:p>
            <a:pPr defTabSz="685800">
              <a:buClrTx/>
              <a:defRPr/>
            </a:pPr>
            <a:r>
              <a:rPr lang="en-GB" sz="750" dirty="0">
                <a:solidFill>
                  <a:srgbClr val="313131"/>
                </a:solidFill>
                <a:ea typeface="+mn-ea"/>
                <a:cs typeface="+mn-cs"/>
              </a:rPr>
              <a:t>Units or title runs here</a:t>
            </a:r>
          </a:p>
        </p:txBody>
      </p:sp>
      <p:sp>
        <p:nvSpPr>
          <p:cNvPr id="40" name="TextBox 39"/>
          <p:cNvSpPr txBox="1"/>
          <p:nvPr/>
        </p:nvSpPr>
        <p:spPr>
          <a:xfrm>
            <a:off x="4243739" y="1854506"/>
            <a:ext cx="683426" cy="207749"/>
          </a:xfrm>
          <a:prstGeom prst="rect">
            <a:avLst/>
          </a:prstGeom>
          <a:noFill/>
        </p:spPr>
        <p:txBody>
          <a:bodyPr wrap="square" lIns="0" rIns="0" rtlCol="0">
            <a:spAutoFit/>
          </a:bodyPr>
          <a:lstStyle/>
          <a:p>
            <a:pPr algn="ctr" defTabSz="685800">
              <a:buClrTx/>
              <a:defRPr/>
            </a:pPr>
            <a:r>
              <a:rPr lang="en-GB" sz="750" b="1" dirty="0">
                <a:solidFill>
                  <a:srgbClr val="313131"/>
                </a:solidFill>
                <a:ea typeface="+mn-ea"/>
                <a:cs typeface="+mn-cs"/>
              </a:rPr>
              <a:t>North</a:t>
            </a:r>
          </a:p>
        </p:txBody>
      </p:sp>
      <p:sp>
        <p:nvSpPr>
          <p:cNvPr id="41" name="TextBox 40"/>
          <p:cNvSpPr txBox="1"/>
          <p:nvPr/>
        </p:nvSpPr>
        <p:spPr>
          <a:xfrm>
            <a:off x="4250529" y="2487097"/>
            <a:ext cx="683426" cy="207749"/>
          </a:xfrm>
          <a:prstGeom prst="rect">
            <a:avLst/>
          </a:prstGeom>
          <a:noFill/>
        </p:spPr>
        <p:txBody>
          <a:bodyPr wrap="square" lIns="0" rIns="0" rtlCol="0">
            <a:spAutoFit/>
          </a:bodyPr>
          <a:lstStyle/>
          <a:p>
            <a:pPr algn="ctr" defTabSz="685800">
              <a:buClrTx/>
              <a:defRPr/>
            </a:pPr>
            <a:r>
              <a:rPr lang="en-GB" sz="750" b="1" dirty="0">
                <a:solidFill>
                  <a:srgbClr val="313131"/>
                </a:solidFill>
                <a:ea typeface="+mn-ea"/>
                <a:cs typeface="+mn-cs"/>
              </a:rPr>
              <a:t>South</a:t>
            </a:r>
          </a:p>
        </p:txBody>
      </p:sp>
      <p:sp>
        <p:nvSpPr>
          <p:cNvPr id="42" name="TextBox 41"/>
          <p:cNvSpPr txBox="1"/>
          <p:nvPr/>
        </p:nvSpPr>
        <p:spPr>
          <a:xfrm>
            <a:off x="4243739" y="3092529"/>
            <a:ext cx="683426" cy="207749"/>
          </a:xfrm>
          <a:prstGeom prst="rect">
            <a:avLst/>
          </a:prstGeom>
          <a:noFill/>
        </p:spPr>
        <p:txBody>
          <a:bodyPr wrap="square" lIns="0" rIns="0" rtlCol="0">
            <a:spAutoFit/>
          </a:bodyPr>
          <a:lstStyle/>
          <a:p>
            <a:pPr algn="ctr" defTabSz="685800">
              <a:buClrTx/>
              <a:defRPr/>
            </a:pPr>
            <a:r>
              <a:rPr lang="en-GB" sz="750" b="1" dirty="0">
                <a:solidFill>
                  <a:srgbClr val="313131"/>
                </a:solidFill>
                <a:ea typeface="+mn-ea"/>
                <a:cs typeface="+mn-cs"/>
              </a:rPr>
              <a:t>East</a:t>
            </a:r>
          </a:p>
        </p:txBody>
      </p:sp>
      <p:sp>
        <p:nvSpPr>
          <p:cNvPr id="43" name="TextBox 42"/>
          <p:cNvSpPr txBox="1"/>
          <p:nvPr/>
        </p:nvSpPr>
        <p:spPr>
          <a:xfrm>
            <a:off x="4264108" y="3697962"/>
            <a:ext cx="683426" cy="207749"/>
          </a:xfrm>
          <a:prstGeom prst="rect">
            <a:avLst/>
          </a:prstGeom>
          <a:noFill/>
        </p:spPr>
        <p:txBody>
          <a:bodyPr wrap="square" lIns="0" rIns="0" rtlCol="0">
            <a:spAutoFit/>
          </a:bodyPr>
          <a:lstStyle/>
          <a:p>
            <a:pPr algn="ctr" defTabSz="685800">
              <a:buClrTx/>
              <a:defRPr/>
            </a:pPr>
            <a:r>
              <a:rPr lang="en-GB" sz="750" b="1" dirty="0">
                <a:solidFill>
                  <a:srgbClr val="313131"/>
                </a:solidFill>
                <a:ea typeface="+mn-ea"/>
                <a:cs typeface="+mn-cs"/>
              </a:rPr>
              <a:t>West</a:t>
            </a:r>
          </a:p>
        </p:txBody>
      </p:sp>
      <p:sp>
        <p:nvSpPr>
          <p:cNvPr id="13"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p:txBody>
      </p:sp>
    </p:spTree>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ltLang="ja-JP" dirty="0">
                <a:solidFill>
                  <a:srgbClr val="81BC00"/>
                </a:solidFill>
              </a:rPr>
              <a:t>Column chart  </a:t>
            </a:r>
            <a:br>
              <a:rPr lang="en-US" altLang="ja-JP" dirty="0">
                <a:solidFill>
                  <a:srgbClr val="575757"/>
                </a:solidFill>
              </a:rPr>
            </a:br>
            <a:r>
              <a:rPr lang="en-US" altLang="ja-JP" dirty="0">
                <a:solidFill>
                  <a:srgbClr val="575757"/>
                </a:solidFill>
              </a:rPr>
              <a:t>Stacked (9 colors)</a:t>
            </a:r>
            <a:endParaRPr lang="en-US" dirty="0">
              <a:solidFill>
                <a:srgbClr val="575757"/>
              </a:solidFill>
            </a:endParaRPr>
          </a:p>
        </p:txBody>
      </p:sp>
      <p:graphicFrame>
        <p:nvGraphicFramePr>
          <p:cNvPr id="5" name="Chart 4"/>
          <p:cNvGraphicFramePr/>
          <p:nvPr/>
        </p:nvGraphicFramePr>
        <p:xfrm>
          <a:off x="1358390" y="1363808"/>
          <a:ext cx="6283202" cy="2787732"/>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 Placeholder 12"/>
          <p:cNvSpPr>
            <a:spLocks/>
          </p:cNvSpPr>
          <p:nvPr>
            <p:custDataLst>
              <p:tags r:id="rId1"/>
            </p:custDataLst>
          </p:nvPr>
        </p:nvSpPr>
        <p:spPr bwMode="auto">
          <a:xfrm>
            <a:off x="1593056" y="1131570"/>
            <a:ext cx="929742"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p:txBody>
      </p:sp>
      <p:sp>
        <p:nvSpPr>
          <p:cNvPr id="8" name="TextBox 7"/>
          <p:cNvSpPr txBox="1"/>
          <p:nvPr/>
        </p:nvSpPr>
        <p:spPr>
          <a:xfrm rot="16200000">
            <a:off x="1300734" y="2572504"/>
            <a:ext cx="514350" cy="169944"/>
          </a:xfrm>
          <a:prstGeom prst="rect">
            <a:avLst/>
          </a:prstGeom>
          <a:noFill/>
        </p:spPr>
        <p:txBody>
          <a:bodyPr wrap="square" lIns="27000" tIns="27000" rIns="27000" bIns="27000" rtlCol="0">
            <a:spAutoFit/>
          </a:bodyPr>
          <a:lstStyle/>
          <a:p>
            <a:pPr defTabSz="685800">
              <a:buClrTx/>
            </a:pPr>
            <a:r>
              <a:rPr lang="en-US" sz="750" b="1" kern="1200" dirty="0">
                <a:solidFill>
                  <a:srgbClr val="313131"/>
                </a:solidFill>
                <a:ea typeface="+mn-ea"/>
                <a:cs typeface="+mn-cs"/>
              </a:rPr>
              <a:t>Axis title</a:t>
            </a:r>
          </a:p>
        </p:txBody>
      </p:sp>
      <p:sp>
        <p:nvSpPr>
          <p:cNvPr id="9" name="TextBox 8"/>
          <p:cNvSpPr txBox="1"/>
          <p:nvPr/>
        </p:nvSpPr>
        <p:spPr>
          <a:xfrm>
            <a:off x="4242816" y="4114801"/>
            <a:ext cx="514350" cy="169944"/>
          </a:xfrm>
          <a:prstGeom prst="rect">
            <a:avLst/>
          </a:prstGeom>
          <a:noFill/>
        </p:spPr>
        <p:txBody>
          <a:bodyPr wrap="square" lIns="27000" tIns="27000" rIns="27000" bIns="27000" rtlCol="0">
            <a:spAutoFit/>
          </a:bodyPr>
          <a:lstStyle/>
          <a:p>
            <a:pPr defTabSz="685800">
              <a:buClrTx/>
            </a:pPr>
            <a:r>
              <a:rPr lang="en-US" sz="750" b="1" kern="1200" dirty="0">
                <a:solidFill>
                  <a:srgbClr val="313131"/>
                </a:solidFill>
                <a:ea typeface="+mn-ea"/>
                <a:cs typeface="+mn-cs"/>
              </a:rPr>
              <a:t>Axis title</a:t>
            </a:r>
          </a:p>
        </p:txBody>
      </p:sp>
      <p:sp>
        <p:nvSpPr>
          <p:cNvPr id="10"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ltLang="ja-JP" dirty="0">
                <a:solidFill>
                  <a:srgbClr val="81BC00"/>
                </a:solidFill>
              </a:rPr>
              <a:t>Column charts </a:t>
            </a:r>
            <a:br>
              <a:rPr lang="en-US" altLang="ja-JP" dirty="0">
                <a:solidFill>
                  <a:srgbClr val="575757"/>
                </a:solidFill>
              </a:rPr>
            </a:br>
            <a:r>
              <a:rPr lang="en-US" altLang="ja-JP" dirty="0">
                <a:solidFill>
                  <a:srgbClr val="575757"/>
                </a:solidFill>
              </a:rPr>
              <a:t>Two stacked</a:t>
            </a:r>
            <a:endParaRPr lang="en-US" dirty="0">
              <a:solidFill>
                <a:srgbClr val="575757"/>
              </a:solidFill>
            </a:endParaRPr>
          </a:p>
        </p:txBody>
      </p:sp>
      <p:graphicFrame>
        <p:nvGraphicFramePr>
          <p:cNvPr id="38" name="Chart Placeholder 9"/>
          <p:cNvGraphicFramePr>
            <a:graphicFrameLocks/>
          </p:cNvGraphicFramePr>
          <p:nvPr/>
        </p:nvGraphicFramePr>
        <p:xfrm>
          <a:off x="4732736" y="1268731"/>
          <a:ext cx="2464611" cy="309920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9" name="Chart Placeholder 9"/>
          <p:cNvGraphicFramePr>
            <a:graphicFrameLocks/>
          </p:cNvGraphicFramePr>
          <p:nvPr/>
        </p:nvGraphicFramePr>
        <p:xfrm>
          <a:off x="1518026" y="1268731"/>
          <a:ext cx="2464611" cy="3099203"/>
        </p:xfrm>
        <a:graphic>
          <a:graphicData uri="http://schemas.openxmlformats.org/drawingml/2006/chart">
            <c:chart xmlns:c="http://schemas.openxmlformats.org/drawingml/2006/chart" xmlns:r="http://schemas.openxmlformats.org/officeDocument/2006/relationships" r:id="rId4"/>
          </a:graphicData>
        </a:graphic>
      </p:graphicFrame>
      <p:sp>
        <p:nvSpPr>
          <p:cNvPr id="40" name="TextBox 39"/>
          <p:cNvSpPr txBox="1"/>
          <p:nvPr/>
        </p:nvSpPr>
        <p:spPr>
          <a:xfrm>
            <a:off x="1424448" y="1131570"/>
            <a:ext cx="2826542" cy="115416"/>
          </a:xfrm>
          <a:prstGeom prst="rect">
            <a:avLst/>
          </a:prstGeom>
          <a:noFill/>
        </p:spPr>
        <p:txBody>
          <a:bodyPr wrap="square" lIns="0" tIns="0" rIns="0" bIns="0" rtlCol="0">
            <a:spAutoFit/>
          </a:bodyPr>
          <a:lstStyle/>
          <a:p>
            <a:pPr defTabSz="685800">
              <a:buClrTx/>
              <a:defRPr/>
            </a:pPr>
            <a:r>
              <a:rPr lang="en-GB" sz="750" b="1" dirty="0">
                <a:solidFill>
                  <a:srgbClr val="313131"/>
                </a:solidFill>
                <a:ea typeface="+mn-ea"/>
                <a:cs typeface="+mn-cs"/>
              </a:rPr>
              <a:t>Chart title runs here</a:t>
            </a:r>
          </a:p>
        </p:txBody>
      </p:sp>
      <p:sp>
        <p:nvSpPr>
          <p:cNvPr id="41" name="TextBox 40"/>
          <p:cNvSpPr txBox="1"/>
          <p:nvPr/>
        </p:nvSpPr>
        <p:spPr>
          <a:xfrm>
            <a:off x="4619068" y="1131570"/>
            <a:ext cx="2826542" cy="115416"/>
          </a:xfrm>
          <a:prstGeom prst="rect">
            <a:avLst/>
          </a:prstGeom>
          <a:noFill/>
        </p:spPr>
        <p:txBody>
          <a:bodyPr wrap="square" lIns="0" tIns="0" rIns="0" bIns="0" rtlCol="0">
            <a:spAutoFit/>
          </a:bodyPr>
          <a:lstStyle/>
          <a:p>
            <a:pPr defTabSz="685800">
              <a:buClrTx/>
              <a:defRPr/>
            </a:pPr>
            <a:r>
              <a:rPr lang="en-GB" sz="750" b="1" dirty="0">
                <a:solidFill>
                  <a:srgbClr val="313131"/>
                </a:solidFill>
                <a:ea typeface="+mn-ea"/>
                <a:cs typeface="+mn-cs"/>
              </a:rPr>
              <a:t>Chart title runs here</a:t>
            </a:r>
          </a:p>
        </p:txBody>
      </p:sp>
      <p:sp>
        <p:nvSpPr>
          <p:cNvPr id="9"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ltLang="ja-JP" dirty="0">
                <a:solidFill>
                  <a:srgbClr val="81BC00"/>
                </a:solidFill>
              </a:rPr>
              <a:t>Column charts </a:t>
            </a:r>
            <a:br>
              <a:rPr lang="en-US" altLang="ja-JP" dirty="0">
                <a:solidFill>
                  <a:srgbClr val="575757"/>
                </a:solidFill>
              </a:rPr>
            </a:br>
            <a:r>
              <a:rPr lang="en-US" altLang="ja-JP" dirty="0">
                <a:solidFill>
                  <a:srgbClr val="575757"/>
                </a:solidFill>
              </a:rPr>
              <a:t>Stacked bar chart and text </a:t>
            </a:r>
            <a:endParaRPr lang="en-US" dirty="0">
              <a:solidFill>
                <a:srgbClr val="575757"/>
              </a:solidFill>
            </a:endParaRPr>
          </a:p>
        </p:txBody>
      </p:sp>
      <p:graphicFrame>
        <p:nvGraphicFramePr>
          <p:cNvPr id="38" name="Chart Placeholder 9"/>
          <p:cNvGraphicFramePr>
            <a:graphicFrameLocks/>
          </p:cNvGraphicFramePr>
          <p:nvPr/>
        </p:nvGraphicFramePr>
        <p:xfrm>
          <a:off x="4951811" y="1268731"/>
          <a:ext cx="2464611" cy="3099203"/>
        </p:xfrm>
        <a:graphic>
          <a:graphicData uri="http://schemas.openxmlformats.org/drawingml/2006/chart">
            <c:chart xmlns:c="http://schemas.openxmlformats.org/drawingml/2006/chart" xmlns:r="http://schemas.openxmlformats.org/officeDocument/2006/relationships" r:id="rId3"/>
          </a:graphicData>
        </a:graphic>
      </p:graphicFrame>
      <p:sp>
        <p:nvSpPr>
          <p:cNvPr id="41" name="TextBox 40"/>
          <p:cNvSpPr txBox="1"/>
          <p:nvPr/>
        </p:nvSpPr>
        <p:spPr>
          <a:xfrm>
            <a:off x="4838143" y="1131570"/>
            <a:ext cx="2826542" cy="115416"/>
          </a:xfrm>
          <a:prstGeom prst="rect">
            <a:avLst/>
          </a:prstGeom>
          <a:noFill/>
        </p:spPr>
        <p:txBody>
          <a:bodyPr wrap="square" lIns="0" tIns="0" rIns="0" bIns="0" rtlCol="0">
            <a:spAutoFit/>
          </a:bodyPr>
          <a:lstStyle/>
          <a:p>
            <a:pPr defTabSz="685800">
              <a:buClrTx/>
              <a:defRPr/>
            </a:pPr>
            <a:r>
              <a:rPr lang="en-GB" sz="750" b="1" dirty="0">
                <a:solidFill>
                  <a:srgbClr val="313131"/>
                </a:solidFill>
                <a:ea typeface="+mn-ea"/>
                <a:cs typeface="+mn-cs"/>
              </a:rPr>
              <a:t>Chart title runs here</a:t>
            </a:r>
          </a:p>
        </p:txBody>
      </p:sp>
      <p:sp>
        <p:nvSpPr>
          <p:cNvPr id="10" name="Text Placeholder 3"/>
          <p:cNvSpPr txBox="1">
            <a:spLocks/>
          </p:cNvSpPr>
          <p:nvPr/>
        </p:nvSpPr>
        <p:spPr>
          <a:xfrm>
            <a:off x="1421100" y="1358100"/>
            <a:ext cx="3105000" cy="34020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5979" indent="-205979" defTabSz="685800">
              <a:spcBef>
                <a:spcPts val="900"/>
              </a:spcBef>
              <a:buClrTx/>
              <a:defRPr/>
            </a:pPr>
            <a:r>
              <a:rPr lang="en-GB" sz="1350" dirty="0">
                <a:solidFill>
                  <a:srgbClr val="313131"/>
                </a:solidFill>
                <a:latin typeface="Arial"/>
              </a:rPr>
              <a:t>This is a level one bullet this is dummy text it is not here to be read</a:t>
            </a:r>
          </a:p>
          <a:p>
            <a:pPr marL="205979" indent="-205979" defTabSz="685800">
              <a:spcBef>
                <a:spcPts val="900"/>
              </a:spcBef>
              <a:buClrTx/>
              <a:defRPr/>
            </a:pPr>
            <a:r>
              <a:rPr lang="en-GB" sz="1350" dirty="0">
                <a:solidFill>
                  <a:srgbClr val="313131"/>
                </a:solidFill>
                <a:latin typeface="Arial"/>
              </a:rPr>
              <a:t>This is a level one bullet this is dummy text it is not here to be read</a:t>
            </a:r>
          </a:p>
          <a:p>
            <a:pPr marL="205979" indent="-205979" defTabSz="685800">
              <a:spcBef>
                <a:spcPts val="900"/>
              </a:spcBef>
              <a:buClrTx/>
              <a:defRPr/>
            </a:pPr>
            <a:r>
              <a:rPr lang="en-GB" sz="1350" dirty="0">
                <a:solidFill>
                  <a:srgbClr val="313131"/>
                </a:solidFill>
                <a:latin typeface="Arial"/>
              </a:rPr>
              <a:t>This is a level one bullet this is dummy text it is not here to be read</a:t>
            </a:r>
          </a:p>
          <a:p>
            <a:pPr marL="404622" lvl="1" indent="-198882" defTabSz="685800">
              <a:spcBef>
                <a:spcPts val="900"/>
              </a:spcBef>
              <a:buClrTx/>
              <a:defRPr/>
            </a:pPr>
            <a:r>
              <a:rPr lang="en-GB" sz="1350" dirty="0">
                <a:solidFill>
                  <a:srgbClr val="313131"/>
                </a:solidFill>
                <a:latin typeface="Arial"/>
              </a:rPr>
              <a:t>This is a level two bullet</a:t>
            </a:r>
          </a:p>
          <a:p>
            <a:pPr marL="404622" lvl="1" indent="-198882" defTabSz="685800">
              <a:spcBef>
                <a:spcPts val="900"/>
              </a:spcBef>
              <a:buClrTx/>
              <a:defRPr/>
            </a:pPr>
            <a:r>
              <a:rPr lang="en-GB" sz="1350" dirty="0">
                <a:solidFill>
                  <a:srgbClr val="313131"/>
                </a:solidFill>
                <a:latin typeface="Arial"/>
              </a:rPr>
              <a:t>This is a level two bullet</a:t>
            </a:r>
          </a:p>
          <a:p>
            <a:pPr marL="404622" lvl="1" indent="-198882" defTabSz="685800">
              <a:spcBef>
                <a:spcPts val="900"/>
              </a:spcBef>
              <a:buClrTx/>
              <a:defRPr/>
            </a:pPr>
            <a:r>
              <a:rPr lang="en-GB" sz="1350" dirty="0">
                <a:solidFill>
                  <a:srgbClr val="313131"/>
                </a:solidFill>
                <a:latin typeface="Arial"/>
              </a:rPr>
              <a:t>This is a level two bullet</a:t>
            </a:r>
          </a:p>
          <a:p>
            <a:pPr marL="205979" indent="-205979" defTabSz="685800">
              <a:spcBef>
                <a:spcPts val="900"/>
              </a:spcBef>
              <a:buClrTx/>
              <a:defRPr/>
            </a:pPr>
            <a:endParaRPr lang="en-GB" sz="1350" dirty="0">
              <a:solidFill>
                <a:srgbClr val="313131"/>
              </a:solidFill>
              <a:latin typeface="Arial"/>
            </a:endParaRPr>
          </a:p>
        </p:txBody>
      </p:sp>
      <p:sp>
        <p:nvSpPr>
          <p:cNvPr id="8"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extLst>
      <p:ext uri="{BB962C8B-B14F-4D97-AF65-F5344CB8AC3E}">
        <p14:creationId xmlns:p14="http://schemas.microsoft.com/office/powerpoint/2010/main" val="298334599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BCA35516-324E-87FA-45AC-A0268B4BB04B}"/>
              </a:ext>
            </a:extLst>
          </p:cNvPr>
          <p:cNvSpPr txBox="1">
            <a:spLocks/>
          </p:cNvSpPr>
          <p:nvPr>
            <p:custDataLst>
              <p:tags r:id="rId1"/>
            </p:custDataLst>
          </p:nvPr>
        </p:nvSpPr>
        <p:spPr>
          <a:xfrm>
            <a:off x="324333" y="1009922"/>
            <a:ext cx="4485267" cy="369298"/>
          </a:xfrm>
          <a:prstGeom prst="rect">
            <a:avLst/>
          </a:prstGeom>
          <a:noFill/>
          <a:ln>
            <a:noFill/>
          </a:ln>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200" b="1" dirty="0">
                <a:solidFill>
                  <a:srgbClr val="575757"/>
                </a:solidFill>
              </a:rPr>
              <a:t>Key argument 1</a:t>
            </a:r>
          </a:p>
        </p:txBody>
      </p:sp>
      <p:cxnSp>
        <p:nvCxnSpPr>
          <p:cNvPr id="10" name="Straight Connector 9">
            <a:extLst>
              <a:ext uri="{FF2B5EF4-FFF2-40B4-BE49-F238E27FC236}">
                <a16:creationId xmlns:a16="http://schemas.microsoft.com/office/drawing/2014/main" id="{CEA3FCA5-0CDF-C1BE-9FAB-CCF9F5AB17E5}"/>
              </a:ext>
            </a:extLst>
          </p:cNvPr>
          <p:cNvCxnSpPr>
            <a:cxnSpLocks/>
          </p:cNvCxnSpPr>
          <p:nvPr/>
        </p:nvCxnSpPr>
        <p:spPr>
          <a:xfrm>
            <a:off x="237600" y="1426800"/>
            <a:ext cx="43725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73B6108E-B53C-DC09-C2AE-4465CACDECA9}"/>
              </a:ext>
            </a:extLst>
          </p:cNvPr>
          <p:cNvSpPr txBox="1">
            <a:spLocks/>
          </p:cNvSpPr>
          <p:nvPr>
            <p:custDataLst>
              <p:tags r:id="rId2"/>
            </p:custDataLst>
          </p:nvPr>
        </p:nvSpPr>
        <p:spPr>
          <a:xfrm>
            <a:off x="289113" y="1550282"/>
            <a:ext cx="4485267" cy="169678"/>
          </a:xfrm>
          <a:prstGeom prst="rect">
            <a:avLst/>
          </a:prstGeom>
          <a:noFill/>
          <a:ln>
            <a:noFill/>
          </a:ln>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800" kern="1200" dirty="0">
                <a:solidFill>
                  <a:srgbClr val="313131"/>
                </a:solidFill>
                <a:latin typeface="+mn-lt"/>
                <a:ea typeface="+mj-ea"/>
                <a:cs typeface="+mj-cs"/>
              </a:rPr>
              <a:t>Chart Details</a:t>
            </a:r>
            <a:endParaRPr lang="en-US" sz="900" dirty="0">
              <a:solidFill>
                <a:srgbClr val="575757"/>
              </a:solidFill>
            </a:endParaRPr>
          </a:p>
        </p:txBody>
      </p:sp>
      <p:sp>
        <p:nvSpPr>
          <p:cNvPr id="20" name="Title 1">
            <a:extLst>
              <a:ext uri="{FF2B5EF4-FFF2-40B4-BE49-F238E27FC236}">
                <a16:creationId xmlns:a16="http://schemas.microsoft.com/office/drawing/2014/main" id="{F92ACBD4-7422-058A-DA82-42A887CBFEB8}"/>
              </a:ext>
            </a:extLst>
          </p:cNvPr>
          <p:cNvSpPr txBox="1">
            <a:spLocks/>
          </p:cNvSpPr>
          <p:nvPr>
            <p:custDataLst>
              <p:tags r:id="rId3"/>
            </p:custDataLst>
          </p:nvPr>
        </p:nvSpPr>
        <p:spPr>
          <a:xfrm>
            <a:off x="4942053" y="1009922"/>
            <a:ext cx="3874287" cy="369298"/>
          </a:xfrm>
          <a:prstGeom prst="rect">
            <a:avLst/>
          </a:prstGeom>
          <a:noFill/>
          <a:ln>
            <a:noFill/>
          </a:ln>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200" b="1" dirty="0">
                <a:solidFill>
                  <a:srgbClr val="575757"/>
                </a:solidFill>
              </a:rPr>
              <a:t>Key argument 2</a:t>
            </a:r>
          </a:p>
        </p:txBody>
      </p:sp>
      <p:cxnSp>
        <p:nvCxnSpPr>
          <p:cNvPr id="21" name="Straight Connector 20">
            <a:extLst>
              <a:ext uri="{FF2B5EF4-FFF2-40B4-BE49-F238E27FC236}">
                <a16:creationId xmlns:a16="http://schemas.microsoft.com/office/drawing/2014/main" id="{607B13EC-8FD9-E3F8-771C-63EAA9A1C5B7}"/>
              </a:ext>
            </a:extLst>
          </p:cNvPr>
          <p:cNvCxnSpPr>
            <a:cxnSpLocks/>
          </p:cNvCxnSpPr>
          <p:nvPr/>
        </p:nvCxnSpPr>
        <p:spPr>
          <a:xfrm>
            <a:off x="4862940" y="1426800"/>
            <a:ext cx="415152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5" name="Text Placeholder 5">
            <a:extLst>
              <a:ext uri="{FF2B5EF4-FFF2-40B4-BE49-F238E27FC236}">
                <a16:creationId xmlns:a16="http://schemas.microsoft.com/office/drawing/2014/main" id="{2251FC32-EE15-8D10-2A5E-E752C31E0DF0}"/>
              </a:ext>
            </a:extLst>
          </p:cNvPr>
          <p:cNvSpPr txBox="1">
            <a:spLocks/>
          </p:cNvSpPr>
          <p:nvPr/>
        </p:nvSpPr>
        <p:spPr>
          <a:xfrm>
            <a:off x="4888945" y="1615016"/>
            <a:ext cx="4045505" cy="3261784"/>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l"/>
            <a:r>
              <a:rPr lang="en-US" sz="1000" b="1" dirty="0">
                <a:solidFill>
                  <a:srgbClr val="313131"/>
                </a:solidFill>
                <a:ea typeface="+mj-ea"/>
                <a:cs typeface="+mj-cs"/>
              </a:rPr>
              <a:t>Supporting details 1</a:t>
            </a:r>
          </a:p>
          <a:p>
            <a:pPr marL="171450" indent="-171450" algn="l">
              <a:buFont typeface="Arial" panose="020B0604020202020204" pitchFamily="34" charset="0"/>
              <a:buChar char="•"/>
            </a:pPr>
            <a:r>
              <a:rPr lang="en-US" sz="1000" dirty="0">
                <a:solidFill>
                  <a:srgbClr val="313131"/>
                </a:solidFill>
                <a:ea typeface="+mj-ea"/>
                <a:cs typeface="+mj-cs"/>
              </a:rPr>
              <a:t>Taking it one level deeper and break each of the title out further with additional bullet points</a:t>
            </a:r>
          </a:p>
          <a:p>
            <a:pPr marL="171450" indent="-171450" algn="l">
              <a:buFont typeface="Arial" panose="020B0604020202020204" pitchFamily="34" charset="0"/>
              <a:buChar char="•"/>
            </a:pPr>
            <a:r>
              <a:rPr lang="en-US" sz="1000" dirty="0">
                <a:solidFill>
                  <a:srgbClr val="313131"/>
                </a:solidFill>
                <a:ea typeface="+mj-ea"/>
                <a:cs typeface="+mj-cs"/>
              </a:rPr>
              <a:t>The bullet points serve as supporting points that provide support for the key arguments, which (wait for it) provide support for the main idea.</a:t>
            </a:r>
          </a:p>
          <a:p>
            <a:pPr algn="l"/>
            <a:r>
              <a:rPr lang="en-US" sz="1000" b="1" dirty="0">
                <a:solidFill>
                  <a:srgbClr val="313131"/>
                </a:solidFill>
                <a:ea typeface="+mj-ea"/>
                <a:cs typeface="+mj-cs"/>
              </a:rPr>
              <a:t>Supporting details 2</a:t>
            </a:r>
          </a:p>
          <a:p>
            <a:pPr marL="171450" indent="-171450" algn="l">
              <a:buFont typeface="Arial" panose="020B0604020202020204" pitchFamily="34" charset="0"/>
              <a:buChar char="•"/>
            </a:pPr>
            <a:r>
              <a:rPr lang="en-US" sz="1000" dirty="0">
                <a:solidFill>
                  <a:srgbClr val="313131"/>
                </a:solidFill>
                <a:ea typeface="+mj-ea"/>
                <a:cs typeface="+mj-cs"/>
              </a:rPr>
              <a:t>Taking it one level deeper and break each of the title out further with additional bullet points</a:t>
            </a:r>
          </a:p>
          <a:p>
            <a:pPr marL="171450" indent="-171450" algn="l">
              <a:buFont typeface="Arial" panose="020B0604020202020204" pitchFamily="34" charset="0"/>
              <a:buChar char="•"/>
            </a:pPr>
            <a:r>
              <a:rPr lang="en-US" sz="1000" dirty="0">
                <a:solidFill>
                  <a:srgbClr val="313131"/>
                </a:solidFill>
                <a:ea typeface="+mj-ea"/>
                <a:cs typeface="+mj-cs"/>
              </a:rPr>
              <a:t>The bullet points serve as supporting points that provide support for the key arguments, which (wait for it) provide support for the main idea.</a:t>
            </a:r>
          </a:p>
          <a:p>
            <a:pPr algn="l"/>
            <a:r>
              <a:rPr lang="en-US" sz="1000" b="1" dirty="0">
                <a:solidFill>
                  <a:srgbClr val="313131"/>
                </a:solidFill>
                <a:ea typeface="+mj-ea"/>
                <a:cs typeface="+mj-cs"/>
              </a:rPr>
              <a:t>Supporting details 3</a:t>
            </a:r>
          </a:p>
          <a:p>
            <a:pPr marL="171450" indent="-171450" algn="l">
              <a:buFont typeface="Arial" panose="020B0604020202020204" pitchFamily="34" charset="0"/>
              <a:buChar char="•"/>
            </a:pPr>
            <a:r>
              <a:rPr lang="en-US" sz="1000" dirty="0">
                <a:solidFill>
                  <a:srgbClr val="313131"/>
                </a:solidFill>
                <a:ea typeface="+mj-ea"/>
                <a:cs typeface="+mj-cs"/>
              </a:rPr>
              <a:t>Taking it one level deeper and break each of the title out further with additional bullet points</a:t>
            </a:r>
          </a:p>
          <a:p>
            <a:pPr marL="171450" indent="-171450" algn="l">
              <a:buFont typeface="Arial" panose="020B0604020202020204" pitchFamily="34" charset="0"/>
              <a:buChar char="•"/>
            </a:pPr>
            <a:r>
              <a:rPr lang="en-US" sz="1000" dirty="0">
                <a:solidFill>
                  <a:srgbClr val="313131"/>
                </a:solidFill>
                <a:ea typeface="+mj-ea"/>
                <a:cs typeface="+mj-cs"/>
              </a:rPr>
              <a:t>The bullet points serve as supporting points that provide support for the key arguments, which (wait for it) provide support for the main idea.</a:t>
            </a:r>
          </a:p>
          <a:p>
            <a:pPr marL="171450" indent="-171450" algn="l">
              <a:buFont typeface="Arial" panose="020B0604020202020204" pitchFamily="34" charset="0"/>
              <a:buChar char="•"/>
            </a:pPr>
            <a:endParaRPr lang="en-US" sz="1000" dirty="0">
              <a:solidFill>
                <a:srgbClr val="313131"/>
              </a:solidFill>
              <a:ea typeface="+mj-ea"/>
              <a:cs typeface="+mj-cs"/>
            </a:endParaRPr>
          </a:p>
          <a:p>
            <a:pPr marL="171450" indent="-171450" algn="l">
              <a:buFont typeface="Arial" panose="020B0604020202020204" pitchFamily="34" charset="0"/>
              <a:buChar char="•"/>
            </a:pPr>
            <a:endParaRPr lang="en-US" sz="1000" dirty="0">
              <a:solidFill>
                <a:srgbClr val="313131"/>
              </a:solidFill>
              <a:ea typeface="+mj-ea"/>
              <a:cs typeface="+mj-cs"/>
            </a:endParaRPr>
          </a:p>
        </p:txBody>
      </p:sp>
      <p:graphicFrame>
        <p:nvGraphicFramePr>
          <p:cNvPr id="3" name="Chart 2">
            <a:extLst>
              <a:ext uri="{FF2B5EF4-FFF2-40B4-BE49-F238E27FC236}">
                <a16:creationId xmlns:a16="http://schemas.microsoft.com/office/drawing/2014/main" id="{A0AFDAFA-456E-7FE5-F3D7-2318DE6499D0}"/>
              </a:ext>
            </a:extLst>
          </p:cNvPr>
          <p:cNvGraphicFramePr/>
          <p:nvPr>
            <p:extLst>
              <p:ext uri="{D42A27DB-BD31-4B8C-83A1-F6EECF244321}">
                <p14:modId xmlns:p14="http://schemas.microsoft.com/office/powerpoint/2010/main" val="2375315288"/>
              </p:ext>
            </p:extLst>
          </p:nvPr>
        </p:nvGraphicFramePr>
        <p:xfrm>
          <a:off x="533844" y="1691641"/>
          <a:ext cx="3677229" cy="3128010"/>
        </p:xfrm>
        <a:graphic>
          <a:graphicData uri="http://schemas.openxmlformats.org/drawingml/2006/chart">
            <c:chart xmlns:c="http://schemas.openxmlformats.org/drawingml/2006/chart" xmlns:r="http://schemas.openxmlformats.org/officeDocument/2006/relationships" r:id="rId8"/>
          </a:graphicData>
        </a:graphic>
      </p:graphicFrame>
      <p:sp>
        <p:nvSpPr>
          <p:cNvPr id="4" name="Text Placeholder 12">
            <a:extLst>
              <a:ext uri="{FF2B5EF4-FFF2-40B4-BE49-F238E27FC236}">
                <a16:creationId xmlns:a16="http://schemas.microsoft.com/office/drawing/2014/main" id="{EC4565F5-B408-1EDE-E209-66DCD9334E2E}"/>
              </a:ext>
            </a:extLst>
          </p:cNvPr>
          <p:cNvSpPr>
            <a:spLocks/>
          </p:cNvSpPr>
          <p:nvPr>
            <p:custDataLst>
              <p:tags r:id="rId4"/>
            </p:custDataLst>
          </p:nvPr>
        </p:nvSpPr>
        <p:spPr bwMode="auto">
          <a:xfrm>
            <a:off x="2087178" y="4861560"/>
            <a:ext cx="532197"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a:solidFill>
                  <a:srgbClr val="313131"/>
                </a:solidFill>
              </a:rPr>
              <a:t>Axis title</a:t>
            </a:r>
          </a:p>
        </p:txBody>
      </p:sp>
      <p:sp>
        <p:nvSpPr>
          <p:cNvPr id="6" name="Text Placeholder 12">
            <a:extLst>
              <a:ext uri="{FF2B5EF4-FFF2-40B4-BE49-F238E27FC236}">
                <a16:creationId xmlns:a16="http://schemas.microsoft.com/office/drawing/2014/main" id="{DC3508DA-ED9E-CAED-A7D6-23DD433387A7}"/>
              </a:ext>
            </a:extLst>
          </p:cNvPr>
          <p:cNvSpPr>
            <a:spLocks/>
          </p:cNvSpPr>
          <p:nvPr>
            <p:custDataLst>
              <p:tags r:id="rId5"/>
            </p:custDataLst>
          </p:nvPr>
        </p:nvSpPr>
        <p:spPr bwMode="auto">
          <a:xfrm rot="16200000">
            <a:off x="58496" y="3000375"/>
            <a:ext cx="532197"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a:solidFill>
                  <a:srgbClr val="313131"/>
                </a:solidFill>
              </a:rPr>
              <a:t>Axis title</a:t>
            </a:r>
          </a:p>
        </p:txBody>
      </p:sp>
      <p:sp>
        <p:nvSpPr>
          <p:cNvPr id="12" name="Title 1">
            <a:extLst>
              <a:ext uri="{FF2B5EF4-FFF2-40B4-BE49-F238E27FC236}">
                <a16:creationId xmlns:a16="http://schemas.microsoft.com/office/drawing/2014/main" id="{A5A8761C-A0FA-0225-2F92-12E83F37EC9B}"/>
              </a:ext>
            </a:extLst>
          </p:cNvPr>
          <p:cNvSpPr>
            <a:spLocks noGrp="1"/>
          </p:cNvSpPr>
          <p:nvPr>
            <p:ph type="title"/>
            <p:custDataLst>
              <p:tags r:id="rId6"/>
            </p:custDataLst>
          </p:nvPr>
        </p:nvSpPr>
        <p:spPr>
          <a:xfrm>
            <a:off x="205123" y="78049"/>
            <a:ext cx="8388000" cy="546478"/>
          </a:xfrm>
        </p:spPr>
        <p:txBody>
          <a:bodyPr/>
          <a:lstStyle/>
          <a:p>
            <a:pPr>
              <a:lnSpc>
                <a:spcPct val="100000"/>
              </a:lnSpc>
            </a:pPr>
            <a:r>
              <a:rPr lang="en-US" sz="1000" b="1" dirty="0">
                <a:solidFill>
                  <a:schemeClr val="bg1">
                    <a:lumMod val="65000"/>
                  </a:schemeClr>
                </a:solidFill>
              </a:rPr>
              <a:t>Recommendation #3</a:t>
            </a:r>
            <a:br>
              <a:rPr lang="en-US" sz="1800" dirty="0">
                <a:solidFill>
                  <a:srgbClr val="81BC00"/>
                </a:solidFill>
              </a:rPr>
            </a:br>
            <a:r>
              <a:rPr lang="en-US" sz="1800" b="1" dirty="0">
                <a:solidFill>
                  <a:srgbClr val="002776"/>
                </a:solidFill>
              </a:rPr>
              <a:t>Apartment building has the best ROI</a:t>
            </a:r>
          </a:p>
        </p:txBody>
      </p:sp>
      <p:cxnSp>
        <p:nvCxnSpPr>
          <p:cNvPr id="14" name="Straight Connector 13">
            <a:extLst>
              <a:ext uri="{FF2B5EF4-FFF2-40B4-BE49-F238E27FC236}">
                <a16:creationId xmlns:a16="http://schemas.microsoft.com/office/drawing/2014/main" id="{8088F319-D49C-664C-9D4D-DE491EF0DC17}"/>
              </a:ext>
            </a:extLst>
          </p:cNvPr>
          <p:cNvCxnSpPr>
            <a:cxnSpLocks/>
          </p:cNvCxnSpPr>
          <p:nvPr/>
        </p:nvCxnSpPr>
        <p:spPr>
          <a:xfrm>
            <a:off x="0" y="608512"/>
            <a:ext cx="9144000" cy="0"/>
          </a:xfrm>
          <a:prstGeom prst="line">
            <a:avLst/>
          </a:prstGeom>
          <a:ln w="76200">
            <a:solidFill>
              <a:srgbClr val="00277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4505060"/>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143000" y="0"/>
          <a:ext cx="119063" cy="119063"/>
        </p:xfrm>
        <a:graphic>
          <a:graphicData uri="http://schemas.openxmlformats.org/presentationml/2006/ole">
            <mc:AlternateContent xmlns:mc="http://schemas.openxmlformats.org/markup-compatibility/2006">
              <mc:Choice xmlns:v="urn:schemas-microsoft-com:vml" Requires="v">
                <p:oleObj name="think-cell Slide" r:id="rId10" imgW="360" imgH="360" progId="">
                  <p:embed/>
                </p:oleObj>
              </mc:Choice>
              <mc:Fallback>
                <p:oleObj name="think-cell Slide" r:id="rId10" imgW="360" imgH="360" progId="">
                  <p:embed/>
                  <p:pic>
                    <p:nvPicPr>
                      <p:cNvPr id="3" name="Object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43000" y="0"/>
                        <a:ext cx="119063"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itle 11"/>
          <p:cNvSpPr>
            <a:spLocks noGrp="1"/>
          </p:cNvSpPr>
          <p:nvPr>
            <p:ph type="title"/>
            <p:custDataLst>
              <p:tags r:id="rId2"/>
            </p:custDataLst>
          </p:nvPr>
        </p:nvSpPr>
        <p:spPr/>
        <p:txBody>
          <a:bodyPr/>
          <a:lstStyle/>
          <a:p>
            <a:r>
              <a:rPr lang="en-US" altLang="ja-JP" dirty="0">
                <a:solidFill>
                  <a:srgbClr val="81BC00"/>
                </a:solidFill>
              </a:rPr>
              <a:t>Column charts  </a:t>
            </a:r>
            <a:br>
              <a:rPr lang="en-US" altLang="ja-JP" dirty="0">
                <a:solidFill>
                  <a:srgbClr val="575757"/>
                </a:solidFill>
              </a:rPr>
            </a:br>
            <a:r>
              <a:rPr lang="en-US" altLang="ja-JP" dirty="0">
                <a:solidFill>
                  <a:srgbClr val="575757"/>
                </a:solidFill>
              </a:rPr>
              <a:t>F</a:t>
            </a:r>
            <a:r>
              <a:rPr lang="en-US" altLang="de-DE" dirty="0">
                <a:solidFill>
                  <a:srgbClr val="575757"/>
                </a:solidFill>
              </a:rPr>
              <a:t>our on a page</a:t>
            </a:r>
            <a:endParaRPr lang="en-US" dirty="0">
              <a:solidFill>
                <a:srgbClr val="575757"/>
              </a:solidFill>
            </a:endParaRPr>
          </a:p>
        </p:txBody>
      </p:sp>
      <p:sp>
        <p:nvSpPr>
          <p:cNvPr id="18" name="Text Placeholder 12"/>
          <p:cNvSpPr>
            <a:spLocks/>
          </p:cNvSpPr>
          <p:nvPr>
            <p:custDataLst>
              <p:tags r:id="rId3"/>
            </p:custDataLst>
          </p:nvPr>
        </p:nvSpPr>
        <p:spPr bwMode="auto">
          <a:xfrm>
            <a:off x="1621631" y="1023938"/>
            <a:ext cx="929742"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p:txBody>
      </p:sp>
      <p:sp>
        <p:nvSpPr>
          <p:cNvPr id="19" name="Text Placeholder 12"/>
          <p:cNvSpPr>
            <a:spLocks/>
          </p:cNvSpPr>
          <p:nvPr>
            <p:custDataLst>
              <p:tags r:id="rId4"/>
            </p:custDataLst>
          </p:nvPr>
        </p:nvSpPr>
        <p:spPr bwMode="auto">
          <a:xfrm>
            <a:off x="4887516" y="1023938"/>
            <a:ext cx="929742"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p:txBody>
      </p:sp>
      <p:sp>
        <p:nvSpPr>
          <p:cNvPr id="29" name="Rectangle 15"/>
          <p:cNvSpPr>
            <a:spLocks noChangeArrowheads="1"/>
          </p:cNvSpPr>
          <p:nvPr>
            <p:custDataLst>
              <p:tags r:id="rId5"/>
            </p:custDataLst>
          </p:nvPr>
        </p:nvSpPr>
        <p:spPr bwMode="gray">
          <a:xfrm>
            <a:off x="1438275" y="2897036"/>
            <a:ext cx="1216680" cy="113685"/>
          </a:xfrm>
          <a:prstGeom prst="rect">
            <a:avLst/>
          </a:prstGeom>
          <a:noFill/>
          <a:ln w="9525" algn="ctr">
            <a:noFill/>
            <a:miter lim="800000"/>
            <a:headEnd/>
            <a:tailEnd/>
          </a:ln>
        </p:spPr>
        <p:txBody>
          <a:bodyPr wrap="none" lIns="0" tIns="0" rIns="0" bIns="0">
            <a:spAutoFit/>
          </a:bodyPr>
          <a:lstStyle/>
          <a:p>
            <a:pPr marL="133350" indent="-133350" defTabSz="685800">
              <a:lnSpc>
                <a:spcPct val="106000"/>
              </a:lnSpc>
              <a:buClr>
                <a:prstClr val="black"/>
              </a:buClr>
            </a:pPr>
            <a:r>
              <a:rPr lang="en-US" sz="750" kern="1200" dirty="0">
                <a:solidFill>
                  <a:srgbClr val="313131"/>
                </a:solidFill>
                <a:ea typeface="+mn-ea"/>
                <a:cs typeface="+mn-cs"/>
              </a:rPr>
              <a:t>Unit or additional information</a:t>
            </a:r>
          </a:p>
        </p:txBody>
      </p:sp>
      <p:sp>
        <p:nvSpPr>
          <p:cNvPr id="30" name="Rectangle 15"/>
          <p:cNvSpPr>
            <a:spLocks noChangeArrowheads="1"/>
          </p:cNvSpPr>
          <p:nvPr>
            <p:custDataLst>
              <p:tags r:id="rId6"/>
            </p:custDataLst>
          </p:nvPr>
        </p:nvSpPr>
        <p:spPr bwMode="gray">
          <a:xfrm>
            <a:off x="4706541" y="2897036"/>
            <a:ext cx="1216680" cy="113685"/>
          </a:xfrm>
          <a:prstGeom prst="rect">
            <a:avLst/>
          </a:prstGeom>
          <a:noFill/>
          <a:ln w="9525" algn="ctr">
            <a:noFill/>
            <a:miter lim="800000"/>
            <a:headEnd/>
            <a:tailEnd/>
          </a:ln>
        </p:spPr>
        <p:txBody>
          <a:bodyPr wrap="none" lIns="0" tIns="0" rIns="0" bIns="0">
            <a:spAutoFit/>
          </a:bodyPr>
          <a:lstStyle/>
          <a:p>
            <a:pPr marL="133350" indent="-133350" defTabSz="685800">
              <a:lnSpc>
                <a:spcPct val="106000"/>
              </a:lnSpc>
              <a:buClr>
                <a:prstClr val="black"/>
              </a:buClr>
            </a:pPr>
            <a:r>
              <a:rPr lang="en-US" sz="750" kern="1200" dirty="0">
                <a:solidFill>
                  <a:srgbClr val="313131"/>
                </a:solidFill>
                <a:ea typeface="+mn-ea"/>
                <a:cs typeface="+mn-cs"/>
              </a:rPr>
              <a:t>Unit or additional information</a:t>
            </a:r>
          </a:p>
        </p:txBody>
      </p:sp>
      <p:graphicFrame>
        <p:nvGraphicFramePr>
          <p:cNvPr id="26" name="Chart 25"/>
          <p:cNvGraphicFramePr/>
          <p:nvPr/>
        </p:nvGraphicFramePr>
        <p:xfrm>
          <a:off x="4567238" y="1200150"/>
          <a:ext cx="2965847" cy="14310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5" name="Chart 34"/>
          <p:cNvGraphicFramePr/>
          <p:nvPr/>
        </p:nvGraphicFramePr>
        <p:xfrm>
          <a:off x="1370318" y="3065812"/>
          <a:ext cx="2965847" cy="14310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36" name="Chart 35"/>
          <p:cNvGraphicFramePr/>
          <p:nvPr/>
        </p:nvGraphicFramePr>
        <p:xfrm>
          <a:off x="4567238" y="3065812"/>
          <a:ext cx="2965847" cy="14310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37" name="Chart 36"/>
          <p:cNvGraphicFramePr/>
          <p:nvPr>
            <p:custDataLst>
              <p:tags r:id="rId7"/>
            </p:custDataLst>
          </p:nvPr>
        </p:nvGraphicFramePr>
        <p:xfrm>
          <a:off x="1371600" y="1200150"/>
          <a:ext cx="2965847" cy="1431000"/>
        </p:xfrm>
        <a:graphic>
          <a:graphicData uri="http://schemas.openxmlformats.org/drawingml/2006/chart">
            <c:chart xmlns:c="http://schemas.openxmlformats.org/drawingml/2006/chart" xmlns:r="http://schemas.openxmlformats.org/officeDocument/2006/relationships" r:id="rId15"/>
          </a:graphicData>
        </a:graphic>
      </p:graphicFrame>
      <p:sp>
        <p:nvSpPr>
          <p:cNvPr id="5" name="TextBox 4"/>
          <p:cNvSpPr txBox="1"/>
          <p:nvPr/>
        </p:nvSpPr>
        <p:spPr>
          <a:xfrm>
            <a:off x="6019578" y="2637187"/>
            <a:ext cx="514350" cy="169944"/>
          </a:xfrm>
          <a:prstGeom prst="rect">
            <a:avLst/>
          </a:prstGeom>
          <a:noFill/>
        </p:spPr>
        <p:txBody>
          <a:bodyPr wrap="square" lIns="27000" tIns="27000" rIns="27000" bIns="27000" rtlCol="0">
            <a:spAutoFit/>
          </a:bodyPr>
          <a:lstStyle/>
          <a:p>
            <a:pPr defTabSz="685800">
              <a:buClrTx/>
            </a:pPr>
            <a:r>
              <a:rPr lang="en-US" sz="750" b="1" kern="1200" dirty="0">
                <a:solidFill>
                  <a:srgbClr val="313131"/>
                </a:solidFill>
                <a:ea typeface="+mn-ea"/>
                <a:cs typeface="+mn-cs"/>
              </a:rPr>
              <a:t>Axis title</a:t>
            </a:r>
          </a:p>
        </p:txBody>
      </p:sp>
      <p:sp>
        <p:nvSpPr>
          <p:cNvPr id="15" name="TextBox 14"/>
          <p:cNvSpPr txBox="1"/>
          <p:nvPr/>
        </p:nvSpPr>
        <p:spPr>
          <a:xfrm>
            <a:off x="2825215" y="2637187"/>
            <a:ext cx="514350" cy="169944"/>
          </a:xfrm>
          <a:prstGeom prst="rect">
            <a:avLst/>
          </a:prstGeom>
          <a:noFill/>
        </p:spPr>
        <p:txBody>
          <a:bodyPr wrap="square" lIns="27000" tIns="27000" rIns="27000" bIns="27000" rtlCol="0">
            <a:spAutoFit/>
          </a:bodyPr>
          <a:lstStyle/>
          <a:p>
            <a:pPr defTabSz="685800">
              <a:buClrTx/>
            </a:pPr>
            <a:r>
              <a:rPr lang="en-US" sz="750" b="1" kern="1200" dirty="0">
                <a:solidFill>
                  <a:srgbClr val="313131"/>
                </a:solidFill>
                <a:ea typeface="+mn-ea"/>
                <a:cs typeface="+mn-cs"/>
              </a:rPr>
              <a:t>Axis title</a:t>
            </a:r>
          </a:p>
        </p:txBody>
      </p:sp>
      <p:sp>
        <p:nvSpPr>
          <p:cNvPr id="16" name="TextBox 15"/>
          <p:cNvSpPr txBox="1"/>
          <p:nvPr/>
        </p:nvSpPr>
        <p:spPr>
          <a:xfrm>
            <a:off x="6019578" y="4507028"/>
            <a:ext cx="514350" cy="169944"/>
          </a:xfrm>
          <a:prstGeom prst="rect">
            <a:avLst/>
          </a:prstGeom>
          <a:noFill/>
        </p:spPr>
        <p:txBody>
          <a:bodyPr wrap="square" lIns="27000" tIns="27000" rIns="27000" bIns="27000" rtlCol="0">
            <a:spAutoFit/>
          </a:bodyPr>
          <a:lstStyle/>
          <a:p>
            <a:pPr defTabSz="685800">
              <a:buClrTx/>
            </a:pPr>
            <a:r>
              <a:rPr lang="en-US" sz="750" b="1" kern="1200" dirty="0">
                <a:solidFill>
                  <a:srgbClr val="313131"/>
                </a:solidFill>
                <a:ea typeface="+mn-ea"/>
                <a:cs typeface="+mn-cs"/>
              </a:rPr>
              <a:t>Axis title</a:t>
            </a:r>
          </a:p>
        </p:txBody>
      </p:sp>
      <p:sp>
        <p:nvSpPr>
          <p:cNvPr id="17" name="TextBox 16"/>
          <p:cNvSpPr txBox="1"/>
          <p:nvPr/>
        </p:nvSpPr>
        <p:spPr>
          <a:xfrm>
            <a:off x="2825215" y="4507028"/>
            <a:ext cx="514350" cy="169944"/>
          </a:xfrm>
          <a:prstGeom prst="rect">
            <a:avLst/>
          </a:prstGeom>
          <a:noFill/>
        </p:spPr>
        <p:txBody>
          <a:bodyPr wrap="square" lIns="27000" tIns="27000" rIns="27000" bIns="27000" rtlCol="0">
            <a:spAutoFit/>
          </a:bodyPr>
          <a:lstStyle/>
          <a:p>
            <a:pPr defTabSz="685800">
              <a:buClrTx/>
            </a:pPr>
            <a:r>
              <a:rPr lang="en-US" sz="750" b="1" kern="1200" dirty="0">
                <a:solidFill>
                  <a:srgbClr val="313131"/>
                </a:solidFill>
                <a:ea typeface="+mn-ea"/>
                <a:cs typeface="+mn-cs"/>
              </a:rPr>
              <a:t>Axis title</a:t>
            </a:r>
          </a:p>
        </p:txBody>
      </p:sp>
      <p:sp>
        <p:nvSpPr>
          <p:cNvPr id="20" name="TextBox 19"/>
          <p:cNvSpPr txBox="1"/>
          <p:nvPr/>
        </p:nvSpPr>
        <p:spPr>
          <a:xfrm rot="16200000">
            <a:off x="1181100" y="1719459"/>
            <a:ext cx="514350" cy="169944"/>
          </a:xfrm>
          <a:prstGeom prst="rect">
            <a:avLst/>
          </a:prstGeom>
          <a:noFill/>
        </p:spPr>
        <p:txBody>
          <a:bodyPr wrap="square" lIns="27000" tIns="27000" rIns="27000" bIns="27000" rtlCol="0">
            <a:spAutoFit/>
          </a:bodyPr>
          <a:lstStyle/>
          <a:p>
            <a:pPr defTabSz="685800">
              <a:buClrTx/>
            </a:pPr>
            <a:r>
              <a:rPr lang="en-US" sz="750" b="1" kern="1200" dirty="0">
                <a:solidFill>
                  <a:srgbClr val="313131"/>
                </a:solidFill>
                <a:ea typeface="+mn-ea"/>
                <a:cs typeface="+mn-cs"/>
              </a:rPr>
              <a:t>Axis title</a:t>
            </a:r>
          </a:p>
        </p:txBody>
      </p:sp>
      <p:sp>
        <p:nvSpPr>
          <p:cNvPr id="21" name="TextBox 20"/>
          <p:cNvSpPr txBox="1"/>
          <p:nvPr/>
        </p:nvSpPr>
        <p:spPr>
          <a:xfrm rot="16200000">
            <a:off x="4375922" y="1654141"/>
            <a:ext cx="514350" cy="169944"/>
          </a:xfrm>
          <a:prstGeom prst="rect">
            <a:avLst/>
          </a:prstGeom>
          <a:noFill/>
        </p:spPr>
        <p:txBody>
          <a:bodyPr wrap="square" lIns="27000" tIns="27000" rIns="27000" bIns="27000" rtlCol="0">
            <a:spAutoFit/>
          </a:bodyPr>
          <a:lstStyle/>
          <a:p>
            <a:pPr defTabSz="685800">
              <a:buClrTx/>
            </a:pPr>
            <a:r>
              <a:rPr lang="en-US" sz="750" b="1" kern="1200" dirty="0">
                <a:solidFill>
                  <a:srgbClr val="313131"/>
                </a:solidFill>
                <a:ea typeface="+mn-ea"/>
                <a:cs typeface="+mn-cs"/>
              </a:rPr>
              <a:t>Axis title</a:t>
            </a:r>
          </a:p>
        </p:txBody>
      </p:sp>
      <p:sp>
        <p:nvSpPr>
          <p:cNvPr id="22" name="TextBox 21"/>
          <p:cNvSpPr txBox="1"/>
          <p:nvPr/>
        </p:nvSpPr>
        <p:spPr>
          <a:xfrm rot="16200000">
            <a:off x="1180347" y="3486225"/>
            <a:ext cx="514350" cy="169944"/>
          </a:xfrm>
          <a:prstGeom prst="rect">
            <a:avLst/>
          </a:prstGeom>
          <a:noFill/>
        </p:spPr>
        <p:txBody>
          <a:bodyPr wrap="square" lIns="27000" tIns="27000" rIns="27000" bIns="27000" rtlCol="0">
            <a:spAutoFit/>
          </a:bodyPr>
          <a:lstStyle/>
          <a:p>
            <a:pPr defTabSz="685800">
              <a:buClrTx/>
            </a:pPr>
            <a:r>
              <a:rPr lang="en-US" sz="750" b="1" kern="1200" dirty="0">
                <a:solidFill>
                  <a:srgbClr val="313131"/>
                </a:solidFill>
                <a:ea typeface="+mn-ea"/>
                <a:cs typeface="+mn-cs"/>
              </a:rPr>
              <a:t>Axis title</a:t>
            </a:r>
          </a:p>
        </p:txBody>
      </p:sp>
      <p:sp>
        <p:nvSpPr>
          <p:cNvPr id="23" name="TextBox 22"/>
          <p:cNvSpPr txBox="1"/>
          <p:nvPr/>
        </p:nvSpPr>
        <p:spPr>
          <a:xfrm rot="16200000">
            <a:off x="4375922" y="3469896"/>
            <a:ext cx="514350" cy="169944"/>
          </a:xfrm>
          <a:prstGeom prst="rect">
            <a:avLst/>
          </a:prstGeom>
          <a:noFill/>
        </p:spPr>
        <p:txBody>
          <a:bodyPr wrap="square" lIns="27000" tIns="27000" rIns="27000" bIns="27000" rtlCol="0">
            <a:spAutoFit/>
          </a:bodyPr>
          <a:lstStyle/>
          <a:p>
            <a:pPr defTabSz="685800">
              <a:buClrTx/>
            </a:pPr>
            <a:r>
              <a:rPr lang="en-US" sz="750" b="1" kern="1200" dirty="0">
                <a:solidFill>
                  <a:srgbClr val="313131"/>
                </a:solidFill>
                <a:ea typeface="+mn-ea"/>
                <a:cs typeface="+mn-cs"/>
              </a:rPr>
              <a:t>Axis title</a:t>
            </a:r>
          </a:p>
        </p:txBody>
      </p:sp>
      <p:sp>
        <p:nvSpPr>
          <p:cNvPr id="24" name="Text Placeholder 11"/>
          <p:cNvSpPr txBox="1">
            <a:spLocks/>
          </p:cNvSpPr>
          <p:nvPr/>
        </p:nvSpPr>
        <p:spPr>
          <a:xfrm>
            <a:off x="1414529" y="4697730"/>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dirty="0">
                <a:solidFill>
                  <a:srgbClr val="81BC00"/>
                </a:solidFill>
              </a:rPr>
              <a:t>Column chart  </a:t>
            </a:r>
            <a:br>
              <a:rPr lang="en-US" altLang="ja-JP" dirty="0">
                <a:solidFill>
                  <a:srgbClr val="575757"/>
                </a:solidFill>
              </a:rPr>
            </a:br>
            <a:r>
              <a:rPr lang="en-US" altLang="ja-JP" dirty="0">
                <a:solidFill>
                  <a:srgbClr val="575757"/>
                </a:solidFill>
              </a:rPr>
              <a:t>Paired (9 colors)</a:t>
            </a:r>
            <a:endParaRPr lang="en-US" dirty="0">
              <a:solidFill>
                <a:srgbClr val="575757"/>
              </a:solidFill>
            </a:endParaRPr>
          </a:p>
        </p:txBody>
      </p:sp>
      <p:graphicFrame>
        <p:nvGraphicFramePr>
          <p:cNvPr id="17" name="Chart 16"/>
          <p:cNvGraphicFramePr/>
          <p:nvPr/>
        </p:nvGraphicFramePr>
        <p:xfrm>
          <a:off x="1623658" y="1371600"/>
          <a:ext cx="6129908" cy="2530307"/>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 Placeholder 12"/>
          <p:cNvSpPr>
            <a:spLocks/>
          </p:cNvSpPr>
          <p:nvPr>
            <p:custDataLst>
              <p:tags r:id="rId1"/>
            </p:custDataLst>
          </p:nvPr>
        </p:nvSpPr>
        <p:spPr bwMode="auto">
          <a:xfrm>
            <a:off x="1440655" y="1131570"/>
            <a:ext cx="929742"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p:txBody>
      </p:sp>
      <p:sp>
        <p:nvSpPr>
          <p:cNvPr id="7"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dirty="0">
                <a:solidFill>
                  <a:srgbClr val="81BC00"/>
                </a:solidFill>
              </a:rPr>
              <a:t>Column chart  </a:t>
            </a:r>
            <a:br>
              <a:rPr lang="en-US" altLang="ja-JP" dirty="0">
                <a:solidFill>
                  <a:srgbClr val="575757"/>
                </a:solidFill>
              </a:rPr>
            </a:br>
            <a:r>
              <a:rPr lang="en-US" altLang="ja-JP" dirty="0">
                <a:solidFill>
                  <a:srgbClr val="575757"/>
                </a:solidFill>
              </a:rPr>
              <a:t>Paired</a:t>
            </a:r>
            <a:endParaRPr lang="en-US" dirty="0">
              <a:solidFill>
                <a:srgbClr val="575757"/>
              </a:solidFill>
            </a:endParaRPr>
          </a:p>
        </p:txBody>
      </p:sp>
      <p:graphicFrame>
        <p:nvGraphicFramePr>
          <p:cNvPr id="17" name="Chart 16"/>
          <p:cNvGraphicFramePr/>
          <p:nvPr/>
        </p:nvGraphicFramePr>
        <p:xfrm>
          <a:off x="1489567" y="1371601"/>
          <a:ext cx="6307920" cy="2603786"/>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 Placeholder 12"/>
          <p:cNvSpPr>
            <a:spLocks/>
          </p:cNvSpPr>
          <p:nvPr>
            <p:custDataLst>
              <p:tags r:id="rId1"/>
            </p:custDataLst>
          </p:nvPr>
        </p:nvSpPr>
        <p:spPr bwMode="auto">
          <a:xfrm>
            <a:off x="1440656" y="1131570"/>
            <a:ext cx="956993"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 </a:t>
            </a:r>
          </a:p>
        </p:txBody>
      </p:sp>
      <p:sp>
        <p:nvSpPr>
          <p:cNvPr id="8"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extLst>
      <p:ext uri="{BB962C8B-B14F-4D97-AF65-F5344CB8AC3E}">
        <p14:creationId xmlns:p14="http://schemas.microsoft.com/office/powerpoint/2010/main" val="2574518358"/>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dirty="0">
                <a:solidFill>
                  <a:srgbClr val="81BC00"/>
                </a:solidFill>
              </a:rPr>
              <a:t>Column charts  </a:t>
            </a:r>
            <a:br>
              <a:rPr lang="en-US" altLang="ja-JP" dirty="0">
                <a:solidFill>
                  <a:srgbClr val="81BC00"/>
                </a:solidFill>
              </a:rPr>
            </a:br>
            <a:r>
              <a:rPr lang="en-US" altLang="ja-JP" dirty="0">
                <a:solidFill>
                  <a:srgbClr val="575757"/>
                </a:solidFill>
              </a:rPr>
              <a:t>Four paired</a:t>
            </a:r>
            <a:endParaRPr lang="en-US" dirty="0">
              <a:solidFill>
                <a:srgbClr val="575757"/>
              </a:solidFill>
            </a:endParaRPr>
          </a:p>
        </p:txBody>
      </p:sp>
      <p:graphicFrame>
        <p:nvGraphicFramePr>
          <p:cNvPr id="17" name="Chart 16"/>
          <p:cNvGraphicFramePr/>
          <p:nvPr/>
        </p:nvGraphicFramePr>
        <p:xfrm>
          <a:off x="1307592" y="1303021"/>
          <a:ext cx="1685692" cy="3189110"/>
        </p:xfrm>
        <a:graphic>
          <a:graphicData uri="http://schemas.openxmlformats.org/drawingml/2006/chart">
            <c:chart xmlns:c="http://schemas.openxmlformats.org/drawingml/2006/chart" xmlns:r="http://schemas.openxmlformats.org/officeDocument/2006/relationships" r:id="rId7"/>
          </a:graphicData>
        </a:graphic>
      </p:graphicFrame>
      <p:sp>
        <p:nvSpPr>
          <p:cNvPr id="43" name="Text Placeholder 12"/>
          <p:cNvSpPr>
            <a:spLocks/>
          </p:cNvSpPr>
          <p:nvPr>
            <p:custDataLst>
              <p:tags r:id="rId1"/>
            </p:custDataLst>
          </p:nvPr>
        </p:nvSpPr>
        <p:spPr bwMode="auto">
          <a:xfrm>
            <a:off x="1440657" y="1131570"/>
            <a:ext cx="956993"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 </a:t>
            </a:r>
          </a:p>
        </p:txBody>
      </p:sp>
      <p:sp>
        <p:nvSpPr>
          <p:cNvPr id="48" name="Text Placeholder 12"/>
          <p:cNvSpPr>
            <a:spLocks/>
          </p:cNvSpPr>
          <p:nvPr>
            <p:custDataLst>
              <p:tags r:id="rId2"/>
            </p:custDataLst>
          </p:nvPr>
        </p:nvSpPr>
        <p:spPr bwMode="auto">
          <a:xfrm>
            <a:off x="2976606" y="1131570"/>
            <a:ext cx="956993"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 </a:t>
            </a:r>
          </a:p>
        </p:txBody>
      </p:sp>
      <p:sp>
        <p:nvSpPr>
          <p:cNvPr id="50" name="Text Placeholder 12"/>
          <p:cNvSpPr>
            <a:spLocks/>
          </p:cNvSpPr>
          <p:nvPr>
            <p:custDataLst>
              <p:tags r:id="rId3"/>
            </p:custDataLst>
          </p:nvPr>
        </p:nvSpPr>
        <p:spPr bwMode="auto">
          <a:xfrm>
            <a:off x="4546760" y="1131570"/>
            <a:ext cx="956993"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 </a:t>
            </a:r>
          </a:p>
        </p:txBody>
      </p:sp>
      <p:sp>
        <p:nvSpPr>
          <p:cNvPr id="51" name="Text Placeholder 12"/>
          <p:cNvSpPr>
            <a:spLocks/>
          </p:cNvSpPr>
          <p:nvPr>
            <p:custDataLst>
              <p:tags r:id="rId4"/>
            </p:custDataLst>
          </p:nvPr>
        </p:nvSpPr>
        <p:spPr bwMode="auto">
          <a:xfrm>
            <a:off x="6118756" y="1131570"/>
            <a:ext cx="956993"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 </a:t>
            </a:r>
          </a:p>
        </p:txBody>
      </p:sp>
      <p:sp>
        <p:nvSpPr>
          <p:cNvPr id="13"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graphicFrame>
        <p:nvGraphicFramePr>
          <p:cNvPr id="14" name="Chart 13"/>
          <p:cNvGraphicFramePr/>
          <p:nvPr/>
        </p:nvGraphicFramePr>
        <p:xfrm>
          <a:off x="2926080" y="1303021"/>
          <a:ext cx="1685692" cy="318911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hart 14"/>
          <p:cNvGraphicFramePr/>
          <p:nvPr/>
        </p:nvGraphicFramePr>
        <p:xfrm>
          <a:off x="4572000" y="1303021"/>
          <a:ext cx="1685692" cy="318911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6" name="Chart 15"/>
          <p:cNvGraphicFramePr/>
          <p:nvPr/>
        </p:nvGraphicFramePr>
        <p:xfrm>
          <a:off x="6149340" y="1303021"/>
          <a:ext cx="1685692" cy="3189110"/>
        </p:xfrm>
        <a:graphic>
          <a:graphicData uri="http://schemas.openxmlformats.org/drawingml/2006/chart">
            <c:chart xmlns:c="http://schemas.openxmlformats.org/drawingml/2006/chart" xmlns:r="http://schemas.openxmlformats.org/officeDocument/2006/relationships" r:id="rId10"/>
          </a:graphicData>
        </a:graphic>
      </p:graphicFrame>
    </p:spTree>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dirty="0">
                <a:solidFill>
                  <a:srgbClr val="81BC00"/>
                </a:solidFill>
              </a:rPr>
              <a:t>Column charts  </a:t>
            </a:r>
            <a:br>
              <a:rPr lang="en-US" altLang="ja-JP" dirty="0">
                <a:solidFill>
                  <a:srgbClr val="575757"/>
                </a:solidFill>
              </a:rPr>
            </a:br>
            <a:r>
              <a:rPr lang="en-US" altLang="ja-JP" dirty="0">
                <a:solidFill>
                  <a:srgbClr val="575757"/>
                </a:solidFill>
              </a:rPr>
              <a:t>Multiple</a:t>
            </a:r>
            <a:endParaRPr lang="en-US" dirty="0">
              <a:solidFill>
                <a:srgbClr val="575757"/>
              </a:solidFill>
            </a:endParaRPr>
          </a:p>
        </p:txBody>
      </p:sp>
      <p:graphicFrame>
        <p:nvGraphicFramePr>
          <p:cNvPr id="6" name="Chart 5"/>
          <p:cNvGraphicFramePr/>
          <p:nvPr/>
        </p:nvGraphicFramePr>
        <p:xfrm>
          <a:off x="1309477" y="1371600"/>
          <a:ext cx="6642671" cy="3371850"/>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 Box 4"/>
          <p:cNvSpPr txBox="1">
            <a:spLocks noChangeArrowheads="1"/>
          </p:cNvSpPr>
          <p:nvPr/>
        </p:nvSpPr>
        <p:spPr bwMode="auto">
          <a:xfrm>
            <a:off x="2154174" y="4170834"/>
            <a:ext cx="654025" cy="115416"/>
          </a:xfrm>
          <a:prstGeom prst="rect">
            <a:avLst/>
          </a:prstGeom>
          <a:noFill/>
          <a:ln w="9525">
            <a:noFill/>
            <a:miter lim="800000"/>
            <a:headEnd/>
            <a:tailEnd/>
          </a:ln>
        </p:spPr>
        <p:txBody>
          <a:bodyPr wrap="none" lIns="0" tIns="0" rIns="0" bIns="0">
            <a:spAutoFit/>
          </a:bodyPr>
          <a:lstStyle/>
          <a:p>
            <a:pPr algn="ctr" defTabSz="685800">
              <a:spcBef>
                <a:spcPct val="0"/>
              </a:spcBef>
              <a:buClrTx/>
            </a:pPr>
            <a:r>
              <a:rPr lang="en-US" sz="750" kern="1200" dirty="0">
                <a:solidFill>
                  <a:srgbClr val="313131"/>
                </a:solidFill>
                <a:ea typeface="ＭＳ Ｐゴシック" pitchFamily="50" charset="-128"/>
                <a:cs typeface="+mn-cs"/>
              </a:rPr>
              <a:t>Category name</a:t>
            </a:r>
          </a:p>
        </p:txBody>
      </p:sp>
      <p:sp>
        <p:nvSpPr>
          <p:cNvPr id="12" name="Text Box 6"/>
          <p:cNvSpPr txBox="1">
            <a:spLocks noChangeArrowheads="1"/>
          </p:cNvSpPr>
          <p:nvPr/>
        </p:nvSpPr>
        <p:spPr bwMode="auto">
          <a:xfrm>
            <a:off x="3211098" y="4170834"/>
            <a:ext cx="654025" cy="115416"/>
          </a:xfrm>
          <a:prstGeom prst="rect">
            <a:avLst/>
          </a:prstGeom>
          <a:noFill/>
          <a:ln w="9525">
            <a:noFill/>
            <a:miter lim="800000"/>
            <a:headEnd/>
            <a:tailEnd/>
          </a:ln>
        </p:spPr>
        <p:txBody>
          <a:bodyPr wrap="none" lIns="0" tIns="0" rIns="0" bIns="0">
            <a:spAutoFit/>
          </a:bodyPr>
          <a:lstStyle/>
          <a:p>
            <a:pPr algn="ctr" defTabSz="685800">
              <a:spcBef>
                <a:spcPct val="0"/>
              </a:spcBef>
              <a:buClrTx/>
            </a:pPr>
            <a:r>
              <a:rPr lang="en-US" sz="750" kern="1200" dirty="0">
                <a:solidFill>
                  <a:srgbClr val="313131"/>
                </a:solidFill>
                <a:ea typeface="ＭＳ Ｐゴシック" pitchFamily="50" charset="-128"/>
                <a:cs typeface="+mn-cs"/>
              </a:rPr>
              <a:t>Category name</a:t>
            </a:r>
          </a:p>
        </p:txBody>
      </p:sp>
      <p:sp>
        <p:nvSpPr>
          <p:cNvPr id="13" name="Text Box 7"/>
          <p:cNvSpPr txBox="1">
            <a:spLocks noChangeArrowheads="1"/>
          </p:cNvSpPr>
          <p:nvPr/>
        </p:nvSpPr>
        <p:spPr bwMode="auto">
          <a:xfrm>
            <a:off x="4277913" y="4170834"/>
            <a:ext cx="654025" cy="115416"/>
          </a:xfrm>
          <a:prstGeom prst="rect">
            <a:avLst/>
          </a:prstGeom>
          <a:noFill/>
          <a:ln w="9525">
            <a:noFill/>
            <a:miter lim="800000"/>
            <a:headEnd/>
            <a:tailEnd/>
          </a:ln>
        </p:spPr>
        <p:txBody>
          <a:bodyPr wrap="none" lIns="0" tIns="0" rIns="0" bIns="0">
            <a:spAutoFit/>
          </a:bodyPr>
          <a:lstStyle/>
          <a:p>
            <a:pPr algn="ctr" defTabSz="685800">
              <a:spcBef>
                <a:spcPct val="0"/>
              </a:spcBef>
              <a:buClrTx/>
            </a:pPr>
            <a:r>
              <a:rPr lang="en-US" sz="750" kern="1200" dirty="0">
                <a:solidFill>
                  <a:srgbClr val="313131"/>
                </a:solidFill>
                <a:ea typeface="ＭＳ Ｐゴシック" pitchFamily="50" charset="-128"/>
                <a:cs typeface="+mn-cs"/>
              </a:rPr>
              <a:t>Category name</a:t>
            </a:r>
          </a:p>
        </p:txBody>
      </p:sp>
      <p:sp>
        <p:nvSpPr>
          <p:cNvPr id="14" name="Text Box 8"/>
          <p:cNvSpPr txBox="1">
            <a:spLocks noChangeArrowheads="1"/>
          </p:cNvSpPr>
          <p:nvPr/>
        </p:nvSpPr>
        <p:spPr bwMode="auto">
          <a:xfrm>
            <a:off x="5300319" y="4170834"/>
            <a:ext cx="654025" cy="115416"/>
          </a:xfrm>
          <a:prstGeom prst="rect">
            <a:avLst/>
          </a:prstGeom>
          <a:noFill/>
          <a:ln w="9525">
            <a:noFill/>
            <a:miter lim="800000"/>
            <a:headEnd/>
            <a:tailEnd/>
          </a:ln>
        </p:spPr>
        <p:txBody>
          <a:bodyPr wrap="none" lIns="0" tIns="0" rIns="0" bIns="0">
            <a:spAutoFit/>
          </a:bodyPr>
          <a:lstStyle/>
          <a:p>
            <a:pPr algn="ctr" defTabSz="685800">
              <a:spcBef>
                <a:spcPct val="0"/>
              </a:spcBef>
              <a:buClrTx/>
            </a:pPr>
            <a:r>
              <a:rPr lang="en-US" sz="750" kern="1200" dirty="0">
                <a:solidFill>
                  <a:srgbClr val="313131"/>
                </a:solidFill>
                <a:ea typeface="ＭＳ Ｐゴシック" pitchFamily="50" charset="-128"/>
                <a:cs typeface="+mn-cs"/>
              </a:rPr>
              <a:t>Category name</a:t>
            </a:r>
          </a:p>
        </p:txBody>
      </p:sp>
      <p:sp>
        <p:nvSpPr>
          <p:cNvPr id="15" name="Text Box 9"/>
          <p:cNvSpPr txBox="1">
            <a:spLocks noChangeArrowheads="1"/>
          </p:cNvSpPr>
          <p:nvPr/>
        </p:nvSpPr>
        <p:spPr bwMode="auto">
          <a:xfrm>
            <a:off x="6355550" y="4170834"/>
            <a:ext cx="654025" cy="115416"/>
          </a:xfrm>
          <a:prstGeom prst="rect">
            <a:avLst/>
          </a:prstGeom>
          <a:noFill/>
          <a:ln w="9525">
            <a:noFill/>
            <a:miter lim="800000"/>
            <a:headEnd/>
            <a:tailEnd/>
          </a:ln>
        </p:spPr>
        <p:txBody>
          <a:bodyPr wrap="none" lIns="0" tIns="0" rIns="0" bIns="0">
            <a:spAutoFit/>
          </a:bodyPr>
          <a:lstStyle/>
          <a:p>
            <a:pPr algn="ctr" defTabSz="685800">
              <a:spcBef>
                <a:spcPct val="0"/>
              </a:spcBef>
              <a:buClrTx/>
            </a:pPr>
            <a:r>
              <a:rPr lang="en-US" sz="750" kern="1200" dirty="0">
                <a:solidFill>
                  <a:srgbClr val="313131"/>
                </a:solidFill>
                <a:ea typeface="ＭＳ Ｐゴシック" pitchFamily="50" charset="-128"/>
                <a:cs typeface="+mn-cs"/>
              </a:rPr>
              <a:t>Category name</a:t>
            </a:r>
          </a:p>
        </p:txBody>
      </p:sp>
      <p:sp>
        <p:nvSpPr>
          <p:cNvPr id="16" name="Text Placeholder 12"/>
          <p:cNvSpPr>
            <a:spLocks/>
          </p:cNvSpPr>
          <p:nvPr>
            <p:custDataLst>
              <p:tags r:id="rId1"/>
            </p:custDataLst>
          </p:nvPr>
        </p:nvSpPr>
        <p:spPr bwMode="auto">
          <a:xfrm>
            <a:off x="1440657" y="1131570"/>
            <a:ext cx="956993"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 </a:t>
            </a:r>
          </a:p>
        </p:txBody>
      </p:sp>
      <p:sp>
        <p:nvSpPr>
          <p:cNvPr id="17" name="TextBox 16"/>
          <p:cNvSpPr txBox="1"/>
          <p:nvPr/>
        </p:nvSpPr>
        <p:spPr>
          <a:xfrm rot="16200000">
            <a:off x="1183482" y="2792941"/>
            <a:ext cx="514350" cy="169944"/>
          </a:xfrm>
          <a:prstGeom prst="rect">
            <a:avLst/>
          </a:prstGeom>
          <a:noFill/>
        </p:spPr>
        <p:txBody>
          <a:bodyPr wrap="square" lIns="27000" tIns="27000" rIns="27000" bIns="27000" rtlCol="0">
            <a:spAutoFit/>
          </a:bodyPr>
          <a:lstStyle/>
          <a:p>
            <a:pPr defTabSz="685800">
              <a:buClrTx/>
            </a:pPr>
            <a:r>
              <a:rPr lang="en-US" sz="750" b="1" kern="1200" dirty="0">
                <a:solidFill>
                  <a:srgbClr val="313131"/>
                </a:solidFill>
                <a:ea typeface="+mn-ea"/>
                <a:cs typeface="+mn-cs"/>
              </a:rPr>
              <a:t>Axis title</a:t>
            </a:r>
          </a:p>
        </p:txBody>
      </p:sp>
      <p:sp>
        <p:nvSpPr>
          <p:cNvPr id="18"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a:solidFill>
                  <a:srgbClr val="81BC00"/>
                </a:solidFill>
              </a:rPr>
              <a:t>Area chart </a:t>
            </a:r>
            <a:br>
              <a:rPr lang="en-US" dirty="0">
                <a:solidFill>
                  <a:srgbClr val="575757"/>
                </a:solidFill>
              </a:rPr>
            </a:br>
            <a:r>
              <a:rPr lang="en-US" dirty="0">
                <a:solidFill>
                  <a:srgbClr val="575757"/>
                </a:solidFill>
              </a:rPr>
              <a:t>Stacked </a:t>
            </a:r>
            <a:r>
              <a:rPr lang="en-US" altLang="ja-JP" dirty="0">
                <a:solidFill>
                  <a:srgbClr val="575757"/>
                </a:solidFill>
              </a:rPr>
              <a:t>(9 colors)</a:t>
            </a:r>
            <a:endParaRPr lang="en-US" dirty="0">
              <a:solidFill>
                <a:srgbClr val="575757"/>
              </a:solidFill>
            </a:endParaRPr>
          </a:p>
        </p:txBody>
      </p:sp>
      <p:graphicFrame>
        <p:nvGraphicFramePr>
          <p:cNvPr id="5" name="Chart 4"/>
          <p:cNvGraphicFramePr/>
          <p:nvPr/>
        </p:nvGraphicFramePr>
        <p:xfrm>
          <a:off x="1429850" y="1371600"/>
          <a:ext cx="6283202" cy="2787732"/>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 Box 4"/>
          <p:cNvSpPr txBox="1">
            <a:spLocks noChangeArrowheads="1"/>
          </p:cNvSpPr>
          <p:nvPr/>
        </p:nvSpPr>
        <p:spPr bwMode="auto">
          <a:xfrm>
            <a:off x="7606551" y="3736397"/>
            <a:ext cx="64120" cy="115416"/>
          </a:xfrm>
          <a:prstGeom prst="rect">
            <a:avLst/>
          </a:prstGeom>
          <a:noFill/>
          <a:ln w="6350" algn="ctr">
            <a:noFill/>
            <a:miter lim="800000"/>
            <a:headEnd/>
            <a:tailEnd/>
          </a:ln>
        </p:spPr>
        <p:txBody>
          <a:bodyPr wrap="none" lIns="0" tIns="0" rIns="0" bIns="0">
            <a:spAutoFit/>
          </a:bodyPr>
          <a:lstStyle/>
          <a:p>
            <a:pPr defTabSz="685800">
              <a:spcBef>
                <a:spcPct val="0"/>
              </a:spcBef>
              <a:buClrTx/>
            </a:pPr>
            <a:r>
              <a:rPr lang="en-US" sz="750" kern="1200" dirty="0">
                <a:solidFill>
                  <a:srgbClr val="313131"/>
                </a:solidFill>
                <a:ea typeface="ＭＳ Ｐゴシック" pitchFamily="50" charset="-128"/>
                <a:cs typeface="+mn-cs"/>
              </a:rPr>
              <a:t>A</a:t>
            </a:r>
          </a:p>
        </p:txBody>
      </p:sp>
      <p:sp>
        <p:nvSpPr>
          <p:cNvPr id="17" name="Text Box 6"/>
          <p:cNvSpPr txBox="1">
            <a:spLocks noChangeArrowheads="1"/>
          </p:cNvSpPr>
          <p:nvPr/>
        </p:nvSpPr>
        <p:spPr bwMode="auto">
          <a:xfrm>
            <a:off x="7606551" y="3506087"/>
            <a:ext cx="64120" cy="115416"/>
          </a:xfrm>
          <a:prstGeom prst="rect">
            <a:avLst/>
          </a:prstGeom>
          <a:noFill/>
          <a:ln w="6350" algn="ctr">
            <a:noFill/>
            <a:miter lim="800000"/>
            <a:headEnd/>
            <a:tailEnd/>
          </a:ln>
        </p:spPr>
        <p:txBody>
          <a:bodyPr wrap="none" lIns="0" tIns="0" rIns="0" bIns="0">
            <a:spAutoFit/>
          </a:bodyPr>
          <a:lstStyle/>
          <a:p>
            <a:pPr defTabSz="685800">
              <a:spcBef>
                <a:spcPct val="0"/>
              </a:spcBef>
              <a:buClrTx/>
            </a:pPr>
            <a:r>
              <a:rPr lang="en-US" sz="750" kern="1200" dirty="0">
                <a:solidFill>
                  <a:srgbClr val="313131"/>
                </a:solidFill>
                <a:ea typeface="ＭＳ Ｐゴシック" pitchFamily="50" charset="-128"/>
                <a:cs typeface="+mn-cs"/>
              </a:rPr>
              <a:t>B</a:t>
            </a:r>
          </a:p>
        </p:txBody>
      </p:sp>
      <p:sp>
        <p:nvSpPr>
          <p:cNvPr id="18" name="Text Box 7"/>
          <p:cNvSpPr txBox="1">
            <a:spLocks noChangeArrowheads="1"/>
          </p:cNvSpPr>
          <p:nvPr/>
        </p:nvSpPr>
        <p:spPr bwMode="auto">
          <a:xfrm>
            <a:off x="7603545" y="3179807"/>
            <a:ext cx="68930" cy="115416"/>
          </a:xfrm>
          <a:prstGeom prst="rect">
            <a:avLst/>
          </a:prstGeom>
          <a:noFill/>
          <a:ln w="6350" algn="ctr">
            <a:noFill/>
            <a:miter lim="800000"/>
            <a:headEnd/>
            <a:tailEnd/>
          </a:ln>
        </p:spPr>
        <p:txBody>
          <a:bodyPr wrap="none" lIns="0" tIns="0" rIns="0" bIns="0">
            <a:spAutoFit/>
          </a:bodyPr>
          <a:lstStyle/>
          <a:p>
            <a:pPr defTabSz="685800">
              <a:spcBef>
                <a:spcPct val="0"/>
              </a:spcBef>
              <a:buClrTx/>
            </a:pPr>
            <a:r>
              <a:rPr lang="en-US" sz="750" kern="1200" dirty="0">
                <a:solidFill>
                  <a:srgbClr val="313131"/>
                </a:solidFill>
                <a:ea typeface="ＭＳ Ｐゴシック" pitchFamily="50" charset="-128"/>
                <a:cs typeface="+mn-cs"/>
              </a:rPr>
              <a:t>C</a:t>
            </a:r>
          </a:p>
        </p:txBody>
      </p:sp>
      <p:sp>
        <p:nvSpPr>
          <p:cNvPr id="19" name="Text Box 8"/>
          <p:cNvSpPr txBox="1">
            <a:spLocks noChangeArrowheads="1"/>
          </p:cNvSpPr>
          <p:nvPr/>
        </p:nvSpPr>
        <p:spPr bwMode="auto">
          <a:xfrm>
            <a:off x="7603545" y="2877451"/>
            <a:ext cx="68930" cy="115416"/>
          </a:xfrm>
          <a:prstGeom prst="rect">
            <a:avLst/>
          </a:prstGeom>
          <a:noFill/>
          <a:ln w="6350" algn="ctr">
            <a:noFill/>
            <a:miter lim="800000"/>
            <a:headEnd/>
            <a:tailEnd/>
          </a:ln>
        </p:spPr>
        <p:txBody>
          <a:bodyPr wrap="none" lIns="0" tIns="0" rIns="0" bIns="0">
            <a:spAutoFit/>
          </a:bodyPr>
          <a:lstStyle/>
          <a:p>
            <a:pPr defTabSz="685800">
              <a:spcBef>
                <a:spcPct val="0"/>
              </a:spcBef>
              <a:buClrTx/>
            </a:pPr>
            <a:r>
              <a:rPr lang="en-US" sz="750" kern="1200" dirty="0">
                <a:solidFill>
                  <a:srgbClr val="313131"/>
                </a:solidFill>
                <a:ea typeface="ＭＳ Ｐゴシック" pitchFamily="50" charset="-128"/>
                <a:cs typeface="+mn-cs"/>
              </a:rPr>
              <a:t>D</a:t>
            </a:r>
          </a:p>
        </p:txBody>
      </p:sp>
      <p:sp>
        <p:nvSpPr>
          <p:cNvPr id="20" name="Text Placeholder 12"/>
          <p:cNvSpPr>
            <a:spLocks/>
          </p:cNvSpPr>
          <p:nvPr>
            <p:custDataLst>
              <p:tags r:id="rId1"/>
            </p:custDataLst>
          </p:nvPr>
        </p:nvSpPr>
        <p:spPr bwMode="auto">
          <a:xfrm>
            <a:off x="1440656" y="1128713"/>
            <a:ext cx="929742"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p:txBody>
      </p:sp>
      <p:sp>
        <p:nvSpPr>
          <p:cNvPr id="21" name="Text Box 4"/>
          <p:cNvSpPr txBox="1">
            <a:spLocks noChangeArrowheads="1"/>
          </p:cNvSpPr>
          <p:nvPr/>
        </p:nvSpPr>
        <p:spPr bwMode="auto">
          <a:xfrm>
            <a:off x="7606551" y="2708047"/>
            <a:ext cx="64120" cy="115416"/>
          </a:xfrm>
          <a:prstGeom prst="rect">
            <a:avLst/>
          </a:prstGeom>
          <a:noFill/>
          <a:ln w="6350" algn="ctr">
            <a:noFill/>
            <a:miter lim="800000"/>
            <a:headEnd/>
            <a:tailEnd/>
          </a:ln>
        </p:spPr>
        <p:txBody>
          <a:bodyPr wrap="none" lIns="0" tIns="0" rIns="0" bIns="0">
            <a:spAutoFit/>
          </a:bodyPr>
          <a:lstStyle/>
          <a:p>
            <a:pPr defTabSz="685800">
              <a:spcBef>
                <a:spcPct val="0"/>
              </a:spcBef>
              <a:buClrTx/>
            </a:pPr>
            <a:r>
              <a:rPr lang="en-US" sz="750" kern="1200" dirty="0">
                <a:solidFill>
                  <a:srgbClr val="313131"/>
                </a:solidFill>
                <a:ea typeface="ＭＳ Ｐゴシック" pitchFamily="50" charset="-128"/>
                <a:cs typeface="+mn-cs"/>
              </a:rPr>
              <a:t>E</a:t>
            </a:r>
          </a:p>
        </p:txBody>
      </p:sp>
      <p:sp>
        <p:nvSpPr>
          <p:cNvPr id="24" name="Text Box 6"/>
          <p:cNvSpPr txBox="1">
            <a:spLocks noChangeArrowheads="1"/>
          </p:cNvSpPr>
          <p:nvPr/>
        </p:nvSpPr>
        <p:spPr bwMode="auto">
          <a:xfrm>
            <a:off x="7609556" y="2533559"/>
            <a:ext cx="59312" cy="115416"/>
          </a:xfrm>
          <a:prstGeom prst="rect">
            <a:avLst/>
          </a:prstGeom>
          <a:noFill/>
          <a:ln w="6350" algn="ctr">
            <a:noFill/>
            <a:miter lim="800000"/>
            <a:headEnd/>
            <a:tailEnd/>
          </a:ln>
        </p:spPr>
        <p:txBody>
          <a:bodyPr wrap="none" lIns="0" tIns="0" rIns="0" bIns="0">
            <a:spAutoFit/>
          </a:bodyPr>
          <a:lstStyle/>
          <a:p>
            <a:pPr defTabSz="685800">
              <a:spcBef>
                <a:spcPct val="0"/>
              </a:spcBef>
              <a:buClrTx/>
            </a:pPr>
            <a:r>
              <a:rPr lang="en-US" sz="750" kern="1200" dirty="0">
                <a:solidFill>
                  <a:srgbClr val="313131"/>
                </a:solidFill>
                <a:ea typeface="ＭＳ Ｐゴシック" pitchFamily="50" charset="-128"/>
                <a:cs typeface="+mn-cs"/>
              </a:rPr>
              <a:t>F</a:t>
            </a:r>
          </a:p>
        </p:txBody>
      </p:sp>
      <p:sp>
        <p:nvSpPr>
          <p:cNvPr id="25" name="Text Box 7"/>
          <p:cNvSpPr txBox="1">
            <a:spLocks noChangeArrowheads="1"/>
          </p:cNvSpPr>
          <p:nvPr/>
        </p:nvSpPr>
        <p:spPr bwMode="auto">
          <a:xfrm>
            <a:off x="7599938" y="2318926"/>
            <a:ext cx="75342" cy="115416"/>
          </a:xfrm>
          <a:prstGeom prst="rect">
            <a:avLst/>
          </a:prstGeom>
          <a:noFill/>
          <a:ln w="6350" algn="ctr">
            <a:noFill/>
            <a:miter lim="800000"/>
            <a:headEnd/>
            <a:tailEnd/>
          </a:ln>
        </p:spPr>
        <p:txBody>
          <a:bodyPr wrap="none" lIns="0" tIns="0" rIns="0" bIns="0">
            <a:spAutoFit/>
          </a:bodyPr>
          <a:lstStyle/>
          <a:p>
            <a:pPr defTabSz="685800">
              <a:spcBef>
                <a:spcPct val="0"/>
              </a:spcBef>
              <a:buClrTx/>
            </a:pPr>
            <a:r>
              <a:rPr lang="en-US" sz="750" kern="1200" dirty="0">
                <a:solidFill>
                  <a:srgbClr val="313131"/>
                </a:solidFill>
                <a:ea typeface="ＭＳ Ｐゴシック" pitchFamily="50" charset="-128"/>
                <a:cs typeface="+mn-cs"/>
              </a:rPr>
              <a:t>G</a:t>
            </a:r>
          </a:p>
        </p:txBody>
      </p:sp>
      <p:sp>
        <p:nvSpPr>
          <p:cNvPr id="26" name="Text Box 8"/>
          <p:cNvSpPr txBox="1">
            <a:spLocks noChangeArrowheads="1"/>
          </p:cNvSpPr>
          <p:nvPr/>
        </p:nvSpPr>
        <p:spPr bwMode="auto">
          <a:xfrm>
            <a:off x="7603545" y="2080368"/>
            <a:ext cx="68930" cy="115416"/>
          </a:xfrm>
          <a:prstGeom prst="rect">
            <a:avLst/>
          </a:prstGeom>
          <a:noFill/>
          <a:ln w="6350" algn="ctr">
            <a:noFill/>
            <a:miter lim="800000"/>
            <a:headEnd/>
            <a:tailEnd/>
          </a:ln>
        </p:spPr>
        <p:txBody>
          <a:bodyPr wrap="none" lIns="0" tIns="0" rIns="0" bIns="0">
            <a:spAutoFit/>
          </a:bodyPr>
          <a:lstStyle/>
          <a:p>
            <a:pPr defTabSz="685800">
              <a:spcBef>
                <a:spcPct val="0"/>
              </a:spcBef>
              <a:buClrTx/>
            </a:pPr>
            <a:r>
              <a:rPr lang="en-US" sz="750" kern="1200" dirty="0">
                <a:solidFill>
                  <a:srgbClr val="313131"/>
                </a:solidFill>
                <a:ea typeface="ＭＳ Ｐゴシック" pitchFamily="50" charset="-128"/>
                <a:cs typeface="+mn-cs"/>
              </a:rPr>
              <a:t>H</a:t>
            </a:r>
          </a:p>
        </p:txBody>
      </p:sp>
      <p:sp>
        <p:nvSpPr>
          <p:cNvPr id="27" name="Text Box 8"/>
          <p:cNvSpPr txBox="1">
            <a:spLocks noChangeArrowheads="1"/>
          </p:cNvSpPr>
          <p:nvPr/>
        </p:nvSpPr>
        <p:spPr bwMode="auto">
          <a:xfrm>
            <a:off x="7628792" y="1843779"/>
            <a:ext cx="27252" cy="115416"/>
          </a:xfrm>
          <a:prstGeom prst="rect">
            <a:avLst/>
          </a:prstGeom>
          <a:noFill/>
          <a:ln w="6350" algn="ctr">
            <a:noFill/>
            <a:miter lim="800000"/>
            <a:headEnd/>
            <a:tailEnd/>
          </a:ln>
        </p:spPr>
        <p:txBody>
          <a:bodyPr wrap="none" lIns="0" tIns="0" rIns="0" bIns="0">
            <a:spAutoFit/>
          </a:bodyPr>
          <a:lstStyle/>
          <a:p>
            <a:pPr defTabSz="685800">
              <a:spcBef>
                <a:spcPct val="0"/>
              </a:spcBef>
              <a:buClrTx/>
            </a:pPr>
            <a:r>
              <a:rPr lang="en-US" sz="750" kern="1200" dirty="0">
                <a:solidFill>
                  <a:srgbClr val="313131"/>
                </a:solidFill>
                <a:ea typeface="ＭＳ Ｐゴシック" pitchFamily="50" charset="-128"/>
                <a:cs typeface="+mn-cs"/>
              </a:rPr>
              <a:t>I</a:t>
            </a:r>
          </a:p>
        </p:txBody>
      </p:sp>
      <p:sp>
        <p:nvSpPr>
          <p:cNvPr id="22"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
        <p:nvSpPr>
          <p:cNvPr id="4" name="TextBox 3"/>
          <p:cNvSpPr txBox="1"/>
          <p:nvPr/>
        </p:nvSpPr>
        <p:spPr>
          <a:xfrm>
            <a:off x="4414266" y="4217670"/>
            <a:ext cx="672084" cy="207749"/>
          </a:xfrm>
          <a:prstGeom prst="rect">
            <a:avLst/>
          </a:prstGeom>
          <a:noFill/>
        </p:spPr>
        <p:txBody>
          <a:bodyPr wrap="square" rtlCol="0">
            <a:spAutoFit/>
          </a:bodyPr>
          <a:lstStyle/>
          <a:p>
            <a:pPr defTabSz="685800">
              <a:buClrTx/>
            </a:pPr>
            <a:r>
              <a:rPr lang="en-US" sz="750" b="1" kern="1200" dirty="0">
                <a:solidFill>
                  <a:srgbClr val="313131"/>
                </a:solidFill>
                <a:ea typeface="+mn-ea"/>
                <a:cs typeface="+mn-cs"/>
              </a:rPr>
              <a:t>Axis title</a:t>
            </a:r>
          </a:p>
        </p:txBody>
      </p:sp>
      <p:sp>
        <p:nvSpPr>
          <p:cNvPr id="23" name="TextBox 22"/>
          <p:cNvSpPr txBox="1"/>
          <p:nvPr/>
        </p:nvSpPr>
        <p:spPr>
          <a:xfrm rot="16200000">
            <a:off x="1143000" y="2560209"/>
            <a:ext cx="672084" cy="207749"/>
          </a:xfrm>
          <a:prstGeom prst="rect">
            <a:avLst/>
          </a:prstGeom>
          <a:noFill/>
        </p:spPr>
        <p:txBody>
          <a:bodyPr wrap="square" rtlCol="0">
            <a:spAutoFit/>
          </a:bodyPr>
          <a:lstStyle/>
          <a:p>
            <a:pPr defTabSz="685800">
              <a:buClrTx/>
            </a:pPr>
            <a:r>
              <a:rPr lang="en-US" sz="750" b="1" kern="1200" dirty="0">
                <a:solidFill>
                  <a:srgbClr val="313131"/>
                </a:solidFill>
                <a:ea typeface="+mn-ea"/>
                <a:cs typeface="+mn-cs"/>
              </a:rPr>
              <a:t>Axis title</a:t>
            </a:r>
          </a:p>
        </p:txBody>
      </p:sp>
    </p:spTree>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a:solidFill>
                  <a:srgbClr val="81BC00"/>
                </a:solidFill>
              </a:rPr>
              <a:t>Area chart </a:t>
            </a:r>
            <a:br>
              <a:rPr lang="en-US" dirty="0">
                <a:solidFill>
                  <a:srgbClr val="81BC00"/>
                </a:solidFill>
              </a:rPr>
            </a:br>
            <a:r>
              <a:rPr lang="en-US" dirty="0">
                <a:solidFill>
                  <a:srgbClr val="575757"/>
                </a:solidFill>
              </a:rPr>
              <a:t>Stacked</a:t>
            </a:r>
          </a:p>
        </p:txBody>
      </p:sp>
      <p:graphicFrame>
        <p:nvGraphicFramePr>
          <p:cNvPr id="5" name="Chart 4"/>
          <p:cNvGraphicFramePr/>
          <p:nvPr/>
        </p:nvGraphicFramePr>
        <p:xfrm>
          <a:off x="1429850" y="1371600"/>
          <a:ext cx="6283202" cy="2787732"/>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 Box 4"/>
          <p:cNvSpPr txBox="1">
            <a:spLocks noChangeArrowheads="1"/>
          </p:cNvSpPr>
          <p:nvPr/>
        </p:nvSpPr>
        <p:spPr bwMode="auto">
          <a:xfrm>
            <a:off x="7609900" y="3702509"/>
            <a:ext cx="64120" cy="115416"/>
          </a:xfrm>
          <a:prstGeom prst="rect">
            <a:avLst/>
          </a:prstGeom>
          <a:noFill/>
          <a:ln w="6350" algn="ctr">
            <a:noFill/>
            <a:miter lim="800000"/>
            <a:headEnd/>
            <a:tailEnd/>
          </a:ln>
        </p:spPr>
        <p:txBody>
          <a:bodyPr wrap="none" lIns="0" tIns="0" rIns="0" bIns="0">
            <a:spAutoFit/>
          </a:bodyPr>
          <a:lstStyle/>
          <a:p>
            <a:pPr defTabSz="685800">
              <a:spcBef>
                <a:spcPct val="0"/>
              </a:spcBef>
              <a:buClrTx/>
            </a:pPr>
            <a:r>
              <a:rPr lang="en-US" sz="750" kern="1200">
                <a:solidFill>
                  <a:srgbClr val="313131"/>
                </a:solidFill>
                <a:ea typeface="ＭＳ Ｐゴシック" pitchFamily="50" charset="-128"/>
                <a:cs typeface="+mn-cs"/>
              </a:rPr>
              <a:t>A</a:t>
            </a:r>
            <a:endParaRPr lang="en-US" sz="750" kern="1200" dirty="0">
              <a:solidFill>
                <a:srgbClr val="313131"/>
              </a:solidFill>
              <a:ea typeface="ＭＳ Ｐゴシック" pitchFamily="50" charset="-128"/>
              <a:cs typeface="+mn-cs"/>
            </a:endParaRPr>
          </a:p>
        </p:txBody>
      </p:sp>
      <p:sp>
        <p:nvSpPr>
          <p:cNvPr id="17" name="Text Box 6"/>
          <p:cNvSpPr txBox="1">
            <a:spLocks noChangeArrowheads="1"/>
          </p:cNvSpPr>
          <p:nvPr/>
        </p:nvSpPr>
        <p:spPr bwMode="auto">
          <a:xfrm>
            <a:off x="7609900" y="3376501"/>
            <a:ext cx="64120" cy="115416"/>
          </a:xfrm>
          <a:prstGeom prst="rect">
            <a:avLst/>
          </a:prstGeom>
          <a:noFill/>
          <a:ln w="6350" algn="ctr">
            <a:noFill/>
            <a:miter lim="800000"/>
            <a:headEnd/>
            <a:tailEnd/>
          </a:ln>
        </p:spPr>
        <p:txBody>
          <a:bodyPr wrap="none" lIns="0" tIns="0" rIns="0" bIns="0">
            <a:spAutoFit/>
          </a:bodyPr>
          <a:lstStyle/>
          <a:p>
            <a:pPr defTabSz="685800">
              <a:spcBef>
                <a:spcPct val="0"/>
              </a:spcBef>
              <a:buClrTx/>
            </a:pPr>
            <a:r>
              <a:rPr lang="en-US" sz="750" kern="1200">
                <a:solidFill>
                  <a:srgbClr val="313131"/>
                </a:solidFill>
                <a:ea typeface="ＭＳ Ｐゴシック" pitchFamily="50" charset="-128"/>
                <a:cs typeface="+mn-cs"/>
              </a:rPr>
              <a:t>B</a:t>
            </a:r>
            <a:endParaRPr lang="en-US" sz="750" kern="1200" dirty="0">
              <a:solidFill>
                <a:srgbClr val="313131"/>
              </a:solidFill>
              <a:ea typeface="ＭＳ Ｐゴシック" pitchFamily="50" charset="-128"/>
              <a:cs typeface="+mn-cs"/>
            </a:endParaRPr>
          </a:p>
        </p:txBody>
      </p:sp>
      <p:sp>
        <p:nvSpPr>
          <p:cNvPr id="18" name="Text Box 7"/>
          <p:cNvSpPr txBox="1">
            <a:spLocks noChangeArrowheads="1"/>
          </p:cNvSpPr>
          <p:nvPr/>
        </p:nvSpPr>
        <p:spPr bwMode="auto">
          <a:xfrm>
            <a:off x="7607152" y="2882751"/>
            <a:ext cx="68930" cy="115416"/>
          </a:xfrm>
          <a:prstGeom prst="rect">
            <a:avLst/>
          </a:prstGeom>
          <a:noFill/>
          <a:ln w="6350" algn="ctr">
            <a:noFill/>
            <a:miter lim="800000"/>
            <a:headEnd/>
            <a:tailEnd/>
          </a:ln>
        </p:spPr>
        <p:txBody>
          <a:bodyPr wrap="none" lIns="0" tIns="0" rIns="0" bIns="0">
            <a:spAutoFit/>
          </a:bodyPr>
          <a:lstStyle/>
          <a:p>
            <a:pPr defTabSz="685800">
              <a:spcBef>
                <a:spcPct val="0"/>
              </a:spcBef>
              <a:buClrTx/>
            </a:pPr>
            <a:r>
              <a:rPr lang="en-US" sz="750" kern="1200">
                <a:solidFill>
                  <a:srgbClr val="313131"/>
                </a:solidFill>
                <a:ea typeface="ＭＳ Ｐゴシック" pitchFamily="50" charset="-128"/>
                <a:cs typeface="+mn-cs"/>
              </a:rPr>
              <a:t>C</a:t>
            </a:r>
            <a:endParaRPr lang="en-US" sz="750" kern="1200" dirty="0">
              <a:solidFill>
                <a:srgbClr val="313131"/>
              </a:solidFill>
              <a:ea typeface="ＭＳ Ｐゴシック" pitchFamily="50" charset="-128"/>
              <a:cs typeface="+mn-cs"/>
            </a:endParaRPr>
          </a:p>
        </p:txBody>
      </p:sp>
      <p:sp>
        <p:nvSpPr>
          <p:cNvPr id="19" name="Text Box 8"/>
          <p:cNvSpPr txBox="1">
            <a:spLocks noChangeArrowheads="1"/>
          </p:cNvSpPr>
          <p:nvPr/>
        </p:nvSpPr>
        <p:spPr bwMode="auto">
          <a:xfrm>
            <a:off x="7607152" y="2436850"/>
            <a:ext cx="68930" cy="115416"/>
          </a:xfrm>
          <a:prstGeom prst="rect">
            <a:avLst/>
          </a:prstGeom>
          <a:noFill/>
          <a:ln w="6350" algn="ctr">
            <a:noFill/>
            <a:miter lim="800000"/>
            <a:headEnd/>
            <a:tailEnd/>
          </a:ln>
        </p:spPr>
        <p:txBody>
          <a:bodyPr wrap="none" lIns="0" tIns="0" rIns="0" bIns="0">
            <a:spAutoFit/>
          </a:bodyPr>
          <a:lstStyle/>
          <a:p>
            <a:pPr defTabSz="685800">
              <a:spcBef>
                <a:spcPct val="0"/>
              </a:spcBef>
              <a:buClrTx/>
            </a:pPr>
            <a:r>
              <a:rPr lang="en-US" sz="750" kern="1200" dirty="0">
                <a:solidFill>
                  <a:srgbClr val="313131"/>
                </a:solidFill>
                <a:ea typeface="ＭＳ Ｐゴシック" pitchFamily="50" charset="-128"/>
                <a:cs typeface="+mn-cs"/>
              </a:rPr>
              <a:t>D</a:t>
            </a:r>
          </a:p>
        </p:txBody>
      </p:sp>
      <p:sp>
        <p:nvSpPr>
          <p:cNvPr id="20" name="Text Placeholder 12"/>
          <p:cNvSpPr>
            <a:spLocks/>
          </p:cNvSpPr>
          <p:nvPr>
            <p:custDataLst>
              <p:tags r:id="rId1"/>
            </p:custDataLst>
          </p:nvPr>
        </p:nvSpPr>
        <p:spPr bwMode="auto">
          <a:xfrm>
            <a:off x="1440656" y="1131570"/>
            <a:ext cx="929742"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p:txBody>
      </p:sp>
      <p:sp>
        <p:nvSpPr>
          <p:cNvPr id="11"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
        <p:nvSpPr>
          <p:cNvPr id="13" name="TextBox 12"/>
          <p:cNvSpPr txBox="1"/>
          <p:nvPr/>
        </p:nvSpPr>
        <p:spPr>
          <a:xfrm>
            <a:off x="4414266" y="4217670"/>
            <a:ext cx="672084" cy="207749"/>
          </a:xfrm>
          <a:prstGeom prst="rect">
            <a:avLst/>
          </a:prstGeom>
          <a:noFill/>
        </p:spPr>
        <p:txBody>
          <a:bodyPr wrap="square" rtlCol="0">
            <a:spAutoFit/>
          </a:bodyPr>
          <a:lstStyle/>
          <a:p>
            <a:pPr defTabSz="685800">
              <a:buClrTx/>
            </a:pPr>
            <a:r>
              <a:rPr lang="en-US" sz="750" b="1" kern="1200" dirty="0">
                <a:solidFill>
                  <a:srgbClr val="313131"/>
                </a:solidFill>
                <a:ea typeface="+mn-ea"/>
                <a:cs typeface="+mn-cs"/>
              </a:rPr>
              <a:t>Axis title</a:t>
            </a:r>
          </a:p>
        </p:txBody>
      </p:sp>
      <p:sp>
        <p:nvSpPr>
          <p:cNvPr id="14" name="TextBox 13"/>
          <p:cNvSpPr txBox="1"/>
          <p:nvPr/>
        </p:nvSpPr>
        <p:spPr>
          <a:xfrm rot="16200000">
            <a:off x="1143000" y="2560209"/>
            <a:ext cx="672084" cy="207749"/>
          </a:xfrm>
          <a:prstGeom prst="rect">
            <a:avLst/>
          </a:prstGeom>
          <a:noFill/>
        </p:spPr>
        <p:txBody>
          <a:bodyPr wrap="square" rtlCol="0">
            <a:spAutoFit/>
          </a:bodyPr>
          <a:lstStyle/>
          <a:p>
            <a:pPr defTabSz="685800">
              <a:buClrTx/>
            </a:pPr>
            <a:r>
              <a:rPr lang="en-US" sz="750" b="1" kern="1200" dirty="0">
                <a:solidFill>
                  <a:srgbClr val="313131"/>
                </a:solidFill>
                <a:ea typeface="+mn-ea"/>
                <a:cs typeface="+mn-cs"/>
              </a:rPr>
              <a:t>Axis title</a:t>
            </a:r>
          </a:p>
        </p:txBody>
      </p:sp>
    </p:spTree>
    <p:extLst>
      <p:ext uri="{BB962C8B-B14F-4D97-AF65-F5344CB8AC3E}">
        <p14:creationId xmlns:p14="http://schemas.microsoft.com/office/powerpoint/2010/main" val="651348739"/>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a:solidFill>
                  <a:srgbClr val="81BC00"/>
                </a:solidFill>
              </a:rPr>
              <a:t>Area chart  </a:t>
            </a:r>
            <a:br>
              <a:rPr lang="en-US" dirty="0">
                <a:solidFill>
                  <a:srgbClr val="575757"/>
                </a:solidFill>
              </a:rPr>
            </a:br>
            <a:r>
              <a:rPr lang="en-US" dirty="0">
                <a:solidFill>
                  <a:srgbClr val="575757"/>
                </a:solidFill>
              </a:rPr>
              <a:t>100% (‘parfait chart‘)</a:t>
            </a:r>
          </a:p>
        </p:txBody>
      </p:sp>
      <p:graphicFrame>
        <p:nvGraphicFramePr>
          <p:cNvPr id="5" name="Chart 4"/>
          <p:cNvGraphicFramePr/>
          <p:nvPr/>
        </p:nvGraphicFramePr>
        <p:xfrm>
          <a:off x="1429850" y="1371600"/>
          <a:ext cx="5859587" cy="2787732"/>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 Box 8"/>
          <p:cNvSpPr txBox="1">
            <a:spLocks noChangeArrowheads="1"/>
          </p:cNvSpPr>
          <p:nvPr/>
        </p:nvSpPr>
        <p:spPr bwMode="auto">
          <a:xfrm>
            <a:off x="7158521" y="1687028"/>
            <a:ext cx="444032" cy="115416"/>
          </a:xfrm>
          <a:prstGeom prst="rect">
            <a:avLst/>
          </a:prstGeom>
          <a:noFill/>
          <a:ln w="6350" algn="ctr">
            <a:noFill/>
            <a:miter lim="800000"/>
            <a:headEnd/>
            <a:tailEnd/>
          </a:ln>
        </p:spPr>
        <p:txBody>
          <a:bodyPr wrap="none" lIns="0" tIns="0" rIns="0" bIns="0">
            <a:spAutoFit/>
          </a:bodyPr>
          <a:lstStyle/>
          <a:p>
            <a:pPr defTabSz="685800">
              <a:spcBef>
                <a:spcPct val="0"/>
              </a:spcBef>
              <a:buClrTx/>
            </a:pPr>
            <a:r>
              <a:rPr lang="en-US" sz="750" kern="1200" dirty="0">
                <a:solidFill>
                  <a:srgbClr val="313131"/>
                </a:solidFill>
                <a:ea typeface="ＭＳ Ｐゴシック" pitchFamily="50" charset="-128"/>
                <a:cs typeface="+mn-cs"/>
              </a:rPr>
              <a:t>CAGR: .%</a:t>
            </a:r>
          </a:p>
        </p:txBody>
      </p:sp>
      <p:sp>
        <p:nvSpPr>
          <p:cNvPr id="21" name="Text Box 9"/>
          <p:cNvSpPr txBox="1">
            <a:spLocks noChangeArrowheads="1"/>
          </p:cNvSpPr>
          <p:nvPr/>
        </p:nvSpPr>
        <p:spPr bwMode="auto">
          <a:xfrm>
            <a:off x="7158521" y="2380803"/>
            <a:ext cx="444032" cy="115416"/>
          </a:xfrm>
          <a:prstGeom prst="rect">
            <a:avLst/>
          </a:prstGeom>
          <a:noFill/>
          <a:ln w="6350" algn="ctr">
            <a:noFill/>
            <a:miter lim="800000"/>
            <a:headEnd/>
            <a:tailEnd/>
          </a:ln>
        </p:spPr>
        <p:txBody>
          <a:bodyPr wrap="none" lIns="0" tIns="0" rIns="0" bIns="0">
            <a:spAutoFit/>
          </a:bodyPr>
          <a:lstStyle/>
          <a:p>
            <a:pPr defTabSz="685800">
              <a:spcBef>
                <a:spcPct val="0"/>
              </a:spcBef>
              <a:buClrTx/>
            </a:pPr>
            <a:r>
              <a:rPr lang="en-US" sz="750" kern="1200">
                <a:solidFill>
                  <a:srgbClr val="313131"/>
                </a:solidFill>
                <a:ea typeface="ＭＳ Ｐゴシック" pitchFamily="50" charset="-128"/>
                <a:cs typeface="+mn-cs"/>
              </a:rPr>
              <a:t>CAGR: .%</a:t>
            </a:r>
            <a:endParaRPr lang="en-US" sz="750" kern="1200" dirty="0">
              <a:solidFill>
                <a:srgbClr val="313131"/>
              </a:solidFill>
              <a:ea typeface="ＭＳ Ｐゴシック" pitchFamily="50" charset="-128"/>
              <a:cs typeface="+mn-cs"/>
            </a:endParaRPr>
          </a:p>
        </p:txBody>
      </p:sp>
      <p:sp>
        <p:nvSpPr>
          <p:cNvPr id="22" name="Text Box 10"/>
          <p:cNvSpPr txBox="1">
            <a:spLocks noChangeArrowheads="1"/>
          </p:cNvSpPr>
          <p:nvPr/>
        </p:nvSpPr>
        <p:spPr bwMode="auto">
          <a:xfrm>
            <a:off x="7158521" y="3172928"/>
            <a:ext cx="444032" cy="115416"/>
          </a:xfrm>
          <a:prstGeom prst="rect">
            <a:avLst/>
          </a:prstGeom>
          <a:noFill/>
          <a:ln w="6350" algn="ctr">
            <a:noFill/>
            <a:miter lim="800000"/>
            <a:headEnd/>
            <a:tailEnd/>
          </a:ln>
        </p:spPr>
        <p:txBody>
          <a:bodyPr wrap="none" lIns="0" tIns="0" rIns="0" bIns="0">
            <a:spAutoFit/>
          </a:bodyPr>
          <a:lstStyle/>
          <a:p>
            <a:pPr defTabSz="685800">
              <a:spcBef>
                <a:spcPct val="0"/>
              </a:spcBef>
              <a:buClrTx/>
            </a:pPr>
            <a:r>
              <a:rPr lang="en-US" sz="750" kern="1200">
                <a:solidFill>
                  <a:srgbClr val="313131"/>
                </a:solidFill>
                <a:ea typeface="ＭＳ Ｐゴシック" pitchFamily="50" charset="-128"/>
                <a:cs typeface="+mn-cs"/>
              </a:rPr>
              <a:t>CAGR: .%</a:t>
            </a:r>
          </a:p>
        </p:txBody>
      </p:sp>
      <p:sp>
        <p:nvSpPr>
          <p:cNvPr id="23" name="Text Box 11"/>
          <p:cNvSpPr txBox="1">
            <a:spLocks noChangeArrowheads="1"/>
          </p:cNvSpPr>
          <p:nvPr/>
        </p:nvSpPr>
        <p:spPr bwMode="auto">
          <a:xfrm>
            <a:off x="7158521" y="3630128"/>
            <a:ext cx="444032" cy="115416"/>
          </a:xfrm>
          <a:prstGeom prst="rect">
            <a:avLst/>
          </a:prstGeom>
          <a:noFill/>
          <a:ln w="6350" algn="ctr">
            <a:noFill/>
            <a:miter lim="800000"/>
            <a:headEnd/>
            <a:tailEnd/>
          </a:ln>
        </p:spPr>
        <p:txBody>
          <a:bodyPr wrap="none" lIns="0" tIns="0" rIns="0" bIns="0">
            <a:spAutoFit/>
          </a:bodyPr>
          <a:lstStyle/>
          <a:p>
            <a:pPr defTabSz="685800">
              <a:spcBef>
                <a:spcPct val="0"/>
              </a:spcBef>
              <a:buClrTx/>
            </a:pPr>
            <a:r>
              <a:rPr lang="en-US" sz="750" kern="1200">
                <a:solidFill>
                  <a:srgbClr val="313131"/>
                </a:solidFill>
                <a:ea typeface="ＭＳ Ｐゴシック" pitchFamily="50" charset="-128"/>
                <a:cs typeface="+mn-cs"/>
              </a:rPr>
              <a:t>CAGR: .%</a:t>
            </a:r>
          </a:p>
        </p:txBody>
      </p:sp>
      <p:sp>
        <p:nvSpPr>
          <p:cNvPr id="24" name="Text Placeholder 12"/>
          <p:cNvSpPr>
            <a:spLocks/>
          </p:cNvSpPr>
          <p:nvPr>
            <p:custDataLst>
              <p:tags r:id="rId1"/>
            </p:custDataLst>
          </p:nvPr>
        </p:nvSpPr>
        <p:spPr bwMode="auto">
          <a:xfrm>
            <a:off x="1440656" y="1131570"/>
            <a:ext cx="929742"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p:txBody>
      </p:sp>
      <p:sp>
        <p:nvSpPr>
          <p:cNvPr id="11"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
        <p:nvSpPr>
          <p:cNvPr id="13" name="TextBox 12"/>
          <p:cNvSpPr txBox="1"/>
          <p:nvPr/>
        </p:nvSpPr>
        <p:spPr>
          <a:xfrm>
            <a:off x="4414266" y="4217670"/>
            <a:ext cx="672084" cy="207749"/>
          </a:xfrm>
          <a:prstGeom prst="rect">
            <a:avLst/>
          </a:prstGeom>
          <a:noFill/>
        </p:spPr>
        <p:txBody>
          <a:bodyPr wrap="square" rtlCol="0">
            <a:spAutoFit/>
          </a:bodyPr>
          <a:lstStyle/>
          <a:p>
            <a:pPr defTabSz="685800">
              <a:buClrTx/>
            </a:pPr>
            <a:r>
              <a:rPr lang="en-US" sz="750" b="1" kern="1200" dirty="0">
                <a:solidFill>
                  <a:srgbClr val="313131"/>
                </a:solidFill>
                <a:ea typeface="+mn-ea"/>
                <a:cs typeface="+mn-cs"/>
              </a:rPr>
              <a:t>Axis title</a:t>
            </a:r>
          </a:p>
        </p:txBody>
      </p:sp>
      <p:sp>
        <p:nvSpPr>
          <p:cNvPr id="14" name="TextBox 13"/>
          <p:cNvSpPr txBox="1"/>
          <p:nvPr/>
        </p:nvSpPr>
        <p:spPr>
          <a:xfrm rot="16200000">
            <a:off x="1143000" y="2560209"/>
            <a:ext cx="672084" cy="207749"/>
          </a:xfrm>
          <a:prstGeom prst="rect">
            <a:avLst/>
          </a:prstGeom>
          <a:noFill/>
        </p:spPr>
        <p:txBody>
          <a:bodyPr wrap="square" rtlCol="0">
            <a:spAutoFit/>
          </a:bodyPr>
          <a:lstStyle/>
          <a:p>
            <a:pPr defTabSz="685800">
              <a:buClrTx/>
            </a:pPr>
            <a:r>
              <a:rPr lang="en-US" sz="750" b="1" kern="1200" dirty="0">
                <a:solidFill>
                  <a:srgbClr val="313131"/>
                </a:solidFill>
                <a:ea typeface="+mn-ea"/>
                <a:cs typeface="+mn-cs"/>
              </a:rPr>
              <a:t>Axis title</a:t>
            </a:r>
          </a:p>
        </p:txBody>
      </p:sp>
    </p:spTree>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ltLang="ja-JP" dirty="0">
                <a:solidFill>
                  <a:srgbClr val="81BC00"/>
                </a:solidFill>
              </a:rPr>
              <a:t>Pie chart  </a:t>
            </a:r>
            <a:br>
              <a:rPr lang="en-US" altLang="ja-JP" dirty="0">
                <a:solidFill>
                  <a:srgbClr val="575757"/>
                </a:solidFill>
              </a:rPr>
            </a:br>
            <a:r>
              <a:rPr lang="en-US" altLang="ja-JP" dirty="0">
                <a:solidFill>
                  <a:srgbClr val="575757"/>
                </a:solidFill>
              </a:rPr>
              <a:t>Multiple colors</a:t>
            </a:r>
            <a:endParaRPr lang="en-US" dirty="0">
              <a:solidFill>
                <a:srgbClr val="575757"/>
              </a:solidFill>
            </a:endParaRPr>
          </a:p>
        </p:txBody>
      </p:sp>
      <p:graphicFrame>
        <p:nvGraphicFramePr>
          <p:cNvPr id="24" name="Chart 23"/>
          <p:cNvGraphicFramePr/>
          <p:nvPr/>
        </p:nvGraphicFramePr>
        <p:xfrm>
          <a:off x="4419061" y="1268730"/>
          <a:ext cx="3239039" cy="2787732"/>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 Placeholder 3"/>
          <p:cNvSpPr txBox="1">
            <a:spLocks/>
          </p:cNvSpPr>
          <p:nvPr/>
        </p:nvSpPr>
        <p:spPr>
          <a:xfrm>
            <a:off x="1421100" y="1371600"/>
            <a:ext cx="3105000" cy="29472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5979" indent="-205979" defTabSz="685800">
              <a:spcBef>
                <a:spcPts val="900"/>
              </a:spcBef>
              <a:buClrTx/>
              <a:defRPr/>
            </a:pPr>
            <a:r>
              <a:rPr lang="en-GB" sz="1350" dirty="0">
                <a:solidFill>
                  <a:srgbClr val="313131"/>
                </a:solidFill>
                <a:latin typeface="Arial"/>
              </a:rPr>
              <a:t>This is a level one bullet this is dummy text it is not here to be read</a:t>
            </a:r>
          </a:p>
          <a:p>
            <a:pPr marL="205979" indent="-205979" defTabSz="685800">
              <a:spcBef>
                <a:spcPts val="900"/>
              </a:spcBef>
              <a:buClrTx/>
              <a:defRPr/>
            </a:pPr>
            <a:r>
              <a:rPr lang="en-GB" sz="1350" dirty="0">
                <a:solidFill>
                  <a:srgbClr val="313131"/>
                </a:solidFill>
                <a:latin typeface="Arial"/>
              </a:rPr>
              <a:t>This is a level one bullet this is dummy text it is not here to be read</a:t>
            </a:r>
          </a:p>
          <a:p>
            <a:pPr marL="205979" indent="-205979" defTabSz="685800">
              <a:spcBef>
                <a:spcPts val="900"/>
              </a:spcBef>
              <a:buClrTx/>
              <a:defRPr/>
            </a:pPr>
            <a:r>
              <a:rPr lang="en-GB" sz="1350" dirty="0">
                <a:solidFill>
                  <a:srgbClr val="313131"/>
                </a:solidFill>
                <a:latin typeface="Arial"/>
              </a:rPr>
              <a:t>This is a level one bullet this is dummy text it is not here to be read</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205979" indent="-205979" defTabSz="685800">
              <a:spcBef>
                <a:spcPts val="900"/>
              </a:spcBef>
              <a:buClrTx/>
              <a:defRPr/>
            </a:pPr>
            <a:endParaRPr lang="en-GB" sz="1350" dirty="0">
              <a:solidFill>
                <a:srgbClr val="313131"/>
              </a:solidFill>
              <a:latin typeface="Arial"/>
            </a:endParaRPr>
          </a:p>
        </p:txBody>
      </p:sp>
      <p:sp>
        <p:nvSpPr>
          <p:cNvPr id="7"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ltLang="ja-JP" dirty="0">
                <a:solidFill>
                  <a:srgbClr val="81BC00"/>
                </a:solidFill>
              </a:rPr>
              <a:t>Pie charts  </a:t>
            </a:r>
            <a:br>
              <a:rPr lang="en-US" altLang="ja-JP" dirty="0">
                <a:solidFill>
                  <a:srgbClr val="575757"/>
                </a:solidFill>
              </a:rPr>
            </a:br>
            <a:r>
              <a:rPr lang="en-US" altLang="ja-JP" dirty="0">
                <a:solidFill>
                  <a:srgbClr val="575757"/>
                </a:solidFill>
              </a:rPr>
              <a:t>L</a:t>
            </a:r>
            <a:r>
              <a:rPr lang="en-US" dirty="0">
                <a:solidFill>
                  <a:srgbClr val="575757"/>
                </a:solidFill>
              </a:rPr>
              <a:t>abels on outside</a:t>
            </a:r>
          </a:p>
        </p:txBody>
      </p:sp>
      <p:graphicFrame>
        <p:nvGraphicFramePr>
          <p:cNvPr id="24" name="Chart 23"/>
          <p:cNvGraphicFramePr/>
          <p:nvPr/>
        </p:nvGraphicFramePr>
        <p:xfrm>
          <a:off x="1819984" y="1371600"/>
          <a:ext cx="2200940" cy="236042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1" name="Chart 10"/>
          <p:cNvGraphicFramePr/>
          <p:nvPr/>
        </p:nvGraphicFramePr>
        <p:xfrm>
          <a:off x="5069532" y="1371600"/>
          <a:ext cx="2200940" cy="2360429"/>
        </p:xfrm>
        <a:graphic>
          <a:graphicData uri="http://schemas.openxmlformats.org/drawingml/2006/chart">
            <c:chart xmlns:c="http://schemas.openxmlformats.org/drawingml/2006/chart" xmlns:r="http://schemas.openxmlformats.org/officeDocument/2006/relationships" r:id="rId6"/>
          </a:graphicData>
        </a:graphic>
      </p:graphicFrame>
      <p:sp>
        <p:nvSpPr>
          <p:cNvPr id="14" name="Text Placeholder 12"/>
          <p:cNvSpPr>
            <a:spLocks/>
          </p:cNvSpPr>
          <p:nvPr>
            <p:custDataLst>
              <p:tags r:id="rId1"/>
            </p:custDataLst>
          </p:nvPr>
        </p:nvSpPr>
        <p:spPr bwMode="auto">
          <a:xfrm>
            <a:off x="1440656" y="1131570"/>
            <a:ext cx="929742"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p:txBody>
      </p:sp>
      <p:sp>
        <p:nvSpPr>
          <p:cNvPr id="17" name="Text Placeholder 12"/>
          <p:cNvSpPr>
            <a:spLocks/>
          </p:cNvSpPr>
          <p:nvPr>
            <p:custDataLst>
              <p:tags r:id="rId2"/>
            </p:custDataLst>
          </p:nvPr>
        </p:nvSpPr>
        <p:spPr bwMode="auto">
          <a:xfrm>
            <a:off x="4706541" y="1131570"/>
            <a:ext cx="929742"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p:txBody>
      </p:sp>
      <p:sp>
        <p:nvSpPr>
          <p:cNvPr id="9"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2776"/>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44362EF-4B96-0F0E-AD96-91FA9754877F}"/>
              </a:ext>
            </a:extLst>
          </p:cNvPr>
          <p:cNvSpPr txBox="1">
            <a:spLocks/>
          </p:cNvSpPr>
          <p:nvPr/>
        </p:nvSpPr>
        <p:spPr>
          <a:xfrm>
            <a:off x="443204" y="1831402"/>
            <a:ext cx="4237334" cy="1305791"/>
          </a:xfrm>
          <a:prstGeom prst="rect">
            <a:avLst/>
          </a:prstGeom>
          <a:noFill/>
          <a:ln>
            <a:noFill/>
          </a:ln>
        </p:spPr>
        <p:txBody>
          <a:bodyPr spcFirstLastPara="1" vert="horz" wrap="square" lIns="0" tIns="0" rIns="0" bIns="0" rtlCol="0" anchor="t" anchorCtr="0">
            <a:normAutofit fontScale="97500"/>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dirty="0">
                <a:solidFill>
                  <a:schemeClr val="bg1"/>
                </a:solidFill>
                <a:latin typeface="Arial Black" panose="020B0A04020102020204" pitchFamily="34" charset="0"/>
              </a:rPr>
              <a:t>Appendix</a:t>
            </a:r>
          </a:p>
        </p:txBody>
      </p:sp>
    </p:spTree>
    <p:extLst>
      <p:ext uri="{BB962C8B-B14F-4D97-AF65-F5344CB8AC3E}">
        <p14:creationId xmlns:p14="http://schemas.microsoft.com/office/powerpoint/2010/main" val="4149986863"/>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ltLang="ja-JP" dirty="0">
                <a:solidFill>
                  <a:srgbClr val="81BC00"/>
                </a:solidFill>
              </a:rPr>
              <a:t>Pie charts  </a:t>
            </a:r>
            <a:br>
              <a:rPr lang="en-US" altLang="ja-JP" dirty="0">
                <a:solidFill>
                  <a:srgbClr val="81BC00"/>
                </a:solidFill>
              </a:rPr>
            </a:br>
            <a:r>
              <a:rPr lang="en-US" altLang="ja-JP" dirty="0">
                <a:solidFill>
                  <a:srgbClr val="575757"/>
                </a:solidFill>
              </a:rPr>
              <a:t>S</a:t>
            </a:r>
            <a:r>
              <a:rPr lang="en-US" dirty="0">
                <a:solidFill>
                  <a:srgbClr val="575757"/>
                </a:solidFill>
              </a:rPr>
              <a:t>lice exploded</a:t>
            </a:r>
          </a:p>
        </p:txBody>
      </p:sp>
      <p:graphicFrame>
        <p:nvGraphicFramePr>
          <p:cNvPr id="24" name="Chart 23"/>
          <p:cNvGraphicFramePr/>
          <p:nvPr/>
        </p:nvGraphicFramePr>
        <p:xfrm>
          <a:off x="1819984" y="1371600"/>
          <a:ext cx="2200940" cy="236042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Chart 14"/>
          <p:cNvGraphicFramePr/>
          <p:nvPr/>
        </p:nvGraphicFramePr>
        <p:xfrm>
          <a:off x="5069532" y="1371600"/>
          <a:ext cx="2200940" cy="2360429"/>
        </p:xfrm>
        <a:graphic>
          <a:graphicData uri="http://schemas.openxmlformats.org/drawingml/2006/chart">
            <c:chart xmlns:c="http://schemas.openxmlformats.org/drawingml/2006/chart" xmlns:r="http://schemas.openxmlformats.org/officeDocument/2006/relationships" r:id="rId5"/>
          </a:graphicData>
        </a:graphic>
      </p:graphicFrame>
      <p:cxnSp>
        <p:nvCxnSpPr>
          <p:cNvPr id="17" name="Straight Connector 16"/>
          <p:cNvCxnSpPr/>
          <p:nvPr/>
        </p:nvCxnSpPr>
        <p:spPr>
          <a:xfrm flipV="1">
            <a:off x="3834442" y="1543051"/>
            <a:ext cx="2147977" cy="530525"/>
          </a:xfrm>
          <a:prstGeom prst="line">
            <a:avLst/>
          </a:prstGeom>
          <a:ln w="19050">
            <a:solidFill>
              <a:srgbClr val="B4B4B4"/>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3866791" y="2884458"/>
            <a:ext cx="2083279" cy="601693"/>
          </a:xfrm>
          <a:prstGeom prst="line">
            <a:avLst/>
          </a:prstGeom>
          <a:ln w="19050">
            <a:solidFill>
              <a:srgbClr val="B4B4B4"/>
            </a:solidFill>
          </a:ln>
        </p:spPr>
        <p:style>
          <a:lnRef idx="1">
            <a:schemeClr val="accent1"/>
          </a:lnRef>
          <a:fillRef idx="0">
            <a:schemeClr val="accent1"/>
          </a:fillRef>
          <a:effectRef idx="0">
            <a:schemeClr val="accent1"/>
          </a:effectRef>
          <a:fontRef idx="minor">
            <a:schemeClr val="tx1"/>
          </a:fontRef>
        </p:style>
      </p:cxnSp>
      <p:sp>
        <p:nvSpPr>
          <p:cNvPr id="14" name="Text Placeholder 12"/>
          <p:cNvSpPr>
            <a:spLocks/>
          </p:cNvSpPr>
          <p:nvPr>
            <p:custDataLst>
              <p:tags r:id="rId1"/>
            </p:custDataLst>
          </p:nvPr>
        </p:nvSpPr>
        <p:spPr bwMode="auto">
          <a:xfrm>
            <a:off x="1440656" y="1128713"/>
            <a:ext cx="929742"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p:txBody>
      </p:sp>
      <p:sp>
        <p:nvSpPr>
          <p:cNvPr id="10"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ltLang="ja-JP" dirty="0">
                <a:solidFill>
                  <a:srgbClr val="81BC00"/>
                </a:solidFill>
              </a:rPr>
              <a:t>Pie chart  </a:t>
            </a:r>
            <a:br>
              <a:rPr lang="en-US" altLang="ja-JP" dirty="0">
                <a:solidFill>
                  <a:srgbClr val="575757"/>
                </a:solidFill>
              </a:rPr>
            </a:br>
            <a:r>
              <a:rPr lang="en-US" altLang="ja-JP" dirty="0">
                <a:solidFill>
                  <a:srgbClr val="575757"/>
                </a:solidFill>
              </a:rPr>
              <a:t>Explosion</a:t>
            </a:r>
            <a:endParaRPr lang="en-US" dirty="0">
              <a:solidFill>
                <a:srgbClr val="575757"/>
              </a:solidFill>
            </a:endParaRPr>
          </a:p>
        </p:txBody>
      </p:sp>
      <p:graphicFrame>
        <p:nvGraphicFramePr>
          <p:cNvPr id="24" name="Chart 23"/>
          <p:cNvGraphicFramePr/>
          <p:nvPr/>
        </p:nvGraphicFramePr>
        <p:xfrm>
          <a:off x="1897380" y="1931996"/>
          <a:ext cx="2016252" cy="2119122"/>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Chart 15"/>
          <p:cNvGraphicFramePr/>
          <p:nvPr/>
        </p:nvGraphicFramePr>
        <p:xfrm>
          <a:off x="4747206" y="1371600"/>
          <a:ext cx="2829310" cy="3009074"/>
        </p:xfrm>
        <a:graphic>
          <a:graphicData uri="http://schemas.openxmlformats.org/drawingml/2006/chart">
            <c:chart xmlns:c="http://schemas.openxmlformats.org/drawingml/2006/chart" xmlns:r="http://schemas.openxmlformats.org/officeDocument/2006/relationships" r:id="rId9"/>
          </a:graphicData>
        </a:graphic>
      </p:graphicFrame>
      <p:sp>
        <p:nvSpPr>
          <p:cNvPr id="23" name="Text Placeholder 12"/>
          <p:cNvSpPr>
            <a:spLocks/>
          </p:cNvSpPr>
          <p:nvPr>
            <p:custDataLst>
              <p:tags r:id="rId1"/>
            </p:custDataLst>
          </p:nvPr>
        </p:nvSpPr>
        <p:spPr bwMode="auto">
          <a:xfrm>
            <a:off x="7003959" y="1943100"/>
            <a:ext cx="244904" cy="126958"/>
          </a:xfrm>
          <a:prstGeom prst="rect">
            <a:avLst/>
          </a:prstGeom>
          <a:noFill/>
          <a:ln w="9525">
            <a:noFill/>
            <a:miter lim="800000"/>
            <a:headEnd/>
            <a:tailEnd/>
          </a:ln>
        </p:spPr>
        <p:txBody>
          <a:bodyPr wrap="square" lIns="0" tIns="0" rIns="0" bIns="0">
            <a:spAutoFit/>
          </a:bodyPr>
          <a:lstStyle/>
          <a:p>
            <a:pPr defTabSz="764381">
              <a:spcAft>
                <a:spcPts val="225"/>
              </a:spcAft>
              <a:buClrTx/>
            </a:pPr>
            <a:r>
              <a:rPr lang="en-US" sz="825" kern="1200" dirty="0">
                <a:solidFill>
                  <a:srgbClr val="313131"/>
                </a:solidFill>
                <a:ea typeface="+mn-ea"/>
                <a:cs typeface="+mn-cs"/>
              </a:rPr>
              <a:t>Text</a:t>
            </a:r>
          </a:p>
        </p:txBody>
      </p:sp>
      <p:sp>
        <p:nvSpPr>
          <p:cNvPr id="29" name="Text Placeholder 12"/>
          <p:cNvSpPr>
            <a:spLocks/>
          </p:cNvSpPr>
          <p:nvPr>
            <p:custDataLst>
              <p:tags r:id="rId2"/>
            </p:custDataLst>
          </p:nvPr>
        </p:nvSpPr>
        <p:spPr bwMode="auto">
          <a:xfrm>
            <a:off x="7003959" y="2571750"/>
            <a:ext cx="244904" cy="126958"/>
          </a:xfrm>
          <a:prstGeom prst="rect">
            <a:avLst/>
          </a:prstGeom>
          <a:noFill/>
          <a:ln w="9525">
            <a:noFill/>
            <a:miter lim="800000"/>
            <a:headEnd/>
            <a:tailEnd/>
          </a:ln>
        </p:spPr>
        <p:txBody>
          <a:bodyPr wrap="square" lIns="0" tIns="0" rIns="0" bIns="0">
            <a:spAutoFit/>
          </a:bodyPr>
          <a:lstStyle/>
          <a:p>
            <a:pPr defTabSz="764381">
              <a:spcAft>
                <a:spcPts val="225"/>
              </a:spcAft>
              <a:buClrTx/>
            </a:pPr>
            <a:r>
              <a:rPr lang="en-US" sz="825" kern="1200" dirty="0">
                <a:solidFill>
                  <a:srgbClr val="313131"/>
                </a:solidFill>
                <a:ea typeface="+mn-ea"/>
                <a:cs typeface="+mn-cs"/>
              </a:rPr>
              <a:t>Text</a:t>
            </a:r>
          </a:p>
        </p:txBody>
      </p:sp>
      <p:sp>
        <p:nvSpPr>
          <p:cNvPr id="30" name="Text Placeholder 12"/>
          <p:cNvSpPr>
            <a:spLocks/>
          </p:cNvSpPr>
          <p:nvPr>
            <p:custDataLst>
              <p:tags r:id="rId3"/>
            </p:custDataLst>
          </p:nvPr>
        </p:nvSpPr>
        <p:spPr bwMode="auto">
          <a:xfrm>
            <a:off x="7003959" y="3143250"/>
            <a:ext cx="244904" cy="126958"/>
          </a:xfrm>
          <a:prstGeom prst="rect">
            <a:avLst/>
          </a:prstGeom>
          <a:noFill/>
          <a:ln w="9525">
            <a:noFill/>
            <a:miter lim="800000"/>
            <a:headEnd/>
            <a:tailEnd/>
          </a:ln>
        </p:spPr>
        <p:txBody>
          <a:bodyPr wrap="square" lIns="0" tIns="0" rIns="0" bIns="0">
            <a:spAutoFit/>
          </a:bodyPr>
          <a:lstStyle/>
          <a:p>
            <a:pPr defTabSz="764381">
              <a:spcAft>
                <a:spcPts val="225"/>
              </a:spcAft>
              <a:buClrTx/>
            </a:pPr>
            <a:r>
              <a:rPr lang="en-US" sz="825" kern="1200" dirty="0">
                <a:solidFill>
                  <a:srgbClr val="313131"/>
                </a:solidFill>
                <a:ea typeface="+mn-ea"/>
                <a:cs typeface="+mn-cs"/>
              </a:rPr>
              <a:t>Text</a:t>
            </a:r>
          </a:p>
        </p:txBody>
      </p:sp>
      <p:sp>
        <p:nvSpPr>
          <p:cNvPr id="31" name="Text Placeholder 12"/>
          <p:cNvSpPr>
            <a:spLocks/>
          </p:cNvSpPr>
          <p:nvPr>
            <p:custDataLst>
              <p:tags r:id="rId4"/>
            </p:custDataLst>
          </p:nvPr>
        </p:nvSpPr>
        <p:spPr bwMode="auto">
          <a:xfrm>
            <a:off x="7003959" y="3779874"/>
            <a:ext cx="244904" cy="126958"/>
          </a:xfrm>
          <a:prstGeom prst="rect">
            <a:avLst/>
          </a:prstGeom>
          <a:noFill/>
          <a:ln w="9525">
            <a:noFill/>
            <a:miter lim="800000"/>
            <a:headEnd/>
            <a:tailEnd/>
          </a:ln>
        </p:spPr>
        <p:txBody>
          <a:bodyPr wrap="square" lIns="0" tIns="0" rIns="0" bIns="0">
            <a:spAutoFit/>
          </a:bodyPr>
          <a:lstStyle/>
          <a:p>
            <a:pPr defTabSz="764381">
              <a:spcAft>
                <a:spcPts val="225"/>
              </a:spcAft>
              <a:buClrTx/>
            </a:pPr>
            <a:r>
              <a:rPr lang="en-US" sz="825" kern="1200" dirty="0">
                <a:solidFill>
                  <a:srgbClr val="313131"/>
                </a:solidFill>
                <a:ea typeface="+mn-ea"/>
                <a:cs typeface="+mn-cs"/>
              </a:rPr>
              <a:t>Text</a:t>
            </a:r>
          </a:p>
        </p:txBody>
      </p:sp>
      <p:sp>
        <p:nvSpPr>
          <p:cNvPr id="34" name="Freeform 5"/>
          <p:cNvSpPr>
            <a:spLocks/>
          </p:cNvSpPr>
          <p:nvPr/>
        </p:nvSpPr>
        <p:spPr bwMode="auto">
          <a:xfrm>
            <a:off x="3588589" y="1451346"/>
            <a:ext cx="1296000" cy="835979"/>
          </a:xfrm>
          <a:custGeom>
            <a:avLst/>
            <a:gdLst>
              <a:gd name="T0" fmla="*/ 0 w 1404"/>
              <a:gd name="T1" fmla="*/ 2147483647 h 228"/>
              <a:gd name="T2" fmla="*/ 0 w 1404"/>
              <a:gd name="T3" fmla="*/ 0 h 228"/>
              <a:gd name="T4" fmla="*/ 2147483647 w 1404"/>
              <a:gd name="T5" fmla="*/ 0 h 228"/>
              <a:gd name="T6" fmla="*/ 0 60000 65536"/>
              <a:gd name="T7" fmla="*/ 0 60000 65536"/>
              <a:gd name="T8" fmla="*/ 0 60000 65536"/>
              <a:gd name="T9" fmla="*/ 0 w 1404"/>
              <a:gd name="T10" fmla="*/ 0 h 228"/>
              <a:gd name="T11" fmla="*/ 1404 w 1404"/>
              <a:gd name="T12" fmla="*/ 228 h 228"/>
            </a:gdLst>
            <a:ahLst/>
            <a:cxnLst>
              <a:cxn ang="T6">
                <a:pos x="T0" y="T1"/>
              </a:cxn>
              <a:cxn ang="T7">
                <a:pos x="T2" y="T3"/>
              </a:cxn>
              <a:cxn ang="T8">
                <a:pos x="T4" y="T5"/>
              </a:cxn>
            </a:cxnLst>
            <a:rect l="T9" t="T10" r="T11" b="T12"/>
            <a:pathLst>
              <a:path w="1404" h="228">
                <a:moveTo>
                  <a:pt x="0" y="228"/>
                </a:moveTo>
                <a:lnTo>
                  <a:pt x="0" y="0"/>
                </a:lnTo>
                <a:lnTo>
                  <a:pt x="1404" y="0"/>
                </a:lnTo>
              </a:path>
            </a:pathLst>
          </a:custGeom>
          <a:noFill/>
          <a:ln w="19050">
            <a:solidFill>
              <a:srgbClr val="B4B4B4"/>
            </a:solidFill>
            <a:prstDash val="lgDash"/>
            <a:round/>
            <a:headEnd/>
            <a:tailEnd/>
          </a:ln>
        </p:spPr>
        <p:txBody>
          <a:bodyPr wrap="none" anchor="ctr"/>
          <a:lstStyle/>
          <a:p>
            <a:pPr defTabSz="685800">
              <a:buClrTx/>
            </a:pPr>
            <a:endParaRPr lang="en-US" sz="1350" kern="1200">
              <a:solidFill>
                <a:prstClr val="black"/>
              </a:solidFill>
              <a:ea typeface="+mn-ea"/>
              <a:cs typeface="+mn-cs"/>
            </a:endParaRPr>
          </a:p>
        </p:txBody>
      </p:sp>
      <p:sp>
        <p:nvSpPr>
          <p:cNvPr id="35" name="Freeform 14"/>
          <p:cNvSpPr>
            <a:spLocks/>
          </p:cNvSpPr>
          <p:nvPr/>
        </p:nvSpPr>
        <p:spPr bwMode="auto">
          <a:xfrm rot="10800000" flipH="1">
            <a:off x="3610673" y="3564317"/>
            <a:ext cx="1296000" cy="614279"/>
          </a:xfrm>
          <a:custGeom>
            <a:avLst/>
            <a:gdLst>
              <a:gd name="T0" fmla="*/ 0 w 1404"/>
              <a:gd name="T1" fmla="*/ 2147483647 h 228"/>
              <a:gd name="T2" fmla="*/ 0 w 1404"/>
              <a:gd name="T3" fmla="*/ 0 h 228"/>
              <a:gd name="T4" fmla="*/ 2147483647 w 1404"/>
              <a:gd name="T5" fmla="*/ 0 h 228"/>
              <a:gd name="T6" fmla="*/ 0 60000 65536"/>
              <a:gd name="T7" fmla="*/ 0 60000 65536"/>
              <a:gd name="T8" fmla="*/ 0 60000 65536"/>
              <a:gd name="T9" fmla="*/ 0 w 1404"/>
              <a:gd name="T10" fmla="*/ 0 h 228"/>
              <a:gd name="T11" fmla="*/ 1404 w 1404"/>
              <a:gd name="T12" fmla="*/ 228 h 228"/>
            </a:gdLst>
            <a:ahLst/>
            <a:cxnLst>
              <a:cxn ang="T6">
                <a:pos x="T0" y="T1"/>
              </a:cxn>
              <a:cxn ang="T7">
                <a:pos x="T2" y="T3"/>
              </a:cxn>
              <a:cxn ang="T8">
                <a:pos x="T4" y="T5"/>
              </a:cxn>
            </a:cxnLst>
            <a:rect l="T9" t="T10" r="T11" b="T12"/>
            <a:pathLst>
              <a:path w="1404" h="228">
                <a:moveTo>
                  <a:pt x="0" y="228"/>
                </a:moveTo>
                <a:lnTo>
                  <a:pt x="0" y="0"/>
                </a:lnTo>
                <a:lnTo>
                  <a:pt x="1404" y="0"/>
                </a:lnTo>
              </a:path>
            </a:pathLst>
          </a:custGeom>
          <a:noFill/>
          <a:ln w="19050">
            <a:solidFill>
              <a:srgbClr val="B4B4B4"/>
            </a:solidFill>
            <a:prstDash val="lgDash"/>
            <a:round/>
            <a:headEnd/>
            <a:tailEnd/>
          </a:ln>
        </p:spPr>
        <p:txBody>
          <a:bodyPr wrap="none" anchor="ctr"/>
          <a:lstStyle/>
          <a:p>
            <a:pPr defTabSz="685800">
              <a:buClrTx/>
            </a:pPr>
            <a:endParaRPr lang="en-US" sz="1350" kern="1200">
              <a:solidFill>
                <a:prstClr val="black"/>
              </a:solidFill>
              <a:ea typeface="+mn-ea"/>
              <a:cs typeface="+mn-cs"/>
            </a:endParaRPr>
          </a:p>
        </p:txBody>
      </p:sp>
      <p:sp>
        <p:nvSpPr>
          <p:cNvPr id="17" name="Text Placeholder 12"/>
          <p:cNvSpPr>
            <a:spLocks/>
          </p:cNvSpPr>
          <p:nvPr>
            <p:custDataLst>
              <p:tags r:id="rId5"/>
            </p:custDataLst>
          </p:nvPr>
        </p:nvSpPr>
        <p:spPr bwMode="auto">
          <a:xfrm>
            <a:off x="1440656" y="1131570"/>
            <a:ext cx="929742"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p:txBody>
      </p:sp>
      <p:sp>
        <p:nvSpPr>
          <p:cNvPr id="14"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p:cNvGraphicFramePr>
          <p:nvPr>
            <p:custDataLst>
              <p:tags r:id="rId1"/>
            </p:custDataLst>
          </p:nvPr>
        </p:nvGraphicFramePr>
        <p:xfrm>
          <a:off x="1143000" y="0"/>
          <a:ext cx="109904" cy="119063"/>
        </p:xfrm>
        <a:graphic>
          <a:graphicData uri="http://schemas.openxmlformats.org/presentationml/2006/ole">
            <mc:AlternateContent xmlns:mc="http://schemas.openxmlformats.org/markup-compatibility/2006">
              <mc:Choice xmlns:v="urn:schemas-microsoft-com:vml" Requires="v">
                <p:oleObj name="think-cell Slide" r:id="rId10" imgW="0" imgH="0" progId="">
                  <p:embed/>
                </p:oleObj>
              </mc:Choice>
              <mc:Fallback>
                <p:oleObj name="think-cell Slide" r:id="rId10" imgW="0" imgH="0" progId="">
                  <p:embed/>
                  <p:pic>
                    <p:nvPicPr>
                      <p:cNvPr id="18" name="Object 1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904"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itle 11"/>
          <p:cNvSpPr>
            <a:spLocks noGrp="1"/>
          </p:cNvSpPr>
          <p:nvPr>
            <p:ph type="title"/>
            <p:custDataLst>
              <p:tags r:id="rId2"/>
            </p:custDataLst>
          </p:nvPr>
        </p:nvSpPr>
        <p:spPr/>
        <p:txBody>
          <a:bodyPr/>
          <a:lstStyle/>
          <a:p>
            <a:r>
              <a:rPr lang="en-US" altLang="ja-JP" dirty="0">
                <a:solidFill>
                  <a:srgbClr val="81BC00"/>
                </a:solidFill>
              </a:rPr>
              <a:t>Pie chart  </a:t>
            </a:r>
            <a:br>
              <a:rPr lang="en-US" altLang="ja-JP" dirty="0">
                <a:solidFill>
                  <a:srgbClr val="575757"/>
                </a:solidFill>
              </a:rPr>
            </a:br>
            <a:r>
              <a:rPr lang="en-US" altLang="ja-JP" dirty="0">
                <a:solidFill>
                  <a:srgbClr val="575757"/>
                </a:solidFill>
              </a:rPr>
              <a:t>S</a:t>
            </a:r>
            <a:r>
              <a:rPr lang="en-US" dirty="0">
                <a:solidFill>
                  <a:srgbClr val="575757"/>
                </a:solidFill>
              </a:rPr>
              <a:t>tacked </a:t>
            </a:r>
            <a:r>
              <a:rPr lang="en-US" altLang="ja-JP" dirty="0">
                <a:solidFill>
                  <a:srgbClr val="575757"/>
                </a:solidFill>
              </a:rPr>
              <a:t>co</a:t>
            </a:r>
            <a:r>
              <a:rPr lang="en-US" dirty="0">
                <a:solidFill>
                  <a:srgbClr val="575757"/>
                </a:solidFill>
              </a:rPr>
              <a:t>lumn 100%</a:t>
            </a:r>
          </a:p>
        </p:txBody>
      </p:sp>
      <p:sp>
        <p:nvSpPr>
          <p:cNvPr id="11" name="Freeform 5"/>
          <p:cNvSpPr>
            <a:spLocks/>
          </p:cNvSpPr>
          <p:nvPr>
            <p:custDataLst>
              <p:tags r:id="rId3"/>
            </p:custDataLst>
          </p:nvPr>
        </p:nvSpPr>
        <p:spPr bwMode="auto">
          <a:xfrm>
            <a:off x="3366003" y="1459325"/>
            <a:ext cx="1334541" cy="781494"/>
          </a:xfrm>
          <a:custGeom>
            <a:avLst/>
            <a:gdLst>
              <a:gd name="T0" fmla="*/ 0 w 1404"/>
              <a:gd name="T1" fmla="*/ 2147483647 h 228"/>
              <a:gd name="T2" fmla="*/ 0 w 1404"/>
              <a:gd name="T3" fmla="*/ 0 h 228"/>
              <a:gd name="T4" fmla="*/ 2147483647 w 1404"/>
              <a:gd name="T5" fmla="*/ 0 h 228"/>
              <a:gd name="T6" fmla="*/ 0 60000 65536"/>
              <a:gd name="T7" fmla="*/ 0 60000 65536"/>
              <a:gd name="T8" fmla="*/ 0 60000 65536"/>
              <a:gd name="T9" fmla="*/ 0 w 1404"/>
              <a:gd name="T10" fmla="*/ 0 h 228"/>
              <a:gd name="T11" fmla="*/ 1404 w 1404"/>
              <a:gd name="T12" fmla="*/ 228 h 228"/>
            </a:gdLst>
            <a:ahLst/>
            <a:cxnLst>
              <a:cxn ang="T6">
                <a:pos x="T0" y="T1"/>
              </a:cxn>
              <a:cxn ang="T7">
                <a:pos x="T2" y="T3"/>
              </a:cxn>
              <a:cxn ang="T8">
                <a:pos x="T4" y="T5"/>
              </a:cxn>
            </a:cxnLst>
            <a:rect l="T9" t="T10" r="T11" b="T12"/>
            <a:pathLst>
              <a:path w="1404" h="228">
                <a:moveTo>
                  <a:pt x="0" y="228"/>
                </a:moveTo>
                <a:lnTo>
                  <a:pt x="0" y="0"/>
                </a:lnTo>
                <a:lnTo>
                  <a:pt x="1404" y="0"/>
                </a:lnTo>
              </a:path>
            </a:pathLst>
          </a:custGeom>
          <a:noFill/>
          <a:ln w="19050">
            <a:solidFill>
              <a:srgbClr val="B4B4B4"/>
            </a:solidFill>
            <a:prstDash val="lgDash"/>
            <a:round/>
            <a:headEnd/>
            <a:tailEnd/>
          </a:ln>
        </p:spPr>
        <p:txBody>
          <a:bodyPr wrap="none" anchor="ctr"/>
          <a:lstStyle/>
          <a:p>
            <a:pPr defTabSz="685800">
              <a:buClrTx/>
            </a:pPr>
            <a:endParaRPr lang="en-US" sz="1350" kern="1200">
              <a:solidFill>
                <a:prstClr val="black"/>
              </a:solidFill>
              <a:ea typeface="+mn-ea"/>
              <a:cs typeface="+mn-cs"/>
            </a:endParaRPr>
          </a:p>
        </p:txBody>
      </p:sp>
      <p:sp>
        <p:nvSpPr>
          <p:cNvPr id="16" name="Freeform 14"/>
          <p:cNvSpPr>
            <a:spLocks/>
          </p:cNvSpPr>
          <p:nvPr>
            <p:custDataLst>
              <p:tags r:id="rId4"/>
            </p:custDataLst>
          </p:nvPr>
        </p:nvSpPr>
        <p:spPr bwMode="auto">
          <a:xfrm rot="10800000" flipH="1">
            <a:off x="3385274" y="3540400"/>
            <a:ext cx="1296000" cy="614279"/>
          </a:xfrm>
          <a:custGeom>
            <a:avLst/>
            <a:gdLst>
              <a:gd name="T0" fmla="*/ 0 w 1404"/>
              <a:gd name="T1" fmla="*/ 2147483647 h 228"/>
              <a:gd name="T2" fmla="*/ 0 w 1404"/>
              <a:gd name="T3" fmla="*/ 0 h 228"/>
              <a:gd name="T4" fmla="*/ 2147483647 w 1404"/>
              <a:gd name="T5" fmla="*/ 0 h 228"/>
              <a:gd name="T6" fmla="*/ 0 60000 65536"/>
              <a:gd name="T7" fmla="*/ 0 60000 65536"/>
              <a:gd name="T8" fmla="*/ 0 60000 65536"/>
              <a:gd name="T9" fmla="*/ 0 w 1404"/>
              <a:gd name="T10" fmla="*/ 0 h 228"/>
              <a:gd name="T11" fmla="*/ 1404 w 1404"/>
              <a:gd name="T12" fmla="*/ 228 h 228"/>
            </a:gdLst>
            <a:ahLst/>
            <a:cxnLst>
              <a:cxn ang="T6">
                <a:pos x="T0" y="T1"/>
              </a:cxn>
              <a:cxn ang="T7">
                <a:pos x="T2" y="T3"/>
              </a:cxn>
              <a:cxn ang="T8">
                <a:pos x="T4" y="T5"/>
              </a:cxn>
            </a:cxnLst>
            <a:rect l="T9" t="T10" r="T11" b="T12"/>
            <a:pathLst>
              <a:path w="1404" h="228">
                <a:moveTo>
                  <a:pt x="0" y="228"/>
                </a:moveTo>
                <a:lnTo>
                  <a:pt x="0" y="0"/>
                </a:lnTo>
                <a:lnTo>
                  <a:pt x="1404" y="0"/>
                </a:lnTo>
              </a:path>
            </a:pathLst>
          </a:custGeom>
          <a:noFill/>
          <a:ln w="19050">
            <a:solidFill>
              <a:srgbClr val="B4B4B4"/>
            </a:solidFill>
            <a:prstDash val="lgDash"/>
            <a:round/>
            <a:headEnd/>
            <a:tailEnd/>
          </a:ln>
        </p:spPr>
        <p:txBody>
          <a:bodyPr wrap="none" anchor="ctr"/>
          <a:lstStyle/>
          <a:p>
            <a:pPr defTabSz="685800">
              <a:buClrTx/>
            </a:pPr>
            <a:endParaRPr lang="en-US" sz="1350" kern="1200">
              <a:solidFill>
                <a:prstClr val="black"/>
              </a:solidFill>
              <a:ea typeface="+mn-ea"/>
              <a:cs typeface="+mn-cs"/>
            </a:endParaRPr>
          </a:p>
        </p:txBody>
      </p:sp>
      <p:graphicFrame>
        <p:nvGraphicFramePr>
          <p:cNvPr id="24" name="Chart 23"/>
          <p:cNvGraphicFramePr/>
          <p:nvPr>
            <p:custDataLst>
              <p:tags r:id="rId5"/>
            </p:custDataLst>
          </p:nvPr>
        </p:nvGraphicFramePr>
        <p:xfrm>
          <a:off x="1819985" y="1816207"/>
          <a:ext cx="2017142" cy="2117264"/>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9" name="Chart 18"/>
          <p:cNvGraphicFramePr/>
          <p:nvPr>
            <p:custDataLst>
              <p:tags r:id="rId6"/>
            </p:custDataLst>
          </p:nvPr>
        </p:nvGraphicFramePr>
        <p:xfrm>
          <a:off x="4755348" y="1370302"/>
          <a:ext cx="2482562" cy="3009074"/>
        </p:xfrm>
        <a:graphic>
          <a:graphicData uri="http://schemas.openxmlformats.org/drawingml/2006/chart">
            <c:chart xmlns:c="http://schemas.openxmlformats.org/drawingml/2006/chart" xmlns:r="http://schemas.openxmlformats.org/officeDocument/2006/relationships" r:id="rId12"/>
          </a:graphicData>
        </a:graphic>
      </p:graphicFrame>
      <p:sp>
        <p:nvSpPr>
          <p:cNvPr id="14" name="Text Placeholder 12"/>
          <p:cNvSpPr>
            <a:spLocks/>
          </p:cNvSpPr>
          <p:nvPr>
            <p:custDataLst>
              <p:tags r:id="rId7"/>
            </p:custDataLst>
          </p:nvPr>
        </p:nvSpPr>
        <p:spPr bwMode="auto">
          <a:xfrm>
            <a:off x="1440657" y="1131570"/>
            <a:ext cx="956993"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 </a:t>
            </a:r>
          </a:p>
        </p:txBody>
      </p:sp>
      <p:sp>
        <p:nvSpPr>
          <p:cNvPr id="13"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p:cNvGraphicFramePr>
          <p:nvPr>
            <p:custDataLst>
              <p:tags r:id="rId1"/>
            </p:custDataLst>
          </p:nvPr>
        </p:nvGraphicFramePr>
        <p:xfrm>
          <a:off x="1143000" y="0"/>
          <a:ext cx="109904" cy="119063"/>
        </p:xfrm>
        <a:graphic>
          <a:graphicData uri="http://schemas.openxmlformats.org/presentationml/2006/ole">
            <mc:AlternateContent xmlns:mc="http://schemas.openxmlformats.org/markup-compatibility/2006">
              <mc:Choice xmlns:v="urn:schemas-microsoft-com:vml" Requires="v">
                <p:oleObj name="think-cell Slide" r:id="rId10" imgW="0" imgH="0" progId="">
                  <p:embed/>
                </p:oleObj>
              </mc:Choice>
              <mc:Fallback>
                <p:oleObj name="think-cell Slide" r:id="rId10" imgW="0" imgH="0" progId="">
                  <p:embed/>
                  <p:pic>
                    <p:nvPicPr>
                      <p:cNvPr id="18" name="Object 1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09904"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itle 11"/>
          <p:cNvSpPr>
            <a:spLocks noGrp="1"/>
          </p:cNvSpPr>
          <p:nvPr>
            <p:ph type="title"/>
            <p:custDataLst>
              <p:tags r:id="rId2"/>
            </p:custDataLst>
          </p:nvPr>
        </p:nvSpPr>
        <p:spPr/>
        <p:txBody>
          <a:bodyPr/>
          <a:lstStyle/>
          <a:p>
            <a:r>
              <a:rPr lang="en-US" altLang="ja-JP" dirty="0">
                <a:solidFill>
                  <a:srgbClr val="81BC00"/>
                </a:solidFill>
              </a:rPr>
              <a:t>Pie chart  </a:t>
            </a:r>
            <a:br>
              <a:rPr lang="en-US" altLang="ja-JP" dirty="0">
                <a:solidFill>
                  <a:srgbClr val="81BC00"/>
                </a:solidFill>
              </a:rPr>
            </a:br>
            <a:r>
              <a:rPr lang="en-US" altLang="ja-JP" dirty="0">
                <a:solidFill>
                  <a:srgbClr val="575757"/>
                </a:solidFill>
              </a:rPr>
              <a:t>L</a:t>
            </a:r>
            <a:r>
              <a:rPr lang="en-US" dirty="0">
                <a:solidFill>
                  <a:srgbClr val="575757"/>
                </a:solidFill>
              </a:rPr>
              <a:t>abels on outside</a:t>
            </a:r>
          </a:p>
        </p:txBody>
      </p:sp>
      <p:sp>
        <p:nvSpPr>
          <p:cNvPr id="11" name="Freeform 5"/>
          <p:cNvSpPr>
            <a:spLocks/>
          </p:cNvSpPr>
          <p:nvPr>
            <p:custDataLst>
              <p:tags r:id="rId3"/>
            </p:custDataLst>
          </p:nvPr>
        </p:nvSpPr>
        <p:spPr bwMode="auto">
          <a:xfrm>
            <a:off x="3101025" y="1507165"/>
            <a:ext cx="2046360" cy="406696"/>
          </a:xfrm>
          <a:custGeom>
            <a:avLst/>
            <a:gdLst>
              <a:gd name="T0" fmla="*/ 0 w 1404"/>
              <a:gd name="T1" fmla="*/ 2147483647 h 228"/>
              <a:gd name="T2" fmla="*/ 0 w 1404"/>
              <a:gd name="T3" fmla="*/ 0 h 228"/>
              <a:gd name="T4" fmla="*/ 2147483647 w 1404"/>
              <a:gd name="T5" fmla="*/ 0 h 228"/>
              <a:gd name="T6" fmla="*/ 0 60000 65536"/>
              <a:gd name="T7" fmla="*/ 0 60000 65536"/>
              <a:gd name="T8" fmla="*/ 0 60000 65536"/>
              <a:gd name="T9" fmla="*/ 0 w 1404"/>
              <a:gd name="T10" fmla="*/ 0 h 228"/>
              <a:gd name="T11" fmla="*/ 1404 w 1404"/>
              <a:gd name="T12" fmla="*/ 228 h 228"/>
            </a:gdLst>
            <a:ahLst/>
            <a:cxnLst>
              <a:cxn ang="T6">
                <a:pos x="T0" y="T1"/>
              </a:cxn>
              <a:cxn ang="T7">
                <a:pos x="T2" y="T3"/>
              </a:cxn>
              <a:cxn ang="T8">
                <a:pos x="T4" y="T5"/>
              </a:cxn>
            </a:cxnLst>
            <a:rect l="T9" t="T10" r="T11" b="T12"/>
            <a:pathLst>
              <a:path w="1404" h="228">
                <a:moveTo>
                  <a:pt x="0" y="228"/>
                </a:moveTo>
                <a:lnTo>
                  <a:pt x="0" y="0"/>
                </a:lnTo>
                <a:lnTo>
                  <a:pt x="1404" y="0"/>
                </a:lnTo>
              </a:path>
            </a:pathLst>
          </a:custGeom>
          <a:noFill/>
          <a:ln w="19050">
            <a:solidFill>
              <a:srgbClr val="B4B4B4"/>
            </a:solidFill>
            <a:prstDash val="lgDash"/>
            <a:round/>
            <a:headEnd/>
            <a:tailEnd/>
          </a:ln>
        </p:spPr>
        <p:txBody>
          <a:bodyPr wrap="none" anchor="ctr"/>
          <a:lstStyle/>
          <a:p>
            <a:pPr defTabSz="685800">
              <a:buClrTx/>
            </a:pPr>
            <a:endParaRPr lang="en-US" sz="1350" kern="1200">
              <a:solidFill>
                <a:prstClr val="black"/>
              </a:solidFill>
              <a:ea typeface="+mn-ea"/>
              <a:cs typeface="+mn-cs"/>
            </a:endParaRPr>
          </a:p>
        </p:txBody>
      </p:sp>
      <p:sp>
        <p:nvSpPr>
          <p:cNvPr id="16" name="Freeform 14"/>
          <p:cNvSpPr>
            <a:spLocks/>
          </p:cNvSpPr>
          <p:nvPr>
            <p:custDataLst>
              <p:tags r:id="rId4"/>
            </p:custDataLst>
          </p:nvPr>
        </p:nvSpPr>
        <p:spPr bwMode="auto">
          <a:xfrm rot="10800000" flipH="1">
            <a:off x="2880197" y="3460897"/>
            <a:ext cx="2259827" cy="653903"/>
          </a:xfrm>
          <a:custGeom>
            <a:avLst/>
            <a:gdLst>
              <a:gd name="T0" fmla="*/ 0 w 1404"/>
              <a:gd name="T1" fmla="*/ 2147483647 h 228"/>
              <a:gd name="T2" fmla="*/ 0 w 1404"/>
              <a:gd name="T3" fmla="*/ 0 h 228"/>
              <a:gd name="T4" fmla="*/ 2147483647 w 1404"/>
              <a:gd name="T5" fmla="*/ 0 h 228"/>
              <a:gd name="T6" fmla="*/ 0 60000 65536"/>
              <a:gd name="T7" fmla="*/ 0 60000 65536"/>
              <a:gd name="T8" fmla="*/ 0 60000 65536"/>
              <a:gd name="T9" fmla="*/ 0 w 1404"/>
              <a:gd name="T10" fmla="*/ 0 h 228"/>
              <a:gd name="T11" fmla="*/ 1404 w 1404"/>
              <a:gd name="T12" fmla="*/ 228 h 228"/>
            </a:gdLst>
            <a:ahLst/>
            <a:cxnLst>
              <a:cxn ang="T6">
                <a:pos x="T0" y="T1"/>
              </a:cxn>
              <a:cxn ang="T7">
                <a:pos x="T2" y="T3"/>
              </a:cxn>
              <a:cxn ang="T8">
                <a:pos x="T4" y="T5"/>
              </a:cxn>
            </a:cxnLst>
            <a:rect l="T9" t="T10" r="T11" b="T12"/>
            <a:pathLst>
              <a:path w="1404" h="228">
                <a:moveTo>
                  <a:pt x="0" y="228"/>
                </a:moveTo>
                <a:lnTo>
                  <a:pt x="0" y="0"/>
                </a:lnTo>
                <a:lnTo>
                  <a:pt x="1404" y="0"/>
                </a:lnTo>
              </a:path>
            </a:pathLst>
          </a:custGeom>
          <a:noFill/>
          <a:ln w="19050">
            <a:solidFill>
              <a:srgbClr val="B4B4B4"/>
            </a:solidFill>
            <a:prstDash val="lgDash"/>
            <a:round/>
            <a:headEnd/>
            <a:tailEnd/>
          </a:ln>
        </p:spPr>
        <p:txBody>
          <a:bodyPr wrap="none" anchor="ctr"/>
          <a:lstStyle/>
          <a:p>
            <a:pPr defTabSz="685800">
              <a:buClrTx/>
            </a:pPr>
            <a:endParaRPr lang="en-US" sz="1350" kern="1200">
              <a:solidFill>
                <a:prstClr val="black"/>
              </a:solidFill>
              <a:ea typeface="+mn-ea"/>
              <a:cs typeface="+mn-cs"/>
            </a:endParaRPr>
          </a:p>
        </p:txBody>
      </p:sp>
      <p:graphicFrame>
        <p:nvGraphicFramePr>
          <p:cNvPr id="24" name="Chart 23"/>
          <p:cNvGraphicFramePr/>
          <p:nvPr>
            <p:custDataLst>
              <p:tags r:id="rId5"/>
            </p:custDataLst>
          </p:nvPr>
        </p:nvGraphicFramePr>
        <p:xfrm>
          <a:off x="2128469" y="1825156"/>
          <a:ext cx="1693258" cy="1812276"/>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9" name="Chart 18"/>
          <p:cNvGraphicFramePr/>
          <p:nvPr/>
        </p:nvGraphicFramePr>
        <p:xfrm>
          <a:off x="4755348" y="1370302"/>
          <a:ext cx="2482562" cy="3009074"/>
        </p:xfrm>
        <a:graphic>
          <a:graphicData uri="http://schemas.openxmlformats.org/drawingml/2006/chart">
            <c:chart xmlns:c="http://schemas.openxmlformats.org/drawingml/2006/chart" xmlns:r="http://schemas.openxmlformats.org/officeDocument/2006/relationships" r:id="rId12"/>
          </a:graphicData>
        </a:graphic>
      </p:graphicFrame>
      <p:sp>
        <p:nvSpPr>
          <p:cNvPr id="17" name="Text Placeholder 12"/>
          <p:cNvSpPr>
            <a:spLocks/>
          </p:cNvSpPr>
          <p:nvPr/>
        </p:nvSpPr>
        <p:spPr bwMode="auto">
          <a:xfrm>
            <a:off x="2292940" y="1969682"/>
            <a:ext cx="244904" cy="115416"/>
          </a:xfrm>
          <a:prstGeom prst="rect">
            <a:avLst/>
          </a:prstGeom>
          <a:noFill/>
          <a:ln w="9525">
            <a:noFill/>
            <a:miter lim="800000"/>
            <a:headEnd/>
            <a:tailEnd/>
          </a:ln>
        </p:spPr>
        <p:txBody>
          <a:bodyPr wrap="square" lIns="0" tIns="0" rIns="0" bIns="0">
            <a:spAutoFit/>
          </a:bodyPr>
          <a:lstStyle/>
          <a:p>
            <a:pPr defTabSz="764381">
              <a:spcAft>
                <a:spcPts val="225"/>
              </a:spcAft>
              <a:buClrTx/>
            </a:pPr>
            <a:r>
              <a:rPr lang="en-US" sz="750" kern="1200" dirty="0">
                <a:solidFill>
                  <a:srgbClr val="313131"/>
                </a:solidFill>
                <a:ea typeface="+mn-ea"/>
                <a:cs typeface="+mn-cs"/>
              </a:rPr>
              <a:t>xxx</a:t>
            </a:r>
          </a:p>
        </p:txBody>
      </p:sp>
      <p:sp>
        <p:nvSpPr>
          <p:cNvPr id="20" name="Text Placeholder 12"/>
          <p:cNvSpPr>
            <a:spLocks/>
          </p:cNvSpPr>
          <p:nvPr/>
        </p:nvSpPr>
        <p:spPr bwMode="auto">
          <a:xfrm>
            <a:off x="2108915" y="3002756"/>
            <a:ext cx="244904" cy="115416"/>
          </a:xfrm>
          <a:prstGeom prst="rect">
            <a:avLst/>
          </a:prstGeom>
          <a:noFill/>
          <a:ln w="9525">
            <a:noFill/>
            <a:miter lim="800000"/>
            <a:headEnd/>
            <a:tailEnd/>
          </a:ln>
        </p:spPr>
        <p:txBody>
          <a:bodyPr wrap="square" lIns="0" tIns="0" rIns="0" bIns="0">
            <a:spAutoFit/>
          </a:bodyPr>
          <a:lstStyle/>
          <a:p>
            <a:pPr defTabSz="764381">
              <a:spcAft>
                <a:spcPts val="225"/>
              </a:spcAft>
              <a:buClrTx/>
            </a:pPr>
            <a:r>
              <a:rPr lang="en-US" sz="750" kern="1200" dirty="0">
                <a:solidFill>
                  <a:srgbClr val="313131"/>
                </a:solidFill>
                <a:ea typeface="+mn-ea"/>
                <a:cs typeface="+mn-cs"/>
              </a:rPr>
              <a:t>xxx</a:t>
            </a:r>
          </a:p>
        </p:txBody>
      </p:sp>
      <p:sp>
        <p:nvSpPr>
          <p:cNvPr id="23" name="Text Placeholder 12"/>
          <p:cNvSpPr>
            <a:spLocks/>
          </p:cNvSpPr>
          <p:nvPr>
            <p:custDataLst>
              <p:tags r:id="rId6"/>
            </p:custDataLst>
          </p:nvPr>
        </p:nvSpPr>
        <p:spPr bwMode="auto">
          <a:xfrm>
            <a:off x="3846113" y="2723320"/>
            <a:ext cx="244904" cy="138499"/>
          </a:xfrm>
          <a:prstGeom prst="rect">
            <a:avLst/>
          </a:prstGeom>
          <a:noFill/>
          <a:ln w="9525">
            <a:noFill/>
            <a:miter lim="800000"/>
            <a:headEnd/>
            <a:tailEnd/>
          </a:ln>
        </p:spPr>
        <p:txBody>
          <a:bodyPr wrap="square" lIns="0" tIns="0" rIns="0" bIns="0">
            <a:spAutoFit/>
          </a:bodyPr>
          <a:lstStyle/>
          <a:p>
            <a:pPr defTabSz="764381">
              <a:spcAft>
                <a:spcPts val="225"/>
              </a:spcAft>
              <a:buClrTx/>
            </a:pPr>
            <a:r>
              <a:rPr lang="en-US" sz="900" kern="1200" dirty="0">
                <a:solidFill>
                  <a:srgbClr val="313131"/>
                </a:solidFill>
                <a:ea typeface="+mn-ea"/>
                <a:cs typeface="+mn-cs"/>
              </a:rPr>
              <a:t>xxx</a:t>
            </a:r>
          </a:p>
        </p:txBody>
      </p:sp>
      <p:sp>
        <p:nvSpPr>
          <p:cNvPr id="21" name="Text Placeholder 12"/>
          <p:cNvSpPr>
            <a:spLocks/>
          </p:cNvSpPr>
          <p:nvPr>
            <p:custDataLst>
              <p:tags r:id="rId7"/>
            </p:custDataLst>
          </p:nvPr>
        </p:nvSpPr>
        <p:spPr bwMode="auto">
          <a:xfrm>
            <a:off x="1440657" y="1131570"/>
            <a:ext cx="956993"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 </a:t>
            </a:r>
          </a:p>
        </p:txBody>
      </p:sp>
      <p:sp>
        <p:nvSpPr>
          <p:cNvPr id="14"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ltLang="ja-JP" dirty="0">
                <a:solidFill>
                  <a:srgbClr val="81BC00"/>
                </a:solidFill>
              </a:rPr>
              <a:t>Text and chart slide</a:t>
            </a:r>
            <a:br>
              <a:rPr lang="en-US" altLang="ja-JP" dirty="0">
                <a:solidFill>
                  <a:srgbClr val="81BC00"/>
                </a:solidFill>
              </a:rPr>
            </a:br>
            <a:r>
              <a:rPr lang="en-US" altLang="ja-JP" dirty="0">
                <a:solidFill>
                  <a:srgbClr val="575757"/>
                </a:solidFill>
              </a:rPr>
              <a:t>Subtitle runs here</a:t>
            </a:r>
            <a:endParaRPr lang="en-US" dirty="0">
              <a:solidFill>
                <a:srgbClr val="575757"/>
              </a:solidFill>
            </a:endParaRPr>
          </a:p>
        </p:txBody>
      </p:sp>
      <p:sp>
        <p:nvSpPr>
          <p:cNvPr id="11" name="Text Placeholder 3"/>
          <p:cNvSpPr txBox="1">
            <a:spLocks/>
          </p:cNvSpPr>
          <p:nvPr/>
        </p:nvSpPr>
        <p:spPr>
          <a:xfrm>
            <a:off x="1421100" y="1268730"/>
            <a:ext cx="3105000" cy="29472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5979" indent="-205979" defTabSz="685800">
              <a:spcBef>
                <a:spcPts val="900"/>
              </a:spcBef>
              <a:buClrTx/>
              <a:defRPr/>
            </a:pPr>
            <a:r>
              <a:rPr lang="en-GB" sz="1350" dirty="0">
                <a:solidFill>
                  <a:srgbClr val="313131"/>
                </a:solidFill>
                <a:latin typeface="Arial"/>
              </a:rPr>
              <a:t>This is a level one bullet this is dummy text it is not here to be read</a:t>
            </a:r>
          </a:p>
          <a:p>
            <a:pPr marL="205979" indent="-205979" defTabSz="685800">
              <a:spcBef>
                <a:spcPts val="900"/>
              </a:spcBef>
              <a:buClrTx/>
              <a:defRPr/>
            </a:pPr>
            <a:r>
              <a:rPr lang="en-GB" sz="1350" dirty="0">
                <a:solidFill>
                  <a:srgbClr val="313131"/>
                </a:solidFill>
                <a:latin typeface="Arial"/>
              </a:rPr>
              <a:t>This is a level one bullet this is dummy text it is not here to be read</a:t>
            </a:r>
          </a:p>
          <a:p>
            <a:pPr marL="205979" indent="-205979" defTabSz="685800">
              <a:spcBef>
                <a:spcPts val="900"/>
              </a:spcBef>
              <a:buClrTx/>
              <a:defRPr/>
            </a:pPr>
            <a:r>
              <a:rPr lang="en-GB" sz="1350" dirty="0">
                <a:solidFill>
                  <a:srgbClr val="313131"/>
                </a:solidFill>
                <a:latin typeface="Arial"/>
              </a:rPr>
              <a:t>This is a level one bullet this is dummy text it is not here to be read</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205979" indent="-205979" defTabSz="685800">
              <a:spcBef>
                <a:spcPts val="900"/>
              </a:spcBef>
              <a:buClrTx/>
              <a:defRPr/>
            </a:pPr>
            <a:endParaRPr lang="en-GB" sz="1350" dirty="0">
              <a:solidFill>
                <a:srgbClr val="313131"/>
              </a:solidFill>
              <a:latin typeface="Arial"/>
            </a:endParaRPr>
          </a:p>
        </p:txBody>
      </p:sp>
      <p:graphicFrame>
        <p:nvGraphicFramePr>
          <p:cNvPr id="9" name="Chart Placeholder 13"/>
          <p:cNvGraphicFramePr>
            <a:graphicFrameLocks/>
          </p:cNvGraphicFramePr>
          <p:nvPr/>
        </p:nvGraphicFramePr>
        <p:xfrm>
          <a:off x="4743450" y="1268730"/>
          <a:ext cx="3105150" cy="358141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extLst>
      <p:ext uri="{BB962C8B-B14F-4D97-AF65-F5344CB8AC3E}">
        <p14:creationId xmlns:p14="http://schemas.microsoft.com/office/powerpoint/2010/main" val="97880568"/>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Chart Placeholder 13"/>
          <p:cNvGraphicFramePr>
            <a:graphicFrameLocks/>
          </p:cNvGraphicFramePr>
          <p:nvPr/>
        </p:nvGraphicFramePr>
        <p:xfrm>
          <a:off x="5591476" y="1028700"/>
          <a:ext cx="1982405" cy="279120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Chart Placeholder 13"/>
          <p:cNvGraphicFramePr>
            <a:graphicFrameLocks/>
          </p:cNvGraphicFramePr>
          <p:nvPr/>
        </p:nvGraphicFramePr>
        <p:xfrm>
          <a:off x="3615119" y="1028701"/>
          <a:ext cx="1982405" cy="2791206"/>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1"/>
          <p:cNvSpPr>
            <a:spLocks noGrp="1"/>
          </p:cNvSpPr>
          <p:nvPr>
            <p:ph type="title"/>
          </p:nvPr>
        </p:nvSpPr>
        <p:spPr/>
        <p:txBody>
          <a:bodyPr/>
          <a:lstStyle/>
          <a:p>
            <a:r>
              <a:rPr lang="en-GB" dirty="0"/>
              <a:t>Multiple chart slide</a:t>
            </a:r>
            <a:br>
              <a:rPr lang="en-US" altLang="ja-JP" dirty="0">
                <a:solidFill>
                  <a:srgbClr val="81BC00"/>
                </a:solidFill>
              </a:rPr>
            </a:br>
            <a:r>
              <a:rPr lang="en-US" altLang="ja-JP" dirty="0">
                <a:solidFill>
                  <a:srgbClr val="575757"/>
                </a:solidFill>
              </a:rPr>
              <a:t>Subtitle runs here</a:t>
            </a:r>
            <a:endParaRPr lang="en-US" dirty="0">
              <a:solidFill>
                <a:srgbClr val="575757"/>
              </a:solidFill>
            </a:endParaRPr>
          </a:p>
        </p:txBody>
      </p:sp>
      <p:graphicFrame>
        <p:nvGraphicFramePr>
          <p:cNvPr id="21" name="Chart Placeholder 13"/>
          <p:cNvGraphicFramePr>
            <a:graphicFrameLocks/>
          </p:cNvGraphicFramePr>
          <p:nvPr/>
        </p:nvGraphicFramePr>
        <p:xfrm>
          <a:off x="1638763" y="1028701"/>
          <a:ext cx="1982405" cy="2788920"/>
        </p:xfrm>
        <a:graphic>
          <a:graphicData uri="http://schemas.openxmlformats.org/drawingml/2006/chart">
            <c:chart xmlns:c="http://schemas.openxmlformats.org/drawingml/2006/chart" xmlns:r="http://schemas.openxmlformats.org/officeDocument/2006/relationships" r:id="rId5"/>
          </a:graphicData>
        </a:graphic>
      </p:graphicFrame>
      <p:sp>
        <p:nvSpPr>
          <p:cNvPr id="22" name="TextBox 21"/>
          <p:cNvSpPr txBox="1"/>
          <p:nvPr/>
        </p:nvSpPr>
        <p:spPr>
          <a:xfrm>
            <a:off x="2053811" y="1131571"/>
            <a:ext cx="1071570" cy="276999"/>
          </a:xfrm>
          <a:prstGeom prst="rect">
            <a:avLst/>
          </a:prstGeom>
          <a:noFill/>
        </p:spPr>
        <p:txBody>
          <a:bodyPr wrap="square" rtlCol="0">
            <a:spAutoFit/>
          </a:bodyPr>
          <a:lstStyle/>
          <a:p>
            <a:pPr algn="ctr" defTabSz="685800">
              <a:buClrTx/>
              <a:defRPr/>
            </a:pPr>
            <a:r>
              <a:rPr lang="en-GB" sz="1200" dirty="0">
                <a:solidFill>
                  <a:srgbClr val="313131"/>
                </a:solidFill>
                <a:ea typeface="+mn-ea"/>
                <a:cs typeface="+mn-cs"/>
              </a:rPr>
              <a:t>N America</a:t>
            </a:r>
          </a:p>
        </p:txBody>
      </p:sp>
      <p:sp>
        <p:nvSpPr>
          <p:cNvPr id="23" name="TextBox 22"/>
          <p:cNvSpPr txBox="1"/>
          <p:nvPr/>
        </p:nvSpPr>
        <p:spPr>
          <a:xfrm>
            <a:off x="4036215" y="1131571"/>
            <a:ext cx="1071570" cy="276999"/>
          </a:xfrm>
          <a:prstGeom prst="rect">
            <a:avLst/>
          </a:prstGeom>
          <a:noFill/>
        </p:spPr>
        <p:txBody>
          <a:bodyPr wrap="square" rtlCol="0">
            <a:spAutoFit/>
          </a:bodyPr>
          <a:lstStyle/>
          <a:p>
            <a:pPr algn="ctr" defTabSz="685800">
              <a:buClrTx/>
              <a:defRPr/>
            </a:pPr>
            <a:r>
              <a:rPr lang="en-GB" sz="1200" dirty="0">
                <a:solidFill>
                  <a:srgbClr val="313131"/>
                </a:solidFill>
                <a:ea typeface="+mn-ea"/>
                <a:cs typeface="+mn-cs"/>
              </a:rPr>
              <a:t>Europe</a:t>
            </a:r>
          </a:p>
        </p:txBody>
      </p:sp>
      <p:sp>
        <p:nvSpPr>
          <p:cNvPr id="24" name="TextBox 23"/>
          <p:cNvSpPr txBox="1"/>
          <p:nvPr/>
        </p:nvSpPr>
        <p:spPr>
          <a:xfrm>
            <a:off x="5971091" y="1131571"/>
            <a:ext cx="1071570" cy="276999"/>
          </a:xfrm>
          <a:prstGeom prst="rect">
            <a:avLst/>
          </a:prstGeom>
          <a:noFill/>
        </p:spPr>
        <p:txBody>
          <a:bodyPr wrap="square" rtlCol="0">
            <a:spAutoFit/>
          </a:bodyPr>
          <a:lstStyle/>
          <a:p>
            <a:pPr algn="ctr" defTabSz="685800">
              <a:buClrTx/>
              <a:defRPr/>
            </a:pPr>
            <a:r>
              <a:rPr lang="en-GB" sz="1200" dirty="0">
                <a:solidFill>
                  <a:srgbClr val="313131"/>
                </a:solidFill>
                <a:ea typeface="+mn-ea"/>
                <a:cs typeface="+mn-cs"/>
              </a:rPr>
              <a:t>Asia</a:t>
            </a:r>
          </a:p>
        </p:txBody>
      </p:sp>
      <p:sp>
        <p:nvSpPr>
          <p:cNvPr id="27" name="TextBox 26"/>
          <p:cNvSpPr txBox="1"/>
          <p:nvPr/>
        </p:nvSpPr>
        <p:spPr>
          <a:xfrm>
            <a:off x="2060600" y="2057400"/>
            <a:ext cx="1071570" cy="600164"/>
          </a:xfrm>
          <a:prstGeom prst="rect">
            <a:avLst/>
          </a:prstGeom>
          <a:noFill/>
        </p:spPr>
        <p:txBody>
          <a:bodyPr wrap="square" rtlCol="0">
            <a:spAutoFit/>
          </a:bodyPr>
          <a:lstStyle/>
          <a:p>
            <a:pPr algn="ctr" defTabSz="685800">
              <a:buClrTx/>
              <a:defRPr/>
            </a:pPr>
            <a:r>
              <a:rPr lang="en-GB" sz="3300" i="1" dirty="0">
                <a:solidFill>
                  <a:srgbClr val="00A1DE"/>
                </a:solidFill>
                <a:ea typeface="+mn-ea"/>
                <a:cs typeface="+mn-cs"/>
              </a:rPr>
              <a:t>21%</a:t>
            </a:r>
          </a:p>
        </p:txBody>
      </p:sp>
      <p:sp>
        <p:nvSpPr>
          <p:cNvPr id="28" name="TextBox 27"/>
          <p:cNvSpPr txBox="1"/>
          <p:nvPr/>
        </p:nvSpPr>
        <p:spPr>
          <a:xfrm>
            <a:off x="4036215" y="2057400"/>
            <a:ext cx="1071570" cy="600164"/>
          </a:xfrm>
          <a:prstGeom prst="rect">
            <a:avLst/>
          </a:prstGeom>
          <a:noFill/>
        </p:spPr>
        <p:txBody>
          <a:bodyPr wrap="square" rtlCol="0">
            <a:spAutoFit/>
          </a:bodyPr>
          <a:lstStyle/>
          <a:p>
            <a:pPr algn="ctr" defTabSz="685800">
              <a:buClrTx/>
              <a:defRPr/>
            </a:pPr>
            <a:r>
              <a:rPr lang="en-GB" sz="3300" i="1" dirty="0">
                <a:solidFill>
                  <a:srgbClr val="002776"/>
                </a:solidFill>
                <a:ea typeface="+mn-ea"/>
                <a:cs typeface="+mn-cs"/>
              </a:rPr>
              <a:t>27%</a:t>
            </a:r>
          </a:p>
        </p:txBody>
      </p:sp>
      <p:sp>
        <p:nvSpPr>
          <p:cNvPr id="29" name="TextBox 28"/>
          <p:cNvSpPr txBox="1"/>
          <p:nvPr/>
        </p:nvSpPr>
        <p:spPr>
          <a:xfrm>
            <a:off x="6005040" y="2057400"/>
            <a:ext cx="1071570" cy="600164"/>
          </a:xfrm>
          <a:prstGeom prst="rect">
            <a:avLst/>
          </a:prstGeom>
          <a:noFill/>
        </p:spPr>
        <p:txBody>
          <a:bodyPr wrap="square" rtlCol="0">
            <a:spAutoFit/>
          </a:bodyPr>
          <a:lstStyle/>
          <a:p>
            <a:pPr algn="ctr" defTabSz="685800">
              <a:buClrTx/>
              <a:defRPr/>
            </a:pPr>
            <a:r>
              <a:rPr lang="en-GB" sz="3300" i="1" dirty="0">
                <a:solidFill>
                  <a:srgbClr val="81BC00"/>
                </a:solidFill>
                <a:ea typeface="+mn-ea"/>
                <a:cs typeface="+mn-cs"/>
              </a:rPr>
              <a:t>15%</a:t>
            </a:r>
          </a:p>
        </p:txBody>
      </p:sp>
      <p:sp>
        <p:nvSpPr>
          <p:cNvPr id="14"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extLst>
      <p:ext uri="{BB962C8B-B14F-4D97-AF65-F5344CB8AC3E}">
        <p14:creationId xmlns:p14="http://schemas.microsoft.com/office/powerpoint/2010/main" val="1296687610"/>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dirty="0">
                <a:solidFill>
                  <a:srgbClr val="81BC00"/>
                </a:solidFill>
              </a:rPr>
              <a:t>Radar chart</a:t>
            </a:r>
            <a:endParaRPr lang="en-US" dirty="0">
              <a:solidFill>
                <a:srgbClr val="81BC00"/>
              </a:solidFill>
            </a:endParaRPr>
          </a:p>
        </p:txBody>
      </p:sp>
      <p:graphicFrame>
        <p:nvGraphicFramePr>
          <p:cNvPr id="5" name="Chart 4"/>
          <p:cNvGraphicFramePr/>
          <p:nvPr/>
        </p:nvGraphicFramePr>
        <p:xfrm>
          <a:off x="2286000" y="1224913"/>
          <a:ext cx="4572000" cy="3302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 Placeholder 12"/>
          <p:cNvSpPr>
            <a:spLocks/>
          </p:cNvSpPr>
          <p:nvPr>
            <p:custDataLst>
              <p:tags r:id="rId1"/>
            </p:custDataLst>
          </p:nvPr>
        </p:nvSpPr>
        <p:spPr bwMode="auto">
          <a:xfrm>
            <a:off x="1440656" y="1131570"/>
            <a:ext cx="929742"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p:txBody>
      </p:sp>
      <p:sp>
        <p:nvSpPr>
          <p:cNvPr id="7"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dirty="0">
                <a:solidFill>
                  <a:srgbClr val="81BC00"/>
                </a:solidFill>
              </a:rPr>
              <a:t>Line chart</a:t>
            </a:r>
            <a:endParaRPr lang="en-US" dirty="0">
              <a:solidFill>
                <a:srgbClr val="81BC00"/>
              </a:solidFill>
            </a:endParaRPr>
          </a:p>
        </p:txBody>
      </p:sp>
      <p:graphicFrame>
        <p:nvGraphicFramePr>
          <p:cNvPr id="5" name="Chart 4"/>
          <p:cNvGraphicFramePr/>
          <p:nvPr/>
        </p:nvGraphicFramePr>
        <p:xfrm>
          <a:off x="1314450" y="1371600"/>
          <a:ext cx="5815584" cy="3086100"/>
        </p:xfrm>
        <a:graphic>
          <a:graphicData uri="http://schemas.openxmlformats.org/drawingml/2006/chart">
            <c:chart xmlns:c="http://schemas.openxmlformats.org/drawingml/2006/chart" xmlns:r="http://schemas.openxmlformats.org/officeDocument/2006/relationships" r:id="rId7"/>
          </a:graphicData>
        </a:graphic>
      </p:graphicFrame>
      <p:sp>
        <p:nvSpPr>
          <p:cNvPr id="10" name="Text Placeholder 12"/>
          <p:cNvSpPr>
            <a:spLocks/>
          </p:cNvSpPr>
          <p:nvPr>
            <p:custDataLst>
              <p:tags r:id="rId1"/>
            </p:custDataLst>
          </p:nvPr>
        </p:nvSpPr>
        <p:spPr bwMode="auto">
          <a:xfrm>
            <a:off x="6804778" y="3142389"/>
            <a:ext cx="929742" cy="115416"/>
          </a:xfrm>
          <a:prstGeom prst="rect">
            <a:avLst/>
          </a:prstGeom>
          <a:noFill/>
          <a:ln w="9525">
            <a:noFill/>
            <a:miter lim="800000"/>
            <a:headEnd/>
            <a:tailEnd/>
          </a:ln>
        </p:spPr>
        <p:txBody>
          <a:bodyPr wrap="none" lIns="0" tIns="0" rIns="0" bIns="0">
            <a:spAutoFit/>
          </a:bodyPr>
          <a:lstStyle/>
          <a:p>
            <a:pPr defTabSz="764381">
              <a:spcAft>
                <a:spcPts val="225"/>
              </a:spcAft>
              <a:buClrTx/>
            </a:pPr>
            <a:r>
              <a:rPr lang="en-US" sz="750" b="1" kern="1200" dirty="0">
                <a:solidFill>
                  <a:srgbClr val="00A1DE"/>
                </a:solidFill>
                <a:ea typeface="+mn-ea"/>
                <a:cs typeface="+mn-cs"/>
              </a:rPr>
              <a:t>Label text goes here</a:t>
            </a:r>
          </a:p>
        </p:txBody>
      </p:sp>
      <p:sp>
        <p:nvSpPr>
          <p:cNvPr id="11" name="Text Placeholder 12"/>
          <p:cNvSpPr>
            <a:spLocks/>
          </p:cNvSpPr>
          <p:nvPr>
            <p:custDataLst>
              <p:tags r:id="rId2"/>
            </p:custDataLst>
          </p:nvPr>
        </p:nvSpPr>
        <p:spPr bwMode="auto">
          <a:xfrm>
            <a:off x="6804778" y="2572941"/>
            <a:ext cx="929742" cy="115416"/>
          </a:xfrm>
          <a:prstGeom prst="rect">
            <a:avLst/>
          </a:prstGeom>
          <a:noFill/>
          <a:ln w="9525">
            <a:noFill/>
            <a:miter lim="800000"/>
            <a:headEnd/>
            <a:tailEnd/>
          </a:ln>
        </p:spPr>
        <p:txBody>
          <a:bodyPr wrap="none" lIns="0" tIns="0" rIns="0" bIns="0">
            <a:spAutoFit/>
          </a:bodyPr>
          <a:lstStyle/>
          <a:p>
            <a:pPr defTabSz="764381">
              <a:spcAft>
                <a:spcPts val="225"/>
              </a:spcAft>
              <a:buClrTx/>
            </a:pPr>
            <a:r>
              <a:rPr lang="en-US" sz="750" b="1" kern="1200" dirty="0">
                <a:solidFill>
                  <a:srgbClr val="8C8C8C"/>
                </a:solidFill>
                <a:ea typeface="+mn-ea"/>
                <a:cs typeface="+mn-cs"/>
              </a:rPr>
              <a:t>Label text goes here</a:t>
            </a:r>
          </a:p>
        </p:txBody>
      </p:sp>
      <p:sp>
        <p:nvSpPr>
          <p:cNvPr id="12" name="Text Placeholder 12"/>
          <p:cNvSpPr>
            <a:spLocks/>
          </p:cNvSpPr>
          <p:nvPr>
            <p:custDataLst>
              <p:tags r:id="rId3"/>
            </p:custDataLst>
          </p:nvPr>
        </p:nvSpPr>
        <p:spPr bwMode="auto">
          <a:xfrm>
            <a:off x="6804778" y="2302418"/>
            <a:ext cx="929742" cy="115416"/>
          </a:xfrm>
          <a:prstGeom prst="rect">
            <a:avLst/>
          </a:prstGeom>
          <a:noFill/>
          <a:ln w="9525">
            <a:noFill/>
            <a:miter lim="800000"/>
            <a:headEnd/>
            <a:tailEnd/>
          </a:ln>
        </p:spPr>
        <p:txBody>
          <a:bodyPr wrap="none" lIns="0" tIns="0" rIns="0" bIns="0">
            <a:spAutoFit/>
          </a:bodyPr>
          <a:lstStyle/>
          <a:p>
            <a:pPr defTabSz="764381">
              <a:spcAft>
                <a:spcPts val="225"/>
              </a:spcAft>
              <a:buClrTx/>
            </a:pPr>
            <a:r>
              <a:rPr lang="en-US" sz="750" b="1" kern="1200" dirty="0">
                <a:solidFill>
                  <a:srgbClr val="313131"/>
                </a:solidFill>
                <a:ea typeface="+mn-ea"/>
                <a:cs typeface="+mn-cs"/>
              </a:rPr>
              <a:t>Label text goes here</a:t>
            </a:r>
          </a:p>
        </p:txBody>
      </p:sp>
      <p:sp>
        <p:nvSpPr>
          <p:cNvPr id="14" name="Text Placeholder 12"/>
          <p:cNvSpPr>
            <a:spLocks/>
          </p:cNvSpPr>
          <p:nvPr>
            <p:custDataLst>
              <p:tags r:id="rId4"/>
            </p:custDataLst>
          </p:nvPr>
        </p:nvSpPr>
        <p:spPr bwMode="auto">
          <a:xfrm>
            <a:off x="1440656" y="1131570"/>
            <a:ext cx="929742"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p:txBody>
      </p:sp>
      <p:sp>
        <p:nvSpPr>
          <p:cNvPr id="13"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dirty="0">
                <a:solidFill>
                  <a:srgbClr val="81BC00"/>
                </a:solidFill>
              </a:rPr>
              <a:t>Line charts  </a:t>
            </a:r>
            <a:br>
              <a:rPr lang="en-US" altLang="ja-JP" dirty="0">
                <a:solidFill>
                  <a:srgbClr val="575757"/>
                </a:solidFill>
              </a:rPr>
            </a:br>
            <a:r>
              <a:rPr lang="en-US" altLang="ja-JP" dirty="0">
                <a:solidFill>
                  <a:srgbClr val="575757"/>
                </a:solidFill>
              </a:rPr>
              <a:t>Two</a:t>
            </a:r>
            <a:endParaRPr lang="en-US" dirty="0">
              <a:solidFill>
                <a:srgbClr val="575757"/>
              </a:solidFill>
            </a:endParaRPr>
          </a:p>
        </p:txBody>
      </p:sp>
      <p:graphicFrame>
        <p:nvGraphicFramePr>
          <p:cNvPr id="5" name="Chart 4"/>
          <p:cNvGraphicFramePr/>
          <p:nvPr/>
        </p:nvGraphicFramePr>
        <p:xfrm>
          <a:off x="1431036" y="1371600"/>
          <a:ext cx="2997995" cy="29718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Chart 9"/>
          <p:cNvGraphicFramePr/>
          <p:nvPr/>
        </p:nvGraphicFramePr>
        <p:xfrm>
          <a:off x="4914901" y="1371600"/>
          <a:ext cx="3007610" cy="2971800"/>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 Placeholder 12"/>
          <p:cNvSpPr>
            <a:spLocks/>
          </p:cNvSpPr>
          <p:nvPr>
            <p:custDataLst>
              <p:tags r:id="rId1"/>
            </p:custDataLst>
          </p:nvPr>
        </p:nvSpPr>
        <p:spPr bwMode="auto">
          <a:xfrm>
            <a:off x="1440656" y="1131570"/>
            <a:ext cx="929742"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p:txBody>
      </p:sp>
      <p:sp>
        <p:nvSpPr>
          <p:cNvPr id="25" name="Text Placeholder 12"/>
          <p:cNvSpPr>
            <a:spLocks/>
          </p:cNvSpPr>
          <p:nvPr>
            <p:custDataLst>
              <p:tags r:id="rId2"/>
            </p:custDataLst>
          </p:nvPr>
        </p:nvSpPr>
        <p:spPr bwMode="auto">
          <a:xfrm>
            <a:off x="4820841" y="1131570"/>
            <a:ext cx="1463141" cy="115416"/>
          </a:xfrm>
          <a:prstGeom prst="rect">
            <a:avLst/>
          </a:prstGeom>
          <a:noFill/>
          <a:ln w="9525">
            <a:noFill/>
            <a:miter lim="800000"/>
            <a:headEnd/>
            <a:tailEnd/>
          </a:ln>
        </p:spPr>
        <p:txBody>
          <a:bodyPr wrap="square" lIns="0" tIns="0" rIns="0" bIns="0">
            <a:spAutoFit/>
          </a:bodyPr>
          <a:lstStyle/>
          <a:p>
            <a:pPr defTabSz="764381">
              <a:buClrTx/>
            </a:pPr>
            <a:r>
              <a:rPr lang="en-US" sz="750" b="1" kern="1200" dirty="0">
                <a:solidFill>
                  <a:srgbClr val="313131"/>
                </a:solidFill>
                <a:ea typeface="+mn-ea"/>
                <a:cs typeface="+mn-cs"/>
              </a:rPr>
              <a:t>Chart title goes here</a:t>
            </a:r>
          </a:p>
        </p:txBody>
      </p:sp>
      <p:sp>
        <p:nvSpPr>
          <p:cNvPr id="22"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dirty="0">
                <a:solidFill>
                  <a:srgbClr val="81BC00"/>
                </a:solidFill>
              </a:rPr>
              <a:t>Line charts  </a:t>
            </a:r>
            <a:br>
              <a:rPr lang="en-US" altLang="ja-JP" dirty="0">
                <a:solidFill>
                  <a:srgbClr val="575757"/>
                </a:solidFill>
              </a:rPr>
            </a:br>
            <a:r>
              <a:rPr lang="en-US" altLang="ja-JP" dirty="0">
                <a:solidFill>
                  <a:srgbClr val="575757"/>
                </a:solidFill>
              </a:rPr>
              <a:t>Two with text</a:t>
            </a:r>
            <a:endParaRPr lang="en-US" dirty="0">
              <a:solidFill>
                <a:srgbClr val="575757"/>
              </a:solidFill>
            </a:endParaRPr>
          </a:p>
        </p:txBody>
      </p:sp>
      <p:graphicFrame>
        <p:nvGraphicFramePr>
          <p:cNvPr id="10" name="Chart 9"/>
          <p:cNvGraphicFramePr/>
          <p:nvPr/>
        </p:nvGraphicFramePr>
        <p:xfrm>
          <a:off x="4764025" y="1371600"/>
          <a:ext cx="3007610" cy="3395643"/>
        </p:xfrm>
        <a:graphic>
          <a:graphicData uri="http://schemas.openxmlformats.org/drawingml/2006/chart">
            <c:chart xmlns:c="http://schemas.openxmlformats.org/drawingml/2006/chart" xmlns:r="http://schemas.openxmlformats.org/officeDocument/2006/relationships" r:id="rId4"/>
          </a:graphicData>
        </a:graphic>
      </p:graphicFrame>
      <p:sp>
        <p:nvSpPr>
          <p:cNvPr id="25" name="Text Placeholder 12"/>
          <p:cNvSpPr>
            <a:spLocks/>
          </p:cNvSpPr>
          <p:nvPr>
            <p:custDataLst>
              <p:tags r:id="rId1"/>
            </p:custDataLst>
          </p:nvPr>
        </p:nvSpPr>
        <p:spPr bwMode="auto">
          <a:xfrm>
            <a:off x="4706541" y="1131570"/>
            <a:ext cx="1463141" cy="115416"/>
          </a:xfrm>
          <a:prstGeom prst="rect">
            <a:avLst/>
          </a:prstGeom>
          <a:noFill/>
          <a:ln w="9525">
            <a:noFill/>
            <a:miter lim="800000"/>
            <a:headEnd/>
            <a:tailEnd/>
          </a:ln>
        </p:spPr>
        <p:txBody>
          <a:bodyPr wrap="square" lIns="0" tIns="0" rIns="0" bIns="0">
            <a:spAutoFit/>
          </a:bodyPr>
          <a:lstStyle/>
          <a:p>
            <a:pPr defTabSz="764381">
              <a:buClrTx/>
            </a:pPr>
            <a:r>
              <a:rPr lang="en-US" sz="750" b="1" kern="1200" dirty="0">
                <a:solidFill>
                  <a:srgbClr val="313131"/>
                </a:solidFill>
                <a:ea typeface="+mn-ea"/>
                <a:cs typeface="+mn-cs"/>
              </a:rPr>
              <a:t>Chart title goes here</a:t>
            </a:r>
          </a:p>
        </p:txBody>
      </p:sp>
      <p:sp>
        <p:nvSpPr>
          <p:cNvPr id="23" name="Text Placeholder 3"/>
          <p:cNvSpPr txBox="1">
            <a:spLocks/>
          </p:cNvSpPr>
          <p:nvPr/>
        </p:nvSpPr>
        <p:spPr>
          <a:xfrm>
            <a:off x="1421100" y="1268730"/>
            <a:ext cx="3105000" cy="34020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5979" indent="-205979" defTabSz="685800">
              <a:spcBef>
                <a:spcPts val="900"/>
              </a:spcBef>
              <a:buClrTx/>
              <a:defRPr/>
            </a:pPr>
            <a:r>
              <a:rPr lang="en-GB" sz="1350" dirty="0">
                <a:solidFill>
                  <a:srgbClr val="313131"/>
                </a:solidFill>
                <a:latin typeface="Arial"/>
              </a:rPr>
              <a:t>This is a level one bullet this is dummy text it is not here to be read</a:t>
            </a:r>
          </a:p>
          <a:p>
            <a:pPr marL="205979" indent="-205979" defTabSz="685800">
              <a:spcBef>
                <a:spcPts val="900"/>
              </a:spcBef>
              <a:buClrTx/>
              <a:defRPr/>
            </a:pPr>
            <a:r>
              <a:rPr lang="en-GB" sz="1350" dirty="0">
                <a:solidFill>
                  <a:srgbClr val="313131"/>
                </a:solidFill>
                <a:latin typeface="Arial"/>
              </a:rPr>
              <a:t>This is a level one bullet this is dummy text it is not here to be read</a:t>
            </a:r>
          </a:p>
          <a:p>
            <a:pPr marL="205979" indent="-205979" defTabSz="685800">
              <a:spcBef>
                <a:spcPts val="900"/>
              </a:spcBef>
              <a:buClrTx/>
              <a:defRPr/>
            </a:pPr>
            <a:r>
              <a:rPr lang="en-GB" sz="1350" dirty="0">
                <a:solidFill>
                  <a:srgbClr val="313131"/>
                </a:solidFill>
                <a:latin typeface="Arial"/>
              </a:rPr>
              <a:t>This is a level one bullet this is dummy text it is not here to be read</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205979" indent="-205979" defTabSz="685800">
              <a:spcBef>
                <a:spcPts val="900"/>
              </a:spcBef>
              <a:buClrTx/>
              <a:defRPr/>
            </a:pPr>
            <a:endParaRPr lang="en-GB" sz="1350" dirty="0">
              <a:solidFill>
                <a:srgbClr val="313131"/>
              </a:solidFill>
              <a:latin typeface="Arial"/>
            </a:endParaRPr>
          </a:p>
        </p:txBody>
      </p:sp>
      <p:sp>
        <p:nvSpPr>
          <p:cNvPr id="13"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extLst>
      <p:ext uri="{BB962C8B-B14F-4D97-AF65-F5344CB8AC3E}">
        <p14:creationId xmlns:p14="http://schemas.microsoft.com/office/powerpoint/2010/main" val="249587785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08"/>
        <p:cNvGrpSpPr/>
        <p:nvPr/>
      </p:nvGrpSpPr>
      <p:grpSpPr>
        <a:xfrm>
          <a:off x="0" y="0"/>
          <a:ext cx="0" cy="0"/>
          <a:chOff x="0" y="0"/>
          <a:chExt cx="0" cy="0"/>
        </a:xfrm>
      </p:grpSpPr>
      <p:sp>
        <p:nvSpPr>
          <p:cNvPr id="212" name="Google Shape;212;p4"/>
          <p:cNvSpPr txBox="1"/>
          <p:nvPr/>
        </p:nvSpPr>
        <p:spPr>
          <a:xfrm>
            <a:off x="0" y="1174527"/>
            <a:ext cx="4491351" cy="3416290"/>
          </a:xfrm>
          <a:prstGeom prst="rect">
            <a:avLst/>
          </a:prstGeom>
          <a:noFill/>
          <a:ln>
            <a:noFill/>
          </a:ln>
        </p:spPr>
        <p:txBody>
          <a:bodyPr spcFirstLastPara="1" wrap="square" lIns="91425" tIns="91425" rIns="91425" bIns="91425" anchor="t" anchorCtr="0">
            <a:spAutoFit/>
          </a:bodyPr>
          <a:lstStyle/>
          <a:p>
            <a:pPr marL="363538" marR="0" lvl="0" indent="-223838" algn="l" rtl="0">
              <a:lnSpc>
                <a:spcPct val="100000"/>
              </a:lnSpc>
              <a:spcBef>
                <a:spcPts val="0"/>
              </a:spcBef>
              <a:spcAft>
                <a:spcPts val="0"/>
              </a:spcAft>
              <a:buClr>
                <a:srgbClr val="000000"/>
              </a:buClr>
              <a:buSzPts val="1400"/>
              <a:buFont typeface="Arial"/>
              <a:buChar char="•"/>
            </a:pPr>
            <a:r>
              <a:rPr lang="en" b="1" dirty="0">
                <a:solidFill>
                  <a:schemeClr val="tx1"/>
                </a:solidFill>
                <a:latin typeface="+mj-lt"/>
                <a:ea typeface="Poppins Light"/>
                <a:cs typeface="Poppins Light"/>
                <a:sym typeface="Poppins Light"/>
              </a:rPr>
              <a:t>Deleted 41 unwanted Columns</a:t>
            </a:r>
          </a:p>
          <a:p>
            <a:pPr marL="139700" marR="0" lvl="0" algn="l" rtl="0">
              <a:lnSpc>
                <a:spcPct val="100000"/>
              </a:lnSpc>
              <a:spcBef>
                <a:spcPts val="0"/>
              </a:spcBef>
              <a:spcAft>
                <a:spcPts val="0"/>
              </a:spcAft>
              <a:buClr>
                <a:srgbClr val="000000"/>
              </a:buClr>
              <a:buSzPts val="1400"/>
            </a:pPr>
            <a:endParaRPr sz="1400" b="0" i="0" u="none" strike="noStrike" cap="none" dirty="0">
              <a:solidFill>
                <a:schemeClr val="tx1"/>
              </a:solidFill>
              <a:latin typeface="+mj-lt"/>
              <a:ea typeface="Poppins Light"/>
              <a:cs typeface="Poppins Light"/>
              <a:sym typeface="Poppins Light"/>
            </a:endParaRPr>
          </a:p>
          <a:p>
            <a:pPr marL="914400" marR="0" lvl="1" indent="-317500" algn="l" rtl="0">
              <a:lnSpc>
                <a:spcPct val="100000"/>
              </a:lnSpc>
              <a:spcBef>
                <a:spcPts val="0"/>
              </a:spcBef>
              <a:spcAft>
                <a:spcPts val="0"/>
              </a:spcAft>
              <a:buClr>
                <a:srgbClr val="000000"/>
              </a:buClr>
              <a:buSzPts val="1400"/>
              <a:buFont typeface="Arial" panose="020B0604020202020204" pitchFamily="34" charset="0"/>
              <a:buChar char="•"/>
            </a:pPr>
            <a:r>
              <a:rPr lang="en" dirty="0">
                <a:solidFill>
                  <a:schemeClr val="tx1"/>
                </a:solidFill>
                <a:latin typeface="+mj-lt"/>
                <a:ea typeface="Poppins Light"/>
                <a:cs typeface="Poppins Light"/>
                <a:sym typeface="Poppins Light"/>
              </a:rPr>
              <a:t>Columns containing URLs.</a:t>
            </a:r>
            <a:endParaRPr sz="1400" b="0" i="0" u="none" strike="noStrike" cap="none" dirty="0">
              <a:solidFill>
                <a:schemeClr val="tx1"/>
              </a:solidFill>
              <a:latin typeface="+mj-lt"/>
              <a:ea typeface="Poppins Light"/>
              <a:cs typeface="Poppins Light"/>
              <a:sym typeface="Poppins Light"/>
            </a:endParaRPr>
          </a:p>
          <a:p>
            <a:pPr marL="914400" marR="0" lvl="1" indent="-317500" algn="l" rtl="0">
              <a:lnSpc>
                <a:spcPct val="100000"/>
              </a:lnSpc>
              <a:spcBef>
                <a:spcPts val="0"/>
              </a:spcBef>
              <a:spcAft>
                <a:spcPts val="0"/>
              </a:spcAft>
              <a:buClr>
                <a:srgbClr val="000000"/>
              </a:buClr>
              <a:buSzPts val="1400"/>
              <a:buFont typeface="Arial" panose="020B0604020202020204" pitchFamily="34" charset="0"/>
              <a:buChar char="•"/>
            </a:pPr>
            <a:r>
              <a:rPr lang="en-AU" sz="1400" b="0" i="0" u="none" strike="noStrike" cap="none" dirty="0">
                <a:solidFill>
                  <a:schemeClr val="tx1"/>
                </a:solidFill>
                <a:latin typeface="+mj-lt"/>
                <a:ea typeface="Poppins Light"/>
                <a:cs typeface="Poppins Light"/>
                <a:sym typeface="Poppins Light"/>
              </a:rPr>
              <a:t>Columns containing long descriptions.</a:t>
            </a:r>
          </a:p>
          <a:p>
            <a:pPr marL="914400" marR="0" lvl="1" indent="-317500" algn="l" rtl="0">
              <a:lnSpc>
                <a:spcPct val="100000"/>
              </a:lnSpc>
              <a:spcBef>
                <a:spcPts val="0"/>
              </a:spcBef>
              <a:spcAft>
                <a:spcPts val="0"/>
              </a:spcAft>
              <a:buClr>
                <a:srgbClr val="000000"/>
              </a:buClr>
              <a:buSzPts val="1400"/>
              <a:buFont typeface="Arial" panose="020B0604020202020204" pitchFamily="34" charset="0"/>
              <a:buChar char="•"/>
            </a:pPr>
            <a:r>
              <a:rPr lang="en-AU" dirty="0">
                <a:solidFill>
                  <a:schemeClr val="tx1"/>
                </a:solidFill>
                <a:latin typeface="+mj-lt"/>
                <a:ea typeface="Poppins Light"/>
                <a:cs typeface="Poppins Light"/>
                <a:sym typeface="Poppins Light"/>
              </a:rPr>
              <a:t>Columns containing single data or no data.</a:t>
            </a:r>
          </a:p>
          <a:p>
            <a:pPr marL="914400" marR="0" lvl="1" indent="-317500" algn="l" rtl="0">
              <a:lnSpc>
                <a:spcPct val="100000"/>
              </a:lnSpc>
              <a:spcBef>
                <a:spcPts val="0"/>
              </a:spcBef>
              <a:spcAft>
                <a:spcPts val="0"/>
              </a:spcAft>
              <a:buClr>
                <a:srgbClr val="000000"/>
              </a:buClr>
              <a:buSzPts val="1400"/>
              <a:buFont typeface="Arial" panose="020B0604020202020204" pitchFamily="34" charset="0"/>
              <a:buChar char="•"/>
            </a:pPr>
            <a:r>
              <a:rPr lang="en-AU" sz="1400" b="0" i="0" u="none" strike="noStrike" cap="none" dirty="0">
                <a:solidFill>
                  <a:schemeClr val="tx1"/>
                </a:solidFill>
                <a:latin typeface="+mj-lt"/>
                <a:ea typeface="Poppins Light"/>
                <a:cs typeface="Poppins Light"/>
                <a:sym typeface="Poppins Light"/>
              </a:rPr>
              <a:t>Columns containing </a:t>
            </a:r>
            <a:r>
              <a:rPr lang="en-AU" dirty="0">
                <a:solidFill>
                  <a:schemeClr val="tx1"/>
                </a:solidFill>
                <a:latin typeface="+mj-lt"/>
                <a:ea typeface="Poppins Light"/>
                <a:cs typeface="Poppins Light"/>
                <a:sym typeface="Poppins Light"/>
              </a:rPr>
              <a:t>data</a:t>
            </a:r>
            <a:r>
              <a:rPr lang="en-AU" sz="1400" b="0" i="0" u="none" strike="noStrike" cap="none" dirty="0">
                <a:solidFill>
                  <a:schemeClr val="tx1"/>
                </a:solidFill>
                <a:latin typeface="+mj-lt"/>
                <a:ea typeface="Poppins Light"/>
                <a:cs typeface="Poppins Light"/>
                <a:sym typeface="Poppins Light"/>
              </a:rPr>
              <a:t> that add no value to our analysis.</a:t>
            </a:r>
            <a:endParaRPr sz="1400" b="0" i="0" u="none" strike="noStrike" cap="none" dirty="0">
              <a:solidFill>
                <a:schemeClr val="tx1"/>
              </a:solidFill>
              <a:latin typeface="+mj-lt"/>
              <a:ea typeface="Poppins Light"/>
              <a:cs typeface="Poppins Light"/>
              <a:sym typeface="Poppins Light"/>
            </a:endParaRPr>
          </a:p>
          <a:p>
            <a:pPr marL="91440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chemeClr val="tx1"/>
              </a:solidFill>
              <a:latin typeface="+mj-lt"/>
              <a:ea typeface="Poppins Light"/>
              <a:cs typeface="Poppins Light"/>
              <a:sym typeface="Poppins Light"/>
            </a:endParaRPr>
          </a:p>
          <a:p>
            <a:pPr marL="363538" marR="0" lvl="0" indent="-223838" algn="l" rtl="0">
              <a:lnSpc>
                <a:spcPct val="100000"/>
              </a:lnSpc>
              <a:spcBef>
                <a:spcPts val="0"/>
              </a:spcBef>
              <a:spcAft>
                <a:spcPts val="0"/>
              </a:spcAft>
              <a:buClr>
                <a:schemeClr val="dk1"/>
              </a:buClr>
              <a:buSzPts val="1400"/>
              <a:buFont typeface="Arial"/>
              <a:buChar char="•"/>
            </a:pPr>
            <a:r>
              <a:rPr lang="en" b="1" dirty="0">
                <a:solidFill>
                  <a:schemeClr val="tx1"/>
                </a:solidFill>
                <a:latin typeface="+mj-lt"/>
                <a:ea typeface="Poppins Light"/>
                <a:cs typeface="Poppins Light"/>
                <a:sym typeface="Poppins Light"/>
              </a:rPr>
              <a:t>Filtering and Further cleaning</a:t>
            </a:r>
          </a:p>
          <a:p>
            <a:pPr marL="457200" marR="0" lvl="0" indent="-317500" algn="l" rtl="0">
              <a:lnSpc>
                <a:spcPct val="100000"/>
              </a:lnSpc>
              <a:spcBef>
                <a:spcPts val="0"/>
              </a:spcBef>
              <a:spcAft>
                <a:spcPts val="0"/>
              </a:spcAft>
              <a:buClr>
                <a:schemeClr val="dk1"/>
              </a:buClr>
              <a:buSzPts val="1400"/>
              <a:buFont typeface="Arial"/>
              <a:buChar char="•"/>
            </a:pPr>
            <a:endParaRPr sz="1400" b="0" i="0" u="none" strike="noStrike" cap="none" dirty="0">
              <a:solidFill>
                <a:schemeClr val="tx1"/>
              </a:solidFill>
              <a:latin typeface="+mj-lt"/>
              <a:ea typeface="Poppins Light"/>
              <a:cs typeface="Poppins Light"/>
              <a:sym typeface="Poppins Light"/>
            </a:endParaRPr>
          </a:p>
          <a:p>
            <a:pPr marL="914400" marR="0" lvl="1" indent="-317500" algn="l" rtl="0">
              <a:lnSpc>
                <a:spcPct val="100000"/>
              </a:lnSpc>
              <a:spcBef>
                <a:spcPts val="0"/>
              </a:spcBef>
              <a:spcAft>
                <a:spcPts val="0"/>
              </a:spcAft>
              <a:buClr>
                <a:schemeClr val="dk1"/>
              </a:buClr>
              <a:buSzPts val="1400"/>
              <a:buFont typeface="Arial" panose="020B0604020202020204" pitchFamily="34" charset="0"/>
              <a:buChar char="•"/>
            </a:pPr>
            <a:r>
              <a:rPr lang="en" dirty="0">
                <a:solidFill>
                  <a:schemeClr val="tx1"/>
                </a:solidFill>
                <a:latin typeface="+mj-lt"/>
                <a:ea typeface="Poppins Light"/>
                <a:cs typeface="Poppins Light"/>
                <a:sym typeface="Poppins Light"/>
              </a:rPr>
              <a:t>Corrected some Typo errors in “city” and “state” column such as “Washington DC” in both city and state column. </a:t>
            </a:r>
          </a:p>
          <a:p>
            <a:pPr marL="914400" lvl="1" indent="-317500">
              <a:buClr>
                <a:schemeClr val="dk1"/>
              </a:buClr>
              <a:buSzPts val="1400"/>
              <a:buFont typeface="Arial" panose="020B0604020202020204" pitchFamily="34" charset="0"/>
              <a:buChar char="•"/>
            </a:pPr>
            <a:r>
              <a:rPr lang="en-US" sz="1400" b="0" i="0" u="none" strike="noStrike" cap="none" dirty="0">
                <a:solidFill>
                  <a:schemeClr val="tx1"/>
                </a:solidFill>
                <a:latin typeface="+mj-lt"/>
                <a:ea typeface="Poppins Light"/>
                <a:cs typeface="Poppins Light"/>
                <a:sym typeface="Poppins Light"/>
              </a:rPr>
              <a:t>Filtered out data only for “DC” state and “Washington” city.</a:t>
            </a:r>
          </a:p>
        </p:txBody>
      </p:sp>
      <p:sp>
        <p:nvSpPr>
          <p:cNvPr id="3" name="Title 1">
            <a:extLst>
              <a:ext uri="{FF2B5EF4-FFF2-40B4-BE49-F238E27FC236}">
                <a16:creationId xmlns:a16="http://schemas.microsoft.com/office/drawing/2014/main" id="{2F82DDAA-BE10-4AD5-E71F-7E52A299C439}"/>
              </a:ext>
            </a:extLst>
          </p:cNvPr>
          <p:cNvSpPr txBox="1">
            <a:spLocks/>
          </p:cNvSpPr>
          <p:nvPr>
            <p:custDataLst>
              <p:tags r:id="rId1"/>
            </p:custDataLst>
          </p:nvPr>
        </p:nvSpPr>
        <p:spPr>
          <a:xfrm>
            <a:off x="205123" y="78049"/>
            <a:ext cx="8388000" cy="54647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000" b="1" dirty="0">
                <a:solidFill>
                  <a:schemeClr val="bg1">
                    <a:lumMod val="65000"/>
                  </a:schemeClr>
                </a:solidFill>
              </a:rPr>
              <a:t>Appendix A</a:t>
            </a:r>
            <a:br>
              <a:rPr lang="en-US" sz="1800" dirty="0">
                <a:solidFill>
                  <a:srgbClr val="81BC00"/>
                </a:solidFill>
              </a:rPr>
            </a:br>
            <a:r>
              <a:rPr lang="en-US" sz="1800" b="1" dirty="0">
                <a:solidFill>
                  <a:srgbClr val="002776"/>
                </a:solidFill>
              </a:rPr>
              <a:t>Data cleaning and quality check</a:t>
            </a:r>
          </a:p>
        </p:txBody>
      </p:sp>
      <p:cxnSp>
        <p:nvCxnSpPr>
          <p:cNvPr id="4" name="Straight Connector 3">
            <a:extLst>
              <a:ext uri="{FF2B5EF4-FFF2-40B4-BE49-F238E27FC236}">
                <a16:creationId xmlns:a16="http://schemas.microsoft.com/office/drawing/2014/main" id="{8446F9B0-76F3-555E-F94B-D7DA120AE4A1}"/>
              </a:ext>
            </a:extLst>
          </p:cNvPr>
          <p:cNvCxnSpPr>
            <a:cxnSpLocks/>
          </p:cNvCxnSpPr>
          <p:nvPr/>
        </p:nvCxnSpPr>
        <p:spPr>
          <a:xfrm>
            <a:off x="0" y="608512"/>
            <a:ext cx="9144000" cy="0"/>
          </a:xfrm>
          <a:prstGeom prst="line">
            <a:avLst/>
          </a:prstGeom>
          <a:ln w="76200">
            <a:solidFill>
              <a:srgbClr val="002776"/>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DC073A2E-E71B-016C-E301-A471D639C5CA}"/>
              </a:ext>
            </a:extLst>
          </p:cNvPr>
          <p:cNvCxnSpPr>
            <a:cxnSpLocks/>
          </p:cNvCxnSpPr>
          <p:nvPr/>
        </p:nvCxnSpPr>
        <p:spPr>
          <a:xfrm>
            <a:off x="4771500" y="1354228"/>
            <a:ext cx="0" cy="327582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 name="Google Shape;212;p4">
            <a:extLst>
              <a:ext uri="{FF2B5EF4-FFF2-40B4-BE49-F238E27FC236}">
                <a16:creationId xmlns:a16="http://schemas.microsoft.com/office/drawing/2014/main" id="{AA743EA7-2DDD-9DC2-B070-9B3B41C5220A}"/>
              </a:ext>
            </a:extLst>
          </p:cNvPr>
          <p:cNvSpPr txBox="1"/>
          <p:nvPr/>
        </p:nvSpPr>
        <p:spPr>
          <a:xfrm>
            <a:off x="4652649" y="1152756"/>
            <a:ext cx="4491351" cy="3416290"/>
          </a:xfrm>
          <a:prstGeom prst="rect">
            <a:avLst/>
          </a:prstGeom>
          <a:noFill/>
          <a:ln>
            <a:noFill/>
          </a:ln>
        </p:spPr>
        <p:txBody>
          <a:bodyPr spcFirstLastPara="1" wrap="square" lIns="91425" tIns="91425" rIns="91425" bIns="91425" anchor="t" anchorCtr="0">
            <a:spAutoFit/>
          </a:bodyPr>
          <a:lstStyle/>
          <a:p>
            <a:pPr marL="363538" marR="0" lvl="0" indent="-223838" algn="l" rtl="0">
              <a:lnSpc>
                <a:spcPct val="100000"/>
              </a:lnSpc>
              <a:spcBef>
                <a:spcPts val="0"/>
              </a:spcBef>
              <a:spcAft>
                <a:spcPts val="0"/>
              </a:spcAft>
              <a:buClr>
                <a:srgbClr val="000000"/>
              </a:buClr>
              <a:buSzPts val="1400"/>
              <a:buFont typeface="Arial"/>
              <a:buChar char="•"/>
            </a:pPr>
            <a:r>
              <a:rPr lang="en" b="1" dirty="0">
                <a:solidFill>
                  <a:schemeClr val="tx1"/>
                </a:solidFill>
                <a:latin typeface="+mj-lt"/>
                <a:ea typeface="Poppins Light"/>
                <a:cs typeface="Poppins Light"/>
                <a:sym typeface="Poppins Light"/>
              </a:rPr>
              <a:t>Deleted 41 unwanted Columns</a:t>
            </a:r>
          </a:p>
          <a:p>
            <a:pPr marL="139700" marR="0" lvl="0" algn="l" rtl="0">
              <a:lnSpc>
                <a:spcPct val="100000"/>
              </a:lnSpc>
              <a:spcBef>
                <a:spcPts val="0"/>
              </a:spcBef>
              <a:spcAft>
                <a:spcPts val="0"/>
              </a:spcAft>
              <a:buClr>
                <a:srgbClr val="000000"/>
              </a:buClr>
              <a:buSzPts val="1400"/>
            </a:pPr>
            <a:endParaRPr sz="1400" b="0" i="0" u="none" strike="noStrike" cap="none" dirty="0">
              <a:solidFill>
                <a:schemeClr val="tx1"/>
              </a:solidFill>
              <a:latin typeface="+mj-lt"/>
              <a:ea typeface="Poppins Light"/>
              <a:cs typeface="Poppins Light"/>
              <a:sym typeface="Poppins Light"/>
            </a:endParaRPr>
          </a:p>
          <a:p>
            <a:pPr marL="914400" marR="0" lvl="1" indent="-317500" algn="l" rtl="0">
              <a:lnSpc>
                <a:spcPct val="100000"/>
              </a:lnSpc>
              <a:spcBef>
                <a:spcPts val="0"/>
              </a:spcBef>
              <a:spcAft>
                <a:spcPts val="0"/>
              </a:spcAft>
              <a:buClr>
                <a:srgbClr val="000000"/>
              </a:buClr>
              <a:buSzPts val="1400"/>
              <a:buFont typeface="Arial" panose="020B0604020202020204" pitchFamily="34" charset="0"/>
              <a:buChar char="•"/>
            </a:pPr>
            <a:r>
              <a:rPr lang="en" dirty="0">
                <a:solidFill>
                  <a:schemeClr val="tx1"/>
                </a:solidFill>
                <a:latin typeface="+mj-lt"/>
                <a:ea typeface="Poppins Light"/>
                <a:cs typeface="Poppins Light"/>
                <a:sym typeface="Poppins Light"/>
              </a:rPr>
              <a:t>Columns containing URLs.</a:t>
            </a:r>
            <a:endParaRPr sz="1400" b="0" i="0" u="none" strike="noStrike" cap="none" dirty="0">
              <a:solidFill>
                <a:schemeClr val="tx1"/>
              </a:solidFill>
              <a:latin typeface="+mj-lt"/>
              <a:ea typeface="Poppins Light"/>
              <a:cs typeface="Poppins Light"/>
              <a:sym typeface="Poppins Light"/>
            </a:endParaRPr>
          </a:p>
          <a:p>
            <a:pPr marL="914400" marR="0" lvl="1" indent="-317500" algn="l" rtl="0">
              <a:lnSpc>
                <a:spcPct val="100000"/>
              </a:lnSpc>
              <a:spcBef>
                <a:spcPts val="0"/>
              </a:spcBef>
              <a:spcAft>
                <a:spcPts val="0"/>
              </a:spcAft>
              <a:buClr>
                <a:srgbClr val="000000"/>
              </a:buClr>
              <a:buSzPts val="1400"/>
              <a:buFont typeface="Arial" panose="020B0604020202020204" pitchFamily="34" charset="0"/>
              <a:buChar char="•"/>
            </a:pPr>
            <a:r>
              <a:rPr lang="en-AU" sz="1400" b="0" i="0" u="none" strike="noStrike" cap="none" dirty="0">
                <a:solidFill>
                  <a:schemeClr val="tx1"/>
                </a:solidFill>
                <a:latin typeface="+mj-lt"/>
                <a:ea typeface="Poppins Light"/>
                <a:cs typeface="Poppins Light"/>
                <a:sym typeface="Poppins Light"/>
              </a:rPr>
              <a:t>Columns containing long descriptions.</a:t>
            </a:r>
          </a:p>
          <a:p>
            <a:pPr marL="914400" marR="0" lvl="1" indent="-317500" algn="l" rtl="0">
              <a:lnSpc>
                <a:spcPct val="100000"/>
              </a:lnSpc>
              <a:spcBef>
                <a:spcPts val="0"/>
              </a:spcBef>
              <a:spcAft>
                <a:spcPts val="0"/>
              </a:spcAft>
              <a:buClr>
                <a:srgbClr val="000000"/>
              </a:buClr>
              <a:buSzPts val="1400"/>
              <a:buFont typeface="Arial" panose="020B0604020202020204" pitchFamily="34" charset="0"/>
              <a:buChar char="•"/>
            </a:pPr>
            <a:r>
              <a:rPr lang="en-AU" dirty="0">
                <a:solidFill>
                  <a:schemeClr val="tx1"/>
                </a:solidFill>
                <a:latin typeface="+mj-lt"/>
                <a:ea typeface="Poppins Light"/>
                <a:cs typeface="Poppins Light"/>
                <a:sym typeface="Poppins Light"/>
              </a:rPr>
              <a:t>Columns containing single data or no data.</a:t>
            </a:r>
          </a:p>
          <a:p>
            <a:pPr marL="914400" marR="0" lvl="1" indent="-317500" algn="l" rtl="0">
              <a:lnSpc>
                <a:spcPct val="100000"/>
              </a:lnSpc>
              <a:spcBef>
                <a:spcPts val="0"/>
              </a:spcBef>
              <a:spcAft>
                <a:spcPts val="0"/>
              </a:spcAft>
              <a:buClr>
                <a:srgbClr val="000000"/>
              </a:buClr>
              <a:buSzPts val="1400"/>
              <a:buFont typeface="Arial" panose="020B0604020202020204" pitchFamily="34" charset="0"/>
              <a:buChar char="•"/>
            </a:pPr>
            <a:r>
              <a:rPr lang="en-AU" sz="1400" b="0" i="0" u="none" strike="noStrike" cap="none" dirty="0">
                <a:solidFill>
                  <a:schemeClr val="tx1"/>
                </a:solidFill>
                <a:latin typeface="+mj-lt"/>
                <a:ea typeface="Poppins Light"/>
                <a:cs typeface="Poppins Light"/>
                <a:sym typeface="Poppins Light"/>
              </a:rPr>
              <a:t>Columns containing </a:t>
            </a:r>
            <a:r>
              <a:rPr lang="en-AU" dirty="0">
                <a:solidFill>
                  <a:schemeClr val="tx1"/>
                </a:solidFill>
                <a:latin typeface="+mj-lt"/>
                <a:ea typeface="Poppins Light"/>
                <a:cs typeface="Poppins Light"/>
                <a:sym typeface="Poppins Light"/>
              </a:rPr>
              <a:t>data</a:t>
            </a:r>
            <a:r>
              <a:rPr lang="en-AU" sz="1400" b="0" i="0" u="none" strike="noStrike" cap="none" dirty="0">
                <a:solidFill>
                  <a:schemeClr val="tx1"/>
                </a:solidFill>
                <a:latin typeface="+mj-lt"/>
                <a:ea typeface="Poppins Light"/>
                <a:cs typeface="Poppins Light"/>
                <a:sym typeface="Poppins Light"/>
              </a:rPr>
              <a:t> that add no value to our analysis.</a:t>
            </a:r>
            <a:endParaRPr sz="1400" b="0" i="0" u="none" strike="noStrike" cap="none" dirty="0">
              <a:solidFill>
                <a:schemeClr val="tx1"/>
              </a:solidFill>
              <a:latin typeface="+mj-lt"/>
              <a:ea typeface="Poppins Light"/>
              <a:cs typeface="Poppins Light"/>
              <a:sym typeface="Poppins Light"/>
            </a:endParaRPr>
          </a:p>
          <a:p>
            <a:pPr marL="91440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chemeClr val="tx1"/>
              </a:solidFill>
              <a:latin typeface="+mj-lt"/>
              <a:ea typeface="Poppins Light"/>
              <a:cs typeface="Poppins Light"/>
              <a:sym typeface="Poppins Light"/>
            </a:endParaRPr>
          </a:p>
          <a:p>
            <a:pPr marL="363538" marR="0" lvl="0" indent="-223838" algn="l" rtl="0">
              <a:lnSpc>
                <a:spcPct val="100000"/>
              </a:lnSpc>
              <a:spcBef>
                <a:spcPts val="0"/>
              </a:spcBef>
              <a:spcAft>
                <a:spcPts val="0"/>
              </a:spcAft>
              <a:buClr>
                <a:schemeClr val="dk1"/>
              </a:buClr>
              <a:buSzPts val="1400"/>
              <a:buFont typeface="Arial"/>
              <a:buChar char="•"/>
            </a:pPr>
            <a:r>
              <a:rPr lang="en" b="1" dirty="0">
                <a:solidFill>
                  <a:schemeClr val="tx1"/>
                </a:solidFill>
                <a:latin typeface="+mj-lt"/>
                <a:ea typeface="Poppins Light"/>
                <a:cs typeface="Poppins Light"/>
                <a:sym typeface="Poppins Light"/>
              </a:rPr>
              <a:t>Filtering and Further cleaning</a:t>
            </a:r>
          </a:p>
          <a:p>
            <a:pPr marL="457200" marR="0" lvl="0" indent="-317500" algn="l" rtl="0">
              <a:lnSpc>
                <a:spcPct val="100000"/>
              </a:lnSpc>
              <a:spcBef>
                <a:spcPts val="0"/>
              </a:spcBef>
              <a:spcAft>
                <a:spcPts val="0"/>
              </a:spcAft>
              <a:buClr>
                <a:schemeClr val="dk1"/>
              </a:buClr>
              <a:buSzPts val="1400"/>
              <a:buFont typeface="Arial"/>
              <a:buChar char="•"/>
            </a:pPr>
            <a:endParaRPr sz="1400" b="0" i="0" u="none" strike="noStrike" cap="none" dirty="0">
              <a:solidFill>
                <a:schemeClr val="tx1"/>
              </a:solidFill>
              <a:latin typeface="+mj-lt"/>
              <a:ea typeface="Poppins Light"/>
              <a:cs typeface="Poppins Light"/>
              <a:sym typeface="Poppins Light"/>
            </a:endParaRPr>
          </a:p>
          <a:p>
            <a:pPr marL="914400" marR="0" lvl="1" indent="-317500" algn="l" rtl="0">
              <a:lnSpc>
                <a:spcPct val="100000"/>
              </a:lnSpc>
              <a:spcBef>
                <a:spcPts val="0"/>
              </a:spcBef>
              <a:spcAft>
                <a:spcPts val="0"/>
              </a:spcAft>
              <a:buClr>
                <a:schemeClr val="dk1"/>
              </a:buClr>
              <a:buSzPts val="1400"/>
              <a:buFont typeface="Arial" panose="020B0604020202020204" pitchFamily="34" charset="0"/>
              <a:buChar char="•"/>
            </a:pPr>
            <a:r>
              <a:rPr lang="en" dirty="0">
                <a:solidFill>
                  <a:schemeClr val="tx1"/>
                </a:solidFill>
                <a:latin typeface="+mj-lt"/>
                <a:ea typeface="Poppins Light"/>
                <a:cs typeface="Poppins Light"/>
                <a:sym typeface="Poppins Light"/>
              </a:rPr>
              <a:t>Corrected some Typo errors in “city” and “state” column such as “Washington DC” in both city and state column. </a:t>
            </a:r>
          </a:p>
          <a:p>
            <a:pPr marL="914400" lvl="1" indent="-317500">
              <a:buClr>
                <a:schemeClr val="dk1"/>
              </a:buClr>
              <a:buSzPts val="1400"/>
              <a:buFont typeface="Arial" panose="020B0604020202020204" pitchFamily="34" charset="0"/>
              <a:buChar char="•"/>
            </a:pPr>
            <a:r>
              <a:rPr lang="en-US" sz="1400" b="0" i="0" u="none" strike="noStrike" cap="none" dirty="0">
                <a:solidFill>
                  <a:schemeClr val="tx1"/>
                </a:solidFill>
                <a:latin typeface="+mj-lt"/>
                <a:ea typeface="Poppins Light"/>
                <a:cs typeface="Poppins Light"/>
                <a:sym typeface="Poppins Light"/>
              </a:rPr>
              <a:t>Filtered out data only for “DC” state and “Washington” city.</a:t>
            </a:r>
          </a:p>
        </p:txBody>
      </p:sp>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dirty="0">
                <a:solidFill>
                  <a:srgbClr val="81BC00"/>
                </a:solidFill>
              </a:rPr>
              <a:t>Smoothed line chart</a:t>
            </a:r>
            <a:endParaRPr lang="en-US" dirty="0">
              <a:solidFill>
                <a:srgbClr val="81BC00"/>
              </a:solidFill>
            </a:endParaRPr>
          </a:p>
        </p:txBody>
      </p:sp>
      <p:graphicFrame>
        <p:nvGraphicFramePr>
          <p:cNvPr id="5" name="Chart 4"/>
          <p:cNvGraphicFramePr/>
          <p:nvPr/>
        </p:nvGraphicFramePr>
        <p:xfrm>
          <a:off x="1314451" y="1371600"/>
          <a:ext cx="5813045" cy="3143250"/>
        </p:xfrm>
        <a:graphic>
          <a:graphicData uri="http://schemas.openxmlformats.org/drawingml/2006/chart">
            <c:chart xmlns:c="http://schemas.openxmlformats.org/drawingml/2006/chart" xmlns:r="http://schemas.openxmlformats.org/officeDocument/2006/relationships" r:id="rId7"/>
          </a:graphicData>
        </a:graphic>
      </p:graphicFrame>
      <p:sp>
        <p:nvSpPr>
          <p:cNvPr id="10" name="Text Placeholder 12"/>
          <p:cNvSpPr>
            <a:spLocks/>
          </p:cNvSpPr>
          <p:nvPr>
            <p:custDataLst>
              <p:tags r:id="rId1"/>
            </p:custDataLst>
          </p:nvPr>
        </p:nvSpPr>
        <p:spPr bwMode="auto">
          <a:xfrm>
            <a:off x="5055778" y="1491684"/>
            <a:ext cx="929742" cy="115416"/>
          </a:xfrm>
          <a:prstGeom prst="rect">
            <a:avLst/>
          </a:prstGeom>
          <a:noFill/>
          <a:ln w="9525">
            <a:noFill/>
            <a:miter lim="800000"/>
            <a:headEnd/>
            <a:tailEnd/>
          </a:ln>
        </p:spPr>
        <p:txBody>
          <a:bodyPr wrap="none" lIns="0" tIns="0" rIns="0" bIns="0">
            <a:spAutoFit/>
          </a:bodyPr>
          <a:lstStyle/>
          <a:p>
            <a:pPr defTabSz="764381">
              <a:spcAft>
                <a:spcPts val="225"/>
              </a:spcAft>
              <a:buClrTx/>
            </a:pPr>
            <a:r>
              <a:rPr lang="en-US" sz="750" b="1" kern="1200" dirty="0">
                <a:solidFill>
                  <a:srgbClr val="8C8C8C"/>
                </a:solidFill>
                <a:ea typeface="+mn-ea"/>
                <a:cs typeface="+mn-cs"/>
              </a:rPr>
              <a:t>Label text goes here</a:t>
            </a:r>
          </a:p>
        </p:txBody>
      </p:sp>
      <p:sp>
        <p:nvSpPr>
          <p:cNvPr id="11" name="Text Placeholder 12"/>
          <p:cNvSpPr>
            <a:spLocks/>
          </p:cNvSpPr>
          <p:nvPr>
            <p:custDataLst>
              <p:tags r:id="rId2"/>
            </p:custDataLst>
          </p:nvPr>
        </p:nvSpPr>
        <p:spPr bwMode="auto">
          <a:xfrm>
            <a:off x="5139950" y="3461951"/>
            <a:ext cx="929742" cy="115416"/>
          </a:xfrm>
          <a:prstGeom prst="rect">
            <a:avLst/>
          </a:prstGeom>
          <a:noFill/>
          <a:ln w="9525">
            <a:noFill/>
            <a:miter lim="800000"/>
            <a:headEnd/>
            <a:tailEnd/>
          </a:ln>
        </p:spPr>
        <p:txBody>
          <a:bodyPr wrap="none" lIns="0" tIns="0" rIns="0" bIns="0">
            <a:spAutoFit/>
          </a:bodyPr>
          <a:lstStyle/>
          <a:p>
            <a:pPr defTabSz="764381">
              <a:spcAft>
                <a:spcPts val="225"/>
              </a:spcAft>
              <a:buClrTx/>
            </a:pPr>
            <a:r>
              <a:rPr lang="en-US" sz="750" b="1" kern="1200" dirty="0">
                <a:solidFill>
                  <a:srgbClr val="81BC00"/>
                </a:solidFill>
                <a:ea typeface="+mn-ea"/>
                <a:cs typeface="+mn-cs"/>
              </a:rPr>
              <a:t>Label text goes here</a:t>
            </a:r>
          </a:p>
        </p:txBody>
      </p:sp>
      <p:sp>
        <p:nvSpPr>
          <p:cNvPr id="12" name="Text Placeholder 12"/>
          <p:cNvSpPr>
            <a:spLocks/>
          </p:cNvSpPr>
          <p:nvPr>
            <p:custDataLst>
              <p:tags r:id="rId3"/>
            </p:custDataLst>
          </p:nvPr>
        </p:nvSpPr>
        <p:spPr bwMode="auto">
          <a:xfrm>
            <a:off x="6400800" y="2274943"/>
            <a:ext cx="929742" cy="115416"/>
          </a:xfrm>
          <a:prstGeom prst="rect">
            <a:avLst/>
          </a:prstGeom>
          <a:noFill/>
          <a:ln w="9525">
            <a:noFill/>
            <a:miter lim="800000"/>
            <a:headEnd/>
            <a:tailEnd/>
          </a:ln>
        </p:spPr>
        <p:txBody>
          <a:bodyPr wrap="none" lIns="0" tIns="0" rIns="0" bIns="0">
            <a:spAutoFit/>
          </a:bodyPr>
          <a:lstStyle/>
          <a:p>
            <a:pPr defTabSz="764381">
              <a:spcAft>
                <a:spcPts val="225"/>
              </a:spcAft>
              <a:buClrTx/>
            </a:pPr>
            <a:r>
              <a:rPr lang="en-US" sz="750" b="1" kern="1200" dirty="0">
                <a:solidFill>
                  <a:srgbClr val="575757"/>
                </a:solidFill>
                <a:ea typeface="+mn-ea"/>
                <a:cs typeface="+mn-cs"/>
              </a:rPr>
              <a:t>Label text goes here</a:t>
            </a:r>
          </a:p>
        </p:txBody>
      </p:sp>
      <p:sp>
        <p:nvSpPr>
          <p:cNvPr id="13" name="Text Placeholder 12"/>
          <p:cNvSpPr>
            <a:spLocks/>
          </p:cNvSpPr>
          <p:nvPr>
            <p:custDataLst>
              <p:tags r:id="rId4"/>
            </p:custDataLst>
          </p:nvPr>
        </p:nvSpPr>
        <p:spPr bwMode="auto">
          <a:xfrm>
            <a:off x="1440657" y="1131570"/>
            <a:ext cx="956993"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 </a:t>
            </a:r>
          </a:p>
        </p:txBody>
      </p:sp>
      <p:sp>
        <p:nvSpPr>
          <p:cNvPr id="14"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dirty="0">
                <a:solidFill>
                  <a:srgbClr val="81BC00"/>
                </a:solidFill>
              </a:rPr>
              <a:t>Smoothed line charts </a:t>
            </a:r>
            <a:br>
              <a:rPr lang="en-US" altLang="ja-JP" dirty="0">
                <a:solidFill>
                  <a:srgbClr val="575757"/>
                </a:solidFill>
              </a:rPr>
            </a:br>
            <a:r>
              <a:rPr lang="en-US" altLang="ja-JP" dirty="0">
                <a:solidFill>
                  <a:srgbClr val="575757"/>
                </a:solidFill>
              </a:rPr>
              <a:t>Two</a:t>
            </a:r>
            <a:endParaRPr lang="en-US" dirty="0">
              <a:solidFill>
                <a:srgbClr val="575757"/>
              </a:solidFill>
            </a:endParaRPr>
          </a:p>
        </p:txBody>
      </p:sp>
      <p:graphicFrame>
        <p:nvGraphicFramePr>
          <p:cNvPr id="5" name="Chart 4"/>
          <p:cNvGraphicFramePr/>
          <p:nvPr/>
        </p:nvGraphicFramePr>
        <p:xfrm>
          <a:off x="1431036" y="1371600"/>
          <a:ext cx="2996946" cy="2969514"/>
        </p:xfrm>
        <a:graphic>
          <a:graphicData uri="http://schemas.openxmlformats.org/drawingml/2006/chart">
            <c:chart xmlns:c="http://schemas.openxmlformats.org/drawingml/2006/chart" xmlns:r="http://schemas.openxmlformats.org/officeDocument/2006/relationships" r:id="rId5"/>
          </a:graphicData>
        </a:graphic>
      </p:graphicFrame>
      <p:sp>
        <p:nvSpPr>
          <p:cNvPr id="24" name="Text Placeholder 12"/>
          <p:cNvSpPr>
            <a:spLocks/>
          </p:cNvSpPr>
          <p:nvPr>
            <p:custDataLst>
              <p:tags r:id="rId1"/>
            </p:custDataLst>
          </p:nvPr>
        </p:nvSpPr>
        <p:spPr bwMode="auto">
          <a:xfrm>
            <a:off x="1437894" y="1131570"/>
            <a:ext cx="929742"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p:txBody>
      </p:sp>
      <p:sp>
        <p:nvSpPr>
          <p:cNvPr id="25" name="Text Placeholder 12"/>
          <p:cNvSpPr>
            <a:spLocks/>
          </p:cNvSpPr>
          <p:nvPr>
            <p:custDataLst>
              <p:tags r:id="rId2"/>
            </p:custDataLst>
          </p:nvPr>
        </p:nvSpPr>
        <p:spPr bwMode="auto">
          <a:xfrm>
            <a:off x="4818888" y="1131570"/>
            <a:ext cx="929742" cy="230832"/>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a:p>
            <a:pPr defTabSz="764381">
              <a:buClrTx/>
            </a:pPr>
            <a:endParaRPr lang="en-US" sz="750" b="1" kern="1200" dirty="0">
              <a:solidFill>
                <a:srgbClr val="313131"/>
              </a:solidFill>
              <a:ea typeface="+mn-ea"/>
              <a:cs typeface="+mn-cs"/>
            </a:endParaRPr>
          </a:p>
        </p:txBody>
      </p:sp>
      <p:sp>
        <p:nvSpPr>
          <p:cNvPr id="22"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graphicFrame>
        <p:nvGraphicFramePr>
          <p:cNvPr id="23" name="Chart 22"/>
          <p:cNvGraphicFramePr/>
          <p:nvPr/>
        </p:nvGraphicFramePr>
        <p:xfrm>
          <a:off x="4914900" y="1371600"/>
          <a:ext cx="2996946" cy="2969514"/>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dirty="0">
                <a:solidFill>
                  <a:srgbClr val="81BC00"/>
                </a:solidFill>
              </a:rPr>
              <a:t>Smoothed line charts </a:t>
            </a:r>
            <a:br>
              <a:rPr lang="en-US" altLang="ja-JP" dirty="0">
                <a:solidFill>
                  <a:srgbClr val="575757"/>
                </a:solidFill>
              </a:rPr>
            </a:br>
            <a:r>
              <a:rPr lang="en-US" altLang="ja-JP" dirty="0">
                <a:solidFill>
                  <a:srgbClr val="575757"/>
                </a:solidFill>
              </a:rPr>
              <a:t>Two with text</a:t>
            </a:r>
            <a:endParaRPr lang="en-US" dirty="0">
              <a:solidFill>
                <a:srgbClr val="575757"/>
              </a:solidFill>
            </a:endParaRPr>
          </a:p>
        </p:txBody>
      </p:sp>
      <p:graphicFrame>
        <p:nvGraphicFramePr>
          <p:cNvPr id="13" name="Chart 12"/>
          <p:cNvGraphicFramePr/>
          <p:nvPr/>
        </p:nvGraphicFramePr>
        <p:xfrm>
          <a:off x="4764613" y="1371600"/>
          <a:ext cx="3064937" cy="3028950"/>
        </p:xfrm>
        <a:graphic>
          <a:graphicData uri="http://schemas.openxmlformats.org/drawingml/2006/chart">
            <c:chart xmlns:c="http://schemas.openxmlformats.org/drawingml/2006/chart" xmlns:r="http://schemas.openxmlformats.org/officeDocument/2006/relationships" r:id="rId4"/>
          </a:graphicData>
        </a:graphic>
      </p:graphicFrame>
      <p:sp>
        <p:nvSpPr>
          <p:cNvPr id="25" name="Text Placeholder 12"/>
          <p:cNvSpPr>
            <a:spLocks/>
          </p:cNvSpPr>
          <p:nvPr>
            <p:custDataLst>
              <p:tags r:id="rId1"/>
            </p:custDataLst>
          </p:nvPr>
        </p:nvSpPr>
        <p:spPr bwMode="auto">
          <a:xfrm>
            <a:off x="4706541" y="1131570"/>
            <a:ext cx="929742" cy="230832"/>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a:p>
            <a:pPr defTabSz="764381">
              <a:buClrTx/>
            </a:pPr>
            <a:endParaRPr lang="en-US" sz="750" b="1" kern="1200" dirty="0">
              <a:solidFill>
                <a:srgbClr val="313131"/>
              </a:solidFill>
              <a:ea typeface="+mn-ea"/>
              <a:cs typeface="+mn-cs"/>
            </a:endParaRPr>
          </a:p>
        </p:txBody>
      </p:sp>
      <p:sp>
        <p:nvSpPr>
          <p:cNvPr id="15" name="Text Placeholder 3"/>
          <p:cNvSpPr txBox="1">
            <a:spLocks/>
          </p:cNvSpPr>
          <p:nvPr/>
        </p:nvSpPr>
        <p:spPr>
          <a:xfrm>
            <a:off x="1421100" y="1268730"/>
            <a:ext cx="3105000" cy="34020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5979" indent="-205979" defTabSz="685800">
              <a:spcBef>
                <a:spcPts val="900"/>
              </a:spcBef>
              <a:buClrTx/>
              <a:defRPr/>
            </a:pPr>
            <a:r>
              <a:rPr lang="en-GB" sz="1350" dirty="0">
                <a:solidFill>
                  <a:srgbClr val="313131"/>
                </a:solidFill>
                <a:latin typeface="Arial"/>
              </a:rPr>
              <a:t>This is a level one bullet this is dummy text it is not here to be read</a:t>
            </a:r>
          </a:p>
          <a:p>
            <a:pPr marL="205979" indent="-205979" defTabSz="685800">
              <a:spcBef>
                <a:spcPts val="900"/>
              </a:spcBef>
              <a:buClrTx/>
              <a:defRPr/>
            </a:pPr>
            <a:r>
              <a:rPr lang="en-GB" sz="1350" dirty="0">
                <a:solidFill>
                  <a:srgbClr val="313131"/>
                </a:solidFill>
                <a:latin typeface="Arial"/>
              </a:rPr>
              <a:t>This is a level one bullet this is dummy text it is not here to be read</a:t>
            </a:r>
          </a:p>
          <a:p>
            <a:pPr marL="205979" indent="-205979" defTabSz="685800">
              <a:spcBef>
                <a:spcPts val="900"/>
              </a:spcBef>
              <a:buClrTx/>
              <a:defRPr/>
            </a:pPr>
            <a:r>
              <a:rPr lang="en-GB" sz="1350" dirty="0">
                <a:solidFill>
                  <a:srgbClr val="313131"/>
                </a:solidFill>
                <a:latin typeface="Arial"/>
              </a:rPr>
              <a:t>This is a level one bullet this is dummy text it is not here to be read</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404622" lvl="1" indent="-205740" defTabSz="685800">
              <a:spcBef>
                <a:spcPts val="900"/>
              </a:spcBef>
              <a:buClrTx/>
              <a:defRPr/>
            </a:pPr>
            <a:r>
              <a:rPr lang="en-GB" sz="1350" dirty="0">
                <a:solidFill>
                  <a:srgbClr val="313131"/>
                </a:solidFill>
                <a:latin typeface="Arial"/>
              </a:rPr>
              <a:t>This is a level two bullet</a:t>
            </a:r>
          </a:p>
          <a:p>
            <a:pPr marL="205979" indent="-205979" defTabSz="685800">
              <a:spcBef>
                <a:spcPts val="900"/>
              </a:spcBef>
              <a:buClrTx/>
              <a:defRPr/>
            </a:pPr>
            <a:endParaRPr lang="en-GB" sz="1350" dirty="0">
              <a:solidFill>
                <a:srgbClr val="313131"/>
              </a:solidFill>
              <a:latin typeface="Arial"/>
            </a:endParaRPr>
          </a:p>
        </p:txBody>
      </p:sp>
      <p:sp>
        <p:nvSpPr>
          <p:cNvPr id="14"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extLst>
      <p:ext uri="{BB962C8B-B14F-4D97-AF65-F5344CB8AC3E}">
        <p14:creationId xmlns:p14="http://schemas.microsoft.com/office/powerpoint/2010/main" val="2703984703"/>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ltLang="ja-JP" dirty="0">
                <a:solidFill>
                  <a:srgbClr val="81BC00"/>
                </a:solidFill>
              </a:rPr>
              <a:t>Waterfall  </a:t>
            </a:r>
            <a:br>
              <a:rPr lang="en-US" altLang="ja-JP" dirty="0">
                <a:solidFill>
                  <a:srgbClr val="81BC00"/>
                </a:solidFill>
              </a:rPr>
            </a:br>
            <a:r>
              <a:rPr lang="en-US" altLang="ja-JP" dirty="0">
                <a:solidFill>
                  <a:srgbClr val="575757"/>
                </a:solidFill>
              </a:rPr>
              <a:t>Columns</a:t>
            </a:r>
            <a:endParaRPr lang="en-US" dirty="0">
              <a:solidFill>
                <a:srgbClr val="575757"/>
              </a:solidFill>
            </a:endParaRPr>
          </a:p>
        </p:txBody>
      </p:sp>
      <p:graphicFrame>
        <p:nvGraphicFramePr>
          <p:cNvPr id="5" name="Chart 4"/>
          <p:cNvGraphicFramePr/>
          <p:nvPr/>
        </p:nvGraphicFramePr>
        <p:xfrm>
          <a:off x="1429850" y="1371600"/>
          <a:ext cx="6283202" cy="3086100"/>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 Placeholder 12"/>
          <p:cNvSpPr>
            <a:spLocks/>
          </p:cNvSpPr>
          <p:nvPr>
            <p:custDataLst>
              <p:tags r:id="rId1"/>
            </p:custDataLst>
          </p:nvPr>
        </p:nvSpPr>
        <p:spPr bwMode="auto">
          <a:xfrm>
            <a:off x="1440656" y="1131570"/>
            <a:ext cx="929742"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p:txBody>
      </p:sp>
      <p:sp>
        <p:nvSpPr>
          <p:cNvPr id="9"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ltLang="ja-JP" dirty="0">
                <a:solidFill>
                  <a:srgbClr val="81BC00"/>
                </a:solidFill>
              </a:rPr>
              <a:t>Waterfall  </a:t>
            </a:r>
            <a:br>
              <a:rPr lang="en-US" altLang="ja-JP" dirty="0">
                <a:solidFill>
                  <a:srgbClr val="575757"/>
                </a:solidFill>
              </a:rPr>
            </a:br>
            <a:r>
              <a:rPr lang="en-US" altLang="ja-JP" dirty="0">
                <a:solidFill>
                  <a:srgbClr val="575757"/>
                </a:solidFill>
              </a:rPr>
              <a:t>Columns </a:t>
            </a:r>
            <a:r>
              <a:rPr lang="en-US" dirty="0">
                <a:solidFill>
                  <a:srgbClr val="575757"/>
                </a:solidFill>
              </a:rPr>
              <a:t>without gaps</a:t>
            </a:r>
          </a:p>
        </p:txBody>
      </p:sp>
      <p:graphicFrame>
        <p:nvGraphicFramePr>
          <p:cNvPr id="5" name="Chart 4"/>
          <p:cNvGraphicFramePr/>
          <p:nvPr/>
        </p:nvGraphicFramePr>
        <p:xfrm>
          <a:off x="1429850" y="1371600"/>
          <a:ext cx="6283202" cy="3086100"/>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 Placeholder 12"/>
          <p:cNvSpPr>
            <a:spLocks/>
          </p:cNvSpPr>
          <p:nvPr>
            <p:custDataLst>
              <p:tags r:id="rId1"/>
            </p:custDataLst>
          </p:nvPr>
        </p:nvSpPr>
        <p:spPr bwMode="auto">
          <a:xfrm>
            <a:off x="1440656" y="1131570"/>
            <a:ext cx="929742"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p:txBody>
      </p:sp>
      <p:sp>
        <p:nvSpPr>
          <p:cNvPr id="9"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ltLang="ja-JP" dirty="0">
                <a:solidFill>
                  <a:srgbClr val="81BC00"/>
                </a:solidFill>
              </a:rPr>
              <a:t>Waterfall </a:t>
            </a:r>
            <a:r>
              <a:rPr lang="en-US" altLang="ja-JP" dirty="0">
                <a:solidFill>
                  <a:srgbClr val="575757"/>
                </a:solidFill>
              </a:rPr>
              <a:t> </a:t>
            </a:r>
            <a:br>
              <a:rPr lang="en-US" altLang="ja-JP" dirty="0">
                <a:solidFill>
                  <a:srgbClr val="575757"/>
                </a:solidFill>
              </a:rPr>
            </a:br>
            <a:r>
              <a:rPr lang="en-US" altLang="ja-JP" dirty="0">
                <a:solidFill>
                  <a:srgbClr val="575757"/>
                </a:solidFill>
              </a:rPr>
              <a:t>B</a:t>
            </a:r>
            <a:r>
              <a:rPr lang="en-US" dirty="0">
                <a:solidFill>
                  <a:srgbClr val="575757"/>
                </a:solidFill>
              </a:rPr>
              <a:t>ars</a:t>
            </a:r>
          </a:p>
        </p:txBody>
      </p:sp>
      <p:graphicFrame>
        <p:nvGraphicFramePr>
          <p:cNvPr id="5" name="Chart 4"/>
          <p:cNvGraphicFramePr/>
          <p:nvPr/>
        </p:nvGraphicFramePr>
        <p:xfrm>
          <a:off x="1371599" y="1371600"/>
          <a:ext cx="6281928" cy="3086100"/>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 Placeholder 12"/>
          <p:cNvSpPr>
            <a:spLocks/>
          </p:cNvSpPr>
          <p:nvPr>
            <p:custDataLst>
              <p:tags r:id="rId1"/>
            </p:custDataLst>
          </p:nvPr>
        </p:nvSpPr>
        <p:spPr bwMode="auto">
          <a:xfrm>
            <a:off x="1440656" y="1131570"/>
            <a:ext cx="929742"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p:txBody>
      </p:sp>
      <p:sp>
        <p:nvSpPr>
          <p:cNvPr id="9"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ltLang="ja-JP" dirty="0">
                <a:solidFill>
                  <a:srgbClr val="81BC00"/>
                </a:solidFill>
              </a:rPr>
              <a:t>Waterfall</a:t>
            </a:r>
            <a:r>
              <a:rPr lang="en-US" altLang="ja-JP" dirty="0">
                <a:solidFill>
                  <a:srgbClr val="575757"/>
                </a:solidFill>
              </a:rPr>
              <a:t>  </a:t>
            </a:r>
            <a:br>
              <a:rPr lang="en-US" altLang="ja-JP" dirty="0">
                <a:solidFill>
                  <a:srgbClr val="575757"/>
                </a:solidFill>
              </a:rPr>
            </a:br>
            <a:r>
              <a:rPr lang="en-US" altLang="ja-JP" dirty="0">
                <a:solidFill>
                  <a:srgbClr val="575757"/>
                </a:solidFill>
              </a:rPr>
              <a:t>B</a:t>
            </a:r>
            <a:r>
              <a:rPr lang="en-US" dirty="0">
                <a:solidFill>
                  <a:srgbClr val="575757"/>
                </a:solidFill>
              </a:rPr>
              <a:t>ars with</a:t>
            </a:r>
            <a:r>
              <a:rPr lang="en-US" altLang="ja-JP" dirty="0">
                <a:solidFill>
                  <a:srgbClr val="575757"/>
                </a:solidFill>
              </a:rPr>
              <a:t>out</a:t>
            </a:r>
            <a:r>
              <a:rPr lang="en-US" dirty="0">
                <a:solidFill>
                  <a:srgbClr val="575757"/>
                </a:solidFill>
              </a:rPr>
              <a:t> gaps</a:t>
            </a:r>
          </a:p>
        </p:txBody>
      </p:sp>
      <p:graphicFrame>
        <p:nvGraphicFramePr>
          <p:cNvPr id="5" name="Chart 4"/>
          <p:cNvGraphicFramePr/>
          <p:nvPr/>
        </p:nvGraphicFramePr>
        <p:xfrm>
          <a:off x="1431036" y="1371600"/>
          <a:ext cx="6290359" cy="3086100"/>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 Placeholder 12"/>
          <p:cNvSpPr>
            <a:spLocks/>
          </p:cNvSpPr>
          <p:nvPr>
            <p:custDataLst>
              <p:tags r:id="rId1"/>
            </p:custDataLst>
          </p:nvPr>
        </p:nvSpPr>
        <p:spPr bwMode="auto">
          <a:xfrm>
            <a:off x="1440656" y="1131570"/>
            <a:ext cx="929742"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p:txBody>
      </p:sp>
      <p:sp>
        <p:nvSpPr>
          <p:cNvPr id="9"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81BC00"/>
                </a:solidFill>
              </a:rPr>
              <a:t>High-low</a:t>
            </a:r>
            <a:r>
              <a:rPr lang="en-US" altLang="ja-JP" dirty="0">
                <a:solidFill>
                  <a:srgbClr val="81BC00"/>
                </a:solidFill>
              </a:rPr>
              <a:t>-median c</a:t>
            </a:r>
            <a:r>
              <a:rPr lang="en-US" dirty="0">
                <a:solidFill>
                  <a:srgbClr val="81BC00"/>
                </a:solidFill>
              </a:rPr>
              <a:t>hart</a:t>
            </a:r>
          </a:p>
        </p:txBody>
      </p:sp>
      <p:graphicFrame>
        <p:nvGraphicFramePr>
          <p:cNvPr id="5" name="Chart 4"/>
          <p:cNvGraphicFramePr/>
          <p:nvPr/>
        </p:nvGraphicFramePr>
        <p:xfrm>
          <a:off x="1431036" y="1371600"/>
          <a:ext cx="6281928" cy="3086100"/>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 Placeholder 12"/>
          <p:cNvSpPr>
            <a:spLocks/>
          </p:cNvSpPr>
          <p:nvPr>
            <p:custDataLst>
              <p:tags r:id="rId1"/>
            </p:custDataLst>
          </p:nvPr>
        </p:nvSpPr>
        <p:spPr bwMode="auto">
          <a:xfrm>
            <a:off x="1440656" y="1131570"/>
            <a:ext cx="929742"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p:txBody>
      </p:sp>
      <p:sp>
        <p:nvSpPr>
          <p:cNvPr id="9"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81BC00"/>
                </a:solidFill>
              </a:rPr>
              <a:t>Stock/</a:t>
            </a:r>
            <a:r>
              <a:rPr lang="en-US" altLang="ja-JP" dirty="0">
                <a:solidFill>
                  <a:srgbClr val="81BC00"/>
                </a:solidFill>
              </a:rPr>
              <a:t>e</a:t>
            </a:r>
            <a:r>
              <a:rPr lang="en-US" dirty="0">
                <a:solidFill>
                  <a:srgbClr val="81BC00"/>
                </a:solidFill>
              </a:rPr>
              <a:t>levator </a:t>
            </a:r>
            <a:r>
              <a:rPr lang="en-US" altLang="ja-JP" dirty="0">
                <a:solidFill>
                  <a:srgbClr val="81BC00"/>
                </a:solidFill>
              </a:rPr>
              <a:t>c</a:t>
            </a:r>
            <a:r>
              <a:rPr lang="en-US" dirty="0">
                <a:solidFill>
                  <a:srgbClr val="81BC00"/>
                </a:solidFill>
              </a:rPr>
              <a:t>hart</a:t>
            </a:r>
          </a:p>
        </p:txBody>
      </p:sp>
      <p:graphicFrame>
        <p:nvGraphicFramePr>
          <p:cNvPr id="5" name="Chart 4"/>
          <p:cNvGraphicFramePr/>
          <p:nvPr/>
        </p:nvGraphicFramePr>
        <p:xfrm>
          <a:off x="1431036" y="1371600"/>
          <a:ext cx="6281928" cy="3086100"/>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 Placeholder 12"/>
          <p:cNvSpPr>
            <a:spLocks/>
          </p:cNvSpPr>
          <p:nvPr>
            <p:custDataLst>
              <p:tags r:id="rId1"/>
            </p:custDataLst>
          </p:nvPr>
        </p:nvSpPr>
        <p:spPr bwMode="auto">
          <a:xfrm>
            <a:off x="1440656" y="1131570"/>
            <a:ext cx="929742"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a:t>
            </a:r>
          </a:p>
        </p:txBody>
      </p:sp>
      <p:sp>
        <p:nvSpPr>
          <p:cNvPr id="9"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81BC00"/>
                </a:solidFill>
              </a:rPr>
              <a:t>Scatter chart</a:t>
            </a:r>
          </a:p>
        </p:txBody>
      </p:sp>
      <p:graphicFrame>
        <p:nvGraphicFramePr>
          <p:cNvPr id="5" name="Chart 4"/>
          <p:cNvGraphicFramePr/>
          <p:nvPr/>
        </p:nvGraphicFramePr>
        <p:xfrm>
          <a:off x="1431036" y="1371600"/>
          <a:ext cx="6281928" cy="3086100"/>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 Placeholder 12"/>
          <p:cNvSpPr>
            <a:spLocks/>
          </p:cNvSpPr>
          <p:nvPr>
            <p:custDataLst>
              <p:tags r:id="rId1"/>
            </p:custDataLst>
          </p:nvPr>
        </p:nvSpPr>
        <p:spPr bwMode="auto">
          <a:xfrm>
            <a:off x="1440657" y="1131570"/>
            <a:ext cx="956993" cy="115416"/>
          </a:xfrm>
          <a:prstGeom prst="rect">
            <a:avLst/>
          </a:prstGeom>
          <a:noFill/>
          <a:ln w="9525">
            <a:noFill/>
            <a:miter lim="800000"/>
            <a:headEnd/>
            <a:tailEnd/>
          </a:ln>
        </p:spPr>
        <p:txBody>
          <a:bodyPr wrap="none" lIns="0" tIns="0" rIns="0" bIns="0">
            <a:spAutoFit/>
          </a:bodyPr>
          <a:lstStyle/>
          <a:p>
            <a:pPr defTabSz="764381">
              <a:buClrTx/>
            </a:pPr>
            <a:r>
              <a:rPr lang="en-US" sz="750" b="1" kern="1200" dirty="0">
                <a:solidFill>
                  <a:srgbClr val="313131"/>
                </a:solidFill>
                <a:ea typeface="+mn-ea"/>
                <a:cs typeface="+mn-cs"/>
              </a:rPr>
              <a:t>Chart title goes here </a:t>
            </a:r>
          </a:p>
        </p:txBody>
      </p:sp>
      <p:sp>
        <p:nvSpPr>
          <p:cNvPr id="9" name="Text Placeholder 11"/>
          <p:cNvSpPr txBox="1">
            <a:spLocks/>
          </p:cNvSpPr>
          <p:nvPr/>
        </p:nvSpPr>
        <p:spPr>
          <a:xfrm>
            <a:off x="1422693" y="4607733"/>
            <a:ext cx="6364017" cy="159510"/>
          </a:xfrm>
          <a:prstGeom prst="rect">
            <a:avLst/>
          </a:prstGeom>
        </p:spPr>
        <p:txBody>
          <a:bodyPr vert="horz" lIns="0" tIns="0" rIns="0" bIns="0" rtlCol="0">
            <a:normAutofit/>
          </a:bodyPr>
          <a:lstStyle/>
          <a:p>
            <a:pPr defTabSz="685800">
              <a:spcBef>
                <a:spcPts val="900"/>
              </a:spcBef>
              <a:buClrTx/>
              <a:defRPr/>
            </a:pPr>
            <a:r>
              <a:rPr lang="en-GB" sz="600" kern="1200" dirty="0">
                <a:solidFill>
                  <a:srgbClr val="313131"/>
                </a:solidFill>
                <a:ea typeface="+mn-ea"/>
                <a:cs typeface="+mn-cs"/>
              </a:rPr>
              <a:t>Quote source descriptor: This is dummy text</a:t>
            </a:r>
          </a:p>
          <a:p>
            <a:pPr marL="205979" indent="-205979" defTabSz="685800">
              <a:spcBef>
                <a:spcPts val="900"/>
              </a:spcBef>
              <a:buClrTx/>
              <a:defRPr/>
            </a:pPr>
            <a:endParaRPr lang="en-GB" sz="600" kern="1200" dirty="0">
              <a:solidFill>
                <a:srgbClr val="313131"/>
              </a:solidFill>
              <a:ea typeface="+mn-ea"/>
              <a:cs typeface="+mn-cs"/>
            </a:endParaRPr>
          </a:p>
        </p:txBody>
      </p:sp>
    </p:spTree>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lqQSQ3D7kSLx3Blnvm2p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ngQmxXIEgEivsF3b_VlSJA"/>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cnLio8Y5Q0Kk9UGEs_65cg"/>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D32lYBAH6EK6lfAEJrvJZw"/>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_uQp6ZZG0EiWDqfN2TTEuA"/>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uY3tzqsBKEu0fLjQdXPN9w"/>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xr_LIQwEzU6tM993a37yc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04zo4Z_szUKnYPC3OeJP.w"/>
</p:tagLst>
</file>

<file path=ppt/tags/tag1010.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011.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012.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U8amenl.dEWtvIwbng.anA"/>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JhBHwGdDLEGXNQHHZfkIL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O9emry4tTEmXQzgyh.Ey6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tEnNdAv206PQY_f49oOG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5vXPMcQClEyQ3GBi61TTZ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v7aFJfLs50SD61yleva6cg"/>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5PtTbDlVv0ia3fxvEKZv3g"/>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mA2uaIErukuw8GijtHOnT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B4YR8ggKY0.8Le4R3ETk.w"/>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ndciHdeyv0.kV_V.SY30Og"/>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mflSj67FMUqYQPZXuZm3lQ"/>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pykqo3ijUcU6Ydt71iVwfdw"/>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pQ.1nyEKIY0aMJMJtry2o6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H5m4.tGny0Som.uqqbOXzw"/>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eJ5J89udkWksFj.kNcyPg"/>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U8amenl.dEWtvIwbng.anA"/>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JhBHwGdDLEGXNQHHZfkILQ"/>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O9emry4tTEmXQzgyh.Ey6Q"/>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5vXPMcQClEyQ3GBi61TTZg"/>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v7aFJfLs50SD61yleva6cg"/>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5PtTbDlVv0ia3fxvEKZv3g"/>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U8amenl.dEWtvIwbng.an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N4G8mx8d7EKNNtGOt7z66A"/>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JhBHwGdDLEGXNQHHZfkILQ"/>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O9emry4tTEmXQzgyh.Ey6Q"/>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p5vXPMcQClEyQ3GBi61TTZg"/>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v7aFJfLs50SD61yleva6cg"/>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5PtTbDlVv0ia3fxvEKZv3g"/>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N4G8mx8d7EKNNtGOt7z66A"/>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55rfNibjvUqc_b8TwC68mg"/>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3w4Djv2JgketNeI_lqgx1w"/>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AU8Q8xffmUqqA21ev9BUm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Pbj0xv9aqkCD9oRiwi7YQA"/>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YtRiDhf3JUSOy_xvQMedqg"/>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jSH7YFu1ukaJrXV_p64a1w"/>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DD_5iqARtEqenGRuUeu8ug"/>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pCnLKcxN2VUKjSxCeVC1Jdg"/>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ADujjrxg8kKrvgx7Weo5tA"/>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t7oDvkn_KEm8b4.tKzMdhg"/>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c2TT9y1vMUyXCSO3TYpAsw"/>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JSRxLaIoLUq3BLV_K4CzYg"/>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yQWo_Wz0c0eIq3eJLaK5q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pJSRxLaIoLUq3BLV_K4CzY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VZPFaypr5E24mZSltj991A"/>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pmVr_LdE.a0KGUtpSHef9VA"/>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IGYHlccoiEW5S.p6EF1QCA"/>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hh13sjaCfESbbjsOJEKBug"/>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6BURaAglRkufYf7nhhaKhA"/>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2oaEnXXL8Um0r.7fwKEefw"/>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dLHjHt2UzkeDVZtS_5eI5Q"/>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e9IrR8GflU.oE39Vk23eg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aqtW.pDlcU2DyFdRvRW.MQ"/>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BOtGYEx2XEGyswSMhRdPq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E.k_J4FL1keY4cFwmtQbeA"/>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pRmrwGQQ_Z0SGErGR58pZvA"/>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9IhTdV9r.kiKuOgNIJVOSw"/>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y1Y8vWPCjkWhaw4rYn4TRg"/>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fFW_on2xYEidm2y0yg2.dA"/>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EfWo_lSzmU.5y.8kGi.lvQ"/>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poRygevxSNEiTuMtYLW1IwA"/>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16QP5_KRtUyAjvrgTtPEgQ"/>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MDRaSNmRz0iP5nws15WH3A"/>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da8YaY_880.9UbNZTyCN1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0zpGMBgfrUu3KDp1TElKhg"/>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5cwtJtSZbUGBhRoY3rHPO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dIiM6LK3yUiRjstI2LNR9w"/>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97ptu9CVsE6.YRxChFcckg"/>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pRjVjll0NqkyqXtuieenVIA"/>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Ll0EqFUZKUyVOOnBwFrrkw"/>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KFnHbE4A50myAMi2gB9Ggw"/>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ghIxtnsd1UK4Pz48iyXjaw"/>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M589lDKjdEGpREPROAoNsQ"/>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2Lm_qK_9c02CxeXeLlag1Q"/>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dahQFz88MkmvfnHfeSrTw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yh1hehj6UWXOi_PfnH5F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wpzEFF13M0WKgd4O5C57_A"/>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bk.h0C9jQU.HhxtttwTYvw"/>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aoDnRdum20Kuc5j89gfENw"/>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4oPzzovPkEW2u3nmdRD5vw"/>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nxiY.4p9GUKa3e2B8e3v3A"/>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a985rLZ.ck2ioLkLplGTvg"/>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RWp6TiXa06CQMVhTsMjeQ"/>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npE8nUUk5UulWtkPE6Tpiw"/>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pnTS_Yora7kmRtmegFIyHnQ"/>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ptoqVmyh_6Em0eLwtchsP9Q"/>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pGQFyL_X7k02tVw65XKvxSA"/>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pUha7nMrhA0.tN62dRUqkcw"/>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pwJpeBZfRZUGoU73uBa78k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p3lshe4syfU6v_wN_P8jR6Q"/>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pM81JepmeG0CW_tr6Uq9yeQ"/>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pSh2fvTu8i0K8FhhE1K54fg"/>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pGxPcEYCNqUu3XcrGsuScEw"/>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pcm8GILvGcEK1.hktzTiyRA"/>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pBTy3XHNU30u3zebbKdVxJQ"/>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pYbpINr8cvkWFXi_DVNhswQ"/>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pQ0S86sJO50.zpkdgPHusQw"/>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pL0Y_IKOefkWtvBLioe_yog"/>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pyxX9UriPGkCv_5daJB7k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qjQoIvI8ku.RJyh3vMCk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pQ1Ybek5kyEqaBPo19s643Q"/>
</p:tagLst>
</file>

<file path=ppt/tags/tag1201.xml><?xml version="1.0" encoding="utf-8"?>
<p:tagLst xmlns:a="http://schemas.openxmlformats.org/drawingml/2006/main" xmlns:r="http://schemas.openxmlformats.org/officeDocument/2006/relationships" xmlns:p="http://schemas.openxmlformats.org/presentationml/2006/main">
  <p:tag name="NAME" val="MoonShape"/>
  <p:tag name="THINKCELLSHAPEDONOTDELETE" val="pWrCqX7LXpEuvHX7eRvHTVg"/>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p4z9ZWjagfk6XAHcPsSCzdw"/>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pnY1s7k8M.U2QVq7jyo8buQ"/>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p4UP5ZzQzb0ao.wwh6ML.tg"/>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pSgnDoxo14U.g7EqQpy3TGA"/>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pmW4PK8V3N067UrC7KQNsCw"/>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pQL5Q6AJfhEWJtm9Hk25tLg"/>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ps8pyi82VGUaMTQ1pvUWcCQ"/>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pd_5F7Bw_402PFC0jqmVmh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nUNPghc3YEe6IjAY9aUQgQ"/>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p7LAqSw7UT0.GaLqmBk9SZg"/>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p0tVJXF3rI0SSZkxkLUs7HQ"/>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pcTvw_lWKDEOXzpWOGRwt6w"/>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pMMliWbgO7EKtGPKRm2WjPw"/>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pf0xyiYJFlEy6QlkwwrvajA"/>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pI_lOVDWQJECe0AaHTs5SOw"/>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pgHvL6jE6106d1Q6QgqTbOQ"/>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pfyrN7yBEYkCYDt8OWQb5aQ"/>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pVeisDvefwU6Tw6WsJZvkrA"/>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pNrRuqBXo9EuN6jLRK5HNN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U5xu4EWvG0GYovXdbYzn6g"/>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p0hQisaT2d0Ss_RjqjS1JMA"/>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p4iOAhkHpl0unsdB7LINsLA"/>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p1LPhjyV_z06XaXafAbd2Dw"/>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ps5wvNGH6oUeMMMi.ErgUHA"/>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pjvvqx1fUP0KcVDdalTFpAQ"/>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pYK8thKRJ70.QlDymF3aeLQ"/>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pVbxJRpRS9UKSXBZeU7AJDQ"/>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pBHTCI98whk6DseciC4QAaQ"/>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pfTQVdZZsYkm977OBOWr3lg"/>
</p:tagLst>
</file>

<file path=ppt/tags/tag1229.xml><?xml version="1.0" encoding="utf-8"?>
<p:tagLst xmlns:a="http://schemas.openxmlformats.org/drawingml/2006/main" xmlns:r="http://schemas.openxmlformats.org/officeDocument/2006/relationships" xmlns:p="http://schemas.openxmlformats.org/presentationml/2006/main">
  <p:tag name="NAME" val="MoonShap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eQD7800BEkSxh9_rA67aDA"/>
</p:tagLst>
</file>

<file path=ppt/tags/tag12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31.xml><?xml version="1.0" encoding="utf-8"?>
<p:tagLst xmlns:a="http://schemas.openxmlformats.org/drawingml/2006/main" xmlns:r="http://schemas.openxmlformats.org/officeDocument/2006/relationships" xmlns:p="http://schemas.openxmlformats.org/presentationml/2006/main">
  <p:tag name="NAME" val="MoonShape"/>
</p:tagLst>
</file>

<file path=ppt/tags/tag1232.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233.xml><?xml version="1.0" encoding="utf-8"?>
<p:tagLst xmlns:a="http://schemas.openxmlformats.org/drawingml/2006/main" xmlns:r="http://schemas.openxmlformats.org/officeDocument/2006/relationships" xmlns:p="http://schemas.openxmlformats.org/presentationml/2006/main">
  <p:tag name="NAME" val="MoonShape"/>
</p:tagLst>
</file>

<file path=ppt/tags/tag123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8BB08R.lY0e6R8FpUAgoa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aEHAWLbGfkSumWtgmjvmO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SDLMJNJyTUiLLtgWI_NU4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U5xu4EWvG0GYovXdbYzn6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eQD7800BEkSxh9_rA67aD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8BB08R.lY0e6R8FpUAgoa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qjQoIvI8ku.RJyh3vMCk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aEHAWLbGfkSumWtgmjvmO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SDLMJNJyTUiLLtgWI_NU4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AYxKKPmpV0eWEO9nEgOGU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UTF2edrJr0u8xjJS5wFwE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LIke_StvbU.2ilUxqenAM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lycPrvkp_UCfZYpSZBzBJ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DiZ3SNMPPUSNJA6Vwr0Y9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QfUSL.Teekq.TV4MG7byJ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ThdNq6wuekGDUwGSKZAFf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RWp6TiXa06CQMVhTsMje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om5RZ1ne.UCkFBJ_aCWGN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mzt5Ggp5jUyoj6gjF7SQ4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amoevLBHLkGZYGPTuSRNF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iFpoEi9l3kWlW_S6SCF.b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qkYT0hR6.0SvUx6BnT90o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cuzZ0ZXr9Uyeksm.1e5Bl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eDs8D4wyUyzR70VR6nx5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SlqQSQ3D7kSLx3Blnvm2p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gyh1hehj6UWXOi_PfnH5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TF2edrJr0u8xjJS5wFwE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EqjQoIvI8ku.RJyh3vMCk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n..TakVrDUWbKSwDbZGpK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kxjr80JyZ0aqiSTAbyd2J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BqBBvzvdJEeeIyH.0M4Qp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zt5Ggp5jUyoj6gjF7SQ4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16oGB6.bZk6A7GnQQs2b6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wAe8W4muTkmaA6FOkUfbY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db31VMIFyEq7NQmmWiDjH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TF2edrJr0u8xjJS5wFwE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Detp3BlQHEu..aB4ho65.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s_0AzFpXvkCFi5i6J4WK4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vSDmtt5Eb0KhXZ5rlUZSl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3G1cIaqRIkGtlVe3qPnLw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xgvd8z5ehEyj_QQBgI7qk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lTDxg2C8q0q167P6OBryT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7vZIEjL2y0eb6pX01h5iI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JZvnyhl7SUukkJYymGF9Q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CUtmaT.9ykWT3ap3iJIHY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Feu_vdd_h0elWVtm8fVoM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zt5Ggp5jUyoj6gjF7SQ4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PJwBj.ZXpUSO18YYB4rJU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U_BSr5AufkiXmna3isB3e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Feu_vdd_h0elWVtm8fVoM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Feu_vdd_h0elWVtm8fVoMA"/>
</p:tagLst>
</file>

<file path=ppt/tags/tag184.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85.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86.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87.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88.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89.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UTF2edrJr0u8xjJS5wFwEw"/>
</p:tagLst>
</file>

<file path=ppt/tags/tag190.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91.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92.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93.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Feu_vdd_h0elWVtm8fVoM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qDS9h7DZN0G3q8RFX9VYQ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TgsvafSJW0CLJCHMAKvKd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eu_vdd_h0elWVtm8fVoM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sR2rRDFSsUWvQmnL9bGYX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zOjOZOe.VkyYxALlUEzk7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NAE24ar6Ue6E.AbvpSJ8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zt5Ggp5jUyoj6gjF7SQ4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Feu_vdd_h0elWVtm8fVoM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lcxWbLmjZUevyyNisYnE6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7vUk0jg2vE.l.Ot7kfFDJ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e9lR0QtT2EqsYsgOo3L5y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Feu_vdd_h0elWVtm8fVoM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8KEztrqPu0.ccF8qdOw.L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GK8.aFC3p0ils54GIHuZ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Feu_vdd_h0elWVtm8fVoM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Feu_vdd_h0elWVtm8fVoM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Feu_vdd_h0elWVtm8fVoM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RWp6TiXa06CQMVhTsMje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Feu_vdd_h0elWVtm8fVoM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Feu_vdd_h0elWVtm8fVoM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RHp9Px2hOkWG5sZTmu2lH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ozR2tZV24UC1Z9WDiDZ14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O5CxgvY2MEiNdmxyNf36U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O5CxgvY2MEiNdmxyNf36U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O5CxgvY2MEiNdmxyNf36U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O5CxgvY2MEiNdmxyNf36U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RWp6TiXa06CQMVhTsMje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V9yGY.xiUE6k6xmVqL5rC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ZzIychWr0UKBrpq4w0fbI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2gWMf1RIQEyUI1Pso98M3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njksaqLSXkOa8KgzVWQxU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6c8Vu3XPz0i8bzQ1s82Kr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AzoLseO1dUSWP8cEAzlL2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ejjsJ7jS4E.l9wBVV1gyp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cubHuYGpAUi7Bwg0Z1vVr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VT7Av3p.T0CEpQBfk.pF3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bV6P0.YMLU.V7YYqY1JL8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R8SEFbbfEaSEfDTYAQ9R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lP6orLLfa0muCwqqVw9LP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SLbsce.ZUuP6SpyHCXWr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xnv08c53fku_9mKXyt_6z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Y8wWcOIsH0KSbWb.qt29j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1YMHaYJPokuBauSveuGGI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QA1oeZ7PaUCCl2VFR9JzJ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rssrFQS.K0.vA6rYM.A38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6jXDUcEcpUWJDOx9ayiMu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kiX7EBGN7EadXWII7tuaQ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RWp6TiXa06CQMVhTsMje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8Zj4A9ApuEGgzRgEv0YM1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86FLuYjN.UevfjJnO_t2i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o19g6SJWz0SqgHBRB885t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zxdlXwH5n0S0We4w6aFI_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WE8B69yec06TQFitxQkiY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J9oGViLuMUyPe7obnWL7r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PTAgBWsHjke4I2b0j6BD6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TpDiPqouRk6NadjXcvwuh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hpAdqphGt0mDIurUFeJJI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iTYHwZfvIEGgXgTKXnmyQ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RWp6TiXa06CQMVhTsMje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EpuBsHqNkkaOCU2G_jH42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O6TUbj5R0EqeS3S8pzc8F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SXgKBiVGIEmPEtbUlEF.S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STsle.KBlUai.DM7ySNqc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EbQ_DrgVgkSKe4AWGap7V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M6HUDXYWckmmTCpXo6TRZ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Se41Cmh3P0iKi4mWVTgWL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hRWp6TiXa06CQMVhTsMje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1_ryHeQ0RUm0OChSCFOqF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inxIrh6V60m_h2RecMgFx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I5ckwFAvMU64daSDO14ax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cBlIPdLOZ06owRD7H7Zz8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hvw1e8P10USCsSH31ceNP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VkAhjXsHS0eezfNkW_A8s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60SxnhZYW0CzARZzVLqJC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PogE8HeEqk.VqzOE0.cVJ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hRWp6TiXa06CQMVhTsMje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bj7D3FztgkGKIorsttNNc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PPQraf3w_0KW2QzZ.PVCv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vanha40C6kmYVzlZEIOTL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Xx9RPDyi50ibIRU05S_9s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qIDJvl_kiUen_B_OsGr51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odKfOTWI4k.xJpnRmINyD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ltns1LDuCUmid_mzAQEzP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RWp6TiXa06CQMVhTsMje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bj7D3FztgkGKIorsttNNc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bj7D3FztgkGKIorsttNNc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RWp6TiXa06CQMVhTsMje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bj7D3FztgkGKIorsttNNc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RWp6TiXa06CQMVhTsMje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u5o8LcoLdUOx5IDqzjYPj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FDTPynH8BUCSxKqgnLGUN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MtUluhoKOUOk26.X6hYnJ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p_W.Rp1XnEmwhYXdnPHSm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YuVzhWMrskKeeVbmIcpie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RWp6TiXa06CQMVhTsMje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CR8SEFbbfEaSEfDTYAQ9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RWp6TiXa06CQMVhTsMje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hRWp6TiXa06CQMVhTsMje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A4lC8Xc6u0OOfl9bIIdgU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eIyJAvTK6EOWvDOa_eKQh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stEKNiqSSUm.Pxf10hkaF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dLcqrdOjDEKRCphHmDWAA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JEa2F8LQUEyxStrXkIqA.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KapaWLw9FEa0R7VLwGMwM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Bb0QC9.cuEu4yRPZHug83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7FVeeu6_LEaF2NHWdFN2R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Enw6FY5DBUekYZy70MR32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RWp6TiXa06CQMVhTsMje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TUxMK5vRR0mCeYNQbkx1S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YBuYQPwgxESefHi1_39bp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QxA54r56Q0qJgcJRGsyXZ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hRWp6TiXa06CQMVhTsMje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Bkqj8StiikuWy.gDBPKYs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dZhU0nUGmEWo4NkmPaWO3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dZhU0nUGmEWo4NkmPaWO3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dZhU0nUGmEWo4NkmPaWO3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dZhU0nUGmEWo4NkmPaWO3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RWp6TiXa06CQMVhTsMje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7PDj6GIjkkaw72LJ7M_T0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4g_iYp74MkKzzJ9CZrN0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RWp6TiXa06CQMVhTsMje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fynJzjt_qEKUmqghDzMjn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k8vdq9uTpkeFsKCfrTJpl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K9EnIQC1X0ieVlT4POcCI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P6ms3P6ZRkOWCUoGlwQgR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hy8a4FrBi0mHTJLe3HzVQ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uo_EkZKLBk.avgvuQfive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DOYZKsyFqEaQDfyLy9.YD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CIXzzLoRrUKYLbleD.4RT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RWp6TiXa06CQMVhTsMje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kayLSZBcki2gA0j8LJTR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Aqey71PvAkOE77xbFBiHT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ke2nsl67mkiE2s8kdKwQx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Mg7Q2nDPskqhwqfFmh9S0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4.uHgTgRzkq_vX4nLoR7X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PngF9pe3c0Wgm038vzz4f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C2sVTk807UGHCLcJIMsyY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2U60OT6mdEKL42.GvrNhe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vYS68FFfOkikroN7JrM0T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PCls.R5_p0Smc0h.p2fcJ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IAvNYHex2EyTLKrLJ6RKl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MQJoLFij0.oIcypXnoRN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zYmbenTRI0.U06u.FMi8J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nxVm1DUrWEGHiNnLAFN13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j5F80m7KbkGzNz0Ng0wJ6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1EQ1yan5rES475THJ0ktp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ayNkgWGwh0aYHY1rWFZzW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tRCJ1tXZHkmJJK7CN5sSl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OED2H2HNpE.nhj8gtT5Ss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cFqw6ObvsE.Uv6ubMZS6Q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Ba6ZgcsggEW9ZwhL2jcV.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tpke.q3MRk.rxVEJ5Ati6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xMQJoLFij0.oIcypXnoRN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7mm9C5nF4UCniPAiqdmBs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HjQ03_irYkuRc0Yin9pgk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3YNV.MJ7T0yvx_5bL_YmC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AgmV__91mkiNyKCOARJa0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lROZcsEFBEa.dhriLOaOw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afwnJfu1mkyNVC4CxFtA9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mpTWUHMtEK4eIQJzP5ii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2bdidhYueEmG2SiLAZcvi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bcOijENa1UiOVtoJ4q8gy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8tD38x.9qEKTkfT1uiN54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hJQo56YDdUKmMSiQQ3_wq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qOD5gAYjR0esYtHK9h9ZG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pAq2cqI4PU61eAtw.X5ix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M0KKzKU_60K1LlqcgrTxG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jRJfqgLX7EepYOZmkTbtE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05OuJdLYs0CqFRDDDr6w6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C6q7TfMxEOUfHtRrJhXr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6Un2rd0jfEaVpP.5V02vz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CbGb25HotUeXobM.FcOpg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daPfbBhaQU.BgwKcZVDEU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Gt7JKkdD_0SqcLxKkWeDk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ztx2VevUKEqsw.GXZhGfp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xKM9fblHxUizDcTj4vbjh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slBW1zJXnUqw__AB2JbBB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N743qFgo6kuPNWIZNfs2O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CRSQdEsPN02cOvJ3cv8.c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Ex.9ppg690G3a.3PKE2qZ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J3WZsk.P.UWCrSdfpYODD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ukVYIM3Skqbf4ixtlBRe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nOGZHLW2YE654puz9rlgJ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3UAkXCL9qEqCe223_yezu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_VjIr5bJUUa4VaGkyu3ax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bFJgP928DUe.3rQlSgTE3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kn2kzUJgxUGtvp.KYdylQ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IjeoN58eUqB6XBTcfo9O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ElRo_8Zf2EOxNT2mFHG_r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kMtbypsP3UGySREhGxP9R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5SQVZA.I6EG9xWE0JpWZ_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qM10VlPL00CEStJ1T_gkp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9We3W1Zd10OefHAWNjIi1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TtlOOkttQkudCZiXEbEyr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40AARi0flEO9QSljrIMSJ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hAq4lRG5g0SdVbGrGmx.g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EBIEV3_CUedmZN2yqeaJ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KArn9lKulU.tPWbB9CsNK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YLJZLf6V0EOYQ2vJpiuxp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Ab.pUMXMEOWTnIYbxcRo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c0AS4tOxPUyKC2w4Y.Dpx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HzGabMMSFUmsl7gfMmNEA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beXTEKmSj0GIXOXFDTyXM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MCqf0GJCjkanab_LNH7Kl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oyo9wRUCckaaHLA7_ziXe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6X7z1J1n3E2nCprbE.XYU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u39mtLrRv0yeQ3wGtR5Fr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aT1W_JE.dEyxtcpOoHN37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BCvl4sewq0epmpNYczYN_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ztrDv4cmT0utVelRJT5I7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Q4tnZyDd5kiagmjNtrASq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5CHPvsCNRUmq6oD4O637h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QFpJCZ.NQ06fuI39jI4op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McXA5KwDc0KYDoqxEckuY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8o.TEuvVAUexIZSz6iHTS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l_PGioY0w0KttN1sfqZZD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6hXqmAD8M0CJqj5bqXayx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z63JHOvdcUq7YNTYvfJty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3amoZDBhkm2M5ADlTjOh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iBKMOKat0UCsAmIP8PbvO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6B3Y6wGWLk6Yer1zKFOz7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a70VbCESak._GR2BTJyim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buhCLQYVH0Gv0It9.TUqB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fWRWPqqEUk6KquaNjEDyv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2KxrfcKeeUyCCihyOwwt6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jZ9VjZiKZkOUEdLQb5G9Y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ZFCM9YVykEKnm2QIZkq.n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i33V78WMnk2W8IoHozbI9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QJb1goSCPU2LsG4dF88t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4G8mx8d7EKNNtGOt7z66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ZPUac15LSUe5EpthcC6aj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zcRqcO1sYUKMuUUN2Aenp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XzJObmqbZk23kDAVN1W0_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jAkVF4q.PEO0cH6_duItq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3FtGpU4eMkyx1CYlamlCj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cfdU9F3.V0OyTa9H9PcwT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B3ReKCB4t02qRAHsKwRuY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E_etW.krhEqHCVDd.xWKN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gCDaEYLTpUOt.6W9MnrEQ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ZUnuYRjVe0qtku45PFOnv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5qRPi4QOJECjJM_eFzS5i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3wUVfjOppkutKd2C0IDdW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lAN6AGhx4kKhDtfc9hR8K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yA6LqRePkU6hkSZZ.RPac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MUwxUdD4lUuj_h78PCfmk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XwV8DJ3EhUutOiOspEF8x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uecfNnX.mUOxaFA8tbDgq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bbcOSz0paEa4U2u61WeGn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RMoBrV_hlUuW5I_MLfTFu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d_XJtOY3t0SOS11Sn69P1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KmLXK2OjT02vC3h4Fln4M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VZPFaypr5E24mZSltj991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ep36prOQEKLArfHvJfey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bQFnlZfQoEewsZthThjb5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IAAeErwF5kC9BedKc7rpf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25jgOFt2RkK9lAZYtZ5xM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nAlv7.bIQEOrtfsXDf_nE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WHesiLqxLk.Gd_5xhoZkX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F8YtW7ZbF0W84bhNi2m_8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YhZVdDuVG0q1dgtDT9nqO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Wjhu2G3o80OCXPeU1njTt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NAbFoVOBYE6ODy5sdnkOG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N5JiqV8RL0iko4xgR8698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AxLpW3IeJEmiTPo_iLuK3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0UN8XmK1JUq1VDEhpfSI.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F2hgn3m2C0OlHQLbM4jXZ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cyp3VLqK6kiM5.Ktswa2u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E4me3QW2ckewtkYWKfZGQ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lPsKc1CUxkW4Bn6LiYTAv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SPoBGqZrTEKYu6TsIdGjw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GlD.SXk1UE.DSEGcYQIeB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O0e6_Ip.HUyxecFYHHPlp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WqW.sR64lEqLTvCzEqGml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zf3EJGDJkmc8goRCY3FE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8FQUrlKK6kKHN.wf.Giua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oWFAuKJ4LUOLC7uG0bdm_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1rajbFoukOE86AYzus.O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DKj8iSCmckWXWNBV0.R.x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K8.hagrKl023..cWbtv98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u9t9R8UGoUqFF88f1GFmy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6cn9tN5IbEKUv_rXZJWzt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VJJuvohfIU.8_Jyht383F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KVwxOE3rIk2btaLtXNrWl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k7l6olaphkOCRbpPJb.h7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ToRZsXIxn0StzLuRiv2df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do4KzJ5GIkK41Akf2CjMM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nOJ.dR9DN02qlwncZDJMx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116tXsPjk6O8OMJ.PfQJ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Ix63xS3eIE6LiReyo8Qfe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KLg24V5xF02NHaIZPTISr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ciedDxguRECZnvIPFIJWz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LQtke0AGIEueAYiFvUVYL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ch.WfCRFMEKAKFidxuWZQ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5I0suZ59bkuIffHuYRPO0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8F132ndVkke_Feie_8aau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1_Cmxy7y0k6jDB8_v0vel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aoB2TKcxN0GS9gVg3bult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3HWOCSHAxk2SvdQsOgK2x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b9VBLdS3.06Ndlq7GmiVD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Q.UyheyKZUqyos7FTg7c_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3ZN3YKfKakuLwKuo4ddrq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fKOUuZKG_ES.3s.RxI_W2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JtlsPQ0vW0ydkW9XrvKw_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U2iX3yymYEaDp8VbFWpFJ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Mcr9hBY1iESnxbaBrSZkw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iviNKTnMVEKx9goK9W4Wi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HHltoclnNUieGIzLxazmm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3S8IokwPH0u75guWOONXU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_iVXfr8IUa1x9CEFURcj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IVZUAmOa5EeU78oQ3Y_e2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M5Dd6Y3V.kuobYMmST4Hv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3twIHRF9PEuYrHv.WmfiP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FGoANfuOnEisdrgZYtk56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VdcDI0XTekee3RcjPpIDW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SSV5gYcUQE2aDtA4aTpb0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lmcapnAbSU6f6Mv.WOR6n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OMgjXizb4kOWP1NiBRMth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1itL4Iwy9U6Cq1T72p.f.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JdPfBd0Xkku78Y.AACuz1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YJ1ersE0HUCYr3iPMwagm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Xk8zO5HemUuaO_swbsSX8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V2_0HdvdaUu_w8fx62B_q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P6Use2ZfWUa4NWserNylL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rlKTynAtNE.DNSox6TO5b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Buu5bTsrUkimLTz4IRnEo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dHCYDUYp.kGlsasujjX2c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EMurHbbrK0SHm7bnxps5b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de_BxiiSGkyBu1KyBLcdS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tNuL9OkPP06aM217qzWEM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FPj4pYGLBEC9HdC7yyTu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zRU49rif3U.sg_r6r1936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Rq2ZAYOhhk.OPXoZMuPBR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jj5ZZN1YN0mjQ250_PrqX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fyTL0vnbWUuIKrE2cFGXi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lRFp5fyobE.6wo08mMskH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yTEzo.BKRk6J8fu8MlJJE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HkTBMjqWmkyuhfqX6fXQ6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m938_kq7AESGWpj8grbcL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w8RrN.RGgkKHo4bHvEs16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hF959bKexUmveY8GfMiae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FAG0sYFOTEu6viZo3MBgh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kNGsfKMfy0uhUt6koeYuM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v9o8hwod6UGF9c6HfhTg9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lXj78aQ_AkuoqoD.4qUzj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x4sIXaOX0U.MVdlPzsr5M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YcZVoR40SEWJ4aJ2E_yFM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QTwUhSdEgUeWfiO3xoTNu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pZ6FaET8y0CkoYHHID5Cw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9UMfLAntsUGKilY6Qyl6w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0ZaEHw_5_EaD_ofP_q5V2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qhbxI.ngQEC.HqAVU5fLA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qVR3bUA5VUuYQD_R8me2m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cfpfgEsTCEuA6eVQJ0oOP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zCqyP2b8rUCV9Y2940e5g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rf2ETRMIe06swDoken5NX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grW8WLfc7E2DEC_bkdafr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j.h_Vq84LUuVY3w1edkoo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TXUjlNG680qht__HaREe8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HMw1hvomEWdESIVspzLu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b6VlJKqEGUOSH7G_8tGIw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tOIVZV5DQUGlVoEy28C9s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9Q80hglmG0ScZ1FCd6_oD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uciuMeAaR0OscQ7PSxyn4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KC3qSG2HFkunWvbodgmn6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glj1_DZGBU.Ph2w_YnMct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a529qjdfTku_iQYvob_aY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XmE4Aiq1DUC6Pk7wXQHeM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vAFNSKe05kezJbzses_1Z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D.4ZGkgGk0eydlVdmEwQJ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Tdfr44w910GLIN90qh5Wvg"/>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Y5iKMbveVEKM8E36KL.JJ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csXSh8M2bEGsahrybxxaA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771eFdNQtkGhFZBNCzL2G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HtEY9Err.kKMusQsH6qPg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IaTnc3eN7UmHki61zSV6e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UCazfRCO7kaYk3Gr4Oh36Q"/>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H1qyznhlokCml6fQP33B4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qp.fIfVtPkC6YH0a0XXN2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e5DanqmGiEWG1kfPL3Io7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V_Pdu0FFSUqUBqY_Zl64L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z5hzJiKnD0yeHYm9DXGXj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7fZGpeWsuUqWyb3Xh3ZBA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sJDRaorf70i3KA9Ifks9.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eVPdBNQzqUW9XglGqgOUo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pRYwJwfILkOjFBZvZHyOj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Whl.C6wKMEKp_xw7YJpL.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Y1f7bXHGqUWgVP17OKm7J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yK4wpAL4oEeYIZhPIDqNv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uQI.UdoJnkmn44Bv7eDQF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UEt1IP65XE6FE4mOV8R4p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z6mZVbPh8kmF8WTJqXtoN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Yg0ebXAT9Ee41wykqnPQw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9Xeo65rB6k.ff1SWbTKLS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kL.Cnh3YJkmUAbeoWGwRG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G1235dyQEyr_3jpFfptG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j74tz4RRMU6BWLTHavCT_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MZND84sAA0O9NVzf67ZSV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h7hBaxhHmUqh4T2xFXMNY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vK9xwVy4I0a4Bk0gSsS5l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7qEfkInByEuvJldcMheeAg"/>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nzuI2rcnvkq3X60O3kxa2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DBYzwxUrEuNof3EqmTLl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d78ocFeWCEi2jzbuW_ZQd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h8gOoG0TVE.Gw5sCGFquL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bhf.gfuJt0WHxmj3YbC0U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P6fcv5DFwE.1MUXM6fgrSg"/>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fXWkul3SqEmKik7hMKcKQ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lOkNr9hL2E2QsogdD7QAQ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nZKU_kXPCUC49Jm.2P14w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pImB2fWQB0WuUFKVu_Xhx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UmI19Oe25EWdGzJBdtznA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w7Gaa982mU.ksyHaJH2lQ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Ok8fe1puK02qkzcMjVbq1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oCDYXxt1702_NwiSUU6ZC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yzbTFGeju0KgIYqb7kU_p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JZor4eT6Z0KMx6ORGTC7Y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EFjiFdCfEqmoQIchleVW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4CGqbFUuB0W0ZN6GpACfq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qvaHfhNURkyg4gyll7R23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JhJoIjhhikWL9v.s42.Dx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NJGD5qGe5EC5QrgT3o6TG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yTWku_DkR0yn69hj67.Hp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ox4XDUIW0UeX9ag9r_9nG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lPupyvVzn0CcXCpKuD0RO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gmCTuiQ7_02yGFphlNaDS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8TzodQyEO0aC2oZ635yw6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u3Yzzv2lUk66FeEI5fNwH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dL7l8YLw_Uu8QO35Co6FD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6T0GQvUhAE.NAdlIdtY18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jLgJbH3E0UuG6ipd4QO4y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IJIZE4gYTUSAFkYcAJHZ_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RBaWeLQXZ0iP_hPpFVejM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la9M3CcOeUup_xlriYBgi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2nAOFnFHe0qBNjI_iIhfg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aukGG0tF402o8sG1xn6Fx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ImXpy5GP2EGBTqe.v1EuS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1ZqTOJGkzkatQYRoSgtKk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c19YGB0YpkWzYYbK97ENs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priizKSQ90.oYdvQnJzQ0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eUcy92bN5U.D33KAWDVbh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WdwzMDhEOUyzLyAv6ke5SA"/>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V86RtcCryEqJHJbvpkS3g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fsacLLXD7EmVhAgyK79Qy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sbzUV9gsq0Wi6NSQDKPKx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Dbo73SCnK069w__2fdlVu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vE.tBajDB0qnaYch2BQlO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hTiVImOCOEW5HAPJGsKgN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P4gnPcb9hEGKP7P9za50z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TrGxd025z0a0_TVgsm6.B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Y4DA4RkaekOsiw8.soHO_g"/>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R94voGJa4Ees6S53_nzeS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n.QAZI2uZ0OHN1wBBIhFh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UKBgRn5pQ0qKSW87.u4mow"/>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BrQx3hO6bkaw0Vvh86kS4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1md3JJwivUOEuzCYZSE2E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elyLL4X3t0mUBWOCmRi8w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F.3Alf6GokOOQqjPyniS2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qE_iytV_cUuiw5frgPeuVw"/>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FMMiepRhDk6hd6CWFLMuS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_2KydwdyjkCXONVHt_dxj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wq5rHX8ZfUyE.uag9BSwf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QZcrGCoeOkGbiq4s1yDf8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LODN1QYOa0WatPZEtsuaN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IHtATHhKNkWEvXGjggcKR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zUhthI4RWUCXlOdnODooT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tvI5FnH48kev6yVqvs8Zk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u9BqBkI8CEeXzXes3l2FN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tB8IFcf4DEq91WntmUVMk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3OmZSJQhVEy2nDG87qzXb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fHAjlNL9wki3HBQuFitmu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XTHPrbqBvkmC.lTaqUig_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Gol7kdFWD0aIJbq8_Dgsj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NaMF.JHAQE6.Co1WhiK24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ePx35qY5EUS1MoPQA2aaJ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gJTGkiGBl02o3eQt7TBOH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C3DvmbqxVEOiQdl5CMbrh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qVbAbwUWVEa2ikFFC.CMc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W1xDRgIAAUq6VJ7AKyqRd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01Mzqzoj1EOFoSoAQlQhA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PyAzlX3MVUeSmfN9kHlI2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5Nos8DY_O0iks.cmNhsgn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RGtA4DkunkeKRniAPHINW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YJO.8FnxEkqtoUYkTzi6Z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gYyOujDIK06XP3z960uqp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NP1lphMGbEmn4l1y4cJwK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eLirJ5r4pUGyWZczs1JNe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hOhkLXnbhU2fIETTHiXYf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j_l_6zY2g0eVB47mPdIII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4STGf0A_vE6xoBHPS0J.9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RdfGV3Dd9EGAUe0x5QOfq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2q1nqADko0yOM0iGXyRA7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1EhDCN37sEaT1Lr0U7x0s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thrFG8iLUyHk0C_VjRKL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QLY1Si9U2U.XwSeL30RBf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4g._Tafal0.D9oKvbfrG4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fc5F7.n.6UWjclWN.gSvz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1wIUQNLM3EOgk2OSp0542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GAbm4d2VgU.toOCGJI21w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Wo4KlLjnckSDIiJtkGhpL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bVfyw._7ek.uuWHIFPzjag"/>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Wnp5OuIfG0SBr4r5k6.HI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KKLBYLCdF02QOxMToq0s6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DIWmNwSOG0Wa36aNhs2jgg"/>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T4MfrOPmMkKJ1Ge6dtB9L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5QbQxW9nTUaakkDNRmoQXQ"/>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HV7sBhBZ8ECKzpFAk4Uzd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5eZ95t6SRU6OURcuf8ErX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UnkFtHTHn0OslHk_cwPxzA"/>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rQtJTe2OX0Cuifrdzczqz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d_2HAOhFVEGWyKROWAyci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iBha3XUS5UyhqTuzf4_9J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rpf2l1_lmk2nUrjwxaoDV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ds7XA_AbPEOegctPvks0m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tuux63fspEafNS89HBaY5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eKN8soyX5USFar8qLpr6N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_MYF2Ctan0uDJsGvc7Mhn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9YK0_cxpaUqGiwLYvM3BH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Gxch7umOv0KMxad1NVrOH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lGLQgYdFNUCTwJQ67fRY4g"/>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HSchMiwb7UKYJmdGYutD0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7ETt7xrj4kiJk_WG5dVHD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dQuRm7qbhUSQJ_vHCPDhrw"/>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2TYpJwjXUkyQ3UIi4CRTJw"/>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scYD_Kwby0qMrY3Tw2.OL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NIMMZasHzkCeWVM5srRwn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CHA8d9.QI0SF.63hyBcly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cCp3ndlS6UyqviHn_lcJQw"/>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uyHYoEbx0kG5Culzv0kPo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XjCwh8H6.0yt5ykYS.qcU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WmpGCeAqfk2Xg4T6XwI4J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dp_BtLgYTUeFv2z3LlKKe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Ra9GE5f6B0uzAI9khuLOA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mJiS94fIGUa4Ik5HODWWS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G8ITn8VhgUSOGCFstf515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PgxopsFmAk29j_EGnB8O.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lt_o.fkb80KJCiYw.ISiZQ"/>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eOO5_pcNYkOfn7yJH6sjt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z09Rl0L29Uu7N1dgFOUypw"/>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8BTt4mvxo0ubw1VmtiT8D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WvGZs9zEukqBIpvPi2FSA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KmlhFCz3TUOhMLc6trxTig"/>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L0XT1fmv_kmCxZbOjfY02g"/>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ZFbQEUJj2UyQ8i7hlxTV7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zn.0QOiPWE24HHxQauHHPg"/>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jpMchTbhwkmDOqY9ouu5_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NluHGmUTCEy9b1K0eJPqxA"/>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HXV6TUhyrE2o5PjcQVzYk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xGrG1DhxUEaV0UPVJ7VJp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H21OXCSKgE.UYJiuVVxcy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sLC6fxXcUU.2D4vR1aUf9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M4.UP62sYkafYKbptnIKe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qhv59kZwsEOPDNKDa1Fk2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G2.k8hQPukysir9sCE541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QnxSzd0kuUOtrBwcwZf0e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hgm8DAfdV0mAfAJHl5rwa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Hqlx5Zyp.US3pYpjYnAyl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2ySh9WwGy0mWB.txnFSeMg"/>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lUUPJbJ5UU6Yez_JM1ksr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0VO6_nITuE.gm0wYwAsKh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k1uO.UHYUkSrmtjipxP6H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XDpdZasbhUCM1Ybio4sNy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4XiC68cTskqTaslNzgEHk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ha6Vscw3QUy30rAPN2YRW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RCvmInBbzEWCQDVNIhg.m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SivL_M2fJEC4VqAyEPRZuA"/>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xrfIagOuFkeY9qnPdBYST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MYll3UIDe02HaocT3mo08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Ij6hC6OwmE61T7bcE.WWv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ZNNiRqi_ukmPvOYsDYUge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em57k90ccE25OdahZxSGa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Cg.O7_mm40aD60fAiVYsUA"/>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IZ0rd4r0PkObVrnaxC8f.A"/>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nIYdsqd53UOhRIxe.Mbp9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Tp1cnNirvki4X9NEkuI80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pRCvZkCDJUWqey2Vs3cAY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jHrSUL00CkCm9ZqrbJ9PO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QlN7ltdPF0OyVHj6y5u9q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8qj3Me95u0WAvdqUFmLsT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ZG1oo1ob7EOf4SBL3ldK3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mHvlg3tW00a2uJoRBV7c6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UEJlN.kHb0WCAZGTCK1ax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xMQJoLFij0.oIcypXnoRNQ"/>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x8kl5W7bbUaMzGkQnOJDD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tO5UkPtlVkCD867vuyi5x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2C5TtYu030WZreIjlNAbJ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_eavCz6_l0OTWHA.dDy0m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CbQnEtPFQ02aNSYa.Vn9PA"/>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HvFU2uh0wk.p_8MDu2OrJ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U27MiMoyVEGZQeH01tfBo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IYMYEdG6sUe1s6jUSSkBcA"/>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2x_VAevO7kCoIeYXI9h3S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ezjnr3.AEUWuMVlxE_X7o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Yj_xnRUiOEOxIv7dEO_RK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8K0Sr8ryeEyKCJ81ZPSsc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qcynhXR5eUWRWvBnrq88L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lBpR8jwoBUOAzQKRzQMggQ"/>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HfuPOXLTQ0OkzplkPAz.G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v2DVDqtoRUq4FcHeDgGzB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BXrPvFDO8UWANetRJrdwa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aPNxgkw4lUKTSofhqZasm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dRfHCHUFmEabNdRNuyVwT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LIi6FH3CbUa_rnY5WaESA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LgPj3VVFiEaxADPfmFT8a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dEt2oTSpZEmkYHhzcJ_OQg"/>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3Ou9fRvhFUi..paBwTnv4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7cl4AjHXJE6QMiXU2pQIdg"/>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O62FGxTqXkS9N3QjybblzA"/>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mmuLP6R00UCg2OslwJxSSA"/>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XjaINeP_BUqPvnftQ_Rb2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_W4CE056YUi2G.Utlwl2V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zjIVhxWTSUS7EZpU_UKVc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Lqz0A2hSRUOC5dvBaLzFx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Mq4QjVjWDU.LxlLl7NU9H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oto6JBQPDkOhfLOt9fP5g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6AKN8I_OQkCc.WY5PaSQlQ"/>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_VfcgxdyW0W9gI.NlGv6Dw"/>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AIcll_RTPECtzHsWrMzPD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hIMSt3PfGkWPBhOShUS7mg"/>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TeDNxTegNkmGshtybVQXuQ"/>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k.zT7wYgzESQK0Nw2v1Wc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XpVDP1W6.kura4Yeg1_peA"/>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rzgHy.gGxUyyQ5jytRPBJ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88GE2jjgA0yBII_qZy93zg"/>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eDs8D4wyUyzR70VR6nx5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u5.4qs.7EKECLFhmDvq0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Mt_KsOBmO0.L2beK7MCWh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PfToHIAxeUCN409zUPYAyA"/>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QhlDkolMcUKGgzeSx1HDx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Q2gWYW8fhE6Nx0b982olC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o143N_eBf0ehaw0dhb2zw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HLx38_2xVUimrBtWY57WWQ"/>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9VYBmAq.jkK0VwmsANHBRA"/>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gq0jOZgicEajY_EIio.xWA"/>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fKhNBPDEHUmsEXv4dcvM5A"/>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9Foib1b3UE6NKEtLgx0Kk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jB1W6kMCkUK7I39wY486A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Vw_wrAqTGkuCB3oeTINwlQ"/>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nZGgS65ijUKNZC9T8rrCy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d25vJlh5GEG2W5bpnOKzx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jIxYQzn1NkCus1lkR.CIF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FuBIVwFYkUacA.Yo0kPsV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BQqxWj75jUahgYngw7vXrQ"/>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xHMHKfNg2k6_5rCB_I6U9Q"/>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twYzsgZZCUKi5oW9KhNc9w"/>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6AKN8I_OQkCc.WY5PaSQl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SdTn8Cenc0.4l7MH0r9ep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wf8G8XfjEW3YQy0srkKN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znkmQD5Adk2ybC.yvy_aHg"/>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bdSxP2afx0S4jUk1jo7rG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5soJSInPcUWAS.Y0uWWWB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2XNhrAkDB0.NIsVQTETC.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EX05aSlgc0Gl4HsmXITUGg"/>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f.kIORqyvEmApza8OrZvgA"/>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6vSxABgmfkOGTu3H4o20xg"/>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0.qcKYhYMk.YUiZlXOGQh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kkcbl8bdvEGuLU6ySl9rMw"/>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LLZtLA43VEqP9hD6AHGFGg"/>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GCqtvMuYTkuuUtYOLoR1gw"/>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phcO.jd60UGFKzf3rRzas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izmlrSBgDky8_usvsiFdbQ"/>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aP8GTJRZO0uigLClVcBJpw"/>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Ag0uWq8970C_5nI7IMyC8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1GkSgtMpMUOOUpKSKXCHRw"/>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Uj2gb5LJekOJngkqmWewMg"/>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pXevcxssXokiqS6iys5RH5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VBDbSPh1s0Oi7E.DWhOWQg"/>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pHNwTsWme7kidPlTHnEWwm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32I2I.2U50WGNTOQ_lsz4g"/>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p75iI88RpjEGRJa154ZZPwg"/>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iQDuDAUOqEq5oPO3sB61pA"/>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pOX59qzqNWEuaM33br3u56Q"/>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AKiwZFH0IUasLUfybEqiIg"/>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tBz3TDU3i0mFeevuVtV.NA"/>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HOnBQCgtsUC2rJ9O1cap0g"/>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SRePN7sQ_ke7LuQZwqDOJ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QQRccseAuEC.b8X6RuHnM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pNOJOjReyUm3XIX2xrh0e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0vO845dbPkm18jDmGDDytg"/>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X6HtchiTXE2A7fz3K5M9mw"/>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Fpp8ENybQUeJu.cGfFsSRw"/>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Z8oOAQVOUkmRgxgdKaJNSw"/>
</p:tagLst>
</file>

<file path=ppt/theme/theme1.xml><?xml version="1.0" encoding="utf-8"?>
<a:theme xmlns:a="http://schemas.openxmlformats.org/drawingml/2006/main" name="Cymbeline template">
  <a:themeElements>
    <a:clrScheme name="Custom 347">
      <a:dk1>
        <a:srgbClr val="000000"/>
      </a:dk1>
      <a:lt1>
        <a:srgbClr val="FFFFFF"/>
      </a:lt1>
      <a:dk2>
        <a:srgbClr val="666666"/>
      </a:dk2>
      <a:lt2>
        <a:srgbClr val="EFEFEF"/>
      </a:lt2>
      <a:accent1>
        <a:srgbClr val="485364"/>
      </a:accent1>
      <a:accent2>
        <a:srgbClr val="63728A"/>
      </a:accent2>
      <a:accent3>
        <a:srgbClr val="8B9AB3"/>
      </a:accent3>
      <a:accent4>
        <a:srgbClr val="9E8473"/>
      </a:accent4>
      <a:accent5>
        <a:srgbClr val="CAAE9C"/>
      </a:accent5>
      <a:accent6>
        <a:srgbClr val="DFCEC3"/>
      </a:accent6>
      <a:hlink>
        <a:srgbClr val="000000"/>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Deloitte Presentation Template 100114 (The Partners final version)">
  <a:themeElements>
    <a:clrScheme name="Custom 90">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Custom 81">
    <a:dk1>
      <a:sysClr val="windowText" lastClr="000000"/>
    </a:dk1>
    <a:lt1>
      <a:sysClr val="window" lastClr="FFFFFF"/>
    </a:lt1>
    <a:dk2>
      <a:srgbClr val="575757"/>
    </a:dk2>
    <a:lt2>
      <a:srgbClr val="FFFFFF"/>
    </a:lt2>
    <a:accent1>
      <a:srgbClr val="002776"/>
    </a:accent1>
    <a:accent2>
      <a:srgbClr val="81BC00"/>
    </a:accent2>
    <a:accent3>
      <a:srgbClr val="00A1DE"/>
    </a:accent3>
    <a:accent4>
      <a:srgbClr val="008A2E"/>
    </a:accent4>
    <a:accent5>
      <a:srgbClr val="72C7E7"/>
    </a:accent5>
    <a:accent6>
      <a:srgbClr val="C9DD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Custom 81">
    <a:dk1>
      <a:sysClr val="windowText" lastClr="000000"/>
    </a:dk1>
    <a:lt1>
      <a:sysClr val="window" lastClr="FFFFFF"/>
    </a:lt1>
    <a:dk2>
      <a:srgbClr val="575757"/>
    </a:dk2>
    <a:lt2>
      <a:srgbClr val="FFFFFF"/>
    </a:lt2>
    <a:accent1>
      <a:srgbClr val="002776"/>
    </a:accent1>
    <a:accent2>
      <a:srgbClr val="81BC00"/>
    </a:accent2>
    <a:accent3>
      <a:srgbClr val="00A1DE"/>
    </a:accent3>
    <a:accent4>
      <a:srgbClr val="008A2E"/>
    </a:accent4>
    <a:accent5>
      <a:srgbClr val="72C7E7"/>
    </a:accent5>
    <a:accent6>
      <a:srgbClr val="C9DD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Custom 81">
    <a:dk1>
      <a:sysClr val="windowText" lastClr="000000"/>
    </a:dk1>
    <a:lt1>
      <a:sysClr val="window" lastClr="FFFFFF"/>
    </a:lt1>
    <a:dk2>
      <a:srgbClr val="575757"/>
    </a:dk2>
    <a:lt2>
      <a:srgbClr val="FFFFFF"/>
    </a:lt2>
    <a:accent1>
      <a:srgbClr val="002776"/>
    </a:accent1>
    <a:accent2>
      <a:srgbClr val="81BC00"/>
    </a:accent2>
    <a:accent3>
      <a:srgbClr val="00A1DE"/>
    </a:accent3>
    <a:accent4>
      <a:srgbClr val="008A2E"/>
    </a:accent4>
    <a:accent5>
      <a:srgbClr val="72C7E7"/>
    </a:accent5>
    <a:accent6>
      <a:srgbClr val="C9DD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Custom 81">
    <a:dk1>
      <a:sysClr val="windowText" lastClr="000000"/>
    </a:dk1>
    <a:lt1>
      <a:sysClr val="window" lastClr="FFFFFF"/>
    </a:lt1>
    <a:dk2>
      <a:srgbClr val="575757"/>
    </a:dk2>
    <a:lt2>
      <a:srgbClr val="FFFFFF"/>
    </a:lt2>
    <a:accent1>
      <a:srgbClr val="002776"/>
    </a:accent1>
    <a:accent2>
      <a:srgbClr val="81BC00"/>
    </a:accent2>
    <a:accent3>
      <a:srgbClr val="00A1DE"/>
    </a:accent3>
    <a:accent4>
      <a:srgbClr val="008A2E"/>
    </a:accent4>
    <a:accent5>
      <a:srgbClr val="72C7E7"/>
    </a:accent5>
    <a:accent6>
      <a:srgbClr val="C9DD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81">
    <a:dk1>
      <a:sysClr val="windowText" lastClr="000000"/>
    </a:dk1>
    <a:lt1>
      <a:sysClr val="window" lastClr="FFFFFF"/>
    </a:lt1>
    <a:dk2>
      <a:srgbClr val="575757"/>
    </a:dk2>
    <a:lt2>
      <a:srgbClr val="FFFFFF"/>
    </a:lt2>
    <a:accent1>
      <a:srgbClr val="002776"/>
    </a:accent1>
    <a:accent2>
      <a:srgbClr val="81BC00"/>
    </a:accent2>
    <a:accent3>
      <a:srgbClr val="00A1DE"/>
    </a:accent3>
    <a:accent4>
      <a:srgbClr val="008A2E"/>
    </a:accent4>
    <a:accent5>
      <a:srgbClr val="72C7E7"/>
    </a:accent5>
    <a:accent6>
      <a:srgbClr val="C9DD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81">
    <a:dk1>
      <a:sysClr val="windowText" lastClr="000000"/>
    </a:dk1>
    <a:lt1>
      <a:sysClr val="window" lastClr="FFFFFF"/>
    </a:lt1>
    <a:dk2>
      <a:srgbClr val="575757"/>
    </a:dk2>
    <a:lt2>
      <a:srgbClr val="FFFFFF"/>
    </a:lt2>
    <a:accent1>
      <a:srgbClr val="002776"/>
    </a:accent1>
    <a:accent2>
      <a:srgbClr val="81BC00"/>
    </a:accent2>
    <a:accent3>
      <a:srgbClr val="00A1DE"/>
    </a:accent3>
    <a:accent4>
      <a:srgbClr val="008A2E"/>
    </a:accent4>
    <a:accent5>
      <a:srgbClr val="72C7E7"/>
    </a:accent5>
    <a:accent6>
      <a:srgbClr val="C9DD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Custom 81">
    <a:dk1>
      <a:sysClr val="windowText" lastClr="000000"/>
    </a:dk1>
    <a:lt1>
      <a:sysClr val="window" lastClr="FFFFFF"/>
    </a:lt1>
    <a:dk2>
      <a:srgbClr val="575757"/>
    </a:dk2>
    <a:lt2>
      <a:srgbClr val="FFFFFF"/>
    </a:lt2>
    <a:accent1>
      <a:srgbClr val="002776"/>
    </a:accent1>
    <a:accent2>
      <a:srgbClr val="81BC00"/>
    </a:accent2>
    <a:accent3>
      <a:srgbClr val="00A1DE"/>
    </a:accent3>
    <a:accent4>
      <a:srgbClr val="008A2E"/>
    </a:accent4>
    <a:accent5>
      <a:srgbClr val="72C7E7"/>
    </a:accent5>
    <a:accent6>
      <a:srgbClr val="C9DD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Custom 81">
    <a:dk1>
      <a:sysClr val="windowText" lastClr="000000"/>
    </a:dk1>
    <a:lt1>
      <a:sysClr val="window" lastClr="FFFFFF"/>
    </a:lt1>
    <a:dk2>
      <a:srgbClr val="575757"/>
    </a:dk2>
    <a:lt2>
      <a:srgbClr val="FFFFFF"/>
    </a:lt2>
    <a:accent1>
      <a:srgbClr val="002776"/>
    </a:accent1>
    <a:accent2>
      <a:srgbClr val="81BC00"/>
    </a:accent2>
    <a:accent3>
      <a:srgbClr val="00A1DE"/>
    </a:accent3>
    <a:accent4>
      <a:srgbClr val="008A2E"/>
    </a:accent4>
    <a:accent5>
      <a:srgbClr val="72C7E7"/>
    </a:accent5>
    <a:accent6>
      <a:srgbClr val="C9DD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Custom 81">
    <a:dk1>
      <a:sysClr val="windowText" lastClr="000000"/>
    </a:dk1>
    <a:lt1>
      <a:sysClr val="window" lastClr="FFFFFF"/>
    </a:lt1>
    <a:dk2>
      <a:srgbClr val="575757"/>
    </a:dk2>
    <a:lt2>
      <a:srgbClr val="FFFFFF"/>
    </a:lt2>
    <a:accent1>
      <a:srgbClr val="002776"/>
    </a:accent1>
    <a:accent2>
      <a:srgbClr val="81BC00"/>
    </a:accent2>
    <a:accent3>
      <a:srgbClr val="00A1DE"/>
    </a:accent3>
    <a:accent4>
      <a:srgbClr val="008A2E"/>
    </a:accent4>
    <a:accent5>
      <a:srgbClr val="72C7E7"/>
    </a:accent5>
    <a:accent6>
      <a:srgbClr val="C9DD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Custom 81">
    <a:dk1>
      <a:sysClr val="windowText" lastClr="000000"/>
    </a:dk1>
    <a:lt1>
      <a:sysClr val="window" lastClr="FFFFFF"/>
    </a:lt1>
    <a:dk2>
      <a:srgbClr val="575757"/>
    </a:dk2>
    <a:lt2>
      <a:srgbClr val="FFFFFF"/>
    </a:lt2>
    <a:accent1>
      <a:srgbClr val="002776"/>
    </a:accent1>
    <a:accent2>
      <a:srgbClr val="81BC00"/>
    </a:accent2>
    <a:accent3>
      <a:srgbClr val="00A1DE"/>
    </a:accent3>
    <a:accent4>
      <a:srgbClr val="008A2E"/>
    </a:accent4>
    <a:accent5>
      <a:srgbClr val="72C7E7"/>
    </a:accent5>
    <a:accent6>
      <a:srgbClr val="C9DD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4633</TotalTime>
  <Words>18172</Words>
  <Application>Microsoft Office PowerPoint</Application>
  <PresentationFormat>On-screen Show (16:9)</PresentationFormat>
  <Paragraphs>4231</Paragraphs>
  <Slides>268</Slides>
  <Notes>252</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268</vt:i4>
      </vt:variant>
    </vt:vector>
  </HeadingPairs>
  <TitlesOfParts>
    <vt:vector size="284" baseType="lpstr">
      <vt:lpstr>Marlett</vt:lpstr>
      <vt:lpstr>Century Gothic</vt:lpstr>
      <vt:lpstr>Georgia</vt:lpstr>
      <vt:lpstr>Wingdings 2</vt:lpstr>
      <vt:lpstr>Arial</vt:lpstr>
      <vt:lpstr>Arial Black</vt:lpstr>
      <vt:lpstr>Symbol</vt:lpstr>
      <vt:lpstr>Times New Roman</vt:lpstr>
      <vt:lpstr>inherit</vt:lpstr>
      <vt:lpstr>Poppins Light</vt:lpstr>
      <vt:lpstr>Calibri</vt:lpstr>
      <vt:lpstr>Poppins</vt:lpstr>
      <vt:lpstr>Cymbeline template</vt:lpstr>
      <vt:lpstr>Simple Light</vt:lpstr>
      <vt:lpstr>Deloitte Presentation Template 100114 (The Partners final version)</vt:lpstr>
      <vt:lpstr>think-cell Slide</vt:lpstr>
      <vt:lpstr>Airbnb Property Investment</vt:lpstr>
      <vt:lpstr>Context This report aims to find the best neighborhood clusters in Washington D.C. for Airbnb property investment. </vt:lpstr>
      <vt:lpstr>PowerPoint Presentation</vt:lpstr>
      <vt:lpstr>PowerPoint Presentation</vt:lpstr>
      <vt:lpstr>Recommendation #1 Investor Bob should enter the Washington DC Airbnb market</vt:lpstr>
      <vt:lpstr>Recommendation #2 Capitol Hills Neighborhood is most lucrative</vt:lpstr>
      <vt:lpstr>Recommendation #3 Apartment building has the best ROI</vt:lpstr>
      <vt:lpstr>PowerPoint Presentation</vt:lpstr>
      <vt:lpstr>PowerPoint Presentation</vt:lpstr>
      <vt:lpstr>PowerPoint Presentation</vt:lpstr>
      <vt:lpstr>PowerPoint Presentation</vt:lpstr>
      <vt:lpstr>Use this slide to locate your charts, then switch to slide sorter mode &amp; copy the charts you need to your document</vt:lpstr>
      <vt:lpstr>Contents</vt:lpstr>
      <vt:lpstr>Tables  Table with text</vt:lpstr>
      <vt:lpstr>Tables  Table with full column of bullets and dashes</vt:lpstr>
      <vt:lpstr>Tables  Data table</vt:lpstr>
      <vt:lpstr>Tables  Alternative data table</vt:lpstr>
      <vt:lpstr>Tables  Chevron table</vt:lpstr>
      <vt:lpstr>Text boxes  Two text boxes with paragraph, bullet, and dash points</vt:lpstr>
      <vt:lpstr>Text boxes  Two-by-two</vt:lpstr>
      <vt:lpstr>Text boxes Two columns of numbered points for each point</vt:lpstr>
      <vt:lpstr>Text boxes  To ways of showing major points</vt:lpstr>
      <vt:lpstr>Text boxes   Major points with chevrons</vt:lpstr>
      <vt:lpstr>Text boxes   Chevrons with text boxes</vt:lpstr>
      <vt:lpstr>Text boxes   Vertical chevrons with text</vt:lpstr>
      <vt:lpstr>Text boxes   Influencing chevrons</vt:lpstr>
      <vt:lpstr>Text boxes   Chevrons resulting from </vt:lpstr>
      <vt:lpstr>Text blocks  Arrow leading to</vt:lpstr>
      <vt:lpstr>Text blocks  Elements leading to</vt:lpstr>
      <vt:lpstr>Text blocks Interrelated</vt:lpstr>
      <vt:lpstr>Text blocks  Sequence</vt:lpstr>
      <vt:lpstr>Text blocks  Enveloping elements</vt:lpstr>
      <vt:lpstr>Text blocks  Michelangelo (top alignment) </vt:lpstr>
      <vt:lpstr>Text blocks  Michelangelo (left alignment) </vt:lpstr>
      <vt:lpstr>Text blocks  Two squares</vt:lpstr>
      <vt:lpstr>Text blocks  Leading to</vt:lpstr>
      <vt:lpstr>Text blocks  Interaction</vt:lpstr>
      <vt:lpstr>Text blocks  Coupled vertical </vt:lpstr>
      <vt:lpstr>Text blocks  Working together</vt:lpstr>
      <vt:lpstr>Text blocks  Sources leading to</vt:lpstr>
      <vt:lpstr>Text blocks  Gravitating to</vt:lpstr>
      <vt:lpstr>Quotes Subtitle runs here</vt:lpstr>
      <vt:lpstr>Quotes Subtitle runs here</vt:lpstr>
      <vt:lpstr>Quotes Subtitle runs here</vt:lpstr>
      <vt:lpstr>Contents</vt:lpstr>
      <vt:lpstr>Logic trees Blue, one level plus text</vt:lpstr>
      <vt:lpstr>Logic trees White, one level plus text</vt:lpstr>
      <vt:lpstr>Logic trees   Vertical</vt:lpstr>
      <vt:lpstr>Logic trees  Vertical with straight lines</vt:lpstr>
      <vt:lpstr>Logic trees  Hypothesis tree</vt:lpstr>
      <vt:lpstr>Logic trees  Executive summary tree</vt:lpstr>
      <vt:lpstr>Driver trees  Arrows showing base trends</vt:lpstr>
      <vt:lpstr>Driver trees  Moons showing base trends</vt:lpstr>
      <vt:lpstr>Driver trees    Text with general trends</vt:lpstr>
      <vt:lpstr>Driver trees   Expanded text</vt:lpstr>
      <vt:lpstr>Driver trees  Arrows showing trend</vt:lpstr>
      <vt:lpstr>Organization chart   Simple</vt:lpstr>
      <vt:lpstr>Organization chart   Extensive</vt:lpstr>
      <vt:lpstr>Organization chart   With text blocks</vt:lpstr>
      <vt:lpstr>Contents</vt:lpstr>
      <vt:lpstr>Bar charts  Paired</vt:lpstr>
      <vt:lpstr>Horizontal stacked bar chart  Subtitle runs here </vt:lpstr>
      <vt:lpstr>Bar charts   Two stacked</vt:lpstr>
      <vt:lpstr>Bar charts   Four parallel</vt:lpstr>
      <vt:lpstr>Bar charts   Paired (9 colors)</vt:lpstr>
      <vt:lpstr>Bar charts  Butterfly</vt:lpstr>
      <vt:lpstr>Column chart   Stacked (9 colors)</vt:lpstr>
      <vt:lpstr>Column charts  Two stacked</vt:lpstr>
      <vt:lpstr>Column charts  Stacked bar chart and text </vt:lpstr>
      <vt:lpstr>Column charts   Four on a page</vt:lpstr>
      <vt:lpstr>Column chart   Paired (9 colors)</vt:lpstr>
      <vt:lpstr>Column chart   Paired</vt:lpstr>
      <vt:lpstr>Column charts   Four paired</vt:lpstr>
      <vt:lpstr>Column charts   Multiple</vt:lpstr>
      <vt:lpstr>Area chart  Stacked (9 colors)</vt:lpstr>
      <vt:lpstr>Area chart  Stacked</vt:lpstr>
      <vt:lpstr>Area chart   100% (‘parfait chart‘)</vt:lpstr>
      <vt:lpstr>Pie chart   Multiple colors</vt:lpstr>
      <vt:lpstr>Pie charts   Labels on outside</vt:lpstr>
      <vt:lpstr>Pie charts   Slice exploded</vt:lpstr>
      <vt:lpstr>Pie chart   Explosion</vt:lpstr>
      <vt:lpstr>Pie chart   Stacked column 100%</vt:lpstr>
      <vt:lpstr>Pie chart   Labels on outside</vt:lpstr>
      <vt:lpstr>Text and chart slide Subtitle runs here</vt:lpstr>
      <vt:lpstr>Multiple chart slide Subtitle runs here</vt:lpstr>
      <vt:lpstr>Radar chart</vt:lpstr>
      <vt:lpstr>Line chart</vt:lpstr>
      <vt:lpstr>Line charts   Two</vt:lpstr>
      <vt:lpstr>Line charts   Two with text</vt:lpstr>
      <vt:lpstr>Smoothed line chart</vt:lpstr>
      <vt:lpstr>Smoothed line charts  Two</vt:lpstr>
      <vt:lpstr>Smoothed line charts  Two with text</vt:lpstr>
      <vt:lpstr>Waterfall   Columns</vt:lpstr>
      <vt:lpstr>Waterfall   Columns without gaps</vt:lpstr>
      <vt:lpstr>Waterfall   Bars</vt:lpstr>
      <vt:lpstr>Waterfall   Bars without gaps</vt:lpstr>
      <vt:lpstr>High-low-median chart</vt:lpstr>
      <vt:lpstr>Stock/elevator chart</vt:lpstr>
      <vt:lpstr>Scatter chart</vt:lpstr>
      <vt:lpstr>Bubble chart</vt:lpstr>
      <vt:lpstr>Driver tree chart   DuPont chart with bars</vt:lpstr>
      <vt:lpstr>CAGR tree</vt:lpstr>
      <vt:lpstr>Contents</vt:lpstr>
      <vt:lpstr>Chevrons</vt:lpstr>
      <vt:lpstr>Circles  Small arrows</vt:lpstr>
      <vt:lpstr>Circles  Arrows</vt:lpstr>
      <vt:lpstr>Circles  Chevrons</vt:lpstr>
      <vt:lpstr>Circles  Process ending in a closed loop</vt:lpstr>
      <vt:lpstr>Spheres Interrelated</vt:lpstr>
      <vt:lpstr>Spheres  Overlapping</vt:lpstr>
      <vt:lpstr>Spheres  Blades</vt:lpstr>
      <vt:lpstr>Spheres  Sizes in</vt:lpstr>
      <vt:lpstr>Spheres   Spotlight and rollers</vt:lpstr>
      <vt:lpstr>Spheres  Closed loop</vt:lpstr>
      <vt:lpstr>Spheres  Visor</vt:lpstr>
      <vt:lpstr>Spheres  Pieces</vt:lpstr>
      <vt:lpstr>Spheres  Ying and yang</vt:lpstr>
      <vt:lpstr>Spheres  Eggs</vt:lpstr>
      <vt:lpstr>Boxes  Matrices</vt:lpstr>
      <vt:lpstr>Boxes Honeycomb</vt:lpstr>
      <vt:lpstr>Triangles   Basic</vt:lpstr>
      <vt:lpstr>Triangles – pyramids</vt:lpstr>
      <vt:lpstr>Puzzles  Square</vt:lpstr>
      <vt:lpstr>Puzzles  Rectangular</vt:lpstr>
      <vt:lpstr>Puzzles  Five pieces</vt:lpstr>
      <vt:lpstr>Others  Trackers</vt:lpstr>
      <vt:lpstr>Contents</vt:lpstr>
      <vt:lpstr>World map   FY2013 People by region</vt:lpstr>
      <vt:lpstr>Maps   Regions</vt:lpstr>
      <vt:lpstr>Maps   Regions</vt:lpstr>
      <vt:lpstr>Maps   Regions</vt:lpstr>
      <vt:lpstr>Maps   United States</vt:lpstr>
      <vt:lpstr>Maps  Netherlands</vt:lpstr>
      <vt:lpstr>Maps  Benelux</vt:lpstr>
      <vt:lpstr>Maps   UK</vt:lpstr>
      <vt:lpstr>Maps   Italy</vt:lpstr>
      <vt:lpstr>Maps  France</vt:lpstr>
      <vt:lpstr>Maps   Australia</vt:lpstr>
      <vt:lpstr>Maps  Germany and Spain</vt:lpstr>
      <vt:lpstr>Maps  Switzerland &amp; Austria</vt:lpstr>
      <vt:lpstr>Maps  Sweden, Finland and Denmark</vt:lpstr>
      <vt:lpstr>Maps  Hungary and Poland</vt:lpstr>
      <vt:lpstr>Maps  Russia</vt:lpstr>
      <vt:lpstr>Maps  Tunisia and Greece</vt:lpstr>
      <vt:lpstr>Maps  India and China</vt:lpstr>
      <vt:lpstr>Flags</vt:lpstr>
      <vt:lpstr>Contents</vt:lpstr>
      <vt:lpstr>Generic strategy development framework  English</vt:lpstr>
      <vt:lpstr>Restructuring framework</vt:lpstr>
      <vt:lpstr>Competitive strategy 3.0 framework</vt:lpstr>
      <vt:lpstr>Strategy development  The fish</vt:lpstr>
      <vt:lpstr>Strategy development  The loop</vt:lpstr>
      <vt:lpstr>Backward strategic planning framework</vt:lpstr>
      <vt:lpstr>Incremental versus dynamic strategic planning framework</vt:lpstr>
      <vt:lpstr>Pentagon</vt:lpstr>
      <vt:lpstr>Strategic disciplines</vt:lpstr>
      <vt:lpstr>7S</vt:lpstr>
      <vt:lpstr>3Cs triangle</vt:lpstr>
      <vt:lpstr>Value creation</vt:lpstr>
      <vt:lpstr>Portfolio matrix</vt:lpstr>
      <vt:lpstr>Business portfolio 3x3</vt:lpstr>
      <vt:lpstr>Business portfolio 3x3</vt:lpstr>
      <vt:lpstr>Five forces</vt:lpstr>
      <vt:lpstr>Activity map – generic</vt:lpstr>
      <vt:lpstr>Activity map  Very detailed</vt:lpstr>
      <vt:lpstr>Activity map  Competitor overview</vt:lpstr>
      <vt:lpstr>Activity map  Synergy analysis</vt:lpstr>
      <vt:lpstr>Activity map  Synergy summary</vt:lpstr>
      <vt:lpstr>Activity map  Competitive groups</vt:lpstr>
      <vt:lpstr>Activity map  Ranges of activities across value chain</vt:lpstr>
      <vt:lpstr>Swimlanes</vt:lpstr>
      <vt:lpstr>Process flow</vt:lpstr>
      <vt:lpstr>Process map</vt:lpstr>
      <vt:lpstr>Contents</vt:lpstr>
      <vt:lpstr>Table with moons</vt:lpstr>
      <vt:lpstr>More moons (a.k.a. Harvey Balls)</vt:lpstr>
      <vt:lpstr>Table with traffic lights</vt:lpstr>
      <vt:lpstr>Heat map</vt:lpstr>
      <vt:lpstr>Table with arrows</vt:lpstr>
      <vt:lpstr>Levels of maturity</vt:lpstr>
      <vt:lpstr>Steps  Three</vt:lpstr>
      <vt:lpstr>Steps  Four</vt:lpstr>
      <vt:lpstr>Steps  Five</vt:lpstr>
      <vt:lpstr>Steps  Six</vt:lpstr>
      <vt:lpstr>Steps  With more flights</vt:lpstr>
      <vt:lpstr>Diagonal boxes  Three steps</vt:lpstr>
      <vt:lpstr>Diagonal boxes  Four steps</vt:lpstr>
      <vt:lpstr>Diagonal boxes  Five steps</vt:lpstr>
      <vt:lpstr>Diagonal boxes  Six steps</vt:lpstr>
      <vt:lpstr>Linear text</vt:lpstr>
      <vt:lpstr>Expansion</vt:lpstr>
      <vt:lpstr>Diversion</vt:lpstr>
      <vt:lpstr>Continuous</vt:lpstr>
      <vt:lpstr>Cutout</vt:lpstr>
      <vt:lpstr>Linear</vt:lpstr>
      <vt:lpstr>Linear</vt:lpstr>
      <vt:lpstr>Radiating outward</vt:lpstr>
      <vt:lpstr>Expansion</vt:lpstr>
      <vt:lpstr>Step-by-step actions</vt:lpstr>
      <vt:lpstr>Interrelated stages</vt:lpstr>
      <vt:lpstr>Heptagon</vt:lpstr>
      <vt:lpstr>Leverage</vt:lpstr>
      <vt:lpstr>Balance 1</vt:lpstr>
      <vt:lpstr>Jumping point</vt:lpstr>
      <vt:lpstr>Forces at work</vt:lpstr>
      <vt:lpstr>Forced</vt:lpstr>
      <vt:lpstr>Surround</vt:lpstr>
      <vt:lpstr>Flow down</vt:lpstr>
      <vt:lpstr>History</vt:lpstr>
      <vt:lpstr>Timelines</vt:lpstr>
      <vt:lpstr>Gantt chart or timeline chart</vt:lpstr>
      <vt:lpstr>Calender</vt:lpstr>
      <vt:lpstr>Calendars  First day of the month is Monday, Tuesday, Wednesday or Thursday</vt:lpstr>
      <vt:lpstr>Calendars  First day of the month is Friday, Saturday or Sunday</vt:lpstr>
      <vt:lpstr>Curves  Generic life cycle</vt:lpstr>
      <vt:lpstr>Curves  Country maturity</vt:lpstr>
      <vt:lpstr>Curves  Bell curve</vt:lpstr>
      <vt:lpstr>Curves  Cost curve</vt:lpstr>
      <vt:lpstr>Curves  Downward and upward slopes</vt:lpstr>
      <vt:lpstr>Other  Cross</vt:lpstr>
      <vt:lpstr>Other  Funnels</vt:lpstr>
      <vt:lpstr>Other  Spectrum</vt:lpstr>
      <vt:lpstr>Other  Thermometers</vt:lpstr>
      <vt:lpstr>Other  Saving thermometer</vt:lpstr>
      <vt:lpstr>Contents</vt:lpstr>
      <vt:lpstr>Tree with accompanying text</vt:lpstr>
      <vt:lpstr>Tree with circular text boxes </vt:lpstr>
      <vt:lpstr>Connectors with honeycomb  </vt:lpstr>
      <vt:lpstr>Connectors with bubbles</vt:lpstr>
      <vt:lpstr>Connectors with puzzle pieces   </vt:lpstr>
      <vt:lpstr>Leaves and bubble combined </vt:lpstr>
      <vt:lpstr>Leaves with text</vt:lpstr>
      <vt:lpstr>Ranking elements Arrows with supportive text  </vt:lpstr>
      <vt:lpstr>Ranking elements Numbered bubbles  </vt:lpstr>
      <vt:lpstr>Ranking elements Numbered raindrops  </vt:lpstr>
      <vt:lpstr>Ranking elements Numbered cubes  </vt:lpstr>
      <vt:lpstr>Ranking elements Numbered arrows</vt:lpstr>
      <vt:lpstr>Ranking elements Numbered ribbons</vt:lpstr>
      <vt:lpstr>Ranking elements Twisted ribbons</vt:lpstr>
      <vt:lpstr>Ranking elements Ribbons bouncing</vt:lpstr>
      <vt:lpstr>Bends  Arrows with icons</vt:lpstr>
      <vt:lpstr>Bends  Ribbons with icons</vt:lpstr>
      <vt:lpstr>Wreath  </vt:lpstr>
      <vt:lpstr>Integrated beach ball with textboxes </vt:lpstr>
      <vt:lpstr>Combined ring and pinpoint icons </vt:lpstr>
      <vt:lpstr>Pinwheel with text </vt:lpstr>
      <vt:lpstr>Golf clubs with textboxes </vt:lpstr>
      <vt:lpstr>Integrated triangles and supportive text</vt:lpstr>
      <vt:lpstr>Elevated hoops  </vt:lpstr>
      <vt:lpstr>Process circle  </vt:lpstr>
      <vt:lpstr>Contents</vt:lpstr>
      <vt:lpstr>Iconography</vt:lpstr>
      <vt:lpstr>Iconography</vt:lpstr>
      <vt:lpstr>Iconography </vt:lpstr>
      <vt:lpstr>Iconography</vt:lpstr>
      <vt:lpstr>Iconography</vt:lpstr>
      <vt:lpstr>Iconography</vt:lpstr>
      <vt:lpstr>Iconography</vt:lpstr>
      <vt:lpstr>Iconography</vt:lpstr>
      <vt:lpstr>Iconography</vt:lpstr>
      <vt:lpstr>Iconography</vt:lpstr>
      <vt:lpstr>Iconography</vt:lpstr>
      <vt:lpstr>Appendix </vt:lpstr>
      <vt:lpstr>PowerPoint template </vt:lpstr>
      <vt:lpstr>Appendix Numbered elements</vt:lpstr>
      <vt:lpstr>Appendix Call out containers</vt:lpstr>
      <vt:lpstr>Appendix Title styles</vt:lpstr>
      <vt:lpstr>Appendix Generic ele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enovo</dc:creator>
  <cp:lastModifiedBy>Saurabh Dev</cp:lastModifiedBy>
  <cp:revision>40</cp:revision>
  <dcterms:modified xsi:type="dcterms:W3CDTF">2023-11-16T18:47:15Z</dcterms:modified>
</cp:coreProperties>
</file>